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2.xml" ContentType="application/vnd.openxmlformats-officedocument.theme+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theme/theme3.xml" ContentType="application/vnd.openxmlformats-officedocument.theme+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theme/theme4.xml" ContentType="application/vnd.openxmlformats-officedocument.theme+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5447" r:id="rId4"/>
    <p:sldMasterId id="2147485638" r:id="rId5"/>
    <p:sldMasterId id="2147485654" r:id="rId6"/>
    <p:sldMasterId id="2147485731" r:id="rId7"/>
    <p:sldMasterId id="2147485794" r:id="rId8"/>
  </p:sldMasterIdLst>
  <p:notesMasterIdLst>
    <p:notesMasterId r:id="rId47"/>
  </p:notesMasterIdLst>
  <p:handoutMasterIdLst>
    <p:handoutMasterId r:id="rId48"/>
  </p:handoutMasterIdLst>
  <p:sldIdLst>
    <p:sldId id="2147470536" r:id="rId9"/>
    <p:sldId id="258" r:id="rId10"/>
    <p:sldId id="276" r:id="rId11"/>
    <p:sldId id="2147483629" r:id="rId12"/>
    <p:sldId id="2147483642" r:id="rId13"/>
    <p:sldId id="2147483643" r:id="rId14"/>
    <p:sldId id="2147483644" r:id="rId15"/>
    <p:sldId id="2147483645" r:id="rId16"/>
    <p:sldId id="2147483646" r:id="rId17"/>
    <p:sldId id="2147483647" r:id="rId18"/>
    <p:sldId id="283" r:id="rId19"/>
    <p:sldId id="256" r:id="rId20"/>
    <p:sldId id="273" r:id="rId21"/>
    <p:sldId id="2147483641" r:id="rId22"/>
    <p:sldId id="2147483627" r:id="rId23"/>
    <p:sldId id="2147483615" r:id="rId24"/>
    <p:sldId id="2147483628" r:id="rId25"/>
    <p:sldId id="2147483639" r:id="rId26"/>
    <p:sldId id="2147483617" r:id="rId27"/>
    <p:sldId id="2147483623" r:id="rId28"/>
    <p:sldId id="259" r:id="rId29"/>
    <p:sldId id="262" r:id="rId30"/>
    <p:sldId id="263" r:id="rId31"/>
    <p:sldId id="264" r:id="rId32"/>
    <p:sldId id="265" r:id="rId33"/>
    <p:sldId id="266" r:id="rId34"/>
    <p:sldId id="267" r:id="rId35"/>
    <p:sldId id="261" r:id="rId36"/>
    <p:sldId id="268" r:id="rId37"/>
    <p:sldId id="2147482665" r:id="rId38"/>
    <p:sldId id="269" r:id="rId39"/>
    <p:sldId id="270" r:id="rId40"/>
    <p:sldId id="271" r:id="rId41"/>
    <p:sldId id="272" r:id="rId42"/>
    <p:sldId id="275" r:id="rId43"/>
    <p:sldId id="274" r:id="rId44"/>
    <p:sldId id="257" r:id="rId45"/>
    <p:sldId id="260" r:id="rId46"/>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85371DF9-9329-4F4E-BF85-9AB0983FF77F}">
          <p14:sldIdLst>
            <p14:sldId id="2147470536"/>
            <p14:sldId id="258"/>
            <p14:sldId id="276"/>
          </p14:sldIdLst>
        </p14:section>
        <p14:section name="Discovery" id="{AEAA7409-FBC0-4D9F-805B-A3C32C328D15}">
          <p14:sldIdLst>
            <p14:sldId id="2147483629"/>
            <p14:sldId id="2147483642"/>
            <p14:sldId id="2147483643"/>
            <p14:sldId id="2147483644"/>
            <p14:sldId id="2147483645"/>
            <p14:sldId id="2147483646"/>
            <p14:sldId id="2147483647"/>
            <p14:sldId id="283"/>
            <p14:sldId id="256"/>
            <p14:sldId id="273"/>
            <p14:sldId id="2147483641"/>
            <p14:sldId id="2147483627"/>
            <p14:sldId id="2147483615"/>
            <p14:sldId id="2147483628"/>
            <p14:sldId id="2147483639"/>
            <p14:sldId id="2147483617"/>
            <p14:sldId id="2147483623"/>
          </p14:sldIdLst>
        </p14:section>
        <p14:section name="Envisioning" id="{4E2D62FC-CDEA-487F-84D1-F85FDE44D9D6}">
          <p14:sldIdLst>
            <p14:sldId id="259"/>
            <p14:sldId id="262"/>
            <p14:sldId id="263"/>
            <p14:sldId id="264"/>
            <p14:sldId id="265"/>
            <p14:sldId id="266"/>
            <p14:sldId id="267"/>
            <p14:sldId id="261"/>
            <p14:sldId id="268"/>
            <p14:sldId id="2147482665"/>
            <p14:sldId id="269"/>
            <p14:sldId id="270"/>
            <p14:sldId id="271"/>
            <p14:sldId id="272"/>
          </p14:sldIdLst>
        </p14:section>
        <p14:section name="Taxonomy" id="{1F9C6323-A9BA-4AB0-8339-E6E559DA2514}">
          <p14:sldIdLst>
            <p14:sldId id="275"/>
            <p14:sldId id="274"/>
            <p14:sldId id="257"/>
            <p14:sldId id="260"/>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AFA61D8-796F-555E-A395-B33F90AAF99E}" name="Monica Lueder" initials="ML" userId="S::monical@microsoft.com::75969e72-ba9c-4e32-a4ac-c8f3aeff9ba2"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8" clrIdx="3">
    <p:extLst>
      <p:ext uri="{19B8F6BF-5375-455C-9EA6-DF929625EA0E}">
        <p15:presenceInfo xmlns:p15="http://schemas.microsoft.com/office/powerpoint/2012/main" userId="S-1-5-21-2127521184-1604012920-1887927527-65006" providerId="AD"/>
      </p:ext>
    </p:extLst>
  </p:cmAuthor>
  <p:cmAuthor id="4" name="Tracy Tran" initials="TT" lastIdx="9" clrIdx="4">
    <p:extLst>
      <p:ext uri="{19B8F6BF-5375-455C-9EA6-DF929625EA0E}">
        <p15:presenceInfo xmlns:p15="http://schemas.microsoft.com/office/powerpoint/2012/main" userId="S::tracyt@microsoft.com::7b485f56-8fe8-4efc-a1b3-85e720327ac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F4772"/>
    <a:srgbClr val="D59DFF"/>
    <a:srgbClr val="EACEED"/>
    <a:srgbClr val="E7D8ED"/>
    <a:srgbClr val="B6CCFF"/>
    <a:srgbClr val="CEE8FF"/>
    <a:srgbClr val="CBE2F1"/>
    <a:srgbClr val="FF9248"/>
    <a:srgbClr val="8C8279"/>
    <a:srgbClr val="FFB9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EDE6EB4-0111-483A-96F4-44B99DE819A2}" v="7" dt="2024-07-12T16:44:53.92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50" d="100"/>
          <a:sy n="150" d="100"/>
        </p:scale>
        <p:origin x="72" y="84"/>
      </p:cViewPr>
      <p:guideLst/>
    </p:cSldViewPr>
  </p:slideViewPr>
  <p:notesTextViewPr>
    <p:cViewPr>
      <p:scale>
        <a:sx n="1" d="1"/>
        <a:sy n="1" d="1"/>
      </p:scale>
      <p:origin x="0" y="0"/>
    </p:cViewPr>
  </p:notesTextViewPr>
  <p:sorterViewPr>
    <p:cViewPr>
      <p:scale>
        <a:sx n="100" d="100"/>
        <a:sy n="100" d="100"/>
      </p:scale>
      <p:origin x="0" y="-480"/>
    </p:cViewPr>
  </p:sorter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notesMaster" Target="notesMasters/notesMaster1.xml"/><Relationship Id="rId50" Type="http://schemas.openxmlformats.org/officeDocument/2006/relationships/presProps" Target="presProps.xml"/><Relationship Id="rId55" Type="http://schemas.microsoft.com/office/2015/10/relationships/revisionInfo" Target="revisionInfo.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tableStyles" Target="tableStyles.xml"/><Relationship Id="rId5" Type="http://schemas.openxmlformats.org/officeDocument/2006/relationships/slideMaster" Target="slideMasters/slideMaster2.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handoutMaster" Target="handoutMasters/handoutMaster1.xml"/><Relationship Id="rId56" Type="http://schemas.microsoft.com/office/2018/10/relationships/authors" Target="authors.xml"/><Relationship Id="rId8" Type="http://schemas.openxmlformats.org/officeDocument/2006/relationships/slideMaster" Target="slideMasters/slideMaster5.xml"/><Relationship Id="rId51"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20" Type="http://schemas.openxmlformats.org/officeDocument/2006/relationships/slide" Target="slides/slide12.xml"/><Relationship Id="rId41" Type="http://schemas.openxmlformats.org/officeDocument/2006/relationships/slide" Target="slides/slide33.xml"/><Relationship Id="rId54"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commentAuthors" Target="commen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imberly O'Donoghue" userId="S::kimod@microsoft.com::fb30e689-50de-4dfe-8ab4-f3c0431570c8" providerId="AD" clId="Web-{9AAEBAE5-C0A7-3B5A-4A10-635D3CAD07C1}"/>
    <pc:docChg chg="sldOrd">
      <pc:chgData name="Kimberly O'Donoghue" userId="S::kimod@microsoft.com::fb30e689-50de-4dfe-8ab4-f3c0431570c8" providerId="AD" clId="Web-{9AAEBAE5-C0A7-3B5A-4A10-635D3CAD07C1}" dt="2024-07-08T21:36:59.154" v="0"/>
      <pc:docMkLst>
        <pc:docMk/>
      </pc:docMkLst>
      <pc:sldChg chg="ord">
        <pc:chgData name="Kimberly O'Donoghue" userId="S::kimod@microsoft.com::fb30e689-50de-4dfe-8ab4-f3c0431570c8" providerId="AD" clId="Web-{9AAEBAE5-C0A7-3B5A-4A10-635D3CAD07C1}" dt="2024-07-08T21:36:59.154" v="0"/>
        <pc:sldMkLst>
          <pc:docMk/>
          <pc:sldMk cId="4293362491" sldId="276"/>
        </pc:sldMkLst>
      </pc:sldChg>
    </pc:docChg>
  </pc:docChgLst>
  <pc:docChgLst>
    <pc:chgData name="Andrew Cook" userId="ddec19ab-4ca4-4ae1-91d3-fa546726fa27" providerId="ADAL" clId="{3EDE6EB4-0111-483A-96F4-44B99DE819A2}"/>
    <pc:docChg chg="custSel delSld modSld modSection">
      <pc:chgData name="Andrew Cook" userId="ddec19ab-4ca4-4ae1-91d3-fa546726fa27" providerId="ADAL" clId="{3EDE6EB4-0111-483A-96F4-44B99DE819A2}" dt="2024-07-12T16:45:24.356" v="377" actId="1076"/>
      <pc:docMkLst>
        <pc:docMk/>
      </pc:docMkLst>
      <pc:sldChg chg="modSp">
        <pc:chgData name="Andrew Cook" userId="ddec19ab-4ca4-4ae1-91d3-fa546726fa27" providerId="ADAL" clId="{3EDE6EB4-0111-483A-96F4-44B99DE819A2}" dt="2024-07-12T16:38:35.693" v="237"/>
        <pc:sldMkLst>
          <pc:docMk/>
          <pc:sldMk cId="4137914996" sldId="256"/>
        </pc:sldMkLst>
        <pc:spChg chg="mod">
          <ac:chgData name="Andrew Cook" userId="ddec19ab-4ca4-4ae1-91d3-fa546726fa27" providerId="ADAL" clId="{3EDE6EB4-0111-483A-96F4-44B99DE819A2}" dt="2024-07-12T16:38:35.693" v="237"/>
          <ac:spMkLst>
            <pc:docMk/>
            <pc:sldMk cId="4137914996" sldId="256"/>
            <ac:spMk id="32" creationId="{0519D7B0-71F8-96A2-BA4D-F5CAE4E00C2F}"/>
          </ac:spMkLst>
        </pc:spChg>
      </pc:sldChg>
      <pc:sldChg chg="modSp mod">
        <pc:chgData name="Andrew Cook" userId="ddec19ab-4ca4-4ae1-91d3-fa546726fa27" providerId="ADAL" clId="{3EDE6EB4-0111-483A-96F4-44B99DE819A2}" dt="2024-07-12T16:39:16.475" v="256" actId="20577"/>
        <pc:sldMkLst>
          <pc:docMk/>
          <pc:sldMk cId="2106633809" sldId="259"/>
        </pc:sldMkLst>
        <pc:spChg chg="mod">
          <ac:chgData name="Andrew Cook" userId="ddec19ab-4ca4-4ae1-91d3-fa546726fa27" providerId="ADAL" clId="{3EDE6EB4-0111-483A-96F4-44B99DE819A2}" dt="2024-07-12T16:39:16.475" v="256" actId="20577"/>
          <ac:spMkLst>
            <pc:docMk/>
            <pc:sldMk cId="2106633809" sldId="259"/>
            <ac:spMk id="2" creationId="{6D0BC9E6-1379-23D9-B2D3-F8C0B2869678}"/>
          </ac:spMkLst>
        </pc:spChg>
      </pc:sldChg>
      <pc:sldChg chg="addSp modSp mod">
        <pc:chgData name="Andrew Cook" userId="ddec19ab-4ca4-4ae1-91d3-fa546726fa27" providerId="ADAL" clId="{3EDE6EB4-0111-483A-96F4-44B99DE819A2}" dt="2024-07-12T16:45:24.356" v="377" actId="1076"/>
        <pc:sldMkLst>
          <pc:docMk/>
          <pc:sldMk cId="2647938122" sldId="260"/>
        </pc:sldMkLst>
        <pc:spChg chg="add mod">
          <ac:chgData name="Andrew Cook" userId="ddec19ab-4ca4-4ae1-91d3-fa546726fa27" providerId="ADAL" clId="{3EDE6EB4-0111-483A-96F4-44B99DE819A2}" dt="2024-07-12T16:45:24.356" v="377" actId="1076"/>
          <ac:spMkLst>
            <pc:docMk/>
            <pc:sldMk cId="2647938122" sldId="260"/>
            <ac:spMk id="2" creationId="{B053652C-072D-1B6B-DE12-4AD1E0D18659}"/>
          </ac:spMkLst>
        </pc:spChg>
        <pc:grpChg chg="add mod">
          <ac:chgData name="Andrew Cook" userId="ddec19ab-4ca4-4ae1-91d3-fa546726fa27" providerId="ADAL" clId="{3EDE6EB4-0111-483A-96F4-44B99DE819A2}" dt="2024-07-12T16:44:53.925" v="328" actId="1076"/>
          <ac:grpSpMkLst>
            <pc:docMk/>
            <pc:sldMk cId="2647938122" sldId="260"/>
            <ac:grpSpMk id="3" creationId="{D196B0AF-DAC8-91A1-8BFB-D9C1B568BFE0}"/>
          </ac:grpSpMkLst>
        </pc:grpChg>
        <pc:picChg chg="mod">
          <ac:chgData name="Andrew Cook" userId="ddec19ab-4ca4-4ae1-91d3-fa546726fa27" providerId="ADAL" clId="{3EDE6EB4-0111-483A-96F4-44B99DE819A2}" dt="2024-07-12T16:44:53.925" v="328" actId="1076"/>
          <ac:picMkLst>
            <pc:docMk/>
            <pc:sldMk cId="2647938122" sldId="260"/>
            <ac:picMk id="1026" creationId="{9930EEE6-4604-BDBC-4DE8-A7F71EA0E492}"/>
          </ac:picMkLst>
        </pc:picChg>
        <pc:picChg chg="mod">
          <ac:chgData name="Andrew Cook" userId="ddec19ab-4ca4-4ae1-91d3-fa546726fa27" providerId="ADAL" clId="{3EDE6EB4-0111-483A-96F4-44B99DE819A2}" dt="2024-07-12T16:44:53.925" v="328" actId="1076"/>
          <ac:picMkLst>
            <pc:docMk/>
            <pc:sldMk cId="2647938122" sldId="260"/>
            <ac:picMk id="1027" creationId="{27F078DD-7235-66A0-6C1C-A015EDA02126}"/>
          </ac:picMkLst>
        </pc:picChg>
        <pc:picChg chg="mod">
          <ac:chgData name="Andrew Cook" userId="ddec19ab-4ca4-4ae1-91d3-fa546726fa27" providerId="ADAL" clId="{3EDE6EB4-0111-483A-96F4-44B99DE819A2}" dt="2024-07-12T16:44:53.925" v="328" actId="1076"/>
          <ac:picMkLst>
            <pc:docMk/>
            <pc:sldMk cId="2647938122" sldId="260"/>
            <ac:picMk id="1028" creationId="{20934383-8936-2B9B-2054-37E8461630E4}"/>
          </ac:picMkLst>
        </pc:picChg>
      </pc:sldChg>
      <pc:sldChg chg="del">
        <pc:chgData name="Andrew Cook" userId="ddec19ab-4ca4-4ae1-91d3-fa546726fa27" providerId="ADAL" clId="{3EDE6EB4-0111-483A-96F4-44B99DE819A2}" dt="2024-07-12T16:40:00.178" v="258" actId="47"/>
        <pc:sldMkLst>
          <pc:docMk/>
          <pc:sldMk cId="3052718820" sldId="260"/>
        </pc:sldMkLst>
      </pc:sldChg>
      <pc:sldChg chg="modSp mod">
        <pc:chgData name="Andrew Cook" userId="ddec19ab-4ca4-4ae1-91d3-fa546726fa27" providerId="ADAL" clId="{3EDE6EB4-0111-483A-96F4-44B99DE819A2}" dt="2024-07-12T16:40:58.742" v="303" actId="20577"/>
        <pc:sldMkLst>
          <pc:docMk/>
          <pc:sldMk cId="3927695548" sldId="261"/>
        </pc:sldMkLst>
        <pc:spChg chg="mod">
          <ac:chgData name="Andrew Cook" userId="ddec19ab-4ca4-4ae1-91d3-fa546726fa27" providerId="ADAL" clId="{3EDE6EB4-0111-483A-96F4-44B99DE819A2}" dt="2024-07-12T16:40:58.742" v="303" actId="20577"/>
          <ac:spMkLst>
            <pc:docMk/>
            <pc:sldMk cId="3927695548" sldId="261"/>
            <ac:spMk id="2" creationId="{6D0BC9E6-1379-23D9-B2D3-F8C0B2869678}"/>
          </ac:spMkLst>
        </pc:spChg>
      </pc:sldChg>
      <pc:sldChg chg="modSp">
        <pc:chgData name="Andrew Cook" userId="ddec19ab-4ca4-4ae1-91d3-fa546726fa27" providerId="ADAL" clId="{3EDE6EB4-0111-483A-96F4-44B99DE819A2}" dt="2024-07-12T16:39:41.937" v="257"/>
        <pc:sldMkLst>
          <pc:docMk/>
          <pc:sldMk cId="2823902951" sldId="262"/>
        </pc:sldMkLst>
        <pc:spChg chg="mod">
          <ac:chgData name="Andrew Cook" userId="ddec19ab-4ca4-4ae1-91d3-fa546726fa27" providerId="ADAL" clId="{3EDE6EB4-0111-483A-96F4-44B99DE819A2}" dt="2024-07-12T16:39:41.937" v="257"/>
          <ac:spMkLst>
            <pc:docMk/>
            <pc:sldMk cId="2823902951" sldId="262"/>
            <ac:spMk id="2" creationId="{41D7FB24-6AD6-DB9E-FFCD-588F980E8F47}"/>
          </ac:spMkLst>
        </pc:spChg>
      </pc:sldChg>
      <pc:sldChg chg="modSp">
        <pc:chgData name="Andrew Cook" userId="ddec19ab-4ca4-4ae1-91d3-fa546726fa27" providerId="ADAL" clId="{3EDE6EB4-0111-483A-96F4-44B99DE819A2}" dt="2024-07-12T16:41:36.903" v="304"/>
        <pc:sldMkLst>
          <pc:docMk/>
          <pc:sldMk cId="1676631757" sldId="263"/>
        </pc:sldMkLst>
        <pc:spChg chg="mod">
          <ac:chgData name="Andrew Cook" userId="ddec19ab-4ca4-4ae1-91d3-fa546726fa27" providerId="ADAL" clId="{3EDE6EB4-0111-483A-96F4-44B99DE819A2}" dt="2024-07-12T16:41:36.903" v="304"/>
          <ac:spMkLst>
            <pc:docMk/>
            <pc:sldMk cId="1676631757" sldId="263"/>
            <ac:spMk id="23" creationId="{AAF68C2C-7F4E-CBEC-16DE-7883542CD296}"/>
          </ac:spMkLst>
        </pc:spChg>
      </pc:sldChg>
      <pc:sldChg chg="modSp">
        <pc:chgData name="Andrew Cook" userId="ddec19ab-4ca4-4ae1-91d3-fa546726fa27" providerId="ADAL" clId="{3EDE6EB4-0111-483A-96F4-44B99DE819A2}" dt="2024-07-12T16:41:36.903" v="304"/>
        <pc:sldMkLst>
          <pc:docMk/>
          <pc:sldMk cId="745740978" sldId="264"/>
        </pc:sldMkLst>
        <pc:spChg chg="mod">
          <ac:chgData name="Andrew Cook" userId="ddec19ab-4ca4-4ae1-91d3-fa546726fa27" providerId="ADAL" clId="{3EDE6EB4-0111-483A-96F4-44B99DE819A2}" dt="2024-07-12T16:41:36.903" v="304"/>
          <ac:spMkLst>
            <pc:docMk/>
            <pc:sldMk cId="745740978" sldId="264"/>
            <ac:spMk id="10" creationId="{44C1F13D-75AB-D94D-23A2-FFE453EAD080}"/>
          </ac:spMkLst>
        </pc:spChg>
      </pc:sldChg>
      <pc:sldChg chg="modSp">
        <pc:chgData name="Andrew Cook" userId="ddec19ab-4ca4-4ae1-91d3-fa546726fa27" providerId="ADAL" clId="{3EDE6EB4-0111-483A-96F4-44B99DE819A2}" dt="2024-07-12T16:41:36.903" v="304"/>
        <pc:sldMkLst>
          <pc:docMk/>
          <pc:sldMk cId="566138005" sldId="265"/>
        </pc:sldMkLst>
        <pc:spChg chg="mod">
          <ac:chgData name="Andrew Cook" userId="ddec19ab-4ca4-4ae1-91d3-fa546726fa27" providerId="ADAL" clId="{3EDE6EB4-0111-483A-96F4-44B99DE819A2}" dt="2024-07-12T16:41:36.903" v="304"/>
          <ac:spMkLst>
            <pc:docMk/>
            <pc:sldMk cId="566138005" sldId="265"/>
            <ac:spMk id="10" creationId="{EBA76861-D5BB-9196-34C4-B560C805668A}"/>
          </ac:spMkLst>
        </pc:spChg>
      </pc:sldChg>
      <pc:sldChg chg="modSp">
        <pc:chgData name="Andrew Cook" userId="ddec19ab-4ca4-4ae1-91d3-fa546726fa27" providerId="ADAL" clId="{3EDE6EB4-0111-483A-96F4-44B99DE819A2}" dt="2024-07-12T16:41:36.903" v="304"/>
        <pc:sldMkLst>
          <pc:docMk/>
          <pc:sldMk cId="64538440" sldId="266"/>
        </pc:sldMkLst>
        <pc:spChg chg="mod">
          <ac:chgData name="Andrew Cook" userId="ddec19ab-4ca4-4ae1-91d3-fa546726fa27" providerId="ADAL" clId="{3EDE6EB4-0111-483A-96F4-44B99DE819A2}" dt="2024-07-12T16:41:36.903" v="304"/>
          <ac:spMkLst>
            <pc:docMk/>
            <pc:sldMk cId="64538440" sldId="266"/>
            <ac:spMk id="10" creationId="{66C7CFF7-8E72-9ED3-1523-76EC9EB03AF3}"/>
          </ac:spMkLst>
        </pc:spChg>
      </pc:sldChg>
      <pc:sldChg chg="modSp">
        <pc:chgData name="Andrew Cook" userId="ddec19ab-4ca4-4ae1-91d3-fa546726fa27" providerId="ADAL" clId="{3EDE6EB4-0111-483A-96F4-44B99DE819A2}" dt="2024-07-12T16:41:36.903" v="304"/>
        <pc:sldMkLst>
          <pc:docMk/>
          <pc:sldMk cId="3273239441" sldId="267"/>
        </pc:sldMkLst>
        <pc:spChg chg="mod">
          <ac:chgData name="Andrew Cook" userId="ddec19ab-4ca4-4ae1-91d3-fa546726fa27" providerId="ADAL" clId="{3EDE6EB4-0111-483A-96F4-44B99DE819A2}" dt="2024-07-12T16:41:36.903" v="304"/>
          <ac:spMkLst>
            <pc:docMk/>
            <pc:sldMk cId="3273239441" sldId="267"/>
            <ac:spMk id="2" creationId="{41D7FB24-6AD6-DB9E-FFCD-588F980E8F47}"/>
          </ac:spMkLst>
        </pc:spChg>
      </pc:sldChg>
      <pc:sldChg chg="modSp">
        <pc:chgData name="Andrew Cook" userId="ddec19ab-4ca4-4ae1-91d3-fa546726fa27" providerId="ADAL" clId="{3EDE6EB4-0111-483A-96F4-44B99DE819A2}" dt="2024-07-12T16:39:41.937" v="257"/>
        <pc:sldMkLst>
          <pc:docMk/>
          <pc:sldMk cId="1077708693" sldId="268"/>
        </pc:sldMkLst>
        <pc:spChg chg="mod">
          <ac:chgData name="Andrew Cook" userId="ddec19ab-4ca4-4ae1-91d3-fa546726fa27" providerId="ADAL" clId="{3EDE6EB4-0111-483A-96F4-44B99DE819A2}" dt="2024-07-12T16:39:41.937" v="257"/>
          <ac:spMkLst>
            <pc:docMk/>
            <pc:sldMk cId="1077708693" sldId="268"/>
            <ac:spMk id="2" creationId="{41D7FB24-6AD6-DB9E-FFCD-588F980E8F47}"/>
          </ac:spMkLst>
        </pc:spChg>
      </pc:sldChg>
      <pc:sldChg chg="modSp">
        <pc:chgData name="Andrew Cook" userId="ddec19ab-4ca4-4ae1-91d3-fa546726fa27" providerId="ADAL" clId="{3EDE6EB4-0111-483A-96F4-44B99DE819A2}" dt="2024-07-12T16:41:36.903" v="304"/>
        <pc:sldMkLst>
          <pc:docMk/>
          <pc:sldMk cId="1800071375" sldId="269"/>
        </pc:sldMkLst>
        <pc:spChg chg="mod">
          <ac:chgData name="Andrew Cook" userId="ddec19ab-4ca4-4ae1-91d3-fa546726fa27" providerId="ADAL" clId="{3EDE6EB4-0111-483A-96F4-44B99DE819A2}" dt="2024-07-12T16:41:36.903" v="304"/>
          <ac:spMkLst>
            <pc:docMk/>
            <pc:sldMk cId="1800071375" sldId="269"/>
            <ac:spMk id="10" creationId="{44C1F13D-75AB-D94D-23A2-FFE453EAD080}"/>
          </ac:spMkLst>
        </pc:spChg>
      </pc:sldChg>
      <pc:sldChg chg="modSp">
        <pc:chgData name="Andrew Cook" userId="ddec19ab-4ca4-4ae1-91d3-fa546726fa27" providerId="ADAL" clId="{3EDE6EB4-0111-483A-96F4-44B99DE819A2}" dt="2024-07-12T16:41:36.903" v="304"/>
        <pc:sldMkLst>
          <pc:docMk/>
          <pc:sldMk cId="459898383" sldId="270"/>
        </pc:sldMkLst>
        <pc:spChg chg="mod">
          <ac:chgData name="Andrew Cook" userId="ddec19ab-4ca4-4ae1-91d3-fa546726fa27" providerId="ADAL" clId="{3EDE6EB4-0111-483A-96F4-44B99DE819A2}" dt="2024-07-12T16:41:36.903" v="304"/>
          <ac:spMkLst>
            <pc:docMk/>
            <pc:sldMk cId="459898383" sldId="270"/>
            <ac:spMk id="10" creationId="{EBA76861-D5BB-9196-34C4-B560C805668A}"/>
          </ac:spMkLst>
        </pc:spChg>
      </pc:sldChg>
      <pc:sldChg chg="modSp">
        <pc:chgData name="Andrew Cook" userId="ddec19ab-4ca4-4ae1-91d3-fa546726fa27" providerId="ADAL" clId="{3EDE6EB4-0111-483A-96F4-44B99DE819A2}" dt="2024-07-12T16:41:36.903" v="304"/>
        <pc:sldMkLst>
          <pc:docMk/>
          <pc:sldMk cId="635261578" sldId="271"/>
        </pc:sldMkLst>
        <pc:spChg chg="mod">
          <ac:chgData name="Andrew Cook" userId="ddec19ab-4ca4-4ae1-91d3-fa546726fa27" providerId="ADAL" clId="{3EDE6EB4-0111-483A-96F4-44B99DE819A2}" dt="2024-07-12T16:41:36.903" v="304"/>
          <ac:spMkLst>
            <pc:docMk/>
            <pc:sldMk cId="635261578" sldId="271"/>
            <ac:spMk id="10" creationId="{66C7CFF7-8E72-9ED3-1523-76EC9EB03AF3}"/>
          </ac:spMkLst>
        </pc:spChg>
      </pc:sldChg>
      <pc:sldChg chg="modSp">
        <pc:chgData name="Andrew Cook" userId="ddec19ab-4ca4-4ae1-91d3-fa546726fa27" providerId="ADAL" clId="{3EDE6EB4-0111-483A-96F4-44B99DE819A2}" dt="2024-07-12T16:41:36.903" v="304"/>
        <pc:sldMkLst>
          <pc:docMk/>
          <pc:sldMk cId="559526874" sldId="272"/>
        </pc:sldMkLst>
        <pc:spChg chg="mod">
          <ac:chgData name="Andrew Cook" userId="ddec19ab-4ca4-4ae1-91d3-fa546726fa27" providerId="ADAL" clId="{3EDE6EB4-0111-483A-96F4-44B99DE819A2}" dt="2024-07-12T16:41:36.903" v="304"/>
          <ac:spMkLst>
            <pc:docMk/>
            <pc:sldMk cId="559526874" sldId="272"/>
            <ac:spMk id="2" creationId="{41D7FB24-6AD6-DB9E-FFCD-588F980E8F47}"/>
          </ac:spMkLst>
        </pc:spChg>
      </pc:sldChg>
      <pc:sldChg chg="modSp mod">
        <pc:chgData name="Andrew Cook" userId="ddec19ab-4ca4-4ae1-91d3-fa546726fa27" providerId="ADAL" clId="{3EDE6EB4-0111-483A-96F4-44B99DE819A2}" dt="2024-07-12T16:37:46.532" v="216" actId="20577"/>
        <pc:sldMkLst>
          <pc:docMk/>
          <pc:sldMk cId="4293362491" sldId="276"/>
        </pc:sldMkLst>
        <pc:spChg chg="mod">
          <ac:chgData name="Andrew Cook" userId="ddec19ab-4ca4-4ae1-91d3-fa546726fa27" providerId="ADAL" clId="{3EDE6EB4-0111-483A-96F4-44B99DE819A2}" dt="2024-07-12T16:37:46.532" v="216" actId="20577"/>
          <ac:spMkLst>
            <pc:docMk/>
            <pc:sldMk cId="4293362491" sldId="276"/>
            <ac:spMk id="3" creationId="{0196DA7C-B467-A9D3-921D-1BA744C69BC1}"/>
          </ac:spMkLst>
        </pc:spChg>
      </pc:sldChg>
      <pc:sldChg chg="modSp mod">
        <pc:chgData name="Andrew Cook" userId="ddec19ab-4ca4-4ae1-91d3-fa546726fa27" providerId="ADAL" clId="{3EDE6EB4-0111-483A-96F4-44B99DE819A2}" dt="2024-07-12T16:37:22.367" v="209" actId="20577"/>
        <pc:sldMkLst>
          <pc:docMk/>
          <pc:sldMk cId="203397802" sldId="2147470536"/>
        </pc:sldMkLst>
        <pc:graphicFrameChg chg="modGraphic">
          <ac:chgData name="Andrew Cook" userId="ddec19ab-4ca4-4ae1-91d3-fa546726fa27" providerId="ADAL" clId="{3EDE6EB4-0111-483A-96F4-44B99DE819A2}" dt="2024-07-12T16:37:22.367" v="209" actId="20577"/>
          <ac:graphicFrameMkLst>
            <pc:docMk/>
            <pc:sldMk cId="203397802" sldId="2147470536"/>
            <ac:graphicFrameMk id="6" creationId="{64ED91EA-AF16-4E61-BE01-A65A94E4EAD6}"/>
          </ac:graphicFrameMkLst>
        </pc:graphicFrameChg>
      </pc:sldChg>
      <pc:sldChg chg="modSp">
        <pc:chgData name="Andrew Cook" userId="ddec19ab-4ca4-4ae1-91d3-fa546726fa27" providerId="ADAL" clId="{3EDE6EB4-0111-483A-96F4-44B99DE819A2}" dt="2024-07-12T16:41:36.903" v="304"/>
        <pc:sldMkLst>
          <pc:docMk/>
          <pc:sldMk cId="1765836783" sldId="2147482665"/>
        </pc:sldMkLst>
        <pc:spChg chg="mod">
          <ac:chgData name="Andrew Cook" userId="ddec19ab-4ca4-4ae1-91d3-fa546726fa27" providerId="ADAL" clId="{3EDE6EB4-0111-483A-96F4-44B99DE819A2}" dt="2024-07-12T16:41:36.903" v="304"/>
          <ac:spMkLst>
            <pc:docMk/>
            <pc:sldMk cId="1765836783" sldId="2147482665"/>
            <ac:spMk id="23" creationId="{AAF68C2C-7F4E-CBEC-16DE-7883542CD296}"/>
          </ac:spMkLst>
        </pc:spChg>
      </pc:sldChg>
      <pc:sldChg chg="modSp">
        <pc:chgData name="Andrew Cook" userId="ddec19ab-4ca4-4ae1-91d3-fa546726fa27" providerId="ADAL" clId="{3EDE6EB4-0111-483A-96F4-44B99DE819A2}" dt="2024-07-12T16:38:35.693" v="237"/>
        <pc:sldMkLst>
          <pc:docMk/>
          <pc:sldMk cId="3139152806" sldId="2147483615"/>
        </pc:sldMkLst>
        <pc:spChg chg="mod">
          <ac:chgData name="Andrew Cook" userId="ddec19ab-4ca4-4ae1-91d3-fa546726fa27" providerId="ADAL" clId="{3EDE6EB4-0111-483A-96F4-44B99DE819A2}" dt="2024-07-12T16:38:35.693" v="237"/>
          <ac:spMkLst>
            <pc:docMk/>
            <pc:sldMk cId="3139152806" sldId="2147483615"/>
            <ac:spMk id="2" creationId="{41D7FB24-6AD6-DB9E-FFCD-588F980E8F47}"/>
          </ac:spMkLst>
        </pc:spChg>
      </pc:sldChg>
      <pc:sldChg chg="modSp">
        <pc:chgData name="Andrew Cook" userId="ddec19ab-4ca4-4ae1-91d3-fa546726fa27" providerId="ADAL" clId="{3EDE6EB4-0111-483A-96F4-44B99DE819A2}" dt="2024-07-12T16:38:35.693" v="237"/>
        <pc:sldMkLst>
          <pc:docMk/>
          <pc:sldMk cId="438734876" sldId="2147483617"/>
        </pc:sldMkLst>
        <pc:spChg chg="mod">
          <ac:chgData name="Andrew Cook" userId="ddec19ab-4ca4-4ae1-91d3-fa546726fa27" providerId="ADAL" clId="{3EDE6EB4-0111-483A-96F4-44B99DE819A2}" dt="2024-07-12T16:38:35.693" v="237"/>
          <ac:spMkLst>
            <pc:docMk/>
            <pc:sldMk cId="438734876" sldId="2147483617"/>
            <ac:spMk id="32" creationId="{0519D7B0-71F8-96A2-BA4D-F5CAE4E00C2F}"/>
          </ac:spMkLst>
        </pc:spChg>
      </pc:sldChg>
      <pc:sldChg chg="modSp">
        <pc:chgData name="Andrew Cook" userId="ddec19ab-4ca4-4ae1-91d3-fa546726fa27" providerId="ADAL" clId="{3EDE6EB4-0111-483A-96F4-44B99DE819A2}" dt="2024-07-12T16:38:35.693" v="237"/>
        <pc:sldMkLst>
          <pc:docMk/>
          <pc:sldMk cId="1663751312" sldId="2147483623"/>
        </pc:sldMkLst>
        <pc:spChg chg="mod">
          <ac:chgData name="Andrew Cook" userId="ddec19ab-4ca4-4ae1-91d3-fa546726fa27" providerId="ADAL" clId="{3EDE6EB4-0111-483A-96F4-44B99DE819A2}" dt="2024-07-12T16:38:35.693" v="237"/>
          <ac:spMkLst>
            <pc:docMk/>
            <pc:sldMk cId="1663751312" sldId="2147483623"/>
            <ac:spMk id="32" creationId="{0519D7B0-71F8-96A2-BA4D-F5CAE4E00C2F}"/>
          </ac:spMkLst>
        </pc:spChg>
      </pc:sldChg>
      <pc:sldChg chg="modSp">
        <pc:chgData name="Andrew Cook" userId="ddec19ab-4ca4-4ae1-91d3-fa546726fa27" providerId="ADAL" clId="{3EDE6EB4-0111-483A-96F4-44B99DE819A2}" dt="2024-07-12T16:38:35.693" v="237"/>
        <pc:sldMkLst>
          <pc:docMk/>
          <pc:sldMk cId="3621679924" sldId="2147483627"/>
        </pc:sldMkLst>
        <pc:spChg chg="mod">
          <ac:chgData name="Andrew Cook" userId="ddec19ab-4ca4-4ae1-91d3-fa546726fa27" providerId="ADAL" clId="{3EDE6EB4-0111-483A-96F4-44B99DE819A2}" dt="2024-07-12T16:38:35.693" v="237"/>
          <ac:spMkLst>
            <pc:docMk/>
            <pc:sldMk cId="3621679924" sldId="2147483627"/>
            <ac:spMk id="2" creationId="{41D7FB24-6AD6-DB9E-FFCD-588F980E8F47}"/>
          </ac:spMkLst>
        </pc:spChg>
      </pc:sldChg>
      <pc:sldChg chg="modSp">
        <pc:chgData name="Andrew Cook" userId="ddec19ab-4ca4-4ae1-91d3-fa546726fa27" providerId="ADAL" clId="{3EDE6EB4-0111-483A-96F4-44B99DE819A2}" dt="2024-07-12T16:38:35.693" v="237"/>
        <pc:sldMkLst>
          <pc:docMk/>
          <pc:sldMk cId="880876687" sldId="2147483628"/>
        </pc:sldMkLst>
        <pc:spChg chg="mod">
          <ac:chgData name="Andrew Cook" userId="ddec19ab-4ca4-4ae1-91d3-fa546726fa27" providerId="ADAL" clId="{3EDE6EB4-0111-483A-96F4-44B99DE819A2}" dt="2024-07-12T16:38:35.693" v="237"/>
          <ac:spMkLst>
            <pc:docMk/>
            <pc:sldMk cId="880876687" sldId="2147483628"/>
            <ac:spMk id="2" creationId="{41D7FB24-6AD6-DB9E-FFCD-588F980E8F47}"/>
          </ac:spMkLst>
        </pc:spChg>
      </pc:sldChg>
      <pc:sldChg chg="modSp mod">
        <pc:chgData name="Andrew Cook" userId="ddec19ab-4ca4-4ae1-91d3-fa546726fa27" providerId="ADAL" clId="{3EDE6EB4-0111-483A-96F4-44B99DE819A2}" dt="2024-07-12T16:38:00.298" v="236" actId="20577"/>
        <pc:sldMkLst>
          <pc:docMk/>
          <pc:sldMk cId="3688633568" sldId="2147483629"/>
        </pc:sldMkLst>
        <pc:spChg chg="mod">
          <ac:chgData name="Andrew Cook" userId="ddec19ab-4ca4-4ae1-91d3-fa546726fa27" providerId="ADAL" clId="{3EDE6EB4-0111-483A-96F4-44B99DE819A2}" dt="2024-07-12T16:38:00.298" v="236" actId="20577"/>
          <ac:spMkLst>
            <pc:docMk/>
            <pc:sldMk cId="3688633568" sldId="2147483629"/>
            <ac:spMk id="2" creationId="{6D0BC9E6-1379-23D9-B2D3-F8C0B2869678}"/>
          </ac:spMkLst>
        </pc:spChg>
      </pc:sldChg>
      <pc:sldChg chg="modSp">
        <pc:chgData name="Andrew Cook" userId="ddec19ab-4ca4-4ae1-91d3-fa546726fa27" providerId="ADAL" clId="{3EDE6EB4-0111-483A-96F4-44B99DE819A2}" dt="2024-07-12T16:38:35.693" v="237"/>
        <pc:sldMkLst>
          <pc:docMk/>
          <pc:sldMk cId="459073471" sldId="2147483639"/>
        </pc:sldMkLst>
        <pc:spChg chg="mod">
          <ac:chgData name="Andrew Cook" userId="ddec19ab-4ca4-4ae1-91d3-fa546726fa27" providerId="ADAL" clId="{3EDE6EB4-0111-483A-96F4-44B99DE819A2}" dt="2024-07-12T16:38:35.693" v="237"/>
          <ac:spMkLst>
            <pc:docMk/>
            <pc:sldMk cId="459073471" sldId="2147483639"/>
            <ac:spMk id="2" creationId="{41D7FB24-6AD6-DB9E-FFCD-588F980E8F47}"/>
          </ac:spMkLst>
        </pc:spChg>
      </pc:sldChg>
      <pc:sldChg chg="modSp">
        <pc:chgData name="Andrew Cook" userId="ddec19ab-4ca4-4ae1-91d3-fa546726fa27" providerId="ADAL" clId="{3EDE6EB4-0111-483A-96F4-44B99DE819A2}" dt="2024-07-12T16:38:35.693" v="237"/>
        <pc:sldMkLst>
          <pc:docMk/>
          <pc:sldMk cId="722905292" sldId="2147483641"/>
        </pc:sldMkLst>
        <pc:spChg chg="mod">
          <ac:chgData name="Andrew Cook" userId="ddec19ab-4ca4-4ae1-91d3-fa546726fa27" providerId="ADAL" clId="{3EDE6EB4-0111-483A-96F4-44B99DE819A2}" dt="2024-07-12T16:38:35.693" v="237"/>
          <ac:spMkLst>
            <pc:docMk/>
            <pc:sldMk cId="722905292" sldId="2147483641"/>
            <ac:spMk id="2" creationId="{6D0BC9E6-1379-23D9-B2D3-F8C0B2869678}"/>
          </ac:spMkLst>
        </pc:spChg>
      </pc:sldChg>
      <pc:sldChg chg="modSp">
        <pc:chgData name="Andrew Cook" userId="ddec19ab-4ca4-4ae1-91d3-fa546726fa27" providerId="ADAL" clId="{3EDE6EB4-0111-483A-96F4-44B99DE819A2}" dt="2024-07-12T16:38:35.693" v="237"/>
        <pc:sldMkLst>
          <pc:docMk/>
          <pc:sldMk cId="3100597480" sldId="2147483642"/>
        </pc:sldMkLst>
        <pc:spChg chg="mod">
          <ac:chgData name="Andrew Cook" userId="ddec19ab-4ca4-4ae1-91d3-fa546726fa27" providerId="ADAL" clId="{3EDE6EB4-0111-483A-96F4-44B99DE819A2}" dt="2024-07-12T16:38:35.693" v="237"/>
          <ac:spMkLst>
            <pc:docMk/>
            <pc:sldMk cId="3100597480" sldId="2147483642"/>
            <ac:spMk id="2" creationId="{41D7FB24-6AD6-DB9E-FFCD-588F980E8F47}"/>
          </ac:spMkLst>
        </pc:spChg>
      </pc:sldChg>
      <pc:sldChg chg="modSp">
        <pc:chgData name="Andrew Cook" userId="ddec19ab-4ca4-4ae1-91d3-fa546726fa27" providerId="ADAL" clId="{3EDE6EB4-0111-483A-96F4-44B99DE819A2}" dt="2024-07-12T16:38:35.693" v="237"/>
        <pc:sldMkLst>
          <pc:docMk/>
          <pc:sldMk cId="1470084665" sldId="2147483643"/>
        </pc:sldMkLst>
        <pc:spChg chg="mod">
          <ac:chgData name="Andrew Cook" userId="ddec19ab-4ca4-4ae1-91d3-fa546726fa27" providerId="ADAL" clId="{3EDE6EB4-0111-483A-96F4-44B99DE819A2}" dt="2024-07-12T16:38:35.693" v="237"/>
          <ac:spMkLst>
            <pc:docMk/>
            <pc:sldMk cId="1470084665" sldId="2147483643"/>
            <ac:spMk id="2" creationId="{41D7FB24-6AD6-DB9E-FFCD-588F980E8F47}"/>
          </ac:spMkLst>
        </pc:spChg>
      </pc:sldChg>
      <pc:sldChg chg="modSp">
        <pc:chgData name="Andrew Cook" userId="ddec19ab-4ca4-4ae1-91d3-fa546726fa27" providerId="ADAL" clId="{3EDE6EB4-0111-483A-96F4-44B99DE819A2}" dt="2024-07-12T16:38:35.693" v="237"/>
        <pc:sldMkLst>
          <pc:docMk/>
          <pc:sldMk cId="2749062687" sldId="2147483644"/>
        </pc:sldMkLst>
        <pc:spChg chg="mod">
          <ac:chgData name="Andrew Cook" userId="ddec19ab-4ca4-4ae1-91d3-fa546726fa27" providerId="ADAL" clId="{3EDE6EB4-0111-483A-96F4-44B99DE819A2}" dt="2024-07-12T16:38:35.693" v="237"/>
          <ac:spMkLst>
            <pc:docMk/>
            <pc:sldMk cId="2749062687" sldId="2147483644"/>
            <ac:spMk id="2" creationId="{41D7FB24-6AD6-DB9E-FFCD-588F980E8F47}"/>
          </ac:spMkLst>
        </pc:spChg>
      </pc:sldChg>
      <pc:sldChg chg="modSp">
        <pc:chgData name="Andrew Cook" userId="ddec19ab-4ca4-4ae1-91d3-fa546726fa27" providerId="ADAL" clId="{3EDE6EB4-0111-483A-96F4-44B99DE819A2}" dt="2024-07-12T16:38:35.693" v="237"/>
        <pc:sldMkLst>
          <pc:docMk/>
          <pc:sldMk cId="723693885" sldId="2147483645"/>
        </pc:sldMkLst>
        <pc:spChg chg="mod">
          <ac:chgData name="Andrew Cook" userId="ddec19ab-4ca4-4ae1-91d3-fa546726fa27" providerId="ADAL" clId="{3EDE6EB4-0111-483A-96F4-44B99DE819A2}" dt="2024-07-12T16:38:35.693" v="237"/>
          <ac:spMkLst>
            <pc:docMk/>
            <pc:sldMk cId="723693885" sldId="2147483645"/>
            <ac:spMk id="2" creationId="{41D7FB24-6AD6-DB9E-FFCD-588F980E8F47}"/>
          </ac:spMkLst>
        </pc:spChg>
      </pc:sldChg>
      <pc:sldChg chg="modSp">
        <pc:chgData name="Andrew Cook" userId="ddec19ab-4ca4-4ae1-91d3-fa546726fa27" providerId="ADAL" clId="{3EDE6EB4-0111-483A-96F4-44B99DE819A2}" dt="2024-07-12T16:38:35.693" v="237"/>
        <pc:sldMkLst>
          <pc:docMk/>
          <pc:sldMk cId="1501899777" sldId="2147483646"/>
        </pc:sldMkLst>
        <pc:spChg chg="mod">
          <ac:chgData name="Andrew Cook" userId="ddec19ab-4ca4-4ae1-91d3-fa546726fa27" providerId="ADAL" clId="{3EDE6EB4-0111-483A-96F4-44B99DE819A2}" dt="2024-07-12T16:38:35.693" v="237"/>
          <ac:spMkLst>
            <pc:docMk/>
            <pc:sldMk cId="1501899777" sldId="2147483646"/>
            <ac:spMk id="2" creationId="{41D7FB24-6AD6-DB9E-FFCD-588F980E8F47}"/>
          </ac:spMkLst>
        </pc:spChg>
      </pc:sldChg>
      <pc:sldChg chg="modSp">
        <pc:chgData name="Andrew Cook" userId="ddec19ab-4ca4-4ae1-91d3-fa546726fa27" providerId="ADAL" clId="{3EDE6EB4-0111-483A-96F4-44B99DE819A2}" dt="2024-07-12T16:38:35.693" v="237"/>
        <pc:sldMkLst>
          <pc:docMk/>
          <pc:sldMk cId="3715075103" sldId="2147483647"/>
        </pc:sldMkLst>
        <pc:spChg chg="mod">
          <ac:chgData name="Andrew Cook" userId="ddec19ab-4ca4-4ae1-91d3-fa546726fa27" providerId="ADAL" clId="{3EDE6EB4-0111-483A-96F4-44B99DE819A2}" dt="2024-07-12T16:38:35.693" v="237"/>
          <ac:spMkLst>
            <pc:docMk/>
            <pc:sldMk cId="3715075103" sldId="2147483647"/>
            <ac:spMk id="32" creationId="{0519D7B0-71F8-96A2-BA4D-F5CAE4E00C2F}"/>
          </ac:spMkLst>
        </pc:spChg>
      </pc:sldChg>
    </pc:docChg>
  </pc:docChgLst>
  <pc:docChgLst>
    <pc:chgData name="Andrew Cook" userId="ddec19ab-4ca4-4ae1-91d3-fa546726fa27" providerId="ADAL" clId="{3FB86440-E12E-4ABE-9A5A-C07A1229742F}"/>
    <pc:docChg chg="custSel addSld delSld modSld sldOrd addSection modSection">
      <pc:chgData name="Andrew Cook" userId="ddec19ab-4ca4-4ae1-91d3-fa546726fa27" providerId="ADAL" clId="{3FB86440-E12E-4ABE-9A5A-C07A1229742F}" dt="2024-07-10T21:07:32.091" v="710" actId="1076"/>
      <pc:docMkLst>
        <pc:docMk/>
      </pc:docMkLst>
      <pc:sldChg chg="ord">
        <pc:chgData name="Andrew Cook" userId="ddec19ab-4ca4-4ae1-91d3-fa546726fa27" providerId="ADAL" clId="{3FB86440-E12E-4ABE-9A5A-C07A1229742F}" dt="2024-07-08T13:22:18.009" v="362"/>
        <pc:sldMkLst>
          <pc:docMk/>
          <pc:sldMk cId="2711923154" sldId="257"/>
        </pc:sldMkLst>
      </pc:sldChg>
      <pc:sldChg chg="addSp modSp new del mod">
        <pc:chgData name="Andrew Cook" userId="ddec19ab-4ca4-4ae1-91d3-fa546726fa27" providerId="ADAL" clId="{3FB86440-E12E-4ABE-9A5A-C07A1229742F}" dt="2024-07-08T13:31:25.823" v="562" actId="47"/>
        <pc:sldMkLst>
          <pc:docMk/>
          <pc:sldMk cId="242805559" sldId="258"/>
        </pc:sldMkLst>
        <pc:spChg chg="mod">
          <ac:chgData name="Andrew Cook" userId="ddec19ab-4ca4-4ae1-91d3-fa546726fa27" providerId="ADAL" clId="{3FB86440-E12E-4ABE-9A5A-C07A1229742F}" dt="2024-07-08T13:25:30.445" v="393" actId="20577"/>
          <ac:spMkLst>
            <pc:docMk/>
            <pc:sldMk cId="242805559" sldId="258"/>
            <ac:spMk id="2" creationId="{08968A82-3493-1A47-E2D1-3CC4127706E5}"/>
          </ac:spMkLst>
        </pc:spChg>
        <pc:spChg chg="add mod">
          <ac:chgData name="Andrew Cook" userId="ddec19ab-4ca4-4ae1-91d3-fa546726fa27" providerId="ADAL" clId="{3FB86440-E12E-4ABE-9A5A-C07A1229742F}" dt="2024-07-08T13:27:37.708" v="514" actId="313"/>
          <ac:spMkLst>
            <pc:docMk/>
            <pc:sldMk cId="242805559" sldId="258"/>
            <ac:spMk id="3" creationId="{24F94F50-24E1-5B99-94FF-75A5A3ED3AB5}"/>
          </ac:spMkLst>
        </pc:spChg>
      </pc:sldChg>
      <pc:sldChg chg="addSp modSp new mod modShow">
        <pc:chgData name="Andrew Cook" userId="ddec19ab-4ca4-4ae1-91d3-fa546726fa27" providerId="ADAL" clId="{3FB86440-E12E-4ABE-9A5A-C07A1229742F}" dt="2024-07-10T21:07:32.091" v="710" actId="1076"/>
        <pc:sldMkLst>
          <pc:docMk/>
          <pc:sldMk cId="1351499397" sldId="258"/>
        </pc:sldMkLst>
        <pc:spChg chg="add mod">
          <ac:chgData name="Andrew Cook" userId="ddec19ab-4ca4-4ae1-91d3-fa546726fa27" providerId="ADAL" clId="{3FB86440-E12E-4ABE-9A5A-C07A1229742F}" dt="2024-07-10T21:05:53.211" v="705" actId="113"/>
          <ac:spMkLst>
            <pc:docMk/>
            <pc:sldMk cId="1351499397" sldId="258"/>
            <ac:spMk id="3" creationId="{BCAD8A43-C953-321B-D647-DAE08297CCE7}"/>
          </ac:spMkLst>
        </pc:spChg>
        <pc:spChg chg="add mod">
          <ac:chgData name="Andrew Cook" userId="ddec19ab-4ca4-4ae1-91d3-fa546726fa27" providerId="ADAL" clId="{3FB86440-E12E-4ABE-9A5A-C07A1229742F}" dt="2024-07-10T21:07:32.091" v="710" actId="1076"/>
          <ac:spMkLst>
            <pc:docMk/>
            <pc:sldMk cId="1351499397" sldId="258"/>
            <ac:spMk id="4" creationId="{DB6A1B48-736F-6D68-E789-C515D958583E}"/>
          </ac:spMkLst>
        </pc:spChg>
      </pc:sldChg>
      <pc:sldChg chg="del">
        <pc:chgData name="Andrew Cook" userId="ddec19ab-4ca4-4ae1-91d3-fa546726fa27" providerId="ADAL" clId="{3FB86440-E12E-4ABE-9A5A-C07A1229742F}" dt="2024-07-08T13:23:37.034" v="378" actId="47"/>
        <pc:sldMkLst>
          <pc:docMk/>
          <pc:sldMk cId="3629421734" sldId="258"/>
        </pc:sldMkLst>
      </pc:sldChg>
      <pc:sldChg chg="modSp mod">
        <pc:chgData name="Andrew Cook" userId="ddec19ab-4ca4-4ae1-91d3-fa546726fa27" providerId="ADAL" clId="{3FB86440-E12E-4ABE-9A5A-C07A1229742F}" dt="2024-07-08T13:22:42.852" v="373" actId="20577"/>
        <pc:sldMkLst>
          <pc:docMk/>
          <pc:sldMk cId="2106633809" sldId="259"/>
        </pc:sldMkLst>
        <pc:spChg chg="mod">
          <ac:chgData name="Andrew Cook" userId="ddec19ab-4ca4-4ae1-91d3-fa546726fa27" providerId="ADAL" clId="{3FB86440-E12E-4ABE-9A5A-C07A1229742F}" dt="2024-07-08T13:22:42.852" v="373" actId="20577"/>
          <ac:spMkLst>
            <pc:docMk/>
            <pc:sldMk cId="2106633809" sldId="259"/>
            <ac:spMk id="2" creationId="{6D0BC9E6-1379-23D9-B2D3-F8C0B2869678}"/>
          </ac:spMkLst>
        </pc:spChg>
      </pc:sldChg>
      <pc:sldChg chg="modNotesTx">
        <pc:chgData name="Andrew Cook" userId="ddec19ab-4ca4-4ae1-91d3-fa546726fa27" providerId="ADAL" clId="{3FB86440-E12E-4ABE-9A5A-C07A1229742F}" dt="2024-07-08T13:22:55.031" v="374" actId="6549"/>
        <pc:sldMkLst>
          <pc:docMk/>
          <pc:sldMk cId="2823902951" sldId="262"/>
        </pc:sldMkLst>
      </pc:sldChg>
      <pc:sldChg chg="modNotesTx">
        <pc:chgData name="Andrew Cook" userId="ddec19ab-4ca4-4ae1-91d3-fa546726fa27" providerId="ADAL" clId="{3FB86440-E12E-4ABE-9A5A-C07A1229742F}" dt="2024-07-08T13:23:00.463" v="375" actId="6549"/>
        <pc:sldMkLst>
          <pc:docMk/>
          <pc:sldMk cId="1676631757" sldId="263"/>
        </pc:sldMkLst>
      </pc:sldChg>
      <pc:sldChg chg="modNotesTx">
        <pc:chgData name="Andrew Cook" userId="ddec19ab-4ca4-4ae1-91d3-fa546726fa27" providerId="ADAL" clId="{3FB86440-E12E-4ABE-9A5A-C07A1229742F}" dt="2024-07-08T13:23:05.965" v="376" actId="6549"/>
        <pc:sldMkLst>
          <pc:docMk/>
          <pc:sldMk cId="745740978" sldId="264"/>
        </pc:sldMkLst>
      </pc:sldChg>
      <pc:sldChg chg="modNotesTx">
        <pc:chgData name="Andrew Cook" userId="ddec19ab-4ca4-4ae1-91d3-fa546726fa27" providerId="ADAL" clId="{3FB86440-E12E-4ABE-9A5A-C07A1229742F}" dt="2024-07-08T13:23:11.769" v="377" actId="6549"/>
        <pc:sldMkLst>
          <pc:docMk/>
          <pc:sldMk cId="566138005" sldId="265"/>
        </pc:sldMkLst>
      </pc:sldChg>
      <pc:sldChg chg="modSp mod">
        <pc:chgData name="Andrew Cook" userId="ddec19ab-4ca4-4ae1-91d3-fa546726fa27" providerId="ADAL" clId="{3FB86440-E12E-4ABE-9A5A-C07A1229742F}" dt="2024-07-10T20:12:16.211" v="597" actId="20577"/>
        <pc:sldMkLst>
          <pc:docMk/>
          <pc:sldMk cId="635261578" sldId="271"/>
        </pc:sldMkLst>
        <pc:spChg chg="mod">
          <ac:chgData name="Andrew Cook" userId="ddec19ab-4ca4-4ae1-91d3-fa546726fa27" providerId="ADAL" clId="{3FB86440-E12E-4ABE-9A5A-C07A1229742F}" dt="2024-07-10T20:12:16.211" v="597" actId="20577"/>
          <ac:spMkLst>
            <pc:docMk/>
            <pc:sldMk cId="635261578" sldId="271"/>
            <ac:spMk id="9" creationId="{80E55B3B-9D67-204C-B503-4404598C31F7}"/>
          </ac:spMkLst>
        </pc:spChg>
      </pc:sldChg>
      <pc:sldChg chg="modSp mod">
        <pc:chgData name="Andrew Cook" userId="ddec19ab-4ca4-4ae1-91d3-fa546726fa27" providerId="ADAL" clId="{3FB86440-E12E-4ABE-9A5A-C07A1229742F}" dt="2024-07-10T14:49:44.484" v="573" actId="1076"/>
        <pc:sldMkLst>
          <pc:docMk/>
          <pc:sldMk cId="559526874" sldId="272"/>
        </pc:sldMkLst>
        <pc:spChg chg="mod">
          <ac:chgData name="Andrew Cook" userId="ddec19ab-4ca4-4ae1-91d3-fa546726fa27" providerId="ADAL" clId="{3FB86440-E12E-4ABE-9A5A-C07A1229742F}" dt="2024-07-10T14:49:44.484" v="573" actId="1076"/>
          <ac:spMkLst>
            <pc:docMk/>
            <pc:sldMk cId="559526874" sldId="272"/>
            <ac:spMk id="10" creationId="{D551B71C-51CC-756A-60F4-18DEC40585E6}"/>
          </ac:spMkLst>
        </pc:spChg>
      </pc:sldChg>
      <pc:sldChg chg="ord">
        <pc:chgData name="Andrew Cook" userId="ddec19ab-4ca4-4ae1-91d3-fa546726fa27" providerId="ADAL" clId="{3FB86440-E12E-4ABE-9A5A-C07A1229742F}" dt="2024-07-08T13:23:55.330" v="380"/>
        <pc:sldMkLst>
          <pc:docMk/>
          <pc:sldMk cId="2361901075" sldId="273"/>
        </pc:sldMkLst>
      </pc:sldChg>
      <pc:sldChg chg="modSp add mod ord">
        <pc:chgData name="Andrew Cook" userId="ddec19ab-4ca4-4ae1-91d3-fa546726fa27" providerId="ADAL" clId="{3FB86440-E12E-4ABE-9A5A-C07A1229742F}" dt="2024-07-08T13:29:08.576" v="539" actId="20577"/>
        <pc:sldMkLst>
          <pc:docMk/>
          <pc:sldMk cId="1085664074" sldId="275"/>
        </pc:sldMkLst>
        <pc:spChg chg="mod">
          <ac:chgData name="Andrew Cook" userId="ddec19ab-4ca4-4ae1-91d3-fa546726fa27" providerId="ADAL" clId="{3FB86440-E12E-4ABE-9A5A-C07A1229742F}" dt="2024-07-08T13:29:08.576" v="539" actId="20577"/>
          <ac:spMkLst>
            <pc:docMk/>
            <pc:sldMk cId="1085664074" sldId="275"/>
            <ac:spMk id="2" creationId="{6D0BC9E6-1379-23D9-B2D3-F8C0B2869678}"/>
          </ac:spMkLst>
        </pc:spChg>
      </pc:sldChg>
      <pc:sldChg chg="addSp delSp modSp new mod">
        <pc:chgData name="Andrew Cook" userId="ddec19ab-4ca4-4ae1-91d3-fa546726fa27" providerId="ADAL" clId="{3FB86440-E12E-4ABE-9A5A-C07A1229742F}" dt="2024-07-10T21:07:16.937" v="707" actId="21"/>
        <pc:sldMkLst>
          <pc:docMk/>
          <pc:sldMk cId="4293362491" sldId="276"/>
        </pc:sldMkLst>
        <pc:spChg chg="mod">
          <ac:chgData name="Andrew Cook" userId="ddec19ab-4ca4-4ae1-91d3-fa546726fa27" providerId="ADAL" clId="{3FB86440-E12E-4ABE-9A5A-C07A1229742F}" dt="2024-07-08T13:29:57.677" v="548" actId="20577"/>
          <ac:spMkLst>
            <pc:docMk/>
            <pc:sldMk cId="4293362491" sldId="276"/>
            <ac:spMk id="2" creationId="{C9CDBF66-58D9-ADC4-18FB-A9D60708A768}"/>
          </ac:spMkLst>
        </pc:spChg>
        <pc:spChg chg="mod">
          <ac:chgData name="Andrew Cook" userId="ddec19ab-4ca4-4ae1-91d3-fa546726fa27" providerId="ADAL" clId="{3FB86440-E12E-4ABE-9A5A-C07A1229742F}" dt="2024-07-08T13:31:20.782" v="561" actId="1076"/>
          <ac:spMkLst>
            <pc:docMk/>
            <pc:sldMk cId="4293362491" sldId="276"/>
            <ac:spMk id="3" creationId="{0196DA7C-B467-A9D3-921D-1BA744C69BC1}"/>
          </ac:spMkLst>
        </pc:spChg>
        <pc:spChg chg="add del mod">
          <ac:chgData name="Andrew Cook" userId="ddec19ab-4ca4-4ae1-91d3-fa546726fa27" providerId="ADAL" clId="{3FB86440-E12E-4ABE-9A5A-C07A1229742F}" dt="2024-07-10T21:07:16.937" v="707" actId="21"/>
          <ac:spMkLst>
            <pc:docMk/>
            <pc:sldMk cId="4293362491" sldId="276"/>
            <ac:spMk id="4" creationId="{5533EB1D-20E0-FF2C-1119-45B60694C8F2}"/>
          </ac:spMkLst>
        </pc:spChg>
      </pc:sldChg>
      <pc:sldChg chg="ord">
        <pc:chgData name="Andrew Cook" userId="ddec19ab-4ca4-4ae1-91d3-fa546726fa27" providerId="ADAL" clId="{3FB86440-E12E-4ABE-9A5A-C07A1229742F}" dt="2024-07-08T13:23:59.187" v="382"/>
        <pc:sldMkLst>
          <pc:docMk/>
          <pc:sldMk cId="1826968042" sldId="283"/>
        </pc:sldMkLst>
      </pc:sldChg>
      <pc:sldChg chg="del">
        <pc:chgData name="Andrew Cook" userId="ddec19ab-4ca4-4ae1-91d3-fa546726fa27" providerId="ADAL" clId="{3FB86440-E12E-4ABE-9A5A-C07A1229742F}" dt="2024-07-08T13:24:10.898" v="383" actId="47"/>
        <pc:sldMkLst>
          <pc:docMk/>
          <pc:sldMk cId="2113054138" sldId="285"/>
        </pc:sldMkLst>
      </pc:sldChg>
      <pc:sldChg chg="modSp mod">
        <pc:chgData name="Andrew Cook" userId="ddec19ab-4ca4-4ae1-91d3-fa546726fa27" providerId="ADAL" clId="{3FB86440-E12E-4ABE-9A5A-C07A1229742F}" dt="2024-07-10T20:43:22.533" v="643" actId="1076"/>
        <pc:sldMkLst>
          <pc:docMk/>
          <pc:sldMk cId="203397802" sldId="2147470536"/>
        </pc:sldMkLst>
        <pc:graphicFrameChg chg="mod modGraphic">
          <ac:chgData name="Andrew Cook" userId="ddec19ab-4ca4-4ae1-91d3-fa546726fa27" providerId="ADAL" clId="{3FB86440-E12E-4ABE-9A5A-C07A1229742F}" dt="2024-07-10T20:43:22.533" v="643" actId="1076"/>
          <ac:graphicFrameMkLst>
            <pc:docMk/>
            <pc:sldMk cId="203397802" sldId="2147470536"/>
            <ac:graphicFrameMk id="6" creationId="{64ED91EA-AF16-4E61-BE01-A65A94E4EAD6}"/>
          </ac:graphicFrameMkLst>
        </pc:graphicFrameChg>
      </pc:sldChg>
      <pc:sldChg chg="del ord">
        <pc:chgData name="Andrew Cook" userId="ddec19ab-4ca4-4ae1-91d3-fa546726fa27" providerId="ADAL" clId="{3FB86440-E12E-4ABE-9A5A-C07A1229742F}" dt="2024-07-08T13:24:15.859" v="384" actId="47"/>
        <pc:sldMkLst>
          <pc:docMk/>
          <pc:sldMk cId="3084677055" sldId="2147483608"/>
        </pc:sldMkLst>
      </pc:sldChg>
      <pc:sldChg chg="modSp mod">
        <pc:chgData name="Andrew Cook" userId="ddec19ab-4ca4-4ae1-91d3-fa546726fa27" providerId="ADAL" clId="{3FB86440-E12E-4ABE-9A5A-C07A1229742F}" dt="2024-07-08T13:32:28.328" v="572" actId="20577"/>
        <pc:sldMkLst>
          <pc:docMk/>
          <pc:sldMk cId="3688633568" sldId="2147483629"/>
        </pc:sldMkLst>
        <pc:spChg chg="mod">
          <ac:chgData name="Andrew Cook" userId="ddec19ab-4ca4-4ae1-91d3-fa546726fa27" providerId="ADAL" clId="{3FB86440-E12E-4ABE-9A5A-C07A1229742F}" dt="2024-07-08T13:32:28.328" v="572" actId="20577"/>
          <ac:spMkLst>
            <pc:docMk/>
            <pc:sldMk cId="3688633568" sldId="2147483629"/>
            <ac:spMk id="2" creationId="{6D0BC9E6-1379-23D9-B2D3-F8C0B2869678}"/>
          </ac:spMkLst>
        </pc:spChg>
      </pc:sldChg>
      <pc:sldMasterChg chg="delSldLayout">
        <pc:chgData name="Andrew Cook" userId="ddec19ab-4ca4-4ae1-91d3-fa546726fa27" providerId="ADAL" clId="{3FB86440-E12E-4ABE-9A5A-C07A1229742F}" dt="2024-07-08T13:23:37.034" v="378" actId="47"/>
        <pc:sldMasterMkLst>
          <pc:docMk/>
          <pc:sldMasterMk cId="381771430" sldId="2147485731"/>
        </pc:sldMasterMkLst>
        <pc:sldLayoutChg chg="del">
          <pc:chgData name="Andrew Cook" userId="ddec19ab-4ca4-4ae1-91d3-fa546726fa27" providerId="ADAL" clId="{3FB86440-E12E-4ABE-9A5A-C07A1229742F}" dt="2024-07-08T13:23:37.034" v="378" actId="47"/>
          <pc:sldLayoutMkLst>
            <pc:docMk/>
            <pc:sldMasterMk cId="381771430" sldId="2147485731"/>
            <pc:sldLayoutMk cId="1218420165" sldId="2147485838"/>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60F9EC6-89FF-47E1-8594-1A32E3B45134}" type="datetime8">
              <a:rPr lang="en-US" smtClean="0">
                <a:latin typeface="Segoe UI" pitchFamily="34" charset="0"/>
              </a:rPr>
              <a:t>7/12/2024 12:30 P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6CE63F-9E7F-4C04-9D0D-FCA25A8E9E86}" type="datetime8">
              <a:rPr lang="en-US" smtClean="0"/>
              <a:t>7/12/2024 12:30 P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UI" panose="020B0502040204020203"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880" userDrawn="1">
          <p15:clr>
            <a:srgbClr val="F26B43"/>
          </p15:clr>
        </p15:guide>
        <p15:guide id="2" pos="2160"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6B4842-69C5-41E9-8D04-696B54CF445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987135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a:effectLst/>
                <a:highlight>
                  <a:srgbClr val="F3F3F3"/>
                </a:highlight>
                <a:latin typeface="SegoeUIVariable"/>
              </a:rPr>
              <a:t>Business Use Case Questions:</a:t>
            </a:r>
            <a:endParaRPr lang="en-US" b="0" i="0">
              <a:effectLst/>
              <a:highlight>
                <a:srgbClr val="F3F3F3"/>
              </a:highlight>
              <a:latin typeface="SegoeUIVariable"/>
            </a:endParaRPr>
          </a:p>
          <a:p>
            <a:pPr algn="l">
              <a:buFont typeface="+mj-lt"/>
              <a:buAutoNum type="arabicPeriod"/>
            </a:pPr>
            <a:r>
              <a:rPr lang="en-US" b="1" i="0">
                <a:effectLst/>
                <a:highlight>
                  <a:srgbClr val="F3F3F3"/>
                </a:highlight>
                <a:latin typeface="SegoeUIVariable"/>
              </a:rPr>
              <a:t>For the Competitive Pricing Analysis use case:</a:t>
            </a:r>
            <a:endParaRPr lang="en-US" b="0" i="0">
              <a:effectLst/>
              <a:highlight>
                <a:srgbClr val="F3F3F3"/>
              </a:highlight>
              <a:latin typeface="SegoeUIVariable"/>
            </a:endParaRPr>
          </a:p>
          <a:p>
            <a:pPr marL="742950" lvl="1" indent="-285750" algn="l">
              <a:buFont typeface="+mj-lt"/>
              <a:buAutoNum type="arabicPeriod"/>
            </a:pPr>
            <a:r>
              <a:rPr lang="en-US" b="0" i="0">
                <a:effectLst/>
                <a:highlight>
                  <a:srgbClr val="F3F3F3"/>
                </a:highlight>
                <a:latin typeface="SegoeUIVariable"/>
              </a:rPr>
              <a:t>How would an AI model that can analyze competitor pricing data and suggest optimal pricing for Oso One IFP insurance plans impact your current pricing strategy?</a:t>
            </a:r>
          </a:p>
          <a:p>
            <a:pPr marL="742950" lvl="1" indent="-285750" algn="l">
              <a:buFont typeface="+mj-lt"/>
              <a:buAutoNum type="arabicPeriod"/>
            </a:pPr>
            <a:r>
              <a:rPr lang="en-US" b="0" i="0">
                <a:effectLst/>
                <a:highlight>
                  <a:srgbClr val="F3F3F3"/>
                </a:highlight>
                <a:latin typeface="SegoeUIVariable"/>
              </a:rPr>
              <a:t>Example: “Could you share how an AI model that analyzes competitor pricing data and suggests optimal pricing for Oso One IFP insurance plans would impact your current pricing strategy?”</a:t>
            </a:r>
          </a:p>
          <a:p>
            <a:pPr algn="l">
              <a:buFont typeface="+mj-lt"/>
              <a:buAutoNum type="arabicPeriod"/>
            </a:pPr>
            <a:r>
              <a:rPr lang="en-US" b="1" i="0">
                <a:effectLst/>
                <a:highlight>
                  <a:srgbClr val="F3F3F3"/>
                </a:highlight>
                <a:latin typeface="SegoeUIVariable"/>
              </a:rPr>
              <a:t>For the Automated Data Ingestion and Processing use case:</a:t>
            </a:r>
            <a:endParaRPr lang="en-US" b="0" i="0">
              <a:effectLst/>
              <a:highlight>
                <a:srgbClr val="F3F3F3"/>
              </a:highlight>
              <a:latin typeface="SegoeUIVariable"/>
            </a:endParaRPr>
          </a:p>
          <a:p>
            <a:pPr marL="742950" lvl="1" indent="-285750" algn="l">
              <a:buFont typeface="+mj-lt"/>
              <a:buAutoNum type="arabicPeriod"/>
            </a:pPr>
            <a:r>
              <a:rPr lang="en-US" b="0" i="0">
                <a:effectLst/>
                <a:highlight>
                  <a:srgbClr val="F3F3F3"/>
                </a:highlight>
                <a:latin typeface="SegoeUIVariable"/>
              </a:rPr>
              <a:t>What are the expected benefits of implementing an automated system for ingesting and processing competitor data?</a:t>
            </a:r>
          </a:p>
          <a:p>
            <a:pPr marL="742950" lvl="1" indent="-285750" algn="l">
              <a:buFont typeface="+mj-lt"/>
              <a:buAutoNum type="arabicPeriod"/>
            </a:pPr>
            <a:r>
              <a:rPr lang="en-US" b="0" i="0">
                <a:effectLst/>
                <a:highlight>
                  <a:srgbClr val="F3F3F3"/>
                </a:highlight>
                <a:latin typeface="SegoeUIVariable"/>
              </a:rPr>
              <a:t>Example: “What benefits do you anticipate from implementing an automated system for ingesting and processing competitor data?”</a:t>
            </a:r>
          </a:p>
          <a:p>
            <a:pPr algn="l">
              <a:buFont typeface="+mj-lt"/>
              <a:buAutoNum type="arabicPeriod"/>
            </a:pPr>
            <a:r>
              <a:rPr lang="en-US" b="1" i="0">
                <a:effectLst/>
                <a:highlight>
                  <a:srgbClr val="F3F3F3"/>
                </a:highlight>
                <a:latin typeface="SegoeUIVariable"/>
              </a:rPr>
              <a:t>For the Dynamic Pricing Adjustment use case:</a:t>
            </a:r>
            <a:endParaRPr lang="en-US" b="0" i="0">
              <a:effectLst/>
              <a:highlight>
                <a:srgbClr val="F3F3F3"/>
              </a:highlight>
              <a:latin typeface="SegoeUIVariable"/>
            </a:endParaRPr>
          </a:p>
          <a:p>
            <a:pPr marL="742950" lvl="1" indent="-285750" algn="l">
              <a:buFont typeface="+mj-lt"/>
              <a:buAutoNum type="arabicPeriod"/>
            </a:pPr>
            <a:r>
              <a:rPr lang="en-US" b="0" i="0">
                <a:effectLst/>
                <a:highlight>
                  <a:srgbClr val="F3F3F3"/>
                </a:highlight>
                <a:latin typeface="SegoeUIVariable"/>
              </a:rPr>
              <a:t>How would a system that can dynamically adjust the pricing of Oso One IFP insurance plans based on the analyzed competitor data change your current pricing process?</a:t>
            </a:r>
          </a:p>
          <a:p>
            <a:pPr marL="742950" lvl="1" indent="-285750" algn="l">
              <a:buFont typeface="+mj-lt"/>
              <a:buAutoNum type="arabicPeriod"/>
            </a:pPr>
            <a:r>
              <a:rPr lang="en-US" b="0" i="0">
                <a:effectLst/>
                <a:highlight>
                  <a:srgbClr val="F3F3F3"/>
                </a:highlight>
                <a:latin typeface="SegoeUIVariable"/>
              </a:rPr>
              <a:t>Example: “How would a system that can dynamically adjust the pricing of Oso One IFP insurance plans based on the analyzed competitor data change your current pricing process?”</a:t>
            </a:r>
          </a:p>
          <a:p>
            <a:pPr algn="l">
              <a:buFont typeface="+mj-lt"/>
              <a:buAutoNum type="arabicPeriod"/>
            </a:pPr>
            <a:r>
              <a:rPr lang="en-US" b="1" i="0">
                <a:effectLst/>
                <a:highlight>
                  <a:srgbClr val="F3F3F3"/>
                </a:highlight>
                <a:latin typeface="SegoeUIVariable"/>
              </a:rPr>
              <a:t>For the Market Trend Analysis use case:</a:t>
            </a:r>
            <a:endParaRPr lang="en-US" b="0" i="0">
              <a:effectLst/>
              <a:highlight>
                <a:srgbClr val="F3F3F3"/>
              </a:highlight>
              <a:latin typeface="SegoeUIVariable"/>
            </a:endParaRPr>
          </a:p>
          <a:p>
            <a:pPr marL="742950" lvl="1" indent="-285750" algn="l">
              <a:buFont typeface="+mj-lt"/>
              <a:buAutoNum type="arabicPeriod"/>
            </a:pPr>
            <a:r>
              <a:rPr lang="en-US" b="0" i="0">
                <a:effectLst/>
                <a:highlight>
                  <a:srgbClr val="F3F3F3"/>
                </a:highlight>
                <a:latin typeface="SegoeUIVariable"/>
              </a:rPr>
              <a:t>How would using AI to analyze market trends and predict future pricing strategies of competitors impact your strategic planning?</a:t>
            </a:r>
          </a:p>
          <a:p>
            <a:pPr marL="742950" lvl="1" indent="-285750" algn="l">
              <a:buFont typeface="+mj-lt"/>
              <a:buAutoNum type="arabicPeriod"/>
            </a:pPr>
            <a:r>
              <a:rPr lang="en-US" b="0" i="0">
                <a:effectLst/>
                <a:highlight>
                  <a:srgbClr val="F3F3F3"/>
                </a:highlight>
                <a:latin typeface="SegoeUIVariable"/>
              </a:rPr>
              <a:t>Example: “How would using AI to analyze market trends and predict future pricing strategies of competitors impact your strategic planning for Oso One IFP insurance plans?”</a:t>
            </a:r>
          </a:p>
          <a:p>
            <a:pPr algn="l">
              <a:buFont typeface="+mj-lt"/>
              <a:buAutoNum type="arabicPeriod"/>
            </a:pPr>
            <a:r>
              <a:rPr lang="en-US" b="1" i="0">
                <a:effectLst/>
                <a:highlight>
                  <a:srgbClr val="F3F3F3"/>
                </a:highlight>
                <a:latin typeface="SegoeUIVariable"/>
              </a:rPr>
              <a:t>For the Cost-Benefit Analysis use case:</a:t>
            </a:r>
            <a:endParaRPr lang="en-US" b="0" i="0">
              <a:effectLst/>
              <a:highlight>
                <a:srgbClr val="F3F3F3"/>
              </a:highlight>
              <a:latin typeface="SegoeUIVariable"/>
            </a:endParaRPr>
          </a:p>
          <a:p>
            <a:pPr marL="742950" lvl="1" indent="-285750" algn="l">
              <a:buFont typeface="+mj-lt"/>
              <a:buAutoNum type="arabicPeriod"/>
            </a:pPr>
            <a:r>
              <a:rPr lang="en-US" b="0" i="0">
                <a:effectLst/>
                <a:highlight>
                  <a:srgbClr val="F3F3F3"/>
                </a:highlight>
                <a:latin typeface="SegoeUIVariable"/>
              </a:rPr>
              <a:t>What factors would you consider in a cost-benefit analysis to evaluate the financial impact of implementing the new system versus the current manual process?</a:t>
            </a:r>
          </a:p>
          <a:p>
            <a:pPr marL="742950" lvl="1" indent="-285750" algn="l">
              <a:buFont typeface="+mj-lt"/>
              <a:buAutoNum type="arabicPeriod"/>
            </a:pPr>
            <a:r>
              <a:rPr lang="en-US" b="0" i="0">
                <a:effectLst/>
                <a:highlight>
                  <a:srgbClr val="F3F3F3"/>
                </a:highlight>
                <a:latin typeface="SegoeUIVariable"/>
              </a:rPr>
              <a:t>Example: “What factors would you consider in a cost-benefit analysis to evaluate the financial impact of implementing the new system versus the current manual process?”</a:t>
            </a:r>
          </a:p>
          <a:p>
            <a:pPr algn="l">
              <a:buFont typeface="+mj-lt"/>
              <a:buAutoNum type="arabicPeriod"/>
            </a:pPr>
            <a:r>
              <a:rPr lang="en-US" b="1" i="0">
                <a:effectLst/>
                <a:highlight>
                  <a:srgbClr val="F3F3F3"/>
                </a:highlight>
                <a:latin typeface="SegoeUIVariable"/>
              </a:rPr>
              <a:t>For the Impact Analysis use case:</a:t>
            </a:r>
            <a:endParaRPr lang="en-US" b="0" i="0">
              <a:effectLst/>
              <a:highlight>
                <a:srgbClr val="F3F3F3"/>
              </a:highlight>
              <a:latin typeface="SegoeUIVariable"/>
            </a:endParaRPr>
          </a:p>
          <a:p>
            <a:pPr marL="742950" lvl="1" indent="-285750" algn="l">
              <a:buFont typeface="+mj-lt"/>
              <a:buAutoNum type="arabicPeriod"/>
            </a:pPr>
            <a:r>
              <a:rPr lang="en-US" b="0" i="0">
                <a:effectLst/>
                <a:highlight>
                  <a:srgbClr val="F3F3F3"/>
                </a:highlight>
                <a:latin typeface="SegoeUIVariable"/>
              </a:rPr>
              <a:t>How would you measure the impact of the new pricing strategy on the market share and revenue of Oso One IFP insurance plans?</a:t>
            </a:r>
          </a:p>
          <a:p>
            <a:pPr marL="742950" lvl="1" indent="-285750" algn="l">
              <a:buFont typeface="+mj-lt"/>
              <a:buAutoNum type="arabicPeriod"/>
            </a:pPr>
            <a:r>
              <a:rPr lang="en-US" b="0" i="0">
                <a:effectLst/>
                <a:highlight>
                  <a:srgbClr val="F3F3F3"/>
                </a:highlight>
                <a:latin typeface="SegoeUIVariable"/>
              </a:rPr>
              <a:t>Example: “How would you measure the impact of the new pricing strategy on the market share and revenue of Oso One IFP insurance plans?”</a:t>
            </a:r>
          </a:p>
          <a:p>
            <a:endParaRPr lang="en-US"/>
          </a:p>
          <a:p>
            <a:endParaRPr lang="en-US"/>
          </a:p>
          <a:p>
            <a:pPr algn="l"/>
            <a:r>
              <a:rPr lang="en-US" b="1" i="0">
                <a:effectLst/>
                <a:highlight>
                  <a:srgbClr val="F3F3F3"/>
                </a:highlight>
                <a:latin typeface="SegoeUIVariable"/>
              </a:rPr>
              <a:t>Business Requirements Questions:</a:t>
            </a:r>
            <a:endParaRPr lang="en-US" b="0" i="0">
              <a:effectLst/>
              <a:highlight>
                <a:srgbClr val="F3F3F3"/>
              </a:highlight>
              <a:latin typeface="SegoeUIVariable"/>
            </a:endParaRPr>
          </a:p>
          <a:p>
            <a:pPr algn="l">
              <a:buFont typeface="+mj-lt"/>
              <a:buAutoNum type="arabicPeriod"/>
            </a:pPr>
            <a:r>
              <a:rPr lang="en-US" b="1" i="0">
                <a:effectLst/>
                <a:highlight>
                  <a:srgbClr val="F3F3F3"/>
                </a:highlight>
                <a:latin typeface="SegoeUIVariable"/>
              </a:rPr>
              <a:t>For the Impact Analysis Model requirement:</a:t>
            </a:r>
            <a:endParaRPr lang="en-US" b="0" i="0">
              <a:effectLst/>
              <a:highlight>
                <a:srgbClr val="F3F3F3"/>
              </a:highlight>
              <a:latin typeface="SegoeUIVariable"/>
            </a:endParaRPr>
          </a:p>
          <a:p>
            <a:pPr marL="742950" lvl="1" indent="-285750" algn="l">
              <a:buFont typeface="+mj-lt"/>
              <a:buAutoNum type="arabicPeriod"/>
            </a:pPr>
            <a:r>
              <a:rPr lang="en-US" b="0" i="0">
                <a:effectLst/>
                <a:highlight>
                  <a:srgbClr val="F3F3F3"/>
                </a:highlight>
                <a:latin typeface="SegoeUIVariable"/>
              </a:rPr>
              <a:t>How would a model that can analyze the impact of the new pricing strategy on the market share and revenue of Oso One IFP insurance plans support your strategic planning?</a:t>
            </a:r>
          </a:p>
          <a:p>
            <a:pPr marL="742950" lvl="1" indent="-285750" algn="l">
              <a:buFont typeface="+mj-lt"/>
              <a:buAutoNum type="arabicPeriod"/>
            </a:pPr>
            <a:r>
              <a:rPr lang="en-US" b="0" i="0">
                <a:effectLst/>
                <a:highlight>
                  <a:srgbClr val="F3F3F3"/>
                </a:highlight>
                <a:latin typeface="SegoeUIVariable"/>
              </a:rPr>
              <a:t>Example: “Could you share how a model that analyzes the impact of the new pricing strategy on the market share and revenue of Oso One IFP insurance plans would support your strategic planning?”</a:t>
            </a:r>
          </a:p>
          <a:p>
            <a:pPr algn="l">
              <a:buFont typeface="+mj-lt"/>
              <a:buAutoNum type="arabicPeriod"/>
            </a:pPr>
            <a:r>
              <a:rPr lang="en-US" b="1" i="0">
                <a:effectLst/>
                <a:highlight>
                  <a:srgbClr val="F3F3F3"/>
                </a:highlight>
                <a:latin typeface="SegoeUIVariable"/>
              </a:rPr>
              <a:t>For the Market Share Analysis requirement:</a:t>
            </a:r>
            <a:endParaRPr lang="en-US" b="0" i="0">
              <a:effectLst/>
              <a:highlight>
                <a:srgbClr val="F3F3F3"/>
              </a:highlight>
              <a:latin typeface="SegoeUIVariable"/>
            </a:endParaRPr>
          </a:p>
          <a:p>
            <a:pPr marL="742950" lvl="1" indent="-285750" algn="l">
              <a:buFont typeface="+mj-lt"/>
              <a:buAutoNum type="arabicPeriod"/>
            </a:pPr>
            <a:r>
              <a:rPr lang="en-US" b="0" i="0">
                <a:effectLst/>
                <a:highlight>
                  <a:srgbClr val="F3F3F3"/>
                </a:highlight>
                <a:latin typeface="SegoeUIVariable"/>
              </a:rPr>
              <a:t>What are the key factors that you consider when analyzing changes in market share?</a:t>
            </a:r>
          </a:p>
          <a:p>
            <a:pPr marL="742950" lvl="1" indent="-285750" algn="l">
              <a:buFont typeface="+mj-lt"/>
              <a:buAutoNum type="arabicPeriod"/>
            </a:pPr>
            <a:r>
              <a:rPr lang="en-US" b="0" i="0">
                <a:effectLst/>
                <a:highlight>
                  <a:srgbClr val="F3F3F3"/>
                </a:highlight>
                <a:latin typeface="SegoeUIVariable"/>
              </a:rPr>
              <a:t>Example: “What are the key factors that you consider when analyzing changes in market share resulting from the new pricing strategy?”</a:t>
            </a:r>
          </a:p>
          <a:p>
            <a:pPr algn="l">
              <a:buFont typeface="+mj-lt"/>
              <a:buAutoNum type="arabicPeriod"/>
            </a:pPr>
            <a:r>
              <a:rPr lang="en-US" b="1" i="0">
                <a:effectLst/>
                <a:highlight>
                  <a:srgbClr val="F3F3F3"/>
                </a:highlight>
                <a:latin typeface="SegoeUIVariable"/>
              </a:rPr>
              <a:t>For the Revenue Analysis requirement:</a:t>
            </a:r>
            <a:endParaRPr lang="en-US" b="0" i="0">
              <a:effectLst/>
              <a:highlight>
                <a:srgbClr val="F3F3F3"/>
              </a:highlight>
              <a:latin typeface="SegoeUIVariable"/>
            </a:endParaRPr>
          </a:p>
          <a:p>
            <a:pPr marL="742950" lvl="1" indent="-285750" algn="l">
              <a:buFont typeface="+mj-lt"/>
              <a:buAutoNum type="arabicPeriod"/>
            </a:pPr>
            <a:r>
              <a:rPr lang="en-US" b="0" i="0">
                <a:effectLst/>
                <a:highlight>
                  <a:srgbClr val="F3F3F3"/>
                </a:highlight>
                <a:latin typeface="SegoeUIVariable"/>
              </a:rPr>
              <a:t>How do you currently analyze changes in revenue resulting from different pricing strategies?</a:t>
            </a:r>
          </a:p>
          <a:p>
            <a:pPr marL="742950" lvl="1" indent="-285750" algn="l">
              <a:buFont typeface="+mj-lt"/>
              <a:buAutoNum type="arabicPeriod"/>
            </a:pPr>
            <a:r>
              <a:rPr lang="en-US" b="0" i="0">
                <a:effectLst/>
                <a:highlight>
                  <a:srgbClr val="F3F3F3"/>
                </a:highlight>
                <a:latin typeface="SegoeUIVariable"/>
              </a:rPr>
              <a:t>Example: “How do you currently analyze changes in revenue resulting from different pricing strategies for Oso One IFP insurance plans?”</a:t>
            </a:r>
          </a:p>
          <a:p>
            <a:pPr algn="l">
              <a:buFont typeface="+mj-lt"/>
              <a:buAutoNum type="arabicPeriod"/>
            </a:pPr>
            <a:endParaRPr lang="en-US" b="0" i="0">
              <a:effectLst/>
              <a:highlight>
                <a:srgbClr val="F3F3F3"/>
              </a:highlight>
              <a:latin typeface="SegoeUIVariable"/>
            </a:endParaRPr>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7/12/2024 12:30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8</a:t>
            </a:fld>
            <a:endParaRPr lang="en-US"/>
          </a:p>
        </p:txBody>
      </p:sp>
    </p:spTree>
    <p:extLst>
      <p:ext uri="{BB962C8B-B14F-4D97-AF65-F5344CB8AC3E}">
        <p14:creationId xmlns:p14="http://schemas.microsoft.com/office/powerpoint/2010/main" val="9562995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a:effectLst/>
                <a:highlight>
                  <a:srgbClr val="F3F3F3"/>
                </a:highlight>
                <a:latin typeface="SegoeUIVariable"/>
              </a:rPr>
              <a:t>X-axis: Business Value</a:t>
            </a:r>
            <a:r>
              <a:rPr lang="en-US" b="0" i="0">
                <a:effectLst/>
                <a:highlight>
                  <a:srgbClr val="F3F3F3"/>
                </a:highlight>
                <a:latin typeface="SegoeUIVariable"/>
              </a:rPr>
              <a:t> This axis can represent the value or benefit that each requirement brings to the business. It could be measured in terms of potential revenue increase, cost savings, customer satisfaction, or strategic alignment.</a:t>
            </a:r>
          </a:p>
          <a:p>
            <a:pPr algn="l"/>
            <a:r>
              <a:rPr lang="en-US" b="1" i="0">
                <a:effectLst/>
                <a:highlight>
                  <a:srgbClr val="F3F3F3"/>
                </a:highlight>
                <a:latin typeface="SegoeUIVariable"/>
              </a:rPr>
              <a:t>Y-axis: Implementation Effort</a:t>
            </a:r>
            <a:r>
              <a:rPr lang="en-US" b="0" i="0">
                <a:effectLst/>
                <a:highlight>
                  <a:srgbClr val="F3F3F3"/>
                </a:highlight>
                <a:latin typeface="SegoeUIVariable"/>
              </a:rPr>
              <a:t> This axis can represent the effort required to implement each requirement. This could include development time, resource availability, technical complexity, or cost.</a:t>
            </a:r>
          </a:p>
          <a:p>
            <a:pPr algn="l"/>
            <a:r>
              <a:rPr lang="en-US" b="0" i="0">
                <a:effectLst/>
                <a:highlight>
                  <a:srgbClr val="F3F3F3"/>
                </a:highlight>
                <a:latin typeface="SegoeUIVariable"/>
              </a:rPr>
              <a:t>Here’s how you can interpret the quadrants:</a:t>
            </a:r>
          </a:p>
          <a:p>
            <a:pPr algn="l">
              <a:buFont typeface="+mj-lt"/>
              <a:buAutoNum type="arabicPeriod"/>
            </a:pPr>
            <a:r>
              <a:rPr lang="en-US" b="1" i="0">
                <a:effectLst/>
                <a:highlight>
                  <a:srgbClr val="F3F3F3"/>
                </a:highlight>
                <a:latin typeface="SegoeUIVariable"/>
              </a:rPr>
              <a:t>High Value, Low Effort (Top-Right Quadrant)</a:t>
            </a:r>
            <a:r>
              <a:rPr lang="en-US" b="0" i="0">
                <a:effectLst/>
                <a:highlight>
                  <a:srgbClr val="F3F3F3"/>
                </a:highlight>
                <a:latin typeface="SegoeUIVariable"/>
              </a:rPr>
              <a:t>: These are the “quick wins” or “low hanging fruit”. They provide a high return on investment and should be prioritized first.</a:t>
            </a:r>
          </a:p>
          <a:p>
            <a:pPr algn="l">
              <a:buFont typeface="+mj-lt"/>
              <a:buAutoNum type="arabicPeriod"/>
            </a:pPr>
            <a:r>
              <a:rPr lang="en-US" b="1" i="0">
                <a:effectLst/>
                <a:highlight>
                  <a:srgbClr val="F3F3F3"/>
                </a:highlight>
                <a:latin typeface="SegoeUIVariable"/>
              </a:rPr>
              <a:t>High Value, High Effort (Top-Left Quadrant)</a:t>
            </a:r>
            <a:r>
              <a:rPr lang="en-US" b="0" i="0">
                <a:effectLst/>
                <a:highlight>
                  <a:srgbClr val="F3F3F3"/>
                </a:highlight>
                <a:latin typeface="SegoeUIVariable"/>
              </a:rPr>
              <a:t>: These requirements also provide high value but are more resource-intensive. They need careful planning and may be scheduled for a later phase.</a:t>
            </a:r>
          </a:p>
          <a:p>
            <a:pPr algn="l">
              <a:buFont typeface="+mj-lt"/>
              <a:buAutoNum type="arabicPeriod"/>
            </a:pPr>
            <a:r>
              <a:rPr lang="en-US" b="1" i="0">
                <a:effectLst/>
                <a:highlight>
                  <a:srgbClr val="F3F3F3"/>
                </a:highlight>
                <a:latin typeface="SegoeUIVariable"/>
              </a:rPr>
              <a:t>Low Value, Low Effort (Bottom-Right Quadrant)</a:t>
            </a:r>
            <a:r>
              <a:rPr lang="en-US" b="0" i="0">
                <a:effectLst/>
                <a:highlight>
                  <a:srgbClr val="F3F3F3"/>
                </a:highlight>
                <a:latin typeface="SegoeUIVariable"/>
              </a:rPr>
              <a:t>: These requirements are easy to implement but don’t add much value. They should only be considered after all the high-value requirements have been addressed.</a:t>
            </a:r>
          </a:p>
          <a:p>
            <a:pPr algn="l">
              <a:buFont typeface="+mj-lt"/>
              <a:buAutoNum type="arabicPeriod"/>
            </a:pPr>
            <a:r>
              <a:rPr lang="en-US" b="1" i="0">
                <a:effectLst/>
                <a:highlight>
                  <a:srgbClr val="F3F3F3"/>
                </a:highlight>
                <a:latin typeface="SegoeUIVariable"/>
              </a:rPr>
              <a:t>Low Value, High Effort (Bottom-Left Quadrant)</a:t>
            </a:r>
            <a:r>
              <a:rPr lang="en-US" b="0" i="0">
                <a:effectLst/>
                <a:highlight>
                  <a:srgbClr val="F3F3F3"/>
                </a:highlight>
                <a:latin typeface="SegoeUIVariable"/>
              </a:rPr>
              <a:t>: These are the least attractive projects, with low return on investment and high resource requirements. They should be avoided if possible.</a:t>
            </a:r>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7/12/2024 12:30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9</a:t>
            </a:fld>
            <a:endParaRPr lang="en-US"/>
          </a:p>
        </p:txBody>
      </p:sp>
    </p:spTree>
    <p:extLst>
      <p:ext uri="{BB962C8B-B14F-4D97-AF65-F5344CB8AC3E}">
        <p14:creationId xmlns:p14="http://schemas.microsoft.com/office/powerpoint/2010/main" val="249505164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a:effectLst/>
                <a:highlight>
                  <a:srgbClr val="F3F3F3"/>
                </a:highlight>
                <a:latin typeface="SegoeUIVariable"/>
              </a:rPr>
              <a:t>X-axis: Business Value</a:t>
            </a:r>
            <a:r>
              <a:rPr lang="en-US" b="0" i="0">
                <a:effectLst/>
                <a:highlight>
                  <a:srgbClr val="F3F3F3"/>
                </a:highlight>
                <a:latin typeface="SegoeUIVariable"/>
              </a:rPr>
              <a:t> This axis can represent the value or benefit that each requirement brings to the business. It could be measured in terms of potential revenue increase, cost savings, customer satisfaction, or strategic alignment.</a:t>
            </a:r>
          </a:p>
          <a:p>
            <a:pPr algn="l"/>
            <a:r>
              <a:rPr lang="en-US" b="1" i="0">
                <a:effectLst/>
                <a:highlight>
                  <a:srgbClr val="F3F3F3"/>
                </a:highlight>
                <a:latin typeface="SegoeUIVariable"/>
              </a:rPr>
              <a:t>Y-axis: Implementation Effort</a:t>
            </a:r>
            <a:r>
              <a:rPr lang="en-US" b="0" i="0">
                <a:effectLst/>
                <a:highlight>
                  <a:srgbClr val="F3F3F3"/>
                </a:highlight>
                <a:latin typeface="SegoeUIVariable"/>
              </a:rPr>
              <a:t> This axis can represent the effort required to implement each requirement. This could include development time, resource availability, technical complexity, or cost.</a:t>
            </a:r>
          </a:p>
          <a:p>
            <a:pPr algn="l"/>
            <a:r>
              <a:rPr lang="en-US" b="0" i="0">
                <a:effectLst/>
                <a:highlight>
                  <a:srgbClr val="F3F3F3"/>
                </a:highlight>
                <a:latin typeface="SegoeUIVariable"/>
              </a:rPr>
              <a:t>Here’s how you can interpret the quadrants:</a:t>
            </a:r>
          </a:p>
          <a:p>
            <a:pPr algn="l">
              <a:buFont typeface="+mj-lt"/>
              <a:buAutoNum type="arabicPeriod"/>
            </a:pPr>
            <a:r>
              <a:rPr lang="en-US" b="1" i="0">
                <a:effectLst/>
                <a:highlight>
                  <a:srgbClr val="F3F3F3"/>
                </a:highlight>
                <a:latin typeface="SegoeUIVariable"/>
              </a:rPr>
              <a:t>High Value, Low Effort (Top-Right Quadrant)</a:t>
            </a:r>
            <a:r>
              <a:rPr lang="en-US" b="0" i="0">
                <a:effectLst/>
                <a:highlight>
                  <a:srgbClr val="F3F3F3"/>
                </a:highlight>
                <a:latin typeface="SegoeUIVariable"/>
              </a:rPr>
              <a:t>: These are the “quick wins” or “low hanging fruit”. They provide a high return on investment and should be prioritized first.</a:t>
            </a:r>
          </a:p>
          <a:p>
            <a:pPr algn="l">
              <a:buFont typeface="+mj-lt"/>
              <a:buAutoNum type="arabicPeriod"/>
            </a:pPr>
            <a:r>
              <a:rPr lang="en-US" b="1" i="0">
                <a:effectLst/>
                <a:highlight>
                  <a:srgbClr val="F3F3F3"/>
                </a:highlight>
                <a:latin typeface="SegoeUIVariable"/>
              </a:rPr>
              <a:t>High Value, High Effort (Top-Left Quadrant)</a:t>
            </a:r>
            <a:r>
              <a:rPr lang="en-US" b="0" i="0">
                <a:effectLst/>
                <a:highlight>
                  <a:srgbClr val="F3F3F3"/>
                </a:highlight>
                <a:latin typeface="SegoeUIVariable"/>
              </a:rPr>
              <a:t>: These requirements also provide high value but are more resource-intensive. They need careful planning and may be scheduled for a later phase.</a:t>
            </a:r>
          </a:p>
          <a:p>
            <a:pPr algn="l">
              <a:buFont typeface="+mj-lt"/>
              <a:buAutoNum type="arabicPeriod"/>
            </a:pPr>
            <a:r>
              <a:rPr lang="en-US" b="1" i="0">
                <a:effectLst/>
                <a:highlight>
                  <a:srgbClr val="F3F3F3"/>
                </a:highlight>
                <a:latin typeface="SegoeUIVariable"/>
              </a:rPr>
              <a:t>Low Value, Low Effort (Bottom-Right Quadrant)</a:t>
            </a:r>
            <a:r>
              <a:rPr lang="en-US" b="0" i="0">
                <a:effectLst/>
                <a:highlight>
                  <a:srgbClr val="F3F3F3"/>
                </a:highlight>
                <a:latin typeface="SegoeUIVariable"/>
              </a:rPr>
              <a:t>: These requirements are easy to implement but don’t add much value. They should only be considered after all the high-value requirements have been addressed.</a:t>
            </a:r>
          </a:p>
          <a:p>
            <a:pPr algn="l">
              <a:buFont typeface="+mj-lt"/>
              <a:buAutoNum type="arabicPeriod"/>
            </a:pPr>
            <a:r>
              <a:rPr lang="en-US" b="1" i="0">
                <a:effectLst/>
                <a:highlight>
                  <a:srgbClr val="F3F3F3"/>
                </a:highlight>
                <a:latin typeface="SegoeUIVariable"/>
              </a:rPr>
              <a:t>Low Value, High Effort (Bottom-Left Quadrant)</a:t>
            </a:r>
            <a:r>
              <a:rPr lang="en-US" b="0" i="0">
                <a:effectLst/>
                <a:highlight>
                  <a:srgbClr val="F3F3F3"/>
                </a:highlight>
                <a:latin typeface="SegoeUIVariable"/>
              </a:rPr>
              <a:t>: These are the least attractive projects, with low return on investment and high resource requirements. They should be avoided if possible.</a:t>
            </a:r>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7/12/2024 12:30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0</a:t>
            </a:fld>
            <a:endParaRPr lang="en-US"/>
          </a:p>
        </p:txBody>
      </p:sp>
    </p:spTree>
    <p:extLst>
      <p:ext uri="{BB962C8B-B14F-4D97-AF65-F5344CB8AC3E}">
        <p14:creationId xmlns:p14="http://schemas.microsoft.com/office/powerpoint/2010/main" val="158919232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12/2024 12:3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3664699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12/2024 12:3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2636089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12/2024 12:3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2026509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12/2024 12:3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2845536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12/2024 12:3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1539896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12/2024 12:3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4559362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a:effectLst/>
                <a:highlight>
                  <a:srgbClr val="F3F3F3"/>
                </a:highlight>
                <a:latin typeface="SegoeUIVariable"/>
              </a:rPr>
              <a:t>Problem Statement Questions:</a:t>
            </a:r>
            <a:endParaRPr lang="en-US" b="0" i="0">
              <a:effectLst/>
              <a:highlight>
                <a:srgbClr val="F3F3F3"/>
              </a:highlight>
              <a:latin typeface="SegoeUIVariable"/>
            </a:endParaRPr>
          </a:p>
          <a:p>
            <a:pPr algn="l">
              <a:buFont typeface="+mj-lt"/>
              <a:buAutoNum type="arabicPeriod"/>
            </a:pPr>
            <a:r>
              <a:rPr lang="en-US" b="1" i="0">
                <a:effectLst/>
                <a:highlight>
                  <a:srgbClr val="F3F3F3"/>
                </a:highlight>
                <a:latin typeface="SegoeUIVariable"/>
              </a:rPr>
              <a:t>What is the current process for reviewing and ingesting competitor data?</a:t>
            </a:r>
            <a:r>
              <a:rPr lang="en-US" b="0" i="0">
                <a:effectLst/>
                <a:highlight>
                  <a:srgbClr val="F3F3F3"/>
                </a:highlight>
                <a:latin typeface="SegoeUIVariable"/>
              </a:rPr>
              <a:t> This question will help you understand the specifics of the current manual process, including who is involved, what tools they use, and how long it typically takes.</a:t>
            </a:r>
          </a:p>
          <a:p>
            <a:pPr lvl="1" algn="l">
              <a:buFont typeface="+mj-lt"/>
              <a:buAutoNum type="arabicPeriod"/>
            </a:pPr>
            <a:r>
              <a:rPr lang="en-US" b="0" i="0">
                <a:effectLst/>
                <a:highlight>
                  <a:srgbClr val="F3F3F3"/>
                </a:highlight>
                <a:latin typeface="SegoeUIVariable"/>
              </a:rPr>
              <a:t>Example: “Could you walk me through the current process your analysts use to review and ingest competitor data? How long does this process typically take and what tools are being used?”</a:t>
            </a:r>
          </a:p>
          <a:p>
            <a:pPr algn="l">
              <a:buFont typeface="+mj-lt"/>
              <a:buAutoNum type="arabicPeriod"/>
            </a:pPr>
            <a:r>
              <a:rPr lang="en-US" b="1" i="0">
                <a:effectLst/>
                <a:highlight>
                  <a:srgbClr val="F3F3F3"/>
                </a:highlight>
                <a:latin typeface="SegoeUIVariable"/>
              </a:rPr>
              <a:t>How does the current process impact the pricing strategy for Oso One IFP insurance plans?</a:t>
            </a:r>
            <a:r>
              <a:rPr lang="en-US" b="0" i="0">
                <a:effectLst/>
                <a:highlight>
                  <a:srgbClr val="F3F3F3"/>
                </a:highlight>
                <a:latin typeface="SegoeUIVariable"/>
              </a:rPr>
              <a:t> This question will help you understand the direct impact of the current process on the pricing strategy.</a:t>
            </a:r>
          </a:p>
          <a:p>
            <a:pPr lvl="1" algn="l">
              <a:buFont typeface="+mj-lt"/>
              <a:buAutoNum type="arabicPeriod"/>
            </a:pPr>
            <a:r>
              <a:rPr lang="en-US" b="0" i="0">
                <a:effectLst/>
                <a:highlight>
                  <a:srgbClr val="F3F3F3"/>
                </a:highlight>
                <a:latin typeface="SegoeUIVariable"/>
              </a:rPr>
              <a:t> Example: “How does the current manual process of reviewing and ingesting competitor data impact the pricing strategy for Oso One IFP insurance plans? Have there been instances where the pricing was sub-optimal due to this process?”</a:t>
            </a:r>
          </a:p>
          <a:p>
            <a:pPr algn="l">
              <a:buFont typeface="+mj-lt"/>
              <a:buAutoNum type="arabicPeriod"/>
            </a:pPr>
            <a:r>
              <a:rPr lang="en-US" b="1" i="0">
                <a:effectLst/>
                <a:highlight>
                  <a:srgbClr val="F3F3F3"/>
                </a:highlight>
                <a:latin typeface="SegoeUIVariable"/>
              </a:rPr>
              <a:t>What are the specific challenges with the current process?</a:t>
            </a:r>
            <a:r>
              <a:rPr lang="en-US" b="0" i="0">
                <a:effectLst/>
                <a:highlight>
                  <a:srgbClr val="F3F3F3"/>
                </a:highlight>
                <a:latin typeface="SegoeUIVariable"/>
              </a:rPr>
              <a:t> This question will help you identify the pain points in the current process.</a:t>
            </a:r>
          </a:p>
          <a:p>
            <a:pPr lvl="1" algn="l">
              <a:buFont typeface="+mj-lt"/>
              <a:buAutoNum type="arabicPeriod"/>
            </a:pPr>
            <a:r>
              <a:rPr lang="en-US" b="0" i="0">
                <a:effectLst/>
                <a:highlight>
                  <a:srgbClr val="F3F3F3"/>
                </a:highlight>
                <a:latin typeface="SegoeUIVariable"/>
              </a:rPr>
              <a:t> Example: “What are some of the challenges your analysts face with the current process of manually reviewing and ingesting competitor data?”</a:t>
            </a:r>
          </a:p>
          <a:p>
            <a:pPr algn="l">
              <a:buFont typeface="+mj-lt"/>
              <a:buAutoNum type="arabicPeriod"/>
            </a:pPr>
            <a:r>
              <a:rPr lang="en-US" b="1" i="0">
                <a:effectLst/>
                <a:highlight>
                  <a:srgbClr val="F3F3F3"/>
                </a:highlight>
                <a:latin typeface="SegoeUIVariable"/>
              </a:rPr>
              <a:t>What improvements would Contoso Health like to see in this process?</a:t>
            </a:r>
            <a:r>
              <a:rPr lang="en-US" b="0" i="0">
                <a:effectLst/>
                <a:highlight>
                  <a:srgbClr val="F3F3F3"/>
                </a:highlight>
                <a:latin typeface="SegoeUIVariable"/>
              </a:rPr>
              <a:t> This question will help you understand the customer’s expectations and goals.</a:t>
            </a:r>
          </a:p>
          <a:p>
            <a:pPr lvl="1" algn="l">
              <a:buFont typeface="+mj-lt"/>
              <a:buAutoNum type="arabicPeriod"/>
            </a:pPr>
            <a:r>
              <a:rPr lang="en-US" b="0" i="0">
                <a:effectLst/>
                <a:highlight>
                  <a:srgbClr val="F3F3F3"/>
                </a:highlight>
                <a:latin typeface="SegoeUIVariable"/>
              </a:rPr>
              <a:t> Example: “What improvements would you like to see in the process of reviewing and ingesting competitor data? Are there specific goals you have in mind?”</a:t>
            </a:r>
          </a:p>
          <a:p>
            <a:pPr algn="l">
              <a:buFont typeface="+mj-lt"/>
              <a:buAutoNum type="arabicPeriod"/>
            </a:pPr>
            <a:r>
              <a:rPr lang="en-US" b="1" i="0">
                <a:effectLst/>
                <a:highlight>
                  <a:srgbClr val="F3F3F3"/>
                </a:highlight>
                <a:latin typeface="SegoeUIVariable"/>
              </a:rPr>
              <a:t>How does Contoso Health measure the success of its pricing strategy?</a:t>
            </a:r>
            <a:r>
              <a:rPr lang="en-US" b="0" i="0">
                <a:effectLst/>
                <a:highlight>
                  <a:srgbClr val="F3F3F3"/>
                </a:highlight>
                <a:latin typeface="SegoeUIVariable"/>
              </a:rPr>
              <a:t> This question will help you understand how the customer evaluates their pricing strategy.</a:t>
            </a:r>
          </a:p>
          <a:p>
            <a:pPr lvl="1" algn="l">
              <a:buFont typeface="+mj-lt"/>
              <a:buAutoNum type="arabicPeriod"/>
            </a:pPr>
            <a:r>
              <a:rPr lang="en-US" b="0" i="0">
                <a:effectLst/>
                <a:highlight>
                  <a:srgbClr val="F3F3F3"/>
                </a:highlight>
                <a:latin typeface="SegoeUIVariable"/>
              </a:rPr>
              <a:t> Example: “How do you currently measure the success of your pricing strategy for Oso One IFP insurance plans? What metrics or KPIs do you use?”</a:t>
            </a:r>
          </a:p>
          <a:p>
            <a:endParaRPr lang="en-US"/>
          </a:p>
          <a:p>
            <a:pPr algn="l"/>
            <a:r>
              <a:rPr lang="en-US" b="1" i="0">
                <a:effectLst/>
                <a:highlight>
                  <a:srgbClr val="F3F3F3"/>
                </a:highlight>
                <a:latin typeface="SegoeUIVariable"/>
              </a:rPr>
              <a:t>Business KPI Questions:</a:t>
            </a:r>
            <a:endParaRPr lang="en-US" b="0" i="0">
              <a:effectLst/>
              <a:highlight>
                <a:srgbClr val="F3F3F3"/>
              </a:highlight>
              <a:latin typeface="SegoeUIVariable"/>
            </a:endParaRPr>
          </a:p>
          <a:p>
            <a:pPr algn="l">
              <a:buFont typeface="+mj-lt"/>
              <a:buAutoNum type="arabicPeriod"/>
            </a:pPr>
            <a:r>
              <a:rPr lang="en-US" b="1" i="0">
                <a:effectLst/>
                <a:highlight>
                  <a:srgbClr val="F3F3F3"/>
                </a:highlight>
                <a:latin typeface="SegoeUIVariable"/>
              </a:rPr>
              <a:t>How is the Competitor Data Processing Time currently measured?</a:t>
            </a:r>
            <a:r>
              <a:rPr lang="en-US" b="0" i="0">
                <a:effectLst/>
                <a:highlight>
                  <a:srgbClr val="F3F3F3"/>
                </a:highlight>
                <a:latin typeface="SegoeUIVariable"/>
              </a:rPr>
              <a:t> This question will help you understand the current methods and tools used to measure this KPI.</a:t>
            </a:r>
          </a:p>
          <a:p>
            <a:pPr lvl="2" algn="l">
              <a:buFont typeface="+mj-lt"/>
              <a:buAutoNum type="arabicPeriod"/>
            </a:pPr>
            <a:r>
              <a:rPr lang="en-US" b="0" i="0">
                <a:effectLst/>
                <a:highlight>
                  <a:srgbClr val="F3F3F3"/>
                </a:highlight>
                <a:latin typeface="SegoeUIVariable"/>
              </a:rPr>
              <a:t> Example: “Could you explain how you currently measure the time taken to review and ingest competitor data? What tools or methods do you use?”</a:t>
            </a:r>
          </a:p>
          <a:p>
            <a:pPr algn="l">
              <a:buFont typeface="+mj-lt"/>
              <a:buAutoNum type="arabicPeriod"/>
            </a:pPr>
            <a:r>
              <a:rPr lang="en-US" b="1" i="0">
                <a:effectLst/>
                <a:highlight>
                  <a:srgbClr val="F3F3F3"/>
                </a:highlight>
                <a:latin typeface="SegoeUIVariable"/>
              </a:rPr>
              <a:t>What is the current Pricing Optimization Rate for Oso One IFP insurance plans?</a:t>
            </a:r>
            <a:r>
              <a:rPr lang="en-US" b="0" i="0">
                <a:effectLst/>
                <a:highlight>
                  <a:srgbClr val="F3F3F3"/>
                </a:highlight>
                <a:latin typeface="SegoeUIVariable"/>
              </a:rPr>
              <a:t> This question will help you understand the current state of pricing optimization.</a:t>
            </a:r>
          </a:p>
          <a:p>
            <a:pPr lvl="1" algn="l">
              <a:buFont typeface="+mj-lt"/>
              <a:buAutoNum type="arabicPeriod"/>
            </a:pPr>
            <a:r>
              <a:rPr lang="en-US" b="0" i="0">
                <a:effectLst/>
                <a:highlight>
                  <a:srgbClr val="F3F3F3"/>
                </a:highlight>
                <a:latin typeface="SegoeUIVariable"/>
              </a:rPr>
              <a:t> Example: “What is the current rate of pricing optimization for Oso One IFP insurance plans? How often is this rate evaluated?”</a:t>
            </a:r>
          </a:p>
          <a:p>
            <a:pPr algn="l">
              <a:buFont typeface="+mj-lt"/>
              <a:buAutoNum type="arabicPeriod"/>
            </a:pPr>
            <a:r>
              <a:rPr lang="en-US" b="1" i="0">
                <a:effectLst/>
                <a:highlight>
                  <a:srgbClr val="F3F3F3"/>
                </a:highlight>
                <a:latin typeface="SegoeUIVariable"/>
              </a:rPr>
              <a:t>How has the Revenue from Oso One IFP Insurance Plans changed over the past year?</a:t>
            </a:r>
            <a:r>
              <a:rPr lang="en-US" b="0" i="0">
                <a:effectLst/>
                <a:highlight>
                  <a:srgbClr val="F3F3F3"/>
                </a:highlight>
                <a:latin typeface="SegoeUIVariable"/>
              </a:rPr>
              <a:t> This question will help you understand the trends in revenue generation.</a:t>
            </a:r>
          </a:p>
          <a:p>
            <a:pPr lvl="1" algn="l">
              <a:buFont typeface="+mj-lt"/>
              <a:buAutoNum type="arabicPeriod"/>
            </a:pPr>
            <a:r>
              <a:rPr lang="en-US" b="0" i="0">
                <a:effectLst/>
                <a:highlight>
                  <a:srgbClr val="F3F3F3"/>
                </a:highlight>
                <a:latin typeface="SegoeUIVariable"/>
              </a:rPr>
              <a:t> Example: “Could you share how the revenue from Oso One IFP insurance plans has changed over the past year? What factors have contributed to these changes?”</a:t>
            </a:r>
          </a:p>
          <a:p>
            <a:pPr algn="l">
              <a:buFont typeface="+mj-lt"/>
              <a:buAutoNum type="arabicPeriod"/>
            </a:pPr>
            <a:r>
              <a:rPr lang="en-US" b="1" i="0">
                <a:effectLst/>
                <a:highlight>
                  <a:srgbClr val="F3F3F3"/>
                </a:highlight>
                <a:latin typeface="SegoeUIVariable"/>
              </a:rPr>
              <a:t>What is the current Market Share of Oso One IFP Insurance Plans?</a:t>
            </a:r>
            <a:r>
              <a:rPr lang="en-US" b="0" i="0">
                <a:effectLst/>
                <a:highlight>
                  <a:srgbClr val="F3F3F3"/>
                </a:highlight>
                <a:latin typeface="SegoeUIVariable"/>
              </a:rPr>
              <a:t> This question will help you understand the competitiveness of these plans in the market.</a:t>
            </a:r>
          </a:p>
          <a:p>
            <a:pPr lvl="1" algn="l">
              <a:buFont typeface="+mj-lt"/>
              <a:buAutoNum type="arabicPeriod"/>
            </a:pPr>
            <a:r>
              <a:rPr lang="en-US" b="0" i="0">
                <a:effectLst/>
                <a:highlight>
                  <a:srgbClr val="F3F3F3"/>
                </a:highlight>
                <a:latin typeface="SegoeUIVariable"/>
              </a:rPr>
              <a:t> Example: “What is the current market share of Oso One IFP insurance plans? How has this changed over the past year?”</a:t>
            </a:r>
          </a:p>
          <a:p>
            <a:pPr algn="l">
              <a:buFont typeface="+mj-lt"/>
              <a:buAutoNum type="arabicPeriod"/>
            </a:pPr>
            <a:r>
              <a:rPr lang="en-US" b="1" i="0">
                <a:effectLst/>
                <a:highlight>
                  <a:srgbClr val="F3F3F3"/>
                </a:highlight>
                <a:latin typeface="SegoeUIVariable"/>
              </a:rPr>
              <a:t>What cost savings are expected from improving the process of reviewing and ingesting competitor data?</a:t>
            </a:r>
            <a:r>
              <a:rPr lang="en-US" b="0" i="0">
                <a:effectLst/>
                <a:highlight>
                  <a:srgbClr val="F3F3F3"/>
                </a:highlight>
                <a:latin typeface="SegoeUIVariable"/>
              </a:rPr>
              <a:t> This question will help you understand the financial impact of process improvement.</a:t>
            </a:r>
          </a:p>
          <a:p>
            <a:pPr algn="l">
              <a:buFont typeface="+mj-lt"/>
              <a:buAutoNum type="arabicPeriod"/>
            </a:pPr>
            <a:r>
              <a:rPr lang="en-US" b="0" i="0">
                <a:effectLst/>
                <a:highlight>
                  <a:srgbClr val="F3F3F3"/>
                </a:highlight>
                <a:latin typeface="SegoeUIVariable"/>
              </a:rPr>
              <a:t> Example: “What cost savings do you anticipate from improving the process of reviewing and ingesting competitor data? How will these savings be measured?”</a:t>
            </a:r>
          </a:p>
          <a:p>
            <a:pPr algn="l">
              <a:buFont typeface="+mj-lt"/>
              <a:buNone/>
            </a:pPr>
            <a:endParaRPr lang="en-US" b="0" i="0">
              <a:effectLst/>
              <a:highlight>
                <a:srgbClr val="F3F3F3"/>
              </a:highlight>
              <a:latin typeface="SegoeUIVariable"/>
            </a:endParaRPr>
          </a:p>
          <a:p>
            <a:pPr algn="l"/>
            <a:r>
              <a:rPr lang="en-US" b="1" i="0">
                <a:effectLst/>
                <a:highlight>
                  <a:srgbClr val="F3F3F3"/>
                </a:highlight>
                <a:latin typeface="SegoeUIVariable"/>
              </a:rPr>
              <a:t>Business Outcome Questions:</a:t>
            </a:r>
            <a:endParaRPr lang="en-US" b="0" i="0">
              <a:effectLst/>
              <a:highlight>
                <a:srgbClr val="F3F3F3"/>
              </a:highlight>
              <a:latin typeface="SegoeUIVariable"/>
            </a:endParaRPr>
          </a:p>
          <a:p>
            <a:pPr algn="l">
              <a:buFont typeface="+mj-lt"/>
              <a:buAutoNum type="arabicPeriod"/>
            </a:pPr>
            <a:r>
              <a:rPr lang="en-US" b="1" i="0">
                <a:effectLst/>
                <a:highlight>
                  <a:srgbClr val="F3F3F3"/>
                </a:highlight>
                <a:latin typeface="SegoeUIVariable"/>
              </a:rPr>
              <a:t>How would increased revenue from Oso One IFP insurance plans impact Contoso Health’s overall financial performance?</a:t>
            </a:r>
            <a:r>
              <a:rPr lang="en-US" b="0" i="0">
                <a:effectLst/>
                <a:highlight>
                  <a:srgbClr val="F3F3F3"/>
                </a:highlight>
                <a:latin typeface="SegoeUIVariable"/>
              </a:rPr>
              <a:t> This question will help you understand the significance of this revenue stream.</a:t>
            </a:r>
          </a:p>
          <a:p>
            <a:pPr lvl="1" algn="l">
              <a:buFont typeface="+mj-lt"/>
              <a:buAutoNum type="arabicPeriod"/>
            </a:pPr>
            <a:r>
              <a:rPr lang="en-US" b="0" i="0">
                <a:effectLst/>
                <a:highlight>
                  <a:srgbClr val="F3F3F3"/>
                </a:highlight>
                <a:latin typeface="SegoeUIVariable"/>
              </a:rPr>
              <a:t> Example: “Could you share how an increase in revenue from Oso One IFP insurance plans would impact Contoso Health’s overall financial performance?”</a:t>
            </a:r>
          </a:p>
          <a:p>
            <a:pPr algn="l">
              <a:buFont typeface="+mj-lt"/>
              <a:buAutoNum type="arabicPeriod"/>
            </a:pPr>
            <a:r>
              <a:rPr lang="en-US" b="1" i="0">
                <a:effectLst/>
                <a:highlight>
                  <a:srgbClr val="F3F3F3"/>
                </a:highlight>
                <a:latin typeface="SegoeUIVariable"/>
              </a:rPr>
              <a:t>What does improved market competitiveness mean for Contoso Health?</a:t>
            </a:r>
            <a:r>
              <a:rPr lang="en-US" b="0" i="0">
                <a:effectLst/>
                <a:highlight>
                  <a:srgbClr val="F3F3F3"/>
                </a:highlight>
                <a:latin typeface="SegoeUIVariable"/>
              </a:rPr>
              <a:t> This question will help you understand the strategic importance of market competitiveness.</a:t>
            </a:r>
          </a:p>
          <a:p>
            <a:pPr lvl="1" algn="l">
              <a:buFont typeface="+mj-lt"/>
              <a:buAutoNum type="arabicPeriod"/>
            </a:pPr>
            <a:r>
              <a:rPr lang="en-US" b="0" i="0">
                <a:effectLst/>
                <a:highlight>
                  <a:srgbClr val="F3F3F3"/>
                </a:highlight>
                <a:latin typeface="SegoeUIVariable"/>
              </a:rPr>
              <a:t> Example: “What would improved market competitiveness of Oso One IFP insurance plans mean for Contoso Health in terms of its market positioning and strategy?”</a:t>
            </a:r>
          </a:p>
          <a:p>
            <a:pPr algn="l">
              <a:buFont typeface="+mj-lt"/>
              <a:buAutoNum type="arabicPeriod"/>
            </a:pPr>
            <a:r>
              <a:rPr lang="en-US" b="1" i="0">
                <a:effectLst/>
                <a:highlight>
                  <a:srgbClr val="F3F3F3"/>
                </a:highlight>
                <a:latin typeface="SegoeUIVariable"/>
              </a:rPr>
              <a:t>How would efficiency in operations impact other areas of the business?</a:t>
            </a:r>
            <a:r>
              <a:rPr lang="en-US" b="0" i="0">
                <a:effectLst/>
                <a:highlight>
                  <a:srgbClr val="F3F3F3"/>
                </a:highlight>
                <a:latin typeface="SegoeUIVariable"/>
              </a:rPr>
              <a:t> This question will help you understand the broader impact of operational efficiency.</a:t>
            </a:r>
          </a:p>
          <a:p>
            <a:pPr lvl="1" algn="l">
              <a:buFont typeface="+mj-lt"/>
              <a:buAutoNum type="arabicPeriod"/>
            </a:pPr>
            <a:r>
              <a:rPr lang="en-US" b="0" i="0">
                <a:effectLst/>
                <a:highlight>
                  <a:srgbClr val="F3F3F3"/>
                </a:highlight>
                <a:latin typeface="SegoeUIVariable"/>
              </a:rPr>
              <a:t> Example: “How would improving the efficiency of operations in reviewing and ingesting competitor data impact other areas of the business?”</a:t>
            </a:r>
          </a:p>
          <a:p>
            <a:pPr algn="l">
              <a:buFont typeface="+mj-lt"/>
              <a:buAutoNum type="arabicPeriod"/>
            </a:pPr>
            <a:r>
              <a:rPr lang="en-US" b="1" i="0">
                <a:effectLst/>
                <a:highlight>
                  <a:srgbClr val="F3F3F3"/>
                </a:highlight>
                <a:latin typeface="SegoeUIVariable"/>
              </a:rPr>
              <a:t>What would Contoso Health do with the cost savings from improving the process?</a:t>
            </a:r>
            <a:r>
              <a:rPr lang="en-US" b="0" i="0">
                <a:effectLst/>
                <a:highlight>
                  <a:srgbClr val="F3F3F3"/>
                </a:highlight>
                <a:latin typeface="SegoeUIVariable"/>
              </a:rPr>
              <a:t> This question will help you understand the potential reinvestment of cost savings.</a:t>
            </a:r>
          </a:p>
          <a:p>
            <a:pPr lvl="1" algn="l">
              <a:buFont typeface="+mj-lt"/>
              <a:buAutoNum type="arabicPeriod"/>
            </a:pPr>
            <a:r>
              <a:rPr lang="en-US" b="0" i="0">
                <a:effectLst/>
                <a:highlight>
                  <a:srgbClr val="F3F3F3"/>
                </a:highlight>
                <a:latin typeface="SegoeUIVariable"/>
              </a:rPr>
              <a:t> Example: “If cost savings were realized from improving the process of reviewing and ingesting competitor data, how would Contoso Health potentially reinvest these savings?”</a:t>
            </a:r>
          </a:p>
          <a:p>
            <a:pPr algn="l">
              <a:buFont typeface="+mj-lt"/>
              <a:buAutoNum type="arabicPeriod"/>
            </a:pPr>
            <a:r>
              <a:rPr lang="en-US" b="1" i="0">
                <a:effectLst/>
                <a:highlight>
                  <a:srgbClr val="F3F3F3"/>
                </a:highlight>
                <a:latin typeface="SegoeUIVariable"/>
              </a:rPr>
              <a:t>How would improved decision making affect the business strategy?</a:t>
            </a:r>
            <a:r>
              <a:rPr lang="en-US" b="0" i="0">
                <a:effectLst/>
                <a:highlight>
                  <a:srgbClr val="F3F3F3"/>
                </a:highlight>
                <a:latin typeface="SegoeUIVariable"/>
              </a:rPr>
              <a:t> This question will help you understand the impact of improved decision making on the business strategy.</a:t>
            </a:r>
          </a:p>
          <a:p>
            <a:pPr lvl="1" algn="l">
              <a:buFont typeface="+mj-lt"/>
              <a:buAutoNum type="arabicPeriod"/>
            </a:pPr>
            <a:r>
              <a:rPr lang="en-US" b="0" i="0">
                <a:effectLst/>
                <a:highlight>
                  <a:srgbClr val="F3F3F3"/>
                </a:highlight>
                <a:latin typeface="SegoeUIVariable"/>
              </a:rPr>
              <a:t> Example: “How would improved decision making, as a result of more accurate and timely competitor data, affect Contoso Health’s business strategy for Oso One IFP insurance plans?”</a:t>
            </a:r>
          </a:p>
          <a:p>
            <a:pPr algn="l">
              <a:buFont typeface="+mj-lt"/>
              <a:buNone/>
            </a:pPr>
            <a:endParaRPr lang="en-US" b="0" i="0">
              <a:effectLst/>
              <a:highlight>
                <a:srgbClr val="F3F3F3"/>
              </a:highlight>
              <a:latin typeface="SegoeUIVariable"/>
            </a:endParaRPr>
          </a:p>
          <a:p>
            <a:pPr algn="l"/>
            <a:r>
              <a:rPr lang="en-US" b="1" i="0">
                <a:effectLst/>
                <a:highlight>
                  <a:srgbClr val="F3F3F3"/>
                </a:highlight>
                <a:latin typeface="SegoeUIVariable"/>
              </a:rPr>
              <a:t>Business Capability Questions:</a:t>
            </a:r>
            <a:endParaRPr lang="en-US" b="0" i="0">
              <a:effectLst/>
              <a:highlight>
                <a:srgbClr val="F3F3F3"/>
              </a:highlight>
              <a:latin typeface="SegoeUIVariable"/>
            </a:endParaRPr>
          </a:p>
          <a:p>
            <a:pPr algn="l">
              <a:buFont typeface="+mj-lt"/>
              <a:buAutoNum type="arabicPeriod"/>
            </a:pPr>
            <a:r>
              <a:rPr lang="en-US" b="1" i="0">
                <a:effectLst/>
                <a:highlight>
                  <a:srgbClr val="F3F3F3"/>
                </a:highlight>
                <a:latin typeface="SegoeUIVariable"/>
              </a:rPr>
              <a:t>How would the capability for Competitive Pricing impact Contoso Health’s market positioning?</a:t>
            </a:r>
            <a:r>
              <a:rPr lang="en-US" b="0" i="0">
                <a:effectLst/>
                <a:highlight>
                  <a:srgbClr val="F3F3F3"/>
                </a:highlight>
                <a:latin typeface="SegoeUIVariable"/>
              </a:rPr>
              <a:t> This question will help you understand the strategic importance of competitive pricing.</a:t>
            </a:r>
          </a:p>
          <a:p>
            <a:pPr lvl="1" algn="l">
              <a:buFont typeface="+mj-lt"/>
              <a:buAutoNum type="arabicPeriod"/>
            </a:pPr>
            <a:r>
              <a:rPr lang="en-US" b="0" i="0">
                <a:effectLst/>
                <a:highlight>
                  <a:srgbClr val="F3F3F3"/>
                </a:highlight>
                <a:latin typeface="SegoeUIVariable"/>
              </a:rPr>
              <a:t>Example: “Could you share how the capability for competitive pricing of Oso One IFP insurance plans would impact Contoso Health’s market positioning?”</a:t>
            </a:r>
          </a:p>
          <a:p>
            <a:pPr algn="l">
              <a:buFont typeface="+mj-lt"/>
              <a:buAutoNum type="arabicPeriod"/>
            </a:pPr>
            <a:r>
              <a:rPr lang="en-US" b="1" i="0">
                <a:effectLst/>
                <a:highlight>
                  <a:srgbClr val="F3F3F3"/>
                </a:highlight>
                <a:latin typeface="SegoeUIVariable"/>
              </a:rPr>
              <a:t>What benefits would the Automated Data Ingestion capability bring to Contoso Health?</a:t>
            </a:r>
            <a:r>
              <a:rPr lang="en-US" b="0" i="0">
                <a:effectLst/>
                <a:highlight>
                  <a:srgbClr val="F3F3F3"/>
                </a:highlight>
                <a:latin typeface="SegoeUIVariable"/>
              </a:rPr>
              <a:t> This question will help you understand the operational benefits of automation.</a:t>
            </a:r>
          </a:p>
          <a:p>
            <a:pPr lvl="1" algn="l">
              <a:buFont typeface="+mj-lt"/>
              <a:buAutoNum type="arabicPeriod"/>
            </a:pPr>
            <a:r>
              <a:rPr lang="en-US" b="0" i="0">
                <a:effectLst/>
                <a:highlight>
                  <a:srgbClr val="F3F3F3"/>
                </a:highlight>
                <a:latin typeface="SegoeUIVariable"/>
              </a:rPr>
              <a:t> Example: “What benefits do you anticipate from the capability to automatically ingest and process competitor data?”</a:t>
            </a:r>
          </a:p>
          <a:p>
            <a:pPr algn="l">
              <a:buFont typeface="+mj-lt"/>
              <a:buAutoNum type="arabicPeriod"/>
            </a:pPr>
            <a:r>
              <a:rPr lang="en-US" b="1" i="0">
                <a:effectLst/>
                <a:highlight>
                  <a:srgbClr val="F3F3F3"/>
                </a:highlight>
                <a:latin typeface="SegoeUIVariable"/>
              </a:rPr>
              <a:t>How would the capability for Data-Driven Decision Making change the way Contoso Health operates?</a:t>
            </a:r>
            <a:r>
              <a:rPr lang="en-US" b="0" i="0">
                <a:effectLst/>
                <a:highlight>
                  <a:srgbClr val="F3F3F3"/>
                </a:highlight>
                <a:latin typeface="SegoeUIVariable"/>
              </a:rPr>
              <a:t> This question will help you understand the impact of data-driven decision making on operations.</a:t>
            </a:r>
          </a:p>
          <a:p>
            <a:pPr lvl="1" algn="l">
              <a:buFont typeface="+mj-lt"/>
              <a:buAutoNum type="arabicPeriod"/>
            </a:pPr>
            <a:r>
              <a:rPr lang="en-US" b="0" i="0">
                <a:effectLst/>
                <a:highlight>
                  <a:srgbClr val="F3F3F3"/>
                </a:highlight>
                <a:latin typeface="SegoeUIVariable"/>
              </a:rPr>
              <a:t> Example: “How would the capability for data-driven decision making change the way Contoso Health operates and makes decisions about Oso One IFP insurance plans?”</a:t>
            </a:r>
          </a:p>
          <a:p>
            <a:pPr algn="l">
              <a:buFont typeface="+mj-lt"/>
              <a:buAutoNum type="arabicPeriod"/>
            </a:pPr>
            <a:r>
              <a:rPr lang="en-US" b="1" i="0">
                <a:effectLst/>
                <a:highlight>
                  <a:srgbClr val="F3F3F3"/>
                </a:highlight>
                <a:latin typeface="SegoeUIVariable"/>
              </a:rPr>
              <a:t>What impact would achieving Cost Efficiency have on Contoso Health’s financial performance?</a:t>
            </a:r>
            <a:r>
              <a:rPr lang="en-US" b="0" i="0">
                <a:effectLst/>
                <a:highlight>
                  <a:srgbClr val="F3F3F3"/>
                </a:highlight>
                <a:latin typeface="SegoeUIVariable"/>
              </a:rPr>
              <a:t> This question will help you understand the financial implications of cost efficiency.</a:t>
            </a:r>
          </a:p>
          <a:p>
            <a:pPr lvl="1" algn="l">
              <a:buFont typeface="+mj-lt"/>
              <a:buAutoNum type="arabicPeriod"/>
            </a:pPr>
            <a:r>
              <a:rPr lang="en-US" b="0" i="0">
                <a:effectLst/>
                <a:highlight>
                  <a:srgbClr val="F3F3F3"/>
                </a:highlight>
                <a:latin typeface="SegoeUIVariable"/>
              </a:rPr>
              <a:t> Example: “What impact would achieving cost efficiency through process improvement and automation have on Contoso Health’s financial performance?”</a:t>
            </a:r>
          </a:p>
          <a:p>
            <a:pPr algn="l">
              <a:buFont typeface="+mj-lt"/>
              <a:buAutoNum type="arabicPeriod"/>
            </a:pPr>
            <a:r>
              <a:rPr lang="en-US" b="1" i="0">
                <a:effectLst/>
                <a:highlight>
                  <a:srgbClr val="F3F3F3"/>
                </a:highlight>
                <a:latin typeface="SegoeUIVariable"/>
              </a:rPr>
              <a:t>How would the capability for Market Responsiveness affect Contoso Health’s competitiveness?</a:t>
            </a:r>
            <a:r>
              <a:rPr lang="en-US" b="0" i="0">
                <a:effectLst/>
                <a:highlight>
                  <a:srgbClr val="F3F3F3"/>
                </a:highlight>
                <a:latin typeface="SegoeUIVariable"/>
              </a:rPr>
              <a:t> This question will help you understand the strategic importance of market responsiveness.</a:t>
            </a:r>
          </a:p>
          <a:p>
            <a:pPr lvl="1" algn="l">
              <a:buFont typeface="+mj-lt"/>
              <a:buAutoNum type="arabicPeriod"/>
            </a:pPr>
            <a:r>
              <a:rPr lang="en-US" b="0" i="0">
                <a:effectLst/>
                <a:highlight>
                  <a:srgbClr val="F3F3F3"/>
                </a:highlight>
                <a:latin typeface="SegoeUIVariable"/>
              </a:rPr>
              <a:t> Example: “How would the capability for market responsiveness, or the ability to quickly respond to market changes based on competitor data, affect Contoso Health’s competitiveness and market positioning?”</a:t>
            </a:r>
          </a:p>
          <a:p>
            <a:pPr algn="l">
              <a:buFont typeface="+mj-lt"/>
              <a:buNone/>
            </a:pPr>
            <a:endParaRPr lang="en-US" b="0" i="0">
              <a:effectLst/>
              <a:highlight>
                <a:srgbClr val="F3F3F3"/>
              </a:highlight>
              <a:latin typeface="SegoeUIVariable"/>
            </a:endParaRPr>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7/12/2024 12:30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9</a:t>
            </a:fld>
            <a:endParaRPr lang="en-US"/>
          </a:p>
        </p:txBody>
      </p:sp>
    </p:spTree>
    <p:extLst>
      <p:ext uri="{BB962C8B-B14F-4D97-AF65-F5344CB8AC3E}">
        <p14:creationId xmlns:p14="http://schemas.microsoft.com/office/powerpoint/2010/main" val="26191240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12/2024 12:3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9027505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Business Objectives Questions:</a:t>
            </a:r>
          </a:p>
          <a:p>
            <a:pPr algn="l">
              <a:buFont typeface="+mj-lt"/>
              <a:buAutoNum type="arabicPeriod"/>
            </a:pPr>
            <a:r>
              <a:rPr lang="en-US" b="1" i="0">
                <a:effectLst/>
                <a:highlight>
                  <a:srgbClr val="F3F3F3"/>
                </a:highlight>
                <a:latin typeface="SegoeUIVariable"/>
              </a:rPr>
              <a:t>Efficiency Improvement:</a:t>
            </a:r>
            <a:r>
              <a:rPr lang="en-US" b="0" i="0">
                <a:effectLst/>
                <a:highlight>
                  <a:srgbClr val="F3F3F3"/>
                </a:highlight>
                <a:latin typeface="SegoeUIVariable"/>
              </a:rPr>
              <a:t> How much time is currently spent by your analysts on manually reviewing and ingesting competitor pricing data? How much of this time do you aim to save through the implementation of the AI model?</a:t>
            </a:r>
          </a:p>
          <a:p>
            <a:pPr algn="l">
              <a:buFont typeface="+mj-lt"/>
              <a:buAutoNum type="arabicPeriod"/>
            </a:pPr>
            <a:r>
              <a:rPr lang="en-US" b="1" i="0">
                <a:effectLst/>
                <a:highlight>
                  <a:srgbClr val="F3F3F3"/>
                </a:highlight>
                <a:latin typeface="SegoeUIVariable"/>
              </a:rPr>
              <a:t>Revenue Maximization:</a:t>
            </a:r>
            <a:r>
              <a:rPr lang="en-US" b="0" i="0">
                <a:effectLst/>
                <a:highlight>
                  <a:srgbClr val="F3F3F3"/>
                </a:highlight>
                <a:latin typeface="SegoeUIVariable"/>
              </a:rPr>
              <a:t> What is your current revenue from the sales of Oso One IFP insurance plans? What increase in revenue do you anticipate with the implementation of optimal pricing?</a:t>
            </a:r>
          </a:p>
          <a:p>
            <a:pPr algn="l">
              <a:buFont typeface="+mj-lt"/>
              <a:buAutoNum type="arabicPeriod"/>
            </a:pPr>
            <a:r>
              <a:rPr lang="en-US" b="1" i="0">
                <a:effectLst/>
                <a:highlight>
                  <a:srgbClr val="F3F3F3"/>
                </a:highlight>
                <a:latin typeface="SegoeUIVariable"/>
              </a:rPr>
              <a:t>Competitive Advantage:</a:t>
            </a:r>
            <a:r>
              <a:rPr lang="en-US" b="0" i="0">
                <a:effectLst/>
                <a:highlight>
                  <a:srgbClr val="F3F3F3"/>
                </a:highlight>
                <a:latin typeface="SegoeUIVariable"/>
              </a:rPr>
              <a:t> How often do your competitors change their pricing? How quickly are you able to respond to these changes currently, and how would you like this to improve?</a:t>
            </a:r>
          </a:p>
          <a:p>
            <a:pPr algn="l">
              <a:buFont typeface="+mj-lt"/>
              <a:buAutoNum type="arabicPeriod"/>
            </a:pPr>
            <a:r>
              <a:rPr lang="en-US" b="1" i="0">
                <a:effectLst/>
                <a:highlight>
                  <a:srgbClr val="F3F3F3"/>
                </a:highlight>
                <a:latin typeface="SegoeUIVariable"/>
              </a:rPr>
              <a:t>Risk Mitigation:</a:t>
            </a:r>
            <a:r>
              <a:rPr lang="en-US" b="0" i="0">
                <a:effectLst/>
                <a:highlight>
                  <a:srgbClr val="F3F3F3"/>
                </a:highlight>
                <a:latin typeface="SegoeUIVariable"/>
              </a:rPr>
              <a:t> Can you provide examples of instances where human error in pricing decisions has impacted your business? How do you expect the AI model to mitigate such risks?</a:t>
            </a:r>
          </a:p>
          <a:p>
            <a:pPr algn="l">
              <a:buFont typeface="+mj-lt"/>
              <a:buAutoNum type="arabicPeriod"/>
            </a:pPr>
            <a:r>
              <a:rPr lang="en-US" b="1" i="0">
                <a:effectLst/>
                <a:highlight>
                  <a:srgbClr val="F3F3F3"/>
                </a:highlight>
                <a:latin typeface="SegoeUIVariable"/>
              </a:rPr>
              <a:t>Insight Generation:</a:t>
            </a:r>
            <a:r>
              <a:rPr lang="en-US" b="0" i="0">
                <a:effectLst/>
                <a:highlight>
                  <a:srgbClr val="F3F3F3"/>
                </a:highlight>
                <a:latin typeface="SegoeUIVariable"/>
              </a:rPr>
              <a:t> What kind of insights would you like the AI model to generate? How do you plan to use these insights for strategic decision-making?</a:t>
            </a:r>
          </a:p>
          <a:p>
            <a:endParaRPr lang="en-US"/>
          </a:p>
          <a:p>
            <a:r>
              <a:rPr lang="en-US"/>
              <a:t>Key Results Questions:</a:t>
            </a:r>
          </a:p>
          <a:p>
            <a:pPr algn="l">
              <a:buFont typeface="+mj-lt"/>
              <a:buAutoNum type="arabicPeriod"/>
            </a:pPr>
            <a:r>
              <a:rPr lang="en-US" b="1" i="0">
                <a:effectLst/>
                <a:highlight>
                  <a:srgbClr val="F3F3F3"/>
                </a:highlight>
                <a:latin typeface="SegoeUIVariable"/>
              </a:rPr>
              <a:t>Efficiency Improvement:</a:t>
            </a:r>
            <a:r>
              <a:rPr lang="en-US" b="0" i="0">
                <a:effectLst/>
                <a:highlight>
                  <a:srgbClr val="F3F3F3"/>
                </a:highlight>
                <a:latin typeface="SegoeUIVariable"/>
              </a:rPr>
              <a:t> How will the reduction in time spent on manual tasks impact your team’s productivity? Can this saved time be utilized for other strategic tasks?</a:t>
            </a:r>
          </a:p>
          <a:p>
            <a:pPr algn="l">
              <a:buFont typeface="+mj-lt"/>
              <a:buAutoNum type="arabicPeriod"/>
            </a:pPr>
            <a:r>
              <a:rPr lang="en-US" b="1" i="0">
                <a:effectLst/>
                <a:highlight>
                  <a:srgbClr val="F3F3F3"/>
                </a:highlight>
                <a:latin typeface="SegoeUIVariable"/>
              </a:rPr>
              <a:t>Revenue Maximization:</a:t>
            </a:r>
            <a:r>
              <a:rPr lang="en-US" b="0" i="0">
                <a:effectLst/>
                <a:highlight>
                  <a:srgbClr val="F3F3F3"/>
                </a:highlight>
                <a:latin typeface="SegoeUIVariable"/>
              </a:rPr>
              <a:t> How will a 10% increase in sales within the first six months impact your overall revenue goals? What strategies do you have in place to achieve a 20% increase in revenue by the end of the first year?</a:t>
            </a:r>
          </a:p>
          <a:p>
            <a:pPr algn="l">
              <a:buFont typeface="+mj-lt"/>
              <a:buAutoNum type="arabicPeriod"/>
            </a:pPr>
            <a:r>
              <a:rPr lang="en-US" b="1" i="0">
                <a:effectLst/>
                <a:highlight>
                  <a:srgbClr val="F3F3F3"/>
                </a:highlight>
                <a:latin typeface="SegoeUIVariable"/>
              </a:rPr>
              <a:t>Competitive Advantage:</a:t>
            </a:r>
            <a:r>
              <a:rPr lang="en-US" b="0" i="0">
                <a:effectLst/>
                <a:highlight>
                  <a:srgbClr val="F3F3F3"/>
                </a:highlight>
                <a:latin typeface="SegoeUIVariable"/>
              </a:rPr>
              <a:t> How critical is the reduction in response time to your overall business strategy? How do you plan to maintain or improve the market share of Oso One IFP insurance plans?</a:t>
            </a:r>
          </a:p>
          <a:p>
            <a:pPr algn="l">
              <a:buFont typeface="+mj-lt"/>
              <a:buAutoNum type="arabicPeriod"/>
            </a:pPr>
            <a:r>
              <a:rPr lang="en-US" b="1" i="0">
                <a:effectLst/>
                <a:highlight>
                  <a:srgbClr val="F3F3F3"/>
                </a:highlight>
                <a:latin typeface="SegoeUIVariable"/>
              </a:rPr>
              <a:t>Risk Mitigation:</a:t>
            </a:r>
            <a:r>
              <a:rPr lang="en-US" b="0" i="0">
                <a:effectLst/>
                <a:highlight>
                  <a:srgbClr val="F3F3F3"/>
                </a:highlight>
                <a:latin typeface="SegoeUIVariable"/>
              </a:rPr>
              <a:t> How will reducing pricing errors by 80% impact your business operations and customer satisfaction? What measures will you take to achieve near-zero pricing errors?</a:t>
            </a:r>
          </a:p>
          <a:p>
            <a:pPr algn="l">
              <a:buFont typeface="+mj-lt"/>
              <a:buAutoNum type="arabicPeriod"/>
            </a:pPr>
            <a:r>
              <a:rPr lang="en-US" b="1" i="0">
                <a:effectLst/>
                <a:highlight>
                  <a:srgbClr val="F3F3F3"/>
                </a:highlight>
                <a:latin typeface="SegoeUIVariable"/>
              </a:rPr>
              <a:t>Insight Generation:</a:t>
            </a:r>
            <a:r>
              <a:rPr lang="en-US" b="0" i="0">
                <a:effectLst/>
                <a:highlight>
                  <a:srgbClr val="F3F3F3"/>
                </a:highlight>
                <a:latin typeface="SegoeUIVariable"/>
              </a:rPr>
              <a:t> How will the weekly reports assist in your decision-making process? Can you provide examples of strategic decisions that could be informed by these insights?</a:t>
            </a:r>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7/12/2024 12:30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0</a:t>
            </a:fld>
            <a:endParaRPr lang="en-US"/>
          </a:p>
        </p:txBody>
      </p:sp>
    </p:spTree>
    <p:extLst>
      <p:ext uri="{BB962C8B-B14F-4D97-AF65-F5344CB8AC3E}">
        <p14:creationId xmlns:p14="http://schemas.microsoft.com/office/powerpoint/2010/main" val="361030321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lignment to Business Process Challenge Questions</a:t>
            </a:r>
          </a:p>
          <a:p>
            <a:pPr algn="l">
              <a:buFont typeface="+mj-lt"/>
              <a:buAutoNum type="arabicPeriod"/>
            </a:pPr>
            <a:r>
              <a:rPr lang="en-US" b="0" i="0">
                <a:effectLst/>
                <a:highlight>
                  <a:srgbClr val="F3F3F3"/>
                </a:highlight>
                <a:latin typeface="SegoeUIVariable"/>
              </a:rPr>
              <a:t>How does the “Competitive Pricing Analysis” use case align with your current business process challenges?</a:t>
            </a:r>
          </a:p>
          <a:p>
            <a:pPr algn="l">
              <a:buFont typeface="+mj-lt"/>
              <a:buAutoNum type="arabicPeriod"/>
            </a:pPr>
            <a:r>
              <a:rPr lang="en-US" b="0" i="0">
                <a:effectLst/>
                <a:highlight>
                  <a:srgbClr val="F3F3F3"/>
                </a:highlight>
                <a:latin typeface="SegoeUIVariable"/>
              </a:rPr>
              <a:t>How do you anticipate the AI model’s pricing suggestions will improve your response to competitor pricing actions?</a:t>
            </a:r>
          </a:p>
          <a:p>
            <a:pPr algn="l">
              <a:buFont typeface="+mj-lt"/>
              <a:buAutoNum type="arabicPeriod"/>
            </a:pPr>
            <a:r>
              <a:rPr lang="en-US" b="0" i="0">
                <a:effectLst/>
                <a:highlight>
                  <a:srgbClr val="F3F3F3"/>
                </a:highlight>
                <a:latin typeface="SegoeUIVariable"/>
              </a:rPr>
              <a:t>Can you provide examples of how the reduction in manual tasks and human error could impact your business operations?</a:t>
            </a:r>
          </a:p>
          <a:p>
            <a:pPr algn="l">
              <a:buFont typeface="+mj-lt"/>
              <a:buAutoNum type="arabicPeriod"/>
            </a:pPr>
            <a:r>
              <a:rPr lang="en-US" b="0" i="0">
                <a:effectLst/>
                <a:highlight>
                  <a:srgbClr val="F3F3F3"/>
                </a:highlight>
                <a:latin typeface="SegoeUIVariable"/>
              </a:rPr>
              <a:t>How do you plan to use the insights generated by the AI model for strategic decision-making?</a:t>
            </a:r>
          </a:p>
          <a:p>
            <a:pPr algn="l">
              <a:buFont typeface="+mj-lt"/>
              <a:buAutoNum type="arabicPeriod"/>
            </a:pPr>
            <a:r>
              <a:rPr lang="en-US" b="0" i="0">
                <a:effectLst/>
                <a:highlight>
                  <a:srgbClr val="F3F3F3"/>
                </a:highlight>
                <a:latin typeface="SegoeUIVariable"/>
              </a:rPr>
              <a:t>How critical is the user-friendly interface of the system to your analysts’ productivity and satisfaction?</a:t>
            </a:r>
          </a:p>
          <a:p>
            <a:endParaRPr lang="en-US"/>
          </a:p>
          <a:p>
            <a:r>
              <a:rPr lang="en-US"/>
              <a:t>Business Value Questions</a:t>
            </a:r>
          </a:p>
          <a:p>
            <a:pPr algn="l">
              <a:buFont typeface="+mj-lt"/>
              <a:buAutoNum type="arabicPeriod"/>
            </a:pPr>
            <a:r>
              <a:rPr lang="en-US" b="0" i="0">
                <a:effectLst/>
                <a:highlight>
                  <a:srgbClr val="F3F3F3"/>
                </a:highlight>
                <a:latin typeface="SegoeUIVariable"/>
              </a:rPr>
              <a:t>How do you anticipate the increased revenue from the sales of Oso One IFP insurance plans will impact your overall business growth?</a:t>
            </a:r>
          </a:p>
          <a:p>
            <a:pPr algn="l">
              <a:buFont typeface="+mj-lt"/>
              <a:buAutoNum type="arabicPeriod"/>
            </a:pPr>
            <a:r>
              <a:rPr lang="en-US" b="0" i="0">
                <a:effectLst/>
                <a:highlight>
                  <a:srgbClr val="F3F3F3"/>
                </a:highlight>
                <a:latin typeface="SegoeUIVariable"/>
              </a:rPr>
              <a:t>Can you provide examples of how the improved efficiency in the pricing analysis process could lead to cost savings?</a:t>
            </a:r>
          </a:p>
          <a:p>
            <a:pPr algn="l">
              <a:buFont typeface="+mj-lt"/>
              <a:buAutoNum type="arabicPeriod"/>
            </a:pPr>
            <a:r>
              <a:rPr lang="en-US" b="0" i="0">
                <a:effectLst/>
                <a:highlight>
                  <a:srgbClr val="F3F3F3"/>
                </a:highlight>
                <a:latin typeface="SegoeUIVariable"/>
              </a:rPr>
              <a:t>How do you plan to use the insights generated by the AI model for strategic decision-making?</a:t>
            </a:r>
          </a:p>
          <a:p>
            <a:pPr algn="l">
              <a:buFont typeface="+mj-lt"/>
              <a:buAutoNum type="arabicPeriod"/>
            </a:pPr>
            <a:r>
              <a:rPr lang="en-US" b="0" i="0">
                <a:effectLst/>
                <a:highlight>
                  <a:srgbClr val="F3F3F3"/>
                </a:highlight>
                <a:latin typeface="SegoeUIVariable"/>
              </a:rPr>
              <a:t>Can you provide examples of how reducing the risk of human error in pricing decisions could enhance your competitiveness and reputation in the market?</a:t>
            </a:r>
          </a:p>
          <a:p>
            <a:pPr algn="l">
              <a:buFont typeface="+mj-lt"/>
              <a:buAutoNum type="arabicPeriod"/>
            </a:pPr>
            <a:r>
              <a:rPr lang="en-US" b="0" i="0">
                <a:effectLst/>
                <a:highlight>
                  <a:srgbClr val="F3F3F3"/>
                </a:highlight>
                <a:latin typeface="SegoeUIVariable"/>
              </a:rPr>
              <a:t>How do you think offering competitively priced insurance plans will enhance customer satisfaction and loyalty?</a:t>
            </a:r>
          </a:p>
          <a:p>
            <a:endParaRPr lang="en-US"/>
          </a:p>
          <a:p>
            <a:r>
              <a:rPr lang="en-US"/>
              <a:t>Change Management Timeframe Questions:</a:t>
            </a:r>
          </a:p>
          <a:p>
            <a:pPr algn="l">
              <a:buFont typeface="+mj-lt"/>
              <a:buAutoNum type="arabicPeriod"/>
            </a:pPr>
            <a:r>
              <a:rPr lang="en-US" b="0" i="0">
                <a:effectLst/>
                <a:highlight>
                  <a:srgbClr val="F3F3F3"/>
                </a:highlight>
                <a:latin typeface="SegoeUIVariable"/>
              </a:rPr>
              <a:t>How does the estimated timeframe align with your overall business timeline and goals?</a:t>
            </a:r>
          </a:p>
          <a:p>
            <a:pPr algn="l">
              <a:buFont typeface="+mj-lt"/>
              <a:buAutoNum type="arabicPeriod"/>
            </a:pPr>
            <a:r>
              <a:rPr lang="en-US" b="0" i="0">
                <a:effectLst/>
                <a:highlight>
                  <a:srgbClr val="F3F3F3"/>
                </a:highlight>
                <a:latin typeface="SegoeUIVariable"/>
              </a:rPr>
              <a:t>What resources (people, tools, etc.) do you currently have in place that could expedite the implementation process?</a:t>
            </a:r>
          </a:p>
          <a:p>
            <a:pPr algn="l">
              <a:buFont typeface="+mj-lt"/>
              <a:buAutoNum type="arabicPeriod"/>
            </a:pPr>
            <a:r>
              <a:rPr lang="en-US" b="0" i="0">
                <a:effectLst/>
                <a:highlight>
                  <a:srgbClr val="F3F3F3"/>
                </a:highlight>
                <a:latin typeface="SegoeUIVariable"/>
              </a:rPr>
              <a:t>Are there any potential challenges or obstacles that you foresee which could impact the estimated timeframe?</a:t>
            </a:r>
          </a:p>
          <a:p>
            <a:pPr algn="l">
              <a:buFont typeface="+mj-lt"/>
              <a:buAutoNum type="arabicPeriod"/>
            </a:pPr>
            <a:r>
              <a:rPr lang="en-US" b="0" i="0">
                <a:effectLst/>
                <a:highlight>
                  <a:srgbClr val="F3F3F3"/>
                </a:highlight>
                <a:latin typeface="SegoeUIVariable"/>
              </a:rPr>
              <a:t>How do you plan to manage the change within the organization during the implementation process?</a:t>
            </a:r>
          </a:p>
          <a:p>
            <a:pPr algn="l">
              <a:buFont typeface="+mj-lt"/>
              <a:buAutoNum type="arabicPeriod"/>
            </a:pPr>
            <a:r>
              <a:rPr lang="en-US" b="0" i="0">
                <a:effectLst/>
                <a:highlight>
                  <a:srgbClr val="F3F3F3"/>
                </a:highlight>
                <a:latin typeface="SegoeUIVariable"/>
              </a:rPr>
              <a:t>How will you measure the success of the implementation process over time?</a:t>
            </a:r>
          </a:p>
          <a:p>
            <a:endParaRPr lang="en-US"/>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7/12/2024 12:30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1</a:t>
            </a:fld>
            <a:endParaRPr lang="en-US"/>
          </a:p>
        </p:txBody>
      </p:sp>
    </p:spTree>
    <p:extLst>
      <p:ext uri="{BB962C8B-B14F-4D97-AF65-F5344CB8AC3E}">
        <p14:creationId xmlns:p14="http://schemas.microsoft.com/office/powerpoint/2010/main" val="345355188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Key Persona Questions</a:t>
            </a:r>
          </a:p>
          <a:p>
            <a:pPr algn="l"/>
            <a:r>
              <a:rPr lang="en-US" b="1" i="0">
                <a:effectLst/>
                <a:highlight>
                  <a:srgbClr val="F3F3F3"/>
                </a:highlight>
                <a:latin typeface="SegoeUIVariable"/>
              </a:rPr>
              <a:t>Pricing Analysts:</a:t>
            </a:r>
            <a:endParaRPr lang="en-US" b="0" i="0">
              <a:effectLst/>
              <a:highlight>
                <a:srgbClr val="F3F3F3"/>
              </a:highlight>
              <a:latin typeface="SegoeUIVariable"/>
            </a:endParaRPr>
          </a:p>
          <a:p>
            <a:pPr algn="l">
              <a:buFont typeface="+mj-lt"/>
              <a:buAutoNum type="arabicPeriod"/>
            </a:pPr>
            <a:r>
              <a:rPr lang="en-US" b="0" i="0">
                <a:effectLst/>
                <a:highlight>
                  <a:srgbClr val="F3F3F3"/>
                </a:highlight>
                <a:latin typeface="SegoeUIVariable"/>
              </a:rPr>
              <a:t>How do you currently analyze competitor pricing data and how much time does it take?</a:t>
            </a:r>
          </a:p>
          <a:p>
            <a:pPr algn="l">
              <a:buFont typeface="+mj-lt"/>
              <a:buAutoNum type="arabicPeriod"/>
            </a:pPr>
            <a:r>
              <a:rPr lang="en-US" b="0" i="0">
                <a:effectLst/>
                <a:highlight>
                  <a:srgbClr val="F3F3F3"/>
                </a:highlight>
                <a:latin typeface="SegoeUIVariable"/>
              </a:rPr>
              <a:t>How would having reliable pricing suggestions from an AI model impact your decision-making process?</a:t>
            </a:r>
          </a:p>
          <a:p>
            <a:pPr algn="l">
              <a:buFont typeface="+mj-lt"/>
              <a:buAutoNum type="arabicPeriod"/>
            </a:pPr>
            <a:r>
              <a:rPr lang="en-US" b="0" i="0">
                <a:effectLst/>
                <a:highlight>
                  <a:srgbClr val="F3F3F3"/>
                </a:highlight>
                <a:latin typeface="SegoeUIVariable"/>
              </a:rPr>
              <a:t>What other tasks could you focus on if the analysis of competitor pricing data was automated?</a:t>
            </a:r>
          </a:p>
          <a:p>
            <a:pPr algn="l"/>
            <a:r>
              <a:rPr lang="en-US" b="1" i="0">
                <a:effectLst/>
                <a:highlight>
                  <a:srgbClr val="F3F3F3"/>
                </a:highlight>
                <a:latin typeface="SegoeUIVariable"/>
              </a:rPr>
              <a:t>Sales Representatives:</a:t>
            </a:r>
            <a:endParaRPr lang="en-US" b="0" i="0">
              <a:effectLst/>
              <a:highlight>
                <a:srgbClr val="F3F3F3"/>
              </a:highlight>
              <a:latin typeface="SegoeUIVariable"/>
            </a:endParaRPr>
          </a:p>
          <a:p>
            <a:pPr algn="l">
              <a:buFont typeface="+mj-lt"/>
              <a:buAutoNum type="arabicPeriod"/>
            </a:pPr>
            <a:r>
              <a:rPr lang="en-US" b="0" i="0">
                <a:effectLst/>
                <a:highlight>
                  <a:srgbClr val="F3F3F3"/>
                </a:highlight>
                <a:latin typeface="SegoeUIVariable"/>
              </a:rPr>
              <a:t>How would having optimally priced Oso One IFP insurance plans impact your sales conversations with potential clients?</a:t>
            </a:r>
          </a:p>
          <a:p>
            <a:pPr algn="l">
              <a:buFont typeface="+mj-lt"/>
              <a:buAutoNum type="arabicPeriod"/>
            </a:pPr>
            <a:r>
              <a:rPr lang="en-US" b="0" i="0">
                <a:effectLst/>
                <a:highlight>
                  <a:srgbClr val="F3F3F3"/>
                </a:highlight>
                <a:latin typeface="SegoeUIVariable"/>
              </a:rPr>
              <a:t>What challenges do you currently face in selling Oso One IFP insurance plans and how could optimal pricing address these challenges?</a:t>
            </a:r>
          </a:p>
          <a:p>
            <a:pPr algn="l">
              <a:buFont typeface="+mj-lt"/>
              <a:buAutoNum type="arabicPeriod"/>
            </a:pPr>
            <a:r>
              <a:rPr lang="en-US" b="0" i="0">
                <a:effectLst/>
                <a:highlight>
                  <a:srgbClr val="F3F3F3"/>
                </a:highlight>
                <a:latin typeface="SegoeUIVariable"/>
              </a:rPr>
              <a:t>How would increased sales of Oso One IFP insurance plans impact your job performance and satisfaction?</a:t>
            </a:r>
          </a:p>
          <a:p>
            <a:pPr algn="l"/>
            <a:r>
              <a:rPr lang="en-US" b="1" i="0">
                <a:effectLst/>
                <a:highlight>
                  <a:srgbClr val="F3F3F3"/>
                </a:highlight>
                <a:latin typeface="SegoeUIVariable"/>
              </a:rPr>
              <a:t>Marketing Team:</a:t>
            </a:r>
            <a:endParaRPr lang="en-US" b="0" i="0">
              <a:effectLst/>
              <a:highlight>
                <a:srgbClr val="F3F3F3"/>
              </a:highlight>
              <a:latin typeface="SegoeUIVariable"/>
            </a:endParaRPr>
          </a:p>
          <a:p>
            <a:pPr algn="l">
              <a:buFont typeface="+mj-lt"/>
              <a:buAutoNum type="arabicPeriod"/>
            </a:pPr>
            <a:r>
              <a:rPr lang="en-US" b="0" i="0">
                <a:effectLst/>
                <a:highlight>
                  <a:srgbClr val="F3F3F3"/>
                </a:highlight>
                <a:latin typeface="SegoeUIVariable"/>
              </a:rPr>
              <a:t>How could you use the insights generated by the AI model in your marketing strategies?</a:t>
            </a:r>
          </a:p>
          <a:p>
            <a:pPr algn="l">
              <a:buFont typeface="+mj-lt"/>
              <a:buAutoNum type="arabicPeriod"/>
            </a:pPr>
            <a:r>
              <a:rPr lang="en-US" b="0" i="0">
                <a:effectLst/>
                <a:highlight>
                  <a:srgbClr val="F3F3F3"/>
                </a:highlight>
                <a:latin typeface="SegoeUIVariable"/>
              </a:rPr>
              <a:t>How would promoting competitively priced Oso One IFP insurance plans impact your marketing campaigns and outcomes?</a:t>
            </a:r>
          </a:p>
          <a:p>
            <a:pPr algn="l">
              <a:buFont typeface="+mj-lt"/>
              <a:buAutoNum type="arabicPeriod"/>
            </a:pPr>
            <a:r>
              <a:rPr lang="en-US" b="0" i="0">
                <a:effectLst/>
                <a:highlight>
                  <a:srgbClr val="F3F3F3"/>
                </a:highlight>
                <a:latin typeface="SegoeUIVariable"/>
              </a:rPr>
              <a:t>What challenges do you currently face in marketing Oso One IFP insurance plans and how could the AI model address these challenges?</a:t>
            </a:r>
          </a:p>
          <a:p>
            <a:pPr algn="l"/>
            <a:r>
              <a:rPr lang="en-US" b="1" i="0">
                <a:effectLst/>
                <a:highlight>
                  <a:srgbClr val="F3F3F3"/>
                </a:highlight>
                <a:latin typeface="SegoeUIVariable"/>
              </a:rPr>
              <a:t>Senior Management:</a:t>
            </a:r>
            <a:endParaRPr lang="en-US" b="0" i="0">
              <a:effectLst/>
              <a:highlight>
                <a:srgbClr val="F3F3F3"/>
              </a:highlight>
              <a:latin typeface="SegoeUIVariable"/>
            </a:endParaRPr>
          </a:p>
          <a:p>
            <a:pPr algn="l">
              <a:buFont typeface="+mj-lt"/>
              <a:buAutoNum type="arabicPeriod"/>
            </a:pPr>
            <a:r>
              <a:rPr lang="en-US" b="0" i="0">
                <a:effectLst/>
                <a:highlight>
                  <a:srgbClr val="F3F3F3"/>
                </a:highlight>
                <a:latin typeface="SegoeUIVariable"/>
              </a:rPr>
              <a:t>How would increased revenue and improved efficiency from the AI model align with your business goals?</a:t>
            </a:r>
          </a:p>
          <a:p>
            <a:pPr algn="l">
              <a:buFont typeface="+mj-lt"/>
              <a:buAutoNum type="arabicPeriod"/>
            </a:pPr>
            <a:r>
              <a:rPr lang="en-US" b="0" i="0">
                <a:effectLst/>
                <a:highlight>
                  <a:srgbClr val="F3F3F3"/>
                </a:highlight>
                <a:latin typeface="SegoeUIVariable"/>
              </a:rPr>
              <a:t>How could you use the insights generated by the AI model for strategic planning?</a:t>
            </a:r>
          </a:p>
          <a:p>
            <a:pPr algn="l">
              <a:buFont typeface="+mj-lt"/>
              <a:buAutoNum type="arabicPeriod"/>
            </a:pPr>
            <a:r>
              <a:rPr lang="en-US" b="0" i="0">
                <a:effectLst/>
                <a:highlight>
                  <a:srgbClr val="F3F3F3"/>
                </a:highlight>
                <a:latin typeface="SegoeUIVariable"/>
              </a:rPr>
              <a:t>What impact would more informed and accurate pricing decisions have on the business as a whole?</a:t>
            </a:r>
          </a:p>
          <a:p>
            <a:pPr algn="l"/>
            <a:r>
              <a:rPr lang="en-US" b="1" i="0">
                <a:effectLst/>
                <a:highlight>
                  <a:srgbClr val="F3F3F3"/>
                </a:highlight>
                <a:latin typeface="SegoeUIVariable"/>
              </a:rPr>
              <a:t>Customers:</a:t>
            </a:r>
            <a:endParaRPr lang="en-US" b="0" i="0">
              <a:effectLst/>
              <a:highlight>
                <a:srgbClr val="F3F3F3"/>
              </a:highlight>
              <a:latin typeface="SegoeUIVariable"/>
            </a:endParaRPr>
          </a:p>
          <a:p>
            <a:pPr algn="l">
              <a:buFont typeface="+mj-lt"/>
              <a:buAutoNum type="arabicPeriod"/>
            </a:pPr>
            <a:r>
              <a:rPr lang="en-US" b="0" i="0">
                <a:effectLst/>
                <a:highlight>
                  <a:srgbClr val="F3F3F3"/>
                </a:highlight>
                <a:latin typeface="SegoeUIVariable"/>
              </a:rPr>
              <a:t>How would having access to competitively priced Oso One IFP insurance plans impact your decision to purchase health insurance?</a:t>
            </a:r>
          </a:p>
          <a:p>
            <a:pPr algn="l">
              <a:buFont typeface="+mj-lt"/>
              <a:buAutoNum type="arabicPeriod"/>
            </a:pPr>
            <a:r>
              <a:rPr lang="en-US" b="0" i="0">
                <a:effectLst/>
                <a:highlight>
                  <a:srgbClr val="F3F3F3"/>
                </a:highlight>
                <a:latin typeface="SegoeUIVariable"/>
              </a:rPr>
              <a:t>How important is pricing in your decision to choose a health insurance plan?</a:t>
            </a:r>
          </a:p>
          <a:p>
            <a:pPr algn="l">
              <a:buFont typeface="+mj-lt"/>
              <a:buAutoNum type="arabicPeriod"/>
            </a:pPr>
            <a:r>
              <a:rPr lang="en-US" b="0" i="0">
                <a:effectLst/>
                <a:highlight>
                  <a:srgbClr val="F3F3F3"/>
                </a:highlight>
                <a:latin typeface="SegoeUIVariable"/>
              </a:rPr>
              <a:t>How would improved pricing transparency impact your satisfaction and loyalty to Contoso Health?</a:t>
            </a:r>
          </a:p>
          <a:p>
            <a:endParaRPr lang="en-US"/>
          </a:p>
          <a:p>
            <a:endParaRPr lang="en-US"/>
          </a:p>
          <a:p>
            <a:r>
              <a:rPr lang="en-US"/>
              <a:t>Value to Personas Questions</a:t>
            </a:r>
          </a:p>
          <a:p>
            <a:endParaRPr lang="en-US"/>
          </a:p>
          <a:p>
            <a:endParaRPr lang="en-US"/>
          </a:p>
          <a:p>
            <a:r>
              <a:rPr lang="en-US"/>
              <a:t>Change Resistance Questions</a:t>
            </a:r>
          </a:p>
          <a:p>
            <a:endParaRPr lang="en-US"/>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7/12/2024 12:30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2</a:t>
            </a:fld>
            <a:endParaRPr lang="en-US"/>
          </a:p>
        </p:txBody>
      </p:sp>
    </p:spTree>
    <p:extLst>
      <p:ext uri="{BB962C8B-B14F-4D97-AF65-F5344CB8AC3E}">
        <p14:creationId xmlns:p14="http://schemas.microsoft.com/office/powerpoint/2010/main" val="275802433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7/12/2024 12:30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3</a:t>
            </a:fld>
            <a:endParaRPr lang="en-US"/>
          </a:p>
        </p:txBody>
      </p:sp>
    </p:spTree>
    <p:extLst>
      <p:ext uri="{BB962C8B-B14F-4D97-AF65-F5344CB8AC3E}">
        <p14:creationId xmlns:p14="http://schemas.microsoft.com/office/powerpoint/2010/main" val="255410154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7/12/2024 12:30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4</a:t>
            </a:fld>
            <a:endParaRPr lang="en-US"/>
          </a:p>
        </p:txBody>
      </p:sp>
    </p:spTree>
    <p:extLst>
      <p:ext uri="{BB962C8B-B14F-4D97-AF65-F5344CB8AC3E}">
        <p14:creationId xmlns:p14="http://schemas.microsoft.com/office/powerpoint/2010/main" val="3460832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12/2024 12:3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498859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12/2024 12:3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453261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12/2024 12:3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320184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a:effectLst/>
                <a:highlight>
                  <a:srgbClr val="F3F3F3"/>
                </a:highlight>
                <a:latin typeface="SegoeUIVariable"/>
              </a:rPr>
              <a:t>X-axis: Business Value</a:t>
            </a:r>
            <a:r>
              <a:rPr lang="en-US" b="0" i="0">
                <a:effectLst/>
                <a:highlight>
                  <a:srgbClr val="F3F3F3"/>
                </a:highlight>
                <a:latin typeface="SegoeUIVariable"/>
              </a:rPr>
              <a:t> This axis can represent the value or benefit that each requirement brings to the business. It could be measured in terms of potential revenue increase, cost savings, customer satisfaction, or strategic alignment.</a:t>
            </a:r>
          </a:p>
          <a:p>
            <a:pPr algn="l"/>
            <a:r>
              <a:rPr lang="en-US" b="1" i="0">
                <a:effectLst/>
                <a:highlight>
                  <a:srgbClr val="F3F3F3"/>
                </a:highlight>
                <a:latin typeface="SegoeUIVariable"/>
              </a:rPr>
              <a:t>Y-axis: Implementation Effort</a:t>
            </a:r>
            <a:r>
              <a:rPr lang="en-US" b="0" i="0">
                <a:effectLst/>
                <a:highlight>
                  <a:srgbClr val="F3F3F3"/>
                </a:highlight>
                <a:latin typeface="SegoeUIVariable"/>
              </a:rPr>
              <a:t> This axis can represent the effort required to implement each requirement. This could include development time, resource availability, technical complexity, or cost.</a:t>
            </a:r>
          </a:p>
          <a:p>
            <a:pPr algn="l"/>
            <a:r>
              <a:rPr lang="en-US" b="0" i="0">
                <a:effectLst/>
                <a:highlight>
                  <a:srgbClr val="F3F3F3"/>
                </a:highlight>
                <a:latin typeface="SegoeUIVariable"/>
              </a:rPr>
              <a:t>Here’s how you can interpret the quadrants:</a:t>
            </a:r>
          </a:p>
          <a:p>
            <a:pPr algn="l">
              <a:buFont typeface="+mj-lt"/>
              <a:buAutoNum type="arabicPeriod"/>
            </a:pPr>
            <a:r>
              <a:rPr lang="en-US" b="1" i="0">
                <a:effectLst/>
                <a:highlight>
                  <a:srgbClr val="F3F3F3"/>
                </a:highlight>
                <a:latin typeface="SegoeUIVariable"/>
              </a:rPr>
              <a:t>High Value, Low Effort (Top-Right Quadrant)</a:t>
            </a:r>
            <a:r>
              <a:rPr lang="en-US" b="0" i="0">
                <a:effectLst/>
                <a:highlight>
                  <a:srgbClr val="F3F3F3"/>
                </a:highlight>
                <a:latin typeface="SegoeUIVariable"/>
              </a:rPr>
              <a:t>: These are the “quick wins” or “low hanging fruit”. They provide a high return on investment and should be prioritized first.</a:t>
            </a:r>
          </a:p>
          <a:p>
            <a:pPr algn="l">
              <a:buFont typeface="+mj-lt"/>
              <a:buAutoNum type="arabicPeriod"/>
            </a:pPr>
            <a:r>
              <a:rPr lang="en-US" b="1" i="0">
                <a:effectLst/>
                <a:highlight>
                  <a:srgbClr val="F3F3F3"/>
                </a:highlight>
                <a:latin typeface="SegoeUIVariable"/>
              </a:rPr>
              <a:t>High Value, High Effort (Top-Left Quadrant)</a:t>
            </a:r>
            <a:r>
              <a:rPr lang="en-US" b="0" i="0">
                <a:effectLst/>
                <a:highlight>
                  <a:srgbClr val="F3F3F3"/>
                </a:highlight>
                <a:latin typeface="SegoeUIVariable"/>
              </a:rPr>
              <a:t>: These requirements also provide high value but are more resource-intensive. They need careful planning and may be scheduled for a later phase.</a:t>
            </a:r>
          </a:p>
          <a:p>
            <a:pPr algn="l">
              <a:buFont typeface="+mj-lt"/>
              <a:buAutoNum type="arabicPeriod"/>
            </a:pPr>
            <a:r>
              <a:rPr lang="en-US" b="1" i="0">
                <a:effectLst/>
                <a:highlight>
                  <a:srgbClr val="F3F3F3"/>
                </a:highlight>
                <a:latin typeface="SegoeUIVariable"/>
              </a:rPr>
              <a:t>Low Value, Low Effort (Bottom-Right Quadrant)</a:t>
            </a:r>
            <a:r>
              <a:rPr lang="en-US" b="0" i="0">
                <a:effectLst/>
                <a:highlight>
                  <a:srgbClr val="F3F3F3"/>
                </a:highlight>
                <a:latin typeface="SegoeUIVariable"/>
              </a:rPr>
              <a:t>: These requirements are easy to implement but don’t add much value. They should only be considered after all the high-value requirements have been addressed.</a:t>
            </a:r>
          </a:p>
          <a:p>
            <a:pPr algn="l">
              <a:buFont typeface="+mj-lt"/>
              <a:buAutoNum type="arabicPeriod"/>
            </a:pPr>
            <a:r>
              <a:rPr lang="en-US" b="1" i="0">
                <a:effectLst/>
                <a:highlight>
                  <a:srgbClr val="F3F3F3"/>
                </a:highlight>
                <a:latin typeface="SegoeUIVariable"/>
              </a:rPr>
              <a:t>Low Value, High Effort (Bottom-Left Quadrant)</a:t>
            </a:r>
            <a:r>
              <a:rPr lang="en-US" b="0" i="0">
                <a:effectLst/>
                <a:highlight>
                  <a:srgbClr val="F3F3F3"/>
                </a:highlight>
                <a:latin typeface="SegoeUIVariable"/>
              </a:rPr>
              <a:t>: These are the least attractive projects, with low return on investment and high resource requirements. They should be avoided if possible.</a:t>
            </a:r>
          </a:p>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12/2024 12:3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6655560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a:effectLst/>
                <a:highlight>
                  <a:srgbClr val="F3F3F3"/>
                </a:highlight>
                <a:latin typeface="SegoeUIVariable"/>
              </a:rPr>
              <a:t>X-axis: Business Value</a:t>
            </a:r>
            <a:r>
              <a:rPr lang="en-US" b="0" i="0">
                <a:effectLst/>
                <a:highlight>
                  <a:srgbClr val="F3F3F3"/>
                </a:highlight>
                <a:latin typeface="SegoeUIVariable"/>
              </a:rPr>
              <a:t> This axis can represent the value or benefit that each requirement brings to the business. It could be measured in terms of potential revenue increase, cost savings, customer satisfaction, or strategic alignment.</a:t>
            </a:r>
          </a:p>
          <a:p>
            <a:pPr algn="l"/>
            <a:r>
              <a:rPr lang="en-US" b="1" i="0">
                <a:effectLst/>
                <a:highlight>
                  <a:srgbClr val="F3F3F3"/>
                </a:highlight>
                <a:latin typeface="SegoeUIVariable"/>
              </a:rPr>
              <a:t>Y-axis: Implementation Effort</a:t>
            </a:r>
            <a:r>
              <a:rPr lang="en-US" b="0" i="0">
                <a:effectLst/>
                <a:highlight>
                  <a:srgbClr val="F3F3F3"/>
                </a:highlight>
                <a:latin typeface="SegoeUIVariable"/>
              </a:rPr>
              <a:t> This axis can represent the effort required to implement each requirement. This could include development time, resource availability, technical complexity, or cost.</a:t>
            </a:r>
          </a:p>
          <a:p>
            <a:pPr algn="l"/>
            <a:r>
              <a:rPr lang="en-US" b="0" i="0">
                <a:effectLst/>
                <a:highlight>
                  <a:srgbClr val="F3F3F3"/>
                </a:highlight>
                <a:latin typeface="SegoeUIVariable"/>
              </a:rPr>
              <a:t>Here’s how you can interpret the quadrants:</a:t>
            </a:r>
          </a:p>
          <a:p>
            <a:pPr algn="l">
              <a:buFont typeface="+mj-lt"/>
              <a:buAutoNum type="arabicPeriod"/>
            </a:pPr>
            <a:r>
              <a:rPr lang="en-US" b="1" i="0">
                <a:effectLst/>
                <a:highlight>
                  <a:srgbClr val="F3F3F3"/>
                </a:highlight>
                <a:latin typeface="SegoeUIVariable"/>
              </a:rPr>
              <a:t>High Value, Low Effort (Top-Right Quadrant)</a:t>
            </a:r>
            <a:r>
              <a:rPr lang="en-US" b="0" i="0">
                <a:effectLst/>
                <a:highlight>
                  <a:srgbClr val="F3F3F3"/>
                </a:highlight>
                <a:latin typeface="SegoeUIVariable"/>
              </a:rPr>
              <a:t>: These are the “quick wins” or “low hanging fruit”. They provide a high return on investment and should be prioritized first.</a:t>
            </a:r>
          </a:p>
          <a:p>
            <a:pPr algn="l">
              <a:buFont typeface="+mj-lt"/>
              <a:buAutoNum type="arabicPeriod"/>
            </a:pPr>
            <a:r>
              <a:rPr lang="en-US" b="1" i="0">
                <a:effectLst/>
                <a:highlight>
                  <a:srgbClr val="F3F3F3"/>
                </a:highlight>
                <a:latin typeface="SegoeUIVariable"/>
              </a:rPr>
              <a:t>High Value, High Effort (Top-Left Quadrant)</a:t>
            </a:r>
            <a:r>
              <a:rPr lang="en-US" b="0" i="0">
                <a:effectLst/>
                <a:highlight>
                  <a:srgbClr val="F3F3F3"/>
                </a:highlight>
                <a:latin typeface="SegoeUIVariable"/>
              </a:rPr>
              <a:t>: These requirements also provide high value but are more resource-intensive. They need careful planning and may be scheduled for a later phase.</a:t>
            </a:r>
          </a:p>
          <a:p>
            <a:pPr algn="l">
              <a:buFont typeface="+mj-lt"/>
              <a:buAutoNum type="arabicPeriod"/>
            </a:pPr>
            <a:r>
              <a:rPr lang="en-US" b="1" i="0">
                <a:effectLst/>
                <a:highlight>
                  <a:srgbClr val="F3F3F3"/>
                </a:highlight>
                <a:latin typeface="SegoeUIVariable"/>
              </a:rPr>
              <a:t>Low Value, Low Effort (Bottom-Right Quadrant)</a:t>
            </a:r>
            <a:r>
              <a:rPr lang="en-US" b="0" i="0">
                <a:effectLst/>
                <a:highlight>
                  <a:srgbClr val="F3F3F3"/>
                </a:highlight>
                <a:latin typeface="SegoeUIVariable"/>
              </a:rPr>
              <a:t>: These requirements are easy to implement but don’t add much value. They should only be considered after all the high-value requirements have been addressed.</a:t>
            </a:r>
          </a:p>
          <a:p>
            <a:pPr algn="l">
              <a:buFont typeface="+mj-lt"/>
              <a:buAutoNum type="arabicPeriod"/>
            </a:pPr>
            <a:r>
              <a:rPr lang="en-US" b="1" i="0">
                <a:effectLst/>
                <a:highlight>
                  <a:srgbClr val="F3F3F3"/>
                </a:highlight>
                <a:latin typeface="SegoeUIVariable"/>
              </a:rPr>
              <a:t>Low Value, High Effort (Bottom-Left Quadrant)</a:t>
            </a:r>
            <a:r>
              <a:rPr lang="en-US" b="0" i="0">
                <a:effectLst/>
                <a:highlight>
                  <a:srgbClr val="F3F3F3"/>
                </a:highlight>
                <a:latin typeface="SegoeUIVariable"/>
              </a:rPr>
              <a:t>: These are the least attractive projects, with low return on investment and high resource requirements. They should be avoided if possible.</a:t>
            </a:r>
          </a:p>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12/2024 12:3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8438494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a:effectLst/>
                <a:highlight>
                  <a:srgbClr val="F3F3F3"/>
                </a:highlight>
                <a:latin typeface="SegoeUIVariable"/>
              </a:rPr>
              <a:t>Problem Statement Questions:</a:t>
            </a:r>
            <a:endParaRPr lang="en-US" b="0" i="0">
              <a:effectLst/>
              <a:highlight>
                <a:srgbClr val="F3F3F3"/>
              </a:highlight>
              <a:latin typeface="SegoeUIVariable"/>
            </a:endParaRPr>
          </a:p>
          <a:p>
            <a:pPr algn="l">
              <a:buFont typeface="+mj-lt"/>
              <a:buAutoNum type="arabicPeriod"/>
            </a:pPr>
            <a:r>
              <a:rPr lang="en-US" b="1" i="0">
                <a:effectLst/>
                <a:highlight>
                  <a:srgbClr val="F3F3F3"/>
                </a:highlight>
                <a:latin typeface="SegoeUIVariable"/>
              </a:rPr>
              <a:t>What is the current process for reviewing and ingesting competitor data?</a:t>
            </a:r>
            <a:r>
              <a:rPr lang="en-US" b="0" i="0">
                <a:effectLst/>
                <a:highlight>
                  <a:srgbClr val="F3F3F3"/>
                </a:highlight>
                <a:latin typeface="SegoeUIVariable"/>
              </a:rPr>
              <a:t> This question will help you understand the specifics of the current manual process, including who is involved, what tools they use, and how long it typically takes.</a:t>
            </a:r>
          </a:p>
          <a:p>
            <a:pPr lvl="1" algn="l">
              <a:buFont typeface="+mj-lt"/>
              <a:buAutoNum type="arabicPeriod"/>
            </a:pPr>
            <a:r>
              <a:rPr lang="en-US" b="0" i="0">
                <a:effectLst/>
                <a:highlight>
                  <a:srgbClr val="F3F3F3"/>
                </a:highlight>
                <a:latin typeface="SegoeUIVariable"/>
              </a:rPr>
              <a:t>Example: “Could you walk me through the current process your analysts use to review and ingest competitor data? How long does this process typically take and what tools are being used?”</a:t>
            </a:r>
          </a:p>
          <a:p>
            <a:pPr algn="l">
              <a:buFont typeface="+mj-lt"/>
              <a:buAutoNum type="arabicPeriod"/>
            </a:pPr>
            <a:r>
              <a:rPr lang="en-US" b="1" i="0">
                <a:effectLst/>
                <a:highlight>
                  <a:srgbClr val="F3F3F3"/>
                </a:highlight>
                <a:latin typeface="SegoeUIVariable"/>
              </a:rPr>
              <a:t>How does the current process impact the pricing strategy for Oso One IFP insurance plans?</a:t>
            </a:r>
            <a:r>
              <a:rPr lang="en-US" b="0" i="0">
                <a:effectLst/>
                <a:highlight>
                  <a:srgbClr val="F3F3F3"/>
                </a:highlight>
                <a:latin typeface="SegoeUIVariable"/>
              </a:rPr>
              <a:t> This question will help you understand the direct impact of the current process on the pricing strategy.</a:t>
            </a:r>
          </a:p>
          <a:p>
            <a:pPr lvl="1" algn="l">
              <a:buFont typeface="+mj-lt"/>
              <a:buAutoNum type="arabicPeriod"/>
            </a:pPr>
            <a:r>
              <a:rPr lang="en-US" b="0" i="0">
                <a:effectLst/>
                <a:highlight>
                  <a:srgbClr val="F3F3F3"/>
                </a:highlight>
                <a:latin typeface="SegoeUIVariable"/>
              </a:rPr>
              <a:t> Example: “How does the current manual process of reviewing and ingesting competitor data impact the pricing strategy for Oso One IFP insurance plans? Have there been instances where the pricing was sub-optimal due to this process?”</a:t>
            </a:r>
          </a:p>
          <a:p>
            <a:pPr algn="l">
              <a:buFont typeface="+mj-lt"/>
              <a:buAutoNum type="arabicPeriod"/>
            </a:pPr>
            <a:r>
              <a:rPr lang="en-US" b="1" i="0">
                <a:effectLst/>
                <a:highlight>
                  <a:srgbClr val="F3F3F3"/>
                </a:highlight>
                <a:latin typeface="SegoeUIVariable"/>
              </a:rPr>
              <a:t>What are the specific challenges with the current process?</a:t>
            </a:r>
            <a:r>
              <a:rPr lang="en-US" b="0" i="0">
                <a:effectLst/>
                <a:highlight>
                  <a:srgbClr val="F3F3F3"/>
                </a:highlight>
                <a:latin typeface="SegoeUIVariable"/>
              </a:rPr>
              <a:t> This question will help you identify the pain points in the current process.</a:t>
            </a:r>
          </a:p>
          <a:p>
            <a:pPr lvl="1" algn="l">
              <a:buFont typeface="+mj-lt"/>
              <a:buAutoNum type="arabicPeriod"/>
            </a:pPr>
            <a:r>
              <a:rPr lang="en-US" b="0" i="0">
                <a:effectLst/>
                <a:highlight>
                  <a:srgbClr val="F3F3F3"/>
                </a:highlight>
                <a:latin typeface="SegoeUIVariable"/>
              </a:rPr>
              <a:t> Example: “What are some of the challenges your analysts face with the current process of manually reviewing and ingesting competitor data?”</a:t>
            </a:r>
          </a:p>
          <a:p>
            <a:pPr algn="l">
              <a:buFont typeface="+mj-lt"/>
              <a:buAutoNum type="arabicPeriod"/>
            </a:pPr>
            <a:r>
              <a:rPr lang="en-US" b="1" i="0">
                <a:effectLst/>
                <a:highlight>
                  <a:srgbClr val="F3F3F3"/>
                </a:highlight>
                <a:latin typeface="SegoeUIVariable"/>
              </a:rPr>
              <a:t>What improvements would Contoso Health like to see in this process?</a:t>
            </a:r>
            <a:r>
              <a:rPr lang="en-US" b="0" i="0">
                <a:effectLst/>
                <a:highlight>
                  <a:srgbClr val="F3F3F3"/>
                </a:highlight>
                <a:latin typeface="SegoeUIVariable"/>
              </a:rPr>
              <a:t> This question will help you understand the customer’s expectations and goals.</a:t>
            </a:r>
          </a:p>
          <a:p>
            <a:pPr lvl="1" algn="l">
              <a:buFont typeface="+mj-lt"/>
              <a:buAutoNum type="arabicPeriod"/>
            </a:pPr>
            <a:r>
              <a:rPr lang="en-US" b="0" i="0">
                <a:effectLst/>
                <a:highlight>
                  <a:srgbClr val="F3F3F3"/>
                </a:highlight>
                <a:latin typeface="SegoeUIVariable"/>
              </a:rPr>
              <a:t> Example: “What improvements would you like to see in the process of reviewing and ingesting competitor data? Are there specific goals you have in mind?”</a:t>
            </a:r>
          </a:p>
          <a:p>
            <a:pPr algn="l">
              <a:buFont typeface="+mj-lt"/>
              <a:buAutoNum type="arabicPeriod"/>
            </a:pPr>
            <a:r>
              <a:rPr lang="en-US" b="1" i="0">
                <a:effectLst/>
                <a:highlight>
                  <a:srgbClr val="F3F3F3"/>
                </a:highlight>
                <a:latin typeface="SegoeUIVariable"/>
              </a:rPr>
              <a:t>How does Contoso Health measure the success of its pricing strategy?</a:t>
            </a:r>
            <a:r>
              <a:rPr lang="en-US" b="0" i="0">
                <a:effectLst/>
                <a:highlight>
                  <a:srgbClr val="F3F3F3"/>
                </a:highlight>
                <a:latin typeface="SegoeUIVariable"/>
              </a:rPr>
              <a:t> This question will help you understand how the customer evaluates their pricing strategy.</a:t>
            </a:r>
          </a:p>
          <a:p>
            <a:pPr lvl="1" algn="l">
              <a:buFont typeface="+mj-lt"/>
              <a:buAutoNum type="arabicPeriod"/>
            </a:pPr>
            <a:r>
              <a:rPr lang="en-US" b="0" i="0">
                <a:effectLst/>
                <a:highlight>
                  <a:srgbClr val="F3F3F3"/>
                </a:highlight>
                <a:latin typeface="SegoeUIVariable"/>
              </a:rPr>
              <a:t> Example: “How do you currently measure the success of your pricing strategy for Oso One IFP insurance plans? What metrics or KPIs do you use?”</a:t>
            </a:r>
          </a:p>
          <a:p>
            <a:endParaRPr lang="en-US"/>
          </a:p>
          <a:p>
            <a:pPr algn="l"/>
            <a:r>
              <a:rPr lang="en-US" b="1" i="0">
                <a:effectLst/>
                <a:highlight>
                  <a:srgbClr val="F3F3F3"/>
                </a:highlight>
                <a:latin typeface="SegoeUIVariable"/>
              </a:rPr>
              <a:t>Business KPI Questions:</a:t>
            </a:r>
            <a:endParaRPr lang="en-US" b="0" i="0">
              <a:effectLst/>
              <a:highlight>
                <a:srgbClr val="F3F3F3"/>
              </a:highlight>
              <a:latin typeface="SegoeUIVariable"/>
            </a:endParaRPr>
          </a:p>
          <a:p>
            <a:pPr algn="l">
              <a:buFont typeface="+mj-lt"/>
              <a:buAutoNum type="arabicPeriod"/>
            </a:pPr>
            <a:r>
              <a:rPr lang="en-US" b="1" i="0">
                <a:effectLst/>
                <a:highlight>
                  <a:srgbClr val="F3F3F3"/>
                </a:highlight>
                <a:latin typeface="SegoeUIVariable"/>
              </a:rPr>
              <a:t>How is the Competitor Data Processing Time currently measured?</a:t>
            </a:r>
            <a:r>
              <a:rPr lang="en-US" b="0" i="0">
                <a:effectLst/>
                <a:highlight>
                  <a:srgbClr val="F3F3F3"/>
                </a:highlight>
                <a:latin typeface="SegoeUIVariable"/>
              </a:rPr>
              <a:t> This question will help you understand the current methods and tools used to measure this KPI.</a:t>
            </a:r>
          </a:p>
          <a:p>
            <a:pPr lvl="2" algn="l">
              <a:buFont typeface="+mj-lt"/>
              <a:buAutoNum type="arabicPeriod"/>
            </a:pPr>
            <a:r>
              <a:rPr lang="en-US" b="0" i="0">
                <a:effectLst/>
                <a:highlight>
                  <a:srgbClr val="F3F3F3"/>
                </a:highlight>
                <a:latin typeface="SegoeUIVariable"/>
              </a:rPr>
              <a:t> Example: “Could you explain how you currently measure the time taken to review and ingest competitor data? What tools or methods do you use?”</a:t>
            </a:r>
          </a:p>
          <a:p>
            <a:pPr algn="l">
              <a:buFont typeface="+mj-lt"/>
              <a:buAutoNum type="arabicPeriod"/>
            </a:pPr>
            <a:r>
              <a:rPr lang="en-US" b="1" i="0">
                <a:effectLst/>
                <a:highlight>
                  <a:srgbClr val="F3F3F3"/>
                </a:highlight>
                <a:latin typeface="SegoeUIVariable"/>
              </a:rPr>
              <a:t>What is the current Pricing Optimization Rate for Oso One IFP insurance plans?</a:t>
            </a:r>
            <a:r>
              <a:rPr lang="en-US" b="0" i="0">
                <a:effectLst/>
                <a:highlight>
                  <a:srgbClr val="F3F3F3"/>
                </a:highlight>
                <a:latin typeface="SegoeUIVariable"/>
              </a:rPr>
              <a:t> This question will help you understand the current state of pricing optimization.</a:t>
            </a:r>
          </a:p>
          <a:p>
            <a:pPr lvl="1" algn="l">
              <a:buFont typeface="+mj-lt"/>
              <a:buAutoNum type="arabicPeriod"/>
            </a:pPr>
            <a:r>
              <a:rPr lang="en-US" b="0" i="0">
                <a:effectLst/>
                <a:highlight>
                  <a:srgbClr val="F3F3F3"/>
                </a:highlight>
                <a:latin typeface="SegoeUIVariable"/>
              </a:rPr>
              <a:t> Example: “What is the current rate of pricing optimization for Oso One IFP insurance plans? How often is this rate evaluated?”</a:t>
            </a:r>
          </a:p>
          <a:p>
            <a:pPr algn="l">
              <a:buFont typeface="+mj-lt"/>
              <a:buAutoNum type="arabicPeriod"/>
            </a:pPr>
            <a:r>
              <a:rPr lang="en-US" b="1" i="0">
                <a:effectLst/>
                <a:highlight>
                  <a:srgbClr val="F3F3F3"/>
                </a:highlight>
                <a:latin typeface="SegoeUIVariable"/>
              </a:rPr>
              <a:t>How has the Revenue from Oso One IFP Insurance Plans changed over the past year?</a:t>
            </a:r>
            <a:r>
              <a:rPr lang="en-US" b="0" i="0">
                <a:effectLst/>
                <a:highlight>
                  <a:srgbClr val="F3F3F3"/>
                </a:highlight>
                <a:latin typeface="SegoeUIVariable"/>
              </a:rPr>
              <a:t> This question will help you understand the trends in revenue generation.</a:t>
            </a:r>
          </a:p>
          <a:p>
            <a:pPr lvl="1" algn="l">
              <a:buFont typeface="+mj-lt"/>
              <a:buAutoNum type="arabicPeriod"/>
            </a:pPr>
            <a:r>
              <a:rPr lang="en-US" b="0" i="0">
                <a:effectLst/>
                <a:highlight>
                  <a:srgbClr val="F3F3F3"/>
                </a:highlight>
                <a:latin typeface="SegoeUIVariable"/>
              </a:rPr>
              <a:t> Example: “Could you share how the revenue from Oso One IFP insurance plans has changed over the past year? What factors have contributed to these changes?”</a:t>
            </a:r>
          </a:p>
          <a:p>
            <a:pPr algn="l">
              <a:buFont typeface="+mj-lt"/>
              <a:buAutoNum type="arabicPeriod"/>
            </a:pPr>
            <a:r>
              <a:rPr lang="en-US" b="1" i="0">
                <a:effectLst/>
                <a:highlight>
                  <a:srgbClr val="F3F3F3"/>
                </a:highlight>
                <a:latin typeface="SegoeUIVariable"/>
              </a:rPr>
              <a:t>What is the current Market Share of Oso One IFP Insurance Plans?</a:t>
            </a:r>
            <a:r>
              <a:rPr lang="en-US" b="0" i="0">
                <a:effectLst/>
                <a:highlight>
                  <a:srgbClr val="F3F3F3"/>
                </a:highlight>
                <a:latin typeface="SegoeUIVariable"/>
              </a:rPr>
              <a:t> This question will help you understand the competitiveness of these plans in the market.</a:t>
            </a:r>
          </a:p>
          <a:p>
            <a:pPr lvl="1" algn="l">
              <a:buFont typeface="+mj-lt"/>
              <a:buAutoNum type="arabicPeriod"/>
            </a:pPr>
            <a:r>
              <a:rPr lang="en-US" b="0" i="0">
                <a:effectLst/>
                <a:highlight>
                  <a:srgbClr val="F3F3F3"/>
                </a:highlight>
                <a:latin typeface="SegoeUIVariable"/>
              </a:rPr>
              <a:t> Example: “What is the current market share of Oso One IFP insurance plans? How has this changed over the past year?”</a:t>
            </a:r>
          </a:p>
          <a:p>
            <a:pPr algn="l">
              <a:buFont typeface="+mj-lt"/>
              <a:buAutoNum type="arabicPeriod"/>
            </a:pPr>
            <a:r>
              <a:rPr lang="en-US" b="1" i="0">
                <a:effectLst/>
                <a:highlight>
                  <a:srgbClr val="F3F3F3"/>
                </a:highlight>
                <a:latin typeface="SegoeUIVariable"/>
              </a:rPr>
              <a:t>What cost savings are expected from improving the process of reviewing and ingesting competitor data?</a:t>
            </a:r>
            <a:r>
              <a:rPr lang="en-US" b="0" i="0">
                <a:effectLst/>
                <a:highlight>
                  <a:srgbClr val="F3F3F3"/>
                </a:highlight>
                <a:latin typeface="SegoeUIVariable"/>
              </a:rPr>
              <a:t> This question will help you understand the financial impact of process improvement.</a:t>
            </a:r>
          </a:p>
          <a:p>
            <a:pPr algn="l">
              <a:buFont typeface="+mj-lt"/>
              <a:buAutoNum type="arabicPeriod"/>
            </a:pPr>
            <a:r>
              <a:rPr lang="en-US" b="0" i="0">
                <a:effectLst/>
                <a:highlight>
                  <a:srgbClr val="F3F3F3"/>
                </a:highlight>
                <a:latin typeface="SegoeUIVariable"/>
              </a:rPr>
              <a:t> Example: “What cost savings do you anticipate from improving the process of reviewing and ingesting competitor data? How will these savings be measured?”</a:t>
            </a:r>
          </a:p>
          <a:p>
            <a:pPr algn="l">
              <a:buFont typeface="+mj-lt"/>
              <a:buNone/>
            </a:pPr>
            <a:endParaRPr lang="en-US" b="0" i="0">
              <a:effectLst/>
              <a:highlight>
                <a:srgbClr val="F3F3F3"/>
              </a:highlight>
              <a:latin typeface="SegoeUIVariable"/>
            </a:endParaRPr>
          </a:p>
          <a:p>
            <a:pPr algn="l"/>
            <a:r>
              <a:rPr lang="en-US" b="1" i="0">
                <a:effectLst/>
                <a:highlight>
                  <a:srgbClr val="F3F3F3"/>
                </a:highlight>
                <a:latin typeface="SegoeUIVariable"/>
              </a:rPr>
              <a:t>Business Outcome Questions:</a:t>
            </a:r>
            <a:endParaRPr lang="en-US" b="0" i="0">
              <a:effectLst/>
              <a:highlight>
                <a:srgbClr val="F3F3F3"/>
              </a:highlight>
              <a:latin typeface="SegoeUIVariable"/>
            </a:endParaRPr>
          </a:p>
          <a:p>
            <a:pPr algn="l">
              <a:buFont typeface="+mj-lt"/>
              <a:buAutoNum type="arabicPeriod"/>
            </a:pPr>
            <a:r>
              <a:rPr lang="en-US" b="1" i="0">
                <a:effectLst/>
                <a:highlight>
                  <a:srgbClr val="F3F3F3"/>
                </a:highlight>
                <a:latin typeface="SegoeUIVariable"/>
              </a:rPr>
              <a:t>How would increased revenue from Oso One IFP insurance plans impact Contoso Health’s overall financial performance?</a:t>
            </a:r>
            <a:r>
              <a:rPr lang="en-US" b="0" i="0">
                <a:effectLst/>
                <a:highlight>
                  <a:srgbClr val="F3F3F3"/>
                </a:highlight>
                <a:latin typeface="SegoeUIVariable"/>
              </a:rPr>
              <a:t> This question will help you understand the significance of this revenue stream.</a:t>
            </a:r>
          </a:p>
          <a:p>
            <a:pPr lvl="1" algn="l">
              <a:buFont typeface="+mj-lt"/>
              <a:buAutoNum type="arabicPeriod"/>
            </a:pPr>
            <a:r>
              <a:rPr lang="en-US" b="0" i="0">
                <a:effectLst/>
                <a:highlight>
                  <a:srgbClr val="F3F3F3"/>
                </a:highlight>
                <a:latin typeface="SegoeUIVariable"/>
              </a:rPr>
              <a:t> Example: “Could you share how an increase in revenue from Oso One IFP insurance plans would impact Contoso Health’s overall financial performance?”</a:t>
            </a:r>
          </a:p>
          <a:p>
            <a:pPr algn="l">
              <a:buFont typeface="+mj-lt"/>
              <a:buAutoNum type="arabicPeriod"/>
            </a:pPr>
            <a:r>
              <a:rPr lang="en-US" b="1" i="0">
                <a:effectLst/>
                <a:highlight>
                  <a:srgbClr val="F3F3F3"/>
                </a:highlight>
                <a:latin typeface="SegoeUIVariable"/>
              </a:rPr>
              <a:t>What does improved market competitiveness mean for Contoso Health?</a:t>
            </a:r>
            <a:r>
              <a:rPr lang="en-US" b="0" i="0">
                <a:effectLst/>
                <a:highlight>
                  <a:srgbClr val="F3F3F3"/>
                </a:highlight>
                <a:latin typeface="SegoeUIVariable"/>
              </a:rPr>
              <a:t> This question will help you understand the strategic importance of market competitiveness.</a:t>
            </a:r>
          </a:p>
          <a:p>
            <a:pPr lvl="1" algn="l">
              <a:buFont typeface="+mj-lt"/>
              <a:buAutoNum type="arabicPeriod"/>
            </a:pPr>
            <a:r>
              <a:rPr lang="en-US" b="0" i="0">
                <a:effectLst/>
                <a:highlight>
                  <a:srgbClr val="F3F3F3"/>
                </a:highlight>
                <a:latin typeface="SegoeUIVariable"/>
              </a:rPr>
              <a:t> Example: “What would improved market competitiveness of Oso One IFP insurance plans mean for Contoso Health in terms of its market positioning and strategy?”</a:t>
            </a:r>
          </a:p>
          <a:p>
            <a:pPr algn="l">
              <a:buFont typeface="+mj-lt"/>
              <a:buAutoNum type="arabicPeriod"/>
            </a:pPr>
            <a:r>
              <a:rPr lang="en-US" b="1" i="0">
                <a:effectLst/>
                <a:highlight>
                  <a:srgbClr val="F3F3F3"/>
                </a:highlight>
                <a:latin typeface="SegoeUIVariable"/>
              </a:rPr>
              <a:t>How would efficiency in operations impact other areas of the business?</a:t>
            </a:r>
            <a:r>
              <a:rPr lang="en-US" b="0" i="0">
                <a:effectLst/>
                <a:highlight>
                  <a:srgbClr val="F3F3F3"/>
                </a:highlight>
                <a:latin typeface="SegoeUIVariable"/>
              </a:rPr>
              <a:t> This question will help you understand the broader impact of operational efficiency.</a:t>
            </a:r>
          </a:p>
          <a:p>
            <a:pPr lvl="1" algn="l">
              <a:buFont typeface="+mj-lt"/>
              <a:buAutoNum type="arabicPeriod"/>
            </a:pPr>
            <a:r>
              <a:rPr lang="en-US" b="0" i="0">
                <a:effectLst/>
                <a:highlight>
                  <a:srgbClr val="F3F3F3"/>
                </a:highlight>
                <a:latin typeface="SegoeUIVariable"/>
              </a:rPr>
              <a:t> Example: “How would improving the efficiency of operations in reviewing and ingesting competitor data impact other areas of the business?”</a:t>
            </a:r>
          </a:p>
          <a:p>
            <a:pPr algn="l">
              <a:buFont typeface="+mj-lt"/>
              <a:buAutoNum type="arabicPeriod"/>
            </a:pPr>
            <a:r>
              <a:rPr lang="en-US" b="1" i="0">
                <a:effectLst/>
                <a:highlight>
                  <a:srgbClr val="F3F3F3"/>
                </a:highlight>
                <a:latin typeface="SegoeUIVariable"/>
              </a:rPr>
              <a:t>What would Contoso Health do with the cost savings from improving the process?</a:t>
            </a:r>
            <a:r>
              <a:rPr lang="en-US" b="0" i="0">
                <a:effectLst/>
                <a:highlight>
                  <a:srgbClr val="F3F3F3"/>
                </a:highlight>
                <a:latin typeface="SegoeUIVariable"/>
              </a:rPr>
              <a:t> This question will help you understand the potential reinvestment of cost savings.</a:t>
            </a:r>
          </a:p>
          <a:p>
            <a:pPr lvl="1" algn="l">
              <a:buFont typeface="+mj-lt"/>
              <a:buAutoNum type="arabicPeriod"/>
            </a:pPr>
            <a:r>
              <a:rPr lang="en-US" b="0" i="0">
                <a:effectLst/>
                <a:highlight>
                  <a:srgbClr val="F3F3F3"/>
                </a:highlight>
                <a:latin typeface="SegoeUIVariable"/>
              </a:rPr>
              <a:t> Example: “If cost savings were realized from improving the process of reviewing and ingesting competitor data, how would Contoso Health potentially reinvest these savings?”</a:t>
            </a:r>
          </a:p>
          <a:p>
            <a:pPr algn="l">
              <a:buFont typeface="+mj-lt"/>
              <a:buAutoNum type="arabicPeriod"/>
            </a:pPr>
            <a:r>
              <a:rPr lang="en-US" b="1" i="0">
                <a:effectLst/>
                <a:highlight>
                  <a:srgbClr val="F3F3F3"/>
                </a:highlight>
                <a:latin typeface="SegoeUIVariable"/>
              </a:rPr>
              <a:t>How would improved decision making affect the business strategy?</a:t>
            </a:r>
            <a:r>
              <a:rPr lang="en-US" b="0" i="0">
                <a:effectLst/>
                <a:highlight>
                  <a:srgbClr val="F3F3F3"/>
                </a:highlight>
                <a:latin typeface="SegoeUIVariable"/>
              </a:rPr>
              <a:t> This question will help you understand the impact of improved decision making on the business strategy.</a:t>
            </a:r>
          </a:p>
          <a:p>
            <a:pPr lvl="1" algn="l">
              <a:buFont typeface="+mj-lt"/>
              <a:buAutoNum type="arabicPeriod"/>
            </a:pPr>
            <a:r>
              <a:rPr lang="en-US" b="0" i="0">
                <a:effectLst/>
                <a:highlight>
                  <a:srgbClr val="F3F3F3"/>
                </a:highlight>
                <a:latin typeface="SegoeUIVariable"/>
              </a:rPr>
              <a:t> Example: “How would improved decision making, as a result of more accurate and timely competitor data, affect Contoso Health’s business strategy for Oso One IFP insurance plans?”</a:t>
            </a:r>
          </a:p>
          <a:p>
            <a:pPr algn="l">
              <a:buFont typeface="+mj-lt"/>
              <a:buNone/>
            </a:pPr>
            <a:endParaRPr lang="en-US" b="0" i="0">
              <a:effectLst/>
              <a:highlight>
                <a:srgbClr val="F3F3F3"/>
              </a:highlight>
              <a:latin typeface="SegoeUIVariable"/>
            </a:endParaRPr>
          </a:p>
          <a:p>
            <a:pPr algn="l"/>
            <a:r>
              <a:rPr lang="en-US" b="1" i="0">
                <a:effectLst/>
                <a:highlight>
                  <a:srgbClr val="F3F3F3"/>
                </a:highlight>
                <a:latin typeface="SegoeUIVariable"/>
              </a:rPr>
              <a:t>Business Capability Questions:</a:t>
            </a:r>
            <a:endParaRPr lang="en-US" b="0" i="0">
              <a:effectLst/>
              <a:highlight>
                <a:srgbClr val="F3F3F3"/>
              </a:highlight>
              <a:latin typeface="SegoeUIVariable"/>
            </a:endParaRPr>
          </a:p>
          <a:p>
            <a:pPr algn="l">
              <a:buFont typeface="+mj-lt"/>
              <a:buAutoNum type="arabicPeriod"/>
            </a:pPr>
            <a:r>
              <a:rPr lang="en-US" b="1" i="0">
                <a:effectLst/>
                <a:highlight>
                  <a:srgbClr val="F3F3F3"/>
                </a:highlight>
                <a:latin typeface="SegoeUIVariable"/>
              </a:rPr>
              <a:t>How would the capability for Competitive Pricing impact Contoso Health’s market positioning?</a:t>
            </a:r>
            <a:r>
              <a:rPr lang="en-US" b="0" i="0">
                <a:effectLst/>
                <a:highlight>
                  <a:srgbClr val="F3F3F3"/>
                </a:highlight>
                <a:latin typeface="SegoeUIVariable"/>
              </a:rPr>
              <a:t> This question will help you understand the strategic importance of competitive pricing.</a:t>
            </a:r>
          </a:p>
          <a:p>
            <a:pPr lvl="1" algn="l">
              <a:buFont typeface="+mj-lt"/>
              <a:buAutoNum type="arabicPeriod"/>
            </a:pPr>
            <a:r>
              <a:rPr lang="en-US" b="0" i="0">
                <a:effectLst/>
                <a:highlight>
                  <a:srgbClr val="F3F3F3"/>
                </a:highlight>
                <a:latin typeface="SegoeUIVariable"/>
              </a:rPr>
              <a:t>Example: “Could you share how the capability for competitive pricing of Oso One IFP insurance plans would impact Contoso Health’s market positioning?”</a:t>
            </a:r>
          </a:p>
          <a:p>
            <a:pPr algn="l">
              <a:buFont typeface="+mj-lt"/>
              <a:buAutoNum type="arabicPeriod"/>
            </a:pPr>
            <a:r>
              <a:rPr lang="en-US" b="1" i="0">
                <a:effectLst/>
                <a:highlight>
                  <a:srgbClr val="F3F3F3"/>
                </a:highlight>
                <a:latin typeface="SegoeUIVariable"/>
              </a:rPr>
              <a:t>What benefits would the Automated Data Ingestion capability bring to Contoso Health?</a:t>
            </a:r>
            <a:r>
              <a:rPr lang="en-US" b="0" i="0">
                <a:effectLst/>
                <a:highlight>
                  <a:srgbClr val="F3F3F3"/>
                </a:highlight>
                <a:latin typeface="SegoeUIVariable"/>
              </a:rPr>
              <a:t> This question will help you understand the operational benefits of automation.</a:t>
            </a:r>
          </a:p>
          <a:p>
            <a:pPr lvl="1" algn="l">
              <a:buFont typeface="+mj-lt"/>
              <a:buAutoNum type="arabicPeriod"/>
            </a:pPr>
            <a:r>
              <a:rPr lang="en-US" b="0" i="0">
                <a:effectLst/>
                <a:highlight>
                  <a:srgbClr val="F3F3F3"/>
                </a:highlight>
                <a:latin typeface="SegoeUIVariable"/>
              </a:rPr>
              <a:t> Example: “What benefits do you anticipate from the capability to automatically ingest and process competitor data?”</a:t>
            </a:r>
          </a:p>
          <a:p>
            <a:pPr algn="l">
              <a:buFont typeface="+mj-lt"/>
              <a:buAutoNum type="arabicPeriod"/>
            </a:pPr>
            <a:r>
              <a:rPr lang="en-US" b="1" i="0">
                <a:effectLst/>
                <a:highlight>
                  <a:srgbClr val="F3F3F3"/>
                </a:highlight>
                <a:latin typeface="SegoeUIVariable"/>
              </a:rPr>
              <a:t>How would the capability for Data-Driven Decision Making change the way Contoso Health operates?</a:t>
            </a:r>
            <a:r>
              <a:rPr lang="en-US" b="0" i="0">
                <a:effectLst/>
                <a:highlight>
                  <a:srgbClr val="F3F3F3"/>
                </a:highlight>
                <a:latin typeface="SegoeUIVariable"/>
              </a:rPr>
              <a:t> This question will help you understand the impact of data-driven decision making on operations.</a:t>
            </a:r>
          </a:p>
          <a:p>
            <a:pPr lvl="1" algn="l">
              <a:buFont typeface="+mj-lt"/>
              <a:buAutoNum type="arabicPeriod"/>
            </a:pPr>
            <a:r>
              <a:rPr lang="en-US" b="0" i="0">
                <a:effectLst/>
                <a:highlight>
                  <a:srgbClr val="F3F3F3"/>
                </a:highlight>
                <a:latin typeface="SegoeUIVariable"/>
              </a:rPr>
              <a:t> Example: “How would the capability for data-driven decision making change the way Contoso Health operates and makes decisions about Oso One IFP insurance plans?”</a:t>
            </a:r>
          </a:p>
          <a:p>
            <a:pPr algn="l">
              <a:buFont typeface="+mj-lt"/>
              <a:buAutoNum type="arabicPeriod"/>
            </a:pPr>
            <a:r>
              <a:rPr lang="en-US" b="1" i="0">
                <a:effectLst/>
                <a:highlight>
                  <a:srgbClr val="F3F3F3"/>
                </a:highlight>
                <a:latin typeface="SegoeUIVariable"/>
              </a:rPr>
              <a:t>What impact would achieving Cost Efficiency have on Contoso Health’s financial performance?</a:t>
            </a:r>
            <a:r>
              <a:rPr lang="en-US" b="0" i="0">
                <a:effectLst/>
                <a:highlight>
                  <a:srgbClr val="F3F3F3"/>
                </a:highlight>
                <a:latin typeface="SegoeUIVariable"/>
              </a:rPr>
              <a:t> This question will help you understand the financial implications of cost efficiency.</a:t>
            </a:r>
          </a:p>
          <a:p>
            <a:pPr lvl="1" algn="l">
              <a:buFont typeface="+mj-lt"/>
              <a:buAutoNum type="arabicPeriod"/>
            </a:pPr>
            <a:r>
              <a:rPr lang="en-US" b="0" i="0">
                <a:effectLst/>
                <a:highlight>
                  <a:srgbClr val="F3F3F3"/>
                </a:highlight>
                <a:latin typeface="SegoeUIVariable"/>
              </a:rPr>
              <a:t> Example: “What impact would achieving cost efficiency through process improvement and automation have on Contoso Health’s financial performance?”</a:t>
            </a:r>
          </a:p>
          <a:p>
            <a:pPr algn="l">
              <a:buFont typeface="+mj-lt"/>
              <a:buAutoNum type="arabicPeriod"/>
            </a:pPr>
            <a:r>
              <a:rPr lang="en-US" b="1" i="0">
                <a:effectLst/>
                <a:highlight>
                  <a:srgbClr val="F3F3F3"/>
                </a:highlight>
                <a:latin typeface="SegoeUIVariable"/>
              </a:rPr>
              <a:t>How would the capability for Market Responsiveness affect Contoso Health’s competitiveness?</a:t>
            </a:r>
            <a:r>
              <a:rPr lang="en-US" b="0" i="0">
                <a:effectLst/>
                <a:highlight>
                  <a:srgbClr val="F3F3F3"/>
                </a:highlight>
                <a:latin typeface="SegoeUIVariable"/>
              </a:rPr>
              <a:t> This question will help you understand the strategic importance of market responsiveness.</a:t>
            </a:r>
          </a:p>
          <a:p>
            <a:pPr lvl="1" algn="l">
              <a:buFont typeface="+mj-lt"/>
              <a:buAutoNum type="arabicPeriod"/>
            </a:pPr>
            <a:r>
              <a:rPr lang="en-US" b="0" i="0">
                <a:effectLst/>
                <a:highlight>
                  <a:srgbClr val="F3F3F3"/>
                </a:highlight>
                <a:latin typeface="SegoeUIVariable"/>
              </a:rPr>
              <a:t> Example: “How would the capability for market responsiveness, or the ability to quickly respond to market changes based on competitor data, affect Contoso Health’s competitiveness and market positioning?”</a:t>
            </a:r>
          </a:p>
          <a:p>
            <a:pPr algn="l">
              <a:buFont typeface="+mj-lt"/>
              <a:buNone/>
            </a:pPr>
            <a:endParaRPr lang="en-US" b="0" i="0">
              <a:effectLst/>
              <a:highlight>
                <a:srgbClr val="F3F3F3"/>
              </a:highlight>
              <a:latin typeface="SegoeUIVariable"/>
            </a:endParaRPr>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7/12/2024 12:30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6</a:t>
            </a:fld>
            <a:endParaRPr lang="en-US"/>
          </a:p>
        </p:txBody>
      </p:sp>
    </p:spTree>
    <p:extLst>
      <p:ext uri="{BB962C8B-B14F-4D97-AF65-F5344CB8AC3E}">
        <p14:creationId xmlns:p14="http://schemas.microsoft.com/office/powerpoint/2010/main" val="26191240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a:effectLst/>
                <a:highlight>
                  <a:srgbClr val="F3F3F3"/>
                </a:highlight>
                <a:latin typeface="SegoeUIVariable"/>
              </a:rPr>
              <a:t>Business Use Case Questions:</a:t>
            </a:r>
            <a:endParaRPr lang="en-US" b="0" i="0">
              <a:effectLst/>
              <a:highlight>
                <a:srgbClr val="F3F3F3"/>
              </a:highlight>
              <a:latin typeface="SegoeUIVariable"/>
            </a:endParaRPr>
          </a:p>
          <a:p>
            <a:pPr algn="l">
              <a:buFont typeface="+mj-lt"/>
              <a:buAutoNum type="arabicPeriod"/>
            </a:pPr>
            <a:r>
              <a:rPr lang="en-US" b="1" i="0">
                <a:effectLst/>
                <a:highlight>
                  <a:srgbClr val="F3F3F3"/>
                </a:highlight>
                <a:latin typeface="SegoeUIVariable"/>
              </a:rPr>
              <a:t>For the Competitive Pricing Analysis use case:</a:t>
            </a:r>
            <a:endParaRPr lang="en-US" b="0" i="0">
              <a:effectLst/>
              <a:highlight>
                <a:srgbClr val="F3F3F3"/>
              </a:highlight>
              <a:latin typeface="SegoeUIVariable"/>
            </a:endParaRPr>
          </a:p>
          <a:p>
            <a:pPr marL="742950" lvl="1" indent="-285750" algn="l">
              <a:buFont typeface="+mj-lt"/>
              <a:buAutoNum type="arabicPeriod"/>
            </a:pPr>
            <a:r>
              <a:rPr lang="en-US" b="0" i="0">
                <a:effectLst/>
                <a:highlight>
                  <a:srgbClr val="F3F3F3"/>
                </a:highlight>
                <a:latin typeface="SegoeUIVariable"/>
              </a:rPr>
              <a:t>How would an AI model that can analyze competitor pricing data and suggest optimal pricing for Oso One IFP insurance plans impact your current pricing strategy?</a:t>
            </a:r>
          </a:p>
          <a:p>
            <a:pPr marL="742950" lvl="1" indent="-285750" algn="l">
              <a:buFont typeface="+mj-lt"/>
              <a:buAutoNum type="arabicPeriod"/>
            </a:pPr>
            <a:r>
              <a:rPr lang="en-US" b="0" i="0">
                <a:effectLst/>
                <a:highlight>
                  <a:srgbClr val="F3F3F3"/>
                </a:highlight>
                <a:latin typeface="SegoeUIVariable"/>
              </a:rPr>
              <a:t>Example: “Could you share how an AI model that analyzes competitor pricing data and suggests optimal pricing for Oso One IFP insurance plans would impact your current pricing strategy?”</a:t>
            </a:r>
          </a:p>
          <a:p>
            <a:pPr algn="l">
              <a:buFont typeface="+mj-lt"/>
              <a:buAutoNum type="arabicPeriod"/>
            </a:pPr>
            <a:r>
              <a:rPr lang="en-US" b="1" i="0">
                <a:effectLst/>
                <a:highlight>
                  <a:srgbClr val="F3F3F3"/>
                </a:highlight>
                <a:latin typeface="SegoeUIVariable"/>
              </a:rPr>
              <a:t>For the Automated Data Ingestion and Processing use case:</a:t>
            </a:r>
            <a:endParaRPr lang="en-US" b="0" i="0">
              <a:effectLst/>
              <a:highlight>
                <a:srgbClr val="F3F3F3"/>
              </a:highlight>
              <a:latin typeface="SegoeUIVariable"/>
            </a:endParaRPr>
          </a:p>
          <a:p>
            <a:pPr marL="742950" lvl="1" indent="-285750" algn="l">
              <a:buFont typeface="+mj-lt"/>
              <a:buAutoNum type="arabicPeriod"/>
            </a:pPr>
            <a:r>
              <a:rPr lang="en-US" b="0" i="0">
                <a:effectLst/>
                <a:highlight>
                  <a:srgbClr val="F3F3F3"/>
                </a:highlight>
                <a:latin typeface="SegoeUIVariable"/>
              </a:rPr>
              <a:t>What are the expected benefits of implementing an automated system for ingesting and processing competitor data?</a:t>
            </a:r>
          </a:p>
          <a:p>
            <a:pPr marL="742950" lvl="1" indent="-285750" algn="l">
              <a:buFont typeface="+mj-lt"/>
              <a:buAutoNum type="arabicPeriod"/>
            </a:pPr>
            <a:r>
              <a:rPr lang="en-US" b="0" i="0">
                <a:effectLst/>
                <a:highlight>
                  <a:srgbClr val="F3F3F3"/>
                </a:highlight>
                <a:latin typeface="SegoeUIVariable"/>
              </a:rPr>
              <a:t>Example: “What benefits do you anticipate from implementing an automated system for ingesting and processing competitor data?”</a:t>
            </a:r>
          </a:p>
          <a:p>
            <a:pPr algn="l">
              <a:buFont typeface="+mj-lt"/>
              <a:buAutoNum type="arabicPeriod"/>
            </a:pPr>
            <a:r>
              <a:rPr lang="en-US" b="1" i="0">
                <a:effectLst/>
                <a:highlight>
                  <a:srgbClr val="F3F3F3"/>
                </a:highlight>
                <a:latin typeface="SegoeUIVariable"/>
              </a:rPr>
              <a:t>For the Dynamic Pricing Adjustment use case:</a:t>
            </a:r>
            <a:endParaRPr lang="en-US" b="0" i="0">
              <a:effectLst/>
              <a:highlight>
                <a:srgbClr val="F3F3F3"/>
              </a:highlight>
              <a:latin typeface="SegoeUIVariable"/>
            </a:endParaRPr>
          </a:p>
          <a:p>
            <a:pPr marL="742950" lvl="1" indent="-285750" algn="l">
              <a:buFont typeface="+mj-lt"/>
              <a:buAutoNum type="arabicPeriod"/>
            </a:pPr>
            <a:r>
              <a:rPr lang="en-US" b="0" i="0">
                <a:effectLst/>
                <a:highlight>
                  <a:srgbClr val="F3F3F3"/>
                </a:highlight>
                <a:latin typeface="SegoeUIVariable"/>
              </a:rPr>
              <a:t>How would a system that can dynamically adjust the pricing of Oso One IFP insurance plans based on the analyzed competitor data change your current pricing process?</a:t>
            </a:r>
          </a:p>
          <a:p>
            <a:pPr marL="742950" lvl="1" indent="-285750" algn="l">
              <a:buFont typeface="+mj-lt"/>
              <a:buAutoNum type="arabicPeriod"/>
            </a:pPr>
            <a:r>
              <a:rPr lang="en-US" b="0" i="0">
                <a:effectLst/>
                <a:highlight>
                  <a:srgbClr val="F3F3F3"/>
                </a:highlight>
                <a:latin typeface="SegoeUIVariable"/>
              </a:rPr>
              <a:t>Example: “How would a system that can dynamically adjust the pricing of Oso One IFP insurance plans based on the analyzed competitor data change your current pricing process?”</a:t>
            </a:r>
          </a:p>
          <a:p>
            <a:pPr algn="l">
              <a:buFont typeface="+mj-lt"/>
              <a:buAutoNum type="arabicPeriod"/>
            </a:pPr>
            <a:r>
              <a:rPr lang="en-US" b="1" i="0">
                <a:effectLst/>
                <a:highlight>
                  <a:srgbClr val="F3F3F3"/>
                </a:highlight>
                <a:latin typeface="SegoeUIVariable"/>
              </a:rPr>
              <a:t>For the Market Trend Analysis use case:</a:t>
            </a:r>
            <a:endParaRPr lang="en-US" b="0" i="0">
              <a:effectLst/>
              <a:highlight>
                <a:srgbClr val="F3F3F3"/>
              </a:highlight>
              <a:latin typeface="SegoeUIVariable"/>
            </a:endParaRPr>
          </a:p>
          <a:p>
            <a:pPr marL="742950" lvl="1" indent="-285750" algn="l">
              <a:buFont typeface="+mj-lt"/>
              <a:buAutoNum type="arabicPeriod"/>
            </a:pPr>
            <a:r>
              <a:rPr lang="en-US" b="0" i="0">
                <a:effectLst/>
                <a:highlight>
                  <a:srgbClr val="F3F3F3"/>
                </a:highlight>
                <a:latin typeface="SegoeUIVariable"/>
              </a:rPr>
              <a:t>How would using AI to analyze market trends and predict future pricing strategies of competitors impact your strategic planning?</a:t>
            </a:r>
          </a:p>
          <a:p>
            <a:pPr marL="742950" lvl="1" indent="-285750" algn="l">
              <a:buFont typeface="+mj-lt"/>
              <a:buAutoNum type="arabicPeriod"/>
            </a:pPr>
            <a:r>
              <a:rPr lang="en-US" b="0" i="0">
                <a:effectLst/>
                <a:highlight>
                  <a:srgbClr val="F3F3F3"/>
                </a:highlight>
                <a:latin typeface="SegoeUIVariable"/>
              </a:rPr>
              <a:t>Example: “How would using AI to analyze market trends and predict future pricing strategies of competitors impact your strategic planning for Oso One IFP insurance plans?”</a:t>
            </a:r>
          </a:p>
          <a:p>
            <a:pPr algn="l">
              <a:buFont typeface="+mj-lt"/>
              <a:buAutoNum type="arabicPeriod"/>
            </a:pPr>
            <a:r>
              <a:rPr lang="en-US" b="1" i="0">
                <a:effectLst/>
                <a:highlight>
                  <a:srgbClr val="F3F3F3"/>
                </a:highlight>
                <a:latin typeface="SegoeUIVariable"/>
              </a:rPr>
              <a:t>For the Cost-Benefit Analysis use case:</a:t>
            </a:r>
            <a:endParaRPr lang="en-US" b="0" i="0">
              <a:effectLst/>
              <a:highlight>
                <a:srgbClr val="F3F3F3"/>
              </a:highlight>
              <a:latin typeface="SegoeUIVariable"/>
            </a:endParaRPr>
          </a:p>
          <a:p>
            <a:pPr marL="742950" lvl="1" indent="-285750" algn="l">
              <a:buFont typeface="+mj-lt"/>
              <a:buAutoNum type="arabicPeriod"/>
            </a:pPr>
            <a:r>
              <a:rPr lang="en-US" b="0" i="0">
                <a:effectLst/>
                <a:highlight>
                  <a:srgbClr val="F3F3F3"/>
                </a:highlight>
                <a:latin typeface="SegoeUIVariable"/>
              </a:rPr>
              <a:t>What factors would you consider in a cost-benefit analysis to evaluate the financial impact of implementing the new system versus the current manual process?</a:t>
            </a:r>
          </a:p>
          <a:p>
            <a:pPr marL="742950" lvl="1" indent="-285750" algn="l">
              <a:buFont typeface="+mj-lt"/>
              <a:buAutoNum type="arabicPeriod"/>
            </a:pPr>
            <a:r>
              <a:rPr lang="en-US" b="0" i="0">
                <a:effectLst/>
                <a:highlight>
                  <a:srgbClr val="F3F3F3"/>
                </a:highlight>
                <a:latin typeface="SegoeUIVariable"/>
              </a:rPr>
              <a:t>Example: “What factors would you consider in a cost-benefit analysis to evaluate the financial impact of implementing the new system versus the current manual process?”</a:t>
            </a:r>
          </a:p>
          <a:p>
            <a:pPr algn="l">
              <a:buFont typeface="+mj-lt"/>
              <a:buAutoNum type="arabicPeriod"/>
            </a:pPr>
            <a:r>
              <a:rPr lang="en-US" b="1" i="0">
                <a:effectLst/>
                <a:highlight>
                  <a:srgbClr val="F3F3F3"/>
                </a:highlight>
                <a:latin typeface="SegoeUIVariable"/>
              </a:rPr>
              <a:t>For the Impact Analysis use case:</a:t>
            </a:r>
            <a:endParaRPr lang="en-US" b="0" i="0">
              <a:effectLst/>
              <a:highlight>
                <a:srgbClr val="F3F3F3"/>
              </a:highlight>
              <a:latin typeface="SegoeUIVariable"/>
            </a:endParaRPr>
          </a:p>
          <a:p>
            <a:pPr marL="742950" lvl="1" indent="-285750" algn="l">
              <a:buFont typeface="+mj-lt"/>
              <a:buAutoNum type="arabicPeriod"/>
            </a:pPr>
            <a:r>
              <a:rPr lang="en-US" b="0" i="0">
                <a:effectLst/>
                <a:highlight>
                  <a:srgbClr val="F3F3F3"/>
                </a:highlight>
                <a:latin typeface="SegoeUIVariable"/>
              </a:rPr>
              <a:t>How would you measure the impact of the new pricing strategy on the market share and revenue of Oso One IFP insurance plans?</a:t>
            </a:r>
          </a:p>
          <a:p>
            <a:pPr marL="742950" lvl="1" indent="-285750" algn="l">
              <a:buFont typeface="+mj-lt"/>
              <a:buAutoNum type="arabicPeriod"/>
            </a:pPr>
            <a:r>
              <a:rPr lang="en-US" b="0" i="0">
                <a:effectLst/>
                <a:highlight>
                  <a:srgbClr val="F3F3F3"/>
                </a:highlight>
                <a:latin typeface="SegoeUIVariable"/>
              </a:rPr>
              <a:t>Example: “How would you measure the impact of the new pricing strategy on the market share and revenue of Oso One IFP insurance plans?”</a:t>
            </a:r>
          </a:p>
          <a:p>
            <a:endParaRPr lang="en-US"/>
          </a:p>
          <a:p>
            <a:endParaRPr lang="en-US"/>
          </a:p>
          <a:p>
            <a:endParaRPr lang="en-US"/>
          </a:p>
          <a:p>
            <a:pPr algn="l"/>
            <a:r>
              <a:rPr lang="en-US" b="1" i="0">
                <a:effectLst/>
                <a:highlight>
                  <a:srgbClr val="F3F3F3"/>
                </a:highlight>
                <a:latin typeface="SegoeUIVariable"/>
              </a:rPr>
              <a:t>Business Requirements Questions:</a:t>
            </a:r>
            <a:endParaRPr lang="en-US" b="0" i="0">
              <a:effectLst/>
              <a:highlight>
                <a:srgbClr val="F3F3F3"/>
              </a:highlight>
              <a:latin typeface="SegoeUIVariable"/>
            </a:endParaRPr>
          </a:p>
          <a:p>
            <a:pPr algn="l">
              <a:buFont typeface="+mj-lt"/>
              <a:buAutoNum type="arabicPeriod"/>
            </a:pPr>
            <a:r>
              <a:rPr lang="en-US" b="1" i="0">
                <a:effectLst/>
                <a:highlight>
                  <a:srgbClr val="F3F3F3"/>
                </a:highlight>
                <a:latin typeface="SegoeUIVariable"/>
              </a:rPr>
              <a:t>For the Impact Analysis Model requirement:</a:t>
            </a:r>
            <a:endParaRPr lang="en-US" b="0" i="0">
              <a:effectLst/>
              <a:highlight>
                <a:srgbClr val="F3F3F3"/>
              </a:highlight>
              <a:latin typeface="SegoeUIVariable"/>
            </a:endParaRPr>
          </a:p>
          <a:p>
            <a:pPr marL="742950" lvl="1" indent="-285750" algn="l">
              <a:buFont typeface="+mj-lt"/>
              <a:buAutoNum type="arabicPeriod"/>
            </a:pPr>
            <a:r>
              <a:rPr lang="en-US" b="0" i="0">
                <a:effectLst/>
                <a:highlight>
                  <a:srgbClr val="F3F3F3"/>
                </a:highlight>
                <a:latin typeface="SegoeUIVariable"/>
              </a:rPr>
              <a:t>How would a model that can analyze the impact of the new pricing strategy on the market share and revenue of Oso One IFP insurance plans support your strategic planning?</a:t>
            </a:r>
          </a:p>
          <a:p>
            <a:pPr marL="742950" lvl="1" indent="-285750" algn="l">
              <a:buFont typeface="+mj-lt"/>
              <a:buAutoNum type="arabicPeriod"/>
            </a:pPr>
            <a:r>
              <a:rPr lang="en-US" b="0" i="0">
                <a:effectLst/>
                <a:highlight>
                  <a:srgbClr val="F3F3F3"/>
                </a:highlight>
                <a:latin typeface="SegoeUIVariable"/>
              </a:rPr>
              <a:t>Example: “Could you share how a model that analyzes the impact of the new pricing strategy on the market share and revenue of Oso One IFP insurance plans would support your strategic planning?”</a:t>
            </a:r>
          </a:p>
          <a:p>
            <a:pPr algn="l">
              <a:buFont typeface="+mj-lt"/>
              <a:buAutoNum type="arabicPeriod"/>
            </a:pPr>
            <a:r>
              <a:rPr lang="en-US" b="1" i="0">
                <a:effectLst/>
                <a:highlight>
                  <a:srgbClr val="F3F3F3"/>
                </a:highlight>
                <a:latin typeface="SegoeUIVariable"/>
              </a:rPr>
              <a:t>For the Market Share Analysis requirement:</a:t>
            </a:r>
            <a:endParaRPr lang="en-US" b="0" i="0">
              <a:effectLst/>
              <a:highlight>
                <a:srgbClr val="F3F3F3"/>
              </a:highlight>
              <a:latin typeface="SegoeUIVariable"/>
            </a:endParaRPr>
          </a:p>
          <a:p>
            <a:pPr marL="742950" lvl="1" indent="-285750" algn="l">
              <a:buFont typeface="+mj-lt"/>
              <a:buAutoNum type="arabicPeriod"/>
            </a:pPr>
            <a:r>
              <a:rPr lang="en-US" b="0" i="0">
                <a:effectLst/>
                <a:highlight>
                  <a:srgbClr val="F3F3F3"/>
                </a:highlight>
                <a:latin typeface="SegoeUIVariable"/>
              </a:rPr>
              <a:t>What are the key factors that you consider when analyzing changes in market share?</a:t>
            </a:r>
          </a:p>
          <a:p>
            <a:pPr marL="742950" lvl="1" indent="-285750" algn="l">
              <a:buFont typeface="+mj-lt"/>
              <a:buAutoNum type="arabicPeriod"/>
            </a:pPr>
            <a:r>
              <a:rPr lang="en-US" b="0" i="0">
                <a:effectLst/>
                <a:highlight>
                  <a:srgbClr val="F3F3F3"/>
                </a:highlight>
                <a:latin typeface="SegoeUIVariable"/>
              </a:rPr>
              <a:t>Example: “What are the key factors that you consider when analyzing changes in market share resulting from the new pricing strategy?”</a:t>
            </a:r>
          </a:p>
          <a:p>
            <a:pPr algn="l">
              <a:buFont typeface="+mj-lt"/>
              <a:buAutoNum type="arabicPeriod"/>
            </a:pPr>
            <a:r>
              <a:rPr lang="en-US" b="1" i="0">
                <a:effectLst/>
                <a:highlight>
                  <a:srgbClr val="F3F3F3"/>
                </a:highlight>
                <a:latin typeface="SegoeUIVariable"/>
              </a:rPr>
              <a:t>For the Revenue Analysis requirement:</a:t>
            </a:r>
            <a:endParaRPr lang="en-US" b="0" i="0">
              <a:effectLst/>
              <a:highlight>
                <a:srgbClr val="F3F3F3"/>
              </a:highlight>
              <a:latin typeface="SegoeUIVariable"/>
            </a:endParaRPr>
          </a:p>
          <a:p>
            <a:pPr marL="742950" lvl="1" indent="-285750" algn="l">
              <a:buFont typeface="+mj-lt"/>
              <a:buAutoNum type="arabicPeriod"/>
            </a:pPr>
            <a:r>
              <a:rPr lang="en-US" b="0" i="0">
                <a:effectLst/>
                <a:highlight>
                  <a:srgbClr val="F3F3F3"/>
                </a:highlight>
                <a:latin typeface="SegoeUIVariable"/>
              </a:rPr>
              <a:t>How do you currently analyze changes in revenue resulting from different pricing strategies?</a:t>
            </a:r>
          </a:p>
          <a:p>
            <a:pPr marL="742950" lvl="1" indent="-285750" algn="l">
              <a:buFont typeface="+mj-lt"/>
              <a:buAutoNum type="arabicPeriod"/>
            </a:pPr>
            <a:r>
              <a:rPr lang="en-US" b="0" i="0">
                <a:effectLst/>
                <a:highlight>
                  <a:srgbClr val="F3F3F3"/>
                </a:highlight>
                <a:latin typeface="SegoeUIVariable"/>
              </a:rPr>
              <a:t>Example: “How do you currently analyze changes in revenue resulting from different pricing strategies for Oso One IFP insurance plans?”</a:t>
            </a:r>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7/12/2024 12:30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7</a:t>
            </a:fld>
            <a:endParaRPr lang="en-US"/>
          </a:p>
        </p:txBody>
      </p:sp>
    </p:spTree>
    <p:extLst>
      <p:ext uri="{BB962C8B-B14F-4D97-AF65-F5344CB8AC3E}">
        <p14:creationId xmlns:p14="http://schemas.microsoft.com/office/powerpoint/2010/main" val="422236657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8.jpeg"/><Relationship Id="rId1" Type="http://schemas.openxmlformats.org/officeDocument/2006/relationships/slideMaster" Target="../slideMasters/slideMaster3.xml"/><Relationship Id="rId4" Type="http://schemas.openxmlformats.org/officeDocument/2006/relationships/image" Target="../media/image14.jpeg"/></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8.jpeg"/><Relationship Id="rId1" Type="http://schemas.openxmlformats.org/officeDocument/2006/relationships/slideMaster" Target="../slideMasters/slideMaster3.xml"/><Relationship Id="rId5" Type="http://schemas.openxmlformats.org/officeDocument/2006/relationships/image" Target="../media/image15.jpeg"/><Relationship Id="rId4" Type="http://schemas.openxmlformats.org/officeDocument/2006/relationships/image" Target="../media/image14.jpe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jpeg"/><Relationship Id="rId1" Type="http://schemas.openxmlformats.org/officeDocument/2006/relationships/slideMaster" Target="../slideMasters/slideMaster3.xml"/><Relationship Id="rId4" Type="http://schemas.openxmlformats.org/officeDocument/2006/relationships/image" Target="../media/image20.jpeg"/></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jpeg"/><Relationship Id="rId1" Type="http://schemas.openxmlformats.org/officeDocument/2006/relationships/slideMaster" Target="../slideMasters/slideMaster3.xml"/><Relationship Id="rId5" Type="http://schemas.openxmlformats.org/officeDocument/2006/relationships/image" Target="../media/image24.jpeg"/><Relationship Id="rId4" Type="http://schemas.openxmlformats.org/officeDocument/2006/relationships/image" Target="../media/image23.jpeg"/></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8.jpeg"/><Relationship Id="rId1" Type="http://schemas.openxmlformats.org/officeDocument/2006/relationships/slideMaster" Target="../slideMasters/slideMaster3.xml"/><Relationship Id="rId6" Type="http://schemas.openxmlformats.org/officeDocument/2006/relationships/image" Target="../media/image25.jpeg"/><Relationship Id="rId5" Type="http://schemas.openxmlformats.org/officeDocument/2006/relationships/image" Target="../media/image15.jpeg"/><Relationship Id="rId4" Type="http://schemas.openxmlformats.org/officeDocument/2006/relationships/image" Target="../media/image14.jpeg"/></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8.jpeg"/><Relationship Id="rId1" Type="http://schemas.openxmlformats.org/officeDocument/2006/relationships/slideMaster" Target="../slideMasters/slideMaster3.xml"/><Relationship Id="rId4" Type="http://schemas.openxmlformats.org/officeDocument/2006/relationships/image" Target="../media/image14.jpeg"/></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8.jpeg"/><Relationship Id="rId1" Type="http://schemas.openxmlformats.org/officeDocument/2006/relationships/slideMaster" Target="../slideMasters/slideMaster3.xml"/><Relationship Id="rId5" Type="http://schemas.openxmlformats.org/officeDocument/2006/relationships/image" Target="../media/image15.jpeg"/><Relationship Id="rId4" Type="http://schemas.openxmlformats.org/officeDocument/2006/relationships/image" Target="../media/image14.jpeg"/></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8.jpeg"/><Relationship Id="rId1" Type="http://schemas.openxmlformats.org/officeDocument/2006/relationships/slideMaster" Target="../slideMasters/slideMaster3.xml"/><Relationship Id="rId6" Type="http://schemas.openxmlformats.org/officeDocument/2006/relationships/image" Target="../media/image25.jpeg"/><Relationship Id="rId5" Type="http://schemas.openxmlformats.org/officeDocument/2006/relationships/image" Target="../media/image15.jpeg"/><Relationship Id="rId4" Type="http://schemas.openxmlformats.org/officeDocument/2006/relationships/image" Target="../media/image14.jpeg"/></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40.png"/><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38.png"/><Relationship Id="rId1" Type="http://schemas.openxmlformats.org/officeDocument/2006/relationships/slideMaster" Target="../slideMasters/slideMaster3.xml"/><Relationship Id="rId4" Type="http://schemas.openxmlformats.org/officeDocument/2006/relationships/image" Target="../media/image39.png"/></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38.png"/><Relationship Id="rId1" Type="http://schemas.openxmlformats.org/officeDocument/2006/relationships/slideMaster" Target="../slideMasters/slideMaster3.xml"/><Relationship Id="rId4" Type="http://schemas.openxmlformats.org/officeDocument/2006/relationships/image" Target="../media/image39.png"/></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2.jpeg"/><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4.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Master" Target="../slideMasters/slideMaster4.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Master" Target="../slideMasters/slideMaster4.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Master" Target="../slideMasters/slideMaster4.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4.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4.xml"/></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8.jpeg"/><Relationship Id="rId1" Type="http://schemas.openxmlformats.org/officeDocument/2006/relationships/slideMaster" Target="../slideMasters/slideMaster4.xml"/><Relationship Id="rId4" Type="http://schemas.openxmlformats.org/officeDocument/2006/relationships/image" Target="../media/image14.jpe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8.jpeg"/><Relationship Id="rId1" Type="http://schemas.openxmlformats.org/officeDocument/2006/relationships/slideMaster" Target="../slideMasters/slideMaster4.xml"/><Relationship Id="rId5" Type="http://schemas.openxmlformats.org/officeDocument/2006/relationships/image" Target="../media/image15.jpeg"/><Relationship Id="rId4" Type="http://schemas.openxmlformats.org/officeDocument/2006/relationships/image" Target="../media/image14.jpeg"/></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4.xml"/></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jpeg"/><Relationship Id="rId1" Type="http://schemas.openxmlformats.org/officeDocument/2006/relationships/slideMaster" Target="../slideMasters/slideMaster4.xml"/><Relationship Id="rId4" Type="http://schemas.openxmlformats.org/officeDocument/2006/relationships/image" Target="../media/image20.jpeg"/></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jpeg"/><Relationship Id="rId1" Type="http://schemas.openxmlformats.org/officeDocument/2006/relationships/slideMaster" Target="../slideMasters/slideMaster4.xml"/><Relationship Id="rId5" Type="http://schemas.openxmlformats.org/officeDocument/2006/relationships/image" Target="../media/image24.jpeg"/><Relationship Id="rId4" Type="http://schemas.openxmlformats.org/officeDocument/2006/relationships/image" Target="../media/image23.jpeg"/></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8.jpeg"/><Relationship Id="rId1" Type="http://schemas.openxmlformats.org/officeDocument/2006/relationships/slideMaster" Target="../slideMasters/slideMaster4.xml"/><Relationship Id="rId6" Type="http://schemas.openxmlformats.org/officeDocument/2006/relationships/image" Target="../media/image25.jpeg"/><Relationship Id="rId5" Type="http://schemas.openxmlformats.org/officeDocument/2006/relationships/image" Target="../media/image15.jpeg"/><Relationship Id="rId4" Type="http://schemas.openxmlformats.org/officeDocument/2006/relationships/image" Target="../media/image14.jpeg"/></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8.jpeg"/><Relationship Id="rId1" Type="http://schemas.openxmlformats.org/officeDocument/2006/relationships/slideMaster" Target="../slideMasters/slideMaster4.xml"/><Relationship Id="rId4" Type="http://schemas.openxmlformats.org/officeDocument/2006/relationships/image" Target="../media/image14.jpeg"/></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8.jpeg"/><Relationship Id="rId1" Type="http://schemas.openxmlformats.org/officeDocument/2006/relationships/slideMaster" Target="../slideMasters/slideMaster4.xml"/><Relationship Id="rId5" Type="http://schemas.openxmlformats.org/officeDocument/2006/relationships/image" Target="../media/image15.jpeg"/><Relationship Id="rId4" Type="http://schemas.openxmlformats.org/officeDocument/2006/relationships/image" Target="../media/image14.jpeg"/></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jpeg"/><Relationship Id="rId1" Type="http://schemas.openxmlformats.org/officeDocument/2006/relationships/slideMaster" Target="../slideMasters/slideMaster4.xml"/><Relationship Id="rId6" Type="http://schemas.openxmlformats.org/officeDocument/2006/relationships/image" Target="../media/image30.jpeg"/><Relationship Id="rId5" Type="http://schemas.openxmlformats.org/officeDocument/2006/relationships/image" Target="../media/image29.jpeg"/><Relationship Id="rId4" Type="http://schemas.openxmlformats.org/officeDocument/2006/relationships/image" Target="../media/image28.jpeg"/></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4.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48.png"/><Relationship Id="rId1" Type="http://schemas.openxmlformats.org/officeDocument/2006/relationships/slideMaster" Target="../slideMasters/slideMaster5.xml"/><Relationship Id="rId5" Type="http://schemas.openxmlformats.org/officeDocument/2006/relationships/image" Target="../media/image31.emf"/><Relationship Id="rId4" Type="http://schemas.openxmlformats.org/officeDocument/2006/relationships/image" Target="../media/image50.png"/></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jpeg"/><Relationship Id="rId1" Type="http://schemas.openxmlformats.org/officeDocument/2006/relationships/slideMaster" Target="../slideMasters/slideMaster5.xml"/></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8.jpeg"/><Relationship Id="rId1" Type="http://schemas.openxmlformats.org/officeDocument/2006/relationships/slideMaster" Target="../slideMasters/slideMaster5.xml"/><Relationship Id="rId4" Type="http://schemas.openxmlformats.org/officeDocument/2006/relationships/image" Target="../media/image14.jpeg"/></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8.jpeg"/><Relationship Id="rId1" Type="http://schemas.openxmlformats.org/officeDocument/2006/relationships/slideMaster" Target="../slideMasters/slideMaster5.xml"/><Relationship Id="rId5" Type="http://schemas.openxmlformats.org/officeDocument/2006/relationships/image" Target="../media/image15.jpeg"/><Relationship Id="rId4" Type="http://schemas.openxmlformats.org/officeDocument/2006/relationships/image" Target="../media/image14.jpeg"/></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8.jpeg"/><Relationship Id="rId1" Type="http://schemas.openxmlformats.org/officeDocument/2006/relationships/slideMaster" Target="../slideMasters/slideMaster5.xml"/><Relationship Id="rId4" Type="http://schemas.openxmlformats.org/officeDocument/2006/relationships/image" Target="../media/image14.jpeg"/></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8.jpeg"/><Relationship Id="rId1" Type="http://schemas.openxmlformats.org/officeDocument/2006/relationships/slideMaster" Target="../slideMasters/slideMaster5.xml"/><Relationship Id="rId5" Type="http://schemas.openxmlformats.org/officeDocument/2006/relationships/image" Target="../media/image15.jpeg"/><Relationship Id="rId4" Type="http://schemas.openxmlformats.org/officeDocument/2006/relationships/image" Target="../media/image14.jpeg"/></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8.jpeg"/><Relationship Id="rId1" Type="http://schemas.openxmlformats.org/officeDocument/2006/relationships/slideMaster" Target="../slideMasters/slideMaster5.xml"/><Relationship Id="rId5" Type="http://schemas.openxmlformats.org/officeDocument/2006/relationships/image" Target="../media/image15.jpeg"/><Relationship Id="rId4" Type="http://schemas.openxmlformats.org/officeDocument/2006/relationships/image" Target="../media/image14.jpeg"/></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48.png"/><Relationship Id="rId1" Type="http://schemas.openxmlformats.org/officeDocument/2006/relationships/slideMaster" Target="../slideMasters/slideMaster5.xml"/><Relationship Id="rId6" Type="http://schemas.openxmlformats.org/officeDocument/2006/relationships/image" Target="../media/image31.emf"/><Relationship Id="rId5" Type="http://schemas.openxmlformats.org/officeDocument/2006/relationships/image" Target="../media/image50.png"/><Relationship Id="rId4" Type="http://schemas.openxmlformats.org/officeDocument/2006/relationships/image" Target="../media/image51.png"/></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5.xml"/><Relationship Id="rId1" Type="http://schemas.openxmlformats.org/officeDocument/2006/relationships/tags" Target="../tags/tag1.xml"/><Relationship Id="rId4" Type="http://schemas.openxmlformats.org/officeDocument/2006/relationships/image" Target="../media/image52.emf"/></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48.png"/><Relationship Id="rId1" Type="http://schemas.openxmlformats.org/officeDocument/2006/relationships/slideMaster" Target="../slideMasters/slideMaster5.xml"/><Relationship Id="rId4" Type="http://schemas.openxmlformats.org/officeDocument/2006/relationships/image" Target="../media/image31.emf"/></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14.jpe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8.jpeg"/><Relationship Id="rId1" Type="http://schemas.openxmlformats.org/officeDocument/2006/relationships/slideMaster" Target="../slideMasters/slideMaster1.xml"/><Relationship Id="rId5" Type="http://schemas.openxmlformats.org/officeDocument/2006/relationships/image" Target="../media/image15.jpeg"/><Relationship Id="rId4" Type="http://schemas.openxmlformats.org/officeDocument/2006/relationships/image" Target="../media/image14.jpe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jpeg"/><Relationship Id="rId1" Type="http://schemas.openxmlformats.org/officeDocument/2006/relationships/slideMaster" Target="../slideMasters/slideMaster1.xml"/><Relationship Id="rId4" Type="http://schemas.openxmlformats.org/officeDocument/2006/relationships/image" Target="../media/image20.jpe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jpeg"/><Relationship Id="rId1" Type="http://schemas.openxmlformats.org/officeDocument/2006/relationships/slideMaster" Target="../slideMasters/slideMaster1.xml"/><Relationship Id="rId5" Type="http://schemas.openxmlformats.org/officeDocument/2006/relationships/image" Target="../media/image24.jpeg"/><Relationship Id="rId4" Type="http://schemas.openxmlformats.org/officeDocument/2006/relationships/image" Target="../media/image23.jpe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8.jpeg"/><Relationship Id="rId1" Type="http://schemas.openxmlformats.org/officeDocument/2006/relationships/slideMaster" Target="../slideMasters/slideMaster1.xml"/><Relationship Id="rId6" Type="http://schemas.openxmlformats.org/officeDocument/2006/relationships/image" Target="../media/image25.jpeg"/><Relationship Id="rId5" Type="http://schemas.openxmlformats.org/officeDocument/2006/relationships/image" Target="../media/image15.jpeg"/><Relationship Id="rId4" Type="http://schemas.openxmlformats.org/officeDocument/2006/relationships/image" Target="../media/image14.jpe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14.jpe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8.jpeg"/><Relationship Id="rId1" Type="http://schemas.openxmlformats.org/officeDocument/2006/relationships/slideMaster" Target="../slideMasters/slideMaster1.xml"/><Relationship Id="rId5" Type="http://schemas.openxmlformats.org/officeDocument/2006/relationships/image" Target="../media/image15.jpeg"/><Relationship Id="rId4" Type="http://schemas.openxmlformats.org/officeDocument/2006/relationships/image" Target="../media/image14.jpe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jpeg"/><Relationship Id="rId1" Type="http://schemas.openxmlformats.org/officeDocument/2006/relationships/slideMaster" Target="../slideMasters/slideMaster1.xml"/><Relationship Id="rId6" Type="http://schemas.openxmlformats.org/officeDocument/2006/relationships/image" Target="../media/image30.jpeg"/><Relationship Id="rId5" Type="http://schemas.openxmlformats.org/officeDocument/2006/relationships/image" Target="../media/image29.jpeg"/><Relationship Id="rId4" Type="http://schemas.openxmlformats.org/officeDocument/2006/relationships/image" Target="../media/image28.jpeg"/></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jpeg"/><Relationship Id="rId1" Type="http://schemas.openxmlformats.org/officeDocument/2006/relationships/slideMaster" Target="../slideMasters/slideMaster2.xml"/><Relationship Id="rId4" Type="http://schemas.openxmlformats.org/officeDocument/2006/relationships/image" Target="../media/image20.jpeg"/></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jpe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Master" Target="../slideMasters/slideMaster2.xml"/><Relationship Id="rId4" Type="http://schemas.openxmlformats.org/officeDocument/2006/relationships/image" Target="../media/image36.sv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38.png"/><Relationship Id="rId1" Type="http://schemas.openxmlformats.org/officeDocument/2006/relationships/slideMaster" Target="../slideMasters/slideMaster3.xml"/><Relationship Id="rId4" Type="http://schemas.openxmlformats.org/officeDocument/2006/relationships/image" Target="../media/image39.png"/></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38.png"/><Relationship Id="rId1" Type="http://schemas.openxmlformats.org/officeDocument/2006/relationships/slideMaster" Target="../slideMasters/slideMaster3.xml"/><Relationship Id="rId4" Type="http://schemas.openxmlformats.org/officeDocument/2006/relationships/image" Target="../media/image39.png"/></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38.png"/><Relationship Id="rId1" Type="http://schemas.openxmlformats.org/officeDocument/2006/relationships/slideMaster" Target="../slideMasters/slideMaster3.xml"/><Relationship Id="rId4" Type="http://schemas.openxmlformats.org/officeDocument/2006/relationships/image" Target="../media/image39.png"/></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38.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2 Light">
    <p:bg>
      <p:bgPr>
        <a:solidFill>
          <a:schemeClr val="tx1">
            <a:lumMod val="95000"/>
          </a:schemeClr>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848041" cy="1231106"/>
          </a:xfrm>
          <a:noFill/>
        </p:spPr>
        <p:txBody>
          <a:bodyPr wrap="square" lIns="0" tIns="0" rIns="0" bIns="0" anchor="b" anchorCtr="0">
            <a:spAutoFit/>
          </a:bodyPr>
          <a:lstStyle>
            <a:lvl1pPr>
              <a:defRPr sz="4000" spc="-50" baseline="0">
                <a:gradFill flip="none" rotWithShape="1">
                  <a:gsLst>
                    <a:gs pos="0">
                      <a:schemeClr val="accent1"/>
                    </a:gs>
                    <a:gs pos="100000">
                      <a:schemeClr val="accent4"/>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858698" cy="246221"/>
          </a:xfrm>
          <a:noFill/>
        </p:spPr>
        <p:txBody>
          <a:bodyPr wrap="square" lIns="0" tIns="0" rIns="0" bIns="0">
            <a:spAutoFit/>
          </a:bodyPr>
          <a:lstStyle>
            <a:lvl1pPr marL="0" indent="0">
              <a:spcBef>
                <a:spcPts val="0"/>
              </a:spcBef>
              <a:buNone/>
              <a:defRPr sz="1600" spc="0" baseline="0">
                <a:solidFill>
                  <a:schemeClr val="bg1"/>
                </a:solidFill>
                <a:latin typeface="+mn-lt"/>
                <a:cs typeface="Segoe UI" panose="020B0502040204020203" pitchFamily="34" charset="0"/>
              </a:defRPr>
            </a:lvl1pPr>
          </a:lstStyle>
          <a:p>
            <a:pPr lvl="0"/>
            <a:r>
              <a:rPr lang="en-US"/>
              <a:t>Speaker name or subtitle text</a:t>
            </a:r>
          </a:p>
        </p:txBody>
      </p:sp>
      <p:pic>
        <p:nvPicPr>
          <p:cNvPr id="95" name="MS logo gray - EMF" descr="Microsoft logo, gray text version">
            <a:extLst>
              <a:ext uri="{FF2B5EF4-FFF2-40B4-BE49-F238E27FC236}">
                <a16:creationId xmlns:a16="http://schemas.microsoft.com/office/drawing/2014/main" id="{1DD5F06E-A0A8-DE89-5B58-25F81504361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grpSp>
        <p:nvGrpSpPr>
          <p:cNvPr id="108" name="Group 107">
            <a:extLst>
              <a:ext uri="{FF2B5EF4-FFF2-40B4-BE49-F238E27FC236}">
                <a16:creationId xmlns:a16="http://schemas.microsoft.com/office/drawing/2014/main" id="{A5CE1476-5932-670A-A31C-422181AEB1B4}"/>
              </a:ext>
            </a:extLst>
          </p:cNvPr>
          <p:cNvGrpSpPr/>
          <p:nvPr userDrawn="1"/>
        </p:nvGrpSpPr>
        <p:grpSpPr>
          <a:xfrm>
            <a:off x="5937591" y="4990281"/>
            <a:ext cx="911486" cy="911485"/>
            <a:chOff x="5915788" y="2620805"/>
            <a:chExt cx="3551274" cy="3551272"/>
          </a:xfrm>
        </p:grpSpPr>
        <p:sp>
          <p:nvSpPr>
            <p:cNvPr id="109" name="Oval 108">
              <a:extLst>
                <a:ext uri="{FF2B5EF4-FFF2-40B4-BE49-F238E27FC236}">
                  <a16:creationId xmlns:a16="http://schemas.microsoft.com/office/drawing/2014/main" id="{8E183FC0-E6B7-F0B0-0F74-5502A1E4FDA2}"/>
                </a:ext>
              </a:extLst>
            </p:cNvPr>
            <p:cNvSpPr/>
            <p:nvPr/>
          </p:nvSpPr>
          <p:spPr bwMode="auto">
            <a:xfrm>
              <a:off x="5915788" y="2620805"/>
              <a:ext cx="3551274" cy="3551272"/>
            </a:xfrm>
            <a:prstGeom prst="ellipse">
              <a:avLst/>
            </a:prstGeom>
            <a:solidFill>
              <a:schemeClr val="tx1">
                <a:lumMod val="95000"/>
              </a:schemeClr>
            </a:solidFill>
            <a:ln>
              <a:noFill/>
              <a:headEnd type="none" w="med" len="med"/>
              <a:tailEnd type="none" w="med" len="med"/>
            </a:ln>
            <a:effectLst>
              <a:outerShdw blurRad="622300" dist="38100" dir="2700000" sx="107000" sy="107000" algn="tl" rotWithShape="0">
                <a:prstClr val="black">
                  <a:alpha val="11938"/>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10" name="Oval 109">
              <a:extLst>
                <a:ext uri="{FF2B5EF4-FFF2-40B4-BE49-F238E27FC236}">
                  <a16:creationId xmlns:a16="http://schemas.microsoft.com/office/drawing/2014/main" id="{0863405F-4203-EB1B-B875-E27821C74A05}"/>
                </a:ext>
              </a:extLst>
            </p:cNvPr>
            <p:cNvSpPr/>
            <p:nvPr/>
          </p:nvSpPr>
          <p:spPr bwMode="auto">
            <a:xfrm>
              <a:off x="5915788" y="2620805"/>
              <a:ext cx="3551274" cy="3551272"/>
            </a:xfrm>
            <a:prstGeom prst="ellipse">
              <a:avLst/>
            </a:prstGeom>
            <a:solidFill>
              <a:schemeClr val="tx1">
                <a:lumMod val="95000"/>
              </a:schemeClr>
            </a:solidFill>
            <a:ln>
              <a:noFill/>
              <a:headEnd type="none" w="med" len="med"/>
              <a:tailEnd type="none" w="med" len="med"/>
            </a:ln>
            <a:effectLst>
              <a:outerShdw blurRad="629178" dist="38100" dir="13500000" sx="139000" sy="139000" algn="br" rotWithShape="0">
                <a:schemeClr val="tx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grpSp>
        <p:nvGrpSpPr>
          <p:cNvPr id="111" name="Group 110">
            <a:extLst>
              <a:ext uri="{FF2B5EF4-FFF2-40B4-BE49-F238E27FC236}">
                <a16:creationId xmlns:a16="http://schemas.microsoft.com/office/drawing/2014/main" id="{5E86CEF9-858E-3949-C4E6-026E6B8B98D1}"/>
              </a:ext>
            </a:extLst>
          </p:cNvPr>
          <p:cNvGrpSpPr/>
          <p:nvPr userDrawn="1"/>
        </p:nvGrpSpPr>
        <p:grpSpPr>
          <a:xfrm>
            <a:off x="6746329" y="1093510"/>
            <a:ext cx="4455266" cy="4455264"/>
            <a:chOff x="6915521" y="1724615"/>
            <a:chExt cx="3551274" cy="3551272"/>
          </a:xfrm>
        </p:grpSpPr>
        <p:grpSp>
          <p:nvGrpSpPr>
            <p:cNvPr id="112" name="Group 111">
              <a:extLst>
                <a:ext uri="{FF2B5EF4-FFF2-40B4-BE49-F238E27FC236}">
                  <a16:creationId xmlns:a16="http://schemas.microsoft.com/office/drawing/2014/main" id="{59148D59-E88E-6FBF-BF99-0BB6C56284EF}"/>
                </a:ext>
              </a:extLst>
            </p:cNvPr>
            <p:cNvGrpSpPr/>
            <p:nvPr/>
          </p:nvGrpSpPr>
          <p:grpSpPr>
            <a:xfrm>
              <a:off x="6915521" y="1724615"/>
              <a:ext cx="3551274" cy="3551272"/>
              <a:chOff x="6915521" y="1724615"/>
              <a:chExt cx="3551274" cy="3551272"/>
            </a:xfrm>
          </p:grpSpPr>
          <p:sp>
            <p:nvSpPr>
              <p:cNvPr id="116" name="Oval 115">
                <a:extLst>
                  <a:ext uri="{FF2B5EF4-FFF2-40B4-BE49-F238E27FC236}">
                    <a16:creationId xmlns:a16="http://schemas.microsoft.com/office/drawing/2014/main" id="{89E8C1DC-BBF3-FC74-7A14-F3ECF03D3BF9}"/>
                  </a:ext>
                </a:extLst>
              </p:cNvPr>
              <p:cNvSpPr/>
              <p:nvPr/>
            </p:nvSpPr>
            <p:spPr bwMode="auto">
              <a:xfrm>
                <a:off x="6915521" y="1724615"/>
                <a:ext cx="3551274" cy="3551272"/>
              </a:xfrm>
              <a:prstGeom prst="ellipse">
                <a:avLst/>
              </a:prstGeom>
              <a:solidFill>
                <a:schemeClr val="tx1">
                  <a:lumMod val="95000"/>
                </a:schemeClr>
              </a:solidFill>
              <a:ln>
                <a:noFill/>
                <a:headEnd type="none" w="med" len="med"/>
                <a:tailEnd type="none" w="med" len="med"/>
              </a:ln>
              <a:effectLst>
                <a:outerShdw blurRad="622300" dist="38100" dir="2700000" sx="107000" sy="107000" algn="tl" rotWithShape="0">
                  <a:prstClr val="black">
                    <a:alpha val="9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17" name="Oval 116">
                <a:extLst>
                  <a:ext uri="{FF2B5EF4-FFF2-40B4-BE49-F238E27FC236}">
                    <a16:creationId xmlns:a16="http://schemas.microsoft.com/office/drawing/2014/main" id="{FBA8A0BD-F099-B827-7045-40BA96696E70}"/>
                  </a:ext>
                </a:extLst>
              </p:cNvPr>
              <p:cNvSpPr/>
              <p:nvPr/>
            </p:nvSpPr>
            <p:spPr bwMode="auto">
              <a:xfrm>
                <a:off x="6915521" y="1724615"/>
                <a:ext cx="3551274" cy="3551272"/>
              </a:xfrm>
              <a:prstGeom prst="ellipse">
                <a:avLst/>
              </a:prstGeom>
              <a:solidFill>
                <a:schemeClr val="tx1">
                  <a:lumMod val="95000"/>
                </a:schemeClr>
              </a:solidFill>
              <a:ln>
                <a:noFill/>
                <a:headEnd type="none" w="med" len="med"/>
                <a:tailEnd type="none" w="med" len="med"/>
              </a:ln>
              <a:effectLst>
                <a:outerShdw blurRad="629178" dist="38100" dir="13500000" sx="107000" sy="107000" algn="br" rotWithShape="0">
                  <a:schemeClr val="tx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grpSp>
          <p:nvGrpSpPr>
            <p:cNvPr id="113" name="Group 112">
              <a:extLst>
                <a:ext uri="{FF2B5EF4-FFF2-40B4-BE49-F238E27FC236}">
                  <a16:creationId xmlns:a16="http://schemas.microsoft.com/office/drawing/2014/main" id="{31C4A238-6A70-C907-1EA9-AF4C2F8DBD75}"/>
                </a:ext>
              </a:extLst>
            </p:cNvPr>
            <p:cNvGrpSpPr/>
            <p:nvPr/>
          </p:nvGrpSpPr>
          <p:grpSpPr>
            <a:xfrm>
              <a:off x="6997422" y="1806515"/>
              <a:ext cx="3387473" cy="3387472"/>
              <a:chOff x="4122297" y="415729"/>
              <a:chExt cx="2139886" cy="2139886"/>
            </a:xfrm>
          </p:grpSpPr>
          <p:sp>
            <p:nvSpPr>
              <p:cNvPr id="114" name="Oval 113">
                <a:extLst>
                  <a:ext uri="{FF2B5EF4-FFF2-40B4-BE49-F238E27FC236}">
                    <a16:creationId xmlns:a16="http://schemas.microsoft.com/office/drawing/2014/main" id="{B397DAD7-F961-CF9F-EA0A-E0D37111964B}"/>
                  </a:ext>
                </a:extLst>
              </p:cNvPr>
              <p:cNvSpPr/>
              <p:nvPr/>
            </p:nvSpPr>
            <p:spPr bwMode="auto">
              <a:xfrm>
                <a:off x="4122298" y="415729"/>
                <a:ext cx="2139885" cy="2139885"/>
              </a:xfrm>
              <a:prstGeom prst="ellipse">
                <a:avLst/>
              </a:prstGeom>
              <a:gradFill>
                <a:gsLst>
                  <a:gs pos="85000">
                    <a:srgbClr val="FFFFFF">
                      <a:alpha val="77714"/>
                    </a:srgbClr>
                  </a:gs>
                  <a:gs pos="63000">
                    <a:schemeClr val="tx1">
                      <a:alpha val="0"/>
                    </a:schemeClr>
                  </a:gs>
                  <a:gs pos="100000">
                    <a:schemeClr val="tx1"/>
                  </a:gs>
                </a:gsLst>
                <a:path path="circle">
                  <a:fillToRect r="100000" b="100000"/>
                </a:path>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15" name="Oval 114">
                <a:extLst>
                  <a:ext uri="{FF2B5EF4-FFF2-40B4-BE49-F238E27FC236}">
                    <a16:creationId xmlns:a16="http://schemas.microsoft.com/office/drawing/2014/main" id="{04CF71D3-876A-2401-C875-98523E0DA188}"/>
                  </a:ext>
                </a:extLst>
              </p:cNvPr>
              <p:cNvSpPr/>
              <p:nvPr/>
            </p:nvSpPr>
            <p:spPr bwMode="auto">
              <a:xfrm>
                <a:off x="4122297" y="415730"/>
                <a:ext cx="2139885" cy="2139885"/>
              </a:xfrm>
              <a:prstGeom prst="ellipse">
                <a:avLst/>
              </a:prstGeom>
              <a:gradFill flip="none" rotWithShape="1">
                <a:gsLst>
                  <a:gs pos="87000">
                    <a:schemeClr val="bg1">
                      <a:alpha val="5727"/>
                    </a:schemeClr>
                  </a:gs>
                  <a:gs pos="63000">
                    <a:schemeClr val="bg1">
                      <a:alpha val="0"/>
                    </a:schemeClr>
                  </a:gs>
                  <a:gs pos="100000">
                    <a:schemeClr val="bg1">
                      <a:alpha val="28060"/>
                    </a:schemeClr>
                  </a:gs>
                </a:gsLst>
                <a:path path="circle">
                  <a:fillToRect l="100000" t="100000"/>
                </a:path>
                <a:tileRect r="-100000" b="-10000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grpSp>
      <p:grpSp>
        <p:nvGrpSpPr>
          <p:cNvPr id="122" name="Group 121">
            <a:extLst>
              <a:ext uri="{FF2B5EF4-FFF2-40B4-BE49-F238E27FC236}">
                <a16:creationId xmlns:a16="http://schemas.microsoft.com/office/drawing/2014/main" id="{2F28393E-C4D1-54DA-F763-7A6975CE92E5}"/>
              </a:ext>
            </a:extLst>
          </p:cNvPr>
          <p:cNvGrpSpPr/>
          <p:nvPr userDrawn="1"/>
        </p:nvGrpSpPr>
        <p:grpSpPr>
          <a:xfrm>
            <a:off x="7736054" y="2026765"/>
            <a:ext cx="2415505" cy="2588756"/>
            <a:chOff x="-2368942" y="-1004989"/>
            <a:chExt cx="4563166" cy="4890456"/>
          </a:xfrm>
          <a:effectLst>
            <a:outerShdw blurRad="430234" dist="381000" dir="3000000" algn="tl" rotWithShape="0">
              <a:prstClr val="black">
                <a:alpha val="15000"/>
              </a:prstClr>
            </a:outerShdw>
          </a:effectLst>
        </p:grpSpPr>
        <p:sp>
          <p:nvSpPr>
            <p:cNvPr id="123" name="Freeform 122">
              <a:extLst>
                <a:ext uri="{FF2B5EF4-FFF2-40B4-BE49-F238E27FC236}">
                  <a16:creationId xmlns:a16="http://schemas.microsoft.com/office/drawing/2014/main" id="{7B201B77-56A6-4932-F9C5-65B3FCC28C3B}"/>
                </a:ext>
              </a:extLst>
            </p:cNvPr>
            <p:cNvSpPr/>
            <p:nvPr/>
          </p:nvSpPr>
          <p:spPr>
            <a:xfrm>
              <a:off x="-2018807" y="-680747"/>
              <a:ext cx="4213031" cy="4215013"/>
            </a:xfrm>
            <a:custGeom>
              <a:avLst/>
              <a:gdLst>
                <a:gd name="connsiteX0" fmla="*/ 4213031 w 4213031"/>
                <a:gd name="connsiteY0" fmla="*/ 2107507 h 4215013"/>
                <a:gd name="connsiteX1" fmla="*/ 2106516 w 4213031"/>
                <a:gd name="connsiteY1" fmla="*/ 4215014 h 4215013"/>
                <a:gd name="connsiteX2" fmla="*/ 0 w 4213031"/>
                <a:gd name="connsiteY2" fmla="*/ 2107507 h 4215013"/>
                <a:gd name="connsiteX3" fmla="*/ 2106516 w 4213031"/>
                <a:gd name="connsiteY3" fmla="*/ 0 h 4215013"/>
                <a:gd name="connsiteX4" fmla="*/ 4213031 w 4213031"/>
                <a:gd name="connsiteY4" fmla="*/ 2107507 h 42150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3031" h="4215013">
                  <a:moveTo>
                    <a:pt x="4213031" y="2107507"/>
                  </a:moveTo>
                  <a:cubicBezTo>
                    <a:pt x="4213031" y="3271451"/>
                    <a:pt x="3269912" y="4215014"/>
                    <a:pt x="2106516" y="4215014"/>
                  </a:cubicBezTo>
                  <a:cubicBezTo>
                    <a:pt x="943119" y="4215014"/>
                    <a:pt x="0" y="3271451"/>
                    <a:pt x="0" y="2107507"/>
                  </a:cubicBezTo>
                  <a:cubicBezTo>
                    <a:pt x="0" y="943563"/>
                    <a:pt x="943119" y="0"/>
                    <a:pt x="2106516" y="0"/>
                  </a:cubicBezTo>
                  <a:cubicBezTo>
                    <a:pt x="3269912" y="0"/>
                    <a:pt x="4213031" y="943563"/>
                    <a:pt x="4213031" y="2107507"/>
                  </a:cubicBezTo>
                  <a:close/>
                </a:path>
              </a:pathLst>
            </a:custGeom>
            <a:gradFill>
              <a:gsLst>
                <a:gs pos="6000">
                  <a:srgbClr val="8661C5"/>
                </a:gs>
                <a:gs pos="100000">
                  <a:srgbClr val="0078D4"/>
                </a:gs>
              </a:gsLst>
              <a:lin ang="3343960" scaled="1"/>
            </a:gradFill>
            <a:ln w="5992" cap="flat">
              <a:noFill/>
              <a:prstDash val="solid"/>
              <a:miter/>
            </a:ln>
          </p:spPr>
          <p:txBody>
            <a:bodyPr rtlCol="0" anchor="ctr"/>
            <a:lstStyle/>
            <a:p>
              <a:endParaRPr lang="en-US"/>
            </a:p>
          </p:txBody>
        </p:sp>
        <p:sp>
          <p:nvSpPr>
            <p:cNvPr id="124" name="Freeform 123">
              <a:extLst>
                <a:ext uri="{FF2B5EF4-FFF2-40B4-BE49-F238E27FC236}">
                  <a16:creationId xmlns:a16="http://schemas.microsoft.com/office/drawing/2014/main" id="{2A23A810-769D-3BFD-FD72-54158DCB29A5}"/>
                </a:ext>
              </a:extLst>
            </p:cNvPr>
            <p:cNvSpPr/>
            <p:nvPr/>
          </p:nvSpPr>
          <p:spPr>
            <a:xfrm>
              <a:off x="-2368942" y="-1004989"/>
              <a:ext cx="3196163" cy="4890456"/>
            </a:xfrm>
            <a:custGeom>
              <a:avLst/>
              <a:gdLst>
                <a:gd name="connsiteX0" fmla="*/ 245530 w 3196163"/>
                <a:gd name="connsiteY0" fmla="*/ 3526331 h 4890456"/>
                <a:gd name="connsiteX1" fmla="*/ 130 w 3196163"/>
                <a:gd name="connsiteY1" fmla="*/ 2608755 h 4890456"/>
                <a:gd name="connsiteX2" fmla="*/ 58044 w 3196163"/>
                <a:gd name="connsiteY2" fmla="*/ 2546731 h 4890456"/>
                <a:gd name="connsiteX3" fmla="*/ 1064250 w 3196163"/>
                <a:gd name="connsiteY3" fmla="*/ 2546731 h 4890456"/>
                <a:gd name="connsiteX4" fmla="*/ 1203364 w 3196163"/>
                <a:gd name="connsiteY4" fmla="*/ 3044487 h 4890456"/>
                <a:gd name="connsiteX5" fmla="*/ 326670 w 3196163"/>
                <a:gd name="connsiteY5" fmla="*/ 3550949 h 4890456"/>
                <a:gd name="connsiteX6" fmla="*/ 245530 w 3196163"/>
                <a:gd name="connsiteY6" fmla="*/ 3526331 h 4890456"/>
                <a:gd name="connsiteX7" fmla="*/ 1363243 w 3196163"/>
                <a:gd name="connsiteY7" fmla="*/ 4644811 h 4890456"/>
                <a:gd name="connsiteX8" fmla="*/ 2280628 w 3196163"/>
                <a:gd name="connsiteY8" fmla="*/ 4890327 h 4890456"/>
                <a:gd name="connsiteX9" fmla="*/ 2342623 w 3196163"/>
                <a:gd name="connsiteY9" fmla="*/ 4832385 h 4890456"/>
                <a:gd name="connsiteX10" fmla="*/ 2342623 w 3196163"/>
                <a:gd name="connsiteY10" fmla="*/ 3814417 h 4890456"/>
                <a:gd name="connsiteX11" fmla="*/ 1847682 w 3196163"/>
                <a:gd name="connsiteY11" fmla="*/ 3681602 h 4890456"/>
                <a:gd name="connsiteX12" fmla="*/ 1338577 w 3196163"/>
                <a:gd name="connsiteY12" fmla="*/ 4563633 h 4890456"/>
                <a:gd name="connsiteX13" fmla="*/ 1363183 w 3196163"/>
                <a:gd name="connsiteY13" fmla="*/ 4644811 h 4890456"/>
                <a:gd name="connsiteX14" fmla="*/ 409190 w 3196163"/>
                <a:gd name="connsiteY14" fmla="*/ 3809374 h 4890456"/>
                <a:gd name="connsiteX15" fmla="*/ 1080454 w 3196163"/>
                <a:gd name="connsiteY15" fmla="*/ 4480954 h 4890456"/>
                <a:gd name="connsiteX16" fmla="*/ 1163154 w 3196163"/>
                <a:gd name="connsiteY16" fmla="*/ 4461800 h 4890456"/>
                <a:gd name="connsiteX17" fmla="*/ 1671899 w 3196163"/>
                <a:gd name="connsiteY17" fmla="*/ 3580430 h 4890456"/>
                <a:gd name="connsiteX18" fmla="*/ 1306650 w 3196163"/>
                <a:gd name="connsiteY18" fmla="*/ 3219392 h 4890456"/>
                <a:gd name="connsiteX19" fmla="*/ 428334 w 3196163"/>
                <a:gd name="connsiteY19" fmla="*/ 3726634 h 4890456"/>
                <a:gd name="connsiteX20" fmla="*/ 409190 w 3196163"/>
                <a:gd name="connsiteY20" fmla="*/ 3809374 h 4890456"/>
                <a:gd name="connsiteX21" fmla="*/ 2280628 w 3196163"/>
                <a:gd name="connsiteY21" fmla="*/ 130 h 4890456"/>
                <a:gd name="connsiteX22" fmla="*/ 1363363 w 3196163"/>
                <a:gd name="connsiteY22" fmla="*/ 245646 h 4890456"/>
                <a:gd name="connsiteX23" fmla="*/ 1338757 w 3196163"/>
                <a:gd name="connsiteY23" fmla="*/ 326824 h 4890456"/>
                <a:gd name="connsiteX24" fmla="*/ 1831058 w 3196163"/>
                <a:gd name="connsiteY24" fmla="*/ 1179854 h 4890456"/>
                <a:gd name="connsiteX25" fmla="*/ 2342683 w 3196163"/>
                <a:gd name="connsiteY25" fmla="*/ 1038633 h 4890456"/>
                <a:gd name="connsiteX26" fmla="*/ 2342683 w 3196163"/>
                <a:gd name="connsiteY26" fmla="*/ 58071 h 4890456"/>
                <a:gd name="connsiteX27" fmla="*/ 2280688 w 3196163"/>
                <a:gd name="connsiteY27" fmla="*/ 130 h 4890456"/>
                <a:gd name="connsiteX28" fmla="*/ 1080454 w 3196163"/>
                <a:gd name="connsiteY28" fmla="*/ 409443 h 4890456"/>
                <a:gd name="connsiteX29" fmla="*/ 409310 w 3196163"/>
                <a:gd name="connsiteY29" fmla="*/ 1081023 h 4890456"/>
                <a:gd name="connsiteX30" fmla="*/ 428455 w 3196163"/>
                <a:gd name="connsiteY30" fmla="*/ 1163762 h 4890456"/>
                <a:gd name="connsiteX31" fmla="*/ 1288525 w 3196163"/>
                <a:gd name="connsiteY31" fmla="*/ 1660557 h 4890456"/>
                <a:gd name="connsiteX32" fmla="*/ 1656475 w 3196163"/>
                <a:gd name="connsiteY32" fmla="*/ 1283428 h 4890456"/>
                <a:gd name="connsiteX33" fmla="*/ 1163154 w 3196163"/>
                <a:gd name="connsiteY33" fmla="*/ 428596 h 4890456"/>
                <a:gd name="connsiteX34" fmla="*/ 1080454 w 3196163"/>
                <a:gd name="connsiteY34" fmla="*/ 409443 h 4890456"/>
                <a:gd name="connsiteX35" fmla="*/ 245530 w 3196163"/>
                <a:gd name="connsiteY35" fmla="*/ 1364005 h 4890456"/>
                <a:gd name="connsiteX36" fmla="*/ 130 w 3196163"/>
                <a:gd name="connsiteY36" fmla="*/ 2281701 h 4890456"/>
                <a:gd name="connsiteX37" fmla="*/ 58044 w 3196163"/>
                <a:gd name="connsiteY37" fmla="*/ 2343726 h 4890456"/>
                <a:gd name="connsiteX38" fmla="*/ 1061489 w 3196163"/>
                <a:gd name="connsiteY38" fmla="*/ 2343726 h 4890456"/>
                <a:gd name="connsiteX39" fmla="*/ 1189321 w 3196163"/>
                <a:gd name="connsiteY39" fmla="*/ 1837684 h 4890456"/>
                <a:gd name="connsiteX40" fmla="*/ 326670 w 3196163"/>
                <a:gd name="connsiteY40" fmla="*/ 1339388 h 4890456"/>
                <a:gd name="connsiteX41" fmla="*/ 245530 w 3196163"/>
                <a:gd name="connsiteY41" fmla="*/ 1364005 h 4890456"/>
                <a:gd name="connsiteX42" fmla="*/ 3182949 w 3196163"/>
                <a:gd name="connsiteY42" fmla="*/ 3116598 h 4890456"/>
                <a:gd name="connsiteX43" fmla="*/ 3175927 w 3196163"/>
                <a:gd name="connsiteY43" fmla="*/ 3039623 h 4890456"/>
                <a:gd name="connsiteX44" fmla="*/ 2816259 w 3196163"/>
                <a:gd name="connsiteY44" fmla="*/ 2753819 h 4890456"/>
                <a:gd name="connsiteX45" fmla="*/ 2712194 w 3196163"/>
                <a:gd name="connsiteY45" fmla="*/ 2756581 h 4890456"/>
                <a:gd name="connsiteX46" fmla="*/ 2411580 w 3196163"/>
                <a:gd name="connsiteY46" fmla="*/ 2874565 h 4890456"/>
                <a:gd name="connsiteX47" fmla="*/ 1971972 w 3196163"/>
                <a:gd name="connsiteY47" fmla="*/ 2388278 h 4890456"/>
                <a:gd name="connsiteX48" fmla="*/ 2358587 w 3196163"/>
                <a:gd name="connsiteY48" fmla="*/ 1993735 h 4890456"/>
                <a:gd name="connsiteX49" fmla="*/ 2711353 w 3196163"/>
                <a:gd name="connsiteY49" fmla="*/ 2107937 h 4890456"/>
                <a:gd name="connsiteX50" fmla="*/ 2817279 w 3196163"/>
                <a:gd name="connsiteY50" fmla="*/ 2110639 h 4890456"/>
                <a:gd name="connsiteX51" fmla="*/ 3175867 w 3196163"/>
                <a:gd name="connsiteY51" fmla="*/ 1825675 h 4890456"/>
                <a:gd name="connsiteX52" fmla="*/ 3182829 w 3196163"/>
                <a:gd name="connsiteY52" fmla="*/ 1748580 h 4890456"/>
                <a:gd name="connsiteX53" fmla="*/ 2360928 w 3196163"/>
                <a:gd name="connsiteY53" fmla="*/ 1402673 h 4890456"/>
                <a:gd name="connsiteX54" fmla="*/ 1380828 w 3196163"/>
                <a:gd name="connsiteY54" fmla="*/ 2429347 h 4890456"/>
                <a:gd name="connsiteX55" fmla="*/ 2411520 w 3196163"/>
                <a:gd name="connsiteY55" fmla="*/ 3463827 h 4890456"/>
                <a:gd name="connsiteX56" fmla="*/ 3182949 w 3196163"/>
                <a:gd name="connsiteY56" fmla="*/ 3116598 h 4890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3196163" h="4890456">
                  <a:moveTo>
                    <a:pt x="245530" y="3526331"/>
                  </a:moveTo>
                  <a:cubicBezTo>
                    <a:pt x="107676" y="3246471"/>
                    <a:pt x="21735" y="2936470"/>
                    <a:pt x="130" y="2608755"/>
                  </a:cubicBezTo>
                  <a:cubicBezTo>
                    <a:pt x="-2091" y="2575191"/>
                    <a:pt x="24496" y="2546731"/>
                    <a:pt x="58044" y="2546731"/>
                  </a:cubicBezTo>
                  <a:lnTo>
                    <a:pt x="1064250" y="2546731"/>
                  </a:lnTo>
                  <a:cubicBezTo>
                    <a:pt x="1079314" y="2724218"/>
                    <a:pt x="1127746" y="2892278"/>
                    <a:pt x="1203364" y="3044487"/>
                  </a:cubicBezTo>
                  <a:lnTo>
                    <a:pt x="326670" y="3550949"/>
                  </a:lnTo>
                  <a:cubicBezTo>
                    <a:pt x="297622" y="3567761"/>
                    <a:pt x="260353" y="3556413"/>
                    <a:pt x="245530" y="3526331"/>
                  </a:cubicBezTo>
                  <a:close/>
                  <a:moveTo>
                    <a:pt x="1363243" y="4644811"/>
                  </a:moveTo>
                  <a:cubicBezTo>
                    <a:pt x="1643092" y="4782730"/>
                    <a:pt x="1953068" y="4868711"/>
                    <a:pt x="2280628" y="4890327"/>
                  </a:cubicBezTo>
                  <a:cubicBezTo>
                    <a:pt x="2314176" y="4892548"/>
                    <a:pt x="2342623" y="4865949"/>
                    <a:pt x="2342623" y="4832385"/>
                  </a:cubicBezTo>
                  <a:lnTo>
                    <a:pt x="2342623" y="3814417"/>
                  </a:lnTo>
                  <a:cubicBezTo>
                    <a:pt x="2166360" y="3800908"/>
                    <a:pt x="1999459" y="3754554"/>
                    <a:pt x="1847682" y="3681602"/>
                  </a:cubicBezTo>
                  <a:lnTo>
                    <a:pt x="1338577" y="4563633"/>
                  </a:lnTo>
                  <a:cubicBezTo>
                    <a:pt x="1321773" y="4592694"/>
                    <a:pt x="1333116" y="4629980"/>
                    <a:pt x="1363183" y="4644811"/>
                  </a:cubicBezTo>
                  <a:close/>
                  <a:moveTo>
                    <a:pt x="409190" y="3809374"/>
                  </a:moveTo>
                  <a:cubicBezTo>
                    <a:pt x="587073" y="4074583"/>
                    <a:pt x="815489" y="4302987"/>
                    <a:pt x="1080454" y="4480954"/>
                  </a:cubicBezTo>
                  <a:cubicBezTo>
                    <a:pt x="1108361" y="4499687"/>
                    <a:pt x="1146350" y="4490921"/>
                    <a:pt x="1163154" y="4461800"/>
                  </a:cubicBezTo>
                  <a:lnTo>
                    <a:pt x="1671899" y="3580430"/>
                  </a:lnTo>
                  <a:cubicBezTo>
                    <a:pt x="1528824" y="3483701"/>
                    <a:pt x="1404954" y="3361213"/>
                    <a:pt x="1306650" y="3219392"/>
                  </a:cubicBezTo>
                  <a:lnTo>
                    <a:pt x="428334" y="3726634"/>
                  </a:lnTo>
                  <a:cubicBezTo>
                    <a:pt x="399227" y="3743447"/>
                    <a:pt x="390465" y="3781454"/>
                    <a:pt x="409190" y="3809374"/>
                  </a:cubicBezTo>
                  <a:close/>
                  <a:moveTo>
                    <a:pt x="2280628" y="130"/>
                  </a:moveTo>
                  <a:cubicBezTo>
                    <a:pt x="1953068" y="21745"/>
                    <a:pt x="1643092" y="107787"/>
                    <a:pt x="1363363" y="245646"/>
                  </a:cubicBezTo>
                  <a:cubicBezTo>
                    <a:pt x="1333236" y="260476"/>
                    <a:pt x="1321953" y="297703"/>
                    <a:pt x="1338757" y="326824"/>
                  </a:cubicBezTo>
                  <a:lnTo>
                    <a:pt x="1831058" y="1179854"/>
                  </a:lnTo>
                  <a:cubicBezTo>
                    <a:pt x="1987156" y="1101858"/>
                    <a:pt x="2160058" y="1052683"/>
                    <a:pt x="2342683" y="1038633"/>
                  </a:cubicBezTo>
                  <a:lnTo>
                    <a:pt x="2342683" y="58071"/>
                  </a:lnTo>
                  <a:cubicBezTo>
                    <a:pt x="2342683" y="24447"/>
                    <a:pt x="2314176" y="-2092"/>
                    <a:pt x="2280688" y="130"/>
                  </a:cubicBezTo>
                  <a:close/>
                  <a:moveTo>
                    <a:pt x="1080454" y="409443"/>
                  </a:moveTo>
                  <a:cubicBezTo>
                    <a:pt x="815489" y="587530"/>
                    <a:pt x="587193" y="815933"/>
                    <a:pt x="409310" y="1081023"/>
                  </a:cubicBezTo>
                  <a:cubicBezTo>
                    <a:pt x="390585" y="1108943"/>
                    <a:pt x="399347" y="1146950"/>
                    <a:pt x="428455" y="1163762"/>
                  </a:cubicBezTo>
                  <a:lnTo>
                    <a:pt x="1288525" y="1660557"/>
                  </a:lnTo>
                  <a:cubicBezTo>
                    <a:pt x="1386049" y="1512671"/>
                    <a:pt x="1511120" y="1384360"/>
                    <a:pt x="1656475" y="1283428"/>
                  </a:cubicBezTo>
                  <a:lnTo>
                    <a:pt x="1163154" y="428596"/>
                  </a:lnTo>
                  <a:cubicBezTo>
                    <a:pt x="1146350" y="399476"/>
                    <a:pt x="1108361" y="390709"/>
                    <a:pt x="1080454" y="409443"/>
                  </a:cubicBezTo>
                  <a:close/>
                  <a:moveTo>
                    <a:pt x="245530" y="1364005"/>
                  </a:moveTo>
                  <a:cubicBezTo>
                    <a:pt x="107676" y="1643865"/>
                    <a:pt x="21735" y="1953987"/>
                    <a:pt x="130" y="2281701"/>
                  </a:cubicBezTo>
                  <a:cubicBezTo>
                    <a:pt x="-2091" y="2315265"/>
                    <a:pt x="24496" y="2343726"/>
                    <a:pt x="58044" y="2343726"/>
                  </a:cubicBezTo>
                  <a:lnTo>
                    <a:pt x="1061489" y="2343726"/>
                  </a:lnTo>
                  <a:cubicBezTo>
                    <a:pt x="1072052" y="2163657"/>
                    <a:pt x="1116703" y="1992835"/>
                    <a:pt x="1189321" y="1837684"/>
                  </a:cubicBezTo>
                  <a:lnTo>
                    <a:pt x="326670" y="1339388"/>
                  </a:lnTo>
                  <a:cubicBezTo>
                    <a:pt x="297622" y="1322576"/>
                    <a:pt x="260353" y="1333924"/>
                    <a:pt x="245530" y="1364005"/>
                  </a:cubicBezTo>
                  <a:close/>
                  <a:moveTo>
                    <a:pt x="3182949" y="3116598"/>
                  </a:moveTo>
                  <a:cubicBezTo>
                    <a:pt x="3203114" y="3093782"/>
                    <a:pt x="3199753" y="3058537"/>
                    <a:pt x="3175927" y="3039623"/>
                  </a:cubicBezTo>
                  <a:lnTo>
                    <a:pt x="2816259" y="2753819"/>
                  </a:lnTo>
                  <a:cubicBezTo>
                    <a:pt x="2785472" y="2729382"/>
                    <a:pt x="2740941" y="2729802"/>
                    <a:pt x="2712194" y="2756581"/>
                  </a:cubicBezTo>
                  <a:cubicBezTo>
                    <a:pt x="2630994" y="2832235"/>
                    <a:pt x="2524528" y="2874565"/>
                    <a:pt x="2411580" y="2874565"/>
                  </a:cubicBezTo>
                  <a:cubicBezTo>
                    <a:pt x="2153397" y="2874565"/>
                    <a:pt x="1946226" y="2651806"/>
                    <a:pt x="1971972" y="2388278"/>
                  </a:cubicBezTo>
                  <a:cubicBezTo>
                    <a:pt x="1991957" y="2183891"/>
                    <a:pt x="2154717" y="2017513"/>
                    <a:pt x="2358587" y="1993735"/>
                  </a:cubicBezTo>
                  <a:cubicBezTo>
                    <a:pt x="2490499" y="1978364"/>
                    <a:pt x="2617670" y="2021055"/>
                    <a:pt x="2711353" y="2107937"/>
                  </a:cubicBezTo>
                  <a:cubicBezTo>
                    <a:pt x="2740701" y="2135137"/>
                    <a:pt x="2786012" y="2135497"/>
                    <a:pt x="2817279" y="2110639"/>
                  </a:cubicBezTo>
                  <a:lnTo>
                    <a:pt x="3175867" y="1825675"/>
                  </a:lnTo>
                  <a:cubicBezTo>
                    <a:pt x="3199753" y="1806702"/>
                    <a:pt x="3203054" y="1771396"/>
                    <a:pt x="3182829" y="1748580"/>
                  </a:cubicBezTo>
                  <a:cubicBezTo>
                    <a:pt x="2976018" y="1514773"/>
                    <a:pt x="2677385" y="1387542"/>
                    <a:pt x="2360928" y="1402673"/>
                  </a:cubicBezTo>
                  <a:cubicBezTo>
                    <a:pt x="1816594" y="1428671"/>
                    <a:pt x="1382508" y="1884097"/>
                    <a:pt x="1380828" y="2429347"/>
                  </a:cubicBezTo>
                  <a:cubicBezTo>
                    <a:pt x="1379027" y="2999455"/>
                    <a:pt x="1842101" y="3463827"/>
                    <a:pt x="2411520" y="3463827"/>
                  </a:cubicBezTo>
                  <a:cubicBezTo>
                    <a:pt x="2709073" y="3463827"/>
                    <a:pt x="2987181" y="3337977"/>
                    <a:pt x="3182949" y="3116598"/>
                  </a:cubicBezTo>
                  <a:close/>
                </a:path>
              </a:pathLst>
            </a:custGeom>
            <a:gradFill>
              <a:gsLst>
                <a:gs pos="6000">
                  <a:srgbClr val="FF9248"/>
                </a:gs>
                <a:gs pos="78000">
                  <a:srgbClr val="D59DFF"/>
                </a:gs>
              </a:gsLst>
              <a:lin ang="3343960" scaled="1"/>
            </a:gradFill>
            <a:ln w="5992" cap="flat">
              <a:noFill/>
              <a:prstDash val="solid"/>
              <a:miter/>
            </a:ln>
            <a:effectLst>
              <a:outerShdw blurRad="262601" dist="38100" dir="2700000" sx="101000" sy="101000" algn="tl" rotWithShape="0">
                <a:prstClr val="black">
                  <a:alpha val="14845"/>
                </a:prstClr>
              </a:outerShdw>
            </a:effectLst>
          </p:spPr>
          <p:txBody>
            <a:bodyPr rtlCol="0" anchor="ctr"/>
            <a:lstStyle/>
            <a:p>
              <a:pPr lvl="0"/>
              <a:endParaRPr lang="en-US"/>
            </a:p>
          </p:txBody>
        </p:sp>
      </p:grpSp>
    </p:spTree>
    <p:extLst>
      <p:ext uri="{BB962C8B-B14F-4D97-AF65-F5344CB8AC3E}">
        <p14:creationId xmlns:p14="http://schemas.microsoft.com/office/powerpoint/2010/main" val="27810042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44">
          <p15:clr>
            <a:srgbClr val="5ACBF0"/>
          </p15:clr>
        </p15:guide>
        <p15:guide id="4" orient="horz" pos="216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Four Column Bullet with Subtitles - gradient">
    <p:bg>
      <p:bgPr>
        <a:gradFill>
          <a:gsLst>
            <a:gs pos="0">
              <a:schemeClr val="bg1"/>
            </a:gs>
            <a:gs pos="100000">
              <a:schemeClr val="bg1">
                <a:lumMod val="85000"/>
                <a:alpha val="50000"/>
              </a:schemeClr>
            </a:gs>
          </a:gsLst>
          <a:lin ang="18900000" scaled="1"/>
        </a:gra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4526567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95440545"/>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4998757"/>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1_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Title 1">
            <a:extLst>
              <a:ext uri="{FF2B5EF4-FFF2-40B4-BE49-F238E27FC236}">
                <a16:creationId xmlns:a16="http://schemas.microsoft.com/office/drawing/2014/main" id="{04D80903-AB2F-EA47-B1B9-181A4D5084E7}"/>
              </a:ext>
            </a:extLst>
          </p:cNvPr>
          <p:cNvSpPr txBox="1">
            <a:spLocks/>
          </p:cNvSpPr>
          <p:nvPr/>
        </p:nvSpPr>
        <p:spPr>
          <a:xfrm>
            <a:off x="584200" y="2425780"/>
            <a:ext cx="5511800" cy="1107996"/>
          </a:xfrm>
          <a:prstGeom prst="rect">
            <a:avLst/>
          </a:prstGeom>
          <a:noFill/>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anose="020B0502040204020203" pitchFamily="34" charset="0"/>
              </a:defRPr>
            </a:lvl1pPr>
          </a:lstStyle>
          <a:p>
            <a:r>
              <a:rPr lang="en-US"/>
              <a:t>Event name or presentation title </a:t>
            </a:r>
          </a:p>
        </p:txBody>
      </p:sp>
      <p:sp>
        <p:nvSpPr>
          <p:cNvPr id="7" name="Text Placeholder 4">
            <a:extLst>
              <a:ext uri="{FF2B5EF4-FFF2-40B4-BE49-F238E27FC236}">
                <a16:creationId xmlns:a16="http://schemas.microsoft.com/office/drawing/2014/main" id="{A200C02C-4314-EE45-A300-21710CAE4FE5}"/>
              </a:ext>
            </a:extLst>
          </p:cNvPr>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9" name="MS logo white - EMF" descr="Microsoft logo white text version">
            <a:extLst>
              <a:ext uri="{FF2B5EF4-FFF2-40B4-BE49-F238E27FC236}">
                <a16:creationId xmlns:a16="http://schemas.microsoft.com/office/drawing/2014/main" id="{EDE56B65-3E69-6146-8830-D107DE1E3AE7}"/>
              </a:ext>
            </a:extLst>
          </p:cNvPr>
          <p:cNvPicPr>
            <a:picLocks noChangeAspect="1"/>
          </p:cNvPicPr>
          <p:nvPr/>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417571528"/>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79390801"/>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92167844"/>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299755"/>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Bottom horizontal photo and title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87"/>
            <a:ext cx="11018520" cy="553998"/>
          </a:xfrm>
        </p:spPr>
        <p:txBody>
          <a:bodyPr anchor="ctr"/>
          <a:lstStyle>
            <a:lvl1pPr algn="l">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0590287"/>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1822985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4477931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21272262"/>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Five Column Bullet with Subtitles - gradient">
    <p:bg>
      <p:bgPr>
        <a:gradFill>
          <a:gsLst>
            <a:gs pos="0">
              <a:schemeClr val="bg1"/>
            </a:gs>
            <a:gs pos="100000">
              <a:schemeClr val="bg1">
                <a:lumMod val="85000"/>
                <a:alpha val="50000"/>
              </a:schemeClr>
            </a:gs>
          </a:gsLst>
          <a:lin ang="18900000" scaled="1"/>
        </a:gra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80324421"/>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3998597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6043071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648400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858702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7959690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1481590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3573725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Quote slide with picture - alt">
    <p:spTree>
      <p:nvGrpSpPr>
        <p:cNvPr id="1" name=""/>
        <p:cNvGrpSpPr/>
        <p:nvPr/>
      </p:nvGrpSpPr>
      <p:grpSpPr>
        <a:xfrm>
          <a:off x="0" y="0"/>
          <a:ext cx="0" cy="0"/>
          <a:chOff x="0" y="0"/>
          <a:chExt cx="0" cy="0"/>
        </a:xfrm>
      </p:grpSpPr>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hasCustomPrompt="1"/>
          </p:nvPr>
        </p:nvSpPr>
        <p:spPr>
          <a:xfrm>
            <a:off x="1163638" y="3779493"/>
            <a:ext cx="6372225" cy="276999"/>
          </a:xfrm>
        </p:spPr>
        <p:txBody>
          <a:bodyPr/>
          <a:lstStyle>
            <a:lvl1pPr marL="0" indent="0" algn="l">
              <a:spcBef>
                <a:spcPts val="0"/>
              </a:spcBef>
              <a:buNone/>
              <a:defRPr sz="1800">
                <a:solidFill>
                  <a:schemeClr val="accent6"/>
                </a:solidFill>
                <a:latin typeface="+mj-lt"/>
              </a:defRPr>
            </a:lvl1pPr>
          </a:lstStyle>
          <a:p>
            <a:pPr lvl="0"/>
            <a:r>
              <a:rPr lang="en-US"/>
              <a:t>Name attribute</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5" name="Picture Placeholder 24">
            <a:extLst>
              <a:ext uri="{FF2B5EF4-FFF2-40B4-BE49-F238E27FC236}">
                <a16:creationId xmlns:a16="http://schemas.microsoft.com/office/drawing/2014/main" id="{DB4C8BDC-6825-414F-89F2-3D7A2187253C}"/>
              </a:ext>
            </a:extLst>
          </p:cNvPr>
          <p:cNvSpPr>
            <a:spLocks noGrp="1"/>
          </p:cNvSpPr>
          <p:nvPr>
            <p:ph type="pic" sz="quarter" idx="19"/>
          </p:nvPr>
        </p:nvSpPr>
        <p:spPr>
          <a:xfrm>
            <a:off x="7835900" y="0"/>
            <a:ext cx="4356100" cy="6858000"/>
          </a:xfrm>
        </p:spPr>
        <p:txBody>
          <a:bodyPr/>
          <a:lstStyle/>
          <a:p>
            <a:r>
              <a:rPr lang="en-US"/>
              <a:t>Click icon to add picture</a:t>
            </a:r>
          </a:p>
        </p:txBody>
      </p:sp>
      <p:sp>
        <p:nvSpPr>
          <p:cNvPr id="26" name="Text Placeholder 3">
            <a:extLst>
              <a:ext uri="{FF2B5EF4-FFF2-40B4-BE49-F238E27FC236}">
                <a16:creationId xmlns:a16="http://schemas.microsoft.com/office/drawing/2014/main" id="{90DE3A0D-12BA-BE4F-85C2-FCD13F863574}"/>
              </a:ext>
            </a:extLst>
          </p:cNvPr>
          <p:cNvSpPr>
            <a:spLocks noGrp="1"/>
          </p:cNvSpPr>
          <p:nvPr>
            <p:ph type="body" sz="quarter" idx="20" hasCustomPrompt="1"/>
          </p:nvPr>
        </p:nvSpPr>
        <p:spPr>
          <a:xfrm>
            <a:off x="1163638" y="4077072"/>
            <a:ext cx="6372225" cy="215444"/>
          </a:xfrm>
        </p:spPr>
        <p:txBody>
          <a:bodyPr/>
          <a:lstStyle>
            <a:lvl1pPr marL="0" indent="0" algn="l">
              <a:spcBef>
                <a:spcPts val="0"/>
              </a:spcBef>
              <a:buNone/>
              <a:defRPr sz="1400">
                <a:solidFill>
                  <a:schemeClr val="accent6"/>
                </a:solidFill>
                <a:latin typeface="+mn-lt"/>
              </a:defRPr>
            </a:lvl1pPr>
          </a:lstStyle>
          <a:p>
            <a:pPr lvl="0"/>
            <a:r>
              <a:rPr lang="en-US"/>
              <a:t>Job title or another attribute</a:t>
            </a:r>
          </a:p>
        </p:txBody>
      </p:sp>
      <p:sp>
        <p:nvSpPr>
          <p:cNvPr id="27" name="Title 1">
            <a:extLst>
              <a:ext uri="{FF2B5EF4-FFF2-40B4-BE49-F238E27FC236}">
                <a16:creationId xmlns:a16="http://schemas.microsoft.com/office/drawing/2014/main" id="{4AA6D598-4BC5-AF4E-B609-A7442E6DEBD3}"/>
              </a:ext>
            </a:extLst>
          </p:cNvPr>
          <p:cNvSpPr>
            <a:spLocks noGrp="1"/>
          </p:cNvSpPr>
          <p:nvPr>
            <p:ph type="title" hasCustomPrompt="1"/>
          </p:nvPr>
        </p:nvSpPr>
        <p:spPr>
          <a:xfrm>
            <a:off x="1163638" y="2025650"/>
            <a:ext cx="6372225" cy="553998"/>
          </a:xfrm>
        </p:spPr>
        <p:txBody>
          <a:bodyPr anchor="t"/>
          <a:lstStyle>
            <a:lvl1pPr>
              <a:defRPr>
                <a:solidFill>
                  <a:schemeClr val="tx1"/>
                </a:solidFill>
              </a:defRPr>
            </a:lvl1pPr>
          </a:lstStyle>
          <a:p>
            <a:r>
              <a:rPr lang="en-US"/>
              <a:t>Add quote text here</a:t>
            </a:r>
          </a:p>
        </p:txBody>
      </p:sp>
    </p:spTree>
    <p:extLst>
      <p:ext uri="{BB962C8B-B14F-4D97-AF65-F5344CB8AC3E}">
        <p14:creationId xmlns:p14="http://schemas.microsoft.com/office/powerpoint/2010/main" val="232402302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733">
          <p15:clr>
            <a:srgbClr val="5ACBF0"/>
          </p15:clr>
        </p15:guide>
        <p15:guide id="7" pos="4747">
          <p15:clr>
            <a:srgbClr val="5ACBF0"/>
          </p15:clr>
        </p15:guide>
        <p15:guide id="8" pos="4936">
          <p15:clr>
            <a:srgbClr val="5ACBF0"/>
          </p15:clr>
        </p15:guide>
        <p15:guide id="9" pos="5123">
          <p15:clr>
            <a:srgbClr val="5ACBF0"/>
          </p15:clr>
        </p15:guide>
        <p15:guide id="10" orient="horz" pos="3465">
          <p15:clr>
            <a:srgbClr val="5ACBF0"/>
          </p15:clr>
        </p15:guide>
        <p15:guide id="11" orient="horz" pos="1956">
          <p15:clr>
            <a:srgbClr val="FBAE40"/>
          </p15:clr>
        </p15:guide>
        <p15:guide id="12" pos="1096">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8567158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571071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Only - gradient">
    <p:bg>
      <p:bgPr>
        <a:gradFill>
          <a:gsLst>
            <a:gs pos="0">
              <a:schemeClr val="bg1"/>
            </a:gs>
            <a:gs pos="100000">
              <a:schemeClr val="bg1">
                <a:lumMod val="85000"/>
                <a:alpha val="50000"/>
              </a:schemeClr>
            </a:gs>
          </a:gsLst>
          <a:lin ang="1890000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0317252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3_Title and text side by side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48745"/>
          </a:xfrm>
        </p:spPr>
        <p:txBody>
          <a:bodyPr anchor="t">
            <a:noAutofit/>
          </a:bodyPr>
          <a:lstStyle>
            <a:lvl1pPr>
              <a:defRPr>
                <a:solidFill>
                  <a:schemeClr val="tx2"/>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9"/>
            <a:ext cx="1873779"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8505558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accent3"/>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4398715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Title and text side by side multi colum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accent3"/>
                </a:solidFill>
              </a:defRPr>
            </a:lvl1pPr>
          </a:lstStyle>
          <a:p>
            <a:r>
              <a:rPr lang="en-US"/>
              <a:t>Title</a:t>
            </a:r>
          </a:p>
        </p:txBody>
      </p: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13" name="Text Placeholder 12">
            <a:extLst>
              <a:ext uri="{FF2B5EF4-FFF2-40B4-BE49-F238E27FC236}">
                <a16:creationId xmlns:a16="http://schemas.microsoft.com/office/drawing/2014/main" id="{5A7F7DDB-BF21-0B40-8DBB-D5BC0B4C25FC}"/>
              </a:ext>
            </a:extLst>
          </p:cNvPr>
          <p:cNvSpPr>
            <a:spLocks noGrp="1"/>
          </p:cNvSpPr>
          <p:nvPr>
            <p:ph type="body" sz="quarter" idx="12" hasCustomPrompt="1"/>
          </p:nvPr>
        </p:nvSpPr>
        <p:spPr>
          <a:xfrm>
            <a:off x="4941888" y="125801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4" name="Text Placeholder 12">
            <a:extLst>
              <a:ext uri="{FF2B5EF4-FFF2-40B4-BE49-F238E27FC236}">
                <a16:creationId xmlns:a16="http://schemas.microsoft.com/office/drawing/2014/main" id="{4BDDDD90-9BFD-D94C-A026-A013126F234B}"/>
              </a:ext>
            </a:extLst>
          </p:cNvPr>
          <p:cNvSpPr>
            <a:spLocks noGrp="1"/>
          </p:cNvSpPr>
          <p:nvPr>
            <p:ph type="body" sz="quarter" idx="13" hasCustomPrompt="1"/>
          </p:nvPr>
        </p:nvSpPr>
        <p:spPr>
          <a:xfrm>
            <a:off x="8688288" y="125801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5" name="Text Placeholder 12">
            <a:extLst>
              <a:ext uri="{FF2B5EF4-FFF2-40B4-BE49-F238E27FC236}">
                <a16:creationId xmlns:a16="http://schemas.microsoft.com/office/drawing/2014/main" id="{232B6EB5-03C8-914E-9180-000AE9B40A6D}"/>
              </a:ext>
            </a:extLst>
          </p:cNvPr>
          <p:cNvSpPr>
            <a:spLocks noGrp="1"/>
          </p:cNvSpPr>
          <p:nvPr>
            <p:ph type="body" sz="quarter" idx="14" hasCustomPrompt="1"/>
          </p:nvPr>
        </p:nvSpPr>
        <p:spPr>
          <a:xfrm>
            <a:off x="4941988" y="296068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6" name="Text Placeholder 12">
            <a:extLst>
              <a:ext uri="{FF2B5EF4-FFF2-40B4-BE49-F238E27FC236}">
                <a16:creationId xmlns:a16="http://schemas.microsoft.com/office/drawing/2014/main" id="{E05CAB66-4649-1E49-8948-4B95A4DA20C6}"/>
              </a:ext>
            </a:extLst>
          </p:cNvPr>
          <p:cNvSpPr>
            <a:spLocks noGrp="1"/>
          </p:cNvSpPr>
          <p:nvPr>
            <p:ph type="body" sz="quarter" idx="15" hasCustomPrompt="1"/>
          </p:nvPr>
        </p:nvSpPr>
        <p:spPr>
          <a:xfrm>
            <a:off x="8688388" y="296068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7" name="Text Placeholder 12">
            <a:extLst>
              <a:ext uri="{FF2B5EF4-FFF2-40B4-BE49-F238E27FC236}">
                <a16:creationId xmlns:a16="http://schemas.microsoft.com/office/drawing/2014/main" id="{42F89A67-E82E-F843-9DEB-23D191BCA6DA}"/>
              </a:ext>
            </a:extLst>
          </p:cNvPr>
          <p:cNvSpPr>
            <a:spLocks noGrp="1"/>
          </p:cNvSpPr>
          <p:nvPr>
            <p:ph type="body" sz="quarter" idx="16" hasCustomPrompt="1"/>
          </p:nvPr>
        </p:nvSpPr>
        <p:spPr>
          <a:xfrm>
            <a:off x="4941988" y="4545013"/>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8" name="Text Placeholder 12">
            <a:extLst>
              <a:ext uri="{FF2B5EF4-FFF2-40B4-BE49-F238E27FC236}">
                <a16:creationId xmlns:a16="http://schemas.microsoft.com/office/drawing/2014/main" id="{0B8598BC-5AC5-AD4D-A8E2-20CD9CD176BF}"/>
              </a:ext>
            </a:extLst>
          </p:cNvPr>
          <p:cNvSpPr>
            <a:spLocks noGrp="1"/>
          </p:cNvSpPr>
          <p:nvPr>
            <p:ph type="body" sz="quarter" idx="17" hasCustomPrompt="1"/>
          </p:nvPr>
        </p:nvSpPr>
        <p:spPr>
          <a:xfrm>
            <a:off x="8688388" y="4545013"/>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Tree>
    <p:extLst>
      <p:ext uri="{BB962C8B-B14F-4D97-AF65-F5344CB8AC3E}">
        <p14:creationId xmlns:p14="http://schemas.microsoft.com/office/powerpoint/2010/main" val="177838407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30" pos="2376">
          <p15:clr>
            <a:srgbClr val="5ACBF0"/>
          </p15:clr>
        </p15:guide>
        <p15:guide id="31" pos="3113">
          <p15:clr>
            <a:srgbClr val="5ACBF0"/>
          </p15:clr>
        </p15:guide>
        <p15:guide id="32" pos="5473">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Title and text side by side multi column 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accent3"/>
                </a:solidFill>
              </a:defRPr>
            </a:lvl1pPr>
          </a:lstStyle>
          <a:p>
            <a:r>
              <a:rPr lang="en-US"/>
              <a:t>Resources</a:t>
            </a:r>
          </a:p>
        </p:txBody>
      </p: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9" name="Text Placeholder 4">
            <a:extLst>
              <a:ext uri="{FF2B5EF4-FFF2-40B4-BE49-F238E27FC236}">
                <a16:creationId xmlns:a16="http://schemas.microsoft.com/office/drawing/2014/main" id="{8F144F22-0BD6-9648-A319-DDB697CF396B}"/>
              </a:ext>
            </a:extLst>
          </p:cNvPr>
          <p:cNvSpPr>
            <a:spLocks noGrp="1"/>
          </p:cNvSpPr>
          <p:nvPr>
            <p:ph type="body" sz="quarter" idx="12" hasCustomPrompt="1"/>
          </p:nvPr>
        </p:nvSpPr>
        <p:spPr>
          <a:xfrm>
            <a:off x="8688289" y="718472"/>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0" name="Text Placeholder 7">
            <a:extLst>
              <a:ext uri="{FF2B5EF4-FFF2-40B4-BE49-F238E27FC236}">
                <a16:creationId xmlns:a16="http://schemas.microsoft.com/office/drawing/2014/main" id="{5CF58F7B-2211-6646-985A-CAD949B1B5E7}"/>
              </a:ext>
            </a:extLst>
          </p:cNvPr>
          <p:cNvSpPr>
            <a:spLocks noGrp="1"/>
          </p:cNvSpPr>
          <p:nvPr>
            <p:ph type="body" sz="quarter" idx="13" hasCustomPrompt="1"/>
          </p:nvPr>
        </p:nvSpPr>
        <p:spPr>
          <a:xfrm>
            <a:off x="8688288" y="1346405"/>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1" name="Text Placeholder 4">
            <a:extLst>
              <a:ext uri="{FF2B5EF4-FFF2-40B4-BE49-F238E27FC236}">
                <a16:creationId xmlns:a16="http://schemas.microsoft.com/office/drawing/2014/main" id="{405EE505-078A-9D4D-AB44-E74DDB284FDF}"/>
              </a:ext>
            </a:extLst>
          </p:cNvPr>
          <p:cNvSpPr>
            <a:spLocks noGrp="1"/>
          </p:cNvSpPr>
          <p:nvPr>
            <p:ph type="body" sz="quarter" idx="14" hasCustomPrompt="1"/>
          </p:nvPr>
        </p:nvSpPr>
        <p:spPr>
          <a:xfrm>
            <a:off x="4943872" y="718472"/>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2" name="Text Placeholder 7">
            <a:extLst>
              <a:ext uri="{FF2B5EF4-FFF2-40B4-BE49-F238E27FC236}">
                <a16:creationId xmlns:a16="http://schemas.microsoft.com/office/drawing/2014/main" id="{C8C6E084-6AAE-1F47-A359-962769636923}"/>
              </a:ext>
            </a:extLst>
          </p:cNvPr>
          <p:cNvSpPr>
            <a:spLocks noGrp="1"/>
          </p:cNvSpPr>
          <p:nvPr>
            <p:ph type="body" sz="quarter" idx="15" hasCustomPrompt="1"/>
          </p:nvPr>
        </p:nvSpPr>
        <p:spPr>
          <a:xfrm>
            <a:off x="4943871" y="1346405"/>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3" name="Text Placeholder 4">
            <a:extLst>
              <a:ext uri="{FF2B5EF4-FFF2-40B4-BE49-F238E27FC236}">
                <a16:creationId xmlns:a16="http://schemas.microsoft.com/office/drawing/2014/main" id="{1028C337-4BBC-0847-9E7B-072AA5006B67}"/>
              </a:ext>
            </a:extLst>
          </p:cNvPr>
          <p:cNvSpPr>
            <a:spLocks noGrp="1"/>
          </p:cNvSpPr>
          <p:nvPr>
            <p:ph type="body" sz="quarter" idx="16" hasCustomPrompt="1"/>
          </p:nvPr>
        </p:nvSpPr>
        <p:spPr>
          <a:xfrm>
            <a:off x="8688388" y="2528888"/>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4" name="Text Placeholder 7">
            <a:extLst>
              <a:ext uri="{FF2B5EF4-FFF2-40B4-BE49-F238E27FC236}">
                <a16:creationId xmlns:a16="http://schemas.microsoft.com/office/drawing/2014/main" id="{3CA908C0-CC26-994C-BCBB-16677F403D53}"/>
              </a:ext>
            </a:extLst>
          </p:cNvPr>
          <p:cNvSpPr>
            <a:spLocks noGrp="1"/>
          </p:cNvSpPr>
          <p:nvPr>
            <p:ph type="body" sz="quarter" idx="17" hasCustomPrompt="1"/>
          </p:nvPr>
        </p:nvSpPr>
        <p:spPr>
          <a:xfrm>
            <a:off x="8688387" y="3156821"/>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5" name="Text Placeholder 4">
            <a:extLst>
              <a:ext uri="{FF2B5EF4-FFF2-40B4-BE49-F238E27FC236}">
                <a16:creationId xmlns:a16="http://schemas.microsoft.com/office/drawing/2014/main" id="{2DF3FE50-082A-0948-BD94-1E474F8B6650}"/>
              </a:ext>
            </a:extLst>
          </p:cNvPr>
          <p:cNvSpPr>
            <a:spLocks noGrp="1"/>
          </p:cNvSpPr>
          <p:nvPr>
            <p:ph type="body" sz="quarter" idx="18" hasCustomPrompt="1"/>
          </p:nvPr>
        </p:nvSpPr>
        <p:spPr>
          <a:xfrm>
            <a:off x="4943971" y="2528888"/>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6" name="Text Placeholder 7">
            <a:extLst>
              <a:ext uri="{FF2B5EF4-FFF2-40B4-BE49-F238E27FC236}">
                <a16:creationId xmlns:a16="http://schemas.microsoft.com/office/drawing/2014/main" id="{51B46850-7DCD-C045-8688-B3173EA7128A}"/>
              </a:ext>
            </a:extLst>
          </p:cNvPr>
          <p:cNvSpPr>
            <a:spLocks noGrp="1"/>
          </p:cNvSpPr>
          <p:nvPr>
            <p:ph type="body" sz="quarter" idx="19" hasCustomPrompt="1"/>
          </p:nvPr>
        </p:nvSpPr>
        <p:spPr>
          <a:xfrm>
            <a:off x="4943970" y="3156821"/>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7" name="Text Placeholder 4">
            <a:extLst>
              <a:ext uri="{FF2B5EF4-FFF2-40B4-BE49-F238E27FC236}">
                <a16:creationId xmlns:a16="http://schemas.microsoft.com/office/drawing/2014/main" id="{2281B86D-86C4-EF4D-8E51-FA06DC5C129C}"/>
              </a:ext>
            </a:extLst>
          </p:cNvPr>
          <p:cNvSpPr>
            <a:spLocks noGrp="1"/>
          </p:cNvSpPr>
          <p:nvPr>
            <p:ph type="body" sz="quarter" idx="20" hasCustomPrompt="1"/>
          </p:nvPr>
        </p:nvSpPr>
        <p:spPr>
          <a:xfrm>
            <a:off x="8688388" y="4508500"/>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8" name="Text Placeholder 7">
            <a:extLst>
              <a:ext uri="{FF2B5EF4-FFF2-40B4-BE49-F238E27FC236}">
                <a16:creationId xmlns:a16="http://schemas.microsoft.com/office/drawing/2014/main" id="{CD7C6A60-8B27-F941-BE59-3393319E04A8}"/>
              </a:ext>
            </a:extLst>
          </p:cNvPr>
          <p:cNvSpPr>
            <a:spLocks noGrp="1"/>
          </p:cNvSpPr>
          <p:nvPr>
            <p:ph type="body" sz="quarter" idx="21" hasCustomPrompt="1"/>
          </p:nvPr>
        </p:nvSpPr>
        <p:spPr>
          <a:xfrm>
            <a:off x="8688387" y="5136433"/>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9" name="Text Placeholder 4">
            <a:extLst>
              <a:ext uri="{FF2B5EF4-FFF2-40B4-BE49-F238E27FC236}">
                <a16:creationId xmlns:a16="http://schemas.microsoft.com/office/drawing/2014/main" id="{65525191-F6B4-544C-B681-5D4D7614A715}"/>
              </a:ext>
            </a:extLst>
          </p:cNvPr>
          <p:cNvSpPr>
            <a:spLocks noGrp="1"/>
          </p:cNvSpPr>
          <p:nvPr>
            <p:ph type="body" sz="quarter" idx="22" hasCustomPrompt="1"/>
          </p:nvPr>
        </p:nvSpPr>
        <p:spPr>
          <a:xfrm>
            <a:off x="4943971" y="4508500"/>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40" name="Text Placeholder 7">
            <a:extLst>
              <a:ext uri="{FF2B5EF4-FFF2-40B4-BE49-F238E27FC236}">
                <a16:creationId xmlns:a16="http://schemas.microsoft.com/office/drawing/2014/main" id="{382BF458-E658-2448-A63F-544B4E757619}"/>
              </a:ext>
            </a:extLst>
          </p:cNvPr>
          <p:cNvSpPr>
            <a:spLocks noGrp="1"/>
          </p:cNvSpPr>
          <p:nvPr>
            <p:ph type="body" sz="quarter" idx="23" hasCustomPrompt="1"/>
          </p:nvPr>
        </p:nvSpPr>
        <p:spPr>
          <a:xfrm>
            <a:off x="4943970" y="5136433"/>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Tree>
    <p:extLst>
      <p:ext uri="{BB962C8B-B14F-4D97-AF65-F5344CB8AC3E}">
        <p14:creationId xmlns:p14="http://schemas.microsoft.com/office/powerpoint/2010/main" val="257633553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30" pos="2376">
          <p15:clr>
            <a:srgbClr val="5ACBF0"/>
          </p15:clr>
        </p15:guide>
        <p15:guide id="31" pos="3113">
          <p15:clr>
            <a:srgbClr val="5ACBF0"/>
          </p15:clr>
        </p15:guide>
        <p15:guide id="32" pos="5473">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2_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75747"/>
          </a:xfrm>
        </p:spPr>
        <p:txBody>
          <a:bodyPr anchor="t">
            <a:noAutofit/>
          </a:bodyPr>
          <a:lstStyle>
            <a:lvl1pPr>
              <a:defRPr>
                <a:solidFill>
                  <a:schemeClr val="accent3"/>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hasCustomPrompt="1"/>
          </p:nvPr>
        </p:nvSpPr>
        <p:spPr>
          <a:xfrm>
            <a:off x="584200" y="1286005"/>
            <a:ext cx="3187700" cy="4983033"/>
          </a:xfrm>
        </p:spPr>
        <p:txBody>
          <a:bodyPr anchor="t">
            <a:noAutofit/>
          </a:bodyPr>
          <a:lstStyle>
            <a:lvl1pPr marL="0" indent="0">
              <a:spcAft>
                <a:spcPts val="600"/>
              </a:spcAft>
              <a:buFont typeface="Wingdings" panose="05000000000000000000" pitchFamily="2" charset="2"/>
              <a:buNone/>
              <a:defRPr sz="2000">
                <a:solidFill>
                  <a:schemeClr val="bg1"/>
                </a:solidFill>
              </a:defRPr>
            </a:lvl1pPr>
          </a:lstStyle>
          <a:p>
            <a:pPr lvl="0"/>
            <a:r>
              <a:rPr lang="en-US"/>
              <a:t>Subtitle</a:t>
            </a:r>
          </a:p>
        </p:txBody>
      </p: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4091995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1_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p:nvSpPr>
        <p:spPr bwMode="auto">
          <a:xfrm>
            <a:off x="783590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4200" y="585788"/>
            <a:ext cx="6088063" cy="608698"/>
          </a:xfrm>
        </p:spPr>
        <p:txBody>
          <a:bodyPr anchor="t">
            <a:noAutofit/>
          </a:bodyPr>
          <a:lstStyle>
            <a:lvl1pPr>
              <a:defRPr>
                <a:solidFill>
                  <a:schemeClr val="tx2"/>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8361404" y="585788"/>
            <a:ext cx="3247983" cy="5683249"/>
          </a:xfrm>
        </p:spPr>
        <p:txBody>
          <a:bodyPr anchor="t">
            <a:noAutofit/>
          </a:bodyPr>
          <a:lstStyle>
            <a:lvl1pPr marL="0" indent="0">
              <a:spcAft>
                <a:spcPts val="600"/>
              </a:spcAft>
              <a:buFont typeface="Wingdings" panose="05000000000000000000" pitchFamily="2" charset="2"/>
              <a:buNone/>
              <a:defRPr sz="2000">
                <a:solidFill>
                  <a:schemeClr val="bg1"/>
                </a:solidFill>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2">
            <a:extLst>
              <a:ext uri="{FF2B5EF4-FFF2-40B4-BE49-F238E27FC236}">
                <a16:creationId xmlns:a16="http://schemas.microsoft.com/office/drawing/2014/main" id="{731C9FF9-0EE9-A946-8C26-107C9EB0E78C}"/>
              </a:ext>
            </a:extLst>
          </p:cNvPr>
          <p:cNvSpPr>
            <a:spLocks noGrp="1"/>
          </p:cNvSpPr>
          <p:nvPr>
            <p:ph type="body" sz="quarter" idx="12"/>
          </p:nvPr>
        </p:nvSpPr>
        <p:spPr>
          <a:xfrm>
            <a:off x="584200" y="1196752"/>
            <a:ext cx="6088063" cy="2232247"/>
          </a:xfrm>
        </p:spPr>
        <p:txBody>
          <a:bodyPr anchor="t">
            <a:noAutofit/>
          </a:bodyPr>
          <a:lstStyle>
            <a:lvl1pPr marL="0" indent="0">
              <a:spcAft>
                <a:spcPts val="600"/>
              </a:spcAft>
              <a:buFont typeface="Wingdings" panose="05000000000000000000" pitchFamily="2" charset="2"/>
              <a:buNone/>
              <a:defRPr sz="200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3421750847"/>
      </p:ext>
    </p:extLst>
  </p:cSld>
  <p:clrMapOvr>
    <a:masterClrMapping/>
  </p:clrMapOvr>
  <p:transition>
    <p:fade/>
  </p:transition>
  <p:extLst>
    <p:ext uri="{DCECCB84-F9BA-43D5-87BE-67443E8EF086}">
      <p15:sldGuideLst xmlns:p15="http://schemas.microsoft.com/office/powerpoint/2012/main">
        <p15:guide id="13" pos="4929">
          <p15:clr>
            <a:srgbClr val="5ACBF0"/>
          </p15:clr>
        </p15:guide>
        <p15:guide id="29" orient="horz" pos="2160">
          <p15:clr>
            <a:srgbClr val="5ACBF0"/>
          </p15:clr>
        </p15:guide>
        <p15:guide id="30" pos="4566">
          <p15:clr>
            <a:srgbClr val="5ACBF0"/>
          </p15:clr>
        </p15:guide>
        <p15:guide id="31" pos="4203">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Title and text side by side 4">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noAutofit/>
          </a:bodyPr>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noAutofit/>
          </a:bodyPr>
          <a:lstStyle>
            <a:lvl1pPr marL="0" indent="0">
              <a:spcAft>
                <a:spcPts val="600"/>
              </a:spcAft>
              <a:buFont typeface="Wingdings" panose="05000000000000000000" pitchFamily="2" charset="2"/>
              <a:buNone/>
              <a:defRPr>
                <a:solidFill>
                  <a:schemeClr val="tx1"/>
                </a:soli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8012481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Large Number Divider 1">
    <p:bg>
      <p:bgRef idx="1001">
        <a:schemeClr val="bg2"/>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hasCustomPrompt="1"/>
          </p:nvPr>
        </p:nvSpPr>
        <p:spPr>
          <a:xfrm>
            <a:off x="4941888" y="585788"/>
            <a:ext cx="6667500" cy="690119"/>
          </a:xfrm>
        </p:spPr>
        <p:txBody>
          <a:bodyPr anchor="t">
            <a:noAutofit/>
          </a:bodyPr>
          <a:lstStyle>
            <a:lvl1pPr marL="0" indent="0">
              <a:spcAft>
                <a:spcPts val="600"/>
              </a:spcAft>
              <a:buFont typeface="Wingdings" panose="05000000000000000000" pitchFamily="2" charset="2"/>
              <a:buNone/>
              <a:defRPr sz="3600">
                <a:solidFill>
                  <a:schemeClr val="tx1"/>
                </a:solidFill>
                <a:latin typeface="+mj-lt"/>
              </a:defRPr>
            </a:lvl1pPr>
          </a:lstStyle>
          <a:p>
            <a:pPr lvl="0"/>
            <a:r>
              <a:rPr lang="en-US"/>
              <a:t>Section title</a:t>
            </a:r>
          </a:p>
        </p:txBody>
      </p: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p:nvSpPr>
        <p:spPr>
          <a:xfrm>
            <a:off x="0" y="680485"/>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1</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Tree>
    <p:extLst>
      <p:ext uri="{BB962C8B-B14F-4D97-AF65-F5344CB8AC3E}">
        <p14:creationId xmlns:p14="http://schemas.microsoft.com/office/powerpoint/2010/main" val="19070157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1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p:nvSpPr>
        <p:spPr>
          <a:xfrm>
            <a:off x="0" y="680483"/>
            <a:ext cx="4356100" cy="6177517"/>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2</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E8663993-2CF4-0843-9834-2078442DBA71}"/>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2294566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2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p:nvSpPr>
        <p:spPr>
          <a:xfrm>
            <a:off x="0" y="680484"/>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3</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25F75097-07A2-DA4F-AFC5-71B04739FCB0}"/>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53751934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Only - left side  - gradient">
    <p:bg>
      <p:bgPr>
        <a:gradFill>
          <a:gsLst>
            <a:gs pos="0">
              <a:schemeClr val="bg1"/>
            </a:gs>
            <a:gs pos="100000">
              <a:schemeClr val="bg1">
                <a:lumMod val="85000"/>
                <a:alpha val="50000"/>
              </a:schemeClr>
            </a:gs>
          </a:gsLst>
          <a:lin ang="1890000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428162674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3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p:nvSpPr>
        <p:spPr>
          <a:xfrm>
            <a:off x="0" y="680484"/>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4</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96CEF9B0-0F7A-414C-9382-56532822A960}"/>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50207832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4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p:nvSpPr>
        <p:spPr>
          <a:xfrm>
            <a:off x="0" y="680484"/>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5</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0B03ADF2-CBA0-AB48-AC2A-77EAF2C81AA2}"/>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1695750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Section Divider with sub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3"/>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Tree>
    <p:extLst>
      <p:ext uri="{BB962C8B-B14F-4D97-AF65-F5344CB8AC3E}">
        <p14:creationId xmlns:p14="http://schemas.microsoft.com/office/powerpoint/2010/main" val="33710917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Section description">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93204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description</a:t>
            </a:r>
          </a:p>
        </p:txBody>
      </p:sp>
      <p:sp>
        <p:nvSpPr>
          <p:cNvPr id="5" name="Text Placeholder 4"/>
          <p:cNvSpPr>
            <a:spLocks noGrp="1"/>
          </p:cNvSpPr>
          <p:nvPr>
            <p:ph type="body" sz="quarter" idx="12" hasCustomPrompt="1"/>
          </p:nvPr>
        </p:nvSpPr>
        <p:spPr>
          <a:xfrm>
            <a:off x="585216" y="585788"/>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accent3"/>
                </a:solidFill>
                <a:latin typeface="+mn-lt"/>
              </a:defRPr>
            </a:lvl1pPr>
          </a:lstStyle>
          <a:p>
            <a:pPr lvl="0"/>
            <a:r>
              <a:rPr lang="en-US"/>
              <a:t>Section Name</a:t>
            </a:r>
          </a:p>
        </p:txBody>
      </p:sp>
    </p:spTree>
    <p:extLst>
      <p:ext uri="{BB962C8B-B14F-4D97-AF65-F5344CB8AC3E}">
        <p14:creationId xmlns:p14="http://schemas.microsoft.com/office/powerpoint/2010/main" val="38585635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Section Title 1">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154FDAE-47E2-93DC-8292-8080776DEE64}"/>
              </a:ext>
            </a:extLst>
          </p:cNvPr>
          <p:cNvSpPr/>
          <p:nvPr userDrawn="1"/>
        </p:nvSpPr>
        <p:spPr bwMode="auto">
          <a:xfrm>
            <a:off x="0" y="0"/>
            <a:ext cx="12192000" cy="6858000"/>
          </a:xfrm>
          <a:prstGeom prst="rect">
            <a:avLst/>
          </a:prstGeom>
          <a:gradFill>
            <a:gsLst>
              <a:gs pos="0">
                <a:srgbClr val="243A5E">
                  <a:lumMod val="75000"/>
                </a:srgbClr>
              </a:gs>
              <a:gs pos="85000">
                <a:srgbClr val="243A5E">
                  <a:lumMod val="50000"/>
                </a:srgbClr>
              </a:gs>
            </a:gsLst>
            <a:lin ang="0" scaled="1"/>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6" name="Picture 5" descr="A picture containing sky">
            <a:extLst>
              <a:ext uri="{FF2B5EF4-FFF2-40B4-BE49-F238E27FC236}">
                <a16:creationId xmlns:a16="http://schemas.microsoft.com/office/drawing/2014/main" id="{58775B5B-6984-C85A-D4CF-1FABBED17FB4}"/>
              </a:ext>
            </a:extLst>
          </p:cNvPr>
          <p:cNvPicPr>
            <a:picLocks noChangeAspect="1"/>
          </p:cNvPicPr>
          <p:nvPr userDrawn="1"/>
        </p:nvPicPr>
        <p:blipFill rotWithShape="1">
          <a:blip r:embed="rId2">
            <a:duotone>
              <a:prstClr val="black"/>
              <a:schemeClr val="accent1">
                <a:tint val="45000"/>
                <a:satMod val="400000"/>
              </a:schemeClr>
            </a:duotone>
            <a:alphaModFix amt="5000"/>
          </a:blip>
          <a:srcRect b="6250"/>
          <a:stretch/>
        </p:blipFill>
        <p:spPr>
          <a:xfrm>
            <a:off x="0" y="0"/>
            <a:ext cx="12192000" cy="6858000"/>
          </a:xfrm>
          <a:prstGeom prst="rect">
            <a:avLst/>
          </a:prstGeom>
        </p:spPr>
      </p:pic>
      <p:sp>
        <p:nvSpPr>
          <p:cNvPr id="67" name="Freeform: Shape 66">
            <a:extLst>
              <a:ext uri="{FF2B5EF4-FFF2-40B4-BE49-F238E27FC236}">
                <a16:creationId xmlns:a16="http://schemas.microsoft.com/office/drawing/2014/main" id="{7678BB6C-04DA-85AE-96A1-2BD5102D5CAA}"/>
              </a:ext>
            </a:extLst>
          </p:cNvPr>
          <p:cNvSpPr/>
          <p:nvPr/>
        </p:nvSpPr>
        <p:spPr>
          <a:xfrm>
            <a:off x="8688808" y="519827"/>
            <a:ext cx="3503192" cy="5818346"/>
          </a:xfrm>
          <a:custGeom>
            <a:avLst/>
            <a:gdLst>
              <a:gd name="connsiteX0" fmla="*/ 2873824 w 3503192"/>
              <a:gd name="connsiteY0" fmla="*/ 5801993 h 5818346"/>
              <a:gd name="connsiteX1" fmla="*/ 2881917 w 3503192"/>
              <a:gd name="connsiteY1" fmla="*/ 5809922 h 5818346"/>
              <a:gd name="connsiteX2" fmla="*/ 2873824 w 3503192"/>
              <a:gd name="connsiteY2" fmla="*/ 5817850 h 5818346"/>
              <a:gd name="connsiteX3" fmla="*/ 2865895 w 3503192"/>
              <a:gd name="connsiteY3" fmla="*/ 5809922 h 5818346"/>
              <a:gd name="connsiteX4" fmla="*/ 2873824 w 3503192"/>
              <a:gd name="connsiteY4" fmla="*/ 5801993 h 5818346"/>
              <a:gd name="connsiteX5" fmla="*/ 2807090 w 3503192"/>
              <a:gd name="connsiteY5" fmla="*/ 5801334 h 5818346"/>
              <a:gd name="connsiteX6" fmla="*/ 2814523 w 3503192"/>
              <a:gd name="connsiteY6" fmla="*/ 5808767 h 5818346"/>
              <a:gd name="connsiteX7" fmla="*/ 2807090 w 3503192"/>
              <a:gd name="connsiteY7" fmla="*/ 5816199 h 5818346"/>
              <a:gd name="connsiteX8" fmla="*/ 2799658 w 3503192"/>
              <a:gd name="connsiteY8" fmla="*/ 5808767 h 5818346"/>
              <a:gd name="connsiteX9" fmla="*/ 2807090 w 3503192"/>
              <a:gd name="connsiteY9" fmla="*/ 5801334 h 5818346"/>
              <a:gd name="connsiteX10" fmla="*/ 2940557 w 3503192"/>
              <a:gd name="connsiteY10" fmla="*/ 5800838 h 5818346"/>
              <a:gd name="connsiteX11" fmla="*/ 2949311 w 3503192"/>
              <a:gd name="connsiteY11" fmla="*/ 5809592 h 5818346"/>
              <a:gd name="connsiteX12" fmla="*/ 2940557 w 3503192"/>
              <a:gd name="connsiteY12" fmla="*/ 5818346 h 5818346"/>
              <a:gd name="connsiteX13" fmla="*/ 2931802 w 3503192"/>
              <a:gd name="connsiteY13" fmla="*/ 5809592 h 5818346"/>
              <a:gd name="connsiteX14" fmla="*/ 2940557 w 3503192"/>
              <a:gd name="connsiteY14" fmla="*/ 5800838 h 5818346"/>
              <a:gd name="connsiteX15" fmla="*/ 2740524 w 3503192"/>
              <a:gd name="connsiteY15" fmla="*/ 5800177 h 5818346"/>
              <a:gd name="connsiteX16" fmla="*/ 2746964 w 3503192"/>
              <a:gd name="connsiteY16" fmla="*/ 5806620 h 5818346"/>
              <a:gd name="connsiteX17" fmla="*/ 2740524 w 3503192"/>
              <a:gd name="connsiteY17" fmla="*/ 5813060 h 5818346"/>
              <a:gd name="connsiteX18" fmla="*/ 2734081 w 3503192"/>
              <a:gd name="connsiteY18" fmla="*/ 5806620 h 5818346"/>
              <a:gd name="connsiteX19" fmla="*/ 2740524 w 3503192"/>
              <a:gd name="connsiteY19" fmla="*/ 5800177 h 5818346"/>
              <a:gd name="connsiteX20" fmla="*/ 3007125 w 3503192"/>
              <a:gd name="connsiteY20" fmla="*/ 5799185 h 5818346"/>
              <a:gd name="connsiteX21" fmla="*/ 3015881 w 3503192"/>
              <a:gd name="connsiteY21" fmla="*/ 5807939 h 5818346"/>
              <a:gd name="connsiteX22" fmla="*/ 3007125 w 3503192"/>
              <a:gd name="connsiteY22" fmla="*/ 5816695 h 5818346"/>
              <a:gd name="connsiteX23" fmla="*/ 2998371 w 3503192"/>
              <a:gd name="connsiteY23" fmla="*/ 5807939 h 5818346"/>
              <a:gd name="connsiteX24" fmla="*/ 3007125 w 3503192"/>
              <a:gd name="connsiteY24" fmla="*/ 5799185 h 5818346"/>
              <a:gd name="connsiteX25" fmla="*/ 2674120 w 3503192"/>
              <a:gd name="connsiteY25" fmla="*/ 5798195 h 5818346"/>
              <a:gd name="connsiteX26" fmla="*/ 2679239 w 3503192"/>
              <a:gd name="connsiteY26" fmla="*/ 5803316 h 5818346"/>
              <a:gd name="connsiteX27" fmla="*/ 2674120 w 3503192"/>
              <a:gd name="connsiteY27" fmla="*/ 5808435 h 5818346"/>
              <a:gd name="connsiteX28" fmla="*/ 2668999 w 3503192"/>
              <a:gd name="connsiteY28" fmla="*/ 5803316 h 5818346"/>
              <a:gd name="connsiteX29" fmla="*/ 2674120 w 3503192"/>
              <a:gd name="connsiteY29" fmla="*/ 5798195 h 5818346"/>
              <a:gd name="connsiteX30" fmla="*/ 3073692 w 3503192"/>
              <a:gd name="connsiteY30" fmla="*/ 5796213 h 5818346"/>
              <a:gd name="connsiteX31" fmla="*/ 3082448 w 3503192"/>
              <a:gd name="connsiteY31" fmla="*/ 5804967 h 5818346"/>
              <a:gd name="connsiteX32" fmla="*/ 3073692 w 3503192"/>
              <a:gd name="connsiteY32" fmla="*/ 5813723 h 5818346"/>
              <a:gd name="connsiteX33" fmla="*/ 3064938 w 3503192"/>
              <a:gd name="connsiteY33" fmla="*/ 5804967 h 5818346"/>
              <a:gd name="connsiteX34" fmla="*/ 3073692 w 3503192"/>
              <a:gd name="connsiteY34" fmla="*/ 5796213 h 5818346"/>
              <a:gd name="connsiteX35" fmla="*/ 2608046 w 3503192"/>
              <a:gd name="connsiteY35" fmla="*/ 5794891 h 5818346"/>
              <a:gd name="connsiteX36" fmla="*/ 2611680 w 3503192"/>
              <a:gd name="connsiteY36" fmla="*/ 5798524 h 5818346"/>
              <a:gd name="connsiteX37" fmla="*/ 2608046 w 3503192"/>
              <a:gd name="connsiteY37" fmla="*/ 5802159 h 5818346"/>
              <a:gd name="connsiteX38" fmla="*/ 2604412 w 3503192"/>
              <a:gd name="connsiteY38" fmla="*/ 5798524 h 5818346"/>
              <a:gd name="connsiteX39" fmla="*/ 2608046 w 3503192"/>
              <a:gd name="connsiteY39" fmla="*/ 5794891 h 5818346"/>
              <a:gd name="connsiteX40" fmla="*/ 3139929 w 3503192"/>
              <a:gd name="connsiteY40" fmla="*/ 5792084 h 5818346"/>
              <a:gd name="connsiteX41" fmla="*/ 3148684 w 3503192"/>
              <a:gd name="connsiteY41" fmla="*/ 5800838 h 5818346"/>
              <a:gd name="connsiteX42" fmla="*/ 3139929 w 3503192"/>
              <a:gd name="connsiteY42" fmla="*/ 5809592 h 5818346"/>
              <a:gd name="connsiteX43" fmla="*/ 3131175 w 3503192"/>
              <a:gd name="connsiteY43" fmla="*/ 5800838 h 5818346"/>
              <a:gd name="connsiteX44" fmla="*/ 3139929 w 3503192"/>
              <a:gd name="connsiteY44" fmla="*/ 5792084 h 5818346"/>
              <a:gd name="connsiteX45" fmla="*/ 2542304 w 3503192"/>
              <a:gd name="connsiteY45" fmla="*/ 5790596 h 5818346"/>
              <a:gd name="connsiteX46" fmla="*/ 2544286 w 3503192"/>
              <a:gd name="connsiteY46" fmla="*/ 5792578 h 5818346"/>
              <a:gd name="connsiteX47" fmla="*/ 2542304 w 3503192"/>
              <a:gd name="connsiteY47" fmla="*/ 5794560 h 5818346"/>
              <a:gd name="connsiteX48" fmla="*/ 2540322 w 3503192"/>
              <a:gd name="connsiteY48" fmla="*/ 5792578 h 5818346"/>
              <a:gd name="connsiteX49" fmla="*/ 2542304 w 3503192"/>
              <a:gd name="connsiteY49" fmla="*/ 5790596 h 5818346"/>
              <a:gd name="connsiteX50" fmla="*/ 3205839 w 3503192"/>
              <a:gd name="connsiteY50" fmla="*/ 5787457 h 5818346"/>
              <a:gd name="connsiteX51" fmla="*/ 3213768 w 3503192"/>
              <a:gd name="connsiteY51" fmla="*/ 5795386 h 5818346"/>
              <a:gd name="connsiteX52" fmla="*/ 3205839 w 3503192"/>
              <a:gd name="connsiteY52" fmla="*/ 5803314 h 5818346"/>
              <a:gd name="connsiteX53" fmla="*/ 3197910 w 3503192"/>
              <a:gd name="connsiteY53" fmla="*/ 5795386 h 5818346"/>
              <a:gd name="connsiteX54" fmla="*/ 3205839 w 3503192"/>
              <a:gd name="connsiteY54" fmla="*/ 5787457 h 5818346"/>
              <a:gd name="connsiteX55" fmla="*/ 2771576 w 3503192"/>
              <a:gd name="connsiteY55" fmla="*/ 5787292 h 5818346"/>
              <a:gd name="connsiteX56" fmla="*/ 2782314 w 3503192"/>
              <a:gd name="connsiteY56" fmla="*/ 5798029 h 5818346"/>
              <a:gd name="connsiteX57" fmla="*/ 2771576 w 3503192"/>
              <a:gd name="connsiteY57" fmla="*/ 5808765 h 5818346"/>
              <a:gd name="connsiteX58" fmla="*/ 2760840 w 3503192"/>
              <a:gd name="connsiteY58" fmla="*/ 5798029 h 5818346"/>
              <a:gd name="connsiteX59" fmla="*/ 2771576 w 3503192"/>
              <a:gd name="connsiteY59" fmla="*/ 5787292 h 5818346"/>
              <a:gd name="connsiteX60" fmla="*/ 3043465 w 3503192"/>
              <a:gd name="connsiteY60" fmla="*/ 5785806 h 5818346"/>
              <a:gd name="connsiteX61" fmla="*/ 3054202 w 3503192"/>
              <a:gd name="connsiteY61" fmla="*/ 5796542 h 5818346"/>
              <a:gd name="connsiteX62" fmla="*/ 3043465 w 3503192"/>
              <a:gd name="connsiteY62" fmla="*/ 5807279 h 5818346"/>
              <a:gd name="connsiteX63" fmla="*/ 3032729 w 3503192"/>
              <a:gd name="connsiteY63" fmla="*/ 5796542 h 5818346"/>
              <a:gd name="connsiteX64" fmla="*/ 3043465 w 3503192"/>
              <a:gd name="connsiteY64" fmla="*/ 5785806 h 5818346"/>
              <a:gd name="connsiteX65" fmla="*/ 2477059 w 3503192"/>
              <a:gd name="connsiteY65" fmla="*/ 5784980 h 5818346"/>
              <a:gd name="connsiteX66" fmla="*/ 2477388 w 3503192"/>
              <a:gd name="connsiteY66" fmla="*/ 5785312 h 5818346"/>
              <a:gd name="connsiteX67" fmla="*/ 2477059 w 3503192"/>
              <a:gd name="connsiteY67" fmla="*/ 5785641 h 5818346"/>
              <a:gd name="connsiteX68" fmla="*/ 2476728 w 3503192"/>
              <a:gd name="connsiteY68" fmla="*/ 5785312 h 5818346"/>
              <a:gd name="connsiteX69" fmla="*/ 2477059 w 3503192"/>
              <a:gd name="connsiteY69" fmla="*/ 5784980 h 5818346"/>
              <a:gd name="connsiteX70" fmla="*/ 2703686 w 3503192"/>
              <a:gd name="connsiteY70" fmla="*/ 5784155 h 5818346"/>
              <a:gd name="connsiteX71" fmla="*/ 2714424 w 3503192"/>
              <a:gd name="connsiteY71" fmla="*/ 5794891 h 5818346"/>
              <a:gd name="connsiteX72" fmla="*/ 2703686 w 3503192"/>
              <a:gd name="connsiteY72" fmla="*/ 5805628 h 5818346"/>
              <a:gd name="connsiteX73" fmla="*/ 2692950 w 3503192"/>
              <a:gd name="connsiteY73" fmla="*/ 5794891 h 5818346"/>
              <a:gd name="connsiteX74" fmla="*/ 2703686 w 3503192"/>
              <a:gd name="connsiteY74" fmla="*/ 5784155 h 5818346"/>
              <a:gd name="connsiteX75" fmla="*/ 3111024 w 3503192"/>
              <a:gd name="connsiteY75" fmla="*/ 5782006 h 5818346"/>
              <a:gd name="connsiteX76" fmla="*/ 3121762 w 3503192"/>
              <a:gd name="connsiteY76" fmla="*/ 5792743 h 5818346"/>
              <a:gd name="connsiteX77" fmla="*/ 3111024 w 3503192"/>
              <a:gd name="connsiteY77" fmla="*/ 5803479 h 5818346"/>
              <a:gd name="connsiteX78" fmla="*/ 3100288 w 3503192"/>
              <a:gd name="connsiteY78" fmla="*/ 5792743 h 5818346"/>
              <a:gd name="connsiteX79" fmla="*/ 3111024 w 3503192"/>
              <a:gd name="connsiteY79" fmla="*/ 5782006 h 5818346"/>
              <a:gd name="connsiteX80" fmla="*/ 3271249 w 3503192"/>
              <a:gd name="connsiteY80" fmla="*/ 5781346 h 5818346"/>
              <a:gd name="connsiteX81" fmla="*/ 3278683 w 3503192"/>
              <a:gd name="connsiteY81" fmla="*/ 5788778 h 5818346"/>
              <a:gd name="connsiteX82" fmla="*/ 3271249 w 3503192"/>
              <a:gd name="connsiteY82" fmla="*/ 5796213 h 5818346"/>
              <a:gd name="connsiteX83" fmla="*/ 3263816 w 3503192"/>
              <a:gd name="connsiteY83" fmla="*/ 5788778 h 5818346"/>
              <a:gd name="connsiteX84" fmla="*/ 3271249 w 3503192"/>
              <a:gd name="connsiteY84" fmla="*/ 5781346 h 5818346"/>
              <a:gd name="connsiteX85" fmla="*/ 2636127 w 3503192"/>
              <a:gd name="connsiteY85" fmla="*/ 5779695 h 5818346"/>
              <a:gd name="connsiteX86" fmla="*/ 2646865 w 3503192"/>
              <a:gd name="connsiteY86" fmla="*/ 5790431 h 5818346"/>
              <a:gd name="connsiteX87" fmla="*/ 2636127 w 3503192"/>
              <a:gd name="connsiteY87" fmla="*/ 5801167 h 5818346"/>
              <a:gd name="connsiteX88" fmla="*/ 2625391 w 3503192"/>
              <a:gd name="connsiteY88" fmla="*/ 5790431 h 5818346"/>
              <a:gd name="connsiteX89" fmla="*/ 2636127 w 3503192"/>
              <a:gd name="connsiteY89" fmla="*/ 5779695 h 5818346"/>
              <a:gd name="connsiteX90" fmla="*/ 3178418 w 3503192"/>
              <a:gd name="connsiteY90" fmla="*/ 5776887 h 5818346"/>
              <a:gd name="connsiteX91" fmla="*/ 3189156 w 3503192"/>
              <a:gd name="connsiteY91" fmla="*/ 5787623 h 5818346"/>
              <a:gd name="connsiteX92" fmla="*/ 3178418 w 3503192"/>
              <a:gd name="connsiteY92" fmla="*/ 5798360 h 5818346"/>
              <a:gd name="connsiteX93" fmla="*/ 3167682 w 3503192"/>
              <a:gd name="connsiteY93" fmla="*/ 5787623 h 5818346"/>
              <a:gd name="connsiteX94" fmla="*/ 3178418 w 3503192"/>
              <a:gd name="connsiteY94" fmla="*/ 5776887 h 5818346"/>
              <a:gd name="connsiteX95" fmla="*/ 2734410 w 3503192"/>
              <a:gd name="connsiteY95" fmla="*/ 5776887 h 5818346"/>
              <a:gd name="connsiteX96" fmla="*/ 2745148 w 3503192"/>
              <a:gd name="connsiteY96" fmla="*/ 5787623 h 5818346"/>
              <a:gd name="connsiteX97" fmla="*/ 2734410 w 3503192"/>
              <a:gd name="connsiteY97" fmla="*/ 5798360 h 5818346"/>
              <a:gd name="connsiteX98" fmla="*/ 2723674 w 3503192"/>
              <a:gd name="connsiteY98" fmla="*/ 5787623 h 5818346"/>
              <a:gd name="connsiteX99" fmla="*/ 2734410 w 3503192"/>
              <a:gd name="connsiteY99" fmla="*/ 5776887 h 5818346"/>
              <a:gd name="connsiteX100" fmla="*/ 3081126 w 3503192"/>
              <a:gd name="connsiteY100" fmla="*/ 5774905 h 5818346"/>
              <a:gd name="connsiteX101" fmla="*/ 3091863 w 3503192"/>
              <a:gd name="connsiteY101" fmla="*/ 5785641 h 5818346"/>
              <a:gd name="connsiteX102" fmla="*/ 3081126 w 3503192"/>
              <a:gd name="connsiteY102" fmla="*/ 5796378 h 5818346"/>
              <a:gd name="connsiteX103" fmla="*/ 3070390 w 3503192"/>
              <a:gd name="connsiteY103" fmla="*/ 5785641 h 5818346"/>
              <a:gd name="connsiteX104" fmla="*/ 3081126 w 3503192"/>
              <a:gd name="connsiteY104" fmla="*/ 5774905 h 5818346"/>
              <a:gd name="connsiteX105" fmla="*/ 3336331 w 3503192"/>
              <a:gd name="connsiteY105" fmla="*/ 5774574 h 5818346"/>
              <a:gd name="connsiteX106" fmla="*/ 3342772 w 3503192"/>
              <a:gd name="connsiteY106" fmla="*/ 5781016 h 5818346"/>
              <a:gd name="connsiteX107" fmla="*/ 3336331 w 3503192"/>
              <a:gd name="connsiteY107" fmla="*/ 5787457 h 5818346"/>
              <a:gd name="connsiteX108" fmla="*/ 3329888 w 3503192"/>
              <a:gd name="connsiteY108" fmla="*/ 5781016 h 5818346"/>
              <a:gd name="connsiteX109" fmla="*/ 3336331 w 3503192"/>
              <a:gd name="connsiteY109" fmla="*/ 5774574 h 5818346"/>
              <a:gd name="connsiteX110" fmla="*/ 2569064 w 3503192"/>
              <a:gd name="connsiteY110" fmla="*/ 5774078 h 5818346"/>
              <a:gd name="connsiteX111" fmla="*/ 2579801 w 3503192"/>
              <a:gd name="connsiteY111" fmla="*/ 5784814 h 5818346"/>
              <a:gd name="connsiteX112" fmla="*/ 2569064 w 3503192"/>
              <a:gd name="connsiteY112" fmla="*/ 5795552 h 5818346"/>
              <a:gd name="connsiteX113" fmla="*/ 2558328 w 3503192"/>
              <a:gd name="connsiteY113" fmla="*/ 5784814 h 5818346"/>
              <a:gd name="connsiteX114" fmla="*/ 2569064 w 3503192"/>
              <a:gd name="connsiteY114" fmla="*/ 5774078 h 5818346"/>
              <a:gd name="connsiteX115" fmla="*/ 2665364 w 3503192"/>
              <a:gd name="connsiteY115" fmla="*/ 5772923 h 5818346"/>
              <a:gd name="connsiteX116" fmla="*/ 2676100 w 3503192"/>
              <a:gd name="connsiteY116" fmla="*/ 5783659 h 5818346"/>
              <a:gd name="connsiteX117" fmla="*/ 2665364 w 3503192"/>
              <a:gd name="connsiteY117" fmla="*/ 5794395 h 5818346"/>
              <a:gd name="connsiteX118" fmla="*/ 2654628 w 3503192"/>
              <a:gd name="connsiteY118" fmla="*/ 5783659 h 5818346"/>
              <a:gd name="connsiteX119" fmla="*/ 2665364 w 3503192"/>
              <a:gd name="connsiteY119" fmla="*/ 5772923 h 5818346"/>
              <a:gd name="connsiteX120" fmla="*/ 3245480 w 3503192"/>
              <a:gd name="connsiteY120" fmla="*/ 5770445 h 5818346"/>
              <a:gd name="connsiteX121" fmla="*/ 3256218 w 3503192"/>
              <a:gd name="connsiteY121" fmla="*/ 5781181 h 5818346"/>
              <a:gd name="connsiteX122" fmla="*/ 3245480 w 3503192"/>
              <a:gd name="connsiteY122" fmla="*/ 5791919 h 5818346"/>
              <a:gd name="connsiteX123" fmla="*/ 3234744 w 3503192"/>
              <a:gd name="connsiteY123" fmla="*/ 5781181 h 5818346"/>
              <a:gd name="connsiteX124" fmla="*/ 3245480 w 3503192"/>
              <a:gd name="connsiteY124" fmla="*/ 5770445 h 5818346"/>
              <a:gd name="connsiteX125" fmla="*/ 3150171 w 3503192"/>
              <a:gd name="connsiteY125" fmla="*/ 5770113 h 5818346"/>
              <a:gd name="connsiteX126" fmla="*/ 3160910 w 3503192"/>
              <a:gd name="connsiteY126" fmla="*/ 5780850 h 5818346"/>
              <a:gd name="connsiteX127" fmla="*/ 3150171 w 3503192"/>
              <a:gd name="connsiteY127" fmla="*/ 5791586 h 5818346"/>
              <a:gd name="connsiteX128" fmla="*/ 3139435 w 3503192"/>
              <a:gd name="connsiteY128" fmla="*/ 5780850 h 5818346"/>
              <a:gd name="connsiteX129" fmla="*/ 3150171 w 3503192"/>
              <a:gd name="connsiteY129" fmla="*/ 5770113 h 5818346"/>
              <a:gd name="connsiteX130" fmla="*/ 2596648 w 3503192"/>
              <a:gd name="connsiteY130" fmla="*/ 5767470 h 5818346"/>
              <a:gd name="connsiteX131" fmla="*/ 2607386 w 3503192"/>
              <a:gd name="connsiteY131" fmla="*/ 5778207 h 5818346"/>
              <a:gd name="connsiteX132" fmla="*/ 2596648 w 3503192"/>
              <a:gd name="connsiteY132" fmla="*/ 5788945 h 5818346"/>
              <a:gd name="connsiteX133" fmla="*/ 2585912 w 3503192"/>
              <a:gd name="connsiteY133" fmla="*/ 5778207 h 5818346"/>
              <a:gd name="connsiteX134" fmla="*/ 2596648 w 3503192"/>
              <a:gd name="connsiteY134" fmla="*/ 5767470 h 5818346"/>
              <a:gd name="connsiteX135" fmla="*/ 3400753 w 3503192"/>
              <a:gd name="connsiteY135" fmla="*/ 5767141 h 5818346"/>
              <a:gd name="connsiteX136" fmla="*/ 3405874 w 3503192"/>
              <a:gd name="connsiteY136" fmla="*/ 5772262 h 5818346"/>
              <a:gd name="connsiteX137" fmla="*/ 3400753 w 3503192"/>
              <a:gd name="connsiteY137" fmla="*/ 5777383 h 5818346"/>
              <a:gd name="connsiteX138" fmla="*/ 3395632 w 3503192"/>
              <a:gd name="connsiteY138" fmla="*/ 5772262 h 5818346"/>
              <a:gd name="connsiteX139" fmla="*/ 3400753 w 3503192"/>
              <a:gd name="connsiteY139" fmla="*/ 5767141 h 5818346"/>
              <a:gd name="connsiteX140" fmla="*/ 2502331 w 3503192"/>
              <a:gd name="connsiteY140" fmla="*/ 5766976 h 5818346"/>
              <a:gd name="connsiteX141" fmla="*/ 2513068 w 3503192"/>
              <a:gd name="connsiteY141" fmla="*/ 5777713 h 5818346"/>
              <a:gd name="connsiteX142" fmla="*/ 2502331 w 3503192"/>
              <a:gd name="connsiteY142" fmla="*/ 5788449 h 5818346"/>
              <a:gd name="connsiteX143" fmla="*/ 2491595 w 3503192"/>
              <a:gd name="connsiteY143" fmla="*/ 5777713 h 5818346"/>
              <a:gd name="connsiteX144" fmla="*/ 2502331 w 3503192"/>
              <a:gd name="connsiteY144" fmla="*/ 5766976 h 5818346"/>
              <a:gd name="connsiteX145" fmla="*/ 2695757 w 3503192"/>
              <a:gd name="connsiteY145" fmla="*/ 5766974 h 5818346"/>
              <a:gd name="connsiteX146" fmla="*/ 2706495 w 3503192"/>
              <a:gd name="connsiteY146" fmla="*/ 5777711 h 5818346"/>
              <a:gd name="connsiteX147" fmla="*/ 2695757 w 3503192"/>
              <a:gd name="connsiteY147" fmla="*/ 5788449 h 5818346"/>
              <a:gd name="connsiteX148" fmla="*/ 2685021 w 3503192"/>
              <a:gd name="connsiteY148" fmla="*/ 5777711 h 5818346"/>
              <a:gd name="connsiteX149" fmla="*/ 2695757 w 3503192"/>
              <a:gd name="connsiteY149" fmla="*/ 5766974 h 5818346"/>
              <a:gd name="connsiteX150" fmla="*/ 3120604 w 3503192"/>
              <a:gd name="connsiteY150" fmla="*/ 5764498 h 5818346"/>
              <a:gd name="connsiteX151" fmla="*/ 3131342 w 3503192"/>
              <a:gd name="connsiteY151" fmla="*/ 5775234 h 5818346"/>
              <a:gd name="connsiteX152" fmla="*/ 3120604 w 3503192"/>
              <a:gd name="connsiteY152" fmla="*/ 5785971 h 5818346"/>
              <a:gd name="connsiteX153" fmla="*/ 3109867 w 3503192"/>
              <a:gd name="connsiteY153" fmla="*/ 5775234 h 5818346"/>
              <a:gd name="connsiteX154" fmla="*/ 3120604 w 3503192"/>
              <a:gd name="connsiteY154" fmla="*/ 5764498 h 5818346"/>
              <a:gd name="connsiteX155" fmla="*/ 3218556 w 3503192"/>
              <a:gd name="connsiteY155" fmla="*/ 5764002 h 5818346"/>
              <a:gd name="connsiteX156" fmla="*/ 3229294 w 3503192"/>
              <a:gd name="connsiteY156" fmla="*/ 5774738 h 5818346"/>
              <a:gd name="connsiteX157" fmla="*/ 3218556 w 3503192"/>
              <a:gd name="connsiteY157" fmla="*/ 5785475 h 5818346"/>
              <a:gd name="connsiteX158" fmla="*/ 3207819 w 3503192"/>
              <a:gd name="connsiteY158" fmla="*/ 5774738 h 5818346"/>
              <a:gd name="connsiteX159" fmla="*/ 3218556 w 3503192"/>
              <a:gd name="connsiteY159" fmla="*/ 5764002 h 5818346"/>
              <a:gd name="connsiteX160" fmla="*/ 3311884 w 3503192"/>
              <a:gd name="connsiteY160" fmla="*/ 5762845 h 5818346"/>
              <a:gd name="connsiteX161" fmla="*/ 3322621 w 3503192"/>
              <a:gd name="connsiteY161" fmla="*/ 5773582 h 5818346"/>
              <a:gd name="connsiteX162" fmla="*/ 3311884 w 3503192"/>
              <a:gd name="connsiteY162" fmla="*/ 5784320 h 5818346"/>
              <a:gd name="connsiteX163" fmla="*/ 3301148 w 3503192"/>
              <a:gd name="connsiteY163" fmla="*/ 5773582 h 5818346"/>
              <a:gd name="connsiteX164" fmla="*/ 3311884 w 3503192"/>
              <a:gd name="connsiteY164" fmla="*/ 5762845 h 5818346"/>
              <a:gd name="connsiteX165" fmla="*/ 2625391 w 3503192"/>
              <a:gd name="connsiteY165" fmla="*/ 5762020 h 5818346"/>
              <a:gd name="connsiteX166" fmla="*/ 2636129 w 3503192"/>
              <a:gd name="connsiteY166" fmla="*/ 5772756 h 5818346"/>
              <a:gd name="connsiteX167" fmla="*/ 2625391 w 3503192"/>
              <a:gd name="connsiteY167" fmla="*/ 5783493 h 5818346"/>
              <a:gd name="connsiteX168" fmla="*/ 2614654 w 3503192"/>
              <a:gd name="connsiteY168" fmla="*/ 5772756 h 5818346"/>
              <a:gd name="connsiteX169" fmla="*/ 2625391 w 3503192"/>
              <a:gd name="connsiteY169" fmla="*/ 5762020 h 5818346"/>
              <a:gd name="connsiteX170" fmla="*/ 2528264 w 3503192"/>
              <a:gd name="connsiteY170" fmla="*/ 5760698 h 5818346"/>
              <a:gd name="connsiteX171" fmla="*/ 2539002 w 3503192"/>
              <a:gd name="connsiteY171" fmla="*/ 5771435 h 5818346"/>
              <a:gd name="connsiteX172" fmla="*/ 2528264 w 3503192"/>
              <a:gd name="connsiteY172" fmla="*/ 5782173 h 5818346"/>
              <a:gd name="connsiteX173" fmla="*/ 2517528 w 3503192"/>
              <a:gd name="connsiteY173" fmla="*/ 5771435 h 5818346"/>
              <a:gd name="connsiteX174" fmla="*/ 2528264 w 3503192"/>
              <a:gd name="connsiteY174" fmla="*/ 5760698 h 5818346"/>
              <a:gd name="connsiteX175" fmla="*/ 2436094 w 3503192"/>
              <a:gd name="connsiteY175" fmla="*/ 5759873 h 5818346"/>
              <a:gd name="connsiteX176" fmla="*/ 2445674 w 3503192"/>
              <a:gd name="connsiteY176" fmla="*/ 5769453 h 5818346"/>
              <a:gd name="connsiteX177" fmla="*/ 2436094 w 3503192"/>
              <a:gd name="connsiteY177" fmla="*/ 5779034 h 5818346"/>
              <a:gd name="connsiteX178" fmla="*/ 2426512 w 3503192"/>
              <a:gd name="connsiteY178" fmla="*/ 5769453 h 5818346"/>
              <a:gd name="connsiteX179" fmla="*/ 2436094 w 3503192"/>
              <a:gd name="connsiteY179" fmla="*/ 5759873 h 5818346"/>
              <a:gd name="connsiteX180" fmla="*/ 3089880 w 3503192"/>
              <a:gd name="connsiteY180" fmla="*/ 5759706 h 5818346"/>
              <a:gd name="connsiteX181" fmla="*/ 3100619 w 3503192"/>
              <a:gd name="connsiteY181" fmla="*/ 5770443 h 5818346"/>
              <a:gd name="connsiteX182" fmla="*/ 3089880 w 3503192"/>
              <a:gd name="connsiteY182" fmla="*/ 5781181 h 5818346"/>
              <a:gd name="connsiteX183" fmla="*/ 3079144 w 3503192"/>
              <a:gd name="connsiteY183" fmla="*/ 5770443 h 5818346"/>
              <a:gd name="connsiteX184" fmla="*/ 3089880 w 3503192"/>
              <a:gd name="connsiteY184" fmla="*/ 5759706 h 5818346"/>
              <a:gd name="connsiteX185" fmla="*/ 3464678 w 3503192"/>
              <a:gd name="connsiteY185" fmla="*/ 5758716 h 5818346"/>
              <a:gd name="connsiteX186" fmla="*/ 3468312 w 3503192"/>
              <a:gd name="connsiteY186" fmla="*/ 5762349 h 5818346"/>
              <a:gd name="connsiteX187" fmla="*/ 3464678 w 3503192"/>
              <a:gd name="connsiteY187" fmla="*/ 5765984 h 5818346"/>
              <a:gd name="connsiteX188" fmla="*/ 3461044 w 3503192"/>
              <a:gd name="connsiteY188" fmla="*/ 5762349 h 5818346"/>
              <a:gd name="connsiteX189" fmla="*/ 3464678 w 3503192"/>
              <a:gd name="connsiteY189" fmla="*/ 5758716 h 5818346"/>
              <a:gd name="connsiteX190" fmla="*/ 3190807 w 3503192"/>
              <a:gd name="connsiteY190" fmla="*/ 5758716 h 5818346"/>
              <a:gd name="connsiteX191" fmla="*/ 3201545 w 3503192"/>
              <a:gd name="connsiteY191" fmla="*/ 5769453 h 5818346"/>
              <a:gd name="connsiteX192" fmla="*/ 3190807 w 3503192"/>
              <a:gd name="connsiteY192" fmla="*/ 5780191 h 5818346"/>
              <a:gd name="connsiteX193" fmla="*/ 3180070 w 3503192"/>
              <a:gd name="connsiteY193" fmla="*/ 5769453 h 5818346"/>
              <a:gd name="connsiteX194" fmla="*/ 3190807 w 3503192"/>
              <a:gd name="connsiteY194" fmla="*/ 5758716 h 5818346"/>
              <a:gd name="connsiteX195" fmla="*/ 2655288 w 3503192"/>
              <a:gd name="connsiteY195" fmla="*/ 5757395 h 5818346"/>
              <a:gd name="connsiteX196" fmla="*/ 2666024 w 3503192"/>
              <a:gd name="connsiteY196" fmla="*/ 5768131 h 5818346"/>
              <a:gd name="connsiteX197" fmla="*/ 2655288 w 3503192"/>
              <a:gd name="connsiteY197" fmla="*/ 5778867 h 5818346"/>
              <a:gd name="connsiteX198" fmla="*/ 2644552 w 3503192"/>
              <a:gd name="connsiteY198" fmla="*/ 5768131 h 5818346"/>
              <a:gd name="connsiteX199" fmla="*/ 2655288 w 3503192"/>
              <a:gd name="connsiteY199" fmla="*/ 5757395 h 5818346"/>
              <a:gd name="connsiteX200" fmla="*/ 3286612 w 3503192"/>
              <a:gd name="connsiteY200" fmla="*/ 5756405 h 5818346"/>
              <a:gd name="connsiteX201" fmla="*/ 3297348 w 3503192"/>
              <a:gd name="connsiteY201" fmla="*/ 5767141 h 5818346"/>
              <a:gd name="connsiteX202" fmla="*/ 3286612 w 3503192"/>
              <a:gd name="connsiteY202" fmla="*/ 5777877 h 5818346"/>
              <a:gd name="connsiteX203" fmla="*/ 3275876 w 3503192"/>
              <a:gd name="connsiteY203" fmla="*/ 5767141 h 5818346"/>
              <a:gd name="connsiteX204" fmla="*/ 3286612 w 3503192"/>
              <a:gd name="connsiteY204" fmla="*/ 5756405 h 5818346"/>
              <a:gd name="connsiteX205" fmla="*/ 2555354 w 3503192"/>
              <a:gd name="connsiteY205" fmla="*/ 5755413 h 5818346"/>
              <a:gd name="connsiteX206" fmla="*/ 2566092 w 3503192"/>
              <a:gd name="connsiteY206" fmla="*/ 5766149 h 5818346"/>
              <a:gd name="connsiteX207" fmla="*/ 2555354 w 3503192"/>
              <a:gd name="connsiteY207" fmla="*/ 5776887 h 5818346"/>
              <a:gd name="connsiteX208" fmla="*/ 2544618 w 3503192"/>
              <a:gd name="connsiteY208" fmla="*/ 5766149 h 5818346"/>
              <a:gd name="connsiteX209" fmla="*/ 2555354 w 3503192"/>
              <a:gd name="connsiteY209" fmla="*/ 5755413 h 5818346"/>
              <a:gd name="connsiteX210" fmla="*/ 3161733 w 3503192"/>
              <a:gd name="connsiteY210" fmla="*/ 5754256 h 5818346"/>
              <a:gd name="connsiteX211" fmla="*/ 3172471 w 3503192"/>
              <a:gd name="connsiteY211" fmla="*/ 5764992 h 5818346"/>
              <a:gd name="connsiteX212" fmla="*/ 3161733 w 3503192"/>
              <a:gd name="connsiteY212" fmla="*/ 5775729 h 5818346"/>
              <a:gd name="connsiteX213" fmla="*/ 3150997 w 3503192"/>
              <a:gd name="connsiteY213" fmla="*/ 5764992 h 5818346"/>
              <a:gd name="connsiteX214" fmla="*/ 3161733 w 3503192"/>
              <a:gd name="connsiteY214" fmla="*/ 5754256 h 5818346"/>
              <a:gd name="connsiteX215" fmla="*/ 3377790 w 3503192"/>
              <a:gd name="connsiteY215" fmla="*/ 5753926 h 5818346"/>
              <a:gd name="connsiteX216" fmla="*/ 3388528 w 3503192"/>
              <a:gd name="connsiteY216" fmla="*/ 5764663 h 5818346"/>
              <a:gd name="connsiteX217" fmla="*/ 3377790 w 3503192"/>
              <a:gd name="connsiteY217" fmla="*/ 5775401 h 5818346"/>
              <a:gd name="connsiteX218" fmla="*/ 3367054 w 3503192"/>
              <a:gd name="connsiteY218" fmla="*/ 5764663 h 5818346"/>
              <a:gd name="connsiteX219" fmla="*/ 3377790 w 3503192"/>
              <a:gd name="connsiteY219" fmla="*/ 5753926 h 5818346"/>
              <a:gd name="connsiteX220" fmla="*/ 2370351 w 3503192"/>
              <a:gd name="connsiteY220" fmla="*/ 5752934 h 5818346"/>
              <a:gd name="connsiteX221" fmla="*/ 2377452 w 3503192"/>
              <a:gd name="connsiteY221" fmla="*/ 5760038 h 5818346"/>
              <a:gd name="connsiteX222" fmla="*/ 2370351 w 3503192"/>
              <a:gd name="connsiteY222" fmla="*/ 5767141 h 5818346"/>
              <a:gd name="connsiteX223" fmla="*/ 2363248 w 3503192"/>
              <a:gd name="connsiteY223" fmla="*/ 5760038 h 5818346"/>
              <a:gd name="connsiteX224" fmla="*/ 2370351 w 3503192"/>
              <a:gd name="connsiteY224" fmla="*/ 5752934 h 5818346"/>
              <a:gd name="connsiteX225" fmla="*/ 2460539 w 3503192"/>
              <a:gd name="connsiteY225" fmla="*/ 5752438 h 5818346"/>
              <a:gd name="connsiteX226" fmla="*/ 2471277 w 3503192"/>
              <a:gd name="connsiteY226" fmla="*/ 5763175 h 5818346"/>
              <a:gd name="connsiteX227" fmla="*/ 2460539 w 3503192"/>
              <a:gd name="connsiteY227" fmla="*/ 5773913 h 5818346"/>
              <a:gd name="connsiteX228" fmla="*/ 2449802 w 3503192"/>
              <a:gd name="connsiteY228" fmla="*/ 5763175 h 5818346"/>
              <a:gd name="connsiteX229" fmla="*/ 2460539 w 3503192"/>
              <a:gd name="connsiteY229" fmla="*/ 5752438 h 5818346"/>
              <a:gd name="connsiteX230" fmla="*/ 3260512 w 3503192"/>
              <a:gd name="connsiteY230" fmla="*/ 5751284 h 5818346"/>
              <a:gd name="connsiteX231" fmla="*/ 3271249 w 3503192"/>
              <a:gd name="connsiteY231" fmla="*/ 5762020 h 5818346"/>
              <a:gd name="connsiteX232" fmla="*/ 3260512 w 3503192"/>
              <a:gd name="connsiteY232" fmla="*/ 5772756 h 5818346"/>
              <a:gd name="connsiteX233" fmla="*/ 3249776 w 3503192"/>
              <a:gd name="connsiteY233" fmla="*/ 5762020 h 5818346"/>
              <a:gd name="connsiteX234" fmla="*/ 3260512 w 3503192"/>
              <a:gd name="connsiteY234" fmla="*/ 5751284 h 5818346"/>
              <a:gd name="connsiteX235" fmla="*/ 2583598 w 3503192"/>
              <a:gd name="connsiteY235" fmla="*/ 5751284 h 5818346"/>
              <a:gd name="connsiteX236" fmla="*/ 2594337 w 3503192"/>
              <a:gd name="connsiteY236" fmla="*/ 5762020 h 5818346"/>
              <a:gd name="connsiteX237" fmla="*/ 2583598 w 3503192"/>
              <a:gd name="connsiteY237" fmla="*/ 5772756 h 5818346"/>
              <a:gd name="connsiteX238" fmla="*/ 2572862 w 3503192"/>
              <a:gd name="connsiteY238" fmla="*/ 5762020 h 5818346"/>
              <a:gd name="connsiteX239" fmla="*/ 2583598 w 3503192"/>
              <a:gd name="connsiteY239" fmla="*/ 5751284 h 5818346"/>
              <a:gd name="connsiteX240" fmla="*/ 3131506 w 3503192"/>
              <a:gd name="connsiteY240" fmla="*/ 5750788 h 5818346"/>
              <a:gd name="connsiteX241" fmla="*/ 3142244 w 3503192"/>
              <a:gd name="connsiteY241" fmla="*/ 5761524 h 5818346"/>
              <a:gd name="connsiteX242" fmla="*/ 3131506 w 3503192"/>
              <a:gd name="connsiteY242" fmla="*/ 5772260 h 5818346"/>
              <a:gd name="connsiteX243" fmla="*/ 3120770 w 3503192"/>
              <a:gd name="connsiteY243" fmla="*/ 5761524 h 5818346"/>
              <a:gd name="connsiteX244" fmla="*/ 3131506 w 3503192"/>
              <a:gd name="connsiteY244" fmla="*/ 5750788 h 5818346"/>
              <a:gd name="connsiteX245" fmla="*/ 2613002 w 3503192"/>
              <a:gd name="connsiteY245" fmla="*/ 5747813 h 5818346"/>
              <a:gd name="connsiteX246" fmla="*/ 2623740 w 3503192"/>
              <a:gd name="connsiteY246" fmla="*/ 5758550 h 5818346"/>
              <a:gd name="connsiteX247" fmla="*/ 2613002 w 3503192"/>
              <a:gd name="connsiteY247" fmla="*/ 5769288 h 5818346"/>
              <a:gd name="connsiteX248" fmla="*/ 2602266 w 3503192"/>
              <a:gd name="connsiteY248" fmla="*/ 5758550 h 5818346"/>
              <a:gd name="connsiteX249" fmla="*/ 2613002 w 3503192"/>
              <a:gd name="connsiteY249" fmla="*/ 5747813 h 5818346"/>
              <a:gd name="connsiteX250" fmla="*/ 3354171 w 3503192"/>
              <a:gd name="connsiteY250" fmla="*/ 5747649 h 5818346"/>
              <a:gd name="connsiteX251" fmla="*/ 3364909 w 3503192"/>
              <a:gd name="connsiteY251" fmla="*/ 5758385 h 5818346"/>
              <a:gd name="connsiteX252" fmla="*/ 3354171 w 3503192"/>
              <a:gd name="connsiteY252" fmla="*/ 5769121 h 5818346"/>
              <a:gd name="connsiteX253" fmla="*/ 3343434 w 3503192"/>
              <a:gd name="connsiteY253" fmla="*/ 5758385 h 5818346"/>
              <a:gd name="connsiteX254" fmla="*/ 3354171 w 3503192"/>
              <a:gd name="connsiteY254" fmla="*/ 5747649 h 5818346"/>
              <a:gd name="connsiteX255" fmla="*/ 2485978 w 3503192"/>
              <a:gd name="connsiteY255" fmla="*/ 5747484 h 5818346"/>
              <a:gd name="connsiteX256" fmla="*/ 2496714 w 3503192"/>
              <a:gd name="connsiteY256" fmla="*/ 5758220 h 5818346"/>
              <a:gd name="connsiteX257" fmla="*/ 2485978 w 3503192"/>
              <a:gd name="connsiteY257" fmla="*/ 5768957 h 5818346"/>
              <a:gd name="connsiteX258" fmla="*/ 2475242 w 3503192"/>
              <a:gd name="connsiteY258" fmla="*/ 5758220 h 5818346"/>
              <a:gd name="connsiteX259" fmla="*/ 2485978 w 3503192"/>
              <a:gd name="connsiteY259" fmla="*/ 5747484 h 5818346"/>
              <a:gd name="connsiteX260" fmla="*/ 3233258 w 3503192"/>
              <a:gd name="connsiteY260" fmla="*/ 5747319 h 5818346"/>
              <a:gd name="connsiteX261" fmla="*/ 3243996 w 3503192"/>
              <a:gd name="connsiteY261" fmla="*/ 5758056 h 5818346"/>
              <a:gd name="connsiteX262" fmla="*/ 3233258 w 3503192"/>
              <a:gd name="connsiteY262" fmla="*/ 5768794 h 5818346"/>
              <a:gd name="connsiteX263" fmla="*/ 3222522 w 3503192"/>
              <a:gd name="connsiteY263" fmla="*/ 5758056 h 5818346"/>
              <a:gd name="connsiteX264" fmla="*/ 3233258 w 3503192"/>
              <a:gd name="connsiteY264" fmla="*/ 5747319 h 5818346"/>
              <a:gd name="connsiteX265" fmla="*/ 2643891 w 3503192"/>
              <a:gd name="connsiteY265" fmla="*/ 5745006 h 5818346"/>
              <a:gd name="connsiteX266" fmla="*/ 2654629 w 3503192"/>
              <a:gd name="connsiteY266" fmla="*/ 5755742 h 5818346"/>
              <a:gd name="connsiteX267" fmla="*/ 2643891 w 3503192"/>
              <a:gd name="connsiteY267" fmla="*/ 5766478 h 5818346"/>
              <a:gd name="connsiteX268" fmla="*/ 2633155 w 3503192"/>
              <a:gd name="connsiteY268" fmla="*/ 5755742 h 5818346"/>
              <a:gd name="connsiteX269" fmla="*/ 2643891 w 3503192"/>
              <a:gd name="connsiteY269" fmla="*/ 5745006 h 5818346"/>
              <a:gd name="connsiteX270" fmla="*/ 2305435 w 3503192"/>
              <a:gd name="connsiteY270" fmla="*/ 5745006 h 5818346"/>
              <a:gd name="connsiteX271" fmla="*/ 2309894 w 3503192"/>
              <a:gd name="connsiteY271" fmla="*/ 5749466 h 5818346"/>
              <a:gd name="connsiteX272" fmla="*/ 2305435 w 3503192"/>
              <a:gd name="connsiteY272" fmla="*/ 5753925 h 5818346"/>
              <a:gd name="connsiteX273" fmla="*/ 2300975 w 3503192"/>
              <a:gd name="connsiteY273" fmla="*/ 5749466 h 5818346"/>
              <a:gd name="connsiteX274" fmla="*/ 2305435 w 3503192"/>
              <a:gd name="connsiteY274" fmla="*/ 5745006 h 5818346"/>
              <a:gd name="connsiteX275" fmla="*/ 3204847 w 3503192"/>
              <a:gd name="connsiteY275" fmla="*/ 5744016 h 5818346"/>
              <a:gd name="connsiteX276" fmla="*/ 3215583 w 3503192"/>
              <a:gd name="connsiteY276" fmla="*/ 5754752 h 5818346"/>
              <a:gd name="connsiteX277" fmla="*/ 3204847 w 3503192"/>
              <a:gd name="connsiteY277" fmla="*/ 5765488 h 5818346"/>
              <a:gd name="connsiteX278" fmla="*/ 3194110 w 3503192"/>
              <a:gd name="connsiteY278" fmla="*/ 5754752 h 5818346"/>
              <a:gd name="connsiteX279" fmla="*/ 3204847 w 3503192"/>
              <a:gd name="connsiteY279" fmla="*/ 5744016 h 5818346"/>
              <a:gd name="connsiteX280" fmla="*/ 3443037 w 3503192"/>
              <a:gd name="connsiteY280" fmla="*/ 5743851 h 5818346"/>
              <a:gd name="connsiteX281" fmla="*/ 3453776 w 3503192"/>
              <a:gd name="connsiteY281" fmla="*/ 5754587 h 5818346"/>
              <a:gd name="connsiteX282" fmla="*/ 3443037 w 3503192"/>
              <a:gd name="connsiteY282" fmla="*/ 5765323 h 5818346"/>
              <a:gd name="connsiteX283" fmla="*/ 3432301 w 3503192"/>
              <a:gd name="connsiteY283" fmla="*/ 5754587 h 5818346"/>
              <a:gd name="connsiteX284" fmla="*/ 3443037 w 3503192"/>
              <a:gd name="connsiteY284" fmla="*/ 5743851 h 5818346"/>
              <a:gd name="connsiteX285" fmla="*/ 2512407 w 3503192"/>
              <a:gd name="connsiteY285" fmla="*/ 5743520 h 5818346"/>
              <a:gd name="connsiteX286" fmla="*/ 2523145 w 3503192"/>
              <a:gd name="connsiteY286" fmla="*/ 5754256 h 5818346"/>
              <a:gd name="connsiteX287" fmla="*/ 2512407 w 3503192"/>
              <a:gd name="connsiteY287" fmla="*/ 5764992 h 5818346"/>
              <a:gd name="connsiteX288" fmla="*/ 2501670 w 3503192"/>
              <a:gd name="connsiteY288" fmla="*/ 5754256 h 5818346"/>
              <a:gd name="connsiteX289" fmla="*/ 2512407 w 3503192"/>
              <a:gd name="connsiteY289" fmla="*/ 5743520 h 5818346"/>
              <a:gd name="connsiteX290" fmla="*/ 2393312 w 3503192"/>
              <a:gd name="connsiteY290" fmla="*/ 5743024 h 5818346"/>
              <a:gd name="connsiteX291" fmla="*/ 2404048 w 3503192"/>
              <a:gd name="connsiteY291" fmla="*/ 5753760 h 5818346"/>
              <a:gd name="connsiteX292" fmla="*/ 2393312 w 3503192"/>
              <a:gd name="connsiteY292" fmla="*/ 5764496 h 5818346"/>
              <a:gd name="connsiteX293" fmla="*/ 2382575 w 3503192"/>
              <a:gd name="connsiteY293" fmla="*/ 5753760 h 5818346"/>
              <a:gd name="connsiteX294" fmla="*/ 2393312 w 3503192"/>
              <a:gd name="connsiteY294" fmla="*/ 5743024 h 5818346"/>
              <a:gd name="connsiteX295" fmla="*/ 3329559 w 3503192"/>
              <a:gd name="connsiteY295" fmla="*/ 5742529 h 5818346"/>
              <a:gd name="connsiteX296" fmla="*/ 3340297 w 3503192"/>
              <a:gd name="connsiteY296" fmla="*/ 5753266 h 5818346"/>
              <a:gd name="connsiteX297" fmla="*/ 3329559 w 3503192"/>
              <a:gd name="connsiteY297" fmla="*/ 5764004 h 5818346"/>
              <a:gd name="connsiteX298" fmla="*/ 3318823 w 3503192"/>
              <a:gd name="connsiteY298" fmla="*/ 5753266 h 5818346"/>
              <a:gd name="connsiteX299" fmla="*/ 3329559 w 3503192"/>
              <a:gd name="connsiteY299" fmla="*/ 5742529 h 5818346"/>
              <a:gd name="connsiteX300" fmla="*/ 3174948 w 3503192"/>
              <a:gd name="connsiteY300" fmla="*/ 5741537 h 5818346"/>
              <a:gd name="connsiteX301" fmla="*/ 3185686 w 3503192"/>
              <a:gd name="connsiteY301" fmla="*/ 5752274 h 5818346"/>
              <a:gd name="connsiteX302" fmla="*/ 3174948 w 3503192"/>
              <a:gd name="connsiteY302" fmla="*/ 5763012 h 5818346"/>
              <a:gd name="connsiteX303" fmla="*/ 3164211 w 3503192"/>
              <a:gd name="connsiteY303" fmla="*/ 5752274 h 5818346"/>
              <a:gd name="connsiteX304" fmla="*/ 3174948 w 3503192"/>
              <a:gd name="connsiteY304" fmla="*/ 5741537 h 5818346"/>
              <a:gd name="connsiteX305" fmla="*/ 2539826 w 3503192"/>
              <a:gd name="connsiteY305" fmla="*/ 5740381 h 5818346"/>
              <a:gd name="connsiteX306" fmla="*/ 2550564 w 3503192"/>
              <a:gd name="connsiteY306" fmla="*/ 5751117 h 5818346"/>
              <a:gd name="connsiteX307" fmla="*/ 2539826 w 3503192"/>
              <a:gd name="connsiteY307" fmla="*/ 5761853 h 5818346"/>
              <a:gd name="connsiteX308" fmla="*/ 2529090 w 3503192"/>
              <a:gd name="connsiteY308" fmla="*/ 5751117 h 5818346"/>
              <a:gd name="connsiteX309" fmla="*/ 2539826 w 3503192"/>
              <a:gd name="connsiteY309" fmla="*/ 5740381 h 5818346"/>
              <a:gd name="connsiteX310" fmla="*/ 3143729 w 3503192"/>
              <a:gd name="connsiteY310" fmla="*/ 5739555 h 5818346"/>
              <a:gd name="connsiteX311" fmla="*/ 3154467 w 3503192"/>
              <a:gd name="connsiteY311" fmla="*/ 5750292 h 5818346"/>
              <a:gd name="connsiteX312" fmla="*/ 3143729 w 3503192"/>
              <a:gd name="connsiteY312" fmla="*/ 5761030 h 5818346"/>
              <a:gd name="connsiteX313" fmla="*/ 3132992 w 3503192"/>
              <a:gd name="connsiteY313" fmla="*/ 5750292 h 5818346"/>
              <a:gd name="connsiteX314" fmla="*/ 3143729 w 3503192"/>
              <a:gd name="connsiteY314" fmla="*/ 5739555 h 5818346"/>
              <a:gd name="connsiteX315" fmla="*/ 3304120 w 3503192"/>
              <a:gd name="connsiteY315" fmla="*/ 5738730 h 5818346"/>
              <a:gd name="connsiteX316" fmla="*/ 3314857 w 3503192"/>
              <a:gd name="connsiteY316" fmla="*/ 5749466 h 5818346"/>
              <a:gd name="connsiteX317" fmla="*/ 3304120 w 3503192"/>
              <a:gd name="connsiteY317" fmla="*/ 5760202 h 5818346"/>
              <a:gd name="connsiteX318" fmla="*/ 3293384 w 3503192"/>
              <a:gd name="connsiteY318" fmla="*/ 5749466 h 5818346"/>
              <a:gd name="connsiteX319" fmla="*/ 3304120 w 3503192"/>
              <a:gd name="connsiteY319" fmla="*/ 5738730 h 5818346"/>
              <a:gd name="connsiteX320" fmla="*/ 2568733 w 3503192"/>
              <a:gd name="connsiteY320" fmla="*/ 5738069 h 5818346"/>
              <a:gd name="connsiteX321" fmla="*/ 2579471 w 3503192"/>
              <a:gd name="connsiteY321" fmla="*/ 5748805 h 5818346"/>
              <a:gd name="connsiteX322" fmla="*/ 2568733 w 3503192"/>
              <a:gd name="connsiteY322" fmla="*/ 5759543 h 5818346"/>
              <a:gd name="connsiteX323" fmla="*/ 2557997 w 3503192"/>
              <a:gd name="connsiteY323" fmla="*/ 5748805 h 5818346"/>
              <a:gd name="connsiteX324" fmla="*/ 2568733 w 3503192"/>
              <a:gd name="connsiteY324" fmla="*/ 5738069 h 5818346"/>
              <a:gd name="connsiteX325" fmla="*/ 2417096 w 3503192"/>
              <a:gd name="connsiteY325" fmla="*/ 5738069 h 5818346"/>
              <a:gd name="connsiteX326" fmla="*/ 2427834 w 3503192"/>
              <a:gd name="connsiteY326" fmla="*/ 5748805 h 5818346"/>
              <a:gd name="connsiteX327" fmla="*/ 2417096 w 3503192"/>
              <a:gd name="connsiteY327" fmla="*/ 5759543 h 5818346"/>
              <a:gd name="connsiteX328" fmla="*/ 2406360 w 3503192"/>
              <a:gd name="connsiteY328" fmla="*/ 5748805 h 5818346"/>
              <a:gd name="connsiteX329" fmla="*/ 2417096 w 3503192"/>
              <a:gd name="connsiteY329" fmla="*/ 5738069 h 5818346"/>
              <a:gd name="connsiteX330" fmla="*/ 3110692 w 3503192"/>
              <a:gd name="connsiteY330" fmla="*/ 5737573 h 5818346"/>
              <a:gd name="connsiteX331" fmla="*/ 3121431 w 3503192"/>
              <a:gd name="connsiteY331" fmla="*/ 5748309 h 5818346"/>
              <a:gd name="connsiteX332" fmla="*/ 3110692 w 3503192"/>
              <a:gd name="connsiteY332" fmla="*/ 5759047 h 5818346"/>
              <a:gd name="connsiteX333" fmla="*/ 3110198 w 3503192"/>
              <a:gd name="connsiteY333" fmla="*/ 5758553 h 5818346"/>
              <a:gd name="connsiteX334" fmla="*/ 3099627 w 3503192"/>
              <a:gd name="connsiteY334" fmla="*/ 5769121 h 5818346"/>
              <a:gd name="connsiteX335" fmla="*/ 3088890 w 3503192"/>
              <a:gd name="connsiteY335" fmla="*/ 5758385 h 5818346"/>
              <a:gd name="connsiteX336" fmla="*/ 3099627 w 3503192"/>
              <a:gd name="connsiteY336" fmla="*/ 5747649 h 5818346"/>
              <a:gd name="connsiteX337" fmla="*/ 3100123 w 3503192"/>
              <a:gd name="connsiteY337" fmla="*/ 5748145 h 5818346"/>
              <a:gd name="connsiteX338" fmla="*/ 3420904 w 3503192"/>
              <a:gd name="connsiteY338" fmla="*/ 5737408 h 5818346"/>
              <a:gd name="connsiteX339" fmla="*/ 3431642 w 3503192"/>
              <a:gd name="connsiteY339" fmla="*/ 5748145 h 5818346"/>
              <a:gd name="connsiteX340" fmla="*/ 3420904 w 3503192"/>
              <a:gd name="connsiteY340" fmla="*/ 5758883 h 5818346"/>
              <a:gd name="connsiteX341" fmla="*/ 3410168 w 3503192"/>
              <a:gd name="connsiteY341" fmla="*/ 5748145 h 5818346"/>
              <a:gd name="connsiteX342" fmla="*/ 3420904 w 3503192"/>
              <a:gd name="connsiteY342" fmla="*/ 5737408 h 5818346"/>
              <a:gd name="connsiteX343" fmla="*/ 3503192 w 3503192"/>
              <a:gd name="connsiteY343" fmla="*/ 5737050 h 5818346"/>
              <a:gd name="connsiteX344" fmla="*/ 3503192 w 3503192"/>
              <a:gd name="connsiteY344" fmla="*/ 5749659 h 5818346"/>
              <a:gd name="connsiteX345" fmla="*/ 3496887 w 3503192"/>
              <a:gd name="connsiteY345" fmla="*/ 5743355 h 5818346"/>
              <a:gd name="connsiteX346" fmla="*/ 2599126 w 3503192"/>
              <a:gd name="connsiteY346" fmla="*/ 5736252 h 5818346"/>
              <a:gd name="connsiteX347" fmla="*/ 2609864 w 3503192"/>
              <a:gd name="connsiteY347" fmla="*/ 5746988 h 5818346"/>
              <a:gd name="connsiteX348" fmla="*/ 2599126 w 3503192"/>
              <a:gd name="connsiteY348" fmla="*/ 5757724 h 5818346"/>
              <a:gd name="connsiteX349" fmla="*/ 2588390 w 3503192"/>
              <a:gd name="connsiteY349" fmla="*/ 5746988 h 5818346"/>
              <a:gd name="connsiteX350" fmla="*/ 2599126 w 3503192"/>
              <a:gd name="connsiteY350" fmla="*/ 5736252 h 5818346"/>
              <a:gd name="connsiteX351" fmla="*/ 2241345 w 3503192"/>
              <a:gd name="connsiteY351" fmla="*/ 5736087 h 5818346"/>
              <a:gd name="connsiteX352" fmla="*/ 2242996 w 3503192"/>
              <a:gd name="connsiteY352" fmla="*/ 5737740 h 5818346"/>
              <a:gd name="connsiteX353" fmla="*/ 2241345 w 3503192"/>
              <a:gd name="connsiteY353" fmla="*/ 5739390 h 5818346"/>
              <a:gd name="connsiteX354" fmla="*/ 2239692 w 3503192"/>
              <a:gd name="connsiteY354" fmla="*/ 5737740 h 5818346"/>
              <a:gd name="connsiteX355" fmla="*/ 2241345 w 3503192"/>
              <a:gd name="connsiteY355" fmla="*/ 5736087 h 5818346"/>
              <a:gd name="connsiteX356" fmla="*/ 3277691 w 3503192"/>
              <a:gd name="connsiteY356" fmla="*/ 5735756 h 5818346"/>
              <a:gd name="connsiteX357" fmla="*/ 3288430 w 3503192"/>
              <a:gd name="connsiteY357" fmla="*/ 5746492 h 5818346"/>
              <a:gd name="connsiteX358" fmla="*/ 3277691 w 3503192"/>
              <a:gd name="connsiteY358" fmla="*/ 5757228 h 5818346"/>
              <a:gd name="connsiteX359" fmla="*/ 3266955 w 3503192"/>
              <a:gd name="connsiteY359" fmla="*/ 5746492 h 5818346"/>
              <a:gd name="connsiteX360" fmla="*/ 3277691 w 3503192"/>
              <a:gd name="connsiteY360" fmla="*/ 5735756 h 5818346"/>
              <a:gd name="connsiteX361" fmla="*/ 2631006 w 3503192"/>
              <a:gd name="connsiteY361" fmla="*/ 5734601 h 5818346"/>
              <a:gd name="connsiteX362" fmla="*/ 2641742 w 3503192"/>
              <a:gd name="connsiteY362" fmla="*/ 5745337 h 5818346"/>
              <a:gd name="connsiteX363" fmla="*/ 2631006 w 3503192"/>
              <a:gd name="connsiteY363" fmla="*/ 5756073 h 5818346"/>
              <a:gd name="connsiteX364" fmla="*/ 2620270 w 3503192"/>
              <a:gd name="connsiteY364" fmla="*/ 5745337 h 5818346"/>
              <a:gd name="connsiteX365" fmla="*/ 2631006 w 3503192"/>
              <a:gd name="connsiteY365" fmla="*/ 5734601 h 5818346"/>
              <a:gd name="connsiteX366" fmla="*/ 3249776 w 3503192"/>
              <a:gd name="connsiteY366" fmla="*/ 5733609 h 5818346"/>
              <a:gd name="connsiteX367" fmla="*/ 3260514 w 3503192"/>
              <a:gd name="connsiteY367" fmla="*/ 5744345 h 5818346"/>
              <a:gd name="connsiteX368" fmla="*/ 3249776 w 3503192"/>
              <a:gd name="connsiteY368" fmla="*/ 5755081 h 5818346"/>
              <a:gd name="connsiteX369" fmla="*/ 3239040 w 3503192"/>
              <a:gd name="connsiteY369" fmla="*/ 5744345 h 5818346"/>
              <a:gd name="connsiteX370" fmla="*/ 3249776 w 3503192"/>
              <a:gd name="connsiteY370" fmla="*/ 5733609 h 5818346"/>
              <a:gd name="connsiteX371" fmla="*/ 2664868 w 3503192"/>
              <a:gd name="connsiteY371" fmla="*/ 5732948 h 5818346"/>
              <a:gd name="connsiteX372" fmla="*/ 2675524 w 3503192"/>
              <a:gd name="connsiteY372" fmla="*/ 5743603 h 5818346"/>
              <a:gd name="connsiteX373" fmla="*/ 2676431 w 3503192"/>
              <a:gd name="connsiteY373" fmla="*/ 5742694 h 5818346"/>
              <a:gd name="connsiteX374" fmla="*/ 2687168 w 3503192"/>
              <a:gd name="connsiteY374" fmla="*/ 5753430 h 5818346"/>
              <a:gd name="connsiteX375" fmla="*/ 2686838 w 3503192"/>
              <a:gd name="connsiteY375" fmla="*/ 5753760 h 5818346"/>
              <a:gd name="connsiteX376" fmla="*/ 2697412 w 3503192"/>
              <a:gd name="connsiteY376" fmla="*/ 5764332 h 5818346"/>
              <a:gd name="connsiteX377" fmla="*/ 2686674 w 3503192"/>
              <a:gd name="connsiteY377" fmla="*/ 5775068 h 5818346"/>
              <a:gd name="connsiteX378" fmla="*/ 2675937 w 3503192"/>
              <a:gd name="connsiteY378" fmla="*/ 5764332 h 5818346"/>
              <a:gd name="connsiteX379" fmla="*/ 2676266 w 3503192"/>
              <a:gd name="connsiteY379" fmla="*/ 5764004 h 5818346"/>
              <a:gd name="connsiteX380" fmla="*/ 2665776 w 3503192"/>
              <a:gd name="connsiteY380" fmla="*/ 5753512 h 5818346"/>
              <a:gd name="connsiteX381" fmla="*/ 2664868 w 3503192"/>
              <a:gd name="connsiteY381" fmla="*/ 5754421 h 5818346"/>
              <a:gd name="connsiteX382" fmla="*/ 2654132 w 3503192"/>
              <a:gd name="connsiteY382" fmla="*/ 5743684 h 5818346"/>
              <a:gd name="connsiteX383" fmla="*/ 2664868 w 3503192"/>
              <a:gd name="connsiteY383" fmla="*/ 5732948 h 5818346"/>
              <a:gd name="connsiteX384" fmla="*/ 2326908 w 3503192"/>
              <a:gd name="connsiteY384" fmla="*/ 5732452 h 5818346"/>
              <a:gd name="connsiteX385" fmla="*/ 2337646 w 3503192"/>
              <a:gd name="connsiteY385" fmla="*/ 5743188 h 5818346"/>
              <a:gd name="connsiteX386" fmla="*/ 2326908 w 3503192"/>
              <a:gd name="connsiteY386" fmla="*/ 5753925 h 5818346"/>
              <a:gd name="connsiteX387" fmla="*/ 2316172 w 3503192"/>
              <a:gd name="connsiteY387" fmla="*/ 5743188 h 5818346"/>
              <a:gd name="connsiteX388" fmla="*/ 2326908 w 3503192"/>
              <a:gd name="connsiteY388" fmla="*/ 5732452 h 5818346"/>
              <a:gd name="connsiteX389" fmla="*/ 3220704 w 3503192"/>
              <a:gd name="connsiteY389" fmla="*/ 5731958 h 5818346"/>
              <a:gd name="connsiteX390" fmla="*/ 3231442 w 3503192"/>
              <a:gd name="connsiteY390" fmla="*/ 5742694 h 5818346"/>
              <a:gd name="connsiteX391" fmla="*/ 3220704 w 3503192"/>
              <a:gd name="connsiteY391" fmla="*/ 5753430 h 5818346"/>
              <a:gd name="connsiteX392" fmla="*/ 3209968 w 3503192"/>
              <a:gd name="connsiteY392" fmla="*/ 5742694 h 5818346"/>
              <a:gd name="connsiteX393" fmla="*/ 3220704 w 3503192"/>
              <a:gd name="connsiteY393" fmla="*/ 5731958 h 5818346"/>
              <a:gd name="connsiteX394" fmla="*/ 2700547 w 3503192"/>
              <a:gd name="connsiteY394" fmla="*/ 5731131 h 5818346"/>
              <a:gd name="connsiteX395" fmla="*/ 2710212 w 3503192"/>
              <a:gd name="connsiteY395" fmla="*/ 5740793 h 5818346"/>
              <a:gd name="connsiteX396" fmla="*/ 2710624 w 3503192"/>
              <a:gd name="connsiteY396" fmla="*/ 5740381 h 5818346"/>
              <a:gd name="connsiteX397" fmla="*/ 2721362 w 3503192"/>
              <a:gd name="connsiteY397" fmla="*/ 5751117 h 5818346"/>
              <a:gd name="connsiteX398" fmla="*/ 2720948 w 3503192"/>
              <a:gd name="connsiteY398" fmla="*/ 5751531 h 5818346"/>
              <a:gd name="connsiteX399" fmla="*/ 2730280 w 3503192"/>
              <a:gd name="connsiteY399" fmla="*/ 5760863 h 5818346"/>
              <a:gd name="connsiteX400" fmla="*/ 2728298 w 3503192"/>
              <a:gd name="connsiteY400" fmla="*/ 5762845 h 5818346"/>
              <a:gd name="connsiteX401" fmla="*/ 2738210 w 3503192"/>
              <a:gd name="connsiteY401" fmla="*/ 5772756 h 5818346"/>
              <a:gd name="connsiteX402" fmla="*/ 2727472 w 3503192"/>
              <a:gd name="connsiteY402" fmla="*/ 5783493 h 5818346"/>
              <a:gd name="connsiteX403" fmla="*/ 2716736 w 3503192"/>
              <a:gd name="connsiteY403" fmla="*/ 5772756 h 5818346"/>
              <a:gd name="connsiteX404" fmla="*/ 2718718 w 3503192"/>
              <a:gd name="connsiteY404" fmla="*/ 5770774 h 5818346"/>
              <a:gd name="connsiteX405" fmla="*/ 2708807 w 3503192"/>
              <a:gd name="connsiteY405" fmla="*/ 5760863 h 5818346"/>
              <a:gd name="connsiteX406" fmla="*/ 2709221 w 3503192"/>
              <a:gd name="connsiteY406" fmla="*/ 5760450 h 5818346"/>
              <a:gd name="connsiteX407" fmla="*/ 2700962 w 3503192"/>
              <a:gd name="connsiteY407" fmla="*/ 5752190 h 5818346"/>
              <a:gd name="connsiteX408" fmla="*/ 2700547 w 3503192"/>
              <a:gd name="connsiteY408" fmla="*/ 5752603 h 5818346"/>
              <a:gd name="connsiteX409" fmla="*/ 2689810 w 3503192"/>
              <a:gd name="connsiteY409" fmla="*/ 5741867 h 5818346"/>
              <a:gd name="connsiteX410" fmla="*/ 2700547 w 3503192"/>
              <a:gd name="connsiteY410" fmla="*/ 5731131 h 5818346"/>
              <a:gd name="connsiteX411" fmla="*/ 3189980 w 3503192"/>
              <a:gd name="connsiteY411" fmla="*/ 5730636 h 5818346"/>
              <a:gd name="connsiteX412" fmla="*/ 3200718 w 3503192"/>
              <a:gd name="connsiteY412" fmla="*/ 5741373 h 5818346"/>
              <a:gd name="connsiteX413" fmla="*/ 3189980 w 3503192"/>
              <a:gd name="connsiteY413" fmla="*/ 5752109 h 5818346"/>
              <a:gd name="connsiteX414" fmla="*/ 3179243 w 3503192"/>
              <a:gd name="connsiteY414" fmla="*/ 5741373 h 5818346"/>
              <a:gd name="connsiteX415" fmla="*/ 3189980 w 3503192"/>
              <a:gd name="connsiteY415" fmla="*/ 5730636 h 5818346"/>
              <a:gd name="connsiteX416" fmla="*/ 3157439 w 3503192"/>
              <a:gd name="connsiteY416" fmla="*/ 5729480 h 5818346"/>
              <a:gd name="connsiteX417" fmla="*/ 3168178 w 3503192"/>
              <a:gd name="connsiteY417" fmla="*/ 5740216 h 5818346"/>
              <a:gd name="connsiteX418" fmla="*/ 3157439 w 3503192"/>
              <a:gd name="connsiteY418" fmla="*/ 5750952 h 5818346"/>
              <a:gd name="connsiteX419" fmla="*/ 3146703 w 3503192"/>
              <a:gd name="connsiteY419" fmla="*/ 5740216 h 5818346"/>
              <a:gd name="connsiteX420" fmla="*/ 3157439 w 3503192"/>
              <a:gd name="connsiteY420" fmla="*/ 5729480 h 5818346"/>
              <a:gd name="connsiteX421" fmla="*/ 3123082 w 3503192"/>
              <a:gd name="connsiteY421" fmla="*/ 5727993 h 5818346"/>
              <a:gd name="connsiteX422" fmla="*/ 3133820 w 3503192"/>
              <a:gd name="connsiteY422" fmla="*/ 5738730 h 5818346"/>
              <a:gd name="connsiteX423" fmla="*/ 3123082 w 3503192"/>
              <a:gd name="connsiteY423" fmla="*/ 5749466 h 5818346"/>
              <a:gd name="connsiteX424" fmla="*/ 3112345 w 3503192"/>
              <a:gd name="connsiteY424" fmla="*/ 5738730 h 5818346"/>
              <a:gd name="connsiteX425" fmla="*/ 3123082 w 3503192"/>
              <a:gd name="connsiteY425" fmla="*/ 5727993 h 5818346"/>
              <a:gd name="connsiteX426" fmla="*/ 2522482 w 3503192"/>
              <a:gd name="connsiteY426" fmla="*/ 5727993 h 5818346"/>
              <a:gd name="connsiteX427" fmla="*/ 2533220 w 3503192"/>
              <a:gd name="connsiteY427" fmla="*/ 5738730 h 5818346"/>
              <a:gd name="connsiteX428" fmla="*/ 2522482 w 3503192"/>
              <a:gd name="connsiteY428" fmla="*/ 5749466 h 5818346"/>
              <a:gd name="connsiteX429" fmla="*/ 2511746 w 3503192"/>
              <a:gd name="connsiteY429" fmla="*/ 5738730 h 5818346"/>
              <a:gd name="connsiteX430" fmla="*/ 2522482 w 3503192"/>
              <a:gd name="connsiteY430" fmla="*/ 5727993 h 5818346"/>
              <a:gd name="connsiteX431" fmla="*/ 2349041 w 3503192"/>
              <a:gd name="connsiteY431" fmla="*/ 5727333 h 5818346"/>
              <a:gd name="connsiteX432" fmla="*/ 2359779 w 3503192"/>
              <a:gd name="connsiteY432" fmla="*/ 5738069 h 5818346"/>
              <a:gd name="connsiteX433" fmla="*/ 2349041 w 3503192"/>
              <a:gd name="connsiteY433" fmla="*/ 5748805 h 5818346"/>
              <a:gd name="connsiteX434" fmla="*/ 2338305 w 3503192"/>
              <a:gd name="connsiteY434" fmla="*/ 5738069 h 5818346"/>
              <a:gd name="connsiteX435" fmla="*/ 2349041 w 3503192"/>
              <a:gd name="connsiteY435" fmla="*/ 5727333 h 5818346"/>
              <a:gd name="connsiteX436" fmla="*/ 2552050 w 3503192"/>
              <a:gd name="connsiteY436" fmla="*/ 5726837 h 5818346"/>
              <a:gd name="connsiteX437" fmla="*/ 2562787 w 3503192"/>
              <a:gd name="connsiteY437" fmla="*/ 5737573 h 5818346"/>
              <a:gd name="connsiteX438" fmla="*/ 2552050 w 3503192"/>
              <a:gd name="connsiteY438" fmla="*/ 5748309 h 5818346"/>
              <a:gd name="connsiteX439" fmla="*/ 2541314 w 3503192"/>
              <a:gd name="connsiteY439" fmla="*/ 5737573 h 5818346"/>
              <a:gd name="connsiteX440" fmla="*/ 2552050 w 3503192"/>
              <a:gd name="connsiteY440" fmla="*/ 5726837 h 5818346"/>
              <a:gd name="connsiteX441" fmla="*/ 3486976 w 3503192"/>
              <a:gd name="connsiteY441" fmla="*/ 5726176 h 5818346"/>
              <a:gd name="connsiteX442" fmla="*/ 3497714 w 3503192"/>
              <a:gd name="connsiteY442" fmla="*/ 5736912 h 5818346"/>
              <a:gd name="connsiteX443" fmla="*/ 3486976 w 3503192"/>
              <a:gd name="connsiteY443" fmla="*/ 5747650 h 5818346"/>
              <a:gd name="connsiteX444" fmla="*/ 3476240 w 3503192"/>
              <a:gd name="connsiteY444" fmla="*/ 5736912 h 5818346"/>
              <a:gd name="connsiteX445" fmla="*/ 3486976 w 3503192"/>
              <a:gd name="connsiteY445" fmla="*/ 5726176 h 5818346"/>
              <a:gd name="connsiteX446" fmla="*/ 3086577 w 3503192"/>
              <a:gd name="connsiteY446" fmla="*/ 5725845 h 5818346"/>
              <a:gd name="connsiteX447" fmla="*/ 3097313 w 3503192"/>
              <a:gd name="connsiteY447" fmla="*/ 5736581 h 5818346"/>
              <a:gd name="connsiteX448" fmla="*/ 3086577 w 3503192"/>
              <a:gd name="connsiteY448" fmla="*/ 5747317 h 5818346"/>
              <a:gd name="connsiteX449" fmla="*/ 3086081 w 3503192"/>
              <a:gd name="connsiteY449" fmla="*/ 5746823 h 5818346"/>
              <a:gd name="connsiteX450" fmla="*/ 3075839 w 3503192"/>
              <a:gd name="connsiteY450" fmla="*/ 5757064 h 5818346"/>
              <a:gd name="connsiteX451" fmla="*/ 3075758 w 3503192"/>
              <a:gd name="connsiteY451" fmla="*/ 5756982 h 5818346"/>
              <a:gd name="connsiteX452" fmla="*/ 3067416 w 3503192"/>
              <a:gd name="connsiteY452" fmla="*/ 5765323 h 5818346"/>
              <a:gd name="connsiteX453" fmla="*/ 3068406 w 3503192"/>
              <a:gd name="connsiteY453" fmla="*/ 5766314 h 5818346"/>
              <a:gd name="connsiteX454" fmla="*/ 3058001 w 3503192"/>
              <a:gd name="connsiteY454" fmla="*/ 5776719 h 5818346"/>
              <a:gd name="connsiteX455" fmla="*/ 3060810 w 3503192"/>
              <a:gd name="connsiteY455" fmla="*/ 5779528 h 5818346"/>
              <a:gd name="connsiteX456" fmla="*/ 3050072 w 3503192"/>
              <a:gd name="connsiteY456" fmla="*/ 5790265 h 5818346"/>
              <a:gd name="connsiteX457" fmla="*/ 3039336 w 3503192"/>
              <a:gd name="connsiteY457" fmla="*/ 5779528 h 5818346"/>
              <a:gd name="connsiteX458" fmla="*/ 3049743 w 3503192"/>
              <a:gd name="connsiteY458" fmla="*/ 5769123 h 5818346"/>
              <a:gd name="connsiteX459" fmla="*/ 3046934 w 3503192"/>
              <a:gd name="connsiteY459" fmla="*/ 5766314 h 5818346"/>
              <a:gd name="connsiteX460" fmla="*/ 3056513 w 3503192"/>
              <a:gd name="connsiteY460" fmla="*/ 5756734 h 5818346"/>
              <a:gd name="connsiteX461" fmla="*/ 3055523 w 3503192"/>
              <a:gd name="connsiteY461" fmla="*/ 5755742 h 5818346"/>
              <a:gd name="connsiteX462" fmla="*/ 3066259 w 3503192"/>
              <a:gd name="connsiteY462" fmla="*/ 5745006 h 5818346"/>
              <a:gd name="connsiteX463" fmla="*/ 3066342 w 3503192"/>
              <a:gd name="connsiteY463" fmla="*/ 5745089 h 5818346"/>
              <a:gd name="connsiteX464" fmla="*/ 3075839 w 3503192"/>
              <a:gd name="connsiteY464" fmla="*/ 5735591 h 5818346"/>
              <a:gd name="connsiteX465" fmla="*/ 3076335 w 3503192"/>
              <a:gd name="connsiteY465" fmla="*/ 5736087 h 5818346"/>
              <a:gd name="connsiteX466" fmla="*/ 2583434 w 3503192"/>
              <a:gd name="connsiteY466" fmla="*/ 5725845 h 5818346"/>
              <a:gd name="connsiteX467" fmla="*/ 2594172 w 3503192"/>
              <a:gd name="connsiteY467" fmla="*/ 5736581 h 5818346"/>
              <a:gd name="connsiteX468" fmla="*/ 2583434 w 3503192"/>
              <a:gd name="connsiteY468" fmla="*/ 5747317 h 5818346"/>
              <a:gd name="connsiteX469" fmla="*/ 2572698 w 3503192"/>
              <a:gd name="connsiteY469" fmla="*/ 5736581 h 5818346"/>
              <a:gd name="connsiteX470" fmla="*/ 2583434 w 3503192"/>
              <a:gd name="connsiteY470" fmla="*/ 5725845 h 5818346"/>
              <a:gd name="connsiteX471" fmla="*/ 2616635 w 3503192"/>
              <a:gd name="connsiteY471" fmla="*/ 5724688 h 5818346"/>
              <a:gd name="connsiteX472" fmla="*/ 2627373 w 3503192"/>
              <a:gd name="connsiteY472" fmla="*/ 5735424 h 5818346"/>
              <a:gd name="connsiteX473" fmla="*/ 2616635 w 3503192"/>
              <a:gd name="connsiteY473" fmla="*/ 5746161 h 5818346"/>
              <a:gd name="connsiteX474" fmla="*/ 2605898 w 3503192"/>
              <a:gd name="connsiteY474" fmla="*/ 5735424 h 5818346"/>
              <a:gd name="connsiteX475" fmla="*/ 2616635 w 3503192"/>
              <a:gd name="connsiteY475" fmla="*/ 5724688 h 5818346"/>
              <a:gd name="connsiteX476" fmla="*/ 3047759 w 3503192"/>
              <a:gd name="connsiteY476" fmla="*/ 5723037 h 5818346"/>
              <a:gd name="connsiteX477" fmla="*/ 3058497 w 3503192"/>
              <a:gd name="connsiteY477" fmla="*/ 5733773 h 5818346"/>
              <a:gd name="connsiteX478" fmla="*/ 3048918 w 3503192"/>
              <a:gd name="connsiteY478" fmla="*/ 5743355 h 5818346"/>
              <a:gd name="connsiteX479" fmla="*/ 3049576 w 3503192"/>
              <a:gd name="connsiteY479" fmla="*/ 5744014 h 5818346"/>
              <a:gd name="connsiteX480" fmla="*/ 3041070 w 3503192"/>
              <a:gd name="connsiteY480" fmla="*/ 5752522 h 5818346"/>
              <a:gd name="connsiteX481" fmla="*/ 3041648 w 3503192"/>
              <a:gd name="connsiteY481" fmla="*/ 5753099 h 5818346"/>
              <a:gd name="connsiteX482" fmla="*/ 3033306 w 3503192"/>
              <a:gd name="connsiteY482" fmla="*/ 5761441 h 5818346"/>
              <a:gd name="connsiteX483" fmla="*/ 3034546 w 3503192"/>
              <a:gd name="connsiteY483" fmla="*/ 5762681 h 5818346"/>
              <a:gd name="connsiteX484" fmla="*/ 3025626 w 3503192"/>
              <a:gd name="connsiteY484" fmla="*/ 5771600 h 5818346"/>
              <a:gd name="connsiteX485" fmla="*/ 3028268 w 3503192"/>
              <a:gd name="connsiteY485" fmla="*/ 5774242 h 5818346"/>
              <a:gd name="connsiteX486" fmla="*/ 3018191 w 3503192"/>
              <a:gd name="connsiteY486" fmla="*/ 5784318 h 5818346"/>
              <a:gd name="connsiteX487" fmla="*/ 3022818 w 3503192"/>
              <a:gd name="connsiteY487" fmla="*/ 5788943 h 5818346"/>
              <a:gd name="connsiteX488" fmla="*/ 3012080 w 3503192"/>
              <a:gd name="connsiteY488" fmla="*/ 5799681 h 5818346"/>
              <a:gd name="connsiteX489" fmla="*/ 3001344 w 3503192"/>
              <a:gd name="connsiteY489" fmla="*/ 5788943 h 5818346"/>
              <a:gd name="connsiteX490" fmla="*/ 3011419 w 3503192"/>
              <a:gd name="connsiteY490" fmla="*/ 5778867 h 5818346"/>
              <a:gd name="connsiteX491" fmla="*/ 3006794 w 3503192"/>
              <a:gd name="connsiteY491" fmla="*/ 5774242 h 5818346"/>
              <a:gd name="connsiteX492" fmla="*/ 3015715 w 3503192"/>
              <a:gd name="connsiteY492" fmla="*/ 5765323 h 5818346"/>
              <a:gd name="connsiteX493" fmla="*/ 3013072 w 3503192"/>
              <a:gd name="connsiteY493" fmla="*/ 5762681 h 5818346"/>
              <a:gd name="connsiteX494" fmla="*/ 3021413 w 3503192"/>
              <a:gd name="connsiteY494" fmla="*/ 5754339 h 5818346"/>
              <a:gd name="connsiteX495" fmla="*/ 3020173 w 3503192"/>
              <a:gd name="connsiteY495" fmla="*/ 5753099 h 5818346"/>
              <a:gd name="connsiteX496" fmla="*/ 3028681 w 3503192"/>
              <a:gd name="connsiteY496" fmla="*/ 5744591 h 5818346"/>
              <a:gd name="connsiteX497" fmla="*/ 3028104 w 3503192"/>
              <a:gd name="connsiteY497" fmla="*/ 5744014 h 5818346"/>
              <a:gd name="connsiteX498" fmla="*/ 3037683 w 3503192"/>
              <a:gd name="connsiteY498" fmla="*/ 5734434 h 5818346"/>
              <a:gd name="connsiteX499" fmla="*/ 3037022 w 3503192"/>
              <a:gd name="connsiteY499" fmla="*/ 5733773 h 5818346"/>
              <a:gd name="connsiteX500" fmla="*/ 3047759 w 3503192"/>
              <a:gd name="connsiteY500" fmla="*/ 5723037 h 5818346"/>
              <a:gd name="connsiteX501" fmla="*/ 2651820 w 3503192"/>
              <a:gd name="connsiteY501" fmla="*/ 5723037 h 5818346"/>
              <a:gd name="connsiteX502" fmla="*/ 2662558 w 3503192"/>
              <a:gd name="connsiteY502" fmla="*/ 5733773 h 5818346"/>
              <a:gd name="connsiteX503" fmla="*/ 2651820 w 3503192"/>
              <a:gd name="connsiteY503" fmla="*/ 5744512 h 5818346"/>
              <a:gd name="connsiteX504" fmla="*/ 2641084 w 3503192"/>
              <a:gd name="connsiteY504" fmla="*/ 5733773 h 5818346"/>
              <a:gd name="connsiteX505" fmla="*/ 2651820 w 3503192"/>
              <a:gd name="connsiteY505" fmla="*/ 5723037 h 5818346"/>
              <a:gd name="connsiteX506" fmla="*/ 3268441 w 3503192"/>
              <a:gd name="connsiteY506" fmla="*/ 5721716 h 5818346"/>
              <a:gd name="connsiteX507" fmla="*/ 3279179 w 3503192"/>
              <a:gd name="connsiteY507" fmla="*/ 5732452 h 5818346"/>
              <a:gd name="connsiteX508" fmla="*/ 3268441 w 3503192"/>
              <a:gd name="connsiteY508" fmla="*/ 5743188 h 5818346"/>
              <a:gd name="connsiteX509" fmla="*/ 3257705 w 3503192"/>
              <a:gd name="connsiteY509" fmla="*/ 5732452 h 5818346"/>
              <a:gd name="connsiteX510" fmla="*/ 3268441 w 3503192"/>
              <a:gd name="connsiteY510" fmla="*/ 5721716 h 5818346"/>
              <a:gd name="connsiteX511" fmla="*/ 3465668 w 3503192"/>
              <a:gd name="connsiteY511" fmla="*/ 5721055 h 5818346"/>
              <a:gd name="connsiteX512" fmla="*/ 3476406 w 3503192"/>
              <a:gd name="connsiteY512" fmla="*/ 5731791 h 5818346"/>
              <a:gd name="connsiteX513" fmla="*/ 3465668 w 3503192"/>
              <a:gd name="connsiteY513" fmla="*/ 5742529 h 5818346"/>
              <a:gd name="connsiteX514" fmla="*/ 3454932 w 3503192"/>
              <a:gd name="connsiteY514" fmla="*/ 5731791 h 5818346"/>
              <a:gd name="connsiteX515" fmla="*/ 3465668 w 3503192"/>
              <a:gd name="connsiteY515" fmla="*/ 5721055 h 5818346"/>
              <a:gd name="connsiteX516" fmla="*/ 3238544 w 3503192"/>
              <a:gd name="connsiteY516" fmla="*/ 5721055 h 5818346"/>
              <a:gd name="connsiteX517" fmla="*/ 3249282 w 3503192"/>
              <a:gd name="connsiteY517" fmla="*/ 5731791 h 5818346"/>
              <a:gd name="connsiteX518" fmla="*/ 3238544 w 3503192"/>
              <a:gd name="connsiteY518" fmla="*/ 5742529 h 5818346"/>
              <a:gd name="connsiteX519" fmla="*/ 3227808 w 3503192"/>
              <a:gd name="connsiteY519" fmla="*/ 5731791 h 5818346"/>
              <a:gd name="connsiteX520" fmla="*/ 3238544 w 3503192"/>
              <a:gd name="connsiteY520" fmla="*/ 5721055 h 5818346"/>
              <a:gd name="connsiteX521" fmla="*/ 2689316 w 3503192"/>
              <a:gd name="connsiteY521" fmla="*/ 5720559 h 5818346"/>
              <a:gd name="connsiteX522" fmla="*/ 2700054 w 3503192"/>
              <a:gd name="connsiteY522" fmla="*/ 5731295 h 5818346"/>
              <a:gd name="connsiteX523" fmla="*/ 2689316 w 3503192"/>
              <a:gd name="connsiteY523" fmla="*/ 5742032 h 5818346"/>
              <a:gd name="connsiteX524" fmla="*/ 2678580 w 3503192"/>
              <a:gd name="connsiteY524" fmla="*/ 5731295 h 5818346"/>
              <a:gd name="connsiteX525" fmla="*/ 2689316 w 3503192"/>
              <a:gd name="connsiteY525" fmla="*/ 5720559 h 5818346"/>
              <a:gd name="connsiteX526" fmla="*/ 2261331 w 3503192"/>
              <a:gd name="connsiteY526" fmla="*/ 5720559 h 5818346"/>
              <a:gd name="connsiteX527" fmla="*/ 2272069 w 3503192"/>
              <a:gd name="connsiteY527" fmla="*/ 5731295 h 5818346"/>
              <a:gd name="connsiteX528" fmla="*/ 2261331 w 3503192"/>
              <a:gd name="connsiteY528" fmla="*/ 5742032 h 5818346"/>
              <a:gd name="connsiteX529" fmla="*/ 2250595 w 3503192"/>
              <a:gd name="connsiteY529" fmla="*/ 5731295 h 5818346"/>
              <a:gd name="connsiteX530" fmla="*/ 2261331 w 3503192"/>
              <a:gd name="connsiteY530" fmla="*/ 5720559 h 5818346"/>
              <a:gd name="connsiteX531" fmla="*/ 3206662 w 3503192"/>
              <a:gd name="connsiteY531" fmla="*/ 5720229 h 5818346"/>
              <a:gd name="connsiteX532" fmla="*/ 3217400 w 3503192"/>
              <a:gd name="connsiteY532" fmla="*/ 5730966 h 5818346"/>
              <a:gd name="connsiteX533" fmla="*/ 3206662 w 3503192"/>
              <a:gd name="connsiteY533" fmla="*/ 5741702 h 5818346"/>
              <a:gd name="connsiteX534" fmla="*/ 3195926 w 3503192"/>
              <a:gd name="connsiteY534" fmla="*/ 5730966 h 5818346"/>
              <a:gd name="connsiteX535" fmla="*/ 3206662 w 3503192"/>
              <a:gd name="connsiteY535" fmla="*/ 5720229 h 5818346"/>
              <a:gd name="connsiteX536" fmla="*/ 3172801 w 3503192"/>
              <a:gd name="connsiteY536" fmla="*/ 5718908 h 5818346"/>
              <a:gd name="connsiteX537" fmla="*/ 3183539 w 3503192"/>
              <a:gd name="connsiteY537" fmla="*/ 5729644 h 5818346"/>
              <a:gd name="connsiteX538" fmla="*/ 3172801 w 3503192"/>
              <a:gd name="connsiteY538" fmla="*/ 5740382 h 5818346"/>
              <a:gd name="connsiteX539" fmla="*/ 3162064 w 3503192"/>
              <a:gd name="connsiteY539" fmla="*/ 5729644 h 5818346"/>
              <a:gd name="connsiteX540" fmla="*/ 3172801 w 3503192"/>
              <a:gd name="connsiteY540" fmla="*/ 5718908 h 5818346"/>
              <a:gd name="connsiteX541" fmla="*/ 3006464 w 3503192"/>
              <a:gd name="connsiteY541" fmla="*/ 5718908 h 5818346"/>
              <a:gd name="connsiteX542" fmla="*/ 3017202 w 3503192"/>
              <a:gd name="connsiteY542" fmla="*/ 5729644 h 5818346"/>
              <a:gd name="connsiteX543" fmla="*/ 3008117 w 3503192"/>
              <a:gd name="connsiteY543" fmla="*/ 5738730 h 5818346"/>
              <a:gd name="connsiteX544" fmla="*/ 3010429 w 3503192"/>
              <a:gd name="connsiteY544" fmla="*/ 5741041 h 5818346"/>
              <a:gd name="connsiteX545" fmla="*/ 3002830 w 3503192"/>
              <a:gd name="connsiteY545" fmla="*/ 5748641 h 5818346"/>
              <a:gd name="connsiteX546" fmla="*/ 3004482 w 3503192"/>
              <a:gd name="connsiteY546" fmla="*/ 5750292 h 5818346"/>
              <a:gd name="connsiteX547" fmla="*/ 2997296 w 3503192"/>
              <a:gd name="connsiteY547" fmla="*/ 5757478 h 5818346"/>
              <a:gd name="connsiteX548" fmla="*/ 2999032 w 3503192"/>
              <a:gd name="connsiteY548" fmla="*/ 5759212 h 5818346"/>
              <a:gd name="connsiteX549" fmla="*/ 2991516 w 3503192"/>
              <a:gd name="connsiteY549" fmla="*/ 5766728 h 5818346"/>
              <a:gd name="connsiteX550" fmla="*/ 2994242 w 3503192"/>
              <a:gd name="connsiteY550" fmla="*/ 5769453 h 5818346"/>
              <a:gd name="connsiteX551" fmla="*/ 2985652 w 3503192"/>
              <a:gd name="connsiteY551" fmla="*/ 5778044 h 5818346"/>
              <a:gd name="connsiteX552" fmla="*/ 2989944 w 3503192"/>
              <a:gd name="connsiteY552" fmla="*/ 5782336 h 5818346"/>
              <a:gd name="connsiteX553" fmla="*/ 2979869 w 3503192"/>
              <a:gd name="connsiteY553" fmla="*/ 5792413 h 5818346"/>
              <a:gd name="connsiteX554" fmla="*/ 2986312 w 3503192"/>
              <a:gd name="connsiteY554" fmla="*/ 5798854 h 5818346"/>
              <a:gd name="connsiteX555" fmla="*/ 2975575 w 3503192"/>
              <a:gd name="connsiteY555" fmla="*/ 5809592 h 5818346"/>
              <a:gd name="connsiteX556" fmla="*/ 2964839 w 3503192"/>
              <a:gd name="connsiteY556" fmla="*/ 5798854 h 5818346"/>
              <a:gd name="connsiteX557" fmla="*/ 2974914 w 3503192"/>
              <a:gd name="connsiteY557" fmla="*/ 5788780 h 5818346"/>
              <a:gd name="connsiteX558" fmla="*/ 2968472 w 3503192"/>
              <a:gd name="connsiteY558" fmla="*/ 5782336 h 5818346"/>
              <a:gd name="connsiteX559" fmla="*/ 2977061 w 3503192"/>
              <a:gd name="connsiteY559" fmla="*/ 5773746 h 5818346"/>
              <a:gd name="connsiteX560" fmla="*/ 2972768 w 3503192"/>
              <a:gd name="connsiteY560" fmla="*/ 5769453 h 5818346"/>
              <a:gd name="connsiteX561" fmla="*/ 2980284 w 3503192"/>
              <a:gd name="connsiteY561" fmla="*/ 5761938 h 5818346"/>
              <a:gd name="connsiteX562" fmla="*/ 2977557 w 3503192"/>
              <a:gd name="connsiteY562" fmla="*/ 5759212 h 5818346"/>
              <a:gd name="connsiteX563" fmla="*/ 2984742 w 3503192"/>
              <a:gd name="connsiteY563" fmla="*/ 5752027 h 5818346"/>
              <a:gd name="connsiteX564" fmla="*/ 2983008 w 3503192"/>
              <a:gd name="connsiteY564" fmla="*/ 5750292 h 5818346"/>
              <a:gd name="connsiteX565" fmla="*/ 2990605 w 3503192"/>
              <a:gd name="connsiteY565" fmla="*/ 5742694 h 5818346"/>
              <a:gd name="connsiteX566" fmla="*/ 2988954 w 3503192"/>
              <a:gd name="connsiteY566" fmla="*/ 5741041 h 5818346"/>
              <a:gd name="connsiteX567" fmla="*/ 2998040 w 3503192"/>
              <a:gd name="connsiteY567" fmla="*/ 5731956 h 5818346"/>
              <a:gd name="connsiteX568" fmla="*/ 2995728 w 3503192"/>
              <a:gd name="connsiteY568" fmla="*/ 5729644 h 5818346"/>
              <a:gd name="connsiteX569" fmla="*/ 3006464 w 3503192"/>
              <a:gd name="connsiteY569" fmla="*/ 5718908 h 5818346"/>
              <a:gd name="connsiteX570" fmla="*/ 3443698 w 3503192"/>
              <a:gd name="connsiteY570" fmla="*/ 5717255 h 5818346"/>
              <a:gd name="connsiteX571" fmla="*/ 3454436 w 3503192"/>
              <a:gd name="connsiteY571" fmla="*/ 5727992 h 5818346"/>
              <a:gd name="connsiteX572" fmla="*/ 3443698 w 3503192"/>
              <a:gd name="connsiteY572" fmla="*/ 5738730 h 5818346"/>
              <a:gd name="connsiteX573" fmla="*/ 3432962 w 3503192"/>
              <a:gd name="connsiteY573" fmla="*/ 5727992 h 5818346"/>
              <a:gd name="connsiteX574" fmla="*/ 3443698 w 3503192"/>
              <a:gd name="connsiteY574" fmla="*/ 5717255 h 5818346"/>
              <a:gd name="connsiteX575" fmla="*/ 3136957 w 3503192"/>
              <a:gd name="connsiteY575" fmla="*/ 5716926 h 5818346"/>
              <a:gd name="connsiteX576" fmla="*/ 3147695 w 3503192"/>
              <a:gd name="connsiteY576" fmla="*/ 5727662 h 5818346"/>
              <a:gd name="connsiteX577" fmla="*/ 3136957 w 3503192"/>
              <a:gd name="connsiteY577" fmla="*/ 5738400 h 5818346"/>
              <a:gd name="connsiteX578" fmla="*/ 3126220 w 3503192"/>
              <a:gd name="connsiteY578" fmla="*/ 5727662 h 5818346"/>
              <a:gd name="connsiteX579" fmla="*/ 3136957 w 3503192"/>
              <a:gd name="connsiteY579" fmla="*/ 5716926 h 5818346"/>
              <a:gd name="connsiteX580" fmla="*/ 2729290 w 3503192"/>
              <a:gd name="connsiteY580" fmla="*/ 5716926 h 5818346"/>
              <a:gd name="connsiteX581" fmla="*/ 2740028 w 3503192"/>
              <a:gd name="connsiteY581" fmla="*/ 5727662 h 5818346"/>
              <a:gd name="connsiteX582" fmla="*/ 2738871 w 3503192"/>
              <a:gd name="connsiteY582" fmla="*/ 5728819 h 5818346"/>
              <a:gd name="connsiteX583" fmla="*/ 2749278 w 3503192"/>
              <a:gd name="connsiteY583" fmla="*/ 5739224 h 5818346"/>
              <a:gd name="connsiteX584" fmla="*/ 2748615 w 3503192"/>
              <a:gd name="connsiteY584" fmla="*/ 5739886 h 5818346"/>
              <a:gd name="connsiteX585" fmla="*/ 2757536 w 3503192"/>
              <a:gd name="connsiteY585" fmla="*/ 5748805 h 5818346"/>
              <a:gd name="connsiteX586" fmla="*/ 2756627 w 3503192"/>
              <a:gd name="connsiteY586" fmla="*/ 5749714 h 5818346"/>
              <a:gd name="connsiteX587" fmla="*/ 2764806 w 3503192"/>
              <a:gd name="connsiteY587" fmla="*/ 5757891 h 5818346"/>
              <a:gd name="connsiteX588" fmla="*/ 2762905 w 3503192"/>
              <a:gd name="connsiteY588" fmla="*/ 5759791 h 5818346"/>
              <a:gd name="connsiteX589" fmla="*/ 2771411 w 3503192"/>
              <a:gd name="connsiteY589" fmla="*/ 5768296 h 5818346"/>
              <a:gd name="connsiteX590" fmla="*/ 2767860 w 3503192"/>
              <a:gd name="connsiteY590" fmla="*/ 5771849 h 5818346"/>
              <a:gd name="connsiteX591" fmla="*/ 2777193 w 3503192"/>
              <a:gd name="connsiteY591" fmla="*/ 5781181 h 5818346"/>
              <a:gd name="connsiteX592" fmla="*/ 2766455 w 3503192"/>
              <a:gd name="connsiteY592" fmla="*/ 5791919 h 5818346"/>
              <a:gd name="connsiteX593" fmla="*/ 2755718 w 3503192"/>
              <a:gd name="connsiteY593" fmla="*/ 5781181 h 5818346"/>
              <a:gd name="connsiteX594" fmla="*/ 2759270 w 3503192"/>
              <a:gd name="connsiteY594" fmla="*/ 5777631 h 5818346"/>
              <a:gd name="connsiteX595" fmla="*/ 2749936 w 3503192"/>
              <a:gd name="connsiteY595" fmla="*/ 5768296 h 5818346"/>
              <a:gd name="connsiteX596" fmla="*/ 2751837 w 3503192"/>
              <a:gd name="connsiteY596" fmla="*/ 5766397 h 5818346"/>
              <a:gd name="connsiteX597" fmla="*/ 2743331 w 3503192"/>
              <a:gd name="connsiteY597" fmla="*/ 5757891 h 5818346"/>
              <a:gd name="connsiteX598" fmla="*/ 2744238 w 3503192"/>
              <a:gd name="connsiteY598" fmla="*/ 5756984 h 5818346"/>
              <a:gd name="connsiteX599" fmla="*/ 2736062 w 3503192"/>
              <a:gd name="connsiteY599" fmla="*/ 5748805 h 5818346"/>
              <a:gd name="connsiteX600" fmla="*/ 2736724 w 3503192"/>
              <a:gd name="connsiteY600" fmla="*/ 5748145 h 5818346"/>
              <a:gd name="connsiteX601" fmla="*/ 2727803 w 3503192"/>
              <a:gd name="connsiteY601" fmla="*/ 5739224 h 5818346"/>
              <a:gd name="connsiteX602" fmla="*/ 2728958 w 3503192"/>
              <a:gd name="connsiteY602" fmla="*/ 5738069 h 5818346"/>
              <a:gd name="connsiteX603" fmla="*/ 2718553 w 3503192"/>
              <a:gd name="connsiteY603" fmla="*/ 5727662 h 5818346"/>
              <a:gd name="connsiteX604" fmla="*/ 2729290 w 3503192"/>
              <a:gd name="connsiteY604" fmla="*/ 5716926 h 5818346"/>
              <a:gd name="connsiteX605" fmla="*/ 2502826 w 3503192"/>
              <a:gd name="connsiteY605" fmla="*/ 5716430 h 5818346"/>
              <a:gd name="connsiteX606" fmla="*/ 2513564 w 3503192"/>
              <a:gd name="connsiteY606" fmla="*/ 5727166 h 5818346"/>
              <a:gd name="connsiteX607" fmla="*/ 2502826 w 3503192"/>
              <a:gd name="connsiteY607" fmla="*/ 5737903 h 5818346"/>
              <a:gd name="connsiteX608" fmla="*/ 2504972 w 3503192"/>
              <a:gd name="connsiteY608" fmla="*/ 5740049 h 5818346"/>
              <a:gd name="connsiteX609" fmla="*/ 2494236 w 3503192"/>
              <a:gd name="connsiteY609" fmla="*/ 5750788 h 5818346"/>
              <a:gd name="connsiteX610" fmla="*/ 2483500 w 3503192"/>
              <a:gd name="connsiteY610" fmla="*/ 5740049 h 5818346"/>
              <a:gd name="connsiteX611" fmla="*/ 2494236 w 3503192"/>
              <a:gd name="connsiteY611" fmla="*/ 5729313 h 5818346"/>
              <a:gd name="connsiteX612" fmla="*/ 2492089 w 3503192"/>
              <a:gd name="connsiteY612" fmla="*/ 5727166 h 5818346"/>
              <a:gd name="connsiteX613" fmla="*/ 2502826 w 3503192"/>
              <a:gd name="connsiteY613" fmla="*/ 5716430 h 5818346"/>
              <a:gd name="connsiteX614" fmla="*/ 2533385 w 3503192"/>
              <a:gd name="connsiteY614" fmla="*/ 5715934 h 5818346"/>
              <a:gd name="connsiteX615" fmla="*/ 2544123 w 3503192"/>
              <a:gd name="connsiteY615" fmla="*/ 5726670 h 5818346"/>
              <a:gd name="connsiteX616" fmla="*/ 2533385 w 3503192"/>
              <a:gd name="connsiteY616" fmla="*/ 5737407 h 5818346"/>
              <a:gd name="connsiteX617" fmla="*/ 2522649 w 3503192"/>
              <a:gd name="connsiteY617" fmla="*/ 5726670 h 5818346"/>
              <a:gd name="connsiteX618" fmla="*/ 2533385 w 3503192"/>
              <a:gd name="connsiteY618" fmla="*/ 5715934 h 5818346"/>
              <a:gd name="connsiteX619" fmla="*/ 2281814 w 3503192"/>
              <a:gd name="connsiteY619" fmla="*/ 5715273 h 5818346"/>
              <a:gd name="connsiteX620" fmla="*/ 2292550 w 3503192"/>
              <a:gd name="connsiteY620" fmla="*/ 5726009 h 5818346"/>
              <a:gd name="connsiteX621" fmla="*/ 2281814 w 3503192"/>
              <a:gd name="connsiteY621" fmla="*/ 5736748 h 5818346"/>
              <a:gd name="connsiteX622" fmla="*/ 2271077 w 3503192"/>
              <a:gd name="connsiteY622" fmla="*/ 5726009 h 5818346"/>
              <a:gd name="connsiteX623" fmla="*/ 2281814 w 3503192"/>
              <a:gd name="connsiteY623" fmla="*/ 5715273 h 5818346"/>
              <a:gd name="connsiteX624" fmla="*/ 2565926 w 3503192"/>
              <a:gd name="connsiteY624" fmla="*/ 5714944 h 5818346"/>
              <a:gd name="connsiteX625" fmla="*/ 2576664 w 3503192"/>
              <a:gd name="connsiteY625" fmla="*/ 5725680 h 5818346"/>
              <a:gd name="connsiteX626" fmla="*/ 2565926 w 3503192"/>
              <a:gd name="connsiteY626" fmla="*/ 5736416 h 5818346"/>
              <a:gd name="connsiteX627" fmla="*/ 2555189 w 3503192"/>
              <a:gd name="connsiteY627" fmla="*/ 5725680 h 5818346"/>
              <a:gd name="connsiteX628" fmla="*/ 2565926 w 3503192"/>
              <a:gd name="connsiteY628" fmla="*/ 5714944 h 5818346"/>
              <a:gd name="connsiteX629" fmla="*/ 3098635 w 3503192"/>
              <a:gd name="connsiteY629" fmla="*/ 5713952 h 5818346"/>
              <a:gd name="connsiteX630" fmla="*/ 3109373 w 3503192"/>
              <a:gd name="connsiteY630" fmla="*/ 5724688 h 5818346"/>
              <a:gd name="connsiteX631" fmla="*/ 3098635 w 3503192"/>
              <a:gd name="connsiteY631" fmla="*/ 5735424 h 5818346"/>
              <a:gd name="connsiteX632" fmla="*/ 3087898 w 3503192"/>
              <a:gd name="connsiteY632" fmla="*/ 5724688 h 5818346"/>
              <a:gd name="connsiteX633" fmla="*/ 3098635 w 3503192"/>
              <a:gd name="connsiteY633" fmla="*/ 5713952 h 5818346"/>
              <a:gd name="connsiteX634" fmla="*/ 3503192 w 3503192"/>
              <a:gd name="connsiteY634" fmla="*/ 5713428 h 5818346"/>
              <a:gd name="connsiteX635" fmla="*/ 3503192 w 3503192"/>
              <a:gd name="connsiteY635" fmla="*/ 5716788 h 5818346"/>
              <a:gd name="connsiteX636" fmla="*/ 3501512 w 3503192"/>
              <a:gd name="connsiteY636" fmla="*/ 5715108 h 5818346"/>
              <a:gd name="connsiteX637" fmla="*/ 2600448 w 3503192"/>
              <a:gd name="connsiteY637" fmla="*/ 5713291 h 5818346"/>
              <a:gd name="connsiteX638" fmla="*/ 2611186 w 3503192"/>
              <a:gd name="connsiteY638" fmla="*/ 5724027 h 5818346"/>
              <a:gd name="connsiteX639" fmla="*/ 2600448 w 3503192"/>
              <a:gd name="connsiteY639" fmla="*/ 5734764 h 5818346"/>
              <a:gd name="connsiteX640" fmla="*/ 2589712 w 3503192"/>
              <a:gd name="connsiteY640" fmla="*/ 5724027 h 5818346"/>
              <a:gd name="connsiteX641" fmla="*/ 2600448 w 3503192"/>
              <a:gd name="connsiteY641" fmla="*/ 5713291 h 5818346"/>
              <a:gd name="connsiteX642" fmla="*/ 2962526 w 3503192"/>
              <a:gd name="connsiteY642" fmla="*/ 5713126 h 5818346"/>
              <a:gd name="connsiteX643" fmla="*/ 2973264 w 3503192"/>
              <a:gd name="connsiteY643" fmla="*/ 5723863 h 5818346"/>
              <a:gd name="connsiteX644" fmla="*/ 2964509 w 3503192"/>
              <a:gd name="connsiteY644" fmla="*/ 5732617 h 5818346"/>
              <a:gd name="connsiteX645" fmla="*/ 2968970 w 3503192"/>
              <a:gd name="connsiteY645" fmla="*/ 5737077 h 5818346"/>
              <a:gd name="connsiteX646" fmla="*/ 2962031 w 3503192"/>
              <a:gd name="connsiteY646" fmla="*/ 5744016 h 5818346"/>
              <a:gd name="connsiteX647" fmla="*/ 2965004 w 3503192"/>
              <a:gd name="connsiteY647" fmla="*/ 5746988 h 5818346"/>
              <a:gd name="connsiteX648" fmla="*/ 2958890 w 3503192"/>
              <a:gd name="connsiteY648" fmla="*/ 5753099 h 5818346"/>
              <a:gd name="connsiteX649" fmla="*/ 2961534 w 3503192"/>
              <a:gd name="connsiteY649" fmla="*/ 5755742 h 5818346"/>
              <a:gd name="connsiteX650" fmla="*/ 2955341 w 3503192"/>
              <a:gd name="connsiteY650" fmla="*/ 5761935 h 5818346"/>
              <a:gd name="connsiteX651" fmla="*/ 2958563 w 3503192"/>
              <a:gd name="connsiteY651" fmla="*/ 5765157 h 5818346"/>
              <a:gd name="connsiteX652" fmla="*/ 2951541 w 3503192"/>
              <a:gd name="connsiteY652" fmla="*/ 5772179 h 5818346"/>
              <a:gd name="connsiteX653" fmla="*/ 2955754 w 3503192"/>
              <a:gd name="connsiteY653" fmla="*/ 5776391 h 5818346"/>
              <a:gd name="connsiteX654" fmla="*/ 2947412 w 3503192"/>
              <a:gd name="connsiteY654" fmla="*/ 5784733 h 5818346"/>
              <a:gd name="connsiteX655" fmla="*/ 2953442 w 3503192"/>
              <a:gd name="connsiteY655" fmla="*/ 5790761 h 5818346"/>
              <a:gd name="connsiteX656" fmla="*/ 2942704 w 3503192"/>
              <a:gd name="connsiteY656" fmla="*/ 5801497 h 5818346"/>
              <a:gd name="connsiteX657" fmla="*/ 2931967 w 3503192"/>
              <a:gd name="connsiteY657" fmla="*/ 5790761 h 5818346"/>
              <a:gd name="connsiteX658" fmla="*/ 2940307 w 3503192"/>
              <a:gd name="connsiteY658" fmla="*/ 5782421 h 5818346"/>
              <a:gd name="connsiteX659" fmla="*/ 2934279 w 3503192"/>
              <a:gd name="connsiteY659" fmla="*/ 5776391 h 5818346"/>
              <a:gd name="connsiteX660" fmla="*/ 2941301 w 3503192"/>
              <a:gd name="connsiteY660" fmla="*/ 5769369 h 5818346"/>
              <a:gd name="connsiteX661" fmla="*/ 2937088 w 3503192"/>
              <a:gd name="connsiteY661" fmla="*/ 5765157 h 5818346"/>
              <a:gd name="connsiteX662" fmla="*/ 2943283 w 3503192"/>
              <a:gd name="connsiteY662" fmla="*/ 5758964 h 5818346"/>
              <a:gd name="connsiteX663" fmla="*/ 2940061 w 3503192"/>
              <a:gd name="connsiteY663" fmla="*/ 5755742 h 5818346"/>
              <a:gd name="connsiteX664" fmla="*/ 2946172 w 3503192"/>
              <a:gd name="connsiteY664" fmla="*/ 5749631 h 5818346"/>
              <a:gd name="connsiteX665" fmla="*/ 2943529 w 3503192"/>
              <a:gd name="connsiteY665" fmla="*/ 5746988 h 5818346"/>
              <a:gd name="connsiteX666" fmla="*/ 2950468 w 3503192"/>
              <a:gd name="connsiteY666" fmla="*/ 5740049 h 5818346"/>
              <a:gd name="connsiteX667" fmla="*/ 2947495 w 3503192"/>
              <a:gd name="connsiteY667" fmla="*/ 5737077 h 5818346"/>
              <a:gd name="connsiteX668" fmla="*/ 2956249 w 3503192"/>
              <a:gd name="connsiteY668" fmla="*/ 5728323 h 5818346"/>
              <a:gd name="connsiteX669" fmla="*/ 2951789 w 3503192"/>
              <a:gd name="connsiteY669" fmla="*/ 5723863 h 5818346"/>
              <a:gd name="connsiteX670" fmla="*/ 2962526 w 3503192"/>
              <a:gd name="connsiteY670" fmla="*/ 5713126 h 5818346"/>
              <a:gd name="connsiteX671" fmla="*/ 2771740 w 3503192"/>
              <a:gd name="connsiteY671" fmla="*/ 5711805 h 5818346"/>
              <a:gd name="connsiteX672" fmla="*/ 2782479 w 3503192"/>
              <a:gd name="connsiteY672" fmla="*/ 5722541 h 5818346"/>
              <a:gd name="connsiteX673" fmla="*/ 2779340 w 3503192"/>
              <a:gd name="connsiteY673" fmla="*/ 5725680 h 5818346"/>
              <a:gd name="connsiteX674" fmla="*/ 2789416 w 3503192"/>
              <a:gd name="connsiteY674" fmla="*/ 5735756 h 5818346"/>
              <a:gd name="connsiteX675" fmla="*/ 2787433 w 3503192"/>
              <a:gd name="connsiteY675" fmla="*/ 5737740 h 5818346"/>
              <a:gd name="connsiteX676" fmla="*/ 2795693 w 3503192"/>
              <a:gd name="connsiteY676" fmla="*/ 5745998 h 5818346"/>
              <a:gd name="connsiteX677" fmla="*/ 2794124 w 3503192"/>
              <a:gd name="connsiteY677" fmla="*/ 5747567 h 5818346"/>
              <a:gd name="connsiteX678" fmla="*/ 2801310 w 3503192"/>
              <a:gd name="connsiteY678" fmla="*/ 5754752 h 5818346"/>
              <a:gd name="connsiteX679" fmla="*/ 2799080 w 3503192"/>
              <a:gd name="connsiteY679" fmla="*/ 5756982 h 5818346"/>
              <a:gd name="connsiteX680" fmla="*/ 2806265 w 3503192"/>
              <a:gd name="connsiteY680" fmla="*/ 5764167 h 5818346"/>
              <a:gd name="connsiteX681" fmla="*/ 2802713 w 3503192"/>
              <a:gd name="connsiteY681" fmla="*/ 5767718 h 5818346"/>
              <a:gd name="connsiteX682" fmla="*/ 2810558 w 3503192"/>
              <a:gd name="connsiteY682" fmla="*/ 5775564 h 5818346"/>
              <a:gd name="connsiteX683" fmla="*/ 2805273 w 3503192"/>
              <a:gd name="connsiteY683" fmla="*/ 5780850 h 5818346"/>
              <a:gd name="connsiteX684" fmla="*/ 2814525 w 3503192"/>
              <a:gd name="connsiteY684" fmla="*/ 5790100 h 5818346"/>
              <a:gd name="connsiteX685" fmla="*/ 2803786 w 3503192"/>
              <a:gd name="connsiteY685" fmla="*/ 5800838 h 5818346"/>
              <a:gd name="connsiteX686" fmla="*/ 2793050 w 3503192"/>
              <a:gd name="connsiteY686" fmla="*/ 5790100 h 5818346"/>
              <a:gd name="connsiteX687" fmla="*/ 2798336 w 3503192"/>
              <a:gd name="connsiteY687" fmla="*/ 5784816 h 5818346"/>
              <a:gd name="connsiteX688" fmla="*/ 2789086 w 3503192"/>
              <a:gd name="connsiteY688" fmla="*/ 5775564 h 5818346"/>
              <a:gd name="connsiteX689" fmla="*/ 2792636 w 3503192"/>
              <a:gd name="connsiteY689" fmla="*/ 5772014 h 5818346"/>
              <a:gd name="connsiteX690" fmla="*/ 2784790 w 3503192"/>
              <a:gd name="connsiteY690" fmla="*/ 5764167 h 5818346"/>
              <a:gd name="connsiteX691" fmla="*/ 2787020 w 3503192"/>
              <a:gd name="connsiteY691" fmla="*/ 5761937 h 5818346"/>
              <a:gd name="connsiteX692" fmla="*/ 2779836 w 3503192"/>
              <a:gd name="connsiteY692" fmla="*/ 5754752 h 5818346"/>
              <a:gd name="connsiteX693" fmla="*/ 2781405 w 3503192"/>
              <a:gd name="connsiteY693" fmla="*/ 5753184 h 5818346"/>
              <a:gd name="connsiteX694" fmla="*/ 2774219 w 3503192"/>
              <a:gd name="connsiteY694" fmla="*/ 5745998 h 5818346"/>
              <a:gd name="connsiteX695" fmla="*/ 2776201 w 3503192"/>
              <a:gd name="connsiteY695" fmla="*/ 5744016 h 5818346"/>
              <a:gd name="connsiteX696" fmla="*/ 2767943 w 3503192"/>
              <a:gd name="connsiteY696" fmla="*/ 5735756 h 5818346"/>
              <a:gd name="connsiteX697" fmla="*/ 2771082 w 3503192"/>
              <a:gd name="connsiteY697" fmla="*/ 5732618 h 5818346"/>
              <a:gd name="connsiteX698" fmla="*/ 2761004 w 3503192"/>
              <a:gd name="connsiteY698" fmla="*/ 5722541 h 5818346"/>
              <a:gd name="connsiteX699" fmla="*/ 2771740 w 3503192"/>
              <a:gd name="connsiteY699" fmla="*/ 5711805 h 5818346"/>
              <a:gd name="connsiteX700" fmla="*/ 2302957 w 3503192"/>
              <a:gd name="connsiteY700" fmla="*/ 5711475 h 5818346"/>
              <a:gd name="connsiteX701" fmla="*/ 2313695 w 3503192"/>
              <a:gd name="connsiteY701" fmla="*/ 5722212 h 5818346"/>
              <a:gd name="connsiteX702" fmla="*/ 2302957 w 3503192"/>
              <a:gd name="connsiteY702" fmla="*/ 5732948 h 5818346"/>
              <a:gd name="connsiteX703" fmla="*/ 2292220 w 3503192"/>
              <a:gd name="connsiteY703" fmla="*/ 5722212 h 5818346"/>
              <a:gd name="connsiteX704" fmla="*/ 2302957 w 3503192"/>
              <a:gd name="connsiteY704" fmla="*/ 5711475 h 5818346"/>
              <a:gd name="connsiteX705" fmla="*/ 2637448 w 3503192"/>
              <a:gd name="connsiteY705" fmla="*/ 5710648 h 5818346"/>
              <a:gd name="connsiteX706" fmla="*/ 2648187 w 3503192"/>
              <a:gd name="connsiteY706" fmla="*/ 5721384 h 5818346"/>
              <a:gd name="connsiteX707" fmla="*/ 2637448 w 3503192"/>
              <a:gd name="connsiteY707" fmla="*/ 5732122 h 5818346"/>
              <a:gd name="connsiteX708" fmla="*/ 2626712 w 3503192"/>
              <a:gd name="connsiteY708" fmla="*/ 5721384 h 5818346"/>
              <a:gd name="connsiteX709" fmla="*/ 2637448 w 3503192"/>
              <a:gd name="connsiteY709" fmla="*/ 5710648 h 5818346"/>
              <a:gd name="connsiteX710" fmla="*/ 3289420 w 3503192"/>
              <a:gd name="connsiteY710" fmla="*/ 5710319 h 5818346"/>
              <a:gd name="connsiteX711" fmla="*/ 3300156 w 3503192"/>
              <a:gd name="connsiteY711" fmla="*/ 5721055 h 5818346"/>
              <a:gd name="connsiteX712" fmla="*/ 3297761 w 3503192"/>
              <a:gd name="connsiteY712" fmla="*/ 5723452 h 5818346"/>
              <a:gd name="connsiteX713" fmla="*/ 3307755 w 3503192"/>
              <a:gd name="connsiteY713" fmla="*/ 5733444 h 5818346"/>
              <a:gd name="connsiteX714" fmla="*/ 3297017 w 3503192"/>
              <a:gd name="connsiteY714" fmla="*/ 5744180 h 5818346"/>
              <a:gd name="connsiteX715" fmla="*/ 3286281 w 3503192"/>
              <a:gd name="connsiteY715" fmla="*/ 5733444 h 5818346"/>
              <a:gd name="connsiteX716" fmla="*/ 3288676 w 3503192"/>
              <a:gd name="connsiteY716" fmla="*/ 5731049 h 5818346"/>
              <a:gd name="connsiteX717" fmla="*/ 3278683 w 3503192"/>
              <a:gd name="connsiteY717" fmla="*/ 5721055 h 5818346"/>
              <a:gd name="connsiteX718" fmla="*/ 3289420 w 3503192"/>
              <a:gd name="connsiteY718" fmla="*/ 5710319 h 5818346"/>
              <a:gd name="connsiteX719" fmla="*/ 3258366 w 3503192"/>
              <a:gd name="connsiteY719" fmla="*/ 5709658 h 5818346"/>
              <a:gd name="connsiteX720" fmla="*/ 3269104 w 3503192"/>
              <a:gd name="connsiteY720" fmla="*/ 5720394 h 5818346"/>
              <a:gd name="connsiteX721" fmla="*/ 3258366 w 3503192"/>
              <a:gd name="connsiteY721" fmla="*/ 5731132 h 5818346"/>
              <a:gd name="connsiteX722" fmla="*/ 3247629 w 3503192"/>
              <a:gd name="connsiteY722" fmla="*/ 5720394 h 5818346"/>
              <a:gd name="connsiteX723" fmla="*/ 3258366 w 3503192"/>
              <a:gd name="connsiteY723" fmla="*/ 5709658 h 5818346"/>
              <a:gd name="connsiteX724" fmla="*/ 3057670 w 3503192"/>
              <a:gd name="connsiteY724" fmla="*/ 5709327 h 5818346"/>
              <a:gd name="connsiteX725" fmla="*/ 3068406 w 3503192"/>
              <a:gd name="connsiteY725" fmla="*/ 5720063 h 5818346"/>
              <a:gd name="connsiteX726" fmla="*/ 3057670 w 3503192"/>
              <a:gd name="connsiteY726" fmla="*/ 5730799 h 5818346"/>
              <a:gd name="connsiteX727" fmla="*/ 3046934 w 3503192"/>
              <a:gd name="connsiteY727" fmla="*/ 5720063 h 5818346"/>
              <a:gd name="connsiteX728" fmla="*/ 3057670 w 3503192"/>
              <a:gd name="connsiteY728" fmla="*/ 5709327 h 5818346"/>
              <a:gd name="connsiteX729" fmla="*/ 2324761 w 3503192"/>
              <a:gd name="connsiteY729" fmla="*/ 5708666 h 5818346"/>
              <a:gd name="connsiteX730" fmla="*/ 2335499 w 3503192"/>
              <a:gd name="connsiteY730" fmla="*/ 5719402 h 5818346"/>
              <a:gd name="connsiteX731" fmla="*/ 2324761 w 3503192"/>
              <a:gd name="connsiteY731" fmla="*/ 5730140 h 5818346"/>
              <a:gd name="connsiteX732" fmla="*/ 2314024 w 3503192"/>
              <a:gd name="connsiteY732" fmla="*/ 5719402 h 5818346"/>
              <a:gd name="connsiteX733" fmla="*/ 2324761 w 3503192"/>
              <a:gd name="connsiteY733" fmla="*/ 5708666 h 5818346"/>
              <a:gd name="connsiteX734" fmla="*/ 3225329 w 3503192"/>
              <a:gd name="connsiteY734" fmla="*/ 5708336 h 5818346"/>
              <a:gd name="connsiteX735" fmla="*/ 3236067 w 3503192"/>
              <a:gd name="connsiteY735" fmla="*/ 5719073 h 5818346"/>
              <a:gd name="connsiteX736" fmla="*/ 3225329 w 3503192"/>
              <a:gd name="connsiteY736" fmla="*/ 5729809 h 5818346"/>
              <a:gd name="connsiteX737" fmla="*/ 3214593 w 3503192"/>
              <a:gd name="connsiteY737" fmla="*/ 5719073 h 5818346"/>
              <a:gd name="connsiteX738" fmla="*/ 3225329 w 3503192"/>
              <a:gd name="connsiteY738" fmla="*/ 5708336 h 5818346"/>
              <a:gd name="connsiteX739" fmla="*/ 2196414 w 3503192"/>
              <a:gd name="connsiteY739" fmla="*/ 5708005 h 5818346"/>
              <a:gd name="connsiteX740" fmla="*/ 2206656 w 3503192"/>
              <a:gd name="connsiteY740" fmla="*/ 5718247 h 5818346"/>
              <a:gd name="connsiteX741" fmla="*/ 2196414 w 3503192"/>
              <a:gd name="connsiteY741" fmla="*/ 5728488 h 5818346"/>
              <a:gd name="connsiteX742" fmla="*/ 2186173 w 3503192"/>
              <a:gd name="connsiteY742" fmla="*/ 5718247 h 5818346"/>
              <a:gd name="connsiteX743" fmla="*/ 2196414 w 3503192"/>
              <a:gd name="connsiteY743" fmla="*/ 5708005 h 5818346"/>
              <a:gd name="connsiteX744" fmla="*/ 2676927 w 3503192"/>
              <a:gd name="connsiteY744" fmla="*/ 5706684 h 5818346"/>
              <a:gd name="connsiteX745" fmla="*/ 2687666 w 3503192"/>
              <a:gd name="connsiteY745" fmla="*/ 5717420 h 5818346"/>
              <a:gd name="connsiteX746" fmla="*/ 2676927 w 3503192"/>
              <a:gd name="connsiteY746" fmla="*/ 5728156 h 5818346"/>
              <a:gd name="connsiteX747" fmla="*/ 2666191 w 3503192"/>
              <a:gd name="connsiteY747" fmla="*/ 5717420 h 5818346"/>
              <a:gd name="connsiteX748" fmla="*/ 2676927 w 3503192"/>
              <a:gd name="connsiteY748" fmla="*/ 5706684 h 5818346"/>
              <a:gd name="connsiteX749" fmla="*/ 3189980 w 3503192"/>
              <a:gd name="connsiteY749" fmla="*/ 5706189 h 5818346"/>
              <a:gd name="connsiteX750" fmla="*/ 3200718 w 3503192"/>
              <a:gd name="connsiteY750" fmla="*/ 5716926 h 5818346"/>
              <a:gd name="connsiteX751" fmla="*/ 3189980 w 3503192"/>
              <a:gd name="connsiteY751" fmla="*/ 5727662 h 5818346"/>
              <a:gd name="connsiteX752" fmla="*/ 3179243 w 3503192"/>
              <a:gd name="connsiteY752" fmla="*/ 5716926 h 5818346"/>
              <a:gd name="connsiteX753" fmla="*/ 3189980 w 3503192"/>
              <a:gd name="connsiteY753" fmla="*/ 5706189 h 5818346"/>
              <a:gd name="connsiteX754" fmla="*/ 2915614 w 3503192"/>
              <a:gd name="connsiteY754" fmla="*/ 5705362 h 5818346"/>
              <a:gd name="connsiteX755" fmla="*/ 2926352 w 3503192"/>
              <a:gd name="connsiteY755" fmla="*/ 5716099 h 5818346"/>
              <a:gd name="connsiteX756" fmla="*/ 2917761 w 3503192"/>
              <a:gd name="connsiteY756" fmla="*/ 5724688 h 5818346"/>
              <a:gd name="connsiteX757" fmla="*/ 2924866 w 3503192"/>
              <a:gd name="connsiteY757" fmla="*/ 5731791 h 5818346"/>
              <a:gd name="connsiteX758" fmla="*/ 2918505 w 3503192"/>
              <a:gd name="connsiteY758" fmla="*/ 5738152 h 5818346"/>
              <a:gd name="connsiteX759" fmla="*/ 2923378 w 3503192"/>
              <a:gd name="connsiteY759" fmla="*/ 5743024 h 5818346"/>
              <a:gd name="connsiteX760" fmla="*/ 2918175 w 3503192"/>
              <a:gd name="connsiteY760" fmla="*/ 5748228 h 5818346"/>
              <a:gd name="connsiteX761" fmla="*/ 2922056 w 3503192"/>
              <a:gd name="connsiteY761" fmla="*/ 5752109 h 5818346"/>
              <a:gd name="connsiteX762" fmla="*/ 2917102 w 3503192"/>
              <a:gd name="connsiteY762" fmla="*/ 5757064 h 5818346"/>
              <a:gd name="connsiteX763" fmla="*/ 2920902 w 3503192"/>
              <a:gd name="connsiteY763" fmla="*/ 5760863 h 5818346"/>
              <a:gd name="connsiteX764" fmla="*/ 2915449 w 3503192"/>
              <a:gd name="connsiteY764" fmla="*/ 5766315 h 5818346"/>
              <a:gd name="connsiteX765" fmla="*/ 2919910 w 3503192"/>
              <a:gd name="connsiteY765" fmla="*/ 5770774 h 5818346"/>
              <a:gd name="connsiteX766" fmla="*/ 2913136 w 3503192"/>
              <a:gd name="connsiteY766" fmla="*/ 5777546 h 5818346"/>
              <a:gd name="connsiteX767" fmla="*/ 2919084 w 3503192"/>
              <a:gd name="connsiteY767" fmla="*/ 5783493 h 5818346"/>
              <a:gd name="connsiteX768" fmla="*/ 2910411 w 3503192"/>
              <a:gd name="connsiteY768" fmla="*/ 5792165 h 5818346"/>
              <a:gd name="connsiteX769" fmla="*/ 2918258 w 3503192"/>
              <a:gd name="connsiteY769" fmla="*/ 5800011 h 5818346"/>
              <a:gd name="connsiteX770" fmla="*/ 2907520 w 3503192"/>
              <a:gd name="connsiteY770" fmla="*/ 5810747 h 5818346"/>
              <a:gd name="connsiteX771" fmla="*/ 2896784 w 3503192"/>
              <a:gd name="connsiteY771" fmla="*/ 5800011 h 5818346"/>
              <a:gd name="connsiteX772" fmla="*/ 2905457 w 3503192"/>
              <a:gd name="connsiteY772" fmla="*/ 5791340 h 5818346"/>
              <a:gd name="connsiteX773" fmla="*/ 2897610 w 3503192"/>
              <a:gd name="connsiteY773" fmla="*/ 5783493 h 5818346"/>
              <a:gd name="connsiteX774" fmla="*/ 2904382 w 3503192"/>
              <a:gd name="connsiteY774" fmla="*/ 5776721 h 5818346"/>
              <a:gd name="connsiteX775" fmla="*/ 2898435 w 3503192"/>
              <a:gd name="connsiteY775" fmla="*/ 5770774 h 5818346"/>
              <a:gd name="connsiteX776" fmla="*/ 2903887 w 3503192"/>
              <a:gd name="connsiteY776" fmla="*/ 5765323 h 5818346"/>
              <a:gd name="connsiteX777" fmla="*/ 2899427 w 3503192"/>
              <a:gd name="connsiteY777" fmla="*/ 5760863 h 5818346"/>
              <a:gd name="connsiteX778" fmla="*/ 2904383 w 3503192"/>
              <a:gd name="connsiteY778" fmla="*/ 5755909 h 5818346"/>
              <a:gd name="connsiteX779" fmla="*/ 2900584 w 3503192"/>
              <a:gd name="connsiteY779" fmla="*/ 5752109 h 5818346"/>
              <a:gd name="connsiteX780" fmla="*/ 2905786 w 3503192"/>
              <a:gd name="connsiteY780" fmla="*/ 5746906 h 5818346"/>
              <a:gd name="connsiteX781" fmla="*/ 2901904 w 3503192"/>
              <a:gd name="connsiteY781" fmla="*/ 5743024 h 5818346"/>
              <a:gd name="connsiteX782" fmla="*/ 2908263 w 3503192"/>
              <a:gd name="connsiteY782" fmla="*/ 5736664 h 5818346"/>
              <a:gd name="connsiteX783" fmla="*/ 2903391 w 3503192"/>
              <a:gd name="connsiteY783" fmla="*/ 5731791 h 5818346"/>
              <a:gd name="connsiteX784" fmla="*/ 2911981 w 3503192"/>
              <a:gd name="connsiteY784" fmla="*/ 5723202 h 5818346"/>
              <a:gd name="connsiteX785" fmla="*/ 2904878 w 3503192"/>
              <a:gd name="connsiteY785" fmla="*/ 5716099 h 5818346"/>
              <a:gd name="connsiteX786" fmla="*/ 2915614 w 3503192"/>
              <a:gd name="connsiteY786" fmla="*/ 5705362 h 5818346"/>
              <a:gd name="connsiteX787" fmla="*/ 2817166 w 3503192"/>
              <a:gd name="connsiteY787" fmla="*/ 5704702 h 5818346"/>
              <a:gd name="connsiteX788" fmla="*/ 2827904 w 3503192"/>
              <a:gd name="connsiteY788" fmla="*/ 5715438 h 5818346"/>
              <a:gd name="connsiteX789" fmla="*/ 2822287 w 3503192"/>
              <a:gd name="connsiteY789" fmla="*/ 5721055 h 5818346"/>
              <a:gd name="connsiteX790" fmla="*/ 2832364 w 3503192"/>
              <a:gd name="connsiteY790" fmla="*/ 5731131 h 5818346"/>
              <a:gd name="connsiteX791" fmla="*/ 2828646 w 3503192"/>
              <a:gd name="connsiteY791" fmla="*/ 5734849 h 5818346"/>
              <a:gd name="connsiteX792" fmla="*/ 2836162 w 3503192"/>
              <a:gd name="connsiteY792" fmla="*/ 5742363 h 5818346"/>
              <a:gd name="connsiteX793" fmla="*/ 2833271 w 3503192"/>
              <a:gd name="connsiteY793" fmla="*/ 5745254 h 5818346"/>
              <a:gd name="connsiteX794" fmla="*/ 2839632 w 3503192"/>
              <a:gd name="connsiteY794" fmla="*/ 5751613 h 5818346"/>
              <a:gd name="connsiteX795" fmla="*/ 2836906 w 3503192"/>
              <a:gd name="connsiteY795" fmla="*/ 5754339 h 5818346"/>
              <a:gd name="connsiteX796" fmla="*/ 2842771 w 3503192"/>
              <a:gd name="connsiteY796" fmla="*/ 5760202 h 5818346"/>
              <a:gd name="connsiteX797" fmla="*/ 2839055 w 3503192"/>
              <a:gd name="connsiteY797" fmla="*/ 5763919 h 5818346"/>
              <a:gd name="connsiteX798" fmla="*/ 2845579 w 3503192"/>
              <a:gd name="connsiteY798" fmla="*/ 5770443 h 5818346"/>
              <a:gd name="connsiteX799" fmla="*/ 2840456 w 3503192"/>
              <a:gd name="connsiteY799" fmla="*/ 5775566 h 5818346"/>
              <a:gd name="connsiteX800" fmla="*/ 2848055 w 3503192"/>
              <a:gd name="connsiteY800" fmla="*/ 5783163 h 5818346"/>
              <a:gd name="connsiteX801" fmla="*/ 2840869 w 3503192"/>
              <a:gd name="connsiteY801" fmla="*/ 5790348 h 5818346"/>
              <a:gd name="connsiteX802" fmla="*/ 2850204 w 3503192"/>
              <a:gd name="connsiteY802" fmla="*/ 5799681 h 5818346"/>
              <a:gd name="connsiteX803" fmla="*/ 2839466 w 3503192"/>
              <a:gd name="connsiteY803" fmla="*/ 5810418 h 5818346"/>
              <a:gd name="connsiteX804" fmla="*/ 2828730 w 3503192"/>
              <a:gd name="connsiteY804" fmla="*/ 5799681 h 5818346"/>
              <a:gd name="connsiteX805" fmla="*/ 2835914 w 3503192"/>
              <a:gd name="connsiteY805" fmla="*/ 5792496 h 5818346"/>
              <a:gd name="connsiteX806" fmla="*/ 2826581 w 3503192"/>
              <a:gd name="connsiteY806" fmla="*/ 5783163 h 5818346"/>
              <a:gd name="connsiteX807" fmla="*/ 2831702 w 3503192"/>
              <a:gd name="connsiteY807" fmla="*/ 5778042 h 5818346"/>
              <a:gd name="connsiteX808" fmla="*/ 2824104 w 3503192"/>
              <a:gd name="connsiteY808" fmla="*/ 5770443 h 5818346"/>
              <a:gd name="connsiteX809" fmla="*/ 2827821 w 3503192"/>
              <a:gd name="connsiteY809" fmla="*/ 5766726 h 5818346"/>
              <a:gd name="connsiteX810" fmla="*/ 2821297 w 3503192"/>
              <a:gd name="connsiteY810" fmla="*/ 5760202 h 5818346"/>
              <a:gd name="connsiteX811" fmla="*/ 2824023 w 3503192"/>
              <a:gd name="connsiteY811" fmla="*/ 5757478 h 5818346"/>
              <a:gd name="connsiteX812" fmla="*/ 2818158 w 3503192"/>
              <a:gd name="connsiteY812" fmla="*/ 5751613 h 5818346"/>
              <a:gd name="connsiteX813" fmla="*/ 2821049 w 3503192"/>
              <a:gd name="connsiteY813" fmla="*/ 5748724 h 5818346"/>
              <a:gd name="connsiteX814" fmla="*/ 2814688 w 3503192"/>
              <a:gd name="connsiteY814" fmla="*/ 5742363 h 5818346"/>
              <a:gd name="connsiteX815" fmla="*/ 2818404 w 3503192"/>
              <a:gd name="connsiteY815" fmla="*/ 5738646 h 5818346"/>
              <a:gd name="connsiteX816" fmla="*/ 2810890 w 3503192"/>
              <a:gd name="connsiteY816" fmla="*/ 5731131 h 5818346"/>
              <a:gd name="connsiteX817" fmla="*/ 2816507 w 3503192"/>
              <a:gd name="connsiteY817" fmla="*/ 5725515 h 5818346"/>
              <a:gd name="connsiteX818" fmla="*/ 2806430 w 3503192"/>
              <a:gd name="connsiteY818" fmla="*/ 5715438 h 5818346"/>
              <a:gd name="connsiteX819" fmla="*/ 2817166 w 3503192"/>
              <a:gd name="connsiteY819" fmla="*/ 5704702 h 5818346"/>
              <a:gd name="connsiteX820" fmla="*/ 2480692 w 3503192"/>
              <a:gd name="connsiteY820" fmla="*/ 5704537 h 5818346"/>
              <a:gd name="connsiteX821" fmla="*/ 2491430 w 3503192"/>
              <a:gd name="connsiteY821" fmla="*/ 5715273 h 5818346"/>
              <a:gd name="connsiteX822" fmla="*/ 2481849 w 3503192"/>
              <a:gd name="connsiteY822" fmla="*/ 5724855 h 5818346"/>
              <a:gd name="connsiteX823" fmla="*/ 2484656 w 3503192"/>
              <a:gd name="connsiteY823" fmla="*/ 5727662 h 5818346"/>
              <a:gd name="connsiteX824" fmla="*/ 2474168 w 3503192"/>
              <a:gd name="connsiteY824" fmla="*/ 5738151 h 5818346"/>
              <a:gd name="connsiteX825" fmla="*/ 2478216 w 3503192"/>
              <a:gd name="connsiteY825" fmla="*/ 5742198 h 5818346"/>
              <a:gd name="connsiteX826" fmla="*/ 2467478 w 3503192"/>
              <a:gd name="connsiteY826" fmla="*/ 5752934 h 5818346"/>
              <a:gd name="connsiteX827" fmla="*/ 2456741 w 3503192"/>
              <a:gd name="connsiteY827" fmla="*/ 5742198 h 5818346"/>
              <a:gd name="connsiteX828" fmla="*/ 2467230 w 3503192"/>
              <a:gd name="connsiteY828" fmla="*/ 5731710 h 5818346"/>
              <a:gd name="connsiteX829" fmla="*/ 2463182 w 3503192"/>
              <a:gd name="connsiteY829" fmla="*/ 5727662 h 5818346"/>
              <a:gd name="connsiteX830" fmla="*/ 2472763 w 3503192"/>
              <a:gd name="connsiteY830" fmla="*/ 5718081 h 5818346"/>
              <a:gd name="connsiteX831" fmla="*/ 2469956 w 3503192"/>
              <a:gd name="connsiteY831" fmla="*/ 5715273 h 5818346"/>
              <a:gd name="connsiteX832" fmla="*/ 2480692 w 3503192"/>
              <a:gd name="connsiteY832" fmla="*/ 5704537 h 5818346"/>
              <a:gd name="connsiteX833" fmla="*/ 2512407 w 3503192"/>
              <a:gd name="connsiteY833" fmla="*/ 5703545 h 5818346"/>
              <a:gd name="connsiteX834" fmla="*/ 2523145 w 3503192"/>
              <a:gd name="connsiteY834" fmla="*/ 5714281 h 5818346"/>
              <a:gd name="connsiteX835" fmla="*/ 2512407 w 3503192"/>
              <a:gd name="connsiteY835" fmla="*/ 5725018 h 5818346"/>
              <a:gd name="connsiteX836" fmla="*/ 2501670 w 3503192"/>
              <a:gd name="connsiteY836" fmla="*/ 5714281 h 5818346"/>
              <a:gd name="connsiteX837" fmla="*/ 2512407 w 3503192"/>
              <a:gd name="connsiteY837" fmla="*/ 5703545 h 5818346"/>
              <a:gd name="connsiteX838" fmla="*/ 3014062 w 3503192"/>
              <a:gd name="connsiteY838" fmla="*/ 5703051 h 5818346"/>
              <a:gd name="connsiteX839" fmla="*/ 3024798 w 3503192"/>
              <a:gd name="connsiteY839" fmla="*/ 5713787 h 5818346"/>
              <a:gd name="connsiteX840" fmla="*/ 3014062 w 3503192"/>
              <a:gd name="connsiteY840" fmla="*/ 5724523 h 5818346"/>
              <a:gd name="connsiteX841" fmla="*/ 3003326 w 3503192"/>
              <a:gd name="connsiteY841" fmla="*/ 5713787 h 5818346"/>
              <a:gd name="connsiteX842" fmla="*/ 3014062 w 3503192"/>
              <a:gd name="connsiteY842" fmla="*/ 5703051 h 5818346"/>
              <a:gd name="connsiteX843" fmla="*/ 3152318 w 3503192"/>
              <a:gd name="connsiteY843" fmla="*/ 5702719 h 5818346"/>
              <a:gd name="connsiteX844" fmla="*/ 3163056 w 3503192"/>
              <a:gd name="connsiteY844" fmla="*/ 5713456 h 5818346"/>
              <a:gd name="connsiteX845" fmla="*/ 3152318 w 3503192"/>
              <a:gd name="connsiteY845" fmla="*/ 5724192 h 5818346"/>
              <a:gd name="connsiteX846" fmla="*/ 3141582 w 3503192"/>
              <a:gd name="connsiteY846" fmla="*/ 5713456 h 5818346"/>
              <a:gd name="connsiteX847" fmla="*/ 3152318 w 3503192"/>
              <a:gd name="connsiteY847" fmla="*/ 5702719 h 5818346"/>
              <a:gd name="connsiteX848" fmla="*/ 2215410 w 3503192"/>
              <a:gd name="connsiteY848" fmla="*/ 5702059 h 5818346"/>
              <a:gd name="connsiteX849" fmla="*/ 2226148 w 3503192"/>
              <a:gd name="connsiteY849" fmla="*/ 5712795 h 5818346"/>
              <a:gd name="connsiteX850" fmla="*/ 2215410 w 3503192"/>
              <a:gd name="connsiteY850" fmla="*/ 5723531 h 5818346"/>
              <a:gd name="connsiteX851" fmla="*/ 2204674 w 3503192"/>
              <a:gd name="connsiteY851" fmla="*/ 5712795 h 5818346"/>
              <a:gd name="connsiteX852" fmla="*/ 2215410 w 3503192"/>
              <a:gd name="connsiteY852" fmla="*/ 5702059 h 5818346"/>
              <a:gd name="connsiteX853" fmla="*/ 2546268 w 3503192"/>
              <a:gd name="connsiteY853" fmla="*/ 5701729 h 5818346"/>
              <a:gd name="connsiteX854" fmla="*/ 2557006 w 3503192"/>
              <a:gd name="connsiteY854" fmla="*/ 5712465 h 5818346"/>
              <a:gd name="connsiteX855" fmla="*/ 2546268 w 3503192"/>
              <a:gd name="connsiteY855" fmla="*/ 5723202 h 5818346"/>
              <a:gd name="connsiteX856" fmla="*/ 2535532 w 3503192"/>
              <a:gd name="connsiteY856" fmla="*/ 5712465 h 5818346"/>
              <a:gd name="connsiteX857" fmla="*/ 2546268 w 3503192"/>
              <a:gd name="connsiteY857" fmla="*/ 5701729 h 5818346"/>
              <a:gd name="connsiteX858" fmla="*/ 3491437 w 3503192"/>
              <a:gd name="connsiteY858" fmla="*/ 5701564 h 5818346"/>
              <a:gd name="connsiteX859" fmla="*/ 3502175 w 3503192"/>
              <a:gd name="connsiteY859" fmla="*/ 5712301 h 5818346"/>
              <a:gd name="connsiteX860" fmla="*/ 3491437 w 3503192"/>
              <a:gd name="connsiteY860" fmla="*/ 5723037 h 5818346"/>
              <a:gd name="connsiteX861" fmla="*/ 3480700 w 3503192"/>
              <a:gd name="connsiteY861" fmla="*/ 5712301 h 5818346"/>
              <a:gd name="connsiteX862" fmla="*/ 3491437 w 3503192"/>
              <a:gd name="connsiteY862" fmla="*/ 5701564 h 5818346"/>
              <a:gd name="connsiteX863" fmla="*/ 2719049 w 3503192"/>
              <a:gd name="connsiteY863" fmla="*/ 5700737 h 5818346"/>
              <a:gd name="connsiteX864" fmla="*/ 2729785 w 3503192"/>
              <a:gd name="connsiteY864" fmla="*/ 5711474 h 5818346"/>
              <a:gd name="connsiteX865" fmla="*/ 2719049 w 3503192"/>
              <a:gd name="connsiteY865" fmla="*/ 5722212 h 5818346"/>
              <a:gd name="connsiteX866" fmla="*/ 2708313 w 3503192"/>
              <a:gd name="connsiteY866" fmla="*/ 5711474 h 5818346"/>
              <a:gd name="connsiteX867" fmla="*/ 2719049 w 3503192"/>
              <a:gd name="connsiteY867" fmla="*/ 5700737 h 5818346"/>
              <a:gd name="connsiteX868" fmla="*/ 3469631 w 3503192"/>
              <a:gd name="connsiteY868" fmla="*/ 5699747 h 5818346"/>
              <a:gd name="connsiteX869" fmla="*/ 3480369 w 3503192"/>
              <a:gd name="connsiteY869" fmla="*/ 5710483 h 5818346"/>
              <a:gd name="connsiteX870" fmla="*/ 3469631 w 3503192"/>
              <a:gd name="connsiteY870" fmla="*/ 5721221 h 5818346"/>
              <a:gd name="connsiteX871" fmla="*/ 3458895 w 3503192"/>
              <a:gd name="connsiteY871" fmla="*/ 5710483 h 5818346"/>
              <a:gd name="connsiteX872" fmla="*/ 3469631 w 3503192"/>
              <a:gd name="connsiteY872" fmla="*/ 5699747 h 5818346"/>
              <a:gd name="connsiteX873" fmla="*/ 2582608 w 3503192"/>
              <a:gd name="connsiteY873" fmla="*/ 5698590 h 5818346"/>
              <a:gd name="connsiteX874" fmla="*/ 2593346 w 3503192"/>
              <a:gd name="connsiteY874" fmla="*/ 5709327 h 5818346"/>
              <a:gd name="connsiteX875" fmla="*/ 2582608 w 3503192"/>
              <a:gd name="connsiteY875" fmla="*/ 5720063 h 5818346"/>
              <a:gd name="connsiteX876" fmla="*/ 2571872 w 3503192"/>
              <a:gd name="connsiteY876" fmla="*/ 5709327 h 5818346"/>
              <a:gd name="connsiteX877" fmla="*/ 2582608 w 3503192"/>
              <a:gd name="connsiteY877" fmla="*/ 5698590 h 5818346"/>
              <a:gd name="connsiteX878" fmla="*/ 2234736 w 3503192"/>
              <a:gd name="connsiteY878" fmla="*/ 5697930 h 5818346"/>
              <a:gd name="connsiteX879" fmla="*/ 2245474 w 3503192"/>
              <a:gd name="connsiteY879" fmla="*/ 5708666 h 5818346"/>
              <a:gd name="connsiteX880" fmla="*/ 2234736 w 3503192"/>
              <a:gd name="connsiteY880" fmla="*/ 5719402 h 5818346"/>
              <a:gd name="connsiteX881" fmla="*/ 2223999 w 3503192"/>
              <a:gd name="connsiteY881" fmla="*/ 5708666 h 5818346"/>
              <a:gd name="connsiteX882" fmla="*/ 2234736 w 3503192"/>
              <a:gd name="connsiteY882" fmla="*/ 5697930 h 5818346"/>
              <a:gd name="connsiteX883" fmla="*/ 3112014 w 3503192"/>
              <a:gd name="connsiteY883" fmla="*/ 5697434 h 5818346"/>
              <a:gd name="connsiteX884" fmla="*/ 3122752 w 3503192"/>
              <a:gd name="connsiteY884" fmla="*/ 5708170 h 5818346"/>
              <a:gd name="connsiteX885" fmla="*/ 3112014 w 3503192"/>
              <a:gd name="connsiteY885" fmla="*/ 5718906 h 5818346"/>
              <a:gd name="connsiteX886" fmla="*/ 3101278 w 3503192"/>
              <a:gd name="connsiteY886" fmla="*/ 5708170 h 5818346"/>
              <a:gd name="connsiteX887" fmla="*/ 3112014 w 3503192"/>
              <a:gd name="connsiteY887" fmla="*/ 5697434 h 5818346"/>
              <a:gd name="connsiteX888" fmla="*/ 3312874 w 3503192"/>
              <a:gd name="connsiteY888" fmla="*/ 5697269 h 5818346"/>
              <a:gd name="connsiteX889" fmla="*/ 3323612 w 3503192"/>
              <a:gd name="connsiteY889" fmla="*/ 5708005 h 5818346"/>
              <a:gd name="connsiteX890" fmla="*/ 3319813 w 3503192"/>
              <a:gd name="connsiteY890" fmla="*/ 5711805 h 5818346"/>
              <a:gd name="connsiteX891" fmla="*/ 3329394 w 3503192"/>
              <a:gd name="connsiteY891" fmla="*/ 5721384 h 5818346"/>
              <a:gd name="connsiteX892" fmla="*/ 3325347 w 3503192"/>
              <a:gd name="connsiteY892" fmla="*/ 5725432 h 5818346"/>
              <a:gd name="connsiteX893" fmla="*/ 3334680 w 3503192"/>
              <a:gd name="connsiteY893" fmla="*/ 5734764 h 5818346"/>
              <a:gd name="connsiteX894" fmla="*/ 3323942 w 3503192"/>
              <a:gd name="connsiteY894" fmla="*/ 5745502 h 5818346"/>
              <a:gd name="connsiteX895" fmla="*/ 3313206 w 3503192"/>
              <a:gd name="connsiteY895" fmla="*/ 5734764 h 5818346"/>
              <a:gd name="connsiteX896" fmla="*/ 3317252 w 3503192"/>
              <a:gd name="connsiteY896" fmla="*/ 5730718 h 5818346"/>
              <a:gd name="connsiteX897" fmla="*/ 3307920 w 3503192"/>
              <a:gd name="connsiteY897" fmla="*/ 5721384 h 5818346"/>
              <a:gd name="connsiteX898" fmla="*/ 3311718 w 3503192"/>
              <a:gd name="connsiteY898" fmla="*/ 5717587 h 5818346"/>
              <a:gd name="connsiteX899" fmla="*/ 3302138 w 3503192"/>
              <a:gd name="connsiteY899" fmla="*/ 5708005 h 5818346"/>
              <a:gd name="connsiteX900" fmla="*/ 3312874 w 3503192"/>
              <a:gd name="connsiteY900" fmla="*/ 5697269 h 5818346"/>
              <a:gd name="connsiteX901" fmla="*/ 2132490 w 3503192"/>
              <a:gd name="connsiteY901" fmla="*/ 5696773 h 5818346"/>
              <a:gd name="connsiteX902" fmla="*/ 2139924 w 3503192"/>
              <a:gd name="connsiteY902" fmla="*/ 5704206 h 5818346"/>
              <a:gd name="connsiteX903" fmla="*/ 2132490 w 3503192"/>
              <a:gd name="connsiteY903" fmla="*/ 5711638 h 5818346"/>
              <a:gd name="connsiteX904" fmla="*/ 2125057 w 3503192"/>
              <a:gd name="connsiteY904" fmla="*/ 5704206 h 5818346"/>
              <a:gd name="connsiteX905" fmla="*/ 2132490 w 3503192"/>
              <a:gd name="connsiteY905" fmla="*/ 5696773 h 5818346"/>
              <a:gd name="connsiteX906" fmla="*/ 3280666 w 3503192"/>
              <a:gd name="connsiteY906" fmla="*/ 5695783 h 5818346"/>
              <a:gd name="connsiteX907" fmla="*/ 3291402 w 3503192"/>
              <a:gd name="connsiteY907" fmla="*/ 5706519 h 5818346"/>
              <a:gd name="connsiteX908" fmla="*/ 3280666 w 3503192"/>
              <a:gd name="connsiteY908" fmla="*/ 5717255 h 5818346"/>
              <a:gd name="connsiteX909" fmla="*/ 3269929 w 3503192"/>
              <a:gd name="connsiteY909" fmla="*/ 5706519 h 5818346"/>
              <a:gd name="connsiteX910" fmla="*/ 3280666 w 3503192"/>
              <a:gd name="connsiteY910" fmla="*/ 5695783 h 5818346"/>
              <a:gd name="connsiteX911" fmla="*/ 2865728 w 3503192"/>
              <a:gd name="connsiteY911" fmla="*/ 5695287 h 5818346"/>
              <a:gd name="connsiteX912" fmla="*/ 2876466 w 3503192"/>
              <a:gd name="connsiteY912" fmla="*/ 5706023 h 5818346"/>
              <a:gd name="connsiteX913" fmla="*/ 2867877 w 3503192"/>
              <a:gd name="connsiteY913" fmla="*/ 5714612 h 5818346"/>
              <a:gd name="connsiteX914" fmla="*/ 2877954 w 3503192"/>
              <a:gd name="connsiteY914" fmla="*/ 5724688 h 5818346"/>
              <a:gd name="connsiteX915" fmla="*/ 2872006 w 3503192"/>
              <a:gd name="connsiteY915" fmla="*/ 5730635 h 5818346"/>
              <a:gd name="connsiteX916" fmla="*/ 2879111 w 3503192"/>
              <a:gd name="connsiteY916" fmla="*/ 5737738 h 5818346"/>
              <a:gd name="connsiteX917" fmla="*/ 2874816 w 3503192"/>
              <a:gd name="connsiteY917" fmla="*/ 5742033 h 5818346"/>
              <a:gd name="connsiteX918" fmla="*/ 2880432 w 3503192"/>
              <a:gd name="connsiteY918" fmla="*/ 5747649 h 5818346"/>
              <a:gd name="connsiteX919" fmla="*/ 2876550 w 3503192"/>
              <a:gd name="connsiteY919" fmla="*/ 5751531 h 5818346"/>
              <a:gd name="connsiteX920" fmla="*/ 2881423 w 3503192"/>
              <a:gd name="connsiteY920" fmla="*/ 5756403 h 5818346"/>
              <a:gd name="connsiteX921" fmla="*/ 2877292 w 3503192"/>
              <a:gd name="connsiteY921" fmla="*/ 5760534 h 5818346"/>
              <a:gd name="connsiteX922" fmla="*/ 2882413 w 3503192"/>
              <a:gd name="connsiteY922" fmla="*/ 5765653 h 5818346"/>
              <a:gd name="connsiteX923" fmla="*/ 2877292 w 3503192"/>
              <a:gd name="connsiteY923" fmla="*/ 5770774 h 5818346"/>
              <a:gd name="connsiteX924" fmla="*/ 2883240 w 3503192"/>
              <a:gd name="connsiteY924" fmla="*/ 5776721 h 5818346"/>
              <a:gd name="connsiteX925" fmla="*/ 2876383 w 3503192"/>
              <a:gd name="connsiteY925" fmla="*/ 5783576 h 5818346"/>
              <a:gd name="connsiteX926" fmla="*/ 2883899 w 3503192"/>
              <a:gd name="connsiteY926" fmla="*/ 5791092 h 5818346"/>
              <a:gd name="connsiteX927" fmla="*/ 2873163 w 3503192"/>
              <a:gd name="connsiteY927" fmla="*/ 5801828 h 5818346"/>
              <a:gd name="connsiteX928" fmla="*/ 2862426 w 3503192"/>
              <a:gd name="connsiteY928" fmla="*/ 5791092 h 5818346"/>
              <a:gd name="connsiteX929" fmla="*/ 2869282 w 3503192"/>
              <a:gd name="connsiteY929" fmla="*/ 5784237 h 5818346"/>
              <a:gd name="connsiteX930" fmla="*/ 2861766 w 3503192"/>
              <a:gd name="connsiteY930" fmla="*/ 5776721 h 5818346"/>
              <a:gd name="connsiteX931" fmla="*/ 2866887 w 3503192"/>
              <a:gd name="connsiteY931" fmla="*/ 5771601 h 5818346"/>
              <a:gd name="connsiteX932" fmla="*/ 2860938 w 3503192"/>
              <a:gd name="connsiteY932" fmla="*/ 5765653 h 5818346"/>
              <a:gd name="connsiteX933" fmla="*/ 2865068 w 3503192"/>
              <a:gd name="connsiteY933" fmla="*/ 5761524 h 5818346"/>
              <a:gd name="connsiteX934" fmla="*/ 2859948 w 3503192"/>
              <a:gd name="connsiteY934" fmla="*/ 5756403 h 5818346"/>
              <a:gd name="connsiteX935" fmla="*/ 2863829 w 3503192"/>
              <a:gd name="connsiteY935" fmla="*/ 5752522 h 5818346"/>
              <a:gd name="connsiteX936" fmla="*/ 2858958 w 3503192"/>
              <a:gd name="connsiteY936" fmla="*/ 5747649 h 5818346"/>
              <a:gd name="connsiteX937" fmla="*/ 2863254 w 3503192"/>
              <a:gd name="connsiteY937" fmla="*/ 5743355 h 5818346"/>
              <a:gd name="connsiteX938" fmla="*/ 2857636 w 3503192"/>
              <a:gd name="connsiteY938" fmla="*/ 5737738 h 5818346"/>
              <a:gd name="connsiteX939" fmla="*/ 2863583 w 3503192"/>
              <a:gd name="connsiteY939" fmla="*/ 5731791 h 5818346"/>
              <a:gd name="connsiteX940" fmla="*/ 2856480 w 3503192"/>
              <a:gd name="connsiteY940" fmla="*/ 5724688 h 5818346"/>
              <a:gd name="connsiteX941" fmla="*/ 2865069 w 3503192"/>
              <a:gd name="connsiteY941" fmla="*/ 5716100 h 5818346"/>
              <a:gd name="connsiteX942" fmla="*/ 2854992 w 3503192"/>
              <a:gd name="connsiteY942" fmla="*/ 5706023 h 5818346"/>
              <a:gd name="connsiteX943" fmla="*/ 2865728 w 3503192"/>
              <a:gd name="connsiteY943" fmla="*/ 5695287 h 5818346"/>
              <a:gd name="connsiteX944" fmla="*/ 2254889 w 3503192"/>
              <a:gd name="connsiteY944" fmla="*/ 5694957 h 5818346"/>
              <a:gd name="connsiteX945" fmla="*/ 2265627 w 3503192"/>
              <a:gd name="connsiteY945" fmla="*/ 5705693 h 5818346"/>
              <a:gd name="connsiteX946" fmla="*/ 2254889 w 3503192"/>
              <a:gd name="connsiteY946" fmla="*/ 5716430 h 5818346"/>
              <a:gd name="connsiteX947" fmla="*/ 2244152 w 3503192"/>
              <a:gd name="connsiteY947" fmla="*/ 5705693 h 5818346"/>
              <a:gd name="connsiteX948" fmla="*/ 2254889 w 3503192"/>
              <a:gd name="connsiteY948" fmla="*/ 5694957 h 5818346"/>
              <a:gd name="connsiteX949" fmla="*/ 2967315 w 3503192"/>
              <a:gd name="connsiteY949" fmla="*/ 5694296 h 5818346"/>
              <a:gd name="connsiteX950" fmla="*/ 2978052 w 3503192"/>
              <a:gd name="connsiteY950" fmla="*/ 5705033 h 5818346"/>
              <a:gd name="connsiteX951" fmla="*/ 2967315 w 3503192"/>
              <a:gd name="connsiteY951" fmla="*/ 5715769 h 5818346"/>
              <a:gd name="connsiteX952" fmla="*/ 2956579 w 3503192"/>
              <a:gd name="connsiteY952" fmla="*/ 5705033 h 5818346"/>
              <a:gd name="connsiteX953" fmla="*/ 2967315 w 3503192"/>
              <a:gd name="connsiteY953" fmla="*/ 5694296 h 5818346"/>
              <a:gd name="connsiteX954" fmla="*/ 2621426 w 3503192"/>
              <a:gd name="connsiteY954" fmla="*/ 5693965 h 5818346"/>
              <a:gd name="connsiteX955" fmla="*/ 2632164 w 3503192"/>
              <a:gd name="connsiteY955" fmla="*/ 5704702 h 5818346"/>
              <a:gd name="connsiteX956" fmla="*/ 2621426 w 3503192"/>
              <a:gd name="connsiteY956" fmla="*/ 5715438 h 5818346"/>
              <a:gd name="connsiteX957" fmla="*/ 2610690 w 3503192"/>
              <a:gd name="connsiteY957" fmla="*/ 5704702 h 5818346"/>
              <a:gd name="connsiteX958" fmla="*/ 2621426 w 3503192"/>
              <a:gd name="connsiteY958" fmla="*/ 5693965 h 5818346"/>
              <a:gd name="connsiteX959" fmla="*/ 3246141 w 3503192"/>
              <a:gd name="connsiteY959" fmla="*/ 5693140 h 5818346"/>
              <a:gd name="connsiteX960" fmla="*/ 3256879 w 3503192"/>
              <a:gd name="connsiteY960" fmla="*/ 5703876 h 5818346"/>
              <a:gd name="connsiteX961" fmla="*/ 3246141 w 3503192"/>
              <a:gd name="connsiteY961" fmla="*/ 5714614 h 5818346"/>
              <a:gd name="connsiteX962" fmla="*/ 3235405 w 3503192"/>
              <a:gd name="connsiteY962" fmla="*/ 5703876 h 5818346"/>
              <a:gd name="connsiteX963" fmla="*/ 3246141 w 3503192"/>
              <a:gd name="connsiteY963" fmla="*/ 5693140 h 5818346"/>
              <a:gd name="connsiteX964" fmla="*/ 2275701 w 3503192"/>
              <a:gd name="connsiteY964" fmla="*/ 5693140 h 5818346"/>
              <a:gd name="connsiteX965" fmla="*/ 2286439 w 3503192"/>
              <a:gd name="connsiteY965" fmla="*/ 5703876 h 5818346"/>
              <a:gd name="connsiteX966" fmla="*/ 2275701 w 3503192"/>
              <a:gd name="connsiteY966" fmla="*/ 5714614 h 5818346"/>
              <a:gd name="connsiteX967" fmla="*/ 2264964 w 3503192"/>
              <a:gd name="connsiteY967" fmla="*/ 5703876 h 5818346"/>
              <a:gd name="connsiteX968" fmla="*/ 2275701 w 3503192"/>
              <a:gd name="connsiteY968" fmla="*/ 5693140 h 5818346"/>
              <a:gd name="connsiteX969" fmla="*/ 2764143 w 3503192"/>
              <a:gd name="connsiteY969" fmla="*/ 5692808 h 5818346"/>
              <a:gd name="connsiteX970" fmla="*/ 2774881 w 3503192"/>
              <a:gd name="connsiteY970" fmla="*/ 5703545 h 5818346"/>
              <a:gd name="connsiteX971" fmla="*/ 2764143 w 3503192"/>
              <a:gd name="connsiteY971" fmla="*/ 5714281 h 5818346"/>
              <a:gd name="connsiteX972" fmla="*/ 2753407 w 3503192"/>
              <a:gd name="connsiteY972" fmla="*/ 5703545 h 5818346"/>
              <a:gd name="connsiteX973" fmla="*/ 2764143 w 3503192"/>
              <a:gd name="connsiteY973" fmla="*/ 5692808 h 5818346"/>
              <a:gd name="connsiteX974" fmla="*/ 2297340 w 3503192"/>
              <a:gd name="connsiteY974" fmla="*/ 5692148 h 5818346"/>
              <a:gd name="connsiteX975" fmla="*/ 2308078 w 3503192"/>
              <a:gd name="connsiteY975" fmla="*/ 5702884 h 5818346"/>
              <a:gd name="connsiteX976" fmla="*/ 2297340 w 3503192"/>
              <a:gd name="connsiteY976" fmla="*/ 5713622 h 5818346"/>
              <a:gd name="connsiteX977" fmla="*/ 2286604 w 3503192"/>
              <a:gd name="connsiteY977" fmla="*/ 5702884 h 5818346"/>
              <a:gd name="connsiteX978" fmla="*/ 2297340 w 3503192"/>
              <a:gd name="connsiteY978" fmla="*/ 5692148 h 5818346"/>
              <a:gd name="connsiteX979" fmla="*/ 2425520 w 3503192"/>
              <a:gd name="connsiteY979" fmla="*/ 5691322 h 5818346"/>
              <a:gd name="connsiteX980" fmla="*/ 2436258 w 3503192"/>
              <a:gd name="connsiteY980" fmla="*/ 5702059 h 5818346"/>
              <a:gd name="connsiteX981" fmla="*/ 2428080 w 3503192"/>
              <a:gd name="connsiteY981" fmla="*/ 5710235 h 5818346"/>
              <a:gd name="connsiteX982" fmla="*/ 2433616 w 3503192"/>
              <a:gd name="connsiteY982" fmla="*/ 5715769 h 5818346"/>
              <a:gd name="connsiteX983" fmla="*/ 2425439 w 3503192"/>
              <a:gd name="connsiteY983" fmla="*/ 5723946 h 5818346"/>
              <a:gd name="connsiteX984" fmla="*/ 2431138 w 3503192"/>
              <a:gd name="connsiteY984" fmla="*/ 5729644 h 5818346"/>
              <a:gd name="connsiteX985" fmla="*/ 2420401 w 3503192"/>
              <a:gd name="connsiteY985" fmla="*/ 5740382 h 5818346"/>
              <a:gd name="connsiteX986" fmla="*/ 2409665 w 3503192"/>
              <a:gd name="connsiteY986" fmla="*/ 5729644 h 5818346"/>
              <a:gd name="connsiteX987" fmla="*/ 2417840 w 3503192"/>
              <a:gd name="connsiteY987" fmla="*/ 5721469 h 5818346"/>
              <a:gd name="connsiteX988" fmla="*/ 2412141 w 3503192"/>
              <a:gd name="connsiteY988" fmla="*/ 5715769 h 5818346"/>
              <a:gd name="connsiteX989" fmla="*/ 2420318 w 3503192"/>
              <a:gd name="connsiteY989" fmla="*/ 5707592 h 5818346"/>
              <a:gd name="connsiteX990" fmla="*/ 2414784 w 3503192"/>
              <a:gd name="connsiteY990" fmla="*/ 5702059 h 5818346"/>
              <a:gd name="connsiteX991" fmla="*/ 2425520 w 3503192"/>
              <a:gd name="connsiteY991" fmla="*/ 5691322 h 5818346"/>
              <a:gd name="connsiteX992" fmla="*/ 3068738 w 3503192"/>
              <a:gd name="connsiteY992" fmla="*/ 5690166 h 5818346"/>
              <a:gd name="connsiteX993" fmla="*/ 3079474 w 3503192"/>
              <a:gd name="connsiteY993" fmla="*/ 5700902 h 5818346"/>
              <a:gd name="connsiteX994" fmla="*/ 3068738 w 3503192"/>
              <a:gd name="connsiteY994" fmla="*/ 5711638 h 5818346"/>
              <a:gd name="connsiteX995" fmla="*/ 3058001 w 3503192"/>
              <a:gd name="connsiteY995" fmla="*/ 5700902 h 5818346"/>
              <a:gd name="connsiteX996" fmla="*/ 3068738 w 3503192"/>
              <a:gd name="connsiteY996" fmla="*/ 5690166 h 5818346"/>
              <a:gd name="connsiteX997" fmla="*/ 2456245 w 3503192"/>
              <a:gd name="connsiteY997" fmla="*/ 5690001 h 5818346"/>
              <a:gd name="connsiteX998" fmla="*/ 2466983 w 3503192"/>
              <a:gd name="connsiteY998" fmla="*/ 5700737 h 5818346"/>
              <a:gd name="connsiteX999" fmla="*/ 2456908 w 3503192"/>
              <a:gd name="connsiteY999" fmla="*/ 5710813 h 5818346"/>
              <a:gd name="connsiteX1000" fmla="*/ 2461698 w 3503192"/>
              <a:gd name="connsiteY1000" fmla="*/ 5715603 h 5818346"/>
              <a:gd name="connsiteX1001" fmla="*/ 2453025 w 3503192"/>
              <a:gd name="connsiteY1001" fmla="*/ 5724277 h 5818346"/>
              <a:gd name="connsiteX1002" fmla="*/ 2457235 w 3503192"/>
              <a:gd name="connsiteY1002" fmla="*/ 5728488 h 5818346"/>
              <a:gd name="connsiteX1003" fmla="*/ 2446582 w 3503192"/>
              <a:gd name="connsiteY1003" fmla="*/ 5739142 h 5818346"/>
              <a:gd name="connsiteX1004" fmla="*/ 2452447 w 3503192"/>
              <a:gd name="connsiteY1004" fmla="*/ 5745006 h 5818346"/>
              <a:gd name="connsiteX1005" fmla="*/ 2441709 w 3503192"/>
              <a:gd name="connsiteY1005" fmla="*/ 5755742 h 5818346"/>
              <a:gd name="connsiteX1006" fmla="*/ 2430973 w 3503192"/>
              <a:gd name="connsiteY1006" fmla="*/ 5745006 h 5818346"/>
              <a:gd name="connsiteX1007" fmla="*/ 2441628 w 3503192"/>
              <a:gd name="connsiteY1007" fmla="*/ 5734353 h 5818346"/>
              <a:gd name="connsiteX1008" fmla="*/ 2435763 w 3503192"/>
              <a:gd name="connsiteY1008" fmla="*/ 5728488 h 5818346"/>
              <a:gd name="connsiteX1009" fmla="*/ 2444435 w 3503192"/>
              <a:gd name="connsiteY1009" fmla="*/ 5719815 h 5818346"/>
              <a:gd name="connsiteX1010" fmla="*/ 2440223 w 3503192"/>
              <a:gd name="connsiteY1010" fmla="*/ 5715603 h 5818346"/>
              <a:gd name="connsiteX1011" fmla="*/ 2450298 w 3503192"/>
              <a:gd name="connsiteY1011" fmla="*/ 5705527 h 5818346"/>
              <a:gd name="connsiteX1012" fmla="*/ 2445509 w 3503192"/>
              <a:gd name="connsiteY1012" fmla="*/ 5700737 h 5818346"/>
              <a:gd name="connsiteX1013" fmla="*/ 2456245 w 3503192"/>
              <a:gd name="connsiteY1013" fmla="*/ 5690001 h 5818346"/>
              <a:gd name="connsiteX1014" fmla="*/ 3209141 w 3503192"/>
              <a:gd name="connsiteY1014" fmla="*/ 5689009 h 5818346"/>
              <a:gd name="connsiteX1015" fmla="*/ 3219877 w 3503192"/>
              <a:gd name="connsiteY1015" fmla="*/ 5699745 h 5818346"/>
              <a:gd name="connsiteX1016" fmla="*/ 3209141 w 3503192"/>
              <a:gd name="connsiteY1016" fmla="*/ 5710483 h 5818346"/>
              <a:gd name="connsiteX1017" fmla="*/ 3198404 w 3503192"/>
              <a:gd name="connsiteY1017" fmla="*/ 5699745 h 5818346"/>
              <a:gd name="connsiteX1018" fmla="*/ 3209141 w 3503192"/>
              <a:gd name="connsiteY1018" fmla="*/ 5689009 h 5818346"/>
              <a:gd name="connsiteX1019" fmla="*/ 2489282 w 3503192"/>
              <a:gd name="connsiteY1019" fmla="*/ 5687689 h 5818346"/>
              <a:gd name="connsiteX1020" fmla="*/ 2500020 w 3503192"/>
              <a:gd name="connsiteY1020" fmla="*/ 5698425 h 5818346"/>
              <a:gd name="connsiteX1021" fmla="*/ 2489282 w 3503192"/>
              <a:gd name="connsiteY1021" fmla="*/ 5709162 h 5818346"/>
              <a:gd name="connsiteX1022" fmla="*/ 2478545 w 3503192"/>
              <a:gd name="connsiteY1022" fmla="*/ 5698425 h 5818346"/>
              <a:gd name="connsiteX1023" fmla="*/ 2489282 w 3503192"/>
              <a:gd name="connsiteY1023" fmla="*/ 5687689 h 5818346"/>
              <a:gd name="connsiteX1024" fmla="*/ 2149833 w 3503192"/>
              <a:gd name="connsiteY1024" fmla="*/ 5687689 h 5818346"/>
              <a:gd name="connsiteX1025" fmla="*/ 2160572 w 3503192"/>
              <a:gd name="connsiteY1025" fmla="*/ 5698425 h 5818346"/>
              <a:gd name="connsiteX1026" fmla="*/ 2149833 w 3503192"/>
              <a:gd name="connsiteY1026" fmla="*/ 5709162 h 5818346"/>
              <a:gd name="connsiteX1027" fmla="*/ 2139097 w 3503192"/>
              <a:gd name="connsiteY1027" fmla="*/ 5698425 h 5818346"/>
              <a:gd name="connsiteX1028" fmla="*/ 2149833 w 3503192"/>
              <a:gd name="connsiteY1028" fmla="*/ 5687689 h 5818346"/>
              <a:gd name="connsiteX1029" fmla="*/ 2663052 w 3503192"/>
              <a:gd name="connsiteY1029" fmla="*/ 5687193 h 5818346"/>
              <a:gd name="connsiteX1030" fmla="*/ 2673788 w 3503192"/>
              <a:gd name="connsiteY1030" fmla="*/ 5697930 h 5818346"/>
              <a:gd name="connsiteX1031" fmla="*/ 2663052 w 3503192"/>
              <a:gd name="connsiteY1031" fmla="*/ 5708666 h 5818346"/>
              <a:gd name="connsiteX1032" fmla="*/ 2652316 w 3503192"/>
              <a:gd name="connsiteY1032" fmla="*/ 5697930 h 5818346"/>
              <a:gd name="connsiteX1033" fmla="*/ 2663052 w 3503192"/>
              <a:gd name="connsiteY1033" fmla="*/ 5687193 h 5818346"/>
              <a:gd name="connsiteX1034" fmla="*/ 2069556 w 3503192"/>
              <a:gd name="connsiteY1034" fmla="*/ 5685707 h 5818346"/>
              <a:gd name="connsiteX1035" fmla="*/ 2073189 w 3503192"/>
              <a:gd name="connsiteY1035" fmla="*/ 5689342 h 5818346"/>
              <a:gd name="connsiteX1036" fmla="*/ 2069556 w 3503192"/>
              <a:gd name="connsiteY1036" fmla="*/ 5692975 h 5818346"/>
              <a:gd name="connsiteX1037" fmla="*/ 2065921 w 3503192"/>
              <a:gd name="connsiteY1037" fmla="*/ 5689342 h 5818346"/>
              <a:gd name="connsiteX1038" fmla="*/ 2069556 w 3503192"/>
              <a:gd name="connsiteY1038" fmla="*/ 5685707 h 5818346"/>
              <a:gd name="connsiteX1039" fmla="*/ 3426519 w 3503192"/>
              <a:gd name="connsiteY1039" fmla="*/ 5684054 h 5818346"/>
              <a:gd name="connsiteX1040" fmla="*/ 3437257 w 3503192"/>
              <a:gd name="connsiteY1040" fmla="*/ 5694791 h 5818346"/>
              <a:gd name="connsiteX1041" fmla="*/ 3428420 w 3503192"/>
              <a:gd name="connsiteY1041" fmla="*/ 5703628 h 5818346"/>
              <a:gd name="connsiteX1042" fmla="*/ 3433789 w 3503192"/>
              <a:gd name="connsiteY1042" fmla="*/ 5708995 h 5818346"/>
              <a:gd name="connsiteX1043" fmla="*/ 3424704 w 3503192"/>
              <a:gd name="connsiteY1043" fmla="*/ 5718083 h 5818346"/>
              <a:gd name="connsiteX1044" fmla="*/ 3431805 w 3503192"/>
              <a:gd name="connsiteY1044" fmla="*/ 5725184 h 5818346"/>
              <a:gd name="connsiteX1045" fmla="*/ 3421069 w 3503192"/>
              <a:gd name="connsiteY1045" fmla="*/ 5735920 h 5818346"/>
              <a:gd name="connsiteX1046" fmla="*/ 3410332 w 3503192"/>
              <a:gd name="connsiteY1046" fmla="*/ 5725184 h 5818346"/>
              <a:gd name="connsiteX1047" fmla="*/ 3419418 w 3503192"/>
              <a:gd name="connsiteY1047" fmla="*/ 5716100 h 5818346"/>
              <a:gd name="connsiteX1048" fmla="*/ 3412314 w 3503192"/>
              <a:gd name="connsiteY1048" fmla="*/ 5708995 h 5818346"/>
              <a:gd name="connsiteX1049" fmla="*/ 3421150 w 3503192"/>
              <a:gd name="connsiteY1049" fmla="*/ 5700160 h 5818346"/>
              <a:gd name="connsiteX1050" fmla="*/ 3415783 w 3503192"/>
              <a:gd name="connsiteY1050" fmla="*/ 5694791 h 5818346"/>
              <a:gd name="connsiteX1051" fmla="*/ 3426519 w 3503192"/>
              <a:gd name="connsiteY1051" fmla="*/ 5684054 h 5818346"/>
              <a:gd name="connsiteX1052" fmla="*/ 3451958 w 3503192"/>
              <a:gd name="connsiteY1052" fmla="*/ 5683890 h 5818346"/>
              <a:gd name="connsiteX1053" fmla="*/ 3462696 w 3503192"/>
              <a:gd name="connsiteY1053" fmla="*/ 5694626 h 5818346"/>
              <a:gd name="connsiteX1054" fmla="*/ 3452867 w 3503192"/>
              <a:gd name="connsiteY1054" fmla="*/ 5704455 h 5818346"/>
              <a:gd name="connsiteX1055" fmla="*/ 3457740 w 3503192"/>
              <a:gd name="connsiteY1055" fmla="*/ 5709327 h 5818346"/>
              <a:gd name="connsiteX1056" fmla="*/ 3447002 w 3503192"/>
              <a:gd name="connsiteY1056" fmla="*/ 5720063 h 5818346"/>
              <a:gd name="connsiteX1057" fmla="*/ 3436265 w 3503192"/>
              <a:gd name="connsiteY1057" fmla="*/ 5709327 h 5818346"/>
              <a:gd name="connsiteX1058" fmla="*/ 3446093 w 3503192"/>
              <a:gd name="connsiteY1058" fmla="*/ 5699499 h 5818346"/>
              <a:gd name="connsiteX1059" fmla="*/ 3441222 w 3503192"/>
              <a:gd name="connsiteY1059" fmla="*/ 5694626 h 5818346"/>
              <a:gd name="connsiteX1060" fmla="*/ 3451958 w 3503192"/>
              <a:gd name="connsiteY1060" fmla="*/ 5683890 h 5818346"/>
              <a:gd name="connsiteX1061" fmla="*/ 2524629 w 3503192"/>
              <a:gd name="connsiteY1061" fmla="*/ 5683890 h 5818346"/>
              <a:gd name="connsiteX1062" fmla="*/ 2535368 w 3503192"/>
              <a:gd name="connsiteY1062" fmla="*/ 5694626 h 5818346"/>
              <a:gd name="connsiteX1063" fmla="*/ 2524629 w 3503192"/>
              <a:gd name="connsiteY1063" fmla="*/ 5705364 h 5818346"/>
              <a:gd name="connsiteX1064" fmla="*/ 2513893 w 3503192"/>
              <a:gd name="connsiteY1064" fmla="*/ 5694626 h 5818346"/>
              <a:gd name="connsiteX1065" fmla="*/ 2524629 w 3503192"/>
              <a:gd name="connsiteY1065" fmla="*/ 5683890 h 5818346"/>
              <a:gd name="connsiteX1066" fmla="*/ 3476074 w 3503192"/>
              <a:gd name="connsiteY1066" fmla="*/ 5683723 h 5818346"/>
              <a:gd name="connsiteX1067" fmla="*/ 3486812 w 3503192"/>
              <a:gd name="connsiteY1067" fmla="*/ 5694459 h 5818346"/>
              <a:gd name="connsiteX1068" fmla="*/ 3476074 w 3503192"/>
              <a:gd name="connsiteY1068" fmla="*/ 5705197 h 5818346"/>
              <a:gd name="connsiteX1069" fmla="*/ 3465337 w 3503192"/>
              <a:gd name="connsiteY1069" fmla="*/ 5694459 h 5818346"/>
              <a:gd name="connsiteX1070" fmla="*/ 3476074 w 3503192"/>
              <a:gd name="connsiteY1070" fmla="*/ 5683723 h 5818346"/>
              <a:gd name="connsiteX1071" fmla="*/ 3498870 w 3503192"/>
              <a:gd name="connsiteY1071" fmla="*/ 5683558 h 5818346"/>
              <a:gd name="connsiteX1072" fmla="*/ 3503192 w 3503192"/>
              <a:gd name="connsiteY1072" fmla="*/ 5687880 h 5818346"/>
              <a:gd name="connsiteX1073" fmla="*/ 3503192 w 3503192"/>
              <a:gd name="connsiteY1073" fmla="*/ 5700710 h 5818346"/>
              <a:gd name="connsiteX1074" fmla="*/ 3498870 w 3503192"/>
              <a:gd name="connsiteY1074" fmla="*/ 5705031 h 5818346"/>
              <a:gd name="connsiteX1075" fmla="*/ 3488133 w 3503192"/>
              <a:gd name="connsiteY1075" fmla="*/ 5694295 h 5818346"/>
              <a:gd name="connsiteX1076" fmla="*/ 3498870 w 3503192"/>
              <a:gd name="connsiteY1076" fmla="*/ 5683558 h 5818346"/>
              <a:gd name="connsiteX1077" fmla="*/ 2917431 w 3503192"/>
              <a:gd name="connsiteY1077" fmla="*/ 5683064 h 5818346"/>
              <a:gd name="connsiteX1078" fmla="*/ 2928170 w 3503192"/>
              <a:gd name="connsiteY1078" fmla="*/ 5693800 h 5818346"/>
              <a:gd name="connsiteX1079" fmla="*/ 2917431 w 3503192"/>
              <a:gd name="connsiteY1079" fmla="*/ 5704537 h 5818346"/>
              <a:gd name="connsiteX1080" fmla="*/ 2906695 w 3503192"/>
              <a:gd name="connsiteY1080" fmla="*/ 5693800 h 5818346"/>
              <a:gd name="connsiteX1081" fmla="*/ 2917431 w 3503192"/>
              <a:gd name="connsiteY1081" fmla="*/ 5683064 h 5818346"/>
              <a:gd name="connsiteX1082" fmla="*/ 3370028 w 3503192"/>
              <a:gd name="connsiteY1082" fmla="*/ 5682733 h 5818346"/>
              <a:gd name="connsiteX1083" fmla="*/ 3380766 w 3503192"/>
              <a:gd name="connsiteY1083" fmla="*/ 5693469 h 5818346"/>
              <a:gd name="connsiteX1084" fmla="*/ 3373746 w 3503192"/>
              <a:gd name="connsiteY1084" fmla="*/ 5700491 h 5818346"/>
              <a:gd name="connsiteX1085" fmla="*/ 3382088 w 3503192"/>
              <a:gd name="connsiteY1085" fmla="*/ 5708831 h 5818346"/>
              <a:gd name="connsiteX1086" fmla="*/ 3375974 w 3503192"/>
              <a:gd name="connsiteY1086" fmla="*/ 5714944 h 5818346"/>
              <a:gd name="connsiteX1087" fmla="*/ 3383244 w 3503192"/>
              <a:gd name="connsiteY1087" fmla="*/ 5722212 h 5818346"/>
              <a:gd name="connsiteX1088" fmla="*/ 3375562 w 3503192"/>
              <a:gd name="connsiteY1088" fmla="*/ 5729892 h 5818346"/>
              <a:gd name="connsiteX1089" fmla="*/ 3385058 w 3503192"/>
              <a:gd name="connsiteY1089" fmla="*/ 5739389 h 5818346"/>
              <a:gd name="connsiteX1090" fmla="*/ 3374322 w 3503192"/>
              <a:gd name="connsiteY1090" fmla="*/ 5750127 h 5818346"/>
              <a:gd name="connsiteX1091" fmla="*/ 3363586 w 3503192"/>
              <a:gd name="connsiteY1091" fmla="*/ 5739389 h 5818346"/>
              <a:gd name="connsiteX1092" fmla="*/ 3371266 w 3503192"/>
              <a:gd name="connsiteY1092" fmla="*/ 5731708 h 5818346"/>
              <a:gd name="connsiteX1093" fmla="*/ 3361770 w 3503192"/>
              <a:gd name="connsiteY1093" fmla="*/ 5722212 h 5818346"/>
              <a:gd name="connsiteX1094" fmla="*/ 3367881 w 3503192"/>
              <a:gd name="connsiteY1094" fmla="*/ 5716100 h 5818346"/>
              <a:gd name="connsiteX1095" fmla="*/ 3360613 w 3503192"/>
              <a:gd name="connsiteY1095" fmla="*/ 5708831 h 5818346"/>
              <a:gd name="connsiteX1096" fmla="*/ 3367633 w 3503192"/>
              <a:gd name="connsiteY1096" fmla="*/ 5701812 h 5818346"/>
              <a:gd name="connsiteX1097" fmla="*/ 3359292 w 3503192"/>
              <a:gd name="connsiteY1097" fmla="*/ 5693469 h 5818346"/>
              <a:gd name="connsiteX1098" fmla="*/ 3370028 w 3503192"/>
              <a:gd name="connsiteY1098" fmla="*/ 5682733 h 5818346"/>
              <a:gd name="connsiteX1099" fmla="*/ 3169332 w 3503192"/>
              <a:gd name="connsiteY1099" fmla="*/ 5682733 h 5818346"/>
              <a:gd name="connsiteX1100" fmla="*/ 3180070 w 3503192"/>
              <a:gd name="connsiteY1100" fmla="*/ 5693469 h 5818346"/>
              <a:gd name="connsiteX1101" fmla="*/ 3169332 w 3503192"/>
              <a:gd name="connsiteY1101" fmla="*/ 5704207 h 5818346"/>
              <a:gd name="connsiteX1102" fmla="*/ 3158596 w 3503192"/>
              <a:gd name="connsiteY1102" fmla="*/ 5693469 h 5818346"/>
              <a:gd name="connsiteX1103" fmla="*/ 3169332 w 3503192"/>
              <a:gd name="connsiteY1103" fmla="*/ 5682733 h 5818346"/>
              <a:gd name="connsiteX1104" fmla="*/ 2812376 w 3503192"/>
              <a:gd name="connsiteY1104" fmla="*/ 5682237 h 5818346"/>
              <a:gd name="connsiteX1105" fmla="*/ 2823114 w 3503192"/>
              <a:gd name="connsiteY1105" fmla="*/ 5692973 h 5818346"/>
              <a:gd name="connsiteX1106" fmla="*/ 2812376 w 3503192"/>
              <a:gd name="connsiteY1106" fmla="*/ 5703711 h 5818346"/>
              <a:gd name="connsiteX1107" fmla="*/ 2801640 w 3503192"/>
              <a:gd name="connsiteY1107" fmla="*/ 5692973 h 5818346"/>
              <a:gd name="connsiteX1108" fmla="*/ 2812376 w 3503192"/>
              <a:gd name="connsiteY1108" fmla="*/ 5682237 h 5818346"/>
              <a:gd name="connsiteX1109" fmla="*/ 3338808 w 3503192"/>
              <a:gd name="connsiteY1109" fmla="*/ 5680751 h 5818346"/>
              <a:gd name="connsiteX1110" fmla="*/ 3349546 w 3503192"/>
              <a:gd name="connsiteY1110" fmla="*/ 5691487 h 5818346"/>
              <a:gd name="connsiteX1111" fmla="*/ 3343103 w 3503192"/>
              <a:gd name="connsiteY1111" fmla="*/ 5697930 h 5818346"/>
              <a:gd name="connsiteX1112" fmla="*/ 3353840 w 3503192"/>
              <a:gd name="connsiteY1112" fmla="*/ 5708666 h 5818346"/>
              <a:gd name="connsiteX1113" fmla="*/ 3348885 w 3503192"/>
              <a:gd name="connsiteY1113" fmla="*/ 5713622 h 5818346"/>
              <a:gd name="connsiteX1114" fmla="*/ 3356980 w 3503192"/>
              <a:gd name="connsiteY1114" fmla="*/ 5721716 h 5818346"/>
              <a:gd name="connsiteX1115" fmla="*/ 3351280 w 3503192"/>
              <a:gd name="connsiteY1115" fmla="*/ 5727414 h 5818346"/>
              <a:gd name="connsiteX1116" fmla="*/ 3360448 w 3503192"/>
              <a:gd name="connsiteY1116" fmla="*/ 5736581 h 5818346"/>
              <a:gd name="connsiteX1117" fmla="*/ 3349710 w 3503192"/>
              <a:gd name="connsiteY1117" fmla="*/ 5747317 h 5818346"/>
              <a:gd name="connsiteX1118" fmla="*/ 3338974 w 3503192"/>
              <a:gd name="connsiteY1118" fmla="*/ 5736581 h 5818346"/>
              <a:gd name="connsiteX1119" fmla="*/ 3344672 w 3503192"/>
              <a:gd name="connsiteY1119" fmla="*/ 5730883 h 5818346"/>
              <a:gd name="connsiteX1120" fmla="*/ 3335506 w 3503192"/>
              <a:gd name="connsiteY1120" fmla="*/ 5721716 h 5818346"/>
              <a:gd name="connsiteX1121" fmla="*/ 3340462 w 3503192"/>
              <a:gd name="connsiteY1121" fmla="*/ 5716761 h 5818346"/>
              <a:gd name="connsiteX1122" fmla="*/ 3332367 w 3503192"/>
              <a:gd name="connsiteY1122" fmla="*/ 5708666 h 5818346"/>
              <a:gd name="connsiteX1123" fmla="*/ 3338808 w 3503192"/>
              <a:gd name="connsiteY1123" fmla="*/ 5702225 h 5818346"/>
              <a:gd name="connsiteX1124" fmla="*/ 3328071 w 3503192"/>
              <a:gd name="connsiteY1124" fmla="*/ 5691487 h 5818346"/>
              <a:gd name="connsiteX1125" fmla="*/ 3338808 w 3503192"/>
              <a:gd name="connsiteY1125" fmla="*/ 5680751 h 5818346"/>
              <a:gd name="connsiteX1126" fmla="*/ 3022322 w 3503192"/>
              <a:gd name="connsiteY1126" fmla="*/ 5680255 h 5818346"/>
              <a:gd name="connsiteX1127" fmla="*/ 3033058 w 3503192"/>
              <a:gd name="connsiteY1127" fmla="*/ 5690991 h 5818346"/>
              <a:gd name="connsiteX1128" fmla="*/ 3022322 w 3503192"/>
              <a:gd name="connsiteY1128" fmla="*/ 5701729 h 5818346"/>
              <a:gd name="connsiteX1129" fmla="*/ 3011586 w 3503192"/>
              <a:gd name="connsiteY1129" fmla="*/ 5690991 h 5818346"/>
              <a:gd name="connsiteX1130" fmla="*/ 3022322 w 3503192"/>
              <a:gd name="connsiteY1130" fmla="*/ 5680255 h 5818346"/>
              <a:gd name="connsiteX1131" fmla="*/ 2562787 w 3503192"/>
              <a:gd name="connsiteY1131" fmla="*/ 5678273 h 5818346"/>
              <a:gd name="connsiteX1132" fmla="*/ 2573525 w 3503192"/>
              <a:gd name="connsiteY1132" fmla="*/ 5689009 h 5818346"/>
              <a:gd name="connsiteX1133" fmla="*/ 2562787 w 3503192"/>
              <a:gd name="connsiteY1133" fmla="*/ 5699745 h 5818346"/>
              <a:gd name="connsiteX1134" fmla="*/ 2552050 w 3503192"/>
              <a:gd name="connsiteY1134" fmla="*/ 5689009 h 5818346"/>
              <a:gd name="connsiteX1135" fmla="*/ 2562787 w 3503192"/>
              <a:gd name="connsiteY1135" fmla="*/ 5678273 h 5818346"/>
              <a:gd name="connsiteX1136" fmla="*/ 2707650 w 3503192"/>
              <a:gd name="connsiteY1136" fmla="*/ 5677943 h 5818346"/>
              <a:gd name="connsiteX1137" fmla="*/ 2718388 w 3503192"/>
              <a:gd name="connsiteY1137" fmla="*/ 5688679 h 5818346"/>
              <a:gd name="connsiteX1138" fmla="*/ 2707650 w 3503192"/>
              <a:gd name="connsiteY1138" fmla="*/ 5699416 h 5818346"/>
              <a:gd name="connsiteX1139" fmla="*/ 2696914 w 3503192"/>
              <a:gd name="connsiteY1139" fmla="*/ 5688679 h 5818346"/>
              <a:gd name="connsiteX1140" fmla="*/ 2707650 w 3503192"/>
              <a:gd name="connsiteY1140" fmla="*/ 5677943 h 5818346"/>
              <a:gd name="connsiteX1141" fmla="*/ 3305277 w 3503192"/>
              <a:gd name="connsiteY1141" fmla="*/ 5677447 h 5818346"/>
              <a:gd name="connsiteX1142" fmla="*/ 3316015 w 3503192"/>
              <a:gd name="connsiteY1142" fmla="*/ 5688183 h 5818346"/>
              <a:gd name="connsiteX1143" fmla="*/ 3305277 w 3503192"/>
              <a:gd name="connsiteY1143" fmla="*/ 5698920 h 5818346"/>
              <a:gd name="connsiteX1144" fmla="*/ 3294541 w 3503192"/>
              <a:gd name="connsiteY1144" fmla="*/ 5688183 h 5818346"/>
              <a:gd name="connsiteX1145" fmla="*/ 3305277 w 3503192"/>
              <a:gd name="connsiteY1145" fmla="*/ 5677447 h 5818346"/>
              <a:gd name="connsiteX1146" fmla="*/ 2313858 w 3503192"/>
              <a:gd name="connsiteY1146" fmla="*/ 5676786 h 5818346"/>
              <a:gd name="connsiteX1147" fmla="*/ 2324596 w 3503192"/>
              <a:gd name="connsiteY1147" fmla="*/ 5687523 h 5818346"/>
              <a:gd name="connsiteX1148" fmla="*/ 2320300 w 3503192"/>
              <a:gd name="connsiteY1148" fmla="*/ 5691818 h 5818346"/>
              <a:gd name="connsiteX1149" fmla="*/ 2330874 w 3503192"/>
              <a:gd name="connsiteY1149" fmla="*/ 5702388 h 5818346"/>
              <a:gd name="connsiteX1150" fmla="*/ 2320136 w 3503192"/>
              <a:gd name="connsiteY1150" fmla="*/ 5713124 h 5818346"/>
              <a:gd name="connsiteX1151" fmla="*/ 2309400 w 3503192"/>
              <a:gd name="connsiteY1151" fmla="*/ 5702388 h 5818346"/>
              <a:gd name="connsiteX1152" fmla="*/ 2313693 w 3503192"/>
              <a:gd name="connsiteY1152" fmla="*/ 5698094 h 5818346"/>
              <a:gd name="connsiteX1153" fmla="*/ 2303122 w 3503192"/>
              <a:gd name="connsiteY1153" fmla="*/ 5687523 h 5818346"/>
              <a:gd name="connsiteX1154" fmla="*/ 2313858 w 3503192"/>
              <a:gd name="connsiteY1154" fmla="*/ 5676786 h 5818346"/>
              <a:gd name="connsiteX1155" fmla="*/ 2339626 w 3503192"/>
              <a:gd name="connsiteY1155" fmla="*/ 5676622 h 5818346"/>
              <a:gd name="connsiteX1156" fmla="*/ 2350362 w 3503192"/>
              <a:gd name="connsiteY1156" fmla="*/ 5687358 h 5818346"/>
              <a:gd name="connsiteX1157" fmla="*/ 2345160 w 3503192"/>
              <a:gd name="connsiteY1157" fmla="*/ 5692560 h 5818346"/>
              <a:gd name="connsiteX1158" fmla="*/ 2354990 w 3503192"/>
              <a:gd name="connsiteY1158" fmla="*/ 5702388 h 5818346"/>
              <a:gd name="connsiteX1159" fmla="*/ 2349041 w 3503192"/>
              <a:gd name="connsiteY1159" fmla="*/ 5708336 h 5818346"/>
              <a:gd name="connsiteX1160" fmla="*/ 2358293 w 3503192"/>
              <a:gd name="connsiteY1160" fmla="*/ 5717587 h 5818346"/>
              <a:gd name="connsiteX1161" fmla="*/ 2347555 w 3503192"/>
              <a:gd name="connsiteY1161" fmla="*/ 5728323 h 5818346"/>
              <a:gd name="connsiteX1162" fmla="*/ 2336818 w 3503192"/>
              <a:gd name="connsiteY1162" fmla="*/ 5717587 h 5818346"/>
              <a:gd name="connsiteX1163" fmla="*/ 2342767 w 3503192"/>
              <a:gd name="connsiteY1163" fmla="*/ 5711640 h 5818346"/>
              <a:gd name="connsiteX1164" fmla="*/ 2333515 w 3503192"/>
              <a:gd name="connsiteY1164" fmla="*/ 5702388 h 5818346"/>
              <a:gd name="connsiteX1165" fmla="*/ 2338718 w 3503192"/>
              <a:gd name="connsiteY1165" fmla="*/ 5697187 h 5818346"/>
              <a:gd name="connsiteX1166" fmla="*/ 2328890 w 3503192"/>
              <a:gd name="connsiteY1166" fmla="*/ 5687358 h 5818346"/>
              <a:gd name="connsiteX1167" fmla="*/ 2339626 w 3503192"/>
              <a:gd name="connsiteY1167" fmla="*/ 5676622 h 5818346"/>
              <a:gd name="connsiteX1168" fmla="*/ 2289578 w 3503192"/>
              <a:gd name="connsiteY1168" fmla="*/ 5676622 h 5818346"/>
              <a:gd name="connsiteX1169" fmla="*/ 2300314 w 3503192"/>
              <a:gd name="connsiteY1169" fmla="*/ 5687358 h 5818346"/>
              <a:gd name="connsiteX1170" fmla="*/ 2289578 w 3503192"/>
              <a:gd name="connsiteY1170" fmla="*/ 5698096 h 5818346"/>
              <a:gd name="connsiteX1171" fmla="*/ 2278841 w 3503192"/>
              <a:gd name="connsiteY1171" fmla="*/ 5687358 h 5818346"/>
              <a:gd name="connsiteX1172" fmla="*/ 2289578 w 3503192"/>
              <a:gd name="connsiteY1172" fmla="*/ 5676622 h 5818346"/>
              <a:gd name="connsiteX1173" fmla="*/ 2266617 w 3503192"/>
              <a:gd name="connsiteY1173" fmla="*/ 5676290 h 5818346"/>
              <a:gd name="connsiteX1174" fmla="*/ 2277353 w 3503192"/>
              <a:gd name="connsiteY1174" fmla="*/ 5687027 h 5818346"/>
              <a:gd name="connsiteX1175" fmla="*/ 2266617 w 3503192"/>
              <a:gd name="connsiteY1175" fmla="*/ 5697763 h 5818346"/>
              <a:gd name="connsiteX1176" fmla="*/ 2255881 w 3503192"/>
              <a:gd name="connsiteY1176" fmla="*/ 5687027 h 5818346"/>
              <a:gd name="connsiteX1177" fmla="*/ 2266617 w 3503192"/>
              <a:gd name="connsiteY1177" fmla="*/ 5676290 h 5818346"/>
              <a:gd name="connsiteX1178" fmla="*/ 2244978 w 3503192"/>
              <a:gd name="connsiteY1178" fmla="*/ 5676290 h 5818346"/>
              <a:gd name="connsiteX1179" fmla="*/ 2255716 w 3503192"/>
              <a:gd name="connsiteY1179" fmla="*/ 5687027 h 5818346"/>
              <a:gd name="connsiteX1180" fmla="*/ 2244978 w 3503192"/>
              <a:gd name="connsiteY1180" fmla="*/ 5697763 h 5818346"/>
              <a:gd name="connsiteX1181" fmla="*/ 2234986 w 3503192"/>
              <a:gd name="connsiteY1181" fmla="*/ 5687771 h 5818346"/>
              <a:gd name="connsiteX1182" fmla="*/ 2224495 w 3503192"/>
              <a:gd name="connsiteY1182" fmla="*/ 5698259 h 5818346"/>
              <a:gd name="connsiteX1183" fmla="*/ 2215247 w 3503192"/>
              <a:gd name="connsiteY1183" fmla="*/ 5689011 h 5818346"/>
              <a:gd name="connsiteX1184" fmla="*/ 2204838 w 3503192"/>
              <a:gd name="connsiteY1184" fmla="*/ 5699416 h 5818346"/>
              <a:gd name="connsiteX1185" fmla="*/ 2196498 w 3503192"/>
              <a:gd name="connsiteY1185" fmla="*/ 5691076 h 5818346"/>
              <a:gd name="connsiteX1186" fmla="*/ 2186008 w 3503192"/>
              <a:gd name="connsiteY1186" fmla="*/ 5701564 h 5818346"/>
              <a:gd name="connsiteX1187" fmla="*/ 2178411 w 3503192"/>
              <a:gd name="connsiteY1187" fmla="*/ 5693965 h 5818346"/>
              <a:gd name="connsiteX1188" fmla="*/ 2167673 w 3503192"/>
              <a:gd name="connsiteY1188" fmla="*/ 5704703 h 5818346"/>
              <a:gd name="connsiteX1189" fmla="*/ 2156936 w 3503192"/>
              <a:gd name="connsiteY1189" fmla="*/ 5693965 h 5818346"/>
              <a:gd name="connsiteX1190" fmla="*/ 2167673 w 3503192"/>
              <a:gd name="connsiteY1190" fmla="*/ 5683229 h 5818346"/>
              <a:gd name="connsiteX1191" fmla="*/ 2177086 w 3503192"/>
              <a:gd name="connsiteY1191" fmla="*/ 5692642 h 5818346"/>
              <a:gd name="connsiteX1192" fmla="*/ 2175272 w 3503192"/>
              <a:gd name="connsiteY1192" fmla="*/ 5690826 h 5818346"/>
              <a:gd name="connsiteX1193" fmla="*/ 2186008 w 3503192"/>
              <a:gd name="connsiteY1193" fmla="*/ 5680090 h 5818346"/>
              <a:gd name="connsiteX1194" fmla="*/ 2194350 w 3503192"/>
              <a:gd name="connsiteY1194" fmla="*/ 5688431 h 5818346"/>
              <a:gd name="connsiteX1195" fmla="*/ 2204838 w 3503192"/>
              <a:gd name="connsiteY1195" fmla="*/ 5677943 h 5818346"/>
              <a:gd name="connsiteX1196" fmla="*/ 2214088 w 3503192"/>
              <a:gd name="connsiteY1196" fmla="*/ 5687193 h 5818346"/>
              <a:gd name="connsiteX1197" fmla="*/ 2224495 w 3503192"/>
              <a:gd name="connsiteY1197" fmla="*/ 5676786 h 5818346"/>
              <a:gd name="connsiteX1198" fmla="*/ 2234490 w 3503192"/>
              <a:gd name="connsiteY1198" fmla="*/ 5686779 h 5818346"/>
              <a:gd name="connsiteX1199" fmla="*/ 2367377 w 3503192"/>
              <a:gd name="connsiteY1199" fmla="*/ 5675961 h 5818346"/>
              <a:gd name="connsiteX1200" fmla="*/ 2378115 w 3503192"/>
              <a:gd name="connsiteY1200" fmla="*/ 5686697 h 5818346"/>
              <a:gd name="connsiteX1201" fmla="*/ 2371426 w 3503192"/>
              <a:gd name="connsiteY1201" fmla="*/ 5693388 h 5818346"/>
              <a:gd name="connsiteX1202" fmla="*/ 2380428 w 3503192"/>
              <a:gd name="connsiteY1202" fmla="*/ 5702388 h 5818346"/>
              <a:gd name="connsiteX1203" fmla="*/ 2374314 w 3503192"/>
              <a:gd name="connsiteY1203" fmla="*/ 5708501 h 5818346"/>
              <a:gd name="connsiteX1204" fmla="*/ 2382244 w 3503192"/>
              <a:gd name="connsiteY1204" fmla="*/ 5716430 h 5818346"/>
              <a:gd name="connsiteX1205" fmla="*/ 2373488 w 3503192"/>
              <a:gd name="connsiteY1205" fmla="*/ 5725184 h 5818346"/>
              <a:gd name="connsiteX1206" fmla="*/ 2382575 w 3503192"/>
              <a:gd name="connsiteY1206" fmla="*/ 5734269 h 5818346"/>
              <a:gd name="connsiteX1207" fmla="*/ 2371837 w 3503192"/>
              <a:gd name="connsiteY1207" fmla="*/ 5745007 h 5818346"/>
              <a:gd name="connsiteX1208" fmla="*/ 2361101 w 3503192"/>
              <a:gd name="connsiteY1208" fmla="*/ 5734269 h 5818346"/>
              <a:gd name="connsiteX1209" fmla="*/ 2369855 w 3503192"/>
              <a:gd name="connsiteY1209" fmla="*/ 5725515 h 5818346"/>
              <a:gd name="connsiteX1210" fmla="*/ 2360770 w 3503192"/>
              <a:gd name="connsiteY1210" fmla="*/ 5716430 h 5818346"/>
              <a:gd name="connsiteX1211" fmla="*/ 2366882 w 3503192"/>
              <a:gd name="connsiteY1211" fmla="*/ 5710317 h 5818346"/>
              <a:gd name="connsiteX1212" fmla="*/ 2358954 w 3503192"/>
              <a:gd name="connsiteY1212" fmla="*/ 5702388 h 5818346"/>
              <a:gd name="connsiteX1213" fmla="*/ 2365642 w 3503192"/>
              <a:gd name="connsiteY1213" fmla="*/ 5695701 h 5818346"/>
              <a:gd name="connsiteX1214" fmla="*/ 2356640 w 3503192"/>
              <a:gd name="connsiteY1214" fmla="*/ 5686697 h 5818346"/>
              <a:gd name="connsiteX1215" fmla="*/ 2367377 w 3503192"/>
              <a:gd name="connsiteY1215" fmla="*/ 5675961 h 5818346"/>
              <a:gd name="connsiteX1216" fmla="*/ 3126715 w 3503192"/>
              <a:gd name="connsiteY1216" fmla="*/ 5674308 h 5818346"/>
              <a:gd name="connsiteX1217" fmla="*/ 3137453 w 3503192"/>
              <a:gd name="connsiteY1217" fmla="*/ 5685045 h 5818346"/>
              <a:gd name="connsiteX1218" fmla="*/ 3126715 w 3503192"/>
              <a:gd name="connsiteY1218" fmla="*/ 5695781 h 5818346"/>
              <a:gd name="connsiteX1219" fmla="*/ 3115978 w 3503192"/>
              <a:gd name="connsiteY1219" fmla="*/ 5685045 h 5818346"/>
              <a:gd name="connsiteX1220" fmla="*/ 3126715 w 3503192"/>
              <a:gd name="connsiteY1220" fmla="*/ 5674308 h 5818346"/>
              <a:gd name="connsiteX1221" fmla="*/ 2397109 w 3503192"/>
              <a:gd name="connsiteY1221" fmla="*/ 5674143 h 5818346"/>
              <a:gd name="connsiteX1222" fmla="*/ 2407848 w 3503192"/>
              <a:gd name="connsiteY1222" fmla="*/ 5684880 h 5818346"/>
              <a:gd name="connsiteX1223" fmla="*/ 2398845 w 3503192"/>
              <a:gd name="connsiteY1223" fmla="*/ 5693882 h 5818346"/>
              <a:gd name="connsiteX1224" fmla="*/ 2407353 w 3503192"/>
              <a:gd name="connsiteY1224" fmla="*/ 5702388 h 5818346"/>
              <a:gd name="connsiteX1225" fmla="*/ 2400496 w 3503192"/>
              <a:gd name="connsiteY1225" fmla="*/ 5709245 h 5818346"/>
              <a:gd name="connsiteX1226" fmla="*/ 2407187 w 3503192"/>
              <a:gd name="connsiteY1226" fmla="*/ 5715934 h 5818346"/>
              <a:gd name="connsiteX1227" fmla="*/ 2399008 w 3503192"/>
              <a:gd name="connsiteY1227" fmla="*/ 5724111 h 5818346"/>
              <a:gd name="connsiteX1228" fmla="*/ 2406360 w 3503192"/>
              <a:gd name="connsiteY1228" fmla="*/ 5731462 h 5818346"/>
              <a:gd name="connsiteX1229" fmla="*/ 2395623 w 3503192"/>
              <a:gd name="connsiteY1229" fmla="*/ 5742198 h 5818346"/>
              <a:gd name="connsiteX1230" fmla="*/ 2384887 w 3503192"/>
              <a:gd name="connsiteY1230" fmla="*/ 5731462 h 5818346"/>
              <a:gd name="connsiteX1231" fmla="*/ 2393064 w 3503192"/>
              <a:gd name="connsiteY1231" fmla="*/ 5723285 h 5818346"/>
              <a:gd name="connsiteX1232" fmla="*/ 2385712 w 3503192"/>
              <a:gd name="connsiteY1232" fmla="*/ 5715934 h 5818346"/>
              <a:gd name="connsiteX1233" fmla="*/ 2392569 w 3503192"/>
              <a:gd name="connsiteY1233" fmla="*/ 5709079 h 5818346"/>
              <a:gd name="connsiteX1234" fmla="*/ 2385879 w 3503192"/>
              <a:gd name="connsiteY1234" fmla="*/ 5702388 h 5818346"/>
              <a:gd name="connsiteX1235" fmla="*/ 2394881 w 3503192"/>
              <a:gd name="connsiteY1235" fmla="*/ 5693388 h 5818346"/>
              <a:gd name="connsiteX1236" fmla="*/ 2386373 w 3503192"/>
              <a:gd name="connsiteY1236" fmla="*/ 5684880 h 5818346"/>
              <a:gd name="connsiteX1237" fmla="*/ 2397109 w 3503192"/>
              <a:gd name="connsiteY1237" fmla="*/ 5674143 h 5818346"/>
              <a:gd name="connsiteX1238" fmla="*/ 3503192 w 3503192"/>
              <a:gd name="connsiteY1238" fmla="*/ 5673288 h 5818346"/>
              <a:gd name="connsiteX1239" fmla="*/ 3503192 w 3503192"/>
              <a:gd name="connsiteY1239" fmla="*/ 5683917 h 5818346"/>
              <a:gd name="connsiteX1240" fmla="*/ 3497878 w 3503192"/>
              <a:gd name="connsiteY1240" fmla="*/ 5678602 h 5818346"/>
              <a:gd name="connsiteX1241" fmla="*/ 2007448 w 3503192"/>
              <a:gd name="connsiteY1241" fmla="*/ 5672987 h 5818346"/>
              <a:gd name="connsiteX1242" fmla="*/ 2007942 w 3503192"/>
              <a:gd name="connsiteY1242" fmla="*/ 5673483 h 5818346"/>
              <a:gd name="connsiteX1243" fmla="*/ 2007448 w 3503192"/>
              <a:gd name="connsiteY1243" fmla="*/ 5673977 h 5818346"/>
              <a:gd name="connsiteX1244" fmla="*/ 2006952 w 3503192"/>
              <a:gd name="connsiteY1244" fmla="*/ 5673483 h 5818346"/>
              <a:gd name="connsiteX1245" fmla="*/ 2007448 w 3503192"/>
              <a:gd name="connsiteY1245" fmla="*/ 5672987 h 5818346"/>
              <a:gd name="connsiteX1246" fmla="*/ 3269102 w 3503192"/>
              <a:gd name="connsiteY1246" fmla="*/ 5672326 h 5818346"/>
              <a:gd name="connsiteX1247" fmla="*/ 3279840 w 3503192"/>
              <a:gd name="connsiteY1247" fmla="*/ 5683062 h 5818346"/>
              <a:gd name="connsiteX1248" fmla="*/ 3269102 w 3503192"/>
              <a:gd name="connsiteY1248" fmla="*/ 5693799 h 5818346"/>
              <a:gd name="connsiteX1249" fmla="*/ 3258366 w 3503192"/>
              <a:gd name="connsiteY1249" fmla="*/ 5683062 h 5818346"/>
              <a:gd name="connsiteX1250" fmla="*/ 3269102 w 3503192"/>
              <a:gd name="connsiteY1250" fmla="*/ 5672326 h 5818346"/>
              <a:gd name="connsiteX1251" fmla="*/ 2428989 w 3503192"/>
              <a:gd name="connsiteY1251" fmla="*/ 5671171 h 5818346"/>
              <a:gd name="connsiteX1252" fmla="*/ 2439727 w 3503192"/>
              <a:gd name="connsiteY1252" fmla="*/ 5681907 h 5818346"/>
              <a:gd name="connsiteX1253" fmla="*/ 2428989 w 3503192"/>
              <a:gd name="connsiteY1253" fmla="*/ 5692644 h 5818346"/>
              <a:gd name="connsiteX1254" fmla="*/ 2418252 w 3503192"/>
              <a:gd name="connsiteY1254" fmla="*/ 5681907 h 5818346"/>
              <a:gd name="connsiteX1255" fmla="*/ 2428989 w 3503192"/>
              <a:gd name="connsiteY1255" fmla="*/ 5671171 h 5818346"/>
              <a:gd name="connsiteX1256" fmla="*/ 2603587 w 3503192"/>
              <a:gd name="connsiteY1256" fmla="*/ 5670344 h 5818346"/>
              <a:gd name="connsiteX1257" fmla="*/ 2614325 w 3503192"/>
              <a:gd name="connsiteY1257" fmla="*/ 5681080 h 5818346"/>
              <a:gd name="connsiteX1258" fmla="*/ 2603587 w 3503192"/>
              <a:gd name="connsiteY1258" fmla="*/ 5691818 h 5818346"/>
              <a:gd name="connsiteX1259" fmla="*/ 2592850 w 3503192"/>
              <a:gd name="connsiteY1259" fmla="*/ 5681080 h 5818346"/>
              <a:gd name="connsiteX1260" fmla="*/ 2603587 w 3503192"/>
              <a:gd name="connsiteY1260" fmla="*/ 5670344 h 5818346"/>
              <a:gd name="connsiteX1261" fmla="*/ 2864077 w 3503192"/>
              <a:gd name="connsiteY1261" fmla="*/ 5668362 h 5818346"/>
              <a:gd name="connsiteX1262" fmla="*/ 2874814 w 3503192"/>
              <a:gd name="connsiteY1262" fmla="*/ 5679098 h 5818346"/>
              <a:gd name="connsiteX1263" fmla="*/ 2864077 w 3503192"/>
              <a:gd name="connsiteY1263" fmla="*/ 5689836 h 5818346"/>
              <a:gd name="connsiteX1264" fmla="*/ 2853341 w 3503192"/>
              <a:gd name="connsiteY1264" fmla="*/ 5679098 h 5818346"/>
              <a:gd name="connsiteX1265" fmla="*/ 2864077 w 3503192"/>
              <a:gd name="connsiteY1265" fmla="*/ 5668362 h 5818346"/>
              <a:gd name="connsiteX1266" fmla="*/ 3484167 w 3503192"/>
              <a:gd name="connsiteY1266" fmla="*/ 5667866 h 5818346"/>
              <a:gd name="connsiteX1267" fmla="*/ 3494905 w 3503192"/>
              <a:gd name="connsiteY1267" fmla="*/ 5678602 h 5818346"/>
              <a:gd name="connsiteX1268" fmla="*/ 3484167 w 3503192"/>
              <a:gd name="connsiteY1268" fmla="*/ 5689340 h 5818346"/>
              <a:gd name="connsiteX1269" fmla="*/ 3473431 w 3503192"/>
              <a:gd name="connsiteY1269" fmla="*/ 5678602 h 5818346"/>
              <a:gd name="connsiteX1270" fmla="*/ 3484167 w 3503192"/>
              <a:gd name="connsiteY1270" fmla="*/ 5667866 h 5818346"/>
              <a:gd name="connsiteX1271" fmla="*/ 2972601 w 3503192"/>
              <a:gd name="connsiteY1271" fmla="*/ 5667536 h 5818346"/>
              <a:gd name="connsiteX1272" fmla="*/ 2983339 w 3503192"/>
              <a:gd name="connsiteY1272" fmla="*/ 5678273 h 5818346"/>
              <a:gd name="connsiteX1273" fmla="*/ 2972601 w 3503192"/>
              <a:gd name="connsiteY1273" fmla="*/ 5689009 h 5818346"/>
              <a:gd name="connsiteX1274" fmla="*/ 2961865 w 3503192"/>
              <a:gd name="connsiteY1274" fmla="*/ 5678273 h 5818346"/>
              <a:gd name="connsiteX1275" fmla="*/ 2972601 w 3503192"/>
              <a:gd name="connsiteY1275" fmla="*/ 5667536 h 5818346"/>
              <a:gd name="connsiteX1276" fmla="*/ 3458234 w 3503192"/>
              <a:gd name="connsiteY1276" fmla="*/ 5667371 h 5818346"/>
              <a:gd name="connsiteX1277" fmla="*/ 3468970 w 3503192"/>
              <a:gd name="connsiteY1277" fmla="*/ 5678108 h 5818346"/>
              <a:gd name="connsiteX1278" fmla="*/ 3458234 w 3503192"/>
              <a:gd name="connsiteY1278" fmla="*/ 5688846 h 5818346"/>
              <a:gd name="connsiteX1279" fmla="*/ 3447498 w 3503192"/>
              <a:gd name="connsiteY1279" fmla="*/ 5678108 h 5818346"/>
              <a:gd name="connsiteX1280" fmla="*/ 3458234 w 3503192"/>
              <a:gd name="connsiteY1280" fmla="*/ 5667371 h 5818346"/>
              <a:gd name="connsiteX1281" fmla="*/ 2463513 w 3503192"/>
              <a:gd name="connsiteY1281" fmla="*/ 5666379 h 5818346"/>
              <a:gd name="connsiteX1282" fmla="*/ 2474250 w 3503192"/>
              <a:gd name="connsiteY1282" fmla="*/ 5677116 h 5818346"/>
              <a:gd name="connsiteX1283" fmla="*/ 2463513 w 3503192"/>
              <a:gd name="connsiteY1283" fmla="*/ 5687852 h 5818346"/>
              <a:gd name="connsiteX1284" fmla="*/ 2452777 w 3503192"/>
              <a:gd name="connsiteY1284" fmla="*/ 5677116 h 5818346"/>
              <a:gd name="connsiteX1285" fmla="*/ 2463513 w 3503192"/>
              <a:gd name="connsiteY1285" fmla="*/ 5666379 h 5818346"/>
              <a:gd name="connsiteX1286" fmla="*/ 3430154 w 3503192"/>
              <a:gd name="connsiteY1286" fmla="*/ 5665885 h 5818346"/>
              <a:gd name="connsiteX1287" fmla="*/ 3440892 w 3503192"/>
              <a:gd name="connsiteY1287" fmla="*/ 5676622 h 5818346"/>
              <a:gd name="connsiteX1288" fmla="*/ 3430154 w 3503192"/>
              <a:gd name="connsiteY1288" fmla="*/ 5687358 h 5818346"/>
              <a:gd name="connsiteX1289" fmla="*/ 3419418 w 3503192"/>
              <a:gd name="connsiteY1289" fmla="*/ 5676622 h 5818346"/>
              <a:gd name="connsiteX1290" fmla="*/ 3430154 w 3503192"/>
              <a:gd name="connsiteY1290" fmla="*/ 5665885 h 5818346"/>
              <a:gd name="connsiteX1291" fmla="*/ 2755718 w 3503192"/>
              <a:gd name="connsiteY1291" fmla="*/ 5665719 h 5818346"/>
              <a:gd name="connsiteX1292" fmla="*/ 2766456 w 3503192"/>
              <a:gd name="connsiteY1292" fmla="*/ 5676455 h 5818346"/>
              <a:gd name="connsiteX1293" fmla="*/ 2755718 w 3503192"/>
              <a:gd name="connsiteY1293" fmla="*/ 5687193 h 5818346"/>
              <a:gd name="connsiteX1294" fmla="*/ 2744982 w 3503192"/>
              <a:gd name="connsiteY1294" fmla="*/ 5676455 h 5818346"/>
              <a:gd name="connsiteX1295" fmla="*/ 2755718 w 3503192"/>
              <a:gd name="connsiteY1295" fmla="*/ 5665719 h 5818346"/>
              <a:gd name="connsiteX1296" fmla="*/ 3230284 w 3503192"/>
              <a:gd name="connsiteY1296" fmla="*/ 5664893 h 5818346"/>
              <a:gd name="connsiteX1297" fmla="*/ 3241022 w 3503192"/>
              <a:gd name="connsiteY1297" fmla="*/ 5675630 h 5818346"/>
              <a:gd name="connsiteX1298" fmla="*/ 3230284 w 3503192"/>
              <a:gd name="connsiteY1298" fmla="*/ 5686366 h 5818346"/>
              <a:gd name="connsiteX1299" fmla="*/ 3219548 w 3503192"/>
              <a:gd name="connsiteY1299" fmla="*/ 5675630 h 5818346"/>
              <a:gd name="connsiteX1300" fmla="*/ 3230284 w 3503192"/>
              <a:gd name="connsiteY1300" fmla="*/ 5664893 h 5818346"/>
              <a:gd name="connsiteX1301" fmla="*/ 3400090 w 3503192"/>
              <a:gd name="connsiteY1301" fmla="*/ 5663076 h 5818346"/>
              <a:gd name="connsiteX1302" fmla="*/ 3410828 w 3503192"/>
              <a:gd name="connsiteY1302" fmla="*/ 5673812 h 5818346"/>
              <a:gd name="connsiteX1303" fmla="*/ 3400092 w 3503192"/>
              <a:gd name="connsiteY1303" fmla="*/ 5684550 h 5818346"/>
              <a:gd name="connsiteX1304" fmla="*/ 3410003 w 3503192"/>
              <a:gd name="connsiteY1304" fmla="*/ 5694459 h 5818346"/>
              <a:gd name="connsiteX1305" fmla="*/ 3402156 w 3503192"/>
              <a:gd name="connsiteY1305" fmla="*/ 5702307 h 5818346"/>
              <a:gd name="connsiteX1306" fmla="*/ 3408682 w 3503192"/>
              <a:gd name="connsiteY1306" fmla="*/ 5708831 h 5818346"/>
              <a:gd name="connsiteX1307" fmla="*/ 3401082 w 3503192"/>
              <a:gd name="connsiteY1307" fmla="*/ 5716430 h 5818346"/>
              <a:gd name="connsiteX1308" fmla="*/ 3408021 w 3503192"/>
              <a:gd name="connsiteY1308" fmla="*/ 5723367 h 5818346"/>
              <a:gd name="connsiteX1309" fmla="*/ 3398521 w 3503192"/>
              <a:gd name="connsiteY1309" fmla="*/ 5732866 h 5818346"/>
              <a:gd name="connsiteX1310" fmla="*/ 3408844 w 3503192"/>
              <a:gd name="connsiteY1310" fmla="*/ 5743188 h 5818346"/>
              <a:gd name="connsiteX1311" fmla="*/ 3398108 w 3503192"/>
              <a:gd name="connsiteY1311" fmla="*/ 5753925 h 5818346"/>
              <a:gd name="connsiteX1312" fmla="*/ 3387372 w 3503192"/>
              <a:gd name="connsiteY1312" fmla="*/ 5743188 h 5818346"/>
              <a:gd name="connsiteX1313" fmla="*/ 3396870 w 3503192"/>
              <a:gd name="connsiteY1313" fmla="*/ 5733692 h 5818346"/>
              <a:gd name="connsiteX1314" fmla="*/ 3386546 w 3503192"/>
              <a:gd name="connsiteY1314" fmla="*/ 5723367 h 5818346"/>
              <a:gd name="connsiteX1315" fmla="*/ 3394144 w 3503192"/>
              <a:gd name="connsiteY1315" fmla="*/ 5715769 h 5818346"/>
              <a:gd name="connsiteX1316" fmla="*/ 3387207 w 3503192"/>
              <a:gd name="connsiteY1316" fmla="*/ 5708831 h 5818346"/>
              <a:gd name="connsiteX1317" fmla="*/ 3395052 w 3503192"/>
              <a:gd name="connsiteY1317" fmla="*/ 5700985 h 5818346"/>
              <a:gd name="connsiteX1318" fmla="*/ 3388528 w 3503192"/>
              <a:gd name="connsiteY1318" fmla="*/ 5694459 h 5818346"/>
              <a:gd name="connsiteX1319" fmla="*/ 3399265 w 3503192"/>
              <a:gd name="connsiteY1319" fmla="*/ 5683725 h 5818346"/>
              <a:gd name="connsiteX1320" fmla="*/ 3389354 w 3503192"/>
              <a:gd name="connsiteY1320" fmla="*/ 5673812 h 5818346"/>
              <a:gd name="connsiteX1321" fmla="*/ 3400090 w 3503192"/>
              <a:gd name="connsiteY1321" fmla="*/ 5663076 h 5818346"/>
              <a:gd name="connsiteX1322" fmla="*/ 3080795 w 3503192"/>
              <a:gd name="connsiteY1322" fmla="*/ 5662911 h 5818346"/>
              <a:gd name="connsiteX1323" fmla="*/ 3091533 w 3503192"/>
              <a:gd name="connsiteY1323" fmla="*/ 5673647 h 5818346"/>
              <a:gd name="connsiteX1324" fmla="*/ 3080795 w 3503192"/>
              <a:gd name="connsiteY1324" fmla="*/ 5684384 h 5818346"/>
              <a:gd name="connsiteX1325" fmla="*/ 3070059 w 3503192"/>
              <a:gd name="connsiteY1325" fmla="*/ 5673647 h 5818346"/>
              <a:gd name="connsiteX1326" fmla="*/ 3080795 w 3503192"/>
              <a:gd name="connsiteY1326" fmla="*/ 5662911 h 5818346"/>
              <a:gd name="connsiteX1327" fmla="*/ 2255385 w 3503192"/>
              <a:gd name="connsiteY1327" fmla="*/ 5659772 h 5818346"/>
              <a:gd name="connsiteX1328" fmla="*/ 2266123 w 3503192"/>
              <a:gd name="connsiteY1328" fmla="*/ 5670509 h 5818346"/>
              <a:gd name="connsiteX1329" fmla="*/ 2255385 w 3503192"/>
              <a:gd name="connsiteY1329" fmla="*/ 5681245 h 5818346"/>
              <a:gd name="connsiteX1330" fmla="*/ 2244648 w 3503192"/>
              <a:gd name="connsiteY1330" fmla="*/ 5670509 h 5818346"/>
              <a:gd name="connsiteX1331" fmla="*/ 2255385 w 3503192"/>
              <a:gd name="connsiteY1331" fmla="*/ 5659772 h 5818346"/>
              <a:gd name="connsiteX1332" fmla="*/ 2647689 w 3503192"/>
              <a:gd name="connsiteY1332" fmla="*/ 5659607 h 5818346"/>
              <a:gd name="connsiteX1333" fmla="*/ 2658427 w 3503192"/>
              <a:gd name="connsiteY1333" fmla="*/ 5670344 h 5818346"/>
              <a:gd name="connsiteX1334" fmla="*/ 2647689 w 3503192"/>
              <a:gd name="connsiteY1334" fmla="*/ 5681082 h 5818346"/>
              <a:gd name="connsiteX1335" fmla="*/ 2636952 w 3503192"/>
              <a:gd name="connsiteY1335" fmla="*/ 5670344 h 5818346"/>
              <a:gd name="connsiteX1336" fmla="*/ 2647689 w 3503192"/>
              <a:gd name="connsiteY1336" fmla="*/ 5659607 h 5818346"/>
              <a:gd name="connsiteX1337" fmla="*/ 2232424 w 3503192"/>
              <a:gd name="connsiteY1337" fmla="*/ 5659607 h 5818346"/>
              <a:gd name="connsiteX1338" fmla="*/ 2243162 w 3503192"/>
              <a:gd name="connsiteY1338" fmla="*/ 5670344 h 5818346"/>
              <a:gd name="connsiteX1339" fmla="*/ 2232424 w 3503192"/>
              <a:gd name="connsiteY1339" fmla="*/ 5681082 h 5818346"/>
              <a:gd name="connsiteX1340" fmla="*/ 2221688 w 3503192"/>
              <a:gd name="connsiteY1340" fmla="*/ 5670344 h 5818346"/>
              <a:gd name="connsiteX1341" fmla="*/ 2232424 w 3503192"/>
              <a:gd name="connsiteY1341" fmla="*/ 5659607 h 5818346"/>
              <a:gd name="connsiteX1342" fmla="*/ 2500678 w 3503192"/>
              <a:gd name="connsiteY1342" fmla="*/ 5659278 h 5818346"/>
              <a:gd name="connsiteX1343" fmla="*/ 2511415 w 3503192"/>
              <a:gd name="connsiteY1343" fmla="*/ 5670014 h 5818346"/>
              <a:gd name="connsiteX1344" fmla="*/ 2500678 w 3503192"/>
              <a:gd name="connsiteY1344" fmla="*/ 5680751 h 5818346"/>
              <a:gd name="connsiteX1345" fmla="*/ 2489942 w 3503192"/>
              <a:gd name="connsiteY1345" fmla="*/ 5670014 h 5818346"/>
              <a:gd name="connsiteX1346" fmla="*/ 2500678 w 3503192"/>
              <a:gd name="connsiteY1346" fmla="*/ 5659278 h 5818346"/>
              <a:gd name="connsiteX1347" fmla="*/ 2279996 w 3503192"/>
              <a:gd name="connsiteY1347" fmla="*/ 5659278 h 5818346"/>
              <a:gd name="connsiteX1348" fmla="*/ 2290732 w 3503192"/>
              <a:gd name="connsiteY1348" fmla="*/ 5670014 h 5818346"/>
              <a:gd name="connsiteX1349" fmla="*/ 2279996 w 3503192"/>
              <a:gd name="connsiteY1349" fmla="*/ 5680751 h 5818346"/>
              <a:gd name="connsiteX1350" fmla="*/ 2269260 w 3503192"/>
              <a:gd name="connsiteY1350" fmla="*/ 5670014 h 5818346"/>
              <a:gd name="connsiteX1351" fmla="*/ 2279996 w 3503192"/>
              <a:gd name="connsiteY1351" fmla="*/ 5659278 h 5818346"/>
              <a:gd name="connsiteX1352" fmla="*/ 3367715 w 3503192"/>
              <a:gd name="connsiteY1352" fmla="*/ 5658616 h 5818346"/>
              <a:gd name="connsiteX1353" fmla="*/ 3378453 w 3503192"/>
              <a:gd name="connsiteY1353" fmla="*/ 5669352 h 5818346"/>
              <a:gd name="connsiteX1354" fmla="*/ 3367715 w 3503192"/>
              <a:gd name="connsiteY1354" fmla="*/ 5680088 h 5818346"/>
              <a:gd name="connsiteX1355" fmla="*/ 3356978 w 3503192"/>
              <a:gd name="connsiteY1355" fmla="*/ 5669352 h 5818346"/>
              <a:gd name="connsiteX1356" fmla="*/ 3367715 w 3503192"/>
              <a:gd name="connsiteY1356" fmla="*/ 5658616 h 5818346"/>
              <a:gd name="connsiteX1357" fmla="*/ 2306425 w 3503192"/>
              <a:gd name="connsiteY1357" fmla="*/ 5657955 h 5818346"/>
              <a:gd name="connsiteX1358" fmla="*/ 2317163 w 3503192"/>
              <a:gd name="connsiteY1358" fmla="*/ 5668691 h 5818346"/>
              <a:gd name="connsiteX1359" fmla="*/ 2306425 w 3503192"/>
              <a:gd name="connsiteY1359" fmla="*/ 5679429 h 5818346"/>
              <a:gd name="connsiteX1360" fmla="*/ 2295689 w 3503192"/>
              <a:gd name="connsiteY1360" fmla="*/ 5668691 h 5818346"/>
              <a:gd name="connsiteX1361" fmla="*/ 2306425 w 3503192"/>
              <a:gd name="connsiteY1361" fmla="*/ 5657955 h 5818346"/>
              <a:gd name="connsiteX1362" fmla="*/ 2335001 w 3503192"/>
              <a:gd name="connsiteY1362" fmla="*/ 5655478 h 5818346"/>
              <a:gd name="connsiteX1363" fmla="*/ 2345738 w 3503192"/>
              <a:gd name="connsiteY1363" fmla="*/ 5666215 h 5818346"/>
              <a:gd name="connsiteX1364" fmla="*/ 2335001 w 3503192"/>
              <a:gd name="connsiteY1364" fmla="*/ 5676953 h 5818346"/>
              <a:gd name="connsiteX1365" fmla="*/ 2324265 w 3503192"/>
              <a:gd name="connsiteY1365" fmla="*/ 5666215 h 5818346"/>
              <a:gd name="connsiteX1366" fmla="*/ 2335001 w 3503192"/>
              <a:gd name="connsiteY1366" fmla="*/ 5655478 h 5818346"/>
              <a:gd name="connsiteX1367" fmla="*/ 3188329 w 3503192"/>
              <a:gd name="connsiteY1367" fmla="*/ 5654653 h 5818346"/>
              <a:gd name="connsiteX1368" fmla="*/ 3199067 w 3503192"/>
              <a:gd name="connsiteY1368" fmla="*/ 5665389 h 5818346"/>
              <a:gd name="connsiteX1369" fmla="*/ 3188329 w 3503192"/>
              <a:gd name="connsiteY1369" fmla="*/ 5676126 h 5818346"/>
              <a:gd name="connsiteX1370" fmla="*/ 3177592 w 3503192"/>
              <a:gd name="connsiteY1370" fmla="*/ 5665389 h 5818346"/>
              <a:gd name="connsiteX1371" fmla="*/ 3188329 w 3503192"/>
              <a:gd name="connsiteY1371" fmla="*/ 5654653 h 5818346"/>
              <a:gd name="connsiteX1372" fmla="*/ 3332532 w 3503192"/>
              <a:gd name="connsiteY1372" fmla="*/ 5652175 h 5818346"/>
              <a:gd name="connsiteX1373" fmla="*/ 3343268 w 3503192"/>
              <a:gd name="connsiteY1373" fmla="*/ 5662911 h 5818346"/>
              <a:gd name="connsiteX1374" fmla="*/ 3332532 w 3503192"/>
              <a:gd name="connsiteY1374" fmla="*/ 5673647 h 5818346"/>
              <a:gd name="connsiteX1375" fmla="*/ 3321795 w 3503192"/>
              <a:gd name="connsiteY1375" fmla="*/ 5662911 h 5818346"/>
              <a:gd name="connsiteX1376" fmla="*/ 3332532 w 3503192"/>
              <a:gd name="connsiteY1376" fmla="*/ 5652175 h 5818346"/>
              <a:gd name="connsiteX1377" fmla="*/ 2162470 w 3503192"/>
              <a:gd name="connsiteY1377" fmla="*/ 5652091 h 5818346"/>
              <a:gd name="connsiteX1378" fmla="*/ 2153714 w 3503192"/>
              <a:gd name="connsiteY1378" fmla="*/ 5660847 h 5818346"/>
              <a:gd name="connsiteX1379" fmla="*/ 2161643 w 3503192"/>
              <a:gd name="connsiteY1379" fmla="*/ 5668776 h 5818346"/>
              <a:gd name="connsiteX1380" fmla="*/ 2170399 w 3503192"/>
              <a:gd name="connsiteY1380" fmla="*/ 5660020 h 5818346"/>
              <a:gd name="connsiteX1381" fmla="*/ 2365726 w 3503192"/>
              <a:gd name="connsiteY1381" fmla="*/ 5651348 h 5818346"/>
              <a:gd name="connsiteX1382" fmla="*/ 2376462 w 3503192"/>
              <a:gd name="connsiteY1382" fmla="*/ 5662084 h 5818346"/>
              <a:gd name="connsiteX1383" fmla="*/ 2365726 w 3503192"/>
              <a:gd name="connsiteY1383" fmla="*/ 5672822 h 5818346"/>
              <a:gd name="connsiteX1384" fmla="*/ 2354990 w 3503192"/>
              <a:gd name="connsiteY1384" fmla="*/ 5662084 h 5818346"/>
              <a:gd name="connsiteX1385" fmla="*/ 2365726 w 3503192"/>
              <a:gd name="connsiteY1385" fmla="*/ 5651348 h 5818346"/>
              <a:gd name="connsiteX1386" fmla="*/ 2919414 w 3503192"/>
              <a:gd name="connsiteY1386" fmla="*/ 5651018 h 5818346"/>
              <a:gd name="connsiteX1387" fmla="*/ 2930152 w 3503192"/>
              <a:gd name="connsiteY1387" fmla="*/ 5661754 h 5818346"/>
              <a:gd name="connsiteX1388" fmla="*/ 2919414 w 3503192"/>
              <a:gd name="connsiteY1388" fmla="*/ 5672491 h 5818346"/>
              <a:gd name="connsiteX1389" fmla="*/ 2908677 w 3503192"/>
              <a:gd name="connsiteY1389" fmla="*/ 5661754 h 5818346"/>
              <a:gd name="connsiteX1390" fmla="*/ 2919414 w 3503192"/>
              <a:gd name="connsiteY1390" fmla="*/ 5651018 h 5818346"/>
              <a:gd name="connsiteX1391" fmla="*/ 2807090 w 3503192"/>
              <a:gd name="connsiteY1391" fmla="*/ 5650193 h 5818346"/>
              <a:gd name="connsiteX1392" fmla="*/ 2817828 w 3503192"/>
              <a:gd name="connsiteY1392" fmla="*/ 5660929 h 5818346"/>
              <a:gd name="connsiteX1393" fmla="*/ 2807090 w 3503192"/>
              <a:gd name="connsiteY1393" fmla="*/ 5671667 h 5818346"/>
              <a:gd name="connsiteX1394" fmla="*/ 2796354 w 3503192"/>
              <a:gd name="connsiteY1394" fmla="*/ 5660929 h 5818346"/>
              <a:gd name="connsiteX1395" fmla="*/ 2807090 w 3503192"/>
              <a:gd name="connsiteY1395" fmla="*/ 5650193 h 5818346"/>
              <a:gd name="connsiteX1396" fmla="*/ 2540818 w 3503192"/>
              <a:gd name="connsiteY1396" fmla="*/ 5649697 h 5818346"/>
              <a:gd name="connsiteX1397" fmla="*/ 2551556 w 3503192"/>
              <a:gd name="connsiteY1397" fmla="*/ 5660433 h 5818346"/>
              <a:gd name="connsiteX1398" fmla="*/ 2540818 w 3503192"/>
              <a:gd name="connsiteY1398" fmla="*/ 5671171 h 5818346"/>
              <a:gd name="connsiteX1399" fmla="*/ 2530082 w 3503192"/>
              <a:gd name="connsiteY1399" fmla="*/ 5660433 h 5818346"/>
              <a:gd name="connsiteX1400" fmla="*/ 2540818 w 3503192"/>
              <a:gd name="connsiteY1400" fmla="*/ 5649697 h 5818346"/>
              <a:gd name="connsiteX1401" fmla="*/ 3031406 w 3503192"/>
              <a:gd name="connsiteY1401" fmla="*/ 5648210 h 5818346"/>
              <a:gd name="connsiteX1402" fmla="*/ 3042144 w 3503192"/>
              <a:gd name="connsiteY1402" fmla="*/ 5658947 h 5818346"/>
              <a:gd name="connsiteX1403" fmla="*/ 3031406 w 3503192"/>
              <a:gd name="connsiteY1403" fmla="*/ 5669685 h 5818346"/>
              <a:gd name="connsiteX1404" fmla="*/ 3020669 w 3503192"/>
              <a:gd name="connsiteY1404" fmla="*/ 5658947 h 5818346"/>
              <a:gd name="connsiteX1405" fmla="*/ 3031406 w 3503192"/>
              <a:gd name="connsiteY1405" fmla="*/ 5648210 h 5818346"/>
              <a:gd name="connsiteX1406" fmla="*/ 3493417 w 3503192"/>
              <a:gd name="connsiteY1406" fmla="*/ 5645897 h 5818346"/>
              <a:gd name="connsiteX1407" fmla="*/ 3503192 w 3503192"/>
              <a:gd name="connsiteY1407" fmla="*/ 5655670 h 5818346"/>
              <a:gd name="connsiteX1408" fmla="*/ 3503192 w 3503192"/>
              <a:gd name="connsiteY1408" fmla="*/ 5657596 h 5818346"/>
              <a:gd name="connsiteX1409" fmla="*/ 3493417 w 3503192"/>
              <a:gd name="connsiteY1409" fmla="*/ 5667370 h 5818346"/>
              <a:gd name="connsiteX1410" fmla="*/ 3482681 w 3503192"/>
              <a:gd name="connsiteY1410" fmla="*/ 5656633 h 5818346"/>
              <a:gd name="connsiteX1411" fmla="*/ 3493417 w 3503192"/>
              <a:gd name="connsiteY1411" fmla="*/ 5645897 h 5818346"/>
              <a:gd name="connsiteX1412" fmla="*/ 2695263 w 3503192"/>
              <a:gd name="connsiteY1412" fmla="*/ 5645567 h 5818346"/>
              <a:gd name="connsiteX1413" fmla="*/ 2706001 w 3503192"/>
              <a:gd name="connsiteY1413" fmla="*/ 5656304 h 5818346"/>
              <a:gd name="connsiteX1414" fmla="*/ 2695263 w 3503192"/>
              <a:gd name="connsiteY1414" fmla="*/ 5667042 h 5818346"/>
              <a:gd name="connsiteX1415" fmla="*/ 2684526 w 3503192"/>
              <a:gd name="connsiteY1415" fmla="*/ 5656304 h 5818346"/>
              <a:gd name="connsiteX1416" fmla="*/ 2695263 w 3503192"/>
              <a:gd name="connsiteY1416" fmla="*/ 5645567 h 5818346"/>
              <a:gd name="connsiteX1417" fmla="*/ 2399092 w 3503192"/>
              <a:gd name="connsiteY1417" fmla="*/ 5645236 h 5818346"/>
              <a:gd name="connsiteX1418" fmla="*/ 2409830 w 3503192"/>
              <a:gd name="connsiteY1418" fmla="*/ 5655973 h 5818346"/>
              <a:gd name="connsiteX1419" fmla="*/ 2399092 w 3503192"/>
              <a:gd name="connsiteY1419" fmla="*/ 5666709 h 5818346"/>
              <a:gd name="connsiteX1420" fmla="*/ 2388355 w 3503192"/>
              <a:gd name="connsiteY1420" fmla="*/ 5655973 h 5818346"/>
              <a:gd name="connsiteX1421" fmla="*/ 2399092 w 3503192"/>
              <a:gd name="connsiteY1421" fmla="*/ 5645236 h 5818346"/>
              <a:gd name="connsiteX1422" fmla="*/ 3294541 w 3503192"/>
              <a:gd name="connsiteY1422" fmla="*/ 5643089 h 5818346"/>
              <a:gd name="connsiteX1423" fmla="*/ 3305279 w 3503192"/>
              <a:gd name="connsiteY1423" fmla="*/ 5653826 h 5818346"/>
              <a:gd name="connsiteX1424" fmla="*/ 3294541 w 3503192"/>
              <a:gd name="connsiteY1424" fmla="*/ 5664564 h 5818346"/>
              <a:gd name="connsiteX1425" fmla="*/ 3283804 w 3503192"/>
              <a:gd name="connsiteY1425" fmla="*/ 5653826 h 5818346"/>
              <a:gd name="connsiteX1426" fmla="*/ 3294541 w 3503192"/>
              <a:gd name="connsiteY1426" fmla="*/ 5643089 h 5818346"/>
              <a:gd name="connsiteX1427" fmla="*/ 3464512 w 3503192"/>
              <a:gd name="connsiteY1427" fmla="*/ 5642097 h 5818346"/>
              <a:gd name="connsiteX1428" fmla="*/ 3475250 w 3503192"/>
              <a:gd name="connsiteY1428" fmla="*/ 5652834 h 5818346"/>
              <a:gd name="connsiteX1429" fmla="*/ 3464512 w 3503192"/>
              <a:gd name="connsiteY1429" fmla="*/ 5663570 h 5818346"/>
              <a:gd name="connsiteX1430" fmla="*/ 3453776 w 3503192"/>
              <a:gd name="connsiteY1430" fmla="*/ 5652834 h 5818346"/>
              <a:gd name="connsiteX1431" fmla="*/ 3464512 w 3503192"/>
              <a:gd name="connsiteY1431" fmla="*/ 5642097 h 5818346"/>
              <a:gd name="connsiteX1432" fmla="*/ 3143068 w 3503192"/>
              <a:gd name="connsiteY1432" fmla="*/ 5641437 h 5818346"/>
              <a:gd name="connsiteX1433" fmla="*/ 3153804 w 3503192"/>
              <a:gd name="connsiteY1433" fmla="*/ 5652173 h 5818346"/>
              <a:gd name="connsiteX1434" fmla="*/ 3143068 w 3503192"/>
              <a:gd name="connsiteY1434" fmla="*/ 5662911 h 5818346"/>
              <a:gd name="connsiteX1435" fmla="*/ 3132332 w 3503192"/>
              <a:gd name="connsiteY1435" fmla="*/ 5652173 h 5818346"/>
              <a:gd name="connsiteX1436" fmla="*/ 3143068 w 3503192"/>
              <a:gd name="connsiteY1436" fmla="*/ 5641437 h 5818346"/>
              <a:gd name="connsiteX1437" fmla="*/ 1959876 w 3503192"/>
              <a:gd name="connsiteY1437" fmla="*/ 5640942 h 5818346"/>
              <a:gd name="connsiteX1438" fmla="*/ 1968300 w 3503192"/>
              <a:gd name="connsiteY1438" fmla="*/ 5649367 h 5818346"/>
              <a:gd name="connsiteX1439" fmla="*/ 1959876 w 3503192"/>
              <a:gd name="connsiteY1439" fmla="*/ 5657792 h 5818346"/>
              <a:gd name="connsiteX1440" fmla="*/ 1951451 w 3503192"/>
              <a:gd name="connsiteY1440" fmla="*/ 5649367 h 5818346"/>
              <a:gd name="connsiteX1441" fmla="*/ 1959876 w 3503192"/>
              <a:gd name="connsiteY1441" fmla="*/ 5640942 h 5818346"/>
              <a:gd name="connsiteX1442" fmla="*/ 2194267 w 3503192"/>
              <a:gd name="connsiteY1442" fmla="*/ 5640446 h 5818346"/>
              <a:gd name="connsiteX1443" fmla="*/ 2205005 w 3503192"/>
              <a:gd name="connsiteY1443" fmla="*/ 5651183 h 5818346"/>
              <a:gd name="connsiteX1444" fmla="*/ 2194267 w 3503192"/>
              <a:gd name="connsiteY1444" fmla="*/ 5661921 h 5818346"/>
              <a:gd name="connsiteX1445" fmla="*/ 2183530 w 3503192"/>
              <a:gd name="connsiteY1445" fmla="*/ 5651183 h 5818346"/>
              <a:gd name="connsiteX1446" fmla="*/ 2194267 w 3503192"/>
              <a:gd name="connsiteY1446" fmla="*/ 5640446 h 5818346"/>
              <a:gd name="connsiteX1447" fmla="*/ 2115807 w 3503192"/>
              <a:gd name="connsiteY1447" fmla="*/ 5640446 h 5818346"/>
              <a:gd name="connsiteX1448" fmla="*/ 2124728 w 3503192"/>
              <a:gd name="connsiteY1448" fmla="*/ 5649365 h 5818346"/>
              <a:gd name="connsiteX1449" fmla="*/ 2133646 w 3503192"/>
              <a:gd name="connsiteY1449" fmla="*/ 5640446 h 5818346"/>
              <a:gd name="connsiteX1450" fmla="*/ 2143144 w 3503192"/>
              <a:gd name="connsiteY1450" fmla="*/ 5649943 h 5818346"/>
              <a:gd name="connsiteX1451" fmla="*/ 2152476 w 3503192"/>
              <a:gd name="connsiteY1451" fmla="*/ 5640611 h 5818346"/>
              <a:gd name="connsiteX1452" fmla="*/ 2162637 w 3503192"/>
              <a:gd name="connsiteY1452" fmla="*/ 5650770 h 5818346"/>
              <a:gd name="connsiteX1453" fmla="*/ 2172629 w 3503192"/>
              <a:gd name="connsiteY1453" fmla="*/ 5640778 h 5818346"/>
              <a:gd name="connsiteX1454" fmla="*/ 2183366 w 3503192"/>
              <a:gd name="connsiteY1454" fmla="*/ 5651514 h 5818346"/>
              <a:gd name="connsiteX1455" fmla="*/ 2173372 w 3503192"/>
              <a:gd name="connsiteY1455" fmla="*/ 5661508 h 5818346"/>
              <a:gd name="connsiteX1456" fmla="*/ 2180723 w 3503192"/>
              <a:gd name="connsiteY1456" fmla="*/ 5668858 h 5818346"/>
              <a:gd name="connsiteX1457" fmla="*/ 2190469 w 3503192"/>
              <a:gd name="connsiteY1457" fmla="*/ 5659111 h 5818346"/>
              <a:gd name="connsiteX1458" fmla="*/ 2200792 w 3503192"/>
              <a:gd name="connsiteY1458" fmla="*/ 5669435 h 5818346"/>
              <a:gd name="connsiteX1459" fmla="*/ 2210785 w 3503192"/>
              <a:gd name="connsiteY1459" fmla="*/ 5659443 h 5818346"/>
              <a:gd name="connsiteX1460" fmla="*/ 2221523 w 3503192"/>
              <a:gd name="connsiteY1460" fmla="*/ 5670179 h 5818346"/>
              <a:gd name="connsiteX1461" fmla="*/ 2210785 w 3503192"/>
              <a:gd name="connsiteY1461" fmla="*/ 5680917 h 5818346"/>
              <a:gd name="connsiteX1462" fmla="*/ 2200461 w 3503192"/>
              <a:gd name="connsiteY1462" fmla="*/ 5670592 h 5818346"/>
              <a:gd name="connsiteX1463" fmla="*/ 2190469 w 3503192"/>
              <a:gd name="connsiteY1463" fmla="*/ 5680586 h 5818346"/>
              <a:gd name="connsiteX1464" fmla="*/ 2180889 w 3503192"/>
              <a:gd name="connsiteY1464" fmla="*/ 5671005 h 5818346"/>
              <a:gd name="connsiteX1465" fmla="*/ 2171141 w 3503192"/>
              <a:gd name="connsiteY1465" fmla="*/ 5680751 h 5818346"/>
              <a:gd name="connsiteX1466" fmla="*/ 2162304 w 3503192"/>
              <a:gd name="connsiteY1466" fmla="*/ 5671915 h 5818346"/>
              <a:gd name="connsiteX1467" fmla="*/ 2152806 w 3503192"/>
              <a:gd name="connsiteY1467" fmla="*/ 5681411 h 5818346"/>
              <a:gd name="connsiteX1468" fmla="*/ 2144796 w 3503192"/>
              <a:gd name="connsiteY1468" fmla="*/ 5673401 h 5818346"/>
              <a:gd name="connsiteX1469" fmla="*/ 2135298 w 3503192"/>
              <a:gd name="connsiteY1469" fmla="*/ 5682898 h 5818346"/>
              <a:gd name="connsiteX1470" fmla="*/ 2128031 w 3503192"/>
              <a:gd name="connsiteY1470" fmla="*/ 5675631 h 5818346"/>
              <a:gd name="connsiteX1471" fmla="*/ 2118283 w 3503192"/>
              <a:gd name="connsiteY1471" fmla="*/ 5685376 h 5818346"/>
              <a:gd name="connsiteX1472" fmla="*/ 2111676 w 3503192"/>
              <a:gd name="connsiteY1472" fmla="*/ 5678768 h 5818346"/>
              <a:gd name="connsiteX1473" fmla="*/ 2101600 w 3503192"/>
              <a:gd name="connsiteY1473" fmla="*/ 5688846 h 5818346"/>
              <a:gd name="connsiteX1474" fmla="*/ 2095983 w 3503192"/>
              <a:gd name="connsiteY1474" fmla="*/ 5683229 h 5818346"/>
              <a:gd name="connsiteX1475" fmla="*/ 2085412 w 3503192"/>
              <a:gd name="connsiteY1475" fmla="*/ 5693799 h 5818346"/>
              <a:gd name="connsiteX1476" fmla="*/ 2074676 w 3503192"/>
              <a:gd name="connsiteY1476" fmla="*/ 5683062 h 5818346"/>
              <a:gd name="connsiteX1477" fmla="*/ 2085412 w 3503192"/>
              <a:gd name="connsiteY1477" fmla="*/ 5672326 h 5818346"/>
              <a:gd name="connsiteX1478" fmla="*/ 2091029 w 3503192"/>
              <a:gd name="connsiteY1478" fmla="*/ 5677943 h 5818346"/>
              <a:gd name="connsiteX1479" fmla="*/ 2101600 w 3503192"/>
              <a:gd name="connsiteY1479" fmla="*/ 5667371 h 5818346"/>
              <a:gd name="connsiteX1480" fmla="*/ 2108208 w 3503192"/>
              <a:gd name="connsiteY1480" fmla="*/ 5673979 h 5818346"/>
              <a:gd name="connsiteX1481" fmla="*/ 2118283 w 3503192"/>
              <a:gd name="connsiteY1481" fmla="*/ 5663903 h 5818346"/>
              <a:gd name="connsiteX1482" fmla="*/ 2125551 w 3503192"/>
              <a:gd name="connsiteY1482" fmla="*/ 5671171 h 5818346"/>
              <a:gd name="connsiteX1483" fmla="*/ 2135298 w 3503192"/>
              <a:gd name="connsiteY1483" fmla="*/ 5661425 h 5818346"/>
              <a:gd name="connsiteX1484" fmla="*/ 2143309 w 3503192"/>
              <a:gd name="connsiteY1484" fmla="*/ 5669435 h 5818346"/>
              <a:gd name="connsiteX1485" fmla="*/ 2151569 w 3503192"/>
              <a:gd name="connsiteY1485" fmla="*/ 5661177 h 5818346"/>
              <a:gd name="connsiteX1486" fmla="*/ 2142980 w 3503192"/>
              <a:gd name="connsiteY1486" fmla="*/ 5652587 h 5818346"/>
              <a:gd name="connsiteX1487" fmla="*/ 2133646 w 3503192"/>
              <a:gd name="connsiteY1487" fmla="*/ 5661921 h 5818346"/>
              <a:gd name="connsiteX1488" fmla="*/ 2124728 w 3503192"/>
              <a:gd name="connsiteY1488" fmla="*/ 5653000 h 5818346"/>
              <a:gd name="connsiteX1489" fmla="*/ 2115807 w 3503192"/>
              <a:gd name="connsiteY1489" fmla="*/ 5661921 h 5818346"/>
              <a:gd name="connsiteX1490" fmla="*/ 2107466 w 3503192"/>
              <a:gd name="connsiteY1490" fmla="*/ 5653578 h 5818346"/>
              <a:gd name="connsiteX1491" fmla="*/ 2098793 w 3503192"/>
              <a:gd name="connsiteY1491" fmla="*/ 5662250 h 5818346"/>
              <a:gd name="connsiteX1492" fmla="*/ 2091112 w 3503192"/>
              <a:gd name="connsiteY1492" fmla="*/ 5654570 h 5818346"/>
              <a:gd name="connsiteX1493" fmla="*/ 2082439 w 3503192"/>
              <a:gd name="connsiteY1493" fmla="*/ 5663241 h 5818346"/>
              <a:gd name="connsiteX1494" fmla="*/ 2075586 w 3503192"/>
              <a:gd name="connsiteY1494" fmla="*/ 5656387 h 5818346"/>
              <a:gd name="connsiteX1495" fmla="*/ 2066913 w 3503192"/>
              <a:gd name="connsiteY1495" fmla="*/ 5665060 h 5818346"/>
              <a:gd name="connsiteX1496" fmla="*/ 2060719 w 3503192"/>
              <a:gd name="connsiteY1496" fmla="*/ 5658863 h 5818346"/>
              <a:gd name="connsiteX1497" fmla="*/ 2051715 w 3503192"/>
              <a:gd name="connsiteY1497" fmla="*/ 5667866 h 5818346"/>
              <a:gd name="connsiteX1498" fmla="*/ 2046264 w 3503192"/>
              <a:gd name="connsiteY1498" fmla="*/ 5662415 h 5818346"/>
              <a:gd name="connsiteX1499" fmla="*/ 2036685 w 3503192"/>
              <a:gd name="connsiteY1499" fmla="*/ 5671995 h 5818346"/>
              <a:gd name="connsiteX1500" fmla="*/ 2032061 w 3503192"/>
              <a:gd name="connsiteY1500" fmla="*/ 5667371 h 5818346"/>
              <a:gd name="connsiteX1501" fmla="*/ 2022149 w 3503192"/>
              <a:gd name="connsiteY1501" fmla="*/ 5677281 h 5818346"/>
              <a:gd name="connsiteX1502" fmla="*/ 2011412 w 3503192"/>
              <a:gd name="connsiteY1502" fmla="*/ 5666544 h 5818346"/>
              <a:gd name="connsiteX1503" fmla="*/ 2022149 w 3503192"/>
              <a:gd name="connsiteY1503" fmla="*/ 5655808 h 5818346"/>
              <a:gd name="connsiteX1504" fmla="*/ 2026774 w 3503192"/>
              <a:gd name="connsiteY1504" fmla="*/ 5660433 h 5818346"/>
              <a:gd name="connsiteX1505" fmla="*/ 2036685 w 3503192"/>
              <a:gd name="connsiteY1505" fmla="*/ 5650522 h 5818346"/>
              <a:gd name="connsiteX1506" fmla="*/ 2042135 w 3503192"/>
              <a:gd name="connsiteY1506" fmla="*/ 5655973 h 5818346"/>
              <a:gd name="connsiteX1507" fmla="*/ 2051715 w 3503192"/>
              <a:gd name="connsiteY1507" fmla="*/ 5646393 h 5818346"/>
              <a:gd name="connsiteX1508" fmla="*/ 2057911 w 3503192"/>
              <a:gd name="connsiteY1508" fmla="*/ 5652587 h 5818346"/>
              <a:gd name="connsiteX1509" fmla="*/ 2066913 w 3503192"/>
              <a:gd name="connsiteY1509" fmla="*/ 5643585 h 5818346"/>
              <a:gd name="connsiteX1510" fmla="*/ 2073768 w 3503192"/>
              <a:gd name="connsiteY1510" fmla="*/ 5650441 h 5818346"/>
              <a:gd name="connsiteX1511" fmla="*/ 2082439 w 3503192"/>
              <a:gd name="connsiteY1511" fmla="*/ 5641768 h 5818346"/>
              <a:gd name="connsiteX1512" fmla="*/ 2090122 w 3503192"/>
              <a:gd name="connsiteY1512" fmla="*/ 5649449 h 5818346"/>
              <a:gd name="connsiteX1513" fmla="*/ 2098793 w 3503192"/>
              <a:gd name="connsiteY1513" fmla="*/ 5640778 h 5818346"/>
              <a:gd name="connsiteX1514" fmla="*/ 2107134 w 3503192"/>
              <a:gd name="connsiteY1514" fmla="*/ 5649119 h 5818346"/>
              <a:gd name="connsiteX1515" fmla="*/ 2217558 w 3503192"/>
              <a:gd name="connsiteY1515" fmla="*/ 5639290 h 5818346"/>
              <a:gd name="connsiteX1516" fmla="*/ 2228295 w 3503192"/>
              <a:gd name="connsiteY1516" fmla="*/ 5650026 h 5818346"/>
              <a:gd name="connsiteX1517" fmla="*/ 2217558 w 3503192"/>
              <a:gd name="connsiteY1517" fmla="*/ 5660762 h 5818346"/>
              <a:gd name="connsiteX1518" fmla="*/ 2206822 w 3503192"/>
              <a:gd name="connsiteY1518" fmla="*/ 5650026 h 5818346"/>
              <a:gd name="connsiteX1519" fmla="*/ 2217558 w 3503192"/>
              <a:gd name="connsiteY1519" fmla="*/ 5639290 h 5818346"/>
              <a:gd name="connsiteX1520" fmla="*/ 2584094 w 3503192"/>
              <a:gd name="connsiteY1520" fmla="*/ 5637143 h 5818346"/>
              <a:gd name="connsiteX1521" fmla="*/ 2594833 w 3503192"/>
              <a:gd name="connsiteY1521" fmla="*/ 5647879 h 5818346"/>
              <a:gd name="connsiteX1522" fmla="*/ 2584094 w 3503192"/>
              <a:gd name="connsiteY1522" fmla="*/ 5658616 h 5818346"/>
              <a:gd name="connsiteX1523" fmla="*/ 2573358 w 3503192"/>
              <a:gd name="connsiteY1523" fmla="*/ 5647879 h 5818346"/>
              <a:gd name="connsiteX1524" fmla="*/ 2584094 w 3503192"/>
              <a:gd name="connsiteY1524" fmla="*/ 5637143 h 5818346"/>
              <a:gd name="connsiteX1525" fmla="*/ 2242500 w 3503192"/>
              <a:gd name="connsiteY1525" fmla="*/ 5637143 h 5818346"/>
              <a:gd name="connsiteX1526" fmla="*/ 2253238 w 3503192"/>
              <a:gd name="connsiteY1526" fmla="*/ 5647879 h 5818346"/>
              <a:gd name="connsiteX1527" fmla="*/ 2242500 w 3503192"/>
              <a:gd name="connsiteY1527" fmla="*/ 5658616 h 5818346"/>
              <a:gd name="connsiteX1528" fmla="*/ 2231763 w 3503192"/>
              <a:gd name="connsiteY1528" fmla="*/ 5647879 h 5818346"/>
              <a:gd name="connsiteX1529" fmla="*/ 2242500 w 3503192"/>
              <a:gd name="connsiteY1529" fmla="*/ 5637143 h 5818346"/>
              <a:gd name="connsiteX1530" fmla="*/ 2435102 w 3503192"/>
              <a:gd name="connsiteY1530" fmla="*/ 5636482 h 5818346"/>
              <a:gd name="connsiteX1531" fmla="*/ 2445840 w 3503192"/>
              <a:gd name="connsiteY1531" fmla="*/ 5647218 h 5818346"/>
              <a:gd name="connsiteX1532" fmla="*/ 2435102 w 3503192"/>
              <a:gd name="connsiteY1532" fmla="*/ 5657955 h 5818346"/>
              <a:gd name="connsiteX1533" fmla="*/ 2424366 w 3503192"/>
              <a:gd name="connsiteY1533" fmla="*/ 5647218 h 5818346"/>
              <a:gd name="connsiteX1534" fmla="*/ 2435102 w 3503192"/>
              <a:gd name="connsiteY1534" fmla="*/ 5636482 h 5818346"/>
              <a:gd name="connsiteX1535" fmla="*/ 3433291 w 3503192"/>
              <a:gd name="connsiteY1535" fmla="*/ 5636317 h 5818346"/>
              <a:gd name="connsiteX1536" fmla="*/ 3444029 w 3503192"/>
              <a:gd name="connsiteY1536" fmla="*/ 5647054 h 5818346"/>
              <a:gd name="connsiteX1537" fmla="*/ 3433291 w 3503192"/>
              <a:gd name="connsiteY1537" fmla="*/ 5657792 h 5818346"/>
              <a:gd name="connsiteX1538" fmla="*/ 3422555 w 3503192"/>
              <a:gd name="connsiteY1538" fmla="*/ 5647054 h 5818346"/>
              <a:gd name="connsiteX1539" fmla="*/ 3433291 w 3503192"/>
              <a:gd name="connsiteY1539" fmla="*/ 5636317 h 5818346"/>
              <a:gd name="connsiteX1540" fmla="*/ 2269754 w 3503192"/>
              <a:gd name="connsiteY1540" fmla="*/ 5633343 h 5818346"/>
              <a:gd name="connsiteX1541" fmla="*/ 2280492 w 3503192"/>
              <a:gd name="connsiteY1541" fmla="*/ 5644080 h 5818346"/>
              <a:gd name="connsiteX1542" fmla="*/ 2269754 w 3503192"/>
              <a:gd name="connsiteY1542" fmla="*/ 5654816 h 5818346"/>
              <a:gd name="connsiteX1543" fmla="*/ 2259018 w 3503192"/>
              <a:gd name="connsiteY1543" fmla="*/ 5644080 h 5818346"/>
              <a:gd name="connsiteX1544" fmla="*/ 2269754 w 3503192"/>
              <a:gd name="connsiteY1544" fmla="*/ 5633343 h 5818346"/>
              <a:gd name="connsiteX1545" fmla="*/ 3253576 w 3503192"/>
              <a:gd name="connsiteY1545" fmla="*/ 5631032 h 5818346"/>
              <a:gd name="connsiteX1546" fmla="*/ 3264312 w 3503192"/>
              <a:gd name="connsiteY1546" fmla="*/ 5641768 h 5818346"/>
              <a:gd name="connsiteX1547" fmla="*/ 3253576 w 3503192"/>
              <a:gd name="connsiteY1547" fmla="*/ 5652504 h 5818346"/>
              <a:gd name="connsiteX1548" fmla="*/ 3242839 w 3503192"/>
              <a:gd name="connsiteY1548" fmla="*/ 5641768 h 5818346"/>
              <a:gd name="connsiteX1549" fmla="*/ 3253576 w 3503192"/>
              <a:gd name="connsiteY1549" fmla="*/ 5631032 h 5818346"/>
              <a:gd name="connsiteX1550" fmla="*/ 2862260 w 3503192"/>
              <a:gd name="connsiteY1550" fmla="*/ 5630700 h 5818346"/>
              <a:gd name="connsiteX1551" fmla="*/ 2872996 w 3503192"/>
              <a:gd name="connsiteY1551" fmla="*/ 5641437 h 5818346"/>
              <a:gd name="connsiteX1552" fmla="*/ 2862260 w 3503192"/>
              <a:gd name="connsiteY1552" fmla="*/ 5652175 h 5818346"/>
              <a:gd name="connsiteX1553" fmla="*/ 2851524 w 3503192"/>
              <a:gd name="connsiteY1553" fmla="*/ 5641437 h 5818346"/>
              <a:gd name="connsiteX1554" fmla="*/ 2862260 w 3503192"/>
              <a:gd name="connsiteY1554" fmla="*/ 5630700 h 5818346"/>
              <a:gd name="connsiteX1555" fmla="*/ 2978383 w 3503192"/>
              <a:gd name="connsiteY1555" fmla="*/ 5629544 h 5818346"/>
              <a:gd name="connsiteX1556" fmla="*/ 2989121 w 3503192"/>
              <a:gd name="connsiteY1556" fmla="*/ 5640280 h 5818346"/>
              <a:gd name="connsiteX1557" fmla="*/ 2978383 w 3503192"/>
              <a:gd name="connsiteY1557" fmla="*/ 5651018 h 5818346"/>
              <a:gd name="connsiteX1558" fmla="*/ 2967646 w 3503192"/>
              <a:gd name="connsiteY1558" fmla="*/ 5640280 h 5818346"/>
              <a:gd name="connsiteX1559" fmla="*/ 2978383 w 3503192"/>
              <a:gd name="connsiteY1559" fmla="*/ 5629544 h 5818346"/>
              <a:gd name="connsiteX1560" fmla="*/ 3399430 w 3503192"/>
              <a:gd name="connsiteY1560" fmla="*/ 5628057 h 5818346"/>
              <a:gd name="connsiteX1561" fmla="*/ 3410168 w 3503192"/>
              <a:gd name="connsiteY1561" fmla="*/ 5638794 h 5818346"/>
              <a:gd name="connsiteX1562" fmla="*/ 3399430 w 3503192"/>
              <a:gd name="connsiteY1562" fmla="*/ 5649532 h 5818346"/>
              <a:gd name="connsiteX1563" fmla="*/ 3388693 w 3503192"/>
              <a:gd name="connsiteY1563" fmla="*/ 5638794 h 5818346"/>
              <a:gd name="connsiteX1564" fmla="*/ 3399430 w 3503192"/>
              <a:gd name="connsiteY1564" fmla="*/ 5628057 h 5818346"/>
              <a:gd name="connsiteX1565" fmla="*/ 2746304 w 3503192"/>
              <a:gd name="connsiteY1565" fmla="*/ 5627728 h 5818346"/>
              <a:gd name="connsiteX1566" fmla="*/ 2757042 w 3503192"/>
              <a:gd name="connsiteY1566" fmla="*/ 5638464 h 5818346"/>
              <a:gd name="connsiteX1567" fmla="*/ 2746304 w 3503192"/>
              <a:gd name="connsiteY1567" fmla="*/ 5649201 h 5818346"/>
              <a:gd name="connsiteX1568" fmla="*/ 2735567 w 3503192"/>
              <a:gd name="connsiteY1568" fmla="*/ 5638464 h 5818346"/>
              <a:gd name="connsiteX1569" fmla="*/ 2746304 w 3503192"/>
              <a:gd name="connsiteY1569" fmla="*/ 5627728 h 5818346"/>
              <a:gd name="connsiteX1570" fmla="*/ 2299157 w 3503192"/>
              <a:gd name="connsiteY1570" fmla="*/ 5627728 h 5818346"/>
              <a:gd name="connsiteX1571" fmla="*/ 2309894 w 3503192"/>
              <a:gd name="connsiteY1571" fmla="*/ 5638464 h 5818346"/>
              <a:gd name="connsiteX1572" fmla="*/ 2299157 w 3503192"/>
              <a:gd name="connsiteY1572" fmla="*/ 5649201 h 5818346"/>
              <a:gd name="connsiteX1573" fmla="*/ 2288421 w 3503192"/>
              <a:gd name="connsiteY1573" fmla="*/ 5638464 h 5818346"/>
              <a:gd name="connsiteX1574" fmla="*/ 2299157 w 3503192"/>
              <a:gd name="connsiteY1574" fmla="*/ 5627728 h 5818346"/>
              <a:gd name="connsiteX1575" fmla="*/ 1898593 w 3503192"/>
              <a:gd name="connsiteY1575" fmla="*/ 5627397 h 5818346"/>
              <a:gd name="connsiteX1576" fmla="*/ 1902557 w 3503192"/>
              <a:gd name="connsiteY1576" fmla="*/ 5631361 h 5818346"/>
              <a:gd name="connsiteX1577" fmla="*/ 1898593 w 3503192"/>
              <a:gd name="connsiteY1577" fmla="*/ 5635325 h 5818346"/>
              <a:gd name="connsiteX1578" fmla="*/ 1894629 w 3503192"/>
              <a:gd name="connsiteY1578" fmla="*/ 5631361 h 5818346"/>
              <a:gd name="connsiteX1579" fmla="*/ 1898593 w 3503192"/>
              <a:gd name="connsiteY1579" fmla="*/ 5627397 h 5818346"/>
              <a:gd name="connsiteX1580" fmla="*/ 2474250 w 3503192"/>
              <a:gd name="connsiteY1580" fmla="*/ 5625085 h 5818346"/>
              <a:gd name="connsiteX1581" fmla="*/ 2484988 w 3503192"/>
              <a:gd name="connsiteY1581" fmla="*/ 5635821 h 5818346"/>
              <a:gd name="connsiteX1582" fmla="*/ 2474250 w 3503192"/>
              <a:gd name="connsiteY1582" fmla="*/ 5646558 h 5818346"/>
              <a:gd name="connsiteX1583" fmla="*/ 2463513 w 3503192"/>
              <a:gd name="connsiteY1583" fmla="*/ 5635821 h 5818346"/>
              <a:gd name="connsiteX1584" fmla="*/ 2474250 w 3503192"/>
              <a:gd name="connsiteY1584" fmla="*/ 5625085 h 5818346"/>
              <a:gd name="connsiteX1585" fmla="*/ 3094174 w 3503192"/>
              <a:gd name="connsiteY1585" fmla="*/ 5624589 h 5818346"/>
              <a:gd name="connsiteX1586" fmla="*/ 3104912 w 3503192"/>
              <a:gd name="connsiteY1586" fmla="*/ 5635325 h 5818346"/>
              <a:gd name="connsiteX1587" fmla="*/ 3094174 w 3503192"/>
              <a:gd name="connsiteY1587" fmla="*/ 5646062 h 5818346"/>
              <a:gd name="connsiteX1588" fmla="*/ 3083438 w 3503192"/>
              <a:gd name="connsiteY1588" fmla="*/ 5635325 h 5818346"/>
              <a:gd name="connsiteX1589" fmla="*/ 3094174 w 3503192"/>
              <a:gd name="connsiteY1589" fmla="*/ 5624589 h 5818346"/>
              <a:gd name="connsiteX1590" fmla="*/ 2630841 w 3503192"/>
              <a:gd name="connsiteY1590" fmla="*/ 5620789 h 5818346"/>
              <a:gd name="connsiteX1591" fmla="*/ 2641580 w 3503192"/>
              <a:gd name="connsiteY1591" fmla="*/ 5631526 h 5818346"/>
              <a:gd name="connsiteX1592" fmla="*/ 2630841 w 3503192"/>
              <a:gd name="connsiteY1592" fmla="*/ 5642264 h 5818346"/>
              <a:gd name="connsiteX1593" fmla="*/ 2620105 w 3503192"/>
              <a:gd name="connsiteY1593" fmla="*/ 5631526 h 5818346"/>
              <a:gd name="connsiteX1594" fmla="*/ 2630841 w 3503192"/>
              <a:gd name="connsiteY1594" fmla="*/ 5620789 h 5818346"/>
              <a:gd name="connsiteX1595" fmla="*/ 2331202 w 3503192"/>
              <a:gd name="connsiteY1595" fmla="*/ 5619964 h 5818346"/>
              <a:gd name="connsiteX1596" fmla="*/ 2341940 w 3503192"/>
              <a:gd name="connsiteY1596" fmla="*/ 5630700 h 5818346"/>
              <a:gd name="connsiteX1597" fmla="*/ 2331202 w 3503192"/>
              <a:gd name="connsiteY1597" fmla="*/ 5641437 h 5818346"/>
              <a:gd name="connsiteX1598" fmla="*/ 2320465 w 3503192"/>
              <a:gd name="connsiteY1598" fmla="*/ 5630700 h 5818346"/>
              <a:gd name="connsiteX1599" fmla="*/ 2331202 w 3503192"/>
              <a:gd name="connsiteY1599" fmla="*/ 5619964 h 5818346"/>
              <a:gd name="connsiteX1600" fmla="*/ 2130508 w 3503192"/>
              <a:gd name="connsiteY1600" fmla="*/ 5618147 h 5818346"/>
              <a:gd name="connsiteX1601" fmla="*/ 2141246 w 3503192"/>
              <a:gd name="connsiteY1601" fmla="*/ 5628883 h 5818346"/>
              <a:gd name="connsiteX1602" fmla="*/ 2130508 w 3503192"/>
              <a:gd name="connsiteY1602" fmla="*/ 5639621 h 5818346"/>
              <a:gd name="connsiteX1603" fmla="*/ 2121010 w 3503192"/>
              <a:gd name="connsiteY1603" fmla="*/ 5630123 h 5818346"/>
              <a:gd name="connsiteX1604" fmla="*/ 2110354 w 3503192"/>
              <a:gd name="connsiteY1604" fmla="*/ 5640778 h 5818346"/>
              <a:gd name="connsiteX1605" fmla="*/ 2101271 w 3503192"/>
              <a:gd name="connsiteY1605" fmla="*/ 5631692 h 5818346"/>
              <a:gd name="connsiteX1606" fmla="*/ 2091854 w 3503192"/>
              <a:gd name="connsiteY1606" fmla="*/ 5641107 h 5818346"/>
              <a:gd name="connsiteX1607" fmla="*/ 2083183 w 3503192"/>
              <a:gd name="connsiteY1607" fmla="*/ 5632436 h 5818346"/>
              <a:gd name="connsiteX1608" fmla="*/ 2074346 w 3503192"/>
              <a:gd name="connsiteY1608" fmla="*/ 5641274 h 5818346"/>
              <a:gd name="connsiteX1609" fmla="*/ 2066169 w 3503192"/>
              <a:gd name="connsiteY1609" fmla="*/ 5633095 h 5818346"/>
              <a:gd name="connsiteX1610" fmla="*/ 2057993 w 3503192"/>
              <a:gd name="connsiteY1610" fmla="*/ 5641274 h 5818346"/>
              <a:gd name="connsiteX1611" fmla="*/ 2050477 w 3503192"/>
              <a:gd name="connsiteY1611" fmla="*/ 5633756 h 5818346"/>
              <a:gd name="connsiteX1612" fmla="*/ 2042631 w 3503192"/>
              <a:gd name="connsiteY1612" fmla="*/ 5641601 h 5818346"/>
              <a:gd name="connsiteX1613" fmla="*/ 2035530 w 3503192"/>
              <a:gd name="connsiteY1613" fmla="*/ 5634500 h 5818346"/>
              <a:gd name="connsiteX1614" fmla="*/ 2027764 w 3503192"/>
              <a:gd name="connsiteY1614" fmla="*/ 5642264 h 5818346"/>
              <a:gd name="connsiteX1615" fmla="*/ 2021405 w 3503192"/>
              <a:gd name="connsiteY1615" fmla="*/ 5635905 h 5818346"/>
              <a:gd name="connsiteX1616" fmla="*/ 2013559 w 3503192"/>
              <a:gd name="connsiteY1616" fmla="*/ 5643750 h 5818346"/>
              <a:gd name="connsiteX1617" fmla="*/ 2007861 w 3503192"/>
              <a:gd name="connsiteY1617" fmla="*/ 5638052 h 5818346"/>
              <a:gd name="connsiteX1618" fmla="*/ 1999849 w 3503192"/>
              <a:gd name="connsiteY1618" fmla="*/ 5646062 h 5818346"/>
              <a:gd name="connsiteX1619" fmla="*/ 1994811 w 3503192"/>
              <a:gd name="connsiteY1619" fmla="*/ 5641024 h 5818346"/>
              <a:gd name="connsiteX1620" fmla="*/ 1986303 w 3503192"/>
              <a:gd name="connsiteY1620" fmla="*/ 5649532 h 5818346"/>
              <a:gd name="connsiteX1621" fmla="*/ 1982009 w 3503192"/>
              <a:gd name="connsiteY1621" fmla="*/ 5645238 h 5818346"/>
              <a:gd name="connsiteX1622" fmla="*/ 1973090 w 3503192"/>
              <a:gd name="connsiteY1622" fmla="*/ 5654157 h 5818346"/>
              <a:gd name="connsiteX1623" fmla="*/ 1962354 w 3503192"/>
              <a:gd name="connsiteY1623" fmla="*/ 5643419 h 5818346"/>
              <a:gd name="connsiteX1624" fmla="*/ 1973090 w 3503192"/>
              <a:gd name="connsiteY1624" fmla="*/ 5632682 h 5818346"/>
              <a:gd name="connsiteX1625" fmla="*/ 1977384 w 3503192"/>
              <a:gd name="connsiteY1625" fmla="*/ 5636976 h 5818346"/>
              <a:gd name="connsiteX1626" fmla="*/ 1986303 w 3503192"/>
              <a:gd name="connsiteY1626" fmla="*/ 5628057 h 5818346"/>
              <a:gd name="connsiteX1627" fmla="*/ 1991342 w 3503192"/>
              <a:gd name="connsiteY1627" fmla="*/ 5633097 h 5818346"/>
              <a:gd name="connsiteX1628" fmla="*/ 1999849 w 3503192"/>
              <a:gd name="connsiteY1628" fmla="*/ 5624589 h 5818346"/>
              <a:gd name="connsiteX1629" fmla="*/ 2005547 w 3503192"/>
              <a:gd name="connsiteY1629" fmla="*/ 5630288 h 5818346"/>
              <a:gd name="connsiteX1630" fmla="*/ 2013559 w 3503192"/>
              <a:gd name="connsiteY1630" fmla="*/ 5622276 h 5818346"/>
              <a:gd name="connsiteX1631" fmla="*/ 2019918 w 3503192"/>
              <a:gd name="connsiteY1631" fmla="*/ 5628635 h 5818346"/>
              <a:gd name="connsiteX1632" fmla="*/ 2027764 w 3503192"/>
              <a:gd name="connsiteY1632" fmla="*/ 5620789 h 5818346"/>
              <a:gd name="connsiteX1633" fmla="*/ 2034867 w 3503192"/>
              <a:gd name="connsiteY1633" fmla="*/ 5627893 h 5818346"/>
              <a:gd name="connsiteX1634" fmla="*/ 2042631 w 3503192"/>
              <a:gd name="connsiteY1634" fmla="*/ 5620129 h 5818346"/>
              <a:gd name="connsiteX1635" fmla="*/ 2050147 w 3503192"/>
              <a:gd name="connsiteY1635" fmla="*/ 5627645 h 5818346"/>
              <a:gd name="connsiteX1636" fmla="*/ 2057993 w 3503192"/>
              <a:gd name="connsiteY1636" fmla="*/ 5619799 h 5818346"/>
              <a:gd name="connsiteX1637" fmla="*/ 2066169 w 3503192"/>
              <a:gd name="connsiteY1637" fmla="*/ 5627976 h 5818346"/>
              <a:gd name="connsiteX1638" fmla="*/ 2074346 w 3503192"/>
              <a:gd name="connsiteY1638" fmla="*/ 5619799 h 5818346"/>
              <a:gd name="connsiteX1639" fmla="*/ 2083019 w 3503192"/>
              <a:gd name="connsiteY1639" fmla="*/ 5628470 h 5818346"/>
              <a:gd name="connsiteX1640" fmla="*/ 2091854 w 3503192"/>
              <a:gd name="connsiteY1640" fmla="*/ 5619634 h 5818346"/>
              <a:gd name="connsiteX1641" fmla="*/ 2100940 w 3503192"/>
              <a:gd name="connsiteY1641" fmla="*/ 5628718 h 5818346"/>
              <a:gd name="connsiteX1642" fmla="*/ 2110354 w 3503192"/>
              <a:gd name="connsiteY1642" fmla="*/ 5619303 h 5818346"/>
              <a:gd name="connsiteX1643" fmla="*/ 2119854 w 3503192"/>
              <a:gd name="connsiteY1643" fmla="*/ 5628801 h 5818346"/>
              <a:gd name="connsiteX1644" fmla="*/ 3362594 w 3503192"/>
              <a:gd name="connsiteY1644" fmla="*/ 5617156 h 5818346"/>
              <a:gd name="connsiteX1645" fmla="*/ 3373332 w 3503192"/>
              <a:gd name="connsiteY1645" fmla="*/ 5627893 h 5818346"/>
              <a:gd name="connsiteX1646" fmla="*/ 3362594 w 3503192"/>
              <a:gd name="connsiteY1646" fmla="*/ 5638631 h 5818346"/>
              <a:gd name="connsiteX1647" fmla="*/ 3351857 w 3503192"/>
              <a:gd name="connsiteY1647" fmla="*/ 5627893 h 5818346"/>
              <a:gd name="connsiteX1648" fmla="*/ 3362594 w 3503192"/>
              <a:gd name="connsiteY1648" fmla="*/ 5617156 h 5818346"/>
              <a:gd name="connsiteX1649" fmla="*/ 2152145 w 3503192"/>
              <a:gd name="connsiteY1649" fmla="*/ 5616164 h 5818346"/>
              <a:gd name="connsiteX1650" fmla="*/ 2162883 w 3503192"/>
              <a:gd name="connsiteY1650" fmla="*/ 5626901 h 5818346"/>
              <a:gd name="connsiteX1651" fmla="*/ 2152145 w 3503192"/>
              <a:gd name="connsiteY1651" fmla="*/ 5637639 h 5818346"/>
              <a:gd name="connsiteX1652" fmla="*/ 2141409 w 3503192"/>
              <a:gd name="connsiteY1652" fmla="*/ 5626901 h 5818346"/>
              <a:gd name="connsiteX1653" fmla="*/ 2152145 w 3503192"/>
              <a:gd name="connsiteY1653" fmla="*/ 5616164 h 5818346"/>
              <a:gd name="connsiteX1654" fmla="*/ 3209141 w 3503192"/>
              <a:gd name="connsiteY1654" fmla="*/ 5615504 h 5818346"/>
              <a:gd name="connsiteX1655" fmla="*/ 3219877 w 3503192"/>
              <a:gd name="connsiteY1655" fmla="*/ 5626240 h 5818346"/>
              <a:gd name="connsiteX1656" fmla="*/ 3209141 w 3503192"/>
              <a:gd name="connsiteY1656" fmla="*/ 5636976 h 5818346"/>
              <a:gd name="connsiteX1657" fmla="*/ 3198404 w 3503192"/>
              <a:gd name="connsiteY1657" fmla="*/ 5626240 h 5818346"/>
              <a:gd name="connsiteX1658" fmla="*/ 3209141 w 3503192"/>
              <a:gd name="connsiteY1658" fmla="*/ 5615504 h 5818346"/>
              <a:gd name="connsiteX1659" fmla="*/ 2175766 w 3503192"/>
              <a:gd name="connsiteY1659" fmla="*/ 5612861 h 5818346"/>
              <a:gd name="connsiteX1660" fmla="*/ 2186503 w 3503192"/>
              <a:gd name="connsiteY1660" fmla="*/ 5623597 h 5818346"/>
              <a:gd name="connsiteX1661" fmla="*/ 2175766 w 3503192"/>
              <a:gd name="connsiteY1661" fmla="*/ 5634333 h 5818346"/>
              <a:gd name="connsiteX1662" fmla="*/ 2165030 w 3503192"/>
              <a:gd name="connsiteY1662" fmla="*/ 5623597 h 5818346"/>
              <a:gd name="connsiteX1663" fmla="*/ 2175766 w 3503192"/>
              <a:gd name="connsiteY1663" fmla="*/ 5612861 h 5818346"/>
              <a:gd name="connsiteX1664" fmla="*/ 1838632 w 3503192"/>
              <a:gd name="connsiteY1664" fmla="*/ 5612366 h 5818346"/>
              <a:gd name="connsiteX1665" fmla="*/ 1838963 w 3503192"/>
              <a:gd name="connsiteY1665" fmla="*/ 5612696 h 5818346"/>
              <a:gd name="connsiteX1666" fmla="*/ 1838632 w 3503192"/>
              <a:gd name="connsiteY1666" fmla="*/ 5613027 h 5818346"/>
              <a:gd name="connsiteX1667" fmla="*/ 1838302 w 3503192"/>
              <a:gd name="connsiteY1667" fmla="*/ 5612696 h 5818346"/>
              <a:gd name="connsiteX1668" fmla="*/ 1838632 w 3503192"/>
              <a:gd name="connsiteY1668" fmla="*/ 5612366 h 5818346"/>
              <a:gd name="connsiteX1669" fmla="*/ 2516700 w 3503192"/>
              <a:gd name="connsiteY1669" fmla="*/ 5610053 h 5818346"/>
              <a:gd name="connsiteX1670" fmla="*/ 2527437 w 3503192"/>
              <a:gd name="connsiteY1670" fmla="*/ 5620789 h 5818346"/>
              <a:gd name="connsiteX1671" fmla="*/ 2516700 w 3503192"/>
              <a:gd name="connsiteY1671" fmla="*/ 5631528 h 5818346"/>
              <a:gd name="connsiteX1672" fmla="*/ 2505964 w 3503192"/>
              <a:gd name="connsiteY1672" fmla="*/ 5620789 h 5818346"/>
              <a:gd name="connsiteX1673" fmla="*/ 2516700 w 3503192"/>
              <a:gd name="connsiteY1673" fmla="*/ 5610053 h 5818346"/>
              <a:gd name="connsiteX1674" fmla="*/ 3502173 w 3503192"/>
              <a:gd name="connsiteY1674" fmla="*/ 5609888 h 5818346"/>
              <a:gd name="connsiteX1675" fmla="*/ 3503192 w 3503192"/>
              <a:gd name="connsiteY1675" fmla="*/ 5610907 h 5818346"/>
              <a:gd name="connsiteX1676" fmla="*/ 3503192 w 3503192"/>
              <a:gd name="connsiteY1676" fmla="*/ 5630344 h 5818346"/>
              <a:gd name="connsiteX1677" fmla="*/ 3502173 w 3503192"/>
              <a:gd name="connsiteY1677" fmla="*/ 5631363 h 5818346"/>
              <a:gd name="connsiteX1678" fmla="*/ 3491437 w 3503192"/>
              <a:gd name="connsiteY1678" fmla="*/ 5620625 h 5818346"/>
              <a:gd name="connsiteX1679" fmla="*/ 3502173 w 3503192"/>
              <a:gd name="connsiteY1679" fmla="*/ 5609888 h 5818346"/>
              <a:gd name="connsiteX1680" fmla="*/ 2366055 w 3503192"/>
              <a:gd name="connsiteY1680" fmla="*/ 5609392 h 5818346"/>
              <a:gd name="connsiteX1681" fmla="*/ 2376793 w 3503192"/>
              <a:gd name="connsiteY1681" fmla="*/ 5620129 h 5818346"/>
              <a:gd name="connsiteX1682" fmla="*/ 2366055 w 3503192"/>
              <a:gd name="connsiteY1682" fmla="*/ 5630867 h 5818346"/>
              <a:gd name="connsiteX1683" fmla="*/ 2355319 w 3503192"/>
              <a:gd name="connsiteY1683" fmla="*/ 5620129 h 5818346"/>
              <a:gd name="connsiteX1684" fmla="*/ 2366055 w 3503192"/>
              <a:gd name="connsiteY1684" fmla="*/ 5609392 h 5818346"/>
              <a:gd name="connsiteX1685" fmla="*/ 2201370 w 3503192"/>
              <a:gd name="connsiteY1685" fmla="*/ 5607741 h 5818346"/>
              <a:gd name="connsiteX1686" fmla="*/ 2212108 w 3503192"/>
              <a:gd name="connsiteY1686" fmla="*/ 5618478 h 5818346"/>
              <a:gd name="connsiteX1687" fmla="*/ 2201370 w 3503192"/>
              <a:gd name="connsiteY1687" fmla="*/ 5629214 h 5818346"/>
              <a:gd name="connsiteX1688" fmla="*/ 2190634 w 3503192"/>
              <a:gd name="connsiteY1688" fmla="*/ 5618478 h 5818346"/>
              <a:gd name="connsiteX1689" fmla="*/ 2201370 w 3503192"/>
              <a:gd name="connsiteY1689" fmla="*/ 5607741 h 5818346"/>
              <a:gd name="connsiteX1690" fmla="*/ 2921560 w 3503192"/>
              <a:gd name="connsiteY1690" fmla="*/ 5606585 h 5818346"/>
              <a:gd name="connsiteX1691" fmla="*/ 2932298 w 3503192"/>
              <a:gd name="connsiteY1691" fmla="*/ 5617321 h 5818346"/>
              <a:gd name="connsiteX1692" fmla="*/ 2921560 w 3503192"/>
              <a:gd name="connsiteY1692" fmla="*/ 5628057 h 5818346"/>
              <a:gd name="connsiteX1693" fmla="*/ 2910824 w 3503192"/>
              <a:gd name="connsiteY1693" fmla="*/ 5617321 h 5818346"/>
              <a:gd name="connsiteX1694" fmla="*/ 2921560 w 3503192"/>
              <a:gd name="connsiteY1694" fmla="*/ 5606585 h 5818346"/>
              <a:gd name="connsiteX1695" fmla="*/ 2801308 w 3503192"/>
              <a:gd name="connsiteY1695" fmla="*/ 5605593 h 5818346"/>
              <a:gd name="connsiteX1696" fmla="*/ 2812046 w 3503192"/>
              <a:gd name="connsiteY1696" fmla="*/ 5616329 h 5818346"/>
              <a:gd name="connsiteX1697" fmla="*/ 2801308 w 3503192"/>
              <a:gd name="connsiteY1697" fmla="*/ 5627065 h 5818346"/>
              <a:gd name="connsiteX1698" fmla="*/ 2790572 w 3503192"/>
              <a:gd name="connsiteY1698" fmla="*/ 5616329 h 5818346"/>
              <a:gd name="connsiteX1699" fmla="*/ 2801308 w 3503192"/>
              <a:gd name="connsiteY1699" fmla="*/ 5605593 h 5818346"/>
              <a:gd name="connsiteX1700" fmla="*/ 3041648 w 3503192"/>
              <a:gd name="connsiteY1700" fmla="*/ 5603446 h 5818346"/>
              <a:gd name="connsiteX1701" fmla="*/ 3052384 w 3503192"/>
              <a:gd name="connsiteY1701" fmla="*/ 5614182 h 5818346"/>
              <a:gd name="connsiteX1702" fmla="*/ 3041648 w 3503192"/>
              <a:gd name="connsiteY1702" fmla="*/ 5624919 h 5818346"/>
              <a:gd name="connsiteX1703" fmla="*/ 3030911 w 3503192"/>
              <a:gd name="connsiteY1703" fmla="*/ 5614182 h 5818346"/>
              <a:gd name="connsiteX1704" fmla="*/ 3041648 w 3503192"/>
              <a:gd name="connsiteY1704" fmla="*/ 5603446 h 5818346"/>
              <a:gd name="connsiteX1705" fmla="*/ 3322621 w 3503192"/>
              <a:gd name="connsiteY1705" fmla="*/ 5602785 h 5818346"/>
              <a:gd name="connsiteX1706" fmla="*/ 3333359 w 3503192"/>
              <a:gd name="connsiteY1706" fmla="*/ 5613521 h 5818346"/>
              <a:gd name="connsiteX1707" fmla="*/ 3322621 w 3503192"/>
              <a:gd name="connsiteY1707" fmla="*/ 5624260 h 5818346"/>
              <a:gd name="connsiteX1708" fmla="*/ 3311884 w 3503192"/>
              <a:gd name="connsiteY1708" fmla="*/ 5613521 h 5818346"/>
              <a:gd name="connsiteX1709" fmla="*/ 3322621 w 3503192"/>
              <a:gd name="connsiteY1709" fmla="*/ 5602785 h 5818346"/>
              <a:gd name="connsiteX1710" fmla="*/ 2681386 w 3503192"/>
              <a:gd name="connsiteY1710" fmla="*/ 5600473 h 5818346"/>
              <a:gd name="connsiteX1711" fmla="*/ 2692124 w 3503192"/>
              <a:gd name="connsiteY1711" fmla="*/ 5611210 h 5818346"/>
              <a:gd name="connsiteX1712" fmla="*/ 2681386 w 3503192"/>
              <a:gd name="connsiteY1712" fmla="*/ 5621946 h 5818346"/>
              <a:gd name="connsiteX1713" fmla="*/ 2670650 w 3503192"/>
              <a:gd name="connsiteY1713" fmla="*/ 5611210 h 5818346"/>
              <a:gd name="connsiteX1714" fmla="*/ 2681386 w 3503192"/>
              <a:gd name="connsiteY1714" fmla="*/ 5600473 h 5818346"/>
              <a:gd name="connsiteX1715" fmla="*/ 2229285 w 3503192"/>
              <a:gd name="connsiteY1715" fmla="*/ 5600473 h 5818346"/>
              <a:gd name="connsiteX1716" fmla="*/ 2240023 w 3503192"/>
              <a:gd name="connsiteY1716" fmla="*/ 5611210 h 5818346"/>
              <a:gd name="connsiteX1717" fmla="*/ 2229285 w 3503192"/>
              <a:gd name="connsiteY1717" fmla="*/ 5621946 h 5818346"/>
              <a:gd name="connsiteX1718" fmla="*/ 2218549 w 3503192"/>
              <a:gd name="connsiteY1718" fmla="*/ 5611210 h 5818346"/>
              <a:gd name="connsiteX1719" fmla="*/ 2229285 w 3503192"/>
              <a:gd name="connsiteY1719" fmla="*/ 5600473 h 5818346"/>
              <a:gd name="connsiteX1720" fmla="*/ 3469798 w 3503192"/>
              <a:gd name="connsiteY1720" fmla="*/ 5599646 h 5818346"/>
              <a:gd name="connsiteX1721" fmla="*/ 3480536 w 3503192"/>
              <a:gd name="connsiteY1721" fmla="*/ 5610383 h 5818346"/>
              <a:gd name="connsiteX1722" fmla="*/ 3469798 w 3503192"/>
              <a:gd name="connsiteY1722" fmla="*/ 5621121 h 5818346"/>
              <a:gd name="connsiteX1723" fmla="*/ 3459061 w 3503192"/>
              <a:gd name="connsiteY1723" fmla="*/ 5610383 h 5818346"/>
              <a:gd name="connsiteX1724" fmla="*/ 3469798 w 3503192"/>
              <a:gd name="connsiteY1724" fmla="*/ 5599646 h 5818346"/>
              <a:gd name="connsiteX1725" fmla="*/ 3160908 w 3503192"/>
              <a:gd name="connsiteY1725" fmla="*/ 5596013 h 5818346"/>
              <a:gd name="connsiteX1726" fmla="*/ 3171644 w 3503192"/>
              <a:gd name="connsiteY1726" fmla="*/ 5606749 h 5818346"/>
              <a:gd name="connsiteX1727" fmla="*/ 3160908 w 3503192"/>
              <a:gd name="connsiteY1727" fmla="*/ 5617488 h 5818346"/>
              <a:gd name="connsiteX1728" fmla="*/ 3150171 w 3503192"/>
              <a:gd name="connsiteY1728" fmla="*/ 5606749 h 5818346"/>
              <a:gd name="connsiteX1729" fmla="*/ 3160908 w 3503192"/>
              <a:gd name="connsiteY1729" fmla="*/ 5596013 h 5818346"/>
              <a:gd name="connsiteX1730" fmla="*/ 2403883 w 3503192"/>
              <a:gd name="connsiteY1730" fmla="*/ 5595682 h 5818346"/>
              <a:gd name="connsiteX1731" fmla="*/ 2414620 w 3503192"/>
              <a:gd name="connsiteY1731" fmla="*/ 5606418 h 5818346"/>
              <a:gd name="connsiteX1732" fmla="*/ 2403883 w 3503192"/>
              <a:gd name="connsiteY1732" fmla="*/ 5617155 h 5818346"/>
              <a:gd name="connsiteX1733" fmla="*/ 2393147 w 3503192"/>
              <a:gd name="connsiteY1733" fmla="*/ 5606418 h 5818346"/>
              <a:gd name="connsiteX1734" fmla="*/ 2403883 w 3503192"/>
              <a:gd name="connsiteY1734" fmla="*/ 5595682 h 5818346"/>
              <a:gd name="connsiteX1735" fmla="*/ 2063939 w 3503192"/>
              <a:gd name="connsiteY1735" fmla="*/ 5592874 h 5818346"/>
              <a:gd name="connsiteX1736" fmla="*/ 2074676 w 3503192"/>
              <a:gd name="connsiteY1736" fmla="*/ 5603611 h 5818346"/>
              <a:gd name="connsiteX1737" fmla="*/ 2063939 w 3503192"/>
              <a:gd name="connsiteY1737" fmla="*/ 5614349 h 5818346"/>
              <a:gd name="connsiteX1738" fmla="*/ 2055844 w 3503192"/>
              <a:gd name="connsiteY1738" fmla="*/ 5606253 h 5818346"/>
              <a:gd name="connsiteX1739" fmla="*/ 2045604 w 3503192"/>
              <a:gd name="connsiteY1739" fmla="*/ 5616496 h 5818346"/>
              <a:gd name="connsiteX1740" fmla="*/ 2037675 w 3503192"/>
              <a:gd name="connsiteY1740" fmla="*/ 5608567 h 5818346"/>
              <a:gd name="connsiteX1741" fmla="*/ 2028591 w 3503192"/>
              <a:gd name="connsiteY1741" fmla="*/ 5617651 h 5818346"/>
              <a:gd name="connsiteX1742" fmla="*/ 2020994 w 3503192"/>
              <a:gd name="connsiteY1742" fmla="*/ 5610053 h 5818346"/>
              <a:gd name="connsiteX1743" fmla="*/ 2012898 w 3503192"/>
              <a:gd name="connsiteY1743" fmla="*/ 5618147 h 5818346"/>
              <a:gd name="connsiteX1744" fmla="*/ 2005714 w 3503192"/>
              <a:gd name="connsiteY1744" fmla="*/ 5610962 h 5818346"/>
              <a:gd name="connsiteX1745" fmla="*/ 1998031 w 3503192"/>
              <a:gd name="connsiteY1745" fmla="*/ 5618642 h 5818346"/>
              <a:gd name="connsiteX1746" fmla="*/ 1991342 w 3503192"/>
              <a:gd name="connsiteY1746" fmla="*/ 5611954 h 5818346"/>
              <a:gd name="connsiteX1747" fmla="*/ 1984323 w 3503192"/>
              <a:gd name="connsiteY1747" fmla="*/ 5618974 h 5818346"/>
              <a:gd name="connsiteX1748" fmla="*/ 1978128 w 3503192"/>
              <a:gd name="connsiteY1748" fmla="*/ 5612779 h 5818346"/>
              <a:gd name="connsiteX1749" fmla="*/ 1971108 w 3503192"/>
              <a:gd name="connsiteY1749" fmla="*/ 5619797 h 5818346"/>
              <a:gd name="connsiteX1750" fmla="*/ 1965326 w 3503192"/>
              <a:gd name="connsiteY1750" fmla="*/ 5614016 h 5818346"/>
              <a:gd name="connsiteX1751" fmla="*/ 1958388 w 3503192"/>
              <a:gd name="connsiteY1751" fmla="*/ 5620954 h 5818346"/>
              <a:gd name="connsiteX1752" fmla="*/ 1953268 w 3503192"/>
              <a:gd name="connsiteY1752" fmla="*/ 5615835 h 5818346"/>
              <a:gd name="connsiteX1753" fmla="*/ 1946165 w 3503192"/>
              <a:gd name="connsiteY1753" fmla="*/ 5622936 h 5818346"/>
              <a:gd name="connsiteX1754" fmla="*/ 1941623 w 3503192"/>
              <a:gd name="connsiteY1754" fmla="*/ 5618395 h 5818346"/>
              <a:gd name="connsiteX1755" fmla="*/ 1934108 w 3503192"/>
              <a:gd name="connsiteY1755" fmla="*/ 5625909 h 5818346"/>
              <a:gd name="connsiteX1756" fmla="*/ 1930310 w 3503192"/>
              <a:gd name="connsiteY1756" fmla="*/ 5622111 h 5818346"/>
              <a:gd name="connsiteX1757" fmla="*/ 1922379 w 3503192"/>
              <a:gd name="connsiteY1757" fmla="*/ 5630040 h 5818346"/>
              <a:gd name="connsiteX1758" fmla="*/ 1919159 w 3503192"/>
              <a:gd name="connsiteY1758" fmla="*/ 5626819 h 5818346"/>
              <a:gd name="connsiteX1759" fmla="*/ 1910486 w 3503192"/>
              <a:gd name="connsiteY1759" fmla="*/ 5635492 h 5818346"/>
              <a:gd name="connsiteX1760" fmla="*/ 1899750 w 3503192"/>
              <a:gd name="connsiteY1760" fmla="*/ 5624754 h 5818346"/>
              <a:gd name="connsiteX1761" fmla="*/ 1910486 w 3503192"/>
              <a:gd name="connsiteY1761" fmla="*/ 5614017 h 5818346"/>
              <a:gd name="connsiteX1762" fmla="*/ 1913708 w 3503192"/>
              <a:gd name="connsiteY1762" fmla="*/ 5617240 h 5818346"/>
              <a:gd name="connsiteX1763" fmla="*/ 1922379 w 3503192"/>
              <a:gd name="connsiteY1763" fmla="*/ 5608567 h 5818346"/>
              <a:gd name="connsiteX1764" fmla="*/ 1926179 w 3503192"/>
              <a:gd name="connsiteY1764" fmla="*/ 5612366 h 5818346"/>
              <a:gd name="connsiteX1765" fmla="*/ 1934108 w 3503192"/>
              <a:gd name="connsiteY1765" fmla="*/ 5604436 h 5818346"/>
              <a:gd name="connsiteX1766" fmla="*/ 1938651 w 3503192"/>
              <a:gd name="connsiteY1766" fmla="*/ 5608980 h 5818346"/>
              <a:gd name="connsiteX1767" fmla="*/ 1946165 w 3503192"/>
              <a:gd name="connsiteY1767" fmla="*/ 5601464 h 5818346"/>
              <a:gd name="connsiteX1768" fmla="*/ 1951286 w 3503192"/>
              <a:gd name="connsiteY1768" fmla="*/ 5606585 h 5818346"/>
              <a:gd name="connsiteX1769" fmla="*/ 1958388 w 3503192"/>
              <a:gd name="connsiteY1769" fmla="*/ 5599481 h 5818346"/>
              <a:gd name="connsiteX1770" fmla="*/ 1964170 w 3503192"/>
              <a:gd name="connsiteY1770" fmla="*/ 5605263 h 5818346"/>
              <a:gd name="connsiteX1771" fmla="*/ 1971108 w 3503192"/>
              <a:gd name="connsiteY1771" fmla="*/ 5598325 h 5818346"/>
              <a:gd name="connsiteX1772" fmla="*/ 1977303 w 3503192"/>
              <a:gd name="connsiteY1772" fmla="*/ 5604519 h 5818346"/>
              <a:gd name="connsiteX1773" fmla="*/ 1984323 w 3503192"/>
              <a:gd name="connsiteY1773" fmla="*/ 5597499 h 5818346"/>
              <a:gd name="connsiteX1774" fmla="*/ 1991011 w 3503192"/>
              <a:gd name="connsiteY1774" fmla="*/ 5604188 h 5818346"/>
              <a:gd name="connsiteX1775" fmla="*/ 1998031 w 3503192"/>
              <a:gd name="connsiteY1775" fmla="*/ 5597168 h 5818346"/>
              <a:gd name="connsiteX1776" fmla="*/ 2005218 w 3503192"/>
              <a:gd name="connsiteY1776" fmla="*/ 5604355 h 5818346"/>
              <a:gd name="connsiteX1777" fmla="*/ 2012898 w 3503192"/>
              <a:gd name="connsiteY1777" fmla="*/ 5596674 h 5818346"/>
              <a:gd name="connsiteX1778" fmla="*/ 2020498 w 3503192"/>
              <a:gd name="connsiteY1778" fmla="*/ 5604271 h 5818346"/>
              <a:gd name="connsiteX1779" fmla="*/ 2028591 w 3503192"/>
              <a:gd name="connsiteY1779" fmla="*/ 5596178 h 5818346"/>
              <a:gd name="connsiteX1780" fmla="*/ 2036520 w 3503192"/>
              <a:gd name="connsiteY1780" fmla="*/ 5604107 h 5818346"/>
              <a:gd name="connsiteX1781" fmla="*/ 2045604 w 3503192"/>
              <a:gd name="connsiteY1781" fmla="*/ 5595021 h 5818346"/>
              <a:gd name="connsiteX1782" fmla="*/ 2053699 w 3503192"/>
              <a:gd name="connsiteY1782" fmla="*/ 5603116 h 5818346"/>
              <a:gd name="connsiteX1783" fmla="*/ 2562622 w 3503192"/>
              <a:gd name="connsiteY1783" fmla="*/ 5591223 h 5818346"/>
              <a:gd name="connsiteX1784" fmla="*/ 2573358 w 3503192"/>
              <a:gd name="connsiteY1784" fmla="*/ 5601960 h 5818346"/>
              <a:gd name="connsiteX1785" fmla="*/ 2562622 w 3503192"/>
              <a:gd name="connsiteY1785" fmla="*/ 5612696 h 5818346"/>
              <a:gd name="connsiteX1786" fmla="*/ 2551886 w 3503192"/>
              <a:gd name="connsiteY1786" fmla="*/ 5601960 h 5818346"/>
              <a:gd name="connsiteX1787" fmla="*/ 2562622 w 3503192"/>
              <a:gd name="connsiteY1787" fmla="*/ 5591223 h 5818346"/>
              <a:gd name="connsiteX1788" fmla="*/ 2259845 w 3503192"/>
              <a:gd name="connsiteY1788" fmla="*/ 5590563 h 5818346"/>
              <a:gd name="connsiteX1789" fmla="*/ 2270583 w 3503192"/>
              <a:gd name="connsiteY1789" fmla="*/ 5601299 h 5818346"/>
              <a:gd name="connsiteX1790" fmla="*/ 2259845 w 3503192"/>
              <a:gd name="connsiteY1790" fmla="*/ 5612035 h 5818346"/>
              <a:gd name="connsiteX1791" fmla="*/ 2249109 w 3503192"/>
              <a:gd name="connsiteY1791" fmla="*/ 5601299 h 5818346"/>
              <a:gd name="connsiteX1792" fmla="*/ 2259845 w 3503192"/>
              <a:gd name="connsiteY1792" fmla="*/ 5590563 h 5818346"/>
              <a:gd name="connsiteX1793" fmla="*/ 2083926 w 3503192"/>
              <a:gd name="connsiteY1793" fmla="*/ 5589735 h 5818346"/>
              <a:gd name="connsiteX1794" fmla="*/ 2094662 w 3503192"/>
              <a:gd name="connsiteY1794" fmla="*/ 5600472 h 5818346"/>
              <a:gd name="connsiteX1795" fmla="*/ 2083926 w 3503192"/>
              <a:gd name="connsiteY1795" fmla="*/ 5611208 h 5818346"/>
              <a:gd name="connsiteX1796" fmla="*/ 2073189 w 3503192"/>
              <a:gd name="connsiteY1796" fmla="*/ 5600472 h 5818346"/>
              <a:gd name="connsiteX1797" fmla="*/ 2083926 w 3503192"/>
              <a:gd name="connsiteY1797" fmla="*/ 5589735 h 5818346"/>
              <a:gd name="connsiteX1798" fmla="*/ 3434283 w 3503192"/>
              <a:gd name="connsiteY1798" fmla="*/ 5586432 h 5818346"/>
              <a:gd name="connsiteX1799" fmla="*/ 3445021 w 3503192"/>
              <a:gd name="connsiteY1799" fmla="*/ 5597168 h 5818346"/>
              <a:gd name="connsiteX1800" fmla="*/ 3434283 w 3503192"/>
              <a:gd name="connsiteY1800" fmla="*/ 5607904 h 5818346"/>
              <a:gd name="connsiteX1801" fmla="*/ 3423547 w 3503192"/>
              <a:gd name="connsiteY1801" fmla="*/ 5597168 h 5818346"/>
              <a:gd name="connsiteX1802" fmla="*/ 3434283 w 3503192"/>
              <a:gd name="connsiteY1802" fmla="*/ 5586432 h 5818346"/>
              <a:gd name="connsiteX1803" fmla="*/ 2105894 w 3503192"/>
              <a:gd name="connsiteY1803" fmla="*/ 5584781 h 5818346"/>
              <a:gd name="connsiteX1804" fmla="*/ 2116632 w 3503192"/>
              <a:gd name="connsiteY1804" fmla="*/ 5595517 h 5818346"/>
              <a:gd name="connsiteX1805" fmla="*/ 2105894 w 3503192"/>
              <a:gd name="connsiteY1805" fmla="*/ 5606255 h 5818346"/>
              <a:gd name="connsiteX1806" fmla="*/ 2095158 w 3503192"/>
              <a:gd name="connsiteY1806" fmla="*/ 5595517 h 5818346"/>
              <a:gd name="connsiteX1807" fmla="*/ 2105894 w 3503192"/>
              <a:gd name="connsiteY1807" fmla="*/ 5584781 h 5818346"/>
              <a:gd name="connsiteX1808" fmla="*/ 3279013 w 3503192"/>
              <a:gd name="connsiteY1808" fmla="*/ 5584614 h 5818346"/>
              <a:gd name="connsiteX1809" fmla="*/ 3289751 w 3503192"/>
              <a:gd name="connsiteY1809" fmla="*/ 5595351 h 5818346"/>
              <a:gd name="connsiteX1810" fmla="*/ 3279013 w 3503192"/>
              <a:gd name="connsiteY1810" fmla="*/ 5606089 h 5818346"/>
              <a:gd name="connsiteX1811" fmla="*/ 3268276 w 3503192"/>
              <a:gd name="connsiteY1811" fmla="*/ 5595351 h 5818346"/>
              <a:gd name="connsiteX1812" fmla="*/ 3279013 w 3503192"/>
              <a:gd name="connsiteY1812" fmla="*/ 5584614 h 5818346"/>
              <a:gd name="connsiteX1813" fmla="*/ 2860444 w 3503192"/>
              <a:gd name="connsiteY1813" fmla="*/ 5578669 h 5818346"/>
              <a:gd name="connsiteX1814" fmla="*/ 2871182 w 3503192"/>
              <a:gd name="connsiteY1814" fmla="*/ 5589406 h 5818346"/>
              <a:gd name="connsiteX1815" fmla="*/ 2860444 w 3503192"/>
              <a:gd name="connsiteY1815" fmla="*/ 5600142 h 5818346"/>
              <a:gd name="connsiteX1816" fmla="*/ 2849708 w 3503192"/>
              <a:gd name="connsiteY1816" fmla="*/ 5589406 h 5818346"/>
              <a:gd name="connsiteX1817" fmla="*/ 2860444 w 3503192"/>
              <a:gd name="connsiteY1817" fmla="*/ 5578669 h 5818346"/>
              <a:gd name="connsiteX1818" fmla="*/ 2445178 w 3503192"/>
              <a:gd name="connsiteY1818" fmla="*/ 5578007 h 5818346"/>
              <a:gd name="connsiteX1819" fmla="*/ 2455914 w 3503192"/>
              <a:gd name="connsiteY1819" fmla="*/ 5588743 h 5818346"/>
              <a:gd name="connsiteX1820" fmla="*/ 2445178 w 3503192"/>
              <a:gd name="connsiteY1820" fmla="*/ 5599481 h 5818346"/>
              <a:gd name="connsiteX1821" fmla="*/ 2434441 w 3503192"/>
              <a:gd name="connsiteY1821" fmla="*/ 5588743 h 5818346"/>
              <a:gd name="connsiteX1822" fmla="*/ 2445178 w 3503192"/>
              <a:gd name="connsiteY1822" fmla="*/ 5578007 h 5818346"/>
              <a:gd name="connsiteX1823" fmla="*/ 2129847 w 3503192"/>
              <a:gd name="connsiteY1823" fmla="*/ 5577842 h 5818346"/>
              <a:gd name="connsiteX1824" fmla="*/ 2140585 w 3503192"/>
              <a:gd name="connsiteY1824" fmla="*/ 5588579 h 5818346"/>
              <a:gd name="connsiteX1825" fmla="*/ 2129847 w 3503192"/>
              <a:gd name="connsiteY1825" fmla="*/ 5599315 h 5818346"/>
              <a:gd name="connsiteX1826" fmla="*/ 2119110 w 3503192"/>
              <a:gd name="connsiteY1826" fmla="*/ 5588579 h 5818346"/>
              <a:gd name="connsiteX1827" fmla="*/ 2129847 w 3503192"/>
              <a:gd name="connsiteY1827" fmla="*/ 5577842 h 5818346"/>
              <a:gd name="connsiteX1828" fmla="*/ 2293211 w 3503192"/>
              <a:gd name="connsiteY1828" fmla="*/ 5577513 h 5818346"/>
              <a:gd name="connsiteX1829" fmla="*/ 2303949 w 3503192"/>
              <a:gd name="connsiteY1829" fmla="*/ 5588249 h 5818346"/>
              <a:gd name="connsiteX1830" fmla="*/ 2293211 w 3503192"/>
              <a:gd name="connsiteY1830" fmla="*/ 5598987 h 5818346"/>
              <a:gd name="connsiteX1831" fmla="*/ 2282474 w 3503192"/>
              <a:gd name="connsiteY1831" fmla="*/ 5588249 h 5818346"/>
              <a:gd name="connsiteX1832" fmla="*/ 2293211 w 3503192"/>
              <a:gd name="connsiteY1832" fmla="*/ 5577513 h 5818346"/>
              <a:gd name="connsiteX1833" fmla="*/ 2984825 w 3503192"/>
              <a:gd name="connsiteY1833" fmla="*/ 5577348 h 5818346"/>
              <a:gd name="connsiteX1834" fmla="*/ 2995564 w 3503192"/>
              <a:gd name="connsiteY1834" fmla="*/ 5588084 h 5818346"/>
              <a:gd name="connsiteX1835" fmla="*/ 2984825 w 3503192"/>
              <a:gd name="connsiteY1835" fmla="*/ 5598821 h 5818346"/>
              <a:gd name="connsiteX1836" fmla="*/ 2974089 w 3503192"/>
              <a:gd name="connsiteY1836" fmla="*/ 5588084 h 5818346"/>
              <a:gd name="connsiteX1837" fmla="*/ 2984825 w 3503192"/>
              <a:gd name="connsiteY1837" fmla="*/ 5577348 h 5818346"/>
              <a:gd name="connsiteX1838" fmla="*/ 2736062 w 3503192"/>
              <a:gd name="connsiteY1838" fmla="*/ 5575364 h 5818346"/>
              <a:gd name="connsiteX1839" fmla="*/ 2746798 w 3503192"/>
              <a:gd name="connsiteY1839" fmla="*/ 5586100 h 5818346"/>
              <a:gd name="connsiteX1840" fmla="*/ 2736062 w 3503192"/>
              <a:gd name="connsiteY1840" fmla="*/ 5596839 h 5818346"/>
              <a:gd name="connsiteX1841" fmla="*/ 2725325 w 3503192"/>
              <a:gd name="connsiteY1841" fmla="*/ 5586100 h 5818346"/>
              <a:gd name="connsiteX1842" fmla="*/ 2736062 w 3503192"/>
              <a:gd name="connsiteY1842" fmla="*/ 5575364 h 5818346"/>
              <a:gd name="connsiteX1843" fmla="*/ 3108875 w 3503192"/>
              <a:gd name="connsiteY1843" fmla="*/ 5571896 h 5818346"/>
              <a:gd name="connsiteX1844" fmla="*/ 3119613 w 3503192"/>
              <a:gd name="connsiteY1844" fmla="*/ 5582632 h 5818346"/>
              <a:gd name="connsiteX1845" fmla="*/ 3108875 w 3503192"/>
              <a:gd name="connsiteY1845" fmla="*/ 5593368 h 5818346"/>
              <a:gd name="connsiteX1846" fmla="*/ 3098139 w 3503192"/>
              <a:gd name="connsiteY1846" fmla="*/ 5582632 h 5818346"/>
              <a:gd name="connsiteX1847" fmla="*/ 3108875 w 3503192"/>
              <a:gd name="connsiteY1847" fmla="*/ 5571896 h 5818346"/>
              <a:gd name="connsiteX1848" fmla="*/ 3395465 w 3503192"/>
              <a:gd name="connsiteY1848" fmla="*/ 5569419 h 5818346"/>
              <a:gd name="connsiteX1849" fmla="*/ 3406203 w 3503192"/>
              <a:gd name="connsiteY1849" fmla="*/ 5580156 h 5818346"/>
              <a:gd name="connsiteX1850" fmla="*/ 3395465 w 3503192"/>
              <a:gd name="connsiteY1850" fmla="*/ 5590892 h 5818346"/>
              <a:gd name="connsiteX1851" fmla="*/ 3384729 w 3503192"/>
              <a:gd name="connsiteY1851" fmla="*/ 5580156 h 5818346"/>
              <a:gd name="connsiteX1852" fmla="*/ 3395465 w 3503192"/>
              <a:gd name="connsiteY1852" fmla="*/ 5569419 h 5818346"/>
              <a:gd name="connsiteX1853" fmla="*/ 2156111 w 3503192"/>
              <a:gd name="connsiteY1853" fmla="*/ 5568427 h 5818346"/>
              <a:gd name="connsiteX1854" fmla="*/ 2166848 w 3503192"/>
              <a:gd name="connsiteY1854" fmla="*/ 5579164 h 5818346"/>
              <a:gd name="connsiteX1855" fmla="*/ 2156111 w 3503192"/>
              <a:gd name="connsiteY1855" fmla="*/ 5589900 h 5818346"/>
              <a:gd name="connsiteX1856" fmla="*/ 2145375 w 3503192"/>
              <a:gd name="connsiteY1856" fmla="*/ 5579164 h 5818346"/>
              <a:gd name="connsiteX1857" fmla="*/ 2156111 w 3503192"/>
              <a:gd name="connsiteY1857" fmla="*/ 5568427 h 5818346"/>
              <a:gd name="connsiteX1858" fmla="*/ 2612506 w 3503192"/>
              <a:gd name="connsiteY1858" fmla="*/ 5567931 h 5818346"/>
              <a:gd name="connsiteX1859" fmla="*/ 2623244 w 3503192"/>
              <a:gd name="connsiteY1859" fmla="*/ 5578668 h 5818346"/>
              <a:gd name="connsiteX1860" fmla="*/ 2612506 w 3503192"/>
              <a:gd name="connsiteY1860" fmla="*/ 5589404 h 5818346"/>
              <a:gd name="connsiteX1861" fmla="*/ 2601770 w 3503192"/>
              <a:gd name="connsiteY1861" fmla="*/ 5578668 h 5818346"/>
              <a:gd name="connsiteX1862" fmla="*/ 2612506 w 3503192"/>
              <a:gd name="connsiteY1862" fmla="*/ 5567931 h 5818346"/>
              <a:gd name="connsiteX1863" fmla="*/ 1994728 w 3503192"/>
              <a:gd name="connsiteY1863" fmla="*/ 5564132 h 5818346"/>
              <a:gd name="connsiteX1864" fmla="*/ 2005466 w 3503192"/>
              <a:gd name="connsiteY1864" fmla="*/ 5574868 h 5818346"/>
              <a:gd name="connsiteX1865" fmla="*/ 1994728 w 3503192"/>
              <a:gd name="connsiteY1865" fmla="*/ 5585606 h 5818346"/>
              <a:gd name="connsiteX1866" fmla="*/ 1988039 w 3503192"/>
              <a:gd name="connsiteY1866" fmla="*/ 5578917 h 5818346"/>
              <a:gd name="connsiteX1867" fmla="*/ 1978045 w 3503192"/>
              <a:gd name="connsiteY1867" fmla="*/ 5588910 h 5818346"/>
              <a:gd name="connsiteX1868" fmla="*/ 1971604 w 3503192"/>
              <a:gd name="connsiteY1868" fmla="*/ 5582469 h 5818346"/>
              <a:gd name="connsiteX1869" fmla="*/ 1962848 w 3503192"/>
              <a:gd name="connsiteY1869" fmla="*/ 5591223 h 5818346"/>
              <a:gd name="connsiteX1870" fmla="*/ 1956654 w 3503192"/>
              <a:gd name="connsiteY1870" fmla="*/ 5585029 h 5818346"/>
              <a:gd name="connsiteX1871" fmla="*/ 1948973 w 3503192"/>
              <a:gd name="connsiteY1871" fmla="*/ 5592709 h 5818346"/>
              <a:gd name="connsiteX1872" fmla="*/ 1942945 w 3503192"/>
              <a:gd name="connsiteY1872" fmla="*/ 5586680 h 5818346"/>
              <a:gd name="connsiteX1873" fmla="*/ 1935923 w 3503192"/>
              <a:gd name="connsiteY1873" fmla="*/ 5593701 h 5818346"/>
              <a:gd name="connsiteX1874" fmla="*/ 1930225 w 3503192"/>
              <a:gd name="connsiteY1874" fmla="*/ 5588003 h 5818346"/>
              <a:gd name="connsiteX1875" fmla="*/ 1923701 w 3503192"/>
              <a:gd name="connsiteY1875" fmla="*/ 5594525 h 5818346"/>
              <a:gd name="connsiteX1876" fmla="*/ 1918415 w 3503192"/>
              <a:gd name="connsiteY1876" fmla="*/ 5589239 h 5818346"/>
              <a:gd name="connsiteX1877" fmla="*/ 1912304 w 3503192"/>
              <a:gd name="connsiteY1877" fmla="*/ 5595352 h 5818346"/>
              <a:gd name="connsiteX1878" fmla="*/ 1907430 w 3503192"/>
              <a:gd name="connsiteY1878" fmla="*/ 5590479 h 5818346"/>
              <a:gd name="connsiteX1879" fmla="*/ 1901236 w 3503192"/>
              <a:gd name="connsiteY1879" fmla="*/ 5596672 h 5818346"/>
              <a:gd name="connsiteX1880" fmla="*/ 1896942 w 3503192"/>
              <a:gd name="connsiteY1880" fmla="*/ 5592378 h 5818346"/>
              <a:gd name="connsiteX1881" fmla="*/ 1890664 w 3503192"/>
              <a:gd name="connsiteY1881" fmla="*/ 5598654 h 5818346"/>
              <a:gd name="connsiteX1882" fmla="*/ 1886783 w 3503192"/>
              <a:gd name="connsiteY1882" fmla="*/ 5594773 h 5818346"/>
              <a:gd name="connsiteX1883" fmla="*/ 1880258 w 3503192"/>
              <a:gd name="connsiteY1883" fmla="*/ 5601297 h 5818346"/>
              <a:gd name="connsiteX1884" fmla="*/ 1876954 w 3503192"/>
              <a:gd name="connsiteY1884" fmla="*/ 5597995 h 5818346"/>
              <a:gd name="connsiteX1885" fmla="*/ 1870015 w 3503192"/>
              <a:gd name="connsiteY1885" fmla="*/ 5604932 h 5818346"/>
              <a:gd name="connsiteX1886" fmla="*/ 1867210 w 3503192"/>
              <a:gd name="connsiteY1886" fmla="*/ 5602126 h 5818346"/>
              <a:gd name="connsiteX1887" fmla="*/ 1859610 w 3503192"/>
              <a:gd name="connsiteY1887" fmla="*/ 5609724 h 5818346"/>
              <a:gd name="connsiteX1888" fmla="*/ 1857462 w 3503192"/>
              <a:gd name="connsiteY1888" fmla="*/ 5607575 h 5818346"/>
              <a:gd name="connsiteX1889" fmla="*/ 1849203 w 3503192"/>
              <a:gd name="connsiteY1889" fmla="*/ 5615833 h 5818346"/>
              <a:gd name="connsiteX1890" fmla="*/ 1838467 w 3503192"/>
              <a:gd name="connsiteY1890" fmla="*/ 5605097 h 5818346"/>
              <a:gd name="connsiteX1891" fmla="*/ 1849203 w 3503192"/>
              <a:gd name="connsiteY1891" fmla="*/ 5594360 h 5818346"/>
              <a:gd name="connsiteX1892" fmla="*/ 1851352 w 3503192"/>
              <a:gd name="connsiteY1892" fmla="*/ 5596509 h 5818346"/>
              <a:gd name="connsiteX1893" fmla="*/ 1859610 w 3503192"/>
              <a:gd name="connsiteY1893" fmla="*/ 5588249 h 5818346"/>
              <a:gd name="connsiteX1894" fmla="*/ 1862418 w 3503192"/>
              <a:gd name="connsiteY1894" fmla="*/ 5591057 h 5818346"/>
              <a:gd name="connsiteX1895" fmla="*/ 1870015 w 3503192"/>
              <a:gd name="connsiteY1895" fmla="*/ 5583459 h 5818346"/>
              <a:gd name="connsiteX1896" fmla="*/ 1873319 w 3503192"/>
              <a:gd name="connsiteY1896" fmla="*/ 5586763 h 5818346"/>
              <a:gd name="connsiteX1897" fmla="*/ 1880258 w 3503192"/>
              <a:gd name="connsiteY1897" fmla="*/ 5579824 h 5818346"/>
              <a:gd name="connsiteX1898" fmla="*/ 1884140 w 3503192"/>
              <a:gd name="connsiteY1898" fmla="*/ 5583707 h 5818346"/>
              <a:gd name="connsiteX1899" fmla="*/ 1890664 w 3503192"/>
              <a:gd name="connsiteY1899" fmla="*/ 5577182 h 5818346"/>
              <a:gd name="connsiteX1900" fmla="*/ 1894960 w 3503192"/>
              <a:gd name="connsiteY1900" fmla="*/ 5581477 h 5818346"/>
              <a:gd name="connsiteX1901" fmla="*/ 1901236 w 3503192"/>
              <a:gd name="connsiteY1901" fmla="*/ 5575199 h 5818346"/>
              <a:gd name="connsiteX1902" fmla="*/ 1906109 w 3503192"/>
              <a:gd name="connsiteY1902" fmla="*/ 5580072 h 5818346"/>
              <a:gd name="connsiteX1903" fmla="*/ 1912304 w 3503192"/>
              <a:gd name="connsiteY1903" fmla="*/ 5573878 h 5818346"/>
              <a:gd name="connsiteX1904" fmla="*/ 1917589 w 3503192"/>
              <a:gd name="connsiteY1904" fmla="*/ 5579164 h 5818346"/>
              <a:gd name="connsiteX1905" fmla="*/ 1923701 w 3503192"/>
              <a:gd name="connsiteY1905" fmla="*/ 5573052 h 5818346"/>
              <a:gd name="connsiteX1906" fmla="*/ 1929399 w 3503192"/>
              <a:gd name="connsiteY1906" fmla="*/ 5578751 h 5818346"/>
              <a:gd name="connsiteX1907" fmla="*/ 1935923 w 3503192"/>
              <a:gd name="connsiteY1907" fmla="*/ 5572227 h 5818346"/>
              <a:gd name="connsiteX1908" fmla="*/ 1941953 w 3503192"/>
              <a:gd name="connsiteY1908" fmla="*/ 5578257 h 5818346"/>
              <a:gd name="connsiteX1909" fmla="*/ 1948973 w 3503192"/>
              <a:gd name="connsiteY1909" fmla="*/ 5571235 h 5818346"/>
              <a:gd name="connsiteX1910" fmla="*/ 1955167 w 3503192"/>
              <a:gd name="connsiteY1910" fmla="*/ 5577430 h 5818346"/>
              <a:gd name="connsiteX1911" fmla="*/ 1962848 w 3503192"/>
              <a:gd name="connsiteY1911" fmla="*/ 5569749 h 5818346"/>
              <a:gd name="connsiteX1912" fmla="*/ 1969291 w 3503192"/>
              <a:gd name="connsiteY1912" fmla="*/ 5576191 h 5818346"/>
              <a:gd name="connsiteX1913" fmla="*/ 1978045 w 3503192"/>
              <a:gd name="connsiteY1913" fmla="*/ 5567437 h 5818346"/>
              <a:gd name="connsiteX1914" fmla="*/ 1984734 w 3503192"/>
              <a:gd name="connsiteY1914" fmla="*/ 5574126 h 5818346"/>
              <a:gd name="connsiteX1915" fmla="*/ 3231772 w 3503192"/>
              <a:gd name="connsiteY1915" fmla="*/ 5562151 h 5818346"/>
              <a:gd name="connsiteX1916" fmla="*/ 3242510 w 3503192"/>
              <a:gd name="connsiteY1916" fmla="*/ 5572888 h 5818346"/>
              <a:gd name="connsiteX1917" fmla="*/ 3231772 w 3503192"/>
              <a:gd name="connsiteY1917" fmla="*/ 5583624 h 5818346"/>
              <a:gd name="connsiteX1918" fmla="*/ 3221036 w 3503192"/>
              <a:gd name="connsiteY1918" fmla="*/ 5572888 h 5818346"/>
              <a:gd name="connsiteX1919" fmla="*/ 3231772 w 3503192"/>
              <a:gd name="connsiteY1919" fmla="*/ 5562151 h 5818346"/>
              <a:gd name="connsiteX1920" fmla="*/ 1730438 w 3503192"/>
              <a:gd name="connsiteY1920" fmla="*/ 5562151 h 5818346"/>
              <a:gd name="connsiteX1921" fmla="*/ 1732584 w 3503192"/>
              <a:gd name="connsiteY1921" fmla="*/ 5564298 h 5818346"/>
              <a:gd name="connsiteX1922" fmla="*/ 1730438 w 3503192"/>
              <a:gd name="connsiteY1922" fmla="*/ 5566447 h 5818346"/>
              <a:gd name="connsiteX1923" fmla="*/ 1728291 w 3503192"/>
              <a:gd name="connsiteY1923" fmla="*/ 5564298 h 5818346"/>
              <a:gd name="connsiteX1924" fmla="*/ 1730438 w 3503192"/>
              <a:gd name="connsiteY1924" fmla="*/ 5562151 h 5818346"/>
              <a:gd name="connsiteX1925" fmla="*/ 2329880 w 3503192"/>
              <a:gd name="connsiteY1925" fmla="*/ 5560995 h 5818346"/>
              <a:gd name="connsiteX1926" fmla="*/ 2340618 w 3503192"/>
              <a:gd name="connsiteY1926" fmla="*/ 5571731 h 5818346"/>
              <a:gd name="connsiteX1927" fmla="*/ 2329880 w 3503192"/>
              <a:gd name="connsiteY1927" fmla="*/ 5582469 h 5818346"/>
              <a:gd name="connsiteX1928" fmla="*/ 2319144 w 3503192"/>
              <a:gd name="connsiteY1928" fmla="*/ 5571731 h 5818346"/>
              <a:gd name="connsiteX1929" fmla="*/ 2329880 w 3503192"/>
              <a:gd name="connsiteY1929" fmla="*/ 5560995 h 5818346"/>
              <a:gd name="connsiteX1930" fmla="*/ 2012898 w 3503192"/>
              <a:gd name="connsiteY1930" fmla="*/ 5559177 h 5818346"/>
              <a:gd name="connsiteX1931" fmla="*/ 2023637 w 3503192"/>
              <a:gd name="connsiteY1931" fmla="*/ 5569914 h 5818346"/>
              <a:gd name="connsiteX1932" fmla="*/ 2012898 w 3503192"/>
              <a:gd name="connsiteY1932" fmla="*/ 5580650 h 5818346"/>
              <a:gd name="connsiteX1933" fmla="*/ 2002162 w 3503192"/>
              <a:gd name="connsiteY1933" fmla="*/ 5569914 h 5818346"/>
              <a:gd name="connsiteX1934" fmla="*/ 2012898 w 3503192"/>
              <a:gd name="connsiteY1934" fmla="*/ 5559177 h 5818346"/>
              <a:gd name="connsiteX1935" fmla="*/ 3503192 w 3503192"/>
              <a:gd name="connsiteY1935" fmla="*/ 5556673 h 5818346"/>
              <a:gd name="connsiteX1936" fmla="*/ 3503192 w 3503192"/>
              <a:gd name="connsiteY1936" fmla="*/ 5565317 h 5818346"/>
              <a:gd name="connsiteX1937" fmla="*/ 3498870 w 3503192"/>
              <a:gd name="connsiteY1937" fmla="*/ 5560995 h 5818346"/>
              <a:gd name="connsiteX1938" fmla="*/ 2490107 w 3503192"/>
              <a:gd name="connsiteY1938" fmla="*/ 5556038 h 5818346"/>
              <a:gd name="connsiteX1939" fmla="*/ 2500843 w 3503192"/>
              <a:gd name="connsiteY1939" fmla="*/ 5566775 h 5818346"/>
              <a:gd name="connsiteX1940" fmla="*/ 2490107 w 3503192"/>
              <a:gd name="connsiteY1940" fmla="*/ 5577511 h 5818346"/>
              <a:gd name="connsiteX1941" fmla="*/ 2479370 w 3503192"/>
              <a:gd name="connsiteY1941" fmla="*/ 5566775 h 5818346"/>
              <a:gd name="connsiteX1942" fmla="*/ 2490107 w 3503192"/>
              <a:gd name="connsiteY1942" fmla="*/ 5556038 h 5818346"/>
              <a:gd name="connsiteX1943" fmla="*/ 2185016 w 3503192"/>
              <a:gd name="connsiteY1943" fmla="*/ 5556038 h 5818346"/>
              <a:gd name="connsiteX1944" fmla="*/ 2195753 w 3503192"/>
              <a:gd name="connsiteY1944" fmla="*/ 5566775 h 5818346"/>
              <a:gd name="connsiteX1945" fmla="*/ 2185016 w 3503192"/>
              <a:gd name="connsiteY1945" fmla="*/ 5577511 h 5818346"/>
              <a:gd name="connsiteX1946" fmla="*/ 2174280 w 3503192"/>
              <a:gd name="connsiteY1946" fmla="*/ 5566775 h 5818346"/>
              <a:gd name="connsiteX1947" fmla="*/ 2185016 w 3503192"/>
              <a:gd name="connsiteY1947" fmla="*/ 5556038 h 5818346"/>
              <a:gd name="connsiteX1948" fmla="*/ 2032885 w 3503192"/>
              <a:gd name="connsiteY1948" fmla="*/ 5552405 h 5818346"/>
              <a:gd name="connsiteX1949" fmla="*/ 2043623 w 3503192"/>
              <a:gd name="connsiteY1949" fmla="*/ 5563142 h 5818346"/>
              <a:gd name="connsiteX1950" fmla="*/ 2032885 w 3503192"/>
              <a:gd name="connsiteY1950" fmla="*/ 5573878 h 5818346"/>
              <a:gd name="connsiteX1951" fmla="*/ 2022149 w 3503192"/>
              <a:gd name="connsiteY1951" fmla="*/ 5563142 h 5818346"/>
              <a:gd name="connsiteX1952" fmla="*/ 2032885 w 3503192"/>
              <a:gd name="connsiteY1952" fmla="*/ 5552405 h 5818346"/>
              <a:gd name="connsiteX1953" fmla="*/ 3353179 w 3503192"/>
              <a:gd name="connsiteY1953" fmla="*/ 5548110 h 5818346"/>
              <a:gd name="connsiteX1954" fmla="*/ 3363915 w 3503192"/>
              <a:gd name="connsiteY1954" fmla="*/ 5558846 h 5818346"/>
              <a:gd name="connsiteX1955" fmla="*/ 3353179 w 3503192"/>
              <a:gd name="connsiteY1955" fmla="*/ 5569584 h 5818346"/>
              <a:gd name="connsiteX1956" fmla="*/ 3342442 w 3503192"/>
              <a:gd name="connsiteY1956" fmla="*/ 5558846 h 5818346"/>
              <a:gd name="connsiteX1957" fmla="*/ 3353179 w 3503192"/>
              <a:gd name="connsiteY1957" fmla="*/ 5548110 h 5818346"/>
              <a:gd name="connsiteX1958" fmla="*/ 2923874 w 3503192"/>
              <a:gd name="connsiteY1958" fmla="*/ 5546127 h 5818346"/>
              <a:gd name="connsiteX1959" fmla="*/ 2934612 w 3503192"/>
              <a:gd name="connsiteY1959" fmla="*/ 5556864 h 5818346"/>
              <a:gd name="connsiteX1960" fmla="*/ 2923874 w 3503192"/>
              <a:gd name="connsiteY1960" fmla="*/ 5567600 h 5818346"/>
              <a:gd name="connsiteX1961" fmla="*/ 2913138 w 3503192"/>
              <a:gd name="connsiteY1961" fmla="*/ 5556864 h 5818346"/>
              <a:gd name="connsiteX1962" fmla="*/ 2923874 w 3503192"/>
              <a:gd name="connsiteY1962" fmla="*/ 5546127 h 5818346"/>
              <a:gd name="connsiteX1963" fmla="*/ 2794866 w 3503192"/>
              <a:gd name="connsiteY1963" fmla="*/ 5544971 h 5818346"/>
              <a:gd name="connsiteX1964" fmla="*/ 2805604 w 3503192"/>
              <a:gd name="connsiteY1964" fmla="*/ 5555707 h 5818346"/>
              <a:gd name="connsiteX1965" fmla="*/ 2794866 w 3503192"/>
              <a:gd name="connsiteY1965" fmla="*/ 5566445 h 5818346"/>
              <a:gd name="connsiteX1966" fmla="*/ 2784130 w 3503192"/>
              <a:gd name="connsiteY1966" fmla="*/ 5555707 h 5818346"/>
              <a:gd name="connsiteX1967" fmla="*/ 2794866 w 3503192"/>
              <a:gd name="connsiteY1967" fmla="*/ 5544971 h 5818346"/>
              <a:gd name="connsiteX1968" fmla="*/ 2055020 w 3503192"/>
              <a:gd name="connsiteY1968" fmla="*/ 5543320 h 5818346"/>
              <a:gd name="connsiteX1969" fmla="*/ 2065756 w 3503192"/>
              <a:gd name="connsiteY1969" fmla="*/ 5554056 h 5818346"/>
              <a:gd name="connsiteX1970" fmla="*/ 2055020 w 3503192"/>
              <a:gd name="connsiteY1970" fmla="*/ 5564794 h 5818346"/>
              <a:gd name="connsiteX1971" fmla="*/ 2044284 w 3503192"/>
              <a:gd name="connsiteY1971" fmla="*/ 5554056 h 5818346"/>
              <a:gd name="connsiteX1972" fmla="*/ 2055020 w 3503192"/>
              <a:gd name="connsiteY1972" fmla="*/ 5543320 h 5818346"/>
              <a:gd name="connsiteX1973" fmla="*/ 3052549 w 3503192"/>
              <a:gd name="connsiteY1973" fmla="*/ 5542659 h 5818346"/>
              <a:gd name="connsiteX1974" fmla="*/ 3063287 w 3503192"/>
              <a:gd name="connsiteY1974" fmla="*/ 5553395 h 5818346"/>
              <a:gd name="connsiteX1975" fmla="*/ 3052549 w 3503192"/>
              <a:gd name="connsiteY1975" fmla="*/ 5564132 h 5818346"/>
              <a:gd name="connsiteX1976" fmla="*/ 3041812 w 3503192"/>
              <a:gd name="connsiteY1976" fmla="*/ 5553395 h 5818346"/>
              <a:gd name="connsiteX1977" fmla="*/ 3052549 w 3503192"/>
              <a:gd name="connsiteY1977" fmla="*/ 5542659 h 5818346"/>
              <a:gd name="connsiteX1978" fmla="*/ 2369855 w 3503192"/>
              <a:gd name="connsiteY1978" fmla="*/ 5540181 h 5818346"/>
              <a:gd name="connsiteX1979" fmla="*/ 2380591 w 3503192"/>
              <a:gd name="connsiteY1979" fmla="*/ 5550917 h 5818346"/>
              <a:gd name="connsiteX1980" fmla="*/ 2369855 w 3503192"/>
              <a:gd name="connsiteY1980" fmla="*/ 5561654 h 5818346"/>
              <a:gd name="connsiteX1981" fmla="*/ 2359118 w 3503192"/>
              <a:gd name="connsiteY1981" fmla="*/ 5550917 h 5818346"/>
              <a:gd name="connsiteX1982" fmla="*/ 2369855 w 3503192"/>
              <a:gd name="connsiteY1982" fmla="*/ 5540181 h 5818346"/>
              <a:gd name="connsiteX1983" fmla="*/ 2216896 w 3503192"/>
              <a:gd name="connsiteY1983" fmla="*/ 5540181 h 5818346"/>
              <a:gd name="connsiteX1984" fmla="*/ 2227634 w 3503192"/>
              <a:gd name="connsiteY1984" fmla="*/ 5550917 h 5818346"/>
              <a:gd name="connsiteX1985" fmla="*/ 2216896 w 3503192"/>
              <a:gd name="connsiteY1985" fmla="*/ 5561654 h 5818346"/>
              <a:gd name="connsiteX1986" fmla="*/ 2206160 w 3503192"/>
              <a:gd name="connsiteY1986" fmla="*/ 5550917 h 5818346"/>
              <a:gd name="connsiteX1987" fmla="*/ 2216896 w 3503192"/>
              <a:gd name="connsiteY1987" fmla="*/ 5540181 h 5818346"/>
              <a:gd name="connsiteX1988" fmla="*/ 2666356 w 3503192"/>
              <a:gd name="connsiteY1988" fmla="*/ 5539355 h 5818346"/>
              <a:gd name="connsiteX1989" fmla="*/ 2677094 w 3503192"/>
              <a:gd name="connsiteY1989" fmla="*/ 5550092 h 5818346"/>
              <a:gd name="connsiteX1990" fmla="*/ 2666356 w 3503192"/>
              <a:gd name="connsiteY1990" fmla="*/ 5560830 h 5818346"/>
              <a:gd name="connsiteX1991" fmla="*/ 2655620 w 3503192"/>
              <a:gd name="connsiteY1991" fmla="*/ 5550092 h 5818346"/>
              <a:gd name="connsiteX1992" fmla="*/ 2666356 w 3503192"/>
              <a:gd name="connsiteY1992" fmla="*/ 5539355 h 5818346"/>
              <a:gd name="connsiteX1993" fmla="*/ 3180565 w 3503192"/>
              <a:gd name="connsiteY1993" fmla="*/ 5534566 h 5818346"/>
              <a:gd name="connsiteX1994" fmla="*/ 3191303 w 3503192"/>
              <a:gd name="connsiteY1994" fmla="*/ 5545302 h 5818346"/>
              <a:gd name="connsiteX1995" fmla="*/ 3180565 w 3503192"/>
              <a:gd name="connsiteY1995" fmla="*/ 5556040 h 5818346"/>
              <a:gd name="connsiteX1996" fmla="*/ 3169828 w 3503192"/>
              <a:gd name="connsiteY1996" fmla="*/ 5545302 h 5818346"/>
              <a:gd name="connsiteX1997" fmla="*/ 3180565 w 3503192"/>
              <a:gd name="connsiteY1997" fmla="*/ 5534566 h 5818346"/>
              <a:gd name="connsiteX1998" fmla="*/ 1922709 w 3503192"/>
              <a:gd name="connsiteY1998" fmla="*/ 5531427 h 5818346"/>
              <a:gd name="connsiteX1999" fmla="*/ 1933447 w 3503192"/>
              <a:gd name="connsiteY1999" fmla="*/ 5542163 h 5818346"/>
              <a:gd name="connsiteX2000" fmla="*/ 1922709 w 3503192"/>
              <a:gd name="connsiteY2000" fmla="*/ 5552901 h 5818346"/>
              <a:gd name="connsiteX2001" fmla="*/ 1917837 w 3503192"/>
              <a:gd name="connsiteY2001" fmla="*/ 5548028 h 5818346"/>
              <a:gd name="connsiteX2002" fmla="*/ 1908008 w 3503192"/>
              <a:gd name="connsiteY2002" fmla="*/ 5557856 h 5818346"/>
              <a:gd name="connsiteX2003" fmla="*/ 1903300 w 3503192"/>
              <a:gd name="connsiteY2003" fmla="*/ 5553149 h 5818346"/>
              <a:gd name="connsiteX2004" fmla="*/ 1894794 w 3503192"/>
              <a:gd name="connsiteY2004" fmla="*/ 5561654 h 5818346"/>
              <a:gd name="connsiteX2005" fmla="*/ 1889920 w 3503192"/>
              <a:gd name="connsiteY2005" fmla="*/ 5556782 h 5818346"/>
              <a:gd name="connsiteX2006" fmla="*/ 1882569 w 3503192"/>
              <a:gd name="connsiteY2006" fmla="*/ 5564132 h 5818346"/>
              <a:gd name="connsiteX2007" fmla="*/ 1878027 w 3503192"/>
              <a:gd name="connsiteY2007" fmla="*/ 5559590 h 5818346"/>
              <a:gd name="connsiteX2008" fmla="*/ 1871503 w 3503192"/>
              <a:gd name="connsiteY2008" fmla="*/ 5566114 h 5818346"/>
              <a:gd name="connsiteX2009" fmla="*/ 1867043 w 3503192"/>
              <a:gd name="connsiteY2009" fmla="*/ 5561655 h 5818346"/>
              <a:gd name="connsiteX2010" fmla="*/ 1861096 w 3503192"/>
              <a:gd name="connsiteY2010" fmla="*/ 5567600 h 5818346"/>
              <a:gd name="connsiteX2011" fmla="*/ 1856967 w 3503192"/>
              <a:gd name="connsiteY2011" fmla="*/ 5563473 h 5818346"/>
              <a:gd name="connsiteX2012" fmla="*/ 1851517 w 3503192"/>
              <a:gd name="connsiteY2012" fmla="*/ 5568923 h 5818346"/>
              <a:gd name="connsiteX2013" fmla="*/ 1847717 w 3503192"/>
              <a:gd name="connsiteY2013" fmla="*/ 5565124 h 5818346"/>
              <a:gd name="connsiteX2014" fmla="*/ 1842265 w 3503192"/>
              <a:gd name="connsiteY2014" fmla="*/ 5570576 h 5818346"/>
              <a:gd name="connsiteX2015" fmla="*/ 1838796 w 3503192"/>
              <a:gd name="connsiteY2015" fmla="*/ 5567108 h 5818346"/>
              <a:gd name="connsiteX2016" fmla="*/ 1833346 w 3503192"/>
              <a:gd name="connsiteY2016" fmla="*/ 5572558 h 5818346"/>
              <a:gd name="connsiteX2017" fmla="*/ 1830207 w 3503192"/>
              <a:gd name="connsiteY2017" fmla="*/ 5569419 h 5818346"/>
              <a:gd name="connsiteX2018" fmla="*/ 1824592 w 3503192"/>
              <a:gd name="connsiteY2018" fmla="*/ 5575035 h 5818346"/>
              <a:gd name="connsiteX2019" fmla="*/ 1821949 w 3503192"/>
              <a:gd name="connsiteY2019" fmla="*/ 5572392 h 5818346"/>
              <a:gd name="connsiteX2020" fmla="*/ 1815836 w 3503192"/>
              <a:gd name="connsiteY2020" fmla="*/ 5578503 h 5818346"/>
              <a:gd name="connsiteX2021" fmla="*/ 1813856 w 3503192"/>
              <a:gd name="connsiteY2021" fmla="*/ 5576523 h 5818346"/>
              <a:gd name="connsiteX2022" fmla="*/ 1807248 w 3503192"/>
              <a:gd name="connsiteY2022" fmla="*/ 5583128 h 5818346"/>
              <a:gd name="connsiteX2023" fmla="*/ 1805596 w 3503192"/>
              <a:gd name="connsiteY2023" fmla="*/ 5581475 h 5818346"/>
              <a:gd name="connsiteX2024" fmla="*/ 1798328 w 3503192"/>
              <a:gd name="connsiteY2024" fmla="*/ 5588743 h 5818346"/>
              <a:gd name="connsiteX2025" fmla="*/ 1795686 w 3503192"/>
              <a:gd name="connsiteY2025" fmla="*/ 5586102 h 5818346"/>
              <a:gd name="connsiteX2026" fmla="*/ 1789242 w 3503192"/>
              <a:gd name="connsiteY2026" fmla="*/ 5592545 h 5818346"/>
              <a:gd name="connsiteX2027" fmla="*/ 1781645 w 3503192"/>
              <a:gd name="connsiteY2027" fmla="*/ 5584947 h 5818346"/>
              <a:gd name="connsiteX2028" fmla="*/ 1788087 w 3503192"/>
              <a:gd name="connsiteY2028" fmla="*/ 5578503 h 5818346"/>
              <a:gd name="connsiteX2029" fmla="*/ 1787591 w 3503192"/>
              <a:gd name="connsiteY2029" fmla="*/ 5578007 h 5818346"/>
              <a:gd name="connsiteX2030" fmla="*/ 1798328 w 3503192"/>
              <a:gd name="connsiteY2030" fmla="*/ 5567271 h 5818346"/>
              <a:gd name="connsiteX2031" fmla="*/ 1799980 w 3503192"/>
              <a:gd name="connsiteY2031" fmla="*/ 5568923 h 5818346"/>
              <a:gd name="connsiteX2032" fmla="*/ 1807248 w 3503192"/>
              <a:gd name="connsiteY2032" fmla="*/ 5561655 h 5818346"/>
              <a:gd name="connsiteX2033" fmla="*/ 1809230 w 3503192"/>
              <a:gd name="connsiteY2033" fmla="*/ 5563638 h 5818346"/>
              <a:gd name="connsiteX2034" fmla="*/ 1815836 w 3503192"/>
              <a:gd name="connsiteY2034" fmla="*/ 5557030 h 5818346"/>
              <a:gd name="connsiteX2035" fmla="*/ 1818480 w 3503192"/>
              <a:gd name="connsiteY2035" fmla="*/ 5559675 h 5818346"/>
              <a:gd name="connsiteX2036" fmla="*/ 1824592 w 3503192"/>
              <a:gd name="connsiteY2036" fmla="*/ 5553562 h 5818346"/>
              <a:gd name="connsiteX2037" fmla="*/ 1827731 w 3503192"/>
              <a:gd name="connsiteY2037" fmla="*/ 5556701 h 5818346"/>
              <a:gd name="connsiteX2038" fmla="*/ 1833346 w 3503192"/>
              <a:gd name="connsiteY2038" fmla="*/ 5551084 h 5818346"/>
              <a:gd name="connsiteX2039" fmla="*/ 1836814 w 3503192"/>
              <a:gd name="connsiteY2039" fmla="*/ 5554552 h 5818346"/>
              <a:gd name="connsiteX2040" fmla="*/ 1842265 w 3503192"/>
              <a:gd name="connsiteY2040" fmla="*/ 5549102 h 5818346"/>
              <a:gd name="connsiteX2041" fmla="*/ 1846064 w 3503192"/>
              <a:gd name="connsiteY2041" fmla="*/ 5552901 h 5818346"/>
              <a:gd name="connsiteX2042" fmla="*/ 1851517 w 3503192"/>
              <a:gd name="connsiteY2042" fmla="*/ 5547449 h 5818346"/>
              <a:gd name="connsiteX2043" fmla="*/ 1855646 w 3503192"/>
              <a:gd name="connsiteY2043" fmla="*/ 5551578 h 5818346"/>
              <a:gd name="connsiteX2044" fmla="*/ 1861096 w 3503192"/>
              <a:gd name="connsiteY2044" fmla="*/ 5546127 h 5818346"/>
              <a:gd name="connsiteX2045" fmla="*/ 1865557 w 3503192"/>
              <a:gd name="connsiteY2045" fmla="*/ 5550588 h 5818346"/>
              <a:gd name="connsiteX2046" fmla="*/ 1871503 w 3503192"/>
              <a:gd name="connsiteY2046" fmla="*/ 5544641 h 5818346"/>
              <a:gd name="connsiteX2047" fmla="*/ 1876045 w 3503192"/>
              <a:gd name="connsiteY2047" fmla="*/ 5549183 h 5818346"/>
              <a:gd name="connsiteX2048" fmla="*/ 1882569 w 3503192"/>
              <a:gd name="connsiteY2048" fmla="*/ 5542659 h 5818346"/>
              <a:gd name="connsiteX2049" fmla="*/ 1887442 w 3503192"/>
              <a:gd name="connsiteY2049" fmla="*/ 5547532 h 5818346"/>
              <a:gd name="connsiteX2050" fmla="*/ 1894794 w 3503192"/>
              <a:gd name="connsiteY2050" fmla="*/ 5540181 h 5818346"/>
              <a:gd name="connsiteX2051" fmla="*/ 1899502 w 3503192"/>
              <a:gd name="connsiteY2051" fmla="*/ 5544889 h 5818346"/>
              <a:gd name="connsiteX2052" fmla="*/ 1908008 w 3503192"/>
              <a:gd name="connsiteY2052" fmla="*/ 5536383 h 5818346"/>
              <a:gd name="connsiteX2053" fmla="*/ 1912881 w 3503192"/>
              <a:gd name="connsiteY2053" fmla="*/ 5541256 h 5818346"/>
              <a:gd name="connsiteX2054" fmla="*/ 2079632 w 3503192"/>
              <a:gd name="connsiteY2054" fmla="*/ 5531262 h 5818346"/>
              <a:gd name="connsiteX2055" fmla="*/ 2090370 w 3503192"/>
              <a:gd name="connsiteY2055" fmla="*/ 5541998 h 5818346"/>
              <a:gd name="connsiteX2056" fmla="*/ 2079632 w 3503192"/>
              <a:gd name="connsiteY2056" fmla="*/ 5552735 h 5818346"/>
              <a:gd name="connsiteX2057" fmla="*/ 2068895 w 3503192"/>
              <a:gd name="connsiteY2057" fmla="*/ 5541998 h 5818346"/>
              <a:gd name="connsiteX2058" fmla="*/ 2079632 w 3503192"/>
              <a:gd name="connsiteY2058" fmla="*/ 5531262 h 5818346"/>
              <a:gd name="connsiteX2059" fmla="*/ 3472274 w 3503192"/>
              <a:gd name="connsiteY2059" fmla="*/ 5530105 h 5818346"/>
              <a:gd name="connsiteX2060" fmla="*/ 3483012 w 3503192"/>
              <a:gd name="connsiteY2060" fmla="*/ 5540842 h 5818346"/>
              <a:gd name="connsiteX2061" fmla="*/ 3472274 w 3503192"/>
              <a:gd name="connsiteY2061" fmla="*/ 5551578 h 5818346"/>
              <a:gd name="connsiteX2062" fmla="*/ 3461538 w 3503192"/>
              <a:gd name="connsiteY2062" fmla="*/ 5540842 h 5818346"/>
              <a:gd name="connsiteX2063" fmla="*/ 3472274 w 3503192"/>
              <a:gd name="connsiteY2063" fmla="*/ 5530105 h 5818346"/>
              <a:gd name="connsiteX2064" fmla="*/ 2539000 w 3503192"/>
              <a:gd name="connsiteY2064" fmla="*/ 5529280 h 5818346"/>
              <a:gd name="connsiteX2065" fmla="*/ 2549738 w 3503192"/>
              <a:gd name="connsiteY2065" fmla="*/ 5540016 h 5818346"/>
              <a:gd name="connsiteX2066" fmla="*/ 2539000 w 3503192"/>
              <a:gd name="connsiteY2066" fmla="*/ 5550753 h 5818346"/>
              <a:gd name="connsiteX2067" fmla="*/ 2528264 w 3503192"/>
              <a:gd name="connsiteY2067" fmla="*/ 5540016 h 5818346"/>
              <a:gd name="connsiteX2068" fmla="*/ 2539000 w 3503192"/>
              <a:gd name="connsiteY2068" fmla="*/ 5529280 h 5818346"/>
              <a:gd name="connsiteX2069" fmla="*/ 1939062 w 3503192"/>
              <a:gd name="connsiteY2069" fmla="*/ 5524490 h 5818346"/>
              <a:gd name="connsiteX2070" fmla="*/ 1949800 w 3503192"/>
              <a:gd name="connsiteY2070" fmla="*/ 5535226 h 5818346"/>
              <a:gd name="connsiteX2071" fmla="*/ 1939062 w 3503192"/>
              <a:gd name="connsiteY2071" fmla="*/ 5545963 h 5818346"/>
              <a:gd name="connsiteX2072" fmla="*/ 1928326 w 3503192"/>
              <a:gd name="connsiteY2072" fmla="*/ 5535226 h 5818346"/>
              <a:gd name="connsiteX2073" fmla="*/ 1939062 w 3503192"/>
              <a:gd name="connsiteY2073" fmla="*/ 5524490 h 5818346"/>
              <a:gd name="connsiteX2074" fmla="*/ 3307093 w 3503192"/>
              <a:gd name="connsiteY2074" fmla="*/ 5522177 h 5818346"/>
              <a:gd name="connsiteX2075" fmla="*/ 3317831 w 3503192"/>
              <a:gd name="connsiteY2075" fmla="*/ 5532913 h 5818346"/>
              <a:gd name="connsiteX2076" fmla="*/ 3307093 w 3503192"/>
              <a:gd name="connsiteY2076" fmla="*/ 5543651 h 5818346"/>
              <a:gd name="connsiteX2077" fmla="*/ 3296356 w 3503192"/>
              <a:gd name="connsiteY2077" fmla="*/ 5532913 h 5818346"/>
              <a:gd name="connsiteX2078" fmla="*/ 3307093 w 3503192"/>
              <a:gd name="connsiteY2078" fmla="*/ 5522177 h 5818346"/>
              <a:gd name="connsiteX2079" fmla="*/ 2251750 w 3503192"/>
              <a:gd name="connsiteY2079" fmla="*/ 5520526 h 5818346"/>
              <a:gd name="connsiteX2080" fmla="*/ 2262488 w 3503192"/>
              <a:gd name="connsiteY2080" fmla="*/ 5531262 h 5818346"/>
              <a:gd name="connsiteX2081" fmla="*/ 2251750 w 3503192"/>
              <a:gd name="connsiteY2081" fmla="*/ 5541998 h 5818346"/>
              <a:gd name="connsiteX2082" fmla="*/ 2241014 w 3503192"/>
              <a:gd name="connsiteY2082" fmla="*/ 5531262 h 5818346"/>
              <a:gd name="connsiteX2083" fmla="*/ 2251750 w 3503192"/>
              <a:gd name="connsiteY2083" fmla="*/ 5520526 h 5818346"/>
              <a:gd name="connsiteX2084" fmla="*/ 2106722 w 3503192"/>
              <a:gd name="connsiteY2084" fmla="*/ 5516065 h 5818346"/>
              <a:gd name="connsiteX2085" fmla="*/ 2117460 w 3503192"/>
              <a:gd name="connsiteY2085" fmla="*/ 5526802 h 5818346"/>
              <a:gd name="connsiteX2086" fmla="*/ 2106722 w 3503192"/>
              <a:gd name="connsiteY2086" fmla="*/ 5537540 h 5818346"/>
              <a:gd name="connsiteX2087" fmla="*/ 2095985 w 3503192"/>
              <a:gd name="connsiteY2087" fmla="*/ 5526802 h 5818346"/>
              <a:gd name="connsiteX2088" fmla="*/ 2106722 w 3503192"/>
              <a:gd name="connsiteY2088" fmla="*/ 5516065 h 5818346"/>
              <a:gd name="connsiteX2089" fmla="*/ 1957066 w 3503192"/>
              <a:gd name="connsiteY2089" fmla="*/ 5515405 h 5818346"/>
              <a:gd name="connsiteX2090" fmla="*/ 1967803 w 3503192"/>
              <a:gd name="connsiteY2090" fmla="*/ 5526141 h 5818346"/>
              <a:gd name="connsiteX2091" fmla="*/ 1957066 w 3503192"/>
              <a:gd name="connsiteY2091" fmla="*/ 5536877 h 5818346"/>
              <a:gd name="connsiteX2092" fmla="*/ 1946330 w 3503192"/>
              <a:gd name="connsiteY2092" fmla="*/ 5526141 h 5818346"/>
              <a:gd name="connsiteX2093" fmla="*/ 1957066 w 3503192"/>
              <a:gd name="connsiteY2093" fmla="*/ 5515405 h 5818346"/>
              <a:gd name="connsiteX2094" fmla="*/ 2413463 w 3503192"/>
              <a:gd name="connsiteY2094" fmla="*/ 5514909 h 5818346"/>
              <a:gd name="connsiteX2095" fmla="*/ 2424199 w 3503192"/>
              <a:gd name="connsiteY2095" fmla="*/ 5525645 h 5818346"/>
              <a:gd name="connsiteX2096" fmla="*/ 2413463 w 3503192"/>
              <a:gd name="connsiteY2096" fmla="*/ 5536383 h 5818346"/>
              <a:gd name="connsiteX2097" fmla="*/ 2402726 w 3503192"/>
              <a:gd name="connsiteY2097" fmla="*/ 5525645 h 5818346"/>
              <a:gd name="connsiteX2098" fmla="*/ 2413463 w 3503192"/>
              <a:gd name="connsiteY2098" fmla="*/ 5514909 h 5818346"/>
              <a:gd name="connsiteX2099" fmla="*/ 2858296 w 3503192"/>
              <a:gd name="connsiteY2099" fmla="*/ 5508797 h 5818346"/>
              <a:gd name="connsiteX2100" fmla="*/ 2869034 w 3503192"/>
              <a:gd name="connsiteY2100" fmla="*/ 5519534 h 5818346"/>
              <a:gd name="connsiteX2101" fmla="*/ 2858296 w 3503192"/>
              <a:gd name="connsiteY2101" fmla="*/ 5530272 h 5818346"/>
              <a:gd name="connsiteX2102" fmla="*/ 2847559 w 3503192"/>
              <a:gd name="connsiteY2102" fmla="*/ 5519534 h 5818346"/>
              <a:gd name="connsiteX2103" fmla="*/ 2858296 w 3503192"/>
              <a:gd name="connsiteY2103" fmla="*/ 5508797 h 5818346"/>
              <a:gd name="connsiteX2104" fmla="*/ 2991927 w 3503192"/>
              <a:gd name="connsiteY2104" fmla="*/ 5507476 h 5818346"/>
              <a:gd name="connsiteX2105" fmla="*/ 3002665 w 3503192"/>
              <a:gd name="connsiteY2105" fmla="*/ 5518212 h 5818346"/>
              <a:gd name="connsiteX2106" fmla="*/ 2991927 w 3503192"/>
              <a:gd name="connsiteY2106" fmla="*/ 5528949 h 5818346"/>
              <a:gd name="connsiteX2107" fmla="*/ 2981190 w 3503192"/>
              <a:gd name="connsiteY2107" fmla="*/ 5518212 h 5818346"/>
              <a:gd name="connsiteX2108" fmla="*/ 2991927 w 3503192"/>
              <a:gd name="connsiteY2108" fmla="*/ 5507476 h 5818346"/>
              <a:gd name="connsiteX2109" fmla="*/ 3431476 w 3503192"/>
              <a:gd name="connsiteY2109" fmla="*/ 5505327 h 5818346"/>
              <a:gd name="connsiteX2110" fmla="*/ 3442214 w 3503192"/>
              <a:gd name="connsiteY2110" fmla="*/ 5516064 h 5818346"/>
              <a:gd name="connsiteX2111" fmla="*/ 3431476 w 3503192"/>
              <a:gd name="connsiteY2111" fmla="*/ 5526800 h 5818346"/>
              <a:gd name="connsiteX2112" fmla="*/ 3420739 w 3503192"/>
              <a:gd name="connsiteY2112" fmla="*/ 5516064 h 5818346"/>
              <a:gd name="connsiteX2113" fmla="*/ 3431476 w 3503192"/>
              <a:gd name="connsiteY2113" fmla="*/ 5505327 h 5818346"/>
              <a:gd name="connsiteX2114" fmla="*/ 2724829 w 3503192"/>
              <a:gd name="connsiteY2114" fmla="*/ 5505163 h 5818346"/>
              <a:gd name="connsiteX2115" fmla="*/ 2735567 w 3503192"/>
              <a:gd name="connsiteY2115" fmla="*/ 5515899 h 5818346"/>
              <a:gd name="connsiteX2116" fmla="*/ 2724829 w 3503192"/>
              <a:gd name="connsiteY2116" fmla="*/ 5526637 h 5818346"/>
              <a:gd name="connsiteX2117" fmla="*/ 2714093 w 3503192"/>
              <a:gd name="connsiteY2117" fmla="*/ 5515899 h 5818346"/>
              <a:gd name="connsiteX2118" fmla="*/ 2724829 w 3503192"/>
              <a:gd name="connsiteY2118" fmla="*/ 5505163 h 5818346"/>
              <a:gd name="connsiteX2119" fmla="*/ 1977219 w 3503192"/>
              <a:gd name="connsiteY2119" fmla="*/ 5503676 h 5818346"/>
              <a:gd name="connsiteX2120" fmla="*/ 1987956 w 3503192"/>
              <a:gd name="connsiteY2120" fmla="*/ 5514413 h 5818346"/>
              <a:gd name="connsiteX2121" fmla="*/ 1977219 w 3503192"/>
              <a:gd name="connsiteY2121" fmla="*/ 5525151 h 5818346"/>
              <a:gd name="connsiteX2122" fmla="*/ 1966483 w 3503192"/>
              <a:gd name="connsiteY2122" fmla="*/ 5514413 h 5818346"/>
              <a:gd name="connsiteX2123" fmla="*/ 1977219 w 3503192"/>
              <a:gd name="connsiteY2123" fmla="*/ 5503676 h 5818346"/>
              <a:gd name="connsiteX2124" fmla="*/ 3124899 w 3503192"/>
              <a:gd name="connsiteY2124" fmla="*/ 5501365 h 5818346"/>
              <a:gd name="connsiteX2125" fmla="*/ 3135637 w 3503192"/>
              <a:gd name="connsiteY2125" fmla="*/ 5512101 h 5818346"/>
              <a:gd name="connsiteX2126" fmla="*/ 3124899 w 3503192"/>
              <a:gd name="connsiteY2126" fmla="*/ 5522837 h 5818346"/>
              <a:gd name="connsiteX2127" fmla="*/ 3114163 w 3503192"/>
              <a:gd name="connsiteY2127" fmla="*/ 5512101 h 5818346"/>
              <a:gd name="connsiteX2128" fmla="*/ 3124899 w 3503192"/>
              <a:gd name="connsiteY2128" fmla="*/ 5501365 h 5818346"/>
              <a:gd name="connsiteX2129" fmla="*/ 2592188 w 3503192"/>
              <a:gd name="connsiteY2129" fmla="*/ 5497069 h 5818346"/>
              <a:gd name="connsiteX2130" fmla="*/ 2602926 w 3503192"/>
              <a:gd name="connsiteY2130" fmla="*/ 5507805 h 5818346"/>
              <a:gd name="connsiteX2131" fmla="*/ 2592188 w 3503192"/>
              <a:gd name="connsiteY2131" fmla="*/ 5518542 h 5818346"/>
              <a:gd name="connsiteX2132" fmla="*/ 2581452 w 3503192"/>
              <a:gd name="connsiteY2132" fmla="*/ 5507805 h 5818346"/>
              <a:gd name="connsiteX2133" fmla="*/ 2592188 w 3503192"/>
              <a:gd name="connsiteY2133" fmla="*/ 5497069 h 5818346"/>
              <a:gd name="connsiteX2134" fmla="*/ 2136784 w 3503192"/>
              <a:gd name="connsiteY2134" fmla="*/ 5497069 h 5818346"/>
              <a:gd name="connsiteX2135" fmla="*/ 2147520 w 3503192"/>
              <a:gd name="connsiteY2135" fmla="*/ 5507805 h 5818346"/>
              <a:gd name="connsiteX2136" fmla="*/ 2136784 w 3503192"/>
              <a:gd name="connsiteY2136" fmla="*/ 5518542 h 5818346"/>
              <a:gd name="connsiteX2137" fmla="*/ 2126047 w 3503192"/>
              <a:gd name="connsiteY2137" fmla="*/ 5507805 h 5818346"/>
              <a:gd name="connsiteX2138" fmla="*/ 2136784 w 3503192"/>
              <a:gd name="connsiteY2138" fmla="*/ 5497069 h 5818346"/>
              <a:gd name="connsiteX2139" fmla="*/ 2290238 w 3503192"/>
              <a:gd name="connsiteY2139" fmla="*/ 5496244 h 5818346"/>
              <a:gd name="connsiteX2140" fmla="*/ 2300976 w 3503192"/>
              <a:gd name="connsiteY2140" fmla="*/ 5506980 h 5818346"/>
              <a:gd name="connsiteX2141" fmla="*/ 2290238 w 3503192"/>
              <a:gd name="connsiteY2141" fmla="*/ 5517716 h 5818346"/>
              <a:gd name="connsiteX2142" fmla="*/ 2279502 w 3503192"/>
              <a:gd name="connsiteY2142" fmla="*/ 5506980 h 5818346"/>
              <a:gd name="connsiteX2143" fmla="*/ 2290238 w 3503192"/>
              <a:gd name="connsiteY2143" fmla="*/ 5496244 h 5818346"/>
              <a:gd name="connsiteX2144" fmla="*/ 1848212 w 3503192"/>
              <a:gd name="connsiteY2144" fmla="*/ 5494426 h 5818346"/>
              <a:gd name="connsiteX2145" fmla="*/ 1858950 w 3503192"/>
              <a:gd name="connsiteY2145" fmla="*/ 5505163 h 5818346"/>
              <a:gd name="connsiteX2146" fmla="*/ 1848212 w 3503192"/>
              <a:gd name="connsiteY2146" fmla="*/ 5515901 h 5818346"/>
              <a:gd name="connsiteX2147" fmla="*/ 1845404 w 3503192"/>
              <a:gd name="connsiteY2147" fmla="*/ 5513093 h 5818346"/>
              <a:gd name="connsiteX2148" fmla="*/ 1835493 w 3503192"/>
              <a:gd name="connsiteY2148" fmla="*/ 5523004 h 5818346"/>
              <a:gd name="connsiteX2149" fmla="*/ 1832519 w 3503192"/>
              <a:gd name="connsiteY2149" fmla="*/ 5520030 h 5818346"/>
              <a:gd name="connsiteX2150" fmla="*/ 1824261 w 3503192"/>
              <a:gd name="connsiteY2150" fmla="*/ 5528290 h 5818346"/>
              <a:gd name="connsiteX2151" fmla="*/ 1821205 w 3503192"/>
              <a:gd name="connsiteY2151" fmla="*/ 5525234 h 5818346"/>
              <a:gd name="connsiteX2152" fmla="*/ 1814020 w 3503192"/>
              <a:gd name="connsiteY2152" fmla="*/ 5532419 h 5818346"/>
              <a:gd name="connsiteX2153" fmla="*/ 1810963 w 3503192"/>
              <a:gd name="connsiteY2153" fmla="*/ 5529361 h 5818346"/>
              <a:gd name="connsiteX2154" fmla="*/ 1804935 w 3503192"/>
              <a:gd name="connsiteY2154" fmla="*/ 5535391 h 5818346"/>
              <a:gd name="connsiteX2155" fmla="*/ 1801961 w 3503192"/>
              <a:gd name="connsiteY2155" fmla="*/ 5532417 h 5818346"/>
              <a:gd name="connsiteX2156" fmla="*/ 1796510 w 3503192"/>
              <a:gd name="connsiteY2156" fmla="*/ 5537868 h 5818346"/>
              <a:gd name="connsiteX2157" fmla="*/ 1793621 w 3503192"/>
              <a:gd name="connsiteY2157" fmla="*/ 5534978 h 5818346"/>
              <a:gd name="connsiteX2158" fmla="*/ 1788581 w 3503192"/>
              <a:gd name="connsiteY2158" fmla="*/ 5540016 h 5818346"/>
              <a:gd name="connsiteX2159" fmla="*/ 1786022 w 3503192"/>
              <a:gd name="connsiteY2159" fmla="*/ 5537457 h 5818346"/>
              <a:gd name="connsiteX2160" fmla="*/ 1781314 w 3503192"/>
              <a:gd name="connsiteY2160" fmla="*/ 5542165 h 5818346"/>
              <a:gd name="connsiteX2161" fmla="*/ 1778835 w 3503192"/>
              <a:gd name="connsiteY2161" fmla="*/ 5539687 h 5818346"/>
              <a:gd name="connsiteX2162" fmla="*/ 1774046 w 3503192"/>
              <a:gd name="connsiteY2162" fmla="*/ 5544475 h 5818346"/>
              <a:gd name="connsiteX2163" fmla="*/ 1771982 w 3503192"/>
              <a:gd name="connsiteY2163" fmla="*/ 5542411 h 5818346"/>
              <a:gd name="connsiteX2164" fmla="*/ 1767109 w 3503192"/>
              <a:gd name="connsiteY2164" fmla="*/ 5547284 h 5818346"/>
              <a:gd name="connsiteX2165" fmla="*/ 1765374 w 3503192"/>
              <a:gd name="connsiteY2165" fmla="*/ 5545550 h 5818346"/>
              <a:gd name="connsiteX2166" fmla="*/ 1760170 w 3503192"/>
              <a:gd name="connsiteY2166" fmla="*/ 5550753 h 5818346"/>
              <a:gd name="connsiteX2167" fmla="*/ 1758850 w 3503192"/>
              <a:gd name="connsiteY2167" fmla="*/ 5549433 h 5818346"/>
              <a:gd name="connsiteX2168" fmla="*/ 1753234 w 3503192"/>
              <a:gd name="connsiteY2168" fmla="*/ 5555048 h 5818346"/>
              <a:gd name="connsiteX2169" fmla="*/ 1752325 w 3503192"/>
              <a:gd name="connsiteY2169" fmla="*/ 5554139 h 5818346"/>
              <a:gd name="connsiteX2170" fmla="*/ 1745966 w 3503192"/>
              <a:gd name="connsiteY2170" fmla="*/ 5560499 h 5818346"/>
              <a:gd name="connsiteX2171" fmla="*/ 1745470 w 3503192"/>
              <a:gd name="connsiteY2171" fmla="*/ 5560004 h 5818346"/>
              <a:gd name="connsiteX2172" fmla="*/ 1738366 w 3503192"/>
              <a:gd name="connsiteY2172" fmla="*/ 5567106 h 5818346"/>
              <a:gd name="connsiteX2173" fmla="*/ 1727630 w 3503192"/>
              <a:gd name="connsiteY2173" fmla="*/ 5556370 h 5818346"/>
              <a:gd name="connsiteX2174" fmla="*/ 1738366 w 3503192"/>
              <a:gd name="connsiteY2174" fmla="*/ 5545633 h 5818346"/>
              <a:gd name="connsiteX2175" fmla="*/ 1738862 w 3503192"/>
              <a:gd name="connsiteY2175" fmla="*/ 5546129 h 5818346"/>
              <a:gd name="connsiteX2176" fmla="*/ 1745966 w 3503192"/>
              <a:gd name="connsiteY2176" fmla="*/ 5539026 h 5818346"/>
              <a:gd name="connsiteX2177" fmla="*/ 1746874 w 3503192"/>
              <a:gd name="connsiteY2177" fmla="*/ 5539935 h 5818346"/>
              <a:gd name="connsiteX2178" fmla="*/ 1753234 w 3503192"/>
              <a:gd name="connsiteY2178" fmla="*/ 5533574 h 5818346"/>
              <a:gd name="connsiteX2179" fmla="*/ 1754555 w 3503192"/>
              <a:gd name="connsiteY2179" fmla="*/ 5534895 h 5818346"/>
              <a:gd name="connsiteX2180" fmla="*/ 1760170 w 3503192"/>
              <a:gd name="connsiteY2180" fmla="*/ 5529280 h 5818346"/>
              <a:gd name="connsiteX2181" fmla="*/ 1761904 w 3503192"/>
              <a:gd name="connsiteY2181" fmla="*/ 5531014 h 5818346"/>
              <a:gd name="connsiteX2182" fmla="*/ 1767109 w 3503192"/>
              <a:gd name="connsiteY2182" fmla="*/ 5525810 h 5818346"/>
              <a:gd name="connsiteX2183" fmla="*/ 1769174 w 3503192"/>
              <a:gd name="connsiteY2183" fmla="*/ 5527875 h 5818346"/>
              <a:gd name="connsiteX2184" fmla="*/ 1774046 w 3503192"/>
              <a:gd name="connsiteY2184" fmla="*/ 5523002 h 5818346"/>
              <a:gd name="connsiteX2185" fmla="*/ 1776524 w 3503192"/>
              <a:gd name="connsiteY2185" fmla="*/ 5525480 h 5818346"/>
              <a:gd name="connsiteX2186" fmla="*/ 1781314 w 3503192"/>
              <a:gd name="connsiteY2186" fmla="*/ 5520690 h 5818346"/>
              <a:gd name="connsiteX2187" fmla="*/ 1783873 w 3503192"/>
              <a:gd name="connsiteY2187" fmla="*/ 5523250 h 5818346"/>
              <a:gd name="connsiteX2188" fmla="*/ 1788581 w 3503192"/>
              <a:gd name="connsiteY2188" fmla="*/ 5518542 h 5818346"/>
              <a:gd name="connsiteX2189" fmla="*/ 1791472 w 3503192"/>
              <a:gd name="connsiteY2189" fmla="*/ 5521433 h 5818346"/>
              <a:gd name="connsiteX2190" fmla="*/ 1796510 w 3503192"/>
              <a:gd name="connsiteY2190" fmla="*/ 5516395 h 5818346"/>
              <a:gd name="connsiteX2191" fmla="*/ 1799484 w 3503192"/>
              <a:gd name="connsiteY2191" fmla="*/ 5519369 h 5818346"/>
              <a:gd name="connsiteX2192" fmla="*/ 1804935 w 3503192"/>
              <a:gd name="connsiteY2192" fmla="*/ 5513917 h 5818346"/>
              <a:gd name="connsiteX2193" fmla="*/ 1807992 w 3503192"/>
              <a:gd name="connsiteY2193" fmla="*/ 5516974 h 5818346"/>
              <a:gd name="connsiteX2194" fmla="*/ 1814020 w 3503192"/>
              <a:gd name="connsiteY2194" fmla="*/ 5510944 h 5818346"/>
              <a:gd name="connsiteX2195" fmla="*/ 1817076 w 3503192"/>
              <a:gd name="connsiteY2195" fmla="*/ 5514000 h 5818346"/>
              <a:gd name="connsiteX2196" fmla="*/ 1824261 w 3503192"/>
              <a:gd name="connsiteY2196" fmla="*/ 5506815 h 5818346"/>
              <a:gd name="connsiteX2197" fmla="*/ 1827235 w 3503192"/>
              <a:gd name="connsiteY2197" fmla="*/ 5509789 h 5818346"/>
              <a:gd name="connsiteX2198" fmla="*/ 1835493 w 3503192"/>
              <a:gd name="connsiteY2198" fmla="*/ 5501529 h 5818346"/>
              <a:gd name="connsiteX2199" fmla="*/ 1838301 w 3503192"/>
              <a:gd name="connsiteY2199" fmla="*/ 5504337 h 5818346"/>
              <a:gd name="connsiteX2200" fmla="*/ 3256713 w 3503192"/>
              <a:gd name="connsiteY2200" fmla="*/ 5490627 h 5818346"/>
              <a:gd name="connsiteX2201" fmla="*/ 3267451 w 3503192"/>
              <a:gd name="connsiteY2201" fmla="*/ 5501363 h 5818346"/>
              <a:gd name="connsiteX2202" fmla="*/ 3256713 w 3503192"/>
              <a:gd name="connsiteY2202" fmla="*/ 5512099 h 5818346"/>
              <a:gd name="connsiteX2203" fmla="*/ 3245976 w 3503192"/>
              <a:gd name="connsiteY2203" fmla="*/ 5501363 h 5818346"/>
              <a:gd name="connsiteX2204" fmla="*/ 3256713 w 3503192"/>
              <a:gd name="connsiteY2204" fmla="*/ 5490627 h 5818346"/>
              <a:gd name="connsiteX2205" fmla="*/ 1999849 w 3503192"/>
              <a:gd name="connsiteY2205" fmla="*/ 5488809 h 5818346"/>
              <a:gd name="connsiteX2206" fmla="*/ 2010587 w 3503192"/>
              <a:gd name="connsiteY2206" fmla="*/ 5499545 h 5818346"/>
              <a:gd name="connsiteX2207" fmla="*/ 1999849 w 3503192"/>
              <a:gd name="connsiteY2207" fmla="*/ 5510282 h 5818346"/>
              <a:gd name="connsiteX2208" fmla="*/ 1989112 w 3503192"/>
              <a:gd name="connsiteY2208" fmla="*/ 5499545 h 5818346"/>
              <a:gd name="connsiteX2209" fmla="*/ 1999849 w 3503192"/>
              <a:gd name="connsiteY2209" fmla="*/ 5488809 h 5818346"/>
              <a:gd name="connsiteX2210" fmla="*/ 1566578 w 3503192"/>
              <a:gd name="connsiteY2210" fmla="*/ 5488480 h 5818346"/>
              <a:gd name="connsiteX2211" fmla="*/ 1566742 w 3503192"/>
              <a:gd name="connsiteY2211" fmla="*/ 5488644 h 5818346"/>
              <a:gd name="connsiteX2212" fmla="*/ 1566578 w 3503192"/>
              <a:gd name="connsiteY2212" fmla="*/ 5488809 h 5818346"/>
              <a:gd name="connsiteX2213" fmla="*/ 1566413 w 3503192"/>
              <a:gd name="connsiteY2213" fmla="*/ 5488644 h 5818346"/>
              <a:gd name="connsiteX2214" fmla="*/ 1566578 w 3503192"/>
              <a:gd name="connsiteY2214" fmla="*/ 5488480 h 5818346"/>
              <a:gd name="connsiteX2215" fmla="*/ 1862418 w 3503192"/>
              <a:gd name="connsiteY2215" fmla="*/ 5485176 h 5818346"/>
              <a:gd name="connsiteX2216" fmla="*/ 1873156 w 3503192"/>
              <a:gd name="connsiteY2216" fmla="*/ 5495912 h 5818346"/>
              <a:gd name="connsiteX2217" fmla="*/ 1862418 w 3503192"/>
              <a:gd name="connsiteY2217" fmla="*/ 5506649 h 5818346"/>
              <a:gd name="connsiteX2218" fmla="*/ 1851682 w 3503192"/>
              <a:gd name="connsiteY2218" fmla="*/ 5495912 h 5818346"/>
              <a:gd name="connsiteX2219" fmla="*/ 1862418 w 3503192"/>
              <a:gd name="connsiteY2219" fmla="*/ 5485176 h 5818346"/>
              <a:gd name="connsiteX2220" fmla="*/ 2461200 w 3503192"/>
              <a:gd name="connsiteY2220" fmla="*/ 5484186 h 5818346"/>
              <a:gd name="connsiteX2221" fmla="*/ 2471936 w 3503192"/>
              <a:gd name="connsiteY2221" fmla="*/ 5494922 h 5818346"/>
              <a:gd name="connsiteX2222" fmla="*/ 2461200 w 3503192"/>
              <a:gd name="connsiteY2222" fmla="*/ 5505658 h 5818346"/>
              <a:gd name="connsiteX2223" fmla="*/ 2450463 w 3503192"/>
              <a:gd name="connsiteY2223" fmla="*/ 5494922 h 5818346"/>
              <a:gd name="connsiteX2224" fmla="*/ 2461200 w 3503192"/>
              <a:gd name="connsiteY2224" fmla="*/ 5484186 h 5818346"/>
              <a:gd name="connsiteX2225" fmla="*/ 3386546 w 3503192"/>
              <a:gd name="connsiteY2225" fmla="*/ 5475430 h 5818346"/>
              <a:gd name="connsiteX2226" fmla="*/ 3397284 w 3503192"/>
              <a:gd name="connsiteY2226" fmla="*/ 5486166 h 5818346"/>
              <a:gd name="connsiteX2227" fmla="*/ 3386546 w 3503192"/>
              <a:gd name="connsiteY2227" fmla="*/ 5496903 h 5818346"/>
              <a:gd name="connsiteX2228" fmla="*/ 3375810 w 3503192"/>
              <a:gd name="connsiteY2228" fmla="*/ 5486166 h 5818346"/>
              <a:gd name="connsiteX2229" fmla="*/ 3386546 w 3503192"/>
              <a:gd name="connsiteY2229" fmla="*/ 5475430 h 5818346"/>
              <a:gd name="connsiteX2230" fmla="*/ 2169986 w 3503192"/>
              <a:gd name="connsiteY2230" fmla="*/ 5473779 h 5818346"/>
              <a:gd name="connsiteX2231" fmla="*/ 2180724 w 3503192"/>
              <a:gd name="connsiteY2231" fmla="*/ 5484515 h 5818346"/>
              <a:gd name="connsiteX2232" fmla="*/ 2169986 w 3503192"/>
              <a:gd name="connsiteY2232" fmla="*/ 5495253 h 5818346"/>
              <a:gd name="connsiteX2233" fmla="*/ 2159250 w 3503192"/>
              <a:gd name="connsiteY2233" fmla="*/ 5484515 h 5818346"/>
              <a:gd name="connsiteX2234" fmla="*/ 2169986 w 3503192"/>
              <a:gd name="connsiteY2234" fmla="*/ 5473779 h 5818346"/>
              <a:gd name="connsiteX2235" fmla="*/ 1878440 w 3503192"/>
              <a:gd name="connsiteY2235" fmla="*/ 5473283 h 5818346"/>
              <a:gd name="connsiteX2236" fmla="*/ 1889178 w 3503192"/>
              <a:gd name="connsiteY2236" fmla="*/ 5484019 h 5818346"/>
              <a:gd name="connsiteX2237" fmla="*/ 1878440 w 3503192"/>
              <a:gd name="connsiteY2237" fmla="*/ 5494756 h 5818346"/>
              <a:gd name="connsiteX2238" fmla="*/ 1867704 w 3503192"/>
              <a:gd name="connsiteY2238" fmla="*/ 5484019 h 5818346"/>
              <a:gd name="connsiteX2239" fmla="*/ 1878440 w 3503192"/>
              <a:gd name="connsiteY2239" fmla="*/ 5473283 h 5818346"/>
              <a:gd name="connsiteX2240" fmla="*/ 2024956 w 3503192"/>
              <a:gd name="connsiteY2240" fmla="*/ 5470311 h 5818346"/>
              <a:gd name="connsiteX2241" fmla="*/ 2035693 w 3503192"/>
              <a:gd name="connsiteY2241" fmla="*/ 5481047 h 5818346"/>
              <a:gd name="connsiteX2242" fmla="*/ 2024956 w 3503192"/>
              <a:gd name="connsiteY2242" fmla="*/ 5491783 h 5818346"/>
              <a:gd name="connsiteX2243" fmla="*/ 2014220 w 3503192"/>
              <a:gd name="connsiteY2243" fmla="*/ 5481047 h 5818346"/>
              <a:gd name="connsiteX2244" fmla="*/ 2024956 w 3503192"/>
              <a:gd name="connsiteY2244" fmla="*/ 5470311 h 5818346"/>
              <a:gd name="connsiteX2245" fmla="*/ 2332523 w 3503192"/>
              <a:gd name="connsiteY2245" fmla="*/ 5466840 h 5818346"/>
              <a:gd name="connsiteX2246" fmla="*/ 2343261 w 3503192"/>
              <a:gd name="connsiteY2246" fmla="*/ 5477577 h 5818346"/>
              <a:gd name="connsiteX2247" fmla="*/ 2332523 w 3503192"/>
              <a:gd name="connsiteY2247" fmla="*/ 5488313 h 5818346"/>
              <a:gd name="connsiteX2248" fmla="*/ 2321787 w 3503192"/>
              <a:gd name="connsiteY2248" fmla="*/ 5477577 h 5818346"/>
              <a:gd name="connsiteX2249" fmla="*/ 2332523 w 3503192"/>
              <a:gd name="connsiteY2249" fmla="*/ 5466840 h 5818346"/>
              <a:gd name="connsiteX2250" fmla="*/ 3503192 w 3503192"/>
              <a:gd name="connsiteY2250" fmla="*/ 5466649 h 5818346"/>
              <a:gd name="connsiteX2251" fmla="*/ 3503192 w 3503192"/>
              <a:gd name="connsiteY2251" fmla="*/ 5466703 h 5818346"/>
              <a:gd name="connsiteX2252" fmla="*/ 3503165 w 3503192"/>
              <a:gd name="connsiteY2252" fmla="*/ 5466676 h 5818346"/>
              <a:gd name="connsiteX2253" fmla="*/ 2926350 w 3503192"/>
              <a:gd name="connsiteY2253" fmla="*/ 5465850 h 5818346"/>
              <a:gd name="connsiteX2254" fmla="*/ 2937088 w 3503192"/>
              <a:gd name="connsiteY2254" fmla="*/ 5476587 h 5818346"/>
              <a:gd name="connsiteX2255" fmla="*/ 2926350 w 3503192"/>
              <a:gd name="connsiteY2255" fmla="*/ 5487323 h 5818346"/>
              <a:gd name="connsiteX2256" fmla="*/ 2915614 w 3503192"/>
              <a:gd name="connsiteY2256" fmla="*/ 5476587 h 5818346"/>
              <a:gd name="connsiteX2257" fmla="*/ 2926350 w 3503192"/>
              <a:gd name="connsiteY2257" fmla="*/ 5465850 h 5818346"/>
              <a:gd name="connsiteX2258" fmla="*/ 2787929 w 3503192"/>
              <a:gd name="connsiteY2258" fmla="*/ 5464694 h 5818346"/>
              <a:gd name="connsiteX2259" fmla="*/ 2798666 w 3503192"/>
              <a:gd name="connsiteY2259" fmla="*/ 5475430 h 5818346"/>
              <a:gd name="connsiteX2260" fmla="*/ 2787929 w 3503192"/>
              <a:gd name="connsiteY2260" fmla="*/ 5486166 h 5818346"/>
              <a:gd name="connsiteX2261" fmla="*/ 2777193 w 3503192"/>
              <a:gd name="connsiteY2261" fmla="*/ 5475430 h 5818346"/>
              <a:gd name="connsiteX2262" fmla="*/ 2787929 w 3503192"/>
              <a:gd name="connsiteY2262" fmla="*/ 5464694 h 5818346"/>
              <a:gd name="connsiteX2263" fmla="*/ 3064773 w 3503192"/>
              <a:gd name="connsiteY2263" fmla="*/ 5462051 h 5818346"/>
              <a:gd name="connsiteX2264" fmla="*/ 3075511 w 3503192"/>
              <a:gd name="connsiteY2264" fmla="*/ 5472787 h 5818346"/>
              <a:gd name="connsiteX2265" fmla="*/ 3064773 w 3503192"/>
              <a:gd name="connsiteY2265" fmla="*/ 5483523 h 5818346"/>
              <a:gd name="connsiteX2266" fmla="*/ 3054037 w 3503192"/>
              <a:gd name="connsiteY2266" fmla="*/ 5472787 h 5818346"/>
              <a:gd name="connsiteX2267" fmla="*/ 3064773 w 3503192"/>
              <a:gd name="connsiteY2267" fmla="*/ 5462051 h 5818346"/>
              <a:gd name="connsiteX2268" fmla="*/ 2650002 w 3503192"/>
              <a:gd name="connsiteY2268" fmla="*/ 5458582 h 5818346"/>
              <a:gd name="connsiteX2269" fmla="*/ 2660740 w 3503192"/>
              <a:gd name="connsiteY2269" fmla="*/ 5469319 h 5818346"/>
              <a:gd name="connsiteX2270" fmla="*/ 2650002 w 3503192"/>
              <a:gd name="connsiteY2270" fmla="*/ 5480055 h 5818346"/>
              <a:gd name="connsiteX2271" fmla="*/ 2639266 w 3503192"/>
              <a:gd name="connsiteY2271" fmla="*/ 5469319 h 5818346"/>
              <a:gd name="connsiteX2272" fmla="*/ 2650002 w 3503192"/>
              <a:gd name="connsiteY2272" fmla="*/ 5458582 h 5818346"/>
              <a:gd name="connsiteX2273" fmla="*/ 1896446 w 3503192"/>
              <a:gd name="connsiteY2273" fmla="*/ 5458582 h 5818346"/>
              <a:gd name="connsiteX2274" fmla="*/ 1907182 w 3503192"/>
              <a:gd name="connsiteY2274" fmla="*/ 5469319 h 5818346"/>
              <a:gd name="connsiteX2275" fmla="*/ 1896446 w 3503192"/>
              <a:gd name="connsiteY2275" fmla="*/ 5480055 h 5818346"/>
              <a:gd name="connsiteX2276" fmla="*/ 1885710 w 3503192"/>
              <a:gd name="connsiteY2276" fmla="*/ 5469319 h 5818346"/>
              <a:gd name="connsiteX2277" fmla="*/ 1896446 w 3503192"/>
              <a:gd name="connsiteY2277" fmla="*/ 5458582 h 5818346"/>
              <a:gd name="connsiteX2278" fmla="*/ 3202039 w 3503192"/>
              <a:gd name="connsiteY2278" fmla="*/ 5453132 h 5818346"/>
              <a:gd name="connsiteX2279" fmla="*/ 3212777 w 3503192"/>
              <a:gd name="connsiteY2279" fmla="*/ 5463868 h 5818346"/>
              <a:gd name="connsiteX2280" fmla="*/ 3202039 w 3503192"/>
              <a:gd name="connsiteY2280" fmla="*/ 5474604 h 5818346"/>
              <a:gd name="connsiteX2281" fmla="*/ 3191303 w 3503192"/>
              <a:gd name="connsiteY2281" fmla="*/ 5463868 h 5818346"/>
              <a:gd name="connsiteX2282" fmla="*/ 3202039 w 3503192"/>
              <a:gd name="connsiteY2282" fmla="*/ 5453132 h 5818346"/>
              <a:gd name="connsiteX2283" fmla="*/ 1771073 w 3503192"/>
              <a:gd name="connsiteY2283" fmla="*/ 5452636 h 5818346"/>
              <a:gd name="connsiteX2284" fmla="*/ 1781811 w 3503192"/>
              <a:gd name="connsiteY2284" fmla="*/ 5463372 h 5818346"/>
              <a:gd name="connsiteX2285" fmla="*/ 1771073 w 3503192"/>
              <a:gd name="connsiteY2285" fmla="*/ 5474110 h 5818346"/>
              <a:gd name="connsiteX2286" fmla="*/ 1770577 w 3503192"/>
              <a:gd name="connsiteY2286" fmla="*/ 5473614 h 5818346"/>
              <a:gd name="connsiteX2287" fmla="*/ 1760502 w 3503192"/>
              <a:gd name="connsiteY2287" fmla="*/ 5483688 h 5818346"/>
              <a:gd name="connsiteX2288" fmla="*/ 1759676 w 3503192"/>
              <a:gd name="connsiteY2288" fmla="*/ 5482863 h 5818346"/>
              <a:gd name="connsiteX2289" fmla="*/ 1751416 w 3503192"/>
              <a:gd name="connsiteY2289" fmla="*/ 5491123 h 5818346"/>
              <a:gd name="connsiteX2290" fmla="*/ 1750259 w 3503192"/>
              <a:gd name="connsiteY2290" fmla="*/ 5489968 h 5818346"/>
              <a:gd name="connsiteX2291" fmla="*/ 1743323 w 3503192"/>
              <a:gd name="connsiteY2291" fmla="*/ 5496903 h 5818346"/>
              <a:gd name="connsiteX2292" fmla="*/ 1742084 w 3503192"/>
              <a:gd name="connsiteY2292" fmla="*/ 5495664 h 5818346"/>
              <a:gd name="connsiteX2293" fmla="*/ 1736219 w 3503192"/>
              <a:gd name="connsiteY2293" fmla="*/ 5501528 h 5818346"/>
              <a:gd name="connsiteX2294" fmla="*/ 1734898 w 3503192"/>
              <a:gd name="connsiteY2294" fmla="*/ 5500206 h 5818346"/>
              <a:gd name="connsiteX2295" fmla="*/ 1729777 w 3503192"/>
              <a:gd name="connsiteY2295" fmla="*/ 5505327 h 5818346"/>
              <a:gd name="connsiteX2296" fmla="*/ 1728374 w 3503192"/>
              <a:gd name="connsiteY2296" fmla="*/ 5503924 h 5818346"/>
              <a:gd name="connsiteX2297" fmla="*/ 1723830 w 3503192"/>
              <a:gd name="connsiteY2297" fmla="*/ 5508466 h 5818346"/>
              <a:gd name="connsiteX2298" fmla="*/ 1722592 w 3503192"/>
              <a:gd name="connsiteY2298" fmla="*/ 5507228 h 5818346"/>
              <a:gd name="connsiteX2299" fmla="*/ 1718380 w 3503192"/>
              <a:gd name="connsiteY2299" fmla="*/ 5511439 h 5818346"/>
              <a:gd name="connsiteX2300" fmla="*/ 1717142 w 3503192"/>
              <a:gd name="connsiteY2300" fmla="*/ 5510200 h 5818346"/>
              <a:gd name="connsiteX2301" fmla="*/ 1713094 w 3503192"/>
              <a:gd name="connsiteY2301" fmla="*/ 5514248 h 5818346"/>
              <a:gd name="connsiteX2302" fmla="*/ 1712185 w 3503192"/>
              <a:gd name="connsiteY2302" fmla="*/ 5513339 h 5818346"/>
              <a:gd name="connsiteX2303" fmla="*/ 1707973 w 3503192"/>
              <a:gd name="connsiteY2303" fmla="*/ 5517552 h 5818346"/>
              <a:gd name="connsiteX2304" fmla="*/ 1707231 w 3503192"/>
              <a:gd name="connsiteY2304" fmla="*/ 5516809 h 5818346"/>
              <a:gd name="connsiteX2305" fmla="*/ 1702854 w 3503192"/>
              <a:gd name="connsiteY2305" fmla="*/ 5521185 h 5818346"/>
              <a:gd name="connsiteX2306" fmla="*/ 1702441 w 3503192"/>
              <a:gd name="connsiteY2306" fmla="*/ 5520774 h 5818346"/>
              <a:gd name="connsiteX2307" fmla="*/ 1697568 w 3503192"/>
              <a:gd name="connsiteY2307" fmla="*/ 5525647 h 5818346"/>
              <a:gd name="connsiteX2308" fmla="*/ 1697320 w 3503192"/>
              <a:gd name="connsiteY2308" fmla="*/ 5525399 h 5818346"/>
              <a:gd name="connsiteX2309" fmla="*/ 1696494 w 3503192"/>
              <a:gd name="connsiteY2309" fmla="*/ 5526224 h 5818346"/>
              <a:gd name="connsiteX2310" fmla="*/ 1696907 w 3503192"/>
              <a:gd name="connsiteY2310" fmla="*/ 5526637 h 5818346"/>
              <a:gd name="connsiteX2311" fmla="*/ 1689474 w 3503192"/>
              <a:gd name="connsiteY2311" fmla="*/ 5534070 h 5818346"/>
              <a:gd name="connsiteX2312" fmla="*/ 1679728 w 3503192"/>
              <a:gd name="connsiteY2312" fmla="*/ 5543814 h 5818346"/>
              <a:gd name="connsiteX2313" fmla="*/ 1669982 w 3503192"/>
              <a:gd name="connsiteY2313" fmla="*/ 5534070 h 5818346"/>
              <a:gd name="connsiteX2314" fmla="*/ 1676425 w 3503192"/>
              <a:gd name="connsiteY2314" fmla="*/ 5527629 h 5818346"/>
              <a:gd name="connsiteX2315" fmla="*/ 1675433 w 3503192"/>
              <a:gd name="connsiteY2315" fmla="*/ 5526637 h 5818346"/>
              <a:gd name="connsiteX2316" fmla="*/ 1681627 w 3503192"/>
              <a:gd name="connsiteY2316" fmla="*/ 5520442 h 5818346"/>
              <a:gd name="connsiteX2317" fmla="*/ 1681214 w 3503192"/>
              <a:gd name="connsiteY2317" fmla="*/ 5520030 h 5818346"/>
              <a:gd name="connsiteX2318" fmla="*/ 1691951 w 3503192"/>
              <a:gd name="connsiteY2318" fmla="*/ 5509293 h 5818346"/>
              <a:gd name="connsiteX2319" fmla="*/ 1692199 w 3503192"/>
              <a:gd name="connsiteY2319" fmla="*/ 5509541 h 5818346"/>
              <a:gd name="connsiteX2320" fmla="*/ 1697568 w 3503192"/>
              <a:gd name="connsiteY2320" fmla="*/ 5504172 h 5818346"/>
              <a:gd name="connsiteX2321" fmla="*/ 1697981 w 3503192"/>
              <a:gd name="connsiteY2321" fmla="*/ 5504585 h 5818346"/>
              <a:gd name="connsiteX2322" fmla="*/ 1702854 w 3503192"/>
              <a:gd name="connsiteY2322" fmla="*/ 5499712 h 5818346"/>
              <a:gd name="connsiteX2323" fmla="*/ 1703598 w 3503192"/>
              <a:gd name="connsiteY2323" fmla="*/ 5500456 h 5818346"/>
              <a:gd name="connsiteX2324" fmla="*/ 1707973 w 3503192"/>
              <a:gd name="connsiteY2324" fmla="*/ 5496079 h 5818346"/>
              <a:gd name="connsiteX2325" fmla="*/ 1708882 w 3503192"/>
              <a:gd name="connsiteY2325" fmla="*/ 5496988 h 5818346"/>
              <a:gd name="connsiteX2326" fmla="*/ 1713094 w 3503192"/>
              <a:gd name="connsiteY2326" fmla="*/ 5492773 h 5818346"/>
              <a:gd name="connsiteX2327" fmla="*/ 1714334 w 3503192"/>
              <a:gd name="connsiteY2327" fmla="*/ 5494013 h 5818346"/>
              <a:gd name="connsiteX2328" fmla="*/ 1718380 w 3503192"/>
              <a:gd name="connsiteY2328" fmla="*/ 5489966 h 5818346"/>
              <a:gd name="connsiteX2329" fmla="*/ 1719620 w 3503192"/>
              <a:gd name="connsiteY2329" fmla="*/ 5491206 h 5818346"/>
              <a:gd name="connsiteX2330" fmla="*/ 1723830 w 3503192"/>
              <a:gd name="connsiteY2330" fmla="*/ 5486993 h 5818346"/>
              <a:gd name="connsiteX2331" fmla="*/ 1725235 w 3503192"/>
              <a:gd name="connsiteY2331" fmla="*/ 5488398 h 5818346"/>
              <a:gd name="connsiteX2332" fmla="*/ 1729777 w 3503192"/>
              <a:gd name="connsiteY2332" fmla="*/ 5483855 h 5818346"/>
              <a:gd name="connsiteX2333" fmla="*/ 1731098 w 3503192"/>
              <a:gd name="connsiteY2333" fmla="*/ 5485176 h 5818346"/>
              <a:gd name="connsiteX2334" fmla="*/ 1736219 w 3503192"/>
              <a:gd name="connsiteY2334" fmla="*/ 5480055 h 5818346"/>
              <a:gd name="connsiteX2335" fmla="*/ 1737459 w 3503192"/>
              <a:gd name="connsiteY2335" fmla="*/ 5481295 h 5818346"/>
              <a:gd name="connsiteX2336" fmla="*/ 1743323 w 3503192"/>
              <a:gd name="connsiteY2336" fmla="*/ 5475430 h 5818346"/>
              <a:gd name="connsiteX2337" fmla="*/ 1744479 w 3503192"/>
              <a:gd name="connsiteY2337" fmla="*/ 5476587 h 5818346"/>
              <a:gd name="connsiteX2338" fmla="*/ 1751416 w 3503192"/>
              <a:gd name="connsiteY2338" fmla="*/ 5469648 h 5818346"/>
              <a:gd name="connsiteX2339" fmla="*/ 1752243 w 3503192"/>
              <a:gd name="connsiteY2339" fmla="*/ 5470475 h 5818346"/>
              <a:gd name="connsiteX2340" fmla="*/ 1760502 w 3503192"/>
              <a:gd name="connsiteY2340" fmla="*/ 5462215 h 5818346"/>
              <a:gd name="connsiteX2341" fmla="*/ 1760998 w 3503192"/>
              <a:gd name="connsiteY2341" fmla="*/ 5462711 h 5818346"/>
              <a:gd name="connsiteX2342" fmla="*/ 2513397 w 3503192"/>
              <a:gd name="connsiteY2342" fmla="*/ 5447515 h 5818346"/>
              <a:gd name="connsiteX2343" fmla="*/ 2524135 w 3503192"/>
              <a:gd name="connsiteY2343" fmla="*/ 5458251 h 5818346"/>
              <a:gd name="connsiteX2344" fmla="*/ 2513397 w 3503192"/>
              <a:gd name="connsiteY2344" fmla="*/ 5468987 h 5818346"/>
              <a:gd name="connsiteX2345" fmla="*/ 2502661 w 3503192"/>
              <a:gd name="connsiteY2345" fmla="*/ 5458251 h 5818346"/>
              <a:gd name="connsiteX2346" fmla="*/ 2513397 w 3503192"/>
              <a:gd name="connsiteY2346" fmla="*/ 5447515 h 5818346"/>
              <a:gd name="connsiteX2347" fmla="*/ 2053038 w 3503192"/>
              <a:gd name="connsiteY2347" fmla="*/ 5447515 h 5818346"/>
              <a:gd name="connsiteX2348" fmla="*/ 2063776 w 3503192"/>
              <a:gd name="connsiteY2348" fmla="*/ 5458251 h 5818346"/>
              <a:gd name="connsiteX2349" fmla="*/ 2053038 w 3503192"/>
              <a:gd name="connsiteY2349" fmla="*/ 5468987 h 5818346"/>
              <a:gd name="connsiteX2350" fmla="*/ 2042302 w 3503192"/>
              <a:gd name="connsiteY2350" fmla="*/ 5458251 h 5818346"/>
              <a:gd name="connsiteX2351" fmla="*/ 2053038 w 3503192"/>
              <a:gd name="connsiteY2351" fmla="*/ 5447515 h 5818346"/>
              <a:gd name="connsiteX2352" fmla="*/ 2206656 w 3503192"/>
              <a:gd name="connsiteY2352" fmla="*/ 5445368 h 5818346"/>
              <a:gd name="connsiteX2353" fmla="*/ 2217394 w 3503192"/>
              <a:gd name="connsiteY2353" fmla="*/ 5456104 h 5818346"/>
              <a:gd name="connsiteX2354" fmla="*/ 2206656 w 3503192"/>
              <a:gd name="connsiteY2354" fmla="*/ 5466842 h 5818346"/>
              <a:gd name="connsiteX2355" fmla="*/ 2195920 w 3503192"/>
              <a:gd name="connsiteY2355" fmla="*/ 5456104 h 5818346"/>
              <a:gd name="connsiteX2356" fmla="*/ 2206656 w 3503192"/>
              <a:gd name="connsiteY2356" fmla="*/ 5445368 h 5818346"/>
              <a:gd name="connsiteX2357" fmla="*/ 1783131 w 3503192"/>
              <a:gd name="connsiteY2357" fmla="*/ 5440743 h 5818346"/>
              <a:gd name="connsiteX2358" fmla="*/ 1793867 w 3503192"/>
              <a:gd name="connsiteY2358" fmla="*/ 5451479 h 5818346"/>
              <a:gd name="connsiteX2359" fmla="*/ 1783131 w 3503192"/>
              <a:gd name="connsiteY2359" fmla="*/ 5462217 h 5818346"/>
              <a:gd name="connsiteX2360" fmla="*/ 1772394 w 3503192"/>
              <a:gd name="connsiteY2360" fmla="*/ 5451479 h 5818346"/>
              <a:gd name="connsiteX2361" fmla="*/ 1783131 w 3503192"/>
              <a:gd name="connsiteY2361" fmla="*/ 5440743 h 5818346"/>
              <a:gd name="connsiteX2362" fmla="*/ 1916929 w 3503192"/>
              <a:gd name="connsiteY2362" fmla="*/ 5440411 h 5818346"/>
              <a:gd name="connsiteX2363" fmla="*/ 1927665 w 3503192"/>
              <a:gd name="connsiteY2363" fmla="*/ 5451148 h 5818346"/>
              <a:gd name="connsiteX2364" fmla="*/ 1916929 w 3503192"/>
              <a:gd name="connsiteY2364" fmla="*/ 5461884 h 5818346"/>
              <a:gd name="connsiteX2365" fmla="*/ 1906192 w 3503192"/>
              <a:gd name="connsiteY2365" fmla="*/ 5451148 h 5818346"/>
              <a:gd name="connsiteX2366" fmla="*/ 1916929 w 3503192"/>
              <a:gd name="connsiteY2366" fmla="*/ 5440411 h 5818346"/>
              <a:gd name="connsiteX2367" fmla="*/ 3337488 w 3503192"/>
              <a:gd name="connsiteY2367" fmla="*/ 5439586 h 5818346"/>
              <a:gd name="connsiteX2368" fmla="*/ 3348224 w 3503192"/>
              <a:gd name="connsiteY2368" fmla="*/ 5450322 h 5818346"/>
              <a:gd name="connsiteX2369" fmla="*/ 3337488 w 3503192"/>
              <a:gd name="connsiteY2369" fmla="*/ 5461060 h 5818346"/>
              <a:gd name="connsiteX2370" fmla="*/ 3326752 w 3503192"/>
              <a:gd name="connsiteY2370" fmla="*/ 5450322 h 5818346"/>
              <a:gd name="connsiteX2371" fmla="*/ 3337488 w 3503192"/>
              <a:gd name="connsiteY2371" fmla="*/ 5439586 h 5818346"/>
              <a:gd name="connsiteX2372" fmla="*/ 2378940 w 3503192"/>
              <a:gd name="connsiteY2372" fmla="*/ 5431822 h 5818346"/>
              <a:gd name="connsiteX2373" fmla="*/ 2389678 w 3503192"/>
              <a:gd name="connsiteY2373" fmla="*/ 5442558 h 5818346"/>
              <a:gd name="connsiteX2374" fmla="*/ 2378940 w 3503192"/>
              <a:gd name="connsiteY2374" fmla="*/ 5453296 h 5818346"/>
              <a:gd name="connsiteX2375" fmla="*/ 2368204 w 3503192"/>
              <a:gd name="connsiteY2375" fmla="*/ 5442558 h 5818346"/>
              <a:gd name="connsiteX2376" fmla="*/ 2378940 w 3503192"/>
              <a:gd name="connsiteY2376" fmla="*/ 5431822 h 5818346"/>
              <a:gd name="connsiteX2377" fmla="*/ 1461359 w 3503192"/>
              <a:gd name="connsiteY2377" fmla="*/ 5429675 h 5818346"/>
              <a:gd name="connsiteX2378" fmla="*/ 1461854 w 3503192"/>
              <a:gd name="connsiteY2378" fmla="*/ 5430171 h 5818346"/>
              <a:gd name="connsiteX2379" fmla="*/ 1461359 w 3503192"/>
              <a:gd name="connsiteY2379" fmla="*/ 5430665 h 5818346"/>
              <a:gd name="connsiteX2380" fmla="*/ 1460864 w 3503192"/>
              <a:gd name="connsiteY2380" fmla="*/ 5430171 h 5818346"/>
              <a:gd name="connsiteX2381" fmla="*/ 1461359 w 3503192"/>
              <a:gd name="connsiteY2381" fmla="*/ 5429675 h 5818346"/>
              <a:gd name="connsiteX2382" fmla="*/ 1796841 w 3503192"/>
              <a:gd name="connsiteY2382" fmla="*/ 5425875 h 5818346"/>
              <a:gd name="connsiteX2383" fmla="*/ 1807580 w 3503192"/>
              <a:gd name="connsiteY2383" fmla="*/ 5436612 h 5818346"/>
              <a:gd name="connsiteX2384" fmla="*/ 1796841 w 3503192"/>
              <a:gd name="connsiteY2384" fmla="*/ 5447348 h 5818346"/>
              <a:gd name="connsiteX2385" fmla="*/ 1786105 w 3503192"/>
              <a:gd name="connsiteY2385" fmla="*/ 5436612 h 5818346"/>
              <a:gd name="connsiteX2386" fmla="*/ 1796841 w 3503192"/>
              <a:gd name="connsiteY2386" fmla="*/ 5425875 h 5818346"/>
              <a:gd name="connsiteX2387" fmla="*/ 3470458 w 3503192"/>
              <a:gd name="connsiteY2387" fmla="*/ 5421582 h 5818346"/>
              <a:gd name="connsiteX2388" fmla="*/ 3481196 w 3503192"/>
              <a:gd name="connsiteY2388" fmla="*/ 5432318 h 5818346"/>
              <a:gd name="connsiteX2389" fmla="*/ 3470458 w 3503192"/>
              <a:gd name="connsiteY2389" fmla="*/ 5443056 h 5818346"/>
              <a:gd name="connsiteX2390" fmla="*/ 3459722 w 3503192"/>
              <a:gd name="connsiteY2390" fmla="*/ 5432318 h 5818346"/>
              <a:gd name="connsiteX2391" fmla="*/ 3470458 w 3503192"/>
              <a:gd name="connsiteY2391" fmla="*/ 5421582 h 5818346"/>
              <a:gd name="connsiteX2392" fmla="*/ 2084422 w 3503192"/>
              <a:gd name="connsiteY2392" fmla="*/ 5420094 h 5818346"/>
              <a:gd name="connsiteX2393" fmla="*/ 2095158 w 3503192"/>
              <a:gd name="connsiteY2393" fmla="*/ 5430830 h 5818346"/>
              <a:gd name="connsiteX2394" fmla="*/ 2084422 w 3503192"/>
              <a:gd name="connsiteY2394" fmla="*/ 5441568 h 5818346"/>
              <a:gd name="connsiteX2395" fmla="*/ 2073685 w 3503192"/>
              <a:gd name="connsiteY2395" fmla="*/ 5430830 h 5818346"/>
              <a:gd name="connsiteX2396" fmla="*/ 2084422 w 3503192"/>
              <a:gd name="connsiteY2396" fmla="*/ 5420094 h 5818346"/>
              <a:gd name="connsiteX2397" fmla="*/ 1939888 w 3503192"/>
              <a:gd name="connsiteY2397" fmla="*/ 5417947 h 5818346"/>
              <a:gd name="connsiteX2398" fmla="*/ 1950624 w 3503192"/>
              <a:gd name="connsiteY2398" fmla="*/ 5428683 h 5818346"/>
              <a:gd name="connsiteX2399" fmla="*/ 1939888 w 3503192"/>
              <a:gd name="connsiteY2399" fmla="*/ 5439421 h 5818346"/>
              <a:gd name="connsiteX2400" fmla="*/ 1929151 w 3503192"/>
              <a:gd name="connsiteY2400" fmla="*/ 5428683 h 5818346"/>
              <a:gd name="connsiteX2401" fmla="*/ 1939888 w 3503192"/>
              <a:gd name="connsiteY2401" fmla="*/ 5417947 h 5818346"/>
              <a:gd name="connsiteX2402" fmla="*/ 2855984 w 3503192"/>
              <a:gd name="connsiteY2402" fmla="*/ 5417121 h 5818346"/>
              <a:gd name="connsiteX2403" fmla="*/ 2866722 w 3503192"/>
              <a:gd name="connsiteY2403" fmla="*/ 5427858 h 5818346"/>
              <a:gd name="connsiteX2404" fmla="*/ 2855984 w 3503192"/>
              <a:gd name="connsiteY2404" fmla="*/ 5438594 h 5818346"/>
              <a:gd name="connsiteX2405" fmla="*/ 2845248 w 3503192"/>
              <a:gd name="connsiteY2405" fmla="*/ 5427858 h 5818346"/>
              <a:gd name="connsiteX2406" fmla="*/ 2855984 w 3503192"/>
              <a:gd name="connsiteY2406" fmla="*/ 5417121 h 5818346"/>
              <a:gd name="connsiteX2407" fmla="*/ 2999526 w 3503192"/>
              <a:gd name="connsiteY2407" fmla="*/ 5415800 h 5818346"/>
              <a:gd name="connsiteX2408" fmla="*/ 3010264 w 3503192"/>
              <a:gd name="connsiteY2408" fmla="*/ 5426536 h 5818346"/>
              <a:gd name="connsiteX2409" fmla="*/ 2999526 w 3503192"/>
              <a:gd name="connsiteY2409" fmla="*/ 5437274 h 5818346"/>
              <a:gd name="connsiteX2410" fmla="*/ 2988790 w 3503192"/>
              <a:gd name="connsiteY2410" fmla="*/ 5426536 h 5818346"/>
              <a:gd name="connsiteX2411" fmla="*/ 2999526 w 3503192"/>
              <a:gd name="connsiteY2411" fmla="*/ 5415800 h 5818346"/>
              <a:gd name="connsiteX2412" fmla="*/ 2712440 w 3503192"/>
              <a:gd name="connsiteY2412" fmla="*/ 5413322 h 5818346"/>
              <a:gd name="connsiteX2413" fmla="*/ 2723178 w 3503192"/>
              <a:gd name="connsiteY2413" fmla="*/ 5424058 h 5818346"/>
              <a:gd name="connsiteX2414" fmla="*/ 2712440 w 3503192"/>
              <a:gd name="connsiteY2414" fmla="*/ 5434796 h 5818346"/>
              <a:gd name="connsiteX2415" fmla="*/ 2701704 w 3503192"/>
              <a:gd name="connsiteY2415" fmla="*/ 5424058 h 5818346"/>
              <a:gd name="connsiteX2416" fmla="*/ 2712440 w 3503192"/>
              <a:gd name="connsiteY2416" fmla="*/ 5413322 h 5818346"/>
              <a:gd name="connsiteX2417" fmla="*/ 2247290 w 3503192"/>
              <a:gd name="connsiteY2417" fmla="*/ 5411671 h 5818346"/>
              <a:gd name="connsiteX2418" fmla="*/ 2258028 w 3503192"/>
              <a:gd name="connsiteY2418" fmla="*/ 5422407 h 5818346"/>
              <a:gd name="connsiteX2419" fmla="*/ 2247290 w 3503192"/>
              <a:gd name="connsiteY2419" fmla="*/ 5433145 h 5818346"/>
              <a:gd name="connsiteX2420" fmla="*/ 2236553 w 3503192"/>
              <a:gd name="connsiteY2420" fmla="*/ 5422407 h 5818346"/>
              <a:gd name="connsiteX2421" fmla="*/ 2247290 w 3503192"/>
              <a:gd name="connsiteY2421" fmla="*/ 5411671 h 5818346"/>
              <a:gd name="connsiteX2422" fmla="*/ 3142574 w 3503192"/>
              <a:gd name="connsiteY2422" fmla="*/ 5409193 h 5818346"/>
              <a:gd name="connsiteX2423" fmla="*/ 3153310 w 3503192"/>
              <a:gd name="connsiteY2423" fmla="*/ 5419929 h 5818346"/>
              <a:gd name="connsiteX2424" fmla="*/ 3142574 w 3503192"/>
              <a:gd name="connsiteY2424" fmla="*/ 5430667 h 5818346"/>
              <a:gd name="connsiteX2425" fmla="*/ 3131838 w 3503192"/>
              <a:gd name="connsiteY2425" fmla="*/ 5419929 h 5818346"/>
              <a:gd name="connsiteX2426" fmla="*/ 3142574 w 3503192"/>
              <a:gd name="connsiteY2426" fmla="*/ 5409193 h 5818346"/>
              <a:gd name="connsiteX2427" fmla="*/ 1812864 w 3503192"/>
              <a:gd name="connsiteY2427" fmla="*/ 5407540 h 5818346"/>
              <a:gd name="connsiteX2428" fmla="*/ 1823602 w 3503192"/>
              <a:gd name="connsiteY2428" fmla="*/ 5418276 h 5818346"/>
              <a:gd name="connsiteX2429" fmla="*/ 1812864 w 3503192"/>
              <a:gd name="connsiteY2429" fmla="*/ 5429014 h 5818346"/>
              <a:gd name="connsiteX2430" fmla="*/ 1802127 w 3503192"/>
              <a:gd name="connsiteY2430" fmla="*/ 5418276 h 5818346"/>
              <a:gd name="connsiteX2431" fmla="*/ 1812864 w 3503192"/>
              <a:gd name="connsiteY2431" fmla="*/ 5407540 h 5818346"/>
              <a:gd name="connsiteX2432" fmla="*/ 1691621 w 3503192"/>
              <a:gd name="connsiteY2432" fmla="*/ 5405889 h 5818346"/>
              <a:gd name="connsiteX2433" fmla="*/ 1702358 w 3503192"/>
              <a:gd name="connsiteY2433" fmla="*/ 5416625 h 5818346"/>
              <a:gd name="connsiteX2434" fmla="*/ 1692116 w 3503192"/>
              <a:gd name="connsiteY2434" fmla="*/ 5426867 h 5818346"/>
              <a:gd name="connsiteX2435" fmla="*/ 1694098 w 3503192"/>
              <a:gd name="connsiteY2435" fmla="*/ 5428850 h 5818346"/>
              <a:gd name="connsiteX2436" fmla="*/ 1685508 w 3503192"/>
              <a:gd name="connsiteY2436" fmla="*/ 5437439 h 5818346"/>
              <a:gd name="connsiteX2437" fmla="*/ 1686994 w 3503192"/>
              <a:gd name="connsiteY2437" fmla="*/ 5438925 h 5818346"/>
              <a:gd name="connsiteX2438" fmla="*/ 1680141 w 3503192"/>
              <a:gd name="connsiteY2438" fmla="*/ 5445780 h 5818346"/>
              <a:gd name="connsiteX2439" fmla="*/ 1681214 w 3503192"/>
              <a:gd name="connsiteY2439" fmla="*/ 5446854 h 5818346"/>
              <a:gd name="connsiteX2440" fmla="*/ 1675434 w 3503192"/>
              <a:gd name="connsiteY2440" fmla="*/ 5452636 h 5818346"/>
              <a:gd name="connsiteX2441" fmla="*/ 1676095 w 3503192"/>
              <a:gd name="connsiteY2441" fmla="*/ 5453296 h 5818346"/>
              <a:gd name="connsiteX2442" fmla="*/ 1671220 w 3503192"/>
              <a:gd name="connsiteY2442" fmla="*/ 5458171 h 5818346"/>
              <a:gd name="connsiteX2443" fmla="*/ 1671798 w 3503192"/>
              <a:gd name="connsiteY2443" fmla="*/ 5458747 h 5818346"/>
              <a:gd name="connsiteX2444" fmla="*/ 1667670 w 3503192"/>
              <a:gd name="connsiteY2444" fmla="*/ 5462874 h 5818346"/>
              <a:gd name="connsiteX2445" fmla="*/ 1668002 w 3503192"/>
              <a:gd name="connsiteY2445" fmla="*/ 5463206 h 5818346"/>
              <a:gd name="connsiteX2446" fmla="*/ 1664284 w 3503192"/>
              <a:gd name="connsiteY2446" fmla="*/ 5466925 h 5818346"/>
              <a:gd name="connsiteX2447" fmla="*/ 1664530 w 3503192"/>
              <a:gd name="connsiteY2447" fmla="*/ 5467172 h 5818346"/>
              <a:gd name="connsiteX2448" fmla="*/ 1660980 w 3503192"/>
              <a:gd name="connsiteY2448" fmla="*/ 5470722 h 5818346"/>
              <a:gd name="connsiteX2449" fmla="*/ 1661228 w 3503192"/>
              <a:gd name="connsiteY2449" fmla="*/ 5470970 h 5818346"/>
              <a:gd name="connsiteX2450" fmla="*/ 1657676 w 3503192"/>
              <a:gd name="connsiteY2450" fmla="*/ 5474521 h 5818346"/>
              <a:gd name="connsiteX2451" fmla="*/ 1657924 w 3503192"/>
              <a:gd name="connsiteY2451" fmla="*/ 5474769 h 5818346"/>
              <a:gd name="connsiteX2452" fmla="*/ 1654206 w 3503192"/>
              <a:gd name="connsiteY2452" fmla="*/ 5478487 h 5818346"/>
              <a:gd name="connsiteX2453" fmla="*/ 1654619 w 3503192"/>
              <a:gd name="connsiteY2453" fmla="*/ 5478898 h 5818346"/>
              <a:gd name="connsiteX2454" fmla="*/ 1650490 w 3503192"/>
              <a:gd name="connsiteY2454" fmla="*/ 5483029 h 5818346"/>
              <a:gd name="connsiteX2455" fmla="*/ 1651151 w 3503192"/>
              <a:gd name="connsiteY2455" fmla="*/ 5483690 h 5818346"/>
              <a:gd name="connsiteX2456" fmla="*/ 1646527 w 3503192"/>
              <a:gd name="connsiteY2456" fmla="*/ 5488315 h 5818346"/>
              <a:gd name="connsiteX2457" fmla="*/ 1647353 w 3503192"/>
              <a:gd name="connsiteY2457" fmla="*/ 5489140 h 5818346"/>
              <a:gd name="connsiteX2458" fmla="*/ 1642150 w 3503192"/>
              <a:gd name="connsiteY2458" fmla="*/ 5494343 h 5818346"/>
              <a:gd name="connsiteX2459" fmla="*/ 1643224 w 3503192"/>
              <a:gd name="connsiteY2459" fmla="*/ 5495416 h 5818346"/>
              <a:gd name="connsiteX2460" fmla="*/ 1637192 w 3503192"/>
              <a:gd name="connsiteY2460" fmla="*/ 5501446 h 5818346"/>
              <a:gd name="connsiteX2461" fmla="*/ 1638597 w 3503192"/>
              <a:gd name="connsiteY2461" fmla="*/ 5502851 h 5818346"/>
              <a:gd name="connsiteX2462" fmla="*/ 1627860 w 3503192"/>
              <a:gd name="connsiteY2462" fmla="*/ 5513587 h 5818346"/>
              <a:gd name="connsiteX2463" fmla="*/ 1626458 w 3503192"/>
              <a:gd name="connsiteY2463" fmla="*/ 5512184 h 5818346"/>
              <a:gd name="connsiteX2464" fmla="*/ 1622576 w 3503192"/>
              <a:gd name="connsiteY2464" fmla="*/ 5516064 h 5818346"/>
              <a:gd name="connsiteX2465" fmla="*/ 1618116 w 3503192"/>
              <a:gd name="connsiteY2465" fmla="*/ 5511605 h 5818346"/>
              <a:gd name="connsiteX2466" fmla="*/ 1621997 w 3503192"/>
              <a:gd name="connsiteY2466" fmla="*/ 5507724 h 5818346"/>
              <a:gd name="connsiteX2467" fmla="*/ 1617124 w 3503192"/>
              <a:gd name="connsiteY2467" fmla="*/ 5502851 h 5818346"/>
              <a:gd name="connsiteX2468" fmla="*/ 1623154 w 3503192"/>
              <a:gd name="connsiteY2468" fmla="*/ 5496821 h 5818346"/>
              <a:gd name="connsiteX2469" fmla="*/ 1621749 w 3503192"/>
              <a:gd name="connsiteY2469" fmla="*/ 5495416 h 5818346"/>
              <a:gd name="connsiteX2470" fmla="*/ 1626952 w 3503192"/>
              <a:gd name="connsiteY2470" fmla="*/ 5490214 h 5818346"/>
              <a:gd name="connsiteX2471" fmla="*/ 1625878 w 3503192"/>
              <a:gd name="connsiteY2471" fmla="*/ 5489140 h 5818346"/>
              <a:gd name="connsiteX2472" fmla="*/ 1630503 w 3503192"/>
              <a:gd name="connsiteY2472" fmla="*/ 5484515 h 5818346"/>
              <a:gd name="connsiteX2473" fmla="*/ 1629678 w 3503192"/>
              <a:gd name="connsiteY2473" fmla="*/ 5483690 h 5818346"/>
              <a:gd name="connsiteX2474" fmla="*/ 1633809 w 3503192"/>
              <a:gd name="connsiteY2474" fmla="*/ 5479561 h 5818346"/>
              <a:gd name="connsiteX2475" fmla="*/ 1633146 w 3503192"/>
              <a:gd name="connsiteY2475" fmla="*/ 5478898 h 5818346"/>
              <a:gd name="connsiteX2476" fmla="*/ 1636863 w 3503192"/>
              <a:gd name="connsiteY2476" fmla="*/ 5475182 h 5818346"/>
              <a:gd name="connsiteX2477" fmla="*/ 1636450 w 3503192"/>
              <a:gd name="connsiteY2477" fmla="*/ 5474769 h 5818346"/>
              <a:gd name="connsiteX2478" fmla="*/ 1640002 w 3503192"/>
              <a:gd name="connsiteY2478" fmla="*/ 5471218 h 5818346"/>
              <a:gd name="connsiteX2479" fmla="*/ 1639754 w 3503192"/>
              <a:gd name="connsiteY2479" fmla="*/ 5470970 h 5818346"/>
              <a:gd name="connsiteX2480" fmla="*/ 1643305 w 3503192"/>
              <a:gd name="connsiteY2480" fmla="*/ 5467420 h 5818346"/>
              <a:gd name="connsiteX2481" fmla="*/ 1643057 w 3503192"/>
              <a:gd name="connsiteY2481" fmla="*/ 5467172 h 5818346"/>
              <a:gd name="connsiteX2482" fmla="*/ 1646775 w 3503192"/>
              <a:gd name="connsiteY2482" fmla="*/ 5463454 h 5818346"/>
              <a:gd name="connsiteX2483" fmla="*/ 1646527 w 3503192"/>
              <a:gd name="connsiteY2483" fmla="*/ 5463206 h 5818346"/>
              <a:gd name="connsiteX2484" fmla="*/ 1650656 w 3503192"/>
              <a:gd name="connsiteY2484" fmla="*/ 5459078 h 5818346"/>
              <a:gd name="connsiteX2485" fmla="*/ 1650325 w 3503192"/>
              <a:gd name="connsiteY2485" fmla="*/ 5458747 h 5818346"/>
              <a:gd name="connsiteX2486" fmla="*/ 1655198 w 3503192"/>
              <a:gd name="connsiteY2486" fmla="*/ 5453874 h 5818346"/>
              <a:gd name="connsiteX2487" fmla="*/ 1654621 w 3503192"/>
              <a:gd name="connsiteY2487" fmla="*/ 5453296 h 5818346"/>
              <a:gd name="connsiteX2488" fmla="*/ 1660402 w 3503192"/>
              <a:gd name="connsiteY2488" fmla="*/ 5447515 h 5818346"/>
              <a:gd name="connsiteX2489" fmla="*/ 1659742 w 3503192"/>
              <a:gd name="connsiteY2489" fmla="*/ 5446854 h 5818346"/>
              <a:gd name="connsiteX2490" fmla="*/ 1666595 w 3503192"/>
              <a:gd name="connsiteY2490" fmla="*/ 5440000 h 5818346"/>
              <a:gd name="connsiteX2491" fmla="*/ 1665522 w 3503192"/>
              <a:gd name="connsiteY2491" fmla="*/ 5438925 h 5818346"/>
              <a:gd name="connsiteX2492" fmla="*/ 1674111 w 3503192"/>
              <a:gd name="connsiteY2492" fmla="*/ 5430336 h 5818346"/>
              <a:gd name="connsiteX2493" fmla="*/ 1672625 w 3503192"/>
              <a:gd name="connsiteY2493" fmla="*/ 5428850 h 5818346"/>
              <a:gd name="connsiteX2494" fmla="*/ 1682867 w 3503192"/>
              <a:gd name="connsiteY2494" fmla="*/ 5418608 h 5818346"/>
              <a:gd name="connsiteX2495" fmla="*/ 1680885 w 3503192"/>
              <a:gd name="connsiteY2495" fmla="*/ 5416625 h 5818346"/>
              <a:gd name="connsiteX2496" fmla="*/ 1691621 w 3503192"/>
              <a:gd name="connsiteY2496" fmla="*/ 5405889 h 5818346"/>
              <a:gd name="connsiteX2497" fmla="*/ 2570219 w 3503192"/>
              <a:gd name="connsiteY2497" fmla="*/ 5404403 h 5818346"/>
              <a:gd name="connsiteX2498" fmla="*/ 2580958 w 3503192"/>
              <a:gd name="connsiteY2498" fmla="*/ 5415139 h 5818346"/>
              <a:gd name="connsiteX2499" fmla="*/ 2570219 w 3503192"/>
              <a:gd name="connsiteY2499" fmla="*/ 5425875 h 5818346"/>
              <a:gd name="connsiteX2500" fmla="*/ 2559483 w 3503192"/>
              <a:gd name="connsiteY2500" fmla="*/ 5415139 h 5818346"/>
              <a:gd name="connsiteX2501" fmla="*/ 2570219 w 3503192"/>
              <a:gd name="connsiteY2501" fmla="*/ 5404403 h 5818346"/>
              <a:gd name="connsiteX2502" fmla="*/ 3283969 w 3503192"/>
              <a:gd name="connsiteY2502" fmla="*/ 5397464 h 5818346"/>
              <a:gd name="connsiteX2503" fmla="*/ 3294707 w 3503192"/>
              <a:gd name="connsiteY2503" fmla="*/ 5408201 h 5818346"/>
              <a:gd name="connsiteX2504" fmla="*/ 3283969 w 3503192"/>
              <a:gd name="connsiteY2504" fmla="*/ 5418937 h 5818346"/>
              <a:gd name="connsiteX2505" fmla="*/ 3273233 w 3503192"/>
              <a:gd name="connsiteY2505" fmla="*/ 5408201 h 5818346"/>
              <a:gd name="connsiteX2506" fmla="*/ 3283969 w 3503192"/>
              <a:gd name="connsiteY2506" fmla="*/ 5397464 h 5818346"/>
              <a:gd name="connsiteX2507" fmla="*/ 1965987 w 3503192"/>
              <a:gd name="connsiteY2507" fmla="*/ 5391022 h 5818346"/>
              <a:gd name="connsiteX2508" fmla="*/ 1976723 w 3503192"/>
              <a:gd name="connsiteY2508" fmla="*/ 5401758 h 5818346"/>
              <a:gd name="connsiteX2509" fmla="*/ 1965987 w 3503192"/>
              <a:gd name="connsiteY2509" fmla="*/ 5412496 h 5818346"/>
              <a:gd name="connsiteX2510" fmla="*/ 1955251 w 3503192"/>
              <a:gd name="connsiteY2510" fmla="*/ 5401758 h 5818346"/>
              <a:gd name="connsiteX2511" fmla="*/ 1965987 w 3503192"/>
              <a:gd name="connsiteY2511" fmla="*/ 5391022 h 5818346"/>
              <a:gd name="connsiteX2512" fmla="*/ 1701366 w 3503192"/>
              <a:gd name="connsiteY2512" fmla="*/ 5390857 h 5818346"/>
              <a:gd name="connsiteX2513" fmla="*/ 1712104 w 3503192"/>
              <a:gd name="connsiteY2513" fmla="*/ 5401593 h 5818346"/>
              <a:gd name="connsiteX2514" fmla="*/ 1701366 w 3503192"/>
              <a:gd name="connsiteY2514" fmla="*/ 5412330 h 5818346"/>
              <a:gd name="connsiteX2515" fmla="*/ 1690629 w 3503192"/>
              <a:gd name="connsiteY2515" fmla="*/ 5401593 h 5818346"/>
              <a:gd name="connsiteX2516" fmla="*/ 1701366 w 3503192"/>
              <a:gd name="connsiteY2516" fmla="*/ 5390857 h 5818346"/>
              <a:gd name="connsiteX2517" fmla="*/ 2429816 w 3503192"/>
              <a:gd name="connsiteY2517" fmla="*/ 5390363 h 5818346"/>
              <a:gd name="connsiteX2518" fmla="*/ 2440554 w 3503192"/>
              <a:gd name="connsiteY2518" fmla="*/ 5401099 h 5818346"/>
              <a:gd name="connsiteX2519" fmla="*/ 2429816 w 3503192"/>
              <a:gd name="connsiteY2519" fmla="*/ 5411836 h 5818346"/>
              <a:gd name="connsiteX2520" fmla="*/ 2419080 w 3503192"/>
              <a:gd name="connsiteY2520" fmla="*/ 5401099 h 5818346"/>
              <a:gd name="connsiteX2521" fmla="*/ 2429816 w 3503192"/>
              <a:gd name="connsiteY2521" fmla="*/ 5390363 h 5818346"/>
              <a:gd name="connsiteX2522" fmla="*/ 2119275 w 3503192"/>
              <a:gd name="connsiteY2522" fmla="*/ 5387224 h 5818346"/>
              <a:gd name="connsiteX2523" fmla="*/ 2130012 w 3503192"/>
              <a:gd name="connsiteY2523" fmla="*/ 5397960 h 5818346"/>
              <a:gd name="connsiteX2524" fmla="*/ 2119275 w 3503192"/>
              <a:gd name="connsiteY2524" fmla="*/ 5408697 h 5818346"/>
              <a:gd name="connsiteX2525" fmla="*/ 2108539 w 3503192"/>
              <a:gd name="connsiteY2525" fmla="*/ 5397960 h 5818346"/>
              <a:gd name="connsiteX2526" fmla="*/ 2119275 w 3503192"/>
              <a:gd name="connsiteY2526" fmla="*/ 5387224 h 5818346"/>
              <a:gd name="connsiteX2527" fmla="*/ 1831033 w 3503192"/>
              <a:gd name="connsiteY2527" fmla="*/ 5385407 h 5818346"/>
              <a:gd name="connsiteX2528" fmla="*/ 1841771 w 3503192"/>
              <a:gd name="connsiteY2528" fmla="*/ 5396143 h 5818346"/>
              <a:gd name="connsiteX2529" fmla="*/ 1831033 w 3503192"/>
              <a:gd name="connsiteY2529" fmla="*/ 5406881 h 5818346"/>
              <a:gd name="connsiteX2530" fmla="*/ 1820296 w 3503192"/>
              <a:gd name="connsiteY2530" fmla="*/ 5396143 h 5818346"/>
              <a:gd name="connsiteX2531" fmla="*/ 1831033 w 3503192"/>
              <a:gd name="connsiteY2531" fmla="*/ 5385407 h 5818346"/>
              <a:gd name="connsiteX2532" fmla="*/ 3422886 w 3503192"/>
              <a:gd name="connsiteY2532" fmla="*/ 5380946 h 5818346"/>
              <a:gd name="connsiteX2533" fmla="*/ 3433622 w 3503192"/>
              <a:gd name="connsiteY2533" fmla="*/ 5391683 h 5818346"/>
              <a:gd name="connsiteX2534" fmla="*/ 3422886 w 3503192"/>
              <a:gd name="connsiteY2534" fmla="*/ 5402419 h 5818346"/>
              <a:gd name="connsiteX2535" fmla="*/ 3412150 w 3503192"/>
              <a:gd name="connsiteY2535" fmla="*/ 5391683 h 5818346"/>
              <a:gd name="connsiteX2536" fmla="*/ 3422886 w 3503192"/>
              <a:gd name="connsiteY2536" fmla="*/ 5380946 h 5818346"/>
              <a:gd name="connsiteX2537" fmla="*/ 1712929 w 3503192"/>
              <a:gd name="connsiteY2537" fmla="*/ 5372357 h 5818346"/>
              <a:gd name="connsiteX2538" fmla="*/ 1723666 w 3503192"/>
              <a:gd name="connsiteY2538" fmla="*/ 5383093 h 5818346"/>
              <a:gd name="connsiteX2539" fmla="*/ 1712929 w 3503192"/>
              <a:gd name="connsiteY2539" fmla="*/ 5393829 h 5818346"/>
              <a:gd name="connsiteX2540" fmla="*/ 1702193 w 3503192"/>
              <a:gd name="connsiteY2540" fmla="*/ 5383093 h 5818346"/>
              <a:gd name="connsiteX2541" fmla="*/ 1712929 w 3503192"/>
              <a:gd name="connsiteY2541" fmla="*/ 5372357 h 5818346"/>
              <a:gd name="connsiteX2542" fmla="*/ 2292054 w 3503192"/>
              <a:gd name="connsiteY2542" fmla="*/ 5371696 h 5818346"/>
              <a:gd name="connsiteX2543" fmla="*/ 2302792 w 3503192"/>
              <a:gd name="connsiteY2543" fmla="*/ 5382432 h 5818346"/>
              <a:gd name="connsiteX2544" fmla="*/ 2292054 w 3503192"/>
              <a:gd name="connsiteY2544" fmla="*/ 5393169 h 5818346"/>
              <a:gd name="connsiteX2545" fmla="*/ 2281318 w 3503192"/>
              <a:gd name="connsiteY2545" fmla="*/ 5382432 h 5818346"/>
              <a:gd name="connsiteX2546" fmla="*/ 2292054 w 3503192"/>
              <a:gd name="connsiteY2546" fmla="*/ 5371696 h 5818346"/>
              <a:gd name="connsiteX2547" fmla="*/ 1603910 w 3503192"/>
              <a:gd name="connsiteY2547" fmla="*/ 5369220 h 5818346"/>
              <a:gd name="connsiteX2548" fmla="*/ 1614648 w 3503192"/>
              <a:gd name="connsiteY2548" fmla="*/ 5379956 h 5818346"/>
              <a:gd name="connsiteX2549" fmla="*/ 1605975 w 3503192"/>
              <a:gd name="connsiteY2549" fmla="*/ 5388629 h 5818346"/>
              <a:gd name="connsiteX2550" fmla="*/ 1610023 w 3503192"/>
              <a:gd name="connsiteY2550" fmla="*/ 5392674 h 5818346"/>
              <a:gd name="connsiteX2551" fmla="*/ 1602919 w 3503192"/>
              <a:gd name="connsiteY2551" fmla="*/ 5399778 h 5818346"/>
              <a:gd name="connsiteX2552" fmla="*/ 1606388 w 3503192"/>
              <a:gd name="connsiteY2552" fmla="*/ 5403246 h 5818346"/>
              <a:gd name="connsiteX2553" fmla="*/ 1600606 w 3503192"/>
              <a:gd name="connsiteY2553" fmla="*/ 5409028 h 5818346"/>
              <a:gd name="connsiteX2554" fmla="*/ 1603414 w 3503192"/>
              <a:gd name="connsiteY2554" fmla="*/ 5411836 h 5818346"/>
              <a:gd name="connsiteX2555" fmla="*/ 1598624 w 3503192"/>
              <a:gd name="connsiteY2555" fmla="*/ 5416625 h 5818346"/>
              <a:gd name="connsiteX2556" fmla="*/ 1601267 w 3503192"/>
              <a:gd name="connsiteY2556" fmla="*/ 5419268 h 5818346"/>
              <a:gd name="connsiteX2557" fmla="*/ 1597384 w 3503192"/>
              <a:gd name="connsiteY2557" fmla="*/ 5423151 h 5818346"/>
              <a:gd name="connsiteX2558" fmla="*/ 1599614 w 3503192"/>
              <a:gd name="connsiteY2558" fmla="*/ 5425380 h 5818346"/>
              <a:gd name="connsiteX2559" fmla="*/ 1596229 w 3503192"/>
              <a:gd name="connsiteY2559" fmla="*/ 5428765 h 5818346"/>
              <a:gd name="connsiteX2560" fmla="*/ 1598130 w 3503192"/>
              <a:gd name="connsiteY2560" fmla="*/ 5430665 h 5818346"/>
              <a:gd name="connsiteX2561" fmla="*/ 1594991 w 3503192"/>
              <a:gd name="connsiteY2561" fmla="*/ 5433806 h 5818346"/>
              <a:gd name="connsiteX2562" fmla="*/ 1596806 w 3503192"/>
              <a:gd name="connsiteY2562" fmla="*/ 5435622 h 5818346"/>
              <a:gd name="connsiteX2563" fmla="*/ 1593751 w 3503192"/>
              <a:gd name="connsiteY2563" fmla="*/ 5438677 h 5818346"/>
              <a:gd name="connsiteX2564" fmla="*/ 1595485 w 3503192"/>
              <a:gd name="connsiteY2564" fmla="*/ 5440411 h 5818346"/>
              <a:gd name="connsiteX2565" fmla="*/ 1592429 w 3503192"/>
              <a:gd name="connsiteY2565" fmla="*/ 5443467 h 5818346"/>
              <a:gd name="connsiteX2566" fmla="*/ 1594165 w 3503192"/>
              <a:gd name="connsiteY2566" fmla="*/ 5445201 h 5818346"/>
              <a:gd name="connsiteX2567" fmla="*/ 1590695 w 3503192"/>
              <a:gd name="connsiteY2567" fmla="*/ 5448671 h 5818346"/>
              <a:gd name="connsiteX2568" fmla="*/ 1592512 w 3503192"/>
              <a:gd name="connsiteY2568" fmla="*/ 5450487 h 5818346"/>
              <a:gd name="connsiteX2569" fmla="*/ 1588630 w 3503192"/>
              <a:gd name="connsiteY2569" fmla="*/ 5454370 h 5818346"/>
              <a:gd name="connsiteX2570" fmla="*/ 1590530 w 3503192"/>
              <a:gd name="connsiteY2570" fmla="*/ 5456269 h 5818346"/>
              <a:gd name="connsiteX2571" fmla="*/ 1586153 w 3503192"/>
              <a:gd name="connsiteY2571" fmla="*/ 5460646 h 5818346"/>
              <a:gd name="connsiteX2572" fmla="*/ 1588219 w 3503192"/>
              <a:gd name="connsiteY2572" fmla="*/ 5462711 h 5818346"/>
              <a:gd name="connsiteX2573" fmla="*/ 1582933 w 3503192"/>
              <a:gd name="connsiteY2573" fmla="*/ 5467997 h 5818346"/>
              <a:gd name="connsiteX2574" fmla="*/ 1585244 w 3503192"/>
              <a:gd name="connsiteY2574" fmla="*/ 5470309 h 5818346"/>
              <a:gd name="connsiteX2575" fmla="*/ 1579132 w 3503192"/>
              <a:gd name="connsiteY2575" fmla="*/ 5476420 h 5818346"/>
              <a:gd name="connsiteX2576" fmla="*/ 1581445 w 3503192"/>
              <a:gd name="connsiteY2576" fmla="*/ 5478734 h 5818346"/>
              <a:gd name="connsiteX2577" fmla="*/ 1570873 w 3503192"/>
              <a:gd name="connsiteY2577" fmla="*/ 5489305 h 5818346"/>
              <a:gd name="connsiteX2578" fmla="*/ 1560302 w 3503192"/>
              <a:gd name="connsiteY2578" fmla="*/ 5478734 h 5818346"/>
              <a:gd name="connsiteX2579" fmla="*/ 1566248 w 3503192"/>
              <a:gd name="connsiteY2579" fmla="*/ 5472787 h 5818346"/>
              <a:gd name="connsiteX2580" fmla="*/ 1563770 w 3503192"/>
              <a:gd name="connsiteY2580" fmla="*/ 5470309 h 5818346"/>
              <a:gd name="connsiteX2581" fmla="*/ 1569056 w 3503192"/>
              <a:gd name="connsiteY2581" fmla="*/ 5465023 h 5818346"/>
              <a:gd name="connsiteX2582" fmla="*/ 1566744 w 3503192"/>
              <a:gd name="connsiteY2582" fmla="*/ 5462711 h 5818346"/>
              <a:gd name="connsiteX2583" fmla="*/ 1571121 w 3503192"/>
              <a:gd name="connsiteY2583" fmla="*/ 5458334 h 5818346"/>
              <a:gd name="connsiteX2584" fmla="*/ 1569056 w 3503192"/>
              <a:gd name="connsiteY2584" fmla="*/ 5456269 h 5818346"/>
              <a:gd name="connsiteX2585" fmla="*/ 1572939 w 3503192"/>
              <a:gd name="connsiteY2585" fmla="*/ 5452388 h 5818346"/>
              <a:gd name="connsiteX2586" fmla="*/ 1571038 w 3503192"/>
              <a:gd name="connsiteY2586" fmla="*/ 5450487 h 5818346"/>
              <a:gd name="connsiteX2587" fmla="*/ 1574506 w 3503192"/>
              <a:gd name="connsiteY2587" fmla="*/ 5447019 h 5818346"/>
              <a:gd name="connsiteX2588" fmla="*/ 1572691 w 3503192"/>
              <a:gd name="connsiteY2588" fmla="*/ 5445201 h 5818346"/>
              <a:gd name="connsiteX2589" fmla="*/ 1575746 w 3503192"/>
              <a:gd name="connsiteY2589" fmla="*/ 5442146 h 5818346"/>
              <a:gd name="connsiteX2590" fmla="*/ 1574012 w 3503192"/>
              <a:gd name="connsiteY2590" fmla="*/ 5440411 h 5818346"/>
              <a:gd name="connsiteX2591" fmla="*/ 1577068 w 3503192"/>
              <a:gd name="connsiteY2591" fmla="*/ 5437356 h 5818346"/>
              <a:gd name="connsiteX2592" fmla="*/ 1575334 w 3503192"/>
              <a:gd name="connsiteY2592" fmla="*/ 5435622 h 5818346"/>
              <a:gd name="connsiteX2593" fmla="*/ 1578472 w 3503192"/>
              <a:gd name="connsiteY2593" fmla="*/ 5432483 h 5818346"/>
              <a:gd name="connsiteX2594" fmla="*/ 1576655 w 3503192"/>
              <a:gd name="connsiteY2594" fmla="*/ 5430665 h 5818346"/>
              <a:gd name="connsiteX2595" fmla="*/ 1580042 w 3503192"/>
              <a:gd name="connsiteY2595" fmla="*/ 5427280 h 5818346"/>
              <a:gd name="connsiteX2596" fmla="*/ 1578141 w 3503192"/>
              <a:gd name="connsiteY2596" fmla="*/ 5425380 h 5818346"/>
              <a:gd name="connsiteX2597" fmla="*/ 1582022 w 3503192"/>
              <a:gd name="connsiteY2597" fmla="*/ 5421498 h 5818346"/>
              <a:gd name="connsiteX2598" fmla="*/ 1579792 w 3503192"/>
              <a:gd name="connsiteY2598" fmla="*/ 5419268 h 5818346"/>
              <a:gd name="connsiteX2599" fmla="*/ 1584584 w 3503192"/>
              <a:gd name="connsiteY2599" fmla="*/ 5414478 h 5818346"/>
              <a:gd name="connsiteX2600" fmla="*/ 1581941 w 3503192"/>
              <a:gd name="connsiteY2600" fmla="*/ 5411836 h 5818346"/>
              <a:gd name="connsiteX2601" fmla="*/ 1587723 w 3503192"/>
              <a:gd name="connsiteY2601" fmla="*/ 5406055 h 5818346"/>
              <a:gd name="connsiteX2602" fmla="*/ 1584913 w 3503192"/>
              <a:gd name="connsiteY2602" fmla="*/ 5403246 h 5818346"/>
              <a:gd name="connsiteX2603" fmla="*/ 1592016 w 3503192"/>
              <a:gd name="connsiteY2603" fmla="*/ 5396143 h 5818346"/>
              <a:gd name="connsiteX2604" fmla="*/ 1588548 w 3503192"/>
              <a:gd name="connsiteY2604" fmla="*/ 5392674 h 5818346"/>
              <a:gd name="connsiteX2605" fmla="*/ 1597221 w 3503192"/>
              <a:gd name="connsiteY2605" fmla="*/ 5384004 h 5818346"/>
              <a:gd name="connsiteX2606" fmla="*/ 1593173 w 3503192"/>
              <a:gd name="connsiteY2606" fmla="*/ 5379956 h 5818346"/>
              <a:gd name="connsiteX2607" fmla="*/ 1603910 w 3503192"/>
              <a:gd name="connsiteY2607" fmla="*/ 5369220 h 5818346"/>
              <a:gd name="connsiteX2608" fmla="*/ 1357626 w 3503192"/>
              <a:gd name="connsiteY2608" fmla="*/ 5366906 h 5818346"/>
              <a:gd name="connsiteX2609" fmla="*/ 1358120 w 3503192"/>
              <a:gd name="connsiteY2609" fmla="*/ 5367402 h 5818346"/>
              <a:gd name="connsiteX2610" fmla="*/ 1357626 w 3503192"/>
              <a:gd name="connsiteY2610" fmla="*/ 5367896 h 5818346"/>
              <a:gd name="connsiteX2611" fmla="*/ 1357130 w 3503192"/>
              <a:gd name="connsiteY2611" fmla="*/ 5367402 h 5818346"/>
              <a:gd name="connsiteX2612" fmla="*/ 1357626 w 3503192"/>
              <a:gd name="connsiteY2612" fmla="*/ 5366906 h 5818346"/>
              <a:gd name="connsiteX2613" fmla="*/ 2929160 w 3503192"/>
              <a:gd name="connsiteY2613" fmla="*/ 5361785 h 5818346"/>
              <a:gd name="connsiteX2614" fmla="*/ 2939896 w 3503192"/>
              <a:gd name="connsiteY2614" fmla="*/ 5372521 h 5818346"/>
              <a:gd name="connsiteX2615" fmla="*/ 2929160 w 3503192"/>
              <a:gd name="connsiteY2615" fmla="*/ 5383258 h 5818346"/>
              <a:gd name="connsiteX2616" fmla="*/ 2918423 w 3503192"/>
              <a:gd name="connsiteY2616" fmla="*/ 5372521 h 5818346"/>
              <a:gd name="connsiteX2617" fmla="*/ 2929160 w 3503192"/>
              <a:gd name="connsiteY2617" fmla="*/ 5361785 h 5818346"/>
              <a:gd name="connsiteX2618" fmla="*/ 2780165 w 3503192"/>
              <a:gd name="connsiteY2618" fmla="*/ 5360628 h 5818346"/>
              <a:gd name="connsiteX2619" fmla="*/ 2790903 w 3503192"/>
              <a:gd name="connsiteY2619" fmla="*/ 5371365 h 5818346"/>
              <a:gd name="connsiteX2620" fmla="*/ 2780165 w 3503192"/>
              <a:gd name="connsiteY2620" fmla="*/ 5382103 h 5818346"/>
              <a:gd name="connsiteX2621" fmla="*/ 2769429 w 3503192"/>
              <a:gd name="connsiteY2621" fmla="*/ 5371365 h 5818346"/>
              <a:gd name="connsiteX2622" fmla="*/ 2780165 w 3503192"/>
              <a:gd name="connsiteY2622" fmla="*/ 5360628 h 5818346"/>
              <a:gd name="connsiteX2623" fmla="*/ 1995059 w 3503192"/>
              <a:gd name="connsiteY2623" fmla="*/ 5358977 h 5818346"/>
              <a:gd name="connsiteX2624" fmla="*/ 2005797 w 3503192"/>
              <a:gd name="connsiteY2624" fmla="*/ 5369714 h 5818346"/>
              <a:gd name="connsiteX2625" fmla="*/ 1995059 w 3503192"/>
              <a:gd name="connsiteY2625" fmla="*/ 5380450 h 5818346"/>
              <a:gd name="connsiteX2626" fmla="*/ 1984323 w 3503192"/>
              <a:gd name="connsiteY2626" fmla="*/ 5369714 h 5818346"/>
              <a:gd name="connsiteX2627" fmla="*/ 1995059 w 3503192"/>
              <a:gd name="connsiteY2627" fmla="*/ 5358977 h 5818346"/>
              <a:gd name="connsiteX2628" fmla="*/ 1851846 w 3503192"/>
              <a:gd name="connsiteY2628" fmla="*/ 5358813 h 5818346"/>
              <a:gd name="connsiteX2629" fmla="*/ 1862584 w 3503192"/>
              <a:gd name="connsiteY2629" fmla="*/ 5369549 h 5818346"/>
              <a:gd name="connsiteX2630" fmla="*/ 1851846 w 3503192"/>
              <a:gd name="connsiteY2630" fmla="*/ 5380285 h 5818346"/>
              <a:gd name="connsiteX2631" fmla="*/ 1841110 w 3503192"/>
              <a:gd name="connsiteY2631" fmla="*/ 5369549 h 5818346"/>
              <a:gd name="connsiteX2632" fmla="*/ 1851846 w 3503192"/>
              <a:gd name="connsiteY2632" fmla="*/ 5358813 h 5818346"/>
              <a:gd name="connsiteX2633" fmla="*/ 3077988 w 3503192"/>
              <a:gd name="connsiteY2633" fmla="*/ 5357656 h 5818346"/>
              <a:gd name="connsiteX2634" fmla="*/ 3088726 w 3503192"/>
              <a:gd name="connsiteY2634" fmla="*/ 5368392 h 5818346"/>
              <a:gd name="connsiteX2635" fmla="*/ 3077988 w 3503192"/>
              <a:gd name="connsiteY2635" fmla="*/ 5379130 h 5818346"/>
              <a:gd name="connsiteX2636" fmla="*/ 3067251 w 3503192"/>
              <a:gd name="connsiteY2636" fmla="*/ 5368392 h 5818346"/>
              <a:gd name="connsiteX2637" fmla="*/ 3077988 w 3503192"/>
              <a:gd name="connsiteY2637" fmla="*/ 5357656 h 5818346"/>
              <a:gd name="connsiteX2638" fmla="*/ 2631998 w 3503192"/>
              <a:gd name="connsiteY2638" fmla="*/ 5353856 h 5818346"/>
              <a:gd name="connsiteX2639" fmla="*/ 2642736 w 3503192"/>
              <a:gd name="connsiteY2639" fmla="*/ 5364593 h 5818346"/>
              <a:gd name="connsiteX2640" fmla="*/ 2631998 w 3503192"/>
              <a:gd name="connsiteY2640" fmla="*/ 5375331 h 5818346"/>
              <a:gd name="connsiteX2641" fmla="*/ 2621262 w 3503192"/>
              <a:gd name="connsiteY2641" fmla="*/ 5364593 h 5818346"/>
              <a:gd name="connsiteX2642" fmla="*/ 2631998 w 3503192"/>
              <a:gd name="connsiteY2642" fmla="*/ 5353856 h 5818346"/>
              <a:gd name="connsiteX2643" fmla="*/ 1609856 w 3503192"/>
              <a:gd name="connsiteY2643" fmla="*/ 5353692 h 5818346"/>
              <a:gd name="connsiteX2644" fmla="*/ 1620594 w 3503192"/>
              <a:gd name="connsiteY2644" fmla="*/ 5364428 h 5818346"/>
              <a:gd name="connsiteX2645" fmla="*/ 1609856 w 3503192"/>
              <a:gd name="connsiteY2645" fmla="*/ 5375164 h 5818346"/>
              <a:gd name="connsiteX2646" fmla="*/ 1599120 w 3503192"/>
              <a:gd name="connsiteY2646" fmla="*/ 5364428 h 5818346"/>
              <a:gd name="connsiteX2647" fmla="*/ 1609856 w 3503192"/>
              <a:gd name="connsiteY2647" fmla="*/ 5353692 h 5818346"/>
              <a:gd name="connsiteX2648" fmla="*/ 1726473 w 3503192"/>
              <a:gd name="connsiteY2648" fmla="*/ 5350223 h 5818346"/>
              <a:gd name="connsiteX2649" fmla="*/ 1737210 w 3503192"/>
              <a:gd name="connsiteY2649" fmla="*/ 5360960 h 5818346"/>
              <a:gd name="connsiteX2650" fmla="*/ 1726473 w 3503192"/>
              <a:gd name="connsiteY2650" fmla="*/ 5371696 h 5818346"/>
              <a:gd name="connsiteX2651" fmla="*/ 1715737 w 3503192"/>
              <a:gd name="connsiteY2651" fmla="*/ 5360960 h 5818346"/>
              <a:gd name="connsiteX2652" fmla="*/ 1726473 w 3503192"/>
              <a:gd name="connsiteY2652" fmla="*/ 5350223 h 5818346"/>
              <a:gd name="connsiteX2653" fmla="*/ 2157927 w 3503192"/>
              <a:gd name="connsiteY2653" fmla="*/ 5348406 h 5818346"/>
              <a:gd name="connsiteX2654" fmla="*/ 2168663 w 3503192"/>
              <a:gd name="connsiteY2654" fmla="*/ 5359142 h 5818346"/>
              <a:gd name="connsiteX2655" fmla="*/ 2157927 w 3503192"/>
              <a:gd name="connsiteY2655" fmla="*/ 5369879 h 5818346"/>
              <a:gd name="connsiteX2656" fmla="*/ 2147190 w 3503192"/>
              <a:gd name="connsiteY2656" fmla="*/ 5359142 h 5818346"/>
              <a:gd name="connsiteX2657" fmla="*/ 2157927 w 3503192"/>
              <a:gd name="connsiteY2657" fmla="*/ 5348406 h 5818346"/>
              <a:gd name="connsiteX2658" fmla="*/ 3225329 w 3503192"/>
              <a:gd name="connsiteY2658" fmla="*/ 5348076 h 5818346"/>
              <a:gd name="connsiteX2659" fmla="*/ 3236067 w 3503192"/>
              <a:gd name="connsiteY2659" fmla="*/ 5358813 h 5818346"/>
              <a:gd name="connsiteX2660" fmla="*/ 3225329 w 3503192"/>
              <a:gd name="connsiteY2660" fmla="*/ 5369549 h 5818346"/>
              <a:gd name="connsiteX2661" fmla="*/ 3214593 w 3503192"/>
              <a:gd name="connsiteY2661" fmla="*/ 5358813 h 5818346"/>
              <a:gd name="connsiteX2662" fmla="*/ 3225329 w 3503192"/>
              <a:gd name="connsiteY2662" fmla="*/ 5348076 h 5818346"/>
              <a:gd name="connsiteX2663" fmla="*/ 2485317 w 3503192"/>
              <a:gd name="connsiteY2663" fmla="*/ 5341963 h 5818346"/>
              <a:gd name="connsiteX2664" fmla="*/ 2496055 w 3503192"/>
              <a:gd name="connsiteY2664" fmla="*/ 5352700 h 5818346"/>
              <a:gd name="connsiteX2665" fmla="*/ 2485317 w 3503192"/>
              <a:gd name="connsiteY2665" fmla="*/ 5363436 h 5818346"/>
              <a:gd name="connsiteX2666" fmla="*/ 2474581 w 3503192"/>
              <a:gd name="connsiteY2666" fmla="*/ 5352700 h 5818346"/>
              <a:gd name="connsiteX2667" fmla="*/ 2485317 w 3503192"/>
              <a:gd name="connsiteY2667" fmla="*/ 5341963 h 5818346"/>
              <a:gd name="connsiteX2668" fmla="*/ 1617454 w 3503192"/>
              <a:gd name="connsiteY2668" fmla="*/ 5335027 h 5818346"/>
              <a:gd name="connsiteX2669" fmla="*/ 1628190 w 3503192"/>
              <a:gd name="connsiteY2669" fmla="*/ 5345763 h 5818346"/>
              <a:gd name="connsiteX2670" fmla="*/ 1617454 w 3503192"/>
              <a:gd name="connsiteY2670" fmla="*/ 5356499 h 5818346"/>
              <a:gd name="connsiteX2671" fmla="*/ 1606717 w 3503192"/>
              <a:gd name="connsiteY2671" fmla="*/ 5345763 h 5818346"/>
              <a:gd name="connsiteX2672" fmla="*/ 1617454 w 3503192"/>
              <a:gd name="connsiteY2672" fmla="*/ 5335027 h 5818346"/>
              <a:gd name="connsiteX2673" fmla="*/ 3370689 w 3503192"/>
              <a:gd name="connsiteY2673" fmla="*/ 5333374 h 5818346"/>
              <a:gd name="connsiteX2674" fmla="*/ 3381427 w 3503192"/>
              <a:gd name="connsiteY2674" fmla="*/ 5344110 h 5818346"/>
              <a:gd name="connsiteX2675" fmla="*/ 3370689 w 3503192"/>
              <a:gd name="connsiteY2675" fmla="*/ 5354848 h 5818346"/>
              <a:gd name="connsiteX2676" fmla="*/ 3359952 w 3503192"/>
              <a:gd name="connsiteY2676" fmla="*/ 5344110 h 5818346"/>
              <a:gd name="connsiteX2677" fmla="*/ 3370689 w 3503192"/>
              <a:gd name="connsiteY2677" fmla="*/ 5333374 h 5818346"/>
              <a:gd name="connsiteX2678" fmla="*/ 1875468 w 3503192"/>
              <a:gd name="connsiteY2678" fmla="*/ 5327263 h 5818346"/>
              <a:gd name="connsiteX2679" fmla="*/ 1886206 w 3503192"/>
              <a:gd name="connsiteY2679" fmla="*/ 5337999 h 5818346"/>
              <a:gd name="connsiteX2680" fmla="*/ 1875468 w 3503192"/>
              <a:gd name="connsiteY2680" fmla="*/ 5348735 h 5818346"/>
              <a:gd name="connsiteX2681" fmla="*/ 1864731 w 3503192"/>
              <a:gd name="connsiteY2681" fmla="*/ 5337999 h 5818346"/>
              <a:gd name="connsiteX2682" fmla="*/ 1875468 w 3503192"/>
              <a:gd name="connsiteY2682" fmla="*/ 5327263 h 5818346"/>
              <a:gd name="connsiteX2683" fmla="*/ 2341444 w 3503192"/>
              <a:gd name="connsiteY2683" fmla="*/ 5324785 h 5818346"/>
              <a:gd name="connsiteX2684" fmla="*/ 2352180 w 3503192"/>
              <a:gd name="connsiteY2684" fmla="*/ 5335521 h 5818346"/>
              <a:gd name="connsiteX2685" fmla="*/ 2341444 w 3503192"/>
              <a:gd name="connsiteY2685" fmla="*/ 5346257 h 5818346"/>
              <a:gd name="connsiteX2686" fmla="*/ 2330707 w 3503192"/>
              <a:gd name="connsiteY2686" fmla="*/ 5335521 h 5818346"/>
              <a:gd name="connsiteX2687" fmla="*/ 2341444 w 3503192"/>
              <a:gd name="connsiteY2687" fmla="*/ 5324785 h 5818346"/>
              <a:gd name="connsiteX2688" fmla="*/ 1742331 w 3503192"/>
              <a:gd name="connsiteY2688" fmla="*/ 5323794 h 5818346"/>
              <a:gd name="connsiteX2689" fmla="*/ 1753067 w 3503192"/>
              <a:gd name="connsiteY2689" fmla="*/ 5334531 h 5818346"/>
              <a:gd name="connsiteX2690" fmla="*/ 1742331 w 3503192"/>
              <a:gd name="connsiteY2690" fmla="*/ 5345267 h 5818346"/>
              <a:gd name="connsiteX2691" fmla="*/ 1731594 w 3503192"/>
              <a:gd name="connsiteY2691" fmla="*/ 5334531 h 5818346"/>
              <a:gd name="connsiteX2692" fmla="*/ 1742331 w 3503192"/>
              <a:gd name="connsiteY2692" fmla="*/ 5323794 h 5818346"/>
              <a:gd name="connsiteX2693" fmla="*/ 3503192 w 3503192"/>
              <a:gd name="connsiteY2693" fmla="*/ 5323434 h 5818346"/>
              <a:gd name="connsiteX2694" fmla="*/ 3503192 w 3503192"/>
              <a:gd name="connsiteY2694" fmla="*/ 5325472 h 5818346"/>
              <a:gd name="connsiteX2695" fmla="*/ 3502173 w 3503192"/>
              <a:gd name="connsiteY2695" fmla="*/ 5324453 h 5818346"/>
              <a:gd name="connsiteX2696" fmla="*/ 2027764 w 3503192"/>
              <a:gd name="connsiteY2696" fmla="*/ 5321151 h 5818346"/>
              <a:gd name="connsiteX2697" fmla="*/ 2038502 w 3503192"/>
              <a:gd name="connsiteY2697" fmla="*/ 5331888 h 5818346"/>
              <a:gd name="connsiteX2698" fmla="*/ 2027764 w 3503192"/>
              <a:gd name="connsiteY2698" fmla="*/ 5342624 h 5818346"/>
              <a:gd name="connsiteX2699" fmla="*/ 2017028 w 3503192"/>
              <a:gd name="connsiteY2699" fmla="*/ 5331888 h 5818346"/>
              <a:gd name="connsiteX2700" fmla="*/ 2027764 w 3503192"/>
              <a:gd name="connsiteY2700" fmla="*/ 5321151 h 5818346"/>
              <a:gd name="connsiteX2701" fmla="*/ 1522805 w 3503192"/>
              <a:gd name="connsiteY2701" fmla="*/ 5314874 h 5818346"/>
              <a:gd name="connsiteX2702" fmla="*/ 1533542 w 3503192"/>
              <a:gd name="connsiteY2702" fmla="*/ 5325610 h 5818346"/>
              <a:gd name="connsiteX2703" fmla="*/ 1524291 w 3503192"/>
              <a:gd name="connsiteY2703" fmla="*/ 5334862 h 5818346"/>
              <a:gd name="connsiteX2704" fmla="*/ 1531065 w 3503192"/>
              <a:gd name="connsiteY2704" fmla="*/ 5341634 h 5818346"/>
              <a:gd name="connsiteX2705" fmla="*/ 1523631 w 3503192"/>
              <a:gd name="connsiteY2705" fmla="*/ 5349067 h 5818346"/>
              <a:gd name="connsiteX2706" fmla="*/ 1529744 w 3503192"/>
              <a:gd name="connsiteY2706" fmla="*/ 5355178 h 5818346"/>
              <a:gd name="connsiteX2707" fmla="*/ 1523797 w 3503192"/>
              <a:gd name="connsiteY2707" fmla="*/ 5361124 h 5818346"/>
              <a:gd name="connsiteX2708" fmla="*/ 1529083 w 3503192"/>
              <a:gd name="connsiteY2708" fmla="*/ 5366410 h 5818346"/>
              <a:gd name="connsiteX2709" fmla="*/ 1524375 w 3503192"/>
              <a:gd name="connsiteY2709" fmla="*/ 5371119 h 5818346"/>
              <a:gd name="connsiteX2710" fmla="*/ 1529083 w 3503192"/>
              <a:gd name="connsiteY2710" fmla="*/ 5375825 h 5818346"/>
              <a:gd name="connsiteX2711" fmla="*/ 1525200 w 3503192"/>
              <a:gd name="connsiteY2711" fmla="*/ 5379708 h 5818346"/>
              <a:gd name="connsiteX2712" fmla="*/ 1529412 w 3503192"/>
              <a:gd name="connsiteY2712" fmla="*/ 5383919 h 5818346"/>
              <a:gd name="connsiteX2713" fmla="*/ 1526274 w 3503192"/>
              <a:gd name="connsiteY2713" fmla="*/ 5387057 h 5818346"/>
              <a:gd name="connsiteX2714" fmla="*/ 1530240 w 3503192"/>
              <a:gd name="connsiteY2714" fmla="*/ 5391022 h 5818346"/>
              <a:gd name="connsiteX2715" fmla="*/ 1527349 w 3503192"/>
              <a:gd name="connsiteY2715" fmla="*/ 5393913 h 5818346"/>
              <a:gd name="connsiteX2716" fmla="*/ 1530900 w 3503192"/>
              <a:gd name="connsiteY2716" fmla="*/ 5397464 h 5818346"/>
              <a:gd name="connsiteX2717" fmla="*/ 1528339 w 3503192"/>
              <a:gd name="connsiteY2717" fmla="*/ 5400026 h 5818346"/>
              <a:gd name="connsiteX2718" fmla="*/ 1531726 w 3503192"/>
              <a:gd name="connsiteY2718" fmla="*/ 5403411 h 5818346"/>
              <a:gd name="connsiteX2719" fmla="*/ 1529083 w 3503192"/>
              <a:gd name="connsiteY2719" fmla="*/ 5406054 h 5818346"/>
              <a:gd name="connsiteX2720" fmla="*/ 1532222 w 3503192"/>
              <a:gd name="connsiteY2720" fmla="*/ 5409193 h 5818346"/>
              <a:gd name="connsiteX2721" fmla="*/ 1529412 w 3503192"/>
              <a:gd name="connsiteY2721" fmla="*/ 5412002 h 5818346"/>
              <a:gd name="connsiteX2722" fmla="*/ 1532551 w 3503192"/>
              <a:gd name="connsiteY2722" fmla="*/ 5415139 h 5818346"/>
              <a:gd name="connsiteX2723" fmla="*/ 1529331 w 3503192"/>
              <a:gd name="connsiteY2723" fmla="*/ 5418361 h 5818346"/>
              <a:gd name="connsiteX2724" fmla="*/ 1532385 w 3503192"/>
              <a:gd name="connsiteY2724" fmla="*/ 5421415 h 5818346"/>
              <a:gd name="connsiteX2725" fmla="*/ 1528668 w 3503192"/>
              <a:gd name="connsiteY2725" fmla="*/ 5425132 h 5818346"/>
              <a:gd name="connsiteX2726" fmla="*/ 1531890 w 3503192"/>
              <a:gd name="connsiteY2726" fmla="*/ 5428354 h 5818346"/>
              <a:gd name="connsiteX2727" fmla="*/ 1527349 w 3503192"/>
              <a:gd name="connsiteY2727" fmla="*/ 5432895 h 5818346"/>
              <a:gd name="connsiteX2728" fmla="*/ 1530571 w 3503192"/>
              <a:gd name="connsiteY2728" fmla="*/ 5436118 h 5818346"/>
              <a:gd name="connsiteX2729" fmla="*/ 1525368 w 3503192"/>
              <a:gd name="connsiteY2729" fmla="*/ 5441320 h 5818346"/>
              <a:gd name="connsiteX2730" fmla="*/ 1528753 w 3503192"/>
              <a:gd name="connsiteY2730" fmla="*/ 5444705 h 5818346"/>
              <a:gd name="connsiteX2731" fmla="*/ 1520079 w 3503192"/>
              <a:gd name="connsiteY2731" fmla="*/ 5453380 h 5818346"/>
              <a:gd name="connsiteX2732" fmla="*/ 1521152 w 3503192"/>
              <a:gd name="connsiteY2732" fmla="*/ 5454453 h 5818346"/>
              <a:gd name="connsiteX2733" fmla="*/ 1515372 w 3503192"/>
              <a:gd name="connsiteY2733" fmla="*/ 5460233 h 5818346"/>
              <a:gd name="connsiteX2734" fmla="*/ 1509591 w 3503192"/>
              <a:gd name="connsiteY2734" fmla="*/ 5454453 h 5818346"/>
              <a:gd name="connsiteX2735" fmla="*/ 1513309 w 3503192"/>
              <a:gd name="connsiteY2735" fmla="*/ 5450737 h 5818346"/>
              <a:gd name="connsiteX2736" fmla="*/ 1507279 w 3503192"/>
              <a:gd name="connsiteY2736" fmla="*/ 5444705 h 5818346"/>
              <a:gd name="connsiteX2737" fmla="*/ 1512482 w 3503192"/>
              <a:gd name="connsiteY2737" fmla="*/ 5439503 h 5818346"/>
              <a:gd name="connsiteX2738" fmla="*/ 1509096 w 3503192"/>
              <a:gd name="connsiteY2738" fmla="*/ 5436118 h 5818346"/>
              <a:gd name="connsiteX2739" fmla="*/ 1513640 w 3503192"/>
              <a:gd name="connsiteY2739" fmla="*/ 5431576 h 5818346"/>
              <a:gd name="connsiteX2740" fmla="*/ 1510418 w 3503192"/>
              <a:gd name="connsiteY2740" fmla="*/ 5428354 h 5818346"/>
              <a:gd name="connsiteX2741" fmla="*/ 1514134 w 3503192"/>
              <a:gd name="connsiteY2741" fmla="*/ 5424637 h 5818346"/>
              <a:gd name="connsiteX2742" fmla="*/ 1510912 w 3503192"/>
              <a:gd name="connsiteY2742" fmla="*/ 5421415 h 5818346"/>
              <a:gd name="connsiteX2743" fmla="*/ 1514134 w 3503192"/>
              <a:gd name="connsiteY2743" fmla="*/ 5418195 h 5818346"/>
              <a:gd name="connsiteX2744" fmla="*/ 1511079 w 3503192"/>
              <a:gd name="connsiteY2744" fmla="*/ 5415139 h 5818346"/>
              <a:gd name="connsiteX2745" fmla="*/ 1513886 w 3503192"/>
              <a:gd name="connsiteY2745" fmla="*/ 5412331 h 5818346"/>
              <a:gd name="connsiteX2746" fmla="*/ 1510747 w 3503192"/>
              <a:gd name="connsiteY2746" fmla="*/ 5409193 h 5818346"/>
              <a:gd name="connsiteX2747" fmla="*/ 1513390 w 3503192"/>
              <a:gd name="connsiteY2747" fmla="*/ 5406550 h 5818346"/>
              <a:gd name="connsiteX2748" fmla="*/ 1510251 w 3503192"/>
              <a:gd name="connsiteY2748" fmla="*/ 5403411 h 5818346"/>
              <a:gd name="connsiteX2749" fmla="*/ 1512813 w 3503192"/>
              <a:gd name="connsiteY2749" fmla="*/ 5400851 h 5818346"/>
              <a:gd name="connsiteX2750" fmla="*/ 1509426 w 3503192"/>
              <a:gd name="connsiteY2750" fmla="*/ 5397464 h 5818346"/>
              <a:gd name="connsiteX2751" fmla="*/ 1512317 w 3503192"/>
              <a:gd name="connsiteY2751" fmla="*/ 5394573 h 5818346"/>
              <a:gd name="connsiteX2752" fmla="*/ 1508765 w 3503192"/>
              <a:gd name="connsiteY2752" fmla="*/ 5391022 h 5818346"/>
              <a:gd name="connsiteX2753" fmla="*/ 1511904 w 3503192"/>
              <a:gd name="connsiteY2753" fmla="*/ 5387883 h 5818346"/>
              <a:gd name="connsiteX2754" fmla="*/ 1507940 w 3503192"/>
              <a:gd name="connsiteY2754" fmla="*/ 5383919 h 5818346"/>
              <a:gd name="connsiteX2755" fmla="*/ 1511821 w 3503192"/>
              <a:gd name="connsiteY2755" fmla="*/ 5380037 h 5818346"/>
              <a:gd name="connsiteX2756" fmla="*/ 1507608 w 3503192"/>
              <a:gd name="connsiteY2756" fmla="*/ 5375825 h 5818346"/>
              <a:gd name="connsiteX2757" fmla="*/ 1512317 w 3503192"/>
              <a:gd name="connsiteY2757" fmla="*/ 5371119 h 5818346"/>
              <a:gd name="connsiteX2758" fmla="*/ 1507608 w 3503192"/>
              <a:gd name="connsiteY2758" fmla="*/ 5366410 h 5818346"/>
              <a:gd name="connsiteX2759" fmla="*/ 1513555 w 3503192"/>
              <a:gd name="connsiteY2759" fmla="*/ 5360464 h 5818346"/>
              <a:gd name="connsiteX2760" fmla="*/ 1508269 w 3503192"/>
              <a:gd name="connsiteY2760" fmla="*/ 5355178 h 5818346"/>
              <a:gd name="connsiteX2761" fmla="*/ 1515702 w 3503192"/>
              <a:gd name="connsiteY2761" fmla="*/ 5347745 h 5818346"/>
              <a:gd name="connsiteX2762" fmla="*/ 1509591 w 3503192"/>
              <a:gd name="connsiteY2762" fmla="*/ 5341634 h 5818346"/>
              <a:gd name="connsiteX2763" fmla="*/ 1518842 w 3503192"/>
              <a:gd name="connsiteY2763" fmla="*/ 5332384 h 5818346"/>
              <a:gd name="connsiteX2764" fmla="*/ 1512069 w 3503192"/>
              <a:gd name="connsiteY2764" fmla="*/ 5325610 h 5818346"/>
              <a:gd name="connsiteX2765" fmla="*/ 1522805 w 3503192"/>
              <a:gd name="connsiteY2765" fmla="*/ 5314874 h 5818346"/>
              <a:gd name="connsiteX2766" fmla="*/ 1626539 w 3503192"/>
              <a:gd name="connsiteY2766" fmla="*/ 5312727 h 5818346"/>
              <a:gd name="connsiteX2767" fmla="*/ 1637277 w 3503192"/>
              <a:gd name="connsiteY2767" fmla="*/ 5323463 h 5818346"/>
              <a:gd name="connsiteX2768" fmla="*/ 1626539 w 3503192"/>
              <a:gd name="connsiteY2768" fmla="*/ 5334201 h 5818346"/>
              <a:gd name="connsiteX2769" fmla="*/ 1615803 w 3503192"/>
              <a:gd name="connsiteY2769" fmla="*/ 5323463 h 5818346"/>
              <a:gd name="connsiteX2770" fmla="*/ 1626539 w 3503192"/>
              <a:gd name="connsiteY2770" fmla="*/ 5312727 h 5818346"/>
              <a:gd name="connsiteX2771" fmla="*/ 2200874 w 3503192"/>
              <a:gd name="connsiteY2771" fmla="*/ 5302981 h 5818346"/>
              <a:gd name="connsiteX2772" fmla="*/ 2211612 w 3503192"/>
              <a:gd name="connsiteY2772" fmla="*/ 5313717 h 5818346"/>
              <a:gd name="connsiteX2773" fmla="*/ 2200874 w 3503192"/>
              <a:gd name="connsiteY2773" fmla="*/ 5324453 h 5818346"/>
              <a:gd name="connsiteX2774" fmla="*/ 2190138 w 3503192"/>
              <a:gd name="connsiteY2774" fmla="*/ 5313717 h 5818346"/>
              <a:gd name="connsiteX2775" fmla="*/ 2200874 w 3503192"/>
              <a:gd name="connsiteY2775" fmla="*/ 5302981 h 5818346"/>
              <a:gd name="connsiteX2776" fmla="*/ 1255874 w 3503192"/>
              <a:gd name="connsiteY2776" fmla="*/ 5300669 h 5818346"/>
              <a:gd name="connsiteX2777" fmla="*/ 1256203 w 3503192"/>
              <a:gd name="connsiteY2777" fmla="*/ 5301000 h 5818346"/>
              <a:gd name="connsiteX2778" fmla="*/ 1255874 w 3503192"/>
              <a:gd name="connsiteY2778" fmla="*/ 5301330 h 5818346"/>
              <a:gd name="connsiteX2779" fmla="*/ 1255543 w 3503192"/>
              <a:gd name="connsiteY2779" fmla="*/ 5301000 h 5818346"/>
              <a:gd name="connsiteX2780" fmla="*/ 1255874 w 3503192"/>
              <a:gd name="connsiteY2780" fmla="*/ 5300669 h 5818346"/>
              <a:gd name="connsiteX2781" fmla="*/ 2853341 w 3503192"/>
              <a:gd name="connsiteY2781" fmla="*/ 5299512 h 5818346"/>
              <a:gd name="connsiteX2782" fmla="*/ 2864079 w 3503192"/>
              <a:gd name="connsiteY2782" fmla="*/ 5310249 h 5818346"/>
              <a:gd name="connsiteX2783" fmla="*/ 2853341 w 3503192"/>
              <a:gd name="connsiteY2783" fmla="*/ 5320985 h 5818346"/>
              <a:gd name="connsiteX2784" fmla="*/ 2842605 w 3503192"/>
              <a:gd name="connsiteY2784" fmla="*/ 5310249 h 5818346"/>
              <a:gd name="connsiteX2785" fmla="*/ 2853341 w 3503192"/>
              <a:gd name="connsiteY2785" fmla="*/ 5299512 h 5818346"/>
              <a:gd name="connsiteX2786" fmla="*/ 3007951 w 3503192"/>
              <a:gd name="connsiteY2786" fmla="*/ 5298026 h 5818346"/>
              <a:gd name="connsiteX2787" fmla="*/ 3018689 w 3503192"/>
              <a:gd name="connsiteY2787" fmla="*/ 5308762 h 5818346"/>
              <a:gd name="connsiteX2788" fmla="*/ 3007951 w 3503192"/>
              <a:gd name="connsiteY2788" fmla="*/ 5319499 h 5818346"/>
              <a:gd name="connsiteX2789" fmla="*/ 2997214 w 3503192"/>
              <a:gd name="connsiteY2789" fmla="*/ 5308762 h 5818346"/>
              <a:gd name="connsiteX2790" fmla="*/ 3007951 w 3503192"/>
              <a:gd name="connsiteY2790" fmla="*/ 5298026 h 5818346"/>
              <a:gd name="connsiteX2791" fmla="*/ 1526440 w 3503192"/>
              <a:gd name="connsiteY2791" fmla="*/ 5295879 h 5818346"/>
              <a:gd name="connsiteX2792" fmla="*/ 1537176 w 3503192"/>
              <a:gd name="connsiteY2792" fmla="*/ 5306615 h 5818346"/>
              <a:gd name="connsiteX2793" fmla="*/ 1526440 w 3503192"/>
              <a:gd name="connsiteY2793" fmla="*/ 5317352 h 5818346"/>
              <a:gd name="connsiteX2794" fmla="*/ 1515704 w 3503192"/>
              <a:gd name="connsiteY2794" fmla="*/ 5306615 h 5818346"/>
              <a:gd name="connsiteX2795" fmla="*/ 1526440 w 3503192"/>
              <a:gd name="connsiteY2795" fmla="*/ 5295879 h 5818346"/>
              <a:gd name="connsiteX2796" fmla="*/ 2699061 w 3503192"/>
              <a:gd name="connsiteY2796" fmla="*/ 5295383 h 5818346"/>
              <a:gd name="connsiteX2797" fmla="*/ 2709799 w 3503192"/>
              <a:gd name="connsiteY2797" fmla="*/ 5306119 h 5818346"/>
              <a:gd name="connsiteX2798" fmla="*/ 2699061 w 3503192"/>
              <a:gd name="connsiteY2798" fmla="*/ 5316856 h 5818346"/>
              <a:gd name="connsiteX2799" fmla="*/ 2688324 w 3503192"/>
              <a:gd name="connsiteY2799" fmla="*/ 5306119 h 5818346"/>
              <a:gd name="connsiteX2800" fmla="*/ 2699061 w 3503192"/>
              <a:gd name="connsiteY2800" fmla="*/ 5295383 h 5818346"/>
              <a:gd name="connsiteX2801" fmla="*/ 1760831 w 3503192"/>
              <a:gd name="connsiteY2801" fmla="*/ 5292409 h 5818346"/>
              <a:gd name="connsiteX2802" fmla="*/ 1771569 w 3503192"/>
              <a:gd name="connsiteY2802" fmla="*/ 5303145 h 5818346"/>
              <a:gd name="connsiteX2803" fmla="*/ 1760831 w 3503192"/>
              <a:gd name="connsiteY2803" fmla="*/ 5313882 h 5818346"/>
              <a:gd name="connsiteX2804" fmla="*/ 1750095 w 3503192"/>
              <a:gd name="connsiteY2804" fmla="*/ 5303145 h 5818346"/>
              <a:gd name="connsiteX2805" fmla="*/ 1760831 w 3503192"/>
              <a:gd name="connsiteY2805" fmla="*/ 5292409 h 5818346"/>
              <a:gd name="connsiteX2806" fmla="*/ 3161568 w 3503192"/>
              <a:gd name="connsiteY2806" fmla="*/ 5290758 h 5818346"/>
              <a:gd name="connsiteX2807" fmla="*/ 3172306 w 3503192"/>
              <a:gd name="connsiteY2807" fmla="*/ 5301494 h 5818346"/>
              <a:gd name="connsiteX2808" fmla="*/ 3161568 w 3503192"/>
              <a:gd name="connsiteY2808" fmla="*/ 5312231 h 5818346"/>
              <a:gd name="connsiteX2809" fmla="*/ 3150832 w 3503192"/>
              <a:gd name="connsiteY2809" fmla="*/ 5301494 h 5818346"/>
              <a:gd name="connsiteX2810" fmla="*/ 3161568 w 3503192"/>
              <a:gd name="connsiteY2810" fmla="*/ 5290758 h 5818346"/>
              <a:gd name="connsiteX2811" fmla="*/ 1902391 w 3503192"/>
              <a:gd name="connsiteY2811" fmla="*/ 5289931 h 5818346"/>
              <a:gd name="connsiteX2812" fmla="*/ 1913129 w 3503192"/>
              <a:gd name="connsiteY2812" fmla="*/ 5300667 h 5818346"/>
              <a:gd name="connsiteX2813" fmla="*/ 1902391 w 3503192"/>
              <a:gd name="connsiteY2813" fmla="*/ 5311405 h 5818346"/>
              <a:gd name="connsiteX2814" fmla="*/ 1891654 w 3503192"/>
              <a:gd name="connsiteY2814" fmla="*/ 5300667 h 5818346"/>
              <a:gd name="connsiteX2815" fmla="*/ 1902391 w 3503192"/>
              <a:gd name="connsiteY2815" fmla="*/ 5289931 h 5818346"/>
              <a:gd name="connsiteX2816" fmla="*/ 1637771 w 3503192"/>
              <a:gd name="connsiteY2816" fmla="*/ 5286133 h 5818346"/>
              <a:gd name="connsiteX2817" fmla="*/ 1648509 w 3503192"/>
              <a:gd name="connsiteY2817" fmla="*/ 5296869 h 5818346"/>
              <a:gd name="connsiteX2818" fmla="*/ 1637771 w 3503192"/>
              <a:gd name="connsiteY2818" fmla="*/ 5307606 h 5818346"/>
              <a:gd name="connsiteX2819" fmla="*/ 1627035 w 3503192"/>
              <a:gd name="connsiteY2819" fmla="*/ 5296869 h 5818346"/>
              <a:gd name="connsiteX2820" fmla="*/ 1637771 w 3503192"/>
              <a:gd name="connsiteY2820" fmla="*/ 5286133 h 5818346"/>
              <a:gd name="connsiteX2821" fmla="*/ 2546104 w 3503192"/>
              <a:gd name="connsiteY2821" fmla="*/ 5285637 h 5818346"/>
              <a:gd name="connsiteX2822" fmla="*/ 2556840 w 3503192"/>
              <a:gd name="connsiteY2822" fmla="*/ 5296373 h 5818346"/>
              <a:gd name="connsiteX2823" fmla="*/ 2546104 w 3503192"/>
              <a:gd name="connsiteY2823" fmla="*/ 5307110 h 5818346"/>
              <a:gd name="connsiteX2824" fmla="*/ 2535368 w 3503192"/>
              <a:gd name="connsiteY2824" fmla="*/ 5296373 h 5818346"/>
              <a:gd name="connsiteX2825" fmla="*/ 2546104 w 3503192"/>
              <a:gd name="connsiteY2825" fmla="*/ 5285637 h 5818346"/>
              <a:gd name="connsiteX2826" fmla="*/ 3313370 w 3503192"/>
              <a:gd name="connsiteY2826" fmla="*/ 5278204 h 5818346"/>
              <a:gd name="connsiteX2827" fmla="*/ 3324108 w 3503192"/>
              <a:gd name="connsiteY2827" fmla="*/ 5288941 h 5818346"/>
              <a:gd name="connsiteX2828" fmla="*/ 3313370 w 3503192"/>
              <a:gd name="connsiteY2828" fmla="*/ 5299677 h 5818346"/>
              <a:gd name="connsiteX2829" fmla="*/ 3302634 w 3503192"/>
              <a:gd name="connsiteY2829" fmla="*/ 5288941 h 5818346"/>
              <a:gd name="connsiteX2830" fmla="*/ 3313370 w 3503192"/>
              <a:gd name="connsiteY2830" fmla="*/ 5278204 h 5818346"/>
              <a:gd name="connsiteX2831" fmla="*/ 2064435 w 3503192"/>
              <a:gd name="connsiteY2831" fmla="*/ 5276718 h 5818346"/>
              <a:gd name="connsiteX2832" fmla="*/ 2075171 w 3503192"/>
              <a:gd name="connsiteY2832" fmla="*/ 5287454 h 5818346"/>
              <a:gd name="connsiteX2833" fmla="*/ 2064435 w 3503192"/>
              <a:gd name="connsiteY2833" fmla="*/ 5298191 h 5818346"/>
              <a:gd name="connsiteX2834" fmla="*/ 2053699 w 3503192"/>
              <a:gd name="connsiteY2834" fmla="*/ 5287454 h 5818346"/>
              <a:gd name="connsiteX2835" fmla="*/ 2064435 w 3503192"/>
              <a:gd name="connsiteY2835" fmla="*/ 5276718 h 5818346"/>
              <a:gd name="connsiteX2836" fmla="*/ 1531559 w 3503192"/>
              <a:gd name="connsiteY2836" fmla="*/ 5273083 h 5818346"/>
              <a:gd name="connsiteX2837" fmla="*/ 1542297 w 3503192"/>
              <a:gd name="connsiteY2837" fmla="*/ 5283820 h 5818346"/>
              <a:gd name="connsiteX2838" fmla="*/ 1531559 w 3503192"/>
              <a:gd name="connsiteY2838" fmla="*/ 5294556 h 5818346"/>
              <a:gd name="connsiteX2839" fmla="*/ 1520823 w 3503192"/>
              <a:gd name="connsiteY2839" fmla="*/ 5283820 h 5818346"/>
              <a:gd name="connsiteX2840" fmla="*/ 1531559 w 3503192"/>
              <a:gd name="connsiteY2840" fmla="*/ 5273083 h 5818346"/>
              <a:gd name="connsiteX2841" fmla="*/ 2395623 w 3503192"/>
              <a:gd name="connsiteY2841" fmla="*/ 5270440 h 5818346"/>
              <a:gd name="connsiteX2842" fmla="*/ 2406360 w 3503192"/>
              <a:gd name="connsiteY2842" fmla="*/ 5281177 h 5818346"/>
              <a:gd name="connsiteX2843" fmla="*/ 2395623 w 3503192"/>
              <a:gd name="connsiteY2843" fmla="*/ 5291913 h 5818346"/>
              <a:gd name="connsiteX2844" fmla="*/ 2384887 w 3503192"/>
              <a:gd name="connsiteY2844" fmla="*/ 5281177 h 5818346"/>
              <a:gd name="connsiteX2845" fmla="*/ 2395623 w 3503192"/>
              <a:gd name="connsiteY2845" fmla="*/ 5270440 h 5818346"/>
              <a:gd name="connsiteX2846" fmla="*/ 3462365 w 3503192"/>
              <a:gd name="connsiteY2846" fmla="*/ 5260200 h 5818346"/>
              <a:gd name="connsiteX2847" fmla="*/ 3473101 w 3503192"/>
              <a:gd name="connsiteY2847" fmla="*/ 5270936 h 5818346"/>
              <a:gd name="connsiteX2848" fmla="*/ 3462365 w 3503192"/>
              <a:gd name="connsiteY2848" fmla="*/ 5281673 h 5818346"/>
              <a:gd name="connsiteX2849" fmla="*/ 3451628 w 3503192"/>
              <a:gd name="connsiteY2849" fmla="*/ 5270936 h 5818346"/>
              <a:gd name="connsiteX2850" fmla="*/ 3462365 w 3503192"/>
              <a:gd name="connsiteY2850" fmla="*/ 5260200 h 5818346"/>
              <a:gd name="connsiteX2851" fmla="*/ 1782139 w 3503192"/>
              <a:gd name="connsiteY2851" fmla="*/ 5255575 h 5818346"/>
              <a:gd name="connsiteX2852" fmla="*/ 1792877 w 3503192"/>
              <a:gd name="connsiteY2852" fmla="*/ 5266311 h 5818346"/>
              <a:gd name="connsiteX2853" fmla="*/ 1782139 w 3503192"/>
              <a:gd name="connsiteY2853" fmla="*/ 5277048 h 5818346"/>
              <a:gd name="connsiteX2854" fmla="*/ 1771403 w 3503192"/>
              <a:gd name="connsiteY2854" fmla="*/ 5266311 h 5818346"/>
              <a:gd name="connsiteX2855" fmla="*/ 1782139 w 3503192"/>
              <a:gd name="connsiteY2855" fmla="*/ 5255575 h 5818346"/>
              <a:gd name="connsiteX2856" fmla="*/ 1440050 w 3503192"/>
              <a:gd name="connsiteY2856" fmla="*/ 5255079 h 5818346"/>
              <a:gd name="connsiteX2857" fmla="*/ 1450788 w 3503192"/>
              <a:gd name="connsiteY2857" fmla="*/ 5265815 h 5818346"/>
              <a:gd name="connsiteX2858" fmla="*/ 1440875 w 3503192"/>
              <a:gd name="connsiteY2858" fmla="*/ 5275728 h 5818346"/>
              <a:gd name="connsiteX2859" fmla="*/ 1450621 w 3503192"/>
              <a:gd name="connsiteY2859" fmla="*/ 5285472 h 5818346"/>
              <a:gd name="connsiteX2860" fmla="*/ 1442693 w 3503192"/>
              <a:gd name="connsiteY2860" fmla="*/ 5293401 h 5818346"/>
              <a:gd name="connsiteX2861" fmla="*/ 1451448 w 3503192"/>
              <a:gd name="connsiteY2861" fmla="*/ 5302155 h 5818346"/>
              <a:gd name="connsiteX2862" fmla="*/ 1445171 w 3503192"/>
              <a:gd name="connsiteY2862" fmla="*/ 5308433 h 5818346"/>
              <a:gd name="connsiteX2863" fmla="*/ 1453100 w 3503192"/>
              <a:gd name="connsiteY2863" fmla="*/ 5316360 h 5818346"/>
              <a:gd name="connsiteX2864" fmla="*/ 1448225 w 3503192"/>
              <a:gd name="connsiteY2864" fmla="*/ 5321233 h 5818346"/>
              <a:gd name="connsiteX2865" fmla="*/ 1455413 w 3503192"/>
              <a:gd name="connsiteY2865" fmla="*/ 5328419 h 5818346"/>
              <a:gd name="connsiteX2866" fmla="*/ 1451448 w 3503192"/>
              <a:gd name="connsiteY2866" fmla="*/ 5332384 h 5818346"/>
              <a:gd name="connsiteX2867" fmla="*/ 1457889 w 3503192"/>
              <a:gd name="connsiteY2867" fmla="*/ 5338825 h 5818346"/>
              <a:gd name="connsiteX2868" fmla="*/ 1454750 w 3503192"/>
              <a:gd name="connsiteY2868" fmla="*/ 5341963 h 5818346"/>
              <a:gd name="connsiteX2869" fmla="*/ 1460699 w 3503192"/>
              <a:gd name="connsiteY2869" fmla="*/ 5347910 h 5818346"/>
              <a:gd name="connsiteX2870" fmla="*/ 1458137 w 3503192"/>
              <a:gd name="connsiteY2870" fmla="*/ 5350471 h 5818346"/>
              <a:gd name="connsiteX2871" fmla="*/ 1463671 w 3503192"/>
              <a:gd name="connsiteY2871" fmla="*/ 5356003 h 5818346"/>
              <a:gd name="connsiteX2872" fmla="*/ 1461358 w 3503192"/>
              <a:gd name="connsiteY2872" fmla="*/ 5358317 h 5818346"/>
              <a:gd name="connsiteX2873" fmla="*/ 1466479 w 3503192"/>
              <a:gd name="connsiteY2873" fmla="*/ 5363438 h 5818346"/>
              <a:gd name="connsiteX2874" fmla="*/ 1464249 w 3503192"/>
              <a:gd name="connsiteY2874" fmla="*/ 5365668 h 5818346"/>
              <a:gd name="connsiteX2875" fmla="*/ 1468957 w 3503192"/>
              <a:gd name="connsiteY2875" fmla="*/ 5370375 h 5818346"/>
              <a:gd name="connsiteX2876" fmla="*/ 1466644 w 3503192"/>
              <a:gd name="connsiteY2876" fmla="*/ 5372688 h 5818346"/>
              <a:gd name="connsiteX2877" fmla="*/ 1471270 w 3503192"/>
              <a:gd name="connsiteY2877" fmla="*/ 5377313 h 5818346"/>
              <a:gd name="connsiteX2878" fmla="*/ 1468544 w 3503192"/>
              <a:gd name="connsiteY2878" fmla="*/ 5380039 h 5818346"/>
              <a:gd name="connsiteX2879" fmla="*/ 1473086 w 3503192"/>
              <a:gd name="connsiteY2879" fmla="*/ 5384581 h 5818346"/>
              <a:gd name="connsiteX2880" fmla="*/ 1469947 w 3503192"/>
              <a:gd name="connsiteY2880" fmla="*/ 5387720 h 5818346"/>
              <a:gd name="connsiteX2881" fmla="*/ 1474243 w 3503192"/>
              <a:gd name="connsiteY2881" fmla="*/ 5392014 h 5818346"/>
              <a:gd name="connsiteX2882" fmla="*/ 1470443 w 3503192"/>
              <a:gd name="connsiteY2882" fmla="*/ 5395813 h 5818346"/>
              <a:gd name="connsiteX2883" fmla="*/ 1474903 w 3503192"/>
              <a:gd name="connsiteY2883" fmla="*/ 5400272 h 5818346"/>
              <a:gd name="connsiteX2884" fmla="*/ 1470360 w 3503192"/>
              <a:gd name="connsiteY2884" fmla="*/ 5404816 h 5818346"/>
              <a:gd name="connsiteX2885" fmla="*/ 1474737 w 3503192"/>
              <a:gd name="connsiteY2885" fmla="*/ 5409193 h 5818346"/>
              <a:gd name="connsiteX2886" fmla="*/ 1469451 w 3503192"/>
              <a:gd name="connsiteY2886" fmla="*/ 5414478 h 5818346"/>
              <a:gd name="connsiteX2887" fmla="*/ 1473913 w 3503192"/>
              <a:gd name="connsiteY2887" fmla="*/ 5418939 h 5818346"/>
              <a:gd name="connsiteX2888" fmla="*/ 1463175 w 3503192"/>
              <a:gd name="connsiteY2888" fmla="*/ 5429675 h 5818346"/>
              <a:gd name="connsiteX2889" fmla="*/ 1452439 w 3503192"/>
              <a:gd name="connsiteY2889" fmla="*/ 5418939 h 5818346"/>
              <a:gd name="connsiteX2890" fmla="*/ 1457725 w 3503192"/>
              <a:gd name="connsiteY2890" fmla="*/ 5413653 h 5818346"/>
              <a:gd name="connsiteX2891" fmla="*/ 1453264 w 3503192"/>
              <a:gd name="connsiteY2891" fmla="*/ 5409193 h 5818346"/>
              <a:gd name="connsiteX2892" fmla="*/ 1457806 w 3503192"/>
              <a:gd name="connsiteY2892" fmla="*/ 5404651 h 5818346"/>
              <a:gd name="connsiteX2893" fmla="*/ 1453429 w 3503192"/>
              <a:gd name="connsiteY2893" fmla="*/ 5400272 h 5818346"/>
              <a:gd name="connsiteX2894" fmla="*/ 1457227 w 3503192"/>
              <a:gd name="connsiteY2894" fmla="*/ 5396474 h 5818346"/>
              <a:gd name="connsiteX2895" fmla="*/ 1452768 w 3503192"/>
              <a:gd name="connsiteY2895" fmla="*/ 5392014 h 5818346"/>
              <a:gd name="connsiteX2896" fmla="*/ 1455907 w 3503192"/>
              <a:gd name="connsiteY2896" fmla="*/ 5388877 h 5818346"/>
              <a:gd name="connsiteX2897" fmla="*/ 1451612 w 3503192"/>
              <a:gd name="connsiteY2897" fmla="*/ 5384581 h 5818346"/>
              <a:gd name="connsiteX2898" fmla="*/ 1454338 w 3503192"/>
              <a:gd name="connsiteY2898" fmla="*/ 5381855 h 5818346"/>
              <a:gd name="connsiteX2899" fmla="*/ 1449796 w 3503192"/>
              <a:gd name="connsiteY2899" fmla="*/ 5377313 h 5818346"/>
              <a:gd name="connsiteX2900" fmla="*/ 1452108 w 3503192"/>
              <a:gd name="connsiteY2900" fmla="*/ 5375001 h 5818346"/>
              <a:gd name="connsiteX2901" fmla="*/ 1447482 w 3503192"/>
              <a:gd name="connsiteY2901" fmla="*/ 5370375 h 5818346"/>
              <a:gd name="connsiteX2902" fmla="*/ 1449713 w 3503192"/>
              <a:gd name="connsiteY2902" fmla="*/ 5368144 h 5818346"/>
              <a:gd name="connsiteX2903" fmla="*/ 1445006 w 3503192"/>
              <a:gd name="connsiteY2903" fmla="*/ 5363438 h 5818346"/>
              <a:gd name="connsiteX2904" fmla="*/ 1447318 w 3503192"/>
              <a:gd name="connsiteY2904" fmla="*/ 5361126 h 5818346"/>
              <a:gd name="connsiteX2905" fmla="*/ 1442197 w 3503192"/>
              <a:gd name="connsiteY2905" fmla="*/ 5356003 h 5818346"/>
              <a:gd name="connsiteX2906" fmla="*/ 1444758 w 3503192"/>
              <a:gd name="connsiteY2906" fmla="*/ 5353444 h 5818346"/>
              <a:gd name="connsiteX2907" fmla="*/ 1439224 w 3503192"/>
              <a:gd name="connsiteY2907" fmla="*/ 5347910 h 5818346"/>
              <a:gd name="connsiteX2908" fmla="*/ 1442361 w 3503192"/>
              <a:gd name="connsiteY2908" fmla="*/ 5344773 h 5818346"/>
              <a:gd name="connsiteX2909" fmla="*/ 1436415 w 3503192"/>
              <a:gd name="connsiteY2909" fmla="*/ 5338825 h 5818346"/>
              <a:gd name="connsiteX2910" fmla="*/ 1440379 w 3503192"/>
              <a:gd name="connsiteY2910" fmla="*/ 5334860 h 5818346"/>
              <a:gd name="connsiteX2911" fmla="*/ 1433938 w 3503192"/>
              <a:gd name="connsiteY2911" fmla="*/ 5328419 h 5818346"/>
              <a:gd name="connsiteX2912" fmla="*/ 1438812 w 3503192"/>
              <a:gd name="connsiteY2912" fmla="*/ 5323546 h 5818346"/>
              <a:gd name="connsiteX2913" fmla="*/ 1431625 w 3503192"/>
              <a:gd name="connsiteY2913" fmla="*/ 5316360 h 5818346"/>
              <a:gd name="connsiteX2914" fmla="*/ 1437901 w 3503192"/>
              <a:gd name="connsiteY2914" fmla="*/ 5310084 h 5818346"/>
              <a:gd name="connsiteX2915" fmla="*/ 1429974 w 3503192"/>
              <a:gd name="connsiteY2915" fmla="*/ 5302155 h 5818346"/>
              <a:gd name="connsiteX2916" fmla="*/ 1437903 w 3503192"/>
              <a:gd name="connsiteY2916" fmla="*/ 5294228 h 5818346"/>
              <a:gd name="connsiteX2917" fmla="*/ 1429147 w 3503192"/>
              <a:gd name="connsiteY2917" fmla="*/ 5285472 h 5818346"/>
              <a:gd name="connsiteX2918" fmla="*/ 1439060 w 3503192"/>
              <a:gd name="connsiteY2918" fmla="*/ 5275561 h 5818346"/>
              <a:gd name="connsiteX2919" fmla="*/ 1429313 w 3503192"/>
              <a:gd name="connsiteY2919" fmla="*/ 5265815 h 5818346"/>
              <a:gd name="connsiteX2920" fmla="*/ 1440050 w 3503192"/>
              <a:gd name="connsiteY2920" fmla="*/ 5255079 h 5818346"/>
              <a:gd name="connsiteX2921" fmla="*/ 1651151 w 3503192"/>
              <a:gd name="connsiteY2921" fmla="*/ 5254748 h 5818346"/>
              <a:gd name="connsiteX2922" fmla="*/ 1661889 w 3503192"/>
              <a:gd name="connsiteY2922" fmla="*/ 5265484 h 5818346"/>
              <a:gd name="connsiteX2923" fmla="*/ 1651151 w 3503192"/>
              <a:gd name="connsiteY2923" fmla="*/ 5276222 h 5818346"/>
              <a:gd name="connsiteX2924" fmla="*/ 1640414 w 3503192"/>
              <a:gd name="connsiteY2924" fmla="*/ 5265484 h 5818346"/>
              <a:gd name="connsiteX2925" fmla="*/ 1651151 w 3503192"/>
              <a:gd name="connsiteY2925" fmla="*/ 5254748 h 5818346"/>
              <a:gd name="connsiteX2926" fmla="*/ 1204171 w 3503192"/>
              <a:gd name="connsiteY2926" fmla="*/ 5254252 h 5818346"/>
              <a:gd name="connsiteX2927" fmla="*/ 1208465 w 3503192"/>
              <a:gd name="connsiteY2927" fmla="*/ 5258547 h 5818346"/>
              <a:gd name="connsiteX2928" fmla="*/ 1204171 w 3503192"/>
              <a:gd name="connsiteY2928" fmla="*/ 5262841 h 5818346"/>
              <a:gd name="connsiteX2929" fmla="*/ 1199875 w 3503192"/>
              <a:gd name="connsiteY2929" fmla="*/ 5258547 h 5818346"/>
              <a:gd name="connsiteX2930" fmla="*/ 1204171 w 3503192"/>
              <a:gd name="connsiteY2930" fmla="*/ 5254252 h 5818346"/>
              <a:gd name="connsiteX2931" fmla="*/ 1365223 w 3503192"/>
              <a:gd name="connsiteY2931" fmla="*/ 5250950 h 5818346"/>
              <a:gd name="connsiteX2932" fmla="*/ 1375961 w 3503192"/>
              <a:gd name="connsiteY2932" fmla="*/ 5261686 h 5818346"/>
              <a:gd name="connsiteX2933" fmla="*/ 1370674 w 3503192"/>
              <a:gd name="connsiteY2933" fmla="*/ 5266972 h 5818346"/>
              <a:gd name="connsiteX2934" fmla="*/ 1380420 w 3503192"/>
              <a:gd name="connsiteY2934" fmla="*/ 5276716 h 5818346"/>
              <a:gd name="connsiteX2935" fmla="*/ 1376370 w 3503192"/>
              <a:gd name="connsiteY2935" fmla="*/ 5280764 h 5818346"/>
              <a:gd name="connsiteX2936" fmla="*/ 1385210 w 3503192"/>
              <a:gd name="connsiteY2936" fmla="*/ 5289601 h 5818346"/>
              <a:gd name="connsiteX2937" fmla="*/ 1381989 w 3503192"/>
              <a:gd name="connsiteY2937" fmla="*/ 5292822 h 5818346"/>
              <a:gd name="connsiteX2938" fmla="*/ 1390166 w 3503192"/>
              <a:gd name="connsiteY2938" fmla="*/ 5300998 h 5818346"/>
              <a:gd name="connsiteX2939" fmla="*/ 1387604 w 3503192"/>
              <a:gd name="connsiteY2939" fmla="*/ 5303560 h 5818346"/>
              <a:gd name="connsiteX2940" fmla="*/ 1395120 w 3503192"/>
              <a:gd name="connsiteY2940" fmla="*/ 5311074 h 5818346"/>
              <a:gd name="connsiteX2941" fmla="*/ 1392890 w 3503192"/>
              <a:gd name="connsiteY2941" fmla="*/ 5313304 h 5818346"/>
              <a:gd name="connsiteX2942" fmla="*/ 1399912 w 3503192"/>
              <a:gd name="connsiteY2942" fmla="*/ 5320324 h 5818346"/>
              <a:gd name="connsiteX2943" fmla="*/ 1397930 w 3503192"/>
              <a:gd name="connsiteY2943" fmla="*/ 5322308 h 5818346"/>
              <a:gd name="connsiteX2944" fmla="*/ 1404535 w 3503192"/>
              <a:gd name="connsiteY2944" fmla="*/ 5328914 h 5818346"/>
              <a:gd name="connsiteX2945" fmla="*/ 1402553 w 3503192"/>
              <a:gd name="connsiteY2945" fmla="*/ 5330898 h 5818346"/>
              <a:gd name="connsiteX2946" fmla="*/ 1408664 w 3503192"/>
              <a:gd name="connsiteY2946" fmla="*/ 5337009 h 5818346"/>
              <a:gd name="connsiteX2947" fmla="*/ 1406436 w 3503192"/>
              <a:gd name="connsiteY2947" fmla="*/ 5339239 h 5818346"/>
              <a:gd name="connsiteX2948" fmla="*/ 1412466 w 3503192"/>
              <a:gd name="connsiteY2948" fmla="*/ 5345267 h 5818346"/>
              <a:gd name="connsiteX2949" fmla="*/ 1409821 w 3503192"/>
              <a:gd name="connsiteY2949" fmla="*/ 5347912 h 5818346"/>
              <a:gd name="connsiteX2950" fmla="*/ 1415603 w 3503192"/>
              <a:gd name="connsiteY2950" fmla="*/ 5353692 h 5818346"/>
              <a:gd name="connsiteX2951" fmla="*/ 1412382 w 3503192"/>
              <a:gd name="connsiteY2951" fmla="*/ 5356914 h 5818346"/>
              <a:gd name="connsiteX2952" fmla="*/ 1417915 w 3503192"/>
              <a:gd name="connsiteY2952" fmla="*/ 5362446 h 5818346"/>
              <a:gd name="connsiteX2953" fmla="*/ 1414198 w 3503192"/>
              <a:gd name="connsiteY2953" fmla="*/ 5366162 h 5818346"/>
              <a:gd name="connsiteX2954" fmla="*/ 1419732 w 3503192"/>
              <a:gd name="connsiteY2954" fmla="*/ 5371696 h 5818346"/>
              <a:gd name="connsiteX2955" fmla="*/ 1414859 w 3503192"/>
              <a:gd name="connsiteY2955" fmla="*/ 5376569 h 5818346"/>
              <a:gd name="connsiteX2956" fmla="*/ 1420393 w 3503192"/>
              <a:gd name="connsiteY2956" fmla="*/ 5382103 h 5818346"/>
              <a:gd name="connsiteX2957" fmla="*/ 1412630 w 3503192"/>
              <a:gd name="connsiteY2957" fmla="*/ 5389865 h 5818346"/>
              <a:gd name="connsiteX2958" fmla="*/ 1415934 w 3503192"/>
              <a:gd name="connsiteY2958" fmla="*/ 5393169 h 5818346"/>
              <a:gd name="connsiteX2959" fmla="*/ 1409658 w 3503192"/>
              <a:gd name="connsiteY2959" fmla="*/ 5399446 h 5818346"/>
              <a:gd name="connsiteX2960" fmla="*/ 1403380 w 3503192"/>
              <a:gd name="connsiteY2960" fmla="*/ 5393169 h 5818346"/>
              <a:gd name="connsiteX2961" fmla="*/ 1406684 w 3503192"/>
              <a:gd name="connsiteY2961" fmla="*/ 5389867 h 5818346"/>
              <a:gd name="connsiteX2962" fmla="*/ 1398920 w 3503192"/>
              <a:gd name="connsiteY2962" fmla="*/ 5382103 h 5818346"/>
              <a:gd name="connsiteX2963" fmla="*/ 1403793 w 3503192"/>
              <a:gd name="connsiteY2963" fmla="*/ 5377230 h 5818346"/>
              <a:gd name="connsiteX2964" fmla="*/ 1398259 w 3503192"/>
              <a:gd name="connsiteY2964" fmla="*/ 5371696 h 5818346"/>
              <a:gd name="connsiteX2965" fmla="*/ 1401976 w 3503192"/>
              <a:gd name="connsiteY2965" fmla="*/ 5367980 h 5818346"/>
              <a:gd name="connsiteX2966" fmla="*/ 1396442 w 3503192"/>
              <a:gd name="connsiteY2966" fmla="*/ 5362446 h 5818346"/>
              <a:gd name="connsiteX2967" fmla="*/ 1399664 w 3503192"/>
              <a:gd name="connsiteY2967" fmla="*/ 5359225 h 5818346"/>
              <a:gd name="connsiteX2968" fmla="*/ 1394130 w 3503192"/>
              <a:gd name="connsiteY2968" fmla="*/ 5353692 h 5818346"/>
              <a:gd name="connsiteX2969" fmla="*/ 1396773 w 3503192"/>
              <a:gd name="connsiteY2969" fmla="*/ 5351049 h 5818346"/>
              <a:gd name="connsiteX2970" fmla="*/ 1390991 w 3503192"/>
              <a:gd name="connsiteY2970" fmla="*/ 5345267 h 5818346"/>
              <a:gd name="connsiteX2971" fmla="*/ 1393222 w 3503192"/>
              <a:gd name="connsiteY2971" fmla="*/ 5343039 h 5818346"/>
              <a:gd name="connsiteX2972" fmla="*/ 1387192 w 3503192"/>
              <a:gd name="connsiteY2972" fmla="*/ 5337009 h 5818346"/>
              <a:gd name="connsiteX2973" fmla="*/ 1389176 w 3503192"/>
              <a:gd name="connsiteY2973" fmla="*/ 5335027 h 5818346"/>
              <a:gd name="connsiteX2974" fmla="*/ 1383063 w 3503192"/>
              <a:gd name="connsiteY2974" fmla="*/ 5328914 h 5818346"/>
              <a:gd name="connsiteX2975" fmla="*/ 1385045 w 3503192"/>
              <a:gd name="connsiteY2975" fmla="*/ 5326933 h 5818346"/>
              <a:gd name="connsiteX2976" fmla="*/ 1378438 w 3503192"/>
              <a:gd name="connsiteY2976" fmla="*/ 5320324 h 5818346"/>
              <a:gd name="connsiteX2977" fmla="*/ 1380668 w 3503192"/>
              <a:gd name="connsiteY2977" fmla="*/ 5318096 h 5818346"/>
              <a:gd name="connsiteX2978" fmla="*/ 1373648 w 3503192"/>
              <a:gd name="connsiteY2978" fmla="*/ 5311074 h 5818346"/>
              <a:gd name="connsiteX2979" fmla="*/ 1376207 w 3503192"/>
              <a:gd name="connsiteY2979" fmla="*/ 5308514 h 5818346"/>
              <a:gd name="connsiteX2980" fmla="*/ 1368691 w 3503192"/>
              <a:gd name="connsiteY2980" fmla="*/ 5300998 h 5818346"/>
              <a:gd name="connsiteX2981" fmla="*/ 1371912 w 3503192"/>
              <a:gd name="connsiteY2981" fmla="*/ 5297778 h 5818346"/>
              <a:gd name="connsiteX2982" fmla="*/ 1363735 w 3503192"/>
              <a:gd name="connsiteY2982" fmla="*/ 5289601 h 5818346"/>
              <a:gd name="connsiteX2983" fmla="*/ 1367783 w 3503192"/>
              <a:gd name="connsiteY2983" fmla="*/ 5285554 h 5818346"/>
              <a:gd name="connsiteX2984" fmla="*/ 1358945 w 3503192"/>
              <a:gd name="connsiteY2984" fmla="*/ 5276716 h 5818346"/>
              <a:gd name="connsiteX2985" fmla="*/ 1364231 w 3503192"/>
              <a:gd name="connsiteY2985" fmla="*/ 5271431 h 5818346"/>
              <a:gd name="connsiteX2986" fmla="*/ 1354487 w 3503192"/>
              <a:gd name="connsiteY2986" fmla="*/ 5261686 h 5818346"/>
              <a:gd name="connsiteX2987" fmla="*/ 1365223 w 3503192"/>
              <a:gd name="connsiteY2987" fmla="*/ 5250950 h 5818346"/>
              <a:gd name="connsiteX2988" fmla="*/ 2248446 w 3503192"/>
              <a:gd name="connsiteY2988" fmla="*/ 5250287 h 5818346"/>
              <a:gd name="connsiteX2989" fmla="*/ 2259184 w 3503192"/>
              <a:gd name="connsiteY2989" fmla="*/ 5261024 h 5818346"/>
              <a:gd name="connsiteX2990" fmla="*/ 2248446 w 3503192"/>
              <a:gd name="connsiteY2990" fmla="*/ 5271762 h 5818346"/>
              <a:gd name="connsiteX2991" fmla="*/ 2237710 w 3503192"/>
              <a:gd name="connsiteY2991" fmla="*/ 5261024 h 5818346"/>
              <a:gd name="connsiteX2992" fmla="*/ 2248446 w 3503192"/>
              <a:gd name="connsiteY2992" fmla="*/ 5250287 h 5818346"/>
              <a:gd name="connsiteX2993" fmla="*/ 1932951 w 3503192"/>
              <a:gd name="connsiteY2993" fmla="*/ 5246489 h 5818346"/>
              <a:gd name="connsiteX2994" fmla="*/ 1943687 w 3503192"/>
              <a:gd name="connsiteY2994" fmla="*/ 5257226 h 5818346"/>
              <a:gd name="connsiteX2995" fmla="*/ 1932951 w 3503192"/>
              <a:gd name="connsiteY2995" fmla="*/ 5267964 h 5818346"/>
              <a:gd name="connsiteX2996" fmla="*/ 1922214 w 3503192"/>
              <a:gd name="connsiteY2996" fmla="*/ 5257226 h 5818346"/>
              <a:gd name="connsiteX2997" fmla="*/ 1932951 w 3503192"/>
              <a:gd name="connsiteY2997" fmla="*/ 5246489 h 5818346"/>
              <a:gd name="connsiteX2998" fmla="*/ 1538333 w 3503192"/>
              <a:gd name="connsiteY2998" fmla="*/ 5246325 h 5818346"/>
              <a:gd name="connsiteX2999" fmla="*/ 1549069 w 3503192"/>
              <a:gd name="connsiteY2999" fmla="*/ 5257061 h 5818346"/>
              <a:gd name="connsiteX3000" fmla="*/ 1538333 w 3503192"/>
              <a:gd name="connsiteY3000" fmla="*/ 5267797 h 5818346"/>
              <a:gd name="connsiteX3001" fmla="*/ 1527597 w 3503192"/>
              <a:gd name="connsiteY3001" fmla="*/ 5257061 h 5818346"/>
              <a:gd name="connsiteX3002" fmla="*/ 1538333 w 3503192"/>
              <a:gd name="connsiteY3002" fmla="*/ 5246325 h 5818346"/>
              <a:gd name="connsiteX3003" fmla="*/ 1361259 w 3503192"/>
              <a:gd name="connsiteY3003" fmla="*/ 5233440 h 5818346"/>
              <a:gd name="connsiteX3004" fmla="*/ 1371995 w 3503192"/>
              <a:gd name="connsiteY3004" fmla="*/ 5244176 h 5818346"/>
              <a:gd name="connsiteX3005" fmla="*/ 1361259 w 3503192"/>
              <a:gd name="connsiteY3005" fmla="*/ 5254912 h 5818346"/>
              <a:gd name="connsiteX3006" fmla="*/ 1350522 w 3503192"/>
              <a:gd name="connsiteY3006" fmla="*/ 5244176 h 5818346"/>
              <a:gd name="connsiteX3007" fmla="*/ 1361259 w 3503192"/>
              <a:gd name="connsiteY3007" fmla="*/ 5233440 h 5818346"/>
              <a:gd name="connsiteX3008" fmla="*/ 1441205 w 3503192"/>
              <a:gd name="connsiteY3008" fmla="*/ 5231954 h 5818346"/>
              <a:gd name="connsiteX3009" fmla="*/ 1451943 w 3503192"/>
              <a:gd name="connsiteY3009" fmla="*/ 5242690 h 5818346"/>
              <a:gd name="connsiteX3010" fmla="*/ 1441205 w 3503192"/>
              <a:gd name="connsiteY3010" fmla="*/ 5253426 h 5818346"/>
              <a:gd name="connsiteX3011" fmla="*/ 1430468 w 3503192"/>
              <a:gd name="connsiteY3011" fmla="*/ 5242690 h 5818346"/>
              <a:gd name="connsiteX3012" fmla="*/ 1441205 w 3503192"/>
              <a:gd name="connsiteY3012" fmla="*/ 5231954 h 5818346"/>
              <a:gd name="connsiteX3013" fmla="*/ 2932297 w 3503192"/>
              <a:gd name="connsiteY3013" fmla="*/ 5229475 h 5818346"/>
              <a:gd name="connsiteX3014" fmla="*/ 2943035 w 3503192"/>
              <a:gd name="connsiteY3014" fmla="*/ 5240212 h 5818346"/>
              <a:gd name="connsiteX3015" fmla="*/ 2932297 w 3503192"/>
              <a:gd name="connsiteY3015" fmla="*/ 5250950 h 5818346"/>
              <a:gd name="connsiteX3016" fmla="*/ 2921560 w 3503192"/>
              <a:gd name="connsiteY3016" fmla="*/ 5240212 h 5818346"/>
              <a:gd name="connsiteX3017" fmla="*/ 2932297 w 3503192"/>
              <a:gd name="connsiteY3017" fmla="*/ 5229475 h 5818346"/>
              <a:gd name="connsiteX3018" fmla="*/ 2771907 w 3503192"/>
              <a:gd name="connsiteY3018" fmla="*/ 5227989 h 5818346"/>
              <a:gd name="connsiteX3019" fmla="*/ 2782645 w 3503192"/>
              <a:gd name="connsiteY3019" fmla="*/ 5238726 h 5818346"/>
              <a:gd name="connsiteX3020" fmla="*/ 2771907 w 3503192"/>
              <a:gd name="connsiteY3020" fmla="*/ 5249464 h 5818346"/>
              <a:gd name="connsiteX3021" fmla="*/ 2761171 w 3503192"/>
              <a:gd name="connsiteY3021" fmla="*/ 5238726 h 5818346"/>
              <a:gd name="connsiteX3022" fmla="*/ 2771907 w 3503192"/>
              <a:gd name="connsiteY3022" fmla="*/ 5227989 h 5818346"/>
              <a:gd name="connsiteX3023" fmla="*/ 1300472 w 3503192"/>
              <a:gd name="connsiteY3023" fmla="*/ 5225511 h 5818346"/>
              <a:gd name="connsiteX3024" fmla="*/ 1311208 w 3503192"/>
              <a:gd name="connsiteY3024" fmla="*/ 5236247 h 5818346"/>
              <a:gd name="connsiteX3025" fmla="*/ 1307740 w 3503192"/>
              <a:gd name="connsiteY3025" fmla="*/ 5239717 h 5818346"/>
              <a:gd name="connsiteX3026" fmla="*/ 1318310 w 3503192"/>
              <a:gd name="connsiteY3026" fmla="*/ 5250287 h 5818346"/>
              <a:gd name="connsiteX3027" fmla="*/ 1315667 w 3503192"/>
              <a:gd name="connsiteY3027" fmla="*/ 5252930 h 5818346"/>
              <a:gd name="connsiteX3028" fmla="*/ 1325413 w 3503192"/>
              <a:gd name="connsiteY3028" fmla="*/ 5262676 h 5818346"/>
              <a:gd name="connsiteX3029" fmla="*/ 1323266 w 3503192"/>
              <a:gd name="connsiteY3029" fmla="*/ 5264823 h 5818346"/>
              <a:gd name="connsiteX3030" fmla="*/ 1332353 w 3503192"/>
              <a:gd name="connsiteY3030" fmla="*/ 5273909 h 5818346"/>
              <a:gd name="connsiteX3031" fmla="*/ 1330536 w 3503192"/>
              <a:gd name="connsiteY3031" fmla="*/ 5275726 h 5818346"/>
              <a:gd name="connsiteX3032" fmla="*/ 1338959 w 3503192"/>
              <a:gd name="connsiteY3032" fmla="*/ 5284149 h 5818346"/>
              <a:gd name="connsiteX3033" fmla="*/ 1337225 w 3503192"/>
              <a:gd name="connsiteY3033" fmla="*/ 5285885 h 5818346"/>
              <a:gd name="connsiteX3034" fmla="*/ 1345236 w 3503192"/>
              <a:gd name="connsiteY3034" fmla="*/ 5293895 h 5818346"/>
              <a:gd name="connsiteX3035" fmla="*/ 1343254 w 3503192"/>
              <a:gd name="connsiteY3035" fmla="*/ 5295879 h 5818346"/>
              <a:gd name="connsiteX3036" fmla="*/ 1350852 w 3503192"/>
              <a:gd name="connsiteY3036" fmla="*/ 5303477 h 5818346"/>
              <a:gd name="connsiteX3037" fmla="*/ 1348622 w 3503192"/>
              <a:gd name="connsiteY3037" fmla="*/ 5305707 h 5818346"/>
              <a:gd name="connsiteX3038" fmla="*/ 1355808 w 3503192"/>
              <a:gd name="connsiteY3038" fmla="*/ 5312891 h 5818346"/>
              <a:gd name="connsiteX3039" fmla="*/ 1353082 w 3503192"/>
              <a:gd name="connsiteY3039" fmla="*/ 5315618 h 5818346"/>
              <a:gd name="connsiteX3040" fmla="*/ 1360102 w 3503192"/>
              <a:gd name="connsiteY3040" fmla="*/ 5322638 h 5818346"/>
              <a:gd name="connsiteX3041" fmla="*/ 1356798 w 3503192"/>
              <a:gd name="connsiteY3041" fmla="*/ 5325941 h 5818346"/>
              <a:gd name="connsiteX3042" fmla="*/ 1363572 w 3503192"/>
              <a:gd name="connsiteY3042" fmla="*/ 5332713 h 5818346"/>
              <a:gd name="connsiteX3043" fmla="*/ 1359524 w 3503192"/>
              <a:gd name="connsiteY3043" fmla="*/ 5336761 h 5818346"/>
              <a:gd name="connsiteX3044" fmla="*/ 1366213 w 3503192"/>
              <a:gd name="connsiteY3044" fmla="*/ 5343450 h 5818346"/>
              <a:gd name="connsiteX3045" fmla="*/ 1361259 w 3503192"/>
              <a:gd name="connsiteY3045" fmla="*/ 5348406 h 5818346"/>
              <a:gd name="connsiteX3046" fmla="*/ 1367701 w 3503192"/>
              <a:gd name="connsiteY3046" fmla="*/ 5354847 h 5818346"/>
              <a:gd name="connsiteX3047" fmla="*/ 1356963 w 3503192"/>
              <a:gd name="connsiteY3047" fmla="*/ 5365585 h 5818346"/>
              <a:gd name="connsiteX3048" fmla="*/ 1346227 w 3503192"/>
              <a:gd name="connsiteY3048" fmla="*/ 5354847 h 5818346"/>
              <a:gd name="connsiteX3049" fmla="*/ 1351181 w 3503192"/>
              <a:gd name="connsiteY3049" fmla="*/ 5349892 h 5818346"/>
              <a:gd name="connsiteX3050" fmla="*/ 1344740 w 3503192"/>
              <a:gd name="connsiteY3050" fmla="*/ 5343450 h 5818346"/>
              <a:gd name="connsiteX3051" fmla="*/ 1348786 w 3503192"/>
              <a:gd name="connsiteY3051" fmla="*/ 5339404 h 5818346"/>
              <a:gd name="connsiteX3052" fmla="*/ 1342098 w 3503192"/>
              <a:gd name="connsiteY3052" fmla="*/ 5332713 h 5818346"/>
              <a:gd name="connsiteX3053" fmla="*/ 1345401 w 3503192"/>
              <a:gd name="connsiteY3053" fmla="*/ 5329410 h 5818346"/>
              <a:gd name="connsiteX3054" fmla="*/ 1338629 w 3503192"/>
              <a:gd name="connsiteY3054" fmla="*/ 5322638 h 5818346"/>
              <a:gd name="connsiteX3055" fmla="*/ 1341355 w 3503192"/>
              <a:gd name="connsiteY3055" fmla="*/ 5319913 h 5818346"/>
              <a:gd name="connsiteX3056" fmla="*/ 1334334 w 3503192"/>
              <a:gd name="connsiteY3056" fmla="*/ 5312891 h 5818346"/>
              <a:gd name="connsiteX3057" fmla="*/ 1336564 w 3503192"/>
              <a:gd name="connsiteY3057" fmla="*/ 5310661 h 5818346"/>
              <a:gd name="connsiteX3058" fmla="*/ 1329379 w 3503192"/>
              <a:gd name="connsiteY3058" fmla="*/ 5303477 h 5818346"/>
              <a:gd name="connsiteX3059" fmla="*/ 1331361 w 3503192"/>
              <a:gd name="connsiteY3059" fmla="*/ 5301496 h 5818346"/>
              <a:gd name="connsiteX3060" fmla="*/ 1323762 w 3503192"/>
              <a:gd name="connsiteY3060" fmla="*/ 5293895 h 5818346"/>
              <a:gd name="connsiteX3061" fmla="*/ 1325496 w 3503192"/>
              <a:gd name="connsiteY3061" fmla="*/ 5292161 h 5818346"/>
              <a:gd name="connsiteX3062" fmla="*/ 1317486 w 3503192"/>
              <a:gd name="connsiteY3062" fmla="*/ 5284149 h 5818346"/>
              <a:gd name="connsiteX3063" fmla="*/ 1319302 w 3503192"/>
              <a:gd name="connsiteY3063" fmla="*/ 5282333 h 5818346"/>
              <a:gd name="connsiteX3064" fmla="*/ 1310879 w 3503192"/>
              <a:gd name="connsiteY3064" fmla="*/ 5273909 h 5818346"/>
              <a:gd name="connsiteX3065" fmla="*/ 1313026 w 3503192"/>
              <a:gd name="connsiteY3065" fmla="*/ 5271762 h 5818346"/>
              <a:gd name="connsiteX3066" fmla="*/ 1303940 w 3503192"/>
              <a:gd name="connsiteY3066" fmla="*/ 5262676 h 5818346"/>
              <a:gd name="connsiteX3067" fmla="*/ 1306583 w 3503192"/>
              <a:gd name="connsiteY3067" fmla="*/ 5260033 h 5818346"/>
              <a:gd name="connsiteX3068" fmla="*/ 1296837 w 3503192"/>
              <a:gd name="connsiteY3068" fmla="*/ 5250287 h 5818346"/>
              <a:gd name="connsiteX3069" fmla="*/ 1300306 w 3503192"/>
              <a:gd name="connsiteY3069" fmla="*/ 5246819 h 5818346"/>
              <a:gd name="connsiteX3070" fmla="*/ 1289736 w 3503192"/>
              <a:gd name="connsiteY3070" fmla="*/ 5236247 h 5818346"/>
              <a:gd name="connsiteX3071" fmla="*/ 1300472 w 3503192"/>
              <a:gd name="connsiteY3071" fmla="*/ 5225511 h 5818346"/>
              <a:gd name="connsiteX3072" fmla="*/ 2105400 w 3503192"/>
              <a:gd name="connsiteY3072" fmla="*/ 5225182 h 5818346"/>
              <a:gd name="connsiteX3073" fmla="*/ 2116138 w 3503192"/>
              <a:gd name="connsiteY3073" fmla="*/ 5235918 h 5818346"/>
              <a:gd name="connsiteX3074" fmla="*/ 2105400 w 3503192"/>
              <a:gd name="connsiteY3074" fmla="*/ 5246654 h 5818346"/>
              <a:gd name="connsiteX3075" fmla="*/ 2094664 w 3503192"/>
              <a:gd name="connsiteY3075" fmla="*/ 5235918 h 5818346"/>
              <a:gd name="connsiteX3076" fmla="*/ 2105400 w 3503192"/>
              <a:gd name="connsiteY3076" fmla="*/ 5225182 h 5818346"/>
              <a:gd name="connsiteX3077" fmla="*/ 3092192 w 3503192"/>
              <a:gd name="connsiteY3077" fmla="*/ 5224850 h 5818346"/>
              <a:gd name="connsiteX3078" fmla="*/ 3102930 w 3503192"/>
              <a:gd name="connsiteY3078" fmla="*/ 5235587 h 5818346"/>
              <a:gd name="connsiteX3079" fmla="*/ 3092192 w 3503192"/>
              <a:gd name="connsiteY3079" fmla="*/ 5246325 h 5818346"/>
              <a:gd name="connsiteX3080" fmla="*/ 3081456 w 3503192"/>
              <a:gd name="connsiteY3080" fmla="*/ 5235587 h 5818346"/>
              <a:gd name="connsiteX3081" fmla="*/ 3092192 w 3503192"/>
              <a:gd name="connsiteY3081" fmla="*/ 5224850 h 5818346"/>
              <a:gd name="connsiteX3082" fmla="*/ 2612506 w 3503192"/>
              <a:gd name="connsiteY3082" fmla="*/ 5220886 h 5818346"/>
              <a:gd name="connsiteX3083" fmla="*/ 2623244 w 3503192"/>
              <a:gd name="connsiteY3083" fmla="*/ 5231622 h 5818346"/>
              <a:gd name="connsiteX3084" fmla="*/ 2612506 w 3503192"/>
              <a:gd name="connsiteY3084" fmla="*/ 5242359 h 5818346"/>
              <a:gd name="connsiteX3085" fmla="*/ 2601770 w 3503192"/>
              <a:gd name="connsiteY3085" fmla="*/ 5231622 h 5818346"/>
              <a:gd name="connsiteX3086" fmla="*/ 2612506 w 3503192"/>
              <a:gd name="connsiteY3086" fmla="*/ 5220886 h 5818346"/>
              <a:gd name="connsiteX3087" fmla="*/ 1667173 w 3503192"/>
              <a:gd name="connsiteY3087" fmla="*/ 5218243 h 5818346"/>
              <a:gd name="connsiteX3088" fmla="*/ 1677911 w 3503192"/>
              <a:gd name="connsiteY3088" fmla="*/ 5228979 h 5818346"/>
              <a:gd name="connsiteX3089" fmla="*/ 1667173 w 3503192"/>
              <a:gd name="connsiteY3089" fmla="*/ 5239717 h 5818346"/>
              <a:gd name="connsiteX3090" fmla="*/ 1656436 w 3503192"/>
              <a:gd name="connsiteY3090" fmla="*/ 5228979 h 5818346"/>
              <a:gd name="connsiteX3091" fmla="*/ 1667173 w 3503192"/>
              <a:gd name="connsiteY3091" fmla="*/ 5218243 h 5818346"/>
              <a:gd name="connsiteX3092" fmla="*/ 1547087 w 3503192"/>
              <a:gd name="connsiteY3092" fmla="*/ 5214939 h 5818346"/>
              <a:gd name="connsiteX3093" fmla="*/ 1557824 w 3503192"/>
              <a:gd name="connsiteY3093" fmla="*/ 5225676 h 5818346"/>
              <a:gd name="connsiteX3094" fmla="*/ 1547087 w 3503192"/>
              <a:gd name="connsiteY3094" fmla="*/ 5236412 h 5818346"/>
              <a:gd name="connsiteX3095" fmla="*/ 1536351 w 3503192"/>
              <a:gd name="connsiteY3095" fmla="*/ 5225676 h 5818346"/>
              <a:gd name="connsiteX3096" fmla="*/ 1547087 w 3503192"/>
              <a:gd name="connsiteY3096" fmla="*/ 5214939 h 5818346"/>
              <a:gd name="connsiteX3097" fmla="*/ 3250766 w 3503192"/>
              <a:gd name="connsiteY3097" fmla="*/ 5214608 h 5818346"/>
              <a:gd name="connsiteX3098" fmla="*/ 3261504 w 3503192"/>
              <a:gd name="connsiteY3098" fmla="*/ 5225345 h 5818346"/>
              <a:gd name="connsiteX3099" fmla="*/ 3250766 w 3503192"/>
              <a:gd name="connsiteY3099" fmla="*/ 5236083 h 5818346"/>
              <a:gd name="connsiteX3100" fmla="*/ 3240030 w 3503192"/>
              <a:gd name="connsiteY3100" fmla="*/ 5225345 h 5818346"/>
              <a:gd name="connsiteX3101" fmla="*/ 3250766 w 3503192"/>
              <a:gd name="connsiteY3101" fmla="*/ 5214608 h 5818346"/>
              <a:gd name="connsiteX3102" fmla="*/ 1253229 w 3503192"/>
              <a:gd name="connsiteY3102" fmla="*/ 5213288 h 5818346"/>
              <a:gd name="connsiteX3103" fmla="*/ 1263966 w 3503192"/>
              <a:gd name="connsiteY3103" fmla="*/ 5224025 h 5818346"/>
              <a:gd name="connsiteX3104" fmla="*/ 1262067 w 3503192"/>
              <a:gd name="connsiteY3104" fmla="*/ 5225924 h 5818346"/>
              <a:gd name="connsiteX3105" fmla="*/ 1272557 w 3503192"/>
              <a:gd name="connsiteY3105" fmla="*/ 5236412 h 5818346"/>
              <a:gd name="connsiteX3106" fmla="*/ 1270821 w 3503192"/>
              <a:gd name="connsiteY3106" fmla="*/ 5238148 h 5818346"/>
              <a:gd name="connsiteX3107" fmla="*/ 1280648 w 3503192"/>
              <a:gd name="connsiteY3107" fmla="*/ 5247976 h 5818346"/>
              <a:gd name="connsiteX3108" fmla="*/ 1278998 w 3503192"/>
              <a:gd name="connsiteY3108" fmla="*/ 5249627 h 5818346"/>
              <a:gd name="connsiteX3109" fmla="*/ 1288248 w 3503192"/>
              <a:gd name="connsiteY3109" fmla="*/ 5258877 h 5818346"/>
              <a:gd name="connsiteX3110" fmla="*/ 1286349 w 3503192"/>
              <a:gd name="connsiteY3110" fmla="*/ 5260777 h 5818346"/>
              <a:gd name="connsiteX3111" fmla="*/ 1295186 w 3503192"/>
              <a:gd name="connsiteY3111" fmla="*/ 5269613 h 5818346"/>
              <a:gd name="connsiteX3112" fmla="*/ 1292791 w 3503192"/>
              <a:gd name="connsiteY3112" fmla="*/ 5272010 h 5818346"/>
              <a:gd name="connsiteX3113" fmla="*/ 1301298 w 3503192"/>
              <a:gd name="connsiteY3113" fmla="*/ 5280516 h 5818346"/>
              <a:gd name="connsiteX3114" fmla="*/ 1298490 w 3503192"/>
              <a:gd name="connsiteY3114" fmla="*/ 5283324 h 5818346"/>
              <a:gd name="connsiteX3115" fmla="*/ 1306583 w 3503192"/>
              <a:gd name="connsiteY3115" fmla="*/ 5291417 h 5818346"/>
              <a:gd name="connsiteX3116" fmla="*/ 1303032 w 3503192"/>
              <a:gd name="connsiteY3116" fmla="*/ 5294970 h 5818346"/>
              <a:gd name="connsiteX3117" fmla="*/ 1310879 w 3503192"/>
              <a:gd name="connsiteY3117" fmla="*/ 5302816 h 5818346"/>
              <a:gd name="connsiteX3118" fmla="*/ 1306418 w 3503192"/>
              <a:gd name="connsiteY3118" fmla="*/ 5307276 h 5818346"/>
              <a:gd name="connsiteX3119" fmla="*/ 1314181 w 3503192"/>
              <a:gd name="connsiteY3119" fmla="*/ 5315038 h 5818346"/>
              <a:gd name="connsiteX3120" fmla="*/ 1306500 w 3503192"/>
              <a:gd name="connsiteY3120" fmla="*/ 5322721 h 5818346"/>
              <a:gd name="connsiteX3121" fmla="*/ 1311540 w 3503192"/>
              <a:gd name="connsiteY3121" fmla="*/ 5327759 h 5818346"/>
              <a:gd name="connsiteX3122" fmla="*/ 1305758 w 3503192"/>
              <a:gd name="connsiteY3122" fmla="*/ 5333540 h 5818346"/>
              <a:gd name="connsiteX3123" fmla="*/ 1299976 w 3503192"/>
              <a:gd name="connsiteY3123" fmla="*/ 5327759 h 5818346"/>
              <a:gd name="connsiteX3124" fmla="*/ 1302702 w 3503192"/>
              <a:gd name="connsiteY3124" fmla="*/ 5325034 h 5818346"/>
              <a:gd name="connsiteX3125" fmla="*/ 1292708 w 3503192"/>
              <a:gd name="connsiteY3125" fmla="*/ 5315038 h 5818346"/>
              <a:gd name="connsiteX3126" fmla="*/ 1297167 w 3503192"/>
              <a:gd name="connsiteY3126" fmla="*/ 5310580 h 5818346"/>
              <a:gd name="connsiteX3127" fmla="*/ 1289404 w 3503192"/>
              <a:gd name="connsiteY3127" fmla="*/ 5302816 h 5818346"/>
              <a:gd name="connsiteX3128" fmla="*/ 1292956 w 3503192"/>
              <a:gd name="connsiteY3128" fmla="*/ 5299264 h 5818346"/>
              <a:gd name="connsiteX3129" fmla="*/ 1285110 w 3503192"/>
              <a:gd name="connsiteY3129" fmla="*/ 5291417 h 5818346"/>
              <a:gd name="connsiteX3130" fmla="*/ 1287918 w 3503192"/>
              <a:gd name="connsiteY3130" fmla="*/ 5288611 h 5818346"/>
              <a:gd name="connsiteX3131" fmla="*/ 1279825 w 3503192"/>
              <a:gd name="connsiteY3131" fmla="*/ 5280516 h 5818346"/>
              <a:gd name="connsiteX3132" fmla="*/ 1282220 w 3503192"/>
              <a:gd name="connsiteY3132" fmla="*/ 5278123 h 5818346"/>
              <a:gd name="connsiteX3133" fmla="*/ 1273712 w 3503192"/>
              <a:gd name="connsiteY3133" fmla="*/ 5269613 h 5818346"/>
              <a:gd name="connsiteX3134" fmla="*/ 1275611 w 3503192"/>
              <a:gd name="connsiteY3134" fmla="*/ 5267714 h 5818346"/>
              <a:gd name="connsiteX3135" fmla="*/ 1266775 w 3503192"/>
              <a:gd name="connsiteY3135" fmla="*/ 5258877 h 5818346"/>
              <a:gd name="connsiteX3136" fmla="*/ 1268426 w 3503192"/>
              <a:gd name="connsiteY3136" fmla="*/ 5257228 h 5818346"/>
              <a:gd name="connsiteX3137" fmla="*/ 1259176 w 3503192"/>
              <a:gd name="connsiteY3137" fmla="*/ 5247976 h 5818346"/>
              <a:gd name="connsiteX3138" fmla="*/ 1260912 w 3503192"/>
              <a:gd name="connsiteY3138" fmla="*/ 5246241 h 5818346"/>
              <a:gd name="connsiteX3139" fmla="*/ 1251082 w 3503192"/>
              <a:gd name="connsiteY3139" fmla="*/ 5236412 h 5818346"/>
              <a:gd name="connsiteX3140" fmla="*/ 1252981 w 3503192"/>
              <a:gd name="connsiteY3140" fmla="*/ 5234513 h 5818346"/>
              <a:gd name="connsiteX3141" fmla="*/ 1242493 w 3503192"/>
              <a:gd name="connsiteY3141" fmla="*/ 5224025 h 5818346"/>
              <a:gd name="connsiteX3142" fmla="*/ 1253229 w 3503192"/>
              <a:gd name="connsiteY3142" fmla="*/ 5213288 h 5818346"/>
              <a:gd name="connsiteX3143" fmla="*/ 1358120 w 3503192"/>
              <a:gd name="connsiteY3143" fmla="*/ 5213122 h 5818346"/>
              <a:gd name="connsiteX3144" fmla="*/ 1368858 w 3503192"/>
              <a:gd name="connsiteY3144" fmla="*/ 5223858 h 5818346"/>
              <a:gd name="connsiteX3145" fmla="*/ 1358120 w 3503192"/>
              <a:gd name="connsiteY3145" fmla="*/ 5234596 h 5818346"/>
              <a:gd name="connsiteX3146" fmla="*/ 1347384 w 3503192"/>
              <a:gd name="connsiteY3146" fmla="*/ 5223858 h 5818346"/>
              <a:gd name="connsiteX3147" fmla="*/ 1358120 w 3503192"/>
              <a:gd name="connsiteY3147" fmla="*/ 5213122 h 5818346"/>
              <a:gd name="connsiteX3148" fmla="*/ 1806588 w 3503192"/>
              <a:gd name="connsiteY3148" fmla="*/ 5212626 h 5818346"/>
              <a:gd name="connsiteX3149" fmla="*/ 1817324 w 3503192"/>
              <a:gd name="connsiteY3149" fmla="*/ 5223362 h 5818346"/>
              <a:gd name="connsiteX3150" fmla="*/ 1806588 w 3503192"/>
              <a:gd name="connsiteY3150" fmla="*/ 5234099 h 5818346"/>
              <a:gd name="connsiteX3151" fmla="*/ 1795851 w 3503192"/>
              <a:gd name="connsiteY3151" fmla="*/ 5223362 h 5818346"/>
              <a:gd name="connsiteX3152" fmla="*/ 1806588 w 3503192"/>
              <a:gd name="connsiteY3152" fmla="*/ 5212626 h 5818346"/>
              <a:gd name="connsiteX3153" fmla="*/ 1293534 w 3503192"/>
              <a:gd name="connsiteY3153" fmla="*/ 5209654 h 5818346"/>
              <a:gd name="connsiteX3154" fmla="*/ 1304270 w 3503192"/>
              <a:gd name="connsiteY3154" fmla="*/ 5220390 h 5818346"/>
              <a:gd name="connsiteX3155" fmla="*/ 1293534 w 3503192"/>
              <a:gd name="connsiteY3155" fmla="*/ 5231126 h 5818346"/>
              <a:gd name="connsiteX3156" fmla="*/ 1282797 w 3503192"/>
              <a:gd name="connsiteY3156" fmla="*/ 5220390 h 5818346"/>
              <a:gd name="connsiteX3157" fmla="*/ 1293534 w 3503192"/>
              <a:gd name="connsiteY3157" fmla="*/ 5209654 h 5818346"/>
              <a:gd name="connsiteX3158" fmla="*/ 2455088 w 3503192"/>
              <a:gd name="connsiteY3158" fmla="*/ 5207836 h 5818346"/>
              <a:gd name="connsiteX3159" fmla="*/ 2465826 w 3503192"/>
              <a:gd name="connsiteY3159" fmla="*/ 5218573 h 5818346"/>
              <a:gd name="connsiteX3160" fmla="*/ 2455088 w 3503192"/>
              <a:gd name="connsiteY3160" fmla="*/ 5229311 h 5818346"/>
              <a:gd name="connsiteX3161" fmla="*/ 2444352 w 3503192"/>
              <a:gd name="connsiteY3161" fmla="*/ 5218573 h 5818346"/>
              <a:gd name="connsiteX3162" fmla="*/ 2455088 w 3503192"/>
              <a:gd name="connsiteY3162" fmla="*/ 5207836 h 5818346"/>
              <a:gd name="connsiteX3163" fmla="*/ 1151974 w 3503192"/>
              <a:gd name="connsiteY3163" fmla="*/ 5205029 h 5818346"/>
              <a:gd name="connsiteX3164" fmla="*/ 1161555 w 3503192"/>
              <a:gd name="connsiteY3164" fmla="*/ 5214608 h 5818346"/>
              <a:gd name="connsiteX3165" fmla="*/ 1151974 w 3503192"/>
              <a:gd name="connsiteY3165" fmla="*/ 5224190 h 5818346"/>
              <a:gd name="connsiteX3166" fmla="*/ 1142394 w 3503192"/>
              <a:gd name="connsiteY3166" fmla="*/ 5214608 h 5818346"/>
              <a:gd name="connsiteX3167" fmla="*/ 1151974 w 3503192"/>
              <a:gd name="connsiteY3167" fmla="*/ 5205029 h 5818346"/>
              <a:gd name="connsiteX3168" fmla="*/ 1444014 w 3503192"/>
              <a:gd name="connsiteY3168" fmla="*/ 5204864 h 5818346"/>
              <a:gd name="connsiteX3169" fmla="*/ 1454752 w 3503192"/>
              <a:gd name="connsiteY3169" fmla="*/ 5215600 h 5818346"/>
              <a:gd name="connsiteX3170" fmla="*/ 1444014 w 3503192"/>
              <a:gd name="connsiteY3170" fmla="*/ 5226338 h 5818346"/>
              <a:gd name="connsiteX3171" fmla="*/ 1433278 w 3503192"/>
              <a:gd name="connsiteY3171" fmla="*/ 5215600 h 5818346"/>
              <a:gd name="connsiteX3172" fmla="*/ 1444014 w 3503192"/>
              <a:gd name="connsiteY3172" fmla="*/ 5204864 h 5818346"/>
              <a:gd name="connsiteX3173" fmla="*/ 1214246 w 3503192"/>
              <a:gd name="connsiteY3173" fmla="*/ 5200735 h 5818346"/>
              <a:gd name="connsiteX3174" fmla="*/ 1224984 w 3503192"/>
              <a:gd name="connsiteY3174" fmla="*/ 5211471 h 5818346"/>
              <a:gd name="connsiteX3175" fmla="*/ 1223250 w 3503192"/>
              <a:gd name="connsiteY3175" fmla="*/ 5213205 h 5818346"/>
              <a:gd name="connsiteX3176" fmla="*/ 1233904 w 3503192"/>
              <a:gd name="connsiteY3176" fmla="*/ 5223858 h 5818346"/>
              <a:gd name="connsiteX3177" fmla="*/ 1231838 w 3503192"/>
              <a:gd name="connsiteY3177" fmla="*/ 5225925 h 5818346"/>
              <a:gd name="connsiteX3178" fmla="*/ 1241832 w 3503192"/>
              <a:gd name="connsiteY3178" fmla="*/ 5235918 h 5818346"/>
              <a:gd name="connsiteX3179" fmla="*/ 1239354 w 3503192"/>
              <a:gd name="connsiteY3179" fmla="*/ 5238396 h 5818346"/>
              <a:gd name="connsiteX3180" fmla="*/ 1248935 w 3503192"/>
              <a:gd name="connsiteY3180" fmla="*/ 5247976 h 5818346"/>
              <a:gd name="connsiteX3181" fmla="*/ 1245715 w 3503192"/>
              <a:gd name="connsiteY3181" fmla="*/ 5251198 h 5818346"/>
              <a:gd name="connsiteX3182" fmla="*/ 1254882 w 3503192"/>
              <a:gd name="connsiteY3182" fmla="*/ 5260363 h 5818346"/>
              <a:gd name="connsiteX3183" fmla="*/ 1250999 w 3503192"/>
              <a:gd name="connsiteY3183" fmla="*/ 5264246 h 5818346"/>
              <a:gd name="connsiteX3184" fmla="*/ 1260001 w 3503192"/>
              <a:gd name="connsiteY3184" fmla="*/ 5273248 h 5818346"/>
              <a:gd name="connsiteX3185" fmla="*/ 1255047 w 3503192"/>
              <a:gd name="connsiteY3185" fmla="*/ 5278204 h 5818346"/>
              <a:gd name="connsiteX3186" fmla="*/ 1263470 w 3503192"/>
              <a:gd name="connsiteY3186" fmla="*/ 5286629 h 5818346"/>
              <a:gd name="connsiteX3187" fmla="*/ 1253064 w 3503192"/>
              <a:gd name="connsiteY3187" fmla="*/ 5297036 h 5818346"/>
              <a:gd name="connsiteX3188" fmla="*/ 1242658 w 3503192"/>
              <a:gd name="connsiteY3188" fmla="*/ 5286629 h 5818346"/>
              <a:gd name="connsiteX3189" fmla="*/ 1247283 w 3503192"/>
              <a:gd name="connsiteY3189" fmla="*/ 5282004 h 5818346"/>
              <a:gd name="connsiteX3190" fmla="*/ 1238528 w 3503192"/>
              <a:gd name="connsiteY3190" fmla="*/ 5273248 h 5818346"/>
              <a:gd name="connsiteX3191" fmla="*/ 1242410 w 3503192"/>
              <a:gd name="connsiteY3191" fmla="*/ 5269367 h 5818346"/>
              <a:gd name="connsiteX3192" fmla="*/ 1233408 w 3503192"/>
              <a:gd name="connsiteY3192" fmla="*/ 5260363 h 5818346"/>
              <a:gd name="connsiteX3193" fmla="*/ 1236628 w 3503192"/>
              <a:gd name="connsiteY3193" fmla="*/ 5257144 h 5818346"/>
              <a:gd name="connsiteX3194" fmla="*/ 1227461 w 3503192"/>
              <a:gd name="connsiteY3194" fmla="*/ 5247976 h 5818346"/>
              <a:gd name="connsiteX3195" fmla="*/ 1229939 w 3503192"/>
              <a:gd name="connsiteY3195" fmla="*/ 5245499 h 5818346"/>
              <a:gd name="connsiteX3196" fmla="*/ 1220358 w 3503192"/>
              <a:gd name="connsiteY3196" fmla="*/ 5235918 h 5818346"/>
              <a:gd name="connsiteX3197" fmla="*/ 1222423 w 3503192"/>
              <a:gd name="connsiteY3197" fmla="*/ 5233852 h 5818346"/>
              <a:gd name="connsiteX3198" fmla="*/ 1212431 w 3503192"/>
              <a:gd name="connsiteY3198" fmla="*/ 5223858 h 5818346"/>
              <a:gd name="connsiteX3199" fmla="*/ 1214165 w 3503192"/>
              <a:gd name="connsiteY3199" fmla="*/ 5222126 h 5818346"/>
              <a:gd name="connsiteX3200" fmla="*/ 1203510 w 3503192"/>
              <a:gd name="connsiteY3200" fmla="*/ 5211471 h 5818346"/>
              <a:gd name="connsiteX3201" fmla="*/ 1214246 w 3503192"/>
              <a:gd name="connsiteY3201" fmla="*/ 5200735 h 5818346"/>
              <a:gd name="connsiteX3202" fmla="*/ 1244310 w 3503192"/>
              <a:gd name="connsiteY3202" fmla="*/ 5199743 h 5818346"/>
              <a:gd name="connsiteX3203" fmla="*/ 1255048 w 3503192"/>
              <a:gd name="connsiteY3203" fmla="*/ 5210479 h 5818346"/>
              <a:gd name="connsiteX3204" fmla="*/ 1244310 w 3503192"/>
              <a:gd name="connsiteY3204" fmla="*/ 5221215 h 5818346"/>
              <a:gd name="connsiteX3205" fmla="*/ 1233574 w 3503192"/>
              <a:gd name="connsiteY3205" fmla="*/ 5210479 h 5818346"/>
              <a:gd name="connsiteX3206" fmla="*/ 1244310 w 3503192"/>
              <a:gd name="connsiteY3206" fmla="*/ 5199743 h 5818346"/>
              <a:gd name="connsiteX3207" fmla="*/ 3406533 w 3503192"/>
              <a:gd name="connsiteY3207" fmla="*/ 5198586 h 5818346"/>
              <a:gd name="connsiteX3208" fmla="*/ 3417271 w 3503192"/>
              <a:gd name="connsiteY3208" fmla="*/ 5209322 h 5818346"/>
              <a:gd name="connsiteX3209" fmla="*/ 3406533 w 3503192"/>
              <a:gd name="connsiteY3209" fmla="*/ 5220060 h 5818346"/>
              <a:gd name="connsiteX3210" fmla="*/ 3395796 w 3503192"/>
              <a:gd name="connsiteY3210" fmla="*/ 5209322 h 5818346"/>
              <a:gd name="connsiteX3211" fmla="*/ 3406533 w 3503192"/>
              <a:gd name="connsiteY3211" fmla="*/ 5198586 h 5818346"/>
              <a:gd name="connsiteX3212" fmla="*/ 1967308 w 3503192"/>
              <a:gd name="connsiteY3212" fmla="*/ 5195943 h 5818346"/>
              <a:gd name="connsiteX3213" fmla="*/ 1978046 w 3503192"/>
              <a:gd name="connsiteY3213" fmla="*/ 5206679 h 5818346"/>
              <a:gd name="connsiteX3214" fmla="*/ 1967308 w 3503192"/>
              <a:gd name="connsiteY3214" fmla="*/ 5217418 h 5818346"/>
              <a:gd name="connsiteX3215" fmla="*/ 1956572 w 3503192"/>
              <a:gd name="connsiteY3215" fmla="*/ 5206679 h 5818346"/>
              <a:gd name="connsiteX3216" fmla="*/ 1967308 w 3503192"/>
              <a:gd name="connsiteY3216" fmla="*/ 5195943 h 5818346"/>
              <a:gd name="connsiteX3217" fmla="*/ 1179724 w 3503192"/>
              <a:gd name="connsiteY3217" fmla="*/ 5191649 h 5818346"/>
              <a:gd name="connsiteX3218" fmla="*/ 1190462 w 3503192"/>
              <a:gd name="connsiteY3218" fmla="*/ 5202386 h 5818346"/>
              <a:gd name="connsiteX3219" fmla="*/ 1187653 w 3503192"/>
              <a:gd name="connsiteY3219" fmla="*/ 5205195 h 5818346"/>
              <a:gd name="connsiteX3220" fmla="*/ 1198224 w 3503192"/>
              <a:gd name="connsiteY3220" fmla="*/ 5215765 h 5818346"/>
              <a:gd name="connsiteX3221" fmla="*/ 1194673 w 3503192"/>
              <a:gd name="connsiteY3221" fmla="*/ 5219316 h 5818346"/>
              <a:gd name="connsiteX3222" fmla="*/ 1204996 w 3503192"/>
              <a:gd name="connsiteY3222" fmla="*/ 5229640 h 5818346"/>
              <a:gd name="connsiteX3223" fmla="*/ 1200702 w 3503192"/>
              <a:gd name="connsiteY3223" fmla="*/ 5233936 h 5818346"/>
              <a:gd name="connsiteX3224" fmla="*/ 1210613 w 3503192"/>
              <a:gd name="connsiteY3224" fmla="*/ 5243845 h 5818346"/>
              <a:gd name="connsiteX3225" fmla="*/ 1199875 w 3503192"/>
              <a:gd name="connsiteY3225" fmla="*/ 5254583 h 5818346"/>
              <a:gd name="connsiteX3226" fmla="*/ 1189139 w 3503192"/>
              <a:gd name="connsiteY3226" fmla="*/ 5243845 h 5818346"/>
              <a:gd name="connsiteX3227" fmla="*/ 1193434 w 3503192"/>
              <a:gd name="connsiteY3227" fmla="*/ 5239551 h 5818346"/>
              <a:gd name="connsiteX3228" fmla="*/ 1183524 w 3503192"/>
              <a:gd name="connsiteY3228" fmla="*/ 5229640 h 5818346"/>
              <a:gd name="connsiteX3229" fmla="*/ 1187075 w 3503192"/>
              <a:gd name="connsiteY3229" fmla="*/ 5226090 h 5818346"/>
              <a:gd name="connsiteX3230" fmla="*/ 1176750 w 3503192"/>
              <a:gd name="connsiteY3230" fmla="*/ 5215765 h 5818346"/>
              <a:gd name="connsiteX3231" fmla="*/ 1179559 w 3503192"/>
              <a:gd name="connsiteY3231" fmla="*/ 5212957 h 5818346"/>
              <a:gd name="connsiteX3232" fmla="*/ 1168988 w 3503192"/>
              <a:gd name="connsiteY3232" fmla="*/ 5202386 h 5818346"/>
              <a:gd name="connsiteX3233" fmla="*/ 1179724 w 3503192"/>
              <a:gd name="connsiteY3233" fmla="*/ 5191649 h 5818346"/>
              <a:gd name="connsiteX3234" fmla="*/ 1286926 w 3503192"/>
              <a:gd name="connsiteY3234" fmla="*/ 5191318 h 5818346"/>
              <a:gd name="connsiteX3235" fmla="*/ 1297663 w 3503192"/>
              <a:gd name="connsiteY3235" fmla="*/ 5202054 h 5818346"/>
              <a:gd name="connsiteX3236" fmla="*/ 1286926 w 3503192"/>
              <a:gd name="connsiteY3236" fmla="*/ 5212792 h 5818346"/>
              <a:gd name="connsiteX3237" fmla="*/ 1276190 w 3503192"/>
              <a:gd name="connsiteY3237" fmla="*/ 5202054 h 5818346"/>
              <a:gd name="connsiteX3238" fmla="*/ 1286926 w 3503192"/>
              <a:gd name="connsiteY3238" fmla="*/ 5191318 h 5818346"/>
              <a:gd name="connsiteX3239" fmla="*/ 2300808 w 3503192"/>
              <a:gd name="connsiteY3239" fmla="*/ 5189336 h 5818346"/>
              <a:gd name="connsiteX3240" fmla="*/ 2311546 w 3503192"/>
              <a:gd name="connsiteY3240" fmla="*/ 5200072 h 5818346"/>
              <a:gd name="connsiteX3241" fmla="*/ 2300808 w 3503192"/>
              <a:gd name="connsiteY3241" fmla="*/ 5210810 h 5818346"/>
              <a:gd name="connsiteX3242" fmla="*/ 2290072 w 3503192"/>
              <a:gd name="connsiteY3242" fmla="*/ 5200072 h 5818346"/>
              <a:gd name="connsiteX3243" fmla="*/ 2300808 w 3503192"/>
              <a:gd name="connsiteY3243" fmla="*/ 5189336 h 5818346"/>
              <a:gd name="connsiteX3244" fmla="*/ 1355973 w 3503192"/>
              <a:gd name="connsiteY3244" fmla="*/ 5189336 h 5818346"/>
              <a:gd name="connsiteX3245" fmla="*/ 1366709 w 3503192"/>
              <a:gd name="connsiteY3245" fmla="*/ 5200072 h 5818346"/>
              <a:gd name="connsiteX3246" fmla="*/ 1355973 w 3503192"/>
              <a:gd name="connsiteY3246" fmla="*/ 5210810 h 5818346"/>
              <a:gd name="connsiteX3247" fmla="*/ 1345236 w 3503192"/>
              <a:gd name="connsiteY3247" fmla="*/ 5200072 h 5818346"/>
              <a:gd name="connsiteX3248" fmla="*/ 1355973 w 3503192"/>
              <a:gd name="connsiteY3248" fmla="*/ 5189336 h 5818346"/>
              <a:gd name="connsiteX3249" fmla="*/ 1146027 w 3503192"/>
              <a:gd name="connsiteY3249" fmla="*/ 5188346 h 5818346"/>
              <a:gd name="connsiteX3250" fmla="*/ 1156763 w 3503192"/>
              <a:gd name="connsiteY3250" fmla="*/ 5199082 h 5818346"/>
              <a:gd name="connsiteX3251" fmla="*/ 1146027 w 3503192"/>
              <a:gd name="connsiteY3251" fmla="*/ 5209820 h 5818346"/>
              <a:gd name="connsiteX3252" fmla="*/ 1135291 w 3503192"/>
              <a:gd name="connsiteY3252" fmla="*/ 5199082 h 5818346"/>
              <a:gd name="connsiteX3253" fmla="*/ 1146027 w 3503192"/>
              <a:gd name="connsiteY3253" fmla="*/ 5188346 h 5818346"/>
              <a:gd name="connsiteX3254" fmla="*/ 1204832 w 3503192"/>
              <a:gd name="connsiteY3254" fmla="*/ 5187850 h 5818346"/>
              <a:gd name="connsiteX3255" fmla="*/ 1215568 w 3503192"/>
              <a:gd name="connsiteY3255" fmla="*/ 5198586 h 5818346"/>
              <a:gd name="connsiteX3256" fmla="*/ 1204832 w 3503192"/>
              <a:gd name="connsiteY3256" fmla="*/ 5209322 h 5818346"/>
              <a:gd name="connsiteX3257" fmla="*/ 1194095 w 3503192"/>
              <a:gd name="connsiteY3257" fmla="*/ 5198586 h 5818346"/>
              <a:gd name="connsiteX3258" fmla="*/ 1204832 w 3503192"/>
              <a:gd name="connsiteY3258" fmla="*/ 5187850 h 5818346"/>
              <a:gd name="connsiteX3259" fmla="*/ 1235060 w 3503192"/>
              <a:gd name="connsiteY3259" fmla="*/ 5184711 h 5818346"/>
              <a:gd name="connsiteX3260" fmla="*/ 1245796 w 3503192"/>
              <a:gd name="connsiteY3260" fmla="*/ 5195447 h 5818346"/>
              <a:gd name="connsiteX3261" fmla="*/ 1235060 w 3503192"/>
              <a:gd name="connsiteY3261" fmla="*/ 5206185 h 5818346"/>
              <a:gd name="connsiteX3262" fmla="*/ 1224324 w 3503192"/>
              <a:gd name="connsiteY3262" fmla="*/ 5195447 h 5818346"/>
              <a:gd name="connsiteX3263" fmla="*/ 1235060 w 3503192"/>
              <a:gd name="connsiteY3263" fmla="*/ 5184711 h 5818346"/>
              <a:gd name="connsiteX3264" fmla="*/ 1105558 w 3503192"/>
              <a:gd name="connsiteY3264" fmla="*/ 5183885 h 5818346"/>
              <a:gd name="connsiteX3265" fmla="*/ 1107705 w 3503192"/>
              <a:gd name="connsiteY3265" fmla="*/ 5186032 h 5818346"/>
              <a:gd name="connsiteX3266" fmla="*/ 1105558 w 3503192"/>
              <a:gd name="connsiteY3266" fmla="*/ 5188179 h 5818346"/>
              <a:gd name="connsiteX3267" fmla="*/ 1103411 w 3503192"/>
              <a:gd name="connsiteY3267" fmla="*/ 5186032 h 5818346"/>
              <a:gd name="connsiteX3268" fmla="*/ 1105558 w 3503192"/>
              <a:gd name="connsiteY3268" fmla="*/ 5183885 h 5818346"/>
              <a:gd name="connsiteX3269" fmla="*/ 1557988 w 3503192"/>
              <a:gd name="connsiteY3269" fmla="*/ 5178435 h 5818346"/>
              <a:gd name="connsiteX3270" fmla="*/ 1568726 w 3503192"/>
              <a:gd name="connsiteY3270" fmla="*/ 5189171 h 5818346"/>
              <a:gd name="connsiteX3271" fmla="*/ 1557988 w 3503192"/>
              <a:gd name="connsiteY3271" fmla="*/ 5199909 h 5818346"/>
              <a:gd name="connsiteX3272" fmla="*/ 1547252 w 3503192"/>
              <a:gd name="connsiteY3272" fmla="*/ 5189171 h 5818346"/>
              <a:gd name="connsiteX3273" fmla="*/ 1557988 w 3503192"/>
              <a:gd name="connsiteY3273" fmla="*/ 5178435 h 5818346"/>
              <a:gd name="connsiteX3274" fmla="*/ 1170968 w 3503192"/>
              <a:gd name="connsiteY3274" fmla="*/ 5178104 h 5818346"/>
              <a:gd name="connsiteX3275" fmla="*/ 1181706 w 3503192"/>
              <a:gd name="connsiteY3275" fmla="*/ 5188840 h 5818346"/>
              <a:gd name="connsiteX3276" fmla="*/ 1170968 w 3503192"/>
              <a:gd name="connsiteY3276" fmla="*/ 5199576 h 5818346"/>
              <a:gd name="connsiteX3277" fmla="*/ 1160232 w 3503192"/>
              <a:gd name="connsiteY3277" fmla="*/ 5188840 h 5818346"/>
              <a:gd name="connsiteX3278" fmla="*/ 1170968 w 3503192"/>
              <a:gd name="connsiteY3278" fmla="*/ 5178104 h 5818346"/>
              <a:gd name="connsiteX3279" fmla="*/ 1686004 w 3503192"/>
              <a:gd name="connsiteY3279" fmla="*/ 5175627 h 5818346"/>
              <a:gd name="connsiteX3280" fmla="*/ 1696742 w 3503192"/>
              <a:gd name="connsiteY3280" fmla="*/ 5186363 h 5818346"/>
              <a:gd name="connsiteX3281" fmla="*/ 1686004 w 3503192"/>
              <a:gd name="connsiteY3281" fmla="*/ 5197100 h 5818346"/>
              <a:gd name="connsiteX3282" fmla="*/ 1675268 w 3503192"/>
              <a:gd name="connsiteY3282" fmla="*/ 5186363 h 5818346"/>
              <a:gd name="connsiteX3283" fmla="*/ 1686004 w 3503192"/>
              <a:gd name="connsiteY3283" fmla="*/ 5175627 h 5818346"/>
              <a:gd name="connsiteX3284" fmla="*/ 1194756 w 3503192"/>
              <a:gd name="connsiteY3284" fmla="*/ 5174470 h 5818346"/>
              <a:gd name="connsiteX3285" fmla="*/ 1205494 w 3503192"/>
              <a:gd name="connsiteY3285" fmla="*/ 5185207 h 5818346"/>
              <a:gd name="connsiteX3286" fmla="*/ 1194756 w 3503192"/>
              <a:gd name="connsiteY3286" fmla="*/ 5195943 h 5818346"/>
              <a:gd name="connsiteX3287" fmla="*/ 1184020 w 3503192"/>
              <a:gd name="connsiteY3287" fmla="*/ 5185207 h 5818346"/>
              <a:gd name="connsiteX3288" fmla="*/ 1194756 w 3503192"/>
              <a:gd name="connsiteY3288" fmla="*/ 5174470 h 5818346"/>
              <a:gd name="connsiteX3289" fmla="*/ 1448308 w 3503192"/>
              <a:gd name="connsiteY3289" fmla="*/ 5173149 h 5818346"/>
              <a:gd name="connsiteX3290" fmla="*/ 1459046 w 3503192"/>
              <a:gd name="connsiteY3290" fmla="*/ 5183885 h 5818346"/>
              <a:gd name="connsiteX3291" fmla="*/ 1448308 w 3503192"/>
              <a:gd name="connsiteY3291" fmla="*/ 5194622 h 5818346"/>
              <a:gd name="connsiteX3292" fmla="*/ 1437572 w 3503192"/>
              <a:gd name="connsiteY3292" fmla="*/ 5183885 h 5818346"/>
              <a:gd name="connsiteX3293" fmla="*/ 1448308 w 3503192"/>
              <a:gd name="connsiteY3293" fmla="*/ 5173149 h 5818346"/>
              <a:gd name="connsiteX3294" fmla="*/ 1138759 w 3503192"/>
              <a:gd name="connsiteY3294" fmla="*/ 5173149 h 5818346"/>
              <a:gd name="connsiteX3295" fmla="*/ 1149495 w 3503192"/>
              <a:gd name="connsiteY3295" fmla="*/ 5183885 h 5818346"/>
              <a:gd name="connsiteX3296" fmla="*/ 1138759 w 3503192"/>
              <a:gd name="connsiteY3296" fmla="*/ 5194622 h 5818346"/>
              <a:gd name="connsiteX3297" fmla="*/ 1128023 w 3503192"/>
              <a:gd name="connsiteY3297" fmla="*/ 5183885 h 5818346"/>
              <a:gd name="connsiteX3298" fmla="*/ 1138759 w 3503192"/>
              <a:gd name="connsiteY3298" fmla="*/ 5173149 h 5818346"/>
              <a:gd name="connsiteX3299" fmla="*/ 1280815 w 3503192"/>
              <a:gd name="connsiteY3299" fmla="*/ 5170175 h 5818346"/>
              <a:gd name="connsiteX3300" fmla="*/ 1291553 w 3503192"/>
              <a:gd name="connsiteY3300" fmla="*/ 5180911 h 5818346"/>
              <a:gd name="connsiteX3301" fmla="*/ 1280815 w 3503192"/>
              <a:gd name="connsiteY3301" fmla="*/ 5191649 h 5818346"/>
              <a:gd name="connsiteX3302" fmla="*/ 1270079 w 3503192"/>
              <a:gd name="connsiteY3302" fmla="*/ 5180911 h 5818346"/>
              <a:gd name="connsiteX3303" fmla="*/ 1280815 w 3503192"/>
              <a:gd name="connsiteY3303" fmla="*/ 5170175 h 5818346"/>
              <a:gd name="connsiteX3304" fmla="*/ 1225975 w 3503192"/>
              <a:gd name="connsiteY3304" fmla="*/ 5167697 h 5818346"/>
              <a:gd name="connsiteX3305" fmla="*/ 1236713 w 3503192"/>
              <a:gd name="connsiteY3305" fmla="*/ 5178433 h 5818346"/>
              <a:gd name="connsiteX3306" fmla="*/ 1225975 w 3503192"/>
              <a:gd name="connsiteY3306" fmla="*/ 5189171 h 5818346"/>
              <a:gd name="connsiteX3307" fmla="*/ 1215238 w 3503192"/>
              <a:gd name="connsiteY3307" fmla="*/ 5178433 h 5818346"/>
              <a:gd name="connsiteX3308" fmla="*/ 1225975 w 3503192"/>
              <a:gd name="connsiteY3308" fmla="*/ 5167697 h 5818346"/>
              <a:gd name="connsiteX3309" fmla="*/ 2150824 w 3503192"/>
              <a:gd name="connsiteY3309" fmla="*/ 5165881 h 5818346"/>
              <a:gd name="connsiteX3310" fmla="*/ 2161562 w 3503192"/>
              <a:gd name="connsiteY3310" fmla="*/ 5176617 h 5818346"/>
              <a:gd name="connsiteX3311" fmla="*/ 2150824 w 3503192"/>
              <a:gd name="connsiteY3311" fmla="*/ 5187354 h 5818346"/>
              <a:gd name="connsiteX3312" fmla="*/ 2140087 w 3503192"/>
              <a:gd name="connsiteY3312" fmla="*/ 5176617 h 5818346"/>
              <a:gd name="connsiteX3313" fmla="*/ 2150824 w 3503192"/>
              <a:gd name="connsiteY3313" fmla="*/ 5165881 h 5818346"/>
              <a:gd name="connsiteX3314" fmla="*/ 1161224 w 3503192"/>
              <a:gd name="connsiteY3314" fmla="*/ 5164560 h 5818346"/>
              <a:gd name="connsiteX3315" fmla="*/ 1171960 w 3503192"/>
              <a:gd name="connsiteY3315" fmla="*/ 5175296 h 5818346"/>
              <a:gd name="connsiteX3316" fmla="*/ 1161224 w 3503192"/>
              <a:gd name="connsiteY3316" fmla="*/ 5186034 h 5818346"/>
              <a:gd name="connsiteX3317" fmla="*/ 1150487 w 3503192"/>
              <a:gd name="connsiteY3317" fmla="*/ 5175296 h 5818346"/>
              <a:gd name="connsiteX3318" fmla="*/ 1161224 w 3503192"/>
              <a:gd name="connsiteY3318" fmla="*/ 5164560 h 5818346"/>
              <a:gd name="connsiteX3319" fmla="*/ 1834668 w 3503192"/>
              <a:gd name="connsiteY3319" fmla="*/ 5162907 h 5818346"/>
              <a:gd name="connsiteX3320" fmla="*/ 1845406 w 3503192"/>
              <a:gd name="connsiteY3320" fmla="*/ 5173643 h 5818346"/>
              <a:gd name="connsiteX3321" fmla="*/ 1834668 w 3503192"/>
              <a:gd name="connsiteY3321" fmla="*/ 5184381 h 5818346"/>
              <a:gd name="connsiteX3322" fmla="*/ 1823931 w 3503192"/>
              <a:gd name="connsiteY3322" fmla="*/ 5173643 h 5818346"/>
              <a:gd name="connsiteX3323" fmla="*/ 1834668 w 3503192"/>
              <a:gd name="connsiteY3323" fmla="*/ 5162907 h 5818346"/>
              <a:gd name="connsiteX3324" fmla="*/ 1354981 w 3503192"/>
              <a:gd name="connsiteY3324" fmla="*/ 5161752 h 5818346"/>
              <a:gd name="connsiteX3325" fmla="*/ 1365719 w 3503192"/>
              <a:gd name="connsiteY3325" fmla="*/ 5172488 h 5818346"/>
              <a:gd name="connsiteX3326" fmla="*/ 1354981 w 3503192"/>
              <a:gd name="connsiteY3326" fmla="*/ 5183225 h 5818346"/>
              <a:gd name="connsiteX3327" fmla="*/ 1344245 w 3503192"/>
              <a:gd name="connsiteY3327" fmla="*/ 5172488 h 5818346"/>
              <a:gd name="connsiteX3328" fmla="*/ 1354981 w 3503192"/>
              <a:gd name="connsiteY3328" fmla="*/ 5161752 h 5818346"/>
              <a:gd name="connsiteX3329" fmla="*/ 1184184 w 3503192"/>
              <a:gd name="connsiteY3329" fmla="*/ 5159603 h 5818346"/>
              <a:gd name="connsiteX3330" fmla="*/ 1194921 w 3503192"/>
              <a:gd name="connsiteY3330" fmla="*/ 5170340 h 5818346"/>
              <a:gd name="connsiteX3331" fmla="*/ 1184184 w 3503192"/>
              <a:gd name="connsiteY3331" fmla="*/ 5181076 h 5818346"/>
              <a:gd name="connsiteX3332" fmla="*/ 1173448 w 3503192"/>
              <a:gd name="connsiteY3332" fmla="*/ 5170340 h 5818346"/>
              <a:gd name="connsiteX3333" fmla="*/ 1184184 w 3503192"/>
              <a:gd name="connsiteY3333" fmla="*/ 5159603 h 5818346"/>
              <a:gd name="connsiteX3334" fmla="*/ 1130499 w 3503192"/>
              <a:gd name="connsiteY3334" fmla="*/ 5158282 h 5818346"/>
              <a:gd name="connsiteX3335" fmla="*/ 1141236 w 3503192"/>
              <a:gd name="connsiteY3335" fmla="*/ 5169018 h 5818346"/>
              <a:gd name="connsiteX3336" fmla="*/ 1130499 w 3503192"/>
              <a:gd name="connsiteY3336" fmla="*/ 5179756 h 5818346"/>
              <a:gd name="connsiteX3337" fmla="*/ 1119763 w 3503192"/>
              <a:gd name="connsiteY3337" fmla="*/ 5169018 h 5818346"/>
              <a:gd name="connsiteX3338" fmla="*/ 1130499 w 3503192"/>
              <a:gd name="connsiteY3338" fmla="*/ 5158282 h 5818346"/>
              <a:gd name="connsiteX3339" fmla="*/ 1099280 w 3503192"/>
              <a:gd name="connsiteY3339" fmla="*/ 5158282 h 5818346"/>
              <a:gd name="connsiteX3340" fmla="*/ 1110017 w 3503192"/>
              <a:gd name="connsiteY3340" fmla="*/ 5169018 h 5818346"/>
              <a:gd name="connsiteX3341" fmla="*/ 1099280 w 3503192"/>
              <a:gd name="connsiteY3341" fmla="*/ 5179756 h 5818346"/>
              <a:gd name="connsiteX3342" fmla="*/ 1088544 w 3503192"/>
              <a:gd name="connsiteY3342" fmla="*/ 5169018 h 5818346"/>
              <a:gd name="connsiteX3343" fmla="*/ 1099280 w 3503192"/>
              <a:gd name="connsiteY3343" fmla="*/ 5158282 h 5818346"/>
              <a:gd name="connsiteX3344" fmla="*/ 2850698 w 3503192"/>
              <a:gd name="connsiteY3344" fmla="*/ 5151179 h 5818346"/>
              <a:gd name="connsiteX3345" fmla="*/ 2861436 w 3503192"/>
              <a:gd name="connsiteY3345" fmla="*/ 5161915 h 5818346"/>
              <a:gd name="connsiteX3346" fmla="*/ 2850698 w 3503192"/>
              <a:gd name="connsiteY3346" fmla="*/ 5172653 h 5818346"/>
              <a:gd name="connsiteX3347" fmla="*/ 2839962 w 3503192"/>
              <a:gd name="connsiteY3347" fmla="*/ 5161915 h 5818346"/>
              <a:gd name="connsiteX3348" fmla="*/ 2850698 w 3503192"/>
              <a:gd name="connsiteY3348" fmla="*/ 5151179 h 5818346"/>
              <a:gd name="connsiteX3349" fmla="*/ 1150487 w 3503192"/>
              <a:gd name="connsiteY3349" fmla="*/ 5150353 h 5818346"/>
              <a:gd name="connsiteX3350" fmla="*/ 1161225 w 3503192"/>
              <a:gd name="connsiteY3350" fmla="*/ 5161089 h 5818346"/>
              <a:gd name="connsiteX3351" fmla="*/ 1150487 w 3503192"/>
              <a:gd name="connsiteY3351" fmla="*/ 5171826 h 5818346"/>
              <a:gd name="connsiteX3352" fmla="*/ 1139751 w 3503192"/>
              <a:gd name="connsiteY3352" fmla="*/ 5161089 h 5818346"/>
              <a:gd name="connsiteX3353" fmla="*/ 1150487 w 3503192"/>
              <a:gd name="connsiteY3353" fmla="*/ 5150353 h 5818346"/>
              <a:gd name="connsiteX3354" fmla="*/ 3017036 w 3503192"/>
              <a:gd name="connsiteY3354" fmla="*/ 5149528 h 5818346"/>
              <a:gd name="connsiteX3355" fmla="*/ 3027774 w 3503192"/>
              <a:gd name="connsiteY3355" fmla="*/ 5160264 h 5818346"/>
              <a:gd name="connsiteX3356" fmla="*/ 3017036 w 3503192"/>
              <a:gd name="connsiteY3356" fmla="*/ 5171002 h 5818346"/>
              <a:gd name="connsiteX3357" fmla="*/ 3006300 w 3503192"/>
              <a:gd name="connsiteY3357" fmla="*/ 5160264 h 5818346"/>
              <a:gd name="connsiteX3358" fmla="*/ 3017036 w 3503192"/>
              <a:gd name="connsiteY3358" fmla="*/ 5149528 h 5818346"/>
              <a:gd name="connsiteX3359" fmla="*/ 1216889 w 3503192"/>
              <a:gd name="connsiteY3359" fmla="*/ 5148536 h 5818346"/>
              <a:gd name="connsiteX3360" fmla="*/ 1227628 w 3503192"/>
              <a:gd name="connsiteY3360" fmla="*/ 5159272 h 5818346"/>
              <a:gd name="connsiteX3361" fmla="*/ 1216889 w 3503192"/>
              <a:gd name="connsiteY3361" fmla="*/ 5170010 h 5818346"/>
              <a:gd name="connsiteX3362" fmla="*/ 1206153 w 3503192"/>
              <a:gd name="connsiteY3362" fmla="*/ 5159272 h 5818346"/>
              <a:gd name="connsiteX3363" fmla="*/ 1216889 w 3503192"/>
              <a:gd name="connsiteY3363" fmla="*/ 5148536 h 5818346"/>
              <a:gd name="connsiteX3364" fmla="*/ 2684525 w 3503192"/>
              <a:gd name="connsiteY3364" fmla="*/ 5146720 h 5818346"/>
              <a:gd name="connsiteX3365" fmla="*/ 2695263 w 3503192"/>
              <a:gd name="connsiteY3365" fmla="*/ 5157456 h 5818346"/>
              <a:gd name="connsiteX3366" fmla="*/ 2684525 w 3503192"/>
              <a:gd name="connsiteY3366" fmla="*/ 5168193 h 5818346"/>
              <a:gd name="connsiteX3367" fmla="*/ 2673788 w 3503192"/>
              <a:gd name="connsiteY3367" fmla="*/ 5157456 h 5818346"/>
              <a:gd name="connsiteX3368" fmla="*/ 2684525 w 3503192"/>
              <a:gd name="connsiteY3368" fmla="*/ 5146720 h 5818346"/>
              <a:gd name="connsiteX3369" fmla="*/ 1275529 w 3503192"/>
              <a:gd name="connsiteY3369" fmla="*/ 5145728 h 5818346"/>
              <a:gd name="connsiteX3370" fmla="*/ 1286267 w 3503192"/>
              <a:gd name="connsiteY3370" fmla="*/ 5156464 h 5818346"/>
              <a:gd name="connsiteX3371" fmla="*/ 1275529 w 3503192"/>
              <a:gd name="connsiteY3371" fmla="*/ 5167201 h 5818346"/>
              <a:gd name="connsiteX3372" fmla="*/ 1264793 w 3503192"/>
              <a:gd name="connsiteY3372" fmla="*/ 5156464 h 5818346"/>
              <a:gd name="connsiteX3373" fmla="*/ 1275529 w 3503192"/>
              <a:gd name="connsiteY3373" fmla="*/ 5145728 h 5818346"/>
              <a:gd name="connsiteX3374" fmla="*/ 1173117 w 3503192"/>
              <a:gd name="connsiteY3374" fmla="*/ 5143581 h 5818346"/>
              <a:gd name="connsiteX3375" fmla="*/ 1183853 w 3503192"/>
              <a:gd name="connsiteY3375" fmla="*/ 5154317 h 5818346"/>
              <a:gd name="connsiteX3376" fmla="*/ 1173117 w 3503192"/>
              <a:gd name="connsiteY3376" fmla="*/ 5165054 h 5818346"/>
              <a:gd name="connsiteX3377" fmla="*/ 1162380 w 3503192"/>
              <a:gd name="connsiteY3377" fmla="*/ 5154317 h 5818346"/>
              <a:gd name="connsiteX3378" fmla="*/ 1173117 w 3503192"/>
              <a:gd name="connsiteY3378" fmla="*/ 5143581 h 5818346"/>
              <a:gd name="connsiteX3379" fmla="*/ 1120920 w 3503192"/>
              <a:gd name="connsiteY3379" fmla="*/ 5143416 h 5818346"/>
              <a:gd name="connsiteX3380" fmla="*/ 1131658 w 3503192"/>
              <a:gd name="connsiteY3380" fmla="*/ 5154153 h 5818346"/>
              <a:gd name="connsiteX3381" fmla="*/ 1120920 w 3503192"/>
              <a:gd name="connsiteY3381" fmla="*/ 5164891 h 5818346"/>
              <a:gd name="connsiteX3382" fmla="*/ 1110183 w 3503192"/>
              <a:gd name="connsiteY3382" fmla="*/ 5154153 h 5818346"/>
              <a:gd name="connsiteX3383" fmla="*/ 1120920 w 3503192"/>
              <a:gd name="connsiteY3383" fmla="*/ 5143416 h 5818346"/>
              <a:gd name="connsiteX3384" fmla="*/ 3182382 w 3503192"/>
              <a:gd name="connsiteY3384" fmla="*/ 5141764 h 5818346"/>
              <a:gd name="connsiteX3385" fmla="*/ 3193120 w 3503192"/>
              <a:gd name="connsiteY3385" fmla="*/ 5152500 h 5818346"/>
              <a:gd name="connsiteX3386" fmla="*/ 3182382 w 3503192"/>
              <a:gd name="connsiteY3386" fmla="*/ 5163238 h 5818346"/>
              <a:gd name="connsiteX3387" fmla="*/ 3171646 w 3503192"/>
              <a:gd name="connsiteY3387" fmla="*/ 5152500 h 5818346"/>
              <a:gd name="connsiteX3388" fmla="*/ 3182382 w 3503192"/>
              <a:gd name="connsiteY3388" fmla="*/ 5141764 h 5818346"/>
              <a:gd name="connsiteX3389" fmla="*/ 1091848 w 3503192"/>
              <a:gd name="connsiteY3389" fmla="*/ 5141599 h 5818346"/>
              <a:gd name="connsiteX3390" fmla="*/ 1102586 w 3503192"/>
              <a:gd name="connsiteY3390" fmla="*/ 5152335 h 5818346"/>
              <a:gd name="connsiteX3391" fmla="*/ 1091848 w 3503192"/>
              <a:gd name="connsiteY3391" fmla="*/ 5163072 h 5818346"/>
              <a:gd name="connsiteX3392" fmla="*/ 1081111 w 3503192"/>
              <a:gd name="connsiteY3392" fmla="*/ 5152335 h 5818346"/>
              <a:gd name="connsiteX3393" fmla="*/ 1091848 w 3503192"/>
              <a:gd name="connsiteY3393" fmla="*/ 5141599 h 5818346"/>
              <a:gd name="connsiteX3394" fmla="*/ 2005795 w 3503192"/>
              <a:gd name="connsiteY3394" fmla="*/ 5137799 h 5818346"/>
              <a:gd name="connsiteX3395" fmla="*/ 2016533 w 3503192"/>
              <a:gd name="connsiteY3395" fmla="*/ 5148536 h 5818346"/>
              <a:gd name="connsiteX3396" fmla="*/ 2005795 w 3503192"/>
              <a:gd name="connsiteY3396" fmla="*/ 5159272 h 5818346"/>
              <a:gd name="connsiteX3397" fmla="*/ 1995059 w 3503192"/>
              <a:gd name="connsiteY3397" fmla="*/ 5148536 h 5818346"/>
              <a:gd name="connsiteX3398" fmla="*/ 2005795 w 3503192"/>
              <a:gd name="connsiteY3398" fmla="*/ 5137799 h 5818346"/>
              <a:gd name="connsiteX3399" fmla="*/ 1454750 w 3503192"/>
              <a:gd name="connsiteY3399" fmla="*/ 5136478 h 5818346"/>
              <a:gd name="connsiteX3400" fmla="*/ 1465488 w 3503192"/>
              <a:gd name="connsiteY3400" fmla="*/ 5147214 h 5818346"/>
              <a:gd name="connsiteX3401" fmla="*/ 1454750 w 3503192"/>
              <a:gd name="connsiteY3401" fmla="*/ 5157951 h 5818346"/>
              <a:gd name="connsiteX3402" fmla="*/ 1444014 w 3503192"/>
              <a:gd name="connsiteY3402" fmla="*/ 5147214 h 5818346"/>
              <a:gd name="connsiteX3403" fmla="*/ 1454750 w 3503192"/>
              <a:gd name="connsiteY3403" fmla="*/ 5136478 h 5818346"/>
              <a:gd name="connsiteX3404" fmla="*/ 2520169 w 3503192"/>
              <a:gd name="connsiteY3404" fmla="*/ 5136148 h 5818346"/>
              <a:gd name="connsiteX3405" fmla="*/ 2530907 w 3503192"/>
              <a:gd name="connsiteY3405" fmla="*/ 5146885 h 5818346"/>
              <a:gd name="connsiteX3406" fmla="*/ 2520169 w 3503192"/>
              <a:gd name="connsiteY3406" fmla="*/ 5157623 h 5818346"/>
              <a:gd name="connsiteX3407" fmla="*/ 2509433 w 3503192"/>
              <a:gd name="connsiteY3407" fmla="*/ 5146885 h 5818346"/>
              <a:gd name="connsiteX3408" fmla="*/ 2520169 w 3503192"/>
              <a:gd name="connsiteY3408" fmla="*/ 5136148 h 5818346"/>
              <a:gd name="connsiteX3409" fmla="*/ 1571534 w 3503192"/>
              <a:gd name="connsiteY3409" fmla="*/ 5135984 h 5818346"/>
              <a:gd name="connsiteX3410" fmla="*/ 1582272 w 3503192"/>
              <a:gd name="connsiteY3410" fmla="*/ 5146720 h 5818346"/>
              <a:gd name="connsiteX3411" fmla="*/ 1571534 w 3503192"/>
              <a:gd name="connsiteY3411" fmla="*/ 5157456 h 5818346"/>
              <a:gd name="connsiteX3412" fmla="*/ 1560798 w 3503192"/>
              <a:gd name="connsiteY3412" fmla="*/ 5146720 h 5818346"/>
              <a:gd name="connsiteX3413" fmla="*/ 1571534 w 3503192"/>
              <a:gd name="connsiteY3413" fmla="*/ 5135984 h 5818346"/>
              <a:gd name="connsiteX3414" fmla="*/ 1139088 w 3503192"/>
              <a:gd name="connsiteY3414" fmla="*/ 5135488 h 5818346"/>
              <a:gd name="connsiteX3415" fmla="*/ 1149827 w 3503192"/>
              <a:gd name="connsiteY3415" fmla="*/ 5146224 h 5818346"/>
              <a:gd name="connsiteX3416" fmla="*/ 1139088 w 3503192"/>
              <a:gd name="connsiteY3416" fmla="*/ 5156960 h 5818346"/>
              <a:gd name="connsiteX3417" fmla="*/ 1128352 w 3503192"/>
              <a:gd name="connsiteY3417" fmla="*/ 5146224 h 5818346"/>
              <a:gd name="connsiteX3418" fmla="*/ 1139088 w 3503192"/>
              <a:gd name="connsiteY3418" fmla="*/ 5135488 h 5818346"/>
              <a:gd name="connsiteX3419" fmla="*/ 1054022 w 3503192"/>
              <a:gd name="connsiteY3419" fmla="*/ 5131853 h 5818346"/>
              <a:gd name="connsiteX3420" fmla="*/ 1061456 w 3503192"/>
              <a:gd name="connsiteY3420" fmla="*/ 5139286 h 5818346"/>
              <a:gd name="connsiteX3421" fmla="*/ 1054022 w 3503192"/>
              <a:gd name="connsiteY3421" fmla="*/ 5146720 h 5818346"/>
              <a:gd name="connsiteX3422" fmla="*/ 1046589 w 3503192"/>
              <a:gd name="connsiteY3422" fmla="*/ 5139286 h 5818346"/>
              <a:gd name="connsiteX3423" fmla="*/ 1054022 w 3503192"/>
              <a:gd name="connsiteY3423" fmla="*/ 5131853 h 5818346"/>
              <a:gd name="connsiteX3424" fmla="*/ 1355312 w 3503192"/>
              <a:gd name="connsiteY3424" fmla="*/ 5129871 h 5818346"/>
              <a:gd name="connsiteX3425" fmla="*/ 1366048 w 3503192"/>
              <a:gd name="connsiteY3425" fmla="*/ 5140607 h 5818346"/>
              <a:gd name="connsiteX3426" fmla="*/ 1355312 w 3503192"/>
              <a:gd name="connsiteY3426" fmla="*/ 5151345 h 5818346"/>
              <a:gd name="connsiteX3427" fmla="*/ 1344576 w 3503192"/>
              <a:gd name="connsiteY3427" fmla="*/ 5140607 h 5818346"/>
              <a:gd name="connsiteX3428" fmla="*/ 1355312 w 3503192"/>
              <a:gd name="connsiteY3428" fmla="*/ 5129871 h 5818346"/>
              <a:gd name="connsiteX3429" fmla="*/ 1110348 w 3503192"/>
              <a:gd name="connsiteY3429" fmla="*/ 5128384 h 5818346"/>
              <a:gd name="connsiteX3430" fmla="*/ 1121086 w 3503192"/>
              <a:gd name="connsiteY3430" fmla="*/ 5139121 h 5818346"/>
              <a:gd name="connsiteX3431" fmla="*/ 1110348 w 3503192"/>
              <a:gd name="connsiteY3431" fmla="*/ 5149859 h 5818346"/>
              <a:gd name="connsiteX3432" fmla="*/ 1099612 w 3503192"/>
              <a:gd name="connsiteY3432" fmla="*/ 5139121 h 5818346"/>
              <a:gd name="connsiteX3433" fmla="*/ 1110348 w 3503192"/>
              <a:gd name="connsiteY3433" fmla="*/ 5128384 h 5818346"/>
              <a:gd name="connsiteX3434" fmla="*/ 3345250 w 3503192"/>
              <a:gd name="connsiteY3434" fmla="*/ 5128055 h 5818346"/>
              <a:gd name="connsiteX3435" fmla="*/ 3355988 w 3503192"/>
              <a:gd name="connsiteY3435" fmla="*/ 5138791 h 5818346"/>
              <a:gd name="connsiteX3436" fmla="*/ 3345250 w 3503192"/>
              <a:gd name="connsiteY3436" fmla="*/ 5149528 h 5818346"/>
              <a:gd name="connsiteX3437" fmla="*/ 3334514 w 3503192"/>
              <a:gd name="connsiteY3437" fmla="*/ 5138791 h 5818346"/>
              <a:gd name="connsiteX3438" fmla="*/ 3345250 w 3503192"/>
              <a:gd name="connsiteY3438" fmla="*/ 5128055 h 5818346"/>
              <a:gd name="connsiteX3439" fmla="*/ 1208135 w 3503192"/>
              <a:gd name="connsiteY3439" fmla="*/ 5126567 h 5818346"/>
              <a:gd name="connsiteX3440" fmla="*/ 1218873 w 3503192"/>
              <a:gd name="connsiteY3440" fmla="*/ 5137303 h 5818346"/>
              <a:gd name="connsiteX3441" fmla="*/ 1208135 w 3503192"/>
              <a:gd name="connsiteY3441" fmla="*/ 5148040 h 5818346"/>
              <a:gd name="connsiteX3442" fmla="*/ 1197399 w 3503192"/>
              <a:gd name="connsiteY3442" fmla="*/ 5137303 h 5818346"/>
              <a:gd name="connsiteX3443" fmla="*/ 1208135 w 3503192"/>
              <a:gd name="connsiteY3443" fmla="*/ 5126567 h 5818346"/>
              <a:gd name="connsiteX3444" fmla="*/ 1708139 w 3503192"/>
              <a:gd name="connsiteY3444" fmla="*/ 5126402 h 5818346"/>
              <a:gd name="connsiteX3445" fmla="*/ 1718876 w 3503192"/>
              <a:gd name="connsiteY3445" fmla="*/ 5137139 h 5818346"/>
              <a:gd name="connsiteX3446" fmla="*/ 1708139 w 3503192"/>
              <a:gd name="connsiteY3446" fmla="*/ 5147877 h 5818346"/>
              <a:gd name="connsiteX3447" fmla="*/ 1697403 w 3503192"/>
              <a:gd name="connsiteY3447" fmla="*/ 5137139 h 5818346"/>
              <a:gd name="connsiteX3448" fmla="*/ 1708139 w 3503192"/>
              <a:gd name="connsiteY3448" fmla="*/ 5126402 h 5818346"/>
              <a:gd name="connsiteX3449" fmla="*/ 1162049 w 3503192"/>
              <a:gd name="connsiteY3449" fmla="*/ 5125577 h 5818346"/>
              <a:gd name="connsiteX3450" fmla="*/ 1172787 w 3503192"/>
              <a:gd name="connsiteY3450" fmla="*/ 5136313 h 5818346"/>
              <a:gd name="connsiteX3451" fmla="*/ 1162049 w 3503192"/>
              <a:gd name="connsiteY3451" fmla="*/ 5147049 h 5818346"/>
              <a:gd name="connsiteX3452" fmla="*/ 1151313 w 3503192"/>
              <a:gd name="connsiteY3452" fmla="*/ 5136313 h 5818346"/>
              <a:gd name="connsiteX3453" fmla="*/ 1162049 w 3503192"/>
              <a:gd name="connsiteY3453" fmla="*/ 5125577 h 5818346"/>
              <a:gd name="connsiteX3454" fmla="*/ 1082927 w 3503192"/>
              <a:gd name="connsiteY3454" fmla="*/ 5125246 h 5818346"/>
              <a:gd name="connsiteX3455" fmla="*/ 1093663 w 3503192"/>
              <a:gd name="connsiteY3455" fmla="*/ 5135982 h 5818346"/>
              <a:gd name="connsiteX3456" fmla="*/ 1082927 w 3503192"/>
              <a:gd name="connsiteY3456" fmla="*/ 5146720 h 5818346"/>
              <a:gd name="connsiteX3457" fmla="*/ 1072190 w 3503192"/>
              <a:gd name="connsiteY3457" fmla="*/ 5135982 h 5818346"/>
              <a:gd name="connsiteX3458" fmla="*/ 1082927 w 3503192"/>
              <a:gd name="connsiteY3458" fmla="*/ 5125246 h 5818346"/>
              <a:gd name="connsiteX3459" fmla="*/ 2358787 w 3503192"/>
              <a:gd name="connsiteY3459" fmla="*/ 5119795 h 5818346"/>
              <a:gd name="connsiteX3460" fmla="*/ 2369525 w 3503192"/>
              <a:gd name="connsiteY3460" fmla="*/ 5130531 h 5818346"/>
              <a:gd name="connsiteX3461" fmla="*/ 2358787 w 3503192"/>
              <a:gd name="connsiteY3461" fmla="*/ 5141268 h 5818346"/>
              <a:gd name="connsiteX3462" fmla="*/ 2348051 w 3503192"/>
              <a:gd name="connsiteY3462" fmla="*/ 5130531 h 5818346"/>
              <a:gd name="connsiteX3463" fmla="*/ 2358787 w 3503192"/>
              <a:gd name="connsiteY3463" fmla="*/ 5119795 h 5818346"/>
              <a:gd name="connsiteX3464" fmla="*/ 1127196 w 3503192"/>
              <a:gd name="connsiteY3464" fmla="*/ 5119630 h 5818346"/>
              <a:gd name="connsiteX3465" fmla="*/ 1137934 w 3503192"/>
              <a:gd name="connsiteY3465" fmla="*/ 5130367 h 5818346"/>
              <a:gd name="connsiteX3466" fmla="*/ 1127196 w 3503192"/>
              <a:gd name="connsiteY3466" fmla="*/ 5141105 h 5818346"/>
              <a:gd name="connsiteX3467" fmla="*/ 1116459 w 3503192"/>
              <a:gd name="connsiteY3467" fmla="*/ 5130367 h 5818346"/>
              <a:gd name="connsiteX3468" fmla="*/ 1127196 w 3503192"/>
              <a:gd name="connsiteY3468" fmla="*/ 5119630 h 5818346"/>
              <a:gd name="connsiteX3469" fmla="*/ 1271069 w 3503192"/>
              <a:gd name="connsiteY3469" fmla="*/ 5117648 h 5818346"/>
              <a:gd name="connsiteX3470" fmla="*/ 1281805 w 3503192"/>
              <a:gd name="connsiteY3470" fmla="*/ 5128384 h 5818346"/>
              <a:gd name="connsiteX3471" fmla="*/ 1271069 w 3503192"/>
              <a:gd name="connsiteY3471" fmla="*/ 5139121 h 5818346"/>
              <a:gd name="connsiteX3472" fmla="*/ 1260332 w 3503192"/>
              <a:gd name="connsiteY3472" fmla="*/ 5128384 h 5818346"/>
              <a:gd name="connsiteX3473" fmla="*/ 1271069 w 3503192"/>
              <a:gd name="connsiteY3473" fmla="*/ 5117648 h 5818346"/>
              <a:gd name="connsiteX3474" fmla="*/ 1098784 w 3503192"/>
              <a:gd name="connsiteY3474" fmla="*/ 5113023 h 5818346"/>
              <a:gd name="connsiteX3475" fmla="*/ 1109521 w 3503192"/>
              <a:gd name="connsiteY3475" fmla="*/ 5123759 h 5818346"/>
              <a:gd name="connsiteX3476" fmla="*/ 1098784 w 3503192"/>
              <a:gd name="connsiteY3476" fmla="*/ 5134496 h 5818346"/>
              <a:gd name="connsiteX3477" fmla="*/ 1088048 w 3503192"/>
              <a:gd name="connsiteY3477" fmla="*/ 5123759 h 5818346"/>
              <a:gd name="connsiteX3478" fmla="*/ 1098784 w 3503192"/>
              <a:gd name="connsiteY3478" fmla="*/ 5113023 h 5818346"/>
              <a:gd name="connsiteX3479" fmla="*/ 1046422 w 3503192"/>
              <a:gd name="connsiteY3479" fmla="*/ 5110545 h 5818346"/>
              <a:gd name="connsiteX3480" fmla="*/ 1057159 w 3503192"/>
              <a:gd name="connsiteY3480" fmla="*/ 5121281 h 5818346"/>
              <a:gd name="connsiteX3481" fmla="*/ 1046422 w 3503192"/>
              <a:gd name="connsiteY3481" fmla="*/ 5132018 h 5818346"/>
              <a:gd name="connsiteX3482" fmla="*/ 1035686 w 3503192"/>
              <a:gd name="connsiteY3482" fmla="*/ 5121281 h 5818346"/>
              <a:gd name="connsiteX3483" fmla="*/ 1046422 w 3503192"/>
              <a:gd name="connsiteY3483" fmla="*/ 5110545 h 5818346"/>
              <a:gd name="connsiteX3484" fmla="*/ 3503192 w 3503192"/>
              <a:gd name="connsiteY3484" fmla="*/ 5110186 h 5818346"/>
              <a:gd name="connsiteX3485" fmla="*/ 3503192 w 3503192"/>
              <a:gd name="connsiteY3485" fmla="*/ 5128742 h 5818346"/>
              <a:gd name="connsiteX3486" fmla="*/ 3493915 w 3503192"/>
              <a:gd name="connsiteY3486" fmla="*/ 5119464 h 5818346"/>
              <a:gd name="connsiteX3487" fmla="*/ 1010249 w 3503192"/>
              <a:gd name="connsiteY3487" fmla="*/ 5109719 h 5818346"/>
              <a:gd name="connsiteX3488" fmla="*/ 1010743 w 3503192"/>
              <a:gd name="connsiteY3488" fmla="*/ 5110215 h 5818346"/>
              <a:gd name="connsiteX3489" fmla="*/ 1010249 w 3503192"/>
              <a:gd name="connsiteY3489" fmla="*/ 5110710 h 5818346"/>
              <a:gd name="connsiteX3490" fmla="*/ 1009753 w 3503192"/>
              <a:gd name="connsiteY3490" fmla="*/ 5110215 h 5818346"/>
              <a:gd name="connsiteX3491" fmla="*/ 1010249 w 3503192"/>
              <a:gd name="connsiteY3491" fmla="*/ 5109719 h 5818346"/>
              <a:gd name="connsiteX3492" fmla="*/ 1072851 w 3503192"/>
              <a:gd name="connsiteY3492" fmla="*/ 5109059 h 5818346"/>
              <a:gd name="connsiteX3493" fmla="*/ 1083588 w 3503192"/>
              <a:gd name="connsiteY3493" fmla="*/ 5119795 h 5818346"/>
              <a:gd name="connsiteX3494" fmla="*/ 1072851 w 3503192"/>
              <a:gd name="connsiteY3494" fmla="*/ 5130531 h 5818346"/>
              <a:gd name="connsiteX3495" fmla="*/ 1062115 w 3503192"/>
              <a:gd name="connsiteY3495" fmla="*/ 5119795 h 5818346"/>
              <a:gd name="connsiteX3496" fmla="*/ 1072851 w 3503192"/>
              <a:gd name="connsiteY3496" fmla="*/ 5109059 h 5818346"/>
              <a:gd name="connsiteX3497" fmla="*/ 1866714 w 3503192"/>
              <a:gd name="connsiteY3497" fmla="*/ 5105589 h 5818346"/>
              <a:gd name="connsiteX3498" fmla="*/ 1877452 w 3503192"/>
              <a:gd name="connsiteY3498" fmla="*/ 5116325 h 5818346"/>
              <a:gd name="connsiteX3499" fmla="*/ 1866714 w 3503192"/>
              <a:gd name="connsiteY3499" fmla="*/ 5127063 h 5818346"/>
              <a:gd name="connsiteX3500" fmla="*/ 1855977 w 3503192"/>
              <a:gd name="connsiteY3500" fmla="*/ 5116325 h 5818346"/>
              <a:gd name="connsiteX3501" fmla="*/ 1866714 w 3503192"/>
              <a:gd name="connsiteY3501" fmla="*/ 5105589 h 5818346"/>
              <a:gd name="connsiteX3502" fmla="*/ 1150817 w 3503192"/>
              <a:gd name="connsiteY3502" fmla="*/ 5105424 h 5818346"/>
              <a:gd name="connsiteX3503" fmla="*/ 1161555 w 3503192"/>
              <a:gd name="connsiteY3503" fmla="*/ 5116160 h 5818346"/>
              <a:gd name="connsiteX3504" fmla="*/ 1150817 w 3503192"/>
              <a:gd name="connsiteY3504" fmla="*/ 5126896 h 5818346"/>
              <a:gd name="connsiteX3505" fmla="*/ 1140080 w 3503192"/>
              <a:gd name="connsiteY3505" fmla="*/ 5116160 h 5818346"/>
              <a:gd name="connsiteX3506" fmla="*/ 1150817 w 3503192"/>
              <a:gd name="connsiteY3506" fmla="*/ 5105424 h 5818346"/>
              <a:gd name="connsiteX3507" fmla="*/ 1114642 w 3503192"/>
              <a:gd name="connsiteY3507" fmla="*/ 5102287 h 5818346"/>
              <a:gd name="connsiteX3508" fmla="*/ 1125378 w 3503192"/>
              <a:gd name="connsiteY3508" fmla="*/ 5113023 h 5818346"/>
              <a:gd name="connsiteX3509" fmla="*/ 1114642 w 3503192"/>
              <a:gd name="connsiteY3509" fmla="*/ 5123759 h 5818346"/>
              <a:gd name="connsiteX3510" fmla="*/ 1103905 w 3503192"/>
              <a:gd name="connsiteY3510" fmla="*/ 5113023 h 5818346"/>
              <a:gd name="connsiteX3511" fmla="*/ 1114642 w 3503192"/>
              <a:gd name="connsiteY3511" fmla="*/ 5102287 h 5818346"/>
              <a:gd name="connsiteX3512" fmla="*/ 1199875 w 3503192"/>
              <a:gd name="connsiteY3512" fmla="*/ 5101459 h 5818346"/>
              <a:gd name="connsiteX3513" fmla="*/ 1210613 w 3503192"/>
              <a:gd name="connsiteY3513" fmla="*/ 5112196 h 5818346"/>
              <a:gd name="connsiteX3514" fmla="*/ 1199875 w 3503192"/>
              <a:gd name="connsiteY3514" fmla="*/ 5122934 h 5818346"/>
              <a:gd name="connsiteX3515" fmla="*/ 1189139 w 3503192"/>
              <a:gd name="connsiteY3515" fmla="*/ 5112196 h 5818346"/>
              <a:gd name="connsiteX3516" fmla="*/ 1199875 w 3503192"/>
              <a:gd name="connsiteY3516" fmla="*/ 5101459 h 5818346"/>
              <a:gd name="connsiteX3517" fmla="*/ 2201370 w 3503192"/>
              <a:gd name="connsiteY3517" fmla="*/ 5097991 h 5818346"/>
              <a:gd name="connsiteX3518" fmla="*/ 2212108 w 3503192"/>
              <a:gd name="connsiteY3518" fmla="*/ 5108727 h 5818346"/>
              <a:gd name="connsiteX3519" fmla="*/ 2201370 w 3503192"/>
              <a:gd name="connsiteY3519" fmla="*/ 5119465 h 5818346"/>
              <a:gd name="connsiteX3520" fmla="*/ 2190634 w 3503192"/>
              <a:gd name="connsiteY3520" fmla="*/ 5108727 h 5818346"/>
              <a:gd name="connsiteX3521" fmla="*/ 2201370 w 3503192"/>
              <a:gd name="connsiteY3521" fmla="*/ 5097991 h 5818346"/>
              <a:gd name="connsiteX3522" fmla="*/ 1086397 w 3503192"/>
              <a:gd name="connsiteY3522" fmla="*/ 5096834 h 5818346"/>
              <a:gd name="connsiteX3523" fmla="*/ 1097133 w 3503192"/>
              <a:gd name="connsiteY3523" fmla="*/ 5107571 h 5818346"/>
              <a:gd name="connsiteX3524" fmla="*/ 1086397 w 3503192"/>
              <a:gd name="connsiteY3524" fmla="*/ 5118309 h 5818346"/>
              <a:gd name="connsiteX3525" fmla="*/ 1075661 w 3503192"/>
              <a:gd name="connsiteY3525" fmla="*/ 5107571 h 5818346"/>
              <a:gd name="connsiteX3526" fmla="*/ 1086397 w 3503192"/>
              <a:gd name="connsiteY3526" fmla="*/ 5096834 h 5818346"/>
              <a:gd name="connsiteX3527" fmla="*/ 1463340 w 3503192"/>
              <a:gd name="connsiteY3527" fmla="*/ 5094191 h 5818346"/>
              <a:gd name="connsiteX3528" fmla="*/ 1474076 w 3503192"/>
              <a:gd name="connsiteY3528" fmla="*/ 5104928 h 5818346"/>
              <a:gd name="connsiteX3529" fmla="*/ 1463340 w 3503192"/>
              <a:gd name="connsiteY3529" fmla="*/ 5115664 h 5818346"/>
              <a:gd name="connsiteX3530" fmla="*/ 1452604 w 3503192"/>
              <a:gd name="connsiteY3530" fmla="*/ 5104928 h 5818346"/>
              <a:gd name="connsiteX3531" fmla="*/ 1463340 w 3503192"/>
              <a:gd name="connsiteY3531" fmla="*/ 5094191 h 5818346"/>
              <a:gd name="connsiteX3532" fmla="*/ 1357293 w 3503192"/>
              <a:gd name="connsiteY3532" fmla="*/ 5093036 h 5818346"/>
              <a:gd name="connsiteX3533" fmla="*/ 1368031 w 3503192"/>
              <a:gd name="connsiteY3533" fmla="*/ 5103773 h 5818346"/>
              <a:gd name="connsiteX3534" fmla="*/ 1357293 w 3503192"/>
              <a:gd name="connsiteY3534" fmla="*/ 5114509 h 5818346"/>
              <a:gd name="connsiteX3535" fmla="*/ 1346556 w 3503192"/>
              <a:gd name="connsiteY3535" fmla="*/ 5103773 h 5818346"/>
              <a:gd name="connsiteX3536" fmla="*/ 1357293 w 3503192"/>
              <a:gd name="connsiteY3536" fmla="*/ 5093036 h 5818346"/>
              <a:gd name="connsiteX3537" fmla="*/ 1061784 w 3503192"/>
              <a:gd name="connsiteY3537" fmla="*/ 5092705 h 5818346"/>
              <a:gd name="connsiteX3538" fmla="*/ 1072520 w 3503192"/>
              <a:gd name="connsiteY3538" fmla="*/ 5103442 h 5818346"/>
              <a:gd name="connsiteX3539" fmla="*/ 1061784 w 3503192"/>
              <a:gd name="connsiteY3539" fmla="*/ 5114180 h 5818346"/>
              <a:gd name="connsiteX3540" fmla="*/ 1051047 w 3503192"/>
              <a:gd name="connsiteY3540" fmla="*/ 5103442 h 5818346"/>
              <a:gd name="connsiteX3541" fmla="*/ 1061784 w 3503192"/>
              <a:gd name="connsiteY3541" fmla="*/ 5092705 h 5818346"/>
              <a:gd name="connsiteX3542" fmla="*/ 1037337 w 3503192"/>
              <a:gd name="connsiteY3542" fmla="*/ 5092705 h 5818346"/>
              <a:gd name="connsiteX3543" fmla="*/ 1048075 w 3503192"/>
              <a:gd name="connsiteY3543" fmla="*/ 5103442 h 5818346"/>
              <a:gd name="connsiteX3544" fmla="*/ 1037337 w 3503192"/>
              <a:gd name="connsiteY3544" fmla="*/ 5114180 h 5818346"/>
              <a:gd name="connsiteX3545" fmla="*/ 1026600 w 3503192"/>
              <a:gd name="connsiteY3545" fmla="*/ 5103442 h 5818346"/>
              <a:gd name="connsiteX3546" fmla="*/ 1037337 w 3503192"/>
              <a:gd name="connsiteY3546" fmla="*/ 5092705 h 5818346"/>
              <a:gd name="connsiteX3547" fmla="*/ 1587888 w 3503192"/>
              <a:gd name="connsiteY3547" fmla="*/ 5087088 h 5818346"/>
              <a:gd name="connsiteX3548" fmla="*/ 1598624 w 3503192"/>
              <a:gd name="connsiteY3548" fmla="*/ 5097825 h 5818346"/>
              <a:gd name="connsiteX3549" fmla="*/ 1587888 w 3503192"/>
              <a:gd name="connsiteY3549" fmla="*/ 5108563 h 5818346"/>
              <a:gd name="connsiteX3550" fmla="*/ 1577151 w 3503192"/>
              <a:gd name="connsiteY3550" fmla="*/ 5097825 h 5818346"/>
              <a:gd name="connsiteX3551" fmla="*/ 1587888 w 3503192"/>
              <a:gd name="connsiteY3551" fmla="*/ 5087088 h 5818346"/>
              <a:gd name="connsiteX3552" fmla="*/ 1267765 w 3503192"/>
              <a:gd name="connsiteY3552" fmla="*/ 5085273 h 5818346"/>
              <a:gd name="connsiteX3553" fmla="*/ 1278503 w 3503192"/>
              <a:gd name="connsiteY3553" fmla="*/ 5096009 h 5818346"/>
              <a:gd name="connsiteX3554" fmla="*/ 1267765 w 3503192"/>
              <a:gd name="connsiteY3554" fmla="*/ 5106745 h 5818346"/>
              <a:gd name="connsiteX3555" fmla="*/ 1257029 w 3503192"/>
              <a:gd name="connsiteY3555" fmla="*/ 5096009 h 5818346"/>
              <a:gd name="connsiteX3556" fmla="*/ 1267765 w 3503192"/>
              <a:gd name="connsiteY3556" fmla="*/ 5085273 h 5818346"/>
              <a:gd name="connsiteX3557" fmla="*/ 1101758 w 3503192"/>
              <a:gd name="connsiteY3557" fmla="*/ 5083290 h 5818346"/>
              <a:gd name="connsiteX3558" fmla="*/ 1112495 w 3503192"/>
              <a:gd name="connsiteY3558" fmla="*/ 5094027 h 5818346"/>
              <a:gd name="connsiteX3559" fmla="*/ 1101758 w 3503192"/>
              <a:gd name="connsiteY3559" fmla="*/ 5104763 h 5818346"/>
              <a:gd name="connsiteX3560" fmla="*/ 1091022 w 3503192"/>
              <a:gd name="connsiteY3560" fmla="*/ 5094027 h 5818346"/>
              <a:gd name="connsiteX3561" fmla="*/ 1101758 w 3503192"/>
              <a:gd name="connsiteY3561" fmla="*/ 5083290 h 5818346"/>
              <a:gd name="connsiteX3562" fmla="*/ 1139749 w 3503192"/>
              <a:gd name="connsiteY3562" fmla="*/ 5082630 h 5818346"/>
              <a:gd name="connsiteX3563" fmla="*/ 1150487 w 3503192"/>
              <a:gd name="connsiteY3563" fmla="*/ 5093366 h 5818346"/>
              <a:gd name="connsiteX3564" fmla="*/ 1139749 w 3503192"/>
              <a:gd name="connsiteY3564" fmla="*/ 5104102 h 5818346"/>
              <a:gd name="connsiteX3565" fmla="*/ 1129013 w 3503192"/>
              <a:gd name="connsiteY3565" fmla="*/ 5093366 h 5818346"/>
              <a:gd name="connsiteX3566" fmla="*/ 1139749 w 3503192"/>
              <a:gd name="connsiteY3566" fmla="*/ 5082630 h 5818346"/>
              <a:gd name="connsiteX3567" fmla="*/ 1002320 w 3503192"/>
              <a:gd name="connsiteY3567" fmla="*/ 5080151 h 5818346"/>
              <a:gd name="connsiteX3568" fmla="*/ 1012892 w 3503192"/>
              <a:gd name="connsiteY3568" fmla="*/ 5090723 h 5818346"/>
              <a:gd name="connsiteX3569" fmla="*/ 1002320 w 3503192"/>
              <a:gd name="connsiteY3569" fmla="*/ 5101295 h 5818346"/>
              <a:gd name="connsiteX3570" fmla="*/ 991749 w 3503192"/>
              <a:gd name="connsiteY3570" fmla="*/ 5090723 h 5818346"/>
              <a:gd name="connsiteX3571" fmla="*/ 1002320 w 3503192"/>
              <a:gd name="connsiteY3571" fmla="*/ 5080151 h 5818346"/>
              <a:gd name="connsiteX3572" fmla="*/ 1073181 w 3503192"/>
              <a:gd name="connsiteY3572" fmla="*/ 5079655 h 5818346"/>
              <a:gd name="connsiteX3573" fmla="*/ 1083919 w 3503192"/>
              <a:gd name="connsiteY3573" fmla="*/ 5090392 h 5818346"/>
              <a:gd name="connsiteX3574" fmla="*/ 1073181 w 3503192"/>
              <a:gd name="connsiteY3574" fmla="*/ 5101128 h 5818346"/>
              <a:gd name="connsiteX3575" fmla="*/ 1062444 w 3503192"/>
              <a:gd name="connsiteY3575" fmla="*/ 5090392 h 5818346"/>
              <a:gd name="connsiteX3576" fmla="*/ 1073181 w 3503192"/>
              <a:gd name="connsiteY3576" fmla="*/ 5079655 h 5818346"/>
              <a:gd name="connsiteX3577" fmla="*/ 1049396 w 3503192"/>
              <a:gd name="connsiteY3577" fmla="*/ 5076022 h 5818346"/>
              <a:gd name="connsiteX3578" fmla="*/ 1060133 w 3503192"/>
              <a:gd name="connsiteY3578" fmla="*/ 5086759 h 5818346"/>
              <a:gd name="connsiteX3579" fmla="*/ 1049396 w 3503192"/>
              <a:gd name="connsiteY3579" fmla="*/ 5097495 h 5818346"/>
              <a:gd name="connsiteX3580" fmla="*/ 1038660 w 3503192"/>
              <a:gd name="connsiteY3580" fmla="*/ 5086759 h 5818346"/>
              <a:gd name="connsiteX3581" fmla="*/ 1049396 w 3503192"/>
              <a:gd name="connsiteY3581" fmla="*/ 5076022 h 5818346"/>
              <a:gd name="connsiteX3582" fmla="*/ 1026932 w 3503192"/>
              <a:gd name="connsiteY3582" fmla="*/ 5075195 h 5818346"/>
              <a:gd name="connsiteX3583" fmla="*/ 1037668 w 3503192"/>
              <a:gd name="connsiteY3583" fmla="*/ 5085932 h 5818346"/>
              <a:gd name="connsiteX3584" fmla="*/ 1026932 w 3503192"/>
              <a:gd name="connsiteY3584" fmla="*/ 5096670 h 5818346"/>
              <a:gd name="connsiteX3585" fmla="*/ 1016195 w 3503192"/>
              <a:gd name="connsiteY3585" fmla="*/ 5085932 h 5818346"/>
              <a:gd name="connsiteX3586" fmla="*/ 1026932 w 3503192"/>
              <a:gd name="connsiteY3586" fmla="*/ 5075195 h 5818346"/>
              <a:gd name="connsiteX3587" fmla="*/ 1192278 w 3503192"/>
              <a:gd name="connsiteY3587" fmla="*/ 5072719 h 5818346"/>
              <a:gd name="connsiteX3588" fmla="*/ 1203016 w 3503192"/>
              <a:gd name="connsiteY3588" fmla="*/ 5083455 h 5818346"/>
              <a:gd name="connsiteX3589" fmla="*/ 1192278 w 3503192"/>
              <a:gd name="connsiteY3589" fmla="*/ 5094193 h 5818346"/>
              <a:gd name="connsiteX3590" fmla="*/ 1181541 w 3503192"/>
              <a:gd name="connsiteY3590" fmla="*/ 5083455 h 5818346"/>
              <a:gd name="connsiteX3591" fmla="*/ 1192278 w 3503192"/>
              <a:gd name="connsiteY3591" fmla="*/ 5072719 h 5818346"/>
              <a:gd name="connsiteX3592" fmla="*/ 2049074 w 3503192"/>
              <a:gd name="connsiteY3592" fmla="*/ 5071397 h 5818346"/>
              <a:gd name="connsiteX3593" fmla="*/ 2059810 w 3503192"/>
              <a:gd name="connsiteY3593" fmla="*/ 5082134 h 5818346"/>
              <a:gd name="connsiteX3594" fmla="*/ 2049074 w 3503192"/>
              <a:gd name="connsiteY3594" fmla="*/ 5092870 h 5818346"/>
              <a:gd name="connsiteX3595" fmla="*/ 2038337 w 3503192"/>
              <a:gd name="connsiteY3595" fmla="*/ 5082134 h 5818346"/>
              <a:gd name="connsiteX3596" fmla="*/ 2049074 w 3503192"/>
              <a:gd name="connsiteY3596" fmla="*/ 5071397 h 5818346"/>
              <a:gd name="connsiteX3597" fmla="*/ 1733741 w 3503192"/>
              <a:gd name="connsiteY3597" fmla="*/ 5069911 h 5818346"/>
              <a:gd name="connsiteX3598" fmla="*/ 1744479 w 3503192"/>
              <a:gd name="connsiteY3598" fmla="*/ 5080647 h 5818346"/>
              <a:gd name="connsiteX3599" fmla="*/ 1733741 w 3503192"/>
              <a:gd name="connsiteY3599" fmla="*/ 5091384 h 5818346"/>
              <a:gd name="connsiteX3600" fmla="*/ 1723005 w 3503192"/>
              <a:gd name="connsiteY3600" fmla="*/ 5080647 h 5818346"/>
              <a:gd name="connsiteX3601" fmla="*/ 1733741 w 3503192"/>
              <a:gd name="connsiteY3601" fmla="*/ 5069911 h 5818346"/>
              <a:gd name="connsiteX3602" fmla="*/ 2935600 w 3503192"/>
              <a:gd name="connsiteY3602" fmla="*/ 5063798 h 5818346"/>
              <a:gd name="connsiteX3603" fmla="*/ 2946337 w 3503192"/>
              <a:gd name="connsiteY3603" fmla="*/ 5074534 h 5818346"/>
              <a:gd name="connsiteX3604" fmla="*/ 2935600 w 3503192"/>
              <a:gd name="connsiteY3604" fmla="*/ 5085273 h 5818346"/>
              <a:gd name="connsiteX3605" fmla="*/ 2924864 w 3503192"/>
              <a:gd name="connsiteY3605" fmla="*/ 5074534 h 5818346"/>
              <a:gd name="connsiteX3606" fmla="*/ 2935600 w 3503192"/>
              <a:gd name="connsiteY3606" fmla="*/ 5063798 h 5818346"/>
              <a:gd name="connsiteX3607" fmla="*/ 2762822 w 3503192"/>
              <a:gd name="connsiteY3607" fmla="*/ 5062312 h 5818346"/>
              <a:gd name="connsiteX3608" fmla="*/ 2773560 w 3503192"/>
              <a:gd name="connsiteY3608" fmla="*/ 5073048 h 5818346"/>
              <a:gd name="connsiteX3609" fmla="*/ 2762822 w 3503192"/>
              <a:gd name="connsiteY3609" fmla="*/ 5083786 h 5818346"/>
              <a:gd name="connsiteX3610" fmla="*/ 2752085 w 3503192"/>
              <a:gd name="connsiteY3610" fmla="*/ 5073048 h 5818346"/>
              <a:gd name="connsiteX3611" fmla="*/ 2762822 w 3503192"/>
              <a:gd name="connsiteY3611" fmla="*/ 5062312 h 5818346"/>
              <a:gd name="connsiteX3612" fmla="*/ 1088709 w 3503192"/>
              <a:gd name="connsiteY3612" fmla="*/ 5062147 h 5818346"/>
              <a:gd name="connsiteX3613" fmla="*/ 1099445 w 3503192"/>
              <a:gd name="connsiteY3613" fmla="*/ 5072883 h 5818346"/>
              <a:gd name="connsiteX3614" fmla="*/ 1088709 w 3503192"/>
              <a:gd name="connsiteY3614" fmla="*/ 5083620 h 5818346"/>
              <a:gd name="connsiteX3615" fmla="*/ 1077972 w 3503192"/>
              <a:gd name="connsiteY3615" fmla="*/ 5072883 h 5818346"/>
              <a:gd name="connsiteX3616" fmla="*/ 1088709 w 3503192"/>
              <a:gd name="connsiteY3616" fmla="*/ 5062147 h 5818346"/>
              <a:gd name="connsiteX3617" fmla="*/ 1059306 w 3503192"/>
              <a:gd name="connsiteY3617" fmla="*/ 5061320 h 5818346"/>
              <a:gd name="connsiteX3618" fmla="*/ 1070042 w 3503192"/>
              <a:gd name="connsiteY3618" fmla="*/ 5072056 h 5818346"/>
              <a:gd name="connsiteX3619" fmla="*/ 1059306 w 3503192"/>
              <a:gd name="connsiteY3619" fmla="*/ 5082794 h 5818346"/>
              <a:gd name="connsiteX3620" fmla="*/ 1048569 w 3503192"/>
              <a:gd name="connsiteY3620" fmla="*/ 5072056 h 5818346"/>
              <a:gd name="connsiteX3621" fmla="*/ 1059306 w 3503192"/>
              <a:gd name="connsiteY3621" fmla="*/ 5061320 h 5818346"/>
              <a:gd name="connsiteX3622" fmla="*/ 993233 w 3503192"/>
              <a:gd name="connsiteY3622" fmla="*/ 5060990 h 5818346"/>
              <a:gd name="connsiteX3623" fmla="*/ 1003969 w 3503192"/>
              <a:gd name="connsiteY3623" fmla="*/ 5071727 h 5818346"/>
              <a:gd name="connsiteX3624" fmla="*/ 993233 w 3503192"/>
              <a:gd name="connsiteY3624" fmla="*/ 5082463 h 5818346"/>
              <a:gd name="connsiteX3625" fmla="*/ 982497 w 3503192"/>
              <a:gd name="connsiteY3625" fmla="*/ 5071727 h 5818346"/>
              <a:gd name="connsiteX3626" fmla="*/ 993233 w 3503192"/>
              <a:gd name="connsiteY3626" fmla="*/ 5060990 h 5818346"/>
              <a:gd name="connsiteX3627" fmla="*/ 3107885 w 3503192"/>
              <a:gd name="connsiteY3627" fmla="*/ 5059008 h 5818346"/>
              <a:gd name="connsiteX3628" fmla="*/ 3118623 w 3503192"/>
              <a:gd name="connsiteY3628" fmla="*/ 5069745 h 5818346"/>
              <a:gd name="connsiteX3629" fmla="*/ 3107885 w 3503192"/>
              <a:gd name="connsiteY3629" fmla="*/ 5080481 h 5818346"/>
              <a:gd name="connsiteX3630" fmla="*/ 3097148 w 3503192"/>
              <a:gd name="connsiteY3630" fmla="*/ 5069745 h 5818346"/>
              <a:gd name="connsiteX3631" fmla="*/ 3107885 w 3503192"/>
              <a:gd name="connsiteY3631" fmla="*/ 5059008 h 5818346"/>
              <a:gd name="connsiteX3632" fmla="*/ 1036182 w 3503192"/>
              <a:gd name="connsiteY3632" fmla="*/ 5058512 h 5818346"/>
              <a:gd name="connsiteX3633" fmla="*/ 1046918 w 3503192"/>
              <a:gd name="connsiteY3633" fmla="*/ 5069249 h 5818346"/>
              <a:gd name="connsiteX3634" fmla="*/ 1036182 w 3503192"/>
              <a:gd name="connsiteY3634" fmla="*/ 5079985 h 5818346"/>
              <a:gd name="connsiteX3635" fmla="*/ 1025446 w 3503192"/>
              <a:gd name="connsiteY3635" fmla="*/ 5069249 h 5818346"/>
              <a:gd name="connsiteX3636" fmla="*/ 1036182 w 3503192"/>
              <a:gd name="connsiteY3636" fmla="*/ 5058512 h 5818346"/>
              <a:gd name="connsiteX3637" fmla="*/ 1015203 w 3503192"/>
              <a:gd name="connsiteY3637" fmla="*/ 5057522 h 5818346"/>
              <a:gd name="connsiteX3638" fmla="*/ 1025940 w 3503192"/>
              <a:gd name="connsiteY3638" fmla="*/ 5068258 h 5818346"/>
              <a:gd name="connsiteX3639" fmla="*/ 1015203 w 3503192"/>
              <a:gd name="connsiteY3639" fmla="*/ 5078995 h 5818346"/>
              <a:gd name="connsiteX3640" fmla="*/ 1004467 w 3503192"/>
              <a:gd name="connsiteY3640" fmla="*/ 5068258 h 5818346"/>
              <a:gd name="connsiteX3641" fmla="*/ 1015203 w 3503192"/>
              <a:gd name="connsiteY3641" fmla="*/ 5057522 h 5818346"/>
              <a:gd name="connsiteX3642" fmla="*/ 959702 w 3503192"/>
              <a:gd name="connsiteY3642" fmla="*/ 5057522 h 5818346"/>
              <a:gd name="connsiteX3643" fmla="*/ 963173 w 3503192"/>
              <a:gd name="connsiteY3643" fmla="*/ 5060990 h 5818346"/>
              <a:gd name="connsiteX3644" fmla="*/ 959702 w 3503192"/>
              <a:gd name="connsiteY3644" fmla="*/ 5064459 h 5818346"/>
              <a:gd name="connsiteX3645" fmla="*/ 956234 w 3503192"/>
              <a:gd name="connsiteY3645" fmla="*/ 5060990 h 5818346"/>
              <a:gd name="connsiteX3646" fmla="*/ 959702 w 3503192"/>
              <a:gd name="connsiteY3646" fmla="*/ 5057522 h 5818346"/>
              <a:gd name="connsiteX3647" fmla="*/ 1128848 w 3503192"/>
              <a:gd name="connsiteY3647" fmla="*/ 5056695 h 5818346"/>
              <a:gd name="connsiteX3648" fmla="*/ 1139584 w 3503192"/>
              <a:gd name="connsiteY3648" fmla="*/ 5067431 h 5818346"/>
              <a:gd name="connsiteX3649" fmla="*/ 1128848 w 3503192"/>
              <a:gd name="connsiteY3649" fmla="*/ 5078169 h 5818346"/>
              <a:gd name="connsiteX3650" fmla="*/ 1118112 w 3503192"/>
              <a:gd name="connsiteY3650" fmla="*/ 5067431 h 5818346"/>
              <a:gd name="connsiteX3651" fmla="*/ 1128848 w 3503192"/>
              <a:gd name="connsiteY3651" fmla="*/ 5056695 h 5818346"/>
              <a:gd name="connsiteX3652" fmla="*/ 2591362 w 3503192"/>
              <a:gd name="connsiteY3652" fmla="*/ 5054548 h 5818346"/>
              <a:gd name="connsiteX3653" fmla="*/ 2602101 w 3503192"/>
              <a:gd name="connsiteY3653" fmla="*/ 5065284 h 5818346"/>
              <a:gd name="connsiteX3654" fmla="*/ 2591362 w 3503192"/>
              <a:gd name="connsiteY3654" fmla="*/ 5076022 h 5818346"/>
              <a:gd name="connsiteX3655" fmla="*/ 2580626 w 3503192"/>
              <a:gd name="connsiteY3655" fmla="*/ 5065284 h 5818346"/>
              <a:gd name="connsiteX3656" fmla="*/ 2591362 w 3503192"/>
              <a:gd name="connsiteY3656" fmla="*/ 5054548 h 5818346"/>
              <a:gd name="connsiteX3657" fmla="*/ 1361259 w 3503192"/>
              <a:gd name="connsiteY3657" fmla="*/ 5050584 h 5818346"/>
              <a:gd name="connsiteX3658" fmla="*/ 1371995 w 3503192"/>
              <a:gd name="connsiteY3658" fmla="*/ 5061320 h 5818346"/>
              <a:gd name="connsiteX3659" fmla="*/ 1361259 w 3503192"/>
              <a:gd name="connsiteY3659" fmla="*/ 5072056 h 5818346"/>
              <a:gd name="connsiteX3660" fmla="*/ 1350522 w 3503192"/>
              <a:gd name="connsiteY3660" fmla="*/ 5061320 h 5818346"/>
              <a:gd name="connsiteX3661" fmla="*/ 1361259 w 3503192"/>
              <a:gd name="connsiteY3661" fmla="*/ 5050584 h 5818346"/>
              <a:gd name="connsiteX3662" fmla="*/ 1265783 w 3503192"/>
              <a:gd name="connsiteY3662" fmla="*/ 5048107 h 5818346"/>
              <a:gd name="connsiteX3663" fmla="*/ 1276519 w 3503192"/>
              <a:gd name="connsiteY3663" fmla="*/ 5058844 h 5818346"/>
              <a:gd name="connsiteX3664" fmla="*/ 1265783 w 3503192"/>
              <a:gd name="connsiteY3664" fmla="*/ 5069580 h 5818346"/>
              <a:gd name="connsiteX3665" fmla="*/ 1255047 w 3503192"/>
              <a:gd name="connsiteY3665" fmla="*/ 5058844 h 5818346"/>
              <a:gd name="connsiteX3666" fmla="*/ 1265783 w 3503192"/>
              <a:gd name="connsiteY3666" fmla="*/ 5048107 h 5818346"/>
              <a:gd name="connsiteX3667" fmla="*/ 3278187 w 3503192"/>
              <a:gd name="connsiteY3667" fmla="*/ 5047776 h 5818346"/>
              <a:gd name="connsiteX3668" fmla="*/ 3288926 w 3503192"/>
              <a:gd name="connsiteY3668" fmla="*/ 5058512 h 5818346"/>
              <a:gd name="connsiteX3669" fmla="*/ 3278187 w 3503192"/>
              <a:gd name="connsiteY3669" fmla="*/ 5069250 h 5818346"/>
              <a:gd name="connsiteX3670" fmla="*/ 3267451 w 3503192"/>
              <a:gd name="connsiteY3670" fmla="*/ 5058512 h 5818346"/>
              <a:gd name="connsiteX3671" fmla="*/ 3278187 w 3503192"/>
              <a:gd name="connsiteY3671" fmla="*/ 5047776 h 5818346"/>
              <a:gd name="connsiteX3672" fmla="*/ 1474408 w 3503192"/>
              <a:gd name="connsiteY3672" fmla="*/ 5045464 h 5818346"/>
              <a:gd name="connsiteX3673" fmla="*/ 1485146 w 3503192"/>
              <a:gd name="connsiteY3673" fmla="*/ 5056201 h 5818346"/>
              <a:gd name="connsiteX3674" fmla="*/ 1474408 w 3503192"/>
              <a:gd name="connsiteY3674" fmla="*/ 5066937 h 5818346"/>
              <a:gd name="connsiteX3675" fmla="*/ 1463671 w 3503192"/>
              <a:gd name="connsiteY3675" fmla="*/ 5056201 h 5818346"/>
              <a:gd name="connsiteX3676" fmla="*/ 1474408 w 3503192"/>
              <a:gd name="connsiteY3676" fmla="*/ 5045464 h 5818346"/>
              <a:gd name="connsiteX3677" fmla="*/ 982663 w 3503192"/>
              <a:gd name="connsiteY3677" fmla="*/ 5041994 h 5818346"/>
              <a:gd name="connsiteX3678" fmla="*/ 993400 w 3503192"/>
              <a:gd name="connsiteY3678" fmla="*/ 5052731 h 5818346"/>
              <a:gd name="connsiteX3679" fmla="*/ 982663 w 3503192"/>
              <a:gd name="connsiteY3679" fmla="*/ 5063467 h 5818346"/>
              <a:gd name="connsiteX3680" fmla="*/ 971927 w 3503192"/>
              <a:gd name="connsiteY3680" fmla="*/ 5052731 h 5818346"/>
              <a:gd name="connsiteX3681" fmla="*/ 982663 w 3503192"/>
              <a:gd name="connsiteY3681" fmla="*/ 5041994 h 5818346"/>
              <a:gd name="connsiteX3682" fmla="*/ 1044936 w 3503192"/>
              <a:gd name="connsiteY3682" fmla="*/ 5041169 h 5818346"/>
              <a:gd name="connsiteX3683" fmla="*/ 1055672 w 3503192"/>
              <a:gd name="connsiteY3683" fmla="*/ 5051905 h 5818346"/>
              <a:gd name="connsiteX3684" fmla="*/ 1044936 w 3503192"/>
              <a:gd name="connsiteY3684" fmla="*/ 5062643 h 5818346"/>
              <a:gd name="connsiteX3685" fmla="*/ 1034200 w 3503192"/>
              <a:gd name="connsiteY3685" fmla="*/ 5051905 h 5818346"/>
              <a:gd name="connsiteX3686" fmla="*/ 1044936 w 3503192"/>
              <a:gd name="connsiteY3686" fmla="*/ 5041169 h 5818346"/>
              <a:gd name="connsiteX3687" fmla="*/ 2422384 w 3503192"/>
              <a:gd name="connsiteY3687" fmla="*/ 5040508 h 5818346"/>
              <a:gd name="connsiteX3688" fmla="*/ 2433122 w 3503192"/>
              <a:gd name="connsiteY3688" fmla="*/ 5051244 h 5818346"/>
              <a:gd name="connsiteX3689" fmla="*/ 2422384 w 3503192"/>
              <a:gd name="connsiteY3689" fmla="*/ 5061981 h 5818346"/>
              <a:gd name="connsiteX3690" fmla="*/ 2411647 w 3503192"/>
              <a:gd name="connsiteY3690" fmla="*/ 5051244 h 5818346"/>
              <a:gd name="connsiteX3691" fmla="*/ 2422384 w 3503192"/>
              <a:gd name="connsiteY3691" fmla="*/ 5040508 h 5818346"/>
              <a:gd name="connsiteX3692" fmla="*/ 1902887 w 3503192"/>
              <a:gd name="connsiteY3692" fmla="*/ 5040343 h 5818346"/>
              <a:gd name="connsiteX3693" fmla="*/ 1913623 w 3503192"/>
              <a:gd name="connsiteY3693" fmla="*/ 5051080 h 5818346"/>
              <a:gd name="connsiteX3694" fmla="*/ 1902887 w 3503192"/>
              <a:gd name="connsiteY3694" fmla="*/ 5061816 h 5818346"/>
              <a:gd name="connsiteX3695" fmla="*/ 1892150 w 3503192"/>
              <a:gd name="connsiteY3695" fmla="*/ 5051080 h 5818346"/>
              <a:gd name="connsiteX3696" fmla="*/ 1902887 w 3503192"/>
              <a:gd name="connsiteY3696" fmla="*/ 5040343 h 5818346"/>
              <a:gd name="connsiteX3697" fmla="*/ 1185670 w 3503192"/>
              <a:gd name="connsiteY3697" fmla="*/ 5039847 h 5818346"/>
              <a:gd name="connsiteX3698" fmla="*/ 1196409 w 3503192"/>
              <a:gd name="connsiteY3698" fmla="*/ 5050584 h 5818346"/>
              <a:gd name="connsiteX3699" fmla="*/ 1185670 w 3503192"/>
              <a:gd name="connsiteY3699" fmla="*/ 5061320 h 5818346"/>
              <a:gd name="connsiteX3700" fmla="*/ 1174934 w 3503192"/>
              <a:gd name="connsiteY3700" fmla="*/ 5050584 h 5818346"/>
              <a:gd name="connsiteX3701" fmla="*/ 1185670 w 3503192"/>
              <a:gd name="connsiteY3701" fmla="*/ 5039847 h 5818346"/>
              <a:gd name="connsiteX3702" fmla="*/ 1002485 w 3503192"/>
              <a:gd name="connsiteY3702" fmla="*/ 5039351 h 5818346"/>
              <a:gd name="connsiteX3703" fmla="*/ 1012725 w 3503192"/>
              <a:gd name="connsiteY3703" fmla="*/ 5049592 h 5818346"/>
              <a:gd name="connsiteX3704" fmla="*/ 1022140 w 3503192"/>
              <a:gd name="connsiteY3704" fmla="*/ 5040177 h 5818346"/>
              <a:gd name="connsiteX3705" fmla="*/ 1032876 w 3503192"/>
              <a:gd name="connsiteY3705" fmla="*/ 5050913 h 5818346"/>
              <a:gd name="connsiteX3706" fmla="*/ 1022140 w 3503192"/>
              <a:gd name="connsiteY3706" fmla="*/ 5061651 h 5818346"/>
              <a:gd name="connsiteX3707" fmla="*/ 1011900 w 3503192"/>
              <a:gd name="connsiteY3707" fmla="*/ 5051409 h 5818346"/>
              <a:gd name="connsiteX3708" fmla="*/ 1002485 w 3503192"/>
              <a:gd name="connsiteY3708" fmla="*/ 5060824 h 5818346"/>
              <a:gd name="connsiteX3709" fmla="*/ 991749 w 3503192"/>
              <a:gd name="connsiteY3709" fmla="*/ 5050088 h 5818346"/>
              <a:gd name="connsiteX3710" fmla="*/ 1002485 w 3503192"/>
              <a:gd name="connsiteY3710" fmla="*/ 5039351 h 5818346"/>
              <a:gd name="connsiteX3711" fmla="*/ 1075494 w 3503192"/>
              <a:gd name="connsiteY3711" fmla="*/ 5038361 h 5818346"/>
              <a:gd name="connsiteX3712" fmla="*/ 1086232 w 3503192"/>
              <a:gd name="connsiteY3712" fmla="*/ 5049097 h 5818346"/>
              <a:gd name="connsiteX3713" fmla="*/ 1075494 w 3503192"/>
              <a:gd name="connsiteY3713" fmla="*/ 5059834 h 5818346"/>
              <a:gd name="connsiteX3714" fmla="*/ 1064758 w 3503192"/>
              <a:gd name="connsiteY3714" fmla="*/ 5049097 h 5818346"/>
              <a:gd name="connsiteX3715" fmla="*/ 1075494 w 3503192"/>
              <a:gd name="connsiteY3715" fmla="*/ 5038361 h 5818346"/>
              <a:gd name="connsiteX3716" fmla="*/ 1607543 w 3503192"/>
              <a:gd name="connsiteY3716" fmla="*/ 5031093 h 5818346"/>
              <a:gd name="connsiteX3717" fmla="*/ 1618281 w 3503192"/>
              <a:gd name="connsiteY3717" fmla="*/ 5041829 h 5818346"/>
              <a:gd name="connsiteX3718" fmla="*/ 1607543 w 3503192"/>
              <a:gd name="connsiteY3718" fmla="*/ 5052566 h 5818346"/>
              <a:gd name="connsiteX3719" fmla="*/ 1596806 w 3503192"/>
              <a:gd name="connsiteY3719" fmla="*/ 5041829 h 5818346"/>
              <a:gd name="connsiteX3720" fmla="*/ 1607543 w 3503192"/>
              <a:gd name="connsiteY3720" fmla="*/ 5031093 h 5818346"/>
              <a:gd name="connsiteX3721" fmla="*/ 3445184 w 3503192"/>
              <a:gd name="connsiteY3721" fmla="*/ 5030597 h 5818346"/>
              <a:gd name="connsiteX3722" fmla="*/ 3455922 w 3503192"/>
              <a:gd name="connsiteY3722" fmla="*/ 5041333 h 5818346"/>
              <a:gd name="connsiteX3723" fmla="*/ 3445184 w 3503192"/>
              <a:gd name="connsiteY3723" fmla="*/ 5052070 h 5818346"/>
              <a:gd name="connsiteX3724" fmla="*/ 3434448 w 3503192"/>
              <a:gd name="connsiteY3724" fmla="*/ 5041333 h 5818346"/>
              <a:gd name="connsiteX3725" fmla="*/ 3445184 w 3503192"/>
              <a:gd name="connsiteY3725" fmla="*/ 5030597 h 5818346"/>
              <a:gd name="connsiteX3726" fmla="*/ 950617 w 3503192"/>
              <a:gd name="connsiteY3726" fmla="*/ 5029772 h 5818346"/>
              <a:gd name="connsiteX3727" fmla="*/ 961353 w 3503192"/>
              <a:gd name="connsiteY3727" fmla="*/ 5040508 h 5818346"/>
              <a:gd name="connsiteX3728" fmla="*/ 950617 w 3503192"/>
              <a:gd name="connsiteY3728" fmla="*/ 5051246 h 5818346"/>
              <a:gd name="connsiteX3729" fmla="*/ 939881 w 3503192"/>
              <a:gd name="connsiteY3729" fmla="*/ 5040508 h 5818346"/>
              <a:gd name="connsiteX3730" fmla="*/ 950617 w 3503192"/>
              <a:gd name="connsiteY3730" fmla="*/ 5029772 h 5818346"/>
              <a:gd name="connsiteX3731" fmla="*/ 1118606 w 3503192"/>
              <a:gd name="connsiteY3731" fmla="*/ 5027293 h 5818346"/>
              <a:gd name="connsiteX3732" fmla="*/ 1129344 w 3503192"/>
              <a:gd name="connsiteY3732" fmla="*/ 5038030 h 5818346"/>
              <a:gd name="connsiteX3733" fmla="*/ 1118606 w 3503192"/>
              <a:gd name="connsiteY3733" fmla="*/ 5048768 h 5818346"/>
              <a:gd name="connsiteX3734" fmla="*/ 1107870 w 3503192"/>
              <a:gd name="connsiteY3734" fmla="*/ 5038030 h 5818346"/>
              <a:gd name="connsiteX3735" fmla="*/ 1118606 w 3503192"/>
              <a:gd name="connsiteY3735" fmla="*/ 5027293 h 5818346"/>
              <a:gd name="connsiteX3736" fmla="*/ 2257367 w 3503192"/>
              <a:gd name="connsiteY3736" fmla="*/ 5020686 h 5818346"/>
              <a:gd name="connsiteX3737" fmla="*/ 2268105 w 3503192"/>
              <a:gd name="connsiteY3737" fmla="*/ 5031423 h 5818346"/>
              <a:gd name="connsiteX3738" fmla="*/ 2257367 w 3503192"/>
              <a:gd name="connsiteY3738" fmla="*/ 5042159 h 5818346"/>
              <a:gd name="connsiteX3739" fmla="*/ 2246630 w 3503192"/>
              <a:gd name="connsiteY3739" fmla="*/ 5031423 h 5818346"/>
              <a:gd name="connsiteX3740" fmla="*/ 2257367 w 3503192"/>
              <a:gd name="connsiteY3740" fmla="*/ 5020686 h 5818346"/>
              <a:gd name="connsiteX3741" fmla="*/ 1007108 w 3503192"/>
              <a:gd name="connsiteY3741" fmla="*/ 5020521 h 5818346"/>
              <a:gd name="connsiteX3742" fmla="*/ 1017845 w 3503192"/>
              <a:gd name="connsiteY3742" fmla="*/ 5031258 h 5818346"/>
              <a:gd name="connsiteX3743" fmla="*/ 1007108 w 3503192"/>
              <a:gd name="connsiteY3743" fmla="*/ 5041996 h 5818346"/>
              <a:gd name="connsiteX3744" fmla="*/ 997941 w 3503192"/>
              <a:gd name="connsiteY3744" fmla="*/ 5032827 h 5818346"/>
              <a:gd name="connsiteX3745" fmla="*/ 988610 w 3503192"/>
              <a:gd name="connsiteY3745" fmla="*/ 5042159 h 5818346"/>
              <a:gd name="connsiteX3746" fmla="*/ 980762 w 3503192"/>
              <a:gd name="connsiteY3746" fmla="*/ 5034312 h 5818346"/>
              <a:gd name="connsiteX3747" fmla="*/ 970768 w 3503192"/>
              <a:gd name="connsiteY3747" fmla="*/ 5044306 h 5818346"/>
              <a:gd name="connsiteX3748" fmla="*/ 960032 w 3503192"/>
              <a:gd name="connsiteY3748" fmla="*/ 5033569 h 5818346"/>
              <a:gd name="connsiteX3749" fmla="*/ 970768 w 3503192"/>
              <a:gd name="connsiteY3749" fmla="*/ 5022833 h 5818346"/>
              <a:gd name="connsiteX3750" fmla="*/ 978616 w 3503192"/>
              <a:gd name="connsiteY3750" fmla="*/ 5030680 h 5818346"/>
              <a:gd name="connsiteX3751" fmla="*/ 988610 w 3503192"/>
              <a:gd name="connsiteY3751" fmla="*/ 5020686 h 5818346"/>
              <a:gd name="connsiteX3752" fmla="*/ 997777 w 3503192"/>
              <a:gd name="connsiteY3752" fmla="*/ 5029853 h 5818346"/>
              <a:gd name="connsiteX3753" fmla="*/ 1030235 w 3503192"/>
              <a:gd name="connsiteY3753" fmla="*/ 5018869 h 5818346"/>
              <a:gd name="connsiteX3754" fmla="*/ 1040972 w 3503192"/>
              <a:gd name="connsiteY3754" fmla="*/ 5029605 h 5818346"/>
              <a:gd name="connsiteX3755" fmla="*/ 1030235 w 3503192"/>
              <a:gd name="connsiteY3755" fmla="*/ 5040343 h 5818346"/>
              <a:gd name="connsiteX3756" fmla="*/ 1019499 w 3503192"/>
              <a:gd name="connsiteY3756" fmla="*/ 5029605 h 5818346"/>
              <a:gd name="connsiteX3757" fmla="*/ 1030235 w 3503192"/>
              <a:gd name="connsiteY3757" fmla="*/ 5018869 h 5818346"/>
              <a:gd name="connsiteX3758" fmla="*/ 1062444 w 3503192"/>
              <a:gd name="connsiteY3758" fmla="*/ 5011766 h 5818346"/>
              <a:gd name="connsiteX3759" fmla="*/ 1073182 w 3503192"/>
              <a:gd name="connsiteY3759" fmla="*/ 5022502 h 5818346"/>
              <a:gd name="connsiteX3760" fmla="*/ 1062444 w 3503192"/>
              <a:gd name="connsiteY3760" fmla="*/ 5033240 h 5818346"/>
              <a:gd name="connsiteX3761" fmla="*/ 1051708 w 3503192"/>
              <a:gd name="connsiteY3761" fmla="*/ 5022502 h 5818346"/>
              <a:gd name="connsiteX3762" fmla="*/ 1062444 w 3503192"/>
              <a:gd name="connsiteY3762" fmla="*/ 5011766 h 5818346"/>
              <a:gd name="connsiteX3763" fmla="*/ 939881 w 3503192"/>
              <a:gd name="connsiteY3763" fmla="*/ 5009289 h 5818346"/>
              <a:gd name="connsiteX3764" fmla="*/ 950617 w 3503192"/>
              <a:gd name="connsiteY3764" fmla="*/ 5020025 h 5818346"/>
              <a:gd name="connsiteX3765" fmla="*/ 939881 w 3503192"/>
              <a:gd name="connsiteY3765" fmla="*/ 5030762 h 5818346"/>
              <a:gd name="connsiteX3766" fmla="*/ 929144 w 3503192"/>
              <a:gd name="connsiteY3766" fmla="*/ 5020025 h 5818346"/>
              <a:gd name="connsiteX3767" fmla="*/ 939881 w 3503192"/>
              <a:gd name="connsiteY3767" fmla="*/ 5009289 h 5818346"/>
              <a:gd name="connsiteX3768" fmla="*/ 1265618 w 3503192"/>
              <a:gd name="connsiteY3768" fmla="*/ 5005490 h 5818346"/>
              <a:gd name="connsiteX3769" fmla="*/ 1276355 w 3503192"/>
              <a:gd name="connsiteY3769" fmla="*/ 5016226 h 5818346"/>
              <a:gd name="connsiteX3770" fmla="*/ 1265618 w 3503192"/>
              <a:gd name="connsiteY3770" fmla="*/ 5026964 h 5818346"/>
              <a:gd name="connsiteX3771" fmla="*/ 1254882 w 3503192"/>
              <a:gd name="connsiteY3771" fmla="*/ 5016226 h 5818346"/>
              <a:gd name="connsiteX3772" fmla="*/ 1265618 w 3503192"/>
              <a:gd name="connsiteY3772" fmla="*/ 5005490 h 5818346"/>
              <a:gd name="connsiteX3773" fmla="*/ 1763144 w 3503192"/>
              <a:gd name="connsiteY3773" fmla="*/ 5005325 h 5818346"/>
              <a:gd name="connsiteX3774" fmla="*/ 1773882 w 3503192"/>
              <a:gd name="connsiteY3774" fmla="*/ 5016061 h 5818346"/>
              <a:gd name="connsiteX3775" fmla="*/ 1763144 w 3503192"/>
              <a:gd name="connsiteY3775" fmla="*/ 5026797 h 5818346"/>
              <a:gd name="connsiteX3776" fmla="*/ 1752408 w 3503192"/>
              <a:gd name="connsiteY3776" fmla="*/ 5016061 h 5818346"/>
              <a:gd name="connsiteX3777" fmla="*/ 1763144 w 3503192"/>
              <a:gd name="connsiteY3777" fmla="*/ 5005325 h 5818346"/>
              <a:gd name="connsiteX3778" fmla="*/ 1180220 w 3503192"/>
              <a:gd name="connsiteY3778" fmla="*/ 5002351 h 5818346"/>
              <a:gd name="connsiteX3779" fmla="*/ 1190956 w 3503192"/>
              <a:gd name="connsiteY3779" fmla="*/ 5013087 h 5818346"/>
              <a:gd name="connsiteX3780" fmla="*/ 1180220 w 3503192"/>
              <a:gd name="connsiteY3780" fmla="*/ 5023825 h 5818346"/>
              <a:gd name="connsiteX3781" fmla="*/ 1169484 w 3503192"/>
              <a:gd name="connsiteY3781" fmla="*/ 5013087 h 5818346"/>
              <a:gd name="connsiteX3782" fmla="*/ 1180220 w 3503192"/>
              <a:gd name="connsiteY3782" fmla="*/ 5002351 h 5818346"/>
              <a:gd name="connsiteX3783" fmla="*/ 1367535 w 3503192"/>
              <a:gd name="connsiteY3783" fmla="*/ 5002021 h 5818346"/>
              <a:gd name="connsiteX3784" fmla="*/ 1378273 w 3503192"/>
              <a:gd name="connsiteY3784" fmla="*/ 5012757 h 5818346"/>
              <a:gd name="connsiteX3785" fmla="*/ 1367535 w 3503192"/>
              <a:gd name="connsiteY3785" fmla="*/ 5023494 h 5818346"/>
              <a:gd name="connsiteX3786" fmla="*/ 1356798 w 3503192"/>
              <a:gd name="connsiteY3786" fmla="*/ 5012757 h 5818346"/>
              <a:gd name="connsiteX3787" fmla="*/ 1367535 w 3503192"/>
              <a:gd name="connsiteY3787" fmla="*/ 5002021 h 5818346"/>
              <a:gd name="connsiteX3788" fmla="*/ 909323 w 3503192"/>
              <a:gd name="connsiteY3788" fmla="*/ 5001855 h 5818346"/>
              <a:gd name="connsiteX3789" fmla="*/ 917416 w 3503192"/>
              <a:gd name="connsiteY3789" fmla="*/ 5009948 h 5818346"/>
              <a:gd name="connsiteX3790" fmla="*/ 909323 w 3503192"/>
              <a:gd name="connsiteY3790" fmla="*/ 5018043 h 5818346"/>
              <a:gd name="connsiteX3791" fmla="*/ 901229 w 3503192"/>
              <a:gd name="connsiteY3791" fmla="*/ 5009948 h 5818346"/>
              <a:gd name="connsiteX3792" fmla="*/ 909323 w 3503192"/>
              <a:gd name="connsiteY3792" fmla="*/ 5001855 h 5818346"/>
              <a:gd name="connsiteX3793" fmla="*/ 991582 w 3503192"/>
              <a:gd name="connsiteY3793" fmla="*/ 4999213 h 5818346"/>
              <a:gd name="connsiteX3794" fmla="*/ 1002318 w 3503192"/>
              <a:gd name="connsiteY3794" fmla="*/ 5009950 h 5818346"/>
              <a:gd name="connsiteX3795" fmla="*/ 991582 w 3503192"/>
              <a:gd name="connsiteY3795" fmla="*/ 5020686 h 5818346"/>
              <a:gd name="connsiteX3796" fmla="*/ 983570 w 3503192"/>
              <a:gd name="connsiteY3796" fmla="*/ 5012674 h 5818346"/>
              <a:gd name="connsiteX3797" fmla="*/ 973742 w 3503192"/>
              <a:gd name="connsiteY3797" fmla="*/ 5022502 h 5818346"/>
              <a:gd name="connsiteX3798" fmla="*/ 966806 w 3503192"/>
              <a:gd name="connsiteY3798" fmla="*/ 5015565 h 5818346"/>
              <a:gd name="connsiteX3799" fmla="*/ 957554 w 3503192"/>
              <a:gd name="connsiteY3799" fmla="*/ 5024815 h 5818346"/>
              <a:gd name="connsiteX3800" fmla="*/ 946818 w 3503192"/>
              <a:gd name="connsiteY3800" fmla="*/ 5014079 h 5818346"/>
              <a:gd name="connsiteX3801" fmla="*/ 957554 w 3503192"/>
              <a:gd name="connsiteY3801" fmla="*/ 5003343 h 5818346"/>
              <a:gd name="connsiteX3802" fmla="*/ 964492 w 3503192"/>
              <a:gd name="connsiteY3802" fmla="*/ 5010281 h 5818346"/>
              <a:gd name="connsiteX3803" fmla="*/ 973742 w 3503192"/>
              <a:gd name="connsiteY3803" fmla="*/ 5001029 h 5818346"/>
              <a:gd name="connsiteX3804" fmla="*/ 981754 w 3503192"/>
              <a:gd name="connsiteY3804" fmla="*/ 5009041 h 5818346"/>
              <a:gd name="connsiteX3805" fmla="*/ 2097471 w 3503192"/>
              <a:gd name="connsiteY3805" fmla="*/ 4995579 h 5818346"/>
              <a:gd name="connsiteX3806" fmla="*/ 2108208 w 3503192"/>
              <a:gd name="connsiteY3806" fmla="*/ 5006315 h 5818346"/>
              <a:gd name="connsiteX3807" fmla="*/ 2097471 w 3503192"/>
              <a:gd name="connsiteY3807" fmla="*/ 5017051 h 5818346"/>
              <a:gd name="connsiteX3808" fmla="*/ 2086735 w 3503192"/>
              <a:gd name="connsiteY3808" fmla="*/ 5006315 h 5818346"/>
              <a:gd name="connsiteX3809" fmla="*/ 2097471 w 3503192"/>
              <a:gd name="connsiteY3809" fmla="*/ 4995579 h 5818346"/>
              <a:gd name="connsiteX3810" fmla="*/ 1015368 w 3503192"/>
              <a:gd name="connsiteY3810" fmla="*/ 4994257 h 5818346"/>
              <a:gd name="connsiteX3811" fmla="*/ 1026104 w 3503192"/>
              <a:gd name="connsiteY3811" fmla="*/ 5004994 h 5818346"/>
              <a:gd name="connsiteX3812" fmla="*/ 1015368 w 3503192"/>
              <a:gd name="connsiteY3812" fmla="*/ 5015732 h 5818346"/>
              <a:gd name="connsiteX3813" fmla="*/ 1004632 w 3503192"/>
              <a:gd name="connsiteY3813" fmla="*/ 5004994 h 5818346"/>
              <a:gd name="connsiteX3814" fmla="*/ 1015368 w 3503192"/>
              <a:gd name="connsiteY3814" fmla="*/ 4994257 h 5818346"/>
              <a:gd name="connsiteX3815" fmla="*/ 1109026 w 3503192"/>
              <a:gd name="connsiteY3815" fmla="*/ 4993928 h 5818346"/>
              <a:gd name="connsiteX3816" fmla="*/ 1119764 w 3503192"/>
              <a:gd name="connsiteY3816" fmla="*/ 5004664 h 5818346"/>
              <a:gd name="connsiteX3817" fmla="*/ 1109026 w 3503192"/>
              <a:gd name="connsiteY3817" fmla="*/ 5015400 h 5818346"/>
              <a:gd name="connsiteX3818" fmla="*/ 1098290 w 3503192"/>
              <a:gd name="connsiteY3818" fmla="*/ 5004664 h 5818346"/>
              <a:gd name="connsiteX3819" fmla="*/ 1109026 w 3503192"/>
              <a:gd name="connsiteY3819" fmla="*/ 4993928 h 5818346"/>
              <a:gd name="connsiteX3820" fmla="*/ 1488283 w 3503192"/>
              <a:gd name="connsiteY3820" fmla="*/ 4989797 h 5818346"/>
              <a:gd name="connsiteX3821" fmla="*/ 1499021 w 3503192"/>
              <a:gd name="connsiteY3821" fmla="*/ 5000533 h 5818346"/>
              <a:gd name="connsiteX3822" fmla="*/ 1488283 w 3503192"/>
              <a:gd name="connsiteY3822" fmla="*/ 5011270 h 5818346"/>
              <a:gd name="connsiteX3823" fmla="*/ 1477546 w 3503192"/>
              <a:gd name="connsiteY3823" fmla="*/ 5000533 h 5818346"/>
              <a:gd name="connsiteX3824" fmla="*/ 1488283 w 3503192"/>
              <a:gd name="connsiteY3824" fmla="*/ 4989797 h 5818346"/>
              <a:gd name="connsiteX3825" fmla="*/ 1049726 w 3503192"/>
              <a:gd name="connsiteY3825" fmla="*/ 4981703 h 5818346"/>
              <a:gd name="connsiteX3826" fmla="*/ 1060462 w 3503192"/>
              <a:gd name="connsiteY3826" fmla="*/ 4992440 h 5818346"/>
              <a:gd name="connsiteX3827" fmla="*/ 1049726 w 3503192"/>
              <a:gd name="connsiteY3827" fmla="*/ 5003178 h 5818346"/>
              <a:gd name="connsiteX3828" fmla="*/ 1038990 w 3503192"/>
              <a:gd name="connsiteY3828" fmla="*/ 4992440 h 5818346"/>
              <a:gd name="connsiteX3829" fmla="*/ 1049726 w 3503192"/>
              <a:gd name="connsiteY3829" fmla="*/ 4981703 h 5818346"/>
              <a:gd name="connsiteX3830" fmla="*/ 957885 w 3503192"/>
              <a:gd name="connsiteY3830" fmla="*/ 4980052 h 5818346"/>
              <a:gd name="connsiteX3831" fmla="*/ 968621 w 3503192"/>
              <a:gd name="connsiteY3831" fmla="*/ 4990789 h 5818346"/>
              <a:gd name="connsiteX3832" fmla="*/ 957885 w 3503192"/>
              <a:gd name="connsiteY3832" fmla="*/ 5001525 h 5818346"/>
              <a:gd name="connsiteX3833" fmla="*/ 952187 w 3503192"/>
              <a:gd name="connsiteY3833" fmla="*/ 4995827 h 5818346"/>
              <a:gd name="connsiteX3834" fmla="*/ 943184 w 3503192"/>
              <a:gd name="connsiteY3834" fmla="*/ 5004829 h 5818346"/>
              <a:gd name="connsiteX3835" fmla="*/ 938313 w 3503192"/>
              <a:gd name="connsiteY3835" fmla="*/ 4999957 h 5818346"/>
              <a:gd name="connsiteX3836" fmla="*/ 927988 w 3503192"/>
              <a:gd name="connsiteY3836" fmla="*/ 5010279 h 5818346"/>
              <a:gd name="connsiteX3837" fmla="*/ 917251 w 3503192"/>
              <a:gd name="connsiteY3837" fmla="*/ 4999543 h 5818346"/>
              <a:gd name="connsiteX3838" fmla="*/ 927988 w 3503192"/>
              <a:gd name="connsiteY3838" fmla="*/ 4988807 h 5818346"/>
              <a:gd name="connsiteX3839" fmla="*/ 932861 w 3503192"/>
              <a:gd name="connsiteY3839" fmla="*/ 4993680 h 5818346"/>
              <a:gd name="connsiteX3840" fmla="*/ 943184 w 3503192"/>
              <a:gd name="connsiteY3840" fmla="*/ 4983354 h 5818346"/>
              <a:gd name="connsiteX3841" fmla="*/ 948885 w 3503192"/>
              <a:gd name="connsiteY3841" fmla="*/ 4989055 h 5818346"/>
              <a:gd name="connsiteX3842" fmla="*/ 869183 w 3503192"/>
              <a:gd name="connsiteY3842" fmla="*/ 4979721 h 5818346"/>
              <a:gd name="connsiteX3843" fmla="*/ 869679 w 3503192"/>
              <a:gd name="connsiteY3843" fmla="*/ 4980217 h 5818346"/>
              <a:gd name="connsiteX3844" fmla="*/ 869183 w 3503192"/>
              <a:gd name="connsiteY3844" fmla="*/ 4980711 h 5818346"/>
              <a:gd name="connsiteX3845" fmla="*/ 868687 w 3503192"/>
              <a:gd name="connsiteY3845" fmla="*/ 4980217 h 5818346"/>
              <a:gd name="connsiteX3846" fmla="*/ 869183 w 3503192"/>
              <a:gd name="connsiteY3846" fmla="*/ 4979721 h 5818346"/>
              <a:gd name="connsiteX3847" fmla="*/ 898749 w 3503192"/>
              <a:gd name="connsiteY3847" fmla="*/ 4977410 h 5818346"/>
              <a:gd name="connsiteX3848" fmla="*/ 909487 w 3503192"/>
              <a:gd name="connsiteY3848" fmla="*/ 4988146 h 5818346"/>
              <a:gd name="connsiteX3849" fmla="*/ 898749 w 3503192"/>
              <a:gd name="connsiteY3849" fmla="*/ 4998882 h 5818346"/>
              <a:gd name="connsiteX3850" fmla="*/ 888013 w 3503192"/>
              <a:gd name="connsiteY3850" fmla="*/ 4988146 h 5818346"/>
              <a:gd name="connsiteX3851" fmla="*/ 898749 w 3503192"/>
              <a:gd name="connsiteY3851" fmla="*/ 4977410 h 5818346"/>
              <a:gd name="connsiteX3852" fmla="*/ 975560 w 3503192"/>
              <a:gd name="connsiteY3852" fmla="*/ 4975922 h 5818346"/>
              <a:gd name="connsiteX3853" fmla="*/ 986296 w 3503192"/>
              <a:gd name="connsiteY3853" fmla="*/ 4986658 h 5818346"/>
              <a:gd name="connsiteX3854" fmla="*/ 975560 w 3503192"/>
              <a:gd name="connsiteY3854" fmla="*/ 4997394 h 5818346"/>
              <a:gd name="connsiteX3855" fmla="*/ 964824 w 3503192"/>
              <a:gd name="connsiteY3855" fmla="*/ 4986658 h 5818346"/>
              <a:gd name="connsiteX3856" fmla="*/ 975560 w 3503192"/>
              <a:gd name="connsiteY3856" fmla="*/ 4975922 h 5818346"/>
              <a:gd name="connsiteX3857" fmla="*/ 1630503 w 3503192"/>
              <a:gd name="connsiteY3857" fmla="*/ 4967332 h 5818346"/>
              <a:gd name="connsiteX3858" fmla="*/ 1641241 w 3503192"/>
              <a:gd name="connsiteY3858" fmla="*/ 4978069 h 5818346"/>
              <a:gd name="connsiteX3859" fmla="*/ 1630503 w 3503192"/>
              <a:gd name="connsiteY3859" fmla="*/ 4988807 h 5818346"/>
              <a:gd name="connsiteX3860" fmla="*/ 1619767 w 3503192"/>
              <a:gd name="connsiteY3860" fmla="*/ 4978069 h 5818346"/>
              <a:gd name="connsiteX3861" fmla="*/ 1630503 w 3503192"/>
              <a:gd name="connsiteY3861" fmla="*/ 4967332 h 5818346"/>
              <a:gd name="connsiteX3862" fmla="*/ 2847724 w 3503192"/>
              <a:gd name="connsiteY3862" fmla="*/ 4967003 h 5818346"/>
              <a:gd name="connsiteX3863" fmla="*/ 2858462 w 3503192"/>
              <a:gd name="connsiteY3863" fmla="*/ 4977739 h 5818346"/>
              <a:gd name="connsiteX3864" fmla="*/ 2847724 w 3503192"/>
              <a:gd name="connsiteY3864" fmla="*/ 4988475 h 5818346"/>
              <a:gd name="connsiteX3865" fmla="*/ 2836988 w 3503192"/>
              <a:gd name="connsiteY3865" fmla="*/ 4977739 h 5818346"/>
              <a:gd name="connsiteX3866" fmla="*/ 2847724 w 3503192"/>
              <a:gd name="connsiteY3866" fmla="*/ 4967003 h 5818346"/>
              <a:gd name="connsiteX3867" fmla="*/ 1000336 w 3503192"/>
              <a:gd name="connsiteY3867" fmla="*/ 4966836 h 5818346"/>
              <a:gd name="connsiteX3868" fmla="*/ 1011073 w 3503192"/>
              <a:gd name="connsiteY3868" fmla="*/ 4977573 h 5818346"/>
              <a:gd name="connsiteX3869" fmla="*/ 1000336 w 3503192"/>
              <a:gd name="connsiteY3869" fmla="*/ 4988311 h 5818346"/>
              <a:gd name="connsiteX3870" fmla="*/ 989600 w 3503192"/>
              <a:gd name="connsiteY3870" fmla="*/ 4977573 h 5818346"/>
              <a:gd name="connsiteX3871" fmla="*/ 1000336 w 3503192"/>
              <a:gd name="connsiteY3871" fmla="*/ 4966836 h 5818346"/>
              <a:gd name="connsiteX3872" fmla="*/ 1943687 w 3503192"/>
              <a:gd name="connsiteY3872" fmla="*/ 4965846 h 5818346"/>
              <a:gd name="connsiteX3873" fmla="*/ 1954425 w 3503192"/>
              <a:gd name="connsiteY3873" fmla="*/ 4976582 h 5818346"/>
              <a:gd name="connsiteX3874" fmla="*/ 1943687 w 3503192"/>
              <a:gd name="connsiteY3874" fmla="*/ 4987320 h 5818346"/>
              <a:gd name="connsiteX3875" fmla="*/ 1932951 w 3503192"/>
              <a:gd name="connsiteY3875" fmla="*/ 4976582 h 5818346"/>
              <a:gd name="connsiteX3876" fmla="*/ 1943687 w 3503192"/>
              <a:gd name="connsiteY3876" fmla="*/ 4965846 h 5818346"/>
              <a:gd name="connsiteX3877" fmla="*/ 3026780 w 3503192"/>
              <a:gd name="connsiteY3877" fmla="*/ 4965185 h 5818346"/>
              <a:gd name="connsiteX3878" fmla="*/ 3037518 w 3503192"/>
              <a:gd name="connsiteY3878" fmla="*/ 4975922 h 5818346"/>
              <a:gd name="connsiteX3879" fmla="*/ 3026780 w 3503192"/>
              <a:gd name="connsiteY3879" fmla="*/ 4986660 h 5818346"/>
              <a:gd name="connsiteX3880" fmla="*/ 3016044 w 3503192"/>
              <a:gd name="connsiteY3880" fmla="*/ 4975922 h 5818346"/>
              <a:gd name="connsiteX3881" fmla="*/ 3026780 w 3503192"/>
              <a:gd name="connsiteY3881" fmla="*/ 4965185 h 5818346"/>
              <a:gd name="connsiteX3882" fmla="*/ 2668832 w 3503192"/>
              <a:gd name="connsiteY3882" fmla="*/ 4962211 h 5818346"/>
              <a:gd name="connsiteX3883" fmla="*/ 2679570 w 3503192"/>
              <a:gd name="connsiteY3883" fmla="*/ 4972948 h 5818346"/>
              <a:gd name="connsiteX3884" fmla="*/ 2668832 w 3503192"/>
              <a:gd name="connsiteY3884" fmla="*/ 4983686 h 5818346"/>
              <a:gd name="connsiteX3885" fmla="*/ 2658096 w 3503192"/>
              <a:gd name="connsiteY3885" fmla="*/ 4972948 h 5818346"/>
              <a:gd name="connsiteX3886" fmla="*/ 2668832 w 3503192"/>
              <a:gd name="connsiteY3886" fmla="*/ 4962211 h 5818346"/>
              <a:gd name="connsiteX3887" fmla="*/ 1176254 w 3503192"/>
              <a:gd name="connsiteY3887" fmla="*/ 4959568 h 5818346"/>
              <a:gd name="connsiteX3888" fmla="*/ 1186992 w 3503192"/>
              <a:gd name="connsiteY3888" fmla="*/ 4970305 h 5818346"/>
              <a:gd name="connsiteX3889" fmla="*/ 1176254 w 3503192"/>
              <a:gd name="connsiteY3889" fmla="*/ 4981043 h 5818346"/>
              <a:gd name="connsiteX3890" fmla="*/ 1165518 w 3503192"/>
              <a:gd name="connsiteY3890" fmla="*/ 4970305 h 5818346"/>
              <a:gd name="connsiteX3891" fmla="*/ 1176254 w 3503192"/>
              <a:gd name="connsiteY3891" fmla="*/ 4959568 h 5818346"/>
              <a:gd name="connsiteX3892" fmla="*/ 941367 w 3503192"/>
              <a:gd name="connsiteY3892" fmla="*/ 4957753 h 5818346"/>
              <a:gd name="connsiteX3893" fmla="*/ 952103 w 3503192"/>
              <a:gd name="connsiteY3893" fmla="*/ 4968489 h 5818346"/>
              <a:gd name="connsiteX3894" fmla="*/ 941367 w 3503192"/>
              <a:gd name="connsiteY3894" fmla="*/ 4979225 h 5818346"/>
              <a:gd name="connsiteX3895" fmla="*/ 936908 w 3503192"/>
              <a:gd name="connsiteY3895" fmla="*/ 4974767 h 5818346"/>
              <a:gd name="connsiteX3896" fmla="*/ 927823 w 3503192"/>
              <a:gd name="connsiteY3896" fmla="*/ 4983850 h 5818346"/>
              <a:gd name="connsiteX3897" fmla="*/ 924023 w 3503192"/>
              <a:gd name="connsiteY3897" fmla="*/ 4980051 h 5818346"/>
              <a:gd name="connsiteX3898" fmla="*/ 914608 w 3503192"/>
              <a:gd name="connsiteY3898" fmla="*/ 4989466 h 5818346"/>
              <a:gd name="connsiteX3899" fmla="*/ 903872 w 3503192"/>
              <a:gd name="connsiteY3899" fmla="*/ 4978729 h 5818346"/>
              <a:gd name="connsiteX3900" fmla="*/ 914608 w 3503192"/>
              <a:gd name="connsiteY3900" fmla="*/ 4967993 h 5818346"/>
              <a:gd name="connsiteX3901" fmla="*/ 918408 w 3503192"/>
              <a:gd name="connsiteY3901" fmla="*/ 4971793 h 5818346"/>
              <a:gd name="connsiteX3902" fmla="*/ 927823 w 3503192"/>
              <a:gd name="connsiteY3902" fmla="*/ 4962378 h 5818346"/>
              <a:gd name="connsiteX3903" fmla="*/ 932283 w 3503192"/>
              <a:gd name="connsiteY3903" fmla="*/ 4966838 h 5818346"/>
              <a:gd name="connsiteX3904" fmla="*/ 1267436 w 3503192"/>
              <a:gd name="connsiteY3904" fmla="*/ 4956925 h 5818346"/>
              <a:gd name="connsiteX3905" fmla="*/ 1278172 w 3503192"/>
              <a:gd name="connsiteY3905" fmla="*/ 4967662 h 5818346"/>
              <a:gd name="connsiteX3906" fmla="*/ 1267436 w 3503192"/>
              <a:gd name="connsiteY3906" fmla="*/ 4978400 h 5818346"/>
              <a:gd name="connsiteX3907" fmla="*/ 1256699 w 3503192"/>
              <a:gd name="connsiteY3907" fmla="*/ 4967662 h 5818346"/>
              <a:gd name="connsiteX3908" fmla="*/ 1267436 w 3503192"/>
              <a:gd name="connsiteY3908" fmla="*/ 4956925 h 5818346"/>
              <a:gd name="connsiteX3909" fmla="*/ 3204682 w 3503192"/>
              <a:gd name="connsiteY3909" fmla="*/ 4956761 h 5818346"/>
              <a:gd name="connsiteX3910" fmla="*/ 3215420 w 3503192"/>
              <a:gd name="connsiteY3910" fmla="*/ 4967497 h 5818346"/>
              <a:gd name="connsiteX3911" fmla="*/ 3204682 w 3503192"/>
              <a:gd name="connsiteY3911" fmla="*/ 4978233 h 5818346"/>
              <a:gd name="connsiteX3912" fmla="*/ 3193946 w 3503192"/>
              <a:gd name="connsiteY3912" fmla="*/ 4967497 h 5818346"/>
              <a:gd name="connsiteX3913" fmla="*/ 3204682 w 3503192"/>
              <a:gd name="connsiteY3913" fmla="*/ 4956761 h 5818346"/>
              <a:gd name="connsiteX3914" fmla="*/ 1100437 w 3503192"/>
              <a:gd name="connsiteY3914" fmla="*/ 4955935 h 5818346"/>
              <a:gd name="connsiteX3915" fmla="*/ 1111173 w 3503192"/>
              <a:gd name="connsiteY3915" fmla="*/ 4966671 h 5818346"/>
              <a:gd name="connsiteX3916" fmla="*/ 1100437 w 3503192"/>
              <a:gd name="connsiteY3916" fmla="*/ 4977410 h 5818346"/>
              <a:gd name="connsiteX3917" fmla="*/ 1089701 w 3503192"/>
              <a:gd name="connsiteY3917" fmla="*/ 4966671 h 5818346"/>
              <a:gd name="connsiteX3918" fmla="*/ 1100437 w 3503192"/>
              <a:gd name="connsiteY3918" fmla="*/ 4955935 h 5818346"/>
              <a:gd name="connsiteX3919" fmla="*/ 886858 w 3503192"/>
              <a:gd name="connsiteY3919" fmla="*/ 4955606 h 5818346"/>
              <a:gd name="connsiteX3920" fmla="*/ 897594 w 3503192"/>
              <a:gd name="connsiteY3920" fmla="*/ 4966342 h 5818346"/>
              <a:gd name="connsiteX3921" fmla="*/ 886858 w 3503192"/>
              <a:gd name="connsiteY3921" fmla="*/ 4977078 h 5818346"/>
              <a:gd name="connsiteX3922" fmla="*/ 876122 w 3503192"/>
              <a:gd name="connsiteY3922" fmla="*/ 4966342 h 5818346"/>
              <a:gd name="connsiteX3923" fmla="*/ 886858 w 3503192"/>
              <a:gd name="connsiteY3923" fmla="*/ 4955606 h 5818346"/>
              <a:gd name="connsiteX3924" fmla="*/ 2492089 w 3503192"/>
              <a:gd name="connsiteY3924" fmla="*/ 4950814 h 5818346"/>
              <a:gd name="connsiteX3925" fmla="*/ 2502827 w 3503192"/>
              <a:gd name="connsiteY3925" fmla="*/ 4961550 h 5818346"/>
              <a:gd name="connsiteX3926" fmla="*/ 2492089 w 3503192"/>
              <a:gd name="connsiteY3926" fmla="*/ 4972289 h 5818346"/>
              <a:gd name="connsiteX3927" fmla="*/ 2481353 w 3503192"/>
              <a:gd name="connsiteY3927" fmla="*/ 4961550 h 5818346"/>
              <a:gd name="connsiteX3928" fmla="*/ 2492089 w 3503192"/>
              <a:gd name="connsiteY3928" fmla="*/ 4950814 h 5818346"/>
              <a:gd name="connsiteX3929" fmla="*/ 959207 w 3503192"/>
              <a:gd name="connsiteY3929" fmla="*/ 4950318 h 5818346"/>
              <a:gd name="connsiteX3930" fmla="*/ 969945 w 3503192"/>
              <a:gd name="connsiteY3930" fmla="*/ 4961054 h 5818346"/>
              <a:gd name="connsiteX3931" fmla="*/ 959207 w 3503192"/>
              <a:gd name="connsiteY3931" fmla="*/ 4971793 h 5818346"/>
              <a:gd name="connsiteX3932" fmla="*/ 948470 w 3503192"/>
              <a:gd name="connsiteY3932" fmla="*/ 4961054 h 5818346"/>
              <a:gd name="connsiteX3933" fmla="*/ 959207 w 3503192"/>
              <a:gd name="connsiteY3933" fmla="*/ 4950318 h 5818346"/>
              <a:gd name="connsiteX3934" fmla="*/ 1037502 w 3503192"/>
              <a:gd name="connsiteY3934" fmla="*/ 4947675 h 5818346"/>
              <a:gd name="connsiteX3935" fmla="*/ 1048238 w 3503192"/>
              <a:gd name="connsiteY3935" fmla="*/ 4958412 h 5818346"/>
              <a:gd name="connsiteX3936" fmla="*/ 1037502 w 3503192"/>
              <a:gd name="connsiteY3936" fmla="*/ 4969150 h 5818346"/>
              <a:gd name="connsiteX3937" fmla="*/ 1026765 w 3503192"/>
              <a:gd name="connsiteY3937" fmla="*/ 4958412 h 5818346"/>
              <a:gd name="connsiteX3938" fmla="*/ 1037502 w 3503192"/>
              <a:gd name="connsiteY3938" fmla="*/ 4947675 h 5818346"/>
              <a:gd name="connsiteX3939" fmla="*/ 858943 w 3503192"/>
              <a:gd name="connsiteY3939" fmla="*/ 4946685 h 5818346"/>
              <a:gd name="connsiteX3940" fmla="*/ 869350 w 3503192"/>
              <a:gd name="connsiteY3940" fmla="*/ 4957092 h 5818346"/>
              <a:gd name="connsiteX3941" fmla="*/ 858943 w 3503192"/>
              <a:gd name="connsiteY3941" fmla="*/ 4967499 h 5818346"/>
              <a:gd name="connsiteX3942" fmla="*/ 848536 w 3503192"/>
              <a:gd name="connsiteY3942" fmla="*/ 4957092 h 5818346"/>
              <a:gd name="connsiteX3943" fmla="*/ 858943 w 3503192"/>
              <a:gd name="connsiteY3943" fmla="*/ 4946685 h 5818346"/>
              <a:gd name="connsiteX3944" fmla="*/ 1376289 w 3503192"/>
              <a:gd name="connsiteY3944" fmla="*/ 4946520 h 5818346"/>
              <a:gd name="connsiteX3945" fmla="*/ 1387027 w 3503192"/>
              <a:gd name="connsiteY3945" fmla="*/ 4957257 h 5818346"/>
              <a:gd name="connsiteX3946" fmla="*/ 1376289 w 3503192"/>
              <a:gd name="connsiteY3946" fmla="*/ 4967993 h 5818346"/>
              <a:gd name="connsiteX3947" fmla="*/ 1365552 w 3503192"/>
              <a:gd name="connsiteY3947" fmla="*/ 4957257 h 5818346"/>
              <a:gd name="connsiteX3948" fmla="*/ 1376289 w 3503192"/>
              <a:gd name="connsiteY3948" fmla="*/ 4946520 h 5818346"/>
              <a:gd name="connsiteX3949" fmla="*/ 3379608 w 3503192"/>
              <a:gd name="connsiteY3949" fmla="*/ 4942060 h 5818346"/>
              <a:gd name="connsiteX3950" fmla="*/ 3390346 w 3503192"/>
              <a:gd name="connsiteY3950" fmla="*/ 4952796 h 5818346"/>
              <a:gd name="connsiteX3951" fmla="*/ 3379608 w 3503192"/>
              <a:gd name="connsiteY3951" fmla="*/ 4963534 h 5818346"/>
              <a:gd name="connsiteX3952" fmla="*/ 3368872 w 3503192"/>
              <a:gd name="connsiteY3952" fmla="*/ 4952796 h 5818346"/>
              <a:gd name="connsiteX3953" fmla="*/ 3379608 w 3503192"/>
              <a:gd name="connsiteY3953" fmla="*/ 4942060 h 5818346"/>
              <a:gd name="connsiteX3954" fmla="*/ 985636 w 3503192"/>
              <a:gd name="connsiteY3954" fmla="*/ 4935949 h 5818346"/>
              <a:gd name="connsiteX3955" fmla="*/ 996372 w 3503192"/>
              <a:gd name="connsiteY3955" fmla="*/ 4946685 h 5818346"/>
              <a:gd name="connsiteX3956" fmla="*/ 985636 w 3503192"/>
              <a:gd name="connsiteY3956" fmla="*/ 4957421 h 5818346"/>
              <a:gd name="connsiteX3957" fmla="*/ 974899 w 3503192"/>
              <a:gd name="connsiteY3957" fmla="*/ 4946685 h 5818346"/>
              <a:gd name="connsiteX3958" fmla="*/ 985636 w 3503192"/>
              <a:gd name="connsiteY3958" fmla="*/ 4935949 h 5818346"/>
              <a:gd name="connsiteX3959" fmla="*/ 924188 w 3503192"/>
              <a:gd name="connsiteY3959" fmla="*/ 4933470 h 5818346"/>
              <a:gd name="connsiteX3960" fmla="*/ 934924 w 3503192"/>
              <a:gd name="connsiteY3960" fmla="*/ 4944207 h 5818346"/>
              <a:gd name="connsiteX3961" fmla="*/ 924188 w 3503192"/>
              <a:gd name="connsiteY3961" fmla="*/ 4954943 h 5818346"/>
              <a:gd name="connsiteX3962" fmla="*/ 921216 w 3503192"/>
              <a:gd name="connsiteY3962" fmla="*/ 4951971 h 5818346"/>
              <a:gd name="connsiteX3963" fmla="*/ 911470 w 3503192"/>
              <a:gd name="connsiteY3963" fmla="*/ 4961715 h 5818346"/>
              <a:gd name="connsiteX3964" fmla="*/ 908993 w 3503192"/>
              <a:gd name="connsiteY3964" fmla="*/ 4959239 h 5818346"/>
              <a:gd name="connsiteX3965" fmla="*/ 900072 w 3503192"/>
              <a:gd name="connsiteY3965" fmla="*/ 4968159 h 5818346"/>
              <a:gd name="connsiteX3966" fmla="*/ 889336 w 3503192"/>
              <a:gd name="connsiteY3966" fmla="*/ 4957421 h 5818346"/>
              <a:gd name="connsiteX3967" fmla="*/ 900072 w 3503192"/>
              <a:gd name="connsiteY3967" fmla="*/ 4946685 h 5818346"/>
              <a:gd name="connsiteX3968" fmla="*/ 902551 w 3503192"/>
              <a:gd name="connsiteY3968" fmla="*/ 4949163 h 5818346"/>
              <a:gd name="connsiteX3969" fmla="*/ 911470 w 3503192"/>
              <a:gd name="connsiteY3969" fmla="*/ 4940242 h 5818346"/>
              <a:gd name="connsiteX3970" fmla="*/ 914444 w 3503192"/>
              <a:gd name="connsiteY3970" fmla="*/ 4943217 h 5818346"/>
              <a:gd name="connsiteX3971" fmla="*/ 2319144 w 3503192"/>
              <a:gd name="connsiteY3971" fmla="*/ 4933141 h 5818346"/>
              <a:gd name="connsiteX3972" fmla="*/ 2329882 w 3503192"/>
              <a:gd name="connsiteY3972" fmla="*/ 4943877 h 5818346"/>
              <a:gd name="connsiteX3973" fmla="*/ 2319144 w 3503192"/>
              <a:gd name="connsiteY3973" fmla="*/ 4954614 h 5818346"/>
              <a:gd name="connsiteX3974" fmla="*/ 2308408 w 3503192"/>
              <a:gd name="connsiteY3974" fmla="*/ 4943877 h 5818346"/>
              <a:gd name="connsiteX3975" fmla="*/ 2319144 w 3503192"/>
              <a:gd name="connsiteY3975" fmla="*/ 4933141 h 5818346"/>
              <a:gd name="connsiteX3976" fmla="*/ 1796841 w 3503192"/>
              <a:gd name="connsiteY3976" fmla="*/ 4932149 h 5818346"/>
              <a:gd name="connsiteX3977" fmla="*/ 1807580 w 3503192"/>
              <a:gd name="connsiteY3977" fmla="*/ 4942885 h 5818346"/>
              <a:gd name="connsiteX3978" fmla="*/ 1796841 w 3503192"/>
              <a:gd name="connsiteY3978" fmla="*/ 4953623 h 5818346"/>
              <a:gd name="connsiteX3979" fmla="*/ 1786105 w 3503192"/>
              <a:gd name="connsiteY3979" fmla="*/ 4942885 h 5818346"/>
              <a:gd name="connsiteX3980" fmla="*/ 1796841 w 3503192"/>
              <a:gd name="connsiteY3980" fmla="*/ 4932149 h 5818346"/>
              <a:gd name="connsiteX3981" fmla="*/ 1505462 w 3503192"/>
              <a:gd name="connsiteY3981" fmla="*/ 4926532 h 5818346"/>
              <a:gd name="connsiteX3982" fmla="*/ 1516200 w 3503192"/>
              <a:gd name="connsiteY3982" fmla="*/ 4937268 h 5818346"/>
              <a:gd name="connsiteX3983" fmla="*/ 1505462 w 3503192"/>
              <a:gd name="connsiteY3983" fmla="*/ 4948006 h 5818346"/>
              <a:gd name="connsiteX3984" fmla="*/ 1494725 w 3503192"/>
              <a:gd name="connsiteY3984" fmla="*/ 4937268 h 5818346"/>
              <a:gd name="connsiteX3985" fmla="*/ 1505462 w 3503192"/>
              <a:gd name="connsiteY3985" fmla="*/ 4926532 h 5818346"/>
              <a:gd name="connsiteX3986" fmla="*/ 820454 w 3503192"/>
              <a:gd name="connsiteY3986" fmla="*/ 4924220 h 5818346"/>
              <a:gd name="connsiteX3987" fmla="*/ 823097 w 3503192"/>
              <a:gd name="connsiteY3987" fmla="*/ 4926863 h 5818346"/>
              <a:gd name="connsiteX3988" fmla="*/ 820454 w 3503192"/>
              <a:gd name="connsiteY3988" fmla="*/ 4929506 h 5818346"/>
              <a:gd name="connsiteX3989" fmla="*/ 817811 w 3503192"/>
              <a:gd name="connsiteY3989" fmla="*/ 4926863 h 5818346"/>
              <a:gd name="connsiteX3990" fmla="*/ 820454 w 3503192"/>
              <a:gd name="connsiteY3990" fmla="*/ 4924220 h 5818346"/>
              <a:gd name="connsiteX3991" fmla="*/ 847213 w 3503192"/>
              <a:gd name="connsiteY3991" fmla="*/ 4923230 h 5818346"/>
              <a:gd name="connsiteX3992" fmla="*/ 857949 w 3503192"/>
              <a:gd name="connsiteY3992" fmla="*/ 4933966 h 5818346"/>
              <a:gd name="connsiteX3993" fmla="*/ 847213 w 3503192"/>
              <a:gd name="connsiteY3993" fmla="*/ 4944703 h 5818346"/>
              <a:gd name="connsiteX3994" fmla="*/ 836476 w 3503192"/>
              <a:gd name="connsiteY3994" fmla="*/ 4933966 h 5818346"/>
              <a:gd name="connsiteX3995" fmla="*/ 847213 w 3503192"/>
              <a:gd name="connsiteY3995" fmla="*/ 4923230 h 5818346"/>
              <a:gd name="connsiteX3996" fmla="*/ 942524 w 3503192"/>
              <a:gd name="connsiteY3996" fmla="*/ 4922073 h 5818346"/>
              <a:gd name="connsiteX3997" fmla="*/ 953260 w 3503192"/>
              <a:gd name="connsiteY3997" fmla="*/ 4932810 h 5818346"/>
              <a:gd name="connsiteX3998" fmla="*/ 942524 w 3503192"/>
              <a:gd name="connsiteY3998" fmla="*/ 4943546 h 5818346"/>
              <a:gd name="connsiteX3999" fmla="*/ 931787 w 3503192"/>
              <a:gd name="connsiteY3999" fmla="*/ 4932810 h 5818346"/>
              <a:gd name="connsiteX4000" fmla="*/ 942524 w 3503192"/>
              <a:gd name="connsiteY4000" fmla="*/ 4922073 h 5818346"/>
              <a:gd name="connsiteX4001" fmla="*/ 894124 w 3503192"/>
              <a:gd name="connsiteY4001" fmla="*/ 4916788 h 5818346"/>
              <a:gd name="connsiteX4002" fmla="*/ 904861 w 3503192"/>
              <a:gd name="connsiteY4002" fmla="*/ 4927524 h 5818346"/>
              <a:gd name="connsiteX4003" fmla="*/ 894124 w 3503192"/>
              <a:gd name="connsiteY4003" fmla="*/ 4938262 h 5818346"/>
              <a:gd name="connsiteX4004" fmla="*/ 893051 w 3503192"/>
              <a:gd name="connsiteY4004" fmla="*/ 4937189 h 5818346"/>
              <a:gd name="connsiteX4005" fmla="*/ 884215 w 3503192"/>
              <a:gd name="connsiteY4005" fmla="*/ 4946024 h 5818346"/>
              <a:gd name="connsiteX4006" fmla="*/ 883306 w 3503192"/>
              <a:gd name="connsiteY4006" fmla="*/ 4945116 h 5818346"/>
              <a:gd name="connsiteX4007" fmla="*/ 873477 w 3503192"/>
              <a:gd name="connsiteY4007" fmla="*/ 4954943 h 5818346"/>
              <a:gd name="connsiteX4008" fmla="*/ 862741 w 3503192"/>
              <a:gd name="connsiteY4008" fmla="*/ 4944207 h 5818346"/>
              <a:gd name="connsiteX4009" fmla="*/ 873477 w 3503192"/>
              <a:gd name="connsiteY4009" fmla="*/ 4933470 h 5818346"/>
              <a:gd name="connsiteX4010" fmla="*/ 874386 w 3503192"/>
              <a:gd name="connsiteY4010" fmla="*/ 4934379 h 5818346"/>
              <a:gd name="connsiteX4011" fmla="*/ 884215 w 3503192"/>
              <a:gd name="connsiteY4011" fmla="*/ 4924550 h 5818346"/>
              <a:gd name="connsiteX4012" fmla="*/ 885289 w 3503192"/>
              <a:gd name="connsiteY4012" fmla="*/ 4925623 h 5818346"/>
              <a:gd name="connsiteX4013" fmla="*/ 1093002 w 3503192"/>
              <a:gd name="connsiteY4013" fmla="*/ 4912988 h 5818346"/>
              <a:gd name="connsiteX4014" fmla="*/ 1103741 w 3503192"/>
              <a:gd name="connsiteY4014" fmla="*/ 4923724 h 5818346"/>
              <a:gd name="connsiteX4015" fmla="*/ 1093002 w 3503192"/>
              <a:gd name="connsiteY4015" fmla="*/ 4934461 h 5818346"/>
              <a:gd name="connsiteX4016" fmla="*/ 1082266 w 3503192"/>
              <a:gd name="connsiteY4016" fmla="*/ 4923724 h 5818346"/>
              <a:gd name="connsiteX4017" fmla="*/ 1093002 w 3503192"/>
              <a:gd name="connsiteY4017" fmla="*/ 4912988 h 5818346"/>
              <a:gd name="connsiteX4018" fmla="*/ 1173942 w 3503192"/>
              <a:gd name="connsiteY4018" fmla="*/ 4910841 h 5818346"/>
              <a:gd name="connsiteX4019" fmla="*/ 1184680 w 3503192"/>
              <a:gd name="connsiteY4019" fmla="*/ 4921577 h 5818346"/>
              <a:gd name="connsiteX4020" fmla="*/ 1173942 w 3503192"/>
              <a:gd name="connsiteY4020" fmla="*/ 4932314 h 5818346"/>
              <a:gd name="connsiteX4021" fmla="*/ 1163206 w 3503192"/>
              <a:gd name="connsiteY4021" fmla="*/ 4921577 h 5818346"/>
              <a:gd name="connsiteX4022" fmla="*/ 1173942 w 3503192"/>
              <a:gd name="connsiteY4022" fmla="*/ 4910841 h 5818346"/>
              <a:gd name="connsiteX4023" fmla="*/ 2151320 w 3503192"/>
              <a:gd name="connsiteY4023" fmla="*/ 4910014 h 5818346"/>
              <a:gd name="connsiteX4024" fmla="*/ 2162058 w 3503192"/>
              <a:gd name="connsiteY4024" fmla="*/ 4920750 h 5818346"/>
              <a:gd name="connsiteX4025" fmla="*/ 2151320 w 3503192"/>
              <a:gd name="connsiteY4025" fmla="*/ 4931488 h 5818346"/>
              <a:gd name="connsiteX4026" fmla="*/ 2140583 w 3503192"/>
              <a:gd name="connsiteY4026" fmla="*/ 4920750 h 5818346"/>
              <a:gd name="connsiteX4027" fmla="*/ 2151320 w 3503192"/>
              <a:gd name="connsiteY4027" fmla="*/ 4910014 h 5818346"/>
              <a:gd name="connsiteX4028" fmla="*/ 1026104 w 3503192"/>
              <a:gd name="connsiteY4028" fmla="*/ 4909355 h 5818346"/>
              <a:gd name="connsiteX4029" fmla="*/ 1036841 w 3503192"/>
              <a:gd name="connsiteY4029" fmla="*/ 4920091 h 5818346"/>
              <a:gd name="connsiteX4030" fmla="*/ 1026104 w 3503192"/>
              <a:gd name="connsiteY4030" fmla="*/ 4930828 h 5818346"/>
              <a:gd name="connsiteX4031" fmla="*/ 1015368 w 3503192"/>
              <a:gd name="connsiteY4031" fmla="*/ 4920091 h 5818346"/>
              <a:gd name="connsiteX4032" fmla="*/ 1026104 w 3503192"/>
              <a:gd name="connsiteY4032" fmla="*/ 4909355 h 5818346"/>
              <a:gd name="connsiteX4033" fmla="*/ 906513 w 3503192"/>
              <a:gd name="connsiteY4033" fmla="*/ 4906877 h 5818346"/>
              <a:gd name="connsiteX4034" fmla="*/ 917250 w 3503192"/>
              <a:gd name="connsiteY4034" fmla="*/ 4917613 h 5818346"/>
              <a:gd name="connsiteX4035" fmla="*/ 906513 w 3503192"/>
              <a:gd name="connsiteY4035" fmla="*/ 4928351 h 5818346"/>
              <a:gd name="connsiteX4036" fmla="*/ 895777 w 3503192"/>
              <a:gd name="connsiteY4036" fmla="*/ 4917613 h 5818346"/>
              <a:gd name="connsiteX4037" fmla="*/ 906513 w 3503192"/>
              <a:gd name="connsiteY4037" fmla="*/ 4906877 h 5818346"/>
              <a:gd name="connsiteX4038" fmla="*/ 1271398 w 3503192"/>
              <a:gd name="connsiteY4038" fmla="*/ 4901756 h 5818346"/>
              <a:gd name="connsiteX4039" fmla="*/ 1282136 w 3503192"/>
              <a:gd name="connsiteY4039" fmla="*/ 4912492 h 5818346"/>
              <a:gd name="connsiteX4040" fmla="*/ 1271398 w 3503192"/>
              <a:gd name="connsiteY4040" fmla="*/ 4923230 h 5818346"/>
              <a:gd name="connsiteX4041" fmla="*/ 1260662 w 3503192"/>
              <a:gd name="connsiteY4041" fmla="*/ 4912492 h 5818346"/>
              <a:gd name="connsiteX4042" fmla="*/ 1271398 w 3503192"/>
              <a:gd name="connsiteY4042" fmla="*/ 4901756 h 5818346"/>
              <a:gd name="connsiteX4043" fmla="*/ 971100 w 3503192"/>
              <a:gd name="connsiteY4043" fmla="*/ 4901426 h 5818346"/>
              <a:gd name="connsiteX4044" fmla="*/ 981836 w 3503192"/>
              <a:gd name="connsiteY4044" fmla="*/ 4912163 h 5818346"/>
              <a:gd name="connsiteX4045" fmla="*/ 971100 w 3503192"/>
              <a:gd name="connsiteY4045" fmla="*/ 4922899 h 5818346"/>
              <a:gd name="connsiteX4046" fmla="*/ 960363 w 3503192"/>
              <a:gd name="connsiteY4046" fmla="*/ 4912163 h 5818346"/>
              <a:gd name="connsiteX4047" fmla="*/ 971100 w 3503192"/>
              <a:gd name="connsiteY4047" fmla="*/ 4901426 h 5818346"/>
              <a:gd name="connsiteX4048" fmla="*/ 1657428 w 3503192"/>
              <a:gd name="connsiteY4048" fmla="*/ 4894819 h 5818346"/>
              <a:gd name="connsiteX4049" fmla="*/ 1668165 w 3503192"/>
              <a:gd name="connsiteY4049" fmla="*/ 4905555 h 5818346"/>
              <a:gd name="connsiteX4050" fmla="*/ 1657428 w 3503192"/>
              <a:gd name="connsiteY4050" fmla="*/ 4916292 h 5818346"/>
              <a:gd name="connsiteX4051" fmla="*/ 1646692 w 3503192"/>
              <a:gd name="connsiteY4051" fmla="*/ 4905555 h 5818346"/>
              <a:gd name="connsiteX4052" fmla="*/ 1657428 w 3503192"/>
              <a:gd name="connsiteY4052" fmla="*/ 4894819 h 5818346"/>
              <a:gd name="connsiteX4053" fmla="*/ 808891 w 3503192"/>
              <a:gd name="connsiteY4053" fmla="*/ 4891680 h 5818346"/>
              <a:gd name="connsiteX4054" fmla="*/ 819627 w 3503192"/>
              <a:gd name="connsiteY4054" fmla="*/ 4902416 h 5818346"/>
              <a:gd name="connsiteX4055" fmla="*/ 808891 w 3503192"/>
              <a:gd name="connsiteY4055" fmla="*/ 4913153 h 5818346"/>
              <a:gd name="connsiteX4056" fmla="*/ 798154 w 3503192"/>
              <a:gd name="connsiteY4056" fmla="*/ 4902416 h 5818346"/>
              <a:gd name="connsiteX4057" fmla="*/ 808891 w 3503192"/>
              <a:gd name="connsiteY4057" fmla="*/ 4891680 h 5818346"/>
              <a:gd name="connsiteX4058" fmla="*/ 876120 w 3503192"/>
              <a:gd name="connsiteY4058" fmla="*/ 4891349 h 5818346"/>
              <a:gd name="connsiteX4059" fmla="*/ 886856 w 3503192"/>
              <a:gd name="connsiteY4059" fmla="*/ 4902085 h 5818346"/>
              <a:gd name="connsiteX4060" fmla="*/ 877525 w 3503192"/>
              <a:gd name="connsiteY4060" fmla="*/ 4911419 h 5818346"/>
              <a:gd name="connsiteX4061" fmla="*/ 878102 w 3503192"/>
              <a:gd name="connsiteY4061" fmla="*/ 4911996 h 5818346"/>
              <a:gd name="connsiteX4062" fmla="*/ 869017 w 3503192"/>
              <a:gd name="connsiteY4062" fmla="*/ 4921083 h 5818346"/>
              <a:gd name="connsiteX4063" fmla="*/ 869513 w 3503192"/>
              <a:gd name="connsiteY4063" fmla="*/ 4921577 h 5818346"/>
              <a:gd name="connsiteX4064" fmla="*/ 858776 w 3503192"/>
              <a:gd name="connsiteY4064" fmla="*/ 4932314 h 5818346"/>
              <a:gd name="connsiteX4065" fmla="*/ 848040 w 3503192"/>
              <a:gd name="connsiteY4065" fmla="*/ 4921577 h 5818346"/>
              <a:gd name="connsiteX4066" fmla="*/ 857125 w 3503192"/>
              <a:gd name="connsiteY4066" fmla="*/ 4912492 h 5818346"/>
              <a:gd name="connsiteX4067" fmla="*/ 856629 w 3503192"/>
              <a:gd name="connsiteY4067" fmla="*/ 4911996 h 5818346"/>
              <a:gd name="connsiteX4068" fmla="*/ 865963 w 3503192"/>
              <a:gd name="connsiteY4068" fmla="*/ 4902664 h 5818346"/>
              <a:gd name="connsiteX4069" fmla="*/ 865384 w 3503192"/>
              <a:gd name="connsiteY4069" fmla="*/ 4902085 h 5818346"/>
              <a:gd name="connsiteX4070" fmla="*/ 876120 w 3503192"/>
              <a:gd name="connsiteY4070" fmla="*/ 4891349 h 5818346"/>
              <a:gd name="connsiteX4071" fmla="*/ 925841 w 3503192"/>
              <a:gd name="connsiteY4071" fmla="*/ 4890523 h 5818346"/>
              <a:gd name="connsiteX4072" fmla="*/ 936577 w 3503192"/>
              <a:gd name="connsiteY4072" fmla="*/ 4901260 h 5818346"/>
              <a:gd name="connsiteX4073" fmla="*/ 925841 w 3503192"/>
              <a:gd name="connsiteY4073" fmla="*/ 4911996 h 5818346"/>
              <a:gd name="connsiteX4074" fmla="*/ 915104 w 3503192"/>
              <a:gd name="connsiteY4074" fmla="*/ 4901260 h 5818346"/>
              <a:gd name="connsiteX4075" fmla="*/ 925841 w 3503192"/>
              <a:gd name="connsiteY4075" fmla="*/ 4890523 h 5818346"/>
              <a:gd name="connsiteX4076" fmla="*/ 1387852 w 3503192"/>
              <a:gd name="connsiteY4076" fmla="*/ 4883587 h 5818346"/>
              <a:gd name="connsiteX4077" fmla="*/ 1398589 w 3503192"/>
              <a:gd name="connsiteY4077" fmla="*/ 4894323 h 5818346"/>
              <a:gd name="connsiteX4078" fmla="*/ 1387852 w 3503192"/>
              <a:gd name="connsiteY4078" fmla="*/ 4905059 h 5818346"/>
              <a:gd name="connsiteX4079" fmla="*/ 1377116 w 3503192"/>
              <a:gd name="connsiteY4079" fmla="*/ 4894323 h 5818346"/>
              <a:gd name="connsiteX4080" fmla="*/ 1387852 w 3503192"/>
              <a:gd name="connsiteY4080" fmla="*/ 4883587 h 5818346"/>
              <a:gd name="connsiteX4081" fmla="*/ 1989608 w 3503192"/>
              <a:gd name="connsiteY4081" fmla="*/ 4881769 h 5818346"/>
              <a:gd name="connsiteX4082" fmla="*/ 2000345 w 3503192"/>
              <a:gd name="connsiteY4082" fmla="*/ 4892506 h 5818346"/>
              <a:gd name="connsiteX4083" fmla="*/ 1989608 w 3503192"/>
              <a:gd name="connsiteY4083" fmla="*/ 4903242 h 5818346"/>
              <a:gd name="connsiteX4084" fmla="*/ 1978872 w 3503192"/>
              <a:gd name="connsiteY4084" fmla="*/ 4892506 h 5818346"/>
              <a:gd name="connsiteX4085" fmla="*/ 1989608 w 3503192"/>
              <a:gd name="connsiteY4085" fmla="*/ 4881769 h 5818346"/>
              <a:gd name="connsiteX4086" fmla="*/ 888509 w 3503192"/>
              <a:gd name="connsiteY4086" fmla="*/ 4877638 h 5818346"/>
              <a:gd name="connsiteX4087" fmla="*/ 899245 w 3503192"/>
              <a:gd name="connsiteY4087" fmla="*/ 4888375 h 5818346"/>
              <a:gd name="connsiteX4088" fmla="*/ 888509 w 3503192"/>
              <a:gd name="connsiteY4088" fmla="*/ 4899111 h 5818346"/>
              <a:gd name="connsiteX4089" fmla="*/ 877773 w 3503192"/>
              <a:gd name="connsiteY4089" fmla="*/ 4888375 h 5818346"/>
              <a:gd name="connsiteX4090" fmla="*/ 888509 w 3503192"/>
              <a:gd name="connsiteY4090" fmla="*/ 4877638 h 5818346"/>
              <a:gd name="connsiteX4091" fmla="*/ 796007 w 3503192"/>
              <a:gd name="connsiteY4091" fmla="*/ 4866902 h 5818346"/>
              <a:gd name="connsiteX4092" fmla="*/ 806744 w 3503192"/>
              <a:gd name="connsiteY4092" fmla="*/ 4877638 h 5818346"/>
              <a:gd name="connsiteX4093" fmla="*/ 796007 w 3503192"/>
              <a:gd name="connsiteY4093" fmla="*/ 4888375 h 5818346"/>
              <a:gd name="connsiteX4094" fmla="*/ 785271 w 3503192"/>
              <a:gd name="connsiteY4094" fmla="*/ 4877638 h 5818346"/>
              <a:gd name="connsiteX4095" fmla="*/ 796007 w 3503192"/>
              <a:gd name="connsiteY4095" fmla="*/ 4866902 h 5818346"/>
              <a:gd name="connsiteX4096" fmla="*/ 1015699 w 3503192"/>
              <a:gd name="connsiteY4096" fmla="*/ 4865912 h 5818346"/>
              <a:gd name="connsiteX4097" fmla="*/ 1026436 w 3503192"/>
              <a:gd name="connsiteY4097" fmla="*/ 4876648 h 5818346"/>
              <a:gd name="connsiteX4098" fmla="*/ 1015699 w 3503192"/>
              <a:gd name="connsiteY4098" fmla="*/ 4887384 h 5818346"/>
              <a:gd name="connsiteX4099" fmla="*/ 1004963 w 3503192"/>
              <a:gd name="connsiteY4099" fmla="*/ 4876648 h 5818346"/>
              <a:gd name="connsiteX4100" fmla="*/ 1015699 w 3503192"/>
              <a:gd name="connsiteY4100" fmla="*/ 4865912 h 5818346"/>
              <a:gd name="connsiteX4101" fmla="*/ 771892 w 3503192"/>
              <a:gd name="connsiteY4101" fmla="*/ 4865745 h 5818346"/>
              <a:gd name="connsiteX4102" fmla="*/ 778003 w 3503192"/>
              <a:gd name="connsiteY4102" fmla="*/ 4871857 h 5818346"/>
              <a:gd name="connsiteX4103" fmla="*/ 771892 w 3503192"/>
              <a:gd name="connsiteY4103" fmla="*/ 4877968 h 5818346"/>
              <a:gd name="connsiteX4104" fmla="*/ 765780 w 3503192"/>
              <a:gd name="connsiteY4104" fmla="*/ 4871857 h 5818346"/>
              <a:gd name="connsiteX4105" fmla="*/ 771892 w 3503192"/>
              <a:gd name="connsiteY4105" fmla="*/ 4865745 h 5818346"/>
              <a:gd name="connsiteX4106" fmla="*/ 1087058 w 3503192"/>
              <a:gd name="connsiteY4106" fmla="*/ 4864094 h 5818346"/>
              <a:gd name="connsiteX4107" fmla="*/ 1097794 w 3503192"/>
              <a:gd name="connsiteY4107" fmla="*/ 4874831 h 5818346"/>
              <a:gd name="connsiteX4108" fmla="*/ 1087058 w 3503192"/>
              <a:gd name="connsiteY4108" fmla="*/ 4885569 h 5818346"/>
              <a:gd name="connsiteX4109" fmla="*/ 1076321 w 3503192"/>
              <a:gd name="connsiteY4109" fmla="*/ 4874831 h 5818346"/>
              <a:gd name="connsiteX4110" fmla="*/ 1087058 w 3503192"/>
              <a:gd name="connsiteY4110" fmla="*/ 4864094 h 5818346"/>
              <a:gd name="connsiteX4111" fmla="*/ 857455 w 3503192"/>
              <a:gd name="connsiteY4111" fmla="*/ 4863930 h 5818346"/>
              <a:gd name="connsiteX4112" fmla="*/ 868193 w 3503192"/>
              <a:gd name="connsiteY4112" fmla="*/ 4874666 h 5818346"/>
              <a:gd name="connsiteX4113" fmla="*/ 858032 w 3503192"/>
              <a:gd name="connsiteY4113" fmla="*/ 4884825 h 5818346"/>
              <a:gd name="connsiteX4114" fmla="*/ 860427 w 3503192"/>
              <a:gd name="connsiteY4114" fmla="*/ 4887220 h 5818346"/>
              <a:gd name="connsiteX4115" fmla="*/ 851592 w 3503192"/>
              <a:gd name="connsiteY4115" fmla="*/ 4896057 h 5818346"/>
              <a:gd name="connsiteX4116" fmla="*/ 853655 w 3503192"/>
              <a:gd name="connsiteY4116" fmla="*/ 4898121 h 5818346"/>
              <a:gd name="connsiteX4117" fmla="*/ 843002 w 3503192"/>
              <a:gd name="connsiteY4117" fmla="*/ 4908776 h 5818346"/>
              <a:gd name="connsiteX4118" fmla="*/ 844736 w 3503192"/>
              <a:gd name="connsiteY4118" fmla="*/ 4910510 h 5818346"/>
              <a:gd name="connsiteX4119" fmla="*/ 834000 w 3503192"/>
              <a:gd name="connsiteY4119" fmla="*/ 4921248 h 5818346"/>
              <a:gd name="connsiteX4120" fmla="*/ 823264 w 3503192"/>
              <a:gd name="connsiteY4120" fmla="*/ 4910510 h 5818346"/>
              <a:gd name="connsiteX4121" fmla="*/ 833917 w 3503192"/>
              <a:gd name="connsiteY4121" fmla="*/ 4899857 h 5818346"/>
              <a:gd name="connsiteX4122" fmla="*/ 832183 w 3503192"/>
              <a:gd name="connsiteY4122" fmla="*/ 4898121 h 5818346"/>
              <a:gd name="connsiteX4123" fmla="*/ 841018 w 3503192"/>
              <a:gd name="connsiteY4123" fmla="*/ 4889285 h 5818346"/>
              <a:gd name="connsiteX4124" fmla="*/ 838955 w 3503192"/>
              <a:gd name="connsiteY4124" fmla="*/ 4887220 h 5818346"/>
              <a:gd name="connsiteX4125" fmla="*/ 849113 w 3503192"/>
              <a:gd name="connsiteY4125" fmla="*/ 4877061 h 5818346"/>
              <a:gd name="connsiteX4126" fmla="*/ 846718 w 3503192"/>
              <a:gd name="connsiteY4126" fmla="*/ 4874666 h 5818346"/>
              <a:gd name="connsiteX4127" fmla="*/ 857455 w 3503192"/>
              <a:gd name="connsiteY4127" fmla="*/ 4863930 h 5818346"/>
              <a:gd name="connsiteX4128" fmla="*/ 957224 w 3503192"/>
              <a:gd name="connsiteY4128" fmla="*/ 4862442 h 5818346"/>
              <a:gd name="connsiteX4129" fmla="*/ 967961 w 3503192"/>
              <a:gd name="connsiteY4129" fmla="*/ 4873178 h 5818346"/>
              <a:gd name="connsiteX4130" fmla="*/ 957224 w 3503192"/>
              <a:gd name="connsiteY4130" fmla="*/ 4883916 h 5818346"/>
              <a:gd name="connsiteX4131" fmla="*/ 946488 w 3503192"/>
              <a:gd name="connsiteY4131" fmla="*/ 4873178 h 5818346"/>
              <a:gd name="connsiteX4132" fmla="*/ 957224 w 3503192"/>
              <a:gd name="connsiteY4132" fmla="*/ 4862442 h 5818346"/>
              <a:gd name="connsiteX4133" fmla="*/ 2939069 w 3503192"/>
              <a:gd name="connsiteY4133" fmla="*/ 4859800 h 5818346"/>
              <a:gd name="connsiteX4134" fmla="*/ 2949807 w 3503192"/>
              <a:gd name="connsiteY4134" fmla="*/ 4870537 h 5818346"/>
              <a:gd name="connsiteX4135" fmla="*/ 2939069 w 3503192"/>
              <a:gd name="connsiteY4135" fmla="*/ 4881273 h 5818346"/>
              <a:gd name="connsiteX4136" fmla="*/ 2928332 w 3503192"/>
              <a:gd name="connsiteY4136" fmla="*/ 4870537 h 5818346"/>
              <a:gd name="connsiteX4137" fmla="*/ 2939069 w 3503192"/>
              <a:gd name="connsiteY4137" fmla="*/ 4859800 h 5818346"/>
              <a:gd name="connsiteX4138" fmla="*/ 2753076 w 3503192"/>
              <a:gd name="connsiteY4138" fmla="*/ 4858148 h 5818346"/>
              <a:gd name="connsiteX4139" fmla="*/ 2763814 w 3503192"/>
              <a:gd name="connsiteY4139" fmla="*/ 4868884 h 5818346"/>
              <a:gd name="connsiteX4140" fmla="*/ 2753076 w 3503192"/>
              <a:gd name="connsiteY4140" fmla="*/ 4879621 h 5818346"/>
              <a:gd name="connsiteX4141" fmla="*/ 2742339 w 3503192"/>
              <a:gd name="connsiteY4141" fmla="*/ 4868884 h 5818346"/>
              <a:gd name="connsiteX4142" fmla="*/ 2753076 w 3503192"/>
              <a:gd name="connsiteY4142" fmla="*/ 4858148 h 5818346"/>
              <a:gd name="connsiteX4143" fmla="*/ 1173613 w 3503192"/>
              <a:gd name="connsiteY4143" fmla="*/ 4855834 h 5818346"/>
              <a:gd name="connsiteX4144" fmla="*/ 1184349 w 3503192"/>
              <a:gd name="connsiteY4144" fmla="*/ 4866571 h 5818346"/>
              <a:gd name="connsiteX4145" fmla="*/ 1173613 w 3503192"/>
              <a:gd name="connsiteY4145" fmla="*/ 4877309 h 5818346"/>
              <a:gd name="connsiteX4146" fmla="*/ 1162876 w 3503192"/>
              <a:gd name="connsiteY4146" fmla="*/ 4866571 h 5818346"/>
              <a:gd name="connsiteX4147" fmla="*/ 1173613 w 3503192"/>
              <a:gd name="connsiteY4147" fmla="*/ 4855834 h 5818346"/>
              <a:gd name="connsiteX4148" fmla="*/ 909487 w 3503192"/>
              <a:gd name="connsiteY4148" fmla="*/ 4855340 h 5818346"/>
              <a:gd name="connsiteX4149" fmla="*/ 920224 w 3503192"/>
              <a:gd name="connsiteY4149" fmla="*/ 4866077 h 5818346"/>
              <a:gd name="connsiteX4150" fmla="*/ 909487 w 3503192"/>
              <a:gd name="connsiteY4150" fmla="*/ 4876815 h 5818346"/>
              <a:gd name="connsiteX4151" fmla="*/ 898751 w 3503192"/>
              <a:gd name="connsiteY4151" fmla="*/ 4866077 h 5818346"/>
              <a:gd name="connsiteX4152" fmla="*/ 909487 w 3503192"/>
              <a:gd name="connsiteY4152" fmla="*/ 4855340 h 5818346"/>
              <a:gd name="connsiteX4153" fmla="*/ 1525944 w 3503192"/>
              <a:gd name="connsiteY4153" fmla="*/ 4854844 h 5818346"/>
              <a:gd name="connsiteX4154" fmla="*/ 1536680 w 3503192"/>
              <a:gd name="connsiteY4154" fmla="*/ 4865581 h 5818346"/>
              <a:gd name="connsiteX4155" fmla="*/ 1525944 w 3503192"/>
              <a:gd name="connsiteY4155" fmla="*/ 4876319 h 5818346"/>
              <a:gd name="connsiteX4156" fmla="*/ 1515208 w 3503192"/>
              <a:gd name="connsiteY4156" fmla="*/ 4865581 h 5818346"/>
              <a:gd name="connsiteX4157" fmla="*/ 1525944 w 3503192"/>
              <a:gd name="connsiteY4157" fmla="*/ 4854844 h 5818346"/>
              <a:gd name="connsiteX4158" fmla="*/ 3124568 w 3503192"/>
              <a:gd name="connsiteY4158" fmla="*/ 4854515 h 5818346"/>
              <a:gd name="connsiteX4159" fmla="*/ 3135306 w 3503192"/>
              <a:gd name="connsiteY4159" fmla="*/ 4865251 h 5818346"/>
              <a:gd name="connsiteX4160" fmla="*/ 3124568 w 3503192"/>
              <a:gd name="connsiteY4160" fmla="*/ 4875987 h 5818346"/>
              <a:gd name="connsiteX4161" fmla="*/ 3113832 w 3503192"/>
              <a:gd name="connsiteY4161" fmla="*/ 4865251 h 5818346"/>
              <a:gd name="connsiteX4162" fmla="*/ 3124568 w 3503192"/>
              <a:gd name="connsiteY4162" fmla="*/ 4854515 h 5818346"/>
              <a:gd name="connsiteX4163" fmla="*/ 831026 w 3503192"/>
              <a:gd name="connsiteY4163" fmla="*/ 4850054 h 5818346"/>
              <a:gd name="connsiteX4164" fmla="*/ 841762 w 3503192"/>
              <a:gd name="connsiteY4164" fmla="*/ 4860791 h 5818346"/>
              <a:gd name="connsiteX4165" fmla="*/ 832678 w 3503192"/>
              <a:gd name="connsiteY4165" fmla="*/ 4869876 h 5818346"/>
              <a:gd name="connsiteX4166" fmla="*/ 836476 w 3503192"/>
              <a:gd name="connsiteY4166" fmla="*/ 4873674 h 5818346"/>
              <a:gd name="connsiteX4167" fmla="*/ 826895 w 3503192"/>
              <a:gd name="connsiteY4167" fmla="*/ 4883255 h 5818346"/>
              <a:gd name="connsiteX4168" fmla="*/ 830199 w 3503192"/>
              <a:gd name="connsiteY4168" fmla="*/ 4886559 h 5818346"/>
              <a:gd name="connsiteX4169" fmla="*/ 819462 w 3503192"/>
              <a:gd name="connsiteY4169" fmla="*/ 4897295 h 5818346"/>
              <a:gd name="connsiteX4170" fmla="*/ 808726 w 3503192"/>
              <a:gd name="connsiteY4170" fmla="*/ 4886559 h 5818346"/>
              <a:gd name="connsiteX4171" fmla="*/ 818307 w 3503192"/>
              <a:gd name="connsiteY4171" fmla="*/ 4876978 h 5818346"/>
              <a:gd name="connsiteX4172" fmla="*/ 815004 w 3503192"/>
              <a:gd name="connsiteY4172" fmla="*/ 4873674 h 5818346"/>
              <a:gd name="connsiteX4173" fmla="*/ 824087 w 3503192"/>
              <a:gd name="connsiteY4173" fmla="*/ 4864590 h 5818346"/>
              <a:gd name="connsiteX4174" fmla="*/ 820290 w 3503192"/>
              <a:gd name="connsiteY4174" fmla="*/ 4860791 h 5818346"/>
              <a:gd name="connsiteX4175" fmla="*/ 831026 w 3503192"/>
              <a:gd name="connsiteY4175" fmla="*/ 4850054 h 5818346"/>
              <a:gd name="connsiteX4176" fmla="*/ 2568568 w 3503192"/>
              <a:gd name="connsiteY4176" fmla="*/ 4849723 h 5818346"/>
              <a:gd name="connsiteX4177" fmla="*/ 2579305 w 3503192"/>
              <a:gd name="connsiteY4177" fmla="*/ 4860459 h 5818346"/>
              <a:gd name="connsiteX4178" fmla="*/ 2568568 w 3503192"/>
              <a:gd name="connsiteY4178" fmla="*/ 4871198 h 5818346"/>
              <a:gd name="connsiteX4179" fmla="*/ 2557832 w 3503192"/>
              <a:gd name="connsiteY4179" fmla="*/ 4860459 h 5818346"/>
              <a:gd name="connsiteX4180" fmla="*/ 2568568 w 3503192"/>
              <a:gd name="connsiteY4180" fmla="*/ 4849723 h 5818346"/>
              <a:gd name="connsiteX4181" fmla="*/ 1835163 w 3503192"/>
              <a:gd name="connsiteY4181" fmla="*/ 4849227 h 5818346"/>
              <a:gd name="connsiteX4182" fmla="*/ 1845902 w 3503192"/>
              <a:gd name="connsiteY4182" fmla="*/ 4859963 h 5818346"/>
              <a:gd name="connsiteX4183" fmla="*/ 1835163 w 3503192"/>
              <a:gd name="connsiteY4183" fmla="*/ 4870700 h 5818346"/>
              <a:gd name="connsiteX4184" fmla="*/ 1824427 w 3503192"/>
              <a:gd name="connsiteY4184" fmla="*/ 4859963 h 5818346"/>
              <a:gd name="connsiteX4185" fmla="*/ 1835163 w 3503192"/>
              <a:gd name="connsiteY4185" fmla="*/ 4849227 h 5818346"/>
              <a:gd name="connsiteX4186" fmla="*/ 870505 w 3503192"/>
              <a:gd name="connsiteY4186" fmla="*/ 4845265 h 5818346"/>
              <a:gd name="connsiteX4187" fmla="*/ 881241 w 3503192"/>
              <a:gd name="connsiteY4187" fmla="*/ 4856001 h 5818346"/>
              <a:gd name="connsiteX4188" fmla="*/ 870505 w 3503192"/>
              <a:gd name="connsiteY4188" fmla="*/ 4866737 h 5818346"/>
              <a:gd name="connsiteX4189" fmla="*/ 859768 w 3503192"/>
              <a:gd name="connsiteY4189" fmla="*/ 4856001 h 5818346"/>
              <a:gd name="connsiteX4190" fmla="*/ 870505 w 3503192"/>
              <a:gd name="connsiteY4190" fmla="*/ 4845265 h 5818346"/>
              <a:gd name="connsiteX4191" fmla="*/ 3307755 w 3503192"/>
              <a:gd name="connsiteY4191" fmla="*/ 4842455 h 5818346"/>
              <a:gd name="connsiteX4192" fmla="*/ 3318492 w 3503192"/>
              <a:gd name="connsiteY4192" fmla="*/ 4853191 h 5818346"/>
              <a:gd name="connsiteX4193" fmla="*/ 3307755 w 3503192"/>
              <a:gd name="connsiteY4193" fmla="*/ 4863930 h 5818346"/>
              <a:gd name="connsiteX4194" fmla="*/ 3297019 w 3503192"/>
              <a:gd name="connsiteY4194" fmla="*/ 4853191 h 5818346"/>
              <a:gd name="connsiteX4195" fmla="*/ 3307755 w 3503192"/>
              <a:gd name="connsiteY4195" fmla="*/ 4842455 h 5818346"/>
              <a:gd name="connsiteX4196" fmla="*/ 1277841 w 3503192"/>
              <a:gd name="connsiteY4196" fmla="*/ 4839152 h 5818346"/>
              <a:gd name="connsiteX4197" fmla="*/ 1288579 w 3503192"/>
              <a:gd name="connsiteY4197" fmla="*/ 4849888 h 5818346"/>
              <a:gd name="connsiteX4198" fmla="*/ 1277841 w 3503192"/>
              <a:gd name="connsiteY4198" fmla="*/ 4860624 h 5818346"/>
              <a:gd name="connsiteX4199" fmla="*/ 1267104 w 3503192"/>
              <a:gd name="connsiteY4199" fmla="*/ 4849888 h 5818346"/>
              <a:gd name="connsiteX4200" fmla="*/ 1277841 w 3503192"/>
              <a:gd name="connsiteY4200" fmla="*/ 4839152 h 5818346"/>
              <a:gd name="connsiteX4201" fmla="*/ 759336 w 3503192"/>
              <a:gd name="connsiteY4201" fmla="*/ 4835022 h 5818346"/>
              <a:gd name="connsiteX4202" fmla="*/ 770073 w 3503192"/>
              <a:gd name="connsiteY4202" fmla="*/ 4845759 h 5818346"/>
              <a:gd name="connsiteX4203" fmla="*/ 759336 w 3503192"/>
              <a:gd name="connsiteY4203" fmla="*/ 4856495 h 5818346"/>
              <a:gd name="connsiteX4204" fmla="*/ 748600 w 3503192"/>
              <a:gd name="connsiteY4204" fmla="*/ 4845759 h 5818346"/>
              <a:gd name="connsiteX4205" fmla="*/ 759336 w 3503192"/>
              <a:gd name="connsiteY4205" fmla="*/ 4835022 h 5818346"/>
              <a:gd name="connsiteX4206" fmla="*/ 2387198 w 3503192"/>
              <a:gd name="connsiteY4206" fmla="*/ 4834691 h 5818346"/>
              <a:gd name="connsiteX4207" fmla="*/ 2397936 w 3503192"/>
              <a:gd name="connsiteY4207" fmla="*/ 4845428 h 5818346"/>
              <a:gd name="connsiteX4208" fmla="*/ 2387198 w 3503192"/>
              <a:gd name="connsiteY4208" fmla="*/ 4856166 h 5818346"/>
              <a:gd name="connsiteX4209" fmla="*/ 2376462 w 3503192"/>
              <a:gd name="connsiteY4209" fmla="*/ 4845428 h 5818346"/>
              <a:gd name="connsiteX4210" fmla="*/ 2387198 w 3503192"/>
              <a:gd name="connsiteY4210" fmla="*/ 4834691 h 5818346"/>
              <a:gd name="connsiteX4211" fmla="*/ 838294 w 3503192"/>
              <a:gd name="connsiteY4211" fmla="*/ 4833866 h 5818346"/>
              <a:gd name="connsiteX4212" fmla="*/ 849032 w 3503192"/>
              <a:gd name="connsiteY4212" fmla="*/ 4844602 h 5818346"/>
              <a:gd name="connsiteX4213" fmla="*/ 838294 w 3503192"/>
              <a:gd name="connsiteY4213" fmla="*/ 4855338 h 5818346"/>
              <a:gd name="connsiteX4214" fmla="*/ 827557 w 3503192"/>
              <a:gd name="connsiteY4214" fmla="*/ 4844602 h 5818346"/>
              <a:gd name="connsiteX4215" fmla="*/ 838294 w 3503192"/>
              <a:gd name="connsiteY4215" fmla="*/ 4833866 h 5818346"/>
              <a:gd name="connsiteX4216" fmla="*/ 3486480 w 3503192"/>
              <a:gd name="connsiteY4216" fmla="*/ 4823955 h 5818346"/>
              <a:gd name="connsiteX4217" fmla="*/ 3497218 w 3503192"/>
              <a:gd name="connsiteY4217" fmla="*/ 4834691 h 5818346"/>
              <a:gd name="connsiteX4218" fmla="*/ 3486480 w 3503192"/>
              <a:gd name="connsiteY4218" fmla="*/ 4845428 h 5818346"/>
              <a:gd name="connsiteX4219" fmla="*/ 3475744 w 3503192"/>
              <a:gd name="connsiteY4219" fmla="*/ 4834691 h 5818346"/>
              <a:gd name="connsiteX4220" fmla="*/ 3486480 w 3503192"/>
              <a:gd name="connsiteY4220" fmla="*/ 4823955 h 5818346"/>
              <a:gd name="connsiteX4221" fmla="*/ 811534 w 3503192"/>
              <a:gd name="connsiteY4221" fmla="*/ 4821643 h 5818346"/>
              <a:gd name="connsiteX4222" fmla="*/ 822270 w 3503192"/>
              <a:gd name="connsiteY4222" fmla="*/ 4832380 h 5818346"/>
              <a:gd name="connsiteX4223" fmla="*/ 812609 w 3503192"/>
              <a:gd name="connsiteY4223" fmla="*/ 4842042 h 5818346"/>
              <a:gd name="connsiteX4224" fmla="*/ 818472 w 3503192"/>
              <a:gd name="connsiteY4224" fmla="*/ 4847906 h 5818346"/>
              <a:gd name="connsiteX4225" fmla="*/ 809387 w 3503192"/>
              <a:gd name="connsiteY4225" fmla="*/ 4856993 h 5818346"/>
              <a:gd name="connsiteX4226" fmla="*/ 814176 w 3503192"/>
              <a:gd name="connsiteY4226" fmla="*/ 4861781 h 5818346"/>
              <a:gd name="connsiteX4227" fmla="*/ 803440 w 3503192"/>
              <a:gd name="connsiteY4227" fmla="*/ 4872517 h 5818346"/>
              <a:gd name="connsiteX4228" fmla="*/ 792704 w 3503192"/>
              <a:gd name="connsiteY4228" fmla="*/ 4861781 h 5818346"/>
              <a:gd name="connsiteX4229" fmla="*/ 801789 w 3503192"/>
              <a:gd name="connsiteY4229" fmla="*/ 4852696 h 5818346"/>
              <a:gd name="connsiteX4230" fmla="*/ 796999 w 3503192"/>
              <a:gd name="connsiteY4230" fmla="*/ 4847906 h 5818346"/>
              <a:gd name="connsiteX4231" fmla="*/ 806662 w 3503192"/>
              <a:gd name="connsiteY4231" fmla="*/ 4838245 h 5818346"/>
              <a:gd name="connsiteX4232" fmla="*/ 800797 w 3503192"/>
              <a:gd name="connsiteY4232" fmla="*/ 4832380 h 5818346"/>
              <a:gd name="connsiteX4233" fmla="*/ 811534 w 3503192"/>
              <a:gd name="connsiteY4233" fmla="*/ 4821643 h 5818346"/>
              <a:gd name="connsiteX4234" fmla="*/ 944010 w 3503192"/>
              <a:gd name="connsiteY4234" fmla="*/ 4818836 h 5818346"/>
              <a:gd name="connsiteX4235" fmla="*/ 954746 w 3503192"/>
              <a:gd name="connsiteY4235" fmla="*/ 4829572 h 5818346"/>
              <a:gd name="connsiteX4236" fmla="*/ 944010 w 3503192"/>
              <a:gd name="connsiteY4236" fmla="*/ 4840308 h 5818346"/>
              <a:gd name="connsiteX4237" fmla="*/ 933274 w 3503192"/>
              <a:gd name="connsiteY4237" fmla="*/ 4829572 h 5818346"/>
              <a:gd name="connsiteX4238" fmla="*/ 944010 w 3503192"/>
              <a:gd name="connsiteY4238" fmla="*/ 4818836 h 5818346"/>
              <a:gd name="connsiteX4239" fmla="*/ 1006448 w 3503192"/>
              <a:gd name="connsiteY4239" fmla="*/ 4817018 h 5818346"/>
              <a:gd name="connsiteX4240" fmla="*/ 1017186 w 3503192"/>
              <a:gd name="connsiteY4240" fmla="*/ 4827754 h 5818346"/>
              <a:gd name="connsiteX4241" fmla="*/ 1006448 w 3503192"/>
              <a:gd name="connsiteY4241" fmla="*/ 4838493 h 5818346"/>
              <a:gd name="connsiteX4242" fmla="*/ 995711 w 3503192"/>
              <a:gd name="connsiteY4242" fmla="*/ 4827754 h 5818346"/>
              <a:gd name="connsiteX4243" fmla="*/ 1006448 w 3503192"/>
              <a:gd name="connsiteY4243" fmla="*/ 4817018 h 5818346"/>
              <a:gd name="connsiteX4244" fmla="*/ 893464 w 3503192"/>
              <a:gd name="connsiteY4244" fmla="*/ 4815861 h 5818346"/>
              <a:gd name="connsiteX4245" fmla="*/ 904202 w 3503192"/>
              <a:gd name="connsiteY4245" fmla="*/ 4826598 h 5818346"/>
              <a:gd name="connsiteX4246" fmla="*/ 893464 w 3503192"/>
              <a:gd name="connsiteY4246" fmla="*/ 4837334 h 5818346"/>
              <a:gd name="connsiteX4247" fmla="*/ 882727 w 3503192"/>
              <a:gd name="connsiteY4247" fmla="*/ 4826598 h 5818346"/>
              <a:gd name="connsiteX4248" fmla="*/ 893464 w 3503192"/>
              <a:gd name="connsiteY4248" fmla="*/ 4815861 h 5818346"/>
              <a:gd name="connsiteX4249" fmla="*/ 2210950 w 3503192"/>
              <a:gd name="connsiteY4249" fmla="*/ 4813548 h 5818346"/>
              <a:gd name="connsiteX4250" fmla="*/ 2221688 w 3503192"/>
              <a:gd name="connsiteY4250" fmla="*/ 4824284 h 5818346"/>
              <a:gd name="connsiteX4251" fmla="*/ 2210950 w 3503192"/>
              <a:gd name="connsiteY4251" fmla="*/ 4835022 h 5818346"/>
              <a:gd name="connsiteX4252" fmla="*/ 2200213 w 3503192"/>
              <a:gd name="connsiteY4252" fmla="*/ 4824284 h 5818346"/>
              <a:gd name="connsiteX4253" fmla="*/ 2210950 w 3503192"/>
              <a:gd name="connsiteY4253" fmla="*/ 4813548 h 5818346"/>
              <a:gd name="connsiteX4254" fmla="*/ 1688647 w 3503192"/>
              <a:gd name="connsiteY4254" fmla="*/ 4813054 h 5818346"/>
              <a:gd name="connsiteX4255" fmla="*/ 1699384 w 3503192"/>
              <a:gd name="connsiteY4255" fmla="*/ 4823790 h 5818346"/>
              <a:gd name="connsiteX4256" fmla="*/ 1688647 w 3503192"/>
              <a:gd name="connsiteY4256" fmla="*/ 4834528 h 5818346"/>
              <a:gd name="connsiteX4257" fmla="*/ 1677911 w 3503192"/>
              <a:gd name="connsiteY4257" fmla="*/ 4823790 h 5818346"/>
              <a:gd name="connsiteX4258" fmla="*/ 1688647 w 3503192"/>
              <a:gd name="connsiteY4258" fmla="*/ 4813054 h 5818346"/>
              <a:gd name="connsiteX4259" fmla="*/ 1402553 w 3503192"/>
              <a:gd name="connsiteY4259" fmla="*/ 4812558 h 5818346"/>
              <a:gd name="connsiteX4260" fmla="*/ 1413290 w 3503192"/>
              <a:gd name="connsiteY4260" fmla="*/ 4823294 h 5818346"/>
              <a:gd name="connsiteX4261" fmla="*/ 1402553 w 3503192"/>
              <a:gd name="connsiteY4261" fmla="*/ 4834032 h 5818346"/>
              <a:gd name="connsiteX4262" fmla="*/ 1391817 w 3503192"/>
              <a:gd name="connsiteY4262" fmla="*/ 4823294 h 5818346"/>
              <a:gd name="connsiteX4263" fmla="*/ 1402553 w 3503192"/>
              <a:gd name="connsiteY4263" fmla="*/ 4812558 h 5818346"/>
              <a:gd name="connsiteX4264" fmla="*/ 852334 w 3503192"/>
              <a:gd name="connsiteY4264" fmla="*/ 4809585 h 5818346"/>
              <a:gd name="connsiteX4265" fmla="*/ 863070 w 3503192"/>
              <a:gd name="connsiteY4265" fmla="*/ 4820322 h 5818346"/>
              <a:gd name="connsiteX4266" fmla="*/ 852334 w 3503192"/>
              <a:gd name="connsiteY4266" fmla="*/ 4831058 h 5818346"/>
              <a:gd name="connsiteX4267" fmla="*/ 841597 w 3503192"/>
              <a:gd name="connsiteY4267" fmla="*/ 4820322 h 5818346"/>
              <a:gd name="connsiteX4268" fmla="*/ 852334 w 3503192"/>
              <a:gd name="connsiteY4268" fmla="*/ 4809585 h 5818346"/>
              <a:gd name="connsiteX4269" fmla="*/ 788575 w 3503192"/>
              <a:gd name="connsiteY4269" fmla="*/ 4809585 h 5818346"/>
              <a:gd name="connsiteX4270" fmla="*/ 799311 w 3503192"/>
              <a:gd name="connsiteY4270" fmla="*/ 4820322 h 5818346"/>
              <a:gd name="connsiteX4271" fmla="*/ 790309 w 3503192"/>
              <a:gd name="connsiteY4271" fmla="*/ 4829324 h 5818346"/>
              <a:gd name="connsiteX4272" fmla="*/ 797162 w 3503192"/>
              <a:gd name="connsiteY4272" fmla="*/ 4836177 h 5818346"/>
              <a:gd name="connsiteX4273" fmla="*/ 786674 w 3503192"/>
              <a:gd name="connsiteY4273" fmla="*/ 4846667 h 5818346"/>
              <a:gd name="connsiteX4274" fmla="*/ 792374 w 3503192"/>
              <a:gd name="connsiteY4274" fmla="*/ 4852366 h 5818346"/>
              <a:gd name="connsiteX4275" fmla="*/ 781636 w 3503192"/>
              <a:gd name="connsiteY4275" fmla="*/ 4863102 h 5818346"/>
              <a:gd name="connsiteX4276" fmla="*/ 770900 w 3503192"/>
              <a:gd name="connsiteY4276" fmla="*/ 4852366 h 5818346"/>
              <a:gd name="connsiteX4277" fmla="*/ 781388 w 3503192"/>
              <a:gd name="connsiteY4277" fmla="*/ 4841878 h 5818346"/>
              <a:gd name="connsiteX4278" fmla="*/ 775690 w 3503192"/>
              <a:gd name="connsiteY4278" fmla="*/ 4836177 h 5818346"/>
              <a:gd name="connsiteX4279" fmla="*/ 784692 w 3503192"/>
              <a:gd name="connsiteY4279" fmla="*/ 4827175 h 5818346"/>
              <a:gd name="connsiteX4280" fmla="*/ 777838 w 3503192"/>
              <a:gd name="connsiteY4280" fmla="*/ 4820322 h 5818346"/>
              <a:gd name="connsiteX4281" fmla="*/ 788575 w 3503192"/>
              <a:gd name="connsiteY4281" fmla="*/ 4809585 h 5818346"/>
              <a:gd name="connsiteX4282" fmla="*/ 1082762 w 3503192"/>
              <a:gd name="connsiteY4282" fmla="*/ 4809089 h 5818346"/>
              <a:gd name="connsiteX4283" fmla="*/ 1093498 w 3503192"/>
              <a:gd name="connsiteY4283" fmla="*/ 4819826 h 5818346"/>
              <a:gd name="connsiteX4284" fmla="*/ 1082762 w 3503192"/>
              <a:gd name="connsiteY4284" fmla="*/ 4830562 h 5818346"/>
              <a:gd name="connsiteX4285" fmla="*/ 1072026 w 3503192"/>
              <a:gd name="connsiteY4285" fmla="*/ 4819826 h 5818346"/>
              <a:gd name="connsiteX4286" fmla="*/ 1082762 w 3503192"/>
              <a:gd name="connsiteY4286" fmla="*/ 4809089 h 5818346"/>
              <a:gd name="connsiteX4287" fmla="*/ 745296 w 3503192"/>
              <a:gd name="connsiteY4287" fmla="*/ 4808593 h 5818346"/>
              <a:gd name="connsiteX4288" fmla="*/ 756033 w 3503192"/>
              <a:gd name="connsiteY4288" fmla="*/ 4819330 h 5818346"/>
              <a:gd name="connsiteX4289" fmla="*/ 745296 w 3503192"/>
              <a:gd name="connsiteY4289" fmla="*/ 4830066 h 5818346"/>
              <a:gd name="connsiteX4290" fmla="*/ 734560 w 3503192"/>
              <a:gd name="connsiteY4290" fmla="*/ 4819330 h 5818346"/>
              <a:gd name="connsiteX4291" fmla="*/ 745296 w 3503192"/>
              <a:gd name="connsiteY4291" fmla="*/ 4808593 h 5818346"/>
              <a:gd name="connsiteX4292" fmla="*/ 723824 w 3503192"/>
              <a:gd name="connsiteY4292" fmla="*/ 4806115 h 5818346"/>
              <a:gd name="connsiteX4293" fmla="*/ 732742 w 3503192"/>
              <a:gd name="connsiteY4293" fmla="*/ 4815034 h 5818346"/>
              <a:gd name="connsiteX4294" fmla="*/ 723824 w 3503192"/>
              <a:gd name="connsiteY4294" fmla="*/ 4823955 h 5818346"/>
              <a:gd name="connsiteX4295" fmla="*/ 714903 w 3503192"/>
              <a:gd name="connsiteY4295" fmla="*/ 4815034 h 5818346"/>
              <a:gd name="connsiteX4296" fmla="*/ 723824 w 3503192"/>
              <a:gd name="connsiteY4296" fmla="*/ 4806115 h 5818346"/>
              <a:gd name="connsiteX4297" fmla="*/ 818968 w 3503192"/>
              <a:gd name="connsiteY4297" fmla="*/ 4800829 h 5818346"/>
              <a:gd name="connsiteX4298" fmla="*/ 829704 w 3503192"/>
              <a:gd name="connsiteY4298" fmla="*/ 4811566 h 5818346"/>
              <a:gd name="connsiteX4299" fmla="*/ 818968 w 3503192"/>
              <a:gd name="connsiteY4299" fmla="*/ 4822302 h 5818346"/>
              <a:gd name="connsiteX4300" fmla="*/ 808232 w 3503192"/>
              <a:gd name="connsiteY4300" fmla="*/ 4811566 h 5818346"/>
              <a:gd name="connsiteX4301" fmla="*/ 818968 w 3503192"/>
              <a:gd name="connsiteY4301" fmla="*/ 4800829 h 5818346"/>
              <a:gd name="connsiteX4302" fmla="*/ 1175593 w 3503192"/>
              <a:gd name="connsiteY4302" fmla="*/ 4793561 h 5818346"/>
              <a:gd name="connsiteX4303" fmla="*/ 1186331 w 3503192"/>
              <a:gd name="connsiteY4303" fmla="*/ 4804298 h 5818346"/>
              <a:gd name="connsiteX4304" fmla="*/ 1175593 w 3503192"/>
              <a:gd name="connsiteY4304" fmla="*/ 4815034 h 5818346"/>
              <a:gd name="connsiteX4305" fmla="*/ 1164857 w 3503192"/>
              <a:gd name="connsiteY4305" fmla="*/ 4804298 h 5818346"/>
              <a:gd name="connsiteX4306" fmla="*/ 1175593 w 3503192"/>
              <a:gd name="connsiteY4306" fmla="*/ 4793561 h 5818346"/>
              <a:gd name="connsiteX4307" fmla="*/ 791547 w 3503192"/>
              <a:gd name="connsiteY4307" fmla="*/ 4790754 h 5818346"/>
              <a:gd name="connsiteX4308" fmla="*/ 802283 w 3503192"/>
              <a:gd name="connsiteY4308" fmla="*/ 4801490 h 5818346"/>
              <a:gd name="connsiteX4309" fmla="*/ 791547 w 3503192"/>
              <a:gd name="connsiteY4309" fmla="*/ 4812228 h 5818346"/>
              <a:gd name="connsiteX4310" fmla="*/ 780811 w 3503192"/>
              <a:gd name="connsiteY4310" fmla="*/ 4801490 h 5818346"/>
              <a:gd name="connsiteX4311" fmla="*/ 791547 w 3503192"/>
              <a:gd name="connsiteY4311" fmla="*/ 4790754 h 5818346"/>
              <a:gd name="connsiteX4312" fmla="*/ 2040978 w 3503192"/>
              <a:gd name="connsiteY4312" fmla="*/ 4787119 h 5818346"/>
              <a:gd name="connsiteX4313" fmla="*/ 2051715 w 3503192"/>
              <a:gd name="connsiteY4313" fmla="*/ 4797855 h 5818346"/>
              <a:gd name="connsiteX4314" fmla="*/ 2040978 w 3503192"/>
              <a:gd name="connsiteY4314" fmla="*/ 4808593 h 5818346"/>
              <a:gd name="connsiteX4315" fmla="*/ 2030242 w 3503192"/>
              <a:gd name="connsiteY4315" fmla="*/ 4797855 h 5818346"/>
              <a:gd name="connsiteX4316" fmla="*/ 2040978 w 3503192"/>
              <a:gd name="connsiteY4316" fmla="*/ 4787119 h 5818346"/>
              <a:gd name="connsiteX4317" fmla="*/ 689136 w 3503192"/>
              <a:gd name="connsiteY4317" fmla="*/ 4784478 h 5818346"/>
              <a:gd name="connsiteX4318" fmla="*/ 689797 w 3503192"/>
              <a:gd name="connsiteY4318" fmla="*/ 4785139 h 5818346"/>
              <a:gd name="connsiteX4319" fmla="*/ 689136 w 3503192"/>
              <a:gd name="connsiteY4319" fmla="*/ 4785799 h 5818346"/>
              <a:gd name="connsiteX4320" fmla="*/ 688476 w 3503192"/>
              <a:gd name="connsiteY4320" fmla="*/ 4785139 h 5818346"/>
              <a:gd name="connsiteX4321" fmla="*/ 689136 w 3503192"/>
              <a:gd name="connsiteY4321" fmla="*/ 4784478 h 5818346"/>
              <a:gd name="connsiteX4322" fmla="*/ 768753 w 3503192"/>
              <a:gd name="connsiteY4322" fmla="*/ 4780182 h 5818346"/>
              <a:gd name="connsiteX4323" fmla="*/ 779489 w 3503192"/>
              <a:gd name="connsiteY4323" fmla="*/ 4790919 h 5818346"/>
              <a:gd name="connsiteX4324" fmla="*/ 769991 w 3503192"/>
              <a:gd name="connsiteY4324" fmla="*/ 4800417 h 5818346"/>
              <a:gd name="connsiteX4325" fmla="*/ 778830 w 3503192"/>
              <a:gd name="connsiteY4325" fmla="*/ 4809254 h 5818346"/>
              <a:gd name="connsiteX4326" fmla="*/ 769084 w 3503192"/>
              <a:gd name="connsiteY4326" fmla="*/ 4819000 h 5818346"/>
              <a:gd name="connsiteX4327" fmla="*/ 776682 w 3503192"/>
              <a:gd name="connsiteY4327" fmla="*/ 4826598 h 5818346"/>
              <a:gd name="connsiteX4328" fmla="*/ 765945 w 3503192"/>
              <a:gd name="connsiteY4328" fmla="*/ 4837334 h 5818346"/>
              <a:gd name="connsiteX4329" fmla="*/ 755209 w 3503192"/>
              <a:gd name="connsiteY4329" fmla="*/ 4826598 h 5818346"/>
              <a:gd name="connsiteX4330" fmla="*/ 764953 w 3503192"/>
              <a:gd name="connsiteY4330" fmla="*/ 4816853 h 5818346"/>
              <a:gd name="connsiteX4331" fmla="*/ 757356 w 3503192"/>
              <a:gd name="connsiteY4331" fmla="*/ 4809254 h 5818346"/>
              <a:gd name="connsiteX4332" fmla="*/ 766854 w 3503192"/>
              <a:gd name="connsiteY4332" fmla="*/ 4799756 h 5818346"/>
              <a:gd name="connsiteX4333" fmla="*/ 758017 w 3503192"/>
              <a:gd name="connsiteY4333" fmla="*/ 4790919 h 5818346"/>
              <a:gd name="connsiteX4334" fmla="*/ 768753 w 3503192"/>
              <a:gd name="connsiteY4334" fmla="*/ 4780182 h 5818346"/>
              <a:gd name="connsiteX4335" fmla="*/ 710278 w 3503192"/>
              <a:gd name="connsiteY4335" fmla="*/ 4776549 h 5818346"/>
              <a:gd name="connsiteX4336" fmla="*/ 721016 w 3503192"/>
              <a:gd name="connsiteY4336" fmla="*/ 4787285 h 5818346"/>
              <a:gd name="connsiteX4337" fmla="*/ 710278 w 3503192"/>
              <a:gd name="connsiteY4337" fmla="*/ 4798022 h 5818346"/>
              <a:gd name="connsiteX4338" fmla="*/ 699542 w 3503192"/>
              <a:gd name="connsiteY4338" fmla="*/ 4787285 h 5818346"/>
              <a:gd name="connsiteX4339" fmla="*/ 710278 w 3503192"/>
              <a:gd name="connsiteY4339" fmla="*/ 4776549 h 5818346"/>
              <a:gd name="connsiteX4340" fmla="*/ 1550556 w 3503192"/>
              <a:gd name="connsiteY4340" fmla="*/ 4773906 h 5818346"/>
              <a:gd name="connsiteX4341" fmla="*/ 1561292 w 3503192"/>
              <a:gd name="connsiteY4341" fmla="*/ 4784643 h 5818346"/>
              <a:gd name="connsiteX4342" fmla="*/ 1550556 w 3503192"/>
              <a:gd name="connsiteY4342" fmla="*/ 4795379 h 5818346"/>
              <a:gd name="connsiteX4343" fmla="*/ 1539819 w 3503192"/>
              <a:gd name="connsiteY4343" fmla="*/ 4784643 h 5818346"/>
              <a:gd name="connsiteX4344" fmla="*/ 1550556 w 3503192"/>
              <a:gd name="connsiteY4344" fmla="*/ 4773906 h 5818346"/>
              <a:gd name="connsiteX4345" fmla="*/ 877937 w 3503192"/>
              <a:gd name="connsiteY4345" fmla="*/ 4771924 h 5818346"/>
              <a:gd name="connsiteX4346" fmla="*/ 888674 w 3503192"/>
              <a:gd name="connsiteY4346" fmla="*/ 4782660 h 5818346"/>
              <a:gd name="connsiteX4347" fmla="*/ 877937 w 3503192"/>
              <a:gd name="connsiteY4347" fmla="*/ 4793397 h 5818346"/>
              <a:gd name="connsiteX4348" fmla="*/ 867201 w 3503192"/>
              <a:gd name="connsiteY4348" fmla="*/ 4782660 h 5818346"/>
              <a:gd name="connsiteX4349" fmla="*/ 877937 w 3503192"/>
              <a:gd name="connsiteY4349" fmla="*/ 4771924 h 5818346"/>
              <a:gd name="connsiteX4350" fmla="*/ 748766 w 3503192"/>
              <a:gd name="connsiteY4350" fmla="*/ 4770107 h 5818346"/>
              <a:gd name="connsiteX4351" fmla="*/ 759503 w 3503192"/>
              <a:gd name="connsiteY4351" fmla="*/ 4780843 h 5818346"/>
              <a:gd name="connsiteX4352" fmla="*/ 750088 w 3503192"/>
              <a:gd name="connsiteY4352" fmla="*/ 4790260 h 5818346"/>
              <a:gd name="connsiteX4353" fmla="*/ 759503 w 3503192"/>
              <a:gd name="connsiteY4353" fmla="*/ 4799673 h 5818346"/>
              <a:gd name="connsiteX4354" fmla="*/ 748766 w 3503192"/>
              <a:gd name="connsiteY4354" fmla="*/ 4810409 h 5818346"/>
              <a:gd name="connsiteX4355" fmla="*/ 738030 w 3503192"/>
              <a:gd name="connsiteY4355" fmla="*/ 4799673 h 5818346"/>
              <a:gd name="connsiteX4356" fmla="*/ 747445 w 3503192"/>
              <a:gd name="connsiteY4356" fmla="*/ 4790260 h 5818346"/>
              <a:gd name="connsiteX4357" fmla="*/ 738030 w 3503192"/>
              <a:gd name="connsiteY4357" fmla="*/ 4780843 h 5818346"/>
              <a:gd name="connsiteX4358" fmla="*/ 748766 w 3503192"/>
              <a:gd name="connsiteY4358" fmla="*/ 4770107 h 5818346"/>
              <a:gd name="connsiteX4359" fmla="*/ 931952 w 3503192"/>
              <a:gd name="connsiteY4359" fmla="*/ 4769942 h 5818346"/>
              <a:gd name="connsiteX4360" fmla="*/ 942688 w 3503192"/>
              <a:gd name="connsiteY4360" fmla="*/ 4780678 h 5818346"/>
              <a:gd name="connsiteX4361" fmla="*/ 931952 w 3503192"/>
              <a:gd name="connsiteY4361" fmla="*/ 4791415 h 5818346"/>
              <a:gd name="connsiteX4362" fmla="*/ 921216 w 3503192"/>
              <a:gd name="connsiteY4362" fmla="*/ 4780678 h 5818346"/>
              <a:gd name="connsiteX4363" fmla="*/ 931952 w 3503192"/>
              <a:gd name="connsiteY4363" fmla="*/ 4769942 h 5818346"/>
              <a:gd name="connsiteX4364" fmla="*/ 834494 w 3503192"/>
              <a:gd name="connsiteY4364" fmla="*/ 4769775 h 5818346"/>
              <a:gd name="connsiteX4365" fmla="*/ 845231 w 3503192"/>
              <a:gd name="connsiteY4365" fmla="*/ 4780512 h 5818346"/>
              <a:gd name="connsiteX4366" fmla="*/ 834494 w 3503192"/>
              <a:gd name="connsiteY4366" fmla="*/ 4791248 h 5818346"/>
              <a:gd name="connsiteX4367" fmla="*/ 823758 w 3503192"/>
              <a:gd name="connsiteY4367" fmla="*/ 4780512 h 5818346"/>
              <a:gd name="connsiteX4368" fmla="*/ 834494 w 3503192"/>
              <a:gd name="connsiteY4368" fmla="*/ 4769775 h 5818346"/>
              <a:gd name="connsiteX4369" fmla="*/ 1287422 w 3503192"/>
              <a:gd name="connsiteY4369" fmla="*/ 4768619 h 5818346"/>
              <a:gd name="connsiteX4370" fmla="*/ 1298159 w 3503192"/>
              <a:gd name="connsiteY4370" fmla="*/ 4779355 h 5818346"/>
              <a:gd name="connsiteX4371" fmla="*/ 1287422 w 3503192"/>
              <a:gd name="connsiteY4371" fmla="*/ 4790093 h 5818346"/>
              <a:gd name="connsiteX4372" fmla="*/ 1276686 w 3503192"/>
              <a:gd name="connsiteY4372" fmla="*/ 4779355 h 5818346"/>
              <a:gd name="connsiteX4373" fmla="*/ 1287422 w 3503192"/>
              <a:gd name="connsiteY4373" fmla="*/ 4768619 h 5818346"/>
              <a:gd name="connsiteX4374" fmla="*/ 799476 w 3503192"/>
              <a:gd name="connsiteY4374" fmla="*/ 4764325 h 5818346"/>
              <a:gd name="connsiteX4375" fmla="*/ 810212 w 3503192"/>
              <a:gd name="connsiteY4375" fmla="*/ 4775061 h 5818346"/>
              <a:gd name="connsiteX4376" fmla="*/ 799476 w 3503192"/>
              <a:gd name="connsiteY4376" fmla="*/ 4785798 h 5818346"/>
              <a:gd name="connsiteX4377" fmla="*/ 788739 w 3503192"/>
              <a:gd name="connsiteY4377" fmla="*/ 4775061 h 5818346"/>
              <a:gd name="connsiteX4378" fmla="*/ 799476 w 3503192"/>
              <a:gd name="connsiteY4378" fmla="*/ 4764325 h 5818346"/>
              <a:gd name="connsiteX4379" fmla="*/ 998850 w 3503192"/>
              <a:gd name="connsiteY4379" fmla="*/ 4762178 h 5818346"/>
              <a:gd name="connsiteX4380" fmla="*/ 1009586 w 3503192"/>
              <a:gd name="connsiteY4380" fmla="*/ 4772914 h 5818346"/>
              <a:gd name="connsiteX4381" fmla="*/ 998850 w 3503192"/>
              <a:gd name="connsiteY4381" fmla="*/ 4783651 h 5818346"/>
              <a:gd name="connsiteX4382" fmla="*/ 988114 w 3503192"/>
              <a:gd name="connsiteY4382" fmla="*/ 4772914 h 5818346"/>
              <a:gd name="connsiteX4383" fmla="*/ 998850 w 3503192"/>
              <a:gd name="connsiteY4383" fmla="*/ 4762178 h 5818346"/>
              <a:gd name="connsiteX4384" fmla="*/ 730596 w 3503192"/>
              <a:gd name="connsiteY4384" fmla="*/ 4761021 h 5818346"/>
              <a:gd name="connsiteX4385" fmla="*/ 741332 w 3503192"/>
              <a:gd name="connsiteY4385" fmla="*/ 4771758 h 5818346"/>
              <a:gd name="connsiteX4386" fmla="*/ 730760 w 3503192"/>
              <a:gd name="connsiteY4386" fmla="*/ 4782329 h 5818346"/>
              <a:gd name="connsiteX4387" fmla="*/ 740671 w 3503192"/>
              <a:gd name="connsiteY4387" fmla="*/ 4792240 h 5818346"/>
              <a:gd name="connsiteX4388" fmla="*/ 729935 w 3503192"/>
              <a:gd name="connsiteY4388" fmla="*/ 4802978 h 5818346"/>
              <a:gd name="connsiteX4389" fmla="*/ 719198 w 3503192"/>
              <a:gd name="connsiteY4389" fmla="*/ 4792240 h 5818346"/>
              <a:gd name="connsiteX4390" fmla="*/ 729770 w 3503192"/>
              <a:gd name="connsiteY4390" fmla="*/ 4781668 h 5818346"/>
              <a:gd name="connsiteX4391" fmla="*/ 719859 w 3503192"/>
              <a:gd name="connsiteY4391" fmla="*/ 4771758 h 5818346"/>
              <a:gd name="connsiteX4392" fmla="*/ 730596 w 3503192"/>
              <a:gd name="connsiteY4392" fmla="*/ 4761021 h 5818346"/>
              <a:gd name="connsiteX4393" fmla="*/ 771231 w 3503192"/>
              <a:gd name="connsiteY4393" fmla="*/ 4756892 h 5818346"/>
              <a:gd name="connsiteX4394" fmla="*/ 781967 w 3503192"/>
              <a:gd name="connsiteY4394" fmla="*/ 4767628 h 5818346"/>
              <a:gd name="connsiteX4395" fmla="*/ 771231 w 3503192"/>
              <a:gd name="connsiteY4395" fmla="*/ 4778365 h 5818346"/>
              <a:gd name="connsiteX4396" fmla="*/ 760495 w 3503192"/>
              <a:gd name="connsiteY4396" fmla="*/ 4767628 h 5818346"/>
              <a:gd name="connsiteX4397" fmla="*/ 771231 w 3503192"/>
              <a:gd name="connsiteY4397" fmla="*/ 4756892 h 5818346"/>
              <a:gd name="connsiteX4398" fmla="*/ 1878606 w 3503192"/>
              <a:gd name="connsiteY4398" fmla="*/ 4755900 h 5818346"/>
              <a:gd name="connsiteX4399" fmla="*/ 1889343 w 3503192"/>
              <a:gd name="connsiteY4399" fmla="*/ 4766636 h 5818346"/>
              <a:gd name="connsiteX4400" fmla="*/ 1878606 w 3503192"/>
              <a:gd name="connsiteY4400" fmla="*/ 4777373 h 5818346"/>
              <a:gd name="connsiteX4401" fmla="*/ 1867870 w 3503192"/>
              <a:gd name="connsiteY4401" fmla="*/ 4766636 h 5818346"/>
              <a:gd name="connsiteX4402" fmla="*/ 1878606 w 3503192"/>
              <a:gd name="connsiteY4402" fmla="*/ 4755900 h 5818346"/>
              <a:gd name="connsiteX4403" fmla="*/ 713087 w 3503192"/>
              <a:gd name="connsiteY4403" fmla="*/ 4753588 h 5818346"/>
              <a:gd name="connsiteX4404" fmla="*/ 723824 w 3503192"/>
              <a:gd name="connsiteY4404" fmla="*/ 4764325 h 5818346"/>
              <a:gd name="connsiteX4405" fmla="*/ 713087 w 3503192"/>
              <a:gd name="connsiteY4405" fmla="*/ 4775063 h 5818346"/>
              <a:gd name="connsiteX4406" fmla="*/ 702351 w 3503192"/>
              <a:gd name="connsiteY4406" fmla="*/ 4764325 h 5818346"/>
              <a:gd name="connsiteX4407" fmla="*/ 713087 w 3503192"/>
              <a:gd name="connsiteY4407" fmla="*/ 4753588 h 5818346"/>
              <a:gd name="connsiteX4408" fmla="*/ 748104 w 3503192"/>
              <a:gd name="connsiteY4408" fmla="*/ 4748467 h 5818346"/>
              <a:gd name="connsiteX4409" fmla="*/ 758840 w 3503192"/>
              <a:gd name="connsiteY4409" fmla="*/ 4759204 h 5818346"/>
              <a:gd name="connsiteX4410" fmla="*/ 748104 w 3503192"/>
              <a:gd name="connsiteY4410" fmla="*/ 4769942 h 5818346"/>
              <a:gd name="connsiteX4411" fmla="*/ 737368 w 3503192"/>
              <a:gd name="connsiteY4411" fmla="*/ 4759204 h 5818346"/>
              <a:gd name="connsiteX4412" fmla="*/ 748104 w 3503192"/>
              <a:gd name="connsiteY4412" fmla="*/ 4748467 h 5818346"/>
              <a:gd name="connsiteX4413" fmla="*/ 695246 w 3503192"/>
              <a:gd name="connsiteY4413" fmla="*/ 4748303 h 5818346"/>
              <a:gd name="connsiteX4414" fmla="*/ 705984 w 3503192"/>
              <a:gd name="connsiteY4414" fmla="*/ 4759039 h 5818346"/>
              <a:gd name="connsiteX4415" fmla="*/ 695246 w 3503192"/>
              <a:gd name="connsiteY4415" fmla="*/ 4769775 h 5818346"/>
              <a:gd name="connsiteX4416" fmla="*/ 684510 w 3503192"/>
              <a:gd name="connsiteY4416" fmla="*/ 4759039 h 5818346"/>
              <a:gd name="connsiteX4417" fmla="*/ 695246 w 3503192"/>
              <a:gd name="connsiteY4417" fmla="*/ 4748303 h 5818346"/>
              <a:gd name="connsiteX4418" fmla="*/ 1080615 w 3503192"/>
              <a:gd name="connsiteY4418" fmla="*/ 4747146 h 5818346"/>
              <a:gd name="connsiteX4419" fmla="*/ 1091353 w 3503192"/>
              <a:gd name="connsiteY4419" fmla="*/ 4757882 h 5818346"/>
              <a:gd name="connsiteX4420" fmla="*/ 1080615 w 3503192"/>
              <a:gd name="connsiteY4420" fmla="*/ 4768619 h 5818346"/>
              <a:gd name="connsiteX4421" fmla="*/ 1069879 w 3503192"/>
              <a:gd name="connsiteY4421" fmla="*/ 4757882 h 5818346"/>
              <a:gd name="connsiteX4422" fmla="*/ 1080615 w 3503192"/>
              <a:gd name="connsiteY4422" fmla="*/ 4747146 h 5818346"/>
              <a:gd name="connsiteX4423" fmla="*/ 676251 w 3503192"/>
              <a:gd name="connsiteY4423" fmla="*/ 4745989 h 5818346"/>
              <a:gd name="connsiteX4424" fmla="*/ 686656 w 3503192"/>
              <a:gd name="connsiteY4424" fmla="*/ 4756396 h 5818346"/>
              <a:gd name="connsiteX4425" fmla="*/ 676251 w 3503192"/>
              <a:gd name="connsiteY4425" fmla="*/ 4766803 h 5818346"/>
              <a:gd name="connsiteX4426" fmla="*/ 665845 w 3503192"/>
              <a:gd name="connsiteY4426" fmla="*/ 4756396 h 5818346"/>
              <a:gd name="connsiteX4427" fmla="*/ 676251 w 3503192"/>
              <a:gd name="connsiteY4427" fmla="*/ 4745989 h 5818346"/>
              <a:gd name="connsiteX4428" fmla="*/ 2844420 w 3503192"/>
              <a:gd name="connsiteY4428" fmla="*/ 4741531 h 5818346"/>
              <a:gd name="connsiteX4429" fmla="*/ 2855158 w 3503192"/>
              <a:gd name="connsiteY4429" fmla="*/ 4752267 h 5818346"/>
              <a:gd name="connsiteX4430" fmla="*/ 2844420 w 3503192"/>
              <a:gd name="connsiteY4430" fmla="*/ 4763003 h 5818346"/>
              <a:gd name="connsiteX4431" fmla="*/ 2833684 w 3503192"/>
              <a:gd name="connsiteY4431" fmla="*/ 4752267 h 5818346"/>
              <a:gd name="connsiteX4432" fmla="*/ 2844420 w 3503192"/>
              <a:gd name="connsiteY4432" fmla="*/ 4741531 h 5818346"/>
              <a:gd name="connsiteX4433" fmla="*/ 728613 w 3503192"/>
              <a:gd name="connsiteY4433" fmla="*/ 4739713 h 5818346"/>
              <a:gd name="connsiteX4434" fmla="*/ 739350 w 3503192"/>
              <a:gd name="connsiteY4434" fmla="*/ 4750450 h 5818346"/>
              <a:gd name="connsiteX4435" fmla="*/ 728613 w 3503192"/>
              <a:gd name="connsiteY4435" fmla="*/ 4761188 h 5818346"/>
              <a:gd name="connsiteX4436" fmla="*/ 717877 w 3503192"/>
              <a:gd name="connsiteY4436" fmla="*/ 4750450 h 5818346"/>
              <a:gd name="connsiteX4437" fmla="*/ 728613 w 3503192"/>
              <a:gd name="connsiteY4437" fmla="*/ 4739713 h 5818346"/>
              <a:gd name="connsiteX4438" fmla="*/ 3037518 w 3503192"/>
              <a:gd name="connsiteY4438" fmla="*/ 4739549 h 5818346"/>
              <a:gd name="connsiteX4439" fmla="*/ 3048255 w 3503192"/>
              <a:gd name="connsiteY4439" fmla="*/ 4750285 h 5818346"/>
              <a:gd name="connsiteX4440" fmla="*/ 3037518 w 3503192"/>
              <a:gd name="connsiteY4440" fmla="*/ 4761021 h 5818346"/>
              <a:gd name="connsiteX4441" fmla="*/ 3026782 w 3503192"/>
              <a:gd name="connsiteY4441" fmla="*/ 4750285 h 5818346"/>
              <a:gd name="connsiteX4442" fmla="*/ 3037518 w 3503192"/>
              <a:gd name="connsiteY4442" fmla="*/ 4739549 h 5818346"/>
              <a:gd name="connsiteX4443" fmla="*/ 2651820 w 3503192"/>
              <a:gd name="connsiteY4443" fmla="*/ 4736245 h 5818346"/>
              <a:gd name="connsiteX4444" fmla="*/ 2662558 w 3503192"/>
              <a:gd name="connsiteY4444" fmla="*/ 4746981 h 5818346"/>
              <a:gd name="connsiteX4445" fmla="*/ 2651820 w 3503192"/>
              <a:gd name="connsiteY4445" fmla="*/ 4757718 h 5818346"/>
              <a:gd name="connsiteX4446" fmla="*/ 2641084 w 3503192"/>
              <a:gd name="connsiteY4446" fmla="*/ 4746981 h 5818346"/>
              <a:gd name="connsiteX4447" fmla="*/ 2651820 w 3503192"/>
              <a:gd name="connsiteY4447" fmla="*/ 4736245 h 5818346"/>
              <a:gd name="connsiteX4448" fmla="*/ 1420889 w 3503192"/>
              <a:gd name="connsiteY4448" fmla="*/ 4732445 h 5818346"/>
              <a:gd name="connsiteX4449" fmla="*/ 1431625 w 3503192"/>
              <a:gd name="connsiteY4449" fmla="*/ 4743182 h 5818346"/>
              <a:gd name="connsiteX4450" fmla="*/ 1420889 w 3503192"/>
              <a:gd name="connsiteY4450" fmla="*/ 4753920 h 5818346"/>
              <a:gd name="connsiteX4451" fmla="*/ 1410152 w 3503192"/>
              <a:gd name="connsiteY4451" fmla="*/ 4743182 h 5818346"/>
              <a:gd name="connsiteX4452" fmla="*/ 1420889 w 3503192"/>
              <a:gd name="connsiteY4452" fmla="*/ 4732445 h 5818346"/>
              <a:gd name="connsiteX4453" fmla="*/ 711270 w 3503192"/>
              <a:gd name="connsiteY4453" fmla="*/ 4731453 h 5818346"/>
              <a:gd name="connsiteX4454" fmla="*/ 722006 w 3503192"/>
              <a:gd name="connsiteY4454" fmla="*/ 4742190 h 5818346"/>
              <a:gd name="connsiteX4455" fmla="*/ 711270 w 3503192"/>
              <a:gd name="connsiteY4455" fmla="*/ 4752928 h 5818346"/>
              <a:gd name="connsiteX4456" fmla="*/ 700534 w 3503192"/>
              <a:gd name="connsiteY4456" fmla="*/ 4742190 h 5818346"/>
              <a:gd name="connsiteX4457" fmla="*/ 711270 w 3503192"/>
              <a:gd name="connsiteY4457" fmla="*/ 4731453 h 5818346"/>
              <a:gd name="connsiteX4458" fmla="*/ 3228798 w 3503192"/>
              <a:gd name="connsiteY4458" fmla="*/ 4730628 h 5818346"/>
              <a:gd name="connsiteX4459" fmla="*/ 3239534 w 3503192"/>
              <a:gd name="connsiteY4459" fmla="*/ 4741364 h 5818346"/>
              <a:gd name="connsiteX4460" fmla="*/ 3228798 w 3503192"/>
              <a:gd name="connsiteY4460" fmla="*/ 4752101 h 5818346"/>
              <a:gd name="connsiteX4461" fmla="*/ 3218061 w 3503192"/>
              <a:gd name="connsiteY4461" fmla="*/ 4741364 h 5818346"/>
              <a:gd name="connsiteX4462" fmla="*/ 3228798 w 3503192"/>
              <a:gd name="connsiteY4462" fmla="*/ 4730628 h 5818346"/>
              <a:gd name="connsiteX4463" fmla="*/ 817151 w 3503192"/>
              <a:gd name="connsiteY4463" fmla="*/ 4725507 h 5818346"/>
              <a:gd name="connsiteX4464" fmla="*/ 827887 w 3503192"/>
              <a:gd name="connsiteY4464" fmla="*/ 4736243 h 5818346"/>
              <a:gd name="connsiteX4465" fmla="*/ 817151 w 3503192"/>
              <a:gd name="connsiteY4465" fmla="*/ 4746979 h 5818346"/>
              <a:gd name="connsiteX4466" fmla="*/ 806414 w 3503192"/>
              <a:gd name="connsiteY4466" fmla="*/ 4736243 h 5818346"/>
              <a:gd name="connsiteX4467" fmla="*/ 817151 w 3503192"/>
              <a:gd name="connsiteY4467" fmla="*/ 4725507 h 5818346"/>
              <a:gd name="connsiteX4468" fmla="*/ 780150 w 3503192"/>
              <a:gd name="connsiteY4468" fmla="*/ 4724185 h 5818346"/>
              <a:gd name="connsiteX4469" fmla="*/ 790886 w 3503192"/>
              <a:gd name="connsiteY4469" fmla="*/ 4734922 h 5818346"/>
              <a:gd name="connsiteX4470" fmla="*/ 780150 w 3503192"/>
              <a:gd name="connsiteY4470" fmla="*/ 4745660 h 5818346"/>
              <a:gd name="connsiteX4471" fmla="*/ 769414 w 3503192"/>
              <a:gd name="connsiteY4471" fmla="*/ 4734922 h 5818346"/>
              <a:gd name="connsiteX4472" fmla="*/ 780150 w 3503192"/>
              <a:gd name="connsiteY4472" fmla="*/ 4724185 h 5818346"/>
              <a:gd name="connsiteX4473" fmla="*/ 2462025 w 3503192"/>
              <a:gd name="connsiteY4473" fmla="*/ 4724021 h 5818346"/>
              <a:gd name="connsiteX4474" fmla="*/ 2472763 w 3503192"/>
              <a:gd name="connsiteY4474" fmla="*/ 4734757 h 5818346"/>
              <a:gd name="connsiteX4475" fmla="*/ 2462025 w 3503192"/>
              <a:gd name="connsiteY4475" fmla="*/ 4745493 h 5818346"/>
              <a:gd name="connsiteX4476" fmla="*/ 2451289 w 3503192"/>
              <a:gd name="connsiteY4476" fmla="*/ 4734757 h 5818346"/>
              <a:gd name="connsiteX4477" fmla="*/ 2462025 w 3503192"/>
              <a:gd name="connsiteY4477" fmla="*/ 4724021 h 5818346"/>
              <a:gd name="connsiteX4478" fmla="*/ 643213 w 3503192"/>
              <a:gd name="connsiteY4478" fmla="*/ 4724021 h 5818346"/>
              <a:gd name="connsiteX4479" fmla="*/ 645527 w 3503192"/>
              <a:gd name="connsiteY4479" fmla="*/ 4726332 h 5818346"/>
              <a:gd name="connsiteX4480" fmla="*/ 643213 w 3503192"/>
              <a:gd name="connsiteY4480" fmla="*/ 4728646 h 5818346"/>
              <a:gd name="connsiteX4481" fmla="*/ 640902 w 3503192"/>
              <a:gd name="connsiteY4481" fmla="*/ 4726332 h 5818346"/>
              <a:gd name="connsiteX4482" fmla="*/ 643213 w 3503192"/>
              <a:gd name="connsiteY4482" fmla="*/ 4724021 h 5818346"/>
              <a:gd name="connsiteX4483" fmla="*/ 1180220 w 3503192"/>
              <a:gd name="connsiteY4483" fmla="*/ 4723525 h 5818346"/>
              <a:gd name="connsiteX4484" fmla="*/ 1190956 w 3503192"/>
              <a:gd name="connsiteY4484" fmla="*/ 4734261 h 5818346"/>
              <a:gd name="connsiteX4485" fmla="*/ 1180220 w 3503192"/>
              <a:gd name="connsiteY4485" fmla="*/ 4744997 h 5818346"/>
              <a:gd name="connsiteX4486" fmla="*/ 1169484 w 3503192"/>
              <a:gd name="connsiteY4486" fmla="*/ 4734261 h 5818346"/>
              <a:gd name="connsiteX4487" fmla="*/ 1180220 w 3503192"/>
              <a:gd name="connsiteY4487" fmla="*/ 4723525 h 5818346"/>
              <a:gd name="connsiteX4488" fmla="*/ 863401 w 3503192"/>
              <a:gd name="connsiteY4488" fmla="*/ 4722864 h 5818346"/>
              <a:gd name="connsiteX4489" fmla="*/ 874138 w 3503192"/>
              <a:gd name="connsiteY4489" fmla="*/ 4733600 h 5818346"/>
              <a:gd name="connsiteX4490" fmla="*/ 863401 w 3503192"/>
              <a:gd name="connsiteY4490" fmla="*/ 4744337 h 5818346"/>
              <a:gd name="connsiteX4491" fmla="*/ 852665 w 3503192"/>
              <a:gd name="connsiteY4491" fmla="*/ 4733600 h 5818346"/>
              <a:gd name="connsiteX4492" fmla="*/ 863401 w 3503192"/>
              <a:gd name="connsiteY4492" fmla="*/ 4722864 h 5818346"/>
              <a:gd name="connsiteX4493" fmla="*/ 1724491 w 3503192"/>
              <a:gd name="connsiteY4493" fmla="*/ 4721046 h 5818346"/>
              <a:gd name="connsiteX4494" fmla="*/ 1735229 w 3503192"/>
              <a:gd name="connsiteY4494" fmla="*/ 4731783 h 5818346"/>
              <a:gd name="connsiteX4495" fmla="*/ 1724491 w 3503192"/>
              <a:gd name="connsiteY4495" fmla="*/ 4742521 h 5818346"/>
              <a:gd name="connsiteX4496" fmla="*/ 1713755 w 3503192"/>
              <a:gd name="connsiteY4496" fmla="*/ 4731783 h 5818346"/>
              <a:gd name="connsiteX4497" fmla="*/ 1724491 w 3503192"/>
              <a:gd name="connsiteY4497" fmla="*/ 4721046 h 5818346"/>
              <a:gd name="connsiteX4498" fmla="*/ 750747 w 3503192"/>
              <a:gd name="connsiteY4498" fmla="*/ 4719891 h 5818346"/>
              <a:gd name="connsiteX4499" fmla="*/ 761483 w 3503192"/>
              <a:gd name="connsiteY4499" fmla="*/ 4730628 h 5818346"/>
              <a:gd name="connsiteX4500" fmla="*/ 750747 w 3503192"/>
              <a:gd name="connsiteY4500" fmla="*/ 4741364 h 5818346"/>
              <a:gd name="connsiteX4501" fmla="*/ 740010 w 3503192"/>
              <a:gd name="connsiteY4501" fmla="*/ 4730628 h 5818346"/>
              <a:gd name="connsiteX4502" fmla="*/ 750747 w 3503192"/>
              <a:gd name="connsiteY4502" fmla="*/ 4719891 h 5818346"/>
              <a:gd name="connsiteX4503" fmla="*/ 661880 w 3503192"/>
              <a:gd name="connsiteY4503" fmla="*/ 4716257 h 5818346"/>
              <a:gd name="connsiteX4504" fmla="*/ 671876 w 3503192"/>
              <a:gd name="connsiteY4504" fmla="*/ 4726251 h 5818346"/>
              <a:gd name="connsiteX4505" fmla="*/ 678894 w 3503192"/>
              <a:gd name="connsiteY4505" fmla="*/ 4719231 h 5818346"/>
              <a:gd name="connsiteX4506" fmla="*/ 689631 w 3503192"/>
              <a:gd name="connsiteY4506" fmla="*/ 4729967 h 5818346"/>
              <a:gd name="connsiteX4507" fmla="*/ 695081 w 3503192"/>
              <a:gd name="connsiteY4507" fmla="*/ 4724517 h 5818346"/>
              <a:gd name="connsiteX4508" fmla="*/ 705818 w 3503192"/>
              <a:gd name="connsiteY4508" fmla="*/ 4735253 h 5818346"/>
              <a:gd name="connsiteX4509" fmla="*/ 695081 w 3503192"/>
              <a:gd name="connsiteY4509" fmla="*/ 4745989 h 5818346"/>
              <a:gd name="connsiteX4510" fmla="*/ 684345 w 3503192"/>
              <a:gd name="connsiteY4510" fmla="*/ 4735253 h 5818346"/>
              <a:gd name="connsiteX4511" fmla="*/ 678894 w 3503192"/>
              <a:gd name="connsiteY4511" fmla="*/ 4740703 h 5818346"/>
              <a:gd name="connsiteX4512" fmla="*/ 668900 w 3503192"/>
              <a:gd name="connsiteY4512" fmla="*/ 4730711 h 5818346"/>
              <a:gd name="connsiteX4513" fmla="*/ 661880 w 3503192"/>
              <a:gd name="connsiteY4513" fmla="*/ 4737729 h 5818346"/>
              <a:gd name="connsiteX4514" fmla="*/ 651144 w 3503192"/>
              <a:gd name="connsiteY4514" fmla="*/ 4726993 h 5818346"/>
              <a:gd name="connsiteX4515" fmla="*/ 661880 w 3503192"/>
              <a:gd name="connsiteY4515" fmla="*/ 4716257 h 5818346"/>
              <a:gd name="connsiteX4516" fmla="*/ 921380 w 3503192"/>
              <a:gd name="connsiteY4516" fmla="*/ 4715102 h 5818346"/>
              <a:gd name="connsiteX4517" fmla="*/ 932117 w 3503192"/>
              <a:gd name="connsiteY4517" fmla="*/ 4725838 h 5818346"/>
              <a:gd name="connsiteX4518" fmla="*/ 921380 w 3503192"/>
              <a:gd name="connsiteY4518" fmla="*/ 4736574 h 5818346"/>
              <a:gd name="connsiteX4519" fmla="*/ 910644 w 3503192"/>
              <a:gd name="connsiteY4519" fmla="*/ 4725838 h 5818346"/>
              <a:gd name="connsiteX4520" fmla="*/ 921380 w 3503192"/>
              <a:gd name="connsiteY4520" fmla="*/ 4715102 h 5818346"/>
              <a:gd name="connsiteX4521" fmla="*/ 3416444 w 3503192"/>
              <a:gd name="connsiteY4521" fmla="*/ 4714770 h 5818346"/>
              <a:gd name="connsiteX4522" fmla="*/ 3427182 w 3503192"/>
              <a:gd name="connsiteY4522" fmla="*/ 4725507 h 5818346"/>
              <a:gd name="connsiteX4523" fmla="*/ 3416444 w 3503192"/>
              <a:gd name="connsiteY4523" fmla="*/ 4736243 h 5818346"/>
              <a:gd name="connsiteX4524" fmla="*/ 3405707 w 3503192"/>
              <a:gd name="connsiteY4524" fmla="*/ 4725507 h 5818346"/>
              <a:gd name="connsiteX4525" fmla="*/ 3416444 w 3503192"/>
              <a:gd name="connsiteY4525" fmla="*/ 4714770 h 5818346"/>
              <a:gd name="connsiteX4526" fmla="*/ 727127 w 3503192"/>
              <a:gd name="connsiteY4526" fmla="*/ 4713945 h 5818346"/>
              <a:gd name="connsiteX4527" fmla="*/ 737864 w 3503192"/>
              <a:gd name="connsiteY4527" fmla="*/ 4724681 h 5818346"/>
              <a:gd name="connsiteX4528" fmla="*/ 727127 w 3503192"/>
              <a:gd name="connsiteY4528" fmla="*/ 4735419 h 5818346"/>
              <a:gd name="connsiteX4529" fmla="*/ 716391 w 3503192"/>
              <a:gd name="connsiteY4529" fmla="*/ 4724681 h 5818346"/>
              <a:gd name="connsiteX4530" fmla="*/ 727127 w 3503192"/>
              <a:gd name="connsiteY4530" fmla="*/ 4713945 h 5818346"/>
              <a:gd name="connsiteX4531" fmla="*/ 707635 w 3503192"/>
              <a:gd name="connsiteY4531" fmla="*/ 4707171 h 5818346"/>
              <a:gd name="connsiteX4532" fmla="*/ 718373 w 3503192"/>
              <a:gd name="connsiteY4532" fmla="*/ 4717908 h 5818346"/>
              <a:gd name="connsiteX4533" fmla="*/ 707635 w 3503192"/>
              <a:gd name="connsiteY4533" fmla="*/ 4728646 h 5818346"/>
              <a:gd name="connsiteX4534" fmla="*/ 696899 w 3503192"/>
              <a:gd name="connsiteY4534" fmla="*/ 4717908 h 5818346"/>
              <a:gd name="connsiteX4535" fmla="*/ 707635 w 3503192"/>
              <a:gd name="connsiteY4535" fmla="*/ 4707171 h 5818346"/>
              <a:gd name="connsiteX4536" fmla="*/ 2276857 w 3503192"/>
              <a:gd name="connsiteY4536" fmla="*/ 4705356 h 5818346"/>
              <a:gd name="connsiteX4537" fmla="*/ 2287596 w 3503192"/>
              <a:gd name="connsiteY4537" fmla="*/ 4716092 h 5818346"/>
              <a:gd name="connsiteX4538" fmla="*/ 2276857 w 3503192"/>
              <a:gd name="connsiteY4538" fmla="*/ 4726828 h 5818346"/>
              <a:gd name="connsiteX4539" fmla="*/ 2266121 w 3503192"/>
              <a:gd name="connsiteY4539" fmla="*/ 4716092 h 5818346"/>
              <a:gd name="connsiteX4540" fmla="*/ 2276857 w 3503192"/>
              <a:gd name="connsiteY4540" fmla="*/ 4705356 h 5818346"/>
              <a:gd name="connsiteX4541" fmla="*/ 993068 w 3503192"/>
              <a:gd name="connsiteY4541" fmla="*/ 4700564 h 5818346"/>
              <a:gd name="connsiteX4542" fmla="*/ 1003805 w 3503192"/>
              <a:gd name="connsiteY4542" fmla="*/ 4711300 h 5818346"/>
              <a:gd name="connsiteX4543" fmla="*/ 993068 w 3503192"/>
              <a:gd name="connsiteY4543" fmla="*/ 4722037 h 5818346"/>
              <a:gd name="connsiteX4544" fmla="*/ 982332 w 3503192"/>
              <a:gd name="connsiteY4544" fmla="*/ 4711300 h 5818346"/>
              <a:gd name="connsiteX4545" fmla="*/ 993068 w 3503192"/>
              <a:gd name="connsiteY4545" fmla="*/ 4700564 h 5818346"/>
              <a:gd name="connsiteX4546" fmla="*/ 1300141 w 3503192"/>
              <a:gd name="connsiteY4546" fmla="*/ 4689333 h 5818346"/>
              <a:gd name="connsiteX4547" fmla="*/ 1310879 w 3503192"/>
              <a:gd name="connsiteY4547" fmla="*/ 4700070 h 5818346"/>
              <a:gd name="connsiteX4548" fmla="*/ 1300141 w 3503192"/>
              <a:gd name="connsiteY4548" fmla="*/ 4710806 h 5818346"/>
              <a:gd name="connsiteX4549" fmla="*/ 1289404 w 3503192"/>
              <a:gd name="connsiteY4549" fmla="*/ 4700070 h 5818346"/>
              <a:gd name="connsiteX4550" fmla="*/ 1300141 w 3503192"/>
              <a:gd name="connsiteY4550" fmla="*/ 4689333 h 5818346"/>
              <a:gd name="connsiteX4551" fmla="*/ 629669 w 3503192"/>
              <a:gd name="connsiteY4551" fmla="*/ 4685203 h 5818346"/>
              <a:gd name="connsiteX4552" fmla="*/ 638259 w 3503192"/>
              <a:gd name="connsiteY4552" fmla="*/ 4693792 h 5818346"/>
              <a:gd name="connsiteX4553" fmla="*/ 646023 w 3503192"/>
              <a:gd name="connsiteY4553" fmla="*/ 4686028 h 5818346"/>
              <a:gd name="connsiteX4554" fmla="*/ 655191 w 3503192"/>
              <a:gd name="connsiteY4554" fmla="*/ 4695197 h 5818346"/>
              <a:gd name="connsiteX4555" fmla="*/ 661219 w 3503192"/>
              <a:gd name="connsiteY4555" fmla="*/ 4689167 h 5818346"/>
              <a:gd name="connsiteX4556" fmla="*/ 670966 w 3503192"/>
              <a:gd name="connsiteY4556" fmla="*/ 4698913 h 5818346"/>
              <a:gd name="connsiteX4557" fmla="*/ 675920 w 3503192"/>
              <a:gd name="connsiteY4557" fmla="*/ 4693958 h 5818346"/>
              <a:gd name="connsiteX4558" fmla="*/ 686575 w 3503192"/>
              <a:gd name="connsiteY4558" fmla="*/ 4704613 h 5818346"/>
              <a:gd name="connsiteX4559" fmla="*/ 690952 w 3503192"/>
              <a:gd name="connsiteY4559" fmla="*/ 4700234 h 5818346"/>
              <a:gd name="connsiteX4560" fmla="*/ 701688 w 3503192"/>
              <a:gd name="connsiteY4560" fmla="*/ 4710971 h 5818346"/>
              <a:gd name="connsiteX4561" fmla="*/ 690952 w 3503192"/>
              <a:gd name="connsiteY4561" fmla="*/ 4721707 h 5818346"/>
              <a:gd name="connsiteX4562" fmla="*/ 680299 w 3503192"/>
              <a:gd name="connsiteY4562" fmla="*/ 4711054 h 5818346"/>
              <a:gd name="connsiteX4563" fmla="*/ 675920 w 3503192"/>
              <a:gd name="connsiteY4563" fmla="*/ 4715431 h 5818346"/>
              <a:gd name="connsiteX4564" fmla="*/ 666174 w 3503192"/>
              <a:gd name="connsiteY4564" fmla="*/ 4705687 h 5818346"/>
              <a:gd name="connsiteX4565" fmla="*/ 661219 w 3503192"/>
              <a:gd name="connsiteY4565" fmla="*/ 4710641 h 5818346"/>
              <a:gd name="connsiteX4566" fmla="*/ 652053 w 3503192"/>
              <a:gd name="connsiteY4566" fmla="*/ 4701473 h 5818346"/>
              <a:gd name="connsiteX4567" fmla="*/ 646023 w 3503192"/>
              <a:gd name="connsiteY4567" fmla="*/ 4707502 h 5818346"/>
              <a:gd name="connsiteX4568" fmla="*/ 637433 w 3503192"/>
              <a:gd name="connsiteY4568" fmla="*/ 4698911 h 5818346"/>
              <a:gd name="connsiteX4569" fmla="*/ 629669 w 3503192"/>
              <a:gd name="connsiteY4569" fmla="*/ 4706675 h 5818346"/>
              <a:gd name="connsiteX4570" fmla="*/ 618933 w 3503192"/>
              <a:gd name="connsiteY4570" fmla="*/ 4695939 h 5818346"/>
              <a:gd name="connsiteX4571" fmla="*/ 629669 w 3503192"/>
              <a:gd name="connsiteY4571" fmla="*/ 4685203 h 5818346"/>
              <a:gd name="connsiteX4572" fmla="*/ 1579296 w 3503192"/>
              <a:gd name="connsiteY4572" fmla="*/ 4683056 h 5818346"/>
              <a:gd name="connsiteX4573" fmla="*/ 1590034 w 3503192"/>
              <a:gd name="connsiteY4573" fmla="*/ 4693792 h 5818346"/>
              <a:gd name="connsiteX4574" fmla="*/ 1579296 w 3503192"/>
              <a:gd name="connsiteY4574" fmla="*/ 4704528 h 5818346"/>
              <a:gd name="connsiteX4575" fmla="*/ 1568560 w 3503192"/>
              <a:gd name="connsiteY4575" fmla="*/ 4693792 h 5818346"/>
              <a:gd name="connsiteX4576" fmla="*/ 1579296 w 3503192"/>
              <a:gd name="connsiteY4576" fmla="*/ 4683056 h 5818346"/>
              <a:gd name="connsiteX4577" fmla="*/ 2098297 w 3503192"/>
              <a:gd name="connsiteY4577" fmla="*/ 4680909 h 5818346"/>
              <a:gd name="connsiteX4578" fmla="*/ 2109035 w 3503192"/>
              <a:gd name="connsiteY4578" fmla="*/ 4691645 h 5818346"/>
              <a:gd name="connsiteX4579" fmla="*/ 2098297 w 3503192"/>
              <a:gd name="connsiteY4579" fmla="*/ 4702383 h 5818346"/>
              <a:gd name="connsiteX4580" fmla="*/ 2087560 w 3503192"/>
              <a:gd name="connsiteY4580" fmla="*/ 4691645 h 5818346"/>
              <a:gd name="connsiteX4581" fmla="*/ 2098297 w 3503192"/>
              <a:gd name="connsiteY4581" fmla="*/ 4680909 h 5818346"/>
              <a:gd name="connsiteX4582" fmla="*/ 761154 w 3503192"/>
              <a:gd name="connsiteY4582" fmla="*/ 4679587 h 5818346"/>
              <a:gd name="connsiteX4583" fmla="*/ 771890 w 3503192"/>
              <a:gd name="connsiteY4583" fmla="*/ 4690324 h 5818346"/>
              <a:gd name="connsiteX4584" fmla="*/ 761154 w 3503192"/>
              <a:gd name="connsiteY4584" fmla="*/ 4701060 h 5818346"/>
              <a:gd name="connsiteX4585" fmla="*/ 750417 w 3503192"/>
              <a:gd name="connsiteY4585" fmla="*/ 4690324 h 5818346"/>
              <a:gd name="connsiteX4586" fmla="*/ 761154 w 3503192"/>
              <a:gd name="connsiteY4586" fmla="*/ 4679587 h 5818346"/>
              <a:gd name="connsiteX4587" fmla="*/ 730100 w 3503192"/>
              <a:gd name="connsiteY4587" fmla="*/ 4679256 h 5818346"/>
              <a:gd name="connsiteX4588" fmla="*/ 740836 w 3503192"/>
              <a:gd name="connsiteY4588" fmla="*/ 4689992 h 5818346"/>
              <a:gd name="connsiteX4589" fmla="*/ 730100 w 3503192"/>
              <a:gd name="connsiteY4589" fmla="*/ 4700730 h 5818346"/>
              <a:gd name="connsiteX4590" fmla="*/ 719363 w 3503192"/>
              <a:gd name="connsiteY4590" fmla="*/ 4689992 h 5818346"/>
              <a:gd name="connsiteX4591" fmla="*/ 730100 w 3503192"/>
              <a:gd name="connsiteY4591" fmla="*/ 4679256 h 5818346"/>
              <a:gd name="connsiteX4592" fmla="*/ 1080945 w 3503192"/>
              <a:gd name="connsiteY4592" fmla="*/ 4677605 h 5818346"/>
              <a:gd name="connsiteX4593" fmla="*/ 1091681 w 3503192"/>
              <a:gd name="connsiteY4593" fmla="*/ 4688341 h 5818346"/>
              <a:gd name="connsiteX4594" fmla="*/ 1080945 w 3503192"/>
              <a:gd name="connsiteY4594" fmla="*/ 4699080 h 5818346"/>
              <a:gd name="connsiteX4595" fmla="*/ 1070208 w 3503192"/>
              <a:gd name="connsiteY4595" fmla="*/ 4688341 h 5818346"/>
              <a:gd name="connsiteX4596" fmla="*/ 1080945 w 3503192"/>
              <a:gd name="connsiteY4596" fmla="*/ 4677605 h 5818346"/>
              <a:gd name="connsiteX4597" fmla="*/ 800468 w 3503192"/>
              <a:gd name="connsiteY4597" fmla="*/ 4676284 h 5818346"/>
              <a:gd name="connsiteX4598" fmla="*/ 811204 w 3503192"/>
              <a:gd name="connsiteY4598" fmla="*/ 4687020 h 5818346"/>
              <a:gd name="connsiteX4599" fmla="*/ 800468 w 3503192"/>
              <a:gd name="connsiteY4599" fmla="*/ 4697758 h 5818346"/>
              <a:gd name="connsiteX4600" fmla="*/ 789731 w 3503192"/>
              <a:gd name="connsiteY4600" fmla="*/ 4687020 h 5818346"/>
              <a:gd name="connsiteX4601" fmla="*/ 800468 w 3503192"/>
              <a:gd name="connsiteY4601" fmla="*/ 4676284 h 5818346"/>
              <a:gd name="connsiteX4602" fmla="*/ 705653 w 3503192"/>
              <a:gd name="connsiteY4602" fmla="*/ 4676284 h 5818346"/>
              <a:gd name="connsiteX4603" fmla="*/ 716389 w 3503192"/>
              <a:gd name="connsiteY4603" fmla="*/ 4687020 h 5818346"/>
              <a:gd name="connsiteX4604" fmla="*/ 705653 w 3503192"/>
              <a:gd name="connsiteY4604" fmla="*/ 4697758 h 5818346"/>
              <a:gd name="connsiteX4605" fmla="*/ 694916 w 3503192"/>
              <a:gd name="connsiteY4605" fmla="*/ 4687020 h 5818346"/>
              <a:gd name="connsiteX4606" fmla="*/ 705653 w 3503192"/>
              <a:gd name="connsiteY4606" fmla="*/ 4676284 h 5818346"/>
              <a:gd name="connsiteX4607" fmla="*/ 850187 w 3503192"/>
              <a:gd name="connsiteY4607" fmla="*/ 4668190 h 5818346"/>
              <a:gd name="connsiteX4608" fmla="*/ 860923 w 3503192"/>
              <a:gd name="connsiteY4608" fmla="*/ 4678927 h 5818346"/>
              <a:gd name="connsiteX4609" fmla="*/ 850187 w 3503192"/>
              <a:gd name="connsiteY4609" fmla="*/ 4689663 h 5818346"/>
              <a:gd name="connsiteX4610" fmla="*/ 839450 w 3503192"/>
              <a:gd name="connsiteY4610" fmla="*/ 4678927 h 5818346"/>
              <a:gd name="connsiteX4611" fmla="*/ 850187 w 3503192"/>
              <a:gd name="connsiteY4611" fmla="*/ 4668190 h 5818346"/>
              <a:gd name="connsiteX4612" fmla="*/ 598121 w 3503192"/>
              <a:gd name="connsiteY4612" fmla="*/ 4661912 h 5818346"/>
              <a:gd name="connsiteX4613" fmla="*/ 602415 w 3503192"/>
              <a:gd name="connsiteY4613" fmla="*/ 4666208 h 5818346"/>
              <a:gd name="connsiteX4614" fmla="*/ 598121 w 3503192"/>
              <a:gd name="connsiteY4614" fmla="*/ 4670502 h 5818346"/>
              <a:gd name="connsiteX4615" fmla="*/ 593826 w 3503192"/>
              <a:gd name="connsiteY4615" fmla="*/ 4666208 h 5818346"/>
              <a:gd name="connsiteX4616" fmla="*/ 598121 w 3503192"/>
              <a:gd name="connsiteY4616" fmla="*/ 4661912 h 5818346"/>
              <a:gd name="connsiteX4617" fmla="*/ 614473 w 3503192"/>
              <a:gd name="connsiteY4617" fmla="*/ 4653984 h 5818346"/>
              <a:gd name="connsiteX4618" fmla="*/ 622153 w 3503192"/>
              <a:gd name="connsiteY4618" fmla="*/ 4661664 h 5818346"/>
              <a:gd name="connsiteX4619" fmla="*/ 628844 w 3503192"/>
              <a:gd name="connsiteY4619" fmla="*/ 4654974 h 5818346"/>
              <a:gd name="connsiteX4620" fmla="*/ 636939 w 3503192"/>
              <a:gd name="connsiteY4620" fmla="*/ 4663067 h 5818346"/>
              <a:gd name="connsiteX4621" fmla="*/ 642390 w 3503192"/>
              <a:gd name="connsiteY4621" fmla="*/ 4657617 h 5818346"/>
              <a:gd name="connsiteX4622" fmla="*/ 651062 w 3503192"/>
              <a:gd name="connsiteY4622" fmla="*/ 4666290 h 5818346"/>
              <a:gd name="connsiteX4623" fmla="*/ 655604 w 3503192"/>
              <a:gd name="connsiteY4623" fmla="*/ 4661748 h 5818346"/>
              <a:gd name="connsiteX4624" fmla="*/ 665267 w 3503192"/>
              <a:gd name="connsiteY4624" fmla="*/ 4671411 h 5818346"/>
              <a:gd name="connsiteX4625" fmla="*/ 669809 w 3503192"/>
              <a:gd name="connsiteY4625" fmla="*/ 4666867 h 5818346"/>
              <a:gd name="connsiteX4626" fmla="*/ 680464 w 3503192"/>
              <a:gd name="connsiteY4626" fmla="*/ 4677522 h 5818346"/>
              <a:gd name="connsiteX4627" fmla="*/ 685998 w 3503192"/>
              <a:gd name="connsiteY4627" fmla="*/ 4671988 h 5818346"/>
              <a:gd name="connsiteX4628" fmla="*/ 696734 w 3503192"/>
              <a:gd name="connsiteY4628" fmla="*/ 4682724 h 5818346"/>
              <a:gd name="connsiteX4629" fmla="*/ 685998 w 3503192"/>
              <a:gd name="connsiteY4629" fmla="*/ 4693462 h 5818346"/>
              <a:gd name="connsiteX4630" fmla="*/ 675343 w 3503192"/>
              <a:gd name="connsiteY4630" fmla="*/ 4682806 h 5818346"/>
              <a:gd name="connsiteX4631" fmla="*/ 669809 w 3503192"/>
              <a:gd name="connsiteY4631" fmla="*/ 4688341 h 5818346"/>
              <a:gd name="connsiteX4632" fmla="*/ 660148 w 3503192"/>
              <a:gd name="connsiteY4632" fmla="*/ 4678679 h 5818346"/>
              <a:gd name="connsiteX4633" fmla="*/ 655604 w 3503192"/>
              <a:gd name="connsiteY4633" fmla="*/ 4683222 h 5818346"/>
              <a:gd name="connsiteX4634" fmla="*/ 646932 w 3503192"/>
              <a:gd name="connsiteY4634" fmla="*/ 4674549 h 5818346"/>
              <a:gd name="connsiteX4635" fmla="*/ 642390 w 3503192"/>
              <a:gd name="connsiteY4635" fmla="*/ 4679091 h 5818346"/>
              <a:gd name="connsiteX4636" fmla="*/ 634296 w 3503192"/>
              <a:gd name="connsiteY4636" fmla="*/ 4670996 h 5818346"/>
              <a:gd name="connsiteX4637" fmla="*/ 628844 w 3503192"/>
              <a:gd name="connsiteY4637" fmla="*/ 4676448 h 5818346"/>
              <a:gd name="connsiteX4638" fmla="*/ 621163 w 3503192"/>
              <a:gd name="connsiteY4638" fmla="*/ 4668768 h 5818346"/>
              <a:gd name="connsiteX4639" fmla="*/ 614473 w 3503192"/>
              <a:gd name="connsiteY4639" fmla="*/ 4675458 h 5818346"/>
              <a:gd name="connsiteX4640" fmla="*/ 603736 w 3503192"/>
              <a:gd name="connsiteY4640" fmla="*/ 4664720 h 5818346"/>
              <a:gd name="connsiteX4641" fmla="*/ 614473 w 3503192"/>
              <a:gd name="connsiteY4641" fmla="*/ 4653984 h 5818346"/>
              <a:gd name="connsiteX4642" fmla="*/ 912295 w 3503192"/>
              <a:gd name="connsiteY4642" fmla="*/ 4653654 h 5818346"/>
              <a:gd name="connsiteX4643" fmla="*/ 923031 w 3503192"/>
              <a:gd name="connsiteY4643" fmla="*/ 4664391 h 5818346"/>
              <a:gd name="connsiteX4644" fmla="*/ 912295 w 3503192"/>
              <a:gd name="connsiteY4644" fmla="*/ 4675127 h 5818346"/>
              <a:gd name="connsiteX4645" fmla="*/ 901559 w 3503192"/>
              <a:gd name="connsiteY4645" fmla="*/ 4664391 h 5818346"/>
              <a:gd name="connsiteX4646" fmla="*/ 912295 w 3503192"/>
              <a:gd name="connsiteY4646" fmla="*/ 4653654 h 5818346"/>
              <a:gd name="connsiteX4647" fmla="*/ 1927500 w 3503192"/>
              <a:gd name="connsiteY4647" fmla="*/ 4651506 h 5818346"/>
              <a:gd name="connsiteX4648" fmla="*/ 1938236 w 3503192"/>
              <a:gd name="connsiteY4648" fmla="*/ 4662242 h 5818346"/>
              <a:gd name="connsiteX4649" fmla="*/ 1927500 w 3503192"/>
              <a:gd name="connsiteY4649" fmla="*/ 4672980 h 5818346"/>
              <a:gd name="connsiteX4650" fmla="*/ 1916764 w 3503192"/>
              <a:gd name="connsiteY4650" fmla="*/ 4662242 h 5818346"/>
              <a:gd name="connsiteX4651" fmla="*/ 1927500 w 3503192"/>
              <a:gd name="connsiteY4651" fmla="*/ 4651506 h 5818346"/>
              <a:gd name="connsiteX4652" fmla="*/ 1187818 w 3503192"/>
              <a:gd name="connsiteY4652" fmla="*/ 4645065 h 5818346"/>
              <a:gd name="connsiteX4653" fmla="*/ 1198554 w 3503192"/>
              <a:gd name="connsiteY4653" fmla="*/ 4655801 h 5818346"/>
              <a:gd name="connsiteX4654" fmla="*/ 1187818 w 3503192"/>
              <a:gd name="connsiteY4654" fmla="*/ 4666538 h 5818346"/>
              <a:gd name="connsiteX4655" fmla="*/ 1177081 w 3503192"/>
              <a:gd name="connsiteY4655" fmla="*/ 4655801 h 5818346"/>
              <a:gd name="connsiteX4656" fmla="*/ 1187818 w 3503192"/>
              <a:gd name="connsiteY4656" fmla="*/ 4645065 h 5818346"/>
              <a:gd name="connsiteX4657" fmla="*/ 1443189 w 3503192"/>
              <a:gd name="connsiteY4657" fmla="*/ 4642751 h 5818346"/>
              <a:gd name="connsiteX4658" fmla="*/ 1453925 w 3503192"/>
              <a:gd name="connsiteY4658" fmla="*/ 4653488 h 5818346"/>
              <a:gd name="connsiteX4659" fmla="*/ 1443189 w 3503192"/>
              <a:gd name="connsiteY4659" fmla="*/ 4664224 h 5818346"/>
              <a:gd name="connsiteX4660" fmla="*/ 1432452 w 3503192"/>
              <a:gd name="connsiteY4660" fmla="*/ 4653488 h 5818346"/>
              <a:gd name="connsiteX4661" fmla="*/ 1443189 w 3503192"/>
              <a:gd name="connsiteY4661" fmla="*/ 4642751 h 5818346"/>
              <a:gd name="connsiteX4662" fmla="*/ 684180 w 3503192"/>
              <a:gd name="connsiteY4662" fmla="*/ 4635319 h 5818346"/>
              <a:gd name="connsiteX4663" fmla="*/ 694916 w 3503192"/>
              <a:gd name="connsiteY4663" fmla="*/ 4646055 h 5818346"/>
              <a:gd name="connsiteX4664" fmla="*/ 684180 w 3503192"/>
              <a:gd name="connsiteY4664" fmla="*/ 4656793 h 5818346"/>
              <a:gd name="connsiteX4665" fmla="*/ 673444 w 3503192"/>
              <a:gd name="connsiteY4665" fmla="*/ 4646055 h 5818346"/>
              <a:gd name="connsiteX4666" fmla="*/ 684180 w 3503192"/>
              <a:gd name="connsiteY4666" fmla="*/ 4635319 h 5818346"/>
              <a:gd name="connsiteX4667" fmla="*/ 709782 w 3503192"/>
              <a:gd name="connsiteY4667" fmla="*/ 4634491 h 5818346"/>
              <a:gd name="connsiteX4668" fmla="*/ 720518 w 3503192"/>
              <a:gd name="connsiteY4668" fmla="*/ 4645228 h 5818346"/>
              <a:gd name="connsiteX4669" fmla="*/ 709782 w 3503192"/>
              <a:gd name="connsiteY4669" fmla="*/ 4655964 h 5818346"/>
              <a:gd name="connsiteX4670" fmla="*/ 699046 w 3503192"/>
              <a:gd name="connsiteY4670" fmla="*/ 4645228 h 5818346"/>
              <a:gd name="connsiteX4671" fmla="*/ 709782 w 3503192"/>
              <a:gd name="connsiteY4671" fmla="*/ 4634491 h 5818346"/>
              <a:gd name="connsiteX4672" fmla="*/ 989435 w 3503192"/>
              <a:gd name="connsiteY4672" fmla="*/ 4631519 h 5818346"/>
              <a:gd name="connsiteX4673" fmla="*/ 1000172 w 3503192"/>
              <a:gd name="connsiteY4673" fmla="*/ 4642255 h 5818346"/>
              <a:gd name="connsiteX4674" fmla="*/ 989435 w 3503192"/>
              <a:gd name="connsiteY4674" fmla="*/ 4652992 h 5818346"/>
              <a:gd name="connsiteX4675" fmla="*/ 978699 w 3503192"/>
              <a:gd name="connsiteY4675" fmla="*/ 4642255 h 5818346"/>
              <a:gd name="connsiteX4676" fmla="*/ 989435 w 3503192"/>
              <a:gd name="connsiteY4676" fmla="*/ 4631519 h 5818346"/>
              <a:gd name="connsiteX4677" fmla="*/ 742818 w 3503192"/>
              <a:gd name="connsiteY4677" fmla="*/ 4630362 h 5818346"/>
              <a:gd name="connsiteX4678" fmla="*/ 753554 w 3503192"/>
              <a:gd name="connsiteY4678" fmla="*/ 4641099 h 5818346"/>
              <a:gd name="connsiteX4679" fmla="*/ 742818 w 3503192"/>
              <a:gd name="connsiteY4679" fmla="*/ 4651835 h 5818346"/>
              <a:gd name="connsiteX4680" fmla="*/ 732082 w 3503192"/>
              <a:gd name="connsiteY4680" fmla="*/ 4641099 h 5818346"/>
              <a:gd name="connsiteX4681" fmla="*/ 742818 w 3503192"/>
              <a:gd name="connsiteY4681" fmla="*/ 4630362 h 5818346"/>
              <a:gd name="connsiteX4682" fmla="*/ 597955 w 3503192"/>
              <a:gd name="connsiteY4682" fmla="*/ 4621938 h 5818346"/>
              <a:gd name="connsiteX4683" fmla="*/ 604479 w 3503192"/>
              <a:gd name="connsiteY4683" fmla="*/ 4628463 h 5818346"/>
              <a:gd name="connsiteX4684" fmla="*/ 610508 w 3503192"/>
              <a:gd name="connsiteY4684" fmla="*/ 4622434 h 5818346"/>
              <a:gd name="connsiteX4685" fmla="*/ 617528 w 3503192"/>
              <a:gd name="connsiteY4685" fmla="*/ 4629454 h 5818346"/>
              <a:gd name="connsiteX4686" fmla="*/ 622401 w 3503192"/>
              <a:gd name="connsiteY4686" fmla="*/ 4624581 h 5818346"/>
              <a:gd name="connsiteX4687" fmla="*/ 629917 w 3503192"/>
              <a:gd name="connsiteY4687" fmla="*/ 4632097 h 5818346"/>
              <a:gd name="connsiteX4688" fmla="*/ 634459 w 3503192"/>
              <a:gd name="connsiteY4688" fmla="*/ 4627555 h 5818346"/>
              <a:gd name="connsiteX4689" fmla="*/ 642884 w 3503192"/>
              <a:gd name="connsiteY4689" fmla="*/ 4635979 h 5818346"/>
              <a:gd name="connsiteX4690" fmla="*/ 648005 w 3503192"/>
              <a:gd name="connsiteY4690" fmla="*/ 4630858 h 5818346"/>
              <a:gd name="connsiteX4691" fmla="*/ 657420 w 3503192"/>
              <a:gd name="connsiteY4691" fmla="*/ 4640273 h 5818346"/>
              <a:gd name="connsiteX4692" fmla="*/ 664027 w 3503192"/>
              <a:gd name="connsiteY4692" fmla="*/ 4633666 h 5818346"/>
              <a:gd name="connsiteX4693" fmla="*/ 674763 w 3503192"/>
              <a:gd name="connsiteY4693" fmla="*/ 4644402 h 5818346"/>
              <a:gd name="connsiteX4694" fmla="*/ 664027 w 3503192"/>
              <a:gd name="connsiteY4694" fmla="*/ 4655139 h 5818346"/>
              <a:gd name="connsiteX4695" fmla="*/ 654612 w 3503192"/>
              <a:gd name="connsiteY4695" fmla="*/ 4645724 h 5818346"/>
              <a:gd name="connsiteX4696" fmla="*/ 648005 w 3503192"/>
              <a:gd name="connsiteY4696" fmla="*/ 4652333 h 5818346"/>
              <a:gd name="connsiteX4697" fmla="*/ 639580 w 3503192"/>
              <a:gd name="connsiteY4697" fmla="*/ 4643908 h 5818346"/>
              <a:gd name="connsiteX4698" fmla="*/ 634459 w 3503192"/>
              <a:gd name="connsiteY4698" fmla="*/ 4649027 h 5818346"/>
              <a:gd name="connsiteX4699" fmla="*/ 626945 w 3503192"/>
              <a:gd name="connsiteY4699" fmla="*/ 4641513 h 5818346"/>
              <a:gd name="connsiteX4700" fmla="*/ 622401 w 3503192"/>
              <a:gd name="connsiteY4700" fmla="*/ 4646055 h 5818346"/>
              <a:gd name="connsiteX4701" fmla="*/ 615381 w 3503192"/>
              <a:gd name="connsiteY4701" fmla="*/ 4639035 h 5818346"/>
              <a:gd name="connsiteX4702" fmla="*/ 610508 w 3503192"/>
              <a:gd name="connsiteY4702" fmla="*/ 4643908 h 5818346"/>
              <a:gd name="connsiteX4703" fmla="*/ 603983 w 3503192"/>
              <a:gd name="connsiteY4703" fmla="*/ 4637382 h 5818346"/>
              <a:gd name="connsiteX4704" fmla="*/ 597955 w 3503192"/>
              <a:gd name="connsiteY4704" fmla="*/ 4643412 h 5818346"/>
              <a:gd name="connsiteX4705" fmla="*/ 591514 w 3503192"/>
              <a:gd name="connsiteY4705" fmla="*/ 4636971 h 5818346"/>
              <a:gd name="connsiteX4706" fmla="*/ 583750 w 3503192"/>
              <a:gd name="connsiteY4706" fmla="*/ 4644734 h 5818346"/>
              <a:gd name="connsiteX4707" fmla="*/ 573014 w 3503192"/>
              <a:gd name="connsiteY4707" fmla="*/ 4633997 h 5818346"/>
              <a:gd name="connsiteX4708" fmla="*/ 583750 w 3503192"/>
              <a:gd name="connsiteY4708" fmla="*/ 4623261 h 5818346"/>
              <a:gd name="connsiteX4709" fmla="*/ 590191 w 3503192"/>
              <a:gd name="connsiteY4709" fmla="*/ 4629702 h 5818346"/>
              <a:gd name="connsiteX4710" fmla="*/ 784940 w 3503192"/>
              <a:gd name="connsiteY4710" fmla="*/ 4621608 h 5818346"/>
              <a:gd name="connsiteX4711" fmla="*/ 795676 w 3503192"/>
              <a:gd name="connsiteY4711" fmla="*/ 4632345 h 5818346"/>
              <a:gd name="connsiteX4712" fmla="*/ 784940 w 3503192"/>
              <a:gd name="connsiteY4712" fmla="*/ 4643081 h 5818346"/>
              <a:gd name="connsiteX4713" fmla="*/ 774204 w 3503192"/>
              <a:gd name="connsiteY4713" fmla="*/ 4632345 h 5818346"/>
              <a:gd name="connsiteX4714" fmla="*/ 784940 w 3503192"/>
              <a:gd name="connsiteY4714" fmla="*/ 4621608 h 5818346"/>
              <a:gd name="connsiteX4715" fmla="*/ 1765456 w 3503192"/>
              <a:gd name="connsiteY4715" fmla="*/ 4618140 h 5818346"/>
              <a:gd name="connsiteX4716" fmla="*/ 1776192 w 3503192"/>
              <a:gd name="connsiteY4716" fmla="*/ 4628876 h 5818346"/>
              <a:gd name="connsiteX4717" fmla="*/ 1765456 w 3503192"/>
              <a:gd name="connsiteY4717" fmla="*/ 4639613 h 5818346"/>
              <a:gd name="connsiteX4718" fmla="*/ 1754720 w 3503192"/>
              <a:gd name="connsiteY4718" fmla="*/ 4628876 h 5818346"/>
              <a:gd name="connsiteX4719" fmla="*/ 1765456 w 3503192"/>
              <a:gd name="connsiteY4719" fmla="*/ 4618140 h 5818346"/>
              <a:gd name="connsiteX4720" fmla="*/ 2943035 w 3503192"/>
              <a:gd name="connsiteY4720" fmla="*/ 4611368 h 5818346"/>
              <a:gd name="connsiteX4721" fmla="*/ 2953773 w 3503192"/>
              <a:gd name="connsiteY4721" fmla="*/ 4622104 h 5818346"/>
              <a:gd name="connsiteX4722" fmla="*/ 2943035 w 3503192"/>
              <a:gd name="connsiteY4722" fmla="*/ 4632841 h 5818346"/>
              <a:gd name="connsiteX4723" fmla="*/ 2932298 w 3503192"/>
              <a:gd name="connsiteY4723" fmla="*/ 4622104 h 5818346"/>
              <a:gd name="connsiteX4724" fmla="*/ 2943035 w 3503192"/>
              <a:gd name="connsiteY4724" fmla="*/ 4611368 h 5818346"/>
              <a:gd name="connsiteX4725" fmla="*/ 2742504 w 3503192"/>
              <a:gd name="connsiteY4725" fmla="*/ 4609715 h 5818346"/>
              <a:gd name="connsiteX4726" fmla="*/ 2753240 w 3503192"/>
              <a:gd name="connsiteY4726" fmla="*/ 4620451 h 5818346"/>
              <a:gd name="connsiteX4727" fmla="*/ 2742504 w 3503192"/>
              <a:gd name="connsiteY4727" fmla="*/ 4631188 h 5818346"/>
              <a:gd name="connsiteX4728" fmla="*/ 2731768 w 3503192"/>
              <a:gd name="connsiteY4728" fmla="*/ 4620451 h 5818346"/>
              <a:gd name="connsiteX4729" fmla="*/ 2742504 w 3503192"/>
              <a:gd name="connsiteY4729" fmla="*/ 4609715 h 5818346"/>
              <a:gd name="connsiteX4730" fmla="*/ 838294 w 3503192"/>
              <a:gd name="connsiteY4730" fmla="*/ 4607072 h 5818346"/>
              <a:gd name="connsiteX4731" fmla="*/ 849032 w 3503192"/>
              <a:gd name="connsiteY4731" fmla="*/ 4617809 h 5818346"/>
              <a:gd name="connsiteX4732" fmla="*/ 838294 w 3503192"/>
              <a:gd name="connsiteY4732" fmla="*/ 4628547 h 5818346"/>
              <a:gd name="connsiteX4733" fmla="*/ 827557 w 3503192"/>
              <a:gd name="connsiteY4733" fmla="*/ 4617809 h 5818346"/>
              <a:gd name="connsiteX4734" fmla="*/ 838294 w 3503192"/>
              <a:gd name="connsiteY4734" fmla="*/ 4607072 h 5818346"/>
              <a:gd name="connsiteX4735" fmla="*/ 3142738 w 3503192"/>
              <a:gd name="connsiteY4735" fmla="*/ 4605751 h 5818346"/>
              <a:gd name="connsiteX4736" fmla="*/ 3153477 w 3503192"/>
              <a:gd name="connsiteY4736" fmla="*/ 4616487 h 5818346"/>
              <a:gd name="connsiteX4737" fmla="*/ 3142738 w 3503192"/>
              <a:gd name="connsiteY4737" fmla="*/ 4627223 h 5818346"/>
              <a:gd name="connsiteX4738" fmla="*/ 3132002 w 3503192"/>
              <a:gd name="connsiteY4738" fmla="*/ 4616487 h 5818346"/>
              <a:gd name="connsiteX4739" fmla="*/ 3142738 w 3503192"/>
              <a:gd name="connsiteY4739" fmla="*/ 4605751 h 5818346"/>
              <a:gd name="connsiteX4740" fmla="*/ 2543957 w 3503192"/>
              <a:gd name="connsiteY4740" fmla="*/ 4600630 h 5818346"/>
              <a:gd name="connsiteX4741" fmla="*/ 2554695 w 3503192"/>
              <a:gd name="connsiteY4741" fmla="*/ 4611366 h 5818346"/>
              <a:gd name="connsiteX4742" fmla="*/ 2543957 w 3503192"/>
              <a:gd name="connsiteY4742" fmla="*/ 4622102 h 5818346"/>
              <a:gd name="connsiteX4743" fmla="*/ 2533220 w 3503192"/>
              <a:gd name="connsiteY4743" fmla="*/ 4611366 h 5818346"/>
              <a:gd name="connsiteX4744" fmla="*/ 2543957 w 3503192"/>
              <a:gd name="connsiteY4744" fmla="*/ 4600630 h 5818346"/>
              <a:gd name="connsiteX4745" fmla="*/ 1316494 w 3503192"/>
              <a:gd name="connsiteY4745" fmla="*/ 4600630 h 5818346"/>
              <a:gd name="connsiteX4746" fmla="*/ 1327230 w 3503192"/>
              <a:gd name="connsiteY4746" fmla="*/ 4611366 h 5818346"/>
              <a:gd name="connsiteX4747" fmla="*/ 1316494 w 3503192"/>
              <a:gd name="connsiteY4747" fmla="*/ 4622102 h 5818346"/>
              <a:gd name="connsiteX4748" fmla="*/ 1305758 w 3503192"/>
              <a:gd name="connsiteY4748" fmla="*/ 4611366 h 5818346"/>
              <a:gd name="connsiteX4749" fmla="*/ 1316494 w 3503192"/>
              <a:gd name="connsiteY4749" fmla="*/ 4600630 h 5818346"/>
              <a:gd name="connsiteX4750" fmla="*/ 1083919 w 3503192"/>
              <a:gd name="connsiteY4750" fmla="*/ 4599969 h 5818346"/>
              <a:gd name="connsiteX4751" fmla="*/ 1094655 w 3503192"/>
              <a:gd name="connsiteY4751" fmla="*/ 4610705 h 5818346"/>
              <a:gd name="connsiteX4752" fmla="*/ 1083919 w 3503192"/>
              <a:gd name="connsiteY4752" fmla="*/ 4621442 h 5818346"/>
              <a:gd name="connsiteX4753" fmla="*/ 1073182 w 3503192"/>
              <a:gd name="connsiteY4753" fmla="*/ 4610705 h 5818346"/>
              <a:gd name="connsiteX4754" fmla="*/ 1083919 w 3503192"/>
              <a:gd name="connsiteY4754" fmla="*/ 4599969 h 5818346"/>
              <a:gd name="connsiteX4755" fmla="*/ 554017 w 3503192"/>
              <a:gd name="connsiteY4755" fmla="*/ 4597822 h 5818346"/>
              <a:gd name="connsiteX4756" fmla="*/ 560460 w 3503192"/>
              <a:gd name="connsiteY4756" fmla="*/ 4604265 h 5818346"/>
              <a:gd name="connsiteX4757" fmla="*/ 554017 w 3503192"/>
              <a:gd name="connsiteY4757" fmla="*/ 4610707 h 5818346"/>
              <a:gd name="connsiteX4758" fmla="*/ 547575 w 3503192"/>
              <a:gd name="connsiteY4758" fmla="*/ 4604265 h 5818346"/>
              <a:gd name="connsiteX4759" fmla="*/ 554017 w 3503192"/>
              <a:gd name="connsiteY4759" fmla="*/ 4597822 h 5818346"/>
              <a:gd name="connsiteX4760" fmla="*/ 3339304 w 3503192"/>
              <a:gd name="connsiteY4760" fmla="*/ 4592868 h 5818346"/>
              <a:gd name="connsiteX4761" fmla="*/ 3350042 w 3503192"/>
              <a:gd name="connsiteY4761" fmla="*/ 4603604 h 5818346"/>
              <a:gd name="connsiteX4762" fmla="*/ 3339304 w 3503192"/>
              <a:gd name="connsiteY4762" fmla="*/ 4614340 h 5818346"/>
              <a:gd name="connsiteX4763" fmla="*/ 3328567 w 3503192"/>
              <a:gd name="connsiteY4763" fmla="*/ 4603604 h 5818346"/>
              <a:gd name="connsiteX4764" fmla="*/ 3339304 w 3503192"/>
              <a:gd name="connsiteY4764" fmla="*/ 4592868 h 5818346"/>
              <a:gd name="connsiteX4765" fmla="*/ 662706 w 3503192"/>
              <a:gd name="connsiteY4765" fmla="*/ 4590225 h 5818346"/>
              <a:gd name="connsiteX4766" fmla="*/ 673442 w 3503192"/>
              <a:gd name="connsiteY4766" fmla="*/ 4600961 h 5818346"/>
              <a:gd name="connsiteX4767" fmla="*/ 662706 w 3503192"/>
              <a:gd name="connsiteY4767" fmla="*/ 4611697 h 5818346"/>
              <a:gd name="connsiteX4768" fmla="*/ 651969 w 3503192"/>
              <a:gd name="connsiteY4768" fmla="*/ 4600961 h 5818346"/>
              <a:gd name="connsiteX4769" fmla="*/ 662706 w 3503192"/>
              <a:gd name="connsiteY4769" fmla="*/ 4590225 h 5818346"/>
              <a:gd name="connsiteX4770" fmla="*/ 580115 w 3503192"/>
              <a:gd name="connsiteY4770" fmla="*/ 4588572 h 5818346"/>
              <a:gd name="connsiteX4771" fmla="*/ 585482 w 3503192"/>
              <a:gd name="connsiteY4771" fmla="*/ 4593941 h 5818346"/>
              <a:gd name="connsiteX4772" fmla="*/ 590851 w 3503192"/>
              <a:gd name="connsiteY4772" fmla="*/ 4588572 h 5818346"/>
              <a:gd name="connsiteX4773" fmla="*/ 596631 w 3503192"/>
              <a:gd name="connsiteY4773" fmla="*/ 4594354 h 5818346"/>
              <a:gd name="connsiteX4774" fmla="*/ 601423 w 3503192"/>
              <a:gd name="connsiteY4774" fmla="*/ 4589562 h 5818346"/>
              <a:gd name="connsiteX4775" fmla="*/ 607784 w 3503192"/>
              <a:gd name="connsiteY4775" fmla="*/ 4595921 h 5818346"/>
              <a:gd name="connsiteX4776" fmla="*/ 612655 w 3503192"/>
              <a:gd name="connsiteY4776" fmla="*/ 4591050 h 5818346"/>
              <a:gd name="connsiteX4777" fmla="*/ 619758 w 3503192"/>
              <a:gd name="connsiteY4777" fmla="*/ 4598153 h 5818346"/>
              <a:gd name="connsiteX4778" fmla="*/ 625705 w 3503192"/>
              <a:gd name="connsiteY4778" fmla="*/ 4592207 h 5818346"/>
              <a:gd name="connsiteX4779" fmla="*/ 633800 w 3503192"/>
              <a:gd name="connsiteY4779" fmla="*/ 4600302 h 5818346"/>
              <a:gd name="connsiteX4780" fmla="*/ 641894 w 3503192"/>
              <a:gd name="connsiteY4780" fmla="*/ 4592207 h 5818346"/>
              <a:gd name="connsiteX4781" fmla="*/ 652630 w 3503192"/>
              <a:gd name="connsiteY4781" fmla="*/ 4602943 h 5818346"/>
              <a:gd name="connsiteX4782" fmla="*/ 641894 w 3503192"/>
              <a:gd name="connsiteY4782" fmla="*/ 4613679 h 5818346"/>
              <a:gd name="connsiteX4783" fmla="*/ 633800 w 3503192"/>
              <a:gd name="connsiteY4783" fmla="*/ 4605586 h 5818346"/>
              <a:gd name="connsiteX4784" fmla="*/ 625705 w 3503192"/>
              <a:gd name="connsiteY4784" fmla="*/ 4613679 h 5818346"/>
              <a:gd name="connsiteX4785" fmla="*/ 618602 w 3503192"/>
              <a:gd name="connsiteY4785" fmla="*/ 4606578 h 5818346"/>
              <a:gd name="connsiteX4786" fmla="*/ 612655 w 3503192"/>
              <a:gd name="connsiteY4786" fmla="*/ 4612525 h 5818346"/>
              <a:gd name="connsiteX4787" fmla="*/ 606296 w 3503192"/>
              <a:gd name="connsiteY4787" fmla="*/ 4606164 h 5818346"/>
              <a:gd name="connsiteX4788" fmla="*/ 601423 w 3503192"/>
              <a:gd name="connsiteY4788" fmla="*/ 4611037 h 5818346"/>
              <a:gd name="connsiteX4789" fmla="*/ 595641 w 3503192"/>
              <a:gd name="connsiteY4789" fmla="*/ 4605255 h 5818346"/>
              <a:gd name="connsiteX4790" fmla="*/ 590851 w 3503192"/>
              <a:gd name="connsiteY4790" fmla="*/ 4610045 h 5818346"/>
              <a:gd name="connsiteX4791" fmla="*/ 585482 w 3503192"/>
              <a:gd name="connsiteY4791" fmla="*/ 4604677 h 5818346"/>
              <a:gd name="connsiteX4792" fmla="*/ 580115 w 3503192"/>
              <a:gd name="connsiteY4792" fmla="*/ 4610045 h 5818346"/>
              <a:gd name="connsiteX4793" fmla="*/ 574829 w 3503192"/>
              <a:gd name="connsiteY4793" fmla="*/ 4604759 h 5818346"/>
              <a:gd name="connsiteX4794" fmla="*/ 568057 w 3503192"/>
              <a:gd name="connsiteY4794" fmla="*/ 4611533 h 5818346"/>
              <a:gd name="connsiteX4795" fmla="*/ 557321 w 3503192"/>
              <a:gd name="connsiteY4795" fmla="*/ 4600794 h 5818346"/>
              <a:gd name="connsiteX4796" fmla="*/ 568057 w 3503192"/>
              <a:gd name="connsiteY4796" fmla="*/ 4590058 h 5818346"/>
              <a:gd name="connsiteX4797" fmla="*/ 573343 w 3503192"/>
              <a:gd name="connsiteY4797" fmla="*/ 4595344 h 5818346"/>
              <a:gd name="connsiteX4798" fmla="*/ 905357 w 3503192"/>
              <a:gd name="connsiteY4798" fmla="*/ 4585268 h 5818346"/>
              <a:gd name="connsiteX4799" fmla="*/ 916093 w 3503192"/>
              <a:gd name="connsiteY4799" fmla="*/ 4596005 h 5818346"/>
              <a:gd name="connsiteX4800" fmla="*/ 905357 w 3503192"/>
              <a:gd name="connsiteY4800" fmla="*/ 4606743 h 5818346"/>
              <a:gd name="connsiteX4801" fmla="*/ 894620 w 3503192"/>
              <a:gd name="connsiteY4801" fmla="*/ 4596005 h 5818346"/>
              <a:gd name="connsiteX4802" fmla="*/ 905357 w 3503192"/>
              <a:gd name="connsiteY4802" fmla="*/ 4585268 h 5818346"/>
              <a:gd name="connsiteX4803" fmla="*/ 689960 w 3503192"/>
              <a:gd name="connsiteY4803" fmla="*/ 4585104 h 5818346"/>
              <a:gd name="connsiteX4804" fmla="*/ 700696 w 3503192"/>
              <a:gd name="connsiteY4804" fmla="*/ 4595840 h 5818346"/>
              <a:gd name="connsiteX4805" fmla="*/ 689960 w 3503192"/>
              <a:gd name="connsiteY4805" fmla="*/ 4606576 h 5818346"/>
              <a:gd name="connsiteX4806" fmla="*/ 679224 w 3503192"/>
              <a:gd name="connsiteY4806" fmla="*/ 4595840 h 5818346"/>
              <a:gd name="connsiteX4807" fmla="*/ 689960 w 3503192"/>
              <a:gd name="connsiteY4807" fmla="*/ 4585104 h 5818346"/>
              <a:gd name="connsiteX4808" fmla="*/ 2349704 w 3503192"/>
              <a:gd name="connsiteY4808" fmla="*/ 4584608 h 5818346"/>
              <a:gd name="connsiteX4809" fmla="*/ 2360440 w 3503192"/>
              <a:gd name="connsiteY4809" fmla="*/ 4595344 h 5818346"/>
              <a:gd name="connsiteX4810" fmla="*/ 2349704 w 3503192"/>
              <a:gd name="connsiteY4810" fmla="*/ 4606080 h 5818346"/>
              <a:gd name="connsiteX4811" fmla="*/ 2338967 w 3503192"/>
              <a:gd name="connsiteY4811" fmla="*/ 4595344 h 5818346"/>
              <a:gd name="connsiteX4812" fmla="*/ 2349704 w 3503192"/>
              <a:gd name="connsiteY4812" fmla="*/ 4584608 h 5818346"/>
              <a:gd name="connsiteX4813" fmla="*/ 1612828 w 3503192"/>
              <a:gd name="connsiteY4813" fmla="*/ 4581469 h 5818346"/>
              <a:gd name="connsiteX4814" fmla="*/ 1623567 w 3503192"/>
              <a:gd name="connsiteY4814" fmla="*/ 4592205 h 5818346"/>
              <a:gd name="connsiteX4815" fmla="*/ 1612828 w 3503192"/>
              <a:gd name="connsiteY4815" fmla="*/ 4602941 h 5818346"/>
              <a:gd name="connsiteX4816" fmla="*/ 1602092 w 3503192"/>
              <a:gd name="connsiteY4816" fmla="*/ 4592205 h 5818346"/>
              <a:gd name="connsiteX4817" fmla="*/ 1612828 w 3503192"/>
              <a:gd name="connsiteY4817" fmla="*/ 4581469 h 5818346"/>
              <a:gd name="connsiteX4818" fmla="*/ 725145 w 3503192"/>
              <a:gd name="connsiteY4818" fmla="*/ 4575689 h 5818346"/>
              <a:gd name="connsiteX4819" fmla="*/ 735881 w 3503192"/>
              <a:gd name="connsiteY4819" fmla="*/ 4586425 h 5818346"/>
              <a:gd name="connsiteX4820" fmla="*/ 725145 w 3503192"/>
              <a:gd name="connsiteY4820" fmla="*/ 4597161 h 5818346"/>
              <a:gd name="connsiteX4821" fmla="*/ 714409 w 3503192"/>
              <a:gd name="connsiteY4821" fmla="*/ 4586425 h 5818346"/>
              <a:gd name="connsiteX4822" fmla="*/ 725145 w 3503192"/>
              <a:gd name="connsiteY4822" fmla="*/ 4575689 h 5818346"/>
              <a:gd name="connsiteX4823" fmla="*/ 2162058 w 3503192"/>
              <a:gd name="connsiteY4823" fmla="*/ 4562308 h 5818346"/>
              <a:gd name="connsiteX4824" fmla="*/ 2172794 w 3503192"/>
              <a:gd name="connsiteY4824" fmla="*/ 4573044 h 5818346"/>
              <a:gd name="connsiteX4825" fmla="*/ 2162058 w 3503192"/>
              <a:gd name="connsiteY4825" fmla="*/ 4583780 h 5818346"/>
              <a:gd name="connsiteX4826" fmla="*/ 2151321 w 3503192"/>
              <a:gd name="connsiteY4826" fmla="*/ 4573044 h 5818346"/>
              <a:gd name="connsiteX4827" fmla="*/ 2162058 w 3503192"/>
              <a:gd name="connsiteY4827" fmla="*/ 4562308 h 5818346"/>
              <a:gd name="connsiteX4828" fmla="*/ 770570 w 3503192"/>
              <a:gd name="connsiteY4828" fmla="*/ 4560986 h 5818346"/>
              <a:gd name="connsiteX4829" fmla="*/ 781307 w 3503192"/>
              <a:gd name="connsiteY4829" fmla="*/ 4571723 h 5818346"/>
              <a:gd name="connsiteX4830" fmla="*/ 770570 w 3503192"/>
              <a:gd name="connsiteY4830" fmla="*/ 4582461 h 5818346"/>
              <a:gd name="connsiteX4831" fmla="*/ 759834 w 3503192"/>
              <a:gd name="connsiteY4831" fmla="*/ 4571723 h 5818346"/>
              <a:gd name="connsiteX4832" fmla="*/ 770570 w 3503192"/>
              <a:gd name="connsiteY4832" fmla="*/ 4560986 h 5818346"/>
              <a:gd name="connsiteX4833" fmla="*/ 1198718 w 3503192"/>
              <a:gd name="connsiteY4833" fmla="*/ 4557353 h 5818346"/>
              <a:gd name="connsiteX4834" fmla="*/ 1209457 w 3503192"/>
              <a:gd name="connsiteY4834" fmla="*/ 4568089 h 5818346"/>
              <a:gd name="connsiteX4835" fmla="*/ 1198718 w 3503192"/>
              <a:gd name="connsiteY4835" fmla="*/ 4578826 h 5818346"/>
              <a:gd name="connsiteX4836" fmla="*/ 1187982 w 3503192"/>
              <a:gd name="connsiteY4836" fmla="*/ 4568089 h 5818346"/>
              <a:gd name="connsiteX4837" fmla="*/ 1198718 w 3503192"/>
              <a:gd name="connsiteY4837" fmla="*/ 4557353 h 5818346"/>
              <a:gd name="connsiteX4838" fmla="*/ 988278 w 3503192"/>
              <a:gd name="connsiteY4838" fmla="*/ 4554545 h 5818346"/>
              <a:gd name="connsiteX4839" fmla="*/ 999015 w 3503192"/>
              <a:gd name="connsiteY4839" fmla="*/ 4565282 h 5818346"/>
              <a:gd name="connsiteX4840" fmla="*/ 988278 w 3503192"/>
              <a:gd name="connsiteY4840" fmla="*/ 4576018 h 5818346"/>
              <a:gd name="connsiteX4841" fmla="*/ 977542 w 3503192"/>
              <a:gd name="connsiteY4841" fmla="*/ 4565282 h 5818346"/>
              <a:gd name="connsiteX4842" fmla="*/ 988278 w 3503192"/>
              <a:gd name="connsiteY4842" fmla="*/ 4554545 h 5818346"/>
              <a:gd name="connsiteX4843" fmla="*/ 619758 w 3503192"/>
              <a:gd name="connsiteY4843" fmla="*/ 4546946 h 5818346"/>
              <a:gd name="connsiteX4844" fmla="*/ 630495 w 3503192"/>
              <a:gd name="connsiteY4844" fmla="*/ 4557683 h 5818346"/>
              <a:gd name="connsiteX4845" fmla="*/ 619758 w 3503192"/>
              <a:gd name="connsiteY4845" fmla="*/ 4568419 h 5818346"/>
              <a:gd name="connsiteX4846" fmla="*/ 613068 w 3503192"/>
              <a:gd name="connsiteY4846" fmla="*/ 4561730 h 5818346"/>
              <a:gd name="connsiteX4847" fmla="*/ 603076 w 3503192"/>
              <a:gd name="connsiteY4847" fmla="*/ 4571724 h 5818346"/>
              <a:gd name="connsiteX4848" fmla="*/ 597377 w 3503192"/>
              <a:gd name="connsiteY4848" fmla="*/ 4566026 h 5818346"/>
              <a:gd name="connsiteX4849" fmla="*/ 590192 w 3503192"/>
              <a:gd name="connsiteY4849" fmla="*/ 4573211 h 5818346"/>
              <a:gd name="connsiteX4850" fmla="*/ 585236 w 3503192"/>
              <a:gd name="connsiteY4850" fmla="*/ 4568254 h 5818346"/>
              <a:gd name="connsiteX4851" fmla="*/ 579619 w 3503192"/>
              <a:gd name="connsiteY4851" fmla="*/ 4573871 h 5818346"/>
              <a:gd name="connsiteX4852" fmla="*/ 575160 w 3503192"/>
              <a:gd name="connsiteY4852" fmla="*/ 4569413 h 5818346"/>
              <a:gd name="connsiteX4853" fmla="*/ 570371 w 3503192"/>
              <a:gd name="connsiteY4853" fmla="*/ 4574202 h 5818346"/>
              <a:gd name="connsiteX4854" fmla="*/ 566238 w 3503192"/>
              <a:gd name="connsiteY4854" fmla="*/ 4570072 h 5818346"/>
              <a:gd name="connsiteX4855" fmla="*/ 561119 w 3503192"/>
              <a:gd name="connsiteY4855" fmla="*/ 4575191 h 5818346"/>
              <a:gd name="connsiteX4856" fmla="*/ 557073 w 3503192"/>
              <a:gd name="connsiteY4856" fmla="*/ 4571145 h 5818346"/>
              <a:gd name="connsiteX4857" fmla="*/ 550878 w 3503192"/>
              <a:gd name="connsiteY4857" fmla="*/ 4577340 h 5818346"/>
              <a:gd name="connsiteX4858" fmla="*/ 546749 w 3503192"/>
              <a:gd name="connsiteY4858" fmla="*/ 4573211 h 5818346"/>
              <a:gd name="connsiteX4859" fmla="*/ 538985 w 3503192"/>
              <a:gd name="connsiteY4859" fmla="*/ 4580974 h 5818346"/>
              <a:gd name="connsiteX4860" fmla="*/ 528249 w 3503192"/>
              <a:gd name="connsiteY4860" fmla="*/ 4570236 h 5818346"/>
              <a:gd name="connsiteX4861" fmla="*/ 538985 w 3503192"/>
              <a:gd name="connsiteY4861" fmla="*/ 4559500 h 5818346"/>
              <a:gd name="connsiteX4862" fmla="*/ 543114 w 3503192"/>
              <a:gd name="connsiteY4862" fmla="*/ 4563629 h 5818346"/>
              <a:gd name="connsiteX4863" fmla="*/ 550878 w 3503192"/>
              <a:gd name="connsiteY4863" fmla="*/ 4555865 h 5818346"/>
              <a:gd name="connsiteX4864" fmla="*/ 554924 w 3503192"/>
              <a:gd name="connsiteY4864" fmla="*/ 4559913 h 5818346"/>
              <a:gd name="connsiteX4865" fmla="*/ 561119 w 3503192"/>
              <a:gd name="connsiteY4865" fmla="*/ 4553718 h 5818346"/>
              <a:gd name="connsiteX4866" fmla="*/ 565250 w 3503192"/>
              <a:gd name="connsiteY4866" fmla="*/ 4557849 h 5818346"/>
              <a:gd name="connsiteX4867" fmla="*/ 570371 w 3503192"/>
              <a:gd name="connsiteY4867" fmla="*/ 4552728 h 5818346"/>
              <a:gd name="connsiteX4868" fmla="*/ 574829 w 3503192"/>
              <a:gd name="connsiteY4868" fmla="*/ 4557187 h 5818346"/>
              <a:gd name="connsiteX4869" fmla="*/ 579619 w 3503192"/>
              <a:gd name="connsiteY4869" fmla="*/ 4552397 h 5818346"/>
              <a:gd name="connsiteX4870" fmla="*/ 584575 w 3503192"/>
              <a:gd name="connsiteY4870" fmla="*/ 4557353 h 5818346"/>
              <a:gd name="connsiteX4871" fmla="*/ 590192 w 3503192"/>
              <a:gd name="connsiteY4871" fmla="*/ 4551736 h 5818346"/>
              <a:gd name="connsiteX4872" fmla="*/ 595891 w 3503192"/>
              <a:gd name="connsiteY4872" fmla="*/ 4557435 h 5818346"/>
              <a:gd name="connsiteX4873" fmla="*/ 603076 w 3503192"/>
              <a:gd name="connsiteY4873" fmla="*/ 4550250 h 5818346"/>
              <a:gd name="connsiteX4874" fmla="*/ 609764 w 3503192"/>
              <a:gd name="connsiteY4874" fmla="*/ 4556940 h 5818346"/>
              <a:gd name="connsiteX4875" fmla="*/ 1469782 w 3503192"/>
              <a:gd name="connsiteY4875" fmla="*/ 4542486 h 5818346"/>
              <a:gd name="connsiteX4876" fmla="*/ 1480519 w 3503192"/>
              <a:gd name="connsiteY4876" fmla="*/ 4553222 h 5818346"/>
              <a:gd name="connsiteX4877" fmla="*/ 1469782 w 3503192"/>
              <a:gd name="connsiteY4877" fmla="*/ 4563960 h 5818346"/>
              <a:gd name="connsiteX4878" fmla="*/ 1459046 w 3503192"/>
              <a:gd name="connsiteY4878" fmla="*/ 4553222 h 5818346"/>
              <a:gd name="connsiteX4879" fmla="*/ 1469782 w 3503192"/>
              <a:gd name="connsiteY4879" fmla="*/ 4542486 h 5818346"/>
              <a:gd name="connsiteX4880" fmla="*/ 641729 w 3503192"/>
              <a:gd name="connsiteY4880" fmla="*/ 4540670 h 5818346"/>
              <a:gd name="connsiteX4881" fmla="*/ 652465 w 3503192"/>
              <a:gd name="connsiteY4881" fmla="*/ 4551407 h 5818346"/>
              <a:gd name="connsiteX4882" fmla="*/ 641729 w 3503192"/>
              <a:gd name="connsiteY4882" fmla="*/ 4562143 h 5818346"/>
              <a:gd name="connsiteX4883" fmla="*/ 630993 w 3503192"/>
              <a:gd name="connsiteY4883" fmla="*/ 4551407 h 5818346"/>
              <a:gd name="connsiteX4884" fmla="*/ 641729 w 3503192"/>
              <a:gd name="connsiteY4884" fmla="*/ 4540670 h 5818346"/>
              <a:gd name="connsiteX4885" fmla="*/ 828218 w 3503192"/>
              <a:gd name="connsiteY4885" fmla="*/ 4539182 h 5818346"/>
              <a:gd name="connsiteX4886" fmla="*/ 838955 w 3503192"/>
              <a:gd name="connsiteY4886" fmla="*/ 4549919 h 5818346"/>
              <a:gd name="connsiteX4887" fmla="*/ 828218 w 3503192"/>
              <a:gd name="connsiteY4887" fmla="*/ 4560655 h 5818346"/>
              <a:gd name="connsiteX4888" fmla="*/ 817482 w 3503192"/>
              <a:gd name="connsiteY4888" fmla="*/ 4549919 h 5818346"/>
              <a:gd name="connsiteX4889" fmla="*/ 828218 w 3503192"/>
              <a:gd name="connsiteY4889" fmla="*/ 4539182 h 5818346"/>
              <a:gd name="connsiteX4890" fmla="*/ 1982174 w 3503192"/>
              <a:gd name="connsiteY4890" fmla="*/ 4534888 h 5818346"/>
              <a:gd name="connsiteX4891" fmla="*/ 1992912 w 3503192"/>
              <a:gd name="connsiteY4891" fmla="*/ 4545625 h 5818346"/>
              <a:gd name="connsiteX4892" fmla="*/ 1982174 w 3503192"/>
              <a:gd name="connsiteY4892" fmla="*/ 4556361 h 5818346"/>
              <a:gd name="connsiteX4893" fmla="*/ 1971438 w 3503192"/>
              <a:gd name="connsiteY4893" fmla="*/ 4545625 h 5818346"/>
              <a:gd name="connsiteX4894" fmla="*/ 1982174 w 3503192"/>
              <a:gd name="connsiteY4894" fmla="*/ 4534888 h 5818346"/>
              <a:gd name="connsiteX4895" fmla="*/ 670799 w 3503192"/>
              <a:gd name="connsiteY4895" fmla="*/ 4530593 h 5818346"/>
              <a:gd name="connsiteX4896" fmla="*/ 681535 w 3503192"/>
              <a:gd name="connsiteY4896" fmla="*/ 4541329 h 5818346"/>
              <a:gd name="connsiteX4897" fmla="*/ 670799 w 3503192"/>
              <a:gd name="connsiteY4897" fmla="*/ 4552067 h 5818346"/>
              <a:gd name="connsiteX4898" fmla="*/ 660063 w 3503192"/>
              <a:gd name="connsiteY4898" fmla="*/ 4541329 h 5818346"/>
              <a:gd name="connsiteX4899" fmla="*/ 670799 w 3503192"/>
              <a:gd name="connsiteY4899" fmla="*/ 4530593 h 5818346"/>
              <a:gd name="connsiteX4900" fmla="*/ 708792 w 3503192"/>
              <a:gd name="connsiteY4900" fmla="*/ 4515396 h 5818346"/>
              <a:gd name="connsiteX4901" fmla="*/ 719530 w 3503192"/>
              <a:gd name="connsiteY4901" fmla="*/ 4526133 h 5818346"/>
              <a:gd name="connsiteX4902" fmla="*/ 708792 w 3503192"/>
              <a:gd name="connsiteY4902" fmla="*/ 4536869 h 5818346"/>
              <a:gd name="connsiteX4903" fmla="*/ 698055 w 3503192"/>
              <a:gd name="connsiteY4903" fmla="*/ 4526133 h 5818346"/>
              <a:gd name="connsiteX4904" fmla="*/ 708792 w 3503192"/>
              <a:gd name="connsiteY4904" fmla="*/ 4515396 h 5818346"/>
              <a:gd name="connsiteX4905" fmla="*/ 1090195 w 3503192"/>
              <a:gd name="connsiteY4905" fmla="*/ 4513249 h 5818346"/>
              <a:gd name="connsiteX4906" fmla="*/ 1100933 w 3503192"/>
              <a:gd name="connsiteY4906" fmla="*/ 4523986 h 5818346"/>
              <a:gd name="connsiteX4907" fmla="*/ 1090195 w 3503192"/>
              <a:gd name="connsiteY4907" fmla="*/ 4534722 h 5818346"/>
              <a:gd name="connsiteX4908" fmla="*/ 1079458 w 3503192"/>
              <a:gd name="connsiteY4908" fmla="*/ 4523986 h 5818346"/>
              <a:gd name="connsiteX4909" fmla="*/ 1090195 w 3503192"/>
              <a:gd name="connsiteY4909" fmla="*/ 4513249 h 5818346"/>
              <a:gd name="connsiteX4910" fmla="*/ 900567 w 3503192"/>
              <a:gd name="connsiteY4910" fmla="*/ 4509120 h 5818346"/>
              <a:gd name="connsiteX4911" fmla="*/ 911303 w 3503192"/>
              <a:gd name="connsiteY4911" fmla="*/ 4519857 h 5818346"/>
              <a:gd name="connsiteX4912" fmla="*/ 900567 w 3503192"/>
              <a:gd name="connsiteY4912" fmla="*/ 4530593 h 5818346"/>
              <a:gd name="connsiteX4913" fmla="*/ 889830 w 3503192"/>
              <a:gd name="connsiteY4913" fmla="*/ 4519857 h 5818346"/>
              <a:gd name="connsiteX4914" fmla="*/ 900567 w 3503192"/>
              <a:gd name="connsiteY4914" fmla="*/ 4509120 h 5818346"/>
              <a:gd name="connsiteX4915" fmla="*/ 580280 w 3503192"/>
              <a:gd name="connsiteY4915" fmla="*/ 4504825 h 5818346"/>
              <a:gd name="connsiteX4916" fmla="*/ 591016 w 3503192"/>
              <a:gd name="connsiteY4916" fmla="*/ 4515561 h 5818346"/>
              <a:gd name="connsiteX4917" fmla="*/ 580280 w 3503192"/>
              <a:gd name="connsiteY4917" fmla="*/ 4526299 h 5818346"/>
              <a:gd name="connsiteX4918" fmla="*/ 576067 w 3503192"/>
              <a:gd name="connsiteY4918" fmla="*/ 4522088 h 5818346"/>
              <a:gd name="connsiteX4919" fmla="*/ 567232 w 3503192"/>
              <a:gd name="connsiteY4919" fmla="*/ 4530924 h 5818346"/>
              <a:gd name="connsiteX4920" fmla="*/ 563763 w 3503192"/>
              <a:gd name="connsiteY4920" fmla="*/ 4527456 h 5818346"/>
              <a:gd name="connsiteX4921" fmla="*/ 557156 w 3503192"/>
              <a:gd name="connsiteY4921" fmla="*/ 4534063 h 5818346"/>
              <a:gd name="connsiteX4922" fmla="*/ 554182 w 3503192"/>
              <a:gd name="connsiteY4922" fmla="*/ 4531089 h 5818346"/>
              <a:gd name="connsiteX4923" fmla="*/ 548896 w 3503192"/>
              <a:gd name="connsiteY4923" fmla="*/ 4536375 h 5818346"/>
              <a:gd name="connsiteX4924" fmla="*/ 546088 w 3503192"/>
              <a:gd name="connsiteY4924" fmla="*/ 4533567 h 5818346"/>
              <a:gd name="connsiteX4925" fmla="*/ 540968 w 3503192"/>
              <a:gd name="connsiteY4925" fmla="*/ 4538688 h 5818346"/>
              <a:gd name="connsiteX4926" fmla="*/ 538241 w 3503192"/>
              <a:gd name="connsiteY4926" fmla="*/ 4535962 h 5818346"/>
              <a:gd name="connsiteX4927" fmla="*/ 532543 w 3503192"/>
              <a:gd name="connsiteY4927" fmla="*/ 4541662 h 5818346"/>
              <a:gd name="connsiteX4928" fmla="*/ 529817 w 3503192"/>
              <a:gd name="connsiteY4928" fmla="*/ 4538936 h 5818346"/>
              <a:gd name="connsiteX4929" fmla="*/ 522798 w 3503192"/>
              <a:gd name="connsiteY4929" fmla="*/ 4545956 h 5818346"/>
              <a:gd name="connsiteX4930" fmla="*/ 518255 w 3503192"/>
              <a:gd name="connsiteY4930" fmla="*/ 4541412 h 5818346"/>
              <a:gd name="connsiteX4931" fmla="*/ 510905 w 3503192"/>
              <a:gd name="connsiteY4931" fmla="*/ 4548762 h 5818346"/>
              <a:gd name="connsiteX4932" fmla="*/ 503141 w 3503192"/>
              <a:gd name="connsiteY4932" fmla="*/ 4541000 h 5818346"/>
              <a:gd name="connsiteX4933" fmla="*/ 510905 w 3503192"/>
              <a:gd name="connsiteY4933" fmla="*/ 4533236 h 5818346"/>
              <a:gd name="connsiteX4934" fmla="*/ 512475 w 3503192"/>
              <a:gd name="connsiteY4934" fmla="*/ 4534805 h 5818346"/>
              <a:gd name="connsiteX4935" fmla="*/ 522798 w 3503192"/>
              <a:gd name="connsiteY4935" fmla="*/ 4524482 h 5818346"/>
              <a:gd name="connsiteX4936" fmla="*/ 525523 w 3503192"/>
              <a:gd name="connsiteY4936" fmla="*/ 4527208 h 5818346"/>
              <a:gd name="connsiteX4937" fmla="*/ 532543 w 3503192"/>
              <a:gd name="connsiteY4937" fmla="*/ 4520188 h 5818346"/>
              <a:gd name="connsiteX4938" fmla="*/ 535267 w 3503192"/>
              <a:gd name="connsiteY4938" fmla="*/ 4522914 h 5818346"/>
              <a:gd name="connsiteX4939" fmla="*/ 540968 w 3503192"/>
              <a:gd name="connsiteY4939" fmla="*/ 4517214 h 5818346"/>
              <a:gd name="connsiteX4940" fmla="*/ 543775 w 3503192"/>
              <a:gd name="connsiteY4940" fmla="*/ 4520023 h 5818346"/>
              <a:gd name="connsiteX4941" fmla="*/ 548896 w 3503192"/>
              <a:gd name="connsiteY4941" fmla="*/ 4514902 h 5818346"/>
              <a:gd name="connsiteX4942" fmla="*/ 551869 w 3503192"/>
              <a:gd name="connsiteY4942" fmla="*/ 4517876 h 5818346"/>
              <a:gd name="connsiteX4943" fmla="*/ 557156 w 3503192"/>
              <a:gd name="connsiteY4943" fmla="*/ 4512589 h 5818346"/>
              <a:gd name="connsiteX4944" fmla="*/ 560624 w 3503192"/>
              <a:gd name="connsiteY4944" fmla="*/ 4516057 h 5818346"/>
              <a:gd name="connsiteX4945" fmla="*/ 567232 w 3503192"/>
              <a:gd name="connsiteY4945" fmla="*/ 4509450 h 5818346"/>
              <a:gd name="connsiteX4946" fmla="*/ 571442 w 3503192"/>
              <a:gd name="connsiteY4946" fmla="*/ 4513662 h 5818346"/>
              <a:gd name="connsiteX4947" fmla="*/ 1811707 w 3503192"/>
              <a:gd name="connsiteY4947" fmla="*/ 4503174 h 5818346"/>
              <a:gd name="connsiteX4948" fmla="*/ 1822445 w 3503192"/>
              <a:gd name="connsiteY4948" fmla="*/ 4513910 h 5818346"/>
              <a:gd name="connsiteX4949" fmla="*/ 1811707 w 3503192"/>
              <a:gd name="connsiteY4949" fmla="*/ 4524648 h 5818346"/>
              <a:gd name="connsiteX4950" fmla="*/ 1800970 w 3503192"/>
              <a:gd name="connsiteY4950" fmla="*/ 4513910 h 5818346"/>
              <a:gd name="connsiteX4951" fmla="*/ 1811707 w 3503192"/>
              <a:gd name="connsiteY4951" fmla="*/ 4503174 h 5818346"/>
              <a:gd name="connsiteX4952" fmla="*/ 1336810 w 3503192"/>
              <a:gd name="connsiteY4952" fmla="*/ 4501686 h 5818346"/>
              <a:gd name="connsiteX4953" fmla="*/ 1347548 w 3503192"/>
              <a:gd name="connsiteY4953" fmla="*/ 4512422 h 5818346"/>
              <a:gd name="connsiteX4954" fmla="*/ 1336810 w 3503192"/>
              <a:gd name="connsiteY4954" fmla="*/ 4523160 h 5818346"/>
              <a:gd name="connsiteX4955" fmla="*/ 1326074 w 3503192"/>
              <a:gd name="connsiteY4955" fmla="*/ 4512422 h 5818346"/>
              <a:gd name="connsiteX4956" fmla="*/ 1336810 w 3503192"/>
              <a:gd name="connsiteY4956" fmla="*/ 4501686 h 5818346"/>
              <a:gd name="connsiteX4957" fmla="*/ 597625 w 3503192"/>
              <a:gd name="connsiteY4957" fmla="*/ 4497392 h 5818346"/>
              <a:gd name="connsiteX4958" fmla="*/ 608363 w 3503192"/>
              <a:gd name="connsiteY4958" fmla="*/ 4508128 h 5818346"/>
              <a:gd name="connsiteX4959" fmla="*/ 597625 w 3503192"/>
              <a:gd name="connsiteY4959" fmla="*/ 4518865 h 5818346"/>
              <a:gd name="connsiteX4960" fmla="*/ 586889 w 3503192"/>
              <a:gd name="connsiteY4960" fmla="*/ 4508128 h 5818346"/>
              <a:gd name="connsiteX4961" fmla="*/ 597625 w 3503192"/>
              <a:gd name="connsiteY4961" fmla="*/ 4497392 h 5818346"/>
              <a:gd name="connsiteX4962" fmla="*/ 757850 w 3503192"/>
              <a:gd name="connsiteY4962" fmla="*/ 4493592 h 5818346"/>
              <a:gd name="connsiteX4963" fmla="*/ 768586 w 3503192"/>
              <a:gd name="connsiteY4963" fmla="*/ 4504329 h 5818346"/>
              <a:gd name="connsiteX4964" fmla="*/ 757850 w 3503192"/>
              <a:gd name="connsiteY4964" fmla="*/ 4515065 h 5818346"/>
              <a:gd name="connsiteX4965" fmla="*/ 747114 w 3503192"/>
              <a:gd name="connsiteY4965" fmla="*/ 4504329 h 5818346"/>
              <a:gd name="connsiteX4966" fmla="*/ 757850 w 3503192"/>
              <a:gd name="connsiteY4966" fmla="*/ 4493592 h 5818346"/>
              <a:gd name="connsiteX4967" fmla="*/ 621245 w 3503192"/>
              <a:gd name="connsiteY4967" fmla="*/ 4486491 h 5818346"/>
              <a:gd name="connsiteX4968" fmla="*/ 631981 w 3503192"/>
              <a:gd name="connsiteY4968" fmla="*/ 4497227 h 5818346"/>
              <a:gd name="connsiteX4969" fmla="*/ 621245 w 3503192"/>
              <a:gd name="connsiteY4969" fmla="*/ 4507963 h 5818346"/>
              <a:gd name="connsiteX4970" fmla="*/ 610508 w 3503192"/>
              <a:gd name="connsiteY4970" fmla="*/ 4497227 h 5818346"/>
              <a:gd name="connsiteX4971" fmla="*/ 621245 w 3503192"/>
              <a:gd name="connsiteY4971" fmla="*/ 4486491 h 5818346"/>
              <a:gd name="connsiteX4972" fmla="*/ 652630 w 3503192"/>
              <a:gd name="connsiteY4972" fmla="*/ 4470633 h 5818346"/>
              <a:gd name="connsiteX4973" fmla="*/ 663366 w 3503192"/>
              <a:gd name="connsiteY4973" fmla="*/ 4481370 h 5818346"/>
              <a:gd name="connsiteX4974" fmla="*/ 652630 w 3503192"/>
              <a:gd name="connsiteY4974" fmla="*/ 4492106 h 5818346"/>
              <a:gd name="connsiteX4975" fmla="*/ 641894 w 3503192"/>
              <a:gd name="connsiteY4975" fmla="*/ 4481370 h 5818346"/>
              <a:gd name="connsiteX4976" fmla="*/ 652630 w 3503192"/>
              <a:gd name="connsiteY4976" fmla="*/ 4470633 h 5818346"/>
              <a:gd name="connsiteX4977" fmla="*/ 990261 w 3503192"/>
              <a:gd name="connsiteY4977" fmla="*/ 4468981 h 5818346"/>
              <a:gd name="connsiteX4978" fmla="*/ 1000997 w 3503192"/>
              <a:gd name="connsiteY4978" fmla="*/ 4479717 h 5818346"/>
              <a:gd name="connsiteX4979" fmla="*/ 990261 w 3503192"/>
              <a:gd name="connsiteY4979" fmla="*/ 4490453 h 5818346"/>
              <a:gd name="connsiteX4980" fmla="*/ 979524 w 3503192"/>
              <a:gd name="connsiteY4980" fmla="*/ 4479717 h 5818346"/>
              <a:gd name="connsiteX4981" fmla="*/ 990261 w 3503192"/>
              <a:gd name="connsiteY4981" fmla="*/ 4468981 h 5818346"/>
              <a:gd name="connsiteX4982" fmla="*/ 2840952 w 3503192"/>
              <a:gd name="connsiteY4982" fmla="*/ 4468816 h 5818346"/>
              <a:gd name="connsiteX4983" fmla="*/ 2851690 w 3503192"/>
              <a:gd name="connsiteY4983" fmla="*/ 4479552 h 5818346"/>
              <a:gd name="connsiteX4984" fmla="*/ 2840952 w 3503192"/>
              <a:gd name="connsiteY4984" fmla="*/ 4490289 h 5818346"/>
              <a:gd name="connsiteX4985" fmla="*/ 2830216 w 3503192"/>
              <a:gd name="connsiteY4985" fmla="*/ 4479552 h 5818346"/>
              <a:gd name="connsiteX4986" fmla="*/ 2840952 w 3503192"/>
              <a:gd name="connsiteY4986" fmla="*/ 4468816 h 5818346"/>
              <a:gd name="connsiteX4987" fmla="*/ 1651315 w 3503192"/>
              <a:gd name="connsiteY4987" fmla="*/ 4468155 h 5818346"/>
              <a:gd name="connsiteX4988" fmla="*/ 1662053 w 3503192"/>
              <a:gd name="connsiteY4988" fmla="*/ 4478892 h 5818346"/>
              <a:gd name="connsiteX4989" fmla="*/ 1651315 w 3503192"/>
              <a:gd name="connsiteY4989" fmla="*/ 4489630 h 5818346"/>
              <a:gd name="connsiteX4990" fmla="*/ 1640579 w 3503192"/>
              <a:gd name="connsiteY4990" fmla="*/ 4478892 h 5818346"/>
              <a:gd name="connsiteX4991" fmla="*/ 1651315 w 3503192"/>
              <a:gd name="connsiteY4991" fmla="*/ 4468155 h 5818346"/>
              <a:gd name="connsiteX4992" fmla="*/ 3048916 w 3503192"/>
              <a:gd name="connsiteY4992" fmla="*/ 4466834 h 5818346"/>
              <a:gd name="connsiteX4993" fmla="*/ 3059654 w 3503192"/>
              <a:gd name="connsiteY4993" fmla="*/ 4477570 h 5818346"/>
              <a:gd name="connsiteX4994" fmla="*/ 3048916 w 3503192"/>
              <a:gd name="connsiteY4994" fmla="*/ 4488306 h 5818346"/>
              <a:gd name="connsiteX4995" fmla="*/ 3038179 w 3503192"/>
              <a:gd name="connsiteY4995" fmla="*/ 4477570 h 5818346"/>
              <a:gd name="connsiteX4996" fmla="*/ 3048916 w 3503192"/>
              <a:gd name="connsiteY4996" fmla="*/ 4466834 h 5818346"/>
              <a:gd name="connsiteX4997" fmla="*/ 820290 w 3503192"/>
              <a:gd name="connsiteY4997" fmla="*/ 4463860 h 5818346"/>
              <a:gd name="connsiteX4998" fmla="*/ 831028 w 3503192"/>
              <a:gd name="connsiteY4998" fmla="*/ 4474596 h 5818346"/>
              <a:gd name="connsiteX4999" fmla="*/ 820290 w 3503192"/>
              <a:gd name="connsiteY4999" fmla="*/ 4485332 h 5818346"/>
              <a:gd name="connsiteX5000" fmla="*/ 809553 w 3503192"/>
              <a:gd name="connsiteY5000" fmla="*/ 4474596 h 5818346"/>
              <a:gd name="connsiteX5001" fmla="*/ 820290 w 3503192"/>
              <a:gd name="connsiteY5001" fmla="*/ 4463860 h 5818346"/>
              <a:gd name="connsiteX5002" fmla="*/ 544106 w 3503192"/>
              <a:gd name="connsiteY5002" fmla="*/ 4463695 h 5818346"/>
              <a:gd name="connsiteX5003" fmla="*/ 554843 w 3503192"/>
              <a:gd name="connsiteY5003" fmla="*/ 4474431 h 5818346"/>
              <a:gd name="connsiteX5004" fmla="*/ 544106 w 3503192"/>
              <a:gd name="connsiteY5004" fmla="*/ 4485168 h 5818346"/>
              <a:gd name="connsiteX5005" fmla="*/ 542372 w 3503192"/>
              <a:gd name="connsiteY5005" fmla="*/ 4483433 h 5818346"/>
              <a:gd name="connsiteX5006" fmla="*/ 534360 w 3503192"/>
              <a:gd name="connsiteY5006" fmla="*/ 4491445 h 5818346"/>
              <a:gd name="connsiteX5007" fmla="*/ 532791 w 3503192"/>
              <a:gd name="connsiteY5007" fmla="*/ 4489876 h 5818346"/>
              <a:gd name="connsiteX5008" fmla="*/ 526596 w 3503192"/>
              <a:gd name="connsiteY5008" fmla="*/ 4496070 h 5818346"/>
              <a:gd name="connsiteX5009" fmla="*/ 525440 w 3503192"/>
              <a:gd name="connsiteY5009" fmla="*/ 4494915 h 5818346"/>
              <a:gd name="connsiteX5010" fmla="*/ 519989 w 3503192"/>
              <a:gd name="connsiteY5010" fmla="*/ 4500364 h 5818346"/>
              <a:gd name="connsiteX5011" fmla="*/ 518584 w 3503192"/>
              <a:gd name="connsiteY5011" fmla="*/ 4498961 h 5818346"/>
              <a:gd name="connsiteX5012" fmla="*/ 513052 w 3503192"/>
              <a:gd name="connsiteY5012" fmla="*/ 4504493 h 5818346"/>
              <a:gd name="connsiteX5013" fmla="*/ 511731 w 3503192"/>
              <a:gd name="connsiteY5013" fmla="*/ 4503172 h 5818346"/>
              <a:gd name="connsiteX5014" fmla="*/ 505288 w 3503192"/>
              <a:gd name="connsiteY5014" fmla="*/ 4509614 h 5818346"/>
              <a:gd name="connsiteX5015" fmla="*/ 503471 w 3503192"/>
              <a:gd name="connsiteY5015" fmla="*/ 4507797 h 5818346"/>
              <a:gd name="connsiteX5016" fmla="*/ 495542 w 3503192"/>
              <a:gd name="connsiteY5016" fmla="*/ 4515726 h 5818346"/>
              <a:gd name="connsiteX5017" fmla="*/ 484806 w 3503192"/>
              <a:gd name="connsiteY5017" fmla="*/ 4504989 h 5818346"/>
              <a:gd name="connsiteX5018" fmla="*/ 495542 w 3503192"/>
              <a:gd name="connsiteY5018" fmla="*/ 4494253 h 5818346"/>
              <a:gd name="connsiteX5019" fmla="*/ 497360 w 3503192"/>
              <a:gd name="connsiteY5019" fmla="*/ 4496070 h 5818346"/>
              <a:gd name="connsiteX5020" fmla="*/ 505288 w 3503192"/>
              <a:gd name="connsiteY5020" fmla="*/ 4488142 h 5818346"/>
              <a:gd name="connsiteX5021" fmla="*/ 506610 w 3503192"/>
              <a:gd name="connsiteY5021" fmla="*/ 4489463 h 5818346"/>
              <a:gd name="connsiteX5022" fmla="*/ 513052 w 3503192"/>
              <a:gd name="connsiteY5022" fmla="*/ 4483021 h 5818346"/>
              <a:gd name="connsiteX5023" fmla="*/ 514455 w 3503192"/>
              <a:gd name="connsiteY5023" fmla="*/ 4484425 h 5818346"/>
              <a:gd name="connsiteX5024" fmla="*/ 519989 w 3503192"/>
              <a:gd name="connsiteY5024" fmla="*/ 4478892 h 5818346"/>
              <a:gd name="connsiteX5025" fmla="*/ 521146 w 3503192"/>
              <a:gd name="connsiteY5025" fmla="*/ 4480048 h 5818346"/>
              <a:gd name="connsiteX5026" fmla="*/ 526596 w 3503192"/>
              <a:gd name="connsiteY5026" fmla="*/ 4474598 h 5818346"/>
              <a:gd name="connsiteX5027" fmla="*/ 528166 w 3503192"/>
              <a:gd name="connsiteY5027" fmla="*/ 4476167 h 5818346"/>
              <a:gd name="connsiteX5028" fmla="*/ 534360 w 3503192"/>
              <a:gd name="connsiteY5028" fmla="*/ 4469973 h 5818346"/>
              <a:gd name="connsiteX5029" fmla="*/ 536094 w 3503192"/>
              <a:gd name="connsiteY5029" fmla="*/ 4471707 h 5818346"/>
              <a:gd name="connsiteX5030" fmla="*/ 2633649 w 3503192"/>
              <a:gd name="connsiteY5030" fmla="*/ 4463199 h 5818346"/>
              <a:gd name="connsiteX5031" fmla="*/ 2644387 w 3503192"/>
              <a:gd name="connsiteY5031" fmla="*/ 4473935 h 5818346"/>
              <a:gd name="connsiteX5032" fmla="*/ 2633649 w 3503192"/>
              <a:gd name="connsiteY5032" fmla="*/ 4484672 h 5818346"/>
              <a:gd name="connsiteX5033" fmla="*/ 2622913 w 3503192"/>
              <a:gd name="connsiteY5033" fmla="*/ 4473935 h 5818346"/>
              <a:gd name="connsiteX5034" fmla="*/ 2633649 w 3503192"/>
              <a:gd name="connsiteY5034" fmla="*/ 4463199 h 5818346"/>
              <a:gd name="connsiteX5035" fmla="*/ 1213586 w 3503192"/>
              <a:gd name="connsiteY5035" fmla="*/ 4459566 h 5818346"/>
              <a:gd name="connsiteX5036" fmla="*/ 1224324 w 3503192"/>
              <a:gd name="connsiteY5036" fmla="*/ 4470302 h 5818346"/>
              <a:gd name="connsiteX5037" fmla="*/ 1213586 w 3503192"/>
              <a:gd name="connsiteY5037" fmla="*/ 4481038 h 5818346"/>
              <a:gd name="connsiteX5038" fmla="*/ 1202849 w 3503192"/>
              <a:gd name="connsiteY5038" fmla="*/ 4470302 h 5818346"/>
              <a:gd name="connsiteX5039" fmla="*/ 1213586 w 3503192"/>
              <a:gd name="connsiteY5039" fmla="*/ 4459566 h 5818346"/>
              <a:gd name="connsiteX5040" fmla="*/ 3254731 w 3503192"/>
              <a:gd name="connsiteY5040" fmla="*/ 4457088 h 5818346"/>
              <a:gd name="connsiteX5041" fmla="*/ 3265469 w 3503192"/>
              <a:gd name="connsiteY5041" fmla="*/ 4467824 h 5818346"/>
              <a:gd name="connsiteX5042" fmla="*/ 3254731 w 3503192"/>
              <a:gd name="connsiteY5042" fmla="*/ 4478560 h 5818346"/>
              <a:gd name="connsiteX5043" fmla="*/ 3243994 w 3503192"/>
              <a:gd name="connsiteY5043" fmla="*/ 4467824 h 5818346"/>
              <a:gd name="connsiteX5044" fmla="*/ 3254731 w 3503192"/>
              <a:gd name="connsiteY5044" fmla="*/ 4457088 h 5818346"/>
              <a:gd name="connsiteX5045" fmla="*/ 557650 w 3503192"/>
              <a:gd name="connsiteY5045" fmla="*/ 4455270 h 5818346"/>
              <a:gd name="connsiteX5046" fmla="*/ 568387 w 3503192"/>
              <a:gd name="connsiteY5046" fmla="*/ 4466007 h 5818346"/>
              <a:gd name="connsiteX5047" fmla="*/ 557650 w 3503192"/>
              <a:gd name="connsiteY5047" fmla="*/ 4476745 h 5818346"/>
              <a:gd name="connsiteX5048" fmla="*/ 546914 w 3503192"/>
              <a:gd name="connsiteY5048" fmla="*/ 4466007 h 5818346"/>
              <a:gd name="connsiteX5049" fmla="*/ 557650 w 3503192"/>
              <a:gd name="connsiteY5049" fmla="*/ 4455270 h 5818346"/>
              <a:gd name="connsiteX5050" fmla="*/ 2429981 w 3503192"/>
              <a:gd name="connsiteY5050" fmla="*/ 4450149 h 5818346"/>
              <a:gd name="connsiteX5051" fmla="*/ 2440717 w 3503192"/>
              <a:gd name="connsiteY5051" fmla="*/ 4460885 h 5818346"/>
              <a:gd name="connsiteX5052" fmla="*/ 2429981 w 3503192"/>
              <a:gd name="connsiteY5052" fmla="*/ 4471624 h 5818346"/>
              <a:gd name="connsiteX5053" fmla="*/ 2419244 w 3503192"/>
              <a:gd name="connsiteY5053" fmla="*/ 4460885 h 5818346"/>
              <a:gd name="connsiteX5054" fmla="*/ 2429981 w 3503192"/>
              <a:gd name="connsiteY5054" fmla="*/ 4450149 h 5818346"/>
              <a:gd name="connsiteX5055" fmla="*/ 693926 w 3503192"/>
              <a:gd name="connsiteY5055" fmla="*/ 4448663 h 5818346"/>
              <a:gd name="connsiteX5056" fmla="*/ 704663 w 3503192"/>
              <a:gd name="connsiteY5056" fmla="*/ 4459399 h 5818346"/>
              <a:gd name="connsiteX5057" fmla="*/ 693926 w 3503192"/>
              <a:gd name="connsiteY5057" fmla="*/ 4470136 h 5818346"/>
              <a:gd name="connsiteX5058" fmla="*/ 683190 w 3503192"/>
              <a:gd name="connsiteY5058" fmla="*/ 4459399 h 5818346"/>
              <a:gd name="connsiteX5059" fmla="*/ 693926 w 3503192"/>
              <a:gd name="connsiteY5059" fmla="*/ 4448663 h 5818346"/>
              <a:gd name="connsiteX5060" fmla="*/ 442684 w 3503192"/>
              <a:gd name="connsiteY5060" fmla="*/ 4448333 h 5818346"/>
              <a:gd name="connsiteX5061" fmla="*/ 443015 w 3503192"/>
              <a:gd name="connsiteY5061" fmla="*/ 4448663 h 5818346"/>
              <a:gd name="connsiteX5062" fmla="*/ 442684 w 3503192"/>
              <a:gd name="connsiteY5062" fmla="*/ 4448994 h 5818346"/>
              <a:gd name="connsiteX5063" fmla="*/ 442355 w 3503192"/>
              <a:gd name="connsiteY5063" fmla="*/ 4448663 h 5818346"/>
              <a:gd name="connsiteX5064" fmla="*/ 442684 w 3503192"/>
              <a:gd name="connsiteY5064" fmla="*/ 4448333 h 5818346"/>
              <a:gd name="connsiteX5065" fmla="*/ 576151 w 3503192"/>
              <a:gd name="connsiteY5065" fmla="*/ 4443377 h 5818346"/>
              <a:gd name="connsiteX5066" fmla="*/ 586887 w 3503192"/>
              <a:gd name="connsiteY5066" fmla="*/ 4454113 h 5818346"/>
              <a:gd name="connsiteX5067" fmla="*/ 576151 w 3503192"/>
              <a:gd name="connsiteY5067" fmla="*/ 4464852 h 5818346"/>
              <a:gd name="connsiteX5068" fmla="*/ 565414 w 3503192"/>
              <a:gd name="connsiteY5068" fmla="*/ 4454113 h 5818346"/>
              <a:gd name="connsiteX5069" fmla="*/ 576151 w 3503192"/>
              <a:gd name="connsiteY5069" fmla="*/ 4443377 h 5818346"/>
              <a:gd name="connsiteX5070" fmla="*/ 3455262 w 3503192"/>
              <a:gd name="connsiteY5070" fmla="*/ 4440405 h 5818346"/>
              <a:gd name="connsiteX5071" fmla="*/ 3466000 w 3503192"/>
              <a:gd name="connsiteY5071" fmla="*/ 4451141 h 5818346"/>
              <a:gd name="connsiteX5072" fmla="*/ 3455262 w 3503192"/>
              <a:gd name="connsiteY5072" fmla="*/ 4461877 h 5818346"/>
              <a:gd name="connsiteX5073" fmla="*/ 3444525 w 3503192"/>
              <a:gd name="connsiteY5073" fmla="*/ 4451141 h 5818346"/>
              <a:gd name="connsiteX5074" fmla="*/ 3455262 w 3503192"/>
              <a:gd name="connsiteY5074" fmla="*/ 4440405 h 5818346"/>
              <a:gd name="connsiteX5075" fmla="*/ 1501331 w 3503192"/>
              <a:gd name="connsiteY5075" fmla="*/ 4430659 h 5818346"/>
              <a:gd name="connsiteX5076" fmla="*/ 1512069 w 3503192"/>
              <a:gd name="connsiteY5076" fmla="*/ 4441395 h 5818346"/>
              <a:gd name="connsiteX5077" fmla="*/ 1501331 w 3503192"/>
              <a:gd name="connsiteY5077" fmla="*/ 4452131 h 5818346"/>
              <a:gd name="connsiteX5078" fmla="*/ 1490594 w 3503192"/>
              <a:gd name="connsiteY5078" fmla="*/ 4441395 h 5818346"/>
              <a:gd name="connsiteX5079" fmla="*/ 1501331 w 3503192"/>
              <a:gd name="connsiteY5079" fmla="*/ 4430659 h 5818346"/>
              <a:gd name="connsiteX5080" fmla="*/ 2232589 w 3503192"/>
              <a:gd name="connsiteY5080" fmla="*/ 4430494 h 5818346"/>
              <a:gd name="connsiteX5081" fmla="*/ 2243327 w 3503192"/>
              <a:gd name="connsiteY5081" fmla="*/ 4441230 h 5818346"/>
              <a:gd name="connsiteX5082" fmla="*/ 2232589 w 3503192"/>
              <a:gd name="connsiteY5082" fmla="*/ 4451968 h 5818346"/>
              <a:gd name="connsiteX5083" fmla="*/ 2221852 w 3503192"/>
              <a:gd name="connsiteY5083" fmla="*/ 4441230 h 5818346"/>
              <a:gd name="connsiteX5084" fmla="*/ 2232589 w 3503192"/>
              <a:gd name="connsiteY5084" fmla="*/ 4430494 h 5818346"/>
              <a:gd name="connsiteX5085" fmla="*/ 601589 w 3503192"/>
              <a:gd name="connsiteY5085" fmla="*/ 4426859 h 5818346"/>
              <a:gd name="connsiteX5086" fmla="*/ 612326 w 3503192"/>
              <a:gd name="connsiteY5086" fmla="*/ 4437595 h 5818346"/>
              <a:gd name="connsiteX5087" fmla="*/ 601589 w 3503192"/>
              <a:gd name="connsiteY5087" fmla="*/ 4448333 h 5818346"/>
              <a:gd name="connsiteX5088" fmla="*/ 590853 w 3503192"/>
              <a:gd name="connsiteY5088" fmla="*/ 4437595 h 5818346"/>
              <a:gd name="connsiteX5089" fmla="*/ 601589 w 3503192"/>
              <a:gd name="connsiteY5089" fmla="*/ 4426859 h 5818346"/>
              <a:gd name="connsiteX5090" fmla="*/ 898585 w 3503192"/>
              <a:gd name="connsiteY5090" fmla="*/ 4424712 h 5818346"/>
              <a:gd name="connsiteX5091" fmla="*/ 909321 w 3503192"/>
              <a:gd name="connsiteY5091" fmla="*/ 4435448 h 5818346"/>
              <a:gd name="connsiteX5092" fmla="*/ 898585 w 3503192"/>
              <a:gd name="connsiteY5092" fmla="*/ 4446187 h 5818346"/>
              <a:gd name="connsiteX5093" fmla="*/ 887848 w 3503192"/>
              <a:gd name="connsiteY5093" fmla="*/ 4435448 h 5818346"/>
              <a:gd name="connsiteX5094" fmla="*/ 898585 w 3503192"/>
              <a:gd name="connsiteY5094" fmla="*/ 4424712 h 5818346"/>
              <a:gd name="connsiteX5095" fmla="*/ 747278 w 3503192"/>
              <a:gd name="connsiteY5095" fmla="*/ 4419262 h 5818346"/>
              <a:gd name="connsiteX5096" fmla="*/ 758015 w 3503192"/>
              <a:gd name="connsiteY5096" fmla="*/ 4429998 h 5818346"/>
              <a:gd name="connsiteX5097" fmla="*/ 747278 w 3503192"/>
              <a:gd name="connsiteY5097" fmla="*/ 4440734 h 5818346"/>
              <a:gd name="connsiteX5098" fmla="*/ 736542 w 3503192"/>
              <a:gd name="connsiteY5098" fmla="*/ 4429998 h 5818346"/>
              <a:gd name="connsiteX5099" fmla="*/ 747278 w 3503192"/>
              <a:gd name="connsiteY5099" fmla="*/ 4419262 h 5818346"/>
              <a:gd name="connsiteX5100" fmla="*/ 1099941 w 3503192"/>
              <a:gd name="connsiteY5100" fmla="*/ 4416948 h 5818346"/>
              <a:gd name="connsiteX5101" fmla="*/ 1110677 w 3503192"/>
              <a:gd name="connsiteY5101" fmla="*/ 4427684 h 5818346"/>
              <a:gd name="connsiteX5102" fmla="*/ 1099941 w 3503192"/>
              <a:gd name="connsiteY5102" fmla="*/ 4438421 h 5818346"/>
              <a:gd name="connsiteX5103" fmla="*/ 1089205 w 3503192"/>
              <a:gd name="connsiteY5103" fmla="*/ 4427684 h 5818346"/>
              <a:gd name="connsiteX5104" fmla="*/ 1099941 w 3503192"/>
              <a:gd name="connsiteY5104" fmla="*/ 4416948 h 5818346"/>
              <a:gd name="connsiteX5105" fmla="*/ 521146 w 3503192"/>
              <a:gd name="connsiteY5105" fmla="*/ 4414140 h 5818346"/>
              <a:gd name="connsiteX5106" fmla="*/ 531884 w 3503192"/>
              <a:gd name="connsiteY5106" fmla="*/ 4424877 h 5818346"/>
              <a:gd name="connsiteX5107" fmla="*/ 521146 w 3503192"/>
              <a:gd name="connsiteY5107" fmla="*/ 4435613 h 5818346"/>
              <a:gd name="connsiteX5108" fmla="*/ 521062 w 3503192"/>
              <a:gd name="connsiteY5108" fmla="*/ 4435532 h 5818346"/>
              <a:gd name="connsiteX5109" fmla="*/ 514374 w 3503192"/>
              <a:gd name="connsiteY5109" fmla="*/ 4442220 h 5818346"/>
              <a:gd name="connsiteX5110" fmla="*/ 514538 w 3503192"/>
              <a:gd name="connsiteY5110" fmla="*/ 4442385 h 5818346"/>
              <a:gd name="connsiteX5111" fmla="*/ 508509 w 3503192"/>
              <a:gd name="connsiteY5111" fmla="*/ 4448415 h 5818346"/>
              <a:gd name="connsiteX5112" fmla="*/ 508921 w 3503192"/>
              <a:gd name="connsiteY5112" fmla="*/ 4448828 h 5818346"/>
              <a:gd name="connsiteX5113" fmla="*/ 503223 w 3503192"/>
              <a:gd name="connsiteY5113" fmla="*/ 4454526 h 5818346"/>
              <a:gd name="connsiteX5114" fmla="*/ 503471 w 3503192"/>
              <a:gd name="connsiteY5114" fmla="*/ 4454774 h 5818346"/>
              <a:gd name="connsiteX5115" fmla="*/ 497360 w 3503192"/>
              <a:gd name="connsiteY5115" fmla="*/ 4460885 h 5818346"/>
              <a:gd name="connsiteX5116" fmla="*/ 497361 w 3503192"/>
              <a:gd name="connsiteY5116" fmla="*/ 4460885 h 5818346"/>
              <a:gd name="connsiteX5117" fmla="*/ 486623 w 3503192"/>
              <a:gd name="connsiteY5117" fmla="*/ 4471624 h 5818346"/>
              <a:gd name="connsiteX5118" fmla="*/ 486292 w 3503192"/>
              <a:gd name="connsiteY5118" fmla="*/ 4471292 h 5818346"/>
              <a:gd name="connsiteX5119" fmla="*/ 478859 w 3503192"/>
              <a:gd name="connsiteY5119" fmla="*/ 4478727 h 5818346"/>
              <a:gd name="connsiteX5120" fmla="*/ 476959 w 3503192"/>
              <a:gd name="connsiteY5120" fmla="*/ 4476828 h 5818346"/>
              <a:gd name="connsiteX5121" fmla="*/ 468784 w 3503192"/>
              <a:gd name="connsiteY5121" fmla="*/ 4485003 h 5818346"/>
              <a:gd name="connsiteX5122" fmla="*/ 460030 w 3503192"/>
              <a:gd name="connsiteY5122" fmla="*/ 4476249 h 5818346"/>
              <a:gd name="connsiteX5123" fmla="*/ 468206 w 3503192"/>
              <a:gd name="connsiteY5123" fmla="*/ 4468072 h 5818346"/>
              <a:gd name="connsiteX5124" fmla="*/ 468123 w 3503192"/>
              <a:gd name="connsiteY5124" fmla="*/ 4467989 h 5818346"/>
              <a:gd name="connsiteX5125" fmla="*/ 478859 w 3503192"/>
              <a:gd name="connsiteY5125" fmla="*/ 4457252 h 5818346"/>
              <a:gd name="connsiteX5126" fmla="*/ 479189 w 3503192"/>
              <a:gd name="connsiteY5126" fmla="*/ 4457584 h 5818346"/>
              <a:gd name="connsiteX5127" fmla="*/ 481998 w 3503192"/>
              <a:gd name="connsiteY5127" fmla="*/ 4454774 h 5818346"/>
              <a:gd name="connsiteX5128" fmla="*/ 487697 w 3503192"/>
              <a:gd name="connsiteY5128" fmla="*/ 4449076 h 5818346"/>
              <a:gd name="connsiteX5129" fmla="*/ 487449 w 3503192"/>
              <a:gd name="connsiteY5129" fmla="*/ 4448828 h 5818346"/>
              <a:gd name="connsiteX5130" fmla="*/ 493478 w 3503192"/>
              <a:gd name="connsiteY5130" fmla="*/ 4442798 h 5818346"/>
              <a:gd name="connsiteX5131" fmla="*/ 493066 w 3503192"/>
              <a:gd name="connsiteY5131" fmla="*/ 4442385 h 5818346"/>
              <a:gd name="connsiteX5132" fmla="*/ 500498 w 3503192"/>
              <a:gd name="connsiteY5132" fmla="*/ 4434952 h 5818346"/>
              <a:gd name="connsiteX5133" fmla="*/ 500334 w 3503192"/>
              <a:gd name="connsiteY5133" fmla="*/ 4434788 h 5818346"/>
              <a:gd name="connsiteX5134" fmla="*/ 511070 w 3503192"/>
              <a:gd name="connsiteY5134" fmla="*/ 4424051 h 5818346"/>
              <a:gd name="connsiteX5135" fmla="*/ 511152 w 3503192"/>
              <a:gd name="connsiteY5135" fmla="*/ 4424135 h 5818346"/>
              <a:gd name="connsiteX5136" fmla="*/ 2043457 w 3503192"/>
              <a:gd name="connsiteY5136" fmla="*/ 4405220 h 5818346"/>
              <a:gd name="connsiteX5137" fmla="*/ 2054195 w 3503192"/>
              <a:gd name="connsiteY5137" fmla="*/ 4415956 h 5818346"/>
              <a:gd name="connsiteX5138" fmla="*/ 2043457 w 3503192"/>
              <a:gd name="connsiteY5138" fmla="*/ 4426694 h 5818346"/>
              <a:gd name="connsiteX5139" fmla="*/ 2032720 w 3503192"/>
              <a:gd name="connsiteY5139" fmla="*/ 4415956 h 5818346"/>
              <a:gd name="connsiteX5140" fmla="*/ 2043457 w 3503192"/>
              <a:gd name="connsiteY5140" fmla="*/ 4405220 h 5818346"/>
              <a:gd name="connsiteX5141" fmla="*/ 635782 w 3503192"/>
              <a:gd name="connsiteY5141" fmla="*/ 4404726 h 5818346"/>
              <a:gd name="connsiteX5142" fmla="*/ 646519 w 3503192"/>
              <a:gd name="connsiteY5142" fmla="*/ 4415462 h 5818346"/>
              <a:gd name="connsiteX5143" fmla="*/ 635782 w 3503192"/>
              <a:gd name="connsiteY5143" fmla="*/ 4426200 h 5818346"/>
              <a:gd name="connsiteX5144" fmla="*/ 625046 w 3503192"/>
              <a:gd name="connsiteY5144" fmla="*/ 4415462 h 5818346"/>
              <a:gd name="connsiteX5145" fmla="*/ 635782 w 3503192"/>
              <a:gd name="connsiteY5145" fmla="*/ 4404726 h 5818346"/>
              <a:gd name="connsiteX5146" fmla="*/ 535352 w 3503192"/>
              <a:gd name="connsiteY5146" fmla="*/ 4401257 h 5818346"/>
              <a:gd name="connsiteX5147" fmla="*/ 546090 w 3503192"/>
              <a:gd name="connsiteY5147" fmla="*/ 4411994 h 5818346"/>
              <a:gd name="connsiteX5148" fmla="*/ 535352 w 3503192"/>
              <a:gd name="connsiteY5148" fmla="*/ 4422730 h 5818346"/>
              <a:gd name="connsiteX5149" fmla="*/ 524616 w 3503192"/>
              <a:gd name="connsiteY5149" fmla="*/ 4411994 h 5818346"/>
              <a:gd name="connsiteX5150" fmla="*/ 535352 w 3503192"/>
              <a:gd name="connsiteY5150" fmla="*/ 4401257 h 5818346"/>
              <a:gd name="connsiteX5151" fmla="*/ 1361753 w 3503192"/>
              <a:gd name="connsiteY5151" fmla="*/ 4391511 h 5818346"/>
              <a:gd name="connsiteX5152" fmla="*/ 1372489 w 3503192"/>
              <a:gd name="connsiteY5152" fmla="*/ 4402247 h 5818346"/>
              <a:gd name="connsiteX5153" fmla="*/ 1361753 w 3503192"/>
              <a:gd name="connsiteY5153" fmla="*/ 4412984 h 5818346"/>
              <a:gd name="connsiteX5154" fmla="*/ 1351017 w 3503192"/>
              <a:gd name="connsiteY5154" fmla="*/ 4402247 h 5818346"/>
              <a:gd name="connsiteX5155" fmla="*/ 1361753 w 3503192"/>
              <a:gd name="connsiteY5155" fmla="*/ 4391511 h 5818346"/>
              <a:gd name="connsiteX5156" fmla="*/ 555503 w 3503192"/>
              <a:gd name="connsiteY5156" fmla="*/ 4384077 h 5818346"/>
              <a:gd name="connsiteX5157" fmla="*/ 566240 w 3503192"/>
              <a:gd name="connsiteY5157" fmla="*/ 4394813 h 5818346"/>
              <a:gd name="connsiteX5158" fmla="*/ 555503 w 3503192"/>
              <a:gd name="connsiteY5158" fmla="*/ 4405551 h 5818346"/>
              <a:gd name="connsiteX5159" fmla="*/ 544767 w 3503192"/>
              <a:gd name="connsiteY5159" fmla="*/ 4394813 h 5818346"/>
              <a:gd name="connsiteX5160" fmla="*/ 555503 w 3503192"/>
              <a:gd name="connsiteY5160" fmla="*/ 4384077 h 5818346"/>
              <a:gd name="connsiteX5161" fmla="*/ 403538 w 3503192"/>
              <a:gd name="connsiteY5161" fmla="*/ 4382922 h 5818346"/>
              <a:gd name="connsiteX5162" fmla="*/ 403868 w 3503192"/>
              <a:gd name="connsiteY5162" fmla="*/ 4383253 h 5818346"/>
              <a:gd name="connsiteX5163" fmla="*/ 403538 w 3503192"/>
              <a:gd name="connsiteY5163" fmla="*/ 4383582 h 5818346"/>
              <a:gd name="connsiteX5164" fmla="*/ 403207 w 3503192"/>
              <a:gd name="connsiteY5164" fmla="*/ 4383253 h 5818346"/>
              <a:gd name="connsiteX5165" fmla="*/ 403538 w 3503192"/>
              <a:gd name="connsiteY5165" fmla="*/ 4382922 h 5818346"/>
              <a:gd name="connsiteX5166" fmla="*/ 815004 w 3503192"/>
              <a:gd name="connsiteY5166" fmla="*/ 4380608 h 5818346"/>
              <a:gd name="connsiteX5167" fmla="*/ 825742 w 3503192"/>
              <a:gd name="connsiteY5167" fmla="*/ 4391345 h 5818346"/>
              <a:gd name="connsiteX5168" fmla="*/ 815004 w 3503192"/>
              <a:gd name="connsiteY5168" fmla="*/ 4402081 h 5818346"/>
              <a:gd name="connsiteX5169" fmla="*/ 804267 w 3503192"/>
              <a:gd name="connsiteY5169" fmla="*/ 4391345 h 5818346"/>
              <a:gd name="connsiteX5170" fmla="*/ 815004 w 3503192"/>
              <a:gd name="connsiteY5170" fmla="*/ 4380608 h 5818346"/>
              <a:gd name="connsiteX5171" fmla="*/ 1864069 w 3503192"/>
              <a:gd name="connsiteY5171" fmla="*/ 4375489 h 5818346"/>
              <a:gd name="connsiteX5172" fmla="*/ 1874807 w 3503192"/>
              <a:gd name="connsiteY5172" fmla="*/ 4386225 h 5818346"/>
              <a:gd name="connsiteX5173" fmla="*/ 1864069 w 3503192"/>
              <a:gd name="connsiteY5173" fmla="*/ 4396962 h 5818346"/>
              <a:gd name="connsiteX5174" fmla="*/ 1853332 w 3503192"/>
              <a:gd name="connsiteY5174" fmla="*/ 4386225 h 5818346"/>
              <a:gd name="connsiteX5175" fmla="*/ 1864069 w 3503192"/>
              <a:gd name="connsiteY5175" fmla="*/ 4375489 h 5818346"/>
              <a:gd name="connsiteX5176" fmla="*/ 680876 w 3503192"/>
              <a:gd name="connsiteY5176" fmla="*/ 4375322 h 5818346"/>
              <a:gd name="connsiteX5177" fmla="*/ 691613 w 3503192"/>
              <a:gd name="connsiteY5177" fmla="*/ 4386059 h 5818346"/>
              <a:gd name="connsiteX5178" fmla="*/ 680876 w 3503192"/>
              <a:gd name="connsiteY5178" fmla="*/ 4396797 h 5818346"/>
              <a:gd name="connsiteX5179" fmla="*/ 670140 w 3503192"/>
              <a:gd name="connsiteY5179" fmla="*/ 4386059 h 5818346"/>
              <a:gd name="connsiteX5180" fmla="*/ 680876 w 3503192"/>
              <a:gd name="connsiteY5180" fmla="*/ 4375322 h 5818346"/>
              <a:gd name="connsiteX5181" fmla="*/ 487780 w 3503192"/>
              <a:gd name="connsiteY5181" fmla="*/ 4374332 h 5818346"/>
              <a:gd name="connsiteX5182" fmla="*/ 498518 w 3503192"/>
              <a:gd name="connsiteY5182" fmla="*/ 4385069 h 5818346"/>
              <a:gd name="connsiteX5183" fmla="*/ 489348 w 3503192"/>
              <a:gd name="connsiteY5183" fmla="*/ 4394237 h 5818346"/>
              <a:gd name="connsiteX5184" fmla="*/ 491413 w 3503192"/>
              <a:gd name="connsiteY5184" fmla="*/ 4396301 h 5818346"/>
              <a:gd name="connsiteX5185" fmla="*/ 484393 w 3503192"/>
              <a:gd name="connsiteY5185" fmla="*/ 4403323 h 5818346"/>
              <a:gd name="connsiteX5186" fmla="*/ 486458 w 3503192"/>
              <a:gd name="connsiteY5186" fmla="*/ 4405386 h 5818346"/>
              <a:gd name="connsiteX5187" fmla="*/ 480264 w 3503192"/>
              <a:gd name="connsiteY5187" fmla="*/ 4411581 h 5818346"/>
              <a:gd name="connsiteX5188" fmla="*/ 482165 w 3503192"/>
              <a:gd name="connsiteY5188" fmla="*/ 4413480 h 5818346"/>
              <a:gd name="connsiteX5189" fmla="*/ 475968 w 3503192"/>
              <a:gd name="connsiteY5189" fmla="*/ 4419674 h 5818346"/>
              <a:gd name="connsiteX5190" fmla="*/ 477538 w 3503192"/>
              <a:gd name="connsiteY5190" fmla="*/ 4421244 h 5818346"/>
              <a:gd name="connsiteX5191" fmla="*/ 470599 w 3503192"/>
              <a:gd name="connsiteY5191" fmla="*/ 4428182 h 5818346"/>
              <a:gd name="connsiteX5192" fmla="*/ 471756 w 3503192"/>
              <a:gd name="connsiteY5192" fmla="*/ 4429337 h 5818346"/>
              <a:gd name="connsiteX5193" fmla="*/ 463331 w 3503192"/>
              <a:gd name="connsiteY5193" fmla="*/ 4437764 h 5818346"/>
              <a:gd name="connsiteX5194" fmla="*/ 463992 w 3503192"/>
              <a:gd name="connsiteY5194" fmla="*/ 4438423 h 5818346"/>
              <a:gd name="connsiteX5195" fmla="*/ 453256 w 3503192"/>
              <a:gd name="connsiteY5195" fmla="*/ 4449159 h 5818346"/>
              <a:gd name="connsiteX5196" fmla="*/ 442519 w 3503192"/>
              <a:gd name="connsiteY5196" fmla="*/ 4438423 h 5818346"/>
              <a:gd name="connsiteX5197" fmla="*/ 450944 w 3503192"/>
              <a:gd name="connsiteY5197" fmla="*/ 4429998 h 5818346"/>
              <a:gd name="connsiteX5198" fmla="*/ 450283 w 3503192"/>
              <a:gd name="connsiteY5198" fmla="*/ 4429337 h 5818346"/>
              <a:gd name="connsiteX5199" fmla="*/ 457220 w 3503192"/>
              <a:gd name="connsiteY5199" fmla="*/ 4422400 h 5818346"/>
              <a:gd name="connsiteX5200" fmla="*/ 456065 w 3503192"/>
              <a:gd name="connsiteY5200" fmla="*/ 4421244 h 5818346"/>
              <a:gd name="connsiteX5201" fmla="*/ 462260 w 3503192"/>
              <a:gd name="connsiteY5201" fmla="*/ 4415049 h 5818346"/>
              <a:gd name="connsiteX5202" fmla="*/ 460690 w 3503192"/>
              <a:gd name="connsiteY5202" fmla="*/ 4413480 h 5818346"/>
              <a:gd name="connsiteX5203" fmla="*/ 466883 w 3503192"/>
              <a:gd name="connsiteY5203" fmla="*/ 4407287 h 5818346"/>
              <a:gd name="connsiteX5204" fmla="*/ 464984 w 3503192"/>
              <a:gd name="connsiteY5204" fmla="*/ 4405386 h 5818346"/>
              <a:gd name="connsiteX5205" fmla="*/ 472004 w 3503192"/>
              <a:gd name="connsiteY5205" fmla="*/ 4398366 h 5818346"/>
              <a:gd name="connsiteX5206" fmla="*/ 469940 w 3503192"/>
              <a:gd name="connsiteY5206" fmla="*/ 4396301 h 5818346"/>
              <a:gd name="connsiteX5207" fmla="*/ 479107 w 3503192"/>
              <a:gd name="connsiteY5207" fmla="*/ 4387134 h 5818346"/>
              <a:gd name="connsiteX5208" fmla="*/ 477044 w 3503192"/>
              <a:gd name="connsiteY5208" fmla="*/ 4385069 h 5818346"/>
              <a:gd name="connsiteX5209" fmla="*/ 487780 w 3503192"/>
              <a:gd name="connsiteY5209" fmla="*/ 4374332 h 5818346"/>
              <a:gd name="connsiteX5210" fmla="*/ 995382 w 3503192"/>
              <a:gd name="connsiteY5210" fmla="*/ 4374001 h 5818346"/>
              <a:gd name="connsiteX5211" fmla="*/ 1006118 w 3503192"/>
              <a:gd name="connsiteY5211" fmla="*/ 4384737 h 5818346"/>
              <a:gd name="connsiteX5212" fmla="*/ 995382 w 3503192"/>
              <a:gd name="connsiteY5212" fmla="*/ 4395474 h 5818346"/>
              <a:gd name="connsiteX5213" fmla="*/ 984645 w 3503192"/>
              <a:gd name="connsiteY5213" fmla="*/ 4384737 h 5818346"/>
              <a:gd name="connsiteX5214" fmla="*/ 995382 w 3503192"/>
              <a:gd name="connsiteY5214" fmla="*/ 4374001 h 5818346"/>
              <a:gd name="connsiteX5215" fmla="*/ 583254 w 3503192"/>
              <a:gd name="connsiteY5215" fmla="*/ 4361447 h 5818346"/>
              <a:gd name="connsiteX5216" fmla="*/ 593990 w 3503192"/>
              <a:gd name="connsiteY5216" fmla="*/ 4372184 h 5818346"/>
              <a:gd name="connsiteX5217" fmla="*/ 583254 w 3503192"/>
              <a:gd name="connsiteY5217" fmla="*/ 4382920 h 5818346"/>
              <a:gd name="connsiteX5218" fmla="*/ 572518 w 3503192"/>
              <a:gd name="connsiteY5218" fmla="*/ 4372184 h 5818346"/>
              <a:gd name="connsiteX5219" fmla="*/ 583254 w 3503192"/>
              <a:gd name="connsiteY5219" fmla="*/ 4361447 h 5818346"/>
              <a:gd name="connsiteX5220" fmla="*/ 498352 w 3503192"/>
              <a:gd name="connsiteY5220" fmla="*/ 4360457 h 5818346"/>
              <a:gd name="connsiteX5221" fmla="*/ 509088 w 3503192"/>
              <a:gd name="connsiteY5221" fmla="*/ 4371193 h 5818346"/>
              <a:gd name="connsiteX5222" fmla="*/ 498352 w 3503192"/>
              <a:gd name="connsiteY5222" fmla="*/ 4381930 h 5818346"/>
              <a:gd name="connsiteX5223" fmla="*/ 487615 w 3503192"/>
              <a:gd name="connsiteY5223" fmla="*/ 4371193 h 5818346"/>
              <a:gd name="connsiteX5224" fmla="*/ 498352 w 3503192"/>
              <a:gd name="connsiteY5224" fmla="*/ 4360457 h 5818346"/>
              <a:gd name="connsiteX5225" fmla="*/ 1232582 w 3503192"/>
              <a:gd name="connsiteY5225" fmla="*/ 4351207 h 5818346"/>
              <a:gd name="connsiteX5226" fmla="*/ 1243318 w 3503192"/>
              <a:gd name="connsiteY5226" fmla="*/ 4361943 h 5818346"/>
              <a:gd name="connsiteX5227" fmla="*/ 1232582 w 3503192"/>
              <a:gd name="connsiteY5227" fmla="*/ 4372680 h 5818346"/>
              <a:gd name="connsiteX5228" fmla="*/ 1221846 w 3503192"/>
              <a:gd name="connsiteY5228" fmla="*/ 4361943 h 5818346"/>
              <a:gd name="connsiteX5229" fmla="*/ 1232582 w 3503192"/>
              <a:gd name="connsiteY5229" fmla="*/ 4351207 h 5818346"/>
              <a:gd name="connsiteX5230" fmla="*/ 513713 w 3503192"/>
              <a:gd name="connsiteY5230" fmla="*/ 4342453 h 5818346"/>
              <a:gd name="connsiteX5231" fmla="*/ 524449 w 3503192"/>
              <a:gd name="connsiteY5231" fmla="*/ 4353189 h 5818346"/>
              <a:gd name="connsiteX5232" fmla="*/ 513713 w 3503192"/>
              <a:gd name="connsiteY5232" fmla="*/ 4363925 h 5818346"/>
              <a:gd name="connsiteX5233" fmla="*/ 502977 w 3503192"/>
              <a:gd name="connsiteY5233" fmla="*/ 4353189 h 5818346"/>
              <a:gd name="connsiteX5234" fmla="*/ 513713 w 3503192"/>
              <a:gd name="connsiteY5234" fmla="*/ 4342453 h 5818346"/>
              <a:gd name="connsiteX5235" fmla="*/ 1695419 w 3503192"/>
              <a:gd name="connsiteY5235" fmla="*/ 4342286 h 5818346"/>
              <a:gd name="connsiteX5236" fmla="*/ 1706157 w 3503192"/>
              <a:gd name="connsiteY5236" fmla="*/ 4353023 h 5818346"/>
              <a:gd name="connsiteX5237" fmla="*/ 1695419 w 3503192"/>
              <a:gd name="connsiteY5237" fmla="*/ 4363761 h 5818346"/>
              <a:gd name="connsiteX5238" fmla="*/ 1684683 w 3503192"/>
              <a:gd name="connsiteY5238" fmla="*/ 4353023 h 5818346"/>
              <a:gd name="connsiteX5239" fmla="*/ 1695419 w 3503192"/>
              <a:gd name="connsiteY5239" fmla="*/ 4342286 h 5818346"/>
              <a:gd name="connsiteX5240" fmla="*/ 739020 w 3503192"/>
              <a:gd name="connsiteY5240" fmla="*/ 4337165 h 5818346"/>
              <a:gd name="connsiteX5241" fmla="*/ 749757 w 3503192"/>
              <a:gd name="connsiteY5241" fmla="*/ 4347901 h 5818346"/>
              <a:gd name="connsiteX5242" fmla="*/ 739020 w 3503192"/>
              <a:gd name="connsiteY5242" fmla="*/ 4358638 h 5818346"/>
              <a:gd name="connsiteX5243" fmla="*/ 728284 w 3503192"/>
              <a:gd name="connsiteY5243" fmla="*/ 4347901 h 5818346"/>
              <a:gd name="connsiteX5244" fmla="*/ 739020 w 3503192"/>
              <a:gd name="connsiteY5244" fmla="*/ 4337165 h 5818346"/>
              <a:gd name="connsiteX5245" fmla="*/ 457387 w 3503192"/>
              <a:gd name="connsiteY5245" fmla="*/ 4336010 h 5818346"/>
              <a:gd name="connsiteX5246" fmla="*/ 468123 w 3503192"/>
              <a:gd name="connsiteY5246" fmla="*/ 4346747 h 5818346"/>
              <a:gd name="connsiteX5247" fmla="*/ 459617 w 3503192"/>
              <a:gd name="connsiteY5247" fmla="*/ 4355254 h 5818346"/>
              <a:gd name="connsiteX5248" fmla="*/ 463498 w 3503192"/>
              <a:gd name="connsiteY5248" fmla="*/ 4359134 h 5818346"/>
              <a:gd name="connsiteX5249" fmla="*/ 456476 w 3503192"/>
              <a:gd name="connsiteY5249" fmla="*/ 4366156 h 5818346"/>
              <a:gd name="connsiteX5250" fmla="*/ 460194 w 3503192"/>
              <a:gd name="connsiteY5250" fmla="*/ 4369872 h 5818346"/>
              <a:gd name="connsiteX5251" fmla="*/ 453668 w 3503192"/>
              <a:gd name="connsiteY5251" fmla="*/ 4376396 h 5818346"/>
              <a:gd name="connsiteX5252" fmla="*/ 456891 w 3503192"/>
              <a:gd name="connsiteY5252" fmla="*/ 4379618 h 5818346"/>
              <a:gd name="connsiteX5253" fmla="*/ 450119 w 3503192"/>
              <a:gd name="connsiteY5253" fmla="*/ 4386390 h 5818346"/>
              <a:gd name="connsiteX5254" fmla="*/ 452926 w 3503192"/>
              <a:gd name="connsiteY5254" fmla="*/ 4389198 h 5818346"/>
              <a:gd name="connsiteX5255" fmla="*/ 445079 w 3503192"/>
              <a:gd name="connsiteY5255" fmla="*/ 4397045 h 5818346"/>
              <a:gd name="connsiteX5256" fmla="*/ 447144 w 3503192"/>
              <a:gd name="connsiteY5256" fmla="*/ 4399109 h 5818346"/>
              <a:gd name="connsiteX5257" fmla="*/ 436902 w 3503192"/>
              <a:gd name="connsiteY5257" fmla="*/ 4409351 h 5818346"/>
              <a:gd name="connsiteX5258" fmla="*/ 437563 w 3503192"/>
              <a:gd name="connsiteY5258" fmla="*/ 4410011 h 5818346"/>
              <a:gd name="connsiteX5259" fmla="*/ 428148 w 3503192"/>
              <a:gd name="connsiteY5259" fmla="*/ 4419428 h 5818346"/>
              <a:gd name="connsiteX5260" fmla="*/ 418733 w 3503192"/>
              <a:gd name="connsiteY5260" fmla="*/ 4410011 h 5818346"/>
              <a:gd name="connsiteX5261" fmla="*/ 427654 w 3503192"/>
              <a:gd name="connsiteY5261" fmla="*/ 4401091 h 5818346"/>
              <a:gd name="connsiteX5262" fmla="*/ 425672 w 3503192"/>
              <a:gd name="connsiteY5262" fmla="*/ 4399109 h 5818346"/>
              <a:gd name="connsiteX5263" fmla="*/ 433517 w 3503192"/>
              <a:gd name="connsiteY5263" fmla="*/ 4391263 h 5818346"/>
              <a:gd name="connsiteX5264" fmla="*/ 431454 w 3503192"/>
              <a:gd name="connsiteY5264" fmla="*/ 4389198 h 5818346"/>
              <a:gd name="connsiteX5265" fmla="*/ 438226 w 3503192"/>
              <a:gd name="connsiteY5265" fmla="*/ 4382426 h 5818346"/>
              <a:gd name="connsiteX5266" fmla="*/ 435418 w 3503192"/>
              <a:gd name="connsiteY5266" fmla="*/ 4379618 h 5818346"/>
              <a:gd name="connsiteX5267" fmla="*/ 441942 w 3503192"/>
              <a:gd name="connsiteY5267" fmla="*/ 4373094 h 5818346"/>
              <a:gd name="connsiteX5268" fmla="*/ 438720 w 3503192"/>
              <a:gd name="connsiteY5268" fmla="*/ 4369872 h 5818346"/>
              <a:gd name="connsiteX5269" fmla="*/ 445742 w 3503192"/>
              <a:gd name="connsiteY5269" fmla="*/ 4362850 h 5818346"/>
              <a:gd name="connsiteX5270" fmla="*/ 442025 w 3503192"/>
              <a:gd name="connsiteY5270" fmla="*/ 4359134 h 5818346"/>
              <a:gd name="connsiteX5271" fmla="*/ 450531 w 3503192"/>
              <a:gd name="connsiteY5271" fmla="*/ 4350628 h 5818346"/>
              <a:gd name="connsiteX5272" fmla="*/ 446650 w 3503192"/>
              <a:gd name="connsiteY5272" fmla="*/ 4346747 h 5818346"/>
              <a:gd name="connsiteX5273" fmla="*/ 457387 w 3503192"/>
              <a:gd name="connsiteY5273" fmla="*/ 4336010 h 5818346"/>
              <a:gd name="connsiteX5274" fmla="*/ 620750 w 3503192"/>
              <a:gd name="connsiteY5274" fmla="*/ 4332046 h 5818346"/>
              <a:gd name="connsiteX5275" fmla="*/ 631487 w 3503192"/>
              <a:gd name="connsiteY5275" fmla="*/ 4342782 h 5818346"/>
              <a:gd name="connsiteX5276" fmla="*/ 620750 w 3503192"/>
              <a:gd name="connsiteY5276" fmla="*/ 4353519 h 5818346"/>
              <a:gd name="connsiteX5277" fmla="*/ 610014 w 3503192"/>
              <a:gd name="connsiteY5277" fmla="*/ 4342782 h 5818346"/>
              <a:gd name="connsiteX5278" fmla="*/ 620750 w 3503192"/>
              <a:gd name="connsiteY5278" fmla="*/ 4332046 h 5818346"/>
              <a:gd name="connsiteX5279" fmla="*/ 899906 w 3503192"/>
              <a:gd name="connsiteY5279" fmla="*/ 4331220 h 5818346"/>
              <a:gd name="connsiteX5280" fmla="*/ 910642 w 3503192"/>
              <a:gd name="connsiteY5280" fmla="*/ 4341957 h 5818346"/>
              <a:gd name="connsiteX5281" fmla="*/ 899906 w 3503192"/>
              <a:gd name="connsiteY5281" fmla="*/ 4352693 h 5818346"/>
              <a:gd name="connsiteX5282" fmla="*/ 889170 w 3503192"/>
              <a:gd name="connsiteY5282" fmla="*/ 4341957 h 5818346"/>
              <a:gd name="connsiteX5283" fmla="*/ 899906 w 3503192"/>
              <a:gd name="connsiteY5283" fmla="*/ 4331220 h 5818346"/>
              <a:gd name="connsiteX5284" fmla="*/ 464653 w 3503192"/>
              <a:gd name="connsiteY5284" fmla="*/ 4320978 h 5818346"/>
              <a:gd name="connsiteX5285" fmla="*/ 475391 w 3503192"/>
              <a:gd name="connsiteY5285" fmla="*/ 4331715 h 5818346"/>
              <a:gd name="connsiteX5286" fmla="*/ 464653 w 3503192"/>
              <a:gd name="connsiteY5286" fmla="*/ 4342453 h 5818346"/>
              <a:gd name="connsiteX5287" fmla="*/ 453916 w 3503192"/>
              <a:gd name="connsiteY5287" fmla="*/ 4331715 h 5818346"/>
              <a:gd name="connsiteX5288" fmla="*/ 464653 w 3503192"/>
              <a:gd name="connsiteY5288" fmla="*/ 4320978 h 5818346"/>
              <a:gd name="connsiteX5289" fmla="*/ 535846 w 3503192"/>
              <a:gd name="connsiteY5289" fmla="*/ 4319492 h 5818346"/>
              <a:gd name="connsiteX5290" fmla="*/ 546583 w 3503192"/>
              <a:gd name="connsiteY5290" fmla="*/ 4330228 h 5818346"/>
              <a:gd name="connsiteX5291" fmla="*/ 535846 w 3503192"/>
              <a:gd name="connsiteY5291" fmla="*/ 4340966 h 5818346"/>
              <a:gd name="connsiteX5292" fmla="*/ 525110 w 3503192"/>
              <a:gd name="connsiteY5292" fmla="*/ 4330228 h 5818346"/>
              <a:gd name="connsiteX5293" fmla="*/ 535846 w 3503192"/>
              <a:gd name="connsiteY5293" fmla="*/ 4319492 h 5818346"/>
              <a:gd name="connsiteX5294" fmla="*/ 365711 w 3503192"/>
              <a:gd name="connsiteY5294" fmla="*/ 4316022 h 5818346"/>
              <a:gd name="connsiteX5295" fmla="*/ 366205 w 3503192"/>
              <a:gd name="connsiteY5295" fmla="*/ 4316518 h 5818346"/>
              <a:gd name="connsiteX5296" fmla="*/ 365711 w 3503192"/>
              <a:gd name="connsiteY5296" fmla="*/ 4317012 h 5818346"/>
              <a:gd name="connsiteX5297" fmla="*/ 365215 w 3503192"/>
              <a:gd name="connsiteY5297" fmla="*/ 4316518 h 5818346"/>
              <a:gd name="connsiteX5298" fmla="*/ 365711 w 3503192"/>
              <a:gd name="connsiteY5298" fmla="*/ 4316022 h 5818346"/>
              <a:gd name="connsiteX5299" fmla="*/ 2947164 w 3503192"/>
              <a:gd name="connsiteY5299" fmla="*/ 4312718 h 5818346"/>
              <a:gd name="connsiteX5300" fmla="*/ 2957902 w 3503192"/>
              <a:gd name="connsiteY5300" fmla="*/ 4323455 h 5818346"/>
              <a:gd name="connsiteX5301" fmla="*/ 2947164 w 3503192"/>
              <a:gd name="connsiteY5301" fmla="*/ 4334193 h 5818346"/>
              <a:gd name="connsiteX5302" fmla="*/ 2936428 w 3503192"/>
              <a:gd name="connsiteY5302" fmla="*/ 4323455 h 5818346"/>
              <a:gd name="connsiteX5303" fmla="*/ 2947164 w 3503192"/>
              <a:gd name="connsiteY5303" fmla="*/ 4312718 h 5818346"/>
              <a:gd name="connsiteX5304" fmla="*/ 2731107 w 3503192"/>
              <a:gd name="connsiteY5304" fmla="*/ 4310903 h 5818346"/>
              <a:gd name="connsiteX5305" fmla="*/ 2741845 w 3503192"/>
              <a:gd name="connsiteY5305" fmla="*/ 4321639 h 5818346"/>
              <a:gd name="connsiteX5306" fmla="*/ 2731107 w 3503192"/>
              <a:gd name="connsiteY5306" fmla="*/ 4332375 h 5818346"/>
              <a:gd name="connsiteX5307" fmla="*/ 2720370 w 3503192"/>
              <a:gd name="connsiteY5307" fmla="*/ 4321639 h 5818346"/>
              <a:gd name="connsiteX5308" fmla="*/ 2731107 w 3503192"/>
              <a:gd name="connsiteY5308" fmla="*/ 4310903 h 5818346"/>
              <a:gd name="connsiteX5309" fmla="*/ 1113652 w 3503192"/>
              <a:gd name="connsiteY5309" fmla="*/ 4310242 h 5818346"/>
              <a:gd name="connsiteX5310" fmla="*/ 1124390 w 3503192"/>
              <a:gd name="connsiteY5310" fmla="*/ 4320978 h 5818346"/>
              <a:gd name="connsiteX5311" fmla="*/ 1113652 w 3503192"/>
              <a:gd name="connsiteY5311" fmla="*/ 4331716 h 5818346"/>
              <a:gd name="connsiteX5312" fmla="*/ 1102915 w 3503192"/>
              <a:gd name="connsiteY5312" fmla="*/ 4320978 h 5818346"/>
              <a:gd name="connsiteX5313" fmla="*/ 1113652 w 3503192"/>
              <a:gd name="connsiteY5313" fmla="*/ 4310242 h 5818346"/>
              <a:gd name="connsiteX5314" fmla="*/ 1537837 w 3503192"/>
              <a:gd name="connsiteY5314" fmla="*/ 4306774 h 5818346"/>
              <a:gd name="connsiteX5315" fmla="*/ 1548575 w 3503192"/>
              <a:gd name="connsiteY5315" fmla="*/ 4317510 h 5818346"/>
              <a:gd name="connsiteX5316" fmla="*/ 1537837 w 3503192"/>
              <a:gd name="connsiteY5316" fmla="*/ 4328246 h 5818346"/>
              <a:gd name="connsiteX5317" fmla="*/ 1527101 w 3503192"/>
              <a:gd name="connsiteY5317" fmla="*/ 4317510 h 5818346"/>
              <a:gd name="connsiteX5318" fmla="*/ 1537837 w 3503192"/>
              <a:gd name="connsiteY5318" fmla="*/ 4306774 h 5818346"/>
              <a:gd name="connsiteX5319" fmla="*/ 3162229 w 3503192"/>
              <a:gd name="connsiteY5319" fmla="*/ 4306607 h 5818346"/>
              <a:gd name="connsiteX5320" fmla="*/ 3172967 w 3503192"/>
              <a:gd name="connsiteY5320" fmla="*/ 4317343 h 5818346"/>
              <a:gd name="connsiteX5321" fmla="*/ 3162229 w 3503192"/>
              <a:gd name="connsiteY5321" fmla="*/ 4328081 h 5818346"/>
              <a:gd name="connsiteX5322" fmla="*/ 3151493 w 3503192"/>
              <a:gd name="connsiteY5322" fmla="*/ 4317343 h 5818346"/>
              <a:gd name="connsiteX5323" fmla="*/ 3162229 w 3503192"/>
              <a:gd name="connsiteY5323" fmla="*/ 4306607 h 5818346"/>
              <a:gd name="connsiteX5324" fmla="*/ 476052 w 3503192"/>
              <a:gd name="connsiteY5324" fmla="*/ 4302148 h 5818346"/>
              <a:gd name="connsiteX5325" fmla="*/ 486788 w 3503192"/>
              <a:gd name="connsiteY5325" fmla="*/ 4312885 h 5818346"/>
              <a:gd name="connsiteX5326" fmla="*/ 476052 w 3503192"/>
              <a:gd name="connsiteY5326" fmla="*/ 4323621 h 5818346"/>
              <a:gd name="connsiteX5327" fmla="*/ 465315 w 3503192"/>
              <a:gd name="connsiteY5327" fmla="*/ 4312885 h 5818346"/>
              <a:gd name="connsiteX5328" fmla="*/ 476052 w 3503192"/>
              <a:gd name="connsiteY5328" fmla="*/ 4302148 h 5818346"/>
              <a:gd name="connsiteX5329" fmla="*/ 2517857 w 3503192"/>
              <a:gd name="connsiteY5329" fmla="*/ 4301156 h 5818346"/>
              <a:gd name="connsiteX5330" fmla="*/ 2528596 w 3503192"/>
              <a:gd name="connsiteY5330" fmla="*/ 4311893 h 5818346"/>
              <a:gd name="connsiteX5331" fmla="*/ 2517857 w 3503192"/>
              <a:gd name="connsiteY5331" fmla="*/ 4322629 h 5818346"/>
              <a:gd name="connsiteX5332" fmla="*/ 2507121 w 3503192"/>
              <a:gd name="connsiteY5332" fmla="*/ 4311893 h 5818346"/>
              <a:gd name="connsiteX5333" fmla="*/ 2517857 w 3503192"/>
              <a:gd name="connsiteY5333" fmla="*/ 4301156 h 5818346"/>
              <a:gd name="connsiteX5334" fmla="*/ 669974 w 3503192"/>
              <a:gd name="connsiteY5334" fmla="*/ 4294384 h 5818346"/>
              <a:gd name="connsiteX5335" fmla="*/ 680710 w 3503192"/>
              <a:gd name="connsiteY5335" fmla="*/ 4305121 h 5818346"/>
              <a:gd name="connsiteX5336" fmla="*/ 669974 w 3503192"/>
              <a:gd name="connsiteY5336" fmla="*/ 4315857 h 5818346"/>
              <a:gd name="connsiteX5337" fmla="*/ 659237 w 3503192"/>
              <a:gd name="connsiteY5337" fmla="*/ 4305121 h 5818346"/>
              <a:gd name="connsiteX5338" fmla="*/ 669974 w 3503192"/>
              <a:gd name="connsiteY5338" fmla="*/ 4294384 h 5818346"/>
              <a:gd name="connsiteX5339" fmla="*/ 3372836 w 3503192"/>
              <a:gd name="connsiteY5339" fmla="*/ 4292898 h 5818346"/>
              <a:gd name="connsiteX5340" fmla="*/ 3383574 w 3503192"/>
              <a:gd name="connsiteY5340" fmla="*/ 4303635 h 5818346"/>
              <a:gd name="connsiteX5341" fmla="*/ 3372836 w 3503192"/>
              <a:gd name="connsiteY5341" fmla="*/ 4314371 h 5818346"/>
              <a:gd name="connsiteX5342" fmla="*/ 3362100 w 3503192"/>
              <a:gd name="connsiteY5342" fmla="*/ 4303635 h 5818346"/>
              <a:gd name="connsiteX5343" fmla="*/ 3372836 w 3503192"/>
              <a:gd name="connsiteY5343" fmla="*/ 4292898 h 5818346"/>
              <a:gd name="connsiteX5344" fmla="*/ 566404 w 3503192"/>
              <a:gd name="connsiteY5344" fmla="*/ 4289924 h 5818346"/>
              <a:gd name="connsiteX5345" fmla="*/ 577141 w 3503192"/>
              <a:gd name="connsiteY5345" fmla="*/ 4300660 h 5818346"/>
              <a:gd name="connsiteX5346" fmla="*/ 566404 w 3503192"/>
              <a:gd name="connsiteY5346" fmla="*/ 4311397 h 5818346"/>
              <a:gd name="connsiteX5347" fmla="*/ 555668 w 3503192"/>
              <a:gd name="connsiteY5347" fmla="*/ 4300660 h 5818346"/>
              <a:gd name="connsiteX5348" fmla="*/ 566404 w 3503192"/>
              <a:gd name="connsiteY5348" fmla="*/ 4289924 h 5818346"/>
              <a:gd name="connsiteX5349" fmla="*/ 812690 w 3503192"/>
              <a:gd name="connsiteY5349" fmla="*/ 4288767 h 5818346"/>
              <a:gd name="connsiteX5350" fmla="*/ 823427 w 3503192"/>
              <a:gd name="connsiteY5350" fmla="*/ 4299504 h 5818346"/>
              <a:gd name="connsiteX5351" fmla="*/ 812690 w 3503192"/>
              <a:gd name="connsiteY5351" fmla="*/ 4310240 h 5818346"/>
              <a:gd name="connsiteX5352" fmla="*/ 801954 w 3503192"/>
              <a:gd name="connsiteY5352" fmla="*/ 4299504 h 5818346"/>
              <a:gd name="connsiteX5353" fmla="*/ 812690 w 3503192"/>
              <a:gd name="connsiteY5353" fmla="*/ 4288767 h 5818346"/>
              <a:gd name="connsiteX5354" fmla="*/ 2310390 w 3503192"/>
              <a:gd name="connsiteY5354" fmla="*/ 4284307 h 5818346"/>
              <a:gd name="connsiteX5355" fmla="*/ 2321128 w 3503192"/>
              <a:gd name="connsiteY5355" fmla="*/ 4295043 h 5818346"/>
              <a:gd name="connsiteX5356" fmla="*/ 2310390 w 3503192"/>
              <a:gd name="connsiteY5356" fmla="*/ 4305782 h 5818346"/>
              <a:gd name="connsiteX5357" fmla="*/ 2299653 w 3503192"/>
              <a:gd name="connsiteY5357" fmla="*/ 4295043 h 5818346"/>
              <a:gd name="connsiteX5358" fmla="*/ 2310390 w 3503192"/>
              <a:gd name="connsiteY5358" fmla="*/ 4284307 h 5818346"/>
              <a:gd name="connsiteX5359" fmla="*/ 434259 w 3503192"/>
              <a:gd name="connsiteY5359" fmla="*/ 4282656 h 5818346"/>
              <a:gd name="connsiteX5360" fmla="*/ 444998 w 3503192"/>
              <a:gd name="connsiteY5360" fmla="*/ 4293393 h 5818346"/>
              <a:gd name="connsiteX5361" fmla="*/ 434591 w 3503192"/>
              <a:gd name="connsiteY5361" fmla="*/ 4303798 h 5818346"/>
              <a:gd name="connsiteX5362" fmla="*/ 440372 w 3503192"/>
              <a:gd name="connsiteY5362" fmla="*/ 4309579 h 5818346"/>
              <a:gd name="connsiteX5363" fmla="*/ 432114 w 3503192"/>
              <a:gd name="connsiteY5363" fmla="*/ 4317839 h 5818346"/>
              <a:gd name="connsiteX5364" fmla="*/ 437730 w 3503192"/>
              <a:gd name="connsiteY5364" fmla="*/ 4323455 h 5818346"/>
              <a:gd name="connsiteX5365" fmla="*/ 430626 w 3503192"/>
              <a:gd name="connsiteY5365" fmla="*/ 4330560 h 5818346"/>
              <a:gd name="connsiteX5366" fmla="*/ 435583 w 3503192"/>
              <a:gd name="connsiteY5366" fmla="*/ 4335514 h 5818346"/>
              <a:gd name="connsiteX5367" fmla="*/ 428563 w 3503192"/>
              <a:gd name="connsiteY5367" fmla="*/ 4342534 h 5818346"/>
              <a:gd name="connsiteX5368" fmla="*/ 433104 w 3503192"/>
              <a:gd name="connsiteY5368" fmla="*/ 4347076 h 5818346"/>
              <a:gd name="connsiteX5369" fmla="*/ 425422 w 3503192"/>
              <a:gd name="connsiteY5369" fmla="*/ 4354758 h 5818346"/>
              <a:gd name="connsiteX5370" fmla="*/ 429140 w 3503192"/>
              <a:gd name="connsiteY5370" fmla="*/ 4358475 h 5818346"/>
              <a:gd name="connsiteX5371" fmla="*/ 420220 w 3503192"/>
              <a:gd name="connsiteY5371" fmla="*/ 4367395 h 5818346"/>
              <a:gd name="connsiteX5372" fmla="*/ 423194 w 3503192"/>
              <a:gd name="connsiteY5372" fmla="*/ 4370368 h 5818346"/>
              <a:gd name="connsiteX5373" fmla="*/ 412456 w 3503192"/>
              <a:gd name="connsiteY5373" fmla="*/ 4381104 h 5818346"/>
              <a:gd name="connsiteX5374" fmla="*/ 401719 w 3503192"/>
              <a:gd name="connsiteY5374" fmla="*/ 4370368 h 5818346"/>
              <a:gd name="connsiteX5375" fmla="*/ 410640 w 3503192"/>
              <a:gd name="connsiteY5375" fmla="*/ 4361447 h 5818346"/>
              <a:gd name="connsiteX5376" fmla="*/ 407667 w 3503192"/>
              <a:gd name="connsiteY5376" fmla="*/ 4358475 h 5818346"/>
              <a:gd name="connsiteX5377" fmla="*/ 415348 w 3503192"/>
              <a:gd name="connsiteY5377" fmla="*/ 4350794 h 5818346"/>
              <a:gd name="connsiteX5378" fmla="*/ 411632 w 3503192"/>
              <a:gd name="connsiteY5378" fmla="*/ 4347076 h 5818346"/>
              <a:gd name="connsiteX5379" fmla="*/ 418650 w 3503192"/>
              <a:gd name="connsiteY5379" fmla="*/ 4340058 h 5818346"/>
              <a:gd name="connsiteX5380" fmla="*/ 414108 w 3503192"/>
              <a:gd name="connsiteY5380" fmla="*/ 4335514 h 5818346"/>
              <a:gd name="connsiteX5381" fmla="*/ 421211 w 3503192"/>
              <a:gd name="connsiteY5381" fmla="*/ 4328411 h 5818346"/>
              <a:gd name="connsiteX5382" fmla="*/ 416257 w 3503192"/>
              <a:gd name="connsiteY5382" fmla="*/ 4323455 h 5818346"/>
              <a:gd name="connsiteX5383" fmla="*/ 424515 w 3503192"/>
              <a:gd name="connsiteY5383" fmla="*/ 4315196 h 5818346"/>
              <a:gd name="connsiteX5384" fmla="*/ 418900 w 3503192"/>
              <a:gd name="connsiteY5384" fmla="*/ 4309579 h 5818346"/>
              <a:gd name="connsiteX5385" fmla="*/ 429305 w 3503192"/>
              <a:gd name="connsiteY5385" fmla="*/ 4299174 h 5818346"/>
              <a:gd name="connsiteX5386" fmla="*/ 423523 w 3503192"/>
              <a:gd name="connsiteY5386" fmla="*/ 4293393 h 5818346"/>
              <a:gd name="connsiteX5387" fmla="*/ 434259 w 3503192"/>
              <a:gd name="connsiteY5387" fmla="*/ 4282656 h 5818346"/>
              <a:gd name="connsiteX5388" fmla="*/ 493066 w 3503192"/>
              <a:gd name="connsiteY5388" fmla="*/ 4278527 h 5818346"/>
              <a:gd name="connsiteX5389" fmla="*/ 503802 w 3503192"/>
              <a:gd name="connsiteY5389" fmla="*/ 4289263 h 5818346"/>
              <a:gd name="connsiteX5390" fmla="*/ 493066 w 3503192"/>
              <a:gd name="connsiteY5390" fmla="*/ 4300000 h 5818346"/>
              <a:gd name="connsiteX5391" fmla="*/ 482329 w 3503192"/>
              <a:gd name="connsiteY5391" fmla="*/ 4289263 h 5818346"/>
              <a:gd name="connsiteX5392" fmla="*/ 493066 w 3503192"/>
              <a:gd name="connsiteY5392" fmla="*/ 4278527 h 5818346"/>
              <a:gd name="connsiteX5393" fmla="*/ 1391650 w 3503192"/>
              <a:gd name="connsiteY5393" fmla="*/ 4269606 h 5818346"/>
              <a:gd name="connsiteX5394" fmla="*/ 1402388 w 3503192"/>
              <a:gd name="connsiteY5394" fmla="*/ 4280343 h 5818346"/>
              <a:gd name="connsiteX5395" fmla="*/ 1391650 w 3503192"/>
              <a:gd name="connsiteY5395" fmla="*/ 4291079 h 5818346"/>
              <a:gd name="connsiteX5396" fmla="*/ 1380914 w 3503192"/>
              <a:gd name="connsiteY5396" fmla="*/ 4280343 h 5818346"/>
              <a:gd name="connsiteX5397" fmla="*/ 1391650 w 3503192"/>
              <a:gd name="connsiteY5397" fmla="*/ 4269606 h 5818346"/>
              <a:gd name="connsiteX5398" fmla="*/ 1004465 w 3503192"/>
              <a:gd name="connsiteY5398" fmla="*/ 4269112 h 5818346"/>
              <a:gd name="connsiteX5399" fmla="*/ 1015202 w 3503192"/>
              <a:gd name="connsiteY5399" fmla="*/ 4279849 h 5818346"/>
              <a:gd name="connsiteX5400" fmla="*/ 1004465 w 3503192"/>
              <a:gd name="connsiteY5400" fmla="*/ 4290585 h 5818346"/>
              <a:gd name="connsiteX5401" fmla="*/ 993729 w 3503192"/>
              <a:gd name="connsiteY5401" fmla="*/ 4279849 h 5818346"/>
              <a:gd name="connsiteX5402" fmla="*/ 1004465 w 3503192"/>
              <a:gd name="connsiteY5402" fmla="*/ 4269112 h 5818346"/>
              <a:gd name="connsiteX5403" fmla="*/ 351175 w 3503192"/>
              <a:gd name="connsiteY5403" fmla="*/ 4264321 h 5818346"/>
              <a:gd name="connsiteX5404" fmla="*/ 361085 w 3503192"/>
              <a:gd name="connsiteY5404" fmla="*/ 4274231 h 5818346"/>
              <a:gd name="connsiteX5405" fmla="*/ 351175 w 3503192"/>
              <a:gd name="connsiteY5405" fmla="*/ 4284142 h 5818346"/>
              <a:gd name="connsiteX5406" fmla="*/ 341264 w 3503192"/>
              <a:gd name="connsiteY5406" fmla="*/ 4274231 h 5818346"/>
              <a:gd name="connsiteX5407" fmla="*/ 351175 w 3503192"/>
              <a:gd name="connsiteY5407" fmla="*/ 4264321 h 5818346"/>
              <a:gd name="connsiteX5408" fmla="*/ 442023 w 3503192"/>
              <a:gd name="connsiteY5408" fmla="*/ 4262999 h 5818346"/>
              <a:gd name="connsiteX5409" fmla="*/ 452760 w 3503192"/>
              <a:gd name="connsiteY5409" fmla="*/ 4273736 h 5818346"/>
              <a:gd name="connsiteX5410" fmla="*/ 442023 w 3503192"/>
              <a:gd name="connsiteY5410" fmla="*/ 4284472 h 5818346"/>
              <a:gd name="connsiteX5411" fmla="*/ 431287 w 3503192"/>
              <a:gd name="connsiteY5411" fmla="*/ 4273736 h 5818346"/>
              <a:gd name="connsiteX5412" fmla="*/ 442023 w 3503192"/>
              <a:gd name="connsiteY5412" fmla="*/ 4262999 h 5818346"/>
              <a:gd name="connsiteX5413" fmla="*/ 2111511 w 3503192"/>
              <a:gd name="connsiteY5413" fmla="*/ 4261513 h 5818346"/>
              <a:gd name="connsiteX5414" fmla="*/ 2122248 w 3503192"/>
              <a:gd name="connsiteY5414" fmla="*/ 4272249 h 5818346"/>
              <a:gd name="connsiteX5415" fmla="*/ 2111511 w 3503192"/>
              <a:gd name="connsiteY5415" fmla="*/ 4282986 h 5818346"/>
              <a:gd name="connsiteX5416" fmla="*/ 2100775 w 3503192"/>
              <a:gd name="connsiteY5416" fmla="*/ 4272249 h 5818346"/>
              <a:gd name="connsiteX5417" fmla="*/ 2111511 w 3503192"/>
              <a:gd name="connsiteY5417" fmla="*/ 4261513 h 5818346"/>
              <a:gd name="connsiteX5418" fmla="*/ 607701 w 3503192"/>
              <a:gd name="connsiteY5418" fmla="*/ 4252428 h 5818346"/>
              <a:gd name="connsiteX5419" fmla="*/ 618437 w 3503192"/>
              <a:gd name="connsiteY5419" fmla="*/ 4263164 h 5818346"/>
              <a:gd name="connsiteX5420" fmla="*/ 607701 w 3503192"/>
              <a:gd name="connsiteY5420" fmla="*/ 4273902 h 5818346"/>
              <a:gd name="connsiteX5421" fmla="*/ 596964 w 3503192"/>
              <a:gd name="connsiteY5421" fmla="*/ 4263164 h 5818346"/>
              <a:gd name="connsiteX5422" fmla="*/ 607701 w 3503192"/>
              <a:gd name="connsiteY5422" fmla="*/ 4252428 h 5818346"/>
              <a:gd name="connsiteX5423" fmla="*/ 517513 w 3503192"/>
              <a:gd name="connsiteY5423" fmla="*/ 4248794 h 5818346"/>
              <a:gd name="connsiteX5424" fmla="*/ 528249 w 3503192"/>
              <a:gd name="connsiteY5424" fmla="*/ 4259531 h 5818346"/>
              <a:gd name="connsiteX5425" fmla="*/ 517513 w 3503192"/>
              <a:gd name="connsiteY5425" fmla="*/ 4270269 h 5818346"/>
              <a:gd name="connsiteX5426" fmla="*/ 506776 w 3503192"/>
              <a:gd name="connsiteY5426" fmla="*/ 4259531 h 5818346"/>
              <a:gd name="connsiteX5427" fmla="*/ 517513 w 3503192"/>
              <a:gd name="connsiteY5427" fmla="*/ 4248794 h 5818346"/>
              <a:gd name="connsiteX5428" fmla="*/ 329371 w 3503192"/>
              <a:gd name="connsiteY5428" fmla="*/ 4248298 h 5818346"/>
              <a:gd name="connsiteX5429" fmla="*/ 329865 w 3503192"/>
              <a:gd name="connsiteY5429" fmla="*/ 4248794 h 5818346"/>
              <a:gd name="connsiteX5430" fmla="*/ 329371 w 3503192"/>
              <a:gd name="connsiteY5430" fmla="*/ 4249289 h 5818346"/>
              <a:gd name="connsiteX5431" fmla="*/ 328875 w 3503192"/>
              <a:gd name="connsiteY5431" fmla="*/ 4248794 h 5818346"/>
              <a:gd name="connsiteX5432" fmla="*/ 329371 w 3503192"/>
              <a:gd name="connsiteY5432" fmla="*/ 4248298 h 5818346"/>
              <a:gd name="connsiteX5433" fmla="*/ 733568 w 3503192"/>
              <a:gd name="connsiteY5433" fmla="*/ 4246812 h 5818346"/>
              <a:gd name="connsiteX5434" fmla="*/ 744306 w 3503192"/>
              <a:gd name="connsiteY5434" fmla="*/ 4257549 h 5818346"/>
              <a:gd name="connsiteX5435" fmla="*/ 733568 w 3503192"/>
              <a:gd name="connsiteY5435" fmla="*/ 4268287 h 5818346"/>
              <a:gd name="connsiteX5436" fmla="*/ 722832 w 3503192"/>
              <a:gd name="connsiteY5436" fmla="*/ 4257549 h 5818346"/>
              <a:gd name="connsiteX5437" fmla="*/ 733568 w 3503192"/>
              <a:gd name="connsiteY5437" fmla="*/ 4246812 h 5818346"/>
              <a:gd name="connsiteX5438" fmla="*/ 406509 w 3503192"/>
              <a:gd name="connsiteY5438" fmla="*/ 4245820 h 5818346"/>
              <a:gd name="connsiteX5439" fmla="*/ 417247 w 3503192"/>
              <a:gd name="connsiteY5439" fmla="*/ 4256557 h 5818346"/>
              <a:gd name="connsiteX5440" fmla="*/ 407418 w 3503192"/>
              <a:gd name="connsiteY5440" fmla="*/ 4266384 h 5818346"/>
              <a:gd name="connsiteX5441" fmla="*/ 414935 w 3503192"/>
              <a:gd name="connsiteY5441" fmla="*/ 4273900 h 5818346"/>
              <a:gd name="connsiteX5442" fmla="*/ 406840 w 3503192"/>
              <a:gd name="connsiteY5442" fmla="*/ 4281995 h 5818346"/>
              <a:gd name="connsiteX5443" fmla="*/ 413777 w 3503192"/>
              <a:gd name="connsiteY5443" fmla="*/ 4288932 h 5818346"/>
              <a:gd name="connsiteX5444" fmla="*/ 406180 w 3503192"/>
              <a:gd name="connsiteY5444" fmla="*/ 4296531 h 5818346"/>
              <a:gd name="connsiteX5445" fmla="*/ 412456 w 3503192"/>
              <a:gd name="connsiteY5445" fmla="*/ 4302807 h 5818346"/>
              <a:gd name="connsiteX5446" fmla="*/ 404858 w 3503192"/>
              <a:gd name="connsiteY5446" fmla="*/ 4310407 h 5818346"/>
              <a:gd name="connsiteX5447" fmla="*/ 410309 w 3503192"/>
              <a:gd name="connsiteY5447" fmla="*/ 4315857 h 5818346"/>
              <a:gd name="connsiteX5448" fmla="*/ 401719 w 3503192"/>
              <a:gd name="connsiteY5448" fmla="*/ 4324447 h 5818346"/>
              <a:gd name="connsiteX5449" fmla="*/ 406346 w 3503192"/>
              <a:gd name="connsiteY5449" fmla="*/ 4329072 h 5818346"/>
              <a:gd name="connsiteX5450" fmla="*/ 395773 w 3503192"/>
              <a:gd name="connsiteY5450" fmla="*/ 4339643 h 5818346"/>
              <a:gd name="connsiteX5451" fmla="*/ 398747 w 3503192"/>
              <a:gd name="connsiteY5451" fmla="*/ 4342617 h 5818346"/>
              <a:gd name="connsiteX5452" fmla="*/ 389001 w 3503192"/>
              <a:gd name="connsiteY5452" fmla="*/ 4352364 h 5818346"/>
              <a:gd name="connsiteX5453" fmla="*/ 379255 w 3503192"/>
              <a:gd name="connsiteY5453" fmla="*/ 4342617 h 5818346"/>
              <a:gd name="connsiteX5454" fmla="*/ 388836 w 3503192"/>
              <a:gd name="connsiteY5454" fmla="*/ 4333036 h 5818346"/>
              <a:gd name="connsiteX5455" fmla="*/ 384872 w 3503192"/>
              <a:gd name="connsiteY5455" fmla="*/ 4329072 h 5818346"/>
              <a:gd name="connsiteX5456" fmla="*/ 393461 w 3503192"/>
              <a:gd name="connsiteY5456" fmla="*/ 4320482 h 5818346"/>
              <a:gd name="connsiteX5457" fmla="*/ 388836 w 3503192"/>
              <a:gd name="connsiteY5457" fmla="*/ 4315857 h 5818346"/>
              <a:gd name="connsiteX5458" fmla="*/ 396433 w 3503192"/>
              <a:gd name="connsiteY5458" fmla="*/ 4308260 h 5818346"/>
              <a:gd name="connsiteX5459" fmla="*/ 390983 w 3503192"/>
              <a:gd name="connsiteY5459" fmla="*/ 4302807 h 5818346"/>
              <a:gd name="connsiteX5460" fmla="*/ 398580 w 3503192"/>
              <a:gd name="connsiteY5460" fmla="*/ 4295210 h 5818346"/>
              <a:gd name="connsiteX5461" fmla="*/ 392304 w 3503192"/>
              <a:gd name="connsiteY5461" fmla="*/ 4288932 h 5818346"/>
              <a:gd name="connsiteX5462" fmla="*/ 400398 w 3503192"/>
              <a:gd name="connsiteY5462" fmla="*/ 4280839 h 5818346"/>
              <a:gd name="connsiteX5463" fmla="*/ 393461 w 3503192"/>
              <a:gd name="connsiteY5463" fmla="*/ 4273900 h 5818346"/>
              <a:gd name="connsiteX5464" fmla="*/ 403289 w 3503192"/>
              <a:gd name="connsiteY5464" fmla="*/ 4264073 h 5818346"/>
              <a:gd name="connsiteX5465" fmla="*/ 395773 w 3503192"/>
              <a:gd name="connsiteY5465" fmla="*/ 4256557 h 5818346"/>
              <a:gd name="connsiteX5466" fmla="*/ 406509 w 3503192"/>
              <a:gd name="connsiteY5466" fmla="*/ 4245820 h 5818346"/>
              <a:gd name="connsiteX5467" fmla="*/ 454577 w 3503192"/>
              <a:gd name="connsiteY5467" fmla="*/ 4238719 h 5818346"/>
              <a:gd name="connsiteX5468" fmla="*/ 465314 w 3503192"/>
              <a:gd name="connsiteY5468" fmla="*/ 4249455 h 5818346"/>
              <a:gd name="connsiteX5469" fmla="*/ 454577 w 3503192"/>
              <a:gd name="connsiteY5469" fmla="*/ 4260192 h 5818346"/>
              <a:gd name="connsiteX5470" fmla="*/ 443841 w 3503192"/>
              <a:gd name="connsiteY5470" fmla="*/ 4249455 h 5818346"/>
              <a:gd name="connsiteX5471" fmla="*/ 454577 w 3503192"/>
              <a:gd name="connsiteY5471" fmla="*/ 4238719 h 5818346"/>
              <a:gd name="connsiteX5472" fmla="*/ 1922875 w 3503192"/>
              <a:gd name="connsiteY5472" fmla="*/ 4233927 h 5818346"/>
              <a:gd name="connsiteX5473" fmla="*/ 1933612 w 3503192"/>
              <a:gd name="connsiteY5473" fmla="*/ 4244664 h 5818346"/>
              <a:gd name="connsiteX5474" fmla="*/ 1922875 w 3503192"/>
              <a:gd name="connsiteY5474" fmla="*/ 4255400 h 5818346"/>
              <a:gd name="connsiteX5475" fmla="*/ 1912139 w 3503192"/>
              <a:gd name="connsiteY5475" fmla="*/ 4244664 h 5818346"/>
              <a:gd name="connsiteX5476" fmla="*/ 1922875 w 3503192"/>
              <a:gd name="connsiteY5476" fmla="*/ 4233927 h 5818346"/>
              <a:gd name="connsiteX5477" fmla="*/ 1256368 w 3503192"/>
              <a:gd name="connsiteY5477" fmla="*/ 4231284 h 5818346"/>
              <a:gd name="connsiteX5478" fmla="*/ 1267104 w 3503192"/>
              <a:gd name="connsiteY5478" fmla="*/ 4242021 h 5818346"/>
              <a:gd name="connsiteX5479" fmla="*/ 1256368 w 3503192"/>
              <a:gd name="connsiteY5479" fmla="*/ 4252759 h 5818346"/>
              <a:gd name="connsiteX5480" fmla="*/ 1245632 w 3503192"/>
              <a:gd name="connsiteY5480" fmla="*/ 4242021 h 5818346"/>
              <a:gd name="connsiteX5481" fmla="*/ 1256368 w 3503192"/>
              <a:gd name="connsiteY5481" fmla="*/ 4231284 h 5818346"/>
              <a:gd name="connsiteX5482" fmla="*/ 904696 w 3503192"/>
              <a:gd name="connsiteY5482" fmla="*/ 4228147 h 5818346"/>
              <a:gd name="connsiteX5483" fmla="*/ 915432 w 3503192"/>
              <a:gd name="connsiteY5483" fmla="*/ 4238884 h 5818346"/>
              <a:gd name="connsiteX5484" fmla="*/ 904696 w 3503192"/>
              <a:gd name="connsiteY5484" fmla="*/ 4249622 h 5818346"/>
              <a:gd name="connsiteX5485" fmla="*/ 893960 w 3503192"/>
              <a:gd name="connsiteY5485" fmla="*/ 4238884 h 5818346"/>
              <a:gd name="connsiteX5486" fmla="*/ 904696 w 3503192"/>
              <a:gd name="connsiteY5486" fmla="*/ 4228147 h 5818346"/>
              <a:gd name="connsiteX5487" fmla="*/ 411465 w 3503192"/>
              <a:gd name="connsiteY5487" fmla="*/ 4225173 h 5818346"/>
              <a:gd name="connsiteX5488" fmla="*/ 422202 w 3503192"/>
              <a:gd name="connsiteY5488" fmla="*/ 4235909 h 5818346"/>
              <a:gd name="connsiteX5489" fmla="*/ 411465 w 3503192"/>
              <a:gd name="connsiteY5489" fmla="*/ 4246646 h 5818346"/>
              <a:gd name="connsiteX5490" fmla="*/ 400729 w 3503192"/>
              <a:gd name="connsiteY5490" fmla="*/ 4235909 h 5818346"/>
              <a:gd name="connsiteX5491" fmla="*/ 411465 w 3503192"/>
              <a:gd name="connsiteY5491" fmla="*/ 4225173 h 5818346"/>
              <a:gd name="connsiteX5492" fmla="*/ 551539 w 3503192"/>
              <a:gd name="connsiteY5492" fmla="*/ 4211629 h 5818346"/>
              <a:gd name="connsiteX5493" fmla="*/ 562275 w 3503192"/>
              <a:gd name="connsiteY5493" fmla="*/ 4222365 h 5818346"/>
              <a:gd name="connsiteX5494" fmla="*/ 551539 w 3503192"/>
              <a:gd name="connsiteY5494" fmla="*/ 4233104 h 5818346"/>
              <a:gd name="connsiteX5495" fmla="*/ 540803 w 3503192"/>
              <a:gd name="connsiteY5495" fmla="*/ 4222365 h 5818346"/>
              <a:gd name="connsiteX5496" fmla="*/ 551539 w 3503192"/>
              <a:gd name="connsiteY5496" fmla="*/ 4211629 h 5818346"/>
              <a:gd name="connsiteX5497" fmla="*/ 381403 w 3503192"/>
              <a:gd name="connsiteY5497" fmla="*/ 4210141 h 5818346"/>
              <a:gd name="connsiteX5498" fmla="*/ 392140 w 3503192"/>
              <a:gd name="connsiteY5498" fmla="*/ 4220877 h 5818346"/>
              <a:gd name="connsiteX5499" fmla="*/ 382475 w 3503192"/>
              <a:gd name="connsiteY5499" fmla="*/ 4230544 h 5818346"/>
              <a:gd name="connsiteX5500" fmla="*/ 391479 w 3503192"/>
              <a:gd name="connsiteY5500" fmla="*/ 4239544 h 5818346"/>
              <a:gd name="connsiteX5501" fmla="*/ 383136 w 3503192"/>
              <a:gd name="connsiteY5501" fmla="*/ 4247886 h 5818346"/>
              <a:gd name="connsiteX5502" fmla="*/ 391314 w 3503192"/>
              <a:gd name="connsiteY5502" fmla="*/ 4256062 h 5818346"/>
              <a:gd name="connsiteX5503" fmla="*/ 383384 w 3503192"/>
              <a:gd name="connsiteY5503" fmla="*/ 4263991 h 5818346"/>
              <a:gd name="connsiteX5504" fmla="*/ 390652 w 3503192"/>
              <a:gd name="connsiteY5504" fmla="*/ 4271259 h 5818346"/>
              <a:gd name="connsiteX5505" fmla="*/ 382064 w 3503192"/>
              <a:gd name="connsiteY5505" fmla="*/ 4279849 h 5818346"/>
              <a:gd name="connsiteX5506" fmla="*/ 388342 w 3503192"/>
              <a:gd name="connsiteY5506" fmla="*/ 4286125 h 5818346"/>
              <a:gd name="connsiteX5507" fmla="*/ 378675 w 3503192"/>
              <a:gd name="connsiteY5507" fmla="*/ 4295789 h 5818346"/>
              <a:gd name="connsiteX5508" fmla="*/ 383880 w 3503192"/>
              <a:gd name="connsiteY5508" fmla="*/ 4300992 h 5818346"/>
              <a:gd name="connsiteX5509" fmla="*/ 373143 w 3503192"/>
              <a:gd name="connsiteY5509" fmla="*/ 4311728 h 5818346"/>
              <a:gd name="connsiteX5510" fmla="*/ 362407 w 3503192"/>
              <a:gd name="connsiteY5510" fmla="*/ 4300992 h 5818346"/>
              <a:gd name="connsiteX5511" fmla="*/ 372070 w 3503192"/>
              <a:gd name="connsiteY5511" fmla="*/ 4291329 h 5818346"/>
              <a:gd name="connsiteX5512" fmla="*/ 366867 w 3503192"/>
              <a:gd name="connsiteY5512" fmla="*/ 4286125 h 5818346"/>
              <a:gd name="connsiteX5513" fmla="*/ 375455 w 3503192"/>
              <a:gd name="connsiteY5513" fmla="*/ 4277537 h 5818346"/>
              <a:gd name="connsiteX5514" fmla="*/ 369179 w 3503192"/>
              <a:gd name="connsiteY5514" fmla="*/ 4271259 h 5818346"/>
              <a:gd name="connsiteX5515" fmla="*/ 377108 w 3503192"/>
              <a:gd name="connsiteY5515" fmla="*/ 4263330 h 5818346"/>
              <a:gd name="connsiteX5516" fmla="*/ 369840 w 3503192"/>
              <a:gd name="connsiteY5516" fmla="*/ 4256062 h 5818346"/>
              <a:gd name="connsiteX5517" fmla="*/ 378181 w 3503192"/>
              <a:gd name="connsiteY5517" fmla="*/ 4247721 h 5818346"/>
              <a:gd name="connsiteX5518" fmla="*/ 370004 w 3503192"/>
              <a:gd name="connsiteY5518" fmla="*/ 4239544 h 5818346"/>
              <a:gd name="connsiteX5519" fmla="*/ 379667 w 3503192"/>
              <a:gd name="connsiteY5519" fmla="*/ 4229881 h 5818346"/>
              <a:gd name="connsiteX5520" fmla="*/ 370667 w 3503192"/>
              <a:gd name="connsiteY5520" fmla="*/ 4220877 h 5818346"/>
              <a:gd name="connsiteX5521" fmla="*/ 381403 w 3503192"/>
              <a:gd name="connsiteY5521" fmla="*/ 4210141 h 5818346"/>
              <a:gd name="connsiteX5522" fmla="*/ 473738 w 3503192"/>
              <a:gd name="connsiteY5522" fmla="*/ 4208820 h 5818346"/>
              <a:gd name="connsiteX5523" fmla="*/ 484475 w 3503192"/>
              <a:gd name="connsiteY5523" fmla="*/ 4219556 h 5818346"/>
              <a:gd name="connsiteX5524" fmla="*/ 473738 w 3503192"/>
              <a:gd name="connsiteY5524" fmla="*/ 4230294 h 5818346"/>
              <a:gd name="connsiteX5525" fmla="*/ 463002 w 3503192"/>
              <a:gd name="connsiteY5525" fmla="*/ 4219556 h 5818346"/>
              <a:gd name="connsiteX5526" fmla="*/ 473738 w 3503192"/>
              <a:gd name="connsiteY5526" fmla="*/ 4208820 h 5818346"/>
              <a:gd name="connsiteX5527" fmla="*/ 661880 w 3503192"/>
              <a:gd name="connsiteY5527" fmla="*/ 4205683 h 5818346"/>
              <a:gd name="connsiteX5528" fmla="*/ 672618 w 3503192"/>
              <a:gd name="connsiteY5528" fmla="*/ 4216419 h 5818346"/>
              <a:gd name="connsiteX5529" fmla="*/ 661880 w 3503192"/>
              <a:gd name="connsiteY5529" fmla="*/ 4227155 h 5818346"/>
              <a:gd name="connsiteX5530" fmla="*/ 651144 w 3503192"/>
              <a:gd name="connsiteY5530" fmla="*/ 4216419 h 5818346"/>
              <a:gd name="connsiteX5531" fmla="*/ 661880 w 3503192"/>
              <a:gd name="connsiteY5531" fmla="*/ 4205683 h 5818346"/>
              <a:gd name="connsiteX5532" fmla="*/ 1745634 w 3503192"/>
              <a:gd name="connsiteY5532" fmla="*/ 4203040 h 5818346"/>
              <a:gd name="connsiteX5533" fmla="*/ 1756372 w 3503192"/>
              <a:gd name="connsiteY5533" fmla="*/ 4213776 h 5818346"/>
              <a:gd name="connsiteX5534" fmla="*/ 1745634 w 3503192"/>
              <a:gd name="connsiteY5534" fmla="*/ 4224514 h 5818346"/>
              <a:gd name="connsiteX5535" fmla="*/ 1734898 w 3503192"/>
              <a:gd name="connsiteY5535" fmla="*/ 4213776 h 5818346"/>
              <a:gd name="connsiteX5536" fmla="*/ 1745634 w 3503192"/>
              <a:gd name="connsiteY5536" fmla="*/ 4203040 h 5818346"/>
              <a:gd name="connsiteX5537" fmla="*/ 420055 w 3503192"/>
              <a:gd name="connsiteY5537" fmla="*/ 4200395 h 5818346"/>
              <a:gd name="connsiteX5538" fmla="*/ 430791 w 3503192"/>
              <a:gd name="connsiteY5538" fmla="*/ 4211131 h 5818346"/>
              <a:gd name="connsiteX5539" fmla="*/ 420055 w 3503192"/>
              <a:gd name="connsiteY5539" fmla="*/ 4221869 h 5818346"/>
              <a:gd name="connsiteX5540" fmla="*/ 409318 w 3503192"/>
              <a:gd name="connsiteY5540" fmla="*/ 4211131 h 5818346"/>
              <a:gd name="connsiteX5541" fmla="*/ 420055 w 3503192"/>
              <a:gd name="connsiteY5541" fmla="*/ 4200395 h 5818346"/>
              <a:gd name="connsiteX5542" fmla="*/ 314999 w 3503192"/>
              <a:gd name="connsiteY5542" fmla="*/ 4195111 h 5818346"/>
              <a:gd name="connsiteX5543" fmla="*/ 324581 w 3503192"/>
              <a:gd name="connsiteY5543" fmla="*/ 4204691 h 5818346"/>
              <a:gd name="connsiteX5544" fmla="*/ 314999 w 3503192"/>
              <a:gd name="connsiteY5544" fmla="*/ 4214272 h 5818346"/>
              <a:gd name="connsiteX5545" fmla="*/ 305420 w 3503192"/>
              <a:gd name="connsiteY5545" fmla="*/ 4204691 h 5818346"/>
              <a:gd name="connsiteX5546" fmla="*/ 314999 w 3503192"/>
              <a:gd name="connsiteY5546" fmla="*/ 4195111 h 5818346"/>
              <a:gd name="connsiteX5547" fmla="*/ 1131820 w 3503192"/>
              <a:gd name="connsiteY5547" fmla="*/ 4192468 h 5818346"/>
              <a:gd name="connsiteX5548" fmla="*/ 1142557 w 3503192"/>
              <a:gd name="connsiteY5548" fmla="*/ 4203204 h 5818346"/>
              <a:gd name="connsiteX5549" fmla="*/ 1131820 w 3503192"/>
              <a:gd name="connsiteY5549" fmla="*/ 4213941 h 5818346"/>
              <a:gd name="connsiteX5550" fmla="*/ 1121084 w 3503192"/>
              <a:gd name="connsiteY5550" fmla="*/ 4203204 h 5818346"/>
              <a:gd name="connsiteX5551" fmla="*/ 1131820 w 3503192"/>
              <a:gd name="connsiteY5551" fmla="*/ 4192468 h 5818346"/>
              <a:gd name="connsiteX5552" fmla="*/ 383715 w 3503192"/>
              <a:gd name="connsiteY5552" fmla="*/ 4188668 h 5818346"/>
              <a:gd name="connsiteX5553" fmla="*/ 394451 w 3503192"/>
              <a:gd name="connsiteY5553" fmla="*/ 4199405 h 5818346"/>
              <a:gd name="connsiteX5554" fmla="*/ 383715 w 3503192"/>
              <a:gd name="connsiteY5554" fmla="*/ 4210141 h 5818346"/>
              <a:gd name="connsiteX5555" fmla="*/ 372979 w 3503192"/>
              <a:gd name="connsiteY5555" fmla="*/ 4199405 h 5818346"/>
              <a:gd name="connsiteX5556" fmla="*/ 383715 w 3503192"/>
              <a:gd name="connsiteY5556" fmla="*/ 4188668 h 5818346"/>
              <a:gd name="connsiteX5557" fmla="*/ 813847 w 3503192"/>
              <a:gd name="connsiteY5557" fmla="*/ 4187676 h 5818346"/>
              <a:gd name="connsiteX5558" fmla="*/ 824583 w 3503192"/>
              <a:gd name="connsiteY5558" fmla="*/ 4198413 h 5818346"/>
              <a:gd name="connsiteX5559" fmla="*/ 813847 w 3503192"/>
              <a:gd name="connsiteY5559" fmla="*/ 4209151 h 5818346"/>
              <a:gd name="connsiteX5560" fmla="*/ 803111 w 3503192"/>
              <a:gd name="connsiteY5560" fmla="*/ 4198413 h 5818346"/>
              <a:gd name="connsiteX5561" fmla="*/ 813847 w 3503192"/>
              <a:gd name="connsiteY5561" fmla="*/ 4187676 h 5818346"/>
              <a:gd name="connsiteX5562" fmla="*/ 294683 w 3503192"/>
              <a:gd name="connsiteY5562" fmla="*/ 4179914 h 5818346"/>
              <a:gd name="connsiteX5563" fmla="*/ 295013 w 3503192"/>
              <a:gd name="connsiteY5563" fmla="*/ 4180244 h 5818346"/>
              <a:gd name="connsiteX5564" fmla="*/ 294683 w 3503192"/>
              <a:gd name="connsiteY5564" fmla="*/ 4180575 h 5818346"/>
              <a:gd name="connsiteX5565" fmla="*/ 294352 w 3503192"/>
              <a:gd name="connsiteY5565" fmla="*/ 4180244 h 5818346"/>
              <a:gd name="connsiteX5566" fmla="*/ 294683 w 3503192"/>
              <a:gd name="connsiteY5566" fmla="*/ 4179914 h 5818346"/>
              <a:gd name="connsiteX5567" fmla="*/ 358278 w 3503192"/>
              <a:gd name="connsiteY5567" fmla="*/ 4176115 h 5818346"/>
              <a:gd name="connsiteX5568" fmla="*/ 369014 w 3503192"/>
              <a:gd name="connsiteY5568" fmla="*/ 4186851 h 5818346"/>
              <a:gd name="connsiteX5569" fmla="*/ 359516 w 3503192"/>
              <a:gd name="connsiteY5569" fmla="*/ 4196351 h 5818346"/>
              <a:gd name="connsiteX5570" fmla="*/ 369673 w 3503192"/>
              <a:gd name="connsiteY5570" fmla="*/ 4206508 h 5818346"/>
              <a:gd name="connsiteX5571" fmla="*/ 361002 w 3503192"/>
              <a:gd name="connsiteY5571" fmla="*/ 4215181 h 5818346"/>
              <a:gd name="connsiteX5572" fmla="*/ 370169 w 3503192"/>
              <a:gd name="connsiteY5572" fmla="*/ 4224348 h 5818346"/>
              <a:gd name="connsiteX5573" fmla="*/ 361498 w 3503192"/>
              <a:gd name="connsiteY5573" fmla="*/ 4233020 h 5818346"/>
              <a:gd name="connsiteX5574" fmla="*/ 369673 w 3503192"/>
              <a:gd name="connsiteY5574" fmla="*/ 4241195 h 5818346"/>
              <a:gd name="connsiteX5575" fmla="*/ 360258 w 3503192"/>
              <a:gd name="connsiteY5575" fmla="*/ 4250610 h 5818346"/>
              <a:gd name="connsiteX5576" fmla="*/ 367197 w 3503192"/>
              <a:gd name="connsiteY5576" fmla="*/ 4257549 h 5818346"/>
              <a:gd name="connsiteX5577" fmla="*/ 356460 w 3503192"/>
              <a:gd name="connsiteY5577" fmla="*/ 4268287 h 5818346"/>
              <a:gd name="connsiteX5578" fmla="*/ 345724 w 3503192"/>
              <a:gd name="connsiteY5578" fmla="*/ 4257549 h 5818346"/>
              <a:gd name="connsiteX5579" fmla="*/ 355139 w 3503192"/>
              <a:gd name="connsiteY5579" fmla="*/ 4248134 h 5818346"/>
              <a:gd name="connsiteX5580" fmla="*/ 348200 w 3503192"/>
              <a:gd name="connsiteY5580" fmla="*/ 4241195 h 5818346"/>
              <a:gd name="connsiteX5581" fmla="*/ 356871 w 3503192"/>
              <a:gd name="connsiteY5581" fmla="*/ 4232524 h 5818346"/>
              <a:gd name="connsiteX5582" fmla="*/ 348696 w 3503192"/>
              <a:gd name="connsiteY5582" fmla="*/ 4224348 h 5818346"/>
              <a:gd name="connsiteX5583" fmla="*/ 357367 w 3503192"/>
              <a:gd name="connsiteY5583" fmla="*/ 4215677 h 5818346"/>
              <a:gd name="connsiteX5584" fmla="*/ 348200 w 3503192"/>
              <a:gd name="connsiteY5584" fmla="*/ 4206508 h 5818346"/>
              <a:gd name="connsiteX5585" fmla="*/ 357699 w 3503192"/>
              <a:gd name="connsiteY5585" fmla="*/ 4197010 h 5818346"/>
              <a:gd name="connsiteX5586" fmla="*/ 347541 w 3503192"/>
              <a:gd name="connsiteY5586" fmla="*/ 4186851 h 5818346"/>
              <a:gd name="connsiteX5587" fmla="*/ 358278 w 3503192"/>
              <a:gd name="connsiteY5587" fmla="*/ 4176115 h 5818346"/>
              <a:gd name="connsiteX5588" fmla="*/ 501159 w 3503192"/>
              <a:gd name="connsiteY5588" fmla="*/ 4171819 h 5818346"/>
              <a:gd name="connsiteX5589" fmla="*/ 511896 w 3503192"/>
              <a:gd name="connsiteY5589" fmla="*/ 4182555 h 5818346"/>
              <a:gd name="connsiteX5590" fmla="*/ 501159 w 3503192"/>
              <a:gd name="connsiteY5590" fmla="*/ 4193293 h 5818346"/>
              <a:gd name="connsiteX5591" fmla="*/ 490423 w 3503192"/>
              <a:gd name="connsiteY5591" fmla="*/ 4182555 h 5818346"/>
              <a:gd name="connsiteX5592" fmla="*/ 501159 w 3503192"/>
              <a:gd name="connsiteY5592" fmla="*/ 4171819 h 5818346"/>
              <a:gd name="connsiteX5593" fmla="*/ 434426 w 3503192"/>
              <a:gd name="connsiteY5593" fmla="*/ 4170003 h 5818346"/>
              <a:gd name="connsiteX5594" fmla="*/ 445164 w 3503192"/>
              <a:gd name="connsiteY5594" fmla="*/ 4180740 h 5818346"/>
              <a:gd name="connsiteX5595" fmla="*/ 434426 w 3503192"/>
              <a:gd name="connsiteY5595" fmla="*/ 4191478 h 5818346"/>
              <a:gd name="connsiteX5596" fmla="*/ 423690 w 3503192"/>
              <a:gd name="connsiteY5596" fmla="*/ 4180740 h 5818346"/>
              <a:gd name="connsiteX5597" fmla="*/ 434426 w 3503192"/>
              <a:gd name="connsiteY5597" fmla="*/ 4170003 h 5818346"/>
              <a:gd name="connsiteX5598" fmla="*/ 1580288 w 3503192"/>
              <a:gd name="connsiteY5598" fmla="*/ 4169672 h 5818346"/>
              <a:gd name="connsiteX5599" fmla="*/ 1591026 w 3503192"/>
              <a:gd name="connsiteY5599" fmla="*/ 4180408 h 5818346"/>
              <a:gd name="connsiteX5600" fmla="*/ 1580288 w 3503192"/>
              <a:gd name="connsiteY5600" fmla="*/ 4191146 h 5818346"/>
              <a:gd name="connsiteX5601" fmla="*/ 1569552 w 3503192"/>
              <a:gd name="connsiteY5601" fmla="*/ 4180408 h 5818346"/>
              <a:gd name="connsiteX5602" fmla="*/ 1580288 w 3503192"/>
              <a:gd name="connsiteY5602" fmla="*/ 4169672 h 5818346"/>
              <a:gd name="connsiteX5603" fmla="*/ 597129 w 3503192"/>
              <a:gd name="connsiteY5603" fmla="*/ 4165378 h 5818346"/>
              <a:gd name="connsiteX5604" fmla="*/ 607865 w 3503192"/>
              <a:gd name="connsiteY5604" fmla="*/ 4176115 h 5818346"/>
              <a:gd name="connsiteX5605" fmla="*/ 597129 w 3503192"/>
              <a:gd name="connsiteY5605" fmla="*/ 4186853 h 5818346"/>
              <a:gd name="connsiteX5606" fmla="*/ 586393 w 3503192"/>
              <a:gd name="connsiteY5606" fmla="*/ 4176115 h 5818346"/>
              <a:gd name="connsiteX5607" fmla="*/ 597129 w 3503192"/>
              <a:gd name="connsiteY5607" fmla="*/ 4165378 h 5818346"/>
              <a:gd name="connsiteX5608" fmla="*/ 338621 w 3503192"/>
              <a:gd name="connsiteY5608" fmla="*/ 4164221 h 5818346"/>
              <a:gd name="connsiteX5609" fmla="*/ 349357 w 3503192"/>
              <a:gd name="connsiteY5609" fmla="*/ 4174958 h 5818346"/>
              <a:gd name="connsiteX5610" fmla="*/ 340190 w 3503192"/>
              <a:gd name="connsiteY5610" fmla="*/ 4184126 h 5818346"/>
              <a:gd name="connsiteX5611" fmla="*/ 350184 w 3503192"/>
              <a:gd name="connsiteY5611" fmla="*/ 4194119 h 5818346"/>
              <a:gd name="connsiteX5612" fmla="*/ 340684 w 3503192"/>
              <a:gd name="connsiteY5612" fmla="*/ 4203619 h 5818346"/>
              <a:gd name="connsiteX5613" fmla="*/ 349522 w 3503192"/>
              <a:gd name="connsiteY5613" fmla="*/ 4212455 h 5818346"/>
              <a:gd name="connsiteX5614" fmla="*/ 338950 w 3503192"/>
              <a:gd name="connsiteY5614" fmla="*/ 4223028 h 5818346"/>
              <a:gd name="connsiteX5615" fmla="*/ 346383 w 3503192"/>
              <a:gd name="connsiteY5615" fmla="*/ 4230459 h 5818346"/>
              <a:gd name="connsiteX5616" fmla="*/ 335647 w 3503192"/>
              <a:gd name="connsiteY5616" fmla="*/ 4241197 h 5818346"/>
              <a:gd name="connsiteX5617" fmla="*/ 324910 w 3503192"/>
              <a:gd name="connsiteY5617" fmla="*/ 4230459 h 5818346"/>
              <a:gd name="connsiteX5618" fmla="*/ 335480 w 3503192"/>
              <a:gd name="connsiteY5618" fmla="*/ 4219889 h 5818346"/>
              <a:gd name="connsiteX5619" fmla="*/ 328049 w 3503192"/>
              <a:gd name="connsiteY5619" fmla="*/ 4212455 h 5818346"/>
              <a:gd name="connsiteX5620" fmla="*/ 337546 w 3503192"/>
              <a:gd name="connsiteY5620" fmla="*/ 4202958 h 5818346"/>
              <a:gd name="connsiteX5621" fmla="*/ 328710 w 3503192"/>
              <a:gd name="connsiteY5621" fmla="*/ 4194119 h 5818346"/>
              <a:gd name="connsiteX5622" fmla="*/ 337877 w 3503192"/>
              <a:gd name="connsiteY5622" fmla="*/ 4184952 h 5818346"/>
              <a:gd name="connsiteX5623" fmla="*/ 327884 w 3503192"/>
              <a:gd name="connsiteY5623" fmla="*/ 4174958 h 5818346"/>
              <a:gd name="connsiteX5624" fmla="*/ 338621 w 3503192"/>
              <a:gd name="connsiteY5624" fmla="*/ 4164221 h 5818346"/>
              <a:gd name="connsiteX5625" fmla="*/ 389165 w 3503192"/>
              <a:gd name="connsiteY5625" fmla="*/ 4163230 h 5818346"/>
              <a:gd name="connsiteX5626" fmla="*/ 399902 w 3503192"/>
              <a:gd name="connsiteY5626" fmla="*/ 4173966 h 5818346"/>
              <a:gd name="connsiteX5627" fmla="*/ 389165 w 3503192"/>
              <a:gd name="connsiteY5627" fmla="*/ 4184704 h 5818346"/>
              <a:gd name="connsiteX5628" fmla="*/ 378429 w 3503192"/>
              <a:gd name="connsiteY5628" fmla="*/ 4173966 h 5818346"/>
              <a:gd name="connsiteX5629" fmla="*/ 389165 w 3503192"/>
              <a:gd name="connsiteY5629" fmla="*/ 4163230 h 5818346"/>
              <a:gd name="connsiteX5630" fmla="*/ 1017846 w 3503192"/>
              <a:gd name="connsiteY5630" fmla="*/ 4153650 h 5818346"/>
              <a:gd name="connsiteX5631" fmla="*/ 1028583 w 3503192"/>
              <a:gd name="connsiteY5631" fmla="*/ 4164386 h 5818346"/>
              <a:gd name="connsiteX5632" fmla="*/ 1017846 w 3503192"/>
              <a:gd name="connsiteY5632" fmla="*/ 4175124 h 5818346"/>
              <a:gd name="connsiteX5633" fmla="*/ 1007110 w 3503192"/>
              <a:gd name="connsiteY5633" fmla="*/ 4164386 h 5818346"/>
              <a:gd name="connsiteX5634" fmla="*/ 1017846 w 3503192"/>
              <a:gd name="connsiteY5634" fmla="*/ 4153650 h 5818346"/>
              <a:gd name="connsiteX5635" fmla="*/ 358607 w 3503192"/>
              <a:gd name="connsiteY5635" fmla="*/ 4153650 h 5818346"/>
              <a:gd name="connsiteX5636" fmla="*/ 369345 w 3503192"/>
              <a:gd name="connsiteY5636" fmla="*/ 4164386 h 5818346"/>
              <a:gd name="connsiteX5637" fmla="*/ 358607 w 3503192"/>
              <a:gd name="connsiteY5637" fmla="*/ 4175124 h 5818346"/>
              <a:gd name="connsiteX5638" fmla="*/ 347871 w 3503192"/>
              <a:gd name="connsiteY5638" fmla="*/ 4164386 h 5818346"/>
              <a:gd name="connsiteX5639" fmla="*/ 358607 w 3503192"/>
              <a:gd name="connsiteY5639" fmla="*/ 4153650 h 5818346"/>
              <a:gd name="connsiteX5640" fmla="*/ 299803 w 3503192"/>
              <a:gd name="connsiteY5640" fmla="*/ 4148364 h 5818346"/>
              <a:gd name="connsiteX5641" fmla="*/ 310539 w 3503192"/>
              <a:gd name="connsiteY5641" fmla="*/ 4159100 h 5818346"/>
              <a:gd name="connsiteX5642" fmla="*/ 299803 w 3503192"/>
              <a:gd name="connsiteY5642" fmla="*/ 4169837 h 5818346"/>
              <a:gd name="connsiteX5643" fmla="*/ 289066 w 3503192"/>
              <a:gd name="connsiteY5643" fmla="*/ 4159100 h 5818346"/>
              <a:gd name="connsiteX5644" fmla="*/ 299803 w 3503192"/>
              <a:gd name="connsiteY5644" fmla="*/ 4148364 h 5818346"/>
              <a:gd name="connsiteX5645" fmla="*/ 731421 w 3503192"/>
              <a:gd name="connsiteY5645" fmla="*/ 4147703 h 5818346"/>
              <a:gd name="connsiteX5646" fmla="*/ 742157 w 3503192"/>
              <a:gd name="connsiteY5646" fmla="*/ 4158440 h 5818346"/>
              <a:gd name="connsiteX5647" fmla="*/ 731421 w 3503192"/>
              <a:gd name="connsiteY5647" fmla="*/ 4169178 h 5818346"/>
              <a:gd name="connsiteX5648" fmla="*/ 720685 w 3503192"/>
              <a:gd name="connsiteY5648" fmla="*/ 4158440 h 5818346"/>
              <a:gd name="connsiteX5649" fmla="*/ 731421 w 3503192"/>
              <a:gd name="connsiteY5649" fmla="*/ 4147703 h 5818346"/>
              <a:gd name="connsiteX5650" fmla="*/ 337135 w 3503192"/>
              <a:gd name="connsiteY5650" fmla="*/ 4143243 h 5818346"/>
              <a:gd name="connsiteX5651" fmla="*/ 347871 w 3503192"/>
              <a:gd name="connsiteY5651" fmla="*/ 4153979 h 5818346"/>
              <a:gd name="connsiteX5652" fmla="*/ 337135 w 3503192"/>
              <a:gd name="connsiteY5652" fmla="*/ 4164716 h 5818346"/>
              <a:gd name="connsiteX5653" fmla="*/ 326398 w 3503192"/>
              <a:gd name="connsiteY5653" fmla="*/ 4153979 h 5818346"/>
              <a:gd name="connsiteX5654" fmla="*/ 337135 w 3503192"/>
              <a:gd name="connsiteY5654" fmla="*/ 4143243 h 5818346"/>
              <a:gd name="connsiteX5655" fmla="*/ 2837152 w 3503192"/>
              <a:gd name="connsiteY5655" fmla="*/ 4142582 h 5818346"/>
              <a:gd name="connsiteX5656" fmla="*/ 2847890 w 3503192"/>
              <a:gd name="connsiteY5656" fmla="*/ 4153319 h 5818346"/>
              <a:gd name="connsiteX5657" fmla="*/ 2837152 w 3503192"/>
              <a:gd name="connsiteY5657" fmla="*/ 4164057 h 5818346"/>
              <a:gd name="connsiteX5658" fmla="*/ 2826416 w 3503192"/>
              <a:gd name="connsiteY5658" fmla="*/ 4153319 h 5818346"/>
              <a:gd name="connsiteX5659" fmla="*/ 2837152 w 3503192"/>
              <a:gd name="connsiteY5659" fmla="*/ 4142582 h 5818346"/>
              <a:gd name="connsiteX5660" fmla="*/ 3061303 w 3503192"/>
              <a:gd name="connsiteY5660" fmla="*/ 4140269 h 5818346"/>
              <a:gd name="connsiteX5661" fmla="*/ 3072041 w 3503192"/>
              <a:gd name="connsiteY5661" fmla="*/ 4151005 h 5818346"/>
              <a:gd name="connsiteX5662" fmla="*/ 3061303 w 3503192"/>
              <a:gd name="connsiteY5662" fmla="*/ 4161743 h 5818346"/>
              <a:gd name="connsiteX5663" fmla="*/ 3050566 w 3503192"/>
              <a:gd name="connsiteY5663" fmla="*/ 4151005 h 5818346"/>
              <a:gd name="connsiteX5664" fmla="*/ 3061303 w 3503192"/>
              <a:gd name="connsiteY5664" fmla="*/ 4140269 h 5818346"/>
              <a:gd name="connsiteX5665" fmla="*/ 2613994 w 3503192"/>
              <a:gd name="connsiteY5665" fmla="*/ 4136306 h 5818346"/>
              <a:gd name="connsiteX5666" fmla="*/ 2624730 w 3503192"/>
              <a:gd name="connsiteY5666" fmla="*/ 4147043 h 5818346"/>
              <a:gd name="connsiteX5667" fmla="*/ 2613994 w 3503192"/>
              <a:gd name="connsiteY5667" fmla="*/ 4157779 h 5818346"/>
              <a:gd name="connsiteX5668" fmla="*/ 2603257 w 3503192"/>
              <a:gd name="connsiteY5668" fmla="*/ 4147043 h 5818346"/>
              <a:gd name="connsiteX5669" fmla="*/ 2613994 w 3503192"/>
              <a:gd name="connsiteY5669" fmla="*/ 4136306 h 5818346"/>
              <a:gd name="connsiteX5670" fmla="*/ 1427000 w 3503192"/>
              <a:gd name="connsiteY5670" fmla="*/ 4134818 h 5818346"/>
              <a:gd name="connsiteX5671" fmla="*/ 1437738 w 3503192"/>
              <a:gd name="connsiteY5671" fmla="*/ 4145555 h 5818346"/>
              <a:gd name="connsiteX5672" fmla="*/ 1427000 w 3503192"/>
              <a:gd name="connsiteY5672" fmla="*/ 4156293 h 5818346"/>
              <a:gd name="connsiteX5673" fmla="*/ 1416264 w 3503192"/>
              <a:gd name="connsiteY5673" fmla="*/ 4145555 h 5818346"/>
              <a:gd name="connsiteX5674" fmla="*/ 1427000 w 3503192"/>
              <a:gd name="connsiteY5674" fmla="*/ 4134818 h 5818346"/>
              <a:gd name="connsiteX5675" fmla="*/ 319460 w 3503192"/>
              <a:gd name="connsiteY5675" fmla="*/ 4133993 h 5818346"/>
              <a:gd name="connsiteX5676" fmla="*/ 330196 w 3503192"/>
              <a:gd name="connsiteY5676" fmla="*/ 4144729 h 5818346"/>
              <a:gd name="connsiteX5677" fmla="*/ 320285 w 3503192"/>
              <a:gd name="connsiteY5677" fmla="*/ 4154642 h 5818346"/>
              <a:gd name="connsiteX5678" fmla="*/ 331023 w 3503192"/>
              <a:gd name="connsiteY5678" fmla="*/ 4165376 h 5818346"/>
              <a:gd name="connsiteX5679" fmla="*/ 320533 w 3503192"/>
              <a:gd name="connsiteY5679" fmla="*/ 4175867 h 5818346"/>
              <a:gd name="connsiteX5680" fmla="*/ 329865 w 3503192"/>
              <a:gd name="connsiteY5680" fmla="*/ 4185198 h 5818346"/>
              <a:gd name="connsiteX5681" fmla="*/ 319129 w 3503192"/>
              <a:gd name="connsiteY5681" fmla="*/ 4195935 h 5818346"/>
              <a:gd name="connsiteX5682" fmla="*/ 308392 w 3503192"/>
              <a:gd name="connsiteY5682" fmla="*/ 4185198 h 5818346"/>
              <a:gd name="connsiteX5683" fmla="*/ 318881 w 3503192"/>
              <a:gd name="connsiteY5683" fmla="*/ 4174710 h 5818346"/>
              <a:gd name="connsiteX5684" fmla="*/ 309549 w 3503192"/>
              <a:gd name="connsiteY5684" fmla="*/ 4165376 h 5818346"/>
              <a:gd name="connsiteX5685" fmla="*/ 319458 w 3503192"/>
              <a:gd name="connsiteY5685" fmla="*/ 4155467 h 5818346"/>
              <a:gd name="connsiteX5686" fmla="*/ 308723 w 3503192"/>
              <a:gd name="connsiteY5686" fmla="*/ 4144729 h 5818346"/>
              <a:gd name="connsiteX5687" fmla="*/ 319460 w 3503192"/>
              <a:gd name="connsiteY5687" fmla="*/ 4133993 h 5818346"/>
              <a:gd name="connsiteX5688" fmla="*/ 456063 w 3503192"/>
              <a:gd name="connsiteY5688" fmla="*/ 4133001 h 5818346"/>
              <a:gd name="connsiteX5689" fmla="*/ 466802 w 3503192"/>
              <a:gd name="connsiteY5689" fmla="*/ 4143737 h 5818346"/>
              <a:gd name="connsiteX5690" fmla="*/ 456063 w 3503192"/>
              <a:gd name="connsiteY5690" fmla="*/ 4154475 h 5818346"/>
              <a:gd name="connsiteX5691" fmla="*/ 445327 w 3503192"/>
              <a:gd name="connsiteY5691" fmla="*/ 4143737 h 5818346"/>
              <a:gd name="connsiteX5692" fmla="*/ 456063 w 3503192"/>
              <a:gd name="connsiteY5692" fmla="*/ 4133001 h 5818346"/>
              <a:gd name="connsiteX5693" fmla="*/ 399243 w 3503192"/>
              <a:gd name="connsiteY5693" fmla="*/ 4132671 h 5818346"/>
              <a:gd name="connsiteX5694" fmla="*/ 409979 w 3503192"/>
              <a:gd name="connsiteY5694" fmla="*/ 4143408 h 5818346"/>
              <a:gd name="connsiteX5695" fmla="*/ 399243 w 3503192"/>
              <a:gd name="connsiteY5695" fmla="*/ 4154146 h 5818346"/>
              <a:gd name="connsiteX5696" fmla="*/ 388506 w 3503192"/>
              <a:gd name="connsiteY5696" fmla="*/ 4143408 h 5818346"/>
              <a:gd name="connsiteX5697" fmla="*/ 399243 w 3503192"/>
              <a:gd name="connsiteY5697" fmla="*/ 4132671 h 5818346"/>
              <a:gd name="connsiteX5698" fmla="*/ 3282152 w 3503192"/>
              <a:gd name="connsiteY5698" fmla="*/ 4130029 h 5818346"/>
              <a:gd name="connsiteX5699" fmla="*/ 3292890 w 3503192"/>
              <a:gd name="connsiteY5699" fmla="*/ 4140765 h 5818346"/>
              <a:gd name="connsiteX5700" fmla="*/ 3282152 w 3503192"/>
              <a:gd name="connsiteY5700" fmla="*/ 4151503 h 5818346"/>
              <a:gd name="connsiteX5701" fmla="*/ 3271415 w 3503192"/>
              <a:gd name="connsiteY5701" fmla="*/ 4140765 h 5818346"/>
              <a:gd name="connsiteX5702" fmla="*/ 3282152 w 3503192"/>
              <a:gd name="connsiteY5702" fmla="*/ 4130029 h 5818346"/>
              <a:gd name="connsiteX5703" fmla="*/ 361415 w 3503192"/>
              <a:gd name="connsiteY5703" fmla="*/ 4127386 h 5818346"/>
              <a:gd name="connsiteX5704" fmla="*/ 372153 w 3503192"/>
              <a:gd name="connsiteY5704" fmla="*/ 4138122 h 5818346"/>
              <a:gd name="connsiteX5705" fmla="*/ 361415 w 3503192"/>
              <a:gd name="connsiteY5705" fmla="*/ 4148860 h 5818346"/>
              <a:gd name="connsiteX5706" fmla="*/ 350679 w 3503192"/>
              <a:gd name="connsiteY5706" fmla="*/ 4138122 h 5818346"/>
              <a:gd name="connsiteX5707" fmla="*/ 361415 w 3503192"/>
              <a:gd name="connsiteY5707" fmla="*/ 4127386 h 5818346"/>
              <a:gd name="connsiteX5708" fmla="*/ 301785 w 3503192"/>
              <a:gd name="connsiteY5708" fmla="*/ 4127054 h 5818346"/>
              <a:gd name="connsiteX5709" fmla="*/ 312521 w 3503192"/>
              <a:gd name="connsiteY5709" fmla="*/ 4137791 h 5818346"/>
              <a:gd name="connsiteX5710" fmla="*/ 301785 w 3503192"/>
              <a:gd name="connsiteY5710" fmla="*/ 4148529 h 5818346"/>
              <a:gd name="connsiteX5711" fmla="*/ 291049 w 3503192"/>
              <a:gd name="connsiteY5711" fmla="*/ 4137791 h 5818346"/>
              <a:gd name="connsiteX5712" fmla="*/ 301785 w 3503192"/>
              <a:gd name="connsiteY5712" fmla="*/ 4127054 h 5818346"/>
              <a:gd name="connsiteX5713" fmla="*/ 538985 w 3503192"/>
              <a:gd name="connsiteY5713" fmla="*/ 4126064 h 5818346"/>
              <a:gd name="connsiteX5714" fmla="*/ 549722 w 3503192"/>
              <a:gd name="connsiteY5714" fmla="*/ 4136801 h 5818346"/>
              <a:gd name="connsiteX5715" fmla="*/ 538985 w 3503192"/>
              <a:gd name="connsiteY5715" fmla="*/ 4147539 h 5818346"/>
              <a:gd name="connsiteX5716" fmla="*/ 528249 w 3503192"/>
              <a:gd name="connsiteY5716" fmla="*/ 4136801 h 5818346"/>
              <a:gd name="connsiteX5717" fmla="*/ 538985 w 3503192"/>
              <a:gd name="connsiteY5717" fmla="*/ 4126064 h 5818346"/>
              <a:gd name="connsiteX5718" fmla="*/ 280642 w 3503192"/>
              <a:gd name="connsiteY5718" fmla="*/ 4125074 h 5818346"/>
              <a:gd name="connsiteX5719" fmla="*/ 289892 w 3503192"/>
              <a:gd name="connsiteY5719" fmla="*/ 4134324 h 5818346"/>
              <a:gd name="connsiteX5720" fmla="*/ 280642 w 3503192"/>
              <a:gd name="connsiteY5720" fmla="*/ 4143574 h 5818346"/>
              <a:gd name="connsiteX5721" fmla="*/ 271392 w 3503192"/>
              <a:gd name="connsiteY5721" fmla="*/ 4134324 h 5818346"/>
              <a:gd name="connsiteX5722" fmla="*/ 280642 w 3503192"/>
              <a:gd name="connsiteY5722" fmla="*/ 4125074 h 5818346"/>
              <a:gd name="connsiteX5723" fmla="*/ 2396119 w 3503192"/>
              <a:gd name="connsiteY5723" fmla="*/ 4122761 h 5818346"/>
              <a:gd name="connsiteX5724" fmla="*/ 2406857 w 3503192"/>
              <a:gd name="connsiteY5724" fmla="*/ 4133497 h 5818346"/>
              <a:gd name="connsiteX5725" fmla="*/ 2396119 w 3503192"/>
              <a:gd name="connsiteY5725" fmla="*/ 4144235 h 5818346"/>
              <a:gd name="connsiteX5726" fmla="*/ 2385383 w 3503192"/>
              <a:gd name="connsiteY5726" fmla="*/ 4133497 h 5818346"/>
              <a:gd name="connsiteX5727" fmla="*/ 2396119 w 3503192"/>
              <a:gd name="connsiteY5727" fmla="*/ 4122761 h 5818346"/>
              <a:gd name="connsiteX5728" fmla="*/ 335978 w 3503192"/>
              <a:gd name="connsiteY5728" fmla="*/ 4119786 h 5818346"/>
              <a:gd name="connsiteX5729" fmla="*/ 346714 w 3503192"/>
              <a:gd name="connsiteY5729" fmla="*/ 4130523 h 5818346"/>
              <a:gd name="connsiteX5730" fmla="*/ 335978 w 3503192"/>
              <a:gd name="connsiteY5730" fmla="*/ 4141261 h 5818346"/>
              <a:gd name="connsiteX5731" fmla="*/ 325242 w 3503192"/>
              <a:gd name="connsiteY5731" fmla="*/ 4130523 h 5818346"/>
              <a:gd name="connsiteX5732" fmla="*/ 335978 w 3503192"/>
              <a:gd name="connsiteY5732" fmla="*/ 4119786 h 5818346"/>
              <a:gd name="connsiteX5733" fmla="*/ 913616 w 3503192"/>
              <a:gd name="connsiteY5733" fmla="*/ 4114997 h 5818346"/>
              <a:gd name="connsiteX5734" fmla="*/ 924353 w 3503192"/>
              <a:gd name="connsiteY5734" fmla="*/ 4125733 h 5818346"/>
              <a:gd name="connsiteX5735" fmla="*/ 913616 w 3503192"/>
              <a:gd name="connsiteY5735" fmla="*/ 4136471 h 5818346"/>
              <a:gd name="connsiteX5736" fmla="*/ 902880 w 3503192"/>
              <a:gd name="connsiteY5736" fmla="*/ 4125733 h 5818346"/>
              <a:gd name="connsiteX5737" fmla="*/ 913616 w 3503192"/>
              <a:gd name="connsiteY5737" fmla="*/ 4114997 h 5818346"/>
              <a:gd name="connsiteX5738" fmla="*/ 3495731 w 3503192"/>
              <a:gd name="connsiteY5738" fmla="*/ 4112685 h 5818346"/>
              <a:gd name="connsiteX5739" fmla="*/ 3503192 w 3503192"/>
              <a:gd name="connsiteY5739" fmla="*/ 4120145 h 5818346"/>
              <a:gd name="connsiteX5740" fmla="*/ 3503192 w 3503192"/>
              <a:gd name="connsiteY5740" fmla="*/ 4126698 h 5818346"/>
              <a:gd name="connsiteX5741" fmla="*/ 3495731 w 3503192"/>
              <a:gd name="connsiteY5741" fmla="*/ 4134159 h 5818346"/>
              <a:gd name="connsiteX5742" fmla="*/ 3484994 w 3503192"/>
              <a:gd name="connsiteY5742" fmla="*/ 4123421 h 5818346"/>
              <a:gd name="connsiteX5743" fmla="*/ 3495731 w 3503192"/>
              <a:gd name="connsiteY5743" fmla="*/ 4112685 h 5818346"/>
              <a:gd name="connsiteX5744" fmla="*/ 317478 w 3503192"/>
              <a:gd name="connsiteY5744" fmla="*/ 4111858 h 5818346"/>
              <a:gd name="connsiteX5745" fmla="*/ 328216 w 3503192"/>
              <a:gd name="connsiteY5745" fmla="*/ 4122594 h 5818346"/>
              <a:gd name="connsiteX5746" fmla="*/ 317478 w 3503192"/>
              <a:gd name="connsiteY5746" fmla="*/ 4133332 h 5818346"/>
              <a:gd name="connsiteX5747" fmla="*/ 306741 w 3503192"/>
              <a:gd name="connsiteY5747" fmla="*/ 4122594 h 5818346"/>
              <a:gd name="connsiteX5748" fmla="*/ 317478 w 3503192"/>
              <a:gd name="connsiteY5748" fmla="*/ 4111858 h 5818346"/>
              <a:gd name="connsiteX5749" fmla="*/ 261481 w 3503192"/>
              <a:gd name="connsiteY5749" fmla="*/ 4110867 h 5818346"/>
              <a:gd name="connsiteX5750" fmla="*/ 261647 w 3503192"/>
              <a:gd name="connsiteY5750" fmla="*/ 4111032 h 5818346"/>
              <a:gd name="connsiteX5751" fmla="*/ 261481 w 3503192"/>
              <a:gd name="connsiteY5751" fmla="*/ 4111197 h 5818346"/>
              <a:gd name="connsiteX5752" fmla="*/ 261316 w 3503192"/>
              <a:gd name="connsiteY5752" fmla="*/ 4111032 h 5818346"/>
              <a:gd name="connsiteX5753" fmla="*/ 261481 w 3503192"/>
              <a:gd name="connsiteY5753" fmla="*/ 4110867 h 5818346"/>
              <a:gd name="connsiteX5754" fmla="*/ 656759 w 3503192"/>
              <a:gd name="connsiteY5754" fmla="*/ 4108556 h 5818346"/>
              <a:gd name="connsiteX5755" fmla="*/ 667496 w 3503192"/>
              <a:gd name="connsiteY5755" fmla="*/ 4119292 h 5818346"/>
              <a:gd name="connsiteX5756" fmla="*/ 656759 w 3503192"/>
              <a:gd name="connsiteY5756" fmla="*/ 4130030 h 5818346"/>
              <a:gd name="connsiteX5757" fmla="*/ 646023 w 3503192"/>
              <a:gd name="connsiteY5757" fmla="*/ 4119292 h 5818346"/>
              <a:gd name="connsiteX5758" fmla="*/ 656759 w 3503192"/>
              <a:gd name="connsiteY5758" fmla="*/ 4108556 h 5818346"/>
              <a:gd name="connsiteX5759" fmla="*/ 301289 w 3503192"/>
              <a:gd name="connsiteY5759" fmla="*/ 4105086 h 5818346"/>
              <a:gd name="connsiteX5760" fmla="*/ 312025 w 3503192"/>
              <a:gd name="connsiteY5760" fmla="*/ 4115822 h 5818346"/>
              <a:gd name="connsiteX5761" fmla="*/ 301289 w 3503192"/>
              <a:gd name="connsiteY5761" fmla="*/ 4126560 h 5818346"/>
              <a:gd name="connsiteX5762" fmla="*/ 290553 w 3503192"/>
              <a:gd name="connsiteY5762" fmla="*/ 4115822 h 5818346"/>
              <a:gd name="connsiteX5763" fmla="*/ 301289 w 3503192"/>
              <a:gd name="connsiteY5763" fmla="*/ 4105086 h 5818346"/>
              <a:gd name="connsiteX5764" fmla="*/ 2186834 w 3503192"/>
              <a:gd name="connsiteY5764" fmla="*/ 4102609 h 5818346"/>
              <a:gd name="connsiteX5765" fmla="*/ 2197570 w 3503192"/>
              <a:gd name="connsiteY5765" fmla="*/ 4113346 h 5818346"/>
              <a:gd name="connsiteX5766" fmla="*/ 2186834 w 3503192"/>
              <a:gd name="connsiteY5766" fmla="*/ 4124084 h 5818346"/>
              <a:gd name="connsiteX5767" fmla="*/ 2176098 w 3503192"/>
              <a:gd name="connsiteY5767" fmla="*/ 4113346 h 5818346"/>
              <a:gd name="connsiteX5768" fmla="*/ 2186834 w 3503192"/>
              <a:gd name="connsiteY5768" fmla="*/ 4102609 h 5818346"/>
              <a:gd name="connsiteX5769" fmla="*/ 283616 w 3503192"/>
              <a:gd name="connsiteY5769" fmla="*/ 4100957 h 5818346"/>
              <a:gd name="connsiteX5770" fmla="*/ 294352 w 3503192"/>
              <a:gd name="connsiteY5770" fmla="*/ 4111693 h 5818346"/>
              <a:gd name="connsiteX5771" fmla="*/ 283616 w 3503192"/>
              <a:gd name="connsiteY5771" fmla="*/ 4122431 h 5818346"/>
              <a:gd name="connsiteX5772" fmla="*/ 272880 w 3503192"/>
              <a:gd name="connsiteY5772" fmla="*/ 4111693 h 5818346"/>
              <a:gd name="connsiteX5773" fmla="*/ 283616 w 3503192"/>
              <a:gd name="connsiteY5773" fmla="*/ 4100957 h 5818346"/>
              <a:gd name="connsiteX5774" fmla="*/ 1285440 w 3503192"/>
              <a:gd name="connsiteY5774" fmla="*/ 4099139 h 5818346"/>
              <a:gd name="connsiteX5775" fmla="*/ 1296178 w 3503192"/>
              <a:gd name="connsiteY5775" fmla="*/ 4109876 h 5818346"/>
              <a:gd name="connsiteX5776" fmla="*/ 1285440 w 3503192"/>
              <a:gd name="connsiteY5776" fmla="*/ 4120614 h 5818346"/>
              <a:gd name="connsiteX5777" fmla="*/ 1274704 w 3503192"/>
              <a:gd name="connsiteY5777" fmla="*/ 4109876 h 5818346"/>
              <a:gd name="connsiteX5778" fmla="*/ 1285440 w 3503192"/>
              <a:gd name="connsiteY5778" fmla="*/ 4099139 h 5818346"/>
              <a:gd name="connsiteX5779" fmla="*/ 367857 w 3503192"/>
              <a:gd name="connsiteY5779" fmla="*/ 4096496 h 5818346"/>
              <a:gd name="connsiteX5780" fmla="*/ 378594 w 3503192"/>
              <a:gd name="connsiteY5780" fmla="*/ 4107233 h 5818346"/>
              <a:gd name="connsiteX5781" fmla="*/ 367857 w 3503192"/>
              <a:gd name="connsiteY5781" fmla="*/ 4117969 h 5818346"/>
              <a:gd name="connsiteX5782" fmla="*/ 357121 w 3503192"/>
              <a:gd name="connsiteY5782" fmla="*/ 4107233 h 5818346"/>
              <a:gd name="connsiteX5783" fmla="*/ 367857 w 3503192"/>
              <a:gd name="connsiteY5783" fmla="*/ 4096496 h 5818346"/>
              <a:gd name="connsiteX5784" fmla="*/ 415761 w 3503192"/>
              <a:gd name="connsiteY5784" fmla="*/ 4095671 h 5818346"/>
              <a:gd name="connsiteX5785" fmla="*/ 426497 w 3503192"/>
              <a:gd name="connsiteY5785" fmla="*/ 4106407 h 5818346"/>
              <a:gd name="connsiteX5786" fmla="*/ 415761 w 3503192"/>
              <a:gd name="connsiteY5786" fmla="*/ 4117145 h 5818346"/>
              <a:gd name="connsiteX5787" fmla="*/ 405025 w 3503192"/>
              <a:gd name="connsiteY5787" fmla="*/ 4106407 h 5818346"/>
              <a:gd name="connsiteX5788" fmla="*/ 415761 w 3503192"/>
              <a:gd name="connsiteY5788" fmla="*/ 4095671 h 5818346"/>
              <a:gd name="connsiteX5789" fmla="*/ 336472 w 3503192"/>
              <a:gd name="connsiteY5789" fmla="*/ 4093028 h 5818346"/>
              <a:gd name="connsiteX5790" fmla="*/ 347210 w 3503192"/>
              <a:gd name="connsiteY5790" fmla="*/ 4103764 h 5818346"/>
              <a:gd name="connsiteX5791" fmla="*/ 336472 w 3503192"/>
              <a:gd name="connsiteY5791" fmla="*/ 4114502 h 5818346"/>
              <a:gd name="connsiteX5792" fmla="*/ 325736 w 3503192"/>
              <a:gd name="connsiteY5792" fmla="*/ 4103764 h 5818346"/>
              <a:gd name="connsiteX5793" fmla="*/ 336472 w 3503192"/>
              <a:gd name="connsiteY5793" fmla="*/ 4093028 h 5818346"/>
              <a:gd name="connsiteX5794" fmla="*/ 486953 w 3503192"/>
              <a:gd name="connsiteY5794" fmla="*/ 4087907 h 5818346"/>
              <a:gd name="connsiteX5795" fmla="*/ 497689 w 3503192"/>
              <a:gd name="connsiteY5795" fmla="*/ 4098643 h 5818346"/>
              <a:gd name="connsiteX5796" fmla="*/ 486953 w 3503192"/>
              <a:gd name="connsiteY5796" fmla="*/ 4109381 h 5818346"/>
              <a:gd name="connsiteX5797" fmla="*/ 476216 w 3503192"/>
              <a:gd name="connsiteY5797" fmla="*/ 4098643 h 5818346"/>
              <a:gd name="connsiteX5798" fmla="*/ 486953 w 3503192"/>
              <a:gd name="connsiteY5798" fmla="*/ 4087907 h 5818346"/>
              <a:gd name="connsiteX5799" fmla="*/ 315164 w 3503192"/>
              <a:gd name="connsiteY5799" fmla="*/ 4087577 h 5818346"/>
              <a:gd name="connsiteX5800" fmla="*/ 325901 w 3503192"/>
              <a:gd name="connsiteY5800" fmla="*/ 4098314 h 5818346"/>
              <a:gd name="connsiteX5801" fmla="*/ 315164 w 3503192"/>
              <a:gd name="connsiteY5801" fmla="*/ 4109052 h 5818346"/>
              <a:gd name="connsiteX5802" fmla="*/ 304428 w 3503192"/>
              <a:gd name="connsiteY5802" fmla="*/ 4098314 h 5818346"/>
              <a:gd name="connsiteX5803" fmla="*/ 315164 w 3503192"/>
              <a:gd name="connsiteY5803" fmla="*/ 4087577 h 5818346"/>
              <a:gd name="connsiteX5804" fmla="*/ 1988616 w 3503192"/>
              <a:gd name="connsiteY5804" fmla="*/ 4077666 h 5818346"/>
              <a:gd name="connsiteX5805" fmla="*/ 1999354 w 3503192"/>
              <a:gd name="connsiteY5805" fmla="*/ 4088403 h 5818346"/>
              <a:gd name="connsiteX5806" fmla="*/ 1988616 w 3503192"/>
              <a:gd name="connsiteY5806" fmla="*/ 4099139 h 5818346"/>
              <a:gd name="connsiteX5807" fmla="*/ 1977880 w 3503192"/>
              <a:gd name="connsiteY5807" fmla="*/ 4088403 h 5818346"/>
              <a:gd name="connsiteX5808" fmla="*/ 1988616 w 3503192"/>
              <a:gd name="connsiteY5808" fmla="*/ 4077666 h 5818346"/>
              <a:gd name="connsiteX5809" fmla="*/ 818968 w 3503192"/>
              <a:gd name="connsiteY5809" fmla="*/ 4076841 h 5818346"/>
              <a:gd name="connsiteX5810" fmla="*/ 829704 w 3503192"/>
              <a:gd name="connsiteY5810" fmla="*/ 4087577 h 5818346"/>
              <a:gd name="connsiteX5811" fmla="*/ 818968 w 3503192"/>
              <a:gd name="connsiteY5811" fmla="*/ 4098315 h 5818346"/>
              <a:gd name="connsiteX5812" fmla="*/ 808232 w 3503192"/>
              <a:gd name="connsiteY5812" fmla="*/ 4087577 h 5818346"/>
              <a:gd name="connsiteX5813" fmla="*/ 818968 w 3503192"/>
              <a:gd name="connsiteY5813" fmla="*/ 4076841 h 5818346"/>
              <a:gd name="connsiteX5814" fmla="*/ 265775 w 3503192"/>
              <a:gd name="connsiteY5814" fmla="*/ 4076179 h 5818346"/>
              <a:gd name="connsiteX5815" fmla="*/ 275522 w 3503192"/>
              <a:gd name="connsiteY5815" fmla="*/ 4085925 h 5818346"/>
              <a:gd name="connsiteX5816" fmla="*/ 283781 w 3503192"/>
              <a:gd name="connsiteY5816" fmla="*/ 4077666 h 5818346"/>
              <a:gd name="connsiteX5817" fmla="*/ 293608 w 3503192"/>
              <a:gd name="connsiteY5817" fmla="*/ 4087494 h 5818346"/>
              <a:gd name="connsiteX5818" fmla="*/ 299142 w 3503192"/>
              <a:gd name="connsiteY5818" fmla="*/ 4081960 h 5818346"/>
              <a:gd name="connsiteX5819" fmla="*/ 309880 w 3503192"/>
              <a:gd name="connsiteY5819" fmla="*/ 4092697 h 5818346"/>
              <a:gd name="connsiteX5820" fmla="*/ 299142 w 3503192"/>
              <a:gd name="connsiteY5820" fmla="*/ 4103435 h 5818346"/>
              <a:gd name="connsiteX5821" fmla="*/ 289314 w 3503192"/>
              <a:gd name="connsiteY5821" fmla="*/ 4093605 h 5818346"/>
              <a:gd name="connsiteX5822" fmla="*/ 283781 w 3503192"/>
              <a:gd name="connsiteY5822" fmla="*/ 4099139 h 5818346"/>
              <a:gd name="connsiteX5823" fmla="*/ 274034 w 3503192"/>
              <a:gd name="connsiteY5823" fmla="*/ 4089393 h 5818346"/>
              <a:gd name="connsiteX5824" fmla="*/ 265775 w 3503192"/>
              <a:gd name="connsiteY5824" fmla="*/ 4097653 h 5818346"/>
              <a:gd name="connsiteX5825" fmla="*/ 255038 w 3503192"/>
              <a:gd name="connsiteY5825" fmla="*/ 4086915 h 5818346"/>
              <a:gd name="connsiteX5826" fmla="*/ 265775 w 3503192"/>
              <a:gd name="connsiteY5826" fmla="*/ 4076179 h 5818346"/>
              <a:gd name="connsiteX5827" fmla="*/ 589532 w 3503192"/>
              <a:gd name="connsiteY5827" fmla="*/ 4070232 h 5818346"/>
              <a:gd name="connsiteX5828" fmla="*/ 600268 w 3503192"/>
              <a:gd name="connsiteY5828" fmla="*/ 4080968 h 5818346"/>
              <a:gd name="connsiteX5829" fmla="*/ 589532 w 3503192"/>
              <a:gd name="connsiteY5829" fmla="*/ 4091706 h 5818346"/>
              <a:gd name="connsiteX5830" fmla="*/ 578795 w 3503192"/>
              <a:gd name="connsiteY5830" fmla="*/ 4080968 h 5818346"/>
              <a:gd name="connsiteX5831" fmla="*/ 589532 w 3503192"/>
              <a:gd name="connsiteY5831" fmla="*/ 4070232 h 5818346"/>
              <a:gd name="connsiteX5832" fmla="*/ 1155277 w 3503192"/>
              <a:gd name="connsiteY5832" fmla="*/ 4062966 h 5818346"/>
              <a:gd name="connsiteX5833" fmla="*/ 1166014 w 3503192"/>
              <a:gd name="connsiteY5833" fmla="*/ 4073702 h 5818346"/>
              <a:gd name="connsiteX5834" fmla="*/ 1155277 w 3503192"/>
              <a:gd name="connsiteY5834" fmla="*/ 4084438 h 5818346"/>
              <a:gd name="connsiteX5835" fmla="*/ 1144541 w 3503192"/>
              <a:gd name="connsiteY5835" fmla="*/ 4073702 h 5818346"/>
              <a:gd name="connsiteX5836" fmla="*/ 1155277 w 3503192"/>
              <a:gd name="connsiteY5836" fmla="*/ 4062966 h 5818346"/>
              <a:gd name="connsiteX5837" fmla="*/ 339942 w 3503192"/>
              <a:gd name="connsiteY5837" fmla="*/ 4061478 h 5818346"/>
              <a:gd name="connsiteX5838" fmla="*/ 350679 w 3503192"/>
              <a:gd name="connsiteY5838" fmla="*/ 4072214 h 5818346"/>
              <a:gd name="connsiteX5839" fmla="*/ 339942 w 3503192"/>
              <a:gd name="connsiteY5839" fmla="*/ 4082952 h 5818346"/>
              <a:gd name="connsiteX5840" fmla="*/ 329206 w 3503192"/>
              <a:gd name="connsiteY5840" fmla="*/ 4072214 h 5818346"/>
              <a:gd name="connsiteX5841" fmla="*/ 339942 w 3503192"/>
              <a:gd name="connsiteY5841" fmla="*/ 4061478 h 5818346"/>
              <a:gd name="connsiteX5842" fmla="*/ 379751 w 3503192"/>
              <a:gd name="connsiteY5842" fmla="*/ 4059331 h 5818346"/>
              <a:gd name="connsiteX5843" fmla="*/ 390487 w 3503192"/>
              <a:gd name="connsiteY5843" fmla="*/ 4070067 h 5818346"/>
              <a:gd name="connsiteX5844" fmla="*/ 379751 w 3503192"/>
              <a:gd name="connsiteY5844" fmla="*/ 4080804 h 5818346"/>
              <a:gd name="connsiteX5845" fmla="*/ 369014 w 3503192"/>
              <a:gd name="connsiteY5845" fmla="*/ 4070067 h 5818346"/>
              <a:gd name="connsiteX5846" fmla="*/ 379751 w 3503192"/>
              <a:gd name="connsiteY5846" fmla="*/ 4059331 h 5818346"/>
              <a:gd name="connsiteX5847" fmla="*/ 247937 w 3503192"/>
              <a:gd name="connsiteY5847" fmla="*/ 4054706 h 5818346"/>
              <a:gd name="connsiteX5848" fmla="*/ 256361 w 3503192"/>
              <a:gd name="connsiteY5848" fmla="*/ 4063131 h 5818346"/>
              <a:gd name="connsiteX5849" fmla="*/ 247937 w 3503192"/>
              <a:gd name="connsiteY5849" fmla="*/ 4071553 h 5818346"/>
              <a:gd name="connsiteX5850" fmla="*/ 239512 w 3503192"/>
              <a:gd name="connsiteY5850" fmla="*/ 4063131 h 5818346"/>
              <a:gd name="connsiteX5851" fmla="*/ 247937 w 3503192"/>
              <a:gd name="connsiteY5851" fmla="*/ 4054706 h 5818346"/>
              <a:gd name="connsiteX5852" fmla="*/ 266766 w 3503192"/>
              <a:gd name="connsiteY5852" fmla="*/ 4051567 h 5818346"/>
              <a:gd name="connsiteX5853" fmla="*/ 275108 w 3503192"/>
              <a:gd name="connsiteY5853" fmla="*/ 4059910 h 5818346"/>
              <a:gd name="connsiteX5854" fmla="*/ 281798 w 3503192"/>
              <a:gd name="connsiteY5854" fmla="*/ 4053220 h 5818346"/>
              <a:gd name="connsiteX5855" fmla="*/ 290636 w 3503192"/>
              <a:gd name="connsiteY5855" fmla="*/ 4062057 h 5818346"/>
              <a:gd name="connsiteX5856" fmla="*/ 296170 w 3503192"/>
              <a:gd name="connsiteY5856" fmla="*/ 4056523 h 5818346"/>
              <a:gd name="connsiteX5857" fmla="*/ 306741 w 3503192"/>
              <a:gd name="connsiteY5857" fmla="*/ 4067095 h 5818346"/>
              <a:gd name="connsiteX5858" fmla="*/ 314009 w 3503192"/>
              <a:gd name="connsiteY5858" fmla="*/ 4059827 h 5818346"/>
              <a:gd name="connsiteX5859" fmla="*/ 324746 w 3503192"/>
              <a:gd name="connsiteY5859" fmla="*/ 4070563 h 5818346"/>
              <a:gd name="connsiteX5860" fmla="*/ 314009 w 3503192"/>
              <a:gd name="connsiteY5860" fmla="*/ 4081301 h 5818346"/>
              <a:gd name="connsiteX5861" fmla="*/ 303438 w 3503192"/>
              <a:gd name="connsiteY5861" fmla="*/ 4070728 h 5818346"/>
              <a:gd name="connsiteX5862" fmla="*/ 296170 w 3503192"/>
              <a:gd name="connsiteY5862" fmla="*/ 4077996 h 5818346"/>
              <a:gd name="connsiteX5863" fmla="*/ 287332 w 3503192"/>
              <a:gd name="connsiteY5863" fmla="*/ 4069159 h 5818346"/>
              <a:gd name="connsiteX5864" fmla="*/ 281798 w 3503192"/>
              <a:gd name="connsiteY5864" fmla="*/ 4074694 h 5818346"/>
              <a:gd name="connsiteX5865" fmla="*/ 273455 w 3503192"/>
              <a:gd name="connsiteY5865" fmla="*/ 4066351 h 5818346"/>
              <a:gd name="connsiteX5866" fmla="*/ 266766 w 3503192"/>
              <a:gd name="connsiteY5866" fmla="*/ 4073041 h 5818346"/>
              <a:gd name="connsiteX5867" fmla="*/ 256030 w 3503192"/>
              <a:gd name="connsiteY5867" fmla="*/ 4062303 h 5818346"/>
              <a:gd name="connsiteX5868" fmla="*/ 266766 w 3503192"/>
              <a:gd name="connsiteY5868" fmla="*/ 4051567 h 5818346"/>
              <a:gd name="connsiteX5869" fmla="*/ 440372 w 3503192"/>
              <a:gd name="connsiteY5869" fmla="*/ 4050906 h 5818346"/>
              <a:gd name="connsiteX5870" fmla="*/ 451109 w 3503192"/>
              <a:gd name="connsiteY5870" fmla="*/ 4061643 h 5818346"/>
              <a:gd name="connsiteX5871" fmla="*/ 440372 w 3503192"/>
              <a:gd name="connsiteY5871" fmla="*/ 4072381 h 5818346"/>
              <a:gd name="connsiteX5872" fmla="*/ 429636 w 3503192"/>
              <a:gd name="connsiteY5872" fmla="*/ 4061643 h 5818346"/>
              <a:gd name="connsiteX5873" fmla="*/ 440372 w 3503192"/>
              <a:gd name="connsiteY5873" fmla="*/ 4050906 h 5818346"/>
              <a:gd name="connsiteX5874" fmla="*/ 1802457 w 3503192"/>
              <a:gd name="connsiteY5874" fmla="*/ 4049255 h 5818346"/>
              <a:gd name="connsiteX5875" fmla="*/ 1813193 w 3503192"/>
              <a:gd name="connsiteY5875" fmla="*/ 4059992 h 5818346"/>
              <a:gd name="connsiteX5876" fmla="*/ 1802457 w 3503192"/>
              <a:gd name="connsiteY5876" fmla="*/ 4070728 h 5818346"/>
              <a:gd name="connsiteX5877" fmla="*/ 1791720 w 3503192"/>
              <a:gd name="connsiteY5877" fmla="*/ 4059992 h 5818346"/>
              <a:gd name="connsiteX5878" fmla="*/ 1802457 w 3503192"/>
              <a:gd name="connsiteY5878" fmla="*/ 4049255 h 5818346"/>
              <a:gd name="connsiteX5879" fmla="*/ 733074 w 3503192"/>
              <a:gd name="connsiteY5879" fmla="*/ 4039344 h 5818346"/>
              <a:gd name="connsiteX5880" fmla="*/ 743810 w 3503192"/>
              <a:gd name="connsiteY5880" fmla="*/ 4050081 h 5818346"/>
              <a:gd name="connsiteX5881" fmla="*/ 733074 w 3503192"/>
              <a:gd name="connsiteY5881" fmla="*/ 4060819 h 5818346"/>
              <a:gd name="connsiteX5882" fmla="*/ 722337 w 3503192"/>
              <a:gd name="connsiteY5882" fmla="*/ 4050081 h 5818346"/>
              <a:gd name="connsiteX5883" fmla="*/ 733074 w 3503192"/>
              <a:gd name="connsiteY5883" fmla="*/ 4039344 h 5818346"/>
              <a:gd name="connsiteX5884" fmla="*/ 529239 w 3503192"/>
              <a:gd name="connsiteY5884" fmla="*/ 4033067 h 5818346"/>
              <a:gd name="connsiteX5885" fmla="*/ 539976 w 3503192"/>
              <a:gd name="connsiteY5885" fmla="*/ 4043803 h 5818346"/>
              <a:gd name="connsiteX5886" fmla="*/ 529239 w 3503192"/>
              <a:gd name="connsiteY5886" fmla="*/ 4054541 h 5818346"/>
              <a:gd name="connsiteX5887" fmla="*/ 518503 w 3503192"/>
              <a:gd name="connsiteY5887" fmla="*/ 4043803 h 5818346"/>
              <a:gd name="connsiteX5888" fmla="*/ 529239 w 3503192"/>
              <a:gd name="connsiteY5888" fmla="*/ 4033067 h 5818346"/>
              <a:gd name="connsiteX5889" fmla="*/ 1036015 w 3503192"/>
              <a:gd name="connsiteY5889" fmla="*/ 4026791 h 5818346"/>
              <a:gd name="connsiteX5890" fmla="*/ 1046752 w 3503192"/>
              <a:gd name="connsiteY5890" fmla="*/ 4037527 h 5818346"/>
              <a:gd name="connsiteX5891" fmla="*/ 1036015 w 3503192"/>
              <a:gd name="connsiteY5891" fmla="*/ 4048265 h 5818346"/>
              <a:gd name="connsiteX5892" fmla="*/ 1025279 w 3503192"/>
              <a:gd name="connsiteY5892" fmla="*/ 4037527 h 5818346"/>
              <a:gd name="connsiteX5893" fmla="*/ 1036015 w 3503192"/>
              <a:gd name="connsiteY5893" fmla="*/ 4026791 h 5818346"/>
              <a:gd name="connsiteX5894" fmla="*/ 265445 w 3503192"/>
              <a:gd name="connsiteY5894" fmla="*/ 4025965 h 5818346"/>
              <a:gd name="connsiteX5895" fmla="*/ 272547 w 3503192"/>
              <a:gd name="connsiteY5895" fmla="*/ 4033068 h 5818346"/>
              <a:gd name="connsiteX5896" fmla="*/ 278660 w 3503192"/>
              <a:gd name="connsiteY5896" fmla="*/ 4026955 h 5818346"/>
              <a:gd name="connsiteX5897" fmla="*/ 286755 w 3503192"/>
              <a:gd name="connsiteY5897" fmla="*/ 4035049 h 5818346"/>
              <a:gd name="connsiteX5898" fmla="*/ 293692 w 3503192"/>
              <a:gd name="connsiteY5898" fmla="*/ 4028112 h 5818346"/>
              <a:gd name="connsiteX5899" fmla="*/ 304180 w 3503192"/>
              <a:gd name="connsiteY5899" fmla="*/ 4038600 h 5818346"/>
              <a:gd name="connsiteX5900" fmla="*/ 314835 w 3503192"/>
              <a:gd name="connsiteY5900" fmla="*/ 4027946 h 5818346"/>
              <a:gd name="connsiteX5901" fmla="*/ 325571 w 3503192"/>
              <a:gd name="connsiteY5901" fmla="*/ 4038682 h 5818346"/>
              <a:gd name="connsiteX5902" fmla="*/ 314835 w 3503192"/>
              <a:gd name="connsiteY5902" fmla="*/ 4049420 h 5818346"/>
              <a:gd name="connsiteX5903" fmla="*/ 304346 w 3503192"/>
              <a:gd name="connsiteY5903" fmla="*/ 4038932 h 5818346"/>
              <a:gd name="connsiteX5904" fmla="*/ 293692 w 3503192"/>
              <a:gd name="connsiteY5904" fmla="*/ 4049585 h 5818346"/>
              <a:gd name="connsiteX5905" fmla="*/ 285598 w 3503192"/>
              <a:gd name="connsiteY5905" fmla="*/ 4041491 h 5818346"/>
              <a:gd name="connsiteX5906" fmla="*/ 278660 w 3503192"/>
              <a:gd name="connsiteY5906" fmla="*/ 4048430 h 5818346"/>
              <a:gd name="connsiteX5907" fmla="*/ 271556 w 3503192"/>
              <a:gd name="connsiteY5907" fmla="*/ 4041327 h 5818346"/>
              <a:gd name="connsiteX5908" fmla="*/ 265445 w 3503192"/>
              <a:gd name="connsiteY5908" fmla="*/ 4047440 h 5818346"/>
              <a:gd name="connsiteX5909" fmla="*/ 258177 w 3503192"/>
              <a:gd name="connsiteY5909" fmla="*/ 4040172 h 5818346"/>
              <a:gd name="connsiteX5910" fmla="*/ 250084 w 3503192"/>
              <a:gd name="connsiteY5910" fmla="*/ 4048265 h 5818346"/>
              <a:gd name="connsiteX5911" fmla="*/ 239347 w 3503192"/>
              <a:gd name="connsiteY5911" fmla="*/ 4037527 h 5818346"/>
              <a:gd name="connsiteX5912" fmla="*/ 250084 w 3503192"/>
              <a:gd name="connsiteY5912" fmla="*/ 4026791 h 5818346"/>
              <a:gd name="connsiteX5913" fmla="*/ 257352 w 3503192"/>
              <a:gd name="connsiteY5913" fmla="*/ 4034059 h 5818346"/>
              <a:gd name="connsiteX5914" fmla="*/ 347871 w 3503192"/>
              <a:gd name="connsiteY5914" fmla="*/ 4024477 h 5818346"/>
              <a:gd name="connsiteX5915" fmla="*/ 358607 w 3503192"/>
              <a:gd name="connsiteY5915" fmla="*/ 4035214 h 5818346"/>
              <a:gd name="connsiteX5916" fmla="*/ 347871 w 3503192"/>
              <a:gd name="connsiteY5916" fmla="*/ 4045950 h 5818346"/>
              <a:gd name="connsiteX5917" fmla="*/ 337135 w 3503192"/>
              <a:gd name="connsiteY5917" fmla="*/ 4035214 h 5818346"/>
              <a:gd name="connsiteX5918" fmla="*/ 347871 w 3503192"/>
              <a:gd name="connsiteY5918" fmla="*/ 4024477 h 5818346"/>
              <a:gd name="connsiteX5919" fmla="*/ 1629017 w 3503192"/>
              <a:gd name="connsiteY5919" fmla="*/ 4018695 h 5818346"/>
              <a:gd name="connsiteX5920" fmla="*/ 1639754 w 3503192"/>
              <a:gd name="connsiteY5920" fmla="*/ 4029432 h 5818346"/>
              <a:gd name="connsiteX5921" fmla="*/ 1629017 w 3503192"/>
              <a:gd name="connsiteY5921" fmla="*/ 4040170 h 5818346"/>
              <a:gd name="connsiteX5922" fmla="*/ 1618281 w 3503192"/>
              <a:gd name="connsiteY5922" fmla="*/ 4029432 h 5818346"/>
              <a:gd name="connsiteX5923" fmla="*/ 1629017 w 3503192"/>
              <a:gd name="connsiteY5923" fmla="*/ 4018695 h 5818346"/>
              <a:gd name="connsiteX5924" fmla="*/ 398912 w 3503192"/>
              <a:gd name="connsiteY5924" fmla="*/ 4015062 h 5818346"/>
              <a:gd name="connsiteX5925" fmla="*/ 409648 w 3503192"/>
              <a:gd name="connsiteY5925" fmla="*/ 4025799 h 5818346"/>
              <a:gd name="connsiteX5926" fmla="*/ 398912 w 3503192"/>
              <a:gd name="connsiteY5926" fmla="*/ 4036537 h 5818346"/>
              <a:gd name="connsiteX5927" fmla="*/ 388175 w 3503192"/>
              <a:gd name="connsiteY5927" fmla="*/ 4025799 h 5818346"/>
              <a:gd name="connsiteX5928" fmla="*/ 398912 w 3503192"/>
              <a:gd name="connsiteY5928" fmla="*/ 4015062 h 5818346"/>
              <a:gd name="connsiteX5929" fmla="*/ 655438 w 3503192"/>
              <a:gd name="connsiteY5929" fmla="*/ 4002673 h 5818346"/>
              <a:gd name="connsiteX5930" fmla="*/ 666176 w 3503192"/>
              <a:gd name="connsiteY5930" fmla="*/ 4013410 h 5818346"/>
              <a:gd name="connsiteX5931" fmla="*/ 655438 w 3503192"/>
              <a:gd name="connsiteY5931" fmla="*/ 4024148 h 5818346"/>
              <a:gd name="connsiteX5932" fmla="*/ 644701 w 3503192"/>
              <a:gd name="connsiteY5932" fmla="*/ 4013410 h 5818346"/>
              <a:gd name="connsiteX5933" fmla="*/ 655438 w 3503192"/>
              <a:gd name="connsiteY5933" fmla="*/ 4002673 h 5818346"/>
              <a:gd name="connsiteX5934" fmla="*/ 475226 w 3503192"/>
              <a:gd name="connsiteY5934" fmla="*/ 3996893 h 5818346"/>
              <a:gd name="connsiteX5935" fmla="*/ 485963 w 3503192"/>
              <a:gd name="connsiteY5935" fmla="*/ 4007630 h 5818346"/>
              <a:gd name="connsiteX5936" fmla="*/ 475226 w 3503192"/>
              <a:gd name="connsiteY5936" fmla="*/ 4018366 h 5818346"/>
              <a:gd name="connsiteX5937" fmla="*/ 464490 w 3503192"/>
              <a:gd name="connsiteY5937" fmla="*/ 4007630 h 5818346"/>
              <a:gd name="connsiteX5938" fmla="*/ 475226 w 3503192"/>
              <a:gd name="connsiteY5938" fmla="*/ 3996893 h 5818346"/>
              <a:gd name="connsiteX5939" fmla="*/ 292535 w 3503192"/>
              <a:gd name="connsiteY5939" fmla="*/ 3995901 h 5818346"/>
              <a:gd name="connsiteX5940" fmla="*/ 303273 w 3503192"/>
              <a:gd name="connsiteY5940" fmla="*/ 4006638 h 5818346"/>
              <a:gd name="connsiteX5941" fmla="*/ 292535 w 3503192"/>
              <a:gd name="connsiteY5941" fmla="*/ 4017376 h 5818346"/>
              <a:gd name="connsiteX5942" fmla="*/ 284771 w 3503192"/>
              <a:gd name="connsiteY5942" fmla="*/ 4009612 h 5818346"/>
              <a:gd name="connsiteX5943" fmla="*/ 275191 w 3503192"/>
              <a:gd name="connsiteY5943" fmla="*/ 4019193 h 5818346"/>
              <a:gd name="connsiteX5944" fmla="*/ 269161 w 3503192"/>
              <a:gd name="connsiteY5944" fmla="*/ 4013163 h 5818346"/>
              <a:gd name="connsiteX5945" fmla="*/ 262306 w 3503192"/>
              <a:gd name="connsiteY5945" fmla="*/ 4020019 h 5818346"/>
              <a:gd name="connsiteX5946" fmla="*/ 256691 w 3503192"/>
              <a:gd name="connsiteY5946" fmla="*/ 4014402 h 5818346"/>
              <a:gd name="connsiteX5947" fmla="*/ 249588 w 3503192"/>
              <a:gd name="connsiteY5947" fmla="*/ 4021505 h 5818346"/>
              <a:gd name="connsiteX5948" fmla="*/ 243147 w 3503192"/>
              <a:gd name="connsiteY5948" fmla="*/ 4015062 h 5818346"/>
              <a:gd name="connsiteX5949" fmla="*/ 233566 w 3503192"/>
              <a:gd name="connsiteY5949" fmla="*/ 4024642 h 5818346"/>
              <a:gd name="connsiteX5950" fmla="*/ 222829 w 3503192"/>
              <a:gd name="connsiteY5950" fmla="*/ 4013906 h 5818346"/>
              <a:gd name="connsiteX5951" fmla="*/ 233566 w 3503192"/>
              <a:gd name="connsiteY5951" fmla="*/ 4003169 h 5818346"/>
              <a:gd name="connsiteX5952" fmla="*/ 240008 w 3503192"/>
              <a:gd name="connsiteY5952" fmla="*/ 4009610 h 5818346"/>
              <a:gd name="connsiteX5953" fmla="*/ 249588 w 3503192"/>
              <a:gd name="connsiteY5953" fmla="*/ 4000030 h 5818346"/>
              <a:gd name="connsiteX5954" fmla="*/ 255205 w 3503192"/>
              <a:gd name="connsiteY5954" fmla="*/ 4005646 h 5818346"/>
              <a:gd name="connsiteX5955" fmla="*/ 262306 w 3503192"/>
              <a:gd name="connsiteY5955" fmla="*/ 3998544 h 5818346"/>
              <a:gd name="connsiteX5956" fmla="*/ 268336 w 3503192"/>
              <a:gd name="connsiteY5956" fmla="*/ 4004574 h 5818346"/>
              <a:gd name="connsiteX5957" fmla="*/ 275191 w 3503192"/>
              <a:gd name="connsiteY5957" fmla="*/ 3997719 h 5818346"/>
              <a:gd name="connsiteX5958" fmla="*/ 282953 w 3503192"/>
              <a:gd name="connsiteY5958" fmla="*/ 4005483 h 5818346"/>
              <a:gd name="connsiteX5959" fmla="*/ 927327 w 3503192"/>
              <a:gd name="connsiteY5959" fmla="*/ 3990947 h 5818346"/>
              <a:gd name="connsiteX5960" fmla="*/ 938063 w 3503192"/>
              <a:gd name="connsiteY5960" fmla="*/ 4001683 h 5818346"/>
              <a:gd name="connsiteX5961" fmla="*/ 927327 w 3503192"/>
              <a:gd name="connsiteY5961" fmla="*/ 4012419 h 5818346"/>
              <a:gd name="connsiteX5962" fmla="*/ 916591 w 3503192"/>
              <a:gd name="connsiteY5962" fmla="*/ 4001683 h 5818346"/>
              <a:gd name="connsiteX5963" fmla="*/ 927327 w 3503192"/>
              <a:gd name="connsiteY5963" fmla="*/ 3990947 h 5818346"/>
              <a:gd name="connsiteX5964" fmla="*/ 319460 w 3503192"/>
              <a:gd name="connsiteY5964" fmla="*/ 3990780 h 5818346"/>
              <a:gd name="connsiteX5965" fmla="*/ 330196 w 3503192"/>
              <a:gd name="connsiteY5965" fmla="*/ 4001517 h 5818346"/>
              <a:gd name="connsiteX5966" fmla="*/ 319460 w 3503192"/>
              <a:gd name="connsiteY5966" fmla="*/ 4012255 h 5818346"/>
              <a:gd name="connsiteX5967" fmla="*/ 308723 w 3503192"/>
              <a:gd name="connsiteY5967" fmla="*/ 4001517 h 5818346"/>
              <a:gd name="connsiteX5968" fmla="*/ 319460 w 3503192"/>
              <a:gd name="connsiteY5968" fmla="*/ 3990780 h 5818346"/>
              <a:gd name="connsiteX5969" fmla="*/ 1468294 w 3503192"/>
              <a:gd name="connsiteY5969" fmla="*/ 3986651 h 5818346"/>
              <a:gd name="connsiteX5970" fmla="*/ 1479032 w 3503192"/>
              <a:gd name="connsiteY5970" fmla="*/ 3997388 h 5818346"/>
              <a:gd name="connsiteX5971" fmla="*/ 1468294 w 3503192"/>
              <a:gd name="connsiteY5971" fmla="*/ 4008126 h 5818346"/>
              <a:gd name="connsiteX5972" fmla="*/ 1457558 w 3503192"/>
              <a:gd name="connsiteY5972" fmla="*/ 3997388 h 5818346"/>
              <a:gd name="connsiteX5973" fmla="*/ 1468294 w 3503192"/>
              <a:gd name="connsiteY5973" fmla="*/ 3986651 h 5818346"/>
              <a:gd name="connsiteX5974" fmla="*/ 216883 w 3503192"/>
              <a:gd name="connsiteY5974" fmla="*/ 3984504 h 5818346"/>
              <a:gd name="connsiteX5975" fmla="*/ 223986 w 3503192"/>
              <a:gd name="connsiteY5975" fmla="*/ 3991607 h 5818346"/>
              <a:gd name="connsiteX5976" fmla="*/ 216883 w 3503192"/>
              <a:gd name="connsiteY5976" fmla="*/ 3998711 h 5818346"/>
              <a:gd name="connsiteX5977" fmla="*/ 209779 w 3503192"/>
              <a:gd name="connsiteY5977" fmla="*/ 3991607 h 5818346"/>
              <a:gd name="connsiteX5978" fmla="*/ 216883 w 3503192"/>
              <a:gd name="connsiteY5978" fmla="*/ 3984504 h 5818346"/>
              <a:gd name="connsiteX5979" fmla="*/ 362076 w 3503192"/>
              <a:gd name="connsiteY5979" fmla="*/ 3980375 h 5818346"/>
              <a:gd name="connsiteX5980" fmla="*/ 372812 w 3503192"/>
              <a:gd name="connsiteY5980" fmla="*/ 3991111 h 5818346"/>
              <a:gd name="connsiteX5981" fmla="*/ 362076 w 3503192"/>
              <a:gd name="connsiteY5981" fmla="*/ 4001848 h 5818346"/>
              <a:gd name="connsiteX5982" fmla="*/ 351339 w 3503192"/>
              <a:gd name="connsiteY5982" fmla="*/ 3991111 h 5818346"/>
              <a:gd name="connsiteX5983" fmla="*/ 362076 w 3503192"/>
              <a:gd name="connsiteY5983" fmla="*/ 3980375 h 5818346"/>
              <a:gd name="connsiteX5984" fmla="*/ 585566 w 3503192"/>
              <a:gd name="connsiteY5984" fmla="*/ 3966829 h 5818346"/>
              <a:gd name="connsiteX5985" fmla="*/ 596302 w 3503192"/>
              <a:gd name="connsiteY5985" fmla="*/ 3977566 h 5818346"/>
              <a:gd name="connsiteX5986" fmla="*/ 585566 w 3503192"/>
              <a:gd name="connsiteY5986" fmla="*/ 3988304 h 5818346"/>
              <a:gd name="connsiteX5987" fmla="*/ 574829 w 3503192"/>
              <a:gd name="connsiteY5987" fmla="*/ 3977566 h 5818346"/>
              <a:gd name="connsiteX5988" fmla="*/ 585566 w 3503192"/>
              <a:gd name="connsiteY5988" fmla="*/ 3966829 h 5818346"/>
              <a:gd name="connsiteX5989" fmla="*/ 272548 w 3503192"/>
              <a:gd name="connsiteY5989" fmla="*/ 3965012 h 5818346"/>
              <a:gd name="connsiteX5990" fmla="*/ 283285 w 3503192"/>
              <a:gd name="connsiteY5990" fmla="*/ 3975748 h 5818346"/>
              <a:gd name="connsiteX5991" fmla="*/ 272548 w 3503192"/>
              <a:gd name="connsiteY5991" fmla="*/ 3986486 h 5818346"/>
              <a:gd name="connsiteX5992" fmla="*/ 267346 w 3503192"/>
              <a:gd name="connsiteY5992" fmla="*/ 3981282 h 5818346"/>
              <a:gd name="connsiteX5993" fmla="*/ 258342 w 3503192"/>
              <a:gd name="connsiteY5993" fmla="*/ 3990286 h 5818346"/>
              <a:gd name="connsiteX5994" fmla="*/ 253965 w 3503192"/>
              <a:gd name="connsiteY5994" fmla="*/ 3985909 h 5818346"/>
              <a:gd name="connsiteX5995" fmla="*/ 246780 w 3503192"/>
              <a:gd name="connsiteY5995" fmla="*/ 3993094 h 5818346"/>
              <a:gd name="connsiteX5996" fmla="*/ 242238 w 3503192"/>
              <a:gd name="connsiteY5996" fmla="*/ 3988552 h 5818346"/>
              <a:gd name="connsiteX5997" fmla="*/ 234061 w 3503192"/>
              <a:gd name="connsiteY5997" fmla="*/ 3996729 h 5818346"/>
              <a:gd name="connsiteX5998" fmla="*/ 223325 w 3503192"/>
              <a:gd name="connsiteY5998" fmla="*/ 3985990 h 5818346"/>
              <a:gd name="connsiteX5999" fmla="*/ 234061 w 3503192"/>
              <a:gd name="connsiteY5999" fmla="*/ 3975254 h 5818346"/>
              <a:gd name="connsiteX6000" fmla="*/ 238603 w 3503192"/>
              <a:gd name="connsiteY6000" fmla="*/ 3979796 h 5818346"/>
              <a:gd name="connsiteX6001" fmla="*/ 246780 w 3503192"/>
              <a:gd name="connsiteY6001" fmla="*/ 3971619 h 5818346"/>
              <a:gd name="connsiteX6002" fmla="*/ 251157 w 3503192"/>
              <a:gd name="connsiteY6002" fmla="*/ 3975996 h 5818346"/>
              <a:gd name="connsiteX6003" fmla="*/ 258342 w 3503192"/>
              <a:gd name="connsiteY6003" fmla="*/ 3968812 h 5818346"/>
              <a:gd name="connsiteX6004" fmla="*/ 263546 w 3503192"/>
              <a:gd name="connsiteY6004" fmla="*/ 3974016 h 5818346"/>
              <a:gd name="connsiteX6005" fmla="*/ 427158 w 3503192"/>
              <a:gd name="connsiteY6005" fmla="*/ 3961873 h 5818346"/>
              <a:gd name="connsiteX6006" fmla="*/ 437896 w 3503192"/>
              <a:gd name="connsiteY6006" fmla="*/ 3972609 h 5818346"/>
              <a:gd name="connsiteX6007" fmla="*/ 427158 w 3503192"/>
              <a:gd name="connsiteY6007" fmla="*/ 3983348 h 5818346"/>
              <a:gd name="connsiteX6008" fmla="*/ 416422 w 3503192"/>
              <a:gd name="connsiteY6008" fmla="*/ 3972609 h 5818346"/>
              <a:gd name="connsiteX6009" fmla="*/ 427158 w 3503192"/>
              <a:gd name="connsiteY6009" fmla="*/ 3961873 h 5818346"/>
              <a:gd name="connsiteX6010" fmla="*/ 294352 w 3503192"/>
              <a:gd name="connsiteY6010" fmla="*/ 3958405 h 5818346"/>
              <a:gd name="connsiteX6011" fmla="*/ 305089 w 3503192"/>
              <a:gd name="connsiteY6011" fmla="*/ 3969141 h 5818346"/>
              <a:gd name="connsiteX6012" fmla="*/ 294352 w 3503192"/>
              <a:gd name="connsiteY6012" fmla="*/ 3979877 h 5818346"/>
              <a:gd name="connsiteX6013" fmla="*/ 283616 w 3503192"/>
              <a:gd name="connsiteY6013" fmla="*/ 3969141 h 5818346"/>
              <a:gd name="connsiteX6014" fmla="*/ 294352 w 3503192"/>
              <a:gd name="connsiteY6014" fmla="*/ 3958405 h 5818346"/>
              <a:gd name="connsiteX6015" fmla="*/ 2951622 w 3503192"/>
              <a:gd name="connsiteY6015" fmla="*/ 3957083 h 5818346"/>
              <a:gd name="connsiteX6016" fmla="*/ 2962361 w 3503192"/>
              <a:gd name="connsiteY6016" fmla="*/ 3967820 h 5818346"/>
              <a:gd name="connsiteX6017" fmla="*/ 2951622 w 3503192"/>
              <a:gd name="connsiteY6017" fmla="*/ 3978558 h 5818346"/>
              <a:gd name="connsiteX6018" fmla="*/ 2940886 w 3503192"/>
              <a:gd name="connsiteY6018" fmla="*/ 3967820 h 5818346"/>
              <a:gd name="connsiteX6019" fmla="*/ 2951622 w 3503192"/>
              <a:gd name="connsiteY6019" fmla="*/ 3957083 h 5818346"/>
              <a:gd name="connsiteX6020" fmla="*/ 828548 w 3503192"/>
              <a:gd name="connsiteY6020" fmla="*/ 3955762 h 5818346"/>
              <a:gd name="connsiteX6021" fmla="*/ 839286 w 3503192"/>
              <a:gd name="connsiteY6021" fmla="*/ 3966498 h 5818346"/>
              <a:gd name="connsiteX6022" fmla="*/ 828548 w 3503192"/>
              <a:gd name="connsiteY6022" fmla="*/ 3977236 h 5818346"/>
              <a:gd name="connsiteX6023" fmla="*/ 817811 w 3503192"/>
              <a:gd name="connsiteY6023" fmla="*/ 3966498 h 5818346"/>
              <a:gd name="connsiteX6024" fmla="*/ 828548 w 3503192"/>
              <a:gd name="connsiteY6024" fmla="*/ 3955762 h 5818346"/>
              <a:gd name="connsiteX6025" fmla="*/ 2719049 w 3503192"/>
              <a:gd name="connsiteY6025" fmla="*/ 3955101 h 5818346"/>
              <a:gd name="connsiteX6026" fmla="*/ 2729785 w 3503192"/>
              <a:gd name="connsiteY6026" fmla="*/ 3965837 h 5818346"/>
              <a:gd name="connsiteX6027" fmla="*/ 2719049 w 3503192"/>
              <a:gd name="connsiteY6027" fmla="*/ 3976576 h 5818346"/>
              <a:gd name="connsiteX6028" fmla="*/ 2708313 w 3503192"/>
              <a:gd name="connsiteY6028" fmla="*/ 3965837 h 5818346"/>
              <a:gd name="connsiteX6029" fmla="*/ 2719049 w 3503192"/>
              <a:gd name="connsiteY6029" fmla="*/ 3955101 h 5818346"/>
              <a:gd name="connsiteX6030" fmla="*/ 1320292 w 3503192"/>
              <a:gd name="connsiteY6030" fmla="*/ 3953946 h 5818346"/>
              <a:gd name="connsiteX6031" fmla="*/ 1331030 w 3503192"/>
              <a:gd name="connsiteY6031" fmla="*/ 3964682 h 5818346"/>
              <a:gd name="connsiteX6032" fmla="*/ 1320292 w 3503192"/>
              <a:gd name="connsiteY6032" fmla="*/ 3975421 h 5818346"/>
              <a:gd name="connsiteX6033" fmla="*/ 1309556 w 3503192"/>
              <a:gd name="connsiteY6033" fmla="*/ 3964682 h 5818346"/>
              <a:gd name="connsiteX6034" fmla="*/ 1320292 w 3503192"/>
              <a:gd name="connsiteY6034" fmla="*/ 3953946 h 5818346"/>
              <a:gd name="connsiteX6035" fmla="*/ 3182876 w 3503192"/>
              <a:gd name="connsiteY6035" fmla="*/ 3950476 h 5818346"/>
              <a:gd name="connsiteX6036" fmla="*/ 3193614 w 3503192"/>
              <a:gd name="connsiteY6036" fmla="*/ 3961212 h 5818346"/>
              <a:gd name="connsiteX6037" fmla="*/ 3182876 w 3503192"/>
              <a:gd name="connsiteY6037" fmla="*/ 3971950 h 5818346"/>
              <a:gd name="connsiteX6038" fmla="*/ 3172140 w 3503192"/>
              <a:gd name="connsiteY6038" fmla="*/ 3961212 h 5818346"/>
              <a:gd name="connsiteX6039" fmla="*/ 3182876 w 3503192"/>
              <a:gd name="connsiteY6039" fmla="*/ 3950476 h 5818346"/>
              <a:gd name="connsiteX6040" fmla="*/ 329535 w 3503192"/>
              <a:gd name="connsiteY6040" fmla="*/ 3947008 h 5818346"/>
              <a:gd name="connsiteX6041" fmla="*/ 340274 w 3503192"/>
              <a:gd name="connsiteY6041" fmla="*/ 3957744 h 5818346"/>
              <a:gd name="connsiteX6042" fmla="*/ 329535 w 3503192"/>
              <a:gd name="connsiteY6042" fmla="*/ 3968482 h 5818346"/>
              <a:gd name="connsiteX6043" fmla="*/ 318799 w 3503192"/>
              <a:gd name="connsiteY6043" fmla="*/ 3957744 h 5818346"/>
              <a:gd name="connsiteX6044" fmla="*/ 329535 w 3503192"/>
              <a:gd name="connsiteY6044" fmla="*/ 3947008 h 5818346"/>
              <a:gd name="connsiteX6045" fmla="*/ 2490272 w 3503192"/>
              <a:gd name="connsiteY6045" fmla="*/ 3944696 h 5818346"/>
              <a:gd name="connsiteX6046" fmla="*/ 2501010 w 3503192"/>
              <a:gd name="connsiteY6046" fmla="*/ 3955432 h 5818346"/>
              <a:gd name="connsiteX6047" fmla="*/ 2490272 w 3503192"/>
              <a:gd name="connsiteY6047" fmla="*/ 3966170 h 5818346"/>
              <a:gd name="connsiteX6048" fmla="*/ 2479535 w 3503192"/>
              <a:gd name="connsiteY6048" fmla="*/ 3955432 h 5818346"/>
              <a:gd name="connsiteX6049" fmla="*/ 2490272 w 3503192"/>
              <a:gd name="connsiteY6049" fmla="*/ 3944696 h 5818346"/>
              <a:gd name="connsiteX6050" fmla="*/ 3407523 w 3503192"/>
              <a:gd name="connsiteY6050" fmla="*/ 3936271 h 5818346"/>
              <a:gd name="connsiteX6051" fmla="*/ 3418261 w 3503192"/>
              <a:gd name="connsiteY6051" fmla="*/ 3947008 h 5818346"/>
              <a:gd name="connsiteX6052" fmla="*/ 3407523 w 3503192"/>
              <a:gd name="connsiteY6052" fmla="*/ 3957746 h 5818346"/>
              <a:gd name="connsiteX6053" fmla="*/ 3396786 w 3503192"/>
              <a:gd name="connsiteY6053" fmla="*/ 3947008 h 5818346"/>
              <a:gd name="connsiteX6054" fmla="*/ 3407523 w 3503192"/>
              <a:gd name="connsiteY6054" fmla="*/ 3936271 h 5818346"/>
              <a:gd name="connsiteX6055" fmla="*/ 254544 w 3503192"/>
              <a:gd name="connsiteY6055" fmla="*/ 3935446 h 5818346"/>
              <a:gd name="connsiteX6056" fmla="*/ 265280 w 3503192"/>
              <a:gd name="connsiteY6056" fmla="*/ 3946182 h 5818346"/>
              <a:gd name="connsiteX6057" fmla="*/ 254544 w 3503192"/>
              <a:gd name="connsiteY6057" fmla="*/ 3956919 h 5818346"/>
              <a:gd name="connsiteX6058" fmla="*/ 251405 w 3503192"/>
              <a:gd name="connsiteY6058" fmla="*/ 3953780 h 5818346"/>
              <a:gd name="connsiteX6059" fmla="*/ 242649 w 3503192"/>
              <a:gd name="connsiteY6059" fmla="*/ 3962536 h 5818346"/>
              <a:gd name="connsiteX6060" fmla="*/ 239758 w 3503192"/>
              <a:gd name="connsiteY6060" fmla="*/ 3959645 h 5818346"/>
              <a:gd name="connsiteX6061" fmla="*/ 231913 w 3503192"/>
              <a:gd name="connsiteY6061" fmla="*/ 3967490 h 5818346"/>
              <a:gd name="connsiteX6062" fmla="*/ 228280 w 3503192"/>
              <a:gd name="connsiteY6062" fmla="*/ 3963857 h 5818346"/>
              <a:gd name="connsiteX6063" fmla="*/ 218698 w 3503192"/>
              <a:gd name="connsiteY6063" fmla="*/ 3973437 h 5818346"/>
              <a:gd name="connsiteX6064" fmla="*/ 207962 w 3503192"/>
              <a:gd name="connsiteY6064" fmla="*/ 3962700 h 5818346"/>
              <a:gd name="connsiteX6065" fmla="*/ 218698 w 3503192"/>
              <a:gd name="connsiteY6065" fmla="*/ 3951964 h 5818346"/>
              <a:gd name="connsiteX6066" fmla="*/ 222331 w 3503192"/>
              <a:gd name="connsiteY6066" fmla="*/ 3955599 h 5818346"/>
              <a:gd name="connsiteX6067" fmla="*/ 231913 w 3503192"/>
              <a:gd name="connsiteY6067" fmla="*/ 3946017 h 5818346"/>
              <a:gd name="connsiteX6068" fmla="*/ 234802 w 3503192"/>
              <a:gd name="connsiteY6068" fmla="*/ 3948908 h 5818346"/>
              <a:gd name="connsiteX6069" fmla="*/ 242649 w 3503192"/>
              <a:gd name="connsiteY6069" fmla="*/ 3941061 h 5818346"/>
              <a:gd name="connsiteX6070" fmla="*/ 245788 w 3503192"/>
              <a:gd name="connsiteY6070" fmla="*/ 3944202 h 5818346"/>
              <a:gd name="connsiteX6071" fmla="*/ 522798 w 3503192"/>
              <a:gd name="connsiteY6071" fmla="*/ 3931976 h 5818346"/>
              <a:gd name="connsiteX6072" fmla="*/ 533535 w 3503192"/>
              <a:gd name="connsiteY6072" fmla="*/ 3942712 h 5818346"/>
              <a:gd name="connsiteX6073" fmla="*/ 522798 w 3503192"/>
              <a:gd name="connsiteY6073" fmla="*/ 3953450 h 5818346"/>
              <a:gd name="connsiteX6074" fmla="*/ 512062 w 3503192"/>
              <a:gd name="connsiteY6074" fmla="*/ 3942712 h 5818346"/>
              <a:gd name="connsiteX6075" fmla="*/ 522798 w 3503192"/>
              <a:gd name="connsiteY6075" fmla="*/ 3931976 h 5818346"/>
              <a:gd name="connsiteX6076" fmla="*/ 203337 w 3503192"/>
              <a:gd name="connsiteY6076" fmla="*/ 3929829 h 5818346"/>
              <a:gd name="connsiteX6077" fmla="*/ 214075 w 3503192"/>
              <a:gd name="connsiteY6077" fmla="*/ 3940565 h 5818346"/>
              <a:gd name="connsiteX6078" fmla="*/ 203337 w 3503192"/>
              <a:gd name="connsiteY6078" fmla="*/ 3951303 h 5818346"/>
              <a:gd name="connsiteX6079" fmla="*/ 192601 w 3503192"/>
              <a:gd name="connsiteY6079" fmla="*/ 3940565 h 5818346"/>
              <a:gd name="connsiteX6080" fmla="*/ 203337 w 3503192"/>
              <a:gd name="connsiteY6080" fmla="*/ 3929829 h 5818346"/>
              <a:gd name="connsiteX6081" fmla="*/ 384376 w 3503192"/>
              <a:gd name="connsiteY6081" fmla="*/ 3927847 h 5818346"/>
              <a:gd name="connsiteX6082" fmla="*/ 395112 w 3503192"/>
              <a:gd name="connsiteY6082" fmla="*/ 3938583 h 5818346"/>
              <a:gd name="connsiteX6083" fmla="*/ 384376 w 3503192"/>
              <a:gd name="connsiteY6083" fmla="*/ 3949321 h 5818346"/>
              <a:gd name="connsiteX6084" fmla="*/ 373639 w 3503192"/>
              <a:gd name="connsiteY6084" fmla="*/ 3938583 h 5818346"/>
              <a:gd name="connsiteX6085" fmla="*/ 384376 w 3503192"/>
              <a:gd name="connsiteY6085" fmla="*/ 3927847 h 5818346"/>
              <a:gd name="connsiteX6086" fmla="*/ 2270250 w 3503192"/>
              <a:gd name="connsiteY6086" fmla="*/ 3927682 h 5818346"/>
              <a:gd name="connsiteX6087" fmla="*/ 2280988 w 3503192"/>
              <a:gd name="connsiteY6087" fmla="*/ 3938418 h 5818346"/>
              <a:gd name="connsiteX6088" fmla="*/ 2270250 w 3503192"/>
              <a:gd name="connsiteY6088" fmla="*/ 3949156 h 5818346"/>
              <a:gd name="connsiteX6089" fmla="*/ 2259514 w 3503192"/>
              <a:gd name="connsiteY6089" fmla="*/ 3938418 h 5818346"/>
              <a:gd name="connsiteX6090" fmla="*/ 2270250 w 3503192"/>
              <a:gd name="connsiteY6090" fmla="*/ 3927682 h 5818346"/>
              <a:gd name="connsiteX6091" fmla="*/ 272052 w 3503192"/>
              <a:gd name="connsiteY6091" fmla="*/ 3927351 h 5818346"/>
              <a:gd name="connsiteX6092" fmla="*/ 282790 w 3503192"/>
              <a:gd name="connsiteY6092" fmla="*/ 3938087 h 5818346"/>
              <a:gd name="connsiteX6093" fmla="*/ 272052 w 3503192"/>
              <a:gd name="connsiteY6093" fmla="*/ 3948825 h 5818346"/>
              <a:gd name="connsiteX6094" fmla="*/ 261316 w 3503192"/>
              <a:gd name="connsiteY6094" fmla="*/ 3938087 h 5818346"/>
              <a:gd name="connsiteX6095" fmla="*/ 272052 w 3503192"/>
              <a:gd name="connsiteY6095" fmla="*/ 3927351 h 5818346"/>
              <a:gd name="connsiteX6096" fmla="*/ 739020 w 3503192"/>
              <a:gd name="connsiteY6096" fmla="*/ 3921239 h 5818346"/>
              <a:gd name="connsiteX6097" fmla="*/ 749757 w 3503192"/>
              <a:gd name="connsiteY6097" fmla="*/ 3931976 h 5818346"/>
              <a:gd name="connsiteX6098" fmla="*/ 739020 w 3503192"/>
              <a:gd name="connsiteY6098" fmla="*/ 3942712 h 5818346"/>
              <a:gd name="connsiteX6099" fmla="*/ 728284 w 3503192"/>
              <a:gd name="connsiteY6099" fmla="*/ 3931976 h 5818346"/>
              <a:gd name="connsiteX6100" fmla="*/ 739020 w 3503192"/>
              <a:gd name="connsiteY6100" fmla="*/ 3921239 h 5818346"/>
              <a:gd name="connsiteX6101" fmla="*/ 1184349 w 3503192"/>
              <a:gd name="connsiteY6101" fmla="*/ 3920910 h 5818346"/>
              <a:gd name="connsiteX6102" fmla="*/ 1195085 w 3503192"/>
              <a:gd name="connsiteY6102" fmla="*/ 3931646 h 5818346"/>
              <a:gd name="connsiteX6103" fmla="*/ 1184349 w 3503192"/>
              <a:gd name="connsiteY6103" fmla="*/ 3942384 h 5818346"/>
              <a:gd name="connsiteX6104" fmla="*/ 1173613 w 3503192"/>
              <a:gd name="connsiteY6104" fmla="*/ 3931646 h 5818346"/>
              <a:gd name="connsiteX6105" fmla="*/ 1184349 w 3503192"/>
              <a:gd name="connsiteY6105" fmla="*/ 3920910 h 5818346"/>
              <a:gd name="connsiteX6106" fmla="*/ 300628 w 3503192"/>
              <a:gd name="connsiteY6106" fmla="*/ 3914797 h 5818346"/>
              <a:gd name="connsiteX6107" fmla="*/ 311366 w 3503192"/>
              <a:gd name="connsiteY6107" fmla="*/ 3925533 h 5818346"/>
              <a:gd name="connsiteX6108" fmla="*/ 300628 w 3503192"/>
              <a:gd name="connsiteY6108" fmla="*/ 3936270 h 5818346"/>
              <a:gd name="connsiteX6109" fmla="*/ 289892 w 3503192"/>
              <a:gd name="connsiteY6109" fmla="*/ 3925533 h 5818346"/>
              <a:gd name="connsiteX6110" fmla="*/ 300628 w 3503192"/>
              <a:gd name="connsiteY6110" fmla="*/ 3914797 h 5818346"/>
              <a:gd name="connsiteX6111" fmla="*/ 187811 w 3503192"/>
              <a:gd name="connsiteY6111" fmla="*/ 3913807 h 5818346"/>
              <a:gd name="connsiteX6112" fmla="*/ 193426 w 3503192"/>
              <a:gd name="connsiteY6112" fmla="*/ 3919424 h 5818346"/>
              <a:gd name="connsiteX6113" fmla="*/ 187811 w 3503192"/>
              <a:gd name="connsiteY6113" fmla="*/ 3925039 h 5818346"/>
              <a:gd name="connsiteX6114" fmla="*/ 182194 w 3503192"/>
              <a:gd name="connsiteY6114" fmla="*/ 3919424 h 5818346"/>
              <a:gd name="connsiteX6115" fmla="*/ 187811 w 3503192"/>
              <a:gd name="connsiteY6115" fmla="*/ 3913807 h 5818346"/>
              <a:gd name="connsiteX6116" fmla="*/ 238191 w 3503192"/>
              <a:gd name="connsiteY6116" fmla="*/ 3907199 h 5818346"/>
              <a:gd name="connsiteX6117" fmla="*/ 248927 w 3503192"/>
              <a:gd name="connsiteY6117" fmla="*/ 3917936 h 5818346"/>
              <a:gd name="connsiteX6118" fmla="*/ 238191 w 3503192"/>
              <a:gd name="connsiteY6118" fmla="*/ 3928674 h 5818346"/>
              <a:gd name="connsiteX6119" fmla="*/ 236786 w 3503192"/>
              <a:gd name="connsiteY6119" fmla="*/ 3927269 h 5818346"/>
              <a:gd name="connsiteX6120" fmla="*/ 227948 w 3503192"/>
              <a:gd name="connsiteY6120" fmla="*/ 3936107 h 5818346"/>
              <a:gd name="connsiteX6121" fmla="*/ 226296 w 3503192"/>
              <a:gd name="connsiteY6121" fmla="*/ 3934456 h 5818346"/>
              <a:gd name="connsiteX6122" fmla="*/ 217543 w 3503192"/>
              <a:gd name="connsiteY6122" fmla="*/ 3943210 h 5818346"/>
              <a:gd name="connsiteX6123" fmla="*/ 206807 w 3503192"/>
              <a:gd name="connsiteY6123" fmla="*/ 3932472 h 5818346"/>
              <a:gd name="connsiteX6124" fmla="*/ 217543 w 3503192"/>
              <a:gd name="connsiteY6124" fmla="*/ 3921735 h 5818346"/>
              <a:gd name="connsiteX6125" fmla="*/ 219194 w 3503192"/>
              <a:gd name="connsiteY6125" fmla="*/ 3923386 h 5818346"/>
              <a:gd name="connsiteX6126" fmla="*/ 227948 w 3503192"/>
              <a:gd name="connsiteY6126" fmla="*/ 3914632 h 5818346"/>
              <a:gd name="connsiteX6127" fmla="*/ 229353 w 3503192"/>
              <a:gd name="connsiteY6127" fmla="*/ 3916037 h 5818346"/>
              <a:gd name="connsiteX6128" fmla="*/ 2061627 w 3503192"/>
              <a:gd name="connsiteY6128" fmla="*/ 3905547 h 5818346"/>
              <a:gd name="connsiteX6129" fmla="*/ 2072364 w 3503192"/>
              <a:gd name="connsiteY6129" fmla="*/ 3916283 h 5818346"/>
              <a:gd name="connsiteX6130" fmla="*/ 2061627 w 3503192"/>
              <a:gd name="connsiteY6130" fmla="*/ 3927021 h 5818346"/>
              <a:gd name="connsiteX6131" fmla="*/ 2050891 w 3503192"/>
              <a:gd name="connsiteY6131" fmla="*/ 3916283 h 5818346"/>
              <a:gd name="connsiteX6132" fmla="*/ 2061627 w 3503192"/>
              <a:gd name="connsiteY6132" fmla="*/ 3905547 h 5818346"/>
              <a:gd name="connsiteX6133" fmla="*/ 466802 w 3503192"/>
              <a:gd name="connsiteY6133" fmla="*/ 3898279 h 5818346"/>
              <a:gd name="connsiteX6134" fmla="*/ 477538 w 3503192"/>
              <a:gd name="connsiteY6134" fmla="*/ 3909015 h 5818346"/>
              <a:gd name="connsiteX6135" fmla="*/ 466802 w 3503192"/>
              <a:gd name="connsiteY6135" fmla="*/ 3919751 h 5818346"/>
              <a:gd name="connsiteX6136" fmla="*/ 456065 w 3503192"/>
              <a:gd name="connsiteY6136" fmla="*/ 3909015 h 5818346"/>
              <a:gd name="connsiteX6137" fmla="*/ 466802 w 3503192"/>
              <a:gd name="connsiteY6137" fmla="*/ 3898279 h 5818346"/>
              <a:gd name="connsiteX6138" fmla="*/ 252231 w 3503192"/>
              <a:gd name="connsiteY6138" fmla="*/ 3897618 h 5818346"/>
              <a:gd name="connsiteX6139" fmla="*/ 262969 w 3503192"/>
              <a:gd name="connsiteY6139" fmla="*/ 3908354 h 5818346"/>
              <a:gd name="connsiteX6140" fmla="*/ 252231 w 3503192"/>
              <a:gd name="connsiteY6140" fmla="*/ 3919092 h 5818346"/>
              <a:gd name="connsiteX6141" fmla="*/ 241494 w 3503192"/>
              <a:gd name="connsiteY6141" fmla="*/ 3908354 h 5818346"/>
              <a:gd name="connsiteX6142" fmla="*/ 252231 w 3503192"/>
              <a:gd name="connsiteY6142" fmla="*/ 3897618 h 5818346"/>
              <a:gd name="connsiteX6143" fmla="*/ 346550 w 3503192"/>
              <a:gd name="connsiteY6143" fmla="*/ 3895306 h 5818346"/>
              <a:gd name="connsiteX6144" fmla="*/ 357286 w 3503192"/>
              <a:gd name="connsiteY6144" fmla="*/ 3906043 h 5818346"/>
              <a:gd name="connsiteX6145" fmla="*/ 346550 w 3503192"/>
              <a:gd name="connsiteY6145" fmla="*/ 3916781 h 5818346"/>
              <a:gd name="connsiteX6146" fmla="*/ 335813 w 3503192"/>
              <a:gd name="connsiteY6146" fmla="*/ 3906043 h 5818346"/>
              <a:gd name="connsiteX6147" fmla="*/ 346550 w 3503192"/>
              <a:gd name="connsiteY6147" fmla="*/ 3895306 h 5818346"/>
              <a:gd name="connsiteX6148" fmla="*/ 1059968 w 3503192"/>
              <a:gd name="connsiteY6148" fmla="*/ 3888203 h 5818346"/>
              <a:gd name="connsiteX6149" fmla="*/ 1070704 w 3503192"/>
              <a:gd name="connsiteY6149" fmla="*/ 3898939 h 5818346"/>
              <a:gd name="connsiteX6150" fmla="*/ 1059968 w 3503192"/>
              <a:gd name="connsiteY6150" fmla="*/ 3909676 h 5818346"/>
              <a:gd name="connsiteX6151" fmla="*/ 1049232 w 3503192"/>
              <a:gd name="connsiteY6151" fmla="*/ 3898939 h 5818346"/>
              <a:gd name="connsiteX6152" fmla="*/ 1059968 w 3503192"/>
              <a:gd name="connsiteY6152" fmla="*/ 3888203 h 5818346"/>
              <a:gd name="connsiteX6153" fmla="*/ 658081 w 3503192"/>
              <a:gd name="connsiteY6153" fmla="*/ 3887378 h 5818346"/>
              <a:gd name="connsiteX6154" fmla="*/ 668819 w 3503192"/>
              <a:gd name="connsiteY6154" fmla="*/ 3898114 h 5818346"/>
              <a:gd name="connsiteX6155" fmla="*/ 658081 w 3503192"/>
              <a:gd name="connsiteY6155" fmla="*/ 3908852 h 5818346"/>
              <a:gd name="connsiteX6156" fmla="*/ 647344 w 3503192"/>
              <a:gd name="connsiteY6156" fmla="*/ 3898114 h 5818346"/>
              <a:gd name="connsiteX6157" fmla="*/ 658081 w 3503192"/>
              <a:gd name="connsiteY6157" fmla="*/ 3887378 h 5818346"/>
              <a:gd name="connsiteX6158" fmla="*/ 275191 w 3503192"/>
              <a:gd name="connsiteY6158" fmla="*/ 3883908 h 5818346"/>
              <a:gd name="connsiteX6159" fmla="*/ 285928 w 3503192"/>
              <a:gd name="connsiteY6159" fmla="*/ 3894644 h 5818346"/>
              <a:gd name="connsiteX6160" fmla="*/ 275191 w 3503192"/>
              <a:gd name="connsiteY6160" fmla="*/ 3905382 h 5818346"/>
              <a:gd name="connsiteX6161" fmla="*/ 264455 w 3503192"/>
              <a:gd name="connsiteY6161" fmla="*/ 3894644 h 5818346"/>
              <a:gd name="connsiteX6162" fmla="*/ 275191 w 3503192"/>
              <a:gd name="connsiteY6162" fmla="*/ 3883908 h 5818346"/>
              <a:gd name="connsiteX6163" fmla="*/ 223323 w 3503192"/>
              <a:gd name="connsiteY6163" fmla="*/ 3880274 h 5818346"/>
              <a:gd name="connsiteX6164" fmla="*/ 234061 w 3503192"/>
              <a:gd name="connsiteY6164" fmla="*/ 3891011 h 5818346"/>
              <a:gd name="connsiteX6165" fmla="*/ 224893 w 3503192"/>
              <a:gd name="connsiteY6165" fmla="*/ 3900179 h 5818346"/>
              <a:gd name="connsiteX6166" fmla="*/ 224976 w 3503192"/>
              <a:gd name="connsiteY6166" fmla="*/ 3900261 h 5818346"/>
              <a:gd name="connsiteX6167" fmla="*/ 214238 w 3503192"/>
              <a:gd name="connsiteY6167" fmla="*/ 3910997 h 5818346"/>
              <a:gd name="connsiteX6168" fmla="*/ 213331 w 3503192"/>
              <a:gd name="connsiteY6168" fmla="*/ 3910090 h 5818346"/>
              <a:gd name="connsiteX6169" fmla="*/ 203337 w 3503192"/>
              <a:gd name="connsiteY6169" fmla="*/ 3920084 h 5818346"/>
              <a:gd name="connsiteX6170" fmla="*/ 192601 w 3503192"/>
              <a:gd name="connsiteY6170" fmla="*/ 3909346 h 5818346"/>
              <a:gd name="connsiteX6171" fmla="*/ 203337 w 3503192"/>
              <a:gd name="connsiteY6171" fmla="*/ 3898610 h 5818346"/>
              <a:gd name="connsiteX6172" fmla="*/ 204244 w 3503192"/>
              <a:gd name="connsiteY6172" fmla="*/ 3899519 h 5818346"/>
              <a:gd name="connsiteX6173" fmla="*/ 212669 w 3503192"/>
              <a:gd name="connsiteY6173" fmla="*/ 3891094 h 5818346"/>
              <a:gd name="connsiteX6174" fmla="*/ 212587 w 3503192"/>
              <a:gd name="connsiteY6174" fmla="*/ 3891011 h 5818346"/>
              <a:gd name="connsiteX6175" fmla="*/ 223323 w 3503192"/>
              <a:gd name="connsiteY6175" fmla="*/ 3880274 h 5818346"/>
              <a:gd name="connsiteX6176" fmla="*/ 1866218 w 3503192"/>
              <a:gd name="connsiteY6176" fmla="*/ 3880110 h 5818346"/>
              <a:gd name="connsiteX6177" fmla="*/ 1876954 w 3503192"/>
              <a:gd name="connsiteY6177" fmla="*/ 3890846 h 5818346"/>
              <a:gd name="connsiteX6178" fmla="*/ 1866218 w 3503192"/>
              <a:gd name="connsiteY6178" fmla="*/ 3901584 h 5818346"/>
              <a:gd name="connsiteX6179" fmla="*/ 1855481 w 3503192"/>
              <a:gd name="connsiteY6179" fmla="*/ 3890846 h 5818346"/>
              <a:gd name="connsiteX6180" fmla="*/ 1866218 w 3503192"/>
              <a:gd name="connsiteY6180" fmla="*/ 3880110 h 5818346"/>
              <a:gd name="connsiteX6181" fmla="*/ 189297 w 3503192"/>
              <a:gd name="connsiteY6181" fmla="*/ 3876640 h 5818346"/>
              <a:gd name="connsiteX6182" fmla="*/ 200033 w 3503192"/>
              <a:gd name="connsiteY6182" fmla="*/ 3887376 h 5818346"/>
              <a:gd name="connsiteX6183" fmla="*/ 189297 w 3503192"/>
              <a:gd name="connsiteY6183" fmla="*/ 3898114 h 5818346"/>
              <a:gd name="connsiteX6184" fmla="*/ 178561 w 3503192"/>
              <a:gd name="connsiteY6184" fmla="*/ 3887376 h 5818346"/>
              <a:gd name="connsiteX6185" fmla="*/ 189297 w 3503192"/>
              <a:gd name="connsiteY6185" fmla="*/ 3876640 h 5818346"/>
              <a:gd name="connsiteX6186" fmla="*/ 234556 w 3503192"/>
              <a:gd name="connsiteY6186" fmla="*/ 3869207 h 5818346"/>
              <a:gd name="connsiteX6187" fmla="*/ 245294 w 3503192"/>
              <a:gd name="connsiteY6187" fmla="*/ 3879943 h 5818346"/>
              <a:gd name="connsiteX6188" fmla="*/ 234556 w 3503192"/>
              <a:gd name="connsiteY6188" fmla="*/ 3890681 h 5818346"/>
              <a:gd name="connsiteX6189" fmla="*/ 223819 w 3503192"/>
              <a:gd name="connsiteY6189" fmla="*/ 3879943 h 5818346"/>
              <a:gd name="connsiteX6190" fmla="*/ 234556 w 3503192"/>
              <a:gd name="connsiteY6190" fmla="*/ 3869207 h 5818346"/>
              <a:gd name="connsiteX6191" fmla="*/ 416916 w 3503192"/>
              <a:gd name="connsiteY6191" fmla="*/ 3865574 h 5818346"/>
              <a:gd name="connsiteX6192" fmla="*/ 427652 w 3503192"/>
              <a:gd name="connsiteY6192" fmla="*/ 3876310 h 5818346"/>
              <a:gd name="connsiteX6193" fmla="*/ 416916 w 3503192"/>
              <a:gd name="connsiteY6193" fmla="*/ 3887048 h 5818346"/>
              <a:gd name="connsiteX6194" fmla="*/ 406180 w 3503192"/>
              <a:gd name="connsiteY6194" fmla="*/ 3876310 h 5818346"/>
              <a:gd name="connsiteX6195" fmla="*/ 416916 w 3503192"/>
              <a:gd name="connsiteY6195" fmla="*/ 3865574 h 5818346"/>
              <a:gd name="connsiteX6196" fmla="*/ 313182 w 3503192"/>
              <a:gd name="connsiteY6196" fmla="*/ 3863756 h 5818346"/>
              <a:gd name="connsiteX6197" fmla="*/ 323920 w 3503192"/>
              <a:gd name="connsiteY6197" fmla="*/ 3874493 h 5818346"/>
              <a:gd name="connsiteX6198" fmla="*/ 313182 w 3503192"/>
              <a:gd name="connsiteY6198" fmla="*/ 3885231 h 5818346"/>
              <a:gd name="connsiteX6199" fmla="*/ 302446 w 3503192"/>
              <a:gd name="connsiteY6199" fmla="*/ 3874493 h 5818346"/>
              <a:gd name="connsiteX6200" fmla="*/ 313182 w 3503192"/>
              <a:gd name="connsiteY6200" fmla="*/ 3863756 h 5818346"/>
              <a:gd name="connsiteX6201" fmla="*/ 175090 w 3503192"/>
              <a:gd name="connsiteY6201" fmla="*/ 3855992 h 5818346"/>
              <a:gd name="connsiteX6202" fmla="*/ 185829 w 3503192"/>
              <a:gd name="connsiteY6202" fmla="*/ 3866729 h 5818346"/>
              <a:gd name="connsiteX6203" fmla="*/ 175090 w 3503192"/>
              <a:gd name="connsiteY6203" fmla="*/ 3877467 h 5818346"/>
              <a:gd name="connsiteX6204" fmla="*/ 164354 w 3503192"/>
              <a:gd name="connsiteY6204" fmla="*/ 3866729 h 5818346"/>
              <a:gd name="connsiteX6205" fmla="*/ 175090 w 3503192"/>
              <a:gd name="connsiteY6205" fmla="*/ 3855992 h 5818346"/>
              <a:gd name="connsiteX6206" fmla="*/ 946488 w 3503192"/>
              <a:gd name="connsiteY6206" fmla="*/ 3855828 h 5818346"/>
              <a:gd name="connsiteX6207" fmla="*/ 957224 w 3503192"/>
              <a:gd name="connsiteY6207" fmla="*/ 3866564 h 5818346"/>
              <a:gd name="connsiteX6208" fmla="*/ 946488 w 3503192"/>
              <a:gd name="connsiteY6208" fmla="*/ 3877302 h 5818346"/>
              <a:gd name="connsiteX6209" fmla="*/ 935752 w 3503192"/>
              <a:gd name="connsiteY6209" fmla="*/ 3866564 h 5818346"/>
              <a:gd name="connsiteX6210" fmla="*/ 946488 w 3503192"/>
              <a:gd name="connsiteY6210" fmla="*/ 3855828 h 5818346"/>
              <a:gd name="connsiteX6211" fmla="*/ 585401 w 3503192"/>
              <a:gd name="connsiteY6211" fmla="*/ 3854506 h 5818346"/>
              <a:gd name="connsiteX6212" fmla="*/ 596137 w 3503192"/>
              <a:gd name="connsiteY6212" fmla="*/ 3865242 h 5818346"/>
              <a:gd name="connsiteX6213" fmla="*/ 585401 w 3503192"/>
              <a:gd name="connsiteY6213" fmla="*/ 3875981 h 5818346"/>
              <a:gd name="connsiteX6214" fmla="*/ 574664 w 3503192"/>
              <a:gd name="connsiteY6214" fmla="*/ 3865242 h 5818346"/>
              <a:gd name="connsiteX6215" fmla="*/ 585401 w 3503192"/>
              <a:gd name="connsiteY6215" fmla="*/ 3854506 h 5818346"/>
              <a:gd name="connsiteX6216" fmla="*/ 209448 w 3503192"/>
              <a:gd name="connsiteY6216" fmla="*/ 3854506 h 5818346"/>
              <a:gd name="connsiteX6217" fmla="*/ 220186 w 3503192"/>
              <a:gd name="connsiteY6217" fmla="*/ 3865242 h 5818346"/>
              <a:gd name="connsiteX6218" fmla="*/ 210357 w 3503192"/>
              <a:gd name="connsiteY6218" fmla="*/ 3875072 h 5818346"/>
              <a:gd name="connsiteX6219" fmla="*/ 211597 w 3503192"/>
              <a:gd name="connsiteY6219" fmla="*/ 3876310 h 5818346"/>
              <a:gd name="connsiteX6220" fmla="*/ 200859 w 3503192"/>
              <a:gd name="connsiteY6220" fmla="*/ 3887048 h 5818346"/>
              <a:gd name="connsiteX6221" fmla="*/ 190122 w 3503192"/>
              <a:gd name="connsiteY6221" fmla="*/ 3876310 h 5818346"/>
              <a:gd name="connsiteX6222" fmla="*/ 199950 w 3503192"/>
              <a:gd name="connsiteY6222" fmla="*/ 3866482 h 5818346"/>
              <a:gd name="connsiteX6223" fmla="*/ 198712 w 3503192"/>
              <a:gd name="connsiteY6223" fmla="*/ 3865242 h 5818346"/>
              <a:gd name="connsiteX6224" fmla="*/ 209448 w 3503192"/>
              <a:gd name="connsiteY6224" fmla="*/ 3854506 h 5818346"/>
              <a:gd name="connsiteX6225" fmla="*/ 252891 w 3503192"/>
              <a:gd name="connsiteY6225" fmla="*/ 3854341 h 5818346"/>
              <a:gd name="connsiteX6226" fmla="*/ 263629 w 3503192"/>
              <a:gd name="connsiteY6226" fmla="*/ 3865078 h 5818346"/>
              <a:gd name="connsiteX6227" fmla="*/ 252891 w 3503192"/>
              <a:gd name="connsiteY6227" fmla="*/ 3875816 h 5818346"/>
              <a:gd name="connsiteX6228" fmla="*/ 242155 w 3503192"/>
              <a:gd name="connsiteY6228" fmla="*/ 3865078 h 5818346"/>
              <a:gd name="connsiteX6229" fmla="*/ 252891 w 3503192"/>
              <a:gd name="connsiteY6229" fmla="*/ 3854341 h 5818346"/>
              <a:gd name="connsiteX6230" fmla="*/ 1684518 w 3503192"/>
              <a:gd name="connsiteY6230" fmla="*/ 3852689 h 5818346"/>
              <a:gd name="connsiteX6231" fmla="*/ 1695254 w 3503192"/>
              <a:gd name="connsiteY6231" fmla="*/ 3863425 h 5818346"/>
              <a:gd name="connsiteX6232" fmla="*/ 1684518 w 3503192"/>
              <a:gd name="connsiteY6232" fmla="*/ 3874163 h 5818346"/>
              <a:gd name="connsiteX6233" fmla="*/ 1673782 w 3503192"/>
              <a:gd name="connsiteY6233" fmla="*/ 3863425 h 5818346"/>
              <a:gd name="connsiteX6234" fmla="*/ 1684518 w 3503192"/>
              <a:gd name="connsiteY6234" fmla="*/ 3852689 h 5818346"/>
              <a:gd name="connsiteX6235" fmla="*/ 160556 w 3503192"/>
              <a:gd name="connsiteY6235" fmla="*/ 3843439 h 5818346"/>
              <a:gd name="connsiteX6236" fmla="*/ 164189 w 3503192"/>
              <a:gd name="connsiteY6236" fmla="*/ 3847073 h 5818346"/>
              <a:gd name="connsiteX6237" fmla="*/ 160556 w 3503192"/>
              <a:gd name="connsiteY6237" fmla="*/ 3850707 h 5818346"/>
              <a:gd name="connsiteX6238" fmla="*/ 156921 w 3503192"/>
              <a:gd name="connsiteY6238" fmla="*/ 3847073 h 5818346"/>
              <a:gd name="connsiteX6239" fmla="*/ 160556 w 3503192"/>
              <a:gd name="connsiteY6239" fmla="*/ 3843439 h 5818346"/>
              <a:gd name="connsiteX6240" fmla="*/ 187811 w 3503192"/>
              <a:gd name="connsiteY6240" fmla="*/ 3842943 h 5818346"/>
              <a:gd name="connsiteX6241" fmla="*/ 198549 w 3503192"/>
              <a:gd name="connsiteY6241" fmla="*/ 3853679 h 5818346"/>
              <a:gd name="connsiteX6242" fmla="*/ 187811 w 3503192"/>
              <a:gd name="connsiteY6242" fmla="*/ 3864417 h 5818346"/>
              <a:gd name="connsiteX6243" fmla="*/ 177074 w 3503192"/>
              <a:gd name="connsiteY6243" fmla="*/ 3853679 h 5818346"/>
              <a:gd name="connsiteX6244" fmla="*/ 187811 w 3503192"/>
              <a:gd name="connsiteY6244" fmla="*/ 3842943 h 5818346"/>
              <a:gd name="connsiteX6245" fmla="*/ 218698 w 3503192"/>
              <a:gd name="connsiteY6245" fmla="*/ 3841952 h 5818346"/>
              <a:gd name="connsiteX6246" fmla="*/ 229436 w 3503192"/>
              <a:gd name="connsiteY6246" fmla="*/ 3852689 h 5818346"/>
              <a:gd name="connsiteX6247" fmla="*/ 218698 w 3503192"/>
              <a:gd name="connsiteY6247" fmla="*/ 3863427 h 5818346"/>
              <a:gd name="connsiteX6248" fmla="*/ 207962 w 3503192"/>
              <a:gd name="connsiteY6248" fmla="*/ 3852689 h 5818346"/>
              <a:gd name="connsiteX6249" fmla="*/ 218698 w 3503192"/>
              <a:gd name="connsiteY6249" fmla="*/ 3841952 h 5818346"/>
              <a:gd name="connsiteX6250" fmla="*/ 372647 w 3503192"/>
              <a:gd name="connsiteY6250" fmla="*/ 3834024 h 5818346"/>
              <a:gd name="connsiteX6251" fmla="*/ 383384 w 3503192"/>
              <a:gd name="connsiteY6251" fmla="*/ 3844760 h 5818346"/>
              <a:gd name="connsiteX6252" fmla="*/ 372647 w 3503192"/>
              <a:gd name="connsiteY6252" fmla="*/ 3855496 h 5818346"/>
              <a:gd name="connsiteX6253" fmla="*/ 361911 w 3503192"/>
              <a:gd name="connsiteY6253" fmla="*/ 3844760 h 5818346"/>
              <a:gd name="connsiteX6254" fmla="*/ 372647 w 3503192"/>
              <a:gd name="connsiteY6254" fmla="*/ 3834024 h 5818346"/>
              <a:gd name="connsiteX6255" fmla="*/ 283616 w 3503192"/>
              <a:gd name="connsiteY6255" fmla="*/ 3833363 h 5818346"/>
              <a:gd name="connsiteX6256" fmla="*/ 294352 w 3503192"/>
              <a:gd name="connsiteY6256" fmla="*/ 3844099 h 5818346"/>
              <a:gd name="connsiteX6257" fmla="*/ 283616 w 3503192"/>
              <a:gd name="connsiteY6257" fmla="*/ 3854837 h 5818346"/>
              <a:gd name="connsiteX6258" fmla="*/ 272880 w 3503192"/>
              <a:gd name="connsiteY6258" fmla="*/ 3844099 h 5818346"/>
              <a:gd name="connsiteX6259" fmla="*/ 283616 w 3503192"/>
              <a:gd name="connsiteY6259" fmla="*/ 3833363 h 5818346"/>
              <a:gd name="connsiteX6260" fmla="*/ 196565 w 3503192"/>
              <a:gd name="connsiteY6260" fmla="*/ 3830059 h 5818346"/>
              <a:gd name="connsiteX6261" fmla="*/ 207303 w 3503192"/>
              <a:gd name="connsiteY6261" fmla="*/ 3840796 h 5818346"/>
              <a:gd name="connsiteX6262" fmla="*/ 196565 w 3503192"/>
              <a:gd name="connsiteY6262" fmla="*/ 3851534 h 5818346"/>
              <a:gd name="connsiteX6263" fmla="*/ 185829 w 3503192"/>
              <a:gd name="connsiteY6263" fmla="*/ 3840796 h 5818346"/>
              <a:gd name="connsiteX6264" fmla="*/ 196565 w 3503192"/>
              <a:gd name="connsiteY6264" fmla="*/ 3830059 h 5818346"/>
              <a:gd name="connsiteX6265" fmla="*/ 233070 w 3503192"/>
              <a:gd name="connsiteY6265" fmla="*/ 3825930 h 5818346"/>
              <a:gd name="connsiteX6266" fmla="*/ 243808 w 3503192"/>
              <a:gd name="connsiteY6266" fmla="*/ 3836667 h 5818346"/>
              <a:gd name="connsiteX6267" fmla="*/ 233070 w 3503192"/>
              <a:gd name="connsiteY6267" fmla="*/ 3847405 h 5818346"/>
              <a:gd name="connsiteX6268" fmla="*/ 222333 w 3503192"/>
              <a:gd name="connsiteY6268" fmla="*/ 3836667 h 5818346"/>
              <a:gd name="connsiteX6269" fmla="*/ 233070 w 3503192"/>
              <a:gd name="connsiteY6269" fmla="*/ 3825930 h 5818346"/>
              <a:gd name="connsiteX6270" fmla="*/ 1516529 w 3503192"/>
              <a:gd name="connsiteY6270" fmla="*/ 3824113 h 5818346"/>
              <a:gd name="connsiteX6271" fmla="*/ 1527266 w 3503192"/>
              <a:gd name="connsiteY6271" fmla="*/ 3834849 h 5818346"/>
              <a:gd name="connsiteX6272" fmla="*/ 1516529 w 3503192"/>
              <a:gd name="connsiteY6272" fmla="*/ 3845587 h 5818346"/>
              <a:gd name="connsiteX6273" fmla="*/ 1505793 w 3503192"/>
              <a:gd name="connsiteY6273" fmla="*/ 3834849 h 5818346"/>
              <a:gd name="connsiteX6274" fmla="*/ 1516529 w 3503192"/>
              <a:gd name="connsiteY6274" fmla="*/ 3824113 h 5818346"/>
              <a:gd name="connsiteX6275" fmla="*/ 843415 w 3503192"/>
              <a:gd name="connsiteY6275" fmla="*/ 3823948 h 5818346"/>
              <a:gd name="connsiteX6276" fmla="*/ 854151 w 3503192"/>
              <a:gd name="connsiteY6276" fmla="*/ 3834684 h 5818346"/>
              <a:gd name="connsiteX6277" fmla="*/ 843415 w 3503192"/>
              <a:gd name="connsiteY6277" fmla="*/ 3845421 h 5818346"/>
              <a:gd name="connsiteX6278" fmla="*/ 832678 w 3503192"/>
              <a:gd name="connsiteY6278" fmla="*/ 3834684 h 5818346"/>
              <a:gd name="connsiteX6279" fmla="*/ 843415 w 3503192"/>
              <a:gd name="connsiteY6279" fmla="*/ 3823948 h 5818346"/>
              <a:gd name="connsiteX6280" fmla="*/ 520156 w 3503192"/>
              <a:gd name="connsiteY6280" fmla="*/ 3822627 h 5818346"/>
              <a:gd name="connsiteX6281" fmla="*/ 530892 w 3503192"/>
              <a:gd name="connsiteY6281" fmla="*/ 3833363 h 5818346"/>
              <a:gd name="connsiteX6282" fmla="*/ 520156 w 3503192"/>
              <a:gd name="connsiteY6282" fmla="*/ 3844101 h 5818346"/>
              <a:gd name="connsiteX6283" fmla="*/ 509419 w 3503192"/>
              <a:gd name="connsiteY6283" fmla="*/ 3833363 h 5818346"/>
              <a:gd name="connsiteX6284" fmla="*/ 520156 w 3503192"/>
              <a:gd name="connsiteY6284" fmla="*/ 3822627 h 5818346"/>
              <a:gd name="connsiteX6285" fmla="*/ 174926 w 3503192"/>
              <a:gd name="connsiteY6285" fmla="*/ 3821470 h 5818346"/>
              <a:gd name="connsiteX6286" fmla="*/ 185664 w 3503192"/>
              <a:gd name="connsiteY6286" fmla="*/ 3832206 h 5818346"/>
              <a:gd name="connsiteX6287" fmla="*/ 174926 w 3503192"/>
              <a:gd name="connsiteY6287" fmla="*/ 3842944 h 5818346"/>
              <a:gd name="connsiteX6288" fmla="*/ 164189 w 3503192"/>
              <a:gd name="connsiteY6288" fmla="*/ 3832206 h 5818346"/>
              <a:gd name="connsiteX6289" fmla="*/ 174926 w 3503192"/>
              <a:gd name="connsiteY6289" fmla="*/ 3821470 h 5818346"/>
              <a:gd name="connsiteX6290" fmla="*/ 204494 w 3503192"/>
              <a:gd name="connsiteY6290" fmla="*/ 3816019 h 5818346"/>
              <a:gd name="connsiteX6291" fmla="*/ 215232 w 3503192"/>
              <a:gd name="connsiteY6291" fmla="*/ 3826756 h 5818346"/>
              <a:gd name="connsiteX6292" fmla="*/ 204494 w 3503192"/>
              <a:gd name="connsiteY6292" fmla="*/ 3837494 h 5818346"/>
              <a:gd name="connsiteX6293" fmla="*/ 193757 w 3503192"/>
              <a:gd name="connsiteY6293" fmla="*/ 3826756 h 5818346"/>
              <a:gd name="connsiteX6294" fmla="*/ 204494 w 3503192"/>
              <a:gd name="connsiteY6294" fmla="*/ 3816019 h 5818346"/>
              <a:gd name="connsiteX6295" fmla="*/ 184176 w 3503192"/>
              <a:gd name="connsiteY6295" fmla="*/ 3806934 h 5818346"/>
              <a:gd name="connsiteX6296" fmla="*/ 194914 w 3503192"/>
              <a:gd name="connsiteY6296" fmla="*/ 3817670 h 5818346"/>
              <a:gd name="connsiteX6297" fmla="*/ 184176 w 3503192"/>
              <a:gd name="connsiteY6297" fmla="*/ 3828407 h 5818346"/>
              <a:gd name="connsiteX6298" fmla="*/ 173440 w 3503192"/>
              <a:gd name="connsiteY6298" fmla="*/ 3817670 h 5818346"/>
              <a:gd name="connsiteX6299" fmla="*/ 184176 w 3503192"/>
              <a:gd name="connsiteY6299" fmla="*/ 3806934 h 5818346"/>
              <a:gd name="connsiteX6300" fmla="*/ 257848 w 3503192"/>
              <a:gd name="connsiteY6300" fmla="*/ 3804291 h 5818346"/>
              <a:gd name="connsiteX6301" fmla="*/ 268586 w 3503192"/>
              <a:gd name="connsiteY6301" fmla="*/ 3815027 h 5818346"/>
              <a:gd name="connsiteX6302" fmla="*/ 257848 w 3503192"/>
              <a:gd name="connsiteY6302" fmla="*/ 3825765 h 5818346"/>
              <a:gd name="connsiteX6303" fmla="*/ 247111 w 3503192"/>
              <a:gd name="connsiteY6303" fmla="*/ 3815027 h 5818346"/>
              <a:gd name="connsiteX6304" fmla="*/ 257848 w 3503192"/>
              <a:gd name="connsiteY6304" fmla="*/ 3804291 h 5818346"/>
              <a:gd name="connsiteX6305" fmla="*/ 333664 w 3503192"/>
              <a:gd name="connsiteY6305" fmla="*/ 3803630 h 5818346"/>
              <a:gd name="connsiteX6306" fmla="*/ 344403 w 3503192"/>
              <a:gd name="connsiteY6306" fmla="*/ 3814367 h 5818346"/>
              <a:gd name="connsiteX6307" fmla="*/ 333664 w 3503192"/>
              <a:gd name="connsiteY6307" fmla="*/ 3825105 h 5818346"/>
              <a:gd name="connsiteX6308" fmla="*/ 322928 w 3503192"/>
              <a:gd name="connsiteY6308" fmla="*/ 3814367 h 5818346"/>
              <a:gd name="connsiteX6309" fmla="*/ 333664 w 3503192"/>
              <a:gd name="connsiteY6309" fmla="*/ 3803630 h 5818346"/>
              <a:gd name="connsiteX6310" fmla="*/ 162041 w 3503192"/>
              <a:gd name="connsiteY6310" fmla="*/ 3801152 h 5818346"/>
              <a:gd name="connsiteX6311" fmla="*/ 172779 w 3503192"/>
              <a:gd name="connsiteY6311" fmla="*/ 3811888 h 5818346"/>
              <a:gd name="connsiteX6312" fmla="*/ 162041 w 3503192"/>
              <a:gd name="connsiteY6312" fmla="*/ 3822627 h 5818346"/>
              <a:gd name="connsiteX6313" fmla="*/ 151304 w 3503192"/>
              <a:gd name="connsiteY6313" fmla="*/ 3811888 h 5818346"/>
              <a:gd name="connsiteX6314" fmla="*/ 162041 w 3503192"/>
              <a:gd name="connsiteY6314" fmla="*/ 3801152 h 5818346"/>
              <a:gd name="connsiteX6315" fmla="*/ 215726 w 3503192"/>
              <a:gd name="connsiteY6315" fmla="*/ 3798840 h 5818346"/>
              <a:gd name="connsiteX6316" fmla="*/ 226464 w 3503192"/>
              <a:gd name="connsiteY6316" fmla="*/ 3809577 h 5818346"/>
              <a:gd name="connsiteX6317" fmla="*/ 215726 w 3503192"/>
              <a:gd name="connsiteY6317" fmla="*/ 3820315 h 5818346"/>
              <a:gd name="connsiteX6318" fmla="*/ 204990 w 3503192"/>
              <a:gd name="connsiteY6318" fmla="*/ 3809577 h 5818346"/>
              <a:gd name="connsiteX6319" fmla="*/ 215726 w 3503192"/>
              <a:gd name="connsiteY6319" fmla="*/ 3798840 h 5818346"/>
              <a:gd name="connsiteX6320" fmla="*/ 1361753 w 3503192"/>
              <a:gd name="connsiteY6320" fmla="*/ 3795041 h 5818346"/>
              <a:gd name="connsiteX6321" fmla="*/ 1372489 w 3503192"/>
              <a:gd name="connsiteY6321" fmla="*/ 3805777 h 5818346"/>
              <a:gd name="connsiteX6322" fmla="*/ 1361753 w 3503192"/>
              <a:gd name="connsiteY6322" fmla="*/ 3816514 h 5818346"/>
              <a:gd name="connsiteX6323" fmla="*/ 1351017 w 3503192"/>
              <a:gd name="connsiteY6323" fmla="*/ 3805777 h 5818346"/>
              <a:gd name="connsiteX6324" fmla="*/ 1361753 w 3503192"/>
              <a:gd name="connsiteY6324" fmla="*/ 3795041 h 5818346"/>
              <a:gd name="connsiteX6325" fmla="*/ 749921 w 3503192"/>
              <a:gd name="connsiteY6325" fmla="*/ 3792894 h 5818346"/>
              <a:gd name="connsiteX6326" fmla="*/ 760658 w 3503192"/>
              <a:gd name="connsiteY6326" fmla="*/ 3803630 h 5818346"/>
              <a:gd name="connsiteX6327" fmla="*/ 749921 w 3503192"/>
              <a:gd name="connsiteY6327" fmla="*/ 3814368 h 5818346"/>
              <a:gd name="connsiteX6328" fmla="*/ 739185 w 3503192"/>
              <a:gd name="connsiteY6328" fmla="*/ 3803630 h 5818346"/>
              <a:gd name="connsiteX6329" fmla="*/ 749921 w 3503192"/>
              <a:gd name="connsiteY6329" fmla="*/ 3792894 h 5818346"/>
              <a:gd name="connsiteX6330" fmla="*/ 461845 w 3503192"/>
              <a:gd name="connsiteY6330" fmla="*/ 3791737 h 5818346"/>
              <a:gd name="connsiteX6331" fmla="*/ 472583 w 3503192"/>
              <a:gd name="connsiteY6331" fmla="*/ 3802474 h 5818346"/>
              <a:gd name="connsiteX6332" fmla="*/ 461845 w 3503192"/>
              <a:gd name="connsiteY6332" fmla="*/ 3813212 h 5818346"/>
              <a:gd name="connsiteX6333" fmla="*/ 451109 w 3503192"/>
              <a:gd name="connsiteY6333" fmla="*/ 3802474 h 5818346"/>
              <a:gd name="connsiteX6334" fmla="*/ 461845 w 3503192"/>
              <a:gd name="connsiteY6334" fmla="*/ 3791737 h 5818346"/>
              <a:gd name="connsiteX6335" fmla="*/ 191279 w 3503192"/>
              <a:gd name="connsiteY6335" fmla="*/ 3791241 h 5818346"/>
              <a:gd name="connsiteX6336" fmla="*/ 202015 w 3503192"/>
              <a:gd name="connsiteY6336" fmla="*/ 3801978 h 5818346"/>
              <a:gd name="connsiteX6337" fmla="*/ 191279 w 3503192"/>
              <a:gd name="connsiteY6337" fmla="*/ 3812716 h 5818346"/>
              <a:gd name="connsiteX6338" fmla="*/ 180543 w 3503192"/>
              <a:gd name="connsiteY6338" fmla="*/ 3801978 h 5818346"/>
              <a:gd name="connsiteX6339" fmla="*/ 191279 w 3503192"/>
              <a:gd name="connsiteY6339" fmla="*/ 3791241 h 5818346"/>
              <a:gd name="connsiteX6340" fmla="*/ 172283 w 3503192"/>
              <a:gd name="connsiteY6340" fmla="*/ 3784799 h 5818346"/>
              <a:gd name="connsiteX6341" fmla="*/ 183021 w 3503192"/>
              <a:gd name="connsiteY6341" fmla="*/ 3795535 h 5818346"/>
              <a:gd name="connsiteX6342" fmla="*/ 172283 w 3503192"/>
              <a:gd name="connsiteY6342" fmla="*/ 3806273 h 5818346"/>
              <a:gd name="connsiteX6343" fmla="*/ 161546 w 3503192"/>
              <a:gd name="connsiteY6343" fmla="*/ 3795535 h 5818346"/>
              <a:gd name="connsiteX6344" fmla="*/ 172283 w 3503192"/>
              <a:gd name="connsiteY6344" fmla="*/ 3784799 h 5818346"/>
              <a:gd name="connsiteX6345" fmla="*/ 148826 w 3503192"/>
              <a:gd name="connsiteY6345" fmla="*/ 3781991 h 5818346"/>
              <a:gd name="connsiteX6346" fmla="*/ 159564 w 3503192"/>
              <a:gd name="connsiteY6346" fmla="*/ 3792727 h 5818346"/>
              <a:gd name="connsiteX6347" fmla="*/ 148826 w 3503192"/>
              <a:gd name="connsiteY6347" fmla="*/ 3803466 h 5818346"/>
              <a:gd name="connsiteX6348" fmla="*/ 138090 w 3503192"/>
              <a:gd name="connsiteY6348" fmla="*/ 3792727 h 5818346"/>
              <a:gd name="connsiteX6349" fmla="*/ 148826 w 3503192"/>
              <a:gd name="connsiteY6349" fmla="*/ 3781991 h 5818346"/>
              <a:gd name="connsiteX6350" fmla="*/ 235216 w 3503192"/>
              <a:gd name="connsiteY6350" fmla="*/ 3776541 h 5818346"/>
              <a:gd name="connsiteX6351" fmla="*/ 245955 w 3503192"/>
              <a:gd name="connsiteY6351" fmla="*/ 3787277 h 5818346"/>
              <a:gd name="connsiteX6352" fmla="*/ 235216 w 3503192"/>
              <a:gd name="connsiteY6352" fmla="*/ 3798015 h 5818346"/>
              <a:gd name="connsiteX6353" fmla="*/ 224480 w 3503192"/>
              <a:gd name="connsiteY6353" fmla="*/ 3787277 h 5818346"/>
              <a:gd name="connsiteX6354" fmla="*/ 235216 w 3503192"/>
              <a:gd name="connsiteY6354" fmla="*/ 3776541 h 5818346"/>
              <a:gd name="connsiteX6355" fmla="*/ 299142 w 3503192"/>
              <a:gd name="connsiteY6355" fmla="*/ 3774394 h 5818346"/>
              <a:gd name="connsiteX6356" fmla="*/ 309880 w 3503192"/>
              <a:gd name="connsiteY6356" fmla="*/ 3785130 h 5818346"/>
              <a:gd name="connsiteX6357" fmla="*/ 299142 w 3503192"/>
              <a:gd name="connsiteY6357" fmla="*/ 3795866 h 5818346"/>
              <a:gd name="connsiteX6358" fmla="*/ 288406 w 3503192"/>
              <a:gd name="connsiteY6358" fmla="*/ 3785130 h 5818346"/>
              <a:gd name="connsiteX6359" fmla="*/ 299142 w 3503192"/>
              <a:gd name="connsiteY6359" fmla="*/ 3774394 h 5818346"/>
              <a:gd name="connsiteX6360" fmla="*/ 135282 w 3503192"/>
              <a:gd name="connsiteY6360" fmla="*/ 3773072 h 5818346"/>
              <a:gd name="connsiteX6361" fmla="*/ 136768 w 3503192"/>
              <a:gd name="connsiteY6361" fmla="*/ 3774558 h 5818346"/>
              <a:gd name="connsiteX6362" fmla="*/ 135282 w 3503192"/>
              <a:gd name="connsiteY6362" fmla="*/ 3776045 h 5818346"/>
              <a:gd name="connsiteX6363" fmla="*/ 133796 w 3503192"/>
              <a:gd name="connsiteY6363" fmla="*/ 3774558 h 5818346"/>
              <a:gd name="connsiteX6364" fmla="*/ 135282 w 3503192"/>
              <a:gd name="connsiteY6364" fmla="*/ 3773072 h 5818346"/>
              <a:gd name="connsiteX6365" fmla="*/ 200198 w 3503192"/>
              <a:gd name="connsiteY6365" fmla="*/ 3772906 h 5818346"/>
              <a:gd name="connsiteX6366" fmla="*/ 210936 w 3503192"/>
              <a:gd name="connsiteY6366" fmla="*/ 3783642 h 5818346"/>
              <a:gd name="connsiteX6367" fmla="*/ 200198 w 3503192"/>
              <a:gd name="connsiteY6367" fmla="*/ 3794380 h 5818346"/>
              <a:gd name="connsiteX6368" fmla="*/ 189462 w 3503192"/>
              <a:gd name="connsiteY6368" fmla="*/ 3783642 h 5818346"/>
              <a:gd name="connsiteX6369" fmla="*/ 200198 w 3503192"/>
              <a:gd name="connsiteY6369" fmla="*/ 3772906 h 5818346"/>
              <a:gd name="connsiteX6370" fmla="*/ 179220 w 3503192"/>
              <a:gd name="connsiteY6370" fmla="*/ 3767786 h 5818346"/>
              <a:gd name="connsiteX6371" fmla="*/ 189958 w 3503192"/>
              <a:gd name="connsiteY6371" fmla="*/ 3778523 h 5818346"/>
              <a:gd name="connsiteX6372" fmla="*/ 179220 w 3503192"/>
              <a:gd name="connsiteY6372" fmla="*/ 3789261 h 5818346"/>
              <a:gd name="connsiteX6373" fmla="*/ 168483 w 3503192"/>
              <a:gd name="connsiteY6373" fmla="*/ 3778523 h 5818346"/>
              <a:gd name="connsiteX6374" fmla="*/ 179220 w 3503192"/>
              <a:gd name="connsiteY6374" fmla="*/ 3767786 h 5818346"/>
              <a:gd name="connsiteX6375" fmla="*/ 1219697 w 3503192"/>
              <a:gd name="connsiteY6375" fmla="*/ 3765969 h 5818346"/>
              <a:gd name="connsiteX6376" fmla="*/ 1230433 w 3503192"/>
              <a:gd name="connsiteY6376" fmla="*/ 3776705 h 5818346"/>
              <a:gd name="connsiteX6377" fmla="*/ 1219697 w 3503192"/>
              <a:gd name="connsiteY6377" fmla="*/ 3787443 h 5818346"/>
              <a:gd name="connsiteX6378" fmla="*/ 1208961 w 3503192"/>
              <a:gd name="connsiteY6378" fmla="*/ 3776705 h 5818346"/>
              <a:gd name="connsiteX6379" fmla="*/ 1219697 w 3503192"/>
              <a:gd name="connsiteY6379" fmla="*/ 3765969 h 5818346"/>
              <a:gd name="connsiteX6380" fmla="*/ 160554 w 3503192"/>
              <a:gd name="connsiteY6380" fmla="*/ 3763987 h 5818346"/>
              <a:gd name="connsiteX6381" fmla="*/ 171293 w 3503192"/>
              <a:gd name="connsiteY6381" fmla="*/ 3774723 h 5818346"/>
              <a:gd name="connsiteX6382" fmla="*/ 160554 w 3503192"/>
              <a:gd name="connsiteY6382" fmla="*/ 3785461 h 5818346"/>
              <a:gd name="connsiteX6383" fmla="*/ 149818 w 3503192"/>
              <a:gd name="connsiteY6383" fmla="*/ 3774723 h 5818346"/>
              <a:gd name="connsiteX6384" fmla="*/ 160554 w 3503192"/>
              <a:gd name="connsiteY6384" fmla="*/ 3763987 h 5818346"/>
              <a:gd name="connsiteX6385" fmla="*/ 665680 w 3503192"/>
              <a:gd name="connsiteY6385" fmla="*/ 3762665 h 5818346"/>
              <a:gd name="connsiteX6386" fmla="*/ 676416 w 3503192"/>
              <a:gd name="connsiteY6386" fmla="*/ 3773402 h 5818346"/>
              <a:gd name="connsiteX6387" fmla="*/ 665680 w 3503192"/>
              <a:gd name="connsiteY6387" fmla="*/ 3784140 h 5818346"/>
              <a:gd name="connsiteX6388" fmla="*/ 654943 w 3503192"/>
              <a:gd name="connsiteY6388" fmla="*/ 3773402 h 5818346"/>
              <a:gd name="connsiteX6389" fmla="*/ 665680 w 3503192"/>
              <a:gd name="connsiteY6389" fmla="*/ 3762665 h 5818346"/>
              <a:gd name="connsiteX6390" fmla="*/ 410144 w 3503192"/>
              <a:gd name="connsiteY6390" fmla="*/ 3762005 h 5818346"/>
              <a:gd name="connsiteX6391" fmla="*/ 420880 w 3503192"/>
              <a:gd name="connsiteY6391" fmla="*/ 3772741 h 5818346"/>
              <a:gd name="connsiteX6392" fmla="*/ 410144 w 3503192"/>
              <a:gd name="connsiteY6392" fmla="*/ 3783477 h 5818346"/>
              <a:gd name="connsiteX6393" fmla="*/ 399408 w 3503192"/>
              <a:gd name="connsiteY6393" fmla="*/ 3772741 h 5818346"/>
              <a:gd name="connsiteX6394" fmla="*/ 410144 w 3503192"/>
              <a:gd name="connsiteY6394" fmla="*/ 3762005 h 5818346"/>
              <a:gd name="connsiteX6395" fmla="*/ 2833188 w 3503192"/>
              <a:gd name="connsiteY6395" fmla="*/ 3755729 h 5818346"/>
              <a:gd name="connsiteX6396" fmla="*/ 2843926 w 3503192"/>
              <a:gd name="connsiteY6396" fmla="*/ 3766465 h 5818346"/>
              <a:gd name="connsiteX6397" fmla="*/ 2833188 w 3503192"/>
              <a:gd name="connsiteY6397" fmla="*/ 3777203 h 5818346"/>
              <a:gd name="connsiteX6398" fmla="*/ 2822452 w 3503192"/>
              <a:gd name="connsiteY6398" fmla="*/ 3766465 h 5818346"/>
              <a:gd name="connsiteX6399" fmla="*/ 2833188 w 3503192"/>
              <a:gd name="connsiteY6399" fmla="*/ 3755729 h 5818346"/>
              <a:gd name="connsiteX6400" fmla="*/ 3074518 w 3503192"/>
              <a:gd name="connsiteY6400" fmla="*/ 3753250 h 5818346"/>
              <a:gd name="connsiteX6401" fmla="*/ 3085256 w 3503192"/>
              <a:gd name="connsiteY6401" fmla="*/ 3763987 h 5818346"/>
              <a:gd name="connsiteX6402" fmla="*/ 3074518 w 3503192"/>
              <a:gd name="connsiteY6402" fmla="*/ 3774723 h 5818346"/>
              <a:gd name="connsiteX6403" fmla="*/ 3063781 w 3503192"/>
              <a:gd name="connsiteY6403" fmla="*/ 3763987 h 5818346"/>
              <a:gd name="connsiteX6404" fmla="*/ 3074518 w 3503192"/>
              <a:gd name="connsiteY6404" fmla="*/ 3753250 h 5818346"/>
              <a:gd name="connsiteX6405" fmla="*/ 215395 w 3503192"/>
              <a:gd name="connsiteY6405" fmla="*/ 3749782 h 5818346"/>
              <a:gd name="connsiteX6406" fmla="*/ 226131 w 3503192"/>
              <a:gd name="connsiteY6406" fmla="*/ 3760518 h 5818346"/>
              <a:gd name="connsiteX6407" fmla="*/ 215395 w 3503192"/>
              <a:gd name="connsiteY6407" fmla="*/ 3771256 h 5818346"/>
              <a:gd name="connsiteX6408" fmla="*/ 204658 w 3503192"/>
              <a:gd name="connsiteY6408" fmla="*/ 3760518 h 5818346"/>
              <a:gd name="connsiteX6409" fmla="*/ 215395 w 3503192"/>
              <a:gd name="connsiteY6409" fmla="*/ 3749782 h 5818346"/>
              <a:gd name="connsiteX6410" fmla="*/ 2593345 w 3503192"/>
              <a:gd name="connsiteY6410" fmla="*/ 3749286 h 5818346"/>
              <a:gd name="connsiteX6411" fmla="*/ 2604081 w 3503192"/>
              <a:gd name="connsiteY6411" fmla="*/ 3760022 h 5818346"/>
              <a:gd name="connsiteX6412" fmla="*/ 2593345 w 3503192"/>
              <a:gd name="connsiteY6412" fmla="*/ 3770761 h 5818346"/>
              <a:gd name="connsiteX6413" fmla="*/ 2582608 w 3503192"/>
              <a:gd name="connsiteY6413" fmla="*/ 3760022 h 5818346"/>
              <a:gd name="connsiteX6414" fmla="*/ 2593345 w 3503192"/>
              <a:gd name="connsiteY6414" fmla="*/ 3749286 h 5818346"/>
              <a:gd name="connsiteX6415" fmla="*/ 268913 w 3503192"/>
              <a:gd name="connsiteY6415" fmla="*/ 3746312 h 5818346"/>
              <a:gd name="connsiteX6416" fmla="*/ 279652 w 3503192"/>
              <a:gd name="connsiteY6416" fmla="*/ 3757048 h 5818346"/>
              <a:gd name="connsiteX6417" fmla="*/ 268913 w 3503192"/>
              <a:gd name="connsiteY6417" fmla="*/ 3767786 h 5818346"/>
              <a:gd name="connsiteX6418" fmla="*/ 258177 w 3503192"/>
              <a:gd name="connsiteY6418" fmla="*/ 3757048 h 5818346"/>
              <a:gd name="connsiteX6419" fmla="*/ 268913 w 3503192"/>
              <a:gd name="connsiteY6419" fmla="*/ 3746312 h 5818346"/>
              <a:gd name="connsiteX6420" fmla="*/ 148826 w 3503192"/>
              <a:gd name="connsiteY6420" fmla="*/ 3744330 h 5818346"/>
              <a:gd name="connsiteX6421" fmla="*/ 158820 w 3503192"/>
              <a:gd name="connsiteY6421" fmla="*/ 3754324 h 5818346"/>
              <a:gd name="connsiteX6422" fmla="*/ 167822 w 3503192"/>
              <a:gd name="connsiteY6422" fmla="*/ 3745322 h 5818346"/>
              <a:gd name="connsiteX6423" fmla="*/ 178477 w 3503192"/>
              <a:gd name="connsiteY6423" fmla="*/ 3755975 h 5818346"/>
              <a:gd name="connsiteX6424" fmla="*/ 186323 w 3503192"/>
              <a:gd name="connsiteY6424" fmla="*/ 3748129 h 5818346"/>
              <a:gd name="connsiteX6425" fmla="*/ 197061 w 3503192"/>
              <a:gd name="connsiteY6425" fmla="*/ 3758866 h 5818346"/>
              <a:gd name="connsiteX6426" fmla="*/ 186323 w 3503192"/>
              <a:gd name="connsiteY6426" fmla="*/ 3769604 h 5818346"/>
              <a:gd name="connsiteX6427" fmla="*/ 175670 w 3503192"/>
              <a:gd name="connsiteY6427" fmla="*/ 3758949 h 5818346"/>
              <a:gd name="connsiteX6428" fmla="*/ 167822 w 3503192"/>
              <a:gd name="connsiteY6428" fmla="*/ 3766796 h 5818346"/>
              <a:gd name="connsiteX6429" fmla="*/ 157828 w 3503192"/>
              <a:gd name="connsiteY6429" fmla="*/ 3756802 h 5818346"/>
              <a:gd name="connsiteX6430" fmla="*/ 148826 w 3503192"/>
              <a:gd name="connsiteY6430" fmla="*/ 3765804 h 5818346"/>
              <a:gd name="connsiteX6431" fmla="*/ 138090 w 3503192"/>
              <a:gd name="connsiteY6431" fmla="*/ 3755066 h 5818346"/>
              <a:gd name="connsiteX6432" fmla="*/ 148826 w 3503192"/>
              <a:gd name="connsiteY6432" fmla="*/ 3744330 h 5818346"/>
              <a:gd name="connsiteX6433" fmla="*/ 3310396 w 3503192"/>
              <a:gd name="connsiteY6433" fmla="*/ 3742679 h 5818346"/>
              <a:gd name="connsiteX6434" fmla="*/ 3321134 w 3503192"/>
              <a:gd name="connsiteY6434" fmla="*/ 3753415 h 5818346"/>
              <a:gd name="connsiteX6435" fmla="*/ 3310396 w 3503192"/>
              <a:gd name="connsiteY6435" fmla="*/ 3764152 h 5818346"/>
              <a:gd name="connsiteX6436" fmla="*/ 3299660 w 3503192"/>
              <a:gd name="connsiteY6436" fmla="*/ 3753415 h 5818346"/>
              <a:gd name="connsiteX6437" fmla="*/ 3310396 w 3503192"/>
              <a:gd name="connsiteY6437" fmla="*/ 3742679 h 5818346"/>
              <a:gd name="connsiteX6438" fmla="*/ 1089865 w 3503192"/>
              <a:gd name="connsiteY6438" fmla="*/ 3737228 h 5818346"/>
              <a:gd name="connsiteX6439" fmla="*/ 1100602 w 3503192"/>
              <a:gd name="connsiteY6439" fmla="*/ 3747965 h 5818346"/>
              <a:gd name="connsiteX6440" fmla="*/ 1089865 w 3503192"/>
              <a:gd name="connsiteY6440" fmla="*/ 3758701 h 5818346"/>
              <a:gd name="connsiteX6441" fmla="*/ 1079129 w 3503192"/>
              <a:gd name="connsiteY6441" fmla="*/ 3747965 h 5818346"/>
              <a:gd name="connsiteX6442" fmla="*/ 1089865 w 3503192"/>
              <a:gd name="connsiteY6442" fmla="*/ 3737228 h 5818346"/>
              <a:gd name="connsiteX6443" fmla="*/ 2361926 w 3503192"/>
              <a:gd name="connsiteY6443" fmla="*/ 3735576 h 5818346"/>
              <a:gd name="connsiteX6444" fmla="*/ 2372664 w 3503192"/>
              <a:gd name="connsiteY6444" fmla="*/ 3746312 h 5818346"/>
              <a:gd name="connsiteX6445" fmla="*/ 2361926 w 3503192"/>
              <a:gd name="connsiteY6445" fmla="*/ 3757050 h 5818346"/>
              <a:gd name="connsiteX6446" fmla="*/ 2351190 w 3503192"/>
              <a:gd name="connsiteY6446" fmla="*/ 3746312 h 5818346"/>
              <a:gd name="connsiteX6447" fmla="*/ 2361926 w 3503192"/>
              <a:gd name="connsiteY6447" fmla="*/ 3735576 h 5818346"/>
              <a:gd name="connsiteX6448" fmla="*/ 589861 w 3503192"/>
              <a:gd name="connsiteY6448" fmla="*/ 3733264 h 5818346"/>
              <a:gd name="connsiteX6449" fmla="*/ 600598 w 3503192"/>
              <a:gd name="connsiteY6449" fmla="*/ 3744000 h 5818346"/>
              <a:gd name="connsiteX6450" fmla="*/ 589861 w 3503192"/>
              <a:gd name="connsiteY6450" fmla="*/ 3754738 h 5818346"/>
              <a:gd name="connsiteX6451" fmla="*/ 579125 w 3503192"/>
              <a:gd name="connsiteY6451" fmla="*/ 3744000 h 5818346"/>
              <a:gd name="connsiteX6452" fmla="*/ 589861 w 3503192"/>
              <a:gd name="connsiteY6452" fmla="*/ 3733264 h 5818346"/>
              <a:gd name="connsiteX6453" fmla="*/ 364223 w 3503192"/>
              <a:gd name="connsiteY6453" fmla="*/ 3733264 h 5818346"/>
              <a:gd name="connsiteX6454" fmla="*/ 374961 w 3503192"/>
              <a:gd name="connsiteY6454" fmla="*/ 3744000 h 5818346"/>
              <a:gd name="connsiteX6455" fmla="*/ 364223 w 3503192"/>
              <a:gd name="connsiteY6455" fmla="*/ 3754738 h 5818346"/>
              <a:gd name="connsiteX6456" fmla="*/ 353486 w 3503192"/>
              <a:gd name="connsiteY6456" fmla="*/ 3744000 h 5818346"/>
              <a:gd name="connsiteX6457" fmla="*/ 364223 w 3503192"/>
              <a:gd name="connsiteY6457" fmla="*/ 3733264 h 5818346"/>
              <a:gd name="connsiteX6458" fmla="*/ 136768 w 3503192"/>
              <a:gd name="connsiteY6458" fmla="*/ 3725665 h 5818346"/>
              <a:gd name="connsiteX6459" fmla="*/ 147506 w 3503192"/>
              <a:gd name="connsiteY6459" fmla="*/ 3736401 h 5818346"/>
              <a:gd name="connsiteX6460" fmla="*/ 136768 w 3503192"/>
              <a:gd name="connsiteY6460" fmla="*/ 3747139 h 5818346"/>
              <a:gd name="connsiteX6461" fmla="*/ 126032 w 3503192"/>
              <a:gd name="connsiteY6461" fmla="*/ 3736401 h 5818346"/>
              <a:gd name="connsiteX6462" fmla="*/ 136768 w 3503192"/>
              <a:gd name="connsiteY6462" fmla="*/ 3725665 h 5818346"/>
              <a:gd name="connsiteX6463" fmla="*/ 198051 w 3503192"/>
              <a:gd name="connsiteY6463" fmla="*/ 3724179 h 5818346"/>
              <a:gd name="connsiteX6464" fmla="*/ 208789 w 3503192"/>
              <a:gd name="connsiteY6464" fmla="*/ 3734915 h 5818346"/>
              <a:gd name="connsiteX6465" fmla="*/ 198051 w 3503192"/>
              <a:gd name="connsiteY6465" fmla="*/ 3745653 h 5818346"/>
              <a:gd name="connsiteX6466" fmla="*/ 187315 w 3503192"/>
              <a:gd name="connsiteY6466" fmla="*/ 3734915 h 5818346"/>
              <a:gd name="connsiteX6467" fmla="*/ 198051 w 3503192"/>
              <a:gd name="connsiteY6467" fmla="*/ 3724179 h 5818346"/>
              <a:gd name="connsiteX6468" fmla="*/ 156921 w 3503192"/>
              <a:gd name="connsiteY6468" fmla="*/ 3724179 h 5818346"/>
              <a:gd name="connsiteX6469" fmla="*/ 165676 w 3503192"/>
              <a:gd name="connsiteY6469" fmla="*/ 3732933 h 5818346"/>
              <a:gd name="connsiteX6470" fmla="*/ 173935 w 3503192"/>
              <a:gd name="connsiteY6470" fmla="*/ 3724673 h 5818346"/>
              <a:gd name="connsiteX6471" fmla="*/ 184674 w 3503192"/>
              <a:gd name="connsiteY6471" fmla="*/ 3735409 h 5818346"/>
              <a:gd name="connsiteX6472" fmla="*/ 173935 w 3503192"/>
              <a:gd name="connsiteY6472" fmla="*/ 3746147 h 5818346"/>
              <a:gd name="connsiteX6473" fmla="*/ 165181 w 3503192"/>
              <a:gd name="connsiteY6473" fmla="*/ 3737391 h 5818346"/>
              <a:gd name="connsiteX6474" fmla="*/ 156921 w 3503192"/>
              <a:gd name="connsiteY6474" fmla="*/ 3745653 h 5818346"/>
              <a:gd name="connsiteX6475" fmla="*/ 146185 w 3503192"/>
              <a:gd name="connsiteY6475" fmla="*/ 3734915 h 5818346"/>
              <a:gd name="connsiteX6476" fmla="*/ 156921 w 3503192"/>
              <a:gd name="connsiteY6476" fmla="*/ 3724179 h 5818346"/>
              <a:gd name="connsiteX6477" fmla="*/ 242649 w 3503192"/>
              <a:gd name="connsiteY6477" fmla="*/ 3719389 h 5818346"/>
              <a:gd name="connsiteX6478" fmla="*/ 253387 w 3503192"/>
              <a:gd name="connsiteY6478" fmla="*/ 3730125 h 5818346"/>
              <a:gd name="connsiteX6479" fmla="*/ 242649 w 3503192"/>
              <a:gd name="connsiteY6479" fmla="*/ 3740863 h 5818346"/>
              <a:gd name="connsiteX6480" fmla="*/ 231913 w 3503192"/>
              <a:gd name="connsiteY6480" fmla="*/ 3730125 h 5818346"/>
              <a:gd name="connsiteX6481" fmla="*/ 242649 w 3503192"/>
              <a:gd name="connsiteY6481" fmla="*/ 3719389 h 5818346"/>
              <a:gd name="connsiteX6482" fmla="*/ 2142896 w 3503192"/>
              <a:gd name="connsiteY6482" fmla="*/ 3716579 h 5818346"/>
              <a:gd name="connsiteX6483" fmla="*/ 2153635 w 3503192"/>
              <a:gd name="connsiteY6483" fmla="*/ 3727316 h 5818346"/>
              <a:gd name="connsiteX6484" fmla="*/ 2142896 w 3503192"/>
              <a:gd name="connsiteY6484" fmla="*/ 3738052 h 5818346"/>
              <a:gd name="connsiteX6485" fmla="*/ 2132160 w 3503192"/>
              <a:gd name="connsiteY6485" fmla="*/ 3727316 h 5818346"/>
              <a:gd name="connsiteX6486" fmla="*/ 2142896 w 3503192"/>
              <a:gd name="connsiteY6486" fmla="*/ 3716579 h 5818346"/>
              <a:gd name="connsiteX6487" fmla="*/ 971596 w 3503192"/>
              <a:gd name="connsiteY6487" fmla="*/ 3708982 h 5818346"/>
              <a:gd name="connsiteX6488" fmla="*/ 982334 w 3503192"/>
              <a:gd name="connsiteY6488" fmla="*/ 3719718 h 5818346"/>
              <a:gd name="connsiteX6489" fmla="*/ 971596 w 3503192"/>
              <a:gd name="connsiteY6489" fmla="*/ 3730456 h 5818346"/>
              <a:gd name="connsiteX6490" fmla="*/ 960859 w 3503192"/>
              <a:gd name="connsiteY6490" fmla="*/ 3719718 h 5818346"/>
              <a:gd name="connsiteX6491" fmla="*/ 971596 w 3503192"/>
              <a:gd name="connsiteY6491" fmla="*/ 3708982 h 5818346"/>
              <a:gd name="connsiteX6492" fmla="*/ 124546 w 3503192"/>
              <a:gd name="connsiteY6492" fmla="*/ 3708982 h 5818346"/>
              <a:gd name="connsiteX6493" fmla="*/ 134292 w 3503192"/>
              <a:gd name="connsiteY6493" fmla="*/ 3718728 h 5818346"/>
              <a:gd name="connsiteX6494" fmla="*/ 124546 w 3503192"/>
              <a:gd name="connsiteY6494" fmla="*/ 3728472 h 5818346"/>
              <a:gd name="connsiteX6495" fmla="*/ 114800 w 3503192"/>
              <a:gd name="connsiteY6495" fmla="*/ 3718728 h 5818346"/>
              <a:gd name="connsiteX6496" fmla="*/ 124546 w 3503192"/>
              <a:gd name="connsiteY6496" fmla="*/ 3708982 h 5818346"/>
              <a:gd name="connsiteX6497" fmla="*/ 323754 w 3503192"/>
              <a:gd name="connsiteY6497" fmla="*/ 3705513 h 5818346"/>
              <a:gd name="connsiteX6498" fmla="*/ 334490 w 3503192"/>
              <a:gd name="connsiteY6498" fmla="*/ 3716250 h 5818346"/>
              <a:gd name="connsiteX6499" fmla="*/ 323754 w 3503192"/>
              <a:gd name="connsiteY6499" fmla="*/ 3726986 h 5818346"/>
              <a:gd name="connsiteX6500" fmla="*/ 313017 w 3503192"/>
              <a:gd name="connsiteY6500" fmla="*/ 3716250 h 5818346"/>
              <a:gd name="connsiteX6501" fmla="*/ 323754 w 3503192"/>
              <a:gd name="connsiteY6501" fmla="*/ 3705513 h 5818346"/>
              <a:gd name="connsiteX6502" fmla="*/ 521806 w 3503192"/>
              <a:gd name="connsiteY6502" fmla="*/ 3704851 h 5818346"/>
              <a:gd name="connsiteX6503" fmla="*/ 532544 w 3503192"/>
              <a:gd name="connsiteY6503" fmla="*/ 3715587 h 5818346"/>
              <a:gd name="connsiteX6504" fmla="*/ 521806 w 3503192"/>
              <a:gd name="connsiteY6504" fmla="*/ 3726325 h 5818346"/>
              <a:gd name="connsiteX6505" fmla="*/ 511070 w 3503192"/>
              <a:gd name="connsiteY6505" fmla="*/ 3715587 h 5818346"/>
              <a:gd name="connsiteX6506" fmla="*/ 521806 w 3503192"/>
              <a:gd name="connsiteY6506" fmla="*/ 3704851 h 5818346"/>
              <a:gd name="connsiteX6507" fmla="*/ 162537 w 3503192"/>
              <a:gd name="connsiteY6507" fmla="*/ 3702208 h 5818346"/>
              <a:gd name="connsiteX6508" fmla="*/ 173275 w 3503192"/>
              <a:gd name="connsiteY6508" fmla="*/ 3712944 h 5818346"/>
              <a:gd name="connsiteX6509" fmla="*/ 162537 w 3503192"/>
              <a:gd name="connsiteY6509" fmla="*/ 3723683 h 5818346"/>
              <a:gd name="connsiteX6510" fmla="*/ 155269 w 3503192"/>
              <a:gd name="connsiteY6510" fmla="*/ 3716415 h 5818346"/>
              <a:gd name="connsiteX6511" fmla="*/ 146183 w 3503192"/>
              <a:gd name="connsiteY6511" fmla="*/ 3725500 h 5818346"/>
              <a:gd name="connsiteX6512" fmla="*/ 135447 w 3503192"/>
              <a:gd name="connsiteY6512" fmla="*/ 3714762 h 5818346"/>
              <a:gd name="connsiteX6513" fmla="*/ 146183 w 3503192"/>
              <a:gd name="connsiteY6513" fmla="*/ 3704026 h 5818346"/>
              <a:gd name="connsiteX6514" fmla="*/ 153451 w 3503192"/>
              <a:gd name="connsiteY6514" fmla="*/ 3711294 h 5818346"/>
              <a:gd name="connsiteX6515" fmla="*/ 182854 w 3503192"/>
              <a:gd name="connsiteY6515" fmla="*/ 3699896 h 5818346"/>
              <a:gd name="connsiteX6516" fmla="*/ 193592 w 3503192"/>
              <a:gd name="connsiteY6516" fmla="*/ 3710633 h 5818346"/>
              <a:gd name="connsiteX6517" fmla="*/ 182854 w 3503192"/>
              <a:gd name="connsiteY6517" fmla="*/ 3721371 h 5818346"/>
              <a:gd name="connsiteX6518" fmla="*/ 172118 w 3503192"/>
              <a:gd name="connsiteY6518" fmla="*/ 3710633 h 5818346"/>
              <a:gd name="connsiteX6519" fmla="*/ 182854 w 3503192"/>
              <a:gd name="connsiteY6519" fmla="*/ 3699896 h 5818346"/>
              <a:gd name="connsiteX6520" fmla="*/ 1937905 w 3503192"/>
              <a:gd name="connsiteY6520" fmla="*/ 3694611 h 5818346"/>
              <a:gd name="connsiteX6521" fmla="*/ 1948643 w 3503192"/>
              <a:gd name="connsiteY6521" fmla="*/ 3705347 h 5818346"/>
              <a:gd name="connsiteX6522" fmla="*/ 1937905 w 3503192"/>
              <a:gd name="connsiteY6522" fmla="*/ 3716085 h 5818346"/>
              <a:gd name="connsiteX6523" fmla="*/ 1927169 w 3503192"/>
              <a:gd name="connsiteY6523" fmla="*/ 3705347 h 5818346"/>
              <a:gd name="connsiteX6524" fmla="*/ 1937905 w 3503192"/>
              <a:gd name="connsiteY6524" fmla="*/ 3694611 h 5818346"/>
              <a:gd name="connsiteX6525" fmla="*/ 219526 w 3503192"/>
              <a:gd name="connsiteY6525" fmla="*/ 3693454 h 5818346"/>
              <a:gd name="connsiteX6526" fmla="*/ 230262 w 3503192"/>
              <a:gd name="connsiteY6526" fmla="*/ 3704190 h 5818346"/>
              <a:gd name="connsiteX6527" fmla="*/ 219526 w 3503192"/>
              <a:gd name="connsiteY6527" fmla="*/ 3714928 h 5818346"/>
              <a:gd name="connsiteX6528" fmla="*/ 208789 w 3503192"/>
              <a:gd name="connsiteY6528" fmla="*/ 3704190 h 5818346"/>
              <a:gd name="connsiteX6529" fmla="*/ 219526 w 3503192"/>
              <a:gd name="connsiteY6529" fmla="*/ 3693454 h 5818346"/>
              <a:gd name="connsiteX6530" fmla="*/ 864062 w 3503192"/>
              <a:gd name="connsiteY6530" fmla="*/ 3681231 h 5818346"/>
              <a:gd name="connsiteX6531" fmla="*/ 874798 w 3503192"/>
              <a:gd name="connsiteY6531" fmla="*/ 3691968 h 5818346"/>
              <a:gd name="connsiteX6532" fmla="*/ 864062 w 3503192"/>
              <a:gd name="connsiteY6532" fmla="*/ 3702704 h 5818346"/>
              <a:gd name="connsiteX6533" fmla="*/ 853326 w 3503192"/>
              <a:gd name="connsiteY6533" fmla="*/ 3691968 h 5818346"/>
              <a:gd name="connsiteX6534" fmla="*/ 864062 w 3503192"/>
              <a:gd name="connsiteY6534" fmla="*/ 3681231 h 5818346"/>
              <a:gd name="connsiteX6535" fmla="*/ 151800 w 3503192"/>
              <a:gd name="connsiteY6535" fmla="*/ 3680900 h 5818346"/>
              <a:gd name="connsiteX6536" fmla="*/ 162538 w 3503192"/>
              <a:gd name="connsiteY6536" fmla="*/ 3691636 h 5818346"/>
              <a:gd name="connsiteX6537" fmla="*/ 151800 w 3503192"/>
              <a:gd name="connsiteY6537" fmla="*/ 3702375 h 5818346"/>
              <a:gd name="connsiteX6538" fmla="*/ 145771 w 3503192"/>
              <a:gd name="connsiteY6538" fmla="*/ 3696345 h 5818346"/>
              <a:gd name="connsiteX6539" fmla="*/ 135612 w 3503192"/>
              <a:gd name="connsiteY6539" fmla="*/ 3706505 h 5818346"/>
              <a:gd name="connsiteX6540" fmla="*/ 124875 w 3503192"/>
              <a:gd name="connsiteY6540" fmla="*/ 3695767 h 5818346"/>
              <a:gd name="connsiteX6541" fmla="*/ 135612 w 3503192"/>
              <a:gd name="connsiteY6541" fmla="*/ 3685031 h 5818346"/>
              <a:gd name="connsiteX6542" fmla="*/ 141640 w 3503192"/>
              <a:gd name="connsiteY6542" fmla="*/ 3691061 h 5818346"/>
              <a:gd name="connsiteX6543" fmla="*/ 288074 w 3503192"/>
              <a:gd name="connsiteY6543" fmla="*/ 3678918 h 5818346"/>
              <a:gd name="connsiteX6544" fmla="*/ 298811 w 3503192"/>
              <a:gd name="connsiteY6544" fmla="*/ 3689654 h 5818346"/>
              <a:gd name="connsiteX6545" fmla="*/ 288074 w 3503192"/>
              <a:gd name="connsiteY6545" fmla="*/ 3700391 h 5818346"/>
              <a:gd name="connsiteX6546" fmla="*/ 277338 w 3503192"/>
              <a:gd name="connsiteY6546" fmla="*/ 3689654 h 5818346"/>
              <a:gd name="connsiteX6547" fmla="*/ 288074 w 3503192"/>
              <a:gd name="connsiteY6547" fmla="*/ 3678918 h 5818346"/>
              <a:gd name="connsiteX6548" fmla="*/ 461184 w 3503192"/>
              <a:gd name="connsiteY6548" fmla="*/ 3677267 h 5818346"/>
              <a:gd name="connsiteX6549" fmla="*/ 471921 w 3503192"/>
              <a:gd name="connsiteY6549" fmla="*/ 3688003 h 5818346"/>
              <a:gd name="connsiteX6550" fmla="*/ 461184 w 3503192"/>
              <a:gd name="connsiteY6550" fmla="*/ 3698741 h 5818346"/>
              <a:gd name="connsiteX6551" fmla="*/ 450448 w 3503192"/>
              <a:gd name="connsiteY6551" fmla="*/ 3688003 h 5818346"/>
              <a:gd name="connsiteX6552" fmla="*/ 461184 w 3503192"/>
              <a:gd name="connsiteY6552" fmla="*/ 3677267 h 5818346"/>
              <a:gd name="connsiteX6553" fmla="*/ 169310 w 3503192"/>
              <a:gd name="connsiteY6553" fmla="*/ 3676606 h 5818346"/>
              <a:gd name="connsiteX6554" fmla="*/ 180047 w 3503192"/>
              <a:gd name="connsiteY6554" fmla="*/ 3687343 h 5818346"/>
              <a:gd name="connsiteX6555" fmla="*/ 169310 w 3503192"/>
              <a:gd name="connsiteY6555" fmla="*/ 3698079 h 5818346"/>
              <a:gd name="connsiteX6556" fmla="*/ 158574 w 3503192"/>
              <a:gd name="connsiteY6556" fmla="*/ 3687343 h 5818346"/>
              <a:gd name="connsiteX6557" fmla="*/ 169310 w 3503192"/>
              <a:gd name="connsiteY6557" fmla="*/ 3676606 h 5818346"/>
              <a:gd name="connsiteX6558" fmla="*/ 1747783 w 3503192"/>
              <a:gd name="connsiteY6558" fmla="*/ 3670989 h 5818346"/>
              <a:gd name="connsiteX6559" fmla="*/ 1758519 w 3503192"/>
              <a:gd name="connsiteY6559" fmla="*/ 3681726 h 5818346"/>
              <a:gd name="connsiteX6560" fmla="*/ 1747783 w 3503192"/>
              <a:gd name="connsiteY6560" fmla="*/ 3692464 h 5818346"/>
              <a:gd name="connsiteX6561" fmla="*/ 1737047 w 3503192"/>
              <a:gd name="connsiteY6561" fmla="*/ 3681726 h 5818346"/>
              <a:gd name="connsiteX6562" fmla="*/ 1747783 w 3503192"/>
              <a:gd name="connsiteY6562" fmla="*/ 3670989 h 5818346"/>
              <a:gd name="connsiteX6563" fmla="*/ 199537 w 3503192"/>
              <a:gd name="connsiteY6563" fmla="*/ 3668678 h 5818346"/>
              <a:gd name="connsiteX6564" fmla="*/ 210274 w 3503192"/>
              <a:gd name="connsiteY6564" fmla="*/ 3679414 h 5818346"/>
              <a:gd name="connsiteX6565" fmla="*/ 199537 w 3503192"/>
              <a:gd name="connsiteY6565" fmla="*/ 3690152 h 5818346"/>
              <a:gd name="connsiteX6566" fmla="*/ 188801 w 3503192"/>
              <a:gd name="connsiteY6566" fmla="*/ 3679414 h 5818346"/>
              <a:gd name="connsiteX6567" fmla="*/ 199537 w 3503192"/>
              <a:gd name="connsiteY6567" fmla="*/ 3668678 h 5818346"/>
              <a:gd name="connsiteX6568" fmla="*/ 124711 w 3503192"/>
              <a:gd name="connsiteY6568" fmla="*/ 3667025 h 5818346"/>
              <a:gd name="connsiteX6569" fmla="*/ 135447 w 3503192"/>
              <a:gd name="connsiteY6569" fmla="*/ 3677761 h 5818346"/>
              <a:gd name="connsiteX6570" fmla="*/ 124711 w 3503192"/>
              <a:gd name="connsiteY6570" fmla="*/ 3688498 h 5818346"/>
              <a:gd name="connsiteX6571" fmla="*/ 113974 w 3503192"/>
              <a:gd name="connsiteY6571" fmla="*/ 3677761 h 5818346"/>
              <a:gd name="connsiteX6572" fmla="*/ 124711 w 3503192"/>
              <a:gd name="connsiteY6572" fmla="*/ 3667025 h 5818346"/>
              <a:gd name="connsiteX6573" fmla="*/ 141889 w 3503192"/>
              <a:gd name="connsiteY6573" fmla="*/ 3660749 h 5818346"/>
              <a:gd name="connsiteX6574" fmla="*/ 152626 w 3503192"/>
              <a:gd name="connsiteY6574" fmla="*/ 3671485 h 5818346"/>
              <a:gd name="connsiteX6575" fmla="*/ 141889 w 3503192"/>
              <a:gd name="connsiteY6575" fmla="*/ 3682223 h 5818346"/>
              <a:gd name="connsiteX6576" fmla="*/ 131153 w 3503192"/>
              <a:gd name="connsiteY6576" fmla="*/ 3671485 h 5818346"/>
              <a:gd name="connsiteX6577" fmla="*/ 141889 w 3503192"/>
              <a:gd name="connsiteY6577" fmla="*/ 3660749 h 5818346"/>
              <a:gd name="connsiteX6578" fmla="*/ 157417 w 3503192"/>
              <a:gd name="connsiteY6578" fmla="*/ 3654471 h 5818346"/>
              <a:gd name="connsiteX6579" fmla="*/ 168155 w 3503192"/>
              <a:gd name="connsiteY6579" fmla="*/ 3665208 h 5818346"/>
              <a:gd name="connsiteX6580" fmla="*/ 157417 w 3503192"/>
              <a:gd name="connsiteY6580" fmla="*/ 3675946 h 5818346"/>
              <a:gd name="connsiteX6581" fmla="*/ 146681 w 3503192"/>
              <a:gd name="connsiteY6581" fmla="*/ 3665208 h 5818346"/>
              <a:gd name="connsiteX6582" fmla="*/ 157417 w 3503192"/>
              <a:gd name="connsiteY6582" fmla="*/ 3654471 h 5818346"/>
              <a:gd name="connsiteX6583" fmla="*/ 766604 w 3503192"/>
              <a:gd name="connsiteY6583" fmla="*/ 3654307 h 5818346"/>
              <a:gd name="connsiteX6584" fmla="*/ 777342 w 3503192"/>
              <a:gd name="connsiteY6584" fmla="*/ 3665043 h 5818346"/>
              <a:gd name="connsiteX6585" fmla="*/ 766604 w 3503192"/>
              <a:gd name="connsiteY6585" fmla="*/ 3675781 h 5818346"/>
              <a:gd name="connsiteX6586" fmla="*/ 755868 w 3503192"/>
              <a:gd name="connsiteY6586" fmla="*/ 3665043 h 5818346"/>
              <a:gd name="connsiteX6587" fmla="*/ 766604 w 3503192"/>
              <a:gd name="connsiteY6587" fmla="*/ 3654307 h 5818346"/>
              <a:gd name="connsiteX6588" fmla="*/ 257020 w 3503192"/>
              <a:gd name="connsiteY6588" fmla="*/ 3653316 h 5818346"/>
              <a:gd name="connsiteX6589" fmla="*/ 267757 w 3503192"/>
              <a:gd name="connsiteY6589" fmla="*/ 3664053 h 5818346"/>
              <a:gd name="connsiteX6590" fmla="*/ 257020 w 3503192"/>
              <a:gd name="connsiteY6590" fmla="*/ 3674791 h 5818346"/>
              <a:gd name="connsiteX6591" fmla="*/ 246284 w 3503192"/>
              <a:gd name="connsiteY6591" fmla="*/ 3664053 h 5818346"/>
              <a:gd name="connsiteX6592" fmla="*/ 257020 w 3503192"/>
              <a:gd name="connsiteY6592" fmla="*/ 3653316 h 5818346"/>
              <a:gd name="connsiteX6593" fmla="*/ 407336 w 3503192"/>
              <a:gd name="connsiteY6593" fmla="*/ 3650674 h 5818346"/>
              <a:gd name="connsiteX6594" fmla="*/ 418073 w 3503192"/>
              <a:gd name="connsiteY6594" fmla="*/ 3661410 h 5818346"/>
              <a:gd name="connsiteX6595" fmla="*/ 407336 w 3503192"/>
              <a:gd name="connsiteY6595" fmla="*/ 3672148 h 5818346"/>
              <a:gd name="connsiteX6596" fmla="*/ 396600 w 3503192"/>
              <a:gd name="connsiteY6596" fmla="*/ 3661410 h 5818346"/>
              <a:gd name="connsiteX6597" fmla="*/ 407336 w 3503192"/>
              <a:gd name="connsiteY6597" fmla="*/ 3650674 h 5818346"/>
              <a:gd name="connsiteX6598" fmla="*/ 113643 w 3503192"/>
              <a:gd name="connsiteY6598" fmla="*/ 3650178 h 5818346"/>
              <a:gd name="connsiteX6599" fmla="*/ 124381 w 3503192"/>
              <a:gd name="connsiteY6599" fmla="*/ 3660914 h 5818346"/>
              <a:gd name="connsiteX6600" fmla="*/ 113643 w 3503192"/>
              <a:gd name="connsiteY6600" fmla="*/ 3671652 h 5818346"/>
              <a:gd name="connsiteX6601" fmla="*/ 102907 w 3503192"/>
              <a:gd name="connsiteY6601" fmla="*/ 3660914 h 5818346"/>
              <a:gd name="connsiteX6602" fmla="*/ 113643 w 3503192"/>
              <a:gd name="connsiteY6602" fmla="*/ 3650178 h 5818346"/>
              <a:gd name="connsiteX6603" fmla="*/ 1572195 w 3503192"/>
              <a:gd name="connsiteY6603" fmla="*/ 3646707 h 5818346"/>
              <a:gd name="connsiteX6604" fmla="*/ 1582933 w 3503192"/>
              <a:gd name="connsiteY6604" fmla="*/ 3657444 h 5818346"/>
              <a:gd name="connsiteX6605" fmla="*/ 1572195 w 3503192"/>
              <a:gd name="connsiteY6605" fmla="*/ 3668182 h 5818346"/>
              <a:gd name="connsiteX6606" fmla="*/ 1561458 w 3503192"/>
              <a:gd name="connsiteY6606" fmla="*/ 3657444 h 5818346"/>
              <a:gd name="connsiteX6607" fmla="*/ 1572195 w 3503192"/>
              <a:gd name="connsiteY6607" fmla="*/ 3646707 h 5818346"/>
              <a:gd name="connsiteX6608" fmla="*/ 182194 w 3503192"/>
              <a:gd name="connsiteY6608" fmla="*/ 3645056 h 5818346"/>
              <a:gd name="connsiteX6609" fmla="*/ 192932 w 3503192"/>
              <a:gd name="connsiteY6609" fmla="*/ 3655793 h 5818346"/>
              <a:gd name="connsiteX6610" fmla="*/ 182194 w 3503192"/>
              <a:gd name="connsiteY6610" fmla="*/ 3666531 h 5818346"/>
              <a:gd name="connsiteX6611" fmla="*/ 171457 w 3503192"/>
              <a:gd name="connsiteY6611" fmla="*/ 3655793 h 5818346"/>
              <a:gd name="connsiteX6612" fmla="*/ 182194 w 3503192"/>
              <a:gd name="connsiteY6612" fmla="*/ 3645056 h 5818346"/>
              <a:gd name="connsiteX6613" fmla="*/ 132143 w 3503192"/>
              <a:gd name="connsiteY6613" fmla="*/ 3641588 h 5818346"/>
              <a:gd name="connsiteX6614" fmla="*/ 142880 w 3503192"/>
              <a:gd name="connsiteY6614" fmla="*/ 3652324 h 5818346"/>
              <a:gd name="connsiteX6615" fmla="*/ 132143 w 3503192"/>
              <a:gd name="connsiteY6615" fmla="*/ 3663062 h 5818346"/>
              <a:gd name="connsiteX6616" fmla="*/ 121407 w 3503192"/>
              <a:gd name="connsiteY6616" fmla="*/ 3652324 h 5818346"/>
              <a:gd name="connsiteX6617" fmla="*/ 132143 w 3503192"/>
              <a:gd name="connsiteY6617" fmla="*/ 3641588 h 5818346"/>
              <a:gd name="connsiteX6618" fmla="*/ 102081 w 3503192"/>
              <a:gd name="connsiteY6618" fmla="*/ 3637624 h 5818346"/>
              <a:gd name="connsiteX6619" fmla="*/ 109184 w 3503192"/>
              <a:gd name="connsiteY6619" fmla="*/ 3644727 h 5818346"/>
              <a:gd name="connsiteX6620" fmla="*/ 102081 w 3503192"/>
              <a:gd name="connsiteY6620" fmla="*/ 3651828 h 5818346"/>
              <a:gd name="connsiteX6621" fmla="*/ 94978 w 3503192"/>
              <a:gd name="connsiteY6621" fmla="*/ 3644727 h 5818346"/>
              <a:gd name="connsiteX6622" fmla="*/ 102081 w 3503192"/>
              <a:gd name="connsiteY6622" fmla="*/ 3637624 h 5818346"/>
              <a:gd name="connsiteX6623" fmla="*/ 146515 w 3503192"/>
              <a:gd name="connsiteY6623" fmla="*/ 3633328 h 5818346"/>
              <a:gd name="connsiteX6624" fmla="*/ 157253 w 3503192"/>
              <a:gd name="connsiteY6624" fmla="*/ 3644065 h 5818346"/>
              <a:gd name="connsiteX6625" fmla="*/ 146515 w 3503192"/>
              <a:gd name="connsiteY6625" fmla="*/ 3654802 h 5818346"/>
              <a:gd name="connsiteX6626" fmla="*/ 135778 w 3503192"/>
              <a:gd name="connsiteY6626" fmla="*/ 3644065 h 5818346"/>
              <a:gd name="connsiteX6627" fmla="*/ 146515 w 3503192"/>
              <a:gd name="connsiteY6627" fmla="*/ 3633328 h 5818346"/>
              <a:gd name="connsiteX6628" fmla="*/ 229766 w 3503192"/>
              <a:gd name="connsiteY6628" fmla="*/ 3628703 h 5818346"/>
              <a:gd name="connsiteX6629" fmla="*/ 240504 w 3503192"/>
              <a:gd name="connsiteY6629" fmla="*/ 3639439 h 5818346"/>
              <a:gd name="connsiteX6630" fmla="*/ 229766 w 3503192"/>
              <a:gd name="connsiteY6630" fmla="*/ 3650178 h 5818346"/>
              <a:gd name="connsiteX6631" fmla="*/ 219030 w 3503192"/>
              <a:gd name="connsiteY6631" fmla="*/ 3639439 h 5818346"/>
              <a:gd name="connsiteX6632" fmla="*/ 229766 w 3503192"/>
              <a:gd name="connsiteY6632" fmla="*/ 3628703 h 5818346"/>
              <a:gd name="connsiteX6633" fmla="*/ 678563 w 3503192"/>
              <a:gd name="connsiteY6633" fmla="*/ 3628042 h 5818346"/>
              <a:gd name="connsiteX6634" fmla="*/ 689299 w 3503192"/>
              <a:gd name="connsiteY6634" fmla="*/ 3638778 h 5818346"/>
              <a:gd name="connsiteX6635" fmla="*/ 678563 w 3503192"/>
              <a:gd name="connsiteY6635" fmla="*/ 3649515 h 5818346"/>
              <a:gd name="connsiteX6636" fmla="*/ 667827 w 3503192"/>
              <a:gd name="connsiteY6636" fmla="*/ 3638778 h 5818346"/>
              <a:gd name="connsiteX6637" fmla="*/ 678563 w 3503192"/>
              <a:gd name="connsiteY6637" fmla="*/ 3628042 h 5818346"/>
              <a:gd name="connsiteX6638" fmla="*/ 359433 w 3503192"/>
              <a:gd name="connsiteY6638" fmla="*/ 3625070 h 5818346"/>
              <a:gd name="connsiteX6639" fmla="*/ 370169 w 3503192"/>
              <a:gd name="connsiteY6639" fmla="*/ 3635806 h 5818346"/>
              <a:gd name="connsiteX6640" fmla="*/ 359433 w 3503192"/>
              <a:gd name="connsiteY6640" fmla="*/ 3646544 h 5818346"/>
              <a:gd name="connsiteX6641" fmla="*/ 348696 w 3503192"/>
              <a:gd name="connsiteY6641" fmla="*/ 3635806 h 5818346"/>
              <a:gd name="connsiteX6642" fmla="*/ 359433 w 3503192"/>
              <a:gd name="connsiteY6642" fmla="*/ 3625070 h 5818346"/>
              <a:gd name="connsiteX6643" fmla="*/ 122564 w 3503192"/>
              <a:gd name="connsiteY6643" fmla="*/ 3623417 h 5818346"/>
              <a:gd name="connsiteX6644" fmla="*/ 133300 w 3503192"/>
              <a:gd name="connsiteY6644" fmla="*/ 3634154 h 5818346"/>
              <a:gd name="connsiteX6645" fmla="*/ 122564 w 3503192"/>
              <a:gd name="connsiteY6645" fmla="*/ 3644890 h 5818346"/>
              <a:gd name="connsiteX6646" fmla="*/ 111827 w 3503192"/>
              <a:gd name="connsiteY6646" fmla="*/ 3634154 h 5818346"/>
              <a:gd name="connsiteX6647" fmla="*/ 122564 w 3503192"/>
              <a:gd name="connsiteY6647" fmla="*/ 3623417 h 5818346"/>
              <a:gd name="connsiteX6648" fmla="*/ 166997 w 3503192"/>
              <a:gd name="connsiteY6648" fmla="*/ 3622427 h 5818346"/>
              <a:gd name="connsiteX6649" fmla="*/ 177735 w 3503192"/>
              <a:gd name="connsiteY6649" fmla="*/ 3633163 h 5818346"/>
              <a:gd name="connsiteX6650" fmla="*/ 166997 w 3503192"/>
              <a:gd name="connsiteY6650" fmla="*/ 3643902 h 5818346"/>
              <a:gd name="connsiteX6651" fmla="*/ 156261 w 3503192"/>
              <a:gd name="connsiteY6651" fmla="*/ 3633163 h 5818346"/>
              <a:gd name="connsiteX6652" fmla="*/ 166997 w 3503192"/>
              <a:gd name="connsiteY6652" fmla="*/ 3622427 h 5818346"/>
              <a:gd name="connsiteX6653" fmla="*/ 1410647 w 3503192"/>
              <a:gd name="connsiteY6653" fmla="*/ 3622096 h 5818346"/>
              <a:gd name="connsiteX6654" fmla="*/ 1421385 w 3503192"/>
              <a:gd name="connsiteY6654" fmla="*/ 3632832 h 5818346"/>
              <a:gd name="connsiteX6655" fmla="*/ 1410647 w 3503192"/>
              <a:gd name="connsiteY6655" fmla="*/ 3643570 h 5818346"/>
              <a:gd name="connsiteX6656" fmla="*/ 1399910 w 3503192"/>
              <a:gd name="connsiteY6656" fmla="*/ 3632832 h 5818346"/>
              <a:gd name="connsiteX6657" fmla="*/ 1410647 w 3503192"/>
              <a:gd name="connsiteY6657" fmla="*/ 3622096 h 5818346"/>
              <a:gd name="connsiteX6658" fmla="*/ 136604 w 3503192"/>
              <a:gd name="connsiteY6658" fmla="*/ 3613341 h 5818346"/>
              <a:gd name="connsiteX6659" fmla="*/ 147342 w 3503192"/>
              <a:gd name="connsiteY6659" fmla="*/ 3624078 h 5818346"/>
              <a:gd name="connsiteX6660" fmla="*/ 136604 w 3503192"/>
              <a:gd name="connsiteY6660" fmla="*/ 3634814 h 5818346"/>
              <a:gd name="connsiteX6661" fmla="*/ 125867 w 3503192"/>
              <a:gd name="connsiteY6661" fmla="*/ 3624078 h 5818346"/>
              <a:gd name="connsiteX6662" fmla="*/ 136604 w 3503192"/>
              <a:gd name="connsiteY6662" fmla="*/ 3613341 h 5818346"/>
              <a:gd name="connsiteX6663" fmla="*/ 112818 w 3503192"/>
              <a:gd name="connsiteY6663" fmla="*/ 3606238 h 5818346"/>
              <a:gd name="connsiteX6664" fmla="*/ 123556 w 3503192"/>
              <a:gd name="connsiteY6664" fmla="*/ 3616975 h 5818346"/>
              <a:gd name="connsiteX6665" fmla="*/ 112818 w 3503192"/>
              <a:gd name="connsiteY6665" fmla="*/ 3627713 h 5818346"/>
              <a:gd name="connsiteX6666" fmla="*/ 102081 w 3503192"/>
              <a:gd name="connsiteY6666" fmla="*/ 3616975 h 5818346"/>
              <a:gd name="connsiteX6667" fmla="*/ 112818 w 3503192"/>
              <a:gd name="connsiteY6667" fmla="*/ 3606238 h 5818346"/>
              <a:gd name="connsiteX6668" fmla="*/ 206311 w 3503192"/>
              <a:gd name="connsiteY6668" fmla="*/ 3605248 h 5818346"/>
              <a:gd name="connsiteX6669" fmla="*/ 217049 w 3503192"/>
              <a:gd name="connsiteY6669" fmla="*/ 3615984 h 5818346"/>
              <a:gd name="connsiteX6670" fmla="*/ 206311 w 3503192"/>
              <a:gd name="connsiteY6670" fmla="*/ 3626722 h 5818346"/>
              <a:gd name="connsiteX6671" fmla="*/ 195575 w 3503192"/>
              <a:gd name="connsiteY6671" fmla="*/ 3615984 h 5818346"/>
              <a:gd name="connsiteX6672" fmla="*/ 206311 w 3503192"/>
              <a:gd name="connsiteY6672" fmla="*/ 3605248 h 5818346"/>
              <a:gd name="connsiteX6673" fmla="*/ 599441 w 3503192"/>
              <a:gd name="connsiteY6673" fmla="*/ 3602605 h 5818346"/>
              <a:gd name="connsiteX6674" fmla="*/ 610177 w 3503192"/>
              <a:gd name="connsiteY6674" fmla="*/ 3613341 h 5818346"/>
              <a:gd name="connsiteX6675" fmla="*/ 599441 w 3503192"/>
              <a:gd name="connsiteY6675" fmla="*/ 3624080 h 5818346"/>
              <a:gd name="connsiteX6676" fmla="*/ 588704 w 3503192"/>
              <a:gd name="connsiteY6676" fmla="*/ 3613341 h 5818346"/>
              <a:gd name="connsiteX6677" fmla="*/ 599441 w 3503192"/>
              <a:gd name="connsiteY6677" fmla="*/ 3602605 h 5818346"/>
              <a:gd name="connsiteX6678" fmla="*/ 153782 w 3503192"/>
              <a:gd name="connsiteY6678" fmla="*/ 3600953 h 5818346"/>
              <a:gd name="connsiteX6679" fmla="*/ 164521 w 3503192"/>
              <a:gd name="connsiteY6679" fmla="*/ 3611689 h 5818346"/>
              <a:gd name="connsiteX6680" fmla="*/ 153782 w 3503192"/>
              <a:gd name="connsiteY6680" fmla="*/ 3622425 h 5818346"/>
              <a:gd name="connsiteX6681" fmla="*/ 143046 w 3503192"/>
              <a:gd name="connsiteY6681" fmla="*/ 3611689 h 5818346"/>
              <a:gd name="connsiteX6682" fmla="*/ 153782 w 3503192"/>
              <a:gd name="connsiteY6682" fmla="*/ 3600953 h 5818346"/>
              <a:gd name="connsiteX6683" fmla="*/ 317311 w 3503192"/>
              <a:gd name="connsiteY6683" fmla="*/ 3600458 h 5818346"/>
              <a:gd name="connsiteX6684" fmla="*/ 328049 w 3503192"/>
              <a:gd name="connsiteY6684" fmla="*/ 3611195 h 5818346"/>
              <a:gd name="connsiteX6685" fmla="*/ 317311 w 3503192"/>
              <a:gd name="connsiteY6685" fmla="*/ 3621931 h 5818346"/>
              <a:gd name="connsiteX6686" fmla="*/ 306575 w 3503192"/>
              <a:gd name="connsiteY6686" fmla="*/ 3611195 h 5818346"/>
              <a:gd name="connsiteX6687" fmla="*/ 317311 w 3503192"/>
              <a:gd name="connsiteY6687" fmla="*/ 3600458 h 5818346"/>
              <a:gd name="connsiteX6688" fmla="*/ 1262479 w 3503192"/>
              <a:gd name="connsiteY6688" fmla="*/ 3597816 h 5818346"/>
              <a:gd name="connsiteX6689" fmla="*/ 1273218 w 3503192"/>
              <a:gd name="connsiteY6689" fmla="*/ 3608552 h 5818346"/>
              <a:gd name="connsiteX6690" fmla="*/ 1262479 w 3503192"/>
              <a:gd name="connsiteY6690" fmla="*/ 3619290 h 5818346"/>
              <a:gd name="connsiteX6691" fmla="*/ 1251743 w 3503192"/>
              <a:gd name="connsiteY6691" fmla="*/ 3608552 h 5818346"/>
              <a:gd name="connsiteX6692" fmla="*/ 1262479 w 3503192"/>
              <a:gd name="connsiteY6692" fmla="*/ 3597816 h 5818346"/>
              <a:gd name="connsiteX6693" fmla="*/ 127353 w 3503192"/>
              <a:gd name="connsiteY6693" fmla="*/ 3594345 h 5818346"/>
              <a:gd name="connsiteX6694" fmla="*/ 138090 w 3503192"/>
              <a:gd name="connsiteY6694" fmla="*/ 3605081 h 5818346"/>
              <a:gd name="connsiteX6695" fmla="*/ 127353 w 3503192"/>
              <a:gd name="connsiteY6695" fmla="*/ 3615820 h 5818346"/>
              <a:gd name="connsiteX6696" fmla="*/ 116617 w 3503192"/>
              <a:gd name="connsiteY6696" fmla="*/ 3605081 h 5818346"/>
              <a:gd name="connsiteX6697" fmla="*/ 127353 w 3503192"/>
              <a:gd name="connsiteY6697" fmla="*/ 3594345 h 5818346"/>
              <a:gd name="connsiteX6698" fmla="*/ 102907 w 3503192"/>
              <a:gd name="connsiteY6698" fmla="*/ 3590052 h 5818346"/>
              <a:gd name="connsiteX6699" fmla="*/ 113645 w 3503192"/>
              <a:gd name="connsiteY6699" fmla="*/ 3600788 h 5818346"/>
              <a:gd name="connsiteX6700" fmla="*/ 102907 w 3503192"/>
              <a:gd name="connsiteY6700" fmla="*/ 3611526 h 5818346"/>
              <a:gd name="connsiteX6701" fmla="*/ 92170 w 3503192"/>
              <a:gd name="connsiteY6701" fmla="*/ 3600788 h 5818346"/>
              <a:gd name="connsiteX6702" fmla="*/ 102907 w 3503192"/>
              <a:gd name="connsiteY6702" fmla="*/ 3590052 h 5818346"/>
              <a:gd name="connsiteX6703" fmla="*/ 185829 w 3503192"/>
              <a:gd name="connsiteY6703" fmla="*/ 3582784 h 5818346"/>
              <a:gd name="connsiteX6704" fmla="*/ 196565 w 3503192"/>
              <a:gd name="connsiteY6704" fmla="*/ 3593520 h 5818346"/>
              <a:gd name="connsiteX6705" fmla="*/ 185829 w 3503192"/>
              <a:gd name="connsiteY6705" fmla="*/ 3604258 h 5818346"/>
              <a:gd name="connsiteX6706" fmla="*/ 175092 w 3503192"/>
              <a:gd name="connsiteY6706" fmla="*/ 3593520 h 5818346"/>
              <a:gd name="connsiteX6707" fmla="*/ 185829 w 3503192"/>
              <a:gd name="connsiteY6707" fmla="*/ 3582784 h 5818346"/>
              <a:gd name="connsiteX6708" fmla="*/ 142054 w 3503192"/>
              <a:gd name="connsiteY6708" fmla="*/ 3580470 h 5818346"/>
              <a:gd name="connsiteX6709" fmla="*/ 152792 w 3503192"/>
              <a:gd name="connsiteY6709" fmla="*/ 3591207 h 5818346"/>
              <a:gd name="connsiteX6710" fmla="*/ 142054 w 3503192"/>
              <a:gd name="connsiteY6710" fmla="*/ 3601944 h 5818346"/>
              <a:gd name="connsiteX6711" fmla="*/ 131318 w 3503192"/>
              <a:gd name="connsiteY6711" fmla="*/ 3591207 h 5818346"/>
              <a:gd name="connsiteX6712" fmla="*/ 142054 w 3503192"/>
              <a:gd name="connsiteY6712" fmla="*/ 3580470 h 5818346"/>
              <a:gd name="connsiteX6713" fmla="*/ 528578 w 3503192"/>
              <a:gd name="connsiteY6713" fmla="*/ 3578158 h 5818346"/>
              <a:gd name="connsiteX6714" fmla="*/ 539316 w 3503192"/>
              <a:gd name="connsiteY6714" fmla="*/ 3588895 h 5818346"/>
              <a:gd name="connsiteX6715" fmla="*/ 528578 w 3503192"/>
              <a:gd name="connsiteY6715" fmla="*/ 3599633 h 5818346"/>
              <a:gd name="connsiteX6716" fmla="*/ 517842 w 3503192"/>
              <a:gd name="connsiteY6716" fmla="*/ 3588895 h 5818346"/>
              <a:gd name="connsiteX6717" fmla="*/ 528578 w 3503192"/>
              <a:gd name="connsiteY6717" fmla="*/ 3578158 h 5818346"/>
              <a:gd name="connsiteX6718" fmla="*/ 280477 w 3503192"/>
              <a:gd name="connsiteY6718" fmla="*/ 3576837 h 5818346"/>
              <a:gd name="connsiteX6719" fmla="*/ 291213 w 3503192"/>
              <a:gd name="connsiteY6719" fmla="*/ 3587573 h 5818346"/>
              <a:gd name="connsiteX6720" fmla="*/ 280477 w 3503192"/>
              <a:gd name="connsiteY6720" fmla="*/ 3598311 h 5818346"/>
              <a:gd name="connsiteX6721" fmla="*/ 269741 w 3503192"/>
              <a:gd name="connsiteY6721" fmla="*/ 3587573 h 5818346"/>
              <a:gd name="connsiteX6722" fmla="*/ 280477 w 3503192"/>
              <a:gd name="connsiteY6722" fmla="*/ 3576837 h 5818346"/>
              <a:gd name="connsiteX6723" fmla="*/ 118599 w 3503192"/>
              <a:gd name="connsiteY6723" fmla="*/ 3576341 h 5818346"/>
              <a:gd name="connsiteX6724" fmla="*/ 129336 w 3503192"/>
              <a:gd name="connsiteY6724" fmla="*/ 3587077 h 5818346"/>
              <a:gd name="connsiteX6725" fmla="*/ 118599 w 3503192"/>
              <a:gd name="connsiteY6725" fmla="*/ 3597816 h 5818346"/>
              <a:gd name="connsiteX6726" fmla="*/ 107863 w 3503192"/>
              <a:gd name="connsiteY6726" fmla="*/ 3587077 h 5818346"/>
              <a:gd name="connsiteX6727" fmla="*/ 118599 w 3503192"/>
              <a:gd name="connsiteY6727" fmla="*/ 3576341 h 5818346"/>
              <a:gd name="connsiteX6728" fmla="*/ 92500 w 3503192"/>
              <a:gd name="connsiteY6728" fmla="*/ 3574855 h 5818346"/>
              <a:gd name="connsiteX6729" fmla="*/ 103238 w 3503192"/>
              <a:gd name="connsiteY6729" fmla="*/ 3585591 h 5818346"/>
              <a:gd name="connsiteX6730" fmla="*/ 92500 w 3503192"/>
              <a:gd name="connsiteY6730" fmla="*/ 3596329 h 5818346"/>
              <a:gd name="connsiteX6731" fmla="*/ 81763 w 3503192"/>
              <a:gd name="connsiteY6731" fmla="*/ 3585591 h 5818346"/>
              <a:gd name="connsiteX6732" fmla="*/ 92500 w 3503192"/>
              <a:gd name="connsiteY6732" fmla="*/ 3574855 h 5818346"/>
              <a:gd name="connsiteX6733" fmla="*/ 1127031 w 3503192"/>
              <a:gd name="connsiteY6733" fmla="*/ 3573698 h 5818346"/>
              <a:gd name="connsiteX6734" fmla="*/ 1137767 w 3503192"/>
              <a:gd name="connsiteY6734" fmla="*/ 3584435 h 5818346"/>
              <a:gd name="connsiteX6735" fmla="*/ 1127031 w 3503192"/>
              <a:gd name="connsiteY6735" fmla="*/ 3595173 h 5818346"/>
              <a:gd name="connsiteX6736" fmla="*/ 1116294 w 3503192"/>
              <a:gd name="connsiteY6736" fmla="*/ 3584435 h 5818346"/>
              <a:gd name="connsiteX6737" fmla="*/ 1127031 w 3503192"/>
              <a:gd name="connsiteY6737" fmla="*/ 3573698 h 5818346"/>
              <a:gd name="connsiteX6738" fmla="*/ 81599 w 3503192"/>
              <a:gd name="connsiteY6738" fmla="*/ 3567091 h 5818346"/>
              <a:gd name="connsiteX6739" fmla="*/ 85730 w 3503192"/>
              <a:gd name="connsiteY6739" fmla="*/ 3571220 h 5818346"/>
              <a:gd name="connsiteX6740" fmla="*/ 81599 w 3503192"/>
              <a:gd name="connsiteY6740" fmla="*/ 3575351 h 5818346"/>
              <a:gd name="connsiteX6741" fmla="*/ 77470 w 3503192"/>
              <a:gd name="connsiteY6741" fmla="*/ 3571220 h 5818346"/>
              <a:gd name="connsiteX6742" fmla="*/ 81599 w 3503192"/>
              <a:gd name="connsiteY6742" fmla="*/ 3567091 h 5818346"/>
              <a:gd name="connsiteX6743" fmla="*/ 168154 w 3503192"/>
              <a:gd name="connsiteY6743" fmla="*/ 3561309 h 5818346"/>
              <a:gd name="connsiteX6744" fmla="*/ 178892 w 3503192"/>
              <a:gd name="connsiteY6744" fmla="*/ 3572045 h 5818346"/>
              <a:gd name="connsiteX6745" fmla="*/ 168154 w 3503192"/>
              <a:gd name="connsiteY6745" fmla="*/ 3582784 h 5818346"/>
              <a:gd name="connsiteX6746" fmla="*/ 157417 w 3503192"/>
              <a:gd name="connsiteY6746" fmla="*/ 3572045 h 5818346"/>
              <a:gd name="connsiteX6747" fmla="*/ 168154 w 3503192"/>
              <a:gd name="connsiteY6747" fmla="*/ 3561309 h 5818346"/>
              <a:gd name="connsiteX6748" fmla="*/ 131814 w 3503192"/>
              <a:gd name="connsiteY6748" fmla="*/ 3560980 h 5818346"/>
              <a:gd name="connsiteX6749" fmla="*/ 142552 w 3503192"/>
              <a:gd name="connsiteY6749" fmla="*/ 3571716 h 5818346"/>
              <a:gd name="connsiteX6750" fmla="*/ 131814 w 3503192"/>
              <a:gd name="connsiteY6750" fmla="*/ 3582452 h 5818346"/>
              <a:gd name="connsiteX6751" fmla="*/ 121077 w 3503192"/>
              <a:gd name="connsiteY6751" fmla="*/ 3571716 h 5818346"/>
              <a:gd name="connsiteX6752" fmla="*/ 131814 w 3503192"/>
              <a:gd name="connsiteY6752" fmla="*/ 3560980 h 5818346"/>
              <a:gd name="connsiteX6753" fmla="*/ 110010 w 3503192"/>
              <a:gd name="connsiteY6753" fmla="*/ 3559162 h 5818346"/>
              <a:gd name="connsiteX6754" fmla="*/ 120746 w 3503192"/>
              <a:gd name="connsiteY6754" fmla="*/ 3569899 h 5818346"/>
              <a:gd name="connsiteX6755" fmla="*/ 110010 w 3503192"/>
              <a:gd name="connsiteY6755" fmla="*/ 3580635 h 5818346"/>
              <a:gd name="connsiteX6756" fmla="*/ 99274 w 3503192"/>
              <a:gd name="connsiteY6756" fmla="*/ 3569899 h 5818346"/>
              <a:gd name="connsiteX6757" fmla="*/ 110010 w 3503192"/>
              <a:gd name="connsiteY6757" fmla="*/ 3559162 h 5818346"/>
              <a:gd name="connsiteX6758" fmla="*/ 465315 w 3503192"/>
              <a:gd name="connsiteY6758" fmla="*/ 3554537 h 5818346"/>
              <a:gd name="connsiteX6759" fmla="*/ 476052 w 3503192"/>
              <a:gd name="connsiteY6759" fmla="*/ 3565273 h 5818346"/>
              <a:gd name="connsiteX6760" fmla="*/ 465315 w 3503192"/>
              <a:gd name="connsiteY6760" fmla="*/ 3576012 h 5818346"/>
              <a:gd name="connsiteX6761" fmla="*/ 454579 w 3503192"/>
              <a:gd name="connsiteY6761" fmla="*/ 3565273 h 5818346"/>
              <a:gd name="connsiteX6762" fmla="*/ 465315 w 3503192"/>
              <a:gd name="connsiteY6762" fmla="*/ 3554537 h 5818346"/>
              <a:gd name="connsiteX6763" fmla="*/ 248101 w 3503192"/>
              <a:gd name="connsiteY6763" fmla="*/ 3554207 h 5818346"/>
              <a:gd name="connsiteX6764" fmla="*/ 258840 w 3503192"/>
              <a:gd name="connsiteY6764" fmla="*/ 3564944 h 5818346"/>
              <a:gd name="connsiteX6765" fmla="*/ 248101 w 3503192"/>
              <a:gd name="connsiteY6765" fmla="*/ 3575682 h 5818346"/>
              <a:gd name="connsiteX6766" fmla="*/ 237365 w 3503192"/>
              <a:gd name="connsiteY6766" fmla="*/ 3564944 h 5818346"/>
              <a:gd name="connsiteX6767" fmla="*/ 248101 w 3503192"/>
              <a:gd name="connsiteY6767" fmla="*/ 3554207 h 5818346"/>
              <a:gd name="connsiteX6768" fmla="*/ 1003475 w 3503192"/>
              <a:gd name="connsiteY6768" fmla="*/ 3550242 h 5818346"/>
              <a:gd name="connsiteX6769" fmla="*/ 1014213 w 3503192"/>
              <a:gd name="connsiteY6769" fmla="*/ 3560978 h 5818346"/>
              <a:gd name="connsiteX6770" fmla="*/ 1003475 w 3503192"/>
              <a:gd name="connsiteY6770" fmla="*/ 3571716 h 5818346"/>
              <a:gd name="connsiteX6771" fmla="*/ 992739 w 3503192"/>
              <a:gd name="connsiteY6771" fmla="*/ 3560978 h 5818346"/>
              <a:gd name="connsiteX6772" fmla="*/ 1003475 w 3503192"/>
              <a:gd name="connsiteY6772" fmla="*/ 3550242 h 5818346"/>
              <a:gd name="connsiteX6773" fmla="*/ 101256 w 3503192"/>
              <a:gd name="connsiteY6773" fmla="*/ 3543140 h 5818346"/>
              <a:gd name="connsiteX6774" fmla="*/ 111994 w 3503192"/>
              <a:gd name="connsiteY6774" fmla="*/ 3553876 h 5818346"/>
              <a:gd name="connsiteX6775" fmla="*/ 101256 w 3503192"/>
              <a:gd name="connsiteY6775" fmla="*/ 3564613 h 5818346"/>
              <a:gd name="connsiteX6776" fmla="*/ 90519 w 3503192"/>
              <a:gd name="connsiteY6776" fmla="*/ 3553876 h 5818346"/>
              <a:gd name="connsiteX6777" fmla="*/ 101256 w 3503192"/>
              <a:gd name="connsiteY6777" fmla="*/ 3543140 h 5818346"/>
              <a:gd name="connsiteX6778" fmla="*/ 122399 w 3503192"/>
              <a:gd name="connsiteY6778" fmla="*/ 3542479 h 5818346"/>
              <a:gd name="connsiteX6779" fmla="*/ 133137 w 3503192"/>
              <a:gd name="connsiteY6779" fmla="*/ 3553216 h 5818346"/>
              <a:gd name="connsiteX6780" fmla="*/ 122399 w 3503192"/>
              <a:gd name="connsiteY6780" fmla="*/ 3563954 h 5818346"/>
              <a:gd name="connsiteX6781" fmla="*/ 111663 w 3503192"/>
              <a:gd name="connsiteY6781" fmla="*/ 3553216 h 5818346"/>
              <a:gd name="connsiteX6782" fmla="*/ 122399 w 3503192"/>
              <a:gd name="connsiteY6782" fmla="*/ 3542479 h 5818346"/>
              <a:gd name="connsiteX6783" fmla="*/ 152957 w 3503192"/>
              <a:gd name="connsiteY6783" fmla="*/ 3540826 h 5818346"/>
              <a:gd name="connsiteX6784" fmla="*/ 163695 w 3503192"/>
              <a:gd name="connsiteY6784" fmla="*/ 3551563 h 5818346"/>
              <a:gd name="connsiteX6785" fmla="*/ 152957 w 3503192"/>
              <a:gd name="connsiteY6785" fmla="*/ 3562299 h 5818346"/>
              <a:gd name="connsiteX6786" fmla="*/ 142221 w 3503192"/>
              <a:gd name="connsiteY6786" fmla="*/ 3551563 h 5818346"/>
              <a:gd name="connsiteX6787" fmla="*/ 152957 w 3503192"/>
              <a:gd name="connsiteY6787" fmla="*/ 3540826 h 5818346"/>
              <a:gd name="connsiteX6788" fmla="*/ 2956579 w 3503192"/>
              <a:gd name="connsiteY6788" fmla="*/ 3537358 h 5818346"/>
              <a:gd name="connsiteX6789" fmla="*/ 2967317 w 3503192"/>
              <a:gd name="connsiteY6789" fmla="*/ 3548095 h 5818346"/>
              <a:gd name="connsiteX6790" fmla="*/ 2956579 w 3503192"/>
              <a:gd name="connsiteY6790" fmla="*/ 3558833 h 5818346"/>
              <a:gd name="connsiteX6791" fmla="*/ 2945842 w 3503192"/>
              <a:gd name="connsiteY6791" fmla="*/ 3548095 h 5818346"/>
              <a:gd name="connsiteX6792" fmla="*/ 2956579 w 3503192"/>
              <a:gd name="connsiteY6792" fmla="*/ 3537358 h 5818346"/>
              <a:gd name="connsiteX6793" fmla="*/ 2705999 w 3503192"/>
              <a:gd name="connsiteY6793" fmla="*/ 3535211 h 5818346"/>
              <a:gd name="connsiteX6794" fmla="*/ 2716737 w 3503192"/>
              <a:gd name="connsiteY6794" fmla="*/ 3545948 h 5818346"/>
              <a:gd name="connsiteX6795" fmla="*/ 2705999 w 3503192"/>
              <a:gd name="connsiteY6795" fmla="*/ 3556686 h 5818346"/>
              <a:gd name="connsiteX6796" fmla="*/ 2695263 w 3503192"/>
              <a:gd name="connsiteY6796" fmla="*/ 3545948 h 5818346"/>
              <a:gd name="connsiteX6797" fmla="*/ 2705999 w 3503192"/>
              <a:gd name="connsiteY6797" fmla="*/ 3535211 h 5818346"/>
              <a:gd name="connsiteX6798" fmla="*/ 220020 w 3503192"/>
              <a:gd name="connsiteY6798" fmla="*/ 3532402 h 5818346"/>
              <a:gd name="connsiteX6799" fmla="*/ 230758 w 3503192"/>
              <a:gd name="connsiteY6799" fmla="*/ 3543138 h 5818346"/>
              <a:gd name="connsiteX6800" fmla="*/ 220020 w 3503192"/>
              <a:gd name="connsiteY6800" fmla="*/ 3553876 h 5818346"/>
              <a:gd name="connsiteX6801" fmla="*/ 209283 w 3503192"/>
              <a:gd name="connsiteY6801" fmla="*/ 3543138 h 5818346"/>
              <a:gd name="connsiteX6802" fmla="*/ 220020 w 3503192"/>
              <a:gd name="connsiteY6802" fmla="*/ 3532402 h 5818346"/>
              <a:gd name="connsiteX6803" fmla="*/ 408987 w 3503192"/>
              <a:gd name="connsiteY6803" fmla="*/ 3531743 h 5818346"/>
              <a:gd name="connsiteX6804" fmla="*/ 419724 w 3503192"/>
              <a:gd name="connsiteY6804" fmla="*/ 3542479 h 5818346"/>
              <a:gd name="connsiteX6805" fmla="*/ 408987 w 3503192"/>
              <a:gd name="connsiteY6805" fmla="*/ 3553217 h 5818346"/>
              <a:gd name="connsiteX6806" fmla="*/ 398251 w 3503192"/>
              <a:gd name="connsiteY6806" fmla="*/ 3542479 h 5818346"/>
              <a:gd name="connsiteX6807" fmla="*/ 408987 w 3503192"/>
              <a:gd name="connsiteY6807" fmla="*/ 3531743 h 5818346"/>
              <a:gd name="connsiteX6808" fmla="*/ 3204186 w 3503192"/>
              <a:gd name="connsiteY6808" fmla="*/ 3530586 h 5818346"/>
              <a:gd name="connsiteX6809" fmla="*/ 3214924 w 3503192"/>
              <a:gd name="connsiteY6809" fmla="*/ 3541323 h 5818346"/>
              <a:gd name="connsiteX6810" fmla="*/ 3204186 w 3503192"/>
              <a:gd name="connsiteY6810" fmla="*/ 3552060 h 5818346"/>
              <a:gd name="connsiteX6811" fmla="*/ 3193450 w 3503192"/>
              <a:gd name="connsiteY6811" fmla="*/ 3541323 h 5818346"/>
              <a:gd name="connsiteX6812" fmla="*/ 3204186 w 3503192"/>
              <a:gd name="connsiteY6812" fmla="*/ 3530586 h 5818346"/>
              <a:gd name="connsiteX6813" fmla="*/ 92500 w 3503192"/>
              <a:gd name="connsiteY6813" fmla="*/ 3527943 h 5818346"/>
              <a:gd name="connsiteX6814" fmla="*/ 103238 w 3503192"/>
              <a:gd name="connsiteY6814" fmla="*/ 3538680 h 5818346"/>
              <a:gd name="connsiteX6815" fmla="*/ 92500 w 3503192"/>
              <a:gd name="connsiteY6815" fmla="*/ 3549416 h 5818346"/>
              <a:gd name="connsiteX6816" fmla="*/ 81763 w 3503192"/>
              <a:gd name="connsiteY6816" fmla="*/ 3538680 h 5818346"/>
              <a:gd name="connsiteX6817" fmla="*/ 92500 w 3503192"/>
              <a:gd name="connsiteY6817" fmla="*/ 3527943 h 5818346"/>
              <a:gd name="connsiteX6818" fmla="*/ 891317 w 3503192"/>
              <a:gd name="connsiteY6818" fmla="*/ 3527283 h 5818346"/>
              <a:gd name="connsiteX6819" fmla="*/ 902053 w 3503192"/>
              <a:gd name="connsiteY6819" fmla="*/ 3538019 h 5818346"/>
              <a:gd name="connsiteX6820" fmla="*/ 891317 w 3503192"/>
              <a:gd name="connsiteY6820" fmla="*/ 3548757 h 5818346"/>
              <a:gd name="connsiteX6821" fmla="*/ 880580 w 3503192"/>
              <a:gd name="connsiteY6821" fmla="*/ 3538019 h 5818346"/>
              <a:gd name="connsiteX6822" fmla="*/ 891317 w 3503192"/>
              <a:gd name="connsiteY6822" fmla="*/ 3527283 h 5818346"/>
              <a:gd name="connsiteX6823" fmla="*/ 2462688 w 3503192"/>
              <a:gd name="connsiteY6823" fmla="*/ 3524969 h 5818346"/>
              <a:gd name="connsiteX6824" fmla="*/ 2473426 w 3503192"/>
              <a:gd name="connsiteY6824" fmla="*/ 3535706 h 5818346"/>
              <a:gd name="connsiteX6825" fmla="*/ 2462688 w 3503192"/>
              <a:gd name="connsiteY6825" fmla="*/ 3546443 h 5818346"/>
              <a:gd name="connsiteX6826" fmla="*/ 2451951 w 3503192"/>
              <a:gd name="connsiteY6826" fmla="*/ 3535706 h 5818346"/>
              <a:gd name="connsiteX6827" fmla="*/ 2462688 w 3503192"/>
              <a:gd name="connsiteY6827" fmla="*/ 3524969 h 5818346"/>
              <a:gd name="connsiteX6828" fmla="*/ 113808 w 3503192"/>
              <a:gd name="connsiteY6828" fmla="*/ 3524805 h 5818346"/>
              <a:gd name="connsiteX6829" fmla="*/ 124546 w 3503192"/>
              <a:gd name="connsiteY6829" fmla="*/ 3535541 h 5818346"/>
              <a:gd name="connsiteX6830" fmla="*/ 113808 w 3503192"/>
              <a:gd name="connsiteY6830" fmla="*/ 3546277 h 5818346"/>
              <a:gd name="connsiteX6831" fmla="*/ 103071 w 3503192"/>
              <a:gd name="connsiteY6831" fmla="*/ 3535541 h 5818346"/>
              <a:gd name="connsiteX6832" fmla="*/ 113808 w 3503192"/>
              <a:gd name="connsiteY6832" fmla="*/ 3524805 h 5818346"/>
              <a:gd name="connsiteX6833" fmla="*/ 139743 w 3503192"/>
              <a:gd name="connsiteY6833" fmla="*/ 3521336 h 5818346"/>
              <a:gd name="connsiteX6834" fmla="*/ 150479 w 3503192"/>
              <a:gd name="connsiteY6834" fmla="*/ 3532072 h 5818346"/>
              <a:gd name="connsiteX6835" fmla="*/ 139743 w 3503192"/>
              <a:gd name="connsiteY6835" fmla="*/ 3542810 h 5818346"/>
              <a:gd name="connsiteX6836" fmla="*/ 129006 w 3503192"/>
              <a:gd name="connsiteY6836" fmla="*/ 3532072 h 5818346"/>
              <a:gd name="connsiteX6837" fmla="*/ 139743 w 3503192"/>
              <a:gd name="connsiteY6837" fmla="*/ 3521336 h 5818346"/>
              <a:gd name="connsiteX6838" fmla="*/ 3440890 w 3503192"/>
              <a:gd name="connsiteY6838" fmla="*/ 3517205 h 5818346"/>
              <a:gd name="connsiteX6839" fmla="*/ 3451628 w 3503192"/>
              <a:gd name="connsiteY6839" fmla="*/ 3527942 h 5818346"/>
              <a:gd name="connsiteX6840" fmla="*/ 3440890 w 3503192"/>
              <a:gd name="connsiteY6840" fmla="*/ 3538680 h 5818346"/>
              <a:gd name="connsiteX6841" fmla="*/ 3430154 w 3503192"/>
              <a:gd name="connsiteY6841" fmla="*/ 3527942 h 5818346"/>
              <a:gd name="connsiteX6842" fmla="*/ 3440890 w 3503192"/>
              <a:gd name="connsiteY6842" fmla="*/ 3517205 h 5818346"/>
              <a:gd name="connsiteX6843" fmla="*/ 83250 w 3503192"/>
              <a:gd name="connsiteY6843" fmla="*/ 3513572 h 5818346"/>
              <a:gd name="connsiteX6844" fmla="*/ 93988 w 3503192"/>
              <a:gd name="connsiteY6844" fmla="*/ 3524309 h 5818346"/>
              <a:gd name="connsiteX6845" fmla="*/ 83250 w 3503192"/>
              <a:gd name="connsiteY6845" fmla="*/ 3535046 h 5818346"/>
              <a:gd name="connsiteX6846" fmla="*/ 72513 w 3503192"/>
              <a:gd name="connsiteY6846" fmla="*/ 3524309 h 5818346"/>
              <a:gd name="connsiteX6847" fmla="*/ 83250 w 3503192"/>
              <a:gd name="connsiteY6847" fmla="*/ 3513572 h 5818346"/>
              <a:gd name="connsiteX6848" fmla="*/ 195738 w 3503192"/>
              <a:gd name="connsiteY6848" fmla="*/ 3511590 h 5818346"/>
              <a:gd name="connsiteX6849" fmla="*/ 206476 w 3503192"/>
              <a:gd name="connsiteY6849" fmla="*/ 3522326 h 5818346"/>
              <a:gd name="connsiteX6850" fmla="*/ 195738 w 3503192"/>
              <a:gd name="connsiteY6850" fmla="*/ 3533064 h 5818346"/>
              <a:gd name="connsiteX6851" fmla="*/ 185001 w 3503192"/>
              <a:gd name="connsiteY6851" fmla="*/ 3522326 h 5818346"/>
              <a:gd name="connsiteX6852" fmla="*/ 195738 w 3503192"/>
              <a:gd name="connsiteY6852" fmla="*/ 3511590 h 5818346"/>
              <a:gd name="connsiteX6853" fmla="*/ 2232589 w 3503192"/>
              <a:gd name="connsiteY6853" fmla="*/ 3509772 h 5818346"/>
              <a:gd name="connsiteX6854" fmla="*/ 2243327 w 3503192"/>
              <a:gd name="connsiteY6854" fmla="*/ 3520509 h 5818346"/>
              <a:gd name="connsiteX6855" fmla="*/ 2232589 w 3503192"/>
              <a:gd name="connsiteY6855" fmla="*/ 3531247 h 5818346"/>
              <a:gd name="connsiteX6856" fmla="*/ 2221852 w 3503192"/>
              <a:gd name="connsiteY6856" fmla="*/ 3520509 h 5818346"/>
              <a:gd name="connsiteX6857" fmla="*/ 2232589 w 3503192"/>
              <a:gd name="connsiteY6857" fmla="*/ 3509772 h 5818346"/>
              <a:gd name="connsiteX6858" fmla="*/ 359103 w 3503192"/>
              <a:gd name="connsiteY6858" fmla="*/ 3509772 h 5818346"/>
              <a:gd name="connsiteX6859" fmla="*/ 369840 w 3503192"/>
              <a:gd name="connsiteY6859" fmla="*/ 3520509 h 5818346"/>
              <a:gd name="connsiteX6860" fmla="*/ 359103 w 3503192"/>
              <a:gd name="connsiteY6860" fmla="*/ 3531247 h 5818346"/>
              <a:gd name="connsiteX6861" fmla="*/ 348367 w 3503192"/>
              <a:gd name="connsiteY6861" fmla="*/ 3520509 h 5818346"/>
              <a:gd name="connsiteX6862" fmla="*/ 359103 w 3503192"/>
              <a:gd name="connsiteY6862" fmla="*/ 3509772 h 5818346"/>
              <a:gd name="connsiteX6863" fmla="*/ 105881 w 3503192"/>
              <a:gd name="connsiteY6863" fmla="*/ 3508122 h 5818346"/>
              <a:gd name="connsiteX6864" fmla="*/ 116617 w 3503192"/>
              <a:gd name="connsiteY6864" fmla="*/ 3518858 h 5818346"/>
              <a:gd name="connsiteX6865" fmla="*/ 105881 w 3503192"/>
              <a:gd name="connsiteY6865" fmla="*/ 3529596 h 5818346"/>
              <a:gd name="connsiteX6866" fmla="*/ 95144 w 3503192"/>
              <a:gd name="connsiteY6866" fmla="*/ 3518858 h 5818346"/>
              <a:gd name="connsiteX6867" fmla="*/ 105881 w 3503192"/>
              <a:gd name="connsiteY6867" fmla="*/ 3508122 h 5818346"/>
              <a:gd name="connsiteX6868" fmla="*/ 789565 w 3503192"/>
              <a:gd name="connsiteY6868" fmla="*/ 3505147 h 5818346"/>
              <a:gd name="connsiteX6869" fmla="*/ 800301 w 3503192"/>
              <a:gd name="connsiteY6869" fmla="*/ 3515884 h 5818346"/>
              <a:gd name="connsiteX6870" fmla="*/ 789565 w 3503192"/>
              <a:gd name="connsiteY6870" fmla="*/ 3526622 h 5818346"/>
              <a:gd name="connsiteX6871" fmla="*/ 778829 w 3503192"/>
              <a:gd name="connsiteY6871" fmla="*/ 3515884 h 5818346"/>
              <a:gd name="connsiteX6872" fmla="*/ 789565 w 3503192"/>
              <a:gd name="connsiteY6872" fmla="*/ 3505147 h 5818346"/>
              <a:gd name="connsiteX6873" fmla="*/ 128344 w 3503192"/>
              <a:gd name="connsiteY6873" fmla="*/ 3502669 h 5818346"/>
              <a:gd name="connsiteX6874" fmla="*/ 139082 w 3503192"/>
              <a:gd name="connsiteY6874" fmla="*/ 3513405 h 5818346"/>
              <a:gd name="connsiteX6875" fmla="*/ 128344 w 3503192"/>
              <a:gd name="connsiteY6875" fmla="*/ 3524144 h 5818346"/>
              <a:gd name="connsiteX6876" fmla="*/ 117607 w 3503192"/>
              <a:gd name="connsiteY6876" fmla="*/ 3513405 h 5818346"/>
              <a:gd name="connsiteX6877" fmla="*/ 128344 w 3503192"/>
              <a:gd name="connsiteY6877" fmla="*/ 3502669 h 5818346"/>
              <a:gd name="connsiteX6878" fmla="*/ 73504 w 3503192"/>
              <a:gd name="connsiteY6878" fmla="*/ 3500028 h 5818346"/>
              <a:gd name="connsiteX6879" fmla="*/ 84242 w 3503192"/>
              <a:gd name="connsiteY6879" fmla="*/ 3510765 h 5818346"/>
              <a:gd name="connsiteX6880" fmla="*/ 73504 w 3503192"/>
              <a:gd name="connsiteY6880" fmla="*/ 3521501 h 5818346"/>
              <a:gd name="connsiteX6881" fmla="*/ 62767 w 3503192"/>
              <a:gd name="connsiteY6881" fmla="*/ 3510765 h 5818346"/>
              <a:gd name="connsiteX6882" fmla="*/ 73504 w 3503192"/>
              <a:gd name="connsiteY6882" fmla="*/ 3500028 h 5818346"/>
              <a:gd name="connsiteX6883" fmla="*/ 62932 w 3503192"/>
              <a:gd name="connsiteY6883" fmla="*/ 3496889 h 5818346"/>
              <a:gd name="connsiteX6884" fmla="*/ 63924 w 3503192"/>
              <a:gd name="connsiteY6884" fmla="*/ 3497881 h 5818346"/>
              <a:gd name="connsiteX6885" fmla="*/ 62932 w 3503192"/>
              <a:gd name="connsiteY6885" fmla="*/ 3498871 h 5818346"/>
              <a:gd name="connsiteX6886" fmla="*/ 61942 w 3503192"/>
              <a:gd name="connsiteY6886" fmla="*/ 3497881 h 5818346"/>
              <a:gd name="connsiteX6887" fmla="*/ 62932 w 3503192"/>
              <a:gd name="connsiteY6887" fmla="*/ 3496889 h 5818346"/>
              <a:gd name="connsiteX6888" fmla="*/ 98117 w 3503192"/>
              <a:gd name="connsiteY6888" fmla="*/ 3492264 h 5818346"/>
              <a:gd name="connsiteX6889" fmla="*/ 108855 w 3503192"/>
              <a:gd name="connsiteY6889" fmla="*/ 3503001 h 5818346"/>
              <a:gd name="connsiteX6890" fmla="*/ 98117 w 3503192"/>
              <a:gd name="connsiteY6890" fmla="*/ 3513739 h 5818346"/>
              <a:gd name="connsiteX6891" fmla="*/ 87380 w 3503192"/>
              <a:gd name="connsiteY6891" fmla="*/ 3503001 h 5818346"/>
              <a:gd name="connsiteX6892" fmla="*/ 98117 w 3503192"/>
              <a:gd name="connsiteY6892" fmla="*/ 3492264 h 5818346"/>
              <a:gd name="connsiteX6893" fmla="*/ 2018184 w 3503192"/>
              <a:gd name="connsiteY6893" fmla="*/ 3491933 h 5818346"/>
              <a:gd name="connsiteX6894" fmla="*/ 2028922 w 3503192"/>
              <a:gd name="connsiteY6894" fmla="*/ 3502669 h 5818346"/>
              <a:gd name="connsiteX6895" fmla="*/ 2018184 w 3503192"/>
              <a:gd name="connsiteY6895" fmla="*/ 3513407 h 5818346"/>
              <a:gd name="connsiteX6896" fmla="*/ 2007448 w 3503192"/>
              <a:gd name="connsiteY6896" fmla="*/ 3502669 h 5818346"/>
              <a:gd name="connsiteX6897" fmla="*/ 2018184 w 3503192"/>
              <a:gd name="connsiteY6897" fmla="*/ 3491933 h 5818346"/>
              <a:gd name="connsiteX6898" fmla="*/ 174761 w 3503192"/>
              <a:gd name="connsiteY6898" fmla="*/ 3491768 h 5818346"/>
              <a:gd name="connsiteX6899" fmla="*/ 185497 w 3503192"/>
              <a:gd name="connsiteY6899" fmla="*/ 3502505 h 5818346"/>
              <a:gd name="connsiteX6900" fmla="*/ 174761 w 3503192"/>
              <a:gd name="connsiteY6900" fmla="*/ 3513241 h 5818346"/>
              <a:gd name="connsiteX6901" fmla="*/ 164025 w 3503192"/>
              <a:gd name="connsiteY6901" fmla="*/ 3502505 h 5818346"/>
              <a:gd name="connsiteX6902" fmla="*/ 174761 w 3503192"/>
              <a:gd name="connsiteY6902" fmla="*/ 3491768 h 5818346"/>
              <a:gd name="connsiteX6903" fmla="*/ 315164 w 3503192"/>
              <a:gd name="connsiteY6903" fmla="*/ 3488629 h 5818346"/>
              <a:gd name="connsiteX6904" fmla="*/ 325901 w 3503192"/>
              <a:gd name="connsiteY6904" fmla="*/ 3499365 h 5818346"/>
              <a:gd name="connsiteX6905" fmla="*/ 315164 w 3503192"/>
              <a:gd name="connsiteY6905" fmla="*/ 3510104 h 5818346"/>
              <a:gd name="connsiteX6906" fmla="*/ 304428 w 3503192"/>
              <a:gd name="connsiteY6906" fmla="*/ 3499365 h 5818346"/>
              <a:gd name="connsiteX6907" fmla="*/ 315164 w 3503192"/>
              <a:gd name="connsiteY6907" fmla="*/ 3488629 h 5818346"/>
              <a:gd name="connsiteX6908" fmla="*/ 118433 w 3503192"/>
              <a:gd name="connsiteY6908" fmla="*/ 3484996 h 5818346"/>
              <a:gd name="connsiteX6909" fmla="*/ 129171 w 3503192"/>
              <a:gd name="connsiteY6909" fmla="*/ 3495732 h 5818346"/>
              <a:gd name="connsiteX6910" fmla="*/ 118433 w 3503192"/>
              <a:gd name="connsiteY6910" fmla="*/ 3506471 h 5818346"/>
              <a:gd name="connsiteX6911" fmla="*/ 107696 w 3503192"/>
              <a:gd name="connsiteY6911" fmla="*/ 3495732 h 5818346"/>
              <a:gd name="connsiteX6912" fmla="*/ 118433 w 3503192"/>
              <a:gd name="connsiteY6912" fmla="*/ 3484996 h 5818346"/>
              <a:gd name="connsiteX6913" fmla="*/ 697724 w 3503192"/>
              <a:gd name="connsiteY6913" fmla="*/ 3483675 h 5818346"/>
              <a:gd name="connsiteX6914" fmla="*/ 708460 w 3503192"/>
              <a:gd name="connsiteY6914" fmla="*/ 3494411 h 5818346"/>
              <a:gd name="connsiteX6915" fmla="*/ 697724 w 3503192"/>
              <a:gd name="connsiteY6915" fmla="*/ 3505149 h 5818346"/>
              <a:gd name="connsiteX6916" fmla="*/ 686988 w 3503192"/>
              <a:gd name="connsiteY6916" fmla="*/ 3494411 h 5818346"/>
              <a:gd name="connsiteX6917" fmla="*/ 697724 w 3503192"/>
              <a:gd name="connsiteY6917" fmla="*/ 3483675 h 5818346"/>
              <a:gd name="connsiteX6918" fmla="*/ 90353 w 3503192"/>
              <a:gd name="connsiteY6918" fmla="*/ 3477397 h 5818346"/>
              <a:gd name="connsiteX6919" fmla="*/ 101089 w 3503192"/>
              <a:gd name="connsiteY6919" fmla="*/ 3488133 h 5818346"/>
              <a:gd name="connsiteX6920" fmla="*/ 90353 w 3503192"/>
              <a:gd name="connsiteY6920" fmla="*/ 3498871 h 5818346"/>
              <a:gd name="connsiteX6921" fmla="*/ 79617 w 3503192"/>
              <a:gd name="connsiteY6921" fmla="*/ 3488133 h 5818346"/>
              <a:gd name="connsiteX6922" fmla="*/ 90353 w 3503192"/>
              <a:gd name="connsiteY6922" fmla="*/ 3477397 h 5818346"/>
              <a:gd name="connsiteX6923" fmla="*/ 1819471 w 3503192"/>
              <a:gd name="connsiteY6923" fmla="*/ 3473103 h 5818346"/>
              <a:gd name="connsiteX6924" fmla="*/ 1830209 w 3503192"/>
              <a:gd name="connsiteY6924" fmla="*/ 3483840 h 5818346"/>
              <a:gd name="connsiteX6925" fmla="*/ 1819471 w 3503192"/>
              <a:gd name="connsiteY6925" fmla="*/ 3494578 h 5818346"/>
              <a:gd name="connsiteX6926" fmla="*/ 1808734 w 3503192"/>
              <a:gd name="connsiteY6926" fmla="*/ 3483840 h 5818346"/>
              <a:gd name="connsiteX6927" fmla="*/ 1819471 w 3503192"/>
              <a:gd name="connsiteY6927" fmla="*/ 3473103 h 5818346"/>
              <a:gd name="connsiteX6928" fmla="*/ 156590 w 3503192"/>
              <a:gd name="connsiteY6928" fmla="*/ 3472772 h 5818346"/>
              <a:gd name="connsiteX6929" fmla="*/ 167328 w 3503192"/>
              <a:gd name="connsiteY6929" fmla="*/ 3483508 h 5818346"/>
              <a:gd name="connsiteX6930" fmla="*/ 156590 w 3503192"/>
              <a:gd name="connsiteY6930" fmla="*/ 3494246 h 5818346"/>
              <a:gd name="connsiteX6931" fmla="*/ 145854 w 3503192"/>
              <a:gd name="connsiteY6931" fmla="*/ 3483508 h 5818346"/>
              <a:gd name="connsiteX6932" fmla="*/ 156590 w 3503192"/>
              <a:gd name="connsiteY6932" fmla="*/ 3472772 h 5818346"/>
              <a:gd name="connsiteX6933" fmla="*/ 276513 w 3503192"/>
              <a:gd name="connsiteY6933" fmla="*/ 3468478 h 5818346"/>
              <a:gd name="connsiteX6934" fmla="*/ 287249 w 3503192"/>
              <a:gd name="connsiteY6934" fmla="*/ 3479214 h 5818346"/>
              <a:gd name="connsiteX6935" fmla="*/ 276513 w 3503192"/>
              <a:gd name="connsiteY6935" fmla="*/ 3489952 h 5818346"/>
              <a:gd name="connsiteX6936" fmla="*/ 265776 w 3503192"/>
              <a:gd name="connsiteY6936" fmla="*/ 3479214 h 5818346"/>
              <a:gd name="connsiteX6937" fmla="*/ 276513 w 3503192"/>
              <a:gd name="connsiteY6937" fmla="*/ 3468478 h 5818346"/>
              <a:gd name="connsiteX6938" fmla="*/ 109514 w 3503192"/>
              <a:gd name="connsiteY6938" fmla="*/ 3468147 h 5818346"/>
              <a:gd name="connsiteX6939" fmla="*/ 120252 w 3503192"/>
              <a:gd name="connsiteY6939" fmla="*/ 3478883 h 5818346"/>
              <a:gd name="connsiteX6940" fmla="*/ 109514 w 3503192"/>
              <a:gd name="connsiteY6940" fmla="*/ 3489621 h 5818346"/>
              <a:gd name="connsiteX6941" fmla="*/ 98778 w 3503192"/>
              <a:gd name="connsiteY6941" fmla="*/ 3478883 h 5818346"/>
              <a:gd name="connsiteX6942" fmla="*/ 109514 w 3503192"/>
              <a:gd name="connsiteY6942" fmla="*/ 3468147 h 5818346"/>
              <a:gd name="connsiteX6943" fmla="*/ 615133 w 3503192"/>
              <a:gd name="connsiteY6943" fmla="*/ 3462861 h 5818346"/>
              <a:gd name="connsiteX6944" fmla="*/ 625870 w 3503192"/>
              <a:gd name="connsiteY6944" fmla="*/ 3473597 h 5818346"/>
              <a:gd name="connsiteX6945" fmla="*/ 615133 w 3503192"/>
              <a:gd name="connsiteY6945" fmla="*/ 3484334 h 5818346"/>
              <a:gd name="connsiteX6946" fmla="*/ 604397 w 3503192"/>
              <a:gd name="connsiteY6946" fmla="*/ 3473597 h 5818346"/>
              <a:gd name="connsiteX6947" fmla="*/ 615133 w 3503192"/>
              <a:gd name="connsiteY6947" fmla="*/ 3462861 h 5818346"/>
              <a:gd name="connsiteX6948" fmla="*/ 141229 w 3503192"/>
              <a:gd name="connsiteY6948" fmla="*/ 3454603 h 5818346"/>
              <a:gd name="connsiteX6949" fmla="*/ 151965 w 3503192"/>
              <a:gd name="connsiteY6949" fmla="*/ 3465339 h 5818346"/>
              <a:gd name="connsiteX6950" fmla="*/ 141229 w 3503192"/>
              <a:gd name="connsiteY6950" fmla="*/ 3476076 h 5818346"/>
              <a:gd name="connsiteX6951" fmla="*/ 130492 w 3503192"/>
              <a:gd name="connsiteY6951" fmla="*/ 3465339 h 5818346"/>
              <a:gd name="connsiteX6952" fmla="*/ 141229 w 3503192"/>
              <a:gd name="connsiteY6952" fmla="*/ 3454603 h 5818346"/>
              <a:gd name="connsiteX6953" fmla="*/ 1636285 w 3503192"/>
              <a:gd name="connsiteY6953" fmla="*/ 3453942 h 5818346"/>
              <a:gd name="connsiteX6954" fmla="*/ 1647022 w 3503192"/>
              <a:gd name="connsiteY6954" fmla="*/ 3464678 h 5818346"/>
              <a:gd name="connsiteX6955" fmla="*/ 1636285 w 3503192"/>
              <a:gd name="connsiteY6955" fmla="*/ 3475417 h 5818346"/>
              <a:gd name="connsiteX6956" fmla="*/ 1625549 w 3503192"/>
              <a:gd name="connsiteY6956" fmla="*/ 3464678 h 5818346"/>
              <a:gd name="connsiteX6957" fmla="*/ 1636285 w 3503192"/>
              <a:gd name="connsiteY6957" fmla="*/ 3453942 h 5818346"/>
              <a:gd name="connsiteX6958" fmla="*/ 101585 w 3503192"/>
              <a:gd name="connsiteY6958" fmla="*/ 3452124 h 5818346"/>
              <a:gd name="connsiteX6959" fmla="*/ 112323 w 3503192"/>
              <a:gd name="connsiteY6959" fmla="*/ 3462861 h 5818346"/>
              <a:gd name="connsiteX6960" fmla="*/ 101585 w 3503192"/>
              <a:gd name="connsiteY6960" fmla="*/ 3473599 h 5818346"/>
              <a:gd name="connsiteX6961" fmla="*/ 90849 w 3503192"/>
              <a:gd name="connsiteY6961" fmla="*/ 3462861 h 5818346"/>
              <a:gd name="connsiteX6962" fmla="*/ 101585 w 3503192"/>
              <a:gd name="connsiteY6962" fmla="*/ 3452124 h 5818346"/>
              <a:gd name="connsiteX6963" fmla="*/ 242816 w 3503192"/>
              <a:gd name="connsiteY6963" fmla="*/ 3448986 h 5818346"/>
              <a:gd name="connsiteX6964" fmla="*/ 253554 w 3503192"/>
              <a:gd name="connsiteY6964" fmla="*/ 3459722 h 5818346"/>
              <a:gd name="connsiteX6965" fmla="*/ 242816 w 3503192"/>
              <a:gd name="connsiteY6965" fmla="*/ 3470460 h 5818346"/>
              <a:gd name="connsiteX6966" fmla="*/ 232079 w 3503192"/>
              <a:gd name="connsiteY6966" fmla="*/ 3459722 h 5818346"/>
              <a:gd name="connsiteX6967" fmla="*/ 242816 w 3503192"/>
              <a:gd name="connsiteY6967" fmla="*/ 3448986 h 5818346"/>
              <a:gd name="connsiteX6968" fmla="*/ 540968 w 3503192"/>
              <a:gd name="connsiteY6968" fmla="*/ 3442710 h 5818346"/>
              <a:gd name="connsiteX6969" fmla="*/ 551706 w 3503192"/>
              <a:gd name="connsiteY6969" fmla="*/ 3453446 h 5818346"/>
              <a:gd name="connsiteX6970" fmla="*/ 540968 w 3503192"/>
              <a:gd name="connsiteY6970" fmla="*/ 3464183 h 5818346"/>
              <a:gd name="connsiteX6971" fmla="*/ 530231 w 3503192"/>
              <a:gd name="connsiteY6971" fmla="*/ 3453446 h 5818346"/>
              <a:gd name="connsiteX6972" fmla="*/ 540968 w 3503192"/>
              <a:gd name="connsiteY6972" fmla="*/ 3442710 h 5818346"/>
              <a:gd name="connsiteX6973" fmla="*/ 128014 w 3503192"/>
              <a:gd name="connsiteY6973" fmla="*/ 3437424 h 5818346"/>
              <a:gd name="connsiteX6974" fmla="*/ 138751 w 3503192"/>
              <a:gd name="connsiteY6974" fmla="*/ 3448160 h 5818346"/>
              <a:gd name="connsiteX6975" fmla="*/ 128014 w 3503192"/>
              <a:gd name="connsiteY6975" fmla="*/ 3458898 h 5818346"/>
              <a:gd name="connsiteX6976" fmla="*/ 117278 w 3503192"/>
              <a:gd name="connsiteY6976" fmla="*/ 3448160 h 5818346"/>
              <a:gd name="connsiteX6977" fmla="*/ 128014 w 3503192"/>
              <a:gd name="connsiteY6977" fmla="*/ 3437424 h 5818346"/>
              <a:gd name="connsiteX6978" fmla="*/ 65575 w 3503192"/>
              <a:gd name="connsiteY6978" fmla="*/ 3437424 h 5818346"/>
              <a:gd name="connsiteX6979" fmla="*/ 76313 w 3503192"/>
              <a:gd name="connsiteY6979" fmla="*/ 3448160 h 5818346"/>
              <a:gd name="connsiteX6980" fmla="*/ 74412 w 3503192"/>
              <a:gd name="connsiteY6980" fmla="*/ 3450061 h 5818346"/>
              <a:gd name="connsiteX6981" fmla="*/ 85069 w 3503192"/>
              <a:gd name="connsiteY6981" fmla="*/ 3460714 h 5818346"/>
              <a:gd name="connsiteX6982" fmla="*/ 82424 w 3503192"/>
              <a:gd name="connsiteY6982" fmla="*/ 3463359 h 5818346"/>
              <a:gd name="connsiteX6983" fmla="*/ 93161 w 3503192"/>
              <a:gd name="connsiteY6983" fmla="*/ 3474093 h 5818346"/>
              <a:gd name="connsiteX6984" fmla="*/ 82424 w 3503192"/>
              <a:gd name="connsiteY6984" fmla="*/ 3484831 h 5818346"/>
              <a:gd name="connsiteX6985" fmla="*/ 71688 w 3503192"/>
              <a:gd name="connsiteY6985" fmla="*/ 3474093 h 5818346"/>
              <a:gd name="connsiteX6986" fmla="*/ 74331 w 3503192"/>
              <a:gd name="connsiteY6986" fmla="*/ 3471451 h 5818346"/>
              <a:gd name="connsiteX6987" fmla="*/ 63594 w 3503192"/>
              <a:gd name="connsiteY6987" fmla="*/ 3460714 h 5818346"/>
              <a:gd name="connsiteX6988" fmla="*/ 65492 w 3503192"/>
              <a:gd name="connsiteY6988" fmla="*/ 3458817 h 5818346"/>
              <a:gd name="connsiteX6989" fmla="*/ 54838 w 3503192"/>
              <a:gd name="connsiteY6989" fmla="*/ 3448160 h 5818346"/>
              <a:gd name="connsiteX6990" fmla="*/ 65575 w 3503192"/>
              <a:gd name="connsiteY6990" fmla="*/ 3437424 h 5818346"/>
              <a:gd name="connsiteX6991" fmla="*/ 1467800 w 3503192"/>
              <a:gd name="connsiteY6991" fmla="*/ 3434781 h 5818346"/>
              <a:gd name="connsiteX6992" fmla="*/ 1478538 w 3503192"/>
              <a:gd name="connsiteY6992" fmla="*/ 3445517 h 5818346"/>
              <a:gd name="connsiteX6993" fmla="*/ 1467800 w 3503192"/>
              <a:gd name="connsiteY6993" fmla="*/ 3456256 h 5818346"/>
              <a:gd name="connsiteX6994" fmla="*/ 1457064 w 3503192"/>
              <a:gd name="connsiteY6994" fmla="*/ 3445517 h 5818346"/>
              <a:gd name="connsiteX6995" fmla="*/ 1467800 w 3503192"/>
              <a:gd name="connsiteY6995" fmla="*/ 3434781 h 5818346"/>
              <a:gd name="connsiteX6996" fmla="*/ 213577 w 3503192"/>
              <a:gd name="connsiteY6996" fmla="*/ 3430486 h 5818346"/>
              <a:gd name="connsiteX6997" fmla="*/ 224315 w 3503192"/>
              <a:gd name="connsiteY6997" fmla="*/ 3441222 h 5818346"/>
              <a:gd name="connsiteX6998" fmla="*/ 213577 w 3503192"/>
              <a:gd name="connsiteY6998" fmla="*/ 3451960 h 5818346"/>
              <a:gd name="connsiteX6999" fmla="*/ 202841 w 3503192"/>
              <a:gd name="connsiteY6999" fmla="*/ 3441222 h 5818346"/>
              <a:gd name="connsiteX7000" fmla="*/ 213577 w 3503192"/>
              <a:gd name="connsiteY7000" fmla="*/ 3430486 h 5818346"/>
              <a:gd name="connsiteX7001" fmla="*/ 56326 w 3503192"/>
              <a:gd name="connsiteY7001" fmla="*/ 3428009 h 5818346"/>
              <a:gd name="connsiteX7002" fmla="*/ 64585 w 3503192"/>
              <a:gd name="connsiteY7002" fmla="*/ 3436269 h 5818346"/>
              <a:gd name="connsiteX7003" fmla="*/ 56326 w 3503192"/>
              <a:gd name="connsiteY7003" fmla="*/ 3444527 h 5818346"/>
              <a:gd name="connsiteX7004" fmla="*/ 48066 w 3503192"/>
              <a:gd name="connsiteY7004" fmla="*/ 3436269 h 5818346"/>
              <a:gd name="connsiteX7005" fmla="*/ 56326 w 3503192"/>
              <a:gd name="connsiteY7005" fmla="*/ 3428009 h 5818346"/>
              <a:gd name="connsiteX7006" fmla="*/ 474730 w 3503192"/>
              <a:gd name="connsiteY7006" fmla="*/ 3423384 h 5818346"/>
              <a:gd name="connsiteX7007" fmla="*/ 485467 w 3503192"/>
              <a:gd name="connsiteY7007" fmla="*/ 3434120 h 5818346"/>
              <a:gd name="connsiteX7008" fmla="*/ 474730 w 3503192"/>
              <a:gd name="connsiteY7008" fmla="*/ 3444857 h 5818346"/>
              <a:gd name="connsiteX7009" fmla="*/ 463994 w 3503192"/>
              <a:gd name="connsiteY7009" fmla="*/ 3434120 h 5818346"/>
              <a:gd name="connsiteX7010" fmla="*/ 474730 w 3503192"/>
              <a:gd name="connsiteY7010" fmla="*/ 3423384 h 5818346"/>
              <a:gd name="connsiteX7011" fmla="*/ 116617 w 3503192"/>
              <a:gd name="connsiteY7011" fmla="*/ 3420906 h 5818346"/>
              <a:gd name="connsiteX7012" fmla="*/ 127355 w 3503192"/>
              <a:gd name="connsiteY7012" fmla="*/ 3431642 h 5818346"/>
              <a:gd name="connsiteX7013" fmla="*/ 116617 w 3503192"/>
              <a:gd name="connsiteY7013" fmla="*/ 3442380 h 5818346"/>
              <a:gd name="connsiteX7014" fmla="*/ 105881 w 3503192"/>
              <a:gd name="connsiteY7014" fmla="*/ 3431642 h 5818346"/>
              <a:gd name="connsiteX7015" fmla="*/ 116617 w 3503192"/>
              <a:gd name="connsiteY7015" fmla="*/ 3420906 h 5818346"/>
              <a:gd name="connsiteX7016" fmla="*/ 1313355 w 3503192"/>
              <a:gd name="connsiteY7016" fmla="*/ 3416116 h 5818346"/>
              <a:gd name="connsiteX7017" fmla="*/ 1324093 w 3503192"/>
              <a:gd name="connsiteY7017" fmla="*/ 3426852 h 5818346"/>
              <a:gd name="connsiteX7018" fmla="*/ 1313355 w 3503192"/>
              <a:gd name="connsiteY7018" fmla="*/ 3437591 h 5818346"/>
              <a:gd name="connsiteX7019" fmla="*/ 1302619 w 3503192"/>
              <a:gd name="connsiteY7019" fmla="*/ 3426852 h 5818346"/>
              <a:gd name="connsiteX7020" fmla="*/ 1313355 w 3503192"/>
              <a:gd name="connsiteY7020" fmla="*/ 3416116 h 5818346"/>
              <a:gd name="connsiteX7021" fmla="*/ 188305 w 3503192"/>
              <a:gd name="connsiteY7021" fmla="*/ 3412646 h 5818346"/>
              <a:gd name="connsiteX7022" fmla="*/ 199043 w 3503192"/>
              <a:gd name="connsiteY7022" fmla="*/ 3423382 h 5818346"/>
              <a:gd name="connsiteX7023" fmla="*/ 188305 w 3503192"/>
              <a:gd name="connsiteY7023" fmla="*/ 3434120 h 5818346"/>
              <a:gd name="connsiteX7024" fmla="*/ 177569 w 3503192"/>
              <a:gd name="connsiteY7024" fmla="*/ 3423382 h 5818346"/>
              <a:gd name="connsiteX7025" fmla="*/ 188305 w 3503192"/>
              <a:gd name="connsiteY7025" fmla="*/ 3412646 h 5818346"/>
              <a:gd name="connsiteX7026" fmla="*/ 106706 w 3503192"/>
              <a:gd name="connsiteY7026" fmla="*/ 3405213 h 5818346"/>
              <a:gd name="connsiteX7027" fmla="*/ 117444 w 3503192"/>
              <a:gd name="connsiteY7027" fmla="*/ 3415950 h 5818346"/>
              <a:gd name="connsiteX7028" fmla="*/ 106706 w 3503192"/>
              <a:gd name="connsiteY7028" fmla="*/ 3426686 h 5818346"/>
              <a:gd name="connsiteX7029" fmla="*/ 95970 w 3503192"/>
              <a:gd name="connsiteY7029" fmla="*/ 3415950 h 5818346"/>
              <a:gd name="connsiteX7030" fmla="*/ 106706 w 3503192"/>
              <a:gd name="connsiteY7030" fmla="*/ 3405213 h 5818346"/>
              <a:gd name="connsiteX7031" fmla="*/ 415761 w 3503192"/>
              <a:gd name="connsiteY7031" fmla="*/ 3404882 h 5818346"/>
              <a:gd name="connsiteX7032" fmla="*/ 426497 w 3503192"/>
              <a:gd name="connsiteY7032" fmla="*/ 3415618 h 5818346"/>
              <a:gd name="connsiteX7033" fmla="*/ 415761 w 3503192"/>
              <a:gd name="connsiteY7033" fmla="*/ 3426356 h 5818346"/>
              <a:gd name="connsiteX7034" fmla="*/ 405025 w 3503192"/>
              <a:gd name="connsiteY7034" fmla="*/ 3415618 h 5818346"/>
              <a:gd name="connsiteX7035" fmla="*/ 415761 w 3503192"/>
              <a:gd name="connsiteY7035" fmla="*/ 3404882 h 5818346"/>
              <a:gd name="connsiteX7036" fmla="*/ 1172125 w 3503192"/>
              <a:gd name="connsiteY7036" fmla="*/ 3397614 h 5818346"/>
              <a:gd name="connsiteX7037" fmla="*/ 1182863 w 3503192"/>
              <a:gd name="connsiteY7037" fmla="*/ 3408350 h 5818346"/>
              <a:gd name="connsiteX7038" fmla="*/ 1172125 w 3503192"/>
              <a:gd name="connsiteY7038" fmla="*/ 3419088 h 5818346"/>
              <a:gd name="connsiteX7039" fmla="*/ 1161388 w 3503192"/>
              <a:gd name="connsiteY7039" fmla="*/ 3408350 h 5818346"/>
              <a:gd name="connsiteX7040" fmla="*/ 1172125 w 3503192"/>
              <a:gd name="connsiteY7040" fmla="*/ 3397614 h 5818346"/>
              <a:gd name="connsiteX7041" fmla="*/ 166501 w 3503192"/>
              <a:gd name="connsiteY7041" fmla="*/ 3395632 h 5818346"/>
              <a:gd name="connsiteX7042" fmla="*/ 177237 w 3503192"/>
              <a:gd name="connsiteY7042" fmla="*/ 3406368 h 5818346"/>
              <a:gd name="connsiteX7043" fmla="*/ 166501 w 3503192"/>
              <a:gd name="connsiteY7043" fmla="*/ 3417106 h 5818346"/>
              <a:gd name="connsiteX7044" fmla="*/ 155765 w 3503192"/>
              <a:gd name="connsiteY7044" fmla="*/ 3406368 h 5818346"/>
              <a:gd name="connsiteX7045" fmla="*/ 166501 w 3503192"/>
              <a:gd name="connsiteY7045" fmla="*/ 3395632 h 5818346"/>
              <a:gd name="connsiteX7046" fmla="*/ 98117 w 3503192"/>
              <a:gd name="connsiteY7046" fmla="*/ 3390348 h 5818346"/>
              <a:gd name="connsiteX7047" fmla="*/ 108855 w 3503192"/>
              <a:gd name="connsiteY7047" fmla="*/ 3401084 h 5818346"/>
              <a:gd name="connsiteX7048" fmla="*/ 98117 w 3503192"/>
              <a:gd name="connsiteY7048" fmla="*/ 3411820 h 5818346"/>
              <a:gd name="connsiteX7049" fmla="*/ 87380 w 3503192"/>
              <a:gd name="connsiteY7049" fmla="*/ 3401084 h 5818346"/>
              <a:gd name="connsiteX7050" fmla="*/ 98117 w 3503192"/>
              <a:gd name="connsiteY7050" fmla="*/ 3390348 h 5818346"/>
              <a:gd name="connsiteX7051" fmla="*/ 363564 w 3503192"/>
              <a:gd name="connsiteY7051" fmla="*/ 3387042 h 5818346"/>
              <a:gd name="connsiteX7052" fmla="*/ 374300 w 3503192"/>
              <a:gd name="connsiteY7052" fmla="*/ 3397779 h 5818346"/>
              <a:gd name="connsiteX7053" fmla="*/ 363564 w 3503192"/>
              <a:gd name="connsiteY7053" fmla="*/ 3408517 h 5818346"/>
              <a:gd name="connsiteX7054" fmla="*/ 352827 w 3503192"/>
              <a:gd name="connsiteY7054" fmla="*/ 3397779 h 5818346"/>
              <a:gd name="connsiteX7055" fmla="*/ 363564 w 3503192"/>
              <a:gd name="connsiteY7055" fmla="*/ 3387042 h 5818346"/>
              <a:gd name="connsiteX7056" fmla="*/ 1043283 w 3503192"/>
              <a:gd name="connsiteY7056" fmla="*/ 3379776 h 5818346"/>
              <a:gd name="connsiteX7057" fmla="*/ 1054022 w 3503192"/>
              <a:gd name="connsiteY7057" fmla="*/ 3390513 h 5818346"/>
              <a:gd name="connsiteX7058" fmla="*/ 1043283 w 3503192"/>
              <a:gd name="connsiteY7058" fmla="*/ 3401249 h 5818346"/>
              <a:gd name="connsiteX7059" fmla="*/ 1032547 w 3503192"/>
              <a:gd name="connsiteY7059" fmla="*/ 3390513 h 5818346"/>
              <a:gd name="connsiteX7060" fmla="*/ 1043283 w 3503192"/>
              <a:gd name="connsiteY7060" fmla="*/ 3379776 h 5818346"/>
              <a:gd name="connsiteX7061" fmla="*/ 147836 w 3503192"/>
              <a:gd name="connsiteY7061" fmla="*/ 3379445 h 5818346"/>
              <a:gd name="connsiteX7062" fmla="*/ 158574 w 3503192"/>
              <a:gd name="connsiteY7062" fmla="*/ 3390181 h 5818346"/>
              <a:gd name="connsiteX7063" fmla="*/ 147836 w 3503192"/>
              <a:gd name="connsiteY7063" fmla="*/ 3400919 h 5818346"/>
              <a:gd name="connsiteX7064" fmla="*/ 137100 w 3503192"/>
              <a:gd name="connsiteY7064" fmla="*/ 3390181 h 5818346"/>
              <a:gd name="connsiteX7065" fmla="*/ 147836 w 3503192"/>
              <a:gd name="connsiteY7065" fmla="*/ 3379445 h 5818346"/>
              <a:gd name="connsiteX7066" fmla="*/ 317478 w 3503192"/>
              <a:gd name="connsiteY7066" fmla="*/ 3369865 h 5818346"/>
              <a:gd name="connsiteX7067" fmla="*/ 328216 w 3503192"/>
              <a:gd name="connsiteY7067" fmla="*/ 3380602 h 5818346"/>
              <a:gd name="connsiteX7068" fmla="*/ 317478 w 3503192"/>
              <a:gd name="connsiteY7068" fmla="*/ 3391340 h 5818346"/>
              <a:gd name="connsiteX7069" fmla="*/ 306741 w 3503192"/>
              <a:gd name="connsiteY7069" fmla="*/ 3380602 h 5818346"/>
              <a:gd name="connsiteX7070" fmla="*/ 317478 w 3503192"/>
              <a:gd name="connsiteY7070" fmla="*/ 3369865 h 5818346"/>
              <a:gd name="connsiteX7071" fmla="*/ 131979 w 3503192"/>
              <a:gd name="connsiteY7071" fmla="*/ 3363917 h 5818346"/>
              <a:gd name="connsiteX7072" fmla="*/ 142717 w 3503192"/>
              <a:gd name="connsiteY7072" fmla="*/ 3374653 h 5818346"/>
              <a:gd name="connsiteX7073" fmla="*/ 131979 w 3503192"/>
              <a:gd name="connsiteY7073" fmla="*/ 3385391 h 5818346"/>
              <a:gd name="connsiteX7074" fmla="*/ 121242 w 3503192"/>
              <a:gd name="connsiteY7074" fmla="*/ 3374653 h 5818346"/>
              <a:gd name="connsiteX7075" fmla="*/ 131979 w 3503192"/>
              <a:gd name="connsiteY7075" fmla="*/ 3363917 h 5818346"/>
              <a:gd name="connsiteX7076" fmla="*/ 926006 w 3503192"/>
              <a:gd name="connsiteY7076" fmla="*/ 3362431 h 5818346"/>
              <a:gd name="connsiteX7077" fmla="*/ 936742 w 3503192"/>
              <a:gd name="connsiteY7077" fmla="*/ 3373167 h 5818346"/>
              <a:gd name="connsiteX7078" fmla="*/ 926006 w 3503192"/>
              <a:gd name="connsiteY7078" fmla="*/ 3383905 h 5818346"/>
              <a:gd name="connsiteX7079" fmla="*/ 915269 w 3503192"/>
              <a:gd name="connsiteY7079" fmla="*/ 3373167 h 5818346"/>
              <a:gd name="connsiteX7080" fmla="*/ 926006 w 3503192"/>
              <a:gd name="connsiteY7080" fmla="*/ 3362431 h 5818346"/>
              <a:gd name="connsiteX7081" fmla="*/ 49884 w 3503192"/>
              <a:gd name="connsiteY7081" fmla="*/ 3362101 h 5818346"/>
              <a:gd name="connsiteX7082" fmla="*/ 60622 w 3503192"/>
              <a:gd name="connsiteY7082" fmla="*/ 3372838 h 5818346"/>
              <a:gd name="connsiteX7083" fmla="*/ 59382 w 3503192"/>
              <a:gd name="connsiteY7083" fmla="*/ 3374078 h 5818346"/>
              <a:gd name="connsiteX7084" fmla="*/ 68880 w 3503192"/>
              <a:gd name="connsiteY7084" fmla="*/ 3383574 h 5818346"/>
              <a:gd name="connsiteX7085" fmla="*/ 67063 w 3503192"/>
              <a:gd name="connsiteY7085" fmla="*/ 3385391 h 5818346"/>
              <a:gd name="connsiteX7086" fmla="*/ 76644 w 3503192"/>
              <a:gd name="connsiteY7086" fmla="*/ 3394971 h 5818346"/>
              <a:gd name="connsiteX7087" fmla="*/ 74247 w 3503192"/>
              <a:gd name="connsiteY7087" fmla="*/ 3397368 h 5818346"/>
              <a:gd name="connsiteX7088" fmla="*/ 83912 w 3503192"/>
              <a:gd name="connsiteY7088" fmla="*/ 3407030 h 5818346"/>
              <a:gd name="connsiteX7089" fmla="*/ 80938 w 3503192"/>
              <a:gd name="connsiteY7089" fmla="*/ 3410005 h 5818346"/>
              <a:gd name="connsiteX7090" fmla="*/ 90849 w 3503192"/>
              <a:gd name="connsiteY7090" fmla="*/ 3419914 h 5818346"/>
              <a:gd name="connsiteX7091" fmla="*/ 87545 w 3503192"/>
              <a:gd name="connsiteY7091" fmla="*/ 3423217 h 5818346"/>
              <a:gd name="connsiteX7092" fmla="*/ 97787 w 3503192"/>
              <a:gd name="connsiteY7092" fmla="*/ 3433458 h 5818346"/>
              <a:gd name="connsiteX7093" fmla="*/ 94152 w 3503192"/>
              <a:gd name="connsiteY7093" fmla="*/ 3437093 h 5818346"/>
              <a:gd name="connsiteX7094" fmla="*/ 104889 w 3503192"/>
              <a:gd name="connsiteY7094" fmla="*/ 3447829 h 5818346"/>
              <a:gd name="connsiteX7095" fmla="*/ 94152 w 3503192"/>
              <a:gd name="connsiteY7095" fmla="*/ 3458566 h 5818346"/>
              <a:gd name="connsiteX7096" fmla="*/ 83416 w 3503192"/>
              <a:gd name="connsiteY7096" fmla="*/ 3447829 h 5818346"/>
              <a:gd name="connsiteX7097" fmla="*/ 87049 w 3503192"/>
              <a:gd name="connsiteY7097" fmla="*/ 3444196 h 5818346"/>
              <a:gd name="connsiteX7098" fmla="*/ 76313 w 3503192"/>
              <a:gd name="connsiteY7098" fmla="*/ 3433458 h 5818346"/>
              <a:gd name="connsiteX7099" fmla="*/ 79615 w 3503192"/>
              <a:gd name="connsiteY7099" fmla="*/ 3430156 h 5818346"/>
              <a:gd name="connsiteX7100" fmla="*/ 69374 w 3503192"/>
              <a:gd name="connsiteY7100" fmla="*/ 3419914 h 5818346"/>
              <a:gd name="connsiteX7101" fmla="*/ 72347 w 3503192"/>
              <a:gd name="connsiteY7101" fmla="*/ 3416942 h 5818346"/>
              <a:gd name="connsiteX7102" fmla="*/ 62438 w 3503192"/>
              <a:gd name="connsiteY7102" fmla="*/ 3407030 h 5818346"/>
              <a:gd name="connsiteX7103" fmla="*/ 64833 w 3503192"/>
              <a:gd name="connsiteY7103" fmla="*/ 3404636 h 5818346"/>
              <a:gd name="connsiteX7104" fmla="*/ 55170 w 3503192"/>
              <a:gd name="connsiteY7104" fmla="*/ 3394971 h 5818346"/>
              <a:gd name="connsiteX7105" fmla="*/ 56985 w 3503192"/>
              <a:gd name="connsiteY7105" fmla="*/ 3393155 h 5818346"/>
              <a:gd name="connsiteX7106" fmla="*/ 47406 w 3503192"/>
              <a:gd name="connsiteY7106" fmla="*/ 3383574 h 5818346"/>
              <a:gd name="connsiteX7107" fmla="*/ 48644 w 3503192"/>
              <a:gd name="connsiteY7107" fmla="*/ 3382336 h 5818346"/>
              <a:gd name="connsiteX7108" fmla="*/ 39148 w 3503192"/>
              <a:gd name="connsiteY7108" fmla="*/ 3372838 h 5818346"/>
              <a:gd name="connsiteX7109" fmla="*/ 49884 w 3503192"/>
              <a:gd name="connsiteY7109" fmla="*/ 3362101 h 5818346"/>
              <a:gd name="connsiteX7110" fmla="*/ 40965 w 3503192"/>
              <a:gd name="connsiteY7110" fmla="*/ 3358302 h 5818346"/>
              <a:gd name="connsiteX7111" fmla="*/ 45425 w 3503192"/>
              <a:gd name="connsiteY7111" fmla="*/ 3362762 h 5818346"/>
              <a:gd name="connsiteX7112" fmla="*/ 40965 w 3503192"/>
              <a:gd name="connsiteY7112" fmla="*/ 3367222 h 5818346"/>
              <a:gd name="connsiteX7113" fmla="*/ 36505 w 3503192"/>
              <a:gd name="connsiteY7113" fmla="*/ 3362762 h 5818346"/>
              <a:gd name="connsiteX7114" fmla="*/ 40965 w 3503192"/>
              <a:gd name="connsiteY7114" fmla="*/ 3358302 h 5818346"/>
              <a:gd name="connsiteX7115" fmla="*/ 277009 w 3503192"/>
              <a:gd name="connsiteY7115" fmla="*/ 3353347 h 5818346"/>
              <a:gd name="connsiteX7116" fmla="*/ 287745 w 3503192"/>
              <a:gd name="connsiteY7116" fmla="*/ 3364084 h 5818346"/>
              <a:gd name="connsiteX7117" fmla="*/ 277009 w 3503192"/>
              <a:gd name="connsiteY7117" fmla="*/ 3374822 h 5818346"/>
              <a:gd name="connsiteX7118" fmla="*/ 266272 w 3503192"/>
              <a:gd name="connsiteY7118" fmla="*/ 3364084 h 5818346"/>
              <a:gd name="connsiteX7119" fmla="*/ 277009 w 3503192"/>
              <a:gd name="connsiteY7119" fmla="*/ 3353347 h 5818346"/>
              <a:gd name="connsiteX7120" fmla="*/ 118433 w 3503192"/>
              <a:gd name="connsiteY7120" fmla="*/ 3349216 h 5818346"/>
              <a:gd name="connsiteX7121" fmla="*/ 129171 w 3503192"/>
              <a:gd name="connsiteY7121" fmla="*/ 3359952 h 5818346"/>
              <a:gd name="connsiteX7122" fmla="*/ 118433 w 3503192"/>
              <a:gd name="connsiteY7122" fmla="*/ 3370691 h 5818346"/>
              <a:gd name="connsiteX7123" fmla="*/ 107696 w 3503192"/>
              <a:gd name="connsiteY7123" fmla="*/ 3359952 h 5818346"/>
              <a:gd name="connsiteX7124" fmla="*/ 118433 w 3503192"/>
              <a:gd name="connsiteY7124" fmla="*/ 3349216 h 5818346"/>
              <a:gd name="connsiteX7125" fmla="*/ 819794 w 3503192"/>
              <a:gd name="connsiteY7125" fmla="*/ 3345583 h 5818346"/>
              <a:gd name="connsiteX7126" fmla="*/ 830530 w 3503192"/>
              <a:gd name="connsiteY7126" fmla="*/ 3356319 h 5818346"/>
              <a:gd name="connsiteX7127" fmla="*/ 819794 w 3503192"/>
              <a:gd name="connsiteY7127" fmla="*/ 3367058 h 5818346"/>
              <a:gd name="connsiteX7128" fmla="*/ 809057 w 3503192"/>
              <a:gd name="connsiteY7128" fmla="*/ 3356319 h 5818346"/>
              <a:gd name="connsiteX7129" fmla="*/ 819794 w 3503192"/>
              <a:gd name="connsiteY7129" fmla="*/ 3345583 h 5818346"/>
              <a:gd name="connsiteX7130" fmla="*/ 241659 w 3503192"/>
              <a:gd name="connsiteY7130" fmla="*/ 3337655 h 5818346"/>
              <a:gd name="connsiteX7131" fmla="*/ 252397 w 3503192"/>
              <a:gd name="connsiteY7131" fmla="*/ 3348391 h 5818346"/>
              <a:gd name="connsiteX7132" fmla="*/ 241659 w 3503192"/>
              <a:gd name="connsiteY7132" fmla="*/ 3359129 h 5818346"/>
              <a:gd name="connsiteX7133" fmla="*/ 230923 w 3503192"/>
              <a:gd name="connsiteY7133" fmla="*/ 3348391 h 5818346"/>
              <a:gd name="connsiteX7134" fmla="*/ 241659 w 3503192"/>
              <a:gd name="connsiteY7134" fmla="*/ 3337655 h 5818346"/>
              <a:gd name="connsiteX7135" fmla="*/ 106871 w 3503192"/>
              <a:gd name="connsiteY7135" fmla="*/ 3335176 h 5818346"/>
              <a:gd name="connsiteX7136" fmla="*/ 117607 w 3503192"/>
              <a:gd name="connsiteY7136" fmla="*/ 3345912 h 5818346"/>
              <a:gd name="connsiteX7137" fmla="*/ 106871 w 3503192"/>
              <a:gd name="connsiteY7137" fmla="*/ 3356651 h 5818346"/>
              <a:gd name="connsiteX7138" fmla="*/ 96135 w 3503192"/>
              <a:gd name="connsiteY7138" fmla="*/ 3345912 h 5818346"/>
              <a:gd name="connsiteX7139" fmla="*/ 106871 w 3503192"/>
              <a:gd name="connsiteY7139" fmla="*/ 3335176 h 5818346"/>
              <a:gd name="connsiteX7140" fmla="*/ 723657 w 3503192"/>
              <a:gd name="connsiteY7140" fmla="*/ 3329395 h 5818346"/>
              <a:gd name="connsiteX7141" fmla="*/ 734394 w 3503192"/>
              <a:gd name="connsiteY7141" fmla="*/ 3340131 h 5818346"/>
              <a:gd name="connsiteX7142" fmla="*/ 723657 w 3503192"/>
              <a:gd name="connsiteY7142" fmla="*/ 3350869 h 5818346"/>
              <a:gd name="connsiteX7143" fmla="*/ 712921 w 3503192"/>
              <a:gd name="connsiteY7143" fmla="*/ 3340131 h 5818346"/>
              <a:gd name="connsiteX7144" fmla="*/ 723657 w 3503192"/>
              <a:gd name="connsiteY7144" fmla="*/ 3329395 h 5818346"/>
              <a:gd name="connsiteX7145" fmla="*/ 210934 w 3503192"/>
              <a:gd name="connsiteY7145" fmla="*/ 3322623 h 5818346"/>
              <a:gd name="connsiteX7146" fmla="*/ 221672 w 3503192"/>
              <a:gd name="connsiteY7146" fmla="*/ 3333359 h 5818346"/>
              <a:gd name="connsiteX7147" fmla="*/ 210934 w 3503192"/>
              <a:gd name="connsiteY7147" fmla="*/ 3344097 h 5818346"/>
              <a:gd name="connsiteX7148" fmla="*/ 200198 w 3503192"/>
              <a:gd name="connsiteY7148" fmla="*/ 3333359 h 5818346"/>
              <a:gd name="connsiteX7149" fmla="*/ 210934 w 3503192"/>
              <a:gd name="connsiteY7149" fmla="*/ 3322623 h 5818346"/>
              <a:gd name="connsiteX7150" fmla="*/ 637269 w 3503192"/>
              <a:gd name="connsiteY7150" fmla="*/ 3313868 h 5818346"/>
              <a:gd name="connsiteX7151" fmla="*/ 648005 w 3503192"/>
              <a:gd name="connsiteY7151" fmla="*/ 3324605 h 5818346"/>
              <a:gd name="connsiteX7152" fmla="*/ 637269 w 3503192"/>
              <a:gd name="connsiteY7152" fmla="*/ 3335343 h 5818346"/>
              <a:gd name="connsiteX7153" fmla="*/ 626532 w 3503192"/>
              <a:gd name="connsiteY7153" fmla="*/ 3324605 h 5818346"/>
              <a:gd name="connsiteX7154" fmla="*/ 637269 w 3503192"/>
              <a:gd name="connsiteY7154" fmla="*/ 3313868 h 5818346"/>
              <a:gd name="connsiteX7155" fmla="*/ 184507 w 3503192"/>
              <a:gd name="connsiteY7155" fmla="*/ 3308087 h 5818346"/>
              <a:gd name="connsiteX7156" fmla="*/ 195243 w 3503192"/>
              <a:gd name="connsiteY7156" fmla="*/ 3318823 h 5818346"/>
              <a:gd name="connsiteX7157" fmla="*/ 184507 w 3503192"/>
              <a:gd name="connsiteY7157" fmla="*/ 3329561 h 5818346"/>
              <a:gd name="connsiteX7158" fmla="*/ 173771 w 3503192"/>
              <a:gd name="connsiteY7158" fmla="*/ 3318823 h 5818346"/>
              <a:gd name="connsiteX7159" fmla="*/ 184507 w 3503192"/>
              <a:gd name="connsiteY7159" fmla="*/ 3308087 h 5818346"/>
              <a:gd name="connsiteX7160" fmla="*/ 2828730 w 3503192"/>
              <a:gd name="connsiteY7160" fmla="*/ 3301148 h 5818346"/>
              <a:gd name="connsiteX7161" fmla="*/ 2839466 w 3503192"/>
              <a:gd name="connsiteY7161" fmla="*/ 3311884 h 5818346"/>
              <a:gd name="connsiteX7162" fmla="*/ 2828730 w 3503192"/>
              <a:gd name="connsiteY7162" fmla="*/ 3322623 h 5818346"/>
              <a:gd name="connsiteX7163" fmla="*/ 2817993 w 3503192"/>
              <a:gd name="connsiteY7163" fmla="*/ 3311884 h 5818346"/>
              <a:gd name="connsiteX7164" fmla="*/ 2828730 w 3503192"/>
              <a:gd name="connsiteY7164" fmla="*/ 3301148 h 5818346"/>
              <a:gd name="connsiteX7165" fmla="*/ 559468 w 3503192"/>
              <a:gd name="connsiteY7165" fmla="*/ 3298836 h 5818346"/>
              <a:gd name="connsiteX7166" fmla="*/ 570204 w 3503192"/>
              <a:gd name="connsiteY7166" fmla="*/ 3309573 h 5818346"/>
              <a:gd name="connsiteX7167" fmla="*/ 559468 w 3503192"/>
              <a:gd name="connsiteY7167" fmla="*/ 3320311 h 5818346"/>
              <a:gd name="connsiteX7168" fmla="*/ 548731 w 3503192"/>
              <a:gd name="connsiteY7168" fmla="*/ 3309573 h 5818346"/>
              <a:gd name="connsiteX7169" fmla="*/ 559468 w 3503192"/>
              <a:gd name="connsiteY7169" fmla="*/ 3298836 h 5818346"/>
              <a:gd name="connsiteX7170" fmla="*/ 3088063 w 3503192"/>
              <a:gd name="connsiteY7170" fmla="*/ 3298671 h 5818346"/>
              <a:gd name="connsiteX7171" fmla="*/ 3098801 w 3503192"/>
              <a:gd name="connsiteY7171" fmla="*/ 3309408 h 5818346"/>
              <a:gd name="connsiteX7172" fmla="*/ 3088063 w 3503192"/>
              <a:gd name="connsiteY7172" fmla="*/ 3320146 h 5818346"/>
              <a:gd name="connsiteX7173" fmla="*/ 3077327 w 3503192"/>
              <a:gd name="connsiteY7173" fmla="*/ 3309408 h 5818346"/>
              <a:gd name="connsiteX7174" fmla="*/ 3088063 w 3503192"/>
              <a:gd name="connsiteY7174" fmla="*/ 3298671 h 5818346"/>
              <a:gd name="connsiteX7175" fmla="*/ 2573027 w 3503192"/>
              <a:gd name="connsiteY7175" fmla="*/ 3294872 h 5818346"/>
              <a:gd name="connsiteX7176" fmla="*/ 2583765 w 3503192"/>
              <a:gd name="connsiteY7176" fmla="*/ 3305608 h 5818346"/>
              <a:gd name="connsiteX7177" fmla="*/ 2573027 w 3503192"/>
              <a:gd name="connsiteY7177" fmla="*/ 3316345 h 5818346"/>
              <a:gd name="connsiteX7178" fmla="*/ 2562291 w 3503192"/>
              <a:gd name="connsiteY7178" fmla="*/ 3305608 h 5818346"/>
              <a:gd name="connsiteX7179" fmla="*/ 2573027 w 3503192"/>
              <a:gd name="connsiteY7179" fmla="*/ 3294872 h 5818346"/>
              <a:gd name="connsiteX7180" fmla="*/ 161711 w 3503192"/>
              <a:gd name="connsiteY7180" fmla="*/ 3294376 h 5818346"/>
              <a:gd name="connsiteX7181" fmla="*/ 172448 w 3503192"/>
              <a:gd name="connsiteY7181" fmla="*/ 3305113 h 5818346"/>
              <a:gd name="connsiteX7182" fmla="*/ 161711 w 3503192"/>
              <a:gd name="connsiteY7182" fmla="*/ 3315851 h 5818346"/>
              <a:gd name="connsiteX7183" fmla="*/ 150975 w 3503192"/>
              <a:gd name="connsiteY7183" fmla="*/ 3305113 h 5818346"/>
              <a:gd name="connsiteX7184" fmla="*/ 161711 w 3503192"/>
              <a:gd name="connsiteY7184" fmla="*/ 3294376 h 5818346"/>
              <a:gd name="connsiteX7185" fmla="*/ 3336660 w 3503192"/>
              <a:gd name="connsiteY7185" fmla="*/ 3289421 h 5818346"/>
              <a:gd name="connsiteX7186" fmla="*/ 3347397 w 3503192"/>
              <a:gd name="connsiteY7186" fmla="*/ 3300158 h 5818346"/>
              <a:gd name="connsiteX7187" fmla="*/ 3336660 w 3503192"/>
              <a:gd name="connsiteY7187" fmla="*/ 3310894 h 5818346"/>
              <a:gd name="connsiteX7188" fmla="*/ 3325924 w 3503192"/>
              <a:gd name="connsiteY7188" fmla="*/ 3300158 h 5818346"/>
              <a:gd name="connsiteX7189" fmla="*/ 3336660 w 3503192"/>
              <a:gd name="connsiteY7189" fmla="*/ 3289421 h 5818346"/>
              <a:gd name="connsiteX7190" fmla="*/ 27254 w 3503192"/>
              <a:gd name="connsiteY7190" fmla="*/ 3289421 h 5818346"/>
              <a:gd name="connsiteX7191" fmla="*/ 27749 w 3503192"/>
              <a:gd name="connsiteY7191" fmla="*/ 3289918 h 5818346"/>
              <a:gd name="connsiteX7192" fmla="*/ 27254 w 3503192"/>
              <a:gd name="connsiteY7192" fmla="*/ 3290412 h 5818346"/>
              <a:gd name="connsiteX7193" fmla="*/ 26759 w 3503192"/>
              <a:gd name="connsiteY7193" fmla="*/ 3289918 h 5818346"/>
              <a:gd name="connsiteX7194" fmla="*/ 27254 w 3503192"/>
              <a:gd name="connsiteY7194" fmla="*/ 3289421 h 5818346"/>
              <a:gd name="connsiteX7195" fmla="*/ 36173 w 3503192"/>
              <a:gd name="connsiteY7195" fmla="*/ 3287604 h 5818346"/>
              <a:gd name="connsiteX7196" fmla="*/ 46911 w 3503192"/>
              <a:gd name="connsiteY7196" fmla="*/ 3298341 h 5818346"/>
              <a:gd name="connsiteX7197" fmla="*/ 46497 w 3503192"/>
              <a:gd name="connsiteY7197" fmla="*/ 3298755 h 5818346"/>
              <a:gd name="connsiteX7198" fmla="*/ 55005 w 3503192"/>
              <a:gd name="connsiteY7198" fmla="*/ 3307259 h 5818346"/>
              <a:gd name="connsiteX7199" fmla="*/ 53847 w 3503192"/>
              <a:gd name="connsiteY7199" fmla="*/ 3308418 h 5818346"/>
              <a:gd name="connsiteX7200" fmla="*/ 62273 w 3503192"/>
              <a:gd name="connsiteY7200" fmla="*/ 3316841 h 5818346"/>
              <a:gd name="connsiteX7201" fmla="*/ 60620 w 3503192"/>
              <a:gd name="connsiteY7201" fmla="*/ 3318493 h 5818346"/>
              <a:gd name="connsiteX7202" fmla="*/ 69045 w 3503192"/>
              <a:gd name="connsiteY7202" fmla="*/ 3326916 h 5818346"/>
              <a:gd name="connsiteX7203" fmla="*/ 66898 w 3503192"/>
              <a:gd name="connsiteY7203" fmla="*/ 3329065 h 5818346"/>
              <a:gd name="connsiteX7204" fmla="*/ 75487 w 3503192"/>
              <a:gd name="connsiteY7204" fmla="*/ 3337653 h 5818346"/>
              <a:gd name="connsiteX7205" fmla="*/ 73008 w 3503192"/>
              <a:gd name="connsiteY7205" fmla="*/ 3340132 h 5818346"/>
              <a:gd name="connsiteX7206" fmla="*/ 81763 w 3503192"/>
              <a:gd name="connsiteY7206" fmla="*/ 3348887 h 5818346"/>
              <a:gd name="connsiteX7207" fmla="*/ 78791 w 3503192"/>
              <a:gd name="connsiteY7207" fmla="*/ 3351861 h 5818346"/>
              <a:gd name="connsiteX7208" fmla="*/ 87876 w 3503192"/>
              <a:gd name="connsiteY7208" fmla="*/ 3360945 h 5818346"/>
              <a:gd name="connsiteX7209" fmla="*/ 84738 w 3503192"/>
              <a:gd name="connsiteY7209" fmla="*/ 3364084 h 5818346"/>
              <a:gd name="connsiteX7210" fmla="*/ 94319 w 3503192"/>
              <a:gd name="connsiteY7210" fmla="*/ 3373663 h 5818346"/>
              <a:gd name="connsiteX7211" fmla="*/ 91097 w 3503192"/>
              <a:gd name="connsiteY7211" fmla="*/ 3376885 h 5818346"/>
              <a:gd name="connsiteX7212" fmla="*/ 101256 w 3503192"/>
              <a:gd name="connsiteY7212" fmla="*/ 3387042 h 5818346"/>
              <a:gd name="connsiteX7213" fmla="*/ 90518 w 3503192"/>
              <a:gd name="connsiteY7213" fmla="*/ 3397780 h 5818346"/>
              <a:gd name="connsiteX7214" fmla="*/ 79781 w 3503192"/>
              <a:gd name="connsiteY7214" fmla="*/ 3387042 h 5818346"/>
              <a:gd name="connsiteX7215" fmla="*/ 83002 w 3503192"/>
              <a:gd name="connsiteY7215" fmla="*/ 3383822 h 5818346"/>
              <a:gd name="connsiteX7216" fmla="*/ 72845 w 3503192"/>
              <a:gd name="connsiteY7216" fmla="*/ 3373663 h 5818346"/>
              <a:gd name="connsiteX7217" fmla="*/ 75982 w 3503192"/>
              <a:gd name="connsiteY7217" fmla="*/ 3370526 h 5818346"/>
              <a:gd name="connsiteX7218" fmla="*/ 66402 w 3503192"/>
              <a:gd name="connsiteY7218" fmla="*/ 3360945 h 5818346"/>
              <a:gd name="connsiteX7219" fmla="*/ 69374 w 3503192"/>
              <a:gd name="connsiteY7219" fmla="*/ 3357972 h 5818346"/>
              <a:gd name="connsiteX7220" fmla="*/ 60291 w 3503192"/>
              <a:gd name="connsiteY7220" fmla="*/ 3348887 h 5818346"/>
              <a:gd name="connsiteX7221" fmla="*/ 62767 w 3503192"/>
              <a:gd name="connsiteY7221" fmla="*/ 3346410 h 5818346"/>
              <a:gd name="connsiteX7222" fmla="*/ 54013 w 3503192"/>
              <a:gd name="connsiteY7222" fmla="*/ 3337653 h 5818346"/>
              <a:gd name="connsiteX7223" fmla="*/ 56160 w 3503192"/>
              <a:gd name="connsiteY7223" fmla="*/ 3335506 h 5818346"/>
              <a:gd name="connsiteX7224" fmla="*/ 47572 w 3503192"/>
              <a:gd name="connsiteY7224" fmla="*/ 3326916 h 5818346"/>
              <a:gd name="connsiteX7225" fmla="*/ 49221 w 3503192"/>
              <a:gd name="connsiteY7225" fmla="*/ 3325267 h 5818346"/>
              <a:gd name="connsiteX7226" fmla="*/ 40798 w 3503192"/>
              <a:gd name="connsiteY7226" fmla="*/ 3316841 h 5818346"/>
              <a:gd name="connsiteX7227" fmla="*/ 41953 w 3503192"/>
              <a:gd name="connsiteY7227" fmla="*/ 3315686 h 5818346"/>
              <a:gd name="connsiteX7228" fmla="*/ 33531 w 3503192"/>
              <a:gd name="connsiteY7228" fmla="*/ 3307259 h 5818346"/>
              <a:gd name="connsiteX7229" fmla="*/ 33942 w 3503192"/>
              <a:gd name="connsiteY7229" fmla="*/ 3306848 h 5818346"/>
              <a:gd name="connsiteX7230" fmla="*/ 25437 w 3503192"/>
              <a:gd name="connsiteY7230" fmla="*/ 3298341 h 5818346"/>
              <a:gd name="connsiteX7231" fmla="*/ 36173 w 3503192"/>
              <a:gd name="connsiteY7231" fmla="*/ 3287604 h 5818346"/>
              <a:gd name="connsiteX7232" fmla="*/ 490092 w 3503192"/>
              <a:gd name="connsiteY7232" fmla="*/ 3284300 h 5818346"/>
              <a:gd name="connsiteX7233" fmla="*/ 500828 w 3503192"/>
              <a:gd name="connsiteY7233" fmla="*/ 3295037 h 5818346"/>
              <a:gd name="connsiteX7234" fmla="*/ 490092 w 3503192"/>
              <a:gd name="connsiteY7234" fmla="*/ 3305773 h 5818346"/>
              <a:gd name="connsiteX7235" fmla="*/ 479355 w 3503192"/>
              <a:gd name="connsiteY7235" fmla="*/ 3295037 h 5818346"/>
              <a:gd name="connsiteX7236" fmla="*/ 490092 w 3503192"/>
              <a:gd name="connsiteY7236" fmla="*/ 3284300 h 5818346"/>
              <a:gd name="connsiteX7237" fmla="*/ 2332029 w 3503192"/>
              <a:gd name="connsiteY7237" fmla="*/ 3284136 h 5818346"/>
              <a:gd name="connsiteX7238" fmla="*/ 2342767 w 3503192"/>
              <a:gd name="connsiteY7238" fmla="*/ 3294872 h 5818346"/>
              <a:gd name="connsiteX7239" fmla="*/ 2332029 w 3503192"/>
              <a:gd name="connsiteY7239" fmla="*/ 3305610 h 5818346"/>
              <a:gd name="connsiteX7240" fmla="*/ 2321292 w 3503192"/>
              <a:gd name="connsiteY7240" fmla="*/ 3294872 h 5818346"/>
              <a:gd name="connsiteX7241" fmla="*/ 2332029 w 3503192"/>
              <a:gd name="connsiteY7241" fmla="*/ 3284136 h 5818346"/>
              <a:gd name="connsiteX7242" fmla="*/ 142221 w 3503192"/>
              <a:gd name="connsiteY7242" fmla="*/ 3281162 h 5818346"/>
              <a:gd name="connsiteX7243" fmla="*/ 152959 w 3503192"/>
              <a:gd name="connsiteY7243" fmla="*/ 3291898 h 5818346"/>
              <a:gd name="connsiteX7244" fmla="*/ 142221 w 3503192"/>
              <a:gd name="connsiteY7244" fmla="*/ 3302634 h 5818346"/>
              <a:gd name="connsiteX7245" fmla="*/ 131484 w 3503192"/>
              <a:gd name="connsiteY7245" fmla="*/ 3291898 h 5818346"/>
              <a:gd name="connsiteX7246" fmla="*/ 142221 w 3503192"/>
              <a:gd name="connsiteY7246" fmla="*/ 3281162 h 5818346"/>
              <a:gd name="connsiteX7247" fmla="*/ 2107876 w 3503192"/>
              <a:gd name="connsiteY7247" fmla="*/ 3271582 h 5818346"/>
              <a:gd name="connsiteX7248" fmla="*/ 2118613 w 3503192"/>
              <a:gd name="connsiteY7248" fmla="*/ 3282318 h 5818346"/>
              <a:gd name="connsiteX7249" fmla="*/ 2107876 w 3503192"/>
              <a:gd name="connsiteY7249" fmla="*/ 3293056 h 5818346"/>
              <a:gd name="connsiteX7250" fmla="*/ 2097140 w 3503192"/>
              <a:gd name="connsiteY7250" fmla="*/ 3282318 h 5818346"/>
              <a:gd name="connsiteX7251" fmla="*/ 2107876 w 3503192"/>
              <a:gd name="connsiteY7251" fmla="*/ 3271582 h 5818346"/>
              <a:gd name="connsiteX7252" fmla="*/ 428148 w 3503192"/>
              <a:gd name="connsiteY7252" fmla="*/ 3270425 h 5818346"/>
              <a:gd name="connsiteX7253" fmla="*/ 438885 w 3503192"/>
              <a:gd name="connsiteY7253" fmla="*/ 3281162 h 5818346"/>
              <a:gd name="connsiteX7254" fmla="*/ 428148 w 3503192"/>
              <a:gd name="connsiteY7254" fmla="*/ 3291900 h 5818346"/>
              <a:gd name="connsiteX7255" fmla="*/ 417412 w 3503192"/>
              <a:gd name="connsiteY7255" fmla="*/ 3281162 h 5818346"/>
              <a:gd name="connsiteX7256" fmla="*/ 428148 w 3503192"/>
              <a:gd name="connsiteY7256" fmla="*/ 3270425 h 5818346"/>
              <a:gd name="connsiteX7257" fmla="*/ 125703 w 3503192"/>
              <a:gd name="connsiteY7257" fmla="*/ 3268608 h 5818346"/>
              <a:gd name="connsiteX7258" fmla="*/ 136441 w 3503192"/>
              <a:gd name="connsiteY7258" fmla="*/ 3279344 h 5818346"/>
              <a:gd name="connsiteX7259" fmla="*/ 125703 w 3503192"/>
              <a:gd name="connsiteY7259" fmla="*/ 3290082 h 5818346"/>
              <a:gd name="connsiteX7260" fmla="*/ 114966 w 3503192"/>
              <a:gd name="connsiteY7260" fmla="*/ 3279344 h 5818346"/>
              <a:gd name="connsiteX7261" fmla="*/ 125703 w 3503192"/>
              <a:gd name="connsiteY7261" fmla="*/ 3268608 h 5818346"/>
              <a:gd name="connsiteX7262" fmla="*/ 1900905 w 3503192"/>
              <a:gd name="connsiteY7262" fmla="*/ 3258862 h 5818346"/>
              <a:gd name="connsiteX7263" fmla="*/ 1911643 w 3503192"/>
              <a:gd name="connsiteY7263" fmla="*/ 3269598 h 5818346"/>
              <a:gd name="connsiteX7264" fmla="*/ 1900905 w 3503192"/>
              <a:gd name="connsiteY7264" fmla="*/ 3280336 h 5818346"/>
              <a:gd name="connsiteX7265" fmla="*/ 1890168 w 3503192"/>
              <a:gd name="connsiteY7265" fmla="*/ 3269598 h 5818346"/>
              <a:gd name="connsiteX7266" fmla="*/ 1900905 w 3503192"/>
              <a:gd name="connsiteY7266" fmla="*/ 3258862 h 5818346"/>
              <a:gd name="connsiteX7267" fmla="*/ 373308 w 3503192"/>
              <a:gd name="connsiteY7267" fmla="*/ 3257046 h 5818346"/>
              <a:gd name="connsiteX7268" fmla="*/ 384044 w 3503192"/>
              <a:gd name="connsiteY7268" fmla="*/ 3267782 h 5818346"/>
              <a:gd name="connsiteX7269" fmla="*/ 373308 w 3503192"/>
              <a:gd name="connsiteY7269" fmla="*/ 3278520 h 5818346"/>
              <a:gd name="connsiteX7270" fmla="*/ 362572 w 3503192"/>
              <a:gd name="connsiteY7270" fmla="*/ 3267782 h 5818346"/>
              <a:gd name="connsiteX7271" fmla="*/ 373308 w 3503192"/>
              <a:gd name="connsiteY7271" fmla="*/ 3257046 h 5818346"/>
              <a:gd name="connsiteX7272" fmla="*/ 111661 w 3503192"/>
              <a:gd name="connsiteY7272" fmla="*/ 3256715 h 5818346"/>
              <a:gd name="connsiteX7273" fmla="*/ 122397 w 3503192"/>
              <a:gd name="connsiteY7273" fmla="*/ 3267451 h 5818346"/>
              <a:gd name="connsiteX7274" fmla="*/ 111661 w 3503192"/>
              <a:gd name="connsiteY7274" fmla="*/ 3278189 h 5818346"/>
              <a:gd name="connsiteX7275" fmla="*/ 100924 w 3503192"/>
              <a:gd name="connsiteY7275" fmla="*/ 3267451 h 5818346"/>
              <a:gd name="connsiteX7276" fmla="*/ 111661 w 3503192"/>
              <a:gd name="connsiteY7276" fmla="*/ 3256715 h 5818346"/>
              <a:gd name="connsiteX7277" fmla="*/ 1709955 w 3503192"/>
              <a:gd name="connsiteY7277" fmla="*/ 3245978 h 5818346"/>
              <a:gd name="connsiteX7278" fmla="*/ 1720692 w 3503192"/>
              <a:gd name="connsiteY7278" fmla="*/ 3256715 h 5818346"/>
              <a:gd name="connsiteX7279" fmla="*/ 1709955 w 3503192"/>
              <a:gd name="connsiteY7279" fmla="*/ 3267453 h 5818346"/>
              <a:gd name="connsiteX7280" fmla="*/ 1699219 w 3503192"/>
              <a:gd name="connsiteY7280" fmla="*/ 3256715 h 5818346"/>
              <a:gd name="connsiteX7281" fmla="*/ 1709955 w 3503192"/>
              <a:gd name="connsiteY7281" fmla="*/ 3245978 h 5818346"/>
              <a:gd name="connsiteX7282" fmla="*/ 324910 w 3503192"/>
              <a:gd name="connsiteY7282" fmla="*/ 3244326 h 5818346"/>
              <a:gd name="connsiteX7283" fmla="*/ 335647 w 3503192"/>
              <a:gd name="connsiteY7283" fmla="*/ 3255062 h 5818346"/>
              <a:gd name="connsiteX7284" fmla="*/ 324910 w 3503192"/>
              <a:gd name="connsiteY7284" fmla="*/ 3265800 h 5818346"/>
              <a:gd name="connsiteX7285" fmla="*/ 314174 w 3503192"/>
              <a:gd name="connsiteY7285" fmla="*/ 3255062 h 5818346"/>
              <a:gd name="connsiteX7286" fmla="*/ 324910 w 3503192"/>
              <a:gd name="connsiteY7286" fmla="*/ 3244326 h 5818346"/>
              <a:gd name="connsiteX7287" fmla="*/ 1534367 w 3503192"/>
              <a:gd name="connsiteY7287" fmla="*/ 3233589 h 5818346"/>
              <a:gd name="connsiteX7288" fmla="*/ 1545105 w 3503192"/>
              <a:gd name="connsiteY7288" fmla="*/ 3244326 h 5818346"/>
              <a:gd name="connsiteX7289" fmla="*/ 1534367 w 3503192"/>
              <a:gd name="connsiteY7289" fmla="*/ 3255064 h 5818346"/>
              <a:gd name="connsiteX7290" fmla="*/ 1523631 w 3503192"/>
              <a:gd name="connsiteY7290" fmla="*/ 3244326 h 5818346"/>
              <a:gd name="connsiteX7291" fmla="*/ 1534367 w 3503192"/>
              <a:gd name="connsiteY7291" fmla="*/ 3233589 h 5818346"/>
              <a:gd name="connsiteX7292" fmla="*/ 282294 w 3503192"/>
              <a:gd name="connsiteY7292" fmla="*/ 3231938 h 5818346"/>
              <a:gd name="connsiteX7293" fmla="*/ 293031 w 3503192"/>
              <a:gd name="connsiteY7293" fmla="*/ 3242675 h 5818346"/>
              <a:gd name="connsiteX7294" fmla="*/ 282294 w 3503192"/>
              <a:gd name="connsiteY7294" fmla="*/ 3253413 h 5818346"/>
              <a:gd name="connsiteX7295" fmla="*/ 271558 w 3503192"/>
              <a:gd name="connsiteY7295" fmla="*/ 3242675 h 5818346"/>
              <a:gd name="connsiteX7296" fmla="*/ 282294 w 3503192"/>
              <a:gd name="connsiteY7296" fmla="*/ 3231938 h 5818346"/>
              <a:gd name="connsiteX7297" fmla="*/ 1373316 w 3503192"/>
              <a:gd name="connsiteY7297" fmla="*/ 3221367 h 5818346"/>
              <a:gd name="connsiteX7298" fmla="*/ 1384055 w 3503192"/>
              <a:gd name="connsiteY7298" fmla="*/ 3232103 h 5818346"/>
              <a:gd name="connsiteX7299" fmla="*/ 1373316 w 3503192"/>
              <a:gd name="connsiteY7299" fmla="*/ 3242841 h 5818346"/>
              <a:gd name="connsiteX7300" fmla="*/ 1362580 w 3503192"/>
              <a:gd name="connsiteY7300" fmla="*/ 3232103 h 5818346"/>
              <a:gd name="connsiteX7301" fmla="*/ 1373316 w 3503192"/>
              <a:gd name="connsiteY7301" fmla="*/ 3221367 h 5818346"/>
              <a:gd name="connsiteX7302" fmla="*/ 245127 w 3503192"/>
              <a:gd name="connsiteY7302" fmla="*/ 3220210 h 5818346"/>
              <a:gd name="connsiteX7303" fmla="*/ 255865 w 3503192"/>
              <a:gd name="connsiteY7303" fmla="*/ 3230946 h 5818346"/>
              <a:gd name="connsiteX7304" fmla="*/ 245127 w 3503192"/>
              <a:gd name="connsiteY7304" fmla="*/ 3241685 h 5818346"/>
              <a:gd name="connsiteX7305" fmla="*/ 234391 w 3503192"/>
              <a:gd name="connsiteY7305" fmla="*/ 3230946 h 5818346"/>
              <a:gd name="connsiteX7306" fmla="*/ 245127 w 3503192"/>
              <a:gd name="connsiteY7306" fmla="*/ 3220210 h 5818346"/>
              <a:gd name="connsiteX7307" fmla="*/ 24117 w 3503192"/>
              <a:gd name="connsiteY7307" fmla="*/ 3217899 h 5818346"/>
              <a:gd name="connsiteX7308" fmla="*/ 29731 w 3503192"/>
              <a:gd name="connsiteY7308" fmla="*/ 3223516 h 5818346"/>
              <a:gd name="connsiteX7309" fmla="*/ 32044 w 3503192"/>
              <a:gd name="connsiteY7309" fmla="*/ 3221202 h 5818346"/>
              <a:gd name="connsiteX7310" fmla="*/ 42782 w 3503192"/>
              <a:gd name="connsiteY7310" fmla="*/ 3231938 h 5818346"/>
              <a:gd name="connsiteX7311" fmla="*/ 42534 w 3503192"/>
              <a:gd name="connsiteY7311" fmla="*/ 3232186 h 5818346"/>
              <a:gd name="connsiteX7312" fmla="*/ 50050 w 3503192"/>
              <a:gd name="connsiteY7312" fmla="*/ 3239700 h 5818346"/>
              <a:gd name="connsiteX7313" fmla="*/ 49221 w 3503192"/>
              <a:gd name="connsiteY7313" fmla="*/ 3240530 h 5818346"/>
              <a:gd name="connsiteX7314" fmla="*/ 56491 w 3503192"/>
              <a:gd name="connsiteY7314" fmla="*/ 3247796 h 5818346"/>
              <a:gd name="connsiteX7315" fmla="*/ 55170 w 3503192"/>
              <a:gd name="connsiteY7315" fmla="*/ 3249117 h 5818346"/>
              <a:gd name="connsiteX7316" fmla="*/ 62439 w 3503192"/>
              <a:gd name="connsiteY7316" fmla="*/ 3256383 h 5818346"/>
              <a:gd name="connsiteX7317" fmla="*/ 60785 w 3503192"/>
              <a:gd name="connsiteY7317" fmla="*/ 3258038 h 5818346"/>
              <a:gd name="connsiteX7318" fmla="*/ 68219 w 3503192"/>
              <a:gd name="connsiteY7318" fmla="*/ 3265469 h 5818346"/>
              <a:gd name="connsiteX7319" fmla="*/ 66154 w 3503192"/>
              <a:gd name="connsiteY7319" fmla="*/ 3267534 h 5818346"/>
              <a:gd name="connsiteX7320" fmla="*/ 73835 w 3503192"/>
              <a:gd name="connsiteY7320" fmla="*/ 3275215 h 5818346"/>
              <a:gd name="connsiteX7321" fmla="*/ 71521 w 3503192"/>
              <a:gd name="connsiteY7321" fmla="*/ 3277529 h 5818346"/>
              <a:gd name="connsiteX7322" fmla="*/ 79452 w 3503192"/>
              <a:gd name="connsiteY7322" fmla="*/ 3285457 h 5818346"/>
              <a:gd name="connsiteX7323" fmla="*/ 77057 w 3503192"/>
              <a:gd name="connsiteY7323" fmla="*/ 3287852 h 5818346"/>
              <a:gd name="connsiteX7324" fmla="*/ 85563 w 3503192"/>
              <a:gd name="connsiteY7324" fmla="*/ 3296358 h 5818346"/>
              <a:gd name="connsiteX7325" fmla="*/ 83085 w 3503192"/>
              <a:gd name="connsiteY7325" fmla="*/ 3298836 h 5818346"/>
              <a:gd name="connsiteX7326" fmla="*/ 92006 w 3503192"/>
              <a:gd name="connsiteY7326" fmla="*/ 3307755 h 5818346"/>
              <a:gd name="connsiteX7327" fmla="*/ 89690 w 3503192"/>
              <a:gd name="connsiteY7327" fmla="*/ 3310071 h 5818346"/>
              <a:gd name="connsiteX7328" fmla="*/ 99438 w 3503192"/>
              <a:gd name="connsiteY7328" fmla="*/ 3319815 h 5818346"/>
              <a:gd name="connsiteX7329" fmla="*/ 97290 w 3503192"/>
              <a:gd name="connsiteY7329" fmla="*/ 3321964 h 5818346"/>
              <a:gd name="connsiteX7330" fmla="*/ 107863 w 3503192"/>
              <a:gd name="connsiteY7330" fmla="*/ 3332533 h 5818346"/>
              <a:gd name="connsiteX7331" fmla="*/ 97125 w 3503192"/>
              <a:gd name="connsiteY7331" fmla="*/ 3343272 h 5818346"/>
              <a:gd name="connsiteX7332" fmla="*/ 86389 w 3503192"/>
              <a:gd name="connsiteY7332" fmla="*/ 3332533 h 5818346"/>
              <a:gd name="connsiteX7333" fmla="*/ 88535 w 3503192"/>
              <a:gd name="connsiteY7333" fmla="*/ 3330387 h 5818346"/>
              <a:gd name="connsiteX7334" fmla="*/ 77964 w 3503192"/>
              <a:gd name="connsiteY7334" fmla="*/ 3319815 h 5818346"/>
              <a:gd name="connsiteX7335" fmla="*/ 80276 w 3503192"/>
              <a:gd name="connsiteY7335" fmla="*/ 3317503 h 5818346"/>
              <a:gd name="connsiteX7336" fmla="*/ 70531 w 3503192"/>
              <a:gd name="connsiteY7336" fmla="*/ 3307755 h 5818346"/>
              <a:gd name="connsiteX7337" fmla="*/ 73008 w 3503192"/>
              <a:gd name="connsiteY7337" fmla="*/ 3305279 h 5818346"/>
              <a:gd name="connsiteX7338" fmla="*/ 64090 w 3503192"/>
              <a:gd name="connsiteY7338" fmla="*/ 3296358 h 5818346"/>
              <a:gd name="connsiteX7339" fmla="*/ 66484 w 3503192"/>
              <a:gd name="connsiteY7339" fmla="*/ 3293965 h 5818346"/>
              <a:gd name="connsiteX7340" fmla="*/ 57977 w 3503192"/>
              <a:gd name="connsiteY7340" fmla="*/ 3285457 h 5818346"/>
              <a:gd name="connsiteX7341" fmla="*/ 60289 w 3503192"/>
              <a:gd name="connsiteY7341" fmla="*/ 3283146 h 5818346"/>
              <a:gd name="connsiteX7342" fmla="*/ 52362 w 3503192"/>
              <a:gd name="connsiteY7342" fmla="*/ 3275215 h 5818346"/>
              <a:gd name="connsiteX7343" fmla="*/ 54426 w 3503192"/>
              <a:gd name="connsiteY7343" fmla="*/ 3273151 h 5818346"/>
              <a:gd name="connsiteX7344" fmla="*/ 46745 w 3503192"/>
              <a:gd name="connsiteY7344" fmla="*/ 3265469 h 5818346"/>
              <a:gd name="connsiteX7345" fmla="*/ 48396 w 3503192"/>
              <a:gd name="connsiteY7345" fmla="*/ 3263818 h 5818346"/>
              <a:gd name="connsiteX7346" fmla="*/ 40965 w 3503192"/>
              <a:gd name="connsiteY7346" fmla="*/ 3256383 h 5818346"/>
              <a:gd name="connsiteX7347" fmla="*/ 42285 w 3503192"/>
              <a:gd name="connsiteY7347" fmla="*/ 3255064 h 5818346"/>
              <a:gd name="connsiteX7348" fmla="*/ 35017 w 3503192"/>
              <a:gd name="connsiteY7348" fmla="*/ 3247796 h 5818346"/>
              <a:gd name="connsiteX7349" fmla="*/ 35842 w 3503192"/>
              <a:gd name="connsiteY7349" fmla="*/ 3246970 h 5818346"/>
              <a:gd name="connsiteX7350" fmla="*/ 28576 w 3503192"/>
              <a:gd name="connsiteY7350" fmla="*/ 3239700 h 5818346"/>
              <a:gd name="connsiteX7351" fmla="*/ 28822 w 3503192"/>
              <a:gd name="connsiteY7351" fmla="*/ 3239454 h 5818346"/>
              <a:gd name="connsiteX7352" fmla="*/ 21308 w 3503192"/>
              <a:gd name="connsiteY7352" fmla="*/ 3231938 h 5818346"/>
              <a:gd name="connsiteX7353" fmla="*/ 22794 w 3503192"/>
              <a:gd name="connsiteY7353" fmla="*/ 3230452 h 5818346"/>
              <a:gd name="connsiteX7354" fmla="*/ 17179 w 3503192"/>
              <a:gd name="connsiteY7354" fmla="*/ 3224837 h 5818346"/>
              <a:gd name="connsiteX7355" fmla="*/ 24117 w 3503192"/>
              <a:gd name="connsiteY7355" fmla="*/ 3217899 h 5818346"/>
              <a:gd name="connsiteX7356" fmla="*/ 1225975 w 3503192"/>
              <a:gd name="connsiteY7356" fmla="*/ 3209474 h 5818346"/>
              <a:gd name="connsiteX7357" fmla="*/ 1236713 w 3503192"/>
              <a:gd name="connsiteY7357" fmla="*/ 3220210 h 5818346"/>
              <a:gd name="connsiteX7358" fmla="*/ 1225975 w 3503192"/>
              <a:gd name="connsiteY7358" fmla="*/ 3230948 h 5818346"/>
              <a:gd name="connsiteX7359" fmla="*/ 1215238 w 3503192"/>
              <a:gd name="connsiteY7359" fmla="*/ 3220210 h 5818346"/>
              <a:gd name="connsiteX7360" fmla="*/ 1225975 w 3503192"/>
              <a:gd name="connsiteY7360" fmla="*/ 3209474 h 5818346"/>
              <a:gd name="connsiteX7361" fmla="*/ 212752 w 3503192"/>
              <a:gd name="connsiteY7361" fmla="*/ 3208978 h 5818346"/>
              <a:gd name="connsiteX7362" fmla="*/ 223490 w 3503192"/>
              <a:gd name="connsiteY7362" fmla="*/ 3219714 h 5818346"/>
              <a:gd name="connsiteX7363" fmla="*/ 212752 w 3503192"/>
              <a:gd name="connsiteY7363" fmla="*/ 3230452 h 5818346"/>
              <a:gd name="connsiteX7364" fmla="*/ 202015 w 3503192"/>
              <a:gd name="connsiteY7364" fmla="*/ 3219714 h 5818346"/>
              <a:gd name="connsiteX7365" fmla="*/ 212752 w 3503192"/>
              <a:gd name="connsiteY7365" fmla="*/ 3208978 h 5818346"/>
              <a:gd name="connsiteX7366" fmla="*/ 184837 w 3503192"/>
              <a:gd name="connsiteY7366" fmla="*/ 3198242 h 5818346"/>
              <a:gd name="connsiteX7367" fmla="*/ 195575 w 3503192"/>
              <a:gd name="connsiteY7367" fmla="*/ 3208978 h 5818346"/>
              <a:gd name="connsiteX7368" fmla="*/ 184837 w 3503192"/>
              <a:gd name="connsiteY7368" fmla="*/ 3219716 h 5818346"/>
              <a:gd name="connsiteX7369" fmla="*/ 174100 w 3503192"/>
              <a:gd name="connsiteY7369" fmla="*/ 3208978 h 5818346"/>
              <a:gd name="connsiteX7370" fmla="*/ 184837 w 3503192"/>
              <a:gd name="connsiteY7370" fmla="*/ 3198242 h 5818346"/>
              <a:gd name="connsiteX7371" fmla="*/ 1091516 w 3503192"/>
              <a:gd name="connsiteY7371" fmla="*/ 3197910 h 5818346"/>
              <a:gd name="connsiteX7372" fmla="*/ 1102254 w 3503192"/>
              <a:gd name="connsiteY7372" fmla="*/ 3208647 h 5818346"/>
              <a:gd name="connsiteX7373" fmla="*/ 1091516 w 3503192"/>
              <a:gd name="connsiteY7373" fmla="*/ 3219385 h 5818346"/>
              <a:gd name="connsiteX7374" fmla="*/ 1080780 w 3503192"/>
              <a:gd name="connsiteY7374" fmla="*/ 3208647 h 5818346"/>
              <a:gd name="connsiteX7375" fmla="*/ 1091516 w 3503192"/>
              <a:gd name="connsiteY7375" fmla="*/ 3197910 h 5818346"/>
              <a:gd name="connsiteX7376" fmla="*/ 160719 w 3503192"/>
              <a:gd name="connsiteY7376" fmla="*/ 3187999 h 5818346"/>
              <a:gd name="connsiteX7377" fmla="*/ 171457 w 3503192"/>
              <a:gd name="connsiteY7377" fmla="*/ 3198736 h 5818346"/>
              <a:gd name="connsiteX7378" fmla="*/ 160719 w 3503192"/>
              <a:gd name="connsiteY7378" fmla="*/ 3209472 h 5818346"/>
              <a:gd name="connsiteX7379" fmla="*/ 149983 w 3503192"/>
              <a:gd name="connsiteY7379" fmla="*/ 3198736 h 5818346"/>
              <a:gd name="connsiteX7380" fmla="*/ 160719 w 3503192"/>
              <a:gd name="connsiteY7380" fmla="*/ 3187999 h 5818346"/>
              <a:gd name="connsiteX7381" fmla="*/ 969117 w 3503192"/>
              <a:gd name="connsiteY7381" fmla="*/ 3186842 h 5818346"/>
              <a:gd name="connsiteX7382" fmla="*/ 979854 w 3503192"/>
              <a:gd name="connsiteY7382" fmla="*/ 3197579 h 5818346"/>
              <a:gd name="connsiteX7383" fmla="*/ 969117 w 3503192"/>
              <a:gd name="connsiteY7383" fmla="*/ 3208317 h 5818346"/>
              <a:gd name="connsiteX7384" fmla="*/ 958381 w 3503192"/>
              <a:gd name="connsiteY7384" fmla="*/ 3197579 h 5818346"/>
              <a:gd name="connsiteX7385" fmla="*/ 969117 w 3503192"/>
              <a:gd name="connsiteY7385" fmla="*/ 3186842 h 5818346"/>
              <a:gd name="connsiteX7386" fmla="*/ 140238 w 3503192"/>
              <a:gd name="connsiteY7386" fmla="*/ 3178253 h 5818346"/>
              <a:gd name="connsiteX7387" fmla="*/ 150977 w 3503192"/>
              <a:gd name="connsiteY7387" fmla="*/ 3188990 h 5818346"/>
              <a:gd name="connsiteX7388" fmla="*/ 140238 w 3503192"/>
              <a:gd name="connsiteY7388" fmla="*/ 3199728 h 5818346"/>
              <a:gd name="connsiteX7389" fmla="*/ 129502 w 3503192"/>
              <a:gd name="connsiteY7389" fmla="*/ 3188990 h 5818346"/>
              <a:gd name="connsiteX7390" fmla="*/ 140238 w 3503192"/>
              <a:gd name="connsiteY7390" fmla="*/ 3178253 h 5818346"/>
              <a:gd name="connsiteX7391" fmla="*/ 857951 w 3503192"/>
              <a:gd name="connsiteY7391" fmla="*/ 3176271 h 5818346"/>
              <a:gd name="connsiteX7392" fmla="*/ 868687 w 3503192"/>
              <a:gd name="connsiteY7392" fmla="*/ 3187007 h 5818346"/>
              <a:gd name="connsiteX7393" fmla="*/ 857951 w 3503192"/>
              <a:gd name="connsiteY7393" fmla="*/ 3197745 h 5818346"/>
              <a:gd name="connsiteX7394" fmla="*/ 847214 w 3503192"/>
              <a:gd name="connsiteY7394" fmla="*/ 3187007 h 5818346"/>
              <a:gd name="connsiteX7395" fmla="*/ 857951 w 3503192"/>
              <a:gd name="connsiteY7395" fmla="*/ 3176271 h 5818346"/>
              <a:gd name="connsiteX7396" fmla="*/ 122893 w 3503192"/>
              <a:gd name="connsiteY7396" fmla="*/ 3168838 h 5818346"/>
              <a:gd name="connsiteX7397" fmla="*/ 133631 w 3503192"/>
              <a:gd name="connsiteY7397" fmla="*/ 3179575 h 5818346"/>
              <a:gd name="connsiteX7398" fmla="*/ 122893 w 3503192"/>
              <a:gd name="connsiteY7398" fmla="*/ 3190313 h 5818346"/>
              <a:gd name="connsiteX7399" fmla="*/ 112157 w 3503192"/>
              <a:gd name="connsiteY7399" fmla="*/ 3179575 h 5818346"/>
              <a:gd name="connsiteX7400" fmla="*/ 122893 w 3503192"/>
              <a:gd name="connsiteY7400" fmla="*/ 3168838 h 5818346"/>
              <a:gd name="connsiteX7401" fmla="*/ 757356 w 3503192"/>
              <a:gd name="connsiteY7401" fmla="*/ 3166031 h 5818346"/>
              <a:gd name="connsiteX7402" fmla="*/ 768092 w 3503192"/>
              <a:gd name="connsiteY7402" fmla="*/ 3176767 h 5818346"/>
              <a:gd name="connsiteX7403" fmla="*/ 757356 w 3503192"/>
              <a:gd name="connsiteY7403" fmla="*/ 3187505 h 5818346"/>
              <a:gd name="connsiteX7404" fmla="*/ 746620 w 3503192"/>
              <a:gd name="connsiteY7404" fmla="*/ 3176767 h 5818346"/>
              <a:gd name="connsiteX7405" fmla="*/ 757356 w 3503192"/>
              <a:gd name="connsiteY7405" fmla="*/ 3166031 h 5818346"/>
              <a:gd name="connsiteX7406" fmla="*/ 666670 w 3503192"/>
              <a:gd name="connsiteY7406" fmla="*/ 3156120 h 5818346"/>
              <a:gd name="connsiteX7407" fmla="*/ 677406 w 3503192"/>
              <a:gd name="connsiteY7407" fmla="*/ 3166856 h 5818346"/>
              <a:gd name="connsiteX7408" fmla="*/ 666670 w 3503192"/>
              <a:gd name="connsiteY7408" fmla="*/ 3177594 h 5818346"/>
              <a:gd name="connsiteX7409" fmla="*/ 655934 w 3503192"/>
              <a:gd name="connsiteY7409" fmla="*/ 3166856 h 5818346"/>
              <a:gd name="connsiteX7410" fmla="*/ 666670 w 3503192"/>
              <a:gd name="connsiteY7410" fmla="*/ 3156120 h 5818346"/>
              <a:gd name="connsiteX7411" fmla="*/ 13875 w 3503192"/>
              <a:gd name="connsiteY7411" fmla="*/ 3150008 h 5818346"/>
              <a:gd name="connsiteX7412" fmla="*/ 16187 w 3503192"/>
              <a:gd name="connsiteY7412" fmla="*/ 3152322 h 5818346"/>
              <a:gd name="connsiteX7413" fmla="*/ 13875 w 3503192"/>
              <a:gd name="connsiteY7413" fmla="*/ 3154634 h 5818346"/>
              <a:gd name="connsiteX7414" fmla="*/ 11562 w 3503192"/>
              <a:gd name="connsiteY7414" fmla="*/ 3152322 h 5818346"/>
              <a:gd name="connsiteX7415" fmla="*/ 13875 w 3503192"/>
              <a:gd name="connsiteY7415" fmla="*/ 3150008 h 5818346"/>
              <a:gd name="connsiteX7416" fmla="*/ 21802 w 3503192"/>
              <a:gd name="connsiteY7416" fmla="*/ 3147034 h 5818346"/>
              <a:gd name="connsiteX7417" fmla="*/ 28328 w 3503192"/>
              <a:gd name="connsiteY7417" fmla="*/ 3153558 h 5818346"/>
              <a:gd name="connsiteX7418" fmla="*/ 28905 w 3503192"/>
              <a:gd name="connsiteY7418" fmla="*/ 3152981 h 5818346"/>
              <a:gd name="connsiteX7419" fmla="*/ 35183 w 3503192"/>
              <a:gd name="connsiteY7419" fmla="*/ 3159258 h 5818346"/>
              <a:gd name="connsiteX7420" fmla="*/ 35348 w 3503192"/>
              <a:gd name="connsiteY7420" fmla="*/ 3159094 h 5818346"/>
              <a:gd name="connsiteX7421" fmla="*/ 46086 w 3503192"/>
              <a:gd name="connsiteY7421" fmla="*/ 3169830 h 5818346"/>
              <a:gd name="connsiteX7422" fmla="*/ 45673 w 3503192"/>
              <a:gd name="connsiteY7422" fmla="*/ 3170243 h 5818346"/>
              <a:gd name="connsiteX7423" fmla="*/ 51868 w 3503192"/>
              <a:gd name="connsiteY7423" fmla="*/ 3176436 h 5818346"/>
              <a:gd name="connsiteX7424" fmla="*/ 50959 w 3503192"/>
              <a:gd name="connsiteY7424" fmla="*/ 3177346 h 5818346"/>
              <a:gd name="connsiteX7425" fmla="*/ 57154 w 3503192"/>
              <a:gd name="connsiteY7425" fmla="*/ 3183539 h 5818346"/>
              <a:gd name="connsiteX7426" fmla="*/ 56162 w 3503192"/>
              <a:gd name="connsiteY7426" fmla="*/ 3184531 h 5818346"/>
              <a:gd name="connsiteX7427" fmla="*/ 62439 w 3503192"/>
              <a:gd name="connsiteY7427" fmla="*/ 3190807 h 5818346"/>
              <a:gd name="connsiteX7428" fmla="*/ 60951 w 3503192"/>
              <a:gd name="connsiteY7428" fmla="*/ 3192295 h 5818346"/>
              <a:gd name="connsiteX7429" fmla="*/ 67394 w 3503192"/>
              <a:gd name="connsiteY7429" fmla="*/ 3198736 h 5818346"/>
              <a:gd name="connsiteX7430" fmla="*/ 65906 w 3503192"/>
              <a:gd name="connsiteY7430" fmla="*/ 3200224 h 5818346"/>
              <a:gd name="connsiteX7431" fmla="*/ 72680 w 3503192"/>
              <a:gd name="connsiteY7431" fmla="*/ 3206996 h 5818346"/>
              <a:gd name="connsiteX7432" fmla="*/ 71110 w 3503192"/>
              <a:gd name="connsiteY7432" fmla="*/ 3208565 h 5818346"/>
              <a:gd name="connsiteX7433" fmla="*/ 78462 w 3503192"/>
              <a:gd name="connsiteY7433" fmla="*/ 3215915 h 5818346"/>
              <a:gd name="connsiteX7434" fmla="*/ 77055 w 3503192"/>
              <a:gd name="connsiteY7434" fmla="*/ 3217321 h 5818346"/>
              <a:gd name="connsiteX7435" fmla="*/ 84902 w 3503192"/>
              <a:gd name="connsiteY7435" fmla="*/ 3225165 h 5818346"/>
              <a:gd name="connsiteX7436" fmla="*/ 83662 w 3503192"/>
              <a:gd name="connsiteY7436" fmla="*/ 3226405 h 5818346"/>
              <a:gd name="connsiteX7437" fmla="*/ 92170 w 3503192"/>
              <a:gd name="connsiteY7437" fmla="*/ 3234911 h 5818346"/>
              <a:gd name="connsiteX7438" fmla="*/ 91260 w 3503192"/>
              <a:gd name="connsiteY7438" fmla="*/ 3235821 h 5818346"/>
              <a:gd name="connsiteX7439" fmla="*/ 100595 w 3503192"/>
              <a:gd name="connsiteY7439" fmla="*/ 3245153 h 5818346"/>
              <a:gd name="connsiteX7440" fmla="*/ 100182 w 3503192"/>
              <a:gd name="connsiteY7440" fmla="*/ 3245565 h 5818346"/>
              <a:gd name="connsiteX7441" fmla="*/ 110671 w 3503192"/>
              <a:gd name="connsiteY7441" fmla="*/ 3256054 h 5818346"/>
              <a:gd name="connsiteX7442" fmla="*/ 99934 w 3503192"/>
              <a:gd name="connsiteY7442" fmla="*/ 3266790 h 5818346"/>
              <a:gd name="connsiteX7443" fmla="*/ 89198 w 3503192"/>
              <a:gd name="connsiteY7443" fmla="*/ 3256054 h 5818346"/>
              <a:gd name="connsiteX7444" fmla="*/ 89609 w 3503192"/>
              <a:gd name="connsiteY7444" fmla="*/ 3255643 h 5818346"/>
              <a:gd name="connsiteX7445" fmla="*/ 79121 w 3503192"/>
              <a:gd name="connsiteY7445" fmla="*/ 3245153 h 5818346"/>
              <a:gd name="connsiteX7446" fmla="*/ 80029 w 3503192"/>
              <a:gd name="connsiteY7446" fmla="*/ 3244244 h 5818346"/>
              <a:gd name="connsiteX7447" fmla="*/ 70698 w 3503192"/>
              <a:gd name="connsiteY7447" fmla="*/ 3234911 h 5818346"/>
              <a:gd name="connsiteX7448" fmla="*/ 71934 w 3503192"/>
              <a:gd name="connsiteY7448" fmla="*/ 3233674 h 5818346"/>
              <a:gd name="connsiteX7449" fmla="*/ 63428 w 3503192"/>
              <a:gd name="connsiteY7449" fmla="*/ 3225165 h 5818346"/>
              <a:gd name="connsiteX7450" fmla="*/ 64831 w 3503192"/>
              <a:gd name="connsiteY7450" fmla="*/ 3223762 h 5818346"/>
              <a:gd name="connsiteX7451" fmla="*/ 56987 w 3503192"/>
              <a:gd name="connsiteY7451" fmla="*/ 3215915 h 5818346"/>
              <a:gd name="connsiteX7452" fmla="*/ 58555 w 3503192"/>
              <a:gd name="connsiteY7452" fmla="*/ 3214347 h 5818346"/>
              <a:gd name="connsiteX7453" fmla="*/ 51205 w 3503192"/>
              <a:gd name="connsiteY7453" fmla="*/ 3206996 h 5818346"/>
              <a:gd name="connsiteX7454" fmla="*/ 52692 w 3503192"/>
              <a:gd name="connsiteY7454" fmla="*/ 3205509 h 5818346"/>
              <a:gd name="connsiteX7455" fmla="*/ 45920 w 3503192"/>
              <a:gd name="connsiteY7455" fmla="*/ 3198736 h 5818346"/>
              <a:gd name="connsiteX7456" fmla="*/ 47406 w 3503192"/>
              <a:gd name="connsiteY7456" fmla="*/ 3197250 h 5818346"/>
              <a:gd name="connsiteX7457" fmla="*/ 40965 w 3503192"/>
              <a:gd name="connsiteY7457" fmla="*/ 3190807 h 5818346"/>
              <a:gd name="connsiteX7458" fmla="*/ 41955 w 3503192"/>
              <a:gd name="connsiteY7458" fmla="*/ 3189817 h 5818346"/>
              <a:gd name="connsiteX7459" fmla="*/ 35679 w 3503192"/>
              <a:gd name="connsiteY7459" fmla="*/ 3183539 h 5818346"/>
              <a:gd name="connsiteX7460" fmla="*/ 36588 w 3503192"/>
              <a:gd name="connsiteY7460" fmla="*/ 3182632 h 5818346"/>
              <a:gd name="connsiteX7461" fmla="*/ 30393 w 3503192"/>
              <a:gd name="connsiteY7461" fmla="*/ 3176436 h 5818346"/>
              <a:gd name="connsiteX7462" fmla="*/ 30804 w 3503192"/>
              <a:gd name="connsiteY7462" fmla="*/ 3176025 h 5818346"/>
              <a:gd name="connsiteX7463" fmla="*/ 29070 w 3503192"/>
              <a:gd name="connsiteY7463" fmla="*/ 3174291 h 5818346"/>
              <a:gd name="connsiteX7464" fmla="*/ 28905 w 3503192"/>
              <a:gd name="connsiteY7464" fmla="*/ 3174455 h 5818346"/>
              <a:gd name="connsiteX7465" fmla="*/ 22381 w 3503192"/>
              <a:gd name="connsiteY7465" fmla="*/ 3167930 h 5818346"/>
              <a:gd name="connsiteX7466" fmla="*/ 21802 w 3503192"/>
              <a:gd name="connsiteY7466" fmla="*/ 3168509 h 5818346"/>
              <a:gd name="connsiteX7467" fmla="*/ 11066 w 3503192"/>
              <a:gd name="connsiteY7467" fmla="*/ 3157771 h 5818346"/>
              <a:gd name="connsiteX7468" fmla="*/ 21802 w 3503192"/>
              <a:gd name="connsiteY7468" fmla="*/ 3147034 h 5818346"/>
              <a:gd name="connsiteX7469" fmla="*/ 585071 w 3503192"/>
              <a:gd name="connsiteY7469" fmla="*/ 3146538 h 5818346"/>
              <a:gd name="connsiteX7470" fmla="*/ 595808 w 3503192"/>
              <a:gd name="connsiteY7470" fmla="*/ 3157275 h 5818346"/>
              <a:gd name="connsiteX7471" fmla="*/ 585071 w 3503192"/>
              <a:gd name="connsiteY7471" fmla="*/ 3168013 h 5818346"/>
              <a:gd name="connsiteX7472" fmla="*/ 574335 w 3503192"/>
              <a:gd name="connsiteY7472" fmla="*/ 3157275 h 5818346"/>
              <a:gd name="connsiteX7473" fmla="*/ 585071 w 3503192"/>
              <a:gd name="connsiteY7473" fmla="*/ 3146538 h 5818346"/>
              <a:gd name="connsiteX7474" fmla="*/ 512060 w 3503192"/>
              <a:gd name="connsiteY7474" fmla="*/ 3137455 h 5818346"/>
              <a:gd name="connsiteX7475" fmla="*/ 522797 w 3503192"/>
              <a:gd name="connsiteY7475" fmla="*/ 3148191 h 5818346"/>
              <a:gd name="connsiteX7476" fmla="*/ 512060 w 3503192"/>
              <a:gd name="connsiteY7476" fmla="*/ 3158929 h 5818346"/>
              <a:gd name="connsiteX7477" fmla="*/ 501324 w 3503192"/>
              <a:gd name="connsiteY7477" fmla="*/ 3148191 h 5818346"/>
              <a:gd name="connsiteX7478" fmla="*/ 512060 w 3503192"/>
              <a:gd name="connsiteY7478" fmla="*/ 3137455 h 5818346"/>
              <a:gd name="connsiteX7479" fmla="*/ 446980 w 3503192"/>
              <a:gd name="connsiteY7479" fmla="*/ 3128699 h 5818346"/>
              <a:gd name="connsiteX7480" fmla="*/ 457716 w 3503192"/>
              <a:gd name="connsiteY7480" fmla="*/ 3139435 h 5818346"/>
              <a:gd name="connsiteX7481" fmla="*/ 446980 w 3503192"/>
              <a:gd name="connsiteY7481" fmla="*/ 3150173 h 5818346"/>
              <a:gd name="connsiteX7482" fmla="*/ 436243 w 3503192"/>
              <a:gd name="connsiteY7482" fmla="*/ 3139435 h 5818346"/>
              <a:gd name="connsiteX7483" fmla="*/ 446980 w 3503192"/>
              <a:gd name="connsiteY7483" fmla="*/ 3128699 h 5818346"/>
              <a:gd name="connsiteX7484" fmla="*/ 389165 w 3503192"/>
              <a:gd name="connsiteY7484" fmla="*/ 3120276 h 5818346"/>
              <a:gd name="connsiteX7485" fmla="*/ 399902 w 3503192"/>
              <a:gd name="connsiteY7485" fmla="*/ 3131012 h 5818346"/>
              <a:gd name="connsiteX7486" fmla="*/ 389165 w 3503192"/>
              <a:gd name="connsiteY7486" fmla="*/ 3141750 h 5818346"/>
              <a:gd name="connsiteX7487" fmla="*/ 378429 w 3503192"/>
              <a:gd name="connsiteY7487" fmla="*/ 3131012 h 5818346"/>
              <a:gd name="connsiteX7488" fmla="*/ 389165 w 3503192"/>
              <a:gd name="connsiteY7488" fmla="*/ 3120276 h 5818346"/>
              <a:gd name="connsiteX7489" fmla="*/ 337960 w 3503192"/>
              <a:gd name="connsiteY7489" fmla="*/ 3112181 h 5818346"/>
              <a:gd name="connsiteX7490" fmla="*/ 348698 w 3503192"/>
              <a:gd name="connsiteY7490" fmla="*/ 3122917 h 5818346"/>
              <a:gd name="connsiteX7491" fmla="*/ 337960 w 3503192"/>
              <a:gd name="connsiteY7491" fmla="*/ 3133655 h 5818346"/>
              <a:gd name="connsiteX7492" fmla="*/ 327224 w 3503192"/>
              <a:gd name="connsiteY7492" fmla="*/ 3122917 h 5818346"/>
              <a:gd name="connsiteX7493" fmla="*/ 337960 w 3503192"/>
              <a:gd name="connsiteY7493" fmla="*/ 3112181 h 5818346"/>
              <a:gd name="connsiteX7494" fmla="*/ 292864 w 3503192"/>
              <a:gd name="connsiteY7494" fmla="*/ 3104419 h 5818346"/>
              <a:gd name="connsiteX7495" fmla="*/ 303601 w 3503192"/>
              <a:gd name="connsiteY7495" fmla="*/ 3115155 h 5818346"/>
              <a:gd name="connsiteX7496" fmla="*/ 292864 w 3503192"/>
              <a:gd name="connsiteY7496" fmla="*/ 3125893 h 5818346"/>
              <a:gd name="connsiteX7497" fmla="*/ 282128 w 3503192"/>
              <a:gd name="connsiteY7497" fmla="*/ 3115155 h 5818346"/>
              <a:gd name="connsiteX7498" fmla="*/ 292864 w 3503192"/>
              <a:gd name="connsiteY7498" fmla="*/ 3104419 h 5818346"/>
              <a:gd name="connsiteX7499" fmla="*/ 253552 w 3503192"/>
              <a:gd name="connsiteY7499" fmla="*/ 3096984 h 5818346"/>
              <a:gd name="connsiteX7500" fmla="*/ 264290 w 3503192"/>
              <a:gd name="connsiteY7500" fmla="*/ 3107720 h 5818346"/>
              <a:gd name="connsiteX7501" fmla="*/ 253552 w 3503192"/>
              <a:gd name="connsiteY7501" fmla="*/ 3118459 h 5818346"/>
              <a:gd name="connsiteX7502" fmla="*/ 242816 w 3503192"/>
              <a:gd name="connsiteY7502" fmla="*/ 3107720 h 5818346"/>
              <a:gd name="connsiteX7503" fmla="*/ 253552 w 3503192"/>
              <a:gd name="connsiteY7503" fmla="*/ 3096984 h 5818346"/>
              <a:gd name="connsiteX7504" fmla="*/ 219194 w 3503192"/>
              <a:gd name="connsiteY7504" fmla="*/ 3089883 h 5818346"/>
              <a:gd name="connsiteX7505" fmla="*/ 229932 w 3503192"/>
              <a:gd name="connsiteY7505" fmla="*/ 3100619 h 5818346"/>
              <a:gd name="connsiteX7506" fmla="*/ 219194 w 3503192"/>
              <a:gd name="connsiteY7506" fmla="*/ 3111357 h 5818346"/>
              <a:gd name="connsiteX7507" fmla="*/ 208458 w 3503192"/>
              <a:gd name="connsiteY7507" fmla="*/ 3100619 h 5818346"/>
              <a:gd name="connsiteX7508" fmla="*/ 219194 w 3503192"/>
              <a:gd name="connsiteY7508" fmla="*/ 3089883 h 5818346"/>
              <a:gd name="connsiteX7509" fmla="*/ 189626 w 3503192"/>
              <a:gd name="connsiteY7509" fmla="*/ 3083109 h 5818346"/>
              <a:gd name="connsiteX7510" fmla="*/ 200364 w 3503192"/>
              <a:gd name="connsiteY7510" fmla="*/ 3093845 h 5818346"/>
              <a:gd name="connsiteX7511" fmla="*/ 189626 w 3503192"/>
              <a:gd name="connsiteY7511" fmla="*/ 3104583 h 5818346"/>
              <a:gd name="connsiteX7512" fmla="*/ 178890 w 3503192"/>
              <a:gd name="connsiteY7512" fmla="*/ 3093845 h 5818346"/>
              <a:gd name="connsiteX7513" fmla="*/ 189626 w 3503192"/>
              <a:gd name="connsiteY7513" fmla="*/ 3083109 h 5818346"/>
              <a:gd name="connsiteX7514" fmla="*/ 164023 w 3503192"/>
              <a:gd name="connsiteY7514" fmla="*/ 3076668 h 5818346"/>
              <a:gd name="connsiteX7515" fmla="*/ 174761 w 3503192"/>
              <a:gd name="connsiteY7515" fmla="*/ 3087404 h 5818346"/>
              <a:gd name="connsiteX7516" fmla="*/ 164023 w 3503192"/>
              <a:gd name="connsiteY7516" fmla="*/ 3098143 h 5818346"/>
              <a:gd name="connsiteX7517" fmla="*/ 153287 w 3503192"/>
              <a:gd name="connsiteY7517" fmla="*/ 3087404 h 5818346"/>
              <a:gd name="connsiteX7518" fmla="*/ 164023 w 3503192"/>
              <a:gd name="connsiteY7518" fmla="*/ 3076668 h 5818346"/>
              <a:gd name="connsiteX7519" fmla="*/ 13215 w 3503192"/>
              <a:gd name="connsiteY7519" fmla="*/ 3076337 h 5818346"/>
              <a:gd name="connsiteX7520" fmla="*/ 17756 w 3503192"/>
              <a:gd name="connsiteY7520" fmla="*/ 3080878 h 5818346"/>
              <a:gd name="connsiteX7521" fmla="*/ 20481 w 3503192"/>
              <a:gd name="connsiteY7521" fmla="*/ 3078154 h 5818346"/>
              <a:gd name="connsiteX7522" fmla="*/ 25933 w 3503192"/>
              <a:gd name="connsiteY7522" fmla="*/ 3083607 h 5818346"/>
              <a:gd name="connsiteX7523" fmla="*/ 26923 w 3503192"/>
              <a:gd name="connsiteY7523" fmla="*/ 3082615 h 5818346"/>
              <a:gd name="connsiteX7524" fmla="*/ 32044 w 3503192"/>
              <a:gd name="connsiteY7524" fmla="*/ 3087736 h 5818346"/>
              <a:gd name="connsiteX7525" fmla="*/ 32540 w 3503192"/>
              <a:gd name="connsiteY7525" fmla="*/ 3087240 h 5818346"/>
              <a:gd name="connsiteX7526" fmla="*/ 37660 w 3503192"/>
              <a:gd name="connsiteY7526" fmla="*/ 3092359 h 5818346"/>
              <a:gd name="connsiteX7527" fmla="*/ 37824 w 3503192"/>
              <a:gd name="connsiteY7527" fmla="*/ 3092194 h 5818346"/>
              <a:gd name="connsiteX7528" fmla="*/ 48562 w 3503192"/>
              <a:gd name="connsiteY7528" fmla="*/ 3102930 h 5818346"/>
              <a:gd name="connsiteX7529" fmla="*/ 48398 w 3503192"/>
              <a:gd name="connsiteY7529" fmla="*/ 3103095 h 5818346"/>
              <a:gd name="connsiteX7530" fmla="*/ 53354 w 3503192"/>
              <a:gd name="connsiteY7530" fmla="*/ 3108052 h 5818346"/>
              <a:gd name="connsiteX7531" fmla="*/ 52941 w 3503192"/>
              <a:gd name="connsiteY7531" fmla="*/ 3108464 h 5818346"/>
              <a:gd name="connsiteX7532" fmla="*/ 58144 w 3503192"/>
              <a:gd name="connsiteY7532" fmla="*/ 3113667 h 5818346"/>
              <a:gd name="connsiteX7533" fmla="*/ 57648 w 3503192"/>
              <a:gd name="connsiteY7533" fmla="*/ 3114163 h 5818346"/>
              <a:gd name="connsiteX7534" fmla="*/ 62934 w 3503192"/>
              <a:gd name="connsiteY7534" fmla="*/ 3119449 h 5818346"/>
              <a:gd name="connsiteX7535" fmla="*/ 62273 w 3503192"/>
              <a:gd name="connsiteY7535" fmla="*/ 3120111 h 5818346"/>
              <a:gd name="connsiteX7536" fmla="*/ 67890 w 3503192"/>
              <a:gd name="connsiteY7536" fmla="*/ 3125726 h 5818346"/>
              <a:gd name="connsiteX7537" fmla="*/ 67475 w 3503192"/>
              <a:gd name="connsiteY7537" fmla="*/ 3126141 h 5818346"/>
              <a:gd name="connsiteX7538" fmla="*/ 73504 w 3503192"/>
              <a:gd name="connsiteY7538" fmla="*/ 3132169 h 5818346"/>
              <a:gd name="connsiteX7539" fmla="*/ 73256 w 3503192"/>
              <a:gd name="connsiteY7539" fmla="*/ 3132417 h 5818346"/>
              <a:gd name="connsiteX7540" fmla="*/ 76561 w 3503192"/>
              <a:gd name="connsiteY7540" fmla="*/ 3135719 h 5818346"/>
              <a:gd name="connsiteX7541" fmla="*/ 76642 w 3503192"/>
              <a:gd name="connsiteY7541" fmla="*/ 3135637 h 5818346"/>
              <a:gd name="connsiteX7542" fmla="*/ 84819 w 3503192"/>
              <a:gd name="connsiteY7542" fmla="*/ 3143814 h 5818346"/>
              <a:gd name="connsiteX7543" fmla="*/ 85232 w 3503192"/>
              <a:gd name="connsiteY7543" fmla="*/ 3143401 h 5818346"/>
              <a:gd name="connsiteX7544" fmla="*/ 94482 w 3503192"/>
              <a:gd name="connsiteY7544" fmla="*/ 3152651 h 5818346"/>
              <a:gd name="connsiteX7545" fmla="*/ 95639 w 3503192"/>
              <a:gd name="connsiteY7545" fmla="*/ 3151495 h 5818346"/>
              <a:gd name="connsiteX7546" fmla="*/ 106046 w 3503192"/>
              <a:gd name="connsiteY7546" fmla="*/ 3161901 h 5818346"/>
              <a:gd name="connsiteX7547" fmla="*/ 108028 w 3503192"/>
              <a:gd name="connsiteY7547" fmla="*/ 3159919 h 5818346"/>
              <a:gd name="connsiteX7548" fmla="*/ 118766 w 3503192"/>
              <a:gd name="connsiteY7548" fmla="*/ 3170656 h 5818346"/>
              <a:gd name="connsiteX7549" fmla="*/ 108028 w 3503192"/>
              <a:gd name="connsiteY7549" fmla="*/ 3181394 h 5818346"/>
              <a:gd name="connsiteX7550" fmla="*/ 97621 w 3503192"/>
              <a:gd name="connsiteY7550" fmla="*/ 3170987 h 5818346"/>
              <a:gd name="connsiteX7551" fmla="*/ 95639 w 3503192"/>
              <a:gd name="connsiteY7551" fmla="*/ 3172969 h 5818346"/>
              <a:gd name="connsiteX7552" fmla="*/ 86389 w 3503192"/>
              <a:gd name="connsiteY7552" fmla="*/ 3163719 h 5818346"/>
              <a:gd name="connsiteX7553" fmla="*/ 85232 w 3503192"/>
              <a:gd name="connsiteY7553" fmla="*/ 3164876 h 5818346"/>
              <a:gd name="connsiteX7554" fmla="*/ 77055 w 3503192"/>
              <a:gd name="connsiteY7554" fmla="*/ 3156697 h 5818346"/>
              <a:gd name="connsiteX7555" fmla="*/ 76642 w 3503192"/>
              <a:gd name="connsiteY7555" fmla="*/ 3157110 h 5818346"/>
              <a:gd name="connsiteX7556" fmla="*/ 69291 w 3503192"/>
              <a:gd name="connsiteY7556" fmla="*/ 3149761 h 5818346"/>
              <a:gd name="connsiteX7557" fmla="*/ 69210 w 3503192"/>
              <a:gd name="connsiteY7557" fmla="*/ 3149842 h 5818346"/>
              <a:gd name="connsiteX7558" fmla="*/ 58473 w 3503192"/>
              <a:gd name="connsiteY7558" fmla="*/ 3139106 h 5818346"/>
              <a:gd name="connsiteX7559" fmla="*/ 58720 w 3503192"/>
              <a:gd name="connsiteY7559" fmla="*/ 3138859 h 5818346"/>
              <a:gd name="connsiteX7560" fmla="*/ 52031 w 3503192"/>
              <a:gd name="connsiteY7560" fmla="*/ 3132169 h 5818346"/>
              <a:gd name="connsiteX7561" fmla="*/ 52444 w 3503192"/>
              <a:gd name="connsiteY7561" fmla="*/ 3131756 h 5818346"/>
              <a:gd name="connsiteX7562" fmla="*/ 46416 w 3503192"/>
              <a:gd name="connsiteY7562" fmla="*/ 3125726 h 5818346"/>
              <a:gd name="connsiteX7563" fmla="*/ 47076 w 3503192"/>
              <a:gd name="connsiteY7563" fmla="*/ 3125067 h 5818346"/>
              <a:gd name="connsiteX7564" fmla="*/ 41459 w 3503192"/>
              <a:gd name="connsiteY7564" fmla="*/ 3119449 h 5818346"/>
              <a:gd name="connsiteX7565" fmla="*/ 41955 w 3503192"/>
              <a:gd name="connsiteY7565" fmla="*/ 3118953 h 5818346"/>
              <a:gd name="connsiteX7566" fmla="*/ 36669 w 3503192"/>
              <a:gd name="connsiteY7566" fmla="*/ 3113667 h 5818346"/>
              <a:gd name="connsiteX7567" fmla="*/ 37082 w 3503192"/>
              <a:gd name="connsiteY7567" fmla="*/ 3113254 h 5818346"/>
              <a:gd name="connsiteX7568" fmla="*/ 32540 w 3503192"/>
              <a:gd name="connsiteY7568" fmla="*/ 3108714 h 5818346"/>
              <a:gd name="connsiteX7569" fmla="*/ 27419 w 3503192"/>
              <a:gd name="connsiteY7569" fmla="*/ 3103593 h 5818346"/>
              <a:gd name="connsiteX7570" fmla="*/ 26923 w 3503192"/>
              <a:gd name="connsiteY7570" fmla="*/ 3104089 h 5818346"/>
              <a:gd name="connsiteX7571" fmla="*/ 21473 w 3503192"/>
              <a:gd name="connsiteY7571" fmla="*/ 3098637 h 5818346"/>
              <a:gd name="connsiteX7572" fmla="*/ 20481 w 3503192"/>
              <a:gd name="connsiteY7572" fmla="*/ 3099629 h 5818346"/>
              <a:gd name="connsiteX7573" fmla="*/ 13627 w 3503192"/>
              <a:gd name="connsiteY7573" fmla="*/ 3092773 h 5818346"/>
              <a:gd name="connsiteX7574" fmla="*/ 13215 w 3503192"/>
              <a:gd name="connsiteY7574" fmla="*/ 3093186 h 5818346"/>
              <a:gd name="connsiteX7575" fmla="*/ 4790 w 3503192"/>
              <a:gd name="connsiteY7575" fmla="*/ 3084762 h 5818346"/>
              <a:gd name="connsiteX7576" fmla="*/ 13215 w 3503192"/>
              <a:gd name="connsiteY7576" fmla="*/ 3076337 h 5818346"/>
              <a:gd name="connsiteX7577" fmla="*/ 142221 w 3503192"/>
              <a:gd name="connsiteY7577" fmla="*/ 3070557 h 5818346"/>
              <a:gd name="connsiteX7578" fmla="*/ 152959 w 3503192"/>
              <a:gd name="connsiteY7578" fmla="*/ 3081293 h 5818346"/>
              <a:gd name="connsiteX7579" fmla="*/ 142221 w 3503192"/>
              <a:gd name="connsiteY7579" fmla="*/ 3092030 h 5818346"/>
              <a:gd name="connsiteX7580" fmla="*/ 131484 w 3503192"/>
              <a:gd name="connsiteY7580" fmla="*/ 3081293 h 5818346"/>
              <a:gd name="connsiteX7581" fmla="*/ 142221 w 3503192"/>
              <a:gd name="connsiteY7581" fmla="*/ 3070557 h 5818346"/>
              <a:gd name="connsiteX7582" fmla="*/ 2961534 w 3503192"/>
              <a:gd name="connsiteY7582" fmla="*/ 3045943 h 5818346"/>
              <a:gd name="connsiteX7583" fmla="*/ 2972272 w 3503192"/>
              <a:gd name="connsiteY7583" fmla="*/ 3056680 h 5818346"/>
              <a:gd name="connsiteX7584" fmla="*/ 2961534 w 3503192"/>
              <a:gd name="connsiteY7584" fmla="*/ 3067418 h 5818346"/>
              <a:gd name="connsiteX7585" fmla="*/ 2950797 w 3503192"/>
              <a:gd name="connsiteY7585" fmla="*/ 3056680 h 5818346"/>
              <a:gd name="connsiteX7586" fmla="*/ 2961534 w 3503192"/>
              <a:gd name="connsiteY7586" fmla="*/ 3045943 h 5818346"/>
              <a:gd name="connsiteX7587" fmla="*/ 2693775 w 3503192"/>
              <a:gd name="connsiteY7587" fmla="*/ 3044292 h 5818346"/>
              <a:gd name="connsiteX7588" fmla="*/ 2704513 w 3503192"/>
              <a:gd name="connsiteY7588" fmla="*/ 3055029 h 5818346"/>
              <a:gd name="connsiteX7589" fmla="*/ 2693775 w 3503192"/>
              <a:gd name="connsiteY7589" fmla="*/ 3065767 h 5818346"/>
              <a:gd name="connsiteX7590" fmla="*/ 2683038 w 3503192"/>
              <a:gd name="connsiteY7590" fmla="*/ 3055029 h 5818346"/>
              <a:gd name="connsiteX7591" fmla="*/ 2693775 w 3503192"/>
              <a:gd name="connsiteY7591" fmla="*/ 3044292 h 5818346"/>
              <a:gd name="connsiteX7592" fmla="*/ 3222026 w 3503192"/>
              <a:gd name="connsiteY7592" fmla="*/ 3041649 h 5818346"/>
              <a:gd name="connsiteX7593" fmla="*/ 3232764 w 3503192"/>
              <a:gd name="connsiteY7593" fmla="*/ 3052386 h 5818346"/>
              <a:gd name="connsiteX7594" fmla="*/ 3222026 w 3503192"/>
              <a:gd name="connsiteY7594" fmla="*/ 3063122 h 5818346"/>
              <a:gd name="connsiteX7595" fmla="*/ 3211289 w 3503192"/>
              <a:gd name="connsiteY7595" fmla="*/ 3052386 h 5818346"/>
              <a:gd name="connsiteX7596" fmla="*/ 3222026 w 3503192"/>
              <a:gd name="connsiteY7596" fmla="*/ 3041649 h 5818346"/>
              <a:gd name="connsiteX7597" fmla="*/ 2441874 w 3503192"/>
              <a:gd name="connsiteY7597" fmla="*/ 3039336 h 5818346"/>
              <a:gd name="connsiteX7598" fmla="*/ 2452612 w 3503192"/>
              <a:gd name="connsiteY7598" fmla="*/ 3050072 h 5818346"/>
              <a:gd name="connsiteX7599" fmla="*/ 2441874 w 3503192"/>
              <a:gd name="connsiteY7599" fmla="*/ 3060809 h 5818346"/>
              <a:gd name="connsiteX7600" fmla="*/ 2431138 w 3503192"/>
              <a:gd name="connsiteY7600" fmla="*/ 3050072 h 5818346"/>
              <a:gd name="connsiteX7601" fmla="*/ 2441874 w 3503192"/>
              <a:gd name="connsiteY7601" fmla="*/ 3039336 h 5818346"/>
              <a:gd name="connsiteX7602" fmla="*/ 3463851 w 3503192"/>
              <a:gd name="connsiteY7602" fmla="*/ 3036529 h 5818346"/>
              <a:gd name="connsiteX7603" fmla="*/ 3474589 w 3503192"/>
              <a:gd name="connsiteY7603" fmla="*/ 3047265 h 5818346"/>
              <a:gd name="connsiteX7604" fmla="*/ 3463851 w 3503192"/>
              <a:gd name="connsiteY7604" fmla="*/ 3058001 h 5818346"/>
              <a:gd name="connsiteX7605" fmla="*/ 3453115 w 3503192"/>
              <a:gd name="connsiteY7605" fmla="*/ 3047265 h 5818346"/>
              <a:gd name="connsiteX7606" fmla="*/ 3463851 w 3503192"/>
              <a:gd name="connsiteY7606" fmla="*/ 3036529 h 5818346"/>
              <a:gd name="connsiteX7607" fmla="*/ 2208638 w 3503192"/>
              <a:gd name="connsiteY7607" fmla="*/ 3034050 h 5818346"/>
              <a:gd name="connsiteX7608" fmla="*/ 2219376 w 3503192"/>
              <a:gd name="connsiteY7608" fmla="*/ 3044787 h 5818346"/>
              <a:gd name="connsiteX7609" fmla="*/ 2208638 w 3503192"/>
              <a:gd name="connsiteY7609" fmla="*/ 3055525 h 5818346"/>
              <a:gd name="connsiteX7610" fmla="*/ 2197902 w 3503192"/>
              <a:gd name="connsiteY7610" fmla="*/ 3044787 h 5818346"/>
              <a:gd name="connsiteX7611" fmla="*/ 2208638 w 3503192"/>
              <a:gd name="connsiteY7611" fmla="*/ 3034050 h 5818346"/>
              <a:gd name="connsiteX7612" fmla="*/ 1993242 w 3503192"/>
              <a:gd name="connsiteY7612" fmla="*/ 3028931 h 5818346"/>
              <a:gd name="connsiteX7613" fmla="*/ 2003980 w 3503192"/>
              <a:gd name="connsiteY7613" fmla="*/ 3039667 h 5818346"/>
              <a:gd name="connsiteX7614" fmla="*/ 1993242 w 3503192"/>
              <a:gd name="connsiteY7614" fmla="*/ 3050406 h 5818346"/>
              <a:gd name="connsiteX7615" fmla="*/ 1982505 w 3503192"/>
              <a:gd name="connsiteY7615" fmla="*/ 3039667 h 5818346"/>
              <a:gd name="connsiteX7616" fmla="*/ 1993242 w 3503192"/>
              <a:gd name="connsiteY7616" fmla="*/ 3028931 h 5818346"/>
              <a:gd name="connsiteX7617" fmla="*/ 1794528 w 3503192"/>
              <a:gd name="connsiteY7617" fmla="*/ 3023975 h 5818346"/>
              <a:gd name="connsiteX7618" fmla="*/ 1805266 w 3503192"/>
              <a:gd name="connsiteY7618" fmla="*/ 3034711 h 5818346"/>
              <a:gd name="connsiteX7619" fmla="*/ 1794528 w 3503192"/>
              <a:gd name="connsiteY7619" fmla="*/ 3045449 h 5818346"/>
              <a:gd name="connsiteX7620" fmla="*/ 1783792 w 3503192"/>
              <a:gd name="connsiteY7620" fmla="*/ 3034711 h 5818346"/>
              <a:gd name="connsiteX7621" fmla="*/ 1794528 w 3503192"/>
              <a:gd name="connsiteY7621" fmla="*/ 3023975 h 5818346"/>
              <a:gd name="connsiteX7622" fmla="*/ 1611672 w 3503192"/>
              <a:gd name="connsiteY7622" fmla="*/ 3019185 h 5818346"/>
              <a:gd name="connsiteX7623" fmla="*/ 1622410 w 3503192"/>
              <a:gd name="connsiteY7623" fmla="*/ 3029921 h 5818346"/>
              <a:gd name="connsiteX7624" fmla="*/ 1611672 w 3503192"/>
              <a:gd name="connsiteY7624" fmla="*/ 3040659 h 5818346"/>
              <a:gd name="connsiteX7625" fmla="*/ 1600936 w 3503192"/>
              <a:gd name="connsiteY7625" fmla="*/ 3029921 h 5818346"/>
              <a:gd name="connsiteX7626" fmla="*/ 1611672 w 3503192"/>
              <a:gd name="connsiteY7626" fmla="*/ 3019185 h 5818346"/>
              <a:gd name="connsiteX7627" fmla="*/ 1443683 w 3503192"/>
              <a:gd name="connsiteY7627" fmla="*/ 3014560 h 5818346"/>
              <a:gd name="connsiteX7628" fmla="*/ 1454421 w 3503192"/>
              <a:gd name="connsiteY7628" fmla="*/ 3025296 h 5818346"/>
              <a:gd name="connsiteX7629" fmla="*/ 1443683 w 3503192"/>
              <a:gd name="connsiteY7629" fmla="*/ 3036032 h 5818346"/>
              <a:gd name="connsiteX7630" fmla="*/ 1432946 w 3503192"/>
              <a:gd name="connsiteY7630" fmla="*/ 3025296 h 5818346"/>
              <a:gd name="connsiteX7631" fmla="*/ 1443683 w 3503192"/>
              <a:gd name="connsiteY7631" fmla="*/ 3014560 h 5818346"/>
              <a:gd name="connsiteX7632" fmla="*/ 1289900 w 3503192"/>
              <a:gd name="connsiteY7632" fmla="*/ 3010100 h 5818346"/>
              <a:gd name="connsiteX7633" fmla="*/ 1300637 w 3503192"/>
              <a:gd name="connsiteY7633" fmla="*/ 3020836 h 5818346"/>
              <a:gd name="connsiteX7634" fmla="*/ 1289900 w 3503192"/>
              <a:gd name="connsiteY7634" fmla="*/ 3031574 h 5818346"/>
              <a:gd name="connsiteX7635" fmla="*/ 1279164 w 3503192"/>
              <a:gd name="connsiteY7635" fmla="*/ 3020836 h 5818346"/>
              <a:gd name="connsiteX7636" fmla="*/ 1289900 w 3503192"/>
              <a:gd name="connsiteY7636" fmla="*/ 3010100 h 5818346"/>
              <a:gd name="connsiteX7637" fmla="*/ 1149331 w 3503192"/>
              <a:gd name="connsiteY7637" fmla="*/ 3005805 h 5818346"/>
              <a:gd name="connsiteX7638" fmla="*/ 1160069 w 3503192"/>
              <a:gd name="connsiteY7638" fmla="*/ 3016542 h 5818346"/>
              <a:gd name="connsiteX7639" fmla="*/ 1149331 w 3503192"/>
              <a:gd name="connsiteY7639" fmla="*/ 3027278 h 5818346"/>
              <a:gd name="connsiteX7640" fmla="*/ 1138594 w 3503192"/>
              <a:gd name="connsiteY7640" fmla="*/ 3016542 h 5818346"/>
              <a:gd name="connsiteX7641" fmla="*/ 1149331 w 3503192"/>
              <a:gd name="connsiteY7641" fmla="*/ 3005805 h 5818346"/>
              <a:gd name="connsiteX7642" fmla="*/ 13709 w 3503192"/>
              <a:gd name="connsiteY7642" fmla="*/ 3004814 h 5818346"/>
              <a:gd name="connsiteX7643" fmla="*/ 18252 w 3503192"/>
              <a:gd name="connsiteY7643" fmla="*/ 3009357 h 5818346"/>
              <a:gd name="connsiteX7644" fmla="*/ 20151 w 3503192"/>
              <a:gd name="connsiteY7644" fmla="*/ 3007457 h 5818346"/>
              <a:gd name="connsiteX7645" fmla="*/ 24528 w 3503192"/>
              <a:gd name="connsiteY7645" fmla="*/ 3011834 h 5818346"/>
              <a:gd name="connsiteX7646" fmla="*/ 26098 w 3503192"/>
              <a:gd name="connsiteY7646" fmla="*/ 3010264 h 5818346"/>
              <a:gd name="connsiteX7647" fmla="*/ 30062 w 3503192"/>
              <a:gd name="connsiteY7647" fmla="*/ 3014228 h 5818346"/>
              <a:gd name="connsiteX7648" fmla="*/ 31219 w 3503192"/>
              <a:gd name="connsiteY7648" fmla="*/ 3013072 h 5818346"/>
              <a:gd name="connsiteX7649" fmla="*/ 35183 w 3503192"/>
              <a:gd name="connsiteY7649" fmla="*/ 3017036 h 5818346"/>
              <a:gd name="connsiteX7650" fmla="*/ 36009 w 3503192"/>
              <a:gd name="connsiteY7650" fmla="*/ 3016211 h 5818346"/>
              <a:gd name="connsiteX7651" fmla="*/ 39973 w 3503192"/>
              <a:gd name="connsiteY7651" fmla="*/ 3020175 h 5818346"/>
              <a:gd name="connsiteX7652" fmla="*/ 40634 w 3503192"/>
              <a:gd name="connsiteY7652" fmla="*/ 3019514 h 5818346"/>
              <a:gd name="connsiteX7653" fmla="*/ 44598 w 3503192"/>
              <a:gd name="connsiteY7653" fmla="*/ 3023479 h 5818346"/>
              <a:gd name="connsiteX7654" fmla="*/ 45092 w 3503192"/>
              <a:gd name="connsiteY7654" fmla="*/ 3022985 h 5818346"/>
              <a:gd name="connsiteX7655" fmla="*/ 49303 w 3503192"/>
              <a:gd name="connsiteY7655" fmla="*/ 3027197 h 5818346"/>
              <a:gd name="connsiteX7656" fmla="*/ 49717 w 3503192"/>
              <a:gd name="connsiteY7656" fmla="*/ 3026782 h 5818346"/>
              <a:gd name="connsiteX7657" fmla="*/ 54096 w 3503192"/>
              <a:gd name="connsiteY7657" fmla="*/ 3031161 h 5818346"/>
              <a:gd name="connsiteX7658" fmla="*/ 54674 w 3503192"/>
              <a:gd name="connsiteY7658" fmla="*/ 3030582 h 5818346"/>
              <a:gd name="connsiteX7659" fmla="*/ 59547 w 3503192"/>
              <a:gd name="connsiteY7659" fmla="*/ 3035455 h 5818346"/>
              <a:gd name="connsiteX7660" fmla="*/ 60291 w 3503192"/>
              <a:gd name="connsiteY7660" fmla="*/ 3034711 h 5818346"/>
              <a:gd name="connsiteX7661" fmla="*/ 65825 w 3503192"/>
              <a:gd name="connsiteY7661" fmla="*/ 3040245 h 5818346"/>
              <a:gd name="connsiteX7662" fmla="*/ 66898 w 3503192"/>
              <a:gd name="connsiteY7662" fmla="*/ 3039171 h 5818346"/>
              <a:gd name="connsiteX7663" fmla="*/ 73009 w 3503192"/>
              <a:gd name="connsiteY7663" fmla="*/ 3045283 h 5818346"/>
              <a:gd name="connsiteX7664" fmla="*/ 74495 w 3503192"/>
              <a:gd name="connsiteY7664" fmla="*/ 3043797 h 5818346"/>
              <a:gd name="connsiteX7665" fmla="*/ 81515 w 3503192"/>
              <a:gd name="connsiteY7665" fmla="*/ 3050817 h 5818346"/>
              <a:gd name="connsiteX7666" fmla="*/ 83746 w 3503192"/>
              <a:gd name="connsiteY7666" fmla="*/ 3048586 h 5818346"/>
              <a:gd name="connsiteX7667" fmla="*/ 91839 w 3503192"/>
              <a:gd name="connsiteY7667" fmla="*/ 3056682 h 5818346"/>
              <a:gd name="connsiteX7668" fmla="*/ 94813 w 3503192"/>
              <a:gd name="connsiteY7668" fmla="*/ 3053707 h 5818346"/>
              <a:gd name="connsiteX7669" fmla="*/ 104063 w 3503192"/>
              <a:gd name="connsiteY7669" fmla="*/ 3062958 h 5818346"/>
              <a:gd name="connsiteX7670" fmla="*/ 108028 w 3503192"/>
              <a:gd name="connsiteY7670" fmla="*/ 3058993 h 5818346"/>
              <a:gd name="connsiteX7671" fmla="*/ 118599 w 3503192"/>
              <a:gd name="connsiteY7671" fmla="*/ 3069565 h 5818346"/>
              <a:gd name="connsiteX7672" fmla="*/ 123554 w 3503192"/>
              <a:gd name="connsiteY7672" fmla="*/ 3064610 h 5818346"/>
              <a:gd name="connsiteX7673" fmla="*/ 134292 w 3503192"/>
              <a:gd name="connsiteY7673" fmla="*/ 3075346 h 5818346"/>
              <a:gd name="connsiteX7674" fmla="*/ 123554 w 3503192"/>
              <a:gd name="connsiteY7674" fmla="*/ 3086084 h 5818346"/>
              <a:gd name="connsiteX7675" fmla="*/ 112982 w 3503192"/>
              <a:gd name="connsiteY7675" fmla="*/ 3075513 h 5818346"/>
              <a:gd name="connsiteX7676" fmla="*/ 108028 w 3503192"/>
              <a:gd name="connsiteY7676" fmla="*/ 3080467 h 5818346"/>
              <a:gd name="connsiteX7677" fmla="*/ 98778 w 3503192"/>
              <a:gd name="connsiteY7677" fmla="*/ 3071218 h 5818346"/>
              <a:gd name="connsiteX7678" fmla="*/ 94813 w 3503192"/>
              <a:gd name="connsiteY7678" fmla="*/ 3075182 h 5818346"/>
              <a:gd name="connsiteX7679" fmla="*/ 86720 w 3503192"/>
              <a:gd name="connsiteY7679" fmla="*/ 3067086 h 5818346"/>
              <a:gd name="connsiteX7680" fmla="*/ 83746 w 3503192"/>
              <a:gd name="connsiteY7680" fmla="*/ 3070061 h 5818346"/>
              <a:gd name="connsiteX7681" fmla="*/ 76726 w 3503192"/>
              <a:gd name="connsiteY7681" fmla="*/ 3063041 h 5818346"/>
              <a:gd name="connsiteX7682" fmla="*/ 74495 w 3503192"/>
              <a:gd name="connsiteY7682" fmla="*/ 3065271 h 5818346"/>
              <a:gd name="connsiteX7683" fmla="*/ 68384 w 3503192"/>
              <a:gd name="connsiteY7683" fmla="*/ 3059160 h 5818346"/>
              <a:gd name="connsiteX7684" fmla="*/ 66898 w 3503192"/>
              <a:gd name="connsiteY7684" fmla="*/ 3060646 h 5818346"/>
              <a:gd name="connsiteX7685" fmla="*/ 61364 w 3503192"/>
              <a:gd name="connsiteY7685" fmla="*/ 3055112 h 5818346"/>
              <a:gd name="connsiteX7686" fmla="*/ 60291 w 3503192"/>
              <a:gd name="connsiteY7686" fmla="*/ 3056184 h 5818346"/>
              <a:gd name="connsiteX7687" fmla="*/ 55418 w 3503192"/>
              <a:gd name="connsiteY7687" fmla="*/ 3051311 h 5818346"/>
              <a:gd name="connsiteX7688" fmla="*/ 54674 w 3503192"/>
              <a:gd name="connsiteY7688" fmla="*/ 3052055 h 5818346"/>
              <a:gd name="connsiteX7689" fmla="*/ 50297 w 3503192"/>
              <a:gd name="connsiteY7689" fmla="*/ 3047677 h 5818346"/>
              <a:gd name="connsiteX7690" fmla="*/ 49717 w 3503192"/>
              <a:gd name="connsiteY7690" fmla="*/ 3048257 h 5818346"/>
              <a:gd name="connsiteX7691" fmla="*/ 45505 w 3503192"/>
              <a:gd name="connsiteY7691" fmla="*/ 3044046 h 5818346"/>
              <a:gd name="connsiteX7692" fmla="*/ 45092 w 3503192"/>
              <a:gd name="connsiteY7692" fmla="*/ 3044459 h 5818346"/>
              <a:gd name="connsiteX7693" fmla="*/ 41128 w 3503192"/>
              <a:gd name="connsiteY7693" fmla="*/ 3040495 h 5818346"/>
              <a:gd name="connsiteX7694" fmla="*/ 40634 w 3503192"/>
              <a:gd name="connsiteY7694" fmla="*/ 3040989 h 5818346"/>
              <a:gd name="connsiteX7695" fmla="*/ 36669 w 3503192"/>
              <a:gd name="connsiteY7695" fmla="*/ 3037025 h 5818346"/>
              <a:gd name="connsiteX7696" fmla="*/ 36009 w 3503192"/>
              <a:gd name="connsiteY7696" fmla="*/ 3037685 h 5818346"/>
              <a:gd name="connsiteX7697" fmla="*/ 32044 w 3503192"/>
              <a:gd name="connsiteY7697" fmla="*/ 3033721 h 5818346"/>
              <a:gd name="connsiteX7698" fmla="*/ 31219 w 3503192"/>
              <a:gd name="connsiteY7698" fmla="*/ 3034546 h 5818346"/>
              <a:gd name="connsiteX7699" fmla="*/ 27254 w 3503192"/>
              <a:gd name="connsiteY7699" fmla="*/ 3030582 h 5818346"/>
              <a:gd name="connsiteX7700" fmla="*/ 26098 w 3503192"/>
              <a:gd name="connsiteY7700" fmla="*/ 3031739 h 5818346"/>
              <a:gd name="connsiteX7701" fmla="*/ 21721 w 3503192"/>
              <a:gd name="connsiteY7701" fmla="*/ 3027362 h 5818346"/>
              <a:gd name="connsiteX7702" fmla="*/ 20151 w 3503192"/>
              <a:gd name="connsiteY7702" fmla="*/ 3028931 h 5818346"/>
              <a:gd name="connsiteX7703" fmla="*/ 15609 w 3503192"/>
              <a:gd name="connsiteY7703" fmla="*/ 3024389 h 5818346"/>
              <a:gd name="connsiteX7704" fmla="*/ 13709 w 3503192"/>
              <a:gd name="connsiteY7704" fmla="*/ 3026288 h 5818346"/>
              <a:gd name="connsiteX7705" fmla="*/ 2972 w 3503192"/>
              <a:gd name="connsiteY7705" fmla="*/ 3015550 h 5818346"/>
              <a:gd name="connsiteX7706" fmla="*/ 4294 w 3503192"/>
              <a:gd name="connsiteY7706" fmla="*/ 3014228 h 5818346"/>
              <a:gd name="connsiteX7707" fmla="*/ 3137 w 3503192"/>
              <a:gd name="connsiteY7707" fmla="*/ 3013072 h 5818346"/>
              <a:gd name="connsiteX7708" fmla="*/ 6111 w 3503192"/>
              <a:gd name="connsiteY7708" fmla="*/ 3010100 h 5818346"/>
              <a:gd name="connsiteX7709" fmla="*/ 7266 w 3503192"/>
              <a:gd name="connsiteY7709" fmla="*/ 3011256 h 5818346"/>
              <a:gd name="connsiteX7710" fmla="*/ 1021150 w 3503192"/>
              <a:gd name="connsiteY7710" fmla="*/ 3001675 h 5818346"/>
              <a:gd name="connsiteX7711" fmla="*/ 1031888 w 3503192"/>
              <a:gd name="connsiteY7711" fmla="*/ 3012411 h 5818346"/>
              <a:gd name="connsiteX7712" fmla="*/ 1021150 w 3503192"/>
              <a:gd name="connsiteY7712" fmla="*/ 3023148 h 5818346"/>
              <a:gd name="connsiteX7713" fmla="*/ 1010414 w 3503192"/>
              <a:gd name="connsiteY7713" fmla="*/ 3012411 h 5818346"/>
              <a:gd name="connsiteX7714" fmla="*/ 1021150 w 3503192"/>
              <a:gd name="connsiteY7714" fmla="*/ 3001675 h 5818346"/>
              <a:gd name="connsiteX7715" fmla="*/ 904862 w 3503192"/>
              <a:gd name="connsiteY7715" fmla="*/ 2997711 h 5818346"/>
              <a:gd name="connsiteX7716" fmla="*/ 915599 w 3503192"/>
              <a:gd name="connsiteY7716" fmla="*/ 3008447 h 5818346"/>
              <a:gd name="connsiteX7717" fmla="*/ 904862 w 3503192"/>
              <a:gd name="connsiteY7717" fmla="*/ 3019185 h 5818346"/>
              <a:gd name="connsiteX7718" fmla="*/ 894126 w 3503192"/>
              <a:gd name="connsiteY7718" fmla="*/ 3008447 h 5818346"/>
              <a:gd name="connsiteX7719" fmla="*/ 904862 w 3503192"/>
              <a:gd name="connsiteY7719" fmla="*/ 2997711 h 5818346"/>
              <a:gd name="connsiteX7720" fmla="*/ 799311 w 3503192"/>
              <a:gd name="connsiteY7720" fmla="*/ 2993913 h 5818346"/>
              <a:gd name="connsiteX7721" fmla="*/ 810047 w 3503192"/>
              <a:gd name="connsiteY7721" fmla="*/ 3004649 h 5818346"/>
              <a:gd name="connsiteX7722" fmla="*/ 799311 w 3503192"/>
              <a:gd name="connsiteY7722" fmla="*/ 3015385 h 5818346"/>
              <a:gd name="connsiteX7723" fmla="*/ 788575 w 3503192"/>
              <a:gd name="connsiteY7723" fmla="*/ 3004649 h 5818346"/>
              <a:gd name="connsiteX7724" fmla="*/ 799311 w 3503192"/>
              <a:gd name="connsiteY7724" fmla="*/ 2993913 h 5818346"/>
              <a:gd name="connsiteX7725" fmla="*/ 704002 w 3503192"/>
              <a:gd name="connsiteY7725" fmla="*/ 2990113 h 5818346"/>
              <a:gd name="connsiteX7726" fmla="*/ 714738 w 3503192"/>
              <a:gd name="connsiteY7726" fmla="*/ 3000849 h 5818346"/>
              <a:gd name="connsiteX7727" fmla="*/ 704002 w 3503192"/>
              <a:gd name="connsiteY7727" fmla="*/ 3011588 h 5818346"/>
              <a:gd name="connsiteX7728" fmla="*/ 693266 w 3503192"/>
              <a:gd name="connsiteY7728" fmla="*/ 3000849 h 5818346"/>
              <a:gd name="connsiteX7729" fmla="*/ 704002 w 3503192"/>
              <a:gd name="connsiteY7729" fmla="*/ 2990113 h 5818346"/>
              <a:gd name="connsiteX7730" fmla="*/ 618272 w 3503192"/>
              <a:gd name="connsiteY7730" fmla="*/ 2986645 h 5818346"/>
              <a:gd name="connsiteX7731" fmla="*/ 629010 w 3503192"/>
              <a:gd name="connsiteY7731" fmla="*/ 2997381 h 5818346"/>
              <a:gd name="connsiteX7732" fmla="*/ 618272 w 3503192"/>
              <a:gd name="connsiteY7732" fmla="*/ 3008119 h 5818346"/>
              <a:gd name="connsiteX7733" fmla="*/ 607536 w 3503192"/>
              <a:gd name="connsiteY7733" fmla="*/ 2997381 h 5818346"/>
              <a:gd name="connsiteX7734" fmla="*/ 618272 w 3503192"/>
              <a:gd name="connsiteY7734" fmla="*/ 2986645 h 5818346"/>
              <a:gd name="connsiteX7735" fmla="*/ 541297 w 3503192"/>
              <a:gd name="connsiteY7735" fmla="*/ 2983174 h 5818346"/>
              <a:gd name="connsiteX7736" fmla="*/ 552033 w 3503192"/>
              <a:gd name="connsiteY7736" fmla="*/ 2993911 h 5818346"/>
              <a:gd name="connsiteX7737" fmla="*/ 541297 w 3503192"/>
              <a:gd name="connsiteY7737" fmla="*/ 3004649 h 5818346"/>
              <a:gd name="connsiteX7738" fmla="*/ 530561 w 3503192"/>
              <a:gd name="connsiteY7738" fmla="*/ 2993911 h 5818346"/>
              <a:gd name="connsiteX7739" fmla="*/ 541297 w 3503192"/>
              <a:gd name="connsiteY7739" fmla="*/ 2983174 h 5818346"/>
              <a:gd name="connsiteX7740" fmla="*/ 472582 w 3503192"/>
              <a:gd name="connsiteY7740" fmla="*/ 2979871 h 5818346"/>
              <a:gd name="connsiteX7741" fmla="*/ 483320 w 3503192"/>
              <a:gd name="connsiteY7741" fmla="*/ 2990607 h 5818346"/>
              <a:gd name="connsiteX7742" fmla="*/ 472582 w 3503192"/>
              <a:gd name="connsiteY7742" fmla="*/ 3001345 h 5818346"/>
              <a:gd name="connsiteX7743" fmla="*/ 461845 w 3503192"/>
              <a:gd name="connsiteY7743" fmla="*/ 2990607 h 5818346"/>
              <a:gd name="connsiteX7744" fmla="*/ 472582 w 3503192"/>
              <a:gd name="connsiteY7744" fmla="*/ 2979871 h 5818346"/>
              <a:gd name="connsiteX7745" fmla="*/ 411465 w 3503192"/>
              <a:gd name="connsiteY7745" fmla="*/ 2976899 h 5818346"/>
              <a:gd name="connsiteX7746" fmla="*/ 422202 w 3503192"/>
              <a:gd name="connsiteY7746" fmla="*/ 2987635 h 5818346"/>
              <a:gd name="connsiteX7747" fmla="*/ 411465 w 3503192"/>
              <a:gd name="connsiteY7747" fmla="*/ 2998371 h 5818346"/>
              <a:gd name="connsiteX7748" fmla="*/ 400729 w 3503192"/>
              <a:gd name="connsiteY7748" fmla="*/ 2987635 h 5818346"/>
              <a:gd name="connsiteX7749" fmla="*/ 411465 w 3503192"/>
              <a:gd name="connsiteY7749" fmla="*/ 2976899 h 5818346"/>
              <a:gd name="connsiteX7750" fmla="*/ 357286 w 3503192"/>
              <a:gd name="connsiteY7750" fmla="*/ 2973760 h 5818346"/>
              <a:gd name="connsiteX7751" fmla="*/ 368024 w 3503192"/>
              <a:gd name="connsiteY7751" fmla="*/ 2984496 h 5818346"/>
              <a:gd name="connsiteX7752" fmla="*/ 357286 w 3503192"/>
              <a:gd name="connsiteY7752" fmla="*/ 2995234 h 5818346"/>
              <a:gd name="connsiteX7753" fmla="*/ 346550 w 3503192"/>
              <a:gd name="connsiteY7753" fmla="*/ 2984496 h 5818346"/>
              <a:gd name="connsiteX7754" fmla="*/ 357286 w 3503192"/>
              <a:gd name="connsiteY7754" fmla="*/ 2973760 h 5818346"/>
              <a:gd name="connsiteX7755" fmla="*/ 309382 w 3503192"/>
              <a:gd name="connsiteY7755" fmla="*/ 2970952 h 5818346"/>
              <a:gd name="connsiteX7756" fmla="*/ 320119 w 3503192"/>
              <a:gd name="connsiteY7756" fmla="*/ 2981688 h 5818346"/>
              <a:gd name="connsiteX7757" fmla="*/ 309382 w 3503192"/>
              <a:gd name="connsiteY7757" fmla="*/ 2992424 h 5818346"/>
              <a:gd name="connsiteX7758" fmla="*/ 298646 w 3503192"/>
              <a:gd name="connsiteY7758" fmla="*/ 2981688 h 5818346"/>
              <a:gd name="connsiteX7759" fmla="*/ 309382 w 3503192"/>
              <a:gd name="connsiteY7759" fmla="*/ 2970952 h 5818346"/>
              <a:gd name="connsiteX7760" fmla="*/ 267592 w 3503192"/>
              <a:gd name="connsiteY7760" fmla="*/ 2968143 h 5818346"/>
              <a:gd name="connsiteX7761" fmla="*/ 278330 w 3503192"/>
              <a:gd name="connsiteY7761" fmla="*/ 2978879 h 5818346"/>
              <a:gd name="connsiteX7762" fmla="*/ 267592 w 3503192"/>
              <a:gd name="connsiteY7762" fmla="*/ 2989617 h 5818346"/>
              <a:gd name="connsiteX7763" fmla="*/ 256856 w 3503192"/>
              <a:gd name="connsiteY7763" fmla="*/ 2978879 h 5818346"/>
              <a:gd name="connsiteX7764" fmla="*/ 267592 w 3503192"/>
              <a:gd name="connsiteY7764" fmla="*/ 2968143 h 5818346"/>
              <a:gd name="connsiteX7765" fmla="*/ 230923 w 3503192"/>
              <a:gd name="connsiteY7765" fmla="*/ 2965501 h 5818346"/>
              <a:gd name="connsiteX7766" fmla="*/ 241661 w 3503192"/>
              <a:gd name="connsiteY7766" fmla="*/ 2976238 h 5818346"/>
              <a:gd name="connsiteX7767" fmla="*/ 230923 w 3503192"/>
              <a:gd name="connsiteY7767" fmla="*/ 2986976 h 5818346"/>
              <a:gd name="connsiteX7768" fmla="*/ 220186 w 3503192"/>
              <a:gd name="connsiteY7768" fmla="*/ 2976238 h 5818346"/>
              <a:gd name="connsiteX7769" fmla="*/ 230923 w 3503192"/>
              <a:gd name="connsiteY7769" fmla="*/ 2965501 h 5818346"/>
              <a:gd name="connsiteX7770" fmla="*/ 199208 w 3503192"/>
              <a:gd name="connsiteY7770" fmla="*/ 2963023 h 5818346"/>
              <a:gd name="connsiteX7771" fmla="*/ 209946 w 3503192"/>
              <a:gd name="connsiteY7771" fmla="*/ 2973760 h 5818346"/>
              <a:gd name="connsiteX7772" fmla="*/ 199208 w 3503192"/>
              <a:gd name="connsiteY7772" fmla="*/ 2984498 h 5818346"/>
              <a:gd name="connsiteX7773" fmla="*/ 188471 w 3503192"/>
              <a:gd name="connsiteY7773" fmla="*/ 2973760 h 5818346"/>
              <a:gd name="connsiteX7774" fmla="*/ 199208 w 3503192"/>
              <a:gd name="connsiteY7774" fmla="*/ 2963023 h 5818346"/>
              <a:gd name="connsiteX7775" fmla="*/ 171953 w 3503192"/>
              <a:gd name="connsiteY7775" fmla="*/ 2960710 h 5818346"/>
              <a:gd name="connsiteX7776" fmla="*/ 182691 w 3503192"/>
              <a:gd name="connsiteY7776" fmla="*/ 2971446 h 5818346"/>
              <a:gd name="connsiteX7777" fmla="*/ 171953 w 3503192"/>
              <a:gd name="connsiteY7777" fmla="*/ 2982184 h 5818346"/>
              <a:gd name="connsiteX7778" fmla="*/ 161217 w 3503192"/>
              <a:gd name="connsiteY7778" fmla="*/ 2971446 h 5818346"/>
              <a:gd name="connsiteX7779" fmla="*/ 171953 w 3503192"/>
              <a:gd name="connsiteY7779" fmla="*/ 2960710 h 5818346"/>
              <a:gd name="connsiteX7780" fmla="*/ 148497 w 3503192"/>
              <a:gd name="connsiteY7780" fmla="*/ 2958398 h 5818346"/>
              <a:gd name="connsiteX7781" fmla="*/ 159235 w 3503192"/>
              <a:gd name="connsiteY7781" fmla="*/ 2969134 h 5818346"/>
              <a:gd name="connsiteX7782" fmla="*/ 148497 w 3503192"/>
              <a:gd name="connsiteY7782" fmla="*/ 2979873 h 5818346"/>
              <a:gd name="connsiteX7783" fmla="*/ 137760 w 3503192"/>
              <a:gd name="connsiteY7783" fmla="*/ 2969134 h 5818346"/>
              <a:gd name="connsiteX7784" fmla="*/ 148497 w 3503192"/>
              <a:gd name="connsiteY7784" fmla="*/ 2958398 h 5818346"/>
              <a:gd name="connsiteX7785" fmla="*/ 15195 w 3503192"/>
              <a:gd name="connsiteY7785" fmla="*/ 2933787 h 5818346"/>
              <a:gd name="connsiteX7786" fmla="*/ 18745 w 3503192"/>
              <a:gd name="connsiteY7786" fmla="*/ 2937338 h 5818346"/>
              <a:gd name="connsiteX7787" fmla="*/ 21306 w 3503192"/>
              <a:gd name="connsiteY7787" fmla="*/ 2934777 h 5818346"/>
              <a:gd name="connsiteX7788" fmla="*/ 24610 w 3503192"/>
              <a:gd name="connsiteY7788" fmla="*/ 2938082 h 5818346"/>
              <a:gd name="connsiteX7789" fmla="*/ 26759 w 3503192"/>
              <a:gd name="connsiteY7789" fmla="*/ 2935933 h 5818346"/>
              <a:gd name="connsiteX7790" fmla="*/ 29648 w 3503192"/>
              <a:gd name="connsiteY7790" fmla="*/ 2938825 h 5818346"/>
              <a:gd name="connsiteX7791" fmla="*/ 31548 w 3503192"/>
              <a:gd name="connsiteY7791" fmla="*/ 2936924 h 5818346"/>
              <a:gd name="connsiteX7792" fmla="*/ 34356 w 3503192"/>
              <a:gd name="connsiteY7792" fmla="*/ 2939733 h 5818346"/>
              <a:gd name="connsiteX7793" fmla="*/ 36009 w 3503192"/>
              <a:gd name="connsiteY7793" fmla="*/ 2938080 h 5818346"/>
              <a:gd name="connsiteX7794" fmla="*/ 38898 w 3503192"/>
              <a:gd name="connsiteY7794" fmla="*/ 2940971 h 5818346"/>
              <a:gd name="connsiteX7795" fmla="*/ 40467 w 3503192"/>
              <a:gd name="connsiteY7795" fmla="*/ 2939402 h 5818346"/>
              <a:gd name="connsiteX7796" fmla="*/ 43275 w 3503192"/>
              <a:gd name="connsiteY7796" fmla="*/ 2942211 h 5818346"/>
              <a:gd name="connsiteX7797" fmla="*/ 44763 w 3503192"/>
              <a:gd name="connsiteY7797" fmla="*/ 2940723 h 5818346"/>
              <a:gd name="connsiteX7798" fmla="*/ 47735 w 3503192"/>
              <a:gd name="connsiteY7798" fmla="*/ 2943697 h 5818346"/>
              <a:gd name="connsiteX7799" fmla="*/ 49388 w 3503192"/>
              <a:gd name="connsiteY7799" fmla="*/ 2942045 h 5818346"/>
              <a:gd name="connsiteX7800" fmla="*/ 52692 w 3503192"/>
              <a:gd name="connsiteY7800" fmla="*/ 2945349 h 5818346"/>
              <a:gd name="connsiteX7801" fmla="*/ 54509 w 3503192"/>
              <a:gd name="connsiteY7801" fmla="*/ 2943531 h 5818346"/>
              <a:gd name="connsiteX7802" fmla="*/ 58225 w 3503192"/>
              <a:gd name="connsiteY7802" fmla="*/ 2947247 h 5818346"/>
              <a:gd name="connsiteX7803" fmla="*/ 60455 w 3503192"/>
              <a:gd name="connsiteY7803" fmla="*/ 2945017 h 5818346"/>
              <a:gd name="connsiteX7804" fmla="*/ 64751 w 3503192"/>
              <a:gd name="connsiteY7804" fmla="*/ 2949313 h 5818346"/>
              <a:gd name="connsiteX7805" fmla="*/ 67392 w 3503192"/>
              <a:gd name="connsiteY7805" fmla="*/ 2946670 h 5818346"/>
              <a:gd name="connsiteX7806" fmla="*/ 72349 w 3503192"/>
              <a:gd name="connsiteY7806" fmla="*/ 2951626 h 5818346"/>
              <a:gd name="connsiteX7807" fmla="*/ 75652 w 3503192"/>
              <a:gd name="connsiteY7807" fmla="*/ 2948321 h 5818346"/>
              <a:gd name="connsiteX7808" fmla="*/ 81517 w 3503192"/>
              <a:gd name="connsiteY7808" fmla="*/ 2954184 h 5818346"/>
              <a:gd name="connsiteX7809" fmla="*/ 85563 w 3503192"/>
              <a:gd name="connsiteY7809" fmla="*/ 2950138 h 5818346"/>
              <a:gd name="connsiteX7810" fmla="*/ 92500 w 3503192"/>
              <a:gd name="connsiteY7810" fmla="*/ 2957077 h 5818346"/>
              <a:gd name="connsiteX7811" fmla="*/ 97456 w 3503192"/>
              <a:gd name="connsiteY7811" fmla="*/ 2952120 h 5818346"/>
              <a:gd name="connsiteX7812" fmla="*/ 105550 w 3503192"/>
              <a:gd name="connsiteY7812" fmla="*/ 2960214 h 5818346"/>
              <a:gd name="connsiteX7813" fmla="*/ 111661 w 3503192"/>
              <a:gd name="connsiteY7813" fmla="*/ 2954103 h 5818346"/>
              <a:gd name="connsiteX7814" fmla="*/ 121076 w 3503192"/>
              <a:gd name="connsiteY7814" fmla="*/ 2963519 h 5818346"/>
              <a:gd name="connsiteX7815" fmla="*/ 128510 w 3503192"/>
              <a:gd name="connsiteY7815" fmla="*/ 2956085 h 5818346"/>
              <a:gd name="connsiteX7816" fmla="*/ 139248 w 3503192"/>
              <a:gd name="connsiteY7816" fmla="*/ 2966821 h 5818346"/>
              <a:gd name="connsiteX7817" fmla="*/ 128510 w 3503192"/>
              <a:gd name="connsiteY7817" fmla="*/ 2977559 h 5818346"/>
              <a:gd name="connsiteX7818" fmla="*/ 119094 w 3503192"/>
              <a:gd name="connsiteY7818" fmla="*/ 2968143 h 5818346"/>
              <a:gd name="connsiteX7819" fmla="*/ 111661 w 3503192"/>
              <a:gd name="connsiteY7819" fmla="*/ 2975577 h 5818346"/>
              <a:gd name="connsiteX7820" fmla="*/ 103567 w 3503192"/>
              <a:gd name="connsiteY7820" fmla="*/ 2967484 h 5818346"/>
              <a:gd name="connsiteX7821" fmla="*/ 97456 w 3503192"/>
              <a:gd name="connsiteY7821" fmla="*/ 2973593 h 5818346"/>
              <a:gd name="connsiteX7822" fmla="*/ 90519 w 3503192"/>
              <a:gd name="connsiteY7822" fmla="*/ 2966656 h 5818346"/>
              <a:gd name="connsiteX7823" fmla="*/ 85563 w 3503192"/>
              <a:gd name="connsiteY7823" fmla="*/ 2971613 h 5818346"/>
              <a:gd name="connsiteX7824" fmla="*/ 79700 w 3503192"/>
              <a:gd name="connsiteY7824" fmla="*/ 2965748 h 5818346"/>
              <a:gd name="connsiteX7825" fmla="*/ 75652 w 3503192"/>
              <a:gd name="connsiteY7825" fmla="*/ 2969795 h 5818346"/>
              <a:gd name="connsiteX7826" fmla="*/ 70696 w 3503192"/>
              <a:gd name="connsiteY7826" fmla="*/ 2964839 h 5818346"/>
              <a:gd name="connsiteX7827" fmla="*/ 67392 w 3503192"/>
              <a:gd name="connsiteY7827" fmla="*/ 2968143 h 5818346"/>
              <a:gd name="connsiteX7828" fmla="*/ 63098 w 3503192"/>
              <a:gd name="connsiteY7828" fmla="*/ 2963849 h 5818346"/>
              <a:gd name="connsiteX7829" fmla="*/ 60455 w 3503192"/>
              <a:gd name="connsiteY7829" fmla="*/ 2966491 h 5818346"/>
              <a:gd name="connsiteX7830" fmla="*/ 56739 w 3503192"/>
              <a:gd name="connsiteY7830" fmla="*/ 2962775 h 5818346"/>
              <a:gd name="connsiteX7831" fmla="*/ 54509 w 3503192"/>
              <a:gd name="connsiteY7831" fmla="*/ 2965006 h 5818346"/>
              <a:gd name="connsiteX7832" fmla="*/ 51205 w 3503192"/>
              <a:gd name="connsiteY7832" fmla="*/ 2961702 h 5818346"/>
              <a:gd name="connsiteX7833" fmla="*/ 49388 w 3503192"/>
              <a:gd name="connsiteY7833" fmla="*/ 2963517 h 5818346"/>
              <a:gd name="connsiteX7834" fmla="*/ 46416 w 3503192"/>
              <a:gd name="connsiteY7834" fmla="*/ 2960545 h 5818346"/>
              <a:gd name="connsiteX7835" fmla="*/ 44763 w 3503192"/>
              <a:gd name="connsiteY7835" fmla="*/ 2962198 h 5818346"/>
              <a:gd name="connsiteX7836" fmla="*/ 41953 w 3503192"/>
              <a:gd name="connsiteY7836" fmla="*/ 2959390 h 5818346"/>
              <a:gd name="connsiteX7837" fmla="*/ 40467 w 3503192"/>
              <a:gd name="connsiteY7837" fmla="*/ 2960876 h 5818346"/>
              <a:gd name="connsiteX7838" fmla="*/ 37576 w 3503192"/>
              <a:gd name="connsiteY7838" fmla="*/ 2957987 h 5818346"/>
              <a:gd name="connsiteX7839" fmla="*/ 36009 w 3503192"/>
              <a:gd name="connsiteY7839" fmla="*/ 2959555 h 5818346"/>
              <a:gd name="connsiteX7840" fmla="*/ 33199 w 3503192"/>
              <a:gd name="connsiteY7840" fmla="*/ 2956747 h 5818346"/>
              <a:gd name="connsiteX7841" fmla="*/ 31548 w 3503192"/>
              <a:gd name="connsiteY7841" fmla="*/ 2958398 h 5818346"/>
              <a:gd name="connsiteX7842" fmla="*/ 28657 w 3503192"/>
              <a:gd name="connsiteY7842" fmla="*/ 2955509 h 5818346"/>
              <a:gd name="connsiteX7843" fmla="*/ 26759 w 3503192"/>
              <a:gd name="connsiteY7843" fmla="*/ 2957408 h 5818346"/>
              <a:gd name="connsiteX7844" fmla="*/ 23453 w 3503192"/>
              <a:gd name="connsiteY7844" fmla="*/ 2954104 h 5818346"/>
              <a:gd name="connsiteX7845" fmla="*/ 21306 w 3503192"/>
              <a:gd name="connsiteY7845" fmla="*/ 2956251 h 5818346"/>
              <a:gd name="connsiteX7846" fmla="*/ 17755 w 3503192"/>
              <a:gd name="connsiteY7846" fmla="*/ 2952699 h 5818346"/>
              <a:gd name="connsiteX7847" fmla="*/ 15195 w 3503192"/>
              <a:gd name="connsiteY7847" fmla="*/ 2955259 h 5818346"/>
              <a:gd name="connsiteX7848" fmla="*/ 10157 w 3503192"/>
              <a:gd name="connsiteY7848" fmla="*/ 2950223 h 5818346"/>
              <a:gd name="connsiteX7849" fmla="*/ 8425 w 3503192"/>
              <a:gd name="connsiteY7849" fmla="*/ 2951956 h 5818346"/>
              <a:gd name="connsiteX7850" fmla="*/ 0 w 3503192"/>
              <a:gd name="connsiteY7850" fmla="*/ 2943531 h 5818346"/>
              <a:gd name="connsiteX7851" fmla="*/ 8425 w 3503192"/>
              <a:gd name="connsiteY7851" fmla="*/ 2935106 h 5818346"/>
              <a:gd name="connsiteX7852" fmla="*/ 11149 w 3503192"/>
              <a:gd name="connsiteY7852" fmla="*/ 2937833 h 5818346"/>
              <a:gd name="connsiteX7853" fmla="*/ 137760 w 3503192"/>
              <a:gd name="connsiteY7853" fmla="*/ 2843761 h 5818346"/>
              <a:gd name="connsiteX7854" fmla="*/ 148497 w 3503192"/>
              <a:gd name="connsiteY7854" fmla="*/ 2854498 h 5818346"/>
              <a:gd name="connsiteX7855" fmla="*/ 137760 w 3503192"/>
              <a:gd name="connsiteY7855" fmla="*/ 2865236 h 5818346"/>
              <a:gd name="connsiteX7856" fmla="*/ 129337 w 3503192"/>
              <a:gd name="connsiteY7856" fmla="*/ 2856811 h 5818346"/>
              <a:gd name="connsiteX7857" fmla="*/ 119425 w 3503192"/>
              <a:gd name="connsiteY7857" fmla="*/ 2866722 h 5818346"/>
              <a:gd name="connsiteX7858" fmla="*/ 112486 w 3503192"/>
              <a:gd name="connsiteY7858" fmla="*/ 2859785 h 5818346"/>
              <a:gd name="connsiteX7859" fmla="*/ 103897 w 3503192"/>
              <a:gd name="connsiteY7859" fmla="*/ 2868375 h 5818346"/>
              <a:gd name="connsiteX7860" fmla="*/ 98198 w 3503192"/>
              <a:gd name="connsiteY7860" fmla="*/ 2862676 h 5818346"/>
              <a:gd name="connsiteX7861" fmla="*/ 91014 w 3503192"/>
              <a:gd name="connsiteY7861" fmla="*/ 2869861 h 5818346"/>
              <a:gd name="connsiteX7862" fmla="*/ 86224 w 3503192"/>
              <a:gd name="connsiteY7862" fmla="*/ 2865071 h 5818346"/>
              <a:gd name="connsiteX7863" fmla="*/ 80111 w 3503192"/>
              <a:gd name="connsiteY7863" fmla="*/ 2871182 h 5818346"/>
              <a:gd name="connsiteX7864" fmla="*/ 76311 w 3503192"/>
              <a:gd name="connsiteY7864" fmla="*/ 2867385 h 5818346"/>
              <a:gd name="connsiteX7865" fmla="*/ 71192 w 3503192"/>
              <a:gd name="connsiteY7865" fmla="*/ 2872504 h 5818346"/>
              <a:gd name="connsiteX7866" fmla="*/ 68053 w 3503192"/>
              <a:gd name="connsiteY7866" fmla="*/ 2869367 h 5818346"/>
              <a:gd name="connsiteX7867" fmla="*/ 63594 w 3503192"/>
              <a:gd name="connsiteY7867" fmla="*/ 2873825 h 5818346"/>
              <a:gd name="connsiteX7868" fmla="*/ 60951 w 3503192"/>
              <a:gd name="connsiteY7868" fmla="*/ 2871182 h 5818346"/>
              <a:gd name="connsiteX7869" fmla="*/ 57152 w 3503192"/>
              <a:gd name="connsiteY7869" fmla="*/ 2874980 h 5818346"/>
              <a:gd name="connsiteX7870" fmla="*/ 55005 w 3503192"/>
              <a:gd name="connsiteY7870" fmla="*/ 2872835 h 5818346"/>
              <a:gd name="connsiteX7871" fmla="*/ 51701 w 3503192"/>
              <a:gd name="connsiteY7871" fmla="*/ 2876139 h 5818346"/>
              <a:gd name="connsiteX7872" fmla="*/ 49884 w 3503192"/>
              <a:gd name="connsiteY7872" fmla="*/ 2874321 h 5818346"/>
              <a:gd name="connsiteX7873" fmla="*/ 46910 w 3503192"/>
              <a:gd name="connsiteY7873" fmla="*/ 2877294 h 5818346"/>
              <a:gd name="connsiteX7874" fmla="*/ 45176 w 3503192"/>
              <a:gd name="connsiteY7874" fmla="*/ 2875560 h 5818346"/>
              <a:gd name="connsiteX7875" fmla="*/ 42449 w 3503192"/>
              <a:gd name="connsiteY7875" fmla="*/ 2878286 h 5818346"/>
              <a:gd name="connsiteX7876" fmla="*/ 40798 w 3503192"/>
              <a:gd name="connsiteY7876" fmla="*/ 2876635 h 5818346"/>
              <a:gd name="connsiteX7877" fmla="*/ 38156 w 3503192"/>
              <a:gd name="connsiteY7877" fmla="*/ 2879278 h 5818346"/>
              <a:gd name="connsiteX7878" fmla="*/ 36420 w 3503192"/>
              <a:gd name="connsiteY7878" fmla="*/ 2877544 h 5818346"/>
              <a:gd name="connsiteX7879" fmla="*/ 33695 w 3503192"/>
              <a:gd name="connsiteY7879" fmla="*/ 2880268 h 5818346"/>
              <a:gd name="connsiteX7880" fmla="*/ 31795 w 3503192"/>
              <a:gd name="connsiteY7880" fmla="*/ 2878369 h 5818346"/>
              <a:gd name="connsiteX7881" fmla="*/ 29070 w 3503192"/>
              <a:gd name="connsiteY7881" fmla="*/ 2881093 h 5818346"/>
              <a:gd name="connsiteX7882" fmla="*/ 26923 w 3503192"/>
              <a:gd name="connsiteY7882" fmla="*/ 2878948 h 5818346"/>
              <a:gd name="connsiteX7883" fmla="*/ 23951 w 3503192"/>
              <a:gd name="connsiteY7883" fmla="*/ 2881921 h 5818346"/>
              <a:gd name="connsiteX7884" fmla="*/ 21471 w 3503192"/>
              <a:gd name="connsiteY7884" fmla="*/ 2879442 h 5818346"/>
              <a:gd name="connsiteX7885" fmla="*/ 18334 w 3503192"/>
              <a:gd name="connsiteY7885" fmla="*/ 2882579 h 5818346"/>
              <a:gd name="connsiteX7886" fmla="*/ 15526 w 3503192"/>
              <a:gd name="connsiteY7886" fmla="*/ 2879772 h 5818346"/>
              <a:gd name="connsiteX7887" fmla="*/ 11891 w 3503192"/>
              <a:gd name="connsiteY7887" fmla="*/ 2883407 h 5818346"/>
              <a:gd name="connsiteX7888" fmla="*/ 4540 w 3503192"/>
              <a:gd name="connsiteY7888" fmla="*/ 2876056 h 5818346"/>
              <a:gd name="connsiteX7889" fmla="*/ 4459 w 3503192"/>
              <a:gd name="connsiteY7889" fmla="*/ 2876137 h 5818346"/>
              <a:gd name="connsiteX7890" fmla="*/ 1486 w 3503192"/>
              <a:gd name="connsiteY7890" fmla="*/ 2873163 h 5818346"/>
              <a:gd name="connsiteX7891" fmla="*/ 1568 w 3503192"/>
              <a:gd name="connsiteY7891" fmla="*/ 2873081 h 5818346"/>
              <a:gd name="connsiteX7892" fmla="*/ 1155 w 3503192"/>
              <a:gd name="connsiteY7892" fmla="*/ 2872669 h 5818346"/>
              <a:gd name="connsiteX7893" fmla="*/ 11891 w 3503192"/>
              <a:gd name="connsiteY7893" fmla="*/ 2861932 h 5818346"/>
              <a:gd name="connsiteX7894" fmla="*/ 14699 w 3503192"/>
              <a:gd name="connsiteY7894" fmla="*/ 2864740 h 5818346"/>
              <a:gd name="connsiteX7895" fmla="*/ 18334 w 3503192"/>
              <a:gd name="connsiteY7895" fmla="*/ 2861105 h 5818346"/>
              <a:gd name="connsiteX7896" fmla="*/ 20812 w 3503192"/>
              <a:gd name="connsiteY7896" fmla="*/ 2863585 h 5818346"/>
              <a:gd name="connsiteX7897" fmla="*/ 23951 w 3503192"/>
              <a:gd name="connsiteY7897" fmla="*/ 2860446 h 5818346"/>
              <a:gd name="connsiteX7898" fmla="*/ 26096 w 3503192"/>
              <a:gd name="connsiteY7898" fmla="*/ 2862593 h 5818346"/>
              <a:gd name="connsiteX7899" fmla="*/ 29070 w 3503192"/>
              <a:gd name="connsiteY7899" fmla="*/ 2859619 h 5818346"/>
              <a:gd name="connsiteX7900" fmla="*/ 30969 w 3503192"/>
              <a:gd name="connsiteY7900" fmla="*/ 2861520 h 5818346"/>
              <a:gd name="connsiteX7901" fmla="*/ 33695 w 3503192"/>
              <a:gd name="connsiteY7901" fmla="*/ 2858794 h 5818346"/>
              <a:gd name="connsiteX7902" fmla="*/ 35429 w 3503192"/>
              <a:gd name="connsiteY7902" fmla="*/ 2860529 h 5818346"/>
              <a:gd name="connsiteX7903" fmla="*/ 38156 w 3503192"/>
              <a:gd name="connsiteY7903" fmla="*/ 2857803 h 5818346"/>
              <a:gd name="connsiteX7904" fmla="*/ 39807 w 3503192"/>
              <a:gd name="connsiteY7904" fmla="*/ 2859454 h 5818346"/>
              <a:gd name="connsiteX7905" fmla="*/ 42449 w 3503192"/>
              <a:gd name="connsiteY7905" fmla="*/ 2856811 h 5818346"/>
              <a:gd name="connsiteX7906" fmla="*/ 44184 w 3503192"/>
              <a:gd name="connsiteY7906" fmla="*/ 2858547 h 5818346"/>
              <a:gd name="connsiteX7907" fmla="*/ 46910 w 3503192"/>
              <a:gd name="connsiteY7907" fmla="*/ 2855821 h 5818346"/>
              <a:gd name="connsiteX7908" fmla="*/ 48727 w 3503192"/>
              <a:gd name="connsiteY7908" fmla="*/ 2857638 h 5818346"/>
              <a:gd name="connsiteX7909" fmla="*/ 51701 w 3503192"/>
              <a:gd name="connsiteY7909" fmla="*/ 2854664 h 5818346"/>
              <a:gd name="connsiteX7910" fmla="*/ 53848 w 3503192"/>
              <a:gd name="connsiteY7910" fmla="*/ 2856811 h 5818346"/>
              <a:gd name="connsiteX7911" fmla="*/ 57152 w 3503192"/>
              <a:gd name="connsiteY7911" fmla="*/ 2853508 h 5818346"/>
              <a:gd name="connsiteX7912" fmla="*/ 59795 w 3503192"/>
              <a:gd name="connsiteY7912" fmla="*/ 2856151 h 5818346"/>
              <a:gd name="connsiteX7913" fmla="*/ 63594 w 3503192"/>
              <a:gd name="connsiteY7913" fmla="*/ 2852351 h 5818346"/>
              <a:gd name="connsiteX7914" fmla="*/ 66732 w 3503192"/>
              <a:gd name="connsiteY7914" fmla="*/ 2855490 h 5818346"/>
              <a:gd name="connsiteX7915" fmla="*/ 71192 w 3503192"/>
              <a:gd name="connsiteY7915" fmla="*/ 2851030 h 5818346"/>
              <a:gd name="connsiteX7916" fmla="*/ 74990 w 3503192"/>
              <a:gd name="connsiteY7916" fmla="*/ 2854829 h 5818346"/>
              <a:gd name="connsiteX7917" fmla="*/ 80111 w 3503192"/>
              <a:gd name="connsiteY7917" fmla="*/ 2849708 h 5818346"/>
              <a:gd name="connsiteX7918" fmla="*/ 84902 w 3503192"/>
              <a:gd name="connsiteY7918" fmla="*/ 2854500 h 5818346"/>
              <a:gd name="connsiteX7919" fmla="*/ 91014 w 3503192"/>
              <a:gd name="connsiteY7919" fmla="*/ 2848387 h 5818346"/>
              <a:gd name="connsiteX7920" fmla="*/ 96712 w 3503192"/>
              <a:gd name="connsiteY7920" fmla="*/ 2854085 h 5818346"/>
              <a:gd name="connsiteX7921" fmla="*/ 103897 w 3503192"/>
              <a:gd name="connsiteY7921" fmla="*/ 2846900 h 5818346"/>
              <a:gd name="connsiteX7922" fmla="*/ 110835 w 3503192"/>
              <a:gd name="connsiteY7922" fmla="*/ 2853839 h 5818346"/>
              <a:gd name="connsiteX7923" fmla="*/ 119425 w 3503192"/>
              <a:gd name="connsiteY7923" fmla="*/ 2845250 h 5818346"/>
              <a:gd name="connsiteX7924" fmla="*/ 127849 w 3503192"/>
              <a:gd name="connsiteY7924" fmla="*/ 2853672 h 5818346"/>
              <a:gd name="connsiteX7925" fmla="*/ 159400 w 3503192"/>
              <a:gd name="connsiteY7925" fmla="*/ 2841944 h 5818346"/>
              <a:gd name="connsiteX7926" fmla="*/ 170138 w 3503192"/>
              <a:gd name="connsiteY7926" fmla="*/ 2852681 h 5818346"/>
              <a:gd name="connsiteX7927" fmla="*/ 159400 w 3503192"/>
              <a:gd name="connsiteY7927" fmla="*/ 2863418 h 5818346"/>
              <a:gd name="connsiteX7928" fmla="*/ 148663 w 3503192"/>
              <a:gd name="connsiteY7928" fmla="*/ 2852681 h 5818346"/>
              <a:gd name="connsiteX7929" fmla="*/ 159400 w 3503192"/>
              <a:gd name="connsiteY7929" fmla="*/ 2841944 h 5818346"/>
              <a:gd name="connsiteX7930" fmla="*/ 184672 w 3503192"/>
              <a:gd name="connsiteY7930" fmla="*/ 2840128 h 5818346"/>
              <a:gd name="connsiteX7931" fmla="*/ 195410 w 3503192"/>
              <a:gd name="connsiteY7931" fmla="*/ 2850865 h 5818346"/>
              <a:gd name="connsiteX7932" fmla="*/ 184672 w 3503192"/>
              <a:gd name="connsiteY7932" fmla="*/ 2861603 h 5818346"/>
              <a:gd name="connsiteX7933" fmla="*/ 173935 w 3503192"/>
              <a:gd name="connsiteY7933" fmla="*/ 2850865 h 5818346"/>
              <a:gd name="connsiteX7934" fmla="*/ 184672 w 3503192"/>
              <a:gd name="connsiteY7934" fmla="*/ 2840128 h 5818346"/>
              <a:gd name="connsiteX7935" fmla="*/ 214238 w 3503192"/>
              <a:gd name="connsiteY7935" fmla="*/ 2838311 h 5818346"/>
              <a:gd name="connsiteX7936" fmla="*/ 224976 w 3503192"/>
              <a:gd name="connsiteY7936" fmla="*/ 2849047 h 5818346"/>
              <a:gd name="connsiteX7937" fmla="*/ 214238 w 3503192"/>
              <a:gd name="connsiteY7937" fmla="*/ 2859784 h 5818346"/>
              <a:gd name="connsiteX7938" fmla="*/ 203502 w 3503192"/>
              <a:gd name="connsiteY7938" fmla="*/ 2849047 h 5818346"/>
              <a:gd name="connsiteX7939" fmla="*/ 214238 w 3503192"/>
              <a:gd name="connsiteY7939" fmla="*/ 2838311 h 5818346"/>
              <a:gd name="connsiteX7940" fmla="*/ 248266 w 3503192"/>
              <a:gd name="connsiteY7940" fmla="*/ 2836329 h 5818346"/>
              <a:gd name="connsiteX7941" fmla="*/ 259004 w 3503192"/>
              <a:gd name="connsiteY7941" fmla="*/ 2847065 h 5818346"/>
              <a:gd name="connsiteX7942" fmla="*/ 248266 w 3503192"/>
              <a:gd name="connsiteY7942" fmla="*/ 2857803 h 5818346"/>
              <a:gd name="connsiteX7943" fmla="*/ 237530 w 3503192"/>
              <a:gd name="connsiteY7943" fmla="*/ 2847065 h 5818346"/>
              <a:gd name="connsiteX7944" fmla="*/ 248266 w 3503192"/>
              <a:gd name="connsiteY7944" fmla="*/ 2836329 h 5818346"/>
              <a:gd name="connsiteX7945" fmla="*/ 287414 w 3503192"/>
              <a:gd name="connsiteY7945" fmla="*/ 2834347 h 5818346"/>
              <a:gd name="connsiteX7946" fmla="*/ 298150 w 3503192"/>
              <a:gd name="connsiteY7946" fmla="*/ 2845083 h 5818346"/>
              <a:gd name="connsiteX7947" fmla="*/ 287414 w 3503192"/>
              <a:gd name="connsiteY7947" fmla="*/ 2855821 h 5818346"/>
              <a:gd name="connsiteX7948" fmla="*/ 276677 w 3503192"/>
              <a:gd name="connsiteY7948" fmla="*/ 2845083 h 5818346"/>
              <a:gd name="connsiteX7949" fmla="*/ 287414 w 3503192"/>
              <a:gd name="connsiteY7949" fmla="*/ 2834347 h 5818346"/>
              <a:gd name="connsiteX7950" fmla="*/ 332178 w 3503192"/>
              <a:gd name="connsiteY7950" fmla="*/ 2832200 h 5818346"/>
              <a:gd name="connsiteX7951" fmla="*/ 342916 w 3503192"/>
              <a:gd name="connsiteY7951" fmla="*/ 2842936 h 5818346"/>
              <a:gd name="connsiteX7952" fmla="*/ 332178 w 3503192"/>
              <a:gd name="connsiteY7952" fmla="*/ 2853674 h 5818346"/>
              <a:gd name="connsiteX7953" fmla="*/ 321442 w 3503192"/>
              <a:gd name="connsiteY7953" fmla="*/ 2842936 h 5818346"/>
              <a:gd name="connsiteX7954" fmla="*/ 332178 w 3503192"/>
              <a:gd name="connsiteY7954" fmla="*/ 2832200 h 5818346"/>
              <a:gd name="connsiteX7955" fmla="*/ 383054 w 3503192"/>
              <a:gd name="connsiteY7955" fmla="*/ 2829886 h 5818346"/>
              <a:gd name="connsiteX7956" fmla="*/ 393790 w 3503192"/>
              <a:gd name="connsiteY7956" fmla="*/ 2840623 h 5818346"/>
              <a:gd name="connsiteX7957" fmla="*/ 383054 w 3503192"/>
              <a:gd name="connsiteY7957" fmla="*/ 2851361 h 5818346"/>
              <a:gd name="connsiteX7958" fmla="*/ 372318 w 3503192"/>
              <a:gd name="connsiteY7958" fmla="*/ 2840623 h 5818346"/>
              <a:gd name="connsiteX7959" fmla="*/ 383054 w 3503192"/>
              <a:gd name="connsiteY7959" fmla="*/ 2829886 h 5818346"/>
              <a:gd name="connsiteX7960" fmla="*/ 440702 w 3503192"/>
              <a:gd name="connsiteY7960" fmla="*/ 2827574 h 5818346"/>
              <a:gd name="connsiteX7961" fmla="*/ 451438 w 3503192"/>
              <a:gd name="connsiteY7961" fmla="*/ 2838311 h 5818346"/>
              <a:gd name="connsiteX7962" fmla="*/ 440702 w 3503192"/>
              <a:gd name="connsiteY7962" fmla="*/ 2849049 h 5818346"/>
              <a:gd name="connsiteX7963" fmla="*/ 429966 w 3503192"/>
              <a:gd name="connsiteY7963" fmla="*/ 2838311 h 5818346"/>
              <a:gd name="connsiteX7964" fmla="*/ 440702 w 3503192"/>
              <a:gd name="connsiteY7964" fmla="*/ 2827574 h 5818346"/>
              <a:gd name="connsiteX7965" fmla="*/ 505618 w 3503192"/>
              <a:gd name="connsiteY7965" fmla="*/ 2825097 h 5818346"/>
              <a:gd name="connsiteX7966" fmla="*/ 516356 w 3503192"/>
              <a:gd name="connsiteY7966" fmla="*/ 2835833 h 5818346"/>
              <a:gd name="connsiteX7967" fmla="*/ 505618 w 3503192"/>
              <a:gd name="connsiteY7967" fmla="*/ 2846571 h 5818346"/>
              <a:gd name="connsiteX7968" fmla="*/ 494881 w 3503192"/>
              <a:gd name="connsiteY7968" fmla="*/ 2835833 h 5818346"/>
              <a:gd name="connsiteX7969" fmla="*/ 505618 w 3503192"/>
              <a:gd name="connsiteY7969" fmla="*/ 2825097 h 5818346"/>
              <a:gd name="connsiteX7970" fmla="*/ 578299 w 3503192"/>
              <a:gd name="connsiteY7970" fmla="*/ 2822618 h 5818346"/>
              <a:gd name="connsiteX7971" fmla="*/ 589036 w 3503192"/>
              <a:gd name="connsiteY7971" fmla="*/ 2833354 h 5818346"/>
              <a:gd name="connsiteX7972" fmla="*/ 578299 w 3503192"/>
              <a:gd name="connsiteY7972" fmla="*/ 2844093 h 5818346"/>
              <a:gd name="connsiteX7973" fmla="*/ 567563 w 3503192"/>
              <a:gd name="connsiteY7973" fmla="*/ 2833354 h 5818346"/>
              <a:gd name="connsiteX7974" fmla="*/ 578299 w 3503192"/>
              <a:gd name="connsiteY7974" fmla="*/ 2822618 h 5818346"/>
              <a:gd name="connsiteX7975" fmla="*/ 659567 w 3503192"/>
              <a:gd name="connsiteY7975" fmla="*/ 2819811 h 5818346"/>
              <a:gd name="connsiteX7976" fmla="*/ 670305 w 3503192"/>
              <a:gd name="connsiteY7976" fmla="*/ 2830547 h 5818346"/>
              <a:gd name="connsiteX7977" fmla="*/ 659567 w 3503192"/>
              <a:gd name="connsiteY7977" fmla="*/ 2841285 h 5818346"/>
              <a:gd name="connsiteX7978" fmla="*/ 648830 w 3503192"/>
              <a:gd name="connsiteY7978" fmla="*/ 2830547 h 5818346"/>
              <a:gd name="connsiteX7979" fmla="*/ 659567 w 3503192"/>
              <a:gd name="connsiteY7979" fmla="*/ 2819811 h 5818346"/>
              <a:gd name="connsiteX7980" fmla="*/ 750086 w 3503192"/>
              <a:gd name="connsiteY7980" fmla="*/ 2817168 h 5818346"/>
              <a:gd name="connsiteX7981" fmla="*/ 760824 w 3503192"/>
              <a:gd name="connsiteY7981" fmla="*/ 2827904 h 5818346"/>
              <a:gd name="connsiteX7982" fmla="*/ 750086 w 3503192"/>
              <a:gd name="connsiteY7982" fmla="*/ 2838642 h 5818346"/>
              <a:gd name="connsiteX7983" fmla="*/ 739350 w 3503192"/>
              <a:gd name="connsiteY7983" fmla="*/ 2827904 h 5818346"/>
              <a:gd name="connsiteX7984" fmla="*/ 750086 w 3503192"/>
              <a:gd name="connsiteY7984" fmla="*/ 2817168 h 5818346"/>
              <a:gd name="connsiteX7985" fmla="*/ 850352 w 3503192"/>
              <a:gd name="connsiteY7985" fmla="*/ 2814195 h 5818346"/>
              <a:gd name="connsiteX7986" fmla="*/ 861088 w 3503192"/>
              <a:gd name="connsiteY7986" fmla="*/ 2824932 h 5818346"/>
              <a:gd name="connsiteX7987" fmla="*/ 850352 w 3503192"/>
              <a:gd name="connsiteY7987" fmla="*/ 2835670 h 5818346"/>
              <a:gd name="connsiteX7988" fmla="*/ 839615 w 3503192"/>
              <a:gd name="connsiteY7988" fmla="*/ 2824932 h 5818346"/>
              <a:gd name="connsiteX7989" fmla="*/ 850352 w 3503192"/>
              <a:gd name="connsiteY7989" fmla="*/ 2814195 h 5818346"/>
              <a:gd name="connsiteX7990" fmla="*/ 961189 w 3503192"/>
              <a:gd name="connsiteY7990" fmla="*/ 2811221 h 5818346"/>
              <a:gd name="connsiteX7991" fmla="*/ 971925 w 3503192"/>
              <a:gd name="connsiteY7991" fmla="*/ 2821957 h 5818346"/>
              <a:gd name="connsiteX7992" fmla="*/ 961189 w 3503192"/>
              <a:gd name="connsiteY7992" fmla="*/ 2832695 h 5818346"/>
              <a:gd name="connsiteX7993" fmla="*/ 950452 w 3503192"/>
              <a:gd name="connsiteY7993" fmla="*/ 2821957 h 5818346"/>
              <a:gd name="connsiteX7994" fmla="*/ 961189 w 3503192"/>
              <a:gd name="connsiteY7994" fmla="*/ 2811221 h 5818346"/>
              <a:gd name="connsiteX7995" fmla="*/ 1083258 w 3503192"/>
              <a:gd name="connsiteY7995" fmla="*/ 2808082 h 5818346"/>
              <a:gd name="connsiteX7996" fmla="*/ 1093996 w 3503192"/>
              <a:gd name="connsiteY7996" fmla="*/ 2818819 h 5818346"/>
              <a:gd name="connsiteX7997" fmla="*/ 1083258 w 3503192"/>
              <a:gd name="connsiteY7997" fmla="*/ 2829555 h 5818346"/>
              <a:gd name="connsiteX7998" fmla="*/ 1072522 w 3503192"/>
              <a:gd name="connsiteY7998" fmla="*/ 2818819 h 5818346"/>
              <a:gd name="connsiteX7999" fmla="*/ 1083258 w 3503192"/>
              <a:gd name="connsiteY7999" fmla="*/ 2808082 h 5818346"/>
              <a:gd name="connsiteX8000" fmla="*/ 1217550 w 3503192"/>
              <a:gd name="connsiteY8000" fmla="*/ 2804945 h 5818346"/>
              <a:gd name="connsiteX8001" fmla="*/ 1228288 w 3503192"/>
              <a:gd name="connsiteY8001" fmla="*/ 2815681 h 5818346"/>
              <a:gd name="connsiteX8002" fmla="*/ 1217550 w 3503192"/>
              <a:gd name="connsiteY8002" fmla="*/ 2826420 h 5818346"/>
              <a:gd name="connsiteX8003" fmla="*/ 1206814 w 3503192"/>
              <a:gd name="connsiteY8003" fmla="*/ 2815681 h 5818346"/>
              <a:gd name="connsiteX8004" fmla="*/ 1217550 w 3503192"/>
              <a:gd name="connsiteY8004" fmla="*/ 2804945 h 5818346"/>
              <a:gd name="connsiteX8005" fmla="*/ 1364561 w 3503192"/>
              <a:gd name="connsiteY8005" fmla="*/ 2801475 h 5818346"/>
              <a:gd name="connsiteX8006" fmla="*/ 1375299 w 3503192"/>
              <a:gd name="connsiteY8006" fmla="*/ 2812212 h 5818346"/>
              <a:gd name="connsiteX8007" fmla="*/ 1364561 w 3503192"/>
              <a:gd name="connsiteY8007" fmla="*/ 2822950 h 5818346"/>
              <a:gd name="connsiteX8008" fmla="*/ 1353824 w 3503192"/>
              <a:gd name="connsiteY8008" fmla="*/ 2812212 h 5818346"/>
              <a:gd name="connsiteX8009" fmla="*/ 1364561 w 3503192"/>
              <a:gd name="connsiteY8009" fmla="*/ 2801475 h 5818346"/>
              <a:gd name="connsiteX8010" fmla="*/ 1525283 w 3503192"/>
              <a:gd name="connsiteY8010" fmla="*/ 2798007 h 5818346"/>
              <a:gd name="connsiteX8011" fmla="*/ 1536020 w 3503192"/>
              <a:gd name="connsiteY8011" fmla="*/ 2808743 h 5818346"/>
              <a:gd name="connsiteX8012" fmla="*/ 1525283 w 3503192"/>
              <a:gd name="connsiteY8012" fmla="*/ 2819479 h 5818346"/>
              <a:gd name="connsiteX8013" fmla="*/ 1514547 w 3503192"/>
              <a:gd name="connsiteY8013" fmla="*/ 2808743 h 5818346"/>
              <a:gd name="connsiteX8014" fmla="*/ 1525283 w 3503192"/>
              <a:gd name="connsiteY8014" fmla="*/ 2798007 h 5818346"/>
              <a:gd name="connsiteX8015" fmla="*/ 1700540 w 3503192"/>
              <a:gd name="connsiteY8015" fmla="*/ 2794538 h 5818346"/>
              <a:gd name="connsiteX8016" fmla="*/ 1711277 w 3503192"/>
              <a:gd name="connsiteY8016" fmla="*/ 2805275 h 5818346"/>
              <a:gd name="connsiteX8017" fmla="*/ 1700540 w 3503192"/>
              <a:gd name="connsiteY8017" fmla="*/ 2816013 h 5818346"/>
              <a:gd name="connsiteX8018" fmla="*/ 1689804 w 3503192"/>
              <a:gd name="connsiteY8018" fmla="*/ 2805275 h 5818346"/>
              <a:gd name="connsiteX8019" fmla="*/ 1700540 w 3503192"/>
              <a:gd name="connsiteY8019" fmla="*/ 2794538 h 5818346"/>
              <a:gd name="connsiteX8020" fmla="*/ 1891159 w 3503192"/>
              <a:gd name="connsiteY8020" fmla="*/ 2790739 h 5818346"/>
              <a:gd name="connsiteX8021" fmla="*/ 1901897 w 3503192"/>
              <a:gd name="connsiteY8021" fmla="*/ 2801475 h 5818346"/>
              <a:gd name="connsiteX8022" fmla="*/ 1891159 w 3503192"/>
              <a:gd name="connsiteY8022" fmla="*/ 2812213 h 5818346"/>
              <a:gd name="connsiteX8023" fmla="*/ 1880422 w 3503192"/>
              <a:gd name="connsiteY8023" fmla="*/ 2801475 h 5818346"/>
              <a:gd name="connsiteX8024" fmla="*/ 1891159 w 3503192"/>
              <a:gd name="connsiteY8024" fmla="*/ 2790739 h 5818346"/>
              <a:gd name="connsiteX8025" fmla="*/ 2098132 w 3503192"/>
              <a:gd name="connsiteY8025" fmla="*/ 2786939 h 5818346"/>
              <a:gd name="connsiteX8026" fmla="*/ 2108868 w 3503192"/>
              <a:gd name="connsiteY8026" fmla="*/ 2797676 h 5818346"/>
              <a:gd name="connsiteX8027" fmla="*/ 2098132 w 3503192"/>
              <a:gd name="connsiteY8027" fmla="*/ 2808412 h 5818346"/>
              <a:gd name="connsiteX8028" fmla="*/ 2087396 w 3503192"/>
              <a:gd name="connsiteY8028" fmla="*/ 2797676 h 5818346"/>
              <a:gd name="connsiteX8029" fmla="*/ 2098132 w 3503192"/>
              <a:gd name="connsiteY8029" fmla="*/ 2786939 h 5818346"/>
              <a:gd name="connsiteX8030" fmla="*/ 2322448 w 3503192"/>
              <a:gd name="connsiteY8030" fmla="*/ 2782810 h 5818346"/>
              <a:gd name="connsiteX8031" fmla="*/ 2333186 w 3503192"/>
              <a:gd name="connsiteY8031" fmla="*/ 2793546 h 5818346"/>
              <a:gd name="connsiteX8032" fmla="*/ 2322448 w 3503192"/>
              <a:gd name="connsiteY8032" fmla="*/ 2804283 h 5818346"/>
              <a:gd name="connsiteX8033" fmla="*/ 2311711 w 3503192"/>
              <a:gd name="connsiteY8033" fmla="*/ 2793546 h 5818346"/>
              <a:gd name="connsiteX8034" fmla="*/ 2322448 w 3503192"/>
              <a:gd name="connsiteY8034" fmla="*/ 2782810 h 5818346"/>
              <a:gd name="connsiteX8035" fmla="*/ 3345911 w 3503192"/>
              <a:gd name="connsiteY8035" fmla="*/ 2780993 h 5818346"/>
              <a:gd name="connsiteX8036" fmla="*/ 3356649 w 3503192"/>
              <a:gd name="connsiteY8036" fmla="*/ 2791729 h 5818346"/>
              <a:gd name="connsiteX8037" fmla="*/ 3345911 w 3503192"/>
              <a:gd name="connsiteY8037" fmla="*/ 2802465 h 5818346"/>
              <a:gd name="connsiteX8038" fmla="*/ 3335174 w 3503192"/>
              <a:gd name="connsiteY8038" fmla="*/ 2791729 h 5818346"/>
              <a:gd name="connsiteX8039" fmla="*/ 3345911 w 3503192"/>
              <a:gd name="connsiteY8039" fmla="*/ 2780993 h 5818346"/>
              <a:gd name="connsiteX8040" fmla="*/ 2564934 w 3503192"/>
              <a:gd name="connsiteY8040" fmla="*/ 2778846 h 5818346"/>
              <a:gd name="connsiteX8041" fmla="*/ 2575670 w 3503192"/>
              <a:gd name="connsiteY8041" fmla="*/ 2789582 h 5818346"/>
              <a:gd name="connsiteX8042" fmla="*/ 2564934 w 3503192"/>
              <a:gd name="connsiteY8042" fmla="*/ 2800320 h 5818346"/>
              <a:gd name="connsiteX8043" fmla="*/ 2554197 w 3503192"/>
              <a:gd name="connsiteY8043" fmla="*/ 2789582 h 5818346"/>
              <a:gd name="connsiteX8044" fmla="*/ 2564934 w 3503192"/>
              <a:gd name="connsiteY8044" fmla="*/ 2778846 h 5818346"/>
              <a:gd name="connsiteX8045" fmla="*/ 3094670 w 3503192"/>
              <a:gd name="connsiteY8045" fmla="*/ 2777028 h 5818346"/>
              <a:gd name="connsiteX8046" fmla="*/ 3105408 w 3503192"/>
              <a:gd name="connsiteY8046" fmla="*/ 2787765 h 5818346"/>
              <a:gd name="connsiteX8047" fmla="*/ 3094670 w 3503192"/>
              <a:gd name="connsiteY8047" fmla="*/ 2798503 h 5818346"/>
              <a:gd name="connsiteX8048" fmla="*/ 3083934 w 3503192"/>
              <a:gd name="connsiteY8048" fmla="*/ 2787765 h 5818346"/>
              <a:gd name="connsiteX8049" fmla="*/ 3094670 w 3503192"/>
              <a:gd name="connsiteY8049" fmla="*/ 2777028 h 5818346"/>
              <a:gd name="connsiteX8050" fmla="*/ 2826251 w 3503192"/>
              <a:gd name="connsiteY8050" fmla="*/ 2775377 h 5818346"/>
              <a:gd name="connsiteX8051" fmla="*/ 2836989 w 3503192"/>
              <a:gd name="connsiteY8051" fmla="*/ 2786113 h 5818346"/>
              <a:gd name="connsiteX8052" fmla="*/ 2826251 w 3503192"/>
              <a:gd name="connsiteY8052" fmla="*/ 2796852 h 5818346"/>
              <a:gd name="connsiteX8053" fmla="*/ 2815515 w 3503192"/>
              <a:gd name="connsiteY8053" fmla="*/ 2786113 h 5818346"/>
              <a:gd name="connsiteX8054" fmla="*/ 2826251 w 3503192"/>
              <a:gd name="connsiteY8054" fmla="*/ 2775377 h 5818346"/>
              <a:gd name="connsiteX8055" fmla="*/ 114800 w 3503192"/>
              <a:gd name="connsiteY8055" fmla="*/ 2738377 h 5818346"/>
              <a:gd name="connsiteX8056" fmla="*/ 125536 w 3503192"/>
              <a:gd name="connsiteY8056" fmla="*/ 2749113 h 5818346"/>
              <a:gd name="connsiteX8057" fmla="*/ 114800 w 3503192"/>
              <a:gd name="connsiteY8057" fmla="*/ 2759851 h 5818346"/>
              <a:gd name="connsiteX8058" fmla="*/ 110091 w 3503192"/>
              <a:gd name="connsiteY8058" fmla="*/ 2755143 h 5818346"/>
              <a:gd name="connsiteX8059" fmla="*/ 100428 w 3503192"/>
              <a:gd name="connsiteY8059" fmla="*/ 2764804 h 5818346"/>
              <a:gd name="connsiteX8060" fmla="*/ 96795 w 3503192"/>
              <a:gd name="connsiteY8060" fmla="*/ 2761173 h 5818346"/>
              <a:gd name="connsiteX8061" fmla="*/ 88371 w 3503192"/>
              <a:gd name="connsiteY8061" fmla="*/ 2769597 h 5818346"/>
              <a:gd name="connsiteX8062" fmla="*/ 85561 w 3503192"/>
              <a:gd name="connsiteY8062" fmla="*/ 2766788 h 5818346"/>
              <a:gd name="connsiteX8063" fmla="*/ 78295 w 3503192"/>
              <a:gd name="connsiteY8063" fmla="*/ 2774054 h 5818346"/>
              <a:gd name="connsiteX8064" fmla="*/ 76313 w 3503192"/>
              <a:gd name="connsiteY8064" fmla="*/ 2772074 h 5818346"/>
              <a:gd name="connsiteX8065" fmla="*/ 69870 w 3503192"/>
              <a:gd name="connsiteY8065" fmla="*/ 2778516 h 5818346"/>
              <a:gd name="connsiteX8066" fmla="*/ 68384 w 3503192"/>
              <a:gd name="connsiteY8066" fmla="*/ 2777030 h 5818346"/>
              <a:gd name="connsiteX8067" fmla="*/ 62934 w 3503192"/>
              <a:gd name="connsiteY8067" fmla="*/ 2782480 h 5818346"/>
              <a:gd name="connsiteX8068" fmla="*/ 61858 w 3503192"/>
              <a:gd name="connsiteY8068" fmla="*/ 2781405 h 5818346"/>
              <a:gd name="connsiteX8069" fmla="*/ 56821 w 3503192"/>
              <a:gd name="connsiteY8069" fmla="*/ 2786443 h 5818346"/>
              <a:gd name="connsiteX8070" fmla="*/ 55995 w 3503192"/>
              <a:gd name="connsiteY8070" fmla="*/ 2785618 h 5818346"/>
              <a:gd name="connsiteX8071" fmla="*/ 51535 w 3503192"/>
              <a:gd name="connsiteY8071" fmla="*/ 2790078 h 5818346"/>
              <a:gd name="connsiteX8072" fmla="*/ 50874 w 3503192"/>
              <a:gd name="connsiteY8072" fmla="*/ 2789419 h 5818346"/>
              <a:gd name="connsiteX8073" fmla="*/ 46745 w 3503192"/>
              <a:gd name="connsiteY8073" fmla="*/ 2793548 h 5818346"/>
              <a:gd name="connsiteX8074" fmla="*/ 46166 w 3503192"/>
              <a:gd name="connsiteY8074" fmla="*/ 2792971 h 5818346"/>
              <a:gd name="connsiteX8075" fmla="*/ 42285 w 3503192"/>
              <a:gd name="connsiteY8075" fmla="*/ 2796852 h 5818346"/>
              <a:gd name="connsiteX8076" fmla="*/ 41622 w 3503192"/>
              <a:gd name="connsiteY8076" fmla="*/ 2796191 h 5818346"/>
              <a:gd name="connsiteX8077" fmla="*/ 37824 w 3503192"/>
              <a:gd name="connsiteY8077" fmla="*/ 2799989 h 5818346"/>
              <a:gd name="connsiteX8078" fmla="*/ 37082 w 3503192"/>
              <a:gd name="connsiteY8078" fmla="*/ 2799246 h 5818346"/>
              <a:gd name="connsiteX8079" fmla="*/ 33366 w 3503192"/>
              <a:gd name="connsiteY8079" fmla="*/ 2802961 h 5818346"/>
              <a:gd name="connsiteX8080" fmla="*/ 32209 w 3503192"/>
              <a:gd name="connsiteY8080" fmla="*/ 2801806 h 5818346"/>
              <a:gd name="connsiteX8081" fmla="*/ 28409 w 3503192"/>
              <a:gd name="connsiteY8081" fmla="*/ 2805606 h 5818346"/>
              <a:gd name="connsiteX8082" fmla="*/ 26923 w 3503192"/>
              <a:gd name="connsiteY8082" fmla="*/ 2804120 h 5818346"/>
              <a:gd name="connsiteX8083" fmla="*/ 22794 w 3503192"/>
              <a:gd name="connsiteY8083" fmla="*/ 2808249 h 5818346"/>
              <a:gd name="connsiteX8084" fmla="*/ 20977 w 3503192"/>
              <a:gd name="connsiteY8084" fmla="*/ 2806431 h 5818346"/>
              <a:gd name="connsiteX8085" fmla="*/ 16683 w 3503192"/>
              <a:gd name="connsiteY8085" fmla="*/ 2810725 h 5818346"/>
              <a:gd name="connsiteX8086" fmla="*/ 13131 w 3503192"/>
              <a:gd name="connsiteY8086" fmla="*/ 2807174 h 5818346"/>
              <a:gd name="connsiteX8087" fmla="*/ 9744 w 3503192"/>
              <a:gd name="connsiteY8087" fmla="*/ 2810560 h 5818346"/>
              <a:gd name="connsiteX8088" fmla="*/ 1320 w 3503192"/>
              <a:gd name="connsiteY8088" fmla="*/ 2802136 h 5818346"/>
              <a:gd name="connsiteX8089" fmla="*/ 9744 w 3503192"/>
              <a:gd name="connsiteY8089" fmla="*/ 2793711 h 5818346"/>
              <a:gd name="connsiteX8090" fmla="*/ 10984 w 3503192"/>
              <a:gd name="connsiteY8090" fmla="*/ 2794951 h 5818346"/>
              <a:gd name="connsiteX8091" fmla="*/ 16683 w 3503192"/>
              <a:gd name="connsiteY8091" fmla="*/ 2789253 h 5818346"/>
              <a:gd name="connsiteX8092" fmla="*/ 18499 w 3503192"/>
              <a:gd name="connsiteY8092" fmla="*/ 2791070 h 5818346"/>
              <a:gd name="connsiteX8093" fmla="*/ 22794 w 3503192"/>
              <a:gd name="connsiteY8093" fmla="*/ 2786774 h 5818346"/>
              <a:gd name="connsiteX8094" fmla="*/ 24280 w 3503192"/>
              <a:gd name="connsiteY8094" fmla="*/ 2788260 h 5818346"/>
              <a:gd name="connsiteX8095" fmla="*/ 28409 w 3503192"/>
              <a:gd name="connsiteY8095" fmla="*/ 2784132 h 5818346"/>
              <a:gd name="connsiteX8096" fmla="*/ 29566 w 3503192"/>
              <a:gd name="connsiteY8096" fmla="*/ 2785288 h 5818346"/>
              <a:gd name="connsiteX8097" fmla="*/ 33366 w 3503192"/>
              <a:gd name="connsiteY8097" fmla="*/ 2781489 h 5818346"/>
              <a:gd name="connsiteX8098" fmla="*/ 34108 w 3503192"/>
              <a:gd name="connsiteY8098" fmla="*/ 2782231 h 5818346"/>
              <a:gd name="connsiteX8099" fmla="*/ 37824 w 3503192"/>
              <a:gd name="connsiteY8099" fmla="*/ 2778515 h 5818346"/>
              <a:gd name="connsiteX8100" fmla="*/ 38485 w 3503192"/>
              <a:gd name="connsiteY8100" fmla="*/ 2779177 h 5818346"/>
              <a:gd name="connsiteX8101" fmla="*/ 42285 w 3503192"/>
              <a:gd name="connsiteY8101" fmla="*/ 2775377 h 5818346"/>
              <a:gd name="connsiteX8102" fmla="*/ 42862 w 3503192"/>
              <a:gd name="connsiteY8102" fmla="*/ 2775957 h 5818346"/>
              <a:gd name="connsiteX8103" fmla="*/ 46745 w 3503192"/>
              <a:gd name="connsiteY8103" fmla="*/ 2772074 h 5818346"/>
              <a:gd name="connsiteX8104" fmla="*/ 47406 w 3503192"/>
              <a:gd name="connsiteY8104" fmla="*/ 2772734 h 5818346"/>
              <a:gd name="connsiteX8105" fmla="*/ 51535 w 3503192"/>
              <a:gd name="connsiteY8105" fmla="*/ 2768605 h 5818346"/>
              <a:gd name="connsiteX8106" fmla="*/ 52360 w 3503192"/>
              <a:gd name="connsiteY8106" fmla="*/ 2769431 h 5818346"/>
              <a:gd name="connsiteX8107" fmla="*/ 56821 w 3503192"/>
              <a:gd name="connsiteY8107" fmla="*/ 2764971 h 5818346"/>
              <a:gd name="connsiteX8108" fmla="*/ 57894 w 3503192"/>
              <a:gd name="connsiteY8108" fmla="*/ 2766045 h 5818346"/>
              <a:gd name="connsiteX8109" fmla="*/ 62934 w 3503192"/>
              <a:gd name="connsiteY8109" fmla="*/ 2761006 h 5818346"/>
              <a:gd name="connsiteX8110" fmla="*/ 64420 w 3503192"/>
              <a:gd name="connsiteY8110" fmla="*/ 2762492 h 5818346"/>
              <a:gd name="connsiteX8111" fmla="*/ 69870 w 3503192"/>
              <a:gd name="connsiteY8111" fmla="*/ 2757042 h 5818346"/>
              <a:gd name="connsiteX8112" fmla="*/ 71853 w 3503192"/>
              <a:gd name="connsiteY8112" fmla="*/ 2759024 h 5818346"/>
              <a:gd name="connsiteX8113" fmla="*/ 78295 w 3503192"/>
              <a:gd name="connsiteY8113" fmla="*/ 2752582 h 5818346"/>
              <a:gd name="connsiteX8114" fmla="*/ 81103 w 3503192"/>
              <a:gd name="connsiteY8114" fmla="*/ 2755391 h 5818346"/>
              <a:gd name="connsiteX8115" fmla="*/ 88371 w 3503192"/>
              <a:gd name="connsiteY8115" fmla="*/ 2748123 h 5818346"/>
              <a:gd name="connsiteX8116" fmla="*/ 92004 w 3503192"/>
              <a:gd name="connsiteY8116" fmla="*/ 2751756 h 5818346"/>
              <a:gd name="connsiteX8117" fmla="*/ 100428 w 3503192"/>
              <a:gd name="connsiteY8117" fmla="*/ 2743331 h 5818346"/>
              <a:gd name="connsiteX8118" fmla="*/ 105137 w 3503192"/>
              <a:gd name="connsiteY8118" fmla="*/ 2748040 h 5818346"/>
              <a:gd name="connsiteX8119" fmla="*/ 131814 w 3503192"/>
              <a:gd name="connsiteY8119" fmla="*/ 2733091 h 5818346"/>
              <a:gd name="connsiteX8120" fmla="*/ 142552 w 3503192"/>
              <a:gd name="connsiteY8120" fmla="*/ 2743827 h 5818346"/>
              <a:gd name="connsiteX8121" fmla="*/ 131814 w 3503192"/>
              <a:gd name="connsiteY8121" fmla="*/ 2754565 h 5818346"/>
              <a:gd name="connsiteX8122" fmla="*/ 121077 w 3503192"/>
              <a:gd name="connsiteY8122" fmla="*/ 2743827 h 5818346"/>
              <a:gd name="connsiteX8123" fmla="*/ 131814 w 3503192"/>
              <a:gd name="connsiteY8123" fmla="*/ 2733091 h 5818346"/>
              <a:gd name="connsiteX8124" fmla="*/ 151800 w 3503192"/>
              <a:gd name="connsiteY8124" fmla="*/ 2727639 h 5818346"/>
              <a:gd name="connsiteX8125" fmla="*/ 162538 w 3503192"/>
              <a:gd name="connsiteY8125" fmla="*/ 2738375 h 5818346"/>
              <a:gd name="connsiteX8126" fmla="*/ 151800 w 3503192"/>
              <a:gd name="connsiteY8126" fmla="*/ 2749113 h 5818346"/>
              <a:gd name="connsiteX8127" fmla="*/ 141064 w 3503192"/>
              <a:gd name="connsiteY8127" fmla="*/ 2738375 h 5818346"/>
              <a:gd name="connsiteX8128" fmla="*/ 151800 w 3503192"/>
              <a:gd name="connsiteY8128" fmla="*/ 2727639 h 5818346"/>
              <a:gd name="connsiteX8129" fmla="*/ 175422 w 3503192"/>
              <a:gd name="connsiteY8129" fmla="*/ 2721692 h 5818346"/>
              <a:gd name="connsiteX8130" fmla="*/ 186160 w 3503192"/>
              <a:gd name="connsiteY8130" fmla="*/ 2732428 h 5818346"/>
              <a:gd name="connsiteX8131" fmla="*/ 175422 w 3503192"/>
              <a:gd name="connsiteY8131" fmla="*/ 2743166 h 5818346"/>
              <a:gd name="connsiteX8132" fmla="*/ 164685 w 3503192"/>
              <a:gd name="connsiteY8132" fmla="*/ 2732428 h 5818346"/>
              <a:gd name="connsiteX8133" fmla="*/ 175422 w 3503192"/>
              <a:gd name="connsiteY8133" fmla="*/ 2721692 h 5818346"/>
              <a:gd name="connsiteX8134" fmla="*/ 203007 w 3503192"/>
              <a:gd name="connsiteY8134" fmla="*/ 2715745 h 5818346"/>
              <a:gd name="connsiteX8135" fmla="*/ 213744 w 3503192"/>
              <a:gd name="connsiteY8135" fmla="*/ 2726482 h 5818346"/>
              <a:gd name="connsiteX8136" fmla="*/ 203007 w 3503192"/>
              <a:gd name="connsiteY8136" fmla="*/ 2737220 h 5818346"/>
              <a:gd name="connsiteX8137" fmla="*/ 192271 w 3503192"/>
              <a:gd name="connsiteY8137" fmla="*/ 2726482 h 5818346"/>
              <a:gd name="connsiteX8138" fmla="*/ 203007 w 3503192"/>
              <a:gd name="connsiteY8138" fmla="*/ 2715745 h 5818346"/>
              <a:gd name="connsiteX8139" fmla="*/ 234887 w 3503192"/>
              <a:gd name="connsiteY8139" fmla="*/ 2709305 h 5818346"/>
              <a:gd name="connsiteX8140" fmla="*/ 245625 w 3503192"/>
              <a:gd name="connsiteY8140" fmla="*/ 2720041 h 5818346"/>
              <a:gd name="connsiteX8141" fmla="*/ 234887 w 3503192"/>
              <a:gd name="connsiteY8141" fmla="*/ 2730779 h 5818346"/>
              <a:gd name="connsiteX8142" fmla="*/ 224151 w 3503192"/>
              <a:gd name="connsiteY8142" fmla="*/ 2720041 h 5818346"/>
              <a:gd name="connsiteX8143" fmla="*/ 234887 w 3503192"/>
              <a:gd name="connsiteY8143" fmla="*/ 2709305 h 5818346"/>
              <a:gd name="connsiteX8144" fmla="*/ 271556 w 3503192"/>
              <a:gd name="connsiteY8144" fmla="*/ 2702698 h 5818346"/>
              <a:gd name="connsiteX8145" fmla="*/ 282294 w 3503192"/>
              <a:gd name="connsiteY8145" fmla="*/ 2713434 h 5818346"/>
              <a:gd name="connsiteX8146" fmla="*/ 271556 w 3503192"/>
              <a:gd name="connsiteY8146" fmla="*/ 2724172 h 5818346"/>
              <a:gd name="connsiteX8147" fmla="*/ 260820 w 3503192"/>
              <a:gd name="connsiteY8147" fmla="*/ 2713434 h 5818346"/>
              <a:gd name="connsiteX8148" fmla="*/ 271556 w 3503192"/>
              <a:gd name="connsiteY8148" fmla="*/ 2702698 h 5818346"/>
              <a:gd name="connsiteX8149" fmla="*/ 313678 w 3503192"/>
              <a:gd name="connsiteY8149" fmla="*/ 2695759 h 5818346"/>
              <a:gd name="connsiteX8150" fmla="*/ 324414 w 3503192"/>
              <a:gd name="connsiteY8150" fmla="*/ 2706495 h 5818346"/>
              <a:gd name="connsiteX8151" fmla="*/ 313678 w 3503192"/>
              <a:gd name="connsiteY8151" fmla="*/ 2717234 h 5818346"/>
              <a:gd name="connsiteX8152" fmla="*/ 302942 w 3503192"/>
              <a:gd name="connsiteY8152" fmla="*/ 2706495 h 5818346"/>
              <a:gd name="connsiteX8153" fmla="*/ 313678 w 3503192"/>
              <a:gd name="connsiteY8153" fmla="*/ 2695759 h 5818346"/>
              <a:gd name="connsiteX8154" fmla="*/ 361746 w 3503192"/>
              <a:gd name="connsiteY8154" fmla="*/ 2688656 h 5818346"/>
              <a:gd name="connsiteX8155" fmla="*/ 372483 w 3503192"/>
              <a:gd name="connsiteY8155" fmla="*/ 2699392 h 5818346"/>
              <a:gd name="connsiteX8156" fmla="*/ 361746 w 3503192"/>
              <a:gd name="connsiteY8156" fmla="*/ 2710130 h 5818346"/>
              <a:gd name="connsiteX8157" fmla="*/ 351010 w 3503192"/>
              <a:gd name="connsiteY8157" fmla="*/ 2699392 h 5818346"/>
              <a:gd name="connsiteX8158" fmla="*/ 361746 w 3503192"/>
              <a:gd name="connsiteY8158" fmla="*/ 2688656 h 5818346"/>
              <a:gd name="connsiteX8159" fmla="*/ 416090 w 3503192"/>
              <a:gd name="connsiteY8159" fmla="*/ 2681058 h 5818346"/>
              <a:gd name="connsiteX8160" fmla="*/ 426827 w 3503192"/>
              <a:gd name="connsiteY8160" fmla="*/ 2691795 h 5818346"/>
              <a:gd name="connsiteX8161" fmla="*/ 416090 w 3503192"/>
              <a:gd name="connsiteY8161" fmla="*/ 2702533 h 5818346"/>
              <a:gd name="connsiteX8162" fmla="*/ 405354 w 3503192"/>
              <a:gd name="connsiteY8162" fmla="*/ 2691795 h 5818346"/>
              <a:gd name="connsiteX8163" fmla="*/ 416090 w 3503192"/>
              <a:gd name="connsiteY8163" fmla="*/ 2681058 h 5818346"/>
              <a:gd name="connsiteX8164" fmla="*/ 477373 w 3503192"/>
              <a:gd name="connsiteY8164" fmla="*/ 2673130 h 5818346"/>
              <a:gd name="connsiteX8165" fmla="*/ 488109 w 3503192"/>
              <a:gd name="connsiteY8165" fmla="*/ 2683866 h 5818346"/>
              <a:gd name="connsiteX8166" fmla="*/ 477373 w 3503192"/>
              <a:gd name="connsiteY8166" fmla="*/ 2694602 h 5818346"/>
              <a:gd name="connsiteX8167" fmla="*/ 466637 w 3503192"/>
              <a:gd name="connsiteY8167" fmla="*/ 2683866 h 5818346"/>
              <a:gd name="connsiteX8168" fmla="*/ 477373 w 3503192"/>
              <a:gd name="connsiteY8168" fmla="*/ 2673130 h 5818346"/>
              <a:gd name="connsiteX8169" fmla="*/ 546418 w 3503192"/>
              <a:gd name="connsiteY8169" fmla="*/ 2664871 h 5818346"/>
              <a:gd name="connsiteX8170" fmla="*/ 557154 w 3503192"/>
              <a:gd name="connsiteY8170" fmla="*/ 2675608 h 5818346"/>
              <a:gd name="connsiteX8171" fmla="*/ 546418 w 3503192"/>
              <a:gd name="connsiteY8171" fmla="*/ 2686344 h 5818346"/>
              <a:gd name="connsiteX8172" fmla="*/ 535682 w 3503192"/>
              <a:gd name="connsiteY8172" fmla="*/ 2675608 h 5818346"/>
              <a:gd name="connsiteX8173" fmla="*/ 546418 w 3503192"/>
              <a:gd name="connsiteY8173" fmla="*/ 2664871 h 5818346"/>
              <a:gd name="connsiteX8174" fmla="*/ 623558 w 3503192"/>
              <a:gd name="connsiteY8174" fmla="*/ 2656447 h 5818346"/>
              <a:gd name="connsiteX8175" fmla="*/ 634296 w 3503192"/>
              <a:gd name="connsiteY8175" fmla="*/ 2667183 h 5818346"/>
              <a:gd name="connsiteX8176" fmla="*/ 623558 w 3503192"/>
              <a:gd name="connsiteY8176" fmla="*/ 2677921 h 5818346"/>
              <a:gd name="connsiteX8177" fmla="*/ 612822 w 3503192"/>
              <a:gd name="connsiteY8177" fmla="*/ 2667183 h 5818346"/>
              <a:gd name="connsiteX8178" fmla="*/ 623558 w 3503192"/>
              <a:gd name="connsiteY8178" fmla="*/ 2656447 h 5818346"/>
              <a:gd name="connsiteX8179" fmla="*/ 709452 w 3503192"/>
              <a:gd name="connsiteY8179" fmla="*/ 2647526 h 5818346"/>
              <a:gd name="connsiteX8180" fmla="*/ 720189 w 3503192"/>
              <a:gd name="connsiteY8180" fmla="*/ 2658263 h 5818346"/>
              <a:gd name="connsiteX8181" fmla="*/ 709452 w 3503192"/>
              <a:gd name="connsiteY8181" fmla="*/ 2669001 h 5818346"/>
              <a:gd name="connsiteX8182" fmla="*/ 698716 w 3503192"/>
              <a:gd name="connsiteY8182" fmla="*/ 2658263 h 5818346"/>
              <a:gd name="connsiteX8183" fmla="*/ 709452 w 3503192"/>
              <a:gd name="connsiteY8183" fmla="*/ 2647526 h 5818346"/>
              <a:gd name="connsiteX8184" fmla="*/ 100595 w 3503192"/>
              <a:gd name="connsiteY8184" fmla="*/ 2643727 h 5818346"/>
              <a:gd name="connsiteX8185" fmla="*/ 111331 w 3503192"/>
              <a:gd name="connsiteY8185" fmla="*/ 2654463 h 5818346"/>
              <a:gd name="connsiteX8186" fmla="*/ 100595 w 3503192"/>
              <a:gd name="connsiteY8186" fmla="*/ 2665201 h 5818346"/>
              <a:gd name="connsiteX8187" fmla="*/ 98778 w 3503192"/>
              <a:gd name="connsiteY8187" fmla="*/ 2663384 h 5818346"/>
              <a:gd name="connsiteX8188" fmla="*/ 89196 w 3503192"/>
              <a:gd name="connsiteY8188" fmla="*/ 2672965 h 5818346"/>
              <a:gd name="connsiteX8189" fmla="*/ 88287 w 3503192"/>
              <a:gd name="connsiteY8189" fmla="*/ 2672058 h 5818346"/>
              <a:gd name="connsiteX8190" fmla="*/ 79781 w 3503192"/>
              <a:gd name="connsiteY8190" fmla="*/ 2680564 h 5818346"/>
              <a:gd name="connsiteX8191" fmla="*/ 79202 w 3503192"/>
              <a:gd name="connsiteY8191" fmla="*/ 2679985 h 5818346"/>
              <a:gd name="connsiteX8192" fmla="*/ 75652 w 3503192"/>
              <a:gd name="connsiteY8192" fmla="*/ 2683537 h 5818346"/>
              <a:gd name="connsiteX8193" fmla="*/ 69541 w 3503192"/>
              <a:gd name="connsiteY8193" fmla="*/ 2689648 h 5818346"/>
              <a:gd name="connsiteX8194" fmla="*/ 69872 w 3503192"/>
              <a:gd name="connsiteY8194" fmla="*/ 2689977 h 5818346"/>
              <a:gd name="connsiteX8195" fmla="*/ 64255 w 3503192"/>
              <a:gd name="connsiteY8195" fmla="*/ 2695594 h 5818346"/>
              <a:gd name="connsiteX8196" fmla="*/ 64586 w 3503192"/>
              <a:gd name="connsiteY8196" fmla="*/ 2695924 h 5818346"/>
              <a:gd name="connsiteX8197" fmla="*/ 59299 w 3503192"/>
              <a:gd name="connsiteY8197" fmla="*/ 2701211 h 5818346"/>
              <a:gd name="connsiteX8198" fmla="*/ 59795 w 3503192"/>
              <a:gd name="connsiteY8198" fmla="*/ 2701705 h 5818346"/>
              <a:gd name="connsiteX8199" fmla="*/ 54674 w 3503192"/>
              <a:gd name="connsiteY8199" fmla="*/ 2706827 h 5818346"/>
              <a:gd name="connsiteX8200" fmla="*/ 55005 w 3503192"/>
              <a:gd name="connsiteY8200" fmla="*/ 2707156 h 5818346"/>
              <a:gd name="connsiteX8201" fmla="*/ 50132 w 3503192"/>
              <a:gd name="connsiteY8201" fmla="*/ 2712029 h 5818346"/>
              <a:gd name="connsiteX8202" fmla="*/ 50380 w 3503192"/>
              <a:gd name="connsiteY8202" fmla="*/ 2712277 h 5818346"/>
              <a:gd name="connsiteX8203" fmla="*/ 39642 w 3503192"/>
              <a:gd name="connsiteY8203" fmla="*/ 2723015 h 5818346"/>
              <a:gd name="connsiteX8204" fmla="*/ 39477 w 3503192"/>
              <a:gd name="connsiteY8204" fmla="*/ 2722851 h 5818346"/>
              <a:gd name="connsiteX8205" fmla="*/ 34522 w 3503192"/>
              <a:gd name="connsiteY8205" fmla="*/ 2727805 h 5818346"/>
              <a:gd name="connsiteX8206" fmla="*/ 34110 w 3503192"/>
              <a:gd name="connsiteY8206" fmla="*/ 2727392 h 5818346"/>
              <a:gd name="connsiteX8207" fmla="*/ 29237 w 3503192"/>
              <a:gd name="connsiteY8207" fmla="*/ 2732264 h 5818346"/>
              <a:gd name="connsiteX8208" fmla="*/ 28328 w 3503192"/>
              <a:gd name="connsiteY8208" fmla="*/ 2731357 h 5818346"/>
              <a:gd name="connsiteX8209" fmla="*/ 23124 w 3503192"/>
              <a:gd name="connsiteY8209" fmla="*/ 2736561 h 5818346"/>
              <a:gd name="connsiteX8210" fmla="*/ 21719 w 3503192"/>
              <a:gd name="connsiteY8210" fmla="*/ 2735156 h 5818346"/>
              <a:gd name="connsiteX8211" fmla="*/ 16352 w 3503192"/>
              <a:gd name="connsiteY8211" fmla="*/ 2740524 h 5818346"/>
              <a:gd name="connsiteX8212" fmla="*/ 10239 w 3503192"/>
              <a:gd name="connsiteY8212" fmla="*/ 2734412 h 5818346"/>
              <a:gd name="connsiteX8213" fmla="*/ 8752 w 3503192"/>
              <a:gd name="connsiteY8213" fmla="*/ 2735899 h 5818346"/>
              <a:gd name="connsiteX8214" fmla="*/ 6441 w 3503192"/>
              <a:gd name="connsiteY8214" fmla="*/ 2733585 h 5818346"/>
              <a:gd name="connsiteX8215" fmla="*/ 7927 w 3503192"/>
              <a:gd name="connsiteY8215" fmla="*/ 2732099 h 5818346"/>
              <a:gd name="connsiteX8216" fmla="*/ 5615 w 3503192"/>
              <a:gd name="connsiteY8216" fmla="*/ 2729787 h 5818346"/>
              <a:gd name="connsiteX8217" fmla="*/ 16352 w 3503192"/>
              <a:gd name="connsiteY8217" fmla="*/ 2719051 h 5818346"/>
              <a:gd name="connsiteX8218" fmla="*/ 17755 w 3503192"/>
              <a:gd name="connsiteY8218" fmla="*/ 2720456 h 5818346"/>
              <a:gd name="connsiteX8219" fmla="*/ 23124 w 3503192"/>
              <a:gd name="connsiteY8219" fmla="*/ 2715087 h 5818346"/>
              <a:gd name="connsiteX8220" fmla="*/ 24032 w 3503192"/>
              <a:gd name="connsiteY8220" fmla="*/ 2715995 h 5818346"/>
              <a:gd name="connsiteX8221" fmla="*/ 29237 w 3503192"/>
              <a:gd name="connsiteY8221" fmla="*/ 2710791 h 5818346"/>
              <a:gd name="connsiteX8222" fmla="*/ 29649 w 3503192"/>
              <a:gd name="connsiteY8222" fmla="*/ 2711204 h 5818346"/>
              <a:gd name="connsiteX8223" fmla="*/ 33614 w 3503192"/>
              <a:gd name="connsiteY8223" fmla="*/ 2707239 h 5818346"/>
              <a:gd name="connsiteX8224" fmla="*/ 33531 w 3503192"/>
              <a:gd name="connsiteY8224" fmla="*/ 2707156 h 5818346"/>
              <a:gd name="connsiteX8225" fmla="*/ 38650 w 3503192"/>
              <a:gd name="connsiteY8225" fmla="*/ 2702037 h 5818346"/>
              <a:gd name="connsiteX8226" fmla="*/ 38320 w 3503192"/>
              <a:gd name="connsiteY8226" fmla="*/ 2701705 h 5818346"/>
              <a:gd name="connsiteX8227" fmla="*/ 43606 w 3503192"/>
              <a:gd name="connsiteY8227" fmla="*/ 2696420 h 5818346"/>
              <a:gd name="connsiteX8228" fmla="*/ 43112 w 3503192"/>
              <a:gd name="connsiteY8228" fmla="*/ 2695924 h 5818346"/>
              <a:gd name="connsiteX8229" fmla="*/ 48727 w 3503192"/>
              <a:gd name="connsiteY8229" fmla="*/ 2690308 h 5818346"/>
              <a:gd name="connsiteX8230" fmla="*/ 48398 w 3503192"/>
              <a:gd name="connsiteY8230" fmla="*/ 2689977 h 5818346"/>
              <a:gd name="connsiteX8231" fmla="*/ 54507 w 3503192"/>
              <a:gd name="connsiteY8231" fmla="*/ 2683868 h 5818346"/>
              <a:gd name="connsiteX8232" fmla="*/ 54178 w 3503192"/>
              <a:gd name="connsiteY8232" fmla="*/ 2683537 h 5818346"/>
              <a:gd name="connsiteX8233" fmla="*/ 60951 w 3503192"/>
              <a:gd name="connsiteY8233" fmla="*/ 2676763 h 5818346"/>
              <a:gd name="connsiteX8234" fmla="*/ 71688 w 3503192"/>
              <a:gd name="connsiteY8234" fmla="*/ 2666027 h 5818346"/>
              <a:gd name="connsiteX8235" fmla="*/ 72265 w 3503192"/>
              <a:gd name="connsiteY8235" fmla="*/ 2666606 h 5818346"/>
              <a:gd name="connsiteX8236" fmla="*/ 79781 w 3503192"/>
              <a:gd name="connsiteY8236" fmla="*/ 2659090 h 5818346"/>
              <a:gd name="connsiteX8237" fmla="*/ 80688 w 3503192"/>
              <a:gd name="connsiteY8237" fmla="*/ 2659998 h 5818346"/>
              <a:gd name="connsiteX8238" fmla="*/ 89196 w 3503192"/>
              <a:gd name="connsiteY8238" fmla="*/ 2651490 h 5818346"/>
              <a:gd name="connsiteX8239" fmla="*/ 91014 w 3503192"/>
              <a:gd name="connsiteY8239" fmla="*/ 2653308 h 5818346"/>
              <a:gd name="connsiteX8240" fmla="*/ 805093 w 3503192"/>
              <a:gd name="connsiteY8240" fmla="*/ 2638276 h 5818346"/>
              <a:gd name="connsiteX8241" fmla="*/ 815829 w 3503192"/>
              <a:gd name="connsiteY8241" fmla="*/ 2649012 h 5818346"/>
              <a:gd name="connsiteX8242" fmla="*/ 805093 w 3503192"/>
              <a:gd name="connsiteY8242" fmla="*/ 2659749 h 5818346"/>
              <a:gd name="connsiteX8243" fmla="*/ 794356 w 3503192"/>
              <a:gd name="connsiteY8243" fmla="*/ 2649012 h 5818346"/>
              <a:gd name="connsiteX8244" fmla="*/ 805093 w 3503192"/>
              <a:gd name="connsiteY8244" fmla="*/ 2638276 h 5818346"/>
              <a:gd name="connsiteX8245" fmla="*/ 113974 w 3503192"/>
              <a:gd name="connsiteY8245" fmla="*/ 2635468 h 5818346"/>
              <a:gd name="connsiteX8246" fmla="*/ 124712 w 3503192"/>
              <a:gd name="connsiteY8246" fmla="*/ 2646205 h 5818346"/>
              <a:gd name="connsiteX8247" fmla="*/ 113974 w 3503192"/>
              <a:gd name="connsiteY8247" fmla="*/ 2656943 h 5818346"/>
              <a:gd name="connsiteX8248" fmla="*/ 103238 w 3503192"/>
              <a:gd name="connsiteY8248" fmla="*/ 2646205 h 5818346"/>
              <a:gd name="connsiteX8249" fmla="*/ 113974 w 3503192"/>
              <a:gd name="connsiteY8249" fmla="*/ 2635468 h 5818346"/>
              <a:gd name="connsiteX8250" fmla="*/ 910809 w 3503192"/>
              <a:gd name="connsiteY8250" fmla="*/ 2628696 h 5818346"/>
              <a:gd name="connsiteX8251" fmla="*/ 921545 w 3503192"/>
              <a:gd name="connsiteY8251" fmla="*/ 2639433 h 5818346"/>
              <a:gd name="connsiteX8252" fmla="*/ 910809 w 3503192"/>
              <a:gd name="connsiteY8252" fmla="*/ 2650169 h 5818346"/>
              <a:gd name="connsiteX8253" fmla="*/ 900072 w 3503192"/>
              <a:gd name="connsiteY8253" fmla="*/ 2639433 h 5818346"/>
              <a:gd name="connsiteX8254" fmla="*/ 910809 w 3503192"/>
              <a:gd name="connsiteY8254" fmla="*/ 2628696 h 5818346"/>
              <a:gd name="connsiteX8255" fmla="*/ 129996 w 3503192"/>
              <a:gd name="connsiteY8255" fmla="*/ 2626714 h 5818346"/>
              <a:gd name="connsiteX8256" fmla="*/ 140734 w 3503192"/>
              <a:gd name="connsiteY8256" fmla="*/ 2637450 h 5818346"/>
              <a:gd name="connsiteX8257" fmla="*/ 129996 w 3503192"/>
              <a:gd name="connsiteY8257" fmla="*/ 2648187 h 5818346"/>
              <a:gd name="connsiteX8258" fmla="*/ 119260 w 3503192"/>
              <a:gd name="connsiteY8258" fmla="*/ 2637450 h 5818346"/>
              <a:gd name="connsiteX8259" fmla="*/ 129996 w 3503192"/>
              <a:gd name="connsiteY8259" fmla="*/ 2626714 h 5818346"/>
              <a:gd name="connsiteX8260" fmla="*/ 1027426 w 3503192"/>
              <a:gd name="connsiteY8260" fmla="*/ 2618621 h 5818346"/>
              <a:gd name="connsiteX8261" fmla="*/ 1038162 w 3503192"/>
              <a:gd name="connsiteY8261" fmla="*/ 2629357 h 5818346"/>
              <a:gd name="connsiteX8262" fmla="*/ 1027426 w 3503192"/>
              <a:gd name="connsiteY8262" fmla="*/ 2640095 h 5818346"/>
              <a:gd name="connsiteX8263" fmla="*/ 1016690 w 3503192"/>
              <a:gd name="connsiteY8263" fmla="*/ 2629357 h 5818346"/>
              <a:gd name="connsiteX8264" fmla="*/ 1027426 w 3503192"/>
              <a:gd name="connsiteY8264" fmla="*/ 2618621 h 5818346"/>
              <a:gd name="connsiteX8265" fmla="*/ 148826 w 3503192"/>
              <a:gd name="connsiteY8265" fmla="*/ 2617629 h 5818346"/>
              <a:gd name="connsiteX8266" fmla="*/ 159564 w 3503192"/>
              <a:gd name="connsiteY8266" fmla="*/ 2628365 h 5818346"/>
              <a:gd name="connsiteX8267" fmla="*/ 148826 w 3503192"/>
              <a:gd name="connsiteY8267" fmla="*/ 2639102 h 5818346"/>
              <a:gd name="connsiteX8268" fmla="*/ 138090 w 3503192"/>
              <a:gd name="connsiteY8268" fmla="*/ 2628365 h 5818346"/>
              <a:gd name="connsiteX8269" fmla="*/ 148826 w 3503192"/>
              <a:gd name="connsiteY8269" fmla="*/ 2617629 h 5818346"/>
              <a:gd name="connsiteX8270" fmla="*/ 1155771 w 3503192"/>
              <a:gd name="connsiteY8270" fmla="*/ 2608379 h 5818346"/>
              <a:gd name="connsiteX8271" fmla="*/ 1166510 w 3503192"/>
              <a:gd name="connsiteY8271" fmla="*/ 2619115 h 5818346"/>
              <a:gd name="connsiteX8272" fmla="*/ 1155771 w 3503192"/>
              <a:gd name="connsiteY8272" fmla="*/ 2629853 h 5818346"/>
              <a:gd name="connsiteX8273" fmla="*/ 1145035 w 3503192"/>
              <a:gd name="connsiteY8273" fmla="*/ 2619115 h 5818346"/>
              <a:gd name="connsiteX8274" fmla="*/ 1155771 w 3503192"/>
              <a:gd name="connsiteY8274" fmla="*/ 2608379 h 5818346"/>
              <a:gd name="connsiteX8275" fmla="*/ 170961 w 3503192"/>
              <a:gd name="connsiteY8275" fmla="*/ 2608214 h 5818346"/>
              <a:gd name="connsiteX8276" fmla="*/ 181699 w 3503192"/>
              <a:gd name="connsiteY8276" fmla="*/ 2618950 h 5818346"/>
              <a:gd name="connsiteX8277" fmla="*/ 170961 w 3503192"/>
              <a:gd name="connsiteY8277" fmla="*/ 2629688 h 5818346"/>
              <a:gd name="connsiteX8278" fmla="*/ 160225 w 3503192"/>
              <a:gd name="connsiteY8278" fmla="*/ 2618950 h 5818346"/>
              <a:gd name="connsiteX8279" fmla="*/ 170961 w 3503192"/>
              <a:gd name="connsiteY8279" fmla="*/ 2608214 h 5818346"/>
              <a:gd name="connsiteX8280" fmla="*/ 196894 w 3503192"/>
              <a:gd name="connsiteY8280" fmla="*/ 2598136 h 5818346"/>
              <a:gd name="connsiteX8281" fmla="*/ 207631 w 3503192"/>
              <a:gd name="connsiteY8281" fmla="*/ 2608873 h 5818346"/>
              <a:gd name="connsiteX8282" fmla="*/ 196894 w 3503192"/>
              <a:gd name="connsiteY8282" fmla="*/ 2619611 h 5818346"/>
              <a:gd name="connsiteX8283" fmla="*/ 186158 w 3503192"/>
              <a:gd name="connsiteY8283" fmla="*/ 2608873 h 5818346"/>
              <a:gd name="connsiteX8284" fmla="*/ 196894 w 3503192"/>
              <a:gd name="connsiteY8284" fmla="*/ 2598136 h 5818346"/>
              <a:gd name="connsiteX8285" fmla="*/ 1296506 w 3503192"/>
              <a:gd name="connsiteY8285" fmla="*/ 2597642 h 5818346"/>
              <a:gd name="connsiteX8286" fmla="*/ 1307244 w 3503192"/>
              <a:gd name="connsiteY8286" fmla="*/ 2608379 h 5818346"/>
              <a:gd name="connsiteX8287" fmla="*/ 1296506 w 3503192"/>
              <a:gd name="connsiteY8287" fmla="*/ 2619117 h 5818346"/>
              <a:gd name="connsiteX8288" fmla="*/ 1285770 w 3503192"/>
              <a:gd name="connsiteY8288" fmla="*/ 2608379 h 5818346"/>
              <a:gd name="connsiteX8289" fmla="*/ 1296506 w 3503192"/>
              <a:gd name="connsiteY8289" fmla="*/ 2597642 h 5818346"/>
              <a:gd name="connsiteX8290" fmla="*/ 18996 w 3503192"/>
              <a:gd name="connsiteY8290" fmla="*/ 2594339 h 5818346"/>
              <a:gd name="connsiteX8291" fmla="*/ 19491 w 3503192"/>
              <a:gd name="connsiteY8291" fmla="*/ 2594835 h 5818346"/>
              <a:gd name="connsiteX8292" fmla="*/ 18996 w 3503192"/>
              <a:gd name="connsiteY8292" fmla="*/ 2595330 h 5818346"/>
              <a:gd name="connsiteX8293" fmla="*/ 18500 w 3503192"/>
              <a:gd name="connsiteY8293" fmla="*/ 2594835 h 5818346"/>
              <a:gd name="connsiteX8294" fmla="*/ 18996 w 3503192"/>
              <a:gd name="connsiteY8294" fmla="*/ 2594339 h 5818346"/>
              <a:gd name="connsiteX8295" fmla="*/ 226792 w 3503192"/>
              <a:gd name="connsiteY8295" fmla="*/ 2587731 h 5818346"/>
              <a:gd name="connsiteX8296" fmla="*/ 237530 w 3503192"/>
              <a:gd name="connsiteY8296" fmla="*/ 2598468 h 5818346"/>
              <a:gd name="connsiteX8297" fmla="*/ 226792 w 3503192"/>
              <a:gd name="connsiteY8297" fmla="*/ 2609206 h 5818346"/>
              <a:gd name="connsiteX8298" fmla="*/ 216055 w 3503192"/>
              <a:gd name="connsiteY8298" fmla="*/ 2598468 h 5818346"/>
              <a:gd name="connsiteX8299" fmla="*/ 226792 w 3503192"/>
              <a:gd name="connsiteY8299" fmla="*/ 2587731 h 5818346"/>
              <a:gd name="connsiteX8300" fmla="*/ 1450621 w 3503192"/>
              <a:gd name="connsiteY8300" fmla="*/ 2586575 h 5818346"/>
              <a:gd name="connsiteX8301" fmla="*/ 1461359 w 3503192"/>
              <a:gd name="connsiteY8301" fmla="*/ 2597311 h 5818346"/>
              <a:gd name="connsiteX8302" fmla="*/ 1450621 w 3503192"/>
              <a:gd name="connsiteY8302" fmla="*/ 2608049 h 5818346"/>
              <a:gd name="connsiteX8303" fmla="*/ 1439885 w 3503192"/>
              <a:gd name="connsiteY8303" fmla="*/ 2597311 h 5818346"/>
              <a:gd name="connsiteX8304" fmla="*/ 1450621 w 3503192"/>
              <a:gd name="connsiteY8304" fmla="*/ 2586575 h 5818346"/>
              <a:gd name="connsiteX8305" fmla="*/ 261481 w 3503192"/>
              <a:gd name="connsiteY8305" fmla="*/ 2576829 h 5818346"/>
              <a:gd name="connsiteX8306" fmla="*/ 272217 w 3503192"/>
              <a:gd name="connsiteY8306" fmla="*/ 2587565 h 5818346"/>
              <a:gd name="connsiteX8307" fmla="*/ 261481 w 3503192"/>
              <a:gd name="connsiteY8307" fmla="*/ 2598301 h 5818346"/>
              <a:gd name="connsiteX8308" fmla="*/ 250744 w 3503192"/>
              <a:gd name="connsiteY8308" fmla="*/ 2587565 h 5818346"/>
              <a:gd name="connsiteX8309" fmla="*/ 261481 w 3503192"/>
              <a:gd name="connsiteY8309" fmla="*/ 2576829 h 5818346"/>
              <a:gd name="connsiteX8310" fmla="*/ 1618610 w 3503192"/>
              <a:gd name="connsiteY8310" fmla="*/ 2575178 h 5818346"/>
              <a:gd name="connsiteX8311" fmla="*/ 1629348 w 3503192"/>
              <a:gd name="connsiteY8311" fmla="*/ 2585914 h 5818346"/>
              <a:gd name="connsiteX8312" fmla="*/ 1618610 w 3503192"/>
              <a:gd name="connsiteY8312" fmla="*/ 2596652 h 5818346"/>
              <a:gd name="connsiteX8313" fmla="*/ 1607874 w 3503192"/>
              <a:gd name="connsiteY8313" fmla="*/ 2585914 h 5818346"/>
              <a:gd name="connsiteX8314" fmla="*/ 1618610 w 3503192"/>
              <a:gd name="connsiteY8314" fmla="*/ 2575178 h 5818346"/>
              <a:gd name="connsiteX8315" fmla="*/ 301289 w 3503192"/>
              <a:gd name="connsiteY8315" fmla="*/ 2565432 h 5818346"/>
              <a:gd name="connsiteX8316" fmla="*/ 312025 w 3503192"/>
              <a:gd name="connsiteY8316" fmla="*/ 2576168 h 5818346"/>
              <a:gd name="connsiteX8317" fmla="*/ 301289 w 3503192"/>
              <a:gd name="connsiteY8317" fmla="*/ 2586906 h 5818346"/>
              <a:gd name="connsiteX8318" fmla="*/ 290553 w 3503192"/>
              <a:gd name="connsiteY8318" fmla="*/ 2576168 h 5818346"/>
              <a:gd name="connsiteX8319" fmla="*/ 301289 w 3503192"/>
              <a:gd name="connsiteY8319" fmla="*/ 2565432 h 5818346"/>
              <a:gd name="connsiteX8320" fmla="*/ 1801796 w 3503192"/>
              <a:gd name="connsiteY8320" fmla="*/ 2563449 h 5818346"/>
              <a:gd name="connsiteX8321" fmla="*/ 1812534 w 3503192"/>
              <a:gd name="connsiteY8321" fmla="*/ 2574185 h 5818346"/>
              <a:gd name="connsiteX8322" fmla="*/ 1801796 w 3503192"/>
              <a:gd name="connsiteY8322" fmla="*/ 2584924 h 5818346"/>
              <a:gd name="connsiteX8323" fmla="*/ 1791060 w 3503192"/>
              <a:gd name="connsiteY8323" fmla="*/ 2574185 h 5818346"/>
              <a:gd name="connsiteX8324" fmla="*/ 1801796 w 3503192"/>
              <a:gd name="connsiteY8324" fmla="*/ 2563449 h 5818346"/>
              <a:gd name="connsiteX8325" fmla="*/ 346714 w 3503192"/>
              <a:gd name="connsiteY8325" fmla="*/ 2553538 h 5818346"/>
              <a:gd name="connsiteX8326" fmla="*/ 357451 w 3503192"/>
              <a:gd name="connsiteY8326" fmla="*/ 2564275 h 5818346"/>
              <a:gd name="connsiteX8327" fmla="*/ 346714 w 3503192"/>
              <a:gd name="connsiteY8327" fmla="*/ 2575013 h 5818346"/>
              <a:gd name="connsiteX8328" fmla="*/ 335978 w 3503192"/>
              <a:gd name="connsiteY8328" fmla="*/ 2564275 h 5818346"/>
              <a:gd name="connsiteX8329" fmla="*/ 346714 w 3503192"/>
              <a:gd name="connsiteY8329" fmla="*/ 2553538 h 5818346"/>
              <a:gd name="connsiteX8330" fmla="*/ 2000674 w 3503192"/>
              <a:gd name="connsiteY8330" fmla="*/ 2551721 h 5818346"/>
              <a:gd name="connsiteX8331" fmla="*/ 2011411 w 3503192"/>
              <a:gd name="connsiteY8331" fmla="*/ 2562457 h 5818346"/>
              <a:gd name="connsiteX8332" fmla="*/ 2000674 w 3503192"/>
              <a:gd name="connsiteY8332" fmla="*/ 2573195 h 5818346"/>
              <a:gd name="connsiteX8333" fmla="*/ 1989938 w 3503192"/>
              <a:gd name="connsiteY8333" fmla="*/ 2562457 h 5818346"/>
              <a:gd name="connsiteX8334" fmla="*/ 2000674 w 3503192"/>
              <a:gd name="connsiteY8334" fmla="*/ 2551721 h 5818346"/>
              <a:gd name="connsiteX8335" fmla="*/ 104063 w 3503192"/>
              <a:gd name="connsiteY8335" fmla="*/ 2548088 h 5818346"/>
              <a:gd name="connsiteX8336" fmla="*/ 114800 w 3503192"/>
              <a:gd name="connsiteY8336" fmla="*/ 2558824 h 5818346"/>
              <a:gd name="connsiteX8337" fmla="*/ 104063 w 3503192"/>
              <a:gd name="connsiteY8337" fmla="*/ 2569562 h 5818346"/>
              <a:gd name="connsiteX8338" fmla="*/ 94400 w 3503192"/>
              <a:gd name="connsiteY8338" fmla="*/ 2579225 h 5818346"/>
              <a:gd name="connsiteX8339" fmla="*/ 94813 w 3503192"/>
              <a:gd name="connsiteY8339" fmla="*/ 2579636 h 5818346"/>
              <a:gd name="connsiteX8340" fmla="*/ 86059 w 3503192"/>
              <a:gd name="connsiteY8340" fmla="*/ 2588392 h 5818346"/>
              <a:gd name="connsiteX8341" fmla="*/ 87051 w 3503192"/>
              <a:gd name="connsiteY8341" fmla="*/ 2589382 h 5818346"/>
              <a:gd name="connsiteX8342" fmla="*/ 79121 w 3503192"/>
              <a:gd name="connsiteY8342" fmla="*/ 2597311 h 5818346"/>
              <a:gd name="connsiteX8343" fmla="*/ 80277 w 3503192"/>
              <a:gd name="connsiteY8343" fmla="*/ 2598468 h 5818346"/>
              <a:gd name="connsiteX8344" fmla="*/ 72928 w 3503192"/>
              <a:gd name="connsiteY8344" fmla="*/ 2605817 h 5818346"/>
              <a:gd name="connsiteX8345" fmla="*/ 74332 w 3503192"/>
              <a:gd name="connsiteY8345" fmla="*/ 2607222 h 5818346"/>
              <a:gd name="connsiteX8346" fmla="*/ 67559 w 3503192"/>
              <a:gd name="connsiteY8346" fmla="*/ 2613996 h 5818346"/>
              <a:gd name="connsiteX8347" fmla="*/ 69045 w 3503192"/>
              <a:gd name="connsiteY8347" fmla="*/ 2615480 h 5818346"/>
              <a:gd name="connsiteX8348" fmla="*/ 62604 w 3503192"/>
              <a:gd name="connsiteY8348" fmla="*/ 2621923 h 5818346"/>
              <a:gd name="connsiteX8349" fmla="*/ 63926 w 3503192"/>
              <a:gd name="connsiteY8349" fmla="*/ 2623244 h 5818346"/>
              <a:gd name="connsiteX8350" fmla="*/ 57648 w 3503192"/>
              <a:gd name="connsiteY8350" fmla="*/ 2629522 h 5818346"/>
              <a:gd name="connsiteX8351" fmla="*/ 58805 w 3503192"/>
              <a:gd name="connsiteY8351" fmla="*/ 2630679 h 5818346"/>
              <a:gd name="connsiteX8352" fmla="*/ 52775 w 3503192"/>
              <a:gd name="connsiteY8352" fmla="*/ 2636708 h 5818346"/>
              <a:gd name="connsiteX8353" fmla="*/ 53683 w 3503192"/>
              <a:gd name="connsiteY8353" fmla="*/ 2637615 h 5818346"/>
              <a:gd name="connsiteX8354" fmla="*/ 47654 w 3503192"/>
              <a:gd name="connsiteY8354" fmla="*/ 2643645 h 5818346"/>
              <a:gd name="connsiteX8355" fmla="*/ 48068 w 3503192"/>
              <a:gd name="connsiteY8355" fmla="*/ 2644058 h 5818346"/>
              <a:gd name="connsiteX8356" fmla="*/ 41957 w 3503192"/>
              <a:gd name="connsiteY8356" fmla="*/ 2650169 h 5818346"/>
              <a:gd name="connsiteX8357" fmla="*/ 42122 w 3503192"/>
              <a:gd name="connsiteY8357" fmla="*/ 2650334 h 5818346"/>
              <a:gd name="connsiteX8358" fmla="*/ 31384 w 3503192"/>
              <a:gd name="connsiteY8358" fmla="*/ 2661072 h 5818346"/>
              <a:gd name="connsiteX8359" fmla="*/ 30971 w 3503192"/>
              <a:gd name="connsiteY8359" fmla="*/ 2660659 h 5818346"/>
              <a:gd name="connsiteX8360" fmla="*/ 24776 w 3503192"/>
              <a:gd name="connsiteY8360" fmla="*/ 2666854 h 5818346"/>
              <a:gd name="connsiteX8361" fmla="*/ 21721 w 3503192"/>
              <a:gd name="connsiteY8361" fmla="*/ 2663798 h 5818346"/>
              <a:gd name="connsiteX8362" fmla="*/ 17179 w 3503192"/>
              <a:gd name="connsiteY8362" fmla="*/ 2668340 h 5818346"/>
              <a:gd name="connsiteX8363" fmla="*/ 10240 w 3503192"/>
              <a:gd name="connsiteY8363" fmla="*/ 2661403 h 5818346"/>
              <a:gd name="connsiteX8364" fmla="*/ 14784 w 3503192"/>
              <a:gd name="connsiteY8364" fmla="*/ 2656859 h 5818346"/>
              <a:gd name="connsiteX8365" fmla="*/ 14040 w 3503192"/>
              <a:gd name="connsiteY8365" fmla="*/ 2656116 h 5818346"/>
              <a:gd name="connsiteX8366" fmla="*/ 24776 w 3503192"/>
              <a:gd name="connsiteY8366" fmla="*/ 2645379 h 5818346"/>
              <a:gd name="connsiteX8367" fmla="*/ 25189 w 3503192"/>
              <a:gd name="connsiteY8367" fmla="*/ 2645792 h 5818346"/>
              <a:gd name="connsiteX8368" fmla="*/ 26759 w 3503192"/>
              <a:gd name="connsiteY8368" fmla="*/ 2644223 h 5818346"/>
              <a:gd name="connsiteX8369" fmla="*/ 26594 w 3503192"/>
              <a:gd name="connsiteY8369" fmla="*/ 2644058 h 5818346"/>
              <a:gd name="connsiteX8370" fmla="*/ 32622 w 3503192"/>
              <a:gd name="connsiteY8370" fmla="*/ 2638030 h 5818346"/>
              <a:gd name="connsiteX8371" fmla="*/ 32209 w 3503192"/>
              <a:gd name="connsiteY8371" fmla="*/ 2637615 h 5818346"/>
              <a:gd name="connsiteX8372" fmla="*/ 38237 w 3503192"/>
              <a:gd name="connsiteY8372" fmla="*/ 2631587 h 5818346"/>
              <a:gd name="connsiteX8373" fmla="*/ 37330 w 3503192"/>
              <a:gd name="connsiteY8373" fmla="*/ 2630679 h 5818346"/>
              <a:gd name="connsiteX8374" fmla="*/ 43608 w 3503192"/>
              <a:gd name="connsiteY8374" fmla="*/ 2624401 h 5818346"/>
              <a:gd name="connsiteX8375" fmla="*/ 42451 w 3503192"/>
              <a:gd name="connsiteY8375" fmla="*/ 2623244 h 5818346"/>
              <a:gd name="connsiteX8376" fmla="*/ 48894 w 3503192"/>
              <a:gd name="connsiteY8376" fmla="*/ 2616802 h 5818346"/>
              <a:gd name="connsiteX8377" fmla="*/ 47572 w 3503192"/>
              <a:gd name="connsiteY8377" fmla="*/ 2615480 h 5818346"/>
              <a:gd name="connsiteX8378" fmla="*/ 54344 w 3503192"/>
              <a:gd name="connsiteY8378" fmla="*/ 2608708 h 5818346"/>
              <a:gd name="connsiteX8379" fmla="*/ 52858 w 3503192"/>
              <a:gd name="connsiteY8379" fmla="*/ 2607222 h 5818346"/>
              <a:gd name="connsiteX8380" fmla="*/ 60208 w 3503192"/>
              <a:gd name="connsiteY8380" fmla="*/ 2599872 h 5818346"/>
              <a:gd name="connsiteX8381" fmla="*/ 58803 w 3503192"/>
              <a:gd name="connsiteY8381" fmla="*/ 2598468 h 5818346"/>
              <a:gd name="connsiteX8382" fmla="*/ 66732 w 3503192"/>
              <a:gd name="connsiteY8382" fmla="*/ 2590539 h 5818346"/>
              <a:gd name="connsiteX8383" fmla="*/ 65577 w 3503192"/>
              <a:gd name="connsiteY8383" fmla="*/ 2589382 h 5818346"/>
              <a:gd name="connsiteX8384" fmla="*/ 74331 w 3503192"/>
              <a:gd name="connsiteY8384" fmla="*/ 2580628 h 5818346"/>
              <a:gd name="connsiteX8385" fmla="*/ 73340 w 3503192"/>
              <a:gd name="connsiteY8385" fmla="*/ 2579636 h 5818346"/>
              <a:gd name="connsiteX8386" fmla="*/ 83003 w 3503192"/>
              <a:gd name="connsiteY8386" fmla="*/ 2569973 h 5818346"/>
              <a:gd name="connsiteX8387" fmla="*/ 82591 w 3503192"/>
              <a:gd name="connsiteY8387" fmla="*/ 2569561 h 5818346"/>
              <a:gd name="connsiteX8388" fmla="*/ 93327 w 3503192"/>
              <a:gd name="connsiteY8388" fmla="*/ 2558824 h 5818346"/>
              <a:gd name="connsiteX8389" fmla="*/ 104063 w 3503192"/>
              <a:gd name="connsiteY8389" fmla="*/ 2548088 h 5818346"/>
              <a:gd name="connsiteX8390" fmla="*/ 398086 w 3503192"/>
              <a:gd name="connsiteY8390" fmla="*/ 2541149 h 5818346"/>
              <a:gd name="connsiteX8391" fmla="*/ 408822 w 3503192"/>
              <a:gd name="connsiteY8391" fmla="*/ 2551886 h 5818346"/>
              <a:gd name="connsiteX8392" fmla="*/ 398086 w 3503192"/>
              <a:gd name="connsiteY8392" fmla="*/ 2562624 h 5818346"/>
              <a:gd name="connsiteX8393" fmla="*/ 387350 w 3503192"/>
              <a:gd name="connsiteY8393" fmla="*/ 2551886 h 5818346"/>
              <a:gd name="connsiteX8394" fmla="*/ 398086 w 3503192"/>
              <a:gd name="connsiteY8394" fmla="*/ 2541149 h 5818346"/>
              <a:gd name="connsiteX8395" fmla="*/ 2216237 w 3503192"/>
              <a:gd name="connsiteY8395" fmla="*/ 2539828 h 5818346"/>
              <a:gd name="connsiteX8396" fmla="*/ 2226975 w 3503192"/>
              <a:gd name="connsiteY8396" fmla="*/ 2550564 h 5818346"/>
              <a:gd name="connsiteX8397" fmla="*/ 2216237 w 3503192"/>
              <a:gd name="connsiteY8397" fmla="*/ 2561302 h 5818346"/>
              <a:gd name="connsiteX8398" fmla="*/ 2205501 w 3503192"/>
              <a:gd name="connsiteY8398" fmla="*/ 2550564 h 5818346"/>
              <a:gd name="connsiteX8399" fmla="*/ 2216237 w 3503192"/>
              <a:gd name="connsiteY8399" fmla="*/ 2539828 h 5818346"/>
              <a:gd name="connsiteX8400" fmla="*/ 116947 w 3503192"/>
              <a:gd name="connsiteY8400" fmla="*/ 2536855 h 5818346"/>
              <a:gd name="connsiteX8401" fmla="*/ 127685 w 3503192"/>
              <a:gd name="connsiteY8401" fmla="*/ 2547592 h 5818346"/>
              <a:gd name="connsiteX8402" fmla="*/ 116947 w 3503192"/>
              <a:gd name="connsiteY8402" fmla="*/ 2558328 h 5818346"/>
              <a:gd name="connsiteX8403" fmla="*/ 106210 w 3503192"/>
              <a:gd name="connsiteY8403" fmla="*/ 2547592 h 5818346"/>
              <a:gd name="connsiteX8404" fmla="*/ 116947 w 3503192"/>
              <a:gd name="connsiteY8404" fmla="*/ 2536855 h 5818346"/>
              <a:gd name="connsiteX8405" fmla="*/ 3456418 w 3503192"/>
              <a:gd name="connsiteY8405" fmla="*/ 2534377 h 5818346"/>
              <a:gd name="connsiteX8406" fmla="*/ 3467155 w 3503192"/>
              <a:gd name="connsiteY8406" fmla="*/ 2545114 h 5818346"/>
              <a:gd name="connsiteX8407" fmla="*/ 3456418 w 3503192"/>
              <a:gd name="connsiteY8407" fmla="*/ 2555852 h 5818346"/>
              <a:gd name="connsiteX8408" fmla="*/ 3445682 w 3503192"/>
              <a:gd name="connsiteY8408" fmla="*/ 2545114 h 5818346"/>
              <a:gd name="connsiteX8409" fmla="*/ 3456418 w 3503192"/>
              <a:gd name="connsiteY8409" fmla="*/ 2534377 h 5818346"/>
              <a:gd name="connsiteX8410" fmla="*/ 2448977 w 3503192"/>
              <a:gd name="connsiteY8410" fmla="*/ 2528596 h 5818346"/>
              <a:gd name="connsiteX8411" fmla="*/ 2459715 w 3503192"/>
              <a:gd name="connsiteY8411" fmla="*/ 2539332 h 5818346"/>
              <a:gd name="connsiteX8412" fmla="*/ 2448977 w 3503192"/>
              <a:gd name="connsiteY8412" fmla="*/ 2550068 h 5818346"/>
              <a:gd name="connsiteX8413" fmla="*/ 2438241 w 3503192"/>
              <a:gd name="connsiteY8413" fmla="*/ 2539332 h 5818346"/>
              <a:gd name="connsiteX8414" fmla="*/ 2448977 w 3503192"/>
              <a:gd name="connsiteY8414" fmla="*/ 2528596 h 5818346"/>
              <a:gd name="connsiteX8415" fmla="*/ 456395 w 3503192"/>
              <a:gd name="connsiteY8415" fmla="*/ 2528266 h 5818346"/>
              <a:gd name="connsiteX8416" fmla="*/ 467133 w 3503192"/>
              <a:gd name="connsiteY8416" fmla="*/ 2539003 h 5818346"/>
              <a:gd name="connsiteX8417" fmla="*/ 456395 w 3503192"/>
              <a:gd name="connsiteY8417" fmla="*/ 2549741 h 5818346"/>
              <a:gd name="connsiteX8418" fmla="*/ 445658 w 3503192"/>
              <a:gd name="connsiteY8418" fmla="*/ 2539003 h 5818346"/>
              <a:gd name="connsiteX8419" fmla="*/ 456395 w 3503192"/>
              <a:gd name="connsiteY8419" fmla="*/ 2528266 h 5818346"/>
              <a:gd name="connsiteX8420" fmla="*/ 131979 w 3503192"/>
              <a:gd name="connsiteY8420" fmla="*/ 2524963 h 5818346"/>
              <a:gd name="connsiteX8421" fmla="*/ 142717 w 3503192"/>
              <a:gd name="connsiteY8421" fmla="*/ 2535699 h 5818346"/>
              <a:gd name="connsiteX8422" fmla="*/ 131979 w 3503192"/>
              <a:gd name="connsiteY8422" fmla="*/ 2546435 h 5818346"/>
              <a:gd name="connsiteX8423" fmla="*/ 121242 w 3503192"/>
              <a:gd name="connsiteY8423" fmla="*/ 2535699 h 5818346"/>
              <a:gd name="connsiteX8424" fmla="*/ 131979 w 3503192"/>
              <a:gd name="connsiteY8424" fmla="*/ 2524963 h 5818346"/>
              <a:gd name="connsiteX8425" fmla="*/ 3215583 w 3503192"/>
              <a:gd name="connsiteY8425" fmla="*/ 2523971 h 5818346"/>
              <a:gd name="connsiteX8426" fmla="*/ 3226321 w 3503192"/>
              <a:gd name="connsiteY8426" fmla="*/ 2534707 h 5818346"/>
              <a:gd name="connsiteX8427" fmla="*/ 3215583 w 3503192"/>
              <a:gd name="connsiteY8427" fmla="*/ 2545445 h 5818346"/>
              <a:gd name="connsiteX8428" fmla="*/ 3204847 w 3503192"/>
              <a:gd name="connsiteY8428" fmla="*/ 2534707 h 5818346"/>
              <a:gd name="connsiteX8429" fmla="*/ 3215583 w 3503192"/>
              <a:gd name="connsiteY8429" fmla="*/ 2523971 h 5818346"/>
              <a:gd name="connsiteX8430" fmla="*/ 2698731 w 3503192"/>
              <a:gd name="connsiteY8430" fmla="*/ 2519841 h 5818346"/>
              <a:gd name="connsiteX8431" fmla="*/ 2709469 w 3503192"/>
              <a:gd name="connsiteY8431" fmla="*/ 2530578 h 5818346"/>
              <a:gd name="connsiteX8432" fmla="*/ 2698731 w 3503192"/>
              <a:gd name="connsiteY8432" fmla="*/ 2541316 h 5818346"/>
              <a:gd name="connsiteX8433" fmla="*/ 2687995 w 3503192"/>
              <a:gd name="connsiteY8433" fmla="*/ 2530578 h 5818346"/>
              <a:gd name="connsiteX8434" fmla="*/ 2698731 w 3503192"/>
              <a:gd name="connsiteY8434" fmla="*/ 2519841 h 5818346"/>
              <a:gd name="connsiteX8435" fmla="*/ 2959386 w 3503192"/>
              <a:gd name="connsiteY8435" fmla="*/ 2517694 h 5818346"/>
              <a:gd name="connsiteX8436" fmla="*/ 2970124 w 3503192"/>
              <a:gd name="connsiteY8436" fmla="*/ 2528431 h 5818346"/>
              <a:gd name="connsiteX8437" fmla="*/ 2959386 w 3503192"/>
              <a:gd name="connsiteY8437" fmla="*/ 2539169 h 5818346"/>
              <a:gd name="connsiteX8438" fmla="*/ 2948650 w 3503192"/>
              <a:gd name="connsiteY8438" fmla="*/ 2528431 h 5818346"/>
              <a:gd name="connsiteX8439" fmla="*/ 2959386 w 3503192"/>
              <a:gd name="connsiteY8439" fmla="*/ 2517694 h 5818346"/>
              <a:gd name="connsiteX8440" fmla="*/ 30723 w 3503192"/>
              <a:gd name="connsiteY8440" fmla="*/ 2517694 h 5818346"/>
              <a:gd name="connsiteX8441" fmla="*/ 35183 w 3503192"/>
              <a:gd name="connsiteY8441" fmla="*/ 2522155 h 5818346"/>
              <a:gd name="connsiteX8442" fmla="*/ 30723 w 3503192"/>
              <a:gd name="connsiteY8442" fmla="*/ 2526613 h 5818346"/>
              <a:gd name="connsiteX8443" fmla="*/ 26263 w 3503192"/>
              <a:gd name="connsiteY8443" fmla="*/ 2522155 h 5818346"/>
              <a:gd name="connsiteX8444" fmla="*/ 30723 w 3503192"/>
              <a:gd name="connsiteY8444" fmla="*/ 2517694 h 5818346"/>
              <a:gd name="connsiteX8445" fmla="*/ 521971 w 3503192"/>
              <a:gd name="connsiteY8445" fmla="*/ 2514720 h 5818346"/>
              <a:gd name="connsiteX8446" fmla="*/ 532708 w 3503192"/>
              <a:gd name="connsiteY8446" fmla="*/ 2525457 h 5818346"/>
              <a:gd name="connsiteX8447" fmla="*/ 521971 w 3503192"/>
              <a:gd name="connsiteY8447" fmla="*/ 2536195 h 5818346"/>
              <a:gd name="connsiteX8448" fmla="*/ 511235 w 3503192"/>
              <a:gd name="connsiteY8448" fmla="*/ 2525457 h 5818346"/>
              <a:gd name="connsiteX8449" fmla="*/ 521971 w 3503192"/>
              <a:gd name="connsiteY8449" fmla="*/ 2514720 h 5818346"/>
              <a:gd name="connsiteX8450" fmla="*/ 149818 w 3503192"/>
              <a:gd name="connsiteY8450" fmla="*/ 2512574 h 5818346"/>
              <a:gd name="connsiteX8451" fmla="*/ 160556 w 3503192"/>
              <a:gd name="connsiteY8451" fmla="*/ 2523310 h 5818346"/>
              <a:gd name="connsiteX8452" fmla="*/ 149818 w 3503192"/>
              <a:gd name="connsiteY8452" fmla="*/ 2534046 h 5818346"/>
              <a:gd name="connsiteX8453" fmla="*/ 139082 w 3503192"/>
              <a:gd name="connsiteY8453" fmla="*/ 2523310 h 5818346"/>
              <a:gd name="connsiteX8454" fmla="*/ 149818 w 3503192"/>
              <a:gd name="connsiteY8454" fmla="*/ 2512574 h 5818346"/>
              <a:gd name="connsiteX8455" fmla="*/ 595312 w 3503192"/>
              <a:gd name="connsiteY8455" fmla="*/ 2500680 h 5818346"/>
              <a:gd name="connsiteX8456" fmla="*/ 606048 w 3503192"/>
              <a:gd name="connsiteY8456" fmla="*/ 2511417 h 5818346"/>
              <a:gd name="connsiteX8457" fmla="*/ 595312 w 3503192"/>
              <a:gd name="connsiteY8457" fmla="*/ 2522153 h 5818346"/>
              <a:gd name="connsiteX8458" fmla="*/ 584575 w 3503192"/>
              <a:gd name="connsiteY8458" fmla="*/ 2511417 h 5818346"/>
              <a:gd name="connsiteX8459" fmla="*/ 595312 w 3503192"/>
              <a:gd name="connsiteY8459" fmla="*/ 2500680 h 5818346"/>
              <a:gd name="connsiteX8460" fmla="*/ 170797 w 3503192"/>
              <a:gd name="connsiteY8460" fmla="*/ 2499690 h 5818346"/>
              <a:gd name="connsiteX8461" fmla="*/ 181535 w 3503192"/>
              <a:gd name="connsiteY8461" fmla="*/ 2510427 h 5818346"/>
              <a:gd name="connsiteX8462" fmla="*/ 170797 w 3503192"/>
              <a:gd name="connsiteY8462" fmla="*/ 2521163 h 5818346"/>
              <a:gd name="connsiteX8463" fmla="*/ 160060 w 3503192"/>
              <a:gd name="connsiteY8463" fmla="*/ 2510427 h 5818346"/>
              <a:gd name="connsiteX8464" fmla="*/ 170797 w 3503192"/>
              <a:gd name="connsiteY8464" fmla="*/ 2499690 h 5818346"/>
              <a:gd name="connsiteX8465" fmla="*/ 677242 w 3503192"/>
              <a:gd name="connsiteY8465" fmla="*/ 2486145 h 5818346"/>
              <a:gd name="connsiteX8466" fmla="*/ 687980 w 3503192"/>
              <a:gd name="connsiteY8466" fmla="*/ 2496881 h 5818346"/>
              <a:gd name="connsiteX8467" fmla="*/ 677242 w 3503192"/>
              <a:gd name="connsiteY8467" fmla="*/ 2507619 h 5818346"/>
              <a:gd name="connsiteX8468" fmla="*/ 666505 w 3503192"/>
              <a:gd name="connsiteY8468" fmla="*/ 2496881 h 5818346"/>
              <a:gd name="connsiteX8469" fmla="*/ 677242 w 3503192"/>
              <a:gd name="connsiteY8469" fmla="*/ 2486145 h 5818346"/>
              <a:gd name="connsiteX8470" fmla="*/ 195408 w 3503192"/>
              <a:gd name="connsiteY8470" fmla="*/ 2485980 h 5818346"/>
              <a:gd name="connsiteX8471" fmla="*/ 206145 w 3503192"/>
              <a:gd name="connsiteY8471" fmla="*/ 2496716 h 5818346"/>
              <a:gd name="connsiteX8472" fmla="*/ 195408 w 3503192"/>
              <a:gd name="connsiteY8472" fmla="*/ 2507452 h 5818346"/>
              <a:gd name="connsiteX8473" fmla="*/ 184672 w 3503192"/>
              <a:gd name="connsiteY8473" fmla="*/ 2496716 h 5818346"/>
              <a:gd name="connsiteX8474" fmla="*/ 195408 w 3503192"/>
              <a:gd name="connsiteY8474" fmla="*/ 2485980 h 5818346"/>
              <a:gd name="connsiteX8475" fmla="*/ 91014 w 3503192"/>
              <a:gd name="connsiteY8475" fmla="*/ 2482510 h 5818346"/>
              <a:gd name="connsiteX8476" fmla="*/ 101750 w 3503192"/>
              <a:gd name="connsiteY8476" fmla="*/ 2493246 h 5818346"/>
              <a:gd name="connsiteX8477" fmla="*/ 91839 w 3503192"/>
              <a:gd name="connsiteY8477" fmla="*/ 2503159 h 5818346"/>
              <a:gd name="connsiteX8478" fmla="*/ 93988 w 3503192"/>
              <a:gd name="connsiteY8478" fmla="*/ 2505306 h 5818346"/>
              <a:gd name="connsiteX8479" fmla="*/ 84902 w 3503192"/>
              <a:gd name="connsiteY8479" fmla="*/ 2514391 h 5818346"/>
              <a:gd name="connsiteX8480" fmla="*/ 87216 w 3503192"/>
              <a:gd name="connsiteY8480" fmla="*/ 2516703 h 5818346"/>
              <a:gd name="connsiteX8481" fmla="*/ 78625 w 3503192"/>
              <a:gd name="connsiteY8481" fmla="*/ 2525294 h 5818346"/>
              <a:gd name="connsiteX8482" fmla="*/ 80938 w 3503192"/>
              <a:gd name="connsiteY8482" fmla="*/ 2527605 h 5818346"/>
              <a:gd name="connsiteX8483" fmla="*/ 73009 w 3503192"/>
              <a:gd name="connsiteY8483" fmla="*/ 2535534 h 5818346"/>
              <a:gd name="connsiteX8484" fmla="*/ 75323 w 3503192"/>
              <a:gd name="connsiteY8484" fmla="*/ 2537846 h 5818346"/>
              <a:gd name="connsiteX8485" fmla="*/ 67723 w 3503192"/>
              <a:gd name="connsiteY8485" fmla="*/ 2545445 h 5818346"/>
              <a:gd name="connsiteX8486" fmla="*/ 69706 w 3503192"/>
              <a:gd name="connsiteY8486" fmla="*/ 2547425 h 5818346"/>
              <a:gd name="connsiteX8487" fmla="*/ 62356 w 3503192"/>
              <a:gd name="connsiteY8487" fmla="*/ 2554777 h 5818346"/>
              <a:gd name="connsiteX8488" fmla="*/ 64255 w 3503192"/>
              <a:gd name="connsiteY8488" fmla="*/ 2556675 h 5818346"/>
              <a:gd name="connsiteX8489" fmla="*/ 57070 w 3503192"/>
              <a:gd name="connsiteY8489" fmla="*/ 2563860 h 5818346"/>
              <a:gd name="connsiteX8490" fmla="*/ 58475 w 3503192"/>
              <a:gd name="connsiteY8490" fmla="*/ 2565265 h 5818346"/>
              <a:gd name="connsiteX8491" fmla="*/ 51289 w 3503192"/>
              <a:gd name="connsiteY8491" fmla="*/ 2572452 h 5818346"/>
              <a:gd name="connsiteX8492" fmla="*/ 52197 w 3503192"/>
              <a:gd name="connsiteY8492" fmla="*/ 2573360 h 5818346"/>
              <a:gd name="connsiteX8493" fmla="*/ 44928 w 3503192"/>
              <a:gd name="connsiteY8493" fmla="*/ 2580628 h 5818346"/>
              <a:gd name="connsiteX8494" fmla="*/ 45425 w 3503192"/>
              <a:gd name="connsiteY8494" fmla="*/ 2581124 h 5818346"/>
              <a:gd name="connsiteX8495" fmla="*/ 34687 w 3503192"/>
              <a:gd name="connsiteY8495" fmla="*/ 2591861 h 5818346"/>
              <a:gd name="connsiteX8496" fmla="*/ 34522 w 3503192"/>
              <a:gd name="connsiteY8496" fmla="*/ 2591696 h 5818346"/>
              <a:gd name="connsiteX8497" fmla="*/ 27254 w 3503192"/>
              <a:gd name="connsiteY8497" fmla="*/ 2598962 h 5818346"/>
              <a:gd name="connsiteX8498" fmla="*/ 16518 w 3503192"/>
              <a:gd name="connsiteY8498" fmla="*/ 2588226 h 5818346"/>
              <a:gd name="connsiteX8499" fmla="*/ 27254 w 3503192"/>
              <a:gd name="connsiteY8499" fmla="*/ 2577489 h 5818346"/>
              <a:gd name="connsiteX8500" fmla="*/ 27419 w 3503192"/>
              <a:gd name="connsiteY8500" fmla="*/ 2577656 h 5818346"/>
              <a:gd name="connsiteX8501" fmla="*/ 31219 w 3503192"/>
              <a:gd name="connsiteY8501" fmla="*/ 2573856 h 5818346"/>
              <a:gd name="connsiteX8502" fmla="*/ 30723 w 3503192"/>
              <a:gd name="connsiteY8502" fmla="*/ 2573360 h 5818346"/>
              <a:gd name="connsiteX8503" fmla="*/ 37909 w 3503192"/>
              <a:gd name="connsiteY8503" fmla="*/ 2566174 h 5818346"/>
              <a:gd name="connsiteX8504" fmla="*/ 37001 w 3503192"/>
              <a:gd name="connsiteY8504" fmla="*/ 2565265 h 5818346"/>
              <a:gd name="connsiteX8505" fmla="*/ 44185 w 3503192"/>
              <a:gd name="connsiteY8505" fmla="*/ 2558080 h 5818346"/>
              <a:gd name="connsiteX8506" fmla="*/ 42781 w 3503192"/>
              <a:gd name="connsiteY8506" fmla="*/ 2556675 h 5818346"/>
              <a:gd name="connsiteX8507" fmla="*/ 50132 w 3503192"/>
              <a:gd name="connsiteY8507" fmla="*/ 2549324 h 5818346"/>
              <a:gd name="connsiteX8508" fmla="*/ 48233 w 3503192"/>
              <a:gd name="connsiteY8508" fmla="*/ 2547425 h 5818346"/>
              <a:gd name="connsiteX8509" fmla="*/ 55830 w 3503192"/>
              <a:gd name="connsiteY8509" fmla="*/ 2539828 h 5818346"/>
              <a:gd name="connsiteX8510" fmla="*/ 53848 w 3503192"/>
              <a:gd name="connsiteY8510" fmla="*/ 2537846 h 5818346"/>
              <a:gd name="connsiteX8511" fmla="*/ 61775 w 3503192"/>
              <a:gd name="connsiteY8511" fmla="*/ 2529919 h 5818346"/>
              <a:gd name="connsiteX8512" fmla="*/ 59464 w 3503192"/>
              <a:gd name="connsiteY8512" fmla="*/ 2527605 h 5818346"/>
              <a:gd name="connsiteX8513" fmla="*/ 68053 w 3503192"/>
              <a:gd name="connsiteY8513" fmla="*/ 2519016 h 5818346"/>
              <a:gd name="connsiteX8514" fmla="*/ 65741 w 3503192"/>
              <a:gd name="connsiteY8514" fmla="*/ 2516703 h 5818346"/>
              <a:gd name="connsiteX8515" fmla="*/ 74825 w 3503192"/>
              <a:gd name="connsiteY8515" fmla="*/ 2507619 h 5818346"/>
              <a:gd name="connsiteX8516" fmla="*/ 72513 w 3503192"/>
              <a:gd name="connsiteY8516" fmla="*/ 2505306 h 5818346"/>
              <a:gd name="connsiteX8517" fmla="*/ 82424 w 3503192"/>
              <a:gd name="connsiteY8517" fmla="*/ 2495394 h 5818346"/>
              <a:gd name="connsiteX8518" fmla="*/ 80277 w 3503192"/>
              <a:gd name="connsiteY8518" fmla="*/ 2493246 h 5818346"/>
              <a:gd name="connsiteX8519" fmla="*/ 91014 w 3503192"/>
              <a:gd name="connsiteY8519" fmla="*/ 2482510 h 5818346"/>
              <a:gd name="connsiteX8520" fmla="*/ 223819 w 3503192"/>
              <a:gd name="connsiteY8520" fmla="*/ 2471773 h 5818346"/>
              <a:gd name="connsiteX8521" fmla="*/ 234557 w 3503192"/>
              <a:gd name="connsiteY8521" fmla="*/ 2482510 h 5818346"/>
              <a:gd name="connsiteX8522" fmla="*/ 223819 w 3503192"/>
              <a:gd name="connsiteY8522" fmla="*/ 2493246 h 5818346"/>
              <a:gd name="connsiteX8523" fmla="*/ 213083 w 3503192"/>
              <a:gd name="connsiteY8523" fmla="*/ 2482510 h 5818346"/>
              <a:gd name="connsiteX8524" fmla="*/ 223819 w 3503192"/>
              <a:gd name="connsiteY8524" fmla="*/ 2471773 h 5818346"/>
              <a:gd name="connsiteX8525" fmla="*/ 768422 w 3503192"/>
              <a:gd name="connsiteY8525" fmla="*/ 2470948 h 5818346"/>
              <a:gd name="connsiteX8526" fmla="*/ 779158 w 3503192"/>
              <a:gd name="connsiteY8526" fmla="*/ 2481684 h 5818346"/>
              <a:gd name="connsiteX8527" fmla="*/ 768422 w 3503192"/>
              <a:gd name="connsiteY8527" fmla="*/ 2492422 h 5818346"/>
              <a:gd name="connsiteX8528" fmla="*/ 757685 w 3503192"/>
              <a:gd name="connsiteY8528" fmla="*/ 2481684 h 5818346"/>
              <a:gd name="connsiteX8529" fmla="*/ 768422 w 3503192"/>
              <a:gd name="connsiteY8529" fmla="*/ 2470948 h 5818346"/>
              <a:gd name="connsiteX8530" fmla="*/ 100099 w 3503192"/>
              <a:gd name="connsiteY8530" fmla="*/ 2469791 h 5818346"/>
              <a:gd name="connsiteX8531" fmla="*/ 110837 w 3503192"/>
              <a:gd name="connsiteY8531" fmla="*/ 2480527 h 5818346"/>
              <a:gd name="connsiteX8532" fmla="*/ 100099 w 3503192"/>
              <a:gd name="connsiteY8532" fmla="*/ 2491266 h 5818346"/>
              <a:gd name="connsiteX8533" fmla="*/ 89363 w 3503192"/>
              <a:gd name="connsiteY8533" fmla="*/ 2480527 h 5818346"/>
              <a:gd name="connsiteX8534" fmla="*/ 100099 w 3503192"/>
              <a:gd name="connsiteY8534" fmla="*/ 2469791 h 5818346"/>
              <a:gd name="connsiteX8535" fmla="*/ 256691 w 3503192"/>
              <a:gd name="connsiteY8535" fmla="*/ 2456908 h 5818346"/>
              <a:gd name="connsiteX8536" fmla="*/ 267429 w 3503192"/>
              <a:gd name="connsiteY8536" fmla="*/ 2467644 h 5818346"/>
              <a:gd name="connsiteX8537" fmla="*/ 256691 w 3503192"/>
              <a:gd name="connsiteY8537" fmla="*/ 2478382 h 5818346"/>
              <a:gd name="connsiteX8538" fmla="*/ 245955 w 3503192"/>
              <a:gd name="connsiteY8538" fmla="*/ 2467644 h 5818346"/>
              <a:gd name="connsiteX8539" fmla="*/ 256691 w 3503192"/>
              <a:gd name="connsiteY8539" fmla="*/ 2456908 h 5818346"/>
              <a:gd name="connsiteX8540" fmla="*/ 110671 w 3503192"/>
              <a:gd name="connsiteY8540" fmla="*/ 2456576 h 5818346"/>
              <a:gd name="connsiteX8541" fmla="*/ 121407 w 3503192"/>
              <a:gd name="connsiteY8541" fmla="*/ 2467313 h 5818346"/>
              <a:gd name="connsiteX8542" fmla="*/ 110671 w 3503192"/>
              <a:gd name="connsiteY8542" fmla="*/ 2478049 h 5818346"/>
              <a:gd name="connsiteX8543" fmla="*/ 99934 w 3503192"/>
              <a:gd name="connsiteY8543" fmla="*/ 2467313 h 5818346"/>
              <a:gd name="connsiteX8544" fmla="*/ 110671 w 3503192"/>
              <a:gd name="connsiteY8544" fmla="*/ 2456576 h 5818346"/>
              <a:gd name="connsiteX8545" fmla="*/ 869348 w 3503192"/>
              <a:gd name="connsiteY8545" fmla="*/ 2455255 h 5818346"/>
              <a:gd name="connsiteX8546" fmla="*/ 880084 w 3503192"/>
              <a:gd name="connsiteY8546" fmla="*/ 2465992 h 5818346"/>
              <a:gd name="connsiteX8547" fmla="*/ 869348 w 3503192"/>
              <a:gd name="connsiteY8547" fmla="*/ 2476728 h 5818346"/>
              <a:gd name="connsiteX8548" fmla="*/ 858612 w 3503192"/>
              <a:gd name="connsiteY8548" fmla="*/ 2465992 h 5818346"/>
              <a:gd name="connsiteX8549" fmla="*/ 869348 w 3503192"/>
              <a:gd name="connsiteY8549" fmla="*/ 2455255 h 5818346"/>
              <a:gd name="connsiteX8550" fmla="*/ 123060 w 3503192"/>
              <a:gd name="connsiteY8550" fmla="*/ 2442536 h 5818346"/>
              <a:gd name="connsiteX8551" fmla="*/ 133798 w 3503192"/>
              <a:gd name="connsiteY8551" fmla="*/ 2453273 h 5818346"/>
              <a:gd name="connsiteX8552" fmla="*/ 123060 w 3503192"/>
              <a:gd name="connsiteY8552" fmla="*/ 2464011 h 5818346"/>
              <a:gd name="connsiteX8553" fmla="*/ 112323 w 3503192"/>
              <a:gd name="connsiteY8553" fmla="*/ 2453273 h 5818346"/>
              <a:gd name="connsiteX8554" fmla="*/ 123060 w 3503192"/>
              <a:gd name="connsiteY8554" fmla="*/ 2442536 h 5818346"/>
              <a:gd name="connsiteX8555" fmla="*/ 294352 w 3503192"/>
              <a:gd name="connsiteY8555" fmla="*/ 2441380 h 5818346"/>
              <a:gd name="connsiteX8556" fmla="*/ 305089 w 3503192"/>
              <a:gd name="connsiteY8556" fmla="*/ 2452116 h 5818346"/>
              <a:gd name="connsiteX8557" fmla="*/ 294352 w 3503192"/>
              <a:gd name="connsiteY8557" fmla="*/ 2462854 h 5818346"/>
              <a:gd name="connsiteX8558" fmla="*/ 283616 w 3503192"/>
              <a:gd name="connsiteY8558" fmla="*/ 2452116 h 5818346"/>
              <a:gd name="connsiteX8559" fmla="*/ 294352 w 3503192"/>
              <a:gd name="connsiteY8559" fmla="*/ 2441380 h 5818346"/>
              <a:gd name="connsiteX8560" fmla="*/ 981010 w 3503192"/>
              <a:gd name="connsiteY8560" fmla="*/ 2439068 h 5818346"/>
              <a:gd name="connsiteX8561" fmla="*/ 991747 w 3503192"/>
              <a:gd name="connsiteY8561" fmla="*/ 2449805 h 5818346"/>
              <a:gd name="connsiteX8562" fmla="*/ 981010 w 3503192"/>
              <a:gd name="connsiteY8562" fmla="*/ 2460543 h 5818346"/>
              <a:gd name="connsiteX8563" fmla="*/ 970274 w 3503192"/>
              <a:gd name="connsiteY8563" fmla="*/ 2449805 h 5818346"/>
              <a:gd name="connsiteX8564" fmla="*/ 981010 w 3503192"/>
              <a:gd name="connsiteY8564" fmla="*/ 2439068 h 5818346"/>
              <a:gd name="connsiteX8565" fmla="*/ 137594 w 3503192"/>
              <a:gd name="connsiteY8565" fmla="*/ 2427836 h 5818346"/>
              <a:gd name="connsiteX8566" fmla="*/ 148330 w 3503192"/>
              <a:gd name="connsiteY8566" fmla="*/ 2438572 h 5818346"/>
              <a:gd name="connsiteX8567" fmla="*/ 137594 w 3503192"/>
              <a:gd name="connsiteY8567" fmla="*/ 2449310 h 5818346"/>
              <a:gd name="connsiteX8568" fmla="*/ 126858 w 3503192"/>
              <a:gd name="connsiteY8568" fmla="*/ 2438572 h 5818346"/>
              <a:gd name="connsiteX8569" fmla="*/ 137594 w 3503192"/>
              <a:gd name="connsiteY8569" fmla="*/ 2427836 h 5818346"/>
              <a:gd name="connsiteX8570" fmla="*/ 337464 w 3503192"/>
              <a:gd name="connsiteY8570" fmla="*/ 2425193 h 5818346"/>
              <a:gd name="connsiteX8571" fmla="*/ 348200 w 3503192"/>
              <a:gd name="connsiteY8571" fmla="*/ 2435929 h 5818346"/>
              <a:gd name="connsiteX8572" fmla="*/ 337464 w 3503192"/>
              <a:gd name="connsiteY8572" fmla="*/ 2446667 h 5818346"/>
              <a:gd name="connsiteX8573" fmla="*/ 326728 w 3503192"/>
              <a:gd name="connsiteY8573" fmla="*/ 2435929 h 5818346"/>
              <a:gd name="connsiteX8574" fmla="*/ 337464 w 3503192"/>
              <a:gd name="connsiteY8574" fmla="*/ 2425193 h 5818346"/>
              <a:gd name="connsiteX8575" fmla="*/ 1103741 w 3503192"/>
              <a:gd name="connsiteY8575" fmla="*/ 2422384 h 5818346"/>
              <a:gd name="connsiteX8576" fmla="*/ 1114479 w 3503192"/>
              <a:gd name="connsiteY8576" fmla="*/ 2433120 h 5818346"/>
              <a:gd name="connsiteX8577" fmla="*/ 1103741 w 3503192"/>
              <a:gd name="connsiteY8577" fmla="*/ 2443858 h 5818346"/>
              <a:gd name="connsiteX8578" fmla="*/ 1093004 w 3503192"/>
              <a:gd name="connsiteY8578" fmla="*/ 2433120 h 5818346"/>
              <a:gd name="connsiteX8579" fmla="*/ 1103741 w 3503192"/>
              <a:gd name="connsiteY8579" fmla="*/ 2422384 h 5818346"/>
              <a:gd name="connsiteX8580" fmla="*/ 92335 w 3503192"/>
              <a:gd name="connsiteY8580" fmla="*/ 2413961 h 5818346"/>
              <a:gd name="connsiteX8581" fmla="*/ 103071 w 3503192"/>
              <a:gd name="connsiteY8581" fmla="*/ 2424697 h 5818346"/>
              <a:gd name="connsiteX8582" fmla="*/ 92748 w 3503192"/>
              <a:gd name="connsiteY8582" fmla="*/ 2435021 h 5818346"/>
              <a:gd name="connsiteX8583" fmla="*/ 95968 w 3503192"/>
              <a:gd name="connsiteY8583" fmla="*/ 2438241 h 5818346"/>
              <a:gd name="connsiteX8584" fmla="*/ 86305 w 3503192"/>
              <a:gd name="connsiteY8584" fmla="*/ 2447905 h 5818346"/>
              <a:gd name="connsiteX8585" fmla="*/ 89361 w 3503192"/>
              <a:gd name="connsiteY8585" fmla="*/ 2450961 h 5818346"/>
              <a:gd name="connsiteX8586" fmla="*/ 80277 w 3503192"/>
              <a:gd name="connsiteY8586" fmla="*/ 2460047 h 5818346"/>
              <a:gd name="connsiteX8587" fmla="*/ 83251 w 3503192"/>
              <a:gd name="connsiteY8587" fmla="*/ 2463019 h 5818346"/>
              <a:gd name="connsiteX8588" fmla="*/ 74497 w 3503192"/>
              <a:gd name="connsiteY8588" fmla="*/ 2471773 h 5818346"/>
              <a:gd name="connsiteX8589" fmla="*/ 77140 w 3503192"/>
              <a:gd name="connsiteY8589" fmla="*/ 2474416 h 5818346"/>
              <a:gd name="connsiteX8590" fmla="*/ 68632 w 3503192"/>
              <a:gd name="connsiteY8590" fmla="*/ 2482924 h 5818346"/>
              <a:gd name="connsiteX8591" fmla="*/ 70862 w 3503192"/>
              <a:gd name="connsiteY8591" fmla="*/ 2485153 h 5818346"/>
              <a:gd name="connsiteX8592" fmla="*/ 62602 w 3503192"/>
              <a:gd name="connsiteY8592" fmla="*/ 2493412 h 5818346"/>
              <a:gd name="connsiteX8593" fmla="*/ 64420 w 3503192"/>
              <a:gd name="connsiteY8593" fmla="*/ 2495228 h 5818346"/>
              <a:gd name="connsiteX8594" fmla="*/ 56160 w 3503192"/>
              <a:gd name="connsiteY8594" fmla="*/ 2503488 h 5818346"/>
              <a:gd name="connsiteX8595" fmla="*/ 57483 w 3503192"/>
              <a:gd name="connsiteY8595" fmla="*/ 2504810 h 5818346"/>
              <a:gd name="connsiteX8596" fmla="*/ 49142 w 3503192"/>
              <a:gd name="connsiteY8596" fmla="*/ 2513151 h 5818346"/>
              <a:gd name="connsiteX8597" fmla="*/ 49886 w 3503192"/>
              <a:gd name="connsiteY8597" fmla="*/ 2513895 h 5818346"/>
              <a:gd name="connsiteX8598" fmla="*/ 39148 w 3503192"/>
              <a:gd name="connsiteY8598" fmla="*/ 2524633 h 5818346"/>
              <a:gd name="connsiteX8599" fmla="*/ 28411 w 3503192"/>
              <a:gd name="connsiteY8599" fmla="*/ 2513895 h 5818346"/>
              <a:gd name="connsiteX8600" fmla="*/ 36753 w 3503192"/>
              <a:gd name="connsiteY8600" fmla="*/ 2505554 h 5818346"/>
              <a:gd name="connsiteX8601" fmla="*/ 36009 w 3503192"/>
              <a:gd name="connsiteY8601" fmla="*/ 2504810 h 5818346"/>
              <a:gd name="connsiteX8602" fmla="*/ 44267 w 3503192"/>
              <a:gd name="connsiteY8602" fmla="*/ 2496551 h 5818346"/>
              <a:gd name="connsiteX8603" fmla="*/ 42945 w 3503192"/>
              <a:gd name="connsiteY8603" fmla="*/ 2495228 h 5818346"/>
              <a:gd name="connsiteX8604" fmla="*/ 51204 w 3503192"/>
              <a:gd name="connsiteY8604" fmla="*/ 2486970 h 5818346"/>
              <a:gd name="connsiteX8605" fmla="*/ 49388 w 3503192"/>
              <a:gd name="connsiteY8605" fmla="*/ 2485153 h 5818346"/>
              <a:gd name="connsiteX8606" fmla="*/ 57894 w 3503192"/>
              <a:gd name="connsiteY8606" fmla="*/ 2476646 h 5818346"/>
              <a:gd name="connsiteX8607" fmla="*/ 55666 w 3503192"/>
              <a:gd name="connsiteY8607" fmla="*/ 2474416 h 5818346"/>
              <a:gd name="connsiteX8608" fmla="*/ 64420 w 3503192"/>
              <a:gd name="connsiteY8608" fmla="*/ 2465662 h 5818346"/>
              <a:gd name="connsiteX8609" fmla="*/ 61777 w 3503192"/>
              <a:gd name="connsiteY8609" fmla="*/ 2463019 h 5818346"/>
              <a:gd name="connsiteX8610" fmla="*/ 70861 w 3503192"/>
              <a:gd name="connsiteY8610" fmla="*/ 2453935 h 5818346"/>
              <a:gd name="connsiteX8611" fmla="*/ 67888 w 3503192"/>
              <a:gd name="connsiteY8611" fmla="*/ 2450961 h 5818346"/>
              <a:gd name="connsiteX8612" fmla="*/ 77551 w 3503192"/>
              <a:gd name="connsiteY8612" fmla="*/ 2441298 h 5818346"/>
              <a:gd name="connsiteX8613" fmla="*/ 74495 w 3503192"/>
              <a:gd name="connsiteY8613" fmla="*/ 2438241 h 5818346"/>
              <a:gd name="connsiteX8614" fmla="*/ 84819 w 3503192"/>
              <a:gd name="connsiteY8614" fmla="*/ 2427917 h 5818346"/>
              <a:gd name="connsiteX8615" fmla="*/ 81599 w 3503192"/>
              <a:gd name="connsiteY8615" fmla="*/ 2424697 h 5818346"/>
              <a:gd name="connsiteX8616" fmla="*/ 92335 w 3503192"/>
              <a:gd name="connsiteY8616" fmla="*/ 2413961 h 5818346"/>
              <a:gd name="connsiteX8617" fmla="*/ 154774 w 3503192"/>
              <a:gd name="connsiteY8617" fmla="*/ 2412473 h 5818346"/>
              <a:gd name="connsiteX8618" fmla="*/ 165513 w 3503192"/>
              <a:gd name="connsiteY8618" fmla="*/ 2423209 h 5818346"/>
              <a:gd name="connsiteX8619" fmla="*/ 154774 w 3503192"/>
              <a:gd name="connsiteY8619" fmla="*/ 2433947 h 5818346"/>
              <a:gd name="connsiteX8620" fmla="*/ 144038 w 3503192"/>
              <a:gd name="connsiteY8620" fmla="*/ 2423209 h 5818346"/>
              <a:gd name="connsiteX8621" fmla="*/ 154774 w 3503192"/>
              <a:gd name="connsiteY8621" fmla="*/ 2412473 h 5818346"/>
              <a:gd name="connsiteX8622" fmla="*/ 386523 w 3503192"/>
              <a:gd name="connsiteY8622" fmla="*/ 2408344 h 5818346"/>
              <a:gd name="connsiteX8623" fmla="*/ 397259 w 3503192"/>
              <a:gd name="connsiteY8623" fmla="*/ 2419080 h 5818346"/>
              <a:gd name="connsiteX8624" fmla="*/ 386523 w 3503192"/>
              <a:gd name="connsiteY8624" fmla="*/ 2429818 h 5818346"/>
              <a:gd name="connsiteX8625" fmla="*/ 375786 w 3503192"/>
              <a:gd name="connsiteY8625" fmla="*/ 2419080 h 5818346"/>
              <a:gd name="connsiteX8626" fmla="*/ 386523 w 3503192"/>
              <a:gd name="connsiteY8626" fmla="*/ 2408344 h 5818346"/>
              <a:gd name="connsiteX8627" fmla="*/ 1238693 w 3503192"/>
              <a:gd name="connsiteY8627" fmla="*/ 2405040 h 5818346"/>
              <a:gd name="connsiteX8628" fmla="*/ 1249431 w 3503192"/>
              <a:gd name="connsiteY8628" fmla="*/ 2415776 h 5818346"/>
              <a:gd name="connsiteX8629" fmla="*/ 1238693 w 3503192"/>
              <a:gd name="connsiteY8629" fmla="*/ 2426514 h 5818346"/>
              <a:gd name="connsiteX8630" fmla="*/ 1227957 w 3503192"/>
              <a:gd name="connsiteY8630" fmla="*/ 2415776 h 5818346"/>
              <a:gd name="connsiteX8631" fmla="*/ 1238693 w 3503192"/>
              <a:gd name="connsiteY8631" fmla="*/ 2405040 h 5818346"/>
              <a:gd name="connsiteX8632" fmla="*/ 100264 w 3503192"/>
              <a:gd name="connsiteY8632" fmla="*/ 2399754 h 5818346"/>
              <a:gd name="connsiteX8633" fmla="*/ 111000 w 3503192"/>
              <a:gd name="connsiteY8633" fmla="*/ 2410491 h 5818346"/>
              <a:gd name="connsiteX8634" fmla="*/ 100264 w 3503192"/>
              <a:gd name="connsiteY8634" fmla="*/ 2421229 h 5818346"/>
              <a:gd name="connsiteX8635" fmla="*/ 89527 w 3503192"/>
              <a:gd name="connsiteY8635" fmla="*/ 2410491 h 5818346"/>
              <a:gd name="connsiteX8636" fmla="*/ 100264 w 3503192"/>
              <a:gd name="connsiteY8636" fmla="*/ 2399754 h 5818346"/>
              <a:gd name="connsiteX8637" fmla="*/ 174761 w 3503192"/>
              <a:gd name="connsiteY8637" fmla="*/ 2396286 h 5818346"/>
              <a:gd name="connsiteX8638" fmla="*/ 185497 w 3503192"/>
              <a:gd name="connsiteY8638" fmla="*/ 2407022 h 5818346"/>
              <a:gd name="connsiteX8639" fmla="*/ 174761 w 3503192"/>
              <a:gd name="connsiteY8639" fmla="*/ 2417760 h 5818346"/>
              <a:gd name="connsiteX8640" fmla="*/ 164025 w 3503192"/>
              <a:gd name="connsiteY8640" fmla="*/ 2407022 h 5818346"/>
              <a:gd name="connsiteX8641" fmla="*/ 174761 w 3503192"/>
              <a:gd name="connsiteY8641" fmla="*/ 2396286 h 5818346"/>
              <a:gd name="connsiteX8642" fmla="*/ 441859 w 3503192"/>
              <a:gd name="connsiteY8642" fmla="*/ 2390671 h 5818346"/>
              <a:gd name="connsiteX8643" fmla="*/ 452595 w 3503192"/>
              <a:gd name="connsiteY8643" fmla="*/ 2401407 h 5818346"/>
              <a:gd name="connsiteX8644" fmla="*/ 441859 w 3503192"/>
              <a:gd name="connsiteY8644" fmla="*/ 2412145 h 5818346"/>
              <a:gd name="connsiteX8645" fmla="*/ 431122 w 3503192"/>
              <a:gd name="connsiteY8645" fmla="*/ 2401407 h 5818346"/>
              <a:gd name="connsiteX8646" fmla="*/ 441859 w 3503192"/>
              <a:gd name="connsiteY8646" fmla="*/ 2390671 h 5818346"/>
              <a:gd name="connsiteX8647" fmla="*/ 1386364 w 3503192"/>
              <a:gd name="connsiteY8647" fmla="*/ 2387200 h 5818346"/>
              <a:gd name="connsiteX8648" fmla="*/ 1397103 w 3503192"/>
              <a:gd name="connsiteY8648" fmla="*/ 2397937 h 5818346"/>
              <a:gd name="connsiteX8649" fmla="*/ 1386364 w 3503192"/>
              <a:gd name="connsiteY8649" fmla="*/ 2408675 h 5818346"/>
              <a:gd name="connsiteX8650" fmla="*/ 1375628 w 3503192"/>
              <a:gd name="connsiteY8650" fmla="*/ 2397937 h 5818346"/>
              <a:gd name="connsiteX8651" fmla="*/ 1386364 w 3503192"/>
              <a:gd name="connsiteY8651" fmla="*/ 2387200 h 5818346"/>
              <a:gd name="connsiteX8652" fmla="*/ 109349 w 3503192"/>
              <a:gd name="connsiteY8652" fmla="*/ 2384889 h 5818346"/>
              <a:gd name="connsiteX8653" fmla="*/ 120087 w 3503192"/>
              <a:gd name="connsiteY8653" fmla="*/ 2395625 h 5818346"/>
              <a:gd name="connsiteX8654" fmla="*/ 109349 w 3503192"/>
              <a:gd name="connsiteY8654" fmla="*/ 2406363 h 5818346"/>
              <a:gd name="connsiteX8655" fmla="*/ 98613 w 3503192"/>
              <a:gd name="connsiteY8655" fmla="*/ 2395625 h 5818346"/>
              <a:gd name="connsiteX8656" fmla="*/ 109349 w 3503192"/>
              <a:gd name="connsiteY8656" fmla="*/ 2384889 h 5818346"/>
              <a:gd name="connsiteX8657" fmla="*/ 49884 w 3503192"/>
              <a:gd name="connsiteY8657" fmla="*/ 2384393 h 5818346"/>
              <a:gd name="connsiteX8658" fmla="*/ 50876 w 3503192"/>
              <a:gd name="connsiteY8658" fmla="*/ 2385383 h 5818346"/>
              <a:gd name="connsiteX8659" fmla="*/ 49884 w 3503192"/>
              <a:gd name="connsiteY8659" fmla="*/ 2386375 h 5818346"/>
              <a:gd name="connsiteX8660" fmla="*/ 48894 w 3503192"/>
              <a:gd name="connsiteY8660" fmla="*/ 2385383 h 5818346"/>
              <a:gd name="connsiteX8661" fmla="*/ 49884 w 3503192"/>
              <a:gd name="connsiteY8661" fmla="*/ 2384393 h 5818346"/>
              <a:gd name="connsiteX8662" fmla="*/ 198051 w 3503192"/>
              <a:gd name="connsiteY8662" fmla="*/ 2379272 h 5818346"/>
              <a:gd name="connsiteX8663" fmla="*/ 208789 w 3503192"/>
              <a:gd name="connsiteY8663" fmla="*/ 2390008 h 5818346"/>
              <a:gd name="connsiteX8664" fmla="*/ 198051 w 3503192"/>
              <a:gd name="connsiteY8664" fmla="*/ 2400746 h 5818346"/>
              <a:gd name="connsiteX8665" fmla="*/ 187315 w 3503192"/>
              <a:gd name="connsiteY8665" fmla="*/ 2390008 h 5818346"/>
              <a:gd name="connsiteX8666" fmla="*/ 198051 w 3503192"/>
              <a:gd name="connsiteY8666" fmla="*/ 2379272 h 5818346"/>
              <a:gd name="connsiteX8667" fmla="*/ 504296 w 3503192"/>
              <a:gd name="connsiteY8667" fmla="*/ 2372335 h 5818346"/>
              <a:gd name="connsiteX8668" fmla="*/ 515034 w 3503192"/>
              <a:gd name="connsiteY8668" fmla="*/ 2383071 h 5818346"/>
              <a:gd name="connsiteX8669" fmla="*/ 504296 w 3503192"/>
              <a:gd name="connsiteY8669" fmla="*/ 2393809 h 5818346"/>
              <a:gd name="connsiteX8670" fmla="*/ 493560 w 3503192"/>
              <a:gd name="connsiteY8670" fmla="*/ 2383071 h 5818346"/>
              <a:gd name="connsiteX8671" fmla="*/ 504296 w 3503192"/>
              <a:gd name="connsiteY8671" fmla="*/ 2372335 h 5818346"/>
              <a:gd name="connsiteX8672" fmla="*/ 1547748 w 3503192"/>
              <a:gd name="connsiteY8672" fmla="*/ 2369196 h 5818346"/>
              <a:gd name="connsiteX8673" fmla="*/ 1558484 w 3503192"/>
              <a:gd name="connsiteY8673" fmla="*/ 2379932 h 5818346"/>
              <a:gd name="connsiteX8674" fmla="*/ 1547748 w 3503192"/>
              <a:gd name="connsiteY8674" fmla="*/ 2390671 h 5818346"/>
              <a:gd name="connsiteX8675" fmla="*/ 1537012 w 3503192"/>
              <a:gd name="connsiteY8675" fmla="*/ 2379932 h 5818346"/>
              <a:gd name="connsiteX8676" fmla="*/ 1547748 w 3503192"/>
              <a:gd name="connsiteY8676" fmla="*/ 2369196 h 5818346"/>
              <a:gd name="connsiteX8677" fmla="*/ 119921 w 3503192"/>
              <a:gd name="connsiteY8677" fmla="*/ 2369196 h 5818346"/>
              <a:gd name="connsiteX8678" fmla="*/ 130657 w 3503192"/>
              <a:gd name="connsiteY8678" fmla="*/ 2379932 h 5818346"/>
              <a:gd name="connsiteX8679" fmla="*/ 119921 w 3503192"/>
              <a:gd name="connsiteY8679" fmla="*/ 2390671 h 5818346"/>
              <a:gd name="connsiteX8680" fmla="*/ 109184 w 3503192"/>
              <a:gd name="connsiteY8680" fmla="*/ 2379932 h 5818346"/>
              <a:gd name="connsiteX8681" fmla="*/ 119921 w 3503192"/>
              <a:gd name="connsiteY8681" fmla="*/ 2369196 h 5818346"/>
              <a:gd name="connsiteX8682" fmla="*/ 88700 w 3503192"/>
              <a:gd name="connsiteY8682" fmla="*/ 2366553 h 5818346"/>
              <a:gd name="connsiteX8683" fmla="*/ 99438 w 3503192"/>
              <a:gd name="connsiteY8683" fmla="*/ 2377290 h 5818346"/>
              <a:gd name="connsiteX8684" fmla="*/ 89113 w 3503192"/>
              <a:gd name="connsiteY8684" fmla="*/ 2387615 h 5818346"/>
              <a:gd name="connsiteX8685" fmla="*/ 92500 w 3503192"/>
              <a:gd name="connsiteY8685" fmla="*/ 2391000 h 5818346"/>
              <a:gd name="connsiteX8686" fmla="*/ 82674 w 3503192"/>
              <a:gd name="connsiteY8686" fmla="*/ 2400827 h 5818346"/>
              <a:gd name="connsiteX8687" fmla="*/ 85730 w 3503192"/>
              <a:gd name="connsiteY8687" fmla="*/ 2403883 h 5818346"/>
              <a:gd name="connsiteX8688" fmla="*/ 76065 w 3503192"/>
              <a:gd name="connsiteY8688" fmla="*/ 2413548 h 5818346"/>
              <a:gd name="connsiteX8689" fmla="*/ 78626 w 3503192"/>
              <a:gd name="connsiteY8689" fmla="*/ 2416108 h 5818346"/>
              <a:gd name="connsiteX8690" fmla="*/ 69211 w 3503192"/>
              <a:gd name="connsiteY8690" fmla="*/ 2425522 h 5818346"/>
              <a:gd name="connsiteX8691" fmla="*/ 71358 w 3503192"/>
              <a:gd name="connsiteY8691" fmla="*/ 2427669 h 5818346"/>
              <a:gd name="connsiteX8692" fmla="*/ 62025 w 3503192"/>
              <a:gd name="connsiteY8692" fmla="*/ 2437003 h 5818346"/>
              <a:gd name="connsiteX8693" fmla="*/ 63430 w 3503192"/>
              <a:gd name="connsiteY8693" fmla="*/ 2438408 h 5818346"/>
              <a:gd name="connsiteX8694" fmla="*/ 52692 w 3503192"/>
              <a:gd name="connsiteY8694" fmla="*/ 2449144 h 5818346"/>
              <a:gd name="connsiteX8695" fmla="*/ 52197 w 3503192"/>
              <a:gd name="connsiteY8695" fmla="*/ 2448650 h 5818346"/>
              <a:gd name="connsiteX8696" fmla="*/ 44104 w 3503192"/>
              <a:gd name="connsiteY8696" fmla="*/ 2456743 h 5818346"/>
              <a:gd name="connsiteX8697" fmla="*/ 35844 w 3503192"/>
              <a:gd name="connsiteY8697" fmla="*/ 2448485 h 5818346"/>
              <a:gd name="connsiteX8698" fmla="*/ 43937 w 3503192"/>
              <a:gd name="connsiteY8698" fmla="*/ 2440391 h 5818346"/>
              <a:gd name="connsiteX8699" fmla="*/ 41955 w 3503192"/>
              <a:gd name="connsiteY8699" fmla="*/ 2438408 h 5818346"/>
              <a:gd name="connsiteX8700" fmla="*/ 51289 w 3503192"/>
              <a:gd name="connsiteY8700" fmla="*/ 2429074 h 5818346"/>
              <a:gd name="connsiteX8701" fmla="*/ 49884 w 3503192"/>
              <a:gd name="connsiteY8701" fmla="*/ 2427669 h 5818346"/>
              <a:gd name="connsiteX8702" fmla="*/ 59299 w 3503192"/>
              <a:gd name="connsiteY8702" fmla="*/ 2418255 h 5818346"/>
              <a:gd name="connsiteX8703" fmla="*/ 57152 w 3503192"/>
              <a:gd name="connsiteY8703" fmla="*/ 2416108 h 5818346"/>
              <a:gd name="connsiteX8704" fmla="*/ 66815 w 3503192"/>
              <a:gd name="connsiteY8704" fmla="*/ 2406444 h 5818346"/>
              <a:gd name="connsiteX8705" fmla="*/ 64255 w 3503192"/>
              <a:gd name="connsiteY8705" fmla="*/ 2403883 h 5818346"/>
              <a:gd name="connsiteX8706" fmla="*/ 74083 w 3503192"/>
              <a:gd name="connsiteY8706" fmla="*/ 2394056 h 5818346"/>
              <a:gd name="connsiteX8707" fmla="*/ 71027 w 3503192"/>
              <a:gd name="connsiteY8707" fmla="*/ 2391000 h 5818346"/>
              <a:gd name="connsiteX8708" fmla="*/ 81351 w 3503192"/>
              <a:gd name="connsiteY8708" fmla="*/ 2380676 h 5818346"/>
              <a:gd name="connsiteX8709" fmla="*/ 77964 w 3503192"/>
              <a:gd name="connsiteY8709" fmla="*/ 2377290 h 5818346"/>
              <a:gd name="connsiteX8710" fmla="*/ 88700 w 3503192"/>
              <a:gd name="connsiteY8710" fmla="*/ 2366553 h 5818346"/>
              <a:gd name="connsiteX8711" fmla="*/ 225306 w 3503192"/>
              <a:gd name="connsiteY8711" fmla="*/ 2361598 h 5818346"/>
              <a:gd name="connsiteX8712" fmla="*/ 236044 w 3503192"/>
              <a:gd name="connsiteY8712" fmla="*/ 2372335 h 5818346"/>
              <a:gd name="connsiteX8713" fmla="*/ 225306 w 3503192"/>
              <a:gd name="connsiteY8713" fmla="*/ 2383071 h 5818346"/>
              <a:gd name="connsiteX8714" fmla="*/ 214569 w 3503192"/>
              <a:gd name="connsiteY8714" fmla="*/ 2372335 h 5818346"/>
              <a:gd name="connsiteX8715" fmla="*/ 225306 w 3503192"/>
              <a:gd name="connsiteY8715" fmla="*/ 2361598 h 5818346"/>
              <a:gd name="connsiteX8716" fmla="*/ 574333 w 3503192"/>
              <a:gd name="connsiteY8716" fmla="*/ 2353339 h 5818346"/>
              <a:gd name="connsiteX8717" fmla="*/ 585070 w 3503192"/>
              <a:gd name="connsiteY8717" fmla="*/ 2364075 h 5818346"/>
              <a:gd name="connsiteX8718" fmla="*/ 574333 w 3503192"/>
              <a:gd name="connsiteY8718" fmla="*/ 2374811 h 5818346"/>
              <a:gd name="connsiteX8719" fmla="*/ 563597 w 3503192"/>
              <a:gd name="connsiteY8719" fmla="*/ 2364075 h 5818346"/>
              <a:gd name="connsiteX8720" fmla="*/ 574333 w 3503192"/>
              <a:gd name="connsiteY8720" fmla="*/ 2353339 h 5818346"/>
              <a:gd name="connsiteX8721" fmla="*/ 131979 w 3503192"/>
              <a:gd name="connsiteY8721" fmla="*/ 2352678 h 5818346"/>
              <a:gd name="connsiteX8722" fmla="*/ 142717 w 3503192"/>
              <a:gd name="connsiteY8722" fmla="*/ 2363414 h 5818346"/>
              <a:gd name="connsiteX8723" fmla="*/ 131979 w 3503192"/>
              <a:gd name="connsiteY8723" fmla="*/ 2374152 h 5818346"/>
              <a:gd name="connsiteX8724" fmla="*/ 121242 w 3503192"/>
              <a:gd name="connsiteY8724" fmla="*/ 2363414 h 5818346"/>
              <a:gd name="connsiteX8725" fmla="*/ 131979 w 3503192"/>
              <a:gd name="connsiteY8725" fmla="*/ 2352678 h 5818346"/>
              <a:gd name="connsiteX8726" fmla="*/ 95803 w 3503192"/>
              <a:gd name="connsiteY8726" fmla="*/ 2352017 h 5818346"/>
              <a:gd name="connsiteX8727" fmla="*/ 106540 w 3503192"/>
              <a:gd name="connsiteY8727" fmla="*/ 2362754 h 5818346"/>
              <a:gd name="connsiteX8728" fmla="*/ 95803 w 3503192"/>
              <a:gd name="connsiteY8728" fmla="*/ 2373490 h 5818346"/>
              <a:gd name="connsiteX8729" fmla="*/ 85067 w 3503192"/>
              <a:gd name="connsiteY8729" fmla="*/ 2362754 h 5818346"/>
              <a:gd name="connsiteX8730" fmla="*/ 95803 w 3503192"/>
              <a:gd name="connsiteY8730" fmla="*/ 2352017 h 5818346"/>
              <a:gd name="connsiteX8731" fmla="*/ 1723501 w 3503192"/>
              <a:gd name="connsiteY8731" fmla="*/ 2350696 h 5818346"/>
              <a:gd name="connsiteX8732" fmla="*/ 1734237 w 3503192"/>
              <a:gd name="connsiteY8732" fmla="*/ 2361432 h 5818346"/>
              <a:gd name="connsiteX8733" fmla="*/ 1723501 w 3503192"/>
              <a:gd name="connsiteY8733" fmla="*/ 2372170 h 5818346"/>
              <a:gd name="connsiteX8734" fmla="*/ 1712764 w 3503192"/>
              <a:gd name="connsiteY8734" fmla="*/ 2361432 h 5818346"/>
              <a:gd name="connsiteX8735" fmla="*/ 1723501 w 3503192"/>
              <a:gd name="connsiteY8735" fmla="*/ 2350696 h 5818346"/>
              <a:gd name="connsiteX8736" fmla="*/ 256526 w 3503192"/>
              <a:gd name="connsiteY8736" fmla="*/ 2343097 h 5818346"/>
              <a:gd name="connsiteX8737" fmla="*/ 267264 w 3503192"/>
              <a:gd name="connsiteY8737" fmla="*/ 2353833 h 5818346"/>
              <a:gd name="connsiteX8738" fmla="*/ 256526 w 3503192"/>
              <a:gd name="connsiteY8738" fmla="*/ 2364571 h 5818346"/>
              <a:gd name="connsiteX8739" fmla="*/ 245790 w 3503192"/>
              <a:gd name="connsiteY8739" fmla="*/ 2353833 h 5818346"/>
              <a:gd name="connsiteX8740" fmla="*/ 256526 w 3503192"/>
              <a:gd name="connsiteY8740" fmla="*/ 2343097 h 5818346"/>
              <a:gd name="connsiteX8741" fmla="*/ 103238 w 3503192"/>
              <a:gd name="connsiteY8741" fmla="*/ 2336820 h 5818346"/>
              <a:gd name="connsiteX8742" fmla="*/ 113976 w 3503192"/>
              <a:gd name="connsiteY8742" fmla="*/ 2347557 h 5818346"/>
              <a:gd name="connsiteX8743" fmla="*/ 103238 w 3503192"/>
              <a:gd name="connsiteY8743" fmla="*/ 2358293 h 5818346"/>
              <a:gd name="connsiteX8744" fmla="*/ 92502 w 3503192"/>
              <a:gd name="connsiteY8744" fmla="*/ 2347557 h 5818346"/>
              <a:gd name="connsiteX8745" fmla="*/ 103238 w 3503192"/>
              <a:gd name="connsiteY8745" fmla="*/ 2336820 h 5818346"/>
              <a:gd name="connsiteX8746" fmla="*/ 146185 w 3503192"/>
              <a:gd name="connsiteY8746" fmla="*/ 2335334 h 5818346"/>
              <a:gd name="connsiteX8747" fmla="*/ 156923 w 3503192"/>
              <a:gd name="connsiteY8747" fmla="*/ 2346071 h 5818346"/>
              <a:gd name="connsiteX8748" fmla="*/ 146185 w 3503192"/>
              <a:gd name="connsiteY8748" fmla="*/ 2356807 h 5818346"/>
              <a:gd name="connsiteX8749" fmla="*/ 135449 w 3503192"/>
              <a:gd name="connsiteY8749" fmla="*/ 2346071 h 5818346"/>
              <a:gd name="connsiteX8750" fmla="*/ 146185 w 3503192"/>
              <a:gd name="connsiteY8750" fmla="*/ 2335334 h 5818346"/>
              <a:gd name="connsiteX8751" fmla="*/ 652630 w 3503192"/>
              <a:gd name="connsiteY8751" fmla="*/ 2333682 h 5818346"/>
              <a:gd name="connsiteX8752" fmla="*/ 663366 w 3503192"/>
              <a:gd name="connsiteY8752" fmla="*/ 2344418 h 5818346"/>
              <a:gd name="connsiteX8753" fmla="*/ 652630 w 3503192"/>
              <a:gd name="connsiteY8753" fmla="*/ 2355156 h 5818346"/>
              <a:gd name="connsiteX8754" fmla="*/ 641894 w 3503192"/>
              <a:gd name="connsiteY8754" fmla="*/ 2344418 h 5818346"/>
              <a:gd name="connsiteX8755" fmla="*/ 652630 w 3503192"/>
              <a:gd name="connsiteY8755" fmla="*/ 2333682 h 5818346"/>
              <a:gd name="connsiteX8756" fmla="*/ 1914450 w 3503192"/>
              <a:gd name="connsiteY8756" fmla="*/ 2332360 h 5818346"/>
              <a:gd name="connsiteX8757" fmla="*/ 1925188 w 3503192"/>
              <a:gd name="connsiteY8757" fmla="*/ 2343097 h 5818346"/>
              <a:gd name="connsiteX8758" fmla="*/ 1914450 w 3503192"/>
              <a:gd name="connsiteY8758" fmla="*/ 2353834 h 5818346"/>
              <a:gd name="connsiteX8759" fmla="*/ 1903714 w 3503192"/>
              <a:gd name="connsiteY8759" fmla="*/ 2343097 h 5818346"/>
              <a:gd name="connsiteX8760" fmla="*/ 1914450 w 3503192"/>
              <a:gd name="connsiteY8760" fmla="*/ 2332360 h 5818346"/>
              <a:gd name="connsiteX8761" fmla="*/ 84571 w 3503192"/>
              <a:gd name="connsiteY8761" fmla="*/ 2325257 h 5818346"/>
              <a:gd name="connsiteX8762" fmla="*/ 95309 w 3503192"/>
              <a:gd name="connsiteY8762" fmla="*/ 2335993 h 5818346"/>
              <a:gd name="connsiteX8763" fmla="*/ 84654 w 3503192"/>
              <a:gd name="connsiteY8763" fmla="*/ 2346648 h 5818346"/>
              <a:gd name="connsiteX8764" fmla="*/ 87380 w 3503192"/>
              <a:gd name="connsiteY8764" fmla="*/ 2349374 h 5818346"/>
              <a:gd name="connsiteX8765" fmla="*/ 76809 w 3503192"/>
              <a:gd name="connsiteY8765" fmla="*/ 2359944 h 5818346"/>
              <a:gd name="connsiteX8766" fmla="*/ 79122 w 3503192"/>
              <a:gd name="connsiteY8766" fmla="*/ 2362257 h 5818346"/>
              <a:gd name="connsiteX8767" fmla="*/ 68714 w 3503192"/>
              <a:gd name="connsiteY8767" fmla="*/ 2372664 h 5818346"/>
              <a:gd name="connsiteX8768" fmla="*/ 70202 w 3503192"/>
              <a:gd name="connsiteY8768" fmla="*/ 2374151 h 5818346"/>
              <a:gd name="connsiteX8769" fmla="*/ 59464 w 3503192"/>
              <a:gd name="connsiteY8769" fmla="*/ 2384887 h 5818346"/>
              <a:gd name="connsiteX8770" fmla="*/ 48727 w 3503192"/>
              <a:gd name="connsiteY8770" fmla="*/ 2374151 h 5818346"/>
              <a:gd name="connsiteX8771" fmla="*/ 59134 w 3503192"/>
              <a:gd name="connsiteY8771" fmla="*/ 2363744 h 5818346"/>
              <a:gd name="connsiteX8772" fmla="*/ 57648 w 3503192"/>
              <a:gd name="connsiteY8772" fmla="*/ 2362257 h 5818346"/>
              <a:gd name="connsiteX8773" fmla="*/ 68218 w 3503192"/>
              <a:gd name="connsiteY8773" fmla="*/ 2351688 h 5818346"/>
              <a:gd name="connsiteX8774" fmla="*/ 65906 w 3503192"/>
              <a:gd name="connsiteY8774" fmla="*/ 2349374 h 5818346"/>
              <a:gd name="connsiteX8775" fmla="*/ 76561 w 3503192"/>
              <a:gd name="connsiteY8775" fmla="*/ 2338720 h 5818346"/>
              <a:gd name="connsiteX8776" fmla="*/ 73835 w 3503192"/>
              <a:gd name="connsiteY8776" fmla="*/ 2335993 h 5818346"/>
              <a:gd name="connsiteX8777" fmla="*/ 84571 w 3503192"/>
              <a:gd name="connsiteY8777" fmla="*/ 2325257 h 5818346"/>
              <a:gd name="connsiteX8778" fmla="*/ 292535 w 3503192"/>
              <a:gd name="connsiteY8778" fmla="*/ 2323936 h 5818346"/>
              <a:gd name="connsiteX8779" fmla="*/ 303273 w 3503192"/>
              <a:gd name="connsiteY8779" fmla="*/ 2334672 h 5818346"/>
              <a:gd name="connsiteX8780" fmla="*/ 292535 w 3503192"/>
              <a:gd name="connsiteY8780" fmla="*/ 2345410 h 5818346"/>
              <a:gd name="connsiteX8781" fmla="*/ 281798 w 3503192"/>
              <a:gd name="connsiteY8781" fmla="*/ 2334672 h 5818346"/>
              <a:gd name="connsiteX8782" fmla="*/ 292535 w 3503192"/>
              <a:gd name="connsiteY8782" fmla="*/ 2323936 h 5818346"/>
              <a:gd name="connsiteX8783" fmla="*/ 111661 w 3503192"/>
              <a:gd name="connsiteY8783" fmla="*/ 2320798 h 5818346"/>
              <a:gd name="connsiteX8784" fmla="*/ 122397 w 3503192"/>
              <a:gd name="connsiteY8784" fmla="*/ 2331535 h 5818346"/>
              <a:gd name="connsiteX8785" fmla="*/ 111661 w 3503192"/>
              <a:gd name="connsiteY8785" fmla="*/ 2342271 h 5818346"/>
              <a:gd name="connsiteX8786" fmla="*/ 100924 w 3503192"/>
              <a:gd name="connsiteY8786" fmla="*/ 2331535 h 5818346"/>
              <a:gd name="connsiteX8787" fmla="*/ 111661 w 3503192"/>
              <a:gd name="connsiteY8787" fmla="*/ 2320798 h 5818346"/>
              <a:gd name="connsiteX8788" fmla="*/ 162868 w 3503192"/>
              <a:gd name="connsiteY8788" fmla="*/ 2317163 h 5818346"/>
              <a:gd name="connsiteX8789" fmla="*/ 173606 w 3503192"/>
              <a:gd name="connsiteY8789" fmla="*/ 2327900 h 5818346"/>
              <a:gd name="connsiteX8790" fmla="*/ 162868 w 3503192"/>
              <a:gd name="connsiteY8790" fmla="*/ 2338638 h 5818346"/>
              <a:gd name="connsiteX8791" fmla="*/ 152132 w 3503192"/>
              <a:gd name="connsiteY8791" fmla="*/ 2327900 h 5818346"/>
              <a:gd name="connsiteX8792" fmla="*/ 162868 w 3503192"/>
              <a:gd name="connsiteY8792" fmla="*/ 2317163 h 5818346"/>
              <a:gd name="connsiteX8793" fmla="*/ 2121093 w 3503192"/>
              <a:gd name="connsiteY8793" fmla="*/ 2314520 h 5818346"/>
              <a:gd name="connsiteX8794" fmla="*/ 2131829 w 3503192"/>
              <a:gd name="connsiteY8794" fmla="*/ 2325257 h 5818346"/>
              <a:gd name="connsiteX8795" fmla="*/ 2121093 w 3503192"/>
              <a:gd name="connsiteY8795" fmla="*/ 2335995 h 5818346"/>
              <a:gd name="connsiteX8796" fmla="*/ 2110356 w 3503192"/>
              <a:gd name="connsiteY8796" fmla="*/ 2325257 h 5818346"/>
              <a:gd name="connsiteX8797" fmla="*/ 2121093 w 3503192"/>
              <a:gd name="connsiteY8797" fmla="*/ 2314520 h 5818346"/>
              <a:gd name="connsiteX8798" fmla="*/ 739681 w 3503192"/>
              <a:gd name="connsiteY8798" fmla="*/ 2313199 h 5818346"/>
              <a:gd name="connsiteX8799" fmla="*/ 750417 w 3503192"/>
              <a:gd name="connsiteY8799" fmla="*/ 2323936 h 5818346"/>
              <a:gd name="connsiteX8800" fmla="*/ 739681 w 3503192"/>
              <a:gd name="connsiteY8800" fmla="*/ 2334674 h 5818346"/>
              <a:gd name="connsiteX8801" fmla="*/ 728945 w 3503192"/>
              <a:gd name="connsiteY8801" fmla="*/ 2323936 h 5818346"/>
              <a:gd name="connsiteX8802" fmla="*/ 739681 w 3503192"/>
              <a:gd name="connsiteY8802" fmla="*/ 2313199 h 5818346"/>
              <a:gd name="connsiteX8803" fmla="*/ 92170 w 3503192"/>
              <a:gd name="connsiteY8803" fmla="*/ 2311052 h 5818346"/>
              <a:gd name="connsiteX8804" fmla="*/ 102908 w 3503192"/>
              <a:gd name="connsiteY8804" fmla="*/ 2321789 h 5818346"/>
              <a:gd name="connsiteX8805" fmla="*/ 92170 w 3503192"/>
              <a:gd name="connsiteY8805" fmla="*/ 2332527 h 5818346"/>
              <a:gd name="connsiteX8806" fmla="*/ 81434 w 3503192"/>
              <a:gd name="connsiteY8806" fmla="*/ 2321789 h 5818346"/>
              <a:gd name="connsiteX8807" fmla="*/ 92170 w 3503192"/>
              <a:gd name="connsiteY8807" fmla="*/ 2311052 h 5818346"/>
              <a:gd name="connsiteX8808" fmla="*/ 66567 w 3503192"/>
              <a:gd name="connsiteY8808" fmla="*/ 2307749 h 5818346"/>
              <a:gd name="connsiteX8809" fmla="*/ 70698 w 3503192"/>
              <a:gd name="connsiteY8809" fmla="*/ 2311878 h 5818346"/>
              <a:gd name="connsiteX8810" fmla="*/ 66567 w 3503192"/>
              <a:gd name="connsiteY8810" fmla="*/ 2316009 h 5818346"/>
              <a:gd name="connsiteX8811" fmla="*/ 62438 w 3503192"/>
              <a:gd name="connsiteY8811" fmla="*/ 2311878 h 5818346"/>
              <a:gd name="connsiteX8812" fmla="*/ 66567 w 3503192"/>
              <a:gd name="connsiteY8812" fmla="*/ 2307749 h 5818346"/>
              <a:gd name="connsiteX8813" fmla="*/ 333664 w 3503192"/>
              <a:gd name="connsiteY8813" fmla="*/ 2303784 h 5818346"/>
              <a:gd name="connsiteX8814" fmla="*/ 344403 w 3503192"/>
              <a:gd name="connsiteY8814" fmla="*/ 2314520 h 5818346"/>
              <a:gd name="connsiteX8815" fmla="*/ 333664 w 3503192"/>
              <a:gd name="connsiteY8815" fmla="*/ 2325257 h 5818346"/>
              <a:gd name="connsiteX8816" fmla="*/ 322928 w 3503192"/>
              <a:gd name="connsiteY8816" fmla="*/ 2314520 h 5818346"/>
              <a:gd name="connsiteX8817" fmla="*/ 333664 w 3503192"/>
              <a:gd name="connsiteY8817" fmla="*/ 2303784 h 5818346"/>
              <a:gd name="connsiteX8818" fmla="*/ 120911 w 3503192"/>
              <a:gd name="connsiteY8818" fmla="*/ 2303784 h 5818346"/>
              <a:gd name="connsiteX8819" fmla="*/ 131647 w 3503192"/>
              <a:gd name="connsiteY8819" fmla="*/ 2314520 h 5818346"/>
              <a:gd name="connsiteX8820" fmla="*/ 120911 w 3503192"/>
              <a:gd name="connsiteY8820" fmla="*/ 2325257 h 5818346"/>
              <a:gd name="connsiteX8821" fmla="*/ 110175 w 3503192"/>
              <a:gd name="connsiteY8821" fmla="*/ 2314520 h 5818346"/>
              <a:gd name="connsiteX8822" fmla="*/ 120911 w 3503192"/>
              <a:gd name="connsiteY8822" fmla="*/ 2303784 h 5818346"/>
              <a:gd name="connsiteX8823" fmla="*/ 2343757 w 3503192"/>
              <a:gd name="connsiteY8823" fmla="*/ 2298334 h 5818346"/>
              <a:gd name="connsiteX8824" fmla="*/ 2354494 w 3503192"/>
              <a:gd name="connsiteY8824" fmla="*/ 2309070 h 5818346"/>
              <a:gd name="connsiteX8825" fmla="*/ 2343757 w 3503192"/>
              <a:gd name="connsiteY8825" fmla="*/ 2319806 h 5818346"/>
              <a:gd name="connsiteX8826" fmla="*/ 2333021 w 3503192"/>
              <a:gd name="connsiteY8826" fmla="*/ 2309070 h 5818346"/>
              <a:gd name="connsiteX8827" fmla="*/ 2343757 w 3503192"/>
              <a:gd name="connsiteY8827" fmla="*/ 2298334 h 5818346"/>
              <a:gd name="connsiteX8828" fmla="*/ 182194 w 3503192"/>
              <a:gd name="connsiteY8828" fmla="*/ 2298167 h 5818346"/>
              <a:gd name="connsiteX8829" fmla="*/ 192932 w 3503192"/>
              <a:gd name="connsiteY8829" fmla="*/ 2308903 h 5818346"/>
              <a:gd name="connsiteX8830" fmla="*/ 182194 w 3503192"/>
              <a:gd name="connsiteY8830" fmla="*/ 2319642 h 5818346"/>
              <a:gd name="connsiteX8831" fmla="*/ 171457 w 3503192"/>
              <a:gd name="connsiteY8831" fmla="*/ 2308903 h 5818346"/>
              <a:gd name="connsiteX8832" fmla="*/ 182194 w 3503192"/>
              <a:gd name="connsiteY8832" fmla="*/ 2298167 h 5818346"/>
              <a:gd name="connsiteX8833" fmla="*/ 99768 w 3503192"/>
              <a:gd name="connsiteY8833" fmla="*/ 2295856 h 5818346"/>
              <a:gd name="connsiteX8834" fmla="*/ 110506 w 3503192"/>
              <a:gd name="connsiteY8834" fmla="*/ 2306592 h 5818346"/>
              <a:gd name="connsiteX8835" fmla="*/ 99768 w 3503192"/>
              <a:gd name="connsiteY8835" fmla="*/ 2317330 h 5818346"/>
              <a:gd name="connsiteX8836" fmla="*/ 89031 w 3503192"/>
              <a:gd name="connsiteY8836" fmla="*/ 2306592 h 5818346"/>
              <a:gd name="connsiteX8837" fmla="*/ 99768 w 3503192"/>
              <a:gd name="connsiteY8837" fmla="*/ 2295856 h 5818346"/>
              <a:gd name="connsiteX8838" fmla="*/ 836312 w 3503192"/>
              <a:gd name="connsiteY8838" fmla="*/ 2292056 h 5818346"/>
              <a:gd name="connsiteX8839" fmla="*/ 847048 w 3503192"/>
              <a:gd name="connsiteY8839" fmla="*/ 2302792 h 5818346"/>
              <a:gd name="connsiteX8840" fmla="*/ 836312 w 3503192"/>
              <a:gd name="connsiteY8840" fmla="*/ 2313530 h 5818346"/>
              <a:gd name="connsiteX8841" fmla="*/ 825575 w 3503192"/>
              <a:gd name="connsiteY8841" fmla="*/ 2302792 h 5818346"/>
              <a:gd name="connsiteX8842" fmla="*/ 836312 w 3503192"/>
              <a:gd name="connsiteY8842" fmla="*/ 2292056 h 5818346"/>
              <a:gd name="connsiteX8843" fmla="*/ 3326089 w 3503192"/>
              <a:gd name="connsiteY8843" fmla="*/ 2291726 h 5818346"/>
              <a:gd name="connsiteX8844" fmla="*/ 3336825 w 3503192"/>
              <a:gd name="connsiteY8844" fmla="*/ 2302463 h 5818346"/>
              <a:gd name="connsiteX8845" fmla="*/ 3326089 w 3503192"/>
              <a:gd name="connsiteY8845" fmla="*/ 2313201 h 5818346"/>
              <a:gd name="connsiteX8846" fmla="*/ 3315353 w 3503192"/>
              <a:gd name="connsiteY8846" fmla="*/ 2302463 h 5818346"/>
              <a:gd name="connsiteX8847" fmla="*/ 3326089 w 3503192"/>
              <a:gd name="connsiteY8847" fmla="*/ 2291726 h 5818346"/>
              <a:gd name="connsiteX8848" fmla="*/ 76642 w 3503192"/>
              <a:gd name="connsiteY8848" fmla="*/ 2288258 h 5818346"/>
              <a:gd name="connsiteX8849" fmla="*/ 87380 w 3503192"/>
              <a:gd name="connsiteY8849" fmla="*/ 2298995 h 5818346"/>
              <a:gd name="connsiteX8850" fmla="*/ 76642 w 3503192"/>
              <a:gd name="connsiteY8850" fmla="*/ 2309733 h 5818346"/>
              <a:gd name="connsiteX8851" fmla="*/ 65906 w 3503192"/>
              <a:gd name="connsiteY8851" fmla="*/ 2298995 h 5818346"/>
              <a:gd name="connsiteX8852" fmla="*/ 76642 w 3503192"/>
              <a:gd name="connsiteY8852" fmla="*/ 2288258 h 5818346"/>
              <a:gd name="connsiteX8853" fmla="*/ 131483 w 3503192"/>
              <a:gd name="connsiteY8853" fmla="*/ 2285945 h 5818346"/>
              <a:gd name="connsiteX8854" fmla="*/ 142219 w 3503192"/>
              <a:gd name="connsiteY8854" fmla="*/ 2296681 h 5818346"/>
              <a:gd name="connsiteX8855" fmla="*/ 131483 w 3503192"/>
              <a:gd name="connsiteY8855" fmla="*/ 2307417 h 5818346"/>
              <a:gd name="connsiteX8856" fmla="*/ 120746 w 3503192"/>
              <a:gd name="connsiteY8856" fmla="*/ 2296681 h 5818346"/>
              <a:gd name="connsiteX8857" fmla="*/ 131483 w 3503192"/>
              <a:gd name="connsiteY8857" fmla="*/ 2285945 h 5818346"/>
              <a:gd name="connsiteX8858" fmla="*/ 2581616 w 3503192"/>
              <a:gd name="connsiteY8858" fmla="*/ 2285449 h 5818346"/>
              <a:gd name="connsiteX8859" fmla="*/ 2592354 w 3503192"/>
              <a:gd name="connsiteY8859" fmla="*/ 2296185 h 5818346"/>
              <a:gd name="connsiteX8860" fmla="*/ 2581616 w 3503192"/>
              <a:gd name="connsiteY8860" fmla="*/ 2306921 h 5818346"/>
              <a:gd name="connsiteX8861" fmla="*/ 2570880 w 3503192"/>
              <a:gd name="connsiteY8861" fmla="*/ 2296185 h 5818346"/>
              <a:gd name="connsiteX8862" fmla="*/ 2581616 w 3503192"/>
              <a:gd name="connsiteY8862" fmla="*/ 2285449 h 5818346"/>
              <a:gd name="connsiteX8863" fmla="*/ 380411 w 3503192"/>
              <a:gd name="connsiteY8863" fmla="*/ 2282806 h 5818346"/>
              <a:gd name="connsiteX8864" fmla="*/ 391149 w 3503192"/>
              <a:gd name="connsiteY8864" fmla="*/ 2293542 h 5818346"/>
              <a:gd name="connsiteX8865" fmla="*/ 380411 w 3503192"/>
              <a:gd name="connsiteY8865" fmla="*/ 2304280 h 5818346"/>
              <a:gd name="connsiteX8866" fmla="*/ 369675 w 3503192"/>
              <a:gd name="connsiteY8866" fmla="*/ 2293542 h 5818346"/>
              <a:gd name="connsiteX8867" fmla="*/ 380411 w 3503192"/>
              <a:gd name="connsiteY8867" fmla="*/ 2282806 h 5818346"/>
              <a:gd name="connsiteX8868" fmla="*/ 3082282 w 3503192"/>
              <a:gd name="connsiteY8868" fmla="*/ 2281319 h 5818346"/>
              <a:gd name="connsiteX8869" fmla="*/ 3093020 w 3503192"/>
              <a:gd name="connsiteY8869" fmla="*/ 2292056 h 5818346"/>
              <a:gd name="connsiteX8870" fmla="*/ 3082282 w 3503192"/>
              <a:gd name="connsiteY8870" fmla="*/ 2302792 h 5818346"/>
              <a:gd name="connsiteX8871" fmla="*/ 3071545 w 3503192"/>
              <a:gd name="connsiteY8871" fmla="*/ 2292056 h 5818346"/>
              <a:gd name="connsiteX8872" fmla="*/ 3082282 w 3503192"/>
              <a:gd name="connsiteY8872" fmla="*/ 2281319 h 5818346"/>
              <a:gd name="connsiteX8873" fmla="*/ 107532 w 3503192"/>
              <a:gd name="connsiteY8873" fmla="*/ 2279834 h 5818346"/>
              <a:gd name="connsiteX8874" fmla="*/ 118268 w 3503192"/>
              <a:gd name="connsiteY8874" fmla="*/ 2290570 h 5818346"/>
              <a:gd name="connsiteX8875" fmla="*/ 107532 w 3503192"/>
              <a:gd name="connsiteY8875" fmla="*/ 2301308 h 5818346"/>
              <a:gd name="connsiteX8876" fmla="*/ 96795 w 3503192"/>
              <a:gd name="connsiteY8876" fmla="*/ 2290570 h 5818346"/>
              <a:gd name="connsiteX8877" fmla="*/ 107532 w 3503192"/>
              <a:gd name="connsiteY8877" fmla="*/ 2279834 h 5818346"/>
              <a:gd name="connsiteX8878" fmla="*/ 2830712 w 3503192"/>
              <a:gd name="connsiteY8878" fmla="*/ 2278842 h 5818346"/>
              <a:gd name="connsiteX8879" fmla="*/ 2841450 w 3503192"/>
              <a:gd name="connsiteY8879" fmla="*/ 2289578 h 5818346"/>
              <a:gd name="connsiteX8880" fmla="*/ 2830712 w 3503192"/>
              <a:gd name="connsiteY8880" fmla="*/ 2300316 h 5818346"/>
              <a:gd name="connsiteX8881" fmla="*/ 2819975 w 3503192"/>
              <a:gd name="connsiteY8881" fmla="*/ 2289578 h 5818346"/>
              <a:gd name="connsiteX8882" fmla="*/ 2830712 w 3503192"/>
              <a:gd name="connsiteY8882" fmla="*/ 2278842 h 5818346"/>
              <a:gd name="connsiteX8883" fmla="*/ 204658 w 3503192"/>
              <a:gd name="connsiteY8883" fmla="*/ 2278181 h 5818346"/>
              <a:gd name="connsiteX8884" fmla="*/ 215396 w 3503192"/>
              <a:gd name="connsiteY8884" fmla="*/ 2288917 h 5818346"/>
              <a:gd name="connsiteX8885" fmla="*/ 204658 w 3503192"/>
              <a:gd name="connsiteY8885" fmla="*/ 2299655 h 5818346"/>
              <a:gd name="connsiteX8886" fmla="*/ 193922 w 3503192"/>
              <a:gd name="connsiteY8886" fmla="*/ 2288917 h 5818346"/>
              <a:gd name="connsiteX8887" fmla="*/ 204658 w 3503192"/>
              <a:gd name="connsiteY8887" fmla="*/ 2278181 h 5818346"/>
              <a:gd name="connsiteX8888" fmla="*/ 86057 w 3503192"/>
              <a:gd name="connsiteY8888" fmla="*/ 2274548 h 5818346"/>
              <a:gd name="connsiteX8889" fmla="*/ 96795 w 3503192"/>
              <a:gd name="connsiteY8889" fmla="*/ 2285284 h 5818346"/>
              <a:gd name="connsiteX8890" fmla="*/ 86057 w 3503192"/>
              <a:gd name="connsiteY8890" fmla="*/ 2296022 h 5818346"/>
              <a:gd name="connsiteX8891" fmla="*/ 75321 w 3503192"/>
              <a:gd name="connsiteY8891" fmla="*/ 2285284 h 5818346"/>
              <a:gd name="connsiteX8892" fmla="*/ 86057 w 3503192"/>
              <a:gd name="connsiteY8892" fmla="*/ 2274548 h 5818346"/>
              <a:gd name="connsiteX8893" fmla="*/ 943018 w 3503192"/>
              <a:gd name="connsiteY8893" fmla="*/ 2270252 h 5818346"/>
              <a:gd name="connsiteX8894" fmla="*/ 953756 w 3503192"/>
              <a:gd name="connsiteY8894" fmla="*/ 2280988 h 5818346"/>
              <a:gd name="connsiteX8895" fmla="*/ 943018 w 3503192"/>
              <a:gd name="connsiteY8895" fmla="*/ 2291726 h 5818346"/>
              <a:gd name="connsiteX8896" fmla="*/ 932282 w 3503192"/>
              <a:gd name="connsiteY8896" fmla="*/ 2280988 h 5818346"/>
              <a:gd name="connsiteX8897" fmla="*/ 943018 w 3503192"/>
              <a:gd name="connsiteY8897" fmla="*/ 2270252 h 5818346"/>
              <a:gd name="connsiteX8898" fmla="*/ 143540 w 3503192"/>
              <a:gd name="connsiteY8898" fmla="*/ 2267279 h 5818346"/>
              <a:gd name="connsiteX8899" fmla="*/ 154278 w 3503192"/>
              <a:gd name="connsiteY8899" fmla="*/ 2278016 h 5818346"/>
              <a:gd name="connsiteX8900" fmla="*/ 143540 w 3503192"/>
              <a:gd name="connsiteY8900" fmla="*/ 2288754 h 5818346"/>
              <a:gd name="connsiteX8901" fmla="*/ 132804 w 3503192"/>
              <a:gd name="connsiteY8901" fmla="*/ 2278016 h 5818346"/>
              <a:gd name="connsiteX8902" fmla="*/ 143540 w 3503192"/>
              <a:gd name="connsiteY8902" fmla="*/ 2267279 h 5818346"/>
              <a:gd name="connsiteX8903" fmla="*/ 115792 w 3503192"/>
              <a:gd name="connsiteY8903" fmla="*/ 2262984 h 5818346"/>
              <a:gd name="connsiteX8904" fmla="*/ 126528 w 3503192"/>
              <a:gd name="connsiteY8904" fmla="*/ 2273720 h 5818346"/>
              <a:gd name="connsiteX8905" fmla="*/ 115792 w 3503192"/>
              <a:gd name="connsiteY8905" fmla="*/ 2284457 h 5818346"/>
              <a:gd name="connsiteX8906" fmla="*/ 105055 w 3503192"/>
              <a:gd name="connsiteY8906" fmla="*/ 2273720 h 5818346"/>
              <a:gd name="connsiteX8907" fmla="*/ 115792 w 3503192"/>
              <a:gd name="connsiteY8907" fmla="*/ 2262984 h 5818346"/>
              <a:gd name="connsiteX8908" fmla="*/ 433269 w 3503192"/>
              <a:gd name="connsiteY8908" fmla="*/ 2261002 h 5818346"/>
              <a:gd name="connsiteX8909" fmla="*/ 444006 w 3503192"/>
              <a:gd name="connsiteY8909" fmla="*/ 2271738 h 5818346"/>
              <a:gd name="connsiteX8910" fmla="*/ 433269 w 3503192"/>
              <a:gd name="connsiteY8910" fmla="*/ 2282476 h 5818346"/>
              <a:gd name="connsiteX8911" fmla="*/ 422533 w 3503192"/>
              <a:gd name="connsiteY8911" fmla="*/ 2271738 h 5818346"/>
              <a:gd name="connsiteX8912" fmla="*/ 433269 w 3503192"/>
              <a:gd name="connsiteY8912" fmla="*/ 2261002 h 5818346"/>
              <a:gd name="connsiteX8913" fmla="*/ 94978 w 3503192"/>
              <a:gd name="connsiteY8913" fmla="*/ 2260012 h 5818346"/>
              <a:gd name="connsiteX8914" fmla="*/ 105716 w 3503192"/>
              <a:gd name="connsiteY8914" fmla="*/ 2270748 h 5818346"/>
              <a:gd name="connsiteX8915" fmla="*/ 94978 w 3503192"/>
              <a:gd name="connsiteY8915" fmla="*/ 2281486 h 5818346"/>
              <a:gd name="connsiteX8916" fmla="*/ 84242 w 3503192"/>
              <a:gd name="connsiteY8916" fmla="*/ 2270748 h 5818346"/>
              <a:gd name="connsiteX8917" fmla="*/ 94978 w 3503192"/>
              <a:gd name="connsiteY8917" fmla="*/ 2260012 h 5818346"/>
              <a:gd name="connsiteX8918" fmla="*/ 230756 w 3503192"/>
              <a:gd name="connsiteY8918" fmla="*/ 2257369 h 5818346"/>
              <a:gd name="connsiteX8919" fmla="*/ 241494 w 3503192"/>
              <a:gd name="connsiteY8919" fmla="*/ 2268105 h 5818346"/>
              <a:gd name="connsiteX8920" fmla="*/ 230756 w 3503192"/>
              <a:gd name="connsiteY8920" fmla="*/ 2278843 h 5818346"/>
              <a:gd name="connsiteX8921" fmla="*/ 220020 w 3503192"/>
              <a:gd name="connsiteY8921" fmla="*/ 2268105 h 5818346"/>
              <a:gd name="connsiteX8922" fmla="*/ 230756 w 3503192"/>
              <a:gd name="connsiteY8922" fmla="*/ 2257369 h 5818346"/>
              <a:gd name="connsiteX8923" fmla="*/ 1060794 w 3503192"/>
              <a:gd name="connsiteY8923" fmla="*/ 2247787 h 5818346"/>
              <a:gd name="connsiteX8924" fmla="*/ 1071532 w 3503192"/>
              <a:gd name="connsiteY8924" fmla="*/ 2258524 h 5818346"/>
              <a:gd name="connsiteX8925" fmla="*/ 1060794 w 3503192"/>
              <a:gd name="connsiteY8925" fmla="*/ 2269260 h 5818346"/>
              <a:gd name="connsiteX8926" fmla="*/ 1050057 w 3503192"/>
              <a:gd name="connsiteY8926" fmla="*/ 2258524 h 5818346"/>
              <a:gd name="connsiteX8927" fmla="*/ 1060794 w 3503192"/>
              <a:gd name="connsiteY8927" fmla="*/ 2247787 h 5818346"/>
              <a:gd name="connsiteX8928" fmla="*/ 157582 w 3503192"/>
              <a:gd name="connsiteY8928" fmla="*/ 2247622 h 5818346"/>
              <a:gd name="connsiteX8929" fmla="*/ 168318 w 3503192"/>
              <a:gd name="connsiteY8929" fmla="*/ 2258359 h 5818346"/>
              <a:gd name="connsiteX8930" fmla="*/ 157582 w 3503192"/>
              <a:gd name="connsiteY8930" fmla="*/ 2269097 h 5818346"/>
              <a:gd name="connsiteX8931" fmla="*/ 146846 w 3503192"/>
              <a:gd name="connsiteY8931" fmla="*/ 2258359 h 5818346"/>
              <a:gd name="connsiteX8932" fmla="*/ 157582 w 3503192"/>
              <a:gd name="connsiteY8932" fmla="*/ 2247622 h 5818346"/>
              <a:gd name="connsiteX8933" fmla="*/ 124546 w 3503192"/>
              <a:gd name="connsiteY8933" fmla="*/ 2245309 h 5818346"/>
              <a:gd name="connsiteX8934" fmla="*/ 135282 w 3503192"/>
              <a:gd name="connsiteY8934" fmla="*/ 2256045 h 5818346"/>
              <a:gd name="connsiteX8935" fmla="*/ 124546 w 3503192"/>
              <a:gd name="connsiteY8935" fmla="*/ 2266784 h 5818346"/>
              <a:gd name="connsiteX8936" fmla="*/ 113809 w 3503192"/>
              <a:gd name="connsiteY8936" fmla="*/ 2256045 h 5818346"/>
              <a:gd name="connsiteX8937" fmla="*/ 124546 w 3503192"/>
              <a:gd name="connsiteY8937" fmla="*/ 2245309 h 5818346"/>
              <a:gd name="connsiteX8938" fmla="*/ 103567 w 3503192"/>
              <a:gd name="connsiteY8938" fmla="*/ 2244484 h 5818346"/>
              <a:gd name="connsiteX8939" fmla="*/ 114305 w 3503192"/>
              <a:gd name="connsiteY8939" fmla="*/ 2255220 h 5818346"/>
              <a:gd name="connsiteX8940" fmla="*/ 103567 w 3503192"/>
              <a:gd name="connsiteY8940" fmla="*/ 2265958 h 5818346"/>
              <a:gd name="connsiteX8941" fmla="*/ 92831 w 3503192"/>
              <a:gd name="connsiteY8941" fmla="*/ 2255220 h 5818346"/>
              <a:gd name="connsiteX8942" fmla="*/ 103567 w 3503192"/>
              <a:gd name="connsiteY8942" fmla="*/ 2244484 h 5818346"/>
              <a:gd name="connsiteX8943" fmla="*/ 492899 w 3503192"/>
              <a:gd name="connsiteY8943" fmla="*/ 2238373 h 5818346"/>
              <a:gd name="connsiteX8944" fmla="*/ 503636 w 3503192"/>
              <a:gd name="connsiteY8944" fmla="*/ 2249109 h 5818346"/>
              <a:gd name="connsiteX8945" fmla="*/ 492899 w 3503192"/>
              <a:gd name="connsiteY8945" fmla="*/ 2259847 h 5818346"/>
              <a:gd name="connsiteX8946" fmla="*/ 482163 w 3503192"/>
              <a:gd name="connsiteY8946" fmla="*/ 2249109 h 5818346"/>
              <a:gd name="connsiteX8947" fmla="*/ 492899 w 3503192"/>
              <a:gd name="connsiteY8947" fmla="*/ 2238373 h 5818346"/>
              <a:gd name="connsiteX8948" fmla="*/ 260655 w 3503192"/>
              <a:gd name="connsiteY8948" fmla="*/ 2235730 h 5818346"/>
              <a:gd name="connsiteX8949" fmla="*/ 271393 w 3503192"/>
              <a:gd name="connsiteY8949" fmla="*/ 2246466 h 5818346"/>
              <a:gd name="connsiteX8950" fmla="*/ 260655 w 3503192"/>
              <a:gd name="connsiteY8950" fmla="*/ 2257204 h 5818346"/>
              <a:gd name="connsiteX8951" fmla="*/ 249919 w 3503192"/>
              <a:gd name="connsiteY8951" fmla="*/ 2246466 h 5818346"/>
              <a:gd name="connsiteX8952" fmla="*/ 260655 w 3503192"/>
              <a:gd name="connsiteY8952" fmla="*/ 2235730 h 5818346"/>
              <a:gd name="connsiteX8953" fmla="*/ 85234 w 3503192"/>
              <a:gd name="connsiteY8953" fmla="*/ 2230775 h 5818346"/>
              <a:gd name="connsiteX8954" fmla="*/ 92337 w 3503192"/>
              <a:gd name="connsiteY8954" fmla="*/ 2237878 h 5818346"/>
              <a:gd name="connsiteX8955" fmla="*/ 85234 w 3503192"/>
              <a:gd name="connsiteY8955" fmla="*/ 2244980 h 5818346"/>
              <a:gd name="connsiteX8956" fmla="*/ 78130 w 3503192"/>
              <a:gd name="connsiteY8956" fmla="*/ 2237878 h 5818346"/>
              <a:gd name="connsiteX8957" fmla="*/ 85234 w 3503192"/>
              <a:gd name="connsiteY8957" fmla="*/ 2230775 h 5818346"/>
              <a:gd name="connsiteX8958" fmla="*/ 111992 w 3503192"/>
              <a:gd name="connsiteY8958" fmla="*/ 2228132 h 5818346"/>
              <a:gd name="connsiteX8959" fmla="*/ 122728 w 3503192"/>
              <a:gd name="connsiteY8959" fmla="*/ 2238868 h 5818346"/>
              <a:gd name="connsiteX8960" fmla="*/ 111992 w 3503192"/>
              <a:gd name="connsiteY8960" fmla="*/ 2249605 h 5818346"/>
              <a:gd name="connsiteX8961" fmla="*/ 101256 w 3503192"/>
              <a:gd name="connsiteY8961" fmla="*/ 2238868 h 5818346"/>
              <a:gd name="connsiteX8962" fmla="*/ 111992 w 3503192"/>
              <a:gd name="connsiteY8962" fmla="*/ 2228132 h 5818346"/>
              <a:gd name="connsiteX8963" fmla="*/ 173769 w 3503192"/>
              <a:gd name="connsiteY8963" fmla="*/ 2226975 h 5818346"/>
              <a:gd name="connsiteX8964" fmla="*/ 184507 w 3503192"/>
              <a:gd name="connsiteY8964" fmla="*/ 2237712 h 5818346"/>
              <a:gd name="connsiteX8965" fmla="*/ 173769 w 3503192"/>
              <a:gd name="connsiteY8965" fmla="*/ 2248450 h 5818346"/>
              <a:gd name="connsiteX8966" fmla="*/ 163033 w 3503192"/>
              <a:gd name="connsiteY8966" fmla="*/ 2237712 h 5818346"/>
              <a:gd name="connsiteX8967" fmla="*/ 173769 w 3503192"/>
              <a:gd name="connsiteY8967" fmla="*/ 2226975 h 5818346"/>
              <a:gd name="connsiteX8968" fmla="*/ 134125 w 3503192"/>
              <a:gd name="connsiteY8968" fmla="*/ 2226480 h 5818346"/>
              <a:gd name="connsiteX8969" fmla="*/ 144864 w 3503192"/>
              <a:gd name="connsiteY8969" fmla="*/ 2237216 h 5818346"/>
              <a:gd name="connsiteX8970" fmla="*/ 134125 w 3503192"/>
              <a:gd name="connsiteY8970" fmla="*/ 2247954 h 5818346"/>
              <a:gd name="connsiteX8971" fmla="*/ 123389 w 3503192"/>
              <a:gd name="connsiteY8971" fmla="*/ 2237216 h 5818346"/>
              <a:gd name="connsiteX8972" fmla="*/ 134125 w 3503192"/>
              <a:gd name="connsiteY8972" fmla="*/ 2226480 h 5818346"/>
              <a:gd name="connsiteX8973" fmla="*/ 1189964 w 3503192"/>
              <a:gd name="connsiteY8973" fmla="*/ 2224827 h 5818346"/>
              <a:gd name="connsiteX8974" fmla="*/ 1200702 w 3503192"/>
              <a:gd name="connsiteY8974" fmla="*/ 2235563 h 5818346"/>
              <a:gd name="connsiteX8975" fmla="*/ 1189964 w 3503192"/>
              <a:gd name="connsiteY8975" fmla="*/ 2246301 h 5818346"/>
              <a:gd name="connsiteX8976" fmla="*/ 1179228 w 3503192"/>
              <a:gd name="connsiteY8976" fmla="*/ 2235563 h 5818346"/>
              <a:gd name="connsiteX8977" fmla="*/ 1189964 w 3503192"/>
              <a:gd name="connsiteY8977" fmla="*/ 2224827 h 5818346"/>
              <a:gd name="connsiteX8978" fmla="*/ 559799 w 3503192"/>
              <a:gd name="connsiteY8978" fmla="*/ 2214918 h 5818346"/>
              <a:gd name="connsiteX8979" fmla="*/ 570535 w 3503192"/>
              <a:gd name="connsiteY8979" fmla="*/ 2225654 h 5818346"/>
              <a:gd name="connsiteX8980" fmla="*/ 559799 w 3503192"/>
              <a:gd name="connsiteY8980" fmla="*/ 2236392 h 5818346"/>
              <a:gd name="connsiteX8981" fmla="*/ 549063 w 3503192"/>
              <a:gd name="connsiteY8981" fmla="*/ 2225654 h 5818346"/>
              <a:gd name="connsiteX8982" fmla="*/ 559799 w 3503192"/>
              <a:gd name="connsiteY8982" fmla="*/ 2214918 h 5818346"/>
              <a:gd name="connsiteX8983" fmla="*/ 295178 w 3503192"/>
              <a:gd name="connsiteY8983" fmla="*/ 2213100 h 5818346"/>
              <a:gd name="connsiteX8984" fmla="*/ 305916 w 3503192"/>
              <a:gd name="connsiteY8984" fmla="*/ 2223837 h 5818346"/>
              <a:gd name="connsiteX8985" fmla="*/ 295178 w 3503192"/>
              <a:gd name="connsiteY8985" fmla="*/ 2234575 h 5818346"/>
              <a:gd name="connsiteX8986" fmla="*/ 284441 w 3503192"/>
              <a:gd name="connsiteY8986" fmla="*/ 2223837 h 5818346"/>
              <a:gd name="connsiteX8987" fmla="*/ 295178 w 3503192"/>
              <a:gd name="connsiteY8987" fmla="*/ 2213100 h 5818346"/>
              <a:gd name="connsiteX8988" fmla="*/ 95803 w 3503192"/>
              <a:gd name="connsiteY8988" fmla="*/ 2212440 h 5818346"/>
              <a:gd name="connsiteX8989" fmla="*/ 106540 w 3503192"/>
              <a:gd name="connsiteY8989" fmla="*/ 2223176 h 5818346"/>
              <a:gd name="connsiteX8990" fmla="*/ 95803 w 3503192"/>
              <a:gd name="connsiteY8990" fmla="*/ 2233914 h 5818346"/>
              <a:gd name="connsiteX8991" fmla="*/ 85067 w 3503192"/>
              <a:gd name="connsiteY8991" fmla="*/ 2223176 h 5818346"/>
              <a:gd name="connsiteX8992" fmla="*/ 95803 w 3503192"/>
              <a:gd name="connsiteY8992" fmla="*/ 2212440 h 5818346"/>
              <a:gd name="connsiteX8993" fmla="*/ 120581 w 3503192"/>
              <a:gd name="connsiteY8993" fmla="*/ 2210787 h 5818346"/>
              <a:gd name="connsiteX8994" fmla="*/ 131318 w 3503192"/>
              <a:gd name="connsiteY8994" fmla="*/ 2221523 h 5818346"/>
              <a:gd name="connsiteX8995" fmla="*/ 120581 w 3503192"/>
              <a:gd name="connsiteY8995" fmla="*/ 2232261 h 5818346"/>
              <a:gd name="connsiteX8996" fmla="*/ 109845 w 3503192"/>
              <a:gd name="connsiteY8996" fmla="*/ 2221523 h 5818346"/>
              <a:gd name="connsiteX8997" fmla="*/ 120581 w 3503192"/>
              <a:gd name="connsiteY8997" fmla="*/ 2210787 h 5818346"/>
              <a:gd name="connsiteX8998" fmla="*/ 145028 w 3503192"/>
              <a:gd name="connsiteY8998" fmla="*/ 2206823 h 5818346"/>
              <a:gd name="connsiteX8999" fmla="*/ 155766 w 3503192"/>
              <a:gd name="connsiteY8999" fmla="*/ 2217559 h 5818346"/>
              <a:gd name="connsiteX9000" fmla="*/ 145028 w 3503192"/>
              <a:gd name="connsiteY9000" fmla="*/ 2228297 h 5818346"/>
              <a:gd name="connsiteX9001" fmla="*/ 134292 w 3503192"/>
              <a:gd name="connsiteY9001" fmla="*/ 2217559 h 5818346"/>
              <a:gd name="connsiteX9002" fmla="*/ 145028 w 3503192"/>
              <a:gd name="connsiteY9002" fmla="*/ 2206823 h 5818346"/>
              <a:gd name="connsiteX9003" fmla="*/ 192765 w 3503192"/>
              <a:gd name="connsiteY9003" fmla="*/ 2205336 h 5818346"/>
              <a:gd name="connsiteX9004" fmla="*/ 203502 w 3503192"/>
              <a:gd name="connsiteY9004" fmla="*/ 2216073 h 5818346"/>
              <a:gd name="connsiteX9005" fmla="*/ 192765 w 3503192"/>
              <a:gd name="connsiteY9005" fmla="*/ 2226811 h 5818346"/>
              <a:gd name="connsiteX9006" fmla="*/ 182029 w 3503192"/>
              <a:gd name="connsiteY9006" fmla="*/ 2216073 h 5818346"/>
              <a:gd name="connsiteX9007" fmla="*/ 192765 w 3503192"/>
              <a:gd name="connsiteY9007" fmla="*/ 2205336 h 5818346"/>
              <a:gd name="connsiteX9008" fmla="*/ 1331691 w 3503192"/>
              <a:gd name="connsiteY9008" fmla="*/ 2201372 h 5818346"/>
              <a:gd name="connsiteX9009" fmla="*/ 1342427 w 3503192"/>
              <a:gd name="connsiteY9009" fmla="*/ 2212108 h 5818346"/>
              <a:gd name="connsiteX9010" fmla="*/ 1331691 w 3503192"/>
              <a:gd name="connsiteY9010" fmla="*/ 2222846 h 5818346"/>
              <a:gd name="connsiteX9011" fmla="*/ 1320954 w 3503192"/>
              <a:gd name="connsiteY9011" fmla="*/ 2212108 h 5818346"/>
              <a:gd name="connsiteX9012" fmla="*/ 1331691 w 3503192"/>
              <a:gd name="connsiteY9012" fmla="*/ 2201372 h 5818346"/>
              <a:gd name="connsiteX9013" fmla="*/ 105714 w 3503192"/>
              <a:gd name="connsiteY9013" fmla="*/ 2196911 h 5818346"/>
              <a:gd name="connsiteX9014" fmla="*/ 116452 w 3503192"/>
              <a:gd name="connsiteY9014" fmla="*/ 2207648 h 5818346"/>
              <a:gd name="connsiteX9015" fmla="*/ 105714 w 3503192"/>
              <a:gd name="connsiteY9015" fmla="*/ 2218384 h 5818346"/>
              <a:gd name="connsiteX9016" fmla="*/ 94978 w 3503192"/>
              <a:gd name="connsiteY9016" fmla="*/ 2207648 h 5818346"/>
              <a:gd name="connsiteX9017" fmla="*/ 105714 w 3503192"/>
              <a:gd name="connsiteY9017" fmla="*/ 2196911 h 5818346"/>
              <a:gd name="connsiteX9018" fmla="*/ 129500 w 3503192"/>
              <a:gd name="connsiteY9018" fmla="*/ 2192453 h 5818346"/>
              <a:gd name="connsiteX9019" fmla="*/ 140237 w 3503192"/>
              <a:gd name="connsiteY9019" fmla="*/ 2203189 h 5818346"/>
              <a:gd name="connsiteX9020" fmla="*/ 129500 w 3503192"/>
              <a:gd name="connsiteY9020" fmla="*/ 2213927 h 5818346"/>
              <a:gd name="connsiteX9021" fmla="*/ 118764 w 3503192"/>
              <a:gd name="connsiteY9021" fmla="*/ 2203189 h 5818346"/>
              <a:gd name="connsiteX9022" fmla="*/ 129500 w 3503192"/>
              <a:gd name="connsiteY9022" fmla="*/ 2192453 h 5818346"/>
              <a:gd name="connsiteX9023" fmla="*/ 634626 w 3503192"/>
              <a:gd name="connsiteY9023" fmla="*/ 2190636 h 5818346"/>
              <a:gd name="connsiteX9024" fmla="*/ 645362 w 3503192"/>
              <a:gd name="connsiteY9024" fmla="*/ 2201372 h 5818346"/>
              <a:gd name="connsiteX9025" fmla="*/ 634626 w 3503192"/>
              <a:gd name="connsiteY9025" fmla="*/ 2212110 h 5818346"/>
              <a:gd name="connsiteX9026" fmla="*/ 623889 w 3503192"/>
              <a:gd name="connsiteY9026" fmla="*/ 2201372 h 5818346"/>
              <a:gd name="connsiteX9027" fmla="*/ 634626 w 3503192"/>
              <a:gd name="connsiteY9027" fmla="*/ 2190636 h 5818346"/>
              <a:gd name="connsiteX9028" fmla="*/ 334492 w 3503192"/>
              <a:gd name="connsiteY9028" fmla="*/ 2189479 h 5818346"/>
              <a:gd name="connsiteX9029" fmla="*/ 345228 w 3503192"/>
              <a:gd name="connsiteY9029" fmla="*/ 2200215 h 5818346"/>
              <a:gd name="connsiteX9030" fmla="*/ 334492 w 3503192"/>
              <a:gd name="connsiteY9030" fmla="*/ 2210953 h 5818346"/>
              <a:gd name="connsiteX9031" fmla="*/ 323755 w 3503192"/>
              <a:gd name="connsiteY9031" fmla="*/ 2200215 h 5818346"/>
              <a:gd name="connsiteX9032" fmla="*/ 334492 w 3503192"/>
              <a:gd name="connsiteY9032" fmla="*/ 2189479 h 5818346"/>
              <a:gd name="connsiteX9033" fmla="*/ 157251 w 3503192"/>
              <a:gd name="connsiteY9033" fmla="*/ 2186010 h 5818346"/>
              <a:gd name="connsiteX9034" fmla="*/ 167989 w 3503192"/>
              <a:gd name="connsiteY9034" fmla="*/ 2196747 h 5818346"/>
              <a:gd name="connsiteX9035" fmla="*/ 157251 w 3503192"/>
              <a:gd name="connsiteY9035" fmla="*/ 2207485 h 5818346"/>
              <a:gd name="connsiteX9036" fmla="*/ 146515 w 3503192"/>
              <a:gd name="connsiteY9036" fmla="*/ 2196747 h 5818346"/>
              <a:gd name="connsiteX9037" fmla="*/ 157251 w 3503192"/>
              <a:gd name="connsiteY9037" fmla="*/ 2186010 h 5818346"/>
              <a:gd name="connsiteX9038" fmla="*/ 214569 w 3503192"/>
              <a:gd name="connsiteY9038" fmla="*/ 2182707 h 5818346"/>
              <a:gd name="connsiteX9039" fmla="*/ 225307 w 3503192"/>
              <a:gd name="connsiteY9039" fmla="*/ 2193443 h 5818346"/>
              <a:gd name="connsiteX9040" fmla="*/ 214569 w 3503192"/>
              <a:gd name="connsiteY9040" fmla="*/ 2204180 h 5818346"/>
              <a:gd name="connsiteX9041" fmla="*/ 203833 w 3503192"/>
              <a:gd name="connsiteY9041" fmla="*/ 2193443 h 5818346"/>
              <a:gd name="connsiteX9042" fmla="*/ 214569 w 3503192"/>
              <a:gd name="connsiteY9042" fmla="*/ 2182707 h 5818346"/>
              <a:gd name="connsiteX9043" fmla="*/ 115460 w 3503192"/>
              <a:gd name="connsiteY9043" fmla="*/ 2180560 h 5818346"/>
              <a:gd name="connsiteX9044" fmla="*/ 126197 w 3503192"/>
              <a:gd name="connsiteY9044" fmla="*/ 2191296 h 5818346"/>
              <a:gd name="connsiteX9045" fmla="*/ 115460 w 3503192"/>
              <a:gd name="connsiteY9045" fmla="*/ 2202034 h 5818346"/>
              <a:gd name="connsiteX9046" fmla="*/ 104724 w 3503192"/>
              <a:gd name="connsiteY9046" fmla="*/ 2191296 h 5818346"/>
              <a:gd name="connsiteX9047" fmla="*/ 115460 w 3503192"/>
              <a:gd name="connsiteY9047" fmla="*/ 2180560 h 5818346"/>
              <a:gd name="connsiteX9048" fmla="*/ 94152 w 3503192"/>
              <a:gd name="connsiteY9048" fmla="*/ 2178578 h 5818346"/>
              <a:gd name="connsiteX9049" fmla="*/ 94319 w 3503192"/>
              <a:gd name="connsiteY9049" fmla="*/ 2178743 h 5818346"/>
              <a:gd name="connsiteX9050" fmla="*/ 94152 w 3503192"/>
              <a:gd name="connsiteY9050" fmla="*/ 2178907 h 5818346"/>
              <a:gd name="connsiteX9051" fmla="*/ 93988 w 3503192"/>
              <a:gd name="connsiteY9051" fmla="*/ 2178743 h 5818346"/>
              <a:gd name="connsiteX9052" fmla="*/ 94152 w 3503192"/>
              <a:gd name="connsiteY9052" fmla="*/ 2178578 h 5818346"/>
              <a:gd name="connsiteX9053" fmla="*/ 1486465 w 3503192"/>
              <a:gd name="connsiteY9053" fmla="*/ 2177421 h 5818346"/>
              <a:gd name="connsiteX9054" fmla="*/ 1497203 w 3503192"/>
              <a:gd name="connsiteY9054" fmla="*/ 2188157 h 5818346"/>
              <a:gd name="connsiteX9055" fmla="*/ 1486465 w 3503192"/>
              <a:gd name="connsiteY9055" fmla="*/ 2198896 h 5818346"/>
              <a:gd name="connsiteX9056" fmla="*/ 1475729 w 3503192"/>
              <a:gd name="connsiteY9056" fmla="*/ 2188157 h 5818346"/>
              <a:gd name="connsiteX9057" fmla="*/ 1486465 w 3503192"/>
              <a:gd name="connsiteY9057" fmla="*/ 2177421 h 5818346"/>
              <a:gd name="connsiteX9058" fmla="*/ 138917 w 3503192"/>
              <a:gd name="connsiteY9058" fmla="*/ 2173290 h 5818346"/>
              <a:gd name="connsiteX9059" fmla="*/ 149655 w 3503192"/>
              <a:gd name="connsiteY9059" fmla="*/ 2184027 h 5818346"/>
              <a:gd name="connsiteX9060" fmla="*/ 138917 w 3503192"/>
              <a:gd name="connsiteY9060" fmla="*/ 2194764 h 5818346"/>
              <a:gd name="connsiteX9061" fmla="*/ 128181 w 3503192"/>
              <a:gd name="connsiteY9061" fmla="*/ 2184027 h 5818346"/>
              <a:gd name="connsiteX9062" fmla="*/ 138917 w 3503192"/>
              <a:gd name="connsiteY9062" fmla="*/ 2173290 h 5818346"/>
              <a:gd name="connsiteX9063" fmla="*/ 718042 w 3503192"/>
              <a:gd name="connsiteY9063" fmla="*/ 2165363 h 5818346"/>
              <a:gd name="connsiteX9064" fmla="*/ 728778 w 3503192"/>
              <a:gd name="connsiteY9064" fmla="*/ 2176100 h 5818346"/>
              <a:gd name="connsiteX9065" fmla="*/ 718042 w 3503192"/>
              <a:gd name="connsiteY9065" fmla="*/ 2186838 h 5818346"/>
              <a:gd name="connsiteX9066" fmla="*/ 707306 w 3503192"/>
              <a:gd name="connsiteY9066" fmla="*/ 2176100 h 5818346"/>
              <a:gd name="connsiteX9067" fmla="*/ 718042 w 3503192"/>
              <a:gd name="connsiteY9067" fmla="*/ 2165363 h 5818346"/>
              <a:gd name="connsiteX9068" fmla="*/ 379255 w 3503192"/>
              <a:gd name="connsiteY9068" fmla="*/ 2164867 h 5818346"/>
              <a:gd name="connsiteX9069" fmla="*/ 389993 w 3503192"/>
              <a:gd name="connsiteY9069" fmla="*/ 2175604 h 5818346"/>
              <a:gd name="connsiteX9070" fmla="*/ 379255 w 3503192"/>
              <a:gd name="connsiteY9070" fmla="*/ 2186342 h 5818346"/>
              <a:gd name="connsiteX9071" fmla="*/ 368518 w 3503192"/>
              <a:gd name="connsiteY9071" fmla="*/ 2175604 h 5818346"/>
              <a:gd name="connsiteX9072" fmla="*/ 379255 w 3503192"/>
              <a:gd name="connsiteY9072" fmla="*/ 2164867 h 5818346"/>
              <a:gd name="connsiteX9073" fmla="*/ 171293 w 3503192"/>
              <a:gd name="connsiteY9073" fmla="*/ 2164371 h 5818346"/>
              <a:gd name="connsiteX9074" fmla="*/ 182031 w 3503192"/>
              <a:gd name="connsiteY9074" fmla="*/ 2175107 h 5818346"/>
              <a:gd name="connsiteX9075" fmla="*/ 171293 w 3503192"/>
              <a:gd name="connsiteY9075" fmla="*/ 2185846 h 5818346"/>
              <a:gd name="connsiteX9076" fmla="*/ 160556 w 3503192"/>
              <a:gd name="connsiteY9076" fmla="*/ 2175107 h 5818346"/>
              <a:gd name="connsiteX9077" fmla="*/ 171293 w 3503192"/>
              <a:gd name="connsiteY9077" fmla="*/ 2164371 h 5818346"/>
              <a:gd name="connsiteX9078" fmla="*/ 124875 w 3503192"/>
              <a:gd name="connsiteY9078" fmla="*/ 2163050 h 5818346"/>
              <a:gd name="connsiteX9079" fmla="*/ 135613 w 3503192"/>
              <a:gd name="connsiteY9079" fmla="*/ 2173786 h 5818346"/>
              <a:gd name="connsiteX9080" fmla="*/ 124875 w 3503192"/>
              <a:gd name="connsiteY9080" fmla="*/ 2184524 h 5818346"/>
              <a:gd name="connsiteX9081" fmla="*/ 114139 w 3503192"/>
              <a:gd name="connsiteY9081" fmla="*/ 2173786 h 5818346"/>
              <a:gd name="connsiteX9082" fmla="*/ 124875 w 3503192"/>
              <a:gd name="connsiteY9082" fmla="*/ 2163050 h 5818346"/>
              <a:gd name="connsiteX9083" fmla="*/ 239677 w 3503192"/>
              <a:gd name="connsiteY9083" fmla="*/ 2159250 h 5818346"/>
              <a:gd name="connsiteX9084" fmla="*/ 250415 w 3503192"/>
              <a:gd name="connsiteY9084" fmla="*/ 2169987 h 5818346"/>
              <a:gd name="connsiteX9085" fmla="*/ 239677 w 3503192"/>
              <a:gd name="connsiteY9085" fmla="*/ 2180723 h 5818346"/>
              <a:gd name="connsiteX9086" fmla="*/ 228940 w 3503192"/>
              <a:gd name="connsiteY9086" fmla="*/ 2169987 h 5818346"/>
              <a:gd name="connsiteX9087" fmla="*/ 239677 w 3503192"/>
              <a:gd name="connsiteY9087" fmla="*/ 2159250 h 5818346"/>
              <a:gd name="connsiteX9088" fmla="*/ 1654950 w 3503192"/>
              <a:gd name="connsiteY9088" fmla="*/ 2153635 h 5818346"/>
              <a:gd name="connsiteX9089" fmla="*/ 1665686 w 3503192"/>
              <a:gd name="connsiteY9089" fmla="*/ 2164371 h 5818346"/>
              <a:gd name="connsiteX9090" fmla="*/ 1654950 w 3503192"/>
              <a:gd name="connsiteY9090" fmla="*/ 2175109 h 5818346"/>
              <a:gd name="connsiteX9091" fmla="*/ 1644214 w 3503192"/>
              <a:gd name="connsiteY9091" fmla="*/ 2164371 h 5818346"/>
              <a:gd name="connsiteX9092" fmla="*/ 1654950 w 3503192"/>
              <a:gd name="connsiteY9092" fmla="*/ 2153635 h 5818346"/>
              <a:gd name="connsiteX9093" fmla="*/ 105881 w 3503192"/>
              <a:gd name="connsiteY9093" fmla="*/ 2153635 h 5818346"/>
              <a:gd name="connsiteX9094" fmla="*/ 115627 w 3503192"/>
              <a:gd name="connsiteY9094" fmla="*/ 2163381 h 5818346"/>
              <a:gd name="connsiteX9095" fmla="*/ 105881 w 3503192"/>
              <a:gd name="connsiteY9095" fmla="*/ 2173127 h 5818346"/>
              <a:gd name="connsiteX9096" fmla="*/ 96135 w 3503192"/>
              <a:gd name="connsiteY9096" fmla="*/ 2163381 h 5818346"/>
              <a:gd name="connsiteX9097" fmla="*/ 105881 w 3503192"/>
              <a:gd name="connsiteY9097" fmla="*/ 2153635 h 5818346"/>
              <a:gd name="connsiteX9098" fmla="*/ 148993 w 3503192"/>
              <a:gd name="connsiteY9098" fmla="*/ 2152974 h 5818346"/>
              <a:gd name="connsiteX9099" fmla="*/ 159731 w 3503192"/>
              <a:gd name="connsiteY9099" fmla="*/ 2163710 h 5818346"/>
              <a:gd name="connsiteX9100" fmla="*/ 148993 w 3503192"/>
              <a:gd name="connsiteY9100" fmla="*/ 2174449 h 5818346"/>
              <a:gd name="connsiteX9101" fmla="*/ 138256 w 3503192"/>
              <a:gd name="connsiteY9101" fmla="*/ 2163710 h 5818346"/>
              <a:gd name="connsiteX9102" fmla="*/ 148993 w 3503192"/>
              <a:gd name="connsiteY9102" fmla="*/ 2152974 h 5818346"/>
              <a:gd name="connsiteX9103" fmla="*/ 134457 w 3503192"/>
              <a:gd name="connsiteY9103" fmla="*/ 2144550 h 5818346"/>
              <a:gd name="connsiteX9104" fmla="*/ 145195 w 3503192"/>
              <a:gd name="connsiteY9104" fmla="*/ 2155286 h 5818346"/>
              <a:gd name="connsiteX9105" fmla="*/ 134457 w 3503192"/>
              <a:gd name="connsiteY9105" fmla="*/ 2166022 h 5818346"/>
              <a:gd name="connsiteX9106" fmla="*/ 123720 w 3503192"/>
              <a:gd name="connsiteY9106" fmla="*/ 2155286 h 5818346"/>
              <a:gd name="connsiteX9107" fmla="*/ 134457 w 3503192"/>
              <a:gd name="connsiteY9107" fmla="*/ 2144550 h 5818346"/>
              <a:gd name="connsiteX9108" fmla="*/ 187315 w 3503192"/>
              <a:gd name="connsiteY9108" fmla="*/ 2141575 h 5818346"/>
              <a:gd name="connsiteX9109" fmla="*/ 198053 w 3503192"/>
              <a:gd name="connsiteY9109" fmla="*/ 2152312 h 5818346"/>
              <a:gd name="connsiteX9110" fmla="*/ 187315 w 3503192"/>
              <a:gd name="connsiteY9110" fmla="*/ 2163050 h 5818346"/>
              <a:gd name="connsiteX9111" fmla="*/ 176578 w 3503192"/>
              <a:gd name="connsiteY9111" fmla="*/ 2152312 h 5818346"/>
              <a:gd name="connsiteX9112" fmla="*/ 187315 w 3503192"/>
              <a:gd name="connsiteY9112" fmla="*/ 2141575 h 5818346"/>
              <a:gd name="connsiteX9113" fmla="*/ 810543 w 3503192"/>
              <a:gd name="connsiteY9113" fmla="*/ 2139429 h 5818346"/>
              <a:gd name="connsiteX9114" fmla="*/ 821281 w 3503192"/>
              <a:gd name="connsiteY9114" fmla="*/ 2150165 h 5818346"/>
              <a:gd name="connsiteX9115" fmla="*/ 810543 w 3503192"/>
              <a:gd name="connsiteY9115" fmla="*/ 2160903 h 5818346"/>
              <a:gd name="connsiteX9116" fmla="*/ 799807 w 3503192"/>
              <a:gd name="connsiteY9116" fmla="*/ 2150165 h 5818346"/>
              <a:gd name="connsiteX9117" fmla="*/ 810543 w 3503192"/>
              <a:gd name="connsiteY9117" fmla="*/ 2139429 h 5818346"/>
              <a:gd name="connsiteX9118" fmla="*/ 429966 w 3503192"/>
              <a:gd name="connsiteY9118" fmla="*/ 2139264 h 5818346"/>
              <a:gd name="connsiteX9119" fmla="*/ 440704 w 3503192"/>
              <a:gd name="connsiteY9119" fmla="*/ 2150000 h 5818346"/>
              <a:gd name="connsiteX9120" fmla="*/ 429966 w 3503192"/>
              <a:gd name="connsiteY9120" fmla="*/ 2160738 h 5818346"/>
              <a:gd name="connsiteX9121" fmla="*/ 419229 w 3503192"/>
              <a:gd name="connsiteY9121" fmla="*/ 2150000 h 5818346"/>
              <a:gd name="connsiteX9122" fmla="*/ 429966 w 3503192"/>
              <a:gd name="connsiteY9122" fmla="*/ 2139264 h 5818346"/>
              <a:gd name="connsiteX9123" fmla="*/ 116947 w 3503192"/>
              <a:gd name="connsiteY9123" fmla="*/ 2136291 h 5818346"/>
              <a:gd name="connsiteX9124" fmla="*/ 127685 w 3503192"/>
              <a:gd name="connsiteY9124" fmla="*/ 2147027 h 5818346"/>
              <a:gd name="connsiteX9125" fmla="*/ 116947 w 3503192"/>
              <a:gd name="connsiteY9125" fmla="*/ 2157764 h 5818346"/>
              <a:gd name="connsiteX9126" fmla="*/ 106210 w 3503192"/>
              <a:gd name="connsiteY9126" fmla="*/ 2147027 h 5818346"/>
              <a:gd name="connsiteX9127" fmla="*/ 116947 w 3503192"/>
              <a:gd name="connsiteY9127" fmla="*/ 2136291 h 5818346"/>
              <a:gd name="connsiteX9128" fmla="*/ 268584 w 3503192"/>
              <a:gd name="connsiteY9128" fmla="*/ 2134474 h 5818346"/>
              <a:gd name="connsiteX9129" fmla="*/ 279322 w 3503192"/>
              <a:gd name="connsiteY9129" fmla="*/ 2145210 h 5818346"/>
              <a:gd name="connsiteX9130" fmla="*/ 268584 w 3503192"/>
              <a:gd name="connsiteY9130" fmla="*/ 2155946 h 5818346"/>
              <a:gd name="connsiteX9131" fmla="*/ 257848 w 3503192"/>
              <a:gd name="connsiteY9131" fmla="*/ 2145210 h 5818346"/>
              <a:gd name="connsiteX9132" fmla="*/ 268584 w 3503192"/>
              <a:gd name="connsiteY9132" fmla="*/ 2134474 h 5818346"/>
              <a:gd name="connsiteX9133" fmla="*/ 160225 w 3503192"/>
              <a:gd name="connsiteY9133" fmla="*/ 2131665 h 5818346"/>
              <a:gd name="connsiteX9134" fmla="*/ 170963 w 3503192"/>
              <a:gd name="connsiteY9134" fmla="*/ 2142401 h 5818346"/>
              <a:gd name="connsiteX9135" fmla="*/ 160225 w 3503192"/>
              <a:gd name="connsiteY9135" fmla="*/ 2153139 h 5818346"/>
              <a:gd name="connsiteX9136" fmla="*/ 149489 w 3503192"/>
              <a:gd name="connsiteY9136" fmla="*/ 2142401 h 5818346"/>
              <a:gd name="connsiteX9137" fmla="*/ 160225 w 3503192"/>
              <a:gd name="connsiteY9137" fmla="*/ 2131665 h 5818346"/>
              <a:gd name="connsiteX9138" fmla="*/ 1837806 w 3503192"/>
              <a:gd name="connsiteY9138" fmla="*/ 2130178 h 5818346"/>
              <a:gd name="connsiteX9139" fmla="*/ 1848544 w 3503192"/>
              <a:gd name="connsiteY9139" fmla="*/ 2140915 h 5818346"/>
              <a:gd name="connsiteX9140" fmla="*/ 1837806 w 3503192"/>
              <a:gd name="connsiteY9140" fmla="*/ 2151653 h 5818346"/>
              <a:gd name="connsiteX9141" fmla="*/ 1827070 w 3503192"/>
              <a:gd name="connsiteY9141" fmla="*/ 2140915 h 5818346"/>
              <a:gd name="connsiteX9142" fmla="*/ 1837806 w 3503192"/>
              <a:gd name="connsiteY9142" fmla="*/ 2130178 h 5818346"/>
              <a:gd name="connsiteX9143" fmla="*/ 144036 w 3503192"/>
              <a:gd name="connsiteY9143" fmla="*/ 2125224 h 5818346"/>
              <a:gd name="connsiteX9144" fmla="*/ 154774 w 3503192"/>
              <a:gd name="connsiteY9144" fmla="*/ 2135960 h 5818346"/>
              <a:gd name="connsiteX9145" fmla="*/ 144036 w 3503192"/>
              <a:gd name="connsiteY9145" fmla="*/ 2146698 h 5818346"/>
              <a:gd name="connsiteX9146" fmla="*/ 133300 w 3503192"/>
              <a:gd name="connsiteY9146" fmla="*/ 2135960 h 5818346"/>
              <a:gd name="connsiteX9147" fmla="*/ 144036 w 3503192"/>
              <a:gd name="connsiteY9147" fmla="*/ 2125224 h 5818346"/>
              <a:gd name="connsiteX9148" fmla="*/ 127849 w 3503192"/>
              <a:gd name="connsiteY9148" fmla="*/ 2119111 h 5818346"/>
              <a:gd name="connsiteX9149" fmla="*/ 138588 w 3503192"/>
              <a:gd name="connsiteY9149" fmla="*/ 2129847 h 5818346"/>
              <a:gd name="connsiteX9150" fmla="*/ 127849 w 3503192"/>
              <a:gd name="connsiteY9150" fmla="*/ 2140585 h 5818346"/>
              <a:gd name="connsiteX9151" fmla="*/ 117113 w 3503192"/>
              <a:gd name="connsiteY9151" fmla="*/ 2129847 h 5818346"/>
              <a:gd name="connsiteX9152" fmla="*/ 127849 w 3503192"/>
              <a:gd name="connsiteY9152" fmla="*/ 2119111 h 5818346"/>
              <a:gd name="connsiteX9153" fmla="*/ 205980 w 3503192"/>
              <a:gd name="connsiteY9153" fmla="*/ 2117789 h 5818346"/>
              <a:gd name="connsiteX9154" fmla="*/ 216718 w 3503192"/>
              <a:gd name="connsiteY9154" fmla="*/ 2128526 h 5818346"/>
              <a:gd name="connsiteX9155" fmla="*/ 205980 w 3503192"/>
              <a:gd name="connsiteY9155" fmla="*/ 2139264 h 5818346"/>
              <a:gd name="connsiteX9156" fmla="*/ 195243 w 3503192"/>
              <a:gd name="connsiteY9156" fmla="*/ 2128526 h 5818346"/>
              <a:gd name="connsiteX9157" fmla="*/ 205980 w 3503192"/>
              <a:gd name="connsiteY9157" fmla="*/ 2117789 h 5818346"/>
              <a:gd name="connsiteX9158" fmla="*/ 912791 w 3503192"/>
              <a:gd name="connsiteY9158" fmla="*/ 2112835 h 5818346"/>
              <a:gd name="connsiteX9159" fmla="*/ 923527 w 3503192"/>
              <a:gd name="connsiteY9159" fmla="*/ 2123571 h 5818346"/>
              <a:gd name="connsiteX9160" fmla="*/ 912791 w 3503192"/>
              <a:gd name="connsiteY9160" fmla="*/ 2134307 h 5818346"/>
              <a:gd name="connsiteX9161" fmla="*/ 902055 w 3503192"/>
              <a:gd name="connsiteY9161" fmla="*/ 2123571 h 5818346"/>
              <a:gd name="connsiteX9162" fmla="*/ 912791 w 3503192"/>
              <a:gd name="connsiteY9162" fmla="*/ 2112835 h 5818346"/>
              <a:gd name="connsiteX9163" fmla="*/ 486953 w 3503192"/>
              <a:gd name="connsiteY9163" fmla="*/ 2112835 h 5818346"/>
              <a:gd name="connsiteX9164" fmla="*/ 497689 w 3503192"/>
              <a:gd name="connsiteY9164" fmla="*/ 2123571 h 5818346"/>
              <a:gd name="connsiteX9165" fmla="*/ 486953 w 3503192"/>
              <a:gd name="connsiteY9165" fmla="*/ 2134307 h 5818346"/>
              <a:gd name="connsiteX9166" fmla="*/ 476216 w 3503192"/>
              <a:gd name="connsiteY9166" fmla="*/ 2123571 h 5818346"/>
              <a:gd name="connsiteX9167" fmla="*/ 486953 w 3503192"/>
              <a:gd name="connsiteY9167" fmla="*/ 2112835 h 5818346"/>
              <a:gd name="connsiteX9168" fmla="*/ 172779 w 3503192"/>
              <a:gd name="connsiteY9168" fmla="*/ 2109202 h 5818346"/>
              <a:gd name="connsiteX9169" fmla="*/ 183515 w 3503192"/>
              <a:gd name="connsiteY9169" fmla="*/ 2119938 h 5818346"/>
              <a:gd name="connsiteX9170" fmla="*/ 172779 w 3503192"/>
              <a:gd name="connsiteY9170" fmla="*/ 2130674 h 5818346"/>
              <a:gd name="connsiteX9171" fmla="*/ 162042 w 3503192"/>
              <a:gd name="connsiteY9171" fmla="*/ 2119938 h 5818346"/>
              <a:gd name="connsiteX9172" fmla="*/ 172779 w 3503192"/>
              <a:gd name="connsiteY9172" fmla="*/ 2109202 h 5818346"/>
              <a:gd name="connsiteX9173" fmla="*/ 301785 w 3503192"/>
              <a:gd name="connsiteY9173" fmla="*/ 2108870 h 5818346"/>
              <a:gd name="connsiteX9174" fmla="*/ 312521 w 3503192"/>
              <a:gd name="connsiteY9174" fmla="*/ 2119607 h 5818346"/>
              <a:gd name="connsiteX9175" fmla="*/ 301785 w 3503192"/>
              <a:gd name="connsiteY9175" fmla="*/ 2130345 h 5818346"/>
              <a:gd name="connsiteX9176" fmla="*/ 291049 w 3503192"/>
              <a:gd name="connsiteY9176" fmla="*/ 2119607 h 5818346"/>
              <a:gd name="connsiteX9177" fmla="*/ 301785 w 3503192"/>
              <a:gd name="connsiteY9177" fmla="*/ 2108870 h 5818346"/>
              <a:gd name="connsiteX9178" fmla="*/ 2035693 w 3503192"/>
              <a:gd name="connsiteY9178" fmla="*/ 2107549 h 5818346"/>
              <a:gd name="connsiteX9179" fmla="*/ 2046431 w 3503192"/>
              <a:gd name="connsiteY9179" fmla="*/ 2118285 h 5818346"/>
              <a:gd name="connsiteX9180" fmla="*/ 2035693 w 3503192"/>
              <a:gd name="connsiteY9180" fmla="*/ 2129023 h 5818346"/>
              <a:gd name="connsiteX9181" fmla="*/ 2024956 w 3503192"/>
              <a:gd name="connsiteY9181" fmla="*/ 2118285 h 5818346"/>
              <a:gd name="connsiteX9182" fmla="*/ 2035693 w 3503192"/>
              <a:gd name="connsiteY9182" fmla="*/ 2107549 h 5818346"/>
              <a:gd name="connsiteX9183" fmla="*/ 115956 w 3503192"/>
              <a:gd name="connsiteY9183" fmla="*/ 2104081 h 5818346"/>
              <a:gd name="connsiteX9184" fmla="*/ 117444 w 3503192"/>
              <a:gd name="connsiteY9184" fmla="*/ 2105567 h 5818346"/>
              <a:gd name="connsiteX9185" fmla="*/ 115956 w 3503192"/>
              <a:gd name="connsiteY9185" fmla="*/ 2107055 h 5818346"/>
              <a:gd name="connsiteX9186" fmla="*/ 114470 w 3503192"/>
              <a:gd name="connsiteY9186" fmla="*/ 2105567 h 5818346"/>
              <a:gd name="connsiteX9187" fmla="*/ 115956 w 3503192"/>
              <a:gd name="connsiteY9187" fmla="*/ 2104081 h 5818346"/>
              <a:gd name="connsiteX9188" fmla="*/ 138255 w 3503192"/>
              <a:gd name="connsiteY9188" fmla="*/ 2100777 h 5818346"/>
              <a:gd name="connsiteX9189" fmla="*/ 148167 w 3503192"/>
              <a:gd name="connsiteY9189" fmla="*/ 2110688 h 5818346"/>
              <a:gd name="connsiteX9190" fmla="*/ 154278 w 3503192"/>
              <a:gd name="connsiteY9190" fmla="*/ 2104577 h 5818346"/>
              <a:gd name="connsiteX9191" fmla="*/ 165017 w 3503192"/>
              <a:gd name="connsiteY9191" fmla="*/ 2115313 h 5818346"/>
              <a:gd name="connsiteX9192" fmla="*/ 154278 w 3503192"/>
              <a:gd name="connsiteY9192" fmla="*/ 2126049 h 5818346"/>
              <a:gd name="connsiteX9193" fmla="*/ 144368 w 3503192"/>
              <a:gd name="connsiteY9193" fmla="*/ 2116138 h 5818346"/>
              <a:gd name="connsiteX9194" fmla="*/ 138255 w 3503192"/>
              <a:gd name="connsiteY9194" fmla="*/ 2122251 h 5818346"/>
              <a:gd name="connsiteX9195" fmla="*/ 127518 w 3503192"/>
              <a:gd name="connsiteY9195" fmla="*/ 2111513 h 5818346"/>
              <a:gd name="connsiteX9196" fmla="*/ 138255 w 3503192"/>
              <a:gd name="connsiteY9196" fmla="*/ 2100777 h 5818346"/>
              <a:gd name="connsiteX9197" fmla="*/ 227288 w 3503192"/>
              <a:gd name="connsiteY9197" fmla="*/ 2092848 h 5818346"/>
              <a:gd name="connsiteX9198" fmla="*/ 238026 w 3503192"/>
              <a:gd name="connsiteY9198" fmla="*/ 2103585 h 5818346"/>
              <a:gd name="connsiteX9199" fmla="*/ 227288 w 3503192"/>
              <a:gd name="connsiteY9199" fmla="*/ 2114321 h 5818346"/>
              <a:gd name="connsiteX9200" fmla="*/ 216551 w 3503192"/>
              <a:gd name="connsiteY9200" fmla="*/ 2103585 h 5818346"/>
              <a:gd name="connsiteX9201" fmla="*/ 227288 w 3503192"/>
              <a:gd name="connsiteY9201" fmla="*/ 2092848 h 5818346"/>
              <a:gd name="connsiteX9202" fmla="*/ 2248117 w 3503192"/>
              <a:gd name="connsiteY9202" fmla="*/ 2087231 h 5818346"/>
              <a:gd name="connsiteX9203" fmla="*/ 2258855 w 3503192"/>
              <a:gd name="connsiteY9203" fmla="*/ 2097968 h 5818346"/>
              <a:gd name="connsiteX9204" fmla="*/ 2248117 w 3503192"/>
              <a:gd name="connsiteY9204" fmla="*/ 2108706 h 5818346"/>
              <a:gd name="connsiteX9205" fmla="*/ 2237380 w 3503192"/>
              <a:gd name="connsiteY9205" fmla="*/ 2097968 h 5818346"/>
              <a:gd name="connsiteX9206" fmla="*/ 2248117 w 3503192"/>
              <a:gd name="connsiteY9206" fmla="*/ 2087231 h 5818346"/>
              <a:gd name="connsiteX9207" fmla="*/ 186984 w 3503192"/>
              <a:gd name="connsiteY9207" fmla="*/ 2085580 h 5818346"/>
              <a:gd name="connsiteX9208" fmla="*/ 197722 w 3503192"/>
              <a:gd name="connsiteY9208" fmla="*/ 2096317 h 5818346"/>
              <a:gd name="connsiteX9209" fmla="*/ 186984 w 3503192"/>
              <a:gd name="connsiteY9209" fmla="*/ 2107055 h 5818346"/>
              <a:gd name="connsiteX9210" fmla="*/ 176247 w 3503192"/>
              <a:gd name="connsiteY9210" fmla="*/ 2096317 h 5818346"/>
              <a:gd name="connsiteX9211" fmla="*/ 186984 w 3503192"/>
              <a:gd name="connsiteY9211" fmla="*/ 2085580 h 5818346"/>
              <a:gd name="connsiteX9212" fmla="*/ 1025609 w 3503192"/>
              <a:gd name="connsiteY9212" fmla="*/ 2085414 h 5818346"/>
              <a:gd name="connsiteX9213" fmla="*/ 1036347 w 3503192"/>
              <a:gd name="connsiteY9213" fmla="*/ 2096150 h 5818346"/>
              <a:gd name="connsiteX9214" fmla="*/ 1025609 w 3503192"/>
              <a:gd name="connsiteY9214" fmla="*/ 2106888 h 5818346"/>
              <a:gd name="connsiteX9215" fmla="*/ 1014872 w 3503192"/>
              <a:gd name="connsiteY9215" fmla="*/ 2096150 h 5818346"/>
              <a:gd name="connsiteX9216" fmla="*/ 1025609 w 3503192"/>
              <a:gd name="connsiteY9216" fmla="*/ 2085414 h 5818346"/>
              <a:gd name="connsiteX9217" fmla="*/ 551210 w 3503192"/>
              <a:gd name="connsiteY9217" fmla="*/ 2085414 h 5818346"/>
              <a:gd name="connsiteX9218" fmla="*/ 561946 w 3503192"/>
              <a:gd name="connsiteY9218" fmla="*/ 2096150 h 5818346"/>
              <a:gd name="connsiteX9219" fmla="*/ 551210 w 3503192"/>
              <a:gd name="connsiteY9219" fmla="*/ 2106888 h 5818346"/>
              <a:gd name="connsiteX9220" fmla="*/ 540473 w 3503192"/>
              <a:gd name="connsiteY9220" fmla="*/ 2096150 h 5818346"/>
              <a:gd name="connsiteX9221" fmla="*/ 551210 w 3503192"/>
              <a:gd name="connsiteY9221" fmla="*/ 2085414 h 5818346"/>
              <a:gd name="connsiteX9222" fmla="*/ 339611 w 3503192"/>
              <a:gd name="connsiteY9222" fmla="*/ 2082112 h 5818346"/>
              <a:gd name="connsiteX9223" fmla="*/ 350347 w 3503192"/>
              <a:gd name="connsiteY9223" fmla="*/ 2092848 h 5818346"/>
              <a:gd name="connsiteX9224" fmla="*/ 339611 w 3503192"/>
              <a:gd name="connsiteY9224" fmla="*/ 2103585 h 5818346"/>
              <a:gd name="connsiteX9225" fmla="*/ 328875 w 3503192"/>
              <a:gd name="connsiteY9225" fmla="*/ 2092848 h 5818346"/>
              <a:gd name="connsiteX9226" fmla="*/ 339611 w 3503192"/>
              <a:gd name="connsiteY9226" fmla="*/ 2082112 h 5818346"/>
              <a:gd name="connsiteX9227" fmla="*/ 148826 w 3503192"/>
              <a:gd name="connsiteY9227" fmla="*/ 2081285 h 5818346"/>
              <a:gd name="connsiteX9228" fmla="*/ 157830 w 3503192"/>
              <a:gd name="connsiteY9228" fmla="*/ 2090287 h 5818346"/>
              <a:gd name="connsiteX9229" fmla="*/ 165015 w 3503192"/>
              <a:gd name="connsiteY9229" fmla="*/ 2083102 h 5818346"/>
              <a:gd name="connsiteX9230" fmla="*/ 175753 w 3503192"/>
              <a:gd name="connsiteY9230" fmla="*/ 2093838 h 5818346"/>
              <a:gd name="connsiteX9231" fmla="*/ 165015 w 3503192"/>
              <a:gd name="connsiteY9231" fmla="*/ 2104577 h 5818346"/>
              <a:gd name="connsiteX9232" fmla="*/ 156013 w 3503192"/>
              <a:gd name="connsiteY9232" fmla="*/ 2095573 h 5818346"/>
              <a:gd name="connsiteX9233" fmla="*/ 148826 w 3503192"/>
              <a:gd name="connsiteY9233" fmla="*/ 2102759 h 5818346"/>
              <a:gd name="connsiteX9234" fmla="*/ 138090 w 3503192"/>
              <a:gd name="connsiteY9234" fmla="*/ 2092021 h 5818346"/>
              <a:gd name="connsiteX9235" fmla="*/ 148826 w 3503192"/>
              <a:gd name="connsiteY9235" fmla="*/ 2081285 h 5818346"/>
              <a:gd name="connsiteX9236" fmla="*/ 3426850 w 3503192"/>
              <a:gd name="connsiteY9236" fmla="*/ 2078973 h 5818346"/>
              <a:gd name="connsiteX9237" fmla="*/ 3437588 w 3503192"/>
              <a:gd name="connsiteY9237" fmla="*/ 2089709 h 5818346"/>
              <a:gd name="connsiteX9238" fmla="*/ 3426850 w 3503192"/>
              <a:gd name="connsiteY9238" fmla="*/ 2100447 h 5818346"/>
              <a:gd name="connsiteX9239" fmla="*/ 3416114 w 3503192"/>
              <a:gd name="connsiteY9239" fmla="*/ 2089709 h 5818346"/>
              <a:gd name="connsiteX9240" fmla="*/ 3426850 w 3503192"/>
              <a:gd name="connsiteY9240" fmla="*/ 2078973 h 5818346"/>
              <a:gd name="connsiteX9241" fmla="*/ 128344 w 3503192"/>
              <a:gd name="connsiteY9241" fmla="*/ 2077816 h 5818346"/>
              <a:gd name="connsiteX9242" fmla="*/ 139082 w 3503192"/>
              <a:gd name="connsiteY9242" fmla="*/ 2088553 h 5818346"/>
              <a:gd name="connsiteX9243" fmla="*/ 128344 w 3503192"/>
              <a:gd name="connsiteY9243" fmla="*/ 2099291 h 5818346"/>
              <a:gd name="connsiteX9244" fmla="*/ 117607 w 3503192"/>
              <a:gd name="connsiteY9244" fmla="*/ 2088553 h 5818346"/>
              <a:gd name="connsiteX9245" fmla="*/ 128344 w 3503192"/>
              <a:gd name="connsiteY9245" fmla="*/ 2077816 h 5818346"/>
              <a:gd name="connsiteX9246" fmla="*/ 2474414 w 3503192"/>
              <a:gd name="connsiteY9246" fmla="*/ 2070713 h 5818346"/>
              <a:gd name="connsiteX9247" fmla="*/ 2485152 w 3503192"/>
              <a:gd name="connsiteY9247" fmla="*/ 2081449 h 5818346"/>
              <a:gd name="connsiteX9248" fmla="*/ 2474414 w 3503192"/>
              <a:gd name="connsiteY9248" fmla="*/ 2092187 h 5818346"/>
              <a:gd name="connsiteX9249" fmla="*/ 2463678 w 3503192"/>
              <a:gd name="connsiteY9249" fmla="*/ 2081449 h 5818346"/>
              <a:gd name="connsiteX9250" fmla="*/ 2474414 w 3503192"/>
              <a:gd name="connsiteY9250" fmla="*/ 2070713 h 5818346"/>
              <a:gd name="connsiteX9251" fmla="*/ 251735 w 3503192"/>
              <a:gd name="connsiteY9251" fmla="*/ 2066749 h 5818346"/>
              <a:gd name="connsiteX9252" fmla="*/ 262473 w 3503192"/>
              <a:gd name="connsiteY9252" fmla="*/ 2077485 h 5818346"/>
              <a:gd name="connsiteX9253" fmla="*/ 251735 w 3503192"/>
              <a:gd name="connsiteY9253" fmla="*/ 2088223 h 5818346"/>
              <a:gd name="connsiteX9254" fmla="*/ 240998 w 3503192"/>
              <a:gd name="connsiteY9254" fmla="*/ 2077485 h 5818346"/>
              <a:gd name="connsiteX9255" fmla="*/ 251735 w 3503192"/>
              <a:gd name="connsiteY9255" fmla="*/ 2066749 h 5818346"/>
              <a:gd name="connsiteX9256" fmla="*/ 3194936 w 3503192"/>
              <a:gd name="connsiteY9256" fmla="*/ 2065098 h 5818346"/>
              <a:gd name="connsiteX9257" fmla="*/ 3205674 w 3503192"/>
              <a:gd name="connsiteY9257" fmla="*/ 2075834 h 5818346"/>
              <a:gd name="connsiteX9258" fmla="*/ 3194936 w 3503192"/>
              <a:gd name="connsiteY9258" fmla="*/ 2086570 h 5818346"/>
              <a:gd name="connsiteX9259" fmla="*/ 3184200 w 3503192"/>
              <a:gd name="connsiteY9259" fmla="*/ 2075834 h 5818346"/>
              <a:gd name="connsiteX9260" fmla="*/ 3194936 w 3503192"/>
              <a:gd name="connsiteY9260" fmla="*/ 2065098 h 5818346"/>
              <a:gd name="connsiteX9261" fmla="*/ 203007 w 3503192"/>
              <a:gd name="connsiteY9261" fmla="*/ 2060969 h 5818346"/>
              <a:gd name="connsiteX9262" fmla="*/ 213744 w 3503192"/>
              <a:gd name="connsiteY9262" fmla="*/ 2071705 h 5818346"/>
              <a:gd name="connsiteX9263" fmla="*/ 203007 w 3503192"/>
              <a:gd name="connsiteY9263" fmla="*/ 2082441 h 5818346"/>
              <a:gd name="connsiteX9264" fmla="*/ 192271 w 3503192"/>
              <a:gd name="connsiteY9264" fmla="*/ 2071705 h 5818346"/>
              <a:gd name="connsiteX9265" fmla="*/ 203007 w 3503192"/>
              <a:gd name="connsiteY9265" fmla="*/ 2060969 h 5818346"/>
              <a:gd name="connsiteX9266" fmla="*/ 2711781 w 3503192"/>
              <a:gd name="connsiteY9266" fmla="*/ 2060473 h 5818346"/>
              <a:gd name="connsiteX9267" fmla="*/ 2722519 w 3503192"/>
              <a:gd name="connsiteY9267" fmla="*/ 2071209 h 5818346"/>
              <a:gd name="connsiteX9268" fmla="*/ 2711781 w 3503192"/>
              <a:gd name="connsiteY9268" fmla="*/ 2081945 h 5818346"/>
              <a:gd name="connsiteX9269" fmla="*/ 2701045 w 3503192"/>
              <a:gd name="connsiteY9269" fmla="*/ 2071209 h 5818346"/>
              <a:gd name="connsiteX9270" fmla="*/ 2711781 w 3503192"/>
              <a:gd name="connsiteY9270" fmla="*/ 2060473 h 5818346"/>
              <a:gd name="connsiteX9271" fmla="*/ 140403 w 3503192"/>
              <a:gd name="connsiteY9271" fmla="*/ 2059977 h 5818346"/>
              <a:gd name="connsiteX9272" fmla="*/ 150314 w 3503192"/>
              <a:gd name="connsiteY9272" fmla="*/ 2069888 h 5818346"/>
              <a:gd name="connsiteX9273" fmla="*/ 159400 w 3503192"/>
              <a:gd name="connsiteY9273" fmla="*/ 2060802 h 5818346"/>
              <a:gd name="connsiteX9274" fmla="*/ 167824 w 3503192"/>
              <a:gd name="connsiteY9274" fmla="*/ 2069227 h 5818346"/>
              <a:gd name="connsiteX9275" fmla="*/ 176743 w 3503192"/>
              <a:gd name="connsiteY9275" fmla="*/ 2060308 h 5818346"/>
              <a:gd name="connsiteX9276" fmla="*/ 187481 w 3503192"/>
              <a:gd name="connsiteY9276" fmla="*/ 2071044 h 5818346"/>
              <a:gd name="connsiteX9277" fmla="*/ 176743 w 3503192"/>
              <a:gd name="connsiteY9277" fmla="*/ 2081781 h 5818346"/>
              <a:gd name="connsiteX9278" fmla="*/ 168318 w 3503192"/>
              <a:gd name="connsiteY9278" fmla="*/ 2073358 h 5818346"/>
              <a:gd name="connsiteX9279" fmla="*/ 159400 w 3503192"/>
              <a:gd name="connsiteY9279" fmla="*/ 2082277 h 5818346"/>
              <a:gd name="connsiteX9280" fmla="*/ 149489 w 3503192"/>
              <a:gd name="connsiteY9280" fmla="*/ 2072364 h 5818346"/>
              <a:gd name="connsiteX9281" fmla="*/ 140403 w 3503192"/>
              <a:gd name="connsiteY9281" fmla="*/ 2081451 h 5818346"/>
              <a:gd name="connsiteX9282" fmla="*/ 129667 w 3503192"/>
              <a:gd name="connsiteY9282" fmla="*/ 2070713 h 5818346"/>
              <a:gd name="connsiteX9283" fmla="*/ 140403 w 3503192"/>
              <a:gd name="connsiteY9283" fmla="*/ 2059977 h 5818346"/>
              <a:gd name="connsiteX9284" fmla="*/ 2954432 w 3503192"/>
              <a:gd name="connsiteY9284" fmla="*/ 2058324 h 5818346"/>
              <a:gd name="connsiteX9285" fmla="*/ 2965168 w 3503192"/>
              <a:gd name="connsiteY9285" fmla="*/ 2069060 h 5818346"/>
              <a:gd name="connsiteX9286" fmla="*/ 2954432 w 3503192"/>
              <a:gd name="connsiteY9286" fmla="*/ 2079798 h 5818346"/>
              <a:gd name="connsiteX9287" fmla="*/ 2943696 w 3503192"/>
              <a:gd name="connsiteY9287" fmla="*/ 2069060 h 5818346"/>
              <a:gd name="connsiteX9288" fmla="*/ 2954432 w 3503192"/>
              <a:gd name="connsiteY9288" fmla="*/ 2058324 h 5818346"/>
              <a:gd name="connsiteX9289" fmla="*/ 1149495 w 3503192"/>
              <a:gd name="connsiteY9289" fmla="*/ 2057499 h 5818346"/>
              <a:gd name="connsiteX9290" fmla="*/ 1160232 w 3503192"/>
              <a:gd name="connsiteY9290" fmla="*/ 2068235 h 5818346"/>
              <a:gd name="connsiteX9291" fmla="*/ 1149495 w 3503192"/>
              <a:gd name="connsiteY9291" fmla="*/ 2078971 h 5818346"/>
              <a:gd name="connsiteX9292" fmla="*/ 1138759 w 3503192"/>
              <a:gd name="connsiteY9292" fmla="*/ 2068235 h 5818346"/>
              <a:gd name="connsiteX9293" fmla="*/ 1149495 w 3503192"/>
              <a:gd name="connsiteY9293" fmla="*/ 2057499 h 5818346"/>
              <a:gd name="connsiteX9294" fmla="*/ 622897 w 3503192"/>
              <a:gd name="connsiteY9294" fmla="*/ 2057004 h 5818346"/>
              <a:gd name="connsiteX9295" fmla="*/ 633636 w 3503192"/>
              <a:gd name="connsiteY9295" fmla="*/ 2067741 h 5818346"/>
              <a:gd name="connsiteX9296" fmla="*/ 622897 w 3503192"/>
              <a:gd name="connsiteY9296" fmla="*/ 2078477 h 5818346"/>
              <a:gd name="connsiteX9297" fmla="*/ 612161 w 3503192"/>
              <a:gd name="connsiteY9297" fmla="*/ 2067741 h 5818346"/>
              <a:gd name="connsiteX9298" fmla="*/ 622897 w 3503192"/>
              <a:gd name="connsiteY9298" fmla="*/ 2057004 h 5818346"/>
              <a:gd name="connsiteX9299" fmla="*/ 382558 w 3503192"/>
              <a:gd name="connsiteY9299" fmla="*/ 2054361 h 5818346"/>
              <a:gd name="connsiteX9300" fmla="*/ 393295 w 3503192"/>
              <a:gd name="connsiteY9300" fmla="*/ 2065098 h 5818346"/>
              <a:gd name="connsiteX9301" fmla="*/ 382558 w 3503192"/>
              <a:gd name="connsiteY9301" fmla="*/ 2075836 h 5818346"/>
              <a:gd name="connsiteX9302" fmla="*/ 371822 w 3503192"/>
              <a:gd name="connsiteY9302" fmla="*/ 2065098 h 5818346"/>
              <a:gd name="connsiteX9303" fmla="*/ 382558 w 3503192"/>
              <a:gd name="connsiteY9303" fmla="*/ 2054361 h 5818346"/>
              <a:gd name="connsiteX9304" fmla="*/ 279816 w 3503192"/>
              <a:gd name="connsiteY9304" fmla="*/ 2039659 h 5818346"/>
              <a:gd name="connsiteX9305" fmla="*/ 290553 w 3503192"/>
              <a:gd name="connsiteY9305" fmla="*/ 2050395 h 5818346"/>
              <a:gd name="connsiteX9306" fmla="*/ 279816 w 3503192"/>
              <a:gd name="connsiteY9306" fmla="*/ 2061132 h 5818346"/>
              <a:gd name="connsiteX9307" fmla="*/ 269080 w 3503192"/>
              <a:gd name="connsiteY9307" fmla="*/ 2050395 h 5818346"/>
              <a:gd name="connsiteX9308" fmla="*/ 279816 w 3503192"/>
              <a:gd name="connsiteY9308" fmla="*/ 2039659 h 5818346"/>
              <a:gd name="connsiteX9309" fmla="*/ 170465 w 3503192"/>
              <a:gd name="connsiteY9309" fmla="*/ 2039329 h 5818346"/>
              <a:gd name="connsiteX9310" fmla="*/ 181203 w 3503192"/>
              <a:gd name="connsiteY9310" fmla="*/ 2050066 h 5818346"/>
              <a:gd name="connsiteX9311" fmla="*/ 170465 w 3503192"/>
              <a:gd name="connsiteY9311" fmla="*/ 2060804 h 5818346"/>
              <a:gd name="connsiteX9312" fmla="*/ 161959 w 3503192"/>
              <a:gd name="connsiteY9312" fmla="*/ 2052296 h 5818346"/>
              <a:gd name="connsiteX9313" fmla="*/ 151965 w 3503192"/>
              <a:gd name="connsiteY9313" fmla="*/ 2062288 h 5818346"/>
              <a:gd name="connsiteX9314" fmla="*/ 141229 w 3503192"/>
              <a:gd name="connsiteY9314" fmla="*/ 2051552 h 5818346"/>
              <a:gd name="connsiteX9315" fmla="*/ 151965 w 3503192"/>
              <a:gd name="connsiteY9315" fmla="*/ 2040816 h 5818346"/>
              <a:gd name="connsiteX9316" fmla="*/ 160473 w 3503192"/>
              <a:gd name="connsiteY9316" fmla="*/ 2049322 h 5818346"/>
              <a:gd name="connsiteX9317" fmla="*/ 189793 w 3503192"/>
              <a:gd name="connsiteY9317" fmla="*/ 2036355 h 5818346"/>
              <a:gd name="connsiteX9318" fmla="*/ 200531 w 3503192"/>
              <a:gd name="connsiteY9318" fmla="*/ 2047092 h 5818346"/>
              <a:gd name="connsiteX9319" fmla="*/ 189793 w 3503192"/>
              <a:gd name="connsiteY9319" fmla="*/ 2057830 h 5818346"/>
              <a:gd name="connsiteX9320" fmla="*/ 179057 w 3503192"/>
              <a:gd name="connsiteY9320" fmla="*/ 2047092 h 5818346"/>
              <a:gd name="connsiteX9321" fmla="*/ 189793 w 3503192"/>
              <a:gd name="connsiteY9321" fmla="*/ 2036355 h 5818346"/>
              <a:gd name="connsiteX9322" fmla="*/ 221508 w 3503192"/>
              <a:gd name="connsiteY9322" fmla="*/ 2035199 h 5818346"/>
              <a:gd name="connsiteX9323" fmla="*/ 232246 w 3503192"/>
              <a:gd name="connsiteY9323" fmla="*/ 2045935 h 5818346"/>
              <a:gd name="connsiteX9324" fmla="*/ 221508 w 3503192"/>
              <a:gd name="connsiteY9324" fmla="*/ 2056673 h 5818346"/>
              <a:gd name="connsiteX9325" fmla="*/ 210771 w 3503192"/>
              <a:gd name="connsiteY9325" fmla="*/ 2045935 h 5818346"/>
              <a:gd name="connsiteX9326" fmla="*/ 221508 w 3503192"/>
              <a:gd name="connsiteY9326" fmla="*/ 2035199 h 5818346"/>
              <a:gd name="connsiteX9327" fmla="*/ 1285440 w 3503192"/>
              <a:gd name="connsiteY9327" fmla="*/ 2029087 h 5818346"/>
              <a:gd name="connsiteX9328" fmla="*/ 1296178 w 3503192"/>
              <a:gd name="connsiteY9328" fmla="*/ 2039824 h 5818346"/>
              <a:gd name="connsiteX9329" fmla="*/ 1285440 w 3503192"/>
              <a:gd name="connsiteY9329" fmla="*/ 2050560 h 5818346"/>
              <a:gd name="connsiteX9330" fmla="*/ 1274704 w 3503192"/>
              <a:gd name="connsiteY9330" fmla="*/ 2039824 h 5818346"/>
              <a:gd name="connsiteX9331" fmla="*/ 1285440 w 3503192"/>
              <a:gd name="connsiteY9331" fmla="*/ 2029087 h 5818346"/>
              <a:gd name="connsiteX9332" fmla="*/ 139743 w 3503192"/>
              <a:gd name="connsiteY9332" fmla="*/ 2028262 h 5818346"/>
              <a:gd name="connsiteX9333" fmla="*/ 143542 w 3503192"/>
              <a:gd name="connsiteY9333" fmla="*/ 2032061 h 5818346"/>
              <a:gd name="connsiteX9334" fmla="*/ 139743 w 3503192"/>
              <a:gd name="connsiteY9334" fmla="*/ 2035859 h 5818346"/>
              <a:gd name="connsiteX9335" fmla="*/ 135943 w 3503192"/>
              <a:gd name="connsiteY9335" fmla="*/ 2032061 h 5818346"/>
              <a:gd name="connsiteX9336" fmla="*/ 139743 w 3503192"/>
              <a:gd name="connsiteY9336" fmla="*/ 2028262 h 5818346"/>
              <a:gd name="connsiteX9337" fmla="*/ 702680 w 3503192"/>
              <a:gd name="connsiteY9337" fmla="*/ 2027601 h 5818346"/>
              <a:gd name="connsiteX9338" fmla="*/ 713417 w 3503192"/>
              <a:gd name="connsiteY9338" fmla="*/ 2038337 h 5818346"/>
              <a:gd name="connsiteX9339" fmla="*/ 702680 w 3503192"/>
              <a:gd name="connsiteY9339" fmla="*/ 2049076 h 5818346"/>
              <a:gd name="connsiteX9340" fmla="*/ 691944 w 3503192"/>
              <a:gd name="connsiteY9340" fmla="*/ 2038337 h 5818346"/>
              <a:gd name="connsiteX9341" fmla="*/ 702680 w 3503192"/>
              <a:gd name="connsiteY9341" fmla="*/ 2027601 h 5818346"/>
              <a:gd name="connsiteX9342" fmla="*/ 431287 w 3503192"/>
              <a:gd name="connsiteY9342" fmla="*/ 2025619 h 5818346"/>
              <a:gd name="connsiteX9343" fmla="*/ 442025 w 3503192"/>
              <a:gd name="connsiteY9343" fmla="*/ 2036355 h 5818346"/>
              <a:gd name="connsiteX9344" fmla="*/ 431287 w 3503192"/>
              <a:gd name="connsiteY9344" fmla="*/ 2047092 h 5818346"/>
              <a:gd name="connsiteX9345" fmla="*/ 420551 w 3503192"/>
              <a:gd name="connsiteY9345" fmla="*/ 2036355 h 5818346"/>
              <a:gd name="connsiteX9346" fmla="*/ 431287 w 3503192"/>
              <a:gd name="connsiteY9346" fmla="*/ 2025619 h 5818346"/>
              <a:gd name="connsiteX9347" fmla="*/ 163693 w 3503192"/>
              <a:gd name="connsiteY9347" fmla="*/ 2020663 h 5818346"/>
              <a:gd name="connsiteX9348" fmla="*/ 174431 w 3503192"/>
              <a:gd name="connsiteY9348" fmla="*/ 2031399 h 5818346"/>
              <a:gd name="connsiteX9349" fmla="*/ 163693 w 3503192"/>
              <a:gd name="connsiteY9349" fmla="*/ 2042137 h 5818346"/>
              <a:gd name="connsiteX9350" fmla="*/ 152957 w 3503192"/>
              <a:gd name="connsiteY9350" fmla="*/ 2031399 h 5818346"/>
              <a:gd name="connsiteX9351" fmla="*/ 163693 w 3503192"/>
              <a:gd name="connsiteY9351" fmla="*/ 2020663 h 5818346"/>
              <a:gd name="connsiteX9352" fmla="*/ 182029 w 3503192"/>
              <a:gd name="connsiteY9352" fmla="*/ 2016533 h 5818346"/>
              <a:gd name="connsiteX9353" fmla="*/ 192767 w 3503192"/>
              <a:gd name="connsiteY9353" fmla="*/ 2027270 h 5818346"/>
              <a:gd name="connsiteX9354" fmla="*/ 182029 w 3503192"/>
              <a:gd name="connsiteY9354" fmla="*/ 2038008 h 5818346"/>
              <a:gd name="connsiteX9355" fmla="*/ 171293 w 3503192"/>
              <a:gd name="connsiteY9355" fmla="*/ 2027270 h 5818346"/>
              <a:gd name="connsiteX9356" fmla="*/ 182029 w 3503192"/>
              <a:gd name="connsiteY9356" fmla="*/ 2016533 h 5818346"/>
              <a:gd name="connsiteX9357" fmla="*/ 204329 w 3503192"/>
              <a:gd name="connsiteY9357" fmla="*/ 2011414 h 5818346"/>
              <a:gd name="connsiteX9358" fmla="*/ 215067 w 3503192"/>
              <a:gd name="connsiteY9358" fmla="*/ 2022151 h 5818346"/>
              <a:gd name="connsiteX9359" fmla="*/ 204329 w 3503192"/>
              <a:gd name="connsiteY9359" fmla="*/ 2032887 h 5818346"/>
              <a:gd name="connsiteX9360" fmla="*/ 193592 w 3503192"/>
              <a:gd name="connsiteY9360" fmla="*/ 2022151 h 5818346"/>
              <a:gd name="connsiteX9361" fmla="*/ 204329 w 3503192"/>
              <a:gd name="connsiteY9361" fmla="*/ 2011414 h 5818346"/>
              <a:gd name="connsiteX9362" fmla="*/ 311861 w 3503192"/>
              <a:gd name="connsiteY9362" fmla="*/ 2011248 h 5818346"/>
              <a:gd name="connsiteX9363" fmla="*/ 322599 w 3503192"/>
              <a:gd name="connsiteY9363" fmla="*/ 2021984 h 5818346"/>
              <a:gd name="connsiteX9364" fmla="*/ 311861 w 3503192"/>
              <a:gd name="connsiteY9364" fmla="*/ 2032722 h 5818346"/>
              <a:gd name="connsiteX9365" fmla="*/ 301124 w 3503192"/>
              <a:gd name="connsiteY9365" fmla="*/ 2021984 h 5818346"/>
              <a:gd name="connsiteX9366" fmla="*/ 311861 w 3503192"/>
              <a:gd name="connsiteY9366" fmla="*/ 2011248 h 5818346"/>
              <a:gd name="connsiteX9367" fmla="*/ 242484 w 3503192"/>
              <a:gd name="connsiteY9367" fmla="*/ 2008111 h 5818346"/>
              <a:gd name="connsiteX9368" fmla="*/ 253221 w 3503192"/>
              <a:gd name="connsiteY9368" fmla="*/ 2018847 h 5818346"/>
              <a:gd name="connsiteX9369" fmla="*/ 242484 w 3503192"/>
              <a:gd name="connsiteY9369" fmla="*/ 2029585 h 5818346"/>
              <a:gd name="connsiteX9370" fmla="*/ 231748 w 3503192"/>
              <a:gd name="connsiteY9370" fmla="*/ 2018847 h 5818346"/>
              <a:gd name="connsiteX9371" fmla="*/ 242484 w 3503192"/>
              <a:gd name="connsiteY9371" fmla="*/ 2008111 h 5818346"/>
              <a:gd name="connsiteX9372" fmla="*/ 152957 w 3503192"/>
              <a:gd name="connsiteY9372" fmla="*/ 2002990 h 5818346"/>
              <a:gd name="connsiteX9373" fmla="*/ 163695 w 3503192"/>
              <a:gd name="connsiteY9373" fmla="*/ 2013726 h 5818346"/>
              <a:gd name="connsiteX9374" fmla="*/ 152957 w 3503192"/>
              <a:gd name="connsiteY9374" fmla="*/ 2024464 h 5818346"/>
              <a:gd name="connsiteX9375" fmla="*/ 142221 w 3503192"/>
              <a:gd name="connsiteY9375" fmla="*/ 2013726 h 5818346"/>
              <a:gd name="connsiteX9376" fmla="*/ 152957 w 3503192"/>
              <a:gd name="connsiteY9376" fmla="*/ 2002990 h 5818346"/>
              <a:gd name="connsiteX9377" fmla="*/ 1433607 w 3503192"/>
              <a:gd name="connsiteY9377" fmla="*/ 2000676 h 5818346"/>
              <a:gd name="connsiteX9378" fmla="*/ 1444345 w 3503192"/>
              <a:gd name="connsiteY9378" fmla="*/ 2011413 h 5818346"/>
              <a:gd name="connsiteX9379" fmla="*/ 1433607 w 3503192"/>
              <a:gd name="connsiteY9379" fmla="*/ 2022151 h 5818346"/>
              <a:gd name="connsiteX9380" fmla="*/ 1422871 w 3503192"/>
              <a:gd name="connsiteY9380" fmla="*/ 2011413 h 5818346"/>
              <a:gd name="connsiteX9381" fmla="*/ 1433607 w 3503192"/>
              <a:gd name="connsiteY9381" fmla="*/ 2000676 h 5818346"/>
              <a:gd name="connsiteX9382" fmla="*/ 175257 w 3503192"/>
              <a:gd name="connsiteY9382" fmla="*/ 1999521 h 5818346"/>
              <a:gd name="connsiteX9383" fmla="*/ 185995 w 3503192"/>
              <a:gd name="connsiteY9383" fmla="*/ 2010257 h 5818346"/>
              <a:gd name="connsiteX9384" fmla="*/ 175257 w 3503192"/>
              <a:gd name="connsiteY9384" fmla="*/ 2020994 h 5818346"/>
              <a:gd name="connsiteX9385" fmla="*/ 164521 w 3503192"/>
              <a:gd name="connsiteY9385" fmla="*/ 2010257 h 5818346"/>
              <a:gd name="connsiteX9386" fmla="*/ 175257 w 3503192"/>
              <a:gd name="connsiteY9386" fmla="*/ 1999521 h 5818346"/>
              <a:gd name="connsiteX9387" fmla="*/ 791382 w 3503192"/>
              <a:gd name="connsiteY9387" fmla="*/ 1997704 h 5818346"/>
              <a:gd name="connsiteX9388" fmla="*/ 802120 w 3503192"/>
              <a:gd name="connsiteY9388" fmla="*/ 2008440 h 5818346"/>
              <a:gd name="connsiteX9389" fmla="*/ 791382 w 3503192"/>
              <a:gd name="connsiteY9389" fmla="*/ 2019178 h 5818346"/>
              <a:gd name="connsiteX9390" fmla="*/ 780646 w 3503192"/>
              <a:gd name="connsiteY9390" fmla="*/ 2008440 h 5818346"/>
              <a:gd name="connsiteX9391" fmla="*/ 791382 w 3503192"/>
              <a:gd name="connsiteY9391" fmla="*/ 1997704 h 5818346"/>
              <a:gd name="connsiteX9392" fmla="*/ 486127 w 3503192"/>
              <a:gd name="connsiteY9392" fmla="*/ 1995722 h 5818346"/>
              <a:gd name="connsiteX9393" fmla="*/ 496864 w 3503192"/>
              <a:gd name="connsiteY9393" fmla="*/ 2006458 h 5818346"/>
              <a:gd name="connsiteX9394" fmla="*/ 486127 w 3503192"/>
              <a:gd name="connsiteY9394" fmla="*/ 2017196 h 5818346"/>
              <a:gd name="connsiteX9395" fmla="*/ 475391 w 3503192"/>
              <a:gd name="connsiteY9395" fmla="*/ 2006458 h 5818346"/>
              <a:gd name="connsiteX9396" fmla="*/ 486127 w 3503192"/>
              <a:gd name="connsiteY9396" fmla="*/ 1995722 h 5818346"/>
              <a:gd name="connsiteX9397" fmla="*/ 194418 w 3503192"/>
              <a:gd name="connsiteY9397" fmla="*/ 1992583 h 5818346"/>
              <a:gd name="connsiteX9398" fmla="*/ 205156 w 3503192"/>
              <a:gd name="connsiteY9398" fmla="*/ 2003319 h 5818346"/>
              <a:gd name="connsiteX9399" fmla="*/ 194418 w 3503192"/>
              <a:gd name="connsiteY9399" fmla="*/ 2014055 h 5818346"/>
              <a:gd name="connsiteX9400" fmla="*/ 183682 w 3503192"/>
              <a:gd name="connsiteY9400" fmla="*/ 2003319 h 5818346"/>
              <a:gd name="connsiteX9401" fmla="*/ 194418 w 3503192"/>
              <a:gd name="connsiteY9401" fmla="*/ 1992583 h 5818346"/>
              <a:gd name="connsiteX9402" fmla="*/ 220516 w 3503192"/>
              <a:gd name="connsiteY9402" fmla="*/ 1985150 h 5818346"/>
              <a:gd name="connsiteX9403" fmla="*/ 231254 w 3503192"/>
              <a:gd name="connsiteY9403" fmla="*/ 1995886 h 5818346"/>
              <a:gd name="connsiteX9404" fmla="*/ 220516 w 3503192"/>
              <a:gd name="connsiteY9404" fmla="*/ 2006624 h 5818346"/>
              <a:gd name="connsiteX9405" fmla="*/ 209779 w 3503192"/>
              <a:gd name="connsiteY9405" fmla="*/ 1995886 h 5818346"/>
              <a:gd name="connsiteX9406" fmla="*/ 220516 w 3503192"/>
              <a:gd name="connsiteY9406" fmla="*/ 1985150 h 5818346"/>
              <a:gd name="connsiteX9407" fmla="*/ 165840 w 3503192"/>
              <a:gd name="connsiteY9407" fmla="*/ 1983333 h 5818346"/>
              <a:gd name="connsiteX9408" fmla="*/ 176577 w 3503192"/>
              <a:gd name="connsiteY9408" fmla="*/ 1994069 h 5818346"/>
              <a:gd name="connsiteX9409" fmla="*/ 165840 w 3503192"/>
              <a:gd name="connsiteY9409" fmla="*/ 2004807 h 5818346"/>
              <a:gd name="connsiteX9410" fmla="*/ 155104 w 3503192"/>
              <a:gd name="connsiteY9410" fmla="*/ 1994069 h 5818346"/>
              <a:gd name="connsiteX9411" fmla="*/ 165840 w 3503192"/>
              <a:gd name="connsiteY9411" fmla="*/ 1983333 h 5818346"/>
              <a:gd name="connsiteX9412" fmla="*/ 348532 w 3503192"/>
              <a:gd name="connsiteY9412" fmla="*/ 1981846 h 5818346"/>
              <a:gd name="connsiteX9413" fmla="*/ 359268 w 3503192"/>
              <a:gd name="connsiteY9413" fmla="*/ 1992583 h 5818346"/>
              <a:gd name="connsiteX9414" fmla="*/ 348532 w 3503192"/>
              <a:gd name="connsiteY9414" fmla="*/ 2003319 h 5818346"/>
              <a:gd name="connsiteX9415" fmla="*/ 337795 w 3503192"/>
              <a:gd name="connsiteY9415" fmla="*/ 1992583 h 5818346"/>
              <a:gd name="connsiteX9416" fmla="*/ 348532 w 3503192"/>
              <a:gd name="connsiteY9416" fmla="*/ 1981846 h 5818346"/>
              <a:gd name="connsiteX9417" fmla="*/ 266435 w 3503192"/>
              <a:gd name="connsiteY9417" fmla="*/ 1980029 h 5818346"/>
              <a:gd name="connsiteX9418" fmla="*/ 277173 w 3503192"/>
              <a:gd name="connsiteY9418" fmla="*/ 1990765 h 5818346"/>
              <a:gd name="connsiteX9419" fmla="*/ 266435 w 3503192"/>
              <a:gd name="connsiteY9419" fmla="*/ 2001503 h 5818346"/>
              <a:gd name="connsiteX9420" fmla="*/ 255699 w 3503192"/>
              <a:gd name="connsiteY9420" fmla="*/ 1990765 h 5818346"/>
              <a:gd name="connsiteX9421" fmla="*/ 266435 w 3503192"/>
              <a:gd name="connsiteY9421" fmla="*/ 1980029 h 5818346"/>
              <a:gd name="connsiteX9422" fmla="*/ 187150 w 3503192"/>
              <a:gd name="connsiteY9422" fmla="*/ 1977056 h 5818346"/>
              <a:gd name="connsiteX9423" fmla="*/ 197886 w 3503192"/>
              <a:gd name="connsiteY9423" fmla="*/ 1987793 h 5818346"/>
              <a:gd name="connsiteX9424" fmla="*/ 187150 w 3503192"/>
              <a:gd name="connsiteY9424" fmla="*/ 1998531 h 5818346"/>
              <a:gd name="connsiteX9425" fmla="*/ 176414 w 3503192"/>
              <a:gd name="connsiteY9425" fmla="*/ 1987793 h 5818346"/>
              <a:gd name="connsiteX9426" fmla="*/ 187150 w 3503192"/>
              <a:gd name="connsiteY9426" fmla="*/ 1977056 h 5818346"/>
              <a:gd name="connsiteX9427" fmla="*/ 1594989 w 3503192"/>
              <a:gd name="connsiteY9427" fmla="*/ 1972265 h 5818346"/>
              <a:gd name="connsiteX9428" fmla="*/ 1605725 w 3503192"/>
              <a:gd name="connsiteY9428" fmla="*/ 1983001 h 5818346"/>
              <a:gd name="connsiteX9429" fmla="*/ 1594989 w 3503192"/>
              <a:gd name="connsiteY9429" fmla="*/ 1993739 h 5818346"/>
              <a:gd name="connsiteX9430" fmla="*/ 1584253 w 3503192"/>
              <a:gd name="connsiteY9430" fmla="*/ 1983001 h 5818346"/>
              <a:gd name="connsiteX9431" fmla="*/ 1594989 w 3503192"/>
              <a:gd name="connsiteY9431" fmla="*/ 1972265 h 5818346"/>
              <a:gd name="connsiteX9432" fmla="*/ 207962 w 3503192"/>
              <a:gd name="connsiteY9432" fmla="*/ 1967475 h 5818346"/>
              <a:gd name="connsiteX9433" fmla="*/ 218700 w 3503192"/>
              <a:gd name="connsiteY9433" fmla="*/ 1978212 h 5818346"/>
              <a:gd name="connsiteX9434" fmla="*/ 207962 w 3503192"/>
              <a:gd name="connsiteY9434" fmla="*/ 1988950 h 5818346"/>
              <a:gd name="connsiteX9435" fmla="*/ 197226 w 3503192"/>
              <a:gd name="connsiteY9435" fmla="*/ 1978212 h 5818346"/>
              <a:gd name="connsiteX9436" fmla="*/ 207962 w 3503192"/>
              <a:gd name="connsiteY9436" fmla="*/ 1967475 h 5818346"/>
              <a:gd name="connsiteX9437" fmla="*/ 889501 w 3503192"/>
              <a:gd name="connsiteY9437" fmla="*/ 1966814 h 5818346"/>
              <a:gd name="connsiteX9438" fmla="*/ 900237 w 3503192"/>
              <a:gd name="connsiteY9438" fmla="*/ 1977551 h 5818346"/>
              <a:gd name="connsiteX9439" fmla="*/ 889501 w 3503192"/>
              <a:gd name="connsiteY9439" fmla="*/ 1988289 h 5818346"/>
              <a:gd name="connsiteX9440" fmla="*/ 878765 w 3503192"/>
              <a:gd name="connsiteY9440" fmla="*/ 1977551 h 5818346"/>
              <a:gd name="connsiteX9441" fmla="*/ 889501 w 3503192"/>
              <a:gd name="connsiteY9441" fmla="*/ 1966814 h 5818346"/>
              <a:gd name="connsiteX9442" fmla="*/ 547575 w 3503192"/>
              <a:gd name="connsiteY9442" fmla="*/ 1964832 h 5818346"/>
              <a:gd name="connsiteX9443" fmla="*/ 558311 w 3503192"/>
              <a:gd name="connsiteY9443" fmla="*/ 1975569 h 5818346"/>
              <a:gd name="connsiteX9444" fmla="*/ 547575 w 3503192"/>
              <a:gd name="connsiteY9444" fmla="*/ 1986305 h 5818346"/>
              <a:gd name="connsiteX9445" fmla="*/ 536838 w 3503192"/>
              <a:gd name="connsiteY9445" fmla="*/ 1975569 h 5818346"/>
              <a:gd name="connsiteX9446" fmla="*/ 547575 w 3503192"/>
              <a:gd name="connsiteY9446" fmla="*/ 1964832 h 5818346"/>
              <a:gd name="connsiteX9447" fmla="*/ 178559 w 3503192"/>
              <a:gd name="connsiteY9447" fmla="*/ 1962685 h 5818346"/>
              <a:gd name="connsiteX9448" fmla="*/ 189297 w 3503192"/>
              <a:gd name="connsiteY9448" fmla="*/ 1973422 h 5818346"/>
              <a:gd name="connsiteX9449" fmla="*/ 178559 w 3503192"/>
              <a:gd name="connsiteY9449" fmla="*/ 1984160 h 5818346"/>
              <a:gd name="connsiteX9450" fmla="*/ 167822 w 3503192"/>
              <a:gd name="connsiteY9450" fmla="*/ 1973422 h 5818346"/>
              <a:gd name="connsiteX9451" fmla="*/ 178559 w 3503192"/>
              <a:gd name="connsiteY9451" fmla="*/ 1962685 h 5818346"/>
              <a:gd name="connsiteX9452" fmla="*/ 238851 w 3503192"/>
              <a:gd name="connsiteY9452" fmla="*/ 1957564 h 5818346"/>
              <a:gd name="connsiteX9453" fmla="*/ 249588 w 3503192"/>
              <a:gd name="connsiteY9453" fmla="*/ 1968301 h 5818346"/>
              <a:gd name="connsiteX9454" fmla="*/ 238851 w 3503192"/>
              <a:gd name="connsiteY9454" fmla="*/ 1979039 h 5818346"/>
              <a:gd name="connsiteX9455" fmla="*/ 228115 w 3503192"/>
              <a:gd name="connsiteY9455" fmla="*/ 1968301 h 5818346"/>
              <a:gd name="connsiteX9456" fmla="*/ 238851 w 3503192"/>
              <a:gd name="connsiteY9456" fmla="*/ 1957564 h 5818346"/>
              <a:gd name="connsiteX9457" fmla="*/ 165346 w 3503192"/>
              <a:gd name="connsiteY9457" fmla="*/ 1953104 h 5818346"/>
              <a:gd name="connsiteX9458" fmla="*/ 170961 w 3503192"/>
              <a:gd name="connsiteY9458" fmla="*/ 1958719 h 5818346"/>
              <a:gd name="connsiteX9459" fmla="*/ 165346 w 3503192"/>
              <a:gd name="connsiteY9459" fmla="*/ 1964336 h 5818346"/>
              <a:gd name="connsiteX9460" fmla="*/ 159729 w 3503192"/>
              <a:gd name="connsiteY9460" fmla="*/ 1958719 h 5818346"/>
              <a:gd name="connsiteX9461" fmla="*/ 165346 w 3503192"/>
              <a:gd name="connsiteY9461" fmla="*/ 1953104 h 5818346"/>
              <a:gd name="connsiteX9462" fmla="*/ 389991 w 3503192"/>
              <a:gd name="connsiteY9462" fmla="*/ 1951288 h 5818346"/>
              <a:gd name="connsiteX9463" fmla="*/ 400729 w 3503192"/>
              <a:gd name="connsiteY9463" fmla="*/ 1962025 h 5818346"/>
              <a:gd name="connsiteX9464" fmla="*/ 389991 w 3503192"/>
              <a:gd name="connsiteY9464" fmla="*/ 1972761 h 5818346"/>
              <a:gd name="connsiteX9465" fmla="*/ 379255 w 3503192"/>
              <a:gd name="connsiteY9465" fmla="*/ 1962025 h 5818346"/>
              <a:gd name="connsiteX9466" fmla="*/ 389991 w 3503192"/>
              <a:gd name="connsiteY9466" fmla="*/ 1951288 h 5818346"/>
              <a:gd name="connsiteX9467" fmla="*/ 293856 w 3503192"/>
              <a:gd name="connsiteY9467" fmla="*/ 1950792 h 5818346"/>
              <a:gd name="connsiteX9468" fmla="*/ 304594 w 3503192"/>
              <a:gd name="connsiteY9468" fmla="*/ 1961529 h 5818346"/>
              <a:gd name="connsiteX9469" fmla="*/ 293856 w 3503192"/>
              <a:gd name="connsiteY9469" fmla="*/ 1972267 h 5818346"/>
              <a:gd name="connsiteX9470" fmla="*/ 283120 w 3503192"/>
              <a:gd name="connsiteY9470" fmla="*/ 1961529 h 5818346"/>
              <a:gd name="connsiteX9471" fmla="*/ 293856 w 3503192"/>
              <a:gd name="connsiteY9471" fmla="*/ 1950792 h 5818346"/>
              <a:gd name="connsiteX9472" fmla="*/ 1770081 w 3503192"/>
              <a:gd name="connsiteY9472" fmla="*/ 1944515 h 5818346"/>
              <a:gd name="connsiteX9473" fmla="*/ 1780818 w 3503192"/>
              <a:gd name="connsiteY9473" fmla="*/ 1955251 h 5818346"/>
              <a:gd name="connsiteX9474" fmla="*/ 1770081 w 3503192"/>
              <a:gd name="connsiteY9474" fmla="*/ 1965989 h 5818346"/>
              <a:gd name="connsiteX9475" fmla="*/ 1759345 w 3503192"/>
              <a:gd name="connsiteY9475" fmla="*/ 1955251 h 5818346"/>
              <a:gd name="connsiteX9476" fmla="*/ 1770081 w 3503192"/>
              <a:gd name="connsiteY9476" fmla="*/ 1944515 h 5818346"/>
              <a:gd name="connsiteX9477" fmla="*/ 222829 w 3503192"/>
              <a:gd name="connsiteY9477" fmla="*/ 1941211 h 5818346"/>
              <a:gd name="connsiteX9478" fmla="*/ 233567 w 3503192"/>
              <a:gd name="connsiteY9478" fmla="*/ 1951947 h 5818346"/>
              <a:gd name="connsiteX9479" fmla="*/ 222829 w 3503192"/>
              <a:gd name="connsiteY9479" fmla="*/ 1962684 h 5818346"/>
              <a:gd name="connsiteX9480" fmla="*/ 212093 w 3503192"/>
              <a:gd name="connsiteY9480" fmla="*/ 1951947 h 5818346"/>
              <a:gd name="connsiteX9481" fmla="*/ 222829 w 3503192"/>
              <a:gd name="connsiteY9481" fmla="*/ 1941211 h 5818346"/>
              <a:gd name="connsiteX9482" fmla="*/ 191279 w 3503192"/>
              <a:gd name="connsiteY9482" fmla="*/ 1940717 h 5818346"/>
              <a:gd name="connsiteX9483" fmla="*/ 202015 w 3503192"/>
              <a:gd name="connsiteY9483" fmla="*/ 1951453 h 5818346"/>
              <a:gd name="connsiteX9484" fmla="*/ 199867 w 3503192"/>
              <a:gd name="connsiteY9484" fmla="*/ 1953602 h 5818346"/>
              <a:gd name="connsiteX9485" fmla="*/ 210440 w 3503192"/>
              <a:gd name="connsiteY9485" fmla="*/ 1964172 h 5818346"/>
              <a:gd name="connsiteX9486" fmla="*/ 199702 w 3503192"/>
              <a:gd name="connsiteY9486" fmla="*/ 1974910 h 5818346"/>
              <a:gd name="connsiteX9487" fmla="*/ 188966 w 3503192"/>
              <a:gd name="connsiteY9487" fmla="*/ 1964172 h 5818346"/>
              <a:gd name="connsiteX9488" fmla="*/ 191113 w 3503192"/>
              <a:gd name="connsiteY9488" fmla="*/ 1962025 h 5818346"/>
              <a:gd name="connsiteX9489" fmla="*/ 180543 w 3503192"/>
              <a:gd name="connsiteY9489" fmla="*/ 1951453 h 5818346"/>
              <a:gd name="connsiteX9490" fmla="*/ 191279 w 3503192"/>
              <a:gd name="connsiteY9490" fmla="*/ 1940717 h 5818346"/>
              <a:gd name="connsiteX9491" fmla="*/ 997529 w 3503192"/>
              <a:gd name="connsiteY9491" fmla="*/ 1935100 h 5818346"/>
              <a:gd name="connsiteX9492" fmla="*/ 1008265 w 3503192"/>
              <a:gd name="connsiteY9492" fmla="*/ 1945836 h 5818346"/>
              <a:gd name="connsiteX9493" fmla="*/ 997529 w 3503192"/>
              <a:gd name="connsiteY9493" fmla="*/ 1956574 h 5818346"/>
              <a:gd name="connsiteX9494" fmla="*/ 986792 w 3503192"/>
              <a:gd name="connsiteY9494" fmla="*/ 1945836 h 5818346"/>
              <a:gd name="connsiteX9495" fmla="*/ 997529 w 3503192"/>
              <a:gd name="connsiteY9495" fmla="*/ 1935100 h 5818346"/>
              <a:gd name="connsiteX9496" fmla="*/ 616455 w 3503192"/>
              <a:gd name="connsiteY9496" fmla="*/ 1932953 h 5818346"/>
              <a:gd name="connsiteX9497" fmla="*/ 627193 w 3503192"/>
              <a:gd name="connsiteY9497" fmla="*/ 1943689 h 5818346"/>
              <a:gd name="connsiteX9498" fmla="*/ 616455 w 3503192"/>
              <a:gd name="connsiteY9498" fmla="*/ 1954425 h 5818346"/>
              <a:gd name="connsiteX9499" fmla="*/ 605719 w 3503192"/>
              <a:gd name="connsiteY9499" fmla="*/ 1943689 h 5818346"/>
              <a:gd name="connsiteX9500" fmla="*/ 616455 w 3503192"/>
              <a:gd name="connsiteY9500" fmla="*/ 1932953 h 5818346"/>
              <a:gd name="connsiteX9501" fmla="*/ 259828 w 3503192"/>
              <a:gd name="connsiteY9501" fmla="*/ 1928988 h 5818346"/>
              <a:gd name="connsiteX9502" fmla="*/ 270564 w 3503192"/>
              <a:gd name="connsiteY9502" fmla="*/ 1939725 h 5818346"/>
              <a:gd name="connsiteX9503" fmla="*/ 259828 w 3503192"/>
              <a:gd name="connsiteY9503" fmla="*/ 1950463 h 5818346"/>
              <a:gd name="connsiteX9504" fmla="*/ 249092 w 3503192"/>
              <a:gd name="connsiteY9504" fmla="*/ 1939725 h 5818346"/>
              <a:gd name="connsiteX9505" fmla="*/ 259828 w 3503192"/>
              <a:gd name="connsiteY9505" fmla="*/ 1928988 h 5818346"/>
              <a:gd name="connsiteX9506" fmla="*/ 179551 w 3503192"/>
              <a:gd name="connsiteY9506" fmla="*/ 1928163 h 5818346"/>
              <a:gd name="connsiteX9507" fmla="*/ 190289 w 3503192"/>
              <a:gd name="connsiteY9507" fmla="*/ 1938899 h 5818346"/>
              <a:gd name="connsiteX9508" fmla="*/ 179551 w 3503192"/>
              <a:gd name="connsiteY9508" fmla="*/ 1949635 h 5818346"/>
              <a:gd name="connsiteX9509" fmla="*/ 168814 w 3503192"/>
              <a:gd name="connsiteY9509" fmla="*/ 1938899 h 5818346"/>
              <a:gd name="connsiteX9510" fmla="*/ 179551 w 3503192"/>
              <a:gd name="connsiteY9510" fmla="*/ 1928163 h 5818346"/>
              <a:gd name="connsiteX9511" fmla="*/ 325075 w 3503192"/>
              <a:gd name="connsiteY9511" fmla="*/ 1920232 h 5818346"/>
              <a:gd name="connsiteX9512" fmla="*/ 335811 w 3503192"/>
              <a:gd name="connsiteY9512" fmla="*/ 1930969 h 5818346"/>
              <a:gd name="connsiteX9513" fmla="*/ 325075 w 3503192"/>
              <a:gd name="connsiteY9513" fmla="*/ 1941707 h 5818346"/>
              <a:gd name="connsiteX9514" fmla="*/ 314339 w 3503192"/>
              <a:gd name="connsiteY9514" fmla="*/ 1930969 h 5818346"/>
              <a:gd name="connsiteX9515" fmla="*/ 325075 w 3503192"/>
              <a:gd name="connsiteY9515" fmla="*/ 1920232 h 5818346"/>
              <a:gd name="connsiteX9516" fmla="*/ 436738 w 3503192"/>
              <a:gd name="connsiteY9516" fmla="*/ 1919738 h 5818346"/>
              <a:gd name="connsiteX9517" fmla="*/ 447474 w 3503192"/>
              <a:gd name="connsiteY9517" fmla="*/ 1930475 h 5818346"/>
              <a:gd name="connsiteX9518" fmla="*/ 436738 w 3503192"/>
              <a:gd name="connsiteY9518" fmla="*/ 1941213 h 5818346"/>
              <a:gd name="connsiteX9519" fmla="*/ 426001 w 3503192"/>
              <a:gd name="connsiteY9519" fmla="*/ 1930475 h 5818346"/>
              <a:gd name="connsiteX9520" fmla="*/ 436738 w 3503192"/>
              <a:gd name="connsiteY9520" fmla="*/ 1919738 h 5818346"/>
              <a:gd name="connsiteX9521" fmla="*/ 1958884 w 3503192"/>
              <a:gd name="connsiteY9521" fmla="*/ 1918252 h 5818346"/>
              <a:gd name="connsiteX9522" fmla="*/ 1969620 w 3503192"/>
              <a:gd name="connsiteY9522" fmla="*/ 1928988 h 5818346"/>
              <a:gd name="connsiteX9523" fmla="*/ 1958884 w 3503192"/>
              <a:gd name="connsiteY9523" fmla="*/ 1939725 h 5818346"/>
              <a:gd name="connsiteX9524" fmla="*/ 1948147 w 3503192"/>
              <a:gd name="connsiteY9524" fmla="*/ 1928988 h 5818346"/>
              <a:gd name="connsiteX9525" fmla="*/ 1958884 w 3503192"/>
              <a:gd name="connsiteY9525" fmla="*/ 1918252 h 5818346"/>
              <a:gd name="connsiteX9526" fmla="*/ 204329 w 3503192"/>
              <a:gd name="connsiteY9526" fmla="*/ 1917591 h 5818346"/>
              <a:gd name="connsiteX9527" fmla="*/ 215067 w 3503192"/>
              <a:gd name="connsiteY9527" fmla="*/ 1928328 h 5818346"/>
              <a:gd name="connsiteX9528" fmla="*/ 213827 w 3503192"/>
              <a:gd name="connsiteY9528" fmla="*/ 1929567 h 5818346"/>
              <a:gd name="connsiteX9529" fmla="*/ 223490 w 3503192"/>
              <a:gd name="connsiteY9529" fmla="*/ 1939229 h 5818346"/>
              <a:gd name="connsiteX9530" fmla="*/ 212752 w 3503192"/>
              <a:gd name="connsiteY9530" fmla="*/ 1949967 h 5818346"/>
              <a:gd name="connsiteX9531" fmla="*/ 202015 w 3503192"/>
              <a:gd name="connsiteY9531" fmla="*/ 1939229 h 5818346"/>
              <a:gd name="connsiteX9532" fmla="*/ 203254 w 3503192"/>
              <a:gd name="connsiteY9532" fmla="*/ 1937990 h 5818346"/>
              <a:gd name="connsiteX9533" fmla="*/ 193592 w 3503192"/>
              <a:gd name="connsiteY9533" fmla="*/ 1928328 h 5818346"/>
              <a:gd name="connsiteX9534" fmla="*/ 204329 w 3503192"/>
              <a:gd name="connsiteY9534" fmla="*/ 1917591 h 5818346"/>
              <a:gd name="connsiteX9535" fmla="*/ 239347 w 3503192"/>
              <a:gd name="connsiteY9535" fmla="*/ 1913625 h 5818346"/>
              <a:gd name="connsiteX9536" fmla="*/ 250085 w 3503192"/>
              <a:gd name="connsiteY9536" fmla="*/ 1924361 h 5818346"/>
              <a:gd name="connsiteX9537" fmla="*/ 239347 w 3503192"/>
              <a:gd name="connsiteY9537" fmla="*/ 1935100 h 5818346"/>
              <a:gd name="connsiteX9538" fmla="*/ 228611 w 3503192"/>
              <a:gd name="connsiteY9538" fmla="*/ 1924361 h 5818346"/>
              <a:gd name="connsiteX9539" fmla="*/ 239347 w 3503192"/>
              <a:gd name="connsiteY9539" fmla="*/ 1913625 h 5818346"/>
              <a:gd name="connsiteX9540" fmla="*/ 193426 w 3503192"/>
              <a:gd name="connsiteY9540" fmla="*/ 1907020 h 5818346"/>
              <a:gd name="connsiteX9541" fmla="*/ 204162 w 3503192"/>
              <a:gd name="connsiteY9541" fmla="*/ 1917756 h 5818346"/>
              <a:gd name="connsiteX9542" fmla="*/ 193426 w 3503192"/>
              <a:gd name="connsiteY9542" fmla="*/ 1928492 h 5818346"/>
              <a:gd name="connsiteX9543" fmla="*/ 182690 w 3503192"/>
              <a:gd name="connsiteY9543" fmla="*/ 1917756 h 5818346"/>
              <a:gd name="connsiteX9544" fmla="*/ 193426 w 3503192"/>
              <a:gd name="connsiteY9544" fmla="*/ 1907020 h 5818346"/>
              <a:gd name="connsiteX9545" fmla="*/ 1116294 w 3503192"/>
              <a:gd name="connsiteY9545" fmla="*/ 1903054 h 5818346"/>
              <a:gd name="connsiteX9546" fmla="*/ 1127032 w 3503192"/>
              <a:gd name="connsiteY9546" fmla="*/ 1913790 h 5818346"/>
              <a:gd name="connsiteX9547" fmla="*/ 1116294 w 3503192"/>
              <a:gd name="connsiteY9547" fmla="*/ 1924528 h 5818346"/>
              <a:gd name="connsiteX9548" fmla="*/ 1105558 w 3503192"/>
              <a:gd name="connsiteY9548" fmla="*/ 1913790 h 5818346"/>
              <a:gd name="connsiteX9549" fmla="*/ 1116294 w 3503192"/>
              <a:gd name="connsiteY9549" fmla="*/ 1903054 h 5818346"/>
              <a:gd name="connsiteX9550" fmla="*/ 692934 w 3503192"/>
              <a:gd name="connsiteY9550" fmla="*/ 1900081 h 5818346"/>
              <a:gd name="connsiteX9551" fmla="*/ 703671 w 3503192"/>
              <a:gd name="connsiteY9551" fmla="*/ 1910818 h 5818346"/>
              <a:gd name="connsiteX9552" fmla="*/ 692934 w 3503192"/>
              <a:gd name="connsiteY9552" fmla="*/ 1921556 h 5818346"/>
              <a:gd name="connsiteX9553" fmla="*/ 682198 w 3503192"/>
              <a:gd name="connsiteY9553" fmla="*/ 1910818 h 5818346"/>
              <a:gd name="connsiteX9554" fmla="*/ 692934 w 3503192"/>
              <a:gd name="connsiteY9554" fmla="*/ 1900081 h 5818346"/>
              <a:gd name="connsiteX9555" fmla="*/ 283449 w 3503192"/>
              <a:gd name="connsiteY9555" fmla="*/ 1898924 h 5818346"/>
              <a:gd name="connsiteX9556" fmla="*/ 294186 w 3503192"/>
              <a:gd name="connsiteY9556" fmla="*/ 1909661 h 5818346"/>
              <a:gd name="connsiteX9557" fmla="*/ 283449 w 3503192"/>
              <a:gd name="connsiteY9557" fmla="*/ 1920399 h 5818346"/>
              <a:gd name="connsiteX9558" fmla="*/ 272713 w 3503192"/>
              <a:gd name="connsiteY9558" fmla="*/ 1909661 h 5818346"/>
              <a:gd name="connsiteX9559" fmla="*/ 283449 w 3503192"/>
              <a:gd name="connsiteY9559" fmla="*/ 1898924 h 5818346"/>
              <a:gd name="connsiteX9560" fmla="*/ 2161395 w 3503192"/>
              <a:gd name="connsiteY9560" fmla="*/ 1894466 h 5818346"/>
              <a:gd name="connsiteX9561" fmla="*/ 2172133 w 3503192"/>
              <a:gd name="connsiteY9561" fmla="*/ 1905202 h 5818346"/>
              <a:gd name="connsiteX9562" fmla="*/ 2161395 w 3503192"/>
              <a:gd name="connsiteY9562" fmla="*/ 1915940 h 5818346"/>
              <a:gd name="connsiteX9563" fmla="*/ 2150659 w 3503192"/>
              <a:gd name="connsiteY9563" fmla="*/ 1905202 h 5818346"/>
              <a:gd name="connsiteX9564" fmla="*/ 2161395 w 3503192"/>
              <a:gd name="connsiteY9564" fmla="*/ 1894466 h 5818346"/>
              <a:gd name="connsiteX9565" fmla="*/ 360590 w 3503192"/>
              <a:gd name="connsiteY9565" fmla="*/ 1888518 h 5818346"/>
              <a:gd name="connsiteX9566" fmla="*/ 371326 w 3503192"/>
              <a:gd name="connsiteY9566" fmla="*/ 1899254 h 5818346"/>
              <a:gd name="connsiteX9567" fmla="*/ 360590 w 3503192"/>
              <a:gd name="connsiteY9567" fmla="*/ 1909992 h 5818346"/>
              <a:gd name="connsiteX9568" fmla="*/ 349853 w 3503192"/>
              <a:gd name="connsiteY9568" fmla="*/ 1899254 h 5818346"/>
              <a:gd name="connsiteX9569" fmla="*/ 360590 w 3503192"/>
              <a:gd name="connsiteY9569" fmla="*/ 1888518 h 5818346"/>
              <a:gd name="connsiteX9570" fmla="*/ 489596 w 3503192"/>
              <a:gd name="connsiteY9570" fmla="*/ 1886867 h 5818346"/>
              <a:gd name="connsiteX9571" fmla="*/ 500334 w 3503192"/>
              <a:gd name="connsiteY9571" fmla="*/ 1897603 h 5818346"/>
              <a:gd name="connsiteX9572" fmla="*/ 489596 w 3503192"/>
              <a:gd name="connsiteY9572" fmla="*/ 1908339 h 5818346"/>
              <a:gd name="connsiteX9573" fmla="*/ 478859 w 3503192"/>
              <a:gd name="connsiteY9573" fmla="*/ 1897603 h 5818346"/>
              <a:gd name="connsiteX9574" fmla="*/ 489596 w 3503192"/>
              <a:gd name="connsiteY9574" fmla="*/ 1886867 h 5818346"/>
              <a:gd name="connsiteX9575" fmla="*/ 258012 w 3503192"/>
              <a:gd name="connsiteY9575" fmla="*/ 1884720 h 5818346"/>
              <a:gd name="connsiteX9576" fmla="*/ 268750 w 3503192"/>
              <a:gd name="connsiteY9576" fmla="*/ 1895456 h 5818346"/>
              <a:gd name="connsiteX9577" fmla="*/ 258012 w 3503192"/>
              <a:gd name="connsiteY9577" fmla="*/ 1906194 h 5818346"/>
              <a:gd name="connsiteX9578" fmla="*/ 247276 w 3503192"/>
              <a:gd name="connsiteY9578" fmla="*/ 1895456 h 5818346"/>
              <a:gd name="connsiteX9579" fmla="*/ 258012 w 3503192"/>
              <a:gd name="connsiteY9579" fmla="*/ 1884720 h 5818346"/>
              <a:gd name="connsiteX9580" fmla="*/ 207301 w 3503192"/>
              <a:gd name="connsiteY9580" fmla="*/ 1884555 h 5818346"/>
              <a:gd name="connsiteX9581" fmla="*/ 216883 w 3503192"/>
              <a:gd name="connsiteY9581" fmla="*/ 1894135 h 5818346"/>
              <a:gd name="connsiteX9582" fmla="*/ 217708 w 3503192"/>
              <a:gd name="connsiteY9582" fmla="*/ 1893309 h 5818346"/>
              <a:gd name="connsiteX9583" fmla="*/ 226877 w 3503192"/>
              <a:gd name="connsiteY9583" fmla="*/ 1902476 h 5818346"/>
              <a:gd name="connsiteX9584" fmla="*/ 226958 w 3503192"/>
              <a:gd name="connsiteY9584" fmla="*/ 1902395 h 5818346"/>
              <a:gd name="connsiteX9585" fmla="*/ 237696 w 3503192"/>
              <a:gd name="connsiteY9585" fmla="*/ 1913131 h 5818346"/>
              <a:gd name="connsiteX9586" fmla="*/ 226958 w 3503192"/>
              <a:gd name="connsiteY9586" fmla="*/ 1923867 h 5818346"/>
              <a:gd name="connsiteX9587" fmla="*/ 217791 w 3503192"/>
              <a:gd name="connsiteY9587" fmla="*/ 1914700 h 5818346"/>
              <a:gd name="connsiteX9588" fmla="*/ 217708 w 3503192"/>
              <a:gd name="connsiteY9588" fmla="*/ 1914784 h 5818346"/>
              <a:gd name="connsiteX9589" fmla="*/ 208127 w 3503192"/>
              <a:gd name="connsiteY9589" fmla="*/ 1905202 h 5818346"/>
              <a:gd name="connsiteX9590" fmla="*/ 207301 w 3503192"/>
              <a:gd name="connsiteY9590" fmla="*/ 1906028 h 5818346"/>
              <a:gd name="connsiteX9591" fmla="*/ 196565 w 3503192"/>
              <a:gd name="connsiteY9591" fmla="*/ 1895291 h 5818346"/>
              <a:gd name="connsiteX9592" fmla="*/ 207301 w 3503192"/>
              <a:gd name="connsiteY9592" fmla="*/ 1884555 h 5818346"/>
              <a:gd name="connsiteX9593" fmla="*/ 192932 w 3503192"/>
              <a:gd name="connsiteY9593" fmla="*/ 1878442 h 5818346"/>
              <a:gd name="connsiteX9594" fmla="*/ 200033 w 3503192"/>
              <a:gd name="connsiteY9594" fmla="*/ 1885545 h 5818346"/>
              <a:gd name="connsiteX9595" fmla="*/ 192932 w 3503192"/>
              <a:gd name="connsiteY9595" fmla="*/ 1892648 h 5818346"/>
              <a:gd name="connsiteX9596" fmla="*/ 185829 w 3503192"/>
              <a:gd name="connsiteY9596" fmla="*/ 1885545 h 5818346"/>
              <a:gd name="connsiteX9597" fmla="*/ 192932 w 3503192"/>
              <a:gd name="connsiteY9597" fmla="*/ 1878442 h 5818346"/>
              <a:gd name="connsiteX9598" fmla="*/ 2376627 w 3503192"/>
              <a:gd name="connsiteY9598" fmla="*/ 1874809 h 5818346"/>
              <a:gd name="connsiteX9599" fmla="*/ 2387365 w 3503192"/>
              <a:gd name="connsiteY9599" fmla="*/ 1885545 h 5818346"/>
              <a:gd name="connsiteX9600" fmla="*/ 2376627 w 3503192"/>
              <a:gd name="connsiteY9600" fmla="*/ 1896283 h 5818346"/>
              <a:gd name="connsiteX9601" fmla="*/ 2365890 w 3503192"/>
              <a:gd name="connsiteY9601" fmla="*/ 1885545 h 5818346"/>
              <a:gd name="connsiteX9602" fmla="*/ 2376627 w 3503192"/>
              <a:gd name="connsiteY9602" fmla="*/ 1874809 h 5818346"/>
              <a:gd name="connsiteX9603" fmla="*/ 1246457 w 3503192"/>
              <a:gd name="connsiteY9603" fmla="*/ 1870678 h 5818346"/>
              <a:gd name="connsiteX9604" fmla="*/ 1257195 w 3503192"/>
              <a:gd name="connsiteY9604" fmla="*/ 1881414 h 5818346"/>
              <a:gd name="connsiteX9605" fmla="*/ 1246457 w 3503192"/>
              <a:gd name="connsiteY9605" fmla="*/ 1892153 h 5818346"/>
              <a:gd name="connsiteX9606" fmla="*/ 1235721 w 3503192"/>
              <a:gd name="connsiteY9606" fmla="*/ 1881414 h 5818346"/>
              <a:gd name="connsiteX9607" fmla="*/ 1246457 w 3503192"/>
              <a:gd name="connsiteY9607" fmla="*/ 1870678 h 5818346"/>
              <a:gd name="connsiteX9608" fmla="*/ 310374 w 3503192"/>
              <a:gd name="connsiteY9608" fmla="*/ 1867706 h 5818346"/>
              <a:gd name="connsiteX9609" fmla="*/ 321112 w 3503192"/>
              <a:gd name="connsiteY9609" fmla="*/ 1878442 h 5818346"/>
              <a:gd name="connsiteX9610" fmla="*/ 310374 w 3503192"/>
              <a:gd name="connsiteY9610" fmla="*/ 1889180 h 5818346"/>
              <a:gd name="connsiteX9611" fmla="*/ 299638 w 3503192"/>
              <a:gd name="connsiteY9611" fmla="*/ 1878442 h 5818346"/>
              <a:gd name="connsiteX9612" fmla="*/ 310374 w 3503192"/>
              <a:gd name="connsiteY9612" fmla="*/ 1867706 h 5818346"/>
              <a:gd name="connsiteX9613" fmla="*/ 3298174 w 3503192"/>
              <a:gd name="connsiteY9613" fmla="*/ 1867541 h 5818346"/>
              <a:gd name="connsiteX9614" fmla="*/ 3308912 w 3503192"/>
              <a:gd name="connsiteY9614" fmla="*/ 1878277 h 5818346"/>
              <a:gd name="connsiteX9615" fmla="*/ 3298174 w 3503192"/>
              <a:gd name="connsiteY9615" fmla="*/ 1889014 h 5818346"/>
              <a:gd name="connsiteX9616" fmla="*/ 3287438 w 3503192"/>
              <a:gd name="connsiteY9616" fmla="*/ 1878277 h 5818346"/>
              <a:gd name="connsiteX9617" fmla="*/ 3298174 w 3503192"/>
              <a:gd name="connsiteY9617" fmla="*/ 1867541 h 5818346"/>
              <a:gd name="connsiteX9618" fmla="*/ 778003 w 3503192"/>
              <a:gd name="connsiteY9618" fmla="*/ 1866384 h 5818346"/>
              <a:gd name="connsiteX9619" fmla="*/ 788739 w 3503192"/>
              <a:gd name="connsiteY9619" fmla="*/ 1877120 h 5818346"/>
              <a:gd name="connsiteX9620" fmla="*/ 778003 w 3503192"/>
              <a:gd name="connsiteY9620" fmla="*/ 1887857 h 5818346"/>
              <a:gd name="connsiteX9621" fmla="*/ 767267 w 3503192"/>
              <a:gd name="connsiteY9621" fmla="*/ 1877120 h 5818346"/>
              <a:gd name="connsiteX9622" fmla="*/ 778003 w 3503192"/>
              <a:gd name="connsiteY9622" fmla="*/ 1866384 h 5818346"/>
              <a:gd name="connsiteX9623" fmla="*/ 2602430 w 3503192"/>
              <a:gd name="connsiteY9623" fmla="*/ 1860769 h 5818346"/>
              <a:gd name="connsiteX9624" fmla="*/ 2613166 w 3503192"/>
              <a:gd name="connsiteY9624" fmla="*/ 1871505 h 5818346"/>
              <a:gd name="connsiteX9625" fmla="*/ 2602430 w 3503192"/>
              <a:gd name="connsiteY9625" fmla="*/ 1882243 h 5818346"/>
              <a:gd name="connsiteX9626" fmla="*/ 2591694 w 3503192"/>
              <a:gd name="connsiteY9626" fmla="*/ 1871505 h 5818346"/>
              <a:gd name="connsiteX9627" fmla="*/ 2602430 w 3503192"/>
              <a:gd name="connsiteY9627" fmla="*/ 1860769 h 5818346"/>
              <a:gd name="connsiteX9628" fmla="*/ 3068738 w 3503192"/>
              <a:gd name="connsiteY9628" fmla="*/ 1856969 h 5818346"/>
              <a:gd name="connsiteX9629" fmla="*/ 3079474 w 3503192"/>
              <a:gd name="connsiteY9629" fmla="*/ 1867706 h 5818346"/>
              <a:gd name="connsiteX9630" fmla="*/ 3068738 w 3503192"/>
              <a:gd name="connsiteY9630" fmla="*/ 1878442 h 5818346"/>
              <a:gd name="connsiteX9631" fmla="*/ 3058001 w 3503192"/>
              <a:gd name="connsiteY9631" fmla="*/ 1867706 h 5818346"/>
              <a:gd name="connsiteX9632" fmla="*/ 3068738 w 3503192"/>
              <a:gd name="connsiteY9632" fmla="*/ 1856969 h 5818346"/>
              <a:gd name="connsiteX9633" fmla="*/ 400564 w 3503192"/>
              <a:gd name="connsiteY9633" fmla="*/ 1855481 h 5818346"/>
              <a:gd name="connsiteX9634" fmla="*/ 411301 w 3503192"/>
              <a:gd name="connsiteY9634" fmla="*/ 1866218 h 5818346"/>
              <a:gd name="connsiteX9635" fmla="*/ 400564 w 3503192"/>
              <a:gd name="connsiteY9635" fmla="*/ 1876956 h 5818346"/>
              <a:gd name="connsiteX9636" fmla="*/ 389828 w 3503192"/>
              <a:gd name="connsiteY9636" fmla="*/ 1866218 h 5818346"/>
              <a:gd name="connsiteX9637" fmla="*/ 400564 w 3503192"/>
              <a:gd name="connsiteY9637" fmla="*/ 1855481 h 5818346"/>
              <a:gd name="connsiteX9638" fmla="*/ 2834841 w 3503192"/>
              <a:gd name="connsiteY9638" fmla="*/ 1854656 h 5818346"/>
              <a:gd name="connsiteX9639" fmla="*/ 2845579 w 3503192"/>
              <a:gd name="connsiteY9639" fmla="*/ 1865392 h 5818346"/>
              <a:gd name="connsiteX9640" fmla="*/ 2834841 w 3503192"/>
              <a:gd name="connsiteY9640" fmla="*/ 1876130 h 5818346"/>
              <a:gd name="connsiteX9641" fmla="*/ 2824104 w 3503192"/>
              <a:gd name="connsiteY9641" fmla="*/ 1865392 h 5818346"/>
              <a:gd name="connsiteX9642" fmla="*/ 2834841 w 3503192"/>
              <a:gd name="connsiteY9642" fmla="*/ 1854656 h 5818346"/>
              <a:gd name="connsiteX9643" fmla="*/ 278824 w 3503192"/>
              <a:gd name="connsiteY9643" fmla="*/ 1854656 h 5818346"/>
              <a:gd name="connsiteX9644" fmla="*/ 289562 w 3503192"/>
              <a:gd name="connsiteY9644" fmla="*/ 1865392 h 5818346"/>
              <a:gd name="connsiteX9645" fmla="*/ 278824 w 3503192"/>
              <a:gd name="connsiteY9645" fmla="*/ 1876130 h 5818346"/>
              <a:gd name="connsiteX9646" fmla="*/ 268088 w 3503192"/>
              <a:gd name="connsiteY9646" fmla="*/ 1865392 h 5818346"/>
              <a:gd name="connsiteX9647" fmla="*/ 278824 w 3503192"/>
              <a:gd name="connsiteY9647" fmla="*/ 1854656 h 5818346"/>
              <a:gd name="connsiteX9648" fmla="*/ 208127 w 3503192"/>
              <a:gd name="connsiteY9648" fmla="*/ 1853499 h 5818346"/>
              <a:gd name="connsiteX9649" fmla="*/ 218617 w 3503192"/>
              <a:gd name="connsiteY9649" fmla="*/ 1863989 h 5818346"/>
              <a:gd name="connsiteX9650" fmla="*/ 221508 w 3503192"/>
              <a:gd name="connsiteY9650" fmla="*/ 1861098 h 5818346"/>
              <a:gd name="connsiteX9651" fmla="*/ 229932 w 3503192"/>
              <a:gd name="connsiteY9651" fmla="*/ 1869521 h 5818346"/>
              <a:gd name="connsiteX9652" fmla="*/ 231748 w 3503192"/>
              <a:gd name="connsiteY9652" fmla="*/ 1867706 h 5818346"/>
              <a:gd name="connsiteX9653" fmla="*/ 240750 w 3503192"/>
              <a:gd name="connsiteY9653" fmla="*/ 1876708 h 5818346"/>
              <a:gd name="connsiteX9654" fmla="*/ 242484 w 3503192"/>
              <a:gd name="connsiteY9654" fmla="*/ 1874974 h 5818346"/>
              <a:gd name="connsiteX9655" fmla="*/ 253222 w 3503192"/>
              <a:gd name="connsiteY9655" fmla="*/ 1885710 h 5818346"/>
              <a:gd name="connsiteX9656" fmla="*/ 242484 w 3503192"/>
              <a:gd name="connsiteY9656" fmla="*/ 1896448 h 5818346"/>
              <a:gd name="connsiteX9657" fmla="*/ 233482 w 3503192"/>
              <a:gd name="connsiteY9657" fmla="*/ 1887446 h 5818346"/>
              <a:gd name="connsiteX9658" fmla="*/ 231748 w 3503192"/>
              <a:gd name="connsiteY9658" fmla="*/ 1889180 h 5818346"/>
              <a:gd name="connsiteX9659" fmla="*/ 223323 w 3503192"/>
              <a:gd name="connsiteY9659" fmla="*/ 1880755 h 5818346"/>
              <a:gd name="connsiteX9660" fmla="*/ 221508 w 3503192"/>
              <a:gd name="connsiteY9660" fmla="*/ 1882571 h 5818346"/>
              <a:gd name="connsiteX9661" fmla="*/ 211018 w 3503192"/>
              <a:gd name="connsiteY9661" fmla="*/ 1872083 h 5818346"/>
              <a:gd name="connsiteX9662" fmla="*/ 208127 w 3503192"/>
              <a:gd name="connsiteY9662" fmla="*/ 1874974 h 5818346"/>
              <a:gd name="connsiteX9663" fmla="*/ 197390 w 3503192"/>
              <a:gd name="connsiteY9663" fmla="*/ 1864236 h 5818346"/>
              <a:gd name="connsiteX9664" fmla="*/ 208127 w 3503192"/>
              <a:gd name="connsiteY9664" fmla="*/ 1853499 h 5818346"/>
              <a:gd name="connsiteX9665" fmla="*/ 548731 w 3503192"/>
              <a:gd name="connsiteY9665" fmla="*/ 1853005 h 5818346"/>
              <a:gd name="connsiteX9666" fmla="*/ 559468 w 3503192"/>
              <a:gd name="connsiteY9666" fmla="*/ 1863741 h 5818346"/>
              <a:gd name="connsiteX9667" fmla="*/ 548731 w 3503192"/>
              <a:gd name="connsiteY9667" fmla="*/ 1874479 h 5818346"/>
              <a:gd name="connsiteX9668" fmla="*/ 537995 w 3503192"/>
              <a:gd name="connsiteY9668" fmla="*/ 1863741 h 5818346"/>
              <a:gd name="connsiteX9669" fmla="*/ 548731 w 3503192"/>
              <a:gd name="connsiteY9669" fmla="*/ 1853005 h 5818346"/>
              <a:gd name="connsiteX9670" fmla="*/ 1388348 w 3503192"/>
              <a:gd name="connsiteY9670" fmla="*/ 1838303 h 5818346"/>
              <a:gd name="connsiteX9671" fmla="*/ 1399085 w 3503192"/>
              <a:gd name="connsiteY9671" fmla="*/ 1849039 h 5818346"/>
              <a:gd name="connsiteX9672" fmla="*/ 1388348 w 3503192"/>
              <a:gd name="connsiteY9672" fmla="*/ 1859777 h 5818346"/>
              <a:gd name="connsiteX9673" fmla="*/ 1377612 w 3503192"/>
              <a:gd name="connsiteY9673" fmla="*/ 1849039 h 5818346"/>
              <a:gd name="connsiteX9674" fmla="*/ 1388348 w 3503192"/>
              <a:gd name="connsiteY9674" fmla="*/ 1838303 h 5818346"/>
              <a:gd name="connsiteX9675" fmla="*/ 340768 w 3503192"/>
              <a:gd name="connsiteY9675" fmla="*/ 1835330 h 5818346"/>
              <a:gd name="connsiteX9676" fmla="*/ 351506 w 3503192"/>
              <a:gd name="connsiteY9676" fmla="*/ 1846066 h 5818346"/>
              <a:gd name="connsiteX9677" fmla="*/ 340768 w 3503192"/>
              <a:gd name="connsiteY9677" fmla="*/ 1856804 h 5818346"/>
              <a:gd name="connsiteX9678" fmla="*/ 330031 w 3503192"/>
              <a:gd name="connsiteY9678" fmla="*/ 1846066 h 5818346"/>
              <a:gd name="connsiteX9679" fmla="*/ 340768 w 3503192"/>
              <a:gd name="connsiteY9679" fmla="*/ 1835330 h 5818346"/>
              <a:gd name="connsiteX9680" fmla="*/ 205650 w 3503192"/>
              <a:gd name="connsiteY9680" fmla="*/ 1834173 h 5818346"/>
              <a:gd name="connsiteX9681" fmla="*/ 205815 w 3503192"/>
              <a:gd name="connsiteY9681" fmla="*/ 1834173 h 5818346"/>
              <a:gd name="connsiteX9682" fmla="*/ 205815 w 3503192"/>
              <a:gd name="connsiteY9682" fmla="*/ 1834338 h 5818346"/>
              <a:gd name="connsiteX9683" fmla="*/ 872156 w 3503192"/>
              <a:gd name="connsiteY9683" fmla="*/ 1832026 h 5818346"/>
              <a:gd name="connsiteX9684" fmla="*/ 882892 w 3503192"/>
              <a:gd name="connsiteY9684" fmla="*/ 1842763 h 5818346"/>
              <a:gd name="connsiteX9685" fmla="*/ 872156 w 3503192"/>
              <a:gd name="connsiteY9685" fmla="*/ 1853499 h 5818346"/>
              <a:gd name="connsiteX9686" fmla="*/ 861419 w 3503192"/>
              <a:gd name="connsiteY9686" fmla="*/ 1842763 h 5818346"/>
              <a:gd name="connsiteX9687" fmla="*/ 872156 w 3503192"/>
              <a:gd name="connsiteY9687" fmla="*/ 1832026 h 5818346"/>
              <a:gd name="connsiteX9688" fmla="*/ 223323 w 3503192"/>
              <a:gd name="connsiteY9688" fmla="*/ 1830870 h 5818346"/>
              <a:gd name="connsiteX9689" fmla="*/ 232244 w 3503192"/>
              <a:gd name="connsiteY9689" fmla="*/ 1839789 h 5818346"/>
              <a:gd name="connsiteX9690" fmla="*/ 235877 w 3503192"/>
              <a:gd name="connsiteY9690" fmla="*/ 1836156 h 5818346"/>
              <a:gd name="connsiteX9691" fmla="*/ 243558 w 3503192"/>
              <a:gd name="connsiteY9691" fmla="*/ 1843836 h 5818346"/>
              <a:gd name="connsiteX9692" fmla="*/ 246614 w 3503192"/>
              <a:gd name="connsiteY9692" fmla="*/ 1840781 h 5818346"/>
              <a:gd name="connsiteX9693" fmla="*/ 255782 w 3503192"/>
              <a:gd name="connsiteY9693" fmla="*/ 1849949 h 5818346"/>
              <a:gd name="connsiteX9694" fmla="*/ 259334 w 3503192"/>
              <a:gd name="connsiteY9694" fmla="*/ 1846398 h 5818346"/>
              <a:gd name="connsiteX9695" fmla="*/ 270072 w 3503192"/>
              <a:gd name="connsiteY9695" fmla="*/ 1857134 h 5818346"/>
              <a:gd name="connsiteX9696" fmla="*/ 259334 w 3503192"/>
              <a:gd name="connsiteY9696" fmla="*/ 1867872 h 5818346"/>
              <a:gd name="connsiteX9697" fmla="*/ 250165 w 3503192"/>
              <a:gd name="connsiteY9697" fmla="*/ 1858704 h 5818346"/>
              <a:gd name="connsiteX9698" fmla="*/ 246614 w 3503192"/>
              <a:gd name="connsiteY9698" fmla="*/ 1862255 h 5818346"/>
              <a:gd name="connsiteX9699" fmla="*/ 238933 w 3503192"/>
              <a:gd name="connsiteY9699" fmla="*/ 1854574 h 5818346"/>
              <a:gd name="connsiteX9700" fmla="*/ 235877 w 3503192"/>
              <a:gd name="connsiteY9700" fmla="*/ 1857628 h 5818346"/>
              <a:gd name="connsiteX9701" fmla="*/ 226957 w 3503192"/>
              <a:gd name="connsiteY9701" fmla="*/ 1848709 h 5818346"/>
              <a:gd name="connsiteX9702" fmla="*/ 223323 w 3503192"/>
              <a:gd name="connsiteY9702" fmla="*/ 1852343 h 5818346"/>
              <a:gd name="connsiteX9703" fmla="*/ 212587 w 3503192"/>
              <a:gd name="connsiteY9703" fmla="*/ 1841606 h 5818346"/>
              <a:gd name="connsiteX9704" fmla="*/ 223323 w 3503192"/>
              <a:gd name="connsiteY9704" fmla="*/ 1830870 h 5818346"/>
              <a:gd name="connsiteX9705" fmla="*/ 302281 w 3503192"/>
              <a:gd name="connsiteY9705" fmla="*/ 1823108 h 5818346"/>
              <a:gd name="connsiteX9706" fmla="*/ 313019 w 3503192"/>
              <a:gd name="connsiteY9706" fmla="*/ 1833844 h 5818346"/>
              <a:gd name="connsiteX9707" fmla="*/ 302281 w 3503192"/>
              <a:gd name="connsiteY9707" fmla="*/ 1844582 h 5818346"/>
              <a:gd name="connsiteX9708" fmla="*/ 291545 w 3503192"/>
              <a:gd name="connsiteY9708" fmla="*/ 1833844 h 5818346"/>
              <a:gd name="connsiteX9709" fmla="*/ 302281 w 3503192"/>
              <a:gd name="connsiteY9709" fmla="*/ 1823108 h 5818346"/>
              <a:gd name="connsiteX9710" fmla="*/ 445823 w 3503192"/>
              <a:gd name="connsiteY9710" fmla="*/ 1821455 h 5818346"/>
              <a:gd name="connsiteX9711" fmla="*/ 456559 w 3503192"/>
              <a:gd name="connsiteY9711" fmla="*/ 1832191 h 5818346"/>
              <a:gd name="connsiteX9712" fmla="*/ 445823 w 3503192"/>
              <a:gd name="connsiteY9712" fmla="*/ 1842928 h 5818346"/>
              <a:gd name="connsiteX9713" fmla="*/ 435087 w 3503192"/>
              <a:gd name="connsiteY9713" fmla="*/ 1832191 h 5818346"/>
              <a:gd name="connsiteX9714" fmla="*/ 445823 w 3503192"/>
              <a:gd name="connsiteY9714" fmla="*/ 1821455 h 5818346"/>
              <a:gd name="connsiteX9715" fmla="*/ 614804 w 3503192"/>
              <a:gd name="connsiteY9715" fmla="*/ 1818151 h 5818346"/>
              <a:gd name="connsiteX9716" fmla="*/ 625540 w 3503192"/>
              <a:gd name="connsiteY9716" fmla="*/ 1828888 h 5818346"/>
              <a:gd name="connsiteX9717" fmla="*/ 614804 w 3503192"/>
              <a:gd name="connsiteY9717" fmla="*/ 1839626 h 5818346"/>
              <a:gd name="connsiteX9718" fmla="*/ 604068 w 3503192"/>
              <a:gd name="connsiteY9718" fmla="*/ 1828888 h 5818346"/>
              <a:gd name="connsiteX9719" fmla="*/ 614804 w 3503192"/>
              <a:gd name="connsiteY9719" fmla="*/ 1818151 h 5818346"/>
              <a:gd name="connsiteX9720" fmla="*/ 238520 w 3503192"/>
              <a:gd name="connsiteY9720" fmla="*/ 1806919 h 5818346"/>
              <a:gd name="connsiteX9721" fmla="*/ 246203 w 3503192"/>
              <a:gd name="connsiteY9721" fmla="*/ 1814600 h 5818346"/>
              <a:gd name="connsiteX9722" fmla="*/ 250744 w 3503192"/>
              <a:gd name="connsiteY9722" fmla="*/ 1810058 h 5818346"/>
              <a:gd name="connsiteX9723" fmla="*/ 258012 w 3503192"/>
              <a:gd name="connsiteY9723" fmla="*/ 1817326 h 5818346"/>
              <a:gd name="connsiteX9724" fmla="*/ 262637 w 3503192"/>
              <a:gd name="connsiteY9724" fmla="*/ 1812701 h 5818346"/>
              <a:gd name="connsiteX9725" fmla="*/ 272217 w 3503192"/>
              <a:gd name="connsiteY9725" fmla="*/ 1822280 h 5818346"/>
              <a:gd name="connsiteX9726" fmla="*/ 278164 w 3503192"/>
              <a:gd name="connsiteY9726" fmla="*/ 1816334 h 5818346"/>
              <a:gd name="connsiteX9727" fmla="*/ 288900 w 3503192"/>
              <a:gd name="connsiteY9727" fmla="*/ 1827070 h 5818346"/>
              <a:gd name="connsiteX9728" fmla="*/ 278164 w 3503192"/>
              <a:gd name="connsiteY9728" fmla="*/ 1837808 h 5818346"/>
              <a:gd name="connsiteX9729" fmla="*/ 268584 w 3503192"/>
              <a:gd name="connsiteY9729" fmla="*/ 1828227 h 5818346"/>
              <a:gd name="connsiteX9730" fmla="*/ 262637 w 3503192"/>
              <a:gd name="connsiteY9730" fmla="*/ 1834173 h 5818346"/>
              <a:gd name="connsiteX9731" fmla="*/ 255369 w 3503192"/>
              <a:gd name="connsiteY9731" fmla="*/ 1826907 h 5818346"/>
              <a:gd name="connsiteX9732" fmla="*/ 250744 w 3503192"/>
              <a:gd name="connsiteY9732" fmla="*/ 1831532 h 5818346"/>
              <a:gd name="connsiteX9733" fmla="*/ 243064 w 3503192"/>
              <a:gd name="connsiteY9733" fmla="*/ 1823850 h 5818346"/>
              <a:gd name="connsiteX9734" fmla="*/ 238520 w 3503192"/>
              <a:gd name="connsiteY9734" fmla="*/ 1828393 h 5818346"/>
              <a:gd name="connsiteX9735" fmla="*/ 227784 w 3503192"/>
              <a:gd name="connsiteY9735" fmla="*/ 1817655 h 5818346"/>
              <a:gd name="connsiteX9736" fmla="*/ 238520 w 3503192"/>
              <a:gd name="connsiteY9736" fmla="*/ 1806919 h 5818346"/>
              <a:gd name="connsiteX9737" fmla="*/ 1542792 w 3503192"/>
              <a:gd name="connsiteY9737" fmla="*/ 1806258 h 5818346"/>
              <a:gd name="connsiteX9738" fmla="*/ 1553530 w 3503192"/>
              <a:gd name="connsiteY9738" fmla="*/ 1816995 h 5818346"/>
              <a:gd name="connsiteX9739" fmla="*/ 1542792 w 3503192"/>
              <a:gd name="connsiteY9739" fmla="*/ 1827733 h 5818346"/>
              <a:gd name="connsiteX9740" fmla="*/ 1532055 w 3503192"/>
              <a:gd name="connsiteY9740" fmla="*/ 1816995 h 5818346"/>
              <a:gd name="connsiteX9741" fmla="*/ 1542792 w 3503192"/>
              <a:gd name="connsiteY9741" fmla="*/ 1806258 h 5818346"/>
              <a:gd name="connsiteX9742" fmla="*/ 222333 w 3503192"/>
              <a:gd name="connsiteY9742" fmla="*/ 1804276 h 5818346"/>
              <a:gd name="connsiteX9743" fmla="*/ 230758 w 3503192"/>
              <a:gd name="connsiteY9743" fmla="*/ 1812701 h 5818346"/>
              <a:gd name="connsiteX9744" fmla="*/ 222333 w 3503192"/>
              <a:gd name="connsiteY9744" fmla="*/ 1821125 h 5818346"/>
              <a:gd name="connsiteX9745" fmla="*/ 213908 w 3503192"/>
              <a:gd name="connsiteY9745" fmla="*/ 1812701 h 5818346"/>
              <a:gd name="connsiteX9746" fmla="*/ 222333 w 3503192"/>
              <a:gd name="connsiteY9746" fmla="*/ 1804276 h 5818346"/>
              <a:gd name="connsiteX9747" fmla="*/ 375290 w 3503192"/>
              <a:gd name="connsiteY9747" fmla="*/ 1801633 h 5818346"/>
              <a:gd name="connsiteX9748" fmla="*/ 386028 w 3503192"/>
              <a:gd name="connsiteY9748" fmla="*/ 1812369 h 5818346"/>
              <a:gd name="connsiteX9749" fmla="*/ 375290 w 3503192"/>
              <a:gd name="connsiteY9749" fmla="*/ 1823108 h 5818346"/>
              <a:gd name="connsiteX9750" fmla="*/ 364554 w 3503192"/>
              <a:gd name="connsiteY9750" fmla="*/ 1812369 h 5818346"/>
              <a:gd name="connsiteX9751" fmla="*/ 375290 w 3503192"/>
              <a:gd name="connsiteY9751" fmla="*/ 1801633 h 5818346"/>
              <a:gd name="connsiteX9752" fmla="*/ 975725 w 3503192"/>
              <a:gd name="connsiteY9752" fmla="*/ 1796843 h 5818346"/>
              <a:gd name="connsiteX9753" fmla="*/ 986463 w 3503192"/>
              <a:gd name="connsiteY9753" fmla="*/ 1807580 h 5818346"/>
              <a:gd name="connsiteX9754" fmla="*/ 975725 w 3503192"/>
              <a:gd name="connsiteY9754" fmla="*/ 1818318 h 5818346"/>
              <a:gd name="connsiteX9755" fmla="*/ 964988 w 3503192"/>
              <a:gd name="connsiteY9755" fmla="*/ 1807580 h 5818346"/>
              <a:gd name="connsiteX9756" fmla="*/ 975725 w 3503192"/>
              <a:gd name="connsiteY9756" fmla="*/ 1796843 h 5818346"/>
              <a:gd name="connsiteX9757" fmla="*/ 328710 w 3503192"/>
              <a:gd name="connsiteY9757" fmla="*/ 1790401 h 5818346"/>
              <a:gd name="connsiteX9758" fmla="*/ 339446 w 3503192"/>
              <a:gd name="connsiteY9758" fmla="*/ 1801137 h 5818346"/>
              <a:gd name="connsiteX9759" fmla="*/ 328710 w 3503192"/>
              <a:gd name="connsiteY9759" fmla="*/ 1811875 h 5818346"/>
              <a:gd name="connsiteX9760" fmla="*/ 317974 w 3503192"/>
              <a:gd name="connsiteY9760" fmla="*/ 1801137 h 5818346"/>
              <a:gd name="connsiteX9761" fmla="*/ 328710 w 3503192"/>
              <a:gd name="connsiteY9761" fmla="*/ 1790401 h 5818346"/>
              <a:gd name="connsiteX9762" fmla="*/ 496699 w 3503192"/>
              <a:gd name="connsiteY9762" fmla="*/ 1786272 h 5818346"/>
              <a:gd name="connsiteX9763" fmla="*/ 507435 w 3503192"/>
              <a:gd name="connsiteY9763" fmla="*/ 1797008 h 5818346"/>
              <a:gd name="connsiteX9764" fmla="*/ 496699 w 3503192"/>
              <a:gd name="connsiteY9764" fmla="*/ 1807746 h 5818346"/>
              <a:gd name="connsiteX9765" fmla="*/ 485963 w 3503192"/>
              <a:gd name="connsiteY9765" fmla="*/ 1797008 h 5818346"/>
              <a:gd name="connsiteX9766" fmla="*/ 496699 w 3503192"/>
              <a:gd name="connsiteY9766" fmla="*/ 1786272 h 5818346"/>
              <a:gd name="connsiteX9767" fmla="*/ 688309 w 3503192"/>
              <a:gd name="connsiteY9767" fmla="*/ 1782307 h 5818346"/>
              <a:gd name="connsiteX9768" fmla="*/ 699046 w 3503192"/>
              <a:gd name="connsiteY9768" fmla="*/ 1793044 h 5818346"/>
              <a:gd name="connsiteX9769" fmla="*/ 688309 w 3503192"/>
              <a:gd name="connsiteY9769" fmla="*/ 1803782 h 5818346"/>
              <a:gd name="connsiteX9770" fmla="*/ 677573 w 3503192"/>
              <a:gd name="connsiteY9770" fmla="*/ 1793044 h 5818346"/>
              <a:gd name="connsiteX9771" fmla="*/ 688309 w 3503192"/>
              <a:gd name="connsiteY9771" fmla="*/ 1782307 h 5818346"/>
              <a:gd name="connsiteX9772" fmla="*/ 238687 w 3503192"/>
              <a:gd name="connsiteY9772" fmla="*/ 1779168 h 5818346"/>
              <a:gd name="connsiteX9773" fmla="*/ 247607 w 3503192"/>
              <a:gd name="connsiteY9773" fmla="*/ 1788087 h 5818346"/>
              <a:gd name="connsiteX9774" fmla="*/ 253883 w 3503192"/>
              <a:gd name="connsiteY9774" fmla="*/ 1781811 h 5818346"/>
              <a:gd name="connsiteX9775" fmla="*/ 260655 w 3503192"/>
              <a:gd name="connsiteY9775" fmla="*/ 1788583 h 5818346"/>
              <a:gd name="connsiteX9776" fmla="*/ 266602 w 3503192"/>
              <a:gd name="connsiteY9776" fmla="*/ 1782637 h 5818346"/>
              <a:gd name="connsiteX9777" fmla="*/ 273622 w 3503192"/>
              <a:gd name="connsiteY9777" fmla="*/ 1789657 h 5818346"/>
              <a:gd name="connsiteX9778" fmla="*/ 280146 w 3503192"/>
              <a:gd name="connsiteY9778" fmla="*/ 1783133 h 5818346"/>
              <a:gd name="connsiteX9779" fmla="*/ 290636 w 3503192"/>
              <a:gd name="connsiteY9779" fmla="*/ 1793621 h 5818346"/>
              <a:gd name="connsiteX9780" fmla="*/ 299142 w 3503192"/>
              <a:gd name="connsiteY9780" fmla="*/ 1785115 h 5818346"/>
              <a:gd name="connsiteX9781" fmla="*/ 309880 w 3503192"/>
              <a:gd name="connsiteY9781" fmla="*/ 1795851 h 5818346"/>
              <a:gd name="connsiteX9782" fmla="*/ 299142 w 3503192"/>
              <a:gd name="connsiteY9782" fmla="*/ 1806589 h 5818346"/>
              <a:gd name="connsiteX9783" fmla="*/ 288654 w 3503192"/>
              <a:gd name="connsiteY9783" fmla="*/ 1796099 h 5818346"/>
              <a:gd name="connsiteX9784" fmla="*/ 280146 w 3503192"/>
              <a:gd name="connsiteY9784" fmla="*/ 1804605 h 5818346"/>
              <a:gd name="connsiteX9785" fmla="*/ 273126 w 3503192"/>
              <a:gd name="connsiteY9785" fmla="*/ 1797587 h 5818346"/>
              <a:gd name="connsiteX9786" fmla="*/ 266602 w 3503192"/>
              <a:gd name="connsiteY9786" fmla="*/ 1804109 h 5818346"/>
              <a:gd name="connsiteX9787" fmla="*/ 259830 w 3503192"/>
              <a:gd name="connsiteY9787" fmla="*/ 1797339 h 5818346"/>
              <a:gd name="connsiteX9788" fmla="*/ 253883 w 3503192"/>
              <a:gd name="connsiteY9788" fmla="*/ 1803286 h 5818346"/>
              <a:gd name="connsiteX9789" fmla="*/ 244964 w 3503192"/>
              <a:gd name="connsiteY9789" fmla="*/ 1794365 h 5818346"/>
              <a:gd name="connsiteX9790" fmla="*/ 238687 w 3503192"/>
              <a:gd name="connsiteY9790" fmla="*/ 1800643 h 5818346"/>
              <a:gd name="connsiteX9791" fmla="*/ 227950 w 3503192"/>
              <a:gd name="connsiteY9791" fmla="*/ 1789905 h 5818346"/>
              <a:gd name="connsiteX9792" fmla="*/ 238687 w 3503192"/>
              <a:gd name="connsiteY9792" fmla="*/ 1779168 h 5818346"/>
              <a:gd name="connsiteX9793" fmla="*/ 1709955 w 3503192"/>
              <a:gd name="connsiteY9793" fmla="*/ 1775039 h 5818346"/>
              <a:gd name="connsiteX9794" fmla="*/ 1720692 w 3503192"/>
              <a:gd name="connsiteY9794" fmla="*/ 1785776 h 5818346"/>
              <a:gd name="connsiteX9795" fmla="*/ 1709955 w 3503192"/>
              <a:gd name="connsiteY9795" fmla="*/ 1796514 h 5818346"/>
              <a:gd name="connsiteX9796" fmla="*/ 1699219 w 3503192"/>
              <a:gd name="connsiteY9796" fmla="*/ 1785776 h 5818346"/>
              <a:gd name="connsiteX9797" fmla="*/ 1709955 w 3503192"/>
              <a:gd name="connsiteY9797" fmla="*/ 1775039 h 5818346"/>
              <a:gd name="connsiteX9798" fmla="*/ 414273 w 3503192"/>
              <a:gd name="connsiteY9798" fmla="*/ 1766779 h 5818346"/>
              <a:gd name="connsiteX9799" fmla="*/ 425009 w 3503192"/>
              <a:gd name="connsiteY9799" fmla="*/ 1777516 h 5818346"/>
              <a:gd name="connsiteX9800" fmla="*/ 414273 w 3503192"/>
              <a:gd name="connsiteY9800" fmla="*/ 1788254 h 5818346"/>
              <a:gd name="connsiteX9801" fmla="*/ 403537 w 3503192"/>
              <a:gd name="connsiteY9801" fmla="*/ 1777516 h 5818346"/>
              <a:gd name="connsiteX9802" fmla="*/ 414273 w 3503192"/>
              <a:gd name="connsiteY9802" fmla="*/ 1766779 h 5818346"/>
              <a:gd name="connsiteX9803" fmla="*/ 1089534 w 3503192"/>
              <a:gd name="connsiteY9803" fmla="*/ 1761329 h 5818346"/>
              <a:gd name="connsiteX9804" fmla="*/ 1100272 w 3503192"/>
              <a:gd name="connsiteY9804" fmla="*/ 1772065 h 5818346"/>
              <a:gd name="connsiteX9805" fmla="*/ 1089534 w 3503192"/>
              <a:gd name="connsiteY9805" fmla="*/ 1782802 h 5818346"/>
              <a:gd name="connsiteX9806" fmla="*/ 1078798 w 3503192"/>
              <a:gd name="connsiteY9806" fmla="*/ 1772065 h 5818346"/>
              <a:gd name="connsiteX9807" fmla="*/ 1089534 w 3503192"/>
              <a:gd name="connsiteY9807" fmla="*/ 1761329 h 5818346"/>
              <a:gd name="connsiteX9808" fmla="*/ 358772 w 3503192"/>
              <a:gd name="connsiteY9808" fmla="*/ 1756373 h 5818346"/>
              <a:gd name="connsiteX9809" fmla="*/ 369510 w 3503192"/>
              <a:gd name="connsiteY9809" fmla="*/ 1767109 h 5818346"/>
              <a:gd name="connsiteX9810" fmla="*/ 358772 w 3503192"/>
              <a:gd name="connsiteY9810" fmla="*/ 1777847 h 5818346"/>
              <a:gd name="connsiteX9811" fmla="*/ 348036 w 3503192"/>
              <a:gd name="connsiteY9811" fmla="*/ 1767109 h 5818346"/>
              <a:gd name="connsiteX9812" fmla="*/ 358772 w 3503192"/>
              <a:gd name="connsiteY9812" fmla="*/ 1756373 h 5818346"/>
              <a:gd name="connsiteX9813" fmla="*/ 322597 w 3503192"/>
              <a:gd name="connsiteY9813" fmla="*/ 1752410 h 5818346"/>
              <a:gd name="connsiteX9814" fmla="*/ 333335 w 3503192"/>
              <a:gd name="connsiteY9814" fmla="*/ 1763146 h 5818346"/>
              <a:gd name="connsiteX9815" fmla="*/ 322597 w 3503192"/>
              <a:gd name="connsiteY9815" fmla="*/ 1773883 h 5818346"/>
              <a:gd name="connsiteX9816" fmla="*/ 311861 w 3503192"/>
              <a:gd name="connsiteY9816" fmla="*/ 1763146 h 5818346"/>
              <a:gd name="connsiteX9817" fmla="*/ 322597 w 3503192"/>
              <a:gd name="connsiteY9817" fmla="*/ 1752410 h 5818346"/>
              <a:gd name="connsiteX9818" fmla="*/ 299307 w 3503192"/>
              <a:gd name="connsiteY9818" fmla="*/ 1752244 h 5818346"/>
              <a:gd name="connsiteX9819" fmla="*/ 310045 w 3503192"/>
              <a:gd name="connsiteY9819" fmla="*/ 1762980 h 5818346"/>
              <a:gd name="connsiteX9820" fmla="*/ 299307 w 3503192"/>
              <a:gd name="connsiteY9820" fmla="*/ 1773718 h 5818346"/>
              <a:gd name="connsiteX9821" fmla="*/ 292039 w 3503192"/>
              <a:gd name="connsiteY9821" fmla="*/ 1766450 h 5818346"/>
              <a:gd name="connsiteX9822" fmla="*/ 283285 w 3503192"/>
              <a:gd name="connsiteY9822" fmla="*/ 1775204 h 5818346"/>
              <a:gd name="connsiteX9823" fmla="*/ 277338 w 3503192"/>
              <a:gd name="connsiteY9823" fmla="*/ 1769259 h 5818346"/>
              <a:gd name="connsiteX9824" fmla="*/ 269905 w 3503192"/>
              <a:gd name="connsiteY9824" fmla="*/ 1776692 h 5818346"/>
              <a:gd name="connsiteX9825" fmla="*/ 262556 w 3503192"/>
              <a:gd name="connsiteY9825" fmla="*/ 1769341 h 5818346"/>
              <a:gd name="connsiteX9826" fmla="*/ 255205 w 3503192"/>
              <a:gd name="connsiteY9826" fmla="*/ 1776692 h 5818346"/>
              <a:gd name="connsiteX9827" fmla="*/ 244468 w 3503192"/>
              <a:gd name="connsiteY9827" fmla="*/ 1765954 h 5818346"/>
              <a:gd name="connsiteX9828" fmla="*/ 255205 w 3503192"/>
              <a:gd name="connsiteY9828" fmla="*/ 1755218 h 5818346"/>
              <a:gd name="connsiteX9829" fmla="*/ 262556 w 3503192"/>
              <a:gd name="connsiteY9829" fmla="*/ 1762567 h 5818346"/>
              <a:gd name="connsiteX9830" fmla="*/ 269905 w 3503192"/>
              <a:gd name="connsiteY9830" fmla="*/ 1755218 h 5818346"/>
              <a:gd name="connsiteX9831" fmla="*/ 275852 w 3503192"/>
              <a:gd name="connsiteY9831" fmla="*/ 1761164 h 5818346"/>
              <a:gd name="connsiteX9832" fmla="*/ 283285 w 3503192"/>
              <a:gd name="connsiteY9832" fmla="*/ 1753731 h 5818346"/>
              <a:gd name="connsiteX9833" fmla="*/ 290551 w 3503192"/>
              <a:gd name="connsiteY9833" fmla="*/ 1760999 h 5818346"/>
              <a:gd name="connsiteX9834" fmla="*/ 553686 w 3503192"/>
              <a:gd name="connsiteY9834" fmla="*/ 1749765 h 5818346"/>
              <a:gd name="connsiteX9835" fmla="*/ 564422 w 3503192"/>
              <a:gd name="connsiteY9835" fmla="*/ 1760502 h 5818346"/>
              <a:gd name="connsiteX9836" fmla="*/ 553686 w 3503192"/>
              <a:gd name="connsiteY9836" fmla="*/ 1771240 h 5818346"/>
              <a:gd name="connsiteX9837" fmla="*/ 542950 w 3503192"/>
              <a:gd name="connsiteY9837" fmla="*/ 1760502 h 5818346"/>
              <a:gd name="connsiteX9838" fmla="*/ 553686 w 3503192"/>
              <a:gd name="connsiteY9838" fmla="*/ 1749765 h 5818346"/>
              <a:gd name="connsiteX9839" fmla="*/ 1890168 w 3503192"/>
              <a:gd name="connsiteY9839" fmla="*/ 1745636 h 5818346"/>
              <a:gd name="connsiteX9840" fmla="*/ 1900906 w 3503192"/>
              <a:gd name="connsiteY9840" fmla="*/ 1756373 h 5818346"/>
              <a:gd name="connsiteX9841" fmla="*/ 1890168 w 3503192"/>
              <a:gd name="connsiteY9841" fmla="*/ 1767111 h 5818346"/>
              <a:gd name="connsiteX9842" fmla="*/ 1879432 w 3503192"/>
              <a:gd name="connsiteY9842" fmla="*/ 1756373 h 5818346"/>
              <a:gd name="connsiteX9843" fmla="*/ 1890168 w 3503192"/>
              <a:gd name="connsiteY9843" fmla="*/ 1745636 h 5818346"/>
              <a:gd name="connsiteX9844" fmla="*/ 769908 w 3503192"/>
              <a:gd name="connsiteY9844" fmla="*/ 1745636 h 5818346"/>
              <a:gd name="connsiteX9845" fmla="*/ 780644 w 3503192"/>
              <a:gd name="connsiteY9845" fmla="*/ 1756373 h 5818346"/>
              <a:gd name="connsiteX9846" fmla="*/ 769908 w 3503192"/>
              <a:gd name="connsiteY9846" fmla="*/ 1767111 h 5818346"/>
              <a:gd name="connsiteX9847" fmla="*/ 759172 w 3503192"/>
              <a:gd name="connsiteY9847" fmla="*/ 1756373 h 5818346"/>
              <a:gd name="connsiteX9848" fmla="*/ 769908 w 3503192"/>
              <a:gd name="connsiteY9848" fmla="*/ 1745636 h 5818346"/>
              <a:gd name="connsiteX9849" fmla="*/ 458046 w 3503192"/>
              <a:gd name="connsiteY9849" fmla="*/ 1730606 h 5818346"/>
              <a:gd name="connsiteX9850" fmla="*/ 468782 w 3503192"/>
              <a:gd name="connsiteY9850" fmla="*/ 1741342 h 5818346"/>
              <a:gd name="connsiteX9851" fmla="*/ 458046 w 3503192"/>
              <a:gd name="connsiteY9851" fmla="*/ 1752079 h 5818346"/>
              <a:gd name="connsiteX9852" fmla="*/ 447309 w 3503192"/>
              <a:gd name="connsiteY9852" fmla="*/ 1741342 h 5818346"/>
              <a:gd name="connsiteX9853" fmla="*/ 458046 w 3503192"/>
              <a:gd name="connsiteY9853" fmla="*/ 1730606 h 5818346"/>
              <a:gd name="connsiteX9854" fmla="*/ 1214082 w 3503192"/>
              <a:gd name="connsiteY9854" fmla="*/ 1725650 h 5818346"/>
              <a:gd name="connsiteX9855" fmla="*/ 1224820 w 3503192"/>
              <a:gd name="connsiteY9855" fmla="*/ 1736386 h 5818346"/>
              <a:gd name="connsiteX9856" fmla="*/ 1214082 w 3503192"/>
              <a:gd name="connsiteY9856" fmla="*/ 1747124 h 5818346"/>
              <a:gd name="connsiteX9857" fmla="*/ 1203345 w 3503192"/>
              <a:gd name="connsiteY9857" fmla="*/ 1736386 h 5818346"/>
              <a:gd name="connsiteX9858" fmla="*/ 1214082 w 3503192"/>
              <a:gd name="connsiteY9858" fmla="*/ 1725650 h 5818346"/>
              <a:gd name="connsiteX9859" fmla="*/ 301455 w 3503192"/>
              <a:gd name="connsiteY9859" fmla="*/ 1723667 h 5818346"/>
              <a:gd name="connsiteX9860" fmla="*/ 312192 w 3503192"/>
              <a:gd name="connsiteY9860" fmla="*/ 1734404 h 5818346"/>
              <a:gd name="connsiteX9861" fmla="*/ 301455 w 3503192"/>
              <a:gd name="connsiteY9861" fmla="*/ 1745142 h 5818346"/>
              <a:gd name="connsiteX9862" fmla="*/ 295922 w 3503192"/>
              <a:gd name="connsiteY9862" fmla="*/ 1739608 h 5818346"/>
              <a:gd name="connsiteX9863" fmla="*/ 286588 w 3503192"/>
              <a:gd name="connsiteY9863" fmla="*/ 1748942 h 5818346"/>
              <a:gd name="connsiteX9864" fmla="*/ 280312 w 3503192"/>
              <a:gd name="connsiteY9864" fmla="*/ 1742664 h 5818346"/>
              <a:gd name="connsiteX9865" fmla="*/ 271723 w 3503192"/>
              <a:gd name="connsiteY9865" fmla="*/ 1751253 h 5818346"/>
              <a:gd name="connsiteX9866" fmla="*/ 261812 w 3503192"/>
              <a:gd name="connsiteY9866" fmla="*/ 1741342 h 5818346"/>
              <a:gd name="connsiteX9867" fmla="*/ 253718 w 3503192"/>
              <a:gd name="connsiteY9867" fmla="*/ 1749436 h 5818346"/>
              <a:gd name="connsiteX9868" fmla="*/ 244468 w 3503192"/>
              <a:gd name="connsiteY9868" fmla="*/ 1740186 h 5818346"/>
              <a:gd name="connsiteX9869" fmla="*/ 253718 w 3503192"/>
              <a:gd name="connsiteY9869" fmla="*/ 1730936 h 5818346"/>
              <a:gd name="connsiteX9870" fmla="*/ 262141 w 3503192"/>
              <a:gd name="connsiteY9870" fmla="*/ 1739360 h 5818346"/>
              <a:gd name="connsiteX9871" fmla="*/ 271723 w 3503192"/>
              <a:gd name="connsiteY9871" fmla="*/ 1729779 h 5818346"/>
              <a:gd name="connsiteX9872" fmla="*/ 278001 w 3503192"/>
              <a:gd name="connsiteY9872" fmla="*/ 1736055 h 5818346"/>
              <a:gd name="connsiteX9873" fmla="*/ 286588 w 3503192"/>
              <a:gd name="connsiteY9873" fmla="*/ 1727467 h 5818346"/>
              <a:gd name="connsiteX9874" fmla="*/ 292122 w 3503192"/>
              <a:gd name="connsiteY9874" fmla="*/ 1733001 h 5818346"/>
              <a:gd name="connsiteX9875" fmla="*/ 392304 w 3503192"/>
              <a:gd name="connsiteY9875" fmla="*/ 1721189 h 5818346"/>
              <a:gd name="connsiteX9876" fmla="*/ 403041 w 3503192"/>
              <a:gd name="connsiteY9876" fmla="*/ 1731926 h 5818346"/>
              <a:gd name="connsiteX9877" fmla="*/ 392304 w 3503192"/>
              <a:gd name="connsiteY9877" fmla="*/ 1742662 h 5818346"/>
              <a:gd name="connsiteX9878" fmla="*/ 381568 w 3503192"/>
              <a:gd name="connsiteY9878" fmla="*/ 1731926 h 5818346"/>
              <a:gd name="connsiteX9879" fmla="*/ 392304 w 3503192"/>
              <a:gd name="connsiteY9879" fmla="*/ 1721189 h 5818346"/>
              <a:gd name="connsiteX9880" fmla="*/ 320450 w 3503192"/>
              <a:gd name="connsiteY9880" fmla="*/ 1720034 h 5818346"/>
              <a:gd name="connsiteX9881" fmla="*/ 331186 w 3503192"/>
              <a:gd name="connsiteY9881" fmla="*/ 1730771 h 5818346"/>
              <a:gd name="connsiteX9882" fmla="*/ 320450 w 3503192"/>
              <a:gd name="connsiteY9882" fmla="*/ 1741507 h 5818346"/>
              <a:gd name="connsiteX9883" fmla="*/ 309714 w 3503192"/>
              <a:gd name="connsiteY9883" fmla="*/ 1730771 h 5818346"/>
              <a:gd name="connsiteX9884" fmla="*/ 320450 w 3503192"/>
              <a:gd name="connsiteY9884" fmla="*/ 1720034 h 5818346"/>
              <a:gd name="connsiteX9885" fmla="*/ 2082935 w 3503192"/>
              <a:gd name="connsiteY9885" fmla="*/ 1719043 h 5818346"/>
              <a:gd name="connsiteX9886" fmla="*/ 2093674 w 3503192"/>
              <a:gd name="connsiteY9886" fmla="*/ 1729779 h 5818346"/>
              <a:gd name="connsiteX9887" fmla="*/ 2082935 w 3503192"/>
              <a:gd name="connsiteY9887" fmla="*/ 1740517 h 5818346"/>
              <a:gd name="connsiteX9888" fmla="*/ 2072199 w 3503192"/>
              <a:gd name="connsiteY9888" fmla="*/ 1729779 h 5818346"/>
              <a:gd name="connsiteX9889" fmla="*/ 2082935 w 3503192"/>
              <a:gd name="connsiteY9889" fmla="*/ 1719043 h 5818346"/>
              <a:gd name="connsiteX9890" fmla="*/ 348861 w 3503192"/>
              <a:gd name="connsiteY9890" fmla="*/ 1718547 h 5818346"/>
              <a:gd name="connsiteX9891" fmla="*/ 359599 w 3503192"/>
              <a:gd name="connsiteY9891" fmla="*/ 1729283 h 5818346"/>
              <a:gd name="connsiteX9892" fmla="*/ 348861 w 3503192"/>
              <a:gd name="connsiteY9892" fmla="*/ 1740021 h 5818346"/>
              <a:gd name="connsiteX9893" fmla="*/ 338125 w 3503192"/>
              <a:gd name="connsiteY9893" fmla="*/ 1729283 h 5818346"/>
              <a:gd name="connsiteX9894" fmla="*/ 348861 w 3503192"/>
              <a:gd name="connsiteY9894" fmla="*/ 1718547 h 5818346"/>
              <a:gd name="connsiteX9895" fmla="*/ 617282 w 3503192"/>
              <a:gd name="connsiteY9895" fmla="*/ 1712435 h 5818346"/>
              <a:gd name="connsiteX9896" fmla="*/ 628020 w 3503192"/>
              <a:gd name="connsiteY9896" fmla="*/ 1723172 h 5818346"/>
              <a:gd name="connsiteX9897" fmla="*/ 617282 w 3503192"/>
              <a:gd name="connsiteY9897" fmla="*/ 1733908 h 5818346"/>
              <a:gd name="connsiteX9898" fmla="*/ 606546 w 3503192"/>
              <a:gd name="connsiteY9898" fmla="*/ 1723172 h 5818346"/>
              <a:gd name="connsiteX9899" fmla="*/ 617282 w 3503192"/>
              <a:gd name="connsiteY9899" fmla="*/ 1712435 h 5818346"/>
              <a:gd name="connsiteX9900" fmla="*/ 860098 w 3503192"/>
              <a:gd name="connsiteY9900" fmla="*/ 1708141 h 5818346"/>
              <a:gd name="connsiteX9901" fmla="*/ 870836 w 3503192"/>
              <a:gd name="connsiteY9901" fmla="*/ 1718878 h 5818346"/>
              <a:gd name="connsiteX9902" fmla="*/ 860098 w 3503192"/>
              <a:gd name="connsiteY9902" fmla="*/ 1729614 h 5818346"/>
              <a:gd name="connsiteX9903" fmla="*/ 849361 w 3503192"/>
              <a:gd name="connsiteY9903" fmla="*/ 1718878 h 5818346"/>
              <a:gd name="connsiteX9904" fmla="*/ 860098 w 3503192"/>
              <a:gd name="connsiteY9904" fmla="*/ 1708141 h 5818346"/>
              <a:gd name="connsiteX9905" fmla="*/ 304098 w 3503192"/>
              <a:gd name="connsiteY9905" fmla="*/ 1698230 h 5818346"/>
              <a:gd name="connsiteX9906" fmla="*/ 314835 w 3503192"/>
              <a:gd name="connsiteY9906" fmla="*/ 1708967 h 5818346"/>
              <a:gd name="connsiteX9907" fmla="*/ 304098 w 3503192"/>
              <a:gd name="connsiteY9907" fmla="*/ 1719703 h 5818346"/>
              <a:gd name="connsiteX9908" fmla="*/ 298811 w 3503192"/>
              <a:gd name="connsiteY9908" fmla="*/ 1714417 h 5818346"/>
              <a:gd name="connsiteX9909" fmla="*/ 288735 w 3503192"/>
              <a:gd name="connsiteY9909" fmla="*/ 1724495 h 5818346"/>
              <a:gd name="connsiteX9910" fmla="*/ 281302 w 3503192"/>
              <a:gd name="connsiteY9910" fmla="*/ 1717060 h 5818346"/>
              <a:gd name="connsiteX9911" fmla="*/ 271392 w 3503192"/>
              <a:gd name="connsiteY9911" fmla="*/ 1726971 h 5818346"/>
              <a:gd name="connsiteX9912" fmla="*/ 260655 w 3503192"/>
              <a:gd name="connsiteY9912" fmla="*/ 1716233 h 5818346"/>
              <a:gd name="connsiteX9913" fmla="*/ 271392 w 3503192"/>
              <a:gd name="connsiteY9913" fmla="*/ 1705497 h 5818346"/>
              <a:gd name="connsiteX9914" fmla="*/ 278826 w 3503192"/>
              <a:gd name="connsiteY9914" fmla="*/ 1712929 h 5818346"/>
              <a:gd name="connsiteX9915" fmla="*/ 288735 w 3503192"/>
              <a:gd name="connsiteY9915" fmla="*/ 1703020 h 5818346"/>
              <a:gd name="connsiteX9916" fmla="*/ 294021 w 3503192"/>
              <a:gd name="connsiteY9916" fmla="*/ 1708308 h 5818346"/>
              <a:gd name="connsiteX9917" fmla="*/ 2287594 w 3503192"/>
              <a:gd name="connsiteY9917" fmla="*/ 1696248 h 5818346"/>
              <a:gd name="connsiteX9918" fmla="*/ 2298332 w 3503192"/>
              <a:gd name="connsiteY9918" fmla="*/ 1706985 h 5818346"/>
              <a:gd name="connsiteX9919" fmla="*/ 2287594 w 3503192"/>
              <a:gd name="connsiteY9919" fmla="*/ 1717723 h 5818346"/>
              <a:gd name="connsiteX9920" fmla="*/ 2276857 w 3503192"/>
              <a:gd name="connsiteY9920" fmla="*/ 1706985 h 5818346"/>
              <a:gd name="connsiteX9921" fmla="*/ 2287594 w 3503192"/>
              <a:gd name="connsiteY9921" fmla="*/ 1696248 h 5818346"/>
              <a:gd name="connsiteX9922" fmla="*/ 507106 w 3503192"/>
              <a:gd name="connsiteY9922" fmla="*/ 1693274 h 5818346"/>
              <a:gd name="connsiteX9923" fmla="*/ 517844 w 3503192"/>
              <a:gd name="connsiteY9923" fmla="*/ 1704010 h 5818346"/>
              <a:gd name="connsiteX9924" fmla="*/ 507106 w 3503192"/>
              <a:gd name="connsiteY9924" fmla="*/ 1714749 h 5818346"/>
              <a:gd name="connsiteX9925" fmla="*/ 496369 w 3503192"/>
              <a:gd name="connsiteY9925" fmla="*/ 1704010 h 5818346"/>
              <a:gd name="connsiteX9926" fmla="*/ 507106 w 3503192"/>
              <a:gd name="connsiteY9926" fmla="*/ 1693274 h 5818346"/>
              <a:gd name="connsiteX9927" fmla="*/ 321111 w 3503192"/>
              <a:gd name="connsiteY9927" fmla="*/ 1692118 h 5818346"/>
              <a:gd name="connsiteX9928" fmla="*/ 331847 w 3503192"/>
              <a:gd name="connsiteY9928" fmla="*/ 1702854 h 5818346"/>
              <a:gd name="connsiteX9929" fmla="*/ 321111 w 3503192"/>
              <a:gd name="connsiteY9929" fmla="*/ 1713592 h 5818346"/>
              <a:gd name="connsiteX9930" fmla="*/ 310374 w 3503192"/>
              <a:gd name="connsiteY9930" fmla="*/ 1702854 h 5818346"/>
              <a:gd name="connsiteX9931" fmla="*/ 321111 w 3503192"/>
              <a:gd name="connsiteY9931" fmla="*/ 1692118 h 5818346"/>
              <a:gd name="connsiteX9932" fmla="*/ 267923 w 3503192"/>
              <a:gd name="connsiteY9932" fmla="*/ 1692118 h 5818346"/>
              <a:gd name="connsiteX9933" fmla="*/ 268254 w 3503192"/>
              <a:gd name="connsiteY9933" fmla="*/ 1692447 h 5818346"/>
              <a:gd name="connsiteX9934" fmla="*/ 267923 w 3503192"/>
              <a:gd name="connsiteY9934" fmla="*/ 1692778 h 5818346"/>
              <a:gd name="connsiteX9935" fmla="*/ 267594 w 3503192"/>
              <a:gd name="connsiteY9935" fmla="*/ 1692447 h 5818346"/>
              <a:gd name="connsiteX9936" fmla="*/ 267923 w 3503192"/>
              <a:gd name="connsiteY9936" fmla="*/ 1692118 h 5818346"/>
              <a:gd name="connsiteX9937" fmla="*/ 1349860 w 3503192"/>
              <a:gd name="connsiteY9937" fmla="*/ 1689970 h 5818346"/>
              <a:gd name="connsiteX9938" fmla="*/ 1360598 w 3503192"/>
              <a:gd name="connsiteY9938" fmla="*/ 1700707 h 5818346"/>
              <a:gd name="connsiteX9939" fmla="*/ 1349860 w 3503192"/>
              <a:gd name="connsiteY9939" fmla="*/ 1711443 h 5818346"/>
              <a:gd name="connsiteX9940" fmla="*/ 1339124 w 3503192"/>
              <a:gd name="connsiteY9940" fmla="*/ 1700707 h 5818346"/>
              <a:gd name="connsiteX9941" fmla="*/ 1349860 w 3503192"/>
              <a:gd name="connsiteY9941" fmla="*/ 1689970 h 5818346"/>
              <a:gd name="connsiteX9942" fmla="*/ 3392328 w 3503192"/>
              <a:gd name="connsiteY9942" fmla="*/ 1687659 h 5818346"/>
              <a:gd name="connsiteX9943" fmla="*/ 3403066 w 3503192"/>
              <a:gd name="connsiteY9943" fmla="*/ 1698395 h 5818346"/>
              <a:gd name="connsiteX9944" fmla="*/ 3392328 w 3503192"/>
              <a:gd name="connsiteY9944" fmla="*/ 1709132 h 5818346"/>
              <a:gd name="connsiteX9945" fmla="*/ 3381592 w 3503192"/>
              <a:gd name="connsiteY9945" fmla="*/ 1698395 h 5818346"/>
              <a:gd name="connsiteX9946" fmla="*/ 3392328 w 3503192"/>
              <a:gd name="connsiteY9946" fmla="*/ 1687659 h 5818346"/>
              <a:gd name="connsiteX9947" fmla="*/ 343907 w 3503192"/>
              <a:gd name="connsiteY9947" fmla="*/ 1686502 h 5818346"/>
              <a:gd name="connsiteX9948" fmla="*/ 354643 w 3503192"/>
              <a:gd name="connsiteY9948" fmla="*/ 1697239 h 5818346"/>
              <a:gd name="connsiteX9949" fmla="*/ 343907 w 3503192"/>
              <a:gd name="connsiteY9949" fmla="*/ 1707977 h 5818346"/>
              <a:gd name="connsiteX9950" fmla="*/ 333170 w 3503192"/>
              <a:gd name="connsiteY9950" fmla="*/ 1697239 h 5818346"/>
              <a:gd name="connsiteX9951" fmla="*/ 343907 w 3503192"/>
              <a:gd name="connsiteY9951" fmla="*/ 1686502 h 5818346"/>
              <a:gd name="connsiteX9952" fmla="*/ 430295 w 3503192"/>
              <a:gd name="connsiteY9952" fmla="*/ 1684520 h 5818346"/>
              <a:gd name="connsiteX9953" fmla="*/ 441033 w 3503192"/>
              <a:gd name="connsiteY9953" fmla="*/ 1695256 h 5818346"/>
              <a:gd name="connsiteX9954" fmla="*/ 430295 w 3503192"/>
              <a:gd name="connsiteY9954" fmla="*/ 1705993 h 5818346"/>
              <a:gd name="connsiteX9955" fmla="*/ 419559 w 3503192"/>
              <a:gd name="connsiteY9955" fmla="*/ 1695256 h 5818346"/>
              <a:gd name="connsiteX9956" fmla="*/ 430295 w 3503192"/>
              <a:gd name="connsiteY9956" fmla="*/ 1684520 h 5818346"/>
              <a:gd name="connsiteX9957" fmla="*/ 378264 w 3503192"/>
              <a:gd name="connsiteY9957" fmla="*/ 1683199 h 5818346"/>
              <a:gd name="connsiteX9958" fmla="*/ 389001 w 3503192"/>
              <a:gd name="connsiteY9958" fmla="*/ 1693935 h 5818346"/>
              <a:gd name="connsiteX9959" fmla="*/ 378264 w 3503192"/>
              <a:gd name="connsiteY9959" fmla="*/ 1704673 h 5818346"/>
              <a:gd name="connsiteX9960" fmla="*/ 367528 w 3503192"/>
              <a:gd name="connsiteY9960" fmla="*/ 1693935 h 5818346"/>
              <a:gd name="connsiteX9961" fmla="*/ 378264 w 3503192"/>
              <a:gd name="connsiteY9961" fmla="*/ 1683199 h 5818346"/>
              <a:gd name="connsiteX9962" fmla="*/ 289231 w 3503192"/>
              <a:gd name="connsiteY9962" fmla="*/ 1680060 h 5818346"/>
              <a:gd name="connsiteX9963" fmla="*/ 299968 w 3503192"/>
              <a:gd name="connsiteY9963" fmla="*/ 1690796 h 5818346"/>
              <a:gd name="connsiteX9964" fmla="*/ 289231 w 3503192"/>
              <a:gd name="connsiteY9964" fmla="*/ 1701534 h 5818346"/>
              <a:gd name="connsiteX9965" fmla="*/ 278495 w 3503192"/>
              <a:gd name="connsiteY9965" fmla="*/ 1690796 h 5818346"/>
              <a:gd name="connsiteX9966" fmla="*/ 289231 w 3503192"/>
              <a:gd name="connsiteY9966" fmla="*/ 1680060 h 5818346"/>
              <a:gd name="connsiteX9967" fmla="*/ 2502330 w 3503192"/>
              <a:gd name="connsiteY9967" fmla="*/ 1679234 h 5818346"/>
              <a:gd name="connsiteX9968" fmla="*/ 2513068 w 3503192"/>
              <a:gd name="connsiteY9968" fmla="*/ 1689970 h 5818346"/>
              <a:gd name="connsiteX9969" fmla="*/ 2502330 w 3503192"/>
              <a:gd name="connsiteY9969" fmla="*/ 1700707 h 5818346"/>
              <a:gd name="connsiteX9970" fmla="*/ 2491593 w 3503192"/>
              <a:gd name="connsiteY9970" fmla="*/ 1689970 h 5818346"/>
              <a:gd name="connsiteX9971" fmla="*/ 2502330 w 3503192"/>
              <a:gd name="connsiteY9971" fmla="*/ 1679234 h 5818346"/>
              <a:gd name="connsiteX9972" fmla="*/ 306410 w 3503192"/>
              <a:gd name="connsiteY9972" fmla="*/ 1675105 h 5818346"/>
              <a:gd name="connsiteX9973" fmla="*/ 317148 w 3503192"/>
              <a:gd name="connsiteY9973" fmla="*/ 1685841 h 5818346"/>
              <a:gd name="connsiteX9974" fmla="*/ 306410 w 3503192"/>
              <a:gd name="connsiteY9974" fmla="*/ 1696578 h 5818346"/>
              <a:gd name="connsiteX9975" fmla="*/ 295674 w 3503192"/>
              <a:gd name="connsiteY9975" fmla="*/ 1685841 h 5818346"/>
              <a:gd name="connsiteX9976" fmla="*/ 306410 w 3503192"/>
              <a:gd name="connsiteY9976" fmla="*/ 1675105 h 5818346"/>
              <a:gd name="connsiteX9977" fmla="*/ 687980 w 3503192"/>
              <a:gd name="connsiteY9977" fmla="*/ 1674113 h 5818346"/>
              <a:gd name="connsiteX9978" fmla="*/ 698716 w 3503192"/>
              <a:gd name="connsiteY9978" fmla="*/ 1684850 h 5818346"/>
              <a:gd name="connsiteX9979" fmla="*/ 687980 w 3503192"/>
              <a:gd name="connsiteY9979" fmla="*/ 1695588 h 5818346"/>
              <a:gd name="connsiteX9980" fmla="*/ 677243 w 3503192"/>
              <a:gd name="connsiteY9980" fmla="*/ 1684850 h 5818346"/>
              <a:gd name="connsiteX9981" fmla="*/ 687980 w 3503192"/>
              <a:gd name="connsiteY9981" fmla="*/ 1674113 h 5818346"/>
              <a:gd name="connsiteX9982" fmla="*/ 3173793 w 3503192"/>
              <a:gd name="connsiteY9982" fmla="*/ 1673617 h 5818346"/>
              <a:gd name="connsiteX9983" fmla="*/ 3184529 w 3503192"/>
              <a:gd name="connsiteY9983" fmla="*/ 1684353 h 5818346"/>
              <a:gd name="connsiteX9984" fmla="*/ 3173793 w 3503192"/>
              <a:gd name="connsiteY9984" fmla="*/ 1695092 h 5818346"/>
              <a:gd name="connsiteX9985" fmla="*/ 3163056 w 3503192"/>
              <a:gd name="connsiteY9985" fmla="*/ 1684353 h 5818346"/>
              <a:gd name="connsiteX9986" fmla="*/ 3173793 w 3503192"/>
              <a:gd name="connsiteY9986" fmla="*/ 1673617 h 5818346"/>
              <a:gd name="connsiteX9987" fmla="*/ 959371 w 3503192"/>
              <a:gd name="connsiteY9987" fmla="*/ 1670149 h 5818346"/>
              <a:gd name="connsiteX9988" fmla="*/ 970108 w 3503192"/>
              <a:gd name="connsiteY9988" fmla="*/ 1680885 h 5818346"/>
              <a:gd name="connsiteX9989" fmla="*/ 959371 w 3503192"/>
              <a:gd name="connsiteY9989" fmla="*/ 1691623 h 5818346"/>
              <a:gd name="connsiteX9990" fmla="*/ 948635 w 3503192"/>
              <a:gd name="connsiteY9990" fmla="*/ 1680885 h 5818346"/>
              <a:gd name="connsiteX9991" fmla="*/ 959371 w 3503192"/>
              <a:gd name="connsiteY9991" fmla="*/ 1670149 h 5818346"/>
              <a:gd name="connsiteX9992" fmla="*/ 2724333 w 3503192"/>
              <a:gd name="connsiteY9992" fmla="*/ 1669159 h 5818346"/>
              <a:gd name="connsiteX9993" fmla="*/ 2735071 w 3503192"/>
              <a:gd name="connsiteY9993" fmla="*/ 1679895 h 5818346"/>
              <a:gd name="connsiteX9994" fmla="*/ 2724333 w 3503192"/>
              <a:gd name="connsiteY9994" fmla="*/ 1690631 h 5818346"/>
              <a:gd name="connsiteX9995" fmla="*/ 2713597 w 3503192"/>
              <a:gd name="connsiteY9995" fmla="*/ 1679895 h 5818346"/>
              <a:gd name="connsiteX9996" fmla="*/ 2724333 w 3503192"/>
              <a:gd name="connsiteY9996" fmla="*/ 1669159 h 5818346"/>
              <a:gd name="connsiteX9997" fmla="*/ 322928 w 3503192"/>
              <a:gd name="connsiteY9997" fmla="*/ 1667671 h 5818346"/>
              <a:gd name="connsiteX9998" fmla="*/ 333666 w 3503192"/>
              <a:gd name="connsiteY9998" fmla="*/ 1678407 h 5818346"/>
              <a:gd name="connsiteX9999" fmla="*/ 322928 w 3503192"/>
              <a:gd name="connsiteY9999" fmla="*/ 1689145 h 5818346"/>
              <a:gd name="connsiteX10000" fmla="*/ 312192 w 3503192"/>
              <a:gd name="connsiteY10000" fmla="*/ 1678407 h 5818346"/>
              <a:gd name="connsiteX10001" fmla="*/ 322928 w 3503192"/>
              <a:gd name="connsiteY10001" fmla="*/ 1667671 h 5818346"/>
              <a:gd name="connsiteX10002" fmla="*/ 2949640 w 3503192"/>
              <a:gd name="connsiteY10002" fmla="*/ 1667175 h 5818346"/>
              <a:gd name="connsiteX10003" fmla="*/ 2960378 w 3503192"/>
              <a:gd name="connsiteY10003" fmla="*/ 1677911 h 5818346"/>
              <a:gd name="connsiteX10004" fmla="*/ 2949640 w 3503192"/>
              <a:gd name="connsiteY10004" fmla="*/ 1688649 h 5818346"/>
              <a:gd name="connsiteX10005" fmla="*/ 2938904 w 3503192"/>
              <a:gd name="connsiteY10005" fmla="*/ 1677911 h 5818346"/>
              <a:gd name="connsiteX10006" fmla="*/ 2949640 w 3503192"/>
              <a:gd name="connsiteY10006" fmla="*/ 1667175 h 5818346"/>
              <a:gd name="connsiteX10007" fmla="*/ 342585 w 3503192"/>
              <a:gd name="connsiteY10007" fmla="*/ 1659248 h 5818346"/>
              <a:gd name="connsiteX10008" fmla="*/ 353322 w 3503192"/>
              <a:gd name="connsiteY10008" fmla="*/ 1669984 h 5818346"/>
              <a:gd name="connsiteX10009" fmla="*/ 342585 w 3503192"/>
              <a:gd name="connsiteY10009" fmla="*/ 1680720 h 5818346"/>
              <a:gd name="connsiteX10010" fmla="*/ 331849 w 3503192"/>
              <a:gd name="connsiteY10010" fmla="*/ 1669984 h 5818346"/>
              <a:gd name="connsiteX10011" fmla="*/ 342585 w 3503192"/>
              <a:gd name="connsiteY10011" fmla="*/ 1659248 h 5818346"/>
              <a:gd name="connsiteX10012" fmla="*/ 286920 w 3503192"/>
              <a:gd name="connsiteY10012" fmla="*/ 1658587 h 5818346"/>
              <a:gd name="connsiteX10013" fmla="*/ 296664 w 3503192"/>
              <a:gd name="connsiteY10013" fmla="*/ 1668333 h 5818346"/>
              <a:gd name="connsiteX10014" fmla="*/ 286920 w 3503192"/>
              <a:gd name="connsiteY10014" fmla="*/ 1678079 h 5818346"/>
              <a:gd name="connsiteX10015" fmla="*/ 277173 w 3503192"/>
              <a:gd name="connsiteY10015" fmla="*/ 1668333 h 5818346"/>
              <a:gd name="connsiteX10016" fmla="*/ 286920 w 3503192"/>
              <a:gd name="connsiteY10016" fmla="*/ 1658587 h 5818346"/>
              <a:gd name="connsiteX10017" fmla="*/ 1497533 w 3503192"/>
              <a:gd name="connsiteY10017" fmla="*/ 1654787 h 5818346"/>
              <a:gd name="connsiteX10018" fmla="*/ 1508269 w 3503192"/>
              <a:gd name="connsiteY10018" fmla="*/ 1665524 h 5818346"/>
              <a:gd name="connsiteX10019" fmla="*/ 1497533 w 3503192"/>
              <a:gd name="connsiteY10019" fmla="*/ 1676262 h 5818346"/>
              <a:gd name="connsiteX10020" fmla="*/ 1486796 w 3503192"/>
              <a:gd name="connsiteY10020" fmla="*/ 1665524 h 5818346"/>
              <a:gd name="connsiteX10021" fmla="*/ 1497533 w 3503192"/>
              <a:gd name="connsiteY10021" fmla="*/ 1654787 h 5818346"/>
              <a:gd name="connsiteX10022" fmla="*/ 562111 w 3503192"/>
              <a:gd name="connsiteY10022" fmla="*/ 1654787 h 5818346"/>
              <a:gd name="connsiteX10023" fmla="*/ 572847 w 3503192"/>
              <a:gd name="connsiteY10023" fmla="*/ 1665524 h 5818346"/>
              <a:gd name="connsiteX10024" fmla="*/ 562111 w 3503192"/>
              <a:gd name="connsiteY10024" fmla="*/ 1676262 h 5818346"/>
              <a:gd name="connsiteX10025" fmla="*/ 551374 w 3503192"/>
              <a:gd name="connsiteY10025" fmla="*/ 1665524 h 5818346"/>
              <a:gd name="connsiteX10026" fmla="*/ 562111 w 3503192"/>
              <a:gd name="connsiteY10026" fmla="*/ 1654787 h 5818346"/>
              <a:gd name="connsiteX10027" fmla="*/ 307236 w 3503192"/>
              <a:gd name="connsiteY10027" fmla="*/ 1653301 h 5818346"/>
              <a:gd name="connsiteX10028" fmla="*/ 317972 w 3503192"/>
              <a:gd name="connsiteY10028" fmla="*/ 1664038 h 5818346"/>
              <a:gd name="connsiteX10029" fmla="*/ 307236 w 3503192"/>
              <a:gd name="connsiteY10029" fmla="*/ 1674774 h 5818346"/>
              <a:gd name="connsiteX10030" fmla="*/ 296499 w 3503192"/>
              <a:gd name="connsiteY10030" fmla="*/ 1664038 h 5818346"/>
              <a:gd name="connsiteX10031" fmla="*/ 307236 w 3503192"/>
              <a:gd name="connsiteY10031" fmla="*/ 1653301 h 5818346"/>
              <a:gd name="connsiteX10032" fmla="*/ 370171 w 3503192"/>
              <a:gd name="connsiteY10032" fmla="*/ 1651484 h 5818346"/>
              <a:gd name="connsiteX10033" fmla="*/ 380907 w 3503192"/>
              <a:gd name="connsiteY10033" fmla="*/ 1662220 h 5818346"/>
              <a:gd name="connsiteX10034" fmla="*/ 370171 w 3503192"/>
              <a:gd name="connsiteY10034" fmla="*/ 1672956 h 5818346"/>
              <a:gd name="connsiteX10035" fmla="*/ 359435 w 3503192"/>
              <a:gd name="connsiteY10035" fmla="*/ 1662220 h 5818346"/>
              <a:gd name="connsiteX10036" fmla="*/ 370171 w 3503192"/>
              <a:gd name="connsiteY10036" fmla="*/ 1651484 h 5818346"/>
              <a:gd name="connsiteX10037" fmla="*/ 472748 w 3503192"/>
              <a:gd name="connsiteY10037" fmla="*/ 1646694 h 5818346"/>
              <a:gd name="connsiteX10038" fmla="*/ 483486 w 3503192"/>
              <a:gd name="connsiteY10038" fmla="*/ 1657430 h 5818346"/>
              <a:gd name="connsiteX10039" fmla="*/ 472748 w 3503192"/>
              <a:gd name="connsiteY10039" fmla="*/ 1668168 h 5818346"/>
              <a:gd name="connsiteX10040" fmla="*/ 462012 w 3503192"/>
              <a:gd name="connsiteY10040" fmla="*/ 1657430 h 5818346"/>
              <a:gd name="connsiteX10041" fmla="*/ 472748 w 3503192"/>
              <a:gd name="connsiteY10041" fmla="*/ 1646694 h 5818346"/>
              <a:gd name="connsiteX10042" fmla="*/ 411301 w 3503192"/>
              <a:gd name="connsiteY10042" fmla="*/ 1646527 h 5818346"/>
              <a:gd name="connsiteX10043" fmla="*/ 422037 w 3503192"/>
              <a:gd name="connsiteY10043" fmla="*/ 1657264 h 5818346"/>
              <a:gd name="connsiteX10044" fmla="*/ 411301 w 3503192"/>
              <a:gd name="connsiteY10044" fmla="*/ 1668002 h 5818346"/>
              <a:gd name="connsiteX10045" fmla="*/ 400564 w 3503192"/>
              <a:gd name="connsiteY10045" fmla="*/ 1657264 h 5818346"/>
              <a:gd name="connsiteX10046" fmla="*/ 411301 w 3503192"/>
              <a:gd name="connsiteY10046" fmla="*/ 1646527 h 5818346"/>
              <a:gd name="connsiteX10047" fmla="*/ 343081 w 3503192"/>
              <a:gd name="connsiteY10047" fmla="*/ 1635626 h 5818346"/>
              <a:gd name="connsiteX10048" fmla="*/ 353818 w 3503192"/>
              <a:gd name="connsiteY10048" fmla="*/ 1646363 h 5818346"/>
              <a:gd name="connsiteX10049" fmla="*/ 343081 w 3503192"/>
              <a:gd name="connsiteY10049" fmla="*/ 1657099 h 5818346"/>
              <a:gd name="connsiteX10050" fmla="*/ 332345 w 3503192"/>
              <a:gd name="connsiteY10050" fmla="*/ 1646363 h 5818346"/>
              <a:gd name="connsiteX10051" fmla="*/ 343081 w 3503192"/>
              <a:gd name="connsiteY10051" fmla="*/ 1635626 h 5818346"/>
              <a:gd name="connsiteX10052" fmla="*/ 766275 w 3503192"/>
              <a:gd name="connsiteY10052" fmla="*/ 1634966 h 5818346"/>
              <a:gd name="connsiteX10053" fmla="*/ 777011 w 3503192"/>
              <a:gd name="connsiteY10053" fmla="*/ 1645702 h 5818346"/>
              <a:gd name="connsiteX10054" fmla="*/ 766275 w 3503192"/>
              <a:gd name="connsiteY10054" fmla="*/ 1656438 h 5818346"/>
              <a:gd name="connsiteX10055" fmla="*/ 755538 w 3503192"/>
              <a:gd name="connsiteY10055" fmla="*/ 1645702 h 5818346"/>
              <a:gd name="connsiteX10056" fmla="*/ 766275 w 3503192"/>
              <a:gd name="connsiteY10056" fmla="*/ 1634966 h 5818346"/>
              <a:gd name="connsiteX10057" fmla="*/ 305914 w 3503192"/>
              <a:gd name="connsiteY10057" fmla="*/ 1632488 h 5818346"/>
              <a:gd name="connsiteX10058" fmla="*/ 316650 w 3503192"/>
              <a:gd name="connsiteY10058" fmla="*/ 1643224 h 5818346"/>
              <a:gd name="connsiteX10059" fmla="*/ 305914 w 3503192"/>
              <a:gd name="connsiteY10059" fmla="*/ 1653962 h 5818346"/>
              <a:gd name="connsiteX10060" fmla="*/ 295178 w 3503192"/>
              <a:gd name="connsiteY10060" fmla="*/ 1643224 h 5818346"/>
              <a:gd name="connsiteX10061" fmla="*/ 305914 w 3503192"/>
              <a:gd name="connsiteY10061" fmla="*/ 1632488 h 5818346"/>
              <a:gd name="connsiteX10062" fmla="*/ 1068391 w 3503192"/>
              <a:gd name="connsiteY10062" fmla="*/ 1631662 h 5818346"/>
              <a:gd name="connsiteX10063" fmla="*/ 1079129 w 3503192"/>
              <a:gd name="connsiteY10063" fmla="*/ 1642398 h 5818346"/>
              <a:gd name="connsiteX10064" fmla="*/ 1068391 w 3503192"/>
              <a:gd name="connsiteY10064" fmla="*/ 1653135 h 5818346"/>
              <a:gd name="connsiteX10065" fmla="*/ 1057655 w 3503192"/>
              <a:gd name="connsiteY10065" fmla="*/ 1642398 h 5818346"/>
              <a:gd name="connsiteX10066" fmla="*/ 1068391 w 3503192"/>
              <a:gd name="connsiteY10066" fmla="*/ 1631662 h 5818346"/>
              <a:gd name="connsiteX10067" fmla="*/ 366207 w 3503192"/>
              <a:gd name="connsiteY10067" fmla="*/ 1625055 h 5818346"/>
              <a:gd name="connsiteX10068" fmla="*/ 376943 w 3503192"/>
              <a:gd name="connsiteY10068" fmla="*/ 1635791 h 5818346"/>
              <a:gd name="connsiteX10069" fmla="*/ 366207 w 3503192"/>
              <a:gd name="connsiteY10069" fmla="*/ 1646527 h 5818346"/>
              <a:gd name="connsiteX10070" fmla="*/ 355470 w 3503192"/>
              <a:gd name="connsiteY10070" fmla="*/ 1635791 h 5818346"/>
              <a:gd name="connsiteX10071" fmla="*/ 366207 w 3503192"/>
              <a:gd name="connsiteY10071" fmla="*/ 1625055 h 5818346"/>
              <a:gd name="connsiteX10072" fmla="*/ 301620 w 3503192"/>
              <a:gd name="connsiteY10072" fmla="*/ 1621916 h 5818346"/>
              <a:gd name="connsiteX10073" fmla="*/ 302116 w 3503192"/>
              <a:gd name="connsiteY10073" fmla="*/ 1622412 h 5818346"/>
              <a:gd name="connsiteX10074" fmla="*/ 301620 w 3503192"/>
              <a:gd name="connsiteY10074" fmla="*/ 1622906 h 5818346"/>
              <a:gd name="connsiteX10075" fmla="*/ 301124 w 3503192"/>
              <a:gd name="connsiteY10075" fmla="*/ 1622412 h 5818346"/>
              <a:gd name="connsiteX10076" fmla="*/ 301620 w 3503192"/>
              <a:gd name="connsiteY10076" fmla="*/ 1621916 h 5818346"/>
              <a:gd name="connsiteX10077" fmla="*/ 1657097 w 3503192"/>
              <a:gd name="connsiteY10077" fmla="*/ 1620926 h 5818346"/>
              <a:gd name="connsiteX10078" fmla="*/ 1667835 w 3503192"/>
              <a:gd name="connsiteY10078" fmla="*/ 1631662 h 5818346"/>
              <a:gd name="connsiteX10079" fmla="*/ 1657097 w 3503192"/>
              <a:gd name="connsiteY10079" fmla="*/ 1642398 h 5818346"/>
              <a:gd name="connsiteX10080" fmla="*/ 1646361 w 3503192"/>
              <a:gd name="connsiteY10080" fmla="*/ 1631662 h 5818346"/>
              <a:gd name="connsiteX10081" fmla="*/ 1657097 w 3503192"/>
              <a:gd name="connsiteY10081" fmla="*/ 1620926 h 5818346"/>
              <a:gd name="connsiteX10082" fmla="*/ 623229 w 3503192"/>
              <a:gd name="connsiteY10082" fmla="*/ 1615309 h 5818346"/>
              <a:gd name="connsiteX10083" fmla="*/ 633965 w 3503192"/>
              <a:gd name="connsiteY10083" fmla="*/ 1626045 h 5818346"/>
              <a:gd name="connsiteX10084" fmla="*/ 623229 w 3503192"/>
              <a:gd name="connsiteY10084" fmla="*/ 1636783 h 5818346"/>
              <a:gd name="connsiteX10085" fmla="*/ 612492 w 3503192"/>
              <a:gd name="connsiteY10085" fmla="*/ 1626045 h 5818346"/>
              <a:gd name="connsiteX10086" fmla="*/ 623229 w 3503192"/>
              <a:gd name="connsiteY10086" fmla="*/ 1615309 h 5818346"/>
              <a:gd name="connsiteX10087" fmla="*/ 399243 w 3503192"/>
              <a:gd name="connsiteY10087" fmla="*/ 1615309 h 5818346"/>
              <a:gd name="connsiteX10088" fmla="*/ 409979 w 3503192"/>
              <a:gd name="connsiteY10088" fmla="*/ 1626045 h 5818346"/>
              <a:gd name="connsiteX10089" fmla="*/ 399243 w 3503192"/>
              <a:gd name="connsiteY10089" fmla="*/ 1636783 h 5818346"/>
              <a:gd name="connsiteX10090" fmla="*/ 388506 w 3503192"/>
              <a:gd name="connsiteY10090" fmla="*/ 1626045 h 5818346"/>
              <a:gd name="connsiteX10091" fmla="*/ 399243 w 3503192"/>
              <a:gd name="connsiteY10091" fmla="*/ 1615309 h 5818346"/>
              <a:gd name="connsiteX10092" fmla="*/ 448301 w 3503192"/>
              <a:gd name="connsiteY10092" fmla="*/ 1608701 h 5818346"/>
              <a:gd name="connsiteX10093" fmla="*/ 459039 w 3503192"/>
              <a:gd name="connsiteY10093" fmla="*/ 1619438 h 5818346"/>
              <a:gd name="connsiteX10094" fmla="*/ 448301 w 3503192"/>
              <a:gd name="connsiteY10094" fmla="*/ 1630176 h 5818346"/>
              <a:gd name="connsiteX10095" fmla="*/ 437565 w 3503192"/>
              <a:gd name="connsiteY10095" fmla="*/ 1619438 h 5818346"/>
              <a:gd name="connsiteX10096" fmla="*/ 448301 w 3503192"/>
              <a:gd name="connsiteY10096" fmla="*/ 1608701 h 5818346"/>
              <a:gd name="connsiteX10097" fmla="*/ 520320 w 3503192"/>
              <a:gd name="connsiteY10097" fmla="*/ 1607709 h 5818346"/>
              <a:gd name="connsiteX10098" fmla="*/ 531058 w 3503192"/>
              <a:gd name="connsiteY10098" fmla="*/ 1618446 h 5818346"/>
              <a:gd name="connsiteX10099" fmla="*/ 520320 w 3503192"/>
              <a:gd name="connsiteY10099" fmla="*/ 1629184 h 5818346"/>
              <a:gd name="connsiteX10100" fmla="*/ 509584 w 3503192"/>
              <a:gd name="connsiteY10100" fmla="*/ 1618446 h 5818346"/>
              <a:gd name="connsiteX10101" fmla="*/ 520320 w 3503192"/>
              <a:gd name="connsiteY10101" fmla="*/ 1607709 h 5818346"/>
              <a:gd name="connsiteX10102" fmla="*/ 325242 w 3503192"/>
              <a:gd name="connsiteY10102" fmla="*/ 1605894 h 5818346"/>
              <a:gd name="connsiteX10103" fmla="*/ 335978 w 3503192"/>
              <a:gd name="connsiteY10103" fmla="*/ 1616630 h 5818346"/>
              <a:gd name="connsiteX10104" fmla="*/ 326644 w 3503192"/>
              <a:gd name="connsiteY10104" fmla="*/ 1625965 h 5818346"/>
              <a:gd name="connsiteX10105" fmla="*/ 336637 w 3503192"/>
              <a:gd name="connsiteY10105" fmla="*/ 1635956 h 5818346"/>
              <a:gd name="connsiteX10106" fmla="*/ 325901 w 3503192"/>
              <a:gd name="connsiteY10106" fmla="*/ 1646694 h 5818346"/>
              <a:gd name="connsiteX10107" fmla="*/ 335647 w 3503192"/>
              <a:gd name="connsiteY10107" fmla="*/ 1656438 h 5818346"/>
              <a:gd name="connsiteX10108" fmla="*/ 324910 w 3503192"/>
              <a:gd name="connsiteY10108" fmla="*/ 1667175 h 5818346"/>
              <a:gd name="connsiteX10109" fmla="*/ 314174 w 3503192"/>
              <a:gd name="connsiteY10109" fmla="*/ 1656438 h 5818346"/>
              <a:gd name="connsiteX10110" fmla="*/ 324909 w 3503192"/>
              <a:gd name="connsiteY10110" fmla="*/ 1645704 h 5818346"/>
              <a:gd name="connsiteX10111" fmla="*/ 315164 w 3503192"/>
              <a:gd name="connsiteY10111" fmla="*/ 1635956 h 5818346"/>
              <a:gd name="connsiteX10112" fmla="*/ 324496 w 3503192"/>
              <a:gd name="connsiteY10112" fmla="*/ 1626624 h 5818346"/>
              <a:gd name="connsiteX10113" fmla="*/ 314505 w 3503192"/>
              <a:gd name="connsiteY10113" fmla="*/ 1616630 h 5818346"/>
              <a:gd name="connsiteX10114" fmla="*/ 325242 w 3503192"/>
              <a:gd name="connsiteY10114" fmla="*/ 1605894 h 5818346"/>
              <a:gd name="connsiteX10115" fmla="*/ 852830 w 3503192"/>
              <a:gd name="connsiteY10115" fmla="*/ 1594991 h 5818346"/>
              <a:gd name="connsiteX10116" fmla="*/ 863566 w 3503192"/>
              <a:gd name="connsiteY10116" fmla="*/ 1605727 h 5818346"/>
              <a:gd name="connsiteX10117" fmla="*/ 852830 w 3503192"/>
              <a:gd name="connsiteY10117" fmla="*/ 1616464 h 5818346"/>
              <a:gd name="connsiteX10118" fmla="*/ 842093 w 3503192"/>
              <a:gd name="connsiteY10118" fmla="*/ 1605727 h 5818346"/>
              <a:gd name="connsiteX10119" fmla="*/ 852830 w 3503192"/>
              <a:gd name="connsiteY10119" fmla="*/ 1594991 h 5818346"/>
              <a:gd name="connsiteX10120" fmla="*/ 1187653 w 3503192"/>
              <a:gd name="connsiteY10120" fmla="*/ 1593175 h 5818346"/>
              <a:gd name="connsiteX10121" fmla="*/ 1198391 w 3503192"/>
              <a:gd name="connsiteY10121" fmla="*/ 1603911 h 5818346"/>
              <a:gd name="connsiteX10122" fmla="*/ 1187653 w 3503192"/>
              <a:gd name="connsiteY10122" fmla="*/ 1614648 h 5818346"/>
              <a:gd name="connsiteX10123" fmla="*/ 1176916 w 3503192"/>
              <a:gd name="connsiteY10123" fmla="*/ 1603911 h 5818346"/>
              <a:gd name="connsiteX10124" fmla="*/ 1187653 w 3503192"/>
              <a:gd name="connsiteY10124" fmla="*/ 1593175 h 5818346"/>
              <a:gd name="connsiteX10125" fmla="*/ 392304 w 3503192"/>
              <a:gd name="connsiteY10125" fmla="*/ 1589375 h 5818346"/>
              <a:gd name="connsiteX10126" fmla="*/ 403041 w 3503192"/>
              <a:gd name="connsiteY10126" fmla="*/ 1600112 h 5818346"/>
              <a:gd name="connsiteX10127" fmla="*/ 392304 w 3503192"/>
              <a:gd name="connsiteY10127" fmla="*/ 1610850 h 5818346"/>
              <a:gd name="connsiteX10128" fmla="*/ 381568 w 3503192"/>
              <a:gd name="connsiteY10128" fmla="*/ 1600112 h 5818346"/>
              <a:gd name="connsiteX10129" fmla="*/ 392304 w 3503192"/>
              <a:gd name="connsiteY10129" fmla="*/ 1589375 h 5818346"/>
              <a:gd name="connsiteX10130" fmla="*/ 1828721 w 3503192"/>
              <a:gd name="connsiteY10130" fmla="*/ 1588715 h 5818346"/>
              <a:gd name="connsiteX10131" fmla="*/ 1839459 w 3503192"/>
              <a:gd name="connsiteY10131" fmla="*/ 1599451 h 5818346"/>
              <a:gd name="connsiteX10132" fmla="*/ 1828721 w 3503192"/>
              <a:gd name="connsiteY10132" fmla="*/ 1610189 h 5818346"/>
              <a:gd name="connsiteX10133" fmla="*/ 1817985 w 3503192"/>
              <a:gd name="connsiteY10133" fmla="*/ 1599451 h 5818346"/>
              <a:gd name="connsiteX10134" fmla="*/ 1828721 w 3503192"/>
              <a:gd name="connsiteY10134" fmla="*/ 1588715 h 5818346"/>
              <a:gd name="connsiteX10135" fmla="*/ 321938 w 3503192"/>
              <a:gd name="connsiteY10135" fmla="*/ 1587558 h 5818346"/>
              <a:gd name="connsiteX10136" fmla="*/ 331682 w 3503192"/>
              <a:gd name="connsiteY10136" fmla="*/ 1597304 h 5818346"/>
              <a:gd name="connsiteX10137" fmla="*/ 321938 w 3503192"/>
              <a:gd name="connsiteY10137" fmla="*/ 1607049 h 5818346"/>
              <a:gd name="connsiteX10138" fmla="*/ 312192 w 3503192"/>
              <a:gd name="connsiteY10138" fmla="*/ 1597304 h 5818346"/>
              <a:gd name="connsiteX10139" fmla="*/ 321938 w 3503192"/>
              <a:gd name="connsiteY10139" fmla="*/ 1587558 h 5818346"/>
              <a:gd name="connsiteX10140" fmla="*/ 431783 w 3503192"/>
              <a:gd name="connsiteY10140" fmla="*/ 1577647 h 5818346"/>
              <a:gd name="connsiteX10141" fmla="*/ 442521 w 3503192"/>
              <a:gd name="connsiteY10141" fmla="*/ 1588384 h 5818346"/>
              <a:gd name="connsiteX10142" fmla="*/ 431783 w 3503192"/>
              <a:gd name="connsiteY10142" fmla="*/ 1599122 h 5818346"/>
              <a:gd name="connsiteX10143" fmla="*/ 421047 w 3503192"/>
              <a:gd name="connsiteY10143" fmla="*/ 1588384 h 5818346"/>
              <a:gd name="connsiteX10144" fmla="*/ 431783 w 3503192"/>
              <a:gd name="connsiteY10144" fmla="*/ 1577647 h 5818346"/>
              <a:gd name="connsiteX10145" fmla="*/ 691283 w 3503192"/>
              <a:gd name="connsiteY10145" fmla="*/ 1575004 h 5818346"/>
              <a:gd name="connsiteX10146" fmla="*/ 702020 w 3503192"/>
              <a:gd name="connsiteY10146" fmla="*/ 1585741 h 5818346"/>
              <a:gd name="connsiteX10147" fmla="*/ 691283 w 3503192"/>
              <a:gd name="connsiteY10147" fmla="*/ 1596479 h 5818346"/>
              <a:gd name="connsiteX10148" fmla="*/ 680547 w 3503192"/>
              <a:gd name="connsiteY10148" fmla="*/ 1585741 h 5818346"/>
              <a:gd name="connsiteX10149" fmla="*/ 691283 w 3503192"/>
              <a:gd name="connsiteY10149" fmla="*/ 1575004 h 5818346"/>
              <a:gd name="connsiteX10150" fmla="*/ 489762 w 3503192"/>
              <a:gd name="connsiteY10150" fmla="*/ 1569554 h 5818346"/>
              <a:gd name="connsiteX10151" fmla="*/ 500498 w 3503192"/>
              <a:gd name="connsiteY10151" fmla="*/ 1580290 h 5818346"/>
              <a:gd name="connsiteX10152" fmla="*/ 489762 w 3503192"/>
              <a:gd name="connsiteY10152" fmla="*/ 1591027 h 5818346"/>
              <a:gd name="connsiteX10153" fmla="*/ 479026 w 3503192"/>
              <a:gd name="connsiteY10153" fmla="*/ 1580290 h 5818346"/>
              <a:gd name="connsiteX10154" fmla="*/ 489762 w 3503192"/>
              <a:gd name="connsiteY10154" fmla="*/ 1569554 h 5818346"/>
              <a:gd name="connsiteX10155" fmla="*/ 573508 w 3503192"/>
              <a:gd name="connsiteY10155" fmla="*/ 1567572 h 5818346"/>
              <a:gd name="connsiteX10156" fmla="*/ 584244 w 3503192"/>
              <a:gd name="connsiteY10156" fmla="*/ 1578308 h 5818346"/>
              <a:gd name="connsiteX10157" fmla="*/ 573508 w 3503192"/>
              <a:gd name="connsiteY10157" fmla="*/ 1589046 h 5818346"/>
              <a:gd name="connsiteX10158" fmla="*/ 562771 w 3503192"/>
              <a:gd name="connsiteY10158" fmla="*/ 1578308 h 5818346"/>
              <a:gd name="connsiteX10159" fmla="*/ 573508 w 3503192"/>
              <a:gd name="connsiteY10159" fmla="*/ 1567572 h 5818346"/>
              <a:gd name="connsiteX10160" fmla="*/ 342254 w 3503192"/>
              <a:gd name="connsiteY10160" fmla="*/ 1560304 h 5818346"/>
              <a:gd name="connsiteX10161" fmla="*/ 352992 w 3503192"/>
              <a:gd name="connsiteY10161" fmla="*/ 1571040 h 5818346"/>
              <a:gd name="connsiteX10162" fmla="*/ 345558 w 3503192"/>
              <a:gd name="connsiteY10162" fmla="*/ 1578474 h 5818346"/>
              <a:gd name="connsiteX10163" fmla="*/ 355635 w 3503192"/>
              <a:gd name="connsiteY10163" fmla="*/ 1588548 h 5818346"/>
              <a:gd name="connsiteX10164" fmla="*/ 346796 w 3503192"/>
              <a:gd name="connsiteY10164" fmla="*/ 1597386 h 5818346"/>
              <a:gd name="connsiteX10165" fmla="*/ 355964 w 3503192"/>
              <a:gd name="connsiteY10165" fmla="*/ 1606553 h 5818346"/>
              <a:gd name="connsiteX10166" fmla="*/ 346054 w 3503192"/>
              <a:gd name="connsiteY10166" fmla="*/ 1616465 h 5818346"/>
              <a:gd name="connsiteX10167" fmla="*/ 355139 w 3503192"/>
              <a:gd name="connsiteY10167" fmla="*/ 1625549 h 5818346"/>
              <a:gd name="connsiteX10168" fmla="*/ 344403 w 3503192"/>
              <a:gd name="connsiteY10168" fmla="*/ 1636287 h 5818346"/>
              <a:gd name="connsiteX10169" fmla="*/ 333666 w 3503192"/>
              <a:gd name="connsiteY10169" fmla="*/ 1625549 h 5818346"/>
              <a:gd name="connsiteX10170" fmla="*/ 343575 w 3503192"/>
              <a:gd name="connsiteY10170" fmla="*/ 1615640 h 5818346"/>
              <a:gd name="connsiteX10171" fmla="*/ 334492 w 3503192"/>
              <a:gd name="connsiteY10171" fmla="*/ 1606553 h 5818346"/>
              <a:gd name="connsiteX10172" fmla="*/ 343327 w 3503192"/>
              <a:gd name="connsiteY10172" fmla="*/ 1597717 h 5818346"/>
              <a:gd name="connsiteX10173" fmla="*/ 334160 w 3503192"/>
              <a:gd name="connsiteY10173" fmla="*/ 1588548 h 5818346"/>
              <a:gd name="connsiteX10174" fmla="*/ 341591 w 3503192"/>
              <a:gd name="connsiteY10174" fmla="*/ 1581117 h 5818346"/>
              <a:gd name="connsiteX10175" fmla="*/ 331518 w 3503192"/>
              <a:gd name="connsiteY10175" fmla="*/ 1571040 h 5818346"/>
              <a:gd name="connsiteX10176" fmla="*/ 342254 w 3503192"/>
              <a:gd name="connsiteY10176" fmla="*/ 1560304 h 5818346"/>
              <a:gd name="connsiteX10177" fmla="*/ 2012073 w 3503192"/>
              <a:gd name="connsiteY10177" fmla="*/ 1559478 h 5818346"/>
              <a:gd name="connsiteX10178" fmla="*/ 2022809 w 3503192"/>
              <a:gd name="connsiteY10178" fmla="*/ 1570214 h 5818346"/>
              <a:gd name="connsiteX10179" fmla="*/ 2012073 w 3503192"/>
              <a:gd name="connsiteY10179" fmla="*/ 1580951 h 5818346"/>
              <a:gd name="connsiteX10180" fmla="*/ 2001337 w 3503192"/>
              <a:gd name="connsiteY10180" fmla="*/ 1570214 h 5818346"/>
              <a:gd name="connsiteX10181" fmla="*/ 2012073 w 3503192"/>
              <a:gd name="connsiteY10181" fmla="*/ 1559478 h 5818346"/>
              <a:gd name="connsiteX10182" fmla="*/ 1317484 w 3503192"/>
              <a:gd name="connsiteY10182" fmla="*/ 1554853 h 5818346"/>
              <a:gd name="connsiteX10183" fmla="*/ 1328222 w 3503192"/>
              <a:gd name="connsiteY10183" fmla="*/ 1565590 h 5818346"/>
              <a:gd name="connsiteX10184" fmla="*/ 1317484 w 3503192"/>
              <a:gd name="connsiteY10184" fmla="*/ 1576326 h 5818346"/>
              <a:gd name="connsiteX10185" fmla="*/ 1306748 w 3503192"/>
              <a:gd name="connsiteY10185" fmla="*/ 1565590 h 5818346"/>
              <a:gd name="connsiteX10186" fmla="*/ 1317484 w 3503192"/>
              <a:gd name="connsiteY10186" fmla="*/ 1554853 h 5818346"/>
              <a:gd name="connsiteX10187" fmla="*/ 947974 w 3503192"/>
              <a:gd name="connsiteY10187" fmla="*/ 1554522 h 5818346"/>
              <a:gd name="connsiteX10188" fmla="*/ 958711 w 3503192"/>
              <a:gd name="connsiteY10188" fmla="*/ 1565258 h 5818346"/>
              <a:gd name="connsiteX10189" fmla="*/ 947974 w 3503192"/>
              <a:gd name="connsiteY10189" fmla="*/ 1575996 h 5818346"/>
              <a:gd name="connsiteX10190" fmla="*/ 937238 w 3503192"/>
              <a:gd name="connsiteY10190" fmla="*/ 1565258 h 5818346"/>
              <a:gd name="connsiteX10191" fmla="*/ 947974 w 3503192"/>
              <a:gd name="connsiteY10191" fmla="*/ 1554522 h 5818346"/>
              <a:gd name="connsiteX10192" fmla="*/ 336970 w 3503192"/>
              <a:gd name="connsiteY10192" fmla="*/ 1552704 h 5818346"/>
              <a:gd name="connsiteX10193" fmla="*/ 337466 w 3503192"/>
              <a:gd name="connsiteY10193" fmla="*/ 1553200 h 5818346"/>
              <a:gd name="connsiteX10194" fmla="*/ 336970 w 3503192"/>
              <a:gd name="connsiteY10194" fmla="*/ 1553695 h 5818346"/>
              <a:gd name="connsiteX10195" fmla="*/ 336474 w 3503192"/>
              <a:gd name="connsiteY10195" fmla="*/ 1553200 h 5818346"/>
              <a:gd name="connsiteX10196" fmla="*/ 336970 w 3503192"/>
              <a:gd name="connsiteY10196" fmla="*/ 1552704 h 5818346"/>
              <a:gd name="connsiteX10197" fmla="*/ 421211 w 3503192"/>
              <a:gd name="connsiteY10197" fmla="*/ 1552375 h 5818346"/>
              <a:gd name="connsiteX10198" fmla="*/ 431948 w 3503192"/>
              <a:gd name="connsiteY10198" fmla="*/ 1563111 h 5818346"/>
              <a:gd name="connsiteX10199" fmla="*/ 421211 w 3503192"/>
              <a:gd name="connsiteY10199" fmla="*/ 1573848 h 5818346"/>
              <a:gd name="connsiteX10200" fmla="*/ 410475 w 3503192"/>
              <a:gd name="connsiteY10200" fmla="*/ 1563111 h 5818346"/>
              <a:gd name="connsiteX10201" fmla="*/ 421211 w 3503192"/>
              <a:gd name="connsiteY10201" fmla="*/ 1552375 h 5818346"/>
              <a:gd name="connsiteX10202" fmla="*/ 468123 w 3503192"/>
              <a:gd name="connsiteY10202" fmla="*/ 1538829 h 5818346"/>
              <a:gd name="connsiteX10203" fmla="*/ 478859 w 3503192"/>
              <a:gd name="connsiteY10203" fmla="*/ 1549565 h 5818346"/>
              <a:gd name="connsiteX10204" fmla="*/ 468123 w 3503192"/>
              <a:gd name="connsiteY10204" fmla="*/ 1560302 h 5818346"/>
              <a:gd name="connsiteX10205" fmla="*/ 457387 w 3503192"/>
              <a:gd name="connsiteY10205" fmla="*/ 1549565 h 5818346"/>
              <a:gd name="connsiteX10206" fmla="*/ 468123 w 3503192"/>
              <a:gd name="connsiteY10206" fmla="*/ 1538829 h 5818346"/>
              <a:gd name="connsiteX10207" fmla="*/ 2206656 w 3503192"/>
              <a:gd name="connsiteY10207" fmla="*/ 1534204 h 5818346"/>
              <a:gd name="connsiteX10208" fmla="*/ 2217394 w 3503192"/>
              <a:gd name="connsiteY10208" fmla="*/ 1544940 h 5818346"/>
              <a:gd name="connsiteX10209" fmla="*/ 2206656 w 3503192"/>
              <a:gd name="connsiteY10209" fmla="*/ 1555677 h 5818346"/>
              <a:gd name="connsiteX10210" fmla="*/ 2195920 w 3503192"/>
              <a:gd name="connsiteY10210" fmla="*/ 1544940 h 5818346"/>
              <a:gd name="connsiteX10211" fmla="*/ 2206656 w 3503192"/>
              <a:gd name="connsiteY10211" fmla="*/ 1534204 h 5818346"/>
              <a:gd name="connsiteX10212" fmla="*/ 766604 w 3503192"/>
              <a:gd name="connsiteY10212" fmla="*/ 1533708 h 5818346"/>
              <a:gd name="connsiteX10213" fmla="*/ 777342 w 3503192"/>
              <a:gd name="connsiteY10213" fmla="*/ 1544444 h 5818346"/>
              <a:gd name="connsiteX10214" fmla="*/ 766604 w 3503192"/>
              <a:gd name="connsiteY10214" fmla="*/ 1555183 h 5818346"/>
              <a:gd name="connsiteX10215" fmla="*/ 755868 w 3503192"/>
              <a:gd name="connsiteY10215" fmla="*/ 1544444 h 5818346"/>
              <a:gd name="connsiteX10216" fmla="*/ 766604 w 3503192"/>
              <a:gd name="connsiteY10216" fmla="*/ 1533708 h 5818346"/>
              <a:gd name="connsiteX10217" fmla="*/ 363232 w 3503192"/>
              <a:gd name="connsiteY10217" fmla="*/ 1532553 h 5818346"/>
              <a:gd name="connsiteX10218" fmla="*/ 373969 w 3503192"/>
              <a:gd name="connsiteY10218" fmla="*/ 1543290 h 5818346"/>
              <a:gd name="connsiteX10219" fmla="*/ 366949 w 3503192"/>
              <a:gd name="connsiteY10219" fmla="*/ 1550309 h 5818346"/>
              <a:gd name="connsiteX10220" fmla="*/ 375953 w 3503192"/>
              <a:gd name="connsiteY10220" fmla="*/ 1559312 h 5818346"/>
              <a:gd name="connsiteX10221" fmla="*/ 367941 w 3503192"/>
              <a:gd name="connsiteY10221" fmla="*/ 1567324 h 5818346"/>
              <a:gd name="connsiteX10222" fmla="*/ 376449 w 3503192"/>
              <a:gd name="connsiteY10222" fmla="*/ 1575830 h 5818346"/>
              <a:gd name="connsiteX10223" fmla="*/ 367445 w 3503192"/>
              <a:gd name="connsiteY10223" fmla="*/ 1584834 h 5818346"/>
              <a:gd name="connsiteX10224" fmla="*/ 375953 w 3503192"/>
              <a:gd name="connsiteY10224" fmla="*/ 1593340 h 5818346"/>
              <a:gd name="connsiteX10225" fmla="*/ 365957 w 3503192"/>
              <a:gd name="connsiteY10225" fmla="*/ 1603334 h 5818346"/>
              <a:gd name="connsiteX10226" fmla="*/ 375786 w 3503192"/>
              <a:gd name="connsiteY10226" fmla="*/ 1613162 h 5818346"/>
              <a:gd name="connsiteX10227" fmla="*/ 365050 w 3503192"/>
              <a:gd name="connsiteY10227" fmla="*/ 1623900 h 5818346"/>
              <a:gd name="connsiteX10228" fmla="*/ 354313 w 3503192"/>
              <a:gd name="connsiteY10228" fmla="*/ 1613162 h 5818346"/>
              <a:gd name="connsiteX10229" fmla="*/ 364306 w 3503192"/>
              <a:gd name="connsiteY10229" fmla="*/ 1603169 h 5818346"/>
              <a:gd name="connsiteX10230" fmla="*/ 354478 w 3503192"/>
              <a:gd name="connsiteY10230" fmla="*/ 1593340 h 5818346"/>
              <a:gd name="connsiteX10231" fmla="*/ 363480 w 3503192"/>
              <a:gd name="connsiteY10231" fmla="*/ 1584338 h 5818346"/>
              <a:gd name="connsiteX10232" fmla="*/ 354974 w 3503192"/>
              <a:gd name="connsiteY10232" fmla="*/ 1575830 h 5818346"/>
              <a:gd name="connsiteX10233" fmla="*/ 362984 w 3503192"/>
              <a:gd name="connsiteY10233" fmla="*/ 1567820 h 5818346"/>
              <a:gd name="connsiteX10234" fmla="*/ 354478 w 3503192"/>
              <a:gd name="connsiteY10234" fmla="*/ 1559312 h 5818346"/>
              <a:gd name="connsiteX10235" fmla="*/ 361496 w 3503192"/>
              <a:gd name="connsiteY10235" fmla="*/ 1552293 h 5818346"/>
              <a:gd name="connsiteX10236" fmla="*/ 352496 w 3503192"/>
              <a:gd name="connsiteY10236" fmla="*/ 1543290 h 5818346"/>
              <a:gd name="connsiteX10237" fmla="*/ 363232 w 3503192"/>
              <a:gd name="connsiteY10237" fmla="*/ 1532553 h 5818346"/>
              <a:gd name="connsiteX10238" fmla="*/ 535846 w 3503192"/>
              <a:gd name="connsiteY10238" fmla="*/ 1529250 h 5818346"/>
              <a:gd name="connsiteX10239" fmla="*/ 546583 w 3503192"/>
              <a:gd name="connsiteY10239" fmla="*/ 1539986 h 5818346"/>
              <a:gd name="connsiteX10240" fmla="*/ 535846 w 3503192"/>
              <a:gd name="connsiteY10240" fmla="*/ 1550724 h 5818346"/>
              <a:gd name="connsiteX10241" fmla="*/ 525110 w 3503192"/>
              <a:gd name="connsiteY10241" fmla="*/ 1539986 h 5818346"/>
              <a:gd name="connsiteX10242" fmla="*/ 535846 w 3503192"/>
              <a:gd name="connsiteY10242" fmla="*/ 1529250 h 5818346"/>
              <a:gd name="connsiteX10243" fmla="*/ 632477 w 3503192"/>
              <a:gd name="connsiteY10243" fmla="*/ 1526442 h 5818346"/>
              <a:gd name="connsiteX10244" fmla="*/ 643213 w 3503192"/>
              <a:gd name="connsiteY10244" fmla="*/ 1537178 h 5818346"/>
              <a:gd name="connsiteX10245" fmla="*/ 632477 w 3503192"/>
              <a:gd name="connsiteY10245" fmla="*/ 1547915 h 5818346"/>
              <a:gd name="connsiteX10246" fmla="*/ 621741 w 3503192"/>
              <a:gd name="connsiteY10246" fmla="*/ 1537178 h 5818346"/>
              <a:gd name="connsiteX10247" fmla="*/ 632477 w 3503192"/>
              <a:gd name="connsiteY10247" fmla="*/ 1526442 h 5818346"/>
              <a:gd name="connsiteX10248" fmla="*/ 3478056 w 3503192"/>
              <a:gd name="connsiteY10248" fmla="*/ 1524293 h 5818346"/>
              <a:gd name="connsiteX10249" fmla="*/ 3488794 w 3503192"/>
              <a:gd name="connsiteY10249" fmla="*/ 1535030 h 5818346"/>
              <a:gd name="connsiteX10250" fmla="*/ 3478056 w 3503192"/>
              <a:gd name="connsiteY10250" fmla="*/ 1545768 h 5818346"/>
              <a:gd name="connsiteX10251" fmla="*/ 3467320 w 3503192"/>
              <a:gd name="connsiteY10251" fmla="*/ 1535030 h 5818346"/>
              <a:gd name="connsiteX10252" fmla="*/ 3478056 w 3503192"/>
              <a:gd name="connsiteY10252" fmla="*/ 1524293 h 5818346"/>
              <a:gd name="connsiteX10253" fmla="*/ 1458384 w 3503192"/>
              <a:gd name="connsiteY10253" fmla="*/ 1517356 h 5818346"/>
              <a:gd name="connsiteX10254" fmla="*/ 1469122 w 3503192"/>
              <a:gd name="connsiteY10254" fmla="*/ 1528093 h 5818346"/>
              <a:gd name="connsiteX10255" fmla="*/ 1458384 w 3503192"/>
              <a:gd name="connsiteY10255" fmla="*/ 1538831 h 5818346"/>
              <a:gd name="connsiteX10256" fmla="*/ 1447647 w 3503192"/>
              <a:gd name="connsiteY10256" fmla="*/ 1528093 h 5818346"/>
              <a:gd name="connsiteX10257" fmla="*/ 1458384 w 3503192"/>
              <a:gd name="connsiteY10257" fmla="*/ 1517356 h 5818346"/>
              <a:gd name="connsiteX10258" fmla="*/ 358609 w 3503192"/>
              <a:gd name="connsiteY10258" fmla="*/ 1517356 h 5818346"/>
              <a:gd name="connsiteX10259" fmla="*/ 368353 w 3503192"/>
              <a:gd name="connsiteY10259" fmla="*/ 1527103 h 5818346"/>
              <a:gd name="connsiteX10260" fmla="*/ 358609 w 3503192"/>
              <a:gd name="connsiteY10260" fmla="*/ 1536847 h 5818346"/>
              <a:gd name="connsiteX10261" fmla="*/ 348863 w 3503192"/>
              <a:gd name="connsiteY10261" fmla="*/ 1527103 h 5818346"/>
              <a:gd name="connsiteX10262" fmla="*/ 358609 w 3503192"/>
              <a:gd name="connsiteY10262" fmla="*/ 1517356 h 5818346"/>
              <a:gd name="connsiteX10263" fmla="*/ 2410984 w 3503192"/>
              <a:gd name="connsiteY10263" fmla="*/ 1514218 h 5818346"/>
              <a:gd name="connsiteX10264" fmla="*/ 2421723 w 3503192"/>
              <a:gd name="connsiteY10264" fmla="*/ 1524954 h 5818346"/>
              <a:gd name="connsiteX10265" fmla="*/ 2410984 w 3503192"/>
              <a:gd name="connsiteY10265" fmla="*/ 1535690 h 5818346"/>
              <a:gd name="connsiteX10266" fmla="*/ 2400248 w 3503192"/>
              <a:gd name="connsiteY10266" fmla="*/ 1524954 h 5818346"/>
              <a:gd name="connsiteX10267" fmla="*/ 2410984 w 3503192"/>
              <a:gd name="connsiteY10267" fmla="*/ 1514218 h 5818346"/>
              <a:gd name="connsiteX10268" fmla="*/ 453420 w 3503192"/>
              <a:gd name="connsiteY10268" fmla="*/ 1514053 h 5818346"/>
              <a:gd name="connsiteX10269" fmla="*/ 464159 w 3503192"/>
              <a:gd name="connsiteY10269" fmla="*/ 1524789 h 5818346"/>
              <a:gd name="connsiteX10270" fmla="*/ 453420 w 3503192"/>
              <a:gd name="connsiteY10270" fmla="*/ 1535526 h 5818346"/>
              <a:gd name="connsiteX10271" fmla="*/ 442684 w 3503192"/>
              <a:gd name="connsiteY10271" fmla="*/ 1524789 h 5818346"/>
              <a:gd name="connsiteX10272" fmla="*/ 453420 w 3503192"/>
              <a:gd name="connsiteY10272" fmla="*/ 1514053 h 5818346"/>
              <a:gd name="connsiteX10273" fmla="*/ 1052369 w 3503192"/>
              <a:gd name="connsiteY10273" fmla="*/ 1513722 h 5818346"/>
              <a:gd name="connsiteX10274" fmla="*/ 1063105 w 3503192"/>
              <a:gd name="connsiteY10274" fmla="*/ 1524458 h 5818346"/>
              <a:gd name="connsiteX10275" fmla="*/ 1052369 w 3503192"/>
              <a:gd name="connsiteY10275" fmla="*/ 1535196 h 5818346"/>
              <a:gd name="connsiteX10276" fmla="*/ 1041632 w 3503192"/>
              <a:gd name="connsiteY10276" fmla="*/ 1524458 h 5818346"/>
              <a:gd name="connsiteX10277" fmla="*/ 1052369 w 3503192"/>
              <a:gd name="connsiteY10277" fmla="*/ 1513722 h 5818346"/>
              <a:gd name="connsiteX10278" fmla="*/ 3270094 w 3503192"/>
              <a:gd name="connsiteY10278" fmla="*/ 1507114 h 5818346"/>
              <a:gd name="connsiteX10279" fmla="*/ 3280830 w 3503192"/>
              <a:gd name="connsiteY10279" fmla="*/ 1517851 h 5818346"/>
              <a:gd name="connsiteX10280" fmla="*/ 3270094 w 3503192"/>
              <a:gd name="connsiteY10280" fmla="*/ 1528587 h 5818346"/>
              <a:gd name="connsiteX10281" fmla="*/ 3259358 w 3503192"/>
              <a:gd name="connsiteY10281" fmla="*/ 1517851 h 5818346"/>
              <a:gd name="connsiteX10282" fmla="*/ 3270094 w 3503192"/>
              <a:gd name="connsiteY10282" fmla="*/ 1507114 h 5818346"/>
              <a:gd name="connsiteX10283" fmla="*/ 2622582 w 3503192"/>
              <a:gd name="connsiteY10283" fmla="*/ 1500838 h 5818346"/>
              <a:gd name="connsiteX10284" fmla="*/ 2633320 w 3503192"/>
              <a:gd name="connsiteY10284" fmla="*/ 1511575 h 5818346"/>
              <a:gd name="connsiteX10285" fmla="*/ 2622582 w 3503192"/>
              <a:gd name="connsiteY10285" fmla="*/ 1522313 h 5818346"/>
              <a:gd name="connsiteX10286" fmla="*/ 2611845 w 3503192"/>
              <a:gd name="connsiteY10286" fmla="*/ 1511575 h 5818346"/>
              <a:gd name="connsiteX10287" fmla="*/ 2622582 w 3503192"/>
              <a:gd name="connsiteY10287" fmla="*/ 1500838 h 5818346"/>
              <a:gd name="connsiteX10288" fmla="*/ 508427 w 3503192"/>
              <a:gd name="connsiteY10288" fmla="*/ 1498692 h 5818346"/>
              <a:gd name="connsiteX10289" fmla="*/ 519165 w 3503192"/>
              <a:gd name="connsiteY10289" fmla="*/ 1509428 h 5818346"/>
              <a:gd name="connsiteX10290" fmla="*/ 508427 w 3503192"/>
              <a:gd name="connsiteY10290" fmla="*/ 1520164 h 5818346"/>
              <a:gd name="connsiteX10291" fmla="*/ 497691 w 3503192"/>
              <a:gd name="connsiteY10291" fmla="*/ 1509428 h 5818346"/>
              <a:gd name="connsiteX10292" fmla="*/ 508427 w 3503192"/>
              <a:gd name="connsiteY10292" fmla="*/ 1498692 h 5818346"/>
              <a:gd name="connsiteX10293" fmla="*/ 3055852 w 3503192"/>
              <a:gd name="connsiteY10293" fmla="*/ 1497039 h 5818346"/>
              <a:gd name="connsiteX10294" fmla="*/ 3066589 w 3503192"/>
              <a:gd name="connsiteY10294" fmla="*/ 1507775 h 5818346"/>
              <a:gd name="connsiteX10295" fmla="*/ 3055852 w 3503192"/>
              <a:gd name="connsiteY10295" fmla="*/ 1518512 h 5818346"/>
              <a:gd name="connsiteX10296" fmla="*/ 3045116 w 3503192"/>
              <a:gd name="connsiteY10296" fmla="*/ 1507775 h 5818346"/>
              <a:gd name="connsiteX10297" fmla="*/ 3055852 w 3503192"/>
              <a:gd name="connsiteY10297" fmla="*/ 1497039 h 5818346"/>
              <a:gd name="connsiteX10298" fmla="*/ 2838805 w 3503192"/>
              <a:gd name="connsiteY10298" fmla="*/ 1494892 h 5818346"/>
              <a:gd name="connsiteX10299" fmla="*/ 2849541 w 3503192"/>
              <a:gd name="connsiteY10299" fmla="*/ 1505628 h 5818346"/>
              <a:gd name="connsiteX10300" fmla="*/ 2838805 w 3503192"/>
              <a:gd name="connsiteY10300" fmla="*/ 1516366 h 5818346"/>
              <a:gd name="connsiteX10301" fmla="*/ 2828069 w 3503192"/>
              <a:gd name="connsiteY10301" fmla="*/ 1505628 h 5818346"/>
              <a:gd name="connsiteX10302" fmla="*/ 2838805 w 3503192"/>
              <a:gd name="connsiteY10302" fmla="*/ 1494892 h 5818346"/>
              <a:gd name="connsiteX10303" fmla="*/ 444006 w 3503192"/>
              <a:gd name="connsiteY10303" fmla="*/ 1494066 h 5818346"/>
              <a:gd name="connsiteX10304" fmla="*/ 454744 w 3503192"/>
              <a:gd name="connsiteY10304" fmla="*/ 1504803 h 5818346"/>
              <a:gd name="connsiteX10305" fmla="*/ 444006 w 3503192"/>
              <a:gd name="connsiteY10305" fmla="*/ 1515539 h 5818346"/>
              <a:gd name="connsiteX10306" fmla="*/ 433269 w 3503192"/>
              <a:gd name="connsiteY10306" fmla="*/ 1504803 h 5818346"/>
              <a:gd name="connsiteX10307" fmla="*/ 444006 w 3503192"/>
              <a:gd name="connsiteY10307" fmla="*/ 1494066 h 5818346"/>
              <a:gd name="connsiteX10308" fmla="*/ 849526 w 3503192"/>
              <a:gd name="connsiteY10308" fmla="*/ 1491753 h 5818346"/>
              <a:gd name="connsiteX10309" fmla="*/ 860264 w 3503192"/>
              <a:gd name="connsiteY10309" fmla="*/ 1502489 h 5818346"/>
              <a:gd name="connsiteX10310" fmla="*/ 849526 w 3503192"/>
              <a:gd name="connsiteY10310" fmla="*/ 1513226 h 5818346"/>
              <a:gd name="connsiteX10311" fmla="*/ 838790 w 3503192"/>
              <a:gd name="connsiteY10311" fmla="*/ 1502489 h 5818346"/>
              <a:gd name="connsiteX10312" fmla="*/ 849526 w 3503192"/>
              <a:gd name="connsiteY10312" fmla="*/ 1491753 h 5818346"/>
              <a:gd name="connsiteX10313" fmla="*/ 380576 w 3503192"/>
              <a:gd name="connsiteY10313" fmla="*/ 1489110 h 5818346"/>
              <a:gd name="connsiteX10314" fmla="*/ 391314 w 3503192"/>
              <a:gd name="connsiteY10314" fmla="*/ 1499846 h 5818346"/>
              <a:gd name="connsiteX10315" fmla="*/ 386110 w 3503192"/>
              <a:gd name="connsiteY10315" fmla="*/ 1505051 h 5818346"/>
              <a:gd name="connsiteX10316" fmla="*/ 395278 w 3503192"/>
              <a:gd name="connsiteY10316" fmla="*/ 1514218 h 5818346"/>
              <a:gd name="connsiteX10317" fmla="*/ 389082 w 3503192"/>
              <a:gd name="connsiteY10317" fmla="*/ 1520412 h 5818346"/>
              <a:gd name="connsiteX10318" fmla="*/ 397259 w 3503192"/>
              <a:gd name="connsiteY10318" fmla="*/ 1528589 h 5818346"/>
              <a:gd name="connsiteX10319" fmla="*/ 390074 w 3503192"/>
              <a:gd name="connsiteY10319" fmla="*/ 1535775 h 5818346"/>
              <a:gd name="connsiteX10320" fmla="*/ 397920 w 3503192"/>
              <a:gd name="connsiteY10320" fmla="*/ 1543619 h 5818346"/>
              <a:gd name="connsiteX10321" fmla="*/ 390072 w 3503192"/>
              <a:gd name="connsiteY10321" fmla="*/ 1551466 h 5818346"/>
              <a:gd name="connsiteX10322" fmla="*/ 398417 w 3503192"/>
              <a:gd name="connsiteY10322" fmla="*/ 1559808 h 5818346"/>
              <a:gd name="connsiteX10323" fmla="*/ 389745 w 3503192"/>
              <a:gd name="connsiteY10323" fmla="*/ 1568480 h 5818346"/>
              <a:gd name="connsiteX10324" fmla="*/ 399739 w 3503192"/>
              <a:gd name="connsiteY10324" fmla="*/ 1578473 h 5818346"/>
              <a:gd name="connsiteX10325" fmla="*/ 389001 w 3503192"/>
              <a:gd name="connsiteY10325" fmla="*/ 1589209 h 5818346"/>
              <a:gd name="connsiteX10326" fmla="*/ 378264 w 3503192"/>
              <a:gd name="connsiteY10326" fmla="*/ 1578473 h 5818346"/>
              <a:gd name="connsiteX10327" fmla="*/ 386935 w 3503192"/>
              <a:gd name="connsiteY10327" fmla="*/ 1569802 h 5818346"/>
              <a:gd name="connsiteX10328" fmla="*/ 376943 w 3503192"/>
              <a:gd name="connsiteY10328" fmla="*/ 1559808 h 5818346"/>
              <a:gd name="connsiteX10329" fmla="*/ 384788 w 3503192"/>
              <a:gd name="connsiteY10329" fmla="*/ 1551962 h 5818346"/>
              <a:gd name="connsiteX10330" fmla="*/ 376447 w 3503192"/>
              <a:gd name="connsiteY10330" fmla="*/ 1543619 h 5818346"/>
              <a:gd name="connsiteX10331" fmla="*/ 383630 w 3503192"/>
              <a:gd name="connsiteY10331" fmla="*/ 1536436 h 5818346"/>
              <a:gd name="connsiteX10332" fmla="*/ 375786 w 3503192"/>
              <a:gd name="connsiteY10332" fmla="*/ 1528589 h 5818346"/>
              <a:gd name="connsiteX10333" fmla="*/ 381981 w 3503192"/>
              <a:gd name="connsiteY10333" fmla="*/ 1522394 h 5818346"/>
              <a:gd name="connsiteX10334" fmla="*/ 373804 w 3503192"/>
              <a:gd name="connsiteY10334" fmla="*/ 1514218 h 5818346"/>
              <a:gd name="connsiteX10335" fmla="*/ 379007 w 3503192"/>
              <a:gd name="connsiteY10335" fmla="*/ 1509015 h 5818346"/>
              <a:gd name="connsiteX10336" fmla="*/ 369840 w 3503192"/>
              <a:gd name="connsiteY10336" fmla="*/ 1499846 h 5818346"/>
              <a:gd name="connsiteX10337" fmla="*/ 380576 w 3503192"/>
              <a:gd name="connsiteY10337" fmla="*/ 1489110 h 5818346"/>
              <a:gd name="connsiteX10338" fmla="*/ 587218 w 3503192"/>
              <a:gd name="connsiteY10338" fmla="*/ 1487789 h 5818346"/>
              <a:gd name="connsiteX10339" fmla="*/ 597955 w 3503192"/>
              <a:gd name="connsiteY10339" fmla="*/ 1498525 h 5818346"/>
              <a:gd name="connsiteX10340" fmla="*/ 587218 w 3503192"/>
              <a:gd name="connsiteY10340" fmla="*/ 1509263 h 5818346"/>
              <a:gd name="connsiteX10341" fmla="*/ 576482 w 3503192"/>
              <a:gd name="connsiteY10341" fmla="*/ 1498525 h 5818346"/>
              <a:gd name="connsiteX10342" fmla="*/ 587218 w 3503192"/>
              <a:gd name="connsiteY10342" fmla="*/ 1487789 h 5818346"/>
              <a:gd name="connsiteX10343" fmla="*/ 373806 w 3503192"/>
              <a:gd name="connsiteY10343" fmla="*/ 1484485 h 5818346"/>
              <a:gd name="connsiteX10344" fmla="*/ 374300 w 3503192"/>
              <a:gd name="connsiteY10344" fmla="*/ 1484981 h 5818346"/>
              <a:gd name="connsiteX10345" fmla="*/ 373806 w 3503192"/>
              <a:gd name="connsiteY10345" fmla="*/ 1485475 h 5818346"/>
              <a:gd name="connsiteX10346" fmla="*/ 373310 w 3503192"/>
              <a:gd name="connsiteY10346" fmla="*/ 1484981 h 5818346"/>
              <a:gd name="connsiteX10347" fmla="*/ 373806 w 3503192"/>
              <a:gd name="connsiteY10347" fmla="*/ 1484485 h 5818346"/>
              <a:gd name="connsiteX10348" fmla="*/ 697891 w 3503192"/>
              <a:gd name="connsiteY10348" fmla="*/ 1484320 h 5818346"/>
              <a:gd name="connsiteX10349" fmla="*/ 708629 w 3503192"/>
              <a:gd name="connsiteY10349" fmla="*/ 1495057 h 5818346"/>
              <a:gd name="connsiteX10350" fmla="*/ 697891 w 3503192"/>
              <a:gd name="connsiteY10350" fmla="*/ 1505795 h 5818346"/>
              <a:gd name="connsiteX10351" fmla="*/ 687154 w 3503192"/>
              <a:gd name="connsiteY10351" fmla="*/ 1495057 h 5818346"/>
              <a:gd name="connsiteX10352" fmla="*/ 697891 w 3503192"/>
              <a:gd name="connsiteY10352" fmla="*/ 1484320 h 5818346"/>
              <a:gd name="connsiteX10353" fmla="*/ 1610517 w 3503192"/>
              <a:gd name="connsiteY10353" fmla="*/ 1481017 h 5818346"/>
              <a:gd name="connsiteX10354" fmla="*/ 1621255 w 3503192"/>
              <a:gd name="connsiteY10354" fmla="*/ 1491753 h 5818346"/>
              <a:gd name="connsiteX10355" fmla="*/ 1610517 w 3503192"/>
              <a:gd name="connsiteY10355" fmla="*/ 1502489 h 5818346"/>
              <a:gd name="connsiteX10356" fmla="*/ 1599780 w 3503192"/>
              <a:gd name="connsiteY10356" fmla="*/ 1491753 h 5818346"/>
              <a:gd name="connsiteX10357" fmla="*/ 1610517 w 3503192"/>
              <a:gd name="connsiteY10357" fmla="*/ 1481017 h 5818346"/>
              <a:gd name="connsiteX10358" fmla="*/ 488935 w 3503192"/>
              <a:gd name="connsiteY10358" fmla="*/ 1474409 h 5818346"/>
              <a:gd name="connsiteX10359" fmla="*/ 499671 w 3503192"/>
              <a:gd name="connsiteY10359" fmla="*/ 1485146 h 5818346"/>
              <a:gd name="connsiteX10360" fmla="*/ 488935 w 3503192"/>
              <a:gd name="connsiteY10360" fmla="*/ 1495884 h 5818346"/>
              <a:gd name="connsiteX10361" fmla="*/ 478199 w 3503192"/>
              <a:gd name="connsiteY10361" fmla="*/ 1485146 h 5818346"/>
              <a:gd name="connsiteX10362" fmla="*/ 488935 w 3503192"/>
              <a:gd name="connsiteY10362" fmla="*/ 1474409 h 5818346"/>
              <a:gd name="connsiteX10363" fmla="*/ 1166343 w 3503192"/>
              <a:gd name="connsiteY10363" fmla="*/ 1472923 h 5818346"/>
              <a:gd name="connsiteX10364" fmla="*/ 1177081 w 3503192"/>
              <a:gd name="connsiteY10364" fmla="*/ 1483659 h 5818346"/>
              <a:gd name="connsiteX10365" fmla="*/ 1166343 w 3503192"/>
              <a:gd name="connsiteY10365" fmla="*/ 1494396 h 5818346"/>
              <a:gd name="connsiteX10366" fmla="*/ 1155607 w 3503192"/>
              <a:gd name="connsiteY10366" fmla="*/ 1483659 h 5818346"/>
              <a:gd name="connsiteX10367" fmla="*/ 1166343 w 3503192"/>
              <a:gd name="connsiteY10367" fmla="*/ 1472923 h 5818346"/>
              <a:gd name="connsiteX10368" fmla="*/ 553356 w 3503192"/>
              <a:gd name="connsiteY10368" fmla="*/ 1457395 h 5818346"/>
              <a:gd name="connsiteX10369" fmla="*/ 564095 w 3503192"/>
              <a:gd name="connsiteY10369" fmla="*/ 1468132 h 5818346"/>
              <a:gd name="connsiteX10370" fmla="*/ 553356 w 3503192"/>
              <a:gd name="connsiteY10370" fmla="*/ 1478868 h 5818346"/>
              <a:gd name="connsiteX10371" fmla="*/ 542620 w 3503192"/>
              <a:gd name="connsiteY10371" fmla="*/ 1468132 h 5818346"/>
              <a:gd name="connsiteX10372" fmla="*/ 553356 w 3503192"/>
              <a:gd name="connsiteY10372" fmla="*/ 1457395 h 5818346"/>
              <a:gd name="connsiteX10373" fmla="*/ 475885 w 3503192"/>
              <a:gd name="connsiteY10373" fmla="*/ 1455413 h 5818346"/>
              <a:gd name="connsiteX10374" fmla="*/ 486622 w 3503192"/>
              <a:gd name="connsiteY10374" fmla="*/ 1466149 h 5818346"/>
              <a:gd name="connsiteX10375" fmla="*/ 475885 w 3503192"/>
              <a:gd name="connsiteY10375" fmla="*/ 1476887 h 5818346"/>
              <a:gd name="connsiteX10376" fmla="*/ 465149 w 3503192"/>
              <a:gd name="connsiteY10376" fmla="*/ 1466149 h 5818346"/>
              <a:gd name="connsiteX10377" fmla="*/ 475885 w 3503192"/>
              <a:gd name="connsiteY10377" fmla="*/ 1455413 h 5818346"/>
              <a:gd name="connsiteX10378" fmla="*/ 940871 w 3503192"/>
              <a:gd name="connsiteY10378" fmla="*/ 1449302 h 5818346"/>
              <a:gd name="connsiteX10379" fmla="*/ 951607 w 3503192"/>
              <a:gd name="connsiteY10379" fmla="*/ 1460038 h 5818346"/>
              <a:gd name="connsiteX10380" fmla="*/ 940871 w 3503192"/>
              <a:gd name="connsiteY10380" fmla="*/ 1470775 h 5818346"/>
              <a:gd name="connsiteX10381" fmla="*/ 930135 w 3503192"/>
              <a:gd name="connsiteY10381" fmla="*/ 1460038 h 5818346"/>
              <a:gd name="connsiteX10382" fmla="*/ 940871 w 3503192"/>
              <a:gd name="connsiteY10382" fmla="*/ 1449302 h 5818346"/>
              <a:gd name="connsiteX10383" fmla="*/ 396929 w 3503192"/>
              <a:gd name="connsiteY10383" fmla="*/ 1448641 h 5818346"/>
              <a:gd name="connsiteX10384" fmla="*/ 406346 w 3503192"/>
              <a:gd name="connsiteY10384" fmla="*/ 1458056 h 5818346"/>
              <a:gd name="connsiteX10385" fmla="*/ 403453 w 3503192"/>
              <a:gd name="connsiteY10385" fmla="*/ 1460949 h 5818346"/>
              <a:gd name="connsiteX10386" fmla="*/ 413777 w 3503192"/>
              <a:gd name="connsiteY10386" fmla="*/ 1471270 h 5818346"/>
              <a:gd name="connsiteX10387" fmla="*/ 409317 w 3503192"/>
              <a:gd name="connsiteY10387" fmla="*/ 1475731 h 5818346"/>
              <a:gd name="connsiteX10388" fmla="*/ 417414 w 3503192"/>
              <a:gd name="connsiteY10388" fmla="*/ 1483824 h 5818346"/>
              <a:gd name="connsiteX10389" fmla="*/ 412126 w 3503192"/>
              <a:gd name="connsiteY10389" fmla="*/ 1489112 h 5818346"/>
              <a:gd name="connsiteX10390" fmla="*/ 419559 w 3503192"/>
              <a:gd name="connsiteY10390" fmla="*/ 1496543 h 5818346"/>
              <a:gd name="connsiteX10391" fmla="*/ 413529 w 3503192"/>
              <a:gd name="connsiteY10391" fmla="*/ 1502573 h 5818346"/>
              <a:gd name="connsiteX10392" fmla="*/ 420880 w 3503192"/>
              <a:gd name="connsiteY10392" fmla="*/ 1509922 h 5818346"/>
              <a:gd name="connsiteX10393" fmla="*/ 414273 w 3503192"/>
              <a:gd name="connsiteY10393" fmla="*/ 1516531 h 5818346"/>
              <a:gd name="connsiteX10394" fmla="*/ 422698 w 3503192"/>
              <a:gd name="connsiteY10394" fmla="*/ 1524954 h 5818346"/>
              <a:gd name="connsiteX10395" fmla="*/ 415594 w 3503192"/>
              <a:gd name="connsiteY10395" fmla="*/ 1532057 h 5818346"/>
              <a:gd name="connsiteX10396" fmla="*/ 425837 w 3503192"/>
              <a:gd name="connsiteY10396" fmla="*/ 1542298 h 5818346"/>
              <a:gd name="connsiteX10397" fmla="*/ 415098 w 3503192"/>
              <a:gd name="connsiteY10397" fmla="*/ 1553036 h 5818346"/>
              <a:gd name="connsiteX10398" fmla="*/ 404362 w 3503192"/>
              <a:gd name="connsiteY10398" fmla="*/ 1542298 h 5818346"/>
              <a:gd name="connsiteX10399" fmla="*/ 411465 w 3503192"/>
              <a:gd name="connsiteY10399" fmla="*/ 1535194 h 5818346"/>
              <a:gd name="connsiteX10400" fmla="*/ 401225 w 3503192"/>
              <a:gd name="connsiteY10400" fmla="*/ 1524954 h 5818346"/>
              <a:gd name="connsiteX10401" fmla="*/ 407830 w 3503192"/>
              <a:gd name="connsiteY10401" fmla="*/ 1518348 h 5818346"/>
              <a:gd name="connsiteX10402" fmla="*/ 399408 w 3503192"/>
              <a:gd name="connsiteY10402" fmla="*/ 1509922 h 5818346"/>
              <a:gd name="connsiteX10403" fmla="*/ 405436 w 3503192"/>
              <a:gd name="connsiteY10403" fmla="*/ 1503894 h 5818346"/>
              <a:gd name="connsiteX10404" fmla="*/ 398086 w 3503192"/>
              <a:gd name="connsiteY10404" fmla="*/ 1496543 h 5818346"/>
              <a:gd name="connsiteX10405" fmla="*/ 403370 w 3503192"/>
              <a:gd name="connsiteY10405" fmla="*/ 1491259 h 5818346"/>
              <a:gd name="connsiteX10406" fmla="*/ 395939 w 3503192"/>
              <a:gd name="connsiteY10406" fmla="*/ 1483824 h 5818346"/>
              <a:gd name="connsiteX10407" fmla="*/ 400398 w 3503192"/>
              <a:gd name="connsiteY10407" fmla="*/ 1479366 h 5818346"/>
              <a:gd name="connsiteX10408" fmla="*/ 392304 w 3503192"/>
              <a:gd name="connsiteY10408" fmla="*/ 1471270 h 5818346"/>
              <a:gd name="connsiteX10409" fmla="*/ 396515 w 3503192"/>
              <a:gd name="connsiteY10409" fmla="*/ 1467060 h 5818346"/>
              <a:gd name="connsiteX10410" fmla="*/ 387514 w 3503192"/>
              <a:gd name="connsiteY10410" fmla="*/ 1458056 h 5818346"/>
              <a:gd name="connsiteX10411" fmla="*/ 396929 w 3503192"/>
              <a:gd name="connsiteY10411" fmla="*/ 1448641 h 5818346"/>
              <a:gd name="connsiteX10412" fmla="*/ 1774046 w 3503192"/>
              <a:gd name="connsiteY10412" fmla="*/ 1446659 h 5818346"/>
              <a:gd name="connsiteX10413" fmla="*/ 1784784 w 3503192"/>
              <a:gd name="connsiteY10413" fmla="*/ 1457395 h 5818346"/>
              <a:gd name="connsiteX10414" fmla="*/ 1774046 w 3503192"/>
              <a:gd name="connsiteY10414" fmla="*/ 1468133 h 5818346"/>
              <a:gd name="connsiteX10415" fmla="*/ 1763309 w 3503192"/>
              <a:gd name="connsiteY10415" fmla="*/ 1457395 h 5818346"/>
              <a:gd name="connsiteX10416" fmla="*/ 1774046 w 3503192"/>
              <a:gd name="connsiteY10416" fmla="*/ 1446659 h 5818346"/>
              <a:gd name="connsiteX10417" fmla="*/ 644205 w 3503192"/>
              <a:gd name="connsiteY10417" fmla="*/ 1445338 h 5818346"/>
              <a:gd name="connsiteX10418" fmla="*/ 654943 w 3503192"/>
              <a:gd name="connsiteY10418" fmla="*/ 1456074 h 5818346"/>
              <a:gd name="connsiteX10419" fmla="*/ 644205 w 3503192"/>
              <a:gd name="connsiteY10419" fmla="*/ 1466812 h 5818346"/>
              <a:gd name="connsiteX10420" fmla="*/ 633469 w 3503192"/>
              <a:gd name="connsiteY10420" fmla="*/ 1456074 h 5818346"/>
              <a:gd name="connsiteX10421" fmla="*/ 644205 w 3503192"/>
              <a:gd name="connsiteY10421" fmla="*/ 1445338 h 5818346"/>
              <a:gd name="connsiteX10422" fmla="*/ 770239 w 3503192"/>
              <a:gd name="connsiteY10422" fmla="*/ 1441538 h 5818346"/>
              <a:gd name="connsiteX10423" fmla="*/ 780976 w 3503192"/>
              <a:gd name="connsiteY10423" fmla="*/ 1452274 h 5818346"/>
              <a:gd name="connsiteX10424" fmla="*/ 770239 w 3503192"/>
              <a:gd name="connsiteY10424" fmla="*/ 1463011 h 5818346"/>
              <a:gd name="connsiteX10425" fmla="*/ 759503 w 3503192"/>
              <a:gd name="connsiteY10425" fmla="*/ 1452274 h 5818346"/>
              <a:gd name="connsiteX10426" fmla="*/ 770239 w 3503192"/>
              <a:gd name="connsiteY10426" fmla="*/ 1441538 h 5818346"/>
              <a:gd name="connsiteX10427" fmla="*/ 528578 w 3503192"/>
              <a:gd name="connsiteY10427" fmla="*/ 1433609 h 5818346"/>
              <a:gd name="connsiteX10428" fmla="*/ 539316 w 3503192"/>
              <a:gd name="connsiteY10428" fmla="*/ 1444345 h 5818346"/>
              <a:gd name="connsiteX10429" fmla="*/ 528578 w 3503192"/>
              <a:gd name="connsiteY10429" fmla="*/ 1455084 h 5818346"/>
              <a:gd name="connsiteX10430" fmla="*/ 517842 w 3503192"/>
              <a:gd name="connsiteY10430" fmla="*/ 1444345 h 5818346"/>
              <a:gd name="connsiteX10431" fmla="*/ 528578 w 3503192"/>
              <a:gd name="connsiteY10431" fmla="*/ 1433609 h 5818346"/>
              <a:gd name="connsiteX10432" fmla="*/ 1290395 w 3503192"/>
              <a:gd name="connsiteY10432" fmla="*/ 1432288 h 5818346"/>
              <a:gd name="connsiteX10433" fmla="*/ 1301131 w 3503192"/>
              <a:gd name="connsiteY10433" fmla="*/ 1443024 h 5818346"/>
              <a:gd name="connsiteX10434" fmla="*/ 1290395 w 3503192"/>
              <a:gd name="connsiteY10434" fmla="*/ 1453762 h 5818346"/>
              <a:gd name="connsiteX10435" fmla="*/ 1279658 w 3503192"/>
              <a:gd name="connsiteY10435" fmla="*/ 1443024 h 5818346"/>
              <a:gd name="connsiteX10436" fmla="*/ 1290395 w 3503192"/>
              <a:gd name="connsiteY10436" fmla="*/ 1432288 h 5818346"/>
              <a:gd name="connsiteX10437" fmla="*/ 420551 w 3503192"/>
              <a:gd name="connsiteY10437" fmla="*/ 1419238 h 5818346"/>
              <a:gd name="connsiteX10438" fmla="*/ 431289 w 3503192"/>
              <a:gd name="connsiteY10438" fmla="*/ 1429974 h 5818346"/>
              <a:gd name="connsiteX10439" fmla="*/ 428479 w 3503192"/>
              <a:gd name="connsiteY10439" fmla="*/ 1432784 h 5818346"/>
              <a:gd name="connsiteX10440" fmla="*/ 436904 w 3503192"/>
              <a:gd name="connsiteY10440" fmla="*/ 1441207 h 5818346"/>
              <a:gd name="connsiteX10441" fmla="*/ 433352 w 3503192"/>
              <a:gd name="connsiteY10441" fmla="*/ 1444758 h 5818346"/>
              <a:gd name="connsiteX10442" fmla="*/ 440537 w 3503192"/>
              <a:gd name="connsiteY10442" fmla="*/ 1451943 h 5818346"/>
              <a:gd name="connsiteX10443" fmla="*/ 436325 w 3503192"/>
              <a:gd name="connsiteY10443" fmla="*/ 1456155 h 5818346"/>
              <a:gd name="connsiteX10444" fmla="*/ 443180 w 3503192"/>
              <a:gd name="connsiteY10444" fmla="*/ 1463011 h 5818346"/>
              <a:gd name="connsiteX10445" fmla="*/ 438389 w 3503192"/>
              <a:gd name="connsiteY10445" fmla="*/ 1467802 h 5818346"/>
              <a:gd name="connsiteX10446" fmla="*/ 445492 w 3503192"/>
              <a:gd name="connsiteY10446" fmla="*/ 1474904 h 5818346"/>
              <a:gd name="connsiteX10447" fmla="*/ 440371 w 3503192"/>
              <a:gd name="connsiteY10447" fmla="*/ 1480025 h 5818346"/>
              <a:gd name="connsiteX10448" fmla="*/ 448962 w 3503192"/>
              <a:gd name="connsiteY10448" fmla="*/ 1488614 h 5818346"/>
              <a:gd name="connsiteX10449" fmla="*/ 438224 w 3503192"/>
              <a:gd name="connsiteY10449" fmla="*/ 1499352 h 5818346"/>
              <a:gd name="connsiteX10450" fmla="*/ 427487 w 3503192"/>
              <a:gd name="connsiteY10450" fmla="*/ 1488614 h 5818346"/>
              <a:gd name="connsiteX10451" fmla="*/ 432607 w 3503192"/>
              <a:gd name="connsiteY10451" fmla="*/ 1483495 h 5818346"/>
              <a:gd name="connsiteX10452" fmla="*/ 424019 w 3503192"/>
              <a:gd name="connsiteY10452" fmla="*/ 1474904 h 5818346"/>
              <a:gd name="connsiteX10453" fmla="*/ 428809 w 3503192"/>
              <a:gd name="connsiteY10453" fmla="*/ 1470114 h 5818346"/>
              <a:gd name="connsiteX10454" fmla="*/ 421707 w 3503192"/>
              <a:gd name="connsiteY10454" fmla="*/ 1463011 h 5818346"/>
              <a:gd name="connsiteX10455" fmla="*/ 425918 w 3503192"/>
              <a:gd name="connsiteY10455" fmla="*/ 1458800 h 5818346"/>
              <a:gd name="connsiteX10456" fmla="*/ 419065 w 3503192"/>
              <a:gd name="connsiteY10456" fmla="*/ 1451943 h 5818346"/>
              <a:gd name="connsiteX10457" fmla="*/ 422614 w 3503192"/>
              <a:gd name="connsiteY10457" fmla="*/ 1448393 h 5818346"/>
              <a:gd name="connsiteX10458" fmla="*/ 415430 w 3503192"/>
              <a:gd name="connsiteY10458" fmla="*/ 1441207 h 5818346"/>
              <a:gd name="connsiteX10459" fmla="*/ 418237 w 3503192"/>
              <a:gd name="connsiteY10459" fmla="*/ 1438399 h 5818346"/>
              <a:gd name="connsiteX10460" fmla="*/ 409814 w 3503192"/>
              <a:gd name="connsiteY10460" fmla="*/ 1429974 h 5818346"/>
              <a:gd name="connsiteX10461" fmla="*/ 420551 w 3503192"/>
              <a:gd name="connsiteY10461" fmla="*/ 1419238 h 5818346"/>
              <a:gd name="connsiteX10462" fmla="*/ 412291 w 3503192"/>
              <a:gd name="connsiteY10462" fmla="*/ 1417587 h 5818346"/>
              <a:gd name="connsiteX10463" fmla="*/ 412456 w 3503192"/>
              <a:gd name="connsiteY10463" fmla="*/ 1417752 h 5818346"/>
              <a:gd name="connsiteX10464" fmla="*/ 412291 w 3503192"/>
              <a:gd name="connsiteY10464" fmla="*/ 1417918 h 5818346"/>
              <a:gd name="connsiteX10465" fmla="*/ 412126 w 3503192"/>
              <a:gd name="connsiteY10465" fmla="*/ 1417752 h 5818346"/>
              <a:gd name="connsiteX10466" fmla="*/ 412291 w 3503192"/>
              <a:gd name="connsiteY10466" fmla="*/ 1417587 h 5818346"/>
              <a:gd name="connsiteX10467" fmla="*/ 510905 w 3503192"/>
              <a:gd name="connsiteY10467" fmla="*/ 1415274 h 5818346"/>
              <a:gd name="connsiteX10468" fmla="*/ 521642 w 3503192"/>
              <a:gd name="connsiteY10468" fmla="*/ 1426010 h 5818346"/>
              <a:gd name="connsiteX10469" fmla="*/ 510905 w 3503192"/>
              <a:gd name="connsiteY10469" fmla="*/ 1436748 h 5818346"/>
              <a:gd name="connsiteX10470" fmla="*/ 500169 w 3503192"/>
              <a:gd name="connsiteY10470" fmla="*/ 1426010 h 5818346"/>
              <a:gd name="connsiteX10471" fmla="*/ 510905 w 3503192"/>
              <a:gd name="connsiteY10471" fmla="*/ 1415274 h 5818346"/>
              <a:gd name="connsiteX10472" fmla="*/ 1948477 w 3503192"/>
              <a:gd name="connsiteY10472" fmla="*/ 1415109 h 5818346"/>
              <a:gd name="connsiteX10473" fmla="*/ 1959215 w 3503192"/>
              <a:gd name="connsiteY10473" fmla="*/ 1425845 h 5818346"/>
              <a:gd name="connsiteX10474" fmla="*/ 1948477 w 3503192"/>
              <a:gd name="connsiteY10474" fmla="*/ 1436581 h 5818346"/>
              <a:gd name="connsiteX10475" fmla="*/ 1937741 w 3503192"/>
              <a:gd name="connsiteY10475" fmla="*/ 1425845 h 5818346"/>
              <a:gd name="connsiteX10476" fmla="*/ 1948477 w 3503192"/>
              <a:gd name="connsiteY10476" fmla="*/ 1415109 h 5818346"/>
              <a:gd name="connsiteX10477" fmla="*/ 603076 w 3503192"/>
              <a:gd name="connsiteY10477" fmla="*/ 1414944 h 5818346"/>
              <a:gd name="connsiteX10478" fmla="*/ 613812 w 3503192"/>
              <a:gd name="connsiteY10478" fmla="*/ 1425681 h 5818346"/>
              <a:gd name="connsiteX10479" fmla="*/ 603076 w 3503192"/>
              <a:gd name="connsiteY10479" fmla="*/ 1436417 h 5818346"/>
              <a:gd name="connsiteX10480" fmla="*/ 592339 w 3503192"/>
              <a:gd name="connsiteY10480" fmla="*/ 1425681 h 5818346"/>
              <a:gd name="connsiteX10481" fmla="*/ 603076 w 3503192"/>
              <a:gd name="connsiteY10481" fmla="*/ 1414944 h 5818346"/>
              <a:gd name="connsiteX10482" fmla="*/ 1040807 w 3503192"/>
              <a:gd name="connsiteY10482" fmla="*/ 1406519 h 5818346"/>
              <a:gd name="connsiteX10483" fmla="*/ 1051543 w 3503192"/>
              <a:gd name="connsiteY10483" fmla="*/ 1417256 h 5818346"/>
              <a:gd name="connsiteX10484" fmla="*/ 1040807 w 3503192"/>
              <a:gd name="connsiteY10484" fmla="*/ 1427994 h 5818346"/>
              <a:gd name="connsiteX10485" fmla="*/ 1030071 w 3503192"/>
              <a:gd name="connsiteY10485" fmla="*/ 1417256 h 5818346"/>
              <a:gd name="connsiteX10486" fmla="*/ 1040807 w 3503192"/>
              <a:gd name="connsiteY10486" fmla="*/ 1406519 h 5818346"/>
              <a:gd name="connsiteX10487" fmla="*/ 707306 w 3503192"/>
              <a:gd name="connsiteY10487" fmla="*/ 1401894 h 5818346"/>
              <a:gd name="connsiteX10488" fmla="*/ 718044 w 3503192"/>
              <a:gd name="connsiteY10488" fmla="*/ 1412631 h 5818346"/>
              <a:gd name="connsiteX10489" fmla="*/ 707306 w 3503192"/>
              <a:gd name="connsiteY10489" fmla="*/ 1423369 h 5818346"/>
              <a:gd name="connsiteX10490" fmla="*/ 696569 w 3503192"/>
              <a:gd name="connsiteY10490" fmla="*/ 1412631 h 5818346"/>
              <a:gd name="connsiteX10491" fmla="*/ 707306 w 3503192"/>
              <a:gd name="connsiteY10491" fmla="*/ 1401894 h 5818346"/>
              <a:gd name="connsiteX10492" fmla="*/ 850022 w 3503192"/>
              <a:gd name="connsiteY10492" fmla="*/ 1397930 h 5818346"/>
              <a:gd name="connsiteX10493" fmla="*/ 860758 w 3503192"/>
              <a:gd name="connsiteY10493" fmla="*/ 1408666 h 5818346"/>
              <a:gd name="connsiteX10494" fmla="*/ 850022 w 3503192"/>
              <a:gd name="connsiteY10494" fmla="*/ 1419403 h 5818346"/>
              <a:gd name="connsiteX10495" fmla="*/ 839286 w 3503192"/>
              <a:gd name="connsiteY10495" fmla="*/ 1408666 h 5818346"/>
              <a:gd name="connsiteX10496" fmla="*/ 850022 w 3503192"/>
              <a:gd name="connsiteY10496" fmla="*/ 1397930 h 5818346"/>
              <a:gd name="connsiteX10497" fmla="*/ 1425018 w 3503192"/>
              <a:gd name="connsiteY10497" fmla="*/ 1392809 h 5818346"/>
              <a:gd name="connsiteX10498" fmla="*/ 1435754 w 3503192"/>
              <a:gd name="connsiteY10498" fmla="*/ 1403545 h 5818346"/>
              <a:gd name="connsiteX10499" fmla="*/ 1425018 w 3503192"/>
              <a:gd name="connsiteY10499" fmla="*/ 1414283 h 5818346"/>
              <a:gd name="connsiteX10500" fmla="*/ 1414282 w 3503192"/>
              <a:gd name="connsiteY10500" fmla="*/ 1403545 h 5818346"/>
              <a:gd name="connsiteX10501" fmla="*/ 1425018 w 3503192"/>
              <a:gd name="connsiteY10501" fmla="*/ 1392809 h 5818346"/>
              <a:gd name="connsiteX10502" fmla="*/ 572186 w 3503192"/>
              <a:gd name="connsiteY10502" fmla="*/ 1391652 h 5818346"/>
              <a:gd name="connsiteX10503" fmla="*/ 582923 w 3503192"/>
              <a:gd name="connsiteY10503" fmla="*/ 1402389 h 5818346"/>
              <a:gd name="connsiteX10504" fmla="*/ 572186 w 3503192"/>
              <a:gd name="connsiteY10504" fmla="*/ 1413127 h 5818346"/>
              <a:gd name="connsiteX10505" fmla="*/ 561450 w 3503192"/>
              <a:gd name="connsiteY10505" fmla="*/ 1402389 h 5818346"/>
              <a:gd name="connsiteX10506" fmla="*/ 572186 w 3503192"/>
              <a:gd name="connsiteY10506" fmla="*/ 1391652 h 5818346"/>
              <a:gd name="connsiteX10507" fmla="*/ 2133480 w 3503192"/>
              <a:gd name="connsiteY10507" fmla="*/ 1387523 h 5818346"/>
              <a:gd name="connsiteX10508" fmla="*/ 2144218 w 3503192"/>
              <a:gd name="connsiteY10508" fmla="*/ 1398260 h 5818346"/>
              <a:gd name="connsiteX10509" fmla="*/ 2133480 w 3503192"/>
              <a:gd name="connsiteY10509" fmla="*/ 1408998 h 5818346"/>
              <a:gd name="connsiteX10510" fmla="*/ 2122744 w 3503192"/>
              <a:gd name="connsiteY10510" fmla="*/ 1398260 h 5818346"/>
              <a:gd name="connsiteX10511" fmla="*/ 2133480 w 3503192"/>
              <a:gd name="connsiteY10511" fmla="*/ 1387523 h 5818346"/>
              <a:gd name="connsiteX10512" fmla="*/ 436902 w 3503192"/>
              <a:gd name="connsiteY10512" fmla="*/ 1381247 h 5818346"/>
              <a:gd name="connsiteX10513" fmla="*/ 445823 w 3503192"/>
              <a:gd name="connsiteY10513" fmla="*/ 1390168 h 5818346"/>
              <a:gd name="connsiteX10514" fmla="*/ 445492 w 3503192"/>
              <a:gd name="connsiteY10514" fmla="*/ 1390499 h 5818346"/>
              <a:gd name="connsiteX10515" fmla="*/ 455403 w 3503192"/>
              <a:gd name="connsiteY10515" fmla="*/ 1400408 h 5818346"/>
              <a:gd name="connsiteX10516" fmla="*/ 453420 w 3503192"/>
              <a:gd name="connsiteY10516" fmla="*/ 1402390 h 5818346"/>
              <a:gd name="connsiteX10517" fmla="*/ 460855 w 3503192"/>
              <a:gd name="connsiteY10517" fmla="*/ 1409823 h 5818346"/>
              <a:gd name="connsiteX10518" fmla="*/ 458377 w 3503192"/>
              <a:gd name="connsiteY10518" fmla="*/ 1412301 h 5818346"/>
              <a:gd name="connsiteX10519" fmla="*/ 464819 w 3503192"/>
              <a:gd name="connsiteY10519" fmla="*/ 1418742 h 5818346"/>
              <a:gd name="connsiteX10520" fmla="*/ 461845 w 3503192"/>
              <a:gd name="connsiteY10520" fmla="*/ 1421716 h 5818346"/>
              <a:gd name="connsiteX10521" fmla="*/ 468289 w 3503192"/>
              <a:gd name="connsiteY10521" fmla="*/ 1428159 h 5818346"/>
              <a:gd name="connsiteX10522" fmla="*/ 465067 w 3503192"/>
              <a:gd name="connsiteY10522" fmla="*/ 1431381 h 5818346"/>
              <a:gd name="connsiteX10523" fmla="*/ 472252 w 3503192"/>
              <a:gd name="connsiteY10523" fmla="*/ 1438564 h 5818346"/>
              <a:gd name="connsiteX10524" fmla="*/ 468865 w 3503192"/>
              <a:gd name="connsiteY10524" fmla="*/ 1441951 h 5818346"/>
              <a:gd name="connsiteX10525" fmla="*/ 477869 w 3503192"/>
              <a:gd name="connsiteY10525" fmla="*/ 1450953 h 5818346"/>
              <a:gd name="connsiteX10526" fmla="*/ 467131 w 3503192"/>
              <a:gd name="connsiteY10526" fmla="*/ 1461691 h 5818346"/>
              <a:gd name="connsiteX10527" fmla="*/ 456395 w 3503192"/>
              <a:gd name="connsiteY10527" fmla="*/ 1450953 h 5818346"/>
              <a:gd name="connsiteX10528" fmla="*/ 459780 w 3503192"/>
              <a:gd name="connsiteY10528" fmla="*/ 1447568 h 5818346"/>
              <a:gd name="connsiteX10529" fmla="*/ 450779 w 3503192"/>
              <a:gd name="connsiteY10529" fmla="*/ 1438564 h 5818346"/>
              <a:gd name="connsiteX10530" fmla="*/ 454000 w 3503192"/>
              <a:gd name="connsiteY10530" fmla="*/ 1435343 h 5818346"/>
              <a:gd name="connsiteX10531" fmla="*/ 446815 w 3503192"/>
              <a:gd name="connsiteY10531" fmla="*/ 1428159 h 5818346"/>
              <a:gd name="connsiteX10532" fmla="*/ 449789 w 3503192"/>
              <a:gd name="connsiteY10532" fmla="*/ 1425184 h 5818346"/>
              <a:gd name="connsiteX10533" fmla="*/ 443347 w 3503192"/>
              <a:gd name="connsiteY10533" fmla="*/ 1418742 h 5818346"/>
              <a:gd name="connsiteX10534" fmla="*/ 445823 w 3503192"/>
              <a:gd name="connsiteY10534" fmla="*/ 1416265 h 5818346"/>
              <a:gd name="connsiteX10535" fmla="*/ 439382 w 3503192"/>
              <a:gd name="connsiteY10535" fmla="*/ 1409823 h 5818346"/>
              <a:gd name="connsiteX10536" fmla="*/ 441363 w 3503192"/>
              <a:gd name="connsiteY10536" fmla="*/ 1407843 h 5818346"/>
              <a:gd name="connsiteX10537" fmla="*/ 433930 w 3503192"/>
              <a:gd name="connsiteY10537" fmla="*/ 1400408 h 5818346"/>
              <a:gd name="connsiteX10538" fmla="*/ 436077 w 3503192"/>
              <a:gd name="connsiteY10538" fmla="*/ 1398261 h 5818346"/>
              <a:gd name="connsiteX10539" fmla="*/ 427983 w 3503192"/>
              <a:gd name="connsiteY10539" fmla="*/ 1390168 h 5818346"/>
              <a:gd name="connsiteX10540" fmla="*/ 436902 w 3503192"/>
              <a:gd name="connsiteY10540" fmla="*/ 1381247 h 5818346"/>
              <a:gd name="connsiteX10541" fmla="*/ 549722 w 3503192"/>
              <a:gd name="connsiteY10541" fmla="*/ 1373979 h 5818346"/>
              <a:gd name="connsiteX10542" fmla="*/ 560458 w 3503192"/>
              <a:gd name="connsiteY10542" fmla="*/ 1384715 h 5818346"/>
              <a:gd name="connsiteX10543" fmla="*/ 549722 w 3503192"/>
              <a:gd name="connsiteY10543" fmla="*/ 1395454 h 5818346"/>
              <a:gd name="connsiteX10544" fmla="*/ 538985 w 3503192"/>
              <a:gd name="connsiteY10544" fmla="*/ 1384715 h 5818346"/>
              <a:gd name="connsiteX10545" fmla="*/ 549722 w 3503192"/>
              <a:gd name="connsiteY10545" fmla="*/ 1373979 h 5818346"/>
              <a:gd name="connsiteX10546" fmla="*/ 658247 w 3503192"/>
              <a:gd name="connsiteY10546" fmla="*/ 1371336 h 5818346"/>
              <a:gd name="connsiteX10547" fmla="*/ 668985 w 3503192"/>
              <a:gd name="connsiteY10547" fmla="*/ 1382073 h 5818346"/>
              <a:gd name="connsiteX10548" fmla="*/ 658247 w 3503192"/>
              <a:gd name="connsiteY10548" fmla="*/ 1392811 h 5818346"/>
              <a:gd name="connsiteX10549" fmla="*/ 647511 w 3503192"/>
              <a:gd name="connsiteY10549" fmla="*/ 1382073 h 5818346"/>
              <a:gd name="connsiteX10550" fmla="*/ 658247 w 3503192"/>
              <a:gd name="connsiteY10550" fmla="*/ 1371336 h 5818346"/>
              <a:gd name="connsiteX10551" fmla="*/ 2327568 w 3503192"/>
              <a:gd name="connsiteY10551" fmla="*/ 1364894 h 5818346"/>
              <a:gd name="connsiteX10552" fmla="*/ 2338306 w 3503192"/>
              <a:gd name="connsiteY10552" fmla="*/ 1375630 h 5818346"/>
              <a:gd name="connsiteX10553" fmla="*/ 2327568 w 3503192"/>
              <a:gd name="connsiteY10553" fmla="*/ 1386366 h 5818346"/>
              <a:gd name="connsiteX10554" fmla="*/ 2316832 w 3503192"/>
              <a:gd name="connsiteY10554" fmla="*/ 1375630 h 5818346"/>
              <a:gd name="connsiteX10555" fmla="*/ 2327568 w 3503192"/>
              <a:gd name="connsiteY10555" fmla="*/ 1364894 h 5818346"/>
              <a:gd name="connsiteX10556" fmla="*/ 1149825 w 3503192"/>
              <a:gd name="connsiteY10556" fmla="*/ 1363902 h 5818346"/>
              <a:gd name="connsiteX10557" fmla="*/ 1160563 w 3503192"/>
              <a:gd name="connsiteY10557" fmla="*/ 1374638 h 5818346"/>
              <a:gd name="connsiteX10558" fmla="*/ 1149825 w 3503192"/>
              <a:gd name="connsiteY10558" fmla="*/ 1385376 h 5818346"/>
              <a:gd name="connsiteX10559" fmla="*/ 1139088 w 3503192"/>
              <a:gd name="connsiteY10559" fmla="*/ 1374638 h 5818346"/>
              <a:gd name="connsiteX10560" fmla="*/ 1149825 w 3503192"/>
              <a:gd name="connsiteY10560" fmla="*/ 1363902 h 5818346"/>
              <a:gd name="connsiteX10561" fmla="*/ 777011 w 3503192"/>
              <a:gd name="connsiteY10561" fmla="*/ 1357790 h 5818346"/>
              <a:gd name="connsiteX10562" fmla="*/ 787748 w 3503192"/>
              <a:gd name="connsiteY10562" fmla="*/ 1368527 h 5818346"/>
              <a:gd name="connsiteX10563" fmla="*/ 777011 w 3503192"/>
              <a:gd name="connsiteY10563" fmla="*/ 1379263 h 5818346"/>
              <a:gd name="connsiteX10564" fmla="*/ 766275 w 3503192"/>
              <a:gd name="connsiteY10564" fmla="*/ 1368527 h 5818346"/>
              <a:gd name="connsiteX10565" fmla="*/ 777011 w 3503192"/>
              <a:gd name="connsiteY10565" fmla="*/ 1357790 h 5818346"/>
              <a:gd name="connsiteX10566" fmla="*/ 3358135 w 3503192"/>
              <a:gd name="connsiteY10566" fmla="*/ 1356304 h 5818346"/>
              <a:gd name="connsiteX10567" fmla="*/ 3368873 w 3503192"/>
              <a:gd name="connsiteY10567" fmla="*/ 1367041 h 5818346"/>
              <a:gd name="connsiteX10568" fmla="*/ 3358135 w 3503192"/>
              <a:gd name="connsiteY10568" fmla="*/ 1377779 h 5818346"/>
              <a:gd name="connsiteX10569" fmla="*/ 3347399 w 3503192"/>
              <a:gd name="connsiteY10569" fmla="*/ 1367041 h 5818346"/>
              <a:gd name="connsiteX10570" fmla="*/ 3358135 w 3503192"/>
              <a:gd name="connsiteY10570" fmla="*/ 1356304 h 5818346"/>
              <a:gd name="connsiteX10571" fmla="*/ 1570048 w 3503192"/>
              <a:gd name="connsiteY10571" fmla="*/ 1354487 h 5818346"/>
              <a:gd name="connsiteX10572" fmla="*/ 1580784 w 3503192"/>
              <a:gd name="connsiteY10572" fmla="*/ 1365223 h 5818346"/>
              <a:gd name="connsiteX10573" fmla="*/ 1570048 w 3503192"/>
              <a:gd name="connsiteY10573" fmla="*/ 1375961 h 5818346"/>
              <a:gd name="connsiteX10574" fmla="*/ 1559312 w 3503192"/>
              <a:gd name="connsiteY10574" fmla="*/ 1365223 h 5818346"/>
              <a:gd name="connsiteX10575" fmla="*/ 1570048 w 3503192"/>
              <a:gd name="connsiteY10575" fmla="*/ 1354487 h 5818346"/>
              <a:gd name="connsiteX10576" fmla="*/ 937403 w 3503192"/>
              <a:gd name="connsiteY10576" fmla="*/ 1353991 h 5818346"/>
              <a:gd name="connsiteX10577" fmla="*/ 948141 w 3503192"/>
              <a:gd name="connsiteY10577" fmla="*/ 1364727 h 5818346"/>
              <a:gd name="connsiteX10578" fmla="*/ 937403 w 3503192"/>
              <a:gd name="connsiteY10578" fmla="*/ 1375465 h 5818346"/>
              <a:gd name="connsiteX10579" fmla="*/ 926666 w 3503192"/>
              <a:gd name="connsiteY10579" fmla="*/ 1364727 h 5818346"/>
              <a:gd name="connsiteX10580" fmla="*/ 937403 w 3503192"/>
              <a:gd name="connsiteY10580" fmla="*/ 1353991 h 5818346"/>
              <a:gd name="connsiteX10581" fmla="*/ 462010 w 3503192"/>
              <a:gd name="connsiteY10581" fmla="*/ 1350523 h 5818346"/>
              <a:gd name="connsiteX10582" fmla="*/ 472748 w 3503192"/>
              <a:gd name="connsiteY10582" fmla="*/ 1361259 h 5818346"/>
              <a:gd name="connsiteX10583" fmla="*/ 472334 w 3503192"/>
              <a:gd name="connsiteY10583" fmla="*/ 1361673 h 5818346"/>
              <a:gd name="connsiteX10584" fmla="*/ 480181 w 3503192"/>
              <a:gd name="connsiteY10584" fmla="*/ 1369519 h 5818346"/>
              <a:gd name="connsiteX10585" fmla="*/ 479272 w 3503192"/>
              <a:gd name="connsiteY10585" fmla="*/ 1370428 h 5818346"/>
              <a:gd name="connsiteX10586" fmla="*/ 485796 w 3503192"/>
              <a:gd name="connsiteY10586" fmla="*/ 1376951 h 5818346"/>
              <a:gd name="connsiteX10587" fmla="*/ 484558 w 3503192"/>
              <a:gd name="connsiteY10587" fmla="*/ 1378192 h 5818346"/>
              <a:gd name="connsiteX10588" fmla="*/ 490588 w 3503192"/>
              <a:gd name="connsiteY10588" fmla="*/ 1384220 h 5818346"/>
              <a:gd name="connsiteX10589" fmla="*/ 489100 w 3503192"/>
              <a:gd name="connsiteY10589" fmla="*/ 1385707 h 5818346"/>
              <a:gd name="connsiteX10590" fmla="*/ 495377 w 3503192"/>
              <a:gd name="connsiteY10590" fmla="*/ 1391983 h 5818346"/>
              <a:gd name="connsiteX10591" fmla="*/ 493808 w 3503192"/>
              <a:gd name="connsiteY10591" fmla="*/ 1393553 h 5818346"/>
              <a:gd name="connsiteX10592" fmla="*/ 501159 w 3503192"/>
              <a:gd name="connsiteY10592" fmla="*/ 1400902 h 5818346"/>
              <a:gd name="connsiteX10593" fmla="*/ 499836 w 3503192"/>
              <a:gd name="connsiteY10593" fmla="*/ 1402226 h 5818346"/>
              <a:gd name="connsiteX10594" fmla="*/ 509417 w 3503192"/>
              <a:gd name="connsiteY10594" fmla="*/ 1411805 h 5818346"/>
              <a:gd name="connsiteX10595" fmla="*/ 498681 w 3503192"/>
              <a:gd name="connsiteY10595" fmla="*/ 1422543 h 5818346"/>
              <a:gd name="connsiteX10596" fmla="*/ 487945 w 3503192"/>
              <a:gd name="connsiteY10596" fmla="*/ 1411805 h 5818346"/>
              <a:gd name="connsiteX10597" fmla="*/ 489266 w 3503192"/>
              <a:gd name="connsiteY10597" fmla="*/ 1410484 h 5818346"/>
              <a:gd name="connsiteX10598" fmla="*/ 479686 w 3503192"/>
              <a:gd name="connsiteY10598" fmla="*/ 1400902 h 5818346"/>
              <a:gd name="connsiteX10599" fmla="*/ 481254 w 3503192"/>
              <a:gd name="connsiteY10599" fmla="*/ 1399335 h 5818346"/>
              <a:gd name="connsiteX10600" fmla="*/ 473905 w 3503192"/>
              <a:gd name="connsiteY10600" fmla="*/ 1391983 h 5818346"/>
              <a:gd name="connsiteX10601" fmla="*/ 475389 w 3503192"/>
              <a:gd name="connsiteY10601" fmla="*/ 1390499 h 5818346"/>
              <a:gd name="connsiteX10602" fmla="*/ 469113 w 3503192"/>
              <a:gd name="connsiteY10602" fmla="*/ 1384220 h 5818346"/>
              <a:gd name="connsiteX10603" fmla="*/ 470351 w 3503192"/>
              <a:gd name="connsiteY10603" fmla="*/ 1382981 h 5818346"/>
              <a:gd name="connsiteX10604" fmla="*/ 464323 w 3503192"/>
              <a:gd name="connsiteY10604" fmla="*/ 1376951 h 5818346"/>
              <a:gd name="connsiteX10605" fmla="*/ 465230 w 3503192"/>
              <a:gd name="connsiteY10605" fmla="*/ 1376045 h 5818346"/>
              <a:gd name="connsiteX10606" fmla="*/ 458708 w 3503192"/>
              <a:gd name="connsiteY10606" fmla="*/ 1369519 h 5818346"/>
              <a:gd name="connsiteX10607" fmla="*/ 459119 w 3503192"/>
              <a:gd name="connsiteY10607" fmla="*/ 1369108 h 5818346"/>
              <a:gd name="connsiteX10608" fmla="*/ 451274 w 3503192"/>
              <a:gd name="connsiteY10608" fmla="*/ 1361259 h 5818346"/>
              <a:gd name="connsiteX10609" fmla="*/ 462010 w 3503192"/>
              <a:gd name="connsiteY10609" fmla="*/ 1350523 h 5818346"/>
              <a:gd name="connsiteX10610" fmla="*/ 2529419 w 3503192"/>
              <a:gd name="connsiteY10610" fmla="*/ 1348376 h 5818346"/>
              <a:gd name="connsiteX10611" fmla="*/ 2540157 w 3503192"/>
              <a:gd name="connsiteY10611" fmla="*/ 1359112 h 5818346"/>
              <a:gd name="connsiteX10612" fmla="*/ 2529419 w 3503192"/>
              <a:gd name="connsiteY10612" fmla="*/ 1369848 h 5818346"/>
              <a:gd name="connsiteX10613" fmla="*/ 2518683 w 3503192"/>
              <a:gd name="connsiteY10613" fmla="*/ 1359112 h 5818346"/>
              <a:gd name="connsiteX10614" fmla="*/ 2529419 w 3503192"/>
              <a:gd name="connsiteY10614" fmla="*/ 1348376 h 5818346"/>
              <a:gd name="connsiteX10615" fmla="*/ 620584 w 3503192"/>
              <a:gd name="connsiteY10615" fmla="*/ 1348376 h 5818346"/>
              <a:gd name="connsiteX10616" fmla="*/ 631322 w 3503192"/>
              <a:gd name="connsiteY10616" fmla="*/ 1359112 h 5818346"/>
              <a:gd name="connsiteX10617" fmla="*/ 620584 w 3503192"/>
              <a:gd name="connsiteY10617" fmla="*/ 1369848 h 5818346"/>
              <a:gd name="connsiteX10618" fmla="*/ 609848 w 3503192"/>
              <a:gd name="connsiteY10618" fmla="*/ 1359112 h 5818346"/>
              <a:gd name="connsiteX10619" fmla="*/ 620584 w 3503192"/>
              <a:gd name="connsiteY10619" fmla="*/ 1348376 h 5818346"/>
              <a:gd name="connsiteX10620" fmla="*/ 3153640 w 3503192"/>
              <a:gd name="connsiteY10620" fmla="*/ 1342925 h 5818346"/>
              <a:gd name="connsiteX10621" fmla="*/ 3164378 w 3503192"/>
              <a:gd name="connsiteY10621" fmla="*/ 1353661 h 5818346"/>
              <a:gd name="connsiteX10622" fmla="*/ 3153640 w 3503192"/>
              <a:gd name="connsiteY10622" fmla="*/ 1364398 h 5818346"/>
              <a:gd name="connsiteX10623" fmla="*/ 3142903 w 3503192"/>
              <a:gd name="connsiteY10623" fmla="*/ 1353661 h 5818346"/>
              <a:gd name="connsiteX10624" fmla="*/ 3153640 w 3503192"/>
              <a:gd name="connsiteY10624" fmla="*/ 1342925 h 5818346"/>
              <a:gd name="connsiteX10625" fmla="*/ 2736228 w 3503192"/>
              <a:gd name="connsiteY10625" fmla="*/ 1338796 h 5818346"/>
              <a:gd name="connsiteX10626" fmla="*/ 2746966 w 3503192"/>
              <a:gd name="connsiteY10626" fmla="*/ 1349532 h 5818346"/>
              <a:gd name="connsiteX10627" fmla="*/ 2736228 w 3503192"/>
              <a:gd name="connsiteY10627" fmla="*/ 1360269 h 5818346"/>
              <a:gd name="connsiteX10628" fmla="*/ 2725492 w 3503192"/>
              <a:gd name="connsiteY10628" fmla="*/ 1349532 h 5818346"/>
              <a:gd name="connsiteX10629" fmla="*/ 2736228 w 3503192"/>
              <a:gd name="connsiteY10629" fmla="*/ 1338796 h 5818346"/>
              <a:gd name="connsiteX10630" fmla="*/ 2945346 w 3503192"/>
              <a:gd name="connsiteY10630" fmla="*/ 1336979 h 5818346"/>
              <a:gd name="connsiteX10631" fmla="*/ 2956084 w 3503192"/>
              <a:gd name="connsiteY10631" fmla="*/ 1347715 h 5818346"/>
              <a:gd name="connsiteX10632" fmla="*/ 2945346 w 3503192"/>
              <a:gd name="connsiteY10632" fmla="*/ 1358453 h 5818346"/>
              <a:gd name="connsiteX10633" fmla="*/ 2934610 w 3503192"/>
              <a:gd name="connsiteY10633" fmla="*/ 1347715 h 5818346"/>
              <a:gd name="connsiteX10634" fmla="*/ 2945346 w 3503192"/>
              <a:gd name="connsiteY10634" fmla="*/ 1336979 h 5818346"/>
              <a:gd name="connsiteX10635" fmla="*/ 592339 w 3503192"/>
              <a:gd name="connsiteY10635" fmla="*/ 1331526 h 5818346"/>
              <a:gd name="connsiteX10636" fmla="*/ 603076 w 3503192"/>
              <a:gd name="connsiteY10636" fmla="*/ 1342263 h 5818346"/>
              <a:gd name="connsiteX10637" fmla="*/ 592339 w 3503192"/>
              <a:gd name="connsiteY10637" fmla="*/ 1353001 h 5818346"/>
              <a:gd name="connsiteX10638" fmla="*/ 581603 w 3503192"/>
              <a:gd name="connsiteY10638" fmla="*/ 1342263 h 5818346"/>
              <a:gd name="connsiteX10639" fmla="*/ 592339 w 3503192"/>
              <a:gd name="connsiteY10639" fmla="*/ 1331526 h 5818346"/>
              <a:gd name="connsiteX10640" fmla="*/ 719198 w 3503192"/>
              <a:gd name="connsiteY10640" fmla="*/ 1327068 h 5818346"/>
              <a:gd name="connsiteX10641" fmla="*/ 729935 w 3503192"/>
              <a:gd name="connsiteY10641" fmla="*/ 1337804 h 5818346"/>
              <a:gd name="connsiteX10642" fmla="*/ 719198 w 3503192"/>
              <a:gd name="connsiteY10642" fmla="*/ 1348540 h 5818346"/>
              <a:gd name="connsiteX10643" fmla="*/ 708462 w 3503192"/>
              <a:gd name="connsiteY10643" fmla="*/ 1337804 h 5818346"/>
              <a:gd name="connsiteX10644" fmla="*/ 719198 w 3503192"/>
              <a:gd name="connsiteY10644" fmla="*/ 1327068 h 5818346"/>
              <a:gd name="connsiteX10645" fmla="*/ 1268426 w 3503192"/>
              <a:gd name="connsiteY10645" fmla="*/ 1321782 h 5818346"/>
              <a:gd name="connsiteX10646" fmla="*/ 1279164 w 3503192"/>
              <a:gd name="connsiteY10646" fmla="*/ 1332518 h 5818346"/>
              <a:gd name="connsiteX10647" fmla="*/ 1268426 w 3503192"/>
              <a:gd name="connsiteY10647" fmla="*/ 1343254 h 5818346"/>
              <a:gd name="connsiteX10648" fmla="*/ 1257690 w 3503192"/>
              <a:gd name="connsiteY10648" fmla="*/ 1332518 h 5818346"/>
              <a:gd name="connsiteX10649" fmla="*/ 1268426 w 3503192"/>
              <a:gd name="connsiteY10649" fmla="*/ 1321782 h 5818346"/>
              <a:gd name="connsiteX10650" fmla="*/ 571526 w 3503192"/>
              <a:gd name="connsiteY10650" fmla="*/ 1319304 h 5818346"/>
              <a:gd name="connsiteX10651" fmla="*/ 582262 w 3503192"/>
              <a:gd name="connsiteY10651" fmla="*/ 1330040 h 5818346"/>
              <a:gd name="connsiteX10652" fmla="*/ 571526 w 3503192"/>
              <a:gd name="connsiteY10652" fmla="*/ 1340778 h 5818346"/>
              <a:gd name="connsiteX10653" fmla="*/ 560789 w 3503192"/>
              <a:gd name="connsiteY10653" fmla="*/ 1330040 h 5818346"/>
              <a:gd name="connsiteX10654" fmla="*/ 571526 w 3503192"/>
              <a:gd name="connsiteY10654" fmla="*/ 1319304 h 5818346"/>
              <a:gd name="connsiteX10655" fmla="*/ 1725648 w 3503192"/>
              <a:gd name="connsiteY10655" fmla="*/ 1318147 h 5818346"/>
              <a:gd name="connsiteX10656" fmla="*/ 1736386 w 3503192"/>
              <a:gd name="connsiteY10656" fmla="*/ 1328883 h 5818346"/>
              <a:gd name="connsiteX10657" fmla="*/ 1725648 w 3503192"/>
              <a:gd name="connsiteY10657" fmla="*/ 1339620 h 5818346"/>
              <a:gd name="connsiteX10658" fmla="*/ 1714911 w 3503192"/>
              <a:gd name="connsiteY10658" fmla="*/ 1328883 h 5818346"/>
              <a:gd name="connsiteX10659" fmla="*/ 1725648 w 3503192"/>
              <a:gd name="connsiteY10659" fmla="*/ 1318147 h 5818346"/>
              <a:gd name="connsiteX10660" fmla="*/ 478200 w 3503192"/>
              <a:gd name="connsiteY10660" fmla="*/ 1315671 h 5818346"/>
              <a:gd name="connsiteX10661" fmla="*/ 485300 w 3503192"/>
              <a:gd name="connsiteY10661" fmla="*/ 1322772 h 5818346"/>
              <a:gd name="connsiteX10662" fmla="*/ 487778 w 3503192"/>
              <a:gd name="connsiteY10662" fmla="*/ 1320294 h 5818346"/>
              <a:gd name="connsiteX10663" fmla="*/ 494635 w 3503192"/>
              <a:gd name="connsiteY10663" fmla="*/ 1327149 h 5818346"/>
              <a:gd name="connsiteX10664" fmla="*/ 495213 w 3503192"/>
              <a:gd name="connsiteY10664" fmla="*/ 1326572 h 5818346"/>
              <a:gd name="connsiteX10665" fmla="*/ 501157 w 3503192"/>
              <a:gd name="connsiteY10665" fmla="*/ 1332518 h 5818346"/>
              <a:gd name="connsiteX10666" fmla="*/ 501489 w 3503192"/>
              <a:gd name="connsiteY10666" fmla="*/ 1332187 h 5818346"/>
              <a:gd name="connsiteX10667" fmla="*/ 507106 w 3503192"/>
              <a:gd name="connsiteY10667" fmla="*/ 1337804 h 5818346"/>
              <a:gd name="connsiteX10668" fmla="*/ 507270 w 3503192"/>
              <a:gd name="connsiteY10668" fmla="*/ 1337639 h 5818346"/>
              <a:gd name="connsiteX10669" fmla="*/ 513465 w 3503192"/>
              <a:gd name="connsiteY10669" fmla="*/ 1343834 h 5818346"/>
              <a:gd name="connsiteX10670" fmla="*/ 513713 w 3503192"/>
              <a:gd name="connsiteY10670" fmla="*/ 1343586 h 5818346"/>
              <a:gd name="connsiteX10671" fmla="*/ 521558 w 3503192"/>
              <a:gd name="connsiteY10671" fmla="*/ 1351431 h 5818346"/>
              <a:gd name="connsiteX10672" fmla="*/ 521971 w 3503192"/>
              <a:gd name="connsiteY10672" fmla="*/ 1351019 h 5818346"/>
              <a:gd name="connsiteX10673" fmla="*/ 532624 w 3503192"/>
              <a:gd name="connsiteY10673" fmla="*/ 1361673 h 5818346"/>
              <a:gd name="connsiteX10674" fmla="*/ 533368 w 3503192"/>
              <a:gd name="connsiteY10674" fmla="*/ 1360929 h 5818346"/>
              <a:gd name="connsiteX10675" fmla="*/ 544105 w 3503192"/>
              <a:gd name="connsiteY10675" fmla="*/ 1371666 h 5818346"/>
              <a:gd name="connsiteX10676" fmla="*/ 533368 w 3503192"/>
              <a:gd name="connsiteY10676" fmla="*/ 1382404 h 5818346"/>
              <a:gd name="connsiteX10677" fmla="*/ 522715 w 3503192"/>
              <a:gd name="connsiteY10677" fmla="*/ 1371749 h 5818346"/>
              <a:gd name="connsiteX10678" fmla="*/ 521971 w 3503192"/>
              <a:gd name="connsiteY10678" fmla="*/ 1372493 h 5818346"/>
              <a:gd name="connsiteX10679" fmla="*/ 514126 w 3503192"/>
              <a:gd name="connsiteY10679" fmla="*/ 1364646 h 5818346"/>
              <a:gd name="connsiteX10680" fmla="*/ 513713 w 3503192"/>
              <a:gd name="connsiteY10680" fmla="*/ 1365059 h 5818346"/>
              <a:gd name="connsiteX10681" fmla="*/ 507518 w 3503192"/>
              <a:gd name="connsiteY10681" fmla="*/ 1358864 h 5818346"/>
              <a:gd name="connsiteX10682" fmla="*/ 507270 w 3503192"/>
              <a:gd name="connsiteY10682" fmla="*/ 1359112 h 5818346"/>
              <a:gd name="connsiteX10683" fmla="*/ 501653 w 3503192"/>
              <a:gd name="connsiteY10683" fmla="*/ 1353497 h 5818346"/>
              <a:gd name="connsiteX10684" fmla="*/ 501489 w 3503192"/>
              <a:gd name="connsiteY10684" fmla="*/ 1353661 h 5818346"/>
              <a:gd name="connsiteX10685" fmla="*/ 495542 w 3503192"/>
              <a:gd name="connsiteY10685" fmla="*/ 1347715 h 5818346"/>
              <a:gd name="connsiteX10686" fmla="*/ 495213 w 3503192"/>
              <a:gd name="connsiteY10686" fmla="*/ 1348044 h 5818346"/>
              <a:gd name="connsiteX10687" fmla="*/ 488357 w 3503192"/>
              <a:gd name="connsiteY10687" fmla="*/ 1341189 h 5818346"/>
              <a:gd name="connsiteX10688" fmla="*/ 487778 w 3503192"/>
              <a:gd name="connsiteY10688" fmla="*/ 1341768 h 5818346"/>
              <a:gd name="connsiteX10689" fmla="*/ 477042 w 3503192"/>
              <a:gd name="connsiteY10689" fmla="*/ 1331030 h 5818346"/>
              <a:gd name="connsiteX10690" fmla="*/ 477536 w 3503192"/>
              <a:gd name="connsiteY10690" fmla="*/ 1330536 h 5818346"/>
              <a:gd name="connsiteX10691" fmla="*/ 470436 w 3503192"/>
              <a:gd name="connsiteY10691" fmla="*/ 1323434 h 5818346"/>
              <a:gd name="connsiteX10692" fmla="*/ 478200 w 3503192"/>
              <a:gd name="connsiteY10692" fmla="*/ 1315671 h 5818346"/>
              <a:gd name="connsiteX10693" fmla="*/ 853490 w 3503192"/>
              <a:gd name="connsiteY10693" fmla="*/ 1313028 h 5818346"/>
              <a:gd name="connsiteX10694" fmla="*/ 864227 w 3503192"/>
              <a:gd name="connsiteY10694" fmla="*/ 1323764 h 5818346"/>
              <a:gd name="connsiteX10695" fmla="*/ 853490 w 3503192"/>
              <a:gd name="connsiteY10695" fmla="*/ 1334500 h 5818346"/>
              <a:gd name="connsiteX10696" fmla="*/ 842754 w 3503192"/>
              <a:gd name="connsiteY10696" fmla="*/ 1323764 h 5818346"/>
              <a:gd name="connsiteX10697" fmla="*/ 853490 w 3503192"/>
              <a:gd name="connsiteY10697" fmla="*/ 1313028 h 5818346"/>
              <a:gd name="connsiteX10698" fmla="*/ 1033208 w 3503192"/>
              <a:gd name="connsiteY10698" fmla="*/ 1309722 h 5818346"/>
              <a:gd name="connsiteX10699" fmla="*/ 1043944 w 3503192"/>
              <a:gd name="connsiteY10699" fmla="*/ 1320459 h 5818346"/>
              <a:gd name="connsiteX10700" fmla="*/ 1033208 w 3503192"/>
              <a:gd name="connsiteY10700" fmla="*/ 1331197 h 5818346"/>
              <a:gd name="connsiteX10701" fmla="*/ 1022471 w 3503192"/>
              <a:gd name="connsiteY10701" fmla="*/ 1320459 h 5818346"/>
              <a:gd name="connsiteX10702" fmla="*/ 1033208 w 3503192"/>
              <a:gd name="connsiteY10702" fmla="*/ 1309722 h 5818346"/>
              <a:gd name="connsiteX10703" fmla="*/ 674103 w 3503192"/>
              <a:gd name="connsiteY10703" fmla="*/ 1304272 h 5818346"/>
              <a:gd name="connsiteX10704" fmla="*/ 684839 w 3503192"/>
              <a:gd name="connsiteY10704" fmla="*/ 1315008 h 5818346"/>
              <a:gd name="connsiteX10705" fmla="*/ 674103 w 3503192"/>
              <a:gd name="connsiteY10705" fmla="*/ 1325746 h 5818346"/>
              <a:gd name="connsiteX10706" fmla="*/ 663366 w 3503192"/>
              <a:gd name="connsiteY10706" fmla="*/ 1315008 h 5818346"/>
              <a:gd name="connsiteX10707" fmla="*/ 674103 w 3503192"/>
              <a:gd name="connsiteY10707" fmla="*/ 1304272 h 5818346"/>
              <a:gd name="connsiteX10708" fmla="*/ 639416 w 3503192"/>
              <a:gd name="connsiteY10708" fmla="*/ 1287918 h 5818346"/>
              <a:gd name="connsiteX10709" fmla="*/ 650152 w 3503192"/>
              <a:gd name="connsiteY10709" fmla="*/ 1298655 h 5818346"/>
              <a:gd name="connsiteX10710" fmla="*/ 639416 w 3503192"/>
              <a:gd name="connsiteY10710" fmla="*/ 1309393 h 5818346"/>
              <a:gd name="connsiteX10711" fmla="*/ 628679 w 3503192"/>
              <a:gd name="connsiteY10711" fmla="*/ 1298655 h 5818346"/>
              <a:gd name="connsiteX10712" fmla="*/ 639416 w 3503192"/>
              <a:gd name="connsiteY10712" fmla="*/ 1287918 h 5818346"/>
              <a:gd name="connsiteX10713" fmla="*/ 1891490 w 3503192"/>
              <a:gd name="connsiteY10713" fmla="*/ 1284781 h 5818346"/>
              <a:gd name="connsiteX10714" fmla="*/ 1902228 w 3503192"/>
              <a:gd name="connsiteY10714" fmla="*/ 1295518 h 5818346"/>
              <a:gd name="connsiteX10715" fmla="*/ 1891490 w 3503192"/>
              <a:gd name="connsiteY10715" fmla="*/ 1306256 h 5818346"/>
              <a:gd name="connsiteX10716" fmla="*/ 1880754 w 3503192"/>
              <a:gd name="connsiteY10716" fmla="*/ 1295518 h 5818346"/>
              <a:gd name="connsiteX10717" fmla="*/ 1891490 w 3503192"/>
              <a:gd name="connsiteY10717" fmla="*/ 1284781 h 5818346"/>
              <a:gd name="connsiteX10718" fmla="*/ 504959 w 3503192"/>
              <a:gd name="connsiteY10718" fmla="*/ 1283295 h 5818346"/>
              <a:gd name="connsiteX10719" fmla="*/ 512473 w 3503192"/>
              <a:gd name="connsiteY10719" fmla="*/ 1290811 h 5818346"/>
              <a:gd name="connsiteX10720" fmla="*/ 514538 w 3503192"/>
              <a:gd name="connsiteY10720" fmla="*/ 1288746 h 5818346"/>
              <a:gd name="connsiteX10721" fmla="*/ 520566 w 3503192"/>
              <a:gd name="connsiteY10721" fmla="*/ 1294775 h 5818346"/>
              <a:gd name="connsiteX10722" fmla="*/ 522302 w 3503192"/>
              <a:gd name="connsiteY10722" fmla="*/ 1293039 h 5818346"/>
              <a:gd name="connsiteX10723" fmla="*/ 527671 w 3503192"/>
              <a:gd name="connsiteY10723" fmla="*/ 1298407 h 5818346"/>
              <a:gd name="connsiteX10724" fmla="*/ 529404 w 3503192"/>
              <a:gd name="connsiteY10724" fmla="*/ 1296674 h 5818346"/>
              <a:gd name="connsiteX10725" fmla="*/ 534773 w 3503192"/>
              <a:gd name="connsiteY10725" fmla="*/ 1302043 h 5818346"/>
              <a:gd name="connsiteX10726" fmla="*/ 536507 w 3503192"/>
              <a:gd name="connsiteY10726" fmla="*/ 1300307 h 5818346"/>
              <a:gd name="connsiteX10727" fmla="*/ 543033 w 3503192"/>
              <a:gd name="connsiteY10727" fmla="*/ 1306831 h 5818346"/>
              <a:gd name="connsiteX10728" fmla="*/ 545097 w 3503192"/>
              <a:gd name="connsiteY10728" fmla="*/ 1304768 h 5818346"/>
              <a:gd name="connsiteX10729" fmla="*/ 553686 w 3503192"/>
              <a:gd name="connsiteY10729" fmla="*/ 1313357 h 5818346"/>
              <a:gd name="connsiteX10730" fmla="*/ 556329 w 3503192"/>
              <a:gd name="connsiteY10730" fmla="*/ 1310714 h 5818346"/>
              <a:gd name="connsiteX10731" fmla="*/ 567067 w 3503192"/>
              <a:gd name="connsiteY10731" fmla="*/ 1321451 h 5818346"/>
              <a:gd name="connsiteX10732" fmla="*/ 556329 w 3503192"/>
              <a:gd name="connsiteY10732" fmla="*/ 1332189 h 5818346"/>
              <a:gd name="connsiteX10733" fmla="*/ 547740 w 3503192"/>
              <a:gd name="connsiteY10733" fmla="*/ 1323598 h 5818346"/>
              <a:gd name="connsiteX10734" fmla="*/ 545097 w 3503192"/>
              <a:gd name="connsiteY10734" fmla="*/ 1326240 h 5818346"/>
              <a:gd name="connsiteX10735" fmla="*/ 538573 w 3503192"/>
              <a:gd name="connsiteY10735" fmla="*/ 1319717 h 5818346"/>
              <a:gd name="connsiteX10736" fmla="*/ 536507 w 3503192"/>
              <a:gd name="connsiteY10736" fmla="*/ 1321782 h 5818346"/>
              <a:gd name="connsiteX10737" fmla="*/ 531140 w 3503192"/>
              <a:gd name="connsiteY10737" fmla="*/ 1316413 h 5818346"/>
              <a:gd name="connsiteX10738" fmla="*/ 529404 w 3503192"/>
              <a:gd name="connsiteY10738" fmla="*/ 1318149 h 5818346"/>
              <a:gd name="connsiteX10739" fmla="*/ 524037 w 3503192"/>
              <a:gd name="connsiteY10739" fmla="*/ 1312781 h 5818346"/>
              <a:gd name="connsiteX10740" fmla="*/ 522302 w 3503192"/>
              <a:gd name="connsiteY10740" fmla="*/ 1314514 h 5818346"/>
              <a:gd name="connsiteX10741" fmla="*/ 516273 w 3503192"/>
              <a:gd name="connsiteY10741" fmla="*/ 1308484 h 5818346"/>
              <a:gd name="connsiteX10742" fmla="*/ 514538 w 3503192"/>
              <a:gd name="connsiteY10742" fmla="*/ 1310218 h 5818346"/>
              <a:gd name="connsiteX10743" fmla="*/ 507024 w 3503192"/>
              <a:gd name="connsiteY10743" fmla="*/ 1302704 h 5818346"/>
              <a:gd name="connsiteX10744" fmla="*/ 504959 w 3503192"/>
              <a:gd name="connsiteY10744" fmla="*/ 1304769 h 5818346"/>
              <a:gd name="connsiteX10745" fmla="*/ 494222 w 3503192"/>
              <a:gd name="connsiteY10745" fmla="*/ 1294031 h 5818346"/>
              <a:gd name="connsiteX10746" fmla="*/ 504959 w 3503192"/>
              <a:gd name="connsiteY10746" fmla="*/ 1283295 h 5818346"/>
              <a:gd name="connsiteX10747" fmla="*/ 786096 w 3503192"/>
              <a:gd name="connsiteY10747" fmla="*/ 1281972 h 5818346"/>
              <a:gd name="connsiteX10748" fmla="*/ 796835 w 3503192"/>
              <a:gd name="connsiteY10748" fmla="*/ 1292708 h 5818346"/>
              <a:gd name="connsiteX10749" fmla="*/ 786096 w 3503192"/>
              <a:gd name="connsiteY10749" fmla="*/ 1303446 h 5818346"/>
              <a:gd name="connsiteX10750" fmla="*/ 775360 w 3503192"/>
              <a:gd name="connsiteY10750" fmla="*/ 1292708 h 5818346"/>
              <a:gd name="connsiteX10751" fmla="*/ 786096 w 3503192"/>
              <a:gd name="connsiteY10751" fmla="*/ 1281972 h 5818346"/>
              <a:gd name="connsiteX10752" fmla="*/ 1396607 w 3503192"/>
              <a:gd name="connsiteY10752" fmla="*/ 1280486 h 5818346"/>
              <a:gd name="connsiteX10753" fmla="*/ 1407343 w 3503192"/>
              <a:gd name="connsiteY10753" fmla="*/ 1291222 h 5818346"/>
              <a:gd name="connsiteX10754" fmla="*/ 1396607 w 3503192"/>
              <a:gd name="connsiteY10754" fmla="*/ 1301958 h 5818346"/>
              <a:gd name="connsiteX10755" fmla="*/ 1385870 w 3503192"/>
              <a:gd name="connsiteY10755" fmla="*/ 1291222 h 5818346"/>
              <a:gd name="connsiteX10756" fmla="*/ 1396607 w 3503192"/>
              <a:gd name="connsiteY10756" fmla="*/ 1280486 h 5818346"/>
              <a:gd name="connsiteX10757" fmla="*/ 613316 w 3503192"/>
              <a:gd name="connsiteY10757" fmla="*/ 1276686 h 5818346"/>
              <a:gd name="connsiteX10758" fmla="*/ 624052 w 3503192"/>
              <a:gd name="connsiteY10758" fmla="*/ 1287422 h 5818346"/>
              <a:gd name="connsiteX10759" fmla="*/ 613316 w 3503192"/>
              <a:gd name="connsiteY10759" fmla="*/ 1298161 h 5818346"/>
              <a:gd name="connsiteX10760" fmla="*/ 602580 w 3503192"/>
              <a:gd name="connsiteY10760" fmla="*/ 1287422 h 5818346"/>
              <a:gd name="connsiteX10761" fmla="*/ 613316 w 3503192"/>
              <a:gd name="connsiteY10761" fmla="*/ 1276686 h 5818346"/>
              <a:gd name="connsiteX10762" fmla="*/ 937403 w 3503192"/>
              <a:gd name="connsiteY10762" fmla="*/ 1267767 h 5818346"/>
              <a:gd name="connsiteX10763" fmla="*/ 948141 w 3503192"/>
              <a:gd name="connsiteY10763" fmla="*/ 1278504 h 5818346"/>
              <a:gd name="connsiteX10764" fmla="*/ 937403 w 3503192"/>
              <a:gd name="connsiteY10764" fmla="*/ 1289242 h 5818346"/>
              <a:gd name="connsiteX10765" fmla="*/ 926666 w 3503192"/>
              <a:gd name="connsiteY10765" fmla="*/ 1278504 h 5818346"/>
              <a:gd name="connsiteX10766" fmla="*/ 937403 w 3503192"/>
              <a:gd name="connsiteY10766" fmla="*/ 1267767 h 5818346"/>
              <a:gd name="connsiteX10767" fmla="*/ 1137438 w 3503192"/>
              <a:gd name="connsiteY10767" fmla="*/ 1265620 h 5818346"/>
              <a:gd name="connsiteX10768" fmla="*/ 1148176 w 3503192"/>
              <a:gd name="connsiteY10768" fmla="*/ 1276357 h 5818346"/>
              <a:gd name="connsiteX10769" fmla="*/ 1137438 w 3503192"/>
              <a:gd name="connsiteY10769" fmla="*/ 1287095 h 5818346"/>
              <a:gd name="connsiteX10770" fmla="*/ 1126701 w 3503192"/>
              <a:gd name="connsiteY10770" fmla="*/ 1276357 h 5818346"/>
              <a:gd name="connsiteX10771" fmla="*/ 1137438 w 3503192"/>
              <a:gd name="connsiteY10771" fmla="*/ 1265620 h 5818346"/>
              <a:gd name="connsiteX10772" fmla="*/ 732909 w 3503192"/>
              <a:gd name="connsiteY10772" fmla="*/ 1259342 h 5818346"/>
              <a:gd name="connsiteX10773" fmla="*/ 743645 w 3503192"/>
              <a:gd name="connsiteY10773" fmla="*/ 1270079 h 5818346"/>
              <a:gd name="connsiteX10774" fmla="*/ 732909 w 3503192"/>
              <a:gd name="connsiteY10774" fmla="*/ 1280815 h 5818346"/>
              <a:gd name="connsiteX10775" fmla="*/ 722173 w 3503192"/>
              <a:gd name="connsiteY10775" fmla="*/ 1270079 h 5818346"/>
              <a:gd name="connsiteX10776" fmla="*/ 732909 w 3503192"/>
              <a:gd name="connsiteY10776" fmla="*/ 1259342 h 5818346"/>
              <a:gd name="connsiteX10777" fmla="*/ 2067408 w 3503192"/>
              <a:gd name="connsiteY10777" fmla="*/ 1255049 h 5818346"/>
              <a:gd name="connsiteX10778" fmla="*/ 2078144 w 3503192"/>
              <a:gd name="connsiteY10778" fmla="*/ 1265785 h 5818346"/>
              <a:gd name="connsiteX10779" fmla="*/ 2067408 w 3503192"/>
              <a:gd name="connsiteY10779" fmla="*/ 1276521 h 5818346"/>
              <a:gd name="connsiteX10780" fmla="*/ 2056671 w 3503192"/>
              <a:gd name="connsiteY10780" fmla="*/ 1265785 h 5818346"/>
              <a:gd name="connsiteX10781" fmla="*/ 2067408 w 3503192"/>
              <a:gd name="connsiteY10781" fmla="*/ 1255049 h 5818346"/>
              <a:gd name="connsiteX10782" fmla="*/ 520983 w 3503192"/>
              <a:gd name="connsiteY10782" fmla="*/ 1251910 h 5818346"/>
              <a:gd name="connsiteX10783" fmla="*/ 527092 w 3503192"/>
              <a:gd name="connsiteY10783" fmla="*/ 1258021 h 5818346"/>
              <a:gd name="connsiteX10784" fmla="*/ 532543 w 3503192"/>
              <a:gd name="connsiteY10784" fmla="*/ 1252570 h 5818346"/>
              <a:gd name="connsiteX10785" fmla="*/ 538985 w 3503192"/>
              <a:gd name="connsiteY10785" fmla="*/ 1259013 h 5818346"/>
              <a:gd name="connsiteX10786" fmla="*/ 542124 w 3503192"/>
              <a:gd name="connsiteY10786" fmla="*/ 1255874 h 5818346"/>
              <a:gd name="connsiteX10787" fmla="*/ 547576 w 3503192"/>
              <a:gd name="connsiteY10787" fmla="*/ 1261325 h 5818346"/>
              <a:gd name="connsiteX10788" fmla="*/ 550714 w 3503192"/>
              <a:gd name="connsiteY10788" fmla="*/ 1258188 h 5818346"/>
              <a:gd name="connsiteX10789" fmla="*/ 555751 w 3503192"/>
              <a:gd name="connsiteY10789" fmla="*/ 1263225 h 5818346"/>
              <a:gd name="connsiteX10790" fmla="*/ 558972 w 3503192"/>
              <a:gd name="connsiteY10790" fmla="*/ 1260003 h 5818346"/>
              <a:gd name="connsiteX10791" fmla="*/ 564424 w 3503192"/>
              <a:gd name="connsiteY10791" fmla="*/ 1265454 h 5818346"/>
              <a:gd name="connsiteX10792" fmla="*/ 568057 w 3503192"/>
              <a:gd name="connsiteY10792" fmla="*/ 1261821 h 5818346"/>
              <a:gd name="connsiteX10793" fmla="*/ 575077 w 3503192"/>
              <a:gd name="connsiteY10793" fmla="*/ 1268841 h 5818346"/>
              <a:gd name="connsiteX10794" fmla="*/ 579290 w 3503192"/>
              <a:gd name="connsiteY10794" fmla="*/ 1264628 h 5818346"/>
              <a:gd name="connsiteX10795" fmla="*/ 588871 w 3503192"/>
              <a:gd name="connsiteY10795" fmla="*/ 1274208 h 5818346"/>
              <a:gd name="connsiteX10796" fmla="*/ 593826 w 3503192"/>
              <a:gd name="connsiteY10796" fmla="*/ 1269253 h 5818346"/>
              <a:gd name="connsiteX10797" fmla="*/ 604562 w 3503192"/>
              <a:gd name="connsiteY10797" fmla="*/ 1279990 h 5818346"/>
              <a:gd name="connsiteX10798" fmla="*/ 593826 w 3503192"/>
              <a:gd name="connsiteY10798" fmla="*/ 1290726 h 5818346"/>
              <a:gd name="connsiteX10799" fmla="*/ 584246 w 3503192"/>
              <a:gd name="connsiteY10799" fmla="*/ 1281146 h 5818346"/>
              <a:gd name="connsiteX10800" fmla="*/ 579290 w 3503192"/>
              <a:gd name="connsiteY10800" fmla="*/ 1286101 h 5818346"/>
              <a:gd name="connsiteX10801" fmla="*/ 572270 w 3503192"/>
              <a:gd name="connsiteY10801" fmla="*/ 1279083 h 5818346"/>
              <a:gd name="connsiteX10802" fmla="*/ 568057 w 3503192"/>
              <a:gd name="connsiteY10802" fmla="*/ 1283295 h 5818346"/>
              <a:gd name="connsiteX10803" fmla="*/ 562607 w 3503192"/>
              <a:gd name="connsiteY10803" fmla="*/ 1277843 h 5818346"/>
              <a:gd name="connsiteX10804" fmla="*/ 558972 w 3503192"/>
              <a:gd name="connsiteY10804" fmla="*/ 1281478 h 5818346"/>
              <a:gd name="connsiteX10805" fmla="*/ 553934 w 3503192"/>
              <a:gd name="connsiteY10805" fmla="*/ 1276440 h 5818346"/>
              <a:gd name="connsiteX10806" fmla="*/ 550714 w 3503192"/>
              <a:gd name="connsiteY10806" fmla="*/ 1279660 h 5818346"/>
              <a:gd name="connsiteX10807" fmla="*/ 545263 w 3503192"/>
              <a:gd name="connsiteY10807" fmla="*/ 1274210 h 5818346"/>
              <a:gd name="connsiteX10808" fmla="*/ 542124 w 3503192"/>
              <a:gd name="connsiteY10808" fmla="*/ 1277348 h 5818346"/>
              <a:gd name="connsiteX10809" fmla="*/ 535682 w 3503192"/>
              <a:gd name="connsiteY10809" fmla="*/ 1270906 h 5818346"/>
              <a:gd name="connsiteX10810" fmla="*/ 532543 w 3503192"/>
              <a:gd name="connsiteY10810" fmla="*/ 1274045 h 5818346"/>
              <a:gd name="connsiteX10811" fmla="*/ 521973 w 3503192"/>
              <a:gd name="connsiteY10811" fmla="*/ 1263473 h 5818346"/>
              <a:gd name="connsiteX10812" fmla="*/ 520983 w 3503192"/>
              <a:gd name="connsiteY10812" fmla="*/ 1264464 h 5818346"/>
              <a:gd name="connsiteX10813" fmla="*/ 514705 w 3503192"/>
              <a:gd name="connsiteY10813" fmla="*/ 1258188 h 5818346"/>
              <a:gd name="connsiteX10814" fmla="*/ 520983 w 3503192"/>
              <a:gd name="connsiteY10814" fmla="*/ 1251910 h 5818346"/>
              <a:gd name="connsiteX10815" fmla="*/ 691283 w 3503192"/>
              <a:gd name="connsiteY10815" fmla="*/ 1243320 h 5818346"/>
              <a:gd name="connsiteX10816" fmla="*/ 702020 w 3503192"/>
              <a:gd name="connsiteY10816" fmla="*/ 1254057 h 5818346"/>
              <a:gd name="connsiteX10817" fmla="*/ 691283 w 3503192"/>
              <a:gd name="connsiteY10817" fmla="*/ 1264793 h 5818346"/>
              <a:gd name="connsiteX10818" fmla="*/ 680547 w 3503192"/>
              <a:gd name="connsiteY10818" fmla="*/ 1254057 h 5818346"/>
              <a:gd name="connsiteX10819" fmla="*/ 691283 w 3503192"/>
              <a:gd name="connsiteY10819" fmla="*/ 1243320 h 5818346"/>
              <a:gd name="connsiteX10820" fmla="*/ 1534863 w 3503192"/>
              <a:gd name="connsiteY10820" fmla="*/ 1240513 h 5818346"/>
              <a:gd name="connsiteX10821" fmla="*/ 1545601 w 3503192"/>
              <a:gd name="connsiteY10821" fmla="*/ 1251249 h 5818346"/>
              <a:gd name="connsiteX10822" fmla="*/ 1534863 w 3503192"/>
              <a:gd name="connsiteY10822" fmla="*/ 1261987 h 5818346"/>
              <a:gd name="connsiteX10823" fmla="*/ 1524127 w 3503192"/>
              <a:gd name="connsiteY10823" fmla="*/ 1251249 h 5818346"/>
              <a:gd name="connsiteX10824" fmla="*/ 1534863 w 3503192"/>
              <a:gd name="connsiteY10824" fmla="*/ 1240513 h 5818346"/>
              <a:gd name="connsiteX10825" fmla="*/ 859768 w 3503192"/>
              <a:gd name="connsiteY10825" fmla="*/ 1236217 h 5818346"/>
              <a:gd name="connsiteX10826" fmla="*/ 870505 w 3503192"/>
              <a:gd name="connsiteY10826" fmla="*/ 1246953 h 5818346"/>
              <a:gd name="connsiteX10827" fmla="*/ 859768 w 3503192"/>
              <a:gd name="connsiteY10827" fmla="*/ 1257690 h 5818346"/>
              <a:gd name="connsiteX10828" fmla="*/ 849032 w 3503192"/>
              <a:gd name="connsiteY10828" fmla="*/ 1246953 h 5818346"/>
              <a:gd name="connsiteX10829" fmla="*/ 859768 w 3503192"/>
              <a:gd name="connsiteY10829" fmla="*/ 1236217 h 5818346"/>
              <a:gd name="connsiteX10830" fmla="*/ 659402 w 3503192"/>
              <a:gd name="connsiteY10830" fmla="*/ 1232913 h 5818346"/>
              <a:gd name="connsiteX10831" fmla="*/ 670138 w 3503192"/>
              <a:gd name="connsiteY10831" fmla="*/ 1243650 h 5818346"/>
              <a:gd name="connsiteX10832" fmla="*/ 659402 w 3503192"/>
              <a:gd name="connsiteY10832" fmla="*/ 1254388 h 5818346"/>
              <a:gd name="connsiteX10833" fmla="*/ 648666 w 3503192"/>
              <a:gd name="connsiteY10833" fmla="*/ 1243650 h 5818346"/>
              <a:gd name="connsiteX10834" fmla="*/ 659402 w 3503192"/>
              <a:gd name="connsiteY10834" fmla="*/ 1232913 h 5818346"/>
              <a:gd name="connsiteX10835" fmla="*/ 2251914 w 3503192"/>
              <a:gd name="connsiteY10835" fmla="*/ 1230106 h 5818346"/>
              <a:gd name="connsiteX10836" fmla="*/ 2262653 w 3503192"/>
              <a:gd name="connsiteY10836" fmla="*/ 1240842 h 5818346"/>
              <a:gd name="connsiteX10837" fmla="*/ 2251914 w 3503192"/>
              <a:gd name="connsiteY10837" fmla="*/ 1251580 h 5818346"/>
              <a:gd name="connsiteX10838" fmla="*/ 2241178 w 3503192"/>
              <a:gd name="connsiteY10838" fmla="*/ 1240842 h 5818346"/>
              <a:gd name="connsiteX10839" fmla="*/ 2251914 w 3503192"/>
              <a:gd name="connsiteY10839" fmla="*/ 1230106 h 5818346"/>
              <a:gd name="connsiteX10840" fmla="*/ 634955 w 3503192"/>
              <a:gd name="connsiteY10840" fmla="*/ 1226471 h 5818346"/>
              <a:gd name="connsiteX10841" fmla="*/ 645692 w 3503192"/>
              <a:gd name="connsiteY10841" fmla="*/ 1237207 h 5818346"/>
              <a:gd name="connsiteX10842" fmla="*/ 634955 w 3503192"/>
              <a:gd name="connsiteY10842" fmla="*/ 1247945 h 5818346"/>
              <a:gd name="connsiteX10843" fmla="*/ 624219 w 3503192"/>
              <a:gd name="connsiteY10843" fmla="*/ 1237207 h 5818346"/>
              <a:gd name="connsiteX10844" fmla="*/ 634955 w 3503192"/>
              <a:gd name="connsiteY10844" fmla="*/ 1226471 h 5818346"/>
              <a:gd name="connsiteX10845" fmla="*/ 1029079 w 3503192"/>
              <a:gd name="connsiteY10845" fmla="*/ 1222508 h 5818346"/>
              <a:gd name="connsiteX10846" fmla="*/ 1039815 w 3503192"/>
              <a:gd name="connsiteY10846" fmla="*/ 1233245 h 5818346"/>
              <a:gd name="connsiteX10847" fmla="*/ 1029079 w 3503192"/>
              <a:gd name="connsiteY10847" fmla="*/ 1243983 h 5818346"/>
              <a:gd name="connsiteX10848" fmla="*/ 1018342 w 3503192"/>
              <a:gd name="connsiteY10848" fmla="*/ 1233245 h 5818346"/>
              <a:gd name="connsiteX10849" fmla="*/ 1029079 w 3503192"/>
              <a:gd name="connsiteY10849" fmla="*/ 1222508 h 5818346"/>
              <a:gd name="connsiteX10850" fmla="*/ 1250751 w 3503192"/>
              <a:gd name="connsiteY10850" fmla="*/ 1222012 h 5818346"/>
              <a:gd name="connsiteX10851" fmla="*/ 1261489 w 3503192"/>
              <a:gd name="connsiteY10851" fmla="*/ 1232749 h 5818346"/>
              <a:gd name="connsiteX10852" fmla="*/ 1250751 w 3503192"/>
              <a:gd name="connsiteY10852" fmla="*/ 1243485 h 5818346"/>
              <a:gd name="connsiteX10853" fmla="*/ 1240015 w 3503192"/>
              <a:gd name="connsiteY10853" fmla="*/ 1232749 h 5818346"/>
              <a:gd name="connsiteX10854" fmla="*/ 1250751 w 3503192"/>
              <a:gd name="connsiteY10854" fmla="*/ 1222012 h 5818346"/>
              <a:gd name="connsiteX10855" fmla="*/ 3438248 w 3503192"/>
              <a:gd name="connsiteY10855" fmla="*/ 1220360 h 5818346"/>
              <a:gd name="connsiteX10856" fmla="*/ 3448986 w 3503192"/>
              <a:gd name="connsiteY10856" fmla="*/ 1231096 h 5818346"/>
              <a:gd name="connsiteX10857" fmla="*/ 3438248 w 3503192"/>
              <a:gd name="connsiteY10857" fmla="*/ 1241832 h 5818346"/>
              <a:gd name="connsiteX10858" fmla="*/ 3427511 w 3503192"/>
              <a:gd name="connsiteY10858" fmla="*/ 1231096 h 5818346"/>
              <a:gd name="connsiteX10859" fmla="*/ 3438248 w 3503192"/>
              <a:gd name="connsiteY10859" fmla="*/ 1220360 h 5818346"/>
              <a:gd name="connsiteX10860" fmla="*/ 549392 w 3503192"/>
              <a:gd name="connsiteY10860" fmla="*/ 1217717 h 5818346"/>
              <a:gd name="connsiteX10861" fmla="*/ 556577 w 3503192"/>
              <a:gd name="connsiteY10861" fmla="*/ 1224901 h 5818346"/>
              <a:gd name="connsiteX10862" fmla="*/ 560954 w 3503192"/>
              <a:gd name="connsiteY10862" fmla="*/ 1220524 h 5818346"/>
              <a:gd name="connsiteX10863" fmla="*/ 566736 w 3503192"/>
              <a:gd name="connsiteY10863" fmla="*/ 1226306 h 5818346"/>
              <a:gd name="connsiteX10864" fmla="*/ 571196 w 3503192"/>
              <a:gd name="connsiteY10864" fmla="*/ 1221846 h 5818346"/>
              <a:gd name="connsiteX10865" fmla="*/ 576069 w 3503192"/>
              <a:gd name="connsiteY10865" fmla="*/ 1226719 h 5818346"/>
              <a:gd name="connsiteX10866" fmla="*/ 580776 w 3503192"/>
              <a:gd name="connsiteY10866" fmla="*/ 1222012 h 5818346"/>
              <a:gd name="connsiteX10867" fmla="*/ 585649 w 3503192"/>
              <a:gd name="connsiteY10867" fmla="*/ 1226885 h 5818346"/>
              <a:gd name="connsiteX10868" fmla="*/ 590687 w 3503192"/>
              <a:gd name="connsiteY10868" fmla="*/ 1221846 h 5818346"/>
              <a:gd name="connsiteX10869" fmla="*/ 596468 w 3503192"/>
              <a:gd name="connsiteY10869" fmla="*/ 1227628 h 5818346"/>
              <a:gd name="connsiteX10870" fmla="*/ 602084 w 3503192"/>
              <a:gd name="connsiteY10870" fmla="*/ 1222012 h 5818346"/>
              <a:gd name="connsiteX10871" fmla="*/ 609929 w 3503192"/>
              <a:gd name="connsiteY10871" fmla="*/ 1229859 h 5818346"/>
              <a:gd name="connsiteX10872" fmla="*/ 616455 w 3503192"/>
              <a:gd name="connsiteY10872" fmla="*/ 1223334 h 5818346"/>
              <a:gd name="connsiteX10873" fmla="*/ 627193 w 3503192"/>
              <a:gd name="connsiteY10873" fmla="*/ 1234070 h 5818346"/>
              <a:gd name="connsiteX10874" fmla="*/ 616455 w 3503192"/>
              <a:gd name="connsiteY10874" fmla="*/ 1244807 h 5818346"/>
              <a:gd name="connsiteX10875" fmla="*/ 608608 w 3503192"/>
              <a:gd name="connsiteY10875" fmla="*/ 1236961 h 5818346"/>
              <a:gd name="connsiteX10876" fmla="*/ 602084 w 3503192"/>
              <a:gd name="connsiteY10876" fmla="*/ 1243485 h 5818346"/>
              <a:gd name="connsiteX10877" fmla="*/ 596302 w 3503192"/>
              <a:gd name="connsiteY10877" fmla="*/ 1237703 h 5818346"/>
              <a:gd name="connsiteX10878" fmla="*/ 590687 w 3503192"/>
              <a:gd name="connsiteY10878" fmla="*/ 1243320 h 5818346"/>
              <a:gd name="connsiteX10879" fmla="*/ 585814 w 3503192"/>
              <a:gd name="connsiteY10879" fmla="*/ 1238447 h 5818346"/>
              <a:gd name="connsiteX10880" fmla="*/ 580776 w 3503192"/>
              <a:gd name="connsiteY10880" fmla="*/ 1243485 h 5818346"/>
              <a:gd name="connsiteX10881" fmla="*/ 575903 w 3503192"/>
              <a:gd name="connsiteY10881" fmla="*/ 1238614 h 5818346"/>
              <a:gd name="connsiteX10882" fmla="*/ 571196 w 3503192"/>
              <a:gd name="connsiteY10882" fmla="*/ 1243320 h 5818346"/>
              <a:gd name="connsiteX10883" fmla="*/ 565414 w 3503192"/>
              <a:gd name="connsiteY10883" fmla="*/ 1237538 h 5818346"/>
              <a:gd name="connsiteX10884" fmla="*/ 560954 w 3503192"/>
              <a:gd name="connsiteY10884" fmla="*/ 1241999 h 5818346"/>
              <a:gd name="connsiteX10885" fmla="*/ 553769 w 3503192"/>
              <a:gd name="connsiteY10885" fmla="*/ 1234814 h 5818346"/>
              <a:gd name="connsiteX10886" fmla="*/ 549392 w 3503192"/>
              <a:gd name="connsiteY10886" fmla="*/ 1239191 h 5818346"/>
              <a:gd name="connsiteX10887" fmla="*/ 538656 w 3503192"/>
              <a:gd name="connsiteY10887" fmla="*/ 1228453 h 5818346"/>
              <a:gd name="connsiteX10888" fmla="*/ 549392 w 3503192"/>
              <a:gd name="connsiteY10888" fmla="*/ 1217717 h 5818346"/>
              <a:gd name="connsiteX10889" fmla="*/ 797494 w 3503192"/>
              <a:gd name="connsiteY10889" fmla="*/ 1213423 h 5818346"/>
              <a:gd name="connsiteX10890" fmla="*/ 808230 w 3503192"/>
              <a:gd name="connsiteY10890" fmla="*/ 1224159 h 5818346"/>
              <a:gd name="connsiteX10891" fmla="*/ 797494 w 3503192"/>
              <a:gd name="connsiteY10891" fmla="*/ 1234897 h 5818346"/>
              <a:gd name="connsiteX10892" fmla="*/ 786757 w 3503192"/>
              <a:gd name="connsiteY10892" fmla="*/ 1224159 h 5818346"/>
              <a:gd name="connsiteX10893" fmla="*/ 797494 w 3503192"/>
              <a:gd name="connsiteY10893" fmla="*/ 1213423 h 5818346"/>
              <a:gd name="connsiteX10894" fmla="*/ 2444021 w 3503192"/>
              <a:gd name="connsiteY10894" fmla="*/ 1210780 h 5818346"/>
              <a:gd name="connsiteX10895" fmla="*/ 2454759 w 3503192"/>
              <a:gd name="connsiteY10895" fmla="*/ 1221516 h 5818346"/>
              <a:gd name="connsiteX10896" fmla="*/ 2444021 w 3503192"/>
              <a:gd name="connsiteY10896" fmla="*/ 1232253 h 5818346"/>
              <a:gd name="connsiteX10897" fmla="*/ 2433284 w 3503192"/>
              <a:gd name="connsiteY10897" fmla="*/ 1221516 h 5818346"/>
              <a:gd name="connsiteX10898" fmla="*/ 2444021 w 3503192"/>
              <a:gd name="connsiteY10898" fmla="*/ 1210780 h 5818346"/>
              <a:gd name="connsiteX10899" fmla="*/ 3243334 w 3503192"/>
              <a:gd name="connsiteY10899" fmla="*/ 1204006 h 5818346"/>
              <a:gd name="connsiteX10900" fmla="*/ 3254072 w 3503192"/>
              <a:gd name="connsiteY10900" fmla="*/ 1214743 h 5818346"/>
              <a:gd name="connsiteX10901" fmla="*/ 3243334 w 3503192"/>
              <a:gd name="connsiteY10901" fmla="*/ 1225481 h 5818346"/>
              <a:gd name="connsiteX10902" fmla="*/ 3232597 w 3503192"/>
              <a:gd name="connsiteY10902" fmla="*/ 1214743 h 5818346"/>
              <a:gd name="connsiteX10903" fmla="*/ 3243334 w 3503192"/>
              <a:gd name="connsiteY10903" fmla="*/ 1204006 h 5818346"/>
              <a:gd name="connsiteX10904" fmla="*/ 1683030 w 3503192"/>
              <a:gd name="connsiteY10904" fmla="*/ 1202520 h 5818346"/>
              <a:gd name="connsiteX10905" fmla="*/ 1693768 w 3503192"/>
              <a:gd name="connsiteY10905" fmla="*/ 1213256 h 5818346"/>
              <a:gd name="connsiteX10906" fmla="*/ 1683030 w 3503192"/>
              <a:gd name="connsiteY10906" fmla="*/ 1223993 h 5818346"/>
              <a:gd name="connsiteX10907" fmla="*/ 1672294 w 3503192"/>
              <a:gd name="connsiteY10907" fmla="*/ 1213256 h 5818346"/>
              <a:gd name="connsiteX10908" fmla="*/ 1683030 w 3503192"/>
              <a:gd name="connsiteY10908" fmla="*/ 1202520 h 5818346"/>
              <a:gd name="connsiteX10909" fmla="*/ 2641578 w 3503192"/>
              <a:gd name="connsiteY10909" fmla="*/ 1198060 h 5818346"/>
              <a:gd name="connsiteX10910" fmla="*/ 2652316 w 3503192"/>
              <a:gd name="connsiteY10910" fmla="*/ 1208796 h 5818346"/>
              <a:gd name="connsiteX10911" fmla="*/ 2641578 w 3503192"/>
              <a:gd name="connsiteY10911" fmla="*/ 1219534 h 5818346"/>
              <a:gd name="connsiteX10912" fmla="*/ 2630841 w 3503192"/>
              <a:gd name="connsiteY10912" fmla="*/ 1208796 h 5818346"/>
              <a:gd name="connsiteX10913" fmla="*/ 2641578 w 3503192"/>
              <a:gd name="connsiteY10913" fmla="*/ 1198060 h 5818346"/>
              <a:gd name="connsiteX10914" fmla="*/ 748270 w 3503192"/>
              <a:gd name="connsiteY10914" fmla="*/ 1197895 h 5818346"/>
              <a:gd name="connsiteX10915" fmla="*/ 759007 w 3503192"/>
              <a:gd name="connsiteY10915" fmla="*/ 1208631 h 5818346"/>
              <a:gd name="connsiteX10916" fmla="*/ 748270 w 3503192"/>
              <a:gd name="connsiteY10916" fmla="*/ 1219368 h 5818346"/>
              <a:gd name="connsiteX10917" fmla="*/ 737534 w 3503192"/>
              <a:gd name="connsiteY10917" fmla="*/ 1208631 h 5818346"/>
              <a:gd name="connsiteX10918" fmla="*/ 748270 w 3503192"/>
              <a:gd name="connsiteY10918" fmla="*/ 1197895 h 5818346"/>
              <a:gd name="connsiteX10919" fmla="*/ 3043959 w 3503192"/>
              <a:gd name="connsiteY10919" fmla="*/ 1194591 h 5818346"/>
              <a:gd name="connsiteX10920" fmla="*/ 3054696 w 3503192"/>
              <a:gd name="connsiteY10920" fmla="*/ 1205328 h 5818346"/>
              <a:gd name="connsiteX10921" fmla="*/ 3043959 w 3503192"/>
              <a:gd name="connsiteY10921" fmla="*/ 1216066 h 5818346"/>
              <a:gd name="connsiteX10922" fmla="*/ 3033223 w 3503192"/>
              <a:gd name="connsiteY10922" fmla="*/ 1205328 h 5818346"/>
              <a:gd name="connsiteX10923" fmla="*/ 3043959 w 3503192"/>
              <a:gd name="connsiteY10923" fmla="*/ 1194591 h 5818346"/>
              <a:gd name="connsiteX10924" fmla="*/ 2842438 w 3503192"/>
              <a:gd name="connsiteY10924" fmla="*/ 1192609 h 5818346"/>
              <a:gd name="connsiteX10925" fmla="*/ 2853176 w 3503192"/>
              <a:gd name="connsiteY10925" fmla="*/ 1203346 h 5818346"/>
              <a:gd name="connsiteX10926" fmla="*/ 2842438 w 3503192"/>
              <a:gd name="connsiteY10926" fmla="*/ 1214082 h 5818346"/>
              <a:gd name="connsiteX10927" fmla="*/ 2831702 w 3503192"/>
              <a:gd name="connsiteY10927" fmla="*/ 1203346 h 5818346"/>
              <a:gd name="connsiteX10928" fmla="*/ 2842438 w 3503192"/>
              <a:gd name="connsiteY10928" fmla="*/ 1192609 h 5818346"/>
              <a:gd name="connsiteX10929" fmla="*/ 564754 w 3503192"/>
              <a:gd name="connsiteY10929" fmla="*/ 1190462 h 5818346"/>
              <a:gd name="connsiteX10930" fmla="*/ 568883 w 3503192"/>
              <a:gd name="connsiteY10930" fmla="*/ 1194591 h 5818346"/>
              <a:gd name="connsiteX10931" fmla="*/ 564754 w 3503192"/>
              <a:gd name="connsiteY10931" fmla="*/ 1198720 h 5818346"/>
              <a:gd name="connsiteX10932" fmla="*/ 560624 w 3503192"/>
              <a:gd name="connsiteY10932" fmla="*/ 1194591 h 5818346"/>
              <a:gd name="connsiteX10933" fmla="*/ 564754 w 3503192"/>
              <a:gd name="connsiteY10933" fmla="*/ 1190462 h 5818346"/>
              <a:gd name="connsiteX10934" fmla="*/ 940210 w 3503192"/>
              <a:gd name="connsiteY10934" fmla="*/ 1190133 h 5818346"/>
              <a:gd name="connsiteX10935" fmla="*/ 950947 w 3503192"/>
              <a:gd name="connsiteY10935" fmla="*/ 1200869 h 5818346"/>
              <a:gd name="connsiteX10936" fmla="*/ 940210 w 3503192"/>
              <a:gd name="connsiteY10936" fmla="*/ 1211606 h 5818346"/>
              <a:gd name="connsiteX10937" fmla="*/ 929474 w 3503192"/>
              <a:gd name="connsiteY10937" fmla="*/ 1200869 h 5818346"/>
              <a:gd name="connsiteX10938" fmla="*/ 940210 w 3503192"/>
              <a:gd name="connsiteY10938" fmla="*/ 1190133 h 5818346"/>
              <a:gd name="connsiteX10939" fmla="*/ 709617 w 3503192"/>
              <a:gd name="connsiteY10939" fmla="*/ 1188149 h 5818346"/>
              <a:gd name="connsiteX10940" fmla="*/ 720354 w 3503192"/>
              <a:gd name="connsiteY10940" fmla="*/ 1198885 h 5818346"/>
              <a:gd name="connsiteX10941" fmla="*/ 709617 w 3503192"/>
              <a:gd name="connsiteY10941" fmla="*/ 1209623 h 5818346"/>
              <a:gd name="connsiteX10942" fmla="*/ 698881 w 3503192"/>
              <a:gd name="connsiteY10942" fmla="*/ 1198885 h 5818346"/>
              <a:gd name="connsiteX10943" fmla="*/ 709617 w 3503192"/>
              <a:gd name="connsiteY10943" fmla="*/ 1188149 h 5818346"/>
              <a:gd name="connsiteX10944" fmla="*/ 679884 w 3503192"/>
              <a:gd name="connsiteY10944" fmla="*/ 1182863 h 5818346"/>
              <a:gd name="connsiteX10945" fmla="*/ 690623 w 3503192"/>
              <a:gd name="connsiteY10945" fmla="*/ 1193599 h 5818346"/>
              <a:gd name="connsiteX10946" fmla="*/ 679884 w 3503192"/>
              <a:gd name="connsiteY10946" fmla="*/ 1204337 h 5818346"/>
              <a:gd name="connsiteX10947" fmla="*/ 669148 w 3503192"/>
              <a:gd name="connsiteY10947" fmla="*/ 1193599 h 5818346"/>
              <a:gd name="connsiteX10948" fmla="*/ 679884 w 3503192"/>
              <a:gd name="connsiteY10948" fmla="*/ 1182863 h 5818346"/>
              <a:gd name="connsiteX10949" fmla="*/ 656759 w 3503192"/>
              <a:gd name="connsiteY10949" fmla="*/ 1180883 h 5818346"/>
              <a:gd name="connsiteX10950" fmla="*/ 667496 w 3503192"/>
              <a:gd name="connsiteY10950" fmla="*/ 1191619 h 5818346"/>
              <a:gd name="connsiteX10951" fmla="*/ 656759 w 3503192"/>
              <a:gd name="connsiteY10951" fmla="*/ 1202355 h 5818346"/>
              <a:gd name="connsiteX10952" fmla="*/ 647923 w 3503192"/>
              <a:gd name="connsiteY10952" fmla="*/ 1193520 h 5818346"/>
              <a:gd name="connsiteX10953" fmla="*/ 638920 w 3503192"/>
              <a:gd name="connsiteY10953" fmla="*/ 1202522 h 5818346"/>
              <a:gd name="connsiteX10954" fmla="*/ 632560 w 3503192"/>
              <a:gd name="connsiteY10954" fmla="*/ 1196162 h 5818346"/>
              <a:gd name="connsiteX10955" fmla="*/ 624715 w 3503192"/>
              <a:gd name="connsiteY10955" fmla="*/ 1204006 h 5818346"/>
              <a:gd name="connsiteX10956" fmla="*/ 619758 w 3503192"/>
              <a:gd name="connsiteY10956" fmla="*/ 1199052 h 5818346"/>
              <a:gd name="connsiteX10957" fmla="*/ 612655 w 3503192"/>
              <a:gd name="connsiteY10957" fmla="*/ 1206155 h 5818346"/>
              <a:gd name="connsiteX10958" fmla="*/ 607949 w 3503192"/>
              <a:gd name="connsiteY10958" fmla="*/ 1201448 h 5818346"/>
              <a:gd name="connsiteX10959" fmla="*/ 601589 w 3503192"/>
              <a:gd name="connsiteY10959" fmla="*/ 1207808 h 5818346"/>
              <a:gd name="connsiteX10960" fmla="*/ 596468 w 3503192"/>
              <a:gd name="connsiteY10960" fmla="*/ 1202687 h 5818346"/>
              <a:gd name="connsiteX10961" fmla="*/ 590522 w 3503192"/>
              <a:gd name="connsiteY10961" fmla="*/ 1208633 h 5818346"/>
              <a:gd name="connsiteX10962" fmla="*/ 584244 w 3503192"/>
              <a:gd name="connsiteY10962" fmla="*/ 1202355 h 5818346"/>
              <a:gd name="connsiteX10963" fmla="*/ 578629 w 3503192"/>
              <a:gd name="connsiteY10963" fmla="*/ 1207972 h 5818346"/>
              <a:gd name="connsiteX10964" fmla="*/ 567892 w 3503192"/>
              <a:gd name="connsiteY10964" fmla="*/ 1197234 h 5818346"/>
              <a:gd name="connsiteX10965" fmla="*/ 578629 w 3503192"/>
              <a:gd name="connsiteY10965" fmla="*/ 1186498 h 5818346"/>
              <a:gd name="connsiteX10966" fmla="*/ 584905 w 3503192"/>
              <a:gd name="connsiteY10966" fmla="*/ 1192776 h 5818346"/>
              <a:gd name="connsiteX10967" fmla="*/ 590522 w 3503192"/>
              <a:gd name="connsiteY10967" fmla="*/ 1187159 h 5818346"/>
              <a:gd name="connsiteX10968" fmla="*/ 595643 w 3503192"/>
              <a:gd name="connsiteY10968" fmla="*/ 1192280 h 5818346"/>
              <a:gd name="connsiteX10969" fmla="*/ 601589 w 3503192"/>
              <a:gd name="connsiteY10969" fmla="*/ 1186333 h 5818346"/>
              <a:gd name="connsiteX10970" fmla="*/ 606296 w 3503192"/>
              <a:gd name="connsiteY10970" fmla="*/ 1191040 h 5818346"/>
              <a:gd name="connsiteX10971" fmla="*/ 612655 w 3503192"/>
              <a:gd name="connsiteY10971" fmla="*/ 1184680 h 5818346"/>
              <a:gd name="connsiteX10972" fmla="*/ 617612 w 3503192"/>
              <a:gd name="connsiteY10972" fmla="*/ 1189637 h 5818346"/>
              <a:gd name="connsiteX10973" fmla="*/ 624715 w 3503192"/>
              <a:gd name="connsiteY10973" fmla="*/ 1182534 h 5818346"/>
              <a:gd name="connsiteX10974" fmla="*/ 631074 w 3503192"/>
              <a:gd name="connsiteY10974" fmla="*/ 1188893 h 5818346"/>
              <a:gd name="connsiteX10975" fmla="*/ 638920 w 3503192"/>
              <a:gd name="connsiteY10975" fmla="*/ 1181047 h 5818346"/>
              <a:gd name="connsiteX10976" fmla="*/ 647757 w 3503192"/>
              <a:gd name="connsiteY10976" fmla="*/ 1189885 h 5818346"/>
              <a:gd name="connsiteX10977" fmla="*/ 1372985 w 3503192"/>
              <a:gd name="connsiteY10977" fmla="*/ 1179395 h 5818346"/>
              <a:gd name="connsiteX10978" fmla="*/ 1383722 w 3503192"/>
              <a:gd name="connsiteY10978" fmla="*/ 1190131 h 5818346"/>
              <a:gd name="connsiteX10979" fmla="*/ 1372985 w 3503192"/>
              <a:gd name="connsiteY10979" fmla="*/ 1200869 h 5818346"/>
              <a:gd name="connsiteX10980" fmla="*/ 1362249 w 3503192"/>
              <a:gd name="connsiteY10980" fmla="*/ 1190131 h 5818346"/>
              <a:gd name="connsiteX10981" fmla="*/ 1372985 w 3503192"/>
              <a:gd name="connsiteY10981" fmla="*/ 1179395 h 5818346"/>
              <a:gd name="connsiteX10982" fmla="*/ 1128848 w 3503192"/>
              <a:gd name="connsiteY10982" fmla="*/ 1177248 h 5818346"/>
              <a:gd name="connsiteX10983" fmla="*/ 1139584 w 3503192"/>
              <a:gd name="connsiteY10983" fmla="*/ 1187984 h 5818346"/>
              <a:gd name="connsiteX10984" fmla="*/ 1128848 w 3503192"/>
              <a:gd name="connsiteY10984" fmla="*/ 1198720 h 5818346"/>
              <a:gd name="connsiteX10985" fmla="*/ 1118112 w 3503192"/>
              <a:gd name="connsiteY10985" fmla="*/ 1187984 h 5818346"/>
              <a:gd name="connsiteX10986" fmla="*/ 1128848 w 3503192"/>
              <a:gd name="connsiteY10986" fmla="*/ 1177248 h 5818346"/>
              <a:gd name="connsiteX10987" fmla="*/ 1840779 w 3503192"/>
              <a:gd name="connsiteY10987" fmla="*/ 1167502 h 5818346"/>
              <a:gd name="connsiteX10988" fmla="*/ 1851515 w 3503192"/>
              <a:gd name="connsiteY10988" fmla="*/ 1178238 h 5818346"/>
              <a:gd name="connsiteX10989" fmla="*/ 1840779 w 3503192"/>
              <a:gd name="connsiteY10989" fmla="*/ 1188976 h 5818346"/>
              <a:gd name="connsiteX10990" fmla="*/ 1830042 w 3503192"/>
              <a:gd name="connsiteY10990" fmla="*/ 1178238 h 5818346"/>
              <a:gd name="connsiteX10991" fmla="*/ 1840779 w 3503192"/>
              <a:gd name="connsiteY10991" fmla="*/ 1167502 h 5818346"/>
              <a:gd name="connsiteX10992" fmla="*/ 868191 w 3503192"/>
              <a:gd name="connsiteY10992" fmla="*/ 1167172 h 5818346"/>
              <a:gd name="connsiteX10993" fmla="*/ 878928 w 3503192"/>
              <a:gd name="connsiteY10993" fmla="*/ 1177909 h 5818346"/>
              <a:gd name="connsiteX10994" fmla="*/ 868191 w 3503192"/>
              <a:gd name="connsiteY10994" fmla="*/ 1188645 h 5818346"/>
              <a:gd name="connsiteX10995" fmla="*/ 857455 w 3503192"/>
              <a:gd name="connsiteY10995" fmla="*/ 1177909 h 5818346"/>
              <a:gd name="connsiteX10996" fmla="*/ 868191 w 3503192"/>
              <a:gd name="connsiteY10996" fmla="*/ 1167172 h 5818346"/>
              <a:gd name="connsiteX10997" fmla="*/ 810543 w 3503192"/>
              <a:gd name="connsiteY10997" fmla="*/ 1151811 h 5818346"/>
              <a:gd name="connsiteX10998" fmla="*/ 821281 w 3503192"/>
              <a:gd name="connsiteY10998" fmla="*/ 1162547 h 5818346"/>
              <a:gd name="connsiteX10999" fmla="*/ 810543 w 3503192"/>
              <a:gd name="connsiteY10999" fmla="*/ 1173283 h 5818346"/>
              <a:gd name="connsiteX11000" fmla="*/ 799807 w 3503192"/>
              <a:gd name="connsiteY11000" fmla="*/ 1162547 h 5818346"/>
              <a:gd name="connsiteX11001" fmla="*/ 810543 w 3503192"/>
              <a:gd name="connsiteY11001" fmla="*/ 1151811 h 5818346"/>
              <a:gd name="connsiteX11002" fmla="*/ 1028087 w 3503192"/>
              <a:gd name="connsiteY11002" fmla="*/ 1144047 h 5818346"/>
              <a:gd name="connsiteX11003" fmla="*/ 1038823 w 3503192"/>
              <a:gd name="connsiteY11003" fmla="*/ 1154783 h 5818346"/>
              <a:gd name="connsiteX11004" fmla="*/ 1028087 w 3503192"/>
              <a:gd name="connsiteY11004" fmla="*/ 1165521 h 5818346"/>
              <a:gd name="connsiteX11005" fmla="*/ 1017350 w 3503192"/>
              <a:gd name="connsiteY11005" fmla="*/ 1154783 h 5818346"/>
              <a:gd name="connsiteX11006" fmla="*/ 1028087 w 3503192"/>
              <a:gd name="connsiteY11006" fmla="*/ 1144047 h 5818346"/>
              <a:gd name="connsiteX11007" fmla="*/ 764789 w 3503192"/>
              <a:gd name="connsiteY11007" fmla="*/ 1142561 h 5818346"/>
              <a:gd name="connsiteX11008" fmla="*/ 775525 w 3503192"/>
              <a:gd name="connsiteY11008" fmla="*/ 1153297 h 5818346"/>
              <a:gd name="connsiteX11009" fmla="*/ 764789 w 3503192"/>
              <a:gd name="connsiteY11009" fmla="*/ 1164033 h 5818346"/>
              <a:gd name="connsiteX11010" fmla="*/ 754052 w 3503192"/>
              <a:gd name="connsiteY11010" fmla="*/ 1153297 h 5818346"/>
              <a:gd name="connsiteX11011" fmla="*/ 764789 w 3503192"/>
              <a:gd name="connsiteY11011" fmla="*/ 1142561 h 5818346"/>
              <a:gd name="connsiteX11012" fmla="*/ 678728 w 3503192"/>
              <a:gd name="connsiteY11012" fmla="*/ 1138926 h 5818346"/>
              <a:gd name="connsiteX11013" fmla="*/ 689466 w 3503192"/>
              <a:gd name="connsiteY11013" fmla="*/ 1149662 h 5818346"/>
              <a:gd name="connsiteX11014" fmla="*/ 678728 w 3503192"/>
              <a:gd name="connsiteY11014" fmla="*/ 1160398 h 5818346"/>
              <a:gd name="connsiteX11015" fmla="*/ 671626 w 3503192"/>
              <a:gd name="connsiteY11015" fmla="*/ 1153297 h 5818346"/>
              <a:gd name="connsiteX11016" fmla="*/ 661219 w 3503192"/>
              <a:gd name="connsiteY11016" fmla="*/ 1163704 h 5818346"/>
              <a:gd name="connsiteX11017" fmla="*/ 655850 w 3503192"/>
              <a:gd name="connsiteY11017" fmla="*/ 1158335 h 5818346"/>
              <a:gd name="connsiteX11018" fmla="*/ 646684 w 3503192"/>
              <a:gd name="connsiteY11018" fmla="*/ 1167502 h 5818346"/>
              <a:gd name="connsiteX11019" fmla="*/ 642058 w 3503192"/>
              <a:gd name="connsiteY11019" fmla="*/ 1162877 h 5818346"/>
              <a:gd name="connsiteX11020" fmla="*/ 633800 w 3503192"/>
              <a:gd name="connsiteY11020" fmla="*/ 1171136 h 5818346"/>
              <a:gd name="connsiteX11021" fmla="*/ 629092 w 3503192"/>
              <a:gd name="connsiteY11021" fmla="*/ 1166428 h 5818346"/>
              <a:gd name="connsiteX11022" fmla="*/ 621576 w 3503192"/>
              <a:gd name="connsiteY11022" fmla="*/ 1173944 h 5818346"/>
              <a:gd name="connsiteX11023" fmla="*/ 615959 w 3503192"/>
              <a:gd name="connsiteY11023" fmla="*/ 1168329 h 5818346"/>
              <a:gd name="connsiteX11024" fmla="*/ 608857 w 3503192"/>
              <a:gd name="connsiteY11024" fmla="*/ 1175432 h 5818346"/>
              <a:gd name="connsiteX11025" fmla="*/ 601671 w 3503192"/>
              <a:gd name="connsiteY11025" fmla="*/ 1168246 h 5818346"/>
              <a:gd name="connsiteX11026" fmla="*/ 594817 w 3503192"/>
              <a:gd name="connsiteY11026" fmla="*/ 1175099 h 5818346"/>
              <a:gd name="connsiteX11027" fmla="*/ 584081 w 3503192"/>
              <a:gd name="connsiteY11027" fmla="*/ 1164363 h 5818346"/>
              <a:gd name="connsiteX11028" fmla="*/ 594817 w 3503192"/>
              <a:gd name="connsiteY11028" fmla="*/ 1153626 h 5818346"/>
              <a:gd name="connsiteX11029" fmla="*/ 602002 w 3503192"/>
              <a:gd name="connsiteY11029" fmla="*/ 1160813 h 5818346"/>
              <a:gd name="connsiteX11030" fmla="*/ 608857 w 3503192"/>
              <a:gd name="connsiteY11030" fmla="*/ 1153958 h 5818346"/>
              <a:gd name="connsiteX11031" fmla="*/ 614473 w 3503192"/>
              <a:gd name="connsiteY11031" fmla="*/ 1159575 h 5818346"/>
              <a:gd name="connsiteX11032" fmla="*/ 621576 w 3503192"/>
              <a:gd name="connsiteY11032" fmla="*/ 1152472 h 5818346"/>
              <a:gd name="connsiteX11033" fmla="*/ 626284 w 3503192"/>
              <a:gd name="connsiteY11033" fmla="*/ 1157180 h 5818346"/>
              <a:gd name="connsiteX11034" fmla="*/ 633800 w 3503192"/>
              <a:gd name="connsiteY11034" fmla="*/ 1149662 h 5818346"/>
              <a:gd name="connsiteX11035" fmla="*/ 638425 w 3503192"/>
              <a:gd name="connsiteY11035" fmla="*/ 1154287 h 5818346"/>
              <a:gd name="connsiteX11036" fmla="*/ 646684 w 3503192"/>
              <a:gd name="connsiteY11036" fmla="*/ 1146029 h 5818346"/>
              <a:gd name="connsiteX11037" fmla="*/ 652053 w 3503192"/>
              <a:gd name="connsiteY11037" fmla="*/ 1151398 h 5818346"/>
              <a:gd name="connsiteX11038" fmla="*/ 661219 w 3503192"/>
              <a:gd name="connsiteY11038" fmla="*/ 1142229 h 5818346"/>
              <a:gd name="connsiteX11039" fmla="*/ 668323 w 3503192"/>
              <a:gd name="connsiteY11039" fmla="*/ 1149333 h 5818346"/>
              <a:gd name="connsiteX11040" fmla="*/ 1504636 w 3503192"/>
              <a:gd name="connsiteY11040" fmla="*/ 1138100 h 5818346"/>
              <a:gd name="connsiteX11041" fmla="*/ 1515372 w 3503192"/>
              <a:gd name="connsiteY11041" fmla="*/ 1148837 h 5818346"/>
              <a:gd name="connsiteX11042" fmla="*/ 1504636 w 3503192"/>
              <a:gd name="connsiteY11042" fmla="*/ 1159575 h 5818346"/>
              <a:gd name="connsiteX11043" fmla="*/ 1493900 w 3503192"/>
              <a:gd name="connsiteY11043" fmla="*/ 1148837 h 5818346"/>
              <a:gd name="connsiteX11044" fmla="*/ 1504636 w 3503192"/>
              <a:gd name="connsiteY11044" fmla="*/ 1138100 h 5818346"/>
              <a:gd name="connsiteX11045" fmla="*/ 728943 w 3503192"/>
              <a:gd name="connsiteY11045" fmla="*/ 1138100 h 5818346"/>
              <a:gd name="connsiteX11046" fmla="*/ 739679 w 3503192"/>
              <a:gd name="connsiteY11046" fmla="*/ 1148837 h 5818346"/>
              <a:gd name="connsiteX11047" fmla="*/ 728943 w 3503192"/>
              <a:gd name="connsiteY11047" fmla="*/ 1159575 h 5818346"/>
              <a:gd name="connsiteX11048" fmla="*/ 718207 w 3503192"/>
              <a:gd name="connsiteY11048" fmla="*/ 1148837 h 5818346"/>
              <a:gd name="connsiteX11049" fmla="*/ 728943 w 3503192"/>
              <a:gd name="connsiteY11049" fmla="*/ 1138100 h 5818346"/>
              <a:gd name="connsiteX11050" fmla="*/ 700863 w 3503192"/>
              <a:gd name="connsiteY11050" fmla="*/ 1137273 h 5818346"/>
              <a:gd name="connsiteX11051" fmla="*/ 711601 w 3503192"/>
              <a:gd name="connsiteY11051" fmla="*/ 1148009 h 5818346"/>
              <a:gd name="connsiteX11052" fmla="*/ 700863 w 3503192"/>
              <a:gd name="connsiteY11052" fmla="*/ 1158748 h 5818346"/>
              <a:gd name="connsiteX11053" fmla="*/ 690127 w 3503192"/>
              <a:gd name="connsiteY11053" fmla="*/ 1148009 h 5818346"/>
              <a:gd name="connsiteX11054" fmla="*/ 700863 w 3503192"/>
              <a:gd name="connsiteY11054" fmla="*/ 1137273 h 5818346"/>
              <a:gd name="connsiteX11055" fmla="*/ 2007942 w 3503192"/>
              <a:gd name="connsiteY11055" fmla="*/ 1135953 h 5818346"/>
              <a:gd name="connsiteX11056" fmla="*/ 2018678 w 3503192"/>
              <a:gd name="connsiteY11056" fmla="*/ 1146690 h 5818346"/>
              <a:gd name="connsiteX11057" fmla="*/ 2007942 w 3503192"/>
              <a:gd name="connsiteY11057" fmla="*/ 1157426 h 5818346"/>
              <a:gd name="connsiteX11058" fmla="*/ 1997206 w 3503192"/>
              <a:gd name="connsiteY11058" fmla="*/ 1146690 h 5818346"/>
              <a:gd name="connsiteX11059" fmla="*/ 2007942 w 3503192"/>
              <a:gd name="connsiteY11059" fmla="*/ 1135953 h 5818346"/>
              <a:gd name="connsiteX11060" fmla="*/ 1236876 w 3503192"/>
              <a:gd name="connsiteY11060" fmla="*/ 1132648 h 5818346"/>
              <a:gd name="connsiteX11061" fmla="*/ 1247612 w 3503192"/>
              <a:gd name="connsiteY11061" fmla="*/ 1143384 h 5818346"/>
              <a:gd name="connsiteX11062" fmla="*/ 1236876 w 3503192"/>
              <a:gd name="connsiteY11062" fmla="*/ 1154122 h 5818346"/>
              <a:gd name="connsiteX11063" fmla="*/ 1226140 w 3503192"/>
              <a:gd name="connsiteY11063" fmla="*/ 1143384 h 5818346"/>
              <a:gd name="connsiteX11064" fmla="*/ 1236876 w 3503192"/>
              <a:gd name="connsiteY11064" fmla="*/ 1132648 h 5818346"/>
              <a:gd name="connsiteX11065" fmla="*/ 609848 w 3503192"/>
              <a:gd name="connsiteY11065" fmla="*/ 1130171 h 5818346"/>
              <a:gd name="connsiteX11066" fmla="*/ 611995 w 3503192"/>
              <a:gd name="connsiteY11066" fmla="*/ 1132318 h 5818346"/>
              <a:gd name="connsiteX11067" fmla="*/ 609848 w 3503192"/>
              <a:gd name="connsiteY11067" fmla="*/ 1134465 h 5818346"/>
              <a:gd name="connsiteX11068" fmla="*/ 607701 w 3503192"/>
              <a:gd name="connsiteY11068" fmla="*/ 1132318 h 5818346"/>
              <a:gd name="connsiteX11069" fmla="*/ 609848 w 3503192"/>
              <a:gd name="connsiteY11069" fmla="*/ 1130171 h 5818346"/>
              <a:gd name="connsiteX11070" fmla="*/ 945496 w 3503192"/>
              <a:gd name="connsiteY11070" fmla="*/ 1120590 h 5818346"/>
              <a:gd name="connsiteX11071" fmla="*/ 956232 w 3503192"/>
              <a:gd name="connsiteY11071" fmla="*/ 1131326 h 5818346"/>
              <a:gd name="connsiteX11072" fmla="*/ 945496 w 3503192"/>
              <a:gd name="connsiteY11072" fmla="*/ 1142063 h 5818346"/>
              <a:gd name="connsiteX11073" fmla="*/ 934760 w 3503192"/>
              <a:gd name="connsiteY11073" fmla="*/ 1131326 h 5818346"/>
              <a:gd name="connsiteX11074" fmla="*/ 945496 w 3503192"/>
              <a:gd name="connsiteY11074" fmla="*/ 1120590 h 5818346"/>
              <a:gd name="connsiteX11075" fmla="*/ 2183366 w 3503192"/>
              <a:gd name="connsiteY11075" fmla="*/ 1108864 h 5818346"/>
              <a:gd name="connsiteX11076" fmla="*/ 2194104 w 3503192"/>
              <a:gd name="connsiteY11076" fmla="*/ 1119600 h 5818346"/>
              <a:gd name="connsiteX11077" fmla="*/ 2183366 w 3503192"/>
              <a:gd name="connsiteY11077" fmla="*/ 1130336 h 5818346"/>
              <a:gd name="connsiteX11078" fmla="*/ 2172629 w 3503192"/>
              <a:gd name="connsiteY11078" fmla="*/ 1119600 h 5818346"/>
              <a:gd name="connsiteX11079" fmla="*/ 2183366 w 3503192"/>
              <a:gd name="connsiteY11079" fmla="*/ 1108864 h 5818346"/>
              <a:gd name="connsiteX11080" fmla="*/ 683023 w 3503192"/>
              <a:gd name="connsiteY11080" fmla="*/ 1106219 h 5818346"/>
              <a:gd name="connsiteX11081" fmla="*/ 693760 w 3503192"/>
              <a:gd name="connsiteY11081" fmla="*/ 1116955 h 5818346"/>
              <a:gd name="connsiteX11082" fmla="*/ 683023 w 3503192"/>
              <a:gd name="connsiteY11082" fmla="*/ 1127693 h 5818346"/>
              <a:gd name="connsiteX11083" fmla="*/ 678234 w 3503192"/>
              <a:gd name="connsiteY11083" fmla="*/ 1122904 h 5818346"/>
              <a:gd name="connsiteX11084" fmla="*/ 667827 w 3503192"/>
              <a:gd name="connsiteY11084" fmla="*/ 1133309 h 5818346"/>
              <a:gd name="connsiteX11085" fmla="*/ 663368 w 3503192"/>
              <a:gd name="connsiteY11085" fmla="*/ 1128850 h 5818346"/>
              <a:gd name="connsiteX11086" fmla="*/ 653952 w 3503192"/>
              <a:gd name="connsiteY11086" fmla="*/ 1138265 h 5818346"/>
              <a:gd name="connsiteX11087" fmla="*/ 648914 w 3503192"/>
              <a:gd name="connsiteY11087" fmla="*/ 1133226 h 5818346"/>
              <a:gd name="connsiteX11088" fmla="*/ 640241 w 3503192"/>
              <a:gd name="connsiteY11088" fmla="*/ 1141900 h 5818346"/>
              <a:gd name="connsiteX11089" fmla="*/ 633882 w 3503192"/>
              <a:gd name="connsiteY11089" fmla="*/ 1135539 h 5818346"/>
              <a:gd name="connsiteX11090" fmla="*/ 625872 w 3503192"/>
              <a:gd name="connsiteY11090" fmla="*/ 1143551 h 5818346"/>
              <a:gd name="connsiteX11091" fmla="*/ 615135 w 3503192"/>
              <a:gd name="connsiteY11091" fmla="*/ 1132813 h 5818346"/>
              <a:gd name="connsiteX11092" fmla="*/ 625872 w 3503192"/>
              <a:gd name="connsiteY11092" fmla="*/ 1122076 h 5818346"/>
              <a:gd name="connsiteX11093" fmla="*/ 632231 w 3503192"/>
              <a:gd name="connsiteY11093" fmla="*/ 1128436 h 5818346"/>
              <a:gd name="connsiteX11094" fmla="*/ 640241 w 3503192"/>
              <a:gd name="connsiteY11094" fmla="*/ 1120425 h 5818346"/>
              <a:gd name="connsiteX11095" fmla="*/ 645279 w 3503192"/>
              <a:gd name="connsiteY11095" fmla="*/ 1125463 h 5818346"/>
              <a:gd name="connsiteX11096" fmla="*/ 653952 w 3503192"/>
              <a:gd name="connsiteY11096" fmla="*/ 1116791 h 5818346"/>
              <a:gd name="connsiteX11097" fmla="*/ 658412 w 3503192"/>
              <a:gd name="connsiteY11097" fmla="*/ 1121251 h 5818346"/>
              <a:gd name="connsiteX11098" fmla="*/ 667827 w 3503192"/>
              <a:gd name="connsiteY11098" fmla="*/ 1111836 h 5818346"/>
              <a:gd name="connsiteX11099" fmla="*/ 672617 w 3503192"/>
              <a:gd name="connsiteY11099" fmla="*/ 1116626 h 5818346"/>
              <a:gd name="connsiteX11100" fmla="*/ 3503192 w 3503192"/>
              <a:gd name="connsiteY11100" fmla="*/ 1105861 h 5818346"/>
              <a:gd name="connsiteX11101" fmla="*/ 3503192 w 3503192"/>
              <a:gd name="connsiteY11101" fmla="*/ 1111534 h 5818346"/>
              <a:gd name="connsiteX11102" fmla="*/ 3500356 w 3503192"/>
              <a:gd name="connsiteY11102" fmla="*/ 1108697 h 5818346"/>
              <a:gd name="connsiteX11103" fmla="*/ 878763 w 3503192"/>
              <a:gd name="connsiteY11103" fmla="*/ 1105064 h 5818346"/>
              <a:gd name="connsiteX11104" fmla="*/ 889499 w 3503192"/>
              <a:gd name="connsiteY11104" fmla="*/ 1115800 h 5818346"/>
              <a:gd name="connsiteX11105" fmla="*/ 878763 w 3503192"/>
              <a:gd name="connsiteY11105" fmla="*/ 1126538 h 5818346"/>
              <a:gd name="connsiteX11106" fmla="*/ 868026 w 3503192"/>
              <a:gd name="connsiteY11106" fmla="*/ 1115800 h 5818346"/>
              <a:gd name="connsiteX11107" fmla="*/ 878763 w 3503192"/>
              <a:gd name="connsiteY11107" fmla="*/ 1105064 h 5818346"/>
              <a:gd name="connsiteX11108" fmla="*/ 700532 w 3503192"/>
              <a:gd name="connsiteY11108" fmla="*/ 1100604 h 5818346"/>
              <a:gd name="connsiteX11109" fmla="*/ 711270 w 3503192"/>
              <a:gd name="connsiteY11109" fmla="*/ 1111340 h 5818346"/>
              <a:gd name="connsiteX11110" fmla="*/ 700532 w 3503192"/>
              <a:gd name="connsiteY11110" fmla="*/ 1122076 h 5818346"/>
              <a:gd name="connsiteX11111" fmla="*/ 689795 w 3503192"/>
              <a:gd name="connsiteY11111" fmla="*/ 1111340 h 5818346"/>
              <a:gd name="connsiteX11112" fmla="*/ 700532 w 3503192"/>
              <a:gd name="connsiteY11112" fmla="*/ 1100604 h 5818346"/>
              <a:gd name="connsiteX11113" fmla="*/ 1645700 w 3503192"/>
              <a:gd name="connsiteY11113" fmla="*/ 1098786 h 5818346"/>
              <a:gd name="connsiteX11114" fmla="*/ 1656436 w 3503192"/>
              <a:gd name="connsiteY11114" fmla="*/ 1109523 h 5818346"/>
              <a:gd name="connsiteX11115" fmla="*/ 1645700 w 3503192"/>
              <a:gd name="connsiteY11115" fmla="*/ 1120259 h 5818346"/>
              <a:gd name="connsiteX11116" fmla="*/ 1634964 w 3503192"/>
              <a:gd name="connsiteY11116" fmla="*/ 1109523 h 5818346"/>
              <a:gd name="connsiteX11117" fmla="*/ 1645700 w 3503192"/>
              <a:gd name="connsiteY11117" fmla="*/ 1098786 h 5818346"/>
              <a:gd name="connsiteX11118" fmla="*/ 1123398 w 3503192"/>
              <a:gd name="connsiteY11118" fmla="*/ 1097961 h 5818346"/>
              <a:gd name="connsiteX11119" fmla="*/ 1134136 w 3503192"/>
              <a:gd name="connsiteY11119" fmla="*/ 1108697 h 5818346"/>
              <a:gd name="connsiteX11120" fmla="*/ 1123398 w 3503192"/>
              <a:gd name="connsiteY11120" fmla="*/ 1119435 h 5818346"/>
              <a:gd name="connsiteX11121" fmla="*/ 1112661 w 3503192"/>
              <a:gd name="connsiteY11121" fmla="*/ 1108697 h 5818346"/>
              <a:gd name="connsiteX11122" fmla="*/ 1123398 w 3503192"/>
              <a:gd name="connsiteY11122" fmla="*/ 1097961 h 5818346"/>
              <a:gd name="connsiteX11123" fmla="*/ 825079 w 3503192"/>
              <a:gd name="connsiteY11123" fmla="*/ 1096310 h 5818346"/>
              <a:gd name="connsiteX11124" fmla="*/ 835816 w 3503192"/>
              <a:gd name="connsiteY11124" fmla="*/ 1107046 h 5818346"/>
              <a:gd name="connsiteX11125" fmla="*/ 825079 w 3503192"/>
              <a:gd name="connsiteY11125" fmla="*/ 1117784 h 5818346"/>
              <a:gd name="connsiteX11126" fmla="*/ 814343 w 3503192"/>
              <a:gd name="connsiteY11126" fmla="*/ 1107046 h 5818346"/>
              <a:gd name="connsiteX11127" fmla="*/ 825079 w 3503192"/>
              <a:gd name="connsiteY11127" fmla="*/ 1096310 h 5818346"/>
              <a:gd name="connsiteX11128" fmla="*/ 721841 w 3503192"/>
              <a:gd name="connsiteY11128" fmla="*/ 1095814 h 5818346"/>
              <a:gd name="connsiteX11129" fmla="*/ 732578 w 3503192"/>
              <a:gd name="connsiteY11129" fmla="*/ 1106550 h 5818346"/>
              <a:gd name="connsiteX11130" fmla="*/ 721841 w 3503192"/>
              <a:gd name="connsiteY11130" fmla="*/ 1117287 h 5818346"/>
              <a:gd name="connsiteX11131" fmla="*/ 711105 w 3503192"/>
              <a:gd name="connsiteY11131" fmla="*/ 1106550 h 5818346"/>
              <a:gd name="connsiteX11132" fmla="*/ 721841 w 3503192"/>
              <a:gd name="connsiteY11132" fmla="*/ 1095814 h 5818346"/>
              <a:gd name="connsiteX11133" fmla="*/ 748600 w 3503192"/>
              <a:gd name="connsiteY11133" fmla="*/ 1092840 h 5818346"/>
              <a:gd name="connsiteX11134" fmla="*/ 759338 w 3503192"/>
              <a:gd name="connsiteY11134" fmla="*/ 1103576 h 5818346"/>
              <a:gd name="connsiteX11135" fmla="*/ 748600 w 3503192"/>
              <a:gd name="connsiteY11135" fmla="*/ 1114312 h 5818346"/>
              <a:gd name="connsiteX11136" fmla="*/ 737864 w 3503192"/>
              <a:gd name="connsiteY11136" fmla="*/ 1103576 h 5818346"/>
              <a:gd name="connsiteX11137" fmla="*/ 748600 w 3503192"/>
              <a:gd name="connsiteY11137" fmla="*/ 1092840 h 5818346"/>
              <a:gd name="connsiteX11138" fmla="*/ 782463 w 3503192"/>
              <a:gd name="connsiteY11138" fmla="*/ 1092675 h 5818346"/>
              <a:gd name="connsiteX11139" fmla="*/ 793200 w 3503192"/>
              <a:gd name="connsiteY11139" fmla="*/ 1103411 h 5818346"/>
              <a:gd name="connsiteX11140" fmla="*/ 782463 w 3503192"/>
              <a:gd name="connsiteY11140" fmla="*/ 1114149 h 5818346"/>
              <a:gd name="connsiteX11141" fmla="*/ 771727 w 3503192"/>
              <a:gd name="connsiteY11141" fmla="*/ 1103411 h 5818346"/>
              <a:gd name="connsiteX11142" fmla="*/ 782463 w 3503192"/>
              <a:gd name="connsiteY11142" fmla="*/ 1092675 h 5818346"/>
              <a:gd name="connsiteX11143" fmla="*/ 1353660 w 3503192"/>
              <a:gd name="connsiteY11143" fmla="*/ 1088875 h 5818346"/>
              <a:gd name="connsiteX11144" fmla="*/ 1364396 w 3503192"/>
              <a:gd name="connsiteY11144" fmla="*/ 1099612 h 5818346"/>
              <a:gd name="connsiteX11145" fmla="*/ 1353660 w 3503192"/>
              <a:gd name="connsiteY11145" fmla="*/ 1110348 h 5818346"/>
              <a:gd name="connsiteX11146" fmla="*/ 1342923 w 3503192"/>
              <a:gd name="connsiteY11146" fmla="*/ 1099612 h 5818346"/>
              <a:gd name="connsiteX11147" fmla="*/ 1353660 w 3503192"/>
              <a:gd name="connsiteY11147" fmla="*/ 1088875 h 5818346"/>
              <a:gd name="connsiteX11148" fmla="*/ 2366222 w 3503192"/>
              <a:gd name="connsiteY11148" fmla="*/ 1087060 h 5818346"/>
              <a:gd name="connsiteX11149" fmla="*/ 2376958 w 3503192"/>
              <a:gd name="connsiteY11149" fmla="*/ 1097796 h 5818346"/>
              <a:gd name="connsiteX11150" fmla="*/ 2366222 w 3503192"/>
              <a:gd name="connsiteY11150" fmla="*/ 1108532 h 5818346"/>
              <a:gd name="connsiteX11151" fmla="*/ 2355486 w 3503192"/>
              <a:gd name="connsiteY11151" fmla="*/ 1097796 h 5818346"/>
              <a:gd name="connsiteX11152" fmla="*/ 2366222 w 3503192"/>
              <a:gd name="connsiteY11152" fmla="*/ 1087060 h 5818346"/>
              <a:gd name="connsiteX11153" fmla="*/ 688309 w 3503192"/>
              <a:gd name="connsiteY11153" fmla="*/ 1079792 h 5818346"/>
              <a:gd name="connsiteX11154" fmla="*/ 699046 w 3503192"/>
              <a:gd name="connsiteY11154" fmla="*/ 1090528 h 5818346"/>
              <a:gd name="connsiteX11155" fmla="*/ 688309 w 3503192"/>
              <a:gd name="connsiteY11155" fmla="*/ 1101266 h 5818346"/>
              <a:gd name="connsiteX11156" fmla="*/ 683601 w 3503192"/>
              <a:gd name="connsiteY11156" fmla="*/ 1096556 h 5818346"/>
              <a:gd name="connsiteX11157" fmla="*/ 673277 w 3503192"/>
              <a:gd name="connsiteY11157" fmla="*/ 1106881 h 5818346"/>
              <a:gd name="connsiteX11158" fmla="*/ 667660 w 3503192"/>
              <a:gd name="connsiteY11158" fmla="*/ 1101264 h 5818346"/>
              <a:gd name="connsiteX11159" fmla="*/ 657916 w 3503192"/>
              <a:gd name="connsiteY11159" fmla="*/ 1111011 h 5818346"/>
              <a:gd name="connsiteX11160" fmla="*/ 650318 w 3503192"/>
              <a:gd name="connsiteY11160" fmla="*/ 1103411 h 5818346"/>
              <a:gd name="connsiteX11161" fmla="*/ 641399 w 3503192"/>
              <a:gd name="connsiteY11161" fmla="*/ 1112332 h 5818346"/>
              <a:gd name="connsiteX11162" fmla="*/ 630993 w 3503192"/>
              <a:gd name="connsiteY11162" fmla="*/ 1101925 h 5818346"/>
              <a:gd name="connsiteX11163" fmla="*/ 641399 w 3503192"/>
              <a:gd name="connsiteY11163" fmla="*/ 1091518 h 5818346"/>
              <a:gd name="connsiteX11164" fmla="*/ 648666 w 3503192"/>
              <a:gd name="connsiteY11164" fmla="*/ 1098786 h 5818346"/>
              <a:gd name="connsiteX11165" fmla="*/ 657916 w 3503192"/>
              <a:gd name="connsiteY11165" fmla="*/ 1089536 h 5818346"/>
              <a:gd name="connsiteX11166" fmla="*/ 663533 w 3503192"/>
              <a:gd name="connsiteY11166" fmla="*/ 1095153 h 5818346"/>
              <a:gd name="connsiteX11167" fmla="*/ 673277 w 3503192"/>
              <a:gd name="connsiteY11167" fmla="*/ 1085407 h 5818346"/>
              <a:gd name="connsiteX11168" fmla="*/ 677986 w 3503192"/>
              <a:gd name="connsiteY11168" fmla="*/ 1090115 h 5818346"/>
              <a:gd name="connsiteX11169" fmla="*/ 3325428 w 3503192"/>
              <a:gd name="connsiteY11169" fmla="*/ 1078964 h 5818346"/>
              <a:gd name="connsiteX11170" fmla="*/ 3336166 w 3503192"/>
              <a:gd name="connsiteY11170" fmla="*/ 1089701 h 5818346"/>
              <a:gd name="connsiteX11171" fmla="*/ 3325428 w 3503192"/>
              <a:gd name="connsiteY11171" fmla="*/ 1100439 h 5818346"/>
              <a:gd name="connsiteX11172" fmla="*/ 3314692 w 3503192"/>
              <a:gd name="connsiteY11172" fmla="*/ 1089701 h 5818346"/>
              <a:gd name="connsiteX11173" fmla="*/ 3325428 w 3503192"/>
              <a:gd name="connsiteY11173" fmla="*/ 1078964 h 5818346"/>
              <a:gd name="connsiteX11174" fmla="*/ 1029739 w 3503192"/>
              <a:gd name="connsiteY11174" fmla="*/ 1073845 h 5818346"/>
              <a:gd name="connsiteX11175" fmla="*/ 1040477 w 3503192"/>
              <a:gd name="connsiteY11175" fmla="*/ 1084581 h 5818346"/>
              <a:gd name="connsiteX11176" fmla="*/ 1029739 w 3503192"/>
              <a:gd name="connsiteY11176" fmla="*/ 1095320 h 5818346"/>
              <a:gd name="connsiteX11177" fmla="*/ 1019003 w 3503192"/>
              <a:gd name="connsiteY11177" fmla="*/ 1084581 h 5818346"/>
              <a:gd name="connsiteX11178" fmla="*/ 1029739 w 3503192"/>
              <a:gd name="connsiteY11178" fmla="*/ 1073845 h 5818346"/>
              <a:gd name="connsiteX11179" fmla="*/ 704167 w 3503192"/>
              <a:gd name="connsiteY11179" fmla="*/ 1072853 h 5818346"/>
              <a:gd name="connsiteX11180" fmla="*/ 714903 w 3503192"/>
              <a:gd name="connsiteY11180" fmla="*/ 1083590 h 5818346"/>
              <a:gd name="connsiteX11181" fmla="*/ 704167 w 3503192"/>
              <a:gd name="connsiteY11181" fmla="*/ 1094326 h 5818346"/>
              <a:gd name="connsiteX11182" fmla="*/ 693430 w 3503192"/>
              <a:gd name="connsiteY11182" fmla="*/ 1083590 h 5818346"/>
              <a:gd name="connsiteX11183" fmla="*/ 704167 w 3503192"/>
              <a:gd name="connsiteY11183" fmla="*/ 1072853 h 5818346"/>
              <a:gd name="connsiteX11184" fmla="*/ 2554858 w 3503192"/>
              <a:gd name="connsiteY11184" fmla="*/ 1071532 h 5818346"/>
              <a:gd name="connsiteX11185" fmla="*/ 2565596 w 3503192"/>
              <a:gd name="connsiteY11185" fmla="*/ 1082268 h 5818346"/>
              <a:gd name="connsiteX11186" fmla="*/ 2554858 w 3503192"/>
              <a:gd name="connsiteY11186" fmla="*/ 1093006 h 5818346"/>
              <a:gd name="connsiteX11187" fmla="*/ 2544122 w 3503192"/>
              <a:gd name="connsiteY11187" fmla="*/ 1082268 h 5818346"/>
              <a:gd name="connsiteX11188" fmla="*/ 2554858 w 3503192"/>
              <a:gd name="connsiteY11188" fmla="*/ 1071532 h 5818346"/>
              <a:gd name="connsiteX11189" fmla="*/ 655604 w 3503192"/>
              <a:gd name="connsiteY11189" fmla="*/ 1071036 h 5818346"/>
              <a:gd name="connsiteX11190" fmla="*/ 656265 w 3503192"/>
              <a:gd name="connsiteY11190" fmla="*/ 1071697 h 5818346"/>
              <a:gd name="connsiteX11191" fmla="*/ 655604 w 3503192"/>
              <a:gd name="connsiteY11191" fmla="*/ 1072357 h 5818346"/>
              <a:gd name="connsiteX11192" fmla="*/ 654943 w 3503192"/>
              <a:gd name="connsiteY11192" fmla="*/ 1071697 h 5818346"/>
              <a:gd name="connsiteX11193" fmla="*/ 655604 w 3503192"/>
              <a:gd name="connsiteY11193" fmla="*/ 1071036 h 5818346"/>
              <a:gd name="connsiteX11194" fmla="*/ 3134810 w 3503192"/>
              <a:gd name="connsiteY11194" fmla="*/ 1066411 h 5818346"/>
              <a:gd name="connsiteX11195" fmla="*/ 3145546 w 3503192"/>
              <a:gd name="connsiteY11195" fmla="*/ 1077147 h 5818346"/>
              <a:gd name="connsiteX11196" fmla="*/ 3134810 w 3503192"/>
              <a:gd name="connsiteY11196" fmla="*/ 1087883 h 5818346"/>
              <a:gd name="connsiteX11197" fmla="*/ 3124074 w 3503192"/>
              <a:gd name="connsiteY11197" fmla="*/ 1077147 h 5818346"/>
              <a:gd name="connsiteX11198" fmla="*/ 3134810 w 3503192"/>
              <a:gd name="connsiteY11198" fmla="*/ 1066411 h 5818346"/>
              <a:gd name="connsiteX11199" fmla="*/ 722006 w 3503192"/>
              <a:gd name="connsiteY11199" fmla="*/ 1065256 h 5818346"/>
              <a:gd name="connsiteX11200" fmla="*/ 732742 w 3503192"/>
              <a:gd name="connsiteY11200" fmla="*/ 1075992 h 5818346"/>
              <a:gd name="connsiteX11201" fmla="*/ 722006 w 3503192"/>
              <a:gd name="connsiteY11201" fmla="*/ 1086728 h 5818346"/>
              <a:gd name="connsiteX11202" fmla="*/ 711270 w 3503192"/>
              <a:gd name="connsiteY11202" fmla="*/ 1075992 h 5818346"/>
              <a:gd name="connsiteX11203" fmla="*/ 722006 w 3503192"/>
              <a:gd name="connsiteY11203" fmla="*/ 1065256 h 5818346"/>
              <a:gd name="connsiteX11204" fmla="*/ 2747294 w 3503192"/>
              <a:gd name="connsiteY11204" fmla="*/ 1062611 h 5818346"/>
              <a:gd name="connsiteX11205" fmla="*/ 2758032 w 3503192"/>
              <a:gd name="connsiteY11205" fmla="*/ 1073347 h 5818346"/>
              <a:gd name="connsiteX11206" fmla="*/ 2747294 w 3503192"/>
              <a:gd name="connsiteY11206" fmla="*/ 1084085 h 5818346"/>
              <a:gd name="connsiteX11207" fmla="*/ 2736557 w 3503192"/>
              <a:gd name="connsiteY11207" fmla="*/ 1073347 h 5818346"/>
              <a:gd name="connsiteX11208" fmla="*/ 2747294 w 3503192"/>
              <a:gd name="connsiteY11208" fmla="*/ 1062611 h 5818346"/>
              <a:gd name="connsiteX11209" fmla="*/ 1795849 w 3503192"/>
              <a:gd name="connsiteY11209" fmla="*/ 1062282 h 5818346"/>
              <a:gd name="connsiteX11210" fmla="*/ 1806588 w 3503192"/>
              <a:gd name="connsiteY11210" fmla="*/ 1073018 h 5818346"/>
              <a:gd name="connsiteX11211" fmla="*/ 1795849 w 3503192"/>
              <a:gd name="connsiteY11211" fmla="*/ 1083754 h 5818346"/>
              <a:gd name="connsiteX11212" fmla="*/ 1785113 w 3503192"/>
              <a:gd name="connsiteY11212" fmla="*/ 1073018 h 5818346"/>
              <a:gd name="connsiteX11213" fmla="*/ 1795849 w 3503192"/>
              <a:gd name="connsiteY11213" fmla="*/ 1062282 h 5818346"/>
              <a:gd name="connsiteX11214" fmla="*/ 2941218 w 3503192"/>
              <a:gd name="connsiteY11214" fmla="*/ 1060960 h 5818346"/>
              <a:gd name="connsiteX11215" fmla="*/ 2951956 w 3503192"/>
              <a:gd name="connsiteY11215" fmla="*/ 1071697 h 5818346"/>
              <a:gd name="connsiteX11216" fmla="*/ 2941218 w 3503192"/>
              <a:gd name="connsiteY11216" fmla="*/ 1082433 h 5818346"/>
              <a:gd name="connsiteX11217" fmla="*/ 2930481 w 3503192"/>
              <a:gd name="connsiteY11217" fmla="*/ 1071697 h 5818346"/>
              <a:gd name="connsiteX11218" fmla="*/ 2941218 w 3503192"/>
              <a:gd name="connsiteY11218" fmla="*/ 1060960 h 5818346"/>
              <a:gd name="connsiteX11219" fmla="*/ 952930 w 3503192"/>
              <a:gd name="connsiteY11219" fmla="*/ 1058153 h 5818346"/>
              <a:gd name="connsiteX11220" fmla="*/ 963667 w 3503192"/>
              <a:gd name="connsiteY11220" fmla="*/ 1068889 h 5818346"/>
              <a:gd name="connsiteX11221" fmla="*/ 952930 w 3503192"/>
              <a:gd name="connsiteY11221" fmla="*/ 1079625 h 5818346"/>
              <a:gd name="connsiteX11222" fmla="*/ 942194 w 3503192"/>
              <a:gd name="connsiteY11222" fmla="*/ 1068889 h 5818346"/>
              <a:gd name="connsiteX11223" fmla="*/ 952930 w 3503192"/>
              <a:gd name="connsiteY11223" fmla="*/ 1058153 h 5818346"/>
              <a:gd name="connsiteX11224" fmla="*/ 742985 w 3503192"/>
              <a:gd name="connsiteY11224" fmla="*/ 1057988 h 5818346"/>
              <a:gd name="connsiteX11225" fmla="*/ 753721 w 3503192"/>
              <a:gd name="connsiteY11225" fmla="*/ 1068724 h 5818346"/>
              <a:gd name="connsiteX11226" fmla="*/ 742985 w 3503192"/>
              <a:gd name="connsiteY11226" fmla="*/ 1079460 h 5818346"/>
              <a:gd name="connsiteX11227" fmla="*/ 732248 w 3503192"/>
              <a:gd name="connsiteY11227" fmla="*/ 1068724 h 5818346"/>
              <a:gd name="connsiteX11228" fmla="*/ 742985 w 3503192"/>
              <a:gd name="connsiteY11228" fmla="*/ 1057988 h 5818346"/>
              <a:gd name="connsiteX11229" fmla="*/ 691283 w 3503192"/>
              <a:gd name="connsiteY11229" fmla="*/ 1055674 h 5818346"/>
              <a:gd name="connsiteX11230" fmla="*/ 702020 w 3503192"/>
              <a:gd name="connsiteY11230" fmla="*/ 1066411 h 5818346"/>
              <a:gd name="connsiteX11231" fmla="*/ 691283 w 3503192"/>
              <a:gd name="connsiteY11231" fmla="*/ 1077147 h 5818346"/>
              <a:gd name="connsiteX11232" fmla="*/ 684676 w 3503192"/>
              <a:gd name="connsiteY11232" fmla="*/ 1070540 h 5818346"/>
              <a:gd name="connsiteX11233" fmla="*/ 674103 w 3503192"/>
              <a:gd name="connsiteY11233" fmla="*/ 1081113 h 5818346"/>
              <a:gd name="connsiteX11234" fmla="*/ 663366 w 3503192"/>
              <a:gd name="connsiteY11234" fmla="*/ 1070375 h 5818346"/>
              <a:gd name="connsiteX11235" fmla="*/ 674103 w 3503192"/>
              <a:gd name="connsiteY11235" fmla="*/ 1059639 h 5818346"/>
              <a:gd name="connsiteX11236" fmla="*/ 680712 w 3503192"/>
              <a:gd name="connsiteY11236" fmla="*/ 1066248 h 5818346"/>
              <a:gd name="connsiteX11237" fmla="*/ 1226800 w 3503192"/>
              <a:gd name="connsiteY11237" fmla="*/ 1052536 h 5818346"/>
              <a:gd name="connsiteX11238" fmla="*/ 1237537 w 3503192"/>
              <a:gd name="connsiteY11238" fmla="*/ 1063272 h 5818346"/>
              <a:gd name="connsiteX11239" fmla="*/ 1226800 w 3503192"/>
              <a:gd name="connsiteY11239" fmla="*/ 1074010 h 5818346"/>
              <a:gd name="connsiteX11240" fmla="*/ 1216064 w 3503192"/>
              <a:gd name="connsiteY11240" fmla="*/ 1063272 h 5818346"/>
              <a:gd name="connsiteX11241" fmla="*/ 1226800 w 3503192"/>
              <a:gd name="connsiteY11241" fmla="*/ 1052536 h 5818346"/>
              <a:gd name="connsiteX11242" fmla="*/ 768753 w 3503192"/>
              <a:gd name="connsiteY11242" fmla="*/ 1051875 h 5818346"/>
              <a:gd name="connsiteX11243" fmla="*/ 779489 w 3503192"/>
              <a:gd name="connsiteY11243" fmla="*/ 1062611 h 5818346"/>
              <a:gd name="connsiteX11244" fmla="*/ 768753 w 3503192"/>
              <a:gd name="connsiteY11244" fmla="*/ 1073349 h 5818346"/>
              <a:gd name="connsiteX11245" fmla="*/ 758017 w 3503192"/>
              <a:gd name="connsiteY11245" fmla="*/ 1062611 h 5818346"/>
              <a:gd name="connsiteX11246" fmla="*/ 768753 w 3503192"/>
              <a:gd name="connsiteY11246" fmla="*/ 1051875 h 5818346"/>
              <a:gd name="connsiteX11247" fmla="*/ 890821 w 3503192"/>
              <a:gd name="connsiteY11247" fmla="*/ 1049563 h 5818346"/>
              <a:gd name="connsiteX11248" fmla="*/ 901559 w 3503192"/>
              <a:gd name="connsiteY11248" fmla="*/ 1060299 h 5818346"/>
              <a:gd name="connsiteX11249" fmla="*/ 890821 w 3503192"/>
              <a:gd name="connsiteY11249" fmla="*/ 1071037 h 5818346"/>
              <a:gd name="connsiteX11250" fmla="*/ 880084 w 3503192"/>
              <a:gd name="connsiteY11250" fmla="*/ 1060299 h 5818346"/>
              <a:gd name="connsiteX11251" fmla="*/ 890821 w 3503192"/>
              <a:gd name="connsiteY11251" fmla="*/ 1049563 h 5818346"/>
              <a:gd name="connsiteX11252" fmla="*/ 707635 w 3503192"/>
              <a:gd name="connsiteY11252" fmla="*/ 1049398 h 5818346"/>
              <a:gd name="connsiteX11253" fmla="*/ 718373 w 3503192"/>
              <a:gd name="connsiteY11253" fmla="*/ 1060135 h 5818346"/>
              <a:gd name="connsiteX11254" fmla="*/ 707635 w 3503192"/>
              <a:gd name="connsiteY11254" fmla="*/ 1070871 h 5818346"/>
              <a:gd name="connsiteX11255" fmla="*/ 696899 w 3503192"/>
              <a:gd name="connsiteY11255" fmla="*/ 1060135 h 5818346"/>
              <a:gd name="connsiteX11256" fmla="*/ 707635 w 3503192"/>
              <a:gd name="connsiteY11256" fmla="*/ 1049398 h 5818346"/>
              <a:gd name="connsiteX11257" fmla="*/ 800632 w 3503192"/>
              <a:gd name="connsiteY11257" fmla="*/ 1047581 h 5818346"/>
              <a:gd name="connsiteX11258" fmla="*/ 811369 w 3503192"/>
              <a:gd name="connsiteY11258" fmla="*/ 1058317 h 5818346"/>
              <a:gd name="connsiteX11259" fmla="*/ 800632 w 3503192"/>
              <a:gd name="connsiteY11259" fmla="*/ 1069054 h 5818346"/>
              <a:gd name="connsiteX11260" fmla="*/ 789896 w 3503192"/>
              <a:gd name="connsiteY11260" fmla="*/ 1058317 h 5818346"/>
              <a:gd name="connsiteX11261" fmla="*/ 800632 w 3503192"/>
              <a:gd name="connsiteY11261" fmla="*/ 1047581 h 5818346"/>
              <a:gd name="connsiteX11262" fmla="*/ 1479032 w 3503192"/>
              <a:gd name="connsiteY11262" fmla="*/ 1046424 h 5818346"/>
              <a:gd name="connsiteX11263" fmla="*/ 1489771 w 3503192"/>
              <a:gd name="connsiteY11263" fmla="*/ 1057160 h 5818346"/>
              <a:gd name="connsiteX11264" fmla="*/ 1479032 w 3503192"/>
              <a:gd name="connsiteY11264" fmla="*/ 1067897 h 5818346"/>
              <a:gd name="connsiteX11265" fmla="*/ 1468296 w 3503192"/>
              <a:gd name="connsiteY11265" fmla="*/ 1057160 h 5818346"/>
              <a:gd name="connsiteX11266" fmla="*/ 1479032 w 3503192"/>
              <a:gd name="connsiteY11266" fmla="*/ 1046424 h 5818346"/>
              <a:gd name="connsiteX11267" fmla="*/ 840772 w 3503192"/>
              <a:gd name="connsiteY11267" fmla="*/ 1046424 h 5818346"/>
              <a:gd name="connsiteX11268" fmla="*/ 851508 w 3503192"/>
              <a:gd name="connsiteY11268" fmla="*/ 1057160 h 5818346"/>
              <a:gd name="connsiteX11269" fmla="*/ 840772 w 3503192"/>
              <a:gd name="connsiteY11269" fmla="*/ 1067897 h 5818346"/>
              <a:gd name="connsiteX11270" fmla="*/ 830036 w 3503192"/>
              <a:gd name="connsiteY11270" fmla="*/ 1057160 h 5818346"/>
              <a:gd name="connsiteX11271" fmla="*/ 840772 w 3503192"/>
              <a:gd name="connsiteY11271" fmla="*/ 1046424 h 5818346"/>
              <a:gd name="connsiteX11272" fmla="*/ 724649 w 3503192"/>
              <a:gd name="connsiteY11272" fmla="*/ 1041634 h 5818346"/>
              <a:gd name="connsiteX11273" fmla="*/ 735385 w 3503192"/>
              <a:gd name="connsiteY11273" fmla="*/ 1052371 h 5818346"/>
              <a:gd name="connsiteX11274" fmla="*/ 724649 w 3503192"/>
              <a:gd name="connsiteY11274" fmla="*/ 1063107 h 5818346"/>
              <a:gd name="connsiteX11275" fmla="*/ 713913 w 3503192"/>
              <a:gd name="connsiteY11275" fmla="*/ 1052371 h 5818346"/>
              <a:gd name="connsiteX11276" fmla="*/ 724649 w 3503192"/>
              <a:gd name="connsiteY11276" fmla="*/ 1041634 h 5818346"/>
              <a:gd name="connsiteX11277" fmla="*/ 688970 w 3503192"/>
              <a:gd name="connsiteY11277" fmla="*/ 1032218 h 5818346"/>
              <a:gd name="connsiteX11278" fmla="*/ 698054 w 3503192"/>
              <a:gd name="connsiteY11278" fmla="*/ 1041303 h 5818346"/>
              <a:gd name="connsiteX11279" fmla="*/ 688970 w 3503192"/>
              <a:gd name="connsiteY11279" fmla="*/ 1050389 h 5818346"/>
              <a:gd name="connsiteX11280" fmla="*/ 679884 w 3503192"/>
              <a:gd name="connsiteY11280" fmla="*/ 1041303 h 5818346"/>
              <a:gd name="connsiteX11281" fmla="*/ 688970 w 3503192"/>
              <a:gd name="connsiteY11281" fmla="*/ 1032218 h 5818346"/>
              <a:gd name="connsiteX11282" fmla="*/ 1954590 w 3503192"/>
              <a:gd name="connsiteY11282" fmla="*/ 1029081 h 5818346"/>
              <a:gd name="connsiteX11283" fmla="*/ 1965328 w 3503192"/>
              <a:gd name="connsiteY11283" fmla="*/ 1039817 h 5818346"/>
              <a:gd name="connsiteX11284" fmla="*/ 1954590 w 3503192"/>
              <a:gd name="connsiteY11284" fmla="*/ 1050553 h 5818346"/>
              <a:gd name="connsiteX11285" fmla="*/ 1943854 w 3503192"/>
              <a:gd name="connsiteY11285" fmla="*/ 1039817 h 5818346"/>
              <a:gd name="connsiteX11286" fmla="*/ 1954590 w 3503192"/>
              <a:gd name="connsiteY11286" fmla="*/ 1029081 h 5818346"/>
              <a:gd name="connsiteX11287" fmla="*/ 1120920 w 3503192"/>
              <a:gd name="connsiteY11287" fmla="*/ 1027263 h 5818346"/>
              <a:gd name="connsiteX11288" fmla="*/ 1131658 w 3503192"/>
              <a:gd name="connsiteY11288" fmla="*/ 1037999 h 5818346"/>
              <a:gd name="connsiteX11289" fmla="*/ 1120920 w 3503192"/>
              <a:gd name="connsiteY11289" fmla="*/ 1048736 h 5818346"/>
              <a:gd name="connsiteX11290" fmla="*/ 1110183 w 3503192"/>
              <a:gd name="connsiteY11290" fmla="*/ 1037999 h 5818346"/>
              <a:gd name="connsiteX11291" fmla="*/ 1120920 w 3503192"/>
              <a:gd name="connsiteY11291" fmla="*/ 1027263 h 5818346"/>
              <a:gd name="connsiteX11292" fmla="*/ 707966 w 3503192"/>
              <a:gd name="connsiteY11292" fmla="*/ 1026932 h 5818346"/>
              <a:gd name="connsiteX11293" fmla="*/ 718703 w 3503192"/>
              <a:gd name="connsiteY11293" fmla="*/ 1037668 h 5818346"/>
              <a:gd name="connsiteX11294" fmla="*/ 707966 w 3503192"/>
              <a:gd name="connsiteY11294" fmla="*/ 1048405 h 5818346"/>
              <a:gd name="connsiteX11295" fmla="*/ 697230 w 3503192"/>
              <a:gd name="connsiteY11295" fmla="*/ 1037668 h 5818346"/>
              <a:gd name="connsiteX11296" fmla="*/ 707966 w 3503192"/>
              <a:gd name="connsiteY11296" fmla="*/ 1026932 h 5818346"/>
              <a:gd name="connsiteX11297" fmla="*/ 763797 w 3503192"/>
              <a:gd name="connsiteY11297" fmla="*/ 1023463 h 5818346"/>
              <a:gd name="connsiteX11298" fmla="*/ 774533 w 3503192"/>
              <a:gd name="connsiteY11298" fmla="*/ 1034200 h 5818346"/>
              <a:gd name="connsiteX11299" fmla="*/ 763797 w 3503192"/>
              <a:gd name="connsiteY11299" fmla="*/ 1044936 h 5818346"/>
              <a:gd name="connsiteX11300" fmla="*/ 753060 w 3503192"/>
              <a:gd name="connsiteY11300" fmla="*/ 1034200 h 5818346"/>
              <a:gd name="connsiteX11301" fmla="*/ 763797 w 3503192"/>
              <a:gd name="connsiteY11301" fmla="*/ 1023463 h 5818346"/>
              <a:gd name="connsiteX11302" fmla="*/ 725970 w 3503192"/>
              <a:gd name="connsiteY11302" fmla="*/ 1020656 h 5818346"/>
              <a:gd name="connsiteX11303" fmla="*/ 736707 w 3503192"/>
              <a:gd name="connsiteY11303" fmla="*/ 1031392 h 5818346"/>
              <a:gd name="connsiteX11304" fmla="*/ 725970 w 3503192"/>
              <a:gd name="connsiteY11304" fmla="*/ 1042130 h 5818346"/>
              <a:gd name="connsiteX11305" fmla="*/ 715234 w 3503192"/>
              <a:gd name="connsiteY11305" fmla="*/ 1031392 h 5818346"/>
              <a:gd name="connsiteX11306" fmla="*/ 725970 w 3503192"/>
              <a:gd name="connsiteY11306" fmla="*/ 1020656 h 5818346"/>
              <a:gd name="connsiteX11307" fmla="*/ 788739 w 3503192"/>
              <a:gd name="connsiteY11307" fmla="*/ 1014545 h 5818346"/>
              <a:gd name="connsiteX11308" fmla="*/ 799478 w 3503192"/>
              <a:gd name="connsiteY11308" fmla="*/ 1025281 h 5818346"/>
              <a:gd name="connsiteX11309" fmla="*/ 788739 w 3503192"/>
              <a:gd name="connsiteY11309" fmla="*/ 1036017 h 5818346"/>
              <a:gd name="connsiteX11310" fmla="*/ 778003 w 3503192"/>
              <a:gd name="connsiteY11310" fmla="*/ 1025281 h 5818346"/>
              <a:gd name="connsiteX11311" fmla="*/ 788739 w 3503192"/>
              <a:gd name="connsiteY11311" fmla="*/ 1014545 h 5818346"/>
              <a:gd name="connsiteX11312" fmla="*/ 1033704 w 3503192"/>
              <a:gd name="connsiteY11312" fmla="*/ 1011076 h 5818346"/>
              <a:gd name="connsiteX11313" fmla="*/ 1044440 w 3503192"/>
              <a:gd name="connsiteY11313" fmla="*/ 1021813 h 5818346"/>
              <a:gd name="connsiteX11314" fmla="*/ 1033704 w 3503192"/>
              <a:gd name="connsiteY11314" fmla="*/ 1032549 h 5818346"/>
              <a:gd name="connsiteX11315" fmla="*/ 1022967 w 3503192"/>
              <a:gd name="connsiteY11315" fmla="*/ 1021813 h 5818346"/>
              <a:gd name="connsiteX11316" fmla="*/ 1033704 w 3503192"/>
              <a:gd name="connsiteY11316" fmla="*/ 1011076 h 5818346"/>
              <a:gd name="connsiteX11317" fmla="*/ 1338133 w 3503192"/>
              <a:gd name="connsiteY11317" fmla="*/ 1007937 h 5818346"/>
              <a:gd name="connsiteX11318" fmla="*/ 1348871 w 3503192"/>
              <a:gd name="connsiteY11318" fmla="*/ 1018674 h 5818346"/>
              <a:gd name="connsiteX11319" fmla="*/ 1338133 w 3503192"/>
              <a:gd name="connsiteY11319" fmla="*/ 1029412 h 5818346"/>
              <a:gd name="connsiteX11320" fmla="*/ 1327397 w 3503192"/>
              <a:gd name="connsiteY11320" fmla="*/ 1018674 h 5818346"/>
              <a:gd name="connsiteX11321" fmla="*/ 1338133 w 3503192"/>
              <a:gd name="connsiteY11321" fmla="*/ 1007937 h 5818346"/>
              <a:gd name="connsiteX11322" fmla="*/ 819298 w 3503192"/>
              <a:gd name="connsiteY11322" fmla="*/ 1006945 h 5818346"/>
              <a:gd name="connsiteX11323" fmla="*/ 830034 w 3503192"/>
              <a:gd name="connsiteY11323" fmla="*/ 1017682 h 5818346"/>
              <a:gd name="connsiteX11324" fmla="*/ 819298 w 3503192"/>
              <a:gd name="connsiteY11324" fmla="*/ 1028418 h 5818346"/>
              <a:gd name="connsiteX11325" fmla="*/ 808561 w 3503192"/>
              <a:gd name="connsiteY11325" fmla="*/ 1017682 h 5818346"/>
              <a:gd name="connsiteX11326" fmla="*/ 819298 w 3503192"/>
              <a:gd name="connsiteY11326" fmla="*/ 1006945 h 5818346"/>
              <a:gd name="connsiteX11327" fmla="*/ 1613324 w 3503192"/>
              <a:gd name="connsiteY11327" fmla="*/ 1006120 h 5818346"/>
              <a:gd name="connsiteX11328" fmla="*/ 1624063 w 3503192"/>
              <a:gd name="connsiteY11328" fmla="*/ 1016856 h 5818346"/>
              <a:gd name="connsiteX11329" fmla="*/ 1613324 w 3503192"/>
              <a:gd name="connsiteY11329" fmla="*/ 1027593 h 5818346"/>
              <a:gd name="connsiteX11330" fmla="*/ 1602588 w 3503192"/>
              <a:gd name="connsiteY11330" fmla="*/ 1016856 h 5818346"/>
              <a:gd name="connsiteX11331" fmla="*/ 1613324 w 3503192"/>
              <a:gd name="connsiteY11331" fmla="*/ 1006120 h 5818346"/>
              <a:gd name="connsiteX11332" fmla="*/ 962179 w 3503192"/>
              <a:gd name="connsiteY11332" fmla="*/ 1002320 h 5818346"/>
              <a:gd name="connsiteX11333" fmla="*/ 972917 w 3503192"/>
              <a:gd name="connsiteY11333" fmla="*/ 1013057 h 5818346"/>
              <a:gd name="connsiteX11334" fmla="*/ 962179 w 3503192"/>
              <a:gd name="connsiteY11334" fmla="*/ 1023795 h 5818346"/>
              <a:gd name="connsiteX11335" fmla="*/ 951443 w 3503192"/>
              <a:gd name="connsiteY11335" fmla="*/ 1013057 h 5818346"/>
              <a:gd name="connsiteX11336" fmla="*/ 962179 w 3503192"/>
              <a:gd name="connsiteY11336" fmla="*/ 1002320 h 5818346"/>
              <a:gd name="connsiteX11337" fmla="*/ 857125 w 3503192"/>
              <a:gd name="connsiteY11337" fmla="*/ 1001660 h 5818346"/>
              <a:gd name="connsiteX11338" fmla="*/ 867862 w 3503192"/>
              <a:gd name="connsiteY11338" fmla="*/ 1012396 h 5818346"/>
              <a:gd name="connsiteX11339" fmla="*/ 857125 w 3503192"/>
              <a:gd name="connsiteY11339" fmla="*/ 1023132 h 5818346"/>
              <a:gd name="connsiteX11340" fmla="*/ 846389 w 3503192"/>
              <a:gd name="connsiteY11340" fmla="*/ 1012396 h 5818346"/>
              <a:gd name="connsiteX11341" fmla="*/ 857125 w 3503192"/>
              <a:gd name="connsiteY11341" fmla="*/ 1001660 h 5818346"/>
              <a:gd name="connsiteX11342" fmla="*/ 2121587 w 3503192"/>
              <a:gd name="connsiteY11342" fmla="*/ 1000173 h 5818346"/>
              <a:gd name="connsiteX11343" fmla="*/ 2132323 w 3503192"/>
              <a:gd name="connsiteY11343" fmla="*/ 1010910 h 5818346"/>
              <a:gd name="connsiteX11344" fmla="*/ 2121587 w 3503192"/>
              <a:gd name="connsiteY11344" fmla="*/ 1021646 h 5818346"/>
              <a:gd name="connsiteX11345" fmla="*/ 2110850 w 3503192"/>
              <a:gd name="connsiteY11345" fmla="*/ 1010910 h 5818346"/>
              <a:gd name="connsiteX11346" fmla="*/ 2121587 w 3503192"/>
              <a:gd name="connsiteY11346" fmla="*/ 1000173 h 5818346"/>
              <a:gd name="connsiteX11347" fmla="*/ 904037 w 3503192"/>
              <a:gd name="connsiteY11347" fmla="*/ 999678 h 5818346"/>
              <a:gd name="connsiteX11348" fmla="*/ 914773 w 3503192"/>
              <a:gd name="connsiteY11348" fmla="*/ 1010414 h 5818346"/>
              <a:gd name="connsiteX11349" fmla="*/ 904037 w 3503192"/>
              <a:gd name="connsiteY11349" fmla="*/ 1021152 h 5818346"/>
              <a:gd name="connsiteX11350" fmla="*/ 893300 w 3503192"/>
              <a:gd name="connsiteY11350" fmla="*/ 1010414 h 5818346"/>
              <a:gd name="connsiteX11351" fmla="*/ 904037 w 3503192"/>
              <a:gd name="connsiteY11351" fmla="*/ 999678 h 5818346"/>
              <a:gd name="connsiteX11352" fmla="*/ 723328 w 3503192"/>
              <a:gd name="connsiteY11352" fmla="*/ 999017 h 5818346"/>
              <a:gd name="connsiteX11353" fmla="*/ 734064 w 3503192"/>
              <a:gd name="connsiteY11353" fmla="*/ 1009753 h 5818346"/>
              <a:gd name="connsiteX11354" fmla="*/ 723328 w 3503192"/>
              <a:gd name="connsiteY11354" fmla="*/ 1020489 h 5818346"/>
              <a:gd name="connsiteX11355" fmla="*/ 712591 w 3503192"/>
              <a:gd name="connsiteY11355" fmla="*/ 1009753 h 5818346"/>
              <a:gd name="connsiteX11356" fmla="*/ 723328 w 3503192"/>
              <a:gd name="connsiteY11356" fmla="*/ 999017 h 5818346"/>
              <a:gd name="connsiteX11357" fmla="*/ 743149 w 3503192"/>
              <a:gd name="connsiteY11357" fmla="*/ 993070 h 5818346"/>
              <a:gd name="connsiteX11358" fmla="*/ 753886 w 3503192"/>
              <a:gd name="connsiteY11358" fmla="*/ 1003806 h 5818346"/>
              <a:gd name="connsiteX11359" fmla="*/ 744636 w 3503192"/>
              <a:gd name="connsiteY11359" fmla="*/ 1013057 h 5818346"/>
              <a:gd name="connsiteX11360" fmla="*/ 754711 w 3503192"/>
              <a:gd name="connsiteY11360" fmla="*/ 1023132 h 5818346"/>
              <a:gd name="connsiteX11361" fmla="*/ 743975 w 3503192"/>
              <a:gd name="connsiteY11361" fmla="*/ 1033870 h 5818346"/>
              <a:gd name="connsiteX11362" fmla="*/ 753554 w 3503192"/>
              <a:gd name="connsiteY11362" fmla="*/ 1043450 h 5818346"/>
              <a:gd name="connsiteX11363" fmla="*/ 742818 w 3503192"/>
              <a:gd name="connsiteY11363" fmla="*/ 1054188 h 5818346"/>
              <a:gd name="connsiteX11364" fmla="*/ 732082 w 3503192"/>
              <a:gd name="connsiteY11364" fmla="*/ 1043450 h 5818346"/>
              <a:gd name="connsiteX11365" fmla="*/ 742818 w 3503192"/>
              <a:gd name="connsiteY11365" fmla="*/ 1032714 h 5818346"/>
              <a:gd name="connsiteX11366" fmla="*/ 743866 w 3503192"/>
              <a:gd name="connsiteY11366" fmla="*/ 1033761 h 5818346"/>
              <a:gd name="connsiteX11367" fmla="*/ 733238 w 3503192"/>
              <a:gd name="connsiteY11367" fmla="*/ 1023132 h 5818346"/>
              <a:gd name="connsiteX11368" fmla="*/ 742489 w 3503192"/>
              <a:gd name="connsiteY11368" fmla="*/ 1013882 h 5818346"/>
              <a:gd name="connsiteX11369" fmla="*/ 732413 w 3503192"/>
              <a:gd name="connsiteY11369" fmla="*/ 1003806 h 5818346"/>
              <a:gd name="connsiteX11370" fmla="*/ 743149 w 3503192"/>
              <a:gd name="connsiteY11370" fmla="*/ 993070 h 5818346"/>
              <a:gd name="connsiteX11371" fmla="*/ 762475 w 3503192"/>
              <a:gd name="connsiteY11371" fmla="*/ 984645 h 5818346"/>
              <a:gd name="connsiteX11372" fmla="*/ 773213 w 3503192"/>
              <a:gd name="connsiteY11372" fmla="*/ 995382 h 5818346"/>
              <a:gd name="connsiteX11373" fmla="*/ 764622 w 3503192"/>
              <a:gd name="connsiteY11373" fmla="*/ 1003973 h 5818346"/>
              <a:gd name="connsiteX11374" fmla="*/ 773872 w 3503192"/>
              <a:gd name="connsiteY11374" fmla="*/ 1013223 h 5818346"/>
              <a:gd name="connsiteX11375" fmla="*/ 763136 w 3503192"/>
              <a:gd name="connsiteY11375" fmla="*/ 1023959 h 5818346"/>
              <a:gd name="connsiteX11376" fmla="*/ 752400 w 3503192"/>
              <a:gd name="connsiteY11376" fmla="*/ 1013223 h 5818346"/>
              <a:gd name="connsiteX11377" fmla="*/ 760989 w 3503192"/>
              <a:gd name="connsiteY11377" fmla="*/ 1004634 h 5818346"/>
              <a:gd name="connsiteX11378" fmla="*/ 751739 w 3503192"/>
              <a:gd name="connsiteY11378" fmla="*/ 995382 h 5818346"/>
              <a:gd name="connsiteX11379" fmla="*/ 762475 w 3503192"/>
              <a:gd name="connsiteY11379" fmla="*/ 984645 h 5818346"/>
              <a:gd name="connsiteX11380" fmla="*/ 1219697 w 3503192"/>
              <a:gd name="connsiteY11380" fmla="*/ 981177 h 5818346"/>
              <a:gd name="connsiteX11381" fmla="*/ 1230433 w 3503192"/>
              <a:gd name="connsiteY11381" fmla="*/ 991913 h 5818346"/>
              <a:gd name="connsiteX11382" fmla="*/ 1219697 w 3503192"/>
              <a:gd name="connsiteY11382" fmla="*/ 1002650 h 5818346"/>
              <a:gd name="connsiteX11383" fmla="*/ 1208961 w 3503192"/>
              <a:gd name="connsiteY11383" fmla="*/ 991913 h 5818346"/>
              <a:gd name="connsiteX11384" fmla="*/ 1219697 w 3503192"/>
              <a:gd name="connsiteY11384" fmla="*/ 981177 h 5818346"/>
              <a:gd name="connsiteX11385" fmla="*/ 808726 w 3503192"/>
              <a:gd name="connsiteY11385" fmla="*/ 980683 h 5818346"/>
              <a:gd name="connsiteX11386" fmla="*/ 819462 w 3503192"/>
              <a:gd name="connsiteY11386" fmla="*/ 991419 h 5818346"/>
              <a:gd name="connsiteX11387" fmla="*/ 808726 w 3503192"/>
              <a:gd name="connsiteY11387" fmla="*/ 1002156 h 5818346"/>
              <a:gd name="connsiteX11388" fmla="*/ 797990 w 3503192"/>
              <a:gd name="connsiteY11388" fmla="*/ 991419 h 5818346"/>
              <a:gd name="connsiteX11389" fmla="*/ 808726 w 3503192"/>
              <a:gd name="connsiteY11389" fmla="*/ 980683 h 5818346"/>
              <a:gd name="connsiteX11390" fmla="*/ 737203 w 3503192"/>
              <a:gd name="connsiteY11390" fmla="*/ 976387 h 5818346"/>
              <a:gd name="connsiteX11391" fmla="*/ 743316 w 3503192"/>
              <a:gd name="connsiteY11391" fmla="*/ 982499 h 5818346"/>
              <a:gd name="connsiteX11392" fmla="*/ 737203 w 3503192"/>
              <a:gd name="connsiteY11392" fmla="*/ 988612 h 5818346"/>
              <a:gd name="connsiteX11393" fmla="*/ 731092 w 3503192"/>
              <a:gd name="connsiteY11393" fmla="*/ 982499 h 5818346"/>
              <a:gd name="connsiteX11394" fmla="*/ 737203 w 3503192"/>
              <a:gd name="connsiteY11394" fmla="*/ 976387 h 5818346"/>
              <a:gd name="connsiteX11395" fmla="*/ 2295524 w 3503192"/>
              <a:gd name="connsiteY11395" fmla="*/ 976222 h 5818346"/>
              <a:gd name="connsiteX11396" fmla="*/ 2306260 w 3503192"/>
              <a:gd name="connsiteY11396" fmla="*/ 986959 h 5818346"/>
              <a:gd name="connsiteX11397" fmla="*/ 2295524 w 3503192"/>
              <a:gd name="connsiteY11397" fmla="*/ 997695 h 5818346"/>
              <a:gd name="connsiteX11398" fmla="*/ 2284788 w 3503192"/>
              <a:gd name="connsiteY11398" fmla="*/ 986959 h 5818346"/>
              <a:gd name="connsiteX11399" fmla="*/ 2295524 w 3503192"/>
              <a:gd name="connsiteY11399" fmla="*/ 976222 h 5818346"/>
              <a:gd name="connsiteX11400" fmla="*/ 838294 w 3503192"/>
              <a:gd name="connsiteY11400" fmla="*/ 970276 h 5818346"/>
              <a:gd name="connsiteX11401" fmla="*/ 849032 w 3503192"/>
              <a:gd name="connsiteY11401" fmla="*/ 981012 h 5818346"/>
              <a:gd name="connsiteX11402" fmla="*/ 838294 w 3503192"/>
              <a:gd name="connsiteY11402" fmla="*/ 991749 h 5818346"/>
              <a:gd name="connsiteX11403" fmla="*/ 827557 w 3503192"/>
              <a:gd name="connsiteY11403" fmla="*/ 981012 h 5818346"/>
              <a:gd name="connsiteX11404" fmla="*/ 838294 w 3503192"/>
              <a:gd name="connsiteY11404" fmla="*/ 970276 h 5818346"/>
              <a:gd name="connsiteX11405" fmla="*/ 1756041 w 3503192"/>
              <a:gd name="connsiteY11405" fmla="*/ 968294 h 5818346"/>
              <a:gd name="connsiteX11406" fmla="*/ 1766778 w 3503192"/>
              <a:gd name="connsiteY11406" fmla="*/ 979030 h 5818346"/>
              <a:gd name="connsiteX11407" fmla="*/ 1756041 w 3503192"/>
              <a:gd name="connsiteY11407" fmla="*/ 989766 h 5818346"/>
              <a:gd name="connsiteX11408" fmla="*/ 1745305 w 3503192"/>
              <a:gd name="connsiteY11408" fmla="*/ 979030 h 5818346"/>
              <a:gd name="connsiteX11409" fmla="*/ 1756041 w 3503192"/>
              <a:gd name="connsiteY11409" fmla="*/ 968294 h 5818346"/>
              <a:gd name="connsiteX11410" fmla="*/ 3400255 w 3503192"/>
              <a:gd name="connsiteY11410" fmla="*/ 966972 h 5818346"/>
              <a:gd name="connsiteX11411" fmla="*/ 3410993 w 3503192"/>
              <a:gd name="connsiteY11411" fmla="*/ 977709 h 5818346"/>
              <a:gd name="connsiteX11412" fmla="*/ 3400255 w 3503192"/>
              <a:gd name="connsiteY11412" fmla="*/ 988447 h 5818346"/>
              <a:gd name="connsiteX11413" fmla="*/ 3389518 w 3503192"/>
              <a:gd name="connsiteY11413" fmla="*/ 977709 h 5818346"/>
              <a:gd name="connsiteX11414" fmla="*/ 3400255 w 3503192"/>
              <a:gd name="connsiteY11414" fmla="*/ 966972 h 5818346"/>
              <a:gd name="connsiteX11415" fmla="*/ 758842 w 3503192"/>
              <a:gd name="connsiteY11415" fmla="*/ 966476 h 5818346"/>
              <a:gd name="connsiteX11416" fmla="*/ 769578 w 3503192"/>
              <a:gd name="connsiteY11416" fmla="*/ 977213 h 5818346"/>
              <a:gd name="connsiteX11417" fmla="*/ 758842 w 3503192"/>
              <a:gd name="connsiteY11417" fmla="*/ 987949 h 5818346"/>
              <a:gd name="connsiteX11418" fmla="*/ 748106 w 3503192"/>
              <a:gd name="connsiteY11418" fmla="*/ 977213 h 5818346"/>
              <a:gd name="connsiteX11419" fmla="*/ 758842 w 3503192"/>
              <a:gd name="connsiteY11419" fmla="*/ 966476 h 5818346"/>
              <a:gd name="connsiteX11420" fmla="*/ 1457558 w 3503192"/>
              <a:gd name="connsiteY11420" fmla="*/ 964825 h 5818346"/>
              <a:gd name="connsiteX11421" fmla="*/ 1468296 w 3503192"/>
              <a:gd name="connsiteY11421" fmla="*/ 975562 h 5818346"/>
              <a:gd name="connsiteX11422" fmla="*/ 1457558 w 3503192"/>
              <a:gd name="connsiteY11422" fmla="*/ 986298 h 5818346"/>
              <a:gd name="connsiteX11423" fmla="*/ 1446822 w 3503192"/>
              <a:gd name="connsiteY11423" fmla="*/ 975562 h 5818346"/>
              <a:gd name="connsiteX11424" fmla="*/ 1457558 w 3503192"/>
              <a:gd name="connsiteY11424" fmla="*/ 964825 h 5818346"/>
              <a:gd name="connsiteX11425" fmla="*/ 1121084 w 3503192"/>
              <a:gd name="connsiteY11425" fmla="*/ 964165 h 5818346"/>
              <a:gd name="connsiteX11426" fmla="*/ 1131820 w 3503192"/>
              <a:gd name="connsiteY11426" fmla="*/ 974901 h 5818346"/>
              <a:gd name="connsiteX11427" fmla="*/ 1121084 w 3503192"/>
              <a:gd name="connsiteY11427" fmla="*/ 985638 h 5818346"/>
              <a:gd name="connsiteX11428" fmla="*/ 1110348 w 3503192"/>
              <a:gd name="connsiteY11428" fmla="*/ 974901 h 5818346"/>
              <a:gd name="connsiteX11429" fmla="*/ 1121084 w 3503192"/>
              <a:gd name="connsiteY11429" fmla="*/ 964165 h 5818346"/>
              <a:gd name="connsiteX11430" fmla="*/ 874138 w 3503192"/>
              <a:gd name="connsiteY11430" fmla="*/ 961522 h 5818346"/>
              <a:gd name="connsiteX11431" fmla="*/ 884874 w 3503192"/>
              <a:gd name="connsiteY11431" fmla="*/ 972258 h 5818346"/>
              <a:gd name="connsiteX11432" fmla="*/ 874138 w 3503192"/>
              <a:gd name="connsiteY11432" fmla="*/ 982995 h 5818346"/>
              <a:gd name="connsiteX11433" fmla="*/ 863401 w 3503192"/>
              <a:gd name="connsiteY11433" fmla="*/ 972258 h 5818346"/>
              <a:gd name="connsiteX11434" fmla="*/ 874138 w 3503192"/>
              <a:gd name="connsiteY11434" fmla="*/ 961522 h 5818346"/>
              <a:gd name="connsiteX11435" fmla="*/ 779820 w 3503192"/>
              <a:gd name="connsiteY11435" fmla="*/ 958218 h 5818346"/>
              <a:gd name="connsiteX11436" fmla="*/ 790557 w 3503192"/>
              <a:gd name="connsiteY11436" fmla="*/ 968955 h 5818346"/>
              <a:gd name="connsiteX11437" fmla="*/ 783868 w 3503192"/>
              <a:gd name="connsiteY11437" fmla="*/ 975645 h 5818346"/>
              <a:gd name="connsiteX11438" fmla="*/ 793200 w 3503192"/>
              <a:gd name="connsiteY11438" fmla="*/ 984977 h 5818346"/>
              <a:gd name="connsiteX11439" fmla="*/ 785354 w 3503192"/>
              <a:gd name="connsiteY11439" fmla="*/ 992824 h 5818346"/>
              <a:gd name="connsiteX11440" fmla="*/ 795015 w 3503192"/>
              <a:gd name="connsiteY11440" fmla="*/ 1002485 h 5818346"/>
              <a:gd name="connsiteX11441" fmla="*/ 784279 w 3503192"/>
              <a:gd name="connsiteY11441" fmla="*/ 1013223 h 5818346"/>
              <a:gd name="connsiteX11442" fmla="*/ 773543 w 3503192"/>
              <a:gd name="connsiteY11442" fmla="*/ 1002485 h 5818346"/>
              <a:gd name="connsiteX11443" fmla="*/ 781390 w 3503192"/>
              <a:gd name="connsiteY11443" fmla="*/ 994640 h 5818346"/>
              <a:gd name="connsiteX11444" fmla="*/ 771727 w 3503192"/>
              <a:gd name="connsiteY11444" fmla="*/ 984977 h 5818346"/>
              <a:gd name="connsiteX11445" fmla="*/ 778418 w 3503192"/>
              <a:gd name="connsiteY11445" fmla="*/ 978288 h 5818346"/>
              <a:gd name="connsiteX11446" fmla="*/ 769084 w 3503192"/>
              <a:gd name="connsiteY11446" fmla="*/ 968955 h 5818346"/>
              <a:gd name="connsiteX11447" fmla="*/ 779820 w 3503192"/>
              <a:gd name="connsiteY11447" fmla="*/ 958218 h 5818346"/>
              <a:gd name="connsiteX11448" fmla="*/ 2475406 w 3503192"/>
              <a:gd name="connsiteY11448" fmla="*/ 958052 h 5818346"/>
              <a:gd name="connsiteX11449" fmla="*/ 2486142 w 3503192"/>
              <a:gd name="connsiteY11449" fmla="*/ 968788 h 5818346"/>
              <a:gd name="connsiteX11450" fmla="*/ 2475406 w 3503192"/>
              <a:gd name="connsiteY11450" fmla="*/ 979524 h 5818346"/>
              <a:gd name="connsiteX11451" fmla="*/ 2464670 w 3503192"/>
              <a:gd name="connsiteY11451" fmla="*/ 968788 h 5818346"/>
              <a:gd name="connsiteX11452" fmla="*/ 2475406 w 3503192"/>
              <a:gd name="connsiteY11452" fmla="*/ 958052 h 5818346"/>
              <a:gd name="connsiteX11453" fmla="*/ 1039650 w 3503192"/>
              <a:gd name="connsiteY11453" fmla="*/ 955244 h 5818346"/>
              <a:gd name="connsiteX11454" fmla="*/ 1050387 w 3503192"/>
              <a:gd name="connsiteY11454" fmla="*/ 965981 h 5818346"/>
              <a:gd name="connsiteX11455" fmla="*/ 1039650 w 3503192"/>
              <a:gd name="connsiteY11455" fmla="*/ 976717 h 5818346"/>
              <a:gd name="connsiteX11456" fmla="*/ 1028914 w 3503192"/>
              <a:gd name="connsiteY11456" fmla="*/ 965981 h 5818346"/>
              <a:gd name="connsiteX11457" fmla="*/ 1039650 w 3503192"/>
              <a:gd name="connsiteY11457" fmla="*/ 955244 h 5818346"/>
              <a:gd name="connsiteX11458" fmla="*/ 918406 w 3503192"/>
              <a:gd name="connsiteY11458" fmla="*/ 955244 h 5818346"/>
              <a:gd name="connsiteX11459" fmla="*/ 929143 w 3503192"/>
              <a:gd name="connsiteY11459" fmla="*/ 965981 h 5818346"/>
              <a:gd name="connsiteX11460" fmla="*/ 918406 w 3503192"/>
              <a:gd name="connsiteY11460" fmla="*/ 976717 h 5818346"/>
              <a:gd name="connsiteX11461" fmla="*/ 907670 w 3503192"/>
              <a:gd name="connsiteY11461" fmla="*/ 965981 h 5818346"/>
              <a:gd name="connsiteX11462" fmla="*/ 918406 w 3503192"/>
              <a:gd name="connsiteY11462" fmla="*/ 955244 h 5818346"/>
              <a:gd name="connsiteX11463" fmla="*/ 972917 w 3503192"/>
              <a:gd name="connsiteY11463" fmla="*/ 952766 h 5818346"/>
              <a:gd name="connsiteX11464" fmla="*/ 983653 w 3503192"/>
              <a:gd name="connsiteY11464" fmla="*/ 963502 h 5818346"/>
              <a:gd name="connsiteX11465" fmla="*/ 972917 w 3503192"/>
              <a:gd name="connsiteY11465" fmla="*/ 974240 h 5818346"/>
              <a:gd name="connsiteX11466" fmla="*/ 962181 w 3503192"/>
              <a:gd name="connsiteY11466" fmla="*/ 963502 h 5818346"/>
              <a:gd name="connsiteX11467" fmla="*/ 972917 w 3503192"/>
              <a:gd name="connsiteY11467" fmla="*/ 952766 h 5818346"/>
              <a:gd name="connsiteX11468" fmla="*/ 3218226 w 3503192"/>
              <a:gd name="connsiteY11468" fmla="*/ 951776 h 5818346"/>
              <a:gd name="connsiteX11469" fmla="*/ 3228964 w 3503192"/>
              <a:gd name="connsiteY11469" fmla="*/ 962512 h 5818346"/>
              <a:gd name="connsiteX11470" fmla="*/ 3218226 w 3503192"/>
              <a:gd name="connsiteY11470" fmla="*/ 973248 h 5818346"/>
              <a:gd name="connsiteX11471" fmla="*/ 3207490 w 3503192"/>
              <a:gd name="connsiteY11471" fmla="*/ 962512 h 5818346"/>
              <a:gd name="connsiteX11472" fmla="*/ 3218226 w 3503192"/>
              <a:gd name="connsiteY11472" fmla="*/ 951776 h 5818346"/>
              <a:gd name="connsiteX11473" fmla="*/ 2659417 w 3503192"/>
              <a:gd name="connsiteY11473" fmla="*/ 946159 h 5818346"/>
              <a:gd name="connsiteX11474" fmla="*/ 2670154 w 3503192"/>
              <a:gd name="connsiteY11474" fmla="*/ 956895 h 5818346"/>
              <a:gd name="connsiteX11475" fmla="*/ 2659417 w 3503192"/>
              <a:gd name="connsiteY11475" fmla="*/ 967631 h 5818346"/>
              <a:gd name="connsiteX11476" fmla="*/ 2648681 w 3503192"/>
              <a:gd name="connsiteY11476" fmla="*/ 956895 h 5818346"/>
              <a:gd name="connsiteX11477" fmla="*/ 2659417 w 3503192"/>
              <a:gd name="connsiteY11477" fmla="*/ 946159 h 5818346"/>
              <a:gd name="connsiteX11478" fmla="*/ 3032727 w 3503192"/>
              <a:gd name="connsiteY11478" fmla="*/ 943021 h 5818346"/>
              <a:gd name="connsiteX11479" fmla="*/ 3043465 w 3503192"/>
              <a:gd name="connsiteY11479" fmla="*/ 953758 h 5818346"/>
              <a:gd name="connsiteX11480" fmla="*/ 3032727 w 3503192"/>
              <a:gd name="connsiteY11480" fmla="*/ 964494 h 5818346"/>
              <a:gd name="connsiteX11481" fmla="*/ 3021991 w 3503192"/>
              <a:gd name="connsiteY11481" fmla="*/ 953758 h 5818346"/>
              <a:gd name="connsiteX11482" fmla="*/ 3032727 w 3503192"/>
              <a:gd name="connsiteY11482" fmla="*/ 943021 h 5818346"/>
              <a:gd name="connsiteX11483" fmla="*/ 2845906 w 3503192"/>
              <a:gd name="connsiteY11483" fmla="*/ 941038 h 5818346"/>
              <a:gd name="connsiteX11484" fmla="*/ 2856644 w 3503192"/>
              <a:gd name="connsiteY11484" fmla="*/ 951774 h 5818346"/>
              <a:gd name="connsiteX11485" fmla="*/ 2845906 w 3503192"/>
              <a:gd name="connsiteY11485" fmla="*/ 962510 h 5818346"/>
              <a:gd name="connsiteX11486" fmla="*/ 2835170 w 3503192"/>
              <a:gd name="connsiteY11486" fmla="*/ 951774 h 5818346"/>
              <a:gd name="connsiteX11487" fmla="*/ 2845906 w 3503192"/>
              <a:gd name="connsiteY11487" fmla="*/ 941038 h 5818346"/>
              <a:gd name="connsiteX11488" fmla="*/ 773212 w 3503192"/>
              <a:gd name="connsiteY11488" fmla="*/ 940377 h 5818346"/>
              <a:gd name="connsiteX11489" fmla="*/ 783948 w 3503192"/>
              <a:gd name="connsiteY11489" fmla="*/ 951113 h 5818346"/>
              <a:gd name="connsiteX11490" fmla="*/ 773212 w 3503192"/>
              <a:gd name="connsiteY11490" fmla="*/ 961851 h 5818346"/>
              <a:gd name="connsiteX11491" fmla="*/ 762475 w 3503192"/>
              <a:gd name="connsiteY11491" fmla="*/ 951113 h 5818346"/>
              <a:gd name="connsiteX11492" fmla="*/ 773212 w 3503192"/>
              <a:gd name="connsiteY11492" fmla="*/ 940377 h 5818346"/>
              <a:gd name="connsiteX11493" fmla="*/ 857125 w 3503192"/>
              <a:gd name="connsiteY11493" fmla="*/ 937240 h 5818346"/>
              <a:gd name="connsiteX11494" fmla="*/ 867862 w 3503192"/>
              <a:gd name="connsiteY11494" fmla="*/ 947976 h 5818346"/>
              <a:gd name="connsiteX11495" fmla="*/ 857125 w 3503192"/>
              <a:gd name="connsiteY11495" fmla="*/ 958712 h 5818346"/>
              <a:gd name="connsiteX11496" fmla="*/ 846389 w 3503192"/>
              <a:gd name="connsiteY11496" fmla="*/ 947976 h 5818346"/>
              <a:gd name="connsiteX11497" fmla="*/ 857125 w 3503192"/>
              <a:gd name="connsiteY11497" fmla="*/ 937240 h 5818346"/>
              <a:gd name="connsiteX11498" fmla="*/ 1325909 w 3503192"/>
              <a:gd name="connsiteY11498" fmla="*/ 936083 h 5818346"/>
              <a:gd name="connsiteX11499" fmla="*/ 1336645 w 3503192"/>
              <a:gd name="connsiteY11499" fmla="*/ 946820 h 5818346"/>
              <a:gd name="connsiteX11500" fmla="*/ 1325909 w 3503192"/>
              <a:gd name="connsiteY11500" fmla="*/ 957556 h 5818346"/>
              <a:gd name="connsiteX11501" fmla="*/ 1315173 w 3503192"/>
              <a:gd name="connsiteY11501" fmla="*/ 946820 h 5818346"/>
              <a:gd name="connsiteX11502" fmla="*/ 1325909 w 3503192"/>
              <a:gd name="connsiteY11502" fmla="*/ 936083 h 5818346"/>
              <a:gd name="connsiteX11503" fmla="*/ 1907018 w 3503192"/>
              <a:gd name="connsiteY11503" fmla="*/ 933771 h 5818346"/>
              <a:gd name="connsiteX11504" fmla="*/ 1917754 w 3503192"/>
              <a:gd name="connsiteY11504" fmla="*/ 944508 h 5818346"/>
              <a:gd name="connsiteX11505" fmla="*/ 1907018 w 3503192"/>
              <a:gd name="connsiteY11505" fmla="*/ 955244 h 5818346"/>
              <a:gd name="connsiteX11506" fmla="*/ 1896281 w 3503192"/>
              <a:gd name="connsiteY11506" fmla="*/ 944508 h 5818346"/>
              <a:gd name="connsiteX11507" fmla="*/ 1907018 w 3503192"/>
              <a:gd name="connsiteY11507" fmla="*/ 933771 h 5818346"/>
              <a:gd name="connsiteX11508" fmla="*/ 795843 w 3503192"/>
              <a:gd name="connsiteY11508" fmla="*/ 932780 h 5818346"/>
              <a:gd name="connsiteX11509" fmla="*/ 806581 w 3503192"/>
              <a:gd name="connsiteY11509" fmla="*/ 943516 h 5818346"/>
              <a:gd name="connsiteX11510" fmla="*/ 801623 w 3503192"/>
              <a:gd name="connsiteY11510" fmla="*/ 948472 h 5818346"/>
              <a:gd name="connsiteX11511" fmla="*/ 811534 w 3503192"/>
              <a:gd name="connsiteY11511" fmla="*/ 958383 h 5818346"/>
              <a:gd name="connsiteX11512" fmla="*/ 805754 w 3503192"/>
              <a:gd name="connsiteY11512" fmla="*/ 964165 h 5818346"/>
              <a:gd name="connsiteX11513" fmla="*/ 814672 w 3503192"/>
              <a:gd name="connsiteY11513" fmla="*/ 973084 h 5818346"/>
              <a:gd name="connsiteX11514" fmla="*/ 803936 w 3503192"/>
              <a:gd name="connsiteY11514" fmla="*/ 983820 h 5818346"/>
              <a:gd name="connsiteX11515" fmla="*/ 793200 w 3503192"/>
              <a:gd name="connsiteY11515" fmla="*/ 973084 h 5818346"/>
              <a:gd name="connsiteX11516" fmla="*/ 798982 w 3503192"/>
              <a:gd name="connsiteY11516" fmla="*/ 967304 h 5818346"/>
              <a:gd name="connsiteX11517" fmla="*/ 790061 w 3503192"/>
              <a:gd name="connsiteY11517" fmla="*/ 958383 h 5818346"/>
              <a:gd name="connsiteX11518" fmla="*/ 795017 w 3503192"/>
              <a:gd name="connsiteY11518" fmla="*/ 953427 h 5818346"/>
              <a:gd name="connsiteX11519" fmla="*/ 785106 w 3503192"/>
              <a:gd name="connsiteY11519" fmla="*/ 943516 h 5818346"/>
              <a:gd name="connsiteX11520" fmla="*/ 795843 w 3503192"/>
              <a:gd name="connsiteY11520" fmla="*/ 932780 h 5818346"/>
              <a:gd name="connsiteX11521" fmla="*/ 891648 w 3503192"/>
              <a:gd name="connsiteY11521" fmla="*/ 925511 h 5818346"/>
              <a:gd name="connsiteX11522" fmla="*/ 902384 w 3503192"/>
              <a:gd name="connsiteY11522" fmla="*/ 936248 h 5818346"/>
              <a:gd name="connsiteX11523" fmla="*/ 891648 w 3503192"/>
              <a:gd name="connsiteY11523" fmla="*/ 946984 h 5818346"/>
              <a:gd name="connsiteX11524" fmla="*/ 880911 w 3503192"/>
              <a:gd name="connsiteY11524" fmla="*/ 936248 h 5818346"/>
              <a:gd name="connsiteX11525" fmla="*/ 891648 w 3503192"/>
              <a:gd name="connsiteY11525" fmla="*/ 925511 h 5818346"/>
              <a:gd name="connsiteX11526" fmla="*/ 1585409 w 3503192"/>
              <a:gd name="connsiteY11526" fmla="*/ 923529 h 5818346"/>
              <a:gd name="connsiteX11527" fmla="*/ 1596146 w 3503192"/>
              <a:gd name="connsiteY11527" fmla="*/ 934266 h 5818346"/>
              <a:gd name="connsiteX11528" fmla="*/ 1585409 w 3503192"/>
              <a:gd name="connsiteY11528" fmla="*/ 945002 h 5818346"/>
              <a:gd name="connsiteX11529" fmla="*/ 1574673 w 3503192"/>
              <a:gd name="connsiteY11529" fmla="*/ 934266 h 5818346"/>
              <a:gd name="connsiteX11530" fmla="*/ 1585409 w 3503192"/>
              <a:gd name="connsiteY11530" fmla="*/ 923529 h 5818346"/>
              <a:gd name="connsiteX11531" fmla="*/ 786098 w 3503192"/>
              <a:gd name="connsiteY11531" fmla="*/ 923033 h 5818346"/>
              <a:gd name="connsiteX11532" fmla="*/ 788576 w 3503192"/>
              <a:gd name="connsiteY11532" fmla="*/ 925511 h 5818346"/>
              <a:gd name="connsiteX11533" fmla="*/ 786098 w 3503192"/>
              <a:gd name="connsiteY11533" fmla="*/ 927990 h 5818346"/>
              <a:gd name="connsiteX11534" fmla="*/ 783620 w 3503192"/>
              <a:gd name="connsiteY11534" fmla="*/ 925511 h 5818346"/>
              <a:gd name="connsiteX11535" fmla="*/ 786098 w 3503192"/>
              <a:gd name="connsiteY11535" fmla="*/ 923033 h 5818346"/>
              <a:gd name="connsiteX11536" fmla="*/ 818143 w 3503192"/>
              <a:gd name="connsiteY11536" fmla="*/ 922373 h 5818346"/>
              <a:gd name="connsiteX11537" fmla="*/ 828879 w 3503192"/>
              <a:gd name="connsiteY11537" fmla="*/ 933109 h 5818346"/>
              <a:gd name="connsiteX11538" fmla="*/ 824998 w 3503192"/>
              <a:gd name="connsiteY11538" fmla="*/ 936992 h 5818346"/>
              <a:gd name="connsiteX11539" fmla="*/ 833834 w 3503192"/>
              <a:gd name="connsiteY11539" fmla="*/ 945827 h 5818346"/>
              <a:gd name="connsiteX11540" fmla="*/ 829125 w 3503192"/>
              <a:gd name="connsiteY11540" fmla="*/ 950536 h 5818346"/>
              <a:gd name="connsiteX11541" fmla="*/ 839119 w 3503192"/>
              <a:gd name="connsiteY11541" fmla="*/ 960530 h 5818346"/>
              <a:gd name="connsiteX11542" fmla="*/ 828383 w 3503192"/>
              <a:gd name="connsiteY11542" fmla="*/ 971266 h 5818346"/>
              <a:gd name="connsiteX11543" fmla="*/ 817647 w 3503192"/>
              <a:gd name="connsiteY11543" fmla="*/ 960530 h 5818346"/>
              <a:gd name="connsiteX11544" fmla="*/ 822355 w 3503192"/>
              <a:gd name="connsiteY11544" fmla="*/ 955823 h 5818346"/>
              <a:gd name="connsiteX11545" fmla="*/ 812361 w 3503192"/>
              <a:gd name="connsiteY11545" fmla="*/ 945827 h 5818346"/>
              <a:gd name="connsiteX11546" fmla="*/ 816244 w 3503192"/>
              <a:gd name="connsiteY11546" fmla="*/ 941946 h 5818346"/>
              <a:gd name="connsiteX11547" fmla="*/ 807406 w 3503192"/>
              <a:gd name="connsiteY11547" fmla="*/ 933109 h 5818346"/>
              <a:gd name="connsiteX11548" fmla="*/ 818143 w 3503192"/>
              <a:gd name="connsiteY11548" fmla="*/ 922373 h 5818346"/>
              <a:gd name="connsiteX11549" fmla="*/ 1215403 w 3503192"/>
              <a:gd name="connsiteY11549" fmla="*/ 917747 h 5818346"/>
              <a:gd name="connsiteX11550" fmla="*/ 1226141 w 3503192"/>
              <a:gd name="connsiteY11550" fmla="*/ 928484 h 5818346"/>
              <a:gd name="connsiteX11551" fmla="*/ 1215403 w 3503192"/>
              <a:gd name="connsiteY11551" fmla="*/ 939220 h 5818346"/>
              <a:gd name="connsiteX11552" fmla="*/ 1204667 w 3503192"/>
              <a:gd name="connsiteY11552" fmla="*/ 928484 h 5818346"/>
              <a:gd name="connsiteX11553" fmla="*/ 1215403 w 3503192"/>
              <a:gd name="connsiteY11553" fmla="*/ 917747 h 5818346"/>
              <a:gd name="connsiteX11554" fmla="*/ 933438 w 3503192"/>
              <a:gd name="connsiteY11554" fmla="*/ 915436 h 5818346"/>
              <a:gd name="connsiteX11555" fmla="*/ 944175 w 3503192"/>
              <a:gd name="connsiteY11555" fmla="*/ 926172 h 5818346"/>
              <a:gd name="connsiteX11556" fmla="*/ 933438 w 3503192"/>
              <a:gd name="connsiteY11556" fmla="*/ 936908 h 5818346"/>
              <a:gd name="connsiteX11557" fmla="*/ 922702 w 3503192"/>
              <a:gd name="connsiteY11557" fmla="*/ 926172 h 5818346"/>
              <a:gd name="connsiteX11558" fmla="*/ 933438 w 3503192"/>
              <a:gd name="connsiteY11558" fmla="*/ 915436 h 5818346"/>
              <a:gd name="connsiteX11559" fmla="*/ 984644 w 3503192"/>
              <a:gd name="connsiteY11559" fmla="*/ 908497 h 5818346"/>
              <a:gd name="connsiteX11560" fmla="*/ 995380 w 3503192"/>
              <a:gd name="connsiteY11560" fmla="*/ 919234 h 5818346"/>
              <a:gd name="connsiteX11561" fmla="*/ 984644 w 3503192"/>
              <a:gd name="connsiteY11561" fmla="*/ 929970 h 5818346"/>
              <a:gd name="connsiteX11562" fmla="*/ 973907 w 3503192"/>
              <a:gd name="connsiteY11562" fmla="*/ 919234 h 5818346"/>
              <a:gd name="connsiteX11563" fmla="*/ 984644 w 3503192"/>
              <a:gd name="connsiteY11563" fmla="*/ 908497 h 5818346"/>
              <a:gd name="connsiteX11564" fmla="*/ 1123398 w 3503192"/>
              <a:gd name="connsiteY11564" fmla="*/ 908168 h 5818346"/>
              <a:gd name="connsiteX11565" fmla="*/ 1134136 w 3503192"/>
              <a:gd name="connsiteY11565" fmla="*/ 918904 h 5818346"/>
              <a:gd name="connsiteX11566" fmla="*/ 1123398 w 3503192"/>
              <a:gd name="connsiteY11566" fmla="*/ 929640 h 5818346"/>
              <a:gd name="connsiteX11567" fmla="*/ 1112661 w 3503192"/>
              <a:gd name="connsiteY11567" fmla="*/ 918904 h 5818346"/>
              <a:gd name="connsiteX11568" fmla="*/ 1123398 w 3503192"/>
              <a:gd name="connsiteY11568" fmla="*/ 908168 h 5818346"/>
              <a:gd name="connsiteX11569" fmla="*/ 810379 w 3503192"/>
              <a:gd name="connsiteY11569" fmla="*/ 908001 h 5818346"/>
              <a:gd name="connsiteX11570" fmla="*/ 821115 w 3503192"/>
              <a:gd name="connsiteY11570" fmla="*/ 918738 h 5818346"/>
              <a:gd name="connsiteX11571" fmla="*/ 810379 w 3503192"/>
              <a:gd name="connsiteY11571" fmla="*/ 929474 h 5818346"/>
              <a:gd name="connsiteX11572" fmla="*/ 799642 w 3503192"/>
              <a:gd name="connsiteY11572" fmla="*/ 918738 h 5818346"/>
              <a:gd name="connsiteX11573" fmla="*/ 810379 w 3503192"/>
              <a:gd name="connsiteY11573" fmla="*/ 908001 h 5818346"/>
              <a:gd name="connsiteX11574" fmla="*/ 1047248 w 3503192"/>
              <a:gd name="connsiteY11574" fmla="*/ 905690 h 5818346"/>
              <a:gd name="connsiteX11575" fmla="*/ 1057986 w 3503192"/>
              <a:gd name="connsiteY11575" fmla="*/ 916426 h 5818346"/>
              <a:gd name="connsiteX11576" fmla="*/ 1047248 w 3503192"/>
              <a:gd name="connsiteY11576" fmla="*/ 927163 h 5818346"/>
              <a:gd name="connsiteX11577" fmla="*/ 1036511 w 3503192"/>
              <a:gd name="connsiteY11577" fmla="*/ 916426 h 5818346"/>
              <a:gd name="connsiteX11578" fmla="*/ 1047248 w 3503192"/>
              <a:gd name="connsiteY11578" fmla="*/ 905690 h 5818346"/>
              <a:gd name="connsiteX11579" fmla="*/ 2065756 w 3503192"/>
              <a:gd name="connsiteY11579" fmla="*/ 903211 h 5818346"/>
              <a:gd name="connsiteX11580" fmla="*/ 2076493 w 3503192"/>
              <a:gd name="connsiteY11580" fmla="*/ 913948 h 5818346"/>
              <a:gd name="connsiteX11581" fmla="*/ 2065756 w 3503192"/>
              <a:gd name="connsiteY11581" fmla="*/ 924686 h 5818346"/>
              <a:gd name="connsiteX11582" fmla="*/ 2055020 w 3503192"/>
              <a:gd name="connsiteY11582" fmla="*/ 913948 h 5818346"/>
              <a:gd name="connsiteX11583" fmla="*/ 2065756 w 3503192"/>
              <a:gd name="connsiteY11583" fmla="*/ 903211 h 5818346"/>
              <a:gd name="connsiteX11584" fmla="*/ 834165 w 3503192"/>
              <a:gd name="connsiteY11584" fmla="*/ 898092 h 5818346"/>
              <a:gd name="connsiteX11585" fmla="*/ 844903 w 3503192"/>
              <a:gd name="connsiteY11585" fmla="*/ 908829 h 5818346"/>
              <a:gd name="connsiteX11586" fmla="*/ 842673 w 3503192"/>
              <a:gd name="connsiteY11586" fmla="*/ 911059 h 5818346"/>
              <a:gd name="connsiteX11587" fmla="*/ 852004 w 3503192"/>
              <a:gd name="connsiteY11587" fmla="*/ 920390 h 5818346"/>
              <a:gd name="connsiteX11588" fmla="*/ 849360 w 3503192"/>
              <a:gd name="connsiteY11588" fmla="*/ 923033 h 5818346"/>
              <a:gd name="connsiteX11589" fmla="*/ 858447 w 3503192"/>
              <a:gd name="connsiteY11589" fmla="*/ 932119 h 5818346"/>
              <a:gd name="connsiteX11590" fmla="*/ 847709 w 3503192"/>
              <a:gd name="connsiteY11590" fmla="*/ 942855 h 5818346"/>
              <a:gd name="connsiteX11591" fmla="*/ 836972 w 3503192"/>
              <a:gd name="connsiteY11591" fmla="*/ 932119 h 5818346"/>
              <a:gd name="connsiteX11592" fmla="*/ 839615 w 3503192"/>
              <a:gd name="connsiteY11592" fmla="*/ 929476 h 5818346"/>
              <a:gd name="connsiteX11593" fmla="*/ 830530 w 3503192"/>
              <a:gd name="connsiteY11593" fmla="*/ 920390 h 5818346"/>
              <a:gd name="connsiteX11594" fmla="*/ 832760 w 3503192"/>
              <a:gd name="connsiteY11594" fmla="*/ 918160 h 5818346"/>
              <a:gd name="connsiteX11595" fmla="*/ 823428 w 3503192"/>
              <a:gd name="connsiteY11595" fmla="*/ 908829 h 5818346"/>
              <a:gd name="connsiteX11596" fmla="*/ 834165 w 3503192"/>
              <a:gd name="connsiteY11596" fmla="*/ 898092 h 5818346"/>
              <a:gd name="connsiteX11597" fmla="*/ 909156 w 3503192"/>
              <a:gd name="connsiteY11597" fmla="*/ 892971 h 5818346"/>
              <a:gd name="connsiteX11598" fmla="*/ 919892 w 3503192"/>
              <a:gd name="connsiteY11598" fmla="*/ 903707 h 5818346"/>
              <a:gd name="connsiteX11599" fmla="*/ 909156 w 3503192"/>
              <a:gd name="connsiteY11599" fmla="*/ 914444 h 5818346"/>
              <a:gd name="connsiteX11600" fmla="*/ 898420 w 3503192"/>
              <a:gd name="connsiteY11600" fmla="*/ 903707 h 5818346"/>
              <a:gd name="connsiteX11601" fmla="*/ 909156 w 3503192"/>
              <a:gd name="connsiteY11601" fmla="*/ 892971 h 5818346"/>
              <a:gd name="connsiteX11602" fmla="*/ 1439883 w 3503192"/>
              <a:gd name="connsiteY11602" fmla="*/ 892310 h 5818346"/>
              <a:gd name="connsiteX11603" fmla="*/ 1450621 w 3503192"/>
              <a:gd name="connsiteY11603" fmla="*/ 903047 h 5818346"/>
              <a:gd name="connsiteX11604" fmla="*/ 1439883 w 3503192"/>
              <a:gd name="connsiteY11604" fmla="*/ 913785 h 5818346"/>
              <a:gd name="connsiteX11605" fmla="*/ 1429147 w 3503192"/>
              <a:gd name="connsiteY11605" fmla="*/ 903047 h 5818346"/>
              <a:gd name="connsiteX11606" fmla="*/ 1439883 w 3503192"/>
              <a:gd name="connsiteY11606" fmla="*/ 892310 h 5818346"/>
              <a:gd name="connsiteX11607" fmla="*/ 1721188 w 3503192"/>
              <a:gd name="connsiteY11607" fmla="*/ 884878 h 5818346"/>
              <a:gd name="connsiteX11608" fmla="*/ 1731924 w 3503192"/>
              <a:gd name="connsiteY11608" fmla="*/ 895614 h 5818346"/>
              <a:gd name="connsiteX11609" fmla="*/ 1721188 w 3503192"/>
              <a:gd name="connsiteY11609" fmla="*/ 906350 h 5818346"/>
              <a:gd name="connsiteX11610" fmla="*/ 1710451 w 3503192"/>
              <a:gd name="connsiteY11610" fmla="*/ 895614 h 5818346"/>
              <a:gd name="connsiteX11611" fmla="*/ 1721188 w 3503192"/>
              <a:gd name="connsiteY11611" fmla="*/ 884878 h 5818346"/>
              <a:gd name="connsiteX11612" fmla="*/ 823760 w 3503192"/>
              <a:gd name="connsiteY11612" fmla="*/ 884050 h 5818346"/>
              <a:gd name="connsiteX11613" fmla="*/ 834165 w 3503192"/>
              <a:gd name="connsiteY11613" fmla="*/ 894457 h 5818346"/>
              <a:gd name="connsiteX11614" fmla="*/ 823760 w 3503192"/>
              <a:gd name="connsiteY11614" fmla="*/ 904864 h 5818346"/>
              <a:gd name="connsiteX11615" fmla="*/ 813353 w 3503192"/>
              <a:gd name="connsiteY11615" fmla="*/ 894457 h 5818346"/>
              <a:gd name="connsiteX11616" fmla="*/ 823760 w 3503192"/>
              <a:gd name="connsiteY11616" fmla="*/ 884050 h 5818346"/>
              <a:gd name="connsiteX11617" fmla="*/ 949131 w 3503192"/>
              <a:gd name="connsiteY11617" fmla="*/ 880086 h 5818346"/>
              <a:gd name="connsiteX11618" fmla="*/ 959867 w 3503192"/>
              <a:gd name="connsiteY11618" fmla="*/ 890823 h 5818346"/>
              <a:gd name="connsiteX11619" fmla="*/ 949131 w 3503192"/>
              <a:gd name="connsiteY11619" fmla="*/ 901559 h 5818346"/>
              <a:gd name="connsiteX11620" fmla="*/ 938395 w 3503192"/>
              <a:gd name="connsiteY11620" fmla="*/ 890823 h 5818346"/>
              <a:gd name="connsiteX11621" fmla="*/ 949131 w 3503192"/>
              <a:gd name="connsiteY11621" fmla="*/ 880086 h 5818346"/>
              <a:gd name="connsiteX11622" fmla="*/ 2231434 w 3503192"/>
              <a:gd name="connsiteY11622" fmla="*/ 877443 h 5818346"/>
              <a:gd name="connsiteX11623" fmla="*/ 2242172 w 3503192"/>
              <a:gd name="connsiteY11623" fmla="*/ 888180 h 5818346"/>
              <a:gd name="connsiteX11624" fmla="*/ 2231434 w 3503192"/>
              <a:gd name="connsiteY11624" fmla="*/ 898916 h 5818346"/>
              <a:gd name="connsiteX11625" fmla="*/ 2220698 w 3503192"/>
              <a:gd name="connsiteY11625" fmla="*/ 888180 h 5818346"/>
              <a:gd name="connsiteX11626" fmla="*/ 2231434 w 3503192"/>
              <a:gd name="connsiteY11626" fmla="*/ 877443 h 5818346"/>
              <a:gd name="connsiteX11627" fmla="*/ 849030 w 3503192"/>
              <a:gd name="connsiteY11627" fmla="*/ 874636 h 5818346"/>
              <a:gd name="connsiteX11628" fmla="*/ 859766 w 3503192"/>
              <a:gd name="connsiteY11628" fmla="*/ 885372 h 5818346"/>
              <a:gd name="connsiteX11629" fmla="*/ 858941 w 3503192"/>
              <a:gd name="connsiteY11629" fmla="*/ 886197 h 5818346"/>
              <a:gd name="connsiteX11630" fmla="*/ 869017 w 3503192"/>
              <a:gd name="connsiteY11630" fmla="*/ 896273 h 5818346"/>
              <a:gd name="connsiteX11631" fmla="*/ 868108 w 3503192"/>
              <a:gd name="connsiteY11631" fmla="*/ 897182 h 5818346"/>
              <a:gd name="connsiteX11632" fmla="*/ 876945 w 3503192"/>
              <a:gd name="connsiteY11632" fmla="*/ 906019 h 5818346"/>
              <a:gd name="connsiteX11633" fmla="*/ 866304 w 3503192"/>
              <a:gd name="connsiteY11633" fmla="*/ 916662 h 5818346"/>
              <a:gd name="connsiteX11634" fmla="*/ 875790 w 3503192"/>
              <a:gd name="connsiteY11634" fmla="*/ 907176 h 5818346"/>
              <a:gd name="connsiteX11635" fmla="*/ 886527 w 3503192"/>
              <a:gd name="connsiteY11635" fmla="*/ 917912 h 5818346"/>
              <a:gd name="connsiteX11636" fmla="*/ 875790 w 3503192"/>
              <a:gd name="connsiteY11636" fmla="*/ 928649 h 5818346"/>
              <a:gd name="connsiteX11637" fmla="*/ 865054 w 3503192"/>
              <a:gd name="connsiteY11637" fmla="*/ 917912 h 5818346"/>
              <a:gd name="connsiteX11638" fmla="*/ 866209 w 3503192"/>
              <a:gd name="connsiteY11638" fmla="*/ 916757 h 5818346"/>
              <a:gd name="connsiteX11639" fmla="*/ 855473 w 3503192"/>
              <a:gd name="connsiteY11639" fmla="*/ 906019 h 5818346"/>
              <a:gd name="connsiteX11640" fmla="*/ 856381 w 3503192"/>
              <a:gd name="connsiteY11640" fmla="*/ 905112 h 5818346"/>
              <a:gd name="connsiteX11641" fmla="*/ 847544 w 3503192"/>
              <a:gd name="connsiteY11641" fmla="*/ 896273 h 5818346"/>
              <a:gd name="connsiteX11642" fmla="*/ 848369 w 3503192"/>
              <a:gd name="connsiteY11642" fmla="*/ 895449 h 5818346"/>
              <a:gd name="connsiteX11643" fmla="*/ 838294 w 3503192"/>
              <a:gd name="connsiteY11643" fmla="*/ 885372 h 5818346"/>
              <a:gd name="connsiteX11644" fmla="*/ 849030 w 3503192"/>
              <a:gd name="connsiteY11644" fmla="*/ 874636 h 5818346"/>
              <a:gd name="connsiteX11645" fmla="*/ 1316824 w 3503192"/>
              <a:gd name="connsiteY11645" fmla="*/ 872322 h 5818346"/>
              <a:gd name="connsiteX11646" fmla="*/ 1327562 w 3503192"/>
              <a:gd name="connsiteY11646" fmla="*/ 883059 h 5818346"/>
              <a:gd name="connsiteX11647" fmla="*/ 1316824 w 3503192"/>
              <a:gd name="connsiteY11647" fmla="*/ 893795 h 5818346"/>
              <a:gd name="connsiteX11648" fmla="*/ 1306087 w 3503192"/>
              <a:gd name="connsiteY11648" fmla="*/ 883059 h 5818346"/>
              <a:gd name="connsiteX11649" fmla="*/ 1316824 w 3503192"/>
              <a:gd name="connsiteY11649" fmla="*/ 872322 h 5818346"/>
              <a:gd name="connsiteX11650" fmla="*/ 835488 w 3503192"/>
              <a:gd name="connsiteY11650" fmla="*/ 870175 h 5818346"/>
              <a:gd name="connsiteX11651" fmla="*/ 835817 w 3503192"/>
              <a:gd name="connsiteY11651" fmla="*/ 870506 h 5818346"/>
              <a:gd name="connsiteX11652" fmla="*/ 835488 w 3503192"/>
              <a:gd name="connsiteY11652" fmla="*/ 870836 h 5818346"/>
              <a:gd name="connsiteX11653" fmla="*/ 835157 w 3503192"/>
              <a:gd name="connsiteY11653" fmla="*/ 870506 h 5818346"/>
              <a:gd name="connsiteX11654" fmla="*/ 835488 w 3503192"/>
              <a:gd name="connsiteY11654" fmla="*/ 870175 h 5818346"/>
              <a:gd name="connsiteX11655" fmla="*/ 997529 w 3503192"/>
              <a:gd name="connsiteY11655" fmla="*/ 869185 h 5818346"/>
              <a:gd name="connsiteX11656" fmla="*/ 1008265 w 3503192"/>
              <a:gd name="connsiteY11656" fmla="*/ 879922 h 5818346"/>
              <a:gd name="connsiteX11657" fmla="*/ 997529 w 3503192"/>
              <a:gd name="connsiteY11657" fmla="*/ 890658 h 5818346"/>
              <a:gd name="connsiteX11658" fmla="*/ 986792 w 3503192"/>
              <a:gd name="connsiteY11658" fmla="*/ 879922 h 5818346"/>
              <a:gd name="connsiteX11659" fmla="*/ 997529 w 3503192"/>
              <a:gd name="connsiteY11659" fmla="*/ 869185 h 5818346"/>
              <a:gd name="connsiteX11660" fmla="*/ 3468312 w 3503192"/>
              <a:gd name="connsiteY11660" fmla="*/ 867203 h 5818346"/>
              <a:gd name="connsiteX11661" fmla="*/ 3479048 w 3503192"/>
              <a:gd name="connsiteY11661" fmla="*/ 877939 h 5818346"/>
              <a:gd name="connsiteX11662" fmla="*/ 3468312 w 3503192"/>
              <a:gd name="connsiteY11662" fmla="*/ 888676 h 5818346"/>
              <a:gd name="connsiteX11663" fmla="*/ 3457575 w 3503192"/>
              <a:gd name="connsiteY11663" fmla="*/ 877939 h 5818346"/>
              <a:gd name="connsiteX11664" fmla="*/ 3468312 w 3503192"/>
              <a:gd name="connsiteY11664" fmla="*/ 867203 h 5818346"/>
              <a:gd name="connsiteX11665" fmla="*/ 926500 w 3503192"/>
              <a:gd name="connsiteY11665" fmla="*/ 863733 h 5818346"/>
              <a:gd name="connsiteX11666" fmla="*/ 937238 w 3503192"/>
              <a:gd name="connsiteY11666" fmla="*/ 874469 h 5818346"/>
              <a:gd name="connsiteX11667" fmla="*/ 926500 w 3503192"/>
              <a:gd name="connsiteY11667" fmla="*/ 885207 h 5818346"/>
              <a:gd name="connsiteX11668" fmla="*/ 915763 w 3503192"/>
              <a:gd name="connsiteY11668" fmla="*/ 874469 h 5818346"/>
              <a:gd name="connsiteX11669" fmla="*/ 926500 w 3503192"/>
              <a:gd name="connsiteY11669" fmla="*/ 863733 h 5818346"/>
              <a:gd name="connsiteX11670" fmla="*/ 874302 w 3503192"/>
              <a:gd name="connsiteY11670" fmla="*/ 862578 h 5818346"/>
              <a:gd name="connsiteX11671" fmla="*/ 883223 w 3503192"/>
              <a:gd name="connsiteY11671" fmla="*/ 871497 h 5818346"/>
              <a:gd name="connsiteX11672" fmla="*/ 883884 w 3503192"/>
              <a:gd name="connsiteY11672" fmla="*/ 870836 h 5818346"/>
              <a:gd name="connsiteX11673" fmla="*/ 893465 w 3503192"/>
              <a:gd name="connsiteY11673" fmla="*/ 880417 h 5818346"/>
              <a:gd name="connsiteX11674" fmla="*/ 894124 w 3503192"/>
              <a:gd name="connsiteY11674" fmla="*/ 879757 h 5818346"/>
              <a:gd name="connsiteX11675" fmla="*/ 904861 w 3503192"/>
              <a:gd name="connsiteY11675" fmla="*/ 890493 h 5818346"/>
              <a:gd name="connsiteX11676" fmla="*/ 894124 w 3503192"/>
              <a:gd name="connsiteY11676" fmla="*/ 901229 h 5818346"/>
              <a:gd name="connsiteX11677" fmla="*/ 884545 w 3503192"/>
              <a:gd name="connsiteY11677" fmla="*/ 891650 h 5818346"/>
              <a:gd name="connsiteX11678" fmla="*/ 883884 w 3503192"/>
              <a:gd name="connsiteY11678" fmla="*/ 892309 h 5818346"/>
              <a:gd name="connsiteX11679" fmla="*/ 874965 w 3503192"/>
              <a:gd name="connsiteY11679" fmla="*/ 883390 h 5818346"/>
              <a:gd name="connsiteX11680" fmla="*/ 874302 w 3503192"/>
              <a:gd name="connsiteY11680" fmla="*/ 884050 h 5818346"/>
              <a:gd name="connsiteX11681" fmla="*/ 863566 w 3503192"/>
              <a:gd name="connsiteY11681" fmla="*/ 873314 h 5818346"/>
              <a:gd name="connsiteX11682" fmla="*/ 874302 w 3503192"/>
              <a:gd name="connsiteY11682" fmla="*/ 862578 h 5818346"/>
              <a:gd name="connsiteX11683" fmla="*/ 1213586 w 3503192"/>
              <a:gd name="connsiteY11683" fmla="*/ 861751 h 5818346"/>
              <a:gd name="connsiteX11684" fmla="*/ 1224324 w 3503192"/>
              <a:gd name="connsiteY11684" fmla="*/ 872487 h 5818346"/>
              <a:gd name="connsiteX11685" fmla="*/ 1213586 w 3503192"/>
              <a:gd name="connsiteY11685" fmla="*/ 883223 h 5818346"/>
              <a:gd name="connsiteX11686" fmla="*/ 1202849 w 3503192"/>
              <a:gd name="connsiteY11686" fmla="*/ 872487 h 5818346"/>
              <a:gd name="connsiteX11687" fmla="*/ 1213586 w 3503192"/>
              <a:gd name="connsiteY11687" fmla="*/ 861751 h 5818346"/>
              <a:gd name="connsiteX11688" fmla="*/ 1056333 w 3503192"/>
              <a:gd name="connsiteY11688" fmla="*/ 861751 h 5818346"/>
              <a:gd name="connsiteX11689" fmla="*/ 1067070 w 3503192"/>
              <a:gd name="connsiteY11689" fmla="*/ 872487 h 5818346"/>
              <a:gd name="connsiteX11690" fmla="*/ 1056333 w 3503192"/>
              <a:gd name="connsiteY11690" fmla="*/ 883223 h 5818346"/>
              <a:gd name="connsiteX11691" fmla="*/ 1045597 w 3503192"/>
              <a:gd name="connsiteY11691" fmla="*/ 872487 h 5818346"/>
              <a:gd name="connsiteX11692" fmla="*/ 1056333 w 3503192"/>
              <a:gd name="connsiteY11692" fmla="*/ 861751 h 5818346"/>
              <a:gd name="connsiteX11693" fmla="*/ 1127527 w 3503192"/>
              <a:gd name="connsiteY11693" fmla="*/ 858778 h 5818346"/>
              <a:gd name="connsiteX11694" fmla="*/ 1138265 w 3503192"/>
              <a:gd name="connsiteY11694" fmla="*/ 869515 h 5818346"/>
              <a:gd name="connsiteX11695" fmla="*/ 1127527 w 3503192"/>
              <a:gd name="connsiteY11695" fmla="*/ 880251 h 5818346"/>
              <a:gd name="connsiteX11696" fmla="*/ 1116790 w 3503192"/>
              <a:gd name="connsiteY11696" fmla="*/ 869515 h 5818346"/>
              <a:gd name="connsiteX11697" fmla="*/ 1127527 w 3503192"/>
              <a:gd name="connsiteY11697" fmla="*/ 858778 h 5818346"/>
              <a:gd name="connsiteX11698" fmla="*/ 2402726 w 3503192"/>
              <a:gd name="connsiteY11698" fmla="*/ 856796 h 5818346"/>
              <a:gd name="connsiteX11699" fmla="*/ 2413464 w 3503192"/>
              <a:gd name="connsiteY11699" fmla="*/ 867532 h 5818346"/>
              <a:gd name="connsiteX11700" fmla="*/ 2402726 w 3503192"/>
              <a:gd name="connsiteY11700" fmla="*/ 878269 h 5818346"/>
              <a:gd name="connsiteX11701" fmla="*/ 2391990 w 3503192"/>
              <a:gd name="connsiteY11701" fmla="*/ 867532 h 5818346"/>
              <a:gd name="connsiteX11702" fmla="*/ 2402726 w 3503192"/>
              <a:gd name="connsiteY11702" fmla="*/ 856796 h 5818346"/>
              <a:gd name="connsiteX11703" fmla="*/ 862576 w 3503192"/>
              <a:gd name="connsiteY11703" fmla="*/ 851675 h 5818346"/>
              <a:gd name="connsiteX11704" fmla="*/ 873312 w 3503192"/>
              <a:gd name="connsiteY11704" fmla="*/ 862411 h 5818346"/>
              <a:gd name="connsiteX11705" fmla="*/ 862576 w 3503192"/>
              <a:gd name="connsiteY11705" fmla="*/ 873148 h 5818346"/>
              <a:gd name="connsiteX11706" fmla="*/ 851840 w 3503192"/>
              <a:gd name="connsiteY11706" fmla="*/ 862411 h 5818346"/>
              <a:gd name="connsiteX11707" fmla="*/ 862576 w 3503192"/>
              <a:gd name="connsiteY11707" fmla="*/ 851675 h 5818346"/>
              <a:gd name="connsiteX11708" fmla="*/ 1561623 w 3503192"/>
              <a:gd name="connsiteY11708" fmla="*/ 850353 h 5818346"/>
              <a:gd name="connsiteX11709" fmla="*/ 1572361 w 3503192"/>
              <a:gd name="connsiteY11709" fmla="*/ 861090 h 5818346"/>
              <a:gd name="connsiteX11710" fmla="*/ 1561623 w 3503192"/>
              <a:gd name="connsiteY11710" fmla="*/ 871826 h 5818346"/>
              <a:gd name="connsiteX11711" fmla="*/ 1550887 w 3503192"/>
              <a:gd name="connsiteY11711" fmla="*/ 861090 h 5818346"/>
              <a:gd name="connsiteX11712" fmla="*/ 1561623 w 3503192"/>
              <a:gd name="connsiteY11712" fmla="*/ 850353 h 5818346"/>
              <a:gd name="connsiteX11713" fmla="*/ 3294706 w 3503192"/>
              <a:gd name="connsiteY11713" fmla="*/ 849363 h 5818346"/>
              <a:gd name="connsiteX11714" fmla="*/ 3305444 w 3503192"/>
              <a:gd name="connsiteY11714" fmla="*/ 860100 h 5818346"/>
              <a:gd name="connsiteX11715" fmla="*/ 3294706 w 3503192"/>
              <a:gd name="connsiteY11715" fmla="*/ 870836 h 5818346"/>
              <a:gd name="connsiteX11716" fmla="*/ 3283969 w 3503192"/>
              <a:gd name="connsiteY11716" fmla="*/ 860100 h 5818346"/>
              <a:gd name="connsiteX11717" fmla="*/ 3294706 w 3503192"/>
              <a:gd name="connsiteY11717" fmla="*/ 849363 h 5818346"/>
              <a:gd name="connsiteX11718" fmla="*/ 1864896 w 3503192"/>
              <a:gd name="connsiteY11718" fmla="*/ 849032 h 5818346"/>
              <a:gd name="connsiteX11719" fmla="*/ 1875634 w 3503192"/>
              <a:gd name="connsiteY11719" fmla="*/ 859768 h 5818346"/>
              <a:gd name="connsiteX11720" fmla="*/ 1864896 w 3503192"/>
              <a:gd name="connsiteY11720" fmla="*/ 870505 h 5818346"/>
              <a:gd name="connsiteX11721" fmla="*/ 1854160 w 3503192"/>
              <a:gd name="connsiteY11721" fmla="*/ 859768 h 5818346"/>
              <a:gd name="connsiteX11722" fmla="*/ 1864896 w 3503192"/>
              <a:gd name="connsiteY11722" fmla="*/ 849032 h 5818346"/>
              <a:gd name="connsiteX11723" fmla="*/ 964988 w 3503192"/>
              <a:gd name="connsiteY11723" fmla="*/ 848371 h 5818346"/>
              <a:gd name="connsiteX11724" fmla="*/ 975725 w 3503192"/>
              <a:gd name="connsiteY11724" fmla="*/ 859108 h 5818346"/>
              <a:gd name="connsiteX11725" fmla="*/ 964988 w 3503192"/>
              <a:gd name="connsiteY11725" fmla="*/ 869846 h 5818346"/>
              <a:gd name="connsiteX11726" fmla="*/ 954252 w 3503192"/>
              <a:gd name="connsiteY11726" fmla="*/ 859108 h 5818346"/>
              <a:gd name="connsiteX11727" fmla="*/ 964988 w 3503192"/>
              <a:gd name="connsiteY11727" fmla="*/ 848371 h 5818346"/>
              <a:gd name="connsiteX11728" fmla="*/ 2578644 w 3503192"/>
              <a:gd name="connsiteY11728" fmla="*/ 842260 h 5818346"/>
              <a:gd name="connsiteX11729" fmla="*/ 2589380 w 3503192"/>
              <a:gd name="connsiteY11729" fmla="*/ 852996 h 5818346"/>
              <a:gd name="connsiteX11730" fmla="*/ 2578644 w 3503192"/>
              <a:gd name="connsiteY11730" fmla="*/ 863733 h 5818346"/>
              <a:gd name="connsiteX11731" fmla="*/ 2567908 w 3503192"/>
              <a:gd name="connsiteY11731" fmla="*/ 852996 h 5818346"/>
              <a:gd name="connsiteX11732" fmla="*/ 2578644 w 3503192"/>
              <a:gd name="connsiteY11732" fmla="*/ 842260 h 5818346"/>
              <a:gd name="connsiteX11733" fmla="*/ 889170 w 3503192"/>
              <a:gd name="connsiteY11733" fmla="*/ 840278 h 5818346"/>
              <a:gd name="connsiteX11734" fmla="*/ 898751 w 3503192"/>
              <a:gd name="connsiteY11734" fmla="*/ 849859 h 5818346"/>
              <a:gd name="connsiteX11735" fmla="*/ 900733 w 3503192"/>
              <a:gd name="connsiteY11735" fmla="*/ 847875 h 5818346"/>
              <a:gd name="connsiteX11736" fmla="*/ 909654 w 3503192"/>
              <a:gd name="connsiteY11736" fmla="*/ 856796 h 5818346"/>
              <a:gd name="connsiteX11737" fmla="*/ 911966 w 3503192"/>
              <a:gd name="connsiteY11737" fmla="*/ 854484 h 5818346"/>
              <a:gd name="connsiteX11738" fmla="*/ 922702 w 3503192"/>
              <a:gd name="connsiteY11738" fmla="*/ 865221 h 5818346"/>
              <a:gd name="connsiteX11739" fmla="*/ 911966 w 3503192"/>
              <a:gd name="connsiteY11739" fmla="*/ 875957 h 5818346"/>
              <a:gd name="connsiteX11740" fmla="*/ 903045 w 3503192"/>
              <a:gd name="connsiteY11740" fmla="*/ 867036 h 5818346"/>
              <a:gd name="connsiteX11741" fmla="*/ 900733 w 3503192"/>
              <a:gd name="connsiteY11741" fmla="*/ 869348 h 5818346"/>
              <a:gd name="connsiteX11742" fmla="*/ 891154 w 3503192"/>
              <a:gd name="connsiteY11742" fmla="*/ 859768 h 5818346"/>
              <a:gd name="connsiteX11743" fmla="*/ 889170 w 3503192"/>
              <a:gd name="connsiteY11743" fmla="*/ 861751 h 5818346"/>
              <a:gd name="connsiteX11744" fmla="*/ 878433 w 3503192"/>
              <a:gd name="connsiteY11744" fmla="*/ 851014 h 5818346"/>
              <a:gd name="connsiteX11745" fmla="*/ 889170 w 3503192"/>
              <a:gd name="connsiteY11745" fmla="*/ 840278 h 5818346"/>
              <a:gd name="connsiteX11746" fmla="*/ 3117135 w 3503192"/>
              <a:gd name="connsiteY11746" fmla="*/ 837635 h 5818346"/>
              <a:gd name="connsiteX11747" fmla="*/ 3127873 w 3503192"/>
              <a:gd name="connsiteY11747" fmla="*/ 848371 h 5818346"/>
              <a:gd name="connsiteX11748" fmla="*/ 3117135 w 3503192"/>
              <a:gd name="connsiteY11748" fmla="*/ 859108 h 5818346"/>
              <a:gd name="connsiteX11749" fmla="*/ 3106399 w 3503192"/>
              <a:gd name="connsiteY11749" fmla="*/ 848371 h 5818346"/>
              <a:gd name="connsiteX11750" fmla="*/ 3117135 w 3503192"/>
              <a:gd name="connsiteY11750" fmla="*/ 837635 h 5818346"/>
              <a:gd name="connsiteX11751" fmla="*/ 1010908 w 3503192"/>
              <a:gd name="connsiteY11751" fmla="*/ 834331 h 5818346"/>
              <a:gd name="connsiteX11752" fmla="*/ 1021644 w 3503192"/>
              <a:gd name="connsiteY11752" fmla="*/ 845068 h 5818346"/>
              <a:gd name="connsiteX11753" fmla="*/ 1010908 w 3503192"/>
              <a:gd name="connsiteY11753" fmla="*/ 855804 h 5818346"/>
              <a:gd name="connsiteX11754" fmla="*/ 1000172 w 3503192"/>
              <a:gd name="connsiteY11754" fmla="*/ 845068 h 5818346"/>
              <a:gd name="connsiteX11755" fmla="*/ 1010908 w 3503192"/>
              <a:gd name="connsiteY11755" fmla="*/ 834331 h 5818346"/>
              <a:gd name="connsiteX11756" fmla="*/ 2757369 w 3503192"/>
              <a:gd name="connsiteY11756" fmla="*/ 834000 h 5818346"/>
              <a:gd name="connsiteX11757" fmla="*/ 2768108 w 3503192"/>
              <a:gd name="connsiteY11757" fmla="*/ 844736 h 5818346"/>
              <a:gd name="connsiteX11758" fmla="*/ 2757369 w 3503192"/>
              <a:gd name="connsiteY11758" fmla="*/ 855473 h 5818346"/>
              <a:gd name="connsiteX11759" fmla="*/ 2746633 w 3503192"/>
              <a:gd name="connsiteY11759" fmla="*/ 844736 h 5818346"/>
              <a:gd name="connsiteX11760" fmla="*/ 2757369 w 3503192"/>
              <a:gd name="connsiteY11760" fmla="*/ 834000 h 5818346"/>
              <a:gd name="connsiteX11761" fmla="*/ 2937582 w 3503192"/>
              <a:gd name="connsiteY11761" fmla="*/ 832514 h 5818346"/>
              <a:gd name="connsiteX11762" fmla="*/ 2948321 w 3503192"/>
              <a:gd name="connsiteY11762" fmla="*/ 843250 h 5818346"/>
              <a:gd name="connsiteX11763" fmla="*/ 2937582 w 3503192"/>
              <a:gd name="connsiteY11763" fmla="*/ 853987 h 5818346"/>
              <a:gd name="connsiteX11764" fmla="*/ 2926846 w 3503192"/>
              <a:gd name="connsiteY11764" fmla="*/ 843250 h 5818346"/>
              <a:gd name="connsiteX11765" fmla="*/ 2937582 w 3503192"/>
              <a:gd name="connsiteY11765" fmla="*/ 832514 h 5818346"/>
              <a:gd name="connsiteX11766" fmla="*/ 874635 w 3503192"/>
              <a:gd name="connsiteY11766" fmla="*/ 831853 h 5818346"/>
              <a:gd name="connsiteX11767" fmla="*/ 882398 w 3503192"/>
              <a:gd name="connsiteY11767" fmla="*/ 839617 h 5818346"/>
              <a:gd name="connsiteX11768" fmla="*/ 874635 w 3503192"/>
              <a:gd name="connsiteY11768" fmla="*/ 847381 h 5818346"/>
              <a:gd name="connsiteX11769" fmla="*/ 866872 w 3503192"/>
              <a:gd name="connsiteY11769" fmla="*/ 839617 h 5818346"/>
              <a:gd name="connsiteX11770" fmla="*/ 874635 w 3503192"/>
              <a:gd name="connsiteY11770" fmla="*/ 831853 h 5818346"/>
              <a:gd name="connsiteX11771" fmla="*/ 1425514 w 3503192"/>
              <a:gd name="connsiteY11771" fmla="*/ 828220 h 5818346"/>
              <a:gd name="connsiteX11772" fmla="*/ 1436250 w 3503192"/>
              <a:gd name="connsiteY11772" fmla="*/ 838956 h 5818346"/>
              <a:gd name="connsiteX11773" fmla="*/ 1425514 w 3503192"/>
              <a:gd name="connsiteY11773" fmla="*/ 849693 h 5818346"/>
              <a:gd name="connsiteX11774" fmla="*/ 1414777 w 3503192"/>
              <a:gd name="connsiteY11774" fmla="*/ 838956 h 5818346"/>
              <a:gd name="connsiteX11775" fmla="*/ 1425514 w 3503192"/>
              <a:gd name="connsiteY11775" fmla="*/ 828220 h 5818346"/>
              <a:gd name="connsiteX11776" fmla="*/ 1066409 w 3503192"/>
              <a:gd name="connsiteY11776" fmla="*/ 822768 h 5818346"/>
              <a:gd name="connsiteX11777" fmla="*/ 1077145 w 3503192"/>
              <a:gd name="connsiteY11777" fmla="*/ 833504 h 5818346"/>
              <a:gd name="connsiteX11778" fmla="*/ 1066409 w 3503192"/>
              <a:gd name="connsiteY11778" fmla="*/ 844241 h 5818346"/>
              <a:gd name="connsiteX11779" fmla="*/ 1055672 w 3503192"/>
              <a:gd name="connsiteY11779" fmla="*/ 833504 h 5818346"/>
              <a:gd name="connsiteX11780" fmla="*/ 1066409 w 3503192"/>
              <a:gd name="connsiteY11780" fmla="*/ 822768 h 5818346"/>
              <a:gd name="connsiteX11781" fmla="*/ 980846 w 3503192"/>
              <a:gd name="connsiteY11781" fmla="*/ 819960 h 5818346"/>
              <a:gd name="connsiteX11782" fmla="*/ 991582 w 3503192"/>
              <a:gd name="connsiteY11782" fmla="*/ 830696 h 5818346"/>
              <a:gd name="connsiteX11783" fmla="*/ 980846 w 3503192"/>
              <a:gd name="connsiteY11783" fmla="*/ 841433 h 5818346"/>
              <a:gd name="connsiteX11784" fmla="*/ 970109 w 3503192"/>
              <a:gd name="connsiteY11784" fmla="*/ 830696 h 5818346"/>
              <a:gd name="connsiteX11785" fmla="*/ 980846 w 3503192"/>
              <a:gd name="connsiteY11785" fmla="*/ 819960 h 5818346"/>
              <a:gd name="connsiteX11786" fmla="*/ 902715 w 3503192"/>
              <a:gd name="connsiteY11786" fmla="*/ 818639 h 5818346"/>
              <a:gd name="connsiteX11787" fmla="*/ 913287 w 3503192"/>
              <a:gd name="connsiteY11787" fmla="*/ 829210 h 5818346"/>
              <a:gd name="connsiteX11788" fmla="*/ 916424 w 3503192"/>
              <a:gd name="connsiteY11788" fmla="*/ 826073 h 5818346"/>
              <a:gd name="connsiteX11789" fmla="*/ 925262 w 3503192"/>
              <a:gd name="connsiteY11789" fmla="*/ 834911 h 5818346"/>
              <a:gd name="connsiteX11790" fmla="*/ 928978 w 3503192"/>
              <a:gd name="connsiteY11790" fmla="*/ 831192 h 5818346"/>
              <a:gd name="connsiteX11791" fmla="*/ 939468 w 3503192"/>
              <a:gd name="connsiteY11791" fmla="*/ 841683 h 5818346"/>
              <a:gd name="connsiteX11792" fmla="*/ 943845 w 3503192"/>
              <a:gd name="connsiteY11792" fmla="*/ 837305 h 5818346"/>
              <a:gd name="connsiteX11793" fmla="*/ 954581 w 3503192"/>
              <a:gd name="connsiteY11793" fmla="*/ 848042 h 5818346"/>
              <a:gd name="connsiteX11794" fmla="*/ 943845 w 3503192"/>
              <a:gd name="connsiteY11794" fmla="*/ 858778 h 5818346"/>
              <a:gd name="connsiteX11795" fmla="*/ 933355 w 3503192"/>
              <a:gd name="connsiteY11795" fmla="*/ 848288 h 5818346"/>
              <a:gd name="connsiteX11796" fmla="*/ 928978 w 3503192"/>
              <a:gd name="connsiteY11796" fmla="*/ 852665 h 5818346"/>
              <a:gd name="connsiteX11797" fmla="*/ 920142 w 3503192"/>
              <a:gd name="connsiteY11797" fmla="*/ 843830 h 5818346"/>
              <a:gd name="connsiteX11798" fmla="*/ 916424 w 3503192"/>
              <a:gd name="connsiteY11798" fmla="*/ 847546 h 5818346"/>
              <a:gd name="connsiteX11799" fmla="*/ 905853 w 3503192"/>
              <a:gd name="connsiteY11799" fmla="*/ 836974 h 5818346"/>
              <a:gd name="connsiteX11800" fmla="*/ 902715 w 3503192"/>
              <a:gd name="connsiteY11800" fmla="*/ 840111 h 5818346"/>
              <a:gd name="connsiteX11801" fmla="*/ 891979 w 3503192"/>
              <a:gd name="connsiteY11801" fmla="*/ 829375 h 5818346"/>
              <a:gd name="connsiteX11802" fmla="*/ 902715 w 3503192"/>
              <a:gd name="connsiteY11802" fmla="*/ 818639 h 5818346"/>
              <a:gd name="connsiteX11803" fmla="*/ 2015706 w 3503192"/>
              <a:gd name="connsiteY11803" fmla="*/ 817152 h 5818346"/>
              <a:gd name="connsiteX11804" fmla="*/ 2026444 w 3503192"/>
              <a:gd name="connsiteY11804" fmla="*/ 827889 h 5818346"/>
              <a:gd name="connsiteX11805" fmla="*/ 2015706 w 3503192"/>
              <a:gd name="connsiteY11805" fmla="*/ 838625 h 5818346"/>
              <a:gd name="connsiteX11806" fmla="*/ 2004970 w 3503192"/>
              <a:gd name="connsiteY11806" fmla="*/ 827889 h 5818346"/>
              <a:gd name="connsiteX11807" fmla="*/ 2015706 w 3503192"/>
              <a:gd name="connsiteY11807" fmla="*/ 817152 h 5818346"/>
              <a:gd name="connsiteX11808" fmla="*/ 1310548 w 3503192"/>
              <a:gd name="connsiteY11808" fmla="*/ 816162 h 5818346"/>
              <a:gd name="connsiteX11809" fmla="*/ 1321284 w 3503192"/>
              <a:gd name="connsiteY11809" fmla="*/ 826899 h 5818346"/>
              <a:gd name="connsiteX11810" fmla="*/ 1310548 w 3503192"/>
              <a:gd name="connsiteY11810" fmla="*/ 837635 h 5818346"/>
              <a:gd name="connsiteX11811" fmla="*/ 1299811 w 3503192"/>
              <a:gd name="connsiteY11811" fmla="*/ 826899 h 5818346"/>
              <a:gd name="connsiteX11812" fmla="*/ 1310548 w 3503192"/>
              <a:gd name="connsiteY11812" fmla="*/ 816162 h 5818346"/>
              <a:gd name="connsiteX11813" fmla="*/ 1133307 w 3503192"/>
              <a:gd name="connsiteY11813" fmla="*/ 815006 h 5818346"/>
              <a:gd name="connsiteX11814" fmla="*/ 1144045 w 3503192"/>
              <a:gd name="connsiteY11814" fmla="*/ 825742 h 5818346"/>
              <a:gd name="connsiteX11815" fmla="*/ 1133307 w 3503192"/>
              <a:gd name="connsiteY11815" fmla="*/ 836478 h 5818346"/>
              <a:gd name="connsiteX11816" fmla="*/ 1122570 w 3503192"/>
              <a:gd name="connsiteY11816" fmla="*/ 825742 h 5818346"/>
              <a:gd name="connsiteX11817" fmla="*/ 1133307 w 3503192"/>
              <a:gd name="connsiteY11817" fmla="*/ 815006 h 5818346"/>
              <a:gd name="connsiteX11818" fmla="*/ 1213915 w 3503192"/>
              <a:gd name="connsiteY11818" fmla="*/ 812363 h 5818346"/>
              <a:gd name="connsiteX11819" fmla="*/ 1224653 w 3503192"/>
              <a:gd name="connsiteY11819" fmla="*/ 823099 h 5818346"/>
              <a:gd name="connsiteX11820" fmla="*/ 1213915 w 3503192"/>
              <a:gd name="connsiteY11820" fmla="*/ 833837 h 5818346"/>
              <a:gd name="connsiteX11821" fmla="*/ 1203179 w 3503192"/>
              <a:gd name="connsiteY11821" fmla="*/ 823099 h 5818346"/>
              <a:gd name="connsiteX11822" fmla="*/ 1213915 w 3503192"/>
              <a:gd name="connsiteY11822" fmla="*/ 812363 h 5818346"/>
              <a:gd name="connsiteX11823" fmla="*/ 1690794 w 3503192"/>
              <a:gd name="connsiteY11823" fmla="*/ 810876 h 5818346"/>
              <a:gd name="connsiteX11824" fmla="*/ 1701532 w 3503192"/>
              <a:gd name="connsiteY11824" fmla="*/ 821613 h 5818346"/>
              <a:gd name="connsiteX11825" fmla="*/ 1690794 w 3503192"/>
              <a:gd name="connsiteY11825" fmla="*/ 832349 h 5818346"/>
              <a:gd name="connsiteX11826" fmla="*/ 1680058 w 3503192"/>
              <a:gd name="connsiteY11826" fmla="*/ 821613 h 5818346"/>
              <a:gd name="connsiteX11827" fmla="*/ 1690794 w 3503192"/>
              <a:gd name="connsiteY11827" fmla="*/ 810876 h 5818346"/>
              <a:gd name="connsiteX11828" fmla="*/ 931127 w 3503192"/>
              <a:gd name="connsiteY11828" fmla="*/ 805259 h 5818346"/>
              <a:gd name="connsiteX11829" fmla="*/ 940377 w 3503192"/>
              <a:gd name="connsiteY11829" fmla="*/ 814510 h 5818346"/>
              <a:gd name="connsiteX11830" fmla="*/ 945331 w 3503192"/>
              <a:gd name="connsiteY11830" fmla="*/ 809555 h 5818346"/>
              <a:gd name="connsiteX11831" fmla="*/ 954746 w 3503192"/>
              <a:gd name="connsiteY11831" fmla="*/ 818970 h 5818346"/>
              <a:gd name="connsiteX11832" fmla="*/ 960528 w 3503192"/>
              <a:gd name="connsiteY11832" fmla="*/ 813188 h 5818346"/>
              <a:gd name="connsiteX11833" fmla="*/ 971264 w 3503192"/>
              <a:gd name="connsiteY11833" fmla="*/ 823925 h 5818346"/>
              <a:gd name="connsiteX11834" fmla="*/ 960528 w 3503192"/>
              <a:gd name="connsiteY11834" fmla="*/ 834661 h 5818346"/>
              <a:gd name="connsiteX11835" fmla="*/ 951113 w 3503192"/>
              <a:gd name="connsiteY11835" fmla="*/ 825246 h 5818346"/>
              <a:gd name="connsiteX11836" fmla="*/ 945331 w 3503192"/>
              <a:gd name="connsiteY11836" fmla="*/ 831028 h 5818346"/>
              <a:gd name="connsiteX11837" fmla="*/ 936081 w 3503192"/>
              <a:gd name="connsiteY11837" fmla="*/ 821778 h 5818346"/>
              <a:gd name="connsiteX11838" fmla="*/ 931127 w 3503192"/>
              <a:gd name="connsiteY11838" fmla="*/ 826732 h 5818346"/>
              <a:gd name="connsiteX11839" fmla="*/ 920390 w 3503192"/>
              <a:gd name="connsiteY11839" fmla="*/ 815996 h 5818346"/>
              <a:gd name="connsiteX11840" fmla="*/ 931127 w 3503192"/>
              <a:gd name="connsiteY11840" fmla="*/ 805259 h 5818346"/>
              <a:gd name="connsiteX11841" fmla="*/ 1024783 w 3503192"/>
              <a:gd name="connsiteY11841" fmla="*/ 803277 h 5818346"/>
              <a:gd name="connsiteX11842" fmla="*/ 1035519 w 3503192"/>
              <a:gd name="connsiteY11842" fmla="*/ 814014 h 5818346"/>
              <a:gd name="connsiteX11843" fmla="*/ 1024783 w 3503192"/>
              <a:gd name="connsiteY11843" fmla="*/ 824750 h 5818346"/>
              <a:gd name="connsiteX11844" fmla="*/ 1014047 w 3503192"/>
              <a:gd name="connsiteY11844" fmla="*/ 814014 h 5818346"/>
              <a:gd name="connsiteX11845" fmla="*/ 1024783 w 3503192"/>
              <a:gd name="connsiteY11845" fmla="*/ 803277 h 5818346"/>
              <a:gd name="connsiteX11846" fmla="*/ 914938 w 3503192"/>
              <a:gd name="connsiteY11846" fmla="*/ 797331 h 5818346"/>
              <a:gd name="connsiteX11847" fmla="*/ 925674 w 3503192"/>
              <a:gd name="connsiteY11847" fmla="*/ 808067 h 5818346"/>
              <a:gd name="connsiteX11848" fmla="*/ 914938 w 3503192"/>
              <a:gd name="connsiteY11848" fmla="*/ 818805 h 5818346"/>
              <a:gd name="connsiteX11849" fmla="*/ 904202 w 3503192"/>
              <a:gd name="connsiteY11849" fmla="*/ 808067 h 5818346"/>
              <a:gd name="connsiteX11850" fmla="*/ 914938 w 3503192"/>
              <a:gd name="connsiteY11850" fmla="*/ 797331 h 5818346"/>
              <a:gd name="connsiteX11851" fmla="*/ 996703 w 3503192"/>
              <a:gd name="connsiteY11851" fmla="*/ 794358 h 5818346"/>
              <a:gd name="connsiteX11852" fmla="*/ 1007441 w 3503192"/>
              <a:gd name="connsiteY11852" fmla="*/ 805095 h 5818346"/>
              <a:gd name="connsiteX11853" fmla="*/ 996703 w 3503192"/>
              <a:gd name="connsiteY11853" fmla="*/ 815831 h 5818346"/>
              <a:gd name="connsiteX11854" fmla="*/ 985967 w 3503192"/>
              <a:gd name="connsiteY11854" fmla="*/ 805095 h 5818346"/>
              <a:gd name="connsiteX11855" fmla="*/ 996703 w 3503192"/>
              <a:gd name="connsiteY11855" fmla="*/ 794358 h 5818346"/>
              <a:gd name="connsiteX11856" fmla="*/ 2173288 w 3503192"/>
              <a:gd name="connsiteY11856" fmla="*/ 789567 h 5818346"/>
              <a:gd name="connsiteX11857" fmla="*/ 2184026 w 3503192"/>
              <a:gd name="connsiteY11857" fmla="*/ 800303 h 5818346"/>
              <a:gd name="connsiteX11858" fmla="*/ 2173288 w 3503192"/>
              <a:gd name="connsiteY11858" fmla="*/ 811039 h 5818346"/>
              <a:gd name="connsiteX11859" fmla="*/ 2162552 w 3503192"/>
              <a:gd name="connsiteY11859" fmla="*/ 800303 h 5818346"/>
              <a:gd name="connsiteX11860" fmla="*/ 2173288 w 3503192"/>
              <a:gd name="connsiteY11860" fmla="*/ 789567 h 5818346"/>
              <a:gd name="connsiteX11861" fmla="*/ 1077476 w 3503192"/>
              <a:gd name="connsiteY11861" fmla="*/ 788577 h 5818346"/>
              <a:gd name="connsiteX11862" fmla="*/ 1088213 w 3503192"/>
              <a:gd name="connsiteY11862" fmla="*/ 799313 h 5818346"/>
              <a:gd name="connsiteX11863" fmla="*/ 1077476 w 3503192"/>
              <a:gd name="connsiteY11863" fmla="*/ 810049 h 5818346"/>
              <a:gd name="connsiteX11864" fmla="*/ 1066740 w 3503192"/>
              <a:gd name="connsiteY11864" fmla="*/ 799313 h 5818346"/>
              <a:gd name="connsiteX11865" fmla="*/ 1077476 w 3503192"/>
              <a:gd name="connsiteY11865" fmla="*/ 788577 h 5818346"/>
              <a:gd name="connsiteX11866" fmla="*/ 1541470 w 3503192"/>
              <a:gd name="connsiteY11866" fmla="*/ 785769 h 5818346"/>
              <a:gd name="connsiteX11867" fmla="*/ 1552208 w 3503192"/>
              <a:gd name="connsiteY11867" fmla="*/ 796505 h 5818346"/>
              <a:gd name="connsiteX11868" fmla="*/ 1541470 w 3503192"/>
              <a:gd name="connsiteY11868" fmla="*/ 807242 h 5818346"/>
              <a:gd name="connsiteX11869" fmla="*/ 1530734 w 3503192"/>
              <a:gd name="connsiteY11869" fmla="*/ 796505 h 5818346"/>
              <a:gd name="connsiteX11870" fmla="*/ 1541470 w 3503192"/>
              <a:gd name="connsiteY11870" fmla="*/ 785769 h 5818346"/>
              <a:gd name="connsiteX11871" fmla="*/ 944506 w 3503192"/>
              <a:gd name="connsiteY11871" fmla="*/ 784942 h 5818346"/>
              <a:gd name="connsiteX11872" fmla="*/ 954583 w 3503192"/>
              <a:gd name="connsiteY11872" fmla="*/ 795017 h 5818346"/>
              <a:gd name="connsiteX11873" fmla="*/ 960528 w 3503192"/>
              <a:gd name="connsiteY11873" fmla="*/ 789071 h 5818346"/>
              <a:gd name="connsiteX11874" fmla="*/ 969613 w 3503192"/>
              <a:gd name="connsiteY11874" fmla="*/ 798156 h 5818346"/>
              <a:gd name="connsiteX11875" fmla="*/ 976715 w 3503192"/>
              <a:gd name="connsiteY11875" fmla="*/ 791055 h 5818346"/>
              <a:gd name="connsiteX11876" fmla="*/ 987451 w 3503192"/>
              <a:gd name="connsiteY11876" fmla="*/ 801791 h 5818346"/>
              <a:gd name="connsiteX11877" fmla="*/ 976715 w 3503192"/>
              <a:gd name="connsiteY11877" fmla="*/ 812528 h 5818346"/>
              <a:gd name="connsiteX11878" fmla="*/ 967630 w 3503192"/>
              <a:gd name="connsiteY11878" fmla="*/ 803442 h 5818346"/>
              <a:gd name="connsiteX11879" fmla="*/ 960528 w 3503192"/>
              <a:gd name="connsiteY11879" fmla="*/ 810545 h 5818346"/>
              <a:gd name="connsiteX11880" fmla="*/ 950452 w 3503192"/>
              <a:gd name="connsiteY11880" fmla="*/ 800470 h 5818346"/>
              <a:gd name="connsiteX11881" fmla="*/ 944506 w 3503192"/>
              <a:gd name="connsiteY11881" fmla="*/ 806416 h 5818346"/>
              <a:gd name="connsiteX11882" fmla="*/ 933770 w 3503192"/>
              <a:gd name="connsiteY11882" fmla="*/ 795678 h 5818346"/>
              <a:gd name="connsiteX11883" fmla="*/ 944506 w 3503192"/>
              <a:gd name="connsiteY11883" fmla="*/ 784942 h 5818346"/>
              <a:gd name="connsiteX11884" fmla="*/ 925676 w 3503192"/>
              <a:gd name="connsiteY11884" fmla="*/ 783620 h 5818346"/>
              <a:gd name="connsiteX11885" fmla="*/ 928813 w 3503192"/>
              <a:gd name="connsiteY11885" fmla="*/ 786759 h 5818346"/>
              <a:gd name="connsiteX11886" fmla="*/ 925676 w 3503192"/>
              <a:gd name="connsiteY11886" fmla="*/ 789896 h 5818346"/>
              <a:gd name="connsiteX11887" fmla="*/ 922537 w 3503192"/>
              <a:gd name="connsiteY11887" fmla="*/ 786759 h 5818346"/>
              <a:gd name="connsiteX11888" fmla="*/ 925676 w 3503192"/>
              <a:gd name="connsiteY11888" fmla="*/ 783620 h 5818346"/>
              <a:gd name="connsiteX11889" fmla="*/ 1140576 w 3503192"/>
              <a:gd name="connsiteY11889" fmla="*/ 776519 h 5818346"/>
              <a:gd name="connsiteX11890" fmla="*/ 1151313 w 3503192"/>
              <a:gd name="connsiteY11890" fmla="*/ 787255 h 5818346"/>
              <a:gd name="connsiteX11891" fmla="*/ 1140576 w 3503192"/>
              <a:gd name="connsiteY11891" fmla="*/ 797991 h 5818346"/>
              <a:gd name="connsiteX11892" fmla="*/ 1129840 w 3503192"/>
              <a:gd name="connsiteY11892" fmla="*/ 787255 h 5818346"/>
              <a:gd name="connsiteX11893" fmla="*/ 1140576 w 3503192"/>
              <a:gd name="connsiteY11893" fmla="*/ 776519 h 5818346"/>
              <a:gd name="connsiteX11894" fmla="*/ 1038990 w 3503192"/>
              <a:gd name="connsiteY11894" fmla="*/ 775856 h 5818346"/>
              <a:gd name="connsiteX11895" fmla="*/ 1049726 w 3503192"/>
              <a:gd name="connsiteY11895" fmla="*/ 786593 h 5818346"/>
              <a:gd name="connsiteX11896" fmla="*/ 1038990 w 3503192"/>
              <a:gd name="connsiteY11896" fmla="*/ 797329 h 5818346"/>
              <a:gd name="connsiteX11897" fmla="*/ 1028253 w 3503192"/>
              <a:gd name="connsiteY11897" fmla="*/ 786593 h 5818346"/>
              <a:gd name="connsiteX11898" fmla="*/ 1038990 w 3503192"/>
              <a:gd name="connsiteY11898" fmla="*/ 775856 h 5818346"/>
              <a:gd name="connsiteX11899" fmla="*/ 1827400 w 3503192"/>
              <a:gd name="connsiteY11899" fmla="*/ 774205 h 5818346"/>
              <a:gd name="connsiteX11900" fmla="*/ 1838136 w 3503192"/>
              <a:gd name="connsiteY11900" fmla="*/ 784942 h 5818346"/>
              <a:gd name="connsiteX11901" fmla="*/ 1827400 w 3503192"/>
              <a:gd name="connsiteY11901" fmla="*/ 795678 h 5818346"/>
              <a:gd name="connsiteX11902" fmla="*/ 1816663 w 3503192"/>
              <a:gd name="connsiteY11902" fmla="*/ 784942 h 5818346"/>
              <a:gd name="connsiteX11903" fmla="*/ 1827400 w 3503192"/>
              <a:gd name="connsiteY11903" fmla="*/ 774205 h 5818346"/>
              <a:gd name="connsiteX11904" fmla="*/ 1414282 w 3503192"/>
              <a:gd name="connsiteY11904" fmla="*/ 771727 h 5818346"/>
              <a:gd name="connsiteX11905" fmla="*/ 1425018 w 3503192"/>
              <a:gd name="connsiteY11905" fmla="*/ 782464 h 5818346"/>
              <a:gd name="connsiteX11906" fmla="*/ 1414282 w 3503192"/>
              <a:gd name="connsiteY11906" fmla="*/ 793200 h 5818346"/>
              <a:gd name="connsiteX11907" fmla="*/ 1403545 w 3503192"/>
              <a:gd name="connsiteY11907" fmla="*/ 782464 h 5818346"/>
              <a:gd name="connsiteX11908" fmla="*/ 1414282 w 3503192"/>
              <a:gd name="connsiteY11908" fmla="*/ 771727 h 5818346"/>
              <a:gd name="connsiteX11909" fmla="*/ 974899 w 3503192"/>
              <a:gd name="connsiteY11909" fmla="*/ 769416 h 5818346"/>
              <a:gd name="connsiteX11910" fmla="*/ 984149 w 3503192"/>
              <a:gd name="connsiteY11910" fmla="*/ 778666 h 5818346"/>
              <a:gd name="connsiteX11911" fmla="*/ 992243 w 3503192"/>
              <a:gd name="connsiteY11911" fmla="*/ 770570 h 5818346"/>
              <a:gd name="connsiteX11912" fmla="*/ 1002651 w 3503192"/>
              <a:gd name="connsiteY11912" fmla="*/ 780977 h 5818346"/>
              <a:gd name="connsiteX11913" fmla="*/ 1012229 w 3503192"/>
              <a:gd name="connsiteY11913" fmla="*/ 771398 h 5818346"/>
              <a:gd name="connsiteX11914" fmla="*/ 1022966 w 3503192"/>
              <a:gd name="connsiteY11914" fmla="*/ 782134 h 5818346"/>
              <a:gd name="connsiteX11915" fmla="*/ 1012229 w 3503192"/>
              <a:gd name="connsiteY11915" fmla="*/ 792872 h 5818346"/>
              <a:gd name="connsiteX11916" fmla="*/ 1001822 w 3503192"/>
              <a:gd name="connsiteY11916" fmla="*/ 782465 h 5818346"/>
              <a:gd name="connsiteX11917" fmla="*/ 992243 w 3503192"/>
              <a:gd name="connsiteY11917" fmla="*/ 792043 h 5818346"/>
              <a:gd name="connsiteX11918" fmla="*/ 982994 w 3503192"/>
              <a:gd name="connsiteY11918" fmla="*/ 782795 h 5818346"/>
              <a:gd name="connsiteX11919" fmla="*/ 974899 w 3503192"/>
              <a:gd name="connsiteY11919" fmla="*/ 790890 h 5818346"/>
              <a:gd name="connsiteX11920" fmla="*/ 964163 w 3503192"/>
              <a:gd name="connsiteY11920" fmla="*/ 780152 h 5818346"/>
              <a:gd name="connsiteX11921" fmla="*/ 974899 w 3503192"/>
              <a:gd name="connsiteY11921" fmla="*/ 769416 h 5818346"/>
              <a:gd name="connsiteX11922" fmla="*/ 1216229 w 3503192"/>
              <a:gd name="connsiteY11922" fmla="*/ 768920 h 5818346"/>
              <a:gd name="connsiteX11923" fmla="*/ 1226965 w 3503192"/>
              <a:gd name="connsiteY11923" fmla="*/ 779656 h 5818346"/>
              <a:gd name="connsiteX11924" fmla="*/ 1216229 w 3503192"/>
              <a:gd name="connsiteY11924" fmla="*/ 790392 h 5818346"/>
              <a:gd name="connsiteX11925" fmla="*/ 1205492 w 3503192"/>
              <a:gd name="connsiteY11925" fmla="*/ 779656 h 5818346"/>
              <a:gd name="connsiteX11926" fmla="*/ 1216229 w 3503192"/>
              <a:gd name="connsiteY11926" fmla="*/ 768920 h 5818346"/>
              <a:gd name="connsiteX11927" fmla="*/ 2336654 w 3503192"/>
              <a:gd name="connsiteY11927" fmla="*/ 766937 h 5818346"/>
              <a:gd name="connsiteX11928" fmla="*/ 2347392 w 3503192"/>
              <a:gd name="connsiteY11928" fmla="*/ 777674 h 5818346"/>
              <a:gd name="connsiteX11929" fmla="*/ 2336654 w 3503192"/>
              <a:gd name="connsiteY11929" fmla="*/ 788412 h 5818346"/>
              <a:gd name="connsiteX11930" fmla="*/ 2325918 w 3503192"/>
              <a:gd name="connsiteY11930" fmla="*/ 777674 h 5818346"/>
              <a:gd name="connsiteX11931" fmla="*/ 2336654 w 3503192"/>
              <a:gd name="connsiteY11931" fmla="*/ 766937 h 5818346"/>
              <a:gd name="connsiteX11932" fmla="*/ 1306583 w 3503192"/>
              <a:gd name="connsiteY11932" fmla="*/ 766608 h 5818346"/>
              <a:gd name="connsiteX11933" fmla="*/ 1317321 w 3503192"/>
              <a:gd name="connsiteY11933" fmla="*/ 777344 h 5818346"/>
              <a:gd name="connsiteX11934" fmla="*/ 1306583 w 3503192"/>
              <a:gd name="connsiteY11934" fmla="*/ 788081 h 5818346"/>
              <a:gd name="connsiteX11935" fmla="*/ 1295847 w 3503192"/>
              <a:gd name="connsiteY11935" fmla="*/ 777344 h 5818346"/>
              <a:gd name="connsiteX11936" fmla="*/ 1306583 w 3503192"/>
              <a:gd name="connsiteY11936" fmla="*/ 766608 h 5818346"/>
              <a:gd name="connsiteX11937" fmla="*/ 956728 w 3503192"/>
              <a:gd name="connsiteY11937" fmla="*/ 764955 h 5818346"/>
              <a:gd name="connsiteX11938" fmla="*/ 967465 w 3503192"/>
              <a:gd name="connsiteY11938" fmla="*/ 775692 h 5818346"/>
              <a:gd name="connsiteX11939" fmla="*/ 956728 w 3503192"/>
              <a:gd name="connsiteY11939" fmla="*/ 786428 h 5818346"/>
              <a:gd name="connsiteX11940" fmla="*/ 945992 w 3503192"/>
              <a:gd name="connsiteY11940" fmla="*/ 775692 h 5818346"/>
              <a:gd name="connsiteX11941" fmla="*/ 956728 w 3503192"/>
              <a:gd name="connsiteY11941" fmla="*/ 764955 h 5818346"/>
              <a:gd name="connsiteX11942" fmla="*/ 3364411 w 3503192"/>
              <a:gd name="connsiteY11942" fmla="*/ 758348 h 5818346"/>
              <a:gd name="connsiteX11943" fmla="*/ 3375149 w 3503192"/>
              <a:gd name="connsiteY11943" fmla="*/ 769084 h 5818346"/>
              <a:gd name="connsiteX11944" fmla="*/ 3364411 w 3503192"/>
              <a:gd name="connsiteY11944" fmla="*/ 779821 h 5818346"/>
              <a:gd name="connsiteX11945" fmla="*/ 3353675 w 3503192"/>
              <a:gd name="connsiteY11945" fmla="*/ 769084 h 5818346"/>
              <a:gd name="connsiteX11946" fmla="*/ 3364411 w 3503192"/>
              <a:gd name="connsiteY11946" fmla="*/ 758348 h 5818346"/>
              <a:gd name="connsiteX11947" fmla="*/ 1089038 w 3503192"/>
              <a:gd name="connsiteY11947" fmla="*/ 758183 h 5818346"/>
              <a:gd name="connsiteX11948" fmla="*/ 1099776 w 3503192"/>
              <a:gd name="connsiteY11948" fmla="*/ 768920 h 5818346"/>
              <a:gd name="connsiteX11949" fmla="*/ 1089038 w 3503192"/>
              <a:gd name="connsiteY11949" fmla="*/ 779656 h 5818346"/>
              <a:gd name="connsiteX11950" fmla="*/ 1078302 w 3503192"/>
              <a:gd name="connsiteY11950" fmla="*/ 768920 h 5818346"/>
              <a:gd name="connsiteX11951" fmla="*/ 1089038 w 3503192"/>
              <a:gd name="connsiteY11951" fmla="*/ 758183 h 5818346"/>
              <a:gd name="connsiteX11952" fmla="*/ 1053194 w 3503192"/>
              <a:gd name="connsiteY11952" fmla="*/ 751245 h 5818346"/>
              <a:gd name="connsiteX11953" fmla="*/ 1063932 w 3503192"/>
              <a:gd name="connsiteY11953" fmla="*/ 761981 h 5818346"/>
              <a:gd name="connsiteX11954" fmla="*/ 1053194 w 3503192"/>
              <a:gd name="connsiteY11954" fmla="*/ 772717 h 5818346"/>
              <a:gd name="connsiteX11955" fmla="*/ 1042458 w 3503192"/>
              <a:gd name="connsiteY11955" fmla="*/ 761981 h 5818346"/>
              <a:gd name="connsiteX11956" fmla="*/ 1053194 w 3503192"/>
              <a:gd name="connsiteY11956" fmla="*/ 751245 h 5818346"/>
              <a:gd name="connsiteX11957" fmla="*/ 1027426 w 3503192"/>
              <a:gd name="connsiteY11957" fmla="*/ 750254 h 5818346"/>
              <a:gd name="connsiteX11958" fmla="*/ 1038162 w 3503192"/>
              <a:gd name="connsiteY11958" fmla="*/ 760991 h 5818346"/>
              <a:gd name="connsiteX11959" fmla="*/ 1027426 w 3503192"/>
              <a:gd name="connsiteY11959" fmla="*/ 771727 h 5818346"/>
              <a:gd name="connsiteX11960" fmla="*/ 1017682 w 3503192"/>
              <a:gd name="connsiteY11960" fmla="*/ 761983 h 5818346"/>
              <a:gd name="connsiteX11961" fmla="*/ 1006944 w 3503192"/>
              <a:gd name="connsiteY11961" fmla="*/ 772719 h 5818346"/>
              <a:gd name="connsiteX11962" fmla="*/ 997118 w 3503192"/>
              <a:gd name="connsiteY11962" fmla="*/ 762892 h 5818346"/>
              <a:gd name="connsiteX11963" fmla="*/ 988114 w 3503192"/>
              <a:gd name="connsiteY11963" fmla="*/ 771894 h 5818346"/>
              <a:gd name="connsiteX11964" fmla="*/ 977377 w 3503192"/>
              <a:gd name="connsiteY11964" fmla="*/ 761156 h 5818346"/>
              <a:gd name="connsiteX11965" fmla="*/ 988114 w 3503192"/>
              <a:gd name="connsiteY11965" fmla="*/ 750419 h 5818346"/>
              <a:gd name="connsiteX11966" fmla="*/ 997943 w 3503192"/>
              <a:gd name="connsiteY11966" fmla="*/ 760247 h 5818346"/>
              <a:gd name="connsiteX11967" fmla="*/ 1006944 w 3503192"/>
              <a:gd name="connsiteY11967" fmla="*/ 751245 h 5818346"/>
              <a:gd name="connsiteX11968" fmla="*/ 1016690 w 3503192"/>
              <a:gd name="connsiteY11968" fmla="*/ 760991 h 5818346"/>
              <a:gd name="connsiteX11969" fmla="*/ 2504478 w 3503192"/>
              <a:gd name="connsiteY11969" fmla="*/ 749923 h 5818346"/>
              <a:gd name="connsiteX11970" fmla="*/ 2515216 w 3503192"/>
              <a:gd name="connsiteY11970" fmla="*/ 760660 h 5818346"/>
              <a:gd name="connsiteX11971" fmla="*/ 2504478 w 3503192"/>
              <a:gd name="connsiteY11971" fmla="*/ 771396 h 5818346"/>
              <a:gd name="connsiteX11972" fmla="*/ 2493742 w 3503192"/>
              <a:gd name="connsiteY11972" fmla="*/ 760660 h 5818346"/>
              <a:gd name="connsiteX11973" fmla="*/ 2504478 w 3503192"/>
              <a:gd name="connsiteY11973" fmla="*/ 749923 h 5818346"/>
              <a:gd name="connsiteX11974" fmla="*/ 1664532 w 3503192"/>
              <a:gd name="connsiteY11974" fmla="*/ 745630 h 5818346"/>
              <a:gd name="connsiteX11975" fmla="*/ 1675268 w 3503192"/>
              <a:gd name="connsiteY11975" fmla="*/ 756366 h 5818346"/>
              <a:gd name="connsiteX11976" fmla="*/ 1664532 w 3503192"/>
              <a:gd name="connsiteY11976" fmla="*/ 767102 h 5818346"/>
              <a:gd name="connsiteX11977" fmla="*/ 1653795 w 3503192"/>
              <a:gd name="connsiteY11977" fmla="*/ 756366 h 5818346"/>
              <a:gd name="connsiteX11978" fmla="*/ 1664532 w 3503192"/>
              <a:gd name="connsiteY11978" fmla="*/ 745630 h 5818346"/>
              <a:gd name="connsiteX11979" fmla="*/ 967466 w 3503192"/>
              <a:gd name="connsiteY11979" fmla="*/ 745463 h 5818346"/>
              <a:gd name="connsiteX11980" fmla="*/ 977873 w 3503192"/>
              <a:gd name="connsiteY11980" fmla="*/ 755870 h 5818346"/>
              <a:gd name="connsiteX11981" fmla="*/ 967466 w 3503192"/>
              <a:gd name="connsiteY11981" fmla="*/ 766277 h 5818346"/>
              <a:gd name="connsiteX11982" fmla="*/ 957060 w 3503192"/>
              <a:gd name="connsiteY11982" fmla="*/ 755870 h 5818346"/>
              <a:gd name="connsiteX11983" fmla="*/ 967466 w 3503192"/>
              <a:gd name="connsiteY11983" fmla="*/ 745463 h 5818346"/>
              <a:gd name="connsiteX11984" fmla="*/ 3194770 w 3503192"/>
              <a:gd name="connsiteY11984" fmla="*/ 743977 h 5818346"/>
              <a:gd name="connsiteX11985" fmla="*/ 3205508 w 3503192"/>
              <a:gd name="connsiteY11985" fmla="*/ 754713 h 5818346"/>
              <a:gd name="connsiteX11986" fmla="*/ 3194770 w 3503192"/>
              <a:gd name="connsiteY11986" fmla="*/ 765451 h 5818346"/>
              <a:gd name="connsiteX11987" fmla="*/ 3184033 w 3503192"/>
              <a:gd name="connsiteY11987" fmla="*/ 754713 h 5818346"/>
              <a:gd name="connsiteX11988" fmla="*/ 3194770 w 3503192"/>
              <a:gd name="connsiteY11988" fmla="*/ 743977 h 5818346"/>
              <a:gd name="connsiteX11989" fmla="*/ 1148670 w 3503192"/>
              <a:gd name="connsiteY11989" fmla="*/ 742820 h 5818346"/>
              <a:gd name="connsiteX11990" fmla="*/ 1159408 w 3503192"/>
              <a:gd name="connsiteY11990" fmla="*/ 753556 h 5818346"/>
              <a:gd name="connsiteX11991" fmla="*/ 1148670 w 3503192"/>
              <a:gd name="connsiteY11991" fmla="*/ 764293 h 5818346"/>
              <a:gd name="connsiteX11992" fmla="*/ 1137934 w 3503192"/>
              <a:gd name="connsiteY11992" fmla="*/ 753556 h 5818346"/>
              <a:gd name="connsiteX11993" fmla="*/ 1148670 w 3503192"/>
              <a:gd name="connsiteY11993" fmla="*/ 742820 h 5818346"/>
              <a:gd name="connsiteX11994" fmla="*/ 1971108 w 3503192"/>
              <a:gd name="connsiteY11994" fmla="*/ 741004 h 5818346"/>
              <a:gd name="connsiteX11995" fmla="*/ 1981846 w 3503192"/>
              <a:gd name="connsiteY11995" fmla="*/ 751741 h 5818346"/>
              <a:gd name="connsiteX11996" fmla="*/ 1971108 w 3503192"/>
              <a:gd name="connsiteY11996" fmla="*/ 762479 h 5818346"/>
              <a:gd name="connsiteX11997" fmla="*/ 1960372 w 3503192"/>
              <a:gd name="connsiteY11997" fmla="*/ 751741 h 5818346"/>
              <a:gd name="connsiteX11998" fmla="*/ 1971108 w 3503192"/>
              <a:gd name="connsiteY11998" fmla="*/ 741004 h 5818346"/>
              <a:gd name="connsiteX11999" fmla="*/ 2675771 w 3503192"/>
              <a:gd name="connsiteY11999" fmla="*/ 738857 h 5818346"/>
              <a:gd name="connsiteX12000" fmla="*/ 2686509 w 3503192"/>
              <a:gd name="connsiteY12000" fmla="*/ 749594 h 5818346"/>
              <a:gd name="connsiteX12001" fmla="*/ 2675771 w 3503192"/>
              <a:gd name="connsiteY12001" fmla="*/ 760330 h 5818346"/>
              <a:gd name="connsiteX12002" fmla="*/ 2665034 w 3503192"/>
              <a:gd name="connsiteY12002" fmla="*/ 749594 h 5818346"/>
              <a:gd name="connsiteX12003" fmla="*/ 2675771 w 3503192"/>
              <a:gd name="connsiteY12003" fmla="*/ 738857 h 5818346"/>
              <a:gd name="connsiteX12004" fmla="*/ 3022487 w 3503192"/>
              <a:gd name="connsiteY12004" fmla="*/ 735883 h 5818346"/>
              <a:gd name="connsiteX12005" fmla="*/ 3033225 w 3503192"/>
              <a:gd name="connsiteY12005" fmla="*/ 746620 h 5818346"/>
              <a:gd name="connsiteX12006" fmla="*/ 3022487 w 3503192"/>
              <a:gd name="connsiteY12006" fmla="*/ 757358 h 5818346"/>
              <a:gd name="connsiteX12007" fmla="*/ 3011750 w 3503192"/>
              <a:gd name="connsiteY12007" fmla="*/ 746620 h 5818346"/>
              <a:gd name="connsiteX12008" fmla="*/ 3022487 w 3503192"/>
              <a:gd name="connsiteY12008" fmla="*/ 735883 h 5818346"/>
              <a:gd name="connsiteX12009" fmla="*/ 976881 w 3503192"/>
              <a:gd name="connsiteY12009" fmla="*/ 735719 h 5818346"/>
              <a:gd name="connsiteX12010" fmla="*/ 977211 w 3503192"/>
              <a:gd name="connsiteY12010" fmla="*/ 736050 h 5818346"/>
              <a:gd name="connsiteX12011" fmla="*/ 976881 w 3503192"/>
              <a:gd name="connsiteY12011" fmla="*/ 736379 h 5818346"/>
              <a:gd name="connsiteX12012" fmla="*/ 976550 w 3503192"/>
              <a:gd name="connsiteY12012" fmla="*/ 736050 h 5818346"/>
              <a:gd name="connsiteX12013" fmla="*/ 976881 w 3503192"/>
              <a:gd name="connsiteY12013" fmla="*/ 735719 h 5818346"/>
              <a:gd name="connsiteX12014" fmla="*/ 2849046 w 3503192"/>
              <a:gd name="connsiteY12014" fmla="*/ 734231 h 5818346"/>
              <a:gd name="connsiteX12015" fmla="*/ 2859784 w 3503192"/>
              <a:gd name="connsiteY12015" fmla="*/ 744967 h 5818346"/>
              <a:gd name="connsiteX12016" fmla="*/ 2849046 w 3503192"/>
              <a:gd name="connsiteY12016" fmla="*/ 755705 h 5818346"/>
              <a:gd name="connsiteX12017" fmla="*/ 2838309 w 3503192"/>
              <a:gd name="connsiteY12017" fmla="*/ 744967 h 5818346"/>
              <a:gd name="connsiteX12018" fmla="*/ 2849046 w 3503192"/>
              <a:gd name="connsiteY12018" fmla="*/ 734231 h 5818346"/>
              <a:gd name="connsiteX12019" fmla="*/ 1020819 w 3503192"/>
              <a:gd name="connsiteY12019" fmla="*/ 732911 h 5818346"/>
              <a:gd name="connsiteX12020" fmla="*/ 1031555 w 3503192"/>
              <a:gd name="connsiteY12020" fmla="*/ 743647 h 5818346"/>
              <a:gd name="connsiteX12021" fmla="*/ 1020819 w 3503192"/>
              <a:gd name="connsiteY12021" fmla="*/ 754384 h 5818346"/>
              <a:gd name="connsiteX12022" fmla="*/ 1010082 w 3503192"/>
              <a:gd name="connsiteY12022" fmla="*/ 743647 h 5818346"/>
              <a:gd name="connsiteX12023" fmla="*/ 1020819 w 3503192"/>
              <a:gd name="connsiteY12023" fmla="*/ 732911 h 5818346"/>
              <a:gd name="connsiteX12024" fmla="*/ 1000007 w 3503192"/>
              <a:gd name="connsiteY12024" fmla="*/ 731919 h 5818346"/>
              <a:gd name="connsiteX12025" fmla="*/ 1010743 w 3503192"/>
              <a:gd name="connsiteY12025" fmla="*/ 742655 h 5818346"/>
              <a:gd name="connsiteX12026" fmla="*/ 1000007 w 3503192"/>
              <a:gd name="connsiteY12026" fmla="*/ 753392 h 5818346"/>
              <a:gd name="connsiteX12027" fmla="*/ 989270 w 3503192"/>
              <a:gd name="connsiteY12027" fmla="*/ 742655 h 5818346"/>
              <a:gd name="connsiteX12028" fmla="*/ 1000007 w 3503192"/>
              <a:gd name="connsiteY12028" fmla="*/ 731919 h 5818346"/>
              <a:gd name="connsiteX12029" fmla="*/ 1101098 w 3503192"/>
              <a:gd name="connsiteY12029" fmla="*/ 731423 h 5818346"/>
              <a:gd name="connsiteX12030" fmla="*/ 1111834 w 3503192"/>
              <a:gd name="connsiteY12030" fmla="*/ 742159 h 5818346"/>
              <a:gd name="connsiteX12031" fmla="*/ 1101098 w 3503192"/>
              <a:gd name="connsiteY12031" fmla="*/ 752896 h 5818346"/>
              <a:gd name="connsiteX12032" fmla="*/ 1090361 w 3503192"/>
              <a:gd name="connsiteY12032" fmla="*/ 742159 h 5818346"/>
              <a:gd name="connsiteX12033" fmla="*/ 1101098 w 3503192"/>
              <a:gd name="connsiteY12033" fmla="*/ 731423 h 5818346"/>
              <a:gd name="connsiteX12034" fmla="*/ 1041962 w 3503192"/>
              <a:gd name="connsiteY12034" fmla="*/ 730929 h 5818346"/>
              <a:gd name="connsiteX12035" fmla="*/ 1052698 w 3503192"/>
              <a:gd name="connsiteY12035" fmla="*/ 741665 h 5818346"/>
              <a:gd name="connsiteX12036" fmla="*/ 1041962 w 3503192"/>
              <a:gd name="connsiteY12036" fmla="*/ 752401 h 5818346"/>
              <a:gd name="connsiteX12037" fmla="*/ 1031226 w 3503192"/>
              <a:gd name="connsiteY12037" fmla="*/ 741665 h 5818346"/>
              <a:gd name="connsiteX12038" fmla="*/ 1041962 w 3503192"/>
              <a:gd name="connsiteY12038" fmla="*/ 730929 h 5818346"/>
              <a:gd name="connsiteX12039" fmla="*/ 1219862 w 3503192"/>
              <a:gd name="connsiteY12039" fmla="*/ 730762 h 5818346"/>
              <a:gd name="connsiteX12040" fmla="*/ 1230600 w 3503192"/>
              <a:gd name="connsiteY12040" fmla="*/ 741499 h 5818346"/>
              <a:gd name="connsiteX12041" fmla="*/ 1219862 w 3503192"/>
              <a:gd name="connsiteY12041" fmla="*/ 752235 h 5818346"/>
              <a:gd name="connsiteX12042" fmla="*/ 1209125 w 3503192"/>
              <a:gd name="connsiteY12042" fmla="*/ 741499 h 5818346"/>
              <a:gd name="connsiteX12043" fmla="*/ 1219862 w 3503192"/>
              <a:gd name="connsiteY12043" fmla="*/ 730762 h 5818346"/>
              <a:gd name="connsiteX12044" fmla="*/ 1067234 w 3503192"/>
              <a:gd name="connsiteY12044" fmla="*/ 729111 h 5818346"/>
              <a:gd name="connsiteX12045" fmla="*/ 1077972 w 3503192"/>
              <a:gd name="connsiteY12045" fmla="*/ 739848 h 5818346"/>
              <a:gd name="connsiteX12046" fmla="*/ 1067234 w 3503192"/>
              <a:gd name="connsiteY12046" fmla="*/ 750584 h 5818346"/>
              <a:gd name="connsiteX12047" fmla="*/ 1056498 w 3503192"/>
              <a:gd name="connsiteY12047" fmla="*/ 739848 h 5818346"/>
              <a:gd name="connsiteX12048" fmla="*/ 1067234 w 3503192"/>
              <a:gd name="connsiteY12048" fmla="*/ 729111 h 5818346"/>
              <a:gd name="connsiteX12049" fmla="*/ 1524787 w 3503192"/>
              <a:gd name="connsiteY12049" fmla="*/ 728945 h 5818346"/>
              <a:gd name="connsiteX12050" fmla="*/ 1535524 w 3503192"/>
              <a:gd name="connsiteY12050" fmla="*/ 739681 h 5818346"/>
              <a:gd name="connsiteX12051" fmla="*/ 1524787 w 3503192"/>
              <a:gd name="connsiteY12051" fmla="*/ 750417 h 5818346"/>
              <a:gd name="connsiteX12052" fmla="*/ 1514051 w 3503192"/>
              <a:gd name="connsiteY12052" fmla="*/ 739681 h 5818346"/>
              <a:gd name="connsiteX12053" fmla="*/ 1524787 w 3503192"/>
              <a:gd name="connsiteY12053" fmla="*/ 728945 h 5818346"/>
              <a:gd name="connsiteX12054" fmla="*/ 1304766 w 3503192"/>
              <a:gd name="connsiteY12054" fmla="*/ 723329 h 5818346"/>
              <a:gd name="connsiteX12055" fmla="*/ 1315504 w 3503192"/>
              <a:gd name="connsiteY12055" fmla="*/ 734066 h 5818346"/>
              <a:gd name="connsiteX12056" fmla="*/ 1304766 w 3503192"/>
              <a:gd name="connsiteY12056" fmla="*/ 744804 h 5818346"/>
              <a:gd name="connsiteX12057" fmla="*/ 1294030 w 3503192"/>
              <a:gd name="connsiteY12057" fmla="*/ 734066 h 5818346"/>
              <a:gd name="connsiteX12058" fmla="*/ 1304766 w 3503192"/>
              <a:gd name="connsiteY12058" fmla="*/ 723329 h 5818346"/>
              <a:gd name="connsiteX12059" fmla="*/ 1405692 w 3503192"/>
              <a:gd name="connsiteY12059" fmla="*/ 722173 h 5818346"/>
              <a:gd name="connsiteX12060" fmla="*/ 1416430 w 3503192"/>
              <a:gd name="connsiteY12060" fmla="*/ 732909 h 5818346"/>
              <a:gd name="connsiteX12061" fmla="*/ 1405692 w 3503192"/>
              <a:gd name="connsiteY12061" fmla="*/ 743646 h 5818346"/>
              <a:gd name="connsiteX12062" fmla="*/ 1394956 w 3503192"/>
              <a:gd name="connsiteY12062" fmla="*/ 732909 h 5818346"/>
              <a:gd name="connsiteX12063" fmla="*/ 1405692 w 3503192"/>
              <a:gd name="connsiteY12063" fmla="*/ 722173 h 5818346"/>
              <a:gd name="connsiteX12064" fmla="*/ 1033537 w 3503192"/>
              <a:gd name="connsiteY12064" fmla="*/ 715401 h 5818346"/>
              <a:gd name="connsiteX12065" fmla="*/ 1044275 w 3503192"/>
              <a:gd name="connsiteY12065" fmla="*/ 726137 h 5818346"/>
              <a:gd name="connsiteX12066" fmla="*/ 1033537 w 3503192"/>
              <a:gd name="connsiteY12066" fmla="*/ 736873 h 5818346"/>
              <a:gd name="connsiteX12067" fmla="*/ 1022801 w 3503192"/>
              <a:gd name="connsiteY12067" fmla="*/ 726137 h 5818346"/>
              <a:gd name="connsiteX12068" fmla="*/ 1033537 w 3503192"/>
              <a:gd name="connsiteY12068" fmla="*/ 715401 h 5818346"/>
              <a:gd name="connsiteX12069" fmla="*/ 1010743 w 3503192"/>
              <a:gd name="connsiteY12069" fmla="*/ 713419 h 5818346"/>
              <a:gd name="connsiteX12070" fmla="*/ 1021479 w 3503192"/>
              <a:gd name="connsiteY12070" fmla="*/ 724155 h 5818346"/>
              <a:gd name="connsiteX12071" fmla="*/ 1010743 w 3503192"/>
              <a:gd name="connsiteY12071" fmla="*/ 734891 h 5818346"/>
              <a:gd name="connsiteX12072" fmla="*/ 1000007 w 3503192"/>
              <a:gd name="connsiteY12072" fmla="*/ 724155 h 5818346"/>
              <a:gd name="connsiteX12073" fmla="*/ 1010743 w 3503192"/>
              <a:gd name="connsiteY12073" fmla="*/ 713419 h 5818346"/>
              <a:gd name="connsiteX12074" fmla="*/ 1157755 w 3503192"/>
              <a:gd name="connsiteY12074" fmla="*/ 713254 h 5818346"/>
              <a:gd name="connsiteX12075" fmla="*/ 1168492 w 3503192"/>
              <a:gd name="connsiteY12075" fmla="*/ 723990 h 5818346"/>
              <a:gd name="connsiteX12076" fmla="*/ 1157755 w 3503192"/>
              <a:gd name="connsiteY12076" fmla="*/ 734728 h 5818346"/>
              <a:gd name="connsiteX12077" fmla="*/ 1147019 w 3503192"/>
              <a:gd name="connsiteY12077" fmla="*/ 723990 h 5818346"/>
              <a:gd name="connsiteX12078" fmla="*/ 1157755 w 3503192"/>
              <a:gd name="connsiteY12078" fmla="*/ 713254 h 5818346"/>
              <a:gd name="connsiteX12079" fmla="*/ 1055837 w 3503192"/>
              <a:gd name="connsiteY12079" fmla="*/ 712923 h 5818346"/>
              <a:gd name="connsiteX12080" fmla="*/ 1066574 w 3503192"/>
              <a:gd name="connsiteY12080" fmla="*/ 723659 h 5818346"/>
              <a:gd name="connsiteX12081" fmla="*/ 1055837 w 3503192"/>
              <a:gd name="connsiteY12081" fmla="*/ 734396 h 5818346"/>
              <a:gd name="connsiteX12082" fmla="*/ 1045101 w 3503192"/>
              <a:gd name="connsiteY12082" fmla="*/ 723659 h 5818346"/>
              <a:gd name="connsiteX12083" fmla="*/ 1055837 w 3503192"/>
              <a:gd name="connsiteY12083" fmla="*/ 712923 h 5818346"/>
              <a:gd name="connsiteX12084" fmla="*/ 2120926 w 3503192"/>
              <a:gd name="connsiteY12084" fmla="*/ 711932 h 5818346"/>
              <a:gd name="connsiteX12085" fmla="*/ 2131664 w 3503192"/>
              <a:gd name="connsiteY12085" fmla="*/ 722669 h 5818346"/>
              <a:gd name="connsiteX12086" fmla="*/ 2120926 w 3503192"/>
              <a:gd name="connsiteY12086" fmla="*/ 733405 h 5818346"/>
              <a:gd name="connsiteX12087" fmla="*/ 2110190 w 3503192"/>
              <a:gd name="connsiteY12087" fmla="*/ 722669 h 5818346"/>
              <a:gd name="connsiteX12088" fmla="*/ 2120926 w 3503192"/>
              <a:gd name="connsiteY12088" fmla="*/ 711932 h 5818346"/>
              <a:gd name="connsiteX12089" fmla="*/ 1081111 w 3503192"/>
              <a:gd name="connsiteY12089" fmla="*/ 709290 h 5818346"/>
              <a:gd name="connsiteX12090" fmla="*/ 1091848 w 3503192"/>
              <a:gd name="connsiteY12090" fmla="*/ 720026 h 5818346"/>
              <a:gd name="connsiteX12091" fmla="*/ 1081111 w 3503192"/>
              <a:gd name="connsiteY12091" fmla="*/ 730762 h 5818346"/>
              <a:gd name="connsiteX12092" fmla="*/ 1070375 w 3503192"/>
              <a:gd name="connsiteY12092" fmla="*/ 720026 h 5818346"/>
              <a:gd name="connsiteX12093" fmla="*/ 1081111 w 3503192"/>
              <a:gd name="connsiteY12093" fmla="*/ 709290 h 5818346"/>
              <a:gd name="connsiteX12094" fmla="*/ 1794528 w 3503192"/>
              <a:gd name="connsiteY12094" fmla="*/ 708133 h 5818346"/>
              <a:gd name="connsiteX12095" fmla="*/ 1805266 w 3503192"/>
              <a:gd name="connsiteY12095" fmla="*/ 718869 h 5818346"/>
              <a:gd name="connsiteX12096" fmla="*/ 1794528 w 3503192"/>
              <a:gd name="connsiteY12096" fmla="*/ 729606 h 5818346"/>
              <a:gd name="connsiteX12097" fmla="*/ 1783792 w 3503192"/>
              <a:gd name="connsiteY12097" fmla="*/ 718869 h 5818346"/>
              <a:gd name="connsiteX12098" fmla="*/ 1794528 w 3503192"/>
              <a:gd name="connsiteY12098" fmla="*/ 708133 h 5818346"/>
              <a:gd name="connsiteX12099" fmla="*/ 1113487 w 3503192"/>
              <a:gd name="connsiteY12099" fmla="*/ 707803 h 5818346"/>
              <a:gd name="connsiteX12100" fmla="*/ 1124223 w 3503192"/>
              <a:gd name="connsiteY12100" fmla="*/ 718540 h 5818346"/>
              <a:gd name="connsiteX12101" fmla="*/ 1113487 w 3503192"/>
              <a:gd name="connsiteY12101" fmla="*/ 729276 h 5818346"/>
              <a:gd name="connsiteX12102" fmla="*/ 1102750 w 3503192"/>
              <a:gd name="connsiteY12102" fmla="*/ 718540 h 5818346"/>
              <a:gd name="connsiteX12103" fmla="*/ 1113487 w 3503192"/>
              <a:gd name="connsiteY12103" fmla="*/ 707803 h 5818346"/>
              <a:gd name="connsiteX12104" fmla="*/ 1045101 w 3503192"/>
              <a:gd name="connsiteY12104" fmla="*/ 698222 h 5818346"/>
              <a:gd name="connsiteX12105" fmla="*/ 1055837 w 3503192"/>
              <a:gd name="connsiteY12105" fmla="*/ 708958 h 5818346"/>
              <a:gd name="connsiteX12106" fmla="*/ 1045101 w 3503192"/>
              <a:gd name="connsiteY12106" fmla="*/ 719696 h 5818346"/>
              <a:gd name="connsiteX12107" fmla="*/ 1034364 w 3503192"/>
              <a:gd name="connsiteY12107" fmla="*/ 708958 h 5818346"/>
              <a:gd name="connsiteX12108" fmla="*/ 1045101 w 3503192"/>
              <a:gd name="connsiteY12108" fmla="*/ 698222 h 5818346"/>
              <a:gd name="connsiteX12109" fmla="*/ 1020158 w 3503192"/>
              <a:gd name="connsiteY12109" fmla="*/ 698222 h 5818346"/>
              <a:gd name="connsiteX12110" fmla="*/ 1027591 w 3503192"/>
              <a:gd name="connsiteY12110" fmla="*/ 705655 h 5818346"/>
              <a:gd name="connsiteX12111" fmla="*/ 1020158 w 3503192"/>
              <a:gd name="connsiteY12111" fmla="*/ 713087 h 5818346"/>
              <a:gd name="connsiteX12112" fmla="*/ 1012725 w 3503192"/>
              <a:gd name="connsiteY12112" fmla="*/ 705655 h 5818346"/>
              <a:gd name="connsiteX12113" fmla="*/ 1020158 w 3503192"/>
              <a:gd name="connsiteY12113" fmla="*/ 698222 h 5818346"/>
              <a:gd name="connsiteX12114" fmla="*/ 1224983 w 3503192"/>
              <a:gd name="connsiteY12114" fmla="*/ 697561 h 5818346"/>
              <a:gd name="connsiteX12115" fmla="*/ 1235719 w 3503192"/>
              <a:gd name="connsiteY12115" fmla="*/ 708298 h 5818346"/>
              <a:gd name="connsiteX12116" fmla="*/ 1224983 w 3503192"/>
              <a:gd name="connsiteY12116" fmla="*/ 719034 h 5818346"/>
              <a:gd name="connsiteX12117" fmla="*/ 1214246 w 3503192"/>
              <a:gd name="connsiteY12117" fmla="*/ 708298 h 5818346"/>
              <a:gd name="connsiteX12118" fmla="*/ 1224983 w 3503192"/>
              <a:gd name="connsiteY12118" fmla="*/ 697561 h 5818346"/>
              <a:gd name="connsiteX12119" fmla="*/ 1068887 w 3503192"/>
              <a:gd name="connsiteY12119" fmla="*/ 695909 h 5818346"/>
              <a:gd name="connsiteX12120" fmla="*/ 1079625 w 3503192"/>
              <a:gd name="connsiteY12120" fmla="*/ 706645 h 5818346"/>
              <a:gd name="connsiteX12121" fmla="*/ 1068887 w 3503192"/>
              <a:gd name="connsiteY12121" fmla="*/ 717381 h 5818346"/>
              <a:gd name="connsiteX12122" fmla="*/ 1058151 w 3503192"/>
              <a:gd name="connsiteY12122" fmla="*/ 706645 h 5818346"/>
              <a:gd name="connsiteX12123" fmla="*/ 1068887 w 3503192"/>
              <a:gd name="connsiteY12123" fmla="*/ 695909 h 5818346"/>
              <a:gd name="connsiteX12124" fmla="*/ 1094490 w 3503192"/>
              <a:gd name="connsiteY12124" fmla="*/ 691119 h 5818346"/>
              <a:gd name="connsiteX12125" fmla="*/ 1105228 w 3503192"/>
              <a:gd name="connsiteY12125" fmla="*/ 701855 h 5818346"/>
              <a:gd name="connsiteX12126" fmla="*/ 1094490 w 3503192"/>
              <a:gd name="connsiteY12126" fmla="*/ 712592 h 5818346"/>
              <a:gd name="connsiteX12127" fmla="*/ 1083754 w 3503192"/>
              <a:gd name="connsiteY12127" fmla="*/ 701855 h 5818346"/>
              <a:gd name="connsiteX12128" fmla="*/ 1094490 w 3503192"/>
              <a:gd name="connsiteY12128" fmla="*/ 691119 h 5818346"/>
              <a:gd name="connsiteX12129" fmla="*/ 1641900 w 3503192"/>
              <a:gd name="connsiteY12129" fmla="*/ 688311 h 5818346"/>
              <a:gd name="connsiteX12130" fmla="*/ 1652638 w 3503192"/>
              <a:gd name="connsiteY12130" fmla="*/ 699048 h 5818346"/>
              <a:gd name="connsiteX12131" fmla="*/ 1641900 w 3503192"/>
              <a:gd name="connsiteY12131" fmla="*/ 709784 h 5818346"/>
              <a:gd name="connsiteX12132" fmla="*/ 1631164 w 3503192"/>
              <a:gd name="connsiteY12132" fmla="*/ 699048 h 5818346"/>
              <a:gd name="connsiteX12133" fmla="*/ 1641900 w 3503192"/>
              <a:gd name="connsiteY12133" fmla="*/ 688311 h 5818346"/>
              <a:gd name="connsiteX12134" fmla="*/ 2276528 w 3503192"/>
              <a:gd name="connsiteY12134" fmla="*/ 687486 h 5818346"/>
              <a:gd name="connsiteX12135" fmla="*/ 2287266 w 3503192"/>
              <a:gd name="connsiteY12135" fmla="*/ 698222 h 5818346"/>
              <a:gd name="connsiteX12136" fmla="*/ 2276528 w 3503192"/>
              <a:gd name="connsiteY12136" fmla="*/ 708958 h 5818346"/>
              <a:gd name="connsiteX12137" fmla="*/ 2265792 w 3503192"/>
              <a:gd name="connsiteY12137" fmla="*/ 698222 h 5818346"/>
              <a:gd name="connsiteX12138" fmla="*/ 2276528 w 3503192"/>
              <a:gd name="connsiteY12138" fmla="*/ 687486 h 5818346"/>
              <a:gd name="connsiteX12139" fmla="*/ 1167500 w 3503192"/>
              <a:gd name="connsiteY12139" fmla="*/ 687319 h 5818346"/>
              <a:gd name="connsiteX12140" fmla="*/ 1178238 w 3503192"/>
              <a:gd name="connsiteY12140" fmla="*/ 698055 h 5818346"/>
              <a:gd name="connsiteX12141" fmla="*/ 1167500 w 3503192"/>
              <a:gd name="connsiteY12141" fmla="*/ 708794 h 5818346"/>
              <a:gd name="connsiteX12142" fmla="*/ 1156763 w 3503192"/>
              <a:gd name="connsiteY12142" fmla="*/ 698055 h 5818346"/>
              <a:gd name="connsiteX12143" fmla="*/ 1167500 w 3503192"/>
              <a:gd name="connsiteY12143" fmla="*/ 687319 h 5818346"/>
              <a:gd name="connsiteX12144" fmla="*/ 1125709 w 3503192"/>
              <a:gd name="connsiteY12144" fmla="*/ 686825 h 5818346"/>
              <a:gd name="connsiteX12145" fmla="*/ 1136447 w 3503192"/>
              <a:gd name="connsiteY12145" fmla="*/ 697561 h 5818346"/>
              <a:gd name="connsiteX12146" fmla="*/ 1125709 w 3503192"/>
              <a:gd name="connsiteY12146" fmla="*/ 708298 h 5818346"/>
              <a:gd name="connsiteX12147" fmla="*/ 1114973 w 3503192"/>
              <a:gd name="connsiteY12147" fmla="*/ 697561 h 5818346"/>
              <a:gd name="connsiteX12148" fmla="*/ 1125709 w 3503192"/>
              <a:gd name="connsiteY12148" fmla="*/ 686825 h 5818346"/>
              <a:gd name="connsiteX12149" fmla="*/ 1304766 w 3503192"/>
              <a:gd name="connsiteY12149" fmla="*/ 685668 h 5818346"/>
              <a:gd name="connsiteX12150" fmla="*/ 1315504 w 3503192"/>
              <a:gd name="connsiteY12150" fmla="*/ 696405 h 5818346"/>
              <a:gd name="connsiteX12151" fmla="*/ 1304766 w 3503192"/>
              <a:gd name="connsiteY12151" fmla="*/ 707141 h 5818346"/>
              <a:gd name="connsiteX12152" fmla="*/ 1294030 w 3503192"/>
              <a:gd name="connsiteY12152" fmla="*/ 696405 h 5818346"/>
              <a:gd name="connsiteX12153" fmla="*/ 1304766 w 3503192"/>
              <a:gd name="connsiteY12153" fmla="*/ 685668 h 5818346"/>
              <a:gd name="connsiteX12154" fmla="*/ 1055508 w 3503192"/>
              <a:gd name="connsiteY12154" fmla="*/ 681208 h 5818346"/>
              <a:gd name="connsiteX12155" fmla="*/ 1066246 w 3503192"/>
              <a:gd name="connsiteY12155" fmla="*/ 691944 h 5818346"/>
              <a:gd name="connsiteX12156" fmla="*/ 1055508 w 3503192"/>
              <a:gd name="connsiteY12156" fmla="*/ 702681 h 5818346"/>
              <a:gd name="connsiteX12157" fmla="*/ 1044771 w 3503192"/>
              <a:gd name="connsiteY12157" fmla="*/ 691944 h 5818346"/>
              <a:gd name="connsiteX12158" fmla="*/ 1055508 w 3503192"/>
              <a:gd name="connsiteY12158" fmla="*/ 681208 h 5818346"/>
              <a:gd name="connsiteX12159" fmla="*/ 1080945 w 3503192"/>
              <a:gd name="connsiteY12159" fmla="*/ 679722 h 5818346"/>
              <a:gd name="connsiteX12160" fmla="*/ 1091681 w 3503192"/>
              <a:gd name="connsiteY12160" fmla="*/ 690458 h 5818346"/>
              <a:gd name="connsiteX12161" fmla="*/ 1080945 w 3503192"/>
              <a:gd name="connsiteY12161" fmla="*/ 701195 h 5818346"/>
              <a:gd name="connsiteX12162" fmla="*/ 1070208 w 3503192"/>
              <a:gd name="connsiteY12162" fmla="*/ 690458 h 5818346"/>
              <a:gd name="connsiteX12163" fmla="*/ 1080945 w 3503192"/>
              <a:gd name="connsiteY12163" fmla="*/ 679722 h 5818346"/>
              <a:gd name="connsiteX12164" fmla="*/ 1511077 w 3503192"/>
              <a:gd name="connsiteY12164" fmla="*/ 679391 h 5818346"/>
              <a:gd name="connsiteX12165" fmla="*/ 1521813 w 3503192"/>
              <a:gd name="connsiteY12165" fmla="*/ 690127 h 5818346"/>
              <a:gd name="connsiteX12166" fmla="*/ 1511077 w 3503192"/>
              <a:gd name="connsiteY12166" fmla="*/ 700863 h 5818346"/>
              <a:gd name="connsiteX12167" fmla="*/ 1500340 w 3503192"/>
              <a:gd name="connsiteY12167" fmla="*/ 690127 h 5818346"/>
              <a:gd name="connsiteX12168" fmla="*/ 1511077 w 3503192"/>
              <a:gd name="connsiteY12168" fmla="*/ 679391 h 5818346"/>
              <a:gd name="connsiteX12169" fmla="*/ 1399414 w 3503192"/>
              <a:gd name="connsiteY12169" fmla="*/ 679061 h 5818346"/>
              <a:gd name="connsiteX12170" fmla="*/ 1410152 w 3503192"/>
              <a:gd name="connsiteY12170" fmla="*/ 689797 h 5818346"/>
              <a:gd name="connsiteX12171" fmla="*/ 1399414 w 3503192"/>
              <a:gd name="connsiteY12171" fmla="*/ 700535 h 5818346"/>
              <a:gd name="connsiteX12172" fmla="*/ 1388678 w 3503192"/>
              <a:gd name="connsiteY12172" fmla="*/ 689797 h 5818346"/>
              <a:gd name="connsiteX12173" fmla="*/ 1399414 w 3503192"/>
              <a:gd name="connsiteY12173" fmla="*/ 679061 h 5818346"/>
              <a:gd name="connsiteX12174" fmla="*/ 3428172 w 3503192"/>
              <a:gd name="connsiteY12174" fmla="*/ 677904 h 5818346"/>
              <a:gd name="connsiteX12175" fmla="*/ 3438910 w 3503192"/>
              <a:gd name="connsiteY12175" fmla="*/ 688641 h 5818346"/>
              <a:gd name="connsiteX12176" fmla="*/ 3428172 w 3503192"/>
              <a:gd name="connsiteY12176" fmla="*/ 699379 h 5818346"/>
              <a:gd name="connsiteX12177" fmla="*/ 3417436 w 3503192"/>
              <a:gd name="connsiteY12177" fmla="*/ 688641 h 5818346"/>
              <a:gd name="connsiteX12178" fmla="*/ 3428172 w 3503192"/>
              <a:gd name="connsiteY12178" fmla="*/ 677904 h 5818346"/>
              <a:gd name="connsiteX12179" fmla="*/ 1107209 w 3503192"/>
              <a:gd name="connsiteY12179" fmla="*/ 674271 h 5818346"/>
              <a:gd name="connsiteX12180" fmla="*/ 1117947 w 3503192"/>
              <a:gd name="connsiteY12180" fmla="*/ 685008 h 5818346"/>
              <a:gd name="connsiteX12181" fmla="*/ 1107209 w 3503192"/>
              <a:gd name="connsiteY12181" fmla="*/ 695744 h 5818346"/>
              <a:gd name="connsiteX12182" fmla="*/ 1096473 w 3503192"/>
              <a:gd name="connsiteY12182" fmla="*/ 685008 h 5818346"/>
              <a:gd name="connsiteX12183" fmla="*/ 1107209 w 3503192"/>
              <a:gd name="connsiteY12183" fmla="*/ 674271 h 5818346"/>
              <a:gd name="connsiteX12184" fmla="*/ 1931133 w 3503192"/>
              <a:gd name="connsiteY12184" fmla="*/ 673940 h 5818346"/>
              <a:gd name="connsiteX12185" fmla="*/ 1941870 w 3503192"/>
              <a:gd name="connsiteY12185" fmla="*/ 684676 h 5818346"/>
              <a:gd name="connsiteX12186" fmla="*/ 1931133 w 3503192"/>
              <a:gd name="connsiteY12186" fmla="*/ 695413 h 5818346"/>
              <a:gd name="connsiteX12187" fmla="*/ 1920397 w 3503192"/>
              <a:gd name="connsiteY12187" fmla="*/ 684676 h 5818346"/>
              <a:gd name="connsiteX12188" fmla="*/ 1931133 w 3503192"/>
              <a:gd name="connsiteY12188" fmla="*/ 673940 h 5818346"/>
              <a:gd name="connsiteX12189" fmla="*/ 1231094 w 3503192"/>
              <a:gd name="connsiteY12189" fmla="*/ 668489 h 5818346"/>
              <a:gd name="connsiteX12190" fmla="*/ 1241832 w 3503192"/>
              <a:gd name="connsiteY12190" fmla="*/ 679226 h 5818346"/>
              <a:gd name="connsiteX12191" fmla="*/ 1231094 w 3503192"/>
              <a:gd name="connsiteY12191" fmla="*/ 689962 h 5818346"/>
              <a:gd name="connsiteX12192" fmla="*/ 1220358 w 3503192"/>
              <a:gd name="connsiteY12192" fmla="*/ 679226 h 5818346"/>
              <a:gd name="connsiteX12193" fmla="*/ 1231094 w 3503192"/>
              <a:gd name="connsiteY12193" fmla="*/ 668489 h 5818346"/>
              <a:gd name="connsiteX12194" fmla="*/ 2436753 w 3503192"/>
              <a:gd name="connsiteY12194" fmla="*/ 668325 h 5818346"/>
              <a:gd name="connsiteX12195" fmla="*/ 2447491 w 3503192"/>
              <a:gd name="connsiteY12195" fmla="*/ 679061 h 5818346"/>
              <a:gd name="connsiteX12196" fmla="*/ 2436753 w 3503192"/>
              <a:gd name="connsiteY12196" fmla="*/ 689797 h 5818346"/>
              <a:gd name="connsiteX12197" fmla="*/ 2426016 w 3503192"/>
              <a:gd name="connsiteY12197" fmla="*/ 679061 h 5818346"/>
              <a:gd name="connsiteX12198" fmla="*/ 2436753 w 3503192"/>
              <a:gd name="connsiteY12198" fmla="*/ 668325 h 5818346"/>
              <a:gd name="connsiteX12199" fmla="*/ 1137932 w 3503192"/>
              <a:gd name="connsiteY12199" fmla="*/ 667994 h 5818346"/>
              <a:gd name="connsiteX12200" fmla="*/ 1148670 w 3503192"/>
              <a:gd name="connsiteY12200" fmla="*/ 678730 h 5818346"/>
              <a:gd name="connsiteX12201" fmla="*/ 1137932 w 3503192"/>
              <a:gd name="connsiteY12201" fmla="*/ 689466 h 5818346"/>
              <a:gd name="connsiteX12202" fmla="*/ 1127196 w 3503192"/>
              <a:gd name="connsiteY12202" fmla="*/ 678730 h 5818346"/>
              <a:gd name="connsiteX12203" fmla="*/ 1137932 w 3503192"/>
              <a:gd name="connsiteY12203" fmla="*/ 667994 h 5818346"/>
              <a:gd name="connsiteX12204" fmla="*/ 1177575 w 3503192"/>
              <a:gd name="connsiteY12204" fmla="*/ 664525 h 5818346"/>
              <a:gd name="connsiteX12205" fmla="*/ 1188313 w 3503192"/>
              <a:gd name="connsiteY12205" fmla="*/ 675261 h 5818346"/>
              <a:gd name="connsiteX12206" fmla="*/ 1177575 w 3503192"/>
              <a:gd name="connsiteY12206" fmla="*/ 685998 h 5818346"/>
              <a:gd name="connsiteX12207" fmla="*/ 1166839 w 3503192"/>
              <a:gd name="connsiteY12207" fmla="*/ 675261 h 5818346"/>
              <a:gd name="connsiteX12208" fmla="*/ 1177575 w 3503192"/>
              <a:gd name="connsiteY12208" fmla="*/ 664525 h 5818346"/>
              <a:gd name="connsiteX12209" fmla="*/ 1064758 w 3503192"/>
              <a:gd name="connsiteY12209" fmla="*/ 664029 h 5818346"/>
              <a:gd name="connsiteX12210" fmla="*/ 1075494 w 3503192"/>
              <a:gd name="connsiteY12210" fmla="*/ 674765 h 5818346"/>
              <a:gd name="connsiteX12211" fmla="*/ 1064758 w 3503192"/>
              <a:gd name="connsiteY12211" fmla="*/ 685503 h 5818346"/>
              <a:gd name="connsiteX12212" fmla="*/ 1054022 w 3503192"/>
              <a:gd name="connsiteY12212" fmla="*/ 674765 h 5818346"/>
              <a:gd name="connsiteX12213" fmla="*/ 1064758 w 3503192"/>
              <a:gd name="connsiteY12213" fmla="*/ 664029 h 5818346"/>
              <a:gd name="connsiteX12214" fmla="*/ 1092012 w 3503192"/>
              <a:gd name="connsiteY12214" fmla="*/ 663864 h 5818346"/>
              <a:gd name="connsiteX12215" fmla="*/ 1102750 w 3503192"/>
              <a:gd name="connsiteY12215" fmla="*/ 674601 h 5818346"/>
              <a:gd name="connsiteX12216" fmla="*/ 1092012 w 3503192"/>
              <a:gd name="connsiteY12216" fmla="*/ 685337 h 5818346"/>
              <a:gd name="connsiteX12217" fmla="*/ 1081276 w 3503192"/>
              <a:gd name="connsiteY12217" fmla="*/ 674601 h 5818346"/>
              <a:gd name="connsiteX12218" fmla="*/ 1092012 w 3503192"/>
              <a:gd name="connsiteY12218" fmla="*/ 663864 h 5818346"/>
              <a:gd name="connsiteX12219" fmla="*/ 3265963 w 3503192"/>
              <a:gd name="connsiteY12219" fmla="*/ 661386 h 5818346"/>
              <a:gd name="connsiteX12220" fmla="*/ 3276699 w 3503192"/>
              <a:gd name="connsiteY12220" fmla="*/ 672122 h 5818346"/>
              <a:gd name="connsiteX12221" fmla="*/ 3265963 w 3503192"/>
              <a:gd name="connsiteY12221" fmla="*/ 682861 h 5818346"/>
              <a:gd name="connsiteX12222" fmla="*/ 3255227 w 3503192"/>
              <a:gd name="connsiteY12222" fmla="*/ 672122 h 5818346"/>
              <a:gd name="connsiteX12223" fmla="*/ 3265963 w 3503192"/>
              <a:gd name="connsiteY12223" fmla="*/ 661386 h 5818346"/>
              <a:gd name="connsiteX12224" fmla="*/ 1119267 w 3503192"/>
              <a:gd name="connsiteY12224" fmla="*/ 658578 h 5818346"/>
              <a:gd name="connsiteX12225" fmla="*/ 1130005 w 3503192"/>
              <a:gd name="connsiteY12225" fmla="*/ 669315 h 5818346"/>
              <a:gd name="connsiteX12226" fmla="*/ 1119267 w 3503192"/>
              <a:gd name="connsiteY12226" fmla="*/ 680051 h 5818346"/>
              <a:gd name="connsiteX12227" fmla="*/ 1108530 w 3503192"/>
              <a:gd name="connsiteY12227" fmla="*/ 669315 h 5818346"/>
              <a:gd name="connsiteX12228" fmla="*/ 1119267 w 3503192"/>
              <a:gd name="connsiteY12228" fmla="*/ 658578 h 5818346"/>
              <a:gd name="connsiteX12229" fmla="*/ 1072522 w 3503192"/>
              <a:gd name="connsiteY12229" fmla="*/ 655275 h 5818346"/>
              <a:gd name="connsiteX12230" fmla="*/ 1074669 w 3503192"/>
              <a:gd name="connsiteY12230" fmla="*/ 657422 h 5818346"/>
              <a:gd name="connsiteX12231" fmla="*/ 1072522 w 3503192"/>
              <a:gd name="connsiteY12231" fmla="*/ 659571 h 5818346"/>
              <a:gd name="connsiteX12232" fmla="*/ 1070375 w 3503192"/>
              <a:gd name="connsiteY12232" fmla="*/ 657422 h 5818346"/>
              <a:gd name="connsiteX12233" fmla="*/ 1072522 w 3503192"/>
              <a:gd name="connsiteY12233" fmla="*/ 655275 h 5818346"/>
              <a:gd name="connsiteX12234" fmla="*/ 2600613 w 3503192"/>
              <a:gd name="connsiteY12234" fmla="*/ 654779 h 5818346"/>
              <a:gd name="connsiteX12235" fmla="*/ 2611351 w 3503192"/>
              <a:gd name="connsiteY12235" fmla="*/ 665515 h 5818346"/>
              <a:gd name="connsiteX12236" fmla="*/ 2600613 w 3503192"/>
              <a:gd name="connsiteY12236" fmla="*/ 676252 h 5818346"/>
              <a:gd name="connsiteX12237" fmla="*/ 2589876 w 3503192"/>
              <a:gd name="connsiteY12237" fmla="*/ 665515 h 5818346"/>
              <a:gd name="connsiteX12238" fmla="*/ 2600613 w 3503192"/>
              <a:gd name="connsiteY12238" fmla="*/ 654779 h 5818346"/>
              <a:gd name="connsiteX12239" fmla="*/ 1306418 w 3503192"/>
              <a:gd name="connsiteY12239" fmla="*/ 652797 h 5818346"/>
              <a:gd name="connsiteX12240" fmla="*/ 1317155 w 3503192"/>
              <a:gd name="connsiteY12240" fmla="*/ 663533 h 5818346"/>
              <a:gd name="connsiteX12241" fmla="*/ 1306418 w 3503192"/>
              <a:gd name="connsiteY12241" fmla="*/ 674271 h 5818346"/>
              <a:gd name="connsiteX12242" fmla="*/ 1295682 w 3503192"/>
              <a:gd name="connsiteY12242" fmla="*/ 663533 h 5818346"/>
              <a:gd name="connsiteX12243" fmla="*/ 1306418 w 3503192"/>
              <a:gd name="connsiteY12243" fmla="*/ 652797 h 5818346"/>
              <a:gd name="connsiteX12244" fmla="*/ 1149825 w 3503192"/>
              <a:gd name="connsiteY12244" fmla="*/ 650981 h 5818346"/>
              <a:gd name="connsiteX12245" fmla="*/ 1160563 w 3503192"/>
              <a:gd name="connsiteY12245" fmla="*/ 661717 h 5818346"/>
              <a:gd name="connsiteX12246" fmla="*/ 1149825 w 3503192"/>
              <a:gd name="connsiteY12246" fmla="*/ 672454 h 5818346"/>
              <a:gd name="connsiteX12247" fmla="*/ 1139088 w 3503192"/>
              <a:gd name="connsiteY12247" fmla="*/ 661717 h 5818346"/>
              <a:gd name="connsiteX12248" fmla="*/ 1149825 w 3503192"/>
              <a:gd name="connsiteY12248" fmla="*/ 650981 h 5818346"/>
              <a:gd name="connsiteX12249" fmla="*/ 3100948 w 3503192"/>
              <a:gd name="connsiteY12249" fmla="*/ 650485 h 5818346"/>
              <a:gd name="connsiteX12250" fmla="*/ 3111686 w 3503192"/>
              <a:gd name="connsiteY12250" fmla="*/ 661221 h 5818346"/>
              <a:gd name="connsiteX12251" fmla="*/ 3100948 w 3503192"/>
              <a:gd name="connsiteY12251" fmla="*/ 671958 h 5818346"/>
              <a:gd name="connsiteX12252" fmla="*/ 3090212 w 3503192"/>
              <a:gd name="connsiteY12252" fmla="*/ 661221 h 5818346"/>
              <a:gd name="connsiteX12253" fmla="*/ 3100948 w 3503192"/>
              <a:gd name="connsiteY12253" fmla="*/ 650485 h 5818346"/>
              <a:gd name="connsiteX12254" fmla="*/ 1765787 w 3503192"/>
              <a:gd name="connsiteY12254" fmla="*/ 650320 h 5818346"/>
              <a:gd name="connsiteX12255" fmla="*/ 1776525 w 3503192"/>
              <a:gd name="connsiteY12255" fmla="*/ 661057 h 5818346"/>
              <a:gd name="connsiteX12256" fmla="*/ 1765787 w 3503192"/>
              <a:gd name="connsiteY12256" fmla="*/ 671793 h 5818346"/>
              <a:gd name="connsiteX12257" fmla="*/ 1755051 w 3503192"/>
              <a:gd name="connsiteY12257" fmla="*/ 661057 h 5818346"/>
              <a:gd name="connsiteX12258" fmla="*/ 1765787 w 3503192"/>
              <a:gd name="connsiteY12258" fmla="*/ 650320 h 5818346"/>
              <a:gd name="connsiteX12259" fmla="*/ 1102088 w 3503192"/>
              <a:gd name="connsiteY12259" fmla="*/ 648338 h 5818346"/>
              <a:gd name="connsiteX12260" fmla="*/ 1112826 w 3503192"/>
              <a:gd name="connsiteY12260" fmla="*/ 659075 h 5818346"/>
              <a:gd name="connsiteX12261" fmla="*/ 1102088 w 3503192"/>
              <a:gd name="connsiteY12261" fmla="*/ 669811 h 5818346"/>
              <a:gd name="connsiteX12262" fmla="*/ 1091352 w 3503192"/>
              <a:gd name="connsiteY12262" fmla="*/ 659075 h 5818346"/>
              <a:gd name="connsiteX12263" fmla="*/ 1102088 w 3503192"/>
              <a:gd name="connsiteY12263" fmla="*/ 648338 h 5818346"/>
              <a:gd name="connsiteX12264" fmla="*/ 2766951 w 3503192"/>
              <a:gd name="connsiteY12264" fmla="*/ 647181 h 5818346"/>
              <a:gd name="connsiteX12265" fmla="*/ 2777689 w 3503192"/>
              <a:gd name="connsiteY12265" fmla="*/ 657918 h 5818346"/>
              <a:gd name="connsiteX12266" fmla="*/ 2766951 w 3503192"/>
              <a:gd name="connsiteY12266" fmla="*/ 668656 h 5818346"/>
              <a:gd name="connsiteX12267" fmla="*/ 2756214 w 3503192"/>
              <a:gd name="connsiteY12267" fmla="*/ 657918 h 5818346"/>
              <a:gd name="connsiteX12268" fmla="*/ 2766951 w 3503192"/>
              <a:gd name="connsiteY12268" fmla="*/ 647181 h 5818346"/>
              <a:gd name="connsiteX12269" fmla="*/ 2934114 w 3503192"/>
              <a:gd name="connsiteY12269" fmla="*/ 645695 h 5818346"/>
              <a:gd name="connsiteX12270" fmla="*/ 2944852 w 3503192"/>
              <a:gd name="connsiteY12270" fmla="*/ 656431 h 5818346"/>
              <a:gd name="connsiteX12271" fmla="*/ 2934114 w 3503192"/>
              <a:gd name="connsiteY12271" fmla="*/ 667168 h 5818346"/>
              <a:gd name="connsiteX12272" fmla="*/ 2923378 w 3503192"/>
              <a:gd name="connsiteY12272" fmla="*/ 656431 h 5818346"/>
              <a:gd name="connsiteX12273" fmla="*/ 2934114 w 3503192"/>
              <a:gd name="connsiteY12273" fmla="*/ 645695 h 5818346"/>
              <a:gd name="connsiteX12274" fmla="*/ 1187818 w 3503192"/>
              <a:gd name="connsiteY12274" fmla="*/ 644374 h 5818346"/>
              <a:gd name="connsiteX12275" fmla="*/ 1198554 w 3503192"/>
              <a:gd name="connsiteY12275" fmla="*/ 655110 h 5818346"/>
              <a:gd name="connsiteX12276" fmla="*/ 1187818 w 3503192"/>
              <a:gd name="connsiteY12276" fmla="*/ 665846 h 5818346"/>
              <a:gd name="connsiteX12277" fmla="*/ 1177081 w 3503192"/>
              <a:gd name="connsiteY12277" fmla="*/ 655110 h 5818346"/>
              <a:gd name="connsiteX12278" fmla="*/ 1187818 w 3503192"/>
              <a:gd name="connsiteY12278" fmla="*/ 644374 h 5818346"/>
              <a:gd name="connsiteX12279" fmla="*/ 2073850 w 3503192"/>
              <a:gd name="connsiteY12279" fmla="*/ 643711 h 5818346"/>
              <a:gd name="connsiteX12280" fmla="*/ 2084586 w 3503192"/>
              <a:gd name="connsiteY12280" fmla="*/ 654448 h 5818346"/>
              <a:gd name="connsiteX12281" fmla="*/ 2073850 w 3503192"/>
              <a:gd name="connsiteY12281" fmla="*/ 665184 h 5818346"/>
              <a:gd name="connsiteX12282" fmla="*/ 2063114 w 3503192"/>
              <a:gd name="connsiteY12282" fmla="*/ 654448 h 5818346"/>
              <a:gd name="connsiteX12283" fmla="*/ 2073850 w 3503192"/>
              <a:gd name="connsiteY12283" fmla="*/ 643711 h 5818346"/>
              <a:gd name="connsiteX12284" fmla="*/ 1130666 w 3503192"/>
              <a:gd name="connsiteY12284" fmla="*/ 643711 h 5818346"/>
              <a:gd name="connsiteX12285" fmla="*/ 1141402 w 3503192"/>
              <a:gd name="connsiteY12285" fmla="*/ 654448 h 5818346"/>
              <a:gd name="connsiteX12286" fmla="*/ 1130666 w 3503192"/>
              <a:gd name="connsiteY12286" fmla="*/ 665184 h 5818346"/>
              <a:gd name="connsiteX12287" fmla="*/ 1119929 w 3503192"/>
              <a:gd name="connsiteY12287" fmla="*/ 654448 h 5818346"/>
              <a:gd name="connsiteX12288" fmla="*/ 1130666 w 3503192"/>
              <a:gd name="connsiteY12288" fmla="*/ 643711 h 5818346"/>
              <a:gd name="connsiteX12289" fmla="*/ 1238033 w 3503192"/>
              <a:gd name="connsiteY12289" fmla="*/ 643382 h 5818346"/>
              <a:gd name="connsiteX12290" fmla="*/ 1248769 w 3503192"/>
              <a:gd name="connsiteY12290" fmla="*/ 654118 h 5818346"/>
              <a:gd name="connsiteX12291" fmla="*/ 1238033 w 3503192"/>
              <a:gd name="connsiteY12291" fmla="*/ 664856 h 5818346"/>
              <a:gd name="connsiteX12292" fmla="*/ 1227296 w 3503192"/>
              <a:gd name="connsiteY12292" fmla="*/ 654118 h 5818346"/>
              <a:gd name="connsiteX12293" fmla="*/ 1238033 w 3503192"/>
              <a:gd name="connsiteY12293" fmla="*/ 643382 h 5818346"/>
              <a:gd name="connsiteX12294" fmla="*/ 1395285 w 3503192"/>
              <a:gd name="connsiteY12294" fmla="*/ 641564 h 5818346"/>
              <a:gd name="connsiteX12295" fmla="*/ 1406023 w 3503192"/>
              <a:gd name="connsiteY12295" fmla="*/ 652301 h 5818346"/>
              <a:gd name="connsiteX12296" fmla="*/ 1395285 w 3503192"/>
              <a:gd name="connsiteY12296" fmla="*/ 663037 h 5818346"/>
              <a:gd name="connsiteX12297" fmla="*/ 1384549 w 3503192"/>
              <a:gd name="connsiteY12297" fmla="*/ 652301 h 5818346"/>
              <a:gd name="connsiteX12298" fmla="*/ 1395285 w 3503192"/>
              <a:gd name="connsiteY12298" fmla="*/ 641564 h 5818346"/>
              <a:gd name="connsiteX12299" fmla="*/ 1622739 w 3503192"/>
              <a:gd name="connsiteY12299" fmla="*/ 638425 h 5818346"/>
              <a:gd name="connsiteX12300" fmla="*/ 1633478 w 3503192"/>
              <a:gd name="connsiteY12300" fmla="*/ 649162 h 5818346"/>
              <a:gd name="connsiteX12301" fmla="*/ 1622739 w 3503192"/>
              <a:gd name="connsiteY12301" fmla="*/ 659898 h 5818346"/>
              <a:gd name="connsiteX12302" fmla="*/ 1612003 w 3503192"/>
              <a:gd name="connsiteY12302" fmla="*/ 649162 h 5818346"/>
              <a:gd name="connsiteX12303" fmla="*/ 1622739 w 3503192"/>
              <a:gd name="connsiteY12303" fmla="*/ 638425 h 5818346"/>
              <a:gd name="connsiteX12304" fmla="*/ 1500011 w 3503192"/>
              <a:gd name="connsiteY12304" fmla="*/ 636114 h 5818346"/>
              <a:gd name="connsiteX12305" fmla="*/ 1510747 w 3503192"/>
              <a:gd name="connsiteY12305" fmla="*/ 646850 h 5818346"/>
              <a:gd name="connsiteX12306" fmla="*/ 1500011 w 3503192"/>
              <a:gd name="connsiteY12306" fmla="*/ 657586 h 5818346"/>
              <a:gd name="connsiteX12307" fmla="*/ 1489275 w 3503192"/>
              <a:gd name="connsiteY12307" fmla="*/ 646850 h 5818346"/>
              <a:gd name="connsiteX12308" fmla="*/ 1500011 w 3503192"/>
              <a:gd name="connsiteY12308" fmla="*/ 636114 h 5818346"/>
              <a:gd name="connsiteX12309" fmla="*/ 1161388 w 3503192"/>
              <a:gd name="connsiteY12309" fmla="*/ 635288 h 5818346"/>
              <a:gd name="connsiteX12310" fmla="*/ 1172125 w 3503192"/>
              <a:gd name="connsiteY12310" fmla="*/ 646025 h 5818346"/>
              <a:gd name="connsiteX12311" fmla="*/ 1161388 w 3503192"/>
              <a:gd name="connsiteY12311" fmla="*/ 656761 h 5818346"/>
              <a:gd name="connsiteX12312" fmla="*/ 1150652 w 3503192"/>
              <a:gd name="connsiteY12312" fmla="*/ 646025 h 5818346"/>
              <a:gd name="connsiteX12313" fmla="*/ 1161388 w 3503192"/>
              <a:gd name="connsiteY12313" fmla="*/ 635288 h 5818346"/>
              <a:gd name="connsiteX12314" fmla="*/ 1110842 w 3503192"/>
              <a:gd name="connsiteY12314" fmla="*/ 632645 h 5818346"/>
              <a:gd name="connsiteX12315" fmla="*/ 1121580 w 3503192"/>
              <a:gd name="connsiteY12315" fmla="*/ 643382 h 5818346"/>
              <a:gd name="connsiteX12316" fmla="*/ 1110842 w 3503192"/>
              <a:gd name="connsiteY12316" fmla="*/ 654118 h 5818346"/>
              <a:gd name="connsiteX12317" fmla="*/ 1100106 w 3503192"/>
              <a:gd name="connsiteY12317" fmla="*/ 643382 h 5818346"/>
              <a:gd name="connsiteX12318" fmla="*/ 1110842 w 3503192"/>
              <a:gd name="connsiteY12318" fmla="*/ 632645 h 5818346"/>
              <a:gd name="connsiteX12319" fmla="*/ 1140906 w 3503192"/>
              <a:gd name="connsiteY12319" fmla="*/ 629177 h 5818346"/>
              <a:gd name="connsiteX12320" fmla="*/ 1151644 w 3503192"/>
              <a:gd name="connsiteY12320" fmla="*/ 639914 h 5818346"/>
              <a:gd name="connsiteX12321" fmla="*/ 1140906 w 3503192"/>
              <a:gd name="connsiteY12321" fmla="*/ 650650 h 5818346"/>
              <a:gd name="connsiteX12322" fmla="*/ 1130170 w 3503192"/>
              <a:gd name="connsiteY12322" fmla="*/ 639914 h 5818346"/>
              <a:gd name="connsiteX12323" fmla="*/ 1140906 w 3503192"/>
              <a:gd name="connsiteY12323" fmla="*/ 629177 h 5818346"/>
              <a:gd name="connsiteX12324" fmla="*/ 1198224 w 3503192"/>
              <a:gd name="connsiteY12324" fmla="*/ 626533 h 5818346"/>
              <a:gd name="connsiteX12325" fmla="*/ 1208962 w 3503192"/>
              <a:gd name="connsiteY12325" fmla="*/ 637269 h 5818346"/>
              <a:gd name="connsiteX12326" fmla="*/ 1198224 w 3503192"/>
              <a:gd name="connsiteY12326" fmla="*/ 648007 h 5818346"/>
              <a:gd name="connsiteX12327" fmla="*/ 1187488 w 3503192"/>
              <a:gd name="connsiteY12327" fmla="*/ 637269 h 5818346"/>
              <a:gd name="connsiteX12328" fmla="*/ 1198224 w 3503192"/>
              <a:gd name="connsiteY12328" fmla="*/ 626533 h 5818346"/>
              <a:gd name="connsiteX12329" fmla="*/ 1309226 w 3503192"/>
              <a:gd name="connsiteY12329" fmla="*/ 624385 h 5818346"/>
              <a:gd name="connsiteX12330" fmla="*/ 1319964 w 3503192"/>
              <a:gd name="connsiteY12330" fmla="*/ 635122 h 5818346"/>
              <a:gd name="connsiteX12331" fmla="*/ 1309226 w 3503192"/>
              <a:gd name="connsiteY12331" fmla="*/ 645858 h 5818346"/>
              <a:gd name="connsiteX12332" fmla="*/ 1298490 w 3503192"/>
              <a:gd name="connsiteY12332" fmla="*/ 635122 h 5818346"/>
              <a:gd name="connsiteX12333" fmla="*/ 1309226 w 3503192"/>
              <a:gd name="connsiteY12333" fmla="*/ 624385 h 5818346"/>
              <a:gd name="connsiteX12334" fmla="*/ 1245632 w 3503192"/>
              <a:gd name="connsiteY12334" fmla="*/ 621413 h 5818346"/>
              <a:gd name="connsiteX12335" fmla="*/ 1256368 w 3503192"/>
              <a:gd name="connsiteY12335" fmla="*/ 632150 h 5818346"/>
              <a:gd name="connsiteX12336" fmla="*/ 1245632 w 3503192"/>
              <a:gd name="connsiteY12336" fmla="*/ 642886 h 5818346"/>
              <a:gd name="connsiteX12337" fmla="*/ 1234895 w 3503192"/>
              <a:gd name="connsiteY12337" fmla="*/ 632150 h 5818346"/>
              <a:gd name="connsiteX12338" fmla="*/ 1245632 w 3503192"/>
              <a:gd name="connsiteY12338" fmla="*/ 621413 h 5818346"/>
              <a:gd name="connsiteX12339" fmla="*/ 1172290 w 3503192"/>
              <a:gd name="connsiteY12339" fmla="*/ 620917 h 5818346"/>
              <a:gd name="connsiteX12340" fmla="*/ 1183028 w 3503192"/>
              <a:gd name="connsiteY12340" fmla="*/ 631654 h 5818346"/>
              <a:gd name="connsiteX12341" fmla="*/ 1172290 w 3503192"/>
              <a:gd name="connsiteY12341" fmla="*/ 642390 h 5818346"/>
              <a:gd name="connsiteX12342" fmla="*/ 1161553 w 3503192"/>
              <a:gd name="connsiteY12342" fmla="*/ 631654 h 5818346"/>
              <a:gd name="connsiteX12343" fmla="*/ 1172290 w 3503192"/>
              <a:gd name="connsiteY12343" fmla="*/ 620917 h 5818346"/>
              <a:gd name="connsiteX12344" fmla="*/ 1118443 w 3503192"/>
              <a:gd name="connsiteY12344" fmla="*/ 617778 h 5818346"/>
              <a:gd name="connsiteX12345" fmla="*/ 1128023 w 3503192"/>
              <a:gd name="connsiteY12345" fmla="*/ 627360 h 5818346"/>
              <a:gd name="connsiteX12346" fmla="*/ 1118443 w 3503192"/>
              <a:gd name="connsiteY12346" fmla="*/ 636939 h 5818346"/>
              <a:gd name="connsiteX12347" fmla="*/ 1108862 w 3503192"/>
              <a:gd name="connsiteY12347" fmla="*/ 627360 h 5818346"/>
              <a:gd name="connsiteX12348" fmla="*/ 1118443 w 3503192"/>
              <a:gd name="connsiteY12348" fmla="*/ 617778 h 5818346"/>
              <a:gd name="connsiteX12349" fmla="*/ 2222184 w 3503192"/>
              <a:gd name="connsiteY12349" fmla="*/ 617614 h 5818346"/>
              <a:gd name="connsiteX12350" fmla="*/ 2232920 w 3503192"/>
              <a:gd name="connsiteY12350" fmla="*/ 628350 h 5818346"/>
              <a:gd name="connsiteX12351" fmla="*/ 2222184 w 3503192"/>
              <a:gd name="connsiteY12351" fmla="*/ 639086 h 5818346"/>
              <a:gd name="connsiteX12352" fmla="*/ 2211447 w 3503192"/>
              <a:gd name="connsiteY12352" fmla="*/ 628350 h 5818346"/>
              <a:gd name="connsiteX12353" fmla="*/ 2222184 w 3503192"/>
              <a:gd name="connsiteY12353" fmla="*/ 617614 h 5818346"/>
              <a:gd name="connsiteX12354" fmla="*/ 1895785 w 3503192"/>
              <a:gd name="connsiteY12354" fmla="*/ 615302 h 5818346"/>
              <a:gd name="connsiteX12355" fmla="*/ 1906522 w 3503192"/>
              <a:gd name="connsiteY12355" fmla="*/ 626038 h 5818346"/>
              <a:gd name="connsiteX12356" fmla="*/ 1895785 w 3503192"/>
              <a:gd name="connsiteY12356" fmla="*/ 636774 h 5818346"/>
              <a:gd name="connsiteX12357" fmla="*/ 1885049 w 3503192"/>
              <a:gd name="connsiteY12357" fmla="*/ 626038 h 5818346"/>
              <a:gd name="connsiteX12358" fmla="*/ 1895785 w 3503192"/>
              <a:gd name="connsiteY12358" fmla="*/ 615302 h 5818346"/>
              <a:gd name="connsiteX12359" fmla="*/ 1150321 w 3503192"/>
              <a:gd name="connsiteY12359" fmla="*/ 614971 h 5818346"/>
              <a:gd name="connsiteX12360" fmla="*/ 1161059 w 3503192"/>
              <a:gd name="connsiteY12360" fmla="*/ 625707 h 5818346"/>
              <a:gd name="connsiteX12361" fmla="*/ 1150321 w 3503192"/>
              <a:gd name="connsiteY12361" fmla="*/ 636443 h 5818346"/>
              <a:gd name="connsiteX12362" fmla="*/ 1139584 w 3503192"/>
              <a:gd name="connsiteY12362" fmla="*/ 625707 h 5818346"/>
              <a:gd name="connsiteX12363" fmla="*/ 1150321 w 3503192"/>
              <a:gd name="connsiteY12363" fmla="*/ 614971 h 5818346"/>
              <a:gd name="connsiteX12364" fmla="*/ 1124719 w 3503192"/>
              <a:gd name="connsiteY12364" fmla="*/ 610841 h 5818346"/>
              <a:gd name="connsiteX12365" fmla="*/ 1124884 w 3503192"/>
              <a:gd name="connsiteY12365" fmla="*/ 611006 h 5818346"/>
              <a:gd name="connsiteX12366" fmla="*/ 1124719 w 3503192"/>
              <a:gd name="connsiteY12366" fmla="*/ 611006 h 5818346"/>
              <a:gd name="connsiteX12367" fmla="*/ 1208465 w 3503192"/>
              <a:gd name="connsiteY12367" fmla="*/ 610675 h 5818346"/>
              <a:gd name="connsiteX12368" fmla="*/ 1219201 w 3503192"/>
              <a:gd name="connsiteY12368" fmla="*/ 621411 h 5818346"/>
              <a:gd name="connsiteX12369" fmla="*/ 1208465 w 3503192"/>
              <a:gd name="connsiteY12369" fmla="*/ 632148 h 5818346"/>
              <a:gd name="connsiteX12370" fmla="*/ 1197728 w 3503192"/>
              <a:gd name="connsiteY12370" fmla="*/ 621411 h 5818346"/>
              <a:gd name="connsiteX12371" fmla="*/ 1208465 w 3503192"/>
              <a:gd name="connsiteY12371" fmla="*/ 610675 h 5818346"/>
              <a:gd name="connsiteX12372" fmla="*/ 1392974 w 3503192"/>
              <a:gd name="connsiteY12372" fmla="*/ 609189 h 5818346"/>
              <a:gd name="connsiteX12373" fmla="*/ 1403712 w 3503192"/>
              <a:gd name="connsiteY12373" fmla="*/ 619925 h 5818346"/>
              <a:gd name="connsiteX12374" fmla="*/ 1392974 w 3503192"/>
              <a:gd name="connsiteY12374" fmla="*/ 630661 h 5818346"/>
              <a:gd name="connsiteX12375" fmla="*/ 1382237 w 3503192"/>
              <a:gd name="connsiteY12375" fmla="*/ 619925 h 5818346"/>
              <a:gd name="connsiteX12376" fmla="*/ 1392974 w 3503192"/>
              <a:gd name="connsiteY12376" fmla="*/ 609189 h 5818346"/>
              <a:gd name="connsiteX12377" fmla="*/ 3485984 w 3503192"/>
              <a:gd name="connsiteY12377" fmla="*/ 607207 h 5818346"/>
              <a:gd name="connsiteX12378" fmla="*/ 3496722 w 3503192"/>
              <a:gd name="connsiteY12378" fmla="*/ 617943 h 5818346"/>
              <a:gd name="connsiteX12379" fmla="*/ 3485984 w 3503192"/>
              <a:gd name="connsiteY12379" fmla="*/ 628679 h 5818346"/>
              <a:gd name="connsiteX12380" fmla="*/ 3475248 w 3503192"/>
              <a:gd name="connsiteY12380" fmla="*/ 617943 h 5818346"/>
              <a:gd name="connsiteX12381" fmla="*/ 3485984 w 3503192"/>
              <a:gd name="connsiteY12381" fmla="*/ 607207 h 5818346"/>
              <a:gd name="connsiteX12382" fmla="*/ 1182532 w 3503192"/>
              <a:gd name="connsiteY12382" fmla="*/ 607207 h 5818346"/>
              <a:gd name="connsiteX12383" fmla="*/ 1193268 w 3503192"/>
              <a:gd name="connsiteY12383" fmla="*/ 617943 h 5818346"/>
              <a:gd name="connsiteX12384" fmla="*/ 1182532 w 3503192"/>
              <a:gd name="connsiteY12384" fmla="*/ 628679 h 5818346"/>
              <a:gd name="connsiteX12385" fmla="*/ 1171795 w 3503192"/>
              <a:gd name="connsiteY12385" fmla="*/ 617943 h 5818346"/>
              <a:gd name="connsiteX12386" fmla="*/ 1182532 w 3503192"/>
              <a:gd name="connsiteY12386" fmla="*/ 607207 h 5818346"/>
              <a:gd name="connsiteX12387" fmla="*/ 1253725 w 3503192"/>
              <a:gd name="connsiteY12387" fmla="*/ 602252 h 5818346"/>
              <a:gd name="connsiteX12388" fmla="*/ 1264463 w 3503192"/>
              <a:gd name="connsiteY12388" fmla="*/ 612988 h 5818346"/>
              <a:gd name="connsiteX12389" fmla="*/ 1253725 w 3503192"/>
              <a:gd name="connsiteY12389" fmla="*/ 623725 h 5818346"/>
              <a:gd name="connsiteX12390" fmla="*/ 1242989 w 3503192"/>
              <a:gd name="connsiteY12390" fmla="*/ 612988 h 5818346"/>
              <a:gd name="connsiteX12391" fmla="*/ 1253725 w 3503192"/>
              <a:gd name="connsiteY12391" fmla="*/ 602252 h 5818346"/>
              <a:gd name="connsiteX12392" fmla="*/ 1158746 w 3503192"/>
              <a:gd name="connsiteY12392" fmla="*/ 600766 h 5818346"/>
              <a:gd name="connsiteX12393" fmla="*/ 1169484 w 3503192"/>
              <a:gd name="connsiteY12393" fmla="*/ 611502 h 5818346"/>
              <a:gd name="connsiteX12394" fmla="*/ 1158746 w 3503192"/>
              <a:gd name="connsiteY12394" fmla="*/ 622239 h 5818346"/>
              <a:gd name="connsiteX12395" fmla="*/ 1148009 w 3503192"/>
              <a:gd name="connsiteY12395" fmla="*/ 611502 h 5818346"/>
              <a:gd name="connsiteX12396" fmla="*/ 1158746 w 3503192"/>
              <a:gd name="connsiteY12396" fmla="*/ 600766 h 5818346"/>
              <a:gd name="connsiteX12397" fmla="*/ 1740680 w 3503192"/>
              <a:gd name="connsiteY12397" fmla="*/ 599939 h 5818346"/>
              <a:gd name="connsiteX12398" fmla="*/ 1751416 w 3503192"/>
              <a:gd name="connsiteY12398" fmla="*/ 610675 h 5818346"/>
              <a:gd name="connsiteX12399" fmla="*/ 1740680 w 3503192"/>
              <a:gd name="connsiteY12399" fmla="*/ 621411 h 5818346"/>
              <a:gd name="connsiteX12400" fmla="*/ 1729943 w 3503192"/>
              <a:gd name="connsiteY12400" fmla="*/ 610675 h 5818346"/>
              <a:gd name="connsiteX12401" fmla="*/ 1740680 w 3503192"/>
              <a:gd name="connsiteY12401" fmla="*/ 599939 h 5818346"/>
              <a:gd name="connsiteX12402" fmla="*/ 1313190 w 3503192"/>
              <a:gd name="connsiteY12402" fmla="*/ 599939 h 5818346"/>
              <a:gd name="connsiteX12403" fmla="*/ 1323929 w 3503192"/>
              <a:gd name="connsiteY12403" fmla="*/ 610675 h 5818346"/>
              <a:gd name="connsiteX12404" fmla="*/ 1313190 w 3503192"/>
              <a:gd name="connsiteY12404" fmla="*/ 621411 h 5818346"/>
              <a:gd name="connsiteX12405" fmla="*/ 1302454 w 3503192"/>
              <a:gd name="connsiteY12405" fmla="*/ 610675 h 5818346"/>
              <a:gd name="connsiteX12406" fmla="*/ 1313190 w 3503192"/>
              <a:gd name="connsiteY12406" fmla="*/ 599939 h 5818346"/>
              <a:gd name="connsiteX12407" fmla="*/ 1491420 w 3503192"/>
              <a:gd name="connsiteY12407" fmla="*/ 598784 h 5818346"/>
              <a:gd name="connsiteX12408" fmla="*/ 1502158 w 3503192"/>
              <a:gd name="connsiteY12408" fmla="*/ 609520 h 5818346"/>
              <a:gd name="connsiteX12409" fmla="*/ 1491420 w 3503192"/>
              <a:gd name="connsiteY12409" fmla="*/ 620257 h 5818346"/>
              <a:gd name="connsiteX12410" fmla="*/ 1480684 w 3503192"/>
              <a:gd name="connsiteY12410" fmla="*/ 609520 h 5818346"/>
              <a:gd name="connsiteX12411" fmla="*/ 1491420 w 3503192"/>
              <a:gd name="connsiteY12411" fmla="*/ 598784 h 5818346"/>
              <a:gd name="connsiteX12412" fmla="*/ 2374976 w 3503192"/>
              <a:gd name="connsiteY12412" fmla="*/ 596635 h 5818346"/>
              <a:gd name="connsiteX12413" fmla="*/ 2385712 w 3503192"/>
              <a:gd name="connsiteY12413" fmla="*/ 607371 h 5818346"/>
              <a:gd name="connsiteX12414" fmla="*/ 2374976 w 3503192"/>
              <a:gd name="connsiteY12414" fmla="*/ 618108 h 5818346"/>
              <a:gd name="connsiteX12415" fmla="*/ 2364240 w 3503192"/>
              <a:gd name="connsiteY12415" fmla="*/ 607371 h 5818346"/>
              <a:gd name="connsiteX12416" fmla="*/ 2374976 w 3503192"/>
              <a:gd name="connsiteY12416" fmla="*/ 596635 h 5818346"/>
              <a:gd name="connsiteX12417" fmla="*/ 1218376 w 3503192"/>
              <a:gd name="connsiteY12417" fmla="*/ 596306 h 5818346"/>
              <a:gd name="connsiteX12418" fmla="*/ 1229114 w 3503192"/>
              <a:gd name="connsiteY12418" fmla="*/ 607042 h 5818346"/>
              <a:gd name="connsiteX12419" fmla="*/ 1218376 w 3503192"/>
              <a:gd name="connsiteY12419" fmla="*/ 617778 h 5818346"/>
              <a:gd name="connsiteX12420" fmla="*/ 1207639 w 3503192"/>
              <a:gd name="connsiteY12420" fmla="*/ 607042 h 5818346"/>
              <a:gd name="connsiteX12421" fmla="*/ 1218376 w 3503192"/>
              <a:gd name="connsiteY12421" fmla="*/ 596306 h 5818346"/>
              <a:gd name="connsiteX12422" fmla="*/ 1606552 w 3503192"/>
              <a:gd name="connsiteY12422" fmla="*/ 595149 h 5818346"/>
              <a:gd name="connsiteX12423" fmla="*/ 1617291 w 3503192"/>
              <a:gd name="connsiteY12423" fmla="*/ 605885 h 5818346"/>
              <a:gd name="connsiteX12424" fmla="*/ 1606552 w 3503192"/>
              <a:gd name="connsiteY12424" fmla="*/ 616622 h 5818346"/>
              <a:gd name="connsiteX12425" fmla="*/ 1595816 w 3503192"/>
              <a:gd name="connsiteY12425" fmla="*/ 605885 h 5818346"/>
              <a:gd name="connsiteX12426" fmla="*/ 1606552 w 3503192"/>
              <a:gd name="connsiteY12426" fmla="*/ 595149 h 5818346"/>
              <a:gd name="connsiteX12427" fmla="*/ 1192111 w 3503192"/>
              <a:gd name="connsiteY12427" fmla="*/ 594157 h 5818346"/>
              <a:gd name="connsiteX12428" fmla="*/ 1202849 w 3503192"/>
              <a:gd name="connsiteY12428" fmla="*/ 604893 h 5818346"/>
              <a:gd name="connsiteX12429" fmla="*/ 1192111 w 3503192"/>
              <a:gd name="connsiteY12429" fmla="*/ 615630 h 5818346"/>
              <a:gd name="connsiteX12430" fmla="*/ 1181375 w 3503192"/>
              <a:gd name="connsiteY12430" fmla="*/ 604893 h 5818346"/>
              <a:gd name="connsiteX12431" fmla="*/ 1192111 w 3503192"/>
              <a:gd name="connsiteY12431" fmla="*/ 594157 h 5818346"/>
              <a:gd name="connsiteX12432" fmla="*/ 3331210 w 3503192"/>
              <a:gd name="connsiteY12432" fmla="*/ 588542 h 5818346"/>
              <a:gd name="connsiteX12433" fmla="*/ 3341948 w 3503192"/>
              <a:gd name="connsiteY12433" fmla="*/ 599278 h 5818346"/>
              <a:gd name="connsiteX12434" fmla="*/ 3331210 w 3503192"/>
              <a:gd name="connsiteY12434" fmla="*/ 610014 h 5818346"/>
              <a:gd name="connsiteX12435" fmla="*/ 3320474 w 3503192"/>
              <a:gd name="connsiteY12435" fmla="*/ 599278 h 5818346"/>
              <a:gd name="connsiteX12436" fmla="*/ 3331210 w 3503192"/>
              <a:gd name="connsiteY12436" fmla="*/ 588542 h 5818346"/>
              <a:gd name="connsiteX12437" fmla="*/ 1165849 w 3503192"/>
              <a:gd name="connsiteY12437" fmla="*/ 586228 h 5818346"/>
              <a:gd name="connsiteX12438" fmla="*/ 1176587 w 3503192"/>
              <a:gd name="connsiteY12438" fmla="*/ 596964 h 5818346"/>
              <a:gd name="connsiteX12439" fmla="*/ 1165849 w 3503192"/>
              <a:gd name="connsiteY12439" fmla="*/ 607701 h 5818346"/>
              <a:gd name="connsiteX12440" fmla="*/ 1155112 w 3503192"/>
              <a:gd name="connsiteY12440" fmla="*/ 596964 h 5818346"/>
              <a:gd name="connsiteX12441" fmla="*/ 1165849 w 3503192"/>
              <a:gd name="connsiteY12441" fmla="*/ 586228 h 5818346"/>
              <a:gd name="connsiteX12442" fmla="*/ 1261819 w 3503192"/>
              <a:gd name="connsiteY12442" fmla="*/ 585403 h 5818346"/>
              <a:gd name="connsiteX12443" fmla="*/ 1272557 w 3503192"/>
              <a:gd name="connsiteY12443" fmla="*/ 596139 h 5818346"/>
              <a:gd name="connsiteX12444" fmla="*/ 1261819 w 3503192"/>
              <a:gd name="connsiteY12444" fmla="*/ 606876 h 5818346"/>
              <a:gd name="connsiteX12445" fmla="*/ 1251082 w 3503192"/>
              <a:gd name="connsiteY12445" fmla="*/ 596139 h 5818346"/>
              <a:gd name="connsiteX12446" fmla="*/ 1261819 w 3503192"/>
              <a:gd name="connsiteY12446" fmla="*/ 585403 h 5818346"/>
              <a:gd name="connsiteX12447" fmla="*/ 2031728 w 3503192"/>
              <a:gd name="connsiteY12447" fmla="*/ 583916 h 5818346"/>
              <a:gd name="connsiteX12448" fmla="*/ 2042466 w 3503192"/>
              <a:gd name="connsiteY12448" fmla="*/ 594653 h 5818346"/>
              <a:gd name="connsiteX12449" fmla="*/ 2031728 w 3503192"/>
              <a:gd name="connsiteY12449" fmla="*/ 605389 h 5818346"/>
              <a:gd name="connsiteX12450" fmla="*/ 2020992 w 3503192"/>
              <a:gd name="connsiteY12450" fmla="*/ 594653 h 5818346"/>
              <a:gd name="connsiteX12451" fmla="*/ 2031728 w 3503192"/>
              <a:gd name="connsiteY12451" fmla="*/ 583916 h 5818346"/>
              <a:gd name="connsiteX12452" fmla="*/ 1392311 w 3503192"/>
              <a:gd name="connsiteY12452" fmla="*/ 581274 h 5818346"/>
              <a:gd name="connsiteX12453" fmla="*/ 1403049 w 3503192"/>
              <a:gd name="connsiteY12453" fmla="*/ 592010 h 5818346"/>
              <a:gd name="connsiteX12454" fmla="*/ 1392311 w 3503192"/>
              <a:gd name="connsiteY12454" fmla="*/ 602746 h 5818346"/>
              <a:gd name="connsiteX12455" fmla="*/ 1381575 w 3503192"/>
              <a:gd name="connsiteY12455" fmla="*/ 592010 h 5818346"/>
              <a:gd name="connsiteX12456" fmla="*/ 1392311 w 3503192"/>
              <a:gd name="connsiteY12456" fmla="*/ 581274 h 5818346"/>
              <a:gd name="connsiteX12457" fmla="*/ 2531732 w 3503192"/>
              <a:gd name="connsiteY12457" fmla="*/ 580778 h 5818346"/>
              <a:gd name="connsiteX12458" fmla="*/ 2542471 w 3503192"/>
              <a:gd name="connsiteY12458" fmla="*/ 591514 h 5818346"/>
              <a:gd name="connsiteX12459" fmla="*/ 2531732 w 3503192"/>
              <a:gd name="connsiteY12459" fmla="*/ 602250 h 5818346"/>
              <a:gd name="connsiteX12460" fmla="*/ 2520996 w 3503192"/>
              <a:gd name="connsiteY12460" fmla="*/ 591514 h 5818346"/>
              <a:gd name="connsiteX12461" fmla="*/ 2531732 w 3503192"/>
              <a:gd name="connsiteY12461" fmla="*/ 580778 h 5818346"/>
              <a:gd name="connsiteX12462" fmla="*/ 1317980 w 3503192"/>
              <a:gd name="connsiteY12462" fmla="*/ 578631 h 5818346"/>
              <a:gd name="connsiteX12463" fmla="*/ 1328718 w 3503192"/>
              <a:gd name="connsiteY12463" fmla="*/ 589367 h 5818346"/>
              <a:gd name="connsiteX12464" fmla="*/ 1317980 w 3503192"/>
              <a:gd name="connsiteY12464" fmla="*/ 600103 h 5818346"/>
              <a:gd name="connsiteX12465" fmla="*/ 1307244 w 3503192"/>
              <a:gd name="connsiteY12465" fmla="*/ 589367 h 5818346"/>
              <a:gd name="connsiteX12466" fmla="*/ 1317980 w 3503192"/>
              <a:gd name="connsiteY12466" fmla="*/ 578631 h 5818346"/>
              <a:gd name="connsiteX12467" fmla="*/ 1171795 w 3503192"/>
              <a:gd name="connsiteY12467" fmla="*/ 577640 h 5818346"/>
              <a:gd name="connsiteX12468" fmla="*/ 1176091 w 3503192"/>
              <a:gd name="connsiteY12468" fmla="*/ 581936 h 5818346"/>
              <a:gd name="connsiteX12469" fmla="*/ 1171795 w 3503192"/>
              <a:gd name="connsiteY12469" fmla="*/ 586230 h 5818346"/>
              <a:gd name="connsiteX12470" fmla="*/ 1167502 w 3503192"/>
              <a:gd name="connsiteY12470" fmla="*/ 581936 h 5818346"/>
              <a:gd name="connsiteX12471" fmla="*/ 1171795 w 3503192"/>
              <a:gd name="connsiteY12471" fmla="*/ 577640 h 5818346"/>
              <a:gd name="connsiteX12472" fmla="*/ 3173132 w 3503192"/>
              <a:gd name="connsiteY12472" fmla="*/ 575327 h 5818346"/>
              <a:gd name="connsiteX12473" fmla="*/ 3183870 w 3503192"/>
              <a:gd name="connsiteY12473" fmla="*/ 586063 h 5818346"/>
              <a:gd name="connsiteX12474" fmla="*/ 3173132 w 3503192"/>
              <a:gd name="connsiteY12474" fmla="*/ 596800 h 5818346"/>
              <a:gd name="connsiteX12475" fmla="*/ 3162396 w 3503192"/>
              <a:gd name="connsiteY12475" fmla="*/ 586063 h 5818346"/>
              <a:gd name="connsiteX12476" fmla="*/ 3173132 w 3503192"/>
              <a:gd name="connsiteY12476" fmla="*/ 575327 h 5818346"/>
              <a:gd name="connsiteX12477" fmla="*/ 2690967 w 3503192"/>
              <a:gd name="connsiteY12477" fmla="*/ 570537 h 5818346"/>
              <a:gd name="connsiteX12478" fmla="*/ 2701706 w 3503192"/>
              <a:gd name="connsiteY12478" fmla="*/ 581274 h 5818346"/>
              <a:gd name="connsiteX12479" fmla="*/ 2690967 w 3503192"/>
              <a:gd name="connsiteY12479" fmla="*/ 592012 h 5818346"/>
              <a:gd name="connsiteX12480" fmla="*/ 2680231 w 3503192"/>
              <a:gd name="connsiteY12480" fmla="*/ 581274 h 5818346"/>
              <a:gd name="connsiteX12481" fmla="*/ 2690967 w 3503192"/>
              <a:gd name="connsiteY12481" fmla="*/ 570537 h 5818346"/>
              <a:gd name="connsiteX12482" fmla="*/ 3012905 w 3503192"/>
              <a:gd name="connsiteY12482" fmla="*/ 567730 h 5818346"/>
              <a:gd name="connsiteX12483" fmla="*/ 3023643 w 3503192"/>
              <a:gd name="connsiteY12483" fmla="*/ 578466 h 5818346"/>
              <a:gd name="connsiteX12484" fmla="*/ 3012905 w 3503192"/>
              <a:gd name="connsiteY12484" fmla="*/ 589202 h 5818346"/>
              <a:gd name="connsiteX12485" fmla="*/ 3002169 w 3503192"/>
              <a:gd name="connsiteY12485" fmla="*/ 578466 h 5818346"/>
              <a:gd name="connsiteX12486" fmla="*/ 3012905 w 3503192"/>
              <a:gd name="connsiteY12486" fmla="*/ 567730 h 5818346"/>
              <a:gd name="connsiteX12487" fmla="*/ 1484979 w 3503192"/>
              <a:gd name="connsiteY12487" fmla="*/ 566573 h 5818346"/>
              <a:gd name="connsiteX12488" fmla="*/ 1495717 w 3503192"/>
              <a:gd name="connsiteY12488" fmla="*/ 577309 h 5818346"/>
              <a:gd name="connsiteX12489" fmla="*/ 1484979 w 3503192"/>
              <a:gd name="connsiteY12489" fmla="*/ 588046 h 5818346"/>
              <a:gd name="connsiteX12490" fmla="*/ 1474243 w 3503192"/>
              <a:gd name="connsiteY12490" fmla="*/ 577309 h 5818346"/>
              <a:gd name="connsiteX12491" fmla="*/ 1484979 w 3503192"/>
              <a:gd name="connsiteY12491" fmla="*/ 566573 h 5818346"/>
              <a:gd name="connsiteX12492" fmla="*/ 2851855 w 3503192"/>
              <a:gd name="connsiteY12492" fmla="*/ 566242 h 5818346"/>
              <a:gd name="connsiteX12493" fmla="*/ 2862593 w 3503192"/>
              <a:gd name="connsiteY12493" fmla="*/ 576978 h 5818346"/>
              <a:gd name="connsiteX12494" fmla="*/ 2851855 w 3503192"/>
              <a:gd name="connsiteY12494" fmla="*/ 587714 h 5818346"/>
              <a:gd name="connsiteX12495" fmla="*/ 2841118 w 3503192"/>
              <a:gd name="connsiteY12495" fmla="*/ 576978 h 5818346"/>
              <a:gd name="connsiteX12496" fmla="*/ 2851855 w 3503192"/>
              <a:gd name="connsiteY12496" fmla="*/ 566242 h 5818346"/>
              <a:gd name="connsiteX12497" fmla="*/ 1864565 w 3503192"/>
              <a:gd name="connsiteY12497" fmla="*/ 564259 h 5818346"/>
              <a:gd name="connsiteX12498" fmla="*/ 1875301 w 3503192"/>
              <a:gd name="connsiteY12498" fmla="*/ 574996 h 5818346"/>
              <a:gd name="connsiteX12499" fmla="*/ 1864565 w 3503192"/>
              <a:gd name="connsiteY12499" fmla="*/ 585732 h 5818346"/>
              <a:gd name="connsiteX12500" fmla="*/ 1853828 w 3503192"/>
              <a:gd name="connsiteY12500" fmla="*/ 574996 h 5818346"/>
              <a:gd name="connsiteX12501" fmla="*/ 1864565 w 3503192"/>
              <a:gd name="connsiteY12501" fmla="*/ 564259 h 5818346"/>
              <a:gd name="connsiteX12502" fmla="*/ 1323431 w 3503192"/>
              <a:gd name="connsiteY12502" fmla="*/ 560460 h 5818346"/>
              <a:gd name="connsiteX12503" fmla="*/ 1334167 w 3503192"/>
              <a:gd name="connsiteY12503" fmla="*/ 571196 h 5818346"/>
              <a:gd name="connsiteX12504" fmla="*/ 1323431 w 3503192"/>
              <a:gd name="connsiteY12504" fmla="*/ 581934 h 5818346"/>
              <a:gd name="connsiteX12505" fmla="*/ 1312694 w 3503192"/>
              <a:gd name="connsiteY12505" fmla="*/ 571196 h 5818346"/>
              <a:gd name="connsiteX12506" fmla="*/ 1323431 w 3503192"/>
              <a:gd name="connsiteY12506" fmla="*/ 560460 h 5818346"/>
              <a:gd name="connsiteX12507" fmla="*/ 1593173 w 3503192"/>
              <a:gd name="connsiteY12507" fmla="*/ 557817 h 5818346"/>
              <a:gd name="connsiteX12508" fmla="*/ 1603910 w 3503192"/>
              <a:gd name="connsiteY12508" fmla="*/ 568553 h 5818346"/>
              <a:gd name="connsiteX12509" fmla="*/ 1593173 w 3503192"/>
              <a:gd name="connsiteY12509" fmla="*/ 579291 h 5818346"/>
              <a:gd name="connsiteX12510" fmla="*/ 1582437 w 3503192"/>
              <a:gd name="connsiteY12510" fmla="*/ 568553 h 5818346"/>
              <a:gd name="connsiteX12511" fmla="*/ 1593173 w 3503192"/>
              <a:gd name="connsiteY12511" fmla="*/ 557817 h 5818346"/>
              <a:gd name="connsiteX12512" fmla="*/ 1392807 w 3503192"/>
              <a:gd name="connsiteY12512" fmla="*/ 557323 h 5818346"/>
              <a:gd name="connsiteX12513" fmla="*/ 1403545 w 3503192"/>
              <a:gd name="connsiteY12513" fmla="*/ 568059 h 5818346"/>
              <a:gd name="connsiteX12514" fmla="*/ 1392807 w 3503192"/>
              <a:gd name="connsiteY12514" fmla="*/ 578796 h 5818346"/>
              <a:gd name="connsiteX12515" fmla="*/ 1382071 w 3503192"/>
              <a:gd name="connsiteY12515" fmla="*/ 568059 h 5818346"/>
              <a:gd name="connsiteX12516" fmla="*/ 1392807 w 3503192"/>
              <a:gd name="connsiteY12516" fmla="*/ 557323 h 5818346"/>
              <a:gd name="connsiteX12517" fmla="*/ 2172959 w 3503192"/>
              <a:gd name="connsiteY12517" fmla="*/ 556662 h 5818346"/>
              <a:gd name="connsiteX12518" fmla="*/ 2183697 w 3503192"/>
              <a:gd name="connsiteY12518" fmla="*/ 567399 h 5818346"/>
              <a:gd name="connsiteX12519" fmla="*/ 2172959 w 3503192"/>
              <a:gd name="connsiteY12519" fmla="*/ 578136 h 5818346"/>
              <a:gd name="connsiteX12520" fmla="*/ 2162222 w 3503192"/>
              <a:gd name="connsiteY12520" fmla="*/ 567399 h 5818346"/>
              <a:gd name="connsiteX12521" fmla="*/ 2172959 w 3503192"/>
              <a:gd name="connsiteY12521" fmla="*/ 556662 h 5818346"/>
              <a:gd name="connsiteX12522" fmla="*/ 1718876 w 3503192"/>
              <a:gd name="connsiteY12522" fmla="*/ 556331 h 5818346"/>
              <a:gd name="connsiteX12523" fmla="*/ 1729612 w 3503192"/>
              <a:gd name="connsiteY12523" fmla="*/ 567067 h 5818346"/>
              <a:gd name="connsiteX12524" fmla="*/ 1718876 w 3503192"/>
              <a:gd name="connsiteY12524" fmla="*/ 577805 h 5818346"/>
              <a:gd name="connsiteX12525" fmla="*/ 1708139 w 3503192"/>
              <a:gd name="connsiteY12525" fmla="*/ 567067 h 5818346"/>
              <a:gd name="connsiteX12526" fmla="*/ 1718876 w 3503192"/>
              <a:gd name="connsiteY12526" fmla="*/ 556331 h 5818346"/>
              <a:gd name="connsiteX12527" fmla="*/ 1220360 w 3503192"/>
              <a:gd name="connsiteY12527" fmla="*/ 542126 h 5818346"/>
              <a:gd name="connsiteX12528" fmla="*/ 1230766 w 3503192"/>
              <a:gd name="connsiteY12528" fmla="*/ 552533 h 5818346"/>
              <a:gd name="connsiteX12529" fmla="*/ 1221433 w 3503192"/>
              <a:gd name="connsiteY12529" fmla="*/ 561866 h 5818346"/>
              <a:gd name="connsiteX12530" fmla="*/ 1225644 w 3503192"/>
              <a:gd name="connsiteY12530" fmla="*/ 566077 h 5818346"/>
              <a:gd name="connsiteX12531" fmla="*/ 1215816 w 3503192"/>
              <a:gd name="connsiteY12531" fmla="*/ 575905 h 5818346"/>
              <a:gd name="connsiteX12532" fmla="*/ 1219038 w 3503192"/>
              <a:gd name="connsiteY12532" fmla="*/ 579127 h 5818346"/>
              <a:gd name="connsiteX12533" fmla="*/ 1208796 w 3503192"/>
              <a:gd name="connsiteY12533" fmla="*/ 589367 h 5818346"/>
              <a:gd name="connsiteX12534" fmla="*/ 1211439 w 3503192"/>
              <a:gd name="connsiteY12534" fmla="*/ 592010 h 5818346"/>
              <a:gd name="connsiteX12535" fmla="*/ 1200702 w 3503192"/>
              <a:gd name="connsiteY12535" fmla="*/ 602746 h 5818346"/>
              <a:gd name="connsiteX12536" fmla="*/ 1189966 w 3503192"/>
              <a:gd name="connsiteY12536" fmla="*/ 592010 h 5818346"/>
              <a:gd name="connsiteX12537" fmla="*/ 1200206 w 3503192"/>
              <a:gd name="connsiteY12537" fmla="*/ 581770 h 5818346"/>
              <a:gd name="connsiteX12538" fmla="*/ 1197564 w 3503192"/>
              <a:gd name="connsiteY12538" fmla="*/ 579127 h 5818346"/>
              <a:gd name="connsiteX12539" fmla="*/ 1207393 w 3503192"/>
              <a:gd name="connsiteY12539" fmla="*/ 569299 h 5818346"/>
              <a:gd name="connsiteX12540" fmla="*/ 1204171 w 3503192"/>
              <a:gd name="connsiteY12540" fmla="*/ 566077 h 5818346"/>
              <a:gd name="connsiteX12541" fmla="*/ 1213834 w 3503192"/>
              <a:gd name="connsiteY12541" fmla="*/ 556414 h 5818346"/>
              <a:gd name="connsiteX12542" fmla="*/ 1209953 w 3503192"/>
              <a:gd name="connsiteY12542" fmla="*/ 552533 h 5818346"/>
              <a:gd name="connsiteX12543" fmla="*/ 1220360 w 3503192"/>
              <a:gd name="connsiteY12543" fmla="*/ 542126 h 5818346"/>
              <a:gd name="connsiteX12544" fmla="*/ 1480188 w 3503192"/>
              <a:gd name="connsiteY12544" fmla="*/ 539152 h 5818346"/>
              <a:gd name="connsiteX12545" fmla="*/ 1490926 w 3503192"/>
              <a:gd name="connsiteY12545" fmla="*/ 549888 h 5818346"/>
              <a:gd name="connsiteX12546" fmla="*/ 1480188 w 3503192"/>
              <a:gd name="connsiteY12546" fmla="*/ 560625 h 5818346"/>
              <a:gd name="connsiteX12547" fmla="*/ 1469451 w 3503192"/>
              <a:gd name="connsiteY12547" fmla="*/ 549888 h 5818346"/>
              <a:gd name="connsiteX12548" fmla="*/ 1480188 w 3503192"/>
              <a:gd name="connsiteY12548" fmla="*/ 539152 h 5818346"/>
              <a:gd name="connsiteX12549" fmla="*/ 1224818 w 3503192"/>
              <a:gd name="connsiteY12549" fmla="*/ 538162 h 5818346"/>
              <a:gd name="connsiteX12550" fmla="*/ 1224984 w 3503192"/>
              <a:gd name="connsiteY12550" fmla="*/ 538326 h 5818346"/>
              <a:gd name="connsiteX12551" fmla="*/ 1224818 w 3503192"/>
              <a:gd name="connsiteY12551" fmla="*/ 538493 h 5818346"/>
              <a:gd name="connsiteX12552" fmla="*/ 1224653 w 3503192"/>
              <a:gd name="connsiteY12552" fmla="*/ 538326 h 5818346"/>
              <a:gd name="connsiteX12553" fmla="*/ 1224818 w 3503192"/>
              <a:gd name="connsiteY12553" fmla="*/ 538162 h 5818346"/>
              <a:gd name="connsiteX12554" fmla="*/ 2318814 w 3503192"/>
              <a:gd name="connsiteY12554" fmla="*/ 533866 h 5818346"/>
              <a:gd name="connsiteX12555" fmla="*/ 2329552 w 3503192"/>
              <a:gd name="connsiteY12555" fmla="*/ 544602 h 5818346"/>
              <a:gd name="connsiteX12556" fmla="*/ 2318814 w 3503192"/>
              <a:gd name="connsiteY12556" fmla="*/ 555339 h 5818346"/>
              <a:gd name="connsiteX12557" fmla="*/ 2308078 w 3503192"/>
              <a:gd name="connsiteY12557" fmla="*/ 544602 h 5818346"/>
              <a:gd name="connsiteX12558" fmla="*/ 2318814 w 3503192"/>
              <a:gd name="connsiteY12558" fmla="*/ 533866 h 5818346"/>
              <a:gd name="connsiteX12559" fmla="*/ 1993902 w 3503192"/>
              <a:gd name="connsiteY12559" fmla="*/ 532050 h 5818346"/>
              <a:gd name="connsiteX12560" fmla="*/ 2004640 w 3503192"/>
              <a:gd name="connsiteY12560" fmla="*/ 542787 h 5818346"/>
              <a:gd name="connsiteX12561" fmla="*/ 1993902 w 3503192"/>
              <a:gd name="connsiteY12561" fmla="*/ 553523 h 5818346"/>
              <a:gd name="connsiteX12562" fmla="*/ 1983166 w 3503192"/>
              <a:gd name="connsiteY12562" fmla="*/ 542787 h 5818346"/>
              <a:gd name="connsiteX12563" fmla="*/ 1993902 w 3503192"/>
              <a:gd name="connsiteY12563" fmla="*/ 532050 h 5818346"/>
              <a:gd name="connsiteX12564" fmla="*/ 1582106 w 3503192"/>
              <a:gd name="connsiteY12564" fmla="*/ 525773 h 5818346"/>
              <a:gd name="connsiteX12565" fmla="*/ 1592844 w 3503192"/>
              <a:gd name="connsiteY12565" fmla="*/ 536509 h 5818346"/>
              <a:gd name="connsiteX12566" fmla="*/ 1582106 w 3503192"/>
              <a:gd name="connsiteY12566" fmla="*/ 547245 h 5818346"/>
              <a:gd name="connsiteX12567" fmla="*/ 1571369 w 3503192"/>
              <a:gd name="connsiteY12567" fmla="*/ 536509 h 5818346"/>
              <a:gd name="connsiteX12568" fmla="*/ 1582106 w 3503192"/>
              <a:gd name="connsiteY12568" fmla="*/ 525773 h 5818346"/>
              <a:gd name="connsiteX12569" fmla="*/ 3390675 w 3503192"/>
              <a:gd name="connsiteY12569" fmla="*/ 524947 h 5818346"/>
              <a:gd name="connsiteX12570" fmla="*/ 3401414 w 3503192"/>
              <a:gd name="connsiteY12570" fmla="*/ 535684 h 5818346"/>
              <a:gd name="connsiteX12571" fmla="*/ 3390675 w 3503192"/>
              <a:gd name="connsiteY12571" fmla="*/ 546420 h 5818346"/>
              <a:gd name="connsiteX12572" fmla="*/ 3379939 w 3503192"/>
              <a:gd name="connsiteY12572" fmla="*/ 535684 h 5818346"/>
              <a:gd name="connsiteX12573" fmla="*/ 3390675 w 3503192"/>
              <a:gd name="connsiteY12573" fmla="*/ 524947 h 5818346"/>
              <a:gd name="connsiteX12574" fmla="*/ 1836979 w 3503192"/>
              <a:gd name="connsiteY12574" fmla="*/ 520322 h 5818346"/>
              <a:gd name="connsiteX12575" fmla="*/ 1847717 w 3503192"/>
              <a:gd name="connsiteY12575" fmla="*/ 531059 h 5818346"/>
              <a:gd name="connsiteX12576" fmla="*/ 1836979 w 3503192"/>
              <a:gd name="connsiteY12576" fmla="*/ 541797 h 5818346"/>
              <a:gd name="connsiteX12577" fmla="*/ 1826243 w 3503192"/>
              <a:gd name="connsiteY12577" fmla="*/ 531059 h 5818346"/>
              <a:gd name="connsiteX12578" fmla="*/ 1836979 w 3503192"/>
              <a:gd name="connsiteY12578" fmla="*/ 520322 h 5818346"/>
              <a:gd name="connsiteX12579" fmla="*/ 1700209 w 3503192"/>
              <a:gd name="connsiteY12579" fmla="*/ 518834 h 5818346"/>
              <a:gd name="connsiteX12580" fmla="*/ 1710947 w 3503192"/>
              <a:gd name="connsiteY12580" fmla="*/ 529571 h 5818346"/>
              <a:gd name="connsiteX12581" fmla="*/ 1700209 w 3503192"/>
              <a:gd name="connsiteY12581" fmla="*/ 540309 h 5818346"/>
              <a:gd name="connsiteX12582" fmla="*/ 1689473 w 3503192"/>
              <a:gd name="connsiteY12582" fmla="*/ 529571 h 5818346"/>
              <a:gd name="connsiteX12583" fmla="*/ 1700209 w 3503192"/>
              <a:gd name="connsiteY12583" fmla="*/ 518834 h 5818346"/>
              <a:gd name="connsiteX12584" fmla="*/ 2468468 w 3503192"/>
              <a:gd name="connsiteY12584" fmla="*/ 516027 h 5818346"/>
              <a:gd name="connsiteX12585" fmla="*/ 2479206 w 3503192"/>
              <a:gd name="connsiteY12585" fmla="*/ 526763 h 5818346"/>
              <a:gd name="connsiteX12586" fmla="*/ 2468468 w 3503192"/>
              <a:gd name="connsiteY12586" fmla="*/ 537499 h 5818346"/>
              <a:gd name="connsiteX12587" fmla="*/ 2457731 w 3503192"/>
              <a:gd name="connsiteY12587" fmla="*/ 526763 h 5818346"/>
              <a:gd name="connsiteX12588" fmla="*/ 2468468 w 3503192"/>
              <a:gd name="connsiteY12588" fmla="*/ 516027 h 5818346"/>
              <a:gd name="connsiteX12589" fmla="*/ 1477215 w 3503192"/>
              <a:gd name="connsiteY12589" fmla="*/ 515697 h 5818346"/>
              <a:gd name="connsiteX12590" fmla="*/ 1487953 w 3503192"/>
              <a:gd name="connsiteY12590" fmla="*/ 526433 h 5818346"/>
              <a:gd name="connsiteX12591" fmla="*/ 1477215 w 3503192"/>
              <a:gd name="connsiteY12591" fmla="*/ 537170 h 5818346"/>
              <a:gd name="connsiteX12592" fmla="*/ 1466479 w 3503192"/>
              <a:gd name="connsiteY12592" fmla="*/ 526433 h 5818346"/>
              <a:gd name="connsiteX12593" fmla="*/ 1477215 w 3503192"/>
              <a:gd name="connsiteY12593" fmla="*/ 515697 h 5818346"/>
              <a:gd name="connsiteX12594" fmla="*/ 1270573 w 3503192"/>
              <a:gd name="connsiteY12594" fmla="*/ 512062 h 5818346"/>
              <a:gd name="connsiteX12595" fmla="*/ 1281311 w 3503192"/>
              <a:gd name="connsiteY12595" fmla="*/ 522799 h 5818346"/>
              <a:gd name="connsiteX12596" fmla="*/ 1272722 w 3503192"/>
              <a:gd name="connsiteY12596" fmla="*/ 531390 h 5818346"/>
              <a:gd name="connsiteX12597" fmla="*/ 1276355 w 3503192"/>
              <a:gd name="connsiteY12597" fmla="*/ 535023 h 5818346"/>
              <a:gd name="connsiteX12598" fmla="*/ 1267600 w 3503192"/>
              <a:gd name="connsiteY12598" fmla="*/ 543777 h 5818346"/>
              <a:gd name="connsiteX12599" fmla="*/ 1270573 w 3503192"/>
              <a:gd name="connsiteY12599" fmla="*/ 546749 h 5818346"/>
              <a:gd name="connsiteX12600" fmla="*/ 1261406 w 3503192"/>
              <a:gd name="connsiteY12600" fmla="*/ 555918 h 5818346"/>
              <a:gd name="connsiteX12601" fmla="*/ 1263636 w 3503192"/>
              <a:gd name="connsiteY12601" fmla="*/ 558148 h 5818346"/>
              <a:gd name="connsiteX12602" fmla="*/ 1254056 w 3503192"/>
              <a:gd name="connsiteY12602" fmla="*/ 567728 h 5818346"/>
              <a:gd name="connsiteX12603" fmla="*/ 1256039 w 3503192"/>
              <a:gd name="connsiteY12603" fmla="*/ 569710 h 5818346"/>
              <a:gd name="connsiteX12604" fmla="*/ 1246044 w 3503192"/>
              <a:gd name="connsiteY12604" fmla="*/ 579704 h 5818346"/>
              <a:gd name="connsiteX12605" fmla="*/ 1247779 w 3503192"/>
              <a:gd name="connsiteY12605" fmla="*/ 581439 h 5818346"/>
              <a:gd name="connsiteX12606" fmla="*/ 1237041 w 3503192"/>
              <a:gd name="connsiteY12606" fmla="*/ 592175 h 5818346"/>
              <a:gd name="connsiteX12607" fmla="*/ 1233022 w 3503192"/>
              <a:gd name="connsiteY12607" fmla="*/ 588157 h 5818346"/>
              <a:gd name="connsiteX12608" fmla="*/ 1238693 w 3503192"/>
              <a:gd name="connsiteY12608" fmla="*/ 593827 h 5818346"/>
              <a:gd name="connsiteX12609" fmla="*/ 1227957 w 3503192"/>
              <a:gd name="connsiteY12609" fmla="*/ 604564 h 5818346"/>
              <a:gd name="connsiteX12610" fmla="*/ 1217221 w 3503192"/>
              <a:gd name="connsiteY12610" fmla="*/ 593827 h 5818346"/>
              <a:gd name="connsiteX12611" fmla="*/ 1227957 w 3503192"/>
              <a:gd name="connsiteY12611" fmla="*/ 583091 h 5818346"/>
              <a:gd name="connsiteX12612" fmla="*/ 1226304 w 3503192"/>
              <a:gd name="connsiteY12612" fmla="*/ 581439 h 5818346"/>
              <a:gd name="connsiteX12613" fmla="*/ 1236298 w 3503192"/>
              <a:gd name="connsiteY12613" fmla="*/ 571444 h 5818346"/>
              <a:gd name="connsiteX12614" fmla="*/ 1234564 w 3503192"/>
              <a:gd name="connsiteY12614" fmla="*/ 569710 h 5818346"/>
              <a:gd name="connsiteX12615" fmla="*/ 1244144 w 3503192"/>
              <a:gd name="connsiteY12615" fmla="*/ 560130 h 5818346"/>
              <a:gd name="connsiteX12616" fmla="*/ 1242162 w 3503192"/>
              <a:gd name="connsiteY12616" fmla="*/ 558148 h 5818346"/>
              <a:gd name="connsiteX12617" fmla="*/ 1251330 w 3503192"/>
              <a:gd name="connsiteY12617" fmla="*/ 548980 h 5818346"/>
              <a:gd name="connsiteX12618" fmla="*/ 1249100 w 3503192"/>
              <a:gd name="connsiteY12618" fmla="*/ 546749 h 5818346"/>
              <a:gd name="connsiteX12619" fmla="*/ 1257854 w 3503192"/>
              <a:gd name="connsiteY12619" fmla="*/ 537995 h 5818346"/>
              <a:gd name="connsiteX12620" fmla="*/ 1254882 w 3503192"/>
              <a:gd name="connsiteY12620" fmla="*/ 535023 h 5818346"/>
              <a:gd name="connsiteX12621" fmla="*/ 1263471 w 3503192"/>
              <a:gd name="connsiteY12621" fmla="*/ 526433 h 5818346"/>
              <a:gd name="connsiteX12622" fmla="*/ 1259836 w 3503192"/>
              <a:gd name="connsiteY12622" fmla="*/ 522799 h 5818346"/>
              <a:gd name="connsiteX12623" fmla="*/ 1270573 w 3503192"/>
              <a:gd name="connsiteY12623" fmla="*/ 512062 h 5818346"/>
              <a:gd name="connsiteX12624" fmla="*/ 3239534 w 3503192"/>
              <a:gd name="connsiteY12624" fmla="*/ 509586 h 5818346"/>
              <a:gd name="connsiteX12625" fmla="*/ 3250272 w 3503192"/>
              <a:gd name="connsiteY12625" fmla="*/ 520322 h 5818346"/>
              <a:gd name="connsiteX12626" fmla="*/ 3239534 w 3503192"/>
              <a:gd name="connsiteY12626" fmla="*/ 531059 h 5818346"/>
              <a:gd name="connsiteX12627" fmla="*/ 3228798 w 3503192"/>
              <a:gd name="connsiteY12627" fmla="*/ 520322 h 5818346"/>
              <a:gd name="connsiteX12628" fmla="*/ 3239534 w 3503192"/>
              <a:gd name="connsiteY12628" fmla="*/ 509586 h 5818346"/>
              <a:gd name="connsiteX12629" fmla="*/ 1274374 w 3503192"/>
              <a:gd name="connsiteY12629" fmla="*/ 504133 h 5818346"/>
              <a:gd name="connsiteX12630" fmla="*/ 1280156 w 3503192"/>
              <a:gd name="connsiteY12630" fmla="*/ 509915 h 5818346"/>
              <a:gd name="connsiteX12631" fmla="*/ 1274374 w 3503192"/>
              <a:gd name="connsiteY12631" fmla="*/ 515697 h 5818346"/>
              <a:gd name="connsiteX12632" fmla="*/ 1268592 w 3503192"/>
              <a:gd name="connsiteY12632" fmla="*/ 509915 h 5818346"/>
              <a:gd name="connsiteX12633" fmla="*/ 1274374 w 3503192"/>
              <a:gd name="connsiteY12633" fmla="*/ 504133 h 5818346"/>
              <a:gd name="connsiteX12634" fmla="*/ 2128526 w 3503192"/>
              <a:gd name="connsiteY12634" fmla="*/ 503638 h 5818346"/>
              <a:gd name="connsiteX12635" fmla="*/ 2139262 w 3503192"/>
              <a:gd name="connsiteY12635" fmla="*/ 514374 h 5818346"/>
              <a:gd name="connsiteX12636" fmla="*/ 2128526 w 3503192"/>
              <a:gd name="connsiteY12636" fmla="*/ 525112 h 5818346"/>
              <a:gd name="connsiteX12637" fmla="*/ 2117789 w 3503192"/>
              <a:gd name="connsiteY12637" fmla="*/ 514374 h 5818346"/>
              <a:gd name="connsiteX12638" fmla="*/ 2128526 w 3503192"/>
              <a:gd name="connsiteY12638" fmla="*/ 503638 h 5818346"/>
              <a:gd name="connsiteX12639" fmla="*/ 2621095 w 3503192"/>
              <a:gd name="connsiteY12639" fmla="*/ 503473 h 5818346"/>
              <a:gd name="connsiteX12640" fmla="*/ 2631833 w 3503192"/>
              <a:gd name="connsiteY12640" fmla="*/ 514209 h 5818346"/>
              <a:gd name="connsiteX12641" fmla="*/ 2621095 w 3503192"/>
              <a:gd name="connsiteY12641" fmla="*/ 524947 h 5818346"/>
              <a:gd name="connsiteX12642" fmla="*/ 2610359 w 3503192"/>
              <a:gd name="connsiteY12642" fmla="*/ 514209 h 5818346"/>
              <a:gd name="connsiteX12643" fmla="*/ 2621095 w 3503192"/>
              <a:gd name="connsiteY12643" fmla="*/ 503473 h 5818346"/>
              <a:gd name="connsiteX12644" fmla="*/ 3085916 w 3503192"/>
              <a:gd name="connsiteY12644" fmla="*/ 499508 h 5818346"/>
              <a:gd name="connsiteX12645" fmla="*/ 3096654 w 3503192"/>
              <a:gd name="connsiteY12645" fmla="*/ 510245 h 5818346"/>
              <a:gd name="connsiteX12646" fmla="*/ 3085916 w 3503192"/>
              <a:gd name="connsiteY12646" fmla="*/ 520983 h 5818346"/>
              <a:gd name="connsiteX12647" fmla="*/ 3075180 w 3503192"/>
              <a:gd name="connsiteY12647" fmla="*/ 510245 h 5818346"/>
              <a:gd name="connsiteX12648" fmla="*/ 3085916 w 3503192"/>
              <a:gd name="connsiteY12648" fmla="*/ 499508 h 5818346"/>
              <a:gd name="connsiteX12649" fmla="*/ 1573185 w 3503192"/>
              <a:gd name="connsiteY12649" fmla="*/ 498518 h 5818346"/>
              <a:gd name="connsiteX12650" fmla="*/ 1583923 w 3503192"/>
              <a:gd name="connsiteY12650" fmla="*/ 509255 h 5818346"/>
              <a:gd name="connsiteX12651" fmla="*/ 1573185 w 3503192"/>
              <a:gd name="connsiteY12651" fmla="*/ 519991 h 5818346"/>
              <a:gd name="connsiteX12652" fmla="*/ 1562449 w 3503192"/>
              <a:gd name="connsiteY12652" fmla="*/ 509255 h 5818346"/>
              <a:gd name="connsiteX12653" fmla="*/ 1573185 w 3503192"/>
              <a:gd name="connsiteY12653" fmla="*/ 498518 h 5818346"/>
              <a:gd name="connsiteX12654" fmla="*/ 2775540 w 3503192"/>
              <a:gd name="connsiteY12654" fmla="*/ 496536 h 5818346"/>
              <a:gd name="connsiteX12655" fmla="*/ 2786276 w 3503192"/>
              <a:gd name="connsiteY12655" fmla="*/ 507272 h 5818346"/>
              <a:gd name="connsiteX12656" fmla="*/ 2775540 w 3503192"/>
              <a:gd name="connsiteY12656" fmla="*/ 518010 h 5818346"/>
              <a:gd name="connsiteX12657" fmla="*/ 2764804 w 3503192"/>
              <a:gd name="connsiteY12657" fmla="*/ 507272 h 5818346"/>
              <a:gd name="connsiteX12658" fmla="*/ 2775540 w 3503192"/>
              <a:gd name="connsiteY12658" fmla="*/ 496536 h 5818346"/>
              <a:gd name="connsiteX12659" fmla="*/ 2930975 w 3503192"/>
              <a:gd name="connsiteY12659" fmla="*/ 495215 h 5818346"/>
              <a:gd name="connsiteX12660" fmla="*/ 2941714 w 3503192"/>
              <a:gd name="connsiteY12660" fmla="*/ 505951 h 5818346"/>
              <a:gd name="connsiteX12661" fmla="*/ 2930975 w 3503192"/>
              <a:gd name="connsiteY12661" fmla="*/ 516689 h 5818346"/>
              <a:gd name="connsiteX12662" fmla="*/ 2920239 w 3503192"/>
              <a:gd name="connsiteY12662" fmla="*/ 505951 h 5818346"/>
              <a:gd name="connsiteX12663" fmla="*/ 2930975 w 3503192"/>
              <a:gd name="connsiteY12663" fmla="*/ 495215 h 5818346"/>
              <a:gd name="connsiteX12664" fmla="*/ 1960370 w 3503192"/>
              <a:gd name="connsiteY12664" fmla="*/ 487286 h 5818346"/>
              <a:gd name="connsiteX12665" fmla="*/ 1971108 w 3503192"/>
              <a:gd name="connsiteY12665" fmla="*/ 498022 h 5818346"/>
              <a:gd name="connsiteX12666" fmla="*/ 1960370 w 3503192"/>
              <a:gd name="connsiteY12666" fmla="*/ 508760 h 5818346"/>
              <a:gd name="connsiteX12667" fmla="*/ 1949634 w 3503192"/>
              <a:gd name="connsiteY12667" fmla="*/ 498022 h 5818346"/>
              <a:gd name="connsiteX12668" fmla="*/ 1960370 w 3503192"/>
              <a:gd name="connsiteY12668" fmla="*/ 487286 h 5818346"/>
              <a:gd name="connsiteX12669" fmla="*/ 1684352 w 3503192"/>
              <a:gd name="connsiteY12669" fmla="*/ 486955 h 5818346"/>
              <a:gd name="connsiteX12670" fmla="*/ 1695090 w 3503192"/>
              <a:gd name="connsiteY12670" fmla="*/ 497691 h 5818346"/>
              <a:gd name="connsiteX12671" fmla="*/ 1684352 w 3503192"/>
              <a:gd name="connsiteY12671" fmla="*/ 508429 h 5818346"/>
              <a:gd name="connsiteX12672" fmla="*/ 1673615 w 3503192"/>
              <a:gd name="connsiteY12672" fmla="*/ 497691 h 5818346"/>
              <a:gd name="connsiteX12673" fmla="*/ 1684352 w 3503192"/>
              <a:gd name="connsiteY12673" fmla="*/ 486955 h 5818346"/>
              <a:gd name="connsiteX12674" fmla="*/ 1812864 w 3503192"/>
              <a:gd name="connsiteY12674" fmla="*/ 482496 h 5818346"/>
              <a:gd name="connsiteX12675" fmla="*/ 1823602 w 3503192"/>
              <a:gd name="connsiteY12675" fmla="*/ 493232 h 5818346"/>
              <a:gd name="connsiteX12676" fmla="*/ 1812864 w 3503192"/>
              <a:gd name="connsiteY12676" fmla="*/ 503969 h 5818346"/>
              <a:gd name="connsiteX12677" fmla="*/ 1802127 w 3503192"/>
              <a:gd name="connsiteY12677" fmla="*/ 493232 h 5818346"/>
              <a:gd name="connsiteX12678" fmla="*/ 1812864 w 3503192"/>
              <a:gd name="connsiteY12678" fmla="*/ 482496 h 5818346"/>
              <a:gd name="connsiteX12679" fmla="*/ 2267772 w 3503192"/>
              <a:gd name="connsiteY12679" fmla="*/ 479357 h 5818346"/>
              <a:gd name="connsiteX12680" fmla="*/ 2278510 w 3503192"/>
              <a:gd name="connsiteY12680" fmla="*/ 490094 h 5818346"/>
              <a:gd name="connsiteX12681" fmla="*/ 2267772 w 3503192"/>
              <a:gd name="connsiteY12681" fmla="*/ 500830 h 5818346"/>
              <a:gd name="connsiteX12682" fmla="*/ 2257036 w 3503192"/>
              <a:gd name="connsiteY12682" fmla="*/ 490094 h 5818346"/>
              <a:gd name="connsiteX12683" fmla="*/ 2267772 w 3503192"/>
              <a:gd name="connsiteY12683" fmla="*/ 479357 h 5818346"/>
              <a:gd name="connsiteX12684" fmla="*/ 1566084 w 3503192"/>
              <a:gd name="connsiteY12684" fmla="*/ 475558 h 5818346"/>
              <a:gd name="connsiteX12685" fmla="*/ 1576820 w 3503192"/>
              <a:gd name="connsiteY12685" fmla="*/ 486294 h 5818346"/>
              <a:gd name="connsiteX12686" fmla="*/ 1566084 w 3503192"/>
              <a:gd name="connsiteY12686" fmla="*/ 497030 h 5818346"/>
              <a:gd name="connsiteX12687" fmla="*/ 1555347 w 3503192"/>
              <a:gd name="connsiteY12687" fmla="*/ 486294 h 5818346"/>
              <a:gd name="connsiteX12688" fmla="*/ 1566084 w 3503192"/>
              <a:gd name="connsiteY12688" fmla="*/ 475558 h 5818346"/>
              <a:gd name="connsiteX12689" fmla="*/ 1325413 w 3503192"/>
              <a:gd name="connsiteY12689" fmla="*/ 470768 h 5818346"/>
              <a:gd name="connsiteX12690" fmla="*/ 1336149 w 3503192"/>
              <a:gd name="connsiteY12690" fmla="*/ 481504 h 5818346"/>
              <a:gd name="connsiteX12691" fmla="*/ 1328883 w 3503192"/>
              <a:gd name="connsiteY12691" fmla="*/ 488772 h 5818346"/>
              <a:gd name="connsiteX12692" fmla="*/ 1333012 w 3503192"/>
              <a:gd name="connsiteY12692" fmla="*/ 492901 h 5818346"/>
              <a:gd name="connsiteX12693" fmla="*/ 1325580 w 3503192"/>
              <a:gd name="connsiteY12693" fmla="*/ 500336 h 5818346"/>
              <a:gd name="connsiteX12694" fmla="*/ 1328881 w 3503192"/>
              <a:gd name="connsiteY12694" fmla="*/ 503638 h 5818346"/>
              <a:gd name="connsiteX12695" fmla="*/ 1321201 w 3503192"/>
              <a:gd name="connsiteY12695" fmla="*/ 511318 h 5818346"/>
              <a:gd name="connsiteX12696" fmla="*/ 1323929 w 3503192"/>
              <a:gd name="connsiteY12696" fmla="*/ 514044 h 5818346"/>
              <a:gd name="connsiteX12697" fmla="*/ 1315917 w 3503192"/>
              <a:gd name="connsiteY12697" fmla="*/ 522056 h 5818346"/>
              <a:gd name="connsiteX12698" fmla="*/ 1318147 w 3503192"/>
              <a:gd name="connsiteY12698" fmla="*/ 524285 h 5818346"/>
              <a:gd name="connsiteX12699" fmla="*/ 1309804 w 3503192"/>
              <a:gd name="connsiteY12699" fmla="*/ 532628 h 5818346"/>
              <a:gd name="connsiteX12700" fmla="*/ 1311704 w 3503192"/>
              <a:gd name="connsiteY12700" fmla="*/ 534527 h 5818346"/>
              <a:gd name="connsiteX12701" fmla="*/ 1302950 w 3503192"/>
              <a:gd name="connsiteY12701" fmla="*/ 543281 h 5818346"/>
              <a:gd name="connsiteX12702" fmla="*/ 1304603 w 3503192"/>
              <a:gd name="connsiteY12702" fmla="*/ 544934 h 5818346"/>
              <a:gd name="connsiteX12703" fmla="*/ 1295186 w 3503192"/>
              <a:gd name="connsiteY12703" fmla="*/ 554350 h 5818346"/>
              <a:gd name="connsiteX12704" fmla="*/ 1297002 w 3503192"/>
              <a:gd name="connsiteY12704" fmla="*/ 556166 h 5818346"/>
              <a:gd name="connsiteX12705" fmla="*/ 1287093 w 3503192"/>
              <a:gd name="connsiteY12705" fmla="*/ 566077 h 5818346"/>
              <a:gd name="connsiteX12706" fmla="*/ 1289075 w 3503192"/>
              <a:gd name="connsiteY12706" fmla="*/ 568059 h 5818346"/>
              <a:gd name="connsiteX12707" fmla="*/ 1278420 w 3503192"/>
              <a:gd name="connsiteY12707" fmla="*/ 578714 h 5818346"/>
              <a:gd name="connsiteX12708" fmla="*/ 1280982 w 3503192"/>
              <a:gd name="connsiteY12708" fmla="*/ 581274 h 5818346"/>
              <a:gd name="connsiteX12709" fmla="*/ 1270243 w 3503192"/>
              <a:gd name="connsiteY12709" fmla="*/ 592012 h 5818346"/>
              <a:gd name="connsiteX12710" fmla="*/ 1259507 w 3503192"/>
              <a:gd name="connsiteY12710" fmla="*/ 581274 h 5818346"/>
              <a:gd name="connsiteX12711" fmla="*/ 1270160 w 3503192"/>
              <a:gd name="connsiteY12711" fmla="*/ 570621 h 5818346"/>
              <a:gd name="connsiteX12712" fmla="*/ 1267600 w 3503192"/>
              <a:gd name="connsiteY12712" fmla="*/ 568059 h 5818346"/>
              <a:gd name="connsiteX12713" fmla="*/ 1277511 w 3503192"/>
              <a:gd name="connsiteY12713" fmla="*/ 558148 h 5818346"/>
              <a:gd name="connsiteX12714" fmla="*/ 1275529 w 3503192"/>
              <a:gd name="connsiteY12714" fmla="*/ 556166 h 5818346"/>
              <a:gd name="connsiteX12715" fmla="*/ 1284946 w 3503192"/>
              <a:gd name="connsiteY12715" fmla="*/ 546751 h 5818346"/>
              <a:gd name="connsiteX12716" fmla="*/ 1283128 w 3503192"/>
              <a:gd name="connsiteY12716" fmla="*/ 544934 h 5818346"/>
              <a:gd name="connsiteX12717" fmla="*/ 1291882 w 3503192"/>
              <a:gd name="connsiteY12717" fmla="*/ 536180 h 5818346"/>
              <a:gd name="connsiteX12718" fmla="*/ 1290230 w 3503192"/>
              <a:gd name="connsiteY12718" fmla="*/ 534527 h 5818346"/>
              <a:gd name="connsiteX12719" fmla="*/ 1298571 w 3503192"/>
              <a:gd name="connsiteY12719" fmla="*/ 526185 h 5818346"/>
              <a:gd name="connsiteX12720" fmla="*/ 1296672 w 3503192"/>
              <a:gd name="connsiteY12720" fmla="*/ 524285 h 5818346"/>
              <a:gd name="connsiteX12721" fmla="*/ 1304683 w 3503192"/>
              <a:gd name="connsiteY12721" fmla="*/ 516275 h 5818346"/>
              <a:gd name="connsiteX12722" fmla="*/ 1302454 w 3503192"/>
              <a:gd name="connsiteY12722" fmla="*/ 514044 h 5818346"/>
              <a:gd name="connsiteX12723" fmla="*/ 1310135 w 3503192"/>
              <a:gd name="connsiteY12723" fmla="*/ 506364 h 5818346"/>
              <a:gd name="connsiteX12724" fmla="*/ 1307409 w 3503192"/>
              <a:gd name="connsiteY12724" fmla="*/ 503638 h 5818346"/>
              <a:gd name="connsiteX12725" fmla="*/ 1314843 w 3503192"/>
              <a:gd name="connsiteY12725" fmla="*/ 496205 h 5818346"/>
              <a:gd name="connsiteX12726" fmla="*/ 1311540 w 3503192"/>
              <a:gd name="connsiteY12726" fmla="*/ 492901 h 5818346"/>
              <a:gd name="connsiteX12727" fmla="*/ 1318808 w 3503192"/>
              <a:gd name="connsiteY12727" fmla="*/ 485635 h 5818346"/>
              <a:gd name="connsiteX12728" fmla="*/ 1314677 w 3503192"/>
              <a:gd name="connsiteY12728" fmla="*/ 481504 h 5818346"/>
              <a:gd name="connsiteX12729" fmla="*/ 1325413 w 3503192"/>
              <a:gd name="connsiteY12729" fmla="*/ 470768 h 5818346"/>
              <a:gd name="connsiteX12730" fmla="*/ 3444855 w 3503192"/>
              <a:gd name="connsiteY12730" fmla="*/ 469776 h 5818346"/>
              <a:gd name="connsiteX12731" fmla="*/ 3455593 w 3503192"/>
              <a:gd name="connsiteY12731" fmla="*/ 480512 h 5818346"/>
              <a:gd name="connsiteX12732" fmla="*/ 3444855 w 3503192"/>
              <a:gd name="connsiteY12732" fmla="*/ 491249 h 5818346"/>
              <a:gd name="connsiteX12733" fmla="*/ 3434118 w 3503192"/>
              <a:gd name="connsiteY12733" fmla="*/ 480512 h 5818346"/>
              <a:gd name="connsiteX12734" fmla="*/ 3444855 w 3503192"/>
              <a:gd name="connsiteY12734" fmla="*/ 469776 h 5818346"/>
              <a:gd name="connsiteX12735" fmla="*/ 1327562 w 3503192"/>
              <a:gd name="connsiteY12735" fmla="*/ 468786 h 5818346"/>
              <a:gd name="connsiteX12736" fmla="*/ 1328058 w 3503192"/>
              <a:gd name="connsiteY12736" fmla="*/ 469282 h 5818346"/>
              <a:gd name="connsiteX12737" fmla="*/ 1327562 w 3503192"/>
              <a:gd name="connsiteY12737" fmla="*/ 469778 h 5818346"/>
              <a:gd name="connsiteX12738" fmla="*/ 1327066 w 3503192"/>
              <a:gd name="connsiteY12738" fmla="*/ 469282 h 5818346"/>
              <a:gd name="connsiteX12739" fmla="*/ 1327562 w 3503192"/>
              <a:gd name="connsiteY12739" fmla="*/ 468786 h 5818346"/>
              <a:gd name="connsiteX12740" fmla="*/ 2410655 w 3503192"/>
              <a:gd name="connsiteY12740" fmla="*/ 459865 h 5818346"/>
              <a:gd name="connsiteX12741" fmla="*/ 2421393 w 3503192"/>
              <a:gd name="connsiteY12741" fmla="*/ 470601 h 5818346"/>
              <a:gd name="connsiteX12742" fmla="*/ 2410655 w 3503192"/>
              <a:gd name="connsiteY12742" fmla="*/ 481338 h 5818346"/>
              <a:gd name="connsiteX12743" fmla="*/ 2399919 w 3503192"/>
              <a:gd name="connsiteY12743" fmla="*/ 470601 h 5818346"/>
              <a:gd name="connsiteX12744" fmla="*/ 2410655 w 3503192"/>
              <a:gd name="connsiteY12744" fmla="*/ 459865 h 5818346"/>
              <a:gd name="connsiteX12745" fmla="*/ 1670972 w 3503192"/>
              <a:gd name="connsiteY12745" fmla="*/ 459865 h 5818346"/>
              <a:gd name="connsiteX12746" fmla="*/ 1681709 w 3503192"/>
              <a:gd name="connsiteY12746" fmla="*/ 470601 h 5818346"/>
              <a:gd name="connsiteX12747" fmla="*/ 1670972 w 3503192"/>
              <a:gd name="connsiteY12747" fmla="*/ 481338 h 5818346"/>
              <a:gd name="connsiteX12748" fmla="*/ 1660236 w 3503192"/>
              <a:gd name="connsiteY12748" fmla="*/ 470601 h 5818346"/>
              <a:gd name="connsiteX12749" fmla="*/ 1670972 w 3503192"/>
              <a:gd name="connsiteY12749" fmla="*/ 459865 h 5818346"/>
              <a:gd name="connsiteX12750" fmla="*/ 2088717 w 3503192"/>
              <a:gd name="connsiteY12750" fmla="*/ 457883 h 5818346"/>
              <a:gd name="connsiteX12751" fmla="*/ 2099454 w 3503192"/>
              <a:gd name="connsiteY12751" fmla="*/ 468619 h 5818346"/>
              <a:gd name="connsiteX12752" fmla="*/ 2088717 w 3503192"/>
              <a:gd name="connsiteY12752" fmla="*/ 479357 h 5818346"/>
              <a:gd name="connsiteX12753" fmla="*/ 2077981 w 3503192"/>
              <a:gd name="connsiteY12753" fmla="*/ 468619 h 5818346"/>
              <a:gd name="connsiteX12754" fmla="*/ 2088717 w 3503192"/>
              <a:gd name="connsiteY12754" fmla="*/ 457883 h 5818346"/>
              <a:gd name="connsiteX12755" fmla="*/ 3300321 w 3503192"/>
              <a:gd name="connsiteY12755" fmla="*/ 452432 h 5818346"/>
              <a:gd name="connsiteX12756" fmla="*/ 3311059 w 3503192"/>
              <a:gd name="connsiteY12756" fmla="*/ 463169 h 5818346"/>
              <a:gd name="connsiteX12757" fmla="*/ 3300321 w 3503192"/>
              <a:gd name="connsiteY12757" fmla="*/ 473907 h 5818346"/>
              <a:gd name="connsiteX12758" fmla="*/ 3289584 w 3503192"/>
              <a:gd name="connsiteY12758" fmla="*/ 463169 h 5818346"/>
              <a:gd name="connsiteX12759" fmla="*/ 3300321 w 3503192"/>
              <a:gd name="connsiteY12759" fmla="*/ 452432 h 5818346"/>
              <a:gd name="connsiteX12760" fmla="*/ 1791720 w 3503192"/>
              <a:gd name="connsiteY12760" fmla="*/ 450285 h 5818346"/>
              <a:gd name="connsiteX12761" fmla="*/ 1802458 w 3503192"/>
              <a:gd name="connsiteY12761" fmla="*/ 461022 h 5818346"/>
              <a:gd name="connsiteX12762" fmla="*/ 1791720 w 3503192"/>
              <a:gd name="connsiteY12762" fmla="*/ 471758 h 5818346"/>
              <a:gd name="connsiteX12763" fmla="*/ 1780984 w 3503192"/>
              <a:gd name="connsiteY12763" fmla="*/ 461022 h 5818346"/>
              <a:gd name="connsiteX12764" fmla="*/ 1791720 w 3503192"/>
              <a:gd name="connsiteY12764" fmla="*/ 450285 h 5818346"/>
              <a:gd name="connsiteX12765" fmla="*/ 1930473 w 3503192"/>
              <a:gd name="connsiteY12765" fmla="*/ 448964 h 5818346"/>
              <a:gd name="connsiteX12766" fmla="*/ 1941209 w 3503192"/>
              <a:gd name="connsiteY12766" fmla="*/ 459700 h 5818346"/>
              <a:gd name="connsiteX12767" fmla="*/ 1930473 w 3503192"/>
              <a:gd name="connsiteY12767" fmla="*/ 470436 h 5818346"/>
              <a:gd name="connsiteX12768" fmla="*/ 1919736 w 3503192"/>
              <a:gd name="connsiteY12768" fmla="*/ 459700 h 5818346"/>
              <a:gd name="connsiteX12769" fmla="*/ 1930473 w 3503192"/>
              <a:gd name="connsiteY12769" fmla="*/ 448964 h 5818346"/>
              <a:gd name="connsiteX12770" fmla="*/ 2556840 w 3503192"/>
              <a:gd name="connsiteY12770" fmla="*/ 445164 h 5818346"/>
              <a:gd name="connsiteX12771" fmla="*/ 2567578 w 3503192"/>
              <a:gd name="connsiteY12771" fmla="*/ 455901 h 5818346"/>
              <a:gd name="connsiteX12772" fmla="*/ 2556840 w 3503192"/>
              <a:gd name="connsiteY12772" fmla="*/ 466637 h 5818346"/>
              <a:gd name="connsiteX12773" fmla="*/ 2546104 w 3503192"/>
              <a:gd name="connsiteY12773" fmla="*/ 455901 h 5818346"/>
              <a:gd name="connsiteX12774" fmla="*/ 2556840 w 3503192"/>
              <a:gd name="connsiteY12774" fmla="*/ 445164 h 5818346"/>
              <a:gd name="connsiteX12775" fmla="*/ 3153146 w 3503192"/>
              <a:gd name="connsiteY12775" fmla="*/ 440208 h 5818346"/>
              <a:gd name="connsiteX12776" fmla="*/ 3163882 w 3503192"/>
              <a:gd name="connsiteY12776" fmla="*/ 450944 h 5818346"/>
              <a:gd name="connsiteX12777" fmla="*/ 3153146 w 3503192"/>
              <a:gd name="connsiteY12777" fmla="*/ 461682 h 5818346"/>
              <a:gd name="connsiteX12778" fmla="*/ 3142409 w 3503192"/>
              <a:gd name="connsiteY12778" fmla="*/ 450944 h 5818346"/>
              <a:gd name="connsiteX12779" fmla="*/ 3153146 w 3503192"/>
              <a:gd name="connsiteY12779" fmla="*/ 440208 h 5818346"/>
              <a:gd name="connsiteX12780" fmla="*/ 1659575 w 3503192"/>
              <a:gd name="connsiteY12780" fmla="*/ 437071 h 5818346"/>
              <a:gd name="connsiteX12781" fmla="*/ 1670313 w 3503192"/>
              <a:gd name="connsiteY12781" fmla="*/ 447807 h 5818346"/>
              <a:gd name="connsiteX12782" fmla="*/ 1659575 w 3503192"/>
              <a:gd name="connsiteY12782" fmla="*/ 458543 h 5818346"/>
              <a:gd name="connsiteX12783" fmla="*/ 1648839 w 3503192"/>
              <a:gd name="connsiteY12783" fmla="*/ 447807 h 5818346"/>
              <a:gd name="connsiteX12784" fmla="*/ 1659575 w 3503192"/>
              <a:gd name="connsiteY12784" fmla="*/ 437071 h 5818346"/>
              <a:gd name="connsiteX12785" fmla="*/ 2705007 w 3503192"/>
              <a:gd name="connsiteY12785" fmla="*/ 435749 h 5818346"/>
              <a:gd name="connsiteX12786" fmla="*/ 2715746 w 3503192"/>
              <a:gd name="connsiteY12786" fmla="*/ 446486 h 5818346"/>
              <a:gd name="connsiteX12787" fmla="*/ 2705007 w 3503192"/>
              <a:gd name="connsiteY12787" fmla="*/ 457222 h 5818346"/>
              <a:gd name="connsiteX12788" fmla="*/ 2694271 w 3503192"/>
              <a:gd name="connsiteY12788" fmla="*/ 446486 h 5818346"/>
              <a:gd name="connsiteX12789" fmla="*/ 2705007 w 3503192"/>
              <a:gd name="connsiteY12789" fmla="*/ 435749 h 5818346"/>
              <a:gd name="connsiteX12790" fmla="*/ 1379594 w 3503192"/>
              <a:gd name="connsiteY12790" fmla="*/ 435749 h 5818346"/>
              <a:gd name="connsiteX12791" fmla="*/ 1385870 w 3503192"/>
              <a:gd name="connsiteY12791" fmla="*/ 442027 h 5818346"/>
              <a:gd name="connsiteX12792" fmla="*/ 1381906 w 3503192"/>
              <a:gd name="connsiteY12792" fmla="*/ 445991 h 5818346"/>
              <a:gd name="connsiteX12793" fmla="*/ 1388844 w 3503192"/>
              <a:gd name="connsiteY12793" fmla="*/ 452928 h 5818346"/>
              <a:gd name="connsiteX12794" fmla="*/ 1382650 w 3503192"/>
              <a:gd name="connsiteY12794" fmla="*/ 459123 h 5818346"/>
              <a:gd name="connsiteX12795" fmla="*/ 1386531 w 3503192"/>
              <a:gd name="connsiteY12795" fmla="*/ 463004 h 5818346"/>
              <a:gd name="connsiteX12796" fmla="*/ 1380255 w 3503192"/>
              <a:gd name="connsiteY12796" fmla="*/ 469280 h 5818346"/>
              <a:gd name="connsiteX12797" fmla="*/ 1383394 w 3503192"/>
              <a:gd name="connsiteY12797" fmla="*/ 472419 h 5818346"/>
              <a:gd name="connsiteX12798" fmla="*/ 1376950 w 3503192"/>
              <a:gd name="connsiteY12798" fmla="*/ 478861 h 5818346"/>
              <a:gd name="connsiteX12799" fmla="*/ 1379592 w 3503192"/>
              <a:gd name="connsiteY12799" fmla="*/ 481504 h 5818346"/>
              <a:gd name="connsiteX12800" fmla="*/ 1372904 w 3503192"/>
              <a:gd name="connsiteY12800" fmla="*/ 488195 h 5818346"/>
              <a:gd name="connsiteX12801" fmla="*/ 1374968 w 3503192"/>
              <a:gd name="connsiteY12801" fmla="*/ 490258 h 5818346"/>
              <a:gd name="connsiteX12802" fmla="*/ 1367864 w 3503192"/>
              <a:gd name="connsiteY12802" fmla="*/ 497362 h 5818346"/>
              <a:gd name="connsiteX12803" fmla="*/ 1369848 w 3503192"/>
              <a:gd name="connsiteY12803" fmla="*/ 499344 h 5818346"/>
              <a:gd name="connsiteX12804" fmla="*/ 1362415 w 3503192"/>
              <a:gd name="connsiteY12804" fmla="*/ 506778 h 5818346"/>
              <a:gd name="connsiteX12805" fmla="*/ 1364231 w 3503192"/>
              <a:gd name="connsiteY12805" fmla="*/ 508594 h 5818346"/>
              <a:gd name="connsiteX12806" fmla="*/ 1356304 w 3503192"/>
              <a:gd name="connsiteY12806" fmla="*/ 516523 h 5818346"/>
              <a:gd name="connsiteX12807" fmla="*/ 1358286 w 3503192"/>
              <a:gd name="connsiteY12807" fmla="*/ 518505 h 5818346"/>
              <a:gd name="connsiteX12808" fmla="*/ 1349778 w 3503192"/>
              <a:gd name="connsiteY12808" fmla="*/ 527011 h 5818346"/>
              <a:gd name="connsiteX12809" fmla="*/ 1352173 w 3503192"/>
              <a:gd name="connsiteY12809" fmla="*/ 529406 h 5818346"/>
              <a:gd name="connsiteX12810" fmla="*/ 1343088 w 3503192"/>
              <a:gd name="connsiteY12810" fmla="*/ 538491 h 5818346"/>
              <a:gd name="connsiteX12811" fmla="*/ 1346060 w 3503192"/>
              <a:gd name="connsiteY12811" fmla="*/ 541464 h 5818346"/>
              <a:gd name="connsiteX12812" fmla="*/ 1336068 w 3503192"/>
              <a:gd name="connsiteY12812" fmla="*/ 551456 h 5818346"/>
              <a:gd name="connsiteX12813" fmla="*/ 1339951 w 3503192"/>
              <a:gd name="connsiteY12813" fmla="*/ 555339 h 5818346"/>
              <a:gd name="connsiteX12814" fmla="*/ 1329213 w 3503192"/>
              <a:gd name="connsiteY12814" fmla="*/ 566075 h 5818346"/>
              <a:gd name="connsiteX12815" fmla="*/ 1318476 w 3503192"/>
              <a:gd name="connsiteY12815" fmla="*/ 555339 h 5818346"/>
              <a:gd name="connsiteX12816" fmla="*/ 1328470 w 3503192"/>
              <a:gd name="connsiteY12816" fmla="*/ 545347 h 5818346"/>
              <a:gd name="connsiteX12817" fmla="*/ 1324588 w 3503192"/>
              <a:gd name="connsiteY12817" fmla="*/ 541464 h 5818346"/>
              <a:gd name="connsiteX12818" fmla="*/ 1333673 w 3503192"/>
              <a:gd name="connsiteY12818" fmla="*/ 532380 h 5818346"/>
              <a:gd name="connsiteX12819" fmla="*/ 1330699 w 3503192"/>
              <a:gd name="connsiteY12819" fmla="*/ 529406 h 5818346"/>
              <a:gd name="connsiteX12820" fmla="*/ 1339207 w 3503192"/>
              <a:gd name="connsiteY12820" fmla="*/ 520900 h 5818346"/>
              <a:gd name="connsiteX12821" fmla="*/ 1336812 w 3503192"/>
              <a:gd name="connsiteY12821" fmla="*/ 518505 h 5818346"/>
              <a:gd name="connsiteX12822" fmla="*/ 1344740 w 3503192"/>
              <a:gd name="connsiteY12822" fmla="*/ 510576 h 5818346"/>
              <a:gd name="connsiteX12823" fmla="*/ 1342758 w 3503192"/>
              <a:gd name="connsiteY12823" fmla="*/ 508594 h 5818346"/>
              <a:gd name="connsiteX12824" fmla="*/ 1350191 w 3503192"/>
              <a:gd name="connsiteY12824" fmla="*/ 501161 h 5818346"/>
              <a:gd name="connsiteX12825" fmla="*/ 1348374 w 3503192"/>
              <a:gd name="connsiteY12825" fmla="*/ 499344 h 5818346"/>
              <a:gd name="connsiteX12826" fmla="*/ 1355477 w 3503192"/>
              <a:gd name="connsiteY12826" fmla="*/ 492241 h 5818346"/>
              <a:gd name="connsiteX12827" fmla="*/ 1353495 w 3503192"/>
              <a:gd name="connsiteY12827" fmla="*/ 490258 h 5818346"/>
              <a:gd name="connsiteX12828" fmla="*/ 1360184 w 3503192"/>
              <a:gd name="connsiteY12828" fmla="*/ 483570 h 5818346"/>
              <a:gd name="connsiteX12829" fmla="*/ 1358120 w 3503192"/>
              <a:gd name="connsiteY12829" fmla="*/ 481504 h 5818346"/>
              <a:gd name="connsiteX12830" fmla="*/ 1364562 w 3503192"/>
              <a:gd name="connsiteY12830" fmla="*/ 475062 h 5818346"/>
              <a:gd name="connsiteX12831" fmla="*/ 1361919 w 3503192"/>
              <a:gd name="connsiteY12831" fmla="*/ 472419 h 5818346"/>
              <a:gd name="connsiteX12832" fmla="*/ 1368196 w 3503192"/>
              <a:gd name="connsiteY12832" fmla="*/ 466143 h 5818346"/>
              <a:gd name="connsiteX12833" fmla="*/ 1365056 w 3503192"/>
              <a:gd name="connsiteY12833" fmla="*/ 463004 h 5818346"/>
              <a:gd name="connsiteX12834" fmla="*/ 1371251 w 3503192"/>
              <a:gd name="connsiteY12834" fmla="*/ 456809 h 5818346"/>
              <a:gd name="connsiteX12835" fmla="*/ 1367370 w 3503192"/>
              <a:gd name="connsiteY12835" fmla="*/ 452928 h 5818346"/>
              <a:gd name="connsiteX12836" fmla="*/ 1375795 w 3503192"/>
              <a:gd name="connsiteY12836" fmla="*/ 444504 h 5818346"/>
              <a:gd name="connsiteX12837" fmla="*/ 1373316 w 3503192"/>
              <a:gd name="connsiteY12837" fmla="*/ 442027 h 5818346"/>
              <a:gd name="connsiteX12838" fmla="*/ 1379594 w 3503192"/>
              <a:gd name="connsiteY12838" fmla="*/ 435749 h 5818346"/>
              <a:gd name="connsiteX12839" fmla="*/ 3004151 w 3503192"/>
              <a:gd name="connsiteY12839" fmla="*/ 433271 h 5818346"/>
              <a:gd name="connsiteX12840" fmla="*/ 3014889 w 3503192"/>
              <a:gd name="connsiteY12840" fmla="*/ 444008 h 5818346"/>
              <a:gd name="connsiteX12841" fmla="*/ 3004151 w 3503192"/>
              <a:gd name="connsiteY12841" fmla="*/ 454746 h 5818346"/>
              <a:gd name="connsiteX12842" fmla="*/ 2993415 w 3503192"/>
              <a:gd name="connsiteY12842" fmla="*/ 444008 h 5818346"/>
              <a:gd name="connsiteX12843" fmla="*/ 3004151 w 3503192"/>
              <a:gd name="connsiteY12843" fmla="*/ 433271 h 5818346"/>
              <a:gd name="connsiteX12844" fmla="*/ 2221356 w 3503192"/>
              <a:gd name="connsiteY12844" fmla="*/ 432446 h 5818346"/>
              <a:gd name="connsiteX12845" fmla="*/ 2232094 w 3503192"/>
              <a:gd name="connsiteY12845" fmla="*/ 443182 h 5818346"/>
              <a:gd name="connsiteX12846" fmla="*/ 2221356 w 3503192"/>
              <a:gd name="connsiteY12846" fmla="*/ 453918 h 5818346"/>
              <a:gd name="connsiteX12847" fmla="*/ 2210620 w 3503192"/>
              <a:gd name="connsiteY12847" fmla="*/ 443182 h 5818346"/>
              <a:gd name="connsiteX12848" fmla="*/ 2221356 w 3503192"/>
              <a:gd name="connsiteY12848" fmla="*/ 432446 h 5818346"/>
              <a:gd name="connsiteX12849" fmla="*/ 2854498 w 3503192"/>
              <a:gd name="connsiteY12849" fmla="*/ 431785 h 5818346"/>
              <a:gd name="connsiteX12850" fmla="*/ 2865236 w 3503192"/>
              <a:gd name="connsiteY12850" fmla="*/ 442521 h 5818346"/>
              <a:gd name="connsiteX12851" fmla="*/ 2854498 w 3503192"/>
              <a:gd name="connsiteY12851" fmla="*/ 453259 h 5818346"/>
              <a:gd name="connsiteX12852" fmla="*/ 2843761 w 3503192"/>
              <a:gd name="connsiteY12852" fmla="*/ 442521 h 5818346"/>
              <a:gd name="connsiteX12853" fmla="*/ 2854498 w 3503192"/>
              <a:gd name="connsiteY12853" fmla="*/ 431785 h 5818346"/>
              <a:gd name="connsiteX12854" fmla="*/ 1773385 w 3503192"/>
              <a:gd name="connsiteY12854" fmla="*/ 423196 h 5818346"/>
              <a:gd name="connsiteX12855" fmla="*/ 1784123 w 3503192"/>
              <a:gd name="connsiteY12855" fmla="*/ 433932 h 5818346"/>
              <a:gd name="connsiteX12856" fmla="*/ 1773385 w 3503192"/>
              <a:gd name="connsiteY12856" fmla="*/ 444668 h 5818346"/>
              <a:gd name="connsiteX12857" fmla="*/ 1762648 w 3503192"/>
              <a:gd name="connsiteY12857" fmla="*/ 433932 h 5818346"/>
              <a:gd name="connsiteX12858" fmla="*/ 1773385 w 3503192"/>
              <a:gd name="connsiteY12858" fmla="*/ 423196 h 5818346"/>
              <a:gd name="connsiteX12859" fmla="*/ 3494244 w 3503192"/>
              <a:gd name="connsiteY12859" fmla="*/ 422039 h 5818346"/>
              <a:gd name="connsiteX12860" fmla="*/ 3503192 w 3503192"/>
              <a:gd name="connsiteY12860" fmla="*/ 430985 h 5818346"/>
              <a:gd name="connsiteX12861" fmla="*/ 3503192 w 3503192"/>
              <a:gd name="connsiteY12861" fmla="*/ 434565 h 5818346"/>
              <a:gd name="connsiteX12862" fmla="*/ 3494244 w 3503192"/>
              <a:gd name="connsiteY12862" fmla="*/ 443512 h 5818346"/>
              <a:gd name="connsiteX12863" fmla="*/ 3483508 w 3503192"/>
              <a:gd name="connsiteY12863" fmla="*/ 432775 h 5818346"/>
              <a:gd name="connsiteX12864" fmla="*/ 3494244 w 3503192"/>
              <a:gd name="connsiteY12864" fmla="*/ 422039 h 5818346"/>
              <a:gd name="connsiteX12865" fmla="*/ 2052872 w 3503192"/>
              <a:gd name="connsiteY12865" fmla="*/ 418900 h 5818346"/>
              <a:gd name="connsiteX12866" fmla="*/ 2063610 w 3503192"/>
              <a:gd name="connsiteY12866" fmla="*/ 429636 h 5818346"/>
              <a:gd name="connsiteX12867" fmla="*/ 2052872 w 3503192"/>
              <a:gd name="connsiteY12867" fmla="*/ 440373 h 5818346"/>
              <a:gd name="connsiteX12868" fmla="*/ 2042135 w 3503192"/>
              <a:gd name="connsiteY12868" fmla="*/ 429636 h 5818346"/>
              <a:gd name="connsiteX12869" fmla="*/ 2052872 w 3503192"/>
              <a:gd name="connsiteY12869" fmla="*/ 418900 h 5818346"/>
              <a:gd name="connsiteX12870" fmla="*/ 1650160 w 3503192"/>
              <a:gd name="connsiteY12870" fmla="*/ 418074 h 5818346"/>
              <a:gd name="connsiteX12871" fmla="*/ 1660898 w 3503192"/>
              <a:gd name="connsiteY12871" fmla="*/ 428811 h 5818346"/>
              <a:gd name="connsiteX12872" fmla="*/ 1650160 w 3503192"/>
              <a:gd name="connsiteY12872" fmla="*/ 439549 h 5818346"/>
              <a:gd name="connsiteX12873" fmla="*/ 1639424 w 3503192"/>
              <a:gd name="connsiteY12873" fmla="*/ 428811 h 5818346"/>
              <a:gd name="connsiteX12874" fmla="*/ 1650160 w 3503192"/>
              <a:gd name="connsiteY12874" fmla="*/ 418074 h 5818346"/>
              <a:gd name="connsiteX12875" fmla="*/ 1904044 w 3503192"/>
              <a:gd name="connsiteY12875" fmla="*/ 416424 h 5818346"/>
              <a:gd name="connsiteX12876" fmla="*/ 1914780 w 3503192"/>
              <a:gd name="connsiteY12876" fmla="*/ 427160 h 5818346"/>
              <a:gd name="connsiteX12877" fmla="*/ 1904044 w 3503192"/>
              <a:gd name="connsiteY12877" fmla="*/ 437896 h 5818346"/>
              <a:gd name="connsiteX12878" fmla="*/ 1893307 w 3503192"/>
              <a:gd name="connsiteY12878" fmla="*/ 427160 h 5818346"/>
              <a:gd name="connsiteX12879" fmla="*/ 1904044 w 3503192"/>
              <a:gd name="connsiteY12879" fmla="*/ 416424 h 5818346"/>
              <a:gd name="connsiteX12880" fmla="*/ 2357962 w 3503192"/>
              <a:gd name="connsiteY12880" fmla="*/ 411303 h 5818346"/>
              <a:gd name="connsiteX12881" fmla="*/ 2368698 w 3503192"/>
              <a:gd name="connsiteY12881" fmla="*/ 422039 h 5818346"/>
              <a:gd name="connsiteX12882" fmla="*/ 2357962 w 3503192"/>
              <a:gd name="connsiteY12882" fmla="*/ 432777 h 5818346"/>
              <a:gd name="connsiteX12883" fmla="*/ 2347226 w 3503192"/>
              <a:gd name="connsiteY12883" fmla="*/ 422039 h 5818346"/>
              <a:gd name="connsiteX12884" fmla="*/ 2357962 w 3503192"/>
              <a:gd name="connsiteY12884" fmla="*/ 411303 h 5818346"/>
              <a:gd name="connsiteX12885" fmla="*/ 1432782 w 3503192"/>
              <a:gd name="connsiteY12885" fmla="*/ 403703 h 5818346"/>
              <a:gd name="connsiteX12886" fmla="*/ 1433030 w 3503192"/>
              <a:gd name="connsiteY12886" fmla="*/ 403951 h 5818346"/>
              <a:gd name="connsiteX12887" fmla="*/ 1433111 w 3503192"/>
              <a:gd name="connsiteY12887" fmla="*/ 403870 h 5818346"/>
              <a:gd name="connsiteX12888" fmla="*/ 1443849 w 3503192"/>
              <a:gd name="connsiteY12888" fmla="*/ 414606 h 5818346"/>
              <a:gd name="connsiteX12889" fmla="*/ 1438647 w 3503192"/>
              <a:gd name="connsiteY12889" fmla="*/ 419809 h 5818346"/>
              <a:gd name="connsiteX12890" fmla="*/ 1443189 w 3503192"/>
              <a:gd name="connsiteY12890" fmla="*/ 424351 h 5818346"/>
              <a:gd name="connsiteX12891" fmla="*/ 1438151 w 3503192"/>
              <a:gd name="connsiteY12891" fmla="*/ 429388 h 5818346"/>
              <a:gd name="connsiteX12892" fmla="*/ 1441867 w 3503192"/>
              <a:gd name="connsiteY12892" fmla="*/ 433105 h 5818346"/>
              <a:gd name="connsiteX12893" fmla="*/ 1436828 w 3503192"/>
              <a:gd name="connsiteY12893" fmla="*/ 438144 h 5818346"/>
              <a:gd name="connsiteX12894" fmla="*/ 1439883 w 3503192"/>
              <a:gd name="connsiteY12894" fmla="*/ 441200 h 5818346"/>
              <a:gd name="connsiteX12895" fmla="*/ 1434681 w 3503192"/>
              <a:gd name="connsiteY12895" fmla="*/ 446402 h 5818346"/>
              <a:gd name="connsiteX12896" fmla="*/ 1437242 w 3503192"/>
              <a:gd name="connsiteY12896" fmla="*/ 448964 h 5818346"/>
              <a:gd name="connsiteX12897" fmla="*/ 1431792 w 3503192"/>
              <a:gd name="connsiteY12897" fmla="*/ 454414 h 5818346"/>
              <a:gd name="connsiteX12898" fmla="*/ 1434103 w 3503192"/>
              <a:gd name="connsiteY12898" fmla="*/ 456726 h 5818346"/>
              <a:gd name="connsiteX12899" fmla="*/ 1428486 w 3503192"/>
              <a:gd name="connsiteY12899" fmla="*/ 462343 h 5818346"/>
              <a:gd name="connsiteX12900" fmla="*/ 1430468 w 3503192"/>
              <a:gd name="connsiteY12900" fmla="*/ 464325 h 5818346"/>
              <a:gd name="connsiteX12901" fmla="*/ 1424440 w 3503192"/>
              <a:gd name="connsiteY12901" fmla="*/ 470353 h 5818346"/>
              <a:gd name="connsiteX12902" fmla="*/ 1426670 w 3503192"/>
              <a:gd name="connsiteY12902" fmla="*/ 472584 h 5818346"/>
              <a:gd name="connsiteX12903" fmla="*/ 1420228 w 3503192"/>
              <a:gd name="connsiteY12903" fmla="*/ 479024 h 5818346"/>
              <a:gd name="connsiteX12904" fmla="*/ 1422541 w 3503192"/>
              <a:gd name="connsiteY12904" fmla="*/ 481338 h 5818346"/>
              <a:gd name="connsiteX12905" fmla="*/ 1415686 w 3503192"/>
              <a:gd name="connsiteY12905" fmla="*/ 488195 h 5818346"/>
              <a:gd name="connsiteX12906" fmla="*/ 1418575 w 3503192"/>
              <a:gd name="connsiteY12906" fmla="*/ 491084 h 5818346"/>
              <a:gd name="connsiteX12907" fmla="*/ 1411061 w 3503192"/>
              <a:gd name="connsiteY12907" fmla="*/ 498600 h 5818346"/>
              <a:gd name="connsiteX12908" fmla="*/ 1414613 w 3503192"/>
              <a:gd name="connsiteY12908" fmla="*/ 502151 h 5818346"/>
              <a:gd name="connsiteX12909" fmla="*/ 1406353 w 3503192"/>
              <a:gd name="connsiteY12909" fmla="*/ 510411 h 5818346"/>
              <a:gd name="connsiteX12910" fmla="*/ 1410978 w 3503192"/>
              <a:gd name="connsiteY12910" fmla="*/ 515036 h 5818346"/>
              <a:gd name="connsiteX12911" fmla="*/ 1401894 w 3503192"/>
              <a:gd name="connsiteY12911" fmla="*/ 524120 h 5818346"/>
              <a:gd name="connsiteX12912" fmla="*/ 1407841 w 3503192"/>
              <a:gd name="connsiteY12912" fmla="*/ 530067 h 5818346"/>
              <a:gd name="connsiteX12913" fmla="*/ 1397763 w 3503192"/>
              <a:gd name="connsiteY12913" fmla="*/ 540144 h 5818346"/>
              <a:gd name="connsiteX12914" fmla="*/ 1405198 w 3503192"/>
              <a:gd name="connsiteY12914" fmla="*/ 547577 h 5818346"/>
              <a:gd name="connsiteX12915" fmla="*/ 1394460 w 3503192"/>
              <a:gd name="connsiteY12915" fmla="*/ 558313 h 5818346"/>
              <a:gd name="connsiteX12916" fmla="*/ 1383723 w 3503192"/>
              <a:gd name="connsiteY12916" fmla="*/ 547577 h 5818346"/>
              <a:gd name="connsiteX12917" fmla="*/ 1393801 w 3503192"/>
              <a:gd name="connsiteY12917" fmla="*/ 537501 h 5818346"/>
              <a:gd name="connsiteX12918" fmla="*/ 1386366 w 3503192"/>
              <a:gd name="connsiteY12918" fmla="*/ 530067 h 5818346"/>
              <a:gd name="connsiteX12919" fmla="*/ 1395452 w 3503192"/>
              <a:gd name="connsiteY12919" fmla="*/ 520983 h 5818346"/>
              <a:gd name="connsiteX12920" fmla="*/ 1389505 w 3503192"/>
              <a:gd name="connsiteY12920" fmla="*/ 515036 h 5818346"/>
              <a:gd name="connsiteX12921" fmla="*/ 1397763 w 3503192"/>
              <a:gd name="connsiteY12921" fmla="*/ 506778 h 5818346"/>
              <a:gd name="connsiteX12922" fmla="*/ 1393138 w 3503192"/>
              <a:gd name="connsiteY12922" fmla="*/ 502151 h 5818346"/>
              <a:gd name="connsiteX12923" fmla="*/ 1400654 w 3503192"/>
              <a:gd name="connsiteY12923" fmla="*/ 494635 h 5818346"/>
              <a:gd name="connsiteX12924" fmla="*/ 1397103 w 3503192"/>
              <a:gd name="connsiteY12924" fmla="*/ 491084 h 5818346"/>
              <a:gd name="connsiteX12925" fmla="*/ 1403958 w 3503192"/>
              <a:gd name="connsiteY12925" fmla="*/ 484229 h 5818346"/>
              <a:gd name="connsiteX12926" fmla="*/ 1401067 w 3503192"/>
              <a:gd name="connsiteY12926" fmla="*/ 481338 h 5818346"/>
              <a:gd name="connsiteX12927" fmla="*/ 1407510 w 3503192"/>
              <a:gd name="connsiteY12927" fmla="*/ 474897 h 5818346"/>
              <a:gd name="connsiteX12928" fmla="*/ 1405196 w 3503192"/>
              <a:gd name="connsiteY12928" fmla="*/ 472584 h 5818346"/>
              <a:gd name="connsiteX12929" fmla="*/ 1411226 w 3503192"/>
              <a:gd name="connsiteY12929" fmla="*/ 466555 h 5818346"/>
              <a:gd name="connsiteX12930" fmla="*/ 1408996 w 3503192"/>
              <a:gd name="connsiteY12930" fmla="*/ 464325 h 5818346"/>
              <a:gd name="connsiteX12931" fmla="*/ 1414611 w 3503192"/>
              <a:gd name="connsiteY12931" fmla="*/ 458710 h 5818346"/>
              <a:gd name="connsiteX12932" fmla="*/ 1412629 w 3503192"/>
              <a:gd name="connsiteY12932" fmla="*/ 456726 h 5818346"/>
              <a:gd name="connsiteX12933" fmla="*/ 1418079 w 3503192"/>
              <a:gd name="connsiteY12933" fmla="*/ 451275 h 5818346"/>
              <a:gd name="connsiteX12934" fmla="*/ 1415768 w 3503192"/>
              <a:gd name="connsiteY12934" fmla="*/ 448964 h 5818346"/>
              <a:gd name="connsiteX12935" fmla="*/ 1420970 w 3503192"/>
              <a:gd name="connsiteY12935" fmla="*/ 443761 h 5818346"/>
              <a:gd name="connsiteX12936" fmla="*/ 1418410 w 3503192"/>
              <a:gd name="connsiteY12936" fmla="*/ 441200 h 5818346"/>
              <a:gd name="connsiteX12937" fmla="*/ 1423448 w 3503192"/>
              <a:gd name="connsiteY12937" fmla="*/ 436162 h 5818346"/>
              <a:gd name="connsiteX12938" fmla="*/ 1420393 w 3503192"/>
              <a:gd name="connsiteY12938" fmla="*/ 433105 h 5818346"/>
              <a:gd name="connsiteX12939" fmla="*/ 1425430 w 3503192"/>
              <a:gd name="connsiteY12939" fmla="*/ 428067 h 5818346"/>
              <a:gd name="connsiteX12940" fmla="*/ 1421714 w 3503192"/>
              <a:gd name="connsiteY12940" fmla="*/ 424351 h 5818346"/>
              <a:gd name="connsiteX12941" fmla="*/ 1426917 w 3503192"/>
              <a:gd name="connsiteY12941" fmla="*/ 419148 h 5818346"/>
              <a:gd name="connsiteX12942" fmla="*/ 1422375 w 3503192"/>
              <a:gd name="connsiteY12942" fmla="*/ 414606 h 5818346"/>
              <a:gd name="connsiteX12943" fmla="*/ 1432534 w 3503192"/>
              <a:gd name="connsiteY12943" fmla="*/ 404447 h 5818346"/>
              <a:gd name="connsiteX12944" fmla="*/ 1432286 w 3503192"/>
              <a:gd name="connsiteY12944" fmla="*/ 404199 h 5818346"/>
              <a:gd name="connsiteX12945" fmla="*/ 1432782 w 3503192"/>
              <a:gd name="connsiteY12945" fmla="*/ 403703 h 5818346"/>
              <a:gd name="connsiteX12946" fmla="*/ 3355988 w 3503192"/>
              <a:gd name="connsiteY12946" fmla="*/ 403043 h 5818346"/>
              <a:gd name="connsiteX12947" fmla="*/ 3366726 w 3503192"/>
              <a:gd name="connsiteY12947" fmla="*/ 413779 h 5818346"/>
              <a:gd name="connsiteX12948" fmla="*/ 3355988 w 3503192"/>
              <a:gd name="connsiteY12948" fmla="*/ 424517 h 5818346"/>
              <a:gd name="connsiteX12949" fmla="*/ 3345252 w 3503192"/>
              <a:gd name="connsiteY12949" fmla="*/ 413779 h 5818346"/>
              <a:gd name="connsiteX12950" fmla="*/ 3355988 w 3503192"/>
              <a:gd name="connsiteY12950" fmla="*/ 403043 h 5818346"/>
              <a:gd name="connsiteX12951" fmla="*/ 1757527 w 3503192"/>
              <a:gd name="connsiteY12951" fmla="*/ 400564 h 5818346"/>
              <a:gd name="connsiteX12952" fmla="*/ 1768265 w 3503192"/>
              <a:gd name="connsiteY12952" fmla="*/ 411301 h 5818346"/>
              <a:gd name="connsiteX12953" fmla="*/ 1757527 w 3503192"/>
              <a:gd name="connsiteY12953" fmla="*/ 422039 h 5818346"/>
              <a:gd name="connsiteX12954" fmla="*/ 1746791 w 3503192"/>
              <a:gd name="connsiteY12954" fmla="*/ 411301 h 5818346"/>
              <a:gd name="connsiteX12955" fmla="*/ 1757527 w 3503192"/>
              <a:gd name="connsiteY12955" fmla="*/ 400564 h 5818346"/>
              <a:gd name="connsiteX12956" fmla="*/ 2497871 w 3503192"/>
              <a:gd name="connsiteY12956" fmla="*/ 394784 h 5818346"/>
              <a:gd name="connsiteX12957" fmla="*/ 2508607 w 3503192"/>
              <a:gd name="connsiteY12957" fmla="*/ 405521 h 5818346"/>
              <a:gd name="connsiteX12958" fmla="*/ 2497871 w 3503192"/>
              <a:gd name="connsiteY12958" fmla="*/ 416259 h 5818346"/>
              <a:gd name="connsiteX12959" fmla="*/ 2487134 w 3503192"/>
              <a:gd name="connsiteY12959" fmla="*/ 405521 h 5818346"/>
              <a:gd name="connsiteX12960" fmla="*/ 2497871 w 3503192"/>
              <a:gd name="connsiteY12960" fmla="*/ 394784 h 5818346"/>
              <a:gd name="connsiteX12961" fmla="*/ 2179566 w 3503192"/>
              <a:gd name="connsiteY12961" fmla="*/ 392306 h 5818346"/>
              <a:gd name="connsiteX12962" fmla="*/ 2190304 w 3503192"/>
              <a:gd name="connsiteY12962" fmla="*/ 403043 h 5818346"/>
              <a:gd name="connsiteX12963" fmla="*/ 2179566 w 3503192"/>
              <a:gd name="connsiteY12963" fmla="*/ 413781 h 5818346"/>
              <a:gd name="connsiteX12964" fmla="*/ 2168830 w 3503192"/>
              <a:gd name="connsiteY12964" fmla="*/ 403043 h 5818346"/>
              <a:gd name="connsiteX12965" fmla="*/ 2179566 w 3503192"/>
              <a:gd name="connsiteY12965" fmla="*/ 392306 h 5818346"/>
              <a:gd name="connsiteX12966" fmla="*/ 1880587 w 3503192"/>
              <a:gd name="connsiteY12966" fmla="*/ 389167 h 5818346"/>
              <a:gd name="connsiteX12967" fmla="*/ 1891325 w 3503192"/>
              <a:gd name="connsiteY12967" fmla="*/ 399904 h 5818346"/>
              <a:gd name="connsiteX12968" fmla="*/ 1880587 w 3503192"/>
              <a:gd name="connsiteY12968" fmla="*/ 410642 h 5818346"/>
              <a:gd name="connsiteX12969" fmla="*/ 1869851 w 3503192"/>
              <a:gd name="connsiteY12969" fmla="*/ 399904 h 5818346"/>
              <a:gd name="connsiteX12970" fmla="*/ 1880587 w 3503192"/>
              <a:gd name="connsiteY12970" fmla="*/ 389167 h 5818346"/>
              <a:gd name="connsiteX12971" fmla="*/ 3215087 w 3503192"/>
              <a:gd name="connsiteY12971" fmla="*/ 388838 h 5818346"/>
              <a:gd name="connsiteX12972" fmla="*/ 3225824 w 3503192"/>
              <a:gd name="connsiteY12972" fmla="*/ 399574 h 5818346"/>
              <a:gd name="connsiteX12973" fmla="*/ 3215087 w 3503192"/>
              <a:gd name="connsiteY12973" fmla="*/ 410311 h 5818346"/>
              <a:gd name="connsiteX12974" fmla="*/ 3204351 w 3503192"/>
              <a:gd name="connsiteY12974" fmla="*/ 399574 h 5818346"/>
              <a:gd name="connsiteX12975" fmla="*/ 3215087 w 3503192"/>
              <a:gd name="connsiteY12975" fmla="*/ 388838 h 5818346"/>
              <a:gd name="connsiteX12976" fmla="*/ 2020662 w 3503192"/>
              <a:gd name="connsiteY12976" fmla="*/ 385699 h 5818346"/>
              <a:gd name="connsiteX12977" fmla="*/ 2031400 w 3503192"/>
              <a:gd name="connsiteY12977" fmla="*/ 396435 h 5818346"/>
              <a:gd name="connsiteX12978" fmla="*/ 2020662 w 3503192"/>
              <a:gd name="connsiteY12978" fmla="*/ 407172 h 5818346"/>
              <a:gd name="connsiteX12979" fmla="*/ 2009926 w 3503192"/>
              <a:gd name="connsiteY12979" fmla="*/ 396435 h 5818346"/>
              <a:gd name="connsiteX12980" fmla="*/ 2020662 w 3503192"/>
              <a:gd name="connsiteY12980" fmla="*/ 385699 h 5818346"/>
              <a:gd name="connsiteX12981" fmla="*/ 2639927 w 3503192"/>
              <a:gd name="connsiteY12981" fmla="*/ 383221 h 5818346"/>
              <a:gd name="connsiteX12982" fmla="*/ 2650665 w 3503192"/>
              <a:gd name="connsiteY12982" fmla="*/ 393957 h 5818346"/>
              <a:gd name="connsiteX12983" fmla="*/ 2639927 w 3503192"/>
              <a:gd name="connsiteY12983" fmla="*/ 404693 h 5818346"/>
              <a:gd name="connsiteX12984" fmla="*/ 2629190 w 3503192"/>
              <a:gd name="connsiteY12984" fmla="*/ 393957 h 5818346"/>
              <a:gd name="connsiteX12985" fmla="*/ 2639927 w 3503192"/>
              <a:gd name="connsiteY12985" fmla="*/ 383221 h 5818346"/>
              <a:gd name="connsiteX12986" fmla="*/ 1743983 w 3503192"/>
              <a:gd name="connsiteY12986" fmla="*/ 381735 h 5818346"/>
              <a:gd name="connsiteX12987" fmla="*/ 1754721 w 3503192"/>
              <a:gd name="connsiteY12987" fmla="*/ 392471 h 5818346"/>
              <a:gd name="connsiteX12988" fmla="*/ 1743983 w 3503192"/>
              <a:gd name="connsiteY12988" fmla="*/ 403207 h 5818346"/>
              <a:gd name="connsiteX12989" fmla="*/ 1733247 w 3503192"/>
              <a:gd name="connsiteY12989" fmla="*/ 392471 h 5818346"/>
              <a:gd name="connsiteX12990" fmla="*/ 1743983 w 3503192"/>
              <a:gd name="connsiteY12990" fmla="*/ 381735 h 5818346"/>
              <a:gd name="connsiteX12991" fmla="*/ 3072041 w 3503192"/>
              <a:gd name="connsiteY12991" fmla="*/ 379588 h 5818346"/>
              <a:gd name="connsiteX12992" fmla="*/ 3082779 w 3503192"/>
              <a:gd name="connsiteY12992" fmla="*/ 390324 h 5818346"/>
              <a:gd name="connsiteX12993" fmla="*/ 3072041 w 3503192"/>
              <a:gd name="connsiteY12993" fmla="*/ 401062 h 5818346"/>
              <a:gd name="connsiteX12994" fmla="*/ 3061305 w 3503192"/>
              <a:gd name="connsiteY12994" fmla="*/ 390324 h 5818346"/>
              <a:gd name="connsiteX12995" fmla="*/ 3072041 w 3503192"/>
              <a:gd name="connsiteY12995" fmla="*/ 379588 h 5818346"/>
              <a:gd name="connsiteX12996" fmla="*/ 2783634 w 3503192"/>
              <a:gd name="connsiteY12996" fmla="*/ 376778 h 5818346"/>
              <a:gd name="connsiteX12997" fmla="*/ 2794372 w 3503192"/>
              <a:gd name="connsiteY12997" fmla="*/ 387515 h 5818346"/>
              <a:gd name="connsiteX12998" fmla="*/ 2783634 w 3503192"/>
              <a:gd name="connsiteY12998" fmla="*/ 398253 h 5818346"/>
              <a:gd name="connsiteX12999" fmla="*/ 2772897 w 3503192"/>
              <a:gd name="connsiteY12999" fmla="*/ 387515 h 5818346"/>
              <a:gd name="connsiteX13000" fmla="*/ 2783634 w 3503192"/>
              <a:gd name="connsiteY13000" fmla="*/ 376778 h 5818346"/>
              <a:gd name="connsiteX13001" fmla="*/ 2928003 w 3503192"/>
              <a:gd name="connsiteY13001" fmla="*/ 375623 h 5818346"/>
              <a:gd name="connsiteX13002" fmla="*/ 2938741 w 3503192"/>
              <a:gd name="connsiteY13002" fmla="*/ 386360 h 5818346"/>
              <a:gd name="connsiteX13003" fmla="*/ 2928003 w 3503192"/>
              <a:gd name="connsiteY13003" fmla="*/ 397098 h 5818346"/>
              <a:gd name="connsiteX13004" fmla="*/ 2917266 w 3503192"/>
              <a:gd name="connsiteY13004" fmla="*/ 386360 h 5818346"/>
              <a:gd name="connsiteX13005" fmla="*/ 2928003 w 3503192"/>
              <a:gd name="connsiteY13005" fmla="*/ 375623 h 5818346"/>
              <a:gd name="connsiteX13006" fmla="*/ 1486961 w 3503192"/>
              <a:gd name="connsiteY13006" fmla="*/ 372484 h 5818346"/>
              <a:gd name="connsiteX13007" fmla="*/ 1492743 w 3503192"/>
              <a:gd name="connsiteY13007" fmla="*/ 378266 h 5818346"/>
              <a:gd name="connsiteX13008" fmla="*/ 1491174 w 3503192"/>
              <a:gd name="connsiteY13008" fmla="*/ 379834 h 5818346"/>
              <a:gd name="connsiteX13009" fmla="*/ 1498854 w 3503192"/>
              <a:gd name="connsiteY13009" fmla="*/ 387515 h 5818346"/>
              <a:gd name="connsiteX13010" fmla="*/ 1494972 w 3503192"/>
              <a:gd name="connsiteY13010" fmla="*/ 391398 h 5818346"/>
              <a:gd name="connsiteX13011" fmla="*/ 1499348 w 3503192"/>
              <a:gd name="connsiteY13011" fmla="*/ 395775 h 5818346"/>
              <a:gd name="connsiteX13012" fmla="*/ 1495467 w 3503192"/>
              <a:gd name="connsiteY13012" fmla="*/ 399656 h 5818346"/>
              <a:gd name="connsiteX13013" fmla="*/ 1499186 w 3503192"/>
              <a:gd name="connsiteY13013" fmla="*/ 403374 h 5818346"/>
              <a:gd name="connsiteX13014" fmla="*/ 1495303 w 3503192"/>
              <a:gd name="connsiteY13014" fmla="*/ 407255 h 5818346"/>
              <a:gd name="connsiteX13015" fmla="*/ 1498358 w 3503192"/>
              <a:gd name="connsiteY13015" fmla="*/ 410311 h 5818346"/>
              <a:gd name="connsiteX13016" fmla="*/ 1494477 w 3503192"/>
              <a:gd name="connsiteY13016" fmla="*/ 414192 h 5818346"/>
              <a:gd name="connsiteX13017" fmla="*/ 1497203 w 3503192"/>
              <a:gd name="connsiteY13017" fmla="*/ 416918 h 5818346"/>
              <a:gd name="connsiteX13018" fmla="*/ 1493156 w 3503192"/>
              <a:gd name="connsiteY13018" fmla="*/ 420965 h 5818346"/>
              <a:gd name="connsiteX13019" fmla="*/ 1495551 w 3503192"/>
              <a:gd name="connsiteY13019" fmla="*/ 423360 h 5818346"/>
              <a:gd name="connsiteX13020" fmla="*/ 1491338 w 3503192"/>
              <a:gd name="connsiteY13020" fmla="*/ 427573 h 5818346"/>
              <a:gd name="connsiteX13021" fmla="*/ 1493735 w 3503192"/>
              <a:gd name="connsiteY13021" fmla="*/ 429968 h 5818346"/>
              <a:gd name="connsiteX13022" fmla="*/ 1489275 w 3503192"/>
              <a:gd name="connsiteY13022" fmla="*/ 434428 h 5818346"/>
              <a:gd name="connsiteX13023" fmla="*/ 1491751 w 3503192"/>
              <a:gd name="connsiteY13023" fmla="*/ 436904 h 5818346"/>
              <a:gd name="connsiteX13024" fmla="*/ 1486961 w 3503192"/>
              <a:gd name="connsiteY13024" fmla="*/ 441696 h 5818346"/>
              <a:gd name="connsiteX13025" fmla="*/ 1489934 w 3503192"/>
              <a:gd name="connsiteY13025" fmla="*/ 444668 h 5818346"/>
              <a:gd name="connsiteX13026" fmla="*/ 1484648 w 3503192"/>
              <a:gd name="connsiteY13026" fmla="*/ 449954 h 5818346"/>
              <a:gd name="connsiteX13027" fmla="*/ 1488116 w 3503192"/>
              <a:gd name="connsiteY13027" fmla="*/ 453422 h 5818346"/>
              <a:gd name="connsiteX13028" fmla="*/ 1482253 w 3503192"/>
              <a:gd name="connsiteY13028" fmla="*/ 459286 h 5818346"/>
              <a:gd name="connsiteX13029" fmla="*/ 1486632 w 3503192"/>
              <a:gd name="connsiteY13029" fmla="*/ 463665 h 5818346"/>
              <a:gd name="connsiteX13030" fmla="*/ 1480271 w 3503192"/>
              <a:gd name="connsiteY13030" fmla="*/ 470024 h 5818346"/>
              <a:gd name="connsiteX13031" fmla="*/ 1485804 w 3503192"/>
              <a:gd name="connsiteY13031" fmla="*/ 475558 h 5818346"/>
              <a:gd name="connsiteX13032" fmla="*/ 1478538 w 3503192"/>
              <a:gd name="connsiteY13032" fmla="*/ 482826 h 5818346"/>
              <a:gd name="connsiteX13033" fmla="*/ 1485475 w 3503192"/>
              <a:gd name="connsiteY13033" fmla="*/ 489762 h 5818346"/>
              <a:gd name="connsiteX13034" fmla="*/ 1477461 w 3503192"/>
              <a:gd name="connsiteY13034" fmla="*/ 497774 h 5818346"/>
              <a:gd name="connsiteX13035" fmla="*/ 1486136 w 3503192"/>
              <a:gd name="connsiteY13035" fmla="*/ 506447 h 5818346"/>
              <a:gd name="connsiteX13036" fmla="*/ 1475398 w 3503192"/>
              <a:gd name="connsiteY13036" fmla="*/ 517183 h 5818346"/>
              <a:gd name="connsiteX13037" fmla="*/ 1464661 w 3503192"/>
              <a:gd name="connsiteY13037" fmla="*/ 506447 h 5818346"/>
              <a:gd name="connsiteX13038" fmla="*/ 1472673 w 3503192"/>
              <a:gd name="connsiteY13038" fmla="*/ 498435 h 5818346"/>
              <a:gd name="connsiteX13039" fmla="*/ 1464001 w 3503192"/>
              <a:gd name="connsiteY13039" fmla="*/ 489762 h 5818346"/>
              <a:gd name="connsiteX13040" fmla="*/ 1471269 w 3503192"/>
              <a:gd name="connsiteY13040" fmla="*/ 482494 h 5818346"/>
              <a:gd name="connsiteX13041" fmla="*/ 1464332 w 3503192"/>
              <a:gd name="connsiteY13041" fmla="*/ 475558 h 5818346"/>
              <a:gd name="connsiteX13042" fmla="*/ 1470691 w 3503192"/>
              <a:gd name="connsiteY13042" fmla="*/ 469198 h 5818346"/>
              <a:gd name="connsiteX13043" fmla="*/ 1465157 w 3503192"/>
              <a:gd name="connsiteY13043" fmla="*/ 463665 h 5818346"/>
              <a:gd name="connsiteX13044" fmla="*/ 1471022 w 3503192"/>
              <a:gd name="connsiteY13044" fmla="*/ 457801 h 5818346"/>
              <a:gd name="connsiteX13045" fmla="*/ 1466644 w 3503192"/>
              <a:gd name="connsiteY13045" fmla="*/ 453422 h 5818346"/>
              <a:gd name="connsiteX13046" fmla="*/ 1471929 w 3503192"/>
              <a:gd name="connsiteY13046" fmla="*/ 448137 h 5818346"/>
              <a:gd name="connsiteX13047" fmla="*/ 1468461 w 3503192"/>
              <a:gd name="connsiteY13047" fmla="*/ 444668 h 5818346"/>
              <a:gd name="connsiteX13048" fmla="*/ 1473252 w 3503192"/>
              <a:gd name="connsiteY13048" fmla="*/ 439878 h 5818346"/>
              <a:gd name="connsiteX13049" fmla="*/ 1470278 w 3503192"/>
              <a:gd name="connsiteY13049" fmla="*/ 436904 h 5818346"/>
              <a:gd name="connsiteX13050" fmla="*/ 1474739 w 3503192"/>
              <a:gd name="connsiteY13050" fmla="*/ 432446 h 5818346"/>
              <a:gd name="connsiteX13051" fmla="*/ 1472260 w 3503192"/>
              <a:gd name="connsiteY13051" fmla="*/ 429968 h 5818346"/>
              <a:gd name="connsiteX13052" fmla="*/ 1476471 w 3503192"/>
              <a:gd name="connsiteY13052" fmla="*/ 425757 h 5818346"/>
              <a:gd name="connsiteX13053" fmla="*/ 1474076 w 3503192"/>
              <a:gd name="connsiteY13053" fmla="*/ 423360 h 5818346"/>
              <a:gd name="connsiteX13054" fmla="*/ 1478124 w 3503192"/>
              <a:gd name="connsiteY13054" fmla="*/ 419313 h 5818346"/>
              <a:gd name="connsiteX13055" fmla="*/ 1475729 w 3503192"/>
              <a:gd name="connsiteY13055" fmla="*/ 416918 h 5818346"/>
              <a:gd name="connsiteX13056" fmla="*/ 1479612 w 3503192"/>
              <a:gd name="connsiteY13056" fmla="*/ 413037 h 5818346"/>
              <a:gd name="connsiteX13057" fmla="*/ 1476886 w 3503192"/>
              <a:gd name="connsiteY13057" fmla="*/ 410311 h 5818346"/>
              <a:gd name="connsiteX13058" fmla="*/ 1480767 w 3503192"/>
              <a:gd name="connsiteY13058" fmla="*/ 406429 h 5818346"/>
              <a:gd name="connsiteX13059" fmla="*/ 1477711 w 3503192"/>
              <a:gd name="connsiteY13059" fmla="*/ 403374 h 5818346"/>
              <a:gd name="connsiteX13060" fmla="*/ 1481592 w 3503192"/>
              <a:gd name="connsiteY13060" fmla="*/ 399493 h 5818346"/>
              <a:gd name="connsiteX13061" fmla="*/ 1477876 w 3503192"/>
              <a:gd name="connsiteY13061" fmla="*/ 395775 h 5818346"/>
              <a:gd name="connsiteX13062" fmla="*/ 1481759 w 3503192"/>
              <a:gd name="connsiteY13062" fmla="*/ 391892 h 5818346"/>
              <a:gd name="connsiteX13063" fmla="*/ 1477382 w 3503192"/>
              <a:gd name="connsiteY13063" fmla="*/ 387515 h 5818346"/>
              <a:gd name="connsiteX13064" fmla="*/ 1483906 w 3503192"/>
              <a:gd name="connsiteY13064" fmla="*/ 380991 h 5818346"/>
              <a:gd name="connsiteX13065" fmla="*/ 1481180 w 3503192"/>
              <a:gd name="connsiteY13065" fmla="*/ 378266 h 5818346"/>
              <a:gd name="connsiteX13066" fmla="*/ 1486961 w 3503192"/>
              <a:gd name="connsiteY13066" fmla="*/ 372484 h 5818346"/>
              <a:gd name="connsiteX13067" fmla="*/ 2310058 w 3503192"/>
              <a:gd name="connsiteY13067" fmla="*/ 369842 h 5818346"/>
              <a:gd name="connsiteX13068" fmla="*/ 2320796 w 3503192"/>
              <a:gd name="connsiteY13068" fmla="*/ 380578 h 5818346"/>
              <a:gd name="connsiteX13069" fmla="*/ 2310058 w 3503192"/>
              <a:gd name="connsiteY13069" fmla="*/ 391316 h 5818346"/>
              <a:gd name="connsiteX13070" fmla="*/ 2299322 w 3503192"/>
              <a:gd name="connsiteY13070" fmla="*/ 380578 h 5818346"/>
              <a:gd name="connsiteX13071" fmla="*/ 2310058 w 3503192"/>
              <a:gd name="connsiteY13071" fmla="*/ 369842 h 5818346"/>
              <a:gd name="connsiteX13072" fmla="*/ 1859940 w 3503192"/>
              <a:gd name="connsiteY13072" fmla="*/ 366373 h 5818346"/>
              <a:gd name="connsiteX13073" fmla="*/ 1870678 w 3503192"/>
              <a:gd name="connsiteY13073" fmla="*/ 377110 h 5818346"/>
              <a:gd name="connsiteX13074" fmla="*/ 1859940 w 3503192"/>
              <a:gd name="connsiteY13074" fmla="*/ 387846 h 5818346"/>
              <a:gd name="connsiteX13075" fmla="*/ 1849203 w 3503192"/>
              <a:gd name="connsiteY13075" fmla="*/ 377110 h 5818346"/>
              <a:gd name="connsiteX13076" fmla="*/ 1859940 w 3503192"/>
              <a:gd name="connsiteY13076" fmla="*/ 366373 h 5818346"/>
              <a:gd name="connsiteX13077" fmla="*/ 1732090 w 3503192"/>
              <a:gd name="connsiteY13077" fmla="*/ 366373 h 5818346"/>
              <a:gd name="connsiteX13078" fmla="*/ 1742828 w 3503192"/>
              <a:gd name="connsiteY13078" fmla="*/ 377110 h 5818346"/>
              <a:gd name="connsiteX13079" fmla="*/ 1732090 w 3503192"/>
              <a:gd name="connsiteY13079" fmla="*/ 387846 h 5818346"/>
              <a:gd name="connsiteX13080" fmla="*/ 1721354 w 3503192"/>
              <a:gd name="connsiteY13080" fmla="*/ 377110 h 5818346"/>
              <a:gd name="connsiteX13081" fmla="*/ 1732090 w 3503192"/>
              <a:gd name="connsiteY13081" fmla="*/ 366373 h 5818346"/>
              <a:gd name="connsiteX13082" fmla="*/ 3406864 w 3503192"/>
              <a:gd name="connsiteY13082" fmla="*/ 360923 h 5818346"/>
              <a:gd name="connsiteX13083" fmla="*/ 3417600 w 3503192"/>
              <a:gd name="connsiteY13083" fmla="*/ 371659 h 5818346"/>
              <a:gd name="connsiteX13084" fmla="*/ 3406864 w 3503192"/>
              <a:gd name="connsiteY13084" fmla="*/ 382395 h 5818346"/>
              <a:gd name="connsiteX13085" fmla="*/ 3396128 w 3503192"/>
              <a:gd name="connsiteY13085" fmla="*/ 371659 h 5818346"/>
              <a:gd name="connsiteX13086" fmla="*/ 3406864 w 3503192"/>
              <a:gd name="connsiteY13086" fmla="*/ 360923 h 5818346"/>
              <a:gd name="connsiteX13087" fmla="*/ 2141740 w 3503192"/>
              <a:gd name="connsiteY13087" fmla="*/ 358280 h 5818346"/>
              <a:gd name="connsiteX13088" fmla="*/ 2152478 w 3503192"/>
              <a:gd name="connsiteY13088" fmla="*/ 369016 h 5818346"/>
              <a:gd name="connsiteX13089" fmla="*/ 2141740 w 3503192"/>
              <a:gd name="connsiteY13089" fmla="*/ 379752 h 5818346"/>
              <a:gd name="connsiteX13090" fmla="*/ 2131004 w 3503192"/>
              <a:gd name="connsiteY13090" fmla="*/ 369016 h 5818346"/>
              <a:gd name="connsiteX13091" fmla="*/ 2141740 w 3503192"/>
              <a:gd name="connsiteY13091" fmla="*/ 358280 h 5818346"/>
              <a:gd name="connsiteX13092" fmla="*/ 1992085 w 3503192"/>
              <a:gd name="connsiteY13092" fmla="*/ 357949 h 5818346"/>
              <a:gd name="connsiteX13093" fmla="*/ 2002823 w 3503192"/>
              <a:gd name="connsiteY13093" fmla="*/ 368685 h 5818346"/>
              <a:gd name="connsiteX13094" fmla="*/ 1992085 w 3503192"/>
              <a:gd name="connsiteY13094" fmla="*/ 379421 h 5818346"/>
              <a:gd name="connsiteX13095" fmla="*/ 1981348 w 3503192"/>
              <a:gd name="connsiteY13095" fmla="*/ 368685 h 5818346"/>
              <a:gd name="connsiteX13096" fmla="*/ 1992085 w 3503192"/>
              <a:gd name="connsiteY13096" fmla="*/ 357949 h 5818346"/>
              <a:gd name="connsiteX13097" fmla="*/ 2443691 w 3503192"/>
              <a:gd name="connsiteY13097" fmla="*/ 351837 h 5818346"/>
              <a:gd name="connsiteX13098" fmla="*/ 2454430 w 3503192"/>
              <a:gd name="connsiteY13098" fmla="*/ 362574 h 5818346"/>
              <a:gd name="connsiteX13099" fmla="*/ 2443691 w 3503192"/>
              <a:gd name="connsiteY13099" fmla="*/ 373310 h 5818346"/>
              <a:gd name="connsiteX13100" fmla="*/ 2432955 w 3503192"/>
              <a:gd name="connsiteY13100" fmla="*/ 362574 h 5818346"/>
              <a:gd name="connsiteX13101" fmla="*/ 2443691 w 3503192"/>
              <a:gd name="connsiteY13101" fmla="*/ 351837 h 5818346"/>
              <a:gd name="connsiteX13102" fmla="*/ 1841771 w 3503192"/>
              <a:gd name="connsiteY13102" fmla="*/ 347542 h 5818346"/>
              <a:gd name="connsiteX13103" fmla="*/ 1852509 w 3503192"/>
              <a:gd name="connsiteY13103" fmla="*/ 358278 h 5818346"/>
              <a:gd name="connsiteX13104" fmla="*/ 1841771 w 3503192"/>
              <a:gd name="connsiteY13104" fmla="*/ 369014 h 5818346"/>
              <a:gd name="connsiteX13105" fmla="*/ 1831034 w 3503192"/>
              <a:gd name="connsiteY13105" fmla="*/ 358278 h 5818346"/>
              <a:gd name="connsiteX13106" fmla="*/ 1841771 w 3503192"/>
              <a:gd name="connsiteY13106" fmla="*/ 347542 h 5818346"/>
              <a:gd name="connsiteX13107" fmla="*/ 3271910 w 3503192"/>
              <a:gd name="connsiteY13107" fmla="*/ 344899 h 5818346"/>
              <a:gd name="connsiteX13108" fmla="*/ 3282648 w 3503192"/>
              <a:gd name="connsiteY13108" fmla="*/ 355635 h 5818346"/>
              <a:gd name="connsiteX13109" fmla="*/ 3271910 w 3503192"/>
              <a:gd name="connsiteY13109" fmla="*/ 366371 h 5818346"/>
              <a:gd name="connsiteX13110" fmla="*/ 3261173 w 3503192"/>
              <a:gd name="connsiteY13110" fmla="*/ 355635 h 5818346"/>
              <a:gd name="connsiteX13111" fmla="*/ 3271910 w 3503192"/>
              <a:gd name="connsiteY13111" fmla="*/ 344899 h 5818346"/>
              <a:gd name="connsiteX13112" fmla="*/ 1539653 w 3503192"/>
              <a:gd name="connsiteY13112" fmla="*/ 343248 h 5818346"/>
              <a:gd name="connsiteX13113" fmla="*/ 1539819 w 3503192"/>
              <a:gd name="connsiteY13113" fmla="*/ 343413 h 5818346"/>
              <a:gd name="connsiteX13114" fmla="*/ 1539653 w 3503192"/>
              <a:gd name="connsiteY13114" fmla="*/ 343579 h 5818346"/>
              <a:gd name="connsiteX13115" fmla="*/ 1539488 w 3503192"/>
              <a:gd name="connsiteY13115" fmla="*/ 343413 h 5818346"/>
              <a:gd name="connsiteX13116" fmla="*/ 1539653 w 3503192"/>
              <a:gd name="connsiteY13116" fmla="*/ 343248 h 5818346"/>
              <a:gd name="connsiteX13117" fmla="*/ 1542627 w 3503192"/>
              <a:gd name="connsiteY13117" fmla="*/ 341762 h 5818346"/>
              <a:gd name="connsiteX13118" fmla="*/ 1553198 w 3503192"/>
              <a:gd name="connsiteY13118" fmla="*/ 352333 h 5818346"/>
              <a:gd name="connsiteX13119" fmla="*/ 1550308 w 3503192"/>
              <a:gd name="connsiteY13119" fmla="*/ 355224 h 5818346"/>
              <a:gd name="connsiteX13120" fmla="*/ 1555677 w 3503192"/>
              <a:gd name="connsiteY13120" fmla="*/ 360591 h 5818346"/>
              <a:gd name="connsiteX13121" fmla="*/ 1552950 w 3503192"/>
              <a:gd name="connsiteY13121" fmla="*/ 363318 h 5818346"/>
              <a:gd name="connsiteX13122" fmla="*/ 1557163 w 3503192"/>
              <a:gd name="connsiteY13122" fmla="*/ 367528 h 5818346"/>
              <a:gd name="connsiteX13123" fmla="*/ 1554520 w 3503192"/>
              <a:gd name="connsiteY13123" fmla="*/ 370171 h 5818346"/>
              <a:gd name="connsiteX13124" fmla="*/ 1558320 w 3503192"/>
              <a:gd name="connsiteY13124" fmla="*/ 373971 h 5818346"/>
              <a:gd name="connsiteX13125" fmla="*/ 1555760 w 3503192"/>
              <a:gd name="connsiteY13125" fmla="*/ 376532 h 5818346"/>
              <a:gd name="connsiteX13126" fmla="*/ 1558980 w 3503192"/>
              <a:gd name="connsiteY13126" fmla="*/ 379752 h 5818346"/>
              <a:gd name="connsiteX13127" fmla="*/ 1556502 w 3503192"/>
              <a:gd name="connsiteY13127" fmla="*/ 382231 h 5818346"/>
              <a:gd name="connsiteX13128" fmla="*/ 1559476 w 3503192"/>
              <a:gd name="connsiteY13128" fmla="*/ 385203 h 5818346"/>
              <a:gd name="connsiteX13129" fmla="*/ 1556915 w 3503192"/>
              <a:gd name="connsiteY13129" fmla="*/ 387764 h 5818346"/>
              <a:gd name="connsiteX13130" fmla="*/ 1559641 w 3503192"/>
              <a:gd name="connsiteY13130" fmla="*/ 390489 h 5818346"/>
              <a:gd name="connsiteX13131" fmla="*/ 1556833 w 3503192"/>
              <a:gd name="connsiteY13131" fmla="*/ 393296 h 5818346"/>
              <a:gd name="connsiteX13132" fmla="*/ 1559641 w 3503192"/>
              <a:gd name="connsiteY13132" fmla="*/ 396104 h 5818346"/>
              <a:gd name="connsiteX13133" fmla="*/ 1556750 w 3503192"/>
              <a:gd name="connsiteY13133" fmla="*/ 398995 h 5818346"/>
              <a:gd name="connsiteX13134" fmla="*/ 1559808 w 3503192"/>
              <a:gd name="connsiteY13134" fmla="*/ 402052 h 5818346"/>
              <a:gd name="connsiteX13135" fmla="*/ 1556669 w 3503192"/>
              <a:gd name="connsiteY13135" fmla="*/ 405191 h 5818346"/>
              <a:gd name="connsiteX13136" fmla="*/ 1560302 w 3503192"/>
              <a:gd name="connsiteY13136" fmla="*/ 408824 h 5818346"/>
              <a:gd name="connsiteX13137" fmla="*/ 1556750 w 3503192"/>
              <a:gd name="connsiteY13137" fmla="*/ 412376 h 5818346"/>
              <a:gd name="connsiteX13138" fmla="*/ 1560962 w 3503192"/>
              <a:gd name="connsiteY13138" fmla="*/ 416587 h 5818346"/>
              <a:gd name="connsiteX13139" fmla="*/ 1556915 w 3503192"/>
              <a:gd name="connsiteY13139" fmla="*/ 420634 h 5818346"/>
              <a:gd name="connsiteX13140" fmla="*/ 1562284 w 3503192"/>
              <a:gd name="connsiteY13140" fmla="*/ 426003 h 5818346"/>
              <a:gd name="connsiteX13141" fmla="*/ 1557659 w 3503192"/>
              <a:gd name="connsiteY13141" fmla="*/ 430628 h 5818346"/>
              <a:gd name="connsiteX13142" fmla="*/ 1564266 w 3503192"/>
              <a:gd name="connsiteY13142" fmla="*/ 437235 h 5818346"/>
              <a:gd name="connsiteX13143" fmla="*/ 1558980 w 3503192"/>
              <a:gd name="connsiteY13143" fmla="*/ 442521 h 5818346"/>
              <a:gd name="connsiteX13144" fmla="*/ 1567238 w 3503192"/>
              <a:gd name="connsiteY13144" fmla="*/ 450780 h 5818346"/>
              <a:gd name="connsiteX13145" fmla="*/ 1561292 w 3503192"/>
              <a:gd name="connsiteY13145" fmla="*/ 456728 h 5818346"/>
              <a:gd name="connsiteX13146" fmla="*/ 1571368 w 3503192"/>
              <a:gd name="connsiteY13146" fmla="*/ 466804 h 5818346"/>
              <a:gd name="connsiteX13147" fmla="*/ 1560631 w 3503192"/>
              <a:gd name="connsiteY13147" fmla="*/ 477540 h 5818346"/>
              <a:gd name="connsiteX13148" fmla="*/ 1549895 w 3503192"/>
              <a:gd name="connsiteY13148" fmla="*/ 466804 h 5818346"/>
              <a:gd name="connsiteX13149" fmla="*/ 1555841 w 3503192"/>
              <a:gd name="connsiteY13149" fmla="*/ 460857 h 5818346"/>
              <a:gd name="connsiteX13150" fmla="*/ 1545766 w 3503192"/>
              <a:gd name="connsiteY13150" fmla="*/ 450780 h 5818346"/>
              <a:gd name="connsiteX13151" fmla="*/ 1551052 w 3503192"/>
              <a:gd name="connsiteY13151" fmla="*/ 445495 h 5818346"/>
              <a:gd name="connsiteX13152" fmla="*/ 1542793 w 3503192"/>
              <a:gd name="connsiteY13152" fmla="*/ 437235 h 5818346"/>
              <a:gd name="connsiteX13153" fmla="*/ 1547417 w 3503192"/>
              <a:gd name="connsiteY13153" fmla="*/ 432612 h 5818346"/>
              <a:gd name="connsiteX13154" fmla="*/ 1540810 w 3503192"/>
              <a:gd name="connsiteY13154" fmla="*/ 426003 h 5818346"/>
              <a:gd name="connsiteX13155" fmla="*/ 1544857 w 3503192"/>
              <a:gd name="connsiteY13155" fmla="*/ 421956 h 5818346"/>
              <a:gd name="connsiteX13156" fmla="*/ 1539488 w 3503192"/>
              <a:gd name="connsiteY13156" fmla="*/ 416587 h 5818346"/>
              <a:gd name="connsiteX13157" fmla="*/ 1543040 w 3503192"/>
              <a:gd name="connsiteY13157" fmla="*/ 413035 h 5818346"/>
              <a:gd name="connsiteX13158" fmla="*/ 1538829 w 3503192"/>
              <a:gd name="connsiteY13158" fmla="*/ 408824 h 5818346"/>
              <a:gd name="connsiteX13159" fmla="*/ 1541968 w 3503192"/>
              <a:gd name="connsiteY13159" fmla="*/ 405687 h 5818346"/>
              <a:gd name="connsiteX13160" fmla="*/ 1538333 w 3503192"/>
              <a:gd name="connsiteY13160" fmla="*/ 402052 h 5818346"/>
              <a:gd name="connsiteX13161" fmla="*/ 1541224 w 3503192"/>
              <a:gd name="connsiteY13161" fmla="*/ 399161 h 5818346"/>
              <a:gd name="connsiteX13162" fmla="*/ 1538168 w 3503192"/>
              <a:gd name="connsiteY13162" fmla="*/ 396104 h 5818346"/>
              <a:gd name="connsiteX13163" fmla="*/ 1540976 w 3503192"/>
              <a:gd name="connsiteY13163" fmla="*/ 393296 h 5818346"/>
              <a:gd name="connsiteX13164" fmla="*/ 1538168 w 3503192"/>
              <a:gd name="connsiteY13164" fmla="*/ 390489 h 5818346"/>
              <a:gd name="connsiteX13165" fmla="*/ 1540728 w 3503192"/>
              <a:gd name="connsiteY13165" fmla="*/ 387929 h 5818346"/>
              <a:gd name="connsiteX13166" fmla="*/ 1538002 w 3503192"/>
              <a:gd name="connsiteY13166" fmla="*/ 385203 h 5818346"/>
              <a:gd name="connsiteX13167" fmla="*/ 1540480 w 3503192"/>
              <a:gd name="connsiteY13167" fmla="*/ 382725 h 5818346"/>
              <a:gd name="connsiteX13168" fmla="*/ 1537508 w 3503192"/>
              <a:gd name="connsiteY13168" fmla="*/ 379752 h 5818346"/>
              <a:gd name="connsiteX13169" fmla="*/ 1540067 w 3503192"/>
              <a:gd name="connsiteY13169" fmla="*/ 377193 h 5818346"/>
              <a:gd name="connsiteX13170" fmla="*/ 1536847 w 3503192"/>
              <a:gd name="connsiteY13170" fmla="*/ 373971 h 5818346"/>
              <a:gd name="connsiteX13171" fmla="*/ 1539490 w 3503192"/>
              <a:gd name="connsiteY13171" fmla="*/ 371328 h 5818346"/>
              <a:gd name="connsiteX13172" fmla="*/ 1535690 w 3503192"/>
              <a:gd name="connsiteY13172" fmla="*/ 367528 h 5818346"/>
              <a:gd name="connsiteX13173" fmla="*/ 1538414 w 3503192"/>
              <a:gd name="connsiteY13173" fmla="*/ 364804 h 5818346"/>
              <a:gd name="connsiteX13174" fmla="*/ 1534202 w 3503192"/>
              <a:gd name="connsiteY13174" fmla="*/ 360591 h 5818346"/>
              <a:gd name="connsiteX13175" fmla="*/ 1537258 w 3503192"/>
              <a:gd name="connsiteY13175" fmla="*/ 357536 h 5818346"/>
              <a:gd name="connsiteX13176" fmla="*/ 1532055 w 3503192"/>
              <a:gd name="connsiteY13176" fmla="*/ 352333 h 5818346"/>
              <a:gd name="connsiteX13177" fmla="*/ 1542627 w 3503192"/>
              <a:gd name="connsiteY13177" fmla="*/ 341762 h 5818346"/>
              <a:gd name="connsiteX13178" fmla="*/ 2579966 w 3503192"/>
              <a:gd name="connsiteY13178" fmla="*/ 338291 h 5818346"/>
              <a:gd name="connsiteX13179" fmla="*/ 2590704 w 3503192"/>
              <a:gd name="connsiteY13179" fmla="*/ 349028 h 5818346"/>
              <a:gd name="connsiteX13180" fmla="*/ 2579966 w 3503192"/>
              <a:gd name="connsiteY13180" fmla="*/ 359766 h 5818346"/>
              <a:gd name="connsiteX13181" fmla="*/ 2569229 w 3503192"/>
              <a:gd name="connsiteY13181" fmla="*/ 349028 h 5818346"/>
              <a:gd name="connsiteX13182" fmla="*/ 2579966 w 3503192"/>
              <a:gd name="connsiteY13182" fmla="*/ 338291 h 5818346"/>
              <a:gd name="connsiteX13183" fmla="*/ 2266286 w 3503192"/>
              <a:gd name="connsiteY13183" fmla="*/ 334823 h 5818346"/>
              <a:gd name="connsiteX13184" fmla="*/ 2277024 w 3503192"/>
              <a:gd name="connsiteY13184" fmla="*/ 345559 h 5818346"/>
              <a:gd name="connsiteX13185" fmla="*/ 2266286 w 3503192"/>
              <a:gd name="connsiteY13185" fmla="*/ 356296 h 5818346"/>
              <a:gd name="connsiteX13186" fmla="*/ 2255550 w 3503192"/>
              <a:gd name="connsiteY13186" fmla="*/ 345559 h 5818346"/>
              <a:gd name="connsiteX13187" fmla="*/ 2266286 w 3503192"/>
              <a:gd name="connsiteY13187" fmla="*/ 334823 h 5818346"/>
              <a:gd name="connsiteX13188" fmla="*/ 1966483 w 3503192"/>
              <a:gd name="connsiteY13188" fmla="*/ 334823 h 5818346"/>
              <a:gd name="connsiteX13189" fmla="*/ 1977219 w 3503192"/>
              <a:gd name="connsiteY13189" fmla="*/ 345559 h 5818346"/>
              <a:gd name="connsiteX13190" fmla="*/ 1966483 w 3503192"/>
              <a:gd name="connsiteY13190" fmla="*/ 356296 h 5818346"/>
              <a:gd name="connsiteX13191" fmla="*/ 1955747 w 3503192"/>
              <a:gd name="connsiteY13191" fmla="*/ 345559 h 5818346"/>
              <a:gd name="connsiteX13192" fmla="*/ 1966483 w 3503192"/>
              <a:gd name="connsiteY13192" fmla="*/ 334823 h 5818346"/>
              <a:gd name="connsiteX13193" fmla="*/ 3134644 w 3503192"/>
              <a:gd name="connsiteY13193" fmla="*/ 333666 h 5818346"/>
              <a:gd name="connsiteX13194" fmla="*/ 3145382 w 3503192"/>
              <a:gd name="connsiteY13194" fmla="*/ 344403 h 5818346"/>
              <a:gd name="connsiteX13195" fmla="*/ 3134644 w 3503192"/>
              <a:gd name="connsiteY13195" fmla="*/ 355139 h 5818346"/>
              <a:gd name="connsiteX13196" fmla="*/ 3123907 w 3503192"/>
              <a:gd name="connsiteY13196" fmla="*/ 344403 h 5818346"/>
              <a:gd name="connsiteX13197" fmla="*/ 3134644 w 3503192"/>
              <a:gd name="connsiteY13197" fmla="*/ 333666 h 5818346"/>
              <a:gd name="connsiteX13198" fmla="*/ 1825913 w 3503192"/>
              <a:gd name="connsiteY13198" fmla="*/ 332345 h 5818346"/>
              <a:gd name="connsiteX13199" fmla="*/ 1836651 w 3503192"/>
              <a:gd name="connsiteY13199" fmla="*/ 343081 h 5818346"/>
              <a:gd name="connsiteX13200" fmla="*/ 1825913 w 3503192"/>
              <a:gd name="connsiteY13200" fmla="*/ 353818 h 5818346"/>
              <a:gd name="connsiteX13201" fmla="*/ 1815177 w 3503192"/>
              <a:gd name="connsiteY13201" fmla="*/ 343081 h 5818346"/>
              <a:gd name="connsiteX13202" fmla="*/ 1825913 w 3503192"/>
              <a:gd name="connsiteY13202" fmla="*/ 332345 h 5818346"/>
              <a:gd name="connsiteX13203" fmla="*/ 2107547 w 3503192"/>
              <a:gd name="connsiteY13203" fmla="*/ 329867 h 5818346"/>
              <a:gd name="connsiteX13204" fmla="*/ 2118285 w 3503192"/>
              <a:gd name="connsiteY13204" fmla="*/ 340603 h 5818346"/>
              <a:gd name="connsiteX13205" fmla="*/ 2107547 w 3503192"/>
              <a:gd name="connsiteY13205" fmla="*/ 351341 h 5818346"/>
              <a:gd name="connsiteX13206" fmla="*/ 2096811 w 3503192"/>
              <a:gd name="connsiteY13206" fmla="*/ 340603 h 5818346"/>
              <a:gd name="connsiteX13207" fmla="*/ 2107547 w 3503192"/>
              <a:gd name="connsiteY13207" fmla="*/ 329867 h 5818346"/>
              <a:gd name="connsiteX13208" fmla="*/ 2717892 w 3503192"/>
              <a:gd name="connsiteY13208" fmla="*/ 329702 h 5818346"/>
              <a:gd name="connsiteX13209" fmla="*/ 2728630 w 3503192"/>
              <a:gd name="connsiteY13209" fmla="*/ 340438 h 5818346"/>
              <a:gd name="connsiteX13210" fmla="*/ 2717892 w 3503192"/>
              <a:gd name="connsiteY13210" fmla="*/ 351175 h 5818346"/>
              <a:gd name="connsiteX13211" fmla="*/ 2707156 w 3503192"/>
              <a:gd name="connsiteY13211" fmla="*/ 340438 h 5818346"/>
              <a:gd name="connsiteX13212" fmla="*/ 2717892 w 3503192"/>
              <a:gd name="connsiteY13212" fmla="*/ 329702 h 5818346"/>
              <a:gd name="connsiteX13213" fmla="*/ 2996222 w 3503192"/>
              <a:gd name="connsiteY13213" fmla="*/ 327390 h 5818346"/>
              <a:gd name="connsiteX13214" fmla="*/ 3006959 w 3503192"/>
              <a:gd name="connsiteY13214" fmla="*/ 338127 h 5818346"/>
              <a:gd name="connsiteX13215" fmla="*/ 2996222 w 3503192"/>
              <a:gd name="connsiteY13215" fmla="*/ 348865 h 5818346"/>
              <a:gd name="connsiteX13216" fmla="*/ 2985486 w 3503192"/>
              <a:gd name="connsiteY13216" fmla="*/ 338127 h 5818346"/>
              <a:gd name="connsiteX13217" fmla="*/ 2996222 w 3503192"/>
              <a:gd name="connsiteY13217" fmla="*/ 327390 h 5818346"/>
              <a:gd name="connsiteX13218" fmla="*/ 2856974 w 3503192"/>
              <a:gd name="connsiteY13218" fmla="*/ 325902 h 5818346"/>
              <a:gd name="connsiteX13219" fmla="*/ 2867712 w 3503192"/>
              <a:gd name="connsiteY13219" fmla="*/ 336639 h 5818346"/>
              <a:gd name="connsiteX13220" fmla="*/ 2856974 w 3503192"/>
              <a:gd name="connsiteY13220" fmla="*/ 347377 h 5818346"/>
              <a:gd name="connsiteX13221" fmla="*/ 2846238 w 3503192"/>
              <a:gd name="connsiteY13221" fmla="*/ 336639 h 5818346"/>
              <a:gd name="connsiteX13222" fmla="*/ 2856974 w 3503192"/>
              <a:gd name="connsiteY13222" fmla="*/ 325902 h 5818346"/>
              <a:gd name="connsiteX13223" fmla="*/ 3453280 w 3503192"/>
              <a:gd name="connsiteY13223" fmla="*/ 325077 h 5818346"/>
              <a:gd name="connsiteX13224" fmla="*/ 3464018 w 3503192"/>
              <a:gd name="connsiteY13224" fmla="*/ 335813 h 5818346"/>
              <a:gd name="connsiteX13225" fmla="*/ 3453280 w 3503192"/>
              <a:gd name="connsiteY13225" fmla="*/ 346550 h 5818346"/>
              <a:gd name="connsiteX13226" fmla="*/ 3442543 w 3503192"/>
              <a:gd name="connsiteY13226" fmla="*/ 335813 h 5818346"/>
              <a:gd name="connsiteX13227" fmla="*/ 3453280 w 3503192"/>
              <a:gd name="connsiteY13227" fmla="*/ 325077 h 5818346"/>
              <a:gd name="connsiteX13228" fmla="*/ 1811873 w 3503192"/>
              <a:gd name="connsiteY13228" fmla="*/ 320122 h 5818346"/>
              <a:gd name="connsiteX13229" fmla="*/ 1822610 w 3503192"/>
              <a:gd name="connsiteY13229" fmla="*/ 330859 h 5818346"/>
              <a:gd name="connsiteX13230" fmla="*/ 1811873 w 3503192"/>
              <a:gd name="connsiteY13230" fmla="*/ 341595 h 5818346"/>
              <a:gd name="connsiteX13231" fmla="*/ 1801137 w 3503192"/>
              <a:gd name="connsiteY13231" fmla="*/ 330859 h 5818346"/>
              <a:gd name="connsiteX13232" fmla="*/ 1811873 w 3503192"/>
              <a:gd name="connsiteY13232" fmla="*/ 320122 h 5818346"/>
              <a:gd name="connsiteX13233" fmla="*/ 1943687 w 3503192"/>
              <a:gd name="connsiteY13233" fmla="*/ 315993 h 5818346"/>
              <a:gd name="connsiteX13234" fmla="*/ 1954425 w 3503192"/>
              <a:gd name="connsiteY13234" fmla="*/ 326730 h 5818346"/>
              <a:gd name="connsiteX13235" fmla="*/ 1943687 w 3503192"/>
              <a:gd name="connsiteY13235" fmla="*/ 337466 h 5818346"/>
              <a:gd name="connsiteX13236" fmla="*/ 1932951 w 3503192"/>
              <a:gd name="connsiteY13236" fmla="*/ 326730 h 5818346"/>
              <a:gd name="connsiteX13237" fmla="*/ 1943687 w 3503192"/>
              <a:gd name="connsiteY13237" fmla="*/ 315993 h 5818346"/>
              <a:gd name="connsiteX13238" fmla="*/ 2394302 w 3503192"/>
              <a:gd name="connsiteY13238" fmla="*/ 315166 h 5818346"/>
              <a:gd name="connsiteX13239" fmla="*/ 2405040 w 3503192"/>
              <a:gd name="connsiteY13239" fmla="*/ 325902 h 5818346"/>
              <a:gd name="connsiteX13240" fmla="*/ 2394302 w 3503192"/>
              <a:gd name="connsiteY13240" fmla="*/ 336640 h 5818346"/>
              <a:gd name="connsiteX13241" fmla="*/ 2383565 w 3503192"/>
              <a:gd name="connsiteY13241" fmla="*/ 325902 h 5818346"/>
              <a:gd name="connsiteX13242" fmla="*/ 2394302 w 3503192"/>
              <a:gd name="connsiteY13242" fmla="*/ 315166 h 5818346"/>
              <a:gd name="connsiteX13243" fmla="*/ 1595981 w 3503192"/>
              <a:gd name="connsiteY13243" fmla="*/ 314505 h 5818346"/>
              <a:gd name="connsiteX13244" fmla="*/ 1598790 w 3503192"/>
              <a:gd name="connsiteY13244" fmla="*/ 317315 h 5818346"/>
              <a:gd name="connsiteX13245" fmla="*/ 1599945 w 3503192"/>
              <a:gd name="connsiteY13245" fmla="*/ 316158 h 5818346"/>
              <a:gd name="connsiteX13246" fmla="*/ 1610683 w 3503192"/>
              <a:gd name="connsiteY13246" fmla="*/ 326894 h 5818346"/>
              <a:gd name="connsiteX13247" fmla="*/ 1608866 w 3503192"/>
              <a:gd name="connsiteY13247" fmla="*/ 328712 h 5818346"/>
              <a:gd name="connsiteX13248" fmla="*/ 1613985 w 3503192"/>
              <a:gd name="connsiteY13248" fmla="*/ 333831 h 5818346"/>
              <a:gd name="connsiteX13249" fmla="*/ 1612499 w 3503192"/>
              <a:gd name="connsiteY13249" fmla="*/ 335317 h 5818346"/>
              <a:gd name="connsiteX13250" fmla="*/ 1616959 w 3503192"/>
              <a:gd name="connsiteY13250" fmla="*/ 339778 h 5818346"/>
              <a:gd name="connsiteX13251" fmla="*/ 1615719 w 3503192"/>
              <a:gd name="connsiteY13251" fmla="*/ 341018 h 5818346"/>
              <a:gd name="connsiteX13252" fmla="*/ 1619602 w 3503192"/>
              <a:gd name="connsiteY13252" fmla="*/ 344899 h 5818346"/>
              <a:gd name="connsiteX13253" fmla="*/ 1618281 w 3503192"/>
              <a:gd name="connsiteY13253" fmla="*/ 346220 h 5818346"/>
              <a:gd name="connsiteX13254" fmla="*/ 1621749 w 3503192"/>
              <a:gd name="connsiteY13254" fmla="*/ 349689 h 5818346"/>
              <a:gd name="connsiteX13255" fmla="*/ 1620757 w 3503192"/>
              <a:gd name="connsiteY13255" fmla="*/ 350680 h 5818346"/>
              <a:gd name="connsiteX13256" fmla="*/ 1624063 w 3503192"/>
              <a:gd name="connsiteY13256" fmla="*/ 353984 h 5818346"/>
              <a:gd name="connsiteX13257" fmla="*/ 1622823 w 3503192"/>
              <a:gd name="connsiteY13257" fmla="*/ 355224 h 5818346"/>
              <a:gd name="connsiteX13258" fmla="*/ 1626045 w 3503192"/>
              <a:gd name="connsiteY13258" fmla="*/ 358445 h 5818346"/>
              <a:gd name="connsiteX13259" fmla="*/ 1624971 w 3503192"/>
              <a:gd name="connsiteY13259" fmla="*/ 359518 h 5818346"/>
              <a:gd name="connsiteX13260" fmla="*/ 1628356 w 3503192"/>
              <a:gd name="connsiteY13260" fmla="*/ 362903 h 5818346"/>
              <a:gd name="connsiteX13261" fmla="*/ 1627035 w 3503192"/>
              <a:gd name="connsiteY13261" fmla="*/ 364225 h 5818346"/>
              <a:gd name="connsiteX13262" fmla="*/ 1630835 w 3503192"/>
              <a:gd name="connsiteY13262" fmla="*/ 368024 h 5818346"/>
              <a:gd name="connsiteX13263" fmla="*/ 1629430 w 3503192"/>
              <a:gd name="connsiteY13263" fmla="*/ 369429 h 5818346"/>
              <a:gd name="connsiteX13264" fmla="*/ 1633809 w 3503192"/>
              <a:gd name="connsiteY13264" fmla="*/ 373806 h 5818346"/>
              <a:gd name="connsiteX13265" fmla="*/ 1631991 w 3503192"/>
              <a:gd name="connsiteY13265" fmla="*/ 375623 h 5818346"/>
              <a:gd name="connsiteX13266" fmla="*/ 1637277 w 3503192"/>
              <a:gd name="connsiteY13266" fmla="*/ 380907 h 5818346"/>
              <a:gd name="connsiteX13267" fmla="*/ 1635045 w 3503192"/>
              <a:gd name="connsiteY13267" fmla="*/ 383139 h 5818346"/>
              <a:gd name="connsiteX13268" fmla="*/ 1641406 w 3503192"/>
              <a:gd name="connsiteY13268" fmla="*/ 389498 h 5818346"/>
              <a:gd name="connsiteX13269" fmla="*/ 1638763 w 3503192"/>
              <a:gd name="connsiteY13269" fmla="*/ 392141 h 5818346"/>
              <a:gd name="connsiteX13270" fmla="*/ 1646692 w 3503192"/>
              <a:gd name="connsiteY13270" fmla="*/ 400069 h 5818346"/>
              <a:gd name="connsiteX13271" fmla="*/ 1643470 w 3503192"/>
              <a:gd name="connsiteY13271" fmla="*/ 403291 h 5818346"/>
              <a:gd name="connsiteX13272" fmla="*/ 1653134 w 3503192"/>
              <a:gd name="connsiteY13272" fmla="*/ 412953 h 5818346"/>
              <a:gd name="connsiteX13273" fmla="*/ 1642396 w 3503192"/>
              <a:gd name="connsiteY13273" fmla="*/ 423690 h 5818346"/>
              <a:gd name="connsiteX13274" fmla="*/ 1631660 w 3503192"/>
              <a:gd name="connsiteY13274" fmla="*/ 412953 h 5818346"/>
              <a:gd name="connsiteX13275" fmla="*/ 1634880 w 3503192"/>
              <a:gd name="connsiteY13275" fmla="*/ 409733 h 5818346"/>
              <a:gd name="connsiteX13276" fmla="*/ 1625218 w 3503192"/>
              <a:gd name="connsiteY13276" fmla="*/ 400069 h 5818346"/>
              <a:gd name="connsiteX13277" fmla="*/ 1627860 w 3503192"/>
              <a:gd name="connsiteY13277" fmla="*/ 397427 h 5818346"/>
              <a:gd name="connsiteX13278" fmla="*/ 1619932 w 3503192"/>
              <a:gd name="connsiteY13278" fmla="*/ 389498 h 5818346"/>
              <a:gd name="connsiteX13279" fmla="*/ 1622162 w 3503192"/>
              <a:gd name="connsiteY13279" fmla="*/ 387268 h 5818346"/>
              <a:gd name="connsiteX13280" fmla="*/ 1615803 w 3503192"/>
              <a:gd name="connsiteY13280" fmla="*/ 380907 h 5818346"/>
              <a:gd name="connsiteX13281" fmla="*/ 1617618 w 3503192"/>
              <a:gd name="connsiteY13281" fmla="*/ 379092 h 5818346"/>
              <a:gd name="connsiteX13282" fmla="*/ 1612334 w 3503192"/>
              <a:gd name="connsiteY13282" fmla="*/ 373806 h 5818346"/>
              <a:gd name="connsiteX13283" fmla="*/ 1613739 w 3503192"/>
              <a:gd name="connsiteY13283" fmla="*/ 372403 h 5818346"/>
              <a:gd name="connsiteX13284" fmla="*/ 1609360 w 3503192"/>
              <a:gd name="connsiteY13284" fmla="*/ 368024 h 5818346"/>
              <a:gd name="connsiteX13285" fmla="*/ 1610682 w 3503192"/>
              <a:gd name="connsiteY13285" fmla="*/ 366703 h 5818346"/>
              <a:gd name="connsiteX13286" fmla="*/ 1606882 w 3503192"/>
              <a:gd name="connsiteY13286" fmla="*/ 362903 h 5818346"/>
              <a:gd name="connsiteX13287" fmla="*/ 1607956 w 3503192"/>
              <a:gd name="connsiteY13287" fmla="*/ 361830 h 5818346"/>
              <a:gd name="connsiteX13288" fmla="*/ 1604570 w 3503192"/>
              <a:gd name="connsiteY13288" fmla="*/ 358445 h 5818346"/>
              <a:gd name="connsiteX13289" fmla="*/ 1605810 w 3503192"/>
              <a:gd name="connsiteY13289" fmla="*/ 357206 h 5818346"/>
              <a:gd name="connsiteX13290" fmla="*/ 1602588 w 3503192"/>
              <a:gd name="connsiteY13290" fmla="*/ 353984 h 5818346"/>
              <a:gd name="connsiteX13291" fmla="*/ 1603580 w 3503192"/>
              <a:gd name="connsiteY13291" fmla="*/ 352994 h 5818346"/>
              <a:gd name="connsiteX13292" fmla="*/ 1600275 w 3503192"/>
              <a:gd name="connsiteY13292" fmla="*/ 349689 h 5818346"/>
              <a:gd name="connsiteX13293" fmla="*/ 1601596 w 3503192"/>
              <a:gd name="connsiteY13293" fmla="*/ 348367 h 5818346"/>
              <a:gd name="connsiteX13294" fmla="*/ 1598128 w 3503192"/>
              <a:gd name="connsiteY13294" fmla="*/ 344899 h 5818346"/>
              <a:gd name="connsiteX13295" fmla="*/ 1599368 w 3503192"/>
              <a:gd name="connsiteY13295" fmla="*/ 343661 h 5818346"/>
              <a:gd name="connsiteX13296" fmla="*/ 1595485 w 3503192"/>
              <a:gd name="connsiteY13296" fmla="*/ 339778 h 5818346"/>
              <a:gd name="connsiteX13297" fmla="*/ 1596971 w 3503192"/>
              <a:gd name="connsiteY13297" fmla="*/ 338291 h 5818346"/>
              <a:gd name="connsiteX13298" fmla="*/ 1592512 w 3503192"/>
              <a:gd name="connsiteY13298" fmla="*/ 333831 h 5818346"/>
              <a:gd name="connsiteX13299" fmla="*/ 1594328 w 3503192"/>
              <a:gd name="connsiteY13299" fmla="*/ 332015 h 5818346"/>
              <a:gd name="connsiteX13300" fmla="*/ 1589209 w 3503192"/>
              <a:gd name="connsiteY13300" fmla="*/ 326894 h 5818346"/>
              <a:gd name="connsiteX13301" fmla="*/ 1594330 w 3503192"/>
              <a:gd name="connsiteY13301" fmla="*/ 321773 h 5818346"/>
              <a:gd name="connsiteX13302" fmla="*/ 1591521 w 3503192"/>
              <a:gd name="connsiteY13302" fmla="*/ 318966 h 5818346"/>
              <a:gd name="connsiteX13303" fmla="*/ 1595981 w 3503192"/>
              <a:gd name="connsiteY13303" fmla="*/ 314505 h 5818346"/>
              <a:gd name="connsiteX13304" fmla="*/ 3323942 w 3503192"/>
              <a:gd name="connsiteY13304" fmla="*/ 307569 h 5818346"/>
              <a:gd name="connsiteX13305" fmla="*/ 3334680 w 3503192"/>
              <a:gd name="connsiteY13305" fmla="*/ 318305 h 5818346"/>
              <a:gd name="connsiteX13306" fmla="*/ 3323942 w 3503192"/>
              <a:gd name="connsiteY13306" fmla="*/ 329041 h 5818346"/>
              <a:gd name="connsiteX13307" fmla="*/ 3313206 w 3503192"/>
              <a:gd name="connsiteY13307" fmla="*/ 318305 h 5818346"/>
              <a:gd name="connsiteX13308" fmla="*/ 3323942 w 3503192"/>
              <a:gd name="connsiteY13308" fmla="*/ 307569 h 5818346"/>
              <a:gd name="connsiteX13309" fmla="*/ 2076824 w 3503192"/>
              <a:gd name="connsiteY13309" fmla="*/ 306247 h 5818346"/>
              <a:gd name="connsiteX13310" fmla="*/ 2087560 w 3503192"/>
              <a:gd name="connsiteY13310" fmla="*/ 316983 h 5818346"/>
              <a:gd name="connsiteX13311" fmla="*/ 2076824 w 3503192"/>
              <a:gd name="connsiteY13311" fmla="*/ 327720 h 5818346"/>
              <a:gd name="connsiteX13312" fmla="*/ 2066088 w 3503192"/>
              <a:gd name="connsiteY13312" fmla="*/ 316983 h 5818346"/>
              <a:gd name="connsiteX13313" fmla="*/ 2076824 w 3503192"/>
              <a:gd name="connsiteY13313" fmla="*/ 306247 h 5818346"/>
              <a:gd name="connsiteX13314" fmla="*/ 2226642 w 3503192"/>
              <a:gd name="connsiteY13314" fmla="*/ 305255 h 5818346"/>
              <a:gd name="connsiteX13315" fmla="*/ 2237380 w 3503192"/>
              <a:gd name="connsiteY13315" fmla="*/ 315992 h 5818346"/>
              <a:gd name="connsiteX13316" fmla="*/ 2226642 w 3503192"/>
              <a:gd name="connsiteY13316" fmla="*/ 326730 h 5818346"/>
              <a:gd name="connsiteX13317" fmla="*/ 2215906 w 3503192"/>
              <a:gd name="connsiteY13317" fmla="*/ 315992 h 5818346"/>
              <a:gd name="connsiteX13318" fmla="*/ 2226642 w 3503192"/>
              <a:gd name="connsiteY13318" fmla="*/ 305255 h 5818346"/>
              <a:gd name="connsiteX13319" fmla="*/ 1923369 w 3503192"/>
              <a:gd name="connsiteY13319" fmla="*/ 300630 h 5818346"/>
              <a:gd name="connsiteX13320" fmla="*/ 1934106 w 3503192"/>
              <a:gd name="connsiteY13320" fmla="*/ 311367 h 5818346"/>
              <a:gd name="connsiteX13321" fmla="*/ 1923369 w 3503192"/>
              <a:gd name="connsiteY13321" fmla="*/ 322103 h 5818346"/>
              <a:gd name="connsiteX13322" fmla="*/ 1912633 w 3503192"/>
              <a:gd name="connsiteY13322" fmla="*/ 311367 h 5818346"/>
              <a:gd name="connsiteX13323" fmla="*/ 1923369 w 3503192"/>
              <a:gd name="connsiteY13323" fmla="*/ 300630 h 5818346"/>
              <a:gd name="connsiteX13324" fmla="*/ 2524794 w 3503192"/>
              <a:gd name="connsiteY13324" fmla="*/ 300134 h 5818346"/>
              <a:gd name="connsiteX13325" fmla="*/ 2535532 w 3503192"/>
              <a:gd name="connsiteY13325" fmla="*/ 310871 h 5818346"/>
              <a:gd name="connsiteX13326" fmla="*/ 2524794 w 3503192"/>
              <a:gd name="connsiteY13326" fmla="*/ 321607 h 5818346"/>
              <a:gd name="connsiteX13327" fmla="*/ 2514058 w 3503192"/>
              <a:gd name="connsiteY13327" fmla="*/ 310871 h 5818346"/>
              <a:gd name="connsiteX13328" fmla="*/ 2524794 w 3503192"/>
              <a:gd name="connsiteY13328" fmla="*/ 300134 h 5818346"/>
              <a:gd name="connsiteX13329" fmla="*/ 3495401 w 3503192"/>
              <a:gd name="connsiteY13329" fmla="*/ 295180 h 5818346"/>
              <a:gd name="connsiteX13330" fmla="*/ 3503192 w 3503192"/>
              <a:gd name="connsiteY13330" fmla="*/ 302970 h 5818346"/>
              <a:gd name="connsiteX13331" fmla="*/ 3503192 w 3503192"/>
              <a:gd name="connsiteY13331" fmla="*/ 308862 h 5818346"/>
              <a:gd name="connsiteX13332" fmla="*/ 3495401 w 3503192"/>
              <a:gd name="connsiteY13332" fmla="*/ 316652 h 5818346"/>
              <a:gd name="connsiteX13333" fmla="*/ 3484665 w 3503192"/>
              <a:gd name="connsiteY13333" fmla="*/ 305916 h 5818346"/>
              <a:gd name="connsiteX13334" fmla="*/ 3495401 w 3503192"/>
              <a:gd name="connsiteY13334" fmla="*/ 295180 h 5818346"/>
              <a:gd name="connsiteX13335" fmla="*/ 3192458 w 3503192"/>
              <a:gd name="connsiteY13335" fmla="*/ 294519 h 5818346"/>
              <a:gd name="connsiteX13336" fmla="*/ 3203196 w 3503192"/>
              <a:gd name="connsiteY13336" fmla="*/ 305255 h 5818346"/>
              <a:gd name="connsiteX13337" fmla="*/ 3192458 w 3503192"/>
              <a:gd name="connsiteY13337" fmla="*/ 315993 h 5818346"/>
              <a:gd name="connsiteX13338" fmla="*/ 3181722 w 3503192"/>
              <a:gd name="connsiteY13338" fmla="*/ 305255 h 5818346"/>
              <a:gd name="connsiteX13339" fmla="*/ 3192458 w 3503192"/>
              <a:gd name="connsiteY13339" fmla="*/ 294519 h 5818346"/>
              <a:gd name="connsiteX13340" fmla="*/ 2657270 w 3503192"/>
              <a:gd name="connsiteY13340" fmla="*/ 289398 h 5818346"/>
              <a:gd name="connsiteX13341" fmla="*/ 2668008 w 3503192"/>
              <a:gd name="connsiteY13341" fmla="*/ 300134 h 5818346"/>
              <a:gd name="connsiteX13342" fmla="*/ 2657270 w 3503192"/>
              <a:gd name="connsiteY13342" fmla="*/ 310871 h 5818346"/>
              <a:gd name="connsiteX13343" fmla="*/ 2646534 w 3503192"/>
              <a:gd name="connsiteY13343" fmla="*/ 300134 h 5818346"/>
              <a:gd name="connsiteX13344" fmla="*/ 2657270 w 3503192"/>
              <a:gd name="connsiteY13344" fmla="*/ 289398 h 5818346"/>
              <a:gd name="connsiteX13345" fmla="*/ 1905200 w 3503192"/>
              <a:gd name="connsiteY13345" fmla="*/ 288572 h 5818346"/>
              <a:gd name="connsiteX13346" fmla="*/ 1915937 w 3503192"/>
              <a:gd name="connsiteY13346" fmla="*/ 299309 h 5818346"/>
              <a:gd name="connsiteX13347" fmla="*/ 1905200 w 3503192"/>
              <a:gd name="connsiteY13347" fmla="*/ 310047 h 5818346"/>
              <a:gd name="connsiteX13348" fmla="*/ 1894464 w 3503192"/>
              <a:gd name="connsiteY13348" fmla="*/ 299309 h 5818346"/>
              <a:gd name="connsiteX13349" fmla="*/ 1905200 w 3503192"/>
              <a:gd name="connsiteY13349" fmla="*/ 288572 h 5818346"/>
              <a:gd name="connsiteX13350" fmla="*/ 2049238 w 3503192"/>
              <a:gd name="connsiteY13350" fmla="*/ 286921 h 5818346"/>
              <a:gd name="connsiteX13351" fmla="*/ 2059975 w 3503192"/>
              <a:gd name="connsiteY13351" fmla="*/ 297658 h 5818346"/>
              <a:gd name="connsiteX13352" fmla="*/ 2049238 w 3503192"/>
              <a:gd name="connsiteY13352" fmla="*/ 308394 h 5818346"/>
              <a:gd name="connsiteX13353" fmla="*/ 2038502 w 3503192"/>
              <a:gd name="connsiteY13353" fmla="*/ 297658 h 5818346"/>
              <a:gd name="connsiteX13354" fmla="*/ 2049238 w 3503192"/>
              <a:gd name="connsiteY13354" fmla="*/ 286921 h 5818346"/>
              <a:gd name="connsiteX13355" fmla="*/ 3059321 w 3503192"/>
              <a:gd name="connsiteY13355" fmla="*/ 286094 h 5818346"/>
              <a:gd name="connsiteX13356" fmla="*/ 3070059 w 3503192"/>
              <a:gd name="connsiteY13356" fmla="*/ 296831 h 5818346"/>
              <a:gd name="connsiteX13357" fmla="*/ 3059321 w 3503192"/>
              <a:gd name="connsiteY13357" fmla="*/ 307569 h 5818346"/>
              <a:gd name="connsiteX13358" fmla="*/ 3048584 w 3503192"/>
              <a:gd name="connsiteY13358" fmla="*/ 296831 h 5818346"/>
              <a:gd name="connsiteX13359" fmla="*/ 3059321 w 3503192"/>
              <a:gd name="connsiteY13359" fmla="*/ 286094 h 5818346"/>
              <a:gd name="connsiteX13360" fmla="*/ 1653630 w 3503192"/>
              <a:gd name="connsiteY13360" fmla="*/ 285104 h 5818346"/>
              <a:gd name="connsiteX13361" fmla="*/ 1663375 w 3503192"/>
              <a:gd name="connsiteY13361" fmla="*/ 294850 h 5818346"/>
              <a:gd name="connsiteX13362" fmla="*/ 1662962 w 3503192"/>
              <a:gd name="connsiteY13362" fmla="*/ 295263 h 5818346"/>
              <a:gd name="connsiteX13363" fmla="*/ 1669488 w 3503192"/>
              <a:gd name="connsiteY13363" fmla="*/ 301787 h 5818346"/>
              <a:gd name="connsiteX13364" fmla="*/ 1668910 w 3503192"/>
              <a:gd name="connsiteY13364" fmla="*/ 302366 h 5818346"/>
              <a:gd name="connsiteX13365" fmla="*/ 1674111 w 3503192"/>
              <a:gd name="connsiteY13365" fmla="*/ 307567 h 5818346"/>
              <a:gd name="connsiteX13366" fmla="*/ 1673863 w 3503192"/>
              <a:gd name="connsiteY13366" fmla="*/ 307815 h 5818346"/>
              <a:gd name="connsiteX13367" fmla="*/ 1675847 w 3503192"/>
              <a:gd name="connsiteY13367" fmla="*/ 309799 h 5818346"/>
              <a:gd name="connsiteX13368" fmla="*/ 1676093 w 3503192"/>
              <a:gd name="connsiteY13368" fmla="*/ 309551 h 5818346"/>
              <a:gd name="connsiteX13369" fmla="*/ 1679893 w 3503192"/>
              <a:gd name="connsiteY13369" fmla="*/ 313349 h 5818346"/>
              <a:gd name="connsiteX13370" fmla="*/ 1680222 w 3503192"/>
              <a:gd name="connsiteY13370" fmla="*/ 313019 h 5818346"/>
              <a:gd name="connsiteX13371" fmla="*/ 1683939 w 3503192"/>
              <a:gd name="connsiteY13371" fmla="*/ 316736 h 5818346"/>
              <a:gd name="connsiteX13372" fmla="*/ 1684352 w 3503192"/>
              <a:gd name="connsiteY13372" fmla="*/ 316323 h 5818346"/>
              <a:gd name="connsiteX13373" fmla="*/ 1688564 w 3503192"/>
              <a:gd name="connsiteY13373" fmla="*/ 320535 h 5818346"/>
              <a:gd name="connsiteX13374" fmla="*/ 1688977 w 3503192"/>
              <a:gd name="connsiteY13374" fmla="*/ 320122 h 5818346"/>
              <a:gd name="connsiteX13375" fmla="*/ 1693520 w 3503192"/>
              <a:gd name="connsiteY13375" fmla="*/ 324664 h 5818346"/>
              <a:gd name="connsiteX13376" fmla="*/ 1693933 w 3503192"/>
              <a:gd name="connsiteY13376" fmla="*/ 324252 h 5818346"/>
              <a:gd name="connsiteX13377" fmla="*/ 1699302 w 3503192"/>
              <a:gd name="connsiteY13377" fmla="*/ 329621 h 5818346"/>
              <a:gd name="connsiteX13378" fmla="*/ 1699548 w 3503192"/>
              <a:gd name="connsiteY13378" fmla="*/ 329373 h 5818346"/>
              <a:gd name="connsiteX13379" fmla="*/ 1705991 w 3503192"/>
              <a:gd name="connsiteY13379" fmla="*/ 335813 h 5818346"/>
              <a:gd name="connsiteX13380" fmla="*/ 1716729 w 3503192"/>
              <a:gd name="connsiteY13380" fmla="*/ 346550 h 5818346"/>
              <a:gd name="connsiteX13381" fmla="*/ 1716481 w 3503192"/>
              <a:gd name="connsiteY13381" fmla="*/ 346800 h 5818346"/>
              <a:gd name="connsiteX13382" fmla="*/ 1724162 w 3503192"/>
              <a:gd name="connsiteY13382" fmla="*/ 354480 h 5818346"/>
              <a:gd name="connsiteX13383" fmla="*/ 1723418 w 3503192"/>
              <a:gd name="connsiteY13383" fmla="*/ 355224 h 5818346"/>
              <a:gd name="connsiteX13384" fmla="*/ 1732751 w 3503192"/>
              <a:gd name="connsiteY13384" fmla="*/ 364556 h 5818346"/>
              <a:gd name="connsiteX13385" fmla="*/ 1722013 w 3503192"/>
              <a:gd name="connsiteY13385" fmla="*/ 375292 h 5818346"/>
              <a:gd name="connsiteX13386" fmla="*/ 1711277 w 3503192"/>
              <a:gd name="connsiteY13386" fmla="*/ 364556 h 5818346"/>
              <a:gd name="connsiteX13387" fmla="*/ 1712020 w 3503192"/>
              <a:gd name="connsiteY13387" fmla="*/ 363814 h 5818346"/>
              <a:gd name="connsiteX13388" fmla="*/ 1702689 w 3503192"/>
              <a:gd name="connsiteY13388" fmla="*/ 354480 h 5818346"/>
              <a:gd name="connsiteX13389" fmla="*/ 1702937 w 3503192"/>
              <a:gd name="connsiteY13389" fmla="*/ 354234 h 5818346"/>
              <a:gd name="connsiteX13390" fmla="*/ 1699548 w 3503192"/>
              <a:gd name="connsiteY13390" fmla="*/ 350845 h 5818346"/>
              <a:gd name="connsiteX13391" fmla="*/ 1694181 w 3503192"/>
              <a:gd name="connsiteY13391" fmla="*/ 345478 h 5818346"/>
              <a:gd name="connsiteX13392" fmla="*/ 1693933 w 3503192"/>
              <a:gd name="connsiteY13392" fmla="*/ 345724 h 5818346"/>
              <a:gd name="connsiteX13393" fmla="*/ 1689391 w 3503192"/>
              <a:gd name="connsiteY13393" fmla="*/ 341182 h 5818346"/>
              <a:gd name="connsiteX13394" fmla="*/ 1688977 w 3503192"/>
              <a:gd name="connsiteY13394" fmla="*/ 341595 h 5818346"/>
              <a:gd name="connsiteX13395" fmla="*/ 1684766 w 3503192"/>
              <a:gd name="connsiteY13395" fmla="*/ 337384 h 5818346"/>
              <a:gd name="connsiteX13396" fmla="*/ 1684352 w 3503192"/>
              <a:gd name="connsiteY13396" fmla="*/ 337797 h 5818346"/>
              <a:gd name="connsiteX13397" fmla="*/ 1680635 w 3503192"/>
              <a:gd name="connsiteY13397" fmla="*/ 334079 h 5818346"/>
              <a:gd name="connsiteX13398" fmla="*/ 1680222 w 3503192"/>
              <a:gd name="connsiteY13398" fmla="*/ 334492 h 5818346"/>
              <a:gd name="connsiteX13399" fmla="*/ 1676425 w 3503192"/>
              <a:gd name="connsiteY13399" fmla="*/ 330694 h 5818346"/>
              <a:gd name="connsiteX13400" fmla="*/ 1676093 w 3503192"/>
              <a:gd name="connsiteY13400" fmla="*/ 331025 h 5818346"/>
              <a:gd name="connsiteX13401" fmla="*/ 1672210 w 3503192"/>
              <a:gd name="connsiteY13401" fmla="*/ 327142 h 5818346"/>
              <a:gd name="connsiteX13402" fmla="*/ 1671964 w 3503192"/>
              <a:gd name="connsiteY13402" fmla="*/ 327389 h 5818346"/>
              <a:gd name="connsiteX13403" fmla="*/ 1667835 w 3503192"/>
              <a:gd name="connsiteY13403" fmla="*/ 323260 h 5818346"/>
              <a:gd name="connsiteX13404" fmla="*/ 1667834 w 3503192"/>
              <a:gd name="connsiteY13404" fmla="*/ 323260 h 5818346"/>
              <a:gd name="connsiteX13405" fmla="*/ 1657097 w 3503192"/>
              <a:gd name="connsiteY13405" fmla="*/ 312523 h 5818346"/>
              <a:gd name="connsiteX13406" fmla="*/ 1657345 w 3503192"/>
              <a:gd name="connsiteY13406" fmla="*/ 312275 h 5818346"/>
              <a:gd name="connsiteX13407" fmla="*/ 1652638 w 3503192"/>
              <a:gd name="connsiteY13407" fmla="*/ 307567 h 5818346"/>
              <a:gd name="connsiteX13408" fmla="*/ 1653216 w 3503192"/>
              <a:gd name="connsiteY13408" fmla="*/ 306989 h 5818346"/>
              <a:gd name="connsiteX13409" fmla="*/ 1648013 w 3503192"/>
              <a:gd name="connsiteY13409" fmla="*/ 301787 h 5818346"/>
              <a:gd name="connsiteX13410" fmla="*/ 1649418 w 3503192"/>
              <a:gd name="connsiteY13410" fmla="*/ 300384 h 5818346"/>
              <a:gd name="connsiteX13411" fmla="*/ 1643884 w 3503192"/>
              <a:gd name="connsiteY13411" fmla="*/ 294850 h 5818346"/>
              <a:gd name="connsiteX13412" fmla="*/ 1653630 w 3503192"/>
              <a:gd name="connsiteY13412" fmla="*/ 285104 h 5818346"/>
              <a:gd name="connsiteX13413" fmla="*/ 2349041 w 3503192"/>
              <a:gd name="connsiteY13413" fmla="*/ 284608 h 5818346"/>
              <a:gd name="connsiteX13414" fmla="*/ 2359779 w 3503192"/>
              <a:gd name="connsiteY13414" fmla="*/ 295344 h 5818346"/>
              <a:gd name="connsiteX13415" fmla="*/ 2349041 w 3503192"/>
              <a:gd name="connsiteY13415" fmla="*/ 306082 h 5818346"/>
              <a:gd name="connsiteX13416" fmla="*/ 2338305 w 3503192"/>
              <a:gd name="connsiteY13416" fmla="*/ 295344 h 5818346"/>
              <a:gd name="connsiteX13417" fmla="*/ 2349041 w 3503192"/>
              <a:gd name="connsiteY13417" fmla="*/ 284608 h 5818346"/>
              <a:gd name="connsiteX13418" fmla="*/ 2790902 w 3503192"/>
              <a:gd name="connsiteY13418" fmla="*/ 283616 h 5818346"/>
              <a:gd name="connsiteX13419" fmla="*/ 2801640 w 3503192"/>
              <a:gd name="connsiteY13419" fmla="*/ 294353 h 5818346"/>
              <a:gd name="connsiteX13420" fmla="*/ 2790902 w 3503192"/>
              <a:gd name="connsiteY13420" fmla="*/ 305089 h 5818346"/>
              <a:gd name="connsiteX13421" fmla="*/ 2780165 w 3503192"/>
              <a:gd name="connsiteY13421" fmla="*/ 294353 h 5818346"/>
              <a:gd name="connsiteX13422" fmla="*/ 2790902 w 3503192"/>
              <a:gd name="connsiteY13422" fmla="*/ 283616 h 5818346"/>
              <a:gd name="connsiteX13423" fmla="*/ 2925195 w 3503192"/>
              <a:gd name="connsiteY13423" fmla="*/ 282461 h 5818346"/>
              <a:gd name="connsiteX13424" fmla="*/ 2935933 w 3503192"/>
              <a:gd name="connsiteY13424" fmla="*/ 293197 h 5818346"/>
              <a:gd name="connsiteX13425" fmla="*/ 2925195 w 3503192"/>
              <a:gd name="connsiteY13425" fmla="*/ 303934 h 5818346"/>
              <a:gd name="connsiteX13426" fmla="*/ 2914459 w 3503192"/>
              <a:gd name="connsiteY13426" fmla="*/ 293197 h 5818346"/>
              <a:gd name="connsiteX13427" fmla="*/ 2925195 w 3503192"/>
              <a:gd name="connsiteY13427" fmla="*/ 282461 h 5818346"/>
              <a:gd name="connsiteX13428" fmla="*/ 2190798 w 3503192"/>
              <a:gd name="connsiteY13428" fmla="*/ 280975 h 5818346"/>
              <a:gd name="connsiteX13429" fmla="*/ 2201536 w 3503192"/>
              <a:gd name="connsiteY13429" fmla="*/ 291711 h 5818346"/>
              <a:gd name="connsiteX13430" fmla="*/ 2190798 w 3503192"/>
              <a:gd name="connsiteY13430" fmla="*/ 302448 h 5818346"/>
              <a:gd name="connsiteX13431" fmla="*/ 2180062 w 3503192"/>
              <a:gd name="connsiteY13431" fmla="*/ 291711 h 5818346"/>
              <a:gd name="connsiteX13432" fmla="*/ 2190798 w 3503192"/>
              <a:gd name="connsiteY13432" fmla="*/ 280975 h 5818346"/>
              <a:gd name="connsiteX13433" fmla="*/ 1889178 w 3503192"/>
              <a:gd name="connsiteY13433" fmla="*/ 279157 h 5818346"/>
              <a:gd name="connsiteX13434" fmla="*/ 1899914 w 3503192"/>
              <a:gd name="connsiteY13434" fmla="*/ 289894 h 5818346"/>
              <a:gd name="connsiteX13435" fmla="*/ 1889178 w 3503192"/>
              <a:gd name="connsiteY13435" fmla="*/ 300632 h 5818346"/>
              <a:gd name="connsiteX13436" fmla="*/ 1878442 w 3503192"/>
              <a:gd name="connsiteY13436" fmla="*/ 289894 h 5818346"/>
              <a:gd name="connsiteX13437" fmla="*/ 1889178 w 3503192"/>
              <a:gd name="connsiteY13437" fmla="*/ 279157 h 5818346"/>
              <a:gd name="connsiteX13438" fmla="*/ 3371844 w 3503192"/>
              <a:gd name="connsiteY13438" fmla="*/ 276348 h 5818346"/>
              <a:gd name="connsiteX13439" fmla="*/ 3382582 w 3503192"/>
              <a:gd name="connsiteY13439" fmla="*/ 287084 h 5818346"/>
              <a:gd name="connsiteX13440" fmla="*/ 3371844 w 3503192"/>
              <a:gd name="connsiteY13440" fmla="*/ 297822 h 5818346"/>
              <a:gd name="connsiteX13441" fmla="*/ 3361108 w 3503192"/>
              <a:gd name="connsiteY13441" fmla="*/ 287084 h 5818346"/>
              <a:gd name="connsiteX13442" fmla="*/ 3371844 w 3503192"/>
              <a:gd name="connsiteY13442" fmla="*/ 276348 h 5818346"/>
              <a:gd name="connsiteX13443" fmla="*/ 2024296 w 3503192"/>
              <a:gd name="connsiteY13443" fmla="*/ 271558 h 5818346"/>
              <a:gd name="connsiteX13444" fmla="*/ 2035032 w 3503192"/>
              <a:gd name="connsiteY13444" fmla="*/ 282295 h 5818346"/>
              <a:gd name="connsiteX13445" fmla="*/ 2024296 w 3503192"/>
              <a:gd name="connsiteY13445" fmla="*/ 293031 h 5818346"/>
              <a:gd name="connsiteX13446" fmla="*/ 2013559 w 3503192"/>
              <a:gd name="connsiteY13446" fmla="*/ 282295 h 5818346"/>
              <a:gd name="connsiteX13447" fmla="*/ 2024296 w 3503192"/>
              <a:gd name="connsiteY13447" fmla="*/ 271558 h 5818346"/>
              <a:gd name="connsiteX13448" fmla="*/ 2474085 w 3503192"/>
              <a:gd name="connsiteY13448" fmla="*/ 267925 h 5818346"/>
              <a:gd name="connsiteX13449" fmla="*/ 2484821 w 3503192"/>
              <a:gd name="connsiteY13449" fmla="*/ 278661 h 5818346"/>
              <a:gd name="connsiteX13450" fmla="*/ 2474085 w 3503192"/>
              <a:gd name="connsiteY13450" fmla="*/ 289400 h 5818346"/>
              <a:gd name="connsiteX13451" fmla="*/ 2463348 w 3503192"/>
              <a:gd name="connsiteY13451" fmla="*/ 278661 h 5818346"/>
              <a:gd name="connsiteX13452" fmla="*/ 2474085 w 3503192"/>
              <a:gd name="connsiteY13452" fmla="*/ 267925 h 5818346"/>
              <a:gd name="connsiteX13453" fmla="*/ 1705991 w 3503192"/>
              <a:gd name="connsiteY13453" fmla="*/ 261979 h 5818346"/>
              <a:gd name="connsiteX13454" fmla="*/ 1708304 w 3503192"/>
              <a:gd name="connsiteY13454" fmla="*/ 264290 h 5818346"/>
              <a:gd name="connsiteX13455" fmla="*/ 1705991 w 3503192"/>
              <a:gd name="connsiteY13455" fmla="*/ 266604 h 5818346"/>
              <a:gd name="connsiteX13456" fmla="*/ 1703679 w 3503192"/>
              <a:gd name="connsiteY13456" fmla="*/ 264290 h 5818346"/>
              <a:gd name="connsiteX13457" fmla="*/ 1705991 w 3503192"/>
              <a:gd name="connsiteY13457" fmla="*/ 261979 h 5818346"/>
              <a:gd name="connsiteX13458" fmla="*/ 3245645 w 3503192"/>
              <a:gd name="connsiteY13458" fmla="*/ 261647 h 5818346"/>
              <a:gd name="connsiteX13459" fmla="*/ 3256383 w 3503192"/>
              <a:gd name="connsiteY13459" fmla="*/ 272384 h 5818346"/>
              <a:gd name="connsiteX13460" fmla="*/ 3245645 w 3503192"/>
              <a:gd name="connsiteY13460" fmla="*/ 283120 h 5818346"/>
              <a:gd name="connsiteX13461" fmla="*/ 3234909 w 3503192"/>
              <a:gd name="connsiteY13461" fmla="*/ 272384 h 5818346"/>
              <a:gd name="connsiteX13462" fmla="*/ 3245645 w 3503192"/>
              <a:gd name="connsiteY13462" fmla="*/ 261647 h 5818346"/>
              <a:gd name="connsiteX13463" fmla="*/ 2158093 w 3503192"/>
              <a:gd name="connsiteY13463" fmla="*/ 261153 h 5818346"/>
              <a:gd name="connsiteX13464" fmla="*/ 2168832 w 3503192"/>
              <a:gd name="connsiteY13464" fmla="*/ 271890 h 5818346"/>
              <a:gd name="connsiteX13465" fmla="*/ 2158093 w 3503192"/>
              <a:gd name="connsiteY13465" fmla="*/ 282628 h 5818346"/>
              <a:gd name="connsiteX13466" fmla="*/ 2147357 w 3503192"/>
              <a:gd name="connsiteY13466" fmla="*/ 271890 h 5818346"/>
              <a:gd name="connsiteX13467" fmla="*/ 2158093 w 3503192"/>
              <a:gd name="connsiteY13467" fmla="*/ 261153 h 5818346"/>
              <a:gd name="connsiteX13468" fmla="*/ 1712764 w 3503192"/>
              <a:gd name="connsiteY13468" fmla="*/ 260657 h 5818346"/>
              <a:gd name="connsiteX13469" fmla="*/ 1718876 w 3503192"/>
              <a:gd name="connsiteY13469" fmla="*/ 266768 h 5818346"/>
              <a:gd name="connsiteX13470" fmla="*/ 1719205 w 3503192"/>
              <a:gd name="connsiteY13470" fmla="*/ 266439 h 5818346"/>
              <a:gd name="connsiteX13471" fmla="*/ 1724658 w 3503192"/>
              <a:gd name="connsiteY13471" fmla="*/ 271890 h 5818346"/>
              <a:gd name="connsiteX13472" fmla="*/ 1725318 w 3503192"/>
              <a:gd name="connsiteY13472" fmla="*/ 271229 h 5818346"/>
              <a:gd name="connsiteX13473" fmla="*/ 1730191 w 3503192"/>
              <a:gd name="connsiteY13473" fmla="*/ 276102 h 5818346"/>
              <a:gd name="connsiteX13474" fmla="*/ 1731265 w 3503192"/>
              <a:gd name="connsiteY13474" fmla="*/ 275027 h 5818346"/>
              <a:gd name="connsiteX13475" fmla="*/ 1735890 w 3503192"/>
              <a:gd name="connsiteY13475" fmla="*/ 279652 h 5818346"/>
              <a:gd name="connsiteX13476" fmla="*/ 1737210 w 3503192"/>
              <a:gd name="connsiteY13476" fmla="*/ 278332 h 5818346"/>
              <a:gd name="connsiteX13477" fmla="*/ 1741505 w 3503192"/>
              <a:gd name="connsiteY13477" fmla="*/ 282626 h 5818346"/>
              <a:gd name="connsiteX13478" fmla="*/ 1743156 w 3503192"/>
              <a:gd name="connsiteY13478" fmla="*/ 280975 h 5818346"/>
              <a:gd name="connsiteX13479" fmla="*/ 1747616 w 3503192"/>
              <a:gd name="connsiteY13479" fmla="*/ 285433 h 5818346"/>
              <a:gd name="connsiteX13480" fmla="*/ 1749434 w 3503192"/>
              <a:gd name="connsiteY13480" fmla="*/ 283616 h 5818346"/>
              <a:gd name="connsiteX13481" fmla="*/ 1753894 w 3503192"/>
              <a:gd name="connsiteY13481" fmla="*/ 288076 h 5818346"/>
              <a:gd name="connsiteX13482" fmla="*/ 1755876 w 3503192"/>
              <a:gd name="connsiteY13482" fmla="*/ 286094 h 5818346"/>
              <a:gd name="connsiteX13483" fmla="*/ 1760916 w 3503192"/>
              <a:gd name="connsiteY13483" fmla="*/ 291134 h 5818346"/>
              <a:gd name="connsiteX13484" fmla="*/ 1762980 w 3503192"/>
              <a:gd name="connsiteY13484" fmla="*/ 289068 h 5818346"/>
              <a:gd name="connsiteX13485" fmla="*/ 1768513 w 3503192"/>
              <a:gd name="connsiteY13485" fmla="*/ 294602 h 5818346"/>
              <a:gd name="connsiteX13486" fmla="*/ 1770577 w 3503192"/>
              <a:gd name="connsiteY13486" fmla="*/ 292537 h 5818346"/>
              <a:gd name="connsiteX13487" fmla="*/ 1777184 w 3503192"/>
              <a:gd name="connsiteY13487" fmla="*/ 299144 h 5818346"/>
              <a:gd name="connsiteX13488" fmla="*/ 1779166 w 3503192"/>
              <a:gd name="connsiteY13488" fmla="*/ 297162 h 5818346"/>
              <a:gd name="connsiteX13489" fmla="*/ 1786847 w 3503192"/>
              <a:gd name="connsiteY13489" fmla="*/ 304843 h 5818346"/>
              <a:gd name="connsiteX13490" fmla="*/ 1788746 w 3503192"/>
              <a:gd name="connsiteY13490" fmla="*/ 302944 h 5818346"/>
              <a:gd name="connsiteX13491" fmla="*/ 1797996 w 3503192"/>
              <a:gd name="connsiteY13491" fmla="*/ 312194 h 5818346"/>
              <a:gd name="connsiteX13492" fmla="*/ 1799649 w 3503192"/>
              <a:gd name="connsiteY13492" fmla="*/ 310541 h 5818346"/>
              <a:gd name="connsiteX13493" fmla="*/ 1810385 w 3503192"/>
              <a:gd name="connsiteY13493" fmla="*/ 321277 h 5818346"/>
              <a:gd name="connsiteX13494" fmla="*/ 1799649 w 3503192"/>
              <a:gd name="connsiteY13494" fmla="*/ 332014 h 5818346"/>
              <a:gd name="connsiteX13495" fmla="*/ 1790399 w 3503192"/>
              <a:gd name="connsiteY13495" fmla="*/ 322764 h 5818346"/>
              <a:gd name="connsiteX13496" fmla="*/ 1788746 w 3503192"/>
              <a:gd name="connsiteY13496" fmla="*/ 324416 h 5818346"/>
              <a:gd name="connsiteX13497" fmla="*/ 1781067 w 3503192"/>
              <a:gd name="connsiteY13497" fmla="*/ 316737 h 5818346"/>
              <a:gd name="connsiteX13498" fmla="*/ 1779166 w 3503192"/>
              <a:gd name="connsiteY13498" fmla="*/ 318636 h 5818346"/>
              <a:gd name="connsiteX13499" fmla="*/ 1772559 w 3503192"/>
              <a:gd name="connsiteY13499" fmla="*/ 312027 h 5818346"/>
              <a:gd name="connsiteX13500" fmla="*/ 1770577 w 3503192"/>
              <a:gd name="connsiteY13500" fmla="*/ 314009 h 5818346"/>
              <a:gd name="connsiteX13501" fmla="*/ 1765045 w 3503192"/>
              <a:gd name="connsiteY13501" fmla="*/ 308477 h 5818346"/>
              <a:gd name="connsiteX13502" fmla="*/ 1762980 w 3503192"/>
              <a:gd name="connsiteY13502" fmla="*/ 310543 h 5818346"/>
              <a:gd name="connsiteX13503" fmla="*/ 1757942 w 3503192"/>
              <a:gd name="connsiteY13503" fmla="*/ 305503 h 5818346"/>
              <a:gd name="connsiteX13504" fmla="*/ 1755876 w 3503192"/>
              <a:gd name="connsiteY13504" fmla="*/ 307569 h 5818346"/>
              <a:gd name="connsiteX13505" fmla="*/ 1751416 w 3503192"/>
              <a:gd name="connsiteY13505" fmla="*/ 303107 h 5818346"/>
              <a:gd name="connsiteX13506" fmla="*/ 1749434 w 3503192"/>
              <a:gd name="connsiteY13506" fmla="*/ 305089 h 5818346"/>
              <a:gd name="connsiteX13507" fmla="*/ 1744975 w 3503192"/>
              <a:gd name="connsiteY13507" fmla="*/ 300630 h 5818346"/>
              <a:gd name="connsiteX13508" fmla="*/ 1743156 w 3503192"/>
              <a:gd name="connsiteY13508" fmla="*/ 302448 h 5818346"/>
              <a:gd name="connsiteX13509" fmla="*/ 1738862 w 3503192"/>
              <a:gd name="connsiteY13509" fmla="*/ 298154 h 5818346"/>
              <a:gd name="connsiteX13510" fmla="*/ 1737210 w 3503192"/>
              <a:gd name="connsiteY13510" fmla="*/ 299805 h 5818346"/>
              <a:gd name="connsiteX13511" fmla="*/ 1732584 w 3503192"/>
              <a:gd name="connsiteY13511" fmla="*/ 295181 h 5818346"/>
              <a:gd name="connsiteX13512" fmla="*/ 1731265 w 3503192"/>
              <a:gd name="connsiteY13512" fmla="*/ 296501 h 5818346"/>
              <a:gd name="connsiteX13513" fmla="*/ 1726392 w 3503192"/>
              <a:gd name="connsiteY13513" fmla="*/ 291628 h 5818346"/>
              <a:gd name="connsiteX13514" fmla="*/ 1725318 w 3503192"/>
              <a:gd name="connsiteY13514" fmla="*/ 292701 h 5818346"/>
              <a:gd name="connsiteX13515" fmla="*/ 1719868 w 3503192"/>
              <a:gd name="connsiteY13515" fmla="*/ 287251 h 5818346"/>
              <a:gd name="connsiteX13516" fmla="*/ 1719205 w 3503192"/>
              <a:gd name="connsiteY13516" fmla="*/ 287912 h 5818346"/>
              <a:gd name="connsiteX13517" fmla="*/ 1713094 w 3503192"/>
              <a:gd name="connsiteY13517" fmla="*/ 281800 h 5818346"/>
              <a:gd name="connsiteX13518" fmla="*/ 1712764 w 3503192"/>
              <a:gd name="connsiteY13518" fmla="*/ 282130 h 5818346"/>
              <a:gd name="connsiteX13519" fmla="*/ 1702028 w 3503192"/>
              <a:gd name="connsiteY13519" fmla="*/ 271394 h 5818346"/>
              <a:gd name="connsiteX13520" fmla="*/ 1712764 w 3503192"/>
              <a:gd name="connsiteY13520" fmla="*/ 260657 h 5818346"/>
              <a:gd name="connsiteX13521" fmla="*/ 2001996 w 3503192"/>
              <a:gd name="connsiteY13521" fmla="*/ 259336 h 5818346"/>
              <a:gd name="connsiteX13522" fmla="*/ 2012732 w 3503192"/>
              <a:gd name="connsiteY13522" fmla="*/ 270072 h 5818346"/>
              <a:gd name="connsiteX13523" fmla="*/ 2001996 w 3503192"/>
              <a:gd name="connsiteY13523" fmla="*/ 280810 h 5818346"/>
              <a:gd name="connsiteX13524" fmla="*/ 1991259 w 3503192"/>
              <a:gd name="connsiteY13524" fmla="*/ 270072 h 5818346"/>
              <a:gd name="connsiteX13525" fmla="*/ 2001996 w 3503192"/>
              <a:gd name="connsiteY13525" fmla="*/ 259336 h 5818346"/>
              <a:gd name="connsiteX13526" fmla="*/ 2307747 w 3503192"/>
              <a:gd name="connsiteY13526" fmla="*/ 259171 h 5818346"/>
              <a:gd name="connsiteX13527" fmla="*/ 2318485 w 3503192"/>
              <a:gd name="connsiteY13527" fmla="*/ 269907 h 5818346"/>
              <a:gd name="connsiteX13528" fmla="*/ 2307747 w 3503192"/>
              <a:gd name="connsiteY13528" fmla="*/ 280644 h 5818346"/>
              <a:gd name="connsiteX13529" fmla="*/ 2297010 w 3503192"/>
              <a:gd name="connsiteY13529" fmla="*/ 269907 h 5818346"/>
              <a:gd name="connsiteX13530" fmla="*/ 2307747 w 3503192"/>
              <a:gd name="connsiteY13530" fmla="*/ 259171 h 5818346"/>
              <a:gd name="connsiteX13531" fmla="*/ 2601109 w 3503192"/>
              <a:gd name="connsiteY13531" fmla="*/ 255536 h 5818346"/>
              <a:gd name="connsiteX13532" fmla="*/ 2611845 w 3503192"/>
              <a:gd name="connsiteY13532" fmla="*/ 266273 h 5818346"/>
              <a:gd name="connsiteX13533" fmla="*/ 2601109 w 3503192"/>
              <a:gd name="connsiteY13533" fmla="*/ 277011 h 5818346"/>
              <a:gd name="connsiteX13534" fmla="*/ 2590372 w 3503192"/>
              <a:gd name="connsiteY13534" fmla="*/ 266273 h 5818346"/>
              <a:gd name="connsiteX13535" fmla="*/ 2601109 w 3503192"/>
              <a:gd name="connsiteY13535" fmla="*/ 255536 h 5818346"/>
              <a:gd name="connsiteX13536" fmla="*/ 3117796 w 3503192"/>
              <a:gd name="connsiteY13536" fmla="*/ 251407 h 5818346"/>
              <a:gd name="connsiteX13537" fmla="*/ 3128532 w 3503192"/>
              <a:gd name="connsiteY13537" fmla="*/ 262143 h 5818346"/>
              <a:gd name="connsiteX13538" fmla="*/ 3117796 w 3503192"/>
              <a:gd name="connsiteY13538" fmla="*/ 272881 h 5818346"/>
              <a:gd name="connsiteX13539" fmla="*/ 3107060 w 3503192"/>
              <a:gd name="connsiteY13539" fmla="*/ 262143 h 5818346"/>
              <a:gd name="connsiteX13540" fmla="*/ 3117796 w 3503192"/>
              <a:gd name="connsiteY13540" fmla="*/ 251407 h 5818346"/>
              <a:gd name="connsiteX13541" fmla="*/ 3415452 w 3503192"/>
              <a:gd name="connsiteY13541" fmla="*/ 250415 h 5818346"/>
              <a:gd name="connsiteX13542" fmla="*/ 3426190 w 3503192"/>
              <a:gd name="connsiteY13542" fmla="*/ 261151 h 5818346"/>
              <a:gd name="connsiteX13543" fmla="*/ 3415452 w 3503192"/>
              <a:gd name="connsiteY13543" fmla="*/ 271890 h 5818346"/>
              <a:gd name="connsiteX13544" fmla="*/ 3404715 w 3503192"/>
              <a:gd name="connsiteY13544" fmla="*/ 261151 h 5818346"/>
              <a:gd name="connsiteX13545" fmla="*/ 3415452 w 3503192"/>
              <a:gd name="connsiteY13545" fmla="*/ 250415 h 5818346"/>
              <a:gd name="connsiteX13546" fmla="*/ 1981844 w 3503192"/>
              <a:gd name="connsiteY13546" fmla="*/ 249919 h 5818346"/>
              <a:gd name="connsiteX13547" fmla="*/ 1992581 w 3503192"/>
              <a:gd name="connsiteY13547" fmla="*/ 260656 h 5818346"/>
              <a:gd name="connsiteX13548" fmla="*/ 1981844 w 3503192"/>
              <a:gd name="connsiteY13548" fmla="*/ 271394 h 5818346"/>
              <a:gd name="connsiteX13549" fmla="*/ 1971108 w 3503192"/>
              <a:gd name="connsiteY13549" fmla="*/ 260656 h 5818346"/>
              <a:gd name="connsiteX13550" fmla="*/ 1981844 w 3503192"/>
              <a:gd name="connsiteY13550" fmla="*/ 249919 h 5818346"/>
              <a:gd name="connsiteX13551" fmla="*/ 2729785 w 3503192"/>
              <a:gd name="connsiteY13551" fmla="*/ 247607 h 5818346"/>
              <a:gd name="connsiteX13552" fmla="*/ 2740524 w 3503192"/>
              <a:gd name="connsiteY13552" fmla="*/ 258344 h 5818346"/>
              <a:gd name="connsiteX13553" fmla="*/ 2729785 w 3503192"/>
              <a:gd name="connsiteY13553" fmla="*/ 269082 h 5818346"/>
              <a:gd name="connsiteX13554" fmla="*/ 2719049 w 3503192"/>
              <a:gd name="connsiteY13554" fmla="*/ 258344 h 5818346"/>
              <a:gd name="connsiteX13555" fmla="*/ 2729785 w 3503192"/>
              <a:gd name="connsiteY13555" fmla="*/ 247607 h 5818346"/>
              <a:gd name="connsiteX13556" fmla="*/ 2988790 w 3503192"/>
              <a:gd name="connsiteY13556" fmla="*/ 245460 h 5818346"/>
              <a:gd name="connsiteX13557" fmla="*/ 2999528 w 3503192"/>
              <a:gd name="connsiteY13557" fmla="*/ 256197 h 5818346"/>
              <a:gd name="connsiteX13558" fmla="*/ 2988790 w 3503192"/>
              <a:gd name="connsiteY13558" fmla="*/ 266933 h 5818346"/>
              <a:gd name="connsiteX13559" fmla="*/ 2978053 w 3503192"/>
              <a:gd name="connsiteY13559" fmla="*/ 256197 h 5818346"/>
              <a:gd name="connsiteX13560" fmla="*/ 2988790 w 3503192"/>
              <a:gd name="connsiteY13560" fmla="*/ 245460 h 5818346"/>
              <a:gd name="connsiteX13561" fmla="*/ 2128690 w 3503192"/>
              <a:gd name="connsiteY13561" fmla="*/ 245129 h 5818346"/>
              <a:gd name="connsiteX13562" fmla="*/ 2139428 w 3503192"/>
              <a:gd name="connsiteY13562" fmla="*/ 255866 h 5818346"/>
              <a:gd name="connsiteX13563" fmla="*/ 2128690 w 3503192"/>
              <a:gd name="connsiteY13563" fmla="*/ 266602 h 5818346"/>
              <a:gd name="connsiteX13564" fmla="*/ 2117954 w 3503192"/>
              <a:gd name="connsiteY13564" fmla="*/ 255866 h 5818346"/>
              <a:gd name="connsiteX13565" fmla="*/ 2128690 w 3503192"/>
              <a:gd name="connsiteY13565" fmla="*/ 245129 h 5818346"/>
              <a:gd name="connsiteX13566" fmla="*/ 2859123 w 3503192"/>
              <a:gd name="connsiteY13566" fmla="*/ 244304 h 5818346"/>
              <a:gd name="connsiteX13567" fmla="*/ 2869861 w 3503192"/>
              <a:gd name="connsiteY13567" fmla="*/ 255040 h 5818346"/>
              <a:gd name="connsiteX13568" fmla="*/ 2859123 w 3503192"/>
              <a:gd name="connsiteY13568" fmla="*/ 265778 h 5818346"/>
              <a:gd name="connsiteX13569" fmla="*/ 2848386 w 3503192"/>
              <a:gd name="connsiteY13569" fmla="*/ 255040 h 5818346"/>
              <a:gd name="connsiteX13570" fmla="*/ 2859123 w 3503192"/>
              <a:gd name="connsiteY13570" fmla="*/ 244304 h 5818346"/>
              <a:gd name="connsiteX13571" fmla="*/ 1963674 w 3503192"/>
              <a:gd name="connsiteY13571" fmla="*/ 242818 h 5818346"/>
              <a:gd name="connsiteX13572" fmla="*/ 1974410 w 3503192"/>
              <a:gd name="connsiteY13572" fmla="*/ 253554 h 5818346"/>
              <a:gd name="connsiteX13573" fmla="*/ 1963674 w 3503192"/>
              <a:gd name="connsiteY13573" fmla="*/ 264292 h 5818346"/>
              <a:gd name="connsiteX13574" fmla="*/ 1952937 w 3503192"/>
              <a:gd name="connsiteY13574" fmla="*/ 253554 h 5818346"/>
              <a:gd name="connsiteX13575" fmla="*/ 1963674 w 3503192"/>
              <a:gd name="connsiteY13575" fmla="*/ 242818 h 5818346"/>
              <a:gd name="connsiteX13576" fmla="*/ 2427503 w 3503192"/>
              <a:gd name="connsiteY13576" fmla="*/ 241331 h 5818346"/>
              <a:gd name="connsiteX13577" fmla="*/ 2438241 w 3503192"/>
              <a:gd name="connsiteY13577" fmla="*/ 252068 h 5818346"/>
              <a:gd name="connsiteX13578" fmla="*/ 2427503 w 3503192"/>
              <a:gd name="connsiteY13578" fmla="*/ 262804 h 5818346"/>
              <a:gd name="connsiteX13579" fmla="*/ 2416766 w 3503192"/>
              <a:gd name="connsiteY13579" fmla="*/ 252068 h 5818346"/>
              <a:gd name="connsiteX13580" fmla="*/ 2427503 w 3503192"/>
              <a:gd name="connsiteY13580" fmla="*/ 241331 h 5818346"/>
              <a:gd name="connsiteX13581" fmla="*/ 2270250 w 3503192"/>
              <a:gd name="connsiteY13581" fmla="*/ 238522 h 5818346"/>
              <a:gd name="connsiteX13582" fmla="*/ 2280988 w 3503192"/>
              <a:gd name="connsiteY13582" fmla="*/ 249258 h 5818346"/>
              <a:gd name="connsiteX13583" fmla="*/ 2270250 w 3503192"/>
              <a:gd name="connsiteY13583" fmla="*/ 259995 h 5818346"/>
              <a:gd name="connsiteX13584" fmla="*/ 2259514 w 3503192"/>
              <a:gd name="connsiteY13584" fmla="*/ 249258 h 5818346"/>
              <a:gd name="connsiteX13585" fmla="*/ 2270250 w 3503192"/>
              <a:gd name="connsiteY13585" fmla="*/ 238522 h 5818346"/>
              <a:gd name="connsiteX13586" fmla="*/ 1765291 w 3503192"/>
              <a:gd name="connsiteY13586" fmla="*/ 234889 h 5818346"/>
              <a:gd name="connsiteX13587" fmla="*/ 1770660 w 3503192"/>
              <a:gd name="connsiteY13587" fmla="*/ 240256 h 5818346"/>
              <a:gd name="connsiteX13588" fmla="*/ 1773385 w 3503192"/>
              <a:gd name="connsiteY13588" fmla="*/ 237532 h 5818346"/>
              <a:gd name="connsiteX13589" fmla="*/ 1779744 w 3503192"/>
              <a:gd name="connsiteY13589" fmla="*/ 243891 h 5818346"/>
              <a:gd name="connsiteX13590" fmla="*/ 1781149 w 3503192"/>
              <a:gd name="connsiteY13590" fmla="*/ 242486 h 5818346"/>
              <a:gd name="connsiteX13591" fmla="*/ 1786930 w 3503192"/>
              <a:gd name="connsiteY13591" fmla="*/ 248268 h 5818346"/>
              <a:gd name="connsiteX13592" fmla="*/ 1788913 w 3503192"/>
              <a:gd name="connsiteY13592" fmla="*/ 246286 h 5818346"/>
              <a:gd name="connsiteX13593" fmla="*/ 1794282 w 3503192"/>
              <a:gd name="connsiteY13593" fmla="*/ 251655 h 5818346"/>
              <a:gd name="connsiteX13594" fmla="*/ 1796677 w 3503192"/>
              <a:gd name="connsiteY13594" fmla="*/ 249258 h 5818346"/>
              <a:gd name="connsiteX13595" fmla="*/ 1801714 w 3503192"/>
              <a:gd name="connsiteY13595" fmla="*/ 254296 h 5818346"/>
              <a:gd name="connsiteX13596" fmla="*/ 1804439 w 3503192"/>
              <a:gd name="connsiteY13596" fmla="*/ 251572 h 5818346"/>
              <a:gd name="connsiteX13597" fmla="*/ 1809478 w 3503192"/>
              <a:gd name="connsiteY13597" fmla="*/ 256610 h 5818346"/>
              <a:gd name="connsiteX13598" fmla="*/ 1812534 w 3503192"/>
              <a:gd name="connsiteY13598" fmla="*/ 253554 h 5818346"/>
              <a:gd name="connsiteX13599" fmla="*/ 1817655 w 3503192"/>
              <a:gd name="connsiteY13599" fmla="*/ 258675 h 5818346"/>
              <a:gd name="connsiteX13600" fmla="*/ 1820957 w 3503192"/>
              <a:gd name="connsiteY13600" fmla="*/ 255371 h 5818346"/>
              <a:gd name="connsiteX13601" fmla="*/ 1826326 w 3503192"/>
              <a:gd name="connsiteY13601" fmla="*/ 260740 h 5818346"/>
              <a:gd name="connsiteX13602" fmla="*/ 1829878 w 3503192"/>
              <a:gd name="connsiteY13602" fmla="*/ 257189 h 5818346"/>
              <a:gd name="connsiteX13603" fmla="*/ 1835907 w 3503192"/>
              <a:gd name="connsiteY13603" fmla="*/ 263217 h 5818346"/>
              <a:gd name="connsiteX13604" fmla="*/ 1839624 w 3503192"/>
              <a:gd name="connsiteY13604" fmla="*/ 259500 h 5818346"/>
              <a:gd name="connsiteX13605" fmla="*/ 1846398 w 3503192"/>
              <a:gd name="connsiteY13605" fmla="*/ 266274 h 5818346"/>
              <a:gd name="connsiteX13606" fmla="*/ 1850195 w 3503192"/>
              <a:gd name="connsiteY13606" fmla="*/ 262475 h 5818346"/>
              <a:gd name="connsiteX13607" fmla="*/ 1857959 w 3503192"/>
              <a:gd name="connsiteY13607" fmla="*/ 270237 h 5818346"/>
              <a:gd name="connsiteX13608" fmla="*/ 1861757 w 3503192"/>
              <a:gd name="connsiteY13608" fmla="*/ 266439 h 5818346"/>
              <a:gd name="connsiteX13609" fmla="*/ 1870924 w 3503192"/>
              <a:gd name="connsiteY13609" fmla="*/ 275606 h 5818346"/>
              <a:gd name="connsiteX13610" fmla="*/ 1874640 w 3503192"/>
              <a:gd name="connsiteY13610" fmla="*/ 271890 h 5818346"/>
              <a:gd name="connsiteX13611" fmla="*/ 1885378 w 3503192"/>
              <a:gd name="connsiteY13611" fmla="*/ 282626 h 5818346"/>
              <a:gd name="connsiteX13612" fmla="*/ 1874640 w 3503192"/>
              <a:gd name="connsiteY13612" fmla="*/ 293362 h 5818346"/>
              <a:gd name="connsiteX13613" fmla="*/ 1865474 w 3503192"/>
              <a:gd name="connsiteY13613" fmla="*/ 284195 h 5818346"/>
              <a:gd name="connsiteX13614" fmla="*/ 1861757 w 3503192"/>
              <a:gd name="connsiteY13614" fmla="*/ 287912 h 5818346"/>
              <a:gd name="connsiteX13615" fmla="*/ 1853995 w 3503192"/>
              <a:gd name="connsiteY13615" fmla="*/ 280149 h 5818346"/>
              <a:gd name="connsiteX13616" fmla="*/ 1850195 w 3503192"/>
              <a:gd name="connsiteY13616" fmla="*/ 283949 h 5818346"/>
              <a:gd name="connsiteX13617" fmla="*/ 1843423 w 3503192"/>
              <a:gd name="connsiteY13617" fmla="*/ 277175 h 5818346"/>
              <a:gd name="connsiteX13618" fmla="*/ 1839624 w 3503192"/>
              <a:gd name="connsiteY13618" fmla="*/ 280975 h 5818346"/>
              <a:gd name="connsiteX13619" fmla="*/ 1833596 w 3503192"/>
              <a:gd name="connsiteY13619" fmla="*/ 274945 h 5818346"/>
              <a:gd name="connsiteX13620" fmla="*/ 1829878 w 3503192"/>
              <a:gd name="connsiteY13620" fmla="*/ 278663 h 5818346"/>
              <a:gd name="connsiteX13621" fmla="*/ 1824509 w 3503192"/>
              <a:gd name="connsiteY13621" fmla="*/ 273294 h 5818346"/>
              <a:gd name="connsiteX13622" fmla="*/ 1820957 w 3503192"/>
              <a:gd name="connsiteY13622" fmla="*/ 276846 h 5818346"/>
              <a:gd name="connsiteX13623" fmla="*/ 1815836 w 3503192"/>
              <a:gd name="connsiteY13623" fmla="*/ 271725 h 5818346"/>
              <a:gd name="connsiteX13624" fmla="*/ 1812534 w 3503192"/>
              <a:gd name="connsiteY13624" fmla="*/ 275027 h 5818346"/>
              <a:gd name="connsiteX13625" fmla="*/ 1807496 w 3503192"/>
              <a:gd name="connsiteY13625" fmla="*/ 269989 h 5818346"/>
              <a:gd name="connsiteX13626" fmla="*/ 1804439 w 3503192"/>
              <a:gd name="connsiteY13626" fmla="*/ 273046 h 5818346"/>
              <a:gd name="connsiteX13627" fmla="*/ 1799401 w 3503192"/>
              <a:gd name="connsiteY13627" fmla="*/ 268007 h 5818346"/>
              <a:gd name="connsiteX13628" fmla="*/ 1796677 w 3503192"/>
              <a:gd name="connsiteY13628" fmla="*/ 270731 h 5818346"/>
              <a:gd name="connsiteX13629" fmla="*/ 1791309 w 3503192"/>
              <a:gd name="connsiteY13629" fmla="*/ 265364 h 5818346"/>
              <a:gd name="connsiteX13630" fmla="*/ 1788913 w 3503192"/>
              <a:gd name="connsiteY13630" fmla="*/ 267760 h 5818346"/>
              <a:gd name="connsiteX13631" fmla="*/ 1783131 w 3503192"/>
              <a:gd name="connsiteY13631" fmla="*/ 261979 h 5818346"/>
              <a:gd name="connsiteX13632" fmla="*/ 1781149 w 3503192"/>
              <a:gd name="connsiteY13632" fmla="*/ 263961 h 5818346"/>
              <a:gd name="connsiteX13633" fmla="*/ 1774789 w 3503192"/>
              <a:gd name="connsiteY13633" fmla="*/ 257602 h 5818346"/>
              <a:gd name="connsiteX13634" fmla="*/ 1773385 w 3503192"/>
              <a:gd name="connsiteY13634" fmla="*/ 259006 h 5818346"/>
              <a:gd name="connsiteX13635" fmla="*/ 1762648 w 3503192"/>
              <a:gd name="connsiteY13635" fmla="*/ 248268 h 5818346"/>
              <a:gd name="connsiteX13636" fmla="*/ 1763228 w 3503192"/>
              <a:gd name="connsiteY13636" fmla="*/ 247691 h 5818346"/>
              <a:gd name="connsiteX13637" fmla="*/ 1757859 w 3503192"/>
              <a:gd name="connsiteY13637" fmla="*/ 242322 h 5818346"/>
              <a:gd name="connsiteX13638" fmla="*/ 1765291 w 3503192"/>
              <a:gd name="connsiteY13638" fmla="*/ 234889 h 5818346"/>
              <a:gd name="connsiteX13639" fmla="*/ 3294706 w 3503192"/>
              <a:gd name="connsiteY13639" fmla="*/ 234393 h 5818346"/>
              <a:gd name="connsiteX13640" fmla="*/ 3305444 w 3503192"/>
              <a:gd name="connsiteY13640" fmla="*/ 245129 h 5818346"/>
              <a:gd name="connsiteX13641" fmla="*/ 3294706 w 3503192"/>
              <a:gd name="connsiteY13641" fmla="*/ 255866 h 5818346"/>
              <a:gd name="connsiteX13642" fmla="*/ 3283969 w 3503192"/>
              <a:gd name="connsiteY13642" fmla="*/ 245129 h 5818346"/>
              <a:gd name="connsiteX13643" fmla="*/ 3294706 w 3503192"/>
              <a:gd name="connsiteY13643" fmla="*/ 234393 h 5818346"/>
              <a:gd name="connsiteX13644" fmla="*/ 2101930 w 3503192"/>
              <a:gd name="connsiteY13644" fmla="*/ 232575 h 5818346"/>
              <a:gd name="connsiteX13645" fmla="*/ 2112668 w 3503192"/>
              <a:gd name="connsiteY13645" fmla="*/ 243312 h 5818346"/>
              <a:gd name="connsiteX13646" fmla="*/ 2101930 w 3503192"/>
              <a:gd name="connsiteY13646" fmla="*/ 254050 h 5818346"/>
              <a:gd name="connsiteX13647" fmla="*/ 2091194 w 3503192"/>
              <a:gd name="connsiteY13647" fmla="*/ 243312 h 5818346"/>
              <a:gd name="connsiteX13648" fmla="*/ 2101930 w 3503192"/>
              <a:gd name="connsiteY13648" fmla="*/ 232575 h 5818346"/>
              <a:gd name="connsiteX13649" fmla="*/ 3455426 w 3503192"/>
              <a:gd name="connsiteY13649" fmla="*/ 229272 h 5818346"/>
              <a:gd name="connsiteX13650" fmla="*/ 3466164 w 3503192"/>
              <a:gd name="connsiteY13650" fmla="*/ 240008 h 5818346"/>
              <a:gd name="connsiteX13651" fmla="*/ 3455426 w 3503192"/>
              <a:gd name="connsiteY13651" fmla="*/ 250746 h 5818346"/>
              <a:gd name="connsiteX13652" fmla="*/ 3444690 w 3503192"/>
              <a:gd name="connsiteY13652" fmla="*/ 240008 h 5818346"/>
              <a:gd name="connsiteX13653" fmla="*/ 3455426 w 3503192"/>
              <a:gd name="connsiteY13653" fmla="*/ 229272 h 5818346"/>
              <a:gd name="connsiteX13654" fmla="*/ 2549572 w 3503192"/>
              <a:gd name="connsiteY13654" fmla="*/ 227456 h 5818346"/>
              <a:gd name="connsiteX13655" fmla="*/ 2560310 w 3503192"/>
              <a:gd name="connsiteY13655" fmla="*/ 238193 h 5818346"/>
              <a:gd name="connsiteX13656" fmla="*/ 2549572 w 3503192"/>
              <a:gd name="connsiteY13656" fmla="*/ 248931 h 5818346"/>
              <a:gd name="connsiteX13657" fmla="*/ 2538836 w 3503192"/>
              <a:gd name="connsiteY13657" fmla="*/ 238193 h 5818346"/>
              <a:gd name="connsiteX13658" fmla="*/ 2549572 w 3503192"/>
              <a:gd name="connsiteY13658" fmla="*/ 227456 h 5818346"/>
              <a:gd name="connsiteX13659" fmla="*/ 2077650 w 3503192"/>
              <a:gd name="connsiteY13659" fmla="*/ 222996 h 5818346"/>
              <a:gd name="connsiteX13660" fmla="*/ 2088388 w 3503192"/>
              <a:gd name="connsiteY13660" fmla="*/ 233732 h 5818346"/>
              <a:gd name="connsiteX13661" fmla="*/ 2077650 w 3503192"/>
              <a:gd name="connsiteY13661" fmla="*/ 244470 h 5818346"/>
              <a:gd name="connsiteX13662" fmla="*/ 2066913 w 3503192"/>
              <a:gd name="connsiteY13662" fmla="*/ 233732 h 5818346"/>
              <a:gd name="connsiteX13663" fmla="*/ 2077650 w 3503192"/>
              <a:gd name="connsiteY13663" fmla="*/ 222996 h 5818346"/>
              <a:gd name="connsiteX13664" fmla="*/ 3171810 w 3503192"/>
              <a:gd name="connsiteY13664" fmla="*/ 222335 h 5818346"/>
              <a:gd name="connsiteX13665" fmla="*/ 3182548 w 3503192"/>
              <a:gd name="connsiteY13665" fmla="*/ 233071 h 5818346"/>
              <a:gd name="connsiteX13666" fmla="*/ 3171810 w 3503192"/>
              <a:gd name="connsiteY13666" fmla="*/ 243810 h 5818346"/>
              <a:gd name="connsiteX13667" fmla="*/ 3161074 w 3503192"/>
              <a:gd name="connsiteY13667" fmla="*/ 233071 h 5818346"/>
              <a:gd name="connsiteX13668" fmla="*/ 3171810 w 3503192"/>
              <a:gd name="connsiteY13668" fmla="*/ 222335 h 5818346"/>
              <a:gd name="connsiteX13669" fmla="*/ 2235892 w 3503192"/>
              <a:gd name="connsiteY13669" fmla="*/ 221839 h 5818346"/>
              <a:gd name="connsiteX13670" fmla="*/ 2246629 w 3503192"/>
              <a:gd name="connsiteY13670" fmla="*/ 232575 h 5818346"/>
              <a:gd name="connsiteX13671" fmla="*/ 2235892 w 3503192"/>
              <a:gd name="connsiteY13671" fmla="*/ 243314 h 5818346"/>
              <a:gd name="connsiteX13672" fmla="*/ 2225156 w 3503192"/>
              <a:gd name="connsiteY13672" fmla="*/ 232575 h 5818346"/>
              <a:gd name="connsiteX13673" fmla="*/ 2235892 w 3503192"/>
              <a:gd name="connsiteY13673" fmla="*/ 221839 h 5818346"/>
              <a:gd name="connsiteX13674" fmla="*/ 2384887 w 3503192"/>
              <a:gd name="connsiteY13674" fmla="*/ 219526 h 5818346"/>
              <a:gd name="connsiteX13675" fmla="*/ 2395625 w 3503192"/>
              <a:gd name="connsiteY13675" fmla="*/ 230262 h 5818346"/>
              <a:gd name="connsiteX13676" fmla="*/ 2384887 w 3503192"/>
              <a:gd name="connsiteY13676" fmla="*/ 241000 h 5818346"/>
              <a:gd name="connsiteX13677" fmla="*/ 2374150 w 3503192"/>
              <a:gd name="connsiteY13677" fmla="*/ 230262 h 5818346"/>
              <a:gd name="connsiteX13678" fmla="*/ 2384887 w 3503192"/>
              <a:gd name="connsiteY13678" fmla="*/ 219526 h 5818346"/>
              <a:gd name="connsiteX13679" fmla="*/ 2673128 w 3503192"/>
              <a:gd name="connsiteY13679" fmla="*/ 217710 h 5818346"/>
              <a:gd name="connsiteX13680" fmla="*/ 2683866 w 3503192"/>
              <a:gd name="connsiteY13680" fmla="*/ 228446 h 5818346"/>
              <a:gd name="connsiteX13681" fmla="*/ 2673128 w 3503192"/>
              <a:gd name="connsiteY13681" fmla="*/ 239184 h 5818346"/>
              <a:gd name="connsiteX13682" fmla="*/ 2662392 w 3503192"/>
              <a:gd name="connsiteY13682" fmla="*/ 228446 h 5818346"/>
              <a:gd name="connsiteX13683" fmla="*/ 2673128 w 3503192"/>
              <a:gd name="connsiteY13683" fmla="*/ 217710 h 5818346"/>
              <a:gd name="connsiteX13684" fmla="*/ 2055681 w 3503192"/>
              <a:gd name="connsiteY13684" fmla="*/ 215893 h 5818346"/>
              <a:gd name="connsiteX13685" fmla="*/ 2066417 w 3503192"/>
              <a:gd name="connsiteY13685" fmla="*/ 226629 h 5818346"/>
              <a:gd name="connsiteX13686" fmla="*/ 2055681 w 3503192"/>
              <a:gd name="connsiteY13686" fmla="*/ 237365 h 5818346"/>
              <a:gd name="connsiteX13687" fmla="*/ 2044944 w 3503192"/>
              <a:gd name="connsiteY13687" fmla="*/ 226629 h 5818346"/>
              <a:gd name="connsiteX13688" fmla="*/ 2055681 w 3503192"/>
              <a:gd name="connsiteY13688" fmla="*/ 215893 h 5818346"/>
              <a:gd name="connsiteX13689" fmla="*/ 3047759 w 3503192"/>
              <a:gd name="connsiteY13689" fmla="*/ 214571 h 5818346"/>
              <a:gd name="connsiteX13690" fmla="*/ 3058497 w 3503192"/>
              <a:gd name="connsiteY13690" fmla="*/ 225307 h 5818346"/>
              <a:gd name="connsiteX13691" fmla="*/ 3047759 w 3503192"/>
              <a:gd name="connsiteY13691" fmla="*/ 236046 h 5818346"/>
              <a:gd name="connsiteX13692" fmla="*/ 3037022 w 3503192"/>
              <a:gd name="connsiteY13692" fmla="*/ 225307 h 5818346"/>
              <a:gd name="connsiteX13693" fmla="*/ 3047759 w 3503192"/>
              <a:gd name="connsiteY13693" fmla="*/ 214571 h 5818346"/>
              <a:gd name="connsiteX13694" fmla="*/ 1816334 w 3503192"/>
              <a:gd name="connsiteY13694" fmla="*/ 213910 h 5818346"/>
              <a:gd name="connsiteX13695" fmla="*/ 1816663 w 3503192"/>
              <a:gd name="connsiteY13695" fmla="*/ 214242 h 5818346"/>
              <a:gd name="connsiteX13696" fmla="*/ 1816334 w 3503192"/>
              <a:gd name="connsiteY13696" fmla="*/ 214571 h 5818346"/>
              <a:gd name="connsiteX13697" fmla="*/ 1816002 w 3503192"/>
              <a:gd name="connsiteY13697" fmla="*/ 214242 h 5818346"/>
              <a:gd name="connsiteX13698" fmla="*/ 1816334 w 3503192"/>
              <a:gd name="connsiteY13698" fmla="*/ 213910 h 5818346"/>
              <a:gd name="connsiteX13699" fmla="*/ 3491931 w 3503192"/>
              <a:gd name="connsiteY13699" fmla="*/ 212259 h 5818346"/>
              <a:gd name="connsiteX13700" fmla="*/ 3502669 w 3503192"/>
              <a:gd name="connsiteY13700" fmla="*/ 222996 h 5818346"/>
              <a:gd name="connsiteX13701" fmla="*/ 3491931 w 3503192"/>
              <a:gd name="connsiteY13701" fmla="*/ 233734 h 5818346"/>
              <a:gd name="connsiteX13702" fmla="*/ 3481195 w 3503192"/>
              <a:gd name="connsiteY13702" fmla="*/ 222996 h 5818346"/>
              <a:gd name="connsiteX13703" fmla="*/ 3491931 w 3503192"/>
              <a:gd name="connsiteY13703" fmla="*/ 212259 h 5818346"/>
              <a:gd name="connsiteX13704" fmla="*/ 2797675 w 3503192"/>
              <a:gd name="connsiteY13704" fmla="*/ 212259 h 5818346"/>
              <a:gd name="connsiteX13705" fmla="*/ 2808414 w 3503192"/>
              <a:gd name="connsiteY13705" fmla="*/ 222996 h 5818346"/>
              <a:gd name="connsiteX13706" fmla="*/ 2797675 w 3503192"/>
              <a:gd name="connsiteY13706" fmla="*/ 233734 h 5818346"/>
              <a:gd name="connsiteX13707" fmla="*/ 2786939 w 3503192"/>
              <a:gd name="connsiteY13707" fmla="*/ 222996 h 5818346"/>
              <a:gd name="connsiteX13708" fmla="*/ 2797675 w 3503192"/>
              <a:gd name="connsiteY13708" fmla="*/ 212259 h 5818346"/>
              <a:gd name="connsiteX13709" fmla="*/ 3339635 w 3503192"/>
              <a:gd name="connsiteY13709" fmla="*/ 211928 h 5818346"/>
              <a:gd name="connsiteX13710" fmla="*/ 3350373 w 3503192"/>
              <a:gd name="connsiteY13710" fmla="*/ 222665 h 5818346"/>
              <a:gd name="connsiteX13711" fmla="*/ 3339635 w 3503192"/>
              <a:gd name="connsiteY13711" fmla="*/ 233403 h 5818346"/>
              <a:gd name="connsiteX13712" fmla="*/ 3328898 w 3503192"/>
              <a:gd name="connsiteY13712" fmla="*/ 222665 h 5818346"/>
              <a:gd name="connsiteX13713" fmla="*/ 3339635 w 3503192"/>
              <a:gd name="connsiteY13713" fmla="*/ 211928 h 5818346"/>
              <a:gd name="connsiteX13714" fmla="*/ 2922717 w 3503192"/>
              <a:gd name="connsiteY13714" fmla="*/ 211267 h 5818346"/>
              <a:gd name="connsiteX13715" fmla="*/ 2933455 w 3503192"/>
              <a:gd name="connsiteY13715" fmla="*/ 222004 h 5818346"/>
              <a:gd name="connsiteX13716" fmla="*/ 2922717 w 3503192"/>
              <a:gd name="connsiteY13716" fmla="*/ 232742 h 5818346"/>
              <a:gd name="connsiteX13717" fmla="*/ 2911981 w 3503192"/>
              <a:gd name="connsiteY13717" fmla="*/ 222004 h 5818346"/>
              <a:gd name="connsiteX13718" fmla="*/ 2922717 w 3503192"/>
              <a:gd name="connsiteY13718" fmla="*/ 211267 h 5818346"/>
              <a:gd name="connsiteX13719" fmla="*/ 2035528 w 3503192"/>
              <a:gd name="connsiteY13719" fmla="*/ 210772 h 5818346"/>
              <a:gd name="connsiteX13720" fmla="*/ 2046264 w 3503192"/>
              <a:gd name="connsiteY13720" fmla="*/ 221508 h 5818346"/>
              <a:gd name="connsiteX13721" fmla="*/ 2035528 w 3503192"/>
              <a:gd name="connsiteY13721" fmla="*/ 232246 h 5818346"/>
              <a:gd name="connsiteX13722" fmla="*/ 2024792 w 3503192"/>
              <a:gd name="connsiteY13722" fmla="*/ 221508 h 5818346"/>
              <a:gd name="connsiteX13723" fmla="*/ 2035528 w 3503192"/>
              <a:gd name="connsiteY13723" fmla="*/ 210772 h 5818346"/>
              <a:gd name="connsiteX13724" fmla="*/ 1826078 w 3503192"/>
              <a:gd name="connsiteY13724" fmla="*/ 209946 h 5818346"/>
              <a:gd name="connsiteX13725" fmla="*/ 1833429 w 3503192"/>
              <a:gd name="connsiteY13725" fmla="*/ 217297 h 5818346"/>
              <a:gd name="connsiteX13726" fmla="*/ 1835493 w 3503192"/>
              <a:gd name="connsiteY13726" fmla="*/ 215232 h 5818346"/>
              <a:gd name="connsiteX13727" fmla="*/ 1842183 w 3503192"/>
              <a:gd name="connsiteY13727" fmla="*/ 221922 h 5818346"/>
              <a:gd name="connsiteX13728" fmla="*/ 1844910 w 3503192"/>
              <a:gd name="connsiteY13728" fmla="*/ 219196 h 5818346"/>
              <a:gd name="connsiteX13729" fmla="*/ 1851104 w 3503192"/>
              <a:gd name="connsiteY13729" fmla="*/ 225391 h 5818346"/>
              <a:gd name="connsiteX13730" fmla="*/ 1854324 w 3503192"/>
              <a:gd name="connsiteY13730" fmla="*/ 222169 h 5818346"/>
              <a:gd name="connsiteX13731" fmla="*/ 1860106 w 3503192"/>
              <a:gd name="connsiteY13731" fmla="*/ 227950 h 5818346"/>
              <a:gd name="connsiteX13732" fmla="*/ 1863739 w 3503192"/>
              <a:gd name="connsiteY13732" fmla="*/ 224317 h 5818346"/>
              <a:gd name="connsiteX13733" fmla="*/ 1869521 w 3503192"/>
              <a:gd name="connsiteY13733" fmla="*/ 230097 h 5818346"/>
              <a:gd name="connsiteX13734" fmla="*/ 1873650 w 3503192"/>
              <a:gd name="connsiteY13734" fmla="*/ 225968 h 5818346"/>
              <a:gd name="connsiteX13735" fmla="*/ 1879350 w 3503192"/>
              <a:gd name="connsiteY13735" fmla="*/ 231667 h 5818346"/>
              <a:gd name="connsiteX13736" fmla="*/ 1883892 w 3503192"/>
              <a:gd name="connsiteY13736" fmla="*/ 227125 h 5818346"/>
              <a:gd name="connsiteX13737" fmla="*/ 1889922 w 3503192"/>
              <a:gd name="connsiteY13737" fmla="*/ 233155 h 5818346"/>
              <a:gd name="connsiteX13738" fmla="*/ 1894794 w 3503192"/>
              <a:gd name="connsiteY13738" fmla="*/ 228282 h 5818346"/>
              <a:gd name="connsiteX13739" fmla="*/ 1901236 w 3503192"/>
              <a:gd name="connsiteY13739" fmla="*/ 234724 h 5818346"/>
              <a:gd name="connsiteX13740" fmla="*/ 1906357 w 3503192"/>
              <a:gd name="connsiteY13740" fmla="*/ 229603 h 5818346"/>
              <a:gd name="connsiteX13741" fmla="*/ 1913542 w 3503192"/>
              <a:gd name="connsiteY13741" fmla="*/ 236788 h 5818346"/>
              <a:gd name="connsiteX13742" fmla="*/ 1918909 w 3503192"/>
              <a:gd name="connsiteY13742" fmla="*/ 231420 h 5818346"/>
              <a:gd name="connsiteX13743" fmla="*/ 1926921 w 3503192"/>
              <a:gd name="connsiteY13743" fmla="*/ 239431 h 5818346"/>
              <a:gd name="connsiteX13744" fmla="*/ 1932455 w 3503192"/>
              <a:gd name="connsiteY13744" fmla="*/ 233897 h 5818346"/>
              <a:gd name="connsiteX13745" fmla="*/ 1941705 w 3503192"/>
              <a:gd name="connsiteY13745" fmla="*/ 243147 h 5818346"/>
              <a:gd name="connsiteX13746" fmla="*/ 1947320 w 3503192"/>
              <a:gd name="connsiteY13746" fmla="*/ 237532 h 5818346"/>
              <a:gd name="connsiteX13747" fmla="*/ 1958058 w 3503192"/>
              <a:gd name="connsiteY13747" fmla="*/ 248268 h 5818346"/>
              <a:gd name="connsiteX13748" fmla="*/ 1947320 w 3503192"/>
              <a:gd name="connsiteY13748" fmla="*/ 259006 h 5818346"/>
              <a:gd name="connsiteX13749" fmla="*/ 1938070 w 3503192"/>
              <a:gd name="connsiteY13749" fmla="*/ 249756 h 5818346"/>
              <a:gd name="connsiteX13750" fmla="*/ 1932455 w 3503192"/>
              <a:gd name="connsiteY13750" fmla="*/ 255371 h 5818346"/>
              <a:gd name="connsiteX13751" fmla="*/ 1924445 w 3503192"/>
              <a:gd name="connsiteY13751" fmla="*/ 247359 h 5818346"/>
              <a:gd name="connsiteX13752" fmla="*/ 1918909 w 3503192"/>
              <a:gd name="connsiteY13752" fmla="*/ 252895 h 5818346"/>
              <a:gd name="connsiteX13753" fmla="*/ 1911724 w 3503192"/>
              <a:gd name="connsiteY13753" fmla="*/ 245708 h 5818346"/>
              <a:gd name="connsiteX13754" fmla="*/ 1906357 w 3503192"/>
              <a:gd name="connsiteY13754" fmla="*/ 251076 h 5818346"/>
              <a:gd name="connsiteX13755" fmla="*/ 1899914 w 3503192"/>
              <a:gd name="connsiteY13755" fmla="*/ 244633 h 5818346"/>
              <a:gd name="connsiteX13756" fmla="*/ 1894794 w 3503192"/>
              <a:gd name="connsiteY13756" fmla="*/ 249754 h 5818346"/>
              <a:gd name="connsiteX13757" fmla="*/ 1888765 w 3503192"/>
              <a:gd name="connsiteY13757" fmla="*/ 243726 h 5818346"/>
              <a:gd name="connsiteX13758" fmla="*/ 1883892 w 3503192"/>
              <a:gd name="connsiteY13758" fmla="*/ 248599 h 5818346"/>
              <a:gd name="connsiteX13759" fmla="*/ 1878194 w 3503192"/>
              <a:gd name="connsiteY13759" fmla="*/ 242899 h 5818346"/>
              <a:gd name="connsiteX13760" fmla="*/ 1873650 w 3503192"/>
              <a:gd name="connsiteY13760" fmla="*/ 247443 h 5818346"/>
              <a:gd name="connsiteX13761" fmla="*/ 1867870 w 3503192"/>
              <a:gd name="connsiteY13761" fmla="*/ 241661 h 5818346"/>
              <a:gd name="connsiteX13762" fmla="*/ 1863739 w 3503192"/>
              <a:gd name="connsiteY13762" fmla="*/ 245792 h 5818346"/>
              <a:gd name="connsiteX13763" fmla="*/ 1857958 w 3503192"/>
              <a:gd name="connsiteY13763" fmla="*/ 240010 h 5818346"/>
              <a:gd name="connsiteX13764" fmla="*/ 1854324 w 3503192"/>
              <a:gd name="connsiteY13764" fmla="*/ 243643 h 5818346"/>
              <a:gd name="connsiteX13765" fmla="*/ 1848132 w 3503192"/>
              <a:gd name="connsiteY13765" fmla="*/ 237449 h 5818346"/>
              <a:gd name="connsiteX13766" fmla="*/ 1844910 w 3503192"/>
              <a:gd name="connsiteY13766" fmla="*/ 240671 h 5818346"/>
              <a:gd name="connsiteX13767" fmla="*/ 1838219 w 3503192"/>
              <a:gd name="connsiteY13767" fmla="*/ 233978 h 5818346"/>
              <a:gd name="connsiteX13768" fmla="*/ 1835493 w 3503192"/>
              <a:gd name="connsiteY13768" fmla="*/ 236705 h 5818346"/>
              <a:gd name="connsiteX13769" fmla="*/ 1828143 w 3503192"/>
              <a:gd name="connsiteY13769" fmla="*/ 229355 h 5818346"/>
              <a:gd name="connsiteX13770" fmla="*/ 1826078 w 3503192"/>
              <a:gd name="connsiteY13770" fmla="*/ 231420 h 5818346"/>
              <a:gd name="connsiteX13771" fmla="*/ 1815342 w 3503192"/>
              <a:gd name="connsiteY13771" fmla="*/ 220682 h 5818346"/>
              <a:gd name="connsiteX13772" fmla="*/ 1826078 w 3503192"/>
              <a:gd name="connsiteY13772" fmla="*/ 209946 h 5818346"/>
              <a:gd name="connsiteX13773" fmla="*/ 2204674 w 3503192"/>
              <a:gd name="connsiteY13773" fmla="*/ 208956 h 5818346"/>
              <a:gd name="connsiteX13774" fmla="*/ 2215410 w 3503192"/>
              <a:gd name="connsiteY13774" fmla="*/ 219692 h 5818346"/>
              <a:gd name="connsiteX13775" fmla="*/ 2204674 w 3503192"/>
              <a:gd name="connsiteY13775" fmla="*/ 230429 h 5818346"/>
              <a:gd name="connsiteX13776" fmla="*/ 2193937 w 3503192"/>
              <a:gd name="connsiteY13776" fmla="*/ 219692 h 5818346"/>
              <a:gd name="connsiteX13777" fmla="*/ 2204674 w 3503192"/>
              <a:gd name="connsiteY13777" fmla="*/ 208956 h 5818346"/>
              <a:gd name="connsiteX13778" fmla="*/ 2501835 w 3503192"/>
              <a:gd name="connsiteY13778" fmla="*/ 204164 h 5818346"/>
              <a:gd name="connsiteX13779" fmla="*/ 2512573 w 3503192"/>
              <a:gd name="connsiteY13779" fmla="*/ 214901 h 5818346"/>
              <a:gd name="connsiteX13780" fmla="*/ 2501835 w 3503192"/>
              <a:gd name="connsiteY13780" fmla="*/ 225637 h 5818346"/>
              <a:gd name="connsiteX13781" fmla="*/ 2491099 w 3503192"/>
              <a:gd name="connsiteY13781" fmla="*/ 214901 h 5818346"/>
              <a:gd name="connsiteX13782" fmla="*/ 2501835 w 3503192"/>
              <a:gd name="connsiteY13782" fmla="*/ 204164 h 5818346"/>
              <a:gd name="connsiteX13783" fmla="*/ 2345904 w 3503192"/>
              <a:gd name="connsiteY13783" fmla="*/ 202017 h 5818346"/>
              <a:gd name="connsiteX13784" fmla="*/ 2356642 w 3503192"/>
              <a:gd name="connsiteY13784" fmla="*/ 212754 h 5818346"/>
              <a:gd name="connsiteX13785" fmla="*/ 2345904 w 3503192"/>
              <a:gd name="connsiteY13785" fmla="*/ 223492 h 5818346"/>
              <a:gd name="connsiteX13786" fmla="*/ 2335168 w 3503192"/>
              <a:gd name="connsiteY13786" fmla="*/ 212754 h 5818346"/>
              <a:gd name="connsiteX13787" fmla="*/ 2345904 w 3503192"/>
              <a:gd name="connsiteY13787" fmla="*/ 202017 h 5818346"/>
              <a:gd name="connsiteX13788" fmla="*/ 2176262 w 3503192"/>
              <a:gd name="connsiteY13788" fmla="*/ 198878 h 5818346"/>
              <a:gd name="connsiteX13789" fmla="*/ 2186999 w 3503192"/>
              <a:gd name="connsiteY13789" fmla="*/ 209615 h 5818346"/>
              <a:gd name="connsiteX13790" fmla="*/ 2176262 w 3503192"/>
              <a:gd name="connsiteY13790" fmla="*/ 220353 h 5818346"/>
              <a:gd name="connsiteX13791" fmla="*/ 2165526 w 3503192"/>
              <a:gd name="connsiteY13791" fmla="*/ 209615 h 5818346"/>
              <a:gd name="connsiteX13792" fmla="*/ 2176262 w 3503192"/>
              <a:gd name="connsiteY13792" fmla="*/ 198878 h 5818346"/>
              <a:gd name="connsiteX13793" fmla="*/ 3221694 w 3503192"/>
              <a:gd name="connsiteY13793" fmla="*/ 198549 h 5818346"/>
              <a:gd name="connsiteX13794" fmla="*/ 3232432 w 3503192"/>
              <a:gd name="connsiteY13794" fmla="*/ 209285 h 5818346"/>
              <a:gd name="connsiteX13795" fmla="*/ 3221694 w 3503192"/>
              <a:gd name="connsiteY13795" fmla="*/ 220023 h 5818346"/>
              <a:gd name="connsiteX13796" fmla="*/ 3210958 w 3503192"/>
              <a:gd name="connsiteY13796" fmla="*/ 209285 h 5818346"/>
              <a:gd name="connsiteX13797" fmla="*/ 3221694 w 3503192"/>
              <a:gd name="connsiteY13797" fmla="*/ 198549 h 5818346"/>
              <a:gd name="connsiteX13798" fmla="*/ 3380764 w 3503192"/>
              <a:gd name="connsiteY13798" fmla="*/ 193924 h 5818346"/>
              <a:gd name="connsiteX13799" fmla="*/ 3391502 w 3503192"/>
              <a:gd name="connsiteY13799" fmla="*/ 204660 h 5818346"/>
              <a:gd name="connsiteX13800" fmla="*/ 3380764 w 3503192"/>
              <a:gd name="connsiteY13800" fmla="*/ 215398 h 5818346"/>
              <a:gd name="connsiteX13801" fmla="*/ 3370028 w 3503192"/>
              <a:gd name="connsiteY13801" fmla="*/ 204660 h 5818346"/>
              <a:gd name="connsiteX13802" fmla="*/ 3380764 w 3503192"/>
              <a:gd name="connsiteY13802" fmla="*/ 193924 h 5818346"/>
              <a:gd name="connsiteX13803" fmla="*/ 2620601 w 3503192"/>
              <a:gd name="connsiteY13803" fmla="*/ 192932 h 5818346"/>
              <a:gd name="connsiteX13804" fmla="*/ 2631339 w 3503192"/>
              <a:gd name="connsiteY13804" fmla="*/ 203668 h 5818346"/>
              <a:gd name="connsiteX13805" fmla="*/ 2620601 w 3503192"/>
              <a:gd name="connsiteY13805" fmla="*/ 214406 h 5818346"/>
              <a:gd name="connsiteX13806" fmla="*/ 2609864 w 3503192"/>
              <a:gd name="connsiteY13806" fmla="*/ 203668 h 5818346"/>
              <a:gd name="connsiteX13807" fmla="*/ 2620601 w 3503192"/>
              <a:gd name="connsiteY13807" fmla="*/ 192932 h 5818346"/>
              <a:gd name="connsiteX13808" fmla="*/ 2150164 w 3503192"/>
              <a:gd name="connsiteY13808" fmla="*/ 191610 h 5818346"/>
              <a:gd name="connsiteX13809" fmla="*/ 2160903 w 3503192"/>
              <a:gd name="connsiteY13809" fmla="*/ 202347 h 5818346"/>
              <a:gd name="connsiteX13810" fmla="*/ 2150164 w 3503192"/>
              <a:gd name="connsiteY13810" fmla="*/ 213085 h 5818346"/>
              <a:gd name="connsiteX13811" fmla="*/ 2139428 w 3503192"/>
              <a:gd name="connsiteY13811" fmla="*/ 202347 h 5818346"/>
              <a:gd name="connsiteX13812" fmla="*/ 2150164 w 3503192"/>
              <a:gd name="connsiteY13812" fmla="*/ 191610 h 5818346"/>
              <a:gd name="connsiteX13813" fmla="*/ 1877120 w 3503192"/>
              <a:gd name="connsiteY13813" fmla="*/ 190289 h 5818346"/>
              <a:gd name="connsiteX13814" fmla="*/ 1881085 w 3503192"/>
              <a:gd name="connsiteY13814" fmla="*/ 194253 h 5818346"/>
              <a:gd name="connsiteX13815" fmla="*/ 1877120 w 3503192"/>
              <a:gd name="connsiteY13815" fmla="*/ 198218 h 5818346"/>
              <a:gd name="connsiteX13816" fmla="*/ 1873156 w 3503192"/>
              <a:gd name="connsiteY13816" fmla="*/ 194253 h 5818346"/>
              <a:gd name="connsiteX13817" fmla="*/ 1877120 w 3503192"/>
              <a:gd name="connsiteY13817" fmla="*/ 190289 h 5818346"/>
              <a:gd name="connsiteX13818" fmla="*/ 1888186 w 3503192"/>
              <a:gd name="connsiteY13818" fmla="*/ 189134 h 5818346"/>
              <a:gd name="connsiteX13819" fmla="*/ 1895867 w 3503192"/>
              <a:gd name="connsiteY13819" fmla="*/ 196815 h 5818346"/>
              <a:gd name="connsiteX13820" fmla="*/ 1899087 w 3503192"/>
              <a:gd name="connsiteY13820" fmla="*/ 193593 h 5818346"/>
              <a:gd name="connsiteX13821" fmla="*/ 1906190 w 3503192"/>
              <a:gd name="connsiteY13821" fmla="*/ 200696 h 5818346"/>
              <a:gd name="connsiteX13822" fmla="*/ 1910155 w 3503192"/>
              <a:gd name="connsiteY13822" fmla="*/ 196732 h 5818346"/>
              <a:gd name="connsiteX13823" fmla="*/ 1916927 w 3503192"/>
              <a:gd name="connsiteY13823" fmla="*/ 203504 h 5818346"/>
              <a:gd name="connsiteX13824" fmla="*/ 1921387 w 3503192"/>
              <a:gd name="connsiteY13824" fmla="*/ 199043 h 5818346"/>
              <a:gd name="connsiteX13825" fmla="*/ 1927831 w 3503192"/>
              <a:gd name="connsiteY13825" fmla="*/ 205486 h 5818346"/>
              <a:gd name="connsiteX13826" fmla="*/ 1932786 w 3503192"/>
              <a:gd name="connsiteY13826" fmla="*/ 200531 h 5818346"/>
              <a:gd name="connsiteX13827" fmla="*/ 1939310 w 3503192"/>
              <a:gd name="connsiteY13827" fmla="*/ 207055 h 5818346"/>
              <a:gd name="connsiteX13828" fmla="*/ 1944844 w 3503192"/>
              <a:gd name="connsiteY13828" fmla="*/ 201521 h 5818346"/>
              <a:gd name="connsiteX13829" fmla="*/ 1951451 w 3503192"/>
              <a:gd name="connsiteY13829" fmla="*/ 208129 h 5818346"/>
              <a:gd name="connsiteX13830" fmla="*/ 1957398 w 3503192"/>
              <a:gd name="connsiteY13830" fmla="*/ 202182 h 5818346"/>
              <a:gd name="connsiteX13831" fmla="*/ 1964418 w 3503192"/>
              <a:gd name="connsiteY13831" fmla="*/ 209202 h 5818346"/>
              <a:gd name="connsiteX13832" fmla="*/ 1970777 w 3503192"/>
              <a:gd name="connsiteY13832" fmla="*/ 202843 h 5818346"/>
              <a:gd name="connsiteX13833" fmla="*/ 1978376 w 3503192"/>
              <a:gd name="connsiteY13833" fmla="*/ 210442 h 5818346"/>
              <a:gd name="connsiteX13834" fmla="*/ 1985148 w 3503192"/>
              <a:gd name="connsiteY13834" fmla="*/ 203668 h 5818346"/>
              <a:gd name="connsiteX13835" fmla="*/ 1993490 w 3503192"/>
              <a:gd name="connsiteY13835" fmla="*/ 212010 h 5818346"/>
              <a:gd name="connsiteX13836" fmla="*/ 2000510 w 3503192"/>
              <a:gd name="connsiteY13836" fmla="*/ 204990 h 5818346"/>
              <a:gd name="connsiteX13837" fmla="*/ 2010091 w 3503192"/>
              <a:gd name="connsiteY13837" fmla="*/ 214571 h 5818346"/>
              <a:gd name="connsiteX13838" fmla="*/ 2017359 w 3503192"/>
              <a:gd name="connsiteY13838" fmla="*/ 207303 h 5818346"/>
              <a:gd name="connsiteX13839" fmla="*/ 2028095 w 3503192"/>
              <a:gd name="connsiteY13839" fmla="*/ 218040 h 5818346"/>
              <a:gd name="connsiteX13840" fmla="*/ 2017359 w 3503192"/>
              <a:gd name="connsiteY13840" fmla="*/ 228778 h 5818346"/>
              <a:gd name="connsiteX13841" fmla="*/ 2007778 w 3503192"/>
              <a:gd name="connsiteY13841" fmla="*/ 219196 h 5818346"/>
              <a:gd name="connsiteX13842" fmla="*/ 2000510 w 3503192"/>
              <a:gd name="connsiteY13842" fmla="*/ 226464 h 5818346"/>
              <a:gd name="connsiteX13843" fmla="*/ 1992168 w 3503192"/>
              <a:gd name="connsiteY13843" fmla="*/ 218123 h 5818346"/>
              <a:gd name="connsiteX13844" fmla="*/ 1985148 w 3503192"/>
              <a:gd name="connsiteY13844" fmla="*/ 225143 h 5818346"/>
              <a:gd name="connsiteX13845" fmla="*/ 1977549 w 3503192"/>
              <a:gd name="connsiteY13845" fmla="*/ 217543 h 5818346"/>
              <a:gd name="connsiteX13846" fmla="*/ 1970777 w 3503192"/>
              <a:gd name="connsiteY13846" fmla="*/ 224316 h 5818346"/>
              <a:gd name="connsiteX13847" fmla="*/ 1963759 w 3503192"/>
              <a:gd name="connsiteY13847" fmla="*/ 217297 h 5818346"/>
              <a:gd name="connsiteX13848" fmla="*/ 1957398 w 3503192"/>
              <a:gd name="connsiteY13848" fmla="*/ 223657 h 5818346"/>
              <a:gd name="connsiteX13849" fmla="*/ 1950790 w 3503192"/>
              <a:gd name="connsiteY13849" fmla="*/ 217049 h 5818346"/>
              <a:gd name="connsiteX13850" fmla="*/ 1944844 w 3503192"/>
              <a:gd name="connsiteY13850" fmla="*/ 222996 h 5818346"/>
              <a:gd name="connsiteX13851" fmla="*/ 1938320 w 3503192"/>
              <a:gd name="connsiteY13851" fmla="*/ 216472 h 5818346"/>
              <a:gd name="connsiteX13852" fmla="*/ 1932786 w 3503192"/>
              <a:gd name="connsiteY13852" fmla="*/ 222006 h 5818346"/>
              <a:gd name="connsiteX13853" fmla="*/ 1926344 w 3503192"/>
              <a:gd name="connsiteY13853" fmla="*/ 215561 h 5818346"/>
              <a:gd name="connsiteX13854" fmla="*/ 1921387 w 3503192"/>
              <a:gd name="connsiteY13854" fmla="*/ 220518 h 5818346"/>
              <a:gd name="connsiteX13855" fmla="*/ 1914615 w 3503192"/>
              <a:gd name="connsiteY13855" fmla="*/ 213746 h 5818346"/>
              <a:gd name="connsiteX13856" fmla="*/ 1910155 w 3503192"/>
              <a:gd name="connsiteY13856" fmla="*/ 218206 h 5818346"/>
              <a:gd name="connsiteX13857" fmla="*/ 1903052 w 3503192"/>
              <a:gd name="connsiteY13857" fmla="*/ 211103 h 5818346"/>
              <a:gd name="connsiteX13858" fmla="*/ 1899087 w 3503192"/>
              <a:gd name="connsiteY13858" fmla="*/ 215067 h 5818346"/>
              <a:gd name="connsiteX13859" fmla="*/ 1891407 w 3503192"/>
              <a:gd name="connsiteY13859" fmla="*/ 207386 h 5818346"/>
              <a:gd name="connsiteX13860" fmla="*/ 1888186 w 3503192"/>
              <a:gd name="connsiteY13860" fmla="*/ 210607 h 5818346"/>
              <a:gd name="connsiteX13861" fmla="*/ 1877450 w 3503192"/>
              <a:gd name="connsiteY13861" fmla="*/ 199870 h 5818346"/>
              <a:gd name="connsiteX13862" fmla="*/ 1888186 w 3503192"/>
              <a:gd name="connsiteY13862" fmla="*/ 189134 h 5818346"/>
              <a:gd name="connsiteX13863" fmla="*/ 3102434 w 3503192"/>
              <a:gd name="connsiteY13863" fmla="*/ 189132 h 5818346"/>
              <a:gd name="connsiteX13864" fmla="*/ 3113172 w 3503192"/>
              <a:gd name="connsiteY13864" fmla="*/ 199869 h 5818346"/>
              <a:gd name="connsiteX13865" fmla="*/ 3102434 w 3503192"/>
              <a:gd name="connsiteY13865" fmla="*/ 210607 h 5818346"/>
              <a:gd name="connsiteX13866" fmla="*/ 3091698 w 3503192"/>
              <a:gd name="connsiteY13866" fmla="*/ 199869 h 5818346"/>
              <a:gd name="connsiteX13867" fmla="*/ 3102434 w 3503192"/>
              <a:gd name="connsiteY13867" fmla="*/ 189132 h 5818346"/>
              <a:gd name="connsiteX13868" fmla="*/ 2310058 w 3503192"/>
              <a:gd name="connsiteY13868" fmla="*/ 188142 h 5818346"/>
              <a:gd name="connsiteX13869" fmla="*/ 2320796 w 3503192"/>
              <a:gd name="connsiteY13869" fmla="*/ 198878 h 5818346"/>
              <a:gd name="connsiteX13870" fmla="*/ 2310058 w 3503192"/>
              <a:gd name="connsiteY13870" fmla="*/ 209617 h 5818346"/>
              <a:gd name="connsiteX13871" fmla="*/ 2299322 w 3503192"/>
              <a:gd name="connsiteY13871" fmla="*/ 198878 h 5818346"/>
              <a:gd name="connsiteX13872" fmla="*/ 2310058 w 3503192"/>
              <a:gd name="connsiteY13872" fmla="*/ 188142 h 5818346"/>
              <a:gd name="connsiteX13873" fmla="*/ 2126378 w 3503192"/>
              <a:gd name="connsiteY13873" fmla="*/ 186325 h 5818346"/>
              <a:gd name="connsiteX13874" fmla="*/ 2137116 w 3503192"/>
              <a:gd name="connsiteY13874" fmla="*/ 197061 h 5818346"/>
              <a:gd name="connsiteX13875" fmla="*/ 2126378 w 3503192"/>
              <a:gd name="connsiteY13875" fmla="*/ 207797 h 5818346"/>
              <a:gd name="connsiteX13876" fmla="*/ 2115642 w 3503192"/>
              <a:gd name="connsiteY13876" fmla="*/ 197061 h 5818346"/>
              <a:gd name="connsiteX13877" fmla="*/ 2126378 w 3503192"/>
              <a:gd name="connsiteY13877" fmla="*/ 186325 h 5818346"/>
              <a:gd name="connsiteX13878" fmla="*/ 2740522 w 3503192"/>
              <a:gd name="connsiteY13878" fmla="*/ 185664 h 5818346"/>
              <a:gd name="connsiteX13879" fmla="*/ 2751260 w 3503192"/>
              <a:gd name="connsiteY13879" fmla="*/ 196400 h 5818346"/>
              <a:gd name="connsiteX13880" fmla="*/ 2740522 w 3503192"/>
              <a:gd name="connsiteY13880" fmla="*/ 207138 h 5818346"/>
              <a:gd name="connsiteX13881" fmla="*/ 2729785 w 3503192"/>
              <a:gd name="connsiteY13881" fmla="*/ 196400 h 5818346"/>
              <a:gd name="connsiteX13882" fmla="*/ 2740522 w 3503192"/>
              <a:gd name="connsiteY13882" fmla="*/ 185664 h 5818346"/>
              <a:gd name="connsiteX13883" fmla="*/ 2458062 w 3503192"/>
              <a:gd name="connsiteY13883" fmla="*/ 185499 h 5818346"/>
              <a:gd name="connsiteX13884" fmla="*/ 2468801 w 3503192"/>
              <a:gd name="connsiteY13884" fmla="*/ 196236 h 5818346"/>
              <a:gd name="connsiteX13885" fmla="*/ 2458062 w 3503192"/>
              <a:gd name="connsiteY13885" fmla="*/ 206974 h 5818346"/>
              <a:gd name="connsiteX13886" fmla="*/ 2447326 w 3503192"/>
              <a:gd name="connsiteY13886" fmla="*/ 196236 h 5818346"/>
              <a:gd name="connsiteX13887" fmla="*/ 2458062 w 3503192"/>
              <a:gd name="connsiteY13887" fmla="*/ 185499 h 5818346"/>
              <a:gd name="connsiteX13888" fmla="*/ 2982018 w 3503192"/>
              <a:gd name="connsiteY13888" fmla="*/ 183682 h 5818346"/>
              <a:gd name="connsiteX13889" fmla="*/ 2992754 w 3503192"/>
              <a:gd name="connsiteY13889" fmla="*/ 194418 h 5818346"/>
              <a:gd name="connsiteX13890" fmla="*/ 2982018 w 3503192"/>
              <a:gd name="connsiteY13890" fmla="*/ 205156 h 5818346"/>
              <a:gd name="connsiteX13891" fmla="*/ 2971281 w 3503192"/>
              <a:gd name="connsiteY13891" fmla="*/ 194418 h 5818346"/>
              <a:gd name="connsiteX13892" fmla="*/ 2982018 w 3503192"/>
              <a:gd name="connsiteY13892" fmla="*/ 183682 h 5818346"/>
              <a:gd name="connsiteX13893" fmla="*/ 2104574 w 3503192"/>
              <a:gd name="connsiteY13893" fmla="*/ 182856 h 5818346"/>
              <a:gd name="connsiteX13894" fmla="*/ 2115311 w 3503192"/>
              <a:gd name="connsiteY13894" fmla="*/ 193593 h 5818346"/>
              <a:gd name="connsiteX13895" fmla="*/ 2104574 w 3503192"/>
              <a:gd name="connsiteY13895" fmla="*/ 204329 h 5818346"/>
              <a:gd name="connsiteX13896" fmla="*/ 2093838 w 3503192"/>
              <a:gd name="connsiteY13896" fmla="*/ 193593 h 5818346"/>
              <a:gd name="connsiteX13897" fmla="*/ 2104574 w 3503192"/>
              <a:gd name="connsiteY13897" fmla="*/ 182856 h 5818346"/>
              <a:gd name="connsiteX13898" fmla="*/ 2861270 w 3503192"/>
              <a:gd name="connsiteY13898" fmla="*/ 182692 h 5818346"/>
              <a:gd name="connsiteX13899" fmla="*/ 2872006 w 3503192"/>
              <a:gd name="connsiteY13899" fmla="*/ 193428 h 5818346"/>
              <a:gd name="connsiteX13900" fmla="*/ 2861270 w 3503192"/>
              <a:gd name="connsiteY13900" fmla="*/ 204166 h 5818346"/>
              <a:gd name="connsiteX13901" fmla="*/ 2850533 w 3503192"/>
              <a:gd name="connsiteY13901" fmla="*/ 193428 h 5818346"/>
              <a:gd name="connsiteX13902" fmla="*/ 2861270 w 3503192"/>
              <a:gd name="connsiteY13902" fmla="*/ 182692 h 5818346"/>
              <a:gd name="connsiteX13903" fmla="*/ 3418757 w 3503192"/>
              <a:gd name="connsiteY13903" fmla="*/ 179717 h 5818346"/>
              <a:gd name="connsiteX13904" fmla="*/ 3429493 w 3503192"/>
              <a:gd name="connsiteY13904" fmla="*/ 190454 h 5818346"/>
              <a:gd name="connsiteX13905" fmla="*/ 3418757 w 3503192"/>
              <a:gd name="connsiteY13905" fmla="*/ 201192 h 5818346"/>
              <a:gd name="connsiteX13906" fmla="*/ 3408021 w 3503192"/>
              <a:gd name="connsiteY13906" fmla="*/ 190454 h 5818346"/>
              <a:gd name="connsiteX13907" fmla="*/ 3418757 w 3503192"/>
              <a:gd name="connsiteY13907" fmla="*/ 179717 h 5818346"/>
              <a:gd name="connsiteX13908" fmla="*/ 3267780 w 3503192"/>
              <a:gd name="connsiteY13908" fmla="*/ 179223 h 5818346"/>
              <a:gd name="connsiteX13909" fmla="*/ 3278518 w 3503192"/>
              <a:gd name="connsiteY13909" fmla="*/ 189960 h 5818346"/>
              <a:gd name="connsiteX13910" fmla="*/ 3267780 w 3503192"/>
              <a:gd name="connsiteY13910" fmla="*/ 200698 h 5818346"/>
              <a:gd name="connsiteX13911" fmla="*/ 3257044 w 3503192"/>
              <a:gd name="connsiteY13911" fmla="*/ 189960 h 5818346"/>
              <a:gd name="connsiteX13912" fmla="*/ 3267780 w 3503192"/>
              <a:gd name="connsiteY13912" fmla="*/ 179223 h 5818346"/>
              <a:gd name="connsiteX13913" fmla="*/ 2277353 w 3503192"/>
              <a:gd name="connsiteY13913" fmla="*/ 177570 h 5818346"/>
              <a:gd name="connsiteX13914" fmla="*/ 2288092 w 3503192"/>
              <a:gd name="connsiteY13914" fmla="*/ 188307 h 5818346"/>
              <a:gd name="connsiteX13915" fmla="*/ 2277353 w 3503192"/>
              <a:gd name="connsiteY13915" fmla="*/ 199045 h 5818346"/>
              <a:gd name="connsiteX13916" fmla="*/ 2266617 w 3503192"/>
              <a:gd name="connsiteY13916" fmla="*/ 188307 h 5818346"/>
              <a:gd name="connsiteX13917" fmla="*/ 2277353 w 3503192"/>
              <a:gd name="connsiteY13917" fmla="*/ 177570 h 5818346"/>
              <a:gd name="connsiteX13918" fmla="*/ 2572202 w 3503192"/>
              <a:gd name="connsiteY13918" fmla="*/ 172781 h 5818346"/>
              <a:gd name="connsiteX13919" fmla="*/ 2582938 w 3503192"/>
              <a:gd name="connsiteY13919" fmla="*/ 183517 h 5818346"/>
              <a:gd name="connsiteX13920" fmla="*/ 2572202 w 3503192"/>
              <a:gd name="connsiteY13920" fmla="*/ 194255 h 5818346"/>
              <a:gd name="connsiteX13921" fmla="*/ 2561465 w 3503192"/>
              <a:gd name="connsiteY13921" fmla="*/ 183517 h 5818346"/>
              <a:gd name="connsiteX13922" fmla="*/ 2572202 w 3503192"/>
              <a:gd name="connsiteY13922" fmla="*/ 172781 h 5818346"/>
              <a:gd name="connsiteX13923" fmla="*/ 2417758 w 3503192"/>
              <a:gd name="connsiteY13923" fmla="*/ 170799 h 5818346"/>
              <a:gd name="connsiteX13924" fmla="*/ 2428496 w 3503192"/>
              <a:gd name="connsiteY13924" fmla="*/ 181535 h 5818346"/>
              <a:gd name="connsiteX13925" fmla="*/ 2417758 w 3503192"/>
              <a:gd name="connsiteY13925" fmla="*/ 192273 h 5818346"/>
              <a:gd name="connsiteX13926" fmla="*/ 2407022 w 3503192"/>
              <a:gd name="connsiteY13926" fmla="*/ 181535 h 5818346"/>
              <a:gd name="connsiteX13927" fmla="*/ 2417758 w 3503192"/>
              <a:gd name="connsiteY13927" fmla="*/ 170799 h 5818346"/>
              <a:gd name="connsiteX13928" fmla="*/ 2247290 w 3503192"/>
              <a:gd name="connsiteY13928" fmla="*/ 169807 h 5818346"/>
              <a:gd name="connsiteX13929" fmla="*/ 2258028 w 3503192"/>
              <a:gd name="connsiteY13929" fmla="*/ 180543 h 5818346"/>
              <a:gd name="connsiteX13930" fmla="*/ 2247290 w 3503192"/>
              <a:gd name="connsiteY13930" fmla="*/ 191279 h 5818346"/>
              <a:gd name="connsiteX13931" fmla="*/ 2236553 w 3503192"/>
              <a:gd name="connsiteY13931" fmla="*/ 180543 h 5818346"/>
              <a:gd name="connsiteX13932" fmla="*/ 2247290 w 3503192"/>
              <a:gd name="connsiteY13932" fmla="*/ 169807 h 5818346"/>
              <a:gd name="connsiteX13933" fmla="*/ 3453444 w 3503192"/>
              <a:gd name="connsiteY13933" fmla="*/ 168816 h 5818346"/>
              <a:gd name="connsiteX13934" fmla="*/ 3464182 w 3503192"/>
              <a:gd name="connsiteY13934" fmla="*/ 179553 h 5818346"/>
              <a:gd name="connsiteX13935" fmla="*/ 3453444 w 3503192"/>
              <a:gd name="connsiteY13935" fmla="*/ 190291 h 5818346"/>
              <a:gd name="connsiteX13936" fmla="*/ 3442708 w 3503192"/>
              <a:gd name="connsiteY13936" fmla="*/ 179553 h 5818346"/>
              <a:gd name="connsiteX13937" fmla="*/ 3453444 w 3503192"/>
              <a:gd name="connsiteY13937" fmla="*/ 168816 h 5818346"/>
              <a:gd name="connsiteX13938" fmla="*/ 3152979 w 3503192"/>
              <a:gd name="connsiteY13938" fmla="*/ 168320 h 5818346"/>
              <a:gd name="connsiteX13939" fmla="*/ 3163717 w 3503192"/>
              <a:gd name="connsiteY13939" fmla="*/ 179057 h 5818346"/>
              <a:gd name="connsiteX13940" fmla="*/ 3152979 w 3503192"/>
              <a:gd name="connsiteY13940" fmla="*/ 189793 h 5818346"/>
              <a:gd name="connsiteX13941" fmla="*/ 3142243 w 3503192"/>
              <a:gd name="connsiteY13941" fmla="*/ 179057 h 5818346"/>
              <a:gd name="connsiteX13942" fmla="*/ 3152979 w 3503192"/>
              <a:gd name="connsiteY13942" fmla="*/ 168320 h 5818346"/>
              <a:gd name="connsiteX13943" fmla="*/ 1939064 w 3503192"/>
              <a:gd name="connsiteY13943" fmla="*/ 166503 h 5818346"/>
              <a:gd name="connsiteX13944" fmla="*/ 1946661 w 3503192"/>
              <a:gd name="connsiteY13944" fmla="*/ 174100 h 5818346"/>
              <a:gd name="connsiteX13945" fmla="*/ 1951616 w 3503192"/>
              <a:gd name="connsiteY13945" fmla="*/ 169146 h 5818346"/>
              <a:gd name="connsiteX13946" fmla="*/ 1959711 w 3503192"/>
              <a:gd name="connsiteY13946" fmla="*/ 177239 h 5818346"/>
              <a:gd name="connsiteX13947" fmla="*/ 1964170 w 3503192"/>
              <a:gd name="connsiteY13947" fmla="*/ 172781 h 5818346"/>
              <a:gd name="connsiteX13948" fmla="*/ 1971850 w 3503192"/>
              <a:gd name="connsiteY13948" fmla="*/ 180461 h 5818346"/>
              <a:gd name="connsiteX13949" fmla="*/ 1976888 w 3503192"/>
              <a:gd name="connsiteY13949" fmla="*/ 175424 h 5818346"/>
              <a:gd name="connsiteX13950" fmla="*/ 1984321 w 3503192"/>
              <a:gd name="connsiteY13950" fmla="*/ 182856 h 5818346"/>
              <a:gd name="connsiteX13951" fmla="*/ 1990103 w 3503192"/>
              <a:gd name="connsiteY13951" fmla="*/ 177075 h 5818346"/>
              <a:gd name="connsiteX13952" fmla="*/ 1997289 w 3503192"/>
              <a:gd name="connsiteY13952" fmla="*/ 184261 h 5818346"/>
              <a:gd name="connsiteX13953" fmla="*/ 2003648 w 3503192"/>
              <a:gd name="connsiteY13953" fmla="*/ 177902 h 5818346"/>
              <a:gd name="connsiteX13954" fmla="*/ 2010998 w 3503192"/>
              <a:gd name="connsiteY13954" fmla="*/ 185251 h 5818346"/>
              <a:gd name="connsiteX13955" fmla="*/ 2017853 w 3503192"/>
              <a:gd name="connsiteY13955" fmla="*/ 178396 h 5818346"/>
              <a:gd name="connsiteX13956" fmla="*/ 2025536 w 3503192"/>
              <a:gd name="connsiteY13956" fmla="*/ 186078 h 5818346"/>
              <a:gd name="connsiteX13957" fmla="*/ 2033050 w 3503192"/>
              <a:gd name="connsiteY13957" fmla="*/ 178562 h 5818346"/>
              <a:gd name="connsiteX13958" fmla="*/ 2041226 w 3503192"/>
              <a:gd name="connsiteY13958" fmla="*/ 186739 h 5818346"/>
              <a:gd name="connsiteX13959" fmla="*/ 2049074 w 3503192"/>
              <a:gd name="connsiteY13959" fmla="*/ 178892 h 5818346"/>
              <a:gd name="connsiteX13960" fmla="*/ 2057828 w 3503192"/>
              <a:gd name="connsiteY13960" fmla="*/ 187646 h 5818346"/>
              <a:gd name="connsiteX13961" fmla="*/ 2066086 w 3503192"/>
              <a:gd name="connsiteY13961" fmla="*/ 179388 h 5818346"/>
              <a:gd name="connsiteX13962" fmla="*/ 2075915 w 3503192"/>
              <a:gd name="connsiteY13962" fmla="*/ 189216 h 5818346"/>
              <a:gd name="connsiteX13963" fmla="*/ 2084586 w 3503192"/>
              <a:gd name="connsiteY13963" fmla="*/ 180545 h 5818346"/>
              <a:gd name="connsiteX13964" fmla="*/ 2095323 w 3503192"/>
              <a:gd name="connsiteY13964" fmla="*/ 191281 h 5818346"/>
              <a:gd name="connsiteX13965" fmla="*/ 2084586 w 3503192"/>
              <a:gd name="connsiteY13965" fmla="*/ 202019 h 5818346"/>
              <a:gd name="connsiteX13966" fmla="*/ 2074759 w 3503192"/>
              <a:gd name="connsiteY13966" fmla="*/ 192190 h 5818346"/>
              <a:gd name="connsiteX13967" fmla="*/ 2066086 w 3503192"/>
              <a:gd name="connsiteY13967" fmla="*/ 200861 h 5818346"/>
              <a:gd name="connsiteX13968" fmla="*/ 2057332 w 3503192"/>
              <a:gd name="connsiteY13968" fmla="*/ 192106 h 5818346"/>
              <a:gd name="connsiteX13969" fmla="*/ 2049074 w 3503192"/>
              <a:gd name="connsiteY13969" fmla="*/ 200366 h 5818346"/>
              <a:gd name="connsiteX13970" fmla="*/ 2040897 w 3503192"/>
              <a:gd name="connsiteY13970" fmla="*/ 192190 h 5818346"/>
              <a:gd name="connsiteX13971" fmla="*/ 2033050 w 3503192"/>
              <a:gd name="connsiteY13971" fmla="*/ 200037 h 5818346"/>
              <a:gd name="connsiteX13972" fmla="*/ 2025369 w 3503192"/>
              <a:gd name="connsiteY13972" fmla="*/ 192354 h 5818346"/>
              <a:gd name="connsiteX13973" fmla="*/ 2017853 w 3503192"/>
              <a:gd name="connsiteY13973" fmla="*/ 199870 h 5818346"/>
              <a:gd name="connsiteX13974" fmla="*/ 2010504 w 3503192"/>
              <a:gd name="connsiteY13974" fmla="*/ 192519 h 5818346"/>
              <a:gd name="connsiteX13975" fmla="*/ 2003648 w 3503192"/>
              <a:gd name="connsiteY13975" fmla="*/ 199376 h 5818346"/>
              <a:gd name="connsiteX13976" fmla="*/ 1996462 w 3503192"/>
              <a:gd name="connsiteY13976" fmla="*/ 192188 h 5818346"/>
              <a:gd name="connsiteX13977" fmla="*/ 1990103 w 3503192"/>
              <a:gd name="connsiteY13977" fmla="*/ 198549 h 5818346"/>
              <a:gd name="connsiteX13978" fmla="*/ 1982670 w 3503192"/>
              <a:gd name="connsiteY13978" fmla="*/ 191116 h 5818346"/>
              <a:gd name="connsiteX13979" fmla="*/ 1976888 w 3503192"/>
              <a:gd name="connsiteY13979" fmla="*/ 196898 h 5818346"/>
              <a:gd name="connsiteX13980" fmla="*/ 1969207 w 3503192"/>
              <a:gd name="connsiteY13980" fmla="*/ 189217 h 5818346"/>
              <a:gd name="connsiteX13981" fmla="*/ 1964170 w 3503192"/>
              <a:gd name="connsiteY13981" fmla="*/ 194255 h 5818346"/>
              <a:gd name="connsiteX13982" fmla="*/ 1956076 w 3503192"/>
              <a:gd name="connsiteY13982" fmla="*/ 186160 h 5818346"/>
              <a:gd name="connsiteX13983" fmla="*/ 1951616 w 3503192"/>
              <a:gd name="connsiteY13983" fmla="*/ 190620 h 5818346"/>
              <a:gd name="connsiteX13984" fmla="*/ 1941707 w 3503192"/>
              <a:gd name="connsiteY13984" fmla="*/ 180709 h 5818346"/>
              <a:gd name="connsiteX13985" fmla="*/ 1939064 w 3503192"/>
              <a:gd name="connsiteY13985" fmla="*/ 183352 h 5818346"/>
              <a:gd name="connsiteX13986" fmla="*/ 1930639 w 3503192"/>
              <a:gd name="connsiteY13986" fmla="*/ 174928 h 5818346"/>
              <a:gd name="connsiteX13987" fmla="*/ 1939064 w 3503192"/>
              <a:gd name="connsiteY13987" fmla="*/ 166503 h 5818346"/>
              <a:gd name="connsiteX13988" fmla="*/ 2219706 w 3503192"/>
              <a:gd name="connsiteY13988" fmla="*/ 164191 h 5818346"/>
              <a:gd name="connsiteX13989" fmla="*/ 2230444 w 3503192"/>
              <a:gd name="connsiteY13989" fmla="*/ 174928 h 5818346"/>
              <a:gd name="connsiteX13990" fmla="*/ 2219706 w 3503192"/>
              <a:gd name="connsiteY13990" fmla="*/ 185664 h 5818346"/>
              <a:gd name="connsiteX13991" fmla="*/ 2208969 w 3503192"/>
              <a:gd name="connsiteY13991" fmla="*/ 174928 h 5818346"/>
              <a:gd name="connsiteX13992" fmla="*/ 2219706 w 3503192"/>
              <a:gd name="connsiteY13992" fmla="*/ 164191 h 5818346"/>
              <a:gd name="connsiteX13993" fmla="*/ 2687499 w 3503192"/>
              <a:gd name="connsiteY13993" fmla="*/ 164026 h 5818346"/>
              <a:gd name="connsiteX13994" fmla="*/ 2698237 w 3503192"/>
              <a:gd name="connsiteY13994" fmla="*/ 174763 h 5818346"/>
              <a:gd name="connsiteX13995" fmla="*/ 2687499 w 3503192"/>
              <a:gd name="connsiteY13995" fmla="*/ 185501 h 5818346"/>
              <a:gd name="connsiteX13996" fmla="*/ 2676762 w 3503192"/>
              <a:gd name="connsiteY13996" fmla="*/ 174763 h 5818346"/>
              <a:gd name="connsiteX13997" fmla="*/ 2687499 w 3503192"/>
              <a:gd name="connsiteY13997" fmla="*/ 164026 h 5818346"/>
              <a:gd name="connsiteX13998" fmla="*/ 3310067 w 3503192"/>
              <a:gd name="connsiteY13998" fmla="*/ 163860 h 5818346"/>
              <a:gd name="connsiteX13999" fmla="*/ 3320803 w 3503192"/>
              <a:gd name="connsiteY13999" fmla="*/ 174596 h 5818346"/>
              <a:gd name="connsiteX14000" fmla="*/ 3310067 w 3503192"/>
              <a:gd name="connsiteY14000" fmla="*/ 185335 h 5818346"/>
              <a:gd name="connsiteX14001" fmla="*/ 3299330 w 3503192"/>
              <a:gd name="connsiteY14001" fmla="*/ 174596 h 5818346"/>
              <a:gd name="connsiteX14002" fmla="*/ 3310067 w 3503192"/>
              <a:gd name="connsiteY14002" fmla="*/ 163860 h 5818346"/>
              <a:gd name="connsiteX14003" fmla="*/ 3037022 w 3503192"/>
              <a:gd name="connsiteY14003" fmla="*/ 161217 h 5818346"/>
              <a:gd name="connsiteX14004" fmla="*/ 3047759 w 3503192"/>
              <a:gd name="connsiteY14004" fmla="*/ 171954 h 5818346"/>
              <a:gd name="connsiteX14005" fmla="*/ 3037022 w 3503192"/>
              <a:gd name="connsiteY14005" fmla="*/ 182692 h 5818346"/>
              <a:gd name="connsiteX14006" fmla="*/ 3026286 w 3503192"/>
              <a:gd name="connsiteY14006" fmla="*/ 171954 h 5818346"/>
              <a:gd name="connsiteX14007" fmla="*/ 3037022 w 3503192"/>
              <a:gd name="connsiteY14007" fmla="*/ 161217 h 5818346"/>
              <a:gd name="connsiteX14008" fmla="*/ 3485490 w 3503192"/>
              <a:gd name="connsiteY14008" fmla="*/ 160723 h 5818346"/>
              <a:gd name="connsiteX14009" fmla="*/ 3496228 w 3503192"/>
              <a:gd name="connsiteY14009" fmla="*/ 171459 h 5818346"/>
              <a:gd name="connsiteX14010" fmla="*/ 3485490 w 3503192"/>
              <a:gd name="connsiteY14010" fmla="*/ 182197 h 5818346"/>
              <a:gd name="connsiteX14011" fmla="*/ 3474754 w 3503192"/>
              <a:gd name="connsiteY14011" fmla="*/ 171459 h 5818346"/>
              <a:gd name="connsiteX14012" fmla="*/ 3485490 w 3503192"/>
              <a:gd name="connsiteY14012" fmla="*/ 160723 h 5818346"/>
              <a:gd name="connsiteX14013" fmla="*/ 2194267 w 3503192"/>
              <a:gd name="connsiteY14013" fmla="*/ 160556 h 5818346"/>
              <a:gd name="connsiteX14014" fmla="*/ 2205005 w 3503192"/>
              <a:gd name="connsiteY14014" fmla="*/ 171293 h 5818346"/>
              <a:gd name="connsiteX14015" fmla="*/ 2194267 w 3503192"/>
              <a:gd name="connsiteY14015" fmla="*/ 182031 h 5818346"/>
              <a:gd name="connsiteX14016" fmla="*/ 2183530 w 3503192"/>
              <a:gd name="connsiteY14016" fmla="*/ 171293 h 5818346"/>
              <a:gd name="connsiteX14017" fmla="*/ 2194267 w 3503192"/>
              <a:gd name="connsiteY14017" fmla="*/ 160556 h 5818346"/>
              <a:gd name="connsiteX14018" fmla="*/ 2380756 w 3503192"/>
              <a:gd name="connsiteY14018" fmla="*/ 159401 h 5818346"/>
              <a:gd name="connsiteX14019" fmla="*/ 2391494 w 3503192"/>
              <a:gd name="connsiteY14019" fmla="*/ 170138 h 5818346"/>
              <a:gd name="connsiteX14020" fmla="*/ 2380756 w 3503192"/>
              <a:gd name="connsiteY14020" fmla="*/ 180874 h 5818346"/>
              <a:gd name="connsiteX14021" fmla="*/ 2370020 w 3503192"/>
              <a:gd name="connsiteY14021" fmla="*/ 170138 h 5818346"/>
              <a:gd name="connsiteX14022" fmla="*/ 2380756 w 3503192"/>
              <a:gd name="connsiteY14022" fmla="*/ 159401 h 5818346"/>
              <a:gd name="connsiteX14023" fmla="*/ 2803951 w 3503192"/>
              <a:gd name="connsiteY14023" fmla="*/ 159070 h 5818346"/>
              <a:gd name="connsiteX14024" fmla="*/ 2814688 w 3503192"/>
              <a:gd name="connsiteY14024" fmla="*/ 169807 h 5818346"/>
              <a:gd name="connsiteX14025" fmla="*/ 2803951 w 3503192"/>
              <a:gd name="connsiteY14025" fmla="*/ 180545 h 5818346"/>
              <a:gd name="connsiteX14026" fmla="*/ 2793215 w 3503192"/>
              <a:gd name="connsiteY14026" fmla="*/ 169807 h 5818346"/>
              <a:gd name="connsiteX14027" fmla="*/ 2803951 w 3503192"/>
              <a:gd name="connsiteY14027" fmla="*/ 159070 h 5818346"/>
              <a:gd name="connsiteX14028" fmla="*/ 2170976 w 3503192"/>
              <a:gd name="connsiteY14028" fmla="*/ 158245 h 5818346"/>
              <a:gd name="connsiteX14029" fmla="*/ 2181715 w 3503192"/>
              <a:gd name="connsiteY14029" fmla="*/ 168981 h 5818346"/>
              <a:gd name="connsiteX14030" fmla="*/ 2170976 w 3503192"/>
              <a:gd name="connsiteY14030" fmla="*/ 179719 h 5818346"/>
              <a:gd name="connsiteX14031" fmla="*/ 2160240 w 3503192"/>
              <a:gd name="connsiteY14031" fmla="*/ 168981 h 5818346"/>
              <a:gd name="connsiteX14032" fmla="*/ 2170976 w 3503192"/>
              <a:gd name="connsiteY14032" fmla="*/ 158245 h 5818346"/>
              <a:gd name="connsiteX14033" fmla="*/ 2920570 w 3503192"/>
              <a:gd name="connsiteY14033" fmla="*/ 158080 h 5818346"/>
              <a:gd name="connsiteX14034" fmla="*/ 2931308 w 3503192"/>
              <a:gd name="connsiteY14034" fmla="*/ 168816 h 5818346"/>
              <a:gd name="connsiteX14035" fmla="*/ 2920570 w 3503192"/>
              <a:gd name="connsiteY14035" fmla="*/ 179553 h 5818346"/>
              <a:gd name="connsiteX14036" fmla="*/ 2909834 w 3503192"/>
              <a:gd name="connsiteY14036" fmla="*/ 168816 h 5818346"/>
              <a:gd name="connsiteX14037" fmla="*/ 2920570 w 3503192"/>
              <a:gd name="connsiteY14037" fmla="*/ 158080 h 5818346"/>
              <a:gd name="connsiteX14038" fmla="*/ 2527439 w 3503192"/>
              <a:gd name="connsiteY14038" fmla="*/ 156923 h 5818346"/>
              <a:gd name="connsiteX14039" fmla="*/ 2538177 w 3503192"/>
              <a:gd name="connsiteY14039" fmla="*/ 167660 h 5818346"/>
              <a:gd name="connsiteX14040" fmla="*/ 2527439 w 3503192"/>
              <a:gd name="connsiteY14040" fmla="*/ 178398 h 5818346"/>
              <a:gd name="connsiteX14041" fmla="*/ 2516702 w 3503192"/>
              <a:gd name="connsiteY14041" fmla="*/ 167660 h 5818346"/>
              <a:gd name="connsiteX14042" fmla="*/ 2527439 w 3503192"/>
              <a:gd name="connsiteY14042" fmla="*/ 156923 h 5818346"/>
              <a:gd name="connsiteX14043" fmla="*/ 3349214 w 3503192"/>
              <a:gd name="connsiteY14043" fmla="*/ 152132 h 5818346"/>
              <a:gd name="connsiteX14044" fmla="*/ 3359952 w 3503192"/>
              <a:gd name="connsiteY14044" fmla="*/ 162868 h 5818346"/>
              <a:gd name="connsiteX14045" fmla="*/ 3349214 w 3503192"/>
              <a:gd name="connsiteY14045" fmla="*/ 173606 h 5818346"/>
              <a:gd name="connsiteX14046" fmla="*/ 3338478 w 3503192"/>
              <a:gd name="connsiteY14046" fmla="*/ 162868 h 5818346"/>
              <a:gd name="connsiteX14047" fmla="*/ 3349214 w 3503192"/>
              <a:gd name="connsiteY14047" fmla="*/ 152132 h 5818346"/>
              <a:gd name="connsiteX14048" fmla="*/ 3199890 w 3503192"/>
              <a:gd name="connsiteY14048" fmla="*/ 151638 h 5818346"/>
              <a:gd name="connsiteX14049" fmla="*/ 3210627 w 3503192"/>
              <a:gd name="connsiteY14049" fmla="*/ 162374 h 5818346"/>
              <a:gd name="connsiteX14050" fmla="*/ 3199890 w 3503192"/>
              <a:gd name="connsiteY14050" fmla="*/ 173112 h 5818346"/>
              <a:gd name="connsiteX14051" fmla="*/ 3189154 w 3503192"/>
              <a:gd name="connsiteY14051" fmla="*/ 162374 h 5818346"/>
              <a:gd name="connsiteX14052" fmla="*/ 3199890 w 3503192"/>
              <a:gd name="connsiteY14052" fmla="*/ 151638 h 5818346"/>
              <a:gd name="connsiteX14053" fmla="*/ 2346565 w 3503192"/>
              <a:gd name="connsiteY14053" fmla="*/ 150977 h 5818346"/>
              <a:gd name="connsiteX14054" fmla="*/ 2357303 w 3503192"/>
              <a:gd name="connsiteY14054" fmla="*/ 161713 h 5818346"/>
              <a:gd name="connsiteX14055" fmla="*/ 2346565 w 3503192"/>
              <a:gd name="connsiteY14055" fmla="*/ 172451 h 5818346"/>
              <a:gd name="connsiteX14056" fmla="*/ 2335828 w 3503192"/>
              <a:gd name="connsiteY14056" fmla="*/ 161713 h 5818346"/>
              <a:gd name="connsiteX14057" fmla="*/ 2346565 w 3503192"/>
              <a:gd name="connsiteY14057" fmla="*/ 150977 h 5818346"/>
              <a:gd name="connsiteX14058" fmla="*/ 1988452 w 3503192"/>
              <a:gd name="connsiteY14058" fmla="*/ 150481 h 5818346"/>
              <a:gd name="connsiteX14059" fmla="*/ 1988948 w 3503192"/>
              <a:gd name="connsiteY14059" fmla="*/ 150977 h 5818346"/>
              <a:gd name="connsiteX14060" fmla="*/ 1988452 w 3503192"/>
              <a:gd name="connsiteY14060" fmla="*/ 151471 h 5818346"/>
              <a:gd name="connsiteX14061" fmla="*/ 1987956 w 3503192"/>
              <a:gd name="connsiteY14061" fmla="*/ 150977 h 5818346"/>
              <a:gd name="connsiteX14062" fmla="*/ 1988452 w 3503192"/>
              <a:gd name="connsiteY14062" fmla="*/ 150481 h 5818346"/>
              <a:gd name="connsiteX14063" fmla="*/ 2638440 w 3503192"/>
              <a:gd name="connsiteY14063" fmla="*/ 146517 h 5818346"/>
              <a:gd name="connsiteX14064" fmla="*/ 2649178 w 3503192"/>
              <a:gd name="connsiteY14064" fmla="*/ 157253 h 5818346"/>
              <a:gd name="connsiteX14065" fmla="*/ 2638440 w 3503192"/>
              <a:gd name="connsiteY14065" fmla="*/ 167991 h 5818346"/>
              <a:gd name="connsiteX14066" fmla="*/ 2627704 w 3503192"/>
              <a:gd name="connsiteY14066" fmla="*/ 157253 h 5818346"/>
              <a:gd name="connsiteX14067" fmla="*/ 2638440 w 3503192"/>
              <a:gd name="connsiteY14067" fmla="*/ 146517 h 5818346"/>
              <a:gd name="connsiteX14068" fmla="*/ 2315015 w 3503192"/>
              <a:gd name="connsiteY14068" fmla="*/ 144865 h 5818346"/>
              <a:gd name="connsiteX14069" fmla="*/ 2325753 w 3503192"/>
              <a:gd name="connsiteY14069" fmla="*/ 155602 h 5818346"/>
              <a:gd name="connsiteX14070" fmla="*/ 2315015 w 3503192"/>
              <a:gd name="connsiteY14070" fmla="*/ 166340 h 5818346"/>
              <a:gd name="connsiteX14071" fmla="*/ 2304278 w 3503192"/>
              <a:gd name="connsiteY14071" fmla="*/ 155602 h 5818346"/>
              <a:gd name="connsiteX14072" fmla="*/ 2315015 w 3503192"/>
              <a:gd name="connsiteY14072" fmla="*/ 144865 h 5818346"/>
              <a:gd name="connsiteX14073" fmla="*/ 2485978 w 3503192"/>
              <a:gd name="connsiteY14073" fmla="*/ 144369 h 5818346"/>
              <a:gd name="connsiteX14074" fmla="*/ 2496714 w 3503192"/>
              <a:gd name="connsiteY14074" fmla="*/ 155106 h 5818346"/>
              <a:gd name="connsiteX14075" fmla="*/ 2485978 w 3503192"/>
              <a:gd name="connsiteY14075" fmla="*/ 165844 h 5818346"/>
              <a:gd name="connsiteX14076" fmla="*/ 2475242 w 3503192"/>
              <a:gd name="connsiteY14076" fmla="*/ 155106 h 5818346"/>
              <a:gd name="connsiteX14077" fmla="*/ 2485978 w 3503192"/>
              <a:gd name="connsiteY14077" fmla="*/ 144369 h 5818346"/>
              <a:gd name="connsiteX14078" fmla="*/ 3385225 w 3503192"/>
              <a:gd name="connsiteY14078" fmla="*/ 143213 h 5818346"/>
              <a:gd name="connsiteX14079" fmla="*/ 3395963 w 3503192"/>
              <a:gd name="connsiteY14079" fmla="*/ 153949 h 5818346"/>
              <a:gd name="connsiteX14080" fmla="*/ 3385225 w 3503192"/>
              <a:gd name="connsiteY14080" fmla="*/ 164687 h 5818346"/>
              <a:gd name="connsiteX14081" fmla="*/ 3374488 w 3503192"/>
              <a:gd name="connsiteY14081" fmla="*/ 153949 h 5818346"/>
              <a:gd name="connsiteX14082" fmla="*/ 3385225 w 3503192"/>
              <a:gd name="connsiteY14082" fmla="*/ 143213 h 5818346"/>
              <a:gd name="connsiteX14083" fmla="*/ 3088228 w 3503192"/>
              <a:gd name="connsiteY14083" fmla="*/ 143048 h 5818346"/>
              <a:gd name="connsiteX14084" fmla="*/ 3098966 w 3503192"/>
              <a:gd name="connsiteY14084" fmla="*/ 153784 h 5818346"/>
              <a:gd name="connsiteX14085" fmla="*/ 3088228 w 3503192"/>
              <a:gd name="connsiteY14085" fmla="*/ 164522 h 5818346"/>
              <a:gd name="connsiteX14086" fmla="*/ 3077492 w 3503192"/>
              <a:gd name="connsiteY14086" fmla="*/ 153784 h 5818346"/>
              <a:gd name="connsiteX14087" fmla="*/ 3088228 w 3503192"/>
              <a:gd name="connsiteY14087" fmla="*/ 143048 h 5818346"/>
              <a:gd name="connsiteX14088" fmla="*/ 2286108 w 3503192"/>
              <a:gd name="connsiteY14088" fmla="*/ 140735 h 5818346"/>
              <a:gd name="connsiteX14089" fmla="*/ 2296846 w 3503192"/>
              <a:gd name="connsiteY14089" fmla="*/ 151471 h 5818346"/>
              <a:gd name="connsiteX14090" fmla="*/ 2286108 w 3503192"/>
              <a:gd name="connsiteY14090" fmla="*/ 162209 h 5818346"/>
              <a:gd name="connsiteX14091" fmla="*/ 2275371 w 3503192"/>
              <a:gd name="connsiteY14091" fmla="*/ 151471 h 5818346"/>
              <a:gd name="connsiteX14092" fmla="*/ 2286108 w 3503192"/>
              <a:gd name="connsiteY14092" fmla="*/ 140735 h 5818346"/>
              <a:gd name="connsiteX14093" fmla="*/ 2750432 w 3503192"/>
              <a:gd name="connsiteY14093" fmla="*/ 139909 h 5818346"/>
              <a:gd name="connsiteX14094" fmla="*/ 2761171 w 3503192"/>
              <a:gd name="connsiteY14094" fmla="*/ 150646 h 5818346"/>
              <a:gd name="connsiteX14095" fmla="*/ 2750432 w 3503192"/>
              <a:gd name="connsiteY14095" fmla="*/ 161384 h 5818346"/>
              <a:gd name="connsiteX14096" fmla="*/ 2739696 w 3503192"/>
              <a:gd name="connsiteY14096" fmla="*/ 150646 h 5818346"/>
              <a:gd name="connsiteX14097" fmla="*/ 2750432 w 3503192"/>
              <a:gd name="connsiteY14097" fmla="*/ 139909 h 5818346"/>
              <a:gd name="connsiteX14098" fmla="*/ 3243169 w 3503192"/>
              <a:gd name="connsiteY14098" fmla="*/ 138588 h 5818346"/>
              <a:gd name="connsiteX14099" fmla="*/ 3253907 w 3503192"/>
              <a:gd name="connsiteY14099" fmla="*/ 149324 h 5818346"/>
              <a:gd name="connsiteX14100" fmla="*/ 3243169 w 3503192"/>
              <a:gd name="connsiteY14100" fmla="*/ 160062 h 5818346"/>
              <a:gd name="connsiteX14101" fmla="*/ 3232432 w 3503192"/>
              <a:gd name="connsiteY14101" fmla="*/ 149324 h 5818346"/>
              <a:gd name="connsiteX14102" fmla="*/ 3243169 w 3503192"/>
              <a:gd name="connsiteY14102" fmla="*/ 138588 h 5818346"/>
              <a:gd name="connsiteX14103" fmla="*/ 2975905 w 3503192"/>
              <a:gd name="connsiteY14103" fmla="*/ 138257 h 5818346"/>
              <a:gd name="connsiteX14104" fmla="*/ 2986643 w 3503192"/>
              <a:gd name="connsiteY14104" fmla="*/ 148993 h 5818346"/>
              <a:gd name="connsiteX14105" fmla="*/ 2975905 w 3503192"/>
              <a:gd name="connsiteY14105" fmla="*/ 159731 h 5818346"/>
              <a:gd name="connsiteX14106" fmla="*/ 2965168 w 3503192"/>
              <a:gd name="connsiteY14106" fmla="*/ 148993 h 5818346"/>
              <a:gd name="connsiteX14107" fmla="*/ 2975905 w 3503192"/>
              <a:gd name="connsiteY14107" fmla="*/ 138257 h 5818346"/>
              <a:gd name="connsiteX14108" fmla="*/ 2259182 w 3503192"/>
              <a:gd name="connsiteY14108" fmla="*/ 138257 h 5818346"/>
              <a:gd name="connsiteX14109" fmla="*/ 2269920 w 3503192"/>
              <a:gd name="connsiteY14109" fmla="*/ 148993 h 5818346"/>
              <a:gd name="connsiteX14110" fmla="*/ 2259182 w 3503192"/>
              <a:gd name="connsiteY14110" fmla="*/ 159731 h 5818346"/>
              <a:gd name="connsiteX14111" fmla="*/ 2248446 w 3503192"/>
              <a:gd name="connsiteY14111" fmla="*/ 148993 h 5818346"/>
              <a:gd name="connsiteX14112" fmla="*/ 2259182 w 3503192"/>
              <a:gd name="connsiteY14112" fmla="*/ 138257 h 5818346"/>
              <a:gd name="connsiteX14113" fmla="*/ 2863085 w 3503192"/>
              <a:gd name="connsiteY14113" fmla="*/ 137102 h 5818346"/>
              <a:gd name="connsiteX14114" fmla="*/ 2873824 w 3503192"/>
              <a:gd name="connsiteY14114" fmla="*/ 147838 h 5818346"/>
              <a:gd name="connsiteX14115" fmla="*/ 2863085 w 3503192"/>
              <a:gd name="connsiteY14115" fmla="*/ 158576 h 5818346"/>
              <a:gd name="connsiteX14116" fmla="*/ 2852349 w 3503192"/>
              <a:gd name="connsiteY14116" fmla="*/ 147838 h 5818346"/>
              <a:gd name="connsiteX14117" fmla="*/ 2863085 w 3503192"/>
              <a:gd name="connsiteY14117" fmla="*/ 137102 h 5818346"/>
              <a:gd name="connsiteX14118" fmla="*/ 2234406 w 3503192"/>
              <a:gd name="connsiteY14118" fmla="*/ 136935 h 5818346"/>
              <a:gd name="connsiteX14119" fmla="*/ 2245144 w 3503192"/>
              <a:gd name="connsiteY14119" fmla="*/ 147671 h 5818346"/>
              <a:gd name="connsiteX14120" fmla="*/ 2234406 w 3503192"/>
              <a:gd name="connsiteY14120" fmla="*/ 158409 h 5818346"/>
              <a:gd name="connsiteX14121" fmla="*/ 2223670 w 3503192"/>
              <a:gd name="connsiteY14121" fmla="*/ 147671 h 5818346"/>
              <a:gd name="connsiteX14122" fmla="*/ 2234406 w 3503192"/>
              <a:gd name="connsiteY14122" fmla="*/ 136935 h 5818346"/>
              <a:gd name="connsiteX14123" fmla="*/ 3418590 w 3503192"/>
              <a:gd name="connsiteY14123" fmla="*/ 136770 h 5818346"/>
              <a:gd name="connsiteX14124" fmla="*/ 3429328 w 3503192"/>
              <a:gd name="connsiteY14124" fmla="*/ 147507 h 5818346"/>
              <a:gd name="connsiteX14125" fmla="*/ 3418590 w 3503192"/>
              <a:gd name="connsiteY14125" fmla="*/ 158243 h 5818346"/>
              <a:gd name="connsiteX14126" fmla="*/ 3407854 w 3503192"/>
              <a:gd name="connsiteY14126" fmla="*/ 147507 h 5818346"/>
              <a:gd name="connsiteX14127" fmla="*/ 3418590 w 3503192"/>
              <a:gd name="connsiteY14127" fmla="*/ 136770 h 5818346"/>
              <a:gd name="connsiteX14128" fmla="*/ 2211281 w 3503192"/>
              <a:gd name="connsiteY14128" fmla="*/ 136441 h 5818346"/>
              <a:gd name="connsiteX14129" fmla="*/ 2222019 w 3503192"/>
              <a:gd name="connsiteY14129" fmla="*/ 147177 h 5818346"/>
              <a:gd name="connsiteX14130" fmla="*/ 2211281 w 3503192"/>
              <a:gd name="connsiteY14130" fmla="*/ 157915 h 5818346"/>
              <a:gd name="connsiteX14131" fmla="*/ 2200544 w 3503192"/>
              <a:gd name="connsiteY14131" fmla="*/ 147177 h 5818346"/>
              <a:gd name="connsiteX14132" fmla="*/ 2211281 w 3503192"/>
              <a:gd name="connsiteY14132" fmla="*/ 136441 h 5818346"/>
              <a:gd name="connsiteX14133" fmla="*/ 2447820 w 3503192"/>
              <a:gd name="connsiteY14133" fmla="*/ 135119 h 5818346"/>
              <a:gd name="connsiteX14134" fmla="*/ 2458558 w 3503192"/>
              <a:gd name="connsiteY14134" fmla="*/ 145856 h 5818346"/>
              <a:gd name="connsiteX14135" fmla="*/ 2447820 w 3503192"/>
              <a:gd name="connsiteY14135" fmla="*/ 156594 h 5818346"/>
              <a:gd name="connsiteX14136" fmla="*/ 2437084 w 3503192"/>
              <a:gd name="connsiteY14136" fmla="*/ 145856 h 5818346"/>
              <a:gd name="connsiteX14137" fmla="*/ 2447820 w 3503192"/>
              <a:gd name="connsiteY14137" fmla="*/ 135119 h 5818346"/>
              <a:gd name="connsiteX14138" fmla="*/ 2592850 w 3503192"/>
              <a:gd name="connsiteY14138" fmla="*/ 132806 h 5818346"/>
              <a:gd name="connsiteX14139" fmla="*/ 2603587 w 3503192"/>
              <a:gd name="connsiteY14139" fmla="*/ 143542 h 5818346"/>
              <a:gd name="connsiteX14140" fmla="*/ 2592850 w 3503192"/>
              <a:gd name="connsiteY14140" fmla="*/ 154280 h 5818346"/>
              <a:gd name="connsiteX14141" fmla="*/ 2582114 w 3503192"/>
              <a:gd name="connsiteY14141" fmla="*/ 143542 h 5818346"/>
              <a:gd name="connsiteX14142" fmla="*/ 2592850 w 3503192"/>
              <a:gd name="connsiteY14142" fmla="*/ 132806 h 5818346"/>
              <a:gd name="connsiteX14143" fmla="*/ 3449315 w 3503192"/>
              <a:gd name="connsiteY14143" fmla="*/ 132477 h 5818346"/>
              <a:gd name="connsiteX14144" fmla="*/ 3460053 w 3503192"/>
              <a:gd name="connsiteY14144" fmla="*/ 143213 h 5818346"/>
              <a:gd name="connsiteX14145" fmla="*/ 3449315 w 3503192"/>
              <a:gd name="connsiteY14145" fmla="*/ 153951 h 5818346"/>
              <a:gd name="connsiteX14146" fmla="*/ 3438579 w 3503192"/>
              <a:gd name="connsiteY14146" fmla="*/ 143213 h 5818346"/>
              <a:gd name="connsiteX14147" fmla="*/ 3449315 w 3503192"/>
              <a:gd name="connsiteY14147" fmla="*/ 132477 h 5818346"/>
              <a:gd name="connsiteX14148" fmla="*/ 2051387 w 3503192"/>
              <a:gd name="connsiteY14148" fmla="*/ 130163 h 5818346"/>
              <a:gd name="connsiteX14149" fmla="*/ 2055185 w 3503192"/>
              <a:gd name="connsiteY14149" fmla="*/ 133963 h 5818346"/>
              <a:gd name="connsiteX14150" fmla="*/ 2051387 w 3503192"/>
              <a:gd name="connsiteY14150" fmla="*/ 137761 h 5818346"/>
              <a:gd name="connsiteX14151" fmla="*/ 2047588 w 3503192"/>
              <a:gd name="connsiteY14151" fmla="*/ 133963 h 5818346"/>
              <a:gd name="connsiteX14152" fmla="*/ 2051387 w 3503192"/>
              <a:gd name="connsiteY14152" fmla="*/ 130163 h 5818346"/>
              <a:gd name="connsiteX14153" fmla="*/ 3477726 w 3503192"/>
              <a:gd name="connsiteY14153" fmla="*/ 129834 h 5818346"/>
              <a:gd name="connsiteX14154" fmla="*/ 3488464 w 3503192"/>
              <a:gd name="connsiteY14154" fmla="*/ 140570 h 5818346"/>
              <a:gd name="connsiteX14155" fmla="*/ 3477726 w 3503192"/>
              <a:gd name="connsiteY14155" fmla="*/ 151306 h 5818346"/>
              <a:gd name="connsiteX14156" fmla="*/ 3466990 w 3503192"/>
              <a:gd name="connsiteY14156" fmla="*/ 140570 h 5818346"/>
              <a:gd name="connsiteX14157" fmla="*/ 3477726 w 3503192"/>
              <a:gd name="connsiteY14157" fmla="*/ 129834 h 5818346"/>
              <a:gd name="connsiteX14158" fmla="*/ 3503192 w 3503192"/>
              <a:gd name="connsiteY14158" fmla="*/ 129144 h 5818346"/>
              <a:gd name="connsiteX14159" fmla="*/ 3503192 w 3503192"/>
              <a:gd name="connsiteY14159" fmla="*/ 149025 h 5818346"/>
              <a:gd name="connsiteX14160" fmla="*/ 3493252 w 3503192"/>
              <a:gd name="connsiteY14160" fmla="*/ 139084 h 5818346"/>
              <a:gd name="connsiteX14161" fmla="*/ 3283306 w 3503192"/>
              <a:gd name="connsiteY14161" fmla="*/ 128842 h 5818346"/>
              <a:gd name="connsiteX14162" fmla="*/ 3294045 w 3503192"/>
              <a:gd name="connsiteY14162" fmla="*/ 139578 h 5818346"/>
              <a:gd name="connsiteX14163" fmla="*/ 3283306 w 3503192"/>
              <a:gd name="connsiteY14163" fmla="*/ 150316 h 5818346"/>
              <a:gd name="connsiteX14164" fmla="*/ 3272570 w 3503192"/>
              <a:gd name="connsiteY14164" fmla="*/ 139578 h 5818346"/>
              <a:gd name="connsiteX14165" fmla="*/ 3283306 w 3503192"/>
              <a:gd name="connsiteY14165" fmla="*/ 128842 h 5818346"/>
              <a:gd name="connsiteX14166" fmla="*/ 3135800 w 3503192"/>
              <a:gd name="connsiteY14166" fmla="*/ 128677 h 5818346"/>
              <a:gd name="connsiteX14167" fmla="*/ 3146538 w 3503192"/>
              <a:gd name="connsiteY14167" fmla="*/ 139413 h 5818346"/>
              <a:gd name="connsiteX14168" fmla="*/ 3135800 w 3503192"/>
              <a:gd name="connsiteY14168" fmla="*/ 150149 h 5818346"/>
              <a:gd name="connsiteX14169" fmla="*/ 3125064 w 3503192"/>
              <a:gd name="connsiteY14169" fmla="*/ 139413 h 5818346"/>
              <a:gd name="connsiteX14170" fmla="*/ 3135800 w 3503192"/>
              <a:gd name="connsiteY14170" fmla="*/ 128677 h 5818346"/>
              <a:gd name="connsiteX14171" fmla="*/ 2412471 w 3503192"/>
              <a:gd name="connsiteY14171" fmla="*/ 128347 h 5818346"/>
              <a:gd name="connsiteX14172" fmla="*/ 2423209 w 3503192"/>
              <a:gd name="connsiteY14172" fmla="*/ 139084 h 5818346"/>
              <a:gd name="connsiteX14173" fmla="*/ 2412471 w 3503192"/>
              <a:gd name="connsiteY14173" fmla="*/ 149822 h 5818346"/>
              <a:gd name="connsiteX14174" fmla="*/ 2401734 w 3503192"/>
              <a:gd name="connsiteY14174" fmla="*/ 139084 h 5818346"/>
              <a:gd name="connsiteX14175" fmla="*/ 2412471 w 3503192"/>
              <a:gd name="connsiteY14175" fmla="*/ 128347 h 5818346"/>
              <a:gd name="connsiteX14176" fmla="*/ 2700714 w 3503192"/>
              <a:gd name="connsiteY14176" fmla="*/ 124877 h 5818346"/>
              <a:gd name="connsiteX14177" fmla="*/ 2711450 w 3503192"/>
              <a:gd name="connsiteY14177" fmla="*/ 135614 h 5818346"/>
              <a:gd name="connsiteX14178" fmla="*/ 2700714 w 3503192"/>
              <a:gd name="connsiteY14178" fmla="*/ 146352 h 5818346"/>
              <a:gd name="connsiteX14179" fmla="*/ 2689977 w 3503192"/>
              <a:gd name="connsiteY14179" fmla="*/ 135614 h 5818346"/>
              <a:gd name="connsiteX14180" fmla="*/ 2700714 w 3503192"/>
              <a:gd name="connsiteY14180" fmla="*/ 124877 h 5818346"/>
              <a:gd name="connsiteX14181" fmla="*/ 2379766 w 3503192"/>
              <a:gd name="connsiteY14181" fmla="*/ 123556 h 5818346"/>
              <a:gd name="connsiteX14182" fmla="*/ 2390504 w 3503192"/>
              <a:gd name="connsiteY14182" fmla="*/ 134292 h 5818346"/>
              <a:gd name="connsiteX14183" fmla="*/ 2379766 w 3503192"/>
              <a:gd name="connsiteY14183" fmla="*/ 145030 h 5818346"/>
              <a:gd name="connsiteX14184" fmla="*/ 2369030 w 3503192"/>
              <a:gd name="connsiteY14184" fmla="*/ 134292 h 5818346"/>
              <a:gd name="connsiteX14185" fmla="*/ 2379766 w 3503192"/>
              <a:gd name="connsiteY14185" fmla="*/ 123556 h 5818346"/>
              <a:gd name="connsiteX14186" fmla="*/ 2550562 w 3503192"/>
              <a:gd name="connsiteY14186" fmla="*/ 122401 h 5818346"/>
              <a:gd name="connsiteX14187" fmla="*/ 2561300 w 3503192"/>
              <a:gd name="connsiteY14187" fmla="*/ 133137 h 5818346"/>
              <a:gd name="connsiteX14188" fmla="*/ 2550562 w 3503192"/>
              <a:gd name="connsiteY14188" fmla="*/ 143874 h 5818346"/>
              <a:gd name="connsiteX14189" fmla="*/ 2539826 w 3503192"/>
              <a:gd name="connsiteY14189" fmla="*/ 133137 h 5818346"/>
              <a:gd name="connsiteX14190" fmla="*/ 2550562 w 3503192"/>
              <a:gd name="connsiteY14190" fmla="*/ 122401 h 5818346"/>
              <a:gd name="connsiteX14191" fmla="*/ 3027441 w 3503192"/>
              <a:gd name="connsiteY14191" fmla="*/ 122234 h 5818346"/>
              <a:gd name="connsiteX14192" fmla="*/ 3038178 w 3503192"/>
              <a:gd name="connsiteY14192" fmla="*/ 132971 h 5818346"/>
              <a:gd name="connsiteX14193" fmla="*/ 3027441 w 3503192"/>
              <a:gd name="connsiteY14193" fmla="*/ 143707 h 5818346"/>
              <a:gd name="connsiteX14194" fmla="*/ 3016705 w 3503192"/>
              <a:gd name="connsiteY14194" fmla="*/ 132971 h 5818346"/>
              <a:gd name="connsiteX14195" fmla="*/ 3027441 w 3503192"/>
              <a:gd name="connsiteY14195" fmla="*/ 122234 h 5818346"/>
              <a:gd name="connsiteX14196" fmla="*/ 3320474 w 3503192"/>
              <a:gd name="connsiteY14196" fmla="*/ 121574 h 5818346"/>
              <a:gd name="connsiteX14197" fmla="*/ 3331212 w 3503192"/>
              <a:gd name="connsiteY14197" fmla="*/ 132310 h 5818346"/>
              <a:gd name="connsiteX14198" fmla="*/ 3320474 w 3503192"/>
              <a:gd name="connsiteY14198" fmla="*/ 143046 h 5818346"/>
              <a:gd name="connsiteX14199" fmla="*/ 3309737 w 3503192"/>
              <a:gd name="connsiteY14199" fmla="*/ 132310 h 5818346"/>
              <a:gd name="connsiteX14200" fmla="*/ 3320474 w 3503192"/>
              <a:gd name="connsiteY14200" fmla="*/ 121574 h 5818346"/>
              <a:gd name="connsiteX14201" fmla="*/ 2349372 w 3503192"/>
              <a:gd name="connsiteY14201" fmla="*/ 120748 h 5818346"/>
              <a:gd name="connsiteX14202" fmla="*/ 2360110 w 3503192"/>
              <a:gd name="connsiteY14202" fmla="*/ 131484 h 5818346"/>
              <a:gd name="connsiteX14203" fmla="*/ 2349372 w 3503192"/>
              <a:gd name="connsiteY14203" fmla="*/ 142223 h 5818346"/>
              <a:gd name="connsiteX14204" fmla="*/ 2338636 w 3503192"/>
              <a:gd name="connsiteY14204" fmla="*/ 131484 h 5818346"/>
              <a:gd name="connsiteX14205" fmla="*/ 2349372 w 3503192"/>
              <a:gd name="connsiteY14205" fmla="*/ 120748 h 5818346"/>
              <a:gd name="connsiteX14206" fmla="*/ 2809402 w 3503192"/>
              <a:gd name="connsiteY14206" fmla="*/ 120252 h 5818346"/>
              <a:gd name="connsiteX14207" fmla="*/ 2820140 w 3503192"/>
              <a:gd name="connsiteY14207" fmla="*/ 130988 h 5818346"/>
              <a:gd name="connsiteX14208" fmla="*/ 2809402 w 3503192"/>
              <a:gd name="connsiteY14208" fmla="*/ 141725 h 5818346"/>
              <a:gd name="connsiteX14209" fmla="*/ 2798666 w 3503192"/>
              <a:gd name="connsiteY14209" fmla="*/ 130988 h 5818346"/>
              <a:gd name="connsiteX14210" fmla="*/ 2809402 w 3503192"/>
              <a:gd name="connsiteY14210" fmla="*/ 120252 h 5818346"/>
              <a:gd name="connsiteX14211" fmla="*/ 2918422 w 3503192"/>
              <a:gd name="connsiteY14211" fmla="*/ 119427 h 5818346"/>
              <a:gd name="connsiteX14212" fmla="*/ 2929160 w 3503192"/>
              <a:gd name="connsiteY14212" fmla="*/ 130163 h 5818346"/>
              <a:gd name="connsiteX14213" fmla="*/ 2918422 w 3503192"/>
              <a:gd name="connsiteY14213" fmla="*/ 140901 h 5818346"/>
              <a:gd name="connsiteX14214" fmla="*/ 2907685 w 3503192"/>
              <a:gd name="connsiteY14214" fmla="*/ 130163 h 5818346"/>
              <a:gd name="connsiteX14215" fmla="*/ 2918422 w 3503192"/>
              <a:gd name="connsiteY14215" fmla="*/ 119427 h 5818346"/>
              <a:gd name="connsiteX14216" fmla="*/ 2321292 w 3503192"/>
              <a:gd name="connsiteY14216" fmla="*/ 119095 h 5818346"/>
              <a:gd name="connsiteX14217" fmla="*/ 2332029 w 3503192"/>
              <a:gd name="connsiteY14217" fmla="*/ 129832 h 5818346"/>
              <a:gd name="connsiteX14218" fmla="*/ 2321292 w 3503192"/>
              <a:gd name="connsiteY14218" fmla="*/ 140570 h 5818346"/>
              <a:gd name="connsiteX14219" fmla="*/ 2310556 w 3503192"/>
              <a:gd name="connsiteY14219" fmla="*/ 129832 h 5818346"/>
              <a:gd name="connsiteX14220" fmla="*/ 2321292 w 3503192"/>
              <a:gd name="connsiteY14220" fmla="*/ 119095 h 5818346"/>
              <a:gd name="connsiteX14221" fmla="*/ 2247621 w 3503192"/>
              <a:gd name="connsiteY14221" fmla="*/ 118601 h 5818346"/>
              <a:gd name="connsiteX14222" fmla="*/ 2258359 w 3503192"/>
              <a:gd name="connsiteY14222" fmla="*/ 129338 h 5818346"/>
              <a:gd name="connsiteX14223" fmla="*/ 2247621 w 3503192"/>
              <a:gd name="connsiteY14223" fmla="*/ 140076 h 5818346"/>
              <a:gd name="connsiteX14224" fmla="*/ 2236884 w 3503192"/>
              <a:gd name="connsiteY14224" fmla="*/ 129338 h 5818346"/>
              <a:gd name="connsiteX14225" fmla="*/ 2247621 w 3503192"/>
              <a:gd name="connsiteY14225" fmla="*/ 118601 h 5818346"/>
              <a:gd name="connsiteX14226" fmla="*/ 2295028 w 3503192"/>
              <a:gd name="connsiteY14226" fmla="*/ 118435 h 5818346"/>
              <a:gd name="connsiteX14227" fmla="*/ 2305766 w 3503192"/>
              <a:gd name="connsiteY14227" fmla="*/ 129171 h 5818346"/>
              <a:gd name="connsiteX14228" fmla="*/ 2295028 w 3503192"/>
              <a:gd name="connsiteY14228" fmla="*/ 139909 h 5818346"/>
              <a:gd name="connsiteX14229" fmla="*/ 2284292 w 3503192"/>
              <a:gd name="connsiteY14229" fmla="*/ 129171 h 5818346"/>
              <a:gd name="connsiteX14230" fmla="*/ 2295028 w 3503192"/>
              <a:gd name="connsiteY14230" fmla="*/ 118435 h 5818346"/>
              <a:gd name="connsiteX14231" fmla="*/ 2270581 w 3503192"/>
              <a:gd name="connsiteY14231" fmla="*/ 118435 h 5818346"/>
              <a:gd name="connsiteX14232" fmla="*/ 2281320 w 3503192"/>
              <a:gd name="connsiteY14232" fmla="*/ 129171 h 5818346"/>
              <a:gd name="connsiteX14233" fmla="*/ 2270581 w 3503192"/>
              <a:gd name="connsiteY14233" fmla="*/ 139909 h 5818346"/>
              <a:gd name="connsiteX14234" fmla="*/ 2259845 w 3503192"/>
              <a:gd name="connsiteY14234" fmla="*/ 129171 h 5818346"/>
              <a:gd name="connsiteX14235" fmla="*/ 2270581 w 3503192"/>
              <a:gd name="connsiteY14235" fmla="*/ 118435 h 5818346"/>
              <a:gd name="connsiteX14236" fmla="*/ 3179904 w 3503192"/>
              <a:gd name="connsiteY14236" fmla="*/ 117609 h 5818346"/>
              <a:gd name="connsiteX14237" fmla="*/ 3190642 w 3503192"/>
              <a:gd name="connsiteY14237" fmla="*/ 128346 h 5818346"/>
              <a:gd name="connsiteX14238" fmla="*/ 3179904 w 3503192"/>
              <a:gd name="connsiteY14238" fmla="*/ 139082 h 5818346"/>
              <a:gd name="connsiteX14239" fmla="*/ 3169168 w 3503192"/>
              <a:gd name="connsiteY14239" fmla="*/ 128346 h 5818346"/>
              <a:gd name="connsiteX14240" fmla="*/ 3179904 w 3503192"/>
              <a:gd name="connsiteY14240" fmla="*/ 117609 h 5818346"/>
              <a:gd name="connsiteX14241" fmla="*/ 3354832 w 3503192"/>
              <a:gd name="connsiteY14241" fmla="*/ 116619 h 5818346"/>
              <a:gd name="connsiteX14242" fmla="*/ 3365570 w 3503192"/>
              <a:gd name="connsiteY14242" fmla="*/ 127355 h 5818346"/>
              <a:gd name="connsiteX14243" fmla="*/ 3354832 w 3503192"/>
              <a:gd name="connsiteY14243" fmla="*/ 138094 h 5818346"/>
              <a:gd name="connsiteX14244" fmla="*/ 3344095 w 3503192"/>
              <a:gd name="connsiteY14244" fmla="*/ 127355 h 5818346"/>
              <a:gd name="connsiteX14245" fmla="*/ 3354832 w 3503192"/>
              <a:gd name="connsiteY14245" fmla="*/ 116619 h 5818346"/>
              <a:gd name="connsiteX14246" fmla="*/ 2511250 w 3503192"/>
              <a:gd name="connsiteY14246" fmla="*/ 114637 h 5818346"/>
              <a:gd name="connsiteX14247" fmla="*/ 2521986 w 3503192"/>
              <a:gd name="connsiteY14247" fmla="*/ 125373 h 5818346"/>
              <a:gd name="connsiteX14248" fmla="*/ 2511250 w 3503192"/>
              <a:gd name="connsiteY14248" fmla="*/ 136109 h 5818346"/>
              <a:gd name="connsiteX14249" fmla="*/ 2500514 w 3503192"/>
              <a:gd name="connsiteY14249" fmla="*/ 125373 h 5818346"/>
              <a:gd name="connsiteX14250" fmla="*/ 2511250 w 3503192"/>
              <a:gd name="connsiteY14250" fmla="*/ 114637 h 5818346"/>
              <a:gd name="connsiteX14251" fmla="*/ 2654463 w 3503192"/>
              <a:gd name="connsiteY14251" fmla="*/ 112984 h 5818346"/>
              <a:gd name="connsiteX14252" fmla="*/ 2665201 w 3503192"/>
              <a:gd name="connsiteY14252" fmla="*/ 123721 h 5818346"/>
              <a:gd name="connsiteX14253" fmla="*/ 2654463 w 3503192"/>
              <a:gd name="connsiteY14253" fmla="*/ 134459 h 5818346"/>
              <a:gd name="connsiteX14254" fmla="*/ 2643726 w 3503192"/>
              <a:gd name="connsiteY14254" fmla="*/ 123721 h 5818346"/>
              <a:gd name="connsiteX14255" fmla="*/ 2654463 w 3503192"/>
              <a:gd name="connsiteY14255" fmla="*/ 112984 h 5818346"/>
              <a:gd name="connsiteX14256" fmla="*/ 2132325 w 3503192"/>
              <a:gd name="connsiteY14256" fmla="*/ 111829 h 5818346"/>
              <a:gd name="connsiteX14257" fmla="*/ 2142732 w 3503192"/>
              <a:gd name="connsiteY14257" fmla="*/ 122234 h 5818346"/>
              <a:gd name="connsiteX14258" fmla="*/ 2149833 w 3503192"/>
              <a:gd name="connsiteY14258" fmla="*/ 115133 h 5818346"/>
              <a:gd name="connsiteX14259" fmla="*/ 2159828 w 3503192"/>
              <a:gd name="connsiteY14259" fmla="*/ 125125 h 5818346"/>
              <a:gd name="connsiteX14260" fmla="*/ 2167673 w 3503192"/>
              <a:gd name="connsiteY14260" fmla="*/ 117280 h 5818346"/>
              <a:gd name="connsiteX14261" fmla="*/ 2177500 w 3503192"/>
              <a:gd name="connsiteY14261" fmla="*/ 127107 h 5818346"/>
              <a:gd name="connsiteX14262" fmla="*/ 2186173 w 3503192"/>
              <a:gd name="connsiteY14262" fmla="*/ 118435 h 5818346"/>
              <a:gd name="connsiteX14263" fmla="*/ 2196168 w 3503192"/>
              <a:gd name="connsiteY14263" fmla="*/ 128429 h 5818346"/>
              <a:gd name="connsiteX14264" fmla="*/ 2205666 w 3503192"/>
              <a:gd name="connsiteY14264" fmla="*/ 118931 h 5818346"/>
              <a:gd name="connsiteX14265" fmla="*/ 2215906 w 3503192"/>
              <a:gd name="connsiteY14265" fmla="*/ 129171 h 5818346"/>
              <a:gd name="connsiteX14266" fmla="*/ 2226146 w 3503192"/>
              <a:gd name="connsiteY14266" fmla="*/ 118931 h 5818346"/>
              <a:gd name="connsiteX14267" fmla="*/ 2236884 w 3503192"/>
              <a:gd name="connsiteY14267" fmla="*/ 129667 h 5818346"/>
              <a:gd name="connsiteX14268" fmla="*/ 2226146 w 3503192"/>
              <a:gd name="connsiteY14268" fmla="*/ 140403 h 5818346"/>
              <a:gd name="connsiteX14269" fmla="*/ 2215906 w 3503192"/>
              <a:gd name="connsiteY14269" fmla="*/ 130163 h 5818346"/>
              <a:gd name="connsiteX14270" fmla="*/ 2205666 w 3503192"/>
              <a:gd name="connsiteY14270" fmla="*/ 140403 h 5818346"/>
              <a:gd name="connsiteX14271" fmla="*/ 2195673 w 3503192"/>
              <a:gd name="connsiteY14271" fmla="*/ 130411 h 5818346"/>
              <a:gd name="connsiteX14272" fmla="*/ 2186173 w 3503192"/>
              <a:gd name="connsiteY14272" fmla="*/ 139909 h 5818346"/>
              <a:gd name="connsiteX14273" fmla="*/ 2176346 w 3503192"/>
              <a:gd name="connsiteY14273" fmla="*/ 130082 h 5818346"/>
              <a:gd name="connsiteX14274" fmla="*/ 2169574 w 3503192"/>
              <a:gd name="connsiteY14274" fmla="*/ 136854 h 5818346"/>
              <a:gd name="connsiteX14275" fmla="*/ 2179484 w 3503192"/>
              <a:gd name="connsiteY14275" fmla="*/ 146763 h 5818346"/>
              <a:gd name="connsiteX14276" fmla="*/ 2189642 w 3503192"/>
              <a:gd name="connsiteY14276" fmla="*/ 136606 h 5818346"/>
              <a:gd name="connsiteX14277" fmla="*/ 2200380 w 3503192"/>
              <a:gd name="connsiteY14277" fmla="*/ 147342 h 5818346"/>
              <a:gd name="connsiteX14278" fmla="*/ 2189642 w 3503192"/>
              <a:gd name="connsiteY14278" fmla="*/ 158080 h 5818346"/>
              <a:gd name="connsiteX14279" fmla="*/ 2179649 w 3503192"/>
              <a:gd name="connsiteY14279" fmla="*/ 148086 h 5818346"/>
              <a:gd name="connsiteX14280" fmla="*/ 2169490 w 3503192"/>
              <a:gd name="connsiteY14280" fmla="*/ 158243 h 5818346"/>
              <a:gd name="connsiteX14281" fmla="*/ 2159994 w 3503192"/>
              <a:gd name="connsiteY14281" fmla="*/ 148747 h 5818346"/>
              <a:gd name="connsiteX14282" fmla="*/ 2150494 w 3503192"/>
              <a:gd name="connsiteY14282" fmla="*/ 158245 h 5818346"/>
              <a:gd name="connsiteX14283" fmla="*/ 2160076 w 3503192"/>
              <a:gd name="connsiteY14283" fmla="*/ 167824 h 5818346"/>
              <a:gd name="connsiteX14284" fmla="*/ 2149338 w 3503192"/>
              <a:gd name="connsiteY14284" fmla="*/ 178562 h 5818346"/>
              <a:gd name="connsiteX14285" fmla="*/ 2139097 w 3503192"/>
              <a:gd name="connsiteY14285" fmla="*/ 168320 h 5818346"/>
              <a:gd name="connsiteX14286" fmla="*/ 2129186 w 3503192"/>
              <a:gd name="connsiteY14286" fmla="*/ 178231 h 5818346"/>
              <a:gd name="connsiteX14287" fmla="*/ 2119688 w 3503192"/>
              <a:gd name="connsiteY14287" fmla="*/ 168733 h 5818346"/>
              <a:gd name="connsiteX14288" fmla="*/ 2110354 w 3503192"/>
              <a:gd name="connsiteY14288" fmla="*/ 178065 h 5818346"/>
              <a:gd name="connsiteX14289" fmla="*/ 2101684 w 3503192"/>
              <a:gd name="connsiteY14289" fmla="*/ 169394 h 5818346"/>
              <a:gd name="connsiteX14290" fmla="*/ 2092846 w 3503192"/>
              <a:gd name="connsiteY14290" fmla="*/ 178231 h 5818346"/>
              <a:gd name="connsiteX14291" fmla="*/ 2084505 w 3503192"/>
              <a:gd name="connsiteY14291" fmla="*/ 169888 h 5818346"/>
              <a:gd name="connsiteX14292" fmla="*/ 2076163 w 3503192"/>
              <a:gd name="connsiteY14292" fmla="*/ 178231 h 5818346"/>
              <a:gd name="connsiteX14293" fmla="*/ 2068070 w 3503192"/>
              <a:gd name="connsiteY14293" fmla="*/ 170138 h 5818346"/>
              <a:gd name="connsiteX14294" fmla="*/ 2060471 w 3503192"/>
              <a:gd name="connsiteY14294" fmla="*/ 177737 h 5818346"/>
              <a:gd name="connsiteX14295" fmla="*/ 2052294 w 3503192"/>
              <a:gd name="connsiteY14295" fmla="*/ 169560 h 5818346"/>
              <a:gd name="connsiteX14296" fmla="*/ 2045274 w 3503192"/>
              <a:gd name="connsiteY14296" fmla="*/ 176580 h 5818346"/>
              <a:gd name="connsiteX14297" fmla="*/ 2036933 w 3503192"/>
              <a:gd name="connsiteY14297" fmla="*/ 168237 h 5818346"/>
              <a:gd name="connsiteX14298" fmla="*/ 2030572 w 3503192"/>
              <a:gd name="connsiteY14298" fmla="*/ 174598 h 5818346"/>
              <a:gd name="connsiteX14299" fmla="*/ 2021982 w 3503192"/>
              <a:gd name="connsiteY14299" fmla="*/ 166009 h 5818346"/>
              <a:gd name="connsiteX14300" fmla="*/ 2016367 w 3503192"/>
              <a:gd name="connsiteY14300" fmla="*/ 171624 h 5818346"/>
              <a:gd name="connsiteX14301" fmla="*/ 2007200 w 3503192"/>
              <a:gd name="connsiteY14301" fmla="*/ 162457 h 5818346"/>
              <a:gd name="connsiteX14302" fmla="*/ 2002327 w 3503192"/>
              <a:gd name="connsiteY14302" fmla="*/ 167330 h 5818346"/>
              <a:gd name="connsiteX14303" fmla="*/ 1991590 w 3503192"/>
              <a:gd name="connsiteY14303" fmla="*/ 156592 h 5818346"/>
              <a:gd name="connsiteX14304" fmla="*/ 2002327 w 3503192"/>
              <a:gd name="connsiteY14304" fmla="*/ 145856 h 5818346"/>
              <a:gd name="connsiteX14305" fmla="*/ 2011494 w 3503192"/>
              <a:gd name="connsiteY14305" fmla="*/ 155023 h 5818346"/>
              <a:gd name="connsiteX14306" fmla="*/ 2016367 w 3503192"/>
              <a:gd name="connsiteY14306" fmla="*/ 150149 h 5818346"/>
              <a:gd name="connsiteX14307" fmla="*/ 2024956 w 3503192"/>
              <a:gd name="connsiteY14307" fmla="*/ 158739 h 5818346"/>
              <a:gd name="connsiteX14308" fmla="*/ 2030572 w 3503192"/>
              <a:gd name="connsiteY14308" fmla="*/ 153124 h 5818346"/>
              <a:gd name="connsiteX14309" fmla="*/ 2038915 w 3503192"/>
              <a:gd name="connsiteY14309" fmla="*/ 161465 h 5818346"/>
              <a:gd name="connsiteX14310" fmla="*/ 2045274 w 3503192"/>
              <a:gd name="connsiteY14310" fmla="*/ 155106 h 5818346"/>
              <a:gd name="connsiteX14311" fmla="*/ 2053451 w 3503192"/>
              <a:gd name="connsiteY14311" fmla="*/ 163283 h 5818346"/>
              <a:gd name="connsiteX14312" fmla="*/ 2060471 w 3503192"/>
              <a:gd name="connsiteY14312" fmla="*/ 156263 h 5818346"/>
              <a:gd name="connsiteX14313" fmla="*/ 2068564 w 3503192"/>
              <a:gd name="connsiteY14313" fmla="*/ 164356 h 5818346"/>
              <a:gd name="connsiteX14314" fmla="*/ 2076163 w 3503192"/>
              <a:gd name="connsiteY14314" fmla="*/ 156757 h 5818346"/>
              <a:gd name="connsiteX14315" fmla="*/ 2084505 w 3503192"/>
              <a:gd name="connsiteY14315" fmla="*/ 165098 h 5818346"/>
              <a:gd name="connsiteX14316" fmla="*/ 2092846 w 3503192"/>
              <a:gd name="connsiteY14316" fmla="*/ 156757 h 5818346"/>
              <a:gd name="connsiteX14317" fmla="*/ 2101519 w 3503192"/>
              <a:gd name="connsiteY14317" fmla="*/ 165429 h 5818346"/>
              <a:gd name="connsiteX14318" fmla="*/ 2110354 w 3503192"/>
              <a:gd name="connsiteY14318" fmla="*/ 156592 h 5818346"/>
              <a:gd name="connsiteX14319" fmla="*/ 2119853 w 3503192"/>
              <a:gd name="connsiteY14319" fmla="*/ 166090 h 5818346"/>
              <a:gd name="connsiteX14320" fmla="*/ 2129186 w 3503192"/>
              <a:gd name="connsiteY14320" fmla="*/ 156757 h 5818346"/>
              <a:gd name="connsiteX14321" fmla="*/ 2139428 w 3503192"/>
              <a:gd name="connsiteY14321" fmla="*/ 166997 h 5818346"/>
              <a:gd name="connsiteX14322" fmla="*/ 2149173 w 3503192"/>
              <a:gd name="connsiteY14322" fmla="*/ 157253 h 5818346"/>
              <a:gd name="connsiteX14323" fmla="*/ 2141246 w 3503192"/>
              <a:gd name="connsiteY14323" fmla="*/ 149324 h 5818346"/>
              <a:gd name="connsiteX14324" fmla="*/ 2132325 w 3503192"/>
              <a:gd name="connsiteY14324" fmla="*/ 158243 h 5818346"/>
              <a:gd name="connsiteX14325" fmla="*/ 2123323 w 3503192"/>
              <a:gd name="connsiteY14325" fmla="*/ 149241 h 5818346"/>
              <a:gd name="connsiteX14326" fmla="*/ 2114980 w 3503192"/>
              <a:gd name="connsiteY14326" fmla="*/ 157584 h 5818346"/>
              <a:gd name="connsiteX14327" fmla="*/ 2105896 w 3503192"/>
              <a:gd name="connsiteY14327" fmla="*/ 148499 h 5818346"/>
              <a:gd name="connsiteX14328" fmla="*/ 2098462 w 3503192"/>
              <a:gd name="connsiteY14328" fmla="*/ 155933 h 5818346"/>
              <a:gd name="connsiteX14329" fmla="*/ 2089211 w 3503192"/>
              <a:gd name="connsiteY14329" fmla="*/ 146683 h 5818346"/>
              <a:gd name="connsiteX14330" fmla="*/ 2082439 w 3503192"/>
              <a:gd name="connsiteY14330" fmla="*/ 153453 h 5818346"/>
              <a:gd name="connsiteX14331" fmla="*/ 2072776 w 3503192"/>
              <a:gd name="connsiteY14331" fmla="*/ 143790 h 5818346"/>
              <a:gd name="connsiteX14332" fmla="*/ 2066747 w 3503192"/>
              <a:gd name="connsiteY14332" fmla="*/ 149822 h 5818346"/>
              <a:gd name="connsiteX14333" fmla="*/ 2056010 w 3503192"/>
              <a:gd name="connsiteY14333" fmla="*/ 139084 h 5818346"/>
              <a:gd name="connsiteX14334" fmla="*/ 2066747 w 3503192"/>
              <a:gd name="connsiteY14334" fmla="*/ 128347 h 5818346"/>
              <a:gd name="connsiteX14335" fmla="*/ 2076410 w 3503192"/>
              <a:gd name="connsiteY14335" fmla="*/ 138010 h 5818346"/>
              <a:gd name="connsiteX14336" fmla="*/ 2082439 w 3503192"/>
              <a:gd name="connsiteY14336" fmla="*/ 131981 h 5818346"/>
              <a:gd name="connsiteX14337" fmla="*/ 2091690 w 3503192"/>
              <a:gd name="connsiteY14337" fmla="*/ 141231 h 5818346"/>
              <a:gd name="connsiteX14338" fmla="*/ 2098462 w 3503192"/>
              <a:gd name="connsiteY14338" fmla="*/ 134459 h 5818346"/>
              <a:gd name="connsiteX14339" fmla="*/ 2107547 w 3503192"/>
              <a:gd name="connsiteY14339" fmla="*/ 143542 h 5818346"/>
              <a:gd name="connsiteX14340" fmla="*/ 2114980 w 3503192"/>
              <a:gd name="connsiteY14340" fmla="*/ 136109 h 5818346"/>
              <a:gd name="connsiteX14341" fmla="*/ 2123984 w 3503192"/>
              <a:gd name="connsiteY14341" fmla="*/ 145112 h 5818346"/>
              <a:gd name="connsiteX14342" fmla="*/ 2132325 w 3503192"/>
              <a:gd name="connsiteY14342" fmla="*/ 136770 h 5818346"/>
              <a:gd name="connsiteX14343" fmla="*/ 2141410 w 3503192"/>
              <a:gd name="connsiteY14343" fmla="*/ 145854 h 5818346"/>
              <a:gd name="connsiteX14344" fmla="*/ 2150329 w 3503192"/>
              <a:gd name="connsiteY14344" fmla="*/ 136935 h 5818346"/>
              <a:gd name="connsiteX14345" fmla="*/ 2159828 w 3503192"/>
              <a:gd name="connsiteY14345" fmla="*/ 146433 h 5818346"/>
              <a:gd name="connsiteX14346" fmla="*/ 2167590 w 3503192"/>
              <a:gd name="connsiteY14346" fmla="*/ 138671 h 5818346"/>
              <a:gd name="connsiteX14347" fmla="*/ 2157680 w 3503192"/>
              <a:gd name="connsiteY14347" fmla="*/ 128760 h 5818346"/>
              <a:gd name="connsiteX14348" fmla="*/ 2149833 w 3503192"/>
              <a:gd name="connsiteY14348" fmla="*/ 136607 h 5818346"/>
              <a:gd name="connsiteX14349" fmla="*/ 2139428 w 3503192"/>
              <a:gd name="connsiteY14349" fmla="*/ 126200 h 5818346"/>
              <a:gd name="connsiteX14350" fmla="*/ 2132325 w 3503192"/>
              <a:gd name="connsiteY14350" fmla="*/ 133304 h 5818346"/>
              <a:gd name="connsiteX14351" fmla="*/ 2121589 w 3503192"/>
              <a:gd name="connsiteY14351" fmla="*/ 122566 h 5818346"/>
              <a:gd name="connsiteX14352" fmla="*/ 2132325 w 3503192"/>
              <a:gd name="connsiteY14352" fmla="*/ 111829 h 5818346"/>
              <a:gd name="connsiteX14353" fmla="*/ 3494080 w 3503192"/>
              <a:gd name="connsiteY14353" fmla="*/ 110837 h 5818346"/>
              <a:gd name="connsiteX14354" fmla="*/ 3503192 w 3503192"/>
              <a:gd name="connsiteY14354" fmla="*/ 119950 h 5818346"/>
              <a:gd name="connsiteX14355" fmla="*/ 3503192 w 3503192"/>
              <a:gd name="connsiteY14355" fmla="*/ 123198 h 5818346"/>
              <a:gd name="connsiteX14356" fmla="*/ 3494080 w 3503192"/>
              <a:gd name="connsiteY14356" fmla="*/ 132312 h 5818346"/>
              <a:gd name="connsiteX14357" fmla="*/ 3483343 w 3503192"/>
              <a:gd name="connsiteY14357" fmla="*/ 121574 h 5818346"/>
              <a:gd name="connsiteX14358" fmla="*/ 3494080 w 3503192"/>
              <a:gd name="connsiteY14358" fmla="*/ 110837 h 5818346"/>
              <a:gd name="connsiteX14359" fmla="*/ 3469798 w 3503192"/>
              <a:gd name="connsiteY14359" fmla="*/ 110672 h 5818346"/>
              <a:gd name="connsiteX14360" fmla="*/ 3480536 w 3503192"/>
              <a:gd name="connsiteY14360" fmla="*/ 121409 h 5818346"/>
              <a:gd name="connsiteX14361" fmla="*/ 3469798 w 3503192"/>
              <a:gd name="connsiteY14361" fmla="*/ 132145 h 5818346"/>
              <a:gd name="connsiteX14362" fmla="*/ 3459061 w 3503192"/>
              <a:gd name="connsiteY14362" fmla="*/ 121409 h 5818346"/>
              <a:gd name="connsiteX14363" fmla="*/ 3469798 w 3503192"/>
              <a:gd name="connsiteY14363" fmla="*/ 110672 h 5818346"/>
              <a:gd name="connsiteX14364" fmla="*/ 2115476 w 3503192"/>
              <a:gd name="connsiteY14364" fmla="*/ 110506 h 5818346"/>
              <a:gd name="connsiteX14365" fmla="*/ 2122910 w 3503192"/>
              <a:gd name="connsiteY14365" fmla="*/ 117939 h 5818346"/>
              <a:gd name="connsiteX14366" fmla="*/ 2115476 w 3503192"/>
              <a:gd name="connsiteY14366" fmla="*/ 125373 h 5818346"/>
              <a:gd name="connsiteX14367" fmla="*/ 2108043 w 3503192"/>
              <a:gd name="connsiteY14367" fmla="*/ 117939 h 5818346"/>
              <a:gd name="connsiteX14368" fmla="*/ 2115476 w 3503192"/>
              <a:gd name="connsiteY14368" fmla="*/ 110506 h 5818346"/>
              <a:gd name="connsiteX14369" fmla="*/ 3075345 w 3503192"/>
              <a:gd name="connsiteY14369" fmla="*/ 109845 h 5818346"/>
              <a:gd name="connsiteX14370" fmla="*/ 3086083 w 3503192"/>
              <a:gd name="connsiteY14370" fmla="*/ 120582 h 5818346"/>
              <a:gd name="connsiteX14371" fmla="*/ 3075345 w 3503192"/>
              <a:gd name="connsiteY14371" fmla="*/ 131320 h 5818346"/>
              <a:gd name="connsiteX14372" fmla="*/ 3064608 w 3503192"/>
              <a:gd name="connsiteY14372" fmla="*/ 120582 h 5818346"/>
              <a:gd name="connsiteX14373" fmla="*/ 3075345 w 3503192"/>
              <a:gd name="connsiteY14373" fmla="*/ 109845 h 5818346"/>
              <a:gd name="connsiteX14374" fmla="*/ 3220869 w 3503192"/>
              <a:gd name="connsiteY14374" fmla="*/ 109351 h 5818346"/>
              <a:gd name="connsiteX14375" fmla="*/ 3231607 w 3503192"/>
              <a:gd name="connsiteY14375" fmla="*/ 120087 h 5818346"/>
              <a:gd name="connsiteX14376" fmla="*/ 3220869 w 3503192"/>
              <a:gd name="connsiteY14376" fmla="*/ 130824 h 5818346"/>
              <a:gd name="connsiteX14377" fmla="*/ 3210132 w 3503192"/>
              <a:gd name="connsiteY14377" fmla="*/ 120087 h 5818346"/>
              <a:gd name="connsiteX14378" fmla="*/ 3220869 w 3503192"/>
              <a:gd name="connsiteY14378" fmla="*/ 109351 h 5818346"/>
              <a:gd name="connsiteX14379" fmla="*/ 2474910 w 3503192"/>
              <a:gd name="connsiteY14379" fmla="*/ 109185 h 5818346"/>
              <a:gd name="connsiteX14380" fmla="*/ 2485648 w 3503192"/>
              <a:gd name="connsiteY14380" fmla="*/ 119921 h 5818346"/>
              <a:gd name="connsiteX14381" fmla="*/ 2474910 w 3503192"/>
              <a:gd name="connsiteY14381" fmla="*/ 130659 h 5818346"/>
              <a:gd name="connsiteX14382" fmla="*/ 2464174 w 3503192"/>
              <a:gd name="connsiteY14382" fmla="*/ 119921 h 5818346"/>
              <a:gd name="connsiteX14383" fmla="*/ 2474910 w 3503192"/>
              <a:gd name="connsiteY14383" fmla="*/ 109185 h 5818346"/>
              <a:gd name="connsiteX14384" fmla="*/ 2759352 w 3503192"/>
              <a:gd name="connsiteY14384" fmla="*/ 107038 h 5818346"/>
              <a:gd name="connsiteX14385" fmla="*/ 2770090 w 3503192"/>
              <a:gd name="connsiteY14385" fmla="*/ 117774 h 5818346"/>
              <a:gd name="connsiteX14386" fmla="*/ 2759352 w 3503192"/>
              <a:gd name="connsiteY14386" fmla="*/ 128512 h 5818346"/>
              <a:gd name="connsiteX14387" fmla="*/ 2748615 w 3503192"/>
              <a:gd name="connsiteY14387" fmla="*/ 117774 h 5818346"/>
              <a:gd name="connsiteX14388" fmla="*/ 2759352 w 3503192"/>
              <a:gd name="connsiteY14388" fmla="*/ 107038 h 5818346"/>
              <a:gd name="connsiteX14389" fmla="*/ 2441213 w 3503192"/>
              <a:gd name="connsiteY14389" fmla="*/ 105716 h 5818346"/>
              <a:gd name="connsiteX14390" fmla="*/ 2451951 w 3503192"/>
              <a:gd name="connsiteY14390" fmla="*/ 116453 h 5818346"/>
              <a:gd name="connsiteX14391" fmla="*/ 2441213 w 3503192"/>
              <a:gd name="connsiteY14391" fmla="*/ 127191 h 5818346"/>
              <a:gd name="connsiteX14392" fmla="*/ 2430477 w 3503192"/>
              <a:gd name="connsiteY14392" fmla="*/ 116453 h 5818346"/>
              <a:gd name="connsiteX14393" fmla="*/ 2441213 w 3503192"/>
              <a:gd name="connsiteY14393" fmla="*/ 105716 h 5818346"/>
              <a:gd name="connsiteX14394" fmla="*/ 2970289 w 3503192"/>
              <a:gd name="connsiteY14394" fmla="*/ 105387 h 5818346"/>
              <a:gd name="connsiteX14395" fmla="*/ 2981028 w 3503192"/>
              <a:gd name="connsiteY14395" fmla="*/ 116123 h 5818346"/>
              <a:gd name="connsiteX14396" fmla="*/ 2970289 w 3503192"/>
              <a:gd name="connsiteY14396" fmla="*/ 126861 h 5818346"/>
              <a:gd name="connsiteX14397" fmla="*/ 2959553 w 3503192"/>
              <a:gd name="connsiteY14397" fmla="*/ 116123 h 5818346"/>
              <a:gd name="connsiteX14398" fmla="*/ 2970289 w 3503192"/>
              <a:gd name="connsiteY14398" fmla="*/ 105387 h 5818346"/>
              <a:gd name="connsiteX14399" fmla="*/ 2864738 w 3503192"/>
              <a:gd name="connsiteY14399" fmla="*/ 104561 h 5818346"/>
              <a:gd name="connsiteX14400" fmla="*/ 2875476 w 3503192"/>
              <a:gd name="connsiteY14400" fmla="*/ 115298 h 5818346"/>
              <a:gd name="connsiteX14401" fmla="*/ 2864738 w 3503192"/>
              <a:gd name="connsiteY14401" fmla="*/ 126034 h 5818346"/>
              <a:gd name="connsiteX14402" fmla="*/ 2854002 w 3503192"/>
              <a:gd name="connsiteY14402" fmla="*/ 115298 h 5818346"/>
              <a:gd name="connsiteX14403" fmla="*/ 2864738 w 3503192"/>
              <a:gd name="connsiteY14403" fmla="*/ 104561 h 5818346"/>
              <a:gd name="connsiteX14404" fmla="*/ 2611516 w 3503192"/>
              <a:gd name="connsiteY14404" fmla="*/ 104230 h 5818346"/>
              <a:gd name="connsiteX14405" fmla="*/ 2622254 w 3503192"/>
              <a:gd name="connsiteY14405" fmla="*/ 114966 h 5818346"/>
              <a:gd name="connsiteX14406" fmla="*/ 2611516 w 3503192"/>
              <a:gd name="connsiteY14406" fmla="*/ 125703 h 5818346"/>
              <a:gd name="connsiteX14407" fmla="*/ 2600779 w 3503192"/>
              <a:gd name="connsiteY14407" fmla="*/ 114966 h 5818346"/>
              <a:gd name="connsiteX14408" fmla="*/ 2611516 w 3503192"/>
              <a:gd name="connsiteY14408" fmla="*/ 104230 h 5818346"/>
              <a:gd name="connsiteX14409" fmla="*/ 3258860 w 3503192"/>
              <a:gd name="connsiteY14409" fmla="*/ 103569 h 5818346"/>
              <a:gd name="connsiteX14410" fmla="*/ 3269598 w 3503192"/>
              <a:gd name="connsiteY14410" fmla="*/ 114306 h 5818346"/>
              <a:gd name="connsiteX14411" fmla="*/ 3258860 w 3503192"/>
              <a:gd name="connsiteY14411" fmla="*/ 125042 h 5818346"/>
              <a:gd name="connsiteX14412" fmla="*/ 3248124 w 3503192"/>
              <a:gd name="connsiteY14412" fmla="*/ 114306 h 5818346"/>
              <a:gd name="connsiteX14413" fmla="*/ 3258860 w 3503192"/>
              <a:gd name="connsiteY14413" fmla="*/ 103569 h 5818346"/>
              <a:gd name="connsiteX14414" fmla="*/ 2303286 w 3503192"/>
              <a:gd name="connsiteY14414" fmla="*/ 102577 h 5818346"/>
              <a:gd name="connsiteX14415" fmla="*/ 2314024 w 3503192"/>
              <a:gd name="connsiteY14415" fmla="*/ 113314 h 5818346"/>
              <a:gd name="connsiteX14416" fmla="*/ 2303286 w 3503192"/>
              <a:gd name="connsiteY14416" fmla="*/ 124052 h 5818346"/>
              <a:gd name="connsiteX14417" fmla="*/ 2292550 w 3503192"/>
              <a:gd name="connsiteY14417" fmla="*/ 113314 h 5818346"/>
              <a:gd name="connsiteX14418" fmla="*/ 2303286 w 3503192"/>
              <a:gd name="connsiteY14418" fmla="*/ 102577 h 5818346"/>
              <a:gd name="connsiteX14419" fmla="*/ 2280326 w 3503192"/>
              <a:gd name="connsiteY14419" fmla="*/ 102577 h 5818346"/>
              <a:gd name="connsiteX14420" fmla="*/ 2291064 w 3503192"/>
              <a:gd name="connsiteY14420" fmla="*/ 113314 h 5818346"/>
              <a:gd name="connsiteX14421" fmla="*/ 2280326 w 3503192"/>
              <a:gd name="connsiteY14421" fmla="*/ 124052 h 5818346"/>
              <a:gd name="connsiteX14422" fmla="*/ 2269590 w 3503192"/>
              <a:gd name="connsiteY14422" fmla="*/ 113314 h 5818346"/>
              <a:gd name="connsiteX14423" fmla="*/ 2280326 w 3503192"/>
              <a:gd name="connsiteY14423" fmla="*/ 102577 h 5818346"/>
              <a:gd name="connsiteX14424" fmla="*/ 2258688 w 3503192"/>
              <a:gd name="connsiteY14424" fmla="*/ 102248 h 5818346"/>
              <a:gd name="connsiteX14425" fmla="*/ 2269426 w 3503192"/>
              <a:gd name="connsiteY14425" fmla="*/ 112984 h 5818346"/>
              <a:gd name="connsiteX14426" fmla="*/ 2258688 w 3503192"/>
              <a:gd name="connsiteY14426" fmla="*/ 123722 h 5818346"/>
              <a:gd name="connsiteX14427" fmla="*/ 2247952 w 3503192"/>
              <a:gd name="connsiteY14427" fmla="*/ 112984 h 5818346"/>
              <a:gd name="connsiteX14428" fmla="*/ 2258688 w 3503192"/>
              <a:gd name="connsiteY14428" fmla="*/ 102248 h 5818346"/>
              <a:gd name="connsiteX14429" fmla="*/ 2238039 w 3503192"/>
              <a:gd name="connsiteY14429" fmla="*/ 101256 h 5818346"/>
              <a:gd name="connsiteX14430" fmla="*/ 2248778 w 3503192"/>
              <a:gd name="connsiteY14430" fmla="*/ 111992 h 5818346"/>
              <a:gd name="connsiteX14431" fmla="*/ 2238039 w 3503192"/>
              <a:gd name="connsiteY14431" fmla="*/ 122730 h 5818346"/>
              <a:gd name="connsiteX14432" fmla="*/ 2227303 w 3503192"/>
              <a:gd name="connsiteY14432" fmla="*/ 111992 h 5818346"/>
              <a:gd name="connsiteX14433" fmla="*/ 2238039 w 3503192"/>
              <a:gd name="connsiteY14433" fmla="*/ 101256 h 5818346"/>
              <a:gd name="connsiteX14434" fmla="*/ 3120109 w 3503192"/>
              <a:gd name="connsiteY14434" fmla="*/ 100430 h 5818346"/>
              <a:gd name="connsiteX14435" fmla="*/ 3130846 w 3503192"/>
              <a:gd name="connsiteY14435" fmla="*/ 111167 h 5818346"/>
              <a:gd name="connsiteX14436" fmla="*/ 3120109 w 3503192"/>
              <a:gd name="connsiteY14436" fmla="*/ 121903 h 5818346"/>
              <a:gd name="connsiteX14437" fmla="*/ 3109373 w 3503192"/>
              <a:gd name="connsiteY14437" fmla="*/ 111167 h 5818346"/>
              <a:gd name="connsiteX14438" fmla="*/ 3120109 w 3503192"/>
              <a:gd name="connsiteY14438" fmla="*/ 100430 h 5818346"/>
              <a:gd name="connsiteX14439" fmla="*/ 3294374 w 3503192"/>
              <a:gd name="connsiteY14439" fmla="*/ 99605 h 5818346"/>
              <a:gd name="connsiteX14440" fmla="*/ 3305112 w 3503192"/>
              <a:gd name="connsiteY14440" fmla="*/ 110341 h 5818346"/>
              <a:gd name="connsiteX14441" fmla="*/ 3294374 w 3503192"/>
              <a:gd name="connsiteY14441" fmla="*/ 121079 h 5818346"/>
              <a:gd name="connsiteX14442" fmla="*/ 3283638 w 3503192"/>
              <a:gd name="connsiteY14442" fmla="*/ 110341 h 5818346"/>
              <a:gd name="connsiteX14443" fmla="*/ 3294374 w 3503192"/>
              <a:gd name="connsiteY14443" fmla="*/ 99605 h 5818346"/>
              <a:gd name="connsiteX14444" fmla="*/ 2218218 w 3503192"/>
              <a:gd name="connsiteY14444" fmla="*/ 99275 h 5818346"/>
              <a:gd name="connsiteX14445" fmla="*/ 2228956 w 3503192"/>
              <a:gd name="connsiteY14445" fmla="*/ 110012 h 5818346"/>
              <a:gd name="connsiteX14446" fmla="*/ 2218218 w 3503192"/>
              <a:gd name="connsiteY14446" fmla="*/ 120750 h 5818346"/>
              <a:gd name="connsiteX14447" fmla="*/ 2207481 w 3503192"/>
              <a:gd name="connsiteY14447" fmla="*/ 110012 h 5818346"/>
              <a:gd name="connsiteX14448" fmla="*/ 2218218 w 3503192"/>
              <a:gd name="connsiteY14448" fmla="*/ 99275 h 5818346"/>
              <a:gd name="connsiteX14449" fmla="*/ 3503192 w 3503192"/>
              <a:gd name="connsiteY14449" fmla="*/ 98586 h 5818346"/>
              <a:gd name="connsiteX14450" fmla="*/ 3503192 w 3503192"/>
              <a:gd name="connsiteY14450" fmla="*/ 111526 h 5818346"/>
              <a:gd name="connsiteX14451" fmla="*/ 3496722 w 3503192"/>
              <a:gd name="connsiteY14451" fmla="*/ 105056 h 5818346"/>
              <a:gd name="connsiteX14452" fmla="*/ 2571541 w 3503192"/>
              <a:gd name="connsiteY14452" fmla="*/ 97787 h 5818346"/>
              <a:gd name="connsiteX14453" fmla="*/ 2582279 w 3503192"/>
              <a:gd name="connsiteY14453" fmla="*/ 108524 h 5818346"/>
              <a:gd name="connsiteX14454" fmla="*/ 2571541 w 3503192"/>
              <a:gd name="connsiteY14454" fmla="*/ 119262 h 5818346"/>
              <a:gd name="connsiteX14455" fmla="*/ 2560804 w 3503192"/>
              <a:gd name="connsiteY14455" fmla="*/ 108524 h 5818346"/>
              <a:gd name="connsiteX14456" fmla="*/ 2571541 w 3503192"/>
              <a:gd name="connsiteY14456" fmla="*/ 97787 h 5818346"/>
              <a:gd name="connsiteX14457" fmla="*/ 2712771 w 3503192"/>
              <a:gd name="connsiteY14457" fmla="*/ 96797 h 5818346"/>
              <a:gd name="connsiteX14458" fmla="*/ 2723509 w 3503192"/>
              <a:gd name="connsiteY14458" fmla="*/ 107534 h 5818346"/>
              <a:gd name="connsiteX14459" fmla="*/ 2712771 w 3503192"/>
              <a:gd name="connsiteY14459" fmla="*/ 118272 h 5818346"/>
              <a:gd name="connsiteX14460" fmla="*/ 2702035 w 3503192"/>
              <a:gd name="connsiteY14460" fmla="*/ 107534 h 5818346"/>
              <a:gd name="connsiteX14461" fmla="*/ 2712771 w 3503192"/>
              <a:gd name="connsiteY14461" fmla="*/ 96797 h 5818346"/>
              <a:gd name="connsiteX14462" fmla="*/ 2199056 w 3503192"/>
              <a:gd name="connsiteY14462" fmla="*/ 96466 h 5818346"/>
              <a:gd name="connsiteX14463" fmla="*/ 2209794 w 3503192"/>
              <a:gd name="connsiteY14463" fmla="*/ 107202 h 5818346"/>
              <a:gd name="connsiteX14464" fmla="*/ 2199056 w 3503192"/>
              <a:gd name="connsiteY14464" fmla="*/ 117941 h 5818346"/>
              <a:gd name="connsiteX14465" fmla="*/ 2188320 w 3503192"/>
              <a:gd name="connsiteY14465" fmla="*/ 107202 h 5818346"/>
              <a:gd name="connsiteX14466" fmla="*/ 2199056 w 3503192"/>
              <a:gd name="connsiteY14466" fmla="*/ 96466 h 5818346"/>
              <a:gd name="connsiteX14467" fmla="*/ 3463026 w 3503192"/>
              <a:gd name="connsiteY14467" fmla="*/ 95641 h 5818346"/>
              <a:gd name="connsiteX14468" fmla="*/ 3473764 w 3503192"/>
              <a:gd name="connsiteY14468" fmla="*/ 106377 h 5818346"/>
              <a:gd name="connsiteX14469" fmla="*/ 3463026 w 3503192"/>
              <a:gd name="connsiteY14469" fmla="*/ 117113 h 5818346"/>
              <a:gd name="connsiteX14470" fmla="*/ 3452289 w 3503192"/>
              <a:gd name="connsiteY14470" fmla="*/ 106377 h 5818346"/>
              <a:gd name="connsiteX14471" fmla="*/ 3463026 w 3503192"/>
              <a:gd name="connsiteY14471" fmla="*/ 95641 h 5818346"/>
              <a:gd name="connsiteX14472" fmla="*/ 3485820 w 3503192"/>
              <a:gd name="connsiteY14472" fmla="*/ 95311 h 5818346"/>
              <a:gd name="connsiteX14473" fmla="*/ 3496556 w 3503192"/>
              <a:gd name="connsiteY14473" fmla="*/ 106047 h 5818346"/>
              <a:gd name="connsiteX14474" fmla="*/ 3485820 w 3503192"/>
              <a:gd name="connsiteY14474" fmla="*/ 116784 h 5818346"/>
              <a:gd name="connsiteX14475" fmla="*/ 3475084 w 3503192"/>
              <a:gd name="connsiteY14475" fmla="*/ 106047 h 5818346"/>
              <a:gd name="connsiteX14476" fmla="*/ 3485820 w 3503192"/>
              <a:gd name="connsiteY14476" fmla="*/ 95311 h 5818346"/>
              <a:gd name="connsiteX14477" fmla="*/ 3018687 w 3503192"/>
              <a:gd name="connsiteY14477" fmla="*/ 94649 h 5818346"/>
              <a:gd name="connsiteX14478" fmla="*/ 3029424 w 3503192"/>
              <a:gd name="connsiteY14478" fmla="*/ 105385 h 5818346"/>
              <a:gd name="connsiteX14479" fmla="*/ 3018687 w 3503192"/>
              <a:gd name="connsiteY14479" fmla="*/ 116123 h 5818346"/>
              <a:gd name="connsiteX14480" fmla="*/ 3007951 w 3503192"/>
              <a:gd name="connsiteY14480" fmla="*/ 105385 h 5818346"/>
              <a:gd name="connsiteX14481" fmla="*/ 3018687 w 3503192"/>
              <a:gd name="connsiteY14481" fmla="*/ 94649 h 5818346"/>
              <a:gd name="connsiteX14482" fmla="*/ 3161733 w 3503192"/>
              <a:gd name="connsiteY14482" fmla="*/ 93494 h 5818346"/>
              <a:gd name="connsiteX14483" fmla="*/ 3172471 w 3503192"/>
              <a:gd name="connsiteY14483" fmla="*/ 104230 h 5818346"/>
              <a:gd name="connsiteX14484" fmla="*/ 3161733 w 3503192"/>
              <a:gd name="connsiteY14484" fmla="*/ 114966 h 5818346"/>
              <a:gd name="connsiteX14485" fmla="*/ 3150997 w 3503192"/>
              <a:gd name="connsiteY14485" fmla="*/ 104230 h 5818346"/>
              <a:gd name="connsiteX14486" fmla="*/ 3161733 w 3503192"/>
              <a:gd name="connsiteY14486" fmla="*/ 93494 h 5818346"/>
              <a:gd name="connsiteX14487" fmla="*/ 2534376 w 3503192"/>
              <a:gd name="connsiteY14487" fmla="*/ 93327 h 5818346"/>
              <a:gd name="connsiteX14488" fmla="*/ 2545114 w 3503192"/>
              <a:gd name="connsiteY14488" fmla="*/ 104064 h 5818346"/>
              <a:gd name="connsiteX14489" fmla="*/ 2534376 w 3503192"/>
              <a:gd name="connsiteY14489" fmla="*/ 114802 h 5818346"/>
              <a:gd name="connsiteX14490" fmla="*/ 2523639 w 3503192"/>
              <a:gd name="connsiteY14490" fmla="*/ 104064 h 5818346"/>
              <a:gd name="connsiteX14491" fmla="*/ 2534376 w 3503192"/>
              <a:gd name="connsiteY14491" fmla="*/ 93327 h 5818346"/>
              <a:gd name="connsiteX14492" fmla="*/ 2814523 w 3503192"/>
              <a:gd name="connsiteY14492" fmla="*/ 92833 h 5818346"/>
              <a:gd name="connsiteX14493" fmla="*/ 2825259 w 3503192"/>
              <a:gd name="connsiteY14493" fmla="*/ 103569 h 5818346"/>
              <a:gd name="connsiteX14494" fmla="*/ 2814523 w 3503192"/>
              <a:gd name="connsiteY14494" fmla="*/ 114306 h 5818346"/>
              <a:gd name="connsiteX14495" fmla="*/ 2803786 w 3503192"/>
              <a:gd name="connsiteY14495" fmla="*/ 103569 h 5818346"/>
              <a:gd name="connsiteX14496" fmla="*/ 2814523 w 3503192"/>
              <a:gd name="connsiteY14496" fmla="*/ 92833 h 5818346"/>
              <a:gd name="connsiteX14497" fmla="*/ 2180556 w 3503192"/>
              <a:gd name="connsiteY14497" fmla="*/ 92833 h 5818346"/>
              <a:gd name="connsiteX14498" fmla="*/ 2190798 w 3503192"/>
              <a:gd name="connsiteY14498" fmla="*/ 103073 h 5818346"/>
              <a:gd name="connsiteX14499" fmla="*/ 2180556 w 3503192"/>
              <a:gd name="connsiteY14499" fmla="*/ 113315 h 5818346"/>
              <a:gd name="connsiteX14500" fmla="*/ 2170316 w 3503192"/>
              <a:gd name="connsiteY14500" fmla="*/ 103073 h 5818346"/>
              <a:gd name="connsiteX14501" fmla="*/ 2180556 w 3503192"/>
              <a:gd name="connsiteY14501" fmla="*/ 92833 h 5818346"/>
              <a:gd name="connsiteX14502" fmla="*/ 2499522 w 3503192"/>
              <a:gd name="connsiteY14502" fmla="*/ 90520 h 5818346"/>
              <a:gd name="connsiteX14503" fmla="*/ 2510260 w 3503192"/>
              <a:gd name="connsiteY14503" fmla="*/ 101256 h 5818346"/>
              <a:gd name="connsiteX14504" fmla="*/ 2499522 w 3503192"/>
              <a:gd name="connsiteY14504" fmla="*/ 111994 h 5818346"/>
              <a:gd name="connsiteX14505" fmla="*/ 2488786 w 3503192"/>
              <a:gd name="connsiteY14505" fmla="*/ 101256 h 5818346"/>
              <a:gd name="connsiteX14506" fmla="*/ 2499522 w 3503192"/>
              <a:gd name="connsiteY14506" fmla="*/ 90520 h 5818346"/>
              <a:gd name="connsiteX14507" fmla="*/ 2669164 w 3503192"/>
              <a:gd name="connsiteY14507" fmla="*/ 89365 h 5818346"/>
              <a:gd name="connsiteX14508" fmla="*/ 2679902 w 3503192"/>
              <a:gd name="connsiteY14508" fmla="*/ 100101 h 5818346"/>
              <a:gd name="connsiteX14509" fmla="*/ 2669164 w 3503192"/>
              <a:gd name="connsiteY14509" fmla="*/ 110837 h 5818346"/>
              <a:gd name="connsiteX14510" fmla="*/ 2658427 w 3503192"/>
              <a:gd name="connsiteY14510" fmla="*/ 100101 h 5818346"/>
              <a:gd name="connsiteX14511" fmla="*/ 2669164 w 3503192"/>
              <a:gd name="connsiteY14511" fmla="*/ 89365 h 5818346"/>
              <a:gd name="connsiteX14512" fmla="*/ 3200716 w 3503192"/>
              <a:gd name="connsiteY14512" fmla="*/ 88537 h 5818346"/>
              <a:gd name="connsiteX14513" fmla="*/ 3211454 w 3503192"/>
              <a:gd name="connsiteY14513" fmla="*/ 99274 h 5818346"/>
              <a:gd name="connsiteX14514" fmla="*/ 3200716 w 3503192"/>
              <a:gd name="connsiteY14514" fmla="*/ 110012 h 5818346"/>
              <a:gd name="connsiteX14515" fmla="*/ 3189980 w 3503192"/>
              <a:gd name="connsiteY14515" fmla="*/ 99274 h 5818346"/>
              <a:gd name="connsiteX14516" fmla="*/ 3200716 w 3503192"/>
              <a:gd name="connsiteY14516" fmla="*/ 88537 h 5818346"/>
              <a:gd name="connsiteX14517" fmla="*/ 2332358 w 3503192"/>
              <a:gd name="connsiteY14517" fmla="*/ 87547 h 5818346"/>
              <a:gd name="connsiteX14518" fmla="*/ 2343096 w 3503192"/>
              <a:gd name="connsiteY14518" fmla="*/ 98284 h 5818346"/>
              <a:gd name="connsiteX14519" fmla="*/ 2333269 w 3503192"/>
              <a:gd name="connsiteY14519" fmla="*/ 108111 h 5818346"/>
              <a:gd name="connsiteX14520" fmla="*/ 2338142 w 3503192"/>
              <a:gd name="connsiteY14520" fmla="*/ 112984 h 5818346"/>
              <a:gd name="connsiteX14521" fmla="*/ 2327404 w 3503192"/>
              <a:gd name="connsiteY14521" fmla="*/ 123722 h 5818346"/>
              <a:gd name="connsiteX14522" fmla="*/ 2316667 w 3503192"/>
              <a:gd name="connsiteY14522" fmla="*/ 112984 h 5818346"/>
              <a:gd name="connsiteX14523" fmla="*/ 2326495 w 3503192"/>
              <a:gd name="connsiteY14523" fmla="*/ 103157 h 5818346"/>
              <a:gd name="connsiteX14524" fmla="*/ 2321622 w 3503192"/>
              <a:gd name="connsiteY14524" fmla="*/ 98284 h 5818346"/>
              <a:gd name="connsiteX14525" fmla="*/ 2332358 w 3503192"/>
              <a:gd name="connsiteY14525" fmla="*/ 87547 h 5818346"/>
              <a:gd name="connsiteX14526" fmla="*/ 2309729 w 3503192"/>
              <a:gd name="connsiteY14526" fmla="*/ 86720 h 5818346"/>
              <a:gd name="connsiteX14527" fmla="*/ 2320467 w 3503192"/>
              <a:gd name="connsiteY14527" fmla="*/ 97456 h 5818346"/>
              <a:gd name="connsiteX14528" fmla="*/ 2309729 w 3503192"/>
              <a:gd name="connsiteY14528" fmla="*/ 108194 h 5818346"/>
              <a:gd name="connsiteX14529" fmla="*/ 2298992 w 3503192"/>
              <a:gd name="connsiteY14529" fmla="*/ 97456 h 5818346"/>
              <a:gd name="connsiteX14530" fmla="*/ 2309729 w 3503192"/>
              <a:gd name="connsiteY14530" fmla="*/ 86720 h 5818346"/>
              <a:gd name="connsiteX14531" fmla="*/ 3063781 w 3503192"/>
              <a:gd name="connsiteY14531" fmla="*/ 86390 h 5818346"/>
              <a:gd name="connsiteX14532" fmla="*/ 3074519 w 3503192"/>
              <a:gd name="connsiteY14532" fmla="*/ 97127 h 5818346"/>
              <a:gd name="connsiteX14533" fmla="*/ 3063781 w 3503192"/>
              <a:gd name="connsiteY14533" fmla="*/ 107865 h 5818346"/>
              <a:gd name="connsiteX14534" fmla="*/ 3053045 w 3503192"/>
              <a:gd name="connsiteY14534" fmla="*/ 97127 h 5818346"/>
              <a:gd name="connsiteX14535" fmla="*/ 3063781 w 3503192"/>
              <a:gd name="connsiteY14535" fmla="*/ 86390 h 5818346"/>
              <a:gd name="connsiteX14536" fmla="*/ 3236891 w 3503192"/>
              <a:gd name="connsiteY14536" fmla="*/ 85399 h 5818346"/>
              <a:gd name="connsiteX14537" fmla="*/ 3247629 w 3503192"/>
              <a:gd name="connsiteY14537" fmla="*/ 96135 h 5818346"/>
              <a:gd name="connsiteX14538" fmla="*/ 3236891 w 3503192"/>
              <a:gd name="connsiteY14538" fmla="*/ 106873 h 5818346"/>
              <a:gd name="connsiteX14539" fmla="*/ 3226155 w 3503192"/>
              <a:gd name="connsiteY14539" fmla="*/ 96135 h 5818346"/>
              <a:gd name="connsiteX14540" fmla="*/ 3236891 w 3503192"/>
              <a:gd name="connsiteY14540" fmla="*/ 85399 h 5818346"/>
              <a:gd name="connsiteX14541" fmla="*/ 2287925 w 3503192"/>
              <a:gd name="connsiteY14541" fmla="*/ 84904 h 5818346"/>
              <a:gd name="connsiteX14542" fmla="*/ 2298663 w 3503192"/>
              <a:gd name="connsiteY14542" fmla="*/ 95641 h 5818346"/>
              <a:gd name="connsiteX14543" fmla="*/ 2287925 w 3503192"/>
              <a:gd name="connsiteY14543" fmla="*/ 106377 h 5818346"/>
              <a:gd name="connsiteX14544" fmla="*/ 2277188 w 3503192"/>
              <a:gd name="connsiteY14544" fmla="*/ 95641 h 5818346"/>
              <a:gd name="connsiteX14545" fmla="*/ 2287925 w 3503192"/>
              <a:gd name="connsiteY14545" fmla="*/ 84904 h 5818346"/>
              <a:gd name="connsiteX14546" fmla="*/ 2767612 w 3503192"/>
              <a:gd name="connsiteY14546" fmla="*/ 83912 h 5818346"/>
              <a:gd name="connsiteX14547" fmla="*/ 2778350 w 3503192"/>
              <a:gd name="connsiteY14547" fmla="*/ 94649 h 5818346"/>
              <a:gd name="connsiteX14548" fmla="*/ 2767612 w 3503192"/>
              <a:gd name="connsiteY14548" fmla="*/ 105385 h 5818346"/>
              <a:gd name="connsiteX14549" fmla="*/ 2756875 w 3503192"/>
              <a:gd name="connsiteY14549" fmla="*/ 94649 h 5818346"/>
              <a:gd name="connsiteX14550" fmla="*/ 2767612 w 3503192"/>
              <a:gd name="connsiteY14550" fmla="*/ 83912 h 5818346"/>
              <a:gd name="connsiteX14551" fmla="*/ 2628528 w 3503192"/>
              <a:gd name="connsiteY14551" fmla="*/ 83912 h 5818346"/>
              <a:gd name="connsiteX14552" fmla="*/ 2639266 w 3503192"/>
              <a:gd name="connsiteY14552" fmla="*/ 94649 h 5818346"/>
              <a:gd name="connsiteX14553" fmla="*/ 2628528 w 3503192"/>
              <a:gd name="connsiteY14553" fmla="*/ 105385 h 5818346"/>
              <a:gd name="connsiteX14554" fmla="*/ 2617792 w 3503192"/>
              <a:gd name="connsiteY14554" fmla="*/ 94649 h 5818346"/>
              <a:gd name="connsiteX14555" fmla="*/ 2628528 w 3503192"/>
              <a:gd name="connsiteY14555" fmla="*/ 83912 h 5818346"/>
              <a:gd name="connsiteX14556" fmla="*/ 3270754 w 3503192"/>
              <a:gd name="connsiteY14556" fmla="*/ 83583 h 5818346"/>
              <a:gd name="connsiteX14557" fmla="*/ 3281493 w 3503192"/>
              <a:gd name="connsiteY14557" fmla="*/ 94319 h 5818346"/>
              <a:gd name="connsiteX14558" fmla="*/ 3270754 w 3503192"/>
              <a:gd name="connsiteY14558" fmla="*/ 105056 h 5818346"/>
              <a:gd name="connsiteX14559" fmla="*/ 3260018 w 3503192"/>
              <a:gd name="connsiteY14559" fmla="*/ 94319 h 5818346"/>
              <a:gd name="connsiteX14560" fmla="*/ 3270754 w 3503192"/>
              <a:gd name="connsiteY14560" fmla="*/ 83583 h 5818346"/>
              <a:gd name="connsiteX14561" fmla="*/ 2226974 w 3503192"/>
              <a:gd name="connsiteY14561" fmla="*/ 82426 h 5818346"/>
              <a:gd name="connsiteX14562" fmla="*/ 2228462 w 3503192"/>
              <a:gd name="connsiteY14562" fmla="*/ 83912 h 5818346"/>
              <a:gd name="connsiteX14563" fmla="*/ 2226974 w 3503192"/>
              <a:gd name="connsiteY14563" fmla="*/ 85399 h 5818346"/>
              <a:gd name="connsiteX14564" fmla="*/ 2225487 w 3503192"/>
              <a:gd name="connsiteY14564" fmla="*/ 83912 h 5818346"/>
              <a:gd name="connsiteX14565" fmla="*/ 2226974 w 3503192"/>
              <a:gd name="connsiteY14565" fmla="*/ 82426 h 5818346"/>
              <a:gd name="connsiteX14566" fmla="*/ 2266946 w 3503192"/>
              <a:gd name="connsiteY14566" fmla="*/ 82261 h 5818346"/>
              <a:gd name="connsiteX14567" fmla="*/ 2277684 w 3503192"/>
              <a:gd name="connsiteY14567" fmla="*/ 92998 h 5818346"/>
              <a:gd name="connsiteX14568" fmla="*/ 2266946 w 3503192"/>
              <a:gd name="connsiteY14568" fmla="*/ 103736 h 5818346"/>
              <a:gd name="connsiteX14569" fmla="*/ 2256210 w 3503192"/>
              <a:gd name="connsiteY14569" fmla="*/ 92998 h 5818346"/>
              <a:gd name="connsiteX14570" fmla="*/ 2266946 w 3503192"/>
              <a:gd name="connsiteY14570" fmla="*/ 82261 h 5818346"/>
              <a:gd name="connsiteX14571" fmla="*/ 3435275 w 3503192"/>
              <a:gd name="connsiteY14571" fmla="*/ 80444 h 5818346"/>
              <a:gd name="connsiteX14572" fmla="*/ 3446012 w 3503192"/>
              <a:gd name="connsiteY14572" fmla="*/ 91180 h 5818346"/>
              <a:gd name="connsiteX14573" fmla="*/ 3440313 w 3503192"/>
              <a:gd name="connsiteY14573" fmla="*/ 96880 h 5818346"/>
              <a:gd name="connsiteX14574" fmla="*/ 3449811 w 3503192"/>
              <a:gd name="connsiteY14574" fmla="*/ 106377 h 5818346"/>
              <a:gd name="connsiteX14575" fmla="*/ 3444772 w 3503192"/>
              <a:gd name="connsiteY14575" fmla="*/ 111415 h 5818346"/>
              <a:gd name="connsiteX14576" fmla="*/ 3454766 w 3503192"/>
              <a:gd name="connsiteY14576" fmla="*/ 121409 h 5818346"/>
              <a:gd name="connsiteX14577" fmla="*/ 3444029 w 3503192"/>
              <a:gd name="connsiteY14577" fmla="*/ 132145 h 5818346"/>
              <a:gd name="connsiteX14578" fmla="*/ 3433293 w 3503192"/>
              <a:gd name="connsiteY14578" fmla="*/ 121409 h 5818346"/>
              <a:gd name="connsiteX14579" fmla="*/ 3438331 w 3503192"/>
              <a:gd name="connsiteY14579" fmla="*/ 116371 h 5818346"/>
              <a:gd name="connsiteX14580" fmla="*/ 3428337 w 3503192"/>
              <a:gd name="connsiteY14580" fmla="*/ 106377 h 5818346"/>
              <a:gd name="connsiteX14581" fmla="*/ 3434037 w 3503192"/>
              <a:gd name="connsiteY14581" fmla="*/ 100678 h 5818346"/>
              <a:gd name="connsiteX14582" fmla="*/ 3424539 w 3503192"/>
              <a:gd name="connsiteY14582" fmla="*/ 91180 h 5818346"/>
              <a:gd name="connsiteX14583" fmla="*/ 3435275 w 3503192"/>
              <a:gd name="connsiteY14583" fmla="*/ 80444 h 5818346"/>
              <a:gd name="connsiteX14584" fmla="*/ 3106068 w 3503192"/>
              <a:gd name="connsiteY14584" fmla="*/ 80444 h 5818346"/>
              <a:gd name="connsiteX14585" fmla="*/ 3116806 w 3503192"/>
              <a:gd name="connsiteY14585" fmla="*/ 91180 h 5818346"/>
              <a:gd name="connsiteX14586" fmla="*/ 3106068 w 3503192"/>
              <a:gd name="connsiteY14586" fmla="*/ 101917 h 5818346"/>
              <a:gd name="connsiteX14587" fmla="*/ 3095331 w 3503192"/>
              <a:gd name="connsiteY14587" fmla="*/ 91180 h 5818346"/>
              <a:gd name="connsiteX14588" fmla="*/ 3106068 w 3503192"/>
              <a:gd name="connsiteY14588" fmla="*/ 80444 h 5818346"/>
              <a:gd name="connsiteX14589" fmla="*/ 2590537 w 3503192"/>
              <a:gd name="connsiteY14589" fmla="*/ 80279 h 5818346"/>
              <a:gd name="connsiteX14590" fmla="*/ 2601275 w 3503192"/>
              <a:gd name="connsiteY14590" fmla="*/ 91016 h 5818346"/>
              <a:gd name="connsiteX14591" fmla="*/ 2590537 w 3503192"/>
              <a:gd name="connsiteY14591" fmla="*/ 101754 h 5818346"/>
              <a:gd name="connsiteX14592" fmla="*/ 2579801 w 3503192"/>
              <a:gd name="connsiteY14592" fmla="*/ 91016 h 5818346"/>
              <a:gd name="connsiteX14593" fmla="*/ 2590537 w 3503192"/>
              <a:gd name="connsiteY14593" fmla="*/ 80279 h 5818346"/>
              <a:gd name="connsiteX14594" fmla="*/ 3458069 w 3503192"/>
              <a:gd name="connsiteY14594" fmla="*/ 78793 h 5818346"/>
              <a:gd name="connsiteX14595" fmla="*/ 3468808 w 3503192"/>
              <a:gd name="connsiteY14595" fmla="*/ 89529 h 5818346"/>
              <a:gd name="connsiteX14596" fmla="*/ 3458069 w 3503192"/>
              <a:gd name="connsiteY14596" fmla="*/ 100266 h 5818346"/>
              <a:gd name="connsiteX14597" fmla="*/ 3447333 w 3503192"/>
              <a:gd name="connsiteY14597" fmla="*/ 89529 h 5818346"/>
              <a:gd name="connsiteX14598" fmla="*/ 3458069 w 3503192"/>
              <a:gd name="connsiteY14598" fmla="*/ 78793 h 5818346"/>
              <a:gd name="connsiteX14599" fmla="*/ 2246630 w 3503192"/>
              <a:gd name="connsiteY14599" fmla="*/ 78297 h 5818346"/>
              <a:gd name="connsiteX14600" fmla="*/ 2257368 w 3503192"/>
              <a:gd name="connsiteY14600" fmla="*/ 89033 h 5818346"/>
              <a:gd name="connsiteX14601" fmla="*/ 2246630 w 3503192"/>
              <a:gd name="connsiteY14601" fmla="*/ 99771 h 5818346"/>
              <a:gd name="connsiteX14602" fmla="*/ 2235894 w 3503192"/>
              <a:gd name="connsiteY14602" fmla="*/ 89033 h 5818346"/>
              <a:gd name="connsiteX14603" fmla="*/ 2246630 w 3503192"/>
              <a:gd name="connsiteY14603" fmla="*/ 78297 h 5818346"/>
              <a:gd name="connsiteX14604" fmla="*/ 2555023 w 3503192"/>
              <a:gd name="connsiteY14604" fmla="*/ 77966 h 5818346"/>
              <a:gd name="connsiteX14605" fmla="*/ 2565761 w 3503192"/>
              <a:gd name="connsiteY14605" fmla="*/ 88702 h 5818346"/>
              <a:gd name="connsiteX14606" fmla="*/ 2555023 w 3503192"/>
              <a:gd name="connsiteY14606" fmla="*/ 99440 h 5818346"/>
              <a:gd name="connsiteX14607" fmla="*/ 2544286 w 3503192"/>
              <a:gd name="connsiteY14607" fmla="*/ 88702 h 5818346"/>
              <a:gd name="connsiteX14608" fmla="*/ 2555023 w 3503192"/>
              <a:gd name="connsiteY14608" fmla="*/ 77966 h 5818346"/>
              <a:gd name="connsiteX14609" fmla="*/ 2723674 w 3503192"/>
              <a:gd name="connsiteY14609" fmla="*/ 77305 h 5818346"/>
              <a:gd name="connsiteX14610" fmla="*/ 2734410 w 3503192"/>
              <a:gd name="connsiteY14610" fmla="*/ 88041 h 5818346"/>
              <a:gd name="connsiteX14611" fmla="*/ 2723674 w 3503192"/>
              <a:gd name="connsiteY14611" fmla="*/ 98778 h 5818346"/>
              <a:gd name="connsiteX14612" fmla="*/ 2712938 w 3503192"/>
              <a:gd name="connsiteY14612" fmla="*/ 88041 h 5818346"/>
              <a:gd name="connsiteX14613" fmla="*/ 2723674 w 3503192"/>
              <a:gd name="connsiteY14613" fmla="*/ 77305 h 5818346"/>
              <a:gd name="connsiteX14614" fmla="*/ 2521822 w 3503192"/>
              <a:gd name="connsiteY14614" fmla="*/ 76480 h 5818346"/>
              <a:gd name="connsiteX14615" fmla="*/ 2532560 w 3503192"/>
              <a:gd name="connsiteY14615" fmla="*/ 87216 h 5818346"/>
              <a:gd name="connsiteX14616" fmla="*/ 2521822 w 3503192"/>
              <a:gd name="connsiteY14616" fmla="*/ 97954 h 5818346"/>
              <a:gd name="connsiteX14617" fmla="*/ 2511085 w 3503192"/>
              <a:gd name="connsiteY14617" fmla="*/ 87216 h 5818346"/>
              <a:gd name="connsiteX14618" fmla="*/ 2521822 w 3503192"/>
              <a:gd name="connsiteY14618" fmla="*/ 76480 h 5818346"/>
              <a:gd name="connsiteX14619" fmla="*/ 3145382 w 3503192"/>
              <a:gd name="connsiteY14619" fmla="*/ 76315 h 5818346"/>
              <a:gd name="connsiteX14620" fmla="*/ 3156120 w 3503192"/>
              <a:gd name="connsiteY14620" fmla="*/ 87051 h 5818346"/>
              <a:gd name="connsiteX14621" fmla="*/ 3145382 w 3503192"/>
              <a:gd name="connsiteY14621" fmla="*/ 97787 h 5818346"/>
              <a:gd name="connsiteX14622" fmla="*/ 3134645 w 3503192"/>
              <a:gd name="connsiteY14622" fmla="*/ 87051 h 5818346"/>
              <a:gd name="connsiteX14623" fmla="*/ 3145382 w 3503192"/>
              <a:gd name="connsiteY14623" fmla="*/ 76315 h 5818346"/>
              <a:gd name="connsiteX14624" fmla="*/ 3479873 w 3503192"/>
              <a:gd name="connsiteY14624" fmla="*/ 76148 h 5818346"/>
              <a:gd name="connsiteX14625" fmla="*/ 3490611 w 3503192"/>
              <a:gd name="connsiteY14625" fmla="*/ 86885 h 5818346"/>
              <a:gd name="connsiteX14626" fmla="*/ 3479873 w 3503192"/>
              <a:gd name="connsiteY14626" fmla="*/ 97623 h 5818346"/>
              <a:gd name="connsiteX14627" fmla="*/ 3469137 w 3503192"/>
              <a:gd name="connsiteY14627" fmla="*/ 86885 h 5818346"/>
              <a:gd name="connsiteX14628" fmla="*/ 3479873 w 3503192"/>
              <a:gd name="connsiteY14628" fmla="*/ 76148 h 5818346"/>
              <a:gd name="connsiteX14629" fmla="*/ 3182382 w 3503192"/>
              <a:gd name="connsiteY14629" fmla="*/ 73672 h 5818346"/>
              <a:gd name="connsiteX14630" fmla="*/ 3193120 w 3503192"/>
              <a:gd name="connsiteY14630" fmla="*/ 84408 h 5818346"/>
              <a:gd name="connsiteX14631" fmla="*/ 3182382 w 3503192"/>
              <a:gd name="connsiteY14631" fmla="*/ 95146 h 5818346"/>
              <a:gd name="connsiteX14632" fmla="*/ 3171646 w 3503192"/>
              <a:gd name="connsiteY14632" fmla="*/ 84408 h 5818346"/>
              <a:gd name="connsiteX14633" fmla="*/ 3182382 w 3503192"/>
              <a:gd name="connsiteY14633" fmla="*/ 73672 h 5818346"/>
              <a:gd name="connsiteX14634" fmla="*/ 2682378 w 3503192"/>
              <a:gd name="connsiteY14634" fmla="*/ 72515 h 5818346"/>
              <a:gd name="connsiteX14635" fmla="*/ 2693114 w 3503192"/>
              <a:gd name="connsiteY14635" fmla="*/ 83252 h 5818346"/>
              <a:gd name="connsiteX14636" fmla="*/ 2682378 w 3503192"/>
              <a:gd name="connsiteY14636" fmla="*/ 93988 h 5818346"/>
              <a:gd name="connsiteX14637" fmla="*/ 2671642 w 3503192"/>
              <a:gd name="connsiteY14637" fmla="*/ 83252 h 5818346"/>
              <a:gd name="connsiteX14638" fmla="*/ 2682378 w 3503192"/>
              <a:gd name="connsiteY14638" fmla="*/ 72515 h 5818346"/>
              <a:gd name="connsiteX14639" fmla="*/ 3500852 w 3503192"/>
              <a:gd name="connsiteY14639" fmla="*/ 72350 h 5818346"/>
              <a:gd name="connsiteX14640" fmla="*/ 3503192 w 3503192"/>
              <a:gd name="connsiteY14640" fmla="*/ 74690 h 5818346"/>
              <a:gd name="connsiteX14641" fmla="*/ 3503192 w 3503192"/>
              <a:gd name="connsiteY14641" fmla="*/ 91485 h 5818346"/>
              <a:gd name="connsiteX14642" fmla="*/ 3500852 w 3503192"/>
              <a:gd name="connsiteY14642" fmla="*/ 93825 h 5818346"/>
              <a:gd name="connsiteX14643" fmla="*/ 3490115 w 3503192"/>
              <a:gd name="connsiteY14643" fmla="*/ 83087 h 5818346"/>
              <a:gd name="connsiteX14644" fmla="*/ 3500852 w 3503192"/>
              <a:gd name="connsiteY14644" fmla="*/ 72350 h 5818346"/>
              <a:gd name="connsiteX14645" fmla="*/ 2358458 w 3503192"/>
              <a:gd name="connsiteY14645" fmla="*/ 72019 h 5818346"/>
              <a:gd name="connsiteX14646" fmla="*/ 2369194 w 3503192"/>
              <a:gd name="connsiteY14646" fmla="*/ 82756 h 5818346"/>
              <a:gd name="connsiteX14647" fmla="*/ 2360110 w 3503192"/>
              <a:gd name="connsiteY14647" fmla="*/ 91841 h 5818346"/>
              <a:gd name="connsiteX14648" fmla="*/ 2367049 w 3503192"/>
              <a:gd name="connsiteY14648" fmla="*/ 98779 h 5818346"/>
              <a:gd name="connsiteX14649" fmla="*/ 2358293 w 3503192"/>
              <a:gd name="connsiteY14649" fmla="*/ 107534 h 5818346"/>
              <a:gd name="connsiteX14650" fmla="*/ 2363745 w 3503192"/>
              <a:gd name="connsiteY14650" fmla="*/ 112984 h 5818346"/>
              <a:gd name="connsiteX14651" fmla="*/ 2353007 w 3503192"/>
              <a:gd name="connsiteY14651" fmla="*/ 123722 h 5818346"/>
              <a:gd name="connsiteX14652" fmla="*/ 2342271 w 3503192"/>
              <a:gd name="connsiteY14652" fmla="*/ 112984 h 5818346"/>
              <a:gd name="connsiteX14653" fmla="*/ 2351025 w 3503192"/>
              <a:gd name="connsiteY14653" fmla="*/ 104230 h 5818346"/>
              <a:gd name="connsiteX14654" fmla="*/ 2345574 w 3503192"/>
              <a:gd name="connsiteY14654" fmla="*/ 98779 h 5818346"/>
              <a:gd name="connsiteX14655" fmla="*/ 2354660 w 3503192"/>
              <a:gd name="connsiteY14655" fmla="*/ 89694 h 5818346"/>
              <a:gd name="connsiteX14656" fmla="*/ 2347722 w 3503192"/>
              <a:gd name="connsiteY14656" fmla="*/ 82756 h 5818346"/>
              <a:gd name="connsiteX14657" fmla="*/ 2358458 w 3503192"/>
              <a:gd name="connsiteY14657" fmla="*/ 72019 h 5818346"/>
              <a:gd name="connsiteX14658" fmla="*/ 3217069 w 3503192"/>
              <a:gd name="connsiteY14658" fmla="*/ 71854 h 5818346"/>
              <a:gd name="connsiteX14659" fmla="*/ 3227808 w 3503192"/>
              <a:gd name="connsiteY14659" fmla="*/ 82591 h 5818346"/>
              <a:gd name="connsiteX14660" fmla="*/ 3217069 w 3503192"/>
              <a:gd name="connsiteY14660" fmla="*/ 93327 h 5818346"/>
              <a:gd name="connsiteX14661" fmla="*/ 3206333 w 3503192"/>
              <a:gd name="connsiteY14661" fmla="*/ 82591 h 5818346"/>
              <a:gd name="connsiteX14662" fmla="*/ 3217069 w 3503192"/>
              <a:gd name="connsiteY14662" fmla="*/ 71854 h 5818346"/>
              <a:gd name="connsiteX14663" fmla="*/ 3249445 w 3503192"/>
              <a:gd name="connsiteY14663" fmla="*/ 71029 h 5818346"/>
              <a:gd name="connsiteX14664" fmla="*/ 3260181 w 3503192"/>
              <a:gd name="connsiteY14664" fmla="*/ 81765 h 5818346"/>
              <a:gd name="connsiteX14665" fmla="*/ 3249445 w 3503192"/>
              <a:gd name="connsiteY14665" fmla="*/ 92503 h 5818346"/>
              <a:gd name="connsiteX14666" fmla="*/ 3238708 w 3503192"/>
              <a:gd name="connsiteY14666" fmla="*/ 81765 h 5818346"/>
              <a:gd name="connsiteX14667" fmla="*/ 3249445 w 3503192"/>
              <a:gd name="connsiteY14667" fmla="*/ 71029 h 5818346"/>
              <a:gd name="connsiteX14668" fmla="*/ 2643891 w 3503192"/>
              <a:gd name="connsiteY14668" fmla="*/ 69376 h 5818346"/>
              <a:gd name="connsiteX14669" fmla="*/ 2654629 w 3503192"/>
              <a:gd name="connsiteY14669" fmla="*/ 80113 h 5818346"/>
              <a:gd name="connsiteX14670" fmla="*/ 2643891 w 3503192"/>
              <a:gd name="connsiteY14670" fmla="*/ 90849 h 5818346"/>
              <a:gd name="connsiteX14671" fmla="*/ 2633155 w 3503192"/>
              <a:gd name="connsiteY14671" fmla="*/ 80113 h 5818346"/>
              <a:gd name="connsiteX14672" fmla="*/ 2643891 w 3503192"/>
              <a:gd name="connsiteY14672" fmla="*/ 69376 h 5818346"/>
              <a:gd name="connsiteX14673" fmla="*/ 2335662 w 3503192"/>
              <a:gd name="connsiteY14673" fmla="*/ 69376 h 5818346"/>
              <a:gd name="connsiteX14674" fmla="*/ 2346400 w 3503192"/>
              <a:gd name="connsiteY14674" fmla="*/ 80113 h 5818346"/>
              <a:gd name="connsiteX14675" fmla="*/ 2335662 w 3503192"/>
              <a:gd name="connsiteY14675" fmla="*/ 90849 h 5818346"/>
              <a:gd name="connsiteX14676" fmla="*/ 2324926 w 3503192"/>
              <a:gd name="connsiteY14676" fmla="*/ 80113 h 5818346"/>
              <a:gd name="connsiteX14677" fmla="*/ 2335662 w 3503192"/>
              <a:gd name="connsiteY14677" fmla="*/ 69376 h 5818346"/>
              <a:gd name="connsiteX14678" fmla="*/ 3362264 w 3503192"/>
              <a:gd name="connsiteY14678" fmla="*/ 68220 h 5818346"/>
              <a:gd name="connsiteX14679" fmla="*/ 3373002 w 3503192"/>
              <a:gd name="connsiteY14679" fmla="*/ 78956 h 5818346"/>
              <a:gd name="connsiteX14680" fmla="*/ 3365074 w 3503192"/>
              <a:gd name="connsiteY14680" fmla="*/ 86885 h 5818346"/>
              <a:gd name="connsiteX14681" fmla="*/ 3370855 w 3503192"/>
              <a:gd name="connsiteY14681" fmla="*/ 92666 h 5818346"/>
              <a:gd name="connsiteX14682" fmla="*/ 3362760 w 3503192"/>
              <a:gd name="connsiteY14682" fmla="*/ 100762 h 5818346"/>
              <a:gd name="connsiteX14683" fmla="*/ 3368707 w 3503192"/>
              <a:gd name="connsiteY14683" fmla="*/ 106708 h 5818346"/>
              <a:gd name="connsiteX14684" fmla="*/ 3357968 w 3503192"/>
              <a:gd name="connsiteY14684" fmla="*/ 117444 h 5818346"/>
              <a:gd name="connsiteX14685" fmla="*/ 3347232 w 3503192"/>
              <a:gd name="connsiteY14685" fmla="*/ 106708 h 5818346"/>
              <a:gd name="connsiteX14686" fmla="*/ 3355328 w 3503192"/>
              <a:gd name="connsiteY14686" fmla="*/ 98613 h 5818346"/>
              <a:gd name="connsiteX14687" fmla="*/ 3349381 w 3503192"/>
              <a:gd name="connsiteY14687" fmla="*/ 92666 h 5818346"/>
              <a:gd name="connsiteX14688" fmla="*/ 3357310 w 3503192"/>
              <a:gd name="connsiteY14688" fmla="*/ 84738 h 5818346"/>
              <a:gd name="connsiteX14689" fmla="*/ 3351528 w 3503192"/>
              <a:gd name="connsiteY14689" fmla="*/ 78956 h 5818346"/>
              <a:gd name="connsiteX14690" fmla="*/ 3362264 w 3503192"/>
              <a:gd name="connsiteY14690" fmla="*/ 68220 h 5818346"/>
              <a:gd name="connsiteX14691" fmla="*/ 2607716 w 3503192"/>
              <a:gd name="connsiteY14691" fmla="*/ 67229 h 5818346"/>
              <a:gd name="connsiteX14692" fmla="*/ 2618454 w 3503192"/>
              <a:gd name="connsiteY14692" fmla="*/ 77966 h 5818346"/>
              <a:gd name="connsiteX14693" fmla="*/ 2607716 w 3503192"/>
              <a:gd name="connsiteY14693" fmla="*/ 88704 h 5818346"/>
              <a:gd name="connsiteX14694" fmla="*/ 2596980 w 3503192"/>
              <a:gd name="connsiteY14694" fmla="*/ 77966 h 5818346"/>
              <a:gd name="connsiteX14695" fmla="*/ 2607716 w 3503192"/>
              <a:gd name="connsiteY14695" fmla="*/ 67229 h 5818346"/>
              <a:gd name="connsiteX14696" fmla="*/ 2292385 w 3503192"/>
              <a:gd name="connsiteY14696" fmla="*/ 66900 h 5818346"/>
              <a:gd name="connsiteX14697" fmla="*/ 2296846 w 3503192"/>
              <a:gd name="connsiteY14697" fmla="*/ 71360 h 5818346"/>
              <a:gd name="connsiteX14698" fmla="*/ 2292385 w 3503192"/>
              <a:gd name="connsiteY14698" fmla="*/ 75819 h 5818346"/>
              <a:gd name="connsiteX14699" fmla="*/ 2287925 w 3503192"/>
              <a:gd name="connsiteY14699" fmla="*/ 71360 h 5818346"/>
              <a:gd name="connsiteX14700" fmla="*/ 2292385 w 3503192"/>
              <a:gd name="connsiteY14700" fmla="*/ 66900 h 5818346"/>
              <a:gd name="connsiteX14701" fmla="*/ 3387040 w 3503192"/>
              <a:gd name="connsiteY14701" fmla="*/ 66404 h 5818346"/>
              <a:gd name="connsiteX14702" fmla="*/ 3397778 w 3503192"/>
              <a:gd name="connsiteY14702" fmla="*/ 77140 h 5818346"/>
              <a:gd name="connsiteX14703" fmla="*/ 3389850 w 3503192"/>
              <a:gd name="connsiteY14703" fmla="*/ 85069 h 5818346"/>
              <a:gd name="connsiteX14704" fmla="*/ 3397284 w 3503192"/>
              <a:gd name="connsiteY14704" fmla="*/ 92502 h 5818346"/>
              <a:gd name="connsiteX14705" fmla="*/ 3390510 w 3503192"/>
              <a:gd name="connsiteY14705" fmla="*/ 99275 h 5818346"/>
              <a:gd name="connsiteX14706" fmla="*/ 3397447 w 3503192"/>
              <a:gd name="connsiteY14706" fmla="*/ 106212 h 5818346"/>
              <a:gd name="connsiteX14707" fmla="*/ 3388528 w 3503192"/>
              <a:gd name="connsiteY14707" fmla="*/ 115133 h 5818346"/>
              <a:gd name="connsiteX14708" fmla="*/ 3397447 w 3503192"/>
              <a:gd name="connsiteY14708" fmla="*/ 124052 h 5818346"/>
              <a:gd name="connsiteX14709" fmla="*/ 3386711 w 3503192"/>
              <a:gd name="connsiteY14709" fmla="*/ 134788 h 5818346"/>
              <a:gd name="connsiteX14710" fmla="*/ 3375974 w 3503192"/>
              <a:gd name="connsiteY14710" fmla="*/ 124052 h 5818346"/>
              <a:gd name="connsiteX14711" fmla="*/ 3384894 w 3503192"/>
              <a:gd name="connsiteY14711" fmla="*/ 115133 h 5818346"/>
              <a:gd name="connsiteX14712" fmla="*/ 3375974 w 3503192"/>
              <a:gd name="connsiteY14712" fmla="*/ 106212 h 5818346"/>
              <a:gd name="connsiteX14713" fmla="*/ 3382748 w 3503192"/>
              <a:gd name="connsiteY14713" fmla="*/ 99440 h 5818346"/>
              <a:gd name="connsiteX14714" fmla="*/ 3375810 w 3503192"/>
              <a:gd name="connsiteY14714" fmla="*/ 92502 h 5818346"/>
              <a:gd name="connsiteX14715" fmla="*/ 3383738 w 3503192"/>
              <a:gd name="connsiteY14715" fmla="*/ 84575 h 5818346"/>
              <a:gd name="connsiteX14716" fmla="*/ 3376304 w 3503192"/>
              <a:gd name="connsiteY14716" fmla="*/ 77140 h 5818346"/>
              <a:gd name="connsiteX14717" fmla="*/ 3387040 w 3503192"/>
              <a:gd name="connsiteY14717" fmla="*/ 66404 h 5818346"/>
              <a:gd name="connsiteX14718" fmla="*/ 3093184 w 3503192"/>
              <a:gd name="connsiteY14718" fmla="*/ 66239 h 5818346"/>
              <a:gd name="connsiteX14719" fmla="*/ 3103922 w 3503192"/>
              <a:gd name="connsiteY14719" fmla="*/ 76976 h 5818346"/>
              <a:gd name="connsiteX14720" fmla="*/ 3093184 w 3503192"/>
              <a:gd name="connsiteY14720" fmla="*/ 87714 h 5818346"/>
              <a:gd name="connsiteX14721" fmla="*/ 3082448 w 3503192"/>
              <a:gd name="connsiteY14721" fmla="*/ 76976 h 5818346"/>
              <a:gd name="connsiteX14722" fmla="*/ 3093184 w 3503192"/>
              <a:gd name="connsiteY14722" fmla="*/ 66239 h 5818346"/>
              <a:gd name="connsiteX14723" fmla="*/ 2573690 w 3503192"/>
              <a:gd name="connsiteY14723" fmla="*/ 65908 h 5818346"/>
              <a:gd name="connsiteX14724" fmla="*/ 2584428 w 3503192"/>
              <a:gd name="connsiteY14724" fmla="*/ 76644 h 5818346"/>
              <a:gd name="connsiteX14725" fmla="*/ 2573690 w 3503192"/>
              <a:gd name="connsiteY14725" fmla="*/ 87382 h 5818346"/>
              <a:gd name="connsiteX14726" fmla="*/ 2562953 w 3503192"/>
              <a:gd name="connsiteY14726" fmla="*/ 76644 h 5818346"/>
              <a:gd name="connsiteX14727" fmla="*/ 2573690 w 3503192"/>
              <a:gd name="connsiteY14727" fmla="*/ 65908 h 5818346"/>
              <a:gd name="connsiteX14728" fmla="*/ 2313693 w 3503192"/>
              <a:gd name="connsiteY14728" fmla="*/ 65579 h 5818346"/>
              <a:gd name="connsiteX14729" fmla="*/ 2324431 w 3503192"/>
              <a:gd name="connsiteY14729" fmla="*/ 76315 h 5818346"/>
              <a:gd name="connsiteX14730" fmla="*/ 2313693 w 3503192"/>
              <a:gd name="connsiteY14730" fmla="*/ 87053 h 5818346"/>
              <a:gd name="connsiteX14731" fmla="*/ 2302957 w 3503192"/>
              <a:gd name="connsiteY14731" fmla="*/ 76315 h 5818346"/>
              <a:gd name="connsiteX14732" fmla="*/ 2313693 w 3503192"/>
              <a:gd name="connsiteY14732" fmla="*/ 65579 h 5818346"/>
              <a:gd name="connsiteX14733" fmla="*/ 2541808 w 3503192"/>
              <a:gd name="connsiteY14733" fmla="*/ 65083 h 5818346"/>
              <a:gd name="connsiteX14734" fmla="*/ 2552546 w 3503192"/>
              <a:gd name="connsiteY14734" fmla="*/ 75819 h 5818346"/>
              <a:gd name="connsiteX14735" fmla="*/ 2541808 w 3503192"/>
              <a:gd name="connsiteY14735" fmla="*/ 86557 h 5818346"/>
              <a:gd name="connsiteX14736" fmla="*/ 2531072 w 3503192"/>
              <a:gd name="connsiteY14736" fmla="*/ 75819 h 5818346"/>
              <a:gd name="connsiteX14737" fmla="*/ 2541808 w 3503192"/>
              <a:gd name="connsiteY14737" fmla="*/ 65083 h 5818346"/>
              <a:gd name="connsiteX14738" fmla="*/ 2511580 w 3503192"/>
              <a:gd name="connsiteY14738" fmla="*/ 64257 h 5818346"/>
              <a:gd name="connsiteX14739" fmla="*/ 2522318 w 3503192"/>
              <a:gd name="connsiteY14739" fmla="*/ 74993 h 5818346"/>
              <a:gd name="connsiteX14740" fmla="*/ 2511580 w 3503192"/>
              <a:gd name="connsiteY14740" fmla="*/ 85730 h 5818346"/>
              <a:gd name="connsiteX14741" fmla="*/ 2500843 w 3503192"/>
              <a:gd name="connsiteY14741" fmla="*/ 74993 h 5818346"/>
              <a:gd name="connsiteX14742" fmla="*/ 2511580 w 3503192"/>
              <a:gd name="connsiteY14742" fmla="*/ 64257 h 5818346"/>
              <a:gd name="connsiteX14743" fmla="*/ 3410662 w 3503192"/>
              <a:gd name="connsiteY14743" fmla="*/ 63761 h 5818346"/>
              <a:gd name="connsiteX14744" fmla="*/ 3421400 w 3503192"/>
              <a:gd name="connsiteY14744" fmla="*/ 74497 h 5818346"/>
              <a:gd name="connsiteX14745" fmla="*/ 3412975 w 3503192"/>
              <a:gd name="connsiteY14745" fmla="*/ 82922 h 5818346"/>
              <a:gd name="connsiteX14746" fmla="*/ 3422226 w 3503192"/>
              <a:gd name="connsiteY14746" fmla="*/ 92172 h 5818346"/>
              <a:gd name="connsiteX14747" fmla="*/ 3416362 w 3503192"/>
              <a:gd name="connsiteY14747" fmla="*/ 98037 h 5818346"/>
              <a:gd name="connsiteX14748" fmla="*/ 3424539 w 3503192"/>
              <a:gd name="connsiteY14748" fmla="*/ 106212 h 5818346"/>
              <a:gd name="connsiteX14749" fmla="*/ 3417848 w 3503192"/>
              <a:gd name="connsiteY14749" fmla="*/ 112903 h 5818346"/>
              <a:gd name="connsiteX14750" fmla="*/ 3427182 w 3503192"/>
              <a:gd name="connsiteY14750" fmla="*/ 122234 h 5818346"/>
              <a:gd name="connsiteX14751" fmla="*/ 3416444 w 3503192"/>
              <a:gd name="connsiteY14751" fmla="*/ 132972 h 5818346"/>
              <a:gd name="connsiteX14752" fmla="*/ 3405707 w 3503192"/>
              <a:gd name="connsiteY14752" fmla="*/ 122234 h 5818346"/>
              <a:gd name="connsiteX14753" fmla="*/ 3412396 w 3503192"/>
              <a:gd name="connsiteY14753" fmla="*/ 115546 h 5818346"/>
              <a:gd name="connsiteX14754" fmla="*/ 3403064 w 3503192"/>
              <a:gd name="connsiteY14754" fmla="*/ 106212 h 5818346"/>
              <a:gd name="connsiteX14755" fmla="*/ 3408928 w 3503192"/>
              <a:gd name="connsiteY14755" fmla="*/ 100349 h 5818346"/>
              <a:gd name="connsiteX14756" fmla="*/ 3400753 w 3503192"/>
              <a:gd name="connsiteY14756" fmla="*/ 92172 h 5818346"/>
              <a:gd name="connsiteX14757" fmla="*/ 3409176 w 3503192"/>
              <a:gd name="connsiteY14757" fmla="*/ 83749 h 5818346"/>
              <a:gd name="connsiteX14758" fmla="*/ 3399926 w 3503192"/>
              <a:gd name="connsiteY14758" fmla="*/ 74497 h 5818346"/>
              <a:gd name="connsiteX14759" fmla="*/ 3410662 w 3503192"/>
              <a:gd name="connsiteY14759" fmla="*/ 63761 h 5818346"/>
              <a:gd name="connsiteX14760" fmla="*/ 3130681 w 3503192"/>
              <a:gd name="connsiteY14760" fmla="*/ 63596 h 5818346"/>
              <a:gd name="connsiteX14761" fmla="*/ 3141417 w 3503192"/>
              <a:gd name="connsiteY14761" fmla="*/ 74333 h 5818346"/>
              <a:gd name="connsiteX14762" fmla="*/ 3130681 w 3503192"/>
              <a:gd name="connsiteY14762" fmla="*/ 85069 h 5818346"/>
              <a:gd name="connsiteX14763" fmla="*/ 3119944 w 3503192"/>
              <a:gd name="connsiteY14763" fmla="*/ 74333 h 5818346"/>
              <a:gd name="connsiteX14764" fmla="*/ 3130681 w 3503192"/>
              <a:gd name="connsiteY14764" fmla="*/ 63596 h 5818346"/>
              <a:gd name="connsiteX14765" fmla="*/ 2483004 w 3503192"/>
              <a:gd name="connsiteY14765" fmla="*/ 63430 h 5818346"/>
              <a:gd name="connsiteX14766" fmla="*/ 2493742 w 3503192"/>
              <a:gd name="connsiteY14766" fmla="*/ 74166 h 5818346"/>
              <a:gd name="connsiteX14767" fmla="*/ 2491347 w 3503192"/>
              <a:gd name="connsiteY14767" fmla="*/ 76563 h 5818346"/>
              <a:gd name="connsiteX14768" fmla="*/ 2501339 w 3503192"/>
              <a:gd name="connsiteY14768" fmla="*/ 86555 h 5818346"/>
              <a:gd name="connsiteX14769" fmla="*/ 2490603 w 3503192"/>
              <a:gd name="connsiteY14769" fmla="*/ 97293 h 5818346"/>
              <a:gd name="connsiteX14770" fmla="*/ 2479866 w 3503192"/>
              <a:gd name="connsiteY14770" fmla="*/ 86555 h 5818346"/>
              <a:gd name="connsiteX14771" fmla="*/ 2482262 w 3503192"/>
              <a:gd name="connsiteY14771" fmla="*/ 84162 h 5818346"/>
              <a:gd name="connsiteX14772" fmla="*/ 2472267 w 3503192"/>
              <a:gd name="connsiteY14772" fmla="*/ 74166 h 5818346"/>
              <a:gd name="connsiteX14773" fmla="*/ 2483004 w 3503192"/>
              <a:gd name="connsiteY14773" fmla="*/ 63430 h 5818346"/>
              <a:gd name="connsiteX14774" fmla="*/ 2455914 w 3503192"/>
              <a:gd name="connsiteY14774" fmla="*/ 62273 h 5818346"/>
              <a:gd name="connsiteX14775" fmla="*/ 2466652 w 3503192"/>
              <a:gd name="connsiteY14775" fmla="*/ 73009 h 5818346"/>
              <a:gd name="connsiteX14776" fmla="*/ 2462688 w 3503192"/>
              <a:gd name="connsiteY14776" fmla="*/ 76976 h 5818346"/>
              <a:gd name="connsiteX14777" fmla="*/ 2471936 w 3503192"/>
              <a:gd name="connsiteY14777" fmla="*/ 86224 h 5818346"/>
              <a:gd name="connsiteX14778" fmla="*/ 2468136 w 3503192"/>
              <a:gd name="connsiteY14778" fmla="*/ 90024 h 5818346"/>
              <a:gd name="connsiteX14779" fmla="*/ 2477882 w 3503192"/>
              <a:gd name="connsiteY14779" fmla="*/ 99770 h 5818346"/>
              <a:gd name="connsiteX14780" fmla="*/ 2467146 w 3503192"/>
              <a:gd name="connsiteY14780" fmla="*/ 110506 h 5818346"/>
              <a:gd name="connsiteX14781" fmla="*/ 2456410 w 3503192"/>
              <a:gd name="connsiteY14781" fmla="*/ 99770 h 5818346"/>
              <a:gd name="connsiteX14782" fmla="*/ 2460210 w 3503192"/>
              <a:gd name="connsiteY14782" fmla="*/ 95972 h 5818346"/>
              <a:gd name="connsiteX14783" fmla="*/ 2450463 w 3503192"/>
              <a:gd name="connsiteY14783" fmla="*/ 86224 h 5818346"/>
              <a:gd name="connsiteX14784" fmla="*/ 2454428 w 3503192"/>
              <a:gd name="connsiteY14784" fmla="*/ 82261 h 5818346"/>
              <a:gd name="connsiteX14785" fmla="*/ 2445178 w 3503192"/>
              <a:gd name="connsiteY14785" fmla="*/ 73009 h 5818346"/>
              <a:gd name="connsiteX14786" fmla="*/ 2455914 w 3503192"/>
              <a:gd name="connsiteY14786" fmla="*/ 62273 h 5818346"/>
              <a:gd name="connsiteX14787" fmla="*/ 3166029 w 3503192"/>
              <a:gd name="connsiteY14787" fmla="*/ 62108 h 5818346"/>
              <a:gd name="connsiteX14788" fmla="*/ 3176767 w 3503192"/>
              <a:gd name="connsiteY14788" fmla="*/ 72845 h 5818346"/>
              <a:gd name="connsiteX14789" fmla="*/ 3166029 w 3503192"/>
              <a:gd name="connsiteY14789" fmla="*/ 83583 h 5818346"/>
              <a:gd name="connsiteX14790" fmla="*/ 3155292 w 3503192"/>
              <a:gd name="connsiteY14790" fmla="*/ 72845 h 5818346"/>
              <a:gd name="connsiteX14791" fmla="*/ 3166029 w 3503192"/>
              <a:gd name="connsiteY14791" fmla="*/ 62108 h 5818346"/>
              <a:gd name="connsiteX14792" fmla="*/ 3199230 w 3503192"/>
              <a:gd name="connsiteY14792" fmla="*/ 60953 h 5818346"/>
              <a:gd name="connsiteX14793" fmla="*/ 3209968 w 3503192"/>
              <a:gd name="connsiteY14793" fmla="*/ 71690 h 5818346"/>
              <a:gd name="connsiteX14794" fmla="*/ 3199230 w 3503192"/>
              <a:gd name="connsiteY14794" fmla="*/ 82428 h 5818346"/>
              <a:gd name="connsiteX14795" fmla="*/ 3188494 w 3503192"/>
              <a:gd name="connsiteY14795" fmla="*/ 71690 h 5818346"/>
              <a:gd name="connsiteX14796" fmla="*/ 3199230 w 3503192"/>
              <a:gd name="connsiteY14796" fmla="*/ 60953 h 5818346"/>
              <a:gd name="connsiteX14797" fmla="*/ 2429981 w 3503192"/>
              <a:gd name="connsiteY14797" fmla="*/ 60457 h 5818346"/>
              <a:gd name="connsiteX14798" fmla="*/ 2440717 w 3503192"/>
              <a:gd name="connsiteY14798" fmla="*/ 71194 h 5818346"/>
              <a:gd name="connsiteX14799" fmla="*/ 2435102 w 3503192"/>
              <a:gd name="connsiteY14799" fmla="*/ 76811 h 5818346"/>
              <a:gd name="connsiteX14800" fmla="*/ 2444187 w 3503192"/>
              <a:gd name="connsiteY14800" fmla="*/ 85894 h 5818346"/>
              <a:gd name="connsiteX14801" fmla="*/ 2439398 w 3503192"/>
              <a:gd name="connsiteY14801" fmla="*/ 90686 h 5818346"/>
              <a:gd name="connsiteX14802" fmla="*/ 2447656 w 3503192"/>
              <a:gd name="connsiteY14802" fmla="*/ 98944 h 5818346"/>
              <a:gd name="connsiteX14803" fmla="*/ 2436919 w 3503192"/>
              <a:gd name="connsiteY14803" fmla="*/ 109682 h 5818346"/>
              <a:gd name="connsiteX14804" fmla="*/ 2426183 w 3503192"/>
              <a:gd name="connsiteY14804" fmla="*/ 98944 h 5818346"/>
              <a:gd name="connsiteX14805" fmla="*/ 2430973 w 3503192"/>
              <a:gd name="connsiteY14805" fmla="*/ 94156 h 5818346"/>
              <a:gd name="connsiteX14806" fmla="*/ 2422713 w 3503192"/>
              <a:gd name="connsiteY14806" fmla="*/ 85894 h 5818346"/>
              <a:gd name="connsiteX14807" fmla="*/ 2428330 w 3503192"/>
              <a:gd name="connsiteY14807" fmla="*/ 80279 h 5818346"/>
              <a:gd name="connsiteX14808" fmla="*/ 2419244 w 3503192"/>
              <a:gd name="connsiteY14808" fmla="*/ 71194 h 5818346"/>
              <a:gd name="connsiteX14809" fmla="*/ 2429981 w 3503192"/>
              <a:gd name="connsiteY14809" fmla="*/ 60457 h 5818346"/>
              <a:gd name="connsiteX14810" fmla="*/ 3433458 w 3503192"/>
              <a:gd name="connsiteY14810" fmla="*/ 60126 h 5818346"/>
              <a:gd name="connsiteX14811" fmla="*/ 3444194 w 3503192"/>
              <a:gd name="connsiteY14811" fmla="*/ 70863 h 5818346"/>
              <a:gd name="connsiteX14812" fmla="*/ 3433458 w 3503192"/>
              <a:gd name="connsiteY14812" fmla="*/ 81599 h 5818346"/>
              <a:gd name="connsiteX14813" fmla="*/ 3422721 w 3503192"/>
              <a:gd name="connsiteY14813" fmla="*/ 70863 h 5818346"/>
              <a:gd name="connsiteX14814" fmla="*/ 3433458 w 3503192"/>
              <a:gd name="connsiteY14814" fmla="*/ 60126 h 5818346"/>
              <a:gd name="connsiteX14815" fmla="*/ 3230448 w 3503192"/>
              <a:gd name="connsiteY14815" fmla="*/ 59962 h 5818346"/>
              <a:gd name="connsiteX14816" fmla="*/ 3241187 w 3503192"/>
              <a:gd name="connsiteY14816" fmla="*/ 70698 h 5818346"/>
              <a:gd name="connsiteX14817" fmla="*/ 3230448 w 3503192"/>
              <a:gd name="connsiteY14817" fmla="*/ 81436 h 5818346"/>
              <a:gd name="connsiteX14818" fmla="*/ 3219712 w 3503192"/>
              <a:gd name="connsiteY14818" fmla="*/ 70698 h 5818346"/>
              <a:gd name="connsiteX14819" fmla="*/ 3230448 w 3503192"/>
              <a:gd name="connsiteY14819" fmla="*/ 59962 h 5818346"/>
              <a:gd name="connsiteX14820" fmla="*/ 3260183 w 3503192"/>
              <a:gd name="connsiteY14820" fmla="*/ 58969 h 5818346"/>
              <a:gd name="connsiteX14821" fmla="*/ 3270921 w 3503192"/>
              <a:gd name="connsiteY14821" fmla="*/ 69706 h 5818346"/>
              <a:gd name="connsiteX14822" fmla="*/ 3260183 w 3503192"/>
              <a:gd name="connsiteY14822" fmla="*/ 80444 h 5818346"/>
              <a:gd name="connsiteX14823" fmla="*/ 3249446 w 3503192"/>
              <a:gd name="connsiteY14823" fmla="*/ 69706 h 5818346"/>
              <a:gd name="connsiteX14824" fmla="*/ 3260183 w 3503192"/>
              <a:gd name="connsiteY14824" fmla="*/ 58969 h 5818346"/>
              <a:gd name="connsiteX14825" fmla="*/ 2657602 w 3503192"/>
              <a:gd name="connsiteY14825" fmla="*/ 58309 h 5818346"/>
              <a:gd name="connsiteX14826" fmla="*/ 2668338 w 3503192"/>
              <a:gd name="connsiteY14826" fmla="*/ 69045 h 5818346"/>
              <a:gd name="connsiteX14827" fmla="*/ 2657602 w 3503192"/>
              <a:gd name="connsiteY14827" fmla="*/ 79783 h 5818346"/>
              <a:gd name="connsiteX14828" fmla="*/ 2646865 w 3503192"/>
              <a:gd name="connsiteY14828" fmla="*/ 69045 h 5818346"/>
              <a:gd name="connsiteX14829" fmla="*/ 2657602 w 3503192"/>
              <a:gd name="connsiteY14829" fmla="*/ 58309 h 5818346"/>
              <a:gd name="connsiteX14830" fmla="*/ 2405204 w 3503192"/>
              <a:gd name="connsiteY14830" fmla="*/ 57814 h 5818346"/>
              <a:gd name="connsiteX14831" fmla="*/ 2415941 w 3503192"/>
              <a:gd name="connsiteY14831" fmla="*/ 68551 h 5818346"/>
              <a:gd name="connsiteX14832" fmla="*/ 2408508 w 3503192"/>
              <a:gd name="connsiteY14832" fmla="*/ 75984 h 5818346"/>
              <a:gd name="connsiteX14833" fmla="*/ 2417925 w 3503192"/>
              <a:gd name="connsiteY14833" fmla="*/ 85399 h 5818346"/>
              <a:gd name="connsiteX14834" fmla="*/ 2411810 w 3503192"/>
              <a:gd name="connsiteY14834" fmla="*/ 91511 h 5818346"/>
              <a:gd name="connsiteX14835" fmla="*/ 2419080 w 3503192"/>
              <a:gd name="connsiteY14835" fmla="*/ 98779 h 5818346"/>
              <a:gd name="connsiteX14836" fmla="*/ 2412060 w 3503192"/>
              <a:gd name="connsiteY14836" fmla="*/ 105799 h 5818346"/>
              <a:gd name="connsiteX14837" fmla="*/ 2420566 w 3503192"/>
              <a:gd name="connsiteY14837" fmla="*/ 114306 h 5818346"/>
              <a:gd name="connsiteX14838" fmla="*/ 2409830 w 3503192"/>
              <a:gd name="connsiteY14838" fmla="*/ 125042 h 5818346"/>
              <a:gd name="connsiteX14839" fmla="*/ 2399093 w 3503192"/>
              <a:gd name="connsiteY14839" fmla="*/ 114306 h 5818346"/>
              <a:gd name="connsiteX14840" fmla="*/ 2406113 w 3503192"/>
              <a:gd name="connsiteY14840" fmla="*/ 107287 h 5818346"/>
              <a:gd name="connsiteX14841" fmla="*/ 2397605 w 3503192"/>
              <a:gd name="connsiteY14841" fmla="*/ 98779 h 5818346"/>
              <a:gd name="connsiteX14842" fmla="*/ 2403718 w 3503192"/>
              <a:gd name="connsiteY14842" fmla="*/ 92666 h 5818346"/>
              <a:gd name="connsiteX14843" fmla="*/ 2396450 w 3503192"/>
              <a:gd name="connsiteY14843" fmla="*/ 85399 h 5818346"/>
              <a:gd name="connsiteX14844" fmla="*/ 2403883 w 3503192"/>
              <a:gd name="connsiteY14844" fmla="*/ 77967 h 5818346"/>
              <a:gd name="connsiteX14845" fmla="*/ 2394468 w 3503192"/>
              <a:gd name="connsiteY14845" fmla="*/ 68551 h 5818346"/>
              <a:gd name="connsiteX14846" fmla="*/ 2405204 w 3503192"/>
              <a:gd name="connsiteY14846" fmla="*/ 57814 h 5818346"/>
              <a:gd name="connsiteX14847" fmla="*/ 3288263 w 3503192"/>
              <a:gd name="connsiteY14847" fmla="*/ 57483 h 5818346"/>
              <a:gd name="connsiteX14848" fmla="*/ 3299001 w 3503192"/>
              <a:gd name="connsiteY14848" fmla="*/ 68220 h 5818346"/>
              <a:gd name="connsiteX14849" fmla="*/ 3288511 w 3503192"/>
              <a:gd name="connsiteY14849" fmla="*/ 78710 h 5818346"/>
              <a:gd name="connsiteX14850" fmla="*/ 3290908 w 3503192"/>
              <a:gd name="connsiteY14850" fmla="*/ 81105 h 5818346"/>
              <a:gd name="connsiteX14851" fmla="*/ 3280170 w 3503192"/>
              <a:gd name="connsiteY14851" fmla="*/ 91843 h 5818346"/>
              <a:gd name="connsiteX14852" fmla="*/ 3269433 w 3503192"/>
              <a:gd name="connsiteY14852" fmla="*/ 81105 h 5818346"/>
              <a:gd name="connsiteX14853" fmla="*/ 3279922 w 3503192"/>
              <a:gd name="connsiteY14853" fmla="*/ 70616 h 5818346"/>
              <a:gd name="connsiteX14854" fmla="*/ 3277526 w 3503192"/>
              <a:gd name="connsiteY14854" fmla="*/ 68220 h 5818346"/>
              <a:gd name="connsiteX14855" fmla="*/ 3288263 w 3503192"/>
              <a:gd name="connsiteY14855" fmla="*/ 57483 h 5818346"/>
              <a:gd name="connsiteX14856" fmla="*/ 2623077 w 3503192"/>
              <a:gd name="connsiteY14856" fmla="*/ 56658 h 5818346"/>
              <a:gd name="connsiteX14857" fmla="*/ 2633816 w 3503192"/>
              <a:gd name="connsiteY14857" fmla="*/ 67394 h 5818346"/>
              <a:gd name="connsiteX14858" fmla="*/ 2623077 w 3503192"/>
              <a:gd name="connsiteY14858" fmla="*/ 78130 h 5818346"/>
              <a:gd name="connsiteX14859" fmla="*/ 2612341 w 3503192"/>
              <a:gd name="connsiteY14859" fmla="*/ 67394 h 5818346"/>
              <a:gd name="connsiteX14860" fmla="*/ 2623077 w 3503192"/>
              <a:gd name="connsiteY14860" fmla="*/ 56658 h 5818346"/>
              <a:gd name="connsiteX14861" fmla="*/ 3476901 w 3503192"/>
              <a:gd name="connsiteY14861" fmla="*/ 55997 h 5818346"/>
              <a:gd name="connsiteX14862" fmla="*/ 3480534 w 3503192"/>
              <a:gd name="connsiteY14862" fmla="*/ 59630 h 5818346"/>
              <a:gd name="connsiteX14863" fmla="*/ 3476901 w 3503192"/>
              <a:gd name="connsiteY14863" fmla="*/ 63265 h 5818346"/>
              <a:gd name="connsiteX14864" fmla="*/ 3473266 w 3503192"/>
              <a:gd name="connsiteY14864" fmla="*/ 59630 h 5818346"/>
              <a:gd name="connsiteX14865" fmla="*/ 3476901 w 3503192"/>
              <a:gd name="connsiteY14865" fmla="*/ 55997 h 5818346"/>
              <a:gd name="connsiteX14866" fmla="*/ 3315022 w 3503192"/>
              <a:gd name="connsiteY14866" fmla="*/ 55666 h 5818346"/>
              <a:gd name="connsiteX14867" fmla="*/ 3325760 w 3503192"/>
              <a:gd name="connsiteY14867" fmla="*/ 66402 h 5818346"/>
              <a:gd name="connsiteX14868" fmla="*/ 3315601 w 3503192"/>
              <a:gd name="connsiteY14868" fmla="*/ 76561 h 5818346"/>
              <a:gd name="connsiteX14869" fmla="*/ 3319648 w 3503192"/>
              <a:gd name="connsiteY14869" fmla="*/ 80609 h 5818346"/>
              <a:gd name="connsiteX14870" fmla="*/ 3310067 w 3503192"/>
              <a:gd name="connsiteY14870" fmla="*/ 90190 h 5818346"/>
              <a:gd name="connsiteX14871" fmla="*/ 3313206 w 3503192"/>
              <a:gd name="connsiteY14871" fmla="*/ 93327 h 5818346"/>
              <a:gd name="connsiteX14872" fmla="*/ 3302468 w 3503192"/>
              <a:gd name="connsiteY14872" fmla="*/ 104065 h 5818346"/>
              <a:gd name="connsiteX14873" fmla="*/ 3291731 w 3503192"/>
              <a:gd name="connsiteY14873" fmla="*/ 93327 h 5818346"/>
              <a:gd name="connsiteX14874" fmla="*/ 3301311 w 3503192"/>
              <a:gd name="connsiteY14874" fmla="*/ 83748 h 5818346"/>
              <a:gd name="connsiteX14875" fmla="*/ 3298174 w 3503192"/>
              <a:gd name="connsiteY14875" fmla="*/ 80609 h 5818346"/>
              <a:gd name="connsiteX14876" fmla="*/ 3308333 w 3503192"/>
              <a:gd name="connsiteY14876" fmla="*/ 70450 h 5818346"/>
              <a:gd name="connsiteX14877" fmla="*/ 3304285 w 3503192"/>
              <a:gd name="connsiteY14877" fmla="*/ 66402 h 5818346"/>
              <a:gd name="connsiteX14878" fmla="*/ 3315022 w 3503192"/>
              <a:gd name="connsiteY14878" fmla="*/ 55666 h 5818346"/>
              <a:gd name="connsiteX14879" fmla="*/ 3455591 w 3503192"/>
              <a:gd name="connsiteY14879" fmla="*/ 55336 h 5818346"/>
              <a:gd name="connsiteX14880" fmla="*/ 3466329 w 3503192"/>
              <a:gd name="connsiteY14880" fmla="*/ 66073 h 5818346"/>
              <a:gd name="connsiteX14881" fmla="*/ 3455591 w 3503192"/>
              <a:gd name="connsiteY14881" fmla="*/ 76811 h 5818346"/>
              <a:gd name="connsiteX14882" fmla="*/ 3444855 w 3503192"/>
              <a:gd name="connsiteY14882" fmla="*/ 66073 h 5818346"/>
              <a:gd name="connsiteX14883" fmla="*/ 3455591 w 3503192"/>
              <a:gd name="connsiteY14883" fmla="*/ 55336 h 5818346"/>
              <a:gd name="connsiteX14884" fmla="*/ 2590372 w 3503192"/>
              <a:gd name="connsiteY14884" fmla="*/ 55336 h 5818346"/>
              <a:gd name="connsiteX14885" fmla="*/ 2601110 w 3503192"/>
              <a:gd name="connsiteY14885" fmla="*/ 66073 h 5818346"/>
              <a:gd name="connsiteX14886" fmla="*/ 2590372 w 3503192"/>
              <a:gd name="connsiteY14886" fmla="*/ 76809 h 5818346"/>
              <a:gd name="connsiteX14887" fmla="*/ 2579636 w 3503192"/>
              <a:gd name="connsiteY14887" fmla="*/ 66073 h 5818346"/>
              <a:gd name="connsiteX14888" fmla="*/ 2590372 w 3503192"/>
              <a:gd name="connsiteY14888" fmla="*/ 55336 h 5818346"/>
              <a:gd name="connsiteX14889" fmla="*/ 2559483 w 3503192"/>
              <a:gd name="connsiteY14889" fmla="*/ 54180 h 5818346"/>
              <a:gd name="connsiteX14890" fmla="*/ 2570221 w 3503192"/>
              <a:gd name="connsiteY14890" fmla="*/ 64916 h 5818346"/>
              <a:gd name="connsiteX14891" fmla="*/ 2559483 w 3503192"/>
              <a:gd name="connsiteY14891" fmla="*/ 75654 h 5818346"/>
              <a:gd name="connsiteX14892" fmla="*/ 2548747 w 3503192"/>
              <a:gd name="connsiteY14892" fmla="*/ 64916 h 5818346"/>
              <a:gd name="connsiteX14893" fmla="*/ 2559483 w 3503192"/>
              <a:gd name="connsiteY14893" fmla="*/ 54180 h 5818346"/>
              <a:gd name="connsiteX14894" fmla="*/ 2381583 w 3503192"/>
              <a:gd name="connsiteY14894" fmla="*/ 54180 h 5818346"/>
              <a:gd name="connsiteX14895" fmla="*/ 2392321 w 3503192"/>
              <a:gd name="connsiteY14895" fmla="*/ 64916 h 5818346"/>
              <a:gd name="connsiteX14896" fmla="*/ 2382904 w 3503192"/>
              <a:gd name="connsiteY14896" fmla="*/ 74333 h 5818346"/>
              <a:gd name="connsiteX14897" fmla="*/ 2392980 w 3503192"/>
              <a:gd name="connsiteY14897" fmla="*/ 84408 h 5818346"/>
              <a:gd name="connsiteX14898" fmla="*/ 2385466 w 3503192"/>
              <a:gd name="connsiteY14898" fmla="*/ 91924 h 5818346"/>
              <a:gd name="connsiteX14899" fmla="*/ 2392321 w 3503192"/>
              <a:gd name="connsiteY14899" fmla="*/ 98779 h 5818346"/>
              <a:gd name="connsiteX14900" fmla="*/ 2384474 w 3503192"/>
              <a:gd name="connsiteY14900" fmla="*/ 106625 h 5818346"/>
              <a:gd name="connsiteX14901" fmla="*/ 2391163 w 3503192"/>
              <a:gd name="connsiteY14901" fmla="*/ 113314 h 5818346"/>
              <a:gd name="connsiteX14902" fmla="*/ 2380426 w 3503192"/>
              <a:gd name="connsiteY14902" fmla="*/ 124052 h 5818346"/>
              <a:gd name="connsiteX14903" fmla="*/ 2369690 w 3503192"/>
              <a:gd name="connsiteY14903" fmla="*/ 113314 h 5818346"/>
              <a:gd name="connsiteX14904" fmla="*/ 2377536 w 3503192"/>
              <a:gd name="connsiteY14904" fmla="*/ 105468 h 5818346"/>
              <a:gd name="connsiteX14905" fmla="*/ 2370847 w 3503192"/>
              <a:gd name="connsiteY14905" fmla="*/ 98779 h 5818346"/>
              <a:gd name="connsiteX14906" fmla="*/ 2378363 w 3503192"/>
              <a:gd name="connsiteY14906" fmla="*/ 91263 h 5818346"/>
              <a:gd name="connsiteX14907" fmla="*/ 2371508 w 3503192"/>
              <a:gd name="connsiteY14907" fmla="*/ 84408 h 5818346"/>
              <a:gd name="connsiteX14908" fmla="*/ 2380922 w 3503192"/>
              <a:gd name="connsiteY14908" fmla="*/ 74993 h 5818346"/>
              <a:gd name="connsiteX14909" fmla="*/ 2370847 w 3503192"/>
              <a:gd name="connsiteY14909" fmla="*/ 64916 h 5818346"/>
              <a:gd name="connsiteX14910" fmla="*/ 2381583 w 3503192"/>
              <a:gd name="connsiteY14910" fmla="*/ 54180 h 5818346"/>
              <a:gd name="connsiteX14911" fmla="*/ 2358624 w 3503192"/>
              <a:gd name="connsiteY14911" fmla="*/ 53025 h 5818346"/>
              <a:gd name="connsiteX14912" fmla="*/ 2365728 w 3503192"/>
              <a:gd name="connsiteY14912" fmla="*/ 60128 h 5818346"/>
              <a:gd name="connsiteX14913" fmla="*/ 2358624 w 3503192"/>
              <a:gd name="connsiteY14913" fmla="*/ 67229 h 5818346"/>
              <a:gd name="connsiteX14914" fmla="*/ 2351521 w 3503192"/>
              <a:gd name="connsiteY14914" fmla="*/ 60128 h 5818346"/>
              <a:gd name="connsiteX14915" fmla="*/ 2358624 w 3503192"/>
              <a:gd name="connsiteY14915" fmla="*/ 53025 h 5818346"/>
              <a:gd name="connsiteX14916" fmla="*/ 3340625 w 3503192"/>
              <a:gd name="connsiteY14916" fmla="*/ 52858 h 5818346"/>
              <a:gd name="connsiteX14917" fmla="*/ 3351363 w 3503192"/>
              <a:gd name="connsiteY14917" fmla="*/ 63594 h 5818346"/>
              <a:gd name="connsiteX14918" fmla="*/ 3341038 w 3503192"/>
              <a:gd name="connsiteY14918" fmla="*/ 73918 h 5818346"/>
              <a:gd name="connsiteX14919" fmla="*/ 3347069 w 3503192"/>
              <a:gd name="connsiteY14919" fmla="*/ 79948 h 5818346"/>
              <a:gd name="connsiteX14920" fmla="*/ 3338561 w 3503192"/>
              <a:gd name="connsiteY14920" fmla="*/ 88456 h 5818346"/>
              <a:gd name="connsiteX14921" fmla="*/ 3342940 w 3503192"/>
              <a:gd name="connsiteY14921" fmla="*/ 92833 h 5818346"/>
              <a:gd name="connsiteX14922" fmla="*/ 3332946 w 3503192"/>
              <a:gd name="connsiteY14922" fmla="*/ 102827 h 5818346"/>
              <a:gd name="connsiteX14923" fmla="*/ 3337984 w 3503192"/>
              <a:gd name="connsiteY14923" fmla="*/ 107863 h 5818346"/>
              <a:gd name="connsiteX14924" fmla="*/ 3327246 w 3503192"/>
              <a:gd name="connsiteY14924" fmla="*/ 118601 h 5818346"/>
              <a:gd name="connsiteX14925" fmla="*/ 3316509 w 3503192"/>
              <a:gd name="connsiteY14925" fmla="*/ 107863 h 5818346"/>
              <a:gd name="connsiteX14926" fmla="*/ 3326502 w 3503192"/>
              <a:gd name="connsiteY14926" fmla="*/ 97871 h 5818346"/>
              <a:gd name="connsiteX14927" fmla="*/ 3321466 w 3503192"/>
              <a:gd name="connsiteY14927" fmla="*/ 92833 h 5818346"/>
              <a:gd name="connsiteX14928" fmla="*/ 3329972 w 3503192"/>
              <a:gd name="connsiteY14928" fmla="*/ 84327 h 5818346"/>
              <a:gd name="connsiteX14929" fmla="*/ 3325595 w 3503192"/>
              <a:gd name="connsiteY14929" fmla="*/ 79948 h 5818346"/>
              <a:gd name="connsiteX14930" fmla="*/ 3335918 w 3503192"/>
              <a:gd name="connsiteY14930" fmla="*/ 69624 h 5818346"/>
              <a:gd name="connsiteX14931" fmla="*/ 3329888 w 3503192"/>
              <a:gd name="connsiteY14931" fmla="*/ 63594 h 5818346"/>
              <a:gd name="connsiteX14932" fmla="*/ 3340625 w 3503192"/>
              <a:gd name="connsiteY14932" fmla="*/ 52858 h 5818346"/>
              <a:gd name="connsiteX14933" fmla="*/ 2530246 w 3503192"/>
              <a:gd name="connsiteY14933" fmla="*/ 52529 h 5818346"/>
              <a:gd name="connsiteX14934" fmla="*/ 2540984 w 3503192"/>
              <a:gd name="connsiteY14934" fmla="*/ 63265 h 5818346"/>
              <a:gd name="connsiteX14935" fmla="*/ 2530246 w 3503192"/>
              <a:gd name="connsiteY14935" fmla="*/ 74002 h 5818346"/>
              <a:gd name="connsiteX14936" fmla="*/ 2519510 w 3503192"/>
              <a:gd name="connsiteY14936" fmla="*/ 63265 h 5818346"/>
              <a:gd name="connsiteX14937" fmla="*/ 2530246 w 3503192"/>
              <a:gd name="connsiteY14937" fmla="*/ 52529 h 5818346"/>
              <a:gd name="connsiteX14938" fmla="*/ 3151328 w 3503192"/>
              <a:gd name="connsiteY14938" fmla="*/ 52033 h 5818346"/>
              <a:gd name="connsiteX14939" fmla="*/ 3162064 w 3503192"/>
              <a:gd name="connsiteY14939" fmla="*/ 62769 h 5818346"/>
              <a:gd name="connsiteX14940" fmla="*/ 3151328 w 3503192"/>
              <a:gd name="connsiteY14940" fmla="*/ 73507 h 5818346"/>
              <a:gd name="connsiteX14941" fmla="*/ 3140592 w 3503192"/>
              <a:gd name="connsiteY14941" fmla="*/ 62769 h 5818346"/>
              <a:gd name="connsiteX14942" fmla="*/ 3151328 w 3503192"/>
              <a:gd name="connsiteY14942" fmla="*/ 52033 h 5818346"/>
              <a:gd name="connsiteX14943" fmla="*/ 2502330 w 3503192"/>
              <a:gd name="connsiteY14943" fmla="*/ 50547 h 5818346"/>
              <a:gd name="connsiteX14944" fmla="*/ 2513068 w 3503192"/>
              <a:gd name="connsiteY14944" fmla="*/ 61283 h 5818346"/>
              <a:gd name="connsiteX14945" fmla="*/ 2502330 w 3503192"/>
              <a:gd name="connsiteY14945" fmla="*/ 72021 h 5818346"/>
              <a:gd name="connsiteX14946" fmla="*/ 2491593 w 3503192"/>
              <a:gd name="connsiteY14946" fmla="*/ 61283 h 5818346"/>
              <a:gd name="connsiteX14947" fmla="*/ 2502330 w 3503192"/>
              <a:gd name="connsiteY14947" fmla="*/ 50547 h 5818346"/>
              <a:gd name="connsiteX14948" fmla="*/ 3183208 w 3503192"/>
              <a:gd name="connsiteY14948" fmla="*/ 50380 h 5818346"/>
              <a:gd name="connsiteX14949" fmla="*/ 3193946 w 3503192"/>
              <a:gd name="connsiteY14949" fmla="*/ 61116 h 5818346"/>
              <a:gd name="connsiteX14950" fmla="*/ 3183208 w 3503192"/>
              <a:gd name="connsiteY14950" fmla="*/ 71854 h 5818346"/>
              <a:gd name="connsiteX14951" fmla="*/ 3172471 w 3503192"/>
              <a:gd name="connsiteY14951" fmla="*/ 61116 h 5818346"/>
              <a:gd name="connsiteX14952" fmla="*/ 3183208 w 3503192"/>
              <a:gd name="connsiteY14952" fmla="*/ 50380 h 5818346"/>
              <a:gd name="connsiteX14953" fmla="*/ 3365238 w 3503192"/>
              <a:gd name="connsiteY14953" fmla="*/ 49225 h 5818346"/>
              <a:gd name="connsiteX14954" fmla="*/ 3375976 w 3503192"/>
              <a:gd name="connsiteY14954" fmla="*/ 59962 h 5818346"/>
              <a:gd name="connsiteX14955" fmla="*/ 3365238 w 3503192"/>
              <a:gd name="connsiteY14955" fmla="*/ 70700 h 5818346"/>
              <a:gd name="connsiteX14956" fmla="*/ 3354502 w 3503192"/>
              <a:gd name="connsiteY14956" fmla="*/ 59962 h 5818346"/>
              <a:gd name="connsiteX14957" fmla="*/ 3365238 w 3503192"/>
              <a:gd name="connsiteY14957" fmla="*/ 49225 h 5818346"/>
              <a:gd name="connsiteX14958" fmla="*/ 3213601 w 3503192"/>
              <a:gd name="connsiteY14958" fmla="*/ 48729 h 5818346"/>
              <a:gd name="connsiteX14959" fmla="*/ 3224339 w 3503192"/>
              <a:gd name="connsiteY14959" fmla="*/ 59465 h 5818346"/>
              <a:gd name="connsiteX14960" fmla="*/ 3213601 w 3503192"/>
              <a:gd name="connsiteY14960" fmla="*/ 70202 h 5818346"/>
              <a:gd name="connsiteX14961" fmla="*/ 3202864 w 3503192"/>
              <a:gd name="connsiteY14961" fmla="*/ 59465 h 5818346"/>
              <a:gd name="connsiteX14962" fmla="*/ 3213601 w 3503192"/>
              <a:gd name="connsiteY14962" fmla="*/ 48729 h 5818346"/>
              <a:gd name="connsiteX14963" fmla="*/ 2475736 w 3503192"/>
              <a:gd name="connsiteY14963" fmla="*/ 47739 h 5818346"/>
              <a:gd name="connsiteX14964" fmla="*/ 2486474 w 3503192"/>
              <a:gd name="connsiteY14964" fmla="*/ 58475 h 5818346"/>
              <a:gd name="connsiteX14965" fmla="*/ 2475736 w 3503192"/>
              <a:gd name="connsiteY14965" fmla="*/ 69211 h 5818346"/>
              <a:gd name="connsiteX14966" fmla="*/ 2464999 w 3503192"/>
              <a:gd name="connsiteY14966" fmla="*/ 58475 h 5818346"/>
              <a:gd name="connsiteX14967" fmla="*/ 2475736 w 3503192"/>
              <a:gd name="connsiteY14967" fmla="*/ 47739 h 5818346"/>
              <a:gd name="connsiteX14968" fmla="*/ 2636788 w 3503192"/>
              <a:gd name="connsiteY14968" fmla="*/ 46747 h 5818346"/>
              <a:gd name="connsiteX14969" fmla="*/ 2647526 w 3503192"/>
              <a:gd name="connsiteY14969" fmla="*/ 57483 h 5818346"/>
              <a:gd name="connsiteX14970" fmla="*/ 2636788 w 3503192"/>
              <a:gd name="connsiteY14970" fmla="*/ 68221 h 5818346"/>
              <a:gd name="connsiteX14971" fmla="*/ 2626052 w 3503192"/>
              <a:gd name="connsiteY14971" fmla="*/ 57483 h 5818346"/>
              <a:gd name="connsiteX14972" fmla="*/ 2636788 w 3503192"/>
              <a:gd name="connsiteY14972" fmla="*/ 46747 h 5818346"/>
              <a:gd name="connsiteX14973" fmla="*/ 3242342 w 3503192"/>
              <a:gd name="connsiteY14973" fmla="*/ 46416 h 5818346"/>
              <a:gd name="connsiteX14974" fmla="*/ 3253080 w 3503192"/>
              <a:gd name="connsiteY14974" fmla="*/ 57152 h 5818346"/>
              <a:gd name="connsiteX14975" fmla="*/ 3242342 w 3503192"/>
              <a:gd name="connsiteY14975" fmla="*/ 67890 h 5818346"/>
              <a:gd name="connsiteX14976" fmla="*/ 3231605 w 3503192"/>
              <a:gd name="connsiteY14976" fmla="*/ 57152 h 5818346"/>
              <a:gd name="connsiteX14977" fmla="*/ 3242342 w 3503192"/>
              <a:gd name="connsiteY14977" fmla="*/ 46416 h 5818346"/>
              <a:gd name="connsiteX14978" fmla="*/ 2605404 w 3503192"/>
              <a:gd name="connsiteY14978" fmla="*/ 44600 h 5818346"/>
              <a:gd name="connsiteX14979" fmla="*/ 2616142 w 3503192"/>
              <a:gd name="connsiteY14979" fmla="*/ 55336 h 5818346"/>
              <a:gd name="connsiteX14980" fmla="*/ 2605404 w 3503192"/>
              <a:gd name="connsiteY14980" fmla="*/ 66074 h 5818346"/>
              <a:gd name="connsiteX14981" fmla="*/ 2594668 w 3503192"/>
              <a:gd name="connsiteY14981" fmla="*/ 55336 h 5818346"/>
              <a:gd name="connsiteX14982" fmla="*/ 2605404 w 3503192"/>
              <a:gd name="connsiteY14982" fmla="*/ 44600 h 5818346"/>
              <a:gd name="connsiteX14983" fmla="*/ 3388858 w 3503192"/>
              <a:gd name="connsiteY14983" fmla="*/ 44435 h 5818346"/>
              <a:gd name="connsiteX14984" fmla="*/ 3399596 w 3503192"/>
              <a:gd name="connsiteY14984" fmla="*/ 55172 h 5818346"/>
              <a:gd name="connsiteX14985" fmla="*/ 3388858 w 3503192"/>
              <a:gd name="connsiteY14985" fmla="*/ 65910 h 5818346"/>
              <a:gd name="connsiteX14986" fmla="*/ 3378122 w 3503192"/>
              <a:gd name="connsiteY14986" fmla="*/ 55172 h 5818346"/>
              <a:gd name="connsiteX14987" fmla="*/ 3388858 w 3503192"/>
              <a:gd name="connsiteY14987" fmla="*/ 44435 h 5818346"/>
              <a:gd name="connsiteX14988" fmla="*/ 2450132 w 3503192"/>
              <a:gd name="connsiteY14988" fmla="*/ 43939 h 5818346"/>
              <a:gd name="connsiteX14989" fmla="*/ 2460870 w 3503192"/>
              <a:gd name="connsiteY14989" fmla="*/ 54676 h 5818346"/>
              <a:gd name="connsiteX14990" fmla="*/ 2450132 w 3503192"/>
              <a:gd name="connsiteY14990" fmla="*/ 65414 h 5818346"/>
              <a:gd name="connsiteX14991" fmla="*/ 2439396 w 3503192"/>
              <a:gd name="connsiteY14991" fmla="*/ 54676 h 5818346"/>
              <a:gd name="connsiteX14992" fmla="*/ 2450132 w 3503192"/>
              <a:gd name="connsiteY14992" fmla="*/ 43939 h 5818346"/>
              <a:gd name="connsiteX14993" fmla="*/ 3411818 w 3503192"/>
              <a:gd name="connsiteY14993" fmla="*/ 43608 h 5818346"/>
              <a:gd name="connsiteX14994" fmla="*/ 3417104 w 3503192"/>
              <a:gd name="connsiteY14994" fmla="*/ 48894 h 5818346"/>
              <a:gd name="connsiteX14995" fmla="*/ 3411818 w 3503192"/>
              <a:gd name="connsiteY14995" fmla="*/ 54180 h 5818346"/>
              <a:gd name="connsiteX14996" fmla="*/ 3406533 w 3503192"/>
              <a:gd name="connsiteY14996" fmla="*/ 48894 h 5818346"/>
              <a:gd name="connsiteX14997" fmla="*/ 3411818 w 3503192"/>
              <a:gd name="connsiteY14997" fmla="*/ 43608 h 5818346"/>
              <a:gd name="connsiteX14998" fmla="*/ 3269927 w 3503192"/>
              <a:gd name="connsiteY14998" fmla="*/ 43608 h 5818346"/>
              <a:gd name="connsiteX14999" fmla="*/ 3280666 w 3503192"/>
              <a:gd name="connsiteY14999" fmla="*/ 54344 h 5818346"/>
              <a:gd name="connsiteX15000" fmla="*/ 3269927 w 3503192"/>
              <a:gd name="connsiteY15000" fmla="*/ 65083 h 5818346"/>
              <a:gd name="connsiteX15001" fmla="*/ 3259191 w 3503192"/>
              <a:gd name="connsiteY15001" fmla="*/ 54344 h 5818346"/>
              <a:gd name="connsiteX15002" fmla="*/ 3269927 w 3503192"/>
              <a:gd name="connsiteY15002" fmla="*/ 43608 h 5818346"/>
              <a:gd name="connsiteX15003" fmla="*/ 2575340 w 3503192"/>
              <a:gd name="connsiteY15003" fmla="*/ 42287 h 5818346"/>
              <a:gd name="connsiteX15004" fmla="*/ 2586078 w 3503192"/>
              <a:gd name="connsiteY15004" fmla="*/ 53023 h 5818346"/>
              <a:gd name="connsiteX15005" fmla="*/ 2575340 w 3503192"/>
              <a:gd name="connsiteY15005" fmla="*/ 63761 h 5818346"/>
              <a:gd name="connsiteX15006" fmla="*/ 2564604 w 3503192"/>
              <a:gd name="connsiteY15006" fmla="*/ 53023 h 5818346"/>
              <a:gd name="connsiteX15007" fmla="*/ 2575340 w 3503192"/>
              <a:gd name="connsiteY15007" fmla="*/ 42287 h 5818346"/>
              <a:gd name="connsiteX15008" fmla="*/ 3138278 w 3503192"/>
              <a:gd name="connsiteY15008" fmla="*/ 41626 h 5818346"/>
              <a:gd name="connsiteX15009" fmla="*/ 3149016 w 3503192"/>
              <a:gd name="connsiteY15009" fmla="*/ 52362 h 5818346"/>
              <a:gd name="connsiteX15010" fmla="*/ 3138278 w 3503192"/>
              <a:gd name="connsiteY15010" fmla="*/ 63100 h 5818346"/>
              <a:gd name="connsiteX15011" fmla="*/ 3127542 w 3503192"/>
              <a:gd name="connsiteY15011" fmla="*/ 52362 h 5818346"/>
              <a:gd name="connsiteX15012" fmla="*/ 3138278 w 3503192"/>
              <a:gd name="connsiteY15012" fmla="*/ 41626 h 5818346"/>
              <a:gd name="connsiteX15013" fmla="*/ 2425687 w 3503192"/>
              <a:gd name="connsiteY15013" fmla="*/ 40471 h 5818346"/>
              <a:gd name="connsiteX15014" fmla="*/ 2435102 w 3503192"/>
              <a:gd name="connsiteY15014" fmla="*/ 49886 h 5818346"/>
              <a:gd name="connsiteX15015" fmla="*/ 2425687 w 3503192"/>
              <a:gd name="connsiteY15015" fmla="*/ 59301 h 5818346"/>
              <a:gd name="connsiteX15016" fmla="*/ 2416272 w 3503192"/>
              <a:gd name="connsiteY15016" fmla="*/ 49886 h 5818346"/>
              <a:gd name="connsiteX15017" fmla="*/ 2425687 w 3503192"/>
              <a:gd name="connsiteY15017" fmla="*/ 40471 h 5818346"/>
              <a:gd name="connsiteX15018" fmla="*/ 3296356 w 3503192"/>
              <a:gd name="connsiteY15018" fmla="*/ 39810 h 5818346"/>
              <a:gd name="connsiteX15019" fmla="*/ 3307094 w 3503192"/>
              <a:gd name="connsiteY15019" fmla="*/ 50547 h 5818346"/>
              <a:gd name="connsiteX15020" fmla="*/ 3296356 w 3503192"/>
              <a:gd name="connsiteY15020" fmla="*/ 61285 h 5818346"/>
              <a:gd name="connsiteX15021" fmla="*/ 3285620 w 3503192"/>
              <a:gd name="connsiteY15021" fmla="*/ 50547 h 5818346"/>
              <a:gd name="connsiteX15022" fmla="*/ 3296356 w 3503192"/>
              <a:gd name="connsiteY15022" fmla="*/ 39810 h 5818346"/>
              <a:gd name="connsiteX15023" fmla="*/ 2546764 w 3503192"/>
              <a:gd name="connsiteY15023" fmla="*/ 39148 h 5818346"/>
              <a:gd name="connsiteX15024" fmla="*/ 2557502 w 3503192"/>
              <a:gd name="connsiteY15024" fmla="*/ 49884 h 5818346"/>
              <a:gd name="connsiteX15025" fmla="*/ 2546764 w 3503192"/>
              <a:gd name="connsiteY15025" fmla="*/ 60622 h 5818346"/>
              <a:gd name="connsiteX15026" fmla="*/ 2536028 w 3503192"/>
              <a:gd name="connsiteY15026" fmla="*/ 49884 h 5818346"/>
              <a:gd name="connsiteX15027" fmla="*/ 2546764 w 3503192"/>
              <a:gd name="connsiteY15027" fmla="*/ 39148 h 5818346"/>
              <a:gd name="connsiteX15028" fmla="*/ 3169001 w 3503192"/>
              <a:gd name="connsiteY15028" fmla="*/ 38983 h 5818346"/>
              <a:gd name="connsiteX15029" fmla="*/ 3179739 w 3503192"/>
              <a:gd name="connsiteY15029" fmla="*/ 49719 h 5818346"/>
              <a:gd name="connsiteX15030" fmla="*/ 3169001 w 3503192"/>
              <a:gd name="connsiteY15030" fmla="*/ 60457 h 5818346"/>
              <a:gd name="connsiteX15031" fmla="*/ 3158265 w 3503192"/>
              <a:gd name="connsiteY15031" fmla="*/ 49719 h 5818346"/>
              <a:gd name="connsiteX15032" fmla="*/ 3169001 w 3503192"/>
              <a:gd name="connsiteY15032" fmla="*/ 38983 h 5818346"/>
              <a:gd name="connsiteX15033" fmla="*/ 3198569 w 3503192"/>
              <a:gd name="connsiteY15033" fmla="*/ 35679 h 5818346"/>
              <a:gd name="connsiteX15034" fmla="*/ 3209306 w 3503192"/>
              <a:gd name="connsiteY15034" fmla="*/ 46416 h 5818346"/>
              <a:gd name="connsiteX15035" fmla="*/ 3198569 w 3503192"/>
              <a:gd name="connsiteY15035" fmla="*/ 57154 h 5818346"/>
              <a:gd name="connsiteX15036" fmla="*/ 3187833 w 3503192"/>
              <a:gd name="connsiteY15036" fmla="*/ 46416 h 5818346"/>
              <a:gd name="connsiteX15037" fmla="*/ 3198569 w 3503192"/>
              <a:gd name="connsiteY15037" fmla="*/ 35679 h 5818346"/>
              <a:gd name="connsiteX15038" fmla="*/ 2649012 w 3503192"/>
              <a:gd name="connsiteY15038" fmla="*/ 35679 h 5818346"/>
              <a:gd name="connsiteX15039" fmla="*/ 2659750 w 3503192"/>
              <a:gd name="connsiteY15039" fmla="*/ 46416 h 5818346"/>
              <a:gd name="connsiteX15040" fmla="*/ 2649012 w 3503192"/>
              <a:gd name="connsiteY15040" fmla="*/ 57154 h 5818346"/>
              <a:gd name="connsiteX15041" fmla="*/ 2638276 w 3503192"/>
              <a:gd name="connsiteY15041" fmla="*/ 46416 h 5818346"/>
              <a:gd name="connsiteX15042" fmla="*/ 2649012 w 3503192"/>
              <a:gd name="connsiteY15042" fmla="*/ 35679 h 5818346"/>
              <a:gd name="connsiteX15043" fmla="*/ 2519510 w 3503192"/>
              <a:gd name="connsiteY15043" fmla="*/ 35185 h 5818346"/>
              <a:gd name="connsiteX15044" fmla="*/ 2530246 w 3503192"/>
              <a:gd name="connsiteY15044" fmla="*/ 45922 h 5818346"/>
              <a:gd name="connsiteX15045" fmla="*/ 2519510 w 3503192"/>
              <a:gd name="connsiteY15045" fmla="*/ 56660 h 5818346"/>
              <a:gd name="connsiteX15046" fmla="*/ 2508774 w 3503192"/>
              <a:gd name="connsiteY15046" fmla="*/ 45922 h 5818346"/>
              <a:gd name="connsiteX15047" fmla="*/ 2519510 w 3503192"/>
              <a:gd name="connsiteY15047" fmla="*/ 35185 h 5818346"/>
              <a:gd name="connsiteX15048" fmla="*/ 3321630 w 3503192"/>
              <a:gd name="connsiteY15048" fmla="*/ 34854 h 5818346"/>
              <a:gd name="connsiteX15049" fmla="*/ 3332368 w 3503192"/>
              <a:gd name="connsiteY15049" fmla="*/ 45590 h 5818346"/>
              <a:gd name="connsiteX15050" fmla="*/ 3321630 w 3503192"/>
              <a:gd name="connsiteY15050" fmla="*/ 56328 h 5818346"/>
              <a:gd name="connsiteX15051" fmla="*/ 3310894 w 3503192"/>
              <a:gd name="connsiteY15051" fmla="*/ 45590 h 5818346"/>
              <a:gd name="connsiteX15052" fmla="*/ 3321630 w 3503192"/>
              <a:gd name="connsiteY15052" fmla="*/ 34854 h 5818346"/>
              <a:gd name="connsiteX15053" fmla="*/ 2467974 w 3503192"/>
              <a:gd name="connsiteY15053" fmla="*/ 34358 h 5818346"/>
              <a:gd name="connsiteX15054" fmla="*/ 2468303 w 3503192"/>
              <a:gd name="connsiteY15054" fmla="*/ 34687 h 5818346"/>
              <a:gd name="connsiteX15055" fmla="*/ 2467974 w 3503192"/>
              <a:gd name="connsiteY15055" fmla="*/ 35019 h 5818346"/>
              <a:gd name="connsiteX15056" fmla="*/ 2467642 w 3503192"/>
              <a:gd name="connsiteY15056" fmla="*/ 34687 h 5818346"/>
              <a:gd name="connsiteX15057" fmla="*/ 2467974 w 3503192"/>
              <a:gd name="connsiteY15057" fmla="*/ 34358 h 5818346"/>
              <a:gd name="connsiteX15058" fmla="*/ 3346077 w 3503192"/>
              <a:gd name="connsiteY15058" fmla="*/ 33203 h 5818346"/>
              <a:gd name="connsiteX15059" fmla="*/ 3352353 w 3503192"/>
              <a:gd name="connsiteY15059" fmla="*/ 39481 h 5818346"/>
              <a:gd name="connsiteX15060" fmla="*/ 3346077 w 3503192"/>
              <a:gd name="connsiteY15060" fmla="*/ 45757 h 5818346"/>
              <a:gd name="connsiteX15061" fmla="*/ 3339800 w 3503192"/>
              <a:gd name="connsiteY15061" fmla="*/ 39481 h 5818346"/>
              <a:gd name="connsiteX15062" fmla="*/ 3346077 w 3503192"/>
              <a:gd name="connsiteY15062" fmla="*/ 33203 h 5818346"/>
              <a:gd name="connsiteX15063" fmla="*/ 3095166 w 3503192"/>
              <a:gd name="connsiteY15063" fmla="*/ 33203 h 5818346"/>
              <a:gd name="connsiteX15064" fmla="*/ 3105904 w 3503192"/>
              <a:gd name="connsiteY15064" fmla="*/ 43939 h 5818346"/>
              <a:gd name="connsiteX15065" fmla="*/ 3105821 w 3503192"/>
              <a:gd name="connsiteY15065" fmla="*/ 44022 h 5818346"/>
              <a:gd name="connsiteX15066" fmla="*/ 3116393 w 3503192"/>
              <a:gd name="connsiteY15066" fmla="*/ 54592 h 5818346"/>
              <a:gd name="connsiteX15067" fmla="*/ 3117466 w 3503192"/>
              <a:gd name="connsiteY15067" fmla="*/ 53519 h 5818346"/>
              <a:gd name="connsiteX15068" fmla="*/ 3128204 w 3503192"/>
              <a:gd name="connsiteY15068" fmla="*/ 64255 h 5818346"/>
              <a:gd name="connsiteX15069" fmla="*/ 3117466 w 3503192"/>
              <a:gd name="connsiteY15069" fmla="*/ 74993 h 5818346"/>
              <a:gd name="connsiteX15070" fmla="*/ 3106813 w 3503192"/>
              <a:gd name="connsiteY15070" fmla="*/ 64338 h 5818346"/>
              <a:gd name="connsiteX15071" fmla="*/ 3105738 w 3503192"/>
              <a:gd name="connsiteY15071" fmla="*/ 65414 h 5818346"/>
              <a:gd name="connsiteX15072" fmla="*/ 3095002 w 3503192"/>
              <a:gd name="connsiteY15072" fmla="*/ 54676 h 5818346"/>
              <a:gd name="connsiteX15073" fmla="*/ 3095083 w 3503192"/>
              <a:gd name="connsiteY15073" fmla="*/ 54594 h 5818346"/>
              <a:gd name="connsiteX15074" fmla="*/ 3084430 w 3503192"/>
              <a:gd name="connsiteY15074" fmla="*/ 43939 h 5818346"/>
              <a:gd name="connsiteX15075" fmla="*/ 3095166 w 3503192"/>
              <a:gd name="connsiteY15075" fmla="*/ 33203 h 5818346"/>
              <a:gd name="connsiteX15076" fmla="*/ 2618619 w 3503192"/>
              <a:gd name="connsiteY15076" fmla="*/ 32211 h 5818346"/>
              <a:gd name="connsiteX15077" fmla="*/ 2629355 w 3503192"/>
              <a:gd name="connsiteY15077" fmla="*/ 42947 h 5818346"/>
              <a:gd name="connsiteX15078" fmla="*/ 2618619 w 3503192"/>
              <a:gd name="connsiteY15078" fmla="*/ 53685 h 5818346"/>
              <a:gd name="connsiteX15079" fmla="*/ 2607882 w 3503192"/>
              <a:gd name="connsiteY15079" fmla="*/ 42947 h 5818346"/>
              <a:gd name="connsiteX15080" fmla="*/ 2618619 w 3503192"/>
              <a:gd name="connsiteY15080" fmla="*/ 32211 h 5818346"/>
              <a:gd name="connsiteX15081" fmla="*/ 3226651 w 3503192"/>
              <a:gd name="connsiteY15081" fmla="*/ 31550 h 5818346"/>
              <a:gd name="connsiteX15082" fmla="*/ 3237389 w 3503192"/>
              <a:gd name="connsiteY15082" fmla="*/ 42287 h 5818346"/>
              <a:gd name="connsiteX15083" fmla="*/ 3226651 w 3503192"/>
              <a:gd name="connsiteY15083" fmla="*/ 53025 h 5818346"/>
              <a:gd name="connsiteX15084" fmla="*/ 3215914 w 3503192"/>
              <a:gd name="connsiteY15084" fmla="*/ 42287 h 5818346"/>
              <a:gd name="connsiteX15085" fmla="*/ 3226651 w 3503192"/>
              <a:gd name="connsiteY15085" fmla="*/ 31550 h 5818346"/>
              <a:gd name="connsiteX15086" fmla="*/ 2493246 w 3503192"/>
              <a:gd name="connsiteY15086" fmla="*/ 30229 h 5818346"/>
              <a:gd name="connsiteX15087" fmla="*/ 2503984 w 3503192"/>
              <a:gd name="connsiteY15087" fmla="*/ 40965 h 5818346"/>
              <a:gd name="connsiteX15088" fmla="*/ 2493246 w 3503192"/>
              <a:gd name="connsiteY15088" fmla="*/ 51702 h 5818346"/>
              <a:gd name="connsiteX15089" fmla="*/ 2482510 w 3503192"/>
              <a:gd name="connsiteY15089" fmla="*/ 40965 h 5818346"/>
              <a:gd name="connsiteX15090" fmla="*/ 2493246 w 3503192"/>
              <a:gd name="connsiteY15090" fmla="*/ 30229 h 5818346"/>
              <a:gd name="connsiteX15091" fmla="*/ 3126550 w 3503192"/>
              <a:gd name="connsiteY15091" fmla="*/ 29403 h 5818346"/>
              <a:gd name="connsiteX15092" fmla="*/ 3137286 w 3503192"/>
              <a:gd name="connsiteY15092" fmla="*/ 40140 h 5818346"/>
              <a:gd name="connsiteX15093" fmla="*/ 3126550 w 3503192"/>
              <a:gd name="connsiteY15093" fmla="*/ 50878 h 5818346"/>
              <a:gd name="connsiteX15094" fmla="*/ 3115814 w 3503192"/>
              <a:gd name="connsiteY15094" fmla="*/ 40140 h 5818346"/>
              <a:gd name="connsiteX15095" fmla="*/ 3126550 w 3503192"/>
              <a:gd name="connsiteY15095" fmla="*/ 29403 h 5818346"/>
              <a:gd name="connsiteX15096" fmla="*/ 2589380 w 3503192"/>
              <a:gd name="connsiteY15096" fmla="*/ 27915 h 5818346"/>
              <a:gd name="connsiteX15097" fmla="*/ 2600118 w 3503192"/>
              <a:gd name="connsiteY15097" fmla="*/ 38652 h 5818346"/>
              <a:gd name="connsiteX15098" fmla="*/ 2589380 w 3503192"/>
              <a:gd name="connsiteY15098" fmla="*/ 49390 h 5818346"/>
              <a:gd name="connsiteX15099" fmla="*/ 2578644 w 3503192"/>
              <a:gd name="connsiteY15099" fmla="*/ 38652 h 5818346"/>
              <a:gd name="connsiteX15100" fmla="*/ 2589380 w 3503192"/>
              <a:gd name="connsiteY15100" fmla="*/ 27915 h 5818346"/>
              <a:gd name="connsiteX15101" fmla="*/ 2690638 w 3503192"/>
              <a:gd name="connsiteY15101" fmla="*/ 26760 h 5818346"/>
              <a:gd name="connsiteX15102" fmla="*/ 2701374 w 3503192"/>
              <a:gd name="connsiteY15102" fmla="*/ 37497 h 5818346"/>
              <a:gd name="connsiteX15103" fmla="*/ 2690640 w 3503192"/>
              <a:gd name="connsiteY15103" fmla="*/ 48233 h 5818346"/>
              <a:gd name="connsiteX15104" fmla="*/ 2691630 w 3503192"/>
              <a:gd name="connsiteY15104" fmla="*/ 49223 h 5818346"/>
              <a:gd name="connsiteX15105" fmla="*/ 2680892 w 3503192"/>
              <a:gd name="connsiteY15105" fmla="*/ 59962 h 5818346"/>
              <a:gd name="connsiteX15106" fmla="*/ 2680479 w 3503192"/>
              <a:gd name="connsiteY15106" fmla="*/ 59549 h 5818346"/>
              <a:gd name="connsiteX15107" fmla="*/ 2669989 w 3503192"/>
              <a:gd name="connsiteY15107" fmla="*/ 70039 h 5818346"/>
              <a:gd name="connsiteX15108" fmla="*/ 2659252 w 3503192"/>
              <a:gd name="connsiteY15108" fmla="*/ 59301 h 5818346"/>
              <a:gd name="connsiteX15109" fmla="*/ 2669989 w 3503192"/>
              <a:gd name="connsiteY15109" fmla="*/ 48564 h 5818346"/>
              <a:gd name="connsiteX15110" fmla="*/ 2670402 w 3503192"/>
              <a:gd name="connsiteY15110" fmla="*/ 48977 h 5818346"/>
              <a:gd name="connsiteX15111" fmla="*/ 2680892 w 3503192"/>
              <a:gd name="connsiteY15111" fmla="*/ 38487 h 5818346"/>
              <a:gd name="connsiteX15112" fmla="*/ 2679902 w 3503192"/>
              <a:gd name="connsiteY15112" fmla="*/ 37497 h 5818346"/>
              <a:gd name="connsiteX15113" fmla="*/ 2690638 w 3503192"/>
              <a:gd name="connsiteY15113" fmla="*/ 26760 h 5818346"/>
              <a:gd name="connsiteX15114" fmla="*/ 3253740 w 3503192"/>
              <a:gd name="connsiteY15114" fmla="*/ 26596 h 5818346"/>
              <a:gd name="connsiteX15115" fmla="*/ 3264478 w 3503192"/>
              <a:gd name="connsiteY15115" fmla="*/ 37332 h 5818346"/>
              <a:gd name="connsiteX15116" fmla="*/ 3253740 w 3503192"/>
              <a:gd name="connsiteY15116" fmla="*/ 48070 h 5818346"/>
              <a:gd name="connsiteX15117" fmla="*/ 3243004 w 3503192"/>
              <a:gd name="connsiteY15117" fmla="*/ 37332 h 5818346"/>
              <a:gd name="connsiteX15118" fmla="*/ 3253740 w 3503192"/>
              <a:gd name="connsiteY15118" fmla="*/ 26596 h 5818346"/>
              <a:gd name="connsiteX15119" fmla="*/ 2534542 w 3503192"/>
              <a:gd name="connsiteY15119" fmla="*/ 25108 h 5818346"/>
              <a:gd name="connsiteX15120" fmla="*/ 2536524 w 3503192"/>
              <a:gd name="connsiteY15120" fmla="*/ 27090 h 5818346"/>
              <a:gd name="connsiteX15121" fmla="*/ 2534542 w 3503192"/>
              <a:gd name="connsiteY15121" fmla="*/ 29072 h 5818346"/>
              <a:gd name="connsiteX15122" fmla="*/ 2532560 w 3503192"/>
              <a:gd name="connsiteY15122" fmla="*/ 27090 h 5818346"/>
              <a:gd name="connsiteX15123" fmla="*/ 2534542 w 3503192"/>
              <a:gd name="connsiteY15123" fmla="*/ 25108 h 5818346"/>
              <a:gd name="connsiteX15124" fmla="*/ 3156614 w 3503192"/>
              <a:gd name="connsiteY15124" fmla="*/ 24943 h 5818346"/>
              <a:gd name="connsiteX15125" fmla="*/ 3167352 w 3503192"/>
              <a:gd name="connsiteY15125" fmla="*/ 35679 h 5818346"/>
              <a:gd name="connsiteX15126" fmla="*/ 3156614 w 3503192"/>
              <a:gd name="connsiteY15126" fmla="*/ 46417 h 5818346"/>
              <a:gd name="connsiteX15127" fmla="*/ 3145878 w 3503192"/>
              <a:gd name="connsiteY15127" fmla="*/ 35679 h 5818346"/>
              <a:gd name="connsiteX15128" fmla="*/ 3156614 w 3503192"/>
              <a:gd name="connsiteY15128" fmla="*/ 24943 h 5818346"/>
              <a:gd name="connsiteX15129" fmla="*/ 3054202 w 3503192"/>
              <a:gd name="connsiteY15129" fmla="*/ 24778 h 5818346"/>
              <a:gd name="connsiteX15130" fmla="*/ 3064940 w 3503192"/>
              <a:gd name="connsiteY15130" fmla="*/ 35515 h 5818346"/>
              <a:gd name="connsiteX15131" fmla="*/ 3063205 w 3503192"/>
              <a:gd name="connsiteY15131" fmla="*/ 37249 h 5818346"/>
              <a:gd name="connsiteX15132" fmla="*/ 3073031 w 3503192"/>
              <a:gd name="connsiteY15132" fmla="*/ 47076 h 5818346"/>
              <a:gd name="connsiteX15133" fmla="*/ 3072783 w 3503192"/>
              <a:gd name="connsiteY15133" fmla="*/ 47324 h 5818346"/>
              <a:gd name="connsiteX15134" fmla="*/ 3081373 w 3503192"/>
              <a:gd name="connsiteY15134" fmla="*/ 55914 h 5818346"/>
              <a:gd name="connsiteX15135" fmla="*/ 3081786 w 3503192"/>
              <a:gd name="connsiteY15135" fmla="*/ 55501 h 5818346"/>
              <a:gd name="connsiteX15136" fmla="*/ 3092524 w 3503192"/>
              <a:gd name="connsiteY15136" fmla="*/ 66237 h 5818346"/>
              <a:gd name="connsiteX15137" fmla="*/ 3081786 w 3503192"/>
              <a:gd name="connsiteY15137" fmla="*/ 76976 h 5818346"/>
              <a:gd name="connsiteX15138" fmla="*/ 3071958 w 3503192"/>
              <a:gd name="connsiteY15138" fmla="*/ 67148 h 5818346"/>
              <a:gd name="connsiteX15139" fmla="*/ 3071545 w 3503192"/>
              <a:gd name="connsiteY15139" fmla="*/ 67561 h 5818346"/>
              <a:gd name="connsiteX15140" fmla="*/ 3060809 w 3503192"/>
              <a:gd name="connsiteY15140" fmla="*/ 56823 h 5818346"/>
              <a:gd name="connsiteX15141" fmla="*/ 3061057 w 3503192"/>
              <a:gd name="connsiteY15141" fmla="*/ 56576 h 5818346"/>
              <a:gd name="connsiteX15142" fmla="*/ 3051558 w 3503192"/>
              <a:gd name="connsiteY15142" fmla="*/ 47076 h 5818346"/>
              <a:gd name="connsiteX15143" fmla="*/ 3053293 w 3503192"/>
              <a:gd name="connsiteY15143" fmla="*/ 45344 h 5818346"/>
              <a:gd name="connsiteX15144" fmla="*/ 3043465 w 3503192"/>
              <a:gd name="connsiteY15144" fmla="*/ 35515 h 5818346"/>
              <a:gd name="connsiteX15145" fmla="*/ 3054202 w 3503192"/>
              <a:gd name="connsiteY15145" fmla="*/ 24778 h 5818346"/>
              <a:gd name="connsiteX15146" fmla="*/ 3279674 w 3503192"/>
              <a:gd name="connsiteY15146" fmla="*/ 23622 h 5818346"/>
              <a:gd name="connsiteX15147" fmla="*/ 3287106 w 3503192"/>
              <a:gd name="connsiteY15147" fmla="*/ 31054 h 5818346"/>
              <a:gd name="connsiteX15148" fmla="*/ 3279674 w 3503192"/>
              <a:gd name="connsiteY15148" fmla="*/ 38489 h 5818346"/>
              <a:gd name="connsiteX15149" fmla="*/ 3272241 w 3503192"/>
              <a:gd name="connsiteY15149" fmla="*/ 31054 h 5818346"/>
              <a:gd name="connsiteX15150" fmla="*/ 3279674 w 3503192"/>
              <a:gd name="connsiteY15150" fmla="*/ 23622 h 5818346"/>
              <a:gd name="connsiteX15151" fmla="*/ 2561465 w 3503192"/>
              <a:gd name="connsiteY15151" fmla="*/ 22796 h 5818346"/>
              <a:gd name="connsiteX15152" fmla="*/ 2572203 w 3503192"/>
              <a:gd name="connsiteY15152" fmla="*/ 33532 h 5818346"/>
              <a:gd name="connsiteX15153" fmla="*/ 2561465 w 3503192"/>
              <a:gd name="connsiteY15153" fmla="*/ 44270 h 5818346"/>
              <a:gd name="connsiteX15154" fmla="*/ 2550729 w 3503192"/>
              <a:gd name="connsiteY15154" fmla="*/ 33532 h 5818346"/>
              <a:gd name="connsiteX15155" fmla="*/ 2561465 w 3503192"/>
              <a:gd name="connsiteY15155" fmla="*/ 22796 h 5818346"/>
              <a:gd name="connsiteX15156" fmla="*/ 2659748 w 3503192"/>
              <a:gd name="connsiteY15156" fmla="*/ 22135 h 5818346"/>
              <a:gd name="connsiteX15157" fmla="*/ 2670486 w 3503192"/>
              <a:gd name="connsiteY15157" fmla="*/ 32872 h 5818346"/>
              <a:gd name="connsiteX15158" fmla="*/ 2659748 w 3503192"/>
              <a:gd name="connsiteY15158" fmla="*/ 43610 h 5818346"/>
              <a:gd name="connsiteX15159" fmla="*/ 2649012 w 3503192"/>
              <a:gd name="connsiteY15159" fmla="*/ 32872 h 5818346"/>
              <a:gd name="connsiteX15160" fmla="*/ 2659748 w 3503192"/>
              <a:gd name="connsiteY15160" fmla="*/ 22135 h 5818346"/>
              <a:gd name="connsiteX15161" fmla="*/ 3085916 w 3503192"/>
              <a:gd name="connsiteY15161" fmla="*/ 19822 h 5818346"/>
              <a:gd name="connsiteX15162" fmla="*/ 3096654 w 3503192"/>
              <a:gd name="connsiteY15162" fmla="*/ 30558 h 5818346"/>
              <a:gd name="connsiteX15163" fmla="*/ 3085916 w 3503192"/>
              <a:gd name="connsiteY15163" fmla="*/ 41296 h 5818346"/>
              <a:gd name="connsiteX15164" fmla="*/ 3075180 w 3503192"/>
              <a:gd name="connsiteY15164" fmla="*/ 30558 h 5818346"/>
              <a:gd name="connsiteX15165" fmla="*/ 3085916 w 3503192"/>
              <a:gd name="connsiteY15165" fmla="*/ 19822 h 5818346"/>
              <a:gd name="connsiteX15166" fmla="*/ 3185190 w 3503192"/>
              <a:gd name="connsiteY15166" fmla="*/ 19657 h 5818346"/>
              <a:gd name="connsiteX15167" fmla="*/ 3195928 w 3503192"/>
              <a:gd name="connsiteY15167" fmla="*/ 30394 h 5818346"/>
              <a:gd name="connsiteX15168" fmla="*/ 3185190 w 3503192"/>
              <a:gd name="connsiteY15168" fmla="*/ 41132 h 5818346"/>
              <a:gd name="connsiteX15169" fmla="*/ 3174454 w 3503192"/>
              <a:gd name="connsiteY15169" fmla="*/ 30394 h 5818346"/>
              <a:gd name="connsiteX15170" fmla="*/ 3185190 w 3503192"/>
              <a:gd name="connsiteY15170" fmla="*/ 19657 h 5818346"/>
              <a:gd name="connsiteX15171" fmla="*/ 2730611 w 3503192"/>
              <a:gd name="connsiteY15171" fmla="*/ 17840 h 5818346"/>
              <a:gd name="connsiteX15172" fmla="*/ 2741349 w 3503192"/>
              <a:gd name="connsiteY15172" fmla="*/ 28576 h 5818346"/>
              <a:gd name="connsiteX15173" fmla="*/ 2731105 w 3503192"/>
              <a:gd name="connsiteY15173" fmla="*/ 38818 h 5818346"/>
              <a:gd name="connsiteX15174" fmla="*/ 2733750 w 3503192"/>
              <a:gd name="connsiteY15174" fmla="*/ 41461 h 5818346"/>
              <a:gd name="connsiteX15175" fmla="*/ 2724335 w 3503192"/>
              <a:gd name="connsiteY15175" fmla="*/ 50876 h 5818346"/>
              <a:gd name="connsiteX15176" fmla="*/ 2725327 w 3503192"/>
              <a:gd name="connsiteY15176" fmla="*/ 51868 h 5818346"/>
              <a:gd name="connsiteX15177" fmla="*/ 2714589 w 3503192"/>
              <a:gd name="connsiteY15177" fmla="*/ 62606 h 5818346"/>
              <a:gd name="connsiteX15178" fmla="*/ 2714506 w 3503192"/>
              <a:gd name="connsiteY15178" fmla="*/ 62523 h 5818346"/>
              <a:gd name="connsiteX15179" fmla="*/ 2705007 w 3503192"/>
              <a:gd name="connsiteY15179" fmla="*/ 72021 h 5818346"/>
              <a:gd name="connsiteX15180" fmla="*/ 2704511 w 3503192"/>
              <a:gd name="connsiteY15180" fmla="*/ 71525 h 5818346"/>
              <a:gd name="connsiteX15181" fmla="*/ 2694271 w 3503192"/>
              <a:gd name="connsiteY15181" fmla="*/ 81767 h 5818346"/>
              <a:gd name="connsiteX15182" fmla="*/ 2683534 w 3503192"/>
              <a:gd name="connsiteY15182" fmla="*/ 71029 h 5818346"/>
              <a:gd name="connsiteX15183" fmla="*/ 2694271 w 3503192"/>
              <a:gd name="connsiteY15183" fmla="*/ 60293 h 5818346"/>
              <a:gd name="connsiteX15184" fmla="*/ 2694767 w 3503192"/>
              <a:gd name="connsiteY15184" fmla="*/ 60789 h 5818346"/>
              <a:gd name="connsiteX15185" fmla="*/ 2705007 w 3503192"/>
              <a:gd name="connsiteY15185" fmla="*/ 50547 h 5818346"/>
              <a:gd name="connsiteX15186" fmla="*/ 2705090 w 3503192"/>
              <a:gd name="connsiteY15186" fmla="*/ 50630 h 5818346"/>
              <a:gd name="connsiteX15187" fmla="*/ 2713267 w 3503192"/>
              <a:gd name="connsiteY15187" fmla="*/ 42453 h 5818346"/>
              <a:gd name="connsiteX15188" fmla="*/ 2712275 w 3503192"/>
              <a:gd name="connsiteY15188" fmla="*/ 41461 h 5818346"/>
              <a:gd name="connsiteX15189" fmla="*/ 2722518 w 3503192"/>
              <a:gd name="connsiteY15189" fmla="*/ 31219 h 5818346"/>
              <a:gd name="connsiteX15190" fmla="*/ 2719874 w 3503192"/>
              <a:gd name="connsiteY15190" fmla="*/ 28576 h 5818346"/>
              <a:gd name="connsiteX15191" fmla="*/ 2730611 w 3503192"/>
              <a:gd name="connsiteY15191" fmla="*/ 17840 h 5818346"/>
              <a:gd name="connsiteX15192" fmla="*/ 2601771 w 3503192"/>
              <a:gd name="connsiteY15192" fmla="*/ 17014 h 5818346"/>
              <a:gd name="connsiteX15193" fmla="*/ 2605404 w 3503192"/>
              <a:gd name="connsiteY15193" fmla="*/ 20649 h 5818346"/>
              <a:gd name="connsiteX15194" fmla="*/ 2601771 w 3503192"/>
              <a:gd name="connsiteY15194" fmla="*/ 24282 h 5818346"/>
              <a:gd name="connsiteX15195" fmla="*/ 2598136 w 3503192"/>
              <a:gd name="connsiteY15195" fmla="*/ 20649 h 5818346"/>
              <a:gd name="connsiteX15196" fmla="*/ 2601771 w 3503192"/>
              <a:gd name="connsiteY15196" fmla="*/ 17014 h 5818346"/>
              <a:gd name="connsiteX15197" fmla="*/ 2630180 w 3503192"/>
              <a:gd name="connsiteY15197" fmla="*/ 16518 h 5818346"/>
              <a:gd name="connsiteX15198" fmla="*/ 2640919 w 3503192"/>
              <a:gd name="connsiteY15198" fmla="*/ 27255 h 5818346"/>
              <a:gd name="connsiteX15199" fmla="*/ 2630180 w 3503192"/>
              <a:gd name="connsiteY15199" fmla="*/ 37993 h 5818346"/>
              <a:gd name="connsiteX15200" fmla="*/ 2619444 w 3503192"/>
              <a:gd name="connsiteY15200" fmla="*/ 27255 h 5818346"/>
              <a:gd name="connsiteX15201" fmla="*/ 2630180 w 3503192"/>
              <a:gd name="connsiteY15201" fmla="*/ 16518 h 5818346"/>
              <a:gd name="connsiteX15202" fmla="*/ 3015054 w 3503192"/>
              <a:gd name="connsiteY15202" fmla="*/ 16354 h 5818346"/>
              <a:gd name="connsiteX15203" fmla="*/ 3025790 w 3503192"/>
              <a:gd name="connsiteY15203" fmla="*/ 27090 h 5818346"/>
              <a:gd name="connsiteX15204" fmla="*/ 3022405 w 3503192"/>
              <a:gd name="connsiteY15204" fmla="*/ 30477 h 5818346"/>
              <a:gd name="connsiteX15205" fmla="*/ 3031737 w 3503192"/>
              <a:gd name="connsiteY15205" fmla="*/ 39808 h 5818346"/>
              <a:gd name="connsiteX15206" fmla="*/ 3030002 w 3503192"/>
              <a:gd name="connsiteY15206" fmla="*/ 41543 h 5818346"/>
              <a:gd name="connsiteX15207" fmla="*/ 3038510 w 3503192"/>
              <a:gd name="connsiteY15207" fmla="*/ 50051 h 5818346"/>
              <a:gd name="connsiteX15208" fmla="*/ 3037766 w 3503192"/>
              <a:gd name="connsiteY15208" fmla="*/ 50796 h 5818346"/>
              <a:gd name="connsiteX15209" fmla="*/ 3046108 w 3503192"/>
              <a:gd name="connsiteY15209" fmla="*/ 59136 h 5818346"/>
              <a:gd name="connsiteX15210" fmla="*/ 3045530 w 3503192"/>
              <a:gd name="connsiteY15210" fmla="*/ 59715 h 5818346"/>
              <a:gd name="connsiteX15211" fmla="*/ 3054533 w 3503192"/>
              <a:gd name="connsiteY15211" fmla="*/ 68716 h 5818346"/>
              <a:gd name="connsiteX15212" fmla="*/ 3053293 w 3503192"/>
              <a:gd name="connsiteY15212" fmla="*/ 69956 h 5818346"/>
              <a:gd name="connsiteX15213" fmla="*/ 3063948 w 3503192"/>
              <a:gd name="connsiteY15213" fmla="*/ 80609 h 5818346"/>
              <a:gd name="connsiteX15214" fmla="*/ 3053210 w 3503192"/>
              <a:gd name="connsiteY15214" fmla="*/ 91347 h 5818346"/>
              <a:gd name="connsiteX15215" fmla="*/ 3042473 w 3503192"/>
              <a:gd name="connsiteY15215" fmla="*/ 80609 h 5818346"/>
              <a:gd name="connsiteX15216" fmla="*/ 3043711 w 3503192"/>
              <a:gd name="connsiteY15216" fmla="*/ 79371 h 5818346"/>
              <a:gd name="connsiteX15217" fmla="*/ 3033058 w 3503192"/>
              <a:gd name="connsiteY15217" fmla="*/ 68716 h 5818346"/>
              <a:gd name="connsiteX15218" fmla="*/ 3033636 w 3503192"/>
              <a:gd name="connsiteY15218" fmla="*/ 68138 h 5818346"/>
              <a:gd name="connsiteX15219" fmla="*/ 3024634 w 3503192"/>
              <a:gd name="connsiteY15219" fmla="*/ 59136 h 5818346"/>
              <a:gd name="connsiteX15220" fmla="*/ 3025378 w 3503192"/>
              <a:gd name="connsiteY15220" fmla="*/ 58394 h 5818346"/>
              <a:gd name="connsiteX15221" fmla="*/ 3017036 w 3503192"/>
              <a:gd name="connsiteY15221" fmla="*/ 50051 h 5818346"/>
              <a:gd name="connsiteX15222" fmla="*/ 3018770 w 3503192"/>
              <a:gd name="connsiteY15222" fmla="*/ 48316 h 5818346"/>
              <a:gd name="connsiteX15223" fmla="*/ 3010264 w 3503192"/>
              <a:gd name="connsiteY15223" fmla="*/ 39808 h 5818346"/>
              <a:gd name="connsiteX15224" fmla="*/ 3013649 w 3503192"/>
              <a:gd name="connsiteY15224" fmla="*/ 36423 h 5818346"/>
              <a:gd name="connsiteX15225" fmla="*/ 3004318 w 3503192"/>
              <a:gd name="connsiteY15225" fmla="*/ 27090 h 5818346"/>
              <a:gd name="connsiteX15226" fmla="*/ 3015054 w 3503192"/>
              <a:gd name="connsiteY15226" fmla="*/ 16354 h 5818346"/>
              <a:gd name="connsiteX15227" fmla="*/ 3212776 w 3503192"/>
              <a:gd name="connsiteY15227" fmla="*/ 15858 h 5818346"/>
              <a:gd name="connsiteX15228" fmla="*/ 3220871 w 3503192"/>
              <a:gd name="connsiteY15228" fmla="*/ 23951 h 5818346"/>
              <a:gd name="connsiteX15229" fmla="*/ 3212776 w 3503192"/>
              <a:gd name="connsiteY15229" fmla="*/ 32046 h 5818346"/>
              <a:gd name="connsiteX15230" fmla="*/ 3204682 w 3503192"/>
              <a:gd name="connsiteY15230" fmla="*/ 23951 h 5818346"/>
              <a:gd name="connsiteX15231" fmla="*/ 3212776 w 3503192"/>
              <a:gd name="connsiteY15231" fmla="*/ 15858 h 5818346"/>
              <a:gd name="connsiteX15232" fmla="*/ 2801640 w 3503192"/>
              <a:gd name="connsiteY15232" fmla="*/ 15032 h 5818346"/>
              <a:gd name="connsiteX15233" fmla="*/ 2812376 w 3503192"/>
              <a:gd name="connsiteY15233" fmla="*/ 25769 h 5818346"/>
              <a:gd name="connsiteX15234" fmla="*/ 2804034 w 3503192"/>
              <a:gd name="connsiteY15234" fmla="*/ 34112 h 5818346"/>
              <a:gd name="connsiteX15235" fmla="*/ 2808245 w 3503192"/>
              <a:gd name="connsiteY15235" fmla="*/ 38322 h 5818346"/>
              <a:gd name="connsiteX15236" fmla="*/ 2800814 w 3503192"/>
              <a:gd name="connsiteY15236" fmla="*/ 45755 h 5818346"/>
              <a:gd name="connsiteX15237" fmla="*/ 2803457 w 3503192"/>
              <a:gd name="connsiteY15237" fmla="*/ 48398 h 5818346"/>
              <a:gd name="connsiteX15238" fmla="*/ 2796354 w 3503192"/>
              <a:gd name="connsiteY15238" fmla="*/ 55503 h 5818346"/>
              <a:gd name="connsiteX15239" fmla="*/ 2798170 w 3503192"/>
              <a:gd name="connsiteY15239" fmla="*/ 57319 h 5818346"/>
              <a:gd name="connsiteX15240" fmla="*/ 2790489 w 3503192"/>
              <a:gd name="connsiteY15240" fmla="*/ 64999 h 5818346"/>
              <a:gd name="connsiteX15241" fmla="*/ 2792223 w 3503192"/>
              <a:gd name="connsiteY15241" fmla="*/ 66733 h 5818346"/>
              <a:gd name="connsiteX15242" fmla="*/ 2783056 w 3503192"/>
              <a:gd name="connsiteY15242" fmla="*/ 75900 h 5818346"/>
              <a:gd name="connsiteX15243" fmla="*/ 2785618 w 3503192"/>
              <a:gd name="connsiteY15243" fmla="*/ 78462 h 5818346"/>
              <a:gd name="connsiteX15244" fmla="*/ 2774880 w 3503192"/>
              <a:gd name="connsiteY15244" fmla="*/ 89198 h 5818346"/>
              <a:gd name="connsiteX15245" fmla="*/ 2764143 w 3503192"/>
              <a:gd name="connsiteY15245" fmla="*/ 78462 h 5818346"/>
              <a:gd name="connsiteX15246" fmla="*/ 2773312 w 3503192"/>
              <a:gd name="connsiteY15246" fmla="*/ 69295 h 5818346"/>
              <a:gd name="connsiteX15247" fmla="*/ 2770750 w 3503192"/>
              <a:gd name="connsiteY15247" fmla="*/ 66733 h 5818346"/>
              <a:gd name="connsiteX15248" fmla="*/ 2778431 w 3503192"/>
              <a:gd name="connsiteY15248" fmla="*/ 59053 h 5818346"/>
              <a:gd name="connsiteX15249" fmla="*/ 2776697 w 3503192"/>
              <a:gd name="connsiteY15249" fmla="*/ 57319 h 5818346"/>
              <a:gd name="connsiteX15250" fmla="*/ 2783800 w 3503192"/>
              <a:gd name="connsiteY15250" fmla="*/ 50215 h 5818346"/>
              <a:gd name="connsiteX15251" fmla="*/ 2781983 w 3503192"/>
              <a:gd name="connsiteY15251" fmla="*/ 48398 h 5818346"/>
              <a:gd name="connsiteX15252" fmla="*/ 2789416 w 3503192"/>
              <a:gd name="connsiteY15252" fmla="*/ 40965 h 5818346"/>
              <a:gd name="connsiteX15253" fmla="*/ 2786772 w 3503192"/>
              <a:gd name="connsiteY15253" fmla="*/ 38322 h 5818346"/>
              <a:gd name="connsiteX15254" fmla="*/ 2795114 w 3503192"/>
              <a:gd name="connsiteY15254" fmla="*/ 29981 h 5818346"/>
              <a:gd name="connsiteX15255" fmla="*/ 2790903 w 3503192"/>
              <a:gd name="connsiteY15255" fmla="*/ 25769 h 5818346"/>
              <a:gd name="connsiteX15256" fmla="*/ 2801640 w 3503192"/>
              <a:gd name="connsiteY15256" fmla="*/ 15032 h 5818346"/>
              <a:gd name="connsiteX15257" fmla="*/ 3116310 w 3503192"/>
              <a:gd name="connsiteY15257" fmla="*/ 14207 h 5818346"/>
              <a:gd name="connsiteX15258" fmla="*/ 3127048 w 3503192"/>
              <a:gd name="connsiteY15258" fmla="*/ 24943 h 5818346"/>
              <a:gd name="connsiteX15259" fmla="*/ 3116310 w 3503192"/>
              <a:gd name="connsiteY15259" fmla="*/ 35681 h 5818346"/>
              <a:gd name="connsiteX15260" fmla="*/ 3105573 w 3503192"/>
              <a:gd name="connsiteY15260" fmla="*/ 24943 h 5818346"/>
              <a:gd name="connsiteX15261" fmla="*/ 3116310 w 3503192"/>
              <a:gd name="connsiteY15261" fmla="*/ 14207 h 5818346"/>
              <a:gd name="connsiteX15262" fmla="*/ 2699392 w 3503192"/>
              <a:gd name="connsiteY15262" fmla="*/ 11729 h 5818346"/>
              <a:gd name="connsiteX15263" fmla="*/ 2710130 w 3503192"/>
              <a:gd name="connsiteY15263" fmla="*/ 22465 h 5818346"/>
              <a:gd name="connsiteX15264" fmla="*/ 2699392 w 3503192"/>
              <a:gd name="connsiteY15264" fmla="*/ 33203 h 5818346"/>
              <a:gd name="connsiteX15265" fmla="*/ 2688656 w 3503192"/>
              <a:gd name="connsiteY15265" fmla="*/ 22465 h 5818346"/>
              <a:gd name="connsiteX15266" fmla="*/ 2699392 w 3503192"/>
              <a:gd name="connsiteY15266" fmla="*/ 11729 h 5818346"/>
              <a:gd name="connsiteX15267" fmla="*/ 2669330 w 3503192"/>
              <a:gd name="connsiteY15267" fmla="*/ 10407 h 5818346"/>
              <a:gd name="connsiteX15268" fmla="*/ 2674451 w 3503192"/>
              <a:gd name="connsiteY15268" fmla="*/ 15528 h 5818346"/>
              <a:gd name="connsiteX15269" fmla="*/ 2669330 w 3503192"/>
              <a:gd name="connsiteY15269" fmla="*/ 20649 h 5818346"/>
              <a:gd name="connsiteX15270" fmla="*/ 2664209 w 3503192"/>
              <a:gd name="connsiteY15270" fmla="*/ 15528 h 5818346"/>
              <a:gd name="connsiteX15271" fmla="*/ 2669330 w 3503192"/>
              <a:gd name="connsiteY15271" fmla="*/ 10407 h 5818346"/>
              <a:gd name="connsiteX15272" fmla="*/ 3047098 w 3503192"/>
              <a:gd name="connsiteY15272" fmla="*/ 10078 h 5818346"/>
              <a:gd name="connsiteX15273" fmla="*/ 3057834 w 3503192"/>
              <a:gd name="connsiteY15273" fmla="*/ 20814 h 5818346"/>
              <a:gd name="connsiteX15274" fmla="*/ 3047098 w 3503192"/>
              <a:gd name="connsiteY15274" fmla="*/ 31552 h 5818346"/>
              <a:gd name="connsiteX15275" fmla="*/ 3036362 w 3503192"/>
              <a:gd name="connsiteY15275" fmla="*/ 20814 h 5818346"/>
              <a:gd name="connsiteX15276" fmla="*/ 3047098 w 3503192"/>
              <a:gd name="connsiteY15276" fmla="*/ 10078 h 5818346"/>
              <a:gd name="connsiteX15277" fmla="*/ 3145546 w 3503192"/>
              <a:gd name="connsiteY15277" fmla="*/ 9582 h 5818346"/>
              <a:gd name="connsiteX15278" fmla="*/ 3153971 w 3503192"/>
              <a:gd name="connsiteY15278" fmla="*/ 18006 h 5818346"/>
              <a:gd name="connsiteX15279" fmla="*/ 3145546 w 3503192"/>
              <a:gd name="connsiteY15279" fmla="*/ 26431 h 5818346"/>
              <a:gd name="connsiteX15280" fmla="*/ 3137122 w 3503192"/>
              <a:gd name="connsiteY15280" fmla="*/ 18006 h 5818346"/>
              <a:gd name="connsiteX15281" fmla="*/ 3145546 w 3503192"/>
              <a:gd name="connsiteY15281" fmla="*/ 9582 h 5818346"/>
              <a:gd name="connsiteX15282" fmla="*/ 2768768 w 3503192"/>
              <a:gd name="connsiteY15282" fmla="*/ 8425 h 5818346"/>
              <a:gd name="connsiteX15283" fmla="*/ 2779506 w 3503192"/>
              <a:gd name="connsiteY15283" fmla="*/ 19161 h 5818346"/>
              <a:gd name="connsiteX15284" fmla="*/ 2769429 w 3503192"/>
              <a:gd name="connsiteY15284" fmla="*/ 29239 h 5818346"/>
              <a:gd name="connsiteX15285" fmla="*/ 2773888 w 3503192"/>
              <a:gd name="connsiteY15285" fmla="*/ 33697 h 5818346"/>
              <a:gd name="connsiteX15286" fmla="*/ 2765135 w 3503192"/>
              <a:gd name="connsiteY15286" fmla="*/ 42451 h 5818346"/>
              <a:gd name="connsiteX15287" fmla="*/ 2767778 w 3503192"/>
              <a:gd name="connsiteY15287" fmla="*/ 45094 h 5818346"/>
              <a:gd name="connsiteX15288" fmla="*/ 2759518 w 3503192"/>
              <a:gd name="connsiteY15288" fmla="*/ 53354 h 5818346"/>
              <a:gd name="connsiteX15289" fmla="*/ 2760675 w 3503192"/>
              <a:gd name="connsiteY15289" fmla="*/ 54511 h 5818346"/>
              <a:gd name="connsiteX15290" fmla="*/ 2752252 w 3503192"/>
              <a:gd name="connsiteY15290" fmla="*/ 62934 h 5818346"/>
              <a:gd name="connsiteX15291" fmla="*/ 2752912 w 3503192"/>
              <a:gd name="connsiteY15291" fmla="*/ 63594 h 5818346"/>
              <a:gd name="connsiteX15292" fmla="*/ 2743248 w 3503192"/>
              <a:gd name="connsiteY15292" fmla="*/ 73257 h 5818346"/>
              <a:gd name="connsiteX15293" fmla="*/ 2744156 w 3503192"/>
              <a:gd name="connsiteY15293" fmla="*/ 74166 h 5818346"/>
              <a:gd name="connsiteX15294" fmla="*/ 2733418 w 3503192"/>
              <a:gd name="connsiteY15294" fmla="*/ 84904 h 5818346"/>
              <a:gd name="connsiteX15295" fmla="*/ 2722682 w 3503192"/>
              <a:gd name="connsiteY15295" fmla="*/ 74166 h 5818346"/>
              <a:gd name="connsiteX15296" fmla="*/ 2732347 w 3503192"/>
              <a:gd name="connsiteY15296" fmla="*/ 64503 h 5818346"/>
              <a:gd name="connsiteX15297" fmla="*/ 2731438 w 3503192"/>
              <a:gd name="connsiteY15297" fmla="*/ 63594 h 5818346"/>
              <a:gd name="connsiteX15298" fmla="*/ 2739861 w 3503192"/>
              <a:gd name="connsiteY15298" fmla="*/ 55172 h 5818346"/>
              <a:gd name="connsiteX15299" fmla="*/ 2739200 w 3503192"/>
              <a:gd name="connsiteY15299" fmla="*/ 54511 h 5818346"/>
              <a:gd name="connsiteX15300" fmla="*/ 2747460 w 3503192"/>
              <a:gd name="connsiteY15300" fmla="*/ 46251 h 5818346"/>
              <a:gd name="connsiteX15301" fmla="*/ 2746304 w 3503192"/>
              <a:gd name="connsiteY15301" fmla="*/ 45094 h 5818346"/>
              <a:gd name="connsiteX15302" fmla="*/ 2755058 w 3503192"/>
              <a:gd name="connsiteY15302" fmla="*/ 36340 h 5818346"/>
              <a:gd name="connsiteX15303" fmla="*/ 2752415 w 3503192"/>
              <a:gd name="connsiteY15303" fmla="*/ 33697 h 5818346"/>
              <a:gd name="connsiteX15304" fmla="*/ 2762490 w 3503192"/>
              <a:gd name="connsiteY15304" fmla="*/ 23622 h 5818346"/>
              <a:gd name="connsiteX15305" fmla="*/ 2758032 w 3503192"/>
              <a:gd name="connsiteY15305" fmla="*/ 19161 h 5818346"/>
              <a:gd name="connsiteX15306" fmla="*/ 2768768 w 3503192"/>
              <a:gd name="connsiteY15306" fmla="*/ 8425 h 5818346"/>
              <a:gd name="connsiteX15307" fmla="*/ 2977557 w 3503192"/>
              <a:gd name="connsiteY15307" fmla="*/ 7433 h 5818346"/>
              <a:gd name="connsiteX15308" fmla="*/ 2988296 w 3503192"/>
              <a:gd name="connsiteY15308" fmla="*/ 18169 h 5818346"/>
              <a:gd name="connsiteX15309" fmla="*/ 2983091 w 3503192"/>
              <a:gd name="connsiteY15309" fmla="*/ 23374 h 5818346"/>
              <a:gd name="connsiteX15310" fmla="*/ 2992258 w 3503192"/>
              <a:gd name="connsiteY15310" fmla="*/ 32541 h 5818346"/>
              <a:gd name="connsiteX15311" fmla="*/ 2988954 w 3503192"/>
              <a:gd name="connsiteY15311" fmla="*/ 35844 h 5818346"/>
              <a:gd name="connsiteX15312" fmla="*/ 2996883 w 3503192"/>
              <a:gd name="connsiteY15312" fmla="*/ 43773 h 5818346"/>
              <a:gd name="connsiteX15313" fmla="*/ 2994820 w 3503192"/>
              <a:gd name="connsiteY15313" fmla="*/ 45838 h 5818346"/>
              <a:gd name="connsiteX15314" fmla="*/ 3002006 w 3503192"/>
              <a:gd name="connsiteY15314" fmla="*/ 53023 h 5818346"/>
              <a:gd name="connsiteX15315" fmla="*/ 3000435 w 3503192"/>
              <a:gd name="connsiteY15315" fmla="*/ 54594 h 5818346"/>
              <a:gd name="connsiteX15316" fmla="*/ 3007786 w 3503192"/>
              <a:gd name="connsiteY15316" fmla="*/ 61944 h 5818346"/>
              <a:gd name="connsiteX15317" fmla="*/ 3005887 w 3503192"/>
              <a:gd name="connsiteY15317" fmla="*/ 63844 h 5818346"/>
              <a:gd name="connsiteX15318" fmla="*/ 3014228 w 3503192"/>
              <a:gd name="connsiteY15318" fmla="*/ 72184 h 5818346"/>
              <a:gd name="connsiteX15319" fmla="*/ 3010925 w 3503192"/>
              <a:gd name="connsiteY15319" fmla="*/ 75489 h 5818346"/>
              <a:gd name="connsiteX15320" fmla="*/ 3021332 w 3503192"/>
              <a:gd name="connsiteY15320" fmla="*/ 85894 h 5818346"/>
              <a:gd name="connsiteX15321" fmla="*/ 3010594 w 3503192"/>
              <a:gd name="connsiteY15321" fmla="*/ 96633 h 5818346"/>
              <a:gd name="connsiteX15322" fmla="*/ 2999857 w 3503192"/>
              <a:gd name="connsiteY15322" fmla="*/ 85894 h 5818346"/>
              <a:gd name="connsiteX15323" fmla="*/ 3003161 w 3503192"/>
              <a:gd name="connsiteY15323" fmla="*/ 82593 h 5818346"/>
              <a:gd name="connsiteX15324" fmla="*/ 2992754 w 3503192"/>
              <a:gd name="connsiteY15324" fmla="*/ 72184 h 5818346"/>
              <a:gd name="connsiteX15325" fmla="*/ 2994653 w 3503192"/>
              <a:gd name="connsiteY15325" fmla="*/ 70287 h 5818346"/>
              <a:gd name="connsiteX15326" fmla="*/ 2986312 w 3503192"/>
              <a:gd name="connsiteY15326" fmla="*/ 61944 h 5818346"/>
              <a:gd name="connsiteX15327" fmla="*/ 2987881 w 3503192"/>
              <a:gd name="connsiteY15327" fmla="*/ 60374 h 5818346"/>
              <a:gd name="connsiteX15328" fmla="*/ 2980532 w 3503192"/>
              <a:gd name="connsiteY15328" fmla="*/ 53023 h 5818346"/>
              <a:gd name="connsiteX15329" fmla="*/ 2982595 w 3503192"/>
              <a:gd name="connsiteY15329" fmla="*/ 50959 h 5818346"/>
              <a:gd name="connsiteX15330" fmla="*/ 2975410 w 3503192"/>
              <a:gd name="connsiteY15330" fmla="*/ 43773 h 5818346"/>
              <a:gd name="connsiteX15331" fmla="*/ 2978714 w 3503192"/>
              <a:gd name="connsiteY15331" fmla="*/ 40469 h 5818346"/>
              <a:gd name="connsiteX15332" fmla="*/ 2970785 w 3503192"/>
              <a:gd name="connsiteY15332" fmla="*/ 32541 h 5818346"/>
              <a:gd name="connsiteX15333" fmla="*/ 2975988 w 3503192"/>
              <a:gd name="connsiteY15333" fmla="*/ 27338 h 5818346"/>
              <a:gd name="connsiteX15334" fmla="*/ 2966821 w 3503192"/>
              <a:gd name="connsiteY15334" fmla="*/ 18169 h 5818346"/>
              <a:gd name="connsiteX15335" fmla="*/ 2977557 w 3503192"/>
              <a:gd name="connsiteY15335" fmla="*/ 7433 h 5818346"/>
              <a:gd name="connsiteX15336" fmla="*/ 2838309 w 3503192"/>
              <a:gd name="connsiteY15336" fmla="*/ 6607 h 5818346"/>
              <a:gd name="connsiteX15337" fmla="*/ 2849047 w 3503192"/>
              <a:gd name="connsiteY15337" fmla="*/ 17344 h 5818346"/>
              <a:gd name="connsiteX15338" fmla="*/ 2840704 w 3503192"/>
              <a:gd name="connsiteY15338" fmla="*/ 25687 h 5818346"/>
              <a:gd name="connsiteX15339" fmla="*/ 2846734 w 3503192"/>
              <a:gd name="connsiteY15339" fmla="*/ 31715 h 5818346"/>
              <a:gd name="connsiteX15340" fmla="*/ 2839878 w 3503192"/>
              <a:gd name="connsiteY15340" fmla="*/ 38570 h 5818346"/>
              <a:gd name="connsiteX15341" fmla="*/ 2844091 w 3503192"/>
              <a:gd name="connsiteY15341" fmla="*/ 42783 h 5818346"/>
              <a:gd name="connsiteX15342" fmla="*/ 2838063 w 3503192"/>
              <a:gd name="connsiteY15342" fmla="*/ 48812 h 5818346"/>
              <a:gd name="connsiteX15343" fmla="*/ 2841118 w 3503192"/>
              <a:gd name="connsiteY15343" fmla="*/ 51868 h 5818346"/>
              <a:gd name="connsiteX15344" fmla="*/ 2835089 w 3503192"/>
              <a:gd name="connsiteY15344" fmla="*/ 57898 h 5818346"/>
              <a:gd name="connsiteX15345" fmla="*/ 2837815 w 3503192"/>
              <a:gd name="connsiteY15345" fmla="*/ 60622 h 5818346"/>
              <a:gd name="connsiteX15346" fmla="*/ 2830795 w 3503192"/>
              <a:gd name="connsiteY15346" fmla="*/ 67642 h 5818346"/>
              <a:gd name="connsiteX15347" fmla="*/ 2834015 w 3503192"/>
              <a:gd name="connsiteY15347" fmla="*/ 70863 h 5818346"/>
              <a:gd name="connsiteX15348" fmla="*/ 2825176 w 3503192"/>
              <a:gd name="connsiteY15348" fmla="*/ 79700 h 5818346"/>
              <a:gd name="connsiteX15349" fmla="*/ 2829886 w 3503192"/>
              <a:gd name="connsiteY15349" fmla="*/ 84408 h 5818346"/>
              <a:gd name="connsiteX15350" fmla="*/ 2819148 w 3503192"/>
              <a:gd name="connsiteY15350" fmla="*/ 95146 h 5818346"/>
              <a:gd name="connsiteX15351" fmla="*/ 2808412 w 3503192"/>
              <a:gd name="connsiteY15351" fmla="*/ 84408 h 5818346"/>
              <a:gd name="connsiteX15352" fmla="*/ 2817249 w 3503192"/>
              <a:gd name="connsiteY15352" fmla="*/ 75571 h 5818346"/>
              <a:gd name="connsiteX15353" fmla="*/ 2812541 w 3503192"/>
              <a:gd name="connsiteY15353" fmla="*/ 70863 h 5818346"/>
              <a:gd name="connsiteX15354" fmla="*/ 2819561 w 3503192"/>
              <a:gd name="connsiteY15354" fmla="*/ 63843 h 5818346"/>
              <a:gd name="connsiteX15355" fmla="*/ 2816340 w 3503192"/>
              <a:gd name="connsiteY15355" fmla="*/ 60622 h 5818346"/>
              <a:gd name="connsiteX15356" fmla="*/ 2822368 w 3503192"/>
              <a:gd name="connsiteY15356" fmla="*/ 54594 h 5818346"/>
              <a:gd name="connsiteX15357" fmla="*/ 2819644 w 3503192"/>
              <a:gd name="connsiteY15357" fmla="*/ 51868 h 5818346"/>
              <a:gd name="connsiteX15358" fmla="*/ 2825674 w 3503192"/>
              <a:gd name="connsiteY15358" fmla="*/ 45838 h 5818346"/>
              <a:gd name="connsiteX15359" fmla="*/ 2822618 w 3503192"/>
              <a:gd name="connsiteY15359" fmla="*/ 42783 h 5818346"/>
              <a:gd name="connsiteX15360" fmla="*/ 2829472 w 3503192"/>
              <a:gd name="connsiteY15360" fmla="*/ 35929 h 5818346"/>
              <a:gd name="connsiteX15361" fmla="*/ 2825259 w 3503192"/>
              <a:gd name="connsiteY15361" fmla="*/ 31715 h 5818346"/>
              <a:gd name="connsiteX15362" fmla="*/ 2833601 w 3503192"/>
              <a:gd name="connsiteY15362" fmla="*/ 23374 h 5818346"/>
              <a:gd name="connsiteX15363" fmla="*/ 2827573 w 3503192"/>
              <a:gd name="connsiteY15363" fmla="*/ 17344 h 5818346"/>
              <a:gd name="connsiteX15364" fmla="*/ 2838309 w 3503192"/>
              <a:gd name="connsiteY15364" fmla="*/ 6607 h 5818346"/>
              <a:gd name="connsiteX15365" fmla="*/ 2908015 w 3503192"/>
              <a:gd name="connsiteY15365" fmla="*/ 6278 h 5818346"/>
              <a:gd name="connsiteX15366" fmla="*/ 2918753 w 3503192"/>
              <a:gd name="connsiteY15366" fmla="*/ 17014 h 5818346"/>
              <a:gd name="connsiteX15367" fmla="*/ 2912064 w 3503192"/>
              <a:gd name="connsiteY15367" fmla="*/ 23703 h 5818346"/>
              <a:gd name="connsiteX15368" fmla="*/ 2919580 w 3503192"/>
              <a:gd name="connsiteY15368" fmla="*/ 31219 h 5818346"/>
              <a:gd name="connsiteX15369" fmla="*/ 2914540 w 3503192"/>
              <a:gd name="connsiteY15369" fmla="*/ 36259 h 5818346"/>
              <a:gd name="connsiteX15370" fmla="*/ 2920570 w 3503192"/>
              <a:gd name="connsiteY15370" fmla="*/ 42287 h 5818346"/>
              <a:gd name="connsiteX15371" fmla="*/ 2916522 w 3503192"/>
              <a:gd name="connsiteY15371" fmla="*/ 46334 h 5818346"/>
              <a:gd name="connsiteX15372" fmla="*/ 2921560 w 3503192"/>
              <a:gd name="connsiteY15372" fmla="*/ 51372 h 5818346"/>
              <a:gd name="connsiteX15373" fmla="*/ 2917844 w 3503192"/>
              <a:gd name="connsiteY15373" fmla="*/ 55088 h 5818346"/>
              <a:gd name="connsiteX15374" fmla="*/ 2922884 w 3503192"/>
              <a:gd name="connsiteY15374" fmla="*/ 60126 h 5818346"/>
              <a:gd name="connsiteX15375" fmla="*/ 2918506 w 3503192"/>
              <a:gd name="connsiteY15375" fmla="*/ 64503 h 5818346"/>
              <a:gd name="connsiteX15376" fmla="*/ 2924205 w 3503192"/>
              <a:gd name="connsiteY15376" fmla="*/ 70202 h 5818346"/>
              <a:gd name="connsiteX15377" fmla="*/ 2918257 w 3503192"/>
              <a:gd name="connsiteY15377" fmla="*/ 76150 h 5818346"/>
              <a:gd name="connsiteX15378" fmla="*/ 2925690 w 3503192"/>
              <a:gd name="connsiteY15378" fmla="*/ 83583 h 5818346"/>
              <a:gd name="connsiteX15379" fmla="*/ 2916935 w 3503192"/>
              <a:gd name="connsiteY15379" fmla="*/ 92337 h 5818346"/>
              <a:gd name="connsiteX15380" fmla="*/ 2927342 w 3503192"/>
              <a:gd name="connsiteY15380" fmla="*/ 102742 h 5818346"/>
              <a:gd name="connsiteX15381" fmla="*/ 2916604 w 3503192"/>
              <a:gd name="connsiteY15381" fmla="*/ 113480 h 5818346"/>
              <a:gd name="connsiteX15382" fmla="*/ 2905868 w 3503192"/>
              <a:gd name="connsiteY15382" fmla="*/ 102742 h 5818346"/>
              <a:gd name="connsiteX15383" fmla="*/ 2914622 w 3503192"/>
              <a:gd name="connsiteY15383" fmla="*/ 93988 h 5818346"/>
              <a:gd name="connsiteX15384" fmla="*/ 2904217 w 3503192"/>
              <a:gd name="connsiteY15384" fmla="*/ 83583 h 5818346"/>
              <a:gd name="connsiteX15385" fmla="*/ 2910163 w 3503192"/>
              <a:gd name="connsiteY15385" fmla="*/ 77636 h 5818346"/>
              <a:gd name="connsiteX15386" fmla="*/ 2902730 w 3503192"/>
              <a:gd name="connsiteY15386" fmla="*/ 70202 h 5818346"/>
              <a:gd name="connsiteX15387" fmla="*/ 2907108 w 3503192"/>
              <a:gd name="connsiteY15387" fmla="*/ 65825 h 5818346"/>
              <a:gd name="connsiteX15388" fmla="*/ 2901409 w 3503192"/>
              <a:gd name="connsiteY15388" fmla="*/ 60126 h 5818346"/>
              <a:gd name="connsiteX15389" fmla="*/ 2905126 w 3503192"/>
              <a:gd name="connsiteY15389" fmla="*/ 56410 h 5818346"/>
              <a:gd name="connsiteX15390" fmla="*/ 2900088 w 3503192"/>
              <a:gd name="connsiteY15390" fmla="*/ 51372 h 5818346"/>
              <a:gd name="connsiteX15391" fmla="*/ 2904134 w 3503192"/>
              <a:gd name="connsiteY15391" fmla="*/ 47326 h 5818346"/>
              <a:gd name="connsiteX15392" fmla="*/ 2899096 w 3503192"/>
              <a:gd name="connsiteY15392" fmla="*/ 42287 h 5818346"/>
              <a:gd name="connsiteX15393" fmla="*/ 2904134 w 3503192"/>
              <a:gd name="connsiteY15393" fmla="*/ 37249 h 5818346"/>
              <a:gd name="connsiteX15394" fmla="*/ 2898106 w 3503192"/>
              <a:gd name="connsiteY15394" fmla="*/ 31219 h 5818346"/>
              <a:gd name="connsiteX15395" fmla="*/ 2904794 w 3503192"/>
              <a:gd name="connsiteY15395" fmla="*/ 24530 h 5818346"/>
              <a:gd name="connsiteX15396" fmla="*/ 2897278 w 3503192"/>
              <a:gd name="connsiteY15396" fmla="*/ 17014 h 5818346"/>
              <a:gd name="connsiteX15397" fmla="*/ 2908015 w 3503192"/>
              <a:gd name="connsiteY15397" fmla="*/ 6278 h 5818346"/>
              <a:gd name="connsiteX15398" fmla="*/ 2737220 w 3503192"/>
              <a:gd name="connsiteY15398" fmla="*/ 5451 h 5818346"/>
              <a:gd name="connsiteX15399" fmla="*/ 2743496 w 3503192"/>
              <a:gd name="connsiteY15399" fmla="*/ 11729 h 5818346"/>
              <a:gd name="connsiteX15400" fmla="*/ 2737220 w 3503192"/>
              <a:gd name="connsiteY15400" fmla="*/ 18005 h 5818346"/>
              <a:gd name="connsiteX15401" fmla="*/ 2730942 w 3503192"/>
              <a:gd name="connsiteY15401" fmla="*/ 11729 h 5818346"/>
              <a:gd name="connsiteX15402" fmla="*/ 2737220 w 3503192"/>
              <a:gd name="connsiteY15402" fmla="*/ 5451 h 5818346"/>
              <a:gd name="connsiteX15403" fmla="*/ 3077823 w 3503192"/>
              <a:gd name="connsiteY15403" fmla="*/ 5121 h 5818346"/>
              <a:gd name="connsiteX15404" fmla="*/ 3086246 w 3503192"/>
              <a:gd name="connsiteY15404" fmla="*/ 13546 h 5818346"/>
              <a:gd name="connsiteX15405" fmla="*/ 3077823 w 3503192"/>
              <a:gd name="connsiteY15405" fmla="*/ 21971 h 5818346"/>
              <a:gd name="connsiteX15406" fmla="*/ 3069398 w 3503192"/>
              <a:gd name="connsiteY15406" fmla="*/ 13546 h 5818346"/>
              <a:gd name="connsiteX15407" fmla="*/ 3077823 w 3503192"/>
              <a:gd name="connsiteY15407" fmla="*/ 5121 h 5818346"/>
              <a:gd name="connsiteX15408" fmla="*/ 3009768 w 3503192"/>
              <a:gd name="connsiteY15408" fmla="*/ 1982 h 5818346"/>
              <a:gd name="connsiteX15409" fmla="*/ 3018193 w 3503192"/>
              <a:gd name="connsiteY15409" fmla="*/ 10407 h 5818346"/>
              <a:gd name="connsiteX15410" fmla="*/ 3009768 w 3503192"/>
              <a:gd name="connsiteY15410" fmla="*/ 18832 h 5818346"/>
              <a:gd name="connsiteX15411" fmla="*/ 3001344 w 3503192"/>
              <a:gd name="connsiteY15411" fmla="*/ 10407 h 5818346"/>
              <a:gd name="connsiteX15412" fmla="*/ 3009768 w 3503192"/>
              <a:gd name="connsiteY15412" fmla="*/ 1982 h 5818346"/>
              <a:gd name="connsiteX15413" fmla="*/ 2805273 w 3503192"/>
              <a:gd name="connsiteY15413" fmla="*/ 1982 h 5818346"/>
              <a:gd name="connsiteX15414" fmla="*/ 2812706 w 3503192"/>
              <a:gd name="connsiteY15414" fmla="*/ 9415 h 5818346"/>
              <a:gd name="connsiteX15415" fmla="*/ 2805273 w 3503192"/>
              <a:gd name="connsiteY15415" fmla="*/ 16850 h 5818346"/>
              <a:gd name="connsiteX15416" fmla="*/ 2797840 w 3503192"/>
              <a:gd name="connsiteY15416" fmla="*/ 9415 h 5818346"/>
              <a:gd name="connsiteX15417" fmla="*/ 2805273 w 3503192"/>
              <a:gd name="connsiteY15417" fmla="*/ 1982 h 5818346"/>
              <a:gd name="connsiteX15418" fmla="*/ 2941714 w 3503192"/>
              <a:gd name="connsiteY15418" fmla="*/ 167 h 5818346"/>
              <a:gd name="connsiteX15419" fmla="*/ 2950138 w 3503192"/>
              <a:gd name="connsiteY15419" fmla="*/ 8591 h 5818346"/>
              <a:gd name="connsiteX15420" fmla="*/ 2944192 w 3503192"/>
              <a:gd name="connsiteY15420" fmla="*/ 14538 h 5818346"/>
              <a:gd name="connsiteX15421" fmla="*/ 2954763 w 3503192"/>
              <a:gd name="connsiteY15421" fmla="*/ 25108 h 5818346"/>
              <a:gd name="connsiteX15422" fmla="*/ 2949807 w 3503192"/>
              <a:gd name="connsiteY15422" fmla="*/ 30064 h 5818346"/>
              <a:gd name="connsiteX15423" fmla="*/ 2957241 w 3503192"/>
              <a:gd name="connsiteY15423" fmla="*/ 37497 h 5818346"/>
              <a:gd name="connsiteX15424" fmla="*/ 2953690 w 3503192"/>
              <a:gd name="connsiteY15424" fmla="*/ 41048 h 5818346"/>
              <a:gd name="connsiteX15425" fmla="*/ 2960214 w 3503192"/>
              <a:gd name="connsiteY15425" fmla="*/ 47572 h 5818346"/>
              <a:gd name="connsiteX15426" fmla="*/ 2957488 w 3503192"/>
              <a:gd name="connsiteY15426" fmla="*/ 50299 h 5818346"/>
              <a:gd name="connsiteX15427" fmla="*/ 2963517 w 3503192"/>
              <a:gd name="connsiteY15427" fmla="*/ 56327 h 5818346"/>
              <a:gd name="connsiteX15428" fmla="*/ 2960710 w 3503192"/>
              <a:gd name="connsiteY15428" fmla="*/ 59134 h 5818346"/>
              <a:gd name="connsiteX15429" fmla="*/ 2967152 w 3503192"/>
              <a:gd name="connsiteY15429" fmla="*/ 65577 h 5818346"/>
              <a:gd name="connsiteX15430" fmla="*/ 2963434 w 3503192"/>
              <a:gd name="connsiteY15430" fmla="*/ 69295 h 5818346"/>
              <a:gd name="connsiteX15431" fmla="*/ 2971281 w 3503192"/>
              <a:gd name="connsiteY15431" fmla="*/ 77140 h 5818346"/>
              <a:gd name="connsiteX15432" fmla="*/ 2965581 w 3503192"/>
              <a:gd name="connsiteY15432" fmla="*/ 82839 h 5818346"/>
              <a:gd name="connsiteX15433" fmla="*/ 2975906 w 3503192"/>
              <a:gd name="connsiteY15433" fmla="*/ 93162 h 5818346"/>
              <a:gd name="connsiteX15434" fmla="*/ 2965168 w 3503192"/>
              <a:gd name="connsiteY15434" fmla="*/ 103901 h 5818346"/>
              <a:gd name="connsiteX15435" fmla="*/ 2954432 w 3503192"/>
              <a:gd name="connsiteY15435" fmla="*/ 93162 h 5818346"/>
              <a:gd name="connsiteX15436" fmla="*/ 2960130 w 3503192"/>
              <a:gd name="connsiteY15436" fmla="*/ 87464 h 5818346"/>
              <a:gd name="connsiteX15437" fmla="*/ 2949807 w 3503192"/>
              <a:gd name="connsiteY15437" fmla="*/ 77140 h 5818346"/>
              <a:gd name="connsiteX15438" fmla="*/ 2953523 w 3503192"/>
              <a:gd name="connsiteY15438" fmla="*/ 73424 h 5818346"/>
              <a:gd name="connsiteX15439" fmla="*/ 2945678 w 3503192"/>
              <a:gd name="connsiteY15439" fmla="*/ 65577 h 5818346"/>
              <a:gd name="connsiteX15440" fmla="*/ 2948486 w 3503192"/>
              <a:gd name="connsiteY15440" fmla="*/ 62769 h 5818346"/>
              <a:gd name="connsiteX15441" fmla="*/ 2942043 w 3503192"/>
              <a:gd name="connsiteY15441" fmla="*/ 56327 h 5818346"/>
              <a:gd name="connsiteX15442" fmla="*/ 2944767 w 3503192"/>
              <a:gd name="connsiteY15442" fmla="*/ 53602 h 5818346"/>
              <a:gd name="connsiteX15443" fmla="*/ 2938739 w 3503192"/>
              <a:gd name="connsiteY15443" fmla="*/ 47572 h 5818346"/>
              <a:gd name="connsiteX15444" fmla="*/ 2942291 w 3503192"/>
              <a:gd name="connsiteY15444" fmla="*/ 44021 h 5818346"/>
              <a:gd name="connsiteX15445" fmla="*/ 2935767 w 3503192"/>
              <a:gd name="connsiteY15445" fmla="*/ 37497 h 5818346"/>
              <a:gd name="connsiteX15446" fmla="*/ 2940722 w 3503192"/>
              <a:gd name="connsiteY15446" fmla="*/ 32542 h 5818346"/>
              <a:gd name="connsiteX15447" fmla="*/ 2933289 w 3503192"/>
              <a:gd name="connsiteY15447" fmla="*/ 25108 h 5818346"/>
              <a:gd name="connsiteX15448" fmla="*/ 2941547 w 3503192"/>
              <a:gd name="connsiteY15448" fmla="*/ 16850 h 5818346"/>
              <a:gd name="connsiteX15449" fmla="*/ 2933289 w 3503192"/>
              <a:gd name="connsiteY15449" fmla="*/ 8591 h 5818346"/>
              <a:gd name="connsiteX15450" fmla="*/ 2941714 w 3503192"/>
              <a:gd name="connsiteY15450" fmla="*/ 167 h 5818346"/>
              <a:gd name="connsiteX15451" fmla="*/ 2873494 w 3503192"/>
              <a:gd name="connsiteY15451" fmla="*/ 0 h 5818346"/>
              <a:gd name="connsiteX15452" fmla="*/ 2881752 w 3503192"/>
              <a:gd name="connsiteY15452" fmla="*/ 8260 h 5818346"/>
              <a:gd name="connsiteX15453" fmla="*/ 2874484 w 3503192"/>
              <a:gd name="connsiteY15453" fmla="*/ 15528 h 5818346"/>
              <a:gd name="connsiteX15454" fmla="*/ 2883570 w 3503192"/>
              <a:gd name="connsiteY15454" fmla="*/ 24612 h 5818346"/>
              <a:gd name="connsiteX15455" fmla="*/ 2876962 w 3503192"/>
              <a:gd name="connsiteY15455" fmla="*/ 31219 h 5818346"/>
              <a:gd name="connsiteX15456" fmla="*/ 2882744 w 3503192"/>
              <a:gd name="connsiteY15456" fmla="*/ 37001 h 5818346"/>
              <a:gd name="connsiteX15457" fmla="*/ 2877294 w 3503192"/>
              <a:gd name="connsiteY15457" fmla="*/ 42451 h 5818346"/>
              <a:gd name="connsiteX15458" fmla="*/ 2881754 w 3503192"/>
              <a:gd name="connsiteY15458" fmla="*/ 46912 h 5818346"/>
              <a:gd name="connsiteX15459" fmla="*/ 2876881 w 3503192"/>
              <a:gd name="connsiteY15459" fmla="*/ 51787 h 5818346"/>
              <a:gd name="connsiteX15460" fmla="*/ 2880760 w 3503192"/>
              <a:gd name="connsiteY15460" fmla="*/ 55666 h 5818346"/>
              <a:gd name="connsiteX15461" fmla="*/ 2875641 w 3503192"/>
              <a:gd name="connsiteY15461" fmla="*/ 60787 h 5818346"/>
              <a:gd name="connsiteX15462" fmla="*/ 2879770 w 3503192"/>
              <a:gd name="connsiteY15462" fmla="*/ 64916 h 5818346"/>
              <a:gd name="connsiteX15463" fmla="*/ 2873411 w 3503192"/>
              <a:gd name="connsiteY15463" fmla="*/ 71277 h 5818346"/>
              <a:gd name="connsiteX15464" fmla="*/ 2878448 w 3503192"/>
              <a:gd name="connsiteY15464" fmla="*/ 76315 h 5818346"/>
              <a:gd name="connsiteX15465" fmla="*/ 2869778 w 3503192"/>
              <a:gd name="connsiteY15465" fmla="*/ 84988 h 5818346"/>
              <a:gd name="connsiteX15466" fmla="*/ 2877127 w 3503192"/>
              <a:gd name="connsiteY15466" fmla="*/ 92337 h 5818346"/>
              <a:gd name="connsiteX15467" fmla="*/ 2866391 w 3503192"/>
              <a:gd name="connsiteY15467" fmla="*/ 103075 h 5818346"/>
              <a:gd name="connsiteX15468" fmla="*/ 2855654 w 3503192"/>
              <a:gd name="connsiteY15468" fmla="*/ 92337 h 5818346"/>
              <a:gd name="connsiteX15469" fmla="*/ 2864325 w 3503192"/>
              <a:gd name="connsiteY15469" fmla="*/ 83666 h 5818346"/>
              <a:gd name="connsiteX15470" fmla="*/ 2856976 w 3503192"/>
              <a:gd name="connsiteY15470" fmla="*/ 76315 h 5818346"/>
              <a:gd name="connsiteX15471" fmla="*/ 2863335 w 3503192"/>
              <a:gd name="connsiteY15471" fmla="*/ 69956 h 5818346"/>
              <a:gd name="connsiteX15472" fmla="*/ 2858296 w 3503192"/>
              <a:gd name="connsiteY15472" fmla="*/ 64916 h 5818346"/>
              <a:gd name="connsiteX15473" fmla="*/ 2863416 w 3503192"/>
              <a:gd name="connsiteY15473" fmla="*/ 59795 h 5818346"/>
              <a:gd name="connsiteX15474" fmla="*/ 2859288 w 3503192"/>
              <a:gd name="connsiteY15474" fmla="*/ 55666 h 5818346"/>
              <a:gd name="connsiteX15475" fmla="*/ 2864160 w 3503192"/>
              <a:gd name="connsiteY15475" fmla="*/ 50793 h 5818346"/>
              <a:gd name="connsiteX15476" fmla="*/ 2860280 w 3503192"/>
              <a:gd name="connsiteY15476" fmla="*/ 46912 h 5818346"/>
              <a:gd name="connsiteX15477" fmla="*/ 2865730 w 3503192"/>
              <a:gd name="connsiteY15477" fmla="*/ 41461 h 5818346"/>
              <a:gd name="connsiteX15478" fmla="*/ 2861270 w 3503192"/>
              <a:gd name="connsiteY15478" fmla="*/ 37001 h 5818346"/>
              <a:gd name="connsiteX15479" fmla="*/ 2867877 w 3503192"/>
              <a:gd name="connsiteY15479" fmla="*/ 30394 h 5818346"/>
              <a:gd name="connsiteX15480" fmla="*/ 2862095 w 3503192"/>
              <a:gd name="connsiteY15480" fmla="*/ 24612 h 5818346"/>
              <a:gd name="connsiteX15481" fmla="*/ 2871841 w 3503192"/>
              <a:gd name="connsiteY15481" fmla="*/ 14866 h 5818346"/>
              <a:gd name="connsiteX15482" fmla="*/ 2865234 w 3503192"/>
              <a:gd name="connsiteY15482" fmla="*/ 8260 h 5818346"/>
              <a:gd name="connsiteX15483" fmla="*/ 2873494 w 3503192"/>
              <a:gd name="connsiteY15483" fmla="*/ 0 h 5818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 ang="0">
                <a:pos x="connsiteX5218" y="connsiteY5218"/>
              </a:cxn>
              <a:cxn ang="0">
                <a:pos x="connsiteX5219" y="connsiteY5219"/>
              </a:cxn>
              <a:cxn ang="0">
                <a:pos x="connsiteX5220" y="connsiteY5220"/>
              </a:cxn>
              <a:cxn ang="0">
                <a:pos x="connsiteX5221" y="connsiteY5221"/>
              </a:cxn>
              <a:cxn ang="0">
                <a:pos x="connsiteX5222" y="connsiteY5222"/>
              </a:cxn>
              <a:cxn ang="0">
                <a:pos x="connsiteX5223" y="connsiteY5223"/>
              </a:cxn>
              <a:cxn ang="0">
                <a:pos x="connsiteX5224" y="connsiteY5224"/>
              </a:cxn>
              <a:cxn ang="0">
                <a:pos x="connsiteX5225" y="connsiteY5225"/>
              </a:cxn>
              <a:cxn ang="0">
                <a:pos x="connsiteX5226" y="connsiteY5226"/>
              </a:cxn>
              <a:cxn ang="0">
                <a:pos x="connsiteX5227" y="connsiteY5227"/>
              </a:cxn>
              <a:cxn ang="0">
                <a:pos x="connsiteX5228" y="connsiteY5228"/>
              </a:cxn>
              <a:cxn ang="0">
                <a:pos x="connsiteX5229" y="connsiteY5229"/>
              </a:cxn>
              <a:cxn ang="0">
                <a:pos x="connsiteX5230" y="connsiteY5230"/>
              </a:cxn>
              <a:cxn ang="0">
                <a:pos x="connsiteX5231" y="connsiteY5231"/>
              </a:cxn>
              <a:cxn ang="0">
                <a:pos x="connsiteX5232" y="connsiteY5232"/>
              </a:cxn>
              <a:cxn ang="0">
                <a:pos x="connsiteX5233" y="connsiteY5233"/>
              </a:cxn>
              <a:cxn ang="0">
                <a:pos x="connsiteX5234" y="connsiteY5234"/>
              </a:cxn>
              <a:cxn ang="0">
                <a:pos x="connsiteX5235" y="connsiteY5235"/>
              </a:cxn>
              <a:cxn ang="0">
                <a:pos x="connsiteX5236" y="connsiteY5236"/>
              </a:cxn>
              <a:cxn ang="0">
                <a:pos x="connsiteX5237" y="connsiteY5237"/>
              </a:cxn>
              <a:cxn ang="0">
                <a:pos x="connsiteX5238" y="connsiteY5238"/>
              </a:cxn>
              <a:cxn ang="0">
                <a:pos x="connsiteX5239" y="connsiteY5239"/>
              </a:cxn>
              <a:cxn ang="0">
                <a:pos x="connsiteX5240" y="connsiteY5240"/>
              </a:cxn>
              <a:cxn ang="0">
                <a:pos x="connsiteX5241" y="connsiteY5241"/>
              </a:cxn>
              <a:cxn ang="0">
                <a:pos x="connsiteX5242" y="connsiteY5242"/>
              </a:cxn>
              <a:cxn ang="0">
                <a:pos x="connsiteX5243" y="connsiteY5243"/>
              </a:cxn>
              <a:cxn ang="0">
                <a:pos x="connsiteX5244" y="connsiteY5244"/>
              </a:cxn>
              <a:cxn ang="0">
                <a:pos x="connsiteX5245" y="connsiteY5245"/>
              </a:cxn>
              <a:cxn ang="0">
                <a:pos x="connsiteX5246" y="connsiteY5246"/>
              </a:cxn>
              <a:cxn ang="0">
                <a:pos x="connsiteX5247" y="connsiteY5247"/>
              </a:cxn>
              <a:cxn ang="0">
                <a:pos x="connsiteX5248" y="connsiteY5248"/>
              </a:cxn>
              <a:cxn ang="0">
                <a:pos x="connsiteX5249" y="connsiteY5249"/>
              </a:cxn>
              <a:cxn ang="0">
                <a:pos x="connsiteX5250" y="connsiteY5250"/>
              </a:cxn>
              <a:cxn ang="0">
                <a:pos x="connsiteX5251" y="connsiteY5251"/>
              </a:cxn>
              <a:cxn ang="0">
                <a:pos x="connsiteX5252" y="connsiteY5252"/>
              </a:cxn>
              <a:cxn ang="0">
                <a:pos x="connsiteX5253" y="connsiteY5253"/>
              </a:cxn>
              <a:cxn ang="0">
                <a:pos x="connsiteX5254" y="connsiteY5254"/>
              </a:cxn>
              <a:cxn ang="0">
                <a:pos x="connsiteX5255" y="connsiteY5255"/>
              </a:cxn>
              <a:cxn ang="0">
                <a:pos x="connsiteX5256" y="connsiteY5256"/>
              </a:cxn>
              <a:cxn ang="0">
                <a:pos x="connsiteX5257" y="connsiteY5257"/>
              </a:cxn>
              <a:cxn ang="0">
                <a:pos x="connsiteX5258" y="connsiteY5258"/>
              </a:cxn>
              <a:cxn ang="0">
                <a:pos x="connsiteX5259" y="connsiteY5259"/>
              </a:cxn>
              <a:cxn ang="0">
                <a:pos x="connsiteX5260" y="connsiteY5260"/>
              </a:cxn>
              <a:cxn ang="0">
                <a:pos x="connsiteX5261" y="connsiteY5261"/>
              </a:cxn>
              <a:cxn ang="0">
                <a:pos x="connsiteX5262" y="connsiteY5262"/>
              </a:cxn>
              <a:cxn ang="0">
                <a:pos x="connsiteX5263" y="connsiteY5263"/>
              </a:cxn>
              <a:cxn ang="0">
                <a:pos x="connsiteX5264" y="connsiteY5264"/>
              </a:cxn>
              <a:cxn ang="0">
                <a:pos x="connsiteX5265" y="connsiteY5265"/>
              </a:cxn>
              <a:cxn ang="0">
                <a:pos x="connsiteX5266" y="connsiteY5266"/>
              </a:cxn>
              <a:cxn ang="0">
                <a:pos x="connsiteX5267" y="connsiteY5267"/>
              </a:cxn>
              <a:cxn ang="0">
                <a:pos x="connsiteX5268" y="connsiteY5268"/>
              </a:cxn>
              <a:cxn ang="0">
                <a:pos x="connsiteX5269" y="connsiteY5269"/>
              </a:cxn>
              <a:cxn ang="0">
                <a:pos x="connsiteX5270" y="connsiteY5270"/>
              </a:cxn>
              <a:cxn ang="0">
                <a:pos x="connsiteX5271" y="connsiteY5271"/>
              </a:cxn>
              <a:cxn ang="0">
                <a:pos x="connsiteX5272" y="connsiteY5272"/>
              </a:cxn>
              <a:cxn ang="0">
                <a:pos x="connsiteX5273" y="connsiteY5273"/>
              </a:cxn>
              <a:cxn ang="0">
                <a:pos x="connsiteX5274" y="connsiteY5274"/>
              </a:cxn>
              <a:cxn ang="0">
                <a:pos x="connsiteX5275" y="connsiteY5275"/>
              </a:cxn>
              <a:cxn ang="0">
                <a:pos x="connsiteX5276" y="connsiteY5276"/>
              </a:cxn>
              <a:cxn ang="0">
                <a:pos x="connsiteX5277" y="connsiteY5277"/>
              </a:cxn>
              <a:cxn ang="0">
                <a:pos x="connsiteX5278" y="connsiteY5278"/>
              </a:cxn>
              <a:cxn ang="0">
                <a:pos x="connsiteX5279" y="connsiteY5279"/>
              </a:cxn>
              <a:cxn ang="0">
                <a:pos x="connsiteX5280" y="connsiteY5280"/>
              </a:cxn>
              <a:cxn ang="0">
                <a:pos x="connsiteX5281" y="connsiteY5281"/>
              </a:cxn>
              <a:cxn ang="0">
                <a:pos x="connsiteX5282" y="connsiteY5282"/>
              </a:cxn>
              <a:cxn ang="0">
                <a:pos x="connsiteX5283" y="connsiteY5283"/>
              </a:cxn>
              <a:cxn ang="0">
                <a:pos x="connsiteX5284" y="connsiteY5284"/>
              </a:cxn>
              <a:cxn ang="0">
                <a:pos x="connsiteX5285" y="connsiteY5285"/>
              </a:cxn>
              <a:cxn ang="0">
                <a:pos x="connsiteX5286" y="connsiteY5286"/>
              </a:cxn>
              <a:cxn ang="0">
                <a:pos x="connsiteX5287" y="connsiteY5287"/>
              </a:cxn>
              <a:cxn ang="0">
                <a:pos x="connsiteX5288" y="connsiteY5288"/>
              </a:cxn>
              <a:cxn ang="0">
                <a:pos x="connsiteX5289" y="connsiteY5289"/>
              </a:cxn>
              <a:cxn ang="0">
                <a:pos x="connsiteX5290" y="connsiteY5290"/>
              </a:cxn>
              <a:cxn ang="0">
                <a:pos x="connsiteX5291" y="connsiteY5291"/>
              </a:cxn>
              <a:cxn ang="0">
                <a:pos x="connsiteX5292" y="connsiteY5292"/>
              </a:cxn>
              <a:cxn ang="0">
                <a:pos x="connsiteX5293" y="connsiteY5293"/>
              </a:cxn>
              <a:cxn ang="0">
                <a:pos x="connsiteX5294" y="connsiteY5294"/>
              </a:cxn>
              <a:cxn ang="0">
                <a:pos x="connsiteX5295" y="connsiteY5295"/>
              </a:cxn>
              <a:cxn ang="0">
                <a:pos x="connsiteX5296" y="connsiteY5296"/>
              </a:cxn>
              <a:cxn ang="0">
                <a:pos x="connsiteX5297" y="connsiteY5297"/>
              </a:cxn>
              <a:cxn ang="0">
                <a:pos x="connsiteX5298" y="connsiteY5298"/>
              </a:cxn>
              <a:cxn ang="0">
                <a:pos x="connsiteX5299" y="connsiteY5299"/>
              </a:cxn>
              <a:cxn ang="0">
                <a:pos x="connsiteX5300" y="connsiteY5300"/>
              </a:cxn>
              <a:cxn ang="0">
                <a:pos x="connsiteX5301" y="connsiteY5301"/>
              </a:cxn>
              <a:cxn ang="0">
                <a:pos x="connsiteX5302" y="connsiteY5302"/>
              </a:cxn>
              <a:cxn ang="0">
                <a:pos x="connsiteX5303" y="connsiteY5303"/>
              </a:cxn>
              <a:cxn ang="0">
                <a:pos x="connsiteX5304" y="connsiteY5304"/>
              </a:cxn>
              <a:cxn ang="0">
                <a:pos x="connsiteX5305" y="connsiteY5305"/>
              </a:cxn>
              <a:cxn ang="0">
                <a:pos x="connsiteX5306" y="connsiteY5306"/>
              </a:cxn>
              <a:cxn ang="0">
                <a:pos x="connsiteX5307" y="connsiteY5307"/>
              </a:cxn>
              <a:cxn ang="0">
                <a:pos x="connsiteX5308" y="connsiteY5308"/>
              </a:cxn>
              <a:cxn ang="0">
                <a:pos x="connsiteX5309" y="connsiteY5309"/>
              </a:cxn>
              <a:cxn ang="0">
                <a:pos x="connsiteX5310" y="connsiteY5310"/>
              </a:cxn>
              <a:cxn ang="0">
                <a:pos x="connsiteX5311" y="connsiteY5311"/>
              </a:cxn>
              <a:cxn ang="0">
                <a:pos x="connsiteX5312" y="connsiteY5312"/>
              </a:cxn>
              <a:cxn ang="0">
                <a:pos x="connsiteX5313" y="connsiteY5313"/>
              </a:cxn>
              <a:cxn ang="0">
                <a:pos x="connsiteX5314" y="connsiteY5314"/>
              </a:cxn>
              <a:cxn ang="0">
                <a:pos x="connsiteX5315" y="connsiteY5315"/>
              </a:cxn>
              <a:cxn ang="0">
                <a:pos x="connsiteX5316" y="connsiteY5316"/>
              </a:cxn>
              <a:cxn ang="0">
                <a:pos x="connsiteX5317" y="connsiteY5317"/>
              </a:cxn>
              <a:cxn ang="0">
                <a:pos x="connsiteX5318" y="connsiteY5318"/>
              </a:cxn>
              <a:cxn ang="0">
                <a:pos x="connsiteX5319" y="connsiteY5319"/>
              </a:cxn>
              <a:cxn ang="0">
                <a:pos x="connsiteX5320" y="connsiteY5320"/>
              </a:cxn>
              <a:cxn ang="0">
                <a:pos x="connsiteX5321" y="connsiteY5321"/>
              </a:cxn>
              <a:cxn ang="0">
                <a:pos x="connsiteX5322" y="connsiteY5322"/>
              </a:cxn>
              <a:cxn ang="0">
                <a:pos x="connsiteX5323" y="connsiteY5323"/>
              </a:cxn>
              <a:cxn ang="0">
                <a:pos x="connsiteX5324" y="connsiteY5324"/>
              </a:cxn>
              <a:cxn ang="0">
                <a:pos x="connsiteX5325" y="connsiteY5325"/>
              </a:cxn>
              <a:cxn ang="0">
                <a:pos x="connsiteX5326" y="connsiteY5326"/>
              </a:cxn>
              <a:cxn ang="0">
                <a:pos x="connsiteX5327" y="connsiteY5327"/>
              </a:cxn>
              <a:cxn ang="0">
                <a:pos x="connsiteX5328" y="connsiteY5328"/>
              </a:cxn>
              <a:cxn ang="0">
                <a:pos x="connsiteX5329" y="connsiteY5329"/>
              </a:cxn>
              <a:cxn ang="0">
                <a:pos x="connsiteX5330" y="connsiteY5330"/>
              </a:cxn>
              <a:cxn ang="0">
                <a:pos x="connsiteX5331" y="connsiteY5331"/>
              </a:cxn>
              <a:cxn ang="0">
                <a:pos x="connsiteX5332" y="connsiteY5332"/>
              </a:cxn>
              <a:cxn ang="0">
                <a:pos x="connsiteX5333" y="connsiteY5333"/>
              </a:cxn>
              <a:cxn ang="0">
                <a:pos x="connsiteX5334" y="connsiteY5334"/>
              </a:cxn>
              <a:cxn ang="0">
                <a:pos x="connsiteX5335" y="connsiteY5335"/>
              </a:cxn>
              <a:cxn ang="0">
                <a:pos x="connsiteX5336" y="connsiteY5336"/>
              </a:cxn>
              <a:cxn ang="0">
                <a:pos x="connsiteX5337" y="connsiteY5337"/>
              </a:cxn>
              <a:cxn ang="0">
                <a:pos x="connsiteX5338" y="connsiteY5338"/>
              </a:cxn>
              <a:cxn ang="0">
                <a:pos x="connsiteX5339" y="connsiteY5339"/>
              </a:cxn>
              <a:cxn ang="0">
                <a:pos x="connsiteX5340" y="connsiteY5340"/>
              </a:cxn>
              <a:cxn ang="0">
                <a:pos x="connsiteX5341" y="connsiteY5341"/>
              </a:cxn>
              <a:cxn ang="0">
                <a:pos x="connsiteX5342" y="connsiteY5342"/>
              </a:cxn>
              <a:cxn ang="0">
                <a:pos x="connsiteX5343" y="connsiteY5343"/>
              </a:cxn>
              <a:cxn ang="0">
                <a:pos x="connsiteX5344" y="connsiteY5344"/>
              </a:cxn>
              <a:cxn ang="0">
                <a:pos x="connsiteX5345" y="connsiteY5345"/>
              </a:cxn>
              <a:cxn ang="0">
                <a:pos x="connsiteX5346" y="connsiteY5346"/>
              </a:cxn>
              <a:cxn ang="0">
                <a:pos x="connsiteX5347" y="connsiteY5347"/>
              </a:cxn>
              <a:cxn ang="0">
                <a:pos x="connsiteX5348" y="connsiteY5348"/>
              </a:cxn>
              <a:cxn ang="0">
                <a:pos x="connsiteX5349" y="connsiteY5349"/>
              </a:cxn>
              <a:cxn ang="0">
                <a:pos x="connsiteX5350" y="connsiteY5350"/>
              </a:cxn>
              <a:cxn ang="0">
                <a:pos x="connsiteX5351" y="connsiteY5351"/>
              </a:cxn>
              <a:cxn ang="0">
                <a:pos x="connsiteX5352" y="connsiteY5352"/>
              </a:cxn>
              <a:cxn ang="0">
                <a:pos x="connsiteX5353" y="connsiteY5353"/>
              </a:cxn>
              <a:cxn ang="0">
                <a:pos x="connsiteX5354" y="connsiteY5354"/>
              </a:cxn>
              <a:cxn ang="0">
                <a:pos x="connsiteX5355" y="connsiteY5355"/>
              </a:cxn>
              <a:cxn ang="0">
                <a:pos x="connsiteX5356" y="connsiteY5356"/>
              </a:cxn>
              <a:cxn ang="0">
                <a:pos x="connsiteX5357" y="connsiteY5357"/>
              </a:cxn>
              <a:cxn ang="0">
                <a:pos x="connsiteX5358" y="connsiteY5358"/>
              </a:cxn>
              <a:cxn ang="0">
                <a:pos x="connsiteX5359" y="connsiteY5359"/>
              </a:cxn>
              <a:cxn ang="0">
                <a:pos x="connsiteX5360" y="connsiteY5360"/>
              </a:cxn>
              <a:cxn ang="0">
                <a:pos x="connsiteX5361" y="connsiteY5361"/>
              </a:cxn>
              <a:cxn ang="0">
                <a:pos x="connsiteX5362" y="connsiteY5362"/>
              </a:cxn>
              <a:cxn ang="0">
                <a:pos x="connsiteX5363" y="connsiteY5363"/>
              </a:cxn>
              <a:cxn ang="0">
                <a:pos x="connsiteX5364" y="connsiteY5364"/>
              </a:cxn>
              <a:cxn ang="0">
                <a:pos x="connsiteX5365" y="connsiteY5365"/>
              </a:cxn>
              <a:cxn ang="0">
                <a:pos x="connsiteX5366" y="connsiteY5366"/>
              </a:cxn>
              <a:cxn ang="0">
                <a:pos x="connsiteX5367" y="connsiteY5367"/>
              </a:cxn>
              <a:cxn ang="0">
                <a:pos x="connsiteX5368" y="connsiteY5368"/>
              </a:cxn>
              <a:cxn ang="0">
                <a:pos x="connsiteX5369" y="connsiteY5369"/>
              </a:cxn>
              <a:cxn ang="0">
                <a:pos x="connsiteX5370" y="connsiteY5370"/>
              </a:cxn>
              <a:cxn ang="0">
                <a:pos x="connsiteX5371" y="connsiteY5371"/>
              </a:cxn>
              <a:cxn ang="0">
                <a:pos x="connsiteX5372" y="connsiteY5372"/>
              </a:cxn>
              <a:cxn ang="0">
                <a:pos x="connsiteX5373" y="connsiteY5373"/>
              </a:cxn>
              <a:cxn ang="0">
                <a:pos x="connsiteX5374" y="connsiteY5374"/>
              </a:cxn>
              <a:cxn ang="0">
                <a:pos x="connsiteX5375" y="connsiteY5375"/>
              </a:cxn>
              <a:cxn ang="0">
                <a:pos x="connsiteX5376" y="connsiteY5376"/>
              </a:cxn>
              <a:cxn ang="0">
                <a:pos x="connsiteX5377" y="connsiteY5377"/>
              </a:cxn>
              <a:cxn ang="0">
                <a:pos x="connsiteX5378" y="connsiteY5378"/>
              </a:cxn>
              <a:cxn ang="0">
                <a:pos x="connsiteX5379" y="connsiteY5379"/>
              </a:cxn>
              <a:cxn ang="0">
                <a:pos x="connsiteX5380" y="connsiteY5380"/>
              </a:cxn>
              <a:cxn ang="0">
                <a:pos x="connsiteX5381" y="connsiteY5381"/>
              </a:cxn>
              <a:cxn ang="0">
                <a:pos x="connsiteX5382" y="connsiteY5382"/>
              </a:cxn>
              <a:cxn ang="0">
                <a:pos x="connsiteX5383" y="connsiteY5383"/>
              </a:cxn>
              <a:cxn ang="0">
                <a:pos x="connsiteX5384" y="connsiteY5384"/>
              </a:cxn>
              <a:cxn ang="0">
                <a:pos x="connsiteX5385" y="connsiteY5385"/>
              </a:cxn>
              <a:cxn ang="0">
                <a:pos x="connsiteX5386" y="connsiteY5386"/>
              </a:cxn>
              <a:cxn ang="0">
                <a:pos x="connsiteX5387" y="connsiteY5387"/>
              </a:cxn>
              <a:cxn ang="0">
                <a:pos x="connsiteX5388" y="connsiteY5388"/>
              </a:cxn>
              <a:cxn ang="0">
                <a:pos x="connsiteX5389" y="connsiteY5389"/>
              </a:cxn>
              <a:cxn ang="0">
                <a:pos x="connsiteX5390" y="connsiteY5390"/>
              </a:cxn>
              <a:cxn ang="0">
                <a:pos x="connsiteX5391" y="connsiteY5391"/>
              </a:cxn>
              <a:cxn ang="0">
                <a:pos x="connsiteX5392" y="connsiteY5392"/>
              </a:cxn>
              <a:cxn ang="0">
                <a:pos x="connsiteX5393" y="connsiteY5393"/>
              </a:cxn>
              <a:cxn ang="0">
                <a:pos x="connsiteX5394" y="connsiteY5394"/>
              </a:cxn>
              <a:cxn ang="0">
                <a:pos x="connsiteX5395" y="connsiteY5395"/>
              </a:cxn>
              <a:cxn ang="0">
                <a:pos x="connsiteX5396" y="connsiteY5396"/>
              </a:cxn>
              <a:cxn ang="0">
                <a:pos x="connsiteX5397" y="connsiteY5397"/>
              </a:cxn>
              <a:cxn ang="0">
                <a:pos x="connsiteX5398" y="connsiteY5398"/>
              </a:cxn>
              <a:cxn ang="0">
                <a:pos x="connsiteX5399" y="connsiteY5399"/>
              </a:cxn>
              <a:cxn ang="0">
                <a:pos x="connsiteX5400" y="connsiteY5400"/>
              </a:cxn>
              <a:cxn ang="0">
                <a:pos x="connsiteX5401" y="connsiteY5401"/>
              </a:cxn>
              <a:cxn ang="0">
                <a:pos x="connsiteX5402" y="connsiteY5402"/>
              </a:cxn>
              <a:cxn ang="0">
                <a:pos x="connsiteX5403" y="connsiteY5403"/>
              </a:cxn>
              <a:cxn ang="0">
                <a:pos x="connsiteX5404" y="connsiteY5404"/>
              </a:cxn>
              <a:cxn ang="0">
                <a:pos x="connsiteX5405" y="connsiteY5405"/>
              </a:cxn>
              <a:cxn ang="0">
                <a:pos x="connsiteX5406" y="connsiteY5406"/>
              </a:cxn>
              <a:cxn ang="0">
                <a:pos x="connsiteX5407" y="connsiteY5407"/>
              </a:cxn>
              <a:cxn ang="0">
                <a:pos x="connsiteX5408" y="connsiteY5408"/>
              </a:cxn>
              <a:cxn ang="0">
                <a:pos x="connsiteX5409" y="connsiteY5409"/>
              </a:cxn>
              <a:cxn ang="0">
                <a:pos x="connsiteX5410" y="connsiteY5410"/>
              </a:cxn>
              <a:cxn ang="0">
                <a:pos x="connsiteX5411" y="connsiteY5411"/>
              </a:cxn>
              <a:cxn ang="0">
                <a:pos x="connsiteX5412" y="connsiteY5412"/>
              </a:cxn>
              <a:cxn ang="0">
                <a:pos x="connsiteX5413" y="connsiteY5413"/>
              </a:cxn>
              <a:cxn ang="0">
                <a:pos x="connsiteX5414" y="connsiteY5414"/>
              </a:cxn>
              <a:cxn ang="0">
                <a:pos x="connsiteX5415" y="connsiteY5415"/>
              </a:cxn>
              <a:cxn ang="0">
                <a:pos x="connsiteX5416" y="connsiteY5416"/>
              </a:cxn>
              <a:cxn ang="0">
                <a:pos x="connsiteX5417" y="connsiteY5417"/>
              </a:cxn>
              <a:cxn ang="0">
                <a:pos x="connsiteX5418" y="connsiteY5418"/>
              </a:cxn>
              <a:cxn ang="0">
                <a:pos x="connsiteX5419" y="connsiteY5419"/>
              </a:cxn>
              <a:cxn ang="0">
                <a:pos x="connsiteX5420" y="connsiteY5420"/>
              </a:cxn>
              <a:cxn ang="0">
                <a:pos x="connsiteX5421" y="connsiteY5421"/>
              </a:cxn>
              <a:cxn ang="0">
                <a:pos x="connsiteX5422" y="connsiteY5422"/>
              </a:cxn>
              <a:cxn ang="0">
                <a:pos x="connsiteX5423" y="connsiteY5423"/>
              </a:cxn>
              <a:cxn ang="0">
                <a:pos x="connsiteX5424" y="connsiteY5424"/>
              </a:cxn>
              <a:cxn ang="0">
                <a:pos x="connsiteX5425" y="connsiteY5425"/>
              </a:cxn>
              <a:cxn ang="0">
                <a:pos x="connsiteX5426" y="connsiteY5426"/>
              </a:cxn>
              <a:cxn ang="0">
                <a:pos x="connsiteX5427" y="connsiteY5427"/>
              </a:cxn>
              <a:cxn ang="0">
                <a:pos x="connsiteX5428" y="connsiteY5428"/>
              </a:cxn>
              <a:cxn ang="0">
                <a:pos x="connsiteX5429" y="connsiteY5429"/>
              </a:cxn>
              <a:cxn ang="0">
                <a:pos x="connsiteX5430" y="connsiteY5430"/>
              </a:cxn>
              <a:cxn ang="0">
                <a:pos x="connsiteX5431" y="connsiteY5431"/>
              </a:cxn>
              <a:cxn ang="0">
                <a:pos x="connsiteX5432" y="connsiteY5432"/>
              </a:cxn>
              <a:cxn ang="0">
                <a:pos x="connsiteX5433" y="connsiteY5433"/>
              </a:cxn>
              <a:cxn ang="0">
                <a:pos x="connsiteX5434" y="connsiteY5434"/>
              </a:cxn>
              <a:cxn ang="0">
                <a:pos x="connsiteX5435" y="connsiteY5435"/>
              </a:cxn>
              <a:cxn ang="0">
                <a:pos x="connsiteX5436" y="connsiteY5436"/>
              </a:cxn>
              <a:cxn ang="0">
                <a:pos x="connsiteX5437" y="connsiteY5437"/>
              </a:cxn>
              <a:cxn ang="0">
                <a:pos x="connsiteX5438" y="connsiteY5438"/>
              </a:cxn>
              <a:cxn ang="0">
                <a:pos x="connsiteX5439" y="connsiteY5439"/>
              </a:cxn>
              <a:cxn ang="0">
                <a:pos x="connsiteX5440" y="connsiteY5440"/>
              </a:cxn>
              <a:cxn ang="0">
                <a:pos x="connsiteX5441" y="connsiteY5441"/>
              </a:cxn>
              <a:cxn ang="0">
                <a:pos x="connsiteX5442" y="connsiteY5442"/>
              </a:cxn>
              <a:cxn ang="0">
                <a:pos x="connsiteX5443" y="connsiteY5443"/>
              </a:cxn>
              <a:cxn ang="0">
                <a:pos x="connsiteX5444" y="connsiteY5444"/>
              </a:cxn>
              <a:cxn ang="0">
                <a:pos x="connsiteX5445" y="connsiteY5445"/>
              </a:cxn>
              <a:cxn ang="0">
                <a:pos x="connsiteX5446" y="connsiteY5446"/>
              </a:cxn>
              <a:cxn ang="0">
                <a:pos x="connsiteX5447" y="connsiteY5447"/>
              </a:cxn>
              <a:cxn ang="0">
                <a:pos x="connsiteX5448" y="connsiteY5448"/>
              </a:cxn>
              <a:cxn ang="0">
                <a:pos x="connsiteX5449" y="connsiteY5449"/>
              </a:cxn>
              <a:cxn ang="0">
                <a:pos x="connsiteX5450" y="connsiteY5450"/>
              </a:cxn>
              <a:cxn ang="0">
                <a:pos x="connsiteX5451" y="connsiteY5451"/>
              </a:cxn>
              <a:cxn ang="0">
                <a:pos x="connsiteX5452" y="connsiteY5452"/>
              </a:cxn>
              <a:cxn ang="0">
                <a:pos x="connsiteX5453" y="connsiteY5453"/>
              </a:cxn>
              <a:cxn ang="0">
                <a:pos x="connsiteX5454" y="connsiteY5454"/>
              </a:cxn>
              <a:cxn ang="0">
                <a:pos x="connsiteX5455" y="connsiteY5455"/>
              </a:cxn>
              <a:cxn ang="0">
                <a:pos x="connsiteX5456" y="connsiteY5456"/>
              </a:cxn>
              <a:cxn ang="0">
                <a:pos x="connsiteX5457" y="connsiteY5457"/>
              </a:cxn>
              <a:cxn ang="0">
                <a:pos x="connsiteX5458" y="connsiteY5458"/>
              </a:cxn>
              <a:cxn ang="0">
                <a:pos x="connsiteX5459" y="connsiteY5459"/>
              </a:cxn>
              <a:cxn ang="0">
                <a:pos x="connsiteX5460" y="connsiteY5460"/>
              </a:cxn>
              <a:cxn ang="0">
                <a:pos x="connsiteX5461" y="connsiteY5461"/>
              </a:cxn>
              <a:cxn ang="0">
                <a:pos x="connsiteX5462" y="connsiteY5462"/>
              </a:cxn>
              <a:cxn ang="0">
                <a:pos x="connsiteX5463" y="connsiteY5463"/>
              </a:cxn>
              <a:cxn ang="0">
                <a:pos x="connsiteX5464" y="connsiteY5464"/>
              </a:cxn>
              <a:cxn ang="0">
                <a:pos x="connsiteX5465" y="connsiteY5465"/>
              </a:cxn>
              <a:cxn ang="0">
                <a:pos x="connsiteX5466" y="connsiteY5466"/>
              </a:cxn>
              <a:cxn ang="0">
                <a:pos x="connsiteX5467" y="connsiteY5467"/>
              </a:cxn>
              <a:cxn ang="0">
                <a:pos x="connsiteX5468" y="connsiteY5468"/>
              </a:cxn>
              <a:cxn ang="0">
                <a:pos x="connsiteX5469" y="connsiteY5469"/>
              </a:cxn>
              <a:cxn ang="0">
                <a:pos x="connsiteX5470" y="connsiteY5470"/>
              </a:cxn>
              <a:cxn ang="0">
                <a:pos x="connsiteX5471" y="connsiteY5471"/>
              </a:cxn>
              <a:cxn ang="0">
                <a:pos x="connsiteX5472" y="connsiteY5472"/>
              </a:cxn>
              <a:cxn ang="0">
                <a:pos x="connsiteX5473" y="connsiteY5473"/>
              </a:cxn>
              <a:cxn ang="0">
                <a:pos x="connsiteX5474" y="connsiteY5474"/>
              </a:cxn>
              <a:cxn ang="0">
                <a:pos x="connsiteX5475" y="connsiteY5475"/>
              </a:cxn>
              <a:cxn ang="0">
                <a:pos x="connsiteX5476" y="connsiteY5476"/>
              </a:cxn>
              <a:cxn ang="0">
                <a:pos x="connsiteX5477" y="connsiteY5477"/>
              </a:cxn>
              <a:cxn ang="0">
                <a:pos x="connsiteX5478" y="connsiteY5478"/>
              </a:cxn>
              <a:cxn ang="0">
                <a:pos x="connsiteX5479" y="connsiteY5479"/>
              </a:cxn>
              <a:cxn ang="0">
                <a:pos x="connsiteX5480" y="connsiteY5480"/>
              </a:cxn>
              <a:cxn ang="0">
                <a:pos x="connsiteX5481" y="connsiteY5481"/>
              </a:cxn>
              <a:cxn ang="0">
                <a:pos x="connsiteX5482" y="connsiteY5482"/>
              </a:cxn>
              <a:cxn ang="0">
                <a:pos x="connsiteX5483" y="connsiteY5483"/>
              </a:cxn>
              <a:cxn ang="0">
                <a:pos x="connsiteX5484" y="connsiteY5484"/>
              </a:cxn>
              <a:cxn ang="0">
                <a:pos x="connsiteX5485" y="connsiteY5485"/>
              </a:cxn>
              <a:cxn ang="0">
                <a:pos x="connsiteX5486" y="connsiteY5486"/>
              </a:cxn>
              <a:cxn ang="0">
                <a:pos x="connsiteX5487" y="connsiteY5487"/>
              </a:cxn>
              <a:cxn ang="0">
                <a:pos x="connsiteX5488" y="connsiteY5488"/>
              </a:cxn>
              <a:cxn ang="0">
                <a:pos x="connsiteX5489" y="connsiteY5489"/>
              </a:cxn>
              <a:cxn ang="0">
                <a:pos x="connsiteX5490" y="connsiteY5490"/>
              </a:cxn>
              <a:cxn ang="0">
                <a:pos x="connsiteX5491" y="connsiteY5491"/>
              </a:cxn>
              <a:cxn ang="0">
                <a:pos x="connsiteX5492" y="connsiteY5492"/>
              </a:cxn>
              <a:cxn ang="0">
                <a:pos x="connsiteX5493" y="connsiteY5493"/>
              </a:cxn>
              <a:cxn ang="0">
                <a:pos x="connsiteX5494" y="connsiteY5494"/>
              </a:cxn>
              <a:cxn ang="0">
                <a:pos x="connsiteX5495" y="connsiteY5495"/>
              </a:cxn>
              <a:cxn ang="0">
                <a:pos x="connsiteX5496" y="connsiteY5496"/>
              </a:cxn>
              <a:cxn ang="0">
                <a:pos x="connsiteX5497" y="connsiteY5497"/>
              </a:cxn>
              <a:cxn ang="0">
                <a:pos x="connsiteX5498" y="connsiteY5498"/>
              </a:cxn>
              <a:cxn ang="0">
                <a:pos x="connsiteX5499" y="connsiteY5499"/>
              </a:cxn>
              <a:cxn ang="0">
                <a:pos x="connsiteX5500" y="connsiteY5500"/>
              </a:cxn>
              <a:cxn ang="0">
                <a:pos x="connsiteX5501" y="connsiteY5501"/>
              </a:cxn>
              <a:cxn ang="0">
                <a:pos x="connsiteX5502" y="connsiteY5502"/>
              </a:cxn>
              <a:cxn ang="0">
                <a:pos x="connsiteX5503" y="connsiteY5503"/>
              </a:cxn>
              <a:cxn ang="0">
                <a:pos x="connsiteX5504" y="connsiteY5504"/>
              </a:cxn>
              <a:cxn ang="0">
                <a:pos x="connsiteX5505" y="connsiteY5505"/>
              </a:cxn>
              <a:cxn ang="0">
                <a:pos x="connsiteX5506" y="connsiteY5506"/>
              </a:cxn>
              <a:cxn ang="0">
                <a:pos x="connsiteX5507" y="connsiteY5507"/>
              </a:cxn>
              <a:cxn ang="0">
                <a:pos x="connsiteX5508" y="connsiteY5508"/>
              </a:cxn>
              <a:cxn ang="0">
                <a:pos x="connsiteX5509" y="connsiteY5509"/>
              </a:cxn>
              <a:cxn ang="0">
                <a:pos x="connsiteX5510" y="connsiteY5510"/>
              </a:cxn>
              <a:cxn ang="0">
                <a:pos x="connsiteX5511" y="connsiteY5511"/>
              </a:cxn>
              <a:cxn ang="0">
                <a:pos x="connsiteX5512" y="connsiteY5512"/>
              </a:cxn>
              <a:cxn ang="0">
                <a:pos x="connsiteX5513" y="connsiteY5513"/>
              </a:cxn>
              <a:cxn ang="0">
                <a:pos x="connsiteX5514" y="connsiteY5514"/>
              </a:cxn>
              <a:cxn ang="0">
                <a:pos x="connsiteX5515" y="connsiteY5515"/>
              </a:cxn>
              <a:cxn ang="0">
                <a:pos x="connsiteX5516" y="connsiteY5516"/>
              </a:cxn>
              <a:cxn ang="0">
                <a:pos x="connsiteX5517" y="connsiteY5517"/>
              </a:cxn>
              <a:cxn ang="0">
                <a:pos x="connsiteX5518" y="connsiteY5518"/>
              </a:cxn>
              <a:cxn ang="0">
                <a:pos x="connsiteX5519" y="connsiteY5519"/>
              </a:cxn>
              <a:cxn ang="0">
                <a:pos x="connsiteX5520" y="connsiteY5520"/>
              </a:cxn>
              <a:cxn ang="0">
                <a:pos x="connsiteX5521" y="connsiteY5521"/>
              </a:cxn>
              <a:cxn ang="0">
                <a:pos x="connsiteX5522" y="connsiteY5522"/>
              </a:cxn>
              <a:cxn ang="0">
                <a:pos x="connsiteX5523" y="connsiteY5523"/>
              </a:cxn>
              <a:cxn ang="0">
                <a:pos x="connsiteX5524" y="connsiteY5524"/>
              </a:cxn>
              <a:cxn ang="0">
                <a:pos x="connsiteX5525" y="connsiteY5525"/>
              </a:cxn>
              <a:cxn ang="0">
                <a:pos x="connsiteX5526" y="connsiteY5526"/>
              </a:cxn>
              <a:cxn ang="0">
                <a:pos x="connsiteX5527" y="connsiteY5527"/>
              </a:cxn>
              <a:cxn ang="0">
                <a:pos x="connsiteX5528" y="connsiteY5528"/>
              </a:cxn>
              <a:cxn ang="0">
                <a:pos x="connsiteX5529" y="connsiteY5529"/>
              </a:cxn>
              <a:cxn ang="0">
                <a:pos x="connsiteX5530" y="connsiteY5530"/>
              </a:cxn>
              <a:cxn ang="0">
                <a:pos x="connsiteX5531" y="connsiteY5531"/>
              </a:cxn>
              <a:cxn ang="0">
                <a:pos x="connsiteX5532" y="connsiteY5532"/>
              </a:cxn>
              <a:cxn ang="0">
                <a:pos x="connsiteX5533" y="connsiteY5533"/>
              </a:cxn>
              <a:cxn ang="0">
                <a:pos x="connsiteX5534" y="connsiteY5534"/>
              </a:cxn>
              <a:cxn ang="0">
                <a:pos x="connsiteX5535" y="connsiteY5535"/>
              </a:cxn>
              <a:cxn ang="0">
                <a:pos x="connsiteX5536" y="connsiteY5536"/>
              </a:cxn>
              <a:cxn ang="0">
                <a:pos x="connsiteX5537" y="connsiteY5537"/>
              </a:cxn>
              <a:cxn ang="0">
                <a:pos x="connsiteX5538" y="connsiteY5538"/>
              </a:cxn>
              <a:cxn ang="0">
                <a:pos x="connsiteX5539" y="connsiteY5539"/>
              </a:cxn>
              <a:cxn ang="0">
                <a:pos x="connsiteX5540" y="connsiteY5540"/>
              </a:cxn>
              <a:cxn ang="0">
                <a:pos x="connsiteX5541" y="connsiteY5541"/>
              </a:cxn>
              <a:cxn ang="0">
                <a:pos x="connsiteX5542" y="connsiteY5542"/>
              </a:cxn>
              <a:cxn ang="0">
                <a:pos x="connsiteX5543" y="connsiteY5543"/>
              </a:cxn>
              <a:cxn ang="0">
                <a:pos x="connsiteX5544" y="connsiteY5544"/>
              </a:cxn>
              <a:cxn ang="0">
                <a:pos x="connsiteX5545" y="connsiteY5545"/>
              </a:cxn>
              <a:cxn ang="0">
                <a:pos x="connsiteX5546" y="connsiteY5546"/>
              </a:cxn>
              <a:cxn ang="0">
                <a:pos x="connsiteX5547" y="connsiteY5547"/>
              </a:cxn>
              <a:cxn ang="0">
                <a:pos x="connsiteX5548" y="connsiteY5548"/>
              </a:cxn>
              <a:cxn ang="0">
                <a:pos x="connsiteX5549" y="connsiteY5549"/>
              </a:cxn>
              <a:cxn ang="0">
                <a:pos x="connsiteX5550" y="connsiteY5550"/>
              </a:cxn>
              <a:cxn ang="0">
                <a:pos x="connsiteX5551" y="connsiteY5551"/>
              </a:cxn>
              <a:cxn ang="0">
                <a:pos x="connsiteX5552" y="connsiteY5552"/>
              </a:cxn>
              <a:cxn ang="0">
                <a:pos x="connsiteX5553" y="connsiteY5553"/>
              </a:cxn>
              <a:cxn ang="0">
                <a:pos x="connsiteX5554" y="connsiteY5554"/>
              </a:cxn>
              <a:cxn ang="0">
                <a:pos x="connsiteX5555" y="connsiteY5555"/>
              </a:cxn>
              <a:cxn ang="0">
                <a:pos x="connsiteX5556" y="connsiteY5556"/>
              </a:cxn>
              <a:cxn ang="0">
                <a:pos x="connsiteX5557" y="connsiteY5557"/>
              </a:cxn>
              <a:cxn ang="0">
                <a:pos x="connsiteX5558" y="connsiteY5558"/>
              </a:cxn>
              <a:cxn ang="0">
                <a:pos x="connsiteX5559" y="connsiteY5559"/>
              </a:cxn>
              <a:cxn ang="0">
                <a:pos x="connsiteX5560" y="connsiteY5560"/>
              </a:cxn>
              <a:cxn ang="0">
                <a:pos x="connsiteX5561" y="connsiteY5561"/>
              </a:cxn>
              <a:cxn ang="0">
                <a:pos x="connsiteX5562" y="connsiteY5562"/>
              </a:cxn>
              <a:cxn ang="0">
                <a:pos x="connsiteX5563" y="connsiteY5563"/>
              </a:cxn>
              <a:cxn ang="0">
                <a:pos x="connsiteX5564" y="connsiteY5564"/>
              </a:cxn>
              <a:cxn ang="0">
                <a:pos x="connsiteX5565" y="connsiteY5565"/>
              </a:cxn>
              <a:cxn ang="0">
                <a:pos x="connsiteX5566" y="connsiteY5566"/>
              </a:cxn>
              <a:cxn ang="0">
                <a:pos x="connsiteX5567" y="connsiteY5567"/>
              </a:cxn>
              <a:cxn ang="0">
                <a:pos x="connsiteX5568" y="connsiteY5568"/>
              </a:cxn>
              <a:cxn ang="0">
                <a:pos x="connsiteX5569" y="connsiteY5569"/>
              </a:cxn>
              <a:cxn ang="0">
                <a:pos x="connsiteX5570" y="connsiteY5570"/>
              </a:cxn>
              <a:cxn ang="0">
                <a:pos x="connsiteX5571" y="connsiteY5571"/>
              </a:cxn>
              <a:cxn ang="0">
                <a:pos x="connsiteX5572" y="connsiteY5572"/>
              </a:cxn>
              <a:cxn ang="0">
                <a:pos x="connsiteX5573" y="connsiteY5573"/>
              </a:cxn>
              <a:cxn ang="0">
                <a:pos x="connsiteX5574" y="connsiteY5574"/>
              </a:cxn>
              <a:cxn ang="0">
                <a:pos x="connsiteX5575" y="connsiteY5575"/>
              </a:cxn>
              <a:cxn ang="0">
                <a:pos x="connsiteX5576" y="connsiteY5576"/>
              </a:cxn>
              <a:cxn ang="0">
                <a:pos x="connsiteX5577" y="connsiteY5577"/>
              </a:cxn>
              <a:cxn ang="0">
                <a:pos x="connsiteX5578" y="connsiteY5578"/>
              </a:cxn>
              <a:cxn ang="0">
                <a:pos x="connsiteX5579" y="connsiteY5579"/>
              </a:cxn>
              <a:cxn ang="0">
                <a:pos x="connsiteX5580" y="connsiteY5580"/>
              </a:cxn>
              <a:cxn ang="0">
                <a:pos x="connsiteX5581" y="connsiteY5581"/>
              </a:cxn>
              <a:cxn ang="0">
                <a:pos x="connsiteX5582" y="connsiteY5582"/>
              </a:cxn>
              <a:cxn ang="0">
                <a:pos x="connsiteX5583" y="connsiteY5583"/>
              </a:cxn>
              <a:cxn ang="0">
                <a:pos x="connsiteX5584" y="connsiteY5584"/>
              </a:cxn>
              <a:cxn ang="0">
                <a:pos x="connsiteX5585" y="connsiteY5585"/>
              </a:cxn>
              <a:cxn ang="0">
                <a:pos x="connsiteX5586" y="connsiteY5586"/>
              </a:cxn>
              <a:cxn ang="0">
                <a:pos x="connsiteX5587" y="connsiteY5587"/>
              </a:cxn>
              <a:cxn ang="0">
                <a:pos x="connsiteX5588" y="connsiteY5588"/>
              </a:cxn>
              <a:cxn ang="0">
                <a:pos x="connsiteX5589" y="connsiteY5589"/>
              </a:cxn>
              <a:cxn ang="0">
                <a:pos x="connsiteX5590" y="connsiteY5590"/>
              </a:cxn>
              <a:cxn ang="0">
                <a:pos x="connsiteX5591" y="connsiteY5591"/>
              </a:cxn>
              <a:cxn ang="0">
                <a:pos x="connsiteX5592" y="connsiteY5592"/>
              </a:cxn>
              <a:cxn ang="0">
                <a:pos x="connsiteX5593" y="connsiteY5593"/>
              </a:cxn>
              <a:cxn ang="0">
                <a:pos x="connsiteX5594" y="connsiteY5594"/>
              </a:cxn>
              <a:cxn ang="0">
                <a:pos x="connsiteX5595" y="connsiteY5595"/>
              </a:cxn>
              <a:cxn ang="0">
                <a:pos x="connsiteX5596" y="connsiteY5596"/>
              </a:cxn>
              <a:cxn ang="0">
                <a:pos x="connsiteX5597" y="connsiteY5597"/>
              </a:cxn>
              <a:cxn ang="0">
                <a:pos x="connsiteX5598" y="connsiteY5598"/>
              </a:cxn>
              <a:cxn ang="0">
                <a:pos x="connsiteX5599" y="connsiteY5599"/>
              </a:cxn>
              <a:cxn ang="0">
                <a:pos x="connsiteX5600" y="connsiteY5600"/>
              </a:cxn>
              <a:cxn ang="0">
                <a:pos x="connsiteX5601" y="connsiteY5601"/>
              </a:cxn>
              <a:cxn ang="0">
                <a:pos x="connsiteX5602" y="connsiteY5602"/>
              </a:cxn>
              <a:cxn ang="0">
                <a:pos x="connsiteX5603" y="connsiteY5603"/>
              </a:cxn>
              <a:cxn ang="0">
                <a:pos x="connsiteX5604" y="connsiteY5604"/>
              </a:cxn>
              <a:cxn ang="0">
                <a:pos x="connsiteX5605" y="connsiteY5605"/>
              </a:cxn>
              <a:cxn ang="0">
                <a:pos x="connsiteX5606" y="connsiteY5606"/>
              </a:cxn>
              <a:cxn ang="0">
                <a:pos x="connsiteX5607" y="connsiteY5607"/>
              </a:cxn>
              <a:cxn ang="0">
                <a:pos x="connsiteX5608" y="connsiteY5608"/>
              </a:cxn>
              <a:cxn ang="0">
                <a:pos x="connsiteX5609" y="connsiteY5609"/>
              </a:cxn>
              <a:cxn ang="0">
                <a:pos x="connsiteX5610" y="connsiteY5610"/>
              </a:cxn>
              <a:cxn ang="0">
                <a:pos x="connsiteX5611" y="connsiteY5611"/>
              </a:cxn>
              <a:cxn ang="0">
                <a:pos x="connsiteX5612" y="connsiteY5612"/>
              </a:cxn>
              <a:cxn ang="0">
                <a:pos x="connsiteX5613" y="connsiteY5613"/>
              </a:cxn>
              <a:cxn ang="0">
                <a:pos x="connsiteX5614" y="connsiteY5614"/>
              </a:cxn>
              <a:cxn ang="0">
                <a:pos x="connsiteX5615" y="connsiteY5615"/>
              </a:cxn>
              <a:cxn ang="0">
                <a:pos x="connsiteX5616" y="connsiteY5616"/>
              </a:cxn>
              <a:cxn ang="0">
                <a:pos x="connsiteX5617" y="connsiteY5617"/>
              </a:cxn>
              <a:cxn ang="0">
                <a:pos x="connsiteX5618" y="connsiteY5618"/>
              </a:cxn>
              <a:cxn ang="0">
                <a:pos x="connsiteX5619" y="connsiteY5619"/>
              </a:cxn>
              <a:cxn ang="0">
                <a:pos x="connsiteX5620" y="connsiteY5620"/>
              </a:cxn>
              <a:cxn ang="0">
                <a:pos x="connsiteX5621" y="connsiteY5621"/>
              </a:cxn>
              <a:cxn ang="0">
                <a:pos x="connsiteX5622" y="connsiteY5622"/>
              </a:cxn>
              <a:cxn ang="0">
                <a:pos x="connsiteX5623" y="connsiteY5623"/>
              </a:cxn>
              <a:cxn ang="0">
                <a:pos x="connsiteX5624" y="connsiteY5624"/>
              </a:cxn>
              <a:cxn ang="0">
                <a:pos x="connsiteX5625" y="connsiteY5625"/>
              </a:cxn>
              <a:cxn ang="0">
                <a:pos x="connsiteX5626" y="connsiteY5626"/>
              </a:cxn>
              <a:cxn ang="0">
                <a:pos x="connsiteX5627" y="connsiteY5627"/>
              </a:cxn>
              <a:cxn ang="0">
                <a:pos x="connsiteX5628" y="connsiteY5628"/>
              </a:cxn>
              <a:cxn ang="0">
                <a:pos x="connsiteX5629" y="connsiteY5629"/>
              </a:cxn>
              <a:cxn ang="0">
                <a:pos x="connsiteX5630" y="connsiteY5630"/>
              </a:cxn>
              <a:cxn ang="0">
                <a:pos x="connsiteX5631" y="connsiteY5631"/>
              </a:cxn>
              <a:cxn ang="0">
                <a:pos x="connsiteX5632" y="connsiteY5632"/>
              </a:cxn>
              <a:cxn ang="0">
                <a:pos x="connsiteX5633" y="connsiteY5633"/>
              </a:cxn>
              <a:cxn ang="0">
                <a:pos x="connsiteX5634" y="connsiteY5634"/>
              </a:cxn>
              <a:cxn ang="0">
                <a:pos x="connsiteX5635" y="connsiteY5635"/>
              </a:cxn>
              <a:cxn ang="0">
                <a:pos x="connsiteX5636" y="connsiteY5636"/>
              </a:cxn>
              <a:cxn ang="0">
                <a:pos x="connsiteX5637" y="connsiteY5637"/>
              </a:cxn>
              <a:cxn ang="0">
                <a:pos x="connsiteX5638" y="connsiteY5638"/>
              </a:cxn>
              <a:cxn ang="0">
                <a:pos x="connsiteX5639" y="connsiteY5639"/>
              </a:cxn>
              <a:cxn ang="0">
                <a:pos x="connsiteX5640" y="connsiteY5640"/>
              </a:cxn>
              <a:cxn ang="0">
                <a:pos x="connsiteX5641" y="connsiteY5641"/>
              </a:cxn>
              <a:cxn ang="0">
                <a:pos x="connsiteX5642" y="connsiteY5642"/>
              </a:cxn>
              <a:cxn ang="0">
                <a:pos x="connsiteX5643" y="connsiteY5643"/>
              </a:cxn>
              <a:cxn ang="0">
                <a:pos x="connsiteX5644" y="connsiteY5644"/>
              </a:cxn>
              <a:cxn ang="0">
                <a:pos x="connsiteX5645" y="connsiteY5645"/>
              </a:cxn>
              <a:cxn ang="0">
                <a:pos x="connsiteX5646" y="connsiteY5646"/>
              </a:cxn>
              <a:cxn ang="0">
                <a:pos x="connsiteX5647" y="connsiteY5647"/>
              </a:cxn>
              <a:cxn ang="0">
                <a:pos x="connsiteX5648" y="connsiteY5648"/>
              </a:cxn>
              <a:cxn ang="0">
                <a:pos x="connsiteX5649" y="connsiteY5649"/>
              </a:cxn>
              <a:cxn ang="0">
                <a:pos x="connsiteX5650" y="connsiteY5650"/>
              </a:cxn>
              <a:cxn ang="0">
                <a:pos x="connsiteX5651" y="connsiteY5651"/>
              </a:cxn>
              <a:cxn ang="0">
                <a:pos x="connsiteX5652" y="connsiteY5652"/>
              </a:cxn>
              <a:cxn ang="0">
                <a:pos x="connsiteX5653" y="connsiteY5653"/>
              </a:cxn>
              <a:cxn ang="0">
                <a:pos x="connsiteX5654" y="connsiteY5654"/>
              </a:cxn>
              <a:cxn ang="0">
                <a:pos x="connsiteX5655" y="connsiteY5655"/>
              </a:cxn>
              <a:cxn ang="0">
                <a:pos x="connsiteX5656" y="connsiteY5656"/>
              </a:cxn>
              <a:cxn ang="0">
                <a:pos x="connsiteX5657" y="connsiteY5657"/>
              </a:cxn>
              <a:cxn ang="0">
                <a:pos x="connsiteX5658" y="connsiteY5658"/>
              </a:cxn>
              <a:cxn ang="0">
                <a:pos x="connsiteX5659" y="connsiteY5659"/>
              </a:cxn>
              <a:cxn ang="0">
                <a:pos x="connsiteX5660" y="connsiteY5660"/>
              </a:cxn>
              <a:cxn ang="0">
                <a:pos x="connsiteX5661" y="connsiteY5661"/>
              </a:cxn>
              <a:cxn ang="0">
                <a:pos x="connsiteX5662" y="connsiteY5662"/>
              </a:cxn>
              <a:cxn ang="0">
                <a:pos x="connsiteX5663" y="connsiteY5663"/>
              </a:cxn>
              <a:cxn ang="0">
                <a:pos x="connsiteX5664" y="connsiteY5664"/>
              </a:cxn>
              <a:cxn ang="0">
                <a:pos x="connsiteX5665" y="connsiteY5665"/>
              </a:cxn>
              <a:cxn ang="0">
                <a:pos x="connsiteX5666" y="connsiteY5666"/>
              </a:cxn>
              <a:cxn ang="0">
                <a:pos x="connsiteX5667" y="connsiteY5667"/>
              </a:cxn>
              <a:cxn ang="0">
                <a:pos x="connsiteX5668" y="connsiteY5668"/>
              </a:cxn>
              <a:cxn ang="0">
                <a:pos x="connsiteX5669" y="connsiteY5669"/>
              </a:cxn>
              <a:cxn ang="0">
                <a:pos x="connsiteX5670" y="connsiteY5670"/>
              </a:cxn>
              <a:cxn ang="0">
                <a:pos x="connsiteX5671" y="connsiteY5671"/>
              </a:cxn>
              <a:cxn ang="0">
                <a:pos x="connsiteX5672" y="connsiteY5672"/>
              </a:cxn>
              <a:cxn ang="0">
                <a:pos x="connsiteX5673" y="connsiteY5673"/>
              </a:cxn>
              <a:cxn ang="0">
                <a:pos x="connsiteX5674" y="connsiteY5674"/>
              </a:cxn>
              <a:cxn ang="0">
                <a:pos x="connsiteX5675" y="connsiteY5675"/>
              </a:cxn>
              <a:cxn ang="0">
                <a:pos x="connsiteX5676" y="connsiteY5676"/>
              </a:cxn>
              <a:cxn ang="0">
                <a:pos x="connsiteX5677" y="connsiteY5677"/>
              </a:cxn>
              <a:cxn ang="0">
                <a:pos x="connsiteX5678" y="connsiteY5678"/>
              </a:cxn>
              <a:cxn ang="0">
                <a:pos x="connsiteX5679" y="connsiteY5679"/>
              </a:cxn>
              <a:cxn ang="0">
                <a:pos x="connsiteX5680" y="connsiteY5680"/>
              </a:cxn>
              <a:cxn ang="0">
                <a:pos x="connsiteX5681" y="connsiteY5681"/>
              </a:cxn>
              <a:cxn ang="0">
                <a:pos x="connsiteX5682" y="connsiteY5682"/>
              </a:cxn>
              <a:cxn ang="0">
                <a:pos x="connsiteX5683" y="connsiteY5683"/>
              </a:cxn>
              <a:cxn ang="0">
                <a:pos x="connsiteX5684" y="connsiteY5684"/>
              </a:cxn>
              <a:cxn ang="0">
                <a:pos x="connsiteX5685" y="connsiteY5685"/>
              </a:cxn>
              <a:cxn ang="0">
                <a:pos x="connsiteX5686" y="connsiteY5686"/>
              </a:cxn>
              <a:cxn ang="0">
                <a:pos x="connsiteX5687" y="connsiteY5687"/>
              </a:cxn>
              <a:cxn ang="0">
                <a:pos x="connsiteX5688" y="connsiteY5688"/>
              </a:cxn>
              <a:cxn ang="0">
                <a:pos x="connsiteX5689" y="connsiteY5689"/>
              </a:cxn>
              <a:cxn ang="0">
                <a:pos x="connsiteX5690" y="connsiteY5690"/>
              </a:cxn>
              <a:cxn ang="0">
                <a:pos x="connsiteX5691" y="connsiteY5691"/>
              </a:cxn>
              <a:cxn ang="0">
                <a:pos x="connsiteX5692" y="connsiteY5692"/>
              </a:cxn>
              <a:cxn ang="0">
                <a:pos x="connsiteX5693" y="connsiteY5693"/>
              </a:cxn>
              <a:cxn ang="0">
                <a:pos x="connsiteX5694" y="connsiteY5694"/>
              </a:cxn>
              <a:cxn ang="0">
                <a:pos x="connsiteX5695" y="connsiteY5695"/>
              </a:cxn>
              <a:cxn ang="0">
                <a:pos x="connsiteX5696" y="connsiteY5696"/>
              </a:cxn>
              <a:cxn ang="0">
                <a:pos x="connsiteX5697" y="connsiteY5697"/>
              </a:cxn>
              <a:cxn ang="0">
                <a:pos x="connsiteX5698" y="connsiteY5698"/>
              </a:cxn>
              <a:cxn ang="0">
                <a:pos x="connsiteX5699" y="connsiteY5699"/>
              </a:cxn>
              <a:cxn ang="0">
                <a:pos x="connsiteX5700" y="connsiteY5700"/>
              </a:cxn>
              <a:cxn ang="0">
                <a:pos x="connsiteX5701" y="connsiteY5701"/>
              </a:cxn>
              <a:cxn ang="0">
                <a:pos x="connsiteX5702" y="connsiteY5702"/>
              </a:cxn>
              <a:cxn ang="0">
                <a:pos x="connsiteX5703" y="connsiteY5703"/>
              </a:cxn>
              <a:cxn ang="0">
                <a:pos x="connsiteX5704" y="connsiteY5704"/>
              </a:cxn>
              <a:cxn ang="0">
                <a:pos x="connsiteX5705" y="connsiteY5705"/>
              </a:cxn>
              <a:cxn ang="0">
                <a:pos x="connsiteX5706" y="connsiteY5706"/>
              </a:cxn>
              <a:cxn ang="0">
                <a:pos x="connsiteX5707" y="connsiteY5707"/>
              </a:cxn>
              <a:cxn ang="0">
                <a:pos x="connsiteX5708" y="connsiteY5708"/>
              </a:cxn>
              <a:cxn ang="0">
                <a:pos x="connsiteX5709" y="connsiteY5709"/>
              </a:cxn>
              <a:cxn ang="0">
                <a:pos x="connsiteX5710" y="connsiteY5710"/>
              </a:cxn>
              <a:cxn ang="0">
                <a:pos x="connsiteX5711" y="connsiteY5711"/>
              </a:cxn>
              <a:cxn ang="0">
                <a:pos x="connsiteX5712" y="connsiteY5712"/>
              </a:cxn>
              <a:cxn ang="0">
                <a:pos x="connsiteX5713" y="connsiteY5713"/>
              </a:cxn>
              <a:cxn ang="0">
                <a:pos x="connsiteX5714" y="connsiteY5714"/>
              </a:cxn>
              <a:cxn ang="0">
                <a:pos x="connsiteX5715" y="connsiteY5715"/>
              </a:cxn>
              <a:cxn ang="0">
                <a:pos x="connsiteX5716" y="connsiteY5716"/>
              </a:cxn>
              <a:cxn ang="0">
                <a:pos x="connsiteX5717" y="connsiteY5717"/>
              </a:cxn>
              <a:cxn ang="0">
                <a:pos x="connsiteX5718" y="connsiteY5718"/>
              </a:cxn>
              <a:cxn ang="0">
                <a:pos x="connsiteX5719" y="connsiteY5719"/>
              </a:cxn>
              <a:cxn ang="0">
                <a:pos x="connsiteX5720" y="connsiteY5720"/>
              </a:cxn>
              <a:cxn ang="0">
                <a:pos x="connsiteX5721" y="connsiteY5721"/>
              </a:cxn>
              <a:cxn ang="0">
                <a:pos x="connsiteX5722" y="connsiteY5722"/>
              </a:cxn>
              <a:cxn ang="0">
                <a:pos x="connsiteX5723" y="connsiteY5723"/>
              </a:cxn>
              <a:cxn ang="0">
                <a:pos x="connsiteX5724" y="connsiteY5724"/>
              </a:cxn>
              <a:cxn ang="0">
                <a:pos x="connsiteX5725" y="connsiteY5725"/>
              </a:cxn>
              <a:cxn ang="0">
                <a:pos x="connsiteX5726" y="connsiteY5726"/>
              </a:cxn>
              <a:cxn ang="0">
                <a:pos x="connsiteX5727" y="connsiteY5727"/>
              </a:cxn>
              <a:cxn ang="0">
                <a:pos x="connsiteX5728" y="connsiteY5728"/>
              </a:cxn>
              <a:cxn ang="0">
                <a:pos x="connsiteX5729" y="connsiteY5729"/>
              </a:cxn>
              <a:cxn ang="0">
                <a:pos x="connsiteX5730" y="connsiteY5730"/>
              </a:cxn>
              <a:cxn ang="0">
                <a:pos x="connsiteX5731" y="connsiteY5731"/>
              </a:cxn>
              <a:cxn ang="0">
                <a:pos x="connsiteX5732" y="connsiteY5732"/>
              </a:cxn>
              <a:cxn ang="0">
                <a:pos x="connsiteX5733" y="connsiteY5733"/>
              </a:cxn>
              <a:cxn ang="0">
                <a:pos x="connsiteX5734" y="connsiteY5734"/>
              </a:cxn>
              <a:cxn ang="0">
                <a:pos x="connsiteX5735" y="connsiteY5735"/>
              </a:cxn>
              <a:cxn ang="0">
                <a:pos x="connsiteX5736" y="connsiteY5736"/>
              </a:cxn>
              <a:cxn ang="0">
                <a:pos x="connsiteX5737" y="connsiteY5737"/>
              </a:cxn>
              <a:cxn ang="0">
                <a:pos x="connsiteX5738" y="connsiteY5738"/>
              </a:cxn>
              <a:cxn ang="0">
                <a:pos x="connsiteX5739" y="connsiteY5739"/>
              </a:cxn>
              <a:cxn ang="0">
                <a:pos x="connsiteX5740" y="connsiteY5740"/>
              </a:cxn>
              <a:cxn ang="0">
                <a:pos x="connsiteX5741" y="connsiteY5741"/>
              </a:cxn>
              <a:cxn ang="0">
                <a:pos x="connsiteX5742" y="connsiteY5742"/>
              </a:cxn>
              <a:cxn ang="0">
                <a:pos x="connsiteX5743" y="connsiteY5743"/>
              </a:cxn>
              <a:cxn ang="0">
                <a:pos x="connsiteX5744" y="connsiteY5744"/>
              </a:cxn>
              <a:cxn ang="0">
                <a:pos x="connsiteX5745" y="connsiteY5745"/>
              </a:cxn>
              <a:cxn ang="0">
                <a:pos x="connsiteX5746" y="connsiteY5746"/>
              </a:cxn>
              <a:cxn ang="0">
                <a:pos x="connsiteX5747" y="connsiteY5747"/>
              </a:cxn>
              <a:cxn ang="0">
                <a:pos x="connsiteX5748" y="connsiteY5748"/>
              </a:cxn>
              <a:cxn ang="0">
                <a:pos x="connsiteX5749" y="connsiteY5749"/>
              </a:cxn>
              <a:cxn ang="0">
                <a:pos x="connsiteX5750" y="connsiteY5750"/>
              </a:cxn>
              <a:cxn ang="0">
                <a:pos x="connsiteX5751" y="connsiteY5751"/>
              </a:cxn>
              <a:cxn ang="0">
                <a:pos x="connsiteX5752" y="connsiteY5752"/>
              </a:cxn>
              <a:cxn ang="0">
                <a:pos x="connsiteX5753" y="connsiteY5753"/>
              </a:cxn>
              <a:cxn ang="0">
                <a:pos x="connsiteX5754" y="connsiteY5754"/>
              </a:cxn>
              <a:cxn ang="0">
                <a:pos x="connsiteX5755" y="connsiteY5755"/>
              </a:cxn>
              <a:cxn ang="0">
                <a:pos x="connsiteX5756" y="connsiteY5756"/>
              </a:cxn>
              <a:cxn ang="0">
                <a:pos x="connsiteX5757" y="connsiteY5757"/>
              </a:cxn>
              <a:cxn ang="0">
                <a:pos x="connsiteX5758" y="connsiteY5758"/>
              </a:cxn>
              <a:cxn ang="0">
                <a:pos x="connsiteX5759" y="connsiteY5759"/>
              </a:cxn>
              <a:cxn ang="0">
                <a:pos x="connsiteX5760" y="connsiteY5760"/>
              </a:cxn>
              <a:cxn ang="0">
                <a:pos x="connsiteX5761" y="connsiteY5761"/>
              </a:cxn>
              <a:cxn ang="0">
                <a:pos x="connsiteX5762" y="connsiteY5762"/>
              </a:cxn>
              <a:cxn ang="0">
                <a:pos x="connsiteX5763" y="connsiteY5763"/>
              </a:cxn>
              <a:cxn ang="0">
                <a:pos x="connsiteX5764" y="connsiteY5764"/>
              </a:cxn>
              <a:cxn ang="0">
                <a:pos x="connsiteX5765" y="connsiteY5765"/>
              </a:cxn>
              <a:cxn ang="0">
                <a:pos x="connsiteX5766" y="connsiteY5766"/>
              </a:cxn>
              <a:cxn ang="0">
                <a:pos x="connsiteX5767" y="connsiteY5767"/>
              </a:cxn>
              <a:cxn ang="0">
                <a:pos x="connsiteX5768" y="connsiteY5768"/>
              </a:cxn>
              <a:cxn ang="0">
                <a:pos x="connsiteX5769" y="connsiteY5769"/>
              </a:cxn>
              <a:cxn ang="0">
                <a:pos x="connsiteX5770" y="connsiteY5770"/>
              </a:cxn>
              <a:cxn ang="0">
                <a:pos x="connsiteX5771" y="connsiteY5771"/>
              </a:cxn>
              <a:cxn ang="0">
                <a:pos x="connsiteX5772" y="connsiteY5772"/>
              </a:cxn>
              <a:cxn ang="0">
                <a:pos x="connsiteX5773" y="connsiteY5773"/>
              </a:cxn>
              <a:cxn ang="0">
                <a:pos x="connsiteX5774" y="connsiteY5774"/>
              </a:cxn>
              <a:cxn ang="0">
                <a:pos x="connsiteX5775" y="connsiteY5775"/>
              </a:cxn>
              <a:cxn ang="0">
                <a:pos x="connsiteX5776" y="connsiteY5776"/>
              </a:cxn>
              <a:cxn ang="0">
                <a:pos x="connsiteX5777" y="connsiteY5777"/>
              </a:cxn>
              <a:cxn ang="0">
                <a:pos x="connsiteX5778" y="connsiteY5778"/>
              </a:cxn>
              <a:cxn ang="0">
                <a:pos x="connsiteX5779" y="connsiteY5779"/>
              </a:cxn>
              <a:cxn ang="0">
                <a:pos x="connsiteX5780" y="connsiteY5780"/>
              </a:cxn>
              <a:cxn ang="0">
                <a:pos x="connsiteX5781" y="connsiteY5781"/>
              </a:cxn>
              <a:cxn ang="0">
                <a:pos x="connsiteX5782" y="connsiteY5782"/>
              </a:cxn>
              <a:cxn ang="0">
                <a:pos x="connsiteX5783" y="connsiteY5783"/>
              </a:cxn>
              <a:cxn ang="0">
                <a:pos x="connsiteX5784" y="connsiteY5784"/>
              </a:cxn>
              <a:cxn ang="0">
                <a:pos x="connsiteX5785" y="connsiteY5785"/>
              </a:cxn>
              <a:cxn ang="0">
                <a:pos x="connsiteX5786" y="connsiteY5786"/>
              </a:cxn>
              <a:cxn ang="0">
                <a:pos x="connsiteX5787" y="connsiteY5787"/>
              </a:cxn>
              <a:cxn ang="0">
                <a:pos x="connsiteX5788" y="connsiteY5788"/>
              </a:cxn>
              <a:cxn ang="0">
                <a:pos x="connsiteX5789" y="connsiteY5789"/>
              </a:cxn>
              <a:cxn ang="0">
                <a:pos x="connsiteX5790" y="connsiteY5790"/>
              </a:cxn>
              <a:cxn ang="0">
                <a:pos x="connsiteX5791" y="connsiteY5791"/>
              </a:cxn>
              <a:cxn ang="0">
                <a:pos x="connsiteX5792" y="connsiteY5792"/>
              </a:cxn>
              <a:cxn ang="0">
                <a:pos x="connsiteX5793" y="connsiteY5793"/>
              </a:cxn>
              <a:cxn ang="0">
                <a:pos x="connsiteX5794" y="connsiteY5794"/>
              </a:cxn>
              <a:cxn ang="0">
                <a:pos x="connsiteX5795" y="connsiteY5795"/>
              </a:cxn>
              <a:cxn ang="0">
                <a:pos x="connsiteX5796" y="connsiteY5796"/>
              </a:cxn>
              <a:cxn ang="0">
                <a:pos x="connsiteX5797" y="connsiteY5797"/>
              </a:cxn>
              <a:cxn ang="0">
                <a:pos x="connsiteX5798" y="connsiteY5798"/>
              </a:cxn>
              <a:cxn ang="0">
                <a:pos x="connsiteX5799" y="connsiteY5799"/>
              </a:cxn>
              <a:cxn ang="0">
                <a:pos x="connsiteX5800" y="connsiteY5800"/>
              </a:cxn>
              <a:cxn ang="0">
                <a:pos x="connsiteX5801" y="connsiteY5801"/>
              </a:cxn>
              <a:cxn ang="0">
                <a:pos x="connsiteX5802" y="connsiteY5802"/>
              </a:cxn>
              <a:cxn ang="0">
                <a:pos x="connsiteX5803" y="connsiteY5803"/>
              </a:cxn>
              <a:cxn ang="0">
                <a:pos x="connsiteX5804" y="connsiteY5804"/>
              </a:cxn>
              <a:cxn ang="0">
                <a:pos x="connsiteX5805" y="connsiteY5805"/>
              </a:cxn>
              <a:cxn ang="0">
                <a:pos x="connsiteX5806" y="connsiteY5806"/>
              </a:cxn>
              <a:cxn ang="0">
                <a:pos x="connsiteX5807" y="connsiteY5807"/>
              </a:cxn>
              <a:cxn ang="0">
                <a:pos x="connsiteX5808" y="connsiteY5808"/>
              </a:cxn>
              <a:cxn ang="0">
                <a:pos x="connsiteX5809" y="connsiteY5809"/>
              </a:cxn>
              <a:cxn ang="0">
                <a:pos x="connsiteX5810" y="connsiteY5810"/>
              </a:cxn>
              <a:cxn ang="0">
                <a:pos x="connsiteX5811" y="connsiteY5811"/>
              </a:cxn>
              <a:cxn ang="0">
                <a:pos x="connsiteX5812" y="connsiteY5812"/>
              </a:cxn>
              <a:cxn ang="0">
                <a:pos x="connsiteX5813" y="connsiteY5813"/>
              </a:cxn>
              <a:cxn ang="0">
                <a:pos x="connsiteX5814" y="connsiteY5814"/>
              </a:cxn>
              <a:cxn ang="0">
                <a:pos x="connsiteX5815" y="connsiteY5815"/>
              </a:cxn>
              <a:cxn ang="0">
                <a:pos x="connsiteX5816" y="connsiteY5816"/>
              </a:cxn>
              <a:cxn ang="0">
                <a:pos x="connsiteX5817" y="connsiteY5817"/>
              </a:cxn>
              <a:cxn ang="0">
                <a:pos x="connsiteX5818" y="connsiteY5818"/>
              </a:cxn>
              <a:cxn ang="0">
                <a:pos x="connsiteX5819" y="connsiteY5819"/>
              </a:cxn>
              <a:cxn ang="0">
                <a:pos x="connsiteX5820" y="connsiteY5820"/>
              </a:cxn>
              <a:cxn ang="0">
                <a:pos x="connsiteX5821" y="connsiteY5821"/>
              </a:cxn>
              <a:cxn ang="0">
                <a:pos x="connsiteX5822" y="connsiteY5822"/>
              </a:cxn>
              <a:cxn ang="0">
                <a:pos x="connsiteX5823" y="connsiteY5823"/>
              </a:cxn>
              <a:cxn ang="0">
                <a:pos x="connsiteX5824" y="connsiteY5824"/>
              </a:cxn>
              <a:cxn ang="0">
                <a:pos x="connsiteX5825" y="connsiteY5825"/>
              </a:cxn>
              <a:cxn ang="0">
                <a:pos x="connsiteX5826" y="connsiteY5826"/>
              </a:cxn>
              <a:cxn ang="0">
                <a:pos x="connsiteX5827" y="connsiteY5827"/>
              </a:cxn>
              <a:cxn ang="0">
                <a:pos x="connsiteX5828" y="connsiteY5828"/>
              </a:cxn>
              <a:cxn ang="0">
                <a:pos x="connsiteX5829" y="connsiteY5829"/>
              </a:cxn>
              <a:cxn ang="0">
                <a:pos x="connsiteX5830" y="connsiteY5830"/>
              </a:cxn>
              <a:cxn ang="0">
                <a:pos x="connsiteX5831" y="connsiteY5831"/>
              </a:cxn>
              <a:cxn ang="0">
                <a:pos x="connsiteX5832" y="connsiteY5832"/>
              </a:cxn>
              <a:cxn ang="0">
                <a:pos x="connsiteX5833" y="connsiteY5833"/>
              </a:cxn>
              <a:cxn ang="0">
                <a:pos x="connsiteX5834" y="connsiteY5834"/>
              </a:cxn>
              <a:cxn ang="0">
                <a:pos x="connsiteX5835" y="connsiteY5835"/>
              </a:cxn>
              <a:cxn ang="0">
                <a:pos x="connsiteX5836" y="connsiteY5836"/>
              </a:cxn>
              <a:cxn ang="0">
                <a:pos x="connsiteX5837" y="connsiteY5837"/>
              </a:cxn>
              <a:cxn ang="0">
                <a:pos x="connsiteX5838" y="connsiteY5838"/>
              </a:cxn>
              <a:cxn ang="0">
                <a:pos x="connsiteX5839" y="connsiteY5839"/>
              </a:cxn>
              <a:cxn ang="0">
                <a:pos x="connsiteX5840" y="connsiteY5840"/>
              </a:cxn>
              <a:cxn ang="0">
                <a:pos x="connsiteX5841" y="connsiteY5841"/>
              </a:cxn>
              <a:cxn ang="0">
                <a:pos x="connsiteX5842" y="connsiteY5842"/>
              </a:cxn>
              <a:cxn ang="0">
                <a:pos x="connsiteX5843" y="connsiteY5843"/>
              </a:cxn>
              <a:cxn ang="0">
                <a:pos x="connsiteX5844" y="connsiteY5844"/>
              </a:cxn>
              <a:cxn ang="0">
                <a:pos x="connsiteX5845" y="connsiteY5845"/>
              </a:cxn>
              <a:cxn ang="0">
                <a:pos x="connsiteX5846" y="connsiteY5846"/>
              </a:cxn>
              <a:cxn ang="0">
                <a:pos x="connsiteX5847" y="connsiteY5847"/>
              </a:cxn>
              <a:cxn ang="0">
                <a:pos x="connsiteX5848" y="connsiteY5848"/>
              </a:cxn>
              <a:cxn ang="0">
                <a:pos x="connsiteX5849" y="connsiteY5849"/>
              </a:cxn>
              <a:cxn ang="0">
                <a:pos x="connsiteX5850" y="connsiteY5850"/>
              </a:cxn>
              <a:cxn ang="0">
                <a:pos x="connsiteX5851" y="connsiteY5851"/>
              </a:cxn>
              <a:cxn ang="0">
                <a:pos x="connsiteX5852" y="connsiteY5852"/>
              </a:cxn>
              <a:cxn ang="0">
                <a:pos x="connsiteX5853" y="connsiteY5853"/>
              </a:cxn>
              <a:cxn ang="0">
                <a:pos x="connsiteX5854" y="connsiteY5854"/>
              </a:cxn>
              <a:cxn ang="0">
                <a:pos x="connsiteX5855" y="connsiteY5855"/>
              </a:cxn>
              <a:cxn ang="0">
                <a:pos x="connsiteX5856" y="connsiteY5856"/>
              </a:cxn>
              <a:cxn ang="0">
                <a:pos x="connsiteX5857" y="connsiteY5857"/>
              </a:cxn>
              <a:cxn ang="0">
                <a:pos x="connsiteX5858" y="connsiteY5858"/>
              </a:cxn>
              <a:cxn ang="0">
                <a:pos x="connsiteX5859" y="connsiteY5859"/>
              </a:cxn>
              <a:cxn ang="0">
                <a:pos x="connsiteX5860" y="connsiteY5860"/>
              </a:cxn>
              <a:cxn ang="0">
                <a:pos x="connsiteX5861" y="connsiteY5861"/>
              </a:cxn>
              <a:cxn ang="0">
                <a:pos x="connsiteX5862" y="connsiteY5862"/>
              </a:cxn>
              <a:cxn ang="0">
                <a:pos x="connsiteX5863" y="connsiteY5863"/>
              </a:cxn>
              <a:cxn ang="0">
                <a:pos x="connsiteX5864" y="connsiteY5864"/>
              </a:cxn>
              <a:cxn ang="0">
                <a:pos x="connsiteX5865" y="connsiteY5865"/>
              </a:cxn>
              <a:cxn ang="0">
                <a:pos x="connsiteX5866" y="connsiteY5866"/>
              </a:cxn>
              <a:cxn ang="0">
                <a:pos x="connsiteX5867" y="connsiteY5867"/>
              </a:cxn>
              <a:cxn ang="0">
                <a:pos x="connsiteX5868" y="connsiteY5868"/>
              </a:cxn>
              <a:cxn ang="0">
                <a:pos x="connsiteX5869" y="connsiteY5869"/>
              </a:cxn>
              <a:cxn ang="0">
                <a:pos x="connsiteX5870" y="connsiteY5870"/>
              </a:cxn>
              <a:cxn ang="0">
                <a:pos x="connsiteX5871" y="connsiteY5871"/>
              </a:cxn>
              <a:cxn ang="0">
                <a:pos x="connsiteX5872" y="connsiteY5872"/>
              </a:cxn>
              <a:cxn ang="0">
                <a:pos x="connsiteX5873" y="connsiteY5873"/>
              </a:cxn>
              <a:cxn ang="0">
                <a:pos x="connsiteX5874" y="connsiteY5874"/>
              </a:cxn>
              <a:cxn ang="0">
                <a:pos x="connsiteX5875" y="connsiteY5875"/>
              </a:cxn>
              <a:cxn ang="0">
                <a:pos x="connsiteX5876" y="connsiteY5876"/>
              </a:cxn>
              <a:cxn ang="0">
                <a:pos x="connsiteX5877" y="connsiteY5877"/>
              </a:cxn>
              <a:cxn ang="0">
                <a:pos x="connsiteX5878" y="connsiteY5878"/>
              </a:cxn>
              <a:cxn ang="0">
                <a:pos x="connsiteX5879" y="connsiteY5879"/>
              </a:cxn>
              <a:cxn ang="0">
                <a:pos x="connsiteX5880" y="connsiteY5880"/>
              </a:cxn>
              <a:cxn ang="0">
                <a:pos x="connsiteX5881" y="connsiteY5881"/>
              </a:cxn>
              <a:cxn ang="0">
                <a:pos x="connsiteX5882" y="connsiteY5882"/>
              </a:cxn>
              <a:cxn ang="0">
                <a:pos x="connsiteX5883" y="connsiteY5883"/>
              </a:cxn>
              <a:cxn ang="0">
                <a:pos x="connsiteX5884" y="connsiteY5884"/>
              </a:cxn>
              <a:cxn ang="0">
                <a:pos x="connsiteX5885" y="connsiteY5885"/>
              </a:cxn>
              <a:cxn ang="0">
                <a:pos x="connsiteX5886" y="connsiteY5886"/>
              </a:cxn>
              <a:cxn ang="0">
                <a:pos x="connsiteX5887" y="connsiteY5887"/>
              </a:cxn>
              <a:cxn ang="0">
                <a:pos x="connsiteX5888" y="connsiteY5888"/>
              </a:cxn>
              <a:cxn ang="0">
                <a:pos x="connsiteX5889" y="connsiteY5889"/>
              </a:cxn>
              <a:cxn ang="0">
                <a:pos x="connsiteX5890" y="connsiteY5890"/>
              </a:cxn>
              <a:cxn ang="0">
                <a:pos x="connsiteX5891" y="connsiteY5891"/>
              </a:cxn>
              <a:cxn ang="0">
                <a:pos x="connsiteX5892" y="connsiteY5892"/>
              </a:cxn>
              <a:cxn ang="0">
                <a:pos x="connsiteX5893" y="connsiteY5893"/>
              </a:cxn>
              <a:cxn ang="0">
                <a:pos x="connsiteX5894" y="connsiteY5894"/>
              </a:cxn>
              <a:cxn ang="0">
                <a:pos x="connsiteX5895" y="connsiteY5895"/>
              </a:cxn>
              <a:cxn ang="0">
                <a:pos x="connsiteX5896" y="connsiteY5896"/>
              </a:cxn>
              <a:cxn ang="0">
                <a:pos x="connsiteX5897" y="connsiteY5897"/>
              </a:cxn>
              <a:cxn ang="0">
                <a:pos x="connsiteX5898" y="connsiteY5898"/>
              </a:cxn>
              <a:cxn ang="0">
                <a:pos x="connsiteX5899" y="connsiteY5899"/>
              </a:cxn>
              <a:cxn ang="0">
                <a:pos x="connsiteX5900" y="connsiteY5900"/>
              </a:cxn>
              <a:cxn ang="0">
                <a:pos x="connsiteX5901" y="connsiteY5901"/>
              </a:cxn>
              <a:cxn ang="0">
                <a:pos x="connsiteX5902" y="connsiteY5902"/>
              </a:cxn>
              <a:cxn ang="0">
                <a:pos x="connsiteX5903" y="connsiteY5903"/>
              </a:cxn>
              <a:cxn ang="0">
                <a:pos x="connsiteX5904" y="connsiteY5904"/>
              </a:cxn>
              <a:cxn ang="0">
                <a:pos x="connsiteX5905" y="connsiteY5905"/>
              </a:cxn>
              <a:cxn ang="0">
                <a:pos x="connsiteX5906" y="connsiteY5906"/>
              </a:cxn>
              <a:cxn ang="0">
                <a:pos x="connsiteX5907" y="connsiteY5907"/>
              </a:cxn>
              <a:cxn ang="0">
                <a:pos x="connsiteX5908" y="connsiteY5908"/>
              </a:cxn>
              <a:cxn ang="0">
                <a:pos x="connsiteX5909" y="connsiteY5909"/>
              </a:cxn>
              <a:cxn ang="0">
                <a:pos x="connsiteX5910" y="connsiteY5910"/>
              </a:cxn>
              <a:cxn ang="0">
                <a:pos x="connsiteX5911" y="connsiteY5911"/>
              </a:cxn>
              <a:cxn ang="0">
                <a:pos x="connsiteX5912" y="connsiteY5912"/>
              </a:cxn>
              <a:cxn ang="0">
                <a:pos x="connsiteX5913" y="connsiteY5913"/>
              </a:cxn>
              <a:cxn ang="0">
                <a:pos x="connsiteX5914" y="connsiteY5914"/>
              </a:cxn>
              <a:cxn ang="0">
                <a:pos x="connsiteX5915" y="connsiteY5915"/>
              </a:cxn>
              <a:cxn ang="0">
                <a:pos x="connsiteX5916" y="connsiteY5916"/>
              </a:cxn>
              <a:cxn ang="0">
                <a:pos x="connsiteX5917" y="connsiteY5917"/>
              </a:cxn>
              <a:cxn ang="0">
                <a:pos x="connsiteX5918" y="connsiteY5918"/>
              </a:cxn>
              <a:cxn ang="0">
                <a:pos x="connsiteX5919" y="connsiteY5919"/>
              </a:cxn>
              <a:cxn ang="0">
                <a:pos x="connsiteX5920" y="connsiteY5920"/>
              </a:cxn>
              <a:cxn ang="0">
                <a:pos x="connsiteX5921" y="connsiteY5921"/>
              </a:cxn>
              <a:cxn ang="0">
                <a:pos x="connsiteX5922" y="connsiteY5922"/>
              </a:cxn>
              <a:cxn ang="0">
                <a:pos x="connsiteX5923" y="connsiteY5923"/>
              </a:cxn>
              <a:cxn ang="0">
                <a:pos x="connsiteX5924" y="connsiteY5924"/>
              </a:cxn>
              <a:cxn ang="0">
                <a:pos x="connsiteX5925" y="connsiteY5925"/>
              </a:cxn>
              <a:cxn ang="0">
                <a:pos x="connsiteX5926" y="connsiteY5926"/>
              </a:cxn>
              <a:cxn ang="0">
                <a:pos x="connsiteX5927" y="connsiteY5927"/>
              </a:cxn>
              <a:cxn ang="0">
                <a:pos x="connsiteX5928" y="connsiteY5928"/>
              </a:cxn>
              <a:cxn ang="0">
                <a:pos x="connsiteX5929" y="connsiteY5929"/>
              </a:cxn>
              <a:cxn ang="0">
                <a:pos x="connsiteX5930" y="connsiteY5930"/>
              </a:cxn>
              <a:cxn ang="0">
                <a:pos x="connsiteX5931" y="connsiteY5931"/>
              </a:cxn>
              <a:cxn ang="0">
                <a:pos x="connsiteX5932" y="connsiteY5932"/>
              </a:cxn>
              <a:cxn ang="0">
                <a:pos x="connsiteX5933" y="connsiteY5933"/>
              </a:cxn>
              <a:cxn ang="0">
                <a:pos x="connsiteX5934" y="connsiteY5934"/>
              </a:cxn>
              <a:cxn ang="0">
                <a:pos x="connsiteX5935" y="connsiteY5935"/>
              </a:cxn>
              <a:cxn ang="0">
                <a:pos x="connsiteX5936" y="connsiteY5936"/>
              </a:cxn>
              <a:cxn ang="0">
                <a:pos x="connsiteX5937" y="connsiteY5937"/>
              </a:cxn>
              <a:cxn ang="0">
                <a:pos x="connsiteX5938" y="connsiteY5938"/>
              </a:cxn>
              <a:cxn ang="0">
                <a:pos x="connsiteX5939" y="connsiteY5939"/>
              </a:cxn>
              <a:cxn ang="0">
                <a:pos x="connsiteX5940" y="connsiteY5940"/>
              </a:cxn>
              <a:cxn ang="0">
                <a:pos x="connsiteX5941" y="connsiteY5941"/>
              </a:cxn>
              <a:cxn ang="0">
                <a:pos x="connsiteX5942" y="connsiteY5942"/>
              </a:cxn>
              <a:cxn ang="0">
                <a:pos x="connsiteX5943" y="connsiteY5943"/>
              </a:cxn>
              <a:cxn ang="0">
                <a:pos x="connsiteX5944" y="connsiteY5944"/>
              </a:cxn>
              <a:cxn ang="0">
                <a:pos x="connsiteX5945" y="connsiteY5945"/>
              </a:cxn>
              <a:cxn ang="0">
                <a:pos x="connsiteX5946" y="connsiteY5946"/>
              </a:cxn>
              <a:cxn ang="0">
                <a:pos x="connsiteX5947" y="connsiteY5947"/>
              </a:cxn>
              <a:cxn ang="0">
                <a:pos x="connsiteX5948" y="connsiteY5948"/>
              </a:cxn>
              <a:cxn ang="0">
                <a:pos x="connsiteX5949" y="connsiteY5949"/>
              </a:cxn>
              <a:cxn ang="0">
                <a:pos x="connsiteX5950" y="connsiteY5950"/>
              </a:cxn>
              <a:cxn ang="0">
                <a:pos x="connsiteX5951" y="connsiteY5951"/>
              </a:cxn>
              <a:cxn ang="0">
                <a:pos x="connsiteX5952" y="connsiteY5952"/>
              </a:cxn>
              <a:cxn ang="0">
                <a:pos x="connsiteX5953" y="connsiteY5953"/>
              </a:cxn>
              <a:cxn ang="0">
                <a:pos x="connsiteX5954" y="connsiteY5954"/>
              </a:cxn>
              <a:cxn ang="0">
                <a:pos x="connsiteX5955" y="connsiteY5955"/>
              </a:cxn>
              <a:cxn ang="0">
                <a:pos x="connsiteX5956" y="connsiteY5956"/>
              </a:cxn>
              <a:cxn ang="0">
                <a:pos x="connsiteX5957" y="connsiteY5957"/>
              </a:cxn>
              <a:cxn ang="0">
                <a:pos x="connsiteX5958" y="connsiteY5958"/>
              </a:cxn>
              <a:cxn ang="0">
                <a:pos x="connsiteX5959" y="connsiteY5959"/>
              </a:cxn>
              <a:cxn ang="0">
                <a:pos x="connsiteX5960" y="connsiteY5960"/>
              </a:cxn>
              <a:cxn ang="0">
                <a:pos x="connsiteX5961" y="connsiteY5961"/>
              </a:cxn>
              <a:cxn ang="0">
                <a:pos x="connsiteX5962" y="connsiteY5962"/>
              </a:cxn>
              <a:cxn ang="0">
                <a:pos x="connsiteX5963" y="connsiteY5963"/>
              </a:cxn>
              <a:cxn ang="0">
                <a:pos x="connsiteX5964" y="connsiteY5964"/>
              </a:cxn>
              <a:cxn ang="0">
                <a:pos x="connsiteX5965" y="connsiteY5965"/>
              </a:cxn>
              <a:cxn ang="0">
                <a:pos x="connsiteX5966" y="connsiteY5966"/>
              </a:cxn>
              <a:cxn ang="0">
                <a:pos x="connsiteX5967" y="connsiteY5967"/>
              </a:cxn>
              <a:cxn ang="0">
                <a:pos x="connsiteX5968" y="connsiteY5968"/>
              </a:cxn>
              <a:cxn ang="0">
                <a:pos x="connsiteX5969" y="connsiteY5969"/>
              </a:cxn>
              <a:cxn ang="0">
                <a:pos x="connsiteX5970" y="connsiteY5970"/>
              </a:cxn>
              <a:cxn ang="0">
                <a:pos x="connsiteX5971" y="connsiteY5971"/>
              </a:cxn>
              <a:cxn ang="0">
                <a:pos x="connsiteX5972" y="connsiteY5972"/>
              </a:cxn>
              <a:cxn ang="0">
                <a:pos x="connsiteX5973" y="connsiteY5973"/>
              </a:cxn>
              <a:cxn ang="0">
                <a:pos x="connsiteX5974" y="connsiteY5974"/>
              </a:cxn>
              <a:cxn ang="0">
                <a:pos x="connsiteX5975" y="connsiteY5975"/>
              </a:cxn>
              <a:cxn ang="0">
                <a:pos x="connsiteX5976" y="connsiteY5976"/>
              </a:cxn>
              <a:cxn ang="0">
                <a:pos x="connsiteX5977" y="connsiteY5977"/>
              </a:cxn>
              <a:cxn ang="0">
                <a:pos x="connsiteX5978" y="connsiteY5978"/>
              </a:cxn>
              <a:cxn ang="0">
                <a:pos x="connsiteX5979" y="connsiteY5979"/>
              </a:cxn>
              <a:cxn ang="0">
                <a:pos x="connsiteX5980" y="connsiteY5980"/>
              </a:cxn>
              <a:cxn ang="0">
                <a:pos x="connsiteX5981" y="connsiteY5981"/>
              </a:cxn>
              <a:cxn ang="0">
                <a:pos x="connsiteX5982" y="connsiteY5982"/>
              </a:cxn>
              <a:cxn ang="0">
                <a:pos x="connsiteX5983" y="connsiteY5983"/>
              </a:cxn>
              <a:cxn ang="0">
                <a:pos x="connsiteX5984" y="connsiteY5984"/>
              </a:cxn>
              <a:cxn ang="0">
                <a:pos x="connsiteX5985" y="connsiteY5985"/>
              </a:cxn>
              <a:cxn ang="0">
                <a:pos x="connsiteX5986" y="connsiteY5986"/>
              </a:cxn>
              <a:cxn ang="0">
                <a:pos x="connsiteX5987" y="connsiteY5987"/>
              </a:cxn>
              <a:cxn ang="0">
                <a:pos x="connsiteX5988" y="connsiteY5988"/>
              </a:cxn>
              <a:cxn ang="0">
                <a:pos x="connsiteX5989" y="connsiteY5989"/>
              </a:cxn>
              <a:cxn ang="0">
                <a:pos x="connsiteX5990" y="connsiteY5990"/>
              </a:cxn>
              <a:cxn ang="0">
                <a:pos x="connsiteX5991" y="connsiteY5991"/>
              </a:cxn>
              <a:cxn ang="0">
                <a:pos x="connsiteX5992" y="connsiteY5992"/>
              </a:cxn>
              <a:cxn ang="0">
                <a:pos x="connsiteX5993" y="connsiteY5993"/>
              </a:cxn>
              <a:cxn ang="0">
                <a:pos x="connsiteX5994" y="connsiteY5994"/>
              </a:cxn>
              <a:cxn ang="0">
                <a:pos x="connsiteX5995" y="connsiteY5995"/>
              </a:cxn>
              <a:cxn ang="0">
                <a:pos x="connsiteX5996" y="connsiteY5996"/>
              </a:cxn>
              <a:cxn ang="0">
                <a:pos x="connsiteX5997" y="connsiteY5997"/>
              </a:cxn>
              <a:cxn ang="0">
                <a:pos x="connsiteX5998" y="connsiteY5998"/>
              </a:cxn>
              <a:cxn ang="0">
                <a:pos x="connsiteX5999" y="connsiteY5999"/>
              </a:cxn>
              <a:cxn ang="0">
                <a:pos x="connsiteX6000" y="connsiteY6000"/>
              </a:cxn>
              <a:cxn ang="0">
                <a:pos x="connsiteX6001" y="connsiteY6001"/>
              </a:cxn>
              <a:cxn ang="0">
                <a:pos x="connsiteX6002" y="connsiteY6002"/>
              </a:cxn>
              <a:cxn ang="0">
                <a:pos x="connsiteX6003" y="connsiteY6003"/>
              </a:cxn>
              <a:cxn ang="0">
                <a:pos x="connsiteX6004" y="connsiteY6004"/>
              </a:cxn>
              <a:cxn ang="0">
                <a:pos x="connsiteX6005" y="connsiteY6005"/>
              </a:cxn>
              <a:cxn ang="0">
                <a:pos x="connsiteX6006" y="connsiteY6006"/>
              </a:cxn>
              <a:cxn ang="0">
                <a:pos x="connsiteX6007" y="connsiteY6007"/>
              </a:cxn>
              <a:cxn ang="0">
                <a:pos x="connsiteX6008" y="connsiteY6008"/>
              </a:cxn>
              <a:cxn ang="0">
                <a:pos x="connsiteX6009" y="connsiteY6009"/>
              </a:cxn>
              <a:cxn ang="0">
                <a:pos x="connsiteX6010" y="connsiteY6010"/>
              </a:cxn>
              <a:cxn ang="0">
                <a:pos x="connsiteX6011" y="connsiteY6011"/>
              </a:cxn>
              <a:cxn ang="0">
                <a:pos x="connsiteX6012" y="connsiteY6012"/>
              </a:cxn>
              <a:cxn ang="0">
                <a:pos x="connsiteX6013" y="connsiteY6013"/>
              </a:cxn>
              <a:cxn ang="0">
                <a:pos x="connsiteX6014" y="connsiteY6014"/>
              </a:cxn>
              <a:cxn ang="0">
                <a:pos x="connsiteX6015" y="connsiteY6015"/>
              </a:cxn>
              <a:cxn ang="0">
                <a:pos x="connsiteX6016" y="connsiteY6016"/>
              </a:cxn>
              <a:cxn ang="0">
                <a:pos x="connsiteX6017" y="connsiteY6017"/>
              </a:cxn>
              <a:cxn ang="0">
                <a:pos x="connsiteX6018" y="connsiteY6018"/>
              </a:cxn>
              <a:cxn ang="0">
                <a:pos x="connsiteX6019" y="connsiteY6019"/>
              </a:cxn>
              <a:cxn ang="0">
                <a:pos x="connsiteX6020" y="connsiteY6020"/>
              </a:cxn>
              <a:cxn ang="0">
                <a:pos x="connsiteX6021" y="connsiteY6021"/>
              </a:cxn>
              <a:cxn ang="0">
                <a:pos x="connsiteX6022" y="connsiteY6022"/>
              </a:cxn>
              <a:cxn ang="0">
                <a:pos x="connsiteX6023" y="connsiteY6023"/>
              </a:cxn>
              <a:cxn ang="0">
                <a:pos x="connsiteX6024" y="connsiteY6024"/>
              </a:cxn>
              <a:cxn ang="0">
                <a:pos x="connsiteX6025" y="connsiteY6025"/>
              </a:cxn>
              <a:cxn ang="0">
                <a:pos x="connsiteX6026" y="connsiteY6026"/>
              </a:cxn>
              <a:cxn ang="0">
                <a:pos x="connsiteX6027" y="connsiteY6027"/>
              </a:cxn>
              <a:cxn ang="0">
                <a:pos x="connsiteX6028" y="connsiteY6028"/>
              </a:cxn>
              <a:cxn ang="0">
                <a:pos x="connsiteX6029" y="connsiteY6029"/>
              </a:cxn>
              <a:cxn ang="0">
                <a:pos x="connsiteX6030" y="connsiteY6030"/>
              </a:cxn>
              <a:cxn ang="0">
                <a:pos x="connsiteX6031" y="connsiteY6031"/>
              </a:cxn>
              <a:cxn ang="0">
                <a:pos x="connsiteX6032" y="connsiteY6032"/>
              </a:cxn>
              <a:cxn ang="0">
                <a:pos x="connsiteX6033" y="connsiteY6033"/>
              </a:cxn>
              <a:cxn ang="0">
                <a:pos x="connsiteX6034" y="connsiteY6034"/>
              </a:cxn>
              <a:cxn ang="0">
                <a:pos x="connsiteX6035" y="connsiteY6035"/>
              </a:cxn>
              <a:cxn ang="0">
                <a:pos x="connsiteX6036" y="connsiteY6036"/>
              </a:cxn>
              <a:cxn ang="0">
                <a:pos x="connsiteX6037" y="connsiteY6037"/>
              </a:cxn>
              <a:cxn ang="0">
                <a:pos x="connsiteX6038" y="connsiteY6038"/>
              </a:cxn>
              <a:cxn ang="0">
                <a:pos x="connsiteX6039" y="connsiteY6039"/>
              </a:cxn>
              <a:cxn ang="0">
                <a:pos x="connsiteX6040" y="connsiteY6040"/>
              </a:cxn>
              <a:cxn ang="0">
                <a:pos x="connsiteX6041" y="connsiteY6041"/>
              </a:cxn>
              <a:cxn ang="0">
                <a:pos x="connsiteX6042" y="connsiteY6042"/>
              </a:cxn>
              <a:cxn ang="0">
                <a:pos x="connsiteX6043" y="connsiteY6043"/>
              </a:cxn>
              <a:cxn ang="0">
                <a:pos x="connsiteX6044" y="connsiteY6044"/>
              </a:cxn>
              <a:cxn ang="0">
                <a:pos x="connsiteX6045" y="connsiteY6045"/>
              </a:cxn>
              <a:cxn ang="0">
                <a:pos x="connsiteX6046" y="connsiteY6046"/>
              </a:cxn>
              <a:cxn ang="0">
                <a:pos x="connsiteX6047" y="connsiteY6047"/>
              </a:cxn>
              <a:cxn ang="0">
                <a:pos x="connsiteX6048" y="connsiteY6048"/>
              </a:cxn>
              <a:cxn ang="0">
                <a:pos x="connsiteX6049" y="connsiteY6049"/>
              </a:cxn>
              <a:cxn ang="0">
                <a:pos x="connsiteX6050" y="connsiteY6050"/>
              </a:cxn>
              <a:cxn ang="0">
                <a:pos x="connsiteX6051" y="connsiteY6051"/>
              </a:cxn>
              <a:cxn ang="0">
                <a:pos x="connsiteX6052" y="connsiteY6052"/>
              </a:cxn>
              <a:cxn ang="0">
                <a:pos x="connsiteX6053" y="connsiteY6053"/>
              </a:cxn>
              <a:cxn ang="0">
                <a:pos x="connsiteX6054" y="connsiteY6054"/>
              </a:cxn>
              <a:cxn ang="0">
                <a:pos x="connsiteX6055" y="connsiteY6055"/>
              </a:cxn>
              <a:cxn ang="0">
                <a:pos x="connsiteX6056" y="connsiteY6056"/>
              </a:cxn>
              <a:cxn ang="0">
                <a:pos x="connsiteX6057" y="connsiteY6057"/>
              </a:cxn>
              <a:cxn ang="0">
                <a:pos x="connsiteX6058" y="connsiteY6058"/>
              </a:cxn>
              <a:cxn ang="0">
                <a:pos x="connsiteX6059" y="connsiteY6059"/>
              </a:cxn>
              <a:cxn ang="0">
                <a:pos x="connsiteX6060" y="connsiteY6060"/>
              </a:cxn>
              <a:cxn ang="0">
                <a:pos x="connsiteX6061" y="connsiteY6061"/>
              </a:cxn>
              <a:cxn ang="0">
                <a:pos x="connsiteX6062" y="connsiteY6062"/>
              </a:cxn>
              <a:cxn ang="0">
                <a:pos x="connsiteX6063" y="connsiteY6063"/>
              </a:cxn>
              <a:cxn ang="0">
                <a:pos x="connsiteX6064" y="connsiteY6064"/>
              </a:cxn>
              <a:cxn ang="0">
                <a:pos x="connsiteX6065" y="connsiteY6065"/>
              </a:cxn>
              <a:cxn ang="0">
                <a:pos x="connsiteX6066" y="connsiteY6066"/>
              </a:cxn>
              <a:cxn ang="0">
                <a:pos x="connsiteX6067" y="connsiteY6067"/>
              </a:cxn>
              <a:cxn ang="0">
                <a:pos x="connsiteX6068" y="connsiteY6068"/>
              </a:cxn>
              <a:cxn ang="0">
                <a:pos x="connsiteX6069" y="connsiteY6069"/>
              </a:cxn>
              <a:cxn ang="0">
                <a:pos x="connsiteX6070" y="connsiteY6070"/>
              </a:cxn>
              <a:cxn ang="0">
                <a:pos x="connsiteX6071" y="connsiteY6071"/>
              </a:cxn>
              <a:cxn ang="0">
                <a:pos x="connsiteX6072" y="connsiteY6072"/>
              </a:cxn>
              <a:cxn ang="0">
                <a:pos x="connsiteX6073" y="connsiteY6073"/>
              </a:cxn>
              <a:cxn ang="0">
                <a:pos x="connsiteX6074" y="connsiteY6074"/>
              </a:cxn>
              <a:cxn ang="0">
                <a:pos x="connsiteX6075" y="connsiteY6075"/>
              </a:cxn>
              <a:cxn ang="0">
                <a:pos x="connsiteX6076" y="connsiteY6076"/>
              </a:cxn>
              <a:cxn ang="0">
                <a:pos x="connsiteX6077" y="connsiteY6077"/>
              </a:cxn>
              <a:cxn ang="0">
                <a:pos x="connsiteX6078" y="connsiteY6078"/>
              </a:cxn>
              <a:cxn ang="0">
                <a:pos x="connsiteX6079" y="connsiteY6079"/>
              </a:cxn>
              <a:cxn ang="0">
                <a:pos x="connsiteX6080" y="connsiteY6080"/>
              </a:cxn>
              <a:cxn ang="0">
                <a:pos x="connsiteX6081" y="connsiteY6081"/>
              </a:cxn>
              <a:cxn ang="0">
                <a:pos x="connsiteX6082" y="connsiteY6082"/>
              </a:cxn>
              <a:cxn ang="0">
                <a:pos x="connsiteX6083" y="connsiteY6083"/>
              </a:cxn>
              <a:cxn ang="0">
                <a:pos x="connsiteX6084" y="connsiteY6084"/>
              </a:cxn>
              <a:cxn ang="0">
                <a:pos x="connsiteX6085" y="connsiteY6085"/>
              </a:cxn>
              <a:cxn ang="0">
                <a:pos x="connsiteX6086" y="connsiteY6086"/>
              </a:cxn>
              <a:cxn ang="0">
                <a:pos x="connsiteX6087" y="connsiteY6087"/>
              </a:cxn>
              <a:cxn ang="0">
                <a:pos x="connsiteX6088" y="connsiteY6088"/>
              </a:cxn>
              <a:cxn ang="0">
                <a:pos x="connsiteX6089" y="connsiteY6089"/>
              </a:cxn>
              <a:cxn ang="0">
                <a:pos x="connsiteX6090" y="connsiteY6090"/>
              </a:cxn>
              <a:cxn ang="0">
                <a:pos x="connsiteX6091" y="connsiteY6091"/>
              </a:cxn>
              <a:cxn ang="0">
                <a:pos x="connsiteX6092" y="connsiteY6092"/>
              </a:cxn>
              <a:cxn ang="0">
                <a:pos x="connsiteX6093" y="connsiteY6093"/>
              </a:cxn>
              <a:cxn ang="0">
                <a:pos x="connsiteX6094" y="connsiteY6094"/>
              </a:cxn>
              <a:cxn ang="0">
                <a:pos x="connsiteX6095" y="connsiteY6095"/>
              </a:cxn>
              <a:cxn ang="0">
                <a:pos x="connsiteX6096" y="connsiteY6096"/>
              </a:cxn>
              <a:cxn ang="0">
                <a:pos x="connsiteX6097" y="connsiteY6097"/>
              </a:cxn>
              <a:cxn ang="0">
                <a:pos x="connsiteX6098" y="connsiteY6098"/>
              </a:cxn>
              <a:cxn ang="0">
                <a:pos x="connsiteX6099" y="connsiteY6099"/>
              </a:cxn>
              <a:cxn ang="0">
                <a:pos x="connsiteX6100" y="connsiteY6100"/>
              </a:cxn>
              <a:cxn ang="0">
                <a:pos x="connsiteX6101" y="connsiteY6101"/>
              </a:cxn>
              <a:cxn ang="0">
                <a:pos x="connsiteX6102" y="connsiteY6102"/>
              </a:cxn>
              <a:cxn ang="0">
                <a:pos x="connsiteX6103" y="connsiteY6103"/>
              </a:cxn>
              <a:cxn ang="0">
                <a:pos x="connsiteX6104" y="connsiteY6104"/>
              </a:cxn>
              <a:cxn ang="0">
                <a:pos x="connsiteX6105" y="connsiteY6105"/>
              </a:cxn>
              <a:cxn ang="0">
                <a:pos x="connsiteX6106" y="connsiteY6106"/>
              </a:cxn>
              <a:cxn ang="0">
                <a:pos x="connsiteX6107" y="connsiteY6107"/>
              </a:cxn>
              <a:cxn ang="0">
                <a:pos x="connsiteX6108" y="connsiteY6108"/>
              </a:cxn>
              <a:cxn ang="0">
                <a:pos x="connsiteX6109" y="connsiteY6109"/>
              </a:cxn>
              <a:cxn ang="0">
                <a:pos x="connsiteX6110" y="connsiteY6110"/>
              </a:cxn>
              <a:cxn ang="0">
                <a:pos x="connsiteX6111" y="connsiteY6111"/>
              </a:cxn>
              <a:cxn ang="0">
                <a:pos x="connsiteX6112" y="connsiteY6112"/>
              </a:cxn>
              <a:cxn ang="0">
                <a:pos x="connsiteX6113" y="connsiteY6113"/>
              </a:cxn>
              <a:cxn ang="0">
                <a:pos x="connsiteX6114" y="connsiteY6114"/>
              </a:cxn>
              <a:cxn ang="0">
                <a:pos x="connsiteX6115" y="connsiteY6115"/>
              </a:cxn>
              <a:cxn ang="0">
                <a:pos x="connsiteX6116" y="connsiteY6116"/>
              </a:cxn>
              <a:cxn ang="0">
                <a:pos x="connsiteX6117" y="connsiteY6117"/>
              </a:cxn>
              <a:cxn ang="0">
                <a:pos x="connsiteX6118" y="connsiteY6118"/>
              </a:cxn>
              <a:cxn ang="0">
                <a:pos x="connsiteX6119" y="connsiteY6119"/>
              </a:cxn>
              <a:cxn ang="0">
                <a:pos x="connsiteX6120" y="connsiteY6120"/>
              </a:cxn>
              <a:cxn ang="0">
                <a:pos x="connsiteX6121" y="connsiteY6121"/>
              </a:cxn>
              <a:cxn ang="0">
                <a:pos x="connsiteX6122" y="connsiteY6122"/>
              </a:cxn>
              <a:cxn ang="0">
                <a:pos x="connsiteX6123" y="connsiteY6123"/>
              </a:cxn>
              <a:cxn ang="0">
                <a:pos x="connsiteX6124" y="connsiteY6124"/>
              </a:cxn>
              <a:cxn ang="0">
                <a:pos x="connsiteX6125" y="connsiteY6125"/>
              </a:cxn>
              <a:cxn ang="0">
                <a:pos x="connsiteX6126" y="connsiteY6126"/>
              </a:cxn>
              <a:cxn ang="0">
                <a:pos x="connsiteX6127" y="connsiteY6127"/>
              </a:cxn>
              <a:cxn ang="0">
                <a:pos x="connsiteX6128" y="connsiteY6128"/>
              </a:cxn>
              <a:cxn ang="0">
                <a:pos x="connsiteX6129" y="connsiteY6129"/>
              </a:cxn>
              <a:cxn ang="0">
                <a:pos x="connsiteX6130" y="connsiteY6130"/>
              </a:cxn>
              <a:cxn ang="0">
                <a:pos x="connsiteX6131" y="connsiteY6131"/>
              </a:cxn>
              <a:cxn ang="0">
                <a:pos x="connsiteX6132" y="connsiteY6132"/>
              </a:cxn>
              <a:cxn ang="0">
                <a:pos x="connsiteX6133" y="connsiteY6133"/>
              </a:cxn>
              <a:cxn ang="0">
                <a:pos x="connsiteX6134" y="connsiteY6134"/>
              </a:cxn>
              <a:cxn ang="0">
                <a:pos x="connsiteX6135" y="connsiteY6135"/>
              </a:cxn>
              <a:cxn ang="0">
                <a:pos x="connsiteX6136" y="connsiteY6136"/>
              </a:cxn>
              <a:cxn ang="0">
                <a:pos x="connsiteX6137" y="connsiteY6137"/>
              </a:cxn>
              <a:cxn ang="0">
                <a:pos x="connsiteX6138" y="connsiteY6138"/>
              </a:cxn>
              <a:cxn ang="0">
                <a:pos x="connsiteX6139" y="connsiteY6139"/>
              </a:cxn>
              <a:cxn ang="0">
                <a:pos x="connsiteX6140" y="connsiteY6140"/>
              </a:cxn>
              <a:cxn ang="0">
                <a:pos x="connsiteX6141" y="connsiteY6141"/>
              </a:cxn>
              <a:cxn ang="0">
                <a:pos x="connsiteX6142" y="connsiteY6142"/>
              </a:cxn>
              <a:cxn ang="0">
                <a:pos x="connsiteX6143" y="connsiteY6143"/>
              </a:cxn>
              <a:cxn ang="0">
                <a:pos x="connsiteX6144" y="connsiteY6144"/>
              </a:cxn>
              <a:cxn ang="0">
                <a:pos x="connsiteX6145" y="connsiteY6145"/>
              </a:cxn>
              <a:cxn ang="0">
                <a:pos x="connsiteX6146" y="connsiteY6146"/>
              </a:cxn>
              <a:cxn ang="0">
                <a:pos x="connsiteX6147" y="connsiteY6147"/>
              </a:cxn>
              <a:cxn ang="0">
                <a:pos x="connsiteX6148" y="connsiteY6148"/>
              </a:cxn>
              <a:cxn ang="0">
                <a:pos x="connsiteX6149" y="connsiteY6149"/>
              </a:cxn>
              <a:cxn ang="0">
                <a:pos x="connsiteX6150" y="connsiteY6150"/>
              </a:cxn>
              <a:cxn ang="0">
                <a:pos x="connsiteX6151" y="connsiteY6151"/>
              </a:cxn>
              <a:cxn ang="0">
                <a:pos x="connsiteX6152" y="connsiteY6152"/>
              </a:cxn>
              <a:cxn ang="0">
                <a:pos x="connsiteX6153" y="connsiteY6153"/>
              </a:cxn>
              <a:cxn ang="0">
                <a:pos x="connsiteX6154" y="connsiteY6154"/>
              </a:cxn>
              <a:cxn ang="0">
                <a:pos x="connsiteX6155" y="connsiteY6155"/>
              </a:cxn>
              <a:cxn ang="0">
                <a:pos x="connsiteX6156" y="connsiteY6156"/>
              </a:cxn>
              <a:cxn ang="0">
                <a:pos x="connsiteX6157" y="connsiteY6157"/>
              </a:cxn>
              <a:cxn ang="0">
                <a:pos x="connsiteX6158" y="connsiteY6158"/>
              </a:cxn>
              <a:cxn ang="0">
                <a:pos x="connsiteX6159" y="connsiteY6159"/>
              </a:cxn>
              <a:cxn ang="0">
                <a:pos x="connsiteX6160" y="connsiteY6160"/>
              </a:cxn>
              <a:cxn ang="0">
                <a:pos x="connsiteX6161" y="connsiteY6161"/>
              </a:cxn>
              <a:cxn ang="0">
                <a:pos x="connsiteX6162" y="connsiteY6162"/>
              </a:cxn>
              <a:cxn ang="0">
                <a:pos x="connsiteX6163" y="connsiteY6163"/>
              </a:cxn>
              <a:cxn ang="0">
                <a:pos x="connsiteX6164" y="connsiteY6164"/>
              </a:cxn>
              <a:cxn ang="0">
                <a:pos x="connsiteX6165" y="connsiteY6165"/>
              </a:cxn>
              <a:cxn ang="0">
                <a:pos x="connsiteX6166" y="connsiteY6166"/>
              </a:cxn>
              <a:cxn ang="0">
                <a:pos x="connsiteX6167" y="connsiteY6167"/>
              </a:cxn>
              <a:cxn ang="0">
                <a:pos x="connsiteX6168" y="connsiteY6168"/>
              </a:cxn>
              <a:cxn ang="0">
                <a:pos x="connsiteX6169" y="connsiteY6169"/>
              </a:cxn>
              <a:cxn ang="0">
                <a:pos x="connsiteX6170" y="connsiteY6170"/>
              </a:cxn>
              <a:cxn ang="0">
                <a:pos x="connsiteX6171" y="connsiteY6171"/>
              </a:cxn>
              <a:cxn ang="0">
                <a:pos x="connsiteX6172" y="connsiteY6172"/>
              </a:cxn>
              <a:cxn ang="0">
                <a:pos x="connsiteX6173" y="connsiteY6173"/>
              </a:cxn>
              <a:cxn ang="0">
                <a:pos x="connsiteX6174" y="connsiteY6174"/>
              </a:cxn>
              <a:cxn ang="0">
                <a:pos x="connsiteX6175" y="connsiteY6175"/>
              </a:cxn>
              <a:cxn ang="0">
                <a:pos x="connsiteX6176" y="connsiteY6176"/>
              </a:cxn>
              <a:cxn ang="0">
                <a:pos x="connsiteX6177" y="connsiteY6177"/>
              </a:cxn>
              <a:cxn ang="0">
                <a:pos x="connsiteX6178" y="connsiteY6178"/>
              </a:cxn>
              <a:cxn ang="0">
                <a:pos x="connsiteX6179" y="connsiteY6179"/>
              </a:cxn>
              <a:cxn ang="0">
                <a:pos x="connsiteX6180" y="connsiteY6180"/>
              </a:cxn>
              <a:cxn ang="0">
                <a:pos x="connsiteX6181" y="connsiteY6181"/>
              </a:cxn>
              <a:cxn ang="0">
                <a:pos x="connsiteX6182" y="connsiteY6182"/>
              </a:cxn>
              <a:cxn ang="0">
                <a:pos x="connsiteX6183" y="connsiteY6183"/>
              </a:cxn>
              <a:cxn ang="0">
                <a:pos x="connsiteX6184" y="connsiteY6184"/>
              </a:cxn>
              <a:cxn ang="0">
                <a:pos x="connsiteX6185" y="connsiteY6185"/>
              </a:cxn>
              <a:cxn ang="0">
                <a:pos x="connsiteX6186" y="connsiteY6186"/>
              </a:cxn>
              <a:cxn ang="0">
                <a:pos x="connsiteX6187" y="connsiteY6187"/>
              </a:cxn>
              <a:cxn ang="0">
                <a:pos x="connsiteX6188" y="connsiteY6188"/>
              </a:cxn>
              <a:cxn ang="0">
                <a:pos x="connsiteX6189" y="connsiteY6189"/>
              </a:cxn>
              <a:cxn ang="0">
                <a:pos x="connsiteX6190" y="connsiteY6190"/>
              </a:cxn>
              <a:cxn ang="0">
                <a:pos x="connsiteX6191" y="connsiteY6191"/>
              </a:cxn>
              <a:cxn ang="0">
                <a:pos x="connsiteX6192" y="connsiteY6192"/>
              </a:cxn>
              <a:cxn ang="0">
                <a:pos x="connsiteX6193" y="connsiteY6193"/>
              </a:cxn>
              <a:cxn ang="0">
                <a:pos x="connsiteX6194" y="connsiteY6194"/>
              </a:cxn>
              <a:cxn ang="0">
                <a:pos x="connsiteX6195" y="connsiteY6195"/>
              </a:cxn>
              <a:cxn ang="0">
                <a:pos x="connsiteX6196" y="connsiteY6196"/>
              </a:cxn>
              <a:cxn ang="0">
                <a:pos x="connsiteX6197" y="connsiteY6197"/>
              </a:cxn>
              <a:cxn ang="0">
                <a:pos x="connsiteX6198" y="connsiteY6198"/>
              </a:cxn>
              <a:cxn ang="0">
                <a:pos x="connsiteX6199" y="connsiteY6199"/>
              </a:cxn>
              <a:cxn ang="0">
                <a:pos x="connsiteX6200" y="connsiteY6200"/>
              </a:cxn>
              <a:cxn ang="0">
                <a:pos x="connsiteX6201" y="connsiteY6201"/>
              </a:cxn>
              <a:cxn ang="0">
                <a:pos x="connsiteX6202" y="connsiteY6202"/>
              </a:cxn>
              <a:cxn ang="0">
                <a:pos x="connsiteX6203" y="connsiteY6203"/>
              </a:cxn>
              <a:cxn ang="0">
                <a:pos x="connsiteX6204" y="connsiteY6204"/>
              </a:cxn>
              <a:cxn ang="0">
                <a:pos x="connsiteX6205" y="connsiteY6205"/>
              </a:cxn>
              <a:cxn ang="0">
                <a:pos x="connsiteX6206" y="connsiteY6206"/>
              </a:cxn>
              <a:cxn ang="0">
                <a:pos x="connsiteX6207" y="connsiteY6207"/>
              </a:cxn>
              <a:cxn ang="0">
                <a:pos x="connsiteX6208" y="connsiteY6208"/>
              </a:cxn>
              <a:cxn ang="0">
                <a:pos x="connsiteX6209" y="connsiteY6209"/>
              </a:cxn>
              <a:cxn ang="0">
                <a:pos x="connsiteX6210" y="connsiteY6210"/>
              </a:cxn>
              <a:cxn ang="0">
                <a:pos x="connsiteX6211" y="connsiteY6211"/>
              </a:cxn>
              <a:cxn ang="0">
                <a:pos x="connsiteX6212" y="connsiteY6212"/>
              </a:cxn>
              <a:cxn ang="0">
                <a:pos x="connsiteX6213" y="connsiteY6213"/>
              </a:cxn>
              <a:cxn ang="0">
                <a:pos x="connsiteX6214" y="connsiteY6214"/>
              </a:cxn>
              <a:cxn ang="0">
                <a:pos x="connsiteX6215" y="connsiteY6215"/>
              </a:cxn>
              <a:cxn ang="0">
                <a:pos x="connsiteX6216" y="connsiteY6216"/>
              </a:cxn>
              <a:cxn ang="0">
                <a:pos x="connsiteX6217" y="connsiteY6217"/>
              </a:cxn>
              <a:cxn ang="0">
                <a:pos x="connsiteX6218" y="connsiteY6218"/>
              </a:cxn>
              <a:cxn ang="0">
                <a:pos x="connsiteX6219" y="connsiteY6219"/>
              </a:cxn>
              <a:cxn ang="0">
                <a:pos x="connsiteX6220" y="connsiteY6220"/>
              </a:cxn>
              <a:cxn ang="0">
                <a:pos x="connsiteX6221" y="connsiteY6221"/>
              </a:cxn>
              <a:cxn ang="0">
                <a:pos x="connsiteX6222" y="connsiteY6222"/>
              </a:cxn>
              <a:cxn ang="0">
                <a:pos x="connsiteX6223" y="connsiteY6223"/>
              </a:cxn>
              <a:cxn ang="0">
                <a:pos x="connsiteX6224" y="connsiteY6224"/>
              </a:cxn>
              <a:cxn ang="0">
                <a:pos x="connsiteX6225" y="connsiteY6225"/>
              </a:cxn>
              <a:cxn ang="0">
                <a:pos x="connsiteX6226" y="connsiteY6226"/>
              </a:cxn>
              <a:cxn ang="0">
                <a:pos x="connsiteX6227" y="connsiteY6227"/>
              </a:cxn>
              <a:cxn ang="0">
                <a:pos x="connsiteX6228" y="connsiteY6228"/>
              </a:cxn>
              <a:cxn ang="0">
                <a:pos x="connsiteX6229" y="connsiteY6229"/>
              </a:cxn>
              <a:cxn ang="0">
                <a:pos x="connsiteX6230" y="connsiteY6230"/>
              </a:cxn>
              <a:cxn ang="0">
                <a:pos x="connsiteX6231" y="connsiteY6231"/>
              </a:cxn>
              <a:cxn ang="0">
                <a:pos x="connsiteX6232" y="connsiteY6232"/>
              </a:cxn>
              <a:cxn ang="0">
                <a:pos x="connsiteX6233" y="connsiteY6233"/>
              </a:cxn>
              <a:cxn ang="0">
                <a:pos x="connsiteX6234" y="connsiteY6234"/>
              </a:cxn>
              <a:cxn ang="0">
                <a:pos x="connsiteX6235" y="connsiteY6235"/>
              </a:cxn>
              <a:cxn ang="0">
                <a:pos x="connsiteX6236" y="connsiteY6236"/>
              </a:cxn>
              <a:cxn ang="0">
                <a:pos x="connsiteX6237" y="connsiteY6237"/>
              </a:cxn>
              <a:cxn ang="0">
                <a:pos x="connsiteX6238" y="connsiteY6238"/>
              </a:cxn>
              <a:cxn ang="0">
                <a:pos x="connsiteX6239" y="connsiteY6239"/>
              </a:cxn>
              <a:cxn ang="0">
                <a:pos x="connsiteX6240" y="connsiteY6240"/>
              </a:cxn>
              <a:cxn ang="0">
                <a:pos x="connsiteX6241" y="connsiteY6241"/>
              </a:cxn>
              <a:cxn ang="0">
                <a:pos x="connsiteX6242" y="connsiteY6242"/>
              </a:cxn>
              <a:cxn ang="0">
                <a:pos x="connsiteX6243" y="connsiteY6243"/>
              </a:cxn>
              <a:cxn ang="0">
                <a:pos x="connsiteX6244" y="connsiteY6244"/>
              </a:cxn>
              <a:cxn ang="0">
                <a:pos x="connsiteX6245" y="connsiteY6245"/>
              </a:cxn>
              <a:cxn ang="0">
                <a:pos x="connsiteX6246" y="connsiteY6246"/>
              </a:cxn>
              <a:cxn ang="0">
                <a:pos x="connsiteX6247" y="connsiteY6247"/>
              </a:cxn>
              <a:cxn ang="0">
                <a:pos x="connsiteX6248" y="connsiteY6248"/>
              </a:cxn>
              <a:cxn ang="0">
                <a:pos x="connsiteX6249" y="connsiteY6249"/>
              </a:cxn>
              <a:cxn ang="0">
                <a:pos x="connsiteX6250" y="connsiteY6250"/>
              </a:cxn>
              <a:cxn ang="0">
                <a:pos x="connsiteX6251" y="connsiteY6251"/>
              </a:cxn>
              <a:cxn ang="0">
                <a:pos x="connsiteX6252" y="connsiteY6252"/>
              </a:cxn>
              <a:cxn ang="0">
                <a:pos x="connsiteX6253" y="connsiteY6253"/>
              </a:cxn>
              <a:cxn ang="0">
                <a:pos x="connsiteX6254" y="connsiteY6254"/>
              </a:cxn>
              <a:cxn ang="0">
                <a:pos x="connsiteX6255" y="connsiteY6255"/>
              </a:cxn>
              <a:cxn ang="0">
                <a:pos x="connsiteX6256" y="connsiteY6256"/>
              </a:cxn>
              <a:cxn ang="0">
                <a:pos x="connsiteX6257" y="connsiteY6257"/>
              </a:cxn>
              <a:cxn ang="0">
                <a:pos x="connsiteX6258" y="connsiteY6258"/>
              </a:cxn>
              <a:cxn ang="0">
                <a:pos x="connsiteX6259" y="connsiteY6259"/>
              </a:cxn>
              <a:cxn ang="0">
                <a:pos x="connsiteX6260" y="connsiteY6260"/>
              </a:cxn>
              <a:cxn ang="0">
                <a:pos x="connsiteX6261" y="connsiteY6261"/>
              </a:cxn>
              <a:cxn ang="0">
                <a:pos x="connsiteX6262" y="connsiteY6262"/>
              </a:cxn>
              <a:cxn ang="0">
                <a:pos x="connsiteX6263" y="connsiteY6263"/>
              </a:cxn>
              <a:cxn ang="0">
                <a:pos x="connsiteX6264" y="connsiteY6264"/>
              </a:cxn>
              <a:cxn ang="0">
                <a:pos x="connsiteX6265" y="connsiteY6265"/>
              </a:cxn>
              <a:cxn ang="0">
                <a:pos x="connsiteX6266" y="connsiteY6266"/>
              </a:cxn>
              <a:cxn ang="0">
                <a:pos x="connsiteX6267" y="connsiteY6267"/>
              </a:cxn>
              <a:cxn ang="0">
                <a:pos x="connsiteX6268" y="connsiteY6268"/>
              </a:cxn>
              <a:cxn ang="0">
                <a:pos x="connsiteX6269" y="connsiteY6269"/>
              </a:cxn>
              <a:cxn ang="0">
                <a:pos x="connsiteX6270" y="connsiteY6270"/>
              </a:cxn>
              <a:cxn ang="0">
                <a:pos x="connsiteX6271" y="connsiteY6271"/>
              </a:cxn>
              <a:cxn ang="0">
                <a:pos x="connsiteX6272" y="connsiteY6272"/>
              </a:cxn>
              <a:cxn ang="0">
                <a:pos x="connsiteX6273" y="connsiteY6273"/>
              </a:cxn>
              <a:cxn ang="0">
                <a:pos x="connsiteX6274" y="connsiteY6274"/>
              </a:cxn>
              <a:cxn ang="0">
                <a:pos x="connsiteX6275" y="connsiteY6275"/>
              </a:cxn>
              <a:cxn ang="0">
                <a:pos x="connsiteX6276" y="connsiteY6276"/>
              </a:cxn>
              <a:cxn ang="0">
                <a:pos x="connsiteX6277" y="connsiteY6277"/>
              </a:cxn>
              <a:cxn ang="0">
                <a:pos x="connsiteX6278" y="connsiteY6278"/>
              </a:cxn>
              <a:cxn ang="0">
                <a:pos x="connsiteX6279" y="connsiteY6279"/>
              </a:cxn>
              <a:cxn ang="0">
                <a:pos x="connsiteX6280" y="connsiteY6280"/>
              </a:cxn>
              <a:cxn ang="0">
                <a:pos x="connsiteX6281" y="connsiteY6281"/>
              </a:cxn>
              <a:cxn ang="0">
                <a:pos x="connsiteX6282" y="connsiteY6282"/>
              </a:cxn>
              <a:cxn ang="0">
                <a:pos x="connsiteX6283" y="connsiteY6283"/>
              </a:cxn>
              <a:cxn ang="0">
                <a:pos x="connsiteX6284" y="connsiteY6284"/>
              </a:cxn>
              <a:cxn ang="0">
                <a:pos x="connsiteX6285" y="connsiteY6285"/>
              </a:cxn>
              <a:cxn ang="0">
                <a:pos x="connsiteX6286" y="connsiteY6286"/>
              </a:cxn>
              <a:cxn ang="0">
                <a:pos x="connsiteX6287" y="connsiteY6287"/>
              </a:cxn>
              <a:cxn ang="0">
                <a:pos x="connsiteX6288" y="connsiteY6288"/>
              </a:cxn>
              <a:cxn ang="0">
                <a:pos x="connsiteX6289" y="connsiteY6289"/>
              </a:cxn>
              <a:cxn ang="0">
                <a:pos x="connsiteX6290" y="connsiteY6290"/>
              </a:cxn>
              <a:cxn ang="0">
                <a:pos x="connsiteX6291" y="connsiteY6291"/>
              </a:cxn>
              <a:cxn ang="0">
                <a:pos x="connsiteX6292" y="connsiteY6292"/>
              </a:cxn>
              <a:cxn ang="0">
                <a:pos x="connsiteX6293" y="connsiteY6293"/>
              </a:cxn>
              <a:cxn ang="0">
                <a:pos x="connsiteX6294" y="connsiteY6294"/>
              </a:cxn>
              <a:cxn ang="0">
                <a:pos x="connsiteX6295" y="connsiteY6295"/>
              </a:cxn>
              <a:cxn ang="0">
                <a:pos x="connsiteX6296" y="connsiteY6296"/>
              </a:cxn>
              <a:cxn ang="0">
                <a:pos x="connsiteX6297" y="connsiteY6297"/>
              </a:cxn>
              <a:cxn ang="0">
                <a:pos x="connsiteX6298" y="connsiteY6298"/>
              </a:cxn>
              <a:cxn ang="0">
                <a:pos x="connsiteX6299" y="connsiteY6299"/>
              </a:cxn>
              <a:cxn ang="0">
                <a:pos x="connsiteX6300" y="connsiteY6300"/>
              </a:cxn>
              <a:cxn ang="0">
                <a:pos x="connsiteX6301" y="connsiteY6301"/>
              </a:cxn>
              <a:cxn ang="0">
                <a:pos x="connsiteX6302" y="connsiteY6302"/>
              </a:cxn>
              <a:cxn ang="0">
                <a:pos x="connsiteX6303" y="connsiteY6303"/>
              </a:cxn>
              <a:cxn ang="0">
                <a:pos x="connsiteX6304" y="connsiteY6304"/>
              </a:cxn>
              <a:cxn ang="0">
                <a:pos x="connsiteX6305" y="connsiteY6305"/>
              </a:cxn>
              <a:cxn ang="0">
                <a:pos x="connsiteX6306" y="connsiteY6306"/>
              </a:cxn>
              <a:cxn ang="0">
                <a:pos x="connsiteX6307" y="connsiteY6307"/>
              </a:cxn>
              <a:cxn ang="0">
                <a:pos x="connsiteX6308" y="connsiteY6308"/>
              </a:cxn>
              <a:cxn ang="0">
                <a:pos x="connsiteX6309" y="connsiteY6309"/>
              </a:cxn>
              <a:cxn ang="0">
                <a:pos x="connsiteX6310" y="connsiteY6310"/>
              </a:cxn>
              <a:cxn ang="0">
                <a:pos x="connsiteX6311" y="connsiteY6311"/>
              </a:cxn>
              <a:cxn ang="0">
                <a:pos x="connsiteX6312" y="connsiteY6312"/>
              </a:cxn>
              <a:cxn ang="0">
                <a:pos x="connsiteX6313" y="connsiteY6313"/>
              </a:cxn>
              <a:cxn ang="0">
                <a:pos x="connsiteX6314" y="connsiteY6314"/>
              </a:cxn>
              <a:cxn ang="0">
                <a:pos x="connsiteX6315" y="connsiteY6315"/>
              </a:cxn>
              <a:cxn ang="0">
                <a:pos x="connsiteX6316" y="connsiteY6316"/>
              </a:cxn>
              <a:cxn ang="0">
                <a:pos x="connsiteX6317" y="connsiteY6317"/>
              </a:cxn>
              <a:cxn ang="0">
                <a:pos x="connsiteX6318" y="connsiteY6318"/>
              </a:cxn>
              <a:cxn ang="0">
                <a:pos x="connsiteX6319" y="connsiteY6319"/>
              </a:cxn>
              <a:cxn ang="0">
                <a:pos x="connsiteX6320" y="connsiteY6320"/>
              </a:cxn>
              <a:cxn ang="0">
                <a:pos x="connsiteX6321" y="connsiteY6321"/>
              </a:cxn>
              <a:cxn ang="0">
                <a:pos x="connsiteX6322" y="connsiteY6322"/>
              </a:cxn>
              <a:cxn ang="0">
                <a:pos x="connsiteX6323" y="connsiteY6323"/>
              </a:cxn>
              <a:cxn ang="0">
                <a:pos x="connsiteX6324" y="connsiteY6324"/>
              </a:cxn>
              <a:cxn ang="0">
                <a:pos x="connsiteX6325" y="connsiteY6325"/>
              </a:cxn>
              <a:cxn ang="0">
                <a:pos x="connsiteX6326" y="connsiteY6326"/>
              </a:cxn>
              <a:cxn ang="0">
                <a:pos x="connsiteX6327" y="connsiteY6327"/>
              </a:cxn>
              <a:cxn ang="0">
                <a:pos x="connsiteX6328" y="connsiteY6328"/>
              </a:cxn>
              <a:cxn ang="0">
                <a:pos x="connsiteX6329" y="connsiteY6329"/>
              </a:cxn>
              <a:cxn ang="0">
                <a:pos x="connsiteX6330" y="connsiteY6330"/>
              </a:cxn>
              <a:cxn ang="0">
                <a:pos x="connsiteX6331" y="connsiteY6331"/>
              </a:cxn>
              <a:cxn ang="0">
                <a:pos x="connsiteX6332" y="connsiteY6332"/>
              </a:cxn>
              <a:cxn ang="0">
                <a:pos x="connsiteX6333" y="connsiteY6333"/>
              </a:cxn>
              <a:cxn ang="0">
                <a:pos x="connsiteX6334" y="connsiteY6334"/>
              </a:cxn>
              <a:cxn ang="0">
                <a:pos x="connsiteX6335" y="connsiteY6335"/>
              </a:cxn>
              <a:cxn ang="0">
                <a:pos x="connsiteX6336" y="connsiteY6336"/>
              </a:cxn>
              <a:cxn ang="0">
                <a:pos x="connsiteX6337" y="connsiteY6337"/>
              </a:cxn>
              <a:cxn ang="0">
                <a:pos x="connsiteX6338" y="connsiteY6338"/>
              </a:cxn>
              <a:cxn ang="0">
                <a:pos x="connsiteX6339" y="connsiteY6339"/>
              </a:cxn>
              <a:cxn ang="0">
                <a:pos x="connsiteX6340" y="connsiteY6340"/>
              </a:cxn>
              <a:cxn ang="0">
                <a:pos x="connsiteX6341" y="connsiteY6341"/>
              </a:cxn>
              <a:cxn ang="0">
                <a:pos x="connsiteX6342" y="connsiteY6342"/>
              </a:cxn>
              <a:cxn ang="0">
                <a:pos x="connsiteX6343" y="connsiteY6343"/>
              </a:cxn>
              <a:cxn ang="0">
                <a:pos x="connsiteX6344" y="connsiteY6344"/>
              </a:cxn>
              <a:cxn ang="0">
                <a:pos x="connsiteX6345" y="connsiteY6345"/>
              </a:cxn>
              <a:cxn ang="0">
                <a:pos x="connsiteX6346" y="connsiteY6346"/>
              </a:cxn>
              <a:cxn ang="0">
                <a:pos x="connsiteX6347" y="connsiteY6347"/>
              </a:cxn>
              <a:cxn ang="0">
                <a:pos x="connsiteX6348" y="connsiteY6348"/>
              </a:cxn>
              <a:cxn ang="0">
                <a:pos x="connsiteX6349" y="connsiteY6349"/>
              </a:cxn>
              <a:cxn ang="0">
                <a:pos x="connsiteX6350" y="connsiteY6350"/>
              </a:cxn>
              <a:cxn ang="0">
                <a:pos x="connsiteX6351" y="connsiteY6351"/>
              </a:cxn>
              <a:cxn ang="0">
                <a:pos x="connsiteX6352" y="connsiteY6352"/>
              </a:cxn>
              <a:cxn ang="0">
                <a:pos x="connsiteX6353" y="connsiteY6353"/>
              </a:cxn>
              <a:cxn ang="0">
                <a:pos x="connsiteX6354" y="connsiteY6354"/>
              </a:cxn>
              <a:cxn ang="0">
                <a:pos x="connsiteX6355" y="connsiteY6355"/>
              </a:cxn>
              <a:cxn ang="0">
                <a:pos x="connsiteX6356" y="connsiteY6356"/>
              </a:cxn>
              <a:cxn ang="0">
                <a:pos x="connsiteX6357" y="connsiteY6357"/>
              </a:cxn>
              <a:cxn ang="0">
                <a:pos x="connsiteX6358" y="connsiteY6358"/>
              </a:cxn>
              <a:cxn ang="0">
                <a:pos x="connsiteX6359" y="connsiteY6359"/>
              </a:cxn>
              <a:cxn ang="0">
                <a:pos x="connsiteX6360" y="connsiteY6360"/>
              </a:cxn>
              <a:cxn ang="0">
                <a:pos x="connsiteX6361" y="connsiteY6361"/>
              </a:cxn>
              <a:cxn ang="0">
                <a:pos x="connsiteX6362" y="connsiteY6362"/>
              </a:cxn>
              <a:cxn ang="0">
                <a:pos x="connsiteX6363" y="connsiteY6363"/>
              </a:cxn>
              <a:cxn ang="0">
                <a:pos x="connsiteX6364" y="connsiteY6364"/>
              </a:cxn>
              <a:cxn ang="0">
                <a:pos x="connsiteX6365" y="connsiteY6365"/>
              </a:cxn>
              <a:cxn ang="0">
                <a:pos x="connsiteX6366" y="connsiteY6366"/>
              </a:cxn>
              <a:cxn ang="0">
                <a:pos x="connsiteX6367" y="connsiteY6367"/>
              </a:cxn>
              <a:cxn ang="0">
                <a:pos x="connsiteX6368" y="connsiteY6368"/>
              </a:cxn>
              <a:cxn ang="0">
                <a:pos x="connsiteX6369" y="connsiteY6369"/>
              </a:cxn>
              <a:cxn ang="0">
                <a:pos x="connsiteX6370" y="connsiteY6370"/>
              </a:cxn>
              <a:cxn ang="0">
                <a:pos x="connsiteX6371" y="connsiteY6371"/>
              </a:cxn>
              <a:cxn ang="0">
                <a:pos x="connsiteX6372" y="connsiteY6372"/>
              </a:cxn>
              <a:cxn ang="0">
                <a:pos x="connsiteX6373" y="connsiteY6373"/>
              </a:cxn>
              <a:cxn ang="0">
                <a:pos x="connsiteX6374" y="connsiteY6374"/>
              </a:cxn>
              <a:cxn ang="0">
                <a:pos x="connsiteX6375" y="connsiteY6375"/>
              </a:cxn>
              <a:cxn ang="0">
                <a:pos x="connsiteX6376" y="connsiteY6376"/>
              </a:cxn>
              <a:cxn ang="0">
                <a:pos x="connsiteX6377" y="connsiteY6377"/>
              </a:cxn>
              <a:cxn ang="0">
                <a:pos x="connsiteX6378" y="connsiteY6378"/>
              </a:cxn>
              <a:cxn ang="0">
                <a:pos x="connsiteX6379" y="connsiteY6379"/>
              </a:cxn>
              <a:cxn ang="0">
                <a:pos x="connsiteX6380" y="connsiteY6380"/>
              </a:cxn>
              <a:cxn ang="0">
                <a:pos x="connsiteX6381" y="connsiteY6381"/>
              </a:cxn>
              <a:cxn ang="0">
                <a:pos x="connsiteX6382" y="connsiteY6382"/>
              </a:cxn>
              <a:cxn ang="0">
                <a:pos x="connsiteX6383" y="connsiteY6383"/>
              </a:cxn>
              <a:cxn ang="0">
                <a:pos x="connsiteX6384" y="connsiteY6384"/>
              </a:cxn>
              <a:cxn ang="0">
                <a:pos x="connsiteX6385" y="connsiteY6385"/>
              </a:cxn>
              <a:cxn ang="0">
                <a:pos x="connsiteX6386" y="connsiteY6386"/>
              </a:cxn>
              <a:cxn ang="0">
                <a:pos x="connsiteX6387" y="connsiteY6387"/>
              </a:cxn>
              <a:cxn ang="0">
                <a:pos x="connsiteX6388" y="connsiteY6388"/>
              </a:cxn>
              <a:cxn ang="0">
                <a:pos x="connsiteX6389" y="connsiteY6389"/>
              </a:cxn>
              <a:cxn ang="0">
                <a:pos x="connsiteX6390" y="connsiteY6390"/>
              </a:cxn>
              <a:cxn ang="0">
                <a:pos x="connsiteX6391" y="connsiteY6391"/>
              </a:cxn>
              <a:cxn ang="0">
                <a:pos x="connsiteX6392" y="connsiteY6392"/>
              </a:cxn>
              <a:cxn ang="0">
                <a:pos x="connsiteX6393" y="connsiteY6393"/>
              </a:cxn>
              <a:cxn ang="0">
                <a:pos x="connsiteX6394" y="connsiteY6394"/>
              </a:cxn>
              <a:cxn ang="0">
                <a:pos x="connsiteX6395" y="connsiteY6395"/>
              </a:cxn>
              <a:cxn ang="0">
                <a:pos x="connsiteX6396" y="connsiteY6396"/>
              </a:cxn>
              <a:cxn ang="0">
                <a:pos x="connsiteX6397" y="connsiteY6397"/>
              </a:cxn>
              <a:cxn ang="0">
                <a:pos x="connsiteX6398" y="connsiteY6398"/>
              </a:cxn>
              <a:cxn ang="0">
                <a:pos x="connsiteX6399" y="connsiteY6399"/>
              </a:cxn>
              <a:cxn ang="0">
                <a:pos x="connsiteX6400" y="connsiteY6400"/>
              </a:cxn>
              <a:cxn ang="0">
                <a:pos x="connsiteX6401" y="connsiteY6401"/>
              </a:cxn>
              <a:cxn ang="0">
                <a:pos x="connsiteX6402" y="connsiteY6402"/>
              </a:cxn>
              <a:cxn ang="0">
                <a:pos x="connsiteX6403" y="connsiteY6403"/>
              </a:cxn>
              <a:cxn ang="0">
                <a:pos x="connsiteX6404" y="connsiteY6404"/>
              </a:cxn>
              <a:cxn ang="0">
                <a:pos x="connsiteX6405" y="connsiteY6405"/>
              </a:cxn>
              <a:cxn ang="0">
                <a:pos x="connsiteX6406" y="connsiteY6406"/>
              </a:cxn>
              <a:cxn ang="0">
                <a:pos x="connsiteX6407" y="connsiteY6407"/>
              </a:cxn>
              <a:cxn ang="0">
                <a:pos x="connsiteX6408" y="connsiteY6408"/>
              </a:cxn>
              <a:cxn ang="0">
                <a:pos x="connsiteX6409" y="connsiteY6409"/>
              </a:cxn>
              <a:cxn ang="0">
                <a:pos x="connsiteX6410" y="connsiteY6410"/>
              </a:cxn>
              <a:cxn ang="0">
                <a:pos x="connsiteX6411" y="connsiteY6411"/>
              </a:cxn>
              <a:cxn ang="0">
                <a:pos x="connsiteX6412" y="connsiteY6412"/>
              </a:cxn>
              <a:cxn ang="0">
                <a:pos x="connsiteX6413" y="connsiteY6413"/>
              </a:cxn>
              <a:cxn ang="0">
                <a:pos x="connsiteX6414" y="connsiteY6414"/>
              </a:cxn>
              <a:cxn ang="0">
                <a:pos x="connsiteX6415" y="connsiteY6415"/>
              </a:cxn>
              <a:cxn ang="0">
                <a:pos x="connsiteX6416" y="connsiteY6416"/>
              </a:cxn>
              <a:cxn ang="0">
                <a:pos x="connsiteX6417" y="connsiteY6417"/>
              </a:cxn>
              <a:cxn ang="0">
                <a:pos x="connsiteX6418" y="connsiteY6418"/>
              </a:cxn>
              <a:cxn ang="0">
                <a:pos x="connsiteX6419" y="connsiteY6419"/>
              </a:cxn>
              <a:cxn ang="0">
                <a:pos x="connsiteX6420" y="connsiteY6420"/>
              </a:cxn>
              <a:cxn ang="0">
                <a:pos x="connsiteX6421" y="connsiteY6421"/>
              </a:cxn>
              <a:cxn ang="0">
                <a:pos x="connsiteX6422" y="connsiteY6422"/>
              </a:cxn>
              <a:cxn ang="0">
                <a:pos x="connsiteX6423" y="connsiteY6423"/>
              </a:cxn>
              <a:cxn ang="0">
                <a:pos x="connsiteX6424" y="connsiteY6424"/>
              </a:cxn>
              <a:cxn ang="0">
                <a:pos x="connsiteX6425" y="connsiteY6425"/>
              </a:cxn>
              <a:cxn ang="0">
                <a:pos x="connsiteX6426" y="connsiteY6426"/>
              </a:cxn>
              <a:cxn ang="0">
                <a:pos x="connsiteX6427" y="connsiteY6427"/>
              </a:cxn>
              <a:cxn ang="0">
                <a:pos x="connsiteX6428" y="connsiteY6428"/>
              </a:cxn>
              <a:cxn ang="0">
                <a:pos x="connsiteX6429" y="connsiteY6429"/>
              </a:cxn>
              <a:cxn ang="0">
                <a:pos x="connsiteX6430" y="connsiteY6430"/>
              </a:cxn>
              <a:cxn ang="0">
                <a:pos x="connsiteX6431" y="connsiteY6431"/>
              </a:cxn>
              <a:cxn ang="0">
                <a:pos x="connsiteX6432" y="connsiteY6432"/>
              </a:cxn>
              <a:cxn ang="0">
                <a:pos x="connsiteX6433" y="connsiteY6433"/>
              </a:cxn>
              <a:cxn ang="0">
                <a:pos x="connsiteX6434" y="connsiteY6434"/>
              </a:cxn>
              <a:cxn ang="0">
                <a:pos x="connsiteX6435" y="connsiteY6435"/>
              </a:cxn>
              <a:cxn ang="0">
                <a:pos x="connsiteX6436" y="connsiteY6436"/>
              </a:cxn>
              <a:cxn ang="0">
                <a:pos x="connsiteX6437" y="connsiteY6437"/>
              </a:cxn>
              <a:cxn ang="0">
                <a:pos x="connsiteX6438" y="connsiteY6438"/>
              </a:cxn>
              <a:cxn ang="0">
                <a:pos x="connsiteX6439" y="connsiteY6439"/>
              </a:cxn>
              <a:cxn ang="0">
                <a:pos x="connsiteX6440" y="connsiteY6440"/>
              </a:cxn>
              <a:cxn ang="0">
                <a:pos x="connsiteX6441" y="connsiteY6441"/>
              </a:cxn>
              <a:cxn ang="0">
                <a:pos x="connsiteX6442" y="connsiteY6442"/>
              </a:cxn>
              <a:cxn ang="0">
                <a:pos x="connsiteX6443" y="connsiteY6443"/>
              </a:cxn>
              <a:cxn ang="0">
                <a:pos x="connsiteX6444" y="connsiteY6444"/>
              </a:cxn>
              <a:cxn ang="0">
                <a:pos x="connsiteX6445" y="connsiteY6445"/>
              </a:cxn>
              <a:cxn ang="0">
                <a:pos x="connsiteX6446" y="connsiteY6446"/>
              </a:cxn>
              <a:cxn ang="0">
                <a:pos x="connsiteX6447" y="connsiteY6447"/>
              </a:cxn>
              <a:cxn ang="0">
                <a:pos x="connsiteX6448" y="connsiteY6448"/>
              </a:cxn>
              <a:cxn ang="0">
                <a:pos x="connsiteX6449" y="connsiteY6449"/>
              </a:cxn>
              <a:cxn ang="0">
                <a:pos x="connsiteX6450" y="connsiteY6450"/>
              </a:cxn>
              <a:cxn ang="0">
                <a:pos x="connsiteX6451" y="connsiteY6451"/>
              </a:cxn>
              <a:cxn ang="0">
                <a:pos x="connsiteX6452" y="connsiteY6452"/>
              </a:cxn>
              <a:cxn ang="0">
                <a:pos x="connsiteX6453" y="connsiteY6453"/>
              </a:cxn>
              <a:cxn ang="0">
                <a:pos x="connsiteX6454" y="connsiteY6454"/>
              </a:cxn>
              <a:cxn ang="0">
                <a:pos x="connsiteX6455" y="connsiteY6455"/>
              </a:cxn>
              <a:cxn ang="0">
                <a:pos x="connsiteX6456" y="connsiteY6456"/>
              </a:cxn>
              <a:cxn ang="0">
                <a:pos x="connsiteX6457" y="connsiteY6457"/>
              </a:cxn>
              <a:cxn ang="0">
                <a:pos x="connsiteX6458" y="connsiteY6458"/>
              </a:cxn>
              <a:cxn ang="0">
                <a:pos x="connsiteX6459" y="connsiteY6459"/>
              </a:cxn>
              <a:cxn ang="0">
                <a:pos x="connsiteX6460" y="connsiteY6460"/>
              </a:cxn>
              <a:cxn ang="0">
                <a:pos x="connsiteX6461" y="connsiteY6461"/>
              </a:cxn>
              <a:cxn ang="0">
                <a:pos x="connsiteX6462" y="connsiteY6462"/>
              </a:cxn>
              <a:cxn ang="0">
                <a:pos x="connsiteX6463" y="connsiteY6463"/>
              </a:cxn>
              <a:cxn ang="0">
                <a:pos x="connsiteX6464" y="connsiteY6464"/>
              </a:cxn>
              <a:cxn ang="0">
                <a:pos x="connsiteX6465" y="connsiteY6465"/>
              </a:cxn>
              <a:cxn ang="0">
                <a:pos x="connsiteX6466" y="connsiteY6466"/>
              </a:cxn>
              <a:cxn ang="0">
                <a:pos x="connsiteX6467" y="connsiteY6467"/>
              </a:cxn>
              <a:cxn ang="0">
                <a:pos x="connsiteX6468" y="connsiteY6468"/>
              </a:cxn>
              <a:cxn ang="0">
                <a:pos x="connsiteX6469" y="connsiteY6469"/>
              </a:cxn>
              <a:cxn ang="0">
                <a:pos x="connsiteX6470" y="connsiteY6470"/>
              </a:cxn>
              <a:cxn ang="0">
                <a:pos x="connsiteX6471" y="connsiteY6471"/>
              </a:cxn>
              <a:cxn ang="0">
                <a:pos x="connsiteX6472" y="connsiteY6472"/>
              </a:cxn>
              <a:cxn ang="0">
                <a:pos x="connsiteX6473" y="connsiteY6473"/>
              </a:cxn>
              <a:cxn ang="0">
                <a:pos x="connsiteX6474" y="connsiteY6474"/>
              </a:cxn>
              <a:cxn ang="0">
                <a:pos x="connsiteX6475" y="connsiteY6475"/>
              </a:cxn>
              <a:cxn ang="0">
                <a:pos x="connsiteX6476" y="connsiteY6476"/>
              </a:cxn>
              <a:cxn ang="0">
                <a:pos x="connsiteX6477" y="connsiteY6477"/>
              </a:cxn>
              <a:cxn ang="0">
                <a:pos x="connsiteX6478" y="connsiteY6478"/>
              </a:cxn>
              <a:cxn ang="0">
                <a:pos x="connsiteX6479" y="connsiteY6479"/>
              </a:cxn>
              <a:cxn ang="0">
                <a:pos x="connsiteX6480" y="connsiteY6480"/>
              </a:cxn>
              <a:cxn ang="0">
                <a:pos x="connsiteX6481" y="connsiteY6481"/>
              </a:cxn>
              <a:cxn ang="0">
                <a:pos x="connsiteX6482" y="connsiteY6482"/>
              </a:cxn>
              <a:cxn ang="0">
                <a:pos x="connsiteX6483" y="connsiteY6483"/>
              </a:cxn>
              <a:cxn ang="0">
                <a:pos x="connsiteX6484" y="connsiteY6484"/>
              </a:cxn>
              <a:cxn ang="0">
                <a:pos x="connsiteX6485" y="connsiteY6485"/>
              </a:cxn>
              <a:cxn ang="0">
                <a:pos x="connsiteX6486" y="connsiteY6486"/>
              </a:cxn>
              <a:cxn ang="0">
                <a:pos x="connsiteX6487" y="connsiteY6487"/>
              </a:cxn>
              <a:cxn ang="0">
                <a:pos x="connsiteX6488" y="connsiteY6488"/>
              </a:cxn>
              <a:cxn ang="0">
                <a:pos x="connsiteX6489" y="connsiteY6489"/>
              </a:cxn>
              <a:cxn ang="0">
                <a:pos x="connsiteX6490" y="connsiteY6490"/>
              </a:cxn>
              <a:cxn ang="0">
                <a:pos x="connsiteX6491" y="connsiteY6491"/>
              </a:cxn>
              <a:cxn ang="0">
                <a:pos x="connsiteX6492" y="connsiteY6492"/>
              </a:cxn>
              <a:cxn ang="0">
                <a:pos x="connsiteX6493" y="connsiteY6493"/>
              </a:cxn>
              <a:cxn ang="0">
                <a:pos x="connsiteX6494" y="connsiteY6494"/>
              </a:cxn>
              <a:cxn ang="0">
                <a:pos x="connsiteX6495" y="connsiteY6495"/>
              </a:cxn>
              <a:cxn ang="0">
                <a:pos x="connsiteX6496" y="connsiteY6496"/>
              </a:cxn>
              <a:cxn ang="0">
                <a:pos x="connsiteX6497" y="connsiteY6497"/>
              </a:cxn>
              <a:cxn ang="0">
                <a:pos x="connsiteX6498" y="connsiteY6498"/>
              </a:cxn>
              <a:cxn ang="0">
                <a:pos x="connsiteX6499" y="connsiteY6499"/>
              </a:cxn>
              <a:cxn ang="0">
                <a:pos x="connsiteX6500" y="connsiteY6500"/>
              </a:cxn>
              <a:cxn ang="0">
                <a:pos x="connsiteX6501" y="connsiteY6501"/>
              </a:cxn>
              <a:cxn ang="0">
                <a:pos x="connsiteX6502" y="connsiteY6502"/>
              </a:cxn>
              <a:cxn ang="0">
                <a:pos x="connsiteX6503" y="connsiteY6503"/>
              </a:cxn>
              <a:cxn ang="0">
                <a:pos x="connsiteX6504" y="connsiteY6504"/>
              </a:cxn>
              <a:cxn ang="0">
                <a:pos x="connsiteX6505" y="connsiteY6505"/>
              </a:cxn>
              <a:cxn ang="0">
                <a:pos x="connsiteX6506" y="connsiteY6506"/>
              </a:cxn>
              <a:cxn ang="0">
                <a:pos x="connsiteX6507" y="connsiteY6507"/>
              </a:cxn>
              <a:cxn ang="0">
                <a:pos x="connsiteX6508" y="connsiteY6508"/>
              </a:cxn>
              <a:cxn ang="0">
                <a:pos x="connsiteX6509" y="connsiteY6509"/>
              </a:cxn>
              <a:cxn ang="0">
                <a:pos x="connsiteX6510" y="connsiteY6510"/>
              </a:cxn>
              <a:cxn ang="0">
                <a:pos x="connsiteX6511" y="connsiteY6511"/>
              </a:cxn>
              <a:cxn ang="0">
                <a:pos x="connsiteX6512" y="connsiteY6512"/>
              </a:cxn>
              <a:cxn ang="0">
                <a:pos x="connsiteX6513" y="connsiteY6513"/>
              </a:cxn>
              <a:cxn ang="0">
                <a:pos x="connsiteX6514" y="connsiteY6514"/>
              </a:cxn>
              <a:cxn ang="0">
                <a:pos x="connsiteX6515" y="connsiteY6515"/>
              </a:cxn>
              <a:cxn ang="0">
                <a:pos x="connsiteX6516" y="connsiteY6516"/>
              </a:cxn>
              <a:cxn ang="0">
                <a:pos x="connsiteX6517" y="connsiteY6517"/>
              </a:cxn>
              <a:cxn ang="0">
                <a:pos x="connsiteX6518" y="connsiteY6518"/>
              </a:cxn>
              <a:cxn ang="0">
                <a:pos x="connsiteX6519" y="connsiteY6519"/>
              </a:cxn>
              <a:cxn ang="0">
                <a:pos x="connsiteX6520" y="connsiteY6520"/>
              </a:cxn>
              <a:cxn ang="0">
                <a:pos x="connsiteX6521" y="connsiteY6521"/>
              </a:cxn>
              <a:cxn ang="0">
                <a:pos x="connsiteX6522" y="connsiteY6522"/>
              </a:cxn>
              <a:cxn ang="0">
                <a:pos x="connsiteX6523" y="connsiteY6523"/>
              </a:cxn>
              <a:cxn ang="0">
                <a:pos x="connsiteX6524" y="connsiteY6524"/>
              </a:cxn>
              <a:cxn ang="0">
                <a:pos x="connsiteX6525" y="connsiteY6525"/>
              </a:cxn>
              <a:cxn ang="0">
                <a:pos x="connsiteX6526" y="connsiteY6526"/>
              </a:cxn>
              <a:cxn ang="0">
                <a:pos x="connsiteX6527" y="connsiteY6527"/>
              </a:cxn>
              <a:cxn ang="0">
                <a:pos x="connsiteX6528" y="connsiteY6528"/>
              </a:cxn>
              <a:cxn ang="0">
                <a:pos x="connsiteX6529" y="connsiteY6529"/>
              </a:cxn>
              <a:cxn ang="0">
                <a:pos x="connsiteX6530" y="connsiteY6530"/>
              </a:cxn>
              <a:cxn ang="0">
                <a:pos x="connsiteX6531" y="connsiteY6531"/>
              </a:cxn>
              <a:cxn ang="0">
                <a:pos x="connsiteX6532" y="connsiteY6532"/>
              </a:cxn>
              <a:cxn ang="0">
                <a:pos x="connsiteX6533" y="connsiteY6533"/>
              </a:cxn>
              <a:cxn ang="0">
                <a:pos x="connsiteX6534" y="connsiteY6534"/>
              </a:cxn>
              <a:cxn ang="0">
                <a:pos x="connsiteX6535" y="connsiteY6535"/>
              </a:cxn>
              <a:cxn ang="0">
                <a:pos x="connsiteX6536" y="connsiteY6536"/>
              </a:cxn>
              <a:cxn ang="0">
                <a:pos x="connsiteX6537" y="connsiteY6537"/>
              </a:cxn>
              <a:cxn ang="0">
                <a:pos x="connsiteX6538" y="connsiteY6538"/>
              </a:cxn>
              <a:cxn ang="0">
                <a:pos x="connsiteX6539" y="connsiteY6539"/>
              </a:cxn>
              <a:cxn ang="0">
                <a:pos x="connsiteX6540" y="connsiteY6540"/>
              </a:cxn>
              <a:cxn ang="0">
                <a:pos x="connsiteX6541" y="connsiteY6541"/>
              </a:cxn>
              <a:cxn ang="0">
                <a:pos x="connsiteX6542" y="connsiteY6542"/>
              </a:cxn>
              <a:cxn ang="0">
                <a:pos x="connsiteX6543" y="connsiteY6543"/>
              </a:cxn>
              <a:cxn ang="0">
                <a:pos x="connsiteX6544" y="connsiteY6544"/>
              </a:cxn>
              <a:cxn ang="0">
                <a:pos x="connsiteX6545" y="connsiteY6545"/>
              </a:cxn>
              <a:cxn ang="0">
                <a:pos x="connsiteX6546" y="connsiteY6546"/>
              </a:cxn>
              <a:cxn ang="0">
                <a:pos x="connsiteX6547" y="connsiteY6547"/>
              </a:cxn>
              <a:cxn ang="0">
                <a:pos x="connsiteX6548" y="connsiteY6548"/>
              </a:cxn>
              <a:cxn ang="0">
                <a:pos x="connsiteX6549" y="connsiteY6549"/>
              </a:cxn>
              <a:cxn ang="0">
                <a:pos x="connsiteX6550" y="connsiteY6550"/>
              </a:cxn>
              <a:cxn ang="0">
                <a:pos x="connsiteX6551" y="connsiteY6551"/>
              </a:cxn>
              <a:cxn ang="0">
                <a:pos x="connsiteX6552" y="connsiteY6552"/>
              </a:cxn>
              <a:cxn ang="0">
                <a:pos x="connsiteX6553" y="connsiteY6553"/>
              </a:cxn>
              <a:cxn ang="0">
                <a:pos x="connsiteX6554" y="connsiteY6554"/>
              </a:cxn>
              <a:cxn ang="0">
                <a:pos x="connsiteX6555" y="connsiteY6555"/>
              </a:cxn>
              <a:cxn ang="0">
                <a:pos x="connsiteX6556" y="connsiteY6556"/>
              </a:cxn>
              <a:cxn ang="0">
                <a:pos x="connsiteX6557" y="connsiteY6557"/>
              </a:cxn>
              <a:cxn ang="0">
                <a:pos x="connsiteX6558" y="connsiteY6558"/>
              </a:cxn>
              <a:cxn ang="0">
                <a:pos x="connsiteX6559" y="connsiteY6559"/>
              </a:cxn>
              <a:cxn ang="0">
                <a:pos x="connsiteX6560" y="connsiteY6560"/>
              </a:cxn>
              <a:cxn ang="0">
                <a:pos x="connsiteX6561" y="connsiteY6561"/>
              </a:cxn>
              <a:cxn ang="0">
                <a:pos x="connsiteX6562" y="connsiteY6562"/>
              </a:cxn>
              <a:cxn ang="0">
                <a:pos x="connsiteX6563" y="connsiteY6563"/>
              </a:cxn>
              <a:cxn ang="0">
                <a:pos x="connsiteX6564" y="connsiteY6564"/>
              </a:cxn>
              <a:cxn ang="0">
                <a:pos x="connsiteX6565" y="connsiteY6565"/>
              </a:cxn>
              <a:cxn ang="0">
                <a:pos x="connsiteX6566" y="connsiteY6566"/>
              </a:cxn>
              <a:cxn ang="0">
                <a:pos x="connsiteX6567" y="connsiteY6567"/>
              </a:cxn>
              <a:cxn ang="0">
                <a:pos x="connsiteX6568" y="connsiteY6568"/>
              </a:cxn>
              <a:cxn ang="0">
                <a:pos x="connsiteX6569" y="connsiteY6569"/>
              </a:cxn>
              <a:cxn ang="0">
                <a:pos x="connsiteX6570" y="connsiteY6570"/>
              </a:cxn>
              <a:cxn ang="0">
                <a:pos x="connsiteX6571" y="connsiteY6571"/>
              </a:cxn>
              <a:cxn ang="0">
                <a:pos x="connsiteX6572" y="connsiteY6572"/>
              </a:cxn>
              <a:cxn ang="0">
                <a:pos x="connsiteX6573" y="connsiteY6573"/>
              </a:cxn>
              <a:cxn ang="0">
                <a:pos x="connsiteX6574" y="connsiteY6574"/>
              </a:cxn>
              <a:cxn ang="0">
                <a:pos x="connsiteX6575" y="connsiteY6575"/>
              </a:cxn>
              <a:cxn ang="0">
                <a:pos x="connsiteX6576" y="connsiteY6576"/>
              </a:cxn>
              <a:cxn ang="0">
                <a:pos x="connsiteX6577" y="connsiteY6577"/>
              </a:cxn>
              <a:cxn ang="0">
                <a:pos x="connsiteX6578" y="connsiteY6578"/>
              </a:cxn>
              <a:cxn ang="0">
                <a:pos x="connsiteX6579" y="connsiteY6579"/>
              </a:cxn>
              <a:cxn ang="0">
                <a:pos x="connsiteX6580" y="connsiteY6580"/>
              </a:cxn>
              <a:cxn ang="0">
                <a:pos x="connsiteX6581" y="connsiteY6581"/>
              </a:cxn>
              <a:cxn ang="0">
                <a:pos x="connsiteX6582" y="connsiteY6582"/>
              </a:cxn>
              <a:cxn ang="0">
                <a:pos x="connsiteX6583" y="connsiteY6583"/>
              </a:cxn>
              <a:cxn ang="0">
                <a:pos x="connsiteX6584" y="connsiteY6584"/>
              </a:cxn>
              <a:cxn ang="0">
                <a:pos x="connsiteX6585" y="connsiteY6585"/>
              </a:cxn>
              <a:cxn ang="0">
                <a:pos x="connsiteX6586" y="connsiteY6586"/>
              </a:cxn>
              <a:cxn ang="0">
                <a:pos x="connsiteX6587" y="connsiteY6587"/>
              </a:cxn>
              <a:cxn ang="0">
                <a:pos x="connsiteX6588" y="connsiteY6588"/>
              </a:cxn>
              <a:cxn ang="0">
                <a:pos x="connsiteX6589" y="connsiteY6589"/>
              </a:cxn>
              <a:cxn ang="0">
                <a:pos x="connsiteX6590" y="connsiteY6590"/>
              </a:cxn>
              <a:cxn ang="0">
                <a:pos x="connsiteX6591" y="connsiteY6591"/>
              </a:cxn>
              <a:cxn ang="0">
                <a:pos x="connsiteX6592" y="connsiteY6592"/>
              </a:cxn>
              <a:cxn ang="0">
                <a:pos x="connsiteX6593" y="connsiteY6593"/>
              </a:cxn>
              <a:cxn ang="0">
                <a:pos x="connsiteX6594" y="connsiteY6594"/>
              </a:cxn>
              <a:cxn ang="0">
                <a:pos x="connsiteX6595" y="connsiteY6595"/>
              </a:cxn>
              <a:cxn ang="0">
                <a:pos x="connsiteX6596" y="connsiteY6596"/>
              </a:cxn>
              <a:cxn ang="0">
                <a:pos x="connsiteX6597" y="connsiteY6597"/>
              </a:cxn>
              <a:cxn ang="0">
                <a:pos x="connsiteX6598" y="connsiteY6598"/>
              </a:cxn>
              <a:cxn ang="0">
                <a:pos x="connsiteX6599" y="connsiteY6599"/>
              </a:cxn>
              <a:cxn ang="0">
                <a:pos x="connsiteX6600" y="connsiteY6600"/>
              </a:cxn>
              <a:cxn ang="0">
                <a:pos x="connsiteX6601" y="connsiteY6601"/>
              </a:cxn>
              <a:cxn ang="0">
                <a:pos x="connsiteX6602" y="connsiteY6602"/>
              </a:cxn>
              <a:cxn ang="0">
                <a:pos x="connsiteX6603" y="connsiteY6603"/>
              </a:cxn>
              <a:cxn ang="0">
                <a:pos x="connsiteX6604" y="connsiteY6604"/>
              </a:cxn>
              <a:cxn ang="0">
                <a:pos x="connsiteX6605" y="connsiteY6605"/>
              </a:cxn>
              <a:cxn ang="0">
                <a:pos x="connsiteX6606" y="connsiteY6606"/>
              </a:cxn>
              <a:cxn ang="0">
                <a:pos x="connsiteX6607" y="connsiteY6607"/>
              </a:cxn>
              <a:cxn ang="0">
                <a:pos x="connsiteX6608" y="connsiteY6608"/>
              </a:cxn>
              <a:cxn ang="0">
                <a:pos x="connsiteX6609" y="connsiteY6609"/>
              </a:cxn>
              <a:cxn ang="0">
                <a:pos x="connsiteX6610" y="connsiteY6610"/>
              </a:cxn>
              <a:cxn ang="0">
                <a:pos x="connsiteX6611" y="connsiteY6611"/>
              </a:cxn>
              <a:cxn ang="0">
                <a:pos x="connsiteX6612" y="connsiteY6612"/>
              </a:cxn>
              <a:cxn ang="0">
                <a:pos x="connsiteX6613" y="connsiteY6613"/>
              </a:cxn>
              <a:cxn ang="0">
                <a:pos x="connsiteX6614" y="connsiteY6614"/>
              </a:cxn>
              <a:cxn ang="0">
                <a:pos x="connsiteX6615" y="connsiteY6615"/>
              </a:cxn>
              <a:cxn ang="0">
                <a:pos x="connsiteX6616" y="connsiteY6616"/>
              </a:cxn>
              <a:cxn ang="0">
                <a:pos x="connsiteX6617" y="connsiteY6617"/>
              </a:cxn>
              <a:cxn ang="0">
                <a:pos x="connsiteX6618" y="connsiteY6618"/>
              </a:cxn>
              <a:cxn ang="0">
                <a:pos x="connsiteX6619" y="connsiteY6619"/>
              </a:cxn>
              <a:cxn ang="0">
                <a:pos x="connsiteX6620" y="connsiteY6620"/>
              </a:cxn>
              <a:cxn ang="0">
                <a:pos x="connsiteX6621" y="connsiteY6621"/>
              </a:cxn>
              <a:cxn ang="0">
                <a:pos x="connsiteX6622" y="connsiteY6622"/>
              </a:cxn>
              <a:cxn ang="0">
                <a:pos x="connsiteX6623" y="connsiteY6623"/>
              </a:cxn>
              <a:cxn ang="0">
                <a:pos x="connsiteX6624" y="connsiteY6624"/>
              </a:cxn>
              <a:cxn ang="0">
                <a:pos x="connsiteX6625" y="connsiteY6625"/>
              </a:cxn>
              <a:cxn ang="0">
                <a:pos x="connsiteX6626" y="connsiteY6626"/>
              </a:cxn>
              <a:cxn ang="0">
                <a:pos x="connsiteX6627" y="connsiteY6627"/>
              </a:cxn>
              <a:cxn ang="0">
                <a:pos x="connsiteX6628" y="connsiteY6628"/>
              </a:cxn>
              <a:cxn ang="0">
                <a:pos x="connsiteX6629" y="connsiteY6629"/>
              </a:cxn>
              <a:cxn ang="0">
                <a:pos x="connsiteX6630" y="connsiteY6630"/>
              </a:cxn>
              <a:cxn ang="0">
                <a:pos x="connsiteX6631" y="connsiteY6631"/>
              </a:cxn>
              <a:cxn ang="0">
                <a:pos x="connsiteX6632" y="connsiteY6632"/>
              </a:cxn>
              <a:cxn ang="0">
                <a:pos x="connsiteX6633" y="connsiteY6633"/>
              </a:cxn>
              <a:cxn ang="0">
                <a:pos x="connsiteX6634" y="connsiteY6634"/>
              </a:cxn>
              <a:cxn ang="0">
                <a:pos x="connsiteX6635" y="connsiteY6635"/>
              </a:cxn>
              <a:cxn ang="0">
                <a:pos x="connsiteX6636" y="connsiteY6636"/>
              </a:cxn>
              <a:cxn ang="0">
                <a:pos x="connsiteX6637" y="connsiteY6637"/>
              </a:cxn>
              <a:cxn ang="0">
                <a:pos x="connsiteX6638" y="connsiteY6638"/>
              </a:cxn>
              <a:cxn ang="0">
                <a:pos x="connsiteX6639" y="connsiteY6639"/>
              </a:cxn>
              <a:cxn ang="0">
                <a:pos x="connsiteX6640" y="connsiteY6640"/>
              </a:cxn>
              <a:cxn ang="0">
                <a:pos x="connsiteX6641" y="connsiteY6641"/>
              </a:cxn>
              <a:cxn ang="0">
                <a:pos x="connsiteX6642" y="connsiteY6642"/>
              </a:cxn>
              <a:cxn ang="0">
                <a:pos x="connsiteX6643" y="connsiteY6643"/>
              </a:cxn>
              <a:cxn ang="0">
                <a:pos x="connsiteX6644" y="connsiteY6644"/>
              </a:cxn>
              <a:cxn ang="0">
                <a:pos x="connsiteX6645" y="connsiteY6645"/>
              </a:cxn>
              <a:cxn ang="0">
                <a:pos x="connsiteX6646" y="connsiteY6646"/>
              </a:cxn>
              <a:cxn ang="0">
                <a:pos x="connsiteX6647" y="connsiteY6647"/>
              </a:cxn>
              <a:cxn ang="0">
                <a:pos x="connsiteX6648" y="connsiteY6648"/>
              </a:cxn>
              <a:cxn ang="0">
                <a:pos x="connsiteX6649" y="connsiteY6649"/>
              </a:cxn>
              <a:cxn ang="0">
                <a:pos x="connsiteX6650" y="connsiteY6650"/>
              </a:cxn>
              <a:cxn ang="0">
                <a:pos x="connsiteX6651" y="connsiteY6651"/>
              </a:cxn>
              <a:cxn ang="0">
                <a:pos x="connsiteX6652" y="connsiteY6652"/>
              </a:cxn>
              <a:cxn ang="0">
                <a:pos x="connsiteX6653" y="connsiteY6653"/>
              </a:cxn>
              <a:cxn ang="0">
                <a:pos x="connsiteX6654" y="connsiteY6654"/>
              </a:cxn>
              <a:cxn ang="0">
                <a:pos x="connsiteX6655" y="connsiteY6655"/>
              </a:cxn>
              <a:cxn ang="0">
                <a:pos x="connsiteX6656" y="connsiteY6656"/>
              </a:cxn>
              <a:cxn ang="0">
                <a:pos x="connsiteX6657" y="connsiteY6657"/>
              </a:cxn>
              <a:cxn ang="0">
                <a:pos x="connsiteX6658" y="connsiteY6658"/>
              </a:cxn>
              <a:cxn ang="0">
                <a:pos x="connsiteX6659" y="connsiteY6659"/>
              </a:cxn>
              <a:cxn ang="0">
                <a:pos x="connsiteX6660" y="connsiteY6660"/>
              </a:cxn>
              <a:cxn ang="0">
                <a:pos x="connsiteX6661" y="connsiteY6661"/>
              </a:cxn>
              <a:cxn ang="0">
                <a:pos x="connsiteX6662" y="connsiteY6662"/>
              </a:cxn>
              <a:cxn ang="0">
                <a:pos x="connsiteX6663" y="connsiteY6663"/>
              </a:cxn>
              <a:cxn ang="0">
                <a:pos x="connsiteX6664" y="connsiteY6664"/>
              </a:cxn>
              <a:cxn ang="0">
                <a:pos x="connsiteX6665" y="connsiteY6665"/>
              </a:cxn>
              <a:cxn ang="0">
                <a:pos x="connsiteX6666" y="connsiteY6666"/>
              </a:cxn>
              <a:cxn ang="0">
                <a:pos x="connsiteX6667" y="connsiteY6667"/>
              </a:cxn>
              <a:cxn ang="0">
                <a:pos x="connsiteX6668" y="connsiteY6668"/>
              </a:cxn>
              <a:cxn ang="0">
                <a:pos x="connsiteX6669" y="connsiteY6669"/>
              </a:cxn>
              <a:cxn ang="0">
                <a:pos x="connsiteX6670" y="connsiteY6670"/>
              </a:cxn>
              <a:cxn ang="0">
                <a:pos x="connsiteX6671" y="connsiteY6671"/>
              </a:cxn>
              <a:cxn ang="0">
                <a:pos x="connsiteX6672" y="connsiteY6672"/>
              </a:cxn>
              <a:cxn ang="0">
                <a:pos x="connsiteX6673" y="connsiteY6673"/>
              </a:cxn>
              <a:cxn ang="0">
                <a:pos x="connsiteX6674" y="connsiteY6674"/>
              </a:cxn>
              <a:cxn ang="0">
                <a:pos x="connsiteX6675" y="connsiteY6675"/>
              </a:cxn>
              <a:cxn ang="0">
                <a:pos x="connsiteX6676" y="connsiteY6676"/>
              </a:cxn>
              <a:cxn ang="0">
                <a:pos x="connsiteX6677" y="connsiteY6677"/>
              </a:cxn>
              <a:cxn ang="0">
                <a:pos x="connsiteX6678" y="connsiteY6678"/>
              </a:cxn>
              <a:cxn ang="0">
                <a:pos x="connsiteX6679" y="connsiteY6679"/>
              </a:cxn>
              <a:cxn ang="0">
                <a:pos x="connsiteX6680" y="connsiteY6680"/>
              </a:cxn>
              <a:cxn ang="0">
                <a:pos x="connsiteX6681" y="connsiteY6681"/>
              </a:cxn>
              <a:cxn ang="0">
                <a:pos x="connsiteX6682" y="connsiteY6682"/>
              </a:cxn>
              <a:cxn ang="0">
                <a:pos x="connsiteX6683" y="connsiteY6683"/>
              </a:cxn>
              <a:cxn ang="0">
                <a:pos x="connsiteX6684" y="connsiteY6684"/>
              </a:cxn>
              <a:cxn ang="0">
                <a:pos x="connsiteX6685" y="connsiteY6685"/>
              </a:cxn>
              <a:cxn ang="0">
                <a:pos x="connsiteX6686" y="connsiteY6686"/>
              </a:cxn>
              <a:cxn ang="0">
                <a:pos x="connsiteX6687" y="connsiteY6687"/>
              </a:cxn>
              <a:cxn ang="0">
                <a:pos x="connsiteX6688" y="connsiteY6688"/>
              </a:cxn>
              <a:cxn ang="0">
                <a:pos x="connsiteX6689" y="connsiteY6689"/>
              </a:cxn>
              <a:cxn ang="0">
                <a:pos x="connsiteX6690" y="connsiteY6690"/>
              </a:cxn>
              <a:cxn ang="0">
                <a:pos x="connsiteX6691" y="connsiteY6691"/>
              </a:cxn>
              <a:cxn ang="0">
                <a:pos x="connsiteX6692" y="connsiteY6692"/>
              </a:cxn>
              <a:cxn ang="0">
                <a:pos x="connsiteX6693" y="connsiteY6693"/>
              </a:cxn>
              <a:cxn ang="0">
                <a:pos x="connsiteX6694" y="connsiteY6694"/>
              </a:cxn>
              <a:cxn ang="0">
                <a:pos x="connsiteX6695" y="connsiteY6695"/>
              </a:cxn>
              <a:cxn ang="0">
                <a:pos x="connsiteX6696" y="connsiteY6696"/>
              </a:cxn>
              <a:cxn ang="0">
                <a:pos x="connsiteX6697" y="connsiteY6697"/>
              </a:cxn>
              <a:cxn ang="0">
                <a:pos x="connsiteX6698" y="connsiteY6698"/>
              </a:cxn>
              <a:cxn ang="0">
                <a:pos x="connsiteX6699" y="connsiteY6699"/>
              </a:cxn>
              <a:cxn ang="0">
                <a:pos x="connsiteX6700" y="connsiteY6700"/>
              </a:cxn>
              <a:cxn ang="0">
                <a:pos x="connsiteX6701" y="connsiteY6701"/>
              </a:cxn>
              <a:cxn ang="0">
                <a:pos x="connsiteX6702" y="connsiteY6702"/>
              </a:cxn>
              <a:cxn ang="0">
                <a:pos x="connsiteX6703" y="connsiteY6703"/>
              </a:cxn>
              <a:cxn ang="0">
                <a:pos x="connsiteX6704" y="connsiteY6704"/>
              </a:cxn>
              <a:cxn ang="0">
                <a:pos x="connsiteX6705" y="connsiteY6705"/>
              </a:cxn>
              <a:cxn ang="0">
                <a:pos x="connsiteX6706" y="connsiteY6706"/>
              </a:cxn>
              <a:cxn ang="0">
                <a:pos x="connsiteX6707" y="connsiteY6707"/>
              </a:cxn>
              <a:cxn ang="0">
                <a:pos x="connsiteX6708" y="connsiteY6708"/>
              </a:cxn>
              <a:cxn ang="0">
                <a:pos x="connsiteX6709" y="connsiteY6709"/>
              </a:cxn>
              <a:cxn ang="0">
                <a:pos x="connsiteX6710" y="connsiteY6710"/>
              </a:cxn>
              <a:cxn ang="0">
                <a:pos x="connsiteX6711" y="connsiteY6711"/>
              </a:cxn>
              <a:cxn ang="0">
                <a:pos x="connsiteX6712" y="connsiteY6712"/>
              </a:cxn>
              <a:cxn ang="0">
                <a:pos x="connsiteX6713" y="connsiteY6713"/>
              </a:cxn>
              <a:cxn ang="0">
                <a:pos x="connsiteX6714" y="connsiteY6714"/>
              </a:cxn>
              <a:cxn ang="0">
                <a:pos x="connsiteX6715" y="connsiteY6715"/>
              </a:cxn>
              <a:cxn ang="0">
                <a:pos x="connsiteX6716" y="connsiteY6716"/>
              </a:cxn>
              <a:cxn ang="0">
                <a:pos x="connsiteX6717" y="connsiteY6717"/>
              </a:cxn>
              <a:cxn ang="0">
                <a:pos x="connsiteX6718" y="connsiteY6718"/>
              </a:cxn>
              <a:cxn ang="0">
                <a:pos x="connsiteX6719" y="connsiteY6719"/>
              </a:cxn>
              <a:cxn ang="0">
                <a:pos x="connsiteX6720" y="connsiteY6720"/>
              </a:cxn>
              <a:cxn ang="0">
                <a:pos x="connsiteX6721" y="connsiteY6721"/>
              </a:cxn>
              <a:cxn ang="0">
                <a:pos x="connsiteX6722" y="connsiteY6722"/>
              </a:cxn>
              <a:cxn ang="0">
                <a:pos x="connsiteX6723" y="connsiteY6723"/>
              </a:cxn>
              <a:cxn ang="0">
                <a:pos x="connsiteX6724" y="connsiteY6724"/>
              </a:cxn>
              <a:cxn ang="0">
                <a:pos x="connsiteX6725" y="connsiteY6725"/>
              </a:cxn>
              <a:cxn ang="0">
                <a:pos x="connsiteX6726" y="connsiteY6726"/>
              </a:cxn>
              <a:cxn ang="0">
                <a:pos x="connsiteX6727" y="connsiteY6727"/>
              </a:cxn>
              <a:cxn ang="0">
                <a:pos x="connsiteX6728" y="connsiteY6728"/>
              </a:cxn>
              <a:cxn ang="0">
                <a:pos x="connsiteX6729" y="connsiteY6729"/>
              </a:cxn>
              <a:cxn ang="0">
                <a:pos x="connsiteX6730" y="connsiteY6730"/>
              </a:cxn>
              <a:cxn ang="0">
                <a:pos x="connsiteX6731" y="connsiteY6731"/>
              </a:cxn>
              <a:cxn ang="0">
                <a:pos x="connsiteX6732" y="connsiteY6732"/>
              </a:cxn>
              <a:cxn ang="0">
                <a:pos x="connsiteX6733" y="connsiteY6733"/>
              </a:cxn>
              <a:cxn ang="0">
                <a:pos x="connsiteX6734" y="connsiteY6734"/>
              </a:cxn>
              <a:cxn ang="0">
                <a:pos x="connsiteX6735" y="connsiteY6735"/>
              </a:cxn>
              <a:cxn ang="0">
                <a:pos x="connsiteX6736" y="connsiteY6736"/>
              </a:cxn>
              <a:cxn ang="0">
                <a:pos x="connsiteX6737" y="connsiteY6737"/>
              </a:cxn>
              <a:cxn ang="0">
                <a:pos x="connsiteX6738" y="connsiteY6738"/>
              </a:cxn>
              <a:cxn ang="0">
                <a:pos x="connsiteX6739" y="connsiteY6739"/>
              </a:cxn>
              <a:cxn ang="0">
                <a:pos x="connsiteX6740" y="connsiteY6740"/>
              </a:cxn>
              <a:cxn ang="0">
                <a:pos x="connsiteX6741" y="connsiteY6741"/>
              </a:cxn>
              <a:cxn ang="0">
                <a:pos x="connsiteX6742" y="connsiteY6742"/>
              </a:cxn>
              <a:cxn ang="0">
                <a:pos x="connsiteX6743" y="connsiteY6743"/>
              </a:cxn>
              <a:cxn ang="0">
                <a:pos x="connsiteX6744" y="connsiteY6744"/>
              </a:cxn>
              <a:cxn ang="0">
                <a:pos x="connsiteX6745" y="connsiteY6745"/>
              </a:cxn>
              <a:cxn ang="0">
                <a:pos x="connsiteX6746" y="connsiteY6746"/>
              </a:cxn>
              <a:cxn ang="0">
                <a:pos x="connsiteX6747" y="connsiteY6747"/>
              </a:cxn>
              <a:cxn ang="0">
                <a:pos x="connsiteX6748" y="connsiteY6748"/>
              </a:cxn>
              <a:cxn ang="0">
                <a:pos x="connsiteX6749" y="connsiteY6749"/>
              </a:cxn>
              <a:cxn ang="0">
                <a:pos x="connsiteX6750" y="connsiteY6750"/>
              </a:cxn>
              <a:cxn ang="0">
                <a:pos x="connsiteX6751" y="connsiteY6751"/>
              </a:cxn>
              <a:cxn ang="0">
                <a:pos x="connsiteX6752" y="connsiteY6752"/>
              </a:cxn>
              <a:cxn ang="0">
                <a:pos x="connsiteX6753" y="connsiteY6753"/>
              </a:cxn>
              <a:cxn ang="0">
                <a:pos x="connsiteX6754" y="connsiteY6754"/>
              </a:cxn>
              <a:cxn ang="0">
                <a:pos x="connsiteX6755" y="connsiteY6755"/>
              </a:cxn>
              <a:cxn ang="0">
                <a:pos x="connsiteX6756" y="connsiteY6756"/>
              </a:cxn>
              <a:cxn ang="0">
                <a:pos x="connsiteX6757" y="connsiteY6757"/>
              </a:cxn>
              <a:cxn ang="0">
                <a:pos x="connsiteX6758" y="connsiteY6758"/>
              </a:cxn>
              <a:cxn ang="0">
                <a:pos x="connsiteX6759" y="connsiteY6759"/>
              </a:cxn>
              <a:cxn ang="0">
                <a:pos x="connsiteX6760" y="connsiteY6760"/>
              </a:cxn>
              <a:cxn ang="0">
                <a:pos x="connsiteX6761" y="connsiteY6761"/>
              </a:cxn>
              <a:cxn ang="0">
                <a:pos x="connsiteX6762" y="connsiteY6762"/>
              </a:cxn>
              <a:cxn ang="0">
                <a:pos x="connsiteX6763" y="connsiteY6763"/>
              </a:cxn>
              <a:cxn ang="0">
                <a:pos x="connsiteX6764" y="connsiteY6764"/>
              </a:cxn>
              <a:cxn ang="0">
                <a:pos x="connsiteX6765" y="connsiteY6765"/>
              </a:cxn>
              <a:cxn ang="0">
                <a:pos x="connsiteX6766" y="connsiteY6766"/>
              </a:cxn>
              <a:cxn ang="0">
                <a:pos x="connsiteX6767" y="connsiteY6767"/>
              </a:cxn>
              <a:cxn ang="0">
                <a:pos x="connsiteX6768" y="connsiteY6768"/>
              </a:cxn>
              <a:cxn ang="0">
                <a:pos x="connsiteX6769" y="connsiteY6769"/>
              </a:cxn>
              <a:cxn ang="0">
                <a:pos x="connsiteX6770" y="connsiteY6770"/>
              </a:cxn>
              <a:cxn ang="0">
                <a:pos x="connsiteX6771" y="connsiteY6771"/>
              </a:cxn>
              <a:cxn ang="0">
                <a:pos x="connsiteX6772" y="connsiteY6772"/>
              </a:cxn>
              <a:cxn ang="0">
                <a:pos x="connsiteX6773" y="connsiteY6773"/>
              </a:cxn>
              <a:cxn ang="0">
                <a:pos x="connsiteX6774" y="connsiteY6774"/>
              </a:cxn>
              <a:cxn ang="0">
                <a:pos x="connsiteX6775" y="connsiteY6775"/>
              </a:cxn>
              <a:cxn ang="0">
                <a:pos x="connsiteX6776" y="connsiteY6776"/>
              </a:cxn>
              <a:cxn ang="0">
                <a:pos x="connsiteX6777" y="connsiteY6777"/>
              </a:cxn>
              <a:cxn ang="0">
                <a:pos x="connsiteX6778" y="connsiteY6778"/>
              </a:cxn>
              <a:cxn ang="0">
                <a:pos x="connsiteX6779" y="connsiteY6779"/>
              </a:cxn>
              <a:cxn ang="0">
                <a:pos x="connsiteX6780" y="connsiteY6780"/>
              </a:cxn>
              <a:cxn ang="0">
                <a:pos x="connsiteX6781" y="connsiteY6781"/>
              </a:cxn>
              <a:cxn ang="0">
                <a:pos x="connsiteX6782" y="connsiteY6782"/>
              </a:cxn>
              <a:cxn ang="0">
                <a:pos x="connsiteX6783" y="connsiteY6783"/>
              </a:cxn>
              <a:cxn ang="0">
                <a:pos x="connsiteX6784" y="connsiteY6784"/>
              </a:cxn>
              <a:cxn ang="0">
                <a:pos x="connsiteX6785" y="connsiteY6785"/>
              </a:cxn>
              <a:cxn ang="0">
                <a:pos x="connsiteX6786" y="connsiteY6786"/>
              </a:cxn>
              <a:cxn ang="0">
                <a:pos x="connsiteX6787" y="connsiteY6787"/>
              </a:cxn>
              <a:cxn ang="0">
                <a:pos x="connsiteX6788" y="connsiteY6788"/>
              </a:cxn>
              <a:cxn ang="0">
                <a:pos x="connsiteX6789" y="connsiteY6789"/>
              </a:cxn>
              <a:cxn ang="0">
                <a:pos x="connsiteX6790" y="connsiteY6790"/>
              </a:cxn>
              <a:cxn ang="0">
                <a:pos x="connsiteX6791" y="connsiteY6791"/>
              </a:cxn>
              <a:cxn ang="0">
                <a:pos x="connsiteX6792" y="connsiteY6792"/>
              </a:cxn>
              <a:cxn ang="0">
                <a:pos x="connsiteX6793" y="connsiteY6793"/>
              </a:cxn>
              <a:cxn ang="0">
                <a:pos x="connsiteX6794" y="connsiteY6794"/>
              </a:cxn>
              <a:cxn ang="0">
                <a:pos x="connsiteX6795" y="connsiteY6795"/>
              </a:cxn>
              <a:cxn ang="0">
                <a:pos x="connsiteX6796" y="connsiteY6796"/>
              </a:cxn>
              <a:cxn ang="0">
                <a:pos x="connsiteX6797" y="connsiteY6797"/>
              </a:cxn>
              <a:cxn ang="0">
                <a:pos x="connsiteX6798" y="connsiteY6798"/>
              </a:cxn>
              <a:cxn ang="0">
                <a:pos x="connsiteX6799" y="connsiteY6799"/>
              </a:cxn>
              <a:cxn ang="0">
                <a:pos x="connsiteX6800" y="connsiteY6800"/>
              </a:cxn>
              <a:cxn ang="0">
                <a:pos x="connsiteX6801" y="connsiteY6801"/>
              </a:cxn>
              <a:cxn ang="0">
                <a:pos x="connsiteX6802" y="connsiteY6802"/>
              </a:cxn>
              <a:cxn ang="0">
                <a:pos x="connsiteX6803" y="connsiteY6803"/>
              </a:cxn>
              <a:cxn ang="0">
                <a:pos x="connsiteX6804" y="connsiteY6804"/>
              </a:cxn>
              <a:cxn ang="0">
                <a:pos x="connsiteX6805" y="connsiteY6805"/>
              </a:cxn>
              <a:cxn ang="0">
                <a:pos x="connsiteX6806" y="connsiteY6806"/>
              </a:cxn>
              <a:cxn ang="0">
                <a:pos x="connsiteX6807" y="connsiteY6807"/>
              </a:cxn>
              <a:cxn ang="0">
                <a:pos x="connsiteX6808" y="connsiteY6808"/>
              </a:cxn>
              <a:cxn ang="0">
                <a:pos x="connsiteX6809" y="connsiteY6809"/>
              </a:cxn>
              <a:cxn ang="0">
                <a:pos x="connsiteX6810" y="connsiteY6810"/>
              </a:cxn>
              <a:cxn ang="0">
                <a:pos x="connsiteX6811" y="connsiteY6811"/>
              </a:cxn>
              <a:cxn ang="0">
                <a:pos x="connsiteX6812" y="connsiteY6812"/>
              </a:cxn>
              <a:cxn ang="0">
                <a:pos x="connsiteX6813" y="connsiteY6813"/>
              </a:cxn>
              <a:cxn ang="0">
                <a:pos x="connsiteX6814" y="connsiteY6814"/>
              </a:cxn>
              <a:cxn ang="0">
                <a:pos x="connsiteX6815" y="connsiteY6815"/>
              </a:cxn>
              <a:cxn ang="0">
                <a:pos x="connsiteX6816" y="connsiteY6816"/>
              </a:cxn>
              <a:cxn ang="0">
                <a:pos x="connsiteX6817" y="connsiteY6817"/>
              </a:cxn>
              <a:cxn ang="0">
                <a:pos x="connsiteX6818" y="connsiteY6818"/>
              </a:cxn>
              <a:cxn ang="0">
                <a:pos x="connsiteX6819" y="connsiteY6819"/>
              </a:cxn>
              <a:cxn ang="0">
                <a:pos x="connsiteX6820" y="connsiteY6820"/>
              </a:cxn>
              <a:cxn ang="0">
                <a:pos x="connsiteX6821" y="connsiteY6821"/>
              </a:cxn>
              <a:cxn ang="0">
                <a:pos x="connsiteX6822" y="connsiteY6822"/>
              </a:cxn>
              <a:cxn ang="0">
                <a:pos x="connsiteX6823" y="connsiteY6823"/>
              </a:cxn>
              <a:cxn ang="0">
                <a:pos x="connsiteX6824" y="connsiteY6824"/>
              </a:cxn>
              <a:cxn ang="0">
                <a:pos x="connsiteX6825" y="connsiteY6825"/>
              </a:cxn>
              <a:cxn ang="0">
                <a:pos x="connsiteX6826" y="connsiteY6826"/>
              </a:cxn>
              <a:cxn ang="0">
                <a:pos x="connsiteX6827" y="connsiteY6827"/>
              </a:cxn>
              <a:cxn ang="0">
                <a:pos x="connsiteX6828" y="connsiteY6828"/>
              </a:cxn>
              <a:cxn ang="0">
                <a:pos x="connsiteX6829" y="connsiteY6829"/>
              </a:cxn>
              <a:cxn ang="0">
                <a:pos x="connsiteX6830" y="connsiteY6830"/>
              </a:cxn>
              <a:cxn ang="0">
                <a:pos x="connsiteX6831" y="connsiteY6831"/>
              </a:cxn>
              <a:cxn ang="0">
                <a:pos x="connsiteX6832" y="connsiteY6832"/>
              </a:cxn>
              <a:cxn ang="0">
                <a:pos x="connsiteX6833" y="connsiteY6833"/>
              </a:cxn>
              <a:cxn ang="0">
                <a:pos x="connsiteX6834" y="connsiteY6834"/>
              </a:cxn>
              <a:cxn ang="0">
                <a:pos x="connsiteX6835" y="connsiteY6835"/>
              </a:cxn>
              <a:cxn ang="0">
                <a:pos x="connsiteX6836" y="connsiteY6836"/>
              </a:cxn>
              <a:cxn ang="0">
                <a:pos x="connsiteX6837" y="connsiteY6837"/>
              </a:cxn>
              <a:cxn ang="0">
                <a:pos x="connsiteX6838" y="connsiteY6838"/>
              </a:cxn>
              <a:cxn ang="0">
                <a:pos x="connsiteX6839" y="connsiteY6839"/>
              </a:cxn>
              <a:cxn ang="0">
                <a:pos x="connsiteX6840" y="connsiteY6840"/>
              </a:cxn>
              <a:cxn ang="0">
                <a:pos x="connsiteX6841" y="connsiteY6841"/>
              </a:cxn>
              <a:cxn ang="0">
                <a:pos x="connsiteX6842" y="connsiteY6842"/>
              </a:cxn>
              <a:cxn ang="0">
                <a:pos x="connsiteX6843" y="connsiteY6843"/>
              </a:cxn>
              <a:cxn ang="0">
                <a:pos x="connsiteX6844" y="connsiteY6844"/>
              </a:cxn>
              <a:cxn ang="0">
                <a:pos x="connsiteX6845" y="connsiteY6845"/>
              </a:cxn>
              <a:cxn ang="0">
                <a:pos x="connsiteX6846" y="connsiteY6846"/>
              </a:cxn>
              <a:cxn ang="0">
                <a:pos x="connsiteX6847" y="connsiteY6847"/>
              </a:cxn>
              <a:cxn ang="0">
                <a:pos x="connsiteX6848" y="connsiteY6848"/>
              </a:cxn>
              <a:cxn ang="0">
                <a:pos x="connsiteX6849" y="connsiteY6849"/>
              </a:cxn>
              <a:cxn ang="0">
                <a:pos x="connsiteX6850" y="connsiteY6850"/>
              </a:cxn>
              <a:cxn ang="0">
                <a:pos x="connsiteX6851" y="connsiteY6851"/>
              </a:cxn>
              <a:cxn ang="0">
                <a:pos x="connsiteX6852" y="connsiteY6852"/>
              </a:cxn>
              <a:cxn ang="0">
                <a:pos x="connsiteX6853" y="connsiteY6853"/>
              </a:cxn>
              <a:cxn ang="0">
                <a:pos x="connsiteX6854" y="connsiteY6854"/>
              </a:cxn>
              <a:cxn ang="0">
                <a:pos x="connsiteX6855" y="connsiteY6855"/>
              </a:cxn>
              <a:cxn ang="0">
                <a:pos x="connsiteX6856" y="connsiteY6856"/>
              </a:cxn>
              <a:cxn ang="0">
                <a:pos x="connsiteX6857" y="connsiteY6857"/>
              </a:cxn>
              <a:cxn ang="0">
                <a:pos x="connsiteX6858" y="connsiteY6858"/>
              </a:cxn>
              <a:cxn ang="0">
                <a:pos x="connsiteX6859" y="connsiteY6859"/>
              </a:cxn>
              <a:cxn ang="0">
                <a:pos x="connsiteX6860" y="connsiteY6860"/>
              </a:cxn>
              <a:cxn ang="0">
                <a:pos x="connsiteX6861" y="connsiteY6861"/>
              </a:cxn>
              <a:cxn ang="0">
                <a:pos x="connsiteX6862" y="connsiteY6862"/>
              </a:cxn>
              <a:cxn ang="0">
                <a:pos x="connsiteX6863" y="connsiteY6863"/>
              </a:cxn>
              <a:cxn ang="0">
                <a:pos x="connsiteX6864" y="connsiteY6864"/>
              </a:cxn>
              <a:cxn ang="0">
                <a:pos x="connsiteX6865" y="connsiteY6865"/>
              </a:cxn>
              <a:cxn ang="0">
                <a:pos x="connsiteX6866" y="connsiteY6866"/>
              </a:cxn>
              <a:cxn ang="0">
                <a:pos x="connsiteX6867" y="connsiteY6867"/>
              </a:cxn>
              <a:cxn ang="0">
                <a:pos x="connsiteX6868" y="connsiteY6868"/>
              </a:cxn>
              <a:cxn ang="0">
                <a:pos x="connsiteX6869" y="connsiteY6869"/>
              </a:cxn>
              <a:cxn ang="0">
                <a:pos x="connsiteX6870" y="connsiteY6870"/>
              </a:cxn>
              <a:cxn ang="0">
                <a:pos x="connsiteX6871" y="connsiteY6871"/>
              </a:cxn>
              <a:cxn ang="0">
                <a:pos x="connsiteX6872" y="connsiteY6872"/>
              </a:cxn>
              <a:cxn ang="0">
                <a:pos x="connsiteX6873" y="connsiteY6873"/>
              </a:cxn>
              <a:cxn ang="0">
                <a:pos x="connsiteX6874" y="connsiteY6874"/>
              </a:cxn>
              <a:cxn ang="0">
                <a:pos x="connsiteX6875" y="connsiteY6875"/>
              </a:cxn>
              <a:cxn ang="0">
                <a:pos x="connsiteX6876" y="connsiteY6876"/>
              </a:cxn>
              <a:cxn ang="0">
                <a:pos x="connsiteX6877" y="connsiteY6877"/>
              </a:cxn>
              <a:cxn ang="0">
                <a:pos x="connsiteX6878" y="connsiteY6878"/>
              </a:cxn>
              <a:cxn ang="0">
                <a:pos x="connsiteX6879" y="connsiteY6879"/>
              </a:cxn>
              <a:cxn ang="0">
                <a:pos x="connsiteX6880" y="connsiteY6880"/>
              </a:cxn>
              <a:cxn ang="0">
                <a:pos x="connsiteX6881" y="connsiteY6881"/>
              </a:cxn>
              <a:cxn ang="0">
                <a:pos x="connsiteX6882" y="connsiteY6882"/>
              </a:cxn>
              <a:cxn ang="0">
                <a:pos x="connsiteX6883" y="connsiteY6883"/>
              </a:cxn>
              <a:cxn ang="0">
                <a:pos x="connsiteX6884" y="connsiteY6884"/>
              </a:cxn>
              <a:cxn ang="0">
                <a:pos x="connsiteX6885" y="connsiteY6885"/>
              </a:cxn>
              <a:cxn ang="0">
                <a:pos x="connsiteX6886" y="connsiteY6886"/>
              </a:cxn>
              <a:cxn ang="0">
                <a:pos x="connsiteX6887" y="connsiteY6887"/>
              </a:cxn>
              <a:cxn ang="0">
                <a:pos x="connsiteX6888" y="connsiteY6888"/>
              </a:cxn>
              <a:cxn ang="0">
                <a:pos x="connsiteX6889" y="connsiteY6889"/>
              </a:cxn>
              <a:cxn ang="0">
                <a:pos x="connsiteX6890" y="connsiteY6890"/>
              </a:cxn>
              <a:cxn ang="0">
                <a:pos x="connsiteX6891" y="connsiteY6891"/>
              </a:cxn>
              <a:cxn ang="0">
                <a:pos x="connsiteX6892" y="connsiteY6892"/>
              </a:cxn>
              <a:cxn ang="0">
                <a:pos x="connsiteX6893" y="connsiteY6893"/>
              </a:cxn>
              <a:cxn ang="0">
                <a:pos x="connsiteX6894" y="connsiteY6894"/>
              </a:cxn>
              <a:cxn ang="0">
                <a:pos x="connsiteX6895" y="connsiteY6895"/>
              </a:cxn>
              <a:cxn ang="0">
                <a:pos x="connsiteX6896" y="connsiteY6896"/>
              </a:cxn>
              <a:cxn ang="0">
                <a:pos x="connsiteX6897" y="connsiteY6897"/>
              </a:cxn>
              <a:cxn ang="0">
                <a:pos x="connsiteX6898" y="connsiteY6898"/>
              </a:cxn>
              <a:cxn ang="0">
                <a:pos x="connsiteX6899" y="connsiteY6899"/>
              </a:cxn>
              <a:cxn ang="0">
                <a:pos x="connsiteX6900" y="connsiteY6900"/>
              </a:cxn>
              <a:cxn ang="0">
                <a:pos x="connsiteX6901" y="connsiteY6901"/>
              </a:cxn>
              <a:cxn ang="0">
                <a:pos x="connsiteX6902" y="connsiteY6902"/>
              </a:cxn>
              <a:cxn ang="0">
                <a:pos x="connsiteX6903" y="connsiteY6903"/>
              </a:cxn>
              <a:cxn ang="0">
                <a:pos x="connsiteX6904" y="connsiteY6904"/>
              </a:cxn>
              <a:cxn ang="0">
                <a:pos x="connsiteX6905" y="connsiteY6905"/>
              </a:cxn>
              <a:cxn ang="0">
                <a:pos x="connsiteX6906" y="connsiteY6906"/>
              </a:cxn>
              <a:cxn ang="0">
                <a:pos x="connsiteX6907" y="connsiteY6907"/>
              </a:cxn>
              <a:cxn ang="0">
                <a:pos x="connsiteX6908" y="connsiteY6908"/>
              </a:cxn>
              <a:cxn ang="0">
                <a:pos x="connsiteX6909" y="connsiteY6909"/>
              </a:cxn>
              <a:cxn ang="0">
                <a:pos x="connsiteX6910" y="connsiteY6910"/>
              </a:cxn>
              <a:cxn ang="0">
                <a:pos x="connsiteX6911" y="connsiteY6911"/>
              </a:cxn>
              <a:cxn ang="0">
                <a:pos x="connsiteX6912" y="connsiteY6912"/>
              </a:cxn>
              <a:cxn ang="0">
                <a:pos x="connsiteX6913" y="connsiteY6913"/>
              </a:cxn>
              <a:cxn ang="0">
                <a:pos x="connsiteX6914" y="connsiteY6914"/>
              </a:cxn>
              <a:cxn ang="0">
                <a:pos x="connsiteX6915" y="connsiteY6915"/>
              </a:cxn>
              <a:cxn ang="0">
                <a:pos x="connsiteX6916" y="connsiteY6916"/>
              </a:cxn>
              <a:cxn ang="0">
                <a:pos x="connsiteX6917" y="connsiteY6917"/>
              </a:cxn>
              <a:cxn ang="0">
                <a:pos x="connsiteX6918" y="connsiteY6918"/>
              </a:cxn>
              <a:cxn ang="0">
                <a:pos x="connsiteX6919" y="connsiteY6919"/>
              </a:cxn>
              <a:cxn ang="0">
                <a:pos x="connsiteX6920" y="connsiteY6920"/>
              </a:cxn>
              <a:cxn ang="0">
                <a:pos x="connsiteX6921" y="connsiteY6921"/>
              </a:cxn>
              <a:cxn ang="0">
                <a:pos x="connsiteX6922" y="connsiteY6922"/>
              </a:cxn>
              <a:cxn ang="0">
                <a:pos x="connsiteX6923" y="connsiteY6923"/>
              </a:cxn>
              <a:cxn ang="0">
                <a:pos x="connsiteX6924" y="connsiteY6924"/>
              </a:cxn>
              <a:cxn ang="0">
                <a:pos x="connsiteX6925" y="connsiteY6925"/>
              </a:cxn>
              <a:cxn ang="0">
                <a:pos x="connsiteX6926" y="connsiteY6926"/>
              </a:cxn>
              <a:cxn ang="0">
                <a:pos x="connsiteX6927" y="connsiteY6927"/>
              </a:cxn>
              <a:cxn ang="0">
                <a:pos x="connsiteX6928" y="connsiteY6928"/>
              </a:cxn>
              <a:cxn ang="0">
                <a:pos x="connsiteX6929" y="connsiteY6929"/>
              </a:cxn>
              <a:cxn ang="0">
                <a:pos x="connsiteX6930" y="connsiteY6930"/>
              </a:cxn>
              <a:cxn ang="0">
                <a:pos x="connsiteX6931" y="connsiteY6931"/>
              </a:cxn>
              <a:cxn ang="0">
                <a:pos x="connsiteX6932" y="connsiteY6932"/>
              </a:cxn>
              <a:cxn ang="0">
                <a:pos x="connsiteX6933" y="connsiteY6933"/>
              </a:cxn>
              <a:cxn ang="0">
                <a:pos x="connsiteX6934" y="connsiteY6934"/>
              </a:cxn>
              <a:cxn ang="0">
                <a:pos x="connsiteX6935" y="connsiteY6935"/>
              </a:cxn>
              <a:cxn ang="0">
                <a:pos x="connsiteX6936" y="connsiteY6936"/>
              </a:cxn>
              <a:cxn ang="0">
                <a:pos x="connsiteX6937" y="connsiteY6937"/>
              </a:cxn>
              <a:cxn ang="0">
                <a:pos x="connsiteX6938" y="connsiteY6938"/>
              </a:cxn>
              <a:cxn ang="0">
                <a:pos x="connsiteX6939" y="connsiteY6939"/>
              </a:cxn>
              <a:cxn ang="0">
                <a:pos x="connsiteX6940" y="connsiteY6940"/>
              </a:cxn>
              <a:cxn ang="0">
                <a:pos x="connsiteX6941" y="connsiteY6941"/>
              </a:cxn>
              <a:cxn ang="0">
                <a:pos x="connsiteX6942" y="connsiteY6942"/>
              </a:cxn>
              <a:cxn ang="0">
                <a:pos x="connsiteX6943" y="connsiteY6943"/>
              </a:cxn>
              <a:cxn ang="0">
                <a:pos x="connsiteX6944" y="connsiteY6944"/>
              </a:cxn>
              <a:cxn ang="0">
                <a:pos x="connsiteX6945" y="connsiteY6945"/>
              </a:cxn>
              <a:cxn ang="0">
                <a:pos x="connsiteX6946" y="connsiteY6946"/>
              </a:cxn>
              <a:cxn ang="0">
                <a:pos x="connsiteX6947" y="connsiteY6947"/>
              </a:cxn>
              <a:cxn ang="0">
                <a:pos x="connsiteX6948" y="connsiteY6948"/>
              </a:cxn>
              <a:cxn ang="0">
                <a:pos x="connsiteX6949" y="connsiteY6949"/>
              </a:cxn>
              <a:cxn ang="0">
                <a:pos x="connsiteX6950" y="connsiteY6950"/>
              </a:cxn>
              <a:cxn ang="0">
                <a:pos x="connsiteX6951" y="connsiteY6951"/>
              </a:cxn>
              <a:cxn ang="0">
                <a:pos x="connsiteX6952" y="connsiteY6952"/>
              </a:cxn>
              <a:cxn ang="0">
                <a:pos x="connsiteX6953" y="connsiteY6953"/>
              </a:cxn>
              <a:cxn ang="0">
                <a:pos x="connsiteX6954" y="connsiteY6954"/>
              </a:cxn>
              <a:cxn ang="0">
                <a:pos x="connsiteX6955" y="connsiteY6955"/>
              </a:cxn>
              <a:cxn ang="0">
                <a:pos x="connsiteX6956" y="connsiteY6956"/>
              </a:cxn>
              <a:cxn ang="0">
                <a:pos x="connsiteX6957" y="connsiteY6957"/>
              </a:cxn>
              <a:cxn ang="0">
                <a:pos x="connsiteX6958" y="connsiteY6958"/>
              </a:cxn>
              <a:cxn ang="0">
                <a:pos x="connsiteX6959" y="connsiteY6959"/>
              </a:cxn>
              <a:cxn ang="0">
                <a:pos x="connsiteX6960" y="connsiteY6960"/>
              </a:cxn>
              <a:cxn ang="0">
                <a:pos x="connsiteX6961" y="connsiteY6961"/>
              </a:cxn>
              <a:cxn ang="0">
                <a:pos x="connsiteX6962" y="connsiteY6962"/>
              </a:cxn>
              <a:cxn ang="0">
                <a:pos x="connsiteX6963" y="connsiteY6963"/>
              </a:cxn>
              <a:cxn ang="0">
                <a:pos x="connsiteX6964" y="connsiteY6964"/>
              </a:cxn>
              <a:cxn ang="0">
                <a:pos x="connsiteX6965" y="connsiteY6965"/>
              </a:cxn>
              <a:cxn ang="0">
                <a:pos x="connsiteX6966" y="connsiteY6966"/>
              </a:cxn>
              <a:cxn ang="0">
                <a:pos x="connsiteX6967" y="connsiteY6967"/>
              </a:cxn>
              <a:cxn ang="0">
                <a:pos x="connsiteX6968" y="connsiteY6968"/>
              </a:cxn>
              <a:cxn ang="0">
                <a:pos x="connsiteX6969" y="connsiteY6969"/>
              </a:cxn>
              <a:cxn ang="0">
                <a:pos x="connsiteX6970" y="connsiteY6970"/>
              </a:cxn>
              <a:cxn ang="0">
                <a:pos x="connsiteX6971" y="connsiteY6971"/>
              </a:cxn>
              <a:cxn ang="0">
                <a:pos x="connsiteX6972" y="connsiteY6972"/>
              </a:cxn>
              <a:cxn ang="0">
                <a:pos x="connsiteX6973" y="connsiteY6973"/>
              </a:cxn>
              <a:cxn ang="0">
                <a:pos x="connsiteX6974" y="connsiteY6974"/>
              </a:cxn>
              <a:cxn ang="0">
                <a:pos x="connsiteX6975" y="connsiteY6975"/>
              </a:cxn>
              <a:cxn ang="0">
                <a:pos x="connsiteX6976" y="connsiteY6976"/>
              </a:cxn>
              <a:cxn ang="0">
                <a:pos x="connsiteX6977" y="connsiteY6977"/>
              </a:cxn>
              <a:cxn ang="0">
                <a:pos x="connsiteX6978" y="connsiteY6978"/>
              </a:cxn>
              <a:cxn ang="0">
                <a:pos x="connsiteX6979" y="connsiteY6979"/>
              </a:cxn>
              <a:cxn ang="0">
                <a:pos x="connsiteX6980" y="connsiteY6980"/>
              </a:cxn>
              <a:cxn ang="0">
                <a:pos x="connsiteX6981" y="connsiteY6981"/>
              </a:cxn>
              <a:cxn ang="0">
                <a:pos x="connsiteX6982" y="connsiteY6982"/>
              </a:cxn>
              <a:cxn ang="0">
                <a:pos x="connsiteX6983" y="connsiteY6983"/>
              </a:cxn>
              <a:cxn ang="0">
                <a:pos x="connsiteX6984" y="connsiteY6984"/>
              </a:cxn>
              <a:cxn ang="0">
                <a:pos x="connsiteX6985" y="connsiteY6985"/>
              </a:cxn>
              <a:cxn ang="0">
                <a:pos x="connsiteX6986" y="connsiteY6986"/>
              </a:cxn>
              <a:cxn ang="0">
                <a:pos x="connsiteX6987" y="connsiteY6987"/>
              </a:cxn>
              <a:cxn ang="0">
                <a:pos x="connsiteX6988" y="connsiteY6988"/>
              </a:cxn>
              <a:cxn ang="0">
                <a:pos x="connsiteX6989" y="connsiteY6989"/>
              </a:cxn>
              <a:cxn ang="0">
                <a:pos x="connsiteX6990" y="connsiteY6990"/>
              </a:cxn>
              <a:cxn ang="0">
                <a:pos x="connsiteX6991" y="connsiteY6991"/>
              </a:cxn>
              <a:cxn ang="0">
                <a:pos x="connsiteX6992" y="connsiteY6992"/>
              </a:cxn>
              <a:cxn ang="0">
                <a:pos x="connsiteX6993" y="connsiteY6993"/>
              </a:cxn>
              <a:cxn ang="0">
                <a:pos x="connsiteX6994" y="connsiteY6994"/>
              </a:cxn>
              <a:cxn ang="0">
                <a:pos x="connsiteX6995" y="connsiteY6995"/>
              </a:cxn>
              <a:cxn ang="0">
                <a:pos x="connsiteX6996" y="connsiteY6996"/>
              </a:cxn>
              <a:cxn ang="0">
                <a:pos x="connsiteX6997" y="connsiteY6997"/>
              </a:cxn>
              <a:cxn ang="0">
                <a:pos x="connsiteX6998" y="connsiteY6998"/>
              </a:cxn>
              <a:cxn ang="0">
                <a:pos x="connsiteX6999" y="connsiteY6999"/>
              </a:cxn>
              <a:cxn ang="0">
                <a:pos x="connsiteX7000" y="connsiteY7000"/>
              </a:cxn>
              <a:cxn ang="0">
                <a:pos x="connsiteX7001" y="connsiteY7001"/>
              </a:cxn>
              <a:cxn ang="0">
                <a:pos x="connsiteX7002" y="connsiteY7002"/>
              </a:cxn>
              <a:cxn ang="0">
                <a:pos x="connsiteX7003" y="connsiteY7003"/>
              </a:cxn>
              <a:cxn ang="0">
                <a:pos x="connsiteX7004" y="connsiteY7004"/>
              </a:cxn>
              <a:cxn ang="0">
                <a:pos x="connsiteX7005" y="connsiteY7005"/>
              </a:cxn>
              <a:cxn ang="0">
                <a:pos x="connsiteX7006" y="connsiteY7006"/>
              </a:cxn>
              <a:cxn ang="0">
                <a:pos x="connsiteX7007" y="connsiteY7007"/>
              </a:cxn>
              <a:cxn ang="0">
                <a:pos x="connsiteX7008" y="connsiteY7008"/>
              </a:cxn>
              <a:cxn ang="0">
                <a:pos x="connsiteX7009" y="connsiteY7009"/>
              </a:cxn>
              <a:cxn ang="0">
                <a:pos x="connsiteX7010" y="connsiteY7010"/>
              </a:cxn>
              <a:cxn ang="0">
                <a:pos x="connsiteX7011" y="connsiteY7011"/>
              </a:cxn>
              <a:cxn ang="0">
                <a:pos x="connsiteX7012" y="connsiteY7012"/>
              </a:cxn>
              <a:cxn ang="0">
                <a:pos x="connsiteX7013" y="connsiteY7013"/>
              </a:cxn>
              <a:cxn ang="0">
                <a:pos x="connsiteX7014" y="connsiteY7014"/>
              </a:cxn>
              <a:cxn ang="0">
                <a:pos x="connsiteX7015" y="connsiteY7015"/>
              </a:cxn>
              <a:cxn ang="0">
                <a:pos x="connsiteX7016" y="connsiteY7016"/>
              </a:cxn>
              <a:cxn ang="0">
                <a:pos x="connsiteX7017" y="connsiteY7017"/>
              </a:cxn>
              <a:cxn ang="0">
                <a:pos x="connsiteX7018" y="connsiteY7018"/>
              </a:cxn>
              <a:cxn ang="0">
                <a:pos x="connsiteX7019" y="connsiteY7019"/>
              </a:cxn>
              <a:cxn ang="0">
                <a:pos x="connsiteX7020" y="connsiteY7020"/>
              </a:cxn>
              <a:cxn ang="0">
                <a:pos x="connsiteX7021" y="connsiteY7021"/>
              </a:cxn>
              <a:cxn ang="0">
                <a:pos x="connsiteX7022" y="connsiteY7022"/>
              </a:cxn>
              <a:cxn ang="0">
                <a:pos x="connsiteX7023" y="connsiteY7023"/>
              </a:cxn>
              <a:cxn ang="0">
                <a:pos x="connsiteX7024" y="connsiteY7024"/>
              </a:cxn>
              <a:cxn ang="0">
                <a:pos x="connsiteX7025" y="connsiteY7025"/>
              </a:cxn>
              <a:cxn ang="0">
                <a:pos x="connsiteX7026" y="connsiteY7026"/>
              </a:cxn>
              <a:cxn ang="0">
                <a:pos x="connsiteX7027" y="connsiteY7027"/>
              </a:cxn>
              <a:cxn ang="0">
                <a:pos x="connsiteX7028" y="connsiteY7028"/>
              </a:cxn>
              <a:cxn ang="0">
                <a:pos x="connsiteX7029" y="connsiteY7029"/>
              </a:cxn>
              <a:cxn ang="0">
                <a:pos x="connsiteX7030" y="connsiteY7030"/>
              </a:cxn>
              <a:cxn ang="0">
                <a:pos x="connsiteX7031" y="connsiteY7031"/>
              </a:cxn>
              <a:cxn ang="0">
                <a:pos x="connsiteX7032" y="connsiteY7032"/>
              </a:cxn>
              <a:cxn ang="0">
                <a:pos x="connsiteX7033" y="connsiteY7033"/>
              </a:cxn>
              <a:cxn ang="0">
                <a:pos x="connsiteX7034" y="connsiteY7034"/>
              </a:cxn>
              <a:cxn ang="0">
                <a:pos x="connsiteX7035" y="connsiteY7035"/>
              </a:cxn>
              <a:cxn ang="0">
                <a:pos x="connsiteX7036" y="connsiteY7036"/>
              </a:cxn>
              <a:cxn ang="0">
                <a:pos x="connsiteX7037" y="connsiteY7037"/>
              </a:cxn>
              <a:cxn ang="0">
                <a:pos x="connsiteX7038" y="connsiteY7038"/>
              </a:cxn>
              <a:cxn ang="0">
                <a:pos x="connsiteX7039" y="connsiteY7039"/>
              </a:cxn>
              <a:cxn ang="0">
                <a:pos x="connsiteX7040" y="connsiteY7040"/>
              </a:cxn>
              <a:cxn ang="0">
                <a:pos x="connsiteX7041" y="connsiteY7041"/>
              </a:cxn>
              <a:cxn ang="0">
                <a:pos x="connsiteX7042" y="connsiteY7042"/>
              </a:cxn>
              <a:cxn ang="0">
                <a:pos x="connsiteX7043" y="connsiteY7043"/>
              </a:cxn>
              <a:cxn ang="0">
                <a:pos x="connsiteX7044" y="connsiteY7044"/>
              </a:cxn>
              <a:cxn ang="0">
                <a:pos x="connsiteX7045" y="connsiteY7045"/>
              </a:cxn>
              <a:cxn ang="0">
                <a:pos x="connsiteX7046" y="connsiteY7046"/>
              </a:cxn>
              <a:cxn ang="0">
                <a:pos x="connsiteX7047" y="connsiteY7047"/>
              </a:cxn>
              <a:cxn ang="0">
                <a:pos x="connsiteX7048" y="connsiteY7048"/>
              </a:cxn>
              <a:cxn ang="0">
                <a:pos x="connsiteX7049" y="connsiteY7049"/>
              </a:cxn>
              <a:cxn ang="0">
                <a:pos x="connsiteX7050" y="connsiteY7050"/>
              </a:cxn>
              <a:cxn ang="0">
                <a:pos x="connsiteX7051" y="connsiteY7051"/>
              </a:cxn>
              <a:cxn ang="0">
                <a:pos x="connsiteX7052" y="connsiteY7052"/>
              </a:cxn>
              <a:cxn ang="0">
                <a:pos x="connsiteX7053" y="connsiteY7053"/>
              </a:cxn>
              <a:cxn ang="0">
                <a:pos x="connsiteX7054" y="connsiteY7054"/>
              </a:cxn>
              <a:cxn ang="0">
                <a:pos x="connsiteX7055" y="connsiteY7055"/>
              </a:cxn>
              <a:cxn ang="0">
                <a:pos x="connsiteX7056" y="connsiteY7056"/>
              </a:cxn>
              <a:cxn ang="0">
                <a:pos x="connsiteX7057" y="connsiteY7057"/>
              </a:cxn>
              <a:cxn ang="0">
                <a:pos x="connsiteX7058" y="connsiteY7058"/>
              </a:cxn>
              <a:cxn ang="0">
                <a:pos x="connsiteX7059" y="connsiteY7059"/>
              </a:cxn>
              <a:cxn ang="0">
                <a:pos x="connsiteX7060" y="connsiteY7060"/>
              </a:cxn>
              <a:cxn ang="0">
                <a:pos x="connsiteX7061" y="connsiteY7061"/>
              </a:cxn>
              <a:cxn ang="0">
                <a:pos x="connsiteX7062" y="connsiteY7062"/>
              </a:cxn>
              <a:cxn ang="0">
                <a:pos x="connsiteX7063" y="connsiteY7063"/>
              </a:cxn>
              <a:cxn ang="0">
                <a:pos x="connsiteX7064" y="connsiteY7064"/>
              </a:cxn>
              <a:cxn ang="0">
                <a:pos x="connsiteX7065" y="connsiteY7065"/>
              </a:cxn>
              <a:cxn ang="0">
                <a:pos x="connsiteX7066" y="connsiteY7066"/>
              </a:cxn>
              <a:cxn ang="0">
                <a:pos x="connsiteX7067" y="connsiteY7067"/>
              </a:cxn>
              <a:cxn ang="0">
                <a:pos x="connsiteX7068" y="connsiteY7068"/>
              </a:cxn>
              <a:cxn ang="0">
                <a:pos x="connsiteX7069" y="connsiteY7069"/>
              </a:cxn>
              <a:cxn ang="0">
                <a:pos x="connsiteX7070" y="connsiteY7070"/>
              </a:cxn>
              <a:cxn ang="0">
                <a:pos x="connsiteX7071" y="connsiteY7071"/>
              </a:cxn>
              <a:cxn ang="0">
                <a:pos x="connsiteX7072" y="connsiteY7072"/>
              </a:cxn>
              <a:cxn ang="0">
                <a:pos x="connsiteX7073" y="connsiteY7073"/>
              </a:cxn>
              <a:cxn ang="0">
                <a:pos x="connsiteX7074" y="connsiteY7074"/>
              </a:cxn>
              <a:cxn ang="0">
                <a:pos x="connsiteX7075" y="connsiteY7075"/>
              </a:cxn>
              <a:cxn ang="0">
                <a:pos x="connsiteX7076" y="connsiteY7076"/>
              </a:cxn>
              <a:cxn ang="0">
                <a:pos x="connsiteX7077" y="connsiteY7077"/>
              </a:cxn>
              <a:cxn ang="0">
                <a:pos x="connsiteX7078" y="connsiteY7078"/>
              </a:cxn>
              <a:cxn ang="0">
                <a:pos x="connsiteX7079" y="connsiteY7079"/>
              </a:cxn>
              <a:cxn ang="0">
                <a:pos x="connsiteX7080" y="connsiteY7080"/>
              </a:cxn>
              <a:cxn ang="0">
                <a:pos x="connsiteX7081" y="connsiteY7081"/>
              </a:cxn>
              <a:cxn ang="0">
                <a:pos x="connsiteX7082" y="connsiteY7082"/>
              </a:cxn>
              <a:cxn ang="0">
                <a:pos x="connsiteX7083" y="connsiteY7083"/>
              </a:cxn>
              <a:cxn ang="0">
                <a:pos x="connsiteX7084" y="connsiteY7084"/>
              </a:cxn>
              <a:cxn ang="0">
                <a:pos x="connsiteX7085" y="connsiteY7085"/>
              </a:cxn>
              <a:cxn ang="0">
                <a:pos x="connsiteX7086" y="connsiteY7086"/>
              </a:cxn>
              <a:cxn ang="0">
                <a:pos x="connsiteX7087" y="connsiteY7087"/>
              </a:cxn>
              <a:cxn ang="0">
                <a:pos x="connsiteX7088" y="connsiteY7088"/>
              </a:cxn>
              <a:cxn ang="0">
                <a:pos x="connsiteX7089" y="connsiteY7089"/>
              </a:cxn>
              <a:cxn ang="0">
                <a:pos x="connsiteX7090" y="connsiteY7090"/>
              </a:cxn>
              <a:cxn ang="0">
                <a:pos x="connsiteX7091" y="connsiteY7091"/>
              </a:cxn>
              <a:cxn ang="0">
                <a:pos x="connsiteX7092" y="connsiteY7092"/>
              </a:cxn>
              <a:cxn ang="0">
                <a:pos x="connsiteX7093" y="connsiteY7093"/>
              </a:cxn>
              <a:cxn ang="0">
                <a:pos x="connsiteX7094" y="connsiteY7094"/>
              </a:cxn>
              <a:cxn ang="0">
                <a:pos x="connsiteX7095" y="connsiteY7095"/>
              </a:cxn>
              <a:cxn ang="0">
                <a:pos x="connsiteX7096" y="connsiteY7096"/>
              </a:cxn>
              <a:cxn ang="0">
                <a:pos x="connsiteX7097" y="connsiteY7097"/>
              </a:cxn>
              <a:cxn ang="0">
                <a:pos x="connsiteX7098" y="connsiteY7098"/>
              </a:cxn>
              <a:cxn ang="0">
                <a:pos x="connsiteX7099" y="connsiteY7099"/>
              </a:cxn>
              <a:cxn ang="0">
                <a:pos x="connsiteX7100" y="connsiteY7100"/>
              </a:cxn>
              <a:cxn ang="0">
                <a:pos x="connsiteX7101" y="connsiteY7101"/>
              </a:cxn>
              <a:cxn ang="0">
                <a:pos x="connsiteX7102" y="connsiteY7102"/>
              </a:cxn>
              <a:cxn ang="0">
                <a:pos x="connsiteX7103" y="connsiteY7103"/>
              </a:cxn>
              <a:cxn ang="0">
                <a:pos x="connsiteX7104" y="connsiteY7104"/>
              </a:cxn>
              <a:cxn ang="0">
                <a:pos x="connsiteX7105" y="connsiteY7105"/>
              </a:cxn>
              <a:cxn ang="0">
                <a:pos x="connsiteX7106" y="connsiteY7106"/>
              </a:cxn>
              <a:cxn ang="0">
                <a:pos x="connsiteX7107" y="connsiteY7107"/>
              </a:cxn>
              <a:cxn ang="0">
                <a:pos x="connsiteX7108" y="connsiteY7108"/>
              </a:cxn>
              <a:cxn ang="0">
                <a:pos x="connsiteX7109" y="connsiteY7109"/>
              </a:cxn>
              <a:cxn ang="0">
                <a:pos x="connsiteX7110" y="connsiteY7110"/>
              </a:cxn>
              <a:cxn ang="0">
                <a:pos x="connsiteX7111" y="connsiteY7111"/>
              </a:cxn>
              <a:cxn ang="0">
                <a:pos x="connsiteX7112" y="connsiteY7112"/>
              </a:cxn>
              <a:cxn ang="0">
                <a:pos x="connsiteX7113" y="connsiteY7113"/>
              </a:cxn>
              <a:cxn ang="0">
                <a:pos x="connsiteX7114" y="connsiteY7114"/>
              </a:cxn>
              <a:cxn ang="0">
                <a:pos x="connsiteX7115" y="connsiteY7115"/>
              </a:cxn>
              <a:cxn ang="0">
                <a:pos x="connsiteX7116" y="connsiteY7116"/>
              </a:cxn>
              <a:cxn ang="0">
                <a:pos x="connsiteX7117" y="connsiteY7117"/>
              </a:cxn>
              <a:cxn ang="0">
                <a:pos x="connsiteX7118" y="connsiteY7118"/>
              </a:cxn>
              <a:cxn ang="0">
                <a:pos x="connsiteX7119" y="connsiteY7119"/>
              </a:cxn>
              <a:cxn ang="0">
                <a:pos x="connsiteX7120" y="connsiteY7120"/>
              </a:cxn>
              <a:cxn ang="0">
                <a:pos x="connsiteX7121" y="connsiteY7121"/>
              </a:cxn>
              <a:cxn ang="0">
                <a:pos x="connsiteX7122" y="connsiteY7122"/>
              </a:cxn>
              <a:cxn ang="0">
                <a:pos x="connsiteX7123" y="connsiteY7123"/>
              </a:cxn>
              <a:cxn ang="0">
                <a:pos x="connsiteX7124" y="connsiteY7124"/>
              </a:cxn>
              <a:cxn ang="0">
                <a:pos x="connsiteX7125" y="connsiteY7125"/>
              </a:cxn>
              <a:cxn ang="0">
                <a:pos x="connsiteX7126" y="connsiteY7126"/>
              </a:cxn>
              <a:cxn ang="0">
                <a:pos x="connsiteX7127" y="connsiteY7127"/>
              </a:cxn>
              <a:cxn ang="0">
                <a:pos x="connsiteX7128" y="connsiteY7128"/>
              </a:cxn>
              <a:cxn ang="0">
                <a:pos x="connsiteX7129" y="connsiteY7129"/>
              </a:cxn>
              <a:cxn ang="0">
                <a:pos x="connsiteX7130" y="connsiteY7130"/>
              </a:cxn>
              <a:cxn ang="0">
                <a:pos x="connsiteX7131" y="connsiteY7131"/>
              </a:cxn>
              <a:cxn ang="0">
                <a:pos x="connsiteX7132" y="connsiteY7132"/>
              </a:cxn>
              <a:cxn ang="0">
                <a:pos x="connsiteX7133" y="connsiteY7133"/>
              </a:cxn>
              <a:cxn ang="0">
                <a:pos x="connsiteX7134" y="connsiteY7134"/>
              </a:cxn>
              <a:cxn ang="0">
                <a:pos x="connsiteX7135" y="connsiteY7135"/>
              </a:cxn>
              <a:cxn ang="0">
                <a:pos x="connsiteX7136" y="connsiteY7136"/>
              </a:cxn>
              <a:cxn ang="0">
                <a:pos x="connsiteX7137" y="connsiteY7137"/>
              </a:cxn>
              <a:cxn ang="0">
                <a:pos x="connsiteX7138" y="connsiteY7138"/>
              </a:cxn>
              <a:cxn ang="0">
                <a:pos x="connsiteX7139" y="connsiteY7139"/>
              </a:cxn>
              <a:cxn ang="0">
                <a:pos x="connsiteX7140" y="connsiteY7140"/>
              </a:cxn>
              <a:cxn ang="0">
                <a:pos x="connsiteX7141" y="connsiteY7141"/>
              </a:cxn>
              <a:cxn ang="0">
                <a:pos x="connsiteX7142" y="connsiteY7142"/>
              </a:cxn>
              <a:cxn ang="0">
                <a:pos x="connsiteX7143" y="connsiteY7143"/>
              </a:cxn>
              <a:cxn ang="0">
                <a:pos x="connsiteX7144" y="connsiteY7144"/>
              </a:cxn>
              <a:cxn ang="0">
                <a:pos x="connsiteX7145" y="connsiteY7145"/>
              </a:cxn>
              <a:cxn ang="0">
                <a:pos x="connsiteX7146" y="connsiteY7146"/>
              </a:cxn>
              <a:cxn ang="0">
                <a:pos x="connsiteX7147" y="connsiteY7147"/>
              </a:cxn>
              <a:cxn ang="0">
                <a:pos x="connsiteX7148" y="connsiteY7148"/>
              </a:cxn>
              <a:cxn ang="0">
                <a:pos x="connsiteX7149" y="connsiteY7149"/>
              </a:cxn>
              <a:cxn ang="0">
                <a:pos x="connsiteX7150" y="connsiteY7150"/>
              </a:cxn>
              <a:cxn ang="0">
                <a:pos x="connsiteX7151" y="connsiteY7151"/>
              </a:cxn>
              <a:cxn ang="0">
                <a:pos x="connsiteX7152" y="connsiteY7152"/>
              </a:cxn>
              <a:cxn ang="0">
                <a:pos x="connsiteX7153" y="connsiteY7153"/>
              </a:cxn>
              <a:cxn ang="0">
                <a:pos x="connsiteX7154" y="connsiteY7154"/>
              </a:cxn>
              <a:cxn ang="0">
                <a:pos x="connsiteX7155" y="connsiteY7155"/>
              </a:cxn>
              <a:cxn ang="0">
                <a:pos x="connsiteX7156" y="connsiteY7156"/>
              </a:cxn>
              <a:cxn ang="0">
                <a:pos x="connsiteX7157" y="connsiteY7157"/>
              </a:cxn>
              <a:cxn ang="0">
                <a:pos x="connsiteX7158" y="connsiteY7158"/>
              </a:cxn>
              <a:cxn ang="0">
                <a:pos x="connsiteX7159" y="connsiteY7159"/>
              </a:cxn>
              <a:cxn ang="0">
                <a:pos x="connsiteX7160" y="connsiteY7160"/>
              </a:cxn>
              <a:cxn ang="0">
                <a:pos x="connsiteX7161" y="connsiteY7161"/>
              </a:cxn>
              <a:cxn ang="0">
                <a:pos x="connsiteX7162" y="connsiteY7162"/>
              </a:cxn>
              <a:cxn ang="0">
                <a:pos x="connsiteX7163" y="connsiteY7163"/>
              </a:cxn>
              <a:cxn ang="0">
                <a:pos x="connsiteX7164" y="connsiteY7164"/>
              </a:cxn>
              <a:cxn ang="0">
                <a:pos x="connsiteX7165" y="connsiteY7165"/>
              </a:cxn>
              <a:cxn ang="0">
                <a:pos x="connsiteX7166" y="connsiteY7166"/>
              </a:cxn>
              <a:cxn ang="0">
                <a:pos x="connsiteX7167" y="connsiteY7167"/>
              </a:cxn>
              <a:cxn ang="0">
                <a:pos x="connsiteX7168" y="connsiteY7168"/>
              </a:cxn>
              <a:cxn ang="0">
                <a:pos x="connsiteX7169" y="connsiteY7169"/>
              </a:cxn>
              <a:cxn ang="0">
                <a:pos x="connsiteX7170" y="connsiteY7170"/>
              </a:cxn>
              <a:cxn ang="0">
                <a:pos x="connsiteX7171" y="connsiteY7171"/>
              </a:cxn>
              <a:cxn ang="0">
                <a:pos x="connsiteX7172" y="connsiteY7172"/>
              </a:cxn>
              <a:cxn ang="0">
                <a:pos x="connsiteX7173" y="connsiteY7173"/>
              </a:cxn>
              <a:cxn ang="0">
                <a:pos x="connsiteX7174" y="connsiteY7174"/>
              </a:cxn>
              <a:cxn ang="0">
                <a:pos x="connsiteX7175" y="connsiteY7175"/>
              </a:cxn>
              <a:cxn ang="0">
                <a:pos x="connsiteX7176" y="connsiteY7176"/>
              </a:cxn>
              <a:cxn ang="0">
                <a:pos x="connsiteX7177" y="connsiteY7177"/>
              </a:cxn>
              <a:cxn ang="0">
                <a:pos x="connsiteX7178" y="connsiteY7178"/>
              </a:cxn>
              <a:cxn ang="0">
                <a:pos x="connsiteX7179" y="connsiteY7179"/>
              </a:cxn>
              <a:cxn ang="0">
                <a:pos x="connsiteX7180" y="connsiteY7180"/>
              </a:cxn>
              <a:cxn ang="0">
                <a:pos x="connsiteX7181" y="connsiteY7181"/>
              </a:cxn>
              <a:cxn ang="0">
                <a:pos x="connsiteX7182" y="connsiteY7182"/>
              </a:cxn>
              <a:cxn ang="0">
                <a:pos x="connsiteX7183" y="connsiteY7183"/>
              </a:cxn>
              <a:cxn ang="0">
                <a:pos x="connsiteX7184" y="connsiteY7184"/>
              </a:cxn>
              <a:cxn ang="0">
                <a:pos x="connsiteX7185" y="connsiteY7185"/>
              </a:cxn>
              <a:cxn ang="0">
                <a:pos x="connsiteX7186" y="connsiteY7186"/>
              </a:cxn>
              <a:cxn ang="0">
                <a:pos x="connsiteX7187" y="connsiteY7187"/>
              </a:cxn>
              <a:cxn ang="0">
                <a:pos x="connsiteX7188" y="connsiteY7188"/>
              </a:cxn>
              <a:cxn ang="0">
                <a:pos x="connsiteX7189" y="connsiteY7189"/>
              </a:cxn>
              <a:cxn ang="0">
                <a:pos x="connsiteX7190" y="connsiteY7190"/>
              </a:cxn>
              <a:cxn ang="0">
                <a:pos x="connsiteX7191" y="connsiteY7191"/>
              </a:cxn>
              <a:cxn ang="0">
                <a:pos x="connsiteX7192" y="connsiteY7192"/>
              </a:cxn>
              <a:cxn ang="0">
                <a:pos x="connsiteX7193" y="connsiteY7193"/>
              </a:cxn>
              <a:cxn ang="0">
                <a:pos x="connsiteX7194" y="connsiteY7194"/>
              </a:cxn>
              <a:cxn ang="0">
                <a:pos x="connsiteX7195" y="connsiteY7195"/>
              </a:cxn>
              <a:cxn ang="0">
                <a:pos x="connsiteX7196" y="connsiteY7196"/>
              </a:cxn>
              <a:cxn ang="0">
                <a:pos x="connsiteX7197" y="connsiteY7197"/>
              </a:cxn>
              <a:cxn ang="0">
                <a:pos x="connsiteX7198" y="connsiteY7198"/>
              </a:cxn>
              <a:cxn ang="0">
                <a:pos x="connsiteX7199" y="connsiteY7199"/>
              </a:cxn>
              <a:cxn ang="0">
                <a:pos x="connsiteX7200" y="connsiteY7200"/>
              </a:cxn>
              <a:cxn ang="0">
                <a:pos x="connsiteX7201" y="connsiteY7201"/>
              </a:cxn>
              <a:cxn ang="0">
                <a:pos x="connsiteX7202" y="connsiteY7202"/>
              </a:cxn>
              <a:cxn ang="0">
                <a:pos x="connsiteX7203" y="connsiteY7203"/>
              </a:cxn>
              <a:cxn ang="0">
                <a:pos x="connsiteX7204" y="connsiteY7204"/>
              </a:cxn>
              <a:cxn ang="0">
                <a:pos x="connsiteX7205" y="connsiteY7205"/>
              </a:cxn>
              <a:cxn ang="0">
                <a:pos x="connsiteX7206" y="connsiteY7206"/>
              </a:cxn>
              <a:cxn ang="0">
                <a:pos x="connsiteX7207" y="connsiteY7207"/>
              </a:cxn>
              <a:cxn ang="0">
                <a:pos x="connsiteX7208" y="connsiteY7208"/>
              </a:cxn>
              <a:cxn ang="0">
                <a:pos x="connsiteX7209" y="connsiteY7209"/>
              </a:cxn>
              <a:cxn ang="0">
                <a:pos x="connsiteX7210" y="connsiteY7210"/>
              </a:cxn>
              <a:cxn ang="0">
                <a:pos x="connsiteX7211" y="connsiteY7211"/>
              </a:cxn>
              <a:cxn ang="0">
                <a:pos x="connsiteX7212" y="connsiteY7212"/>
              </a:cxn>
              <a:cxn ang="0">
                <a:pos x="connsiteX7213" y="connsiteY7213"/>
              </a:cxn>
              <a:cxn ang="0">
                <a:pos x="connsiteX7214" y="connsiteY7214"/>
              </a:cxn>
              <a:cxn ang="0">
                <a:pos x="connsiteX7215" y="connsiteY7215"/>
              </a:cxn>
              <a:cxn ang="0">
                <a:pos x="connsiteX7216" y="connsiteY7216"/>
              </a:cxn>
              <a:cxn ang="0">
                <a:pos x="connsiteX7217" y="connsiteY7217"/>
              </a:cxn>
              <a:cxn ang="0">
                <a:pos x="connsiteX7218" y="connsiteY7218"/>
              </a:cxn>
              <a:cxn ang="0">
                <a:pos x="connsiteX7219" y="connsiteY7219"/>
              </a:cxn>
              <a:cxn ang="0">
                <a:pos x="connsiteX7220" y="connsiteY7220"/>
              </a:cxn>
              <a:cxn ang="0">
                <a:pos x="connsiteX7221" y="connsiteY7221"/>
              </a:cxn>
              <a:cxn ang="0">
                <a:pos x="connsiteX7222" y="connsiteY7222"/>
              </a:cxn>
              <a:cxn ang="0">
                <a:pos x="connsiteX7223" y="connsiteY7223"/>
              </a:cxn>
              <a:cxn ang="0">
                <a:pos x="connsiteX7224" y="connsiteY7224"/>
              </a:cxn>
              <a:cxn ang="0">
                <a:pos x="connsiteX7225" y="connsiteY7225"/>
              </a:cxn>
              <a:cxn ang="0">
                <a:pos x="connsiteX7226" y="connsiteY7226"/>
              </a:cxn>
              <a:cxn ang="0">
                <a:pos x="connsiteX7227" y="connsiteY7227"/>
              </a:cxn>
              <a:cxn ang="0">
                <a:pos x="connsiteX7228" y="connsiteY7228"/>
              </a:cxn>
              <a:cxn ang="0">
                <a:pos x="connsiteX7229" y="connsiteY7229"/>
              </a:cxn>
              <a:cxn ang="0">
                <a:pos x="connsiteX7230" y="connsiteY7230"/>
              </a:cxn>
              <a:cxn ang="0">
                <a:pos x="connsiteX7231" y="connsiteY7231"/>
              </a:cxn>
              <a:cxn ang="0">
                <a:pos x="connsiteX7232" y="connsiteY7232"/>
              </a:cxn>
              <a:cxn ang="0">
                <a:pos x="connsiteX7233" y="connsiteY7233"/>
              </a:cxn>
              <a:cxn ang="0">
                <a:pos x="connsiteX7234" y="connsiteY7234"/>
              </a:cxn>
              <a:cxn ang="0">
                <a:pos x="connsiteX7235" y="connsiteY7235"/>
              </a:cxn>
              <a:cxn ang="0">
                <a:pos x="connsiteX7236" y="connsiteY7236"/>
              </a:cxn>
              <a:cxn ang="0">
                <a:pos x="connsiteX7237" y="connsiteY7237"/>
              </a:cxn>
              <a:cxn ang="0">
                <a:pos x="connsiteX7238" y="connsiteY7238"/>
              </a:cxn>
              <a:cxn ang="0">
                <a:pos x="connsiteX7239" y="connsiteY7239"/>
              </a:cxn>
              <a:cxn ang="0">
                <a:pos x="connsiteX7240" y="connsiteY7240"/>
              </a:cxn>
              <a:cxn ang="0">
                <a:pos x="connsiteX7241" y="connsiteY7241"/>
              </a:cxn>
              <a:cxn ang="0">
                <a:pos x="connsiteX7242" y="connsiteY7242"/>
              </a:cxn>
              <a:cxn ang="0">
                <a:pos x="connsiteX7243" y="connsiteY7243"/>
              </a:cxn>
              <a:cxn ang="0">
                <a:pos x="connsiteX7244" y="connsiteY7244"/>
              </a:cxn>
              <a:cxn ang="0">
                <a:pos x="connsiteX7245" y="connsiteY7245"/>
              </a:cxn>
              <a:cxn ang="0">
                <a:pos x="connsiteX7246" y="connsiteY7246"/>
              </a:cxn>
              <a:cxn ang="0">
                <a:pos x="connsiteX7247" y="connsiteY7247"/>
              </a:cxn>
              <a:cxn ang="0">
                <a:pos x="connsiteX7248" y="connsiteY7248"/>
              </a:cxn>
              <a:cxn ang="0">
                <a:pos x="connsiteX7249" y="connsiteY7249"/>
              </a:cxn>
              <a:cxn ang="0">
                <a:pos x="connsiteX7250" y="connsiteY7250"/>
              </a:cxn>
              <a:cxn ang="0">
                <a:pos x="connsiteX7251" y="connsiteY7251"/>
              </a:cxn>
              <a:cxn ang="0">
                <a:pos x="connsiteX7252" y="connsiteY7252"/>
              </a:cxn>
              <a:cxn ang="0">
                <a:pos x="connsiteX7253" y="connsiteY7253"/>
              </a:cxn>
              <a:cxn ang="0">
                <a:pos x="connsiteX7254" y="connsiteY7254"/>
              </a:cxn>
              <a:cxn ang="0">
                <a:pos x="connsiteX7255" y="connsiteY7255"/>
              </a:cxn>
              <a:cxn ang="0">
                <a:pos x="connsiteX7256" y="connsiteY7256"/>
              </a:cxn>
              <a:cxn ang="0">
                <a:pos x="connsiteX7257" y="connsiteY7257"/>
              </a:cxn>
              <a:cxn ang="0">
                <a:pos x="connsiteX7258" y="connsiteY7258"/>
              </a:cxn>
              <a:cxn ang="0">
                <a:pos x="connsiteX7259" y="connsiteY7259"/>
              </a:cxn>
              <a:cxn ang="0">
                <a:pos x="connsiteX7260" y="connsiteY7260"/>
              </a:cxn>
              <a:cxn ang="0">
                <a:pos x="connsiteX7261" y="connsiteY7261"/>
              </a:cxn>
              <a:cxn ang="0">
                <a:pos x="connsiteX7262" y="connsiteY7262"/>
              </a:cxn>
              <a:cxn ang="0">
                <a:pos x="connsiteX7263" y="connsiteY7263"/>
              </a:cxn>
              <a:cxn ang="0">
                <a:pos x="connsiteX7264" y="connsiteY7264"/>
              </a:cxn>
              <a:cxn ang="0">
                <a:pos x="connsiteX7265" y="connsiteY7265"/>
              </a:cxn>
              <a:cxn ang="0">
                <a:pos x="connsiteX7266" y="connsiteY7266"/>
              </a:cxn>
              <a:cxn ang="0">
                <a:pos x="connsiteX7267" y="connsiteY7267"/>
              </a:cxn>
              <a:cxn ang="0">
                <a:pos x="connsiteX7268" y="connsiteY7268"/>
              </a:cxn>
              <a:cxn ang="0">
                <a:pos x="connsiteX7269" y="connsiteY7269"/>
              </a:cxn>
              <a:cxn ang="0">
                <a:pos x="connsiteX7270" y="connsiteY7270"/>
              </a:cxn>
              <a:cxn ang="0">
                <a:pos x="connsiteX7271" y="connsiteY7271"/>
              </a:cxn>
              <a:cxn ang="0">
                <a:pos x="connsiteX7272" y="connsiteY7272"/>
              </a:cxn>
              <a:cxn ang="0">
                <a:pos x="connsiteX7273" y="connsiteY7273"/>
              </a:cxn>
              <a:cxn ang="0">
                <a:pos x="connsiteX7274" y="connsiteY7274"/>
              </a:cxn>
              <a:cxn ang="0">
                <a:pos x="connsiteX7275" y="connsiteY7275"/>
              </a:cxn>
              <a:cxn ang="0">
                <a:pos x="connsiteX7276" y="connsiteY7276"/>
              </a:cxn>
              <a:cxn ang="0">
                <a:pos x="connsiteX7277" y="connsiteY7277"/>
              </a:cxn>
              <a:cxn ang="0">
                <a:pos x="connsiteX7278" y="connsiteY7278"/>
              </a:cxn>
              <a:cxn ang="0">
                <a:pos x="connsiteX7279" y="connsiteY7279"/>
              </a:cxn>
              <a:cxn ang="0">
                <a:pos x="connsiteX7280" y="connsiteY7280"/>
              </a:cxn>
              <a:cxn ang="0">
                <a:pos x="connsiteX7281" y="connsiteY7281"/>
              </a:cxn>
              <a:cxn ang="0">
                <a:pos x="connsiteX7282" y="connsiteY7282"/>
              </a:cxn>
              <a:cxn ang="0">
                <a:pos x="connsiteX7283" y="connsiteY7283"/>
              </a:cxn>
              <a:cxn ang="0">
                <a:pos x="connsiteX7284" y="connsiteY7284"/>
              </a:cxn>
              <a:cxn ang="0">
                <a:pos x="connsiteX7285" y="connsiteY7285"/>
              </a:cxn>
              <a:cxn ang="0">
                <a:pos x="connsiteX7286" y="connsiteY7286"/>
              </a:cxn>
              <a:cxn ang="0">
                <a:pos x="connsiteX7287" y="connsiteY7287"/>
              </a:cxn>
              <a:cxn ang="0">
                <a:pos x="connsiteX7288" y="connsiteY7288"/>
              </a:cxn>
              <a:cxn ang="0">
                <a:pos x="connsiteX7289" y="connsiteY7289"/>
              </a:cxn>
              <a:cxn ang="0">
                <a:pos x="connsiteX7290" y="connsiteY7290"/>
              </a:cxn>
              <a:cxn ang="0">
                <a:pos x="connsiteX7291" y="connsiteY7291"/>
              </a:cxn>
              <a:cxn ang="0">
                <a:pos x="connsiteX7292" y="connsiteY7292"/>
              </a:cxn>
              <a:cxn ang="0">
                <a:pos x="connsiteX7293" y="connsiteY7293"/>
              </a:cxn>
              <a:cxn ang="0">
                <a:pos x="connsiteX7294" y="connsiteY7294"/>
              </a:cxn>
              <a:cxn ang="0">
                <a:pos x="connsiteX7295" y="connsiteY7295"/>
              </a:cxn>
              <a:cxn ang="0">
                <a:pos x="connsiteX7296" y="connsiteY7296"/>
              </a:cxn>
              <a:cxn ang="0">
                <a:pos x="connsiteX7297" y="connsiteY7297"/>
              </a:cxn>
              <a:cxn ang="0">
                <a:pos x="connsiteX7298" y="connsiteY7298"/>
              </a:cxn>
              <a:cxn ang="0">
                <a:pos x="connsiteX7299" y="connsiteY7299"/>
              </a:cxn>
              <a:cxn ang="0">
                <a:pos x="connsiteX7300" y="connsiteY7300"/>
              </a:cxn>
              <a:cxn ang="0">
                <a:pos x="connsiteX7301" y="connsiteY7301"/>
              </a:cxn>
              <a:cxn ang="0">
                <a:pos x="connsiteX7302" y="connsiteY7302"/>
              </a:cxn>
              <a:cxn ang="0">
                <a:pos x="connsiteX7303" y="connsiteY7303"/>
              </a:cxn>
              <a:cxn ang="0">
                <a:pos x="connsiteX7304" y="connsiteY7304"/>
              </a:cxn>
              <a:cxn ang="0">
                <a:pos x="connsiteX7305" y="connsiteY7305"/>
              </a:cxn>
              <a:cxn ang="0">
                <a:pos x="connsiteX7306" y="connsiteY7306"/>
              </a:cxn>
              <a:cxn ang="0">
                <a:pos x="connsiteX7307" y="connsiteY7307"/>
              </a:cxn>
              <a:cxn ang="0">
                <a:pos x="connsiteX7308" y="connsiteY7308"/>
              </a:cxn>
              <a:cxn ang="0">
                <a:pos x="connsiteX7309" y="connsiteY7309"/>
              </a:cxn>
              <a:cxn ang="0">
                <a:pos x="connsiteX7310" y="connsiteY7310"/>
              </a:cxn>
              <a:cxn ang="0">
                <a:pos x="connsiteX7311" y="connsiteY7311"/>
              </a:cxn>
              <a:cxn ang="0">
                <a:pos x="connsiteX7312" y="connsiteY7312"/>
              </a:cxn>
              <a:cxn ang="0">
                <a:pos x="connsiteX7313" y="connsiteY7313"/>
              </a:cxn>
              <a:cxn ang="0">
                <a:pos x="connsiteX7314" y="connsiteY7314"/>
              </a:cxn>
              <a:cxn ang="0">
                <a:pos x="connsiteX7315" y="connsiteY7315"/>
              </a:cxn>
              <a:cxn ang="0">
                <a:pos x="connsiteX7316" y="connsiteY7316"/>
              </a:cxn>
              <a:cxn ang="0">
                <a:pos x="connsiteX7317" y="connsiteY7317"/>
              </a:cxn>
              <a:cxn ang="0">
                <a:pos x="connsiteX7318" y="connsiteY7318"/>
              </a:cxn>
              <a:cxn ang="0">
                <a:pos x="connsiteX7319" y="connsiteY7319"/>
              </a:cxn>
              <a:cxn ang="0">
                <a:pos x="connsiteX7320" y="connsiteY7320"/>
              </a:cxn>
              <a:cxn ang="0">
                <a:pos x="connsiteX7321" y="connsiteY7321"/>
              </a:cxn>
              <a:cxn ang="0">
                <a:pos x="connsiteX7322" y="connsiteY7322"/>
              </a:cxn>
              <a:cxn ang="0">
                <a:pos x="connsiteX7323" y="connsiteY7323"/>
              </a:cxn>
              <a:cxn ang="0">
                <a:pos x="connsiteX7324" y="connsiteY7324"/>
              </a:cxn>
              <a:cxn ang="0">
                <a:pos x="connsiteX7325" y="connsiteY7325"/>
              </a:cxn>
              <a:cxn ang="0">
                <a:pos x="connsiteX7326" y="connsiteY7326"/>
              </a:cxn>
              <a:cxn ang="0">
                <a:pos x="connsiteX7327" y="connsiteY7327"/>
              </a:cxn>
              <a:cxn ang="0">
                <a:pos x="connsiteX7328" y="connsiteY7328"/>
              </a:cxn>
              <a:cxn ang="0">
                <a:pos x="connsiteX7329" y="connsiteY7329"/>
              </a:cxn>
              <a:cxn ang="0">
                <a:pos x="connsiteX7330" y="connsiteY7330"/>
              </a:cxn>
              <a:cxn ang="0">
                <a:pos x="connsiteX7331" y="connsiteY7331"/>
              </a:cxn>
              <a:cxn ang="0">
                <a:pos x="connsiteX7332" y="connsiteY7332"/>
              </a:cxn>
              <a:cxn ang="0">
                <a:pos x="connsiteX7333" y="connsiteY7333"/>
              </a:cxn>
              <a:cxn ang="0">
                <a:pos x="connsiteX7334" y="connsiteY7334"/>
              </a:cxn>
              <a:cxn ang="0">
                <a:pos x="connsiteX7335" y="connsiteY7335"/>
              </a:cxn>
              <a:cxn ang="0">
                <a:pos x="connsiteX7336" y="connsiteY7336"/>
              </a:cxn>
              <a:cxn ang="0">
                <a:pos x="connsiteX7337" y="connsiteY7337"/>
              </a:cxn>
              <a:cxn ang="0">
                <a:pos x="connsiteX7338" y="connsiteY7338"/>
              </a:cxn>
              <a:cxn ang="0">
                <a:pos x="connsiteX7339" y="connsiteY7339"/>
              </a:cxn>
              <a:cxn ang="0">
                <a:pos x="connsiteX7340" y="connsiteY7340"/>
              </a:cxn>
              <a:cxn ang="0">
                <a:pos x="connsiteX7341" y="connsiteY7341"/>
              </a:cxn>
              <a:cxn ang="0">
                <a:pos x="connsiteX7342" y="connsiteY7342"/>
              </a:cxn>
              <a:cxn ang="0">
                <a:pos x="connsiteX7343" y="connsiteY7343"/>
              </a:cxn>
              <a:cxn ang="0">
                <a:pos x="connsiteX7344" y="connsiteY7344"/>
              </a:cxn>
              <a:cxn ang="0">
                <a:pos x="connsiteX7345" y="connsiteY7345"/>
              </a:cxn>
              <a:cxn ang="0">
                <a:pos x="connsiteX7346" y="connsiteY7346"/>
              </a:cxn>
              <a:cxn ang="0">
                <a:pos x="connsiteX7347" y="connsiteY7347"/>
              </a:cxn>
              <a:cxn ang="0">
                <a:pos x="connsiteX7348" y="connsiteY7348"/>
              </a:cxn>
              <a:cxn ang="0">
                <a:pos x="connsiteX7349" y="connsiteY7349"/>
              </a:cxn>
              <a:cxn ang="0">
                <a:pos x="connsiteX7350" y="connsiteY7350"/>
              </a:cxn>
              <a:cxn ang="0">
                <a:pos x="connsiteX7351" y="connsiteY7351"/>
              </a:cxn>
              <a:cxn ang="0">
                <a:pos x="connsiteX7352" y="connsiteY7352"/>
              </a:cxn>
              <a:cxn ang="0">
                <a:pos x="connsiteX7353" y="connsiteY7353"/>
              </a:cxn>
              <a:cxn ang="0">
                <a:pos x="connsiteX7354" y="connsiteY7354"/>
              </a:cxn>
              <a:cxn ang="0">
                <a:pos x="connsiteX7355" y="connsiteY7355"/>
              </a:cxn>
              <a:cxn ang="0">
                <a:pos x="connsiteX7356" y="connsiteY7356"/>
              </a:cxn>
              <a:cxn ang="0">
                <a:pos x="connsiteX7357" y="connsiteY7357"/>
              </a:cxn>
              <a:cxn ang="0">
                <a:pos x="connsiteX7358" y="connsiteY7358"/>
              </a:cxn>
              <a:cxn ang="0">
                <a:pos x="connsiteX7359" y="connsiteY7359"/>
              </a:cxn>
              <a:cxn ang="0">
                <a:pos x="connsiteX7360" y="connsiteY7360"/>
              </a:cxn>
              <a:cxn ang="0">
                <a:pos x="connsiteX7361" y="connsiteY7361"/>
              </a:cxn>
              <a:cxn ang="0">
                <a:pos x="connsiteX7362" y="connsiteY7362"/>
              </a:cxn>
              <a:cxn ang="0">
                <a:pos x="connsiteX7363" y="connsiteY7363"/>
              </a:cxn>
              <a:cxn ang="0">
                <a:pos x="connsiteX7364" y="connsiteY7364"/>
              </a:cxn>
              <a:cxn ang="0">
                <a:pos x="connsiteX7365" y="connsiteY7365"/>
              </a:cxn>
              <a:cxn ang="0">
                <a:pos x="connsiteX7366" y="connsiteY7366"/>
              </a:cxn>
              <a:cxn ang="0">
                <a:pos x="connsiteX7367" y="connsiteY7367"/>
              </a:cxn>
              <a:cxn ang="0">
                <a:pos x="connsiteX7368" y="connsiteY7368"/>
              </a:cxn>
              <a:cxn ang="0">
                <a:pos x="connsiteX7369" y="connsiteY7369"/>
              </a:cxn>
              <a:cxn ang="0">
                <a:pos x="connsiteX7370" y="connsiteY7370"/>
              </a:cxn>
              <a:cxn ang="0">
                <a:pos x="connsiteX7371" y="connsiteY7371"/>
              </a:cxn>
              <a:cxn ang="0">
                <a:pos x="connsiteX7372" y="connsiteY7372"/>
              </a:cxn>
              <a:cxn ang="0">
                <a:pos x="connsiteX7373" y="connsiteY7373"/>
              </a:cxn>
              <a:cxn ang="0">
                <a:pos x="connsiteX7374" y="connsiteY7374"/>
              </a:cxn>
              <a:cxn ang="0">
                <a:pos x="connsiteX7375" y="connsiteY7375"/>
              </a:cxn>
              <a:cxn ang="0">
                <a:pos x="connsiteX7376" y="connsiteY7376"/>
              </a:cxn>
              <a:cxn ang="0">
                <a:pos x="connsiteX7377" y="connsiteY7377"/>
              </a:cxn>
              <a:cxn ang="0">
                <a:pos x="connsiteX7378" y="connsiteY7378"/>
              </a:cxn>
              <a:cxn ang="0">
                <a:pos x="connsiteX7379" y="connsiteY7379"/>
              </a:cxn>
              <a:cxn ang="0">
                <a:pos x="connsiteX7380" y="connsiteY7380"/>
              </a:cxn>
              <a:cxn ang="0">
                <a:pos x="connsiteX7381" y="connsiteY7381"/>
              </a:cxn>
              <a:cxn ang="0">
                <a:pos x="connsiteX7382" y="connsiteY7382"/>
              </a:cxn>
              <a:cxn ang="0">
                <a:pos x="connsiteX7383" y="connsiteY7383"/>
              </a:cxn>
              <a:cxn ang="0">
                <a:pos x="connsiteX7384" y="connsiteY7384"/>
              </a:cxn>
              <a:cxn ang="0">
                <a:pos x="connsiteX7385" y="connsiteY7385"/>
              </a:cxn>
              <a:cxn ang="0">
                <a:pos x="connsiteX7386" y="connsiteY7386"/>
              </a:cxn>
              <a:cxn ang="0">
                <a:pos x="connsiteX7387" y="connsiteY7387"/>
              </a:cxn>
              <a:cxn ang="0">
                <a:pos x="connsiteX7388" y="connsiteY7388"/>
              </a:cxn>
              <a:cxn ang="0">
                <a:pos x="connsiteX7389" y="connsiteY7389"/>
              </a:cxn>
              <a:cxn ang="0">
                <a:pos x="connsiteX7390" y="connsiteY7390"/>
              </a:cxn>
              <a:cxn ang="0">
                <a:pos x="connsiteX7391" y="connsiteY7391"/>
              </a:cxn>
              <a:cxn ang="0">
                <a:pos x="connsiteX7392" y="connsiteY7392"/>
              </a:cxn>
              <a:cxn ang="0">
                <a:pos x="connsiteX7393" y="connsiteY7393"/>
              </a:cxn>
              <a:cxn ang="0">
                <a:pos x="connsiteX7394" y="connsiteY7394"/>
              </a:cxn>
              <a:cxn ang="0">
                <a:pos x="connsiteX7395" y="connsiteY7395"/>
              </a:cxn>
              <a:cxn ang="0">
                <a:pos x="connsiteX7396" y="connsiteY7396"/>
              </a:cxn>
              <a:cxn ang="0">
                <a:pos x="connsiteX7397" y="connsiteY7397"/>
              </a:cxn>
              <a:cxn ang="0">
                <a:pos x="connsiteX7398" y="connsiteY7398"/>
              </a:cxn>
              <a:cxn ang="0">
                <a:pos x="connsiteX7399" y="connsiteY7399"/>
              </a:cxn>
              <a:cxn ang="0">
                <a:pos x="connsiteX7400" y="connsiteY7400"/>
              </a:cxn>
              <a:cxn ang="0">
                <a:pos x="connsiteX7401" y="connsiteY7401"/>
              </a:cxn>
              <a:cxn ang="0">
                <a:pos x="connsiteX7402" y="connsiteY7402"/>
              </a:cxn>
              <a:cxn ang="0">
                <a:pos x="connsiteX7403" y="connsiteY7403"/>
              </a:cxn>
              <a:cxn ang="0">
                <a:pos x="connsiteX7404" y="connsiteY7404"/>
              </a:cxn>
              <a:cxn ang="0">
                <a:pos x="connsiteX7405" y="connsiteY7405"/>
              </a:cxn>
              <a:cxn ang="0">
                <a:pos x="connsiteX7406" y="connsiteY7406"/>
              </a:cxn>
              <a:cxn ang="0">
                <a:pos x="connsiteX7407" y="connsiteY7407"/>
              </a:cxn>
              <a:cxn ang="0">
                <a:pos x="connsiteX7408" y="connsiteY7408"/>
              </a:cxn>
              <a:cxn ang="0">
                <a:pos x="connsiteX7409" y="connsiteY7409"/>
              </a:cxn>
              <a:cxn ang="0">
                <a:pos x="connsiteX7410" y="connsiteY7410"/>
              </a:cxn>
              <a:cxn ang="0">
                <a:pos x="connsiteX7411" y="connsiteY7411"/>
              </a:cxn>
              <a:cxn ang="0">
                <a:pos x="connsiteX7412" y="connsiteY7412"/>
              </a:cxn>
              <a:cxn ang="0">
                <a:pos x="connsiteX7413" y="connsiteY7413"/>
              </a:cxn>
              <a:cxn ang="0">
                <a:pos x="connsiteX7414" y="connsiteY7414"/>
              </a:cxn>
              <a:cxn ang="0">
                <a:pos x="connsiteX7415" y="connsiteY7415"/>
              </a:cxn>
              <a:cxn ang="0">
                <a:pos x="connsiteX7416" y="connsiteY7416"/>
              </a:cxn>
              <a:cxn ang="0">
                <a:pos x="connsiteX7417" y="connsiteY7417"/>
              </a:cxn>
              <a:cxn ang="0">
                <a:pos x="connsiteX7418" y="connsiteY7418"/>
              </a:cxn>
              <a:cxn ang="0">
                <a:pos x="connsiteX7419" y="connsiteY7419"/>
              </a:cxn>
              <a:cxn ang="0">
                <a:pos x="connsiteX7420" y="connsiteY7420"/>
              </a:cxn>
              <a:cxn ang="0">
                <a:pos x="connsiteX7421" y="connsiteY7421"/>
              </a:cxn>
              <a:cxn ang="0">
                <a:pos x="connsiteX7422" y="connsiteY7422"/>
              </a:cxn>
              <a:cxn ang="0">
                <a:pos x="connsiteX7423" y="connsiteY7423"/>
              </a:cxn>
              <a:cxn ang="0">
                <a:pos x="connsiteX7424" y="connsiteY7424"/>
              </a:cxn>
              <a:cxn ang="0">
                <a:pos x="connsiteX7425" y="connsiteY7425"/>
              </a:cxn>
              <a:cxn ang="0">
                <a:pos x="connsiteX7426" y="connsiteY7426"/>
              </a:cxn>
              <a:cxn ang="0">
                <a:pos x="connsiteX7427" y="connsiteY7427"/>
              </a:cxn>
              <a:cxn ang="0">
                <a:pos x="connsiteX7428" y="connsiteY7428"/>
              </a:cxn>
              <a:cxn ang="0">
                <a:pos x="connsiteX7429" y="connsiteY7429"/>
              </a:cxn>
              <a:cxn ang="0">
                <a:pos x="connsiteX7430" y="connsiteY7430"/>
              </a:cxn>
              <a:cxn ang="0">
                <a:pos x="connsiteX7431" y="connsiteY7431"/>
              </a:cxn>
              <a:cxn ang="0">
                <a:pos x="connsiteX7432" y="connsiteY7432"/>
              </a:cxn>
              <a:cxn ang="0">
                <a:pos x="connsiteX7433" y="connsiteY7433"/>
              </a:cxn>
              <a:cxn ang="0">
                <a:pos x="connsiteX7434" y="connsiteY7434"/>
              </a:cxn>
              <a:cxn ang="0">
                <a:pos x="connsiteX7435" y="connsiteY7435"/>
              </a:cxn>
              <a:cxn ang="0">
                <a:pos x="connsiteX7436" y="connsiteY7436"/>
              </a:cxn>
              <a:cxn ang="0">
                <a:pos x="connsiteX7437" y="connsiteY7437"/>
              </a:cxn>
              <a:cxn ang="0">
                <a:pos x="connsiteX7438" y="connsiteY7438"/>
              </a:cxn>
              <a:cxn ang="0">
                <a:pos x="connsiteX7439" y="connsiteY7439"/>
              </a:cxn>
              <a:cxn ang="0">
                <a:pos x="connsiteX7440" y="connsiteY7440"/>
              </a:cxn>
              <a:cxn ang="0">
                <a:pos x="connsiteX7441" y="connsiteY7441"/>
              </a:cxn>
              <a:cxn ang="0">
                <a:pos x="connsiteX7442" y="connsiteY7442"/>
              </a:cxn>
              <a:cxn ang="0">
                <a:pos x="connsiteX7443" y="connsiteY7443"/>
              </a:cxn>
              <a:cxn ang="0">
                <a:pos x="connsiteX7444" y="connsiteY7444"/>
              </a:cxn>
              <a:cxn ang="0">
                <a:pos x="connsiteX7445" y="connsiteY7445"/>
              </a:cxn>
              <a:cxn ang="0">
                <a:pos x="connsiteX7446" y="connsiteY7446"/>
              </a:cxn>
              <a:cxn ang="0">
                <a:pos x="connsiteX7447" y="connsiteY7447"/>
              </a:cxn>
              <a:cxn ang="0">
                <a:pos x="connsiteX7448" y="connsiteY7448"/>
              </a:cxn>
              <a:cxn ang="0">
                <a:pos x="connsiteX7449" y="connsiteY7449"/>
              </a:cxn>
              <a:cxn ang="0">
                <a:pos x="connsiteX7450" y="connsiteY7450"/>
              </a:cxn>
              <a:cxn ang="0">
                <a:pos x="connsiteX7451" y="connsiteY7451"/>
              </a:cxn>
              <a:cxn ang="0">
                <a:pos x="connsiteX7452" y="connsiteY7452"/>
              </a:cxn>
              <a:cxn ang="0">
                <a:pos x="connsiteX7453" y="connsiteY7453"/>
              </a:cxn>
              <a:cxn ang="0">
                <a:pos x="connsiteX7454" y="connsiteY7454"/>
              </a:cxn>
              <a:cxn ang="0">
                <a:pos x="connsiteX7455" y="connsiteY7455"/>
              </a:cxn>
              <a:cxn ang="0">
                <a:pos x="connsiteX7456" y="connsiteY7456"/>
              </a:cxn>
              <a:cxn ang="0">
                <a:pos x="connsiteX7457" y="connsiteY7457"/>
              </a:cxn>
              <a:cxn ang="0">
                <a:pos x="connsiteX7458" y="connsiteY7458"/>
              </a:cxn>
              <a:cxn ang="0">
                <a:pos x="connsiteX7459" y="connsiteY7459"/>
              </a:cxn>
              <a:cxn ang="0">
                <a:pos x="connsiteX7460" y="connsiteY7460"/>
              </a:cxn>
              <a:cxn ang="0">
                <a:pos x="connsiteX7461" y="connsiteY7461"/>
              </a:cxn>
              <a:cxn ang="0">
                <a:pos x="connsiteX7462" y="connsiteY7462"/>
              </a:cxn>
              <a:cxn ang="0">
                <a:pos x="connsiteX7463" y="connsiteY7463"/>
              </a:cxn>
              <a:cxn ang="0">
                <a:pos x="connsiteX7464" y="connsiteY7464"/>
              </a:cxn>
              <a:cxn ang="0">
                <a:pos x="connsiteX7465" y="connsiteY7465"/>
              </a:cxn>
              <a:cxn ang="0">
                <a:pos x="connsiteX7466" y="connsiteY7466"/>
              </a:cxn>
              <a:cxn ang="0">
                <a:pos x="connsiteX7467" y="connsiteY7467"/>
              </a:cxn>
              <a:cxn ang="0">
                <a:pos x="connsiteX7468" y="connsiteY7468"/>
              </a:cxn>
              <a:cxn ang="0">
                <a:pos x="connsiteX7469" y="connsiteY7469"/>
              </a:cxn>
              <a:cxn ang="0">
                <a:pos x="connsiteX7470" y="connsiteY7470"/>
              </a:cxn>
              <a:cxn ang="0">
                <a:pos x="connsiteX7471" y="connsiteY7471"/>
              </a:cxn>
              <a:cxn ang="0">
                <a:pos x="connsiteX7472" y="connsiteY7472"/>
              </a:cxn>
              <a:cxn ang="0">
                <a:pos x="connsiteX7473" y="connsiteY7473"/>
              </a:cxn>
              <a:cxn ang="0">
                <a:pos x="connsiteX7474" y="connsiteY7474"/>
              </a:cxn>
              <a:cxn ang="0">
                <a:pos x="connsiteX7475" y="connsiteY7475"/>
              </a:cxn>
              <a:cxn ang="0">
                <a:pos x="connsiteX7476" y="connsiteY7476"/>
              </a:cxn>
              <a:cxn ang="0">
                <a:pos x="connsiteX7477" y="connsiteY7477"/>
              </a:cxn>
              <a:cxn ang="0">
                <a:pos x="connsiteX7478" y="connsiteY7478"/>
              </a:cxn>
              <a:cxn ang="0">
                <a:pos x="connsiteX7479" y="connsiteY7479"/>
              </a:cxn>
              <a:cxn ang="0">
                <a:pos x="connsiteX7480" y="connsiteY7480"/>
              </a:cxn>
              <a:cxn ang="0">
                <a:pos x="connsiteX7481" y="connsiteY7481"/>
              </a:cxn>
              <a:cxn ang="0">
                <a:pos x="connsiteX7482" y="connsiteY7482"/>
              </a:cxn>
              <a:cxn ang="0">
                <a:pos x="connsiteX7483" y="connsiteY7483"/>
              </a:cxn>
              <a:cxn ang="0">
                <a:pos x="connsiteX7484" y="connsiteY7484"/>
              </a:cxn>
              <a:cxn ang="0">
                <a:pos x="connsiteX7485" y="connsiteY7485"/>
              </a:cxn>
              <a:cxn ang="0">
                <a:pos x="connsiteX7486" y="connsiteY7486"/>
              </a:cxn>
              <a:cxn ang="0">
                <a:pos x="connsiteX7487" y="connsiteY7487"/>
              </a:cxn>
              <a:cxn ang="0">
                <a:pos x="connsiteX7488" y="connsiteY7488"/>
              </a:cxn>
              <a:cxn ang="0">
                <a:pos x="connsiteX7489" y="connsiteY7489"/>
              </a:cxn>
              <a:cxn ang="0">
                <a:pos x="connsiteX7490" y="connsiteY7490"/>
              </a:cxn>
              <a:cxn ang="0">
                <a:pos x="connsiteX7491" y="connsiteY7491"/>
              </a:cxn>
              <a:cxn ang="0">
                <a:pos x="connsiteX7492" y="connsiteY7492"/>
              </a:cxn>
              <a:cxn ang="0">
                <a:pos x="connsiteX7493" y="connsiteY7493"/>
              </a:cxn>
              <a:cxn ang="0">
                <a:pos x="connsiteX7494" y="connsiteY7494"/>
              </a:cxn>
              <a:cxn ang="0">
                <a:pos x="connsiteX7495" y="connsiteY7495"/>
              </a:cxn>
              <a:cxn ang="0">
                <a:pos x="connsiteX7496" y="connsiteY7496"/>
              </a:cxn>
              <a:cxn ang="0">
                <a:pos x="connsiteX7497" y="connsiteY7497"/>
              </a:cxn>
              <a:cxn ang="0">
                <a:pos x="connsiteX7498" y="connsiteY7498"/>
              </a:cxn>
              <a:cxn ang="0">
                <a:pos x="connsiteX7499" y="connsiteY7499"/>
              </a:cxn>
              <a:cxn ang="0">
                <a:pos x="connsiteX7500" y="connsiteY7500"/>
              </a:cxn>
              <a:cxn ang="0">
                <a:pos x="connsiteX7501" y="connsiteY7501"/>
              </a:cxn>
              <a:cxn ang="0">
                <a:pos x="connsiteX7502" y="connsiteY7502"/>
              </a:cxn>
              <a:cxn ang="0">
                <a:pos x="connsiteX7503" y="connsiteY7503"/>
              </a:cxn>
              <a:cxn ang="0">
                <a:pos x="connsiteX7504" y="connsiteY7504"/>
              </a:cxn>
              <a:cxn ang="0">
                <a:pos x="connsiteX7505" y="connsiteY7505"/>
              </a:cxn>
              <a:cxn ang="0">
                <a:pos x="connsiteX7506" y="connsiteY7506"/>
              </a:cxn>
              <a:cxn ang="0">
                <a:pos x="connsiteX7507" y="connsiteY7507"/>
              </a:cxn>
              <a:cxn ang="0">
                <a:pos x="connsiteX7508" y="connsiteY7508"/>
              </a:cxn>
              <a:cxn ang="0">
                <a:pos x="connsiteX7509" y="connsiteY7509"/>
              </a:cxn>
              <a:cxn ang="0">
                <a:pos x="connsiteX7510" y="connsiteY7510"/>
              </a:cxn>
              <a:cxn ang="0">
                <a:pos x="connsiteX7511" y="connsiteY7511"/>
              </a:cxn>
              <a:cxn ang="0">
                <a:pos x="connsiteX7512" y="connsiteY7512"/>
              </a:cxn>
              <a:cxn ang="0">
                <a:pos x="connsiteX7513" y="connsiteY7513"/>
              </a:cxn>
              <a:cxn ang="0">
                <a:pos x="connsiteX7514" y="connsiteY7514"/>
              </a:cxn>
              <a:cxn ang="0">
                <a:pos x="connsiteX7515" y="connsiteY7515"/>
              </a:cxn>
              <a:cxn ang="0">
                <a:pos x="connsiteX7516" y="connsiteY7516"/>
              </a:cxn>
              <a:cxn ang="0">
                <a:pos x="connsiteX7517" y="connsiteY7517"/>
              </a:cxn>
              <a:cxn ang="0">
                <a:pos x="connsiteX7518" y="connsiteY7518"/>
              </a:cxn>
              <a:cxn ang="0">
                <a:pos x="connsiteX7519" y="connsiteY7519"/>
              </a:cxn>
              <a:cxn ang="0">
                <a:pos x="connsiteX7520" y="connsiteY7520"/>
              </a:cxn>
              <a:cxn ang="0">
                <a:pos x="connsiteX7521" y="connsiteY7521"/>
              </a:cxn>
              <a:cxn ang="0">
                <a:pos x="connsiteX7522" y="connsiteY7522"/>
              </a:cxn>
              <a:cxn ang="0">
                <a:pos x="connsiteX7523" y="connsiteY7523"/>
              </a:cxn>
              <a:cxn ang="0">
                <a:pos x="connsiteX7524" y="connsiteY7524"/>
              </a:cxn>
              <a:cxn ang="0">
                <a:pos x="connsiteX7525" y="connsiteY7525"/>
              </a:cxn>
              <a:cxn ang="0">
                <a:pos x="connsiteX7526" y="connsiteY7526"/>
              </a:cxn>
              <a:cxn ang="0">
                <a:pos x="connsiteX7527" y="connsiteY7527"/>
              </a:cxn>
              <a:cxn ang="0">
                <a:pos x="connsiteX7528" y="connsiteY7528"/>
              </a:cxn>
              <a:cxn ang="0">
                <a:pos x="connsiteX7529" y="connsiteY7529"/>
              </a:cxn>
              <a:cxn ang="0">
                <a:pos x="connsiteX7530" y="connsiteY7530"/>
              </a:cxn>
              <a:cxn ang="0">
                <a:pos x="connsiteX7531" y="connsiteY7531"/>
              </a:cxn>
              <a:cxn ang="0">
                <a:pos x="connsiteX7532" y="connsiteY7532"/>
              </a:cxn>
              <a:cxn ang="0">
                <a:pos x="connsiteX7533" y="connsiteY7533"/>
              </a:cxn>
              <a:cxn ang="0">
                <a:pos x="connsiteX7534" y="connsiteY7534"/>
              </a:cxn>
              <a:cxn ang="0">
                <a:pos x="connsiteX7535" y="connsiteY7535"/>
              </a:cxn>
              <a:cxn ang="0">
                <a:pos x="connsiteX7536" y="connsiteY7536"/>
              </a:cxn>
              <a:cxn ang="0">
                <a:pos x="connsiteX7537" y="connsiteY7537"/>
              </a:cxn>
              <a:cxn ang="0">
                <a:pos x="connsiteX7538" y="connsiteY7538"/>
              </a:cxn>
              <a:cxn ang="0">
                <a:pos x="connsiteX7539" y="connsiteY7539"/>
              </a:cxn>
              <a:cxn ang="0">
                <a:pos x="connsiteX7540" y="connsiteY7540"/>
              </a:cxn>
              <a:cxn ang="0">
                <a:pos x="connsiteX7541" y="connsiteY7541"/>
              </a:cxn>
              <a:cxn ang="0">
                <a:pos x="connsiteX7542" y="connsiteY7542"/>
              </a:cxn>
              <a:cxn ang="0">
                <a:pos x="connsiteX7543" y="connsiteY7543"/>
              </a:cxn>
              <a:cxn ang="0">
                <a:pos x="connsiteX7544" y="connsiteY7544"/>
              </a:cxn>
              <a:cxn ang="0">
                <a:pos x="connsiteX7545" y="connsiteY7545"/>
              </a:cxn>
              <a:cxn ang="0">
                <a:pos x="connsiteX7546" y="connsiteY7546"/>
              </a:cxn>
              <a:cxn ang="0">
                <a:pos x="connsiteX7547" y="connsiteY7547"/>
              </a:cxn>
              <a:cxn ang="0">
                <a:pos x="connsiteX7548" y="connsiteY7548"/>
              </a:cxn>
              <a:cxn ang="0">
                <a:pos x="connsiteX7549" y="connsiteY7549"/>
              </a:cxn>
              <a:cxn ang="0">
                <a:pos x="connsiteX7550" y="connsiteY7550"/>
              </a:cxn>
              <a:cxn ang="0">
                <a:pos x="connsiteX7551" y="connsiteY7551"/>
              </a:cxn>
              <a:cxn ang="0">
                <a:pos x="connsiteX7552" y="connsiteY7552"/>
              </a:cxn>
              <a:cxn ang="0">
                <a:pos x="connsiteX7553" y="connsiteY7553"/>
              </a:cxn>
              <a:cxn ang="0">
                <a:pos x="connsiteX7554" y="connsiteY7554"/>
              </a:cxn>
              <a:cxn ang="0">
                <a:pos x="connsiteX7555" y="connsiteY7555"/>
              </a:cxn>
              <a:cxn ang="0">
                <a:pos x="connsiteX7556" y="connsiteY7556"/>
              </a:cxn>
              <a:cxn ang="0">
                <a:pos x="connsiteX7557" y="connsiteY7557"/>
              </a:cxn>
              <a:cxn ang="0">
                <a:pos x="connsiteX7558" y="connsiteY7558"/>
              </a:cxn>
              <a:cxn ang="0">
                <a:pos x="connsiteX7559" y="connsiteY7559"/>
              </a:cxn>
              <a:cxn ang="0">
                <a:pos x="connsiteX7560" y="connsiteY7560"/>
              </a:cxn>
              <a:cxn ang="0">
                <a:pos x="connsiteX7561" y="connsiteY7561"/>
              </a:cxn>
              <a:cxn ang="0">
                <a:pos x="connsiteX7562" y="connsiteY7562"/>
              </a:cxn>
              <a:cxn ang="0">
                <a:pos x="connsiteX7563" y="connsiteY7563"/>
              </a:cxn>
              <a:cxn ang="0">
                <a:pos x="connsiteX7564" y="connsiteY7564"/>
              </a:cxn>
              <a:cxn ang="0">
                <a:pos x="connsiteX7565" y="connsiteY7565"/>
              </a:cxn>
              <a:cxn ang="0">
                <a:pos x="connsiteX7566" y="connsiteY7566"/>
              </a:cxn>
              <a:cxn ang="0">
                <a:pos x="connsiteX7567" y="connsiteY7567"/>
              </a:cxn>
              <a:cxn ang="0">
                <a:pos x="connsiteX7568" y="connsiteY7568"/>
              </a:cxn>
              <a:cxn ang="0">
                <a:pos x="connsiteX7569" y="connsiteY7569"/>
              </a:cxn>
              <a:cxn ang="0">
                <a:pos x="connsiteX7570" y="connsiteY7570"/>
              </a:cxn>
              <a:cxn ang="0">
                <a:pos x="connsiteX7571" y="connsiteY7571"/>
              </a:cxn>
              <a:cxn ang="0">
                <a:pos x="connsiteX7572" y="connsiteY7572"/>
              </a:cxn>
              <a:cxn ang="0">
                <a:pos x="connsiteX7573" y="connsiteY7573"/>
              </a:cxn>
              <a:cxn ang="0">
                <a:pos x="connsiteX7574" y="connsiteY7574"/>
              </a:cxn>
              <a:cxn ang="0">
                <a:pos x="connsiteX7575" y="connsiteY7575"/>
              </a:cxn>
              <a:cxn ang="0">
                <a:pos x="connsiteX7576" y="connsiteY7576"/>
              </a:cxn>
              <a:cxn ang="0">
                <a:pos x="connsiteX7577" y="connsiteY7577"/>
              </a:cxn>
              <a:cxn ang="0">
                <a:pos x="connsiteX7578" y="connsiteY7578"/>
              </a:cxn>
              <a:cxn ang="0">
                <a:pos x="connsiteX7579" y="connsiteY7579"/>
              </a:cxn>
              <a:cxn ang="0">
                <a:pos x="connsiteX7580" y="connsiteY7580"/>
              </a:cxn>
              <a:cxn ang="0">
                <a:pos x="connsiteX7581" y="connsiteY7581"/>
              </a:cxn>
              <a:cxn ang="0">
                <a:pos x="connsiteX7582" y="connsiteY7582"/>
              </a:cxn>
              <a:cxn ang="0">
                <a:pos x="connsiteX7583" y="connsiteY7583"/>
              </a:cxn>
              <a:cxn ang="0">
                <a:pos x="connsiteX7584" y="connsiteY7584"/>
              </a:cxn>
              <a:cxn ang="0">
                <a:pos x="connsiteX7585" y="connsiteY7585"/>
              </a:cxn>
              <a:cxn ang="0">
                <a:pos x="connsiteX7586" y="connsiteY7586"/>
              </a:cxn>
              <a:cxn ang="0">
                <a:pos x="connsiteX7587" y="connsiteY7587"/>
              </a:cxn>
              <a:cxn ang="0">
                <a:pos x="connsiteX7588" y="connsiteY7588"/>
              </a:cxn>
              <a:cxn ang="0">
                <a:pos x="connsiteX7589" y="connsiteY7589"/>
              </a:cxn>
              <a:cxn ang="0">
                <a:pos x="connsiteX7590" y="connsiteY7590"/>
              </a:cxn>
              <a:cxn ang="0">
                <a:pos x="connsiteX7591" y="connsiteY7591"/>
              </a:cxn>
              <a:cxn ang="0">
                <a:pos x="connsiteX7592" y="connsiteY7592"/>
              </a:cxn>
              <a:cxn ang="0">
                <a:pos x="connsiteX7593" y="connsiteY7593"/>
              </a:cxn>
              <a:cxn ang="0">
                <a:pos x="connsiteX7594" y="connsiteY7594"/>
              </a:cxn>
              <a:cxn ang="0">
                <a:pos x="connsiteX7595" y="connsiteY7595"/>
              </a:cxn>
              <a:cxn ang="0">
                <a:pos x="connsiteX7596" y="connsiteY7596"/>
              </a:cxn>
              <a:cxn ang="0">
                <a:pos x="connsiteX7597" y="connsiteY7597"/>
              </a:cxn>
              <a:cxn ang="0">
                <a:pos x="connsiteX7598" y="connsiteY7598"/>
              </a:cxn>
              <a:cxn ang="0">
                <a:pos x="connsiteX7599" y="connsiteY7599"/>
              </a:cxn>
              <a:cxn ang="0">
                <a:pos x="connsiteX7600" y="connsiteY7600"/>
              </a:cxn>
              <a:cxn ang="0">
                <a:pos x="connsiteX7601" y="connsiteY7601"/>
              </a:cxn>
              <a:cxn ang="0">
                <a:pos x="connsiteX7602" y="connsiteY7602"/>
              </a:cxn>
              <a:cxn ang="0">
                <a:pos x="connsiteX7603" y="connsiteY7603"/>
              </a:cxn>
              <a:cxn ang="0">
                <a:pos x="connsiteX7604" y="connsiteY7604"/>
              </a:cxn>
              <a:cxn ang="0">
                <a:pos x="connsiteX7605" y="connsiteY7605"/>
              </a:cxn>
              <a:cxn ang="0">
                <a:pos x="connsiteX7606" y="connsiteY7606"/>
              </a:cxn>
              <a:cxn ang="0">
                <a:pos x="connsiteX7607" y="connsiteY7607"/>
              </a:cxn>
              <a:cxn ang="0">
                <a:pos x="connsiteX7608" y="connsiteY7608"/>
              </a:cxn>
              <a:cxn ang="0">
                <a:pos x="connsiteX7609" y="connsiteY7609"/>
              </a:cxn>
              <a:cxn ang="0">
                <a:pos x="connsiteX7610" y="connsiteY7610"/>
              </a:cxn>
              <a:cxn ang="0">
                <a:pos x="connsiteX7611" y="connsiteY7611"/>
              </a:cxn>
              <a:cxn ang="0">
                <a:pos x="connsiteX7612" y="connsiteY7612"/>
              </a:cxn>
              <a:cxn ang="0">
                <a:pos x="connsiteX7613" y="connsiteY7613"/>
              </a:cxn>
              <a:cxn ang="0">
                <a:pos x="connsiteX7614" y="connsiteY7614"/>
              </a:cxn>
              <a:cxn ang="0">
                <a:pos x="connsiteX7615" y="connsiteY7615"/>
              </a:cxn>
              <a:cxn ang="0">
                <a:pos x="connsiteX7616" y="connsiteY7616"/>
              </a:cxn>
              <a:cxn ang="0">
                <a:pos x="connsiteX7617" y="connsiteY7617"/>
              </a:cxn>
              <a:cxn ang="0">
                <a:pos x="connsiteX7618" y="connsiteY7618"/>
              </a:cxn>
              <a:cxn ang="0">
                <a:pos x="connsiteX7619" y="connsiteY7619"/>
              </a:cxn>
              <a:cxn ang="0">
                <a:pos x="connsiteX7620" y="connsiteY7620"/>
              </a:cxn>
              <a:cxn ang="0">
                <a:pos x="connsiteX7621" y="connsiteY7621"/>
              </a:cxn>
              <a:cxn ang="0">
                <a:pos x="connsiteX7622" y="connsiteY7622"/>
              </a:cxn>
              <a:cxn ang="0">
                <a:pos x="connsiteX7623" y="connsiteY7623"/>
              </a:cxn>
              <a:cxn ang="0">
                <a:pos x="connsiteX7624" y="connsiteY7624"/>
              </a:cxn>
              <a:cxn ang="0">
                <a:pos x="connsiteX7625" y="connsiteY7625"/>
              </a:cxn>
              <a:cxn ang="0">
                <a:pos x="connsiteX7626" y="connsiteY7626"/>
              </a:cxn>
              <a:cxn ang="0">
                <a:pos x="connsiteX7627" y="connsiteY7627"/>
              </a:cxn>
              <a:cxn ang="0">
                <a:pos x="connsiteX7628" y="connsiteY7628"/>
              </a:cxn>
              <a:cxn ang="0">
                <a:pos x="connsiteX7629" y="connsiteY7629"/>
              </a:cxn>
              <a:cxn ang="0">
                <a:pos x="connsiteX7630" y="connsiteY7630"/>
              </a:cxn>
              <a:cxn ang="0">
                <a:pos x="connsiteX7631" y="connsiteY7631"/>
              </a:cxn>
              <a:cxn ang="0">
                <a:pos x="connsiteX7632" y="connsiteY7632"/>
              </a:cxn>
              <a:cxn ang="0">
                <a:pos x="connsiteX7633" y="connsiteY7633"/>
              </a:cxn>
              <a:cxn ang="0">
                <a:pos x="connsiteX7634" y="connsiteY7634"/>
              </a:cxn>
              <a:cxn ang="0">
                <a:pos x="connsiteX7635" y="connsiteY7635"/>
              </a:cxn>
              <a:cxn ang="0">
                <a:pos x="connsiteX7636" y="connsiteY7636"/>
              </a:cxn>
              <a:cxn ang="0">
                <a:pos x="connsiteX7637" y="connsiteY7637"/>
              </a:cxn>
              <a:cxn ang="0">
                <a:pos x="connsiteX7638" y="connsiteY7638"/>
              </a:cxn>
              <a:cxn ang="0">
                <a:pos x="connsiteX7639" y="connsiteY7639"/>
              </a:cxn>
              <a:cxn ang="0">
                <a:pos x="connsiteX7640" y="connsiteY7640"/>
              </a:cxn>
              <a:cxn ang="0">
                <a:pos x="connsiteX7641" y="connsiteY7641"/>
              </a:cxn>
              <a:cxn ang="0">
                <a:pos x="connsiteX7642" y="connsiteY7642"/>
              </a:cxn>
              <a:cxn ang="0">
                <a:pos x="connsiteX7643" y="connsiteY7643"/>
              </a:cxn>
              <a:cxn ang="0">
                <a:pos x="connsiteX7644" y="connsiteY7644"/>
              </a:cxn>
              <a:cxn ang="0">
                <a:pos x="connsiteX7645" y="connsiteY7645"/>
              </a:cxn>
              <a:cxn ang="0">
                <a:pos x="connsiteX7646" y="connsiteY7646"/>
              </a:cxn>
              <a:cxn ang="0">
                <a:pos x="connsiteX7647" y="connsiteY7647"/>
              </a:cxn>
              <a:cxn ang="0">
                <a:pos x="connsiteX7648" y="connsiteY7648"/>
              </a:cxn>
              <a:cxn ang="0">
                <a:pos x="connsiteX7649" y="connsiteY7649"/>
              </a:cxn>
              <a:cxn ang="0">
                <a:pos x="connsiteX7650" y="connsiteY7650"/>
              </a:cxn>
              <a:cxn ang="0">
                <a:pos x="connsiteX7651" y="connsiteY7651"/>
              </a:cxn>
              <a:cxn ang="0">
                <a:pos x="connsiteX7652" y="connsiteY7652"/>
              </a:cxn>
              <a:cxn ang="0">
                <a:pos x="connsiteX7653" y="connsiteY7653"/>
              </a:cxn>
              <a:cxn ang="0">
                <a:pos x="connsiteX7654" y="connsiteY7654"/>
              </a:cxn>
              <a:cxn ang="0">
                <a:pos x="connsiteX7655" y="connsiteY7655"/>
              </a:cxn>
              <a:cxn ang="0">
                <a:pos x="connsiteX7656" y="connsiteY7656"/>
              </a:cxn>
              <a:cxn ang="0">
                <a:pos x="connsiteX7657" y="connsiteY7657"/>
              </a:cxn>
              <a:cxn ang="0">
                <a:pos x="connsiteX7658" y="connsiteY7658"/>
              </a:cxn>
              <a:cxn ang="0">
                <a:pos x="connsiteX7659" y="connsiteY7659"/>
              </a:cxn>
              <a:cxn ang="0">
                <a:pos x="connsiteX7660" y="connsiteY7660"/>
              </a:cxn>
              <a:cxn ang="0">
                <a:pos x="connsiteX7661" y="connsiteY7661"/>
              </a:cxn>
              <a:cxn ang="0">
                <a:pos x="connsiteX7662" y="connsiteY7662"/>
              </a:cxn>
              <a:cxn ang="0">
                <a:pos x="connsiteX7663" y="connsiteY7663"/>
              </a:cxn>
              <a:cxn ang="0">
                <a:pos x="connsiteX7664" y="connsiteY7664"/>
              </a:cxn>
              <a:cxn ang="0">
                <a:pos x="connsiteX7665" y="connsiteY7665"/>
              </a:cxn>
              <a:cxn ang="0">
                <a:pos x="connsiteX7666" y="connsiteY7666"/>
              </a:cxn>
              <a:cxn ang="0">
                <a:pos x="connsiteX7667" y="connsiteY7667"/>
              </a:cxn>
              <a:cxn ang="0">
                <a:pos x="connsiteX7668" y="connsiteY7668"/>
              </a:cxn>
              <a:cxn ang="0">
                <a:pos x="connsiteX7669" y="connsiteY7669"/>
              </a:cxn>
              <a:cxn ang="0">
                <a:pos x="connsiteX7670" y="connsiteY7670"/>
              </a:cxn>
              <a:cxn ang="0">
                <a:pos x="connsiteX7671" y="connsiteY7671"/>
              </a:cxn>
              <a:cxn ang="0">
                <a:pos x="connsiteX7672" y="connsiteY7672"/>
              </a:cxn>
              <a:cxn ang="0">
                <a:pos x="connsiteX7673" y="connsiteY7673"/>
              </a:cxn>
              <a:cxn ang="0">
                <a:pos x="connsiteX7674" y="connsiteY7674"/>
              </a:cxn>
              <a:cxn ang="0">
                <a:pos x="connsiteX7675" y="connsiteY7675"/>
              </a:cxn>
              <a:cxn ang="0">
                <a:pos x="connsiteX7676" y="connsiteY7676"/>
              </a:cxn>
              <a:cxn ang="0">
                <a:pos x="connsiteX7677" y="connsiteY7677"/>
              </a:cxn>
              <a:cxn ang="0">
                <a:pos x="connsiteX7678" y="connsiteY7678"/>
              </a:cxn>
              <a:cxn ang="0">
                <a:pos x="connsiteX7679" y="connsiteY7679"/>
              </a:cxn>
              <a:cxn ang="0">
                <a:pos x="connsiteX7680" y="connsiteY7680"/>
              </a:cxn>
              <a:cxn ang="0">
                <a:pos x="connsiteX7681" y="connsiteY7681"/>
              </a:cxn>
              <a:cxn ang="0">
                <a:pos x="connsiteX7682" y="connsiteY7682"/>
              </a:cxn>
              <a:cxn ang="0">
                <a:pos x="connsiteX7683" y="connsiteY7683"/>
              </a:cxn>
              <a:cxn ang="0">
                <a:pos x="connsiteX7684" y="connsiteY7684"/>
              </a:cxn>
              <a:cxn ang="0">
                <a:pos x="connsiteX7685" y="connsiteY7685"/>
              </a:cxn>
              <a:cxn ang="0">
                <a:pos x="connsiteX7686" y="connsiteY7686"/>
              </a:cxn>
              <a:cxn ang="0">
                <a:pos x="connsiteX7687" y="connsiteY7687"/>
              </a:cxn>
              <a:cxn ang="0">
                <a:pos x="connsiteX7688" y="connsiteY7688"/>
              </a:cxn>
              <a:cxn ang="0">
                <a:pos x="connsiteX7689" y="connsiteY7689"/>
              </a:cxn>
              <a:cxn ang="0">
                <a:pos x="connsiteX7690" y="connsiteY7690"/>
              </a:cxn>
              <a:cxn ang="0">
                <a:pos x="connsiteX7691" y="connsiteY7691"/>
              </a:cxn>
              <a:cxn ang="0">
                <a:pos x="connsiteX7692" y="connsiteY7692"/>
              </a:cxn>
              <a:cxn ang="0">
                <a:pos x="connsiteX7693" y="connsiteY7693"/>
              </a:cxn>
              <a:cxn ang="0">
                <a:pos x="connsiteX7694" y="connsiteY7694"/>
              </a:cxn>
              <a:cxn ang="0">
                <a:pos x="connsiteX7695" y="connsiteY7695"/>
              </a:cxn>
              <a:cxn ang="0">
                <a:pos x="connsiteX7696" y="connsiteY7696"/>
              </a:cxn>
              <a:cxn ang="0">
                <a:pos x="connsiteX7697" y="connsiteY7697"/>
              </a:cxn>
              <a:cxn ang="0">
                <a:pos x="connsiteX7698" y="connsiteY7698"/>
              </a:cxn>
              <a:cxn ang="0">
                <a:pos x="connsiteX7699" y="connsiteY7699"/>
              </a:cxn>
              <a:cxn ang="0">
                <a:pos x="connsiteX7700" y="connsiteY7700"/>
              </a:cxn>
              <a:cxn ang="0">
                <a:pos x="connsiteX7701" y="connsiteY7701"/>
              </a:cxn>
              <a:cxn ang="0">
                <a:pos x="connsiteX7702" y="connsiteY7702"/>
              </a:cxn>
              <a:cxn ang="0">
                <a:pos x="connsiteX7703" y="connsiteY7703"/>
              </a:cxn>
              <a:cxn ang="0">
                <a:pos x="connsiteX7704" y="connsiteY7704"/>
              </a:cxn>
              <a:cxn ang="0">
                <a:pos x="connsiteX7705" y="connsiteY7705"/>
              </a:cxn>
              <a:cxn ang="0">
                <a:pos x="connsiteX7706" y="connsiteY7706"/>
              </a:cxn>
              <a:cxn ang="0">
                <a:pos x="connsiteX7707" y="connsiteY7707"/>
              </a:cxn>
              <a:cxn ang="0">
                <a:pos x="connsiteX7708" y="connsiteY7708"/>
              </a:cxn>
              <a:cxn ang="0">
                <a:pos x="connsiteX7709" y="connsiteY7709"/>
              </a:cxn>
              <a:cxn ang="0">
                <a:pos x="connsiteX7710" y="connsiteY7710"/>
              </a:cxn>
              <a:cxn ang="0">
                <a:pos x="connsiteX7711" y="connsiteY7711"/>
              </a:cxn>
              <a:cxn ang="0">
                <a:pos x="connsiteX7712" y="connsiteY7712"/>
              </a:cxn>
              <a:cxn ang="0">
                <a:pos x="connsiteX7713" y="connsiteY7713"/>
              </a:cxn>
              <a:cxn ang="0">
                <a:pos x="connsiteX7714" y="connsiteY7714"/>
              </a:cxn>
              <a:cxn ang="0">
                <a:pos x="connsiteX7715" y="connsiteY7715"/>
              </a:cxn>
              <a:cxn ang="0">
                <a:pos x="connsiteX7716" y="connsiteY7716"/>
              </a:cxn>
              <a:cxn ang="0">
                <a:pos x="connsiteX7717" y="connsiteY7717"/>
              </a:cxn>
              <a:cxn ang="0">
                <a:pos x="connsiteX7718" y="connsiteY7718"/>
              </a:cxn>
              <a:cxn ang="0">
                <a:pos x="connsiteX7719" y="connsiteY7719"/>
              </a:cxn>
              <a:cxn ang="0">
                <a:pos x="connsiteX7720" y="connsiteY7720"/>
              </a:cxn>
              <a:cxn ang="0">
                <a:pos x="connsiteX7721" y="connsiteY7721"/>
              </a:cxn>
              <a:cxn ang="0">
                <a:pos x="connsiteX7722" y="connsiteY7722"/>
              </a:cxn>
              <a:cxn ang="0">
                <a:pos x="connsiteX7723" y="connsiteY7723"/>
              </a:cxn>
              <a:cxn ang="0">
                <a:pos x="connsiteX7724" y="connsiteY7724"/>
              </a:cxn>
              <a:cxn ang="0">
                <a:pos x="connsiteX7725" y="connsiteY7725"/>
              </a:cxn>
              <a:cxn ang="0">
                <a:pos x="connsiteX7726" y="connsiteY7726"/>
              </a:cxn>
              <a:cxn ang="0">
                <a:pos x="connsiteX7727" y="connsiteY7727"/>
              </a:cxn>
              <a:cxn ang="0">
                <a:pos x="connsiteX7728" y="connsiteY7728"/>
              </a:cxn>
              <a:cxn ang="0">
                <a:pos x="connsiteX7729" y="connsiteY7729"/>
              </a:cxn>
              <a:cxn ang="0">
                <a:pos x="connsiteX7730" y="connsiteY7730"/>
              </a:cxn>
              <a:cxn ang="0">
                <a:pos x="connsiteX7731" y="connsiteY7731"/>
              </a:cxn>
              <a:cxn ang="0">
                <a:pos x="connsiteX7732" y="connsiteY7732"/>
              </a:cxn>
              <a:cxn ang="0">
                <a:pos x="connsiteX7733" y="connsiteY7733"/>
              </a:cxn>
              <a:cxn ang="0">
                <a:pos x="connsiteX7734" y="connsiteY7734"/>
              </a:cxn>
              <a:cxn ang="0">
                <a:pos x="connsiteX7735" y="connsiteY7735"/>
              </a:cxn>
              <a:cxn ang="0">
                <a:pos x="connsiteX7736" y="connsiteY7736"/>
              </a:cxn>
              <a:cxn ang="0">
                <a:pos x="connsiteX7737" y="connsiteY7737"/>
              </a:cxn>
              <a:cxn ang="0">
                <a:pos x="connsiteX7738" y="connsiteY7738"/>
              </a:cxn>
              <a:cxn ang="0">
                <a:pos x="connsiteX7739" y="connsiteY7739"/>
              </a:cxn>
              <a:cxn ang="0">
                <a:pos x="connsiteX7740" y="connsiteY7740"/>
              </a:cxn>
              <a:cxn ang="0">
                <a:pos x="connsiteX7741" y="connsiteY7741"/>
              </a:cxn>
              <a:cxn ang="0">
                <a:pos x="connsiteX7742" y="connsiteY7742"/>
              </a:cxn>
              <a:cxn ang="0">
                <a:pos x="connsiteX7743" y="connsiteY7743"/>
              </a:cxn>
              <a:cxn ang="0">
                <a:pos x="connsiteX7744" y="connsiteY7744"/>
              </a:cxn>
              <a:cxn ang="0">
                <a:pos x="connsiteX7745" y="connsiteY7745"/>
              </a:cxn>
              <a:cxn ang="0">
                <a:pos x="connsiteX7746" y="connsiteY7746"/>
              </a:cxn>
              <a:cxn ang="0">
                <a:pos x="connsiteX7747" y="connsiteY7747"/>
              </a:cxn>
              <a:cxn ang="0">
                <a:pos x="connsiteX7748" y="connsiteY7748"/>
              </a:cxn>
              <a:cxn ang="0">
                <a:pos x="connsiteX7749" y="connsiteY7749"/>
              </a:cxn>
              <a:cxn ang="0">
                <a:pos x="connsiteX7750" y="connsiteY7750"/>
              </a:cxn>
              <a:cxn ang="0">
                <a:pos x="connsiteX7751" y="connsiteY7751"/>
              </a:cxn>
              <a:cxn ang="0">
                <a:pos x="connsiteX7752" y="connsiteY7752"/>
              </a:cxn>
              <a:cxn ang="0">
                <a:pos x="connsiteX7753" y="connsiteY7753"/>
              </a:cxn>
              <a:cxn ang="0">
                <a:pos x="connsiteX7754" y="connsiteY7754"/>
              </a:cxn>
              <a:cxn ang="0">
                <a:pos x="connsiteX7755" y="connsiteY7755"/>
              </a:cxn>
              <a:cxn ang="0">
                <a:pos x="connsiteX7756" y="connsiteY7756"/>
              </a:cxn>
              <a:cxn ang="0">
                <a:pos x="connsiteX7757" y="connsiteY7757"/>
              </a:cxn>
              <a:cxn ang="0">
                <a:pos x="connsiteX7758" y="connsiteY7758"/>
              </a:cxn>
              <a:cxn ang="0">
                <a:pos x="connsiteX7759" y="connsiteY7759"/>
              </a:cxn>
              <a:cxn ang="0">
                <a:pos x="connsiteX7760" y="connsiteY7760"/>
              </a:cxn>
              <a:cxn ang="0">
                <a:pos x="connsiteX7761" y="connsiteY7761"/>
              </a:cxn>
              <a:cxn ang="0">
                <a:pos x="connsiteX7762" y="connsiteY7762"/>
              </a:cxn>
              <a:cxn ang="0">
                <a:pos x="connsiteX7763" y="connsiteY7763"/>
              </a:cxn>
              <a:cxn ang="0">
                <a:pos x="connsiteX7764" y="connsiteY7764"/>
              </a:cxn>
              <a:cxn ang="0">
                <a:pos x="connsiteX7765" y="connsiteY7765"/>
              </a:cxn>
              <a:cxn ang="0">
                <a:pos x="connsiteX7766" y="connsiteY7766"/>
              </a:cxn>
              <a:cxn ang="0">
                <a:pos x="connsiteX7767" y="connsiteY7767"/>
              </a:cxn>
              <a:cxn ang="0">
                <a:pos x="connsiteX7768" y="connsiteY7768"/>
              </a:cxn>
              <a:cxn ang="0">
                <a:pos x="connsiteX7769" y="connsiteY7769"/>
              </a:cxn>
              <a:cxn ang="0">
                <a:pos x="connsiteX7770" y="connsiteY7770"/>
              </a:cxn>
              <a:cxn ang="0">
                <a:pos x="connsiteX7771" y="connsiteY7771"/>
              </a:cxn>
              <a:cxn ang="0">
                <a:pos x="connsiteX7772" y="connsiteY7772"/>
              </a:cxn>
              <a:cxn ang="0">
                <a:pos x="connsiteX7773" y="connsiteY7773"/>
              </a:cxn>
              <a:cxn ang="0">
                <a:pos x="connsiteX7774" y="connsiteY7774"/>
              </a:cxn>
              <a:cxn ang="0">
                <a:pos x="connsiteX7775" y="connsiteY7775"/>
              </a:cxn>
              <a:cxn ang="0">
                <a:pos x="connsiteX7776" y="connsiteY7776"/>
              </a:cxn>
              <a:cxn ang="0">
                <a:pos x="connsiteX7777" y="connsiteY7777"/>
              </a:cxn>
              <a:cxn ang="0">
                <a:pos x="connsiteX7778" y="connsiteY7778"/>
              </a:cxn>
              <a:cxn ang="0">
                <a:pos x="connsiteX7779" y="connsiteY7779"/>
              </a:cxn>
              <a:cxn ang="0">
                <a:pos x="connsiteX7780" y="connsiteY7780"/>
              </a:cxn>
              <a:cxn ang="0">
                <a:pos x="connsiteX7781" y="connsiteY7781"/>
              </a:cxn>
              <a:cxn ang="0">
                <a:pos x="connsiteX7782" y="connsiteY7782"/>
              </a:cxn>
              <a:cxn ang="0">
                <a:pos x="connsiteX7783" y="connsiteY7783"/>
              </a:cxn>
              <a:cxn ang="0">
                <a:pos x="connsiteX7784" y="connsiteY7784"/>
              </a:cxn>
              <a:cxn ang="0">
                <a:pos x="connsiteX7785" y="connsiteY7785"/>
              </a:cxn>
              <a:cxn ang="0">
                <a:pos x="connsiteX7786" y="connsiteY7786"/>
              </a:cxn>
              <a:cxn ang="0">
                <a:pos x="connsiteX7787" y="connsiteY7787"/>
              </a:cxn>
              <a:cxn ang="0">
                <a:pos x="connsiteX7788" y="connsiteY7788"/>
              </a:cxn>
              <a:cxn ang="0">
                <a:pos x="connsiteX7789" y="connsiteY7789"/>
              </a:cxn>
              <a:cxn ang="0">
                <a:pos x="connsiteX7790" y="connsiteY7790"/>
              </a:cxn>
              <a:cxn ang="0">
                <a:pos x="connsiteX7791" y="connsiteY7791"/>
              </a:cxn>
              <a:cxn ang="0">
                <a:pos x="connsiteX7792" y="connsiteY7792"/>
              </a:cxn>
              <a:cxn ang="0">
                <a:pos x="connsiteX7793" y="connsiteY7793"/>
              </a:cxn>
              <a:cxn ang="0">
                <a:pos x="connsiteX7794" y="connsiteY7794"/>
              </a:cxn>
              <a:cxn ang="0">
                <a:pos x="connsiteX7795" y="connsiteY7795"/>
              </a:cxn>
              <a:cxn ang="0">
                <a:pos x="connsiteX7796" y="connsiteY7796"/>
              </a:cxn>
              <a:cxn ang="0">
                <a:pos x="connsiteX7797" y="connsiteY7797"/>
              </a:cxn>
              <a:cxn ang="0">
                <a:pos x="connsiteX7798" y="connsiteY7798"/>
              </a:cxn>
              <a:cxn ang="0">
                <a:pos x="connsiteX7799" y="connsiteY7799"/>
              </a:cxn>
              <a:cxn ang="0">
                <a:pos x="connsiteX7800" y="connsiteY7800"/>
              </a:cxn>
              <a:cxn ang="0">
                <a:pos x="connsiteX7801" y="connsiteY7801"/>
              </a:cxn>
              <a:cxn ang="0">
                <a:pos x="connsiteX7802" y="connsiteY7802"/>
              </a:cxn>
              <a:cxn ang="0">
                <a:pos x="connsiteX7803" y="connsiteY7803"/>
              </a:cxn>
              <a:cxn ang="0">
                <a:pos x="connsiteX7804" y="connsiteY7804"/>
              </a:cxn>
              <a:cxn ang="0">
                <a:pos x="connsiteX7805" y="connsiteY7805"/>
              </a:cxn>
              <a:cxn ang="0">
                <a:pos x="connsiteX7806" y="connsiteY7806"/>
              </a:cxn>
              <a:cxn ang="0">
                <a:pos x="connsiteX7807" y="connsiteY7807"/>
              </a:cxn>
              <a:cxn ang="0">
                <a:pos x="connsiteX7808" y="connsiteY7808"/>
              </a:cxn>
              <a:cxn ang="0">
                <a:pos x="connsiteX7809" y="connsiteY7809"/>
              </a:cxn>
              <a:cxn ang="0">
                <a:pos x="connsiteX7810" y="connsiteY7810"/>
              </a:cxn>
              <a:cxn ang="0">
                <a:pos x="connsiteX7811" y="connsiteY7811"/>
              </a:cxn>
              <a:cxn ang="0">
                <a:pos x="connsiteX7812" y="connsiteY7812"/>
              </a:cxn>
              <a:cxn ang="0">
                <a:pos x="connsiteX7813" y="connsiteY7813"/>
              </a:cxn>
              <a:cxn ang="0">
                <a:pos x="connsiteX7814" y="connsiteY7814"/>
              </a:cxn>
              <a:cxn ang="0">
                <a:pos x="connsiteX7815" y="connsiteY7815"/>
              </a:cxn>
              <a:cxn ang="0">
                <a:pos x="connsiteX7816" y="connsiteY7816"/>
              </a:cxn>
              <a:cxn ang="0">
                <a:pos x="connsiteX7817" y="connsiteY7817"/>
              </a:cxn>
              <a:cxn ang="0">
                <a:pos x="connsiteX7818" y="connsiteY7818"/>
              </a:cxn>
              <a:cxn ang="0">
                <a:pos x="connsiteX7819" y="connsiteY7819"/>
              </a:cxn>
              <a:cxn ang="0">
                <a:pos x="connsiteX7820" y="connsiteY7820"/>
              </a:cxn>
              <a:cxn ang="0">
                <a:pos x="connsiteX7821" y="connsiteY7821"/>
              </a:cxn>
              <a:cxn ang="0">
                <a:pos x="connsiteX7822" y="connsiteY7822"/>
              </a:cxn>
              <a:cxn ang="0">
                <a:pos x="connsiteX7823" y="connsiteY7823"/>
              </a:cxn>
              <a:cxn ang="0">
                <a:pos x="connsiteX7824" y="connsiteY7824"/>
              </a:cxn>
              <a:cxn ang="0">
                <a:pos x="connsiteX7825" y="connsiteY7825"/>
              </a:cxn>
              <a:cxn ang="0">
                <a:pos x="connsiteX7826" y="connsiteY7826"/>
              </a:cxn>
              <a:cxn ang="0">
                <a:pos x="connsiteX7827" y="connsiteY7827"/>
              </a:cxn>
              <a:cxn ang="0">
                <a:pos x="connsiteX7828" y="connsiteY7828"/>
              </a:cxn>
              <a:cxn ang="0">
                <a:pos x="connsiteX7829" y="connsiteY7829"/>
              </a:cxn>
              <a:cxn ang="0">
                <a:pos x="connsiteX7830" y="connsiteY7830"/>
              </a:cxn>
              <a:cxn ang="0">
                <a:pos x="connsiteX7831" y="connsiteY7831"/>
              </a:cxn>
              <a:cxn ang="0">
                <a:pos x="connsiteX7832" y="connsiteY7832"/>
              </a:cxn>
              <a:cxn ang="0">
                <a:pos x="connsiteX7833" y="connsiteY7833"/>
              </a:cxn>
              <a:cxn ang="0">
                <a:pos x="connsiteX7834" y="connsiteY7834"/>
              </a:cxn>
              <a:cxn ang="0">
                <a:pos x="connsiteX7835" y="connsiteY7835"/>
              </a:cxn>
              <a:cxn ang="0">
                <a:pos x="connsiteX7836" y="connsiteY7836"/>
              </a:cxn>
              <a:cxn ang="0">
                <a:pos x="connsiteX7837" y="connsiteY7837"/>
              </a:cxn>
              <a:cxn ang="0">
                <a:pos x="connsiteX7838" y="connsiteY7838"/>
              </a:cxn>
              <a:cxn ang="0">
                <a:pos x="connsiteX7839" y="connsiteY7839"/>
              </a:cxn>
              <a:cxn ang="0">
                <a:pos x="connsiteX7840" y="connsiteY7840"/>
              </a:cxn>
              <a:cxn ang="0">
                <a:pos x="connsiteX7841" y="connsiteY7841"/>
              </a:cxn>
              <a:cxn ang="0">
                <a:pos x="connsiteX7842" y="connsiteY7842"/>
              </a:cxn>
              <a:cxn ang="0">
                <a:pos x="connsiteX7843" y="connsiteY7843"/>
              </a:cxn>
              <a:cxn ang="0">
                <a:pos x="connsiteX7844" y="connsiteY7844"/>
              </a:cxn>
              <a:cxn ang="0">
                <a:pos x="connsiteX7845" y="connsiteY7845"/>
              </a:cxn>
              <a:cxn ang="0">
                <a:pos x="connsiteX7846" y="connsiteY7846"/>
              </a:cxn>
              <a:cxn ang="0">
                <a:pos x="connsiteX7847" y="connsiteY7847"/>
              </a:cxn>
              <a:cxn ang="0">
                <a:pos x="connsiteX7848" y="connsiteY7848"/>
              </a:cxn>
              <a:cxn ang="0">
                <a:pos x="connsiteX7849" y="connsiteY7849"/>
              </a:cxn>
              <a:cxn ang="0">
                <a:pos x="connsiteX7850" y="connsiteY7850"/>
              </a:cxn>
              <a:cxn ang="0">
                <a:pos x="connsiteX7851" y="connsiteY7851"/>
              </a:cxn>
              <a:cxn ang="0">
                <a:pos x="connsiteX7852" y="connsiteY7852"/>
              </a:cxn>
              <a:cxn ang="0">
                <a:pos x="connsiteX7853" y="connsiteY7853"/>
              </a:cxn>
              <a:cxn ang="0">
                <a:pos x="connsiteX7854" y="connsiteY7854"/>
              </a:cxn>
              <a:cxn ang="0">
                <a:pos x="connsiteX7855" y="connsiteY7855"/>
              </a:cxn>
              <a:cxn ang="0">
                <a:pos x="connsiteX7856" y="connsiteY7856"/>
              </a:cxn>
              <a:cxn ang="0">
                <a:pos x="connsiteX7857" y="connsiteY7857"/>
              </a:cxn>
              <a:cxn ang="0">
                <a:pos x="connsiteX7858" y="connsiteY7858"/>
              </a:cxn>
              <a:cxn ang="0">
                <a:pos x="connsiteX7859" y="connsiteY7859"/>
              </a:cxn>
              <a:cxn ang="0">
                <a:pos x="connsiteX7860" y="connsiteY7860"/>
              </a:cxn>
              <a:cxn ang="0">
                <a:pos x="connsiteX7861" y="connsiteY7861"/>
              </a:cxn>
              <a:cxn ang="0">
                <a:pos x="connsiteX7862" y="connsiteY7862"/>
              </a:cxn>
              <a:cxn ang="0">
                <a:pos x="connsiteX7863" y="connsiteY7863"/>
              </a:cxn>
              <a:cxn ang="0">
                <a:pos x="connsiteX7864" y="connsiteY7864"/>
              </a:cxn>
              <a:cxn ang="0">
                <a:pos x="connsiteX7865" y="connsiteY7865"/>
              </a:cxn>
              <a:cxn ang="0">
                <a:pos x="connsiteX7866" y="connsiteY7866"/>
              </a:cxn>
              <a:cxn ang="0">
                <a:pos x="connsiteX7867" y="connsiteY7867"/>
              </a:cxn>
              <a:cxn ang="0">
                <a:pos x="connsiteX7868" y="connsiteY7868"/>
              </a:cxn>
              <a:cxn ang="0">
                <a:pos x="connsiteX7869" y="connsiteY7869"/>
              </a:cxn>
              <a:cxn ang="0">
                <a:pos x="connsiteX7870" y="connsiteY7870"/>
              </a:cxn>
              <a:cxn ang="0">
                <a:pos x="connsiteX7871" y="connsiteY7871"/>
              </a:cxn>
              <a:cxn ang="0">
                <a:pos x="connsiteX7872" y="connsiteY7872"/>
              </a:cxn>
              <a:cxn ang="0">
                <a:pos x="connsiteX7873" y="connsiteY7873"/>
              </a:cxn>
              <a:cxn ang="0">
                <a:pos x="connsiteX7874" y="connsiteY7874"/>
              </a:cxn>
              <a:cxn ang="0">
                <a:pos x="connsiteX7875" y="connsiteY7875"/>
              </a:cxn>
              <a:cxn ang="0">
                <a:pos x="connsiteX7876" y="connsiteY7876"/>
              </a:cxn>
              <a:cxn ang="0">
                <a:pos x="connsiteX7877" y="connsiteY7877"/>
              </a:cxn>
              <a:cxn ang="0">
                <a:pos x="connsiteX7878" y="connsiteY7878"/>
              </a:cxn>
              <a:cxn ang="0">
                <a:pos x="connsiteX7879" y="connsiteY7879"/>
              </a:cxn>
              <a:cxn ang="0">
                <a:pos x="connsiteX7880" y="connsiteY7880"/>
              </a:cxn>
              <a:cxn ang="0">
                <a:pos x="connsiteX7881" y="connsiteY7881"/>
              </a:cxn>
              <a:cxn ang="0">
                <a:pos x="connsiteX7882" y="connsiteY7882"/>
              </a:cxn>
              <a:cxn ang="0">
                <a:pos x="connsiteX7883" y="connsiteY7883"/>
              </a:cxn>
              <a:cxn ang="0">
                <a:pos x="connsiteX7884" y="connsiteY7884"/>
              </a:cxn>
              <a:cxn ang="0">
                <a:pos x="connsiteX7885" y="connsiteY7885"/>
              </a:cxn>
              <a:cxn ang="0">
                <a:pos x="connsiteX7886" y="connsiteY7886"/>
              </a:cxn>
              <a:cxn ang="0">
                <a:pos x="connsiteX7887" y="connsiteY7887"/>
              </a:cxn>
              <a:cxn ang="0">
                <a:pos x="connsiteX7888" y="connsiteY7888"/>
              </a:cxn>
              <a:cxn ang="0">
                <a:pos x="connsiteX7889" y="connsiteY7889"/>
              </a:cxn>
              <a:cxn ang="0">
                <a:pos x="connsiteX7890" y="connsiteY7890"/>
              </a:cxn>
              <a:cxn ang="0">
                <a:pos x="connsiteX7891" y="connsiteY7891"/>
              </a:cxn>
              <a:cxn ang="0">
                <a:pos x="connsiteX7892" y="connsiteY7892"/>
              </a:cxn>
              <a:cxn ang="0">
                <a:pos x="connsiteX7893" y="connsiteY7893"/>
              </a:cxn>
              <a:cxn ang="0">
                <a:pos x="connsiteX7894" y="connsiteY7894"/>
              </a:cxn>
              <a:cxn ang="0">
                <a:pos x="connsiteX7895" y="connsiteY7895"/>
              </a:cxn>
              <a:cxn ang="0">
                <a:pos x="connsiteX7896" y="connsiteY7896"/>
              </a:cxn>
              <a:cxn ang="0">
                <a:pos x="connsiteX7897" y="connsiteY7897"/>
              </a:cxn>
              <a:cxn ang="0">
                <a:pos x="connsiteX7898" y="connsiteY7898"/>
              </a:cxn>
              <a:cxn ang="0">
                <a:pos x="connsiteX7899" y="connsiteY7899"/>
              </a:cxn>
              <a:cxn ang="0">
                <a:pos x="connsiteX7900" y="connsiteY7900"/>
              </a:cxn>
              <a:cxn ang="0">
                <a:pos x="connsiteX7901" y="connsiteY7901"/>
              </a:cxn>
              <a:cxn ang="0">
                <a:pos x="connsiteX7902" y="connsiteY7902"/>
              </a:cxn>
              <a:cxn ang="0">
                <a:pos x="connsiteX7903" y="connsiteY7903"/>
              </a:cxn>
              <a:cxn ang="0">
                <a:pos x="connsiteX7904" y="connsiteY7904"/>
              </a:cxn>
              <a:cxn ang="0">
                <a:pos x="connsiteX7905" y="connsiteY7905"/>
              </a:cxn>
              <a:cxn ang="0">
                <a:pos x="connsiteX7906" y="connsiteY7906"/>
              </a:cxn>
              <a:cxn ang="0">
                <a:pos x="connsiteX7907" y="connsiteY7907"/>
              </a:cxn>
              <a:cxn ang="0">
                <a:pos x="connsiteX7908" y="connsiteY7908"/>
              </a:cxn>
              <a:cxn ang="0">
                <a:pos x="connsiteX7909" y="connsiteY7909"/>
              </a:cxn>
              <a:cxn ang="0">
                <a:pos x="connsiteX7910" y="connsiteY7910"/>
              </a:cxn>
              <a:cxn ang="0">
                <a:pos x="connsiteX7911" y="connsiteY7911"/>
              </a:cxn>
              <a:cxn ang="0">
                <a:pos x="connsiteX7912" y="connsiteY7912"/>
              </a:cxn>
              <a:cxn ang="0">
                <a:pos x="connsiteX7913" y="connsiteY7913"/>
              </a:cxn>
              <a:cxn ang="0">
                <a:pos x="connsiteX7914" y="connsiteY7914"/>
              </a:cxn>
              <a:cxn ang="0">
                <a:pos x="connsiteX7915" y="connsiteY7915"/>
              </a:cxn>
              <a:cxn ang="0">
                <a:pos x="connsiteX7916" y="connsiteY7916"/>
              </a:cxn>
              <a:cxn ang="0">
                <a:pos x="connsiteX7917" y="connsiteY7917"/>
              </a:cxn>
              <a:cxn ang="0">
                <a:pos x="connsiteX7918" y="connsiteY7918"/>
              </a:cxn>
              <a:cxn ang="0">
                <a:pos x="connsiteX7919" y="connsiteY7919"/>
              </a:cxn>
              <a:cxn ang="0">
                <a:pos x="connsiteX7920" y="connsiteY7920"/>
              </a:cxn>
              <a:cxn ang="0">
                <a:pos x="connsiteX7921" y="connsiteY7921"/>
              </a:cxn>
              <a:cxn ang="0">
                <a:pos x="connsiteX7922" y="connsiteY7922"/>
              </a:cxn>
              <a:cxn ang="0">
                <a:pos x="connsiteX7923" y="connsiteY7923"/>
              </a:cxn>
              <a:cxn ang="0">
                <a:pos x="connsiteX7924" y="connsiteY7924"/>
              </a:cxn>
              <a:cxn ang="0">
                <a:pos x="connsiteX7925" y="connsiteY7925"/>
              </a:cxn>
              <a:cxn ang="0">
                <a:pos x="connsiteX7926" y="connsiteY7926"/>
              </a:cxn>
              <a:cxn ang="0">
                <a:pos x="connsiteX7927" y="connsiteY7927"/>
              </a:cxn>
              <a:cxn ang="0">
                <a:pos x="connsiteX7928" y="connsiteY7928"/>
              </a:cxn>
              <a:cxn ang="0">
                <a:pos x="connsiteX7929" y="connsiteY7929"/>
              </a:cxn>
              <a:cxn ang="0">
                <a:pos x="connsiteX7930" y="connsiteY7930"/>
              </a:cxn>
              <a:cxn ang="0">
                <a:pos x="connsiteX7931" y="connsiteY7931"/>
              </a:cxn>
              <a:cxn ang="0">
                <a:pos x="connsiteX7932" y="connsiteY7932"/>
              </a:cxn>
              <a:cxn ang="0">
                <a:pos x="connsiteX7933" y="connsiteY7933"/>
              </a:cxn>
              <a:cxn ang="0">
                <a:pos x="connsiteX7934" y="connsiteY7934"/>
              </a:cxn>
              <a:cxn ang="0">
                <a:pos x="connsiteX7935" y="connsiteY7935"/>
              </a:cxn>
              <a:cxn ang="0">
                <a:pos x="connsiteX7936" y="connsiteY7936"/>
              </a:cxn>
              <a:cxn ang="0">
                <a:pos x="connsiteX7937" y="connsiteY7937"/>
              </a:cxn>
              <a:cxn ang="0">
                <a:pos x="connsiteX7938" y="connsiteY7938"/>
              </a:cxn>
              <a:cxn ang="0">
                <a:pos x="connsiteX7939" y="connsiteY7939"/>
              </a:cxn>
              <a:cxn ang="0">
                <a:pos x="connsiteX7940" y="connsiteY7940"/>
              </a:cxn>
              <a:cxn ang="0">
                <a:pos x="connsiteX7941" y="connsiteY7941"/>
              </a:cxn>
              <a:cxn ang="0">
                <a:pos x="connsiteX7942" y="connsiteY7942"/>
              </a:cxn>
              <a:cxn ang="0">
                <a:pos x="connsiteX7943" y="connsiteY7943"/>
              </a:cxn>
              <a:cxn ang="0">
                <a:pos x="connsiteX7944" y="connsiteY7944"/>
              </a:cxn>
              <a:cxn ang="0">
                <a:pos x="connsiteX7945" y="connsiteY7945"/>
              </a:cxn>
              <a:cxn ang="0">
                <a:pos x="connsiteX7946" y="connsiteY7946"/>
              </a:cxn>
              <a:cxn ang="0">
                <a:pos x="connsiteX7947" y="connsiteY7947"/>
              </a:cxn>
              <a:cxn ang="0">
                <a:pos x="connsiteX7948" y="connsiteY7948"/>
              </a:cxn>
              <a:cxn ang="0">
                <a:pos x="connsiteX7949" y="connsiteY7949"/>
              </a:cxn>
              <a:cxn ang="0">
                <a:pos x="connsiteX7950" y="connsiteY7950"/>
              </a:cxn>
              <a:cxn ang="0">
                <a:pos x="connsiteX7951" y="connsiteY7951"/>
              </a:cxn>
              <a:cxn ang="0">
                <a:pos x="connsiteX7952" y="connsiteY7952"/>
              </a:cxn>
              <a:cxn ang="0">
                <a:pos x="connsiteX7953" y="connsiteY7953"/>
              </a:cxn>
              <a:cxn ang="0">
                <a:pos x="connsiteX7954" y="connsiteY7954"/>
              </a:cxn>
              <a:cxn ang="0">
                <a:pos x="connsiteX7955" y="connsiteY7955"/>
              </a:cxn>
              <a:cxn ang="0">
                <a:pos x="connsiteX7956" y="connsiteY7956"/>
              </a:cxn>
              <a:cxn ang="0">
                <a:pos x="connsiteX7957" y="connsiteY7957"/>
              </a:cxn>
              <a:cxn ang="0">
                <a:pos x="connsiteX7958" y="connsiteY7958"/>
              </a:cxn>
              <a:cxn ang="0">
                <a:pos x="connsiteX7959" y="connsiteY7959"/>
              </a:cxn>
              <a:cxn ang="0">
                <a:pos x="connsiteX7960" y="connsiteY7960"/>
              </a:cxn>
              <a:cxn ang="0">
                <a:pos x="connsiteX7961" y="connsiteY7961"/>
              </a:cxn>
              <a:cxn ang="0">
                <a:pos x="connsiteX7962" y="connsiteY7962"/>
              </a:cxn>
              <a:cxn ang="0">
                <a:pos x="connsiteX7963" y="connsiteY7963"/>
              </a:cxn>
              <a:cxn ang="0">
                <a:pos x="connsiteX7964" y="connsiteY7964"/>
              </a:cxn>
              <a:cxn ang="0">
                <a:pos x="connsiteX7965" y="connsiteY7965"/>
              </a:cxn>
              <a:cxn ang="0">
                <a:pos x="connsiteX7966" y="connsiteY7966"/>
              </a:cxn>
              <a:cxn ang="0">
                <a:pos x="connsiteX7967" y="connsiteY7967"/>
              </a:cxn>
              <a:cxn ang="0">
                <a:pos x="connsiteX7968" y="connsiteY7968"/>
              </a:cxn>
              <a:cxn ang="0">
                <a:pos x="connsiteX7969" y="connsiteY7969"/>
              </a:cxn>
              <a:cxn ang="0">
                <a:pos x="connsiteX7970" y="connsiteY7970"/>
              </a:cxn>
              <a:cxn ang="0">
                <a:pos x="connsiteX7971" y="connsiteY7971"/>
              </a:cxn>
              <a:cxn ang="0">
                <a:pos x="connsiteX7972" y="connsiteY7972"/>
              </a:cxn>
              <a:cxn ang="0">
                <a:pos x="connsiteX7973" y="connsiteY7973"/>
              </a:cxn>
              <a:cxn ang="0">
                <a:pos x="connsiteX7974" y="connsiteY7974"/>
              </a:cxn>
              <a:cxn ang="0">
                <a:pos x="connsiteX7975" y="connsiteY7975"/>
              </a:cxn>
              <a:cxn ang="0">
                <a:pos x="connsiteX7976" y="connsiteY7976"/>
              </a:cxn>
              <a:cxn ang="0">
                <a:pos x="connsiteX7977" y="connsiteY7977"/>
              </a:cxn>
              <a:cxn ang="0">
                <a:pos x="connsiteX7978" y="connsiteY7978"/>
              </a:cxn>
              <a:cxn ang="0">
                <a:pos x="connsiteX7979" y="connsiteY7979"/>
              </a:cxn>
              <a:cxn ang="0">
                <a:pos x="connsiteX7980" y="connsiteY7980"/>
              </a:cxn>
              <a:cxn ang="0">
                <a:pos x="connsiteX7981" y="connsiteY7981"/>
              </a:cxn>
              <a:cxn ang="0">
                <a:pos x="connsiteX7982" y="connsiteY7982"/>
              </a:cxn>
              <a:cxn ang="0">
                <a:pos x="connsiteX7983" y="connsiteY7983"/>
              </a:cxn>
              <a:cxn ang="0">
                <a:pos x="connsiteX7984" y="connsiteY7984"/>
              </a:cxn>
              <a:cxn ang="0">
                <a:pos x="connsiteX7985" y="connsiteY7985"/>
              </a:cxn>
              <a:cxn ang="0">
                <a:pos x="connsiteX7986" y="connsiteY7986"/>
              </a:cxn>
              <a:cxn ang="0">
                <a:pos x="connsiteX7987" y="connsiteY7987"/>
              </a:cxn>
              <a:cxn ang="0">
                <a:pos x="connsiteX7988" y="connsiteY7988"/>
              </a:cxn>
              <a:cxn ang="0">
                <a:pos x="connsiteX7989" y="connsiteY7989"/>
              </a:cxn>
              <a:cxn ang="0">
                <a:pos x="connsiteX7990" y="connsiteY7990"/>
              </a:cxn>
              <a:cxn ang="0">
                <a:pos x="connsiteX7991" y="connsiteY7991"/>
              </a:cxn>
              <a:cxn ang="0">
                <a:pos x="connsiteX7992" y="connsiteY7992"/>
              </a:cxn>
              <a:cxn ang="0">
                <a:pos x="connsiteX7993" y="connsiteY7993"/>
              </a:cxn>
              <a:cxn ang="0">
                <a:pos x="connsiteX7994" y="connsiteY7994"/>
              </a:cxn>
              <a:cxn ang="0">
                <a:pos x="connsiteX7995" y="connsiteY7995"/>
              </a:cxn>
              <a:cxn ang="0">
                <a:pos x="connsiteX7996" y="connsiteY7996"/>
              </a:cxn>
              <a:cxn ang="0">
                <a:pos x="connsiteX7997" y="connsiteY7997"/>
              </a:cxn>
              <a:cxn ang="0">
                <a:pos x="connsiteX7998" y="connsiteY7998"/>
              </a:cxn>
              <a:cxn ang="0">
                <a:pos x="connsiteX7999" y="connsiteY7999"/>
              </a:cxn>
              <a:cxn ang="0">
                <a:pos x="connsiteX8000" y="connsiteY8000"/>
              </a:cxn>
              <a:cxn ang="0">
                <a:pos x="connsiteX8001" y="connsiteY8001"/>
              </a:cxn>
              <a:cxn ang="0">
                <a:pos x="connsiteX8002" y="connsiteY8002"/>
              </a:cxn>
              <a:cxn ang="0">
                <a:pos x="connsiteX8003" y="connsiteY8003"/>
              </a:cxn>
              <a:cxn ang="0">
                <a:pos x="connsiteX8004" y="connsiteY8004"/>
              </a:cxn>
              <a:cxn ang="0">
                <a:pos x="connsiteX8005" y="connsiteY8005"/>
              </a:cxn>
              <a:cxn ang="0">
                <a:pos x="connsiteX8006" y="connsiteY8006"/>
              </a:cxn>
              <a:cxn ang="0">
                <a:pos x="connsiteX8007" y="connsiteY8007"/>
              </a:cxn>
              <a:cxn ang="0">
                <a:pos x="connsiteX8008" y="connsiteY8008"/>
              </a:cxn>
              <a:cxn ang="0">
                <a:pos x="connsiteX8009" y="connsiteY8009"/>
              </a:cxn>
              <a:cxn ang="0">
                <a:pos x="connsiteX8010" y="connsiteY8010"/>
              </a:cxn>
              <a:cxn ang="0">
                <a:pos x="connsiteX8011" y="connsiteY8011"/>
              </a:cxn>
              <a:cxn ang="0">
                <a:pos x="connsiteX8012" y="connsiteY8012"/>
              </a:cxn>
              <a:cxn ang="0">
                <a:pos x="connsiteX8013" y="connsiteY8013"/>
              </a:cxn>
              <a:cxn ang="0">
                <a:pos x="connsiteX8014" y="connsiteY8014"/>
              </a:cxn>
              <a:cxn ang="0">
                <a:pos x="connsiteX8015" y="connsiteY8015"/>
              </a:cxn>
              <a:cxn ang="0">
                <a:pos x="connsiteX8016" y="connsiteY8016"/>
              </a:cxn>
              <a:cxn ang="0">
                <a:pos x="connsiteX8017" y="connsiteY8017"/>
              </a:cxn>
              <a:cxn ang="0">
                <a:pos x="connsiteX8018" y="connsiteY8018"/>
              </a:cxn>
              <a:cxn ang="0">
                <a:pos x="connsiteX8019" y="connsiteY8019"/>
              </a:cxn>
              <a:cxn ang="0">
                <a:pos x="connsiteX8020" y="connsiteY8020"/>
              </a:cxn>
              <a:cxn ang="0">
                <a:pos x="connsiteX8021" y="connsiteY8021"/>
              </a:cxn>
              <a:cxn ang="0">
                <a:pos x="connsiteX8022" y="connsiteY8022"/>
              </a:cxn>
              <a:cxn ang="0">
                <a:pos x="connsiteX8023" y="connsiteY8023"/>
              </a:cxn>
              <a:cxn ang="0">
                <a:pos x="connsiteX8024" y="connsiteY8024"/>
              </a:cxn>
              <a:cxn ang="0">
                <a:pos x="connsiteX8025" y="connsiteY8025"/>
              </a:cxn>
              <a:cxn ang="0">
                <a:pos x="connsiteX8026" y="connsiteY8026"/>
              </a:cxn>
              <a:cxn ang="0">
                <a:pos x="connsiteX8027" y="connsiteY8027"/>
              </a:cxn>
              <a:cxn ang="0">
                <a:pos x="connsiteX8028" y="connsiteY8028"/>
              </a:cxn>
              <a:cxn ang="0">
                <a:pos x="connsiteX8029" y="connsiteY8029"/>
              </a:cxn>
              <a:cxn ang="0">
                <a:pos x="connsiteX8030" y="connsiteY8030"/>
              </a:cxn>
              <a:cxn ang="0">
                <a:pos x="connsiteX8031" y="connsiteY8031"/>
              </a:cxn>
              <a:cxn ang="0">
                <a:pos x="connsiteX8032" y="connsiteY8032"/>
              </a:cxn>
              <a:cxn ang="0">
                <a:pos x="connsiteX8033" y="connsiteY8033"/>
              </a:cxn>
              <a:cxn ang="0">
                <a:pos x="connsiteX8034" y="connsiteY8034"/>
              </a:cxn>
              <a:cxn ang="0">
                <a:pos x="connsiteX8035" y="connsiteY8035"/>
              </a:cxn>
              <a:cxn ang="0">
                <a:pos x="connsiteX8036" y="connsiteY8036"/>
              </a:cxn>
              <a:cxn ang="0">
                <a:pos x="connsiteX8037" y="connsiteY8037"/>
              </a:cxn>
              <a:cxn ang="0">
                <a:pos x="connsiteX8038" y="connsiteY8038"/>
              </a:cxn>
              <a:cxn ang="0">
                <a:pos x="connsiteX8039" y="connsiteY8039"/>
              </a:cxn>
              <a:cxn ang="0">
                <a:pos x="connsiteX8040" y="connsiteY8040"/>
              </a:cxn>
              <a:cxn ang="0">
                <a:pos x="connsiteX8041" y="connsiteY8041"/>
              </a:cxn>
              <a:cxn ang="0">
                <a:pos x="connsiteX8042" y="connsiteY8042"/>
              </a:cxn>
              <a:cxn ang="0">
                <a:pos x="connsiteX8043" y="connsiteY8043"/>
              </a:cxn>
              <a:cxn ang="0">
                <a:pos x="connsiteX8044" y="connsiteY8044"/>
              </a:cxn>
              <a:cxn ang="0">
                <a:pos x="connsiteX8045" y="connsiteY8045"/>
              </a:cxn>
              <a:cxn ang="0">
                <a:pos x="connsiteX8046" y="connsiteY8046"/>
              </a:cxn>
              <a:cxn ang="0">
                <a:pos x="connsiteX8047" y="connsiteY8047"/>
              </a:cxn>
              <a:cxn ang="0">
                <a:pos x="connsiteX8048" y="connsiteY8048"/>
              </a:cxn>
              <a:cxn ang="0">
                <a:pos x="connsiteX8049" y="connsiteY8049"/>
              </a:cxn>
              <a:cxn ang="0">
                <a:pos x="connsiteX8050" y="connsiteY8050"/>
              </a:cxn>
              <a:cxn ang="0">
                <a:pos x="connsiteX8051" y="connsiteY8051"/>
              </a:cxn>
              <a:cxn ang="0">
                <a:pos x="connsiteX8052" y="connsiteY8052"/>
              </a:cxn>
              <a:cxn ang="0">
                <a:pos x="connsiteX8053" y="connsiteY8053"/>
              </a:cxn>
              <a:cxn ang="0">
                <a:pos x="connsiteX8054" y="connsiteY8054"/>
              </a:cxn>
              <a:cxn ang="0">
                <a:pos x="connsiteX8055" y="connsiteY8055"/>
              </a:cxn>
              <a:cxn ang="0">
                <a:pos x="connsiteX8056" y="connsiteY8056"/>
              </a:cxn>
              <a:cxn ang="0">
                <a:pos x="connsiteX8057" y="connsiteY8057"/>
              </a:cxn>
              <a:cxn ang="0">
                <a:pos x="connsiteX8058" y="connsiteY8058"/>
              </a:cxn>
              <a:cxn ang="0">
                <a:pos x="connsiteX8059" y="connsiteY8059"/>
              </a:cxn>
              <a:cxn ang="0">
                <a:pos x="connsiteX8060" y="connsiteY8060"/>
              </a:cxn>
              <a:cxn ang="0">
                <a:pos x="connsiteX8061" y="connsiteY8061"/>
              </a:cxn>
              <a:cxn ang="0">
                <a:pos x="connsiteX8062" y="connsiteY8062"/>
              </a:cxn>
              <a:cxn ang="0">
                <a:pos x="connsiteX8063" y="connsiteY8063"/>
              </a:cxn>
              <a:cxn ang="0">
                <a:pos x="connsiteX8064" y="connsiteY8064"/>
              </a:cxn>
              <a:cxn ang="0">
                <a:pos x="connsiteX8065" y="connsiteY8065"/>
              </a:cxn>
              <a:cxn ang="0">
                <a:pos x="connsiteX8066" y="connsiteY8066"/>
              </a:cxn>
              <a:cxn ang="0">
                <a:pos x="connsiteX8067" y="connsiteY8067"/>
              </a:cxn>
              <a:cxn ang="0">
                <a:pos x="connsiteX8068" y="connsiteY8068"/>
              </a:cxn>
              <a:cxn ang="0">
                <a:pos x="connsiteX8069" y="connsiteY8069"/>
              </a:cxn>
              <a:cxn ang="0">
                <a:pos x="connsiteX8070" y="connsiteY8070"/>
              </a:cxn>
              <a:cxn ang="0">
                <a:pos x="connsiteX8071" y="connsiteY8071"/>
              </a:cxn>
              <a:cxn ang="0">
                <a:pos x="connsiteX8072" y="connsiteY8072"/>
              </a:cxn>
              <a:cxn ang="0">
                <a:pos x="connsiteX8073" y="connsiteY8073"/>
              </a:cxn>
              <a:cxn ang="0">
                <a:pos x="connsiteX8074" y="connsiteY8074"/>
              </a:cxn>
              <a:cxn ang="0">
                <a:pos x="connsiteX8075" y="connsiteY8075"/>
              </a:cxn>
              <a:cxn ang="0">
                <a:pos x="connsiteX8076" y="connsiteY8076"/>
              </a:cxn>
              <a:cxn ang="0">
                <a:pos x="connsiteX8077" y="connsiteY8077"/>
              </a:cxn>
              <a:cxn ang="0">
                <a:pos x="connsiteX8078" y="connsiteY8078"/>
              </a:cxn>
              <a:cxn ang="0">
                <a:pos x="connsiteX8079" y="connsiteY8079"/>
              </a:cxn>
              <a:cxn ang="0">
                <a:pos x="connsiteX8080" y="connsiteY8080"/>
              </a:cxn>
              <a:cxn ang="0">
                <a:pos x="connsiteX8081" y="connsiteY8081"/>
              </a:cxn>
              <a:cxn ang="0">
                <a:pos x="connsiteX8082" y="connsiteY8082"/>
              </a:cxn>
              <a:cxn ang="0">
                <a:pos x="connsiteX8083" y="connsiteY8083"/>
              </a:cxn>
              <a:cxn ang="0">
                <a:pos x="connsiteX8084" y="connsiteY8084"/>
              </a:cxn>
              <a:cxn ang="0">
                <a:pos x="connsiteX8085" y="connsiteY8085"/>
              </a:cxn>
              <a:cxn ang="0">
                <a:pos x="connsiteX8086" y="connsiteY8086"/>
              </a:cxn>
              <a:cxn ang="0">
                <a:pos x="connsiteX8087" y="connsiteY8087"/>
              </a:cxn>
              <a:cxn ang="0">
                <a:pos x="connsiteX8088" y="connsiteY8088"/>
              </a:cxn>
              <a:cxn ang="0">
                <a:pos x="connsiteX8089" y="connsiteY8089"/>
              </a:cxn>
              <a:cxn ang="0">
                <a:pos x="connsiteX8090" y="connsiteY8090"/>
              </a:cxn>
              <a:cxn ang="0">
                <a:pos x="connsiteX8091" y="connsiteY8091"/>
              </a:cxn>
              <a:cxn ang="0">
                <a:pos x="connsiteX8092" y="connsiteY8092"/>
              </a:cxn>
              <a:cxn ang="0">
                <a:pos x="connsiteX8093" y="connsiteY8093"/>
              </a:cxn>
              <a:cxn ang="0">
                <a:pos x="connsiteX8094" y="connsiteY8094"/>
              </a:cxn>
              <a:cxn ang="0">
                <a:pos x="connsiteX8095" y="connsiteY8095"/>
              </a:cxn>
              <a:cxn ang="0">
                <a:pos x="connsiteX8096" y="connsiteY8096"/>
              </a:cxn>
              <a:cxn ang="0">
                <a:pos x="connsiteX8097" y="connsiteY8097"/>
              </a:cxn>
              <a:cxn ang="0">
                <a:pos x="connsiteX8098" y="connsiteY8098"/>
              </a:cxn>
              <a:cxn ang="0">
                <a:pos x="connsiteX8099" y="connsiteY8099"/>
              </a:cxn>
              <a:cxn ang="0">
                <a:pos x="connsiteX8100" y="connsiteY8100"/>
              </a:cxn>
              <a:cxn ang="0">
                <a:pos x="connsiteX8101" y="connsiteY8101"/>
              </a:cxn>
              <a:cxn ang="0">
                <a:pos x="connsiteX8102" y="connsiteY8102"/>
              </a:cxn>
              <a:cxn ang="0">
                <a:pos x="connsiteX8103" y="connsiteY8103"/>
              </a:cxn>
              <a:cxn ang="0">
                <a:pos x="connsiteX8104" y="connsiteY8104"/>
              </a:cxn>
              <a:cxn ang="0">
                <a:pos x="connsiteX8105" y="connsiteY8105"/>
              </a:cxn>
              <a:cxn ang="0">
                <a:pos x="connsiteX8106" y="connsiteY8106"/>
              </a:cxn>
              <a:cxn ang="0">
                <a:pos x="connsiteX8107" y="connsiteY8107"/>
              </a:cxn>
              <a:cxn ang="0">
                <a:pos x="connsiteX8108" y="connsiteY8108"/>
              </a:cxn>
              <a:cxn ang="0">
                <a:pos x="connsiteX8109" y="connsiteY8109"/>
              </a:cxn>
              <a:cxn ang="0">
                <a:pos x="connsiteX8110" y="connsiteY8110"/>
              </a:cxn>
              <a:cxn ang="0">
                <a:pos x="connsiteX8111" y="connsiteY8111"/>
              </a:cxn>
              <a:cxn ang="0">
                <a:pos x="connsiteX8112" y="connsiteY8112"/>
              </a:cxn>
              <a:cxn ang="0">
                <a:pos x="connsiteX8113" y="connsiteY8113"/>
              </a:cxn>
              <a:cxn ang="0">
                <a:pos x="connsiteX8114" y="connsiteY8114"/>
              </a:cxn>
              <a:cxn ang="0">
                <a:pos x="connsiteX8115" y="connsiteY8115"/>
              </a:cxn>
              <a:cxn ang="0">
                <a:pos x="connsiteX8116" y="connsiteY8116"/>
              </a:cxn>
              <a:cxn ang="0">
                <a:pos x="connsiteX8117" y="connsiteY8117"/>
              </a:cxn>
              <a:cxn ang="0">
                <a:pos x="connsiteX8118" y="connsiteY8118"/>
              </a:cxn>
              <a:cxn ang="0">
                <a:pos x="connsiteX8119" y="connsiteY8119"/>
              </a:cxn>
              <a:cxn ang="0">
                <a:pos x="connsiteX8120" y="connsiteY8120"/>
              </a:cxn>
              <a:cxn ang="0">
                <a:pos x="connsiteX8121" y="connsiteY8121"/>
              </a:cxn>
              <a:cxn ang="0">
                <a:pos x="connsiteX8122" y="connsiteY8122"/>
              </a:cxn>
              <a:cxn ang="0">
                <a:pos x="connsiteX8123" y="connsiteY8123"/>
              </a:cxn>
              <a:cxn ang="0">
                <a:pos x="connsiteX8124" y="connsiteY8124"/>
              </a:cxn>
              <a:cxn ang="0">
                <a:pos x="connsiteX8125" y="connsiteY8125"/>
              </a:cxn>
              <a:cxn ang="0">
                <a:pos x="connsiteX8126" y="connsiteY8126"/>
              </a:cxn>
              <a:cxn ang="0">
                <a:pos x="connsiteX8127" y="connsiteY8127"/>
              </a:cxn>
              <a:cxn ang="0">
                <a:pos x="connsiteX8128" y="connsiteY8128"/>
              </a:cxn>
              <a:cxn ang="0">
                <a:pos x="connsiteX8129" y="connsiteY8129"/>
              </a:cxn>
              <a:cxn ang="0">
                <a:pos x="connsiteX8130" y="connsiteY8130"/>
              </a:cxn>
              <a:cxn ang="0">
                <a:pos x="connsiteX8131" y="connsiteY8131"/>
              </a:cxn>
              <a:cxn ang="0">
                <a:pos x="connsiteX8132" y="connsiteY8132"/>
              </a:cxn>
              <a:cxn ang="0">
                <a:pos x="connsiteX8133" y="connsiteY8133"/>
              </a:cxn>
              <a:cxn ang="0">
                <a:pos x="connsiteX8134" y="connsiteY8134"/>
              </a:cxn>
              <a:cxn ang="0">
                <a:pos x="connsiteX8135" y="connsiteY8135"/>
              </a:cxn>
              <a:cxn ang="0">
                <a:pos x="connsiteX8136" y="connsiteY8136"/>
              </a:cxn>
              <a:cxn ang="0">
                <a:pos x="connsiteX8137" y="connsiteY8137"/>
              </a:cxn>
              <a:cxn ang="0">
                <a:pos x="connsiteX8138" y="connsiteY8138"/>
              </a:cxn>
              <a:cxn ang="0">
                <a:pos x="connsiteX8139" y="connsiteY8139"/>
              </a:cxn>
              <a:cxn ang="0">
                <a:pos x="connsiteX8140" y="connsiteY8140"/>
              </a:cxn>
              <a:cxn ang="0">
                <a:pos x="connsiteX8141" y="connsiteY8141"/>
              </a:cxn>
              <a:cxn ang="0">
                <a:pos x="connsiteX8142" y="connsiteY8142"/>
              </a:cxn>
              <a:cxn ang="0">
                <a:pos x="connsiteX8143" y="connsiteY8143"/>
              </a:cxn>
              <a:cxn ang="0">
                <a:pos x="connsiteX8144" y="connsiteY8144"/>
              </a:cxn>
              <a:cxn ang="0">
                <a:pos x="connsiteX8145" y="connsiteY8145"/>
              </a:cxn>
              <a:cxn ang="0">
                <a:pos x="connsiteX8146" y="connsiteY8146"/>
              </a:cxn>
              <a:cxn ang="0">
                <a:pos x="connsiteX8147" y="connsiteY8147"/>
              </a:cxn>
              <a:cxn ang="0">
                <a:pos x="connsiteX8148" y="connsiteY8148"/>
              </a:cxn>
              <a:cxn ang="0">
                <a:pos x="connsiteX8149" y="connsiteY8149"/>
              </a:cxn>
              <a:cxn ang="0">
                <a:pos x="connsiteX8150" y="connsiteY8150"/>
              </a:cxn>
              <a:cxn ang="0">
                <a:pos x="connsiteX8151" y="connsiteY8151"/>
              </a:cxn>
              <a:cxn ang="0">
                <a:pos x="connsiteX8152" y="connsiteY8152"/>
              </a:cxn>
              <a:cxn ang="0">
                <a:pos x="connsiteX8153" y="connsiteY8153"/>
              </a:cxn>
              <a:cxn ang="0">
                <a:pos x="connsiteX8154" y="connsiteY8154"/>
              </a:cxn>
              <a:cxn ang="0">
                <a:pos x="connsiteX8155" y="connsiteY8155"/>
              </a:cxn>
              <a:cxn ang="0">
                <a:pos x="connsiteX8156" y="connsiteY8156"/>
              </a:cxn>
              <a:cxn ang="0">
                <a:pos x="connsiteX8157" y="connsiteY8157"/>
              </a:cxn>
              <a:cxn ang="0">
                <a:pos x="connsiteX8158" y="connsiteY8158"/>
              </a:cxn>
              <a:cxn ang="0">
                <a:pos x="connsiteX8159" y="connsiteY8159"/>
              </a:cxn>
              <a:cxn ang="0">
                <a:pos x="connsiteX8160" y="connsiteY8160"/>
              </a:cxn>
              <a:cxn ang="0">
                <a:pos x="connsiteX8161" y="connsiteY8161"/>
              </a:cxn>
              <a:cxn ang="0">
                <a:pos x="connsiteX8162" y="connsiteY8162"/>
              </a:cxn>
              <a:cxn ang="0">
                <a:pos x="connsiteX8163" y="connsiteY8163"/>
              </a:cxn>
              <a:cxn ang="0">
                <a:pos x="connsiteX8164" y="connsiteY8164"/>
              </a:cxn>
              <a:cxn ang="0">
                <a:pos x="connsiteX8165" y="connsiteY8165"/>
              </a:cxn>
              <a:cxn ang="0">
                <a:pos x="connsiteX8166" y="connsiteY8166"/>
              </a:cxn>
              <a:cxn ang="0">
                <a:pos x="connsiteX8167" y="connsiteY8167"/>
              </a:cxn>
              <a:cxn ang="0">
                <a:pos x="connsiteX8168" y="connsiteY8168"/>
              </a:cxn>
              <a:cxn ang="0">
                <a:pos x="connsiteX8169" y="connsiteY8169"/>
              </a:cxn>
              <a:cxn ang="0">
                <a:pos x="connsiteX8170" y="connsiteY8170"/>
              </a:cxn>
              <a:cxn ang="0">
                <a:pos x="connsiteX8171" y="connsiteY8171"/>
              </a:cxn>
              <a:cxn ang="0">
                <a:pos x="connsiteX8172" y="connsiteY8172"/>
              </a:cxn>
              <a:cxn ang="0">
                <a:pos x="connsiteX8173" y="connsiteY8173"/>
              </a:cxn>
              <a:cxn ang="0">
                <a:pos x="connsiteX8174" y="connsiteY8174"/>
              </a:cxn>
              <a:cxn ang="0">
                <a:pos x="connsiteX8175" y="connsiteY8175"/>
              </a:cxn>
              <a:cxn ang="0">
                <a:pos x="connsiteX8176" y="connsiteY8176"/>
              </a:cxn>
              <a:cxn ang="0">
                <a:pos x="connsiteX8177" y="connsiteY8177"/>
              </a:cxn>
              <a:cxn ang="0">
                <a:pos x="connsiteX8178" y="connsiteY8178"/>
              </a:cxn>
              <a:cxn ang="0">
                <a:pos x="connsiteX8179" y="connsiteY8179"/>
              </a:cxn>
              <a:cxn ang="0">
                <a:pos x="connsiteX8180" y="connsiteY8180"/>
              </a:cxn>
              <a:cxn ang="0">
                <a:pos x="connsiteX8181" y="connsiteY8181"/>
              </a:cxn>
              <a:cxn ang="0">
                <a:pos x="connsiteX8182" y="connsiteY8182"/>
              </a:cxn>
              <a:cxn ang="0">
                <a:pos x="connsiteX8183" y="connsiteY8183"/>
              </a:cxn>
              <a:cxn ang="0">
                <a:pos x="connsiteX8184" y="connsiteY8184"/>
              </a:cxn>
              <a:cxn ang="0">
                <a:pos x="connsiteX8185" y="connsiteY8185"/>
              </a:cxn>
              <a:cxn ang="0">
                <a:pos x="connsiteX8186" y="connsiteY8186"/>
              </a:cxn>
              <a:cxn ang="0">
                <a:pos x="connsiteX8187" y="connsiteY8187"/>
              </a:cxn>
              <a:cxn ang="0">
                <a:pos x="connsiteX8188" y="connsiteY8188"/>
              </a:cxn>
              <a:cxn ang="0">
                <a:pos x="connsiteX8189" y="connsiteY8189"/>
              </a:cxn>
              <a:cxn ang="0">
                <a:pos x="connsiteX8190" y="connsiteY8190"/>
              </a:cxn>
              <a:cxn ang="0">
                <a:pos x="connsiteX8191" y="connsiteY8191"/>
              </a:cxn>
              <a:cxn ang="0">
                <a:pos x="connsiteX8192" y="connsiteY8192"/>
              </a:cxn>
              <a:cxn ang="0">
                <a:pos x="connsiteX8193" y="connsiteY8193"/>
              </a:cxn>
              <a:cxn ang="0">
                <a:pos x="connsiteX8194" y="connsiteY8194"/>
              </a:cxn>
              <a:cxn ang="0">
                <a:pos x="connsiteX8195" y="connsiteY8195"/>
              </a:cxn>
              <a:cxn ang="0">
                <a:pos x="connsiteX8196" y="connsiteY8196"/>
              </a:cxn>
              <a:cxn ang="0">
                <a:pos x="connsiteX8197" y="connsiteY8197"/>
              </a:cxn>
              <a:cxn ang="0">
                <a:pos x="connsiteX8198" y="connsiteY8198"/>
              </a:cxn>
              <a:cxn ang="0">
                <a:pos x="connsiteX8199" y="connsiteY8199"/>
              </a:cxn>
              <a:cxn ang="0">
                <a:pos x="connsiteX8200" y="connsiteY8200"/>
              </a:cxn>
              <a:cxn ang="0">
                <a:pos x="connsiteX8201" y="connsiteY8201"/>
              </a:cxn>
              <a:cxn ang="0">
                <a:pos x="connsiteX8202" y="connsiteY8202"/>
              </a:cxn>
              <a:cxn ang="0">
                <a:pos x="connsiteX8203" y="connsiteY8203"/>
              </a:cxn>
              <a:cxn ang="0">
                <a:pos x="connsiteX8204" y="connsiteY8204"/>
              </a:cxn>
              <a:cxn ang="0">
                <a:pos x="connsiteX8205" y="connsiteY8205"/>
              </a:cxn>
              <a:cxn ang="0">
                <a:pos x="connsiteX8206" y="connsiteY8206"/>
              </a:cxn>
              <a:cxn ang="0">
                <a:pos x="connsiteX8207" y="connsiteY8207"/>
              </a:cxn>
              <a:cxn ang="0">
                <a:pos x="connsiteX8208" y="connsiteY8208"/>
              </a:cxn>
              <a:cxn ang="0">
                <a:pos x="connsiteX8209" y="connsiteY8209"/>
              </a:cxn>
              <a:cxn ang="0">
                <a:pos x="connsiteX8210" y="connsiteY8210"/>
              </a:cxn>
              <a:cxn ang="0">
                <a:pos x="connsiteX8211" y="connsiteY8211"/>
              </a:cxn>
              <a:cxn ang="0">
                <a:pos x="connsiteX8212" y="connsiteY8212"/>
              </a:cxn>
              <a:cxn ang="0">
                <a:pos x="connsiteX8213" y="connsiteY8213"/>
              </a:cxn>
              <a:cxn ang="0">
                <a:pos x="connsiteX8214" y="connsiteY8214"/>
              </a:cxn>
              <a:cxn ang="0">
                <a:pos x="connsiteX8215" y="connsiteY8215"/>
              </a:cxn>
              <a:cxn ang="0">
                <a:pos x="connsiteX8216" y="connsiteY8216"/>
              </a:cxn>
              <a:cxn ang="0">
                <a:pos x="connsiteX8217" y="connsiteY8217"/>
              </a:cxn>
              <a:cxn ang="0">
                <a:pos x="connsiteX8218" y="connsiteY8218"/>
              </a:cxn>
              <a:cxn ang="0">
                <a:pos x="connsiteX8219" y="connsiteY8219"/>
              </a:cxn>
              <a:cxn ang="0">
                <a:pos x="connsiteX8220" y="connsiteY8220"/>
              </a:cxn>
              <a:cxn ang="0">
                <a:pos x="connsiteX8221" y="connsiteY8221"/>
              </a:cxn>
              <a:cxn ang="0">
                <a:pos x="connsiteX8222" y="connsiteY8222"/>
              </a:cxn>
              <a:cxn ang="0">
                <a:pos x="connsiteX8223" y="connsiteY8223"/>
              </a:cxn>
              <a:cxn ang="0">
                <a:pos x="connsiteX8224" y="connsiteY8224"/>
              </a:cxn>
              <a:cxn ang="0">
                <a:pos x="connsiteX8225" y="connsiteY8225"/>
              </a:cxn>
              <a:cxn ang="0">
                <a:pos x="connsiteX8226" y="connsiteY8226"/>
              </a:cxn>
              <a:cxn ang="0">
                <a:pos x="connsiteX8227" y="connsiteY8227"/>
              </a:cxn>
              <a:cxn ang="0">
                <a:pos x="connsiteX8228" y="connsiteY8228"/>
              </a:cxn>
              <a:cxn ang="0">
                <a:pos x="connsiteX8229" y="connsiteY8229"/>
              </a:cxn>
              <a:cxn ang="0">
                <a:pos x="connsiteX8230" y="connsiteY8230"/>
              </a:cxn>
              <a:cxn ang="0">
                <a:pos x="connsiteX8231" y="connsiteY8231"/>
              </a:cxn>
              <a:cxn ang="0">
                <a:pos x="connsiteX8232" y="connsiteY8232"/>
              </a:cxn>
              <a:cxn ang="0">
                <a:pos x="connsiteX8233" y="connsiteY8233"/>
              </a:cxn>
              <a:cxn ang="0">
                <a:pos x="connsiteX8234" y="connsiteY8234"/>
              </a:cxn>
              <a:cxn ang="0">
                <a:pos x="connsiteX8235" y="connsiteY8235"/>
              </a:cxn>
              <a:cxn ang="0">
                <a:pos x="connsiteX8236" y="connsiteY8236"/>
              </a:cxn>
              <a:cxn ang="0">
                <a:pos x="connsiteX8237" y="connsiteY8237"/>
              </a:cxn>
              <a:cxn ang="0">
                <a:pos x="connsiteX8238" y="connsiteY8238"/>
              </a:cxn>
              <a:cxn ang="0">
                <a:pos x="connsiteX8239" y="connsiteY8239"/>
              </a:cxn>
              <a:cxn ang="0">
                <a:pos x="connsiteX8240" y="connsiteY8240"/>
              </a:cxn>
              <a:cxn ang="0">
                <a:pos x="connsiteX8241" y="connsiteY8241"/>
              </a:cxn>
              <a:cxn ang="0">
                <a:pos x="connsiteX8242" y="connsiteY8242"/>
              </a:cxn>
              <a:cxn ang="0">
                <a:pos x="connsiteX8243" y="connsiteY8243"/>
              </a:cxn>
              <a:cxn ang="0">
                <a:pos x="connsiteX8244" y="connsiteY8244"/>
              </a:cxn>
              <a:cxn ang="0">
                <a:pos x="connsiteX8245" y="connsiteY8245"/>
              </a:cxn>
              <a:cxn ang="0">
                <a:pos x="connsiteX8246" y="connsiteY8246"/>
              </a:cxn>
              <a:cxn ang="0">
                <a:pos x="connsiteX8247" y="connsiteY8247"/>
              </a:cxn>
              <a:cxn ang="0">
                <a:pos x="connsiteX8248" y="connsiteY8248"/>
              </a:cxn>
              <a:cxn ang="0">
                <a:pos x="connsiteX8249" y="connsiteY8249"/>
              </a:cxn>
              <a:cxn ang="0">
                <a:pos x="connsiteX8250" y="connsiteY8250"/>
              </a:cxn>
              <a:cxn ang="0">
                <a:pos x="connsiteX8251" y="connsiteY8251"/>
              </a:cxn>
              <a:cxn ang="0">
                <a:pos x="connsiteX8252" y="connsiteY8252"/>
              </a:cxn>
              <a:cxn ang="0">
                <a:pos x="connsiteX8253" y="connsiteY8253"/>
              </a:cxn>
              <a:cxn ang="0">
                <a:pos x="connsiteX8254" y="connsiteY8254"/>
              </a:cxn>
              <a:cxn ang="0">
                <a:pos x="connsiteX8255" y="connsiteY8255"/>
              </a:cxn>
              <a:cxn ang="0">
                <a:pos x="connsiteX8256" y="connsiteY8256"/>
              </a:cxn>
              <a:cxn ang="0">
                <a:pos x="connsiteX8257" y="connsiteY8257"/>
              </a:cxn>
              <a:cxn ang="0">
                <a:pos x="connsiteX8258" y="connsiteY8258"/>
              </a:cxn>
              <a:cxn ang="0">
                <a:pos x="connsiteX8259" y="connsiteY8259"/>
              </a:cxn>
              <a:cxn ang="0">
                <a:pos x="connsiteX8260" y="connsiteY8260"/>
              </a:cxn>
              <a:cxn ang="0">
                <a:pos x="connsiteX8261" y="connsiteY8261"/>
              </a:cxn>
              <a:cxn ang="0">
                <a:pos x="connsiteX8262" y="connsiteY8262"/>
              </a:cxn>
              <a:cxn ang="0">
                <a:pos x="connsiteX8263" y="connsiteY8263"/>
              </a:cxn>
              <a:cxn ang="0">
                <a:pos x="connsiteX8264" y="connsiteY8264"/>
              </a:cxn>
              <a:cxn ang="0">
                <a:pos x="connsiteX8265" y="connsiteY8265"/>
              </a:cxn>
              <a:cxn ang="0">
                <a:pos x="connsiteX8266" y="connsiteY8266"/>
              </a:cxn>
              <a:cxn ang="0">
                <a:pos x="connsiteX8267" y="connsiteY8267"/>
              </a:cxn>
              <a:cxn ang="0">
                <a:pos x="connsiteX8268" y="connsiteY8268"/>
              </a:cxn>
              <a:cxn ang="0">
                <a:pos x="connsiteX8269" y="connsiteY8269"/>
              </a:cxn>
              <a:cxn ang="0">
                <a:pos x="connsiteX8270" y="connsiteY8270"/>
              </a:cxn>
              <a:cxn ang="0">
                <a:pos x="connsiteX8271" y="connsiteY8271"/>
              </a:cxn>
              <a:cxn ang="0">
                <a:pos x="connsiteX8272" y="connsiteY8272"/>
              </a:cxn>
              <a:cxn ang="0">
                <a:pos x="connsiteX8273" y="connsiteY8273"/>
              </a:cxn>
              <a:cxn ang="0">
                <a:pos x="connsiteX8274" y="connsiteY8274"/>
              </a:cxn>
              <a:cxn ang="0">
                <a:pos x="connsiteX8275" y="connsiteY8275"/>
              </a:cxn>
              <a:cxn ang="0">
                <a:pos x="connsiteX8276" y="connsiteY8276"/>
              </a:cxn>
              <a:cxn ang="0">
                <a:pos x="connsiteX8277" y="connsiteY8277"/>
              </a:cxn>
              <a:cxn ang="0">
                <a:pos x="connsiteX8278" y="connsiteY8278"/>
              </a:cxn>
              <a:cxn ang="0">
                <a:pos x="connsiteX8279" y="connsiteY8279"/>
              </a:cxn>
              <a:cxn ang="0">
                <a:pos x="connsiteX8280" y="connsiteY8280"/>
              </a:cxn>
              <a:cxn ang="0">
                <a:pos x="connsiteX8281" y="connsiteY8281"/>
              </a:cxn>
              <a:cxn ang="0">
                <a:pos x="connsiteX8282" y="connsiteY8282"/>
              </a:cxn>
              <a:cxn ang="0">
                <a:pos x="connsiteX8283" y="connsiteY8283"/>
              </a:cxn>
              <a:cxn ang="0">
                <a:pos x="connsiteX8284" y="connsiteY8284"/>
              </a:cxn>
              <a:cxn ang="0">
                <a:pos x="connsiteX8285" y="connsiteY8285"/>
              </a:cxn>
              <a:cxn ang="0">
                <a:pos x="connsiteX8286" y="connsiteY8286"/>
              </a:cxn>
              <a:cxn ang="0">
                <a:pos x="connsiteX8287" y="connsiteY8287"/>
              </a:cxn>
              <a:cxn ang="0">
                <a:pos x="connsiteX8288" y="connsiteY8288"/>
              </a:cxn>
              <a:cxn ang="0">
                <a:pos x="connsiteX8289" y="connsiteY8289"/>
              </a:cxn>
              <a:cxn ang="0">
                <a:pos x="connsiteX8290" y="connsiteY8290"/>
              </a:cxn>
              <a:cxn ang="0">
                <a:pos x="connsiteX8291" y="connsiteY8291"/>
              </a:cxn>
              <a:cxn ang="0">
                <a:pos x="connsiteX8292" y="connsiteY8292"/>
              </a:cxn>
              <a:cxn ang="0">
                <a:pos x="connsiteX8293" y="connsiteY8293"/>
              </a:cxn>
              <a:cxn ang="0">
                <a:pos x="connsiteX8294" y="connsiteY8294"/>
              </a:cxn>
              <a:cxn ang="0">
                <a:pos x="connsiteX8295" y="connsiteY8295"/>
              </a:cxn>
              <a:cxn ang="0">
                <a:pos x="connsiteX8296" y="connsiteY8296"/>
              </a:cxn>
              <a:cxn ang="0">
                <a:pos x="connsiteX8297" y="connsiteY8297"/>
              </a:cxn>
              <a:cxn ang="0">
                <a:pos x="connsiteX8298" y="connsiteY8298"/>
              </a:cxn>
              <a:cxn ang="0">
                <a:pos x="connsiteX8299" y="connsiteY8299"/>
              </a:cxn>
              <a:cxn ang="0">
                <a:pos x="connsiteX8300" y="connsiteY8300"/>
              </a:cxn>
              <a:cxn ang="0">
                <a:pos x="connsiteX8301" y="connsiteY8301"/>
              </a:cxn>
              <a:cxn ang="0">
                <a:pos x="connsiteX8302" y="connsiteY8302"/>
              </a:cxn>
              <a:cxn ang="0">
                <a:pos x="connsiteX8303" y="connsiteY8303"/>
              </a:cxn>
              <a:cxn ang="0">
                <a:pos x="connsiteX8304" y="connsiteY8304"/>
              </a:cxn>
              <a:cxn ang="0">
                <a:pos x="connsiteX8305" y="connsiteY8305"/>
              </a:cxn>
              <a:cxn ang="0">
                <a:pos x="connsiteX8306" y="connsiteY8306"/>
              </a:cxn>
              <a:cxn ang="0">
                <a:pos x="connsiteX8307" y="connsiteY8307"/>
              </a:cxn>
              <a:cxn ang="0">
                <a:pos x="connsiteX8308" y="connsiteY8308"/>
              </a:cxn>
              <a:cxn ang="0">
                <a:pos x="connsiteX8309" y="connsiteY8309"/>
              </a:cxn>
              <a:cxn ang="0">
                <a:pos x="connsiteX8310" y="connsiteY8310"/>
              </a:cxn>
              <a:cxn ang="0">
                <a:pos x="connsiteX8311" y="connsiteY8311"/>
              </a:cxn>
              <a:cxn ang="0">
                <a:pos x="connsiteX8312" y="connsiteY8312"/>
              </a:cxn>
              <a:cxn ang="0">
                <a:pos x="connsiteX8313" y="connsiteY8313"/>
              </a:cxn>
              <a:cxn ang="0">
                <a:pos x="connsiteX8314" y="connsiteY8314"/>
              </a:cxn>
              <a:cxn ang="0">
                <a:pos x="connsiteX8315" y="connsiteY8315"/>
              </a:cxn>
              <a:cxn ang="0">
                <a:pos x="connsiteX8316" y="connsiteY8316"/>
              </a:cxn>
              <a:cxn ang="0">
                <a:pos x="connsiteX8317" y="connsiteY8317"/>
              </a:cxn>
              <a:cxn ang="0">
                <a:pos x="connsiteX8318" y="connsiteY8318"/>
              </a:cxn>
              <a:cxn ang="0">
                <a:pos x="connsiteX8319" y="connsiteY8319"/>
              </a:cxn>
              <a:cxn ang="0">
                <a:pos x="connsiteX8320" y="connsiteY8320"/>
              </a:cxn>
              <a:cxn ang="0">
                <a:pos x="connsiteX8321" y="connsiteY8321"/>
              </a:cxn>
              <a:cxn ang="0">
                <a:pos x="connsiteX8322" y="connsiteY8322"/>
              </a:cxn>
              <a:cxn ang="0">
                <a:pos x="connsiteX8323" y="connsiteY8323"/>
              </a:cxn>
              <a:cxn ang="0">
                <a:pos x="connsiteX8324" y="connsiteY8324"/>
              </a:cxn>
              <a:cxn ang="0">
                <a:pos x="connsiteX8325" y="connsiteY8325"/>
              </a:cxn>
              <a:cxn ang="0">
                <a:pos x="connsiteX8326" y="connsiteY8326"/>
              </a:cxn>
              <a:cxn ang="0">
                <a:pos x="connsiteX8327" y="connsiteY8327"/>
              </a:cxn>
              <a:cxn ang="0">
                <a:pos x="connsiteX8328" y="connsiteY8328"/>
              </a:cxn>
              <a:cxn ang="0">
                <a:pos x="connsiteX8329" y="connsiteY8329"/>
              </a:cxn>
              <a:cxn ang="0">
                <a:pos x="connsiteX8330" y="connsiteY8330"/>
              </a:cxn>
              <a:cxn ang="0">
                <a:pos x="connsiteX8331" y="connsiteY8331"/>
              </a:cxn>
              <a:cxn ang="0">
                <a:pos x="connsiteX8332" y="connsiteY8332"/>
              </a:cxn>
              <a:cxn ang="0">
                <a:pos x="connsiteX8333" y="connsiteY8333"/>
              </a:cxn>
              <a:cxn ang="0">
                <a:pos x="connsiteX8334" y="connsiteY8334"/>
              </a:cxn>
              <a:cxn ang="0">
                <a:pos x="connsiteX8335" y="connsiteY8335"/>
              </a:cxn>
              <a:cxn ang="0">
                <a:pos x="connsiteX8336" y="connsiteY8336"/>
              </a:cxn>
              <a:cxn ang="0">
                <a:pos x="connsiteX8337" y="connsiteY8337"/>
              </a:cxn>
              <a:cxn ang="0">
                <a:pos x="connsiteX8338" y="connsiteY8338"/>
              </a:cxn>
              <a:cxn ang="0">
                <a:pos x="connsiteX8339" y="connsiteY8339"/>
              </a:cxn>
              <a:cxn ang="0">
                <a:pos x="connsiteX8340" y="connsiteY8340"/>
              </a:cxn>
              <a:cxn ang="0">
                <a:pos x="connsiteX8341" y="connsiteY8341"/>
              </a:cxn>
              <a:cxn ang="0">
                <a:pos x="connsiteX8342" y="connsiteY8342"/>
              </a:cxn>
              <a:cxn ang="0">
                <a:pos x="connsiteX8343" y="connsiteY8343"/>
              </a:cxn>
              <a:cxn ang="0">
                <a:pos x="connsiteX8344" y="connsiteY8344"/>
              </a:cxn>
              <a:cxn ang="0">
                <a:pos x="connsiteX8345" y="connsiteY8345"/>
              </a:cxn>
              <a:cxn ang="0">
                <a:pos x="connsiteX8346" y="connsiteY8346"/>
              </a:cxn>
              <a:cxn ang="0">
                <a:pos x="connsiteX8347" y="connsiteY8347"/>
              </a:cxn>
              <a:cxn ang="0">
                <a:pos x="connsiteX8348" y="connsiteY8348"/>
              </a:cxn>
              <a:cxn ang="0">
                <a:pos x="connsiteX8349" y="connsiteY8349"/>
              </a:cxn>
              <a:cxn ang="0">
                <a:pos x="connsiteX8350" y="connsiteY8350"/>
              </a:cxn>
              <a:cxn ang="0">
                <a:pos x="connsiteX8351" y="connsiteY8351"/>
              </a:cxn>
              <a:cxn ang="0">
                <a:pos x="connsiteX8352" y="connsiteY8352"/>
              </a:cxn>
              <a:cxn ang="0">
                <a:pos x="connsiteX8353" y="connsiteY8353"/>
              </a:cxn>
              <a:cxn ang="0">
                <a:pos x="connsiteX8354" y="connsiteY8354"/>
              </a:cxn>
              <a:cxn ang="0">
                <a:pos x="connsiteX8355" y="connsiteY8355"/>
              </a:cxn>
              <a:cxn ang="0">
                <a:pos x="connsiteX8356" y="connsiteY8356"/>
              </a:cxn>
              <a:cxn ang="0">
                <a:pos x="connsiteX8357" y="connsiteY8357"/>
              </a:cxn>
              <a:cxn ang="0">
                <a:pos x="connsiteX8358" y="connsiteY8358"/>
              </a:cxn>
              <a:cxn ang="0">
                <a:pos x="connsiteX8359" y="connsiteY8359"/>
              </a:cxn>
              <a:cxn ang="0">
                <a:pos x="connsiteX8360" y="connsiteY8360"/>
              </a:cxn>
              <a:cxn ang="0">
                <a:pos x="connsiteX8361" y="connsiteY8361"/>
              </a:cxn>
              <a:cxn ang="0">
                <a:pos x="connsiteX8362" y="connsiteY8362"/>
              </a:cxn>
              <a:cxn ang="0">
                <a:pos x="connsiteX8363" y="connsiteY8363"/>
              </a:cxn>
              <a:cxn ang="0">
                <a:pos x="connsiteX8364" y="connsiteY8364"/>
              </a:cxn>
              <a:cxn ang="0">
                <a:pos x="connsiteX8365" y="connsiteY8365"/>
              </a:cxn>
              <a:cxn ang="0">
                <a:pos x="connsiteX8366" y="connsiteY8366"/>
              </a:cxn>
              <a:cxn ang="0">
                <a:pos x="connsiteX8367" y="connsiteY8367"/>
              </a:cxn>
              <a:cxn ang="0">
                <a:pos x="connsiteX8368" y="connsiteY8368"/>
              </a:cxn>
              <a:cxn ang="0">
                <a:pos x="connsiteX8369" y="connsiteY8369"/>
              </a:cxn>
              <a:cxn ang="0">
                <a:pos x="connsiteX8370" y="connsiteY8370"/>
              </a:cxn>
              <a:cxn ang="0">
                <a:pos x="connsiteX8371" y="connsiteY8371"/>
              </a:cxn>
              <a:cxn ang="0">
                <a:pos x="connsiteX8372" y="connsiteY8372"/>
              </a:cxn>
              <a:cxn ang="0">
                <a:pos x="connsiteX8373" y="connsiteY8373"/>
              </a:cxn>
              <a:cxn ang="0">
                <a:pos x="connsiteX8374" y="connsiteY8374"/>
              </a:cxn>
              <a:cxn ang="0">
                <a:pos x="connsiteX8375" y="connsiteY8375"/>
              </a:cxn>
              <a:cxn ang="0">
                <a:pos x="connsiteX8376" y="connsiteY8376"/>
              </a:cxn>
              <a:cxn ang="0">
                <a:pos x="connsiteX8377" y="connsiteY8377"/>
              </a:cxn>
              <a:cxn ang="0">
                <a:pos x="connsiteX8378" y="connsiteY8378"/>
              </a:cxn>
              <a:cxn ang="0">
                <a:pos x="connsiteX8379" y="connsiteY8379"/>
              </a:cxn>
              <a:cxn ang="0">
                <a:pos x="connsiteX8380" y="connsiteY8380"/>
              </a:cxn>
              <a:cxn ang="0">
                <a:pos x="connsiteX8381" y="connsiteY8381"/>
              </a:cxn>
              <a:cxn ang="0">
                <a:pos x="connsiteX8382" y="connsiteY8382"/>
              </a:cxn>
              <a:cxn ang="0">
                <a:pos x="connsiteX8383" y="connsiteY8383"/>
              </a:cxn>
              <a:cxn ang="0">
                <a:pos x="connsiteX8384" y="connsiteY8384"/>
              </a:cxn>
              <a:cxn ang="0">
                <a:pos x="connsiteX8385" y="connsiteY8385"/>
              </a:cxn>
              <a:cxn ang="0">
                <a:pos x="connsiteX8386" y="connsiteY8386"/>
              </a:cxn>
              <a:cxn ang="0">
                <a:pos x="connsiteX8387" y="connsiteY8387"/>
              </a:cxn>
              <a:cxn ang="0">
                <a:pos x="connsiteX8388" y="connsiteY8388"/>
              </a:cxn>
              <a:cxn ang="0">
                <a:pos x="connsiteX8389" y="connsiteY8389"/>
              </a:cxn>
              <a:cxn ang="0">
                <a:pos x="connsiteX8390" y="connsiteY8390"/>
              </a:cxn>
              <a:cxn ang="0">
                <a:pos x="connsiteX8391" y="connsiteY8391"/>
              </a:cxn>
              <a:cxn ang="0">
                <a:pos x="connsiteX8392" y="connsiteY8392"/>
              </a:cxn>
              <a:cxn ang="0">
                <a:pos x="connsiteX8393" y="connsiteY8393"/>
              </a:cxn>
              <a:cxn ang="0">
                <a:pos x="connsiteX8394" y="connsiteY8394"/>
              </a:cxn>
              <a:cxn ang="0">
                <a:pos x="connsiteX8395" y="connsiteY8395"/>
              </a:cxn>
              <a:cxn ang="0">
                <a:pos x="connsiteX8396" y="connsiteY8396"/>
              </a:cxn>
              <a:cxn ang="0">
                <a:pos x="connsiteX8397" y="connsiteY8397"/>
              </a:cxn>
              <a:cxn ang="0">
                <a:pos x="connsiteX8398" y="connsiteY8398"/>
              </a:cxn>
              <a:cxn ang="0">
                <a:pos x="connsiteX8399" y="connsiteY8399"/>
              </a:cxn>
              <a:cxn ang="0">
                <a:pos x="connsiteX8400" y="connsiteY8400"/>
              </a:cxn>
              <a:cxn ang="0">
                <a:pos x="connsiteX8401" y="connsiteY8401"/>
              </a:cxn>
              <a:cxn ang="0">
                <a:pos x="connsiteX8402" y="connsiteY8402"/>
              </a:cxn>
              <a:cxn ang="0">
                <a:pos x="connsiteX8403" y="connsiteY8403"/>
              </a:cxn>
              <a:cxn ang="0">
                <a:pos x="connsiteX8404" y="connsiteY8404"/>
              </a:cxn>
              <a:cxn ang="0">
                <a:pos x="connsiteX8405" y="connsiteY8405"/>
              </a:cxn>
              <a:cxn ang="0">
                <a:pos x="connsiteX8406" y="connsiteY8406"/>
              </a:cxn>
              <a:cxn ang="0">
                <a:pos x="connsiteX8407" y="connsiteY8407"/>
              </a:cxn>
              <a:cxn ang="0">
                <a:pos x="connsiteX8408" y="connsiteY8408"/>
              </a:cxn>
              <a:cxn ang="0">
                <a:pos x="connsiteX8409" y="connsiteY8409"/>
              </a:cxn>
              <a:cxn ang="0">
                <a:pos x="connsiteX8410" y="connsiteY8410"/>
              </a:cxn>
              <a:cxn ang="0">
                <a:pos x="connsiteX8411" y="connsiteY8411"/>
              </a:cxn>
              <a:cxn ang="0">
                <a:pos x="connsiteX8412" y="connsiteY8412"/>
              </a:cxn>
              <a:cxn ang="0">
                <a:pos x="connsiteX8413" y="connsiteY8413"/>
              </a:cxn>
              <a:cxn ang="0">
                <a:pos x="connsiteX8414" y="connsiteY8414"/>
              </a:cxn>
              <a:cxn ang="0">
                <a:pos x="connsiteX8415" y="connsiteY8415"/>
              </a:cxn>
              <a:cxn ang="0">
                <a:pos x="connsiteX8416" y="connsiteY8416"/>
              </a:cxn>
              <a:cxn ang="0">
                <a:pos x="connsiteX8417" y="connsiteY8417"/>
              </a:cxn>
              <a:cxn ang="0">
                <a:pos x="connsiteX8418" y="connsiteY8418"/>
              </a:cxn>
              <a:cxn ang="0">
                <a:pos x="connsiteX8419" y="connsiteY8419"/>
              </a:cxn>
              <a:cxn ang="0">
                <a:pos x="connsiteX8420" y="connsiteY8420"/>
              </a:cxn>
              <a:cxn ang="0">
                <a:pos x="connsiteX8421" y="connsiteY8421"/>
              </a:cxn>
              <a:cxn ang="0">
                <a:pos x="connsiteX8422" y="connsiteY8422"/>
              </a:cxn>
              <a:cxn ang="0">
                <a:pos x="connsiteX8423" y="connsiteY8423"/>
              </a:cxn>
              <a:cxn ang="0">
                <a:pos x="connsiteX8424" y="connsiteY8424"/>
              </a:cxn>
              <a:cxn ang="0">
                <a:pos x="connsiteX8425" y="connsiteY8425"/>
              </a:cxn>
              <a:cxn ang="0">
                <a:pos x="connsiteX8426" y="connsiteY8426"/>
              </a:cxn>
              <a:cxn ang="0">
                <a:pos x="connsiteX8427" y="connsiteY8427"/>
              </a:cxn>
              <a:cxn ang="0">
                <a:pos x="connsiteX8428" y="connsiteY8428"/>
              </a:cxn>
              <a:cxn ang="0">
                <a:pos x="connsiteX8429" y="connsiteY8429"/>
              </a:cxn>
              <a:cxn ang="0">
                <a:pos x="connsiteX8430" y="connsiteY8430"/>
              </a:cxn>
              <a:cxn ang="0">
                <a:pos x="connsiteX8431" y="connsiteY8431"/>
              </a:cxn>
              <a:cxn ang="0">
                <a:pos x="connsiteX8432" y="connsiteY8432"/>
              </a:cxn>
              <a:cxn ang="0">
                <a:pos x="connsiteX8433" y="connsiteY8433"/>
              </a:cxn>
              <a:cxn ang="0">
                <a:pos x="connsiteX8434" y="connsiteY8434"/>
              </a:cxn>
              <a:cxn ang="0">
                <a:pos x="connsiteX8435" y="connsiteY8435"/>
              </a:cxn>
              <a:cxn ang="0">
                <a:pos x="connsiteX8436" y="connsiteY8436"/>
              </a:cxn>
              <a:cxn ang="0">
                <a:pos x="connsiteX8437" y="connsiteY8437"/>
              </a:cxn>
              <a:cxn ang="0">
                <a:pos x="connsiteX8438" y="connsiteY8438"/>
              </a:cxn>
              <a:cxn ang="0">
                <a:pos x="connsiteX8439" y="connsiteY8439"/>
              </a:cxn>
              <a:cxn ang="0">
                <a:pos x="connsiteX8440" y="connsiteY8440"/>
              </a:cxn>
              <a:cxn ang="0">
                <a:pos x="connsiteX8441" y="connsiteY8441"/>
              </a:cxn>
              <a:cxn ang="0">
                <a:pos x="connsiteX8442" y="connsiteY8442"/>
              </a:cxn>
              <a:cxn ang="0">
                <a:pos x="connsiteX8443" y="connsiteY8443"/>
              </a:cxn>
              <a:cxn ang="0">
                <a:pos x="connsiteX8444" y="connsiteY8444"/>
              </a:cxn>
              <a:cxn ang="0">
                <a:pos x="connsiteX8445" y="connsiteY8445"/>
              </a:cxn>
              <a:cxn ang="0">
                <a:pos x="connsiteX8446" y="connsiteY8446"/>
              </a:cxn>
              <a:cxn ang="0">
                <a:pos x="connsiteX8447" y="connsiteY8447"/>
              </a:cxn>
              <a:cxn ang="0">
                <a:pos x="connsiteX8448" y="connsiteY8448"/>
              </a:cxn>
              <a:cxn ang="0">
                <a:pos x="connsiteX8449" y="connsiteY8449"/>
              </a:cxn>
              <a:cxn ang="0">
                <a:pos x="connsiteX8450" y="connsiteY8450"/>
              </a:cxn>
              <a:cxn ang="0">
                <a:pos x="connsiteX8451" y="connsiteY8451"/>
              </a:cxn>
              <a:cxn ang="0">
                <a:pos x="connsiteX8452" y="connsiteY8452"/>
              </a:cxn>
              <a:cxn ang="0">
                <a:pos x="connsiteX8453" y="connsiteY8453"/>
              </a:cxn>
              <a:cxn ang="0">
                <a:pos x="connsiteX8454" y="connsiteY8454"/>
              </a:cxn>
              <a:cxn ang="0">
                <a:pos x="connsiteX8455" y="connsiteY8455"/>
              </a:cxn>
              <a:cxn ang="0">
                <a:pos x="connsiteX8456" y="connsiteY8456"/>
              </a:cxn>
              <a:cxn ang="0">
                <a:pos x="connsiteX8457" y="connsiteY8457"/>
              </a:cxn>
              <a:cxn ang="0">
                <a:pos x="connsiteX8458" y="connsiteY8458"/>
              </a:cxn>
              <a:cxn ang="0">
                <a:pos x="connsiteX8459" y="connsiteY8459"/>
              </a:cxn>
              <a:cxn ang="0">
                <a:pos x="connsiteX8460" y="connsiteY8460"/>
              </a:cxn>
              <a:cxn ang="0">
                <a:pos x="connsiteX8461" y="connsiteY8461"/>
              </a:cxn>
              <a:cxn ang="0">
                <a:pos x="connsiteX8462" y="connsiteY8462"/>
              </a:cxn>
              <a:cxn ang="0">
                <a:pos x="connsiteX8463" y="connsiteY8463"/>
              </a:cxn>
              <a:cxn ang="0">
                <a:pos x="connsiteX8464" y="connsiteY8464"/>
              </a:cxn>
              <a:cxn ang="0">
                <a:pos x="connsiteX8465" y="connsiteY8465"/>
              </a:cxn>
              <a:cxn ang="0">
                <a:pos x="connsiteX8466" y="connsiteY8466"/>
              </a:cxn>
              <a:cxn ang="0">
                <a:pos x="connsiteX8467" y="connsiteY8467"/>
              </a:cxn>
              <a:cxn ang="0">
                <a:pos x="connsiteX8468" y="connsiteY8468"/>
              </a:cxn>
              <a:cxn ang="0">
                <a:pos x="connsiteX8469" y="connsiteY8469"/>
              </a:cxn>
              <a:cxn ang="0">
                <a:pos x="connsiteX8470" y="connsiteY8470"/>
              </a:cxn>
              <a:cxn ang="0">
                <a:pos x="connsiteX8471" y="connsiteY8471"/>
              </a:cxn>
              <a:cxn ang="0">
                <a:pos x="connsiteX8472" y="connsiteY8472"/>
              </a:cxn>
              <a:cxn ang="0">
                <a:pos x="connsiteX8473" y="connsiteY8473"/>
              </a:cxn>
              <a:cxn ang="0">
                <a:pos x="connsiteX8474" y="connsiteY8474"/>
              </a:cxn>
              <a:cxn ang="0">
                <a:pos x="connsiteX8475" y="connsiteY8475"/>
              </a:cxn>
              <a:cxn ang="0">
                <a:pos x="connsiteX8476" y="connsiteY8476"/>
              </a:cxn>
              <a:cxn ang="0">
                <a:pos x="connsiteX8477" y="connsiteY8477"/>
              </a:cxn>
              <a:cxn ang="0">
                <a:pos x="connsiteX8478" y="connsiteY8478"/>
              </a:cxn>
              <a:cxn ang="0">
                <a:pos x="connsiteX8479" y="connsiteY8479"/>
              </a:cxn>
              <a:cxn ang="0">
                <a:pos x="connsiteX8480" y="connsiteY8480"/>
              </a:cxn>
              <a:cxn ang="0">
                <a:pos x="connsiteX8481" y="connsiteY8481"/>
              </a:cxn>
              <a:cxn ang="0">
                <a:pos x="connsiteX8482" y="connsiteY8482"/>
              </a:cxn>
              <a:cxn ang="0">
                <a:pos x="connsiteX8483" y="connsiteY8483"/>
              </a:cxn>
              <a:cxn ang="0">
                <a:pos x="connsiteX8484" y="connsiteY8484"/>
              </a:cxn>
              <a:cxn ang="0">
                <a:pos x="connsiteX8485" y="connsiteY8485"/>
              </a:cxn>
              <a:cxn ang="0">
                <a:pos x="connsiteX8486" y="connsiteY8486"/>
              </a:cxn>
              <a:cxn ang="0">
                <a:pos x="connsiteX8487" y="connsiteY8487"/>
              </a:cxn>
              <a:cxn ang="0">
                <a:pos x="connsiteX8488" y="connsiteY8488"/>
              </a:cxn>
              <a:cxn ang="0">
                <a:pos x="connsiteX8489" y="connsiteY8489"/>
              </a:cxn>
              <a:cxn ang="0">
                <a:pos x="connsiteX8490" y="connsiteY8490"/>
              </a:cxn>
              <a:cxn ang="0">
                <a:pos x="connsiteX8491" y="connsiteY8491"/>
              </a:cxn>
              <a:cxn ang="0">
                <a:pos x="connsiteX8492" y="connsiteY8492"/>
              </a:cxn>
              <a:cxn ang="0">
                <a:pos x="connsiteX8493" y="connsiteY8493"/>
              </a:cxn>
              <a:cxn ang="0">
                <a:pos x="connsiteX8494" y="connsiteY8494"/>
              </a:cxn>
              <a:cxn ang="0">
                <a:pos x="connsiteX8495" y="connsiteY8495"/>
              </a:cxn>
              <a:cxn ang="0">
                <a:pos x="connsiteX8496" y="connsiteY8496"/>
              </a:cxn>
              <a:cxn ang="0">
                <a:pos x="connsiteX8497" y="connsiteY8497"/>
              </a:cxn>
              <a:cxn ang="0">
                <a:pos x="connsiteX8498" y="connsiteY8498"/>
              </a:cxn>
              <a:cxn ang="0">
                <a:pos x="connsiteX8499" y="connsiteY8499"/>
              </a:cxn>
              <a:cxn ang="0">
                <a:pos x="connsiteX8500" y="connsiteY8500"/>
              </a:cxn>
              <a:cxn ang="0">
                <a:pos x="connsiteX8501" y="connsiteY8501"/>
              </a:cxn>
              <a:cxn ang="0">
                <a:pos x="connsiteX8502" y="connsiteY8502"/>
              </a:cxn>
              <a:cxn ang="0">
                <a:pos x="connsiteX8503" y="connsiteY8503"/>
              </a:cxn>
              <a:cxn ang="0">
                <a:pos x="connsiteX8504" y="connsiteY8504"/>
              </a:cxn>
              <a:cxn ang="0">
                <a:pos x="connsiteX8505" y="connsiteY8505"/>
              </a:cxn>
              <a:cxn ang="0">
                <a:pos x="connsiteX8506" y="connsiteY8506"/>
              </a:cxn>
              <a:cxn ang="0">
                <a:pos x="connsiteX8507" y="connsiteY8507"/>
              </a:cxn>
              <a:cxn ang="0">
                <a:pos x="connsiteX8508" y="connsiteY8508"/>
              </a:cxn>
              <a:cxn ang="0">
                <a:pos x="connsiteX8509" y="connsiteY8509"/>
              </a:cxn>
              <a:cxn ang="0">
                <a:pos x="connsiteX8510" y="connsiteY8510"/>
              </a:cxn>
              <a:cxn ang="0">
                <a:pos x="connsiteX8511" y="connsiteY8511"/>
              </a:cxn>
              <a:cxn ang="0">
                <a:pos x="connsiteX8512" y="connsiteY8512"/>
              </a:cxn>
              <a:cxn ang="0">
                <a:pos x="connsiteX8513" y="connsiteY8513"/>
              </a:cxn>
              <a:cxn ang="0">
                <a:pos x="connsiteX8514" y="connsiteY8514"/>
              </a:cxn>
              <a:cxn ang="0">
                <a:pos x="connsiteX8515" y="connsiteY8515"/>
              </a:cxn>
              <a:cxn ang="0">
                <a:pos x="connsiteX8516" y="connsiteY8516"/>
              </a:cxn>
              <a:cxn ang="0">
                <a:pos x="connsiteX8517" y="connsiteY8517"/>
              </a:cxn>
              <a:cxn ang="0">
                <a:pos x="connsiteX8518" y="connsiteY8518"/>
              </a:cxn>
              <a:cxn ang="0">
                <a:pos x="connsiteX8519" y="connsiteY8519"/>
              </a:cxn>
              <a:cxn ang="0">
                <a:pos x="connsiteX8520" y="connsiteY8520"/>
              </a:cxn>
              <a:cxn ang="0">
                <a:pos x="connsiteX8521" y="connsiteY8521"/>
              </a:cxn>
              <a:cxn ang="0">
                <a:pos x="connsiteX8522" y="connsiteY8522"/>
              </a:cxn>
              <a:cxn ang="0">
                <a:pos x="connsiteX8523" y="connsiteY8523"/>
              </a:cxn>
              <a:cxn ang="0">
                <a:pos x="connsiteX8524" y="connsiteY8524"/>
              </a:cxn>
              <a:cxn ang="0">
                <a:pos x="connsiteX8525" y="connsiteY8525"/>
              </a:cxn>
              <a:cxn ang="0">
                <a:pos x="connsiteX8526" y="connsiteY8526"/>
              </a:cxn>
              <a:cxn ang="0">
                <a:pos x="connsiteX8527" y="connsiteY8527"/>
              </a:cxn>
              <a:cxn ang="0">
                <a:pos x="connsiteX8528" y="connsiteY8528"/>
              </a:cxn>
              <a:cxn ang="0">
                <a:pos x="connsiteX8529" y="connsiteY8529"/>
              </a:cxn>
              <a:cxn ang="0">
                <a:pos x="connsiteX8530" y="connsiteY8530"/>
              </a:cxn>
              <a:cxn ang="0">
                <a:pos x="connsiteX8531" y="connsiteY8531"/>
              </a:cxn>
              <a:cxn ang="0">
                <a:pos x="connsiteX8532" y="connsiteY8532"/>
              </a:cxn>
              <a:cxn ang="0">
                <a:pos x="connsiteX8533" y="connsiteY8533"/>
              </a:cxn>
              <a:cxn ang="0">
                <a:pos x="connsiteX8534" y="connsiteY8534"/>
              </a:cxn>
              <a:cxn ang="0">
                <a:pos x="connsiteX8535" y="connsiteY8535"/>
              </a:cxn>
              <a:cxn ang="0">
                <a:pos x="connsiteX8536" y="connsiteY8536"/>
              </a:cxn>
              <a:cxn ang="0">
                <a:pos x="connsiteX8537" y="connsiteY8537"/>
              </a:cxn>
              <a:cxn ang="0">
                <a:pos x="connsiteX8538" y="connsiteY8538"/>
              </a:cxn>
              <a:cxn ang="0">
                <a:pos x="connsiteX8539" y="connsiteY8539"/>
              </a:cxn>
              <a:cxn ang="0">
                <a:pos x="connsiteX8540" y="connsiteY8540"/>
              </a:cxn>
              <a:cxn ang="0">
                <a:pos x="connsiteX8541" y="connsiteY8541"/>
              </a:cxn>
              <a:cxn ang="0">
                <a:pos x="connsiteX8542" y="connsiteY8542"/>
              </a:cxn>
              <a:cxn ang="0">
                <a:pos x="connsiteX8543" y="connsiteY8543"/>
              </a:cxn>
              <a:cxn ang="0">
                <a:pos x="connsiteX8544" y="connsiteY8544"/>
              </a:cxn>
              <a:cxn ang="0">
                <a:pos x="connsiteX8545" y="connsiteY8545"/>
              </a:cxn>
              <a:cxn ang="0">
                <a:pos x="connsiteX8546" y="connsiteY8546"/>
              </a:cxn>
              <a:cxn ang="0">
                <a:pos x="connsiteX8547" y="connsiteY8547"/>
              </a:cxn>
              <a:cxn ang="0">
                <a:pos x="connsiteX8548" y="connsiteY8548"/>
              </a:cxn>
              <a:cxn ang="0">
                <a:pos x="connsiteX8549" y="connsiteY8549"/>
              </a:cxn>
              <a:cxn ang="0">
                <a:pos x="connsiteX8550" y="connsiteY8550"/>
              </a:cxn>
              <a:cxn ang="0">
                <a:pos x="connsiteX8551" y="connsiteY8551"/>
              </a:cxn>
              <a:cxn ang="0">
                <a:pos x="connsiteX8552" y="connsiteY8552"/>
              </a:cxn>
              <a:cxn ang="0">
                <a:pos x="connsiteX8553" y="connsiteY8553"/>
              </a:cxn>
              <a:cxn ang="0">
                <a:pos x="connsiteX8554" y="connsiteY8554"/>
              </a:cxn>
              <a:cxn ang="0">
                <a:pos x="connsiteX8555" y="connsiteY8555"/>
              </a:cxn>
              <a:cxn ang="0">
                <a:pos x="connsiteX8556" y="connsiteY8556"/>
              </a:cxn>
              <a:cxn ang="0">
                <a:pos x="connsiteX8557" y="connsiteY8557"/>
              </a:cxn>
              <a:cxn ang="0">
                <a:pos x="connsiteX8558" y="connsiteY8558"/>
              </a:cxn>
              <a:cxn ang="0">
                <a:pos x="connsiteX8559" y="connsiteY8559"/>
              </a:cxn>
              <a:cxn ang="0">
                <a:pos x="connsiteX8560" y="connsiteY8560"/>
              </a:cxn>
              <a:cxn ang="0">
                <a:pos x="connsiteX8561" y="connsiteY8561"/>
              </a:cxn>
              <a:cxn ang="0">
                <a:pos x="connsiteX8562" y="connsiteY8562"/>
              </a:cxn>
              <a:cxn ang="0">
                <a:pos x="connsiteX8563" y="connsiteY8563"/>
              </a:cxn>
              <a:cxn ang="0">
                <a:pos x="connsiteX8564" y="connsiteY8564"/>
              </a:cxn>
              <a:cxn ang="0">
                <a:pos x="connsiteX8565" y="connsiteY8565"/>
              </a:cxn>
              <a:cxn ang="0">
                <a:pos x="connsiteX8566" y="connsiteY8566"/>
              </a:cxn>
              <a:cxn ang="0">
                <a:pos x="connsiteX8567" y="connsiteY8567"/>
              </a:cxn>
              <a:cxn ang="0">
                <a:pos x="connsiteX8568" y="connsiteY8568"/>
              </a:cxn>
              <a:cxn ang="0">
                <a:pos x="connsiteX8569" y="connsiteY8569"/>
              </a:cxn>
              <a:cxn ang="0">
                <a:pos x="connsiteX8570" y="connsiteY8570"/>
              </a:cxn>
              <a:cxn ang="0">
                <a:pos x="connsiteX8571" y="connsiteY8571"/>
              </a:cxn>
              <a:cxn ang="0">
                <a:pos x="connsiteX8572" y="connsiteY8572"/>
              </a:cxn>
              <a:cxn ang="0">
                <a:pos x="connsiteX8573" y="connsiteY8573"/>
              </a:cxn>
              <a:cxn ang="0">
                <a:pos x="connsiteX8574" y="connsiteY8574"/>
              </a:cxn>
              <a:cxn ang="0">
                <a:pos x="connsiteX8575" y="connsiteY8575"/>
              </a:cxn>
              <a:cxn ang="0">
                <a:pos x="connsiteX8576" y="connsiteY8576"/>
              </a:cxn>
              <a:cxn ang="0">
                <a:pos x="connsiteX8577" y="connsiteY8577"/>
              </a:cxn>
              <a:cxn ang="0">
                <a:pos x="connsiteX8578" y="connsiteY8578"/>
              </a:cxn>
              <a:cxn ang="0">
                <a:pos x="connsiteX8579" y="connsiteY8579"/>
              </a:cxn>
              <a:cxn ang="0">
                <a:pos x="connsiteX8580" y="connsiteY8580"/>
              </a:cxn>
              <a:cxn ang="0">
                <a:pos x="connsiteX8581" y="connsiteY8581"/>
              </a:cxn>
              <a:cxn ang="0">
                <a:pos x="connsiteX8582" y="connsiteY8582"/>
              </a:cxn>
              <a:cxn ang="0">
                <a:pos x="connsiteX8583" y="connsiteY8583"/>
              </a:cxn>
              <a:cxn ang="0">
                <a:pos x="connsiteX8584" y="connsiteY8584"/>
              </a:cxn>
              <a:cxn ang="0">
                <a:pos x="connsiteX8585" y="connsiteY8585"/>
              </a:cxn>
              <a:cxn ang="0">
                <a:pos x="connsiteX8586" y="connsiteY8586"/>
              </a:cxn>
              <a:cxn ang="0">
                <a:pos x="connsiteX8587" y="connsiteY8587"/>
              </a:cxn>
              <a:cxn ang="0">
                <a:pos x="connsiteX8588" y="connsiteY8588"/>
              </a:cxn>
              <a:cxn ang="0">
                <a:pos x="connsiteX8589" y="connsiteY8589"/>
              </a:cxn>
              <a:cxn ang="0">
                <a:pos x="connsiteX8590" y="connsiteY8590"/>
              </a:cxn>
              <a:cxn ang="0">
                <a:pos x="connsiteX8591" y="connsiteY8591"/>
              </a:cxn>
              <a:cxn ang="0">
                <a:pos x="connsiteX8592" y="connsiteY8592"/>
              </a:cxn>
              <a:cxn ang="0">
                <a:pos x="connsiteX8593" y="connsiteY8593"/>
              </a:cxn>
              <a:cxn ang="0">
                <a:pos x="connsiteX8594" y="connsiteY8594"/>
              </a:cxn>
              <a:cxn ang="0">
                <a:pos x="connsiteX8595" y="connsiteY8595"/>
              </a:cxn>
              <a:cxn ang="0">
                <a:pos x="connsiteX8596" y="connsiteY8596"/>
              </a:cxn>
              <a:cxn ang="0">
                <a:pos x="connsiteX8597" y="connsiteY8597"/>
              </a:cxn>
              <a:cxn ang="0">
                <a:pos x="connsiteX8598" y="connsiteY8598"/>
              </a:cxn>
              <a:cxn ang="0">
                <a:pos x="connsiteX8599" y="connsiteY8599"/>
              </a:cxn>
              <a:cxn ang="0">
                <a:pos x="connsiteX8600" y="connsiteY8600"/>
              </a:cxn>
              <a:cxn ang="0">
                <a:pos x="connsiteX8601" y="connsiteY8601"/>
              </a:cxn>
              <a:cxn ang="0">
                <a:pos x="connsiteX8602" y="connsiteY8602"/>
              </a:cxn>
              <a:cxn ang="0">
                <a:pos x="connsiteX8603" y="connsiteY8603"/>
              </a:cxn>
              <a:cxn ang="0">
                <a:pos x="connsiteX8604" y="connsiteY8604"/>
              </a:cxn>
              <a:cxn ang="0">
                <a:pos x="connsiteX8605" y="connsiteY8605"/>
              </a:cxn>
              <a:cxn ang="0">
                <a:pos x="connsiteX8606" y="connsiteY8606"/>
              </a:cxn>
              <a:cxn ang="0">
                <a:pos x="connsiteX8607" y="connsiteY8607"/>
              </a:cxn>
              <a:cxn ang="0">
                <a:pos x="connsiteX8608" y="connsiteY8608"/>
              </a:cxn>
              <a:cxn ang="0">
                <a:pos x="connsiteX8609" y="connsiteY8609"/>
              </a:cxn>
              <a:cxn ang="0">
                <a:pos x="connsiteX8610" y="connsiteY8610"/>
              </a:cxn>
              <a:cxn ang="0">
                <a:pos x="connsiteX8611" y="connsiteY8611"/>
              </a:cxn>
              <a:cxn ang="0">
                <a:pos x="connsiteX8612" y="connsiteY8612"/>
              </a:cxn>
              <a:cxn ang="0">
                <a:pos x="connsiteX8613" y="connsiteY8613"/>
              </a:cxn>
              <a:cxn ang="0">
                <a:pos x="connsiteX8614" y="connsiteY8614"/>
              </a:cxn>
              <a:cxn ang="0">
                <a:pos x="connsiteX8615" y="connsiteY8615"/>
              </a:cxn>
              <a:cxn ang="0">
                <a:pos x="connsiteX8616" y="connsiteY8616"/>
              </a:cxn>
              <a:cxn ang="0">
                <a:pos x="connsiteX8617" y="connsiteY8617"/>
              </a:cxn>
              <a:cxn ang="0">
                <a:pos x="connsiteX8618" y="connsiteY8618"/>
              </a:cxn>
              <a:cxn ang="0">
                <a:pos x="connsiteX8619" y="connsiteY8619"/>
              </a:cxn>
              <a:cxn ang="0">
                <a:pos x="connsiteX8620" y="connsiteY8620"/>
              </a:cxn>
              <a:cxn ang="0">
                <a:pos x="connsiteX8621" y="connsiteY8621"/>
              </a:cxn>
              <a:cxn ang="0">
                <a:pos x="connsiteX8622" y="connsiteY8622"/>
              </a:cxn>
              <a:cxn ang="0">
                <a:pos x="connsiteX8623" y="connsiteY8623"/>
              </a:cxn>
              <a:cxn ang="0">
                <a:pos x="connsiteX8624" y="connsiteY8624"/>
              </a:cxn>
              <a:cxn ang="0">
                <a:pos x="connsiteX8625" y="connsiteY8625"/>
              </a:cxn>
              <a:cxn ang="0">
                <a:pos x="connsiteX8626" y="connsiteY8626"/>
              </a:cxn>
              <a:cxn ang="0">
                <a:pos x="connsiteX8627" y="connsiteY8627"/>
              </a:cxn>
              <a:cxn ang="0">
                <a:pos x="connsiteX8628" y="connsiteY8628"/>
              </a:cxn>
              <a:cxn ang="0">
                <a:pos x="connsiteX8629" y="connsiteY8629"/>
              </a:cxn>
              <a:cxn ang="0">
                <a:pos x="connsiteX8630" y="connsiteY8630"/>
              </a:cxn>
              <a:cxn ang="0">
                <a:pos x="connsiteX8631" y="connsiteY8631"/>
              </a:cxn>
              <a:cxn ang="0">
                <a:pos x="connsiteX8632" y="connsiteY8632"/>
              </a:cxn>
              <a:cxn ang="0">
                <a:pos x="connsiteX8633" y="connsiteY8633"/>
              </a:cxn>
              <a:cxn ang="0">
                <a:pos x="connsiteX8634" y="connsiteY8634"/>
              </a:cxn>
              <a:cxn ang="0">
                <a:pos x="connsiteX8635" y="connsiteY8635"/>
              </a:cxn>
              <a:cxn ang="0">
                <a:pos x="connsiteX8636" y="connsiteY8636"/>
              </a:cxn>
              <a:cxn ang="0">
                <a:pos x="connsiteX8637" y="connsiteY8637"/>
              </a:cxn>
              <a:cxn ang="0">
                <a:pos x="connsiteX8638" y="connsiteY8638"/>
              </a:cxn>
              <a:cxn ang="0">
                <a:pos x="connsiteX8639" y="connsiteY8639"/>
              </a:cxn>
              <a:cxn ang="0">
                <a:pos x="connsiteX8640" y="connsiteY8640"/>
              </a:cxn>
              <a:cxn ang="0">
                <a:pos x="connsiteX8641" y="connsiteY8641"/>
              </a:cxn>
              <a:cxn ang="0">
                <a:pos x="connsiteX8642" y="connsiteY8642"/>
              </a:cxn>
              <a:cxn ang="0">
                <a:pos x="connsiteX8643" y="connsiteY8643"/>
              </a:cxn>
              <a:cxn ang="0">
                <a:pos x="connsiteX8644" y="connsiteY8644"/>
              </a:cxn>
              <a:cxn ang="0">
                <a:pos x="connsiteX8645" y="connsiteY8645"/>
              </a:cxn>
              <a:cxn ang="0">
                <a:pos x="connsiteX8646" y="connsiteY8646"/>
              </a:cxn>
              <a:cxn ang="0">
                <a:pos x="connsiteX8647" y="connsiteY8647"/>
              </a:cxn>
              <a:cxn ang="0">
                <a:pos x="connsiteX8648" y="connsiteY8648"/>
              </a:cxn>
              <a:cxn ang="0">
                <a:pos x="connsiteX8649" y="connsiteY8649"/>
              </a:cxn>
              <a:cxn ang="0">
                <a:pos x="connsiteX8650" y="connsiteY8650"/>
              </a:cxn>
              <a:cxn ang="0">
                <a:pos x="connsiteX8651" y="connsiteY8651"/>
              </a:cxn>
              <a:cxn ang="0">
                <a:pos x="connsiteX8652" y="connsiteY8652"/>
              </a:cxn>
              <a:cxn ang="0">
                <a:pos x="connsiteX8653" y="connsiteY8653"/>
              </a:cxn>
              <a:cxn ang="0">
                <a:pos x="connsiteX8654" y="connsiteY8654"/>
              </a:cxn>
              <a:cxn ang="0">
                <a:pos x="connsiteX8655" y="connsiteY8655"/>
              </a:cxn>
              <a:cxn ang="0">
                <a:pos x="connsiteX8656" y="connsiteY8656"/>
              </a:cxn>
              <a:cxn ang="0">
                <a:pos x="connsiteX8657" y="connsiteY8657"/>
              </a:cxn>
              <a:cxn ang="0">
                <a:pos x="connsiteX8658" y="connsiteY8658"/>
              </a:cxn>
              <a:cxn ang="0">
                <a:pos x="connsiteX8659" y="connsiteY8659"/>
              </a:cxn>
              <a:cxn ang="0">
                <a:pos x="connsiteX8660" y="connsiteY8660"/>
              </a:cxn>
              <a:cxn ang="0">
                <a:pos x="connsiteX8661" y="connsiteY8661"/>
              </a:cxn>
              <a:cxn ang="0">
                <a:pos x="connsiteX8662" y="connsiteY8662"/>
              </a:cxn>
              <a:cxn ang="0">
                <a:pos x="connsiteX8663" y="connsiteY8663"/>
              </a:cxn>
              <a:cxn ang="0">
                <a:pos x="connsiteX8664" y="connsiteY8664"/>
              </a:cxn>
              <a:cxn ang="0">
                <a:pos x="connsiteX8665" y="connsiteY8665"/>
              </a:cxn>
              <a:cxn ang="0">
                <a:pos x="connsiteX8666" y="connsiteY8666"/>
              </a:cxn>
              <a:cxn ang="0">
                <a:pos x="connsiteX8667" y="connsiteY8667"/>
              </a:cxn>
              <a:cxn ang="0">
                <a:pos x="connsiteX8668" y="connsiteY8668"/>
              </a:cxn>
              <a:cxn ang="0">
                <a:pos x="connsiteX8669" y="connsiteY8669"/>
              </a:cxn>
              <a:cxn ang="0">
                <a:pos x="connsiteX8670" y="connsiteY8670"/>
              </a:cxn>
              <a:cxn ang="0">
                <a:pos x="connsiteX8671" y="connsiteY8671"/>
              </a:cxn>
              <a:cxn ang="0">
                <a:pos x="connsiteX8672" y="connsiteY8672"/>
              </a:cxn>
              <a:cxn ang="0">
                <a:pos x="connsiteX8673" y="connsiteY8673"/>
              </a:cxn>
              <a:cxn ang="0">
                <a:pos x="connsiteX8674" y="connsiteY8674"/>
              </a:cxn>
              <a:cxn ang="0">
                <a:pos x="connsiteX8675" y="connsiteY8675"/>
              </a:cxn>
              <a:cxn ang="0">
                <a:pos x="connsiteX8676" y="connsiteY8676"/>
              </a:cxn>
              <a:cxn ang="0">
                <a:pos x="connsiteX8677" y="connsiteY8677"/>
              </a:cxn>
              <a:cxn ang="0">
                <a:pos x="connsiteX8678" y="connsiteY8678"/>
              </a:cxn>
              <a:cxn ang="0">
                <a:pos x="connsiteX8679" y="connsiteY8679"/>
              </a:cxn>
              <a:cxn ang="0">
                <a:pos x="connsiteX8680" y="connsiteY8680"/>
              </a:cxn>
              <a:cxn ang="0">
                <a:pos x="connsiteX8681" y="connsiteY8681"/>
              </a:cxn>
              <a:cxn ang="0">
                <a:pos x="connsiteX8682" y="connsiteY8682"/>
              </a:cxn>
              <a:cxn ang="0">
                <a:pos x="connsiteX8683" y="connsiteY8683"/>
              </a:cxn>
              <a:cxn ang="0">
                <a:pos x="connsiteX8684" y="connsiteY8684"/>
              </a:cxn>
              <a:cxn ang="0">
                <a:pos x="connsiteX8685" y="connsiteY8685"/>
              </a:cxn>
              <a:cxn ang="0">
                <a:pos x="connsiteX8686" y="connsiteY8686"/>
              </a:cxn>
              <a:cxn ang="0">
                <a:pos x="connsiteX8687" y="connsiteY8687"/>
              </a:cxn>
              <a:cxn ang="0">
                <a:pos x="connsiteX8688" y="connsiteY8688"/>
              </a:cxn>
              <a:cxn ang="0">
                <a:pos x="connsiteX8689" y="connsiteY8689"/>
              </a:cxn>
              <a:cxn ang="0">
                <a:pos x="connsiteX8690" y="connsiteY8690"/>
              </a:cxn>
              <a:cxn ang="0">
                <a:pos x="connsiteX8691" y="connsiteY8691"/>
              </a:cxn>
              <a:cxn ang="0">
                <a:pos x="connsiteX8692" y="connsiteY8692"/>
              </a:cxn>
              <a:cxn ang="0">
                <a:pos x="connsiteX8693" y="connsiteY8693"/>
              </a:cxn>
              <a:cxn ang="0">
                <a:pos x="connsiteX8694" y="connsiteY8694"/>
              </a:cxn>
              <a:cxn ang="0">
                <a:pos x="connsiteX8695" y="connsiteY8695"/>
              </a:cxn>
              <a:cxn ang="0">
                <a:pos x="connsiteX8696" y="connsiteY8696"/>
              </a:cxn>
              <a:cxn ang="0">
                <a:pos x="connsiteX8697" y="connsiteY8697"/>
              </a:cxn>
              <a:cxn ang="0">
                <a:pos x="connsiteX8698" y="connsiteY8698"/>
              </a:cxn>
              <a:cxn ang="0">
                <a:pos x="connsiteX8699" y="connsiteY8699"/>
              </a:cxn>
              <a:cxn ang="0">
                <a:pos x="connsiteX8700" y="connsiteY8700"/>
              </a:cxn>
              <a:cxn ang="0">
                <a:pos x="connsiteX8701" y="connsiteY8701"/>
              </a:cxn>
              <a:cxn ang="0">
                <a:pos x="connsiteX8702" y="connsiteY8702"/>
              </a:cxn>
              <a:cxn ang="0">
                <a:pos x="connsiteX8703" y="connsiteY8703"/>
              </a:cxn>
              <a:cxn ang="0">
                <a:pos x="connsiteX8704" y="connsiteY8704"/>
              </a:cxn>
              <a:cxn ang="0">
                <a:pos x="connsiteX8705" y="connsiteY8705"/>
              </a:cxn>
              <a:cxn ang="0">
                <a:pos x="connsiteX8706" y="connsiteY8706"/>
              </a:cxn>
              <a:cxn ang="0">
                <a:pos x="connsiteX8707" y="connsiteY8707"/>
              </a:cxn>
              <a:cxn ang="0">
                <a:pos x="connsiteX8708" y="connsiteY8708"/>
              </a:cxn>
              <a:cxn ang="0">
                <a:pos x="connsiteX8709" y="connsiteY8709"/>
              </a:cxn>
              <a:cxn ang="0">
                <a:pos x="connsiteX8710" y="connsiteY8710"/>
              </a:cxn>
              <a:cxn ang="0">
                <a:pos x="connsiteX8711" y="connsiteY8711"/>
              </a:cxn>
              <a:cxn ang="0">
                <a:pos x="connsiteX8712" y="connsiteY8712"/>
              </a:cxn>
              <a:cxn ang="0">
                <a:pos x="connsiteX8713" y="connsiteY8713"/>
              </a:cxn>
              <a:cxn ang="0">
                <a:pos x="connsiteX8714" y="connsiteY8714"/>
              </a:cxn>
              <a:cxn ang="0">
                <a:pos x="connsiteX8715" y="connsiteY8715"/>
              </a:cxn>
              <a:cxn ang="0">
                <a:pos x="connsiteX8716" y="connsiteY8716"/>
              </a:cxn>
              <a:cxn ang="0">
                <a:pos x="connsiteX8717" y="connsiteY8717"/>
              </a:cxn>
              <a:cxn ang="0">
                <a:pos x="connsiteX8718" y="connsiteY8718"/>
              </a:cxn>
              <a:cxn ang="0">
                <a:pos x="connsiteX8719" y="connsiteY8719"/>
              </a:cxn>
              <a:cxn ang="0">
                <a:pos x="connsiteX8720" y="connsiteY8720"/>
              </a:cxn>
              <a:cxn ang="0">
                <a:pos x="connsiteX8721" y="connsiteY8721"/>
              </a:cxn>
              <a:cxn ang="0">
                <a:pos x="connsiteX8722" y="connsiteY8722"/>
              </a:cxn>
              <a:cxn ang="0">
                <a:pos x="connsiteX8723" y="connsiteY8723"/>
              </a:cxn>
              <a:cxn ang="0">
                <a:pos x="connsiteX8724" y="connsiteY8724"/>
              </a:cxn>
              <a:cxn ang="0">
                <a:pos x="connsiteX8725" y="connsiteY8725"/>
              </a:cxn>
              <a:cxn ang="0">
                <a:pos x="connsiteX8726" y="connsiteY8726"/>
              </a:cxn>
              <a:cxn ang="0">
                <a:pos x="connsiteX8727" y="connsiteY8727"/>
              </a:cxn>
              <a:cxn ang="0">
                <a:pos x="connsiteX8728" y="connsiteY8728"/>
              </a:cxn>
              <a:cxn ang="0">
                <a:pos x="connsiteX8729" y="connsiteY8729"/>
              </a:cxn>
              <a:cxn ang="0">
                <a:pos x="connsiteX8730" y="connsiteY8730"/>
              </a:cxn>
              <a:cxn ang="0">
                <a:pos x="connsiteX8731" y="connsiteY8731"/>
              </a:cxn>
              <a:cxn ang="0">
                <a:pos x="connsiteX8732" y="connsiteY8732"/>
              </a:cxn>
              <a:cxn ang="0">
                <a:pos x="connsiteX8733" y="connsiteY8733"/>
              </a:cxn>
              <a:cxn ang="0">
                <a:pos x="connsiteX8734" y="connsiteY8734"/>
              </a:cxn>
              <a:cxn ang="0">
                <a:pos x="connsiteX8735" y="connsiteY8735"/>
              </a:cxn>
              <a:cxn ang="0">
                <a:pos x="connsiteX8736" y="connsiteY8736"/>
              </a:cxn>
              <a:cxn ang="0">
                <a:pos x="connsiteX8737" y="connsiteY8737"/>
              </a:cxn>
              <a:cxn ang="0">
                <a:pos x="connsiteX8738" y="connsiteY8738"/>
              </a:cxn>
              <a:cxn ang="0">
                <a:pos x="connsiteX8739" y="connsiteY8739"/>
              </a:cxn>
              <a:cxn ang="0">
                <a:pos x="connsiteX8740" y="connsiteY8740"/>
              </a:cxn>
              <a:cxn ang="0">
                <a:pos x="connsiteX8741" y="connsiteY8741"/>
              </a:cxn>
              <a:cxn ang="0">
                <a:pos x="connsiteX8742" y="connsiteY8742"/>
              </a:cxn>
              <a:cxn ang="0">
                <a:pos x="connsiteX8743" y="connsiteY8743"/>
              </a:cxn>
              <a:cxn ang="0">
                <a:pos x="connsiteX8744" y="connsiteY8744"/>
              </a:cxn>
              <a:cxn ang="0">
                <a:pos x="connsiteX8745" y="connsiteY8745"/>
              </a:cxn>
              <a:cxn ang="0">
                <a:pos x="connsiteX8746" y="connsiteY8746"/>
              </a:cxn>
              <a:cxn ang="0">
                <a:pos x="connsiteX8747" y="connsiteY8747"/>
              </a:cxn>
              <a:cxn ang="0">
                <a:pos x="connsiteX8748" y="connsiteY8748"/>
              </a:cxn>
              <a:cxn ang="0">
                <a:pos x="connsiteX8749" y="connsiteY8749"/>
              </a:cxn>
              <a:cxn ang="0">
                <a:pos x="connsiteX8750" y="connsiteY8750"/>
              </a:cxn>
              <a:cxn ang="0">
                <a:pos x="connsiteX8751" y="connsiteY8751"/>
              </a:cxn>
              <a:cxn ang="0">
                <a:pos x="connsiteX8752" y="connsiteY8752"/>
              </a:cxn>
              <a:cxn ang="0">
                <a:pos x="connsiteX8753" y="connsiteY8753"/>
              </a:cxn>
              <a:cxn ang="0">
                <a:pos x="connsiteX8754" y="connsiteY8754"/>
              </a:cxn>
              <a:cxn ang="0">
                <a:pos x="connsiteX8755" y="connsiteY8755"/>
              </a:cxn>
              <a:cxn ang="0">
                <a:pos x="connsiteX8756" y="connsiteY8756"/>
              </a:cxn>
              <a:cxn ang="0">
                <a:pos x="connsiteX8757" y="connsiteY8757"/>
              </a:cxn>
              <a:cxn ang="0">
                <a:pos x="connsiteX8758" y="connsiteY8758"/>
              </a:cxn>
              <a:cxn ang="0">
                <a:pos x="connsiteX8759" y="connsiteY8759"/>
              </a:cxn>
              <a:cxn ang="0">
                <a:pos x="connsiteX8760" y="connsiteY8760"/>
              </a:cxn>
              <a:cxn ang="0">
                <a:pos x="connsiteX8761" y="connsiteY8761"/>
              </a:cxn>
              <a:cxn ang="0">
                <a:pos x="connsiteX8762" y="connsiteY8762"/>
              </a:cxn>
              <a:cxn ang="0">
                <a:pos x="connsiteX8763" y="connsiteY8763"/>
              </a:cxn>
              <a:cxn ang="0">
                <a:pos x="connsiteX8764" y="connsiteY8764"/>
              </a:cxn>
              <a:cxn ang="0">
                <a:pos x="connsiteX8765" y="connsiteY8765"/>
              </a:cxn>
              <a:cxn ang="0">
                <a:pos x="connsiteX8766" y="connsiteY8766"/>
              </a:cxn>
              <a:cxn ang="0">
                <a:pos x="connsiteX8767" y="connsiteY8767"/>
              </a:cxn>
              <a:cxn ang="0">
                <a:pos x="connsiteX8768" y="connsiteY8768"/>
              </a:cxn>
              <a:cxn ang="0">
                <a:pos x="connsiteX8769" y="connsiteY8769"/>
              </a:cxn>
              <a:cxn ang="0">
                <a:pos x="connsiteX8770" y="connsiteY8770"/>
              </a:cxn>
              <a:cxn ang="0">
                <a:pos x="connsiteX8771" y="connsiteY8771"/>
              </a:cxn>
              <a:cxn ang="0">
                <a:pos x="connsiteX8772" y="connsiteY8772"/>
              </a:cxn>
              <a:cxn ang="0">
                <a:pos x="connsiteX8773" y="connsiteY8773"/>
              </a:cxn>
              <a:cxn ang="0">
                <a:pos x="connsiteX8774" y="connsiteY8774"/>
              </a:cxn>
              <a:cxn ang="0">
                <a:pos x="connsiteX8775" y="connsiteY8775"/>
              </a:cxn>
              <a:cxn ang="0">
                <a:pos x="connsiteX8776" y="connsiteY8776"/>
              </a:cxn>
              <a:cxn ang="0">
                <a:pos x="connsiteX8777" y="connsiteY8777"/>
              </a:cxn>
              <a:cxn ang="0">
                <a:pos x="connsiteX8778" y="connsiteY8778"/>
              </a:cxn>
              <a:cxn ang="0">
                <a:pos x="connsiteX8779" y="connsiteY8779"/>
              </a:cxn>
              <a:cxn ang="0">
                <a:pos x="connsiteX8780" y="connsiteY8780"/>
              </a:cxn>
              <a:cxn ang="0">
                <a:pos x="connsiteX8781" y="connsiteY8781"/>
              </a:cxn>
              <a:cxn ang="0">
                <a:pos x="connsiteX8782" y="connsiteY8782"/>
              </a:cxn>
              <a:cxn ang="0">
                <a:pos x="connsiteX8783" y="connsiteY8783"/>
              </a:cxn>
              <a:cxn ang="0">
                <a:pos x="connsiteX8784" y="connsiteY8784"/>
              </a:cxn>
              <a:cxn ang="0">
                <a:pos x="connsiteX8785" y="connsiteY8785"/>
              </a:cxn>
              <a:cxn ang="0">
                <a:pos x="connsiteX8786" y="connsiteY8786"/>
              </a:cxn>
              <a:cxn ang="0">
                <a:pos x="connsiteX8787" y="connsiteY8787"/>
              </a:cxn>
              <a:cxn ang="0">
                <a:pos x="connsiteX8788" y="connsiteY8788"/>
              </a:cxn>
              <a:cxn ang="0">
                <a:pos x="connsiteX8789" y="connsiteY8789"/>
              </a:cxn>
              <a:cxn ang="0">
                <a:pos x="connsiteX8790" y="connsiteY8790"/>
              </a:cxn>
              <a:cxn ang="0">
                <a:pos x="connsiteX8791" y="connsiteY8791"/>
              </a:cxn>
              <a:cxn ang="0">
                <a:pos x="connsiteX8792" y="connsiteY8792"/>
              </a:cxn>
              <a:cxn ang="0">
                <a:pos x="connsiteX8793" y="connsiteY8793"/>
              </a:cxn>
              <a:cxn ang="0">
                <a:pos x="connsiteX8794" y="connsiteY8794"/>
              </a:cxn>
              <a:cxn ang="0">
                <a:pos x="connsiteX8795" y="connsiteY8795"/>
              </a:cxn>
              <a:cxn ang="0">
                <a:pos x="connsiteX8796" y="connsiteY8796"/>
              </a:cxn>
              <a:cxn ang="0">
                <a:pos x="connsiteX8797" y="connsiteY8797"/>
              </a:cxn>
              <a:cxn ang="0">
                <a:pos x="connsiteX8798" y="connsiteY8798"/>
              </a:cxn>
              <a:cxn ang="0">
                <a:pos x="connsiteX8799" y="connsiteY8799"/>
              </a:cxn>
              <a:cxn ang="0">
                <a:pos x="connsiteX8800" y="connsiteY8800"/>
              </a:cxn>
              <a:cxn ang="0">
                <a:pos x="connsiteX8801" y="connsiteY8801"/>
              </a:cxn>
              <a:cxn ang="0">
                <a:pos x="connsiteX8802" y="connsiteY8802"/>
              </a:cxn>
              <a:cxn ang="0">
                <a:pos x="connsiteX8803" y="connsiteY8803"/>
              </a:cxn>
              <a:cxn ang="0">
                <a:pos x="connsiteX8804" y="connsiteY8804"/>
              </a:cxn>
              <a:cxn ang="0">
                <a:pos x="connsiteX8805" y="connsiteY8805"/>
              </a:cxn>
              <a:cxn ang="0">
                <a:pos x="connsiteX8806" y="connsiteY8806"/>
              </a:cxn>
              <a:cxn ang="0">
                <a:pos x="connsiteX8807" y="connsiteY8807"/>
              </a:cxn>
              <a:cxn ang="0">
                <a:pos x="connsiteX8808" y="connsiteY8808"/>
              </a:cxn>
              <a:cxn ang="0">
                <a:pos x="connsiteX8809" y="connsiteY8809"/>
              </a:cxn>
              <a:cxn ang="0">
                <a:pos x="connsiteX8810" y="connsiteY8810"/>
              </a:cxn>
              <a:cxn ang="0">
                <a:pos x="connsiteX8811" y="connsiteY8811"/>
              </a:cxn>
              <a:cxn ang="0">
                <a:pos x="connsiteX8812" y="connsiteY8812"/>
              </a:cxn>
              <a:cxn ang="0">
                <a:pos x="connsiteX8813" y="connsiteY8813"/>
              </a:cxn>
              <a:cxn ang="0">
                <a:pos x="connsiteX8814" y="connsiteY8814"/>
              </a:cxn>
              <a:cxn ang="0">
                <a:pos x="connsiteX8815" y="connsiteY8815"/>
              </a:cxn>
              <a:cxn ang="0">
                <a:pos x="connsiteX8816" y="connsiteY8816"/>
              </a:cxn>
              <a:cxn ang="0">
                <a:pos x="connsiteX8817" y="connsiteY8817"/>
              </a:cxn>
              <a:cxn ang="0">
                <a:pos x="connsiteX8818" y="connsiteY8818"/>
              </a:cxn>
              <a:cxn ang="0">
                <a:pos x="connsiteX8819" y="connsiteY8819"/>
              </a:cxn>
              <a:cxn ang="0">
                <a:pos x="connsiteX8820" y="connsiteY8820"/>
              </a:cxn>
              <a:cxn ang="0">
                <a:pos x="connsiteX8821" y="connsiteY8821"/>
              </a:cxn>
              <a:cxn ang="0">
                <a:pos x="connsiteX8822" y="connsiteY8822"/>
              </a:cxn>
              <a:cxn ang="0">
                <a:pos x="connsiteX8823" y="connsiteY8823"/>
              </a:cxn>
              <a:cxn ang="0">
                <a:pos x="connsiteX8824" y="connsiteY8824"/>
              </a:cxn>
              <a:cxn ang="0">
                <a:pos x="connsiteX8825" y="connsiteY8825"/>
              </a:cxn>
              <a:cxn ang="0">
                <a:pos x="connsiteX8826" y="connsiteY8826"/>
              </a:cxn>
              <a:cxn ang="0">
                <a:pos x="connsiteX8827" y="connsiteY8827"/>
              </a:cxn>
              <a:cxn ang="0">
                <a:pos x="connsiteX8828" y="connsiteY8828"/>
              </a:cxn>
              <a:cxn ang="0">
                <a:pos x="connsiteX8829" y="connsiteY8829"/>
              </a:cxn>
              <a:cxn ang="0">
                <a:pos x="connsiteX8830" y="connsiteY8830"/>
              </a:cxn>
              <a:cxn ang="0">
                <a:pos x="connsiteX8831" y="connsiteY8831"/>
              </a:cxn>
              <a:cxn ang="0">
                <a:pos x="connsiteX8832" y="connsiteY8832"/>
              </a:cxn>
              <a:cxn ang="0">
                <a:pos x="connsiteX8833" y="connsiteY8833"/>
              </a:cxn>
              <a:cxn ang="0">
                <a:pos x="connsiteX8834" y="connsiteY8834"/>
              </a:cxn>
              <a:cxn ang="0">
                <a:pos x="connsiteX8835" y="connsiteY8835"/>
              </a:cxn>
              <a:cxn ang="0">
                <a:pos x="connsiteX8836" y="connsiteY8836"/>
              </a:cxn>
              <a:cxn ang="0">
                <a:pos x="connsiteX8837" y="connsiteY8837"/>
              </a:cxn>
              <a:cxn ang="0">
                <a:pos x="connsiteX8838" y="connsiteY8838"/>
              </a:cxn>
              <a:cxn ang="0">
                <a:pos x="connsiteX8839" y="connsiteY8839"/>
              </a:cxn>
              <a:cxn ang="0">
                <a:pos x="connsiteX8840" y="connsiteY8840"/>
              </a:cxn>
              <a:cxn ang="0">
                <a:pos x="connsiteX8841" y="connsiteY8841"/>
              </a:cxn>
              <a:cxn ang="0">
                <a:pos x="connsiteX8842" y="connsiteY8842"/>
              </a:cxn>
              <a:cxn ang="0">
                <a:pos x="connsiteX8843" y="connsiteY8843"/>
              </a:cxn>
              <a:cxn ang="0">
                <a:pos x="connsiteX8844" y="connsiteY8844"/>
              </a:cxn>
              <a:cxn ang="0">
                <a:pos x="connsiteX8845" y="connsiteY8845"/>
              </a:cxn>
              <a:cxn ang="0">
                <a:pos x="connsiteX8846" y="connsiteY8846"/>
              </a:cxn>
              <a:cxn ang="0">
                <a:pos x="connsiteX8847" y="connsiteY8847"/>
              </a:cxn>
              <a:cxn ang="0">
                <a:pos x="connsiteX8848" y="connsiteY8848"/>
              </a:cxn>
              <a:cxn ang="0">
                <a:pos x="connsiteX8849" y="connsiteY8849"/>
              </a:cxn>
              <a:cxn ang="0">
                <a:pos x="connsiteX8850" y="connsiteY8850"/>
              </a:cxn>
              <a:cxn ang="0">
                <a:pos x="connsiteX8851" y="connsiteY8851"/>
              </a:cxn>
              <a:cxn ang="0">
                <a:pos x="connsiteX8852" y="connsiteY8852"/>
              </a:cxn>
              <a:cxn ang="0">
                <a:pos x="connsiteX8853" y="connsiteY8853"/>
              </a:cxn>
              <a:cxn ang="0">
                <a:pos x="connsiteX8854" y="connsiteY8854"/>
              </a:cxn>
              <a:cxn ang="0">
                <a:pos x="connsiteX8855" y="connsiteY8855"/>
              </a:cxn>
              <a:cxn ang="0">
                <a:pos x="connsiteX8856" y="connsiteY8856"/>
              </a:cxn>
              <a:cxn ang="0">
                <a:pos x="connsiteX8857" y="connsiteY8857"/>
              </a:cxn>
              <a:cxn ang="0">
                <a:pos x="connsiteX8858" y="connsiteY8858"/>
              </a:cxn>
              <a:cxn ang="0">
                <a:pos x="connsiteX8859" y="connsiteY8859"/>
              </a:cxn>
              <a:cxn ang="0">
                <a:pos x="connsiteX8860" y="connsiteY8860"/>
              </a:cxn>
              <a:cxn ang="0">
                <a:pos x="connsiteX8861" y="connsiteY8861"/>
              </a:cxn>
              <a:cxn ang="0">
                <a:pos x="connsiteX8862" y="connsiteY8862"/>
              </a:cxn>
              <a:cxn ang="0">
                <a:pos x="connsiteX8863" y="connsiteY8863"/>
              </a:cxn>
              <a:cxn ang="0">
                <a:pos x="connsiteX8864" y="connsiteY8864"/>
              </a:cxn>
              <a:cxn ang="0">
                <a:pos x="connsiteX8865" y="connsiteY8865"/>
              </a:cxn>
              <a:cxn ang="0">
                <a:pos x="connsiteX8866" y="connsiteY8866"/>
              </a:cxn>
              <a:cxn ang="0">
                <a:pos x="connsiteX8867" y="connsiteY8867"/>
              </a:cxn>
              <a:cxn ang="0">
                <a:pos x="connsiteX8868" y="connsiteY8868"/>
              </a:cxn>
              <a:cxn ang="0">
                <a:pos x="connsiteX8869" y="connsiteY8869"/>
              </a:cxn>
              <a:cxn ang="0">
                <a:pos x="connsiteX8870" y="connsiteY8870"/>
              </a:cxn>
              <a:cxn ang="0">
                <a:pos x="connsiteX8871" y="connsiteY8871"/>
              </a:cxn>
              <a:cxn ang="0">
                <a:pos x="connsiteX8872" y="connsiteY8872"/>
              </a:cxn>
              <a:cxn ang="0">
                <a:pos x="connsiteX8873" y="connsiteY8873"/>
              </a:cxn>
              <a:cxn ang="0">
                <a:pos x="connsiteX8874" y="connsiteY8874"/>
              </a:cxn>
              <a:cxn ang="0">
                <a:pos x="connsiteX8875" y="connsiteY8875"/>
              </a:cxn>
              <a:cxn ang="0">
                <a:pos x="connsiteX8876" y="connsiteY8876"/>
              </a:cxn>
              <a:cxn ang="0">
                <a:pos x="connsiteX8877" y="connsiteY8877"/>
              </a:cxn>
              <a:cxn ang="0">
                <a:pos x="connsiteX8878" y="connsiteY8878"/>
              </a:cxn>
              <a:cxn ang="0">
                <a:pos x="connsiteX8879" y="connsiteY8879"/>
              </a:cxn>
              <a:cxn ang="0">
                <a:pos x="connsiteX8880" y="connsiteY8880"/>
              </a:cxn>
              <a:cxn ang="0">
                <a:pos x="connsiteX8881" y="connsiteY8881"/>
              </a:cxn>
              <a:cxn ang="0">
                <a:pos x="connsiteX8882" y="connsiteY8882"/>
              </a:cxn>
              <a:cxn ang="0">
                <a:pos x="connsiteX8883" y="connsiteY8883"/>
              </a:cxn>
              <a:cxn ang="0">
                <a:pos x="connsiteX8884" y="connsiteY8884"/>
              </a:cxn>
              <a:cxn ang="0">
                <a:pos x="connsiteX8885" y="connsiteY8885"/>
              </a:cxn>
              <a:cxn ang="0">
                <a:pos x="connsiteX8886" y="connsiteY8886"/>
              </a:cxn>
              <a:cxn ang="0">
                <a:pos x="connsiteX8887" y="connsiteY8887"/>
              </a:cxn>
              <a:cxn ang="0">
                <a:pos x="connsiteX8888" y="connsiteY8888"/>
              </a:cxn>
              <a:cxn ang="0">
                <a:pos x="connsiteX8889" y="connsiteY8889"/>
              </a:cxn>
              <a:cxn ang="0">
                <a:pos x="connsiteX8890" y="connsiteY8890"/>
              </a:cxn>
              <a:cxn ang="0">
                <a:pos x="connsiteX8891" y="connsiteY8891"/>
              </a:cxn>
              <a:cxn ang="0">
                <a:pos x="connsiteX8892" y="connsiteY8892"/>
              </a:cxn>
              <a:cxn ang="0">
                <a:pos x="connsiteX8893" y="connsiteY8893"/>
              </a:cxn>
              <a:cxn ang="0">
                <a:pos x="connsiteX8894" y="connsiteY8894"/>
              </a:cxn>
              <a:cxn ang="0">
                <a:pos x="connsiteX8895" y="connsiteY8895"/>
              </a:cxn>
              <a:cxn ang="0">
                <a:pos x="connsiteX8896" y="connsiteY8896"/>
              </a:cxn>
              <a:cxn ang="0">
                <a:pos x="connsiteX8897" y="connsiteY8897"/>
              </a:cxn>
              <a:cxn ang="0">
                <a:pos x="connsiteX8898" y="connsiteY8898"/>
              </a:cxn>
              <a:cxn ang="0">
                <a:pos x="connsiteX8899" y="connsiteY8899"/>
              </a:cxn>
              <a:cxn ang="0">
                <a:pos x="connsiteX8900" y="connsiteY8900"/>
              </a:cxn>
              <a:cxn ang="0">
                <a:pos x="connsiteX8901" y="connsiteY8901"/>
              </a:cxn>
              <a:cxn ang="0">
                <a:pos x="connsiteX8902" y="connsiteY8902"/>
              </a:cxn>
              <a:cxn ang="0">
                <a:pos x="connsiteX8903" y="connsiteY8903"/>
              </a:cxn>
              <a:cxn ang="0">
                <a:pos x="connsiteX8904" y="connsiteY8904"/>
              </a:cxn>
              <a:cxn ang="0">
                <a:pos x="connsiteX8905" y="connsiteY8905"/>
              </a:cxn>
              <a:cxn ang="0">
                <a:pos x="connsiteX8906" y="connsiteY8906"/>
              </a:cxn>
              <a:cxn ang="0">
                <a:pos x="connsiteX8907" y="connsiteY8907"/>
              </a:cxn>
              <a:cxn ang="0">
                <a:pos x="connsiteX8908" y="connsiteY8908"/>
              </a:cxn>
              <a:cxn ang="0">
                <a:pos x="connsiteX8909" y="connsiteY8909"/>
              </a:cxn>
              <a:cxn ang="0">
                <a:pos x="connsiteX8910" y="connsiteY8910"/>
              </a:cxn>
              <a:cxn ang="0">
                <a:pos x="connsiteX8911" y="connsiteY8911"/>
              </a:cxn>
              <a:cxn ang="0">
                <a:pos x="connsiteX8912" y="connsiteY8912"/>
              </a:cxn>
              <a:cxn ang="0">
                <a:pos x="connsiteX8913" y="connsiteY8913"/>
              </a:cxn>
              <a:cxn ang="0">
                <a:pos x="connsiteX8914" y="connsiteY8914"/>
              </a:cxn>
              <a:cxn ang="0">
                <a:pos x="connsiteX8915" y="connsiteY8915"/>
              </a:cxn>
              <a:cxn ang="0">
                <a:pos x="connsiteX8916" y="connsiteY8916"/>
              </a:cxn>
              <a:cxn ang="0">
                <a:pos x="connsiteX8917" y="connsiteY8917"/>
              </a:cxn>
              <a:cxn ang="0">
                <a:pos x="connsiteX8918" y="connsiteY8918"/>
              </a:cxn>
              <a:cxn ang="0">
                <a:pos x="connsiteX8919" y="connsiteY8919"/>
              </a:cxn>
              <a:cxn ang="0">
                <a:pos x="connsiteX8920" y="connsiteY8920"/>
              </a:cxn>
              <a:cxn ang="0">
                <a:pos x="connsiteX8921" y="connsiteY8921"/>
              </a:cxn>
              <a:cxn ang="0">
                <a:pos x="connsiteX8922" y="connsiteY8922"/>
              </a:cxn>
              <a:cxn ang="0">
                <a:pos x="connsiteX8923" y="connsiteY8923"/>
              </a:cxn>
              <a:cxn ang="0">
                <a:pos x="connsiteX8924" y="connsiteY8924"/>
              </a:cxn>
              <a:cxn ang="0">
                <a:pos x="connsiteX8925" y="connsiteY8925"/>
              </a:cxn>
              <a:cxn ang="0">
                <a:pos x="connsiteX8926" y="connsiteY8926"/>
              </a:cxn>
              <a:cxn ang="0">
                <a:pos x="connsiteX8927" y="connsiteY8927"/>
              </a:cxn>
              <a:cxn ang="0">
                <a:pos x="connsiteX8928" y="connsiteY8928"/>
              </a:cxn>
              <a:cxn ang="0">
                <a:pos x="connsiteX8929" y="connsiteY8929"/>
              </a:cxn>
              <a:cxn ang="0">
                <a:pos x="connsiteX8930" y="connsiteY8930"/>
              </a:cxn>
              <a:cxn ang="0">
                <a:pos x="connsiteX8931" y="connsiteY8931"/>
              </a:cxn>
              <a:cxn ang="0">
                <a:pos x="connsiteX8932" y="connsiteY8932"/>
              </a:cxn>
              <a:cxn ang="0">
                <a:pos x="connsiteX8933" y="connsiteY8933"/>
              </a:cxn>
              <a:cxn ang="0">
                <a:pos x="connsiteX8934" y="connsiteY8934"/>
              </a:cxn>
              <a:cxn ang="0">
                <a:pos x="connsiteX8935" y="connsiteY8935"/>
              </a:cxn>
              <a:cxn ang="0">
                <a:pos x="connsiteX8936" y="connsiteY8936"/>
              </a:cxn>
              <a:cxn ang="0">
                <a:pos x="connsiteX8937" y="connsiteY8937"/>
              </a:cxn>
              <a:cxn ang="0">
                <a:pos x="connsiteX8938" y="connsiteY8938"/>
              </a:cxn>
              <a:cxn ang="0">
                <a:pos x="connsiteX8939" y="connsiteY8939"/>
              </a:cxn>
              <a:cxn ang="0">
                <a:pos x="connsiteX8940" y="connsiteY8940"/>
              </a:cxn>
              <a:cxn ang="0">
                <a:pos x="connsiteX8941" y="connsiteY8941"/>
              </a:cxn>
              <a:cxn ang="0">
                <a:pos x="connsiteX8942" y="connsiteY8942"/>
              </a:cxn>
              <a:cxn ang="0">
                <a:pos x="connsiteX8943" y="connsiteY8943"/>
              </a:cxn>
              <a:cxn ang="0">
                <a:pos x="connsiteX8944" y="connsiteY8944"/>
              </a:cxn>
              <a:cxn ang="0">
                <a:pos x="connsiteX8945" y="connsiteY8945"/>
              </a:cxn>
              <a:cxn ang="0">
                <a:pos x="connsiteX8946" y="connsiteY8946"/>
              </a:cxn>
              <a:cxn ang="0">
                <a:pos x="connsiteX8947" y="connsiteY8947"/>
              </a:cxn>
              <a:cxn ang="0">
                <a:pos x="connsiteX8948" y="connsiteY8948"/>
              </a:cxn>
              <a:cxn ang="0">
                <a:pos x="connsiteX8949" y="connsiteY8949"/>
              </a:cxn>
              <a:cxn ang="0">
                <a:pos x="connsiteX8950" y="connsiteY8950"/>
              </a:cxn>
              <a:cxn ang="0">
                <a:pos x="connsiteX8951" y="connsiteY8951"/>
              </a:cxn>
              <a:cxn ang="0">
                <a:pos x="connsiteX8952" y="connsiteY8952"/>
              </a:cxn>
              <a:cxn ang="0">
                <a:pos x="connsiteX8953" y="connsiteY8953"/>
              </a:cxn>
              <a:cxn ang="0">
                <a:pos x="connsiteX8954" y="connsiteY8954"/>
              </a:cxn>
              <a:cxn ang="0">
                <a:pos x="connsiteX8955" y="connsiteY8955"/>
              </a:cxn>
              <a:cxn ang="0">
                <a:pos x="connsiteX8956" y="connsiteY8956"/>
              </a:cxn>
              <a:cxn ang="0">
                <a:pos x="connsiteX8957" y="connsiteY8957"/>
              </a:cxn>
              <a:cxn ang="0">
                <a:pos x="connsiteX8958" y="connsiteY8958"/>
              </a:cxn>
              <a:cxn ang="0">
                <a:pos x="connsiteX8959" y="connsiteY8959"/>
              </a:cxn>
              <a:cxn ang="0">
                <a:pos x="connsiteX8960" y="connsiteY8960"/>
              </a:cxn>
              <a:cxn ang="0">
                <a:pos x="connsiteX8961" y="connsiteY8961"/>
              </a:cxn>
              <a:cxn ang="0">
                <a:pos x="connsiteX8962" y="connsiteY8962"/>
              </a:cxn>
              <a:cxn ang="0">
                <a:pos x="connsiteX8963" y="connsiteY8963"/>
              </a:cxn>
              <a:cxn ang="0">
                <a:pos x="connsiteX8964" y="connsiteY8964"/>
              </a:cxn>
              <a:cxn ang="0">
                <a:pos x="connsiteX8965" y="connsiteY8965"/>
              </a:cxn>
              <a:cxn ang="0">
                <a:pos x="connsiteX8966" y="connsiteY8966"/>
              </a:cxn>
              <a:cxn ang="0">
                <a:pos x="connsiteX8967" y="connsiteY8967"/>
              </a:cxn>
              <a:cxn ang="0">
                <a:pos x="connsiteX8968" y="connsiteY8968"/>
              </a:cxn>
              <a:cxn ang="0">
                <a:pos x="connsiteX8969" y="connsiteY8969"/>
              </a:cxn>
              <a:cxn ang="0">
                <a:pos x="connsiteX8970" y="connsiteY8970"/>
              </a:cxn>
              <a:cxn ang="0">
                <a:pos x="connsiteX8971" y="connsiteY8971"/>
              </a:cxn>
              <a:cxn ang="0">
                <a:pos x="connsiteX8972" y="connsiteY8972"/>
              </a:cxn>
              <a:cxn ang="0">
                <a:pos x="connsiteX8973" y="connsiteY8973"/>
              </a:cxn>
              <a:cxn ang="0">
                <a:pos x="connsiteX8974" y="connsiteY8974"/>
              </a:cxn>
              <a:cxn ang="0">
                <a:pos x="connsiteX8975" y="connsiteY8975"/>
              </a:cxn>
              <a:cxn ang="0">
                <a:pos x="connsiteX8976" y="connsiteY8976"/>
              </a:cxn>
              <a:cxn ang="0">
                <a:pos x="connsiteX8977" y="connsiteY8977"/>
              </a:cxn>
              <a:cxn ang="0">
                <a:pos x="connsiteX8978" y="connsiteY8978"/>
              </a:cxn>
              <a:cxn ang="0">
                <a:pos x="connsiteX8979" y="connsiteY8979"/>
              </a:cxn>
              <a:cxn ang="0">
                <a:pos x="connsiteX8980" y="connsiteY8980"/>
              </a:cxn>
              <a:cxn ang="0">
                <a:pos x="connsiteX8981" y="connsiteY8981"/>
              </a:cxn>
              <a:cxn ang="0">
                <a:pos x="connsiteX8982" y="connsiteY8982"/>
              </a:cxn>
              <a:cxn ang="0">
                <a:pos x="connsiteX8983" y="connsiteY8983"/>
              </a:cxn>
              <a:cxn ang="0">
                <a:pos x="connsiteX8984" y="connsiteY8984"/>
              </a:cxn>
              <a:cxn ang="0">
                <a:pos x="connsiteX8985" y="connsiteY8985"/>
              </a:cxn>
              <a:cxn ang="0">
                <a:pos x="connsiteX8986" y="connsiteY8986"/>
              </a:cxn>
              <a:cxn ang="0">
                <a:pos x="connsiteX8987" y="connsiteY8987"/>
              </a:cxn>
              <a:cxn ang="0">
                <a:pos x="connsiteX8988" y="connsiteY8988"/>
              </a:cxn>
              <a:cxn ang="0">
                <a:pos x="connsiteX8989" y="connsiteY8989"/>
              </a:cxn>
              <a:cxn ang="0">
                <a:pos x="connsiteX8990" y="connsiteY8990"/>
              </a:cxn>
              <a:cxn ang="0">
                <a:pos x="connsiteX8991" y="connsiteY8991"/>
              </a:cxn>
              <a:cxn ang="0">
                <a:pos x="connsiteX8992" y="connsiteY8992"/>
              </a:cxn>
              <a:cxn ang="0">
                <a:pos x="connsiteX8993" y="connsiteY8993"/>
              </a:cxn>
              <a:cxn ang="0">
                <a:pos x="connsiteX8994" y="connsiteY8994"/>
              </a:cxn>
              <a:cxn ang="0">
                <a:pos x="connsiteX8995" y="connsiteY8995"/>
              </a:cxn>
              <a:cxn ang="0">
                <a:pos x="connsiteX8996" y="connsiteY8996"/>
              </a:cxn>
              <a:cxn ang="0">
                <a:pos x="connsiteX8997" y="connsiteY8997"/>
              </a:cxn>
              <a:cxn ang="0">
                <a:pos x="connsiteX8998" y="connsiteY8998"/>
              </a:cxn>
              <a:cxn ang="0">
                <a:pos x="connsiteX8999" y="connsiteY8999"/>
              </a:cxn>
              <a:cxn ang="0">
                <a:pos x="connsiteX9000" y="connsiteY9000"/>
              </a:cxn>
              <a:cxn ang="0">
                <a:pos x="connsiteX9001" y="connsiteY9001"/>
              </a:cxn>
              <a:cxn ang="0">
                <a:pos x="connsiteX9002" y="connsiteY9002"/>
              </a:cxn>
              <a:cxn ang="0">
                <a:pos x="connsiteX9003" y="connsiteY9003"/>
              </a:cxn>
              <a:cxn ang="0">
                <a:pos x="connsiteX9004" y="connsiteY9004"/>
              </a:cxn>
              <a:cxn ang="0">
                <a:pos x="connsiteX9005" y="connsiteY9005"/>
              </a:cxn>
              <a:cxn ang="0">
                <a:pos x="connsiteX9006" y="connsiteY9006"/>
              </a:cxn>
              <a:cxn ang="0">
                <a:pos x="connsiteX9007" y="connsiteY9007"/>
              </a:cxn>
              <a:cxn ang="0">
                <a:pos x="connsiteX9008" y="connsiteY9008"/>
              </a:cxn>
              <a:cxn ang="0">
                <a:pos x="connsiteX9009" y="connsiteY9009"/>
              </a:cxn>
              <a:cxn ang="0">
                <a:pos x="connsiteX9010" y="connsiteY9010"/>
              </a:cxn>
              <a:cxn ang="0">
                <a:pos x="connsiteX9011" y="connsiteY9011"/>
              </a:cxn>
              <a:cxn ang="0">
                <a:pos x="connsiteX9012" y="connsiteY9012"/>
              </a:cxn>
              <a:cxn ang="0">
                <a:pos x="connsiteX9013" y="connsiteY9013"/>
              </a:cxn>
              <a:cxn ang="0">
                <a:pos x="connsiteX9014" y="connsiteY9014"/>
              </a:cxn>
              <a:cxn ang="0">
                <a:pos x="connsiteX9015" y="connsiteY9015"/>
              </a:cxn>
              <a:cxn ang="0">
                <a:pos x="connsiteX9016" y="connsiteY9016"/>
              </a:cxn>
              <a:cxn ang="0">
                <a:pos x="connsiteX9017" y="connsiteY9017"/>
              </a:cxn>
              <a:cxn ang="0">
                <a:pos x="connsiteX9018" y="connsiteY9018"/>
              </a:cxn>
              <a:cxn ang="0">
                <a:pos x="connsiteX9019" y="connsiteY9019"/>
              </a:cxn>
              <a:cxn ang="0">
                <a:pos x="connsiteX9020" y="connsiteY9020"/>
              </a:cxn>
              <a:cxn ang="0">
                <a:pos x="connsiteX9021" y="connsiteY9021"/>
              </a:cxn>
              <a:cxn ang="0">
                <a:pos x="connsiteX9022" y="connsiteY9022"/>
              </a:cxn>
              <a:cxn ang="0">
                <a:pos x="connsiteX9023" y="connsiteY9023"/>
              </a:cxn>
              <a:cxn ang="0">
                <a:pos x="connsiteX9024" y="connsiteY9024"/>
              </a:cxn>
              <a:cxn ang="0">
                <a:pos x="connsiteX9025" y="connsiteY9025"/>
              </a:cxn>
              <a:cxn ang="0">
                <a:pos x="connsiteX9026" y="connsiteY9026"/>
              </a:cxn>
              <a:cxn ang="0">
                <a:pos x="connsiteX9027" y="connsiteY9027"/>
              </a:cxn>
              <a:cxn ang="0">
                <a:pos x="connsiteX9028" y="connsiteY9028"/>
              </a:cxn>
              <a:cxn ang="0">
                <a:pos x="connsiteX9029" y="connsiteY9029"/>
              </a:cxn>
              <a:cxn ang="0">
                <a:pos x="connsiteX9030" y="connsiteY9030"/>
              </a:cxn>
              <a:cxn ang="0">
                <a:pos x="connsiteX9031" y="connsiteY9031"/>
              </a:cxn>
              <a:cxn ang="0">
                <a:pos x="connsiteX9032" y="connsiteY9032"/>
              </a:cxn>
              <a:cxn ang="0">
                <a:pos x="connsiteX9033" y="connsiteY9033"/>
              </a:cxn>
              <a:cxn ang="0">
                <a:pos x="connsiteX9034" y="connsiteY9034"/>
              </a:cxn>
              <a:cxn ang="0">
                <a:pos x="connsiteX9035" y="connsiteY9035"/>
              </a:cxn>
              <a:cxn ang="0">
                <a:pos x="connsiteX9036" y="connsiteY9036"/>
              </a:cxn>
              <a:cxn ang="0">
                <a:pos x="connsiteX9037" y="connsiteY9037"/>
              </a:cxn>
              <a:cxn ang="0">
                <a:pos x="connsiteX9038" y="connsiteY9038"/>
              </a:cxn>
              <a:cxn ang="0">
                <a:pos x="connsiteX9039" y="connsiteY9039"/>
              </a:cxn>
              <a:cxn ang="0">
                <a:pos x="connsiteX9040" y="connsiteY9040"/>
              </a:cxn>
              <a:cxn ang="0">
                <a:pos x="connsiteX9041" y="connsiteY9041"/>
              </a:cxn>
              <a:cxn ang="0">
                <a:pos x="connsiteX9042" y="connsiteY9042"/>
              </a:cxn>
              <a:cxn ang="0">
                <a:pos x="connsiteX9043" y="connsiteY9043"/>
              </a:cxn>
              <a:cxn ang="0">
                <a:pos x="connsiteX9044" y="connsiteY9044"/>
              </a:cxn>
              <a:cxn ang="0">
                <a:pos x="connsiteX9045" y="connsiteY9045"/>
              </a:cxn>
              <a:cxn ang="0">
                <a:pos x="connsiteX9046" y="connsiteY9046"/>
              </a:cxn>
              <a:cxn ang="0">
                <a:pos x="connsiteX9047" y="connsiteY9047"/>
              </a:cxn>
              <a:cxn ang="0">
                <a:pos x="connsiteX9048" y="connsiteY9048"/>
              </a:cxn>
              <a:cxn ang="0">
                <a:pos x="connsiteX9049" y="connsiteY9049"/>
              </a:cxn>
              <a:cxn ang="0">
                <a:pos x="connsiteX9050" y="connsiteY9050"/>
              </a:cxn>
              <a:cxn ang="0">
                <a:pos x="connsiteX9051" y="connsiteY9051"/>
              </a:cxn>
              <a:cxn ang="0">
                <a:pos x="connsiteX9052" y="connsiteY9052"/>
              </a:cxn>
              <a:cxn ang="0">
                <a:pos x="connsiteX9053" y="connsiteY9053"/>
              </a:cxn>
              <a:cxn ang="0">
                <a:pos x="connsiteX9054" y="connsiteY9054"/>
              </a:cxn>
              <a:cxn ang="0">
                <a:pos x="connsiteX9055" y="connsiteY9055"/>
              </a:cxn>
              <a:cxn ang="0">
                <a:pos x="connsiteX9056" y="connsiteY9056"/>
              </a:cxn>
              <a:cxn ang="0">
                <a:pos x="connsiteX9057" y="connsiteY9057"/>
              </a:cxn>
              <a:cxn ang="0">
                <a:pos x="connsiteX9058" y="connsiteY9058"/>
              </a:cxn>
              <a:cxn ang="0">
                <a:pos x="connsiteX9059" y="connsiteY9059"/>
              </a:cxn>
              <a:cxn ang="0">
                <a:pos x="connsiteX9060" y="connsiteY9060"/>
              </a:cxn>
              <a:cxn ang="0">
                <a:pos x="connsiteX9061" y="connsiteY9061"/>
              </a:cxn>
              <a:cxn ang="0">
                <a:pos x="connsiteX9062" y="connsiteY9062"/>
              </a:cxn>
              <a:cxn ang="0">
                <a:pos x="connsiteX9063" y="connsiteY9063"/>
              </a:cxn>
              <a:cxn ang="0">
                <a:pos x="connsiteX9064" y="connsiteY9064"/>
              </a:cxn>
              <a:cxn ang="0">
                <a:pos x="connsiteX9065" y="connsiteY9065"/>
              </a:cxn>
              <a:cxn ang="0">
                <a:pos x="connsiteX9066" y="connsiteY9066"/>
              </a:cxn>
              <a:cxn ang="0">
                <a:pos x="connsiteX9067" y="connsiteY9067"/>
              </a:cxn>
              <a:cxn ang="0">
                <a:pos x="connsiteX9068" y="connsiteY9068"/>
              </a:cxn>
              <a:cxn ang="0">
                <a:pos x="connsiteX9069" y="connsiteY9069"/>
              </a:cxn>
              <a:cxn ang="0">
                <a:pos x="connsiteX9070" y="connsiteY9070"/>
              </a:cxn>
              <a:cxn ang="0">
                <a:pos x="connsiteX9071" y="connsiteY9071"/>
              </a:cxn>
              <a:cxn ang="0">
                <a:pos x="connsiteX9072" y="connsiteY9072"/>
              </a:cxn>
              <a:cxn ang="0">
                <a:pos x="connsiteX9073" y="connsiteY9073"/>
              </a:cxn>
              <a:cxn ang="0">
                <a:pos x="connsiteX9074" y="connsiteY9074"/>
              </a:cxn>
              <a:cxn ang="0">
                <a:pos x="connsiteX9075" y="connsiteY9075"/>
              </a:cxn>
              <a:cxn ang="0">
                <a:pos x="connsiteX9076" y="connsiteY9076"/>
              </a:cxn>
              <a:cxn ang="0">
                <a:pos x="connsiteX9077" y="connsiteY9077"/>
              </a:cxn>
              <a:cxn ang="0">
                <a:pos x="connsiteX9078" y="connsiteY9078"/>
              </a:cxn>
              <a:cxn ang="0">
                <a:pos x="connsiteX9079" y="connsiteY9079"/>
              </a:cxn>
              <a:cxn ang="0">
                <a:pos x="connsiteX9080" y="connsiteY9080"/>
              </a:cxn>
              <a:cxn ang="0">
                <a:pos x="connsiteX9081" y="connsiteY9081"/>
              </a:cxn>
              <a:cxn ang="0">
                <a:pos x="connsiteX9082" y="connsiteY9082"/>
              </a:cxn>
              <a:cxn ang="0">
                <a:pos x="connsiteX9083" y="connsiteY9083"/>
              </a:cxn>
              <a:cxn ang="0">
                <a:pos x="connsiteX9084" y="connsiteY9084"/>
              </a:cxn>
              <a:cxn ang="0">
                <a:pos x="connsiteX9085" y="connsiteY9085"/>
              </a:cxn>
              <a:cxn ang="0">
                <a:pos x="connsiteX9086" y="connsiteY9086"/>
              </a:cxn>
              <a:cxn ang="0">
                <a:pos x="connsiteX9087" y="connsiteY9087"/>
              </a:cxn>
              <a:cxn ang="0">
                <a:pos x="connsiteX9088" y="connsiteY9088"/>
              </a:cxn>
              <a:cxn ang="0">
                <a:pos x="connsiteX9089" y="connsiteY9089"/>
              </a:cxn>
              <a:cxn ang="0">
                <a:pos x="connsiteX9090" y="connsiteY9090"/>
              </a:cxn>
              <a:cxn ang="0">
                <a:pos x="connsiteX9091" y="connsiteY9091"/>
              </a:cxn>
              <a:cxn ang="0">
                <a:pos x="connsiteX9092" y="connsiteY9092"/>
              </a:cxn>
              <a:cxn ang="0">
                <a:pos x="connsiteX9093" y="connsiteY9093"/>
              </a:cxn>
              <a:cxn ang="0">
                <a:pos x="connsiteX9094" y="connsiteY9094"/>
              </a:cxn>
              <a:cxn ang="0">
                <a:pos x="connsiteX9095" y="connsiteY9095"/>
              </a:cxn>
              <a:cxn ang="0">
                <a:pos x="connsiteX9096" y="connsiteY9096"/>
              </a:cxn>
              <a:cxn ang="0">
                <a:pos x="connsiteX9097" y="connsiteY9097"/>
              </a:cxn>
              <a:cxn ang="0">
                <a:pos x="connsiteX9098" y="connsiteY9098"/>
              </a:cxn>
              <a:cxn ang="0">
                <a:pos x="connsiteX9099" y="connsiteY9099"/>
              </a:cxn>
              <a:cxn ang="0">
                <a:pos x="connsiteX9100" y="connsiteY9100"/>
              </a:cxn>
              <a:cxn ang="0">
                <a:pos x="connsiteX9101" y="connsiteY9101"/>
              </a:cxn>
              <a:cxn ang="0">
                <a:pos x="connsiteX9102" y="connsiteY9102"/>
              </a:cxn>
              <a:cxn ang="0">
                <a:pos x="connsiteX9103" y="connsiteY9103"/>
              </a:cxn>
              <a:cxn ang="0">
                <a:pos x="connsiteX9104" y="connsiteY9104"/>
              </a:cxn>
              <a:cxn ang="0">
                <a:pos x="connsiteX9105" y="connsiteY9105"/>
              </a:cxn>
              <a:cxn ang="0">
                <a:pos x="connsiteX9106" y="connsiteY9106"/>
              </a:cxn>
              <a:cxn ang="0">
                <a:pos x="connsiteX9107" y="connsiteY9107"/>
              </a:cxn>
              <a:cxn ang="0">
                <a:pos x="connsiteX9108" y="connsiteY9108"/>
              </a:cxn>
              <a:cxn ang="0">
                <a:pos x="connsiteX9109" y="connsiteY9109"/>
              </a:cxn>
              <a:cxn ang="0">
                <a:pos x="connsiteX9110" y="connsiteY9110"/>
              </a:cxn>
              <a:cxn ang="0">
                <a:pos x="connsiteX9111" y="connsiteY9111"/>
              </a:cxn>
              <a:cxn ang="0">
                <a:pos x="connsiteX9112" y="connsiteY9112"/>
              </a:cxn>
              <a:cxn ang="0">
                <a:pos x="connsiteX9113" y="connsiteY9113"/>
              </a:cxn>
              <a:cxn ang="0">
                <a:pos x="connsiteX9114" y="connsiteY9114"/>
              </a:cxn>
              <a:cxn ang="0">
                <a:pos x="connsiteX9115" y="connsiteY9115"/>
              </a:cxn>
              <a:cxn ang="0">
                <a:pos x="connsiteX9116" y="connsiteY9116"/>
              </a:cxn>
              <a:cxn ang="0">
                <a:pos x="connsiteX9117" y="connsiteY9117"/>
              </a:cxn>
              <a:cxn ang="0">
                <a:pos x="connsiteX9118" y="connsiteY9118"/>
              </a:cxn>
              <a:cxn ang="0">
                <a:pos x="connsiteX9119" y="connsiteY9119"/>
              </a:cxn>
              <a:cxn ang="0">
                <a:pos x="connsiteX9120" y="connsiteY9120"/>
              </a:cxn>
              <a:cxn ang="0">
                <a:pos x="connsiteX9121" y="connsiteY9121"/>
              </a:cxn>
              <a:cxn ang="0">
                <a:pos x="connsiteX9122" y="connsiteY9122"/>
              </a:cxn>
              <a:cxn ang="0">
                <a:pos x="connsiteX9123" y="connsiteY9123"/>
              </a:cxn>
              <a:cxn ang="0">
                <a:pos x="connsiteX9124" y="connsiteY9124"/>
              </a:cxn>
              <a:cxn ang="0">
                <a:pos x="connsiteX9125" y="connsiteY9125"/>
              </a:cxn>
              <a:cxn ang="0">
                <a:pos x="connsiteX9126" y="connsiteY9126"/>
              </a:cxn>
              <a:cxn ang="0">
                <a:pos x="connsiteX9127" y="connsiteY9127"/>
              </a:cxn>
              <a:cxn ang="0">
                <a:pos x="connsiteX9128" y="connsiteY9128"/>
              </a:cxn>
              <a:cxn ang="0">
                <a:pos x="connsiteX9129" y="connsiteY9129"/>
              </a:cxn>
              <a:cxn ang="0">
                <a:pos x="connsiteX9130" y="connsiteY9130"/>
              </a:cxn>
              <a:cxn ang="0">
                <a:pos x="connsiteX9131" y="connsiteY9131"/>
              </a:cxn>
              <a:cxn ang="0">
                <a:pos x="connsiteX9132" y="connsiteY9132"/>
              </a:cxn>
              <a:cxn ang="0">
                <a:pos x="connsiteX9133" y="connsiteY9133"/>
              </a:cxn>
              <a:cxn ang="0">
                <a:pos x="connsiteX9134" y="connsiteY9134"/>
              </a:cxn>
              <a:cxn ang="0">
                <a:pos x="connsiteX9135" y="connsiteY9135"/>
              </a:cxn>
              <a:cxn ang="0">
                <a:pos x="connsiteX9136" y="connsiteY9136"/>
              </a:cxn>
              <a:cxn ang="0">
                <a:pos x="connsiteX9137" y="connsiteY9137"/>
              </a:cxn>
              <a:cxn ang="0">
                <a:pos x="connsiteX9138" y="connsiteY9138"/>
              </a:cxn>
              <a:cxn ang="0">
                <a:pos x="connsiteX9139" y="connsiteY9139"/>
              </a:cxn>
              <a:cxn ang="0">
                <a:pos x="connsiteX9140" y="connsiteY9140"/>
              </a:cxn>
              <a:cxn ang="0">
                <a:pos x="connsiteX9141" y="connsiteY9141"/>
              </a:cxn>
              <a:cxn ang="0">
                <a:pos x="connsiteX9142" y="connsiteY9142"/>
              </a:cxn>
              <a:cxn ang="0">
                <a:pos x="connsiteX9143" y="connsiteY9143"/>
              </a:cxn>
              <a:cxn ang="0">
                <a:pos x="connsiteX9144" y="connsiteY9144"/>
              </a:cxn>
              <a:cxn ang="0">
                <a:pos x="connsiteX9145" y="connsiteY9145"/>
              </a:cxn>
              <a:cxn ang="0">
                <a:pos x="connsiteX9146" y="connsiteY9146"/>
              </a:cxn>
              <a:cxn ang="0">
                <a:pos x="connsiteX9147" y="connsiteY9147"/>
              </a:cxn>
              <a:cxn ang="0">
                <a:pos x="connsiteX9148" y="connsiteY9148"/>
              </a:cxn>
              <a:cxn ang="0">
                <a:pos x="connsiteX9149" y="connsiteY9149"/>
              </a:cxn>
              <a:cxn ang="0">
                <a:pos x="connsiteX9150" y="connsiteY9150"/>
              </a:cxn>
              <a:cxn ang="0">
                <a:pos x="connsiteX9151" y="connsiteY9151"/>
              </a:cxn>
              <a:cxn ang="0">
                <a:pos x="connsiteX9152" y="connsiteY9152"/>
              </a:cxn>
              <a:cxn ang="0">
                <a:pos x="connsiteX9153" y="connsiteY9153"/>
              </a:cxn>
              <a:cxn ang="0">
                <a:pos x="connsiteX9154" y="connsiteY9154"/>
              </a:cxn>
              <a:cxn ang="0">
                <a:pos x="connsiteX9155" y="connsiteY9155"/>
              </a:cxn>
              <a:cxn ang="0">
                <a:pos x="connsiteX9156" y="connsiteY9156"/>
              </a:cxn>
              <a:cxn ang="0">
                <a:pos x="connsiteX9157" y="connsiteY9157"/>
              </a:cxn>
              <a:cxn ang="0">
                <a:pos x="connsiteX9158" y="connsiteY9158"/>
              </a:cxn>
              <a:cxn ang="0">
                <a:pos x="connsiteX9159" y="connsiteY9159"/>
              </a:cxn>
              <a:cxn ang="0">
                <a:pos x="connsiteX9160" y="connsiteY9160"/>
              </a:cxn>
              <a:cxn ang="0">
                <a:pos x="connsiteX9161" y="connsiteY9161"/>
              </a:cxn>
              <a:cxn ang="0">
                <a:pos x="connsiteX9162" y="connsiteY9162"/>
              </a:cxn>
              <a:cxn ang="0">
                <a:pos x="connsiteX9163" y="connsiteY9163"/>
              </a:cxn>
              <a:cxn ang="0">
                <a:pos x="connsiteX9164" y="connsiteY9164"/>
              </a:cxn>
              <a:cxn ang="0">
                <a:pos x="connsiteX9165" y="connsiteY9165"/>
              </a:cxn>
              <a:cxn ang="0">
                <a:pos x="connsiteX9166" y="connsiteY9166"/>
              </a:cxn>
              <a:cxn ang="0">
                <a:pos x="connsiteX9167" y="connsiteY9167"/>
              </a:cxn>
              <a:cxn ang="0">
                <a:pos x="connsiteX9168" y="connsiteY9168"/>
              </a:cxn>
              <a:cxn ang="0">
                <a:pos x="connsiteX9169" y="connsiteY9169"/>
              </a:cxn>
              <a:cxn ang="0">
                <a:pos x="connsiteX9170" y="connsiteY9170"/>
              </a:cxn>
              <a:cxn ang="0">
                <a:pos x="connsiteX9171" y="connsiteY9171"/>
              </a:cxn>
              <a:cxn ang="0">
                <a:pos x="connsiteX9172" y="connsiteY9172"/>
              </a:cxn>
              <a:cxn ang="0">
                <a:pos x="connsiteX9173" y="connsiteY9173"/>
              </a:cxn>
              <a:cxn ang="0">
                <a:pos x="connsiteX9174" y="connsiteY9174"/>
              </a:cxn>
              <a:cxn ang="0">
                <a:pos x="connsiteX9175" y="connsiteY9175"/>
              </a:cxn>
              <a:cxn ang="0">
                <a:pos x="connsiteX9176" y="connsiteY9176"/>
              </a:cxn>
              <a:cxn ang="0">
                <a:pos x="connsiteX9177" y="connsiteY9177"/>
              </a:cxn>
              <a:cxn ang="0">
                <a:pos x="connsiteX9178" y="connsiteY9178"/>
              </a:cxn>
              <a:cxn ang="0">
                <a:pos x="connsiteX9179" y="connsiteY9179"/>
              </a:cxn>
              <a:cxn ang="0">
                <a:pos x="connsiteX9180" y="connsiteY9180"/>
              </a:cxn>
              <a:cxn ang="0">
                <a:pos x="connsiteX9181" y="connsiteY9181"/>
              </a:cxn>
              <a:cxn ang="0">
                <a:pos x="connsiteX9182" y="connsiteY9182"/>
              </a:cxn>
              <a:cxn ang="0">
                <a:pos x="connsiteX9183" y="connsiteY9183"/>
              </a:cxn>
              <a:cxn ang="0">
                <a:pos x="connsiteX9184" y="connsiteY9184"/>
              </a:cxn>
              <a:cxn ang="0">
                <a:pos x="connsiteX9185" y="connsiteY9185"/>
              </a:cxn>
              <a:cxn ang="0">
                <a:pos x="connsiteX9186" y="connsiteY9186"/>
              </a:cxn>
              <a:cxn ang="0">
                <a:pos x="connsiteX9187" y="connsiteY9187"/>
              </a:cxn>
              <a:cxn ang="0">
                <a:pos x="connsiteX9188" y="connsiteY9188"/>
              </a:cxn>
              <a:cxn ang="0">
                <a:pos x="connsiteX9189" y="connsiteY9189"/>
              </a:cxn>
              <a:cxn ang="0">
                <a:pos x="connsiteX9190" y="connsiteY9190"/>
              </a:cxn>
              <a:cxn ang="0">
                <a:pos x="connsiteX9191" y="connsiteY9191"/>
              </a:cxn>
              <a:cxn ang="0">
                <a:pos x="connsiteX9192" y="connsiteY9192"/>
              </a:cxn>
              <a:cxn ang="0">
                <a:pos x="connsiteX9193" y="connsiteY9193"/>
              </a:cxn>
              <a:cxn ang="0">
                <a:pos x="connsiteX9194" y="connsiteY9194"/>
              </a:cxn>
              <a:cxn ang="0">
                <a:pos x="connsiteX9195" y="connsiteY9195"/>
              </a:cxn>
              <a:cxn ang="0">
                <a:pos x="connsiteX9196" y="connsiteY9196"/>
              </a:cxn>
              <a:cxn ang="0">
                <a:pos x="connsiteX9197" y="connsiteY9197"/>
              </a:cxn>
              <a:cxn ang="0">
                <a:pos x="connsiteX9198" y="connsiteY9198"/>
              </a:cxn>
              <a:cxn ang="0">
                <a:pos x="connsiteX9199" y="connsiteY9199"/>
              </a:cxn>
              <a:cxn ang="0">
                <a:pos x="connsiteX9200" y="connsiteY9200"/>
              </a:cxn>
              <a:cxn ang="0">
                <a:pos x="connsiteX9201" y="connsiteY9201"/>
              </a:cxn>
              <a:cxn ang="0">
                <a:pos x="connsiteX9202" y="connsiteY9202"/>
              </a:cxn>
              <a:cxn ang="0">
                <a:pos x="connsiteX9203" y="connsiteY9203"/>
              </a:cxn>
              <a:cxn ang="0">
                <a:pos x="connsiteX9204" y="connsiteY9204"/>
              </a:cxn>
              <a:cxn ang="0">
                <a:pos x="connsiteX9205" y="connsiteY9205"/>
              </a:cxn>
              <a:cxn ang="0">
                <a:pos x="connsiteX9206" y="connsiteY9206"/>
              </a:cxn>
              <a:cxn ang="0">
                <a:pos x="connsiteX9207" y="connsiteY9207"/>
              </a:cxn>
              <a:cxn ang="0">
                <a:pos x="connsiteX9208" y="connsiteY9208"/>
              </a:cxn>
              <a:cxn ang="0">
                <a:pos x="connsiteX9209" y="connsiteY9209"/>
              </a:cxn>
              <a:cxn ang="0">
                <a:pos x="connsiteX9210" y="connsiteY9210"/>
              </a:cxn>
              <a:cxn ang="0">
                <a:pos x="connsiteX9211" y="connsiteY9211"/>
              </a:cxn>
              <a:cxn ang="0">
                <a:pos x="connsiteX9212" y="connsiteY9212"/>
              </a:cxn>
              <a:cxn ang="0">
                <a:pos x="connsiteX9213" y="connsiteY9213"/>
              </a:cxn>
              <a:cxn ang="0">
                <a:pos x="connsiteX9214" y="connsiteY9214"/>
              </a:cxn>
              <a:cxn ang="0">
                <a:pos x="connsiteX9215" y="connsiteY9215"/>
              </a:cxn>
              <a:cxn ang="0">
                <a:pos x="connsiteX9216" y="connsiteY9216"/>
              </a:cxn>
              <a:cxn ang="0">
                <a:pos x="connsiteX9217" y="connsiteY9217"/>
              </a:cxn>
              <a:cxn ang="0">
                <a:pos x="connsiteX9218" y="connsiteY9218"/>
              </a:cxn>
              <a:cxn ang="0">
                <a:pos x="connsiteX9219" y="connsiteY9219"/>
              </a:cxn>
              <a:cxn ang="0">
                <a:pos x="connsiteX9220" y="connsiteY9220"/>
              </a:cxn>
              <a:cxn ang="0">
                <a:pos x="connsiteX9221" y="connsiteY9221"/>
              </a:cxn>
              <a:cxn ang="0">
                <a:pos x="connsiteX9222" y="connsiteY9222"/>
              </a:cxn>
              <a:cxn ang="0">
                <a:pos x="connsiteX9223" y="connsiteY9223"/>
              </a:cxn>
              <a:cxn ang="0">
                <a:pos x="connsiteX9224" y="connsiteY9224"/>
              </a:cxn>
              <a:cxn ang="0">
                <a:pos x="connsiteX9225" y="connsiteY9225"/>
              </a:cxn>
              <a:cxn ang="0">
                <a:pos x="connsiteX9226" y="connsiteY9226"/>
              </a:cxn>
              <a:cxn ang="0">
                <a:pos x="connsiteX9227" y="connsiteY9227"/>
              </a:cxn>
              <a:cxn ang="0">
                <a:pos x="connsiteX9228" y="connsiteY9228"/>
              </a:cxn>
              <a:cxn ang="0">
                <a:pos x="connsiteX9229" y="connsiteY9229"/>
              </a:cxn>
              <a:cxn ang="0">
                <a:pos x="connsiteX9230" y="connsiteY9230"/>
              </a:cxn>
              <a:cxn ang="0">
                <a:pos x="connsiteX9231" y="connsiteY9231"/>
              </a:cxn>
              <a:cxn ang="0">
                <a:pos x="connsiteX9232" y="connsiteY9232"/>
              </a:cxn>
              <a:cxn ang="0">
                <a:pos x="connsiteX9233" y="connsiteY9233"/>
              </a:cxn>
              <a:cxn ang="0">
                <a:pos x="connsiteX9234" y="connsiteY9234"/>
              </a:cxn>
              <a:cxn ang="0">
                <a:pos x="connsiteX9235" y="connsiteY9235"/>
              </a:cxn>
              <a:cxn ang="0">
                <a:pos x="connsiteX9236" y="connsiteY9236"/>
              </a:cxn>
              <a:cxn ang="0">
                <a:pos x="connsiteX9237" y="connsiteY9237"/>
              </a:cxn>
              <a:cxn ang="0">
                <a:pos x="connsiteX9238" y="connsiteY9238"/>
              </a:cxn>
              <a:cxn ang="0">
                <a:pos x="connsiteX9239" y="connsiteY9239"/>
              </a:cxn>
              <a:cxn ang="0">
                <a:pos x="connsiteX9240" y="connsiteY9240"/>
              </a:cxn>
              <a:cxn ang="0">
                <a:pos x="connsiteX9241" y="connsiteY9241"/>
              </a:cxn>
              <a:cxn ang="0">
                <a:pos x="connsiteX9242" y="connsiteY9242"/>
              </a:cxn>
              <a:cxn ang="0">
                <a:pos x="connsiteX9243" y="connsiteY9243"/>
              </a:cxn>
              <a:cxn ang="0">
                <a:pos x="connsiteX9244" y="connsiteY9244"/>
              </a:cxn>
              <a:cxn ang="0">
                <a:pos x="connsiteX9245" y="connsiteY9245"/>
              </a:cxn>
              <a:cxn ang="0">
                <a:pos x="connsiteX9246" y="connsiteY9246"/>
              </a:cxn>
              <a:cxn ang="0">
                <a:pos x="connsiteX9247" y="connsiteY9247"/>
              </a:cxn>
              <a:cxn ang="0">
                <a:pos x="connsiteX9248" y="connsiteY9248"/>
              </a:cxn>
              <a:cxn ang="0">
                <a:pos x="connsiteX9249" y="connsiteY9249"/>
              </a:cxn>
              <a:cxn ang="0">
                <a:pos x="connsiteX9250" y="connsiteY9250"/>
              </a:cxn>
              <a:cxn ang="0">
                <a:pos x="connsiteX9251" y="connsiteY9251"/>
              </a:cxn>
              <a:cxn ang="0">
                <a:pos x="connsiteX9252" y="connsiteY9252"/>
              </a:cxn>
              <a:cxn ang="0">
                <a:pos x="connsiteX9253" y="connsiteY9253"/>
              </a:cxn>
              <a:cxn ang="0">
                <a:pos x="connsiteX9254" y="connsiteY9254"/>
              </a:cxn>
              <a:cxn ang="0">
                <a:pos x="connsiteX9255" y="connsiteY9255"/>
              </a:cxn>
              <a:cxn ang="0">
                <a:pos x="connsiteX9256" y="connsiteY9256"/>
              </a:cxn>
              <a:cxn ang="0">
                <a:pos x="connsiteX9257" y="connsiteY9257"/>
              </a:cxn>
              <a:cxn ang="0">
                <a:pos x="connsiteX9258" y="connsiteY9258"/>
              </a:cxn>
              <a:cxn ang="0">
                <a:pos x="connsiteX9259" y="connsiteY9259"/>
              </a:cxn>
              <a:cxn ang="0">
                <a:pos x="connsiteX9260" y="connsiteY9260"/>
              </a:cxn>
              <a:cxn ang="0">
                <a:pos x="connsiteX9261" y="connsiteY9261"/>
              </a:cxn>
              <a:cxn ang="0">
                <a:pos x="connsiteX9262" y="connsiteY9262"/>
              </a:cxn>
              <a:cxn ang="0">
                <a:pos x="connsiteX9263" y="connsiteY9263"/>
              </a:cxn>
              <a:cxn ang="0">
                <a:pos x="connsiteX9264" y="connsiteY9264"/>
              </a:cxn>
              <a:cxn ang="0">
                <a:pos x="connsiteX9265" y="connsiteY9265"/>
              </a:cxn>
              <a:cxn ang="0">
                <a:pos x="connsiteX9266" y="connsiteY9266"/>
              </a:cxn>
              <a:cxn ang="0">
                <a:pos x="connsiteX9267" y="connsiteY9267"/>
              </a:cxn>
              <a:cxn ang="0">
                <a:pos x="connsiteX9268" y="connsiteY9268"/>
              </a:cxn>
              <a:cxn ang="0">
                <a:pos x="connsiteX9269" y="connsiteY9269"/>
              </a:cxn>
              <a:cxn ang="0">
                <a:pos x="connsiteX9270" y="connsiteY9270"/>
              </a:cxn>
              <a:cxn ang="0">
                <a:pos x="connsiteX9271" y="connsiteY9271"/>
              </a:cxn>
              <a:cxn ang="0">
                <a:pos x="connsiteX9272" y="connsiteY9272"/>
              </a:cxn>
              <a:cxn ang="0">
                <a:pos x="connsiteX9273" y="connsiteY9273"/>
              </a:cxn>
              <a:cxn ang="0">
                <a:pos x="connsiteX9274" y="connsiteY9274"/>
              </a:cxn>
              <a:cxn ang="0">
                <a:pos x="connsiteX9275" y="connsiteY9275"/>
              </a:cxn>
              <a:cxn ang="0">
                <a:pos x="connsiteX9276" y="connsiteY9276"/>
              </a:cxn>
              <a:cxn ang="0">
                <a:pos x="connsiteX9277" y="connsiteY9277"/>
              </a:cxn>
              <a:cxn ang="0">
                <a:pos x="connsiteX9278" y="connsiteY9278"/>
              </a:cxn>
              <a:cxn ang="0">
                <a:pos x="connsiteX9279" y="connsiteY9279"/>
              </a:cxn>
              <a:cxn ang="0">
                <a:pos x="connsiteX9280" y="connsiteY9280"/>
              </a:cxn>
              <a:cxn ang="0">
                <a:pos x="connsiteX9281" y="connsiteY9281"/>
              </a:cxn>
              <a:cxn ang="0">
                <a:pos x="connsiteX9282" y="connsiteY9282"/>
              </a:cxn>
              <a:cxn ang="0">
                <a:pos x="connsiteX9283" y="connsiteY9283"/>
              </a:cxn>
              <a:cxn ang="0">
                <a:pos x="connsiteX9284" y="connsiteY9284"/>
              </a:cxn>
              <a:cxn ang="0">
                <a:pos x="connsiteX9285" y="connsiteY9285"/>
              </a:cxn>
              <a:cxn ang="0">
                <a:pos x="connsiteX9286" y="connsiteY9286"/>
              </a:cxn>
              <a:cxn ang="0">
                <a:pos x="connsiteX9287" y="connsiteY9287"/>
              </a:cxn>
              <a:cxn ang="0">
                <a:pos x="connsiteX9288" y="connsiteY9288"/>
              </a:cxn>
              <a:cxn ang="0">
                <a:pos x="connsiteX9289" y="connsiteY9289"/>
              </a:cxn>
              <a:cxn ang="0">
                <a:pos x="connsiteX9290" y="connsiteY9290"/>
              </a:cxn>
              <a:cxn ang="0">
                <a:pos x="connsiteX9291" y="connsiteY9291"/>
              </a:cxn>
              <a:cxn ang="0">
                <a:pos x="connsiteX9292" y="connsiteY9292"/>
              </a:cxn>
              <a:cxn ang="0">
                <a:pos x="connsiteX9293" y="connsiteY9293"/>
              </a:cxn>
              <a:cxn ang="0">
                <a:pos x="connsiteX9294" y="connsiteY9294"/>
              </a:cxn>
              <a:cxn ang="0">
                <a:pos x="connsiteX9295" y="connsiteY9295"/>
              </a:cxn>
              <a:cxn ang="0">
                <a:pos x="connsiteX9296" y="connsiteY9296"/>
              </a:cxn>
              <a:cxn ang="0">
                <a:pos x="connsiteX9297" y="connsiteY9297"/>
              </a:cxn>
              <a:cxn ang="0">
                <a:pos x="connsiteX9298" y="connsiteY9298"/>
              </a:cxn>
              <a:cxn ang="0">
                <a:pos x="connsiteX9299" y="connsiteY9299"/>
              </a:cxn>
              <a:cxn ang="0">
                <a:pos x="connsiteX9300" y="connsiteY9300"/>
              </a:cxn>
              <a:cxn ang="0">
                <a:pos x="connsiteX9301" y="connsiteY9301"/>
              </a:cxn>
              <a:cxn ang="0">
                <a:pos x="connsiteX9302" y="connsiteY9302"/>
              </a:cxn>
              <a:cxn ang="0">
                <a:pos x="connsiteX9303" y="connsiteY9303"/>
              </a:cxn>
              <a:cxn ang="0">
                <a:pos x="connsiteX9304" y="connsiteY9304"/>
              </a:cxn>
              <a:cxn ang="0">
                <a:pos x="connsiteX9305" y="connsiteY9305"/>
              </a:cxn>
              <a:cxn ang="0">
                <a:pos x="connsiteX9306" y="connsiteY9306"/>
              </a:cxn>
              <a:cxn ang="0">
                <a:pos x="connsiteX9307" y="connsiteY9307"/>
              </a:cxn>
              <a:cxn ang="0">
                <a:pos x="connsiteX9308" y="connsiteY9308"/>
              </a:cxn>
              <a:cxn ang="0">
                <a:pos x="connsiteX9309" y="connsiteY9309"/>
              </a:cxn>
              <a:cxn ang="0">
                <a:pos x="connsiteX9310" y="connsiteY9310"/>
              </a:cxn>
              <a:cxn ang="0">
                <a:pos x="connsiteX9311" y="connsiteY9311"/>
              </a:cxn>
              <a:cxn ang="0">
                <a:pos x="connsiteX9312" y="connsiteY9312"/>
              </a:cxn>
              <a:cxn ang="0">
                <a:pos x="connsiteX9313" y="connsiteY9313"/>
              </a:cxn>
              <a:cxn ang="0">
                <a:pos x="connsiteX9314" y="connsiteY9314"/>
              </a:cxn>
              <a:cxn ang="0">
                <a:pos x="connsiteX9315" y="connsiteY9315"/>
              </a:cxn>
              <a:cxn ang="0">
                <a:pos x="connsiteX9316" y="connsiteY9316"/>
              </a:cxn>
              <a:cxn ang="0">
                <a:pos x="connsiteX9317" y="connsiteY9317"/>
              </a:cxn>
              <a:cxn ang="0">
                <a:pos x="connsiteX9318" y="connsiteY9318"/>
              </a:cxn>
              <a:cxn ang="0">
                <a:pos x="connsiteX9319" y="connsiteY9319"/>
              </a:cxn>
              <a:cxn ang="0">
                <a:pos x="connsiteX9320" y="connsiteY9320"/>
              </a:cxn>
              <a:cxn ang="0">
                <a:pos x="connsiteX9321" y="connsiteY9321"/>
              </a:cxn>
              <a:cxn ang="0">
                <a:pos x="connsiteX9322" y="connsiteY9322"/>
              </a:cxn>
              <a:cxn ang="0">
                <a:pos x="connsiteX9323" y="connsiteY9323"/>
              </a:cxn>
              <a:cxn ang="0">
                <a:pos x="connsiteX9324" y="connsiteY9324"/>
              </a:cxn>
              <a:cxn ang="0">
                <a:pos x="connsiteX9325" y="connsiteY9325"/>
              </a:cxn>
              <a:cxn ang="0">
                <a:pos x="connsiteX9326" y="connsiteY9326"/>
              </a:cxn>
              <a:cxn ang="0">
                <a:pos x="connsiteX9327" y="connsiteY9327"/>
              </a:cxn>
              <a:cxn ang="0">
                <a:pos x="connsiteX9328" y="connsiteY9328"/>
              </a:cxn>
              <a:cxn ang="0">
                <a:pos x="connsiteX9329" y="connsiteY9329"/>
              </a:cxn>
              <a:cxn ang="0">
                <a:pos x="connsiteX9330" y="connsiteY9330"/>
              </a:cxn>
              <a:cxn ang="0">
                <a:pos x="connsiteX9331" y="connsiteY9331"/>
              </a:cxn>
              <a:cxn ang="0">
                <a:pos x="connsiteX9332" y="connsiteY9332"/>
              </a:cxn>
              <a:cxn ang="0">
                <a:pos x="connsiteX9333" y="connsiteY9333"/>
              </a:cxn>
              <a:cxn ang="0">
                <a:pos x="connsiteX9334" y="connsiteY9334"/>
              </a:cxn>
              <a:cxn ang="0">
                <a:pos x="connsiteX9335" y="connsiteY9335"/>
              </a:cxn>
              <a:cxn ang="0">
                <a:pos x="connsiteX9336" y="connsiteY9336"/>
              </a:cxn>
              <a:cxn ang="0">
                <a:pos x="connsiteX9337" y="connsiteY9337"/>
              </a:cxn>
              <a:cxn ang="0">
                <a:pos x="connsiteX9338" y="connsiteY9338"/>
              </a:cxn>
              <a:cxn ang="0">
                <a:pos x="connsiteX9339" y="connsiteY9339"/>
              </a:cxn>
              <a:cxn ang="0">
                <a:pos x="connsiteX9340" y="connsiteY9340"/>
              </a:cxn>
              <a:cxn ang="0">
                <a:pos x="connsiteX9341" y="connsiteY9341"/>
              </a:cxn>
              <a:cxn ang="0">
                <a:pos x="connsiteX9342" y="connsiteY9342"/>
              </a:cxn>
              <a:cxn ang="0">
                <a:pos x="connsiteX9343" y="connsiteY9343"/>
              </a:cxn>
              <a:cxn ang="0">
                <a:pos x="connsiteX9344" y="connsiteY9344"/>
              </a:cxn>
              <a:cxn ang="0">
                <a:pos x="connsiteX9345" y="connsiteY9345"/>
              </a:cxn>
              <a:cxn ang="0">
                <a:pos x="connsiteX9346" y="connsiteY9346"/>
              </a:cxn>
              <a:cxn ang="0">
                <a:pos x="connsiteX9347" y="connsiteY9347"/>
              </a:cxn>
              <a:cxn ang="0">
                <a:pos x="connsiteX9348" y="connsiteY9348"/>
              </a:cxn>
              <a:cxn ang="0">
                <a:pos x="connsiteX9349" y="connsiteY9349"/>
              </a:cxn>
              <a:cxn ang="0">
                <a:pos x="connsiteX9350" y="connsiteY9350"/>
              </a:cxn>
              <a:cxn ang="0">
                <a:pos x="connsiteX9351" y="connsiteY9351"/>
              </a:cxn>
              <a:cxn ang="0">
                <a:pos x="connsiteX9352" y="connsiteY9352"/>
              </a:cxn>
              <a:cxn ang="0">
                <a:pos x="connsiteX9353" y="connsiteY9353"/>
              </a:cxn>
              <a:cxn ang="0">
                <a:pos x="connsiteX9354" y="connsiteY9354"/>
              </a:cxn>
              <a:cxn ang="0">
                <a:pos x="connsiteX9355" y="connsiteY9355"/>
              </a:cxn>
              <a:cxn ang="0">
                <a:pos x="connsiteX9356" y="connsiteY9356"/>
              </a:cxn>
              <a:cxn ang="0">
                <a:pos x="connsiteX9357" y="connsiteY9357"/>
              </a:cxn>
              <a:cxn ang="0">
                <a:pos x="connsiteX9358" y="connsiteY9358"/>
              </a:cxn>
              <a:cxn ang="0">
                <a:pos x="connsiteX9359" y="connsiteY9359"/>
              </a:cxn>
              <a:cxn ang="0">
                <a:pos x="connsiteX9360" y="connsiteY9360"/>
              </a:cxn>
              <a:cxn ang="0">
                <a:pos x="connsiteX9361" y="connsiteY9361"/>
              </a:cxn>
              <a:cxn ang="0">
                <a:pos x="connsiteX9362" y="connsiteY9362"/>
              </a:cxn>
              <a:cxn ang="0">
                <a:pos x="connsiteX9363" y="connsiteY9363"/>
              </a:cxn>
              <a:cxn ang="0">
                <a:pos x="connsiteX9364" y="connsiteY9364"/>
              </a:cxn>
              <a:cxn ang="0">
                <a:pos x="connsiteX9365" y="connsiteY9365"/>
              </a:cxn>
              <a:cxn ang="0">
                <a:pos x="connsiteX9366" y="connsiteY9366"/>
              </a:cxn>
              <a:cxn ang="0">
                <a:pos x="connsiteX9367" y="connsiteY9367"/>
              </a:cxn>
              <a:cxn ang="0">
                <a:pos x="connsiteX9368" y="connsiteY9368"/>
              </a:cxn>
              <a:cxn ang="0">
                <a:pos x="connsiteX9369" y="connsiteY9369"/>
              </a:cxn>
              <a:cxn ang="0">
                <a:pos x="connsiteX9370" y="connsiteY9370"/>
              </a:cxn>
              <a:cxn ang="0">
                <a:pos x="connsiteX9371" y="connsiteY9371"/>
              </a:cxn>
              <a:cxn ang="0">
                <a:pos x="connsiteX9372" y="connsiteY9372"/>
              </a:cxn>
              <a:cxn ang="0">
                <a:pos x="connsiteX9373" y="connsiteY9373"/>
              </a:cxn>
              <a:cxn ang="0">
                <a:pos x="connsiteX9374" y="connsiteY9374"/>
              </a:cxn>
              <a:cxn ang="0">
                <a:pos x="connsiteX9375" y="connsiteY9375"/>
              </a:cxn>
              <a:cxn ang="0">
                <a:pos x="connsiteX9376" y="connsiteY9376"/>
              </a:cxn>
              <a:cxn ang="0">
                <a:pos x="connsiteX9377" y="connsiteY9377"/>
              </a:cxn>
              <a:cxn ang="0">
                <a:pos x="connsiteX9378" y="connsiteY9378"/>
              </a:cxn>
              <a:cxn ang="0">
                <a:pos x="connsiteX9379" y="connsiteY9379"/>
              </a:cxn>
              <a:cxn ang="0">
                <a:pos x="connsiteX9380" y="connsiteY9380"/>
              </a:cxn>
              <a:cxn ang="0">
                <a:pos x="connsiteX9381" y="connsiteY9381"/>
              </a:cxn>
              <a:cxn ang="0">
                <a:pos x="connsiteX9382" y="connsiteY9382"/>
              </a:cxn>
              <a:cxn ang="0">
                <a:pos x="connsiteX9383" y="connsiteY9383"/>
              </a:cxn>
              <a:cxn ang="0">
                <a:pos x="connsiteX9384" y="connsiteY9384"/>
              </a:cxn>
              <a:cxn ang="0">
                <a:pos x="connsiteX9385" y="connsiteY9385"/>
              </a:cxn>
              <a:cxn ang="0">
                <a:pos x="connsiteX9386" y="connsiteY9386"/>
              </a:cxn>
              <a:cxn ang="0">
                <a:pos x="connsiteX9387" y="connsiteY9387"/>
              </a:cxn>
              <a:cxn ang="0">
                <a:pos x="connsiteX9388" y="connsiteY9388"/>
              </a:cxn>
              <a:cxn ang="0">
                <a:pos x="connsiteX9389" y="connsiteY9389"/>
              </a:cxn>
              <a:cxn ang="0">
                <a:pos x="connsiteX9390" y="connsiteY9390"/>
              </a:cxn>
              <a:cxn ang="0">
                <a:pos x="connsiteX9391" y="connsiteY9391"/>
              </a:cxn>
              <a:cxn ang="0">
                <a:pos x="connsiteX9392" y="connsiteY9392"/>
              </a:cxn>
              <a:cxn ang="0">
                <a:pos x="connsiteX9393" y="connsiteY9393"/>
              </a:cxn>
              <a:cxn ang="0">
                <a:pos x="connsiteX9394" y="connsiteY9394"/>
              </a:cxn>
              <a:cxn ang="0">
                <a:pos x="connsiteX9395" y="connsiteY9395"/>
              </a:cxn>
              <a:cxn ang="0">
                <a:pos x="connsiteX9396" y="connsiteY9396"/>
              </a:cxn>
              <a:cxn ang="0">
                <a:pos x="connsiteX9397" y="connsiteY9397"/>
              </a:cxn>
              <a:cxn ang="0">
                <a:pos x="connsiteX9398" y="connsiteY9398"/>
              </a:cxn>
              <a:cxn ang="0">
                <a:pos x="connsiteX9399" y="connsiteY9399"/>
              </a:cxn>
              <a:cxn ang="0">
                <a:pos x="connsiteX9400" y="connsiteY9400"/>
              </a:cxn>
              <a:cxn ang="0">
                <a:pos x="connsiteX9401" y="connsiteY9401"/>
              </a:cxn>
              <a:cxn ang="0">
                <a:pos x="connsiteX9402" y="connsiteY9402"/>
              </a:cxn>
              <a:cxn ang="0">
                <a:pos x="connsiteX9403" y="connsiteY9403"/>
              </a:cxn>
              <a:cxn ang="0">
                <a:pos x="connsiteX9404" y="connsiteY9404"/>
              </a:cxn>
              <a:cxn ang="0">
                <a:pos x="connsiteX9405" y="connsiteY9405"/>
              </a:cxn>
              <a:cxn ang="0">
                <a:pos x="connsiteX9406" y="connsiteY9406"/>
              </a:cxn>
              <a:cxn ang="0">
                <a:pos x="connsiteX9407" y="connsiteY9407"/>
              </a:cxn>
              <a:cxn ang="0">
                <a:pos x="connsiteX9408" y="connsiteY9408"/>
              </a:cxn>
              <a:cxn ang="0">
                <a:pos x="connsiteX9409" y="connsiteY9409"/>
              </a:cxn>
              <a:cxn ang="0">
                <a:pos x="connsiteX9410" y="connsiteY9410"/>
              </a:cxn>
              <a:cxn ang="0">
                <a:pos x="connsiteX9411" y="connsiteY9411"/>
              </a:cxn>
              <a:cxn ang="0">
                <a:pos x="connsiteX9412" y="connsiteY9412"/>
              </a:cxn>
              <a:cxn ang="0">
                <a:pos x="connsiteX9413" y="connsiteY9413"/>
              </a:cxn>
              <a:cxn ang="0">
                <a:pos x="connsiteX9414" y="connsiteY9414"/>
              </a:cxn>
              <a:cxn ang="0">
                <a:pos x="connsiteX9415" y="connsiteY9415"/>
              </a:cxn>
              <a:cxn ang="0">
                <a:pos x="connsiteX9416" y="connsiteY9416"/>
              </a:cxn>
              <a:cxn ang="0">
                <a:pos x="connsiteX9417" y="connsiteY9417"/>
              </a:cxn>
              <a:cxn ang="0">
                <a:pos x="connsiteX9418" y="connsiteY9418"/>
              </a:cxn>
              <a:cxn ang="0">
                <a:pos x="connsiteX9419" y="connsiteY9419"/>
              </a:cxn>
              <a:cxn ang="0">
                <a:pos x="connsiteX9420" y="connsiteY9420"/>
              </a:cxn>
              <a:cxn ang="0">
                <a:pos x="connsiteX9421" y="connsiteY9421"/>
              </a:cxn>
              <a:cxn ang="0">
                <a:pos x="connsiteX9422" y="connsiteY9422"/>
              </a:cxn>
              <a:cxn ang="0">
                <a:pos x="connsiteX9423" y="connsiteY9423"/>
              </a:cxn>
              <a:cxn ang="0">
                <a:pos x="connsiteX9424" y="connsiteY9424"/>
              </a:cxn>
              <a:cxn ang="0">
                <a:pos x="connsiteX9425" y="connsiteY9425"/>
              </a:cxn>
              <a:cxn ang="0">
                <a:pos x="connsiteX9426" y="connsiteY9426"/>
              </a:cxn>
              <a:cxn ang="0">
                <a:pos x="connsiteX9427" y="connsiteY9427"/>
              </a:cxn>
              <a:cxn ang="0">
                <a:pos x="connsiteX9428" y="connsiteY9428"/>
              </a:cxn>
              <a:cxn ang="0">
                <a:pos x="connsiteX9429" y="connsiteY9429"/>
              </a:cxn>
              <a:cxn ang="0">
                <a:pos x="connsiteX9430" y="connsiteY9430"/>
              </a:cxn>
              <a:cxn ang="0">
                <a:pos x="connsiteX9431" y="connsiteY9431"/>
              </a:cxn>
              <a:cxn ang="0">
                <a:pos x="connsiteX9432" y="connsiteY9432"/>
              </a:cxn>
              <a:cxn ang="0">
                <a:pos x="connsiteX9433" y="connsiteY9433"/>
              </a:cxn>
              <a:cxn ang="0">
                <a:pos x="connsiteX9434" y="connsiteY9434"/>
              </a:cxn>
              <a:cxn ang="0">
                <a:pos x="connsiteX9435" y="connsiteY9435"/>
              </a:cxn>
              <a:cxn ang="0">
                <a:pos x="connsiteX9436" y="connsiteY9436"/>
              </a:cxn>
              <a:cxn ang="0">
                <a:pos x="connsiteX9437" y="connsiteY9437"/>
              </a:cxn>
              <a:cxn ang="0">
                <a:pos x="connsiteX9438" y="connsiteY9438"/>
              </a:cxn>
              <a:cxn ang="0">
                <a:pos x="connsiteX9439" y="connsiteY9439"/>
              </a:cxn>
              <a:cxn ang="0">
                <a:pos x="connsiteX9440" y="connsiteY9440"/>
              </a:cxn>
              <a:cxn ang="0">
                <a:pos x="connsiteX9441" y="connsiteY9441"/>
              </a:cxn>
              <a:cxn ang="0">
                <a:pos x="connsiteX9442" y="connsiteY9442"/>
              </a:cxn>
              <a:cxn ang="0">
                <a:pos x="connsiteX9443" y="connsiteY9443"/>
              </a:cxn>
              <a:cxn ang="0">
                <a:pos x="connsiteX9444" y="connsiteY9444"/>
              </a:cxn>
              <a:cxn ang="0">
                <a:pos x="connsiteX9445" y="connsiteY9445"/>
              </a:cxn>
              <a:cxn ang="0">
                <a:pos x="connsiteX9446" y="connsiteY9446"/>
              </a:cxn>
              <a:cxn ang="0">
                <a:pos x="connsiteX9447" y="connsiteY9447"/>
              </a:cxn>
              <a:cxn ang="0">
                <a:pos x="connsiteX9448" y="connsiteY9448"/>
              </a:cxn>
              <a:cxn ang="0">
                <a:pos x="connsiteX9449" y="connsiteY9449"/>
              </a:cxn>
              <a:cxn ang="0">
                <a:pos x="connsiteX9450" y="connsiteY9450"/>
              </a:cxn>
              <a:cxn ang="0">
                <a:pos x="connsiteX9451" y="connsiteY9451"/>
              </a:cxn>
              <a:cxn ang="0">
                <a:pos x="connsiteX9452" y="connsiteY9452"/>
              </a:cxn>
              <a:cxn ang="0">
                <a:pos x="connsiteX9453" y="connsiteY9453"/>
              </a:cxn>
              <a:cxn ang="0">
                <a:pos x="connsiteX9454" y="connsiteY9454"/>
              </a:cxn>
              <a:cxn ang="0">
                <a:pos x="connsiteX9455" y="connsiteY9455"/>
              </a:cxn>
              <a:cxn ang="0">
                <a:pos x="connsiteX9456" y="connsiteY9456"/>
              </a:cxn>
              <a:cxn ang="0">
                <a:pos x="connsiteX9457" y="connsiteY9457"/>
              </a:cxn>
              <a:cxn ang="0">
                <a:pos x="connsiteX9458" y="connsiteY9458"/>
              </a:cxn>
              <a:cxn ang="0">
                <a:pos x="connsiteX9459" y="connsiteY9459"/>
              </a:cxn>
              <a:cxn ang="0">
                <a:pos x="connsiteX9460" y="connsiteY9460"/>
              </a:cxn>
              <a:cxn ang="0">
                <a:pos x="connsiteX9461" y="connsiteY9461"/>
              </a:cxn>
              <a:cxn ang="0">
                <a:pos x="connsiteX9462" y="connsiteY9462"/>
              </a:cxn>
              <a:cxn ang="0">
                <a:pos x="connsiteX9463" y="connsiteY9463"/>
              </a:cxn>
              <a:cxn ang="0">
                <a:pos x="connsiteX9464" y="connsiteY9464"/>
              </a:cxn>
              <a:cxn ang="0">
                <a:pos x="connsiteX9465" y="connsiteY9465"/>
              </a:cxn>
              <a:cxn ang="0">
                <a:pos x="connsiteX9466" y="connsiteY9466"/>
              </a:cxn>
              <a:cxn ang="0">
                <a:pos x="connsiteX9467" y="connsiteY9467"/>
              </a:cxn>
              <a:cxn ang="0">
                <a:pos x="connsiteX9468" y="connsiteY9468"/>
              </a:cxn>
              <a:cxn ang="0">
                <a:pos x="connsiteX9469" y="connsiteY9469"/>
              </a:cxn>
              <a:cxn ang="0">
                <a:pos x="connsiteX9470" y="connsiteY9470"/>
              </a:cxn>
              <a:cxn ang="0">
                <a:pos x="connsiteX9471" y="connsiteY9471"/>
              </a:cxn>
              <a:cxn ang="0">
                <a:pos x="connsiteX9472" y="connsiteY9472"/>
              </a:cxn>
              <a:cxn ang="0">
                <a:pos x="connsiteX9473" y="connsiteY9473"/>
              </a:cxn>
              <a:cxn ang="0">
                <a:pos x="connsiteX9474" y="connsiteY9474"/>
              </a:cxn>
              <a:cxn ang="0">
                <a:pos x="connsiteX9475" y="connsiteY9475"/>
              </a:cxn>
              <a:cxn ang="0">
                <a:pos x="connsiteX9476" y="connsiteY9476"/>
              </a:cxn>
              <a:cxn ang="0">
                <a:pos x="connsiteX9477" y="connsiteY9477"/>
              </a:cxn>
              <a:cxn ang="0">
                <a:pos x="connsiteX9478" y="connsiteY9478"/>
              </a:cxn>
              <a:cxn ang="0">
                <a:pos x="connsiteX9479" y="connsiteY9479"/>
              </a:cxn>
              <a:cxn ang="0">
                <a:pos x="connsiteX9480" y="connsiteY9480"/>
              </a:cxn>
              <a:cxn ang="0">
                <a:pos x="connsiteX9481" y="connsiteY9481"/>
              </a:cxn>
              <a:cxn ang="0">
                <a:pos x="connsiteX9482" y="connsiteY9482"/>
              </a:cxn>
              <a:cxn ang="0">
                <a:pos x="connsiteX9483" y="connsiteY9483"/>
              </a:cxn>
              <a:cxn ang="0">
                <a:pos x="connsiteX9484" y="connsiteY9484"/>
              </a:cxn>
              <a:cxn ang="0">
                <a:pos x="connsiteX9485" y="connsiteY9485"/>
              </a:cxn>
              <a:cxn ang="0">
                <a:pos x="connsiteX9486" y="connsiteY9486"/>
              </a:cxn>
              <a:cxn ang="0">
                <a:pos x="connsiteX9487" y="connsiteY9487"/>
              </a:cxn>
              <a:cxn ang="0">
                <a:pos x="connsiteX9488" y="connsiteY9488"/>
              </a:cxn>
              <a:cxn ang="0">
                <a:pos x="connsiteX9489" y="connsiteY9489"/>
              </a:cxn>
              <a:cxn ang="0">
                <a:pos x="connsiteX9490" y="connsiteY9490"/>
              </a:cxn>
              <a:cxn ang="0">
                <a:pos x="connsiteX9491" y="connsiteY9491"/>
              </a:cxn>
              <a:cxn ang="0">
                <a:pos x="connsiteX9492" y="connsiteY9492"/>
              </a:cxn>
              <a:cxn ang="0">
                <a:pos x="connsiteX9493" y="connsiteY9493"/>
              </a:cxn>
              <a:cxn ang="0">
                <a:pos x="connsiteX9494" y="connsiteY9494"/>
              </a:cxn>
              <a:cxn ang="0">
                <a:pos x="connsiteX9495" y="connsiteY9495"/>
              </a:cxn>
              <a:cxn ang="0">
                <a:pos x="connsiteX9496" y="connsiteY9496"/>
              </a:cxn>
              <a:cxn ang="0">
                <a:pos x="connsiteX9497" y="connsiteY9497"/>
              </a:cxn>
              <a:cxn ang="0">
                <a:pos x="connsiteX9498" y="connsiteY9498"/>
              </a:cxn>
              <a:cxn ang="0">
                <a:pos x="connsiteX9499" y="connsiteY9499"/>
              </a:cxn>
              <a:cxn ang="0">
                <a:pos x="connsiteX9500" y="connsiteY9500"/>
              </a:cxn>
              <a:cxn ang="0">
                <a:pos x="connsiteX9501" y="connsiteY9501"/>
              </a:cxn>
              <a:cxn ang="0">
                <a:pos x="connsiteX9502" y="connsiteY9502"/>
              </a:cxn>
              <a:cxn ang="0">
                <a:pos x="connsiteX9503" y="connsiteY9503"/>
              </a:cxn>
              <a:cxn ang="0">
                <a:pos x="connsiteX9504" y="connsiteY9504"/>
              </a:cxn>
              <a:cxn ang="0">
                <a:pos x="connsiteX9505" y="connsiteY9505"/>
              </a:cxn>
              <a:cxn ang="0">
                <a:pos x="connsiteX9506" y="connsiteY9506"/>
              </a:cxn>
              <a:cxn ang="0">
                <a:pos x="connsiteX9507" y="connsiteY9507"/>
              </a:cxn>
              <a:cxn ang="0">
                <a:pos x="connsiteX9508" y="connsiteY9508"/>
              </a:cxn>
              <a:cxn ang="0">
                <a:pos x="connsiteX9509" y="connsiteY9509"/>
              </a:cxn>
              <a:cxn ang="0">
                <a:pos x="connsiteX9510" y="connsiteY9510"/>
              </a:cxn>
              <a:cxn ang="0">
                <a:pos x="connsiteX9511" y="connsiteY9511"/>
              </a:cxn>
              <a:cxn ang="0">
                <a:pos x="connsiteX9512" y="connsiteY9512"/>
              </a:cxn>
              <a:cxn ang="0">
                <a:pos x="connsiteX9513" y="connsiteY9513"/>
              </a:cxn>
              <a:cxn ang="0">
                <a:pos x="connsiteX9514" y="connsiteY9514"/>
              </a:cxn>
              <a:cxn ang="0">
                <a:pos x="connsiteX9515" y="connsiteY9515"/>
              </a:cxn>
              <a:cxn ang="0">
                <a:pos x="connsiteX9516" y="connsiteY9516"/>
              </a:cxn>
              <a:cxn ang="0">
                <a:pos x="connsiteX9517" y="connsiteY9517"/>
              </a:cxn>
              <a:cxn ang="0">
                <a:pos x="connsiteX9518" y="connsiteY9518"/>
              </a:cxn>
              <a:cxn ang="0">
                <a:pos x="connsiteX9519" y="connsiteY9519"/>
              </a:cxn>
              <a:cxn ang="0">
                <a:pos x="connsiteX9520" y="connsiteY9520"/>
              </a:cxn>
              <a:cxn ang="0">
                <a:pos x="connsiteX9521" y="connsiteY9521"/>
              </a:cxn>
              <a:cxn ang="0">
                <a:pos x="connsiteX9522" y="connsiteY9522"/>
              </a:cxn>
              <a:cxn ang="0">
                <a:pos x="connsiteX9523" y="connsiteY9523"/>
              </a:cxn>
              <a:cxn ang="0">
                <a:pos x="connsiteX9524" y="connsiteY9524"/>
              </a:cxn>
              <a:cxn ang="0">
                <a:pos x="connsiteX9525" y="connsiteY9525"/>
              </a:cxn>
              <a:cxn ang="0">
                <a:pos x="connsiteX9526" y="connsiteY9526"/>
              </a:cxn>
              <a:cxn ang="0">
                <a:pos x="connsiteX9527" y="connsiteY9527"/>
              </a:cxn>
              <a:cxn ang="0">
                <a:pos x="connsiteX9528" y="connsiteY9528"/>
              </a:cxn>
              <a:cxn ang="0">
                <a:pos x="connsiteX9529" y="connsiteY9529"/>
              </a:cxn>
              <a:cxn ang="0">
                <a:pos x="connsiteX9530" y="connsiteY9530"/>
              </a:cxn>
              <a:cxn ang="0">
                <a:pos x="connsiteX9531" y="connsiteY9531"/>
              </a:cxn>
              <a:cxn ang="0">
                <a:pos x="connsiteX9532" y="connsiteY9532"/>
              </a:cxn>
              <a:cxn ang="0">
                <a:pos x="connsiteX9533" y="connsiteY9533"/>
              </a:cxn>
              <a:cxn ang="0">
                <a:pos x="connsiteX9534" y="connsiteY9534"/>
              </a:cxn>
              <a:cxn ang="0">
                <a:pos x="connsiteX9535" y="connsiteY9535"/>
              </a:cxn>
              <a:cxn ang="0">
                <a:pos x="connsiteX9536" y="connsiteY9536"/>
              </a:cxn>
              <a:cxn ang="0">
                <a:pos x="connsiteX9537" y="connsiteY9537"/>
              </a:cxn>
              <a:cxn ang="0">
                <a:pos x="connsiteX9538" y="connsiteY9538"/>
              </a:cxn>
              <a:cxn ang="0">
                <a:pos x="connsiteX9539" y="connsiteY9539"/>
              </a:cxn>
              <a:cxn ang="0">
                <a:pos x="connsiteX9540" y="connsiteY9540"/>
              </a:cxn>
              <a:cxn ang="0">
                <a:pos x="connsiteX9541" y="connsiteY9541"/>
              </a:cxn>
              <a:cxn ang="0">
                <a:pos x="connsiteX9542" y="connsiteY9542"/>
              </a:cxn>
              <a:cxn ang="0">
                <a:pos x="connsiteX9543" y="connsiteY9543"/>
              </a:cxn>
              <a:cxn ang="0">
                <a:pos x="connsiteX9544" y="connsiteY9544"/>
              </a:cxn>
              <a:cxn ang="0">
                <a:pos x="connsiteX9545" y="connsiteY9545"/>
              </a:cxn>
              <a:cxn ang="0">
                <a:pos x="connsiteX9546" y="connsiteY9546"/>
              </a:cxn>
              <a:cxn ang="0">
                <a:pos x="connsiteX9547" y="connsiteY9547"/>
              </a:cxn>
              <a:cxn ang="0">
                <a:pos x="connsiteX9548" y="connsiteY9548"/>
              </a:cxn>
              <a:cxn ang="0">
                <a:pos x="connsiteX9549" y="connsiteY9549"/>
              </a:cxn>
              <a:cxn ang="0">
                <a:pos x="connsiteX9550" y="connsiteY9550"/>
              </a:cxn>
              <a:cxn ang="0">
                <a:pos x="connsiteX9551" y="connsiteY9551"/>
              </a:cxn>
              <a:cxn ang="0">
                <a:pos x="connsiteX9552" y="connsiteY9552"/>
              </a:cxn>
              <a:cxn ang="0">
                <a:pos x="connsiteX9553" y="connsiteY9553"/>
              </a:cxn>
              <a:cxn ang="0">
                <a:pos x="connsiteX9554" y="connsiteY9554"/>
              </a:cxn>
              <a:cxn ang="0">
                <a:pos x="connsiteX9555" y="connsiteY9555"/>
              </a:cxn>
              <a:cxn ang="0">
                <a:pos x="connsiteX9556" y="connsiteY9556"/>
              </a:cxn>
              <a:cxn ang="0">
                <a:pos x="connsiteX9557" y="connsiteY9557"/>
              </a:cxn>
              <a:cxn ang="0">
                <a:pos x="connsiteX9558" y="connsiteY9558"/>
              </a:cxn>
              <a:cxn ang="0">
                <a:pos x="connsiteX9559" y="connsiteY9559"/>
              </a:cxn>
              <a:cxn ang="0">
                <a:pos x="connsiteX9560" y="connsiteY9560"/>
              </a:cxn>
              <a:cxn ang="0">
                <a:pos x="connsiteX9561" y="connsiteY9561"/>
              </a:cxn>
              <a:cxn ang="0">
                <a:pos x="connsiteX9562" y="connsiteY9562"/>
              </a:cxn>
              <a:cxn ang="0">
                <a:pos x="connsiteX9563" y="connsiteY9563"/>
              </a:cxn>
              <a:cxn ang="0">
                <a:pos x="connsiteX9564" y="connsiteY9564"/>
              </a:cxn>
              <a:cxn ang="0">
                <a:pos x="connsiteX9565" y="connsiteY9565"/>
              </a:cxn>
              <a:cxn ang="0">
                <a:pos x="connsiteX9566" y="connsiteY9566"/>
              </a:cxn>
              <a:cxn ang="0">
                <a:pos x="connsiteX9567" y="connsiteY9567"/>
              </a:cxn>
              <a:cxn ang="0">
                <a:pos x="connsiteX9568" y="connsiteY9568"/>
              </a:cxn>
              <a:cxn ang="0">
                <a:pos x="connsiteX9569" y="connsiteY9569"/>
              </a:cxn>
              <a:cxn ang="0">
                <a:pos x="connsiteX9570" y="connsiteY9570"/>
              </a:cxn>
              <a:cxn ang="0">
                <a:pos x="connsiteX9571" y="connsiteY9571"/>
              </a:cxn>
              <a:cxn ang="0">
                <a:pos x="connsiteX9572" y="connsiteY9572"/>
              </a:cxn>
              <a:cxn ang="0">
                <a:pos x="connsiteX9573" y="connsiteY9573"/>
              </a:cxn>
              <a:cxn ang="0">
                <a:pos x="connsiteX9574" y="connsiteY9574"/>
              </a:cxn>
              <a:cxn ang="0">
                <a:pos x="connsiteX9575" y="connsiteY9575"/>
              </a:cxn>
              <a:cxn ang="0">
                <a:pos x="connsiteX9576" y="connsiteY9576"/>
              </a:cxn>
              <a:cxn ang="0">
                <a:pos x="connsiteX9577" y="connsiteY9577"/>
              </a:cxn>
              <a:cxn ang="0">
                <a:pos x="connsiteX9578" y="connsiteY9578"/>
              </a:cxn>
              <a:cxn ang="0">
                <a:pos x="connsiteX9579" y="connsiteY9579"/>
              </a:cxn>
              <a:cxn ang="0">
                <a:pos x="connsiteX9580" y="connsiteY9580"/>
              </a:cxn>
              <a:cxn ang="0">
                <a:pos x="connsiteX9581" y="connsiteY9581"/>
              </a:cxn>
              <a:cxn ang="0">
                <a:pos x="connsiteX9582" y="connsiteY9582"/>
              </a:cxn>
              <a:cxn ang="0">
                <a:pos x="connsiteX9583" y="connsiteY9583"/>
              </a:cxn>
              <a:cxn ang="0">
                <a:pos x="connsiteX9584" y="connsiteY9584"/>
              </a:cxn>
              <a:cxn ang="0">
                <a:pos x="connsiteX9585" y="connsiteY9585"/>
              </a:cxn>
              <a:cxn ang="0">
                <a:pos x="connsiteX9586" y="connsiteY9586"/>
              </a:cxn>
              <a:cxn ang="0">
                <a:pos x="connsiteX9587" y="connsiteY9587"/>
              </a:cxn>
              <a:cxn ang="0">
                <a:pos x="connsiteX9588" y="connsiteY9588"/>
              </a:cxn>
              <a:cxn ang="0">
                <a:pos x="connsiteX9589" y="connsiteY9589"/>
              </a:cxn>
              <a:cxn ang="0">
                <a:pos x="connsiteX9590" y="connsiteY9590"/>
              </a:cxn>
              <a:cxn ang="0">
                <a:pos x="connsiteX9591" y="connsiteY9591"/>
              </a:cxn>
              <a:cxn ang="0">
                <a:pos x="connsiteX9592" y="connsiteY9592"/>
              </a:cxn>
              <a:cxn ang="0">
                <a:pos x="connsiteX9593" y="connsiteY9593"/>
              </a:cxn>
              <a:cxn ang="0">
                <a:pos x="connsiteX9594" y="connsiteY9594"/>
              </a:cxn>
              <a:cxn ang="0">
                <a:pos x="connsiteX9595" y="connsiteY9595"/>
              </a:cxn>
              <a:cxn ang="0">
                <a:pos x="connsiteX9596" y="connsiteY9596"/>
              </a:cxn>
              <a:cxn ang="0">
                <a:pos x="connsiteX9597" y="connsiteY9597"/>
              </a:cxn>
              <a:cxn ang="0">
                <a:pos x="connsiteX9598" y="connsiteY9598"/>
              </a:cxn>
              <a:cxn ang="0">
                <a:pos x="connsiteX9599" y="connsiteY9599"/>
              </a:cxn>
              <a:cxn ang="0">
                <a:pos x="connsiteX9600" y="connsiteY9600"/>
              </a:cxn>
              <a:cxn ang="0">
                <a:pos x="connsiteX9601" y="connsiteY9601"/>
              </a:cxn>
              <a:cxn ang="0">
                <a:pos x="connsiteX9602" y="connsiteY9602"/>
              </a:cxn>
              <a:cxn ang="0">
                <a:pos x="connsiteX9603" y="connsiteY9603"/>
              </a:cxn>
              <a:cxn ang="0">
                <a:pos x="connsiteX9604" y="connsiteY9604"/>
              </a:cxn>
              <a:cxn ang="0">
                <a:pos x="connsiteX9605" y="connsiteY9605"/>
              </a:cxn>
              <a:cxn ang="0">
                <a:pos x="connsiteX9606" y="connsiteY9606"/>
              </a:cxn>
              <a:cxn ang="0">
                <a:pos x="connsiteX9607" y="connsiteY9607"/>
              </a:cxn>
              <a:cxn ang="0">
                <a:pos x="connsiteX9608" y="connsiteY9608"/>
              </a:cxn>
              <a:cxn ang="0">
                <a:pos x="connsiteX9609" y="connsiteY9609"/>
              </a:cxn>
              <a:cxn ang="0">
                <a:pos x="connsiteX9610" y="connsiteY9610"/>
              </a:cxn>
              <a:cxn ang="0">
                <a:pos x="connsiteX9611" y="connsiteY9611"/>
              </a:cxn>
              <a:cxn ang="0">
                <a:pos x="connsiteX9612" y="connsiteY9612"/>
              </a:cxn>
              <a:cxn ang="0">
                <a:pos x="connsiteX9613" y="connsiteY9613"/>
              </a:cxn>
              <a:cxn ang="0">
                <a:pos x="connsiteX9614" y="connsiteY9614"/>
              </a:cxn>
              <a:cxn ang="0">
                <a:pos x="connsiteX9615" y="connsiteY9615"/>
              </a:cxn>
              <a:cxn ang="0">
                <a:pos x="connsiteX9616" y="connsiteY9616"/>
              </a:cxn>
              <a:cxn ang="0">
                <a:pos x="connsiteX9617" y="connsiteY9617"/>
              </a:cxn>
              <a:cxn ang="0">
                <a:pos x="connsiteX9618" y="connsiteY9618"/>
              </a:cxn>
              <a:cxn ang="0">
                <a:pos x="connsiteX9619" y="connsiteY9619"/>
              </a:cxn>
              <a:cxn ang="0">
                <a:pos x="connsiteX9620" y="connsiteY9620"/>
              </a:cxn>
              <a:cxn ang="0">
                <a:pos x="connsiteX9621" y="connsiteY9621"/>
              </a:cxn>
              <a:cxn ang="0">
                <a:pos x="connsiteX9622" y="connsiteY9622"/>
              </a:cxn>
              <a:cxn ang="0">
                <a:pos x="connsiteX9623" y="connsiteY9623"/>
              </a:cxn>
              <a:cxn ang="0">
                <a:pos x="connsiteX9624" y="connsiteY9624"/>
              </a:cxn>
              <a:cxn ang="0">
                <a:pos x="connsiteX9625" y="connsiteY9625"/>
              </a:cxn>
              <a:cxn ang="0">
                <a:pos x="connsiteX9626" y="connsiteY9626"/>
              </a:cxn>
              <a:cxn ang="0">
                <a:pos x="connsiteX9627" y="connsiteY9627"/>
              </a:cxn>
              <a:cxn ang="0">
                <a:pos x="connsiteX9628" y="connsiteY9628"/>
              </a:cxn>
              <a:cxn ang="0">
                <a:pos x="connsiteX9629" y="connsiteY9629"/>
              </a:cxn>
              <a:cxn ang="0">
                <a:pos x="connsiteX9630" y="connsiteY9630"/>
              </a:cxn>
              <a:cxn ang="0">
                <a:pos x="connsiteX9631" y="connsiteY9631"/>
              </a:cxn>
              <a:cxn ang="0">
                <a:pos x="connsiteX9632" y="connsiteY9632"/>
              </a:cxn>
              <a:cxn ang="0">
                <a:pos x="connsiteX9633" y="connsiteY9633"/>
              </a:cxn>
              <a:cxn ang="0">
                <a:pos x="connsiteX9634" y="connsiteY9634"/>
              </a:cxn>
              <a:cxn ang="0">
                <a:pos x="connsiteX9635" y="connsiteY9635"/>
              </a:cxn>
              <a:cxn ang="0">
                <a:pos x="connsiteX9636" y="connsiteY9636"/>
              </a:cxn>
              <a:cxn ang="0">
                <a:pos x="connsiteX9637" y="connsiteY9637"/>
              </a:cxn>
              <a:cxn ang="0">
                <a:pos x="connsiteX9638" y="connsiteY9638"/>
              </a:cxn>
              <a:cxn ang="0">
                <a:pos x="connsiteX9639" y="connsiteY9639"/>
              </a:cxn>
              <a:cxn ang="0">
                <a:pos x="connsiteX9640" y="connsiteY9640"/>
              </a:cxn>
              <a:cxn ang="0">
                <a:pos x="connsiteX9641" y="connsiteY9641"/>
              </a:cxn>
              <a:cxn ang="0">
                <a:pos x="connsiteX9642" y="connsiteY9642"/>
              </a:cxn>
              <a:cxn ang="0">
                <a:pos x="connsiteX9643" y="connsiteY9643"/>
              </a:cxn>
              <a:cxn ang="0">
                <a:pos x="connsiteX9644" y="connsiteY9644"/>
              </a:cxn>
              <a:cxn ang="0">
                <a:pos x="connsiteX9645" y="connsiteY9645"/>
              </a:cxn>
              <a:cxn ang="0">
                <a:pos x="connsiteX9646" y="connsiteY9646"/>
              </a:cxn>
              <a:cxn ang="0">
                <a:pos x="connsiteX9647" y="connsiteY9647"/>
              </a:cxn>
              <a:cxn ang="0">
                <a:pos x="connsiteX9648" y="connsiteY9648"/>
              </a:cxn>
              <a:cxn ang="0">
                <a:pos x="connsiteX9649" y="connsiteY9649"/>
              </a:cxn>
              <a:cxn ang="0">
                <a:pos x="connsiteX9650" y="connsiteY9650"/>
              </a:cxn>
              <a:cxn ang="0">
                <a:pos x="connsiteX9651" y="connsiteY9651"/>
              </a:cxn>
              <a:cxn ang="0">
                <a:pos x="connsiteX9652" y="connsiteY9652"/>
              </a:cxn>
              <a:cxn ang="0">
                <a:pos x="connsiteX9653" y="connsiteY9653"/>
              </a:cxn>
              <a:cxn ang="0">
                <a:pos x="connsiteX9654" y="connsiteY9654"/>
              </a:cxn>
              <a:cxn ang="0">
                <a:pos x="connsiteX9655" y="connsiteY9655"/>
              </a:cxn>
              <a:cxn ang="0">
                <a:pos x="connsiteX9656" y="connsiteY9656"/>
              </a:cxn>
              <a:cxn ang="0">
                <a:pos x="connsiteX9657" y="connsiteY9657"/>
              </a:cxn>
              <a:cxn ang="0">
                <a:pos x="connsiteX9658" y="connsiteY9658"/>
              </a:cxn>
              <a:cxn ang="0">
                <a:pos x="connsiteX9659" y="connsiteY9659"/>
              </a:cxn>
              <a:cxn ang="0">
                <a:pos x="connsiteX9660" y="connsiteY9660"/>
              </a:cxn>
              <a:cxn ang="0">
                <a:pos x="connsiteX9661" y="connsiteY9661"/>
              </a:cxn>
              <a:cxn ang="0">
                <a:pos x="connsiteX9662" y="connsiteY9662"/>
              </a:cxn>
              <a:cxn ang="0">
                <a:pos x="connsiteX9663" y="connsiteY9663"/>
              </a:cxn>
              <a:cxn ang="0">
                <a:pos x="connsiteX9664" y="connsiteY9664"/>
              </a:cxn>
              <a:cxn ang="0">
                <a:pos x="connsiteX9665" y="connsiteY9665"/>
              </a:cxn>
              <a:cxn ang="0">
                <a:pos x="connsiteX9666" y="connsiteY9666"/>
              </a:cxn>
              <a:cxn ang="0">
                <a:pos x="connsiteX9667" y="connsiteY9667"/>
              </a:cxn>
              <a:cxn ang="0">
                <a:pos x="connsiteX9668" y="connsiteY9668"/>
              </a:cxn>
              <a:cxn ang="0">
                <a:pos x="connsiteX9669" y="connsiteY9669"/>
              </a:cxn>
              <a:cxn ang="0">
                <a:pos x="connsiteX9670" y="connsiteY9670"/>
              </a:cxn>
              <a:cxn ang="0">
                <a:pos x="connsiteX9671" y="connsiteY9671"/>
              </a:cxn>
              <a:cxn ang="0">
                <a:pos x="connsiteX9672" y="connsiteY9672"/>
              </a:cxn>
              <a:cxn ang="0">
                <a:pos x="connsiteX9673" y="connsiteY9673"/>
              </a:cxn>
              <a:cxn ang="0">
                <a:pos x="connsiteX9674" y="connsiteY9674"/>
              </a:cxn>
              <a:cxn ang="0">
                <a:pos x="connsiteX9675" y="connsiteY9675"/>
              </a:cxn>
              <a:cxn ang="0">
                <a:pos x="connsiteX9676" y="connsiteY9676"/>
              </a:cxn>
              <a:cxn ang="0">
                <a:pos x="connsiteX9677" y="connsiteY9677"/>
              </a:cxn>
              <a:cxn ang="0">
                <a:pos x="connsiteX9678" y="connsiteY9678"/>
              </a:cxn>
              <a:cxn ang="0">
                <a:pos x="connsiteX9679" y="connsiteY9679"/>
              </a:cxn>
              <a:cxn ang="0">
                <a:pos x="connsiteX9680" y="connsiteY9680"/>
              </a:cxn>
              <a:cxn ang="0">
                <a:pos x="connsiteX9681" y="connsiteY9681"/>
              </a:cxn>
              <a:cxn ang="0">
                <a:pos x="connsiteX9682" y="connsiteY9682"/>
              </a:cxn>
              <a:cxn ang="0">
                <a:pos x="connsiteX9683" y="connsiteY9683"/>
              </a:cxn>
              <a:cxn ang="0">
                <a:pos x="connsiteX9684" y="connsiteY9684"/>
              </a:cxn>
              <a:cxn ang="0">
                <a:pos x="connsiteX9685" y="connsiteY9685"/>
              </a:cxn>
              <a:cxn ang="0">
                <a:pos x="connsiteX9686" y="connsiteY9686"/>
              </a:cxn>
              <a:cxn ang="0">
                <a:pos x="connsiteX9687" y="connsiteY9687"/>
              </a:cxn>
              <a:cxn ang="0">
                <a:pos x="connsiteX9688" y="connsiteY9688"/>
              </a:cxn>
              <a:cxn ang="0">
                <a:pos x="connsiteX9689" y="connsiteY9689"/>
              </a:cxn>
              <a:cxn ang="0">
                <a:pos x="connsiteX9690" y="connsiteY9690"/>
              </a:cxn>
              <a:cxn ang="0">
                <a:pos x="connsiteX9691" y="connsiteY9691"/>
              </a:cxn>
              <a:cxn ang="0">
                <a:pos x="connsiteX9692" y="connsiteY9692"/>
              </a:cxn>
              <a:cxn ang="0">
                <a:pos x="connsiteX9693" y="connsiteY9693"/>
              </a:cxn>
              <a:cxn ang="0">
                <a:pos x="connsiteX9694" y="connsiteY9694"/>
              </a:cxn>
              <a:cxn ang="0">
                <a:pos x="connsiteX9695" y="connsiteY9695"/>
              </a:cxn>
              <a:cxn ang="0">
                <a:pos x="connsiteX9696" y="connsiteY9696"/>
              </a:cxn>
              <a:cxn ang="0">
                <a:pos x="connsiteX9697" y="connsiteY9697"/>
              </a:cxn>
              <a:cxn ang="0">
                <a:pos x="connsiteX9698" y="connsiteY9698"/>
              </a:cxn>
              <a:cxn ang="0">
                <a:pos x="connsiteX9699" y="connsiteY9699"/>
              </a:cxn>
              <a:cxn ang="0">
                <a:pos x="connsiteX9700" y="connsiteY9700"/>
              </a:cxn>
              <a:cxn ang="0">
                <a:pos x="connsiteX9701" y="connsiteY9701"/>
              </a:cxn>
              <a:cxn ang="0">
                <a:pos x="connsiteX9702" y="connsiteY9702"/>
              </a:cxn>
              <a:cxn ang="0">
                <a:pos x="connsiteX9703" y="connsiteY9703"/>
              </a:cxn>
              <a:cxn ang="0">
                <a:pos x="connsiteX9704" y="connsiteY9704"/>
              </a:cxn>
              <a:cxn ang="0">
                <a:pos x="connsiteX9705" y="connsiteY9705"/>
              </a:cxn>
              <a:cxn ang="0">
                <a:pos x="connsiteX9706" y="connsiteY9706"/>
              </a:cxn>
              <a:cxn ang="0">
                <a:pos x="connsiteX9707" y="connsiteY9707"/>
              </a:cxn>
              <a:cxn ang="0">
                <a:pos x="connsiteX9708" y="connsiteY9708"/>
              </a:cxn>
              <a:cxn ang="0">
                <a:pos x="connsiteX9709" y="connsiteY9709"/>
              </a:cxn>
              <a:cxn ang="0">
                <a:pos x="connsiteX9710" y="connsiteY9710"/>
              </a:cxn>
              <a:cxn ang="0">
                <a:pos x="connsiteX9711" y="connsiteY9711"/>
              </a:cxn>
              <a:cxn ang="0">
                <a:pos x="connsiteX9712" y="connsiteY9712"/>
              </a:cxn>
              <a:cxn ang="0">
                <a:pos x="connsiteX9713" y="connsiteY9713"/>
              </a:cxn>
              <a:cxn ang="0">
                <a:pos x="connsiteX9714" y="connsiteY9714"/>
              </a:cxn>
              <a:cxn ang="0">
                <a:pos x="connsiteX9715" y="connsiteY9715"/>
              </a:cxn>
              <a:cxn ang="0">
                <a:pos x="connsiteX9716" y="connsiteY9716"/>
              </a:cxn>
              <a:cxn ang="0">
                <a:pos x="connsiteX9717" y="connsiteY9717"/>
              </a:cxn>
              <a:cxn ang="0">
                <a:pos x="connsiteX9718" y="connsiteY9718"/>
              </a:cxn>
              <a:cxn ang="0">
                <a:pos x="connsiteX9719" y="connsiteY9719"/>
              </a:cxn>
              <a:cxn ang="0">
                <a:pos x="connsiteX9720" y="connsiteY9720"/>
              </a:cxn>
              <a:cxn ang="0">
                <a:pos x="connsiteX9721" y="connsiteY9721"/>
              </a:cxn>
              <a:cxn ang="0">
                <a:pos x="connsiteX9722" y="connsiteY9722"/>
              </a:cxn>
              <a:cxn ang="0">
                <a:pos x="connsiteX9723" y="connsiteY9723"/>
              </a:cxn>
              <a:cxn ang="0">
                <a:pos x="connsiteX9724" y="connsiteY9724"/>
              </a:cxn>
              <a:cxn ang="0">
                <a:pos x="connsiteX9725" y="connsiteY9725"/>
              </a:cxn>
              <a:cxn ang="0">
                <a:pos x="connsiteX9726" y="connsiteY9726"/>
              </a:cxn>
              <a:cxn ang="0">
                <a:pos x="connsiteX9727" y="connsiteY9727"/>
              </a:cxn>
              <a:cxn ang="0">
                <a:pos x="connsiteX9728" y="connsiteY9728"/>
              </a:cxn>
              <a:cxn ang="0">
                <a:pos x="connsiteX9729" y="connsiteY9729"/>
              </a:cxn>
              <a:cxn ang="0">
                <a:pos x="connsiteX9730" y="connsiteY9730"/>
              </a:cxn>
              <a:cxn ang="0">
                <a:pos x="connsiteX9731" y="connsiteY9731"/>
              </a:cxn>
              <a:cxn ang="0">
                <a:pos x="connsiteX9732" y="connsiteY9732"/>
              </a:cxn>
              <a:cxn ang="0">
                <a:pos x="connsiteX9733" y="connsiteY9733"/>
              </a:cxn>
              <a:cxn ang="0">
                <a:pos x="connsiteX9734" y="connsiteY9734"/>
              </a:cxn>
              <a:cxn ang="0">
                <a:pos x="connsiteX9735" y="connsiteY9735"/>
              </a:cxn>
              <a:cxn ang="0">
                <a:pos x="connsiteX9736" y="connsiteY9736"/>
              </a:cxn>
              <a:cxn ang="0">
                <a:pos x="connsiteX9737" y="connsiteY9737"/>
              </a:cxn>
              <a:cxn ang="0">
                <a:pos x="connsiteX9738" y="connsiteY9738"/>
              </a:cxn>
              <a:cxn ang="0">
                <a:pos x="connsiteX9739" y="connsiteY9739"/>
              </a:cxn>
              <a:cxn ang="0">
                <a:pos x="connsiteX9740" y="connsiteY9740"/>
              </a:cxn>
              <a:cxn ang="0">
                <a:pos x="connsiteX9741" y="connsiteY9741"/>
              </a:cxn>
              <a:cxn ang="0">
                <a:pos x="connsiteX9742" y="connsiteY9742"/>
              </a:cxn>
              <a:cxn ang="0">
                <a:pos x="connsiteX9743" y="connsiteY9743"/>
              </a:cxn>
              <a:cxn ang="0">
                <a:pos x="connsiteX9744" y="connsiteY9744"/>
              </a:cxn>
              <a:cxn ang="0">
                <a:pos x="connsiteX9745" y="connsiteY9745"/>
              </a:cxn>
              <a:cxn ang="0">
                <a:pos x="connsiteX9746" y="connsiteY9746"/>
              </a:cxn>
              <a:cxn ang="0">
                <a:pos x="connsiteX9747" y="connsiteY9747"/>
              </a:cxn>
              <a:cxn ang="0">
                <a:pos x="connsiteX9748" y="connsiteY9748"/>
              </a:cxn>
              <a:cxn ang="0">
                <a:pos x="connsiteX9749" y="connsiteY9749"/>
              </a:cxn>
              <a:cxn ang="0">
                <a:pos x="connsiteX9750" y="connsiteY9750"/>
              </a:cxn>
              <a:cxn ang="0">
                <a:pos x="connsiteX9751" y="connsiteY9751"/>
              </a:cxn>
              <a:cxn ang="0">
                <a:pos x="connsiteX9752" y="connsiteY9752"/>
              </a:cxn>
              <a:cxn ang="0">
                <a:pos x="connsiteX9753" y="connsiteY9753"/>
              </a:cxn>
              <a:cxn ang="0">
                <a:pos x="connsiteX9754" y="connsiteY9754"/>
              </a:cxn>
              <a:cxn ang="0">
                <a:pos x="connsiteX9755" y="connsiteY9755"/>
              </a:cxn>
              <a:cxn ang="0">
                <a:pos x="connsiteX9756" y="connsiteY9756"/>
              </a:cxn>
              <a:cxn ang="0">
                <a:pos x="connsiteX9757" y="connsiteY9757"/>
              </a:cxn>
              <a:cxn ang="0">
                <a:pos x="connsiteX9758" y="connsiteY9758"/>
              </a:cxn>
              <a:cxn ang="0">
                <a:pos x="connsiteX9759" y="connsiteY9759"/>
              </a:cxn>
              <a:cxn ang="0">
                <a:pos x="connsiteX9760" y="connsiteY9760"/>
              </a:cxn>
              <a:cxn ang="0">
                <a:pos x="connsiteX9761" y="connsiteY9761"/>
              </a:cxn>
              <a:cxn ang="0">
                <a:pos x="connsiteX9762" y="connsiteY9762"/>
              </a:cxn>
              <a:cxn ang="0">
                <a:pos x="connsiteX9763" y="connsiteY9763"/>
              </a:cxn>
              <a:cxn ang="0">
                <a:pos x="connsiteX9764" y="connsiteY9764"/>
              </a:cxn>
              <a:cxn ang="0">
                <a:pos x="connsiteX9765" y="connsiteY9765"/>
              </a:cxn>
              <a:cxn ang="0">
                <a:pos x="connsiteX9766" y="connsiteY9766"/>
              </a:cxn>
              <a:cxn ang="0">
                <a:pos x="connsiteX9767" y="connsiteY9767"/>
              </a:cxn>
              <a:cxn ang="0">
                <a:pos x="connsiteX9768" y="connsiteY9768"/>
              </a:cxn>
              <a:cxn ang="0">
                <a:pos x="connsiteX9769" y="connsiteY9769"/>
              </a:cxn>
              <a:cxn ang="0">
                <a:pos x="connsiteX9770" y="connsiteY9770"/>
              </a:cxn>
              <a:cxn ang="0">
                <a:pos x="connsiteX9771" y="connsiteY9771"/>
              </a:cxn>
              <a:cxn ang="0">
                <a:pos x="connsiteX9772" y="connsiteY9772"/>
              </a:cxn>
              <a:cxn ang="0">
                <a:pos x="connsiteX9773" y="connsiteY9773"/>
              </a:cxn>
              <a:cxn ang="0">
                <a:pos x="connsiteX9774" y="connsiteY9774"/>
              </a:cxn>
              <a:cxn ang="0">
                <a:pos x="connsiteX9775" y="connsiteY9775"/>
              </a:cxn>
              <a:cxn ang="0">
                <a:pos x="connsiteX9776" y="connsiteY9776"/>
              </a:cxn>
              <a:cxn ang="0">
                <a:pos x="connsiteX9777" y="connsiteY9777"/>
              </a:cxn>
              <a:cxn ang="0">
                <a:pos x="connsiteX9778" y="connsiteY9778"/>
              </a:cxn>
              <a:cxn ang="0">
                <a:pos x="connsiteX9779" y="connsiteY9779"/>
              </a:cxn>
              <a:cxn ang="0">
                <a:pos x="connsiteX9780" y="connsiteY9780"/>
              </a:cxn>
              <a:cxn ang="0">
                <a:pos x="connsiteX9781" y="connsiteY9781"/>
              </a:cxn>
              <a:cxn ang="0">
                <a:pos x="connsiteX9782" y="connsiteY9782"/>
              </a:cxn>
              <a:cxn ang="0">
                <a:pos x="connsiteX9783" y="connsiteY9783"/>
              </a:cxn>
              <a:cxn ang="0">
                <a:pos x="connsiteX9784" y="connsiteY9784"/>
              </a:cxn>
              <a:cxn ang="0">
                <a:pos x="connsiteX9785" y="connsiteY9785"/>
              </a:cxn>
              <a:cxn ang="0">
                <a:pos x="connsiteX9786" y="connsiteY9786"/>
              </a:cxn>
              <a:cxn ang="0">
                <a:pos x="connsiteX9787" y="connsiteY9787"/>
              </a:cxn>
              <a:cxn ang="0">
                <a:pos x="connsiteX9788" y="connsiteY9788"/>
              </a:cxn>
              <a:cxn ang="0">
                <a:pos x="connsiteX9789" y="connsiteY9789"/>
              </a:cxn>
              <a:cxn ang="0">
                <a:pos x="connsiteX9790" y="connsiteY9790"/>
              </a:cxn>
              <a:cxn ang="0">
                <a:pos x="connsiteX9791" y="connsiteY9791"/>
              </a:cxn>
              <a:cxn ang="0">
                <a:pos x="connsiteX9792" y="connsiteY9792"/>
              </a:cxn>
              <a:cxn ang="0">
                <a:pos x="connsiteX9793" y="connsiteY9793"/>
              </a:cxn>
              <a:cxn ang="0">
                <a:pos x="connsiteX9794" y="connsiteY9794"/>
              </a:cxn>
              <a:cxn ang="0">
                <a:pos x="connsiteX9795" y="connsiteY9795"/>
              </a:cxn>
              <a:cxn ang="0">
                <a:pos x="connsiteX9796" y="connsiteY9796"/>
              </a:cxn>
              <a:cxn ang="0">
                <a:pos x="connsiteX9797" y="connsiteY9797"/>
              </a:cxn>
              <a:cxn ang="0">
                <a:pos x="connsiteX9798" y="connsiteY9798"/>
              </a:cxn>
              <a:cxn ang="0">
                <a:pos x="connsiteX9799" y="connsiteY9799"/>
              </a:cxn>
              <a:cxn ang="0">
                <a:pos x="connsiteX9800" y="connsiteY9800"/>
              </a:cxn>
              <a:cxn ang="0">
                <a:pos x="connsiteX9801" y="connsiteY9801"/>
              </a:cxn>
              <a:cxn ang="0">
                <a:pos x="connsiteX9802" y="connsiteY9802"/>
              </a:cxn>
              <a:cxn ang="0">
                <a:pos x="connsiteX9803" y="connsiteY9803"/>
              </a:cxn>
              <a:cxn ang="0">
                <a:pos x="connsiteX9804" y="connsiteY9804"/>
              </a:cxn>
              <a:cxn ang="0">
                <a:pos x="connsiteX9805" y="connsiteY9805"/>
              </a:cxn>
              <a:cxn ang="0">
                <a:pos x="connsiteX9806" y="connsiteY9806"/>
              </a:cxn>
              <a:cxn ang="0">
                <a:pos x="connsiteX9807" y="connsiteY9807"/>
              </a:cxn>
              <a:cxn ang="0">
                <a:pos x="connsiteX9808" y="connsiteY9808"/>
              </a:cxn>
              <a:cxn ang="0">
                <a:pos x="connsiteX9809" y="connsiteY9809"/>
              </a:cxn>
              <a:cxn ang="0">
                <a:pos x="connsiteX9810" y="connsiteY9810"/>
              </a:cxn>
              <a:cxn ang="0">
                <a:pos x="connsiteX9811" y="connsiteY9811"/>
              </a:cxn>
              <a:cxn ang="0">
                <a:pos x="connsiteX9812" y="connsiteY9812"/>
              </a:cxn>
              <a:cxn ang="0">
                <a:pos x="connsiteX9813" y="connsiteY9813"/>
              </a:cxn>
              <a:cxn ang="0">
                <a:pos x="connsiteX9814" y="connsiteY9814"/>
              </a:cxn>
              <a:cxn ang="0">
                <a:pos x="connsiteX9815" y="connsiteY9815"/>
              </a:cxn>
              <a:cxn ang="0">
                <a:pos x="connsiteX9816" y="connsiteY9816"/>
              </a:cxn>
              <a:cxn ang="0">
                <a:pos x="connsiteX9817" y="connsiteY9817"/>
              </a:cxn>
              <a:cxn ang="0">
                <a:pos x="connsiteX9818" y="connsiteY9818"/>
              </a:cxn>
              <a:cxn ang="0">
                <a:pos x="connsiteX9819" y="connsiteY9819"/>
              </a:cxn>
              <a:cxn ang="0">
                <a:pos x="connsiteX9820" y="connsiteY9820"/>
              </a:cxn>
              <a:cxn ang="0">
                <a:pos x="connsiteX9821" y="connsiteY9821"/>
              </a:cxn>
              <a:cxn ang="0">
                <a:pos x="connsiteX9822" y="connsiteY9822"/>
              </a:cxn>
              <a:cxn ang="0">
                <a:pos x="connsiteX9823" y="connsiteY9823"/>
              </a:cxn>
              <a:cxn ang="0">
                <a:pos x="connsiteX9824" y="connsiteY9824"/>
              </a:cxn>
              <a:cxn ang="0">
                <a:pos x="connsiteX9825" y="connsiteY9825"/>
              </a:cxn>
              <a:cxn ang="0">
                <a:pos x="connsiteX9826" y="connsiteY9826"/>
              </a:cxn>
              <a:cxn ang="0">
                <a:pos x="connsiteX9827" y="connsiteY9827"/>
              </a:cxn>
              <a:cxn ang="0">
                <a:pos x="connsiteX9828" y="connsiteY9828"/>
              </a:cxn>
              <a:cxn ang="0">
                <a:pos x="connsiteX9829" y="connsiteY9829"/>
              </a:cxn>
              <a:cxn ang="0">
                <a:pos x="connsiteX9830" y="connsiteY9830"/>
              </a:cxn>
              <a:cxn ang="0">
                <a:pos x="connsiteX9831" y="connsiteY9831"/>
              </a:cxn>
              <a:cxn ang="0">
                <a:pos x="connsiteX9832" y="connsiteY9832"/>
              </a:cxn>
              <a:cxn ang="0">
                <a:pos x="connsiteX9833" y="connsiteY9833"/>
              </a:cxn>
              <a:cxn ang="0">
                <a:pos x="connsiteX9834" y="connsiteY9834"/>
              </a:cxn>
              <a:cxn ang="0">
                <a:pos x="connsiteX9835" y="connsiteY9835"/>
              </a:cxn>
              <a:cxn ang="0">
                <a:pos x="connsiteX9836" y="connsiteY9836"/>
              </a:cxn>
              <a:cxn ang="0">
                <a:pos x="connsiteX9837" y="connsiteY9837"/>
              </a:cxn>
              <a:cxn ang="0">
                <a:pos x="connsiteX9838" y="connsiteY9838"/>
              </a:cxn>
              <a:cxn ang="0">
                <a:pos x="connsiteX9839" y="connsiteY9839"/>
              </a:cxn>
              <a:cxn ang="0">
                <a:pos x="connsiteX9840" y="connsiteY9840"/>
              </a:cxn>
              <a:cxn ang="0">
                <a:pos x="connsiteX9841" y="connsiteY9841"/>
              </a:cxn>
              <a:cxn ang="0">
                <a:pos x="connsiteX9842" y="connsiteY9842"/>
              </a:cxn>
              <a:cxn ang="0">
                <a:pos x="connsiteX9843" y="connsiteY9843"/>
              </a:cxn>
              <a:cxn ang="0">
                <a:pos x="connsiteX9844" y="connsiteY9844"/>
              </a:cxn>
              <a:cxn ang="0">
                <a:pos x="connsiteX9845" y="connsiteY9845"/>
              </a:cxn>
              <a:cxn ang="0">
                <a:pos x="connsiteX9846" y="connsiteY9846"/>
              </a:cxn>
              <a:cxn ang="0">
                <a:pos x="connsiteX9847" y="connsiteY9847"/>
              </a:cxn>
              <a:cxn ang="0">
                <a:pos x="connsiteX9848" y="connsiteY9848"/>
              </a:cxn>
              <a:cxn ang="0">
                <a:pos x="connsiteX9849" y="connsiteY9849"/>
              </a:cxn>
              <a:cxn ang="0">
                <a:pos x="connsiteX9850" y="connsiteY9850"/>
              </a:cxn>
              <a:cxn ang="0">
                <a:pos x="connsiteX9851" y="connsiteY9851"/>
              </a:cxn>
              <a:cxn ang="0">
                <a:pos x="connsiteX9852" y="connsiteY9852"/>
              </a:cxn>
              <a:cxn ang="0">
                <a:pos x="connsiteX9853" y="connsiteY9853"/>
              </a:cxn>
              <a:cxn ang="0">
                <a:pos x="connsiteX9854" y="connsiteY9854"/>
              </a:cxn>
              <a:cxn ang="0">
                <a:pos x="connsiteX9855" y="connsiteY9855"/>
              </a:cxn>
              <a:cxn ang="0">
                <a:pos x="connsiteX9856" y="connsiteY9856"/>
              </a:cxn>
              <a:cxn ang="0">
                <a:pos x="connsiteX9857" y="connsiteY9857"/>
              </a:cxn>
              <a:cxn ang="0">
                <a:pos x="connsiteX9858" y="connsiteY9858"/>
              </a:cxn>
              <a:cxn ang="0">
                <a:pos x="connsiteX9859" y="connsiteY9859"/>
              </a:cxn>
              <a:cxn ang="0">
                <a:pos x="connsiteX9860" y="connsiteY9860"/>
              </a:cxn>
              <a:cxn ang="0">
                <a:pos x="connsiteX9861" y="connsiteY9861"/>
              </a:cxn>
              <a:cxn ang="0">
                <a:pos x="connsiteX9862" y="connsiteY9862"/>
              </a:cxn>
              <a:cxn ang="0">
                <a:pos x="connsiteX9863" y="connsiteY9863"/>
              </a:cxn>
              <a:cxn ang="0">
                <a:pos x="connsiteX9864" y="connsiteY9864"/>
              </a:cxn>
              <a:cxn ang="0">
                <a:pos x="connsiteX9865" y="connsiteY9865"/>
              </a:cxn>
              <a:cxn ang="0">
                <a:pos x="connsiteX9866" y="connsiteY9866"/>
              </a:cxn>
              <a:cxn ang="0">
                <a:pos x="connsiteX9867" y="connsiteY9867"/>
              </a:cxn>
              <a:cxn ang="0">
                <a:pos x="connsiteX9868" y="connsiteY9868"/>
              </a:cxn>
              <a:cxn ang="0">
                <a:pos x="connsiteX9869" y="connsiteY9869"/>
              </a:cxn>
              <a:cxn ang="0">
                <a:pos x="connsiteX9870" y="connsiteY9870"/>
              </a:cxn>
              <a:cxn ang="0">
                <a:pos x="connsiteX9871" y="connsiteY9871"/>
              </a:cxn>
              <a:cxn ang="0">
                <a:pos x="connsiteX9872" y="connsiteY9872"/>
              </a:cxn>
              <a:cxn ang="0">
                <a:pos x="connsiteX9873" y="connsiteY9873"/>
              </a:cxn>
              <a:cxn ang="0">
                <a:pos x="connsiteX9874" y="connsiteY9874"/>
              </a:cxn>
              <a:cxn ang="0">
                <a:pos x="connsiteX9875" y="connsiteY9875"/>
              </a:cxn>
              <a:cxn ang="0">
                <a:pos x="connsiteX9876" y="connsiteY9876"/>
              </a:cxn>
              <a:cxn ang="0">
                <a:pos x="connsiteX9877" y="connsiteY9877"/>
              </a:cxn>
              <a:cxn ang="0">
                <a:pos x="connsiteX9878" y="connsiteY9878"/>
              </a:cxn>
              <a:cxn ang="0">
                <a:pos x="connsiteX9879" y="connsiteY9879"/>
              </a:cxn>
              <a:cxn ang="0">
                <a:pos x="connsiteX9880" y="connsiteY9880"/>
              </a:cxn>
              <a:cxn ang="0">
                <a:pos x="connsiteX9881" y="connsiteY9881"/>
              </a:cxn>
              <a:cxn ang="0">
                <a:pos x="connsiteX9882" y="connsiteY9882"/>
              </a:cxn>
              <a:cxn ang="0">
                <a:pos x="connsiteX9883" y="connsiteY9883"/>
              </a:cxn>
              <a:cxn ang="0">
                <a:pos x="connsiteX9884" y="connsiteY9884"/>
              </a:cxn>
              <a:cxn ang="0">
                <a:pos x="connsiteX9885" y="connsiteY9885"/>
              </a:cxn>
              <a:cxn ang="0">
                <a:pos x="connsiteX9886" y="connsiteY9886"/>
              </a:cxn>
              <a:cxn ang="0">
                <a:pos x="connsiteX9887" y="connsiteY9887"/>
              </a:cxn>
              <a:cxn ang="0">
                <a:pos x="connsiteX9888" y="connsiteY9888"/>
              </a:cxn>
              <a:cxn ang="0">
                <a:pos x="connsiteX9889" y="connsiteY9889"/>
              </a:cxn>
              <a:cxn ang="0">
                <a:pos x="connsiteX9890" y="connsiteY9890"/>
              </a:cxn>
              <a:cxn ang="0">
                <a:pos x="connsiteX9891" y="connsiteY9891"/>
              </a:cxn>
              <a:cxn ang="0">
                <a:pos x="connsiteX9892" y="connsiteY9892"/>
              </a:cxn>
              <a:cxn ang="0">
                <a:pos x="connsiteX9893" y="connsiteY9893"/>
              </a:cxn>
              <a:cxn ang="0">
                <a:pos x="connsiteX9894" y="connsiteY9894"/>
              </a:cxn>
              <a:cxn ang="0">
                <a:pos x="connsiteX9895" y="connsiteY9895"/>
              </a:cxn>
              <a:cxn ang="0">
                <a:pos x="connsiteX9896" y="connsiteY9896"/>
              </a:cxn>
              <a:cxn ang="0">
                <a:pos x="connsiteX9897" y="connsiteY9897"/>
              </a:cxn>
              <a:cxn ang="0">
                <a:pos x="connsiteX9898" y="connsiteY9898"/>
              </a:cxn>
              <a:cxn ang="0">
                <a:pos x="connsiteX9899" y="connsiteY9899"/>
              </a:cxn>
              <a:cxn ang="0">
                <a:pos x="connsiteX9900" y="connsiteY9900"/>
              </a:cxn>
              <a:cxn ang="0">
                <a:pos x="connsiteX9901" y="connsiteY9901"/>
              </a:cxn>
              <a:cxn ang="0">
                <a:pos x="connsiteX9902" y="connsiteY9902"/>
              </a:cxn>
              <a:cxn ang="0">
                <a:pos x="connsiteX9903" y="connsiteY9903"/>
              </a:cxn>
              <a:cxn ang="0">
                <a:pos x="connsiteX9904" y="connsiteY9904"/>
              </a:cxn>
              <a:cxn ang="0">
                <a:pos x="connsiteX9905" y="connsiteY9905"/>
              </a:cxn>
              <a:cxn ang="0">
                <a:pos x="connsiteX9906" y="connsiteY9906"/>
              </a:cxn>
              <a:cxn ang="0">
                <a:pos x="connsiteX9907" y="connsiteY9907"/>
              </a:cxn>
              <a:cxn ang="0">
                <a:pos x="connsiteX9908" y="connsiteY9908"/>
              </a:cxn>
              <a:cxn ang="0">
                <a:pos x="connsiteX9909" y="connsiteY9909"/>
              </a:cxn>
              <a:cxn ang="0">
                <a:pos x="connsiteX9910" y="connsiteY9910"/>
              </a:cxn>
              <a:cxn ang="0">
                <a:pos x="connsiteX9911" y="connsiteY9911"/>
              </a:cxn>
              <a:cxn ang="0">
                <a:pos x="connsiteX9912" y="connsiteY9912"/>
              </a:cxn>
              <a:cxn ang="0">
                <a:pos x="connsiteX9913" y="connsiteY9913"/>
              </a:cxn>
              <a:cxn ang="0">
                <a:pos x="connsiteX9914" y="connsiteY9914"/>
              </a:cxn>
              <a:cxn ang="0">
                <a:pos x="connsiteX9915" y="connsiteY9915"/>
              </a:cxn>
              <a:cxn ang="0">
                <a:pos x="connsiteX9916" y="connsiteY9916"/>
              </a:cxn>
              <a:cxn ang="0">
                <a:pos x="connsiteX9917" y="connsiteY9917"/>
              </a:cxn>
              <a:cxn ang="0">
                <a:pos x="connsiteX9918" y="connsiteY9918"/>
              </a:cxn>
              <a:cxn ang="0">
                <a:pos x="connsiteX9919" y="connsiteY9919"/>
              </a:cxn>
              <a:cxn ang="0">
                <a:pos x="connsiteX9920" y="connsiteY9920"/>
              </a:cxn>
              <a:cxn ang="0">
                <a:pos x="connsiteX9921" y="connsiteY9921"/>
              </a:cxn>
              <a:cxn ang="0">
                <a:pos x="connsiteX9922" y="connsiteY9922"/>
              </a:cxn>
              <a:cxn ang="0">
                <a:pos x="connsiteX9923" y="connsiteY9923"/>
              </a:cxn>
              <a:cxn ang="0">
                <a:pos x="connsiteX9924" y="connsiteY9924"/>
              </a:cxn>
              <a:cxn ang="0">
                <a:pos x="connsiteX9925" y="connsiteY9925"/>
              </a:cxn>
              <a:cxn ang="0">
                <a:pos x="connsiteX9926" y="connsiteY9926"/>
              </a:cxn>
              <a:cxn ang="0">
                <a:pos x="connsiteX9927" y="connsiteY9927"/>
              </a:cxn>
              <a:cxn ang="0">
                <a:pos x="connsiteX9928" y="connsiteY9928"/>
              </a:cxn>
              <a:cxn ang="0">
                <a:pos x="connsiteX9929" y="connsiteY9929"/>
              </a:cxn>
              <a:cxn ang="0">
                <a:pos x="connsiteX9930" y="connsiteY9930"/>
              </a:cxn>
              <a:cxn ang="0">
                <a:pos x="connsiteX9931" y="connsiteY9931"/>
              </a:cxn>
              <a:cxn ang="0">
                <a:pos x="connsiteX9932" y="connsiteY9932"/>
              </a:cxn>
              <a:cxn ang="0">
                <a:pos x="connsiteX9933" y="connsiteY9933"/>
              </a:cxn>
              <a:cxn ang="0">
                <a:pos x="connsiteX9934" y="connsiteY9934"/>
              </a:cxn>
              <a:cxn ang="0">
                <a:pos x="connsiteX9935" y="connsiteY9935"/>
              </a:cxn>
              <a:cxn ang="0">
                <a:pos x="connsiteX9936" y="connsiteY9936"/>
              </a:cxn>
              <a:cxn ang="0">
                <a:pos x="connsiteX9937" y="connsiteY9937"/>
              </a:cxn>
              <a:cxn ang="0">
                <a:pos x="connsiteX9938" y="connsiteY9938"/>
              </a:cxn>
              <a:cxn ang="0">
                <a:pos x="connsiteX9939" y="connsiteY9939"/>
              </a:cxn>
              <a:cxn ang="0">
                <a:pos x="connsiteX9940" y="connsiteY9940"/>
              </a:cxn>
              <a:cxn ang="0">
                <a:pos x="connsiteX9941" y="connsiteY9941"/>
              </a:cxn>
              <a:cxn ang="0">
                <a:pos x="connsiteX9942" y="connsiteY9942"/>
              </a:cxn>
              <a:cxn ang="0">
                <a:pos x="connsiteX9943" y="connsiteY9943"/>
              </a:cxn>
              <a:cxn ang="0">
                <a:pos x="connsiteX9944" y="connsiteY9944"/>
              </a:cxn>
              <a:cxn ang="0">
                <a:pos x="connsiteX9945" y="connsiteY9945"/>
              </a:cxn>
              <a:cxn ang="0">
                <a:pos x="connsiteX9946" y="connsiteY9946"/>
              </a:cxn>
              <a:cxn ang="0">
                <a:pos x="connsiteX9947" y="connsiteY9947"/>
              </a:cxn>
              <a:cxn ang="0">
                <a:pos x="connsiteX9948" y="connsiteY9948"/>
              </a:cxn>
              <a:cxn ang="0">
                <a:pos x="connsiteX9949" y="connsiteY9949"/>
              </a:cxn>
              <a:cxn ang="0">
                <a:pos x="connsiteX9950" y="connsiteY9950"/>
              </a:cxn>
              <a:cxn ang="0">
                <a:pos x="connsiteX9951" y="connsiteY9951"/>
              </a:cxn>
              <a:cxn ang="0">
                <a:pos x="connsiteX9952" y="connsiteY9952"/>
              </a:cxn>
              <a:cxn ang="0">
                <a:pos x="connsiteX9953" y="connsiteY9953"/>
              </a:cxn>
              <a:cxn ang="0">
                <a:pos x="connsiteX9954" y="connsiteY9954"/>
              </a:cxn>
              <a:cxn ang="0">
                <a:pos x="connsiteX9955" y="connsiteY9955"/>
              </a:cxn>
              <a:cxn ang="0">
                <a:pos x="connsiteX9956" y="connsiteY9956"/>
              </a:cxn>
              <a:cxn ang="0">
                <a:pos x="connsiteX9957" y="connsiteY9957"/>
              </a:cxn>
              <a:cxn ang="0">
                <a:pos x="connsiteX9958" y="connsiteY9958"/>
              </a:cxn>
              <a:cxn ang="0">
                <a:pos x="connsiteX9959" y="connsiteY9959"/>
              </a:cxn>
              <a:cxn ang="0">
                <a:pos x="connsiteX9960" y="connsiteY9960"/>
              </a:cxn>
              <a:cxn ang="0">
                <a:pos x="connsiteX9961" y="connsiteY9961"/>
              </a:cxn>
              <a:cxn ang="0">
                <a:pos x="connsiteX9962" y="connsiteY9962"/>
              </a:cxn>
              <a:cxn ang="0">
                <a:pos x="connsiteX9963" y="connsiteY9963"/>
              </a:cxn>
              <a:cxn ang="0">
                <a:pos x="connsiteX9964" y="connsiteY9964"/>
              </a:cxn>
              <a:cxn ang="0">
                <a:pos x="connsiteX9965" y="connsiteY9965"/>
              </a:cxn>
              <a:cxn ang="0">
                <a:pos x="connsiteX9966" y="connsiteY9966"/>
              </a:cxn>
              <a:cxn ang="0">
                <a:pos x="connsiteX9967" y="connsiteY9967"/>
              </a:cxn>
              <a:cxn ang="0">
                <a:pos x="connsiteX9968" y="connsiteY9968"/>
              </a:cxn>
              <a:cxn ang="0">
                <a:pos x="connsiteX9969" y="connsiteY9969"/>
              </a:cxn>
              <a:cxn ang="0">
                <a:pos x="connsiteX9970" y="connsiteY9970"/>
              </a:cxn>
              <a:cxn ang="0">
                <a:pos x="connsiteX9971" y="connsiteY9971"/>
              </a:cxn>
              <a:cxn ang="0">
                <a:pos x="connsiteX9972" y="connsiteY9972"/>
              </a:cxn>
              <a:cxn ang="0">
                <a:pos x="connsiteX9973" y="connsiteY9973"/>
              </a:cxn>
              <a:cxn ang="0">
                <a:pos x="connsiteX9974" y="connsiteY9974"/>
              </a:cxn>
              <a:cxn ang="0">
                <a:pos x="connsiteX9975" y="connsiteY9975"/>
              </a:cxn>
              <a:cxn ang="0">
                <a:pos x="connsiteX9976" y="connsiteY9976"/>
              </a:cxn>
              <a:cxn ang="0">
                <a:pos x="connsiteX9977" y="connsiteY9977"/>
              </a:cxn>
              <a:cxn ang="0">
                <a:pos x="connsiteX9978" y="connsiteY9978"/>
              </a:cxn>
              <a:cxn ang="0">
                <a:pos x="connsiteX9979" y="connsiteY9979"/>
              </a:cxn>
              <a:cxn ang="0">
                <a:pos x="connsiteX9980" y="connsiteY9980"/>
              </a:cxn>
              <a:cxn ang="0">
                <a:pos x="connsiteX9981" y="connsiteY9981"/>
              </a:cxn>
              <a:cxn ang="0">
                <a:pos x="connsiteX9982" y="connsiteY9982"/>
              </a:cxn>
              <a:cxn ang="0">
                <a:pos x="connsiteX9983" y="connsiteY9983"/>
              </a:cxn>
              <a:cxn ang="0">
                <a:pos x="connsiteX9984" y="connsiteY9984"/>
              </a:cxn>
              <a:cxn ang="0">
                <a:pos x="connsiteX9985" y="connsiteY9985"/>
              </a:cxn>
              <a:cxn ang="0">
                <a:pos x="connsiteX9986" y="connsiteY9986"/>
              </a:cxn>
              <a:cxn ang="0">
                <a:pos x="connsiteX9987" y="connsiteY9987"/>
              </a:cxn>
              <a:cxn ang="0">
                <a:pos x="connsiteX9988" y="connsiteY9988"/>
              </a:cxn>
              <a:cxn ang="0">
                <a:pos x="connsiteX9989" y="connsiteY9989"/>
              </a:cxn>
              <a:cxn ang="0">
                <a:pos x="connsiteX9990" y="connsiteY9990"/>
              </a:cxn>
              <a:cxn ang="0">
                <a:pos x="connsiteX9991" y="connsiteY9991"/>
              </a:cxn>
              <a:cxn ang="0">
                <a:pos x="connsiteX9992" y="connsiteY9992"/>
              </a:cxn>
              <a:cxn ang="0">
                <a:pos x="connsiteX9993" y="connsiteY9993"/>
              </a:cxn>
              <a:cxn ang="0">
                <a:pos x="connsiteX9994" y="connsiteY9994"/>
              </a:cxn>
              <a:cxn ang="0">
                <a:pos x="connsiteX9995" y="connsiteY9995"/>
              </a:cxn>
              <a:cxn ang="0">
                <a:pos x="connsiteX9996" y="connsiteY9996"/>
              </a:cxn>
              <a:cxn ang="0">
                <a:pos x="connsiteX9997" y="connsiteY9997"/>
              </a:cxn>
              <a:cxn ang="0">
                <a:pos x="connsiteX9998" y="connsiteY9998"/>
              </a:cxn>
              <a:cxn ang="0">
                <a:pos x="connsiteX9999" y="connsiteY9999"/>
              </a:cxn>
              <a:cxn ang="0">
                <a:pos x="connsiteX10000" y="connsiteY10000"/>
              </a:cxn>
              <a:cxn ang="0">
                <a:pos x="connsiteX10001" y="connsiteY10001"/>
              </a:cxn>
              <a:cxn ang="0">
                <a:pos x="connsiteX10002" y="connsiteY10002"/>
              </a:cxn>
              <a:cxn ang="0">
                <a:pos x="connsiteX10003" y="connsiteY10003"/>
              </a:cxn>
              <a:cxn ang="0">
                <a:pos x="connsiteX10004" y="connsiteY10004"/>
              </a:cxn>
              <a:cxn ang="0">
                <a:pos x="connsiteX10005" y="connsiteY10005"/>
              </a:cxn>
              <a:cxn ang="0">
                <a:pos x="connsiteX10006" y="connsiteY10006"/>
              </a:cxn>
              <a:cxn ang="0">
                <a:pos x="connsiteX10007" y="connsiteY10007"/>
              </a:cxn>
              <a:cxn ang="0">
                <a:pos x="connsiteX10008" y="connsiteY10008"/>
              </a:cxn>
              <a:cxn ang="0">
                <a:pos x="connsiteX10009" y="connsiteY10009"/>
              </a:cxn>
              <a:cxn ang="0">
                <a:pos x="connsiteX10010" y="connsiteY10010"/>
              </a:cxn>
              <a:cxn ang="0">
                <a:pos x="connsiteX10011" y="connsiteY10011"/>
              </a:cxn>
              <a:cxn ang="0">
                <a:pos x="connsiteX10012" y="connsiteY10012"/>
              </a:cxn>
              <a:cxn ang="0">
                <a:pos x="connsiteX10013" y="connsiteY10013"/>
              </a:cxn>
              <a:cxn ang="0">
                <a:pos x="connsiteX10014" y="connsiteY10014"/>
              </a:cxn>
              <a:cxn ang="0">
                <a:pos x="connsiteX10015" y="connsiteY10015"/>
              </a:cxn>
              <a:cxn ang="0">
                <a:pos x="connsiteX10016" y="connsiteY10016"/>
              </a:cxn>
              <a:cxn ang="0">
                <a:pos x="connsiteX10017" y="connsiteY10017"/>
              </a:cxn>
              <a:cxn ang="0">
                <a:pos x="connsiteX10018" y="connsiteY10018"/>
              </a:cxn>
              <a:cxn ang="0">
                <a:pos x="connsiteX10019" y="connsiteY10019"/>
              </a:cxn>
              <a:cxn ang="0">
                <a:pos x="connsiteX10020" y="connsiteY10020"/>
              </a:cxn>
              <a:cxn ang="0">
                <a:pos x="connsiteX10021" y="connsiteY10021"/>
              </a:cxn>
              <a:cxn ang="0">
                <a:pos x="connsiteX10022" y="connsiteY10022"/>
              </a:cxn>
              <a:cxn ang="0">
                <a:pos x="connsiteX10023" y="connsiteY10023"/>
              </a:cxn>
              <a:cxn ang="0">
                <a:pos x="connsiteX10024" y="connsiteY10024"/>
              </a:cxn>
              <a:cxn ang="0">
                <a:pos x="connsiteX10025" y="connsiteY10025"/>
              </a:cxn>
              <a:cxn ang="0">
                <a:pos x="connsiteX10026" y="connsiteY10026"/>
              </a:cxn>
              <a:cxn ang="0">
                <a:pos x="connsiteX10027" y="connsiteY10027"/>
              </a:cxn>
              <a:cxn ang="0">
                <a:pos x="connsiteX10028" y="connsiteY10028"/>
              </a:cxn>
              <a:cxn ang="0">
                <a:pos x="connsiteX10029" y="connsiteY10029"/>
              </a:cxn>
              <a:cxn ang="0">
                <a:pos x="connsiteX10030" y="connsiteY10030"/>
              </a:cxn>
              <a:cxn ang="0">
                <a:pos x="connsiteX10031" y="connsiteY10031"/>
              </a:cxn>
              <a:cxn ang="0">
                <a:pos x="connsiteX10032" y="connsiteY10032"/>
              </a:cxn>
              <a:cxn ang="0">
                <a:pos x="connsiteX10033" y="connsiteY10033"/>
              </a:cxn>
              <a:cxn ang="0">
                <a:pos x="connsiteX10034" y="connsiteY10034"/>
              </a:cxn>
              <a:cxn ang="0">
                <a:pos x="connsiteX10035" y="connsiteY10035"/>
              </a:cxn>
              <a:cxn ang="0">
                <a:pos x="connsiteX10036" y="connsiteY10036"/>
              </a:cxn>
              <a:cxn ang="0">
                <a:pos x="connsiteX10037" y="connsiteY10037"/>
              </a:cxn>
              <a:cxn ang="0">
                <a:pos x="connsiteX10038" y="connsiteY10038"/>
              </a:cxn>
              <a:cxn ang="0">
                <a:pos x="connsiteX10039" y="connsiteY10039"/>
              </a:cxn>
              <a:cxn ang="0">
                <a:pos x="connsiteX10040" y="connsiteY10040"/>
              </a:cxn>
              <a:cxn ang="0">
                <a:pos x="connsiteX10041" y="connsiteY10041"/>
              </a:cxn>
              <a:cxn ang="0">
                <a:pos x="connsiteX10042" y="connsiteY10042"/>
              </a:cxn>
              <a:cxn ang="0">
                <a:pos x="connsiteX10043" y="connsiteY10043"/>
              </a:cxn>
              <a:cxn ang="0">
                <a:pos x="connsiteX10044" y="connsiteY10044"/>
              </a:cxn>
              <a:cxn ang="0">
                <a:pos x="connsiteX10045" y="connsiteY10045"/>
              </a:cxn>
              <a:cxn ang="0">
                <a:pos x="connsiteX10046" y="connsiteY10046"/>
              </a:cxn>
              <a:cxn ang="0">
                <a:pos x="connsiteX10047" y="connsiteY10047"/>
              </a:cxn>
              <a:cxn ang="0">
                <a:pos x="connsiteX10048" y="connsiteY10048"/>
              </a:cxn>
              <a:cxn ang="0">
                <a:pos x="connsiteX10049" y="connsiteY10049"/>
              </a:cxn>
              <a:cxn ang="0">
                <a:pos x="connsiteX10050" y="connsiteY10050"/>
              </a:cxn>
              <a:cxn ang="0">
                <a:pos x="connsiteX10051" y="connsiteY10051"/>
              </a:cxn>
              <a:cxn ang="0">
                <a:pos x="connsiteX10052" y="connsiteY10052"/>
              </a:cxn>
              <a:cxn ang="0">
                <a:pos x="connsiteX10053" y="connsiteY10053"/>
              </a:cxn>
              <a:cxn ang="0">
                <a:pos x="connsiteX10054" y="connsiteY10054"/>
              </a:cxn>
              <a:cxn ang="0">
                <a:pos x="connsiteX10055" y="connsiteY10055"/>
              </a:cxn>
              <a:cxn ang="0">
                <a:pos x="connsiteX10056" y="connsiteY10056"/>
              </a:cxn>
              <a:cxn ang="0">
                <a:pos x="connsiteX10057" y="connsiteY10057"/>
              </a:cxn>
              <a:cxn ang="0">
                <a:pos x="connsiteX10058" y="connsiteY10058"/>
              </a:cxn>
              <a:cxn ang="0">
                <a:pos x="connsiteX10059" y="connsiteY10059"/>
              </a:cxn>
              <a:cxn ang="0">
                <a:pos x="connsiteX10060" y="connsiteY10060"/>
              </a:cxn>
              <a:cxn ang="0">
                <a:pos x="connsiteX10061" y="connsiteY10061"/>
              </a:cxn>
              <a:cxn ang="0">
                <a:pos x="connsiteX10062" y="connsiteY10062"/>
              </a:cxn>
              <a:cxn ang="0">
                <a:pos x="connsiteX10063" y="connsiteY10063"/>
              </a:cxn>
              <a:cxn ang="0">
                <a:pos x="connsiteX10064" y="connsiteY10064"/>
              </a:cxn>
              <a:cxn ang="0">
                <a:pos x="connsiteX10065" y="connsiteY10065"/>
              </a:cxn>
              <a:cxn ang="0">
                <a:pos x="connsiteX10066" y="connsiteY10066"/>
              </a:cxn>
              <a:cxn ang="0">
                <a:pos x="connsiteX10067" y="connsiteY10067"/>
              </a:cxn>
              <a:cxn ang="0">
                <a:pos x="connsiteX10068" y="connsiteY10068"/>
              </a:cxn>
              <a:cxn ang="0">
                <a:pos x="connsiteX10069" y="connsiteY10069"/>
              </a:cxn>
              <a:cxn ang="0">
                <a:pos x="connsiteX10070" y="connsiteY10070"/>
              </a:cxn>
              <a:cxn ang="0">
                <a:pos x="connsiteX10071" y="connsiteY10071"/>
              </a:cxn>
              <a:cxn ang="0">
                <a:pos x="connsiteX10072" y="connsiteY10072"/>
              </a:cxn>
              <a:cxn ang="0">
                <a:pos x="connsiteX10073" y="connsiteY10073"/>
              </a:cxn>
              <a:cxn ang="0">
                <a:pos x="connsiteX10074" y="connsiteY10074"/>
              </a:cxn>
              <a:cxn ang="0">
                <a:pos x="connsiteX10075" y="connsiteY10075"/>
              </a:cxn>
              <a:cxn ang="0">
                <a:pos x="connsiteX10076" y="connsiteY10076"/>
              </a:cxn>
              <a:cxn ang="0">
                <a:pos x="connsiteX10077" y="connsiteY10077"/>
              </a:cxn>
              <a:cxn ang="0">
                <a:pos x="connsiteX10078" y="connsiteY10078"/>
              </a:cxn>
              <a:cxn ang="0">
                <a:pos x="connsiteX10079" y="connsiteY10079"/>
              </a:cxn>
              <a:cxn ang="0">
                <a:pos x="connsiteX10080" y="connsiteY10080"/>
              </a:cxn>
              <a:cxn ang="0">
                <a:pos x="connsiteX10081" y="connsiteY10081"/>
              </a:cxn>
              <a:cxn ang="0">
                <a:pos x="connsiteX10082" y="connsiteY10082"/>
              </a:cxn>
              <a:cxn ang="0">
                <a:pos x="connsiteX10083" y="connsiteY10083"/>
              </a:cxn>
              <a:cxn ang="0">
                <a:pos x="connsiteX10084" y="connsiteY10084"/>
              </a:cxn>
              <a:cxn ang="0">
                <a:pos x="connsiteX10085" y="connsiteY10085"/>
              </a:cxn>
              <a:cxn ang="0">
                <a:pos x="connsiteX10086" y="connsiteY10086"/>
              </a:cxn>
              <a:cxn ang="0">
                <a:pos x="connsiteX10087" y="connsiteY10087"/>
              </a:cxn>
              <a:cxn ang="0">
                <a:pos x="connsiteX10088" y="connsiteY10088"/>
              </a:cxn>
              <a:cxn ang="0">
                <a:pos x="connsiteX10089" y="connsiteY10089"/>
              </a:cxn>
              <a:cxn ang="0">
                <a:pos x="connsiteX10090" y="connsiteY10090"/>
              </a:cxn>
              <a:cxn ang="0">
                <a:pos x="connsiteX10091" y="connsiteY10091"/>
              </a:cxn>
              <a:cxn ang="0">
                <a:pos x="connsiteX10092" y="connsiteY10092"/>
              </a:cxn>
              <a:cxn ang="0">
                <a:pos x="connsiteX10093" y="connsiteY10093"/>
              </a:cxn>
              <a:cxn ang="0">
                <a:pos x="connsiteX10094" y="connsiteY10094"/>
              </a:cxn>
              <a:cxn ang="0">
                <a:pos x="connsiteX10095" y="connsiteY10095"/>
              </a:cxn>
              <a:cxn ang="0">
                <a:pos x="connsiteX10096" y="connsiteY10096"/>
              </a:cxn>
              <a:cxn ang="0">
                <a:pos x="connsiteX10097" y="connsiteY10097"/>
              </a:cxn>
              <a:cxn ang="0">
                <a:pos x="connsiteX10098" y="connsiteY10098"/>
              </a:cxn>
              <a:cxn ang="0">
                <a:pos x="connsiteX10099" y="connsiteY10099"/>
              </a:cxn>
              <a:cxn ang="0">
                <a:pos x="connsiteX10100" y="connsiteY10100"/>
              </a:cxn>
              <a:cxn ang="0">
                <a:pos x="connsiteX10101" y="connsiteY10101"/>
              </a:cxn>
              <a:cxn ang="0">
                <a:pos x="connsiteX10102" y="connsiteY10102"/>
              </a:cxn>
              <a:cxn ang="0">
                <a:pos x="connsiteX10103" y="connsiteY10103"/>
              </a:cxn>
              <a:cxn ang="0">
                <a:pos x="connsiteX10104" y="connsiteY10104"/>
              </a:cxn>
              <a:cxn ang="0">
                <a:pos x="connsiteX10105" y="connsiteY10105"/>
              </a:cxn>
              <a:cxn ang="0">
                <a:pos x="connsiteX10106" y="connsiteY10106"/>
              </a:cxn>
              <a:cxn ang="0">
                <a:pos x="connsiteX10107" y="connsiteY10107"/>
              </a:cxn>
              <a:cxn ang="0">
                <a:pos x="connsiteX10108" y="connsiteY10108"/>
              </a:cxn>
              <a:cxn ang="0">
                <a:pos x="connsiteX10109" y="connsiteY10109"/>
              </a:cxn>
              <a:cxn ang="0">
                <a:pos x="connsiteX10110" y="connsiteY10110"/>
              </a:cxn>
              <a:cxn ang="0">
                <a:pos x="connsiteX10111" y="connsiteY10111"/>
              </a:cxn>
              <a:cxn ang="0">
                <a:pos x="connsiteX10112" y="connsiteY10112"/>
              </a:cxn>
              <a:cxn ang="0">
                <a:pos x="connsiteX10113" y="connsiteY10113"/>
              </a:cxn>
              <a:cxn ang="0">
                <a:pos x="connsiteX10114" y="connsiteY10114"/>
              </a:cxn>
              <a:cxn ang="0">
                <a:pos x="connsiteX10115" y="connsiteY10115"/>
              </a:cxn>
              <a:cxn ang="0">
                <a:pos x="connsiteX10116" y="connsiteY10116"/>
              </a:cxn>
              <a:cxn ang="0">
                <a:pos x="connsiteX10117" y="connsiteY10117"/>
              </a:cxn>
              <a:cxn ang="0">
                <a:pos x="connsiteX10118" y="connsiteY10118"/>
              </a:cxn>
              <a:cxn ang="0">
                <a:pos x="connsiteX10119" y="connsiteY10119"/>
              </a:cxn>
              <a:cxn ang="0">
                <a:pos x="connsiteX10120" y="connsiteY10120"/>
              </a:cxn>
              <a:cxn ang="0">
                <a:pos x="connsiteX10121" y="connsiteY10121"/>
              </a:cxn>
              <a:cxn ang="0">
                <a:pos x="connsiteX10122" y="connsiteY10122"/>
              </a:cxn>
              <a:cxn ang="0">
                <a:pos x="connsiteX10123" y="connsiteY10123"/>
              </a:cxn>
              <a:cxn ang="0">
                <a:pos x="connsiteX10124" y="connsiteY10124"/>
              </a:cxn>
              <a:cxn ang="0">
                <a:pos x="connsiteX10125" y="connsiteY10125"/>
              </a:cxn>
              <a:cxn ang="0">
                <a:pos x="connsiteX10126" y="connsiteY10126"/>
              </a:cxn>
              <a:cxn ang="0">
                <a:pos x="connsiteX10127" y="connsiteY10127"/>
              </a:cxn>
              <a:cxn ang="0">
                <a:pos x="connsiteX10128" y="connsiteY10128"/>
              </a:cxn>
              <a:cxn ang="0">
                <a:pos x="connsiteX10129" y="connsiteY10129"/>
              </a:cxn>
              <a:cxn ang="0">
                <a:pos x="connsiteX10130" y="connsiteY10130"/>
              </a:cxn>
              <a:cxn ang="0">
                <a:pos x="connsiteX10131" y="connsiteY10131"/>
              </a:cxn>
              <a:cxn ang="0">
                <a:pos x="connsiteX10132" y="connsiteY10132"/>
              </a:cxn>
              <a:cxn ang="0">
                <a:pos x="connsiteX10133" y="connsiteY10133"/>
              </a:cxn>
              <a:cxn ang="0">
                <a:pos x="connsiteX10134" y="connsiteY10134"/>
              </a:cxn>
              <a:cxn ang="0">
                <a:pos x="connsiteX10135" y="connsiteY10135"/>
              </a:cxn>
              <a:cxn ang="0">
                <a:pos x="connsiteX10136" y="connsiteY10136"/>
              </a:cxn>
              <a:cxn ang="0">
                <a:pos x="connsiteX10137" y="connsiteY10137"/>
              </a:cxn>
              <a:cxn ang="0">
                <a:pos x="connsiteX10138" y="connsiteY10138"/>
              </a:cxn>
              <a:cxn ang="0">
                <a:pos x="connsiteX10139" y="connsiteY10139"/>
              </a:cxn>
              <a:cxn ang="0">
                <a:pos x="connsiteX10140" y="connsiteY10140"/>
              </a:cxn>
              <a:cxn ang="0">
                <a:pos x="connsiteX10141" y="connsiteY10141"/>
              </a:cxn>
              <a:cxn ang="0">
                <a:pos x="connsiteX10142" y="connsiteY10142"/>
              </a:cxn>
              <a:cxn ang="0">
                <a:pos x="connsiteX10143" y="connsiteY10143"/>
              </a:cxn>
              <a:cxn ang="0">
                <a:pos x="connsiteX10144" y="connsiteY10144"/>
              </a:cxn>
              <a:cxn ang="0">
                <a:pos x="connsiteX10145" y="connsiteY10145"/>
              </a:cxn>
              <a:cxn ang="0">
                <a:pos x="connsiteX10146" y="connsiteY10146"/>
              </a:cxn>
              <a:cxn ang="0">
                <a:pos x="connsiteX10147" y="connsiteY10147"/>
              </a:cxn>
              <a:cxn ang="0">
                <a:pos x="connsiteX10148" y="connsiteY10148"/>
              </a:cxn>
              <a:cxn ang="0">
                <a:pos x="connsiteX10149" y="connsiteY10149"/>
              </a:cxn>
              <a:cxn ang="0">
                <a:pos x="connsiteX10150" y="connsiteY10150"/>
              </a:cxn>
              <a:cxn ang="0">
                <a:pos x="connsiteX10151" y="connsiteY10151"/>
              </a:cxn>
              <a:cxn ang="0">
                <a:pos x="connsiteX10152" y="connsiteY10152"/>
              </a:cxn>
              <a:cxn ang="0">
                <a:pos x="connsiteX10153" y="connsiteY10153"/>
              </a:cxn>
              <a:cxn ang="0">
                <a:pos x="connsiteX10154" y="connsiteY10154"/>
              </a:cxn>
              <a:cxn ang="0">
                <a:pos x="connsiteX10155" y="connsiteY10155"/>
              </a:cxn>
              <a:cxn ang="0">
                <a:pos x="connsiteX10156" y="connsiteY10156"/>
              </a:cxn>
              <a:cxn ang="0">
                <a:pos x="connsiteX10157" y="connsiteY10157"/>
              </a:cxn>
              <a:cxn ang="0">
                <a:pos x="connsiteX10158" y="connsiteY10158"/>
              </a:cxn>
              <a:cxn ang="0">
                <a:pos x="connsiteX10159" y="connsiteY10159"/>
              </a:cxn>
              <a:cxn ang="0">
                <a:pos x="connsiteX10160" y="connsiteY10160"/>
              </a:cxn>
              <a:cxn ang="0">
                <a:pos x="connsiteX10161" y="connsiteY10161"/>
              </a:cxn>
              <a:cxn ang="0">
                <a:pos x="connsiteX10162" y="connsiteY10162"/>
              </a:cxn>
              <a:cxn ang="0">
                <a:pos x="connsiteX10163" y="connsiteY10163"/>
              </a:cxn>
              <a:cxn ang="0">
                <a:pos x="connsiteX10164" y="connsiteY10164"/>
              </a:cxn>
              <a:cxn ang="0">
                <a:pos x="connsiteX10165" y="connsiteY10165"/>
              </a:cxn>
              <a:cxn ang="0">
                <a:pos x="connsiteX10166" y="connsiteY10166"/>
              </a:cxn>
              <a:cxn ang="0">
                <a:pos x="connsiteX10167" y="connsiteY10167"/>
              </a:cxn>
              <a:cxn ang="0">
                <a:pos x="connsiteX10168" y="connsiteY10168"/>
              </a:cxn>
              <a:cxn ang="0">
                <a:pos x="connsiteX10169" y="connsiteY10169"/>
              </a:cxn>
              <a:cxn ang="0">
                <a:pos x="connsiteX10170" y="connsiteY10170"/>
              </a:cxn>
              <a:cxn ang="0">
                <a:pos x="connsiteX10171" y="connsiteY10171"/>
              </a:cxn>
              <a:cxn ang="0">
                <a:pos x="connsiteX10172" y="connsiteY10172"/>
              </a:cxn>
              <a:cxn ang="0">
                <a:pos x="connsiteX10173" y="connsiteY10173"/>
              </a:cxn>
              <a:cxn ang="0">
                <a:pos x="connsiteX10174" y="connsiteY10174"/>
              </a:cxn>
              <a:cxn ang="0">
                <a:pos x="connsiteX10175" y="connsiteY10175"/>
              </a:cxn>
              <a:cxn ang="0">
                <a:pos x="connsiteX10176" y="connsiteY10176"/>
              </a:cxn>
              <a:cxn ang="0">
                <a:pos x="connsiteX10177" y="connsiteY10177"/>
              </a:cxn>
              <a:cxn ang="0">
                <a:pos x="connsiteX10178" y="connsiteY10178"/>
              </a:cxn>
              <a:cxn ang="0">
                <a:pos x="connsiteX10179" y="connsiteY10179"/>
              </a:cxn>
              <a:cxn ang="0">
                <a:pos x="connsiteX10180" y="connsiteY10180"/>
              </a:cxn>
              <a:cxn ang="0">
                <a:pos x="connsiteX10181" y="connsiteY10181"/>
              </a:cxn>
              <a:cxn ang="0">
                <a:pos x="connsiteX10182" y="connsiteY10182"/>
              </a:cxn>
              <a:cxn ang="0">
                <a:pos x="connsiteX10183" y="connsiteY10183"/>
              </a:cxn>
              <a:cxn ang="0">
                <a:pos x="connsiteX10184" y="connsiteY10184"/>
              </a:cxn>
              <a:cxn ang="0">
                <a:pos x="connsiteX10185" y="connsiteY10185"/>
              </a:cxn>
              <a:cxn ang="0">
                <a:pos x="connsiteX10186" y="connsiteY10186"/>
              </a:cxn>
              <a:cxn ang="0">
                <a:pos x="connsiteX10187" y="connsiteY10187"/>
              </a:cxn>
              <a:cxn ang="0">
                <a:pos x="connsiteX10188" y="connsiteY10188"/>
              </a:cxn>
              <a:cxn ang="0">
                <a:pos x="connsiteX10189" y="connsiteY10189"/>
              </a:cxn>
              <a:cxn ang="0">
                <a:pos x="connsiteX10190" y="connsiteY10190"/>
              </a:cxn>
              <a:cxn ang="0">
                <a:pos x="connsiteX10191" y="connsiteY10191"/>
              </a:cxn>
              <a:cxn ang="0">
                <a:pos x="connsiteX10192" y="connsiteY10192"/>
              </a:cxn>
              <a:cxn ang="0">
                <a:pos x="connsiteX10193" y="connsiteY10193"/>
              </a:cxn>
              <a:cxn ang="0">
                <a:pos x="connsiteX10194" y="connsiteY10194"/>
              </a:cxn>
              <a:cxn ang="0">
                <a:pos x="connsiteX10195" y="connsiteY10195"/>
              </a:cxn>
              <a:cxn ang="0">
                <a:pos x="connsiteX10196" y="connsiteY10196"/>
              </a:cxn>
              <a:cxn ang="0">
                <a:pos x="connsiteX10197" y="connsiteY10197"/>
              </a:cxn>
              <a:cxn ang="0">
                <a:pos x="connsiteX10198" y="connsiteY10198"/>
              </a:cxn>
              <a:cxn ang="0">
                <a:pos x="connsiteX10199" y="connsiteY10199"/>
              </a:cxn>
              <a:cxn ang="0">
                <a:pos x="connsiteX10200" y="connsiteY10200"/>
              </a:cxn>
              <a:cxn ang="0">
                <a:pos x="connsiteX10201" y="connsiteY10201"/>
              </a:cxn>
              <a:cxn ang="0">
                <a:pos x="connsiteX10202" y="connsiteY10202"/>
              </a:cxn>
              <a:cxn ang="0">
                <a:pos x="connsiteX10203" y="connsiteY10203"/>
              </a:cxn>
              <a:cxn ang="0">
                <a:pos x="connsiteX10204" y="connsiteY10204"/>
              </a:cxn>
              <a:cxn ang="0">
                <a:pos x="connsiteX10205" y="connsiteY10205"/>
              </a:cxn>
              <a:cxn ang="0">
                <a:pos x="connsiteX10206" y="connsiteY10206"/>
              </a:cxn>
              <a:cxn ang="0">
                <a:pos x="connsiteX10207" y="connsiteY10207"/>
              </a:cxn>
              <a:cxn ang="0">
                <a:pos x="connsiteX10208" y="connsiteY10208"/>
              </a:cxn>
              <a:cxn ang="0">
                <a:pos x="connsiteX10209" y="connsiteY10209"/>
              </a:cxn>
              <a:cxn ang="0">
                <a:pos x="connsiteX10210" y="connsiteY10210"/>
              </a:cxn>
              <a:cxn ang="0">
                <a:pos x="connsiteX10211" y="connsiteY10211"/>
              </a:cxn>
              <a:cxn ang="0">
                <a:pos x="connsiteX10212" y="connsiteY10212"/>
              </a:cxn>
              <a:cxn ang="0">
                <a:pos x="connsiteX10213" y="connsiteY10213"/>
              </a:cxn>
              <a:cxn ang="0">
                <a:pos x="connsiteX10214" y="connsiteY10214"/>
              </a:cxn>
              <a:cxn ang="0">
                <a:pos x="connsiteX10215" y="connsiteY10215"/>
              </a:cxn>
              <a:cxn ang="0">
                <a:pos x="connsiteX10216" y="connsiteY10216"/>
              </a:cxn>
              <a:cxn ang="0">
                <a:pos x="connsiteX10217" y="connsiteY10217"/>
              </a:cxn>
              <a:cxn ang="0">
                <a:pos x="connsiteX10218" y="connsiteY10218"/>
              </a:cxn>
              <a:cxn ang="0">
                <a:pos x="connsiteX10219" y="connsiteY10219"/>
              </a:cxn>
              <a:cxn ang="0">
                <a:pos x="connsiteX10220" y="connsiteY10220"/>
              </a:cxn>
              <a:cxn ang="0">
                <a:pos x="connsiteX10221" y="connsiteY10221"/>
              </a:cxn>
              <a:cxn ang="0">
                <a:pos x="connsiteX10222" y="connsiteY10222"/>
              </a:cxn>
              <a:cxn ang="0">
                <a:pos x="connsiteX10223" y="connsiteY10223"/>
              </a:cxn>
              <a:cxn ang="0">
                <a:pos x="connsiteX10224" y="connsiteY10224"/>
              </a:cxn>
              <a:cxn ang="0">
                <a:pos x="connsiteX10225" y="connsiteY10225"/>
              </a:cxn>
              <a:cxn ang="0">
                <a:pos x="connsiteX10226" y="connsiteY10226"/>
              </a:cxn>
              <a:cxn ang="0">
                <a:pos x="connsiteX10227" y="connsiteY10227"/>
              </a:cxn>
              <a:cxn ang="0">
                <a:pos x="connsiteX10228" y="connsiteY10228"/>
              </a:cxn>
              <a:cxn ang="0">
                <a:pos x="connsiteX10229" y="connsiteY10229"/>
              </a:cxn>
              <a:cxn ang="0">
                <a:pos x="connsiteX10230" y="connsiteY10230"/>
              </a:cxn>
              <a:cxn ang="0">
                <a:pos x="connsiteX10231" y="connsiteY10231"/>
              </a:cxn>
              <a:cxn ang="0">
                <a:pos x="connsiteX10232" y="connsiteY10232"/>
              </a:cxn>
              <a:cxn ang="0">
                <a:pos x="connsiteX10233" y="connsiteY10233"/>
              </a:cxn>
              <a:cxn ang="0">
                <a:pos x="connsiteX10234" y="connsiteY10234"/>
              </a:cxn>
              <a:cxn ang="0">
                <a:pos x="connsiteX10235" y="connsiteY10235"/>
              </a:cxn>
              <a:cxn ang="0">
                <a:pos x="connsiteX10236" y="connsiteY10236"/>
              </a:cxn>
              <a:cxn ang="0">
                <a:pos x="connsiteX10237" y="connsiteY10237"/>
              </a:cxn>
              <a:cxn ang="0">
                <a:pos x="connsiteX10238" y="connsiteY10238"/>
              </a:cxn>
              <a:cxn ang="0">
                <a:pos x="connsiteX10239" y="connsiteY10239"/>
              </a:cxn>
              <a:cxn ang="0">
                <a:pos x="connsiteX10240" y="connsiteY10240"/>
              </a:cxn>
              <a:cxn ang="0">
                <a:pos x="connsiteX10241" y="connsiteY10241"/>
              </a:cxn>
              <a:cxn ang="0">
                <a:pos x="connsiteX10242" y="connsiteY10242"/>
              </a:cxn>
              <a:cxn ang="0">
                <a:pos x="connsiteX10243" y="connsiteY10243"/>
              </a:cxn>
              <a:cxn ang="0">
                <a:pos x="connsiteX10244" y="connsiteY10244"/>
              </a:cxn>
              <a:cxn ang="0">
                <a:pos x="connsiteX10245" y="connsiteY10245"/>
              </a:cxn>
              <a:cxn ang="0">
                <a:pos x="connsiteX10246" y="connsiteY10246"/>
              </a:cxn>
              <a:cxn ang="0">
                <a:pos x="connsiteX10247" y="connsiteY10247"/>
              </a:cxn>
              <a:cxn ang="0">
                <a:pos x="connsiteX10248" y="connsiteY10248"/>
              </a:cxn>
              <a:cxn ang="0">
                <a:pos x="connsiteX10249" y="connsiteY10249"/>
              </a:cxn>
              <a:cxn ang="0">
                <a:pos x="connsiteX10250" y="connsiteY10250"/>
              </a:cxn>
              <a:cxn ang="0">
                <a:pos x="connsiteX10251" y="connsiteY10251"/>
              </a:cxn>
              <a:cxn ang="0">
                <a:pos x="connsiteX10252" y="connsiteY10252"/>
              </a:cxn>
              <a:cxn ang="0">
                <a:pos x="connsiteX10253" y="connsiteY10253"/>
              </a:cxn>
              <a:cxn ang="0">
                <a:pos x="connsiteX10254" y="connsiteY10254"/>
              </a:cxn>
              <a:cxn ang="0">
                <a:pos x="connsiteX10255" y="connsiteY10255"/>
              </a:cxn>
              <a:cxn ang="0">
                <a:pos x="connsiteX10256" y="connsiteY10256"/>
              </a:cxn>
              <a:cxn ang="0">
                <a:pos x="connsiteX10257" y="connsiteY10257"/>
              </a:cxn>
              <a:cxn ang="0">
                <a:pos x="connsiteX10258" y="connsiteY10258"/>
              </a:cxn>
              <a:cxn ang="0">
                <a:pos x="connsiteX10259" y="connsiteY10259"/>
              </a:cxn>
              <a:cxn ang="0">
                <a:pos x="connsiteX10260" y="connsiteY10260"/>
              </a:cxn>
              <a:cxn ang="0">
                <a:pos x="connsiteX10261" y="connsiteY10261"/>
              </a:cxn>
              <a:cxn ang="0">
                <a:pos x="connsiteX10262" y="connsiteY10262"/>
              </a:cxn>
              <a:cxn ang="0">
                <a:pos x="connsiteX10263" y="connsiteY10263"/>
              </a:cxn>
              <a:cxn ang="0">
                <a:pos x="connsiteX10264" y="connsiteY10264"/>
              </a:cxn>
              <a:cxn ang="0">
                <a:pos x="connsiteX10265" y="connsiteY10265"/>
              </a:cxn>
              <a:cxn ang="0">
                <a:pos x="connsiteX10266" y="connsiteY10266"/>
              </a:cxn>
              <a:cxn ang="0">
                <a:pos x="connsiteX10267" y="connsiteY10267"/>
              </a:cxn>
              <a:cxn ang="0">
                <a:pos x="connsiteX10268" y="connsiteY10268"/>
              </a:cxn>
              <a:cxn ang="0">
                <a:pos x="connsiteX10269" y="connsiteY10269"/>
              </a:cxn>
              <a:cxn ang="0">
                <a:pos x="connsiteX10270" y="connsiteY10270"/>
              </a:cxn>
              <a:cxn ang="0">
                <a:pos x="connsiteX10271" y="connsiteY10271"/>
              </a:cxn>
              <a:cxn ang="0">
                <a:pos x="connsiteX10272" y="connsiteY10272"/>
              </a:cxn>
              <a:cxn ang="0">
                <a:pos x="connsiteX10273" y="connsiteY10273"/>
              </a:cxn>
              <a:cxn ang="0">
                <a:pos x="connsiteX10274" y="connsiteY10274"/>
              </a:cxn>
              <a:cxn ang="0">
                <a:pos x="connsiteX10275" y="connsiteY10275"/>
              </a:cxn>
              <a:cxn ang="0">
                <a:pos x="connsiteX10276" y="connsiteY10276"/>
              </a:cxn>
              <a:cxn ang="0">
                <a:pos x="connsiteX10277" y="connsiteY10277"/>
              </a:cxn>
              <a:cxn ang="0">
                <a:pos x="connsiteX10278" y="connsiteY10278"/>
              </a:cxn>
              <a:cxn ang="0">
                <a:pos x="connsiteX10279" y="connsiteY10279"/>
              </a:cxn>
              <a:cxn ang="0">
                <a:pos x="connsiteX10280" y="connsiteY10280"/>
              </a:cxn>
              <a:cxn ang="0">
                <a:pos x="connsiteX10281" y="connsiteY10281"/>
              </a:cxn>
              <a:cxn ang="0">
                <a:pos x="connsiteX10282" y="connsiteY10282"/>
              </a:cxn>
              <a:cxn ang="0">
                <a:pos x="connsiteX10283" y="connsiteY10283"/>
              </a:cxn>
              <a:cxn ang="0">
                <a:pos x="connsiteX10284" y="connsiteY10284"/>
              </a:cxn>
              <a:cxn ang="0">
                <a:pos x="connsiteX10285" y="connsiteY10285"/>
              </a:cxn>
              <a:cxn ang="0">
                <a:pos x="connsiteX10286" y="connsiteY10286"/>
              </a:cxn>
              <a:cxn ang="0">
                <a:pos x="connsiteX10287" y="connsiteY10287"/>
              </a:cxn>
              <a:cxn ang="0">
                <a:pos x="connsiteX10288" y="connsiteY10288"/>
              </a:cxn>
              <a:cxn ang="0">
                <a:pos x="connsiteX10289" y="connsiteY10289"/>
              </a:cxn>
              <a:cxn ang="0">
                <a:pos x="connsiteX10290" y="connsiteY10290"/>
              </a:cxn>
              <a:cxn ang="0">
                <a:pos x="connsiteX10291" y="connsiteY10291"/>
              </a:cxn>
              <a:cxn ang="0">
                <a:pos x="connsiteX10292" y="connsiteY10292"/>
              </a:cxn>
              <a:cxn ang="0">
                <a:pos x="connsiteX10293" y="connsiteY10293"/>
              </a:cxn>
              <a:cxn ang="0">
                <a:pos x="connsiteX10294" y="connsiteY10294"/>
              </a:cxn>
              <a:cxn ang="0">
                <a:pos x="connsiteX10295" y="connsiteY10295"/>
              </a:cxn>
              <a:cxn ang="0">
                <a:pos x="connsiteX10296" y="connsiteY10296"/>
              </a:cxn>
              <a:cxn ang="0">
                <a:pos x="connsiteX10297" y="connsiteY10297"/>
              </a:cxn>
              <a:cxn ang="0">
                <a:pos x="connsiteX10298" y="connsiteY10298"/>
              </a:cxn>
              <a:cxn ang="0">
                <a:pos x="connsiteX10299" y="connsiteY10299"/>
              </a:cxn>
              <a:cxn ang="0">
                <a:pos x="connsiteX10300" y="connsiteY10300"/>
              </a:cxn>
              <a:cxn ang="0">
                <a:pos x="connsiteX10301" y="connsiteY10301"/>
              </a:cxn>
              <a:cxn ang="0">
                <a:pos x="connsiteX10302" y="connsiteY10302"/>
              </a:cxn>
              <a:cxn ang="0">
                <a:pos x="connsiteX10303" y="connsiteY10303"/>
              </a:cxn>
              <a:cxn ang="0">
                <a:pos x="connsiteX10304" y="connsiteY10304"/>
              </a:cxn>
              <a:cxn ang="0">
                <a:pos x="connsiteX10305" y="connsiteY10305"/>
              </a:cxn>
              <a:cxn ang="0">
                <a:pos x="connsiteX10306" y="connsiteY10306"/>
              </a:cxn>
              <a:cxn ang="0">
                <a:pos x="connsiteX10307" y="connsiteY10307"/>
              </a:cxn>
              <a:cxn ang="0">
                <a:pos x="connsiteX10308" y="connsiteY10308"/>
              </a:cxn>
              <a:cxn ang="0">
                <a:pos x="connsiteX10309" y="connsiteY10309"/>
              </a:cxn>
              <a:cxn ang="0">
                <a:pos x="connsiteX10310" y="connsiteY10310"/>
              </a:cxn>
              <a:cxn ang="0">
                <a:pos x="connsiteX10311" y="connsiteY10311"/>
              </a:cxn>
              <a:cxn ang="0">
                <a:pos x="connsiteX10312" y="connsiteY10312"/>
              </a:cxn>
              <a:cxn ang="0">
                <a:pos x="connsiteX10313" y="connsiteY10313"/>
              </a:cxn>
              <a:cxn ang="0">
                <a:pos x="connsiteX10314" y="connsiteY10314"/>
              </a:cxn>
              <a:cxn ang="0">
                <a:pos x="connsiteX10315" y="connsiteY10315"/>
              </a:cxn>
              <a:cxn ang="0">
                <a:pos x="connsiteX10316" y="connsiteY10316"/>
              </a:cxn>
              <a:cxn ang="0">
                <a:pos x="connsiteX10317" y="connsiteY10317"/>
              </a:cxn>
              <a:cxn ang="0">
                <a:pos x="connsiteX10318" y="connsiteY10318"/>
              </a:cxn>
              <a:cxn ang="0">
                <a:pos x="connsiteX10319" y="connsiteY10319"/>
              </a:cxn>
              <a:cxn ang="0">
                <a:pos x="connsiteX10320" y="connsiteY10320"/>
              </a:cxn>
              <a:cxn ang="0">
                <a:pos x="connsiteX10321" y="connsiteY10321"/>
              </a:cxn>
              <a:cxn ang="0">
                <a:pos x="connsiteX10322" y="connsiteY10322"/>
              </a:cxn>
              <a:cxn ang="0">
                <a:pos x="connsiteX10323" y="connsiteY10323"/>
              </a:cxn>
              <a:cxn ang="0">
                <a:pos x="connsiteX10324" y="connsiteY10324"/>
              </a:cxn>
              <a:cxn ang="0">
                <a:pos x="connsiteX10325" y="connsiteY10325"/>
              </a:cxn>
              <a:cxn ang="0">
                <a:pos x="connsiteX10326" y="connsiteY10326"/>
              </a:cxn>
              <a:cxn ang="0">
                <a:pos x="connsiteX10327" y="connsiteY10327"/>
              </a:cxn>
              <a:cxn ang="0">
                <a:pos x="connsiteX10328" y="connsiteY10328"/>
              </a:cxn>
              <a:cxn ang="0">
                <a:pos x="connsiteX10329" y="connsiteY10329"/>
              </a:cxn>
              <a:cxn ang="0">
                <a:pos x="connsiteX10330" y="connsiteY10330"/>
              </a:cxn>
              <a:cxn ang="0">
                <a:pos x="connsiteX10331" y="connsiteY10331"/>
              </a:cxn>
              <a:cxn ang="0">
                <a:pos x="connsiteX10332" y="connsiteY10332"/>
              </a:cxn>
              <a:cxn ang="0">
                <a:pos x="connsiteX10333" y="connsiteY10333"/>
              </a:cxn>
              <a:cxn ang="0">
                <a:pos x="connsiteX10334" y="connsiteY10334"/>
              </a:cxn>
              <a:cxn ang="0">
                <a:pos x="connsiteX10335" y="connsiteY10335"/>
              </a:cxn>
              <a:cxn ang="0">
                <a:pos x="connsiteX10336" y="connsiteY10336"/>
              </a:cxn>
              <a:cxn ang="0">
                <a:pos x="connsiteX10337" y="connsiteY10337"/>
              </a:cxn>
              <a:cxn ang="0">
                <a:pos x="connsiteX10338" y="connsiteY10338"/>
              </a:cxn>
              <a:cxn ang="0">
                <a:pos x="connsiteX10339" y="connsiteY10339"/>
              </a:cxn>
              <a:cxn ang="0">
                <a:pos x="connsiteX10340" y="connsiteY10340"/>
              </a:cxn>
              <a:cxn ang="0">
                <a:pos x="connsiteX10341" y="connsiteY10341"/>
              </a:cxn>
              <a:cxn ang="0">
                <a:pos x="connsiteX10342" y="connsiteY10342"/>
              </a:cxn>
              <a:cxn ang="0">
                <a:pos x="connsiteX10343" y="connsiteY10343"/>
              </a:cxn>
              <a:cxn ang="0">
                <a:pos x="connsiteX10344" y="connsiteY10344"/>
              </a:cxn>
              <a:cxn ang="0">
                <a:pos x="connsiteX10345" y="connsiteY10345"/>
              </a:cxn>
              <a:cxn ang="0">
                <a:pos x="connsiteX10346" y="connsiteY10346"/>
              </a:cxn>
              <a:cxn ang="0">
                <a:pos x="connsiteX10347" y="connsiteY10347"/>
              </a:cxn>
              <a:cxn ang="0">
                <a:pos x="connsiteX10348" y="connsiteY10348"/>
              </a:cxn>
              <a:cxn ang="0">
                <a:pos x="connsiteX10349" y="connsiteY10349"/>
              </a:cxn>
              <a:cxn ang="0">
                <a:pos x="connsiteX10350" y="connsiteY10350"/>
              </a:cxn>
              <a:cxn ang="0">
                <a:pos x="connsiteX10351" y="connsiteY10351"/>
              </a:cxn>
              <a:cxn ang="0">
                <a:pos x="connsiteX10352" y="connsiteY10352"/>
              </a:cxn>
              <a:cxn ang="0">
                <a:pos x="connsiteX10353" y="connsiteY10353"/>
              </a:cxn>
              <a:cxn ang="0">
                <a:pos x="connsiteX10354" y="connsiteY10354"/>
              </a:cxn>
              <a:cxn ang="0">
                <a:pos x="connsiteX10355" y="connsiteY10355"/>
              </a:cxn>
              <a:cxn ang="0">
                <a:pos x="connsiteX10356" y="connsiteY10356"/>
              </a:cxn>
              <a:cxn ang="0">
                <a:pos x="connsiteX10357" y="connsiteY10357"/>
              </a:cxn>
              <a:cxn ang="0">
                <a:pos x="connsiteX10358" y="connsiteY10358"/>
              </a:cxn>
              <a:cxn ang="0">
                <a:pos x="connsiteX10359" y="connsiteY10359"/>
              </a:cxn>
              <a:cxn ang="0">
                <a:pos x="connsiteX10360" y="connsiteY10360"/>
              </a:cxn>
              <a:cxn ang="0">
                <a:pos x="connsiteX10361" y="connsiteY10361"/>
              </a:cxn>
              <a:cxn ang="0">
                <a:pos x="connsiteX10362" y="connsiteY10362"/>
              </a:cxn>
              <a:cxn ang="0">
                <a:pos x="connsiteX10363" y="connsiteY10363"/>
              </a:cxn>
              <a:cxn ang="0">
                <a:pos x="connsiteX10364" y="connsiteY10364"/>
              </a:cxn>
              <a:cxn ang="0">
                <a:pos x="connsiteX10365" y="connsiteY10365"/>
              </a:cxn>
              <a:cxn ang="0">
                <a:pos x="connsiteX10366" y="connsiteY10366"/>
              </a:cxn>
              <a:cxn ang="0">
                <a:pos x="connsiteX10367" y="connsiteY10367"/>
              </a:cxn>
              <a:cxn ang="0">
                <a:pos x="connsiteX10368" y="connsiteY10368"/>
              </a:cxn>
              <a:cxn ang="0">
                <a:pos x="connsiteX10369" y="connsiteY10369"/>
              </a:cxn>
              <a:cxn ang="0">
                <a:pos x="connsiteX10370" y="connsiteY10370"/>
              </a:cxn>
              <a:cxn ang="0">
                <a:pos x="connsiteX10371" y="connsiteY10371"/>
              </a:cxn>
              <a:cxn ang="0">
                <a:pos x="connsiteX10372" y="connsiteY10372"/>
              </a:cxn>
              <a:cxn ang="0">
                <a:pos x="connsiteX10373" y="connsiteY10373"/>
              </a:cxn>
              <a:cxn ang="0">
                <a:pos x="connsiteX10374" y="connsiteY10374"/>
              </a:cxn>
              <a:cxn ang="0">
                <a:pos x="connsiteX10375" y="connsiteY10375"/>
              </a:cxn>
              <a:cxn ang="0">
                <a:pos x="connsiteX10376" y="connsiteY10376"/>
              </a:cxn>
              <a:cxn ang="0">
                <a:pos x="connsiteX10377" y="connsiteY10377"/>
              </a:cxn>
              <a:cxn ang="0">
                <a:pos x="connsiteX10378" y="connsiteY10378"/>
              </a:cxn>
              <a:cxn ang="0">
                <a:pos x="connsiteX10379" y="connsiteY10379"/>
              </a:cxn>
              <a:cxn ang="0">
                <a:pos x="connsiteX10380" y="connsiteY10380"/>
              </a:cxn>
              <a:cxn ang="0">
                <a:pos x="connsiteX10381" y="connsiteY10381"/>
              </a:cxn>
              <a:cxn ang="0">
                <a:pos x="connsiteX10382" y="connsiteY10382"/>
              </a:cxn>
              <a:cxn ang="0">
                <a:pos x="connsiteX10383" y="connsiteY10383"/>
              </a:cxn>
              <a:cxn ang="0">
                <a:pos x="connsiteX10384" y="connsiteY10384"/>
              </a:cxn>
              <a:cxn ang="0">
                <a:pos x="connsiteX10385" y="connsiteY10385"/>
              </a:cxn>
              <a:cxn ang="0">
                <a:pos x="connsiteX10386" y="connsiteY10386"/>
              </a:cxn>
              <a:cxn ang="0">
                <a:pos x="connsiteX10387" y="connsiteY10387"/>
              </a:cxn>
              <a:cxn ang="0">
                <a:pos x="connsiteX10388" y="connsiteY10388"/>
              </a:cxn>
              <a:cxn ang="0">
                <a:pos x="connsiteX10389" y="connsiteY10389"/>
              </a:cxn>
              <a:cxn ang="0">
                <a:pos x="connsiteX10390" y="connsiteY10390"/>
              </a:cxn>
              <a:cxn ang="0">
                <a:pos x="connsiteX10391" y="connsiteY10391"/>
              </a:cxn>
              <a:cxn ang="0">
                <a:pos x="connsiteX10392" y="connsiteY10392"/>
              </a:cxn>
              <a:cxn ang="0">
                <a:pos x="connsiteX10393" y="connsiteY10393"/>
              </a:cxn>
              <a:cxn ang="0">
                <a:pos x="connsiteX10394" y="connsiteY10394"/>
              </a:cxn>
              <a:cxn ang="0">
                <a:pos x="connsiteX10395" y="connsiteY10395"/>
              </a:cxn>
              <a:cxn ang="0">
                <a:pos x="connsiteX10396" y="connsiteY10396"/>
              </a:cxn>
              <a:cxn ang="0">
                <a:pos x="connsiteX10397" y="connsiteY10397"/>
              </a:cxn>
              <a:cxn ang="0">
                <a:pos x="connsiteX10398" y="connsiteY10398"/>
              </a:cxn>
              <a:cxn ang="0">
                <a:pos x="connsiteX10399" y="connsiteY10399"/>
              </a:cxn>
              <a:cxn ang="0">
                <a:pos x="connsiteX10400" y="connsiteY10400"/>
              </a:cxn>
              <a:cxn ang="0">
                <a:pos x="connsiteX10401" y="connsiteY10401"/>
              </a:cxn>
              <a:cxn ang="0">
                <a:pos x="connsiteX10402" y="connsiteY10402"/>
              </a:cxn>
              <a:cxn ang="0">
                <a:pos x="connsiteX10403" y="connsiteY10403"/>
              </a:cxn>
              <a:cxn ang="0">
                <a:pos x="connsiteX10404" y="connsiteY10404"/>
              </a:cxn>
              <a:cxn ang="0">
                <a:pos x="connsiteX10405" y="connsiteY10405"/>
              </a:cxn>
              <a:cxn ang="0">
                <a:pos x="connsiteX10406" y="connsiteY10406"/>
              </a:cxn>
              <a:cxn ang="0">
                <a:pos x="connsiteX10407" y="connsiteY10407"/>
              </a:cxn>
              <a:cxn ang="0">
                <a:pos x="connsiteX10408" y="connsiteY10408"/>
              </a:cxn>
              <a:cxn ang="0">
                <a:pos x="connsiteX10409" y="connsiteY10409"/>
              </a:cxn>
              <a:cxn ang="0">
                <a:pos x="connsiteX10410" y="connsiteY10410"/>
              </a:cxn>
              <a:cxn ang="0">
                <a:pos x="connsiteX10411" y="connsiteY10411"/>
              </a:cxn>
              <a:cxn ang="0">
                <a:pos x="connsiteX10412" y="connsiteY10412"/>
              </a:cxn>
              <a:cxn ang="0">
                <a:pos x="connsiteX10413" y="connsiteY10413"/>
              </a:cxn>
              <a:cxn ang="0">
                <a:pos x="connsiteX10414" y="connsiteY10414"/>
              </a:cxn>
              <a:cxn ang="0">
                <a:pos x="connsiteX10415" y="connsiteY10415"/>
              </a:cxn>
              <a:cxn ang="0">
                <a:pos x="connsiteX10416" y="connsiteY10416"/>
              </a:cxn>
              <a:cxn ang="0">
                <a:pos x="connsiteX10417" y="connsiteY10417"/>
              </a:cxn>
              <a:cxn ang="0">
                <a:pos x="connsiteX10418" y="connsiteY10418"/>
              </a:cxn>
              <a:cxn ang="0">
                <a:pos x="connsiteX10419" y="connsiteY10419"/>
              </a:cxn>
              <a:cxn ang="0">
                <a:pos x="connsiteX10420" y="connsiteY10420"/>
              </a:cxn>
              <a:cxn ang="0">
                <a:pos x="connsiteX10421" y="connsiteY10421"/>
              </a:cxn>
              <a:cxn ang="0">
                <a:pos x="connsiteX10422" y="connsiteY10422"/>
              </a:cxn>
              <a:cxn ang="0">
                <a:pos x="connsiteX10423" y="connsiteY10423"/>
              </a:cxn>
              <a:cxn ang="0">
                <a:pos x="connsiteX10424" y="connsiteY10424"/>
              </a:cxn>
              <a:cxn ang="0">
                <a:pos x="connsiteX10425" y="connsiteY10425"/>
              </a:cxn>
              <a:cxn ang="0">
                <a:pos x="connsiteX10426" y="connsiteY10426"/>
              </a:cxn>
              <a:cxn ang="0">
                <a:pos x="connsiteX10427" y="connsiteY10427"/>
              </a:cxn>
              <a:cxn ang="0">
                <a:pos x="connsiteX10428" y="connsiteY10428"/>
              </a:cxn>
              <a:cxn ang="0">
                <a:pos x="connsiteX10429" y="connsiteY10429"/>
              </a:cxn>
              <a:cxn ang="0">
                <a:pos x="connsiteX10430" y="connsiteY10430"/>
              </a:cxn>
              <a:cxn ang="0">
                <a:pos x="connsiteX10431" y="connsiteY10431"/>
              </a:cxn>
              <a:cxn ang="0">
                <a:pos x="connsiteX10432" y="connsiteY10432"/>
              </a:cxn>
              <a:cxn ang="0">
                <a:pos x="connsiteX10433" y="connsiteY10433"/>
              </a:cxn>
              <a:cxn ang="0">
                <a:pos x="connsiteX10434" y="connsiteY10434"/>
              </a:cxn>
              <a:cxn ang="0">
                <a:pos x="connsiteX10435" y="connsiteY10435"/>
              </a:cxn>
              <a:cxn ang="0">
                <a:pos x="connsiteX10436" y="connsiteY10436"/>
              </a:cxn>
              <a:cxn ang="0">
                <a:pos x="connsiteX10437" y="connsiteY10437"/>
              </a:cxn>
              <a:cxn ang="0">
                <a:pos x="connsiteX10438" y="connsiteY10438"/>
              </a:cxn>
              <a:cxn ang="0">
                <a:pos x="connsiteX10439" y="connsiteY10439"/>
              </a:cxn>
              <a:cxn ang="0">
                <a:pos x="connsiteX10440" y="connsiteY10440"/>
              </a:cxn>
              <a:cxn ang="0">
                <a:pos x="connsiteX10441" y="connsiteY10441"/>
              </a:cxn>
              <a:cxn ang="0">
                <a:pos x="connsiteX10442" y="connsiteY10442"/>
              </a:cxn>
              <a:cxn ang="0">
                <a:pos x="connsiteX10443" y="connsiteY10443"/>
              </a:cxn>
              <a:cxn ang="0">
                <a:pos x="connsiteX10444" y="connsiteY10444"/>
              </a:cxn>
              <a:cxn ang="0">
                <a:pos x="connsiteX10445" y="connsiteY10445"/>
              </a:cxn>
              <a:cxn ang="0">
                <a:pos x="connsiteX10446" y="connsiteY10446"/>
              </a:cxn>
              <a:cxn ang="0">
                <a:pos x="connsiteX10447" y="connsiteY10447"/>
              </a:cxn>
              <a:cxn ang="0">
                <a:pos x="connsiteX10448" y="connsiteY10448"/>
              </a:cxn>
              <a:cxn ang="0">
                <a:pos x="connsiteX10449" y="connsiteY10449"/>
              </a:cxn>
              <a:cxn ang="0">
                <a:pos x="connsiteX10450" y="connsiteY10450"/>
              </a:cxn>
              <a:cxn ang="0">
                <a:pos x="connsiteX10451" y="connsiteY10451"/>
              </a:cxn>
              <a:cxn ang="0">
                <a:pos x="connsiteX10452" y="connsiteY10452"/>
              </a:cxn>
              <a:cxn ang="0">
                <a:pos x="connsiteX10453" y="connsiteY10453"/>
              </a:cxn>
              <a:cxn ang="0">
                <a:pos x="connsiteX10454" y="connsiteY10454"/>
              </a:cxn>
              <a:cxn ang="0">
                <a:pos x="connsiteX10455" y="connsiteY10455"/>
              </a:cxn>
              <a:cxn ang="0">
                <a:pos x="connsiteX10456" y="connsiteY10456"/>
              </a:cxn>
              <a:cxn ang="0">
                <a:pos x="connsiteX10457" y="connsiteY10457"/>
              </a:cxn>
              <a:cxn ang="0">
                <a:pos x="connsiteX10458" y="connsiteY10458"/>
              </a:cxn>
              <a:cxn ang="0">
                <a:pos x="connsiteX10459" y="connsiteY10459"/>
              </a:cxn>
              <a:cxn ang="0">
                <a:pos x="connsiteX10460" y="connsiteY10460"/>
              </a:cxn>
              <a:cxn ang="0">
                <a:pos x="connsiteX10461" y="connsiteY10461"/>
              </a:cxn>
              <a:cxn ang="0">
                <a:pos x="connsiteX10462" y="connsiteY10462"/>
              </a:cxn>
              <a:cxn ang="0">
                <a:pos x="connsiteX10463" y="connsiteY10463"/>
              </a:cxn>
              <a:cxn ang="0">
                <a:pos x="connsiteX10464" y="connsiteY10464"/>
              </a:cxn>
              <a:cxn ang="0">
                <a:pos x="connsiteX10465" y="connsiteY10465"/>
              </a:cxn>
              <a:cxn ang="0">
                <a:pos x="connsiteX10466" y="connsiteY10466"/>
              </a:cxn>
              <a:cxn ang="0">
                <a:pos x="connsiteX10467" y="connsiteY10467"/>
              </a:cxn>
              <a:cxn ang="0">
                <a:pos x="connsiteX10468" y="connsiteY10468"/>
              </a:cxn>
              <a:cxn ang="0">
                <a:pos x="connsiteX10469" y="connsiteY10469"/>
              </a:cxn>
              <a:cxn ang="0">
                <a:pos x="connsiteX10470" y="connsiteY10470"/>
              </a:cxn>
              <a:cxn ang="0">
                <a:pos x="connsiteX10471" y="connsiteY10471"/>
              </a:cxn>
              <a:cxn ang="0">
                <a:pos x="connsiteX10472" y="connsiteY10472"/>
              </a:cxn>
              <a:cxn ang="0">
                <a:pos x="connsiteX10473" y="connsiteY10473"/>
              </a:cxn>
              <a:cxn ang="0">
                <a:pos x="connsiteX10474" y="connsiteY10474"/>
              </a:cxn>
              <a:cxn ang="0">
                <a:pos x="connsiteX10475" y="connsiteY10475"/>
              </a:cxn>
              <a:cxn ang="0">
                <a:pos x="connsiteX10476" y="connsiteY10476"/>
              </a:cxn>
              <a:cxn ang="0">
                <a:pos x="connsiteX10477" y="connsiteY10477"/>
              </a:cxn>
              <a:cxn ang="0">
                <a:pos x="connsiteX10478" y="connsiteY10478"/>
              </a:cxn>
              <a:cxn ang="0">
                <a:pos x="connsiteX10479" y="connsiteY10479"/>
              </a:cxn>
              <a:cxn ang="0">
                <a:pos x="connsiteX10480" y="connsiteY10480"/>
              </a:cxn>
              <a:cxn ang="0">
                <a:pos x="connsiteX10481" y="connsiteY10481"/>
              </a:cxn>
              <a:cxn ang="0">
                <a:pos x="connsiteX10482" y="connsiteY10482"/>
              </a:cxn>
              <a:cxn ang="0">
                <a:pos x="connsiteX10483" y="connsiteY10483"/>
              </a:cxn>
              <a:cxn ang="0">
                <a:pos x="connsiteX10484" y="connsiteY10484"/>
              </a:cxn>
              <a:cxn ang="0">
                <a:pos x="connsiteX10485" y="connsiteY10485"/>
              </a:cxn>
              <a:cxn ang="0">
                <a:pos x="connsiteX10486" y="connsiteY10486"/>
              </a:cxn>
              <a:cxn ang="0">
                <a:pos x="connsiteX10487" y="connsiteY10487"/>
              </a:cxn>
              <a:cxn ang="0">
                <a:pos x="connsiteX10488" y="connsiteY10488"/>
              </a:cxn>
              <a:cxn ang="0">
                <a:pos x="connsiteX10489" y="connsiteY10489"/>
              </a:cxn>
              <a:cxn ang="0">
                <a:pos x="connsiteX10490" y="connsiteY10490"/>
              </a:cxn>
              <a:cxn ang="0">
                <a:pos x="connsiteX10491" y="connsiteY10491"/>
              </a:cxn>
              <a:cxn ang="0">
                <a:pos x="connsiteX10492" y="connsiteY10492"/>
              </a:cxn>
              <a:cxn ang="0">
                <a:pos x="connsiteX10493" y="connsiteY10493"/>
              </a:cxn>
              <a:cxn ang="0">
                <a:pos x="connsiteX10494" y="connsiteY10494"/>
              </a:cxn>
              <a:cxn ang="0">
                <a:pos x="connsiteX10495" y="connsiteY10495"/>
              </a:cxn>
              <a:cxn ang="0">
                <a:pos x="connsiteX10496" y="connsiteY10496"/>
              </a:cxn>
              <a:cxn ang="0">
                <a:pos x="connsiteX10497" y="connsiteY10497"/>
              </a:cxn>
              <a:cxn ang="0">
                <a:pos x="connsiteX10498" y="connsiteY10498"/>
              </a:cxn>
              <a:cxn ang="0">
                <a:pos x="connsiteX10499" y="connsiteY10499"/>
              </a:cxn>
              <a:cxn ang="0">
                <a:pos x="connsiteX10500" y="connsiteY10500"/>
              </a:cxn>
              <a:cxn ang="0">
                <a:pos x="connsiteX10501" y="connsiteY10501"/>
              </a:cxn>
              <a:cxn ang="0">
                <a:pos x="connsiteX10502" y="connsiteY10502"/>
              </a:cxn>
              <a:cxn ang="0">
                <a:pos x="connsiteX10503" y="connsiteY10503"/>
              </a:cxn>
              <a:cxn ang="0">
                <a:pos x="connsiteX10504" y="connsiteY10504"/>
              </a:cxn>
              <a:cxn ang="0">
                <a:pos x="connsiteX10505" y="connsiteY10505"/>
              </a:cxn>
              <a:cxn ang="0">
                <a:pos x="connsiteX10506" y="connsiteY10506"/>
              </a:cxn>
              <a:cxn ang="0">
                <a:pos x="connsiteX10507" y="connsiteY10507"/>
              </a:cxn>
              <a:cxn ang="0">
                <a:pos x="connsiteX10508" y="connsiteY10508"/>
              </a:cxn>
              <a:cxn ang="0">
                <a:pos x="connsiteX10509" y="connsiteY10509"/>
              </a:cxn>
              <a:cxn ang="0">
                <a:pos x="connsiteX10510" y="connsiteY10510"/>
              </a:cxn>
              <a:cxn ang="0">
                <a:pos x="connsiteX10511" y="connsiteY10511"/>
              </a:cxn>
              <a:cxn ang="0">
                <a:pos x="connsiteX10512" y="connsiteY10512"/>
              </a:cxn>
              <a:cxn ang="0">
                <a:pos x="connsiteX10513" y="connsiteY10513"/>
              </a:cxn>
              <a:cxn ang="0">
                <a:pos x="connsiteX10514" y="connsiteY10514"/>
              </a:cxn>
              <a:cxn ang="0">
                <a:pos x="connsiteX10515" y="connsiteY10515"/>
              </a:cxn>
              <a:cxn ang="0">
                <a:pos x="connsiteX10516" y="connsiteY10516"/>
              </a:cxn>
              <a:cxn ang="0">
                <a:pos x="connsiteX10517" y="connsiteY10517"/>
              </a:cxn>
              <a:cxn ang="0">
                <a:pos x="connsiteX10518" y="connsiteY10518"/>
              </a:cxn>
              <a:cxn ang="0">
                <a:pos x="connsiteX10519" y="connsiteY10519"/>
              </a:cxn>
              <a:cxn ang="0">
                <a:pos x="connsiteX10520" y="connsiteY10520"/>
              </a:cxn>
              <a:cxn ang="0">
                <a:pos x="connsiteX10521" y="connsiteY10521"/>
              </a:cxn>
              <a:cxn ang="0">
                <a:pos x="connsiteX10522" y="connsiteY10522"/>
              </a:cxn>
              <a:cxn ang="0">
                <a:pos x="connsiteX10523" y="connsiteY10523"/>
              </a:cxn>
              <a:cxn ang="0">
                <a:pos x="connsiteX10524" y="connsiteY10524"/>
              </a:cxn>
              <a:cxn ang="0">
                <a:pos x="connsiteX10525" y="connsiteY10525"/>
              </a:cxn>
              <a:cxn ang="0">
                <a:pos x="connsiteX10526" y="connsiteY10526"/>
              </a:cxn>
              <a:cxn ang="0">
                <a:pos x="connsiteX10527" y="connsiteY10527"/>
              </a:cxn>
              <a:cxn ang="0">
                <a:pos x="connsiteX10528" y="connsiteY10528"/>
              </a:cxn>
              <a:cxn ang="0">
                <a:pos x="connsiteX10529" y="connsiteY10529"/>
              </a:cxn>
              <a:cxn ang="0">
                <a:pos x="connsiteX10530" y="connsiteY10530"/>
              </a:cxn>
              <a:cxn ang="0">
                <a:pos x="connsiteX10531" y="connsiteY10531"/>
              </a:cxn>
              <a:cxn ang="0">
                <a:pos x="connsiteX10532" y="connsiteY10532"/>
              </a:cxn>
              <a:cxn ang="0">
                <a:pos x="connsiteX10533" y="connsiteY10533"/>
              </a:cxn>
              <a:cxn ang="0">
                <a:pos x="connsiteX10534" y="connsiteY10534"/>
              </a:cxn>
              <a:cxn ang="0">
                <a:pos x="connsiteX10535" y="connsiteY10535"/>
              </a:cxn>
              <a:cxn ang="0">
                <a:pos x="connsiteX10536" y="connsiteY10536"/>
              </a:cxn>
              <a:cxn ang="0">
                <a:pos x="connsiteX10537" y="connsiteY10537"/>
              </a:cxn>
              <a:cxn ang="0">
                <a:pos x="connsiteX10538" y="connsiteY10538"/>
              </a:cxn>
              <a:cxn ang="0">
                <a:pos x="connsiteX10539" y="connsiteY10539"/>
              </a:cxn>
              <a:cxn ang="0">
                <a:pos x="connsiteX10540" y="connsiteY10540"/>
              </a:cxn>
              <a:cxn ang="0">
                <a:pos x="connsiteX10541" y="connsiteY10541"/>
              </a:cxn>
              <a:cxn ang="0">
                <a:pos x="connsiteX10542" y="connsiteY10542"/>
              </a:cxn>
              <a:cxn ang="0">
                <a:pos x="connsiteX10543" y="connsiteY10543"/>
              </a:cxn>
              <a:cxn ang="0">
                <a:pos x="connsiteX10544" y="connsiteY10544"/>
              </a:cxn>
              <a:cxn ang="0">
                <a:pos x="connsiteX10545" y="connsiteY10545"/>
              </a:cxn>
              <a:cxn ang="0">
                <a:pos x="connsiteX10546" y="connsiteY10546"/>
              </a:cxn>
              <a:cxn ang="0">
                <a:pos x="connsiteX10547" y="connsiteY10547"/>
              </a:cxn>
              <a:cxn ang="0">
                <a:pos x="connsiteX10548" y="connsiteY10548"/>
              </a:cxn>
              <a:cxn ang="0">
                <a:pos x="connsiteX10549" y="connsiteY10549"/>
              </a:cxn>
              <a:cxn ang="0">
                <a:pos x="connsiteX10550" y="connsiteY10550"/>
              </a:cxn>
              <a:cxn ang="0">
                <a:pos x="connsiteX10551" y="connsiteY10551"/>
              </a:cxn>
              <a:cxn ang="0">
                <a:pos x="connsiteX10552" y="connsiteY10552"/>
              </a:cxn>
              <a:cxn ang="0">
                <a:pos x="connsiteX10553" y="connsiteY10553"/>
              </a:cxn>
              <a:cxn ang="0">
                <a:pos x="connsiteX10554" y="connsiteY10554"/>
              </a:cxn>
              <a:cxn ang="0">
                <a:pos x="connsiteX10555" y="connsiteY10555"/>
              </a:cxn>
              <a:cxn ang="0">
                <a:pos x="connsiteX10556" y="connsiteY10556"/>
              </a:cxn>
              <a:cxn ang="0">
                <a:pos x="connsiteX10557" y="connsiteY10557"/>
              </a:cxn>
              <a:cxn ang="0">
                <a:pos x="connsiteX10558" y="connsiteY10558"/>
              </a:cxn>
              <a:cxn ang="0">
                <a:pos x="connsiteX10559" y="connsiteY10559"/>
              </a:cxn>
              <a:cxn ang="0">
                <a:pos x="connsiteX10560" y="connsiteY10560"/>
              </a:cxn>
              <a:cxn ang="0">
                <a:pos x="connsiteX10561" y="connsiteY10561"/>
              </a:cxn>
              <a:cxn ang="0">
                <a:pos x="connsiteX10562" y="connsiteY10562"/>
              </a:cxn>
              <a:cxn ang="0">
                <a:pos x="connsiteX10563" y="connsiteY10563"/>
              </a:cxn>
              <a:cxn ang="0">
                <a:pos x="connsiteX10564" y="connsiteY10564"/>
              </a:cxn>
              <a:cxn ang="0">
                <a:pos x="connsiteX10565" y="connsiteY10565"/>
              </a:cxn>
              <a:cxn ang="0">
                <a:pos x="connsiteX10566" y="connsiteY10566"/>
              </a:cxn>
              <a:cxn ang="0">
                <a:pos x="connsiteX10567" y="connsiteY10567"/>
              </a:cxn>
              <a:cxn ang="0">
                <a:pos x="connsiteX10568" y="connsiteY10568"/>
              </a:cxn>
              <a:cxn ang="0">
                <a:pos x="connsiteX10569" y="connsiteY10569"/>
              </a:cxn>
              <a:cxn ang="0">
                <a:pos x="connsiteX10570" y="connsiteY10570"/>
              </a:cxn>
              <a:cxn ang="0">
                <a:pos x="connsiteX10571" y="connsiteY10571"/>
              </a:cxn>
              <a:cxn ang="0">
                <a:pos x="connsiteX10572" y="connsiteY10572"/>
              </a:cxn>
              <a:cxn ang="0">
                <a:pos x="connsiteX10573" y="connsiteY10573"/>
              </a:cxn>
              <a:cxn ang="0">
                <a:pos x="connsiteX10574" y="connsiteY10574"/>
              </a:cxn>
              <a:cxn ang="0">
                <a:pos x="connsiteX10575" y="connsiteY10575"/>
              </a:cxn>
              <a:cxn ang="0">
                <a:pos x="connsiteX10576" y="connsiteY10576"/>
              </a:cxn>
              <a:cxn ang="0">
                <a:pos x="connsiteX10577" y="connsiteY10577"/>
              </a:cxn>
              <a:cxn ang="0">
                <a:pos x="connsiteX10578" y="connsiteY10578"/>
              </a:cxn>
              <a:cxn ang="0">
                <a:pos x="connsiteX10579" y="connsiteY10579"/>
              </a:cxn>
              <a:cxn ang="0">
                <a:pos x="connsiteX10580" y="connsiteY10580"/>
              </a:cxn>
              <a:cxn ang="0">
                <a:pos x="connsiteX10581" y="connsiteY10581"/>
              </a:cxn>
              <a:cxn ang="0">
                <a:pos x="connsiteX10582" y="connsiteY10582"/>
              </a:cxn>
              <a:cxn ang="0">
                <a:pos x="connsiteX10583" y="connsiteY10583"/>
              </a:cxn>
              <a:cxn ang="0">
                <a:pos x="connsiteX10584" y="connsiteY10584"/>
              </a:cxn>
              <a:cxn ang="0">
                <a:pos x="connsiteX10585" y="connsiteY10585"/>
              </a:cxn>
              <a:cxn ang="0">
                <a:pos x="connsiteX10586" y="connsiteY10586"/>
              </a:cxn>
              <a:cxn ang="0">
                <a:pos x="connsiteX10587" y="connsiteY10587"/>
              </a:cxn>
              <a:cxn ang="0">
                <a:pos x="connsiteX10588" y="connsiteY10588"/>
              </a:cxn>
              <a:cxn ang="0">
                <a:pos x="connsiteX10589" y="connsiteY10589"/>
              </a:cxn>
              <a:cxn ang="0">
                <a:pos x="connsiteX10590" y="connsiteY10590"/>
              </a:cxn>
              <a:cxn ang="0">
                <a:pos x="connsiteX10591" y="connsiteY10591"/>
              </a:cxn>
              <a:cxn ang="0">
                <a:pos x="connsiteX10592" y="connsiteY10592"/>
              </a:cxn>
              <a:cxn ang="0">
                <a:pos x="connsiteX10593" y="connsiteY10593"/>
              </a:cxn>
              <a:cxn ang="0">
                <a:pos x="connsiteX10594" y="connsiteY10594"/>
              </a:cxn>
              <a:cxn ang="0">
                <a:pos x="connsiteX10595" y="connsiteY10595"/>
              </a:cxn>
              <a:cxn ang="0">
                <a:pos x="connsiteX10596" y="connsiteY10596"/>
              </a:cxn>
              <a:cxn ang="0">
                <a:pos x="connsiteX10597" y="connsiteY10597"/>
              </a:cxn>
              <a:cxn ang="0">
                <a:pos x="connsiteX10598" y="connsiteY10598"/>
              </a:cxn>
              <a:cxn ang="0">
                <a:pos x="connsiteX10599" y="connsiteY10599"/>
              </a:cxn>
              <a:cxn ang="0">
                <a:pos x="connsiteX10600" y="connsiteY10600"/>
              </a:cxn>
              <a:cxn ang="0">
                <a:pos x="connsiteX10601" y="connsiteY10601"/>
              </a:cxn>
              <a:cxn ang="0">
                <a:pos x="connsiteX10602" y="connsiteY10602"/>
              </a:cxn>
              <a:cxn ang="0">
                <a:pos x="connsiteX10603" y="connsiteY10603"/>
              </a:cxn>
              <a:cxn ang="0">
                <a:pos x="connsiteX10604" y="connsiteY10604"/>
              </a:cxn>
              <a:cxn ang="0">
                <a:pos x="connsiteX10605" y="connsiteY10605"/>
              </a:cxn>
              <a:cxn ang="0">
                <a:pos x="connsiteX10606" y="connsiteY10606"/>
              </a:cxn>
              <a:cxn ang="0">
                <a:pos x="connsiteX10607" y="connsiteY10607"/>
              </a:cxn>
              <a:cxn ang="0">
                <a:pos x="connsiteX10608" y="connsiteY10608"/>
              </a:cxn>
              <a:cxn ang="0">
                <a:pos x="connsiteX10609" y="connsiteY10609"/>
              </a:cxn>
              <a:cxn ang="0">
                <a:pos x="connsiteX10610" y="connsiteY10610"/>
              </a:cxn>
              <a:cxn ang="0">
                <a:pos x="connsiteX10611" y="connsiteY10611"/>
              </a:cxn>
              <a:cxn ang="0">
                <a:pos x="connsiteX10612" y="connsiteY10612"/>
              </a:cxn>
              <a:cxn ang="0">
                <a:pos x="connsiteX10613" y="connsiteY10613"/>
              </a:cxn>
              <a:cxn ang="0">
                <a:pos x="connsiteX10614" y="connsiteY10614"/>
              </a:cxn>
              <a:cxn ang="0">
                <a:pos x="connsiteX10615" y="connsiteY10615"/>
              </a:cxn>
              <a:cxn ang="0">
                <a:pos x="connsiteX10616" y="connsiteY10616"/>
              </a:cxn>
              <a:cxn ang="0">
                <a:pos x="connsiteX10617" y="connsiteY10617"/>
              </a:cxn>
              <a:cxn ang="0">
                <a:pos x="connsiteX10618" y="connsiteY10618"/>
              </a:cxn>
              <a:cxn ang="0">
                <a:pos x="connsiteX10619" y="connsiteY10619"/>
              </a:cxn>
              <a:cxn ang="0">
                <a:pos x="connsiteX10620" y="connsiteY10620"/>
              </a:cxn>
              <a:cxn ang="0">
                <a:pos x="connsiteX10621" y="connsiteY10621"/>
              </a:cxn>
              <a:cxn ang="0">
                <a:pos x="connsiteX10622" y="connsiteY10622"/>
              </a:cxn>
              <a:cxn ang="0">
                <a:pos x="connsiteX10623" y="connsiteY10623"/>
              </a:cxn>
              <a:cxn ang="0">
                <a:pos x="connsiteX10624" y="connsiteY10624"/>
              </a:cxn>
              <a:cxn ang="0">
                <a:pos x="connsiteX10625" y="connsiteY10625"/>
              </a:cxn>
              <a:cxn ang="0">
                <a:pos x="connsiteX10626" y="connsiteY10626"/>
              </a:cxn>
              <a:cxn ang="0">
                <a:pos x="connsiteX10627" y="connsiteY10627"/>
              </a:cxn>
              <a:cxn ang="0">
                <a:pos x="connsiteX10628" y="connsiteY10628"/>
              </a:cxn>
              <a:cxn ang="0">
                <a:pos x="connsiteX10629" y="connsiteY10629"/>
              </a:cxn>
              <a:cxn ang="0">
                <a:pos x="connsiteX10630" y="connsiteY10630"/>
              </a:cxn>
              <a:cxn ang="0">
                <a:pos x="connsiteX10631" y="connsiteY10631"/>
              </a:cxn>
              <a:cxn ang="0">
                <a:pos x="connsiteX10632" y="connsiteY10632"/>
              </a:cxn>
              <a:cxn ang="0">
                <a:pos x="connsiteX10633" y="connsiteY10633"/>
              </a:cxn>
              <a:cxn ang="0">
                <a:pos x="connsiteX10634" y="connsiteY10634"/>
              </a:cxn>
              <a:cxn ang="0">
                <a:pos x="connsiteX10635" y="connsiteY10635"/>
              </a:cxn>
              <a:cxn ang="0">
                <a:pos x="connsiteX10636" y="connsiteY10636"/>
              </a:cxn>
              <a:cxn ang="0">
                <a:pos x="connsiteX10637" y="connsiteY10637"/>
              </a:cxn>
              <a:cxn ang="0">
                <a:pos x="connsiteX10638" y="connsiteY10638"/>
              </a:cxn>
              <a:cxn ang="0">
                <a:pos x="connsiteX10639" y="connsiteY10639"/>
              </a:cxn>
              <a:cxn ang="0">
                <a:pos x="connsiteX10640" y="connsiteY10640"/>
              </a:cxn>
              <a:cxn ang="0">
                <a:pos x="connsiteX10641" y="connsiteY10641"/>
              </a:cxn>
              <a:cxn ang="0">
                <a:pos x="connsiteX10642" y="connsiteY10642"/>
              </a:cxn>
              <a:cxn ang="0">
                <a:pos x="connsiteX10643" y="connsiteY10643"/>
              </a:cxn>
              <a:cxn ang="0">
                <a:pos x="connsiteX10644" y="connsiteY10644"/>
              </a:cxn>
              <a:cxn ang="0">
                <a:pos x="connsiteX10645" y="connsiteY10645"/>
              </a:cxn>
              <a:cxn ang="0">
                <a:pos x="connsiteX10646" y="connsiteY10646"/>
              </a:cxn>
              <a:cxn ang="0">
                <a:pos x="connsiteX10647" y="connsiteY10647"/>
              </a:cxn>
              <a:cxn ang="0">
                <a:pos x="connsiteX10648" y="connsiteY10648"/>
              </a:cxn>
              <a:cxn ang="0">
                <a:pos x="connsiteX10649" y="connsiteY10649"/>
              </a:cxn>
              <a:cxn ang="0">
                <a:pos x="connsiteX10650" y="connsiteY10650"/>
              </a:cxn>
              <a:cxn ang="0">
                <a:pos x="connsiteX10651" y="connsiteY10651"/>
              </a:cxn>
              <a:cxn ang="0">
                <a:pos x="connsiteX10652" y="connsiteY10652"/>
              </a:cxn>
              <a:cxn ang="0">
                <a:pos x="connsiteX10653" y="connsiteY10653"/>
              </a:cxn>
              <a:cxn ang="0">
                <a:pos x="connsiteX10654" y="connsiteY10654"/>
              </a:cxn>
              <a:cxn ang="0">
                <a:pos x="connsiteX10655" y="connsiteY10655"/>
              </a:cxn>
              <a:cxn ang="0">
                <a:pos x="connsiteX10656" y="connsiteY10656"/>
              </a:cxn>
              <a:cxn ang="0">
                <a:pos x="connsiteX10657" y="connsiteY10657"/>
              </a:cxn>
              <a:cxn ang="0">
                <a:pos x="connsiteX10658" y="connsiteY10658"/>
              </a:cxn>
              <a:cxn ang="0">
                <a:pos x="connsiteX10659" y="connsiteY10659"/>
              </a:cxn>
              <a:cxn ang="0">
                <a:pos x="connsiteX10660" y="connsiteY10660"/>
              </a:cxn>
              <a:cxn ang="0">
                <a:pos x="connsiteX10661" y="connsiteY10661"/>
              </a:cxn>
              <a:cxn ang="0">
                <a:pos x="connsiteX10662" y="connsiteY10662"/>
              </a:cxn>
              <a:cxn ang="0">
                <a:pos x="connsiteX10663" y="connsiteY10663"/>
              </a:cxn>
              <a:cxn ang="0">
                <a:pos x="connsiteX10664" y="connsiteY10664"/>
              </a:cxn>
              <a:cxn ang="0">
                <a:pos x="connsiteX10665" y="connsiteY10665"/>
              </a:cxn>
              <a:cxn ang="0">
                <a:pos x="connsiteX10666" y="connsiteY10666"/>
              </a:cxn>
              <a:cxn ang="0">
                <a:pos x="connsiteX10667" y="connsiteY10667"/>
              </a:cxn>
              <a:cxn ang="0">
                <a:pos x="connsiteX10668" y="connsiteY10668"/>
              </a:cxn>
              <a:cxn ang="0">
                <a:pos x="connsiteX10669" y="connsiteY10669"/>
              </a:cxn>
              <a:cxn ang="0">
                <a:pos x="connsiteX10670" y="connsiteY10670"/>
              </a:cxn>
              <a:cxn ang="0">
                <a:pos x="connsiteX10671" y="connsiteY10671"/>
              </a:cxn>
              <a:cxn ang="0">
                <a:pos x="connsiteX10672" y="connsiteY10672"/>
              </a:cxn>
              <a:cxn ang="0">
                <a:pos x="connsiteX10673" y="connsiteY10673"/>
              </a:cxn>
              <a:cxn ang="0">
                <a:pos x="connsiteX10674" y="connsiteY10674"/>
              </a:cxn>
              <a:cxn ang="0">
                <a:pos x="connsiteX10675" y="connsiteY10675"/>
              </a:cxn>
              <a:cxn ang="0">
                <a:pos x="connsiteX10676" y="connsiteY10676"/>
              </a:cxn>
              <a:cxn ang="0">
                <a:pos x="connsiteX10677" y="connsiteY10677"/>
              </a:cxn>
              <a:cxn ang="0">
                <a:pos x="connsiteX10678" y="connsiteY10678"/>
              </a:cxn>
              <a:cxn ang="0">
                <a:pos x="connsiteX10679" y="connsiteY10679"/>
              </a:cxn>
              <a:cxn ang="0">
                <a:pos x="connsiteX10680" y="connsiteY10680"/>
              </a:cxn>
              <a:cxn ang="0">
                <a:pos x="connsiteX10681" y="connsiteY10681"/>
              </a:cxn>
              <a:cxn ang="0">
                <a:pos x="connsiteX10682" y="connsiteY10682"/>
              </a:cxn>
              <a:cxn ang="0">
                <a:pos x="connsiteX10683" y="connsiteY10683"/>
              </a:cxn>
              <a:cxn ang="0">
                <a:pos x="connsiteX10684" y="connsiteY10684"/>
              </a:cxn>
              <a:cxn ang="0">
                <a:pos x="connsiteX10685" y="connsiteY10685"/>
              </a:cxn>
              <a:cxn ang="0">
                <a:pos x="connsiteX10686" y="connsiteY10686"/>
              </a:cxn>
              <a:cxn ang="0">
                <a:pos x="connsiteX10687" y="connsiteY10687"/>
              </a:cxn>
              <a:cxn ang="0">
                <a:pos x="connsiteX10688" y="connsiteY10688"/>
              </a:cxn>
              <a:cxn ang="0">
                <a:pos x="connsiteX10689" y="connsiteY10689"/>
              </a:cxn>
              <a:cxn ang="0">
                <a:pos x="connsiteX10690" y="connsiteY10690"/>
              </a:cxn>
              <a:cxn ang="0">
                <a:pos x="connsiteX10691" y="connsiteY10691"/>
              </a:cxn>
              <a:cxn ang="0">
                <a:pos x="connsiteX10692" y="connsiteY10692"/>
              </a:cxn>
              <a:cxn ang="0">
                <a:pos x="connsiteX10693" y="connsiteY10693"/>
              </a:cxn>
              <a:cxn ang="0">
                <a:pos x="connsiteX10694" y="connsiteY10694"/>
              </a:cxn>
              <a:cxn ang="0">
                <a:pos x="connsiteX10695" y="connsiteY10695"/>
              </a:cxn>
              <a:cxn ang="0">
                <a:pos x="connsiteX10696" y="connsiteY10696"/>
              </a:cxn>
              <a:cxn ang="0">
                <a:pos x="connsiteX10697" y="connsiteY10697"/>
              </a:cxn>
              <a:cxn ang="0">
                <a:pos x="connsiteX10698" y="connsiteY10698"/>
              </a:cxn>
              <a:cxn ang="0">
                <a:pos x="connsiteX10699" y="connsiteY10699"/>
              </a:cxn>
              <a:cxn ang="0">
                <a:pos x="connsiteX10700" y="connsiteY10700"/>
              </a:cxn>
              <a:cxn ang="0">
                <a:pos x="connsiteX10701" y="connsiteY10701"/>
              </a:cxn>
              <a:cxn ang="0">
                <a:pos x="connsiteX10702" y="connsiteY10702"/>
              </a:cxn>
              <a:cxn ang="0">
                <a:pos x="connsiteX10703" y="connsiteY10703"/>
              </a:cxn>
              <a:cxn ang="0">
                <a:pos x="connsiteX10704" y="connsiteY10704"/>
              </a:cxn>
              <a:cxn ang="0">
                <a:pos x="connsiteX10705" y="connsiteY10705"/>
              </a:cxn>
              <a:cxn ang="0">
                <a:pos x="connsiteX10706" y="connsiteY10706"/>
              </a:cxn>
              <a:cxn ang="0">
                <a:pos x="connsiteX10707" y="connsiteY10707"/>
              </a:cxn>
              <a:cxn ang="0">
                <a:pos x="connsiteX10708" y="connsiteY10708"/>
              </a:cxn>
              <a:cxn ang="0">
                <a:pos x="connsiteX10709" y="connsiteY10709"/>
              </a:cxn>
              <a:cxn ang="0">
                <a:pos x="connsiteX10710" y="connsiteY10710"/>
              </a:cxn>
              <a:cxn ang="0">
                <a:pos x="connsiteX10711" y="connsiteY10711"/>
              </a:cxn>
              <a:cxn ang="0">
                <a:pos x="connsiteX10712" y="connsiteY10712"/>
              </a:cxn>
              <a:cxn ang="0">
                <a:pos x="connsiteX10713" y="connsiteY10713"/>
              </a:cxn>
              <a:cxn ang="0">
                <a:pos x="connsiteX10714" y="connsiteY10714"/>
              </a:cxn>
              <a:cxn ang="0">
                <a:pos x="connsiteX10715" y="connsiteY10715"/>
              </a:cxn>
              <a:cxn ang="0">
                <a:pos x="connsiteX10716" y="connsiteY10716"/>
              </a:cxn>
              <a:cxn ang="0">
                <a:pos x="connsiteX10717" y="connsiteY10717"/>
              </a:cxn>
              <a:cxn ang="0">
                <a:pos x="connsiteX10718" y="connsiteY10718"/>
              </a:cxn>
              <a:cxn ang="0">
                <a:pos x="connsiteX10719" y="connsiteY10719"/>
              </a:cxn>
              <a:cxn ang="0">
                <a:pos x="connsiteX10720" y="connsiteY10720"/>
              </a:cxn>
              <a:cxn ang="0">
                <a:pos x="connsiteX10721" y="connsiteY10721"/>
              </a:cxn>
              <a:cxn ang="0">
                <a:pos x="connsiteX10722" y="connsiteY10722"/>
              </a:cxn>
              <a:cxn ang="0">
                <a:pos x="connsiteX10723" y="connsiteY10723"/>
              </a:cxn>
              <a:cxn ang="0">
                <a:pos x="connsiteX10724" y="connsiteY10724"/>
              </a:cxn>
              <a:cxn ang="0">
                <a:pos x="connsiteX10725" y="connsiteY10725"/>
              </a:cxn>
              <a:cxn ang="0">
                <a:pos x="connsiteX10726" y="connsiteY10726"/>
              </a:cxn>
              <a:cxn ang="0">
                <a:pos x="connsiteX10727" y="connsiteY10727"/>
              </a:cxn>
              <a:cxn ang="0">
                <a:pos x="connsiteX10728" y="connsiteY10728"/>
              </a:cxn>
              <a:cxn ang="0">
                <a:pos x="connsiteX10729" y="connsiteY10729"/>
              </a:cxn>
              <a:cxn ang="0">
                <a:pos x="connsiteX10730" y="connsiteY10730"/>
              </a:cxn>
              <a:cxn ang="0">
                <a:pos x="connsiteX10731" y="connsiteY10731"/>
              </a:cxn>
              <a:cxn ang="0">
                <a:pos x="connsiteX10732" y="connsiteY10732"/>
              </a:cxn>
              <a:cxn ang="0">
                <a:pos x="connsiteX10733" y="connsiteY10733"/>
              </a:cxn>
              <a:cxn ang="0">
                <a:pos x="connsiteX10734" y="connsiteY10734"/>
              </a:cxn>
              <a:cxn ang="0">
                <a:pos x="connsiteX10735" y="connsiteY10735"/>
              </a:cxn>
              <a:cxn ang="0">
                <a:pos x="connsiteX10736" y="connsiteY10736"/>
              </a:cxn>
              <a:cxn ang="0">
                <a:pos x="connsiteX10737" y="connsiteY10737"/>
              </a:cxn>
              <a:cxn ang="0">
                <a:pos x="connsiteX10738" y="connsiteY10738"/>
              </a:cxn>
              <a:cxn ang="0">
                <a:pos x="connsiteX10739" y="connsiteY10739"/>
              </a:cxn>
              <a:cxn ang="0">
                <a:pos x="connsiteX10740" y="connsiteY10740"/>
              </a:cxn>
              <a:cxn ang="0">
                <a:pos x="connsiteX10741" y="connsiteY10741"/>
              </a:cxn>
              <a:cxn ang="0">
                <a:pos x="connsiteX10742" y="connsiteY10742"/>
              </a:cxn>
              <a:cxn ang="0">
                <a:pos x="connsiteX10743" y="connsiteY10743"/>
              </a:cxn>
              <a:cxn ang="0">
                <a:pos x="connsiteX10744" y="connsiteY10744"/>
              </a:cxn>
              <a:cxn ang="0">
                <a:pos x="connsiteX10745" y="connsiteY10745"/>
              </a:cxn>
              <a:cxn ang="0">
                <a:pos x="connsiteX10746" y="connsiteY10746"/>
              </a:cxn>
              <a:cxn ang="0">
                <a:pos x="connsiteX10747" y="connsiteY10747"/>
              </a:cxn>
              <a:cxn ang="0">
                <a:pos x="connsiteX10748" y="connsiteY10748"/>
              </a:cxn>
              <a:cxn ang="0">
                <a:pos x="connsiteX10749" y="connsiteY10749"/>
              </a:cxn>
              <a:cxn ang="0">
                <a:pos x="connsiteX10750" y="connsiteY10750"/>
              </a:cxn>
              <a:cxn ang="0">
                <a:pos x="connsiteX10751" y="connsiteY10751"/>
              </a:cxn>
              <a:cxn ang="0">
                <a:pos x="connsiteX10752" y="connsiteY10752"/>
              </a:cxn>
              <a:cxn ang="0">
                <a:pos x="connsiteX10753" y="connsiteY10753"/>
              </a:cxn>
              <a:cxn ang="0">
                <a:pos x="connsiteX10754" y="connsiteY10754"/>
              </a:cxn>
              <a:cxn ang="0">
                <a:pos x="connsiteX10755" y="connsiteY10755"/>
              </a:cxn>
              <a:cxn ang="0">
                <a:pos x="connsiteX10756" y="connsiteY10756"/>
              </a:cxn>
              <a:cxn ang="0">
                <a:pos x="connsiteX10757" y="connsiteY10757"/>
              </a:cxn>
              <a:cxn ang="0">
                <a:pos x="connsiteX10758" y="connsiteY10758"/>
              </a:cxn>
              <a:cxn ang="0">
                <a:pos x="connsiteX10759" y="connsiteY10759"/>
              </a:cxn>
              <a:cxn ang="0">
                <a:pos x="connsiteX10760" y="connsiteY10760"/>
              </a:cxn>
              <a:cxn ang="0">
                <a:pos x="connsiteX10761" y="connsiteY10761"/>
              </a:cxn>
              <a:cxn ang="0">
                <a:pos x="connsiteX10762" y="connsiteY10762"/>
              </a:cxn>
              <a:cxn ang="0">
                <a:pos x="connsiteX10763" y="connsiteY10763"/>
              </a:cxn>
              <a:cxn ang="0">
                <a:pos x="connsiteX10764" y="connsiteY10764"/>
              </a:cxn>
              <a:cxn ang="0">
                <a:pos x="connsiteX10765" y="connsiteY10765"/>
              </a:cxn>
              <a:cxn ang="0">
                <a:pos x="connsiteX10766" y="connsiteY10766"/>
              </a:cxn>
              <a:cxn ang="0">
                <a:pos x="connsiteX10767" y="connsiteY10767"/>
              </a:cxn>
              <a:cxn ang="0">
                <a:pos x="connsiteX10768" y="connsiteY10768"/>
              </a:cxn>
              <a:cxn ang="0">
                <a:pos x="connsiteX10769" y="connsiteY10769"/>
              </a:cxn>
              <a:cxn ang="0">
                <a:pos x="connsiteX10770" y="connsiteY10770"/>
              </a:cxn>
              <a:cxn ang="0">
                <a:pos x="connsiteX10771" y="connsiteY10771"/>
              </a:cxn>
              <a:cxn ang="0">
                <a:pos x="connsiteX10772" y="connsiteY10772"/>
              </a:cxn>
              <a:cxn ang="0">
                <a:pos x="connsiteX10773" y="connsiteY10773"/>
              </a:cxn>
              <a:cxn ang="0">
                <a:pos x="connsiteX10774" y="connsiteY10774"/>
              </a:cxn>
              <a:cxn ang="0">
                <a:pos x="connsiteX10775" y="connsiteY10775"/>
              </a:cxn>
              <a:cxn ang="0">
                <a:pos x="connsiteX10776" y="connsiteY10776"/>
              </a:cxn>
              <a:cxn ang="0">
                <a:pos x="connsiteX10777" y="connsiteY10777"/>
              </a:cxn>
              <a:cxn ang="0">
                <a:pos x="connsiteX10778" y="connsiteY10778"/>
              </a:cxn>
              <a:cxn ang="0">
                <a:pos x="connsiteX10779" y="connsiteY10779"/>
              </a:cxn>
              <a:cxn ang="0">
                <a:pos x="connsiteX10780" y="connsiteY10780"/>
              </a:cxn>
              <a:cxn ang="0">
                <a:pos x="connsiteX10781" y="connsiteY10781"/>
              </a:cxn>
              <a:cxn ang="0">
                <a:pos x="connsiteX10782" y="connsiteY10782"/>
              </a:cxn>
              <a:cxn ang="0">
                <a:pos x="connsiteX10783" y="connsiteY10783"/>
              </a:cxn>
              <a:cxn ang="0">
                <a:pos x="connsiteX10784" y="connsiteY10784"/>
              </a:cxn>
              <a:cxn ang="0">
                <a:pos x="connsiteX10785" y="connsiteY10785"/>
              </a:cxn>
              <a:cxn ang="0">
                <a:pos x="connsiteX10786" y="connsiteY10786"/>
              </a:cxn>
              <a:cxn ang="0">
                <a:pos x="connsiteX10787" y="connsiteY10787"/>
              </a:cxn>
              <a:cxn ang="0">
                <a:pos x="connsiteX10788" y="connsiteY10788"/>
              </a:cxn>
              <a:cxn ang="0">
                <a:pos x="connsiteX10789" y="connsiteY10789"/>
              </a:cxn>
              <a:cxn ang="0">
                <a:pos x="connsiteX10790" y="connsiteY10790"/>
              </a:cxn>
              <a:cxn ang="0">
                <a:pos x="connsiteX10791" y="connsiteY10791"/>
              </a:cxn>
              <a:cxn ang="0">
                <a:pos x="connsiteX10792" y="connsiteY10792"/>
              </a:cxn>
              <a:cxn ang="0">
                <a:pos x="connsiteX10793" y="connsiteY10793"/>
              </a:cxn>
              <a:cxn ang="0">
                <a:pos x="connsiteX10794" y="connsiteY10794"/>
              </a:cxn>
              <a:cxn ang="0">
                <a:pos x="connsiteX10795" y="connsiteY10795"/>
              </a:cxn>
              <a:cxn ang="0">
                <a:pos x="connsiteX10796" y="connsiteY10796"/>
              </a:cxn>
              <a:cxn ang="0">
                <a:pos x="connsiteX10797" y="connsiteY10797"/>
              </a:cxn>
              <a:cxn ang="0">
                <a:pos x="connsiteX10798" y="connsiteY10798"/>
              </a:cxn>
              <a:cxn ang="0">
                <a:pos x="connsiteX10799" y="connsiteY10799"/>
              </a:cxn>
              <a:cxn ang="0">
                <a:pos x="connsiteX10800" y="connsiteY10800"/>
              </a:cxn>
              <a:cxn ang="0">
                <a:pos x="connsiteX10801" y="connsiteY10801"/>
              </a:cxn>
              <a:cxn ang="0">
                <a:pos x="connsiteX10802" y="connsiteY10802"/>
              </a:cxn>
              <a:cxn ang="0">
                <a:pos x="connsiteX10803" y="connsiteY10803"/>
              </a:cxn>
              <a:cxn ang="0">
                <a:pos x="connsiteX10804" y="connsiteY10804"/>
              </a:cxn>
              <a:cxn ang="0">
                <a:pos x="connsiteX10805" y="connsiteY10805"/>
              </a:cxn>
              <a:cxn ang="0">
                <a:pos x="connsiteX10806" y="connsiteY10806"/>
              </a:cxn>
              <a:cxn ang="0">
                <a:pos x="connsiteX10807" y="connsiteY10807"/>
              </a:cxn>
              <a:cxn ang="0">
                <a:pos x="connsiteX10808" y="connsiteY10808"/>
              </a:cxn>
              <a:cxn ang="0">
                <a:pos x="connsiteX10809" y="connsiteY10809"/>
              </a:cxn>
              <a:cxn ang="0">
                <a:pos x="connsiteX10810" y="connsiteY10810"/>
              </a:cxn>
              <a:cxn ang="0">
                <a:pos x="connsiteX10811" y="connsiteY10811"/>
              </a:cxn>
              <a:cxn ang="0">
                <a:pos x="connsiteX10812" y="connsiteY10812"/>
              </a:cxn>
              <a:cxn ang="0">
                <a:pos x="connsiteX10813" y="connsiteY10813"/>
              </a:cxn>
              <a:cxn ang="0">
                <a:pos x="connsiteX10814" y="connsiteY10814"/>
              </a:cxn>
              <a:cxn ang="0">
                <a:pos x="connsiteX10815" y="connsiteY10815"/>
              </a:cxn>
              <a:cxn ang="0">
                <a:pos x="connsiteX10816" y="connsiteY10816"/>
              </a:cxn>
              <a:cxn ang="0">
                <a:pos x="connsiteX10817" y="connsiteY10817"/>
              </a:cxn>
              <a:cxn ang="0">
                <a:pos x="connsiteX10818" y="connsiteY10818"/>
              </a:cxn>
              <a:cxn ang="0">
                <a:pos x="connsiteX10819" y="connsiteY10819"/>
              </a:cxn>
              <a:cxn ang="0">
                <a:pos x="connsiteX10820" y="connsiteY10820"/>
              </a:cxn>
              <a:cxn ang="0">
                <a:pos x="connsiteX10821" y="connsiteY10821"/>
              </a:cxn>
              <a:cxn ang="0">
                <a:pos x="connsiteX10822" y="connsiteY10822"/>
              </a:cxn>
              <a:cxn ang="0">
                <a:pos x="connsiteX10823" y="connsiteY10823"/>
              </a:cxn>
              <a:cxn ang="0">
                <a:pos x="connsiteX10824" y="connsiteY10824"/>
              </a:cxn>
              <a:cxn ang="0">
                <a:pos x="connsiteX10825" y="connsiteY10825"/>
              </a:cxn>
              <a:cxn ang="0">
                <a:pos x="connsiteX10826" y="connsiteY10826"/>
              </a:cxn>
              <a:cxn ang="0">
                <a:pos x="connsiteX10827" y="connsiteY10827"/>
              </a:cxn>
              <a:cxn ang="0">
                <a:pos x="connsiteX10828" y="connsiteY10828"/>
              </a:cxn>
              <a:cxn ang="0">
                <a:pos x="connsiteX10829" y="connsiteY10829"/>
              </a:cxn>
              <a:cxn ang="0">
                <a:pos x="connsiteX10830" y="connsiteY10830"/>
              </a:cxn>
              <a:cxn ang="0">
                <a:pos x="connsiteX10831" y="connsiteY10831"/>
              </a:cxn>
              <a:cxn ang="0">
                <a:pos x="connsiteX10832" y="connsiteY10832"/>
              </a:cxn>
              <a:cxn ang="0">
                <a:pos x="connsiteX10833" y="connsiteY10833"/>
              </a:cxn>
              <a:cxn ang="0">
                <a:pos x="connsiteX10834" y="connsiteY10834"/>
              </a:cxn>
              <a:cxn ang="0">
                <a:pos x="connsiteX10835" y="connsiteY10835"/>
              </a:cxn>
              <a:cxn ang="0">
                <a:pos x="connsiteX10836" y="connsiteY10836"/>
              </a:cxn>
              <a:cxn ang="0">
                <a:pos x="connsiteX10837" y="connsiteY10837"/>
              </a:cxn>
              <a:cxn ang="0">
                <a:pos x="connsiteX10838" y="connsiteY10838"/>
              </a:cxn>
              <a:cxn ang="0">
                <a:pos x="connsiteX10839" y="connsiteY10839"/>
              </a:cxn>
              <a:cxn ang="0">
                <a:pos x="connsiteX10840" y="connsiteY10840"/>
              </a:cxn>
              <a:cxn ang="0">
                <a:pos x="connsiteX10841" y="connsiteY10841"/>
              </a:cxn>
              <a:cxn ang="0">
                <a:pos x="connsiteX10842" y="connsiteY10842"/>
              </a:cxn>
              <a:cxn ang="0">
                <a:pos x="connsiteX10843" y="connsiteY10843"/>
              </a:cxn>
              <a:cxn ang="0">
                <a:pos x="connsiteX10844" y="connsiteY10844"/>
              </a:cxn>
              <a:cxn ang="0">
                <a:pos x="connsiteX10845" y="connsiteY10845"/>
              </a:cxn>
              <a:cxn ang="0">
                <a:pos x="connsiteX10846" y="connsiteY10846"/>
              </a:cxn>
              <a:cxn ang="0">
                <a:pos x="connsiteX10847" y="connsiteY10847"/>
              </a:cxn>
              <a:cxn ang="0">
                <a:pos x="connsiteX10848" y="connsiteY10848"/>
              </a:cxn>
              <a:cxn ang="0">
                <a:pos x="connsiteX10849" y="connsiteY10849"/>
              </a:cxn>
              <a:cxn ang="0">
                <a:pos x="connsiteX10850" y="connsiteY10850"/>
              </a:cxn>
              <a:cxn ang="0">
                <a:pos x="connsiteX10851" y="connsiteY10851"/>
              </a:cxn>
              <a:cxn ang="0">
                <a:pos x="connsiteX10852" y="connsiteY10852"/>
              </a:cxn>
              <a:cxn ang="0">
                <a:pos x="connsiteX10853" y="connsiteY10853"/>
              </a:cxn>
              <a:cxn ang="0">
                <a:pos x="connsiteX10854" y="connsiteY10854"/>
              </a:cxn>
              <a:cxn ang="0">
                <a:pos x="connsiteX10855" y="connsiteY10855"/>
              </a:cxn>
              <a:cxn ang="0">
                <a:pos x="connsiteX10856" y="connsiteY10856"/>
              </a:cxn>
              <a:cxn ang="0">
                <a:pos x="connsiteX10857" y="connsiteY10857"/>
              </a:cxn>
              <a:cxn ang="0">
                <a:pos x="connsiteX10858" y="connsiteY10858"/>
              </a:cxn>
              <a:cxn ang="0">
                <a:pos x="connsiteX10859" y="connsiteY10859"/>
              </a:cxn>
              <a:cxn ang="0">
                <a:pos x="connsiteX10860" y="connsiteY10860"/>
              </a:cxn>
              <a:cxn ang="0">
                <a:pos x="connsiteX10861" y="connsiteY10861"/>
              </a:cxn>
              <a:cxn ang="0">
                <a:pos x="connsiteX10862" y="connsiteY10862"/>
              </a:cxn>
              <a:cxn ang="0">
                <a:pos x="connsiteX10863" y="connsiteY10863"/>
              </a:cxn>
              <a:cxn ang="0">
                <a:pos x="connsiteX10864" y="connsiteY10864"/>
              </a:cxn>
              <a:cxn ang="0">
                <a:pos x="connsiteX10865" y="connsiteY10865"/>
              </a:cxn>
              <a:cxn ang="0">
                <a:pos x="connsiteX10866" y="connsiteY10866"/>
              </a:cxn>
              <a:cxn ang="0">
                <a:pos x="connsiteX10867" y="connsiteY10867"/>
              </a:cxn>
              <a:cxn ang="0">
                <a:pos x="connsiteX10868" y="connsiteY10868"/>
              </a:cxn>
              <a:cxn ang="0">
                <a:pos x="connsiteX10869" y="connsiteY10869"/>
              </a:cxn>
              <a:cxn ang="0">
                <a:pos x="connsiteX10870" y="connsiteY10870"/>
              </a:cxn>
              <a:cxn ang="0">
                <a:pos x="connsiteX10871" y="connsiteY10871"/>
              </a:cxn>
              <a:cxn ang="0">
                <a:pos x="connsiteX10872" y="connsiteY10872"/>
              </a:cxn>
              <a:cxn ang="0">
                <a:pos x="connsiteX10873" y="connsiteY10873"/>
              </a:cxn>
              <a:cxn ang="0">
                <a:pos x="connsiteX10874" y="connsiteY10874"/>
              </a:cxn>
              <a:cxn ang="0">
                <a:pos x="connsiteX10875" y="connsiteY10875"/>
              </a:cxn>
              <a:cxn ang="0">
                <a:pos x="connsiteX10876" y="connsiteY10876"/>
              </a:cxn>
              <a:cxn ang="0">
                <a:pos x="connsiteX10877" y="connsiteY10877"/>
              </a:cxn>
              <a:cxn ang="0">
                <a:pos x="connsiteX10878" y="connsiteY10878"/>
              </a:cxn>
              <a:cxn ang="0">
                <a:pos x="connsiteX10879" y="connsiteY10879"/>
              </a:cxn>
              <a:cxn ang="0">
                <a:pos x="connsiteX10880" y="connsiteY10880"/>
              </a:cxn>
              <a:cxn ang="0">
                <a:pos x="connsiteX10881" y="connsiteY10881"/>
              </a:cxn>
              <a:cxn ang="0">
                <a:pos x="connsiteX10882" y="connsiteY10882"/>
              </a:cxn>
              <a:cxn ang="0">
                <a:pos x="connsiteX10883" y="connsiteY10883"/>
              </a:cxn>
              <a:cxn ang="0">
                <a:pos x="connsiteX10884" y="connsiteY10884"/>
              </a:cxn>
              <a:cxn ang="0">
                <a:pos x="connsiteX10885" y="connsiteY10885"/>
              </a:cxn>
              <a:cxn ang="0">
                <a:pos x="connsiteX10886" y="connsiteY10886"/>
              </a:cxn>
              <a:cxn ang="0">
                <a:pos x="connsiteX10887" y="connsiteY10887"/>
              </a:cxn>
              <a:cxn ang="0">
                <a:pos x="connsiteX10888" y="connsiteY10888"/>
              </a:cxn>
              <a:cxn ang="0">
                <a:pos x="connsiteX10889" y="connsiteY10889"/>
              </a:cxn>
              <a:cxn ang="0">
                <a:pos x="connsiteX10890" y="connsiteY10890"/>
              </a:cxn>
              <a:cxn ang="0">
                <a:pos x="connsiteX10891" y="connsiteY10891"/>
              </a:cxn>
              <a:cxn ang="0">
                <a:pos x="connsiteX10892" y="connsiteY10892"/>
              </a:cxn>
              <a:cxn ang="0">
                <a:pos x="connsiteX10893" y="connsiteY10893"/>
              </a:cxn>
              <a:cxn ang="0">
                <a:pos x="connsiteX10894" y="connsiteY10894"/>
              </a:cxn>
              <a:cxn ang="0">
                <a:pos x="connsiteX10895" y="connsiteY10895"/>
              </a:cxn>
              <a:cxn ang="0">
                <a:pos x="connsiteX10896" y="connsiteY10896"/>
              </a:cxn>
              <a:cxn ang="0">
                <a:pos x="connsiteX10897" y="connsiteY10897"/>
              </a:cxn>
              <a:cxn ang="0">
                <a:pos x="connsiteX10898" y="connsiteY10898"/>
              </a:cxn>
              <a:cxn ang="0">
                <a:pos x="connsiteX10899" y="connsiteY10899"/>
              </a:cxn>
              <a:cxn ang="0">
                <a:pos x="connsiteX10900" y="connsiteY10900"/>
              </a:cxn>
              <a:cxn ang="0">
                <a:pos x="connsiteX10901" y="connsiteY10901"/>
              </a:cxn>
              <a:cxn ang="0">
                <a:pos x="connsiteX10902" y="connsiteY10902"/>
              </a:cxn>
              <a:cxn ang="0">
                <a:pos x="connsiteX10903" y="connsiteY10903"/>
              </a:cxn>
              <a:cxn ang="0">
                <a:pos x="connsiteX10904" y="connsiteY10904"/>
              </a:cxn>
              <a:cxn ang="0">
                <a:pos x="connsiteX10905" y="connsiteY10905"/>
              </a:cxn>
              <a:cxn ang="0">
                <a:pos x="connsiteX10906" y="connsiteY10906"/>
              </a:cxn>
              <a:cxn ang="0">
                <a:pos x="connsiteX10907" y="connsiteY10907"/>
              </a:cxn>
              <a:cxn ang="0">
                <a:pos x="connsiteX10908" y="connsiteY10908"/>
              </a:cxn>
              <a:cxn ang="0">
                <a:pos x="connsiteX10909" y="connsiteY10909"/>
              </a:cxn>
              <a:cxn ang="0">
                <a:pos x="connsiteX10910" y="connsiteY10910"/>
              </a:cxn>
              <a:cxn ang="0">
                <a:pos x="connsiteX10911" y="connsiteY10911"/>
              </a:cxn>
              <a:cxn ang="0">
                <a:pos x="connsiteX10912" y="connsiteY10912"/>
              </a:cxn>
              <a:cxn ang="0">
                <a:pos x="connsiteX10913" y="connsiteY10913"/>
              </a:cxn>
              <a:cxn ang="0">
                <a:pos x="connsiteX10914" y="connsiteY10914"/>
              </a:cxn>
              <a:cxn ang="0">
                <a:pos x="connsiteX10915" y="connsiteY10915"/>
              </a:cxn>
              <a:cxn ang="0">
                <a:pos x="connsiteX10916" y="connsiteY10916"/>
              </a:cxn>
              <a:cxn ang="0">
                <a:pos x="connsiteX10917" y="connsiteY10917"/>
              </a:cxn>
              <a:cxn ang="0">
                <a:pos x="connsiteX10918" y="connsiteY10918"/>
              </a:cxn>
              <a:cxn ang="0">
                <a:pos x="connsiteX10919" y="connsiteY10919"/>
              </a:cxn>
              <a:cxn ang="0">
                <a:pos x="connsiteX10920" y="connsiteY10920"/>
              </a:cxn>
              <a:cxn ang="0">
                <a:pos x="connsiteX10921" y="connsiteY10921"/>
              </a:cxn>
              <a:cxn ang="0">
                <a:pos x="connsiteX10922" y="connsiteY10922"/>
              </a:cxn>
              <a:cxn ang="0">
                <a:pos x="connsiteX10923" y="connsiteY10923"/>
              </a:cxn>
              <a:cxn ang="0">
                <a:pos x="connsiteX10924" y="connsiteY10924"/>
              </a:cxn>
              <a:cxn ang="0">
                <a:pos x="connsiteX10925" y="connsiteY10925"/>
              </a:cxn>
              <a:cxn ang="0">
                <a:pos x="connsiteX10926" y="connsiteY10926"/>
              </a:cxn>
              <a:cxn ang="0">
                <a:pos x="connsiteX10927" y="connsiteY10927"/>
              </a:cxn>
              <a:cxn ang="0">
                <a:pos x="connsiteX10928" y="connsiteY10928"/>
              </a:cxn>
              <a:cxn ang="0">
                <a:pos x="connsiteX10929" y="connsiteY10929"/>
              </a:cxn>
              <a:cxn ang="0">
                <a:pos x="connsiteX10930" y="connsiteY10930"/>
              </a:cxn>
              <a:cxn ang="0">
                <a:pos x="connsiteX10931" y="connsiteY10931"/>
              </a:cxn>
              <a:cxn ang="0">
                <a:pos x="connsiteX10932" y="connsiteY10932"/>
              </a:cxn>
              <a:cxn ang="0">
                <a:pos x="connsiteX10933" y="connsiteY10933"/>
              </a:cxn>
              <a:cxn ang="0">
                <a:pos x="connsiteX10934" y="connsiteY10934"/>
              </a:cxn>
              <a:cxn ang="0">
                <a:pos x="connsiteX10935" y="connsiteY10935"/>
              </a:cxn>
              <a:cxn ang="0">
                <a:pos x="connsiteX10936" y="connsiteY10936"/>
              </a:cxn>
              <a:cxn ang="0">
                <a:pos x="connsiteX10937" y="connsiteY10937"/>
              </a:cxn>
              <a:cxn ang="0">
                <a:pos x="connsiteX10938" y="connsiteY10938"/>
              </a:cxn>
              <a:cxn ang="0">
                <a:pos x="connsiteX10939" y="connsiteY10939"/>
              </a:cxn>
              <a:cxn ang="0">
                <a:pos x="connsiteX10940" y="connsiteY10940"/>
              </a:cxn>
              <a:cxn ang="0">
                <a:pos x="connsiteX10941" y="connsiteY10941"/>
              </a:cxn>
              <a:cxn ang="0">
                <a:pos x="connsiteX10942" y="connsiteY10942"/>
              </a:cxn>
              <a:cxn ang="0">
                <a:pos x="connsiteX10943" y="connsiteY10943"/>
              </a:cxn>
              <a:cxn ang="0">
                <a:pos x="connsiteX10944" y="connsiteY10944"/>
              </a:cxn>
              <a:cxn ang="0">
                <a:pos x="connsiteX10945" y="connsiteY10945"/>
              </a:cxn>
              <a:cxn ang="0">
                <a:pos x="connsiteX10946" y="connsiteY10946"/>
              </a:cxn>
              <a:cxn ang="0">
                <a:pos x="connsiteX10947" y="connsiteY10947"/>
              </a:cxn>
              <a:cxn ang="0">
                <a:pos x="connsiteX10948" y="connsiteY10948"/>
              </a:cxn>
              <a:cxn ang="0">
                <a:pos x="connsiteX10949" y="connsiteY10949"/>
              </a:cxn>
              <a:cxn ang="0">
                <a:pos x="connsiteX10950" y="connsiteY10950"/>
              </a:cxn>
              <a:cxn ang="0">
                <a:pos x="connsiteX10951" y="connsiteY10951"/>
              </a:cxn>
              <a:cxn ang="0">
                <a:pos x="connsiteX10952" y="connsiteY10952"/>
              </a:cxn>
              <a:cxn ang="0">
                <a:pos x="connsiteX10953" y="connsiteY10953"/>
              </a:cxn>
              <a:cxn ang="0">
                <a:pos x="connsiteX10954" y="connsiteY10954"/>
              </a:cxn>
              <a:cxn ang="0">
                <a:pos x="connsiteX10955" y="connsiteY10955"/>
              </a:cxn>
              <a:cxn ang="0">
                <a:pos x="connsiteX10956" y="connsiteY10956"/>
              </a:cxn>
              <a:cxn ang="0">
                <a:pos x="connsiteX10957" y="connsiteY10957"/>
              </a:cxn>
              <a:cxn ang="0">
                <a:pos x="connsiteX10958" y="connsiteY10958"/>
              </a:cxn>
              <a:cxn ang="0">
                <a:pos x="connsiteX10959" y="connsiteY10959"/>
              </a:cxn>
              <a:cxn ang="0">
                <a:pos x="connsiteX10960" y="connsiteY10960"/>
              </a:cxn>
              <a:cxn ang="0">
                <a:pos x="connsiteX10961" y="connsiteY10961"/>
              </a:cxn>
              <a:cxn ang="0">
                <a:pos x="connsiteX10962" y="connsiteY10962"/>
              </a:cxn>
              <a:cxn ang="0">
                <a:pos x="connsiteX10963" y="connsiteY10963"/>
              </a:cxn>
              <a:cxn ang="0">
                <a:pos x="connsiteX10964" y="connsiteY10964"/>
              </a:cxn>
              <a:cxn ang="0">
                <a:pos x="connsiteX10965" y="connsiteY10965"/>
              </a:cxn>
              <a:cxn ang="0">
                <a:pos x="connsiteX10966" y="connsiteY10966"/>
              </a:cxn>
              <a:cxn ang="0">
                <a:pos x="connsiteX10967" y="connsiteY10967"/>
              </a:cxn>
              <a:cxn ang="0">
                <a:pos x="connsiteX10968" y="connsiteY10968"/>
              </a:cxn>
              <a:cxn ang="0">
                <a:pos x="connsiteX10969" y="connsiteY10969"/>
              </a:cxn>
              <a:cxn ang="0">
                <a:pos x="connsiteX10970" y="connsiteY10970"/>
              </a:cxn>
              <a:cxn ang="0">
                <a:pos x="connsiteX10971" y="connsiteY10971"/>
              </a:cxn>
              <a:cxn ang="0">
                <a:pos x="connsiteX10972" y="connsiteY10972"/>
              </a:cxn>
              <a:cxn ang="0">
                <a:pos x="connsiteX10973" y="connsiteY10973"/>
              </a:cxn>
              <a:cxn ang="0">
                <a:pos x="connsiteX10974" y="connsiteY10974"/>
              </a:cxn>
              <a:cxn ang="0">
                <a:pos x="connsiteX10975" y="connsiteY10975"/>
              </a:cxn>
              <a:cxn ang="0">
                <a:pos x="connsiteX10976" y="connsiteY10976"/>
              </a:cxn>
              <a:cxn ang="0">
                <a:pos x="connsiteX10977" y="connsiteY10977"/>
              </a:cxn>
              <a:cxn ang="0">
                <a:pos x="connsiteX10978" y="connsiteY10978"/>
              </a:cxn>
              <a:cxn ang="0">
                <a:pos x="connsiteX10979" y="connsiteY10979"/>
              </a:cxn>
              <a:cxn ang="0">
                <a:pos x="connsiteX10980" y="connsiteY10980"/>
              </a:cxn>
              <a:cxn ang="0">
                <a:pos x="connsiteX10981" y="connsiteY10981"/>
              </a:cxn>
              <a:cxn ang="0">
                <a:pos x="connsiteX10982" y="connsiteY10982"/>
              </a:cxn>
              <a:cxn ang="0">
                <a:pos x="connsiteX10983" y="connsiteY10983"/>
              </a:cxn>
              <a:cxn ang="0">
                <a:pos x="connsiteX10984" y="connsiteY10984"/>
              </a:cxn>
              <a:cxn ang="0">
                <a:pos x="connsiteX10985" y="connsiteY10985"/>
              </a:cxn>
              <a:cxn ang="0">
                <a:pos x="connsiteX10986" y="connsiteY10986"/>
              </a:cxn>
              <a:cxn ang="0">
                <a:pos x="connsiteX10987" y="connsiteY10987"/>
              </a:cxn>
              <a:cxn ang="0">
                <a:pos x="connsiteX10988" y="connsiteY10988"/>
              </a:cxn>
              <a:cxn ang="0">
                <a:pos x="connsiteX10989" y="connsiteY10989"/>
              </a:cxn>
              <a:cxn ang="0">
                <a:pos x="connsiteX10990" y="connsiteY10990"/>
              </a:cxn>
              <a:cxn ang="0">
                <a:pos x="connsiteX10991" y="connsiteY10991"/>
              </a:cxn>
              <a:cxn ang="0">
                <a:pos x="connsiteX10992" y="connsiteY10992"/>
              </a:cxn>
              <a:cxn ang="0">
                <a:pos x="connsiteX10993" y="connsiteY10993"/>
              </a:cxn>
              <a:cxn ang="0">
                <a:pos x="connsiteX10994" y="connsiteY10994"/>
              </a:cxn>
              <a:cxn ang="0">
                <a:pos x="connsiteX10995" y="connsiteY10995"/>
              </a:cxn>
              <a:cxn ang="0">
                <a:pos x="connsiteX10996" y="connsiteY10996"/>
              </a:cxn>
              <a:cxn ang="0">
                <a:pos x="connsiteX10997" y="connsiteY10997"/>
              </a:cxn>
              <a:cxn ang="0">
                <a:pos x="connsiteX10998" y="connsiteY10998"/>
              </a:cxn>
              <a:cxn ang="0">
                <a:pos x="connsiteX10999" y="connsiteY10999"/>
              </a:cxn>
              <a:cxn ang="0">
                <a:pos x="connsiteX11000" y="connsiteY11000"/>
              </a:cxn>
              <a:cxn ang="0">
                <a:pos x="connsiteX11001" y="connsiteY11001"/>
              </a:cxn>
              <a:cxn ang="0">
                <a:pos x="connsiteX11002" y="connsiteY11002"/>
              </a:cxn>
              <a:cxn ang="0">
                <a:pos x="connsiteX11003" y="connsiteY11003"/>
              </a:cxn>
              <a:cxn ang="0">
                <a:pos x="connsiteX11004" y="connsiteY11004"/>
              </a:cxn>
              <a:cxn ang="0">
                <a:pos x="connsiteX11005" y="connsiteY11005"/>
              </a:cxn>
              <a:cxn ang="0">
                <a:pos x="connsiteX11006" y="connsiteY11006"/>
              </a:cxn>
              <a:cxn ang="0">
                <a:pos x="connsiteX11007" y="connsiteY11007"/>
              </a:cxn>
              <a:cxn ang="0">
                <a:pos x="connsiteX11008" y="connsiteY11008"/>
              </a:cxn>
              <a:cxn ang="0">
                <a:pos x="connsiteX11009" y="connsiteY11009"/>
              </a:cxn>
              <a:cxn ang="0">
                <a:pos x="connsiteX11010" y="connsiteY11010"/>
              </a:cxn>
              <a:cxn ang="0">
                <a:pos x="connsiteX11011" y="connsiteY11011"/>
              </a:cxn>
              <a:cxn ang="0">
                <a:pos x="connsiteX11012" y="connsiteY11012"/>
              </a:cxn>
              <a:cxn ang="0">
                <a:pos x="connsiteX11013" y="connsiteY11013"/>
              </a:cxn>
              <a:cxn ang="0">
                <a:pos x="connsiteX11014" y="connsiteY11014"/>
              </a:cxn>
              <a:cxn ang="0">
                <a:pos x="connsiteX11015" y="connsiteY11015"/>
              </a:cxn>
              <a:cxn ang="0">
                <a:pos x="connsiteX11016" y="connsiteY11016"/>
              </a:cxn>
              <a:cxn ang="0">
                <a:pos x="connsiteX11017" y="connsiteY11017"/>
              </a:cxn>
              <a:cxn ang="0">
                <a:pos x="connsiteX11018" y="connsiteY11018"/>
              </a:cxn>
              <a:cxn ang="0">
                <a:pos x="connsiteX11019" y="connsiteY11019"/>
              </a:cxn>
              <a:cxn ang="0">
                <a:pos x="connsiteX11020" y="connsiteY11020"/>
              </a:cxn>
              <a:cxn ang="0">
                <a:pos x="connsiteX11021" y="connsiteY11021"/>
              </a:cxn>
              <a:cxn ang="0">
                <a:pos x="connsiteX11022" y="connsiteY11022"/>
              </a:cxn>
              <a:cxn ang="0">
                <a:pos x="connsiteX11023" y="connsiteY11023"/>
              </a:cxn>
              <a:cxn ang="0">
                <a:pos x="connsiteX11024" y="connsiteY11024"/>
              </a:cxn>
              <a:cxn ang="0">
                <a:pos x="connsiteX11025" y="connsiteY11025"/>
              </a:cxn>
              <a:cxn ang="0">
                <a:pos x="connsiteX11026" y="connsiteY11026"/>
              </a:cxn>
              <a:cxn ang="0">
                <a:pos x="connsiteX11027" y="connsiteY11027"/>
              </a:cxn>
              <a:cxn ang="0">
                <a:pos x="connsiteX11028" y="connsiteY11028"/>
              </a:cxn>
              <a:cxn ang="0">
                <a:pos x="connsiteX11029" y="connsiteY11029"/>
              </a:cxn>
              <a:cxn ang="0">
                <a:pos x="connsiteX11030" y="connsiteY11030"/>
              </a:cxn>
              <a:cxn ang="0">
                <a:pos x="connsiteX11031" y="connsiteY11031"/>
              </a:cxn>
              <a:cxn ang="0">
                <a:pos x="connsiteX11032" y="connsiteY11032"/>
              </a:cxn>
              <a:cxn ang="0">
                <a:pos x="connsiteX11033" y="connsiteY11033"/>
              </a:cxn>
              <a:cxn ang="0">
                <a:pos x="connsiteX11034" y="connsiteY11034"/>
              </a:cxn>
              <a:cxn ang="0">
                <a:pos x="connsiteX11035" y="connsiteY11035"/>
              </a:cxn>
              <a:cxn ang="0">
                <a:pos x="connsiteX11036" y="connsiteY11036"/>
              </a:cxn>
              <a:cxn ang="0">
                <a:pos x="connsiteX11037" y="connsiteY11037"/>
              </a:cxn>
              <a:cxn ang="0">
                <a:pos x="connsiteX11038" y="connsiteY11038"/>
              </a:cxn>
              <a:cxn ang="0">
                <a:pos x="connsiteX11039" y="connsiteY11039"/>
              </a:cxn>
              <a:cxn ang="0">
                <a:pos x="connsiteX11040" y="connsiteY11040"/>
              </a:cxn>
              <a:cxn ang="0">
                <a:pos x="connsiteX11041" y="connsiteY11041"/>
              </a:cxn>
              <a:cxn ang="0">
                <a:pos x="connsiteX11042" y="connsiteY11042"/>
              </a:cxn>
              <a:cxn ang="0">
                <a:pos x="connsiteX11043" y="connsiteY11043"/>
              </a:cxn>
              <a:cxn ang="0">
                <a:pos x="connsiteX11044" y="connsiteY11044"/>
              </a:cxn>
              <a:cxn ang="0">
                <a:pos x="connsiteX11045" y="connsiteY11045"/>
              </a:cxn>
              <a:cxn ang="0">
                <a:pos x="connsiteX11046" y="connsiteY11046"/>
              </a:cxn>
              <a:cxn ang="0">
                <a:pos x="connsiteX11047" y="connsiteY11047"/>
              </a:cxn>
              <a:cxn ang="0">
                <a:pos x="connsiteX11048" y="connsiteY11048"/>
              </a:cxn>
              <a:cxn ang="0">
                <a:pos x="connsiteX11049" y="connsiteY11049"/>
              </a:cxn>
              <a:cxn ang="0">
                <a:pos x="connsiteX11050" y="connsiteY11050"/>
              </a:cxn>
              <a:cxn ang="0">
                <a:pos x="connsiteX11051" y="connsiteY11051"/>
              </a:cxn>
              <a:cxn ang="0">
                <a:pos x="connsiteX11052" y="connsiteY11052"/>
              </a:cxn>
              <a:cxn ang="0">
                <a:pos x="connsiteX11053" y="connsiteY11053"/>
              </a:cxn>
              <a:cxn ang="0">
                <a:pos x="connsiteX11054" y="connsiteY11054"/>
              </a:cxn>
              <a:cxn ang="0">
                <a:pos x="connsiteX11055" y="connsiteY11055"/>
              </a:cxn>
              <a:cxn ang="0">
                <a:pos x="connsiteX11056" y="connsiteY11056"/>
              </a:cxn>
              <a:cxn ang="0">
                <a:pos x="connsiteX11057" y="connsiteY11057"/>
              </a:cxn>
              <a:cxn ang="0">
                <a:pos x="connsiteX11058" y="connsiteY11058"/>
              </a:cxn>
              <a:cxn ang="0">
                <a:pos x="connsiteX11059" y="connsiteY11059"/>
              </a:cxn>
              <a:cxn ang="0">
                <a:pos x="connsiteX11060" y="connsiteY11060"/>
              </a:cxn>
              <a:cxn ang="0">
                <a:pos x="connsiteX11061" y="connsiteY11061"/>
              </a:cxn>
              <a:cxn ang="0">
                <a:pos x="connsiteX11062" y="connsiteY11062"/>
              </a:cxn>
              <a:cxn ang="0">
                <a:pos x="connsiteX11063" y="connsiteY11063"/>
              </a:cxn>
              <a:cxn ang="0">
                <a:pos x="connsiteX11064" y="connsiteY11064"/>
              </a:cxn>
              <a:cxn ang="0">
                <a:pos x="connsiteX11065" y="connsiteY11065"/>
              </a:cxn>
              <a:cxn ang="0">
                <a:pos x="connsiteX11066" y="connsiteY11066"/>
              </a:cxn>
              <a:cxn ang="0">
                <a:pos x="connsiteX11067" y="connsiteY11067"/>
              </a:cxn>
              <a:cxn ang="0">
                <a:pos x="connsiteX11068" y="connsiteY11068"/>
              </a:cxn>
              <a:cxn ang="0">
                <a:pos x="connsiteX11069" y="connsiteY11069"/>
              </a:cxn>
              <a:cxn ang="0">
                <a:pos x="connsiteX11070" y="connsiteY11070"/>
              </a:cxn>
              <a:cxn ang="0">
                <a:pos x="connsiteX11071" y="connsiteY11071"/>
              </a:cxn>
              <a:cxn ang="0">
                <a:pos x="connsiteX11072" y="connsiteY11072"/>
              </a:cxn>
              <a:cxn ang="0">
                <a:pos x="connsiteX11073" y="connsiteY11073"/>
              </a:cxn>
              <a:cxn ang="0">
                <a:pos x="connsiteX11074" y="connsiteY11074"/>
              </a:cxn>
              <a:cxn ang="0">
                <a:pos x="connsiteX11075" y="connsiteY11075"/>
              </a:cxn>
              <a:cxn ang="0">
                <a:pos x="connsiteX11076" y="connsiteY11076"/>
              </a:cxn>
              <a:cxn ang="0">
                <a:pos x="connsiteX11077" y="connsiteY11077"/>
              </a:cxn>
              <a:cxn ang="0">
                <a:pos x="connsiteX11078" y="connsiteY11078"/>
              </a:cxn>
              <a:cxn ang="0">
                <a:pos x="connsiteX11079" y="connsiteY11079"/>
              </a:cxn>
              <a:cxn ang="0">
                <a:pos x="connsiteX11080" y="connsiteY11080"/>
              </a:cxn>
              <a:cxn ang="0">
                <a:pos x="connsiteX11081" y="connsiteY11081"/>
              </a:cxn>
              <a:cxn ang="0">
                <a:pos x="connsiteX11082" y="connsiteY11082"/>
              </a:cxn>
              <a:cxn ang="0">
                <a:pos x="connsiteX11083" y="connsiteY11083"/>
              </a:cxn>
              <a:cxn ang="0">
                <a:pos x="connsiteX11084" y="connsiteY11084"/>
              </a:cxn>
              <a:cxn ang="0">
                <a:pos x="connsiteX11085" y="connsiteY11085"/>
              </a:cxn>
              <a:cxn ang="0">
                <a:pos x="connsiteX11086" y="connsiteY11086"/>
              </a:cxn>
              <a:cxn ang="0">
                <a:pos x="connsiteX11087" y="connsiteY11087"/>
              </a:cxn>
              <a:cxn ang="0">
                <a:pos x="connsiteX11088" y="connsiteY11088"/>
              </a:cxn>
              <a:cxn ang="0">
                <a:pos x="connsiteX11089" y="connsiteY11089"/>
              </a:cxn>
              <a:cxn ang="0">
                <a:pos x="connsiteX11090" y="connsiteY11090"/>
              </a:cxn>
              <a:cxn ang="0">
                <a:pos x="connsiteX11091" y="connsiteY11091"/>
              </a:cxn>
              <a:cxn ang="0">
                <a:pos x="connsiteX11092" y="connsiteY11092"/>
              </a:cxn>
              <a:cxn ang="0">
                <a:pos x="connsiteX11093" y="connsiteY11093"/>
              </a:cxn>
              <a:cxn ang="0">
                <a:pos x="connsiteX11094" y="connsiteY11094"/>
              </a:cxn>
              <a:cxn ang="0">
                <a:pos x="connsiteX11095" y="connsiteY11095"/>
              </a:cxn>
              <a:cxn ang="0">
                <a:pos x="connsiteX11096" y="connsiteY11096"/>
              </a:cxn>
              <a:cxn ang="0">
                <a:pos x="connsiteX11097" y="connsiteY11097"/>
              </a:cxn>
              <a:cxn ang="0">
                <a:pos x="connsiteX11098" y="connsiteY11098"/>
              </a:cxn>
              <a:cxn ang="0">
                <a:pos x="connsiteX11099" y="connsiteY11099"/>
              </a:cxn>
              <a:cxn ang="0">
                <a:pos x="connsiteX11100" y="connsiteY11100"/>
              </a:cxn>
              <a:cxn ang="0">
                <a:pos x="connsiteX11101" y="connsiteY11101"/>
              </a:cxn>
              <a:cxn ang="0">
                <a:pos x="connsiteX11102" y="connsiteY11102"/>
              </a:cxn>
              <a:cxn ang="0">
                <a:pos x="connsiteX11103" y="connsiteY11103"/>
              </a:cxn>
              <a:cxn ang="0">
                <a:pos x="connsiteX11104" y="connsiteY11104"/>
              </a:cxn>
              <a:cxn ang="0">
                <a:pos x="connsiteX11105" y="connsiteY11105"/>
              </a:cxn>
              <a:cxn ang="0">
                <a:pos x="connsiteX11106" y="connsiteY11106"/>
              </a:cxn>
              <a:cxn ang="0">
                <a:pos x="connsiteX11107" y="connsiteY11107"/>
              </a:cxn>
              <a:cxn ang="0">
                <a:pos x="connsiteX11108" y="connsiteY11108"/>
              </a:cxn>
              <a:cxn ang="0">
                <a:pos x="connsiteX11109" y="connsiteY11109"/>
              </a:cxn>
              <a:cxn ang="0">
                <a:pos x="connsiteX11110" y="connsiteY11110"/>
              </a:cxn>
              <a:cxn ang="0">
                <a:pos x="connsiteX11111" y="connsiteY11111"/>
              </a:cxn>
              <a:cxn ang="0">
                <a:pos x="connsiteX11112" y="connsiteY11112"/>
              </a:cxn>
              <a:cxn ang="0">
                <a:pos x="connsiteX11113" y="connsiteY11113"/>
              </a:cxn>
              <a:cxn ang="0">
                <a:pos x="connsiteX11114" y="connsiteY11114"/>
              </a:cxn>
              <a:cxn ang="0">
                <a:pos x="connsiteX11115" y="connsiteY11115"/>
              </a:cxn>
              <a:cxn ang="0">
                <a:pos x="connsiteX11116" y="connsiteY11116"/>
              </a:cxn>
              <a:cxn ang="0">
                <a:pos x="connsiteX11117" y="connsiteY11117"/>
              </a:cxn>
              <a:cxn ang="0">
                <a:pos x="connsiteX11118" y="connsiteY11118"/>
              </a:cxn>
              <a:cxn ang="0">
                <a:pos x="connsiteX11119" y="connsiteY11119"/>
              </a:cxn>
              <a:cxn ang="0">
                <a:pos x="connsiteX11120" y="connsiteY11120"/>
              </a:cxn>
              <a:cxn ang="0">
                <a:pos x="connsiteX11121" y="connsiteY11121"/>
              </a:cxn>
              <a:cxn ang="0">
                <a:pos x="connsiteX11122" y="connsiteY11122"/>
              </a:cxn>
              <a:cxn ang="0">
                <a:pos x="connsiteX11123" y="connsiteY11123"/>
              </a:cxn>
              <a:cxn ang="0">
                <a:pos x="connsiteX11124" y="connsiteY11124"/>
              </a:cxn>
              <a:cxn ang="0">
                <a:pos x="connsiteX11125" y="connsiteY11125"/>
              </a:cxn>
              <a:cxn ang="0">
                <a:pos x="connsiteX11126" y="connsiteY11126"/>
              </a:cxn>
              <a:cxn ang="0">
                <a:pos x="connsiteX11127" y="connsiteY11127"/>
              </a:cxn>
              <a:cxn ang="0">
                <a:pos x="connsiteX11128" y="connsiteY11128"/>
              </a:cxn>
              <a:cxn ang="0">
                <a:pos x="connsiteX11129" y="connsiteY11129"/>
              </a:cxn>
              <a:cxn ang="0">
                <a:pos x="connsiteX11130" y="connsiteY11130"/>
              </a:cxn>
              <a:cxn ang="0">
                <a:pos x="connsiteX11131" y="connsiteY11131"/>
              </a:cxn>
              <a:cxn ang="0">
                <a:pos x="connsiteX11132" y="connsiteY11132"/>
              </a:cxn>
              <a:cxn ang="0">
                <a:pos x="connsiteX11133" y="connsiteY11133"/>
              </a:cxn>
              <a:cxn ang="0">
                <a:pos x="connsiteX11134" y="connsiteY11134"/>
              </a:cxn>
              <a:cxn ang="0">
                <a:pos x="connsiteX11135" y="connsiteY11135"/>
              </a:cxn>
              <a:cxn ang="0">
                <a:pos x="connsiteX11136" y="connsiteY11136"/>
              </a:cxn>
              <a:cxn ang="0">
                <a:pos x="connsiteX11137" y="connsiteY11137"/>
              </a:cxn>
              <a:cxn ang="0">
                <a:pos x="connsiteX11138" y="connsiteY11138"/>
              </a:cxn>
              <a:cxn ang="0">
                <a:pos x="connsiteX11139" y="connsiteY11139"/>
              </a:cxn>
              <a:cxn ang="0">
                <a:pos x="connsiteX11140" y="connsiteY11140"/>
              </a:cxn>
              <a:cxn ang="0">
                <a:pos x="connsiteX11141" y="connsiteY11141"/>
              </a:cxn>
              <a:cxn ang="0">
                <a:pos x="connsiteX11142" y="connsiteY11142"/>
              </a:cxn>
              <a:cxn ang="0">
                <a:pos x="connsiteX11143" y="connsiteY11143"/>
              </a:cxn>
              <a:cxn ang="0">
                <a:pos x="connsiteX11144" y="connsiteY11144"/>
              </a:cxn>
              <a:cxn ang="0">
                <a:pos x="connsiteX11145" y="connsiteY11145"/>
              </a:cxn>
              <a:cxn ang="0">
                <a:pos x="connsiteX11146" y="connsiteY11146"/>
              </a:cxn>
              <a:cxn ang="0">
                <a:pos x="connsiteX11147" y="connsiteY11147"/>
              </a:cxn>
              <a:cxn ang="0">
                <a:pos x="connsiteX11148" y="connsiteY11148"/>
              </a:cxn>
              <a:cxn ang="0">
                <a:pos x="connsiteX11149" y="connsiteY11149"/>
              </a:cxn>
              <a:cxn ang="0">
                <a:pos x="connsiteX11150" y="connsiteY11150"/>
              </a:cxn>
              <a:cxn ang="0">
                <a:pos x="connsiteX11151" y="connsiteY11151"/>
              </a:cxn>
              <a:cxn ang="0">
                <a:pos x="connsiteX11152" y="connsiteY11152"/>
              </a:cxn>
              <a:cxn ang="0">
                <a:pos x="connsiteX11153" y="connsiteY11153"/>
              </a:cxn>
              <a:cxn ang="0">
                <a:pos x="connsiteX11154" y="connsiteY11154"/>
              </a:cxn>
              <a:cxn ang="0">
                <a:pos x="connsiteX11155" y="connsiteY11155"/>
              </a:cxn>
              <a:cxn ang="0">
                <a:pos x="connsiteX11156" y="connsiteY11156"/>
              </a:cxn>
              <a:cxn ang="0">
                <a:pos x="connsiteX11157" y="connsiteY11157"/>
              </a:cxn>
              <a:cxn ang="0">
                <a:pos x="connsiteX11158" y="connsiteY11158"/>
              </a:cxn>
              <a:cxn ang="0">
                <a:pos x="connsiteX11159" y="connsiteY11159"/>
              </a:cxn>
              <a:cxn ang="0">
                <a:pos x="connsiteX11160" y="connsiteY11160"/>
              </a:cxn>
              <a:cxn ang="0">
                <a:pos x="connsiteX11161" y="connsiteY11161"/>
              </a:cxn>
              <a:cxn ang="0">
                <a:pos x="connsiteX11162" y="connsiteY11162"/>
              </a:cxn>
              <a:cxn ang="0">
                <a:pos x="connsiteX11163" y="connsiteY11163"/>
              </a:cxn>
              <a:cxn ang="0">
                <a:pos x="connsiteX11164" y="connsiteY11164"/>
              </a:cxn>
              <a:cxn ang="0">
                <a:pos x="connsiteX11165" y="connsiteY11165"/>
              </a:cxn>
              <a:cxn ang="0">
                <a:pos x="connsiteX11166" y="connsiteY11166"/>
              </a:cxn>
              <a:cxn ang="0">
                <a:pos x="connsiteX11167" y="connsiteY11167"/>
              </a:cxn>
              <a:cxn ang="0">
                <a:pos x="connsiteX11168" y="connsiteY11168"/>
              </a:cxn>
              <a:cxn ang="0">
                <a:pos x="connsiteX11169" y="connsiteY11169"/>
              </a:cxn>
              <a:cxn ang="0">
                <a:pos x="connsiteX11170" y="connsiteY11170"/>
              </a:cxn>
              <a:cxn ang="0">
                <a:pos x="connsiteX11171" y="connsiteY11171"/>
              </a:cxn>
              <a:cxn ang="0">
                <a:pos x="connsiteX11172" y="connsiteY11172"/>
              </a:cxn>
              <a:cxn ang="0">
                <a:pos x="connsiteX11173" y="connsiteY11173"/>
              </a:cxn>
              <a:cxn ang="0">
                <a:pos x="connsiteX11174" y="connsiteY11174"/>
              </a:cxn>
              <a:cxn ang="0">
                <a:pos x="connsiteX11175" y="connsiteY11175"/>
              </a:cxn>
              <a:cxn ang="0">
                <a:pos x="connsiteX11176" y="connsiteY11176"/>
              </a:cxn>
              <a:cxn ang="0">
                <a:pos x="connsiteX11177" y="connsiteY11177"/>
              </a:cxn>
              <a:cxn ang="0">
                <a:pos x="connsiteX11178" y="connsiteY11178"/>
              </a:cxn>
              <a:cxn ang="0">
                <a:pos x="connsiteX11179" y="connsiteY11179"/>
              </a:cxn>
              <a:cxn ang="0">
                <a:pos x="connsiteX11180" y="connsiteY11180"/>
              </a:cxn>
              <a:cxn ang="0">
                <a:pos x="connsiteX11181" y="connsiteY11181"/>
              </a:cxn>
              <a:cxn ang="0">
                <a:pos x="connsiteX11182" y="connsiteY11182"/>
              </a:cxn>
              <a:cxn ang="0">
                <a:pos x="connsiteX11183" y="connsiteY11183"/>
              </a:cxn>
              <a:cxn ang="0">
                <a:pos x="connsiteX11184" y="connsiteY11184"/>
              </a:cxn>
              <a:cxn ang="0">
                <a:pos x="connsiteX11185" y="connsiteY11185"/>
              </a:cxn>
              <a:cxn ang="0">
                <a:pos x="connsiteX11186" y="connsiteY11186"/>
              </a:cxn>
              <a:cxn ang="0">
                <a:pos x="connsiteX11187" y="connsiteY11187"/>
              </a:cxn>
              <a:cxn ang="0">
                <a:pos x="connsiteX11188" y="connsiteY11188"/>
              </a:cxn>
              <a:cxn ang="0">
                <a:pos x="connsiteX11189" y="connsiteY11189"/>
              </a:cxn>
              <a:cxn ang="0">
                <a:pos x="connsiteX11190" y="connsiteY11190"/>
              </a:cxn>
              <a:cxn ang="0">
                <a:pos x="connsiteX11191" y="connsiteY11191"/>
              </a:cxn>
              <a:cxn ang="0">
                <a:pos x="connsiteX11192" y="connsiteY11192"/>
              </a:cxn>
              <a:cxn ang="0">
                <a:pos x="connsiteX11193" y="connsiteY11193"/>
              </a:cxn>
              <a:cxn ang="0">
                <a:pos x="connsiteX11194" y="connsiteY11194"/>
              </a:cxn>
              <a:cxn ang="0">
                <a:pos x="connsiteX11195" y="connsiteY11195"/>
              </a:cxn>
              <a:cxn ang="0">
                <a:pos x="connsiteX11196" y="connsiteY11196"/>
              </a:cxn>
              <a:cxn ang="0">
                <a:pos x="connsiteX11197" y="connsiteY11197"/>
              </a:cxn>
              <a:cxn ang="0">
                <a:pos x="connsiteX11198" y="connsiteY11198"/>
              </a:cxn>
              <a:cxn ang="0">
                <a:pos x="connsiteX11199" y="connsiteY11199"/>
              </a:cxn>
              <a:cxn ang="0">
                <a:pos x="connsiteX11200" y="connsiteY11200"/>
              </a:cxn>
              <a:cxn ang="0">
                <a:pos x="connsiteX11201" y="connsiteY11201"/>
              </a:cxn>
              <a:cxn ang="0">
                <a:pos x="connsiteX11202" y="connsiteY11202"/>
              </a:cxn>
              <a:cxn ang="0">
                <a:pos x="connsiteX11203" y="connsiteY11203"/>
              </a:cxn>
              <a:cxn ang="0">
                <a:pos x="connsiteX11204" y="connsiteY11204"/>
              </a:cxn>
              <a:cxn ang="0">
                <a:pos x="connsiteX11205" y="connsiteY11205"/>
              </a:cxn>
              <a:cxn ang="0">
                <a:pos x="connsiteX11206" y="connsiteY11206"/>
              </a:cxn>
              <a:cxn ang="0">
                <a:pos x="connsiteX11207" y="connsiteY11207"/>
              </a:cxn>
              <a:cxn ang="0">
                <a:pos x="connsiteX11208" y="connsiteY11208"/>
              </a:cxn>
              <a:cxn ang="0">
                <a:pos x="connsiteX11209" y="connsiteY11209"/>
              </a:cxn>
              <a:cxn ang="0">
                <a:pos x="connsiteX11210" y="connsiteY11210"/>
              </a:cxn>
              <a:cxn ang="0">
                <a:pos x="connsiteX11211" y="connsiteY11211"/>
              </a:cxn>
              <a:cxn ang="0">
                <a:pos x="connsiteX11212" y="connsiteY11212"/>
              </a:cxn>
              <a:cxn ang="0">
                <a:pos x="connsiteX11213" y="connsiteY11213"/>
              </a:cxn>
              <a:cxn ang="0">
                <a:pos x="connsiteX11214" y="connsiteY11214"/>
              </a:cxn>
              <a:cxn ang="0">
                <a:pos x="connsiteX11215" y="connsiteY11215"/>
              </a:cxn>
              <a:cxn ang="0">
                <a:pos x="connsiteX11216" y="connsiteY11216"/>
              </a:cxn>
              <a:cxn ang="0">
                <a:pos x="connsiteX11217" y="connsiteY11217"/>
              </a:cxn>
              <a:cxn ang="0">
                <a:pos x="connsiteX11218" y="connsiteY11218"/>
              </a:cxn>
              <a:cxn ang="0">
                <a:pos x="connsiteX11219" y="connsiteY11219"/>
              </a:cxn>
              <a:cxn ang="0">
                <a:pos x="connsiteX11220" y="connsiteY11220"/>
              </a:cxn>
              <a:cxn ang="0">
                <a:pos x="connsiteX11221" y="connsiteY11221"/>
              </a:cxn>
              <a:cxn ang="0">
                <a:pos x="connsiteX11222" y="connsiteY11222"/>
              </a:cxn>
              <a:cxn ang="0">
                <a:pos x="connsiteX11223" y="connsiteY11223"/>
              </a:cxn>
              <a:cxn ang="0">
                <a:pos x="connsiteX11224" y="connsiteY11224"/>
              </a:cxn>
              <a:cxn ang="0">
                <a:pos x="connsiteX11225" y="connsiteY11225"/>
              </a:cxn>
              <a:cxn ang="0">
                <a:pos x="connsiteX11226" y="connsiteY11226"/>
              </a:cxn>
              <a:cxn ang="0">
                <a:pos x="connsiteX11227" y="connsiteY11227"/>
              </a:cxn>
              <a:cxn ang="0">
                <a:pos x="connsiteX11228" y="connsiteY11228"/>
              </a:cxn>
              <a:cxn ang="0">
                <a:pos x="connsiteX11229" y="connsiteY11229"/>
              </a:cxn>
              <a:cxn ang="0">
                <a:pos x="connsiteX11230" y="connsiteY11230"/>
              </a:cxn>
              <a:cxn ang="0">
                <a:pos x="connsiteX11231" y="connsiteY11231"/>
              </a:cxn>
              <a:cxn ang="0">
                <a:pos x="connsiteX11232" y="connsiteY11232"/>
              </a:cxn>
              <a:cxn ang="0">
                <a:pos x="connsiteX11233" y="connsiteY11233"/>
              </a:cxn>
              <a:cxn ang="0">
                <a:pos x="connsiteX11234" y="connsiteY11234"/>
              </a:cxn>
              <a:cxn ang="0">
                <a:pos x="connsiteX11235" y="connsiteY11235"/>
              </a:cxn>
              <a:cxn ang="0">
                <a:pos x="connsiteX11236" y="connsiteY11236"/>
              </a:cxn>
              <a:cxn ang="0">
                <a:pos x="connsiteX11237" y="connsiteY11237"/>
              </a:cxn>
              <a:cxn ang="0">
                <a:pos x="connsiteX11238" y="connsiteY11238"/>
              </a:cxn>
              <a:cxn ang="0">
                <a:pos x="connsiteX11239" y="connsiteY11239"/>
              </a:cxn>
              <a:cxn ang="0">
                <a:pos x="connsiteX11240" y="connsiteY11240"/>
              </a:cxn>
              <a:cxn ang="0">
                <a:pos x="connsiteX11241" y="connsiteY11241"/>
              </a:cxn>
              <a:cxn ang="0">
                <a:pos x="connsiteX11242" y="connsiteY11242"/>
              </a:cxn>
              <a:cxn ang="0">
                <a:pos x="connsiteX11243" y="connsiteY11243"/>
              </a:cxn>
              <a:cxn ang="0">
                <a:pos x="connsiteX11244" y="connsiteY11244"/>
              </a:cxn>
              <a:cxn ang="0">
                <a:pos x="connsiteX11245" y="connsiteY11245"/>
              </a:cxn>
              <a:cxn ang="0">
                <a:pos x="connsiteX11246" y="connsiteY11246"/>
              </a:cxn>
              <a:cxn ang="0">
                <a:pos x="connsiteX11247" y="connsiteY11247"/>
              </a:cxn>
              <a:cxn ang="0">
                <a:pos x="connsiteX11248" y="connsiteY11248"/>
              </a:cxn>
              <a:cxn ang="0">
                <a:pos x="connsiteX11249" y="connsiteY11249"/>
              </a:cxn>
              <a:cxn ang="0">
                <a:pos x="connsiteX11250" y="connsiteY11250"/>
              </a:cxn>
              <a:cxn ang="0">
                <a:pos x="connsiteX11251" y="connsiteY11251"/>
              </a:cxn>
              <a:cxn ang="0">
                <a:pos x="connsiteX11252" y="connsiteY11252"/>
              </a:cxn>
              <a:cxn ang="0">
                <a:pos x="connsiteX11253" y="connsiteY11253"/>
              </a:cxn>
              <a:cxn ang="0">
                <a:pos x="connsiteX11254" y="connsiteY11254"/>
              </a:cxn>
              <a:cxn ang="0">
                <a:pos x="connsiteX11255" y="connsiteY11255"/>
              </a:cxn>
              <a:cxn ang="0">
                <a:pos x="connsiteX11256" y="connsiteY11256"/>
              </a:cxn>
              <a:cxn ang="0">
                <a:pos x="connsiteX11257" y="connsiteY11257"/>
              </a:cxn>
              <a:cxn ang="0">
                <a:pos x="connsiteX11258" y="connsiteY11258"/>
              </a:cxn>
              <a:cxn ang="0">
                <a:pos x="connsiteX11259" y="connsiteY11259"/>
              </a:cxn>
              <a:cxn ang="0">
                <a:pos x="connsiteX11260" y="connsiteY11260"/>
              </a:cxn>
              <a:cxn ang="0">
                <a:pos x="connsiteX11261" y="connsiteY11261"/>
              </a:cxn>
              <a:cxn ang="0">
                <a:pos x="connsiteX11262" y="connsiteY11262"/>
              </a:cxn>
              <a:cxn ang="0">
                <a:pos x="connsiteX11263" y="connsiteY11263"/>
              </a:cxn>
              <a:cxn ang="0">
                <a:pos x="connsiteX11264" y="connsiteY11264"/>
              </a:cxn>
              <a:cxn ang="0">
                <a:pos x="connsiteX11265" y="connsiteY11265"/>
              </a:cxn>
              <a:cxn ang="0">
                <a:pos x="connsiteX11266" y="connsiteY11266"/>
              </a:cxn>
              <a:cxn ang="0">
                <a:pos x="connsiteX11267" y="connsiteY11267"/>
              </a:cxn>
              <a:cxn ang="0">
                <a:pos x="connsiteX11268" y="connsiteY11268"/>
              </a:cxn>
              <a:cxn ang="0">
                <a:pos x="connsiteX11269" y="connsiteY11269"/>
              </a:cxn>
              <a:cxn ang="0">
                <a:pos x="connsiteX11270" y="connsiteY11270"/>
              </a:cxn>
              <a:cxn ang="0">
                <a:pos x="connsiteX11271" y="connsiteY11271"/>
              </a:cxn>
              <a:cxn ang="0">
                <a:pos x="connsiteX11272" y="connsiteY11272"/>
              </a:cxn>
              <a:cxn ang="0">
                <a:pos x="connsiteX11273" y="connsiteY11273"/>
              </a:cxn>
              <a:cxn ang="0">
                <a:pos x="connsiteX11274" y="connsiteY11274"/>
              </a:cxn>
              <a:cxn ang="0">
                <a:pos x="connsiteX11275" y="connsiteY11275"/>
              </a:cxn>
              <a:cxn ang="0">
                <a:pos x="connsiteX11276" y="connsiteY11276"/>
              </a:cxn>
              <a:cxn ang="0">
                <a:pos x="connsiteX11277" y="connsiteY11277"/>
              </a:cxn>
              <a:cxn ang="0">
                <a:pos x="connsiteX11278" y="connsiteY11278"/>
              </a:cxn>
              <a:cxn ang="0">
                <a:pos x="connsiteX11279" y="connsiteY11279"/>
              </a:cxn>
              <a:cxn ang="0">
                <a:pos x="connsiteX11280" y="connsiteY11280"/>
              </a:cxn>
              <a:cxn ang="0">
                <a:pos x="connsiteX11281" y="connsiteY11281"/>
              </a:cxn>
              <a:cxn ang="0">
                <a:pos x="connsiteX11282" y="connsiteY11282"/>
              </a:cxn>
              <a:cxn ang="0">
                <a:pos x="connsiteX11283" y="connsiteY11283"/>
              </a:cxn>
              <a:cxn ang="0">
                <a:pos x="connsiteX11284" y="connsiteY11284"/>
              </a:cxn>
              <a:cxn ang="0">
                <a:pos x="connsiteX11285" y="connsiteY11285"/>
              </a:cxn>
              <a:cxn ang="0">
                <a:pos x="connsiteX11286" y="connsiteY11286"/>
              </a:cxn>
              <a:cxn ang="0">
                <a:pos x="connsiteX11287" y="connsiteY11287"/>
              </a:cxn>
              <a:cxn ang="0">
                <a:pos x="connsiteX11288" y="connsiteY11288"/>
              </a:cxn>
              <a:cxn ang="0">
                <a:pos x="connsiteX11289" y="connsiteY11289"/>
              </a:cxn>
              <a:cxn ang="0">
                <a:pos x="connsiteX11290" y="connsiteY11290"/>
              </a:cxn>
              <a:cxn ang="0">
                <a:pos x="connsiteX11291" y="connsiteY11291"/>
              </a:cxn>
              <a:cxn ang="0">
                <a:pos x="connsiteX11292" y="connsiteY11292"/>
              </a:cxn>
              <a:cxn ang="0">
                <a:pos x="connsiteX11293" y="connsiteY11293"/>
              </a:cxn>
              <a:cxn ang="0">
                <a:pos x="connsiteX11294" y="connsiteY11294"/>
              </a:cxn>
              <a:cxn ang="0">
                <a:pos x="connsiteX11295" y="connsiteY11295"/>
              </a:cxn>
              <a:cxn ang="0">
                <a:pos x="connsiteX11296" y="connsiteY11296"/>
              </a:cxn>
              <a:cxn ang="0">
                <a:pos x="connsiteX11297" y="connsiteY11297"/>
              </a:cxn>
              <a:cxn ang="0">
                <a:pos x="connsiteX11298" y="connsiteY11298"/>
              </a:cxn>
              <a:cxn ang="0">
                <a:pos x="connsiteX11299" y="connsiteY11299"/>
              </a:cxn>
              <a:cxn ang="0">
                <a:pos x="connsiteX11300" y="connsiteY11300"/>
              </a:cxn>
              <a:cxn ang="0">
                <a:pos x="connsiteX11301" y="connsiteY11301"/>
              </a:cxn>
              <a:cxn ang="0">
                <a:pos x="connsiteX11302" y="connsiteY11302"/>
              </a:cxn>
              <a:cxn ang="0">
                <a:pos x="connsiteX11303" y="connsiteY11303"/>
              </a:cxn>
              <a:cxn ang="0">
                <a:pos x="connsiteX11304" y="connsiteY11304"/>
              </a:cxn>
              <a:cxn ang="0">
                <a:pos x="connsiteX11305" y="connsiteY11305"/>
              </a:cxn>
              <a:cxn ang="0">
                <a:pos x="connsiteX11306" y="connsiteY11306"/>
              </a:cxn>
              <a:cxn ang="0">
                <a:pos x="connsiteX11307" y="connsiteY11307"/>
              </a:cxn>
              <a:cxn ang="0">
                <a:pos x="connsiteX11308" y="connsiteY11308"/>
              </a:cxn>
              <a:cxn ang="0">
                <a:pos x="connsiteX11309" y="connsiteY11309"/>
              </a:cxn>
              <a:cxn ang="0">
                <a:pos x="connsiteX11310" y="connsiteY11310"/>
              </a:cxn>
              <a:cxn ang="0">
                <a:pos x="connsiteX11311" y="connsiteY11311"/>
              </a:cxn>
              <a:cxn ang="0">
                <a:pos x="connsiteX11312" y="connsiteY11312"/>
              </a:cxn>
              <a:cxn ang="0">
                <a:pos x="connsiteX11313" y="connsiteY11313"/>
              </a:cxn>
              <a:cxn ang="0">
                <a:pos x="connsiteX11314" y="connsiteY11314"/>
              </a:cxn>
              <a:cxn ang="0">
                <a:pos x="connsiteX11315" y="connsiteY11315"/>
              </a:cxn>
              <a:cxn ang="0">
                <a:pos x="connsiteX11316" y="connsiteY11316"/>
              </a:cxn>
              <a:cxn ang="0">
                <a:pos x="connsiteX11317" y="connsiteY11317"/>
              </a:cxn>
              <a:cxn ang="0">
                <a:pos x="connsiteX11318" y="connsiteY11318"/>
              </a:cxn>
              <a:cxn ang="0">
                <a:pos x="connsiteX11319" y="connsiteY11319"/>
              </a:cxn>
              <a:cxn ang="0">
                <a:pos x="connsiteX11320" y="connsiteY11320"/>
              </a:cxn>
              <a:cxn ang="0">
                <a:pos x="connsiteX11321" y="connsiteY11321"/>
              </a:cxn>
              <a:cxn ang="0">
                <a:pos x="connsiteX11322" y="connsiteY11322"/>
              </a:cxn>
              <a:cxn ang="0">
                <a:pos x="connsiteX11323" y="connsiteY11323"/>
              </a:cxn>
              <a:cxn ang="0">
                <a:pos x="connsiteX11324" y="connsiteY11324"/>
              </a:cxn>
              <a:cxn ang="0">
                <a:pos x="connsiteX11325" y="connsiteY11325"/>
              </a:cxn>
              <a:cxn ang="0">
                <a:pos x="connsiteX11326" y="connsiteY11326"/>
              </a:cxn>
              <a:cxn ang="0">
                <a:pos x="connsiteX11327" y="connsiteY11327"/>
              </a:cxn>
              <a:cxn ang="0">
                <a:pos x="connsiteX11328" y="connsiteY11328"/>
              </a:cxn>
              <a:cxn ang="0">
                <a:pos x="connsiteX11329" y="connsiteY11329"/>
              </a:cxn>
              <a:cxn ang="0">
                <a:pos x="connsiteX11330" y="connsiteY11330"/>
              </a:cxn>
              <a:cxn ang="0">
                <a:pos x="connsiteX11331" y="connsiteY11331"/>
              </a:cxn>
              <a:cxn ang="0">
                <a:pos x="connsiteX11332" y="connsiteY11332"/>
              </a:cxn>
              <a:cxn ang="0">
                <a:pos x="connsiteX11333" y="connsiteY11333"/>
              </a:cxn>
              <a:cxn ang="0">
                <a:pos x="connsiteX11334" y="connsiteY11334"/>
              </a:cxn>
              <a:cxn ang="0">
                <a:pos x="connsiteX11335" y="connsiteY11335"/>
              </a:cxn>
              <a:cxn ang="0">
                <a:pos x="connsiteX11336" y="connsiteY11336"/>
              </a:cxn>
              <a:cxn ang="0">
                <a:pos x="connsiteX11337" y="connsiteY11337"/>
              </a:cxn>
              <a:cxn ang="0">
                <a:pos x="connsiteX11338" y="connsiteY11338"/>
              </a:cxn>
              <a:cxn ang="0">
                <a:pos x="connsiteX11339" y="connsiteY11339"/>
              </a:cxn>
              <a:cxn ang="0">
                <a:pos x="connsiteX11340" y="connsiteY11340"/>
              </a:cxn>
              <a:cxn ang="0">
                <a:pos x="connsiteX11341" y="connsiteY11341"/>
              </a:cxn>
              <a:cxn ang="0">
                <a:pos x="connsiteX11342" y="connsiteY11342"/>
              </a:cxn>
              <a:cxn ang="0">
                <a:pos x="connsiteX11343" y="connsiteY11343"/>
              </a:cxn>
              <a:cxn ang="0">
                <a:pos x="connsiteX11344" y="connsiteY11344"/>
              </a:cxn>
              <a:cxn ang="0">
                <a:pos x="connsiteX11345" y="connsiteY11345"/>
              </a:cxn>
              <a:cxn ang="0">
                <a:pos x="connsiteX11346" y="connsiteY11346"/>
              </a:cxn>
              <a:cxn ang="0">
                <a:pos x="connsiteX11347" y="connsiteY11347"/>
              </a:cxn>
              <a:cxn ang="0">
                <a:pos x="connsiteX11348" y="connsiteY11348"/>
              </a:cxn>
              <a:cxn ang="0">
                <a:pos x="connsiteX11349" y="connsiteY11349"/>
              </a:cxn>
              <a:cxn ang="0">
                <a:pos x="connsiteX11350" y="connsiteY11350"/>
              </a:cxn>
              <a:cxn ang="0">
                <a:pos x="connsiteX11351" y="connsiteY11351"/>
              </a:cxn>
              <a:cxn ang="0">
                <a:pos x="connsiteX11352" y="connsiteY11352"/>
              </a:cxn>
              <a:cxn ang="0">
                <a:pos x="connsiteX11353" y="connsiteY11353"/>
              </a:cxn>
              <a:cxn ang="0">
                <a:pos x="connsiteX11354" y="connsiteY11354"/>
              </a:cxn>
              <a:cxn ang="0">
                <a:pos x="connsiteX11355" y="connsiteY11355"/>
              </a:cxn>
              <a:cxn ang="0">
                <a:pos x="connsiteX11356" y="connsiteY11356"/>
              </a:cxn>
              <a:cxn ang="0">
                <a:pos x="connsiteX11357" y="connsiteY11357"/>
              </a:cxn>
              <a:cxn ang="0">
                <a:pos x="connsiteX11358" y="connsiteY11358"/>
              </a:cxn>
              <a:cxn ang="0">
                <a:pos x="connsiteX11359" y="connsiteY11359"/>
              </a:cxn>
              <a:cxn ang="0">
                <a:pos x="connsiteX11360" y="connsiteY11360"/>
              </a:cxn>
              <a:cxn ang="0">
                <a:pos x="connsiteX11361" y="connsiteY11361"/>
              </a:cxn>
              <a:cxn ang="0">
                <a:pos x="connsiteX11362" y="connsiteY11362"/>
              </a:cxn>
              <a:cxn ang="0">
                <a:pos x="connsiteX11363" y="connsiteY11363"/>
              </a:cxn>
              <a:cxn ang="0">
                <a:pos x="connsiteX11364" y="connsiteY11364"/>
              </a:cxn>
              <a:cxn ang="0">
                <a:pos x="connsiteX11365" y="connsiteY11365"/>
              </a:cxn>
              <a:cxn ang="0">
                <a:pos x="connsiteX11366" y="connsiteY11366"/>
              </a:cxn>
              <a:cxn ang="0">
                <a:pos x="connsiteX11367" y="connsiteY11367"/>
              </a:cxn>
              <a:cxn ang="0">
                <a:pos x="connsiteX11368" y="connsiteY11368"/>
              </a:cxn>
              <a:cxn ang="0">
                <a:pos x="connsiteX11369" y="connsiteY11369"/>
              </a:cxn>
              <a:cxn ang="0">
                <a:pos x="connsiteX11370" y="connsiteY11370"/>
              </a:cxn>
              <a:cxn ang="0">
                <a:pos x="connsiteX11371" y="connsiteY11371"/>
              </a:cxn>
              <a:cxn ang="0">
                <a:pos x="connsiteX11372" y="connsiteY11372"/>
              </a:cxn>
              <a:cxn ang="0">
                <a:pos x="connsiteX11373" y="connsiteY11373"/>
              </a:cxn>
              <a:cxn ang="0">
                <a:pos x="connsiteX11374" y="connsiteY11374"/>
              </a:cxn>
              <a:cxn ang="0">
                <a:pos x="connsiteX11375" y="connsiteY11375"/>
              </a:cxn>
              <a:cxn ang="0">
                <a:pos x="connsiteX11376" y="connsiteY11376"/>
              </a:cxn>
              <a:cxn ang="0">
                <a:pos x="connsiteX11377" y="connsiteY11377"/>
              </a:cxn>
              <a:cxn ang="0">
                <a:pos x="connsiteX11378" y="connsiteY11378"/>
              </a:cxn>
              <a:cxn ang="0">
                <a:pos x="connsiteX11379" y="connsiteY11379"/>
              </a:cxn>
              <a:cxn ang="0">
                <a:pos x="connsiteX11380" y="connsiteY11380"/>
              </a:cxn>
              <a:cxn ang="0">
                <a:pos x="connsiteX11381" y="connsiteY11381"/>
              </a:cxn>
              <a:cxn ang="0">
                <a:pos x="connsiteX11382" y="connsiteY11382"/>
              </a:cxn>
              <a:cxn ang="0">
                <a:pos x="connsiteX11383" y="connsiteY11383"/>
              </a:cxn>
              <a:cxn ang="0">
                <a:pos x="connsiteX11384" y="connsiteY11384"/>
              </a:cxn>
              <a:cxn ang="0">
                <a:pos x="connsiteX11385" y="connsiteY11385"/>
              </a:cxn>
              <a:cxn ang="0">
                <a:pos x="connsiteX11386" y="connsiteY11386"/>
              </a:cxn>
              <a:cxn ang="0">
                <a:pos x="connsiteX11387" y="connsiteY11387"/>
              </a:cxn>
              <a:cxn ang="0">
                <a:pos x="connsiteX11388" y="connsiteY11388"/>
              </a:cxn>
              <a:cxn ang="0">
                <a:pos x="connsiteX11389" y="connsiteY11389"/>
              </a:cxn>
              <a:cxn ang="0">
                <a:pos x="connsiteX11390" y="connsiteY11390"/>
              </a:cxn>
              <a:cxn ang="0">
                <a:pos x="connsiteX11391" y="connsiteY11391"/>
              </a:cxn>
              <a:cxn ang="0">
                <a:pos x="connsiteX11392" y="connsiteY11392"/>
              </a:cxn>
              <a:cxn ang="0">
                <a:pos x="connsiteX11393" y="connsiteY11393"/>
              </a:cxn>
              <a:cxn ang="0">
                <a:pos x="connsiteX11394" y="connsiteY11394"/>
              </a:cxn>
              <a:cxn ang="0">
                <a:pos x="connsiteX11395" y="connsiteY11395"/>
              </a:cxn>
              <a:cxn ang="0">
                <a:pos x="connsiteX11396" y="connsiteY11396"/>
              </a:cxn>
              <a:cxn ang="0">
                <a:pos x="connsiteX11397" y="connsiteY11397"/>
              </a:cxn>
              <a:cxn ang="0">
                <a:pos x="connsiteX11398" y="connsiteY11398"/>
              </a:cxn>
              <a:cxn ang="0">
                <a:pos x="connsiteX11399" y="connsiteY11399"/>
              </a:cxn>
              <a:cxn ang="0">
                <a:pos x="connsiteX11400" y="connsiteY11400"/>
              </a:cxn>
              <a:cxn ang="0">
                <a:pos x="connsiteX11401" y="connsiteY11401"/>
              </a:cxn>
              <a:cxn ang="0">
                <a:pos x="connsiteX11402" y="connsiteY11402"/>
              </a:cxn>
              <a:cxn ang="0">
                <a:pos x="connsiteX11403" y="connsiteY11403"/>
              </a:cxn>
              <a:cxn ang="0">
                <a:pos x="connsiteX11404" y="connsiteY11404"/>
              </a:cxn>
              <a:cxn ang="0">
                <a:pos x="connsiteX11405" y="connsiteY11405"/>
              </a:cxn>
              <a:cxn ang="0">
                <a:pos x="connsiteX11406" y="connsiteY11406"/>
              </a:cxn>
              <a:cxn ang="0">
                <a:pos x="connsiteX11407" y="connsiteY11407"/>
              </a:cxn>
              <a:cxn ang="0">
                <a:pos x="connsiteX11408" y="connsiteY11408"/>
              </a:cxn>
              <a:cxn ang="0">
                <a:pos x="connsiteX11409" y="connsiteY11409"/>
              </a:cxn>
              <a:cxn ang="0">
                <a:pos x="connsiteX11410" y="connsiteY11410"/>
              </a:cxn>
              <a:cxn ang="0">
                <a:pos x="connsiteX11411" y="connsiteY11411"/>
              </a:cxn>
              <a:cxn ang="0">
                <a:pos x="connsiteX11412" y="connsiteY11412"/>
              </a:cxn>
              <a:cxn ang="0">
                <a:pos x="connsiteX11413" y="connsiteY11413"/>
              </a:cxn>
              <a:cxn ang="0">
                <a:pos x="connsiteX11414" y="connsiteY11414"/>
              </a:cxn>
              <a:cxn ang="0">
                <a:pos x="connsiteX11415" y="connsiteY11415"/>
              </a:cxn>
              <a:cxn ang="0">
                <a:pos x="connsiteX11416" y="connsiteY11416"/>
              </a:cxn>
              <a:cxn ang="0">
                <a:pos x="connsiteX11417" y="connsiteY11417"/>
              </a:cxn>
              <a:cxn ang="0">
                <a:pos x="connsiteX11418" y="connsiteY11418"/>
              </a:cxn>
              <a:cxn ang="0">
                <a:pos x="connsiteX11419" y="connsiteY11419"/>
              </a:cxn>
              <a:cxn ang="0">
                <a:pos x="connsiteX11420" y="connsiteY11420"/>
              </a:cxn>
              <a:cxn ang="0">
                <a:pos x="connsiteX11421" y="connsiteY11421"/>
              </a:cxn>
              <a:cxn ang="0">
                <a:pos x="connsiteX11422" y="connsiteY11422"/>
              </a:cxn>
              <a:cxn ang="0">
                <a:pos x="connsiteX11423" y="connsiteY11423"/>
              </a:cxn>
              <a:cxn ang="0">
                <a:pos x="connsiteX11424" y="connsiteY11424"/>
              </a:cxn>
              <a:cxn ang="0">
                <a:pos x="connsiteX11425" y="connsiteY11425"/>
              </a:cxn>
              <a:cxn ang="0">
                <a:pos x="connsiteX11426" y="connsiteY11426"/>
              </a:cxn>
              <a:cxn ang="0">
                <a:pos x="connsiteX11427" y="connsiteY11427"/>
              </a:cxn>
              <a:cxn ang="0">
                <a:pos x="connsiteX11428" y="connsiteY11428"/>
              </a:cxn>
              <a:cxn ang="0">
                <a:pos x="connsiteX11429" y="connsiteY11429"/>
              </a:cxn>
              <a:cxn ang="0">
                <a:pos x="connsiteX11430" y="connsiteY11430"/>
              </a:cxn>
              <a:cxn ang="0">
                <a:pos x="connsiteX11431" y="connsiteY11431"/>
              </a:cxn>
              <a:cxn ang="0">
                <a:pos x="connsiteX11432" y="connsiteY11432"/>
              </a:cxn>
              <a:cxn ang="0">
                <a:pos x="connsiteX11433" y="connsiteY11433"/>
              </a:cxn>
              <a:cxn ang="0">
                <a:pos x="connsiteX11434" y="connsiteY11434"/>
              </a:cxn>
              <a:cxn ang="0">
                <a:pos x="connsiteX11435" y="connsiteY11435"/>
              </a:cxn>
              <a:cxn ang="0">
                <a:pos x="connsiteX11436" y="connsiteY11436"/>
              </a:cxn>
              <a:cxn ang="0">
                <a:pos x="connsiteX11437" y="connsiteY11437"/>
              </a:cxn>
              <a:cxn ang="0">
                <a:pos x="connsiteX11438" y="connsiteY11438"/>
              </a:cxn>
              <a:cxn ang="0">
                <a:pos x="connsiteX11439" y="connsiteY11439"/>
              </a:cxn>
              <a:cxn ang="0">
                <a:pos x="connsiteX11440" y="connsiteY11440"/>
              </a:cxn>
              <a:cxn ang="0">
                <a:pos x="connsiteX11441" y="connsiteY11441"/>
              </a:cxn>
              <a:cxn ang="0">
                <a:pos x="connsiteX11442" y="connsiteY11442"/>
              </a:cxn>
              <a:cxn ang="0">
                <a:pos x="connsiteX11443" y="connsiteY11443"/>
              </a:cxn>
              <a:cxn ang="0">
                <a:pos x="connsiteX11444" y="connsiteY11444"/>
              </a:cxn>
              <a:cxn ang="0">
                <a:pos x="connsiteX11445" y="connsiteY11445"/>
              </a:cxn>
              <a:cxn ang="0">
                <a:pos x="connsiteX11446" y="connsiteY11446"/>
              </a:cxn>
              <a:cxn ang="0">
                <a:pos x="connsiteX11447" y="connsiteY11447"/>
              </a:cxn>
              <a:cxn ang="0">
                <a:pos x="connsiteX11448" y="connsiteY11448"/>
              </a:cxn>
              <a:cxn ang="0">
                <a:pos x="connsiteX11449" y="connsiteY11449"/>
              </a:cxn>
              <a:cxn ang="0">
                <a:pos x="connsiteX11450" y="connsiteY11450"/>
              </a:cxn>
              <a:cxn ang="0">
                <a:pos x="connsiteX11451" y="connsiteY11451"/>
              </a:cxn>
              <a:cxn ang="0">
                <a:pos x="connsiteX11452" y="connsiteY11452"/>
              </a:cxn>
              <a:cxn ang="0">
                <a:pos x="connsiteX11453" y="connsiteY11453"/>
              </a:cxn>
              <a:cxn ang="0">
                <a:pos x="connsiteX11454" y="connsiteY11454"/>
              </a:cxn>
              <a:cxn ang="0">
                <a:pos x="connsiteX11455" y="connsiteY11455"/>
              </a:cxn>
              <a:cxn ang="0">
                <a:pos x="connsiteX11456" y="connsiteY11456"/>
              </a:cxn>
              <a:cxn ang="0">
                <a:pos x="connsiteX11457" y="connsiteY11457"/>
              </a:cxn>
              <a:cxn ang="0">
                <a:pos x="connsiteX11458" y="connsiteY11458"/>
              </a:cxn>
              <a:cxn ang="0">
                <a:pos x="connsiteX11459" y="connsiteY11459"/>
              </a:cxn>
              <a:cxn ang="0">
                <a:pos x="connsiteX11460" y="connsiteY11460"/>
              </a:cxn>
              <a:cxn ang="0">
                <a:pos x="connsiteX11461" y="connsiteY11461"/>
              </a:cxn>
              <a:cxn ang="0">
                <a:pos x="connsiteX11462" y="connsiteY11462"/>
              </a:cxn>
              <a:cxn ang="0">
                <a:pos x="connsiteX11463" y="connsiteY11463"/>
              </a:cxn>
              <a:cxn ang="0">
                <a:pos x="connsiteX11464" y="connsiteY11464"/>
              </a:cxn>
              <a:cxn ang="0">
                <a:pos x="connsiteX11465" y="connsiteY11465"/>
              </a:cxn>
              <a:cxn ang="0">
                <a:pos x="connsiteX11466" y="connsiteY11466"/>
              </a:cxn>
              <a:cxn ang="0">
                <a:pos x="connsiteX11467" y="connsiteY11467"/>
              </a:cxn>
              <a:cxn ang="0">
                <a:pos x="connsiteX11468" y="connsiteY11468"/>
              </a:cxn>
              <a:cxn ang="0">
                <a:pos x="connsiteX11469" y="connsiteY11469"/>
              </a:cxn>
              <a:cxn ang="0">
                <a:pos x="connsiteX11470" y="connsiteY11470"/>
              </a:cxn>
              <a:cxn ang="0">
                <a:pos x="connsiteX11471" y="connsiteY11471"/>
              </a:cxn>
              <a:cxn ang="0">
                <a:pos x="connsiteX11472" y="connsiteY11472"/>
              </a:cxn>
              <a:cxn ang="0">
                <a:pos x="connsiteX11473" y="connsiteY11473"/>
              </a:cxn>
              <a:cxn ang="0">
                <a:pos x="connsiteX11474" y="connsiteY11474"/>
              </a:cxn>
              <a:cxn ang="0">
                <a:pos x="connsiteX11475" y="connsiteY11475"/>
              </a:cxn>
              <a:cxn ang="0">
                <a:pos x="connsiteX11476" y="connsiteY11476"/>
              </a:cxn>
              <a:cxn ang="0">
                <a:pos x="connsiteX11477" y="connsiteY11477"/>
              </a:cxn>
              <a:cxn ang="0">
                <a:pos x="connsiteX11478" y="connsiteY11478"/>
              </a:cxn>
              <a:cxn ang="0">
                <a:pos x="connsiteX11479" y="connsiteY11479"/>
              </a:cxn>
              <a:cxn ang="0">
                <a:pos x="connsiteX11480" y="connsiteY11480"/>
              </a:cxn>
              <a:cxn ang="0">
                <a:pos x="connsiteX11481" y="connsiteY11481"/>
              </a:cxn>
              <a:cxn ang="0">
                <a:pos x="connsiteX11482" y="connsiteY11482"/>
              </a:cxn>
              <a:cxn ang="0">
                <a:pos x="connsiteX11483" y="connsiteY11483"/>
              </a:cxn>
              <a:cxn ang="0">
                <a:pos x="connsiteX11484" y="connsiteY11484"/>
              </a:cxn>
              <a:cxn ang="0">
                <a:pos x="connsiteX11485" y="connsiteY11485"/>
              </a:cxn>
              <a:cxn ang="0">
                <a:pos x="connsiteX11486" y="connsiteY11486"/>
              </a:cxn>
              <a:cxn ang="0">
                <a:pos x="connsiteX11487" y="connsiteY11487"/>
              </a:cxn>
              <a:cxn ang="0">
                <a:pos x="connsiteX11488" y="connsiteY11488"/>
              </a:cxn>
              <a:cxn ang="0">
                <a:pos x="connsiteX11489" y="connsiteY11489"/>
              </a:cxn>
              <a:cxn ang="0">
                <a:pos x="connsiteX11490" y="connsiteY11490"/>
              </a:cxn>
              <a:cxn ang="0">
                <a:pos x="connsiteX11491" y="connsiteY11491"/>
              </a:cxn>
              <a:cxn ang="0">
                <a:pos x="connsiteX11492" y="connsiteY11492"/>
              </a:cxn>
              <a:cxn ang="0">
                <a:pos x="connsiteX11493" y="connsiteY11493"/>
              </a:cxn>
              <a:cxn ang="0">
                <a:pos x="connsiteX11494" y="connsiteY11494"/>
              </a:cxn>
              <a:cxn ang="0">
                <a:pos x="connsiteX11495" y="connsiteY11495"/>
              </a:cxn>
              <a:cxn ang="0">
                <a:pos x="connsiteX11496" y="connsiteY11496"/>
              </a:cxn>
              <a:cxn ang="0">
                <a:pos x="connsiteX11497" y="connsiteY11497"/>
              </a:cxn>
              <a:cxn ang="0">
                <a:pos x="connsiteX11498" y="connsiteY11498"/>
              </a:cxn>
              <a:cxn ang="0">
                <a:pos x="connsiteX11499" y="connsiteY11499"/>
              </a:cxn>
              <a:cxn ang="0">
                <a:pos x="connsiteX11500" y="connsiteY11500"/>
              </a:cxn>
              <a:cxn ang="0">
                <a:pos x="connsiteX11501" y="connsiteY11501"/>
              </a:cxn>
              <a:cxn ang="0">
                <a:pos x="connsiteX11502" y="connsiteY11502"/>
              </a:cxn>
              <a:cxn ang="0">
                <a:pos x="connsiteX11503" y="connsiteY11503"/>
              </a:cxn>
              <a:cxn ang="0">
                <a:pos x="connsiteX11504" y="connsiteY11504"/>
              </a:cxn>
              <a:cxn ang="0">
                <a:pos x="connsiteX11505" y="connsiteY11505"/>
              </a:cxn>
              <a:cxn ang="0">
                <a:pos x="connsiteX11506" y="connsiteY11506"/>
              </a:cxn>
              <a:cxn ang="0">
                <a:pos x="connsiteX11507" y="connsiteY11507"/>
              </a:cxn>
              <a:cxn ang="0">
                <a:pos x="connsiteX11508" y="connsiteY11508"/>
              </a:cxn>
              <a:cxn ang="0">
                <a:pos x="connsiteX11509" y="connsiteY11509"/>
              </a:cxn>
              <a:cxn ang="0">
                <a:pos x="connsiteX11510" y="connsiteY11510"/>
              </a:cxn>
              <a:cxn ang="0">
                <a:pos x="connsiteX11511" y="connsiteY11511"/>
              </a:cxn>
              <a:cxn ang="0">
                <a:pos x="connsiteX11512" y="connsiteY11512"/>
              </a:cxn>
              <a:cxn ang="0">
                <a:pos x="connsiteX11513" y="connsiteY11513"/>
              </a:cxn>
              <a:cxn ang="0">
                <a:pos x="connsiteX11514" y="connsiteY11514"/>
              </a:cxn>
              <a:cxn ang="0">
                <a:pos x="connsiteX11515" y="connsiteY11515"/>
              </a:cxn>
              <a:cxn ang="0">
                <a:pos x="connsiteX11516" y="connsiteY11516"/>
              </a:cxn>
              <a:cxn ang="0">
                <a:pos x="connsiteX11517" y="connsiteY11517"/>
              </a:cxn>
              <a:cxn ang="0">
                <a:pos x="connsiteX11518" y="connsiteY11518"/>
              </a:cxn>
              <a:cxn ang="0">
                <a:pos x="connsiteX11519" y="connsiteY11519"/>
              </a:cxn>
              <a:cxn ang="0">
                <a:pos x="connsiteX11520" y="connsiteY11520"/>
              </a:cxn>
              <a:cxn ang="0">
                <a:pos x="connsiteX11521" y="connsiteY11521"/>
              </a:cxn>
              <a:cxn ang="0">
                <a:pos x="connsiteX11522" y="connsiteY11522"/>
              </a:cxn>
              <a:cxn ang="0">
                <a:pos x="connsiteX11523" y="connsiteY11523"/>
              </a:cxn>
              <a:cxn ang="0">
                <a:pos x="connsiteX11524" y="connsiteY11524"/>
              </a:cxn>
              <a:cxn ang="0">
                <a:pos x="connsiteX11525" y="connsiteY11525"/>
              </a:cxn>
              <a:cxn ang="0">
                <a:pos x="connsiteX11526" y="connsiteY11526"/>
              </a:cxn>
              <a:cxn ang="0">
                <a:pos x="connsiteX11527" y="connsiteY11527"/>
              </a:cxn>
              <a:cxn ang="0">
                <a:pos x="connsiteX11528" y="connsiteY11528"/>
              </a:cxn>
              <a:cxn ang="0">
                <a:pos x="connsiteX11529" y="connsiteY11529"/>
              </a:cxn>
              <a:cxn ang="0">
                <a:pos x="connsiteX11530" y="connsiteY11530"/>
              </a:cxn>
              <a:cxn ang="0">
                <a:pos x="connsiteX11531" y="connsiteY11531"/>
              </a:cxn>
              <a:cxn ang="0">
                <a:pos x="connsiteX11532" y="connsiteY11532"/>
              </a:cxn>
              <a:cxn ang="0">
                <a:pos x="connsiteX11533" y="connsiteY11533"/>
              </a:cxn>
              <a:cxn ang="0">
                <a:pos x="connsiteX11534" y="connsiteY11534"/>
              </a:cxn>
              <a:cxn ang="0">
                <a:pos x="connsiteX11535" y="connsiteY11535"/>
              </a:cxn>
              <a:cxn ang="0">
                <a:pos x="connsiteX11536" y="connsiteY11536"/>
              </a:cxn>
              <a:cxn ang="0">
                <a:pos x="connsiteX11537" y="connsiteY11537"/>
              </a:cxn>
              <a:cxn ang="0">
                <a:pos x="connsiteX11538" y="connsiteY11538"/>
              </a:cxn>
              <a:cxn ang="0">
                <a:pos x="connsiteX11539" y="connsiteY11539"/>
              </a:cxn>
              <a:cxn ang="0">
                <a:pos x="connsiteX11540" y="connsiteY11540"/>
              </a:cxn>
              <a:cxn ang="0">
                <a:pos x="connsiteX11541" y="connsiteY11541"/>
              </a:cxn>
              <a:cxn ang="0">
                <a:pos x="connsiteX11542" y="connsiteY11542"/>
              </a:cxn>
              <a:cxn ang="0">
                <a:pos x="connsiteX11543" y="connsiteY11543"/>
              </a:cxn>
              <a:cxn ang="0">
                <a:pos x="connsiteX11544" y="connsiteY11544"/>
              </a:cxn>
              <a:cxn ang="0">
                <a:pos x="connsiteX11545" y="connsiteY11545"/>
              </a:cxn>
              <a:cxn ang="0">
                <a:pos x="connsiteX11546" y="connsiteY11546"/>
              </a:cxn>
              <a:cxn ang="0">
                <a:pos x="connsiteX11547" y="connsiteY11547"/>
              </a:cxn>
              <a:cxn ang="0">
                <a:pos x="connsiteX11548" y="connsiteY11548"/>
              </a:cxn>
              <a:cxn ang="0">
                <a:pos x="connsiteX11549" y="connsiteY11549"/>
              </a:cxn>
              <a:cxn ang="0">
                <a:pos x="connsiteX11550" y="connsiteY11550"/>
              </a:cxn>
              <a:cxn ang="0">
                <a:pos x="connsiteX11551" y="connsiteY11551"/>
              </a:cxn>
              <a:cxn ang="0">
                <a:pos x="connsiteX11552" y="connsiteY11552"/>
              </a:cxn>
              <a:cxn ang="0">
                <a:pos x="connsiteX11553" y="connsiteY11553"/>
              </a:cxn>
              <a:cxn ang="0">
                <a:pos x="connsiteX11554" y="connsiteY11554"/>
              </a:cxn>
              <a:cxn ang="0">
                <a:pos x="connsiteX11555" y="connsiteY11555"/>
              </a:cxn>
              <a:cxn ang="0">
                <a:pos x="connsiteX11556" y="connsiteY11556"/>
              </a:cxn>
              <a:cxn ang="0">
                <a:pos x="connsiteX11557" y="connsiteY11557"/>
              </a:cxn>
              <a:cxn ang="0">
                <a:pos x="connsiteX11558" y="connsiteY11558"/>
              </a:cxn>
              <a:cxn ang="0">
                <a:pos x="connsiteX11559" y="connsiteY11559"/>
              </a:cxn>
              <a:cxn ang="0">
                <a:pos x="connsiteX11560" y="connsiteY11560"/>
              </a:cxn>
              <a:cxn ang="0">
                <a:pos x="connsiteX11561" y="connsiteY11561"/>
              </a:cxn>
              <a:cxn ang="0">
                <a:pos x="connsiteX11562" y="connsiteY11562"/>
              </a:cxn>
              <a:cxn ang="0">
                <a:pos x="connsiteX11563" y="connsiteY11563"/>
              </a:cxn>
              <a:cxn ang="0">
                <a:pos x="connsiteX11564" y="connsiteY11564"/>
              </a:cxn>
              <a:cxn ang="0">
                <a:pos x="connsiteX11565" y="connsiteY11565"/>
              </a:cxn>
              <a:cxn ang="0">
                <a:pos x="connsiteX11566" y="connsiteY11566"/>
              </a:cxn>
              <a:cxn ang="0">
                <a:pos x="connsiteX11567" y="connsiteY11567"/>
              </a:cxn>
              <a:cxn ang="0">
                <a:pos x="connsiteX11568" y="connsiteY11568"/>
              </a:cxn>
              <a:cxn ang="0">
                <a:pos x="connsiteX11569" y="connsiteY11569"/>
              </a:cxn>
              <a:cxn ang="0">
                <a:pos x="connsiteX11570" y="connsiteY11570"/>
              </a:cxn>
              <a:cxn ang="0">
                <a:pos x="connsiteX11571" y="connsiteY11571"/>
              </a:cxn>
              <a:cxn ang="0">
                <a:pos x="connsiteX11572" y="connsiteY11572"/>
              </a:cxn>
              <a:cxn ang="0">
                <a:pos x="connsiteX11573" y="connsiteY11573"/>
              </a:cxn>
              <a:cxn ang="0">
                <a:pos x="connsiteX11574" y="connsiteY11574"/>
              </a:cxn>
              <a:cxn ang="0">
                <a:pos x="connsiteX11575" y="connsiteY11575"/>
              </a:cxn>
              <a:cxn ang="0">
                <a:pos x="connsiteX11576" y="connsiteY11576"/>
              </a:cxn>
              <a:cxn ang="0">
                <a:pos x="connsiteX11577" y="connsiteY11577"/>
              </a:cxn>
              <a:cxn ang="0">
                <a:pos x="connsiteX11578" y="connsiteY11578"/>
              </a:cxn>
              <a:cxn ang="0">
                <a:pos x="connsiteX11579" y="connsiteY11579"/>
              </a:cxn>
              <a:cxn ang="0">
                <a:pos x="connsiteX11580" y="connsiteY11580"/>
              </a:cxn>
              <a:cxn ang="0">
                <a:pos x="connsiteX11581" y="connsiteY11581"/>
              </a:cxn>
              <a:cxn ang="0">
                <a:pos x="connsiteX11582" y="connsiteY11582"/>
              </a:cxn>
              <a:cxn ang="0">
                <a:pos x="connsiteX11583" y="connsiteY11583"/>
              </a:cxn>
              <a:cxn ang="0">
                <a:pos x="connsiteX11584" y="connsiteY11584"/>
              </a:cxn>
              <a:cxn ang="0">
                <a:pos x="connsiteX11585" y="connsiteY11585"/>
              </a:cxn>
              <a:cxn ang="0">
                <a:pos x="connsiteX11586" y="connsiteY11586"/>
              </a:cxn>
              <a:cxn ang="0">
                <a:pos x="connsiteX11587" y="connsiteY11587"/>
              </a:cxn>
              <a:cxn ang="0">
                <a:pos x="connsiteX11588" y="connsiteY11588"/>
              </a:cxn>
              <a:cxn ang="0">
                <a:pos x="connsiteX11589" y="connsiteY11589"/>
              </a:cxn>
              <a:cxn ang="0">
                <a:pos x="connsiteX11590" y="connsiteY11590"/>
              </a:cxn>
              <a:cxn ang="0">
                <a:pos x="connsiteX11591" y="connsiteY11591"/>
              </a:cxn>
              <a:cxn ang="0">
                <a:pos x="connsiteX11592" y="connsiteY11592"/>
              </a:cxn>
              <a:cxn ang="0">
                <a:pos x="connsiteX11593" y="connsiteY11593"/>
              </a:cxn>
              <a:cxn ang="0">
                <a:pos x="connsiteX11594" y="connsiteY11594"/>
              </a:cxn>
              <a:cxn ang="0">
                <a:pos x="connsiteX11595" y="connsiteY11595"/>
              </a:cxn>
              <a:cxn ang="0">
                <a:pos x="connsiteX11596" y="connsiteY11596"/>
              </a:cxn>
              <a:cxn ang="0">
                <a:pos x="connsiteX11597" y="connsiteY11597"/>
              </a:cxn>
              <a:cxn ang="0">
                <a:pos x="connsiteX11598" y="connsiteY11598"/>
              </a:cxn>
              <a:cxn ang="0">
                <a:pos x="connsiteX11599" y="connsiteY11599"/>
              </a:cxn>
              <a:cxn ang="0">
                <a:pos x="connsiteX11600" y="connsiteY11600"/>
              </a:cxn>
              <a:cxn ang="0">
                <a:pos x="connsiteX11601" y="connsiteY11601"/>
              </a:cxn>
              <a:cxn ang="0">
                <a:pos x="connsiteX11602" y="connsiteY11602"/>
              </a:cxn>
              <a:cxn ang="0">
                <a:pos x="connsiteX11603" y="connsiteY11603"/>
              </a:cxn>
              <a:cxn ang="0">
                <a:pos x="connsiteX11604" y="connsiteY11604"/>
              </a:cxn>
              <a:cxn ang="0">
                <a:pos x="connsiteX11605" y="connsiteY11605"/>
              </a:cxn>
              <a:cxn ang="0">
                <a:pos x="connsiteX11606" y="connsiteY11606"/>
              </a:cxn>
              <a:cxn ang="0">
                <a:pos x="connsiteX11607" y="connsiteY11607"/>
              </a:cxn>
              <a:cxn ang="0">
                <a:pos x="connsiteX11608" y="connsiteY11608"/>
              </a:cxn>
              <a:cxn ang="0">
                <a:pos x="connsiteX11609" y="connsiteY11609"/>
              </a:cxn>
              <a:cxn ang="0">
                <a:pos x="connsiteX11610" y="connsiteY11610"/>
              </a:cxn>
              <a:cxn ang="0">
                <a:pos x="connsiteX11611" y="connsiteY11611"/>
              </a:cxn>
              <a:cxn ang="0">
                <a:pos x="connsiteX11612" y="connsiteY11612"/>
              </a:cxn>
              <a:cxn ang="0">
                <a:pos x="connsiteX11613" y="connsiteY11613"/>
              </a:cxn>
              <a:cxn ang="0">
                <a:pos x="connsiteX11614" y="connsiteY11614"/>
              </a:cxn>
              <a:cxn ang="0">
                <a:pos x="connsiteX11615" y="connsiteY11615"/>
              </a:cxn>
              <a:cxn ang="0">
                <a:pos x="connsiteX11616" y="connsiteY11616"/>
              </a:cxn>
              <a:cxn ang="0">
                <a:pos x="connsiteX11617" y="connsiteY11617"/>
              </a:cxn>
              <a:cxn ang="0">
                <a:pos x="connsiteX11618" y="connsiteY11618"/>
              </a:cxn>
              <a:cxn ang="0">
                <a:pos x="connsiteX11619" y="connsiteY11619"/>
              </a:cxn>
              <a:cxn ang="0">
                <a:pos x="connsiteX11620" y="connsiteY11620"/>
              </a:cxn>
              <a:cxn ang="0">
                <a:pos x="connsiteX11621" y="connsiteY11621"/>
              </a:cxn>
              <a:cxn ang="0">
                <a:pos x="connsiteX11622" y="connsiteY11622"/>
              </a:cxn>
              <a:cxn ang="0">
                <a:pos x="connsiteX11623" y="connsiteY11623"/>
              </a:cxn>
              <a:cxn ang="0">
                <a:pos x="connsiteX11624" y="connsiteY11624"/>
              </a:cxn>
              <a:cxn ang="0">
                <a:pos x="connsiteX11625" y="connsiteY11625"/>
              </a:cxn>
              <a:cxn ang="0">
                <a:pos x="connsiteX11626" y="connsiteY11626"/>
              </a:cxn>
              <a:cxn ang="0">
                <a:pos x="connsiteX11627" y="connsiteY11627"/>
              </a:cxn>
              <a:cxn ang="0">
                <a:pos x="connsiteX11628" y="connsiteY11628"/>
              </a:cxn>
              <a:cxn ang="0">
                <a:pos x="connsiteX11629" y="connsiteY11629"/>
              </a:cxn>
              <a:cxn ang="0">
                <a:pos x="connsiteX11630" y="connsiteY11630"/>
              </a:cxn>
              <a:cxn ang="0">
                <a:pos x="connsiteX11631" y="connsiteY11631"/>
              </a:cxn>
              <a:cxn ang="0">
                <a:pos x="connsiteX11632" y="connsiteY11632"/>
              </a:cxn>
              <a:cxn ang="0">
                <a:pos x="connsiteX11633" y="connsiteY11633"/>
              </a:cxn>
              <a:cxn ang="0">
                <a:pos x="connsiteX11634" y="connsiteY11634"/>
              </a:cxn>
              <a:cxn ang="0">
                <a:pos x="connsiteX11635" y="connsiteY11635"/>
              </a:cxn>
              <a:cxn ang="0">
                <a:pos x="connsiteX11636" y="connsiteY11636"/>
              </a:cxn>
              <a:cxn ang="0">
                <a:pos x="connsiteX11637" y="connsiteY11637"/>
              </a:cxn>
              <a:cxn ang="0">
                <a:pos x="connsiteX11638" y="connsiteY11638"/>
              </a:cxn>
              <a:cxn ang="0">
                <a:pos x="connsiteX11639" y="connsiteY11639"/>
              </a:cxn>
              <a:cxn ang="0">
                <a:pos x="connsiteX11640" y="connsiteY11640"/>
              </a:cxn>
              <a:cxn ang="0">
                <a:pos x="connsiteX11641" y="connsiteY11641"/>
              </a:cxn>
              <a:cxn ang="0">
                <a:pos x="connsiteX11642" y="connsiteY11642"/>
              </a:cxn>
              <a:cxn ang="0">
                <a:pos x="connsiteX11643" y="connsiteY11643"/>
              </a:cxn>
              <a:cxn ang="0">
                <a:pos x="connsiteX11644" y="connsiteY11644"/>
              </a:cxn>
              <a:cxn ang="0">
                <a:pos x="connsiteX11645" y="connsiteY11645"/>
              </a:cxn>
              <a:cxn ang="0">
                <a:pos x="connsiteX11646" y="connsiteY11646"/>
              </a:cxn>
              <a:cxn ang="0">
                <a:pos x="connsiteX11647" y="connsiteY11647"/>
              </a:cxn>
              <a:cxn ang="0">
                <a:pos x="connsiteX11648" y="connsiteY11648"/>
              </a:cxn>
              <a:cxn ang="0">
                <a:pos x="connsiteX11649" y="connsiteY11649"/>
              </a:cxn>
              <a:cxn ang="0">
                <a:pos x="connsiteX11650" y="connsiteY11650"/>
              </a:cxn>
              <a:cxn ang="0">
                <a:pos x="connsiteX11651" y="connsiteY11651"/>
              </a:cxn>
              <a:cxn ang="0">
                <a:pos x="connsiteX11652" y="connsiteY11652"/>
              </a:cxn>
              <a:cxn ang="0">
                <a:pos x="connsiteX11653" y="connsiteY11653"/>
              </a:cxn>
              <a:cxn ang="0">
                <a:pos x="connsiteX11654" y="connsiteY11654"/>
              </a:cxn>
              <a:cxn ang="0">
                <a:pos x="connsiteX11655" y="connsiteY11655"/>
              </a:cxn>
              <a:cxn ang="0">
                <a:pos x="connsiteX11656" y="connsiteY11656"/>
              </a:cxn>
              <a:cxn ang="0">
                <a:pos x="connsiteX11657" y="connsiteY11657"/>
              </a:cxn>
              <a:cxn ang="0">
                <a:pos x="connsiteX11658" y="connsiteY11658"/>
              </a:cxn>
              <a:cxn ang="0">
                <a:pos x="connsiteX11659" y="connsiteY11659"/>
              </a:cxn>
              <a:cxn ang="0">
                <a:pos x="connsiteX11660" y="connsiteY11660"/>
              </a:cxn>
              <a:cxn ang="0">
                <a:pos x="connsiteX11661" y="connsiteY11661"/>
              </a:cxn>
              <a:cxn ang="0">
                <a:pos x="connsiteX11662" y="connsiteY11662"/>
              </a:cxn>
              <a:cxn ang="0">
                <a:pos x="connsiteX11663" y="connsiteY11663"/>
              </a:cxn>
              <a:cxn ang="0">
                <a:pos x="connsiteX11664" y="connsiteY11664"/>
              </a:cxn>
              <a:cxn ang="0">
                <a:pos x="connsiteX11665" y="connsiteY11665"/>
              </a:cxn>
              <a:cxn ang="0">
                <a:pos x="connsiteX11666" y="connsiteY11666"/>
              </a:cxn>
              <a:cxn ang="0">
                <a:pos x="connsiteX11667" y="connsiteY11667"/>
              </a:cxn>
              <a:cxn ang="0">
                <a:pos x="connsiteX11668" y="connsiteY11668"/>
              </a:cxn>
              <a:cxn ang="0">
                <a:pos x="connsiteX11669" y="connsiteY11669"/>
              </a:cxn>
              <a:cxn ang="0">
                <a:pos x="connsiteX11670" y="connsiteY11670"/>
              </a:cxn>
              <a:cxn ang="0">
                <a:pos x="connsiteX11671" y="connsiteY11671"/>
              </a:cxn>
              <a:cxn ang="0">
                <a:pos x="connsiteX11672" y="connsiteY11672"/>
              </a:cxn>
              <a:cxn ang="0">
                <a:pos x="connsiteX11673" y="connsiteY11673"/>
              </a:cxn>
              <a:cxn ang="0">
                <a:pos x="connsiteX11674" y="connsiteY11674"/>
              </a:cxn>
              <a:cxn ang="0">
                <a:pos x="connsiteX11675" y="connsiteY11675"/>
              </a:cxn>
              <a:cxn ang="0">
                <a:pos x="connsiteX11676" y="connsiteY11676"/>
              </a:cxn>
              <a:cxn ang="0">
                <a:pos x="connsiteX11677" y="connsiteY11677"/>
              </a:cxn>
              <a:cxn ang="0">
                <a:pos x="connsiteX11678" y="connsiteY11678"/>
              </a:cxn>
              <a:cxn ang="0">
                <a:pos x="connsiteX11679" y="connsiteY11679"/>
              </a:cxn>
              <a:cxn ang="0">
                <a:pos x="connsiteX11680" y="connsiteY11680"/>
              </a:cxn>
              <a:cxn ang="0">
                <a:pos x="connsiteX11681" y="connsiteY11681"/>
              </a:cxn>
              <a:cxn ang="0">
                <a:pos x="connsiteX11682" y="connsiteY11682"/>
              </a:cxn>
              <a:cxn ang="0">
                <a:pos x="connsiteX11683" y="connsiteY11683"/>
              </a:cxn>
              <a:cxn ang="0">
                <a:pos x="connsiteX11684" y="connsiteY11684"/>
              </a:cxn>
              <a:cxn ang="0">
                <a:pos x="connsiteX11685" y="connsiteY11685"/>
              </a:cxn>
              <a:cxn ang="0">
                <a:pos x="connsiteX11686" y="connsiteY11686"/>
              </a:cxn>
              <a:cxn ang="0">
                <a:pos x="connsiteX11687" y="connsiteY11687"/>
              </a:cxn>
              <a:cxn ang="0">
                <a:pos x="connsiteX11688" y="connsiteY11688"/>
              </a:cxn>
              <a:cxn ang="0">
                <a:pos x="connsiteX11689" y="connsiteY11689"/>
              </a:cxn>
              <a:cxn ang="0">
                <a:pos x="connsiteX11690" y="connsiteY11690"/>
              </a:cxn>
              <a:cxn ang="0">
                <a:pos x="connsiteX11691" y="connsiteY11691"/>
              </a:cxn>
              <a:cxn ang="0">
                <a:pos x="connsiteX11692" y="connsiteY11692"/>
              </a:cxn>
              <a:cxn ang="0">
                <a:pos x="connsiteX11693" y="connsiteY11693"/>
              </a:cxn>
              <a:cxn ang="0">
                <a:pos x="connsiteX11694" y="connsiteY11694"/>
              </a:cxn>
              <a:cxn ang="0">
                <a:pos x="connsiteX11695" y="connsiteY11695"/>
              </a:cxn>
              <a:cxn ang="0">
                <a:pos x="connsiteX11696" y="connsiteY11696"/>
              </a:cxn>
              <a:cxn ang="0">
                <a:pos x="connsiteX11697" y="connsiteY11697"/>
              </a:cxn>
              <a:cxn ang="0">
                <a:pos x="connsiteX11698" y="connsiteY11698"/>
              </a:cxn>
              <a:cxn ang="0">
                <a:pos x="connsiteX11699" y="connsiteY11699"/>
              </a:cxn>
              <a:cxn ang="0">
                <a:pos x="connsiteX11700" y="connsiteY11700"/>
              </a:cxn>
              <a:cxn ang="0">
                <a:pos x="connsiteX11701" y="connsiteY11701"/>
              </a:cxn>
              <a:cxn ang="0">
                <a:pos x="connsiteX11702" y="connsiteY11702"/>
              </a:cxn>
              <a:cxn ang="0">
                <a:pos x="connsiteX11703" y="connsiteY11703"/>
              </a:cxn>
              <a:cxn ang="0">
                <a:pos x="connsiteX11704" y="connsiteY11704"/>
              </a:cxn>
              <a:cxn ang="0">
                <a:pos x="connsiteX11705" y="connsiteY11705"/>
              </a:cxn>
              <a:cxn ang="0">
                <a:pos x="connsiteX11706" y="connsiteY11706"/>
              </a:cxn>
              <a:cxn ang="0">
                <a:pos x="connsiteX11707" y="connsiteY11707"/>
              </a:cxn>
              <a:cxn ang="0">
                <a:pos x="connsiteX11708" y="connsiteY11708"/>
              </a:cxn>
              <a:cxn ang="0">
                <a:pos x="connsiteX11709" y="connsiteY11709"/>
              </a:cxn>
              <a:cxn ang="0">
                <a:pos x="connsiteX11710" y="connsiteY11710"/>
              </a:cxn>
              <a:cxn ang="0">
                <a:pos x="connsiteX11711" y="connsiteY11711"/>
              </a:cxn>
              <a:cxn ang="0">
                <a:pos x="connsiteX11712" y="connsiteY11712"/>
              </a:cxn>
              <a:cxn ang="0">
                <a:pos x="connsiteX11713" y="connsiteY11713"/>
              </a:cxn>
              <a:cxn ang="0">
                <a:pos x="connsiteX11714" y="connsiteY11714"/>
              </a:cxn>
              <a:cxn ang="0">
                <a:pos x="connsiteX11715" y="connsiteY11715"/>
              </a:cxn>
              <a:cxn ang="0">
                <a:pos x="connsiteX11716" y="connsiteY11716"/>
              </a:cxn>
              <a:cxn ang="0">
                <a:pos x="connsiteX11717" y="connsiteY11717"/>
              </a:cxn>
              <a:cxn ang="0">
                <a:pos x="connsiteX11718" y="connsiteY11718"/>
              </a:cxn>
              <a:cxn ang="0">
                <a:pos x="connsiteX11719" y="connsiteY11719"/>
              </a:cxn>
              <a:cxn ang="0">
                <a:pos x="connsiteX11720" y="connsiteY11720"/>
              </a:cxn>
              <a:cxn ang="0">
                <a:pos x="connsiteX11721" y="connsiteY11721"/>
              </a:cxn>
              <a:cxn ang="0">
                <a:pos x="connsiteX11722" y="connsiteY11722"/>
              </a:cxn>
              <a:cxn ang="0">
                <a:pos x="connsiteX11723" y="connsiteY11723"/>
              </a:cxn>
              <a:cxn ang="0">
                <a:pos x="connsiteX11724" y="connsiteY11724"/>
              </a:cxn>
              <a:cxn ang="0">
                <a:pos x="connsiteX11725" y="connsiteY11725"/>
              </a:cxn>
              <a:cxn ang="0">
                <a:pos x="connsiteX11726" y="connsiteY11726"/>
              </a:cxn>
              <a:cxn ang="0">
                <a:pos x="connsiteX11727" y="connsiteY11727"/>
              </a:cxn>
              <a:cxn ang="0">
                <a:pos x="connsiteX11728" y="connsiteY11728"/>
              </a:cxn>
              <a:cxn ang="0">
                <a:pos x="connsiteX11729" y="connsiteY11729"/>
              </a:cxn>
              <a:cxn ang="0">
                <a:pos x="connsiteX11730" y="connsiteY11730"/>
              </a:cxn>
              <a:cxn ang="0">
                <a:pos x="connsiteX11731" y="connsiteY11731"/>
              </a:cxn>
              <a:cxn ang="0">
                <a:pos x="connsiteX11732" y="connsiteY11732"/>
              </a:cxn>
              <a:cxn ang="0">
                <a:pos x="connsiteX11733" y="connsiteY11733"/>
              </a:cxn>
              <a:cxn ang="0">
                <a:pos x="connsiteX11734" y="connsiteY11734"/>
              </a:cxn>
              <a:cxn ang="0">
                <a:pos x="connsiteX11735" y="connsiteY11735"/>
              </a:cxn>
              <a:cxn ang="0">
                <a:pos x="connsiteX11736" y="connsiteY11736"/>
              </a:cxn>
              <a:cxn ang="0">
                <a:pos x="connsiteX11737" y="connsiteY11737"/>
              </a:cxn>
              <a:cxn ang="0">
                <a:pos x="connsiteX11738" y="connsiteY11738"/>
              </a:cxn>
              <a:cxn ang="0">
                <a:pos x="connsiteX11739" y="connsiteY11739"/>
              </a:cxn>
              <a:cxn ang="0">
                <a:pos x="connsiteX11740" y="connsiteY11740"/>
              </a:cxn>
              <a:cxn ang="0">
                <a:pos x="connsiteX11741" y="connsiteY11741"/>
              </a:cxn>
              <a:cxn ang="0">
                <a:pos x="connsiteX11742" y="connsiteY11742"/>
              </a:cxn>
              <a:cxn ang="0">
                <a:pos x="connsiteX11743" y="connsiteY11743"/>
              </a:cxn>
              <a:cxn ang="0">
                <a:pos x="connsiteX11744" y="connsiteY11744"/>
              </a:cxn>
              <a:cxn ang="0">
                <a:pos x="connsiteX11745" y="connsiteY11745"/>
              </a:cxn>
              <a:cxn ang="0">
                <a:pos x="connsiteX11746" y="connsiteY11746"/>
              </a:cxn>
              <a:cxn ang="0">
                <a:pos x="connsiteX11747" y="connsiteY11747"/>
              </a:cxn>
              <a:cxn ang="0">
                <a:pos x="connsiteX11748" y="connsiteY11748"/>
              </a:cxn>
              <a:cxn ang="0">
                <a:pos x="connsiteX11749" y="connsiteY11749"/>
              </a:cxn>
              <a:cxn ang="0">
                <a:pos x="connsiteX11750" y="connsiteY11750"/>
              </a:cxn>
              <a:cxn ang="0">
                <a:pos x="connsiteX11751" y="connsiteY11751"/>
              </a:cxn>
              <a:cxn ang="0">
                <a:pos x="connsiteX11752" y="connsiteY11752"/>
              </a:cxn>
              <a:cxn ang="0">
                <a:pos x="connsiteX11753" y="connsiteY11753"/>
              </a:cxn>
              <a:cxn ang="0">
                <a:pos x="connsiteX11754" y="connsiteY11754"/>
              </a:cxn>
              <a:cxn ang="0">
                <a:pos x="connsiteX11755" y="connsiteY11755"/>
              </a:cxn>
              <a:cxn ang="0">
                <a:pos x="connsiteX11756" y="connsiteY11756"/>
              </a:cxn>
              <a:cxn ang="0">
                <a:pos x="connsiteX11757" y="connsiteY11757"/>
              </a:cxn>
              <a:cxn ang="0">
                <a:pos x="connsiteX11758" y="connsiteY11758"/>
              </a:cxn>
              <a:cxn ang="0">
                <a:pos x="connsiteX11759" y="connsiteY11759"/>
              </a:cxn>
              <a:cxn ang="0">
                <a:pos x="connsiteX11760" y="connsiteY11760"/>
              </a:cxn>
              <a:cxn ang="0">
                <a:pos x="connsiteX11761" y="connsiteY11761"/>
              </a:cxn>
              <a:cxn ang="0">
                <a:pos x="connsiteX11762" y="connsiteY11762"/>
              </a:cxn>
              <a:cxn ang="0">
                <a:pos x="connsiteX11763" y="connsiteY11763"/>
              </a:cxn>
              <a:cxn ang="0">
                <a:pos x="connsiteX11764" y="connsiteY11764"/>
              </a:cxn>
              <a:cxn ang="0">
                <a:pos x="connsiteX11765" y="connsiteY11765"/>
              </a:cxn>
              <a:cxn ang="0">
                <a:pos x="connsiteX11766" y="connsiteY11766"/>
              </a:cxn>
              <a:cxn ang="0">
                <a:pos x="connsiteX11767" y="connsiteY11767"/>
              </a:cxn>
              <a:cxn ang="0">
                <a:pos x="connsiteX11768" y="connsiteY11768"/>
              </a:cxn>
              <a:cxn ang="0">
                <a:pos x="connsiteX11769" y="connsiteY11769"/>
              </a:cxn>
              <a:cxn ang="0">
                <a:pos x="connsiteX11770" y="connsiteY11770"/>
              </a:cxn>
              <a:cxn ang="0">
                <a:pos x="connsiteX11771" y="connsiteY11771"/>
              </a:cxn>
              <a:cxn ang="0">
                <a:pos x="connsiteX11772" y="connsiteY11772"/>
              </a:cxn>
              <a:cxn ang="0">
                <a:pos x="connsiteX11773" y="connsiteY11773"/>
              </a:cxn>
              <a:cxn ang="0">
                <a:pos x="connsiteX11774" y="connsiteY11774"/>
              </a:cxn>
              <a:cxn ang="0">
                <a:pos x="connsiteX11775" y="connsiteY11775"/>
              </a:cxn>
              <a:cxn ang="0">
                <a:pos x="connsiteX11776" y="connsiteY11776"/>
              </a:cxn>
              <a:cxn ang="0">
                <a:pos x="connsiteX11777" y="connsiteY11777"/>
              </a:cxn>
              <a:cxn ang="0">
                <a:pos x="connsiteX11778" y="connsiteY11778"/>
              </a:cxn>
              <a:cxn ang="0">
                <a:pos x="connsiteX11779" y="connsiteY11779"/>
              </a:cxn>
              <a:cxn ang="0">
                <a:pos x="connsiteX11780" y="connsiteY11780"/>
              </a:cxn>
              <a:cxn ang="0">
                <a:pos x="connsiteX11781" y="connsiteY11781"/>
              </a:cxn>
              <a:cxn ang="0">
                <a:pos x="connsiteX11782" y="connsiteY11782"/>
              </a:cxn>
              <a:cxn ang="0">
                <a:pos x="connsiteX11783" y="connsiteY11783"/>
              </a:cxn>
              <a:cxn ang="0">
                <a:pos x="connsiteX11784" y="connsiteY11784"/>
              </a:cxn>
              <a:cxn ang="0">
                <a:pos x="connsiteX11785" y="connsiteY11785"/>
              </a:cxn>
              <a:cxn ang="0">
                <a:pos x="connsiteX11786" y="connsiteY11786"/>
              </a:cxn>
              <a:cxn ang="0">
                <a:pos x="connsiteX11787" y="connsiteY11787"/>
              </a:cxn>
              <a:cxn ang="0">
                <a:pos x="connsiteX11788" y="connsiteY11788"/>
              </a:cxn>
              <a:cxn ang="0">
                <a:pos x="connsiteX11789" y="connsiteY11789"/>
              </a:cxn>
              <a:cxn ang="0">
                <a:pos x="connsiteX11790" y="connsiteY11790"/>
              </a:cxn>
              <a:cxn ang="0">
                <a:pos x="connsiteX11791" y="connsiteY11791"/>
              </a:cxn>
              <a:cxn ang="0">
                <a:pos x="connsiteX11792" y="connsiteY11792"/>
              </a:cxn>
              <a:cxn ang="0">
                <a:pos x="connsiteX11793" y="connsiteY11793"/>
              </a:cxn>
              <a:cxn ang="0">
                <a:pos x="connsiteX11794" y="connsiteY11794"/>
              </a:cxn>
              <a:cxn ang="0">
                <a:pos x="connsiteX11795" y="connsiteY11795"/>
              </a:cxn>
              <a:cxn ang="0">
                <a:pos x="connsiteX11796" y="connsiteY11796"/>
              </a:cxn>
              <a:cxn ang="0">
                <a:pos x="connsiteX11797" y="connsiteY11797"/>
              </a:cxn>
              <a:cxn ang="0">
                <a:pos x="connsiteX11798" y="connsiteY11798"/>
              </a:cxn>
              <a:cxn ang="0">
                <a:pos x="connsiteX11799" y="connsiteY11799"/>
              </a:cxn>
              <a:cxn ang="0">
                <a:pos x="connsiteX11800" y="connsiteY11800"/>
              </a:cxn>
              <a:cxn ang="0">
                <a:pos x="connsiteX11801" y="connsiteY11801"/>
              </a:cxn>
              <a:cxn ang="0">
                <a:pos x="connsiteX11802" y="connsiteY11802"/>
              </a:cxn>
              <a:cxn ang="0">
                <a:pos x="connsiteX11803" y="connsiteY11803"/>
              </a:cxn>
              <a:cxn ang="0">
                <a:pos x="connsiteX11804" y="connsiteY11804"/>
              </a:cxn>
              <a:cxn ang="0">
                <a:pos x="connsiteX11805" y="connsiteY11805"/>
              </a:cxn>
              <a:cxn ang="0">
                <a:pos x="connsiteX11806" y="connsiteY11806"/>
              </a:cxn>
              <a:cxn ang="0">
                <a:pos x="connsiteX11807" y="connsiteY11807"/>
              </a:cxn>
              <a:cxn ang="0">
                <a:pos x="connsiteX11808" y="connsiteY11808"/>
              </a:cxn>
              <a:cxn ang="0">
                <a:pos x="connsiteX11809" y="connsiteY11809"/>
              </a:cxn>
              <a:cxn ang="0">
                <a:pos x="connsiteX11810" y="connsiteY11810"/>
              </a:cxn>
              <a:cxn ang="0">
                <a:pos x="connsiteX11811" y="connsiteY11811"/>
              </a:cxn>
              <a:cxn ang="0">
                <a:pos x="connsiteX11812" y="connsiteY11812"/>
              </a:cxn>
              <a:cxn ang="0">
                <a:pos x="connsiteX11813" y="connsiteY11813"/>
              </a:cxn>
              <a:cxn ang="0">
                <a:pos x="connsiteX11814" y="connsiteY11814"/>
              </a:cxn>
              <a:cxn ang="0">
                <a:pos x="connsiteX11815" y="connsiteY11815"/>
              </a:cxn>
              <a:cxn ang="0">
                <a:pos x="connsiteX11816" y="connsiteY11816"/>
              </a:cxn>
              <a:cxn ang="0">
                <a:pos x="connsiteX11817" y="connsiteY11817"/>
              </a:cxn>
              <a:cxn ang="0">
                <a:pos x="connsiteX11818" y="connsiteY11818"/>
              </a:cxn>
              <a:cxn ang="0">
                <a:pos x="connsiteX11819" y="connsiteY11819"/>
              </a:cxn>
              <a:cxn ang="0">
                <a:pos x="connsiteX11820" y="connsiteY11820"/>
              </a:cxn>
              <a:cxn ang="0">
                <a:pos x="connsiteX11821" y="connsiteY11821"/>
              </a:cxn>
              <a:cxn ang="0">
                <a:pos x="connsiteX11822" y="connsiteY11822"/>
              </a:cxn>
              <a:cxn ang="0">
                <a:pos x="connsiteX11823" y="connsiteY11823"/>
              </a:cxn>
              <a:cxn ang="0">
                <a:pos x="connsiteX11824" y="connsiteY11824"/>
              </a:cxn>
              <a:cxn ang="0">
                <a:pos x="connsiteX11825" y="connsiteY11825"/>
              </a:cxn>
              <a:cxn ang="0">
                <a:pos x="connsiteX11826" y="connsiteY11826"/>
              </a:cxn>
              <a:cxn ang="0">
                <a:pos x="connsiteX11827" y="connsiteY11827"/>
              </a:cxn>
              <a:cxn ang="0">
                <a:pos x="connsiteX11828" y="connsiteY11828"/>
              </a:cxn>
              <a:cxn ang="0">
                <a:pos x="connsiteX11829" y="connsiteY11829"/>
              </a:cxn>
              <a:cxn ang="0">
                <a:pos x="connsiteX11830" y="connsiteY11830"/>
              </a:cxn>
              <a:cxn ang="0">
                <a:pos x="connsiteX11831" y="connsiteY11831"/>
              </a:cxn>
              <a:cxn ang="0">
                <a:pos x="connsiteX11832" y="connsiteY11832"/>
              </a:cxn>
              <a:cxn ang="0">
                <a:pos x="connsiteX11833" y="connsiteY11833"/>
              </a:cxn>
              <a:cxn ang="0">
                <a:pos x="connsiteX11834" y="connsiteY11834"/>
              </a:cxn>
              <a:cxn ang="0">
                <a:pos x="connsiteX11835" y="connsiteY11835"/>
              </a:cxn>
              <a:cxn ang="0">
                <a:pos x="connsiteX11836" y="connsiteY11836"/>
              </a:cxn>
              <a:cxn ang="0">
                <a:pos x="connsiteX11837" y="connsiteY11837"/>
              </a:cxn>
              <a:cxn ang="0">
                <a:pos x="connsiteX11838" y="connsiteY11838"/>
              </a:cxn>
              <a:cxn ang="0">
                <a:pos x="connsiteX11839" y="connsiteY11839"/>
              </a:cxn>
              <a:cxn ang="0">
                <a:pos x="connsiteX11840" y="connsiteY11840"/>
              </a:cxn>
              <a:cxn ang="0">
                <a:pos x="connsiteX11841" y="connsiteY11841"/>
              </a:cxn>
              <a:cxn ang="0">
                <a:pos x="connsiteX11842" y="connsiteY11842"/>
              </a:cxn>
              <a:cxn ang="0">
                <a:pos x="connsiteX11843" y="connsiteY11843"/>
              </a:cxn>
              <a:cxn ang="0">
                <a:pos x="connsiteX11844" y="connsiteY11844"/>
              </a:cxn>
              <a:cxn ang="0">
                <a:pos x="connsiteX11845" y="connsiteY11845"/>
              </a:cxn>
              <a:cxn ang="0">
                <a:pos x="connsiteX11846" y="connsiteY11846"/>
              </a:cxn>
              <a:cxn ang="0">
                <a:pos x="connsiteX11847" y="connsiteY11847"/>
              </a:cxn>
              <a:cxn ang="0">
                <a:pos x="connsiteX11848" y="connsiteY11848"/>
              </a:cxn>
              <a:cxn ang="0">
                <a:pos x="connsiteX11849" y="connsiteY11849"/>
              </a:cxn>
              <a:cxn ang="0">
                <a:pos x="connsiteX11850" y="connsiteY11850"/>
              </a:cxn>
              <a:cxn ang="0">
                <a:pos x="connsiteX11851" y="connsiteY11851"/>
              </a:cxn>
              <a:cxn ang="0">
                <a:pos x="connsiteX11852" y="connsiteY11852"/>
              </a:cxn>
              <a:cxn ang="0">
                <a:pos x="connsiteX11853" y="connsiteY11853"/>
              </a:cxn>
              <a:cxn ang="0">
                <a:pos x="connsiteX11854" y="connsiteY11854"/>
              </a:cxn>
              <a:cxn ang="0">
                <a:pos x="connsiteX11855" y="connsiteY11855"/>
              </a:cxn>
              <a:cxn ang="0">
                <a:pos x="connsiteX11856" y="connsiteY11856"/>
              </a:cxn>
              <a:cxn ang="0">
                <a:pos x="connsiteX11857" y="connsiteY11857"/>
              </a:cxn>
              <a:cxn ang="0">
                <a:pos x="connsiteX11858" y="connsiteY11858"/>
              </a:cxn>
              <a:cxn ang="0">
                <a:pos x="connsiteX11859" y="connsiteY11859"/>
              </a:cxn>
              <a:cxn ang="0">
                <a:pos x="connsiteX11860" y="connsiteY11860"/>
              </a:cxn>
              <a:cxn ang="0">
                <a:pos x="connsiteX11861" y="connsiteY11861"/>
              </a:cxn>
              <a:cxn ang="0">
                <a:pos x="connsiteX11862" y="connsiteY11862"/>
              </a:cxn>
              <a:cxn ang="0">
                <a:pos x="connsiteX11863" y="connsiteY11863"/>
              </a:cxn>
              <a:cxn ang="0">
                <a:pos x="connsiteX11864" y="connsiteY11864"/>
              </a:cxn>
              <a:cxn ang="0">
                <a:pos x="connsiteX11865" y="connsiteY11865"/>
              </a:cxn>
              <a:cxn ang="0">
                <a:pos x="connsiteX11866" y="connsiteY11866"/>
              </a:cxn>
              <a:cxn ang="0">
                <a:pos x="connsiteX11867" y="connsiteY11867"/>
              </a:cxn>
              <a:cxn ang="0">
                <a:pos x="connsiteX11868" y="connsiteY11868"/>
              </a:cxn>
              <a:cxn ang="0">
                <a:pos x="connsiteX11869" y="connsiteY11869"/>
              </a:cxn>
              <a:cxn ang="0">
                <a:pos x="connsiteX11870" y="connsiteY11870"/>
              </a:cxn>
              <a:cxn ang="0">
                <a:pos x="connsiteX11871" y="connsiteY11871"/>
              </a:cxn>
              <a:cxn ang="0">
                <a:pos x="connsiteX11872" y="connsiteY11872"/>
              </a:cxn>
              <a:cxn ang="0">
                <a:pos x="connsiteX11873" y="connsiteY11873"/>
              </a:cxn>
              <a:cxn ang="0">
                <a:pos x="connsiteX11874" y="connsiteY11874"/>
              </a:cxn>
              <a:cxn ang="0">
                <a:pos x="connsiteX11875" y="connsiteY11875"/>
              </a:cxn>
              <a:cxn ang="0">
                <a:pos x="connsiteX11876" y="connsiteY11876"/>
              </a:cxn>
              <a:cxn ang="0">
                <a:pos x="connsiteX11877" y="connsiteY11877"/>
              </a:cxn>
              <a:cxn ang="0">
                <a:pos x="connsiteX11878" y="connsiteY11878"/>
              </a:cxn>
              <a:cxn ang="0">
                <a:pos x="connsiteX11879" y="connsiteY11879"/>
              </a:cxn>
              <a:cxn ang="0">
                <a:pos x="connsiteX11880" y="connsiteY11880"/>
              </a:cxn>
              <a:cxn ang="0">
                <a:pos x="connsiteX11881" y="connsiteY11881"/>
              </a:cxn>
              <a:cxn ang="0">
                <a:pos x="connsiteX11882" y="connsiteY11882"/>
              </a:cxn>
              <a:cxn ang="0">
                <a:pos x="connsiteX11883" y="connsiteY11883"/>
              </a:cxn>
              <a:cxn ang="0">
                <a:pos x="connsiteX11884" y="connsiteY11884"/>
              </a:cxn>
              <a:cxn ang="0">
                <a:pos x="connsiteX11885" y="connsiteY11885"/>
              </a:cxn>
              <a:cxn ang="0">
                <a:pos x="connsiteX11886" y="connsiteY11886"/>
              </a:cxn>
              <a:cxn ang="0">
                <a:pos x="connsiteX11887" y="connsiteY11887"/>
              </a:cxn>
              <a:cxn ang="0">
                <a:pos x="connsiteX11888" y="connsiteY11888"/>
              </a:cxn>
              <a:cxn ang="0">
                <a:pos x="connsiteX11889" y="connsiteY11889"/>
              </a:cxn>
              <a:cxn ang="0">
                <a:pos x="connsiteX11890" y="connsiteY11890"/>
              </a:cxn>
              <a:cxn ang="0">
                <a:pos x="connsiteX11891" y="connsiteY11891"/>
              </a:cxn>
              <a:cxn ang="0">
                <a:pos x="connsiteX11892" y="connsiteY11892"/>
              </a:cxn>
              <a:cxn ang="0">
                <a:pos x="connsiteX11893" y="connsiteY11893"/>
              </a:cxn>
              <a:cxn ang="0">
                <a:pos x="connsiteX11894" y="connsiteY11894"/>
              </a:cxn>
              <a:cxn ang="0">
                <a:pos x="connsiteX11895" y="connsiteY11895"/>
              </a:cxn>
              <a:cxn ang="0">
                <a:pos x="connsiteX11896" y="connsiteY11896"/>
              </a:cxn>
              <a:cxn ang="0">
                <a:pos x="connsiteX11897" y="connsiteY11897"/>
              </a:cxn>
              <a:cxn ang="0">
                <a:pos x="connsiteX11898" y="connsiteY11898"/>
              </a:cxn>
              <a:cxn ang="0">
                <a:pos x="connsiteX11899" y="connsiteY11899"/>
              </a:cxn>
              <a:cxn ang="0">
                <a:pos x="connsiteX11900" y="connsiteY11900"/>
              </a:cxn>
              <a:cxn ang="0">
                <a:pos x="connsiteX11901" y="connsiteY11901"/>
              </a:cxn>
              <a:cxn ang="0">
                <a:pos x="connsiteX11902" y="connsiteY11902"/>
              </a:cxn>
              <a:cxn ang="0">
                <a:pos x="connsiteX11903" y="connsiteY11903"/>
              </a:cxn>
              <a:cxn ang="0">
                <a:pos x="connsiteX11904" y="connsiteY11904"/>
              </a:cxn>
              <a:cxn ang="0">
                <a:pos x="connsiteX11905" y="connsiteY11905"/>
              </a:cxn>
              <a:cxn ang="0">
                <a:pos x="connsiteX11906" y="connsiteY11906"/>
              </a:cxn>
              <a:cxn ang="0">
                <a:pos x="connsiteX11907" y="connsiteY11907"/>
              </a:cxn>
              <a:cxn ang="0">
                <a:pos x="connsiteX11908" y="connsiteY11908"/>
              </a:cxn>
              <a:cxn ang="0">
                <a:pos x="connsiteX11909" y="connsiteY11909"/>
              </a:cxn>
              <a:cxn ang="0">
                <a:pos x="connsiteX11910" y="connsiteY11910"/>
              </a:cxn>
              <a:cxn ang="0">
                <a:pos x="connsiteX11911" y="connsiteY11911"/>
              </a:cxn>
              <a:cxn ang="0">
                <a:pos x="connsiteX11912" y="connsiteY11912"/>
              </a:cxn>
              <a:cxn ang="0">
                <a:pos x="connsiteX11913" y="connsiteY11913"/>
              </a:cxn>
              <a:cxn ang="0">
                <a:pos x="connsiteX11914" y="connsiteY11914"/>
              </a:cxn>
              <a:cxn ang="0">
                <a:pos x="connsiteX11915" y="connsiteY11915"/>
              </a:cxn>
              <a:cxn ang="0">
                <a:pos x="connsiteX11916" y="connsiteY11916"/>
              </a:cxn>
              <a:cxn ang="0">
                <a:pos x="connsiteX11917" y="connsiteY11917"/>
              </a:cxn>
              <a:cxn ang="0">
                <a:pos x="connsiteX11918" y="connsiteY11918"/>
              </a:cxn>
              <a:cxn ang="0">
                <a:pos x="connsiteX11919" y="connsiteY11919"/>
              </a:cxn>
              <a:cxn ang="0">
                <a:pos x="connsiteX11920" y="connsiteY11920"/>
              </a:cxn>
              <a:cxn ang="0">
                <a:pos x="connsiteX11921" y="connsiteY11921"/>
              </a:cxn>
              <a:cxn ang="0">
                <a:pos x="connsiteX11922" y="connsiteY11922"/>
              </a:cxn>
              <a:cxn ang="0">
                <a:pos x="connsiteX11923" y="connsiteY11923"/>
              </a:cxn>
              <a:cxn ang="0">
                <a:pos x="connsiteX11924" y="connsiteY11924"/>
              </a:cxn>
              <a:cxn ang="0">
                <a:pos x="connsiteX11925" y="connsiteY11925"/>
              </a:cxn>
              <a:cxn ang="0">
                <a:pos x="connsiteX11926" y="connsiteY11926"/>
              </a:cxn>
              <a:cxn ang="0">
                <a:pos x="connsiteX11927" y="connsiteY11927"/>
              </a:cxn>
              <a:cxn ang="0">
                <a:pos x="connsiteX11928" y="connsiteY11928"/>
              </a:cxn>
              <a:cxn ang="0">
                <a:pos x="connsiteX11929" y="connsiteY11929"/>
              </a:cxn>
              <a:cxn ang="0">
                <a:pos x="connsiteX11930" y="connsiteY11930"/>
              </a:cxn>
              <a:cxn ang="0">
                <a:pos x="connsiteX11931" y="connsiteY11931"/>
              </a:cxn>
              <a:cxn ang="0">
                <a:pos x="connsiteX11932" y="connsiteY11932"/>
              </a:cxn>
              <a:cxn ang="0">
                <a:pos x="connsiteX11933" y="connsiteY11933"/>
              </a:cxn>
              <a:cxn ang="0">
                <a:pos x="connsiteX11934" y="connsiteY11934"/>
              </a:cxn>
              <a:cxn ang="0">
                <a:pos x="connsiteX11935" y="connsiteY11935"/>
              </a:cxn>
              <a:cxn ang="0">
                <a:pos x="connsiteX11936" y="connsiteY11936"/>
              </a:cxn>
              <a:cxn ang="0">
                <a:pos x="connsiteX11937" y="connsiteY11937"/>
              </a:cxn>
              <a:cxn ang="0">
                <a:pos x="connsiteX11938" y="connsiteY11938"/>
              </a:cxn>
              <a:cxn ang="0">
                <a:pos x="connsiteX11939" y="connsiteY11939"/>
              </a:cxn>
              <a:cxn ang="0">
                <a:pos x="connsiteX11940" y="connsiteY11940"/>
              </a:cxn>
              <a:cxn ang="0">
                <a:pos x="connsiteX11941" y="connsiteY11941"/>
              </a:cxn>
              <a:cxn ang="0">
                <a:pos x="connsiteX11942" y="connsiteY11942"/>
              </a:cxn>
              <a:cxn ang="0">
                <a:pos x="connsiteX11943" y="connsiteY11943"/>
              </a:cxn>
              <a:cxn ang="0">
                <a:pos x="connsiteX11944" y="connsiteY11944"/>
              </a:cxn>
              <a:cxn ang="0">
                <a:pos x="connsiteX11945" y="connsiteY11945"/>
              </a:cxn>
              <a:cxn ang="0">
                <a:pos x="connsiteX11946" y="connsiteY11946"/>
              </a:cxn>
              <a:cxn ang="0">
                <a:pos x="connsiteX11947" y="connsiteY11947"/>
              </a:cxn>
              <a:cxn ang="0">
                <a:pos x="connsiteX11948" y="connsiteY11948"/>
              </a:cxn>
              <a:cxn ang="0">
                <a:pos x="connsiteX11949" y="connsiteY11949"/>
              </a:cxn>
              <a:cxn ang="0">
                <a:pos x="connsiteX11950" y="connsiteY11950"/>
              </a:cxn>
              <a:cxn ang="0">
                <a:pos x="connsiteX11951" y="connsiteY11951"/>
              </a:cxn>
              <a:cxn ang="0">
                <a:pos x="connsiteX11952" y="connsiteY11952"/>
              </a:cxn>
              <a:cxn ang="0">
                <a:pos x="connsiteX11953" y="connsiteY11953"/>
              </a:cxn>
              <a:cxn ang="0">
                <a:pos x="connsiteX11954" y="connsiteY11954"/>
              </a:cxn>
              <a:cxn ang="0">
                <a:pos x="connsiteX11955" y="connsiteY11955"/>
              </a:cxn>
              <a:cxn ang="0">
                <a:pos x="connsiteX11956" y="connsiteY11956"/>
              </a:cxn>
              <a:cxn ang="0">
                <a:pos x="connsiteX11957" y="connsiteY11957"/>
              </a:cxn>
              <a:cxn ang="0">
                <a:pos x="connsiteX11958" y="connsiteY11958"/>
              </a:cxn>
              <a:cxn ang="0">
                <a:pos x="connsiteX11959" y="connsiteY11959"/>
              </a:cxn>
              <a:cxn ang="0">
                <a:pos x="connsiteX11960" y="connsiteY11960"/>
              </a:cxn>
              <a:cxn ang="0">
                <a:pos x="connsiteX11961" y="connsiteY11961"/>
              </a:cxn>
              <a:cxn ang="0">
                <a:pos x="connsiteX11962" y="connsiteY11962"/>
              </a:cxn>
              <a:cxn ang="0">
                <a:pos x="connsiteX11963" y="connsiteY11963"/>
              </a:cxn>
              <a:cxn ang="0">
                <a:pos x="connsiteX11964" y="connsiteY11964"/>
              </a:cxn>
              <a:cxn ang="0">
                <a:pos x="connsiteX11965" y="connsiteY11965"/>
              </a:cxn>
              <a:cxn ang="0">
                <a:pos x="connsiteX11966" y="connsiteY11966"/>
              </a:cxn>
              <a:cxn ang="0">
                <a:pos x="connsiteX11967" y="connsiteY11967"/>
              </a:cxn>
              <a:cxn ang="0">
                <a:pos x="connsiteX11968" y="connsiteY11968"/>
              </a:cxn>
              <a:cxn ang="0">
                <a:pos x="connsiteX11969" y="connsiteY11969"/>
              </a:cxn>
              <a:cxn ang="0">
                <a:pos x="connsiteX11970" y="connsiteY11970"/>
              </a:cxn>
              <a:cxn ang="0">
                <a:pos x="connsiteX11971" y="connsiteY11971"/>
              </a:cxn>
              <a:cxn ang="0">
                <a:pos x="connsiteX11972" y="connsiteY11972"/>
              </a:cxn>
              <a:cxn ang="0">
                <a:pos x="connsiteX11973" y="connsiteY11973"/>
              </a:cxn>
              <a:cxn ang="0">
                <a:pos x="connsiteX11974" y="connsiteY11974"/>
              </a:cxn>
              <a:cxn ang="0">
                <a:pos x="connsiteX11975" y="connsiteY11975"/>
              </a:cxn>
              <a:cxn ang="0">
                <a:pos x="connsiteX11976" y="connsiteY11976"/>
              </a:cxn>
              <a:cxn ang="0">
                <a:pos x="connsiteX11977" y="connsiteY11977"/>
              </a:cxn>
              <a:cxn ang="0">
                <a:pos x="connsiteX11978" y="connsiteY11978"/>
              </a:cxn>
              <a:cxn ang="0">
                <a:pos x="connsiteX11979" y="connsiteY11979"/>
              </a:cxn>
              <a:cxn ang="0">
                <a:pos x="connsiteX11980" y="connsiteY11980"/>
              </a:cxn>
              <a:cxn ang="0">
                <a:pos x="connsiteX11981" y="connsiteY11981"/>
              </a:cxn>
              <a:cxn ang="0">
                <a:pos x="connsiteX11982" y="connsiteY11982"/>
              </a:cxn>
              <a:cxn ang="0">
                <a:pos x="connsiteX11983" y="connsiteY11983"/>
              </a:cxn>
              <a:cxn ang="0">
                <a:pos x="connsiteX11984" y="connsiteY11984"/>
              </a:cxn>
              <a:cxn ang="0">
                <a:pos x="connsiteX11985" y="connsiteY11985"/>
              </a:cxn>
              <a:cxn ang="0">
                <a:pos x="connsiteX11986" y="connsiteY11986"/>
              </a:cxn>
              <a:cxn ang="0">
                <a:pos x="connsiteX11987" y="connsiteY11987"/>
              </a:cxn>
              <a:cxn ang="0">
                <a:pos x="connsiteX11988" y="connsiteY11988"/>
              </a:cxn>
              <a:cxn ang="0">
                <a:pos x="connsiteX11989" y="connsiteY11989"/>
              </a:cxn>
              <a:cxn ang="0">
                <a:pos x="connsiteX11990" y="connsiteY11990"/>
              </a:cxn>
              <a:cxn ang="0">
                <a:pos x="connsiteX11991" y="connsiteY11991"/>
              </a:cxn>
              <a:cxn ang="0">
                <a:pos x="connsiteX11992" y="connsiteY11992"/>
              </a:cxn>
              <a:cxn ang="0">
                <a:pos x="connsiteX11993" y="connsiteY11993"/>
              </a:cxn>
              <a:cxn ang="0">
                <a:pos x="connsiteX11994" y="connsiteY11994"/>
              </a:cxn>
              <a:cxn ang="0">
                <a:pos x="connsiteX11995" y="connsiteY11995"/>
              </a:cxn>
              <a:cxn ang="0">
                <a:pos x="connsiteX11996" y="connsiteY11996"/>
              </a:cxn>
              <a:cxn ang="0">
                <a:pos x="connsiteX11997" y="connsiteY11997"/>
              </a:cxn>
              <a:cxn ang="0">
                <a:pos x="connsiteX11998" y="connsiteY11998"/>
              </a:cxn>
              <a:cxn ang="0">
                <a:pos x="connsiteX11999" y="connsiteY11999"/>
              </a:cxn>
              <a:cxn ang="0">
                <a:pos x="connsiteX12000" y="connsiteY12000"/>
              </a:cxn>
              <a:cxn ang="0">
                <a:pos x="connsiteX12001" y="connsiteY12001"/>
              </a:cxn>
              <a:cxn ang="0">
                <a:pos x="connsiteX12002" y="connsiteY12002"/>
              </a:cxn>
              <a:cxn ang="0">
                <a:pos x="connsiteX12003" y="connsiteY12003"/>
              </a:cxn>
              <a:cxn ang="0">
                <a:pos x="connsiteX12004" y="connsiteY12004"/>
              </a:cxn>
              <a:cxn ang="0">
                <a:pos x="connsiteX12005" y="connsiteY12005"/>
              </a:cxn>
              <a:cxn ang="0">
                <a:pos x="connsiteX12006" y="connsiteY12006"/>
              </a:cxn>
              <a:cxn ang="0">
                <a:pos x="connsiteX12007" y="connsiteY12007"/>
              </a:cxn>
              <a:cxn ang="0">
                <a:pos x="connsiteX12008" y="connsiteY12008"/>
              </a:cxn>
              <a:cxn ang="0">
                <a:pos x="connsiteX12009" y="connsiteY12009"/>
              </a:cxn>
              <a:cxn ang="0">
                <a:pos x="connsiteX12010" y="connsiteY12010"/>
              </a:cxn>
              <a:cxn ang="0">
                <a:pos x="connsiteX12011" y="connsiteY12011"/>
              </a:cxn>
              <a:cxn ang="0">
                <a:pos x="connsiteX12012" y="connsiteY12012"/>
              </a:cxn>
              <a:cxn ang="0">
                <a:pos x="connsiteX12013" y="connsiteY12013"/>
              </a:cxn>
              <a:cxn ang="0">
                <a:pos x="connsiteX12014" y="connsiteY12014"/>
              </a:cxn>
              <a:cxn ang="0">
                <a:pos x="connsiteX12015" y="connsiteY12015"/>
              </a:cxn>
              <a:cxn ang="0">
                <a:pos x="connsiteX12016" y="connsiteY12016"/>
              </a:cxn>
              <a:cxn ang="0">
                <a:pos x="connsiteX12017" y="connsiteY12017"/>
              </a:cxn>
              <a:cxn ang="0">
                <a:pos x="connsiteX12018" y="connsiteY12018"/>
              </a:cxn>
              <a:cxn ang="0">
                <a:pos x="connsiteX12019" y="connsiteY12019"/>
              </a:cxn>
              <a:cxn ang="0">
                <a:pos x="connsiteX12020" y="connsiteY12020"/>
              </a:cxn>
              <a:cxn ang="0">
                <a:pos x="connsiteX12021" y="connsiteY12021"/>
              </a:cxn>
              <a:cxn ang="0">
                <a:pos x="connsiteX12022" y="connsiteY12022"/>
              </a:cxn>
              <a:cxn ang="0">
                <a:pos x="connsiteX12023" y="connsiteY12023"/>
              </a:cxn>
              <a:cxn ang="0">
                <a:pos x="connsiteX12024" y="connsiteY12024"/>
              </a:cxn>
              <a:cxn ang="0">
                <a:pos x="connsiteX12025" y="connsiteY12025"/>
              </a:cxn>
              <a:cxn ang="0">
                <a:pos x="connsiteX12026" y="connsiteY12026"/>
              </a:cxn>
              <a:cxn ang="0">
                <a:pos x="connsiteX12027" y="connsiteY12027"/>
              </a:cxn>
              <a:cxn ang="0">
                <a:pos x="connsiteX12028" y="connsiteY12028"/>
              </a:cxn>
              <a:cxn ang="0">
                <a:pos x="connsiteX12029" y="connsiteY12029"/>
              </a:cxn>
              <a:cxn ang="0">
                <a:pos x="connsiteX12030" y="connsiteY12030"/>
              </a:cxn>
              <a:cxn ang="0">
                <a:pos x="connsiteX12031" y="connsiteY12031"/>
              </a:cxn>
              <a:cxn ang="0">
                <a:pos x="connsiteX12032" y="connsiteY12032"/>
              </a:cxn>
              <a:cxn ang="0">
                <a:pos x="connsiteX12033" y="connsiteY12033"/>
              </a:cxn>
              <a:cxn ang="0">
                <a:pos x="connsiteX12034" y="connsiteY12034"/>
              </a:cxn>
              <a:cxn ang="0">
                <a:pos x="connsiteX12035" y="connsiteY12035"/>
              </a:cxn>
              <a:cxn ang="0">
                <a:pos x="connsiteX12036" y="connsiteY12036"/>
              </a:cxn>
              <a:cxn ang="0">
                <a:pos x="connsiteX12037" y="connsiteY12037"/>
              </a:cxn>
              <a:cxn ang="0">
                <a:pos x="connsiteX12038" y="connsiteY12038"/>
              </a:cxn>
              <a:cxn ang="0">
                <a:pos x="connsiteX12039" y="connsiteY12039"/>
              </a:cxn>
              <a:cxn ang="0">
                <a:pos x="connsiteX12040" y="connsiteY12040"/>
              </a:cxn>
              <a:cxn ang="0">
                <a:pos x="connsiteX12041" y="connsiteY12041"/>
              </a:cxn>
              <a:cxn ang="0">
                <a:pos x="connsiteX12042" y="connsiteY12042"/>
              </a:cxn>
              <a:cxn ang="0">
                <a:pos x="connsiteX12043" y="connsiteY12043"/>
              </a:cxn>
              <a:cxn ang="0">
                <a:pos x="connsiteX12044" y="connsiteY12044"/>
              </a:cxn>
              <a:cxn ang="0">
                <a:pos x="connsiteX12045" y="connsiteY12045"/>
              </a:cxn>
              <a:cxn ang="0">
                <a:pos x="connsiteX12046" y="connsiteY12046"/>
              </a:cxn>
              <a:cxn ang="0">
                <a:pos x="connsiteX12047" y="connsiteY12047"/>
              </a:cxn>
              <a:cxn ang="0">
                <a:pos x="connsiteX12048" y="connsiteY12048"/>
              </a:cxn>
              <a:cxn ang="0">
                <a:pos x="connsiteX12049" y="connsiteY12049"/>
              </a:cxn>
              <a:cxn ang="0">
                <a:pos x="connsiteX12050" y="connsiteY12050"/>
              </a:cxn>
              <a:cxn ang="0">
                <a:pos x="connsiteX12051" y="connsiteY12051"/>
              </a:cxn>
              <a:cxn ang="0">
                <a:pos x="connsiteX12052" y="connsiteY12052"/>
              </a:cxn>
              <a:cxn ang="0">
                <a:pos x="connsiteX12053" y="connsiteY12053"/>
              </a:cxn>
              <a:cxn ang="0">
                <a:pos x="connsiteX12054" y="connsiteY12054"/>
              </a:cxn>
              <a:cxn ang="0">
                <a:pos x="connsiteX12055" y="connsiteY12055"/>
              </a:cxn>
              <a:cxn ang="0">
                <a:pos x="connsiteX12056" y="connsiteY12056"/>
              </a:cxn>
              <a:cxn ang="0">
                <a:pos x="connsiteX12057" y="connsiteY12057"/>
              </a:cxn>
              <a:cxn ang="0">
                <a:pos x="connsiteX12058" y="connsiteY12058"/>
              </a:cxn>
              <a:cxn ang="0">
                <a:pos x="connsiteX12059" y="connsiteY12059"/>
              </a:cxn>
              <a:cxn ang="0">
                <a:pos x="connsiteX12060" y="connsiteY12060"/>
              </a:cxn>
              <a:cxn ang="0">
                <a:pos x="connsiteX12061" y="connsiteY12061"/>
              </a:cxn>
              <a:cxn ang="0">
                <a:pos x="connsiteX12062" y="connsiteY12062"/>
              </a:cxn>
              <a:cxn ang="0">
                <a:pos x="connsiteX12063" y="connsiteY12063"/>
              </a:cxn>
              <a:cxn ang="0">
                <a:pos x="connsiteX12064" y="connsiteY12064"/>
              </a:cxn>
              <a:cxn ang="0">
                <a:pos x="connsiteX12065" y="connsiteY12065"/>
              </a:cxn>
              <a:cxn ang="0">
                <a:pos x="connsiteX12066" y="connsiteY12066"/>
              </a:cxn>
              <a:cxn ang="0">
                <a:pos x="connsiteX12067" y="connsiteY12067"/>
              </a:cxn>
              <a:cxn ang="0">
                <a:pos x="connsiteX12068" y="connsiteY12068"/>
              </a:cxn>
              <a:cxn ang="0">
                <a:pos x="connsiteX12069" y="connsiteY12069"/>
              </a:cxn>
              <a:cxn ang="0">
                <a:pos x="connsiteX12070" y="connsiteY12070"/>
              </a:cxn>
              <a:cxn ang="0">
                <a:pos x="connsiteX12071" y="connsiteY12071"/>
              </a:cxn>
              <a:cxn ang="0">
                <a:pos x="connsiteX12072" y="connsiteY12072"/>
              </a:cxn>
              <a:cxn ang="0">
                <a:pos x="connsiteX12073" y="connsiteY12073"/>
              </a:cxn>
              <a:cxn ang="0">
                <a:pos x="connsiteX12074" y="connsiteY12074"/>
              </a:cxn>
              <a:cxn ang="0">
                <a:pos x="connsiteX12075" y="connsiteY12075"/>
              </a:cxn>
              <a:cxn ang="0">
                <a:pos x="connsiteX12076" y="connsiteY12076"/>
              </a:cxn>
              <a:cxn ang="0">
                <a:pos x="connsiteX12077" y="connsiteY12077"/>
              </a:cxn>
              <a:cxn ang="0">
                <a:pos x="connsiteX12078" y="connsiteY12078"/>
              </a:cxn>
              <a:cxn ang="0">
                <a:pos x="connsiteX12079" y="connsiteY12079"/>
              </a:cxn>
              <a:cxn ang="0">
                <a:pos x="connsiteX12080" y="connsiteY12080"/>
              </a:cxn>
              <a:cxn ang="0">
                <a:pos x="connsiteX12081" y="connsiteY12081"/>
              </a:cxn>
              <a:cxn ang="0">
                <a:pos x="connsiteX12082" y="connsiteY12082"/>
              </a:cxn>
              <a:cxn ang="0">
                <a:pos x="connsiteX12083" y="connsiteY12083"/>
              </a:cxn>
              <a:cxn ang="0">
                <a:pos x="connsiteX12084" y="connsiteY12084"/>
              </a:cxn>
              <a:cxn ang="0">
                <a:pos x="connsiteX12085" y="connsiteY12085"/>
              </a:cxn>
              <a:cxn ang="0">
                <a:pos x="connsiteX12086" y="connsiteY12086"/>
              </a:cxn>
              <a:cxn ang="0">
                <a:pos x="connsiteX12087" y="connsiteY12087"/>
              </a:cxn>
              <a:cxn ang="0">
                <a:pos x="connsiteX12088" y="connsiteY12088"/>
              </a:cxn>
              <a:cxn ang="0">
                <a:pos x="connsiteX12089" y="connsiteY12089"/>
              </a:cxn>
              <a:cxn ang="0">
                <a:pos x="connsiteX12090" y="connsiteY12090"/>
              </a:cxn>
              <a:cxn ang="0">
                <a:pos x="connsiteX12091" y="connsiteY12091"/>
              </a:cxn>
              <a:cxn ang="0">
                <a:pos x="connsiteX12092" y="connsiteY12092"/>
              </a:cxn>
              <a:cxn ang="0">
                <a:pos x="connsiteX12093" y="connsiteY12093"/>
              </a:cxn>
              <a:cxn ang="0">
                <a:pos x="connsiteX12094" y="connsiteY12094"/>
              </a:cxn>
              <a:cxn ang="0">
                <a:pos x="connsiteX12095" y="connsiteY12095"/>
              </a:cxn>
              <a:cxn ang="0">
                <a:pos x="connsiteX12096" y="connsiteY12096"/>
              </a:cxn>
              <a:cxn ang="0">
                <a:pos x="connsiteX12097" y="connsiteY12097"/>
              </a:cxn>
              <a:cxn ang="0">
                <a:pos x="connsiteX12098" y="connsiteY12098"/>
              </a:cxn>
              <a:cxn ang="0">
                <a:pos x="connsiteX12099" y="connsiteY12099"/>
              </a:cxn>
              <a:cxn ang="0">
                <a:pos x="connsiteX12100" y="connsiteY12100"/>
              </a:cxn>
              <a:cxn ang="0">
                <a:pos x="connsiteX12101" y="connsiteY12101"/>
              </a:cxn>
              <a:cxn ang="0">
                <a:pos x="connsiteX12102" y="connsiteY12102"/>
              </a:cxn>
              <a:cxn ang="0">
                <a:pos x="connsiteX12103" y="connsiteY12103"/>
              </a:cxn>
              <a:cxn ang="0">
                <a:pos x="connsiteX12104" y="connsiteY12104"/>
              </a:cxn>
              <a:cxn ang="0">
                <a:pos x="connsiteX12105" y="connsiteY12105"/>
              </a:cxn>
              <a:cxn ang="0">
                <a:pos x="connsiteX12106" y="connsiteY12106"/>
              </a:cxn>
              <a:cxn ang="0">
                <a:pos x="connsiteX12107" y="connsiteY12107"/>
              </a:cxn>
              <a:cxn ang="0">
                <a:pos x="connsiteX12108" y="connsiteY12108"/>
              </a:cxn>
              <a:cxn ang="0">
                <a:pos x="connsiteX12109" y="connsiteY12109"/>
              </a:cxn>
              <a:cxn ang="0">
                <a:pos x="connsiteX12110" y="connsiteY12110"/>
              </a:cxn>
              <a:cxn ang="0">
                <a:pos x="connsiteX12111" y="connsiteY12111"/>
              </a:cxn>
              <a:cxn ang="0">
                <a:pos x="connsiteX12112" y="connsiteY12112"/>
              </a:cxn>
              <a:cxn ang="0">
                <a:pos x="connsiteX12113" y="connsiteY12113"/>
              </a:cxn>
              <a:cxn ang="0">
                <a:pos x="connsiteX12114" y="connsiteY12114"/>
              </a:cxn>
              <a:cxn ang="0">
                <a:pos x="connsiteX12115" y="connsiteY12115"/>
              </a:cxn>
              <a:cxn ang="0">
                <a:pos x="connsiteX12116" y="connsiteY12116"/>
              </a:cxn>
              <a:cxn ang="0">
                <a:pos x="connsiteX12117" y="connsiteY12117"/>
              </a:cxn>
              <a:cxn ang="0">
                <a:pos x="connsiteX12118" y="connsiteY12118"/>
              </a:cxn>
              <a:cxn ang="0">
                <a:pos x="connsiteX12119" y="connsiteY12119"/>
              </a:cxn>
              <a:cxn ang="0">
                <a:pos x="connsiteX12120" y="connsiteY12120"/>
              </a:cxn>
              <a:cxn ang="0">
                <a:pos x="connsiteX12121" y="connsiteY12121"/>
              </a:cxn>
              <a:cxn ang="0">
                <a:pos x="connsiteX12122" y="connsiteY12122"/>
              </a:cxn>
              <a:cxn ang="0">
                <a:pos x="connsiteX12123" y="connsiteY12123"/>
              </a:cxn>
              <a:cxn ang="0">
                <a:pos x="connsiteX12124" y="connsiteY12124"/>
              </a:cxn>
              <a:cxn ang="0">
                <a:pos x="connsiteX12125" y="connsiteY12125"/>
              </a:cxn>
              <a:cxn ang="0">
                <a:pos x="connsiteX12126" y="connsiteY12126"/>
              </a:cxn>
              <a:cxn ang="0">
                <a:pos x="connsiteX12127" y="connsiteY12127"/>
              </a:cxn>
              <a:cxn ang="0">
                <a:pos x="connsiteX12128" y="connsiteY12128"/>
              </a:cxn>
              <a:cxn ang="0">
                <a:pos x="connsiteX12129" y="connsiteY12129"/>
              </a:cxn>
              <a:cxn ang="0">
                <a:pos x="connsiteX12130" y="connsiteY12130"/>
              </a:cxn>
              <a:cxn ang="0">
                <a:pos x="connsiteX12131" y="connsiteY12131"/>
              </a:cxn>
              <a:cxn ang="0">
                <a:pos x="connsiteX12132" y="connsiteY12132"/>
              </a:cxn>
              <a:cxn ang="0">
                <a:pos x="connsiteX12133" y="connsiteY12133"/>
              </a:cxn>
              <a:cxn ang="0">
                <a:pos x="connsiteX12134" y="connsiteY12134"/>
              </a:cxn>
              <a:cxn ang="0">
                <a:pos x="connsiteX12135" y="connsiteY12135"/>
              </a:cxn>
              <a:cxn ang="0">
                <a:pos x="connsiteX12136" y="connsiteY12136"/>
              </a:cxn>
              <a:cxn ang="0">
                <a:pos x="connsiteX12137" y="connsiteY12137"/>
              </a:cxn>
              <a:cxn ang="0">
                <a:pos x="connsiteX12138" y="connsiteY12138"/>
              </a:cxn>
              <a:cxn ang="0">
                <a:pos x="connsiteX12139" y="connsiteY12139"/>
              </a:cxn>
              <a:cxn ang="0">
                <a:pos x="connsiteX12140" y="connsiteY12140"/>
              </a:cxn>
              <a:cxn ang="0">
                <a:pos x="connsiteX12141" y="connsiteY12141"/>
              </a:cxn>
              <a:cxn ang="0">
                <a:pos x="connsiteX12142" y="connsiteY12142"/>
              </a:cxn>
              <a:cxn ang="0">
                <a:pos x="connsiteX12143" y="connsiteY12143"/>
              </a:cxn>
              <a:cxn ang="0">
                <a:pos x="connsiteX12144" y="connsiteY12144"/>
              </a:cxn>
              <a:cxn ang="0">
                <a:pos x="connsiteX12145" y="connsiteY12145"/>
              </a:cxn>
              <a:cxn ang="0">
                <a:pos x="connsiteX12146" y="connsiteY12146"/>
              </a:cxn>
              <a:cxn ang="0">
                <a:pos x="connsiteX12147" y="connsiteY12147"/>
              </a:cxn>
              <a:cxn ang="0">
                <a:pos x="connsiteX12148" y="connsiteY12148"/>
              </a:cxn>
              <a:cxn ang="0">
                <a:pos x="connsiteX12149" y="connsiteY12149"/>
              </a:cxn>
              <a:cxn ang="0">
                <a:pos x="connsiteX12150" y="connsiteY12150"/>
              </a:cxn>
              <a:cxn ang="0">
                <a:pos x="connsiteX12151" y="connsiteY12151"/>
              </a:cxn>
              <a:cxn ang="0">
                <a:pos x="connsiteX12152" y="connsiteY12152"/>
              </a:cxn>
              <a:cxn ang="0">
                <a:pos x="connsiteX12153" y="connsiteY12153"/>
              </a:cxn>
              <a:cxn ang="0">
                <a:pos x="connsiteX12154" y="connsiteY12154"/>
              </a:cxn>
              <a:cxn ang="0">
                <a:pos x="connsiteX12155" y="connsiteY12155"/>
              </a:cxn>
              <a:cxn ang="0">
                <a:pos x="connsiteX12156" y="connsiteY12156"/>
              </a:cxn>
              <a:cxn ang="0">
                <a:pos x="connsiteX12157" y="connsiteY12157"/>
              </a:cxn>
              <a:cxn ang="0">
                <a:pos x="connsiteX12158" y="connsiteY12158"/>
              </a:cxn>
              <a:cxn ang="0">
                <a:pos x="connsiteX12159" y="connsiteY12159"/>
              </a:cxn>
              <a:cxn ang="0">
                <a:pos x="connsiteX12160" y="connsiteY12160"/>
              </a:cxn>
              <a:cxn ang="0">
                <a:pos x="connsiteX12161" y="connsiteY12161"/>
              </a:cxn>
              <a:cxn ang="0">
                <a:pos x="connsiteX12162" y="connsiteY12162"/>
              </a:cxn>
              <a:cxn ang="0">
                <a:pos x="connsiteX12163" y="connsiteY12163"/>
              </a:cxn>
              <a:cxn ang="0">
                <a:pos x="connsiteX12164" y="connsiteY12164"/>
              </a:cxn>
              <a:cxn ang="0">
                <a:pos x="connsiteX12165" y="connsiteY12165"/>
              </a:cxn>
              <a:cxn ang="0">
                <a:pos x="connsiteX12166" y="connsiteY12166"/>
              </a:cxn>
              <a:cxn ang="0">
                <a:pos x="connsiteX12167" y="connsiteY12167"/>
              </a:cxn>
              <a:cxn ang="0">
                <a:pos x="connsiteX12168" y="connsiteY12168"/>
              </a:cxn>
              <a:cxn ang="0">
                <a:pos x="connsiteX12169" y="connsiteY12169"/>
              </a:cxn>
              <a:cxn ang="0">
                <a:pos x="connsiteX12170" y="connsiteY12170"/>
              </a:cxn>
              <a:cxn ang="0">
                <a:pos x="connsiteX12171" y="connsiteY12171"/>
              </a:cxn>
              <a:cxn ang="0">
                <a:pos x="connsiteX12172" y="connsiteY12172"/>
              </a:cxn>
              <a:cxn ang="0">
                <a:pos x="connsiteX12173" y="connsiteY12173"/>
              </a:cxn>
              <a:cxn ang="0">
                <a:pos x="connsiteX12174" y="connsiteY12174"/>
              </a:cxn>
              <a:cxn ang="0">
                <a:pos x="connsiteX12175" y="connsiteY12175"/>
              </a:cxn>
              <a:cxn ang="0">
                <a:pos x="connsiteX12176" y="connsiteY12176"/>
              </a:cxn>
              <a:cxn ang="0">
                <a:pos x="connsiteX12177" y="connsiteY12177"/>
              </a:cxn>
              <a:cxn ang="0">
                <a:pos x="connsiteX12178" y="connsiteY12178"/>
              </a:cxn>
              <a:cxn ang="0">
                <a:pos x="connsiteX12179" y="connsiteY12179"/>
              </a:cxn>
              <a:cxn ang="0">
                <a:pos x="connsiteX12180" y="connsiteY12180"/>
              </a:cxn>
              <a:cxn ang="0">
                <a:pos x="connsiteX12181" y="connsiteY12181"/>
              </a:cxn>
              <a:cxn ang="0">
                <a:pos x="connsiteX12182" y="connsiteY12182"/>
              </a:cxn>
              <a:cxn ang="0">
                <a:pos x="connsiteX12183" y="connsiteY12183"/>
              </a:cxn>
              <a:cxn ang="0">
                <a:pos x="connsiteX12184" y="connsiteY12184"/>
              </a:cxn>
              <a:cxn ang="0">
                <a:pos x="connsiteX12185" y="connsiteY12185"/>
              </a:cxn>
              <a:cxn ang="0">
                <a:pos x="connsiteX12186" y="connsiteY12186"/>
              </a:cxn>
              <a:cxn ang="0">
                <a:pos x="connsiteX12187" y="connsiteY12187"/>
              </a:cxn>
              <a:cxn ang="0">
                <a:pos x="connsiteX12188" y="connsiteY12188"/>
              </a:cxn>
              <a:cxn ang="0">
                <a:pos x="connsiteX12189" y="connsiteY12189"/>
              </a:cxn>
              <a:cxn ang="0">
                <a:pos x="connsiteX12190" y="connsiteY12190"/>
              </a:cxn>
              <a:cxn ang="0">
                <a:pos x="connsiteX12191" y="connsiteY12191"/>
              </a:cxn>
              <a:cxn ang="0">
                <a:pos x="connsiteX12192" y="connsiteY12192"/>
              </a:cxn>
              <a:cxn ang="0">
                <a:pos x="connsiteX12193" y="connsiteY12193"/>
              </a:cxn>
              <a:cxn ang="0">
                <a:pos x="connsiteX12194" y="connsiteY12194"/>
              </a:cxn>
              <a:cxn ang="0">
                <a:pos x="connsiteX12195" y="connsiteY12195"/>
              </a:cxn>
              <a:cxn ang="0">
                <a:pos x="connsiteX12196" y="connsiteY12196"/>
              </a:cxn>
              <a:cxn ang="0">
                <a:pos x="connsiteX12197" y="connsiteY12197"/>
              </a:cxn>
              <a:cxn ang="0">
                <a:pos x="connsiteX12198" y="connsiteY12198"/>
              </a:cxn>
              <a:cxn ang="0">
                <a:pos x="connsiteX12199" y="connsiteY12199"/>
              </a:cxn>
              <a:cxn ang="0">
                <a:pos x="connsiteX12200" y="connsiteY12200"/>
              </a:cxn>
              <a:cxn ang="0">
                <a:pos x="connsiteX12201" y="connsiteY12201"/>
              </a:cxn>
              <a:cxn ang="0">
                <a:pos x="connsiteX12202" y="connsiteY12202"/>
              </a:cxn>
              <a:cxn ang="0">
                <a:pos x="connsiteX12203" y="connsiteY12203"/>
              </a:cxn>
              <a:cxn ang="0">
                <a:pos x="connsiteX12204" y="connsiteY12204"/>
              </a:cxn>
              <a:cxn ang="0">
                <a:pos x="connsiteX12205" y="connsiteY12205"/>
              </a:cxn>
              <a:cxn ang="0">
                <a:pos x="connsiteX12206" y="connsiteY12206"/>
              </a:cxn>
              <a:cxn ang="0">
                <a:pos x="connsiteX12207" y="connsiteY12207"/>
              </a:cxn>
              <a:cxn ang="0">
                <a:pos x="connsiteX12208" y="connsiteY12208"/>
              </a:cxn>
              <a:cxn ang="0">
                <a:pos x="connsiteX12209" y="connsiteY12209"/>
              </a:cxn>
              <a:cxn ang="0">
                <a:pos x="connsiteX12210" y="connsiteY12210"/>
              </a:cxn>
              <a:cxn ang="0">
                <a:pos x="connsiteX12211" y="connsiteY12211"/>
              </a:cxn>
              <a:cxn ang="0">
                <a:pos x="connsiteX12212" y="connsiteY12212"/>
              </a:cxn>
              <a:cxn ang="0">
                <a:pos x="connsiteX12213" y="connsiteY12213"/>
              </a:cxn>
              <a:cxn ang="0">
                <a:pos x="connsiteX12214" y="connsiteY12214"/>
              </a:cxn>
              <a:cxn ang="0">
                <a:pos x="connsiteX12215" y="connsiteY12215"/>
              </a:cxn>
              <a:cxn ang="0">
                <a:pos x="connsiteX12216" y="connsiteY12216"/>
              </a:cxn>
              <a:cxn ang="0">
                <a:pos x="connsiteX12217" y="connsiteY12217"/>
              </a:cxn>
              <a:cxn ang="0">
                <a:pos x="connsiteX12218" y="connsiteY12218"/>
              </a:cxn>
              <a:cxn ang="0">
                <a:pos x="connsiteX12219" y="connsiteY12219"/>
              </a:cxn>
              <a:cxn ang="0">
                <a:pos x="connsiteX12220" y="connsiteY12220"/>
              </a:cxn>
              <a:cxn ang="0">
                <a:pos x="connsiteX12221" y="connsiteY12221"/>
              </a:cxn>
              <a:cxn ang="0">
                <a:pos x="connsiteX12222" y="connsiteY12222"/>
              </a:cxn>
              <a:cxn ang="0">
                <a:pos x="connsiteX12223" y="connsiteY12223"/>
              </a:cxn>
              <a:cxn ang="0">
                <a:pos x="connsiteX12224" y="connsiteY12224"/>
              </a:cxn>
              <a:cxn ang="0">
                <a:pos x="connsiteX12225" y="connsiteY12225"/>
              </a:cxn>
              <a:cxn ang="0">
                <a:pos x="connsiteX12226" y="connsiteY12226"/>
              </a:cxn>
              <a:cxn ang="0">
                <a:pos x="connsiteX12227" y="connsiteY12227"/>
              </a:cxn>
              <a:cxn ang="0">
                <a:pos x="connsiteX12228" y="connsiteY12228"/>
              </a:cxn>
              <a:cxn ang="0">
                <a:pos x="connsiteX12229" y="connsiteY12229"/>
              </a:cxn>
              <a:cxn ang="0">
                <a:pos x="connsiteX12230" y="connsiteY12230"/>
              </a:cxn>
              <a:cxn ang="0">
                <a:pos x="connsiteX12231" y="connsiteY12231"/>
              </a:cxn>
              <a:cxn ang="0">
                <a:pos x="connsiteX12232" y="connsiteY12232"/>
              </a:cxn>
              <a:cxn ang="0">
                <a:pos x="connsiteX12233" y="connsiteY12233"/>
              </a:cxn>
              <a:cxn ang="0">
                <a:pos x="connsiteX12234" y="connsiteY12234"/>
              </a:cxn>
              <a:cxn ang="0">
                <a:pos x="connsiteX12235" y="connsiteY12235"/>
              </a:cxn>
              <a:cxn ang="0">
                <a:pos x="connsiteX12236" y="connsiteY12236"/>
              </a:cxn>
              <a:cxn ang="0">
                <a:pos x="connsiteX12237" y="connsiteY12237"/>
              </a:cxn>
              <a:cxn ang="0">
                <a:pos x="connsiteX12238" y="connsiteY12238"/>
              </a:cxn>
              <a:cxn ang="0">
                <a:pos x="connsiteX12239" y="connsiteY12239"/>
              </a:cxn>
              <a:cxn ang="0">
                <a:pos x="connsiteX12240" y="connsiteY12240"/>
              </a:cxn>
              <a:cxn ang="0">
                <a:pos x="connsiteX12241" y="connsiteY12241"/>
              </a:cxn>
              <a:cxn ang="0">
                <a:pos x="connsiteX12242" y="connsiteY12242"/>
              </a:cxn>
              <a:cxn ang="0">
                <a:pos x="connsiteX12243" y="connsiteY12243"/>
              </a:cxn>
              <a:cxn ang="0">
                <a:pos x="connsiteX12244" y="connsiteY12244"/>
              </a:cxn>
              <a:cxn ang="0">
                <a:pos x="connsiteX12245" y="connsiteY12245"/>
              </a:cxn>
              <a:cxn ang="0">
                <a:pos x="connsiteX12246" y="connsiteY12246"/>
              </a:cxn>
              <a:cxn ang="0">
                <a:pos x="connsiteX12247" y="connsiteY12247"/>
              </a:cxn>
              <a:cxn ang="0">
                <a:pos x="connsiteX12248" y="connsiteY12248"/>
              </a:cxn>
              <a:cxn ang="0">
                <a:pos x="connsiteX12249" y="connsiteY12249"/>
              </a:cxn>
              <a:cxn ang="0">
                <a:pos x="connsiteX12250" y="connsiteY12250"/>
              </a:cxn>
              <a:cxn ang="0">
                <a:pos x="connsiteX12251" y="connsiteY12251"/>
              </a:cxn>
              <a:cxn ang="0">
                <a:pos x="connsiteX12252" y="connsiteY12252"/>
              </a:cxn>
              <a:cxn ang="0">
                <a:pos x="connsiteX12253" y="connsiteY12253"/>
              </a:cxn>
              <a:cxn ang="0">
                <a:pos x="connsiteX12254" y="connsiteY12254"/>
              </a:cxn>
              <a:cxn ang="0">
                <a:pos x="connsiteX12255" y="connsiteY12255"/>
              </a:cxn>
              <a:cxn ang="0">
                <a:pos x="connsiteX12256" y="connsiteY12256"/>
              </a:cxn>
              <a:cxn ang="0">
                <a:pos x="connsiteX12257" y="connsiteY12257"/>
              </a:cxn>
              <a:cxn ang="0">
                <a:pos x="connsiteX12258" y="connsiteY12258"/>
              </a:cxn>
              <a:cxn ang="0">
                <a:pos x="connsiteX12259" y="connsiteY12259"/>
              </a:cxn>
              <a:cxn ang="0">
                <a:pos x="connsiteX12260" y="connsiteY12260"/>
              </a:cxn>
              <a:cxn ang="0">
                <a:pos x="connsiteX12261" y="connsiteY12261"/>
              </a:cxn>
              <a:cxn ang="0">
                <a:pos x="connsiteX12262" y="connsiteY12262"/>
              </a:cxn>
              <a:cxn ang="0">
                <a:pos x="connsiteX12263" y="connsiteY12263"/>
              </a:cxn>
              <a:cxn ang="0">
                <a:pos x="connsiteX12264" y="connsiteY12264"/>
              </a:cxn>
              <a:cxn ang="0">
                <a:pos x="connsiteX12265" y="connsiteY12265"/>
              </a:cxn>
              <a:cxn ang="0">
                <a:pos x="connsiteX12266" y="connsiteY12266"/>
              </a:cxn>
              <a:cxn ang="0">
                <a:pos x="connsiteX12267" y="connsiteY12267"/>
              </a:cxn>
              <a:cxn ang="0">
                <a:pos x="connsiteX12268" y="connsiteY12268"/>
              </a:cxn>
              <a:cxn ang="0">
                <a:pos x="connsiteX12269" y="connsiteY12269"/>
              </a:cxn>
              <a:cxn ang="0">
                <a:pos x="connsiteX12270" y="connsiteY12270"/>
              </a:cxn>
              <a:cxn ang="0">
                <a:pos x="connsiteX12271" y="connsiteY12271"/>
              </a:cxn>
              <a:cxn ang="0">
                <a:pos x="connsiteX12272" y="connsiteY12272"/>
              </a:cxn>
              <a:cxn ang="0">
                <a:pos x="connsiteX12273" y="connsiteY12273"/>
              </a:cxn>
              <a:cxn ang="0">
                <a:pos x="connsiteX12274" y="connsiteY12274"/>
              </a:cxn>
              <a:cxn ang="0">
                <a:pos x="connsiteX12275" y="connsiteY12275"/>
              </a:cxn>
              <a:cxn ang="0">
                <a:pos x="connsiteX12276" y="connsiteY12276"/>
              </a:cxn>
              <a:cxn ang="0">
                <a:pos x="connsiteX12277" y="connsiteY12277"/>
              </a:cxn>
              <a:cxn ang="0">
                <a:pos x="connsiteX12278" y="connsiteY12278"/>
              </a:cxn>
              <a:cxn ang="0">
                <a:pos x="connsiteX12279" y="connsiteY12279"/>
              </a:cxn>
              <a:cxn ang="0">
                <a:pos x="connsiteX12280" y="connsiteY12280"/>
              </a:cxn>
              <a:cxn ang="0">
                <a:pos x="connsiteX12281" y="connsiteY12281"/>
              </a:cxn>
              <a:cxn ang="0">
                <a:pos x="connsiteX12282" y="connsiteY12282"/>
              </a:cxn>
              <a:cxn ang="0">
                <a:pos x="connsiteX12283" y="connsiteY12283"/>
              </a:cxn>
              <a:cxn ang="0">
                <a:pos x="connsiteX12284" y="connsiteY12284"/>
              </a:cxn>
              <a:cxn ang="0">
                <a:pos x="connsiteX12285" y="connsiteY12285"/>
              </a:cxn>
              <a:cxn ang="0">
                <a:pos x="connsiteX12286" y="connsiteY12286"/>
              </a:cxn>
              <a:cxn ang="0">
                <a:pos x="connsiteX12287" y="connsiteY12287"/>
              </a:cxn>
              <a:cxn ang="0">
                <a:pos x="connsiteX12288" y="connsiteY12288"/>
              </a:cxn>
              <a:cxn ang="0">
                <a:pos x="connsiteX12289" y="connsiteY12289"/>
              </a:cxn>
              <a:cxn ang="0">
                <a:pos x="connsiteX12290" y="connsiteY12290"/>
              </a:cxn>
              <a:cxn ang="0">
                <a:pos x="connsiteX12291" y="connsiteY12291"/>
              </a:cxn>
              <a:cxn ang="0">
                <a:pos x="connsiteX12292" y="connsiteY12292"/>
              </a:cxn>
              <a:cxn ang="0">
                <a:pos x="connsiteX12293" y="connsiteY12293"/>
              </a:cxn>
              <a:cxn ang="0">
                <a:pos x="connsiteX12294" y="connsiteY12294"/>
              </a:cxn>
              <a:cxn ang="0">
                <a:pos x="connsiteX12295" y="connsiteY12295"/>
              </a:cxn>
              <a:cxn ang="0">
                <a:pos x="connsiteX12296" y="connsiteY12296"/>
              </a:cxn>
              <a:cxn ang="0">
                <a:pos x="connsiteX12297" y="connsiteY12297"/>
              </a:cxn>
              <a:cxn ang="0">
                <a:pos x="connsiteX12298" y="connsiteY12298"/>
              </a:cxn>
              <a:cxn ang="0">
                <a:pos x="connsiteX12299" y="connsiteY12299"/>
              </a:cxn>
              <a:cxn ang="0">
                <a:pos x="connsiteX12300" y="connsiteY12300"/>
              </a:cxn>
              <a:cxn ang="0">
                <a:pos x="connsiteX12301" y="connsiteY12301"/>
              </a:cxn>
              <a:cxn ang="0">
                <a:pos x="connsiteX12302" y="connsiteY12302"/>
              </a:cxn>
              <a:cxn ang="0">
                <a:pos x="connsiteX12303" y="connsiteY12303"/>
              </a:cxn>
              <a:cxn ang="0">
                <a:pos x="connsiteX12304" y="connsiteY12304"/>
              </a:cxn>
              <a:cxn ang="0">
                <a:pos x="connsiteX12305" y="connsiteY12305"/>
              </a:cxn>
              <a:cxn ang="0">
                <a:pos x="connsiteX12306" y="connsiteY12306"/>
              </a:cxn>
              <a:cxn ang="0">
                <a:pos x="connsiteX12307" y="connsiteY12307"/>
              </a:cxn>
              <a:cxn ang="0">
                <a:pos x="connsiteX12308" y="connsiteY12308"/>
              </a:cxn>
              <a:cxn ang="0">
                <a:pos x="connsiteX12309" y="connsiteY12309"/>
              </a:cxn>
              <a:cxn ang="0">
                <a:pos x="connsiteX12310" y="connsiteY12310"/>
              </a:cxn>
              <a:cxn ang="0">
                <a:pos x="connsiteX12311" y="connsiteY12311"/>
              </a:cxn>
              <a:cxn ang="0">
                <a:pos x="connsiteX12312" y="connsiteY12312"/>
              </a:cxn>
              <a:cxn ang="0">
                <a:pos x="connsiteX12313" y="connsiteY12313"/>
              </a:cxn>
              <a:cxn ang="0">
                <a:pos x="connsiteX12314" y="connsiteY12314"/>
              </a:cxn>
              <a:cxn ang="0">
                <a:pos x="connsiteX12315" y="connsiteY12315"/>
              </a:cxn>
              <a:cxn ang="0">
                <a:pos x="connsiteX12316" y="connsiteY12316"/>
              </a:cxn>
              <a:cxn ang="0">
                <a:pos x="connsiteX12317" y="connsiteY12317"/>
              </a:cxn>
              <a:cxn ang="0">
                <a:pos x="connsiteX12318" y="connsiteY12318"/>
              </a:cxn>
              <a:cxn ang="0">
                <a:pos x="connsiteX12319" y="connsiteY12319"/>
              </a:cxn>
              <a:cxn ang="0">
                <a:pos x="connsiteX12320" y="connsiteY12320"/>
              </a:cxn>
              <a:cxn ang="0">
                <a:pos x="connsiteX12321" y="connsiteY12321"/>
              </a:cxn>
              <a:cxn ang="0">
                <a:pos x="connsiteX12322" y="connsiteY12322"/>
              </a:cxn>
              <a:cxn ang="0">
                <a:pos x="connsiteX12323" y="connsiteY12323"/>
              </a:cxn>
              <a:cxn ang="0">
                <a:pos x="connsiteX12324" y="connsiteY12324"/>
              </a:cxn>
              <a:cxn ang="0">
                <a:pos x="connsiteX12325" y="connsiteY12325"/>
              </a:cxn>
              <a:cxn ang="0">
                <a:pos x="connsiteX12326" y="connsiteY12326"/>
              </a:cxn>
              <a:cxn ang="0">
                <a:pos x="connsiteX12327" y="connsiteY12327"/>
              </a:cxn>
              <a:cxn ang="0">
                <a:pos x="connsiteX12328" y="connsiteY12328"/>
              </a:cxn>
              <a:cxn ang="0">
                <a:pos x="connsiteX12329" y="connsiteY12329"/>
              </a:cxn>
              <a:cxn ang="0">
                <a:pos x="connsiteX12330" y="connsiteY12330"/>
              </a:cxn>
              <a:cxn ang="0">
                <a:pos x="connsiteX12331" y="connsiteY12331"/>
              </a:cxn>
              <a:cxn ang="0">
                <a:pos x="connsiteX12332" y="connsiteY12332"/>
              </a:cxn>
              <a:cxn ang="0">
                <a:pos x="connsiteX12333" y="connsiteY12333"/>
              </a:cxn>
              <a:cxn ang="0">
                <a:pos x="connsiteX12334" y="connsiteY12334"/>
              </a:cxn>
              <a:cxn ang="0">
                <a:pos x="connsiteX12335" y="connsiteY12335"/>
              </a:cxn>
              <a:cxn ang="0">
                <a:pos x="connsiteX12336" y="connsiteY12336"/>
              </a:cxn>
              <a:cxn ang="0">
                <a:pos x="connsiteX12337" y="connsiteY12337"/>
              </a:cxn>
              <a:cxn ang="0">
                <a:pos x="connsiteX12338" y="connsiteY12338"/>
              </a:cxn>
              <a:cxn ang="0">
                <a:pos x="connsiteX12339" y="connsiteY12339"/>
              </a:cxn>
              <a:cxn ang="0">
                <a:pos x="connsiteX12340" y="connsiteY12340"/>
              </a:cxn>
              <a:cxn ang="0">
                <a:pos x="connsiteX12341" y="connsiteY12341"/>
              </a:cxn>
              <a:cxn ang="0">
                <a:pos x="connsiteX12342" y="connsiteY12342"/>
              </a:cxn>
              <a:cxn ang="0">
                <a:pos x="connsiteX12343" y="connsiteY12343"/>
              </a:cxn>
              <a:cxn ang="0">
                <a:pos x="connsiteX12344" y="connsiteY12344"/>
              </a:cxn>
              <a:cxn ang="0">
                <a:pos x="connsiteX12345" y="connsiteY12345"/>
              </a:cxn>
              <a:cxn ang="0">
                <a:pos x="connsiteX12346" y="connsiteY12346"/>
              </a:cxn>
              <a:cxn ang="0">
                <a:pos x="connsiteX12347" y="connsiteY12347"/>
              </a:cxn>
              <a:cxn ang="0">
                <a:pos x="connsiteX12348" y="connsiteY12348"/>
              </a:cxn>
              <a:cxn ang="0">
                <a:pos x="connsiteX12349" y="connsiteY12349"/>
              </a:cxn>
              <a:cxn ang="0">
                <a:pos x="connsiteX12350" y="connsiteY12350"/>
              </a:cxn>
              <a:cxn ang="0">
                <a:pos x="connsiteX12351" y="connsiteY12351"/>
              </a:cxn>
              <a:cxn ang="0">
                <a:pos x="connsiteX12352" y="connsiteY12352"/>
              </a:cxn>
              <a:cxn ang="0">
                <a:pos x="connsiteX12353" y="connsiteY12353"/>
              </a:cxn>
              <a:cxn ang="0">
                <a:pos x="connsiteX12354" y="connsiteY12354"/>
              </a:cxn>
              <a:cxn ang="0">
                <a:pos x="connsiteX12355" y="connsiteY12355"/>
              </a:cxn>
              <a:cxn ang="0">
                <a:pos x="connsiteX12356" y="connsiteY12356"/>
              </a:cxn>
              <a:cxn ang="0">
                <a:pos x="connsiteX12357" y="connsiteY12357"/>
              </a:cxn>
              <a:cxn ang="0">
                <a:pos x="connsiteX12358" y="connsiteY12358"/>
              </a:cxn>
              <a:cxn ang="0">
                <a:pos x="connsiteX12359" y="connsiteY12359"/>
              </a:cxn>
              <a:cxn ang="0">
                <a:pos x="connsiteX12360" y="connsiteY12360"/>
              </a:cxn>
              <a:cxn ang="0">
                <a:pos x="connsiteX12361" y="connsiteY12361"/>
              </a:cxn>
              <a:cxn ang="0">
                <a:pos x="connsiteX12362" y="connsiteY12362"/>
              </a:cxn>
              <a:cxn ang="0">
                <a:pos x="connsiteX12363" y="connsiteY12363"/>
              </a:cxn>
              <a:cxn ang="0">
                <a:pos x="connsiteX12364" y="connsiteY12364"/>
              </a:cxn>
              <a:cxn ang="0">
                <a:pos x="connsiteX12365" y="connsiteY12365"/>
              </a:cxn>
              <a:cxn ang="0">
                <a:pos x="connsiteX12366" y="connsiteY12366"/>
              </a:cxn>
              <a:cxn ang="0">
                <a:pos x="connsiteX12367" y="connsiteY12367"/>
              </a:cxn>
              <a:cxn ang="0">
                <a:pos x="connsiteX12368" y="connsiteY12368"/>
              </a:cxn>
              <a:cxn ang="0">
                <a:pos x="connsiteX12369" y="connsiteY12369"/>
              </a:cxn>
              <a:cxn ang="0">
                <a:pos x="connsiteX12370" y="connsiteY12370"/>
              </a:cxn>
              <a:cxn ang="0">
                <a:pos x="connsiteX12371" y="connsiteY12371"/>
              </a:cxn>
              <a:cxn ang="0">
                <a:pos x="connsiteX12372" y="connsiteY12372"/>
              </a:cxn>
              <a:cxn ang="0">
                <a:pos x="connsiteX12373" y="connsiteY12373"/>
              </a:cxn>
              <a:cxn ang="0">
                <a:pos x="connsiteX12374" y="connsiteY12374"/>
              </a:cxn>
              <a:cxn ang="0">
                <a:pos x="connsiteX12375" y="connsiteY12375"/>
              </a:cxn>
              <a:cxn ang="0">
                <a:pos x="connsiteX12376" y="connsiteY12376"/>
              </a:cxn>
              <a:cxn ang="0">
                <a:pos x="connsiteX12377" y="connsiteY12377"/>
              </a:cxn>
              <a:cxn ang="0">
                <a:pos x="connsiteX12378" y="connsiteY12378"/>
              </a:cxn>
              <a:cxn ang="0">
                <a:pos x="connsiteX12379" y="connsiteY12379"/>
              </a:cxn>
              <a:cxn ang="0">
                <a:pos x="connsiteX12380" y="connsiteY12380"/>
              </a:cxn>
              <a:cxn ang="0">
                <a:pos x="connsiteX12381" y="connsiteY12381"/>
              </a:cxn>
              <a:cxn ang="0">
                <a:pos x="connsiteX12382" y="connsiteY12382"/>
              </a:cxn>
              <a:cxn ang="0">
                <a:pos x="connsiteX12383" y="connsiteY12383"/>
              </a:cxn>
              <a:cxn ang="0">
                <a:pos x="connsiteX12384" y="connsiteY12384"/>
              </a:cxn>
              <a:cxn ang="0">
                <a:pos x="connsiteX12385" y="connsiteY12385"/>
              </a:cxn>
              <a:cxn ang="0">
                <a:pos x="connsiteX12386" y="connsiteY12386"/>
              </a:cxn>
              <a:cxn ang="0">
                <a:pos x="connsiteX12387" y="connsiteY12387"/>
              </a:cxn>
              <a:cxn ang="0">
                <a:pos x="connsiteX12388" y="connsiteY12388"/>
              </a:cxn>
              <a:cxn ang="0">
                <a:pos x="connsiteX12389" y="connsiteY12389"/>
              </a:cxn>
              <a:cxn ang="0">
                <a:pos x="connsiteX12390" y="connsiteY12390"/>
              </a:cxn>
              <a:cxn ang="0">
                <a:pos x="connsiteX12391" y="connsiteY12391"/>
              </a:cxn>
              <a:cxn ang="0">
                <a:pos x="connsiteX12392" y="connsiteY12392"/>
              </a:cxn>
              <a:cxn ang="0">
                <a:pos x="connsiteX12393" y="connsiteY12393"/>
              </a:cxn>
              <a:cxn ang="0">
                <a:pos x="connsiteX12394" y="connsiteY12394"/>
              </a:cxn>
              <a:cxn ang="0">
                <a:pos x="connsiteX12395" y="connsiteY12395"/>
              </a:cxn>
              <a:cxn ang="0">
                <a:pos x="connsiteX12396" y="connsiteY12396"/>
              </a:cxn>
              <a:cxn ang="0">
                <a:pos x="connsiteX12397" y="connsiteY12397"/>
              </a:cxn>
              <a:cxn ang="0">
                <a:pos x="connsiteX12398" y="connsiteY12398"/>
              </a:cxn>
              <a:cxn ang="0">
                <a:pos x="connsiteX12399" y="connsiteY12399"/>
              </a:cxn>
              <a:cxn ang="0">
                <a:pos x="connsiteX12400" y="connsiteY12400"/>
              </a:cxn>
              <a:cxn ang="0">
                <a:pos x="connsiteX12401" y="connsiteY12401"/>
              </a:cxn>
              <a:cxn ang="0">
                <a:pos x="connsiteX12402" y="connsiteY12402"/>
              </a:cxn>
              <a:cxn ang="0">
                <a:pos x="connsiteX12403" y="connsiteY12403"/>
              </a:cxn>
              <a:cxn ang="0">
                <a:pos x="connsiteX12404" y="connsiteY12404"/>
              </a:cxn>
              <a:cxn ang="0">
                <a:pos x="connsiteX12405" y="connsiteY12405"/>
              </a:cxn>
              <a:cxn ang="0">
                <a:pos x="connsiteX12406" y="connsiteY12406"/>
              </a:cxn>
              <a:cxn ang="0">
                <a:pos x="connsiteX12407" y="connsiteY12407"/>
              </a:cxn>
              <a:cxn ang="0">
                <a:pos x="connsiteX12408" y="connsiteY12408"/>
              </a:cxn>
              <a:cxn ang="0">
                <a:pos x="connsiteX12409" y="connsiteY12409"/>
              </a:cxn>
              <a:cxn ang="0">
                <a:pos x="connsiteX12410" y="connsiteY12410"/>
              </a:cxn>
              <a:cxn ang="0">
                <a:pos x="connsiteX12411" y="connsiteY12411"/>
              </a:cxn>
              <a:cxn ang="0">
                <a:pos x="connsiteX12412" y="connsiteY12412"/>
              </a:cxn>
              <a:cxn ang="0">
                <a:pos x="connsiteX12413" y="connsiteY12413"/>
              </a:cxn>
              <a:cxn ang="0">
                <a:pos x="connsiteX12414" y="connsiteY12414"/>
              </a:cxn>
              <a:cxn ang="0">
                <a:pos x="connsiteX12415" y="connsiteY12415"/>
              </a:cxn>
              <a:cxn ang="0">
                <a:pos x="connsiteX12416" y="connsiteY12416"/>
              </a:cxn>
              <a:cxn ang="0">
                <a:pos x="connsiteX12417" y="connsiteY12417"/>
              </a:cxn>
              <a:cxn ang="0">
                <a:pos x="connsiteX12418" y="connsiteY12418"/>
              </a:cxn>
              <a:cxn ang="0">
                <a:pos x="connsiteX12419" y="connsiteY12419"/>
              </a:cxn>
              <a:cxn ang="0">
                <a:pos x="connsiteX12420" y="connsiteY12420"/>
              </a:cxn>
              <a:cxn ang="0">
                <a:pos x="connsiteX12421" y="connsiteY12421"/>
              </a:cxn>
              <a:cxn ang="0">
                <a:pos x="connsiteX12422" y="connsiteY12422"/>
              </a:cxn>
              <a:cxn ang="0">
                <a:pos x="connsiteX12423" y="connsiteY12423"/>
              </a:cxn>
              <a:cxn ang="0">
                <a:pos x="connsiteX12424" y="connsiteY12424"/>
              </a:cxn>
              <a:cxn ang="0">
                <a:pos x="connsiteX12425" y="connsiteY12425"/>
              </a:cxn>
              <a:cxn ang="0">
                <a:pos x="connsiteX12426" y="connsiteY12426"/>
              </a:cxn>
              <a:cxn ang="0">
                <a:pos x="connsiteX12427" y="connsiteY12427"/>
              </a:cxn>
              <a:cxn ang="0">
                <a:pos x="connsiteX12428" y="connsiteY12428"/>
              </a:cxn>
              <a:cxn ang="0">
                <a:pos x="connsiteX12429" y="connsiteY12429"/>
              </a:cxn>
              <a:cxn ang="0">
                <a:pos x="connsiteX12430" y="connsiteY12430"/>
              </a:cxn>
              <a:cxn ang="0">
                <a:pos x="connsiteX12431" y="connsiteY12431"/>
              </a:cxn>
              <a:cxn ang="0">
                <a:pos x="connsiteX12432" y="connsiteY12432"/>
              </a:cxn>
              <a:cxn ang="0">
                <a:pos x="connsiteX12433" y="connsiteY12433"/>
              </a:cxn>
              <a:cxn ang="0">
                <a:pos x="connsiteX12434" y="connsiteY12434"/>
              </a:cxn>
              <a:cxn ang="0">
                <a:pos x="connsiteX12435" y="connsiteY12435"/>
              </a:cxn>
              <a:cxn ang="0">
                <a:pos x="connsiteX12436" y="connsiteY12436"/>
              </a:cxn>
              <a:cxn ang="0">
                <a:pos x="connsiteX12437" y="connsiteY12437"/>
              </a:cxn>
              <a:cxn ang="0">
                <a:pos x="connsiteX12438" y="connsiteY12438"/>
              </a:cxn>
              <a:cxn ang="0">
                <a:pos x="connsiteX12439" y="connsiteY12439"/>
              </a:cxn>
              <a:cxn ang="0">
                <a:pos x="connsiteX12440" y="connsiteY12440"/>
              </a:cxn>
              <a:cxn ang="0">
                <a:pos x="connsiteX12441" y="connsiteY12441"/>
              </a:cxn>
              <a:cxn ang="0">
                <a:pos x="connsiteX12442" y="connsiteY12442"/>
              </a:cxn>
              <a:cxn ang="0">
                <a:pos x="connsiteX12443" y="connsiteY12443"/>
              </a:cxn>
              <a:cxn ang="0">
                <a:pos x="connsiteX12444" y="connsiteY12444"/>
              </a:cxn>
              <a:cxn ang="0">
                <a:pos x="connsiteX12445" y="connsiteY12445"/>
              </a:cxn>
              <a:cxn ang="0">
                <a:pos x="connsiteX12446" y="connsiteY12446"/>
              </a:cxn>
              <a:cxn ang="0">
                <a:pos x="connsiteX12447" y="connsiteY12447"/>
              </a:cxn>
              <a:cxn ang="0">
                <a:pos x="connsiteX12448" y="connsiteY12448"/>
              </a:cxn>
              <a:cxn ang="0">
                <a:pos x="connsiteX12449" y="connsiteY12449"/>
              </a:cxn>
              <a:cxn ang="0">
                <a:pos x="connsiteX12450" y="connsiteY12450"/>
              </a:cxn>
              <a:cxn ang="0">
                <a:pos x="connsiteX12451" y="connsiteY12451"/>
              </a:cxn>
              <a:cxn ang="0">
                <a:pos x="connsiteX12452" y="connsiteY12452"/>
              </a:cxn>
              <a:cxn ang="0">
                <a:pos x="connsiteX12453" y="connsiteY12453"/>
              </a:cxn>
              <a:cxn ang="0">
                <a:pos x="connsiteX12454" y="connsiteY12454"/>
              </a:cxn>
              <a:cxn ang="0">
                <a:pos x="connsiteX12455" y="connsiteY12455"/>
              </a:cxn>
              <a:cxn ang="0">
                <a:pos x="connsiteX12456" y="connsiteY12456"/>
              </a:cxn>
              <a:cxn ang="0">
                <a:pos x="connsiteX12457" y="connsiteY12457"/>
              </a:cxn>
              <a:cxn ang="0">
                <a:pos x="connsiteX12458" y="connsiteY12458"/>
              </a:cxn>
              <a:cxn ang="0">
                <a:pos x="connsiteX12459" y="connsiteY12459"/>
              </a:cxn>
              <a:cxn ang="0">
                <a:pos x="connsiteX12460" y="connsiteY12460"/>
              </a:cxn>
              <a:cxn ang="0">
                <a:pos x="connsiteX12461" y="connsiteY12461"/>
              </a:cxn>
              <a:cxn ang="0">
                <a:pos x="connsiteX12462" y="connsiteY12462"/>
              </a:cxn>
              <a:cxn ang="0">
                <a:pos x="connsiteX12463" y="connsiteY12463"/>
              </a:cxn>
              <a:cxn ang="0">
                <a:pos x="connsiteX12464" y="connsiteY12464"/>
              </a:cxn>
              <a:cxn ang="0">
                <a:pos x="connsiteX12465" y="connsiteY12465"/>
              </a:cxn>
              <a:cxn ang="0">
                <a:pos x="connsiteX12466" y="connsiteY12466"/>
              </a:cxn>
              <a:cxn ang="0">
                <a:pos x="connsiteX12467" y="connsiteY12467"/>
              </a:cxn>
              <a:cxn ang="0">
                <a:pos x="connsiteX12468" y="connsiteY12468"/>
              </a:cxn>
              <a:cxn ang="0">
                <a:pos x="connsiteX12469" y="connsiteY12469"/>
              </a:cxn>
              <a:cxn ang="0">
                <a:pos x="connsiteX12470" y="connsiteY12470"/>
              </a:cxn>
              <a:cxn ang="0">
                <a:pos x="connsiteX12471" y="connsiteY12471"/>
              </a:cxn>
              <a:cxn ang="0">
                <a:pos x="connsiteX12472" y="connsiteY12472"/>
              </a:cxn>
              <a:cxn ang="0">
                <a:pos x="connsiteX12473" y="connsiteY12473"/>
              </a:cxn>
              <a:cxn ang="0">
                <a:pos x="connsiteX12474" y="connsiteY12474"/>
              </a:cxn>
              <a:cxn ang="0">
                <a:pos x="connsiteX12475" y="connsiteY12475"/>
              </a:cxn>
              <a:cxn ang="0">
                <a:pos x="connsiteX12476" y="connsiteY12476"/>
              </a:cxn>
              <a:cxn ang="0">
                <a:pos x="connsiteX12477" y="connsiteY12477"/>
              </a:cxn>
              <a:cxn ang="0">
                <a:pos x="connsiteX12478" y="connsiteY12478"/>
              </a:cxn>
              <a:cxn ang="0">
                <a:pos x="connsiteX12479" y="connsiteY12479"/>
              </a:cxn>
              <a:cxn ang="0">
                <a:pos x="connsiteX12480" y="connsiteY12480"/>
              </a:cxn>
              <a:cxn ang="0">
                <a:pos x="connsiteX12481" y="connsiteY12481"/>
              </a:cxn>
              <a:cxn ang="0">
                <a:pos x="connsiteX12482" y="connsiteY12482"/>
              </a:cxn>
              <a:cxn ang="0">
                <a:pos x="connsiteX12483" y="connsiteY12483"/>
              </a:cxn>
              <a:cxn ang="0">
                <a:pos x="connsiteX12484" y="connsiteY12484"/>
              </a:cxn>
              <a:cxn ang="0">
                <a:pos x="connsiteX12485" y="connsiteY12485"/>
              </a:cxn>
              <a:cxn ang="0">
                <a:pos x="connsiteX12486" y="connsiteY12486"/>
              </a:cxn>
              <a:cxn ang="0">
                <a:pos x="connsiteX12487" y="connsiteY12487"/>
              </a:cxn>
              <a:cxn ang="0">
                <a:pos x="connsiteX12488" y="connsiteY12488"/>
              </a:cxn>
              <a:cxn ang="0">
                <a:pos x="connsiteX12489" y="connsiteY12489"/>
              </a:cxn>
              <a:cxn ang="0">
                <a:pos x="connsiteX12490" y="connsiteY12490"/>
              </a:cxn>
              <a:cxn ang="0">
                <a:pos x="connsiteX12491" y="connsiteY12491"/>
              </a:cxn>
              <a:cxn ang="0">
                <a:pos x="connsiteX12492" y="connsiteY12492"/>
              </a:cxn>
              <a:cxn ang="0">
                <a:pos x="connsiteX12493" y="connsiteY12493"/>
              </a:cxn>
              <a:cxn ang="0">
                <a:pos x="connsiteX12494" y="connsiteY12494"/>
              </a:cxn>
              <a:cxn ang="0">
                <a:pos x="connsiteX12495" y="connsiteY12495"/>
              </a:cxn>
              <a:cxn ang="0">
                <a:pos x="connsiteX12496" y="connsiteY12496"/>
              </a:cxn>
              <a:cxn ang="0">
                <a:pos x="connsiteX12497" y="connsiteY12497"/>
              </a:cxn>
              <a:cxn ang="0">
                <a:pos x="connsiteX12498" y="connsiteY12498"/>
              </a:cxn>
              <a:cxn ang="0">
                <a:pos x="connsiteX12499" y="connsiteY12499"/>
              </a:cxn>
              <a:cxn ang="0">
                <a:pos x="connsiteX12500" y="connsiteY12500"/>
              </a:cxn>
              <a:cxn ang="0">
                <a:pos x="connsiteX12501" y="connsiteY12501"/>
              </a:cxn>
              <a:cxn ang="0">
                <a:pos x="connsiteX12502" y="connsiteY12502"/>
              </a:cxn>
              <a:cxn ang="0">
                <a:pos x="connsiteX12503" y="connsiteY12503"/>
              </a:cxn>
              <a:cxn ang="0">
                <a:pos x="connsiteX12504" y="connsiteY12504"/>
              </a:cxn>
              <a:cxn ang="0">
                <a:pos x="connsiteX12505" y="connsiteY12505"/>
              </a:cxn>
              <a:cxn ang="0">
                <a:pos x="connsiteX12506" y="connsiteY12506"/>
              </a:cxn>
              <a:cxn ang="0">
                <a:pos x="connsiteX12507" y="connsiteY12507"/>
              </a:cxn>
              <a:cxn ang="0">
                <a:pos x="connsiteX12508" y="connsiteY12508"/>
              </a:cxn>
              <a:cxn ang="0">
                <a:pos x="connsiteX12509" y="connsiteY12509"/>
              </a:cxn>
              <a:cxn ang="0">
                <a:pos x="connsiteX12510" y="connsiteY12510"/>
              </a:cxn>
              <a:cxn ang="0">
                <a:pos x="connsiteX12511" y="connsiteY12511"/>
              </a:cxn>
              <a:cxn ang="0">
                <a:pos x="connsiteX12512" y="connsiteY12512"/>
              </a:cxn>
              <a:cxn ang="0">
                <a:pos x="connsiteX12513" y="connsiteY12513"/>
              </a:cxn>
              <a:cxn ang="0">
                <a:pos x="connsiteX12514" y="connsiteY12514"/>
              </a:cxn>
              <a:cxn ang="0">
                <a:pos x="connsiteX12515" y="connsiteY12515"/>
              </a:cxn>
              <a:cxn ang="0">
                <a:pos x="connsiteX12516" y="connsiteY12516"/>
              </a:cxn>
              <a:cxn ang="0">
                <a:pos x="connsiteX12517" y="connsiteY12517"/>
              </a:cxn>
              <a:cxn ang="0">
                <a:pos x="connsiteX12518" y="connsiteY12518"/>
              </a:cxn>
              <a:cxn ang="0">
                <a:pos x="connsiteX12519" y="connsiteY12519"/>
              </a:cxn>
              <a:cxn ang="0">
                <a:pos x="connsiteX12520" y="connsiteY12520"/>
              </a:cxn>
              <a:cxn ang="0">
                <a:pos x="connsiteX12521" y="connsiteY12521"/>
              </a:cxn>
              <a:cxn ang="0">
                <a:pos x="connsiteX12522" y="connsiteY12522"/>
              </a:cxn>
              <a:cxn ang="0">
                <a:pos x="connsiteX12523" y="connsiteY12523"/>
              </a:cxn>
              <a:cxn ang="0">
                <a:pos x="connsiteX12524" y="connsiteY12524"/>
              </a:cxn>
              <a:cxn ang="0">
                <a:pos x="connsiteX12525" y="connsiteY12525"/>
              </a:cxn>
              <a:cxn ang="0">
                <a:pos x="connsiteX12526" y="connsiteY12526"/>
              </a:cxn>
              <a:cxn ang="0">
                <a:pos x="connsiteX12527" y="connsiteY12527"/>
              </a:cxn>
              <a:cxn ang="0">
                <a:pos x="connsiteX12528" y="connsiteY12528"/>
              </a:cxn>
              <a:cxn ang="0">
                <a:pos x="connsiteX12529" y="connsiteY12529"/>
              </a:cxn>
              <a:cxn ang="0">
                <a:pos x="connsiteX12530" y="connsiteY12530"/>
              </a:cxn>
              <a:cxn ang="0">
                <a:pos x="connsiteX12531" y="connsiteY12531"/>
              </a:cxn>
              <a:cxn ang="0">
                <a:pos x="connsiteX12532" y="connsiteY12532"/>
              </a:cxn>
              <a:cxn ang="0">
                <a:pos x="connsiteX12533" y="connsiteY12533"/>
              </a:cxn>
              <a:cxn ang="0">
                <a:pos x="connsiteX12534" y="connsiteY12534"/>
              </a:cxn>
              <a:cxn ang="0">
                <a:pos x="connsiteX12535" y="connsiteY12535"/>
              </a:cxn>
              <a:cxn ang="0">
                <a:pos x="connsiteX12536" y="connsiteY12536"/>
              </a:cxn>
              <a:cxn ang="0">
                <a:pos x="connsiteX12537" y="connsiteY12537"/>
              </a:cxn>
              <a:cxn ang="0">
                <a:pos x="connsiteX12538" y="connsiteY12538"/>
              </a:cxn>
              <a:cxn ang="0">
                <a:pos x="connsiteX12539" y="connsiteY12539"/>
              </a:cxn>
              <a:cxn ang="0">
                <a:pos x="connsiteX12540" y="connsiteY12540"/>
              </a:cxn>
              <a:cxn ang="0">
                <a:pos x="connsiteX12541" y="connsiteY12541"/>
              </a:cxn>
              <a:cxn ang="0">
                <a:pos x="connsiteX12542" y="connsiteY12542"/>
              </a:cxn>
              <a:cxn ang="0">
                <a:pos x="connsiteX12543" y="connsiteY12543"/>
              </a:cxn>
              <a:cxn ang="0">
                <a:pos x="connsiteX12544" y="connsiteY12544"/>
              </a:cxn>
              <a:cxn ang="0">
                <a:pos x="connsiteX12545" y="connsiteY12545"/>
              </a:cxn>
              <a:cxn ang="0">
                <a:pos x="connsiteX12546" y="connsiteY12546"/>
              </a:cxn>
              <a:cxn ang="0">
                <a:pos x="connsiteX12547" y="connsiteY12547"/>
              </a:cxn>
              <a:cxn ang="0">
                <a:pos x="connsiteX12548" y="connsiteY12548"/>
              </a:cxn>
              <a:cxn ang="0">
                <a:pos x="connsiteX12549" y="connsiteY12549"/>
              </a:cxn>
              <a:cxn ang="0">
                <a:pos x="connsiteX12550" y="connsiteY12550"/>
              </a:cxn>
              <a:cxn ang="0">
                <a:pos x="connsiteX12551" y="connsiteY12551"/>
              </a:cxn>
              <a:cxn ang="0">
                <a:pos x="connsiteX12552" y="connsiteY12552"/>
              </a:cxn>
              <a:cxn ang="0">
                <a:pos x="connsiteX12553" y="connsiteY12553"/>
              </a:cxn>
              <a:cxn ang="0">
                <a:pos x="connsiteX12554" y="connsiteY12554"/>
              </a:cxn>
              <a:cxn ang="0">
                <a:pos x="connsiteX12555" y="connsiteY12555"/>
              </a:cxn>
              <a:cxn ang="0">
                <a:pos x="connsiteX12556" y="connsiteY12556"/>
              </a:cxn>
              <a:cxn ang="0">
                <a:pos x="connsiteX12557" y="connsiteY12557"/>
              </a:cxn>
              <a:cxn ang="0">
                <a:pos x="connsiteX12558" y="connsiteY12558"/>
              </a:cxn>
              <a:cxn ang="0">
                <a:pos x="connsiteX12559" y="connsiteY12559"/>
              </a:cxn>
              <a:cxn ang="0">
                <a:pos x="connsiteX12560" y="connsiteY12560"/>
              </a:cxn>
              <a:cxn ang="0">
                <a:pos x="connsiteX12561" y="connsiteY12561"/>
              </a:cxn>
              <a:cxn ang="0">
                <a:pos x="connsiteX12562" y="connsiteY12562"/>
              </a:cxn>
              <a:cxn ang="0">
                <a:pos x="connsiteX12563" y="connsiteY12563"/>
              </a:cxn>
              <a:cxn ang="0">
                <a:pos x="connsiteX12564" y="connsiteY12564"/>
              </a:cxn>
              <a:cxn ang="0">
                <a:pos x="connsiteX12565" y="connsiteY12565"/>
              </a:cxn>
              <a:cxn ang="0">
                <a:pos x="connsiteX12566" y="connsiteY12566"/>
              </a:cxn>
              <a:cxn ang="0">
                <a:pos x="connsiteX12567" y="connsiteY12567"/>
              </a:cxn>
              <a:cxn ang="0">
                <a:pos x="connsiteX12568" y="connsiteY12568"/>
              </a:cxn>
              <a:cxn ang="0">
                <a:pos x="connsiteX12569" y="connsiteY12569"/>
              </a:cxn>
              <a:cxn ang="0">
                <a:pos x="connsiteX12570" y="connsiteY12570"/>
              </a:cxn>
              <a:cxn ang="0">
                <a:pos x="connsiteX12571" y="connsiteY12571"/>
              </a:cxn>
              <a:cxn ang="0">
                <a:pos x="connsiteX12572" y="connsiteY12572"/>
              </a:cxn>
              <a:cxn ang="0">
                <a:pos x="connsiteX12573" y="connsiteY12573"/>
              </a:cxn>
              <a:cxn ang="0">
                <a:pos x="connsiteX12574" y="connsiteY12574"/>
              </a:cxn>
              <a:cxn ang="0">
                <a:pos x="connsiteX12575" y="connsiteY12575"/>
              </a:cxn>
              <a:cxn ang="0">
                <a:pos x="connsiteX12576" y="connsiteY12576"/>
              </a:cxn>
              <a:cxn ang="0">
                <a:pos x="connsiteX12577" y="connsiteY12577"/>
              </a:cxn>
              <a:cxn ang="0">
                <a:pos x="connsiteX12578" y="connsiteY12578"/>
              </a:cxn>
              <a:cxn ang="0">
                <a:pos x="connsiteX12579" y="connsiteY12579"/>
              </a:cxn>
              <a:cxn ang="0">
                <a:pos x="connsiteX12580" y="connsiteY12580"/>
              </a:cxn>
              <a:cxn ang="0">
                <a:pos x="connsiteX12581" y="connsiteY12581"/>
              </a:cxn>
              <a:cxn ang="0">
                <a:pos x="connsiteX12582" y="connsiteY12582"/>
              </a:cxn>
              <a:cxn ang="0">
                <a:pos x="connsiteX12583" y="connsiteY12583"/>
              </a:cxn>
              <a:cxn ang="0">
                <a:pos x="connsiteX12584" y="connsiteY12584"/>
              </a:cxn>
              <a:cxn ang="0">
                <a:pos x="connsiteX12585" y="connsiteY12585"/>
              </a:cxn>
              <a:cxn ang="0">
                <a:pos x="connsiteX12586" y="connsiteY12586"/>
              </a:cxn>
              <a:cxn ang="0">
                <a:pos x="connsiteX12587" y="connsiteY12587"/>
              </a:cxn>
              <a:cxn ang="0">
                <a:pos x="connsiteX12588" y="connsiteY12588"/>
              </a:cxn>
              <a:cxn ang="0">
                <a:pos x="connsiteX12589" y="connsiteY12589"/>
              </a:cxn>
              <a:cxn ang="0">
                <a:pos x="connsiteX12590" y="connsiteY12590"/>
              </a:cxn>
              <a:cxn ang="0">
                <a:pos x="connsiteX12591" y="connsiteY12591"/>
              </a:cxn>
              <a:cxn ang="0">
                <a:pos x="connsiteX12592" y="connsiteY12592"/>
              </a:cxn>
              <a:cxn ang="0">
                <a:pos x="connsiteX12593" y="connsiteY12593"/>
              </a:cxn>
              <a:cxn ang="0">
                <a:pos x="connsiteX12594" y="connsiteY12594"/>
              </a:cxn>
              <a:cxn ang="0">
                <a:pos x="connsiteX12595" y="connsiteY12595"/>
              </a:cxn>
              <a:cxn ang="0">
                <a:pos x="connsiteX12596" y="connsiteY12596"/>
              </a:cxn>
              <a:cxn ang="0">
                <a:pos x="connsiteX12597" y="connsiteY12597"/>
              </a:cxn>
              <a:cxn ang="0">
                <a:pos x="connsiteX12598" y="connsiteY12598"/>
              </a:cxn>
              <a:cxn ang="0">
                <a:pos x="connsiteX12599" y="connsiteY12599"/>
              </a:cxn>
              <a:cxn ang="0">
                <a:pos x="connsiteX12600" y="connsiteY12600"/>
              </a:cxn>
              <a:cxn ang="0">
                <a:pos x="connsiteX12601" y="connsiteY12601"/>
              </a:cxn>
              <a:cxn ang="0">
                <a:pos x="connsiteX12602" y="connsiteY12602"/>
              </a:cxn>
              <a:cxn ang="0">
                <a:pos x="connsiteX12603" y="connsiteY12603"/>
              </a:cxn>
              <a:cxn ang="0">
                <a:pos x="connsiteX12604" y="connsiteY12604"/>
              </a:cxn>
              <a:cxn ang="0">
                <a:pos x="connsiteX12605" y="connsiteY12605"/>
              </a:cxn>
              <a:cxn ang="0">
                <a:pos x="connsiteX12606" y="connsiteY12606"/>
              </a:cxn>
              <a:cxn ang="0">
                <a:pos x="connsiteX12607" y="connsiteY12607"/>
              </a:cxn>
              <a:cxn ang="0">
                <a:pos x="connsiteX12608" y="connsiteY12608"/>
              </a:cxn>
              <a:cxn ang="0">
                <a:pos x="connsiteX12609" y="connsiteY12609"/>
              </a:cxn>
              <a:cxn ang="0">
                <a:pos x="connsiteX12610" y="connsiteY12610"/>
              </a:cxn>
              <a:cxn ang="0">
                <a:pos x="connsiteX12611" y="connsiteY12611"/>
              </a:cxn>
              <a:cxn ang="0">
                <a:pos x="connsiteX12612" y="connsiteY12612"/>
              </a:cxn>
              <a:cxn ang="0">
                <a:pos x="connsiteX12613" y="connsiteY12613"/>
              </a:cxn>
              <a:cxn ang="0">
                <a:pos x="connsiteX12614" y="connsiteY12614"/>
              </a:cxn>
              <a:cxn ang="0">
                <a:pos x="connsiteX12615" y="connsiteY12615"/>
              </a:cxn>
              <a:cxn ang="0">
                <a:pos x="connsiteX12616" y="connsiteY12616"/>
              </a:cxn>
              <a:cxn ang="0">
                <a:pos x="connsiteX12617" y="connsiteY12617"/>
              </a:cxn>
              <a:cxn ang="0">
                <a:pos x="connsiteX12618" y="connsiteY12618"/>
              </a:cxn>
              <a:cxn ang="0">
                <a:pos x="connsiteX12619" y="connsiteY12619"/>
              </a:cxn>
              <a:cxn ang="0">
                <a:pos x="connsiteX12620" y="connsiteY12620"/>
              </a:cxn>
              <a:cxn ang="0">
                <a:pos x="connsiteX12621" y="connsiteY12621"/>
              </a:cxn>
              <a:cxn ang="0">
                <a:pos x="connsiteX12622" y="connsiteY12622"/>
              </a:cxn>
              <a:cxn ang="0">
                <a:pos x="connsiteX12623" y="connsiteY12623"/>
              </a:cxn>
              <a:cxn ang="0">
                <a:pos x="connsiteX12624" y="connsiteY12624"/>
              </a:cxn>
              <a:cxn ang="0">
                <a:pos x="connsiteX12625" y="connsiteY12625"/>
              </a:cxn>
              <a:cxn ang="0">
                <a:pos x="connsiteX12626" y="connsiteY12626"/>
              </a:cxn>
              <a:cxn ang="0">
                <a:pos x="connsiteX12627" y="connsiteY12627"/>
              </a:cxn>
              <a:cxn ang="0">
                <a:pos x="connsiteX12628" y="connsiteY12628"/>
              </a:cxn>
              <a:cxn ang="0">
                <a:pos x="connsiteX12629" y="connsiteY12629"/>
              </a:cxn>
              <a:cxn ang="0">
                <a:pos x="connsiteX12630" y="connsiteY12630"/>
              </a:cxn>
              <a:cxn ang="0">
                <a:pos x="connsiteX12631" y="connsiteY12631"/>
              </a:cxn>
              <a:cxn ang="0">
                <a:pos x="connsiteX12632" y="connsiteY12632"/>
              </a:cxn>
              <a:cxn ang="0">
                <a:pos x="connsiteX12633" y="connsiteY12633"/>
              </a:cxn>
              <a:cxn ang="0">
                <a:pos x="connsiteX12634" y="connsiteY12634"/>
              </a:cxn>
              <a:cxn ang="0">
                <a:pos x="connsiteX12635" y="connsiteY12635"/>
              </a:cxn>
              <a:cxn ang="0">
                <a:pos x="connsiteX12636" y="connsiteY12636"/>
              </a:cxn>
              <a:cxn ang="0">
                <a:pos x="connsiteX12637" y="connsiteY12637"/>
              </a:cxn>
              <a:cxn ang="0">
                <a:pos x="connsiteX12638" y="connsiteY12638"/>
              </a:cxn>
              <a:cxn ang="0">
                <a:pos x="connsiteX12639" y="connsiteY12639"/>
              </a:cxn>
              <a:cxn ang="0">
                <a:pos x="connsiteX12640" y="connsiteY12640"/>
              </a:cxn>
              <a:cxn ang="0">
                <a:pos x="connsiteX12641" y="connsiteY12641"/>
              </a:cxn>
              <a:cxn ang="0">
                <a:pos x="connsiteX12642" y="connsiteY12642"/>
              </a:cxn>
              <a:cxn ang="0">
                <a:pos x="connsiteX12643" y="connsiteY12643"/>
              </a:cxn>
              <a:cxn ang="0">
                <a:pos x="connsiteX12644" y="connsiteY12644"/>
              </a:cxn>
              <a:cxn ang="0">
                <a:pos x="connsiteX12645" y="connsiteY12645"/>
              </a:cxn>
              <a:cxn ang="0">
                <a:pos x="connsiteX12646" y="connsiteY12646"/>
              </a:cxn>
              <a:cxn ang="0">
                <a:pos x="connsiteX12647" y="connsiteY12647"/>
              </a:cxn>
              <a:cxn ang="0">
                <a:pos x="connsiteX12648" y="connsiteY12648"/>
              </a:cxn>
              <a:cxn ang="0">
                <a:pos x="connsiteX12649" y="connsiteY12649"/>
              </a:cxn>
              <a:cxn ang="0">
                <a:pos x="connsiteX12650" y="connsiteY12650"/>
              </a:cxn>
              <a:cxn ang="0">
                <a:pos x="connsiteX12651" y="connsiteY12651"/>
              </a:cxn>
              <a:cxn ang="0">
                <a:pos x="connsiteX12652" y="connsiteY12652"/>
              </a:cxn>
              <a:cxn ang="0">
                <a:pos x="connsiteX12653" y="connsiteY12653"/>
              </a:cxn>
              <a:cxn ang="0">
                <a:pos x="connsiteX12654" y="connsiteY12654"/>
              </a:cxn>
              <a:cxn ang="0">
                <a:pos x="connsiteX12655" y="connsiteY12655"/>
              </a:cxn>
              <a:cxn ang="0">
                <a:pos x="connsiteX12656" y="connsiteY12656"/>
              </a:cxn>
              <a:cxn ang="0">
                <a:pos x="connsiteX12657" y="connsiteY12657"/>
              </a:cxn>
              <a:cxn ang="0">
                <a:pos x="connsiteX12658" y="connsiteY12658"/>
              </a:cxn>
              <a:cxn ang="0">
                <a:pos x="connsiteX12659" y="connsiteY12659"/>
              </a:cxn>
              <a:cxn ang="0">
                <a:pos x="connsiteX12660" y="connsiteY12660"/>
              </a:cxn>
              <a:cxn ang="0">
                <a:pos x="connsiteX12661" y="connsiteY12661"/>
              </a:cxn>
              <a:cxn ang="0">
                <a:pos x="connsiteX12662" y="connsiteY12662"/>
              </a:cxn>
              <a:cxn ang="0">
                <a:pos x="connsiteX12663" y="connsiteY12663"/>
              </a:cxn>
              <a:cxn ang="0">
                <a:pos x="connsiteX12664" y="connsiteY12664"/>
              </a:cxn>
              <a:cxn ang="0">
                <a:pos x="connsiteX12665" y="connsiteY12665"/>
              </a:cxn>
              <a:cxn ang="0">
                <a:pos x="connsiteX12666" y="connsiteY12666"/>
              </a:cxn>
              <a:cxn ang="0">
                <a:pos x="connsiteX12667" y="connsiteY12667"/>
              </a:cxn>
              <a:cxn ang="0">
                <a:pos x="connsiteX12668" y="connsiteY12668"/>
              </a:cxn>
              <a:cxn ang="0">
                <a:pos x="connsiteX12669" y="connsiteY12669"/>
              </a:cxn>
              <a:cxn ang="0">
                <a:pos x="connsiteX12670" y="connsiteY12670"/>
              </a:cxn>
              <a:cxn ang="0">
                <a:pos x="connsiteX12671" y="connsiteY12671"/>
              </a:cxn>
              <a:cxn ang="0">
                <a:pos x="connsiteX12672" y="connsiteY12672"/>
              </a:cxn>
              <a:cxn ang="0">
                <a:pos x="connsiteX12673" y="connsiteY12673"/>
              </a:cxn>
              <a:cxn ang="0">
                <a:pos x="connsiteX12674" y="connsiteY12674"/>
              </a:cxn>
              <a:cxn ang="0">
                <a:pos x="connsiteX12675" y="connsiteY12675"/>
              </a:cxn>
              <a:cxn ang="0">
                <a:pos x="connsiteX12676" y="connsiteY12676"/>
              </a:cxn>
              <a:cxn ang="0">
                <a:pos x="connsiteX12677" y="connsiteY12677"/>
              </a:cxn>
              <a:cxn ang="0">
                <a:pos x="connsiteX12678" y="connsiteY12678"/>
              </a:cxn>
              <a:cxn ang="0">
                <a:pos x="connsiteX12679" y="connsiteY12679"/>
              </a:cxn>
              <a:cxn ang="0">
                <a:pos x="connsiteX12680" y="connsiteY12680"/>
              </a:cxn>
              <a:cxn ang="0">
                <a:pos x="connsiteX12681" y="connsiteY12681"/>
              </a:cxn>
              <a:cxn ang="0">
                <a:pos x="connsiteX12682" y="connsiteY12682"/>
              </a:cxn>
              <a:cxn ang="0">
                <a:pos x="connsiteX12683" y="connsiteY12683"/>
              </a:cxn>
              <a:cxn ang="0">
                <a:pos x="connsiteX12684" y="connsiteY12684"/>
              </a:cxn>
              <a:cxn ang="0">
                <a:pos x="connsiteX12685" y="connsiteY12685"/>
              </a:cxn>
              <a:cxn ang="0">
                <a:pos x="connsiteX12686" y="connsiteY12686"/>
              </a:cxn>
              <a:cxn ang="0">
                <a:pos x="connsiteX12687" y="connsiteY12687"/>
              </a:cxn>
              <a:cxn ang="0">
                <a:pos x="connsiteX12688" y="connsiteY12688"/>
              </a:cxn>
              <a:cxn ang="0">
                <a:pos x="connsiteX12689" y="connsiteY12689"/>
              </a:cxn>
              <a:cxn ang="0">
                <a:pos x="connsiteX12690" y="connsiteY12690"/>
              </a:cxn>
              <a:cxn ang="0">
                <a:pos x="connsiteX12691" y="connsiteY12691"/>
              </a:cxn>
              <a:cxn ang="0">
                <a:pos x="connsiteX12692" y="connsiteY12692"/>
              </a:cxn>
              <a:cxn ang="0">
                <a:pos x="connsiteX12693" y="connsiteY12693"/>
              </a:cxn>
              <a:cxn ang="0">
                <a:pos x="connsiteX12694" y="connsiteY12694"/>
              </a:cxn>
              <a:cxn ang="0">
                <a:pos x="connsiteX12695" y="connsiteY12695"/>
              </a:cxn>
              <a:cxn ang="0">
                <a:pos x="connsiteX12696" y="connsiteY12696"/>
              </a:cxn>
              <a:cxn ang="0">
                <a:pos x="connsiteX12697" y="connsiteY12697"/>
              </a:cxn>
              <a:cxn ang="0">
                <a:pos x="connsiteX12698" y="connsiteY12698"/>
              </a:cxn>
              <a:cxn ang="0">
                <a:pos x="connsiteX12699" y="connsiteY12699"/>
              </a:cxn>
              <a:cxn ang="0">
                <a:pos x="connsiteX12700" y="connsiteY12700"/>
              </a:cxn>
              <a:cxn ang="0">
                <a:pos x="connsiteX12701" y="connsiteY12701"/>
              </a:cxn>
              <a:cxn ang="0">
                <a:pos x="connsiteX12702" y="connsiteY12702"/>
              </a:cxn>
              <a:cxn ang="0">
                <a:pos x="connsiteX12703" y="connsiteY12703"/>
              </a:cxn>
              <a:cxn ang="0">
                <a:pos x="connsiteX12704" y="connsiteY12704"/>
              </a:cxn>
              <a:cxn ang="0">
                <a:pos x="connsiteX12705" y="connsiteY12705"/>
              </a:cxn>
              <a:cxn ang="0">
                <a:pos x="connsiteX12706" y="connsiteY12706"/>
              </a:cxn>
              <a:cxn ang="0">
                <a:pos x="connsiteX12707" y="connsiteY12707"/>
              </a:cxn>
              <a:cxn ang="0">
                <a:pos x="connsiteX12708" y="connsiteY12708"/>
              </a:cxn>
              <a:cxn ang="0">
                <a:pos x="connsiteX12709" y="connsiteY12709"/>
              </a:cxn>
              <a:cxn ang="0">
                <a:pos x="connsiteX12710" y="connsiteY12710"/>
              </a:cxn>
              <a:cxn ang="0">
                <a:pos x="connsiteX12711" y="connsiteY12711"/>
              </a:cxn>
              <a:cxn ang="0">
                <a:pos x="connsiteX12712" y="connsiteY12712"/>
              </a:cxn>
              <a:cxn ang="0">
                <a:pos x="connsiteX12713" y="connsiteY12713"/>
              </a:cxn>
              <a:cxn ang="0">
                <a:pos x="connsiteX12714" y="connsiteY12714"/>
              </a:cxn>
              <a:cxn ang="0">
                <a:pos x="connsiteX12715" y="connsiteY12715"/>
              </a:cxn>
              <a:cxn ang="0">
                <a:pos x="connsiteX12716" y="connsiteY12716"/>
              </a:cxn>
              <a:cxn ang="0">
                <a:pos x="connsiteX12717" y="connsiteY12717"/>
              </a:cxn>
              <a:cxn ang="0">
                <a:pos x="connsiteX12718" y="connsiteY12718"/>
              </a:cxn>
              <a:cxn ang="0">
                <a:pos x="connsiteX12719" y="connsiteY12719"/>
              </a:cxn>
              <a:cxn ang="0">
                <a:pos x="connsiteX12720" y="connsiteY12720"/>
              </a:cxn>
              <a:cxn ang="0">
                <a:pos x="connsiteX12721" y="connsiteY12721"/>
              </a:cxn>
              <a:cxn ang="0">
                <a:pos x="connsiteX12722" y="connsiteY12722"/>
              </a:cxn>
              <a:cxn ang="0">
                <a:pos x="connsiteX12723" y="connsiteY12723"/>
              </a:cxn>
              <a:cxn ang="0">
                <a:pos x="connsiteX12724" y="connsiteY12724"/>
              </a:cxn>
              <a:cxn ang="0">
                <a:pos x="connsiteX12725" y="connsiteY12725"/>
              </a:cxn>
              <a:cxn ang="0">
                <a:pos x="connsiteX12726" y="connsiteY12726"/>
              </a:cxn>
              <a:cxn ang="0">
                <a:pos x="connsiteX12727" y="connsiteY12727"/>
              </a:cxn>
              <a:cxn ang="0">
                <a:pos x="connsiteX12728" y="connsiteY12728"/>
              </a:cxn>
              <a:cxn ang="0">
                <a:pos x="connsiteX12729" y="connsiteY12729"/>
              </a:cxn>
              <a:cxn ang="0">
                <a:pos x="connsiteX12730" y="connsiteY12730"/>
              </a:cxn>
              <a:cxn ang="0">
                <a:pos x="connsiteX12731" y="connsiteY12731"/>
              </a:cxn>
              <a:cxn ang="0">
                <a:pos x="connsiteX12732" y="connsiteY12732"/>
              </a:cxn>
              <a:cxn ang="0">
                <a:pos x="connsiteX12733" y="connsiteY12733"/>
              </a:cxn>
              <a:cxn ang="0">
                <a:pos x="connsiteX12734" y="connsiteY12734"/>
              </a:cxn>
              <a:cxn ang="0">
                <a:pos x="connsiteX12735" y="connsiteY12735"/>
              </a:cxn>
              <a:cxn ang="0">
                <a:pos x="connsiteX12736" y="connsiteY12736"/>
              </a:cxn>
              <a:cxn ang="0">
                <a:pos x="connsiteX12737" y="connsiteY12737"/>
              </a:cxn>
              <a:cxn ang="0">
                <a:pos x="connsiteX12738" y="connsiteY12738"/>
              </a:cxn>
              <a:cxn ang="0">
                <a:pos x="connsiteX12739" y="connsiteY12739"/>
              </a:cxn>
              <a:cxn ang="0">
                <a:pos x="connsiteX12740" y="connsiteY12740"/>
              </a:cxn>
              <a:cxn ang="0">
                <a:pos x="connsiteX12741" y="connsiteY12741"/>
              </a:cxn>
              <a:cxn ang="0">
                <a:pos x="connsiteX12742" y="connsiteY12742"/>
              </a:cxn>
              <a:cxn ang="0">
                <a:pos x="connsiteX12743" y="connsiteY12743"/>
              </a:cxn>
              <a:cxn ang="0">
                <a:pos x="connsiteX12744" y="connsiteY12744"/>
              </a:cxn>
              <a:cxn ang="0">
                <a:pos x="connsiteX12745" y="connsiteY12745"/>
              </a:cxn>
              <a:cxn ang="0">
                <a:pos x="connsiteX12746" y="connsiteY12746"/>
              </a:cxn>
              <a:cxn ang="0">
                <a:pos x="connsiteX12747" y="connsiteY12747"/>
              </a:cxn>
              <a:cxn ang="0">
                <a:pos x="connsiteX12748" y="connsiteY12748"/>
              </a:cxn>
              <a:cxn ang="0">
                <a:pos x="connsiteX12749" y="connsiteY12749"/>
              </a:cxn>
              <a:cxn ang="0">
                <a:pos x="connsiteX12750" y="connsiteY12750"/>
              </a:cxn>
              <a:cxn ang="0">
                <a:pos x="connsiteX12751" y="connsiteY12751"/>
              </a:cxn>
              <a:cxn ang="0">
                <a:pos x="connsiteX12752" y="connsiteY12752"/>
              </a:cxn>
              <a:cxn ang="0">
                <a:pos x="connsiteX12753" y="connsiteY12753"/>
              </a:cxn>
              <a:cxn ang="0">
                <a:pos x="connsiteX12754" y="connsiteY12754"/>
              </a:cxn>
              <a:cxn ang="0">
                <a:pos x="connsiteX12755" y="connsiteY12755"/>
              </a:cxn>
              <a:cxn ang="0">
                <a:pos x="connsiteX12756" y="connsiteY12756"/>
              </a:cxn>
              <a:cxn ang="0">
                <a:pos x="connsiteX12757" y="connsiteY12757"/>
              </a:cxn>
              <a:cxn ang="0">
                <a:pos x="connsiteX12758" y="connsiteY12758"/>
              </a:cxn>
              <a:cxn ang="0">
                <a:pos x="connsiteX12759" y="connsiteY12759"/>
              </a:cxn>
              <a:cxn ang="0">
                <a:pos x="connsiteX12760" y="connsiteY12760"/>
              </a:cxn>
              <a:cxn ang="0">
                <a:pos x="connsiteX12761" y="connsiteY12761"/>
              </a:cxn>
              <a:cxn ang="0">
                <a:pos x="connsiteX12762" y="connsiteY12762"/>
              </a:cxn>
              <a:cxn ang="0">
                <a:pos x="connsiteX12763" y="connsiteY12763"/>
              </a:cxn>
              <a:cxn ang="0">
                <a:pos x="connsiteX12764" y="connsiteY12764"/>
              </a:cxn>
              <a:cxn ang="0">
                <a:pos x="connsiteX12765" y="connsiteY12765"/>
              </a:cxn>
              <a:cxn ang="0">
                <a:pos x="connsiteX12766" y="connsiteY12766"/>
              </a:cxn>
              <a:cxn ang="0">
                <a:pos x="connsiteX12767" y="connsiteY12767"/>
              </a:cxn>
              <a:cxn ang="0">
                <a:pos x="connsiteX12768" y="connsiteY12768"/>
              </a:cxn>
              <a:cxn ang="0">
                <a:pos x="connsiteX12769" y="connsiteY12769"/>
              </a:cxn>
              <a:cxn ang="0">
                <a:pos x="connsiteX12770" y="connsiteY12770"/>
              </a:cxn>
              <a:cxn ang="0">
                <a:pos x="connsiteX12771" y="connsiteY12771"/>
              </a:cxn>
              <a:cxn ang="0">
                <a:pos x="connsiteX12772" y="connsiteY12772"/>
              </a:cxn>
              <a:cxn ang="0">
                <a:pos x="connsiteX12773" y="connsiteY12773"/>
              </a:cxn>
              <a:cxn ang="0">
                <a:pos x="connsiteX12774" y="connsiteY12774"/>
              </a:cxn>
              <a:cxn ang="0">
                <a:pos x="connsiteX12775" y="connsiteY12775"/>
              </a:cxn>
              <a:cxn ang="0">
                <a:pos x="connsiteX12776" y="connsiteY12776"/>
              </a:cxn>
              <a:cxn ang="0">
                <a:pos x="connsiteX12777" y="connsiteY12777"/>
              </a:cxn>
              <a:cxn ang="0">
                <a:pos x="connsiteX12778" y="connsiteY12778"/>
              </a:cxn>
              <a:cxn ang="0">
                <a:pos x="connsiteX12779" y="connsiteY12779"/>
              </a:cxn>
              <a:cxn ang="0">
                <a:pos x="connsiteX12780" y="connsiteY12780"/>
              </a:cxn>
              <a:cxn ang="0">
                <a:pos x="connsiteX12781" y="connsiteY12781"/>
              </a:cxn>
              <a:cxn ang="0">
                <a:pos x="connsiteX12782" y="connsiteY12782"/>
              </a:cxn>
              <a:cxn ang="0">
                <a:pos x="connsiteX12783" y="connsiteY12783"/>
              </a:cxn>
              <a:cxn ang="0">
                <a:pos x="connsiteX12784" y="connsiteY12784"/>
              </a:cxn>
              <a:cxn ang="0">
                <a:pos x="connsiteX12785" y="connsiteY12785"/>
              </a:cxn>
              <a:cxn ang="0">
                <a:pos x="connsiteX12786" y="connsiteY12786"/>
              </a:cxn>
              <a:cxn ang="0">
                <a:pos x="connsiteX12787" y="connsiteY12787"/>
              </a:cxn>
              <a:cxn ang="0">
                <a:pos x="connsiteX12788" y="connsiteY12788"/>
              </a:cxn>
              <a:cxn ang="0">
                <a:pos x="connsiteX12789" y="connsiteY12789"/>
              </a:cxn>
              <a:cxn ang="0">
                <a:pos x="connsiteX12790" y="connsiteY12790"/>
              </a:cxn>
              <a:cxn ang="0">
                <a:pos x="connsiteX12791" y="connsiteY12791"/>
              </a:cxn>
              <a:cxn ang="0">
                <a:pos x="connsiteX12792" y="connsiteY12792"/>
              </a:cxn>
              <a:cxn ang="0">
                <a:pos x="connsiteX12793" y="connsiteY12793"/>
              </a:cxn>
              <a:cxn ang="0">
                <a:pos x="connsiteX12794" y="connsiteY12794"/>
              </a:cxn>
              <a:cxn ang="0">
                <a:pos x="connsiteX12795" y="connsiteY12795"/>
              </a:cxn>
              <a:cxn ang="0">
                <a:pos x="connsiteX12796" y="connsiteY12796"/>
              </a:cxn>
              <a:cxn ang="0">
                <a:pos x="connsiteX12797" y="connsiteY12797"/>
              </a:cxn>
              <a:cxn ang="0">
                <a:pos x="connsiteX12798" y="connsiteY12798"/>
              </a:cxn>
              <a:cxn ang="0">
                <a:pos x="connsiteX12799" y="connsiteY12799"/>
              </a:cxn>
              <a:cxn ang="0">
                <a:pos x="connsiteX12800" y="connsiteY12800"/>
              </a:cxn>
              <a:cxn ang="0">
                <a:pos x="connsiteX12801" y="connsiteY12801"/>
              </a:cxn>
              <a:cxn ang="0">
                <a:pos x="connsiteX12802" y="connsiteY12802"/>
              </a:cxn>
              <a:cxn ang="0">
                <a:pos x="connsiteX12803" y="connsiteY12803"/>
              </a:cxn>
              <a:cxn ang="0">
                <a:pos x="connsiteX12804" y="connsiteY12804"/>
              </a:cxn>
              <a:cxn ang="0">
                <a:pos x="connsiteX12805" y="connsiteY12805"/>
              </a:cxn>
              <a:cxn ang="0">
                <a:pos x="connsiteX12806" y="connsiteY12806"/>
              </a:cxn>
              <a:cxn ang="0">
                <a:pos x="connsiteX12807" y="connsiteY12807"/>
              </a:cxn>
              <a:cxn ang="0">
                <a:pos x="connsiteX12808" y="connsiteY12808"/>
              </a:cxn>
              <a:cxn ang="0">
                <a:pos x="connsiteX12809" y="connsiteY12809"/>
              </a:cxn>
              <a:cxn ang="0">
                <a:pos x="connsiteX12810" y="connsiteY12810"/>
              </a:cxn>
              <a:cxn ang="0">
                <a:pos x="connsiteX12811" y="connsiteY12811"/>
              </a:cxn>
              <a:cxn ang="0">
                <a:pos x="connsiteX12812" y="connsiteY12812"/>
              </a:cxn>
              <a:cxn ang="0">
                <a:pos x="connsiteX12813" y="connsiteY12813"/>
              </a:cxn>
              <a:cxn ang="0">
                <a:pos x="connsiteX12814" y="connsiteY12814"/>
              </a:cxn>
              <a:cxn ang="0">
                <a:pos x="connsiteX12815" y="connsiteY12815"/>
              </a:cxn>
              <a:cxn ang="0">
                <a:pos x="connsiteX12816" y="connsiteY12816"/>
              </a:cxn>
              <a:cxn ang="0">
                <a:pos x="connsiteX12817" y="connsiteY12817"/>
              </a:cxn>
              <a:cxn ang="0">
                <a:pos x="connsiteX12818" y="connsiteY12818"/>
              </a:cxn>
              <a:cxn ang="0">
                <a:pos x="connsiteX12819" y="connsiteY12819"/>
              </a:cxn>
              <a:cxn ang="0">
                <a:pos x="connsiteX12820" y="connsiteY12820"/>
              </a:cxn>
              <a:cxn ang="0">
                <a:pos x="connsiteX12821" y="connsiteY12821"/>
              </a:cxn>
              <a:cxn ang="0">
                <a:pos x="connsiteX12822" y="connsiteY12822"/>
              </a:cxn>
              <a:cxn ang="0">
                <a:pos x="connsiteX12823" y="connsiteY12823"/>
              </a:cxn>
              <a:cxn ang="0">
                <a:pos x="connsiteX12824" y="connsiteY12824"/>
              </a:cxn>
              <a:cxn ang="0">
                <a:pos x="connsiteX12825" y="connsiteY12825"/>
              </a:cxn>
              <a:cxn ang="0">
                <a:pos x="connsiteX12826" y="connsiteY12826"/>
              </a:cxn>
              <a:cxn ang="0">
                <a:pos x="connsiteX12827" y="connsiteY12827"/>
              </a:cxn>
              <a:cxn ang="0">
                <a:pos x="connsiteX12828" y="connsiteY12828"/>
              </a:cxn>
              <a:cxn ang="0">
                <a:pos x="connsiteX12829" y="connsiteY12829"/>
              </a:cxn>
              <a:cxn ang="0">
                <a:pos x="connsiteX12830" y="connsiteY12830"/>
              </a:cxn>
              <a:cxn ang="0">
                <a:pos x="connsiteX12831" y="connsiteY12831"/>
              </a:cxn>
              <a:cxn ang="0">
                <a:pos x="connsiteX12832" y="connsiteY12832"/>
              </a:cxn>
              <a:cxn ang="0">
                <a:pos x="connsiteX12833" y="connsiteY12833"/>
              </a:cxn>
              <a:cxn ang="0">
                <a:pos x="connsiteX12834" y="connsiteY12834"/>
              </a:cxn>
              <a:cxn ang="0">
                <a:pos x="connsiteX12835" y="connsiteY12835"/>
              </a:cxn>
              <a:cxn ang="0">
                <a:pos x="connsiteX12836" y="connsiteY12836"/>
              </a:cxn>
              <a:cxn ang="0">
                <a:pos x="connsiteX12837" y="connsiteY12837"/>
              </a:cxn>
              <a:cxn ang="0">
                <a:pos x="connsiteX12838" y="connsiteY12838"/>
              </a:cxn>
              <a:cxn ang="0">
                <a:pos x="connsiteX12839" y="connsiteY12839"/>
              </a:cxn>
              <a:cxn ang="0">
                <a:pos x="connsiteX12840" y="connsiteY12840"/>
              </a:cxn>
              <a:cxn ang="0">
                <a:pos x="connsiteX12841" y="connsiteY12841"/>
              </a:cxn>
              <a:cxn ang="0">
                <a:pos x="connsiteX12842" y="connsiteY12842"/>
              </a:cxn>
              <a:cxn ang="0">
                <a:pos x="connsiteX12843" y="connsiteY12843"/>
              </a:cxn>
              <a:cxn ang="0">
                <a:pos x="connsiteX12844" y="connsiteY12844"/>
              </a:cxn>
              <a:cxn ang="0">
                <a:pos x="connsiteX12845" y="connsiteY12845"/>
              </a:cxn>
              <a:cxn ang="0">
                <a:pos x="connsiteX12846" y="connsiteY12846"/>
              </a:cxn>
              <a:cxn ang="0">
                <a:pos x="connsiteX12847" y="connsiteY12847"/>
              </a:cxn>
              <a:cxn ang="0">
                <a:pos x="connsiteX12848" y="connsiteY12848"/>
              </a:cxn>
              <a:cxn ang="0">
                <a:pos x="connsiteX12849" y="connsiteY12849"/>
              </a:cxn>
              <a:cxn ang="0">
                <a:pos x="connsiteX12850" y="connsiteY12850"/>
              </a:cxn>
              <a:cxn ang="0">
                <a:pos x="connsiteX12851" y="connsiteY12851"/>
              </a:cxn>
              <a:cxn ang="0">
                <a:pos x="connsiteX12852" y="connsiteY12852"/>
              </a:cxn>
              <a:cxn ang="0">
                <a:pos x="connsiteX12853" y="connsiteY12853"/>
              </a:cxn>
              <a:cxn ang="0">
                <a:pos x="connsiteX12854" y="connsiteY12854"/>
              </a:cxn>
              <a:cxn ang="0">
                <a:pos x="connsiteX12855" y="connsiteY12855"/>
              </a:cxn>
              <a:cxn ang="0">
                <a:pos x="connsiteX12856" y="connsiteY12856"/>
              </a:cxn>
              <a:cxn ang="0">
                <a:pos x="connsiteX12857" y="connsiteY12857"/>
              </a:cxn>
              <a:cxn ang="0">
                <a:pos x="connsiteX12858" y="connsiteY12858"/>
              </a:cxn>
              <a:cxn ang="0">
                <a:pos x="connsiteX12859" y="connsiteY12859"/>
              </a:cxn>
              <a:cxn ang="0">
                <a:pos x="connsiteX12860" y="connsiteY12860"/>
              </a:cxn>
              <a:cxn ang="0">
                <a:pos x="connsiteX12861" y="connsiteY12861"/>
              </a:cxn>
              <a:cxn ang="0">
                <a:pos x="connsiteX12862" y="connsiteY12862"/>
              </a:cxn>
              <a:cxn ang="0">
                <a:pos x="connsiteX12863" y="connsiteY12863"/>
              </a:cxn>
              <a:cxn ang="0">
                <a:pos x="connsiteX12864" y="connsiteY12864"/>
              </a:cxn>
              <a:cxn ang="0">
                <a:pos x="connsiteX12865" y="connsiteY12865"/>
              </a:cxn>
              <a:cxn ang="0">
                <a:pos x="connsiteX12866" y="connsiteY12866"/>
              </a:cxn>
              <a:cxn ang="0">
                <a:pos x="connsiteX12867" y="connsiteY12867"/>
              </a:cxn>
              <a:cxn ang="0">
                <a:pos x="connsiteX12868" y="connsiteY12868"/>
              </a:cxn>
              <a:cxn ang="0">
                <a:pos x="connsiteX12869" y="connsiteY12869"/>
              </a:cxn>
              <a:cxn ang="0">
                <a:pos x="connsiteX12870" y="connsiteY12870"/>
              </a:cxn>
              <a:cxn ang="0">
                <a:pos x="connsiteX12871" y="connsiteY12871"/>
              </a:cxn>
              <a:cxn ang="0">
                <a:pos x="connsiteX12872" y="connsiteY12872"/>
              </a:cxn>
              <a:cxn ang="0">
                <a:pos x="connsiteX12873" y="connsiteY12873"/>
              </a:cxn>
              <a:cxn ang="0">
                <a:pos x="connsiteX12874" y="connsiteY12874"/>
              </a:cxn>
              <a:cxn ang="0">
                <a:pos x="connsiteX12875" y="connsiteY12875"/>
              </a:cxn>
              <a:cxn ang="0">
                <a:pos x="connsiteX12876" y="connsiteY12876"/>
              </a:cxn>
              <a:cxn ang="0">
                <a:pos x="connsiteX12877" y="connsiteY12877"/>
              </a:cxn>
              <a:cxn ang="0">
                <a:pos x="connsiteX12878" y="connsiteY12878"/>
              </a:cxn>
              <a:cxn ang="0">
                <a:pos x="connsiteX12879" y="connsiteY12879"/>
              </a:cxn>
              <a:cxn ang="0">
                <a:pos x="connsiteX12880" y="connsiteY12880"/>
              </a:cxn>
              <a:cxn ang="0">
                <a:pos x="connsiteX12881" y="connsiteY12881"/>
              </a:cxn>
              <a:cxn ang="0">
                <a:pos x="connsiteX12882" y="connsiteY12882"/>
              </a:cxn>
              <a:cxn ang="0">
                <a:pos x="connsiteX12883" y="connsiteY12883"/>
              </a:cxn>
              <a:cxn ang="0">
                <a:pos x="connsiteX12884" y="connsiteY12884"/>
              </a:cxn>
              <a:cxn ang="0">
                <a:pos x="connsiteX12885" y="connsiteY12885"/>
              </a:cxn>
              <a:cxn ang="0">
                <a:pos x="connsiteX12886" y="connsiteY12886"/>
              </a:cxn>
              <a:cxn ang="0">
                <a:pos x="connsiteX12887" y="connsiteY12887"/>
              </a:cxn>
              <a:cxn ang="0">
                <a:pos x="connsiteX12888" y="connsiteY12888"/>
              </a:cxn>
              <a:cxn ang="0">
                <a:pos x="connsiteX12889" y="connsiteY12889"/>
              </a:cxn>
              <a:cxn ang="0">
                <a:pos x="connsiteX12890" y="connsiteY12890"/>
              </a:cxn>
              <a:cxn ang="0">
                <a:pos x="connsiteX12891" y="connsiteY12891"/>
              </a:cxn>
              <a:cxn ang="0">
                <a:pos x="connsiteX12892" y="connsiteY12892"/>
              </a:cxn>
              <a:cxn ang="0">
                <a:pos x="connsiteX12893" y="connsiteY12893"/>
              </a:cxn>
              <a:cxn ang="0">
                <a:pos x="connsiteX12894" y="connsiteY12894"/>
              </a:cxn>
              <a:cxn ang="0">
                <a:pos x="connsiteX12895" y="connsiteY12895"/>
              </a:cxn>
              <a:cxn ang="0">
                <a:pos x="connsiteX12896" y="connsiteY12896"/>
              </a:cxn>
              <a:cxn ang="0">
                <a:pos x="connsiteX12897" y="connsiteY12897"/>
              </a:cxn>
              <a:cxn ang="0">
                <a:pos x="connsiteX12898" y="connsiteY12898"/>
              </a:cxn>
              <a:cxn ang="0">
                <a:pos x="connsiteX12899" y="connsiteY12899"/>
              </a:cxn>
              <a:cxn ang="0">
                <a:pos x="connsiteX12900" y="connsiteY12900"/>
              </a:cxn>
              <a:cxn ang="0">
                <a:pos x="connsiteX12901" y="connsiteY12901"/>
              </a:cxn>
              <a:cxn ang="0">
                <a:pos x="connsiteX12902" y="connsiteY12902"/>
              </a:cxn>
              <a:cxn ang="0">
                <a:pos x="connsiteX12903" y="connsiteY12903"/>
              </a:cxn>
              <a:cxn ang="0">
                <a:pos x="connsiteX12904" y="connsiteY12904"/>
              </a:cxn>
              <a:cxn ang="0">
                <a:pos x="connsiteX12905" y="connsiteY12905"/>
              </a:cxn>
              <a:cxn ang="0">
                <a:pos x="connsiteX12906" y="connsiteY12906"/>
              </a:cxn>
              <a:cxn ang="0">
                <a:pos x="connsiteX12907" y="connsiteY12907"/>
              </a:cxn>
              <a:cxn ang="0">
                <a:pos x="connsiteX12908" y="connsiteY12908"/>
              </a:cxn>
              <a:cxn ang="0">
                <a:pos x="connsiteX12909" y="connsiteY12909"/>
              </a:cxn>
              <a:cxn ang="0">
                <a:pos x="connsiteX12910" y="connsiteY12910"/>
              </a:cxn>
              <a:cxn ang="0">
                <a:pos x="connsiteX12911" y="connsiteY12911"/>
              </a:cxn>
              <a:cxn ang="0">
                <a:pos x="connsiteX12912" y="connsiteY12912"/>
              </a:cxn>
              <a:cxn ang="0">
                <a:pos x="connsiteX12913" y="connsiteY12913"/>
              </a:cxn>
              <a:cxn ang="0">
                <a:pos x="connsiteX12914" y="connsiteY12914"/>
              </a:cxn>
              <a:cxn ang="0">
                <a:pos x="connsiteX12915" y="connsiteY12915"/>
              </a:cxn>
              <a:cxn ang="0">
                <a:pos x="connsiteX12916" y="connsiteY12916"/>
              </a:cxn>
              <a:cxn ang="0">
                <a:pos x="connsiteX12917" y="connsiteY12917"/>
              </a:cxn>
              <a:cxn ang="0">
                <a:pos x="connsiteX12918" y="connsiteY12918"/>
              </a:cxn>
              <a:cxn ang="0">
                <a:pos x="connsiteX12919" y="connsiteY12919"/>
              </a:cxn>
              <a:cxn ang="0">
                <a:pos x="connsiteX12920" y="connsiteY12920"/>
              </a:cxn>
              <a:cxn ang="0">
                <a:pos x="connsiteX12921" y="connsiteY12921"/>
              </a:cxn>
              <a:cxn ang="0">
                <a:pos x="connsiteX12922" y="connsiteY12922"/>
              </a:cxn>
              <a:cxn ang="0">
                <a:pos x="connsiteX12923" y="connsiteY12923"/>
              </a:cxn>
              <a:cxn ang="0">
                <a:pos x="connsiteX12924" y="connsiteY12924"/>
              </a:cxn>
              <a:cxn ang="0">
                <a:pos x="connsiteX12925" y="connsiteY12925"/>
              </a:cxn>
              <a:cxn ang="0">
                <a:pos x="connsiteX12926" y="connsiteY12926"/>
              </a:cxn>
              <a:cxn ang="0">
                <a:pos x="connsiteX12927" y="connsiteY12927"/>
              </a:cxn>
              <a:cxn ang="0">
                <a:pos x="connsiteX12928" y="connsiteY12928"/>
              </a:cxn>
              <a:cxn ang="0">
                <a:pos x="connsiteX12929" y="connsiteY12929"/>
              </a:cxn>
              <a:cxn ang="0">
                <a:pos x="connsiteX12930" y="connsiteY12930"/>
              </a:cxn>
              <a:cxn ang="0">
                <a:pos x="connsiteX12931" y="connsiteY12931"/>
              </a:cxn>
              <a:cxn ang="0">
                <a:pos x="connsiteX12932" y="connsiteY12932"/>
              </a:cxn>
              <a:cxn ang="0">
                <a:pos x="connsiteX12933" y="connsiteY12933"/>
              </a:cxn>
              <a:cxn ang="0">
                <a:pos x="connsiteX12934" y="connsiteY12934"/>
              </a:cxn>
              <a:cxn ang="0">
                <a:pos x="connsiteX12935" y="connsiteY12935"/>
              </a:cxn>
              <a:cxn ang="0">
                <a:pos x="connsiteX12936" y="connsiteY12936"/>
              </a:cxn>
              <a:cxn ang="0">
                <a:pos x="connsiteX12937" y="connsiteY12937"/>
              </a:cxn>
              <a:cxn ang="0">
                <a:pos x="connsiteX12938" y="connsiteY12938"/>
              </a:cxn>
              <a:cxn ang="0">
                <a:pos x="connsiteX12939" y="connsiteY12939"/>
              </a:cxn>
              <a:cxn ang="0">
                <a:pos x="connsiteX12940" y="connsiteY12940"/>
              </a:cxn>
              <a:cxn ang="0">
                <a:pos x="connsiteX12941" y="connsiteY12941"/>
              </a:cxn>
              <a:cxn ang="0">
                <a:pos x="connsiteX12942" y="connsiteY12942"/>
              </a:cxn>
              <a:cxn ang="0">
                <a:pos x="connsiteX12943" y="connsiteY12943"/>
              </a:cxn>
              <a:cxn ang="0">
                <a:pos x="connsiteX12944" y="connsiteY12944"/>
              </a:cxn>
              <a:cxn ang="0">
                <a:pos x="connsiteX12945" y="connsiteY12945"/>
              </a:cxn>
              <a:cxn ang="0">
                <a:pos x="connsiteX12946" y="connsiteY12946"/>
              </a:cxn>
              <a:cxn ang="0">
                <a:pos x="connsiteX12947" y="connsiteY12947"/>
              </a:cxn>
              <a:cxn ang="0">
                <a:pos x="connsiteX12948" y="connsiteY12948"/>
              </a:cxn>
              <a:cxn ang="0">
                <a:pos x="connsiteX12949" y="connsiteY12949"/>
              </a:cxn>
              <a:cxn ang="0">
                <a:pos x="connsiteX12950" y="connsiteY12950"/>
              </a:cxn>
              <a:cxn ang="0">
                <a:pos x="connsiteX12951" y="connsiteY12951"/>
              </a:cxn>
              <a:cxn ang="0">
                <a:pos x="connsiteX12952" y="connsiteY12952"/>
              </a:cxn>
              <a:cxn ang="0">
                <a:pos x="connsiteX12953" y="connsiteY12953"/>
              </a:cxn>
              <a:cxn ang="0">
                <a:pos x="connsiteX12954" y="connsiteY12954"/>
              </a:cxn>
              <a:cxn ang="0">
                <a:pos x="connsiteX12955" y="connsiteY12955"/>
              </a:cxn>
              <a:cxn ang="0">
                <a:pos x="connsiteX12956" y="connsiteY12956"/>
              </a:cxn>
              <a:cxn ang="0">
                <a:pos x="connsiteX12957" y="connsiteY12957"/>
              </a:cxn>
              <a:cxn ang="0">
                <a:pos x="connsiteX12958" y="connsiteY12958"/>
              </a:cxn>
              <a:cxn ang="0">
                <a:pos x="connsiteX12959" y="connsiteY12959"/>
              </a:cxn>
              <a:cxn ang="0">
                <a:pos x="connsiteX12960" y="connsiteY12960"/>
              </a:cxn>
              <a:cxn ang="0">
                <a:pos x="connsiteX12961" y="connsiteY12961"/>
              </a:cxn>
              <a:cxn ang="0">
                <a:pos x="connsiteX12962" y="connsiteY12962"/>
              </a:cxn>
              <a:cxn ang="0">
                <a:pos x="connsiteX12963" y="connsiteY12963"/>
              </a:cxn>
              <a:cxn ang="0">
                <a:pos x="connsiteX12964" y="connsiteY12964"/>
              </a:cxn>
              <a:cxn ang="0">
                <a:pos x="connsiteX12965" y="connsiteY12965"/>
              </a:cxn>
              <a:cxn ang="0">
                <a:pos x="connsiteX12966" y="connsiteY12966"/>
              </a:cxn>
              <a:cxn ang="0">
                <a:pos x="connsiteX12967" y="connsiteY12967"/>
              </a:cxn>
              <a:cxn ang="0">
                <a:pos x="connsiteX12968" y="connsiteY12968"/>
              </a:cxn>
              <a:cxn ang="0">
                <a:pos x="connsiteX12969" y="connsiteY12969"/>
              </a:cxn>
              <a:cxn ang="0">
                <a:pos x="connsiteX12970" y="connsiteY12970"/>
              </a:cxn>
              <a:cxn ang="0">
                <a:pos x="connsiteX12971" y="connsiteY12971"/>
              </a:cxn>
              <a:cxn ang="0">
                <a:pos x="connsiteX12972" y="connsiteY12972"/>
              </a:cxn>
              <a:cxn ang="0">
                <a:pos x="connsiteX12973" y="connsiteY12973"/>
              </a:cxn>
              <a:cxn ang="0">
                <a:pos x="connsiteX12974" y="connsiteY12974"/>
              </a:cxn>
              <a:cxn ang="0">
                <a:pos x="connsiteX12975" y="connsiteY12975"/>
              </a:cxn>
              <a:cxn ang="0">
                <a:pos x="connsiteX12976" y="connsiteY12976"/>
              </a:cxn>
              <a:cxn ang="0">
                <a:pos x="connsiteX12977" y="connsiteY12977"/>
              </a:cxn>
              <a:cxn ang="0">
                <a:pos x="connsiteX12978" y="connsiteY12978"/>
              </a:cxn>
              <a:cxn ang="0">
                <a:pos x="connsiteX12979" y="connsiteY12979"/>
              </a:cxn>
              <a:cxn ang="0">
                <a:pos x="connsiteX12980" y="connsiteY12980"/>
              </a:cxn>
              <a:cxn ang="0">
                <a:pos x="connsiteX12981" y="connsiteY12981"/>
              </a:cxn>
              <a:cxn ang="0">
                <a:pos x="connsiteX12982" y="connsiteY12982"/>
              </a:cxn>
              <a:cxn ang="0">
                <a:pos x="connsiteX12983" y="connsiteY12983"/>
              </a:cxn>
              <a:cxn ang="0">
                <a:pos x="connsiteX12984" y="connsiteY12984"/>
              </a:cxn>
              <a:cxn ang="0">
                <a:pos x="connsiteX12985" y="connsiteY12985"/>
              </a:cxn>
              <a:cxn ang="0">
                <a:pos x="connsiteX12986" y="connsiteY12986"/>
              </a:cxn>
              <a:cxn ang="0">
                <a:pos x="connsiteX12987" y="connsiteY12987"/>
              </a:cxn>
              <a:cxn ang="0">
                <a:pos x="connsiteX12988" y="connsiteY12988"/>
              </a:cxn>
              <a:cxn ang="0">
                <a:pos x="connsiteX12989" y="connsiteY12989"/>
              </a:cxn>
              <a:cxn ang="0">
                <a:pos x="connsiteX12990" y="connsiteY12990"/>
              </a:cxn>
              <a:cxn ang="0">
                <a:pos x="connsiteX12991" y="connsiteY12991"/>
              </a:cxn>
              <a:cxn ang="0">
                <a:pos x="connsiteX12992" y="connsiteY12992"/>
              </a:cxn>
              <a:cxn ang="0">
                <a:pos x="connsiteX12993" y="connsiteY12993"/>
              </a:cxn>
              <a:cxn ang="0">
                <a:pos x="connsiteX12994" y="connsiteY12994"/>
              </a:cxn>
              <a:cxn ang="0">
                <a:pos x="connsiteX12995" y="connsiteY12995"/>
              </a:cxn>
              <a:cxn ang="0">
                <a:pos x="connsiteX12996" y="connsiteY12996"/>
              </a:cxn>
              <a:cxn ang="0">
                <a:pos x="connsiteX12997" y="connsiteY12997"/>
              </a:cxn>
              <a:cxn ang="0">
                <a:pos x="connsiteX12998" y="connsiteY12998"/>
              </a:cxn>
              <a:cxn ang="0">
                <a:pos x="connsiteX12999" y="connsiteY12999"/>
              </a:cxn>
              <a:cxn ang="0">
                <a:pos x="connsiteX13000" y="connsiteY13000"/>
              </a:cxn>
              <a:cxn ang="0">
                <a:pos x="connsiteX13001" y="connsiteY13001"/>
              </a:cxn>
              <a:cxn ang="0">
                <a:pos x="connsiteX13002" y="connsiteY13002"/>
              </a:cxn>
              <a:cxn ang="0">
                <a:pos x="connsiteX13003" y="connsiteY13003"/>
              </a:cxn>
              <a:cxn ang="0">
                <a:pos x="connsiteX13004" y="connsiteY13004"/>
              </a:cxn>
              <a:cxn ang="0">
                <a:pos x="connsiteX13005" y="connsiteY13005"/>
              </a:cxn>
              <a:cxn ang="0">
                <a:pos x="connsiteX13006" y="connsiteY13006"/>
              </a:cxn>
              <a:cxn ang="0">
                <a:pos x="connsiteX13007" y="connsiteY13007"/>
              </a:cxn>
              <a:cxn ang="0">
                <a:pos x="connsiteX13008" y="connsiteY13008"/>
              </a:cxn>
              <a:cxn ang="0">
                <a:pos x="connsiteX13009" y="connsiteY13009"/>
              </a:cxn>
              <a:cxn ang="0">
                <a:pos x="connsiteX13010" y="connsiteY13010"/>
              </a:cxn>
              <a:cxn ang="0">
                <a:pos x="connsiteX13011" y="connsiteY13011"/>
              </a:cxn>
              <a:cxn ang="0">
                <a:pos x="connsiteX13012" y="connsiteY13012"/>
              </a:cxn>
              <a:cxn ang="0">
                <a:pos x="connsiteX13013" y="connsiteY13013"/>
              </a:cxn>
              <a:cxn ang="0">
                <a:pos x="connsiteX13014" y="connsiteY13014"/>
              </a:cxn>
              <a:cxn ang="0">
                <a:pos x="connsiteX13015" y="connsiteY13015"/>
              </a:cxn>
              <a:cxn ang="0">
                <a:pos x="connsiteX13016" y="connsiteY13016"/>
              </a:cxn>
              <a:cxn ang="0">
                <a:pos x="connsiteX13017" y="connsiteY13017"/>
              </a:cxn>
              <a:cxn ang="0">
                <a:pos x="connsiteX13018" y="connsiteY13018"/>
              </a:cxn>
              <a:cxn ang="0">
                <a:pos x="connsiteX13019" y="connsiteY13019"/>
              </a:cxn>
              <a:cxn ang="0">
                <a:pos x="connsiteX13020" y="connsiteY13020"/>
              </a:cxn>
              <a:cxn ang="0">
                <a:pos x="connsiteX13021" y="connsiteY13021"/>
              </a:cxn>
              <a:cxn ang="0">
                <a:pos x="connsiteX13022" y="connsiteY13022"/>
              </a:cxn>
              <a:cxn ang="0">
                <a:pos x="connsiteX13023" y="connsiteY13023"/>
              </a:cxn>
              <a:cxn ang="0">
                <a:pos x="connsiteX13024" y="connsiteY13024"/>
              </a:cxn>
              <a:cxn ang="0">
                <a:pos x="connsiteX13025" y="connsiteY13025"/>
              </a:cxn>
              <a:cxn ang="0">
                <a:pos x="connsiteX13026" y="connsiteY13026"/>
              </a:cxn>
              <a:cxn ang="0">
                <a:pos x="connsiteX13027" y="connsiteY13027"/>
              </a:cxn>
              <a:cxn ang="0">
                <a:pos x="connsiteX13028" y="connsiteY13028"/>
              </a:cxn>
              <a:cxn ang="0">
                <a:pos x="connsiteX13029" y="connsiteY13029"/>
              </a:cxn>
              <a:cxn ang="0">
                <a:pos x="connsiteX13030" y="connsiteY13030"/>
              </a:cxn>
              <a:cxn ang="0">
                <a:pos x="connsiteX13031" y="connsiteY13031"/>
              </a:cxn>
              <a:cxn ang="0">
                <a:pos x="connsiteX13032" y="connsiteY13032"/>
              </a:cxn>
              <a:cxn ang="0">
                <a:pos x="connsiteX13033" y="connsiteY13033"/>
              </a:cxn>
              <a:cxn ang="0">
                <a:pos x="connsiteX13034" y="connsiteY13034"/>
              </a:cxn>
              <a:cxn ang="0">
                <a:pos x="connsiteX13035" y="connsiteY13035"/>
              </a:cxn>
              <a:cxn ang="0">
                <a:pos x="connsiteX13036" y="connsiteY13036"/>
              </a:cxn>
              <a:cxn ang="0">
                <a:pos x="connsiteX13037" y="connsiteY13037"/>
              </a:cxn>
              <a:cxn ang="0">
                <a:pos x="connsiteX13038" y="connsiteY13038"/>
              </a:cxn>
              <a:cxn ang="0">
                <a:pos x="connsiteX13039" y="connsiteY13039"/>
              </a:cxn>
              <a:cxn ang="0">
                <a:pos x="connsiteX13040" y="connsiteY13040"/>
              </a:cxn>
              <a:cxn ang="0">
                <a:pos x="connsiteX13041" y="connsiteY13041"/>
              </a:cxn>
              <a:cxn ang="0">
                <a:pos x="connsiteX13042" y="connsiteY13042"/>
              </a:cxn>
              <a:cxn ang="0">
                <a:pos x="connsiteX13043" y="connsiteY13043"/>
              </a:cxn>
              <a:cxn ang="0">
                <a:pos x="connsiteX13044" y="connsiteY13044"/>
              </a:cxn>
              <a:cxn ang="0">
                <a:pos x="connsiteX13045" y="connsiteY13045"/>
              </a:cxn>
              <a:cxn ang="0">
                <a:pos x="connsiteX13046" y="connsiteY13046"/>
              </a:cxn>
              <a:cxn ang="0">
                <a:pos x="connsiteX13047" y="connsiteY13047"/>
              </a:cxn>
              <a:cxn ang="0">
                <a:pos x="connsiteX13048" y="connsiteY13048"/>
              </a:cxn>
              <a:cxn ang="0">
                <a:pos x="connsiteX13049" y="connsiteY13049"/>
              </a:cxn>
              <a:cxn ang="0">
                <a:pos x="connsiteX13050" y="connsiteY13050"/>
              </a:cxn>
              <a:cxn ang="0">
                <a:pos x="connsiteX13051" y="connsiteY13051"/>
              </a:cxn>
              <a:cxn ang="0">
                <a:pos x="connsiteX13052" y="connsiteY13052"/>
              </a:cxn>
              <a:cxn ang="0">
                <a:pos x="connsiteX13053" y="connsiteY13053"/>
              </a:cxn>
              <a:cxn ang="0">
                <a:pos x="connsiteX13054" y="connsiteY13054"/>
              </a:cxn>
              <a:cxn ang="0">
                <a:pos x="connsiteX13055" y="connsiteY13055"/>
              </a:cxn>
              <a:cxn ang="0">
                <a:pos x="connsiteX13056" y="connsiteY13056"/>
              </a:cxn>
              <a:cxn ang="0">
                <a:pos x="connsiteX13057" y="connsiteY13057"/>
              </a:cxn>
              <a:cxn ang="0">
                <a:pos x="connsiteX13058" y="connsiteY13058"/>
              </a:cxn>
              <a:cxn ang="0">
                <a:pos x="connsiteX13059" y="connsiteY13059"/>
              </a:cxn>
              <a:cxn ang="0">
                <a:pos x="connsiteX13060" y="connsiteY13060"/>
              </a:cxn>
              <a:cxn ang="0">
                <a:pos x="connsiteX13061" y="connsiteY13061"/>
              </a:cxn>
              <a:cxn ang="0">
                <a:pos x="connsiteX13062" y="connsiteY13062"/>
              </a:cxn>
              <a:cxn ang="0">
                <a:pos x="connsiteX13063" y="connsiteY13063"/>
              </a:cxn>
              <a:cxn ang="0">
                <a:pos x="connsiteX13064" y="connsiteY13064"/>
              </a:cxn>
              <a:cxn ang="0">
                <a:pos x="connsiteX13065" y="connsiteY13065"/>
              </a:cxn>
              <a:cxn ang="0">
                <a:pos x="connsiteX13066" y="connsiteY13066"/>
              </a:cxn>
              <a:cxn ang="0">
                <a:pos x="connsiteX13067" y="connsiteY13067"/>
              </a:cxn>
              <a:cxn ang="0">
                <a:pos x="connsiteX13068" y="connsiteY13068"/>
              </a:cxn>
              <a:cxn ang="0">
                <a:pos x="connsiteX13069" y="connsiteY13069"/>
              </a:cxn>
              <a:cxn ang="0">
                <a:pos x="connsiteX13070" y="connsiteY13070"/>
              </a:cxn>
              <a:cxn ang="0">
                <a:pos x="connsiteX13071" y="connsiteY13071"/>
              </a:cxn>
              <a:cxn ang="0">
                <a:pos x="connsiteX13072" y="connsiteY13072"/>
              </a:cxn>
              <a:cxn ang="0">
                <a:pos x="connsiteX13073" y="connsiteY13073"/>
              </a:cxn>
              <a:cxn ang="0">
                <a:pos x="connsiteX13074" y="connsiteY13074"/>
              </a:cxn>
              <a:cxn ang="0">
                <a:pos x="connsiteX13075" y="connsiteY13075"/>
              </a:cxn>
              <a:cxn ang="0">
                <a:pos x="connsiteX13076" y="connsiteY13076"/>
              </a:cxn>
              <a:cxn ang="0">
                <a:pos x="connsiteX13077" y="connsiteY13077"/>
              </a:cxn>
              <a:cxn ang="0">
                <a:pos x="connsiteX13078" y="connsiteY13078"/>
              </a:cxn>
              <a:cxn ang="0">
                <a:pos x="connsiteX13079" y="connsiteY13079"/>
              </a:cxn>
              <a:cxn ang="0">
                <a:pos x="connsiteX13080" y="connsiteY13080"/>
              </a:cxn>
              <a:cxn ang="0">
                <a:pos x="connsiteX13081" y="connsiteY13081"/>
              </a:cxn>
              <a:cxn ang="0">
                <a:pos x="connsiteX13082" y="connsiteY13082"/>
              </a:cxn>
              <a:cxn ang="0">
                <a:pos x="connsiteX13083" y="connsiteY13083"/>
              </a:cxn>
              <a:cxn ang="0">
                <a:pos x="connsiteX13084" y="connsiteY13084"/>
              </a:cxn>
              <a:cxn ang="0">
                <a:pos x="connsiteX13085" y="connsiteY13085"/>
              </a:cxn>
              <a:cxn ang="0">
                <a:pos x="connsiteX13086" y="connsiteY13086"/>
              </a:cxn>
              <a:cxn ang="0">
                <a:pos x="connsiteX13087" y="connsiteY13087"/>
              </a:cxn>
              <a:cxn ang="0">
                <a:pos x="connsiteX13088" y="connsiteY13088"/>
              </a:cxn>
              <a:cxn ang="0">
                <a:pos x="connsiteX13089" y="connsiteY13089"/>
              </a:cxn>
              <a:cxn ang="0">
                <a:pos x="connsiteX13090" y="connsiteY13090"/>
              </a:cxn>
              <a:cxn ang="0">
                <a:pos x="connsiteX13091" y="connsiteY13091"/>
              </a:cxn>
              <a:cxn ang="0">
                <a:pos x="connsiteX13092" y="connsiteY13092"/>
              </a:cxn>
              <a:cxn ang="0">
                <a:pos x="connsiteX13093" y="connsiteY13093"/>
              </a:cxn>
              <a:cxn ang="0">
                <a:pos x="connsiteX13094" y="connsiteY13094"/>
              </a:cxn>
              <a:cxn ang="0">
                <a:pos x="connsiteX13095" y="connsiteY13095"/>
              </a:cxn>
              <a:cxn ang="0">
                <a:pos x="connsiteX13096" y="connsiteY13096"/>
              </a:cxn>
              <a:cxn ang="0">
                <a:pos x="connsiteX13097" y="connsiteY13097"/>
              </a:cxn>
              <a:cxn ang="0">
                <a:pos x="connsiteX13098" y="connsiteY13098"/>
              </a:cxn>
              <a:cxn ang="0">
                <a:pos x="connsiteX13099" y="connsiteY13099"/>
              </a:cxn>
              <a:cxn ang="0">
                <a:pos x="connsiteX13100" y="connsiteY13100"/>
              </a:cxn>
              <a:cxn ang="0">
                <a:pos x="connsiteX13101" y="connsiteY13101"/>
              </a:cxn>
              <a:cxn ang="0">
                <a:pos x="connsiteX13102" y="connsiteY13102"/>
              </a:cxn>
              <a:cxn ang="0">
                <a:pos x="connsiteX13103" y="connsiteY13103"/>
              </a:cxn>
              <a:cxn ang="0">
                <a:pos x="connsiteX13104" y="connsiteY13104"/>
              </a:cxn>
              <a:cxn ang="0">
                <a:pos x="connsiteX13105" y="connsiteY13105"/>
              </a:cxn>
              <a:cxn ang="0">
                <a:pos x="connsiteX13106" y="connsiteY13106"/>
              </a:cxn>
              <a:cxn ang="0">
                <a:pos x="connsiteX13107" y="connsiteY13107"/>
              </a:cxn>
              <a:cxn ang="0">
                <a:pos x="connsiteX13108" y="connsiteY13108"/>
              </a:cxn>
              <a:cxn ang="0">
                <a:pos x="connsiteX13109" y="connsiteY13109"/>
              </a:cxn>
              <a:cxn ang="0">
                <a:pos x="connsiteX13110" y="connsiteY13110"/>
              </a:cxn>
              <a:cxn ang="0">
                <a:pos x="connsiteX13111" y="connsiteY13111"/>
              </a:cxn>
              <a:cxn ang="0">
                <a:pos x="connsiteX13112" y="connsiteY13112"/>
              </a:cxn>
              <a:cxn ang="0">
                <a:pos x="connsiteX13113" y="connsiteY13113"/>
              </a:cxn>
              <a:cxn ang="0">
                <a:pos x="connsiteX13114" y="connsiteY13114"/>
              </a:cxn>
              <a:cxn ang="0">
                <a:pos x="connsiteX13115" y="connsiteY13115"/>
              </a:cxn>
              <a:cxn ang="0">
                <a:pos x="connsiteX13116" y="connsiteY13116"/>
              </a:cxn>
              <a:cxn ang="0">
                <a:pos x="connsiteX13117" y="connsiteY13117"/>
              </a:cxn>
              <a:cxn ang="0">
                <a:pos x="connsiteX13118" y="connsiteY13118"/>
              </a:cxn>
              <a:cxn ang="0">
                <a:pos x="connsiteX13119" y="connsiteY13119"/>
              </a:cxn>
              <a:cxn ang="0">
                <a:pos x="connsiteX13120" y="connsiteY13120"/>
              </a:cxn>
              <a:cxn ang="0">
                <a:pos x="connsiteX13121" y="connsiteY13121"/>
              </a:cxn>
              <a:cxn ang="0">
                <a:pos x="connsiteX13122" y="connsiteY13122"/>
              </a:cxn>
              <a:cxn ang="0">
                <a:pos x="connsiteX13123" y="connsiteY13123"/>
              </a:cxn>
              <a:cxn ang="0">
                <a:pos x="connsiteX13124" y="connsiteY13124"/>
              </a:cxn>
              <a:cxn ang="0">
                <a:pos x="connsiteX13125" y="connsiteY13125"/>
              </a:cxn>
              <a:cxn ang="0">
                <a:pos x="connsiteX13126" y="connsiteY13126"/>
              </a:cxn>
              <a:cxn ang="0">
                <a:pos x="connsiteX13127" y="connsiteY13127"/>
              </a:cxn>
              <a:cxn ang="0">
                <a:pos x="connsiteX13128" y="connsiteY13128"/>
              </a:cxn>
              <a:cxn ang="0">
                <a:pos x="connsiteX13129" y="connsiteY13129"/>
              </a:cxn>
              <a:cxn ang="0">
                <a:pos x="connsiteX13130" y="connsiteY13130"/>
              </a:cxn>
              <a:cxn ang="0">
                <a:pos x="connsiteX13131" y="connsiteY13131"/>
              </a:cxn>
              <a:cxn ang="0">
                <a:pos x="connsiteX13132" y="connsiteY13132"/>
              </a:cxn>
              <a:cxn ang="0">
                <a:pos x="connsiteX13133" y="connsiteY13133"/>
              </a:cxn>
              <a:cxn ang="0">
                <a:pos x="connsiteX13134" y="connsiteY13134"/>
              </a:cxn>
              <a:cxn ang="0">
                <a:pos x="connsiteX13135" y="connsiteY13135"/>
              </a:cxn>
              <a:cxn ang="0">
                <a:pos x="connsiteX13136" y="connsiteY13136"/>
              </a:cxn>
              <a:cxn ang="0">
                <a:pos x="connsiteX13137" y="connsiteY13137"/>
              </a:cxn>
              <a:cxn ang="0">
                <a:pos x="connsiteX13138" y="connsiteY13138"/>
              </a:cxn>
              <a:cxn ang="0">
                <a:pos x="connsiteX13139" y="connsiteY13139"/>
              </a:cxn>
              <a:cxn ang="0">
                <a:pos x="connsiteX13140" y="connsiteY13140"/>
              </a:cxn>
              <a:cxn ang="0">
                <a:pos x="connsiteX13141" y="connsiteY13141"/>
              </a:cxn>
              <a:cxn ang="0">
                <a:pos x="connsiteX13142" y="connsiteY13142"/>
              </a:cxn>
              <a:cxn ang="0">
                <a:pos x="connsiteX13143" y="connsiteY13143"/>
              </a:cxn>
              <a:cxn ang="0">
                <a:pos x="connsiteX13144" y="connsiteY13144"/>
              </a:cxn>
              <a:cxn ang="0">
                <a:pos x="connsiteX13145" y="connsiteY13145"/>
              </a:cxn>
              <a:cxn ang="0">
                <a:pos x="connsiteX13146" y="connsiteY13146"/>
              </a:cxn>
              <a:cxn ang="0">
                <a:pos x="connsiteX13147" y="connsiteY13147"/>
              </a:cxn>
              <a:cxn ang="0">
                <a:pos x="connsiteX13148" y="connsiteY13148"/>
              </a:cxn>
              <a:cxn ang="0">
                <a:pos x="connsiteX13149" y="connsiteY13149"/>
              </a:cxn>
              <a:cxn ang="0">
                <a:pos x="connsiteX13150" y="connsiteY13150"/>
              </a:cxn>
              <a:cxn ang="0">
                <a:pos x="connsiteX13151" y="connsiteY13151"/>
              </a:cxn>
              <a:cxn ang="0">
                <a:pos x="connsiteX13152" y="connsiteY13152"/>
              </a:cxn>
              <a:cxn ang="0">
                <a:pos x="connsiteX13153" y="connsiteY13153"/>
              </a:cxn>
              <a:cxn ang="0">
                <a:pos x="connsiteX13154" y="connsiteY13154"/>
              </a:cxn>
              <a:cxn ang="0">
                <a:pos x="connsiteX13155" y="connsiteY13155"/>
              </a:cxn>
              <a:cxn ang="0">
                <a:pos x="connsiteX13156" y="connsiteY13156"/>
              </a:cxn>
              <a:cxn ang="0">
                <a:pos x="connsiteX13157" y="connsiteY13157"/>
              </a:cxn>
              <a:cxn ang="0">
                <a:pos x="connsiteX13158" y="connsiteY13158"/>
              </a:cxn>
              <a:cxn ang="0">
                <a:pos x="connsiteX13159" y="connsiteY13159"/>
              </a:cxn>
              <a:cxn ang="0">
                <a:pos x="connsiteX13160" y="connsiteY13160"/>
              </a:cxn>
              <a:cxn ang="0">
                <a:pos x="connsiteX13161" y="connsiteY13161"/>
              </a:cxn>
              <a:cxn ang="0">
                <a:pos x="connsiteX13162" y="connsiteY13162"/>
              </a:cxn>
              <a:cxn ang="0">
                <a:pos x="connsiteX13163" y="connsiteY13163"/>
              </a:cxn>
              <a:cxn ang="0">
                <a:pos x="connsiteX13164" y="connsiteY13164"/>
              </a:cxn>
              <a:cxn ang="0">
                <a:pos x="connsiteX13165" y="connsiteY13165"/>
              </a:cxn>
              <a:cxn ang="0">
                <a:pos x="connsiteX13166" y="connsiteY13166"/>
              </a:cxn>
              <a:cxn ang="0">
                <a:pos x="connsiteX13167" y="connsiteY13167"/>
              </a:cxn>
              <a:cxn ang="0">
                <a:pos x="connsiteX13168" y="connsiteY13168"/>
              </a:cxn>
              <a:cxn ang="0">
                <a:pos x="connsiteX13169" y="connsiteY13169"/>
              </a:cxn>
              <a:cxn ang="0">
                <a:pos x="connsiteX13170" y="connsiteY13170"/>
              </a:cxn>
              <a:cxn ang="0">
                <a:pos x="connsiteX13171" y="connsiteY13171"/>
              </a:cxn>
              <a:cxn ang="0">
                <a:pos x="connsiteX13172" y="connsiteY13172"/>
              </a:cxn>
              <a:cxn ang="0">
                <a:pos x="connsiteX13173" y="connsiteY13173"/>
              </a:cxn>
              <a:cxn ang="0">
                <a:pos x="connsiteX13174" y="connsiteY13174"/>
              </a:cxn>
              <a:cxn ang="0">
                <a:pos x="connsiteX13175" y="connsiteY13175"/>
              </a:cxn>
              <a:cxn ang="0">
                <a:pos x="connsiteX13176" y="connsiteY13176"/>
              </a:cxn>
              <a:cxn ang="0">
                <a:pos x="connsiteX13177" y="connsiteY13177"/>
              </a:cxn>
              <a:cxn ang="0">
                <a:pos x="connsiteX13178" y="connsiteY13178"/>
              </a:cxn>
              <a:cxn ang="0">
                <a:pos x="connsiteX13179" y="connsiteY13179"/>
              </a:cxn>
              <a:cxn ang="0">
                <a:pos x="connsiteX13180" y="connsiteY13180"/>
              </a:cxn>
              <a:cxn ang="0">
                <a:pos x="connsiteX13181" y="connsiteY13181"/>
              </a:cxn>
              <a:cxn ang="0">
                <a:pos x="connsiteX13182" y="connsiteY13182"/>
              </a:cxn>
              <a:cxn ang="0">
                <a:pos x="connsiteX13183" y="connsiteY13183"/>
              </a:cxn>
              <a:cxn ang="0">
                <a:pos x="connsiteX13184" y="connsiteY13184"/>
              </a:cxn>
              <a:cxn ang="0">
                <a:pos x="connsiteX13185" y="connsiteY13185"/>
              </a:cxn>
              <a:cxn ang="0">
                <a:pos x="connsiteX13186" y="connsiteY13186"/>
              </a:cxn>
              <a:cxn ang="0">
                <a:pos x="connsiteX13187" y="connsiteY13187"/>
              </a:cxn>
              <a:cxn ang="0">
                <a:pos x="connsiteX13188" y="connsiteY13188"/>
              </a:cxn>
              <a:cxn ang="0">
                <a:pos x="connsiteX13189" y="connsiteY13189"/>
              </a:cxn>
              <a:cxn ang="0">
                <a:pos x="connsiteX13190" y="connsiteY13190"/>
              </a:cxn>
              <a:cxn ang="0">
                <a:pos x="connsiteX13191" y="connsiteY13191"/>
              </a:cxn>
              <a:cxn ang="0">
                <a:pos x="connsiteX13192" y="connsiteY13192"/>
              </a:cxn>
              <a:cxn ang="0">
                <a:pos x="connsiteX13193" y="connsiteY13193"/>
              </a:cxn>
              <a:cxn ang="0">
                <a:pos x="connsiteX13194" y="connsiteY13194"/>
              </a:cxn>
              <a:cxn ang="0">
                <a:pos x="connsiteX13195" y="connsiteY13195"/>
              </a:cxn>
              <a:cxn ang="0">
                <a:pos x="connsiteX13196" y="connsiteY13196"/>
              </a:cxn>
              <a:cxn ang="0">
                <a:pos x="connsiteX13197" y="connsiteY13197"/>
              </a:cxn>
              <a:cxn ang="0">
                <a:pos x="connsiteX13198" y="connsiteY13198"/>
              </a:cxn>
              <a:cxn ang="0">
                <a:pos x="connsiteX13199" y="connsiteY13199"/>
              </a:cxn>
              <a:cxn ang="0">
                <a:pos x="connsiteX13200" y="connsiteY13200"/>
              </a:cxn>
              <a:cxn ang="0">
                <a:pos x="connsiteX13201" y="connsiteY13201"/>
              </a:cxn>
              <a:cxn ang="0">
                <a:pos x="connsiteX13202" y="connsiteY13202"/>
              </a:cxn>
              <a:cxn ang="0">
                <a:pos x="connsiteX13203" y="connsiteY13203"/>
              </a:cxn>
              <a:cxn ang="0">
                <a:pos x="connsiteX13204" y="connsiteY13204"/>
              </a:cxn>
              <a:cxn ang="0">
                <a:pos x="connsiteX13205" y="connsiteY13205"/>
              </a:cxn>
              <a:cxn ang="0">
                <a:pos x="connsiteX13206" y="connsiteY13206"/>
              </a:cxn>
              <a:cxn ang="0">
                <a:pos x="connsiteX13207" y="connsiteY13207"/>
              </a:cxn>
              <a:cxn ang="0">
                <a:pos x="connsiteX13208" y="connsiteY13208"/>
              </a:cxn>
              <a:cxn ang="0">
                <a:pos x="connsiteX13209" y="connsiteY13209"/>
              </a:cxn>
              <a:cxn ang="0">
                <a:pos x="connsiteX13210" y="connsiteY13210"/>
              </a:cxn>
              <a:cxn ang="0">
                <a:pos x="connsiteX13211" y="connsiteY13211"/>
              </a:cxn>
              <a:cxn ang="0">
                <a:pos x="connsiteX13212" y="connsiteY13212"/>
              </a:cxn>
              <a:cxn ang="0">
                <a:pos x="connsiteX13213" y="connsiteY13213"/>
              </a:cxn>
              <a:cxn ang="0">
                <a:pos x="connsiteX13214" y="connsiteY13214"/>
              </a:cxn>
              <a:cxn ang="0">
                <a:pos x="connsiteX13215" y="connsiteY13215"/>
              </a:cxn>
              <a:cxn ang="0">
                <a:pos x="connsiteX13216" y="connsiteY13216"/>
              </a:cxn>
              <a:cxn ang="0">
                <a:pos x="connsiteX13217" y="connsiteY13217"/>
              </a:cxn>
              <a:cxn ang="0">
                <a:pos x="connsiteX13218" y="connsiteY13218"/>
              </a:cxn>
              <a:cxn ang="0">
                <a:pos x="connsiteX13219" y="connsiteY13219"/>
              </a:cxn>
              <a:cxn ang="0">
                <a:pos x="connsiteX13220" y="connsiteY13220"/>
              </a:cxn>
              <a:cxn ang="0">
                <a:pos x="connsiteX13221" y="connsiteY13221"/>
              </a:cxn>
              <a:cxn ang="0">
                <a:pos x="connsiteX13222" y="connsiteY13222"/>
              </a:cxn>
              <a:cxn ang="0">
                <a:pos x="connsiteX13223" y="connsiteY13223"/>
              </a:cxn>
              <a:cxn ang="0">
                <a:pos x="connsiteX13224" y="connsiteY13224"/>
              </a:cxn>
              <a:cxn ang="0">
                <a:pos x="connsiteX13225" y="connsiteY13225"/>
              </a:cxn>
              <a:cxn ang="0">
                <a:pos x="connsiteX13226" y="connsiteY13226"/>
              </a:cxn>
              <a:cxn ang="0">
                <a:pos x="connsiteX13227" y="connsiteY13227"/>
              </a:cxn>
              <a:cxn ang="0">
                <a:pos x="connsiteX13228" y="connsiteY13228"/>
              </a:cxn>
              <a:cxn ang="0">
                <a:pos x="connsiteX13229" y="connsiteY13229"/>
              </a:cxn>
              <a:cxn ang="0">
                <a:pos x="connsiteX13230" y="connsiteY13230"/>
              </a:cxn>
              <a:cxn ang="0">
                <a:pos x="connsiteX13231" y="connsiteY13231"/>
              </a:cxn>
              <a:cxn ang="0">
                <a:pos x="connsiteX13232" y="connsiteY13232"/>
              </a:cxn>
              <a:cxn ang="0">
                <a:pos x="connsiteX13233" y="connsiteY13233"/>
              </a:cxn>
              <a:cxn ang="0">
                <a:pos x="connsiteX13234" y="connsiteY13234"/>
              </a:cxn>
              <a:cxn ang="0">
                <a:pos x="connsiteX13235" y="connsiteY13235"/>
              </a:cxn>
              <a:cxn ang="0">
                <a:pos x="connsiteX13236" y="connsiteY13236"/>
              </a:cxn>
              <a:cxn ang="0">
                <a:pos x="connsiteX13237" y="connsiteY13237"/>
              </a:cxn>
              <a:cxn ang="0">
                <a:pos x="connsiteX13238" y="connsiteY13238"/>
              </a:cxn>
              <a:cxn ang="0">
                <a:pos x="connsiteX13239" y="connsiteY13239"/>
              </a:cxn>
              <a:cxn ang="0">
                <a:pos x="connsiteX13240" y="connsiteY13240"/>
              </a:cxn>
              <a:cxn ang="0">
                <a:pos x="connsiteX13241" y="connsiteY13241"/>
              </a:cxn>
              <a:cxn ang="0">
                <a:pos x="connsiteX13242" y="connsiteY13242"/>
              </a:cxn>
              <a:cxn ang="0">
                <a:pos x="connsiteX13243" y="connsiteY13243"/>
              </a:cxn>
              <a:cxn ang="0">
                <a:pos x="connsiteX13244" y="connsiteY13244"/>
              </a:cxn>
              <a:cxn ang="0">
                <a:pos x="connsiteX13245" y="connsiteY13245"/>
              </a:cxn>
              <a:cxn ang="0">
                <a:pos x="connsiteX13246" y="connsiteY13246"/>
              </a:cxn>
              <a:cxn ang="0">
                <a:pos x="connsiteX13247" y="connsiteY13247"/>
              </a:cxn>
              <a:cxn ang="0">
                <a:pos x="connsiteX13248" y="connsiteY13248"/>
              </a:cxn>
              <a:cxn ang="0">
                <a:pos x="connsiteX13249" y="connsiteY13249"/>
              </a:cxn>
              <a:cxn ang="0">
                <a:pos x="connsiteX13250" y="connsiteY13250"/>
              </a:cxn>
              <a:cxn ang="0">
                <a:pos x="connsiteX13251" y="connsiteY13251"/>
              </a:cxn>
              <a:cxn ang="0">
                <a:pos x="connsiteX13252" y="connsiteY13252"/>
              </a:cxn>
              <a:cxn ang="0">
                <a:pos x="connsiteX13253" y="connsiteY13253"/>
              </a:cxn>
              <a:cxn ang="0">
                <a:pos x="connsiteX13254" y="connsiteY13254"/>
              </a:cxn>
              <a:cxn ang="0">
                <a:pos x="connsiteX13255" y="connsiteY13255"/>
              </a:cxn>
              <a:cxn ang="0">
                <a:pos x="connsiteX13256" y="connsiteY13256"/>
              </a:cxn>
              <a:cxn ang="0">
                <a:pos x="connsiteX13257" y="connsiteY13257"/>
              </a:cxn>
              <a:cxn ang="0">
                <a:pos x="connsiteX13258" y="connsiteY13258"/>
              </a:cxn>
              <a:cxn ang="0">
                <a:pos x="connsiteX13259" y="connsiteY13259"/>
              </a:cxn>
              <a:cxn ang="0">
                <a:pos x="connsiteX13260" y="connsiteY13260"/>
              </a:cxn>
              <a:cxn ang="0">
                <a:pos x="connsiteX13261" y="connsiteY13261"/>
              </a:cxn>
              <a:cxn ang="0">
                <a:pos x="connsiteX13262" y="connsiteY13262"/>
              </a:cxn>
              <a:cxn ang="0">
                <a:pos x="connsiteX13263" y="connsiteY13263"/>
              </a:cxn>
              <a:cxn ang="0">
                <a:pos x="connsiteX13264" y="connsiteY13264"/>
              </a:cxn>
              <a:cxn ang="0">
                <a:pos x="connsiteX13265" y="connsiteY13265"/>
              </a:cxn>
              <a:cxn ang="0">
                <a:pos x="connsiteX13266" y="connsiteY13266"/>
              </a:cxn>
              <a:cxn ang="0">
                <a:pos x="connsiteX13267" y="connsiteY13267"/>
              </a:cxn>
              <a:cxn ang="0">
                <a:pos x="connsiteX13268" y="connsiteY13268"/>
              </a:cxn>
              <a:cxn ang="0">
                <a:pos x="connsiteX13269" y="connsiteY13269"/>
              </a:cxn>
              <a:cxn ang="0">
                <a:pos x="connsiteX13270" y="connsiteY13270"/>
              </a:cxn>
              <a:cxn ang="0">
                <a:pos x="connsiteX13271" y="connsiteY13271"/>
              </a:cxn>
              <a:cxn ang="0">
                <a:pos x="connsiteX13272" y="connsiteY13272"/>
              </a:cxn>
              <a:cxn ang="0">
                <a:pos x="connsiteX13273" y="connsiteY13273"/>
              </a:cxn>
              <a:cxn ang="0">
                <a:pos x="connsiteX13274" y="connsiteY13274"/>
              </a:cxn>
              <a:cxn ang="0">
                <a:pos x="connsiteX13275" y="connsiteY13275"/>
              </a:cxn>
              <a:cxn ang="0">
                <a:pos x="connsiteX13276" y="connsiteY13276"/>
              </a:cxn>
              <a:cxn ang="0">
                <a:pos x="connsiteX13277" y="connsiteY13277"/>
              </a:cxn>
              <a:cxn ang="0">
                <a:pos x="connsiteX13278" y="connsiteY13278"/>
              </a:cxn>
              <a:cxn ang="0">
                <a:pos x="connsiteX13279" y="connsiteY13279"/>
              </a:cxn>
              <a:cxn ang="0">
                <a:pos x="connsiteX13280" y="connsiteY13280"/>
              </a:cxn>
              <a:cxn ang="0">
                <a:pos x="connsiteX13281" y="connsiteY13281"/>
              </a:cxn>
              <a:cxn ang="0">
                <a:pos x="connsiteX13282" y="connsiteY13282"/>
              </a:cxn>
              <a:cxn ang="0">
                <a:pos x="connsiteX13283" y="connsiteY13283"/>
              </a:cxn>
              <a:cxn ang="0">
                <a:pos x="connsiteX13284" y="connsiteY13284"/>
              </a:cxn>
              <a:cxn ang="0">
                <a:pos x="connsiteX13285" y="connsiteY13285"/>
              </a:cxn>
              <a:cxn ang="0">
                <a:pos x="connsiteX13286" y="connsiteY13286"/>
              </a:cxn>
              <a:cxn ang="0">
                <a:pos x="connsiteX13287" y="connsiteY13287"/>
              </a:cxn>
              <a:cxn ang="0">
                <a:pos x="connsiteX13288" y="connsiteY13288"/>
              </a:cxn>
              <a:cxn ang="0">
                <a:pos x="connsiteX13289" y="connsiteY13289"/>
              </a:cxn>
              <a:cxn ang="0">
                <a:pos x="connsiteX13290" y="connsiteY13290"/>
              </a:cxn>
              <a:cxn ang="0">
                <a:pos x="connsiteX13291" y="connsiteY13291"/>
              </a:cxn>
              <a:cxn ang="0">
                <a:pos x="connsiteX13292" y="connsiteY13292"/>
              </a:cxn>
              <a:cxn ang="0">
                <a:pos x="connsiteX13293" y="connsiteY13293"/>
              </a:cxn>
              <a:cxn ang="0">
                <a:pos x="connsiteX13294" y="connsiteY13294"/>
              </a:cxn>
              <a:cxn ang="0">
                <a:pos x="connsiteX13295" y="connsiteY13295"/>
              </a:cxn>
              <a:cxn ang="0">
                <a:pos x="connsiteX13296" y="connsiteY13296"/>
              </a:cxn>
              <a:cxn ang="0">
                <a:pos x="connsiteX13297" y="connsiteY13297"/>
              </a:cxn>
              <a:cxn ang="0">
                <a:pos x="connsiteX13298" y="connsiteY13298"/>
              </a:cxn>
              <a:cxn ang="0">
                <a:pos x="connsiteX13299" y="connsiteY13299"/>
              </a:cxn>
              <a:cxn ang="0">
                <a:pos x="connsiteX13300" y="connsiteY13300"/>
              </a:cxn>
              <a:cxn ang="0">
                <a:pos x="connsiteX13301" y="connsiteY13301"/>
              </a:cxn>
              <a:cxn ang="0">
                <a:pos x="connsiteX13302" y="connsiteY13302"/>
              </a:cxn>
              <a:cxn ang="0">
                <a:pos x="connsiteX13303" y="connsiteY13303"/>
              </a:cxn>
              <a:cxn ang="0">
                <a:pos x="connsiteX13304" y="connsiteY13304"/>
              </a:cxn>
              <a:cxn ang="0">
                <a:pos x="connsiteX13305" y="connsiteY13305"/>
              </a:cxn>
              <a:cxn ang="0">
                <a:pos x="connsiteX13306" y="connsiteY13306"/>
              </a:cxn>
              <a:cxn ang="0">
                <a:pos x="connsiteX13307" y="connsiteY13307"/>
              </a:cxn>
              <a:cxn ang="0">
                <a:pos x="connsiteX13308" y="connsiteY13308"/>
              </a:cxn>
              <a:cxn ang="0">
                <a:pos x="connsiteX13309" y="connsiteY13309"/>
              </a:cxn>
              <a:cxn ang="0">
                <a:pos x="connsiteX13310" y="connsiteY13310"/>
              </a:cxn>
              <a:cxn ang="0">
                <a:pos x="connsiteX13311" y="connsiteY13311"/>
              </a:cxn>
              <a:cxn ang="0">
                <a:pos x="connsiteX13312" y="connsiteY13312"/>
              </a:cxn>
              <a:cxn ang="0">
                <a:pos x="connsiteX13313" y="connsiteY13313"/>
              </a:cxn>
              <a:cxn ang="0">
                <a:pos x="connsiteX13314" y="connsiteY13314"/>
              </a:cxn>
              <a:cxn ang="0">
                <a:pos x="connsiteX13315" y="connsiteY13315"/>
              </a:cxn>
              <a:cxn ang="0">
                <a:pos x="connsiteX13316" y="connsiteY13316"/>
              </a:cxn>
              <a:cxn ang="0">
                <a:pos x="connsiteX13317" y="connsiteY13317"/>
              </a:cxn>
              <a:cxn ang="0">
                <a:pos x="connsiteX13318" y="connsiteY13318"/>
              </a:cxn>
              <a:cxn ang="0">
                <a:pos x="connsiteX13319" y="connsiteY13319"/>
              </a:cxn>
              <a:cxn ang="0">
                <a:pos x="connsiteX13320" y="connsiteY13320"/>
              </a:cxn>
              <a:cxn ang="0">
                <a:pos x="connsiteX13321" y="connsiteY13321"/>
              </a:cxn>
              <a:cxn ang="0">
                <a:pos x="connsiteX13322" y="connsiteY13322"/>
              </a:cxn>
              <a:cxn ang="0">
                <a:pos x="connsiteX13323" y="connsiteY13323"/>
              </a:cxn>
              <a:cxn ang="0">
                <a:pos x="connsiteX13324" y="connsiteY13324"/>
              </a:cxn>
              <a:cxn ang="0">
                <a:pos x="connsiteX13325" y="connsiteY13325"/>
              </a:cxn>
              <a:cxn ang="0">
                <a:pos x="connsiteX13326" y="connsiteY13326"/>
              </a:cxn>
              <a:cxn ang="0">
                <a:pos x="connsiteX13327" y="connsiteY13327"/>
              </a:cxn>
              <a:cxn ang="0">
                <a:pos x="connsiteX13328" y="connsiteY13328"/>
              </a:cxn>
              <a:cxn ang="0">
                <a:pos x="connsiteX13329" y="connsiteY13329"/>
              </a:cxn>
              <a:cxn ang="0">
                <a:pos x="connsiteX13330" y="connsiteY13330"/>
              </a:cxn>
              <a:cxn ang="0">
                <a:pos x="connsiteX13331" y="connsiteY13331"/>
              </a:cxn>
              <a:cxn ang="0">
                <a:pos x="connsiteX13332" y="connsiteY13332"/>
              </a:cxn>
              <a:cxn ang="0">
                <a:pos x="connsiteX13333" y="connsiteY13333"/>
              </a:cxn>
              <a:cxn ang="0">
                <a:pos x="connsiteX13334" y="connsiteY13334"/>
              </a:cxn>
              <a:cxn ang="0">
                <a:pos x="connsiteX13335" y="connsiteY13335"/>
              </a:cxn>
              <a:cxn ang="0">
                <a:pos x="connsiteX13336" y="connsiteY13336"/>
              </a:cxn>
              <a:cxn ang="0">
                <a:pos x="connsiteX13337" y="connsiteY13337"/>
              </a:cxn>
              <a:cxn ang="0">
                <a:pos x="connsiteX13338" y="connsiteY13338"/>
              </a:cxn>
              <a:cxn ang="0">
                <a:pos x="connsiteX13339" y="connsiteY13339"/>
              </a:cxn>
              <a:cxn ang="0">
                <a:pos x="connsiteX13340" y="connsiteY13340"/>
              </a:cxn>
              <a:cxn ang="0">
                <a:pos x="connsiteX13341" y="connsiteY13341"/>
              </a:cxn>
              <a:cxn ang="0">
                <a:pos x="connsiteX13342" y="connsiteY13342"/>
              </a:cxn>
              <a:cxn ang="0">
                <a:pos x="connsiteX13343" y="connsiteY13343"/>
              </a:cxn>
              <a:cxn ang="0">
                <a:pos x="connsiteX13344" y="connsiteY13344"/>
              </a:cxn>
              <a:cxn ang="0">
                <a:pos x="connsiteX13345" y="connsiteY13345"/>
              </a:cxn>
              <a:cxn ang="0">
                <a:pos x="connsiteX13346" y="connsiteY13346"/>
              </a:cxn>
              <a:cxn ang="0">
                <a:pos x="connsiteX13347" y="connsiteY13347"/>
              </a:cxn>
              <a:cxn ang="0">
                <a:pos x="connsiteX13348" y="connsiteY13348"/>
              </a:cxn>
              <a:cxn ang="0">
                <a:pos x="connsiteX13349" y="connsiteY13349"/>
              </a:cxn>
              <a:cxn ang="0">
                <a:pos x="connsiteX13350" y="connsiteY13350"/>
              </a:cxn>
              <a:cxn ang="0">
                <a:pos x="connsiteX13351" y="connsiteY13351"/>
              </a:cxn>
              <a:cxn ang="0">
                <a:pos x="connsiteX13352" y="connsiteY13352"/>
              </a:cxn>
              <a:cxn ang="0">
                <a:pos x="connsiteX13353" y="connsiteY13353"/>
              </a:cxn>
              <a:cxn ang="0">
                <a:pos x="connsiteX13354" y="connsiteY13354"/>
              </a:cxn>
              <a:cxn ang="0">
                <a:pos x="connsiteX13355" y="connsiteY13355"/>
              </a:cxn>
              <a:cxn ang="0">
                <a:pos x="connsiteX13356" y="connsiteY13356"/>
              </a:cxn>
              <a:cxn ang="0">
                <a:pos x="connsiteX13357" y="connsiteY13357"/>
              </a:cxn>
              <a:cxn ang="0">
                <a:pos x="connsiteX13358" y="connsiteY13358"/>
              </a:cxn>
              <a:cxn ang="0">
                <a:pos x="connsiteX13359" y="connsiteY13359"/>
              </a:cxn>
              <a:cxn ang="0">
                <a:pos x="connsiteX13360" y="connsiteY13360"/>
              </a:cxn>
              <a:cxn ang="0">
                <a:pos x="connsiteX13361" y="connsiteY13361"/>
              </a:cxn>
              <a:cxn ang="0">
                <a:pos x="connsiteX13362" y="connsiteY13362"/>
              </a:cxn>
              <a:cxn ang="0">
                <a:pos x="connsiteX13363" y="connsiteY13363"/>
              </a:cxn>
              <a:cxn ang="0">
                <a:pos x="connsiteX13364" y="connsiteY13364"/>
              </a:cxn>
              <a:cxn ang="0">
                <a:pos x="connsiteX13365" y="connsiteY13365"/>
              </a:cxn>
              <a:cxn ang="0">
                <a:pos x="connsiteX13366" y="connsiteY13366"/>
              </a:cxn>
              <a:cxn ang="0">
                <a:pos x="connsiteX13367" y="connsiteY13367"/>
              </a:cxn>
              <a:cxn ang="0">
                <a:pos x="connsiteX13368" y="connsiteY13368"/>
              </a:cxn>
              <a:cxn ang="0">
                <a:pos x="connsiteX13369" y="connsiteY13369"/>
              </a:cxn>
              <a:cxn ang="0">
                <a:pos x="connsiteX13370" y="connsiteY13370"/>
              </a:cxn>
              <a:cxn ang="0">
                <a:pos x="connsiteX13371" y="connsiteY13371"/>
              </a:cxn>
              <a:cxn ang="0">
                <a:pos x="connsiteX13372" y="connsiteY13372"/>
              </a:cxn>
              <a:cxn ang="0">
                <a:pos x="connsiteX13373" y="connsiteY13373"/>
              </a:cxn>
              <a:cxn ang="0">
                <a:pos x="connsiteX13374" y="connsiteY13374"/>
              </a:cxn>
              <a:cxn ang="0">
                <a:pos x="connsiteX13375" y="connsiteY13375"/>
              </a:cxn>
              <a:cxn ang="0">
                <a:pos x="connsiteX13376" y="connsiteY13376"/>
              </a:cxn>
              <a:cxn ang="0">
                <a:pos x="connsiteX13377" y="connsiteY13377"/>
              </a:cxn>
              <a:cxn ang="0">
                <a:pos x="connsiteX13378" y="connsiteY13378"/>
              </a:cxn>
              <a:cxn ang="0">
                <a:pos x="connsiteX13379" y="connsiteY13379"/>
              </a:cxn>
              <a:cxn ang="0">
                <a:pos x="connsiteX13380" y="connsiteY13380"/>
              </a:cxn>
              <a:cxn ang="0">
                <a:pos x="connsiteX13381" y="connsiteY13381"/>
              </a:cxn>
              <a:cxn ang="0">
                <a:pos x="connsiteX13382" y="connsiteY13382"/>
              </a:cxn>
              <a:cxn ang="0">
                <a:pos x="connsiteX13383" y="connsiteY13383"/>
              </a:cxn>
              <a:cxn ang="0">
                <a:pos x="connsiteX13384" y="connsiteY13384"/>
              </a:cxn>
              <a:cxn ang="0">
                <a:pos x="connsiteX13385" y="connsiteY13385"/>
              </a:cxn>
              <a:cxn ang="0">
                <a:pos x="connsiteX13386" y="connsiteY13386"/>
              </a:cxn>
              <a:cxn ang="0">
                <a:pos x="connsiteX13387" y="connsiteY13387"/>
              </a:cxn>
              <a:cxn ang="0">
                <a:pos x="connsiteX13388" y="connsiteY13388"/>
              </a:cxn>
              <a:cxn ang="0">
                <a:pos x="connsiteX13389" y="connsiteY13389"/>
              </a:cxn>
              <a:cxn ang="0">
                <a:pos x="connsiteX13390" y="connsiteY13390"/>
              </a:cxn>
              <a:cxn ang="0">
                <a:pos x="connsiteX13391" y="connsiteY13391"/>
              </a:cxn>
              <a:cxn ang="0">
                <a:pos x="connsiteX13392" y="connsiteY13392"/>
              </a:cxn>
              <a:cxn ang="0">
                <a:pos x="connsiteX13393" y="connsiteY13393"/>
              </a:cxn>
              <a:cxn ang="0">
                <a:pos x="connsiteX13394" y="connsiteY13394"/>
              </a:cxn>
              <a:cxn ang="0">
                <a:pos x="connsiteX13395" y="connsiteY13395"/>
              </a:cxn>
              <a:cxn ang="0">
                <a:pos x="connsiteX13396" y="connsiteY13396"/>
              </a:cxn>
              <a:cxn ang="0">
                <a:pos x="connsiteX13397" y="connsiteY13397"/>
              </a:cxn>
              <a:cxn ang="0">
                <a:pos x="connsiteX13398" y="connsiteY13398"/>
              </a:cxn>
              <a:cxn ang="0">
                <a:pos x="connsiteX13399" y="connsiteY13399"/>
              </a:cxn>
              <a:cxn ang="0">
                <a:pos x="connsiteX13400" y="connsiteY13400"/>
              </a:cxn>
              <a:cxn ang="0">
                <a:pos x="connsiteX13401" y="connsiteY13401"/>
              </a:cxn>
              <a:cxn ang="0">
                <a:pos x="connsiteX13402" y="connsiteY13402"/>
              </a:cxn>
              <a:cxn ang="0">
                <a:pos x="connsiteX13403" y="connsiteY13403"/>
              </a:cxn>
              <a:cxn ang="0">
                <a:pos x="connsiteX13404" y="connsiteY13404"/>
              </a:cxn>
              <a:cxn ang="0">
                <a:pos x="connsiteX13405" y="connsiteY13405"/>
              </a:cxn>
              <a:cxn ang="0">
                <a:pos x="connsiteX13406" y="connsiteY13406"/>
              </a:cxn>
              <a:cxn ang="0">
                <a:pos x="connsiteX13407" y="connsiteY13407"/>
              </a:cxn>
              <a:cxn ang="0">
                <a:pos x="connsiteX13408" y="connsiteY13408"/>
              </a:cxn>
              <a:cxn ang="0">
                <a:pos x="connsiteX13409" y="connsiteY13409"/>
              </a:cxn>
              <a:cxn ang="0">
                <a:pos x="connsiteX13410" y="connsiteY13410"/>
              </a:cxn>
              <a:cxn ang="0">
                <a:pos x="connsiteX13411" y="connsiteY13411"/>
              </a:cxn>
              <a:cxn ang="0">
                <a:pos x="connsiteX13412" y="connsiteY13412"/>
              </a:cxn>
              <a:cxn ang="0">
                <a:pos x="connsiteX13413" y="connsiteY13413"/>
              </a:cxn>
              <a:cxn ang="0">
                <a:pos x="connsiteX13414" y="connsiteY13414"/>
              </a:cxn>
              <a:cxn ang="0">
                <a:pos x="connsiteX13415" y="connsiteY13415"/>
              </a:cxn>
              <a:cxn ang="0">
                <a:pos x="connsiteX13416" y="connsiteY13416"/>
              </a:cxn>
              <a:cxn ang="0">
                <a:pos x="connsiteX13417" y="connsiteY13417"/>
              </a:cxn>
              <a:cxn ang="0">
                <a:pos x="connsiteX13418" y="connsiteY13418"/>
              </a:cxn>
              <a:cxn ang="0">
                <a:pos x="connsiteX13419" y="connsiteY13419"/>
              </a:cxn>
              <a:cxn ang="0">
                <a:pos x="connsiteX13420" y="connsiteY13420"/>
              </a:cxn>
              <a:cxn ang="0">
                <a:pos x="connsiteX13421" y="connsiteY13421"/>
              </a:cxn>
              <a:cxn ang="0">
                <a:pos x="connsiteX13422" y="connsiteY13422"/>
              </a:cxn>
              <a:cxn ang="0">
                <a:pos x="connsiteX13423" y="connsiteY13423"/>
              </a:cxn>
              <a:cxn ang="0">
                <a:pos x="connsiteX13424" y="connsiteY13424"/>
              </a:cxn>
              <a:cxn ang="0">
                <a:pos x="connsiteX13425" y="connsiteY13425"/>
              </a:cxn>
              <a:cxn ang="0">
                <a:pos x="connsiteX13426" y="connsiteY13426"/>
              </a:cxn>
              <a:cxn ang="0">
                <a:pos x="connsiteX13427" y="connsiteY13427"/>
              </a:cxn>
              <a:cxn ang="0">
                <a:pos x="connsiteX13428" y="connsiteY13428"/>
              </a:cxn>
              <a:cxn ang="0">
                <a:pos x="connsiteX13429" y="connsiteY13429"/>
              </a:cxn>
              <a:cxn ang="0">
                <a:pos x="connsiteX13430" y="connsiteY13430"/>
              </a:cxn>
              <a:cxn ang="0">
                <a:pos x="connsiteX13431" y="connsiteY13431"/>
              </a:cxn>
              <a:cxn ang="0">
                <a:pos x="connsiteX13432" y="connsiteY13432"/>
              </a:cxn>
              <a:cxn ang="0">
                <a:pos x="connsiteX13433" y="connsiteY13433"/>
              </a:cxn>
              <a:cxn ang="0">
                <a:pos x="connsiteX13434" y="connsiteY13434"/>
              </a:cxn>
              <a:cxn ang="0">
                <a:pos x="connsiteX13435" y="connsiteY13435"/>
              </a:cxn>
              <a:cxn ang="0">
                <a:pos x="connsiteX13436" y="connsiteY13436"/>
              </a:cxn>
              <a:cxn ang="0">
                <a:pos x="connsiteX13437" y="connsiteY13437"/>
              </a:cxn>
              <a:cxn ang="0">
                <a:pos x="connsiteX13438" y="connsiteY13438"/>
              </a:cxn>
              <a:cxn ang="0">
                <a:pos x="connsiteX13439" y="connsiteY13439"/>
              </a:cxn>
              <a:cxn ang="0">
                <a:pos x="connsiteX13440" y="connsiteY13440"/>
              </a:cxn>
              <a:cxn ang="0">
                <a:pos x="connsiteX13441" y="connsiteY13441"/>
              </a:cxn>
              <a:cxn ang="0">
                <a:pos x="connsiteX13442" y="connsiteY13442"/>
              </a:cxn>
              <a:cxn ang="0">
                <a:pos x="connsiteX13443" y="connsiteY13443"/>
              </a:cxn>
              <a:cxn ang="0">
                <a:pos x="connsiteX13444" y="connsiteY13444"/>
              </a:cxn>
              <a:cxn ang="0">
                <a:pos x="connsiteX13445" y="connsiteY13445"/>
              </a:cxn>
              <a:cxn ang="0">
                <a:pos x="connsiteX13446" y="connsiteY13446"/>
              </a:cxn>
              <a:cxn ang="0">
                <a:pos x="connsiteX13447" y="connsiteY13447"/>
              </a:cxn>
              <a:cxn ang="0">
                <a:pos x="connsiteX13448" y="connsiteY13448"/>
              </a:cxn>
              <a:cxn ang="0">
                <a:pos x="connsiteX13449" y="connsiteY13449"/>
              </a:cxn>
              <a:cxn ang="0">
                <a:pos x="connsiteX13450" y="connsiteY13450"/>
              </a:cxn>
              <a:cxn ang="0">
                <a:pos x="connsiteX13451" y="connsiteY13451"/>
              </a:cxn>
              <a:cxn ang="0">
                <a:pos x="connsiteX13452" y="connsiteY13452"/>
              </a:cxn>
              <a:cxn ang="0">
                <a:pos x="connsiteX13453" y="connsiteY13453"/>
              </a:cxn>
              <a:cxn ang="0">
                <a:pos x="connsiteX13454" y="connsiteY13454"/>
              </a:cxn>
              <a:cxn ang="0">
                <a:pos x="connsiteX13455" y="connsiteY13455"/>
              </a:cxn>
              <a:cxn ang="0">
                <a:pos x="connsiteX13456" y="connsiteY13456"/>
              </a:cxn>
              <a:cxn ang="0">
                <a:pos x="connsiteX13457" y="connsiteY13457"/>
              </a:cxn>
              <a:cxn ang="0">
                <a:pos x="connsiteX13458" y="connsiteY13458"/>
              </a:cxn>
              <a:cxn ang="0">
                <a:pos x="connsiteX13459" y="connsiteY13459"/>
              </a:cxn>
              <a:cxn ang="0">
                <a:pos x="connsiteX13460" y="connsiteY13460"/>
              </a:cxn>
              <a:cxn ang="0">
                <a:pos x="connsiteX13461" y="connsiteY13461"/>
              </a:cxn>
              <a:cxn ang="0">
                <a:pos x="connsiteX13462" y="connsiteY13462"/>
              </a:cxn>
              <a:cxn ang="0">
                <a:pos x="connsiteX13463" y="connsiteY13463"/>
              </a:cxn>
              <a:cxn ang="0">
                <a:pos x="connsiteX13464" y="connsiteY13464"/>
              </a:cxn>
              <a:cxn ang="0">
                <a:pos x="connsiteX13465" y="connsiteY13465"/>
              </a:cxn>
              <a:cxn ang="0">
                <a:pos x="connsiteX13466" y="connsiteY13466"/>
              </a:cxn>
              <a:cxn ang="0">
                <a:pos x="connsiteX13467" y="connsiteY13467"/>
              </a:cxn>
              <a:cxn ang="0">
                <a:pos x="connsiteX13468" y="connsiteY13468"/>
              </a:cxn>
              <a:cxn ang="0">
                <a:pos x="connsiteX13469" y="connsiteY13469"/>
              </a:cxn>
              <a:cxn ang="0">
                <a:pos x="connsiteX13470" y="connsiteY13470"/>
              </a:cxn>
              <a:cxn ang="0">
                <a:pos x="connsiteX13471" y="connsiteY13471"/>
              </a:cxn>
              <a:cxn ang="0">
                <a:pos x="connsiteX13472" y="connsiteY13472"/>
              </a:cxn>
              <a:cxn ang="0">
                <a:pos x="connsiteX13473" y="connsiteY13473"/>
              </a:cxn>
              <a:cxn ang="0">
                <a:pos x="connsiteX13474" y="connsiteY13474"/>
              </a:cxn>
              <a:cxn ang="0">
                <a:pos x="connsiteX13475" y="connsiteY13475"/>
              </a:cxn>
              <a:cxn ang="0">
                <a:pos x="connsiteX13476" y="connsiteY13476"/>
              </a:cxn>
              <a:cxn ang="0">
                <a:pos x="connsiteX13477" y="connsiteY13477"/>
              </a:cxn>
              <a:cxn ang="0">
                <a:pos x="connsiteX13478" y="connsiteY13478"/>
              </a:cxn>
              <a:cxn ang="0">
                <a:pos x="connsiteX13479" y="connsiteY13479"/>
              </a:cxn>
              <a:cxn ang="0">
                <a:pos x="connsiteX13480" y="connsiteY13480"/>
              </a:cxn>
              <a:cxn ang="0">
                <a:pos x="connsiteX13481" y="connsiteY13481"/>
              </a:cxn>
              <a:cxn ang="0">
                <a:pos x="connsiteX13482" y="connsiteY13482"/>
              </a:cxn>
              <a:cxn ang="0">
                <a:pos x="connsiteX13483" y="connsiteY13483"/>
              </a:cxn>
              <a:cxn ang="0">
                <a:pos x="connsiteX13484" y="connsiteY13484"/>
              </a:cxn>
              <a:cxn ang="0">
                <a:pos x="connsiteX13485" y="connsiteY13485"/>
              </a:cxn>
              <a:cxn ang="0">
                <a:pos x="connsiteX13486" y="connsiteY13486"/>
              </a:cxn>
              <a:cxn ang="0">
                <a:pos x="connsiteX13487" y="connsiteY13487"/>
              </a:cxn>
              <a:cxn ang="0">
                <a:pos x="connsiteX13488" y="connsiteY13488"/>
              </a:cxn>
              <a:cxn ang="0">
                <a:pos x="connsiteX13489" y="connsiteY13489"/>
              </a:cxn>
              <a:cxn ang="0">
                <a:pos x="connsiteX13490" y="connsiteY13490"/>
              </a:cxn>
              <a:cxn ang="0">
                <a:pos x="connsiteX13491" y="connsiteY13491"/>
              </a:cxn>
              <a:cxn ang="0">
                <a:pos x="connsiteX13492" y="connsiteY13492"/>
              </a:cxn>
              <a:cxn ang="0">
                <a:pos x="connsiteX13493" y="connsiteY13493"/>
              </a:cxn>
              <a:cxn ang="0">
                <a:pos x="connsiteX13494" y="connsiteY13494"/>
              </a:cxn>
              <a:cxn ang="0">
                <a:pos x="connsiteX13495" y="connsiteY13495"/>
              </a:cxn>
              <a:cxn ang="0">
                <a:pos x="connsiteX13496" y="connsiteY13496"/>
              </a:cxn>
              <a:cxn ang="0">
                <a:pos x="connsiteX13497" y="connsiteY13497"/>
              </a:cxn>
              <a:cxn ang="0">
                <a:pos x="connsiteX13498" y="connsiteY13498"/>
              </a:cxn>
              <a:cxn ang="0">
                <a:pos x="connsiteX13499" y="connsiteY13499"/>
              </a:cxn>
              <a:cxn ang="0">
                <a:pos x="connsiteX13500" y="connsiteY13500"/>
              </a:cxn>
              <a:cxn ang="0">
                <a:pos x="connsiteX13501" y="connsiteY13501"/>
              </a:cxn>
              <a:cxn ang="0">
                <a:pos x="connsiteX13502" y="connsiteY13502"/>
              </a:cxn>
              <a:cxn ang="0">
                <a:pos x="connsiteX13503" y="connsiteY13503"/>
              </a:cxn>
              <a:cxn ang="0">
                <a:pos x="connsiteX13504" y="connsiteY13504"/>
              </a:cxn>
              <a:cxn ang="0">
                <a:pos x="connsiteX13505" y="connsiteY13505"/>
              </a:cxn>
              <a:cxn ang="0">
                <a:pos x="connsiteX13506" y="connsiteY13506"/>
              </a:cxn>
              <a:cxn ang="0">
                <a:pos x="connsiteX13507" y="connsiteY13507"/>
              </a:cxn>
              <a:cxn ang="0">
                <a:pos x="connsiteX13508" y="connsiteY13508"/>
              </a:cxn>
              <a:cxn ang="0">
                <a:pos x="connsiteX13509" y="connsiteY13509"/>
              </a:cxn>
              <a:cxn ang="0">
                <a:pos x="connsiteX13510" y="connsiteY13510"/>
              </a:cxn>
              <a:cxn ang="0">
                <a:pos x="connsiteX13511" y="connsiteY13511"/>
              </a:cxn>
              <a:cxn ang="0">
                <a:pos x="connsiteX13512" y="connsiteY13512"/>
              </a:cxn>
              <a:cxn ang="0">
                <a:pos x="connsiteX13513" y="connsiteY13513"/>
              </a:cxn>
              <a:cxn ang="0">
                <a:pos x="connsiteX13514" y="connsiteY13514"/>
              </a:cxn>
              <a:cxn ang="0">
                <a:pos x="connsiteX13515" y="connsiteY13515"/>
              </a:cxn>
              <a:cxn ang="0">
                <a:pos x="connsiteX13516" y="connsiteY13516"/>
              </a:cxn>
              <a:cxn ang="0">
                <a:pos x="connsiteX13517" y="connsiteY13517"/>
              </a:cxn>
              <a:cxn ang="0">
                <a:pos x="connsiteX13518" y="connsiteY13518"/>
              </a:cxn>
              <a:cxn ang="0">
                <a:pos x="connsiteX13519" y="connsiteY13519"/>
              </a:cxn>
              <a:cxn ang="0">
                <a:pos x="connsiteX13520" y="connsiteY13520"/>
              </a:cxn>
              <a:cxn ang="0">
                <a:pos x="connsiteX13521" y="connsiteY13521"/>
              </a:cxn>
              <a:cxn ang="0">
                <a:pos x="connsiteX13522" y="connsiteY13522"/>
              </a:cxn>
              <a:cxn ang="0">
                <a:pos x="connsiteX13523" y="connsiteY13523"/>
              </a:cxn>
              <a:cxn ang="0">
                <a:pos x="connsiteX13524" y="connsiteY13524"/>
              </a:cxn>
              <a:cxn ang="0">
                <a:pos x="connsiteX13525" y="connsiteY13525"/>
              </a:cxn>
              <a:cxn ang="0">
                <a:pos x="connsiteX13526" y="connsiteY13526"/>
              </a:cxn>
              <a:cxn ang="0">
                <a:pos x="connsiteX13527" y="connsiteY13527"/>
              </a:cxn>
              <a:cxn ang="0">
                <a:pos x="connsiteX13528" y="connsiteY13528"/>
              </a:cxn>
              <a:cxn ang="0">
                <a:pos x="connsiteX13529" y="connsiteY13529"/>
              </a:cxn>
              <a:cxn ang="0">
                <a:pos x="connsiteX13530" y="connsiteY13530"/>
              </a:cxn>
              <a:cxn ang="0">
                <a:pos x="connsiteX13531" y="connsiteY13531"/>
              </a:cxn>
              <a:cxn ang="0">
                <a:pos x="connsiteX13532" y="connsiteY13532"/>
              </a:cxn>
              <a:cxn ang="0">
                <a:pos x="connsiteX13533" y="connsiteY13533"/>
              </a:cxn>
              <a:cxn ang="0">
                <a:pos x="connsiteX13534" y="connsiteY13534"/>
              </a:cxn>
              <a:cxn ang="0">
                <a:pos x="connsiteX13535" y="connsiteY13535"/>
              </a:cxn>
              <a:cxn ang="0">
                <a:pos x="connsiteX13536" y="connsiteY13536"/>
              </a:cxn>
              <a:cxn ang="0">
                <a:pos x="connsiteX13537" y="connsiteY13537"/>
              </a:cxn>
              <a:cxn ang="0">
                <a:pos x="connsiteX13538" y="connsiteY13538"/>
              </a:cxn>
              <a:cxn ang="0">
                <a:pos x="connsiteX13539" y="connsiteY13539"/>
              </a:cxn>
              <a:cxn ang="0">
                <a:pos x="connsiteX13540" y="connsiteY13540"/>
              </a:cxn>
              <a:cxn ang="0">
                <a:pos x="connsiteX13541" y="connsiteY13541"/>
              </a:cxn>
              <a:cxn ang="0">
                <a:pos x="connsiteX13542" y="connsiteY13542"/>
              </a:cxn>
              <a:cxn ang="0">
                <a:pos x="connsiteX13543" y="connsiteY13543"/>
              </a:cxn>
              <a:cxn ang="0">
                <a:pos x="connsiteX13544" y="connsiteY13544"/>
              </a:cxn>
              <a:cxn ang="0">
                <a:pos x="connsiteX13545" y="connsiteY13545"/>
              </a:cxn>
              <a:cxn ang="0">
                <a:pos x="connsiteX13546" y="connsiteY13546"/>
              </a:cxn>
              <a:cxn ang="0">
                <a:pos x="connsiteX13547" y="connsiteY13547"/>
              </a:cxn>
              <a:cxn ang="0">
                <a:pos x="connsiteX13548" y="connsiteY13548"/>
              </a:cxn>
              <a:cxn ang="0">
                <a:pos x="connsiteX13549" y="connsiteY13549"/>
              </a:cxn>
              <a:cxn ang="0">
                <a:pos x="connsiteX13550" y="connsiteY13550"/>
              </a:cxn>
              <a:cxn ang="0">
                <a:pos x="connsiteX13551" y="connsiteY13551"/>
              </a:cxn>
              <a:cxn ang="0">
                <a:pos x="connsiteX13552" y="connsiteY13552"/>
              </a:cxn>
              <a:cxn ang="0">
                <a:pos x="connsiteX13553" y="connsiteY13553"/>
              </a:cxn>
              <a:cxn ang="0">
                <a:pos x="connsiteX13554" y="connsiteY13554"/>
              </a:cxn>
              <a:cxn ang="0">
                <a:pos x="connsiteX13555" y="connsiteY13555"/>
              </a:cxn>
              <a:cxn ang="0">
                <a:pos x="connsiteX13556" y="connsiteY13556"/>
              </a:cxn>
              <a:cxn ang="0">
                <a:pos x="connsiteX13557" y="connsiteY13557"/>
              </a:cxn>
              <a:cxn ang="0">
                <a:pos x="connsiteX13558" y="connsiteY13558"/>
              </a:cxn>
              <a:cxn ang="0">
                <a:pos x="connsiteX13559" y="connsiteY13559"/>
              </a:cxn>
              <a:cxn ang="0">
                <a:pos x="connsiteX13560" y="connsiteY13560"/>
              </a:cxn>
              <a:cxn ang="0">
                <a:pos x="connsiteX13561" y="connsiteY13561"/>
              </a:cxn>
              <a:cxn ang="0">
                <a:pos x="connsiteX13562" y="connsiteY13562"/>
              </a:cxn>
              <a:cxn ang="0">
                <a:pos x="connsiteX13563" y="connsiteY13563"/>
              </a:cxn>
              <a:cxn ang="0">
                <a:pos x="connsiteX13564" y="connsiteY13564"/>
              </a:cxn>
              <a:cxn ang="0">
                <a:pos x="connsiteX13565" y="connsiteY13565"/>
              </a:cxn>
              <a:cxn ang="0">
                <a:pos x="connsiteX13566" y="connsiteY13566"/>
              </a:cxn>
              <a:cxn ang="0">
                <a:pos x="connsiteX13567" y="connsiteY13567"/>
              </a:cxn>
              <a:cxn ang="0">
                <a:pos x="connsiteX13568" y="connsiteY13568"/>
              </a:cxn>
              <a:cxn ang="0">
                <a:pos x="connsiteX13569" y="connsiteY13569"/>
              </a:cxn>
              <a:cxn ang="0">
                <a:pos x="connsiteX13570" y="connsiteY13570"/>
              </a:cxn>
              <a:cxn ang="0">
                <a:pos x="connsiteX13571" y="connsiteY13571"/>
              </a:cxn>
              <a:cxn ang="0">
                <a:pos x="connsiteX13572" y="connsiteY13572"/>
              </a:cxn>
              <a:cxn ang="0">
                <a:pos x="connsiteX13573" y="connsiteY13573"/>
              </a:cxn>
              <a:cxn ang="0">
                <a:pos x="connsiteX13574" y="connsiteY13574"/>
              </a:cxn>
              <a:cxn ang="0">
                <a:pos x="connsiteX13575" y="connsiteY13575"/>
              </a:cxn>
              <a:cxn ang="0">
                <a:pos x="connsiteX13576" y="connsiteY13576"/>
              </a:cxn>
              <a:cxn ang="0">
                <a:pos x="connsiteX13577" y="connsiteY13577"/>
              </a:cxn>
              <a:cxn ang="0">
                <a:pos x="connsiteX13578" y="connsiteY13578"/>
              </a:cxn>
              <a:cxn ang="0">
                <a:pos x="connsiteX13579" y="connsiteY13579"/>
              </a:cxn>
              <a:cxn ang="0">
                <a:pos x="connsiteX13580" y="connsiteY13580"/>
              </a:cxn>
              <a:cxn ang="0">
                <a:pos x="connsiteX13581" y="connsiteY13581"/>
              </a:cxn>
              <a:cxn ang="0">
                <a:pos x="connsiteX13582" y="connsiteY13582"/>
              </a:cxn>
              <a:cxn ang="0">
                <a:pos x="connsiteX13583" y="connsiteY13583"/>
              </a:cxn>
              <a:cxn ang="0">
                <a:pos x="connsiteX13584" y="connsiteY13584"/>
              </a:cxn>
              <a:cxn ang="0">
                <a:pos x="connsiteX13585" y="connsiteY13585"/>
              </a:cxn>
              <a:cxn ang="0">
                <a:pos x="connsiteX13586" y="connsiteY13586"/>
              </a:cxn>
              <a:cxn ang="0">
                <a:pos x="connsiteX13587" y="connsiteY13587"/>
              </a:cxn>
              <a:cxn ang="0">
                <a:pos x="connsiteX13588" y="connsiteY13588"/>
              </a:cxn>
              <a:cxn ang="0">
                <a:pos x="connsiteX13589" y="connsiteY13589"/>
              </a:cxn>
              <a:cxn ang="0">
                <a:pos x="connsiteX13590" y="connsiteY13590"/>
              </a:cxn>
              <a:cxn ang="0">
                <a:pos x="connsiteX13591" y="connsiteY13591"/>
              </a:cxn>
              <a:cxn ang="0">
                <a:pos x="connsiteX13592" y="connsiteY13592"/>
              </a:cxn>
              <a:cxn ang="0">
                <a:pos x="connsiteX13593" y="connsiteY13593"/>
              </a:cxn>
              <a:cxn ang="0">
                <a:pos x="connsiteX13594" y="connsiteY13594"/>
              </a:cxn>
              <a:cxn ang="0">
                <a:pos x="connsiteX13595" y="connsiteY13595"/>
              </a:cxn>
              <a:cxn ang="0">
                <a:pos x="connsiteX13596" y="connsiteY13596"/>
              </a:cxn>
              <a:cxn ang="0">
                <a:pos x="connsiteX13597" y="connsiteY13597"/>
              </a:cxn>
              <a:cxn ang="0">
                <a:pos x="connsiteX13598" y="connsiteY13598"/>
              </a:cxn>
              <a:cxn ang="0">
                <a:pos x="connsiteX13599" y="connsiteY13599"/>
              </a:cxn>
              <a:cxn ang="0">
                <a:pos x="connsiteX13600" y="connsiteY13600"/>
              </a:cxn>
              <a:cxn ang="0">
                <a:pos x="connsiteX13601" y="connsiteY13601"/>
              </a:cxn>
              <a:cxn ang="0">
                <a:pos x="connsiteX13602" y="connsiteY13602"/>
              </a:cxn>
              <a:cxn ang="0">
                <a:pos x="connsiteX13603" y="connsiteY13603"/>
              </a:cxn>
              <a:cxn ang="0">
                <a:pos x="connsiteX13604" y="connsiteY13604"/>
              </a:cxn>
              <a:cxn ang="0">
                <a:pos x="connsiteX13605" y="connsiteY13605"/>
              </a:cxn>
              <a:cxn ang="0">
                <a:pos x="connsiteX13606" y="connsiteY13606"/>
              </a:cxn>
              <a:cxn ang="0">
                <a:pos x="connsiteX13607" y="connsiteY13607"/>
              </a:cxn>
              <a:cxn ang="0">
                <a:pos x="connsiteX13608" y="connsiteY13608"/>
              </a:cxn>
              <a:cxn ang="0">
                <a:pos x="connsiteX13609" y="connsiteY13609"/>
              </a:cxn>
              <a:cxn ang="0">
                <a:pos x="connsiteX13610" y="connsiteY13610"/>
              </a:cxn>
              <a:cxn ang="0">
                <a:pos x="connsiteX13611" y="connsiteY13611"/>
              </a:cxn>
              <a:cxn ang="0">
                <a:pos x="connsiteX13612" y="connsiteY13612"/>
              </a:cxn>
              <a:cxn ang="0">
                <a:pos x="connsiteX13613" y="connsiteY13613"/>
              </a:cxn>
              <a:cxn ang="0">
                <a:pos x="connsiteX13614" y="connsiteY13614"/>
              </a:cxn>
              <a:cxn ang="0">
                <a:pos x="connsiteX13615" y="connsiteY13615"/>
              </a:cxn>
              <a:cxn ang="0">
                <a:pos x="connsiteX13616" y="connsiteY13616"/>
              </a:cxn>
              <a:cxn ang="0">
                <a:pos x="connsiteX13617" y="connsiteY13617"/>
              </a:cxn>
              <a:cxn ang="0">
                <a:pos x="connsiteX13618" y="connsiteY13618"/>
              </a:cxn>
              <a:cxn ang="0">
                <a:pos x="connsiteX13619" y="connsiteY13619"/>
              </a:cxn>
              <a:cxn ang="0">
                <a:pos x="connsiteX13620" y="connsiteY13620"/>
              </a:cxn>
              <a:cxn ang="0">
                <a:pos x="connsiteX13621" y="connsiteY13621"/>
              </a:cxn>
              <a:cxn ang="0">
                <a:pos x="connsiteX13622" y="connsiteY13622"/>
              </a:cxn>
              <a:cxn ang="0">
                <a:pos x="connsiteX13623" y="connsiteY13623"/>
              </a:cxn>
              <a:cxn ang="0">
                <a:pos x="connsiteX13624" y="connsiteY13624"/>
              </a:cxn>
              <a:cxn ang="0">
                <a:pos x="connsiteX13625" y="connsiteY13625"/>
              </a:cxn>
              <a:cxn ang="0">
                <a:pos x="connsiteX13626" y="connsiteY13626"/>
              </a:cxn>
              <a:cxn ang="0">
                <a:pos x="connsiteX13627" y="connsiteY13627"/>
              </a:cxn>
              <a:cxn ang="0">
                <a:pos x="connsiteX13628" y="connsiteY13628"/>
              </a:cxn>
              <a:cxn ang="0">
                <a:pos x="connsiteX13629" y="connsiteY13629"/>
              </a:cxn>
              <a:cxn ang="0">
                <a:pos x="connsiteX13630" y="connsiteY13630"/>
              </a:cxn>
              <a:cxn ang="0">
                <a:pos x="connsiteX13631" y="connsiteY13631"/>
              </a:cxn>
              <a:cxn ang="0">
                <a:pos x="connsiteX13632" y="connsiteY13632"/>
              </a:cxn>
              <a:cxn ang="0">
                <a:pos x="connsiteX13633" y="connsiteY13633"/>
              </a:cxn>
              <a:cxn ang="0">
                <a:pos x="connsiteX13634" y="connsiteY13634"/>
              </a:cxn>
              <a:cxn ang="0">
                <a:pos x="connsiteX13635" y="connsiteY13635"/>
              </a:cxn>
              <a:cxn ang="0">
                <a:pos x="connsiteX13636" y="connsiteY13636"/>
              </a:cxn>
              <a:cxn ang="0">
                <a:pos x="connsiteX13637" y="connsiteY13637"/>
              </a:cxn>
              <a:cxn ang="0">
                <a:pos x="connsiteX13638" y="connsiteY13638"/>
              </a:cxn>
              <a:cxn ang="0">
                <a:pos x="connsiteX13639" y="connsiteY13639"/>
              </a:cxn>
              <a:cxn ang="0">
                <a:pos x="connsiteX13640" y="connsiteY13640"/>
              </a:cxn>
              <a:cxn ang="0">
                <a:pos x="connsiteX13641" y="connsiteY13641"/>
              </a:cxn>
              <a:cxn ang="0">
                <a:pos x="connsiteX13642" y="connsiteY13642"/>
              </a:cxn>
              <a:cxn ang="0">
                <a:pos x="connsiteX13643" y="connsiteY13643"/>
              </a:cxn>
              <a:cxn ang="0">
                <a:pos x="connsiteX13644" y="connsiteY13644"/>
              </a:cxn>
              <a:cxn ang="0">
                <a:pos x="connsiteX13645" y="connsiteY13645"/>
              </a:cxn>
              <a:cxn ang="0">
                <a:pos x="connsiteX13646" y="connsiteY13646"/>
              </a:cxn>
              <a:cxn ang="0">
                <a:pos x="connsiteX13647" y="connsiteY13647"/>
              </a:cxn>
              <a:cxn ang="0">
                <a:pos x="connsiteX13648" y="connsiteY13648"/>
              </a:cxn>
              <a:cxn ang="0">
                <a:pos x="connsiteX13649" y="connsiteY13649"/>
              </a:cxn>
              <a:cxn ang="0">
                <a:pos x="connsiteX13650" y="connsiteY13650"/>
              </a:cxn>
              <a:cxn ang="0">
                <a:pos x="connsiteX13651" y="connsiteY13651"/>
              </a:cxn>
              <a:cxn ang="0">
                <a:pos x="connsiteX13652" y="connsiteY13652"/>
              </a:cxn>
              <a:cxn ang="0">
                <a:pos x="connsiteX13653" y="connsiteY13653"/>
              </a:cxn>
              <a:cxn ang="0">
                <a:pos x="connsiteX13654" y="connsiteY13654"/>
              </a:cxn>
              <a:cxn ang="0">
                <a:pos x="connsiteX13655" y="connsiteY13655"/>
              </a:cxn>
              <a:cxn ang="0">
                <a:pos x="connsiteX13656" y="connsiteY13656"/>
              </a:cxn>
              <a:cxn ang="0">
                <a:pos x="connsiteX13657" y="connsiteY13657"/>
              </a:cxn>
              <a:cxn ang="0">
                <a:pos x="connsiteX13658" y="connsiteY13658"/>
              </a:cxn>
              <a:cxn ang="0">
                <a:pos x="connsiteX13659" y="connsiteY13659"/>
              </a:cxn>
              <a:cxn ang="0">
                <a:pos x="connsiteX13660" y="connsiteY13660"/>
              </a:cxn>
              <a:cxn ang="0">
                <a:pos x="connsiteX13661" y="connsiteY13661"/>
              </a:cxn>
              <a:cxn ang="0">
                <a:pos x="connsiteX13662" y="connsiteY13662"/>
              </a:cxn>
              <a:cxn ang="0">
                <a:pos x="connsiteX13663" y="connsiteY13663"/>
              </a:cxn>
              <a:cxn ang="0">
                <a:pos x="connsiteX13664" y="connsiteY13664"/>
              </a:cxn>
              <a:cxn ang="0">
                <a:pos x="connsiteX13665" y="connsiteY13665"/>
              </a:cxn>
              <a:cxn ang="0">
                <a:pos x="connsiteX13666" y="connsiteY13666"/>
              </a:cxn>
              <a:cxn ang="0">
                <a:pos x="connsiteX13667" y="connsiteY13667"/>
              </a:cxn>
              <a:cxn ang="0">
                <a:pos x="connsiteX13668" y="connsiteY13668"/>
              </a:cxn>
              <a:cxn ang="0">
                <a:pos x="connsiteX13669" y="connsiteY13669"/>
              </a:cxn>
              <a:cxn ang="0">
                <a:pos x="connsiteX13670" y="connsiteY13670"/>
              </a:cxn>
              <a:cxn ang="0">
                <a:pos x="connsiteX13671" y="connsiteY13671"/>
              </a:cxn>
              <a:cxn ang="0">
                <a:pos x="connsiteX13672" y="connsiteY13672"/>
              </a:cxn>
              <a:cxn ang="0">
                <a:pos x="connsiteX13673" y="connsiteY13673"/>
              </a:cxn>
              <a:cxn ang="0">
                <a:pos x="connsiteX13674" y="connsiteY13674"/>
              </a:cxn>
              <a:cxn ang="0">
                <a:pos x="connsiteX13675" y="connsiteY13675"/>
              </a:cxn>
              <a:cxn ang="0">
                <a:pos x="connsiteX13676" y="connsiteY13676"/>
              </a:cxn>
              <a:cxn ang="0">
                <a:pos x="connsiteX13677" y="connsiteY13677"/>
              </a:cxn>
              <a:cxn ang="0">
                <a:pos x="connsiteX13678" y="connsiteY13678"/>
              </a:cxn>
              <a:cxn ang="0">
                <a:pos x="connsiteX13679" y="connsiteY13679"/>
              </a:cxn>
              <a:cxn ang="0">
                <a:pos x="connsiteX13680" y="connsiteY13680"/>
              </a:cxn>
              <a:cxn ang="0">
                <a:pos x="connsiteX13681" y="connsiteY13681"/>
              </a:cxn>
              <a:cxn ang="0">
                <a:pos x="connsiteX13682" y="connsiteY13682"/>
              </a:cxn>
              <a:cxn ang="0">
                <a:pos x="connsiteX13683" y="connsiteY13683"/>
              </a:cxn>
              <a:cxn ang="0">
                <a:pos x="connsiteX13684" y="connsiteY13684"/>
              </a:cxn>
              <a:cxn ang="0">
                <a:pos x="connsiteX13685" y="connsiteY13685"/>
              </a:cxn>
              <a:cxn ang="0">
                <a:pos x="connsiteX13686" y="connsiteY13686"/>
              </a:cxn>
              <a:cxn ang="0">
                <a:pos x="connsiteX13687" y="connsiteY13687"/>
              </a:cxn>
              <a:cxn ang="0">
                <a:pos x="connsiteX13688" y="connsiteY13688"/>
              </a:cxn>
              <a:cxn ang="0">
                <a:pos x="connsiteX13689" y="connsiteY13689"/>
              </a:cxn>
              <a:cxn ang="0">
                <a:pos x="connsiteX13690" y="connsiteY13690"/>
              </a:cxn>
              <a:cxn ang="0">
                <a:pos x="connsiteX13691" y="connsiteY13691"/>
              </a:cxn>
              <a:cxn ang="0">
                <a:pos x="connsiteX13692" y="connsiteY13692"/>
              </a:cxn>
              <a:cxn ang="0">
                <a:pos x="connsiteX13693" y="connsiteY13693"/>
              </a:cxn>
              <a:cxn ang="0">
                <a:pos x="connsiteX13694" y="connsiteY13694"/>
              </a:cxn>
              <a:cxn ang="0">
                <a:pos x="connsiteX13695" y="connsiteY13695"/>
              </a:cxn>
              <a:cxn ang="0">
                <a:pos x="connsiteX13696" y="connsiteY13696"/>
              </a:cxn>
              <a:cxn ang="0">
                <a:pos x="connsiteX13697" y="connsiteY13697"/>
              </a:cxn>
              <a:cxn ang="0">
                <a:pos x="connsiteX13698" y="connsiteY13698"/>
              </a:cxn>
              <a:cxn ang="0">
                <a:pos x="connsiteX13699" y="connsiteY13699"/>
              </a:cxn>
              <a:cxn ang="0">
                <a:pos x="connsiteX13700" y="connsiteY13700"/>
              </a:cxn>
              <a:cxn ang="0">
                <a:pos x="connsiteX13701" y="connsiteY13701"/>
              </a:cxn>
              <a:cxn ang="0">
                <a:pos x="connsiteX13702" y="connsiteY13702"/>
              </a:cxn>
              <a:cxn ang="0">
                <a:pos x="connsiteX13703" y="connsiteY13703"/>
              </a:cxn>
              <a:cxn ang="0">
                <a:pos x="connsiteX13704" y="connsiteY13704"/>
              </a:cxn>
              <a:cxn ang="0">
                <a:pos x="connsiteX13705" y="connsiteY13705"/>
              </a:cxn>
              <a:cxn ang="0">
                <a:pos x="connsiteX13706" y="connsiteY13706"/>
              </a:cxn>
              <a:cxn ang="0">
                <a:pos x="connsiteX13707" y="connsiteY13707"/>
              </a:cxn>
              <a:cxn ang="0">
                <a:pos x="connsiteX13708" y="connsiteY13708"/>
              </a:cxn>
              <a:cxn ang="0">
                <a:pos x="connsiteX13709" y="connsiteY13709"/>
              </a:cxn>
              <a:cxn ang="0">
                <a:pos x="connsiteX13710" y="connsiteY13710"/>
              </a:cxn>
              <a:cxn ang="0">
                <a:pos x="connsiteX13711" y="connsiteY13711"/>
              </a:cxn>
              <a:cxn ang="0">
                <a:pos x="connsiteX13712" y="connsiteY13712"/>
              </a:cxn>
              <a:cxn ang="0">
                <a:pos x="connsiteX13713" y="connsiteY13713"/>
              </a:cxn>
              <a:cxn ang="0">
                <a:pos x="connsiteX13714" y="connsiteY13714"/>
              </a:cxn>
              <a:cxn ang="0">
                <a:pos x="connsiteX13715" y="connsiteY13715"/>
              </a:cxn>
              <a:cxn ang="0">
                <a:pos x="connsiteX13716" y="connsiteY13716"/>
              </a:cxn>
              <a:cxn ang="0">
                <a:pos x="connsiteX13717" y="connsiteY13717"/>
              </a:cxn>
              <a:cxn ang="0">
                <a:pos x="connsiteX13718" y="connsiteY13718"/>
              </a:cxn>
              <a:cxn ang="0">
                <a:pos x="connsiteX13719" y="connsiteY13719"/>
              </a:cxn>
              <a:cxn ang="0">
                <a:pos x="connsiteX13720" y="connsiteY13720"/>
              </a:cxn>
              <a:cxn ang="0">
                <a:pos x="connsiteX13721" y="connsiteY13721"/>
              </a:cxn>
              <a:cxn ang="0">
                <a:pos x="connsiteX13722" y="connsiteY13722"/>
              </a:cxn>
              <a:cxn ang="0">
                <a:pos x="connsiteX13723" y="connsiteY13723"/>
              </a:cxn>
              <a:cxn ang="0">
                <a:pos x="connsiteX13724" y="connsiteY13724"/>
              </a:cxn>
              <a:cxn ang="0">
                <a:pos x="connsiteX13725" y="connsiteY13725"/>
              </a:cxn>
              <a:cxn ang="0">
                <a:pos x="connsiteX13726" y="connsiteY13726"/>
              </a:cxn>
              <a:cxn ang="0">
                <a:pos x="connsiteX13727" y="connsiteY13727"/>
              </a:cxn>
              <a:cxn ang="0">
                <a:pos x="connsiteX13728" y="connsiteY13728"/>
              </a:cxn>
              <a:cxn ang="0">
                <a:pos x="connsiteX13729" y="connsiteY13729"/>
              </a:cxn>
              <a:cxn ang="0">
                <a:pos x="connsiteX13730" y="connsiteY13730"/>
              </a:cxn>
              <a:cxn ang="0">
                <a:pos x="connsiteX13731" y="connsiteY13731"/>
              </a:cxn>
              <a:cxn ang="0">
                <a:pos x="connsiteX13732" y="connsiteY13732"/>
              </a:cxn>
              <a:cxn ang="0">
                <a:pos x="connsiteX13733" y="connsiteY13733"/>
              </a:cxn>
              <a:cxn ang="0">
                <a:pos x="connsiteX13734" y="connsiteY13734"/>
              </a:cxn>
              <a:cxn ang="0">
                <a:pos x="connsiteX13735" y="connsiteY13735"/>
              </a:cxn>
              <a:cxn ang="0">
                <a:pos x="connsiteX13736" y="connsiteY13736"/>
              </a:cxn>
              <a:cxn ang="0">
                <a:pos x="connsiteX13737" y="connsiteY13737"/>
              </a:cxn>
              <a:cxn ang="0">
                <a:pos x="connsiteX13738" y="connsiteY13738"/>
              </a:cxn>
              <a:cxn ang="0">
                <a:pos x="connsiteX13739" y="connsiteY13739"/>
              </a:cxn>
              <a:cxn ang="0">
                <a:pos x="connsiteX13740" y="connsiteY13740"/>
              </a:cxn>
              <a:cxn ang="0">
                <a:pos x="connsiteX13741" y="connsiteY13741"/>
              </a:cxn>
              <a:cxn ang="0">
                <a:pos x="connsiteX13742" y="connsiteY13742"/>
              </a:cxn>
              <a:cxn ang="0">
                <a:pos x="connsiteX13743" y="connsiteY13743"/>
              </a:cxn>
              <a:cxn ang="0">
                <a:pos x="connsiteX13744" y="connsiteY13744"/>
              </a:cxn>
              <a:cxn ang="0">
                <a:pos x="connsiteX13745" y="connsiteY13745"/>
              </a:cxn>
              <a:cxn ang="0">
                <a:pos x="connsiteX13746" y="connsiteY13746"/>
              </a:cxn>
              <a:cxn ang="0">
                <a:pos x="connsiteX13747" y="connsiteY13747"/>
              </a:cxn>
              <a:cxn ang="0">
                <a:pos x="connsiteX13748" y="connsiteY13748"/>
              </a:cxn>
              <a:cxn ang="0">
                <a:pos x="connsiteX13749" y="connsiteY13749"/>
              </a:cxn>
              <a:cxn ang="0">
                <a:pos x="connsiteX13750" y="connsiteY13750"/>
              </a:cxn>
              <a:cxn ang="0">
                <a:pos x="connsiteX13751" y="connsiteY13751"/>
              </a:cxn>
              <a:cxn ang="0">
                <a:pos x="connsiteX13752" y="connsiteY13752"/>
              </a:cxn>
              <a:cxn ang="0">
                <a:pos x="connsiteX13753" y="connsiteY13753"/>
              </a:cxn>
              <a:cxn ang="0">
                <a:pos x="connsiteX13754" y="connsiteY13754"/>
              </a:cxn>
              <a:cxn ang="0">
                <a:pos x="connsiteX13755" y="connsiteY13755"/>
              </a:cxn>
              <a:cxn ang="0">
                <a:pos x="connsiteX13756" y="connsiteY13756"/>
              </a:cxn>
              <a:cxn ang="0">
                <a:pos x="connsiteX13757" y="connsiteY13757"/>
              </a:cxn>
              <a:cxn ang="0">
                <a:pos x="connsiteX13758" y="connsiteY13758"/>
              </a:cxn>
              <a:cxn ang="0">
                <a:pos x="connsiteX13759" y="connsiteY13759"/>
              </a:cxn>
              <a:cxn ang="0">
                <a:pos x="connsiteX13760" y="connsiteY13760"/>
              </a:cxn>
              <a:cxn ang="0">
                <a:pos x="connsiteX13761" y="connsiteY13761"/>
              </a:cxn>
              <a:cxn ang="0">
                <a:pos x="connsiteX13762" y="connsiteY13762"/>
              </a:cxn>
              <a:cxn ang="0">
                <a:pos x="connsiteX13763" y="connsiteY13763"/>
              </a:cxn>
              <a:cxn ang="0">
                <a:pos x="connsiteX13764" y="connsiteY13764"/>
              </a:cxn>
              <a:cxn ang="0">
                <a:pos x="connsiteX13765" y="connsiteY13765"/>
              </a:cxn>
              <a:cxn ang="0">
                <a:pos x="connsiteX13766" y="connsiteY13766"/>
              </a:cxn>
              <a:cxn ang="0">
                <a:pos x="connsiteX13767" y="connsiteY13767"/>
              </a:cxn>
              <a:cxn ang="0">
                <a:pos x="connsiteX13768" y="connsiteY13768"/>
              </a:cxn>
              <a:cxn ang="0">
                <a:pos x="connsiteX13769" y="connsiteY13769"/>
              </a:cxn>
              <a:cxn ang="0">
                <a:pos x="connsiteX13770" y="connsiteY13770"/>
              </a:cxn>
              <a:cxn ang="0">
                <a:pos x="connsiteX13771" y="connsiteY13771"/>
              </a:cxn>
              <a:cxn ang="0">
                <a:pos x="connsiteX13772" y="connsiteY13772"/>
              </a:cxn>
              <a:cxn ang="0">
                <a:pos x="connsiteX13773" y="connsiteY13773"/>
              </a:cxn>
              <a:cxn ang="0">
                <a:pos x="connsiteX13774" y="connsiteY13774"/>
              </a:cxn>
              <a:cxn ang="0">
                <a:pos x="connsiteX13775" y="connsiteY13775"/>
              </a:cxn>
              <a:cxn ang="0">
                <a:pos x="connsiteX13776" y="connsiteY13776"/>
              </a:cxn>
              <a:cxn ang="0">
                <a:pos x="connsiteX13777" y="connsiteY13777"/>
              </a:cxn>
              <a:cxn ang="0">
                <a:pos x="connsiteX13778" y="connsiteY13778"/>
              </a:cxn>
              <a:cxn ang="0">
                <a:pos x="connsiteX13779" y="connsiteY13779"/>
              </a:cxn>
              <a:cxn ang="0">
                <a:pos x="connsiteX13780" y="connsiteY13780"/>
              </a:cxn>
              <a:cxn ang="0">
                <a:pos x="connsiteX13781" y="connsiteY13781"/>
              </a:cxn>
              <a:cxn ang="0">
                <a:pos x="connsiteX13782" y="connsiteY13782"/>
              </a:cxn>
              <a:cxn ang="0">
                <a:pos x="connsiteX13783" y="connsiteY13783"/>
              </a:cxn>
              <a:cxn ang="0">
                <a:pos x="connsiteX13784" y="connsiteY13784"/>
              </a:cxn>
              <a:cxn ang="0">
                <a:pos x="connsiteX13785" y="connsiteY13785"/>
              </a:cxn>
              <a:cxn ang="0">
                <a:pos x="connsiteX13786" y="connsiteY13786"/>
              </a:cxn>
              <a:cxn ang="0">
                <a:pos x="connsiteX13787" y="connsiteY13787"/>
              </a:cxn>
              <a:cxn ang="0">
                <a:pos x="connsiteX13788" y="connsiteY13788"/>
              </a:cxn>
              <a:cxn ang="0">
                <a:pos x="connsiteX13789" y="connsiteY13789"/>
              </a:cxn>
              <a:cxn ang="0">
                <a:pos x="connsiteX13790" y="connsiteY13790"/>
              </a:cxn>
              <a:cxn ang="0">
                <a:pos x="connsiteX13791" y="connsiteY13791"/>
              </a:cxn>
              <a:cxn ang="0">
                <a:pos x="connsiteX13792" y="connsiteY13792"/>
              </a:cxn>
              <a:cxn ang="0">
                <a:pos x="connsiteX13793" y="connsiteY13793"/>
              </a:cxn>
              <a:cxn ang="0">
                <a:pos x="connsiteX13794" y="connsiteY13794"/>
              </a:cxn>
              <a:cxn ang="0">
                <a:pos x="connsiteX13795" y="connsiteY13795"/>
              </a:cxn>
              <a:cxn ang="0">
                <a:pos x="connsiteX13796" y="connsiteY13796"/>
              </a:cxn>
              <a:cxn ang="0">
                <a:pos x="connsiteX13797" y="connsiteY13797"/>
              </a:cxn>
              <a:cxn ang="0">
                <a:pos x="connsiteX13798" y="connsiteY13798"/>
              </a:cxn>
              <a:cxn ang="0">
                <a:pos x="connsiteX13799" y="connsiteY13799"/>
              </a:cxn>
              <a:cxn ang="0">
                <a:pos x="connsiteX13800" y="connsiteY13800"/>
              </a:cxn>
              <a:cxn ang="0">
                <a:pos x="connsiteX13801" y="connsiteY13801"/>
              </a:cxn>
              <a:cxn ang="0">
                <a:pos x="connsiteX13802" y="connsiteY13802"/>
              </a:cxn>
              <a:cxn ang="0">
                <a:pos x="connsiteX13803" y="connsiteY13803"/>
              </a:cxn>
              <a:cxn ang="0">
                <a:pos x="connsiteX13804" y="connsiteY13804"/>
              </a:cxn>
              <a:cxn ang="0">
                <a:pos x="connsiteX13805" y="connsiteY13805"/>
              </a:cxn>
              <a:cxn ang="0">
                <a:pos x="connsiteX13806" y="connsiteY13806"/>
              </a:cxn>
              <a:cxn ang="0">
                <a:pos x="connsiteX13807" y="connsiteY13807"/>
              </a:cxn>
              <a:cxn ang="0">
                <a:pos x="connsiteX13808" y="connsiteY13808"/>
              </a:cxn>
              <a:cxn ang="0">
                <a:pos x="connsiteX13809" y="connsiteY13809"/>
              </a:cxn>
              <a:cxn ang="0">
                <a:pos x="connsiteX13810" y="connsiteY13810"/>
              </a:cxn>
              <a:cxn ang="0">
                <a:pos x="connsiteX13811" y="connsiteY13811"/>
              </a:cxn>
              <a:cxn ang="0">
                <a:pos x="connsiteX13812" y="connsiteY13812"/>
              </a:cxn>
              <a:cxn ang="0">
                <a:pos x="connsiteX13813" y="connsiteY13813"/>
              </a:cxn>
              <a:cxn ang="0">
                <a:pos x="connsiteX13814" y="connsiteY13814"/>
              </a:cxn>
              <a:cxn ang="0">
                <a:pos x="connsiteX13815" y="connsiteY13815"/>
              </a:cxn>
              <a:cxn ang="0">
                <a:pos x="connsiteX13816" y="connsiteY13816"/>
              </a:cxn>
              <a:cxn ang="0">
                <a:pos x="connsiteX13817" y="connsiteY13817"/>
              </a:cxn>
              <a:cxn ang="0">
                <a:pos x="connsiteX13818" y="connsiteY13818"/>
              </a:cxn>
              <a:cxn ang="0">
                <a:pos x="connsiteX13819" y="connsiteY13819"/>
              </a:cxn>
              <a:cxn ang="0">
                <a:pos x="connsiteX13820" y="connsiteY13820"/>
              </a:cxn>
              <a:cxn ang="0">
                <a:pos x="connsiteX13821" y="connsiteY13821"/>
              </a:cxn>
              <a:cxn ang="0">
                <a:pos x="connsiteX13822" y="connsiteY13822"/>
              </a:cxn>
              <a:cxn ang="0">
                <a:pos x="connsiteX13823" y="connsiteY13823"/>
              </a:cxn>
              <a:cxn ang="0">
                <a:pos x="connsiteX13824" y="connsiteY13824"/>
              </a:cxn>
              <a:cxn ang="0">
                <a:pos x="connsiteX13825" y="connsiteY13825"/>
              </a:cxn>
              <a:cxn ang="0">
                <a:pos x="connsiteX13826" y="connsiteY13826"/>
              </a:cxn>
              <a:cxn ang="0">
                <a:pos x="connsiteX13827" y="connsiteY13827"/>
              </a:cxn>
              <a:cxn ang="0">
                <a:pos x="connsiteX13828" y="connsiteY13828"/>
              </a:cxn>
              <a:cxn ang="0">
                <a:pos x="connsiteX13829" y="connsiteY13829"/>
              </a:cxn>
              <a:cxn ang="0">
                <a:pos x="connsiteX13830" y="connsiteY13830"/>
              </a:cxn>
              <a:cxn ang="0">
                <a:pos x="connsiteX13831" y="connsiteY13831"/>
              </a:cxn>
              <a:cxn ang="0">
                <a:pos x="connsiteX13832" y="connsiteY13832"/>
              </a:cxn>
              <a:cxn ang="0">
                <a:pos x="connsiteX13833" y="connsiteY13833"/>
              </a:cxn>
              <a:cxn ang="0">
                <a:pos x="connsiteX13834" y="connsiteY13834"/>
              </a:cxn>
              <a:cxn ang="0">
                <a:pos x="connsiteX13835" y="connsiteY13835"/>
              </a:cxn>
              <a:cxn ang="0">
                <a:pos x="connsiteX13836" y="connsiteY13836"/>
              </a:cxn>
              <a:cxn ang="0">
                <a:pos x="connsiteX13837" y="connsiteY13837"/>
              </a:cxn>
              <a:cxn ang="0">
                <a:pos x="connsiteX13838" y="connsiteY13838"/>
              </a:cxn>
              <a:cxn ang="0">
                <a:pos x="connsiteX13839" y="connsiteY13839"/>
              </a:cxn>
              <a:cxn ang="0">
                <a:pos x="connsiteX13840" y="connsiteY13840"/>
              </a:cxn>
              <a:cxn ang="0">
                <a:pos x="connsiteX13841" y="connsiteY13841"/>
              </a:cxn>
              <a:cxn ang="0">
                <a:pos x="connsiteX13842" y="connsiteY13842"/>
              </a:cxn>
              <a:cxn ang="0">
                <a:pos x="connsiteX13843" y="connsiteY13843"/>
              </a:cxn>
              <a:cxn ang="0">
                <a:pos x="connsiteX13844" y="connsiteY13844"/>
              </a:cxn>
              <a:cxn ang="0">
                <a:pos x="connsiteX13845" y="connsiteY13845"/>
              </a:cxn>
              <a:cxn ang="0">
                <a:pos x="connsiteX13846" y="connsiteY13846"/>
              </a:cxn>
              <a:cxn ang="0">
                <a:pos x="connsiteX13847" y="connsiteY13847"/>
              </a:cxn>
              <a:cxn ang="0">
                <a:pos x="connsiteX13848" y="connsiteY13848"/>
              </a:cxn>
              <a:cxn ang="0">
                <a:pos x="connsiteX13849" y="connsiteY13849"/>
              </a:cxn>
              <a:cxn ang="0">
                <a:pos x="connsiteX13850" y="connsiteY13850"/>
              </a:cxn>
              <a:cxn ang="0">
                <a:pos x="connsiteX13851" y="connsiteY13851"/>
              </a:cxn>
              <a:cxn ang="0">
                <a:pos x="connsiteX13852" y="connsiteY13852"/>
              </a:cxn>
              <a:cxn ang="0">
                <a:pos x="connsiteX13853" y="connsiteY13853"/>
              </a:cxn>
              <a:cxn ang="0">
                <a:pos x="connsiteX13854" y="connsiteY13854"/>
              </a:cxn>
              <a:cxn ang="0">
                <a:pos x="connsiteX13855" y="connsiteY13855"/>
              </a:cxn>
              <a:cxn ang="0">
                <a:pos x="connsiteX13856" y="connsiteY13856"/>
              </a:cxn>
              <a:cxn ang="0">
                <a:pos x="connsiteX13857" y="connsiteY13857"/>
              </a:cxn>
              <a:cxn ang="0">
                <a:pos x="connsiteX13858" y="connsiteY13858"/>
              </a:cxn>
              <a:cxn ang="0">
                <a:pos x="connsiteX13859" y="connsiteY13859"/>
              </a:cxn>
              <a:cxn ang="0">
                <a:pos x="connsiteX13860" y="connsiteY13860"/>
              </a:cxn>
              <a:cxn ang="0">
                <a:pos x="connsiteX13861" y="connsiteY13861"/>
              </a:cxn>
              <a:cxn ang="0">
                <a:pos x="connsiteX13862" y="connsiteY13862"/>
              </a:cxn>
              <a:cxn ang="0">
                <a:pos x="connsiteX13863" y="connsiteY13863"/>
              </a:cxn>
              <a:cxn ang="0">
                <a:pos x="connsiteX13864" y="connsiteY13864"/>
              </a:cxn>
              <a:cxn ang="0">
                <a:pos x="connsiteX13865" y="connsiteY13865"/>
              </a:cxn>
              <a:cxn ang="0">
                <a:pos x="connsiteX13866" y="connsiteY13866"/>
              </a:cxn>
              <a:cxn ang="0">
                <a:pos x="connsiteX13867" y="connsiteY13867"/>
              </a:cxn>
              <a:cxn ang="0">
                <a:pos x="connsiteX13868" y="connsiteY13868"/>
              </a:cxn>
              <a:cxn ang="0">
                <a:pos x="connsiteX13869" y="connsiteY13869"/>
              </a:cxn>
              <a:cxn ang="0">
                <a:pos x="connsiteX13870" y="connsiteY13870"/>
              </a:cxn>
              <a:cxn ang="0">
                <a:pos x="connsiteX13871" y="connsiteY13871"/>
              </a:cxn>
              <a:cxn ang="0">
                <a:pos x="connsiteX13872" y="connsiteY13872"/>
              </a:cxn>
              <a:cxn ang="0">
                <a:pos x="connsiteX13873" y="connsiteY13873"/>
              </a:cxn>
              <a:cxn ang="0">
                <a:pos x="connsiteX13874" y="connsiteY13874"/>
              </a:cxn>
              <a:cxn ang="0">
                <a:pos x="connsiteX13875" y="connsiteY13875"/>
              </a:cxn>
              <a:cxn ang="0">
                <a:pos x="connsiteX13876" y="connsiteY13876"/>
              </a:cxn>
              <a:cxn ang="0">
                <a:pos x="connsiteX13877" y="connsiteY13877"/>
              </a:cxn>
              <a:cxn ang="0">
                <a:pos x="connsiteX13878" y="connsiteY13878"/>
              </a:cxn>
              <a:cxn ang="0">
                <a:pos x="connsiteX13879" y="connsiteY13879"/>
              </a:cxn>
              <a:cxn ang="0">
                <a:pos x="connsiteX13880" y="connsiteY13880"/>
              </a:cxn>
              <a:cxn ang="0">
                <a:pos x="connsiteX13881" y="connsiteY13881"/>
              </a:cxn>
              <a:cxn ang="0">
                <a:pos x="connsiteX13882" y="connsiteY13882"/>
              </a:cxn>
              <a:cxn ang="0">
                <a:pos x="connsiteX13883" y="connsiteY13883"/>
              </a:cxn>
              <a:cxn ang="0">
                <a:pos x="connsiteX13884" y="connsiteY13884"/>
              </a:cxn>
              <a:cxn ang="0">
                <a:pos x="connsiteX13885" y="connsiteY13885"/>
              </a:cxn>
              <a:cxn ang="0">
                <a:pos x="connsiteX13886" y="connsiteY13886"/>
              </a:cxn>
              <a:cxn ang="0">
                <a:pos x="connsiteX13887" y="connsiteY13887"/>
              </a:cxn>
              <a:cxn ang="0">
                <a:pos x="connsiteX13888" y="connsiteY13888"/>
              </a:cxn>
              <a:cxn ang="0">
                <a:pos x="connsiteX13889" y="connsiteY13889"/>
              </a:cxn>
              <a:cxn ang="0">
                <a:pos x="connsiteX13890" y="connsiteY13890"/>
              </a:cxn>
              <a:cxn ang="0">
                <a:pos x="connsiteX13891" y="connsiteY13891"/>
              </a:cxn>
              <a:cxn ang="0">
                <a:pos x="connsiteX13892" y="connsiteY13892"/>
              </a:cxn>
              <a:cxn ang="0">
                <a:pos x="connsiteX13893" y="connsiteY13893"/>
              </a:cxn>
              <a:cxn ang="0">
                <a:pos x="connsiteX13894" y="connsiteY13894"/>
              </a:cxn>
              <a:cxn ang="0">
                <a:pos x="connsiteX13895" y="connsiteY13895"/>
              </a:cxn>
              <a:cxn ang="0">
                <a:pos x="connsiteX13896" y="connsiteY13896"/>
              </a:cxn>
              <a:cxn ang="0">
                <a:pos x="connsiteX13897" y="connsiteY13897"/>
              </a:cxn>
              <a:cxn ang="0">
                <a:pos x="connsiteX13898" y="connsiteY13898"/>
              </a:cxn>
              <a:cxn ang="0">
                <a:pos x="connsiteX13899" y="connsiteY13899"/>
              </a:cxn>
              <a:cxn ang="0">
                <a:pos x="connsiteX13900" y="connsiteY13900"/>
              </a:cxn>
              <a:cxn ang="0">
                <a:pos x="connsiteX13901" y="connsiteY13901"/>
              </a:cxn>
              <a:cxn ang="0">
                <a:pos x="connsiteX13902" y="connsiteY13902"/>
              </a:cxn>
              <a:cxn ang="0">
                <a:pos x="connsiteX13903" y="connsiteY13903"/>
              </a:cxn>
              <a:cxn ang="0">
                <a:pos x="connsiteX13904" y="connsiteY13904"/>
              </a:cxn>
              <a:cxn ang="0">
                <a:pos x="connsiteX13905" y="connsiteY13905"/>
              </a:cxn>
              <a:cxn ang="0">
                <a:pos x="connsiteX13906" y="connsiteY13906"/>
              </a:cxn>
              <a:cxn ang="0">
                <a:pos x="connsiteX13907" y="connsiteY13907"/>
              </a:cxn>
              <a:cxn ang="0">
                <a:pos x="connsiteX13908" y="connsiteY13908"/>
              </a:cxn>
              <a:cxn ang="0">
                <a:pos x="connsiteX13909" y="connsiteY13909"/>
              </a:cxn>
              <a:cxn ang="0">
                <a:pos x="connsiteX13910" y="connsiteY13910"/>
              </a:cxn>
              <a:cxn ang="0">
                <a:pos x="connsiteX13911" y="connsiteY13911"/>
              </a:cxn>
              <a:cxn ang="0">
                <a:pos x="connsiteX13912" y="connsiteY13912"/>
              </a:cxn>
              <a:cxn ang="0">
                <a:pos x="connsiteX13913" y="connsiteY13913"/>
              </a:cxn>
              <a:cxn ang="0">
                <a:pos x="connsiteX13914" y="connsiteY13914"/>
              </a:cxn>
              <a:cxn ang="0">
                <a:pos x="connsiteX13915" y="connsiteY13915"/>
              </a:cxn>
              <a:cxn ang="0">
                <a:pos x="connsiteX13916" y="connsiteY13916"/>
              </a:cxn>
              <a:cxn ang="0">
                <a:pos x="connsiteX13917" y="connsiteY13917"/>
              </a:cxn>
              <a:cxn ang="0">
                <a:pos x="connsiteX13918" y="connsiteY13918"/>
              </a:cxn>
              <a:cxn ang="0">
                <a:pos x="connsiteX13919" y="connsiteY13919"/>
              </a:cxn>
              <a:cxn ang="0">
                <a:pos x="connsiteX13920" y="connsiteY13920"/>
              </a:cxn>
              <a:cxn ang="0">
                <a:pos x="connsiteX13921" y="connsiteY13921"/>
              </a:cxn>
              <a:cxn ang="0">
                <a:pos x="connsiteX13922" y="connsiteY13922"/>
              </a:cxn>
              <a:cxn ang="0">
                <a:pos x="connsiteX13923" y="connsiteY13923"/>
              </a:cxn>
              <a:cxn ang="0">
                <a:pos x="connsiteX13924" y="connsiteY13924"/>
              </a:cxn>
              <a:cxn ang="0">
                <a:pos x="connsiteX13925" y="connsiteY13925"/>
              </a:cxn>
              <a:cxn ang="0">
                <a:pos x="connsiteX13926" y="connsiteY13926"/>
              </a:cxn>
              <a:cxn ang="0">
                <a:pos x="connsiteX13927" y="connsiteY13927"/>
              </a:cxn>
              <a:cxn ang="0">
                <a:pos x="connsiteX13928" y="connsiteY13928"/>
              </a:cxn>
              <a:cxn ang="0">
                <a:pos x="connsiteX13929" y="connsiteY13929"/>
              </a:cxn>
              <a:cxn ang="0">
                <a:pos x="connsiteX13930" y="connsiteY13930"/>
              </a:cxn>
              <a:cxn ang="0">
                <a:pos x="connsiteX13931" y="connsiteY13931"/>
              </a:cxn>
              <a:cxn ang="0">
                <a:pos x="connsiteX13932" y="connsiteY13932"/>
              </a:cxn>
              <a:cxn ang="0">
                <a:pos x="connsiteX13933" y="connsiteY13933"/>
              </a:cxn>
              <a:cxn ang="0">
                <a:pos x="connsiteX13934" y="connsiteY13934"/>
              </a:cxn>
              <a:cxn ang="0">
                <a:pos x="connsiteX13935" y="connsiteY13935"/>
              </a:cxn>
              <a:cxn ang="0">
                <a:pos x="connsiteX13936" y="connsiteY13936"/>
              </a:cxn>
              <a:cxn ang="0">
                <a:pos x="connsiteX13937" y="connsiteY13937"/>
              </a:cxn>
              <a:cxn ang="0">
                <a:pos x="connsiteX13938" y="connsiteY13938"/>
              </a:cxn>
              <a:cxn ang="0">
                <a:pos x="connsiteX13939" y="connsiteY13939"/>
              </a:cxn>
              <a:cxn ang="0">
                <a:pos x="connsiteX13940" y="connsiteY13940"/>
              </a:cxn>
              <a:cxn ang="0">
                <a:pos x="connsiteX13941" y="connsiteY13941"/>
              </a:cxn>
              <a:cxn ang="0">
                <a:pos x="connsiteX13942" y="connsiteY13942"/>
              </a:cxn>
              <a:cxn ang="0">
                <a:pos x="connsiteX13943" y="connsiteY13943"/>
              </a:cxn>
              <a:cxn ang="0">
                <a:pos x="connsiteX13944" y="connsiteY13944"/>
              </a:cxn>
              <a:cxn ang="0">
                <a:pos x="connsiteX13945" y="connsiteY13945"/>
              </a:cxn>
              <a:cxn ang="0">
                <a:pos x="connsiteX13946" y="connsiteY13946"/>
              </a:cxn>
              <a:cxn ang="0">
                <a:pos x="connsiteX13947" y="connsiteY13947"/>
              </a:cxn>
              <a:cxn ang="0">
                <a:pos x="connsiteX13948" y="connsiteY13948"/>
              </a:cxn>
              <a:cxn ang="0">
                <a:pos x="connsiteX13949" y="connsiteY13949"/>
              </a:cxn>
              <a:cxn ang="0">
                <a:pos x="connsiteX13950" y="connsiteY13950"/>
              </a:cxn>
              <a:cxn ang="0">
                <a:pos x="connsiteX13951" y="connsiteY13951"/>
              </a:cxn>
              <a:cxn ang="0">
                <a:pos x="connsiteX13952" y="connsiteY13952"/>
              </a:cxn>
              <a:cxn ang="0">
                <a:pos x="connsiteX13953" y="connsiteY13953"/>
              </a:cxn>
              <a:cxn ang="0">
                <a:pos x="connsiteX13954" y="connsiteY13954"/>
              </a:cxn>
              <a:cxn ang="0">
                <a:pos x="connsiteX13955" y="connsiteY13955"/>
              </a:cxn>
              <a:cxn ang="0">
                <a:pos x="connsiteX13956" y="connsiteY13956"/>
              </a:cxn>
              <a:cxn ang="0">
                <a:pos x="connsiteX13957" y="connsiteY13957"/>
              </a:cxn>
              <a:cxn ang="0">
                <a:pos x="connsiteX13958" y="connsiteY13958"/>
              </a:cxn>
              <a:cxn ang="0">
                <a:pos x="connsiteX13959" y="connsiteY13959"/>
              </a:cxn>
              <a:cxn ang="0">
                <a:pos x="connsiteX13960" y="connsiteY13960"/>
              </a:cxn>
              <a:cxn ang="0">
                <a:pos x="connsiteX13961" y="connsiteY13961"/>
              </a:cxn>
              <a:cxn ang="0">
                <a:pos x="connsiteX13962" y="connsiteY13962"/>
              </a:cxn>
              <a:cxn ang="0">
                <a:pos x="connsiteX13963" y="connsiteY13963"/>
              </a:cxn>
              <a:cxn ang="0">
                <a:pos x="connsiteX13964" y="connsiteY13964"/>
              </a:cxn>
              <a:cxn ang="0">
                <a:pos x="connsiteX13965" y="connsiteY13965"/>
              </a:cxn>
              <a:cxn ang="0">
                <a:pos x="connsiteX13966" y="connsiteY13966"/>
              </a:cxn>
              <a:cxn ang="0">
                <a:pos x="connsiteX13967" y="connsiteY13967"/>
              </a:cxn>
              <a:cxn ang="0">
                <a:pos x="connsiteX13968" y="connsiteY13968"/>
              </a:cxn>
              <a:cxn ang="0">
                <a:pos x="connsiteX13969" y="connsiteY13969"/>
              </a:cxn>
              <a:cxn ang="0">
                <a:pos x="connsiteX13970" y="connsiteY13970"/>
              </a:cxn>
              <a:cxn ang="0">
                <a:pos x="connsiteX13971" y="connsiteY13971"/>
              </a:cxn>
              <a:cxn ang="0">
                <a:pos x="connsiteX13972" y="connsiteY13972"/>
              </a:cxn>
              <a:cxn ang="0">
                <a:pos x="connsiteX13973" y="connsiteY13973"/>
              </a:cxn>
              <a:cxn ang="0">
                <a:pos x="connsiteX13974" y="connsiteY13974"/>
              </a:cxn>
              <a:cxn ang="0">
                <a:pos x="connsiteX13975" y="connsiteY13975"/>
              </a:cxn>
              <a:cxn ang="0">
                <a:pos x="connsiteX13976" y="connsiteY13976"/>
              </a:cxn>
              <a:cxn ang="0">
                <a:pos x="connsiteX13977" y="connsiteY13977"/>
              </a:cxn>
              <a:cxn ang="0">
                <a:pos x="connsiteX13978" y="connsiteY13978"/>
              </a:cxn>
              <a:cxn ang="0">
                <a:pos x="connsiteX13979" y="connsiteY13979"/>
              </a:cxn>
              <a:cxn ang="0">
                <a:pos x="connsiteX13980" y="connsiteY13980"/>
              </a:cxn>
              <a:cxn ang="0">
                <a:pos x="connsiteX13981" y="connsiteY13981"/>
              </a:cxn>
              <a:cxn ang="0">
                <a:pos x="connsiteX13982" y="connsiteY13982"/>
              </a:cxn>
              <a:cxn ang="0">
                <a:pos x="connsiteX13983" y="connsiteY13983"/>
              </a:cxn>
              <a:cxn ang="0">
                <a:pos x="connsiteX13984" y="connsiteY13984"/>
              </a:cxn>
              <a:cxn ang="0">
                <a:pos x="connsiteX13985" y="connsiteY13985"/>
              </a:cxn>
              <a:cxn ang="0">
                <a:pos x="connsiteX13986" y="connsiteY13986"/>
              </a:cxn>
              <a:cxn ang="0">
                <a:pos x="connsiteX13987" y="connsiteY13987"/>
              </a:cxn>
              <a:cxn ang="0">
                <a:pos x="connsiteX13988" y="connsiteY13988"/>
              </a:cxn>
              <a:cxn ang="0">
                <a:pos x="connsiteX13989" y="connsiteY13989"/>
              </a:cxn>
              <a:cxn ang="0">
                <a:pos x="connsiteX13990" y="connsiteY13990"/>
              </a:cxn>
              <a:cxn ang="0">
                <a:pos x="connsiteX13991" y="connsiteY13991"/>
              </a:cxn>
              <a:cxn ang="0">
                <a:pos x="connsiteX13992" y="connsiteY13992"/>
              </a:cxn>
              <a:cxn ang="0">
                <a:pos x="connsiteX13993" y="connsiteY13993"/>
              </a:cxn>
              <a:cxn ang="0">
                <a:pos x="connsiteX13994" y="connsiteY13994"/>
              </a:cxn>
              <a:cxn ang="0">
                <a:pos x="connsiteX13995" y="connsiteY13995"/>
              </a:cxn>
              <a:cxn ang="0">
                <a:pos x="connsiteX13996" y="connsiteY13996"/>
              </a:cxn>
              <a:cxn ang="0">
                <a:pos x="connsiteX13997" y="connsiteY13997"/>
              </a:cxn>
              <a:cxn ang="0">
                <a:pos x="connsiteX13998" y="connsiteY13998"/>
              </a:cxn>
              <a:cxn ang="0">
                <a:pos x="connsiteX13999" y="connsiteY13999"/>
              </a:cxn>
              <a:cxn ang="0">
                <a:pos x="connsiteX14000" y="connsiteY14000"/>
              </a:cxn>
              <a:cxn ang="0">
                <a:pos x="connsiteX14001" y="connsiteY14001"/>
              </a:cxn>
              <a:cxn ang="0">
                <a:pos x="connsiteX14002" y="connsiteY14002"/>
              </a:cxn>
              <a:cxn ang="0">
                <a:pos x="connsiteX14003" y="connsiteY14003"/>
              </a:cxn>
              <a:cxn ang="0">
                <a:pos x="connsiteX14004" y="connsiteY14004"/>
              </a:cxn>
              <a:cxn ang="0">
                <a:pos x="connsiteX14005" y="connsiteY14005"/>
              </a:cxn>
              <a:cxn ang="0">
                <a:pos x="connsiteX14006" y="connsiteY14006"/>
              </a:cxn>
              <a:cxn ang="0">
                <a:pos x="connsiteX14007" y="connsiteY14007"/>
              </a:cxn>
              <a:cxn ang="0">
                <a:pos x="connsiteX14008" y="connsiteY14008"/>
              </a:cxn>
              <a:cxn ang="0">
                <a:pos x="connsiteX14009" y="connsiteY14009"/>
              </a:cxn>
              <a:cxn ang="0">
                <a:pos x="connsiteX14010" y="connsiteY14010"/>
              </a:cxn>
              <a:cxn ang="0">
                <a:pos x="connsiteX14011" y="connsiteY14011"/>
              </a:cxn>
              <a:cxn ang="0">
                <a:pos x="connsiteX14012" y="connsiteY14012"/>
              </a:cxn>
              <a:cxn ang="0">
                <a:pos x="connsiteX14013" y="connsiteY14013"/>
              </a:cxn>
              <a:cxn ang="0">
                <a:pos x="connsiteX14014" y="connsiteY14014"/>
              </a:cxn>
              <a:cxn ang="0">
                <a:pos x="connsiteX14015" y="connsiteY14015"/>
              </a:cxn>
              <a:cxn ang="0">
                <a:pos x="connsiteX14016" y="connsiteY14016"/>
              </a:cxn>
              <a:cxn ang="0">
                <a:pos x="connsiteX14017" y="connsiteY14017"/>
              </a:cxn>
              <a:cxn ang="0">
                <a:pos x="connsiteX14018" y="connsiteY14018"/>
              </a:cxn>
              <a:cxn ang="0">
                <a:pos x="connsiteX14019" y="connsiteY14019"/>
              </a:cxn>
              <a:cxn ang="0">
                <a:pos x="connsiteX14020" y="connsiteY14020"/>
              </a:cxn>
              <a:cxn ang="0">
                <a:pos x="connsiteX14021" y="connsiteY14021"/>
              </a:cxn>
              <a:cxn ang="0">
                <a:pos x="connsiteX14022" y="connsiteY14022"/>
              </a:cxn>
              <a:cxn ang="0">
                <a:pos x="connsiteX14023" y="connsiteY14023"/>
              </a:cxn>
              <a:cxn ang="0">
                <a:pos x="connsiteX14024" y="connsiteY14024"/>
              </a:cxn>
              <a:cxn ang="0">
                <a:pos x="connsiteX14025" y="connsiteY14025"/>
              </a:cxn>
              <a:cxn ang="0">
                <a:pos x="connsiteX14026" y="connsiteY14026"/>
              </a:cxn>
              <a:cxn ang="0">
                <a:pos x="connsiteX14027" y="connsiteY14027"/>
              </a:cxn>
              <a:cxn ang="0">
                <a:pos x="connsiteX14028" y="connsiteY14028"/>
              </a:cxn>
              <a:cxn ang="0">
                <a:pos x="connsiteX14029" y="connsiteY14029"/>
              </a:cxn>
              <a:cxn ang="0">
                <a:pos x="connsiteX14030" y="connsiteY14030"/>
              </a:cxn>
              <a:cxn ang="0">
                <a:pos x="connsiteX14031" y="connsiteY14031"/>
              </a:cxn>
              <a:cxn ang="0">
                <a:pos x="connsiteX14032" y="connsiteY14032"/>
              </a:cxn>
              <a:cxn ang="0">
                <a:pos x="connsiteX14033" y="connsiteY14033"/>
              </a:cxn>
              <a:cxn ang="0">
                <a:pos x="connsiteX14034" y="connsiteY14034"/>
              </a:cxn>
              <a:cxn ang="0">
                <a:pos x="connsiteX14035" y="connsiteY14035"/>
              </a:cxn>
              <a:cxn ang="0">
                <a:pos x="connsiteX14036" y="connsiteY14036"/>
              </a:cxn>
              <a:cxn ang="0">
                <a:pos x="connsiteX14037" y="connsiteY14037"/>
              </a:cxn>
              <a:cxn ang="0">
                <a:pos x="connsiteX14038" y="connsiteY14038"/>
              </a:cxn>
              <a:cxn ang="0">
                <a:pos x="connsiteX14039" y="connsiteY14039"/>
              </a:cxn>
              <a:cxn ang="0">
                <a:pos x="connsiteX14040" y="connsiteY14040"/>
              </a:cxn>
              <a:cxn ang="0">
                <a:pos x="connsiteX14041" y="connsiteY14041"/>
              </a:cxn>
              <a:cxn ang="0">
                <a:pos x="connsiteX14042" y="connsiteY14042"/>
              </a:cxn>
              <a:cxn ang="0">
                <a:pos x="connsiteX14043" y="connsiteY14043"/>
              </a:cxn>
              <a:cxn ang="0">
                <a:pos x="connsiteX14044" y="connsiteY14044"/>
              </a:cxn>
              <a:cxn ang="0">
                <a:pos x="connsiteX14045" y="connsiteY14045"/>
              </a:cxn>
              <a:cxn ang="0">
                <a:pos x="connsiteX14046" y="connsiteY14046"/>
              </a:cxn>
              <a:cxn ang="0">
                <a:pos x="connsiteX14047" y="connsiteY14047"/>
              </a:cxn>
              <a:cxn ang="0">
                <a:pos x="connsiteX14048" y="connsiteY14048"/>
              </a:cxn>
              <a:cxn ang="0">
                <a:pos x="connsiteX14049" y="connsiteY14049"/>
              </a:cxn>
              <a:cxn ang="0">
                <a:pos x="connsiteX14050" y="connsiteY14050"/>
              </a:cxn>
              <a:cxn ang="0">
                <a:pos x="connsiteX14051" y="connsiteY14051"/>
              </a:cxn>
              <a:cxn ang="0">
                <a:pos x="connsiteX14052" y="connsiteY14052"/>
              </a:cxn>
              <a:cxn ang="0">
                <a:pos x="connsiteX14053" y="connsiteY14053"/>
              </a:cxn>
              <a:cxn ang="0">
                <a:pos x="connsiteX14054" y="connsiteY14054"/>
              </a:cxn>
              <a:cxn ang="0">
                <a:pos x="connsiteX14055" y="connsiteY14055"/>
              </a:cxn>
              <a:cxn ang="0">
                <a:pos x="connsiteX14056" y="connsiteY14056"/>
              </a:cxn>
              <a:cxn ang="0">
                <a:pos x="connsiteX14057" y="connsiteY14057"/>
              </a:cxn>
              <a:cxn ang="0">
                <a:pos x="connsiteX14058" y="connsiteY14058"/>
              </a:cxn>
              <a:cxn ang="0">
                <a:pos x="connsiteX14059" y="connsiteY14059"/>
              </a:cxn>
              <a:cxn ang="0">
                <a:pos x="connsiteX14060" y="connsiteY14060"/>
              </a:cxn>
              <a:cxn ang="0">
                <a:pos x="connsiteX14061" y="connsiteY14061"/>
              </a:cxn>
              <a:cxn ang="0">
                <a:pos x="connsiteX14062" y="connsiteY14062"/>
              </a:cxn>
              <a:cxn ang="0">
                <a:pos x="connsiteX14063" y="connsiteY14063"/>
              </a:cxn>
              <a:cxn ang="0">
                <a:pos x="connsiteX14064" y="connsiteY14064"/>
              </a:cxn>
              <a:cxn ang="0">
                <a:pos x="connsiteX14065" y="connsiteY14065"/>
              </a:cxn>
              <a:cxn ang="0">
                <a:pos x="connsiteX14066" y="connsiteY14066"/>
              </a:cxn>
              <a:cxn ang="0">
                <a:pos x="connsiteX14067" y="connsiteY14067"/>
              </a:cxn>
              <a:cxn ang="0">
                <a:pos x="connsiteX14068" y="connsiteY14068"/>
              </a:cxn>
              <a:cxn ang="0">
                <a:pos x="connsiteX14069" y="connsiteY14069"/>
              </a:cxn>
              <a:cxn ang="0">
                <a:pos x="connsiteX14070" y="connsiteY14070"/>
              </a:cxn>
              <a:cxn ang="0">
                <a:pos x="connsiteX14071" y="connsiteY14071"/>
              </a:cxn>
              <a:cxn ang="0">
                <a:pos x="connsiteX14072" y="connsiteY14072"/>
              </a:cxn>
              <a:cxn ang="0">
                <a:pos x="connsiteX14073" y="connsiteY14073"/>
              </a:cxn>
              <a:cxn ang="0">
                <a:pos x="connsiteX14074" y="connsiteY14074"/>
              </a:cxn>
              <a:cxn ang="0">
                <a:pos x="connsiteX14075" y="connsiteY14075"/>
              </a:cxn>
              <a:cxn ang="0">
                <a:pos x="connsiteX14076" y="connsiteY14076"/>
              </a:cxn>
              <a:cxn ang="0">
                <a:pos x="connsiteX14077" y="connsiteY14077"/>
              </a:cxn>
              <a:cxn ang="0">
                <a:pos x="connsiteX14078" y="connsiteY14078"/>
              </a:cxn>
              <a:cxn ang="0">
                <a:pos x="connsiteX14079" y="connsiteY14079"/>
              </a:cxn>
              <a:cxn ang="0">
                <a:pos x="connsiteX14080" y="connsiteY14080"/>
              </a:cxn>
              <a:cxn ang="0">
                <a:pos x="connsiteX14081" y="connsiteY14081"/>
              </a:cxn>
              <a:cxn ang="0">
                <a:pos x="connsiteX14082" y="connsiteY14082"/>
              </a:cxn>
              <a:cxn ang="0">
                <a:pos x="connsiteX14083" y="connsiteY14083"/>
              </a:cxn>
              <a:cxn ang="0">
                <a:pos x="connsiteX14084" y="connsiteY14084"/>
              </a:cxn>
              <a:cxn ang="0">
                <a:pos x="connsiteX14085" y="connsiteY14085"/>
              </a:cxn>
              <a:cxn ang="0">
                <a:pos x="connsiteX14086" y="connsiteY14086"/>
              </a:cxn>
              <a:cxn ang="0">
                <a:pos x="connsiteX14087" y="connsiteY14087"/>
              </a:cxn>
              <a:cxn ang="0">
                <a:pos x="connsiteX14088" y="connsiteY14088"/>
              </a:cxn>
              <a:cxn ang="0">
                <a:pos x="connsiteX14089" y="connsiteY14089"/>
              </a:cxn>
              <a:cxn ang="0">
                <a:pos x="connsiteX14090" y="connsiteY14090"/>
              </a:cxn>
              <a:cxn ang="0">
                <a:pos x="connsiteX14091" y="connsiteY14091"/>
              </a:cxn>
              <a:cxn ang="0">
                <a:pos x="connsiteX14092" y="connsiteY14092"/>
              </a:cxn>
              <a:cxn ang="0">
                <a:pos x="connsiteX14093" y="connsiteY14093"/>
              </a:cxn>
              <a:cxn ang="0">
                <a:pos x="connsiteX14094" y="connsiteY14094"/>
              </a:cxn>
              <a:cxn ang="0">
                <a:pos x="connsiteX14095" y="connsiteY14095"/>
              </a:cxn>
              <a:cxn ang="0">
                <a:pos x="connsiteX14096" y="connsiteY14096"/>
              </a:cxn>
              <a:cxn ang="0">
                <a:pos x="connsiteX14097" y="connsiteY14097"/>
              </a:cxn>
              <a:cxn ang="0">
                <a:pos x="connsiteX14098" y="connsiteY14098"/>
              </a:cxn>
              <a:cxn ang="0">
                <a:pos x="connsiteX14099" y="connsiteY14099"/>
              </a:cxn>
              <a:cxn ang="0">
                <a:pos x="connsiteX14100" y="connsiteY14100"/>
              </a:cxn>
              <a:cxn ang="0">
                <a:pos x="connsiteX14101" y="connsiteY14101"/>
              </a:cxn>
              <a:cxn ang="0">
                <a:pos x="connsiteX14102" y="connsiteY14102"/>
              </a:cxn>
              <a:cxn ang="0">
                <a:pos x="connsiteX14103" y="connsiteY14103"/>
              </a:cxn>
              <a:cxn ang="0">
                <a:pos x="connsiteX14104" y="connsiteY14104"/>
              </a:cxn>
              <a:cxn ang="0">
                <a:pos x="connsiteX14105" y="connsiteY14105"/>
              </a:cxn>
              <a:cxn ang="0">
                <a:pos x="connsiteX14106" y="connsiteY14106"/>
              </a:cxn>
              <a:cxn ang="0">
                <a:pos x="connsiteX14107" y="connsiteY14107"/>
              </a:cxn>
              <a:cxn ang="0">
                <a:pos x="connsiteX14108" y="connsiteY14108"/>
              </a:cxn>
              <a:cxn ang="0">
                <a:pos x="connsiteX14109" y="connsiteY14109"/>
              </a:cxn>
              <a:cxn ang="0">
                <a:pos x="connsiteX14110" y="connsiteY14110"/>
              </a:cxn>
              <a:cxn ang="0">
                <a:pos x="connsiteX14111" y="connsiteY14111"/>
              </a:cxn>
              <a:cxn ang="0">
                <a:pos x="connsiteX14112" y="connsiteY14112"/>
              </a:cxn>
              <a:cxn ang="0">
                <a:pos x="connsiteX14113" y="connsiteY14113"/>
              </a:cxn>
              <a:cxn ang="0">
                <a:pos x="connsiteX14114" y="connsiteY14114"/>
              </a:cxn>
              <a:cxn ang="0">
                <a:pos x="connsiteX14115" y="connsiteY14115"/>
              </a:cxn>
              <a:cxn ang="0">
                <a:pos x="connsiteX14116" y="connsiteY14116"/>
              </a:cxn>
              <a:cxn ang="0">
                <a:pos x="connsiteX14117" y="connsiteY14117"/>
              </a:cxn>
              <a:cxn ang="0">
                <a:pos x="connsiteX14118" y="connsiteY14118"/>
              </a:cxn>
              <a:cxn ang="0">
                <a:pos x="connsiteX14119" y="connsiteY14119"/>
              </a:cxn>
              <a:cxn ang="0">
                <a:pos x="connsiteX14120" y="connsiteY14120"/>
              </a:cxn>
              <a:cxn ang="0">
                <a:pos x="connsiteX14121" y="connsiteY14121"/>
              </a:cxn>
              <a:cxn ang="0">
                <a:pos x="connsiteX14122" y="connsiteY14122"/>
              </a:cxn>
              <a:cxn ang="0">
                <a:pos x="connsiteX14123" y="connsiteY14123"/>
              </a:cxn>
              <a:cxn ang="0">
                <a:pos x="connsiteX14124" y="connsiteY14124"/>
              </a:cxn>
              <a:cxn ang="0">
                <a:pos x="connsiteX14125" y="connsiteY14125"/>
              </a:cxn>
              <a:cxn ang="0">
                <a:pos x="connsiteX14126" y="connsiteY14126"/>
              </a:cxn>
              <a:cxn ang="0">
                <a:pos x="connsiteX14127" y="connsiteY14127"/>
              </a:cxn>
              <a:cxn ang="0">
                <a:pos x="connsiteX14128" y="connsiteY14128"/>
              </a:cxn>
              <a:cxn ang="0">
                <a:pos x="connsiteX14129" y="connsiteY14129"/>
              </a:cxn>
              <a:cxn ang="0">
                <a:pos x="connsiteX14130" y="connsiteY14130"/>
              </a:cxn>
              <a:cxn ang="0">
                <a:pos x="connsiteX14131" y="connsiteY14131"/>
              </a:cxn>
              <a:cxn ang="0">
                <a:pos x="connsiteX14132" y="connsiteY14132"/>
              </a:cxn>
              <a:cxn ang="0">
                <a:pos x="connsiteX14133" y="connsiteY14133"/>
              </a:cxn>
              <a:cxn ang="0">
                <a:pos x="connsiteX14134" y="connsiteY14134"/>
              </a:cxn>
              <a:cxn ang="0">
                <a:pos x="connsiteX14135" y="connsiteY14135"/>
              </a:cxn>
              <a:cxn ang="0">
                <a:pos x="connsiteX14136" y="connsiteY14136"/>
              </a:cxn>
              <a:cxn ang="0">
                <a:pos x="connsiteX14137" y="connsiteY14137"/>
              </a:cxn>
              <a:cxn ang="0">
                <a:pos x="connsiteX14138" y="connsiteY14138"/>
              </a:cxn>
              <a:cxn ang="0">
                <a:pos x="connsiteX14139" y="connsiteY14139"/>
              </a:cxn>
              <a:cxn ang="0">
                <a:pos x="connsiteX14140" y="connsiteY14140"/>
              </a:cxn>
              <a:cxn ang="0">
                <a:pos x="connsiteX14141" y="connsiteY14141"/>
              </a:cxn>
              <a:cxn ang="0">
                <a:pos x="connsiteX14142" y="connsiteY14142"/>
              </a:cxn>
              <a:cxn ang="0">
                <a:pos x="connsiteX14143" y="connsiteY14143"/>
              </a:cxn>
              <a:cxn ang="0">
                <a:pos x="connsiteX14144" y="connsiteY14144"/>
              </a:cxn>
              <a:cxn ang="0">
                <a:pos x="connsiteX14145" y="connsiteY14145"/>
              </a:cxn>
              <a:cxn ang="0">
                <a:pos x="connsiteX14146" y="connsiteY14146"/>
              </a:cxn>
              <a:cxn ang="0">
                <a:pos x="connsiteX14147" y="connsiteY14147"/>
              </a:cxn>
              <a:cxn ang="0">
                <a:pos x="connsiteX14148" y="connsiteY14148"/>
              </a:cxn>
              <a:cxn ang="0">
                <a:pos x="connsiteX14149" y="connsiteY14149"/>
              </a:cxn>
              <a:cxn ang="0">
                <a:pos x="connsiteX14150" y="connsiteY14150"/>
              </a:cxn>
              <a:cxn ang="0">
                <a:pos x="connsiteX14151" y="connsiteY14151"/>
              </a:cxn>
              <a:cxn ang="0">
                <a:pos x="connsiteX14152" y="connsiteY14152"/>
              </a:cxn>
              <a:cxn ang="0">
                <a:pos x="connsiteX14153" y="connsiteY14153"/>
              </a:cxn>
              <a:cxn ang="0">
                <a:pos x="connsiteX14154" y="connsiteY14154"/>
              </a:cxn>
              <a:cxn ang="0">
                <a:pos x="connsiteX14155" y="connsiteY14155"/>
              </a:cxn>
              <a:cxn ang="0">
                <a:pos x="connsiteX14156" y="connsiteY14156"/>
              </a:cxn>
              <a:cxn ang="0">
                <a:pos x="connsiteX14157" y="connsiteY14157"/>
              </a:cxn>
              <a:cxn ang="0">
                <a:pos x="connsiteX14158" y="connsiteY14158"/>
              </a:cxn>
              <a:cxn ang="0">
                <a:pos x="connsiteX14159" y="connsiteY14159"/>
              </a:cxn>
              <a:cxn ang="0">
                <a:pos x="connsiteX14160" y="connsiteY14160"/>
              </a:cxn>
              <a:cxn ang="0">
                <a:pos x="connsiteX14161" y="connsiteY14161"/>
              </a:cxn>
              <a:cxn ang="0">
                <a:pos x="connsiteX14162" y="connsiteY14162"/>
              </a:cxn>
              <a:cxn ang="0">
                <a:pos x="connsiteX14163" y="connsiteY14163"/>
              </a:cxn>
              <a:cxn ang="0">
                <a:pos x="connsiteX14164" y="connsiteY14164"/>
              </a:cxn>
              <a:cxn ang="0">
                <a:pos x="connsiteX14165" y="connsiteY14165"/>
              </a:cxn>
              <a:cxn ang="0">
                <a:pos x="connsiteX14166" y="connsiteY14166"/>
              </a:cxn>
              <a:cxn ang="0">
                <a:pos x="connsiteX14167" y="connsiteY14167"/>
              </a:cxn>
              <a:cxn ang="0">
                <a:pos x="connsiteX14168" y="connsiteY14168"/>
              </a:cxn>
              <a:cxn ang="0">
                <a:pos x="connsiteX14169" y="connsiteY14169"/>
              </a:cxn>
              <a:cxn ang="0">
                <a:pos x="connsiteX14170" y="connsiteY14170"/>
              </a:cxn>
              <a:cxn ang="0">
                <a:pos x="connsiteX14171" y="connsiteY14171"/>
              </a:cxn>
              <a:cxn ang="0">
                <a:pos x="connsiteX14172" y="connsiteY14172"/>
              </a:cxn>
              <a:cxn ang="0">
                <a:pos x="connsiteX14173" y="connsiteY14173"/>
              </a:cxn>
              <a:cxn ang="0">
                <a:pos x="connsiteX14174" y="connsiteY14174"/>
              </a:cxn>
              <a:cxn ang="0">
                <a:pos x="connsiteX14175" y="connsiteY14175"/>
              </a:cxn>
              <a:cxn ang="0">
                <a:pos x="connsiteX14176" y="connsiteY14176"/>
              </a:cxn>
              <a:cxn ang="0">
                <a:pos x="connsiteX14177" y="connsiteY14177"/>
              </a:cxn>
              <a:cxn ang="0">
                <a:pos x="connsiteX14178" y="connsiteY14178"/>
              </a:cxn>
              <a:cxn ang="0">
                <a:pos x="connsiteX14179" y="connsiteY14179"/>
              </a:cxn>
              <a:cxn ang="0">
                <a:pos x="connsiteX14180" y="connsiteY14180"/>
              </a:cxn>
              <a:cxn ang="0">
                <a:pos x="connsiteX14181" y="connsiteY14181"/>
              </a:cxn>
              <a:cxn ang="0">
                <a:pos x="connsiteX14182" y="connsiteY14182"/>
              </a:cxn>
              <a:cxn ang="0">
                <a:pos x="connsiteX14183" y="connsiteY14183"/>
              </a:cxn>
              <a:cxn ang="0">
                <a:pos x="connsiteX14184" y="connsiteY14184"/>
              </a:cxn>
              <a:cxn ang="0">
                <a:pos x="connsiteX14185" y="connsiteY14185"/>
              </a:cxn>
              <a:cxn ang="0">
                <a:pos x="connsiteX14186" y="connsiteY14186"/>
              </a:cxn>
              <a:cxn ang="0">
                <a:pos x="connsiteX14187" y="connsiteY14187"/>
              </a:cxn>
              <a:cxn ang="0">
                <a:pos x="connsiteX14188" y="connsiteY14188"/>
              </a:cxn>
              <a:cxn ang="0">
                <a:pos x="connsiteX14189" y="connsiteY14189"/>
              </a:cxn>
              <a:cxn ang="0">
                <a:pos x="connsiteX14190" y="connsiteY14190"/>
              </a:cxn>
              <a:cxn ang="0">
                <a:pos x="connsiteX14191" y="connsiteY14191"/>
              </a:cxn>
              <a:cxn ang="0">
                <a:pos x="connsiteX14192" y="connsiteY14192"/>
              </a:cxn>
              <a:cxn ang="0">
                <a:pos x="connsiteX14193" y="connsiteY14193"/>
              </a:cxn>
              <a:cxn ang="0">
                <a:pos x="connsiteX14194" y="connsiteY14194"/>
              </a:cxn>
              <a:cxn ang="0">
                <a:pos x="connsiteX14195" y="connsiteY14195"/>
              </a:cxn>
              <a:cxn ang="0">
                <a:pos x="connsiteX14196" y="connsiteY14196"/>
              </a:cxn>
              <a:cxn ang="0">
                <a:pos x="connsiteX14197" y="connsiteY14197"/>
              </a:cxn>
              <a:cxn ang="0">
                <a:pos x="connsiteX14198" y="connsiteY14198"/>
              </a:cxn>
              <a:cxn ang="0">
                <a:pos x="connsiteX14199" y="connsiteY14199"/>
              </a:cxn>
              <a:cxn ang="0">
                <a:pos x="connsiteX14200" y="connsiteY14200"/>
              </a:cxn>
              <a:cxn ang="0">
                <a:pos x="connsiteX14201" y="connsiteY14201"/>
              </a:cxn>
              <a:cxn ang="0">
                <a:pos x="connsiteX14202" y="connsiteY14202"/>
              </a:cxn>
              <a:cxn ang="0">
                <a:pos x="connsiteX14203" y="connsiteY14203"/>
              </a:cxn>
              <a:cxn ang="0">
                <a:pos x="connsiteX14204" y="connsiteY14204"/>
              </a:cxn>
              <a:cxn ang="0">
                <a:pos x="connsiteX14205" y="connsiteY14205"/>
              </a:cxn>
              <a:cxn ang="0">
                <a:pos x="connsiteX14206" y="connsiteY14206"/>
              </a:cxn>
              <a:cxn ang="0">
                <a:pos x="connsiteX14207" y="connsiteY14207"/>
              </a:cxn>
              <a:cxn ang="0">
                <a:pos x="connsiteX14208" y="connsiteY14208"/>
              </a:cxn>
              <a:cxn ang="0">
                <a:pos x="connsiteX14209" y="connsiteY14209"/>
              </a:cxn>
              <a:cxn ang="0">
                <a:pos x="connsiteX14210" y="connsiteY14210"/>
              </a:cxn>
              <a:cxn ang="0">
                <a:pos x="connsiteX14211" y="connsiteY14211"/>
              </a:cxn>
              <a:cxn ang="0">
                <a:pos x="connsiteX14212" y="connsiteY14212"/>
              </a:cxn>
              <a:cxn ang="0">
                <a:pos x="connsiteX14213" y="connsiteY14213"/>
              </a:cxn>
              <a:cxn ang="0">
                <a:pos x="connsiteX14214" y="connsiteY14214"/>
              </a:cxn>
              <a:cxn ang="0">
                <a:pos x="connsiteX14215" y="connsiteY14215"/>
              </a:cxn>
              <a:cxn ang="0">
                <a:pos x="connsiteX14216" y="connsiteY14216"/>
              </a:cxn>
              <a:cxn ang="0">
                <a:pos x="connsiteX14217" y="connsiteY14217"/>
              </a:cxn>
              <a:cxn ang="0">
                <a:pos x="connsiteX14218" y="connsiteY14218"/>
              </a:cxn>
              <a:cxn ang="0">
                <a:pos x="connsiteX14219" y="connsiteY14219"/>
              </a:cxn>
              <a:cxn ang="0">
                <a:pos x="connsiteX14220" y="connsiteY14220"/>
              </a:cxn>
              <a:cxn ang="0">
                <a:pos x="connsiteX14221" y="connsiteY14221"/>
              </a:cxn>
              <a:cxn ang="0">
                <a:pos x="connsiteX14222" y="connsiteY14222"/>
              </a:cxn>
              <a:cxn ang="0">
                <a:pos x="connsiteX14223" y="connsiteY14223"/>
              </a:cxn>
              <a:cxn ang="0">
                <a:pos x="connsiteX14224" y="connsiteY14224"/>
              </a:cxn>
              <a:cxn ang="0">
                <a:pos x="connsiteX14225" y="connsiteY14225"/>
              </a:cxn>
              <a:cxn ang="0">
                <a:pos x="connsiteX14226" y="connsiteY14226"/>
              </a:cxn>
              <a:cxn ang="0">
                <a:pos x="connsiteX14227" y="connsiteY14227"/>
              </a:cxn>
              <a:cxn ang="0">
                <a:pos x="connsiteX14228" y="connsiteY14228"/>
              </a:cxn>
              <a:cxn ang="0">
                <a:pos x="connsiteX14229" y="connsiteY14229"/>
              </a:cxn>
              <a:cxn ang="0">
                <a:pos x="connsiteX14230" y="connsiteY14230"/>
              </a:cxn>
              <a:cxn ang="0">
                <a:pos x="connsiteX14231" y="connsiteY14231"/>
              </a:cxn>
              <a:cxn ang="0">
                <a:pos x="connsiteX14232" y="connsiteY14232"/>
              </a:cxn>
              <a:cxn ang="0">
                <a:pos x="connsiteX14233" y="connsiteY14233"/>
              </a:cxn>
              <a:cxn ang="0">
                <a:pos x="connsiteX14234" y="connsiteY14234"/>
              </a:cxn>
              <a:cxn ang="0">
                <a:pos x="connsiteX14235" y="connsiteY14235"/>
              </a:cxn>
              <a:cxn ang="0">
                <a:pos x="connsiteX14236" y="connsiteY14236"/>
              </a:cxn>
              <a:cxn ang="0">
                <a:pos x="connsiteX14237" y="connsiteY14237"/>
              </a:cxn>
              <a:cxn ang="0">
                <a:pos x="connsiteX14238" y="connsiteY14238"/>
              </a:cxn>
              <a:cxn ang="0">
                <a:pos x="connsiteX14239" y="connsiteY14239"/>
              </a:cxn>
              <a:cxn ang="0">
                <a:pos x="connsiteX14240" y="connsiteY14240"/>
              </a:cxn>
              <a:cxn ang="0">
                <a:pos x="connsiteX14241" y="connsiteY14241"/>
              </a:cxn>
              <a:cxn ang="0">
                <a:pos x="connsiteX14242" y="connsiteY14242"/>
              </a:cxn>
              <a:cxn ang="0">
                <a:pos x="connsiteX14243" y="connsiteY14243"/>
              </a:cxn>
              <a:cxn ang="0">
                <a:pos x="connsiteX14244" y="connsiteY14244"/>
              </a:cxn>
              <a:cxn ang="0">
                <a:pos x="connsiteX14245" y="connsiteY14245"/>
              </a:cxn>
              <a:cxn ang="0">
                <a:pos x="connsiteX14246" y="connsiteY14246"/>
              </a:cxn>
              <a:cxn ang="0">
                <a:pos x="connsiteX14247" y="connsiteY14247"/>
              </a:cxn>
              <a:cxn ang="0">
                <a:pos x="connsiteX14248" y="connsiteY14248"/>
              </a:cxn>
              <a:cxn ang="0">
                <a:pos x="connsiteX14249" y="connsiteY14249"/>
              </a:cxn>
              <a:cxn ang="0">
                <a:pos x="connsiteX14250" y="connsiteY14250"/>
              </a:cxn>
              <a:cxn ang="0">
                <a:pos x="connsiteX14251" y="connsiteY14251"/>
              </a:cxn>
              <a:cxn ang="0">
                <a:pos x="connsiteX14252" y="connsiteY14252"/>
              </a:cxn>
              <a:cxn ang="0">
                <a:pos x="connsiteX14253" y="connsiteY14253"/>
              </a:cxn>
              <a:cxn ang="0">
                <a:pos x="connsiteX14254" y="connsiteY14254"/>
              </a:cxn>
              <a:cxn ang="0">
                <a:pos x="connsiteX14255" y="connsiteY14255"/>
              </a:cxn>
              <a:cxn ang="0">
                <a:pos x="connsiteX14256" y="connsiteY14256"/>
              </a:cxn>
              <a:cxn ang="0">
                <a:pos x="connsiteX14257" y="connsiteY14257"/>
              </a:cxn>
              <a:cxn ang="0">
                <a:pos x="connsiteX14258" y="connsiteY14258"/>
              </a:cxn>
              <a:cxn ang="0">
                <a:pos x="connsiteX14259" y="connsiteY14259"/>
              </a:cxn>
              <a:cxn ang="0">
                <a:pos x="connsiteX14260" y="connsiteY14260"/>
              </a:cxn>
              <a:cxn ang="0">
                <a:pos x="connsiteX14261" y="connsiteY14261"/>
              </a:cxn>
              <a:cxn ang="0">
                <a:pos x="connsiteX14262" y="connsiteY14262"/>
              </a:cxn>
              <a:cxn ang="0">
                <a:pos x="connsiteX14263" y="connsiteY14263"/>
              </a:cxn>
              <a:cxn ang="0">
                <a:pos x="connsiteX14264" y="connsiteY14264"/>
              </a:cxn>
              <a:cxn ang="0">
                <a:pos x="connsiteX14265" y="connsiteY14265"/>
              </a:cxn>
              <a:cxn ang="0">
                <a:pos x="connsiteX14266" y="connsiteY14266"/>
              </a:cxn>
              <a:cxn ang="0">
                <a:pos x="connsiteX14267" y="connsiteY14267"/>
              </a:cxn>
              <a:cxn ang="0">
                <a:pos x="connsiteX14268" y="connsiteY14268"/>
              </a:cxn>
              <a:cxn ang="0">
                <a:pos x="connsiteX14269" y="connsiteY14269"/>
              </a:cxn>
              <a:cxn ang="0">
                <a:pos x="connsiteX14270" y="connsiteY14270"/>
              </a:cxn>
              <a:cxn ang="0">
                <a:pos x="connsiteX14271" y="connsiteY14271"/>
              </a:cxn>
              <a:cxn ang="0">
                <a:pos x="connsiteX14272" y="connsiteY14272"/>
              </a:cxn>
              <a:cxn ang="0">
                <a:pos x="connsiteX14273" y="connsiteY14273"/>
              </a:cxn>
              <a:cxn ang="0">
                <a:pos x="connsiteX14274" y="connsiteY14274"/>
              </a:cxn>
              <a:cxn ang="0">
                <a:pos x="connsiteX14275" y="connsiteY14275"/>
              </a:cxn>
              <a:cxn ang="0">
                <a:pos x="connsiteX14276" y="connsiteY14276"/>
              </a:cxn>
              <a:cxn ang="0">
                <a:pos x="connsiteX14277" y="connsiteY14277"/>
              </a:cxn>
              <a:cxn ang="0">
                <a:pos x="connsiteX14278" y="connsiteY14278"/>
              </a:cxn>
              <a:cxn ang="0">
                <a:pos x="connsiteX14279" y="connsiteY14279"/>
              </a:cxn>
              <a:cxn ang="0">
                <a:pos x="connsiteX14280" y="connsiteY14280"/>
              </a:cxn>
              <a:cxn ang="0">
                <a:pos x="connsiteX14281" y="connsiteY14281"/>
              </a:cxn>
              <a:cxn ang="0">
                <a:pos x="connsiteX14282" y="connsiteY14282"/>
              </a:cxn>
              <a:cxn ang="0">
                <a:pos x="connsiteX14283" y="connsiteY14283"/>
              </a:cxn>
              <a:cxn ang="0">
                <a:pos x="connsiteX14284" y="connsiteY14284"/>
              </a:cxn>
              <a:cxn ang="0">
                <a:pos x="connsiteX14285" y="connsiteY14285"/>
              </a:cxn>
              <a:cxn ang="0">
                <a:pos x="connsiteX14286" y="connsiteY14286"/>
              </a:cxn>
              <a:cxn ang="0">
                <a:pos x="connsiteX14287" y="connsiteY14287"/>
              </a:cxn>
              <a:cxn ang="0">
                <a:pos x="connsiteX14288" y="connsiteY14288"/>
              </a:cxn>
              <a:cxn ang="0">
                <a:pos x="connsiteX14289" y="connsiteY14289"/>
              </a:cxn>
              <a:cxn ang="0">
                <a:pos x="connsiteX14290" y="connsiteY14290"/>
              </a:cxn>
              <a:cxn ang="0">
                <a:pos x="connsiteX14291" y="connsiteY14291"/>
              </a:cxn>
              <a:cxn ang="0">
                <a:pos x="connsiteX14292" y="connsiteY14292"/>
              </a:cxn>
              <a:cxn ang="0">
                <a:pos x="connsiteX14293" y="connsiteY14293"/>
              </a:cxn>
              <a:cxn ang="0">
                <a:pos x="connsiteX14294" y="connsiteY14294"/>
              </a:cxn>
              <a:cxn ang="0">
                <a:pos x="connsiteX14295" y="connsiteY14295"/>
              </a:cxn>
              <a:cxn ang="0">
                <a:pos x="connsiteX14296" y="connsiteY14296"/>
              </a:cxn>
              <a:cxn ang="0">
                <a:pos x="connsiteX14297" y="connsiteY14297"/>
              </a:cxn>
              <a:cxn ang="0">
                <a:pos x="connsiteX14298" y="connsiteY14298"/>
              </a:cxn>
              <a:cxn ang="0">
                <a:pos x="connsiteX14299" y="connsiteY14299"/>
              </a:cxn>
              <a:cxn ang="0">
                <a:pos x="connsiteX14300" y="connsiteY14300"/>
              </a:cxn>
              <a:cxn ang="0">
                <a:pos x="connsiteX14301" y="connsiteY14301"/>
              </a:cxn>
              <a:cxn ang="0">
                <a:pos x="connsiteX14302" y="connsiteY14302"/>
              </a:cxn>
              <a:cxn ang="0">
                <a:pos x="connsiteX14303" y="connsiteY14303"/>
              </a:cxn>
              <a:cxn ang="0">
                <a:pos x="connsiteX14304" y="connsiteY14304"/>
              </a:cxn>
              <a:cxn ang="0">
                <a:pos x="connsiteX14305" y="connsiteY14305"/>
              </a:cxn>
              <a:cxn ang="0">
                <a:pos x="connsiteX14306" y="connsiteY14306"/>
              </a:cxn>
              <a:cxn ang="0">
                <a:pos x="connsiteX14307" y="connsiteY14307"/>
              </a:cxn>
              <a:cxn ang="0">
                <a:pos x="connsiteX14308" y="connsiteY14308"/>
              </a:cxn>
              <a:cxn ang="0">
                <a:pos x="connsiteX14309" y="connsiteY14309"/>
              </a:cxn>
              <a:cxn ang="0">
                <a:pos x="connsiteX14310" y="connsiteY14310"/>
              </a:cxn>
              <a:cxn ang="0">
                <a:pos x="connsiteX14311" y="connsiteY14311"/>
              </a:cxn>
              <a:cxn ang="0">
                <a:pos x="connsiteX14312" y="connsiteY14312"/>
              </a:cxn>
              <a:cxn ang="0">
                <a:pos x="connsiteX14313" y="connsiteY14313"/>
              </a:cxn>
              <a:cxn ang="0">
                <a:pos x="connsiteX14314" y="connsiteY14314"/>
              </a:cxn>
              <a:cxn ang="0">
                <a:pos x="connsiteX14315" y="connsiteY14315"/>
              </a:cxn>
              <a:cxn ang="0">
                <a:pos x="connsiteX14316" y="connsiteY14316"/>
              </a:cxn>
              <a:cxn ang="0">
                <a:pos x="connsiteX14317" y="connsiteY14317"/>
              </a:cxn>
              <a:cxn ang="0">
                <a:pos x="connsiteX14318" y="connsiteY14318"/>
              </a:cxn>
              <a:cxn ang="0">
                <a:pos x="connsiteX14319" y="connsiteY14319"/>
              </a:cxn>
              <a:cxn ang="0">
                <a:pos x="connsiteX14320" y="connsiteY14320"/>
              </a:cxn>
              <a:cxn ang="0">
                <a:pos x="connsiteX14321" y="connsiteY14321"/>
              </a:cxn>
              <a:cxn ang="0">
                <a:pos x="connsiteX14322" y="connsiteY14322"/>
              </a:cxn>
              <a:cxn ang="0">
                <a:pos x="connsiteX14323" y="connsiteY14323"/>
              </a:cxn>
              <a:cxn ang="0">
                <a:pos x="connsiteX14324" y="connsiteY14324"/>
              </a:cxn>
              <a:cxn ang="0">
                <a:pos x="connsiteX14325" y="connsiteY14325"/>
              </a:cxn>
              <a:cxn ang="0">
                <a:pos x="connsiteX14326" y="connsiteY14326"/>
              </a:cxn>
              <a:cxn ang="0">
                <a:pos x="connsiteX14327" y="connsiteY14327"/>
              </a:cxn>
              <a:cxn ang="0">
                <a:pos x="connsiteX14328" y="connsiteY14328"/>
              </a:cxn>
              <a:cxn ang="0">
                <a:pos x="connsiteX14329" y="connsiteY14329"/>
              </a:cxn>
              <a:cxn ang="0">
                <a:pos x="connsiteX14330" y="connsiteY14330"/>
              </a:cxn>
              <a:cxn ang="0">
                <a:pos x="connsiteX14331" y="connsiteY14331"/>
              </a:cxn>
              <a:cxn ang="0">
                <a:pos x="connsiteX14332" y="connsiteY14332"/>
              </a:cxn>
              <a:cxn ang="0">
                <a:pos x="connsiteX14333" y="connsiteY14333"/>
              </a:cxn>
              <a:cxn ang="0">
                <a:pos x="connsiteX14334" y="connsiteY14334"/>
              </a:cxn>
              <a:cxn ang="0">
                <a:pos x="connsiteX14335" y="connsiteY14335"/>
              </a:cxn>
              <a:cxn ang="0">
                <a:pos x="connsiteX14336" y="connsiteY14336"/>
              </a:cxn>
              <a:cxn ang="0">
                <a:pos x="connsiteX14337" y="connsiteY14337"/>
              </a:cxn>
              <a:cxn ang="0">
                <a:pos x="connsiteX14338" y="connsiteY14338"/>
              </a:cxn>
              <a:cxn ang="0">
                <a:pos x="connsiteX14339" y="connsiteY14339"/>
              </a:cxn>
              <a:cxn ang="0">
                <a:pos x="connsiteX14340" y="connsiteY14340"/>
              </a:cxn>
              <a:cxn ang="0">
                <a:pos x="connsiteX14341" y="connsiteY14341"/>
              </a:cxn>
              <a:cxn ang="0">
                <a:pos x="connsiteX14342" y="connsiteY14342"/>
              </a:cxn>
              <a:cxn ang="0">
                <a:pos x="connsiteX14343" y="connsiteY14343"/>
              </a:cxn>
              <a:cxn ang="0">
                <a:pos x="connsiteX14344" y="connsiteY14344"/>
              </a:cxn>
              <a:cxn ang="0">
                <a:pos x="connsiteX14345" y="connsiteY14345"/>
              </a:cxn>
              <a:cxn ang="0">
                <a:pos x="connsiteX14346" y="connsiteY14346"/>
              </a:cxn>
              <a:cxn ang="0">
                <a:pos x="connsiteX14347" y="connsiteY14347"/>
              </a:cxn>
              <a:cxn ang="0">
                <a:pos x="connsiteX14348" y="connsiteY14348"/>
              </a:cxn>
              <a:cxn ang="0">
                <a:pos x="connsiteX14349" y="connsiteY14349"/>
              </a:cxn>
              <a:cxn ang="0">
                <a:pos x="connsiteX14350" y="connsiteY14350"/>
              </a:cxn>
              <a:cxn ang="0">
                <a:pos x="connsiteX14351" y="connsiteY14351"/>
              </a:cxn>
              <a:cxn ang="0">
                <a:pos x="connsiteX14352" y="connsiteY14352"/>
              </a:cxn>
              <a:cxn ang="0">
                <a:pos x="connsiteX14353" y="connsiteY14353"/>
              </a:cxn>
              <a:cxn ang="0">
                <a:pos x="connsiteX14354" y="connsiteY14354"/>
              </a:cxn>
              <a:cxn ang="0">
                <a:pos x="connsiteX14355" y="connsiteY14355"/>
              </a:cxn>
              <a:cxn ang="0">
                <a:pos x="connsiteX14356" y="connsiteY14356"/>
              </a:cxn>
              <a:cxn ang="0">
                <a:pos x="connsiteX14357" y="connsiteY14357"/>
              </a:cxn>
              <a:cxn ang="0">
                <a:pos x="connsiteX14358" y="connsiteY14358"/>
              </a:cxn>
              <a:cxn ang="0">
                <a:pos x="connsiteX14359" y="connsiteY14359"/>
              </a:cxn>
              <a:cxn ang="0">
                <a:pos x="connsiteX14360" y="connsiteY14360"/>
              </a:cxn>
              <a:cxn ang="0">
                <a:pos x="connsiteX14361" y="connsiteY14361"/>
              </a:cxn>
              <a:cxn ang="0">
                <a:pos x="connsiteX14362" y="connsiteY14362"/>
              </a:cxn>
              <a:cxn ang="0">
                <a:pos x="connsiteX14363" y="connsiteY14363"/>
              </a:cxn>
              <a:cxn ang="0">
                <a:pos x="connsiteX14364" y="connsiteY14364"/>
              </a:cxn>
              <a:cxn ang="0">
                <a:pos x="connsiteX14365" y="connsiteY14365"/>
              </a:cxn>
              <a:cxn ang="0">
                <a:pos x="connsiteX14366" y="connsiteY14366"/>
              </a:cxn>
              <a:cxn ang="0">
                <a:pos x="connsiteX14367" y="connsiteY14367"/>
              </a:cxn>
              <a:cxn ang="0">
                <a:pos x="connsiteX14368" y="connsiteY14368"/>
              </a:cxn>
              <a:cxn ang="0">
                <a:pos x="connsiteX14369" y="connsiteY14369"/>
              </a:cxn>
              <a:cxn ang="0">
                <a:pos x="connsiteX14370" y="connsiteY14370"/>
              </a:cxn>
              <a:cxn ang="0">
                <a:pos x="connsiteX14371" y="connsiteY14371"/>
              </a:cxn>
              <a:cxn ang="0">
                <a:pos x="connsiteX14372" y="connsiteY14372"/>
              </a:cxn>
              <a:cxn ang="0">
                <a:pos x="connsiteX14373" y="connsiteY14373"/>
              </a:cxn>
              <a:cxn ang="0">
                <a:pos x="connsiteX14374" y="connsiteY14374"/>
              </a:cxn>
              <a:cxn ang="0">
                <a:pos x="connsiteX14375" y="connsiteY14375"/>
              </a:cxn>
              <a:cxn ang="0">
                <a:pos x="connsiteX14376" y="connsiteY14376"/>
              </a:cxn>
              <a:cxn ang="0">
                <a:pos x="connsiteX14377" y="connsiteY14377"/>
              </a:cxn>
              <a:cxn ang="0">
                <a:pos x="connsiteX14378" y="connsiteY14378"/>
              </a:cxn>
              <a:cxn ang="0">
                <a:pos x="connsiteX14379" y="connsiteY14379"/>
              </a:cxn>
              <a:cxn ang="0">
                <a:pos x="connsiteX14380" y="connsiteY14380"/>
              </a:cxn>
              <a:cxn ang="0">
                <a:pos x="connsiteX14381" y="connsiteY14381"/>
              </a:cxn>
              <a:cxn ang="0">
                <a:pos x="connsiteX14382" y="connsiteY14382"/>
              </a:cxn>
              <a:cxn ang="0">
                <a:pos x="connsiteX14383" y="connsiteY14383"/>
              </a:cxn>
              <a:cxn ang="0">
                <a:pos x="connsiteX14384" y="connsiteY14384"/>
              </a:cxn>
              <a:cxn ang="0">
                <a:pos x="connsiteX14385" y="connsiteY14385"/>
              </a:cxn>
              <a:cxn ang="0">
                <a:pos x="connsiteX14386" y="connsiteY14386"/>
              </a:cxn>
              <a:cxn ang="0">
                <a:pos x="connsiteX14387" y="connsiteY14387"/>
              </a:cxn>
              <a:cxn ang="0">
                <a:pos x="connsiteX14388" y="connsiteY14388"/>
              </a:cxn>
              <a:cxn ang="0">
                <a:pos x="connsiteX14389" y="connsiteY14389"/>
              </a:cxn>
              <a:cxn ang="0">
                <a:pos x="connsiteX14390" y="connsiteY14390"/>
              </a:cxn>
              <a:cxn ang="0">
                <a:pos x="connsiteX14391" y="connsiteY14391"/>
              </a:cxn>
              <a:cxn ang="0">
                <a:pos x="connsiteX14392" y="connsiteY14392"/>
              </a:cxn>
              <a:cxn ang="0">
                <a:pos x="connsiteX14393" y="connsiteY14393"/>
              </a:cxn>
              <a:cxn ang="0">
                <a:pos x="connsiteX14394" y="connsiteY14394"/>
              </a:cxn>
              <a:cxn ang="0">
                <a:pos x="connsiteX14395" y="connsiteY14395"/>
              </a:cxn>
              <a:cxn ang="0">
                <a:pos x="connsiteX14396" y="connsiteY14396"/>
              </a:cxn>
              <a:cxn ang="0">
                <a:pos x="connsiteX14397" y="connsiteY14397"/>
              </a:cxn>
              <a:cxn ang="0">
                <a:pos x="connsiteX14398" y="connsiteY14398"/>
              </a:cxn>
              <a:cxn ang="0">
                <a:pos x="connsiteX14399" y="connsiteY14399"/>
              </a:cxn>
              <a:cxn ang="0">
                <a:pos x="connsiteX14400" y="connsiteY14400"/>
              </a:cxn>
              <a:cxn ang="0">
                <a:pos x="connsiteX14401" y="connsiteY14401"/>
              </a:cxn>
              <a:cxn ang="0">
                <a:pos x="connsiteX14402" y="connsiteY14402"/>
              </a:cxn>
              <a:cxn ang="0">
                <a:pos x="connsiteX14403" y="connsiteY14403"/>
              </a:cxn>
              <a:cxn ang="0">
                <a:pos x="connsiteX14404" y="connsiteY14404"/>
              </a:cxn>
              <a:cxn ang="0">
                <a:pos x="connsiteX14405" y="connsiteY14405"/>
              </a:cxn>
              <a:cxn ang="0">
                <a:pos x="connsiteX14406" y="connsiteY14406"/>
              </a:cxn>
              <a:cxn ang="0">
                <a:pos x="connsiteX14407" y="connsiteY14407"/>
              </a:cxn>
              <a:cxn ang="0">
                <a:pos x="connsiteX14408" y="connsiteY14408"/>
              </a:cxn>
              <a:cxn ang="0">
                <a:pos x="connsiteX14409" y="connsiteY14409"/>
              </a:cxn>
              <a:cxn ang="0">
                <a:pos x="connsiteX14410" y="connsiteY14410"/>
              </a:cxn>
              <a:cxn ang="0">
                <a:pos x="connsiteX14411" y="connsiteY14411"/>
              </a:cxn>
              <a:cxn ang="0">
                <a:pos x="connsiteX14412" y="connsiteY14412"/>
              </a:cxn>
              <a:cxn ang="0">
                <a:pos x="connsiteX14413" y="connsiteY14413"/>
              </a:cxn>
              <a:cxn ang="0">
                <a:pos x="connsiteX14414" y="connsiteY14414"/>
              </a:cxn>
              <a:cxn ang="0">
                <a:pos x="connsiteX14415" y="connsiteY14415"/>
              </a:cxn>
              <a:cxn ang="0">
                <a:pos x="connsiteX14416" y="connsiteY14416"/>
              </a:cxn>
              <a:cxn ang="0">
                <a:pos x="connsiteX14417" y="connsiteY14417"/>
              </a:cxn>
              <a:cxn ang="0">
                <a:pos x="connsiteX14418" y="connsiteY14418"/>
              </a:cxn>
              <a:cxn ang="0">
                <a:pos x="connsiteX14419" y="connsiteY14419"/>
              </a:cxn>
              <a:cxn ang="0">
                <a:pos x="connsiteX14420" y="connsiteY14420"/>
              </a:cxn>
              <a:cxn ang="0">
                <a:pos x="connsiteX14421" y="connsiteY14421"/>
              </a:cxn>
              <a:cxn ang="0">
                <a:pos x="connsiteX14422" y="connsiteY14422"/>
              </a:cxn>
              <a:cxn ang="0">
                <a:pos x="connsiteX14423" y="connsiteY14423"/>
              </a:cxn>
              <a:cxn ang="0">
                <a:pos x="connsiteX14424" y="connsiteY14424"/>
              </a:cxn>
              <a:cxn ang="0">
                <a:pos x="connsiteX14425" y="connsiteY14425"/>
              </a:cxn>
              <a:cxn ang="0">
                <a:pos x="connsiteX14426" y="connsiteY14426"/>
              </a:cxn>
              <a:cxn ang="0">
                <a:pos x="connsiteX14427" y="connsiteY14427"/>
              </a:cxn>
              <a:cxn ang="0">
                <a:pos x="connsiteX14428" y="connsiteY14428"/>
              </a:cxn>
              <a:cxn ang="0">
                <a:pos x="connsiteX14429" y="connsiteY14429"/>
              </a:cxn>
              <a:cxn ang="0">
                <a:pos x="connsiteX14430" y="connsiteY14430"/>
              </a:cxn>
              <a:cxn ang="0">
                <a:pos x="connsiteX14431" y="connsiteY14431"/>
              </a:cxn>
              <a:cxn ang="0">
                <a:pos x="connsiteX14432" y="connsiteY14432"/>
              </a:cxn>
              <a:cxn ang="0">
                <a:pos x="connsiteX14433" y="connsiteY14433"/>
              </a:cxn>
              <a:cxn ang="0">
                <a:pos x="connsiteX14434" y="connsiteY14434"/>
              </a:cxn>
              <a:cxn ang="0">
                <a:pos x="connsiteX14435" y="connsiteY14435"/>
              </a:cxn>
              <a:cxn ang="0">
                <a:pos x="connsiteX14436" y="connsiteY14436"/>
              </a:cxn>
              <a:cxn ang="0">
                <a:pos x="connsiteX14437" y="connsiteY14437"/>
              </a:cxn>
              <a:cxn ang="0">
                <a:pos x="connsiteX14438" y="connsiteY14438"/>
              </a:cxn>
              <a:cxn ang="0">
                <a:pos x="connsiteX14439" y="connsiteY14439"/>
              </a:cxn>
              <a:cxn ang="0">
                <a:pos x="connsiteX14440" y="connsiteY14440"/>
              </a:cxn>
              <a:cxn ang="0">
                <a:pos x="connsiteX14441" y="connsiteY14441"/>
              </a:cxn>
              <a:cxn ang="0">
                <a:pos x="connsiteX14442" y="connsiteY14442"/>
              </a:cxn>
              <a:cxn ang="0">
                <a:pos x="connsiteX14443" y="connsiteY14443"/>
              </a:cxn>
              <a:cxn ang="0">
                <a:pos x="connsiteX14444" y="connsiteY14444"/>
              </a:cxn>
              <a:cxn ang="0">
                <a:pos x="connsiteX14445" y="connsiteY14445"/>
              </a:cxn>
              <a:cxn ang="0">
                <a:pos x="connsiteX14446" y="connsiteY14446"/>
              </a:cxn>
              <a:cxn ang="0">
                <a:pos x="connsiteX14447" y="connsiteY14447"/>
              </a:cxn>
              <a:cxn ang="0">
                <a:pos x="connsiteX14448" y="connsiteY14448"/>
              </a:cxn>
              <a:cxn ang="0">
                <a:pos x="connsiteX14449" y="connsiteY14449"/>
              </a:cxn>
              <a:cxn ang="0">
                <a:pos x="connsiteX14450" y="connsiteY14450"/>
              </a:cxn>
              <a:cxn ang="0">
                <a:pos x="connsiteX14451" y="connsiteY14451"/>
              </a:cxn>
              <a:cxn ang="0">
                <a:pos x="connsiteX14452" y="connsiteY14452"/>
              </a:cxn>
              <a:cxn ang="0">
                <a:pos x="connsiteX14453" y="connsiteY14453"/>
              </a:cxn>
              <a:cxn ang="0">
                <a:pos x="connsiteX14454" y="connsiteY14454"/>
              </a:cxn>
              <a:cxn ang="0">
                <a:pos x="connsiteX14455" y="connsiteY14455"/>
              </a:cxn>
              <a:cxn ang="0">
                <a:pos x="connsiteX14456" y="connsiteY14456"/>
              </a:cxn>
              <a:cxn ang="0">
                <a:pos x="connsiteX14457" y="connsiteY14457"/>
              </a:cxn>
              <a:cxn ang="0">
                <a:pos x="connsiteX14458" y="connsiteY14458"/>
              </a:cxn>
              <a:cxn ang="0">
                <a:pos x="connsiteX14459" y="connsiteY14459"/>
              </a:cxn>
              <a:cxn ang="0">
                <a:pos x="connsiteX14460" y="connsiteY14460"/>
              </a:cxn>
              <a:cxn ang="0">
                <a:pos x="connsiteX14461" y="connsiteY14461"/>
              </a:cxn>
              <a:cxn ang="0">
                <a:pos x="connsiteX14462" y="connsiteY14462"/>
              </a:cxn>
              <a:cxn ang="0">
                <a:pos x="connsiteX14463" y="connsiteY14463"/>
              </a:cxn>
              <a:cxn ang="0">
                <a:pos x="connsiteX14464" y="connsiteY14464"/>
              </a:cxn>
              <a:cxn ang="0">
                <a:pos x="connsiteX14465" y="connsiteY14465"/>
              </a:cxn>
              <a:cxn ang="0">
                <a:pos x="connsiteX14466" y="connsiteY14466"/>
              </a:cxn>
              <a:cxn ang="0">
                <a:pos x="connsiteX14467" y="connsiteY14467"/>
              </a:cxn>
              <a:cxn ang="0">
                <a:pos x="connsiteX14468" y="connsiteY14468"/>
              </a:cxn>
              <a:cxn ang="0">
                <a:pos x="connsiteX14469" y="connsiteY14469"/>
              </a:cxn>
              <a:cxn ang="0">
                <a:pos x="connsiteX14470" y="connsiteY14470"/>
              </a:cxn>
              <a:cxn ang="0">
                <a:pos x="connsiteX14471" y="connsiteY14471"/>
              </a:cxn>
              <a:cxn ang="0">
                <a:pos x="connsiteX14472" y="connsiteY14472"/>
              </a:cxn>
              <a:cxn ang="0">
                <a:pos x="connsiteX14473" y="connsiteY14473"/>
              </a:cxn>
              <a:cxn ang="0">
                <a:pos x="connsiteX14474" y="connsiteY14474"/>
              </a:cxn>
              <a:cxn ang="0">
                <a:pos x="connsiteX14475" y="connsiteY14475"/>
              </a:cxn>
              <a:cxn ang="0">
                <a:pos x="connsiteX14476" y="connsiteY14476"/>
              </a:cxn>
              <a:cxn ang="0">
                <a:pos x="connsiteX14477" y="connsiteY14477"/>
              </a:cxn>
              <a:cxn ang="0">
                <a:pos x="connsiteX14478" y="connsiteY14478"/>
              </a:cxn>
              <a:cxn ang="0">
                <a:pos x="connsiteX14479" y="connsiteY14479"/>
              </a:cxn>
              <a:cxn ang="0">
                <a:pos x="connsiteX14480" y="connsiteY14480"/>
              </a:cxn>
              <a:cxn ang="0">
                <a:pos x="connsiteX14481" y="connsiteY14481"/>
              </a:cxn>
              <a:cxn ang="0">
                <a:pos x="connsiteX14482" y="connsiteY14482"/>
              </a:cxn>
              <a:cxn ang="0">
                <a:pos x="connsiteX14483" y="connsiteY14483"/>
              </a:cxn>
              <a:cxn ang="0">
                <a:pos x="connsiteX14484" y="connsiteY14484"/>
              </a:cxn>
              <a:cxn ang="0">
                <a:pos x="connsiteX14485" y="connsiteY14485"/>
              </a:cxn>
              <a:cxn ang="0">
                <a:pos x="connsiteX14486" y="connsiteY14486"/>
              </a:cxn>
              <a:cxn ang="0">
                <a:pos x="connsiteX14487" y="connsiteY14487"/>
              </a:cxn>
              <a:cxn ang="0">
                <a:pos x="connsiteX14488" y="connsiteY14488"/>
              </a:cxn>
              <a:cxn ang="0">
                <a:pos x="connsiteX14489" y="connsiteY14489"/>
              </a:cxn>
              <a:cxn ang="0">
                <a:pos x="connsiteX14490" y="connsiteY14490"/>
              </a:cxn>
              <a:cxn ang="0">
                <a:pos x="connsiteX14491" y="connsiteY14491"/>
              </a:cxn>
              <a:cxn ang="0">
                <a:pos x="connsiteX14492" y="connsiteY14492"/>
              </a:cxn>
              <a:cxn ang="0">
                <a:pos x="connsiteX14493" y="connsiteY14493"/>
              </a:cxn>
              <a:cxn ang="0">
                <a:pos x="connsiteX14494" y="connsiteY14494"/>
              </a:cxn>
              <a:cxn ang="0">
                <a:pos x="connsiteX14495" y="connsiteY14495"/>
              </a:cxn>
              <a:cxn ang="0">
                <a:pos x="connsiteX14496" y="connsiteY14496"/>
              </a:cxn>
              <a:cxn ang="0">
                <a:pos x="connsiteX14497" y="connsiteY14497"/>
              </a:cxn>
              <a:cxn ang="0">
                <a:pos x="connsiteX14498" y="connsiteY14498"/>
              </a:cxn>
              <a:cxn ang="0">
                <a:pos x="connsiteX14499" y="connsiteY14499"/>
              </a:cxn>
              <a:cxn ang="0">
                <a:pos x="connsiteX14500" y="connsiteY14500"/>
              </a:cxn>
              <a:cxn ang="0">
                <a:pos x="connsiteX14501" y="connsiteY14501"/>
              </a:cxn>
              <a:cxn ang="0">
                <a:pos x="connsiteX14502" y="connsiteY14502"/>
              </a:cxn>
              <a:cxn ang="0">
                <a:pos x="connsiteX14503" y="connsiteY14503"/>
              </a:cxn>
              <a:cxn ang="0">
                <a:pos x="connsiteX14504" y="connsiteY14504"/>
              </a:cxn>
              <a:cxn ang="0">
                <a:pos x="connsiteX14505" y="connsiteY14505"/>
              </a:cxn>
              <a:cxn ang="0">
                <a:pos x="connsiteX14506" y="connsiteY14506"/>
              </a:cxn>
              <a:cxn ang="0">
                <a:pos x="connsiteX14507" y="connsiteY14507"/>
              </a:cxn>
              <a:cxn ang="0">
                <a:pos x="connsiteX14508" y="connsiteY14508"/>
              </a:cxn>
              <a:cxn ang="0">
                <a:pos x="connsiteX14509" y="connsiteY14509"/>
              </a:cxn>
              <a:cxn ang="0">
                <a:pos x="connsiteX14510" y="connsiteY14510"/>
              </a:cxn>
              <a:cxn ang="0">
                <a:pos x="connsiteX14511" y="connsiteY14511"/>
              </a:cxn>
              <a:cxn ang="0">
                <a:pos x="connsiteX14512" y="connsiteY14512"/>
              </a:cxn>
              <a:cxn ang="0">
                <a:pos x="connsiteX14513" y="connsiteY14513"/>
              </a:cxn>
              <a:cxn ang="0">
                <a:pos x="connsiteX14514" y="connsiteY14514"/>
              </a:cxn>
              <a:cxn ang="0">
                <a:pos x="connsiteX14515" y="connsiteY14515"/>
              </a:cxn>
              <a:cxn ang="0">
                <a:pos x="connsiteX14516" y="connsiteY14516"/>
              </a:cxn>
              <a:cxn ang="0">
                <a:pos x="connsiteX14517" y="connsiteY14517"/>
              </a:cxn>
              <a:cxn ang="0">
                <a:pos x="connsiteX14518" y="connsiteY14518"/>
              </a:cxn>
              <a:cxn ang="0">
                <a:pos x="connsiteX14519" y="connsiteY14519"/>
              </a:cxn>
              <a:cxn ang="0">
                <a:pos x="connsiteX14520" y="connsiteY14520"/>
              </a:cxn>
              <a:cxn ang="0">
                <a:pos x="connsiteX14521" y="connsiteY14521"/>
              </a:cxn>
              <a:cxn ang="0">
                <a:pos x="connsiteX14522" y="connsiteY14522"/>
              </a:cxn>
              <a:cxn ang="0">
                <a:pos x="connsiteX14523" y="connsiteY14523"/>
              </a:cxn>
              <a:cxn ang="0">
                <a:pos x="connsiteX14524" y="connsiteY14524"/>
              </a:cxn>
              <a:cxn ang="0">
                <a:pos x="connsiteX14525" y="connsiteY14525"/>
              </a:cxn>
              <a:cxn ang="0">
                <a:pos x="connsiteX14526" y="connsiteY14526"/>
              </a:cxn>
              <a:cxn ang="0">
                <a:pos x="connsiteX14527" y="connsiteY14527"/>
              </a:cxn>
              <a:cxn ang="0">
                <a:pos x="connsiteX14528" y="connsiteY14528"/>
              </a:cxn>
              <a:cxn ang="0">
                <a:pos x="connsiteX14529" y="connsiteY14529"/>
              </a:cxn>
              <a:cxn ang="0">
                <a:pos x="connsiteX14530" y="connsiteY14530"/>
              </a:cxn>
              <a:cxn ang="0">
                <a:pos x="connsiteX14531" y="connsiteY14531"/>
              </a:cxn>
              <a:cxn ang="0">
                <a:pos x="connsiteX14532" y="connsiteY14532"/>
              </a:cxn>
              <a:cxn ang="0">
                <a:pos x="connsiteX14533" y="connsiteY14533"/>
              </a:cxn>
              <a:cxn ang="0">
                <a:pos x="connsiteX14534" y="connsiteY14534"/>
              </a:cxn>
              <a:cxn ang="0">
                <a:pos x="connsiteX14535" y="connsiteY14535"/>
              </a:cxn>
              <a:cxn ang="0">
                <a:pos x="connsiteX14536" y="connsiteY14536"/>
              </a:cxn>
              <a:cxn ang="0">
                <a:pos x="connsiteX14537" y="connsiteY14537"/>
              </a:cxn>
              <a:cxn ang="0">
                <a:pos x="connsiteX14538" y="connsiteY14538"/>
              </a:cxn>
              <a:cxn ang="0">
                <a:pos x="connsiteX14539" y="connsiteY14539"/>
              </a:cxn>
              <a:cxn ang="0">
                <a:pos x="connsiteX14540" y="connsiteY14540"/>
              </a:cxn>
              <a:cxn ang="0">
                <a:pos x="connsiteX14541" y="connsiteY14541"/>
              </a:cxn>
              <a:cxn ang="0">
                <a:pos x="connsiteX14542" y="connsiteY14542"/>
              </a:cxn>
              <a:cxn ang="0">
                <a:pos x="connsiteX14543" y="connsiteY14543"/>
              </a:cxn>
              <a:cxn ang="0">
                <a:pos x="connsiteX14544" y="connsiteY14544"/>
              </a:cxn>
              <a:cxn ang="0">
                <a:pos x="connsiteX14545" y="connsiteY14545"/>
              </a:cxn>
              <a:cxn ang="0">
                <a:pos x="connsiteX14546" y="connsiteY14546"/>
              </a:cxn>
              <a:cxn ang="0">
                <a:pos x="connsiteX14547" y="connsiteY14547"/>
              </a:cxn>
              <a:cxn ang="0">
                <a:pos x="connsiteX14548" y="connsiteY14548"/>
              </a:cxn>
              <a:cxn ang="0">
                <a:pos x="connsiteX14549" y="connsiteY14549"/>
              </a:cxn>
              <a:cxn ang="0">
                <a:pos x="connsiteX14550" y="connsiteY14550"/>
              </a:cxn>
              <a:cxn ang="0">
                <a:pos x="connsiteX14551" y="connsiteY14551"/>
              </a:cxn>
              <a:cxn ang="0">
                <a:pos x="connsiteX14552" y="connsiteY14552"/>
              </a:cxn>
              <a:cxn ang="0">
                <a:pos x="connsiteX14553" y="connsiteY14553"/>
              </a:cxn>
              <a:cxn ang="0">
                <a:pos x="connsiteX14554" y="connsiteY14554"/>
              </a:cxn>
              <a:cxn ang="0">
                <a:pos x="connsiteX14555" y="connsiteY14555"/>
              </a:cxn>
              <a:cxn ang="0">
                <a:pos x="connsiteX14556" y="connsiteY14556"/>
              </a:cxn>
              <a:cxn ang="0">
                <a:pos x="connsiteX14557" y="connsiteY14557"/>
              </a:cxn>
              <a:cxn ang="0">
                <a:pos x="connsiteX14558" y="connsiteY14558"/>
              </a:cxn>
              <a:cxn ang="0">
                <a:pos x="connsiteX14559" y="connsiteY14559"/>
              </a:cxn>
              <a:cxn ang="0">
                <a:pos x="connsiteX14560" y="connsiteY14560"/>
              </a:cxn>
              <a:cxn ang="0">
                <a:pos x="connsiteX14561" y="connsiteY14561"/>
              </a:cxn>
              <a:cxn ang="0">
                <a:pos x="connsiteX14562" y="connsiteY14562"/>
              </a:cxn>
              <a:cxn ang="0">
                <a:pos x="connsiteX14563" y="connsiteY14563"/>
              </a:cxn>
              <a:cxn ang="0">
                <a:pos x="connsiteX14564" y="connsiteY14564"/>
              </a:cxn>
              <a:cxn ang="0">
                <a:pos x="connsiteX14565" y="connsiteY14565"/>
              </a:cxn>
              <a:cxn ang="0">
                <a:pos x="connsiteX14566" y="connsiteY14566"/>
              </a:cxn>
              <a:cxn ang="0">
                <a:pos x="connsiteX14567" y="connsiteY14567"/>
              </a:cxn>
              <a:cxn ang="0">
                <a:pos x="connsiteX14568" y="connsiteY14568"/>
              </a:cxn>
              <a:cxn ang="0">
                <a:pos x="connsiteX14569" y="connsiteY14569"/>
              </a:cxn>
              <a:cxn ang="0">
                <a:pos x="connsiteX14570" y="connsiteY14570"/>
              </a:cxn>
              <a:cxn ang="0">
                <a:pos x="connsiteX14571" y="connsiteY14571"/>
              </a:cxn>
              <a:cxn ang="0">
                <a:pos x="connsiteX14572" y="connsiteY14572"/>
              </a:cxn>
              <a:cxn ang="0">
                <a:pos x="connsiteX14573" y="connsiteY14573"/>
              </a:cxn>
              <a:cxn ang="0">
                <a:pos x="connsiteX14574" y="connsiteY14574"/>
              </a:cxn>
              <a:cxn ang="0">
                <a:pos x="connsiteX14575" y="connsiteY14575"/>
              </a:cxn>
              <a:cxn ang="0">
                <a:pos x="connsiteX14576" y="connsiteY14576"/>
              </a:cxn>
              <a:cxn ang="0">
                <a:pos x="connsiteX14577" y="connsiteY14577"/>
              </a:cxn>
              <a:cxn ang="0">
                <a:pos x="connsiteX14578" y="connsiteY14578"/>
              </a:cxn>
              <a:cxn ang="0">
                <a:pos x="connsiteX14579" y="connsiteY14579"/>
              </a:cxn>
              <a:cxn ang="0">
                <a:pos x="connsiteX14580" y="connsiteY14580"/>
              </a:cxn>
              <a:cxn ang="0">
                <a:pos x="connsiteX14581" y="connsiteY14581"/>
              </a:cxn>
              <a:cxn ang="0">
                <a:pos x="connsiteX14582" y="connsiteY14582"/>
              </a:cxn>
              <a:cxn ang="0">
                <a:pos x="connsiteX14583" y="connsiteY14583"/>
              </a:cxn>
              <a:cxn ang="0">
                <a:pos x="connsiteX14584" y="connsiteY14584"/>
              </a:cxn>
              <a:cxn ang="0">
                <a:pos x="connsiteX14585" y="connsiteY14585"/>
              </a:cxn>
              <a:cxn ang="0">
                <a:pos x="connsiteX14586" y="connsiteY14586"/>
              </a:cxn>
              <a:cxn ang="0">
                <a:pos x="connsiteX14587" y="connsiteY14587"/>
              </a:cxn>
              <a:cxn ang="0">
                <a:pos x="connsiteX14588" y="connsiteY14588"/>
              </a:cxn>
              <a:cxn ang="0">
                <a:pos x="connsiteX14589" y="connsiteY14589"/>
              </a:cxn>
              <a:cxn ang="0">
                <a:pos x="connsiteX14590" y="connsiteY14590"/>
              </a:cxn>
              <a:cxn ang="0">
                <a:pos x="connsiteX14591" y="connsiteY14591"/>
              </a:cxn>
              <a:cxn ang="0">
                <a:pos x="connsiteX14592" y="connsiteY14592"/>
              </a:cxn>
              <a:cxn ang="0">
                <a:pos x="connsiteX14593" y="connsiteY14593"/>
              </a:cxn>
              <a:cxn ang="0">
                <a:pos x="connsiteX14594" y="connsiteY14594"/>
              </a:cxn>
              <a:cxn ang="0">
                <a:pos x="connsiteX14595" y="connsiteY14595"/>
              </a:cxn>
              <a:cxn ang="0">
                <a:pos x="connsiteX14596" y="connsiteY14596"/>
              </a:cxn>
              <a:cxn ang="0">
                <a:pos x="connsiteX14597" y="connsiteY14597"/>
              </a:cxn>
              <a:cxn ang="0">
                <a:pos x="connsiteX14598" y="connsiteY14598"/>
              </a:cxn>
              <a:cxn ang="0">
                <a:pos x="connsiteX14599" y="connsiteY14599"/>
              </a:cxn>
              <a:cxn ang="0">
                <a:pos x="connsiteX14600" y="connsiteY14600"/>
              </a:cxn>
              <a:cxn ang="0">
                <a:pos x="connsiteX14601" y="connsiteY14601"/>
              </a:cxn>
              <a:cxn ang="0">
                <a:pos x="connsiteX14602" y="connsiteY14602"/>
              </a:cxn>
              <a:cxn ang="0">
                <a:pos x="connsiteX14603" y="connsiteY14603"/>
              </a:cxn>
              <a:cxn ang="0">
                <a:pos x="connsiteX14604" y="connsiteY14604"/>
              </a:cxn>
              <a:cxn ang="0">
                <a:pos x="connsiteX14605" y="connsiteY14605"/>
              </a:cxn>
              <a:cxn ang="0">
                <a:pos x="connsiteX14606" y="connsiteY14606"/>
              </a:cxn>
              <a:cxn ang="0">
                <a:pos x="connsiteX14607" y="connsiteY14607"/>
              </a:cxn>
              <a:cxn ang="0">
                <a:pos x="connsiteX14608" y="connsiteY14608"/>
              </a:cxn>
              <a:cxn ang="0">
                <a:pos x="connsiteX14609" y="connsiteY14609"/>
              </a:cxn>
              <a:cxn ang="0">
                <a:pos x="connsiteX14610" y="connsiteY14610"/>
              </a:cxn>
              <a:cxn ang="0">
                <a:pos x="connsiteX14611" y="connsiteY14611"/>
              </a:cxn>
              <a:cxn ang="0">
                <a:pos x="connsiteX14612" y="connsiteY14612"/>
              </a:cxn>
              <a:cxn ang="0">
                <a:pos x="connsiteX14613" y="connsiteY14613"/>
              </a:cxn>
              <a:cxn ang="0">
                <a:pos x="connsiteX14614" y="connsiteY14614"/>
              </a:cxn>
              <a:cxn ang="0">
                <a:pos x="connsiteX14615" y="connsiteY14615"/>
              </a:cxn>
              <a:cxn ang="0">
                <a:pos x="connsiteX14616" y="connsiteY14616"/>
              </a:cxn>
              <a:cxn ang="0">
                <a:pos x="connsiteX14617" y="connsiteY14617"/>
              </a:cxn>
              <a:cxn ang="0">
                <a:pos x="connsiteX14618" y="connsiteY14618"/>
              </a:cxn>
              <a:cxn ang="0">
                <a:pos x="connsiteX14619" y="connsiteY14619"/>
              </a:cxn>
              <a:cxn ang="0">
                <a:pos x="connsiteX14620" y="connsiteY14620"/>
              </a:cxn>
              <a:cxn ang="0">
                <a:pos x="connsiteX14621" y="connsiteY14621"/>
              </a:cxn>
              <a:cxn ang="0">
                <a:pos x="connsiteX14622" y="connsiteY14622"/>
              </a:cxn>
              <a:cxn ang="0">
                <a:pos x="connsiteX14623" y="connsiteY14623"/>
              </a:cxn>
              <a:cxn ang="0">
                <a:pos x="connsiteX14624" y="connsiteY14624"/>
              </a:cxn>
              <a:cxn ang="0">
                <a:pos x="connsiteX14625" y="connsiteY14625"/>
              </a:cxn>
              <a:cxn ang="0">
                <a:pos x="connsiteX14626" y="connsiteY14626"/>
              </a:cxn>
              <a:cxn ang="0">
                <a:pos x="connsiteX14627" y="connsiteY14627"/>
              </a:cxn>
              <a:cxn ang="0">
                <a:pos x="connsiteX14628" y="connsiteY14628"/>
              </a:cxn>
              <a:cxn ang="0">
                <a:pos x="connsiteX14629" y="connsiteY14629"/>
              </a:cxn>
              <a:cxn ang="0">
                <a:pos x="connsiteX14630" y="connsiteY14630"/>
              </a:cxn>
              <a:cxn ang="0">
                <a:pos x="connsiteX14631" y="connsiteY14631"/>
              </a:cxn>
              <a:cxn ang="0">
                <a:pos x="connsiteX14632" y="connsiteY14632"/>
              </a:cxn>
              <a:cxn ang="0">
                <a:pos x="connsiteX14633" y="connsiteY14633"/>
              </a:cxn>
              <a:cxn ang="0">
                <a:pos x="connsiteX14634" y="connsiteY14634"/>
              </a:cxn>
              <a:cxn ang="0">
                <a:pos x="connsiteX14635" y="connsiteY14635"/>
              </a:cxn>
              <a:cxn ang="0">
                <a:pos x="connsiteX14636" y="connsiteY14636"/>
              </a:cxn>
              <a:cxn ang="0">
                <a:pos x="connsiteX14637" y="connsiteY14637"/>
              </a:cxn>
              <a:cxn ang="0">
                <a:pos x="connsiteX14638" y="connsiteY14638"/>
              </a:cxn>
              <a:cxn ang="0">
                <a:pos x="connsiteX14639" y="connsiteY14639"/>
              </a:cxn>
              <a:cxn ang="0">
                <a:pos x="connsiteX14640" y="connsiteY14640"/>
              </a:cxn>
              <a:cxn ang="0">
                <a:pos x="connsiteX14641" y="connsiteY14641"/>
              </a:cxn>
              <a:cxn ang="0">
                <a:pos x="connsiteX14642" y="connsiteY14642"/>
              </a:cxn>
              <a:cxn ang="0">
                <a:pos x="connsiteX14643" y="connsiteY14643"/>
              </a:cxn>
              <a:cxn ang="0">
                <a:pos x="connsiteX14644" y="connsiteY14644"/>
              </a:cxn>
              <a:cxn ang="0">
                <a:pos x="connsiteX14645" y="connsiteY14645"/>
              </a:cxn>
              <a:cxn ang="0">
                <a:pos x="connsiteX14646" y="connsiteY14646"/>
              </a:cxn>
              <a:cxn ang="0">
                <a:pos x="connsiteX14647" y="connsiteY14647"/>
              </a:cxn>
              <a:cxn ang="0">
                <a:pos x="connsiteX14648" y="connsiteY14648"/>
              </a:cxn>
              <a:cxn ang="0">
                <a:pos x="connsiteX14649" y="connsiteY14649"/>
              </a:cxn>
              <a:cxn ang="0">
                <a:pos x="connsiteX14650" y="connsiteY14650"/>
              </a:cxn>
              <a:cxn ang="0">
                <a:pos x="connsiteX14651" y="connsiteY14651"/>
              </a:cxn>
              <a:cxn ang="0">
                <a:pos x="connsiteX14652" y="connsiteY14652"/>
              </a:cxn>
              <a:cxn ang="0">
                <a:pos x="connsiteX14653" y="connsiteY14653"/>
              </a:cxn>
              <a:cxn ang="0">
                <a:pos x="connsiteX14654" y="connsiteY14654"/>
              </a:cxn>
              <a:cxn ang="0">
                <a:pos x="connsiteX14655" y="connsiteY14655"/>
              </a:cxn>
              <a:cxn ang="0">
                <a:pos x="connsiteX14656" y="connsiteY14656"/>
              </a:cxn>
              <a:cxn ang="0">
                <a:pos x="connsiteX14657" y="connsiteY14657"/>
              </a:cxn>
              <a:cxn ang="0">
                <a:pos x="connsiteX14658" y="connsiteY14658"/>
              </a:cxn>
              <a:cxn ang="0">
                <a:pos x="connsiteX14659" y="connsiteY14659"/>
              </a:cxn>
              <a:cxn ang="0">
                <a:pos x="connsiteX14660" y="connsiteY14660"/>
              </a:cxn>
              <a:cxn ang="0">
                <a:pos x="connsiteX14661" y="connsiteY14661"/>
              </a:cxn>
              <a:cxn ang="0">
                <a:pos x="connsiteX14662" y="connsiteY14662"/>
              </a:cxn>
              <a:cxn ang="0">
                <a:pos x="connsiteX14663" y="connsiteY14663"/>
              </a:cxn>
              <a:cxn ang="0">
                <a:pos x="connsiteX14664" y="connsiteY14664"/>
              </a:cxn>
              <a:cxn ang="0">
                <a:pos x="connsiteX14665" y="connsiteY14665"/>
              </a:cxn>
              <a:cxn ang="0">
                <a:pos x="connsiteX14666" y="connsiteY14666"/>
              </a:cxn>
              <a:cxn ang="0">
                <a:pos x="connsiteX14667" y="connsiteY14667"/>
              </a:cxn>
              <a:cxn ang="0">
                <a:pos x="connsiteX14668" y="connsiteY14668"/>
              </a:cxn>
              <a:cxn ang="0">
                <a:pos x="connsiteX14669" y="connsiteY14669"/>
              </a:cxn>
              <a:cxn ang="0">
                <a:pos x="connsiteX14670" y="connsiteY14670"/>
              </a:cxn>
              <a:cxn ang="0">
                <a:pos x="connsiteX14671" y="connsiteY14671"/>
              </a:cxn>
              <a:cxn ang="0">
                <a:pos x="connsiteX14672" y="connsiteY14672"/>
              </a:cxn>
              <a:cxn ang="0">
                <a:pos x="connsiteX14673" y="connsiteY14673"/>
              </a:cxn>
              <a:cxn ang="0">
                <a:pos x="connsiteX14674" y="connsiteY14674"/>
              </a:cxn>
              <a:cxn ang="0">
                <a:pos x="connsiteX14675" y="connsiteY14675"/>
              </a:cxn>
              <a:cxn ang="0">
                <a:pos x="connsiteX14676" y="connsiteY14676"/>
              </a:cxn>
              <a:cxn ang="0">
                <a:pos x="connsiteX14677" y="connsiteY14677"/>
              </a:cxn>
              <a:cxn ang="0">
                <a:pos x="connsiteX14678" y="connsiteY14678"/>
              </a:cxn>
              <a:cxn ang="0">
                <a:pos x="connsiteX14679" y="connsiteY14679"/>
              </a:cxn>
              <a:cxn ang="0">
                <a:pos x="connsiteX14680" y="connsiteY14680"/>
              </a:cxn>
              <a:cxn ang="0">
                <a:pos x="connsiteX14681" y="connsiteY14681"/>
              </a:cxn>
              <a:cxn ang="0">
                <a:pos x="connsiteX14682" y="connsiteY14682"/>
              </a:cxn>
              <a:cxn ang="0">
                <a:pos x="connsiteX14683" y="connsiteY14683"/>
              </a:cxn>
              <a:cxn ang="0">
                <a:pos x="connsiteX14684" y="connsiteY14684"/>
              </a:cxn>
              <a:cxn ang="0">
                <a:pos x="connsiteX14685" y="connsiteY14685"/>
              </a:cxn>
              <a:cxn ang="0">
                <a:pos x="connsiteX14686" y="connsiteY14686"/>
              </a:cxn>
              <a:cxn ang="0">
                <a:pos x="connsiteX14687" y="connsiteY14687"/>
              </a:cxn>
              <a:cxn ang="0">
                <a:pos x="connsiteX14688" y="connsiteY14688"/>
              </a:cxn>
              <a:cxn ang="0">
                <a:pos x="connsiteX14689" y="connsiteY14689"/>
              </a:cxn>
              <a:cxn ang="0">
                <a:pos x="connsiteX14690" y="connsiteY14690"/>
              </a:cxn>
              <a:cxn ang="0">
                <a:pos x="connsiteX14691" y="connsiteY14691"/>
              </a:cxn>
              <a:cxn ang="0">
                <a:pos x="connsiteX14692" y="connsiteY14692"/>
              </a:cxn>
              <a:cxn ang="0">
                <a:pos x="connsiteX14693" y="connsiteY14693"/>
              </a:cxn>
              <a:cxn ang="0">
                <a:pos x="connsiteX14694" y="connsiteY14694"/>
              </a:cxn>
              <a:cxn ang="0">
                <a:pos x="connsiteX14695" y="connsiteY14695"/>
              </a:cxn>
              <a:cxn ang="0">
                <a:pos x="connsiteX14696" y="connsiteY14696"/>
              </a:cxn>
              <a:cxn ang="0">
                <a:pos x="connsiteX14697" y="connsiteY14697"/>
              </a:cxn>
              <a:cxn ang="0">
                <a:pos x="connsiteX14698" y="connsiteY14698"/>
              </a:cxn>
              <a:cxn ang="0">
                <a:pos x="connsiteX14699" y="connsiteY14699"/>
              </a:cxn>
              <a:cxn ang="0">
                <a:pos x="connsiteX14700" y="connsiteY14700"/>
              </a:cxn>
              <a:cxn ang="0">
                <a:pos x="connsiteX14701" y="connsiteY14701"/>
              </a:cxn>
              <a:cxn ang="0">
                <a:pos x="connsiteX14702" y="connsiteY14702"/>
              </a:cxn>
              <a:cxn ang="0">
                <a:pos x="connsiteX14703" y="connsiteY14703"/>
              </a:cxn>
              <a:cxn ang="0">
                <a:pos x="connsiteX14704" y="connsiteY14704"/>
              </a:cxn>
              <a:cxn ang="0">
                <a:pos x="connsiteX14705" y="connsiteY14705"/>
              </a:cxn>
              <a:cxn ang="0">
                <a:pos x="connsiteX14706" y="connsiteY14706"/>
              </a:cxn>
              <a:cxn ang="0">
                <a:pos x="connsiteX14707" y="connsiteY14707"/>
              </a:cxn>
              <a:cxn ang="0">
                <a:pos x="connsiteX14708" y="connsiteY14708"/>
              </a:cxn>
              <a:cxn ang="0">
                <a:pos x="connsiteX14709" y="connsiteY14709"/>
              </a:cxn>
              <a:cxn ang="0">
                <a:pos x="connsiteX14710" y="connsiteY14710"/>
              </a:cxn>
              <a:cxn ang="0">
                <a:pos x="connsiteX14711" y="connsiteY14711"/>
              </a:cxn>
              <a:cxn ang="0">
                <a:pos x="connsiteX14712" y="connsiteY14712"/>
              </a:cxn>
              <a:cxn ang="0">
                <a:pos x="connsiteX14713" y="connsiteY14713"/>
              </a:cxn>
              <a:cxn ang="0">
                <a:pos x="connsiteX14714" y="connsiteY14714"/>
              </a:cxn>
              <a:cxn ang="0">
                <a:pos x="connsiteX14715" y="connsiteY14715"/>
              </a:cxn>
              <a:cxn ang="0">
                <a:pos x="connsiteX14716" y="connsiteY14716"/>
              </a:cxn>
              <a:cxn ang="0">
                <a:pos x="connsiteX14717" y="connsiteY14717"/>
              </a:cxn>
              <a:cxn ang="0">
                <a:pos x="connsiteX14718" y="connsiteY14718"/>
              </a:cxn>
              <a:cxn ang="0">
                <a:pos x="connsiteX14719" y="connsiteY14719"/>
              </a:cxn>
              <a:cxn ang="0">
                <a:pos x="connsiteX14720" y="connsiteY14720"/>
              </a:cxn>
              <a:cxn ang="0">
                <a:pos x="connsiteX14721" y="connsiteY14721"/>
              </a:cxn>
              <a:cxn ang="0">
                <a:pos x="connsiteX14722" y="connsiteY14722"/>
              </a:cxn>
              <a:cxn ang="0">
                <a:pos x="connsiteX14723" y="connsiteY14723"/>
              </a:cxn>
              <a:cxn ang="0">
                <a:pos x="connsiteX14724" y="connsiteY14724"/>
              </a:cxn>
              <a:cxn ang="0">
                <a:pos x="connsiteX14725" y="connsiteY14725"/>
              </a:cxn>
              <a:cxn ang="0">
                <a:pos x="connsiteX14726" y="connsiteY14726"/>
              </a:cxn>
              <a:cxn ang="0">
                <a:pos x="connsiteX14727" y="connsiteY14727"/>
              </a:cxn>
              <a:cxn ang="0">
                <a:pos x="connsiteX14728" y="connsiteY14728"/>
              </a:cxn>
              <a:cxn ang="0">
                <a:pos x="connsiteX14729" y="connsiteY14729"/>
              </a:cxn>
              <a:cxn ang="0">
                <a:pos x="connsiteX14730" y="connsiteY14730"/>
              </a:cxn>
              <a:cxn ang="0">
                <a:pos x="connsiteX14731" y="connsiteY14731"/>
              </a:cxn>
              <a:cxn ang="0">
                <a:pos x="connsiteX14732" y="connsiteY14732"/>
              </a:cxn>
              <a:cxn ang="0">
                <a:pos x="connsiteX14733" y="connsiteY14733"/>
              </a:cxn>
              <a:cxn ang="0">
                <a:pos x="connsiteX14734" y="connsiteY14734"/>
              </a:cxn>
              <a:cxn ang="0">
                <a:pos x="connsiteX14735" y="connsiteY14735"/>
              </a:cxn>
              <a:cxn ang="0">
                <a:pos x="connsiteX14736" y="connsiteY14736"/>
              </a:cxn>
              <a:cxn ang="0">
                <a:pos x="connsiteX14737" y="connsiteY14737"/>
              </a:cxn>
              <a:cxn ang="0">
                <a:pos x="connsiteX14738" y="connsiteY14738"/>
              </a:cxn>
              <a:cxn ang="0">
                <a:pos x="connsiteX14739" y="connsiteY14739"/>
              </a:cxn>
              <a:cxn ang="0">
                <a:pos x="connsiteX14740" y="connsiteY14740"/>
              </a:cxn>
              <a:cxn ang="0">
                <a:pos x="connsiteX14741" y="connsiteY14741"/>
              </a:cxn>
              <a:cxn ang="0">
                <a:pos x="connsiteX14742" y="connsiteY14742"/>
              </a:cxn>
              <a:cxn ang="0">
                <a:pos x="connsiteX14743" y="connsiteY14743"/>
              </a:cxn>
              <a:cxn ang="0">
                <a:pos x="connsiteX14744" y="connsiteY14744"/>
              </a:cxn>
              <a:cxn ang="0">
                <a:pos x="connsiteX14745" y="connsiteY14745"/>
              </a:cxn>
              <a:cxn ang="0">
                <a:pos x="connsiteX14746" y="connsiteY14746"/>
              </a:cxn>
              <a:cxn ang="0">
                <a:pos x="connsiteX14747" y="connsiteY14747"/>
              </a:cxn>
              <a:cxn ang="0">
                <a:pos x="connsiteX14748" y="connsiteY14748"/>
              </a:cxn>
              <a:cxn ang="0">
                <a:pos x="connsiteX14749" y="connsiteY14749"/>
              </a:cxn>
              <a:cxn ang="0">
                <a:pos x="connsiteX14750" y="connsiteY14750"/>
              </a:cxn>
              <a:cxn ang="0">
                <a:pos x="connsiteX14751" y="connsiteY14751"/>
              </a:cxn>
              <a:cxn ang="0">
                <a:pos x="connsiteX14752" y="connsiteY14752"/>
              </a:cxn>
              <a:cxn ang="0">
                <a:pos x="connsiteX14753" y="connsiteY14753"/>
              </a:cxn>
              <a:cxn ang="0">
                <a:pos x="connsiteX14754" y="connsiteY14754"/>
              </a:cxn>
              <a:cxn ang="0">
                <a:pos x="connsiteX14755" y="connsiteY14755"/>
              </a:cxn>
              <a:cxn ang="0">
                <a:pos x="connsiteX14756" y="connsiteY14756"/>
              </a:cxn>
              <a:cxn ang="0">
                <a:pos x="connsiteX14757" y="connsiteY14757"/>
              </a:cxn>
              <a:cxn ang="0">
                <a:pos x="connsiteX14758" y="connsiteY14758"/>
              </a:cxn>
              <a:cxn ang="0">
                <a:pos x="connsiteX14759" y="connsiteY14759"/>
              </a:cxn>
              <a:cxn ang="0">
                <a:pos x="connsiteX14760" y="connsiteY14760"/>
              </a:cxn>
              <a:cxn ang="0">
                <a:pos x="connsiteX14761" y="connsiteY14761"/>
              </a:cxn>
              <a:cxn ang="0">
                <a:pos x="connsiteX14762" y="connsiteY14762"/>
              </a:cxn>
              <a:cxn ang="0">
                <a:pos x="connsiteX14763" y="connsiteY14763"/>
              </a:cxn>
              <a:cxn ang="0">
                <a:pos x="connsiteX14764" y="connsiteY14764"/>
              </a:cxn>
              <a:cxn ang="0">
                <a:pos x="connsiteX14765" y="connsiteY14765"/>
              </a:cxn>
              <a:cxn ang="0">
                <a:pos x="connsiteX14766" y="connsiteY14766"/>
              </a:cxn>
              <a:cxn ang="0">
                <a:pos x="connsiteX14767" y="connsiteY14767"/>
              </a:cxn>
              <a:cxn ang="0">
                <a:pos x="connsiteX14768" y="connsiteY14768"/>
              </a:cxn>
              <a:cxn ang="0">
                <a:pos x="connsiteX14769" y="connsiteY14769"/>
              </a:cxn>
              <a:cxn ang="0">
                <a:pos x="connsiteX14770" y="connsiteY14770"/>
              </a:cxn>
              <a:cxn ang="0">
                <a:pos x="connsiteX14771" y="connsiteY14771"/>
              </a:cxn>
              <a:cxn ang="0">
                <a:pos x="connsiteX14772" y="connsiteY14772"/>
              </a:cxn>
              <a:cxn ang="0">
                <a:pos x="connsiteX14773" y="connsiteY14773"/>
              </a:cxn>
              <a:cxn ang="0">
                <a:pos x="connsiteX14774" y="connsiteY14774"/>
              </a:cxn>
              <a:cxn ang="0">
                <a:pos x="connsiteX14775" y="connsiteY14775"/>
              </a:cxn>
              <a:cxn ang="0">
                <a:pos x="connsiteX14776" y="connsiteY14776"/>
              </a:cxn>
              <a:cxn ang="0">
                <a:pos x="connsiteX14777" y="connsiteY14777"/>
              </a:cxn>
              <a:cxn ang="0">
                <a:pos x="connsiteX14778" y="connsiteY14778"/>
              </a:cxn>
              <a:cxn ang="0">
                <a:pos x="connsiteX14779" y="connsiteY14779"/>
              </a:cxn>
              <a:cxn ang="0">
                <a:pos x="connsiteX14780" y="connsiteY14780"/>
              </a:cxn>
              <a:cxn ang="0">
                <a:pos x="connsiteX14781" y="connsiteY14781"/>
              </a:cxn>
              <a:cxn ang="0">
                <a:pos x="connsiteX14782" y="connsiteY14782"/>
              </a:cxn>
              <a:cxn ang="0">
                <a:pos x="connsiteX14783" y="connsiteY14783"/>
              </a:cxn>
              <a:cxn ang="0">
                <a:pos x="connsiteX14784" y="connsiteY14784"/>
              </a:cxn>
              <a:cxn ang="0">
                <a:pos x="connsiteX14785" y="connsiteY14785"/>
              </a:cxn>
              <a:cxn ang="0">
                <a:pos x="connsiteX14786" y="connsiteY14786"/>
              </a:cxn>
              <a:cxn ang="0">
                <a:pos x="connsiteX14787" y="connsiteY14787"/>
              </a:cxn>
              <a:cxn ang="0">
                <a:pos x="connsiteX14788" y="connsiteY14788"/>
              </a:cxn>
              <a:cxn ang="0">
                <a:pos x="connsiteX14789" y="connsiteY14789"/>
              </a:cxn>
              <a:cxn ang="0">
                <a:pos x="connsiteX14790" y="connsiteY14790"/>
              </a:cxn>
              <a:cxn ang="0">
                <a:pos x="connsiteX14791" y="connsiteY14791"/>
              </a:cxn>
              <a:cxn ang="0">
                <a:pos x="connsiteX14792" y="connsiteY14792"/>
              </a:cxn>
              <a:cxn ang="0">
                <a:pos x="connsiteX14793" y="connsiteY14793"/>
              </a:cxn>
              <a:cxn ang="0">
                <a:pos x="connsiteX14794" y="connsiteY14794"/>
              </a:cxn>
              <a:cxn ang="0">
                <a:pos x="connsiteX14795" y="connsiteY14795"/>
              </a:cxn>
              <a:cxn ang="0">
                <a:pos x="connsiteX14796" y="connsiteY14796"/>
              </a:cxn>
              <a:cxn ang="0">
                <a:pos x="connsiteX14797" y="connsiteY14797"/>
              </a:cxn>
              <a:cxn ang="0">
                <a:pos x="connsiteX14798" y="connsiteY14798"/>
              </a:cxn>
              <a:cxn ang="0">
                <a:pos x="connsiteX14799" y="connsiteY14799"/>
              </a:cxn>
              <a:cxn ang="0">
                <a:pos x="connsiteX14800" y="connsiteY14800"/>
              </a:cxn>
              <a:cxn ang="0">
                <a:pos x="connsiteX14801" y="connsiteY14801"/>
              </a:cxn>
              <a:cxn ang="0">
                <a:pos x="connsiteX14802" y="connsiteY14802"/>
              </a:cxn>
              <a:cxn ang="0">
                <a:pos x="connsiteX14803" y="connsiteY14803"/>
              </a:cxn>
              <a:cxn ang="0">
                <a:pos x="connsiteX14804" y="connsiteY14804"/>
              </a:cxn>
              <a:cxn ang="0">
                <a:pos x="connsiteX14805" y="connsiteY14805"/>
              </a:cxn>
              <a:cxn ang="0">
                <a:pos x="connsiteX14806" y="connsiteY14806"/>
              </a:cxn>
              <a:cxn ang="0">
                <a:pos x="connsiteX14807" y="connsiteY14807"/>
              </a:cxn>
              <a:cxn ang="0">
                <a:pos x="connsiteX14808" y="connsiteY14808"/>
              </a:cxn>
              <a:cxn ang="0">
                <a:pos x="connsiteX14809" y="connsiteY14809"/>
              </a:cxn>
              <a:cxn ang="0">
                <a:pos x="connsiteX14810" y="connsiteY14810"/>
              </a:cxn>
              <a:cxn ang="0">
                <a:pos x="connsiteX14811" y="connsiteY14811"/>
              </a:cxn>
              <a:cxn ang="0">
                <a:pos x="connsiteX14812" y="connsiteY14812"/>
              </a:cxn>
              <a:cxn ang="0">
                <a:pos x="connsiteX14813" y="connsiteY14813"/>
              </a:cxn>
              <a:cxn ang="0">
                <a:pos x="connsiteX14814" y="connsiteY14814"/>
              </a:cxn>
              <a:cxn ang="0">
                <a:pos x="connsiteX14815" y="connsiteY14815"/>
              </a:cxn>
              <a:cxn ang="0">
                <a:pos x="connsiteX14816" y="connsiteY14816"/>
              </a:cxn>
              <a:cxn ang="0">
                <a:pos x="connsiteX14817" y="connsiteY14817"/>
              </a:cxn>
              <a:cxn ang="0">
                <a:pos x="connsiteX14818" y="connsiteY14818"/>
              </a:cxn>
              <a:cxn ang="0">
                <a:pos x="connsiteX14819" y="connsiteY14819"/>
              </a:cxn>
              <a:cxn ang="0">
                <a:pos x="connsiteX14820" y="connsiteY14820"/>
              </a:cxn>
              <a:cxn ang="0">
                <a:pos x="connsiteX14821" y="connsiteY14821"/>
              </a:cxn>
              <a:cxn ang="0">
                <a:pos x="connsiteX14822" y="connsiteY14822"/>
              </a:cxn>
              <a:cxn ang="0">
                <a:pos x="connsiteX14823" y="connsiteY14823"/>
              </a:cxn>
              <a:cxn ang="0">
                <a:pos x="connsiteX14824" y="connsiteY14824"/>
              </a:cxn>
              <a:cxn ang="0">
                <a:pos x="connsiteX14825" y="connsiteY14825"/>
              </a:cxn>
              <a:cxn ang="0">
                <a:pos x="connsiteX14826" y="connsiteY14826"/>
              </a:cxn>
              <a:cxn ang="0">
                <a:pos x="connsiteX14827" y="connsiteY14827"/>
              </a:cxn>
              <a:cxn ang="0">
                <a:pos x="connsiteX14828" y="connsiteY14828"/>
              </a:cxn>
              <a:cxn ang="0">
                <a:pos x="connsiteX14829" y="connsiteY14829"/>
              </a:cxn>
              <a:cxn ang="0">
                <a:pos x="connsiteX14830" y="connsiteY14830"/>
              </a:cxn>
              <a:cxn ang="0">
                <a:pos x="connsiteX14831" y="connsiteY14831"/>
              </a:cxn>
              <a:cxn ang="0">
                <a:pos x="connsiteX14832" y="connsiteY14832"/>
              </a:cxn>
              <a:cxn ang="0">
                <a:pos x="connsiteX14833" y="connsiteY14833"/>
              </a:cxn>
              <a:cxn ang="0">
                <a:pos x="connsiteX14834" y="connsiteY14834"/>
              </a:cxn>
              <a:cxn ang="0">
                <a:pos x="connsiteX14835" y="connsiteY14835"/>
              </a:cxn>
              <a:cxn ang="0">
                <a:pos x="connsiteX14836" y="connsiteY14836"/>
              </a:cxn>
              <a:cxn ang="0">
                <a:pos x="connsiteX14837" y="connsiteY14837"/>
              </a:cxn>
              <a:cxn ang="0">
                <a:pos x="connsiteX14838" y="connsiteY14838"/>
              </a:cxn>
              <a:cxn ang="0">
                <a:pos x="connsiteX14839" y="connsiteY14839"/>
              </a:cxn>
              <a:cxn ang="0">
                <a:pos x="connsiteX14840" y="connsiteY14840"/>
              </a:cxn>
              <a:cxn ang="0">
                <a:pos x="connsiteX14841" y="connsiteY14841"/>
              </a:cxn>
              <a:cxn ang="0">
                <a:pos x="connsiteX14842" y="connsiteY14842"/>
              </a:cxn>
              <a:cxn ang="0">
                <a:pos x="connsiteX14843" y="connsiteY14843"/>
              </a:cxn>
              <a:cxn ang="0">
                <a:pos x="connsiteX14844" y="connsiteY14844"/>
              </a:cxn>
              <a:cxn ang="0">
                <a:pos x="connsiteX14845" y="connsiteY14845"/>
              </a:cxn>
              <a:cxn ang="0">
                <a:pos x="connsiteX14846" y="connsiteY14846"/>
              </a:cxn>
              <a:cxn ang="0">
                <a:pos x="connsiteX14847" y="connsiteY14847"/>
              </a:cxn>
              <a:cxn ang="0">
                <a:pos x="connsiteX14848" y="connsiteY14848"/>
              </a:cxn>
              <a:cxn ang="0">
                <a:pos x="connsiteX14849" y="connsiteY14849"/>
              </a:cxn>
              <a:cxn ang="0">
                <a:pos x="connsiteX14850" y="connsiteY14850"/>
              </a:cxn>
              <a:cxn ang="0">
                <a:pos x="connsiteX14851" y="connsiteY14851"/>
              </a:cxn>
              <a:cxn ang="0">
                <a:pos x="connsiteX14852" y="connsiteY14852"/>
              </a:cxn>
              <a:cxn ang="0">
                <a:pos x="connsiteX14853" y="connsiteY14853"/>
              </a:cxn>
              <a:cxn ang="0">
                <a:pos x="connsiteX14854" y="connsiteY14854"/>
              </a:cxn>
              <a:cxn ang="0">
                <a:pos x="connsiteX14855" y="connsiteY14855"/>
              </a:cxn>
              <a:cxn ang="0">
                <a:pos x="connsiteX14856" y="connsiteY14856"/>
              </a:cxn>
              <a:cxn ang="0">
                <a:pos x="connsiteX14857" y="connsiteY14857"/>
              </a:cxn>
              <a:cxn ang="0">
                <a:pos x="connsiteX14858" y="connsiteY14858"/>
              </a:cxn>
              <a:cxn ang="0">
                <a:pos x="connsiteX14859" y="connsiteY14859"/>
              </a:cxn>
              <a:cxn ang="0">
                <a:pos x="connsiteX14860" y="connsiteY14860"/>
              </a:cxn>
              <a:cxn ang="0">
                <a:pos x="connsiteX14861" y="connsiteY14861"/>
              </a:cxn>
              <a:cxn ang="0">
                <a:pos x="connsiteX14862" y="connsiteY14862"/>
              </a:cxn>
              <a:cxn ang="0">
                <a:pos x="connsiteX14863" y="connsiteY14863"/>
              </a:cxn>
              <a:cxn ang="0">
                <a:pos x="connsiteX14864" y="connsiteY14864"/>
              </a:cxn>
              <a:cxn ang="0">
                <a:pos x="connsiteX14865" y="connsiteY14865"/>
              </a:cxn>
              <a:cxn ang="0">
                <a:pos x="connsiteX14866" y="connsiteY14866"/>
              </a:cxn>
              <a:cxn ang="0">
                <a:pos x="connsiteX14867" y="connsiteY14867"/>
              </a:cxn>
              <a:cxn ang="0">
                <a:pos x="connsiteX14868" y="connsiteY14868"/>
              </a:cxn>
              <a:cxn ang="0">
                <a:pos x="connsiteX14869" y="connsiteY14869"/>
              </a:cxn>
              <a:cxn ang="0">
                <a:pos x="connsiteX14870" y="connsiteY14870"/>
              </a:cxn>
              <a:cxn ang="0">
                <a:pos x="connsiteX14871" y="connsiteY14871"/>
              </a:cxn>
              <a:cxn ang="0">
                <a:pos x="connsiteX14872" y="connsiteY14872"/>
              </a:cxn>
              <a:cxn ang="0">
                <a:pos x="connsiteX14873" y="connsiteY14873"/>
              </a:cxn>
              <a:cxn ang="0">
                <a:pos x="connsiteX14874" y="connsiteY14874"/>
              </a:cxn>
              <a:cxn ang="0">
                <a:pos x="connsiteX14875" y="connsiteY14875"/>
              </a:cxn>
              <a:cxn ang="0">
                <a:pos x="connsiteX14876" y="connsiteY14876"/>
              </a:cxn>
              <a:cxn ang="0">
                <a:pos x="connsiteX14877" y="connsiteY14877"/>
              </a:cxn>
              <a:cxn ang="0">
                <a:pos x="connsiteX14878" y="connsiteY14878"/>
              </a:cxn>
              <a:cxn ang="0">
                <a:pos x="connsiteX14879" y="connsiteY14879"/>
              </a:cxn>
              <a:cxn ang="0">
                <a:pos x="connsiteX14880" y="connsiteY14880"/>
              </a:cxn>
              <a:cxn ang="0">
                <a:pos x="connsiteX14881" y="connsiteY14881"/>
              </a:cxn>
              <a:cxn ang="0">
                <a:pos x="connsiteX14882" y="connsiteY14882"/>
              </a:cxn>
              <a:cxn ang="0">
                <a:pos x="connsiteX14883" y="connsiteY14883"/>
              </a:cxn>
              <a:cxn ang="0">
                <a:pos x="connsiteX14884" y="connsiteY14884"/>
              </a:cxn>
              <a:cxn ang="0">
                <a:pos x="connsiteX14885" y="connsiteY14885"/>
              </a:cxn>
              <a:cxn ang="0">
                <a:pos x="connsiteX14886" y="connsiteY14886"/>
              </a:cxn>
              <a:cxn ang="0">
                <a:pos x="connsiteX14887" y="connsiteY14887"/>
              </a:cxn>
              <a:cxn ang="0">
                <a:pos x="connsiteX14888" y="connsiteY14888"/>
              </a:cxn>
              <a:cxn ang="0">
                <a:pos x="connsiteX14889" y="connsiteY14889"/>
              </a:cxn>
              <a:cxn ang="0">
                <a:pos x="connsiteX14890" y="connsiteY14890"/>
              </a:cxn>
              <a:cxn ang="0">
                <a:pos x="connsiteX14891" y="connsiteY14891"/>
              </a:cxn>
              <a:cxn ang="0">
                <a:pos x="connsiteX14892" y="connsiteY14892"/>
              </a:cxn>
              <a:cxn ang="0">
                <a:pos x="connsiteX14893" y="connsiteY14893"/>
              </a:cxn>
              <a:cxn ang="0">
                <a:pos x="connsiteX14894" y="connsiteY14894"/>
              </a:cxn>
              <a:cxn ang="0">
                <a:pos x="connsiteX14895" y="connsiteY14895"/>
              </a:cxn>
              <a:cxn ang="0">
                <a:pos x="connsiteX14896" y="connsiteY14896"/>
              </a:cxn>
              <a:cxn ang="0">
                <a:pos x="connsiteX14897" y="connsiteY14897"/>
              </a:cxn>
              <a:cxn ang="0">
                <a:pos x="connsiteX14898" y="connsiteY14898"/>
              </a:cxn>
              <a:cxn ang="0">
                <a:pos x="connsiteX14899" y="connsiteY14899"/>
              </a:cxn>
              <a:cxn ang="0">
                <a:pos x="connsiteX14900" y="connsiteY14900"/>
              </a:cxn>
              <a:cxn ang="0">
                <a:pos x="connsiteX14901" y="connsiteY14901"/>
              </a:cxn>
              <a:cxn ang="0">
                <a:pos x="connsiteX14902" y="connsiteY14902"/>
              </a:cxn>
              <a:cxn ang="0">
                <a:pos x="connsiteX14903" y="connsiteY14903"/>
              </a:cxn>
              <a:cxn ang="0">
                <a:pos x="connsiteX14904" y="connsiteY14904"/>
              </a:cxn>
              <a:cxn ang="0">
                <a:pos x="connsiteX14905" y="connsiteY14905"/>
              </a:cxn>
              <a:cxn ang="0">
                <a:pos x="connsiteX14906" y="connsiteY14906"/>
              </a:cxn>
              <a:cxn ang="0">
                <a:pos x="connsiteX14907" y="connsiteY14907"/>
              </a:cxn>
              <a:cxn ang="0">
                <a:pos x="connsiteX14908" y="connsiteY14908"/>
              </a:cxn>
              <a:cxn ang="0">
                <a:pos x="connsiteX14909" y="connsiteY14909"/>
              </a:cxn>
              <a:cxn ang="0">
                <a:pos x="connsiteX14910" y="connsiteY14910"/>
              </a:cxn>
              <a:cxn ang="0">
                <a:pos x="connsiteX14911" y="connsiteY14911"/>
              </a:cxn>
              <a:cxn ang="0">
                <a:pos x="connsiteX14912" y="connsiteY14912"/>
              </a:cxn>
              <a:cxn ang="0">
                <a:pos x="connsiteX14913" y="connsiteY14913"/>
              </a:cxn>
              <a:cxn ang="0">
                <a:pos x="connsiteX14914" y="connsiteY14914"/>
              </a:cxn>
              <a:cxn ang="0">
                <a:pos x="connsiteX14915" y="connsiteY14915"/>
              </a:cxn>
              <a:cxn ang="0">
                <a:pos x="connsiteX14916" y="connsiteY14916"/>
              </a:cxn>
              <a:cxn ang="0">
                <a:pos x="connsiteX14917" y="connsiteY14917"/>
              </a:cxn>
              <a:cxn ang="0">
                <a:pos x="connsiteX14918" y="connsiteY14918"/>
              </a:cxn>
              <a:cxn ang="0">
                <a:pos x="connsiteX14919" y="connsiteY14919"/>
              </a:cxn>
              <a:cxn ang="0">
                <a:pos x="connsiteX14920" y="connsiteY14920"/>
              </a:cxn>
              <a:cxn ang="0">
                <a:pos x="connsiteX14921" y="connsiteY14921"/>
              </a:cxn>
              <a:cxn ang="0">
                <a:pos x="connsiteX14922" y="connsiteY14922"/>
              </a:cxn>
              <a:cxn ang="0">
                <a:pos x="connsiteX14923" y="connsiteY14923"/>
              </a:cxn>
              <a:cxn ang="0">
                <a:pos x="connsiteX14924" y="connsiteY14924"/>
              </a:cxn>
              <a:cxn ang="0">
                <a:pos x="connsiteX14925" y="connsiteY14925"/>
              </a:cxn>
              <a:cxn ang="0">
                <a:pos x="connsiteX14926" y="connsiteY14926"/>
              </a:cxn>
              <a:cxn ang="0">
                <a:pos x="connsiteX14927" y="connsiteY14927"/>
              </a:cxn>
              <a:cxn ang="0">
                <a:pos x="connsiteX14928" y="connsiteY14928"/>
              </a:cxn>
              <a:cxn ang="0">
                <a:pos x="connsiteX14929" y="connsiteY14929"/>
              </a:cxn>
              <a:cxn ang="0">
                <a:pos x="connsiteX14930" y="connsiteY14930"/>
              </a:cxn>
              <a:cxn ang="0">
                <a:pos x="connsiteX14931" y="connsiteY14931"/>
              </a:cxn>
              <a:cxn ang="0">
                <a:pos x="connsiteX14932" y="connsiteY14932"/>
              </a:cxn>
              <a:cxn ang="0">
                <a:pos x="connsiteX14933" y="connsiteY14933"/>
              </a:cxn>
              <a:cxn ang="0">
                <a:pos x="connsiteX14934" y="connsiteY14934"/>
              </a:cxn>
              <a:cxn ang="0">
                <a:pos x="connsiteX14935" y="connsiteY14935"/>
              </a:cxn>
              <a:cxn ang="0">
                <a:pos x="connsiteX14936" y="connsiteY14936"/>
              </a:cxn>
              <a:cxn ang="0">
                <a:pos x="connsiteX14937" y="connsiteY14937"/>
              </a:cxn>
              <a:cxn ang="0">
                <a:pos x="connsiteX14938" y="connsiteY14938"/>
              </a:cxn>
              <a:cxn ang="0">
                <a:pos x="connsiteX14939" y="connsiteY14939"/>
              </a:cxn>
              <a:cxn ang="0">
                <a:pos x="connsiteX14940" y="connsiteY14940"/>
              </a:cxn>
              <a:cxn ang="0">
                <a:pos x="connsiteX14941" y="connsiteY14941"/>
              </a:cxn>
              <a:cxn ang="0">
                <a:pos x="connsiteX14942" y="connsiteY14942"/>
              </a:cxn>
              <a:cxn ang="0">
                <a:pos x="connsiteX14943" y="connsiteY14943"/>
              </a:cxn>
              <a:cxn ang="0">
                <a:pos x="connsiteX14944" y="connsiteY14944"/>
              </a:cxn>
              <a:cxn ang="0">
                <a:pos x="connsiteX14945" y="connsiteY14945"/>
              </a:cxn>
              <a:cxn ang="0">
                <a:pos x="connsiteX14946" y="connsiteY14946"/>
              </a:cxn>
              <a:cxn ang="0">
                <a:pos x="connsiteX14947" y="connsiteY14947"/>
              </a:cxn>
              <a:cxn ang="0">
                <a:pos x="connsiteX14948" y="connsiteY14948"/>
              </a:cxn>
              <a:cxn ang="0">
                <a:pos x="connsiteX14949" y="connsiteY14949"/>
              </a:cxn>
              <a:cxn ang="0">
                <a:pos x="connsiteX14950" y="connsiteY14950"/>
              </a:cxn>
              <a:cxn ang="0">
                <a:pos x="connsiteX14951" y="connsiteY14951"/>
              </a:cxn>
              <a:cxn ang="0">
                <a:pos x="connsiteX14952" y="connsiteY14952"/>
              </a:cxn>
              <a:cxn ang="0">
                <a:pos x="connsiteX14953" y="connsiteY14953"/>
              </a:cxn>
              <a:cxn ang="0">
                <a:pos x="connsiteX14954" y="connsiteY14954"/>
              </a:cxn>
              <a:cxn ang="0">
                <a:pos x="connsiteX14955" y="connsiteY14955"/>
              </a:cxn>
              <a:cxn ang="0">
                <a:pos x="connsiteX14956" y="connsiteY14956"/>
              </a:cxn>
              <a:cxn ang="0">
                <a:pos x="connsiteX14957" y="connsiteY14957"/>
              </a:cxn>
              <a:cxn ang="0">
                <a:pos x="connsiteX14958" y="connsiteY14958"/>
              </a:cxn>
              <a:cxn ang="0">
                <a:pos x="connsiteX14959" y="connsiteY14959"/>
              </a:cxn>
              <a:cxn ang="0">
                <a:pos x="connsiteX14960" y="connsiteY14960"/>
              </a:cxn>
              <a:cxn ang="0">
                <a:pos x="connsiteX14961" y="connsiteY14961"/>
              </a:cxn>
              <a:cxn ang="0">
                <a:pos x="connsiteX14962" y="connsiteY14962"/>
              </a:cxn>
              <a:cxn ang="0">
                <a:pos x="connsiteX14963" y="connsiteY14963"/>
              </a:cxn>
              <a:cxn ang="0">
                <a:pos x="connsiteX14964" y="connsiteY14964"/>
              </a:cxn>
              <a:cxn ang="0">
                <a:pos x="connsiteX14965" y="connsiteY14965"/>
              </a:cxn>
              <a:cxn ang="0">
                <a:pos x="connsiteX14966" y="connsiteY14966"/>
              </a:cxn>
              <a:cxn ang="0">
                <a:pos x="connsiteX14967" y="connsiteY14967"/>
              </a:cxn>
              <a:cxn ang="0">
                <a:pos x="connsiteX14968" y="connsiteY14968"/>
              </a:cxn>
              <a:cxn ang="0">
                <a:pos x="connsiteX14969" y="connsiteY14969"/>
              </a:cxn>
              <a:cxn ang="0">
                <a:pos x="connsiteX14970" y="connsiteY14970"/>
              </a:cxn>
              <a:cxn ang="0">
                <a:pos x="connsiteX14971" y="connsiteY14971"/>
              </a:cxn>
              <a:cxn ang="0">
                <a:pos x="connsiteX14972" y="connsiteY14972"/>
              </a:cxn>
              <a:cxn ang="0">
                <a:pos x="connsiteX14973" y="connsiteY14973"/>
              </a:cxn>
              <a:cxn ang="0">
                <a:pos x="connsiteX14974" y="connsiteY14974"/>
              </a:cxn>
              <a:cxn ang="0">
                <a:pos x="connsiteX14975" y="connsiteY14975"/>
              </a:cxn>
              <a:cxn ang="0">
                <a:pos x="connsiteX14976" y="connsiteY14976"/>
              </a:cxn>
              <a:cxn ang="0">
                <a:pos x="connsiteX14977" y="connsiteY14977"/>
              </a:cxn>
              <a:cxn ang="0">
                <a:pos x="connsiteX14978" y="connsiteY14978"/>
              </a:cxn>
              <a:cxn ang="0">
                <a:pos x="connsiteX14979" y="connsiteY14979"/>
              </a:cxn>
              <a:cxn ang="0">
                <a:pos x="connsiteX14980" y="connsiteY14980"/>
              </a:cxn>
              <a:cxn ang="0">
                <a:pos x="connsiteX14981" y="connsiteY14981"/>
              </a:cxn>
              <a:cxn ang="0">
                <a:pos x="connsiteX14982" y="connsiteY14982"/>
              </a:cxn>
              <a:cxn ang="0">
                <a:pos x="connsiteX14983" y="connsiteY14983"/>
              </a:cxn>
              <a:cxn ang="0">
                <a:pos x="connsiteX14984" y="connsiteY14984"/>
              </a:cxn>
              <a:cxn ang="0">
                <a:pos x="connsiteX14985" y="connsiteY14985"/>
              </a:cxn>
              <a:cxn ang="0">
                <a:pos x="connsiteX14986" y="connsiteY14986"/>
              </a:cxn>
              <a:cxn ang="0">
                <a:pos x="connsiteX14987" y="connsiteY14987"/>
              </a:cxn>
              <a:cxn ang="0">
                <a:pos x="connsiteX14988" y="connsiteY14988"/>
              </a:cxn>
              <a:cxn ang="0">
                <a:pos x="connsiteX14989" y="connsiteY14989"/>
              </a:cxn>
              <a:cxn ang="0">
                <a:pos x="connsiteX14990" y="connsiteY14990"/>
              </a:cxn>
              <a:cxn ang="0">
                <a:pos x="connsiteX14991" y="connsiteY14991"/>
              </a:cxn>
              <a:cxn ang="0">
                <a:pos x="connsiteX14992" y="connsiteY14992"/>
              </a:cxn>
              <a:cxn ang="0">
                <a:pos x="connsiteX14993" y="connsiteY14993"/>
              </a:cxn>
              <a:cxn ang="0">
                <a:pos x="connsiteX14994" y="connsiteY14994"/>
              </a:cxn>
              <a:cxn ang="0">
                <a:pos x="connsiteX14995" y="connsiteY14995"/>
              </a:cxn>
              <a:cxn ang="0">
                <a:pos x="connsiteX14996" y="connsiteY14996"/>
              </a:cxn>
              <a:cxn ang="0">
                <a:pos x="connsiteX14997" y="connsiteY14997"/>
              </a:cxn>
              <a:cxn ang="0">
                <a:pos x="connsiteX14998" y="connsiteY14998"/>
              </a:cxn>
              <a:cxn ang="0">
                <a:pos x="connsiteX14999" y="connsiteY14999"/>
              </a:cxn>
              <a:cxn ang="0">
                <a:pos x="connsiteX15000" y="connsiteY15000"/>
              </a:cxn>
              <a:cxn ang="0">
                <a:pos x="connsiteX15001" y="connsiteY15001"/>
              </a:cxn>
              <a:cxn ang="0">
                <a:pos x="connsiteX15002" y="connsiteY15002"/>
              </a:cxn>
              <a:cxn ang="0">
                <a:pos x="connsiteX15003" y="connsiteY15003"/>
              </a:cxn>
              <a:cxn ang="0">
                <a:pos x="connsiteX15004" y="connsiteY15004"/>
              </a:cxn>
              <a:cxn ang="0">
                <a:pos x="connsiteX15005" y="connsiteY15005"/>
              </a:cxn>
              <a:cxn ang="0">
                <a:pos x="connsiteX15006" y="connsiteY15006"/>
              </a:cxn>
              <a:cxn ang="0">
                <a:pos x="connsiteX15007" y="connsiteY15007"/>
              </a:cxn>
              <a:cxn ang="0">
                <a:pos x="connsiteX15008" y="connsiteY15008"/>
              </a:cxn>
              <a:cxn ang="0">
                <a:pos x="connsiteX15009" y="connsiteY15009"/>
              </a:cxn>
              <a:cxn ang="0">
                <a:pos x="connsiteX15010" y="connsiteY15010"/>
              </a:cxn>
              <a:cxn ang="0">
                <a:pos x="connsiteX15011" y="connsiteY15011"/>
              </a:cxn>
              <a:cxn ang="0">
                <a:pos x="connsiteX15012" y="connsiteY15012"/>
              </a:cxn>
              <a:cxn ang="0">
                <a:pos x="connsiteX15013" y="connsiteY15013"/>
              </a:cxn>
              <a:cxn ang="0">
                <a:pos x="connsiteX15014" y="connsiteY15014"/>
              </a:cxn>
              <a:cxn ang="0">
                <a:pos x="connsiteX15015" y="connsiteY15015"/>
              </a:cxn>
              <a:cxn ang="0">
                <a:pos x="connsiteX15016" y="connsiteY15016"/>
              </a:cxn>
              <a:cxn ang="0">
                <a:pos x="connsiteX15017" y="connsiteY15017"/>
              </a:cxn>
              <a:cxn ang="0">
                <a:pos x="connsiteX15018" y="connsiteY15018"/>
              </a:cxn>
              <a:cxn ang="0">
                <a:pos x="connsiteX15019" y="connsiteY15019"/>
              </a:cxn>
              <a:cxn ang="0">
                <a:pos x="connsiteX15020" y="connsiteY15020"/>
              </a:cxn>
              <a:cxn ang="0">
                <a:pos x="connsiteX15021" y="connsiteY15021"/>
              </a:cxn>
              <a:cxn ang="0">
                <a:pos x="connsiteX15022" y="connsiteY15022"/>
              </a:cxn>
              <a:cxn ang="0">
                <a:pos x="connsiteX15023" y="connsiteY15023"/>
              </a:cxn>
              <a:cxn ang="0">
                <a:pos x="connsiteX15024" y="connsiteY15024"/>
              </a:cxn>
              <a:cxn ang="0">
                <a:pos x="connsiteX15025" y="connsiteY15025"/>
              </a:cxn>
              <a:cxn ang="0">
                <a:pos x="connsiteX15026" y="connsiteY15026"/>
              </a:cxn>
              <a:cxn ang="0">
                <a:pos x="connsiteX15027" y="connsiteY15027"/>
              </a:cxn>
              <a:cxn ang="0">
                <a:pos x="connsiteX15028" y="connsiteY15028"/>
              </a:cxn>
              <a:cxn ang="0">
                <a:pos x="connsiteX15029" y="connsiteY15029"/>
              </a:cxn>
              <a:cxn ang="0">
                <a:pos x="connsiteX15030" y="connsiteY15030"/>
              </a:cxn>
              <a:cxn ang="0">
                <a:pos x="connsiteX15031" y="connsiteY15031"/>
              </a:cxn>
              <a:cxn ang="0">
                <a:pos x="connsiteX15032" y="connsiteY15032"/>
              </a:cxn>
              <a:cxn ang="0">
                <a:pos x="connsiteX15033" y="connsiteY15033"/>
              </a:cxn>
              <a:cxn ang="0">
                <a:pos x="connsiteX15034" y="connsiteY15034"/>
              </a:cxn>
              <a:cxn ang="0">
                <a:pos x="connsiteX15035" y="connsiteY15035"/>
              </a:cxn>
              <a:cxn ang="0">
                <a:pos x="connsiteX15036" y="connsiteY15036"/>
              </a:cxn>
              <a:cxn ang="0">
                <a:pos x="connsiteX15037" y="connsiteY15037"/>
              </a:cxn>
              <a:cxn ang="0">
                <a:pos x="connsiteX15038" y="connsiteY15038"/>
              </a:cxn>
              <a:cxn ang="0">
                <a:pos x="connsiteX15039" y="connsiteY15039"/>
              </a:cxn>
              <a:cxn ang="0">
                <a:pos x="connsiteX15040" y="connsiteY15040"/>
              </a:cxn>
              <a:cxn ang="0">
                <a:pos x="connsiteX15041" y="connsiteY15041"/>
              </a:cxn>
              <a:cxn ang="0">
                <a:pos x="connsiteX15042" y="connsiteY15042"/>
              </a:cxn>
              <a:cxn ang="0">
                <a:pos x="connsiteX15043" y="connsiteY15043"/>
              </a:cxn>
              <a:cxn ang="0">
                <a:pos x="connsiteX15044" y="connsiteY15044"/>
              </a:cxn>
              <a:cxn ang="0">
                <a:pos x="connsiteX15045" y="connsiteY15045"/>
              </a:cxn>
              <a:cxn ang="0">
                <a:pos x="connsiteX15046" y="connsiteY15046"/>
              </a:cxn>
              <a:cxn ang="0">
                <a:pos x="connsiteX15047" y="connsiteY15047"/>
              </a:cxn>
              <a:cxn ang="0">
                <a:pos x="connsiteX15048" y="connsiteY15048"/>
              </a:cxn>
              <a:cxn ang="0">
                <a:pos x="connsiteX15049" y="connsiteY15049"/>
              </a:cxn>
              <a:cxn ang="0">
                <a:pos x="connsiteX15050" y="connsiteY15050"/>
              </a:cxn>
              <a:cxn ang="0">
                <a:pos x="connsiteX15051" y="connsiteY15051"/>
              </a:cxn>
              <a:cxn ang="0">
                <a:pos x="connsiteX15052" y="connsiteY15052"/>
              </a:cxn>
              <a:cxn ang="0">
                <a:pos x="connsiteX15053" y="connsiteY15053"/>
              </a:cxn>
              <a:cxn ang="0">
                <a:pos x="connsiteX15054" y="connsiteY15054"/>
              </a:cxn>
              <a:cxn ang="0">
                <a:pos x="connsiteX15055" y="connsiteY15055"/>
              </a:cxn>
              <a:cxn ang="0">
                <a:pos x="connsiteX15056" y="connsiteY15056"/>
              </a:cxn>
              <a:cxn ang="0">
                <a:pos x="connsiteX15057" y="connsiteY15057"/>
              </a:cxn>
              <a:cxn ang="0">
                <a:pos x="connsiteX15058" y="connsiteY15058"/>
              </a:cxn>
              <a:cxn ang="0">
                <a:pos x="connsiteX15059" y="connsiteY15059"/>
              </a:cxn>
              <a:cxn ang="0">
                <a:pos x="connsiteX15060" y="connsiteY15060"/>
              </a:cxn>
              <a:cxn ang="0">
                <a:pos x="connsiteX15061" y="connsiteY15061"/>
              </a:cxn>
              <a:cxn ang="0">
                <a:pos x="connsiteX15062" y="connsiteY15062"/>
              </a:cxn>
              <a:cxn ang="0">
                <a:pos x="connsiteX15063" y="connsiteY15063"/>
              </a:cxn>
              <a:cxn ang="0">
                <a:pos x="connsiteX15064" y="connsiteY15064"/>
              </a:cxn>
              <a:cxn ang="0">
                <a:pos x="connsiteX15065" y="connsiteY15065"/>
              </a:cxn>
              <a:cxn ang="0">
                <a:pos x="connsiteX15066" y="connsiteY15066"/>
              </a:cxn>
              <a:cxn ang="0">
                <a:pos x="connsiteX15067" y="connsiteY15067"/>
              </a:cxn>
              <a:cxn ang="0">
                <a:pos x="connsiteX15068" y="connsiteY15068"/>
              </a:cxn>
              <a:cxn ang="0">
                <a:pos x="connsiteX15069" y="connsiteY15069"/>
              </a:cxn>
              <a:cxn ang="0">
                <a:pos x="connsiteX15070" y="connsiteY15070"/>
              </a:cxn>
              <a:cxn ang="0">
                <a:pos x="connsiteX15071" y="connsiteY15071"/>
              </a:cxn>
              <a:cxn ang="0">
                <a:pos x="connsiteX15072" y="connsiteY15072"/>
              </a:cxn>
              <a:cxn ang="0">
                <a:pos x="connsiteX15073" y="connsiteY15073"/>
              </a:cxn>
              <a:cxn ang="0">
                <a:pos x="connsiteX15074" y="connsiteY15074"/>
              </a:cxn>
              <a:cxn ang="0">
                <a:pos x="connsiteX15075" y="connsiteY15075"/>
              </a:cxn>
              <a:cxn ang="0">
                <a:pos x="connsiteX15076" y="connsiteY15076"/>
              </a:cxn>
              <a:cxn ang="0">
                <a:pos x="connsiteX15077" y="connsiteY15077"/>
              </a:cxn>
              <a:cxn ang="0">
                <a:pos x="connsiteX15078" y="connsiteY15078"/>
              </a:cxn>
              <a:cxn ang="0">
                <a:pos x="connsiteX15079" y="connsiteY15079"/>
              </a:cxn>
              <a:cxn ang="0">
                <a:pos x="connsiteX15080" y="connsiteY15080"/>
              </a:cxn>
              <a:cxn ang="0">
                <a:pos x="connsiteX15081" y="connsiteY15081"/>
              </a:cxn>
              <a:cxn ang="0">
                <a:pos x="connsiteX15082" y="connsiteY15082"/>
              </a:cxn>
              <a:cxn ang="0">
                <a:pos x="connsiteX15083" y="connsiteY15083"/>
              </a:cxn>
              <a:cxn ang="0">
                <a:pos x="connsiteX15084" y="connsiteY15084"/>
              </a:cxn>
              <a:cxn ang="0">
                <a:pos x="connsiteX15085" y="connsiteY15085"/>
              </a:cxn>
              <a:cxn ang="0">
                <a:pos x="connsiteX15086" y="connsiteY15086"/>
              </a:cxn>
              <a:cxn ang="0">
                <a:pos x="connsiteX15087" y="connsiteY15087"/>
              </a:cxn>
              <a:cxn ang="0">
                <a:pos x="connsiteX15088" y="connsiteY15088"/>
              </a:cxn>
              <a:cxn ang="0">
                <a:pos x="connsiteX15089" y="connsiteY15089"/>
              </a:cxn>
              <a:cxn ang="0">
                <a:pos x="connsiteX15090" y="connsiteY15090"/>
              </a:cxn>
              <a:cxn ang="0">
                <a:pos x="connsiteX15091" y="connsiteY15091"/>
              </a:cxn>
              <a:cxn ang="0">
                <a:pos x="connsiteX15092" y="connsiteY15092"/>
              </a:cxn>
              <a:cxn ang="0">
                <a:pos x="connsiteX15093" y="connsiteY15093"/>
              </a:cxn>
              <a:cxn ang="0">
                <a:pos x="connsiteX15094" y="connsiteY15094"/>
              </a:cxn>
              <a:cxn ang="0">
                <a:pos x="connsiteX15095" y="connsiteY15095"/>
              </a:cxn>
              <a:cxn ang="0">
                <a:pos x="connsiteX15096" y="connsiteY15096"/>
              </a:cxn>
              <a:cxn ang="0">
                <a:pos x="connsiteX15097" y="connsiteY15097"/>
              </a:cxn>
              <a:cxn ang="0">
                <a:pos x="connsiteX15098" y="connsiteY15098"/>
              </a:cxn>
              <a:cxn ang="0">
                <a:pos x="connsiteX15099" y="connsiteY15099"/>
              </a:cxn>
              <a:cxn ang="0">
                <a:pos x="connsiteX15100" y="connsiteY15100"/>
              </a:cxn>
              <a:cxn ang="0">
                <a:pos x="connsiteX15101" y="connsiteY15101"/>
              </a:cxn>
              <a:cxn ang="0">
                <a:pos x="connsiteX15102" y="connsiteY15102"/>
              </a:cxn>
              <a:cxn ang="0">
                <a:pos x="connsiteX15103" y="connsiteY15103"/>
              </a:cxn>
              <a:cxn ang="0">
                <a:pos x="connsiteX15104" y="connsiteY15104"/>
              </a:cxn>
              <a:cxn ang="0">
                <a:pos x="connsiteX15105" y="connsiteY15105"/>
              </a:cxn>
              <a:cxn ang="0">
                <a:pos x="connsiteX15106" y="connsiteY15106"/>
              </a:cxn>
              <a:cxn ang="0">
                <a:pos x="connsiteX15107" y="connsiteY15107"/>
              </a:cxn>
              <a:cxn ang="0">
                <a:pos x="connsiteX15108" y="connsiteY15108"/>
              </a:cxn>
              <a:cxn ang="0">
                <a:pos x="connsiteX15109" y="connsiteY15109"/>
              </a:cxn>
              <a:cxn ang="0">
                <a:pos x="connsiteX15110" y="connsiteY15110"/>
              </a:cxn>
              <a:cxn ang="0">
                <a:pos x="connsiteX15111" y="connsiteY15111"/>
              </a:cxn>
              <a:cxn ang="0">
                <a:pos x="connsiteX15112" y="connsiteY15112"/>
              </a:cxn>
              <a:cxn ang="0">
                <a:pos x="connsiteX15113" y="connsiteY15113"/>
              </a:cxn>
              <a:cxn ang="0">
                <a:pos x="connsiteX15114" y="connsiteY15114"/>
              </a:cxn>
              <a:cxn ang="0">
                <a:pos x="connsiteX15115" y="connsiteY15115"/>
              </a:cxn>
              <a:cxn ang="0">
                <a:pos x="connsiteX15116" y="connsiteY15116"/>
              </a:cxn>
              <a:cxn ang="0">
                <a:pos x="connsiteX15117" y="connsiteY15117"/>
              </a:cxn>
              <a:cxn ang="0">
                <a:pos x="connsiteX15118" y="connsiteY15118"/>
              </a:cxn>
              <a:cxn ang="0">
                <a:pos x="connsiteX15119" y="connsiteY15119"/>
              </a:cxn>
              <a:cxn ang="0">
                <a:pos x="connsiteX15120" y="connsiteY15120"/>
              </a:cxn>
              <a:cxn ang="0">
                <a:pos x="connsiteX15121" y="connsiteY15121"/>
              </a:cxn>
              <a:cxn ang="0">
                <a:pos x="connsiteX15122" y="connsiteY15122"/>
              </a:cxn>
              <a:cxn ang="0">
                <a:pos x="connsiteX15123" y="connsiteY15123"/>
              </a:cxn>
              <a:cxn ang="0">
                <a:pos x="connsiteX15124" y="connsiteY15124"/>
              </a:cxn>
              <a:cxn ang="0">
                <a:pos x="connsiteX15125" y="connsiteY15125"/>
              </a:cxn>
              <a:cxn ang="0">
                <a:pos x="connsiteX15126" y="connsiteY15126"/>
              </a:cxn>
              <a:cxn ang="0">
                <a:pos x="connsiteX15127" y="connsiteY15127"/>
              </a:cxn>
              <a:cxn ang="0">
                <a:pos x="connsiteX15128" y="connsiteY15128"/>
              </a:cxn>
              <a:cxn ang="0">
                <a:pos x="connsiteX15129" y="connsiteY15129"/>
              </a:cxn>
              <a:cxn ang="0">
                <a:pos x="connsiteX15130" y="connsiteY15130"/>
              </a:cxn>
              <a:cxn ang="0">
                <a:pos x="connsiteX15131" y="connsiteY15131"/>
              </a:cxn>
              <a:cxn ang="0">
                <a:pos x="connsiteX15132" y="connsiteY15132"/>
              </a:cxn>
              <a:cxn ang="0">
                <a:pos x="connsiteX15133" y="connsiteY15133"/>
              </a:cxn>
              <a:cxn ang="0">
                <a:pos x="connsiteX15134" y="connsiteY15134"/>
              </a:cxn>
              <a:cxn ang="0">
                <a:pos x="connsiteX15135" y="connsiteY15135"/>
              </a:cxn>
              <a:cxn ang="0">
                <a:pos x="connsiteX15136" y="connsiteY15136"/>
              </a:cxn>
              <a:cxn ang="0">
                <a:pos x="connsiteX15137" y="connsiteY15137"/>
              </a:cxn>
              <a:cxn ang="0">
                <a:pos x="connsiteX15138" y="connsiteY15138"/>
              </a:cxn>
              <a:cxn ang="0">
                <a:pos x="connsiteX15139" y="connsiteY15139"/>
              </a:cxn>
              <a:cxn ang="0">
                <a:pos x="connsiteX15140" y="connsiteY15140"/>
              </a:cxn>
              <a:cxn ang="0">
                <a:pos x="connsiteX15141" y="connsiteY15141"/>
              </a:cxn>
              <a:cxn ang="0">
                <a:pos x="connsiteX15142" y="connsiteY15142"/>
              </a:cxn>
              <a:cxn ang="0">
                <a:pos x="connsiteX15143" y="connsiteY15143"/>
              </a:cxn>
              <a:cxn ang="0">
                <a:pos x="connsiteX15144" y="connsiteY15144"/>
              </a:cxn>
              <a:cxn ang="0">
                <a:pos x="connsiteX15145" y="connsiteY15145"/>
              </a:cxn>
              <a:cxn ang="0">
                <a:pos x="connsiteX15146" y="connsiteY15146"/>
              </a:cxn>
              <a:cxn ang="0">
                <a:pos x="connsiteX15147" y="connsiteY15147"/>
              </a:cxn>
              <a:cxn ang="0">
                <a:pos x="connsiteX15148" y="connsiteY15148"/>
              </a:cxn>
              <a:cxn ang="0">
                <a:pos x="connsiteX15149" y="connsiteY15149"/>
              </a:cxn>
              <a:cxn ang="0">
                <a:pos x="connsiteX15150" y="connsiteY15150"/>
              </a:cxn>
              <a:cxn ang="0">
                <a:pos x="connsiteX15151" y="connsiteY15151"/>
              </a:cxn>
              <a:cxn ang="0">
                <a:pos x="connsiteX15152" y="connsiteY15152"/>
              </a:cxn>
              <a:cxn ang="0">
                <a:pos x="connsiteX15153" y="connsiteY15153"/>
              </a:cxn>
              <a:cxn ang="0">
                <a:pos x="connsiteX15154" y="connsiteY15154"/>
              </a:cxn>
              <a:cxn ang="0">
                <a:pos x="connsiteX15155" y="connsiteY15155"/>
              </a:cxn>
              <a:cxn ang="0">
                <a:pos x="connsiteX15156" y="connsiteY15156"/>
              </a:cxn>
              <a:cxn ang="0">
                <a:pos x="connsiteX15157" y="connsiteY15157"/>
              </a:cxn>
              <a:cxn ang="0">
                <a:pos x="connsiteX15158" y="connsiteY15158"/>
              </a:cxn>
              <a:cxn ang="0">
                <a:pos x="connsiteX15159" y="connsiteY15159"/>
              </a:cxn>
              <a:cxn ang="0">
                <a:pos x="connsiteX15160" y="connsiteY15160"/>
              </a:cxn>
              <a:cxn ang="0">
                <a:pos x="connsiteX15161" y="connsiteY15161"/>
              </a:cxn>
              <a:cxn ang="0">
                <a:pos x="connsiteX15162" y="connsiteY15162"/>
              </a:cxn>
              <a:cxn ang="0">
                <a:pos x="connsiteX15163" y="connsiteY15163"/>
              </a:cxn>
              <a:cxn ang="0">
                <a:pos x="connsiteX15164" y="connsiteY15164"/>
              </a:cxn>
              <a:cxn ang="0">
                <a:pos x="connsiteX15165" y="connsiteY15165"/>
              </a:cxn>
              <a:cxn ang="0">
                <a:pos x="connsiteX15166" y="connsiteY15166"/>
              </a:cxn>
              <a:cxn ang="0">
                <a:pos x="connsiteX15167" y="connsiteY15167"/>
              </a:cxn>
              <a:cxn ang="0">
                <a:pos x="connsiteX15168" y="connsiteY15168"/>
              </a:cxn>
              <a:cxn ang="0">
                <a:pos x="connsiteX15169" y="connsiteY15169"/>
              </a:cxn>
              <a:cxn ang="0">
                <a:pos x="connsiteX15170" y="connsiteY15170"/>
              </a:cxn>
              <a:cxn ang="0">
                <a:pos x="connsiteX15171" y="connsiteY15171"/>
              </a:cxn>
              <a:cxn ang="0">
                <a:pos x="connsiteX15172" y="connsiteY15172"/>
              </a:cxn>
              <a:cxn ang="0">
                <a:pos x="connsiteX15173" y="connsiteY15173"/>
              </a:cxn>
              <a:cxn ang="0">
                <a:pos x="connsiteX15174" y="connsiteY15174"/>
              </a:cxn>
              <a:cxn ang="0">
                <a:pos x="connsiteX15175" y="connsiteY15175"/>
              </a:cxn>
              <a:cxn ang="0">
                <a:pos x="connsiteX15176" y="connsiteY15176"/>
              </a:cxn>
              <a:cxn ang="0">
                <a:pos x="connsiteX15177" y="connsiteY15177"/>
              </a:cxn>
              <a:cxn ang="0">
                <a:pos x="connsiteX15178" y="connsiteY15178"/>
              </a:cxn>
              <a:cxn ang="0">
                <a:pos x="connsiteX15179" y="connsiteY15179"/>
              </a:cxn>
              <a:cxn ang="0">
                <a:pos x="connsiteX15180" y="connsiteY15180"/>
              </a:cxn>
              <a:cxn ang="0">
                <a:pos x="connsiteX15181" y="connsiteY15181"/>
              </a:cxn>
              <a:cxn ang="0">
                <a:pos x="connsiteX15182" y="connsiteY15182"/>
              </a:cxn>
              <a:cxn ang="0">
                <a:pos x="connsiteX15183" y="connsiteY15183"/>
              </a:cxn>
              <a:cxn ang="0">
                <a:pos x="connsiteX15184" y="connsiteY15184"/>
              </a:cxn>
              <a:cxn ang="0">
                <a:pos x="connsiteX15185" y="connsiteY15185"/>
              </a:cxn>
              <a:cxn ang="0">
                <a:pos x="connsiteX15186" y="connsiteY15186"/>
              </a:cxn>
              <a:cxn ang="0">
                <a:pos x="connsiteX15187" y="connsiteY15187"/>
              </a:cxn>
              <a:cxn ang="0">
                <a:pos x="connsiteX15188" y="connsiteY15188"/>
              </a:cxn>
              <a:cxn ang="0">
                <a:pos x="connsiteX15189" y="connsiteY15189"/>
              </a:cxn>
              <a:cxn ang="0">
                <a:pos x="connsiteX15190" y="connsiteY15190"/>
              </a:cxn>
              <a:cxn ang="0">
                <a:pos x="connsiteX15191" y="connsiteY15191"/>
              </a:cxn>
              <a:cxn ang="0">
                <a:pos x="connsiteX15192" y="connsiteY15192"/>
              </a:cxn>
              <a:cxn ang="0">
                <a:pos x="connsiteX15193" y="connsiteY15193"/>
              </a:cxn>
              <a:cxn ang="0">
                <a:pos x="connsiteX15194" y="connsiteY15194"/>
              </a:cxn>
              <a:cxn ang="0">
                <a:pos x="connsiteX15195" y="connsiteY15195"/>
              </a:cxn>
              <a:cxn ang="0">
                <a:pos x="connsiteX15196" y="connsiteY15196"/>
              </a:cxn>
              <a:cxn ang="0">
                <a:pos x="connsiteX15197" y="connsiteY15197"/>
              </a:cxn>
              <a:cxn ang="0">
                <a:pos x="connsiteX15198" y="connsiteY15198"/>
              </a:cxn>
              <a:cxn ang="0">
                <a:pos x="connsiteX15199" y="connsiteY15199"/>
              </a:cxn>
              <a:cxn ang="0">
                <a:pos x="connsiteX15200" y="connsiteY15200"/>
              </a:cxn>
              <a:cxn ang="0">
                <a:pos x="connsiteX15201" y="connsiteY15201"/>
              </a:cxn>
              <a:cxn ang="0">
                <a:pos x="connsiteX15202" y="connsiteY15202"/>
              </a:cxn>
              <a:cxn ang="0">
                <a:pos x="connsiteX15203" y="connsiteY15203"/>
              </a:cxn>
              <a:cxn ang="0">
                <a:pos x="connsiteX15204" y="connsiteY15204"/>
              </a:cxn>
              <a:cxn ang="0">
                <a:pos x="connsiteX15205" y="connsiteY15205"/>
              </a:cxn>
              <a:cxn ang="0">
                <a:pos x="connsiteX15206" y="connsiteY15206"/>
              </a:cxn>
              <a:cxn ang="0">
                <a:pos x="connsiteX15207" y="connsiteY15207"/>
              </a:cxn>
              <a:cxn ang="0">
                <a:pos x="connsiteX15208" y="connsiteY15208"/>
              </a:cxn>
              <a:cxn ang="0">
                <a:pos x="connsiteX15209" y="connsiteY15209"/>
              </a:cxn>
              <a:cxn ang="0">
                <a:pos x="connsiteX15210" y="connsiteY15210"/>
              </a:cxn>
              <a:cxn ang="0">
                <a:pos x="connsiteX15211" y="connsiteY15211"/>
              </a:cxn>
              <a:cxn ang="0">
                <a:pos x="connsiteX15212" y="connsiteY15212"/>
              </a:cxn>
              <a:cxn ang="0">
                <a:pos x="connsiteX15213" y="connsiteY15213"/>
              </a:cxn>
              <a:cxn ang="0">
                <a:pos x="connsiteX15214" y="connsiteY15214"/>
              </a:cxn>
              <a:cxn ang="0">
                <a:pos x="connsiteX15215" y="connsiteY15215"/>
              </a:cxn>
              <a:cxn ang="0">
                <a:pos x="connsiteX15216" y="connsiteY15216"/>
              </a:cxn>
              <a:cxn ang="0">
                <a:pos x="connsiteX15217" y="connsiteY15217"/>
              </a:cxn>
              <a:cxn ang="0">
                <a:pos x="connsiteX15218" y="connsiteY15218"/>
              </a:cxn>
              <a:cxn ang="0">
                <a:pos x="connsiteX15219" y="connsiteY15219"/>
              </a:cxn>
              <a:cxn ang="0">
                <a:pos x="connsiteX15220" y="connsiteY15220"/>
              </a:cxn>
              <a:cxn ang="0">
                <a:pos x="connsiteX15221" y="connsiteY15221"/>
              </a:cxn>
              <a:cxn ang="0">
                <a:pos x="connsiteX15222" y="connsiteY15222"/>
              </a:cxn>
              <a:cxn ang="0">
                <a:pos x="connsiteX15223" y="connsiteY15223"/>
              </a:cxn>
              <a:cxn ang="0">
                <a:pos x="connsiteX15224" y="connsiteY15224"/>
              </a:cxn>
              <a:cxn ang="0">
                <a:pos x="connsiteX15225" y="connsiteY15225"/>
              </a:cxn>
              <a:cxn ang="0">
                <a:pos x="connsiteX15226" y="connsiteY15226"/>
              </a:cxn>
              <a:cxn ang="0">
                <a:pos x="connsiteX15227" y="connsiteY15227"/>
              </a:cxn>
              <a:cxn ang="0">
                <a:pos x="connsiteX15228" y="connsiteY15228"/>
              </a:cxn>
              <a:cxn ang="0">
                <a:pos x="connsiteX15229" y="connsiteY15229"/>
              </a:cxn>
              <a:cxn ang="0">
                <a:pos x="connsiteX15230" y="connsiteY15230"/>
              </a:cxn>
              <a:cxn ang="0">
                <a:pos x="connsiteX15231" y="connsiteY15231"/>
              </a:cxn>
              <a:cxn ang="0">
                <a:pos x="connsiteX15232" y="connsiteY15232"/>
              </a:cxn>
              <a:cxn ang="0">
                <a:pos x="connsiteX15233" y="connsiteY15233"/>
              </a:cxn>
              <a:cxn ang="0">
                <a:pos x="connsiteX15234" y="connsiteY15234"/>
              </a:cxn>
              <a:cxn ang="0">
                <a:pos x="connsiteX15235" y="connsiteY15235"/>
              </a:cxn>
              <a:cxn ang="0">
                <a:pos x="connsiteX15236" y="connsiteY15236"/>
              </a:cxn>
              <a:cxn ang="0">
                <a:pos x="connsiteX15237" y="connsiteY15237"/>
              </a:cxn>
              <a:cxn ang="0">
                <a:pos x="connsiteX15238" y="connsiteY15238"/>
              </a:cxn>
              <a:cxn ang="0">
                <a:pos x="connsiteX15239" y="connsiteY15239"/>
              </a:cxn>
              <a:cxn ang="0">
                <a:pos x="connsiteX15240" y="connsiteY15240"/>
              </a:cxn>
              <a:cxn ang="0">
                <a:pos x="connsiteX15241" y="connsiteY15241"/>
              </a:cxn>
              <a:cxn ang="0">
                <a:pos x="connsiteX15242" y="connsiteY15242"/>
              </a:cxn>
              <a:cxn ang="0">
                <a:pos x="connsiteX15243" y="connsiteY15243"/>
              </a:cxn>
              <a:cxn ang="0">
                <a:pos x="connsiteX15244" y="connsiteY15244"/>
              </a:cxn>
              <a:cxn ang="0">
                <a:pos x="connsiteX15245" y="connsiteY15245"/>
              </a:cxn>
              <a:cxn ang="0">
                <a:pos x="connsiteX15246" y="connsiteY15246"/>
              </a:cxn>
              <a:cxn ang="0">
                <a:pos x="connsiteX15247" y="connsiteY15247"/>
              </a:cxn>
              <a:cxn ang="0">
                <a:pos x="connsiteX15248" y="connsiteY15248"/>
              </a:cxn>
              <a:cxn ang="0">
                <a:pos x="connsiteX15249" y="connsiteY15249"/>
              </a:cxn>
              <a:cxn ang="0">
                <a:pos x="connsiteX15250" y="connsiteY15250"/>
              </a:cxn>
              <a:cxn ang="0">
                <a:pos x="connsiteX15251" y="connsiteY15251"/>
              </a:cxn>
              <a:cxn ang="0">
                <a:pos x="connsiteX15252" y="connsiteY15252"/>
              </a:cxn>
              <a:cxn ang="0">
                <a:pos x="connsiteX15253" y="connsiteY15253"/>
              </a:cxn>
              <a:cxn ang="0">
                <a:pos x="connsiteX15254" y="connsiteY15254"/>
              </a:cxn>
              <a:cxn ang="0">
                <a:pos x="connsiteX15255" y="connsiteY15255"/>
              </a:cxn>
              <a:cxn ang="0">
                <a:pos x="connsiteX15256" y="connsiteY15256"/>
              </a:cxn>
              <a:cxn ang="0">
                <a:pos x="connsiteX15257" y="connsiteY15257"/>
              </a:cxn>
              <a:cxn ang="0">
                <a:pos x="connsiteX15258" y="connsiteY15258"/>
              </a:cxn>
              <a:cxn ang="0">
                <a:pos x="connsiteX15259" y="connsiteY15259"/>
              </a:cxn>
              <a:cxn ang="0">
                <a:pos x="connsiteX15260" y="connsiteY15260"/>
              </a:cxn>
              <a:cxn ang="0">
                <a:pos x="connsiteX15261" y="connsiteY15261"/>
              </a:cxn>
              <a:cxn ang="0">
                <a:pos x="connsiteX15262" y="connsiteY15262"/>
              </a:cxn>
              <a:cxn ang="0">
                <a:pos x="connsiteX15263" y="connsiteY15263"/>
              </a:cxn>
              <a:cxn ang="0">
                <a:pos x="connsiteX15264" y="connsiteY15264"/>
              </a:cxn>
              <a:cxn ang="0">
                <a:pos x="connsiteX15265" y="connsiteY15265"/>
              </a:cxn>
              <a:cxn ang="0">
                <a:pos x="connsiteX15266" y="connsiteY15266"/>
              </a:cxn>
              <a:cxn ang="0">
                <a:pos x="connsiteX15267" y="connsiteY15267"/>
              </a:cxn>
              <a:cxn ang="0">
                <a:pos x="connsiteX15268" y="connsiteY15268"/>
              </a:cxn>
              <a:cxn ang="0">
                <a:pos x="connsiteX15269" y="connsiteY15269"/>
              </a:cxn>
              <a:cxn ang="0">
                <a:pos x="connsiteX15270" y="connsiteY15270"/>
              </a:cxn>
              <a:cxn ang="0">
                <a:pos x="connsiteX15271" y="connsiteY15271"/>
              </a:cxn>
              <a:cxn ang="0">
                <a:pos x="connsiteX15272" y="connsiteY15272"/>
              </a:cxn>
              <a:cxn ang="0">
                <a:pos x="connsiteX15273" y="connsiteY15273"/>
              </a:cxn>
              <a:cxn ang="0">
                <a:pos x="connsiteX15274" y="connsiteY15274"/>
              </a:cxn>
              <a:cxn ang="0">
                <a:pos x="connsiteX15275" y="connsiteY15275"/>
              </a:cxn>
              <a:cxn ang="0">
                <a:pos x="connsiteX15276" y="connsiteY15276"/>
              </a:cxn>
              <a:cxn ang="0">
                <a:pos x="connsiteX15277" y="connsiteY15277"/>
              </a:cxn>
              <a:cxn ang="0">
                <a:pos x="connsiteX15278" y="connsiteY15278"/>
              </a:cxn>
              <a:cxn ang="0">
                <a:pos x="connsiteX15279" y="connsiteY15279"/>
              </a:cxn>
              <a:cxn ang="0">
                <a:pos x="connsiteX15280" y="connsiteY15280"/>
              </a:cxn>
              <a:cxn ang="0">
                <a:pos x="connsiteX15281" y="connsiteY15281"/>
              </a:cxn>
              <a:cxn ang="0">
                <a:pos x="connsiteX15282" y="connsiteY15282"/>
              </a:cxn>
              <a:cxn ang="0">
                <a:pos x="connsiteX15283" y="connsiteY15283"/>
              </a:cxn>
              <a:cxn ang="0">
                <a:pos x="connsiteX15284" y="connsiteY15284"/>
              </a:cxn>
              <a:cxn ang="0">
                <a:pos x="connsiteX15285" y="connsiteY15285"/>
              </a:cxn>
              <a:cxn ang="0">
                <a:pos x="connsiteX15286" y="connsiteY15286"/>
              </a:cxn>
              <a:cxn ang="0">
                <a:pos x="connsiteX15287" y="connsiteY15287"/>
              </a:cxn>
              <a:cxn ang="0">
                <a:pos x="connsiteX15288" y="connsiteY15288"/>
              </a:cxn>
              <a:cxn ang="0">
                <a:pos x="connsiteX15289" y="connsiteY15289"/>
              </a:cxn>
              <a:cxn ang="0">
                <a:pos x="connsiteX15290" y="connsiteY15290"/>
              </a:cxn>
              <a:cxn ang="0">
                <a:pos x="connsiteX15291" y="connsiteY15291"/>
              </a:cxn>
              <a:cxn ang="0">
                <a:pos x="connsiteX15292" y="connsiteY15292"/>
              </a:cxn>
              <a:cxn ang="0">
                <a:pos x="connsiteX15293" y="connsiteY15293"/>
              </a:cxn>
              <a:cxn ang="0">
                <a:pos x="connsiteX15294" y="connsiteY15294"/>
              </a:cxn>
              <a:cxn ang="0">
                <a:pos x="connsiteX15295" y="connsiteY15295"/>
              </a:cxn>
              <a:cxn ang="0">
                <a:pos x="connsiteX15296" y="connsiteY15296"/>
              </a:cxn>
              <a:cxn ang="0">
                <a:pos x="connsiteX15297" y="connsiteY15297"/>
              </a:cxn>
              <a:cxn ang="0">
                <a:pos x="connsiteX15298" y="connsiteY15298"/>
              </a:cxn>
              <a:cxn ang="0">
                <a:pos x="connsiteX15299" y="connsiteY15299"/>
              </a:cxn>
              <a:cxn ang="0">
                <a:pos x="connsiteX15300" y="connsiteY15300"/>
              </a:cxn>
              <a:cxn ang="0">
                <a:pos x="connsiteX15301" y="connsiteY15301"/>
              </a:cxn>
              <a:cxn ang="0">
                <a:pos x="connsiteX15302" y="connsiteY15302"/>
              </a:cxn>
              <a:cxn ang="0">
                <a:pos x="connsiteX15303" y="connsiteY15303"/>
              </a:cxn>
              <a:cxn ang="0">
                <a:pos x="connsiteX15304" y="connsiteY15304"/>
              </a:cxn>
              <a:cxn ang="0">
                <a:pos x="connsiteX15305" y="connsiteY15305"/>
              </a:cxn>
              <a:cxn ang="0">
                <a:pos x="connsiteX15306" y="connsiteY15306"/>
              </a:cxn>
              <a:cxn ang="0">
                <a:pos x="connsiteX15307" y="connsiteY15307"/>
              </a:cxn>
              <a:cxn ang="0">
                <a:pos x="connsiteX15308" y="connsiteY15308"/>
              </a:cxn>
              <a:cxn ang="0">
                <a:pos x="connsiteX15309" y="connsiteY15309"/>
              </a:cxn>
              <a:cxn ang="0">
                <a:pos x="connsiteX15310" y="connsiteY15310"/>
              </a:cxn>
              <a:cxn ang="0">
                <a:pos x="connsiteX15311" y="connsiteY15311"/>
              </a:cxn>
              <a:cxn ang="0">
                <a:pos x="connsiteX15312" y="connsiteY15312"/>
              </a:cxn>
              <a:cxn ang="0">
                <a:pos x="connsiteX15313" y="connsiteY15313"/>
              </a:cxn>
              <a:cxn ang="0">
                <a:pos x="connsiteX15314" y="connsiteY15314"/>
              </a:cxn>
              <a:cxn ang="0">
                <a:pos x="connsiteX15315" y="connsiteY15315"/>
              </a:cxn>
              <a:cxn ang="0">
                <a:pos x="connsiteX15316" y="connsiteY15316"/>
              </a:cxn>
              <a:cxn ang="0">
                <a:pos x="connsiteX15317" y="connsiteY15317"/>
              </a:cxn>
              <a:cxn ang="0">
                <a:pos x="connsiteX15318" y="connsiteY15318"/>
              </a:cxn>
              <a:cxn ang="0">
                <a:pos x="connsiteX15319" y="connsiteY15319"/>
              </a:cxn>
              <a:cxn ang="0">
                <a:pos x="connsiteX15320" y="connsiteY15320"/>
              </a:cxn>
              <a:cxn ang="0">
                <a:pos x="connsiteX15321" y="connsiteY15321"/>
              </a:cxn>
              <a:cxn ang="0">
                <a:pos x="connsiteX15322" y="connsiteY15322"/>
              </a:cxn>
              <a:cxn ang="0">
                <a:pos x="connsiteX15323" y="connsiteY15323"/>
              </a:cxn>
              <a:cxn ang="0">
                <a:pos x="connsiteX15324" y="connsiteY15324"/>
              </a:cxn>
              <a:cxn ang="0">
                <a:pos x="connsiteX15325" y="connsiteY15325"/>
              </a:cxn>
              <a:cxn ang="0">
                <a:pos x="connsiteX15326" y="connsiteY15326"/>
              </a:cxn>
              <a:cxn ang="0">
                <a:pos x="connsiteX15327" y="connsiteY15327"/>
              </a:cxn>
              <a:cxn ang="0">
                <a:pos x="connsiteX15328" y="connsiteY15328"/>
              </a:cxn>
              <a:cxn ang="0">
                <a:pos x="connsiteX15329" y="connsiteY15329"/>
              </a:cxn>
              <a:cxn ang="0">
                <a:pos x="connsiteX15330" y="connsiteY15330"/>
              </a:cxn>
              <a:cxn ang="0">
                <a:pos x="connsiteX15331" y="connsiteY15331"/>
              </a:cxn>
              <a:cxn ang="0">
                <a:pos x="connsiteX15332" y="connsiteY15332"/>
              </a:cxn>
              <a:cxn ang="0">
                <a:pos x="connsiteX15333" y="connsiteY15333"/>
              </a:cxn>
              <a:cxn ang="0">
                <a:pos x="connsiteX15334" y="connsiteY15334"/>
              </a:cxn>
              <a:cxn ang="0">
                <a:pos x="connsiteX15335" y="connsiteY15335"/>
              </a:cxn>
              <a:cxn ang="0">
                <a:pos x="connsiteX15336" y="connsiteY15336"/>
              </a:cxn>
              <a:cxn ang="0">
                <a:pos x="connsiteX15337" y="connsiteY15337"/>
              </a:cxn>
              <a:cxn ang="0">
                <a:pos x="connsiteX15338" y="connsiteY15338"/>
              </a:cxn>
              <a:cxn ang="0">
                <a:pos x="connsiteX15339" y="connsiteY15339"/>
              </a:cxn>
              <a:cxn ang="0">
                <a:pos x="connsiteX15340" y="connsiteY15340"/>
              </a:cxn>
              <a:cxn ang="0">
                <a:pos x="connsiteX15341" y="connsiteY15341"/>
              </a:cxn>
              <a:cxn ang="0">
                <a:pos x="connsiteX15342" y="connsiteY15342"/>
              </a:cxn>
              <a:cxn ang="0">
                <a:pos x="connsiteX15343" y="connsiteY15343"/>
              </a:cxn>
              <a:cxn ang="0">
                <a:pos x="connsiteX15344" y="connsiteY15344"/>
              </a:cxn>
              <a:cxn ang="0">
                <a:pos x="connsiteX15345" y="connsiteY15345"/>
              </a:cxn>
              <a:cxn ang="0">
                <a:pos x="connsiteX15346" y="connsiteY15346"/>
              </a:cxn>
              <a:cxn ang="0">
                <a:pos x="connsiteX15347" y="connsiteY15347"/>
              </a:cxn>
              <a:cxn ang="0">
                <a:pos x="connsiteX15348" y="connsiteY15348"/>
              </a:cxn>
              <a:cxn ang="0">
                <a:pos x="connsiteX15349" y="connsiteY15349"/>
              </a:cxn>
              <a:cxn ang="0">
                <a:pos x="connsiteX15350" y="connsiteY15350"/>
              </a:cxn>
              <a:cxn ang="0">
                <a:pos x="connsiteX15351" y="connsiteY15351"/>
              </a:cxn>
              <a:cxn ang="0">
                <a:pos x="connsiteX15352" y="connsiteY15352"/>
              </a:cxn>
              <a:cxn ang="0">
                <a:pos x="connsiteX15353" y="connsiteY15353"/>
              </a:cxn>
              <a:cxn ang="0">
                <a:pos x="connsiteX15354" y="connsiteY15354"/>
              </a:cxn>
              <a:cxn ang="0">
                <a:pos x="connsiteX15355" y="connsiteY15355"/>
              </a:cxn>
              <a:cxn ang="0">
                <a:pos x="connsiteX15356" y="connsiteY15356"/>
              </a:cxn>
              <a:cxn ang="0">
                <a:pos x="connsiteX15357" y="connsiteY15357"/>
              </a:cxn>
              <a:cxn ang="0">
                <a:pos x="connsiteX15358" y="connsiteY15358"/>
              </a:cxn>
              <a:cxn ang="0">
                <a:pos x="connsiteX15359" y="connsiteY15359"/>
              </a:cxn>
              <a:cxn ang="0">
                <a:pos x="connsiteX15360" y="connsiteY15360"/>
              </a:cxn>
              <a:cxn ang="0">
                <a:pos x="connsiteX15361" y="connsiteY15361"/>
              </a:cxn>
              <a:cxn ang="0">
                <a:pos x="connsiteX15362" y="connsiteY15362"/>
              </a:cxn>
              <a:cxn ang="0">
                <a:pos x="connsiteX15363" y="connsiteY15363"/>
              </a:cxn>
              <a:cxn ang="0">
                <a:pos x="connsiteX15364" y="connsiteY15364"/>
              </a:cxn>
              <a:cxn ang="0">
                <a:pos x="connsiteX15365" y="connsiteY15365"/>
              </a:cxn>
              <a:cxn ang="0">
                <a:pos x="connsiteX15366" y="connsiteY15366"/>
              </a:cxn>
              <a:cxn ang="0">
                <a:pos x="connsiteX15367" y="connsiteY15367"/>
              </a:cxn>
              <a:cxn ang="0">
                <a:pos x="connsiteX15368" y="connsiteY15368"/>
              </a:cxn>
              <a:cxn ang="0">
                <a:pos x="connsiteX15369" y="connsiteY15369"/>
              </a:cxn>
              <a:cxn ang="0">
                <a:pos x="connsiteX15370" y="connsiteY15370"/>
              </a:cxn>
              <a:cxn ang="0">
                <a:pos x="connsiteX15371" y="connsiteY15371"/>
              </a:cxn>
              <a:cxn ang="0">
                <a:pos x="connsiteX15372" y="connsiteY15372"/>
              </a:cxn>
              <a:cxn ang="0">
                <a:pos x="connsiteX15373" y="connsiteY15373"/>
              </a:cxn>
              <a:cxn ang="0">
                <a:pos x="connsiteX15374" y="connsiteY15374"/>
              </a:cxn>
              <a:cxn ang="0">
                <a:pos x="connsiteX15375" y="connsiteY15375"/>
              </a:cxn>
              <a:cxn ang="0">
                <a:pos x="connsiteX15376" y="connsiteY15376"/>
              </a:cxn>
              <a:cxn ang="0">
                <a:pos x="connsiteX15377" y="connsiteY15377"/>
              </a:cxn>
              <a:cxn ang="0">
                <a:pos x="connsiteX15378" y="connsiteY15378"/>
              </a:cxn>
              <a:cxn ang="0">
                <a:pos x="connsiteX15379" y="connsiteY15379"/>
              </a:cxn>
              <a:cxn ang="0">
                <a:pos x="connsiteX15380" y="connsiteY15380"/>
              </a:cxn>
              <a:cxn ang="0">
                <a:pos x="connsiteX15381" y="connsiteY15381"/>
              </a:cxn>
              <a:cxn ang="0">
                <a:pos x="connsiteX15382" y="connsiteY15382"/>
              </a:cxn>
              <a:cxn ang="0">
                <a:pos x="connsiteX15383" y="connsiteY15383"/>
              </a:cxn>
              <a:cxn ang="0">
                <a:pos x="connsiteX15384" y="connsiteY15384"/>
              </a:cxn>
              <a:cxn ang="0">
                <a:pos x="connsiteX15385" y="connsiteY15385"/>
              </a:cxn>
              <a:cxn ang="0">
                <a:pos x="connsiteX15386" y="connsiteY15386"/>
              </a:cxn>
              <a:cxn ang="0">
                <a:pos x="connsiteX15387" y="connsiteY15387"/>
              </a:cxn>
              <a:cxn ang="0">
                <a:pos x="connsiteX15388" y="connsiteY15388"/>
              </a:cxn>
              <a:cxn ang="0">
                <a:pos x="connsiteX15389" y="connsiteY15389"/>
              </a:cxn>
              <a:cxn ang="0">
                <a:pos x="connsiteX15390" y="connsiteY15390"/>
              </a:cxn>
              <a:cxn ang="0">
                <a:pos x="connsiteX15391" y="connsiteY15391"/>
              </a:cxn>
              <a:cxn ang="0">
                <a:pos x="connsiteX15392" y="connsiteY15392"/>
              </a:cxn>
              <a:cxn ang="0">
                <a:pos x="connsiteX15393" y="connsiteY15393"/>
              </a:cxn>
              <a:cxn ang="0">
                <a:pos x="connsiteX15394" y="connsiteY15394"/>
              </a:cxn>
              <a:cxn ang="0">
                <a:pos x="connsiteX15395" y="connsiteY15395"/>
              </a:cxn>
              <a:cxn ang="0">
                <a:pos x="connsiteX15396" y="connsiteY15396"/>
              </a:cxn>
              <a:cxn ang="0">
                <a:pos x="connsiteX15397" y="connsiteY15397"/>
              </a:cxn>
              <a:cxn ang="0">
                <a:pos x="connsiteX15398" y="connsiteY15398"/>
              </a:cxn>
              <a:cxn ang="0">
                <a:pos x="connsiteX15399" y="connsiteY15399"/>
              </a:cxn>
              <a:cxn ang="0">
                <a:pos x="connsiteX15400" y="connsiteY15400"/>
              </a:cxn>
              <a:cxn ang="0">
                <a:pos x="connsiteX15401" y="connsiteY15401"/>
              </a:cxn>
              <a:cxn ang="0">
                <a:pos x="connsiteX15402" y="connsiteY15402"/>
              </a:cxn>
              <a:cxn ang="0">
                <a:pos x="connsiteX15403" y="connsiteY15403"/>
              </a:cxn>
              <a:cxn ang="0">
                <a:pos x="connsiteX15404" y="connsiteY15404"/>
              </a:cxn>
              <a:cxn ang="0">
                <a:pos x="connsiteX15405" y="connsiteY15405"/>
              </a:cxn>
              <a:cxn ang="0">
                <a:pos x="connsiteX15406" y="connsiteY15406"/>
              </a:cxn>
              <a:cxn ang="0">
                <a:pos x="connsiteX15407" y="connsiteY15407"/>
              </a:cxn>
              <a:cxn ang="0">
                <a:pos x="connsiteX15408" y="connsiteY15408"/>
              </a:cxn>
              <a:cxn ang="0">
                <a:pos x="connsiteX15409" y="connsiteY15409"/>
              </a:cxn>
              <a:cxn ang="0">
                <a:pos x="connsiteX15410" y="connsiteY15410"/>
              </a:cxn>
              <a:cxn ang="0">
                <a:pos x="connsiteX15411" y="connsiteY15411"/>
              </a:cxn>
              <a:cxn ang="0">
                <a:pos x="connsiteX15412" y="connsiteY15412"/>
              </a:cxn>
              <a:cxn ang="0">
                <a:pos x="connsiteX15413" y="connsiteY15413"/>
              </a:cxn>
              <a:cxn ang="0">
                <a:pos x="connsiteX15414" y="connsiteY15414"/>
              </a:cxn>
              <a:cxn ang="0">
                <a:pos x="connsiteX15415" y="connsiteY15415"/>
              </a:cxn>
              <a:cxn ang="0">
                <a:pos x="connsiteX15416" y="connsiteY15416"/>
              </a:cxn>
              <a:cxn ang="0">
                <a:pos x="connsiteX15417" y="connsiteY15417"/>
              </a:cxn>
              <a:cxn ang="0">
                <a:pos x="connsiteX15418" y="connsiteY15418"/>
              </a:cxn>
              <a:cxn ang="0">
                <a:pos x="connsiteX15419" y="connsiteY15419"/>
              </a:cxn>
              <a:cxn ang="0">
                <a:pos x="connsiteX15420" y="connsiteY15420"/>
              </a:cxn>
              <a:cxn ang="0">
                <a:pos x="connsiteX15421" y="connsiteY15421"/>
              </a:cxn>
              <a:cxn ang="0">
                <a:pos x="connsiteX15422" y="connsiteY15422"/>
              </a:cxn>
              <a:cxn ang="0">
                <a:pos x="connsiteX15423" y="connsiteY15423"/>
              </a:cxn>
              <a:cxn ang="0">
                <a:pos x="connsiteX15424" y="connsiteY15424"/>
              </a:cxn>
              <a:cxn ang="0">
                <a:pos x="connsiteX15425" y="connsiteY15425"/>
              </a:cxn>
              <a:cxn ang="0">
                <a:pos x="connsiteX15426" y="connsiteY15426"/>
              </a:cxn>
              <a:cxn ang="0">
                <a:pos x="connsiteX15427" y="connsiteY15427"/>
              </a:cxn>
              <a:cxn ang="0">
                <a:pos x="connsiteX15428" y="connsiteY15428"/>
              </a:cxn>
              <a:cxn ang="0">
                <a:pos x="connsiteX15429" y="connsiteY15429"/>
              </a:cxn>
              <a:cxn ang="0">
                <a:pos x="connsiteX15430" y="connsiteY15430"/>
              </a:cxn>
              <a:cxn ang="0">
                <a:pos x="connsiteX15431" y="connsiteY15431"/>
              </a:cxn>
              <a:cxn ang="0">
                <a:pos x="connsiteX15432" y="connsiteY15432"/>
              </a:cxn>
              <a:cxn ang="0">
                <a:pos x="connsiteX15433" y="connsiteY15433"/>
              </a:cxn>
              <a:cxn ang="0">
                <a:pos x="connsiteX15434" y="connsiteY15434"/>
              </a:cxn>
              <a:cxn ang="0">
                <a:pos x="connsiteX15435" y="connsiteY15435"/>
              </a:cxn>
              <a:cxn ang="0">
                <a:pos x="connsiteX15436" y="connsiteY15436"/>
              </a:cxn>
              <a:cxn ang="0">
                <a:pos x="connsiteX15437" y="connsiteY15437"/>
              </a:cxn>
              <a:cxn ang="0">
                <a:pos x="connsiteX15438" y="connsiteY15438"/>
              </a:cxn>
              <a:cxn ang="0">
                <a:pos x="connsiteX15439" y="connsiteY15439"/>
              </a:cxn>
              <a:cxn ang="0">
                <a:pos x="connsiteX15440" y="connsiteY15440"/>
              </a:cxn>
              <a:cxn ang="0">
                <a:pos x="connsiteX15441" y="connsiteY15441"/>
              </a:cxn>
              <a:cxn ang="0">
                <a:pos x="connsiteX15442" y="connsiteY15442"/>
              </a:cxn>
              <a:cxn ang="0">
                <a:pos x="connsiteX15443" y="connsiteY15443"/>
              </a:cxn>
              <a:cxn ang="0">
                <a:pos x="connsiteX15444" y="connsiteY15444"/>
              </a:cxn>
              <a:cxn ang="0">
                <a:pos x="connsiteX15445" y="connsiteY15445"/>
              </a:cxn>
              <a:cxn ang="0">
                <a:pos x="connsiteX15446" y="connsiteY15446"/>
              </a:cxn>
              <a:cxn ang="0">
                <a:pos x="connsiteX15447" y="connsiteY15447"/>
              </a:cxn>
              <a:cxn ang="0">
                <a:pos x="connsiteX15448" y="connsiteY15448"/>
              </a:cxn>
              <a:cxn ang="0">
                <a:pos x="connsiteX15449" y="connsiteY15449"/>
              </a:cxn>
              <a:cxn ang="0">
                <a:pos x="connsiteX15450" y="connsiteY15450"/>
              </a:cxn>
              <a:cxn ang="0">
                <a:pos x="connsiteX15451" y="connsiteY15451"/>
              </a:cxn>
              <a:cxn ang="0">
                <a:pos x="connsiteX15452" y="connsiteY15452"/>
              </a:cxn>
              <a:cxn ang="0">
                <a:pos x="connsiteX15453" y="connsiteY15453"/>
              </a:cxn>
              <a:cxn ang="0">
                <a:pos x="connsiteX15454" y="connsiteY15454"/>
              </a:cxn>
              <a:cxn ang="0">
                <a:pos x="connsiteX15455" y="connsiteY15455"/>
              </a:cxn>
              <a:cxn ang="0">
                <a:pos x="connsiteX15456" y="connsiteY15456"/>
              </a:cxn>
              <a:cxn ang="0">
                <a:pos x="connsiteX15457" y="connsiteY15457"/>
              </a:cxn>
              <a:cxn ang="0">
                <a:pos x="connsiteX15458" y="connsiteY15458"/>
              </a:cxn>
              <a:cxn ang="0">
                <a:pos x="connsiteX15459" y="connsiteY15459"/>
              </a:cxn>
              <a:cxn ang="0">
                <a:pos x="connsiteX15460" y="connsiteY15460"/>
              </a:cxn>
              <a:cxn ang="0">
                <a:pos x="connsiteX15461" y="connsiteY15461"/>
              </a:cxn>
              <a:cxn ang="0">
                <a:pos x="connsiteX15462" y="connsiteY15462"/>
              </a:cxn>
              <a:cxn ang="0">
                <a:pos x="connsiteX15463" y="connsiteY15463"/>
              </a:cxn>
              <a:cxn ang="0">
                <a:pos x="connsiteX15464" y="connsiteY15464"/>
              </a:cxn>
              <a:cxn ang="0">
                <a:pos x="connsiteX15465" y="connsiteY15465"/>
              </a:cxn>
              <a:cxn ang="0">
                <a:pos x="connsiteX15466" y="connsiteY15466"/>
              </a:cxn>
              <a:cxn ang="0">
                <a:pos x="connsiteX15467" y="connsiteY15467"/>
              </a:cxn>
              <a:cxn ang="0">
                <a:pos x="connsiteX15468" y="connsiteY15468"/>
              </a:cxn>
              <a:cxn ang="0">
                <a:pos x="connsiteX15469" y="connsiteY15469"/>
              </a:cxn>
              <a:cxn ang="0">
                <a:pos x="connsiteX15470" y="connsiteY15470"/>
              </a:cxn>
              <a:cxn ang="0">
                <a:pos x="connsiteX15471" y="connsiteY15471"/>
              </a:cxn>
              <a:cxn ang="0">
                <a:pos x="connsiteX15472" y="connsiteY15472"/>
              </a:cxn>
              <a:cxn ang="0">
                <a:pos x="connsiteX15473" y="connsiteY15473"/>
              </a:cxn>
              <a:cxn ang="0">
                <a:pos x="connsiteX15474" y="connsiteY15474"/>
              </a:cxn>
              <a:cxn ang="0">
                <a:pos x="connsiteX15475" y="connsiteY15475"/>
              </a:cxn>
              <a:cxn ang="0">
                <a:pos x="connsiteX15476" y="connsiteY15476"/>
              </a:cxn>
              <a:cxn ang="0">
                <a:pos x="connsiteX15477" y="connsiteY15477"/>
              </a:cxn>
              <a:cxn ang="0">
                <a:pos x="connsiteX15478" y="connsiteY15478"/>
              </a:cxn>
              <a:cxn ang="0">
                <a:pos x="connsiteX15479" y="connsiteY15479"/>
              </a:cxn>
              <a:cxn ang="0">
                <a:pos x="connsiteX15480" y="connsiteY15480"/>
              </a:cxn>
              <a:cxn ang="0">
                <a:pos x="connsiteX15481" y="connsiteY15481"/>
              </a:cxn>
              <a:cxn ang="0">
                <a:pos x="connsiteX15482" y="connsiteY15482"/>
              </a:cxn>
              <a:cxn ang="0">
                <a:pos x="connsiteX15483" y="connsiteY15483"/>
              </a:cxn>
            </a:cxnLst>
            <a:rect l="l" t="t" r="r" b="b"/>
            <a:pathLst>
              <a:path w="3503192" h="5818346">
                <a:moveTo>
                  <a:pt x="2873824" y="5801993"/>
                </a:moveTo>
                <a:cubicBezTo>
                  <a:pt x="2878284" y="5801993"/>
                  <a:pt x="2881917" y="5805628"/>
                  <a:pt x="2881917" y="5809922"/>
                </a:cubicBezTo>
                <a:cubicBezTo>
                  <a:pt x="2881917" y="5814217"/>
                  <a:pt x="2878284" y="5817850"/>
                  <a:pt x="2873824" y="5817850"/>
                </a:cubicBezTo>
                <a:cubicBezTo>
                  <a:pt x="2869530" y="5817850"/>
                  <a:pt x="2865895" y="5814217"/>
                  <a:pt x="2865895" y="5809922"/>
                </a:cubicBezTo>
                <a:cubicBezTo>
                  <a:pt x="2865895" y="5805628"/>
                  <a:pt x="2869363" y="5801993"/>
                  <a:pt x="2873824" y="5801993"/>
                </a:cubicBezTo>
                <a:close/>
                <a:moveTo>
                  <a:pt x="2807090" y="5801334"/>
                </a:moveTo>
                <a:cubicBezTo>
                  <a:pt x="2811219" y="5801334"/>
                  <a:pt x="2814523" y="5804638"/>
                  <a:pt x="2814523" y="5808767"/>
                </a:cubicBezTo>
                <a:cubicBezTo>
                  <a:pt x="2814523" y="5812896"/>
                  <a:pt x="2811219" y="5816199"/>
                  <a:pt x="2807090" y="5816199"/>
                </a:cubicBezTo>
                <a:cubicBezTo>
                  <a:pt x="2802961" y="5816199"/>
                  <a:pt x="2799658" y="5812896"/>
                  <a:pt x="2799658" y="5808767"/>
                </a:cubicBezTo>
                <a:cubicBezTo>
                  <a:pt x="2799658" y="5804638"/>
                  <a:pt x="2802961" y="5801334"/>
                  <a:pt x="2807090" y="5801334"/>
                </a:cubicBezTo>
                <a:close/>
                <a:moveTo>
                  <a:pt x="2940557" y="5800838"/>
                </a:moveTo>
                <a:cubicBezTo>
                  <a:pt x="2945346" y="5800838"/>
                  <a:pt x="2949311" y="5804802"/>
                  <a:pt x="2949311" y="5809592"/>
                </a:cubicBezTo>
                <a:cubicBezTo>
                  <a:pt x="2949311" y="5814382"/>
                  <a:pt x="2945346" y="5818346"/>
                  <a:pt x="2940557" y="5818346"/>
                </a:cubicBezTo>
                <a:cubicBezTo>
                  <a:pt x="2935767" y="5818346"/>
                  <a:pt x="2931802" y="5814382"/>
                  <a:pt x="2931802" y="5809592"/>
                </a:cubicBezTo>
                <a:cubicBezTo>
                  <a:pt x="2931802" y="5804802"/>
                  <a:pt x="2935767" y="5800838"/>
                  <a:pt x="2940557" y="5800838"/>
                </a:cubicBezTo>
                <a:close/>
                <a:moveTo>
                  <a:pt x="2740524" y="5800177"/>
                </a:moveTo>
                <a:cubicBezTo>
                  <a:pt x="2744156" y="5800177"/>
                  <a:pt x="2746964" y="5802985"/>
                  <a:pt x="2746964" y="5806620"/>
                </a:cubicBezTo>
                <a:cubicBezTo>
                  <a:pt x="2746964" y="5810253"/>
                  <a:pt x="2744156" y="5813060"/>
                  <a:pt x="2740524" y="5813060"/>
                </a:cubicBezTo>
                <a:cubicBezTo>
                  <a:pt x="2736888" y="5813060"/>
                  <a:pt x="2734081" y="5810253"/>
                  <a:pt x="2734081" y="5806620"/>
                </a:cubicBezTo>
                <a:cubicBezTo>
                  <a:pt x="2734081" y="5802985"/>
                  <a:pt x="2736888" y="5800177"/>
                  <a:pt x="2740524" y="5800177"/>
                </a:cubicBezTo>
                <a:close/>
                <a:moveTo>
                  <a:pt x="3007125" y="5799185"/>
                </a:moveTo>
                <a:cubicBezTo>
                  <a:pt x="3011960" y="5799185"/>
                  <a:pt x="3015881" y="5803104"/>
                  <a:pt x="3015881" y="5807939"/>
                </a:cubicBezTo>
                <a:cubicBezTo>
                  <a:pt x="3015881" y="5812776"/>
                  <a:pt x="3011960" y="5816695"/>
                  <a:pt x="3007125" y="5816695"/>
                </a:cubicBezTo>
                <a:cubicBezTo>
                  <a:pt x="3002290" y="5816695"/>
                  <a:pt x="2998371" y="5812776"/>
                  <a:pt x="2998371" y="5807939"/>
                </a:cubicBezTo>
                <a:cubicBezTo>
                  <a:pt x="2998371" y="5803104"/>
                  <a:pt x="3002290" y="5799185"/>
                  <a:pt x="3007125" y="5799185"/>
                </a:cubicBezTo>
                <a:close/>
                <a:moveTo>
                  <a:pt x="2674120" y="5798195"/>
                </a:moveTo>
                <a:cubicBezTo>
                  <a:pt x="2676927" y="5798195"/>
                  <a:pt x="2679239" y="5800507"/>
                  <a:pt x="2679239" y="5803316"/>
                </a:cubicBezTo>
                <a:cubicBezTo>
                  <a:pt x="2679239" y="5806124"/>
                  <a:pt x="2676927" y="5808435"/>
                  <a:pt x="2674120" y="5808435"/>
                </a:cubicBezTo>
                <a:cubicBezTo>
                  <a:pt x="2671310" y="5808435"/>
                  <a:pt x="2668999" y="5806124"/>
                  <a:pt x="2668999" y="5803316"/>
                </a:cubicBezTo>
                <a:cubicBezTo>
                  <a:pt x="2668999" y="5800507"/>
                  <a:pt x="2671310" y="5798195"/>
                  <a:pt x="2674120" y="5798195"/>
                </a:cubicBezTo>
                <a:close/>
                <a:moveTo>
                  <a:pt x="3073692" y="5796213"/>
                </a:moveTo>
                <a:cubicBezTo>
                  <a:pt x="3078527" y="5796213"/>
                  <a:pt x="3082448" y="5800132"/>
                  <a:pt x="3082448" y="5804967"/>
                </a:cubicBezTo>
                <a:cubicBezTo>
                  <a:pt x="3082448" y="5809804"/>
                  <a:pt x="3078527" y="5813723"/>
                  <a:pt x="3073692" y="5813723"/>
                </a:cubicBezTo>
                <a:cubicBezTo>
                  <a:pt x="3068857" y="5813723"/>
                  <a:pt x="3064938" y="5809804"/>
                  <a:pt x="3064938" y="5804967"/>
                </a:cubicBezTo>
                <a:cubicBezTo>
                  <a:pt x="3064938" y="5800132"/>
                  <a:pt x="3068857" y="5796213"/>
                  <a:pt x="3073692" y="5796213"/>
                </a:cubicBezTo>
                <a:close/>
                <a:moveTo>
                  <a:pt x="2608046" y="5794891"/>
                </a:moveTo>
                <a:cubicBezTo>
                  <a:pt x="2610054" y="5794891"/>
                  <a:pt x="2611680" y="5796518"/>
                  <a:pt x="2611680" y="5798524"/>
                </a:cubicBezTo>
                <a:cubicBezTo>
                  <a:pt x="2611680" y="5800533"/>
                  <a:pt x="2610054" y="5802159"/>
                  <a:pt x="2608046" y="5802159"/>
                </a:cubicBezTo>
                <a:cubicBezTo>
                  <a:pt x="2606039" y="5802159"/>
                  <a:pt x="2604412" y="5800533"/>
                  <a:pt x="2604412" y="5798524"/>
                </a:cubicBezTo>
                <a:cubicBezTo>
                  <a:pt x="2604412" y="5796518"/>
                  <a:pt x="2606039" y="5794891"/>
                  <a:pt x="2608046" y="5794891"/>
                </a:cubicBezTo>
                <a:close/>
                <a:moveTo>
                  <a:pt x="3139929" y="5792084"/>
                </a:moveTo>
                <a:cubicBezTo>
                  <a:pt x="3144721" y="5792084"/>
                  <a:pt x="3148684" y="5796048"/>
                  <a:pt x="3148684" y="5800838"/>
                </a:cubicBezTo>
                <a:cubicBezTo>
                  <a:pt x="3148684" y="5805628"/>
                  <a:pt x="3144721" y="5809592"/>
                  <a:pt x="3139929" y="5809592"/>
                </a:cubicBezTo>
                <a:cubicBezTo>
                  <a:pt x="3135140" y="5809592"/>
                  <a:pt x="3131175" y="5805628"/>
                  <a:pt x="3131175" y="5800838"/>
                </a:cubicBezTo>
                <a:cubicBezTo>
                  <a:pt x="3131175" y="5796048"/>
                  <a:pt x="3135140" y="5792084"/>
                  <a:pt x="3139929" y="5792084"/>
                </a:cubicBezTo>
                <a:close/>
                <a:moveTo>
                  <a:pt x="2542304" y="5790596"/>
                </a:moveTo>
                <a:cubicBezTo>
                  <a:pt x="2543398" y="5790596"/>
                  <a:pt x="2544286" y="5791484"/>
                  <a:pt x="2544286" y="5792578"/>
                </a:cubicBezTo>
                <a:cubicBezTo>
                  <a:pt x="2544286" y="5793672"/>
                  <a:pt x="2543398" y="5794560"/>
                  <a:pt x="2542304" y="5794560"/>
                </a:cubicBezTo>
                <a:cubicBezTo>
                  <a:pt x="2541210" y="5794560"/>
                  <a:pt x="2540322" y="5793672"/>
                  <a:pt x="2540322" y="5792578"/>
                </a:cubicBezTo>
                <a:cubicBezTo>
                  <a:pt x="2540322" y="5791484"/>
                  <a:pt x="2541210" y="5790596"/>
                  <a:pt x="2542304" y="5790596"/>
                </a:cubicBezTo>
                <a:close/>
                <a:moveTo>
                  <a:pt x="3205839" y="5787457"/>
                </a:moveTo>
                <a:cubicBezTo>
                  <a:pt x="3210132" y="5787457"/>
                  <a:pt x="3213768" y="5791092"/>
                  <a:pt x="3213768" y="5795386"/>
                </a:cubicBezTo>
                <a:cubicBezTo>
                  <a:pt x="3213768" y="5799681"/>
                  <a:pt x="3210299" y="5803314"/>
                  <a:pt x="3205839" y="5803314"/>
                </a:cubicBezTo>
                <a:cubicBezTo>
                  <a:pt x="3201545" y="5803314"/>
                  <a:pt x="3197910" y="5799681"/>
                  <a:pt x="3197910" y="5795386"/>
                </a:cubicBezTo>
                <a:cubicBezTo>
                  <a:pt x="3197910" y="5791092"/>
                  <a:pt x="3201545" y="5787457"/>
                  <a:pt x="3205839" y="5787457"/>
                </a:cubicBezTo>
                <a:close/>
                <a:moveTo>
                  <a:pt x="2771576" y="5787292"/>
                </a:moveTo>
                <a:cubicBezTo>
                  <a:pt x="2777522" y="5787292"/>
                  <a:pt x="2782314" y="5792082"/>
                  <a:pt x="2782314" y="5798029"/>
                </a:cubicBezTo>
                <a:cubicBezTo>
                  <a:pt x="2782314" y="5803975"/>
                  <a:pt x="2777522" y="5808765"/>
                  <a:pt x="2771576" y="5808765"/>
                </a:cubicBezTo>
                <a:cubicBezTo>
                  <a:pt x="2765629" y="5808765"/>
                  <a:pt x="2760840" y="5803975"/>
                  <a:pt x="2760840" y="5798029"/>
                </a:cubicBezTo>
                <a:cubicBezTo>
                  <a:pt x="2760840" y="5792082"/>
                  <a:pt x="2765629" y="5787292"/>
                  <a:pt x="2771576" y="5787292"/>
                </a:cubicBezTo>
                <a:close/>
                <a:moveTo>
                  <a:pt x="3043465" y="5785806"/>
                </a:moveTo>
                <a:cubicBezTo>
                  <a:pt x="3049412" y="5785806"/>
                  <a:pt x="3054202" y="5790596"/>
                  <a:pt x="3054202" y="5796542"/>
                </a:cubicBezTo>
                <a:cubicBezTo>
                  <a:pt x="3054202" y="5802489"/>
                  <a:pt x="3049412" y="5807279"/>
                  <a:pt x="3043465" y="5807279"/>
                </a:cubicBezTo>
                <a:cubicBezTo>
                  <a:pt x="3037518" y="5807279"/>
                  <a:pt x="3032729" y="5802489"/>
                  <a:pt x="3032729" y="5796542"/>
                </a:cubicBezTo>
                <a:cubicBezTo>
                  <a:pt x="3032729" y="5790596"/>
                  <a:pt x="3037518" y="5785806"/>
                  <a:pt x="3043465" y="5785806"/>
                </a:cubicBezTo>
                <a:close/>
                <a:moveTo>
                  <a:pt x="2477059" y="5784980"/>
                </a:moveTo>
                <a:cubicBezTo>
                  <a:pt x="2477388" y="5784980"/>
                  <a:pt x="2477388" y="5784980"/>
                  <a:pt x="2477388" y="5785312"/>
                </a:cubicBezTo>
                <a:cubicBezTo>
                  <a:pt x="2477388" y="5785641"/>
                  <a:pt x="2477059" y="5785641"/>
                  <a:pt x="2477059" y="5785641"/>
                </a:cubicBezTo>
                <a:cubicBezTo>
                  <a:pt x="2476728" y="5785641"/>
                  <a:pt x="2476728" y="5785641"/>
                  <a:pt x="2476728" y="5785312"/>
                </a:cubicBezTo>
                <a:cubicBezTo>
                  <a:pt x="2476728" y="5784980"/>
                  <a:pt x="2476728" y="5784980"/>
                  <a:pt x="2477059" y="5784980"/>
                </a:cubicBezTo>
                <a:close/>
                <a:moveTo>
                  <a:pt x="2703686" y="5784155"/>
                </a:moveTo>
                <a:cubicBezTo>
                  <a:pt x="2709632" y="5784155"/>
                  <a:pt x="2714424" y="5788945"/>
                  <a:pt x="2714424" y="5794891"/>
                </a:cubicBezTo>
                <a:cubicBezTo>
                  <a:pt x="2714424" y="5800838"/>
                  <a:pt x="2709632" y="5805628"/>
                  <a:pt x="2703686" y="5805628"/>
                </a:cubicBezTo>
                <a:cubicBezTo>
                  <a:pt x="2697739" y="5805628"/>
                  <a:pt x="2692950" y="5800838"/>
                  <a:pt x="2692950" y="5794891"/>
                </a:cubicBezTo>
                <a:cubicBezTo>
                  <a:pt x="2692950" y="5788945"/>
                  <a:pt x="2697739" y="5784155"/>
                  <a:pt x="2703686" y="5784155"/>
                </a:cubicBezTo>
                <a:close/>
                <a:moveTo>
                  <a:pt x="3111024" y="5782006"/>
                </a:moveTo>
                <a:cubicBezTo>
                  <a:pt x="3116970" y="5782006"/>
                  <a:pt x="3121762" y="5786796"/>
                  <a:pt x="3121762" y="5792743"/>
                </a:cubicBezTo>
                <a:cubicBezTo>
                  <a:pt x="3121762" y="5798689"/>
                  <a:pt x="3116970" y="5803479"/>
                  <a:pt x="3111024" y="5803479"/>
                </a:cubicBezTo>
                <a:cubicBezTo>
                  <a:pt x="3105077" y="5803479"/>
                  <a:pt x="3100288" y="5798689"/>
                  <a:pt x="3100288" y="5792743"/>
                </a:cubicBezTo>
                <a:cubicBezTo>
                  <a:pt x="3100288" y="5786796"/>
                  <a:pt x="3105077" y="5782006"/>
                  <a:pt x="3111024" y="5782006"/>
                </a:cubicBezTo>
                <a:close/>
                <a:moveTo>
                  <a:pt x="3271249" y="5781346"/>
                </a:moveTo>
                <a:cubicBezTo>
                  <a:pt x="3275355" y="5781346"/>
                  <a:pt x="3278683" y="5784674"/>
                  <a:pt x="3278683" y="5788778"/>
                </a:cubicBezTo>
                <a:cubicBezTo>
                  <a:pt x="3278683" y="5792885"/>
                  <a:pt x="3275354" y="5796213"/>
                  <a:pt x="3271249" y="5796213"/>
                </a:cubicBezTo>
                <a:cubicBezTo>
                  <a:pt x="3267144" y="5796213"/>
                  <a:pt x="3263816" y="5792885"/>
                  <a:pt x="3263816" y="5788778"/>
                </a:cubicBezTo>
                <a:cubicBezTo>
                  <a:pt x="3263816" y="5784674"/>
                  <a:pt x="3267144" y="5781346"/>
                  <a:pt x="3271249" y="5781346"/>
                </a:cubicBezTo>
                <a:close/>
                <a:moveTo>
                  <a:pt x="2636127" y="5779695"/>
                </a:moveTo>
                <a:cubicBezTo>
                  <a:pt x="2642074" y="5779695"/>
                  <a:pt x="2646865" y="5784485"/>
                  <a:pt x="2646865" y="5790431"/>
                </a:cubicBezTo>
                <a:cubicBezTo>
                  <a:pt x="2646865" y="5796378"/>
                  <a:pt x="2642074" y="5801167"/>
                  <a:pt x="2636127" y="5801167"/>
                </a:cubicBezTo>
                <a:cubicBezTo>
                  <a:pt x="2630180" y="5801167"/>
                  <a:pt x="2625391" y="5796378"/>
                  <a:pt x="2625391" y="5790431"/>
                </a:cubicBezTo>
                <a:cubicBezTo>
                  <a:pt x="2625391" y="5784485"/>
                  <a:pt x="2630180" y="5779695"/>
                  <a:pt x="2636127" y="5779695"/>
                </a:cubicBezTo>
                <a:close/>
                <a:moveTo>
                  <a:pt x="3178418" y="5776887"/>
                </a:moveTo>
                <a:cubicBezTo>
                  <a:pt x="3184364" y="5776887"/>
                  <a:pt x="3189156" y="5781677"/>
                  <a:pt x="3189156" y="5787623"/>
                </a:cubicBezTo>
                <a:cubicBezTo>
                  <a:pt x="3189156" y="5793570"/>
                  <a:pt x="3184364" y="5798360"/>
                  <a:pt x="3178418" y="5798360"/>
                </a:cubicBezTo>
                <a:cubicBezTo>
                  <a:pt x="3172471" y="5798360"/>
                  <a:pt x="3167682" y="5793570"/>
                  <a:pt x="3167682" y="5787623"/>
                </a:cubicBezTo>
                <a:cubicBezTo>
                  <a:pt x="3167682" y="5781677"/>
                  <a:pt x="3172471" y="5776887"/>
                  <a:pt x="3178418" y="5776887"/>
                </a:cubicBezTo>
                <a:close/>
                <a:moveTo>
                  <a:pt x="2734410" y="5776887"/>
                </a:moveTo>
                <a:cubicBezTo>
                  <a:pt x="2740357" y="5776887"/>
                  <a:pt x="2745148" y="5781677"/>
                  <a:pt x="2745148" y="5787623"/>
                </a:cubicBezTo>
                <a:cubicBezTo>
                  <a:pt x="2745148" y="5793570"/>
                  <a:pt x="2740357" y="5798360"/>
                  <a:pt x="2734410" y="5798360"/>
                </a:cubicBezTo>
                <a:cubicBezTo>
                  <a:pt x="2728464" y="5798360"/>
                  <a:pt x="2723674" y="5793570"/>
                  <a:pt x="2723674" y="5787623"/>
                </a:cubicBezTo>
                <a:cubicBezTo>
                  <a:pt x="2723674" y="5781677"/>
                  <a:pt x="2728464" y="5776887"/>
                  <a:pt x="2734410" y="5776887"/>
                </a:cubicBezTo>
                <a:close/>
                <a:moveTo>
                  <a:pt x="3081126" y="5774905"/>
                </a:moveTo>
                <a:cubicBezTo>
                  <a:pt x="3087073" y="5774905"/>
                  <a:pt x="3091863" y="5779695"/>
                  <a:pt x="3091863" y="5785641"/>
                </a:cubicBezTo>
                <a:cubicBezTo>
                  <a:pt x="3091863" y="5791588"/>
                  <a:pt x="3087073" y="5796378"/>
                  <a:pt x="3081126" y="5796378"/>
                </a:cubicBezTo>
                <a:cubicBezTo>
                  <a:pt x="3075180" y="5796378"/>
                  <a:pt x="3070390" y="5791588"/>
                  <a:pt x="3070390" y="5785641"/>
                </a:cubicBezTo>
                <a:cubicBezTo>
                  <a:pt x="3070390" y="5779695"/>
                  <a:pt x="3075180" y="5774905"/>
                  <a:pt x="3081126" y="5774905"/>
                </a:cubicBezTo>
                <a:close/>
                <a:moveTo>
                  <a:pt x="3336331" y="5774574"/>
                </a:moveTo>
                <a:cubicBezTo>
                  <a:pt x="3339964" y="5774574"/>
                  <a:pt x="3342772" y="5777381"/>
                  <a:pt x="3342772" y="5781016"/>
                </a:cubicBezTo>
                <a:cubicBezTo>
                  <a:pt x="3342772" y="5784649"/>
                  <a:pt x="3339800" y="5787457"/>
                  <a:pt x="3336331" y="5787457"/>
                </a:cubicBezTo>
                <a:cubicBezTo>
                  <a:pt x="3332696" y="5787457"/>
                  <a:pt x="3329888" y="5784649"/>
                  <a:pt x="3329888" y="5781016"/>
                </a:cubicBezTo>
                <a:cubicBezTo>
                  <a:pt x="3329888" y="5777381"/>
                  <a:pt x="3332696" y="5774574"/>
                  <a:pt x="3336331" y="5774574"/>
                </a:cubicBezTo>
                <a:close/>
                <a:moveTo>
                  <a:pt x="2569064" y="5774078"/>
                </a:moveTo>
                <a:cubicBezTo>
                  <a:pt x="2575011" y="5774078"/>
                  <a:pt x="2579801" y="5778867"/>
                  <a:pt x="2579801" y="5784814"/>
                </a:cubicBezTo>
                <a:cubicBezTo>
                  <a:pt x="2579801" y="5790761"/>
                  <a:pt x="2575011" y="5795552"/>
                  <a:pt x="2569064" y="5795552"/>
                </a:cubicBezTo>
                <a:cubicBezTo>
                  <a:pt x="2563118" y="5795552"/>
                  <a:pt x="2558328" y="5790761"/>
                  <a:pt x="2558328" y="5784814"/>
                </a:cubicBezTo>
                <a:cubicBezTo>
                  <a:pt x="2558328" y="5778867"/>
                  <a:pt x="2563118" y="5774078"/>
                  <a:pt x="2569064" y="5774078"/>
                </a:cubicBezTo>
                <a:close/>
                <a:moveTo>
                  <a:pt x="2665364" y="5772923"/>
                </a:moveTo>
                <a:cubicBezTo>
                  <a:pt x="2671310" y="5772923"/>
                  <a:pt x="2676100" y="5777713"/>
                  <a:pt x="2676100" y="5783659"/>
                </a:cubicBezTo>
                <a:cubicBezTo>
                  <a:pt x="2676100" y="5789606"/>
                  <a:pt x="2671310" y="5794395"/>
                  <a:pt x="2665364" y="5794395"/>
                </a:cubicBezTo>
                <a:cubicBezTo>
                  <a:pt x="2659417" y="5794395"/>
                  <a:pt x="2654628" y="5789606"/>
                  <a:pt x="2654628" y="5783659"/>
                </a:cubicBezTo>
                <a:cubicBezTo>
                  <a:pt x="2654628" y="5777713"/>
                  <a:pt x="2659417" y="5772923"/>
                  <a:pt x="2665364" y="5772923"/>
                </a:cubicBezTo>
                <a:close/>
                <a:moveTo>
                  <a:pt x="3245480" y="5770445"/>
                </a:moveTo>
                <a:cubicBezTo>
                  <a:pt x="3251427" y="5770445"/>
                  <a:pt x="3256218" y="5775234"/>
                  <a:pt x="3256218" y="5781181"/>
                </a:cubicBezTo>
                <a:cubicBezTo>
                  <a:pt x="3256218" y="5787127"/>
                  <a:pt x="3251427" y="5791919"/>
                  <a:pt x="3245480" y="5791919"/>
                </a:cubicBezTo>
                <a:cubicBezTo>
                  <a:pt x="3239534" y="5791919"/>
                  <a:pt x="3234744" y="5787127"/>
                  <a:pt x="3234744" y="5781181"/>
                </a:cubicBezTo>
                <a:cubicBezTo>
                  <a:pt x="3234744" y="5775234"/>
                  <a:pt x="3239534" y="5770445"/>
                  <a:pt x="3245480" y="5770445"/>
                </a:cubicBezTo>
                <a:close/>
                <a:moveTo>
                  <a:pt x="3150171" y="5770113"/>
                </a:moveTo>
                <a:cubicBezTo>
                  <a:pt x="3156118" y="5770113"/>
                  <a:pt x="3160910" y="5774903"/>
                  <a:pt x="3160910" y="5780850"/>
                </a:cubicBezTo>
                <a:cubicBezTo>
                  <a:pt x="3160910" y="5786796"/>
                  <a:pt x="3156118" y="5791586"/>
                  <a:pt x="3150171" y="5791586"/>
                </a:cubicBezTo>
                <a:cubicBezTo>
                  <a:pt x="3144225" y="5791586"/>
                  <a:pt x="3139435" y="5786796"/>
                  <a:pt x="3139435" y="5780850"/>
                </a:cubicBezTo>
                <a:cubicBezTo>
                  <a:pt x="3139435" y="5774903"/>
                  <a:pt x="3144225" y="5770113"/>
                  <a:pt x="3150171" y="5770113"/>
                </a:cubicBezTo>
                <a:close/>
                <a:moveTo>
                  <a:pt x="2596648" y="5767470"/>
                </a:moveTo>
                <a:cubicBezTo>
                  <a:pt x="2602595" y="5767470"/>
                  <a:pt x="2607386" y="5772260"/>
                  <a:pt x="2607386" y="5778207"/>
                </a:cubicBezTo>
                <a:cubicBezTo>
                  <a:pt x="2607386" y="5784153"/>
                  <a:pt x="2602595" y="5788945"/>
                  <a:pt x="2596648" y="5788945"/>
                </a:cubicBezTo>
                <a:cubicBezTo>
                  <a:pt x="2590702" y="5788945"/>
                  <a:pt x="2585912" y="5784153"/>
                  <a:pt x="2585912" y="5778207"/>
                </a:cubicBezTo>
                <a:cubicBezTo>
                  <a:pt x="2585912" y="5772260"/>
                  <a:pt x="2590702" y="5767470"/>
                  <a:pt x="2596648" y="5767470"/>
                </a:cubicBezTo>
                <a:close/>
                <a:moveTo>
                  <a:pt x="3400753" y="5767141"/>
                </a:moveTo>
                <a:cubicBezTo>
                  <a:pt x="3403581" y="5767141"/>
                  <a:pt x="3405874" y="5769434"/>
                  <a:pt x="3405874" y="5772262"/>
                </a:cubicBezTo>
                <a:cubicBezTo>
                  <a:pt x="3405874" y="5775089"/>
                  <a:pt x="3403581" y="5777383"/>
                  <a:pt x="3400753" y="5777383"/>
                </a:cubicBezTo>
                <a:cubicBezTo>
                  <a:pt x="3397924" y="5777383"/>
                  <a:pt x="3395632" y="5775089"/>
                  <a:pt x="3395632" y="5772262"/>
                </a:cubicBezTo>
                <a:cubicBezTo>
                  <a:pt x="3395632" y="5769434"/>
                  <a:pt x="3397924" y="5767141"/>
                  <a:pt x="3400753" y="5767141"/>
                </a:cubicBezTo>
                <a:close/>
                <a:moveTo>
                  <a:pt x="2502331" y="5766976"/>
                </a:moveTo>
                <a:cubicBezTo>
                  <a:pt x="2508262" y="5766976"/>
                  <a:pt x="2513068" y="5771783"/>
                  <a:pt x="2513068" y="5777713"/>
                </a:cubicBezTo>
                <a:cubicBezTo>
                  <a:pt x="2513068" y="5783642"/>
                  <a:pt x="2508262" y="5788449"/>
                  <a:pt x="2502331" y="5788449"/>
                </a:cubicBezTo>
                <a:cubicBezTo>
                  <a:pt x="2496402" y="5788449"/>
                  <a:pt x="2491595" y="5783642"/>
                  <a:pt x="2491595" y="5777713"/>
                </a:cubicBezTo>
                <a:cubicBezTo>
                  <a:pt x="2491595" y="5771783"/>
                  <a:pt x="2496402" y="5766976"/>
                  <a:pt x="2502331" y="5766976"/>
                </a:cubicBezTo>
                <a:close/>
                <a:moveTo>
                  <a:pt x="2695757" y="5766974"/>
                </a:moveTo>
                <a:cubicBezTo>
                  <a:pt x="2701704" y="5766974"/>
                  <a:pt x="2706495" y="5771764"/>
                  <a:pt x="2706495" y="5777711"/>
                </a:cubicBezTo>
                <a:cubicBezTo>
                  <a:pt x="2706495" y="5783657"/>
                  <a:pt x="2701704" y="5788449"/>
                  <a:pt x="2695757" y="5788449"/>
                </a:cubicBezTo>
                <a:cubicBezTo>
                  <a:pt x="2689810" y="5788449"/>
                  <a:pt x="2685021" y="5783657"/>
                  <a:pt x="2685021" y="5777711"/>
                </a:cubicBezTo>
                <a:cubicBezTo>
                  <a:pt x="2685021" y="5771764"/>
                  <a:pt x="2689810" y="5766974"/>
                  <a:pt x="2695757" y="5766974"/>
                </a:cubicBezTo>
                <a:close/>
                <a:moveTo>
                  <a:pt x="3120604" y="5764498"/>
                </a:moveTo>
                <a:cubicBezTo>
                  <a:pt x="3126550" y="5764498"/>
                  <a:pt x="3131342" y="5769288"/>
                  <a:pt x="3131342" y="5775234"/>
                </a:cubicBezTo>
                <a:cubicBezTo>
                  <a:pt x="3131342" y="5781181"/>
                  <a:pt x="3126550" y="5785971"/>
                  <a:pt x="3120604" y="5785971"/>
                </a:cubicBezTo>
                <a:cubicBezTo>
                  <a:pt x="3114657" y="5785971"/>
                  <a:pt x="3109867" y="5781181"/>
                  <a:pt x="3109867" y="5775234"/>
                </a:cubicBezTo>
                <a:cubicBezTo>
                  <a:pt x="3109867" y="5769288"/>
                  <a:pt x="3114657" y="5764498"/>
                  <a:pt x="3120604" y="5764498"/>
                </a:cubicBezTo>
                <a:close/>
                <a:moveTo>
                  <a:pt x="3218556" y="5764002"/>
                </a:moveTo>
                <a:cubicBezTo>
                  <a:pt x="3224502" y="5764002"/>
                  <a:pt x="3229294" y="5768792"/>
                  <a:pt x="3229294" y="5774738"/>
                </a:cubicBezTo>
                <a:cubicBezTo>
                  <a:pt x="3229294" y="5780685"/>
                  <a:pt x="3224502" y="5785475"/>
                  <a:pt x="3218556" y="5785475"/>
                </a:cubicBezTo>
                <a:cubicBezTo>
                  <a:pt x="3212609" y="5785475"/>
                  <a:pt x="3207819" y="5780685"/>
                  <a:pt x="3207819" y="5774738"/>
                </a:cubicBezTo>
                <a:cubicBezTo>
                  <a:pt x="3207819" y="5768792"/>
                  <a:pt x="3212609" y="5764002"/>
                  <a:pt x="3218556" y="5764002"/>
                </a:cubicBezTo>
                <a:close/>
                <a:moveTo>
                  <a:pt x="3311884" y="5762845"/>
                </a:moveTo>
                <a:cubicBezTo>
                  <a:pt x="3317831" y="5762845"/>
                  <a:pt x="3322621" y="5767635"/>
                  <a:pt x="3322621" y="5773582"/>
                </a:cubicBezTo>
                <a:cubicBezTo>
                  <a:pt x="3322621" y="5779528"/>
                  <a:pt x="3317831" y="5784320"/>
                  <a:pt x="3311884" y="5784320"/>
                </a:cubicBezTo>
                <a:cubicBezTo>
                  <a:pt x="3305938" y="5784320"/>
                  <a:pt x="3301148" y="5779528"/>
                  <a:pt x="3301148" y="5773582"/>
                </a:cubicBezTo>
                <a:cubicBezTo>
                  <a:pt x="3301148" y="5767635"/>
                  <a:pt x="3305938" y="5762845"/>
                  <a:pt x="3311884" y="5762845"/>
                </a:cubicBezTo>
                <a:close/>
                <a:moveTo>
                  <a:pt x="2625391" y="5762020"/>
                </a:moveTo>
                <a:cubicBezTo>
                  <a:pt x="2631337" y="5762020"/>
                  <a:pt x="2636129" y="5766810"/>
                  <a:pt x="2636129" y="5772756"/>
                </a:cubicBezTo>
                <a:cubicBezTo>
                  <a:pt x="2636129" y="5778703"/>
                  <a:pt x="2631337" y="5783493"/>
                  <a:pt x="2625391" y="5783493"/>
                </a:cubicBezTo>
                <a:cubicBezTo>
                  <a:pt x="2619444" y="5783493"/>
                  <a:pt x="2614654" y="5778703"/>
                  <a:pt x="2614654" y="5772756"/>
                </a:cubicBezTo>
                <a:cubicBezTo>
                  <a:pt x="2614654" y="5766810"/>
                  <a:pt x="2619444" y="5762020"/>
                  <a:pt x="2625391" y="5762020"/>
                </a:cubicBezTo>
                <a:close/>
                <a:moveTo>
                  <a:pt x="2528264" y="5760698"/>
                </a:moveTo>
                <a:cubicBezTo>
                  <a:pt x="2534211" y="5760698"/>
                  <a:pt x="2539002" y="5765488"/>
                  <a:pt x="2539002" y="5771435"/>
                </a:cubicBezTo>
                <a:cubicBezTo>
                  <a:pt x="2539002" y="5777381"/>
                  <a:pt x="2534211" y="5782173"/>
                  <a:pt x="2528264" y="5782173"/>
                </a:cubicBezTo>
                <a:cubicBezTo>
                  <a:pt x="2522318" y="5782173"/>
                  <a:pt x="2517528" y="5777381"/>
                  <a:pt x="2517528" y="5771435"/>
                </a:cubicBezTo>
                <a:cubicBezTo>
                  <a:pt x="2517528" y="5765488"/>
                  <a:pt x="2522318" y="5760698"/>
                  <a:pt x="2528264" y="5760698"/>
                </a:cubicBezTo>
                <a:close/>
                <a:moveTo>
                  <a:pt x="2436094" y="5759873"/>
                </a:moveTo>
                <a:cubicBezTo>
                  <a:pt x="2441380" y="5759873"/>
                  <a:pt x="2445674" y="5764169"/>
                  <a:pt x="2445674" y="5769453"/>
                </a:cubicBezTo>
                <a:cubicBezTo>
                  <a:pt x="2445674" y="5774738"/>
                  <a:pt x="2441380" y="5779034"/>
                  <a:pt x="2436094" y="5779034"/>
                </a:cubicBezTo>
                <a:cubicBezTo>
                  <a:pt x="2430808" y="5779034"/>
                  <a:pt x="2426512" y="5774738"/>
                  <a:pt x="2426512" y="5769453"/>
                </a:cubicBezTo>
                <a:cubicBezTo>
                  <a:pt x="2426512" y="5764169"/>
                  <a:pt x="2430808" y="5759873"/>
                  <a:pt x="2436094" y="5759873"/>
                </a:cubicBezTo>
                <a:close/>
                <a:moveTo>
                  <a:pt x="3089880" y="5759706"/>
                </a:moveTo>
                <a:cubicBezTo>
                  <a:pt x="3095827" y="5759706"/>
                  <a:pt x="3100619" y="5764496"/>
                  <a:pt x="3100619" y="5770443"/>
                </a:cubicBezTo>
                <a:cubicBezTo>
                  <a:pt x="3100619" y="5776389"/>
                  <a:pt x="3095827" y="5781181"/>
                  <a:pt x="3089880" y="5781181"/>
                </a:cubicBezTo>
                <a:cubicBezTo>
                  <a:pt x="3083934" y="5781181"/>
                  <a:pt x="3079144" y="5776389"/>
                  <a:pt x="3079144" y="5770443"/>
                </a:cubicBezTo>
                <a:cubicBezTo>
                  <a:pt x="3079144" y="5764496"/>
                  <a:pt x="3083934" y="5759706"/>
                  <a:pt x="3089880" y="5759706"/>
                </a:cubicBezTo>
                <a:close/>
                <a:moveTo>
                  <a:pt x="3464678" y="5758716"/>
                </a:moveTo>
                <a:cubicBezTo>
                  <a:pt x="3466685" y="5758716"/>
                  <a:pt x="3468312" y="5760343"/>
                  <a:pt x="3468312" y="5762349"/>
                </a:cubicBezTo>
                <a:cubicBezTo>
                  <a:pt x="3468312" y="5764358"/>
                  <a:pt x="3466685" y="5765984"/>
                  <a:pt x="3464678" y="5765984"/>
                </a:cubicBezTo>
                <a:cubicBezTo>
                  <a:pt x="3462670" y="5765984"/>
                  <a:pt x="3461044" y="5764358"/>
                  <a:pt x="3461044" y="5762349"/>
                </a:cubicBezTo>
                <a:cubicBezTo>
                  <a:pt x="3461044" y="5760343"/>
                  <a:pt x="3462670" y="5758716"/>
                  <a:pt x="3464678" y="5758716"/>
                </a:cubicBezTo>
                <a:close/>
                <a:moveTo>
                  <a:pt x="3190807" y="5758716"/>
                </a:moveTo>
                <a:cubicBezTo>
                  <a:pt x="3196753" y="5758716"/>
                  <a:pt x="3201545" y="5763506"/>
                  <a:pt x="3201545" y="5769453"/>
                </a:cubicBezTo>
                <a:cubicBezTo>
                  <a:pt x="3201545" y="5775399"/>
                  <a:pt x="3196753" y="5780191"/>
                  <a:pt x="3190807" y="5780191"/>
                </a:cubicBezTo>
                <a:cubicBezTo>
                  <a:pt x="3184860" y="5780191"/>
                  <a:pt x="3180070" y="5775399"/>
                  <a:pt x="3180070" y="5769453"/>
                </a:cubicBezTo>
                <a:cubicBezTo>
                  <a:pt x="3180070" y="5763506"/>
                  <a:pt x="3184860" y="5758716"/>
                  <a:pt x="3190807" y="5758716"/>
                </a:cubicBezTo>
                <a:close/>
                <a:moveTo>
                  <a:pt x="2655288" y="5757395"/>
                </a:moveTo>
                <a:cubicBezTo>
                  <a:pt x="2661235" y="5757395"/>
                  <a:pt x="2666024" y="5762185"/>
                  <a:pt x="2666024" y="5768131"/>
                </a:cubicBezTo>
                <a:cubicBezTo>
                  <a:pt x="2666024" y="5774078"/>
                  <a:pt x="2661235" y="5778867"/>
                  <a:pt x="2655288" y="5778867"/>
                </a:cubicBezTo>
                <a:cubicBezTo>
                  <a:pt x="2649342" y="5778867"/>
                  <a:pt x="2644552" y="5774078"/>
                  <a:pt x="2644552" y="5768131"/>
                </a:cubicBezTo>
                <a:cubicBezTo>
                  <a:pt x="2644552" y="5762185"/>
                  <a:pt x="2649342" y="5757395"/>
                  <a:pt x="2655288" y="5757395"/>
                </a:cubicBezTo>
                <a:close/>
                <a:moveTo>
                  <a:pt x="3286612" y="5756405"/>
                </a:moveTo>
                <a:cubicBezTo>
                  <a:pt x="3292558" y="5756405"/>
                  <a:pt x="3297348" y="5761194"/>
                  <a:pt x="3297348" y="5767141"/>
                </a:cubicBezTo>
                <a:cubicBezTo>
                  <a:pt x="3297348" y="5773087"/>
                  <a:pt x="3292558" y="5777877"/>
                  <a:pt x="3286612" y="5777877"/>
                </a:cubicBezTo>
                <a:cubicBezTo>
                  <a:pt x="3280666" y="5777877"/>
                  <a:pt x="3275876" y="5773087"/>
                  <a:pt x="3275876" y="5767141"/>
                </a:cubicBezTo>
                <a:cubicBezTo>
                  <a:pt x="3275876" y="5761194"/>
                  <a:pt x="3280666" y="5756405"/>
                  <a:pt x="3286612" y="5756405"/>
                </a:cubicBezTo>
                <a:close/>
                <a:moveTo>
                  <a:pt x="2555354" y="5755413"/>
                </a:moveTo>
                <a:cubicBezTo>
                  <a:pt x="2561285" y="5755413"/>
                  <a:pt x="2566092" y="5760220"/>
                  <a:pt x="2566092" y="5766149"/>
                </a:cubicBezTo>
                <a:cubicBezTo>
                  <a:pt x="2566092" y="5772080"/>
                  <a:pt x="2561285" y="5776887"/>
                  <a:pt x="2555354" y="5776887"/>
                </a:cubicBezTo>
                <a:cubicBezTo>
                  <a:pt x="2549425" y="5776887"/>
                  <a:pt x="2544618" y="5772080"/>
                  <a:pt x="2544618" y="5766149"/>
                </a:cubicBezTo>
                <a:cubicBezTo>
                  <a:pt x="2544618" y="5760220"/>
                  <a:pt x="2549425" y="5755413"/>
                  <a:pt x="2555354" y="5755413"/>
                </a:cubicBezTo>
                <a:close/>
                <a:moveTo>
                  <a:pt x="3161733" y="5754256"/>
                </a:moveTo>
                <a:cubicBezTo>
                  <a:pt x="3167680" y="5754256"/>
                  <a:pt x="3172471" y="5759046"/>
                  <a:pt x="3172471" y="5764992"/>
                </a:cubicBezTo>
                <a:cubicBezTo>
                  <a:pt x="3172471" y="5770939"/>
                  <a:pt x="3167680" y="5775729"/>
                  <a:pt x="3161733" y="5775729"/>
                </a:cubicBezTo>
                <a:cubicBezTo>
                  <a:pt x="3155787" y="5775729"/>
                  <a:pt x="3150997" y="5770939"/>
                  <a:pt x="3150997" y="5764992"/>
                </a:cubicBezTo>
                <a:cubicBezTo>
                  <a:pt x="3150997" y="5759046"/>
                  <a:pt x="3155787" y="5754256"/>
                  <a:pt x="3161733" y="5754256"/>
                </a:cubicBezTo>
                <a:close/>
                <a:moveTo>
                  <a:pt x="3377790" y="5753926"/>
                </a:moveTo>
                <a:cubicBezTo>
                  <a:pt x="3383737" y="5753926"/>
                  <a:pt x="3388528" y="5758716"/>
                  <a:pt x="3388528" y="5764663"/>
                </a:cubicBezTo>
                <a:cubicBezTo>
                  <a:pt x="3388528" y="5770609"/>
                  <a:pt x="3383737" y="5775401"/>
                  <a:pt x="3377790" y="5775401"/>
                </a:cubicBezTo>
                <a:cubicBezTo>
                  <a:pt x="3371844" y="5775401"/>
                  <a:pt x="3367054" y="5770609"/>
                  <a:pt x="3367054" y="5764663"/>
                </a:cubicBezTo>
                <a:cubicBezTo>
                  <a:pt x="3367054" y="5758716"/>
                  <a:pt x="3371844" y="5753926"/>
                  <a:pt x="3377790" y="5753926"/>
                </a:cubicBezTo>
                <a:close/>
                <a:moveTo>
                  <a:pt x="2370351" y="5752934"/>
                </a:moveTo>
                <a:cubicBezTo>
                  <a:pt x="2374315" y="5752934"/>
                  <a:pt x="2377452" y="5756073"/>
                  <a:pt x="2377452" y="5760038"/>
                </a:cubicBezTo>
                <a:cubicBezTo>
                  <a:pt x="2377452" y="5764002"/>
                  <a:pt x="2374315" y="5767141"/>
                  <a:pt x="2370351" y="5767141"/>
                </a:cubicBezTo>
                <a:cubicBezTo>
                  <a:pt x="2366386" y="5767141"/>
                  <a:pt x="2363248" y="5764002"/>
                  <a:pt x="2363248" y="5760038"/>
                </a:cubicBezTo>
                <a:cubicBezTo>
                  <a:pt x="2363248" y="5756073"/>
                  <a:pt x="2366386" y="5752934"/>
                  <a:pt x="2370351" y="5752934"/>
                </a:cubicBezTo>
                <a:close/>
                <a:moveTo>
                  <a:pt x="2460539" y="5752438"/>
                </a:moveTo>
                <a:cubicBezTo>
                  <a:pt x="2466486" y="5752438"/>
                  <a:pt x="2471277" y="5757228"/>
                  <a:pt x="2471277" y="5763175"/>
                </a:cubicBezTo>
                <a:cubicBezTo>
                  <a:pt x="2471277" y="5769121"/>
                  <a:pt x="2466486" y="5773913"/>
                  <a:pt x="2460539" y="5773913"/>
                </a:cubicBezTo>
                <a:cubicBezTo>
                  <a:pt x="2454592" y="5773913"/>
                  <a:pt x="2449802" y="5769121"/>
                  <a:pt x="2449802" y="5763175"/>
                </a:cubicBezTo>
                <a:cubicBezTo>
                  <a:pt x="2449802" y="5757228"/>
                  <a:pt x="2454592" y="5752438"/>
                  <a:pt x="2460539" y="5752438"/>
                </a:cubicBezTo>
                <a:close/>
                <a:moveTo>
                  <a:pt x="3260512" y="5751284"/>
                </a:moveTo>
                <a:cubicBezTo>
                  <a:pt x="3266459" y="5751284"/>
                  <a:pt x="3271249" y="5756073"/>
                  <a:pt x="3271249" y="5762020"/>
                </a:cubicBezTo>
                <a:cubicBezTo>
                  <a:pt x="3271249" y="5767966"/>
                  <a:pt x="3266459" y="5772756"/>
                  <a:pt x="3260512" y="5772756"/>
                </a:cubicBezTo>
                <a:cubicBezTo>
                  <a:pt x="3254566" y="5772756"/>
                  <a:pt x="3249776" y="5767966"/>
                  <a:pt x="3249776" y="5762020"/>
                </a:cubicBezTo>
                <a:cubicBezTo>
                  <a:pt x="3249776" y="5756073"/>
                  <a:pt x="3254566" y="5751284"/>
                  <a:pt x="3260512" y="5751284"/>
                </a:cubicBezTo>
                <a:close/>
                <a:moveTo>
                  <a:pt x="2583598" y="5751284"/>
                </a:moveTo>
                <a:cubicBezTo>
                  <a:pt x="2589545" y="5751284"/>
                  <a:pt x="2594337" y="5756073"/>
                  <a:pt x="2594337" y="5762020"/>
                </a:cubicBezTo>
                <a:cubicBezTo>
                  <a:pt x="2594337" y="5767966"/>
                  <a:pt x="2589545" y="5772756"/>
                  <a:pt x="2583598" y="5772756"/>
                </a:cubicBezTo>
                <a:cubicBezTo>
                  <a:pt x="2577652" y="5772756"/>
                  <a:pt x="2572862" y="5767966"/>
                  <a:pt x="2572862" y="5762020"/>
                </a:cubicBezTo>
                <a:cubicBezTo>
                  <a:pt x="2572862" y="5756073"/>
                  <a:pt x="2577652" y="5751284"/>
                  <a:pt x="2583598" y="5751284"/>
                </a:cubicBezTo>
                <a:close/>
                <a:moveTo>
                  <a:pt x="3131506" y="5750788"/>
                </a:moveTo>
                <a:cubicBezTo>
                  <a:pt x="3137453" y="5750788"/>
                  <a:pt x="3142244" y="5755577"/>
                  <a:pt x="3142244" y="5761524"/>
                </a:cubicBezTo>
                <a:cubicBezTo>
                  <a:pt x="3142244" y="5767470"/>
                  <a:pt x="3137453" y="5772260"/>
                  <a:pt x="3131506" y="5772260"/>
                </a:cubicBezTo>
                <a:cubicBezTo>
                  <a:pt x="3125560" y="5772260"/>
                  <a:pt x="3120770" y="5767470"/>
                  <a:pt x="3120770" y="5761524"/>
                </a:cubicBezTo>
                <a:cubicBezTo>
                  <a:pt x="3120770" y="5755577"/>
                  <a:pt x="3125560" y="5750788"/>
                  <a:pt x="3131506" y="5750788"/>
                </a:cubicBezTo>
                <a:close/>
                <a:moveTo>
                  <a:pt x="2613002" y="5747813"/>
                </a:moveTo>
                <a:cubicBezTo>
                  <a:pt x="2618948" y="5747813"/>
                  <a:pt x="2623740" y="5752603"/>
                  <a:pt x="2623740" y="5758550"/>
                </a:cubicBezTo>
                <a:cubicBezTo>
                  <a:pt x="2623740" y="5764496"/>
                  <a:pt x="2618948" y="5769288"/>
                  <a:pt x="2613002" y="5769288"/>
                </a:cubicBezTo>
                <a:cubicBezTo>
                  <a:pt x="2607055" y="5769288"/>
                  <a:pt x="2602266" y="5764496"/>
                  <a:pt x="2602266" y="5758550"/>
                </a:cubicBezTo>
                <a:cubicBezTo>
                  <a:pt x="2602266" y="5752603"/>
                  <a:pt x="2607055" y="5747813"/>
                  <a:pt x="2613002" y="5747813"/>
                </a:cubicBezTo>
                <a:close/>
                <a:moveTo>
                  <a:pt x="3354171" y="5747649"/>
                </a:moveTo>
                <a:cubicBezTo>
                  <a:pt x="3360117" y="5747649"/>
                  <a:pt x="3364909" y="5752438"/>
                  <a:pt x="3364909" y="5758385"/>
                </a:cubicBezTo>
                <a:cubicBezTo>
                  <a:pt x="3364909" y="5764332"/>
                  <a:pt x="3360117" y="5769121"/>
                  <a:pt x="3354171" y="5769121"/>
                </a:cubicBezTo>
                <a:cubicBezTo>
                  <a:pt x="3348224" y="5769121"/>
                  <a:pt x="3343434" y="5764332"/>
                  <a:pt x="3343434" y="5758385"/>
                </a:cubicBezTo>
                <a:cubicBezTo>
                  <a:pt x="3343434" y="5752438"/>
                  <a:pt x="3348224" y="5747649"/>
                  <a:pt x="3354171" y="5747649"/>
                </a:cubicBezTo>
                <a:close/>
                <a:moveTo>
                  <a:pt x="2485978" y="5747484"/>
                </a:moveTo>
                <a:cubicBezTo>
                  <a:pt x="2491924" y="5747484"/>
                  <a:pt x="2496714" y="5752274"/>
                  <a:pt x="2496714" y="5758220"/>
                </a:cubicBezTo>
                <a:cubicBezTo>
                  <a:pt x="2496714" y="5764167"/>
                  <a:pt x="2491924" y="5768957"/>
                  <a:pt x="2485978" y="5768957"/>
                </a:cubicBezTo>
                <a:cubicBezTo>
                  <a:pt x="2480031" y="5768957"/>
                  <a:pt x="2475242" y="5764167"/>
                  <a:pt x="2475242" y="5758220"/>
                </a:cubicBezTo>
                <a:cubicBezTo>
                  <a:pt x="2475242" y="5752274"/>
                  <a:pt x="2480031" y="5747484"/>
                  <a:pt x="2485978" y="5747484"/>
                </a:cubicBezTo>
                <a:close/>
                <a:moveTo>
                  <a:pt x="3233258" y="5747319"/>
                </a:moveTo>
                <a:cubicBezTo>
                  <a:pt x="3239204" y="5747319"/>
                  <a:pt x="3243996" y="5752109"/>
                  <a:pt x="3243996" y="5758056"/>
                </a:cubicBezTo>
                <a:cubicBezTo>
                  <a:pt x="3243996" y="5764002"/>
                  <a:pt x="3239204" y="5768794"/>
                  <a:pt x="3233258" y="5768794"/>
                </a:cubicBezTo>
                <a:cubicBezTo>
                  <a:pt x="3227312" y="5768794"/>
                  <a:pt x="3222522" y="5764002"/>
                  <a:pt x="3222522" y="5758056"/>
                </a:cubicBezTo>
                <a:cubicBezTo>
                  <a:pt x="3222522" y="5752109"/>
                  <a:pt x="3227312" y="5747319"/>
                  <a:pt x="3233258" y="5747319"/>
                </a:cubicBezTo>
                <a:close/>
                <a:moveTo>
                  <a:pt x="2643891" y="5745006"/>
                </a:moveTo>
                <a:cubicBezTo>
                  <a:pt x="2649838" y="5745006"/>
                  <a:pt x="2654629" y="5749796"/>
                  <a:pt x="2654629" y="5755742"/>
                </a:cubicBezTo>
                <a:cubicBezTo>
                  <a:pt x="2654629" y="5761689"/>
                  <a:pt x="2649838" y="5766478"/>
                  <a:pt x="2643891" y="5766478"/>
                </a:cubicBezTo>
                <a:cubicBezTo>
                  <a:pt x="2637944" y="5766478"/>
                  <a:pt x="2633155" y="5761689"/>
                  <a:pt x="2633155" y="5755742"/>
                </a:cubicBezTo>
                <a:cubicBezTo>
                  <a:pt x="2633155" y="5749796"/>
                  <a:pt x="2637944" y="5745006"/>
                  <a:pt x="2643891" y="5745006"/>
                </a:cubicBezTo>
                <a:close/>
                <a:moveTo>
                  <a:pt x="2305435" y="5745006"/>
                </a:moveTo>
                <a:cubicBezTo>
                  <a:pt x="2307912" y="5745006"/>
                  <a:pt x="2309894" y="5746988"/>
                  <a:pt x="2309894" y="5749466"/>
                </a:cubicBezTo>
                <a:cubicBezTo>
                  <a:pt x="2309894" y="5751943"/>
                  <a:pt x="2307912" y="5753925"/>
                  <a:pt x="2305435" y="5753925"/>
                </a:cubicBezTo>
                <a:cubicBezTo>
                  <a:pt x="2302957" y="5753925"/>
                  <a:pt x="2300975" y="5751943"/>
                  <a:pt x="2300975" y="5749466"/>
                </a:cubicBezTo>
                <a:cubicBezTo>
                  <a:pt x="2300975" y="5746988"/>
                  <a:pt x="2302957" y="5745006"/>
                  <a:pt x="2305435" y="5745006"/>
                </a:cubicBezTo>
                <a:close/>
                <a:moveTo>
                  <a:pt x="3204847" y="5744016"/>
                </a:moveTo>
                <a:cubicBezTo>
                  <a:pt x="3210778" y="5744016"/>
                  <a:pt x="3215583" y="5748823"/>
                  <a:pt x="3215583" y="5754752"/>
                </a:cubicBezTo>
                <a:cubicBezTo>
                  <a:pt x="3215583" y="5760683"/>
                  <a:pt x="3210778" y="5765488"/>
                  <a:pt x="3204847" y="5765488"/>
                </a:cubicBezTo>
                <a:cubicBezTo>
                  <a:pt x="3198918" y="5765488"/>
                  <a:pt x="3194110" y="5760683"/>
                  <a:pt x="3194110" y="5754752"/>
                </a:cubicBezTo>
                <a:cubicBezTo>
                  <a:pt x="3194110" y="5748823"/>
                  <a:pt x="3198918" y="5744016"/>
                  <a:pt x="3204847" y="5744016"/>
                </a:cubicBezTo>
                <a:close/>
                <a:moveTo>
                  <a:pt x="3443037" y="5743851"/>
                </a:moveTo>
                <a:cubicBezTo>
                  <a:pt x="3448984" y="5743851"/>
                  <a:pt x="3453776" y="5748641"/>
                  <a:pt x="3453776" y="5754587"/>
                </a:cubicBezTo>
                <a:cubicBezTo>
                  <a:pt x="3453776" y="5760534"/>
                  <a:pt x="3448984" y="5765323"/>
                  <a:pt x="3443037" y="5765323"/>
                </a:cubicBezTo>
                <a:cubicBezTo>
                  <a:pt x="3437091" y="5765323"/>
                  <a:pt x="3432301" y="5760534"/>
                  <a:pt x="3432301" y="5754587"/>
                </a:cubicBezTo>
                <a:cubicBezTo>
                  <a:pt x="3432301" y="5748641"/>
                  <a:pt x="3437091" y="5743851"/>
                  <a:pt x="3443037" y="5743851"/>
                </a:cubicBezTo>
                <a:close/>
                <a:moveTo>
                  <a:pt x="2512407" y="5743520"/>
                </a:moveTo>
                <a:cubicBezTo>
                  <a:pt x="2518353" y="5743520"/>
                  <a:pt x="2523145" y="5748309"/>
                  <a:pt x="2523145" y="5754256"/>
                </a:cubicBezTo>
                <a:cubicBezTo>
                  <a:pt x="2523145" y="5760202"/>
                  <a:pt x="2518353" y="5764992"/>
                  <a:pt x="2512407" y="5764992"/>
                </a:cubicBezTo>
                <a:cubicBezTo>
                  <a:pt x="2506460" y="5764992"/>
                  <a:pt x="2501670" y="5760202"/>
                  <a:pt x="2501670" y="5754256"/>
                </a:cubicBezTo>
                <a:cubicBezTo>
                  <a:pt x="2501670" y="5748309"/>
                  <a:pt x="2506460" y="5743520"/>
                  <a:pt x="2512407" y="5743520"/>
                </a:cubicBezTo>
                <a:close/>
                <a:moveTo>
                  <a:pt x="2393312" y="5743024"/>
                </a:moveTo>
                <a:cubicBezTo>
                  <a:pt x="2399258" y="5743024"/>
                  <a:pt x="2404048" y="5747813"/>
                  <a:pt x="2404048" y="5753760"/>
                </a:cubicBezTo>
                <a:cubicBezTo>
                  <a:pt x="2404048" y="5759706"/>
                  <a:pt x="2399258" y="5764496"/>
                  <a:pt x="2393312" y="5764496"/>
                </a:cubicBezTo>
                <a:cubicBezTo>
                  <a:pt x="2387365" y="5764496"/>
                  <a:pt x="2382575" y="5759706"/>
                  <a:pt x="2382575" y="5753760"/>
                </a:cubicBezTo>
                <a:cubicBezTo>
                  <a:pt x="2382575" y="5747813"/>
                  <a:pt x="2387365" y="5743024"/>
                  <a:pt x="2393312" y="5743024"/>
                </a:cubicBezTo>
                <a:close/>
                <a:moveTo>
                  <a:pt x="3329559" y="5742529"/>
                </a:moveTo>
                <a:cubicBezTo>
                  <a:pt x="3335490" y="5742529"/>
                  <a:pt x="3340297" y="5747337"/>
                  <a:pt x="3340297" y="5753266"/>
                </a:cubicBezTo>
                <a:cubicBezTo>
                  <a:pt x="3340297" y="5759197"/>
                  <a:pt x="3335490" y="5764004"/>
                  <a:pt x="3329559" y="5764004"/>
                </a:cubicBezTo>
                <a:cubicBezTo>
                  <a:pt x="3323630" y="5764004"/>
                  <a:pt x="3318823" y="5759197"/>
                  <a:pt x="3318823" y="5753266"/>
                </a:cubicBezTo>
                <a:cubicBezTo>
                  <a:pt x="3318823" y="5747337"/>
                  <a:pt x="3323630" y="5742529"/>
                  <a:pt x="3329559" y="5742529"/>
                </a:cubicBezTo>
                <a:close/>
                <a:moveTo>
                  <a:pt x="3174948" y="5741537"/>
                </a:moveTo>
                <a:cubicBezTo>
                  <a:pt x="3180894" y="5741537"/>
                  <a:pt x="3185686" y="5746327"/>
                  <a:pt x="3185686" y="5752274"/>
                </a:cubicBezTo>
                <a:cubicBezTo>
                  <a:pt x="3185686" y="5758220"/>
                  <a:pt x="3180894" y="5763012"/>
                  <a:pt x="3174948" y="5763012"/>
                </a:cubicBezTo>
                <a:cubicBezTo>
                  <a:pt x="3169001" y="5763012"/>
                  <a:pt x="3164211" y="5758220"/>
                  <a:pt x="3164211" y="5752274"/>
                </a:cubicBezTo>
                <a:cubicBezTo>
                  <a:pt x="3164211" y="5746327"/>
                  <a:pt x="3169001" y="5741537"/>
                  <a:pt x="3174948" y="5741537"/>
                </a:cubicBezTo>
                <a:close/>
                <a:moveTo>
                  <a:pt x="2539826" y="5740381"/>
                </a:moveTo>
                <a:cubicBezTo>
                  <a:pt x="2545772" y="5740381"/>
                  <a:pt x="2550564" y="5745171"/>
                  <a:pt x="2550564" y="5751117"/>
                </a:cubicBezTo>
                <a:cubicBezTo>
                  <a:pt x="2550564" y="5757064"/>
                  <a:pt x="2545772" y="5761853"/>
                  <a:pt x="2539826" y="5761853"/>
                </a:cubicBezTo>
                <a:cubicBezTo>
                  <a:pt x="2533880" y="5761853"/>
                  <a:pt x="2529090" y="5757064"/>
                  <a:pt x="2529090" y="5751117"/>
                </a:cubicBezTo>
                <a:cubicBezTo>
                  <a:pt x="2529090" y="5745171"/>
                  <a:pt x="2533880" y="5740381"/>
                  <a:pt x="2539826" y="5740381"/>
                </a:cubicBezTo>
                <a:close/>
                <a:moveTo>
                  <a:pt x="3143729" y="5739555"/>
                </a:moveTo>
                <a:cubicBezTo>
                  <a:pt x="3149675" y="5739555"/>
                  <a:pt x="3154467" y="5744345"/>
                  <a:pt x="3154467" y="5750292"/>
                </a:cubicBezTo>
                <a:cubicBezTo>
                  <a:pt x="3154467" y="5756238"/>
                  <a:pt x="3149675" y="5761030"/>
                  <a:pt x="3143729" y="5761030"/>
                </a:cubicBezTo>
                <a:cubicBezTo>
                  <a:pt x="3137782" y="5761030"/>
                  <a:pt x="3132992" y="5756238"/>
                  <a:pt x="3132992" y="5750292"/>
                </a:cubicBezTo>
                <a:cubicBezTo>
                  <a:pt x="3132992" y="5744345"/>
                  <a:pt x="3137782" y="5739555"/>
                  <a:pt x="3143729" y="5739555"/>
                </a:cubicBezTo>
                <a:close/>
                <a:moveTo>
                  <a:pt x="3304120" y="5738730"/>
                </a:moveTo>
                <a:cubicBezTo>
                  <a:pt x="3310067" y="5738730"/>
                  <a:pt x="3314857" y="5743520"/>
                  <a:pt x="3314857" y="5749466"/>
                </a:cubicBezTo>
                <a:cubicBezTo>
                  <a:pt x="3314857" y="5755413"/>
                  <a:pt x="3310067" y="5760202"/>
                  <a:pt x="3304120" y="5760202"/>
                </a:cubicBezTo>
                <a:cubicBezTo>
                  <a:pt x="3298174" y="5760202"/>
                  <a:pt x="3293384" y="5755413"/>
                  <a:pt x="3293384" y="5749466"/>
                </a:cubicBezTo>
                <a:cubicBezTo>
                  <a:pt x="3293384" y="5743520"/>
                  <a:pt x="3298174" y="5738730"/>
                  <a:pt x="3304120" y="5738730"/>
                </a:cubicBezTo>
                <a:close/>
                <a:moveTo>
                  <a:pt x="2568733" y="5738069"/>
                </a:moveTo>
                <a:cubicBezTo>
                  <a:pt x="2574680" y="5738069"/>
                  <a:pt x="2579471" y="5742859"/>
                  <a:pt x="2579471" y="5748805"/>
                </a:cubicBezTo>
                <a:cubicBezTo>
                  <a:pt x="2579471" y="5754752"/>
                  <a:pt x="2574680" y="5759543"/>
                  <a:pt x="2568733" y="5759543"/>
                </a:cubicBezTo>
                <a:cubicBezTo>
                  <a:pt x="2562787" y="5759543"/>
                  <a:pt x="2557997" y="5754752"/>
                  <a:pt x="2557997" y="5748805"/>
                </a:cubicBezTo>
                <a:cubicBezTo>
                  <a:pt x="2557997" y="5742859"/>
                  <a:pt x="2562787" y="5738069"/>
                  <a:pt x="2568733" y="5738069"/>
                </a:cubicBezTo>
                <a:close/>
                <a:moveTo>
                  <a:pt x="2417096" y="5738069"/>
                </a:moveTo>
                <a:cubicBezTo>
                  <a:pt x="2423042" y="5738069"/>
                  <a:pt x="2427834" y="5742859"/>
                  <a:pt x="2427834" y="5748805"/>
                </a:cubicBezTo>
                <a:cubicBezTo>
                  <a:pt x="2427834" y="5754752"/>
                  <a:pt x="2423042" y="5759543"/>
                  <a:pt x="2417096" y="5759543"/>
                </a:cubicBezTo>
                <a:cubicBezTo>
                  <a:pt x="2411149" y="5759543"/>
                  <a:pt x="2406360" y="5754752"/>
                  <a:pt x="2406360" y="5748805"/>
                </a:cubicBezTo>
                <a:cubicBezTo>
                  <a:pt x="2406360" y="5742859"/>
                  <a:pt x="2411149" y="5738069"/>
                  <a:pt x="2417096" y="5738069"/>
                </a:cubicBezTo>
                <a:close/>
                <a:moveTo>
                  <a:pt x="3110692" y="5737573"/>
                </a:moveTo>
                <a:cubicBezTo>
                  <a:pt x="3116639" y="5737573"/>
                  <a:pt x="3121431" y="5742363"/>
                  <a:pt x="3121431" y="5748309"/>
                </a:cubicBezTo>
                <a:cubicBezTo>
                  <a:pt x="3121431" y="5754256"/>
                  <a:pt x="3116639" y="5759047"/>
                  <a:pt x="3110692" y="5759047"/>
                </a:cubicBezTo>
                <a:lnTo>
                  <a:pt x="3110198" y="5758553"/>
                </a:lnTo>
                <a:lnTo>
                  <a:pt x="3099627" y="5769121"/>
                </a:lnTo>
                <a:cubicBezTo>
                  <a:pt x="3093680" y="5769121"/>
                  <a:pt x="3088890" y="5764332"/>
                  <a:pt x="3088890" y="5758385"/>
                </a:cubicBezTo>
                <a:cubicBezTo>
                  <a:pt x="3088890" y="5752438"/>
                  <a:pt x="3093680" y="5747649"/>
                  <a:pt x="3099627" y="5747649"/>
                </a:cubicBezTo>
                <a:lnTo>
                  <a:pt x="3100123" y="5748145"/>
                </a:lnTo>
                <a:close/>
                <a:moveTo>
                  <a:pt x="3420904" y="5737408"/>
                </a:moveTo>
                <a:cubicBezTo>
                  <a:pt x="3426850" y="5737408"/>
                  <a:pt x="3431642" y="5742198"/>
                  <a:pt x="3431642" y="5748145"/>
                </a:cubicBezTo>
                <a:cubicBezTo>
                  <a:pt x="3431642" y="5754091"/>
                  <a:pt x="3426850" y="5758883"/>
                  <a:pt x="3420904" y="5758883"/>
                </a:cubicBezTo>
                <a:cubicBezTo>
                  <a:pt x="3414958" y="5758883"/>
                  <a:pt x="3410168" y="5754091"/>
                  <a:pt x="3410168" y="5748145"/>
                </a:cubicBezTo>
                <a:cubicBezTo>
                  <a:pt x="3410168" y="5742198"/>
                  <a:pt x="3414958" y="5737408"/>
                  <a:pt x="3420904" y="5737408"/>
                </a:cubicBezTo>
                <a:close/>
                <a:moveTo>
                  <a:pt x="3503192" y="5737050"/>
                </a:moveTo>
                <a:lnTo>
                  <a:pt x="3503192" y="5749659"/>
                </a:lnTo>
                <a:lnTo>
                  <a:pt x="3496887" y="5743355"/>
                </a:lnTo>
                <a:close/>
                <a:moveTo>
                  <a:pt x="2599126" y="5736252"/>
                </a:moveTo>
                <a:cubicBezTo>
                  <a:pt x="2605073" y="5736252"/>
                  <a:pt x="2609864" y="5741041"/>
                  <a:pt x="2609864" y="5746988"/>
                </a:cubicBezTo>
                <a:cubicBezTo>
                  <a:pt x="2609864" y="5752934"/>
                  <a:pt x="2605073" y="5757724"/>
                  <a:pt x="2599126" y="5757724"/>
                </a:cubicBezTo>
                <a:cubicBezTo>
                  <a:pt x="2593180" y="5757724"/>
                  <a:pt x="2588390" y="5752934"/>
                  <a:pt x="2588390" y="5746988"/>
                </a:cubicBezTo>
                <a:cubicBezTo>
                  <a:pt x="2588390" y="5741041"/>
                  <a:pt x="2593180" y="5736252"/>
                  <a:pt x="2599126" y="5736252"/>
                </a:cubicBezTo>
                <a:close/>
                <a:moveTo>
                  <a:pt x="2241345" y="5736087"/>
                </a:moveTo>
                <a:cubicBezTo>
                  <a:pt x="2242335" y="5736087"/>
                  <a:pt x="2242996" y="5736748"/>
                  <a:pt x="2242996" y="5737740"/>
                </a:cubicBezTo>
                <a:cubicBezTo>
                  <a:pt x="2242996" y="5738730"/>
                  <a:pt x="2242170" y="5739390"/>
                  <a:pt x="2241345" y="5739390"/>
                </a:cubicBezTo>
                <a:cubicBezTo>
                  <a:pt x="2240353" y="5739390"/>
                  <a:pt x="2239692" y="5738730"/>
                  <a:pt x="2239692" y="5737740"/>
                </a:cubicBezTo>
                <a:cubicBezTo>
                  <a:pt x="2239692" y="5736748"/>
                  <a:pt x="2240353" y="5736087"/>
                  <a:pt x="2241345" y="5736087"/>
                </a:cubicBezTo>
                <a:close/>
                <a:moveTo>
                  <a:pt x="3277691" y="5735756"/>
                </a:moveTo>
                <a:cubicBezTo>
                  <a:pt x="3283638" y="5735756"/>
                  <a:pt x="3288430" y="5740545"/>
                  <a:pt x="3288430" y="5746492"/>
                </a:cubicBezTo>
                <a:cubicBezTo>
                  <a:pt x="3288430" y="5752438"/>
                  <a:pt x="3283638" y="5757228"/>
                  <a:pt x="3277691" y="5757228"/>
                </a:cubicBezTo>
                <a:cubicBezTo>
                  <a:pt x="3271745" y="5757228"/>
                  <a:pt x="3266955" y="5752438"/>
                  <a:pt x="3266955" y="5746492"/>
                </a:cubicBezTo>
                <a:cubicBezTo>
                  <a:pt x="3266955" y="5740545"/>
                  <a:pt x="3271745" y="5735756"/>
                  <a:pt x="3277691" y="5735756"/>
                </a:cubicBezTo>
                <a:close/>
                <a:moveTo>
                  <a:pt x="2631006" y="5734601"/>
                </a:moveTo>
                <a:cubicBezTo>
                  <a:pt x="2636952" y="5734601"/>
                  <a:pt x="2641742" y="5739390"/>
                  <a:pt x="2641742" y="5745337"/>
                </a:cubicBezTo>
                <a:cubicBezTo>
                  <a:pt x="2641742" y="5751284"/>
                  <a:pt x="2636952" y="5756073"/>
                  <a:pt x="2631006" y="5756073"/>
                </a:cubicBezTo>
                <a:cubicBezTo>
                  <a:pt x="2625060" y="5756073"/>
                  <a:pt x="2620270" y="5751284"/>
                  <a:pt x="2620270" y="5745337"/>
                </a:cubicBezTo>
                <a:cubicBezTo>
                  <a:pt x="2620270" y="5739390"/>
                  <a:pt x="2625060" y="5734601"/>
                  <a:pt x="2631006" y="5734601"/>
                </a:cubicBezTo>
                <a:close/>
                <a:moveTo>
                  <a:pt x="3249776" y="5733609"/>
                </a:moveTo>
                <a:cubicBezTo>
                  <a:pt x="3255723" y="5733609"/>
                  <a:pt x="3260514" y="5738399"/>
                  <a:pt x="3260514" y="5744345"/>
                </a:cubicBezTo>
                <a:cubicBezTo>
                  <a:pt x="3260514" y="5750292"/>
                  <a:pt x="3255723" y="5755081"/>
                  <a:pt x="3249776" y="5755081"/>
                </a:cubicBezTo>
                <a:cubicBezTo>
                  <a:pt x="3243830" y="5755081"/>
                  <a:pt x="3239040" y="5750292"/>
                  <a:pt x="3239040" y="5744345"/>
                </a:cubicBezTo>
                <a:cubicBezTo>
                  <a:pt x="3239040" y="5738399"/>
                  <a:pt x="3243830" y="5733609"/>
                  <a:pt x="3249776" y="5733609"/>
                </a:cubicBezTo>
                <a:close/>
                <a:moveTo>
                  <a:pt x="2664868" y="5732948"/>
                </a:moveTo>
                <a:lnTo>
                  <a:pt x="2675524" y="5743603"/>
                </a:lnTo>
                <a:lnTo>
                  <a:pt x="2676431" y="5742694"/>
                </a:lnTo>
                <a:cubicBezTo>
                  <a:pt x="2682378" y="5742694"/>
                  <a:pt x="2687168" y="5747484"/>
                  <a:pt x="2687168" y="5753430"/>
                </a:cubicBezTo>
                <a:lnTo>
                  <a:pt x="2686838" y="5753760"/>
                </a:lnTo>
                <a:lnTo>
                  <a:pt x="2697412" y="5764332"/>
                </a:lnTo>
                <a:cubicBezTo>
                  <a:pt x="2697412" y="5770278"/>
                  <a:pt x="2692620" y="5775068"/>
                  <a:pt x="2686674" y="5775068"/>
                </a:cubicBezTo>
                <a:cubicBezTo>
                  <a:pt x="2680727" y="5775068"/>
                  <a:pt x="2675937" y="5770278"/>
                  <a:pt x="2675937" y="5764332"/>
                </a:cubicBezTo>
                <a:lnTo>
                  <a:pt x="2676266" y="5764004"/>
                </a:lnTo>
                <a:lnTo>
                  <a:pt x="2665776" y="5753512"/>
                </a:lnTo>
                <a:lnTo>
                  <a:pt x="2664868" y="5754421"/>
                </a:lnTo>
                <a:cubicBezTo>
                  <a:pt x="2658921" y="5754421"/>
                  <a:pt x="2654132" y="5749631"/>
                  <a:pt x="2654132" y="5743684"/>
                </a:cubicBezTo>
                <a:cubicBezTo>
                  <a:pt x="2654132" y="5737738"/>
                  <a:pt x="2658921" y="5732948"/>
                  <a:pt x="2664868" y="5732948"/>
                </a:cubicBezTo>
                <a:close/>
                <a:moveTo>
                  <a:pt x="2326908" y="5732452"/>
                </a:moveTo>
                <a:cubicBezTo>
                  <a:pt x="2332854" y="5732452"/>
                  <a:pt x="2337646" y="5737242"/>
                  <a:pt x="2337646" y="5743188"/>
                </a:cubicBezTo>
                <a:cubicBezTo>
                  <a:pt x="2337646" y="5749135"/>
                  <a:pt x="2332854" y="5753925"/>
                  <a:pt x="2326908" y="5753925"/>
                </a:cubicBezTo>
                <a:cubicBezTo>
                  <a:pt x="2320961" y="5753925"/>
                  <a:pt x="2316172" y="5749135"/>
                  <a:pt x="2316172" y="5743188"/>
                </a:cubicBezTo>
                <a:cubicBezTo>
                  <a:pt x="2316172" y="5737242"/>
                  <a:pt x="2320961" y="5732452"/>
                  <a:pt x="2326908" y="5732452"/>
                </a:cubicBezTo>
                <a:close/>
                <a:moveTo>
                  <a:pt x="3220704" y="5731958"/>
                </a:moveTo>
                <a:cubicBezTo>
                  <a:pt x="3226651" y="5731958"/>
                  <a:pt x="3231442" y="5736748"/>
                  <a:pt x="3231442" y="5742694"/>
                </a:cubicBezTo>
                <a:cubicBezTo>
                  <a:pt x="3231442" y="5748641"/>
                  <a:pt x="3226651" y="5753430"/>
                  <a:pt x="3220704" y="5753430"/>
                </a:cubicBezTo>
                <a:cubicBezTo>
                  <a:pt x="3214758" y="5753430"/>
                  <a:pt x="3209968" y="5748641"/>
                  <a:pt x="3209968" y="5742694"/>
                </a:cubicBezTo>
                <a:cubicBezTo>
                  <a:pt x="3209968" y="5736748"/>
                  <a:pt x="3214758" y="5731958"/>
                  <a:pt x="3220704" y="5731958"/>
                </a:cubicBezTo>
                <a:close/>
                <a:moveTo>
                  <a:pt x="2700547" y="5731131"/>
                </a:moveTo>
                <a:lnTo>
                  <a:pt x="2710212" y="5740793"/>
                </a:lnTo>
                <a:lnTo>
                  <a:pt x="2710624" y="5740381"/>
                </a:lnTo>
                <a:cubicBezTo>
                  <a:pt x="2716571" y="5740381"/>
                  <a:pt x="2721362" y="5745171"/>
                  <a:pt x="2721362" y="5751117"/>
                </a:cubicBezTo>
                <a:lnTo>
                  <a:pt x="2720948" y="5751531"/>
                </a:lnTo>
                <a:lnTo>
                  <a:pt x="2730280" y="5760863"/>
                </a:lnTo>
                <a:lnTo>
                  <a:pt x="2728298" y="5762845"/>
                </a:lnTo>
                <a:lnTo>
                  <a:pt x="2738210" y="5772756"/>
                </a:lnTo>
                <a:cubicBezTo>
                  <a:pt x="2738210" y="5778703"/>
                  <a:pt x="2733418" y="5783493"/>
                  <a:pt x="2727472" y="5783493"/>
                </a:cubicBezTo>
                <a:cubicBezTo>
                  <a:pt x="2721526" y="5783493"/>
                  <a:pt x="2716736" y="5778703"/>
                  <a:pt x="2716736" y="5772756"/>
                </a:cubicBezTo>
                <a:lnTo>
                  <a:pt x="2718718" y="5770774"/>
                </a:lnTo>
                <a:lnTo>
                  <a:pt x="2708807" y="5760863"/>
                </a:lnTo>
                <a:lnTo>
                  <a:pt x="2709221" y="5760450"/>
                </a:lnTo>
                <a:lnTo>
                  <a:pt x="2700962" y="5752190"/>
                </a:lnTo>
                <a:lnTo>
                  <a:pt x="2700547" y="5752603"/>
                </a:lnTo>
                <a:cubicBezTo>
                  <a:pt x="2694600" y="5752603"/>
                  <a:pt x="2689810" y="5747813"/>
                  <a:pt x="2689810" y="5741867"/>
                </a:cubicBezTo>
                <a:cubicBezTo>
                  <a:pt x="2689810" y="5735920"/>
                  <a:pt x="2694600" y="5731131"/>
                  <a:pt x="2700547" y="5731131"/>
                </a:cubicBezTo>
                <a:close/>
                <a:moveTo>
                  <a:pt x="3189980" y="5730636"/>
                </a:moveTo>
                <a:cubicBezTo>
                  <a:pt x="3195926" y="5730636"/>
                  <a:pt x="3200718" y="5735426"/>
                  <a:pt x="3200718" y="5741373"/>
                </a:cubicBezTo>
                <a:cubicBezTo>
                  <a:pt x="3200718" y="5747319"/>
                  <a:pt x="3195926" y="5752109"/>
                  <a:pt x="3189980" y="5752109"/>
                </a:cubicBezTo>
                <a:cubicBezTo>
                  <a:pt x="3184033" y="5752109"/>
                  <a:pt x="3179243" y="5747319"/>
                  <a:pt x="3179243" y="5741373"/>
                </a:cubicBezTo>
                <a:cubicBezTo>
                  <a:pt x="3179243" y="5735426"/>
                  <a:pt x="3184033" y="5730636"/>
                  <a:pt x="3189980" y="5730636"/>
                </a:cubicBezTo>
                <a:close/>
                <a:moveTo>
                  <a:pt x="3157439" y="5729480"/>
                </a:moveTo>
                <a:cubicBezTo>
                  <a:pt x="3163386" y="5729480"/>
                  <a:pt x="3168178" y="5734269"/>
                  <a:pt x="3168178" y="5740216"/>
                </a:cubicBezTo>
                <a:cubicBezTo>
                  <a:pt x="3168178" y="5746162"/>
                  <a:pt x="3163386" y="5750952"/>
                  <a:pt x="3157439" y="5750952"/>
                </a:cubicBezTo>
                <a:cubicBezTo>
                  <a:pt x="3151493" y="5750952"/>
                  <a:pt x="3146703" y="5746162"/>
                  <a:pt x="3146703" y="5740216"/>
                </a:cubicBezTo>
                <a:cubicBezTo>
                  <a:pt x="3146703" y="5734269"/>
                  <a:pt x="3151493" y="5729480"/>
                  <a:pt x="3157439" y="5729480"/>
                </a:cubicBezTo>
                <a:close/>
                <a:moveTo>
                  <a:pt x="3123082" y="5727993"/>
                </a:moveTo>
                <a:cubicBezTo>
                  <a:pt x="3129028" y="5727993"/>
                  <a:pt x="3133820" y="5732783"/>
                  <a:pt x="3133820" y="5738730"/>
                </a:cubicBezTo>
                <a:cubicBezTo>
                  <a:pt x="3133820" y="5744676"/>
                  <a:pt x="3129028" y="5749466"/>
                  <a:pt x="3123082" y="5749466"/>
                </a:cubicBezTo>
                <a:cubicBezTo>
                  <a:pt x="3117135" y="5749466"/>
                  <a:pt x="3112345" y="5744676"/>
                  <a:pt x="3112345" y="5738730"/>
                </a:cubicBezTo>
                <a:cubicBezTo>
                  <a:pt x="3112345" y="5732783"/>
                  <a:pt x="3117135" y="5727993"/>
                  <a:pt x="3123082" y="5727993"/>
                </a:cubicBezTo>
                <a:close/>
                <a:moveTo>
                  <a:pt x="2522482" y="5727993"/>
                </a:moveTo>
                <a:cubicBezTo>
                  <a:pt x="2528429" y="5727993"/>
                  <a:pt x="2533220" y="5732783"/>
                  <a:pt x="2533220" y="5738730"/>
                </a:cubicBezTo>
                <a:cubicBezTo>
                  <a:pt x="2533220" y="5744676"/>
                  <a:pt x="2528429" y="5749466"/>
                  <a:pt x="2522482" y="5749466"/>
                </a:cubicBezTo>
                <a:cubicBezTo>
                  <a:pt x="2516536" y="5749466"/>
                  <a:pt x="2511746" y="5744676"/>
                  <a:pt x="2511746" y="5738730"/>
                </a:cubicBezTo>
                <a:cubicBezTo>
                  <a:pt x="2511746" y="5732783"/>
                  <a:pt x="2516536" y="5727993"/>
                  <a:pt x="2522482" y="5727993"/>
                </a:cubicBezTo>
                <a:close/>
                <a:moveTo>
                  <a:pt x="2349041" y="5727333"/>
                </a:moveTo>
                <a:cubicBezTo>
                  <a:pt x="2354988" y="5727333"/>
                  <a:pt x="2359779" y="5732122"/>
                  <a:pt x="2359779" y="5738069"/>
                </a:cubicBezTo>
                <a:cubicBezTo>
                  <a:pt x="2359779" y="5744016"/>
                  <a:pt x="2354988" y="5748805"/>
                  <a:pt x="2349041" y="5748805"/>
                </a:cubicBezTo>
                <a:cubicBezTo>
                  <a:pt x="2343095" y="5748805"/>
                  <a:pt x="2338305" y="5744016"/>
                  <a:pt x="2338305" y="5738069"/>
                </a:cubicBezTo>
                <a:cubicBezTo>
                  <a:pt x="2338305" y="5732122"/>
                  <a:pt x="2343095" y="5727333"/>
                  <a:pt x="2349041" y="5727333"/>
                </a:cubicBezTo>
                <a:close/>
                <a:moveTo>
                  <a:pt x="2552050" y="5726837"/>
                </a:moveTo>
                <a:cubicBezTo>
                  <a:pt x="2557997" y="5726837"/>
                  <a:pt x="2562787" y="5731627"/>
                  <a:pt x="2562787" y="5737573"/>
                </a:cubicBezTo>
                <a:cubicBezTo>
                  <a:pt x="2562787" y="5743520"/>
                  <a:pt x="2557997" y="5748309"/>
                  <a:pt x="2552050" y="5748309"/>
                </a:cubicBezTo>
                <a:cubicBezTo>
                  <a:pt x="2546104" y="5748309"/>
                  <a:pt x="2541314" y="5743520"/>
                  <a:pt x="2541314" y="5737573"/>
                </a:cubicBezTo>
                <a:cubicBezTo>
                  <a:pt x="2541314" y="5731627"/>
                  <a:pt x="2546104" y="5726837"/>
                  <a:pt x="2552050" y="5726837"/>
                </a:cubicBezTo>
                <a:close/>
                <a:moveTo>
                  <a:pt x="3486976" y="5726176"/>
                </a:moveTo>
                <a:cubicBezTo>
                  <a:pt x="3492923" y="5726176"/>
                  <a:pt x="3497714" y="5730966"/>
                  <a:pt x="3497714" y="5736912"/>
                </a:cubicBezTo>
                <a:cubicBezTo>
                  <a:pt x="3497714" y="5742859"/>
                  <a:pt x="3492923" y="5747650"/>
                  <a:pt x="3486976" y="5747650"/>
                </a:cubicBezTo>
                <a:cubicBezTo>
                  <a:pt x="3481030" y="5747650"/>
                  <a:pt x="3476240" y="5742859"/>
                  <a:pt x="3476240" y="5736912"/>
                </a:cubicBezTo>
                <a:cubicBezTo>
                  <a:pt x="3476240" y="5730966"/>
                  <a:pt x="3481030" y="5726176"/>
                  <a:pt x="3486976" y="5726176"/>
                </a:cubicBezTo>
                <a:close/>
                <a:moveTo>
                  <a:pt x="3086577" y="5725845"/>
                </a:moveTo>
                <a:cubicBezTo>
                  <a:pt x="3092524" y="5725845"/>
                  <a:pt x="3097313" y="5730635"/>
                  <a:pt x="3097313" y="5736581"/>
                </a:cubicBezTo>
                <a:cubicBezTo>
                  <a:pt x="3097313" y="5742528"/>
                  <a:pt x="3092524" y="5747317"/>
                  <a:pt x="3086577" y="5747317"/>
                </a:cubicBezTo>
                <a:lnTo>
                  <a:pt x="3086081" y="5746823"/>
                </a:lnTo>
                <a:lnTo>
                  <a:pt x="3075839" y="5757064"/>
                </a:lnTo>
                <a:lnTo>
                  <a:pt x="3075758" y="5756982"/>
                </a:lnTo>
                <a:lnTo>
                  <a:pt x="3067416" y="5765323"/>
                </a:lnTo>
                <a:lnTo>
                  <a:pt x="3068406" y="5766314"/>
                </a:lnTo>
                <a:lnTo>
                  <a:pt x="3058001" y="5776719"/>
                </a:lnTo>
                <a:lnTo>
                  <a:pt x="3060810" y="5779528"/>
                </a:lnTo>
                <a:cubicBezTo>
                  <a:pt x="3060810" y="5785475"/>
                  <a:pt x="3056019" y="5790265"/>
                  <a:pt x="3050072" y="5790265"/>
                </a:cubicBezTo>
                <a:cubicBezTo>
                  <a:pt x="3044126" y="5790265"/>
                  <a:pt x="3039336" y="5785475"/>
                  <a:pt x="3039336" y="5779528"/>
                </a:cubicBezTo>
                <a:lnTo>
                  <a:pt x="3049743" y="5769123"/>
                </a:lnTo>
                <a:lnTo>
                  <a:pt x="3046934" y="5766314"/>
                </a:lnTo>
                <a:lnTo>
                  <a:pt x="3056513" y="5756734"/>
                </a:lnTo>
                <a:lnTo>
                  <a:pt x="3055523" y="5755742"/>
                </a:lnTo>
                <a:cubicBezTo>
                  <a:pt x="3055523" y="5749796"/>
                  <a:pt x="3060313" y="5745006"/>
                  <a:pt x="3066259" y="5745006"/>
                </a:cubicBezTo>
                <a:lnTo>
                  <a:pt x="3066342" y="5745089"/>
                </a:lnTo>
                <a:lnTo>
                  <a:pt x="3075839" y="5735591"/>
                </a:lnTo>
                <a:lnTo>
                  <a:pt x="3076335" y="5736087"/>
                </a:lnTo>
                <a:close/>
                <a:moveTo>
                  <a:pt x="2583434" y="5725845"/>
                </a:moveTo>
                <a:cubicBezTo>
                  <a:pt x="2589380" y="5725845"/>
                  <a:pt x="2594172" y="5730635"/>
                  <a:pt x="2594172" y="5736581"/>
                </a:cubicBezTo>
                <a:cubicBezTo>
                  <a:pt x="2594172" y="5742528"/>
                  <a:pt x="2589380" y="5747317"/>
                  <a:pt x="2583434" y="5747317"/>
                </a:cubicBezTo>
                <a:cubicBezTo>
                  <a:pt x="2577487" y="5747317"/>
                  <a:pt x="2572698" y="5742528"/>
                  <a:pt x="2572698" y="5736581"/>
                </a:cubicBezTo>
                <a:cubicBezTo>
                  <a:pt x="2572698" y="5730635"/>
                  <a:pt x="2577487" y="5725845"/>
                  <a:pt x="2583434" y="5725845"/>
                </a:cubicBezTo>
                <a:close/>
                <a:moveTo>
                  <a:pt x="2616635" y="5724688"/>
                </a:moveTo>
                <a:cubicBezTo>
                  <a:pt x="2622582" y="5724688"/>
                  <a:pt x="2627373" y="5729478"/>
                  <a:pt x="2627373" y="5735424"/>
                </a:cubicBezTo>
                <a:cubicBezTo>
                  <a:pt x="2627373" y="5741371"/>
                  <a:pt x="2622582" y="5746161"/>
                  <a:pt x="2616635" y="5746161"/>
                </a:cubicBezTo>
                <a:cubicBezTo>
                  <a:pt x="2610688" y="5746161"/>
                  <a:pt x="2605898" y="5741371"/>
                  <a:pt x="2605898" y="5735424"/>
                </a:cubicBezTo>
                <a:cubicBezTo>
                  <a:pt x="2605898" y="5729478"/>
                  <a:pt x="2610688" y="5724688"/>
                  <a:pt x="2616635" y="5724688"/>
                </a:cubicBezTo>
                <a:close/>
                <a:moveTo>
                  <a:pt x="3047759" y="5723037"/>
                </a:moveTo>
                <a:cubicBezTo>
                  <a:pt x="3053706" y="5723037"/>
                  <a:pt x="3058497" y="5727827"/>
                  <a:pt x="3058497" y="5733773"/>
                </a:cubicBezTo>
                <a:lnTo>
                  <a:pt x="3048918" y="5743355"/>
                </a:lnTo>
                <a:lnTo>
                  <a:pt x="3049576" y="5744014"/>
                </a:lnTo>
                <a:lnTo>
                  <a:pt x="3041070" y="5752522"/>
                </a:lnTo>
                <a:lnTo>
                  <a:pt x="3041648" y="5753099"/>
                </a:lnTo>
                <a:lnTo>
                  <a:pt x="3033306" y="5761441"/>
                </a:lnTo>
                <a:lnTo>
                  <a:pt x="3034546" y="5762681"/>
                </a:lnTo>
                <a:lnTo>
                  <a:pt x="3025626" y="5771600"/>
                </a:lnTo>
                <a:lnTo>
                  <a:pt x="3028268" y="5774242"/>
                </a:lnTo>
                <a:lnTo>
                  <a:pt x="3018191" y="5784318"/>
                </a:lnTo>
                <a:lnTo>
                  <a:pt x="3022818" y="5788943"/>
                </a:lnTo>
                <a:cubicBezTo>
                  <a:pt x="3022818" y="5794890"/>
                  <a:pt x="3018026" y="5799681"/>
                  <a:pt x="3012080" y="5799681"/>
                </a:cubicBezTo>
                <a:cubicBezTo>
                  <a:pt x="3006133" y="5799681"/>
                  <a:pt x="3001344" y="5794890"/>
                  <a:pt x="3001344" y="5788943"/>
                </a:cubicBezTo>
                <a:lnTo>
                  <a:pt x="3011419" y="5778867"/>
                </a:lnTo>
                <a:lnTo>
                  <a:pt x="3006794" y="5774242"/>
                </a:lnTo>
                <a:lnTo>
                  <a:pt x="3015715" y="5765323"/>
                </a:lnTo>
                <a:lnTo>
                  <a:pt x="3013072" y="5762681"/>
                </a:lnTo>
                <a:lnTo>
                  <a:pt x="3021413" y="5754339"/>
                </a:lnTo>
                <a:lnTo>
                  <a:pt x="3020173" y="5753099"/>
                </a:lnTo>
                <a:lnTo>
                  <a:pt x="3028681" y="5744591"/>
                </a:lnTo>
                <a:lnTo>
                  <a:pt x="3028104" y="5744014"/>
                </a:lnTo>
                <a:lnTo>
                  <a:pt x="3037683" y="5734434"/>
                </a:lnTo>
                <a:lnTo>
                  <a:pt x="3037022" y="5733773"/>
                </a:lnTo>
                <a:cubicBezTo>
                  <a:pt x="3037022" y="5727827"/>
                  <a:pt x="3041812" y="5723037"/>
                  <a:pt x="3047759" y="5723037"/>
                </a:cubicBezTo>
                <a:close/>
                <a:moveTo>
                  <a:pt x="2651820" y="5723037"/>
                </a:moveTo>
                <a:cubicBezTo>
                  <a:pt x="2657766" y="5723037"/>
                  <a:pt x="2662558" y="5727827"/>
                  <a:pt x="2662558" y="5733773"/>
                </a:cubicBezTo>
                <a:cubicBezTo>
                  <a:pt x="2662558" y="5739720"/>
                  <a:pt x="2657766" y="5744512"/>
                  <a:pt x="2651820" y="5744512"/>
                </a:cubicBezTo>
                <a:cubicBezTo>
                  <a:pt x="2645873" y="5744512"/>
                  <a:pt x="2641084" y="5739720"/>
                  <a:pt x="2641084" y="5733773"/>
                </a:cubicBezTo>
                <a:cubicBezTo>
                  <a:pt x="2641084" y="5727827"/>
                  <a:pt x="2645873" y="5723037"/>
                  <a:pt x="2651820" y="5723037"/>
                </a:cubicBezTo>
                <a:close/>
                <a:moveTo>
                  <a:pt x="3268441" y="5721716"/>
                </a:moveTo>
                <a:cubicBezTo>
                  <a:pt x="3274388" y="5721716"/>
                  <a:pt x="3279179" y="5726505"/>
                  <a:pt x="3279179" y="5732452"/>
                </a:cubicBezTo>
                <a:cubicBezTo>
                  <a:pt x="3279179" y="5738399"/>
                  <a:pt x="3274388" y="5743188"/>
                  <a:pt x="3268441" y="5743188"/>
                </a:cubicBezTo>
                <a:cubicBezTo>
                  <a:pt x="3262495" y="5743188"/>
                  <a:pt x="3257705" y="5738399"/>
                  <a:pt x="3257705" y="5732452"/>
                </a:cubicBezTo>
                <a:cubicBezTo>
                  <a:pt x="3257705" y="5726505"/>
                  <a:pt x="3262495" y="5721716"/>
                  <a:pt x="3268441" y="5721716"/>
                </a:cubicBezTo>
                <a:close/>
                <a:moveTo>
                  <a:pt x="3465668" y="5721055"/>
                </a:moveTo>
                <a:cubicBezTo>
                  <a:pt x="3471615" y="5721055"/>
                  <a:pt x="3476406" y="5725845"/>
                  <a:pt x="3476406" y="5731791"/>
                </a:cubicBezTo>
                <a:cubicBezTo>
                  <a:pt x="3476406" y="5737738"/>
                  <a:pt x="3471615" y="5742529"/>
                  <a:pt x="3465668" y="5742529"/>
                </a:cubicBezTo>
                <a:cubicBezTo>
                  <a:pt x="3459722" y="5742529"/>
                  <a:pt x="3454932" y="5737738"/>
                  <a:pt x="3454932" y="5731791"/>
                </a:cubicBezTo>
                <a:cubicBezTo>
                  <a:pt x="3454932" y="5725845"/>
                  <a:pt x="3459722" y="5721055"/>
                  <a:pt x="3465668" y="5721055"/>
                </a:cubicBezTo>
                <a:close/>
                <a:moveTo>
                  <a:pt x="3238544" y="5721055"/>
                </a:moveTo>
                <a:cubicBezTo>
                  <a:pt x="3244490" y="5721055"/>
                  <a:pt x="3249282" y="5725845"/>
                  <a:pt x="3249282" y="5731791"/>
                </a:cubicBezTo>
                <a:cubicBezTo>
                  <a:pt x="3249282" y="5737738"/>
                  <a:pt x="3244490" y="5742529"/>
                  <a:pt x="3238544" y="5742529"/>
                </a:cubicBezTo>
                <a:cubicBezTo>
                  <a:pt x="3232597" y="5742529"/>
                  <a:pt x="3227808" y="5737738"/>
                  <a:pt x="3227808" y="5731791"/>
                </a:cubicBezTo>
                <a:cubicBezTo>
                  <a:pt x="3227808" y="5725845"/>
                  <a:pt x="3232597" y="5721055"/>
                  <a:pt x="3238544" y="5721055"/>
                </a:cubicBezTo>
                <a:close/>
                <a:moveTo>
                  <a:pt x="2689316" y="5720559"/>
                </a:moveTo>
                <a:cubicBezTo>
                  <a:pt x="2695263" y="5720559"/>
                  <a:pt x="2700054" y="5725349"/>
                  <a:pt x="2700054" y="5731295"/>
                </a:cubicBezTo>
                <a:cubicBezTo>
                  <a:pt x="2700054" y="5737242"/>
                  <a:pt x="2695263" y="5742032"/>
                  <a:pt x="2689316" y="5742032"/>
                </a:cubicBezTo>
                <a:cubicBezTo>
                  <a:pt x="2683370" y="5742032"/>
                  <a:pt x="2678580" y="5737242"/>
                  <a:pt x="2678580" y="5731295"/>
                </a:cubicBezTo>
                <a:cubicBezTo>
                  <a:pt x="2678580" y="5725349"/>
                  <a:pt x="2683370" y="5720559"/>
                  <a:pt x="2689316" y="5720559"/>
                </a:cubicBezTo>
                <a:close/>
                <a:moveTo>
                  <a:pt x="2261331" y="5720559"/>
                </a:moveTo>
                <a:cubicBezTo>
                  <a:pt x="2267278" y="5720559"/>
                  <a:pt x="2272069" y="5725349"/>
                  <a:pt x="2272069" y="5731295"/>
                </a:cubicBezTo>
                <a:cubicBezTo>
                  <a:pt x="2272069" y="5737242"/>
                  <a:pt x="2267278" y="5742032"/>
                  <a:pt x="2261331" y="5742032"/>
                </a:cubicBezTo>
                <a:cubicBezTo>
                  <a:pt x="2255385" y="5742032"/>
                  <a:pt x="2250595" y="5737242"/>
                  <a:pt x="2250595" y="5731295"/>
                </a:cubicBezTo>
                <a:cubicBezTo>
                  <a:pt x="2250595" y="5725349"/>
                  <a:pt x="2255385" y="5720559"/>
                  <a:pt x="2261331" y="5720559"/>
                </a:cubicBezTo>
                <a:close/>
                <a:moveTo>
                  <a:pt x="3206662" y="5720229"/>
                </a:moveTo>
                <a:cubicBezTo>
                  <a:pt x="3212609" y="5720229"/>
                  <a:pt x="3217400" y="5725019"/>
                  <a:pt x="3217400" y="5730966"/>
                </a:cubicBezTo>
                <a:cubicBezTo>
                  <a:pt x="3217400" y="5736912"/>
                  <a:pt x="3212609" y="5741702"/>
                  <a:pt x="3206662" y="5741702"/>
                </a:cubicBezTo>
                <a:cubicBezTo>
                  <a:pt x="3200716" y="5741702"/>
                  <a:pt x="3195926" y="5736912"/>
                  <a:pt x="3195926" y="5730966"/>
                </a:cubicBezTo>
                <a:cubicBezTo>
                  <a:pt x="3195926" y="5725019"/>
                  <a:pt x="3200716" y="5720229"/>
                  <a:pt x="3206662" y="5720229"/>
                </a:cubicBezTo>
                <a:close/>
                <a:moveTo>
                  <a:pt x="3172801" y="5718908"/>
                </a:moveTo>
                <a:cubicBezTo>
                  <a:pt x="3178747" y="5718908"/>
                  <a:pt x="3183539" y="5723698"/>
                  <a:pt x="3183539" y="5729644"/>
                </a:cubicBezTo>
                <a:cubicBezTo>
                  <a:pt x="3183539" y="5735591"/>
                  <a:pt x="3178747" y="5740382"/>
                  <a:pt x="3172801" y="5740382"/>
                </a:cubicBezTo>
                <a:cubicBezTo>
                  <a:pt x="3166854" y="5740382"/>
                  <a:pt x="3162064" y="5735591"/>
                  <a:pt x="3162064" y="5729644"/>
                </a:cubicBezTo>
                <a:cubicBezTo>
                  <a:pt x="3162064" y="5723698"/>
                  <a:pt x="3166854" y="5718908"/>
                  <a:pt x="3172801" y="5718908"/>
                </a:cubicBezTo>
                <a:close/>
                <a:moveTo>
                  <a:pt x="3006464" y="5718908"/>
                </a:moveTo>
                <a:cubicBezTo>
                  <a:pt x="3012411" y="5718908"/>
                  <a:pt x="3017202" y="5723698"/>
                  <a:pt x="3017202" y="5729644"/>
                </a:cubicBezTo>
                <a:lnTo>
                  <a:pt x="3008117" y="5738730"/>
                </a:lnTo>
                <a:lnTo>
                  <a:pt x="3010429" y="5741041"/>
                </a:lnTo>
                <a:lnTo>
                  <a:pt x="3002830" y="5748641"/>
                </a:lnTo>
                <a:lnTo>
                  <a:pt x="3004482" y="5750292"/>
                </a:lnTo>
                <a:lnTo>
                  <a:pt x="2997296" y="5757478"/>
                </a:lnTo>
                <a:lnTo>
                  <a:pt x="2999032" y="5759212"/>
                </a:lnTo>
                <a:lnTo>
                  <a:pt x="2991516" y="5766728"/>
                </a:lnTo>
                <a:lnTo>
                  <a:pt x="2994242" y="5769453"/>
                </a:lnTo>
                <a:lnTo>
                  <a:pt x="2985652" y="5778044"/>
                </a:lnTo>
                <a:lnTo>
                  <a:pt x="2989944" y="5782336"/>
                </a:lnTo>
                <a:lnTo>
                  <a:pt x="2979869" y="5792413"/>
                </a:lnTo>
                <a:lnTo>
                  <a:pt x="2986312" y="5798854"/>
                </a:lnTo>
                <a:cubicBezTo>
                  <a:pt x="2986312" y="5804801"/>
                  <a:pt x="2981522" y="5809592"/>
                  <a:pt x="2975575" y="5809592"/>
                </a:cubicBezTo>
                <a:cubicBezTo>
                  <a:pt x="2969628" y="5809592"/>
                  <a:pt x="2964839" y="5804801"/>
                  <a:pt x="2964839" y="5798854"/>
                </a:cubicBezTo>
                <a:lnTo>
                  <a:pt x="2974914" y="5788780"/>
                </a:lnTo>
                <a:lnTo>
                  <a:pt x="2968472" y="5782336"/>
                </a:lnTo>
                <a:lnTo>
                  <a:pt x="2977061" y="5773746"/>
                </a:lnTo>
                <a:lnTo>
                  <a:pt x="2972768" y="5769453"/>
                </a:lnTo>
                <a:lnTo>
                  <a:pt x="2980284" y="5761938"/>
                </a:lnTo>
                <a:lnTo>
                  <a:pt x="2977557" y="5759212"/>
                </a:lnTo>
                <a:lnTo>
                  <a:pt x="2984742" y="5752027"/>
                </a:lnTo>
                <a:lnTo>
                  <a:pt x="2983008" y="5750292"/>
                </a:lnTo>
                <a:lnTo>
                  <a:pt x="2990605" y="5742694"/>
                </a:lnTo>
                <a:lnTo>
                  <a:pt x="2988954" y="5741041"/>
                </a:lnTo>
                <a:lnTo>
                  <a:pt x="2998040" y="5731956"/>
                </a:lnTo>
                <a:lnTo>
                  <a:pt x="2995728" y="5729644"/>
                </a:lnTo>
                <a:cubicBezTo>
                  <a:pt x="2995728" y="5723698"/>
                  <a:pt x="3000518" y="5718908"/>
                  <a:pt x="3006464" y="5718908"/>
                </a:cubicBezTo>
                <a:close/>
                <a:moveTo>
                  <a:pt x="3443698" y="5717255"/>
                </a:moveTo>
                <a:cubicBezTo>
                  <a:pt x="3449644" y="5717255"/>
                  <a:pt x="3454436" y="5722045"/>
                  <a:pt x="3454436" y="5727992"/>
                </a:cubicBezTo>
                <a:cubicBezTo>
                  <a:pt x="3454436" y="5733938"/>
                  <a:pt x="3449644" y="5738730"/>
                  <a:pt x="3443698" y="5738730"/>
                </a:cubicBezTo>
                <a:cubicBezTo>
                  <a:pt x="3437752" y="5738730"/>
                  <a:pt x="3432962" y="5733938"/>
                  <a:pt x="3432962" y="5727992"/>
                </a:cubicBezTo>
                <a:cubicBezTo>
                  <a:pt x="3432962" y="5722045"/>
                  <a:pt x="3437752" y="5717255"/>
                  <a:pt x="3443698" y="5717255"/>
                </a:cubicBezTo>
                <a:close/>
                <a:moveTo>
                  <a:pt x="3136957" y="5716926"/>
                </a:moveTo>
                <a:cubicBezTo>
                  <a:pt x="3142903" y="5716926"/>
                  <a:pt x="3147695" y="5721716"/>
                  <a:pt x="3147695" y="5727662"/>
                </a:cubicBezTo>
                <a:cubicBezTo>
                  <a:pt x="3147695" y="5733609"/>
                  <a:pt x="3142903" y="5738400"/>
                  <a:pt x="3136957" y="5738400"/>
                </a:cubicBezTo>
                <a:cubicBezTo>
                  <a:pt x="3131010" y="5738400"/>
                  <a:pt x="3126220" y="5733609"/>
                  <a:pt x="3126220" y="5727662"/>
                </a:cubicBezTo>
                <a:cubicBezTo>
                  <a:pt x="3126220" y="5721716"/>
                  <a:pt x="3131010" y="5716926"/>
                  <a:pt x="3136957" y="5716926"/>
                </a:cubicBezTo>
                <a:close/>
                <a:moveTo>
                  <a:pt x="2729290" y="5716926"/>
                </a:moveTo>
                <a:cubicBezTo>
                  <a:pt x="2735236" y="5716926"/>
                  <a:pt x="2740028" y="5721716"/>
                  <a:pt x="2740028" y="5727662"/>
                </a:cubicBezTo>
                <a:lnTo>
                  <a:pt x="2738871" y="5728819"/>
                </a:lnTo>
                <a:lnTo>
                  <a:pt x="2749278" y="5739224"/>
                </a:lnTo>
                <a:lnTo>
                  <a:pt x="2748615" y="5739886"/>
                </a:lnTo>
                <a:lnTo>
                  <a:pt x="2757536" y="5748805"/>
                </a:lnTo>
                <a:lnTo>
                  <a:pt x="2756627" y="5749714"/>
                </a:lnTo>
                <a:lnTo>
                  <a:pt x="2764806" y="5757891"/>
                </a:lnTo>
                <a:lnTo>
                  <a:pt x="2762905" y="5759791"/>
                </a:lnTo>
                <a:lnTo>
                  <a:pt x="2771411" y="5768296"/>
                </a:lnTo>
                <a:lnTo>
                  <a:pt x="2767860" y="5771849"/>
                </a:lnTo>
                <a:lnTo>
                  <a:pt x="2777193" y="5781181"/>
                </a:lnTo>
                <a:cubicBezTo>
                  <a:pt x="2777193" y="5787127"/>
                  <a:pt x="2772401" y="5791919"/>
                  <a:pt x="2766455" y="5791919"/>
                </a:cubicBezTo>
                <a:cubicBezTo>
                  <a:pt x="2760508" y="5791919"/>
                  <a:pt x="2755718" y="5787127"/>
                  <a:pt x="2755718" y="5781181"/>
                </a:cubicBezTo>
                <a:lnTo>
                  <a:pt x="2759270" y="5777631"/>
                </a:lnTo>
                <a:lnTo>
                  <a:pt x="2749936" y="5768296"/>
                </a:lnTo>
                <a:lnTo>
                  <a:pt x="2751837" y="5766397"/>
                </a:lnTo>
                <a:lnTo>
                  <a:pt x="2743331" y="5757891"/>
                </a:lnTo>
                <a:lnTo>
                  <a:pt x="2744238" y="5756984"/>
                </a:lnTo>
                <a:lnTo>
                  <a:pt x="2736062" y="5748805"/>
                </a:lnTo>
                <a:lnTo>
                  <a:pt x="2736724" y="5748145"/>
                </a:lnTo>
                <a:lnTo>
                  <a:pt x="2727803" y="5739224"/>
                </a:lnTo>
                <a:lnTo>
                  <a:pt x="2728958" y="5738069"/>
                </a:lnTo>
                <a:lnTo>
                  <a:pt x="2718553" y="5727662"/>
                </a:lnTo>
                <a:cubicBezTo>
                  <a:pt x="2718553" y="5721716"/>
                  <a:pt x="2723343" y="5716926"/>
                  <a:pt x="2729290" y="5716926"/>
                </a:cubicBezTo>
                <a:close/>
                <a:moveTo>
                  <a:pt x="2502826" y="5716430"/>
                </a:moveTo>
                <a:cubicBezTo>
                  <a:pt x="2508772" y="5716430"/>
                  <a:pt x="2513564" y="5721220"/>
                  <a:pt x="2513564" y="5727166"/>
                </a:cubicBezTo>
                <a:lnTo>
                  <a:pt x="2502826" y="5737903"/>
                </a:lnTo>
                <a:lnTo>
                  <a:pt x="2504972" y="5740049"/>
                </a:lnTo>
                <a:cubicBezTo>
                  <a:pt x="2504972" y="5745996"/>
                  <a:pt x="2500182" y="5750788"/>
                  <a:pt x="2494236" y="5750788"/>
                </a:cubicBezTo>
                <a:cubicBezTo>
                  <a:pt x="2488290" y="5750788"/>
                  <a:pt x="2483500" y="5745996"/>
                  <a:pt x="2483500" y="5740049"/>
                </a:cubicBezTo>
                <a:lnTo>
                  <a:pt x="2494236" y="5729313"/>
                </a:lnTo>
                <a:lnTo>
                  <a:pt x="2492089" y="5727166"/>
                </a:lnTo>
                <a:cubicBezTo>
                  <a:pt x="2492089" y="5721220"/>
                  <a:pt x="2496879" y="5716430"/>
                  <a:pt x="2502826" y="5716430"/>
                </a:cubicBezTo>
                <a:close/>
                <a:moveTo>
                  <a:pt x="2533385" y="5715934"/>
                </a:moveTo>
                <a:cubicBezTo>
                  <a:pt x="2539332" y="5715934"/>
                  <a:pt x="2544123" y="5720724"/>
                  <a:pt x="2544123" y="5726670"/>
                </a:cubicBezTo>
                <a:cubicBezTo>
                  <a:pt x="2544123" y="5732617"/>
                  <a:pt x="2539332" y="5737407"/>
                  <a:pt x="2533385" y="5737407"/>
                </a:cubicBezTo>
                <a:cubicBezTo>
                  <a:pt x="2527439" y="5737407"/>
                  <a:pt x="2522649" y="5732617"/>
                  <a:pt x="2522649" y="5726670"/>
                </a:cubicBezTo>
                <a:cubicBezTo>
                  <a:pt x="2522649" y="5720724"/>
                  <a:pt x="2527439" y="5715934"/>
                  <a:pt x="2533385" y="5715934"/>
                </a:cubicBezTo>
                <a:close/>
                <a:moveTo>
                  <a:pt x="2281814" y="5715273"/>
                </a:moveTo>
                <a:cubicBezTo>
                  <a:pt x="2287760" y="5715273"/>
                  <a:pt x="2292550" y="5720063"/>
                  <a:pt x="2292550" y="5726009"/>
                </a:cubicBezTo>
                <a:cubicBezTo>
                  <a:pt x="2292550" y="5731956"/>
                  <a:pt x="2287760" y="5736748"/>
                  <a:pt x="2281814" y="5736748"/>
                </a:cubicBezTo>
                <a:cubicBezTo>
                  <a:pt x="2275867" y="5736748"/>
                  <a:pt x="2271077" y="5731956"/>
                  <a:pt x="2271077" y="5726009"/>
                </a:cubicBezTo>
                <a:cubicBezTo>
                  <a:pt x="2271077" y="5720063"/>
                  <a:pt x="2275867" y="5715273"/>
                  <a:pt x="2281814" y="5715273"/>
                </a:cubicBezTo>
                <a:close/>
                <a:moveTo>
                  <a:pt x="2565926" y="5714944"/>
                </a:moveTo>
                <a:cubicBezTo>
                  <a:pt x="2571872" y="5714944"/>
                  <a:pt x="2576664" y="5719733"/>
                  <a:pt x="2576664" y="5725680"/>
                </a:cubicBezTo>
                <a:cubicBezTo>
                  <a:pt x="2576664" y="5731627"/>
                  <a:pt x="2571872" y="5736416"/>
                  <a:pt x="2565926" y="5736416"/>
                </a:cubicBezTo>
                <a:cubicBezTo>
                  <a:pt x="2559979" y="5736416"/>
                  <a:pt x="2555189" y="5731627"/>
                  <a:pt x="2555189" y="5725680"/>
                </a:cubicBezTo>
                <a:cubicBezTo>
                  <a:pt x="2555189" y="5719733"/>
                  <a:pt x="2559979" y="5714944"/>
                  <a:pt x="2565926" y="5714944"/>
                </a:cubicBezTo>
                <a:close/>
                <a:moveTo>
                  <a:pt x="3098635" y="5713952"/>
                </a:moveTo>
                <a:cubicBezTo>
                  <a:pt x="3104581" y="5713952"/>
                  <a:pt x="3109373" y="5718741"/>
                  <a:pt x="3109373" y="5724688"/>
                </a:cubicBezTo>
                <a:cubicBezTo>
                  <a:pt x="3109373" y="5730635"/>
                  <a:pt x="3104581" y="5735424"/>
                  <a:pt x="3098635" y="5735424"/>
                </a:cubicBezTo>
                <a:cubicBezTo>
                  <a:pt x="3092688" y="5735424"/>
                  <a:pt x="3087898" y="5730635"/>
                  <a:pt x="3087898" y="5724688"/>
                </a:cubicBezTo>
                <a:cubicBezTo>
                  <a:pt x="3087898" y="5718741"/>
                  <a:pt x="3092688" y="5713952"/>
                  <a:pt x="3098635" y="5713952"/>
                </a:cubicBezTo>
                <a:close/>
                <a:moveTo>
                  <a:pt x="3503192" y="5713428"/>
                </a:moveTo>
                <a:lnTo>
                  <a:pt x="3503192" y="5716788"/>
                </a:lnTo>
                <a:lnTo>
                  <a:pt x="3501512" y="5715108"/>
                </a:lnTo>
                <a:close/>
                <a:moveTo>
                  <a:pt x="2600448" y="5713291"/>
                </a:moveTo>
                <a:cubicBezTo>
                  <a:pt x="2606379" y="5713291"/>
                  <a:pt x="2611186" y="5718098"/>
                  <a:pt x="2611186" y="5724027"/>
                </a:cubicBezTo>
                <a:cubicBezTo>
                  <a:pt x="2611186" y="5729956"/>
                  <a:pt x="2606379" y="5734764"/>
                  <a:pt x="2600448" y="5734764"/>
                </a:cubicBezTo>
                <a:cubicBezTo>
                  <a:pt x="2594519" y="5734764"/>
                  <a:pt x="2589712" y="5729956"/>
                  <a:pt x="2589712" y="5724027"/>
                </a:cubicBezTo>
                <a:cubicBezTo>
                  <a:pt x="2589712" y="5718098"/>
                  <a:pt x="2594519" y="5713291"/>
                  <a:pt x="2600448" y="5713291"/>
                </a:cubicBezTo>
                <a:close/>
                <a:moveTo>
                  <a:pt x="2962526" y="5713126"/>
                </a:moveTo>
                <a:cubicBezTo>
                  <a:pt x="2968472" y="5713126"/>
                  <a:pt x="2973264" y="5717916"/>
                  <a:pt x="2973264" y="5723863"/>
                </a:cubicBezTo>
                <a:lnTo>
                  <a:pt x="2964509" y="5732617"/>
                </a:lnTo>
                <a:lnTo>
                  <a:pt x="2968970" y="5737077"/>
                </a:lnTo>
                <a:lnTo>
                  <a:pt x="2962031" y="5744016"/>
                </a:lnTo>
                <a:lnTo>
                  <a:pt x="2965004" y="5746988"/>
                </a:lnTo>
                <a:lnTo>
                  <a:pt x="2958890" y="5753099"/>
                </a:lnTo>
                <a:lnTo>
                  <a:pt x="2961534" y="5755742"/>
                </a:lnTo>
                <a:lnTo>
                  <a:pt x="2955341" y="5761935"/>
                </a:lnTo>
                <a:lnTo>
                  <a:pt x="2958563" y="5765157"/>
                </a:lnTo>
                <a:lnTo>
                  <a:pt x="2951541" y="5772179"/>
                </a:lnTo>
                <a:lnTo>
                  <a:pt x="2955754" y="5776391"/>
                </a:lnTo>
                <a:lnTo>
                  <a:pt x="2947412" y="5784733"/>
                </a:lnTo>
                <a:lnTo>
                  <a:pt x="2953442" y="5790761"/>
                </a:lnTo>
                <a:cubicBezTo>
                  <a:pt x="2953442" y="5796707"/>
                  <a:pt x="2948650" y="5801497"/>
                  <a:pt x="2942704" y="5801497"/>
                </a:cubicBezTo>
                <a:cubicBezTo>
                  <a:pt x="2936757" y="5801497"/>
                  <a:pt x="2931967" y="5796707"/>
                  <a:pt x="2931967" y="5790761"/>
                </a:cubicBezTo>
                <a:lnTo>
                  <a:pt x="2940307" y="5782421"/>
                </a:lnTo>
                <a:lnTo>
                  <a:pt x="2934279" y="5776391"/>
                </a:lnTo>
                <a:lnTo>
                  <a:pt x="2941301" y="5769369"/>
                </a:lnTo>
                <a:lnTo>
                  <a:pt x="2937088" y="5765157"/>
                </a:lnTo>
                <a:lnTo>
                  <a:pt x="2943283" y="5758964"/>
                </a:lnTo>
                <a:lnTo>
                  <a:pt x="2940061" y="5755742"/>
                </a:lnTo>
                <a:lnTo>
                  <a:pt x="2946172" y="5749631"/>
                </a:lnTo>
                <a:lnTo>
                  <a:pt x="2943529" y="5746988"/>
                </a:lnTo>
                <a:lnTo>
                  <a:pt x="2950468" y="5740049"/>
                </a:lnTo>
                <a:lnTo>
                  <a:pt x="2947495" y="5737077"/>
                </a:lnTo>
                <a:lnTo>
                  <a:pt x="2956249" y="5728323"/>
                </a:lnTo>
                <a:lnTo>
                  <a:pt x="2951789" y="5723863"/>
                </a:lnTo>
                <a:cubicBezTo>
                  <a:pt x="2951789" y="5717916"/>
                  <a:pt x="2956579" y="5713126"/>
                  <a:pt x="2962526" y="5713126"/>
                </a:cubicBezTo>
                <a:close/>
                <a:moveTo>
                  <a:pt x="2771740" y="5711805"/>
                </a:moveTo>
                <a:cubicBezTo>
                  <a:pt x="2777687" y="5711805"/>
                  <a:pt x="2782479" y="5716595"/>
                  <a:pt x="2782479" y="5722541"/>
                </a:cubicBezTo>
                <a:lnTo>
                  <a:pt x="2779340" y="5725680"/>
                </a:lnTo>
                <a:lnTo>
                  <a:pt x="2789416" y="5735756"/>
                </a:lnTo>
                <a:lnTo>
                  <a:pt x="2787433" y="5737740"/>
                </a:lnTo>
                <a:lnTo>
                  <a:pt x="2795693" y="5745998"/>
                </a:lnTo>
                <a:lnTo>
                  <a:pt x="2794124" y="5747567"/>
                </a:lnTo>
                <a:lnTo>
                  <a:pt x="2801310" y="5754752"/>
                </a:lnTo>
                <a:lnTo>
                  <a:pt x="2799080" y="5756982"/>
                </a:lnTo>
                <a:lnTo>
                  <a:pt x="2806265" y="5764167"/>
                </a:lnTo>
                <a:lnTo>
                  <a:pt x="2802713" y="5767718"/>
                </a:lnTo>
                <a:lnTo>
                  <a:pt x="2810558" y="5775564"/>
                </a:lnTo>
                <a:lnTo>
                  <a:pt x="2805273" y="5780850"/>
                </a:lnTo>
                <a:lnTo>
                  <a:pt x="2814525" y="5790100"/>
                </a:lnTo>
                <a:cubicBezTo>
                  <a:pt x="2814525" y="5796046"/>
                  <a:pt x="2809733" y="5800838"/>
                  <a:pt x="2803786" y="5800838"/>
                </a:cubicBezTo>
                <a:cubicBezTo>
                  <a:pt x="2797840" y="5800838"/>
                  <a:pt x="2793050" y="5796046"/>
                  <a:pt x="2793050" y="5790100"/>
                </a:cubicBezTo>
                <a:lnTo>
                  <a:pt x="2798336" y="5784816"/>
                </a:lnTo>
                <a:lnTo>
                  <a:pt x="2789086" y="5775564"/>
                </a:lnTo>
                <a:lnTo>
                  <a:pt x="2792636" y="5772014"/>
                </a:lnTo>
                <a:lnTo>
                  <a:pt x="2784790" y="5764167"/>
                </a:lnTo>
                <a:lnTo>
                  <a:pt x="2787020" y="5761937"/>
                </a:lnTo>
                <a:lnTo>
                  <a:pt x="2779836" y="5754752"/>
                </a:lnTo>
                <a:lnTo>
                  <a:pt x="2781405" y="5753184"/>
                </a:lnTo>
                <a:lnTo>
                  <a:pt x="2774219" y="5745998"/>
                </a:lnTo>
                <a:lnTo>
                  <a:pt x="2776201" y="5744016"/>
                </a:lnTo>
                <a:lnTo>
                  <a:pt x="2767943" y="5735756"/>
                </a:lnTo>
                <a:lnTo>
                  <a:pt x="2771082" y="5732618"/>
                </a:lnTo>
                <a:lnTo>
                  <a:pt x="2761004" y="5722541"/>
                </a:lnTo>
                <a:cubicBezTo>
                  <a:pt x="2761004" y="5716595"/>
                  <a:pt x="2765794" y="5711805"/>
                  <a:pt x="2771740" y="5711805"/>
                </a:cubicBezTo>
                <a:close/>
                <a:moveTo>
                  <a:pt x="2302957" y="5711475"/>
                </a:moveTo>
                <a:cubicBezTo>
                  <a:pt x="2308904" y="5711475"/>
                  <a:pt x="2313695" y="5716265"/>
                  <a:pt x="2313695" y="5722212"/>
                </a:cubicBezTo>
                <a:cubicBezTo>
                  <a:pt x="2313695" y="5728158"/>
                  <a:pt x="2308904" y="5732948"/>
                  <a:pt x="2302957" y="5732948"/>
                </a:cubicBezTo>
                <a:cubicBezTo>
                  <a:pt x="2297010" y="5732948"/>
                  <a:pt x="2292220" y="5728158"/>
                  <a:pt x="2292220" y="5722212"/>
                </a:cubicBezTo>
                <a:cubicBezTo>
                  <a:pt x="2292220" y="5716265"/>
                  <a:pt x="2297010" y="5711475"/>
                  <a:pt x="2302957" y="5711475"/>
                </a:cubicBezTo>
                <a:close/>
                <a:moveTo>
                  <a:pt x="2637448" y="5710648"/>
                </a:moveTo>
                <a:cubicBezTo>
                  <a:pt x="2643395" y="5710648"/>
                  <a:pt x="2648187" y="5715438"/>
                  <a:pt x="2648187" y="5721384"/>
                </a:cubicBezTo>
                <a:cubicBezTo>
                  <a:pt x="2648187" y="5727331"/>
                  <a:pt x="2643395" y="5732122"/>
                  <a:pt x="2637448" y="5732122"/>
                </a:cubicBezTo>
                <a:cubicBezTo>
                  <a:pt x="2631502" y="5732122"/>
                  <a:pt x="2626712" y="5727331"/>
                  <a:pt x="2626712" y="5721384"/>
                </a:cubicBezTo>
                <a:cubicBezTo>
                  <a:pt x="2626712" y="5715438"/>
                  <a:pt x="2631502" y="5710648"/>
                  <a:pt x="2637448" y="5710648"/>
                </a:cubicBezTo>
                <a:close/>
                <a:moveTo>
                  <a:pt x="3289420" y="5710319"/>
                </a:moveTo>
                <a:cubicBezTo>
                  <a:pt x="3295366" y="5710319"/>
                  <a:pt x="3300156" y="5715108"/>
                  <a:pt x="3300156" y="5721055"/>
                </a:cubicBezTo>
                <a:lnTo>
                  <a:pt x="3297761" y="5723452"/>
                </a:lnTo>
                <a:lnTo>
                  <a:pt x="3307755" y="5733444"/>
                </a:lnTo>
                <a:cubicBezTo>
                  <a:pt x="3307755" y="5739390"/>
                  <a:pt x="3302964" y="5744180"/>
                  <a:pt x="3297017" y="5744180"/>
                </a:cubicBezTo>
                <a:cubicBezTo>
                  <a:pt x="3291070" y="5744180"/>
                  <a:pt x="3286281" y="5739390"/>
                  <a:pt x="3286281" y="5733444"/>
                </a:cubicBezTo>
                <a:lnTo>
                  <a:pt x="3288676" y="5731049"/>
                </a:lnTo>
                <a:lnTo>
                  <a:pt x="3278683" y="5721055"/>
                </a:lnTo>
                <a:cubicBezTo>
                  <a:pt x="3278683" y="5715108"/>
                  <a:pt x="3283473" y="5710319"/>
                  <a:pt x="3289420" y="5710319"/>
                </a:cubicBezTo>
                <a:close/>
                <a:moveTo>
                  <a:pt x="3258366" y="5709658"/>
                </a:moveTo>
                <a:cubicBezTo>
                  <a:pt x="3264312" y="5709658"/>
                  <a:pt x="3269104" y="5714448"/>
                  <a:pt x="3269104" y="5720394"/>
                </a:cubicBezTo>
                <a:cubicBezTo>
                  <a:pt x="3269104" y="5726341"/>
                  <a:pt x="3264312" y="5731132"/>
                  <a:pt x="3258366" y="5731132"/>
                </a:cubicBezTo>
                <a:cubicBezTo>
                  <a:pt x="3252419" y="5731132"/>
                  <a:pt x="3247629" y="5726341"/>
                  <a:pt x="3247629" y="5720394"/>
                </a:cubicBezTo>
                <a:cubicBezTo>
                  <a:pt x="3247629" y="5714448"/>
                  <a:pt x="3252419" y="5709658"/>
                  <a:pt x="3258366" y="5709658"/>
                </a:cubicBezTo>
                <a:close/>
                <a:moveTo>
                  <a:pt x="3057670" y="5709327"/>
                </a:moveTo>
                <a:cubicBezTo>
                  <a:pt x="3063616" y="5709327"/>
                  <a:pt x="3068406" y="5714116"/>
                  <a:pt x="3068406" y="5720063"/>
                </a:cubicBezTo>
                <a:cubicBezTo>
                  <a:pt x="3068406" y="5726009"/>
                  <a:pt x="3063616" y="5730799"/>
                  <a:pt x="3057670" y="5730799"/>
                </a:cubicBezTo>
                <a:cubicBezTo>
                  <a:pt x="3051723" y="5730799"/>
                  <a:pt x="3046934" y="5726009"/>
                  <a:pt x="3046934" y="5720063"/>
                </a:cubicBezTo>
                <a:cubicBezTo>
                  <a:pt x="3046934" y="5714116"/>
                  <a:pt x="3051723" y="5709327"/>
                  <a:pt x="3057670" y="5709327"/>
                </a:cubicBezTo>
                <a:close/>
                <a:moveTo>
                  <a:pt x="2324761" y="5708666"/>
                </a:moveTo>
                <a:cubicBezTo>
                  <a:pt x="2330707" y="5708666"/>
                  <a:pt x="2335499" y="5713456"/>
                  <a:pt x="2335499" y="5719402"/>
                </a:cubicBezTo>
                <a:cubicBezTo>
                  <a:pt x="2335499" y="5725349"/>
                  <a:pt x="2330707" y="5730140"/>
                  <a:pt x="2324761" y="5730140"/>
                </a:cubicBezTo>
                <a:cubicBezTo>
                  <a:pt x="2318814" y="5730140"/>
                  <a:pt x="2314024" y="5725349"/>
                  <a:pt x="2314024" y="5719402"/>
                </a:cubicBezTo>
                <a:cubicBezTo>
                  <a:pt x="2314024" y="5713456"/>
                  <a:pt x="2318814" y="5708666"/>
                  <a:pt x="2324761" y="5708666"/>
                </a:cubicBezTo>
                <a:close/>
                <a:moveTo>
                  <a:pt x="3225329" y="5708336"/>
                </a:moveTo>
                <a:cubicBezTo>
                  <a:pt x="3231276" y="5708336"/>
                  <a:pt x="3236067" y="5713126"/>
                  <a:pt x="3236067" y="5719073"/>
                </a:cubicBezTo>
                <a:cubicBezTo>
                  <a:pt x="3236067" y="5725019"/>
                  <a:pt x="3231276" y="5729809"/>
                  <a:pt x="3225329" y="5729809"/>
                </a:cubicBezTo>
                <a:cubicBezTo>
                  <a:pt x="3219383" y="5729809"/>
                  <a:pt x="3214593" y="5725019"/>
                  <a:pt x="3214593" y="5719073"/>
                </a:cubicBezTo>
                <a:cubicBezTo>
                  <a:pt x="3214593" y="5713126"/>
                  <a:pt x="3219383" y="5708336"/>
                  <a:pt x="3225329" y="5708336"/>
                </a:cubicBezTo>
                <a:close/>
                <a:moveTo>
                  <a:pt x="2196414" y="5708005"/>
                </a:moveTo>
                <a:cubicBezTo>
                  <a:pt x="2202031" y="5708005"/>
                  <a:pt x="2206656" y="5712630"/>
                  <a:pt x="2206656" y="5718247"/>
                </a:cubicBezTo>
                <a:cubicBezTo>
                  <a:pt x="2206656" y="5723863"/>
                  <a:pt x="2202031" y="5728488"/>
                  <a:pt x="2196414" y="5728488"/>
                </a:cubicBezTo>
                <a:cubicBezTo>
                  <a:pt x="2190798" y="5728488"/>
                  <a:pt x="2186173" y="5723863"/>
                  <a:pt x="2186173" y="5718247"/>
                </a:cubicBezTo>
                <a:cubicBezTo>
                  <a:pt x="2186173" y="5712630"/>
                  <a:pt x="2190798" y="5708005"/>
                  <a:pt x="2196414" y="5708005"/>
                </a:cubicBezTo>
                <a:close/>
                <a:moveTo>
                  <a:pt x="2676927" y="5706684"/>
                </a:moveTo>
                <a:cubicBezTo>
                  <a:pt x="2682874" y="5706684"/>
                  <a:pt x="2687666" y="5711474"/>
                  <a:pt x="2687666" y="5717420"/>
                </a:cubicBezTo>
                <a:cubicBezTo>
                  <a:pt x="2687666" y="5723367"/>
                  <a:pt x="2682874" y="5728156"/>
                  <a:pt x="2676927" y="5728156"/>
                </a:cubicBezTo>
                <a:cubicBezTo>
                  <a:pt x="2670981" y="5728156"/>
                  <a:pt x="2666191" y="5723367"/>
                  <a:pt x="2666191" y="5717420"/>
                </a:cubicBezTo>
                <a:cubicBezTo>
                  <a:pt x="2666191" y="5711474"/>
                  <a:pt x="2670981" y="5706684"/>
                  <a:pt x="2676927" y="5706684"/>
                </a:cubicBezTo>
                <a:close/>
                <a:moveTo>
                  <a:pt x="3189980" y="5706189"/>
                </a:moveTo>
                <a:cubicBezTo>
                  <a:pt x="3195926" y="5706189"/>
                  <a:pt x="3200718" y="5710979"/>
                  <a:pt x="3200718" y="5716926"/>
                </a:cubicBezTo>
                <a:cubicBezTo>
                  <a:pt x="3200718" y="5722872"/>
                  <a:pt x="3195926" y="5727662"/>
                  <a:pt x="3189980" y="5727662"/>
                </a:cubicBezTo>
                <a:cubicBezTo>
                  <a:pt x="3184033" y="5727662"/>
                  <a:pt x="3179243" y="5722872"/>
                  <a:pt x="3179243" y="5716926"/>
                </a:cubicBezTo>
                <a:cubicBezTo>
                  <a:pt x="3179243" y="5710979"/>
                  <a:pt x="3184033" y="5706189"/>
                  <a:pt x="3189980" y="5706189"/>
                </a:cubicBezTo>
                <a:close/>
                <a:moveTo>
                  <a:pt x="2915614" y="5705362"/>
                </a:moveTo>
                <a:cubicBezTo>
                  <a:pt x="2921560" y="5705362"/>
                  <a:pt x="2926352" y="5710152"/>
                  <a:pt x="2926352" y="5716099"/>
                </a:cubicBezTo>
                <a:lnTo>
                  <a:pt x="2917761" y="5724688"/>
                </a:lnTo>
                <a:lnTo>
                  <a:pt x="2924866" y="5731791"/>
                </a:lnTo>
                <a:lnTo>
                  <a:pt x="2918505" y="5738152"/>
                </a:lnTo>
                <a:lnTo>
                  <a:pt x="2923378" y="5743024"/>
                </a:lnTo>
                <a:lnTo>
                  <a:pt x="2918175" y="5748228"/>
                </a:lnTo>
                <a:lnTo>
                  <a:pt x="2922056" y="5752109"/>
                </a:lnTo>
                <a:lnTo>
                  <a:pt x="2917102" y="5757064"/>
                </a:lnTo>
                <a:lnTo>
                  <a:pt x="2920902" y="5760863"/>
                </a:lnTo>
                <a:lnTo>
                  <a:pt x="2915449" y="5766315"/>
                </a:lnTo>
                <a:lnTo>
                  <a:pt x="2919910" y="5770774"/>
                </a:lnTo>
                <a:lnTo>
                  <a:pt x="2913136" y="5777546"/>
                </a:lnTo>
                <a:lnTo>
                  <a:pt x="2919084" y="5783493"/>
                </a:lnTo>
                <a:lnTo>
                  <a:pt x="2910411" y="5792165"/>
                </a:lnTo>
                <a:lnTo>
                  <a:pt x="2918258" y="5800011"/>
                </a:lnTo>
                <a:cubicBezTo>
                  <a:pt x="2918258" y="5805957"/>
                  <a:pt x="2913467" y="5810747"/>
                  <a:pt x="2907520" y="5810747"/>
                </a:cubicBezTo>
                <a:cubicBezTo>
                  <a:pt x="2901574" y="5810747"/>
                  <a:pt x="2896784" y="5805957"/>
                  <a:pt x="2896784" y="5800011"/>
                </a:cubicBezTo>
                <a:lnTo>
                  <a:pt x="2905457" y="5791340"/>
                </a:lnTo>
                <a:lnTo>
                  <a:pt x="2897610" y="5783493"/>
                </a:lnTo>
                <a:lnTo>
                  <a:pt x="2904382" y="5776721"/>
                </a:lnTo>
                <a:lnTo>
                  <a:pt x="2898435" y="5770774"/>
                </a:lnTo>
                <a:lnTo>
                  <a:pt x="2903887" y="5765323"/>
                </a:lnTo>
                <a:lnTo>
                  <a:pt x="2899427" y="5760863"/>
                </a:lnTo>
                <a:lnTo>
                  <a:pt x="2904383" y="5755909"/>
                </a:lnTo>
                <a:lnTo>
                  <a:pt x="2900584" y="5752109"/>
                </a:lnTo>
                <a:lnTo>
                  <a:pt x="2905786" y="5746906"/>
                </a:lnTo>
                <a:lnTo>
                  <a:pt x="2901904" y="5743024"/>
                </a:lnTo>
                <a:lnTo>
                  <a:pt x="2908263" y="5736664"/>
                </a:lnTo>
                <a:lnTo>
                  <a:pt x="2903391" y="5731791"/>
                </a:lnTo>
                <a:lnTo>
                  <a:pt x="2911981" y="5723202"/>
                </a:lnTo>
                <a:lnTo>
                  <a:pt x="2904878" y="5716099"/>
                </a:lnTo>
                <a:cubicBezTo>
                  <a:pt x="2904878" y="5710152"/>
                  <a:pt x="2909667" y="5705362"/>
                  <a:pt x="2915614" y="5705362"/>
                </a:cubicBezTo>
                <a:close/>
                <a:moveTo>
                  <a:pt x="2817166" y="5704702"/>
                </a:moveTo>
                <a:cubicBezTo>
                  <a:pt x="2823112" y="5704702"/>
                  <a:pt x="2827904" y="5709491"/>
                  <a:pt x="2827904" y="5715438"/>
                </a:cubicBezTo>
                <a:lnTo>
                  <a:pt x="2822287" y="5721055"/>
                </a:lnTo>
                <a:lnTo>
                  <a:pt x="2832364" y="5731131"/>
                </a:lnTo>
                <a:lnTo>
                  <a:pt x="2828646" y="5734849"/>
                </a:lnTo>
                <a:lnTo>
                  <a:pt x="2836162" y="5742363"/>
                </a:lnTo>
                <a:lnTo>
                  <a:pt x="2833271" y="5745254"/>
                </a:lnTo>
                <a:lnTo>
                  <a:pt x="2839632" y="5751613"/>
                </a:lnTo>
                <a:lnTo>
                  <a:pt x="2836906" y="5754339"/>
                </a:lnTo>
                <a:lnTo>
                  <a:pt x="2842771" y="5760202"/>
                </a:lnTo>
                <a:lnTo>
                  <a:pt x="2839055" y="5763919"/>
                </a:lnTo>
                <a:lnTo>
                  <a:pt x="2845579" y="5770443"/>
                </a:lnTo>
                <a:lnTo>
                  <a:pt x="2840456" y="5775566"/>
                </a:lnTo>
                <a:lnTo>
                  <a:pt x="2848055" y="5783163"/>
                </a:lnTo>
                <a:lnTo>
                  <a:pt x="2840869" y="5790348"/>
                </a:lnTo>
                <a:lnTo>
                  <a:pt x="2850204" y="5799681"/>
                </a:lnTo>
                <a:cubicBezTo>
                  <a:pt x="2850204" y="5805628"/>
                  <a:pt x="2845412" y="5810418"/>
                  <a:pt x="2839466" y="5810418"/>
                </a:cubicBezTo>
                <a:cubicBezTo>
                  <a:pt x="2833519" y="5810418"/>
                  <a:pt x="2828730" y="5805628"/>
                  <a:pt x="2828730" y="5799681"/>
                </a:cubicBezTo>
                <a:lnTo>
                  <a:pt x="2835914" y="5792496"/>
                </a:lnTo>
                <a:lnTo>
                  <a:pt x="2826581" y="5783163"/>
                </a:lnTo>
                <a:lnTo>
                  <a:pt x="2831702" y="5778042"/>
                </a:lnTo>
                <a:lnTo>
                  <a:pt x="2824104" y="5770443"/>
                </a:lnTo>
                <a:lnTo>
                  <a:pt x="2827821" y="5766726"/>
                </a:lnTo>
                <a:lnTo>
                  <a:pt x="2821297" y="5760202"/>
                </a:lnTo>
                <a:lnTo>
                  <a:pt x="2824023" y="5757478"/>
                </a:lnTo>
                <a:lnTo>
                  <a:pt x="2818158" y="5751613"/>
                </a:lnTo>
                <a:lnTo>
                  <a:pt x="2821049" y="5748724"/>
                </a:lnTo>
                <a:lnTo>
                  <a:pt x="2814688" y="5742363"/>
                </a:lnTo>
                <a:lnTo>
                  <a:pt x="2818404" y="5738646"/>
                </a:lnTo>
                <a:lnTo>
                  <a:pt x="2810890" y="5731131"/>
                </a:lnTo>
                <a:lnTo>
                  <a:pt x="2816507" y="5725515"/>
                </a:lnTo>
                <a:lnTo>
                  <a:pt x="2806430" y="5715438"/>
                </a:lnTo>
                <a:cubicBezTo>
                  <a:pt x="2806430" y="5709491"/>
                  <a:pt x="2811219" y="5704702"/>
                  <a:pt x="2817166" y="5704702"/>
                </a:cubicBezTo>
                <a:close/>
                <a:moveTo>
                  <a:pt x="2480692" y="5704537"/>
                </a:moveTo>
                <a:cubicBezTo>
                  <a:pt x="2486638" y="5704537"/>
                  <a:pt x="2491430" y="5709327"/>
                  <a:pt x="2491430" y="5715273"/>
                </a:cubicBezTo>
                <a:lnTo>
                  <a:pt x="2481849" y="5724855"/>
                </a:lnTo>
                <a:lnTo>
                  <a:pt x="2484656" y="5727662"/>
                </a:lnTo>
                <a:lnTo>
                  <a:pt x="2474168" y="5738151"/>
                </a:lnTo>
                <a:lnTo>
                  <a:pt x="2478216" y="5742198"/>
                </a:lnTo>
                <a:cubicBezTo>
                  <a:pt x="2478216" y="5748145"/>
                  <a:pt x="2473424" y="5752934"/>
                  <a:pt x="2467478" y="5752934"/>
                </a:cubicBezTo>
                <a:cubicBezTo>
                  <a:pt x="2461531" y="5752934"/>
                  <a:pt x="2456741" y="5748145"/>
                  <a:pt x="2456741" y="5742198"/>
                </a:cubicBezTo>
                <a:lnTo>
                  <a:pt x="2467230" y="5731710"/>
                </a:lnTo>
                <a:lnTo>
                  <a:pt x="2463182" y="5727662"/>
                </a:lnTo>
                <a:lnTo>
                  <a:pt x="2472763" y="5718081"/>
                </a:lnTo>
                <a:lnTo>
                  <a:pt x="2469956" y="5715273"/>
                </a:lnTo>
                <a:cubicBezTo>
                  <a:pt x="2469956" y="5709327"/>
                  <a:pt x="2474746" y="5704537"/>
                  <a:pt x="2480692" y="5704537"/>
                </a:cubicBezTo>
                <a:close/>
                <a:moveTo>
                  <a:pt x="2512407" y="5703545"/>
                </a:moveTo>
                <a:cubicBezTo>
                  <a:pt x="2518353" y="5703545"/>
                  <a:pt x="2523145" y="5708335"/>
                  <a:pt x="2523145" y="5714281"/>
                </a:cubicBezTo>
                <a:cubicBezTo>
                  <a:pt x="2523145" y="5720228"/>
                  <a:pt x="2518353" y="5725018"/>
                  <a:pt x="2512407" y="5725018"/>
                </a:cubicBezTo>
                <a:cubicBezTo>
                  <a:pt x="2506460" y="5725018"/>
                  <a:pt x="2501670" y="5720228"/>
                  <a:pt x="2501670" y="5714281"/>
                </a:cubicBezTo>
                <a:cubicBezTo>
                  <a:pt x="2501670" y="5708335"/>
                  <a:pt x="2506460" y="5703545"/>
                  <a:pt x="2512407" y="5703545"/>
                </a:cubicBezTo>
                <a:close/>
                <a:moveTo>
                  <a:pt x="3014062" y="5703051"/>
                </a:moveTo>
                <a:cubicBezTo>
                  <a:pt x="3020008" y="5703051"/>
                  <a:pt x="3024798" y="5707840"/>
                  <a:pt x="3024798" y="5713787"/>
                </a:cubicBezTo>
                <a:cubicBezTo>
                  <a:pt x="3024798" y="5719733"/>
                  <a:pt x="3020008" y="5724523"/>
                  <a:pt x="3014062" y="5724523"/>
                </a:cubicBezTo>
                <a:cubicBezTo>
                  <a:pt x="3008116" y="5724523"/>
                  <a:pt x="3003326" y="5719733"/>
                  <a:pt x="3003326" y="5713787"/>
                </a:cubicBezTo>
                <a:cubicBezTo>
                  <a:pt x="3003326" y="5707840"/>
                  <a:pt x="3008116" y="5703051"/>
                  <a:pt x="3014062" y="5703051"/>
                </a:cubicBezTo>
                <a:close/>
                <a:moveTo>
                  <a:pt x="3152318" y="5702719"/>
                </a:moveTo>
                <a:cubicBezTo>
                  <a:pt x="3158265" y="5702719"/>
                  <a:pt x="3163056" y="5707509"/>
                  <a:pt x="3163056" y="5713456"/>
                </a:cubicBezTo>
                <a:cubicBezTo>
                  <a:pt x="3163056" y="5719402"/>
                  <a:pt x="3158265" y="5724192"/>
                  <a:pt x="3152318" y="5724192"/>
                </a:cubicBezTo>
                <a:cubicBezTo>
                  <a:pt x="3146372" y="5724192"/>
                  <a:pt x="3141582" y="5719402"/>
                  <a:pt x="3141582" y="5713456"/>
                </a:cubicBezTo>
                <a:cubicBezTo>
                  <a:pt x="3141582" y="5707509"/>
                  <a:pt x="3146372" y="5702719"/>
                  <a:pt x="3152318" y="5702719"/>
                </a:cubicBezTo>
                <a:close/>
                <a:moveTo>
                  <a:pt x="2215410" y="5702059"/>
                </a:moveTo>
                <a:cubicBezTo>
                  <a:pt x="2221356" y="5702059"/>
                  <a:pt x="2226148" y="5706848"/>
                  <a:pt x="2226148" y="5712795"/>
                </a:cubicBezTo>
                <a:cubicBezTo>
                  <a:pt x="2226148" y="5718741"/>
                  <a:pt x="2221356" y="5723531"/>
                  <a:pt x="2215410" y="5723531"/>
                </a:cubicBezTo>
                <a:cubicBezTo>
                  <a:pt x="2209464" y="5723531"/>
                  <a:pt x="2204674" y="5718741"/>
                  <a:pt x="2204674" y="5712795"/>
                </a:cubicBezTo>
                <a:cubicBezTo>
                  <a:pt x="2204674" y="5706848"/>
                  <a:pt x="2209464" y="5702059"/>
                  <a:pt x="2215410" y="5702059"/>
                </a:cubicBezTo>
                <a:close/>
                <a:moveTo>
                  <a:pt x="2546268" y="5701729"/>
                </a:moveTo>
                <a:cubicBezTo>
                  <a:pt x="2552215" y="5701729"/>
                  <a:pt x="2557006" y="5706519"/>
                  <a:pt x="2557006" y="5712465"/>
                </a:cubicBezTo>
                <a:cubicBezTo>
                  <a:pt x="2557006" y="5718412"/>
                  <a:pt x="2552215" y="5723202"/>
                  <a:pt x="2546268" y="5723202"/>
                </a:cubicBezTo>
                <a:cubicBezTo>
                  <a:pt x="2540322" y="5723202"/>
                  <a:pt x="2535532" y="5718412"/>
                  <a:pt x="2535532" y="5712465"/>
                </a:cubicBezTo>
                <a:cubicBezTo>
                  <a:pt x="2535532" y="5706519"/>
                  <a:pt x="2540322" y="5701729"/>
                  <a:pt x="2546268" y="5701729"/>
                </a:cubicBezTo>
                <a:close/>
                <a:moveTo>
                  <a:pt x="3491437" y="5701564"/>
                </a:moveTo>
                <a:cubicBezTo>
                  <a:pt x="3497383" y="5701564"/>
                  <a:pt x="3502175" y="5706354"/>
                  <a:pt x="3502175" y="5712301"/>
                </a:cubicBezTo>
                <a:cubicBezTo>
                  <a:pt x="3502175" y="5718247"/>
                  <a:pt x="3497383" y="5723037"/>
                  <a:pt x="3491437" y="5723037"/>
                </a:cubicBezTo>
                <a:cubicBezTo>
                  <a:pt x="3485490" y="5723037"/>
                  <a:pt x="3480700" y="5718247"/>
                  <a:pt x="3480700" y="5712301"/>
                </a:cubicBezTo>
                <a:cubicBezTo>
                  <a:pt x="3480700" y="5706354"/>
                  <a:pt x="3485490" y="5701564"/>
                  <a:pt x="3491437" y="5701564"/>
                </a:cubicBezTo>
                <a:close/>
                <a:moveTo>
                  <a:pt x="2719049" y="5700737"/>
                </a:moveTo>
                <a:cubicBezTo>
                  <a:pt x="2724996" y="5700737"/>
                  <a:pt x="2729785" y="5705527"/>
                  <a:pt x="2729785" y="5711474"/>
                </a:cubicBezTo>
                <a:cubicBezTo>
                  <a:pt x="2729785" y="5717420"/>
                  <a:pt x="2724996" y="5722212"/>
                  <a:pt x="2719049" y="5722212"/>
                </a:cubicBezTo>
                <a:cubicBezTo>
                  <a:pt x="2713102" y="5722212"/>
                  <a:pt x="2708313" y="5717420"/>
                  <a:pt x="2708313" y="5711474"/>
                </a:cubicBezTo>
                <a:cubicBezTo>
                  <a:pt x="2708313" y="5705527"/>
                  <a:pt x="2713102" y="5700737"/>
                  <a:pt x="2719049" y="5700737"/>
                </a:cubicBezTo>
                <a:close/>
                <a:moveTo>
                  <a:pt x="3469631" y="5699747"/>
                </a:moveTo>
                <a:cubicBezTo>
                  <a:pt x="3475578" y="5699747"/>
                  <a:pt x="3480369" y="5704537"/>
                  <a:pt x="3480369" y="5710483"/>
                </a:cubicBezTo>
                <a:cubicBezTo>
                  <a:pt x="3480369" y="5716430"/>
                  <a:pt x="3475578" y="5721221"/>
                  <a:pt x="3469631" y="5721221"/>
                </a:cubicBezTo>
                <a:cubicBezTo>
                  <a:pt x="3463684" y="5721221"/>
                  <a:pt x="3458895" y="5716430"/>
                  <a:pt x="3458895" y="5710483"/>
                </a:cubicBezTo>
                <a:cubicBezTo>
                  <a:pt x="3458895" y="5704537"/>
                  <a:pt x="3463684" y="5699747"/>
                  <a:pt x="3469631" y="5699747"/>
                </a:cubicBezTo>
                <a:close/>
                <a:moveTo>
                  <a:pt x="2582608" y="5698590"/>
                </a:moveTo>
                <a:cubicBezTo>
                  <a:pt x="2588555" y="5698590"/>
                  <a:pt x="2593346" y="5703380"/>
                  <a:pt x="2593346" y="5709327"/>
                </a:cubicBezTo>
                <a:cubicBezTo>
                  <a:pt x="2593346" y="5715273"/>
                  <a:pt x="2588555" y="5720063"/>
                  <a:pt x="2582608" y="5720063"/>
                </a:cubicBezTo>
                <a:cubicBezTo>
                  <a:pt x="2576662" y="5720063"/>
                  <a:pt x="2571872" y="5715273"/>
                  <a:pt x="2571872" y="5709327"/>
                </a:cubicBezTo>
                <a:cubicBezTo>
                  <a:pt x="2571872" y="5703380"/>
                  <a:pt x="2576662" y="5698590"/>
                  <a:pt x="2582608" y="5698590"/>
                </a:cubicBezTo>
                <a:close/>
                <a:moveTo>
                  <a:pt x="2234736" y="5697930"/>
                </a:moveTo>
                <a:cubicBezTo>
                  <a:pt x="2240682" y="5697930"/>
                  <a:pt x="2245474" y="5702719"/>
                  <a:pt x="2245474" y="5708666"/>
                </a:cubicBezTo>
                <a:cubicBezTo>
                  <a:pt x="2245474" y="5714612"/>
                  <a:pt x="2240682" y="5719402"/>
                  <a:pt x="2234736" y="5719402"/>
                </a:cubicBezTo>
                <a:cubicBezTo>
                  <a:pt x="2228789" y="5719402"/>
                  <a:pt x="2223999" y="5714612"/>
                  <a:pt x="2223999" y="5708666"/>
                </a:cubicBezTo>
                <a:cubicBezTo>
                  <a:pt x="2223999" y="5702719"/>
                  <a:pt x="2228789" y="5697930"/>
                  <a:pt x="2234736" y="5697930"/>
                </a:cubicBezTo>
                <a:close/>
                <a:moveTo>
                  <a:pt x="3112014" y="5697434"/>
                </a:moveTo>
                <a:cubicBezTo>
                  <a:pt x="3117960" y="5697434"/>
                  <a:pt x="3122752" y="5702223"/>
                  <a:pt x="3122752" y="5708170"/>
                </a:cubicBezTo>
                <a:cubicBezTo>
                  <a:pt x="3122752" y="5714116"/>
                  <a:pt x="3117960" y="5718906"/>
                  <a:pt x="3112014" y="5718906"/>
                </a:cubicBezTo>
                <a:cubicBezTo>
                  <a:pt x="3106068" y="5718906"/>
                  <a:pt x="3101278" y="5714116"/>
                  <a:pt x="3101278" y="5708170"/>
                </a:cubicBezTo>
                <a:cubicBezTo>
                  <a:pt x="3101278" y="5702223"/>
                  <a:pt x="3106068" y="5697434"/>
                  <a:pt x="3112014" y="5697434"/>
                </a:cubicBezTo>
                <a:close/>
                <a:moveTo>
                  <a:pt x="3312874" y="5697269"/>
                </a:moveTo>
                <a:cubicBezTo>
                  <a:pt x="3318821" y="5697269"/>
                  <a:pt x="3323612" y="5702059"/>
                  <a:pt x="3323612" y="5708005"/>
                </a:cubicBezTo>
                <a:lnTo>
                  <a:pt x="3319813" y="5711805"/>
                </a:lnTo>
                <a:lnTo>
                  <a:pt x="3329394" y="5721384"/>
                </a:lnTo>
                <a:lnTo>
                  <a:pt x="3325347" y="5725432"/>
                </a:lnTo>
                <a:lnTo>
                  <a:pt x="3334680" y="5734764"/>
                </a:lnTo>
                <a:cubicBezTo>
                  <a:pt x="3334680" y="5740710"/>
                  <a:pt x="3329888" y="5745502"/>
                  <a:pt x="3323942" y="5745502"/>
                </a:cubicBezTo>
                <a:cubicBezTo>
                  <a:pt x="3317996" y="5745502"/>
                  <a:pt x="3313206" y="5740710"/>
                  <a:pt x="3313206" y="5734764"/>
                </a:cubicBezTo>
                <a:lnTo>
                  <a:pt x="3317252" y="5730718"/>
                </a:lnTo>
                <a:lnTo>
                  <a:pt x="3307920" y="5721384"/>
                </a:lnTo>
                <a:lnTo>
                  <a:pt x="3311718" y="5717587"/>
                </a:lnTo>
                <a:lnTo>
                  <a:pt x="3302138" y="5708005"/>
                </a:lnTo>
                <a:cubicBezTo>
                  <a:pt x="3302138" y="5702059"/>
                  <a:pt x="3306928" y="5697269"/>
                  <a:pt x="3312874" y="5697269"/>
                </a:cubicBezTo>
                <a:close/>
                <a:moveTo>
                  <a:pt x="2132490" y="5696773"/>
                </a:moveTo>
                <a:cubicBezTo>
                  <a:pt x="2136620" y="5696773"/>
                  <a:pt x="2139924" y="5700076"/>
                  <a:pt x="2139924" y="5704206"/>
                </a:cubicBezTo>
                <a:cubicBezTo>
                  <a:pt x="2139924" y="5708336"/>
                  <a:pt x="2136620" y="5711638"/>
                  <a:pt x="2132490" y="5711638"/>
                </a:cubicBezTo>
                <a:cubicBezTo>
                  <a:pt x="2128361" y="5711638"/>
                  <a:pt x="2125057" y="5708336"/>
                  <a:pt x="2125057" y="5704206"/>
                </a:cubicBezTo>
                <a:cubicBezTo>
                  <a:pt x="2125057" y="5700076"/>
                  <a:pt x="2128361" y="5696773"/>
                  <a:pt x="2132490" y="5696773"/>
                </a:cubicBezTo>
                <a:close/>
                <a:moveTo>
                  <a:pt x="3280666" y="5695783"/>
                </a:moveTo>
                <a:cubicBezTo>
                  <a:pt x="3286612" y="5695783"/>
                  <a:pt x="3291402" y="5700572"/>
                  <a:pt x="3291402" y="5706519"/>
                </a:cubicBezTo>
                <a:cubicBezTo>
                  <a:pt x="3291402" y="5712465"/>
                  <a:pt x="3286612" y="5717255"/>
                  <a:pt x="3280666" y="5717255"/>
                </a:cubicBezTo>
                <a:cubicBezTo>
                  <a:pt x="3274719" y="5717255"/>
                  <a:pt x="3269929" y="5712465"/>
                  <a:pt x="3269929" y="5706519"/>
                </a:cubicBezTo>
                <a:cubicBezTo>
                  <a:pt x="3269929" y="5700572"/>
                  <a:pt x="3274719" y="5695783"/>
                  <a:pt x="3280666" y="5695783"/>
                </a:cubicBezTo>
                <a:close/>
                <a:moveTo>
                  <a:pt x="2865728" y="5695287"/>
                </a:moveTo>
                <a:cubicBezTo>
                  <a:pt x="2871675" y="5695287"/>
                  <a:pt x="2876466" y="5700076"/>
                  <a:pt x="2876466" y="5706023"/>
                </a:cubicBezTo>
                <a:lnTo>
                  <a:pt x="2867877" y="5714612"/>
                </a:lnTo>
                <a:lnTo>
                  <a:pt x="2877954" y="5724688"/>
                </a:lnTo>
                <a:lnTo>
                  <a:pt x="2872006" y="5730635"/>
                </a:lnTo>
                <a:lnTo>
                  <a:pt x="2879111" y="5737738"/>
                </a:lnTo>
                <a:lnTo>
                  <a:pt x="2874816" y="5742033"/>
                </a:lnTo>
                <a:lnTo>
                  <a:pt x="2880432" y="5747649"/>
                </a:lnTo>
                <a:lnTo>
                  <a:pt x="2876550" y="5751531"/>
                </a:lnTo>
                <a:lnTo>
                  <a:pt x="2881423" y="5756403"/>
                </a:lnTo>
                <a:lnTo>
                  <a:pt x="2877292" y="5760534"/>
                </a:lnTo>
                <a:lnTo>
                  <a:pt x="2882413" y="5765653"/>
                </a:lnTo>
                <a:lnTo>
                  <a:pt x="2877292" y="5770774"/>
                </a:lnTo>
                <a:lnTo>
                  <a:pt x="2883240" y="5776721"/>
                </a:lnTo>
                <a:lnTo>
                  <a:pt x="2876383" y="5783576"/>
                </a:lnTo>
                <a:lnTo>
                  <a:pt x="2883899" y="5791092"/>
                </a:lnTo>
                <a:cubicBezTo>
                  <a:pt x="2883899" y="5797021"/>
                  <a:pt x="2879094" y="5801828"/>
                  <a:pt x="2873163" y="5801828"/>
                </a:cubicBezTo>
                <a:cubicBezTo>
                  <a:pt x="2867234" y="5801828"/>
                  <a:pt x="2862426" y="5797021"/>
                  <a:pt x="2862426" y="5791092"/>
                </a:cubicBezTo>
                <a:lnTo>
                  <a:pt x="2869282" y="5784237"/>
                </a:lnTo>
                <a:lnTo>
                  <a:pt x="2861766" y="5776721"/>
                </a:lnTo>
                <a:lnTo>
                  <a:pt x="2866887" y="5771601"/>
                </a:lnTo>
                <a:lnTo>
                  <a:pt x="2860938" y="5765653"/>
                </a:lnTo>
                <a:lnTo>
                  <a:pt x="2865068" y="5761524"/>
                </a:lnTo>
                <a:lnTo>
                  <a:pt x="2859948" y="5756403"/>
                </a:lnTo>
                <a:lnTo>
                  <a:pt x="2863829" y="5752522"/>
                </a:lnTo>
                <a:lnTo>
                  <a:pt x="2858958" y="5747649"/>
                </a:lnTo>
                <a:lnTo>
                  <a:pt x="2863254" y="5743355"/>
                </a:lnTo>
                <a:lnTo>
                  <a:pt x="2857636" y="5737738"/>
                </a:lnTo>
                <a:lnTo>
                  <a:pt x="2863583" y="5731791"/>
                </a:lnTo>
                <a:lnTo>
                  <a:pt x="2856480" y="5724688"/>
                </a:lnTo>
                <a:lnTo>
                  <a:pt x="2865069" y="5716100"/>
                </a:lnTo>
                <a:lnTo>
                  <a:pt x="2854992" y="5706023"/>
                </a:lnTo>
                <a:cubicBezTo>
                  <a:pt x="2854992" y="5700076"/>
                  <a:pt x="2859782" y="5695287"/>
                  <a:pt x="2865728" y="5695287"/>
                </a:cubicBezTo>
                <a:close/>
                <a:moveTo>
                  <a:pt x="2254889" y="5694957"/>
                </a:moveTo>
                <a:cubicBezTo>
                  <a:pt x="2260835" y="5694957"/>
                  <a:pt x="2265627" y="5699747"/>
                  <a:pt x="2265627" y="5705693"/>
                </a:cubicBezTo>
                <a:cubicBezTo>
                  <a:pt x="2265627" y="5711640"/>
                  <a:pt x="2260835" y="5716430"/>
                  <a:pt x="2254889" y="5716430"/>
                </a:cubicBezTo>
                <a:cubicBezTo>
                  <a:pt x="2248942" y="5716430"/>
                  <a:pt x="2244152" y="5711640"/>
                  <a:pt x="2244152" y="5705693"/>
                </a:cubicBezTo>
                <a:cubicBezTo>
                  <a:pt x="2244152" y="5699747"/>
                  <a:pt x="2248942" y="5694957"/>
                  <a:pt x="2254889" y="5694957"/>
                </a:cubicBezTo>
                <a:close/>
                <a:moveTo>
                  <a:pt x="2967315" y="5694296"/>
                </a:moveTo>
                <a:cubicBezTo>
                  <a:pt x="2973262" y="5694296"/>
                  <a:pt x="2978052" y="5699086"/>
                  <a:pt x="2978052" y="5705033"/>
                </a:cubicBezTo>
                <a:cubicBezTo>
                  <a:pt x="2978052" y="5710979"/>
                  <a:pt x="2973262" y="5715769"/>
                  <a:pt x="2967315" y="5715769"/>
                </a:cubicBezTo>
                <a:cubicBezTo>
                  <a:pt x="2961369" y="5715769"/>
                  <a:pt x="2956579" y="5710979"/>
                  <a:pt x="2956579" y="5705033"/>
                </a:cubicBezTo>
                <a:cubicBezTo>
                  <a:pt x="2956579" y="5699086"/>
                  <a:pt x="2961369" y="5694296"/>
                  <a:pt x="2967315" y="5694296"/>
                </a:cubicBezTo>
                <a:close/>
                <a:moveTo>
                  <a:pt x="2621426" y="5693965"/>
                </a:moveTo>
                <a:cubicBezTo>
                  <a:pt x="2627373" y="5693965"/>
                  <a:pt x="2632164" y="5698755"/>
                  <a:pt x="2632164" y="5704702"/>
                </a:cubicBezTo>
                <a:cubicBezTo>
                  <a:pt x="2632164" y="5710648"/>
                  <a:pt x="2627373" y="5715438"/>
                  <a:pt x="2621426" y="5715438"/>
                </a:cubicBezTo>
                <a:cubicBezTo>
                  <a:pt x="2615480" y="5715438"/>
                  <a:pt x="2610690" y="5710648"/>
                  <a:pt x="2610690" y="5704702"/>
                </a:cubicBezTo>
                <a:cubicBezTo>
                  <a:pt x="2610690" y="5698755"/>
                  <a:pt x="2615480" y="5693965"/>
                  <a:pt x="2621426" y="5693965"/>
                </a:cubicBezTo>
                <a:close/>
                <a:moveTo>
                  <a:pt x="3246141" y="5693140"/>
                </a:moveTo>
                <a:cubicBezTo>
                  <a:pt x="3252088" y="5693140"/>
                  <a:pt x="3256879" y="5697930"/>
                  <a:pt x="3256879" y="5703876"/>
                </a:cubicBezTo>
                <a:cubicBezTo>
                  <a:pt x="3256879" y="5709823"/>
                  <a:pt x="3252088" y="5714614"/>
                  <a:pt x="3246141" y="5714614"/>
                </a:cubicBezTo>
                <a:cubicBezTo>
                  <a:pt x="3240195" y="5714614"/>
                  <a:pt x="3235405" y="5709823"/>
                  <a:pt x="3235405" y="5703876"/>
                </a:cubicBezTo>
                <a:cubicBezTo>
                  <a:pt x="3235405" y="5697930"/>
                  <a:pt x="3240195" y="5693140"/>
                  <a:pt x="3246141" y="5693140"/>
                </a:cubicBezTo>
                <a:close/>
                <a:moveTo>
                  <a:pt x="2275701" y="5693140"/>
                </a:moveTo>
                <a:cubicBezTo>
                  <a:pt x="2281647" y="5693140"/>
                  <a:pt x="2286439" y="5697930"/>
                  <a:pt x="2286439" y="5703876"/>
                </a:cubicBezTo>
                <a:cubicBezTo>
                  <a:pt x="2286439" y="5709823"/>
                  <a:pt x="2281647" y="5714614"/>
                  <a:pt x="2275701" y="5714614"/>
                </a:cubicBezTo>
                <a:cubicBezTo>
                  <a:pt x="2269754" y="5714614"/>
                  <a:pt x="2264964" y="5709823"/>
                  <a:pt x="2264964" y="5703876"/>
                </a:cubicBezTo>
                <a:cubicBezTo>
                  <a:pt x="2264964" y="5697930"/>
                  <a:pt x="2269754" y="5693140"/>
                  <a:pt x="2275701" y="5693140"/>
                </a:cubicBezTo>
                <a:close/>
                <a:moveTo>
                  <a:pt x="2764143" y="5692808"/>
                </a:moveTo>
                <a:cubicBezTo>
                  <a:pt x="2770090" y="5692808"/>
                  <a:pt x="2774881" y="5697598"/>
                  <a:pt x="2774881" y="5703545"/>
                </a:cubicBezTo>
                <a:cubicBezTo>
                  <a:pt x="2774881" y="5709491"/>
                  <a:pt x="2770090" y="5714281"/>
                  <a:pt x="2764143" y="5714281"/>
                </a:cubicBezTo>
                <a:cubicBezTo>
                  <a:pt x="2758196" y="5714281"/>
                  <a:pt x="2753407" y="5709491"/>
                  <a:pt x="2753407" y="5703545"/>
                </a:cubicBezTo>
                <a:cubicBezTo>
                  <a:pt x="2753407" y="5697598"/>
                  <a:pt x="2758196" y="5692808"/>
                  <a:pt x="2764143" y="5692808"/>
                </a:cubicBezTo>
                <a:close/>
                <a:moveTo>
                  <a:pt x="2297340" y="5692148"/>
                </a:moveTo>
                <a:cubicBezTo>
                  <a:pt x="2303286" y="5692148"/>
                  <a:pt x="2308078" y="5696938"/>
                  <a:pt x="2308078" y="5702884"/>
                </a:cubicBezTo>
                <a:cubicBezTo>
                  <a:pt x="2308078" y="5708831"/>
                  <a:pt x="2303286" y="5713622"/>
                  <a:pt x="2297340" y="5713622"/>
                </a:cubicBezTo>
                <a:cubicBezTo>
                  <a:pt x="2291393" y="5713622"/>
                  <a:pt x="2286604" y="5708831"/>
                  <a:pt x="2286604" y="5702884"/>
                </a:cubicBezTo>
                <a:cubicBezTo>
                  <a:pt x="2286604" y="5696938"/>
                  <a:pt x="2291393" y="5692148"/>
                  <a:pt x="2297340" y="5692148"/>
                </a:cubicBezTo>
                <a:close/>
                <a:moveTo>
                  <a:pt x="2425520" y="5691322"/>
                </a:moveTo>
                <a:cubicBezTo>
                  <a:pt x="2431467" y="5691322"/>
                  <a:pt x="2436258" y="5696112"/>
                  <a:pt x="2436258" y="5702059"/>
                </a:cubicBezTo>
                <a:lnTo>
                  <a:pt x="2428080" y="5710235"/>
                </a:lnTo>
                <a:lnTo>
                  <a:pt x="2433616" y="5715769"/>
                </a:lnTo>
                <a:lnTo>
                  <a:pt x="2425439" y="5723946"/>
                </a:lnTo>
                <a:lnTo>
                  <a:pt x="2431138" y="5729644"/>
                </a:lnTo>
                <a:cubicBezTo>
                  <a:pt x="2431138" y="5735591"/>
                  <a:pt x="2426348" y="5740382"/>
                  <a:pt x="2420401" y="5740382"/>
                </a:cubicBezTo>
                <a:cubicBezTo>
                  <a:pt x="2414455" y="5740382"/>
                  <a:pt x="2409665" y="5735591"/>
                  <a:pt x="2409665" y="5729644"/>
                </a:cubicBezTo>
                <a:lnTo>
                  <a:pt x="2417840" y="5721469"/>
                </a:lnTo>
                <a:lnTo>
                  <a:pt x="2412141" y="5715769"/>
                </a:lnTo>
                <a:lnTo>
                  <a:pt x="2420318" y="5707592"/>
                </a:lnTo>
                <a:lnTo>
                  <a:pt x="2414784" y="5702059"/>
                </a:lnTo>
                <a:cubicBezTo>
                  <a:pt x="2414784" y="5696112"/>
                  <a:pt x="2419574" y="5691322"/>
                  <a:pt x="2425520" y="5691322"/>
                </a:cubicBezTo>
                <a:close/>
                <a:moveTo>
                  <a:pt x="3068738" y="5690166"/>
                </a:moveTo>
                <a:cubicBezTo>
                  <a:pt x="3074684" y="5690166"/>
                  <a:pt x="3079474" y="5694955"/>
                  <a:pt x="3079474" y="5700902"/>
                </a:cubicBezTo>
                <a:cubicBezTo>
                  <a:pt x="3079474" y="5706848"/>
                  <a:pt x="3074684" y="5711638"/>
                  <a:pt x="3068738" y="5711638"/>
                </a:cubicBezTo>
                <a:cubicBezTo>
                  <a:pt x="3062791" y="5711638"/>
                  <a:pt x="3058001" y="5706848"/>
                  <a:pt x="3058001" y="5700902"/>
                </a:cubicBezTo>
                <a:cubicBezTo>
                  <a:pt x="3058001" y="5694955"/>
                  <a:pt x="3062791" y="5690166"/>
                  <a:pt x="3068738" y="5690166"/>
                </a:cubicBezTo>
                <a:close/>
                <a:moveTo>
                  <a:pt x="2456245" y="5690001"/>
                </a:moveTo>
                <a:cubicBezTo>
                  <a:pt x="2462192" y="5690001"/>
                  <a:pt x="2466983" y="5694791"/>
                  <a:pt x="2466983" y="5700737"/>
                </a:cubicBezTo>
                <a:lnTo>
                  <a:pt x="2456908" y="5710813"/>
                </a:lnTo>
                <a:lnTo>
                  <a:pt x="2461698" y="5715603"/>
                </a:lnTo>
                <a:lnTo>
                  <a:pt x="2453025" y="5724277"/>
                </a:lnTo>
                <a:lnTo>
                  <a:pt x="2457235" y="5728488"/>
                </a:lnTo>
                <a:lnTo>
                  <a:pt x="2446582" y="5739142"/>
                </a:lnTo>
                <a:lnTo>
                  <a:pt x="2452447" y="5745006"/>
                </a:lnTo>
                <a:cubicBezTo>
                  <a:pt x="2452447" y="5750952"/>
                  <a:pt x="2447656" y="5755742"/>
                  <a:pt x="2441709" y="5755742"/>
                </a:cubicBezTo>
                <a:cubicBezTo>
                  <a:pt x="2435763" y="5755742"/>
                  <a:pt x="2430973" y="5750952"/>
                  <a:pt x="2430973" y="5745006"/>
                </a:cubicBezTo>
                <a:lnTo>
                  <a:pt x="2441628" y="5734353"/>
                </a:lnTo>
                <a:lnTo>
                  <a:pt x="2435763" y="5728488"/>
                </a:lnTo>
                <a:lnTo>
                  <a:pt x="2444435" y="5719815"/>
                </a:lnTo>
                <a:lnTo>
                  <a:pt x="2440223" y="5715603"/>
                </a:lnTo>
                <a:lnTo>
                  <a:pt x="2450298" y="5705527"/>
                </a:lnTo>
                <a:lnTo>
                  <a:pt x="2445509" y="5700737"/>
                </a:lnTo>
                <a:cubicBezTo>
                  <a:pt x="2445509" y="5694791"/>
                  <a:pt x="2450298" y="5690001"/>
                  <a:pt x="2456245" y="5690001"/>
                </a:cubicBezTo>
                <a:close/>
                <a:moveTo>
                  <a:pt x="3209141" y="5689009"/>
                </a:moveTo>
                <a:cubicBezTo>
                  <a:pt x="3215087" y="5689009"/>
                  <a:pt x="3219877" y="5693799"/>
                  <a:pt x="3219877" y="5699745"/>
                </a:cubicBezTo>
                <a:cubicBezTo>
                  <a:pt x="3219877" y="5705692"/>
                  <a:pt x="3215087" y="5710483"/>
                  <a:pt x="3209141" y="5710483"/>
                </a:cubicBezTo>
                <a:cubicBezTo>
                  <a:pt x="3203194" y="5710483"/>
                  <a:pt x="3198404" y="5705692"/>
                  <a:pt x="3198404" y="5699745"/>
                </a:cubicBezTo>
                <a:cubicBezTo>
                  <a:pt x="3198404" y="5693799"/>
                  <a:pt x="3203194" y="5689009"/>
                  <a:pt x="3209141" y="5689009"/>
                </a:cubicBezTo>
                <a:close/>
                <a:moveTo>
                  <a:pt x="2489282" y="5687689"/>
                </a:moveTo>
                <a:cubicBezTo>
                  <a:pt x="2495228" y="5687689"/>
                  <a:pt x="2500020" y="5692479"/>
                  <a:pt x="2500020" y="5698425"/>
                </a:cubicBezTo>
                <a:cubicBezTo>
                  <a:pt x="2500020" y="5704372"/>
                  <a:pt x="2495228" y="5709162"/>
                  <a:pt x="2489282" y="5709162"/>
                </a:cubicBezTo>
                <a:cubicBezTo>
                  <a:pt x="2483335" y="5709162"/>
                  <a:pt x="2478545" y="5704372"/>
                  <a:pt x="2478545" y="5698425"/>
                </a:cubicBezTo>
                <a:cubicBezTo>
                  <a:pt x="2478545" y="5692479"/>
                  <a:pt x="2483335" y="5687689"/>
                  <a:pt x="2489282" y="5687689"/>
                </a:cubicBezTo>
                <a:close/>
                <a:moveTo>
                  <a:pt x="2149833" y="5687689"/>
                </a:moveTo>
                <a:cubicBezTo>
                  <a:pt x="2155780" y="5687689"/>
                  <a:pt x="2160572" y="5692479"/>
                  <a:pt x="2160572" y="5698425"/>
                </a:cubicBezTo>
                <a:cubicBezTo>
                  <a:pt x="2160572" y="5704372"/>
                  <a:pt x="2155780" y="5709162"/>
                  <a:pt x="2149833" y="5709162"/>
                </a:cubicBezTo>
                <a:cubicBezTo>
                  <a:pt x="2143887" y="5709162"/>
                  <a:pt x="2139097" y="5704372"/>
                  <a:pt x="2139097" y="5698425"/>
                </a:cubicBezTo>
                <a:cubicBezTo>
                  <a:pt x="2139097" y="5692479"/>
                  <a:pt x="2143887" y="5687689"/>
                  <a:pt x="2149833" y="5687689"/>
                </a:cubicBezTo>
                <a:close/>
                <a:moveTo>
                  <a:pt x="2663052" y="5687193"/>
                </a:moveTo>
                <a:cubicBezTo>
                  <a:pt x="2668999" y="5687193"/>
                  <a:pt x="2673788" y="5691983"/>
                  <a:pt x="2673788" y="5697930"/>
                </a:cubicBezTo>
                <a:cubicBezTo>
                  <a:pt x="2673788" y="5703876"/>
                  <a:pt x="2668999" y="5708666"/>
                  <a:pt x="2663052" y="5708666"/>
                </a:cubicBezTo>
                <a:cubicBezTo>
                  <a:pt x="2657106" y="5708666"/>
                  <a:pt x="2652316" y="5703876"/>
                  <a:pt x="2652316" y="5697930"/>
                </a:cubicBezTo>
                <a:cubicBezTo>
                  <a:pt x="2652316" y="5691983"/>
                  <a:pt x="2657106" y="5687193"/>
                  <a:pt x="2663052" y="5687193"/>
                </a:cubicBezTo>
                <a:close/>
                <a:moveTo>
                  <a:pt x="2069556" y="5685707"/>
                </a:moveTo>
                <a:cubicBezTo>
                  <a:pt x="2071563" y="5685707"/>
                  <a:pt x="2073189" y="5687334"/>
                  <a:pt x="2073189" y="5689342"/>
                </a:cubicBezTo>
                <a:cubicBezTo>
                  <a:pt x="2073189" y="5691348"/>
                  <a:pt x="2071563" y="5692975"/>
                  <a:pt x="2069556" y="5692975"/>
                </a:cubicBezTo>
                <a:cubicBezTo>
                  <a:pt x="2067548" y="5692975"/>
                  <a:pt x="2065921" y="5691348"/>
                  <a:pt x="2065921" y="5689342"/>
                </a:cubicBezTo>
                <a:cubicBezTo>
                  <a:pt x="2065921" y="5687334"/>
                  <a:pt x="2067548" y="5685707"/>
                  <a:pt x="2069556" y="5685707"/>
                </a:cubicBezTo>
                <a:close/>
                <a:moveTo>
                  <a:pt x="3426519" y="5684054"/>
                </a:moveTo>
                <a:cubicBezTo>
                  <a:pt x="3432466" y="5684054"/>
                  <a:pt x="3437257" y="5688844"/>
                  <a:pt x="3437257" y="5694791"/>
                </a:cubicBezTo>
                <a:lnTo>
                  <a:pt x="3428420" y="5703628"/>
                </a:lnTo>
                <a:lnTo>
                  <a:pt x="3433789" y="5708995"/>
                </a:lnTo>
                <a:lnTo>
                  <a:pt x="3424704" y="5718083"/>
                </a:lnTo>
                <a:lnTo>
                  <a:pt x="3431805" y="5725184"/>
                </a:lnTo>
                <a:cubicBezTo>
                  <a:pt x="3431805" y="5731131"/>
                  <a:pt x="3427015" y="5735920"/>
                  <a:pt x="3421069" y="5735920"/>
                </a:cubicBezTo>
                <a:cubicBezTo>
                  <a:pt x="3415122" y="5735920"/>
                  <a:pt x="3410332" y="5731131"/>
                  <a:pt x="3410332" y="5725184"/>
                </a:cubicBezTo>
                <a:lnTo>
                  <a:pt x="3419418" y="5716100"/>
                </a:lnTo>
                <a:lnTo>
                  <a:pt x="3412314" y="5708995"/>
                </a:lnTo>
                <a:lnTo>
                  <a:pt x="3421150" y="5700160"/>
                </a:lnTo>
                <a:lnTo>
                  <a:pt x="3415783" y="5694791"/>
                </a:lnTo>
                <a:cubicBezTo>
                  <a:pt x="3415783" y="5688844"/>
                  <a:pt x="3420573" y="5684054"/>
                  <a:pt x="3426519" y="5684054"/>
                </a:cubicBezTo>
                <a:close/>
                <a:moveTo>
                  <a:pt x="3451958" y="5683890"/>
                </a:moveTo>
                <a:cubicBezTo>
                  <a:pt x="3457904" y="5683890"/>
                  <a:pt x="3462696" y="5688679"/>
                  <a:pt x="3462696" y="5694626"/>
                </a:cubicBezTo>
                <a:lnTo>
                  <a:pt x="3452867" y="5704455"/>
                </a:lnTo>
                <a:lnTo>
                  <a:pt x="3457740" y="5709327"/>
                </a:lnTo>
                <a:cubicBezTo>
                  <a:pt x="3457740" y="5715273"/>
                  <a:pt x="3452948" y="5720063"/>
                  <a:pt x="3447002" y="5720063"/>
                </a:cubicBezTo>
                <a:cubicBezTo>
                  <a:pt x="3441055" y="5720063"/>
                  <a:pt x="3436265" y="5715273"/>
                  <a:pt x="3436265" y="5709327"/>
                </a:cubicBezTo>
                <a:lnTo>
                  <a:pt x="3446093" y="5699499"/>
                </a:lnTo>
                <a:lnTo>
                  <a:pt x="3441222" y="5694626"/>
                </a:lnTo>
                <a:cubicBezTo>
                  <a:pt x="3441222" y="5688679"/>
                  <a:pt x="3446012" y="5683890"/>
                  <a:pt x="3451958" y="5683890"/>
                </a:cubicBezTo>
                <a:close/>
                <a:moveTo>
                  <a:pt x="2524629" y="5683890"/>
                </a:moveTo>
                <a:cubicBezTo>
                  <a:pt x="2530576" y="5683890"/>
                  <a:pt x="2535368" y="5688679"/>
                  <a:pt x="2535368" y="5694626"/>
                </a:cubicBezTo>
                <a:cubicBezTo>
                  <a:pt x="2535368" y="5700572"/>
                  <a:pt x="2530576" y="5705364"/>
                  <a:pt x="2524629" y="5705364"/>
                </a:cubicBezTo>
                <a:cubicBezTo>
                  <a:pt x="2518683" y="5705364"/>
                  <a:pt x="2513893" y="5700572"/>
                  <a:pt x="2513893" y="5694626"/>
                </a:cubicBezTo>
                <a:cubicBezTo>
                  <a:pt x="2513893" y="5688679"/>
                  <a:pt x="2518683" y="5683890"/>
                  <a:pt x="2524629" y="5683890"/>
                </a:cubicBezTo>
                <a:close/>
                <a:moveTo>
                  <a:pt x="3476074" y="5683723"/>
                </a:moveTo>
                <a:cubicBezTo>
                  <a:pt x="3482020" y="5683723"/>
                  <a:pt x="3486812" y="5688513"/>
                  <a:pt x="3486812" y="5694459"/>
                </a:cubicBezTo>
                <a:cubicBezTo>
                  <a:pt x="3486812" y="5700406"/>
                  <a:pt x="3482020" y="5705197"/>
                  <a:pt x="3476074" y="5705197"/>
                </a:cubicBezTo>
                <a:cubicBezTo>
                  <a:pt x="3470127" y="5705197"/>
                  <a:pt x="3465337" y="5700406"/>
                  <a:pt x="3465337" y="5694459"/>
                </a:cubicBezTo>
                <a:cubicBezTo>
                  <a:pt x="3465337" y="5688513"/>
                  <a:pt x="3470127" y="5683723"/>
                  <a:pt x="3476074" y="5683723"/>
                </a:cubicBezTo>
                <a:close/>
                <a:moveTo>
                  <a:pt x="3498870" y="5683558"/>
                </a:moveTo>
                <a:lnTo>
                  <a:pt x="3503192" y="5687880"/>
                </a:lnTo>
                <a:lnTo>
                  <a:pt x="3503192" y="5700710"/>
                </a:lnTo>
                <a:lnTo>
                  <a:pt x="3498870" y="5705031"/>
                </a:lnTo>
                <a:cubicBezTo>
                  <a:pt x="3492923" y="5705031"/>
                  <a:pt x="3488133" y="5700241"/>
                  <a:pt x="3488133" y="5694295"/>
                </a:cubicBezTo>
                <a:cubicBezTo>
                  <a:pt x="3488133" y="5688348"/>
                  <a:pt x="3492923" y="5683558"/>
                  <a:pt x="3498870" y="5683558"/>
                </a:cubicBezTo>
                <a:close/>
                <a:moveTo>
                  <a:pt x="2917431" y="5683064"/>
                </a:moveTo>
                <a:cubicBezTo>
                  <a:pt x="2923378" y="5683064"/>
                  <a:pt x="2928170" y="5687854"/>
                  <a:pt x="2928170" y="5693800"/>
                </a:cubicBezTo>
                <a:cubicBezTo>
                  <a:pt x="2928170" y="5699747"/>
                  <a:pt x="2923378" y="5704537"/>
                  <a:pt x="2917431" y="5704537"/>
                </a:cubicBezTo>
                <a:cubicBezTo>
                  <a:pt x="2911485" y="5704537"/>
                  <a:pt x="2906695" y="5699747"/>
                  <a:pt x="2906695" y="5693800"/>
                </a:cubicBezTo>
                <a:cubicBezTo>
                  <a:pt x="2906695" y="5687854"/>
                  <a:pt x="2911485" y="5683064"/>
                  <a:pt x="2917431" y="5683064"/>
                </a:cubicBezTo>
                <a:close/>
                <a:moveTo>
                  <a:pt x="3370028" y="5682733"/>
                </a:moveTo>
                <a:cubicBezTo>
                  <a:pt x="3375974" y="5682733"/>
                  <a:pt x="3380766" y="5687523"/>
                  <a:pt x="3380766" y="5693469"/>
                </a:cubicBezTo>
                <a:lnTo>
                  <a:pt x="3373746" y="5700491"/>
                </a:lnTo>
                <a:lnTo>
                  <a:pt x="3382088" y="5708831"/>
                </a:lnTo>
                <a:lnTo>
                  <a:pt x="3375974" y="5714944"/>
                </a:lnTo>
                <a:lnTo>
                  <a:pt x="3383244" y="5722212"/>
                </a:lnTo>
                <a:lnTo>
                  <a:pt x="3375562" y="5729892"/>
                </a:lnTo>
                <a:lnTo>
                  <a:pt x="3385058" y="5739389"/>
                </a:lnTo>
                <a:cubicBezTo>
                  <a:pt x="3385058" y="5745335"/>
                  <a:pt x="3380268" y="5750127"/>
                  <a:pt x="3374322" y="5750127"/>
                </a:cubicBezTo>
                <a:cubicBezTo>
                  <a:pt x="3368376" y="5750127"/>
                  <a:pt x="3363586" y="5745335"/>
                  <a:pt x="3363586" y="5739389"/>
                </a:cubicBezTo>
                <a:lnTo>
                  <a:pt x="3371266" y="5731708"/>
                </a:lnTo>
                <a:lnTo>
                  <a:pt x="3361770" y="5722212"/>
                </a:lnTo>
                <a:lnTo>
                  <a:pt x="3367881" y="5716100"/>
                </a:lnTo>
                <a:lnTo>
                  <a:pt x="3360613" y="5708831"/>
                </a:lnTo>
                <a:lnTo>
                  <a:pt x="3367633" y="5701812"/>
                </a:lnTo>
                <a:lnTo>
                  <a:pt x="3359292" y="5693469"/>
                </a:lnTo>
                <a:cubicBezTo>
                  <a:pt x="3359292" y="5687523"/>
                  <a:pt x="3364082" y="5682733"/>
                  <a:pt x="3370028" y="5682733"/>
                </a:cubicBezTo>
                <a:close/>
                <a:moveTo>
                  <a:pt x="3169332" y="5682733"/>
                </a:moveTo>
                <a:cubicBezTo>
                  <a:pt x="3175279" y="5682733"/>
                  <a:pt x="3180070" y="5687523"/>
                  <a:pt x="3180070" y="5693469"/>
                </a:cubicBezTo>
                <a:cubicBezTo>
                  <a:pt x="3180070" y="5699416"/>
                  <a:pt x="3175279" y="5704207"/>
                  <a:pt x="3169332" y="5704207"/>
                </a:cubicBezTo>
                <a:cubicBezTo>
                  <a:pt x="3163386" y="5704207"/>
                  <a:pt x="3158596" y="5699416"/>
                  <a:pt x="3158596" y="5693469"/>
                </a:cubicBezTo>
                <a:cubicBezTo>
                  <a:pt x="3158596" y="5687523"/>
                  <a:pt x="3163386" y="5682733"/>
                  <a:pt x="3169332" y="5682733"/>
                </a:cubicBezTo>
                <a:close/>
                <a:moveTo>
                  <a:pt x="2812376" y="5682237"/>
                </a:moveTo>
                <a:cubicBezTo>
                  <a:pt x="2818322" y="5682237"/>
                  <a:pt x="2823114" y="5687027"/>
                  <a:pt x="2823114" y="5692973"/>
                </a:cubicBezTo>
                <a:cubicBezTo>
                  <a:pt x="2823114" y="5698920"/>
                  <a:pt x="2818322" y="5703711"/>
                  <a:pt x="2812376" y="5703711"/>
                </a:cubicBezTo>
                <a:cubicBezTo>
                  <a:pt x="2806430" y="5703711"/>
                  <a:pt x="2801640" y="5698920"/>
                  <a:pt x="2801640" y="5692973"/>
                </a:cubicBezTo>
                <a:cubicBezTo>
                  <a:pt x="2801640" y="5687027"/>
                  <a:pt x="2806430" y="5682237"/>
                  <a:pt x="2812376" y="5682237"/>
                </a:cubicBezTo>
                <a:close/>
                <a:moveTo>
                  <a:pt x="3338808" y="5680751"/>
                </a:moveTo>
                <a:cubicBezTo>
                  <a:pt x="3344754" y="5680751"/>
                  <a:pt x="3349546" y="5685540"/>
                  <a:pt x="3349546" y="5691487"/>
                </a:cubicBezTo>
                <a:lnTo>
                  <a:pt x="3343103" y="5697930"/>
                </a:lnTo>
                <a:lnTo>
                  <a:pt x="3353840" y="5708666"/>
                </a:lnTo>
                <a:lnTo>
                  <a:pt x="3348885" y="5713622"/>
                </a:lnTo>
                <a:lnTo>
                  <a:pt x="3356980" y="5721716"/>
                </a:lnTo>
                <a:lnTo>
                  <a:pt x="3351280" y="5727414"/>
                </a:lnTo>
                <a:lnTo>
                  <a:pt x="3360448" y="5736581"/>
                </a:lnTo>
                <a:cubicBezTo>
                  <a:pt x="3360448" y="5742528"/>
                  <a:pt x="3355657" y="5747317"/>
                  <a:pt x="3349710" y="5747317"/>
                </a:cubicBezTo>
                <a:cubicBezTo>
                  <a:pt x="3343764" y="5747317"/>
                  <a:pt x="3338974" y="5742528"/>
                  <a:pt x="3338974" y="5736581"/>
                </a:cubicBezTo>
                <a:lnTo>
                  <a:pt x="3344672" y="5730883"/>
                </a:lnTo>
                <a:lnTo>
                  <a:pt x="3335506" y="5721716"/>
                </a:lnTo>
                <a:lnTo>
                  <a:pt x="3340462" y="5716761"/>
                </a:lnTo>
                <a:lnTo>
                  <a:pt x="3332367" y="5708666"/>
                </a:lnTo>
                <a:lnTo>
                  <a:pt x="3338808" y="5702225"/>
                </a:lnTo>
                <a:lnTo>
                  <a:pt x="3328071" y="5691487"/>
                </a:lnTo>
                <a:cubicBezTo>
                  <a:pt x="3328071" y="5685540"/>
                  <a:pt x="3332861" y="5680751"/>
                  <a:pt x="3338808" y="5680751"/>
                </a:cubicBezTo>
                <a:close/>
                <a:moveTo>
                  <a:pt x="3022322" y="5680255"/>
                </a:moveTo>
                <a:cubicBezTo>
                  <a:pt x="3028268" y="5680255"/>
                  <a:pt x="3033058" y="5685045"/>
                  <a:pt x="3033058" y="5690991"/>
                </a:cubicBezTo>
                <a:cubicBezTo>
                  <a:pt x="3033058" y="5696938"/>
                  <a:pt x="3028268" y="5701729"/>
                  <a:pt x="3022322" y="5701729"/>
                </a:cubicBezTo>
                <a:cubicBezTo>
                  <a:pt x="3016375" y="5701729"/>
                  <a:pt x="3011586" y="5696938"/>
                  <a:pt x="3011586" y="5690991"/>
                </a:cubicBezTo>
                <a:cubicBezTo>
                  <a:pt x="3011586" y="5685045"/>
                  <a:pt x="3016375" y="5680255"/>
                  <a:pt x="3022322" y="5680255"/>
                </a:cubicBezTo>
                <a:close/>
                <a:moveTo>
                  <a:pt x="2562787" y="5678273"/>
                </a:moveTo>
                <a:cubicBezTo>
                  <a:pt x="2568733" y="5678273"/>
                  <a:pt x="2573525" y="5683062"/>
                  <a:pt x="2573525" y="5689009"/>
                </a:cubicBezTo>
                <a:cubicBezTo>
                  <a:pt x="2573525" y="5694955"/>
                  <a:pt x="2568733" y="5699745"/>
                  <a:pt x="2562787" y="5699745"/>
                </a:cubicBezTo>
                <a:cubicBezTo>
                  <a:pt x="2556840" y="5699745"/>
                  <a:pt x="2552050" y="5694955"/>
                  <a:pt x="2552050" y="5689009"/>
                </a:cubicBezTo>
                <a:cubicBezTo>
                  <a:pt x="2552050" y="5683062"/>
                  <a:pt x="2556840" y="5678273"/>
                  <a:pt x="2562787" y="5678273"/>
                </a:cubicBezTo>
                <a:close/>
                <a:moveTo>
                  <a:pt x="2707650" y="5677943"/>
                </a:moveTo>
                <a:cubicBezTo>
                  <a:pt x="2713597" y="5677943"/>
                  <a:pt x="2718388" y="5682733"/>
                  <a:pt x="2718388" y="5688679"/>
                </a:cubicBezTo>
                <a:cubicBezTo>
                  <a:pt x="2718388" y="5694626"/>
                  <a:pt x="2713597" y="5699416"/>
                  <a:pt x="2707650" y="5699416"/>
                </a:cubicBezTo>
                <a:cubicBezTo>
                  <a:pt x="2701704" y="5699416"/>
                  <a:pt x="2696914" y="5694626"/>
                  <a:pt x="2696914" y="5688679"/>
                </a:cubicBezTo>
                <a:cubicBezTo>
                  <a:pt x="2696914" y="5682733"/>
                  <a:pt x="2701704" y="5677943"/>
                  <a:pt x="2707650" y="5677943"/>
                </a:cubicBezTo>
                <a:close/>
                <a:moveTo>
                  <a:pt x="3305277" y="5677447"/>
                </a:moveTo>
                <a:cubicBezTo>
                  <a:pt x="3311224" y="5677447"/>
                  <a:pt x="3316015" y="5682237"/>
                  <a:pt x="3316015" y="5688183"/>
                </a:cubicBezTo>
                <a:cubicBezTo>
                  <a:pt x="3316015" y="5694130"/>
                  <a:pt x="3311224" y="5698920"/>
                  <a:pt x="3305277" y="5698920"/>
                </a:cubicBezTo>
                <a:cubicBezTo>
                  <a:pt x="3299330" y="5698920"/>
                  <a:pt x="3294541" y="5694130"/>
                  <a:pt x="3294541" y="5688183"/>
                </a:cubicBezTo>
                <a:cubicBezTo>
                  <a:pt x="3294541" y="5682237"/>
                  <a:pt x="3299330" y="5677447"/>
                  <a:pt x="3305277" y="5677447"/>
                </a:cubicBezTo>
                <a:close/>
                <a:moveTo>
                  <a:pt x="2313858" y="5676786"/>
                </a:moveTo>
                <a:cubicBezTo>
                  <a:pt x="2319804" y="5676786"/>
                  <a:pt x="2324596" y="5681576"/>
                  <a:pt x="2324596" y="5687523"/>
                </a:cubicBezTo>
                <a:lnTo>
                  <a:pt x="2320300" y="5691818"/>
                </a:lnTo>
                <a:lnTo>
                  <a:pt x="2330874" y="5702388"/>
                </a:lnTo>
                <a:cubicBezTo>
                  <a:pt x="2330874" y="5708335"/>
                  <a:pt x="2326082" y="5713124"/>
                  <a:pt x="2320136" y="5713124"/>
                </a:cubicBezTo>
                <a:cubicBezTo>
                  <a:pt x="2314189" y="5713124"/>
                  <a:pt x="2309400" y="5708335"/>
                  <a:pt x="2309400" y="5702388"/>
                </a:cubicBezTo>
                <a:lnTo>
                  <a:pt x="2313693" y="5698094"/>
                </a:lnTo>
                <a:lnTo>
                  <a:pt x="2303122" y="5687523"/>
                </a:lnTo>
                <a:cubicBezTo>
                  <a:pt x="2303122" y="5681576"/>
                  <a:pt x="2307912" y="5676786"/>
                  <a:pt x="2313858" y="5676786"/>
                </a:cubicBezTo>
                <a:close/>
                <a:moveTo>
                  <a:pt x="2339626" y="5676622"/>
                </a:moveTo>
                <a:cubicBezTo>
                  <a:pt x="2345573" y="5676622"/>
                  <a:pt x="2350362" y="5681411"/>
                  <a:pt x="2350362" y="5687358"/>
                </a:cubicBezTo>
                <a:lnTo>
                  <a:pt x="2345160" y="5692560"/>
                </a:lnTo>
                <a:lnTo>
                  <a:pt x="2354990" y="5702388"/>
                </a:lnTo>
                <a:lnTo>
                  <a:pt x="2349041" y="5708336"/>
                </a:lnTo>
                <a:lnTo>
                  <a:pt x="2358293" y="5717587"/>
                </a:lnTo>
                <a:cubicBezTo>
                  <a:pt x="2358293" y="5723533"/>
                  <a:pt x="2353502" y="5728323"/>
                  <a:pt x="2347555" y="5728323"/>
                </a:cubicBezTo>
                <a:cubicBezTo>
                  <a:pt x="2341608" y="5728323"/>
                  <a:pt x="2336818" y="5723533"/>
                  <a:pt x="2336818" y="5717587"/>
                </a:cubicBezTo>
                <a:lnTo>
                  <a:pt x="2342767" y="5711640"/>
                </a:lnTo>
                <a:lnTo>
                  <a:pt x="2333515" y="5702388"/>
                </a:lnTo>
                <a:lnTo>
                  <a:pt x="2338718" y="5697187"/>
                </a:lnTo>
                <a:lnTo>
                  <a:pt x="2328890" y="5687358"/>
                </a:lnTo>
                <a:cubicBezTo>
                  <a:pt x="2328890" y="5681411"/>
                  <a:pt x="2333680" y="5676622"/>
                  <a:pt x="2339626" y="5676622"/>
                </a:cubicBezTo>
                <a:close/>
                <a:moveTo>
                  <a:pt x="2289578" y="5676622"/>
                </a:moveTo>
                <a:cubicBezTo>
                  <a:pt x="2295524" y="5676622"/>
                  <a:pt x="2300314" y="5681411"/>
                  <a:pt x="2300314" y="5687358"/>
                </a:cubicBezTo>
                <a:cubicBezTo>
                  <a:pt x="2300314" y="5693304"/>
                  <a:pt x="2295524" y="5698096"/>
                  <a:pt x="2289578" y="5698096"/>
                </a:cubicBezTo>
                <a:cubicBezTo>
                  <a:pt x="2283631" y="5698096"/>
                  <a:pt x="2278841" y="5693304"/>
                  <a:pt x="2278841" y="5687358"/>
                </a:cubicBezTo>
                <a:cubicBezTo>
                  <a:pt x="2278841" y="5681411"/>
                  <a:pt x="2283631" y="5676622"/>
                  <a:pt x="2289578" y="5676622"/>
                </a:cubicBezTo>
                <a:close/>
                <a:moveTo>
                  <a:pt x="2266617" y="5676290"/>
                </a:moveTo>
                <a:cubicBezTo>
                  <a:pt x="2272564" y="5676290"/>
                  <a:pt x="2277353" y="5681080"/>
                  <a:pt x="2277353" y="5687027"/>
                </a:cubicBezTo>
                <a:cubicBezTo>
                  <a:pt x="2277353" y="5692973"/>
                  <a:pt x="2272564" y="5697763"/>
                  <a:pt x="2266617" y="5697763"/>
                </a:cubicBezTo>
                <a:cubicBezTo>
                  <a:pt x="2260670" y="5697763"/>
                  <a:pt x="2255881" y="5692973"/>
                  <a:pt x="2255881" y="5687027"/>
                </a:cubicBezTo>
                <a:cubicBezTo>
                  <a:pt x="2255881" y="5681080"/>
                  <a:pt x="2260670" y="5676290"/>
                  <a:pt x="2266617" y="5676290"/>
                </a:cubicBezTo>
                <a:close/>
                <a:moveTo>
                  <a:pt x="2244978" y="5676290"/>
                </a:moveTo>
                <a:cubicBezTo>
                  <a:pt x="2250924" y="5676290"/>
                  <a:pt x="2255716" y="5681080"/>
                  <a:pt x="2255716" y="5687027"/>
                </a:cubicBezTo>
                <a:cubicBezTo>
                  <a:pt x="2255716" y="5692973"/>
                  <a:pt x="2250924" y="5697763"/>
                  <a:pt x="2244978" y="5697763"/>
                </a:cubicBezTo>
                <a:lnTo>
                  <a:pt x="2234986" y="5687771"/>
                </a:lnTo>
                <a:lnTo>
                  <a:pt x="2224495" y="5698259"/>
                </a:lnTo>
                <a:lnTo>
                  <a:pt x="2215247" y="5689011"/>
                </a:lnTo>
                <a:lnTo>
                  <a:pt x="2204838" y="5699416"/>
                </a:lnTo>
                <a:lnTo>
                  <a:pt x="2196498" y="5691076"/>
                </a:lnTo>
                <a:lnTo>
                  <a:pt x="2186008" y="5701564"/>
                </a:lnTo>
                <a:lnTo>
                  <a:pt x="2178411" y="5693965"/>
                </a:lnTo>
                <a:lnTo>
                  <a:pt x="2167673" y="5704703"/>
                </a:lnTo>
                <a:cubicBezTo>
                  <a:pt x="2161726" y="5704703"/>
                  <a:pt x="2156936" y="5699912"/>
                  <a:pt x="2156936" y="5693965"/>
                </a:cubicBezTo>
                <a:cubicBezTo>
                  <a:pt x="2156936" y="5688019"/>
                  <a:pt x="2161726" y="5683229"/>
                  <a:pt x="2167673" y="5683229"/>
                </a:cubicBezTo>
                <a:lnTo>
                  <a:pt x="2177086" y="5692642"/>
                </a:lnTo>
                <a:lnTo>
                  <a:pt x="2175272" y="5690826"/>
                </a:lnTo>
                <a:cubicBezTo>
                  <a:pt x="2175272" y="5684880"/>
                  <a:pt x="2180062" y="5680090"/>
                  <a:pt x="2186008" y="5680090"/>
                </a:cubicBezTo>
                <a:lnTo>
                  <a:pt x="2194350" y="5688431"/>
                </a:lnTo>
                <a:lnTo>
                  <a:pt x="2204838" y="5677943"/>
                </a:lnTo>
                <a:lnTo>
                  <a:pt x="2214088" y="5687193"/>
                </a:lnTo>
                <a:lnTo>
                  <a:pt x="2224495" y="5676786"/>
                </a:lnTo>
                <a:lnTo>
                  <a:pt x="2234490" y="5686779"/>
                </a:lnTo>
                <a:close/>
                <a:moveTo>
                  <a:pt x="2367377" y="5675961"/>
                </a:moveTo>
                <a:cubicBezTo>
                  <a:pt x="2373323" y="5675961"/>
                  <a:pt x="2378115" y="5680751"/>
                  <a:pt x="2378115" y="5686697"/>
                </a:cubicBezTo>
                <a:lnTo>
                  <a:pt x="2371426" y="5693388"/>
                </a:lnTo>
                <a:lnTo>
                  <a:pt x="2380428" y="5702388"/>
                </a:lnTo>
                <a:lnTo>
                  <a:pt x="2374314" y="5708501"/>
                </a:lnTo>
                <a:lnTo>
                  <a:pt x="2382244" y="5716430"/>
                </a:lnTo>
                <a:lnTo>
                  <a:pt x="2373488" y="5725184"/>
                </a:lnTo>
                <a:lnTo>
                  <a:pt x="2382575" y="5734269"/>
                </a:lnTo>
                <a:cubicBezTo>
                  <a:pt x="2382575" y="5740216"/>
                  <a:pt x="2377784" y="5745007"/>
                  <a:pt x="2371837" y="5745007"/>
                </a:cubicBezTo>
                <a:cubicBezTo>
                  <a:pt x="2365890" y="5745007"/>
                  <a:pt x="2361101" y="5740216"/>
                  <a:pt x="2361101" y="5734269"/>
                </a:cubicBezTo>
                <a:lnTo>
                  <a:pt x="2369855" y="5725515"/>
                </a:lnTo>
                <a:lnTo>
                  <a:pt x="2360770" y="5716430"/>
                </a:lnTo>
                <a:lnTo>
                  <a:pt x="2366882" y="5710317"/>
                </a:lnTo>
                <a:lnTo>
                  <a:pt x="2358954" y="5702388"/>
                </a:lnTo>
                <a:lnTo>
                  <a:pt x="2365642" y="5695701"/>
                </a:lnTo>
                <a:lnTo>
                  <a:pt x="2356640" y="5686697"/>
                </a:lnTo>
                <a:cubicBezTo>
                  <a:pt x="2356640" y="5680751"/>
                  <a:pt x="2361430" y="5675961"/>
                  <a:pt x="2367377" y="5675961"/>
                </a:cubicBezTo>
                <a:close/>
                <a:moveTo>
                  <a:pt x="3126715" y="5674308"/>
                </a:moveTo>
                <a:cubicBezTo>
                  <a:pt x="3132661" y="5674308"/>
                  <a:pt x="3137453" y="5679098"/>
                  <a:pt x="3137453" y="5685045"/>
                </a:cubicBezTo>
                <a:cubicBezTo>
                  <a:pt x="3137453" y="5690991"/>
                  <a:pt x="3132661" y="5695781"/>
                  <a:pt x="3126715" y="5695781"/>
                </a:cubicBezTo>
                <a:cubicBezTo>
                  <a:pt x="3120768" y="5695781"/>
                  <a:pt x="3115978" y="5690991"/>
                  <a:pt x="3115978" y="5685045"/>
                </a:cubicBezTo>
                <a:cubicBezTo>
                  <a:pt x="3115978" y="5679098"/>
                  <a:pt x="3120768" y="5674308"/>
                  <a:pt x="3126715" y="5674308"/>
                </a:cubicBezTo>
                <a:close/>
                <a:moveTo>
                  <a:pt x="2397109" y="5674143"/>
                </a:moveTo>
                <a:cubicBezTo>
                  <a:pt x="2403056" y="5674143"/>
                  <a:pt x="2407848" y="5678933"/>
                  <a:pt x="2407848" y="5684880"/>
                </a:cubicBezTo>
                <a:lnTo>
                  <a:pt x="2398845" y="5693882"/>
                </a:lnTo>
                <a:lnTo>
                  <a:pt x="2407353" y="5702388"/>
                </a:lnTo>
                <a:lnTo>
                  <a:pt x="2400496" y="5709245"/>
                </a:lnTo>
                <a:lnTo>
                  <a:pt x="2407187" y="5715934"/>
                </a:lnTo>
                <a:lnTo>
                  <a:pt x="2399008" y="5724111"/>
                </a:lnTo>
                <a:lnTo>
                  <a:pt x="2406360" y="5731462"/>
                </a:lnTo>
                <a:cubicBezTo>
                  <a:pt x="2406360" y="5737408"/>
                  <a:pt x="2401570" y="5742198"/>
                  <a:pt x="2395623" y="5742198"/>
                </a:cubicBezTo>
                <a:cubicBezTo>
                  <a:pt x="2389676" y="5742198"/>
                  <a:pt x="2384887" y="5737408"/>
                  <a:pt x="2384887" y="5731462"/>
                </a:cubicBezTo>
                <a:lnTo>
                  <a:pt x="2393064" y="5723285"/>
                </a:lnTo>
                <a:lnTo>
                  <a:pt x="2385712" y="5715934"/>
                </a:lnTo>
                <a:lnTo>
                  <a:pt x="2392569" y="5709079"/>
                </a:lnTo>
                <a:lnTo>
                  <a:pt x="2385879" y="5702388"/>
                </a:lnTo>
                <a:lnTo>
                  <a:pt x="2394881" y="5693388"/>
                </a:lnTo>
                <a:lnTo>
                  <a:pt x="2386373" y="5684880"/>
                </a:lnTo>
                <a:cubicBezTo>
                  <a:pt x="2386373" y="5678933"/>
                  <a:pt x="2391163" y="5674143"/>
                  <a:pt x="2397109" y="5674143"/>
                </a:cubicBezTo>
                <a:close/>
                <a:moveTo>
                  <a:pt x="3503192" y="5673288"/>
                </a:moveTo>
                <a:lnTo>
                  <a:pt x="3503192" y="5683917"/>
                </a:lnTo>
                <a:lnTo>
                  <a:pt x="3497878" y="5678602"/>
                </a:lnTo>
                <a:close/>
                <a:moveTo>
                  <a:pt x="2007448" y="5672987"/>
                </a:moveTo>
                <a:cubicBezTo>
                  <a:pt x="2007722" y="5672987"/>
                  <a:pt x="2007942" y="5673209"/>
                  <a:pt x="2007942" y="5673483"/>
                </a:cubicBezTo>
                <a:cubicBezTo>
                  <a:pt x="2007942" y="5673757"/>
                  <a:pt x="2007722" y="5673977"/>
                  <a:pt x="2007448" y="5673977"/>
                </a:cubicBezTo>
                <a:cubicBezTo>
                  <a:pt x="2007174" y="5673977"/>
                  <a:pt x="2006952" y="5673757"/>
                  <a:pt x="2006952" y="5673483"/>
                </a:cubicBezTo>
                <a:cubicBezTo>
                  <a:pt x="2006952" y="5673209"/>
                  <a:pt x="2007174" y="5672987"/>
                  <a:pt x="2007448" y="5672987"/>
                </a:cubicBezTo>
                <a:close/>
                <a:moveTo>
                  <a:pt x="3269102" y="5672326"/>
                </a:moveTo>
                <a:cubicBezTo>
                  <a:pt x="3275048" y="5672326"/>
                  <a:pt x="3279840" y="5677116"/>
                  <a:pt x="3279840" y="5683062"/>
                </a:cubicBezTo>
                <a:cubicBezTo>
                  <a:pt x="3279840" y="5689009"/>
                  <a:pt x="3275048" y="5693799"/>
                  <a:pt x="3269102" y="5693799"/>
                </a:cubicBezTo>
                <a:cubicBezTo>
                  <a:pt x="3263155" y="5693799"/>
                  <a:pt x="3258366" y="5689009"/>
                  <a:pt x="3258366" y="5683062"/>
                </a:cubicBezTo>
                <a:cubicBezTo>
                  <a:pt x="3258366" y="5677116"/>
                  <a:pt x="3263155" y="5672326"/>
                  <a:pt x="3269102" y="5672326"/>
                </a:cubicBezTo>
                <a:close/>
                <a:moveTo>
                  <a:pt x="2428989" y="5671171"/>
                </a:moveTo>
                <a:cubicBezTo>
                  <a:pt x="2434936" y="5671171"/>
                  <a:pt x="2439727" y="5675961"/>
                  <a:pt x="2439727" y="5681907"/>
                </a:cubicBezTo>
                <a:cubicBezTo>
                  <a:pt x="2439727" y="5687854"/>
                  <a:pt x="2434936" y="5692644"/>
                  <a:pt x="2428989" y="5692644"/>
                </a:cubicBezTo>
                <a:cubicBezTo>
                  <a:pt x="2423042" y="5692644"/>
                  <a:pt x="2418252" y="5687854"/>
                  <a:pt x="2418252" y="5681907"/>
                </a:cubicBezTo>
                <a:cubicBezTo>
                  <a:pt x="2418252" y="5675961"/>
                  <a:pt x="2423042" y="5671171"/>
                  <a:pt x="2428989" y="5671171"/>
                </a:cubicBezTo>
                <a:close/>
                <a:moveTo>
                  <a:pt x="2603587" y="5670344"/>
                </a:moveTo>
                <a:cubicBezTo>
                  <a:pt x="2609533" y="5670344"/>
                  <a:pt x="2614325" y="5675134"/>
                  <a:pt x="2614325" y="5681080"/>
                </a:cubicBezTo>
                <a:cubicBezTo>
                  <a:pt x="2614325" y="5687027"/>
                  <a:pt x="2609533" y="5691818"/>
                  <a:pt x="2603587" y="5691818"/>
                </a:cubicBezTo>
                <a:cubicBezTo>
                  <a:pt x="2597640" y="5691818"/>
                  <a:pt x="2592850" y="5687027"/>
                  <a:pt x="2592850" y="5681080"/>
                </a:cubicBezTo>
                <a:cubicBezTo>
                  <a:pt x="2592850" y="5675134"/>
                  <a:pt x="2597640" y="5670344"/>
                  <a:pt x="2603587" y="5670344"/>
                </a:cubicBezTo>
                <a:close/>
                <a:moveTo>
                  <a:pt x="2864077" y="5668362"/>
                </a:moveTo>
                <a:cubicBezTo>
                  <a:pt x="2870024" y="5668362"/>
                  <a:pt x="2874814" y="5673151"/>
                  <a:pt x="2874814" y="5679098"/>
                </a:cubicBezTo>
                <a:cubicBezTo>
                  <a:pt x="2874814" y="5685045"/>
                  <a:pt x="2870024" y="5689836"/>
                  <a:pt x="2864077" y="5689836"/>
                </a:cubicBezTo>
                <a:cubicBezTo>
                  <a:pt x="2858131" y="5689836"/>
                  <a:pt x="2853341" y="5685045"/>
                  <a:pt x="2853341" y="5679098"/>
                </a:cubicBezTo>
                <a:cubicBezTo>
                  <a:pt x="2853341" y="5673151"/>
                  <a:pt x="2858131" y="5668362"/>
                  <a:pt x="2864077" y="5668362"/>
                </a:cubicBezTo>
                <a:close/>
                <a:moveTo>
                  <a:pt x="3484167" y="5667866"/>
                </a:moveTo>
                <a:cubicBezTo>
                  <a:pt x="3490114" y="5667866"/>
                  <a:pt x="3494905" y="5672655"/>
                  <a:pt x="3494905" y="5678602"/>
                </a:cubicBezTo>
                <a:cubicBezTo>
                  <a:pt x="3494905" y="5684549"/>
                  <a:pt x="3490114" y="5689340"/>
                  <a:pt x="3484167" y="5689340"/>
                </a:cubicBezTo>
                <a:cubicBezTo>
                  <a:pt x="3478220" y="5689340"/>
                  <a:pt x="3473431" y="5684549"/>
                  <a:pt x="3473431" y="5678602"/>
                </a:cubicBezTo>
                <a:cubicBezTo>
                  <a:pt x="3473431" y="5672655"/>
                  <a:pt x="3478220" y="5667866"/>
                  <a:pt x="3484167" y="5667866"/>
                </a:cubicBezTo>
                <a:close/>
                <a:moveTo>
                  <a:pt x="2972601" y="5667536"/>
                </a:moveTo>
                <a:cubicBezTo>
                  <a:pt x="2978548" y="5667536"/>
                  <a:pt x="2983339" y="5672326"/>
                  <a:pt x="2983339" y="5678273"/>
                </a:cubicBezTo>
                <a:cubicBezTo>
                  <a:pt x="2983339" y="5684219"/>
                  <a:pt x="2978548" y="5689009"/>
                  <a:pt x="2972601" y="5689009"/>
                </a:cubicBezTo>
                <a:cubicBezTo>
                  <a:pt x="2966654" y="5689009"/>
                  <a:pt x="2961865" y="5684219"/>
                  <a:pt x="2961865" y="5678273"/>
                </a:cubicBezTo>
                <a:cubicBezTo>
                  <a:pt x="2961865" y="5672326"/>
                  <a:pt x="2966654" y="5667536"/>
                  <a:pt x="2972601" y="5667536"/>
                </a:cubicBezTo>
                <a:close/>
                <a:moveTo>
                  <a:pt x="3458234" y="5667371"/>
                </a:moveTo>
                <a:cubicBezTo>
                  <a:pt x="3464180" y="5667371"/>
                  <a:pt x="3468970" y="5672161"/>
                  <a:pt x="3468970" y="5678108"/>
                </a:cubicBezTo>
                <a:cubicBezTo>
                  <a:pt x="3468970" y="5684054"/>
                  <a:pt x="3464180" y="5688846"/>
                  <a:pt x="3458234" y="5688846"/>
                </a:cubicBezTo>
                <a:cubicBezTo>
                  <a:pt x="3452288" y="5688846"/>
                  <a:pt x="3447498" y="5684054"/>
                  <a:pt x="3447498" y="5678108"/>
                </a:cubicBezTo>
                <a:cubicBezTo>
                  <a:pt x="3447498" y="5672161"/>
                  <a:pt x="3452288" y="5667371"/>
                  <a:pt x="3458234" y="5667371"/>
                </a:cubicBezTo>
                <a:close/>
                <a:moveTo>
                  <a:pt x="2463513" y="5666379"/>
                </a:moveTo>
                <a:cubicBezTo>
                  <a:pt x="2469460" y="5666379"/>
                  <a:pt x="2474250" y="5671169"/>
                  <a:pt x="2474250" y="5677116"/>
                </a:cubicBezTo>
                <a:cubicBezTo>
                  <a:pt x="2474250" y="5683062"/>
                  <a:pt x="2469460" y="5687852"/>
                  <a:pt x="2463513" y="5687852"/>
                </a:cubicBezTo>
                <a:cubicBezTo>
                  <a:pt x="2457566" y="5687852"/>
                  <a:pt x="2452777" y="5683062"/>
                  <a:pt x="2452777" y="5677116"/>
                </a:cubicBezTo>
                <a:cubicBezTo>
                  <a:pt x="2452777" y="5671169"/>
                  <a:pt x="2457566" y="5666379"/>
                  <a:pt x="2463513" y="5666379"/>
                </a:cubicBezTo>
                <a:close/>
                <a:moveTo>
                  <a:pt x="3430154" y="5665885"/>
                </a:moveTo>
                <a:cubicBezTo>
                  <a:pt x="3436100" y="5665885"/>
                  <a:pt x="3440892" y="5670675"/>
                  <a:pt x="3440892" y="5676622"/>
                </a:cubicBezTo>
                <a:cubicBezTo>
                  <a:pt x="3440892" y="5682568"/>
                  <a:pt x="3436100" y="5687358"/>
                  <a:pt x="3430154" y="5687358"/>
                </a:cubicBezTo>
                <a:cubicBezTo>
                  <a:pt x="3424208" y="5687358"/>
                  <a:pt x="3419418" y="5682568"/>
                  <a:pt x="3419418" y="5676622"/>
                </a:cubicBezTo>
                <a:cubicBezTo>
                  <a:pt x="3419418" y="5670675"/>
                  <a:pt x="3424208" y="5665885"/>
                  <a:pt x="3430154" y="5665885"/>
                </a:cubicBezTo>
                <a:close/>
                <a:moveTo>
                  <a:pt x="2755718" y="5665719"/>
                </a:moveTo>
                <a:cubicBezTo>
                  <a:pt x="2761665" y="5665719"/>
                  <a:pt x="2766456" y="5670509"/>
                  <a:pt x="2766456" y="5676455"/>
                </a:cubicBezTo>
                <a:cubicBezTo>
                  <a:pt x="2766456" y="5682402"/>
                  <a:pt x="2761665" y="5687193"/>
                  <a:pt x="2755718" y="5687193"/>
                </a:cubicBezTo>
                <a:cubicBezTo>
                  <a:pt x="2749772" y="5687193"/>
                  <a:pt x="2744982" y="5682402"/>
                  <a:pt x="2744982" y="5676455"/>
                </a:cubicBezTo>
                <a:cubicBezTo>
                  <a:pt x="2744982" y="5670509"/>
                  <a:pt x="2749772" y="5665719"/>
                  <a:pt x="2755718" y="5665719"/>
                </a:cubicBezTo>
                <a:close/>
                <a:moveTo>
                  <a:pt x="3230284" y="5664893"/>
                </a:moveTo>
                <a:cubicBezTo>
                  <a:pt x="3236230" y="5664893"/>
                  <a:pt x="3241022" y="5669683"/>
                  <a:pt x="3241022" y="5675630"/>
                </a:cubicBezTo>
                <a:cubicBezTo>
                  <a:pt x="3241022" y="5681576"/>
                  <a:pt x="3236230" y="5686366"/>
                  <a:pt x="3230284" y="5686366"/>
                </a:cubicBezTo>
                <a:cubicBezTo>
                  <a:pt x="3224337" y="5686366"/>
                  <a:pt x="3219548" y="5681576"/>
                  <a:pt x="3219548" y="5675630"/>
                </a:cubicBezTo>
                <a:cubicBezTo>
                  <a:pt x="3219548" y="5669683"/>
                  <a:pt x="3224337" y="5664893"/>
                  <a:pt x="3230284" y="5664893"/>
                </a:cubicBezTo>
                <a:close/>
                <a:moveTo>
                  <a:pt x="3400090" y="5663076"/>
                </a:moveTo>
                <a:cubicBezTo>
                  <a:pt x="3406037" y="5663076"/>
                  <a:pt x="3410828" y="5667866"/>
                  <a:pt x="3410828" y="5673812"/>
                </a:cubicBezTo>
                <a:lnTo>
                  <a:pt x="3400092" y="5684550"/>
                </a:lnTo>
                <a:lnTo>
                  <a:pt x="3410003" y="5694459"/>
                </a:lnTo>
                <a:lnTo>
                  <a:pt x="3402156" y="5702307"/>
                </a:lnTo>
                <a:lnTo>
                  <a:pt x="3408682" y="5708831"/>
                </a:lnTo>
                <a:lnTo>
                  <a:pt x="3401082" y="5716430"/>
                </a:lnTo>
                <a:lnTo>
                  <a:pt x="3408021" y="5723367"/>
                </a:lnTo>
                <a:lnTo>
                  <a:pt x="3398521" y="5732866"/>
                </a:lnTo>
                <a:lnTo>
                  <a:pt x="3408844" y="5743188"/>
                </a:lnTo>
                <a:cubicBezTo>
                  <a:pt x="3408844" y="5749135"/>
                  <a:pt x="3404054" y="5753925"/>
                  <a:pt x="3398108" y="5753925"/>
                </a:cubicBezTo>
                <a:cubicBezTo>
                  <a:pt x="3392162" y="5753925"/>
                  <a:pt x="3387372" y="5749135"/>
                  <a:pt x="3387372" y="5743188"/>
                </a:cubicBezTo>
                <a:lnTo>
                  <a:pt x="3396870" y="5733692"/>
                </a:lnTo>
                <a:lnTo>
                  <a:pt x="3386546" y="5723367"/>
                </a:lnTo>
                <a:lnTo>
                  <a:pt x="3394144" y="5715769"/>
                </a:lnTo>
                <a:lnTo>
                  <a:pt x="3387207" y="5708831"/>
                </a:lnTo>
                <a:lnTo>
                  <a:pt x="3395052" y="5700985"/>
                </a:lnTo>
                <a:lnTo>
                  <a:pt x="3388528" y="5694459"/>
                </a:lnTo>
                <a:lnTo>
                  <a:pt x="3399265" y="5683725"/>
                </a:lnTo>
                <a:lnTo>
                  <a:pt x="3389354" y="5673812"/>
                </a:lnTo>
                <a:cubicBezTo>
                  <a:pt x="3389354" y="5667866"/>
                  <a:pt x="3394144" y="5663076"/>
                  <a:pt x="3400090" y="5663076"/>
                </a:cubicBezTo>
                <a:close/>
                <a:moveTo>
                  <a:pt x="3080795" y="5662911"/>
                </a:moveTo>
                <a:cubicBezTo>
                  <a:pt x="3086742" y="5662911"/>
                  <a:pt x="3091533" y="5667701"/>
                  <a:pt x="3091533" y="5673647"/>
                </a:cubicBezTo>
                <a:cubicBezTo>
                  <a:pt x="3091533" y="5679594"/>
                  <a:pt x="3086742" y="5684384"/>
                  <a:pt x="3080795" y="5684384"/>
                </a:cubicBezTo>
                <a:cubicBezTo>
                  <a:pt x="3074849" y="5684384"/>
                  <a:pt x="3070059" y="5679594"/>
                  <a:pt x="3070059" y="5673647"/>
                </a:cubicBezTo>
                <a:cubicBezTo>
                  <a:pt x="3070059" y="5667701"/>
                  <a:pt x="3074849" y="5662911"/>
                  <a:pt x="3080795" y="5662911"/>
                </a:cubicBezTo>
                <a:close/>
                <a:moveTo>
                  <a:pt x="2255385" y="5659772"/>
                </a:moveTo>
                <a:cubicBezTo>
                  <a:pt x="2261331" y="5659772"/>
                  <a:pt x="2266123" y="5664562"/>
                  <a:pt x="2266123" y="5670509"/>
                </a:cubicBezTo>
                <a:cubicBezTo>
                  <a:pt x="2266123" y="5676455"/>
                  <a:pt x="2261331" y="5681245"/>
                  <a:pt x="2255385" y="5681245"/>
                </a:cubicBezTo>
                <a:cubicBezTo>
                  <a:pt x="2249438" y="5681245"/>
                  <a:pt x="2244648" y="5676455"/>
                  <a:pt x="2244648" y="5670509"/>
                </a:cubicBezTo>
                <a:cubicBezTo>
                  <a:pt x="2244648" y="5664562"/>
                  <a:pt x="2249438" y="5659772"/>
                  <a:pt x="2255385" y="5659772"/>
                </a:cubicBezTo>
                <a:close/>
                <a:moveTo>
                  <a:pt x="2647689" y="5659607"/>
                </a:moveTo>
                <a:cubicBezTo>
                  <a:pt x="2653636" y="5659607"/>
                  <a:pt x="2658427" y="5664397"/>
                  <a:pt x="2658427" y="5670344"/>
                </a:cubicBezTo>
                <a:cubicBezTo>
                  <a:pt x="2658427" y="5676290"/>
                  <a:pt x="2653636" y="5681082"/>
                  <a:pt x="2647689" y="5681082"/>
                </a:cubicBezTo>
                <a:cubicBezTo>
                  <a:pt x="2641742" y="5681082"/>
                  <a:pt x="2636952" y="5676290"/>
                  <a:pt x="2636952" y="5670344"/>
                </a:cubicBezTo>
                <a:cubicBezTo>
                  <a:pt x="2636952" y="5664397"/>
                  <a:pt x="2641742" y="5659607"/>
                  <a:pt x="2647689" y="5659607"/>
                </a:cubicBezTo>
                <a:close/>
                <a:moveTo>
                  <a:pt x="2232424" y="5659607"/>
                </a:moveTo>
                <a:cubicBezTo>
                  <a:pt x="2238370" y="5659607"/>
                  <a:pt x="2243162" y="5664397"/>
                  <a:pt x="2243162" y="5670344"/>
                </a:cubicBezTo>
                <a:cubicBezTo>
                  <a:pt x="2243162" y="5676290"/>
                  <a:pt x="2238370" y="5681082"/>
                  <a:pt x="2232424" y="5681082"/>
                </a:cubicBezTo>
                <a:cubicBezTo>
                  <a:pt x="2226478" y="5681082"/>
                  <a:pt x="2221688" y="5676290"/>
                  <a:pt x="2221688" y="5670344"/>
                </a:cubicBezTo>
                <a:cubicBezTo>
                  <a:pt x="2221688" y="5664397"/>
                  <a:pt x="2226478" y="5659607"/>
                  <a:pt x="2232424" y="5659607"/>
                </a:cubicBezTo>
                <a:close/>
                <a:moveTo>
                  <a:pt x="2500678" y="5659278"/>
                </a:moveTo>
                <a:cubicBezTo>
                  <a:pt x="2506625" y="5659278"/>
                  <a:pt x="2511415" y="5664068"/>
                  <a:pt x="2511415" y="5670014"/>
                </a:cubicBezTo>
                <a:cubicBezTo>
                  <a:pt x="2511415" y="5675961"/>
                  <a:pt x="2506625" y="5680751"/>
                  <a:pt x="2500678" y="5680751"/>
                </a:cubicBezTo>
                <a:cubicBezTo>
                  <a:pt x="2494732" y="5680751"/>
                  <a:pt x="2489942" y="5675961"/>
                  <a:pt x="2489942" y="5670014"/>
                </a:cubicBezTo>
                <a:cubicBezTo>
                  <a:pt x="2489942" y="5664068"/>
                  <a:pt x="2494732" y="5659278"/>
                  <a:pt x="2500678" y="5659278"/>
                </a:cubicBezTo>
                <a:close/>
                <a:moveTo>
                  <a:pt x="2279996" y="5659278"/>
                </a:moveTo>
                <a:cubicBezTo>
                  <a:pt x="2285943" y="5659278"/>
                  <a:pt x="2290732" y="5664068"/>
                  <a:pt x="2290732" y="5670014"/>
                </a:cubicBezTo>
                <a:cubicBezTo>
                  <a:pt x="2290732" y="5675961"/>
                  <a:pt x="2285943" y="5680751"/>
                  <a:pt x="2279996" y="5680751"/>
                </a:cubicBezTo>
                <a:cubicBezTo>
                  <a:pt x="2274050" y="5680751"/>
                  <a:pt x="2269260" y="5675961"/>
                  <a:pt x="2269260" y="5670014"/>
                </a:cubicBezTo>
                <a:cubicBezTo>
                  <a:pt x="2269260" y="5664068"/>
                  <a:pt x="2274050" y="5659278"/>
                  <a:pt x="2279996" y="5659278"/>
                </a:cubicBezTo>
                <a:close/>
                <a:moveTo>
                  <a:pt x="3367715" y="5658616"/>
                </a:moveTo>
                <a:cubicBezTo>
                  <a:pt x="3373661" y="5658616"/>
                  <a:pt x="3378453" y="5663405"/>
                  <a:pt x="3378453" y="5669352"/>
                </a:cubicBezTo>
                <a:cubicBezTo>
                  <a:pt x="3378453" y="5675298"/>
                  <a:pt x="3373661" y="5680088"/>
                  <a:pt x="3367715" y="5680088"/>
                </a:cubicBezTo>
                <a:cubicBezTo>
                  <a:pt x="3361768" y="5680088"/>
                  <a:pt x="3356978" y="5675298"/>
                  <a:pt x="3356978" y="5669352"/>
                </a:cubicBezTo>
                <a:cubicBezTo>
                  <a:pt x="3356978" y="5663405"/>
                  <a:pt x="3361768" y="5658616"/>
                  <a:pt x="3367715" y="5658616"/>
                </a:cubicBezTo>
                <a:close/>
                <a:moveTo>
                  <a:pt x="2306425" y="5657955"/>
                </a:moveTo>
                <a:cubicBezTo>
                  <a:pt x="2312372" y="5657955"/>
                  <a:pt x="2317163" y="5662745"/>
                  <a:pt x="2317163" y="5668691"/>
                </a:cubicBezTo>
                <a:cubicBezTo>
                  <a:pt x="2317163" y="5674638"/>
                  <a:pt x="2312372" y="5679429"/>
                  <a:pt x="2306425" y="5679429"/>
                </a:cubicBezTo>
                <a:cubicBezTo>
                  <a:pt x="2300479" y="5679429"/>
                  <a:pt x="2295689" y="5674638"/>
                  <a:pt x="2295689" y="5668691"/>
                </a:cubicBezTo>
                <a:cubicBezTo>
                  <a:pt x="2295689" y="5662745"/>
                  <a:pt x="2300479" y="5657955"/>
                  <a:pt x="2306425" y="5657955"/>
                </a:cubicBezTo>
                <a:close/>
                <a:moveTo>
                  <a:pt x="2335001" y="5655478"/>
                </a:moveTo>
                <a:cubicBezTo>
                  <a:pt x="2340948" y="5655478"/>
                  <a:pt x="2345738" y="5660268"/>
                  <a:pt x="2345738" y="5666215"/>
                </a:cubicBezTo>
                <a:cubicBezTo>
                  <a:pt x="2345738" y="5672161"/>
                  <a:pt x="2340948" y="5676953"/>
                  <a:pt x="2335001" y="5676953"/>
                </a:cubicBezTo>
                <a:cubicBezTo>
                  <a:pt x="2329055" y="5676953"/>
                  <a:pt x="2324265" y="5672161"/>
                  <a:pt x="2324265" y="5666215"/>
                </a:cubicBezTo>
                <a:cubicBezTo>
                  <a:pt x="2324265" y="5660268"/>
                  <a:pt x="2329055" y="5655478"/>
                  <a:pt x="2335001" y="5655478"/>
                </a:cubicBezTo>
                <a:close/>
                <a:moveTo>
                  <a:pt x="3188329" y="5654653"/>
                </a:moveTo>
                <a:cubicBezTo>
                  <a:pt x="3194275" y="5654653"/>
                  <a:pt x="3199067" y="5659443"/>
                  <a:pt x="3199067" y="5665389"/>
                </a:cubicBezTo>
                <a:cubicBezTo>
                  <a:pt x="3199067" y="5671336"/>
                  <a:pt x="3194275" y="5676126"/>
                  <a:pt x="3188329" y="5676126"/>
                </a:cubicBezTo>
                <a:cubicBezTo>
                  <a:pt x="3182382" y="5676126"/>
                  <a:pt x="3177592" y="5671336"/>
                  <a:pt x="3177592" y="5665389"/>
                </a:cubicBezTo>
                <a:cubicBezTo>
                  <a:pt x="3177592" y="5659443"/>
                  <a:pt x="3182382" y="5654653"/>
                  <a:pt x="3188329" y="5654653"/>
                </a:cubicBezTo>
                <a:close/>
                <a:moveTo>
                  <a:pt x="3332532" y="5652175"/>
                </a:moveTo>
                <a:cubicBezTo>
                  <a:pt x="3338478" y="5652175"/>
                  <a:pt x="3343268" y="5656965"/>
                  <a:pt x="3343268" y="5662911"/>
                </a:cubicBezTo>
                <a:cubicBezTo>
                  <a:pt x="3343268" y="5668858"/>
                  <a:pt x="3338478" y="5673647"/>
                  <a:pt x="3332532" y="5673647"/>
                </a:cubicBezTo>
                <a:cubicBezTo>
                  <a:pt x="3326585" y="5673647"/>
                  <a:pt x="3321795" y="5668858"/>
                  <a:pt x="3321795" y="5662911"/>
                </a:cubicBezTo>
                <a:cubicBezTo>
                  <a:pt x="3321795" y="5656965"/>
                  <a:pt x="3326585" y="5652175"/>
                  <a:pt x="3332532" y="5652175"/>
                </a:cubicBezTo>
                <a:close/>
                <a:moveTo>
                  <a:pt x="2162470" y="5652091"/>
                </a:moveTo>
                <a:lnTo>
                  <a:pt x="2153714" y="5660847"/>
                </a:lnTo>
                <a:lnTo>
                  <a:pt x="2161643" y="5668776"/>
                </a:lnTo>
                <a:lnTo>
                  <a:pt x="2170399" y="5660020"/>
                </a:lnTo>
                <a:close/>
                <a:moveTo>
                  <a:pt x="2365726" y="5651348"/>
                </a:moveTo>
                <a:cubicBezTo>
                  <a:pt x="2371672" y="5651348"/>
                  <a:pt x="2376462" y="5656137"/>
                  <a:pt x="2376462" y="5662084"/>
                </a:cubicBezTo>
                <a:cubicBezTo>
                  <a:pt x="2376462" y="5668030"/>
                  <a:pt x="2371672" y="5672822"/>
                  <a:pt x="2365726" y="5672822"/>
                </a:cubicBezTo>
                <a:cubicBezTo>
                  <a:pt x="2359779" y="5672822"/>
                  <a:pt x="2354990" y="5668030"/>
                  <a:pt x="2354990" y="5662084"/>
                </a:cubicBezTo>
                <a:cubicBezTo>
                  <a:pt x="2354990" y="5656137"/>
                  <a:pt x="2359779" y="5651348"/>
                  <a:pt x="2365726" y="5651348"/>
                </a:cubicBezTo>
                <a:close/>
                <a:moveTo>
                  <a:pt x="2919414" y="5651018"/>
                </a:moveTo>
                <a:cubicBezTo>
                  <a:pt x="2925360" y="5651018"/>
                  <a:pt x="2930152" y="5655808"/>
                  <a:pt x="2930152" y="5661754"/>
                </a:cubicBezTo>
                <a:cubicBezTo>
                  <a:pt x="2930152" y="5667701"/>
                  <a:pt x="2925360" y="5672491"/>
                  <a:pt x="2919414" y="5672491"/>
                </a:cubicBezTo>
                <a:cubicBezTo>
                  <a:pt x="2913467" y="5672491"/>
                  <a:pt x="2908677" y="5667701"/>
                  <a:pt x="2908677" y="5661754"/>
                </a:cubicBezTo>
                <a:cubicBezTo>
                  <a:pt x="2908677" y="5655808"/>
                  <a:pt x="2913467" y="5651018"/>
                  <a:pt x="2919414" y="5651018"/>
                </a:cubicBezTo>
                <a:close/>
                <a:moveTo>
                  <a:pt x="2807090" y="5650193"/>
                </a:moveTo>
                <a:cubicBezTo>
                  <a:pt x="2813037" y="5650193"/>
                  <a:pt x="2817828" y="5654982"/>
                  <a:pt x="2817828" y="5660929"/>
                </a:cubicBezTo>
                <a:cubicBezTo>
                  <a:pt x="2817828" y="5666875"/>
                  <a:pt x="2813037" y="5671667"/>
                  <a:pt x="2807090" y="5671667"/>
                </a:cubicBezTo>
                <a:cubicBezTo>
                  <a:pt x="2801144" y="5671667"/>
                  <a:pt x="2796354" y="5666875"/>
                  <a:pt x="2796354" y="5660929"/>
                </a:cubicBezTo>
                <a:cubicBezTo>
                  <a:pt x="2796354" y="5654982"/>
                  <a:pt x="2801144" y="5650193"/>
                  <a:pt x="2807090" y="5650193"/>
                </a:cubicBezTo>
                <a:close/>
                <a:moveTo>
                  <a:pt x="2540818" y="5649697"/>
                </a:moveTo>
                <a:cubicBezTo>
                  <a:pt x="2546764" y="5649697"/>
                  <a:pt x="2551556" y="5654486"/>
                  <a:pt x="2551556" y="5660433"/>
                </a:cubicBezTo>
                <a:cubicBezTo>
                  <a:pt x="2551556" y="5666379"/>
                  <a:pt x="2546764" y="5671171"/>
                  <a:pt x="2540818" y="5671171"/>
                </a:cubicBezTo>
                <a:cubicBezTo>
                  <a:pt x="2534872" y="5671171"/>
                  <a:pt x="2530082" y="5666379"/>
                  <a:pt x="2530082" y="5660433"/>
                </a:cubicBezTo>
                <a:cubicBezTo>
                  <a:pt x="2530082" y="5654486"/>
                  <a:pt x="2534872" y="5649697"/>
                  <a:pt x="2540818" y="5649697"/>
                </a:cubicBezTo>
                <a:close/>
                <a:moveTo>
                  <a:pt x="3031406" y="5648210"/>
                </a:moveTo>
                <a:cubicBezTo>
                  <a:pt x="3037352" y="5648210"/>
                  <a:pt x="3042144" y="5653000"/>
                  <a:pt x="3042144" y="5658947"/>
                </a:cubicBezTo>
                <a:cubicBezTo>
                  <a:pt x="3042144" y="5664893"/>
                  <a:pt x="3037352" y="5669685"/>
                  <a:pt x="3031406" y="5669685"/>
                </a:cubicBezTo>
                <a:cubicBezTo>
                  <a:pt x="3025459" y="5669685"/>
                  <a:pt x="3020669" y="5664893"/>
                  <a:pt x="3020669" y="5658947"/>
                </a:cubicBezTo>
                <a:cubicBezTo>
                  <a:pt x="3020669" y="5653000"/>
                  <a:pt x="3025459" y="5648210"/>
                  <a:pt x="3031406" y="5648210"/>
                </a:cubicBezTo>
                <a:close/>
                <a:moveTo>
                  <a:pt x="3493417" y="5645897"/>
                </a:moveTo>
                <a:lnTo>
                  <a:pt x="3503192" y="5655670"/>
                </a:lnTo>
                <a:lnTo>
                  <a:pt x="3503192" y="5657596"/>
                </a:lnTo>
                <a:lnTo>
                  <a:pt x="3493417" y="5667370"/>
                </a:lnTo>
                <a:cubicBezTo>
                  <a:pt x="3487471" y="5667370"/>
                  <a:pt x="3482681" y="5662580"/>
                  <a:pt x="3482681" y="5656633"/>
                </a:cubicBezTo>
                <a:cubicBezTo>
                  <a:pt x="3482681" y="5650687"/>
                  <a:pt x="3487471" y="5645897"/>
                  <a:pt x="3493417" y="5645897"/>
                </a:cubicBezTo>
                <a:close/>
                <a:moveTo>
                  <a:pt x="2695263" y="5645567"/>
                </a:moveTo>
                <a:cubicBezTo>
                  <a:pt x="2701210" y="5645567"/>
                  <a:pt x="2706001" y="5650357"/>
                  <a:pt x="2706001" y="5656304"/>
                </a:cubicBezTo>
                <a:cubicBezTo>
                  <a:pt x="2706001" y="5662250"/>
                  <a:pt x="2701210" y="5667042"/>
                  <a:pt x="2695263" y="5667042"/>
                </a:cubicBezTo>
                <a:cubicBezTo>
                  <a:pt x="2689316" y="5667042"/>
                  <a:pt x="2684526" y="5662250"/>
                  <a:pt x="2684526" y="5656304"/>
                </a:cubicBezTo>
                <a:cubicBezTo>
                  <a:pt x="2684526" y="5650357"/>
                  <a:pt x="2689316" y="5645567"/>
                  <a:pt x="2695263" y="5645567"/>
                </a:cubicBezTo>
                <a:close/>
                <a:moveTo>
                  <a:pt x="2399092" y="5645236"/>
                </a:moveTo>
                <a:cubicBezTo>
                  <a:pt x="2405038" y="5645236"/>
                  <a:pt x="2409830" y="5650026"/>
                  <a:pt x="2409830" y="5655973"/>
                </a:cubicBezTo>
                <a:cubicBezTo>
                  <a:pt x="2409830" y="5661919"/>
                  <a:pt x="2405038" y="5666709"/>
                  <a:pt x="2399092" y="5666709"/>
                </a:cubicBezTo>
                <a:cubicBezTo>
                  <a:pt x="2393145" y="5666709"/>
                  <a:pt x="2388355" y="5661919"/>
                  <a:pt x="2388355" y="5655973"/>
                </a:cubicBezTo>
                <a:cubicBezTo>
                  <a:pt x="2388355" y="5650026"/>
                  <a:pt x="2393145" y="5645236"/>
                  <a:pt x="2399092" y="5645236"/>
                </a:cubicBezTo>
                <a:close/>
                <a:moveTo>
                  <a:pt x="3294541" y="5643089"/>
                </a:moveTo>
                <a:cubicBezTo>
                  <a:pt x="3300487" y="5643089"/>
                  <a:pt x="3305279" y="5647879"/>
                  <a:pt x="3305279" y="5653826"/>
                </a:cubicBezTo>
                <a:cubicBezTo>
                  <a:pt x="3305279" y="5659772"/>
                  <a:pt x="3300487" y="5664564"/>
                  <a:pt x="3294541" y="5664564"/>
                </a:cubicBezTo>
                <a:cubicBezTo>
                  <a:pt x="3288594" y="5664564"/>
                  <a:pt x="3283804" y="5659772"/>
                  <a:pt x="3283804" y="5653826"/>
                </a:cubicBezTo>
                <a:cubicBezTo>
                  <a:pt x="3283804" y="5647879"/>
                  <a:pt x="3288594" y="5643089"/>
                  <a:pt x="3294541" y="5643089"/>
                </a:cubicBezTo>
                <a:close/>
                <a:moveTo>
                  <a:pt x="3464512" y="5642097"/>
                </a:moveTo>
                <a:cubicBezTo>
                  <a:pt x="3470458" y="5642097"/>
                  <a:pt x="3475250" y="5646887"/>
                  <a:pt x="3475250" y="5652834"/>
                </a:cubicBezTo>
                <a:cubicBezTo>
                  <a:pt x="3475250" y="5658780"/>
                  <a:pt x="3470458" y="5663570"/>
                  <a:pt x="3464512" y="5663570"/>
                </a:cubicBezTo>
                <a:cubicBezTo>
                  <a:pt x="3458565" y="5663570"/>
                  <a:pt x="3453776" y="5658780"/>
                  <a:pt x="3453776" y="5652834"/>
                </a:cubicBezTo>
                <a:cubicBezTo>
                  <a:pt x="3453776" y="5646887"/>
                  <a:pt x="3458565" y="5642097"/>
                  <a:pt x="3464512" y="5642097"/>
                </a:cubicBezTo>
                <a:close/>
                <a:moveTo>
                  <a:pt x="3143068" y="5641437"/>
                </a:moveTo>
                <a:cubicBezTo>
                  <a:pt x="3149015" y="5641437"/>
                  <a:pt x="3153804" y="5646226"/>
                  <a:pt x="3153804" y="5652173"/>
                </a:cubicBezTo>
                <a:cubicBezTo>
                  <a:pt x="3153804" y="5658120"/>
                  <a:pt x="3149015" y="5662911"/>
                  <a:pt x="3143068" y="5662911"/>
                </a:cubicBezTo>
                <a:cubicBezTo>
                  <a:pt x="3137122" y="5662911"/>
                  <a:pt x="3132332" y="5658120"/>
                  <a:pt x="3132332" y="5652173"/>
                </a:cubicBezTo>
                <a:cubicBezTo>
                  <a:pt x="3132332" y="5646226"/>
                  <a:pt x="3137122" y="5641437"/>
                  <a:pt x="3143068" y="5641437"/>
                </a:cubicBezTo>
                <a:close/>
                <a:moveTo>
                  <a:pt x="1959876" y="5640942"/>
                </a:moveTo>
                <a:cubicBezTo>
                  <a:pt x="1964501" y="5640942"/>
                  <a:pt x="1968300" y="5644742"/>
                  <a:pt x="1968300" y="5649367"/>
                </a:cubicBezTo>
                <a:cubicBezTo>
                  <a:pt x="1968300" y="5653992"/>
                  <a:pt x="1964501" y="5657792"/>
                  <a:pt x="1959876" y="5657792"/>
                </a:cubicBezTo>
                <a:cubicBezTo>
                  <a:pt x="1955251" y="5657792"/>
                  <a:pt x="1951451" y="5653992"/>
                  <a:pt x="1951451" y="5649367"/>
                </a:cubicBezTo>
                <a:cubicBezTo>
                  <a:pt x="1951451" y="5644742"/>
                  <a:pt x="1955251" y="5640942"/>
                  <a:pt x="1959876" y="5640942"/>
                </a:cubicBezTo>
                <a:close/>
                <a:moveTo>
                  <a:pt x="2194267" y="5640446"/>
                </a:moveTo>
                <a:cubicBezTo>
                  <a:pt x="2200213" y="5640446"/>
                  <a:pt x="2205005" y="5645236"/>
                  <a:pt x="2205005" y="5651183"/>
                </a:cubicBezTo>
                <a:cubicBezTo>
                  <a:pt x="2205005" y="5657129"/>
                  <a:pt x="2200213" y="5661921"/>
                  <a:pt x="2194267" y="5661921"/>
                </a:cubicBezTo>
                <a:cubicBezTo>
                  <a:pt x="2188320" y="5661921"/>
                  <a:pt x="2183530" y="5657129"/>
                  <a:pt x="2183530" y="5651183"/>
                </a:cubicBezTo>
                <a:cubicBezTo>
                  <a:pt x="2183530" y="5645236"/>
                  <a:pt x="2188320" y="5640446"/>
                  <a:pt x="2194267" y="5640446"/>
                </a:cubicBezTo>
                <a:close/>
                <a:moveTo>
                  <a:pt x="2115807" y="5640446"/>
                </a:moveTo>
                <a:lnTo>
                  <a:pt x="2124728" y="5649365"/>
                </a:lnTo>
                <a:lnTo>
                  <a:pt x="2133646" y="5640446"/>
                </a:lnTo>
                <a:lnTo>
                  <a:pt x="2143144" y="5649943"/>
                </a:lnTo>
                <a:lnTo>
                  <a:pt x="2152476" y="5640611"/>
                </a:lnTo>
                <a:lnTo>
                  <a:pt x="2162637" y="5650770"/>
                </a:lnTo>
                <a:lnTo>
                  <a:pt x="2172629" y="5640778"/>
                </a:lnTo>
                <a:cubicBezTo>
                  <a:pt x="2178576" y="5640778"/>
                  <a:pt x="2183366" y="5645567"/>
                  <a:pt x="2183366" y="5651514"/>
                </a:cubicBezTo>
                <a:lnTo>
                  <a:pt x="2173372" y="5661508"/>
                </a:lnTo>
                <a:lnTo>
                  <a:pt x="2180723" y="5668858"/>
                </a:lnTo>
                <a:lnTo>
                  <a:pt x="2190469" y="5659111"/>
                </a:lnTo>
                <a:lnTo>
                  <a:pt x="2200792" y="5669435"/>
                </a:lnTo>
                <a:lnTo>
                  <a:pt x="2210785" y="5659443"/>
                </a:lnTo>
                <a:cubicBezTo>
                  <a:pt x="2216731" y="5659443"/>
                  <a:pt x="2221523" y="5664233"/>
                  <a:pt x="2221523" y="5670179"/>
                </a:cubicBezTo>
                <a:cubicBezTo>
                  <a:pt x="2221523" y="5676126"/>
                  <a:pt x="2216731" y="5680917"/>
                  <a:pt x="2210785" y="5680917"/>
                </a:cubicBezTo>
                <a:lnTo>
                  <a:pt x="2200461" y="5670592"/>
                </a:lnTo>
                <a:lnTo>
                  <a:pt x="2190469" y="5680586"/>
                </a:lnTo>
                <a:lnTo>
                  <a:pt x="2180889" y="5671005"/>
                </a:lnTo>
                <a:lnTo>
                  <a:pt x="2171141" y="5680751"/>
                </a:lnTo>
                <a:lnTo>
                  <a:pt x="2162304" y="5671915"/>
                </a:lnTo>
                <a:lnTo>
                  <a:pt x="2152806" y="5681411"/>
                </a:lnTo>
                <a:lnTo>
                  <a:pt x="2144796" y="5673401"/>
                </a:lnTo>
                <a:lnTo>
                  <a:pt x="2135298" y="5682898"/>
                </a:lnTo>
                <a:lnTo>
                  <a:pt x="2128031" y="5675631"/>
                </a:lnTo>
                <a:lnTo>
                  <a:pt x="2118283" y="5685376"/>
                </a:lnTo>
                <a:lnTo>
                  <a:pt x="2111676" y="5678768"/>
                </a:lnTo>
                <a:lnTo>
                  <a:pt x="2101600" y="5688846"/>
                </a:lnTo>
                <a:lnTo>
                  <a:pt x="2095983" y="5683229"/>
                </a:lnTo>
                <a:lnTo>
                  <a:pt x="2085412" y="5693799"/>
                </a:lnTo>
                <a:cubicBezTo>
                  <a:pt x="2079465" y="5693799"/>
                  <a:pt x="2074676" y="5689009"/>
                  <a:pt x="2074676" y="5683062"/>
                </a:cubicBezTo>
                <a:cubicBezTo>
                  <a:pt x="2074676" y="5677116"/>
                  <a:pt x="2079465" y="5672326"/>
                  <a:pt x="2085412" y="5672326"/>
                </a:cubicBezTo>
                <a:lnTo>
                  <a:pt x="2091029" y="5677943"/>
                </a:lnTo>
                <a:lnTo>
                  <a:pt x="2101600" y="5667371"/>
                </a:lnTo>
                <a:lnTo>
                  <a:pt x="2108208" y="5673979"/>
                </a:lnTo>
                <a:lnTo>
                  <a:pt x="2118283" y="5663903"/>
                </a:lnTo>
                <a:lnTo>
                  <a:pt x="2125551" y="5671171"/>
                </a:lnTo>
                <a:lnTo>
                  <a:pt x="2135298" y="5661425"/>
                </a:lnTo>
                <a:lnTo>
                  <a:pt x="2143309" y="5669435"/>
                </a:lnTo>
                <a:lnTo>
                  <a:pt x="2151569" y="5661177"/>
                </a:lnTo>
                <a:lnTo>
                  <a:pt x="2142980" y="5652587"/>
                </a:lnTo>
                <a:lnTo>
                  <a:pt x="2133646" y="5661921"/>
                </a:lnTo>
                <a:lnTo>
                  <a:pt x="2124728" y="5653000"/>
                </a:lnTo>
                <a:lnTo>
                  <a:pt x="2115807" y="5661921"/>
                </a:lnTo>
                <a:lnTo>
                  <a:pt x="2107466" y="5653578"/>
                </a:lnTo>
                <a:lnTo>
                  <a:pt x="2098793" y="5662250"/>
                </a:lnTo>
                <a:lnTo>
                  <a:pt x="2091112" y="5654570"/>
                </a:lnTo>
                <a:lnTo>
                  <a:pt x="2082439" y="5663241"/>
                </a:lnTo>
                <a:lnTo>
                  <a:pt x="2075586" y="5656387"/>
                </a:lnTo>
                <a:lnTo>
                  <a:pt x="2066913" y="5665060"/>
                </a:lnTo>
                <a:lnTo>
                  <a:pt x="2060719" y="5658863"/>
                </a:lnTo>
                <a:lnTo>
                  <a:pt x="2051715" y="5667866"/>
                </a:lnTo>
                <a:lnTo>
                  <a:pt x="2046264" y="5662415"/>
                </a:lnTo>
                <a:lnTo>
                  <a:pt x="2036685" y="5671995"/>
                </a:lnTo>
                <a:lnTo>
                  <a:pt x="2032061" y="5667371"/>
                </a:lnTo>
                <a:lnTo>
                  <a:pt x="2022149" y="5677281"/>
                </a:lnTo>
                <a:cubicBezTo>
                  <a:pt x="2016202" y="5677281"/>
                  <a:pt x="2011412" y="5672491"/>
                  <a:pt x="2011412" y="5666544"/>
                </a:cubicBezTo>
                <a:cubicBezTo>
                  <a:pt x="2011412" y="5660598"/>
                  <a:pt x="2016202" y="5655808"/>
                  <a:pt x="2022149" y="5655808"/>
                </a:cubicBezTo>
                <a:lnTo>
                  <a:pt x="2026774" y="5660433"/>
                </a:lnTo>
                <a:lnTo>
                  <a:pt x="2036685" y="5650522"/>
                </a:lnTo>
                <a:lnTo>
                  <a:pt x="2042135" y="5655973"/>
                </a:lnTo>
                <a:lnTo>
                  <a:pt x="2051715" y="5646393"/>
                </a:lnTo>
                <a:lnTo>
                  <a:pt x="2057911" y="5652587"/>
                </a:lnTo>
                <a:lnTo>
                  <a:pt x="2066913" y="5643585"/>
                </a:lnTo>
                <a:lnTo>
                  <a:pt x="2073768" y="5650441"/>
                </a:lnTo>
                <a:lnTo>
                  <a:pt x="2082439" y="5641768"/>
                </a:lnTo>
                <a:lnTo>
                  <a:pt x="2090122" y="5649449"/>
                </a:lnTo>
                <a:lnTo>
                  <a:pt x="2098793" y="5640778"/>
                </a:lnTo>
                <a:lnTo>
                  <a:pt x="2107134" y="5649119"/>
                </a:lnTo>
                <a:close/>
                <a:moveTo>
                  <a:pt x="2217558" y="5639290"/>
                </a:moveTo>
                <a:cubicBezTo>
                  <a:pt x="2223505" y="5639290"/>
                  <a:pt x="2228295" y="5644080"/>
                  <a:pt x="2228295" y="5650026"/>
                </a:cubicBezTo>
                <a:cubicBezTo>
                  <a:pt x="2228295" y="5655973"/>
                  <a:pt x="2223505" y="5660762"/>
                  <a:pt x="2217558" y="5660762"/>
                </a:cubicBezTo>
                <a:cubicBezTo>
                  <a:pt x="2211612" y="5660762"/>
                  <a:pt x="2206822" y="5655973"/>
                  <a:pt x="2206822" y="5650026"/>
                </a:cubicBezTo>
                <a:cubicBezTo>
                  <a:pt x="2206822" y="5644080"/>
                  <a:pt x="2211612" y="5639290"/>
                  <a:pt x="2217558" y="5639290"/>
                </a:cubicBezTo>
                <a:close/>
                <a:moveTo>
                  <a:pt x="2584094" y="5637143"/>
                </a:moveTo>
                <a:cubicBezTo>
                  <a:pt x="2590041" y="5637143"/>
                  <a:pt x="2594833" y="5641933"/>
                  <a:pt x="2594833" y="5647879"/>
                </a:cubicBezTo>
                <a:cubicBezTo>
                  <a:pt x="2594833" y="5653826"/>
                  <a:pt x="2590041" y="5658616"/>
                  <a:pt x="2584094" y="5658616"/>
                </a:cubicBezTo>
                <a:cubicBezTo>
                  <a:pt x="2578148" y="5658616"/>
                  <a:pt x="2573358" y="5653826"/>
                  <a:pt x="2573358" y="5647879"/>
                </a:cubicBezTo>
                <a:cubicBezTo>
                  <a:pt x="2573358" y="5641933"/>
                  <a:pt x="2578148" y="5637143"/>
                  <a:pt x="2584094" y="5637143"/>
                </a:cubicBezTo>
                <a:close/>
                <a:moveTo>
                  <a:pt x="2242500" y="5637143"/>
                </a:moveTo>
                <a:cubicBezTo>
                  <a:pt x="2248446" y="5637143"/>
                  <a:pt x="2253238" y="5641933"/>
                  <a:pt x="2253238" y="5647879"/>
                </a:cubicBezTo>
                <a:cubicBezTo>
                  <a:pt x="2253238" y="5653826"/>
                  <a:pt x="2248446" y="5658616"/>
                  <a:pt x="2242500" y="5658616"/>
                </a:cubicBezTo>
                <a:cubicBezTo>
                  <a:pt x="2236553" y="5658616"/>
                  <a:pt x="2231763" y="5653826"/>
                  <a:pt x="2231763" y="5647879"/>
                </a:cubicBezTo>
                <a:cubicBezTo>
                  <a:pt x="2231763" y="5641933"/>
                  <a:pt x="2236553" y="5637143"/>
                  <a:pt x="2242500" y="5637143"/>
                </a:cubicBezTo>
                <a:close/>
                <a:moveTo>
                  <a:pt x="2435102" y="5636482"/>
                </a:moveTo>
                <a:cubicBezTo>
                  <a:pt x="2441048" y="5636482"/>
                  <a:pt x="2445840" y="5641272"/>
                  <a:pt x="2445840" y="5647218"/>
                </a:cubicBezTo>
                <a:cubicBezTo>
                  <a:pt x="2445840" y="5653165"/>
                  <a:pt x="2441048" y="5657955"/>
                  <a:pt x="2435102" y="5657955"/>
                </a:cubicBezTo>
                <a:cubicBezTo>
                  <a:pt x="2429156" y="5657955"/>
                  <a:pt x="2424366" y="5653165"/>
                  <a:pt x="2424366" y="5647218"/>
                </a:cubicBezTo>
                <a:cubicBezTo>
                  <a:pt x="2424366" y="5641272"/>
                  <a:pt x="2429156" y="5636482"/>
                  <a:pt x="2435102" y="5636482"/>
                </a:cubicBezTo>
                <a:close/>
                <a:moveTo>
                  <a:pt x="3433291" y="5636317"/>
                </a:moveTo>
                <a:cubicBezTo>
                  <a:pt x="3439238" y="5636317"/>
                  <a:pt x="3444029" y="5641107"/>
                  <a:pt x="3444029" y="5647054"/>
                </a:cubicBezTo>
                <a:cubicBezTo>
                  <a:pt x="3444029" y="5653000"/>
                  <a:pt x="3439238" y="5657792"/>
                  <a:pt x="3433291" y="5657792"/>
                </a:cubicBezTo>
                <a:cubicBezTo>
                  <a:pt x="3427345" y="5657792"/>
                  <a:pt x="3422555" y="5653000"/>
                  <a:pt x="3422555" y="5647054"/>
                </a:cubicBezTo>
                <a:cubicBezTo>
                  <a:pt x="3422555" y="5641107"/>
                  <a:pt x="3427345" y="5636317"/>
                  <a:pt x="3433291" y="5636317"/>
                </a:cubicBezTo>
                <a:close/>
                <a:moveTo>
                  <a:pt x="2269754" y="5633343"/>
                </a:moveTo>
                <a:cubicBezTo>
                  <a:pt x="2275701" y="5633343"/>
                  <a:pt x="2280492" y="5638133"/>
                  <a:pt x="2280492" y="5644080"/>
                </a:cubicBezTo>
                <a:cubicBezTo>
                  <a:pt x="2280492" y="5650026"/>
                  <a:pt x="2275701" y="5654816"/>
                  <a:pt x="2269754" y="5654816"/>
                </a:cubicBezTo>
                <a:cubicBezTo>
                  <a:pt x="2263808" y="5654816"/>
                  <a:pt x="2259018" y="5650026"/>
                  <a:pt x="2259018" y="5644080"/>
                </a:cubicBezTo>
                <a:cubicBezTo>
                  <a:pt x="2259018" y="5638133"/>
                  <a:pt x="2263808" y="5633343"/>
                  <a:pt x="2269754" y="5633343"/>
                </a:cubicBezTo>
                <a:close/>
                <a:moveTo>
                  <a:pt x="3253576" y="5631032"/>
                </a:moveTo>
                <a:cubicBezTo>
                  <a:pt x="3259522" y="5631032"/>
                  <a:pt x="3264312" y="5635821"/>
                  <a:pt x="3264312" y="5641768"/>
                </a:cubicBezTo>
                <a:cubicBezTo>
                  <a:pt x="3264312" y="5647714"/>
                  <a:pt x="3259522" y="5652504"/>
                  <a:pt x="3253576" y="5652504"/>
                </a:cubicBezTo>
                <a:cubicBezTo>
                  <a:pt x="3247629" y="5652504"/>
                  <a:pt x="3242839" y="5647714"/>
                  <a:pt x="3242839" y="5641768"/>
                </a:cubicBezTo>
                <a:cubicBezTo>
                  <a:pt x="3242839" y="5635821"/>
                  <a:pt x="3247629" y="5631032"/>
                  <a:pt x="3253576" y="5631032"/>
                </a:cubicBezTo>
                <a:close/>
                <a:moveTo>
                  <a:pt x="2862260" y="5630700"/>
                </a:moveTo>
                <a:cubicBezTo>
                  <a:pt x="2868206" y="5630700"/>
                  <a:pt x="2872996" y="5635490"/>
                  <a:pt x="2872996" y="5641437"/>
                </a:cubicBezTo>
                <a:cubicBezTo>
                  <a:pt x="2872996" y="5647383"/>
                  <a:pt x="2868206" y="5652175"/>
                  <a:pt x="2862260" y="5652175"/>
                </a:cubicBezTo>
                <a:cubicBezTo>
                  <a:pt x="2856313" y="5652175"/>
                  <a:pt x="2851524" y="5647383"/>
                  <a:pt x="2851524" y="5641437"/>
                </a:cubicBezTo>
                <a:cubicBezTo>
                  <a:pt x="2851524" y="5635490"/>
                  <a:pt x="2856313" y="5630700"/>
                  <a:pt x="2862260" y="5630700"/>
                </a:cubicBezTo>
                <a:close/>
                <a:moveTo>
                  <a:pt x="2978383" y="5629544"/>
                </a:moveTo>
                <a:cubicBezTo>
                  <a:pt x="2984329" y="5629544"/>
                  <a:pt x="2989121" y="5634333"/>
                  <a:pt x="2989121" y="5640280"/>
                </a:cubicBezTo>
                <a:cubicBezTo>
                  <a:pt x="2989121" y="5646226"/>
                  <a:pt x="2984329" y="5651018"/>
                  <a:pt x="2978383" y="5651018"/>
                </a:cubicBezTo>
                <a:cubicBezTo>
                  <a:pt x="2972436" y="5651018"/>
                  <a:pt x="2967646" y="5646226"/>
                  <a:pt x="2967646" y="5640280"/>
                </a:cubicBezTo>
                <a:cubicBezTo>
                  <a:pt x="2967646" y="5634333"/>
                  <a:pt x="2972436" y="5629544"/>
                  <a:pt x="2978383" y="5629544"/>
                </a:cubicBezTo>
                <a:close/>
                <a:moveTo>
                  <a:pt x="3399430" y="5628057"/>
                </a:moveTo>
                <a:cubicBezTo>
                  <a:pt x="3405376" y="5628057"/>
                  <a:pt x="3410168" y="5632847"/>
                  <a:pt x="3410168" y="5638794"/>
                </a:cubicBezTo>
                <a:cubicBezTo>
                  <a:pt x="3410168" y="5644740"/>
                  <a:pt x="3405376" y="5649532"/>
                  <a:pt x="3399430" y="5649532"/>
                </a:cubicBezTo>
                <a:cubicBezTo>
                  <a:pt x="3393483" y="5649532"/>
                  <a:pt x="3388693" y="5644740"/>
                  <a:pt x="3388693" y="5638794"/>
                </a:cubicBezTo>
                <a:cubicBezTo>
                  <a:pt x="3388693" y="5632847"/>
                  <a:pt x="3393483" y="5628057"/>
                  <a:pt x="3399430" y="5628057"/>
                </a:cubicBezTo>
                <a:close/>
                <a:moveTo>
                  <a:pt x="2746304" y="5627728"/>
                </a:moveTo>
                <a:cubicBezTo>
                  <a:pt x="2752250" y="5627728"/>
                  <a:pt x="2757042" y="5632518"/>
                  <a:pt x="2757042" y="5638464"/>
                </a:cubicBezTo>
                <a:cubicBezTo>
                  <a:pt x="2757042" y="5644411"/>
                  <a:pt x="2752250" y="5649201"/>
                  <a:pt x="2746304" y="5649201"/>
                </a:cubicBezTo>
                <a:cubicBezTo>
                  <a:pt x="2740357" y="5649201"/>
                  <a:pt x="2735567" y="5644411"/>
                  <a:pt x="2735567" y="5638464"/>
                </a:cubicBezTo>
                <a:cubicBezTo>
                  <a:pt x="2735567" y="5632518"/>
                  <a:pt x="2740357" y="5627728"/>
                  <a:pt x="2746304" y="5627728"/>
                </a:cubicBezTo>
                <a:close/>
                <a:moveTo>
                  <a:pt x="2299157" y="5627728"/>
                </a:moveTo>
                <a:cubicBezTo>
                  <a:pt x="2305088" y="5627728"/>
                  <a:pt x="2309894" y="5632535"/>
                  <a:pt x="2309894" y="5638464"/>
                </a:cubicBezTo>
                <a:cubicBezTo>
                  <a:pt x="2309894" y="5644393"/>
                  <a:pt x="2305088" y="5649201"/>
                  <a:pt x="2299157" y="5649201"/>
                </a:cubicBezTo>
                <a:cubicBezTo>
                  <a:pt x="2293228" y="5649201"/>
                  <a:pt x="2288421" y="5644393"/>
                  <a:pt x="2288421" y="5638464"/>
                </a:cubicBezTo>
                <a:cubicBezTo>
                  <a:pt x="2288421" y="5632535"/>
                  <a:pt x="2293228" y="5627728"/>
                  <a:pt x="2299157" y="5627728"/>
                </a:cubicBezTo>
                <a:close/>
                <a:moveTo>
                  <a:pt x="1898593" y="5627397"/>
                </a:moveTo>
                <a:cubicBezTo>
                  <a:pt x="1900740" y="5627397"/>
                  <a:pt x="1902557" y="5629214"/>
                  <a:pt x="1902557" y="5631361"/>
                </a:cubicBezTo>
                <a:cubicBezTo>
                  <a:pt x="1902557" y="5633508"/>
                  <a:pt x="1900740" y="5635325"/>
                  <a:pt x="1898593" y="5635325"/>
                </a:cubicBezTo>
                <a:cubicBezTo>
                  <a:pt x="1896446" y="5635325"/>
                  <a:pt x="1894629" y="5633508"/>
                  <a:pt x="1894629" y="5631361"/>
                </a:cubicBezTo>
                <a:cubicBezTo>
                  <a:pt x="1894629" y="5629214"/>
                  <a:pt x="1896446" y="5627397"/>
                  <a:pt x="1898593" y="5627397"/>
                </a:cubicBezTo>
                <a:close/>
                <a:moveTo>
                  <a:pt x="2474250" y="5625085"/>
                </a:moveTo>
                <a:cubicBezTo>
                  <a:pt x="2480196" y="5625085"/>
                  <a:pt x="2484988" y="5629875"/>
                  <a:pt x="2484988" y="5635821"/>
                </a:cubicBezTo>
                <a:cubicBezTo>
                  <a:pt x="2484988" y="5641768"/>
                  <a:pt x="2480196" y="5646558"/>
                  <a:pt x="2474250" y="5646558"/>
                </a:cubicBezTo>
                <a:cubicBezTo>
                  <a:pt x="2468303" y="5646558"/>
                  <a:pt x="2463513" y="5641768"/>
                  <a:pt x="2463513" y="5635821"/>
                </a:cubicBezTo>
                <a:cubicBezTo>
                  <a:pt x="2463513" y="5629875"/>
                  <a:pt x="2468303" y="5625085"/>
                  <a:pt x="2474250" y="5625085"/>
                </a:cubicBezTo>
                <a:close/>
                <a:moveTo>
                  <a:pt x="3094174" y="5624589"/>
                </a:moveTo>
                <a:cubicBezTo>
                  <a:pt x="3100121" y="5624589"/>
                  <a:pt x="3104912" y="5629379"/>
                  <a:pt x="3104912" y="5635325"/>
                </a:cubicBezTo>
                <a:cubicBezTo>
                  <a:pt x="3104912" y="5641272"/>
                  <a:pt x="3100121" y="5646062"/>
                  <a:pt x="3094174" y="5646062"/>
                </a:cubicBezTo>
                <a:cubicBezTo>
                  <a:pt x="3088228" y="5646062"/>
                  <a:pt x="3083438" y="5641272"/>
                  <a:pt x="3083438" y="5635325"/>
                </a:cubicBezTo>
                <a:cubicBezTo>
                  <a:pt x="3083438" y="5629379"/>
                  <a:pt x="3088228" y="5624589"/>
                  <a:pt x="3094174" y="5624589"/>
                </a:cubicBezTo>
                <a:close/>
                <a:moveTo>
                  <a:pt x="2630841" y="5620789"/>
                </a:moveTo>
                <a:cubicBezTo>
                  <a:pt x="2636788" y="5620789"/>
                  <a:pt x="2641580" y="5625579"/>
                  <a:pt x="2641580" y="5631526"/>
                </a:cubicBezTo>
                <a:cubicBezTo>
                  <a:pt x="2641580" y="5637472"/>
                  <a:pt x="2636788" y="5642264"/>
                  <a:pt x="2630841" y="5642264"/>
                </a:cubicBezTo>
                <a:cubicBezTo>
                  <a:pt x="2624895" y="5642264"/>
                  <a:pt x="2620105" y="5637472"/>
                  <a:pt x="2620105" y="5631526"/>
                </a:cubicBezTo>
                <a:cubicBezTo>
                  <a:pt x="2620105" y="5625579"/>
                  <a:pt x="2624895" y="5620789"/>
                  <a:pt x="2630841" y="5620789"/>
                </a:cubicBezTo>
                <a:close/>
                <a:moveTo>
                  <a:pt x="2331202" y="5619964"/>
                </a:moveTo>
                <a:cubicBezTo>
                  <a:pt x="2337148" y="5619964"/>
                  <a:pt x="2341940" y="5624754"/>
                  <a:pt x="2341940" y="5630700"/>
                </a:cubicBezTo>
                <a:cubicBezTo>
                  <a:pt x="2341940" y="5636647"/>
                  <a:pt x="2337148" y="5641437"/>
                  <a:pt x="2331202" y="5641437"/>
                </a:cubicBezTo>
                <a:cubicBezTo>
                  <a:pt x="2325255" y="5641437"/>
                  <a:pt x="2320465" y="5636647"/>
                  <a:pt x="2320465" y="5630700"/>
                </a:cubicBezTo>
                <a:cubicBezTo>
                  <a:pt x="2320465" y="5624754"/>
                  <a:pt x="2325255" y="5619964"/>
                  <a:pt x="2331202" y="5619964"/>
                </a:cubicBezTo>
                <a:close/>
                <a:moveTo>
                  <a:pt x="2130508" y="5618147"/>
                </a:moveTo>
                <a:cubicBezTo>
                  <a:pt x="2136454" y="5618147"/>
                  <a:pt x="2141246" y="5622936"/>
                  <a:pt x="2141246" y="5628883"/>
                </a:cubicBezTo>
                <a:cubicBezTo>
                  <a:pt x="2141246" y="5634829"/>
                  <a:pt x="2136454" y="5639621"/>
                  <a:pt x="2130508" y="5639621"/>
                </a:cubicBezTo>
                <a:lnTo>
                  <a:pt x="2121010" y="5630123"/>
                </a:lnTo>
                <a:lnTo>
                  <a:pt x="2110354" y="5640778"/>
                </a:lnTo>
                <a:lnTo>
                  <a:pt x="2101271" y="5631692"/>
                </a:lnTo>
                <a:lnTo>
                  <a:pt x="2091854" y="5641107"/>
                </a:lnTo>
                <a:lnTo>
                  <a:pt x="2083183" y="5632436"/>
                </a:lnTo>
                <a:lnTo>
                  <a:pt x="2074346" y="5641274"/>
                </a:lnTo>
                <a:lnTo>
                  <a:pt x="2066169" y="5633095"/>
                </a:lnTo>
                <a:lnTo>
                  <a:pt x="2057993" y="5641274"/>
                </a:lnTo>
                <a:lnTo>
                  <a:pt x="2050477" y="5633756"/>
                </a:lnTo>
                <a:lnTo>
                  <a:pt x="2042631" y="5641601"/>
                </a:lnTo>
                <a:lnTo>
                  <a:pt x="2035530" y="5634500"/>
                </a:lnTo>
                <a:lnTo>
                  <a:pt x="2027764" y="5642264"/>
                </a:lnTo>
                <a:lnTo>
                  <a:pt x="2021405" y="5635905"/>
                </a:lnTo>
                <a:lnTo>
                  <a:pt x="2013559" y="5643750"/>
                </a:lnTo>
                <a:lnTo>
                  <a:pt x="2007861" y="5638052"/>
                </a:lnTo>
                <a:lnTo>
                  <a:pt x="1999849" y="5646062"/>
                </a:lnTo>
                <a:lnTo>
                  <a:pt x="1994811" y="5641024"/>
                </a:lnTo>
                <a:lnTo>
                  <a:pt x="1986303" y="5649532"/>
                </a:lnTo>
                <a:lnTo>
                  <a:pt x="1982009" y="5645238"/>
                </a:lnTo>
                <a:lnTo>
                  <a:pt x="1973090" y="5654157"/>
                </a:lnTo>
                <a:cubicBezTo>
                  <a:pt x="1967144" y="5654157"/>
                  <a:pt x="1962354" y="5649365"/>
                  <a:pt x="1962354" y="5643419"/>
                </a:cubicBezTo>
                <a:cubicBezTo>
                  <a:pt x="1962354" y="5637472"/>
                  <a:pt x="1967144" y="5632682"/>
                  <a:pt x="1973090" y="5632682"/>
                </a:cubicBezTo>
                <a:lnTo>
                  <a:pt x="1977384" y="5636976"/>
                </a:lnTo>
                <a:lnTo>
                  <a:pt x="1986303" y="5628057"/>
                </a:lnTo>
                <a:lnTo>
                  <a:pt x="1991342" y="5633097"/>
                </a:lnTo>
                <a:lnTo>
                  <a:pt x="1999849" y="5624589"/>
                </a:lnTo>
                <a:lnTo>
                  <a:pt x="2005547" y="5630288"/>
                </a:lnTo>
                <a:lnTo>
                  <a:pt x="2013559" y="5622276"/>
                </a:lnTo>
                <a:lnTo>
                  <a:pt x="2019918" y="5628635"/>
                </a:lnTo>
                <a:lnTo>
                  <a:pt x="2027764" y="5620789"/>
                </a:lnTo>
                <a:lnTo>
                  <a:pt x="2034867" y="5627893"/>
                </a:lnTo>
                <a:lnTo>
                  <a:pt x="2042631" y="5620129"/>
                </a:lnTo>
                <a:lnTo>
                  <a:pt x="2050147" y="5627645"/>
                </a:lnTo>
                <a:lnTo>
                  <a:pt x="2057993" y="5619799"/>
                </a:lnTo>
                <a:lnTo>
                  <a:pt x="2066169" y="5627976"/>
                </a:lnTo>
                <a:lnTo>
                  <a:pt x="2074346" y="5619799"/>
                </a:lnTo>
                <a:lnTo>
                  <a:pt x="2083019" y="5628470"/>
                </a:lnTo>
                <a:lnTo>
                  <a:pt x="2091854" y="5619634"/>
                </a:lnTo>
                <a:lnTo>
                  <a:pt x="2100940" y="5628718"/>
                </a:lnTo>
                <a:lnTo>
                  <a:pt x="2110354" y="5619303"/>
                </a:lnTo>
                <a:lnTo>
                  <a:pt x="2119854" y="5628801"/>
                </a:lnTo>
                <a:close/>
                <a:moveTo>
                  <a:pt x="3362594" y="5617156"/>
                </a:moveTo>
                <a:cubicBezTo>
                  <a:pt x="3368540" y="5617156"/>
                  <a:pt x="3373332" y="5621946"/>
                  <a:pt x="3373332" y="5627893"/>
                </a:cubicBezTo>
                <a:cubicBezTo>
                  <a:pt x="3373332" y="5633839"/>
                  <a:pt x="3368540" y="5638631"/>
                  <a:pt x="3362594" y="5638631"/>
                </a:cubicBezTo>
                <a:cubicBezTo>
                  <a:pt x="3356647" y="5638631"/>
                  <a:pt x="3351857" y="5633839"/>
                  <a:pt x="3351857" y="5627893"/>
                </a:cubicBezTo>
                <a:cubicBezTo>
                  <a:pt x="3351857" y="5621946"/>
                  <a:pt x="3356647" y="5617156"/>
                  <a:pt x="3362594" y="5617156"/>
                </a:cubicBezTo>
                <a:close/>
                <a:moveTo>
                  <a:pt x="2152145" y="5616164"/>
                </a:moveTo>
                <a:cubicBezTo>
                  <a:pt x="2158092" y="5616164"/>
                  <a:pt x="2162883" y="5620954"/>
                  <a:pt x="2162883" y="5626901"/>
                </a:cubicBezTo>
                <a:cubicBezTo>
                  <a:pt x="2162883" y="5632847"/>
                  <a:pt x="2158092" y="5637639"/>
                  <a:pt x="2152145" y="5637639"/>
                </a:cubicBezTo>
                <a:cubicBezTo>
                  <a:pt x="2146198" y="5637639"/>
                  <a:pt x="2141409" y="5632847"/>
                  <a:pt x="2141409" y="5626901"/>
                </a:cubicBezTo>
                <a:cubicBezTo>
                  <a:pt x="2141409" y="5620954"/>
                  <a:pt x="2146198" y="5616164"/>
                  <a:pt x="2152145" y="5616164"/>
                </a:cubicBezTo>
                <a:close/>
                <a:moveTo>
                  <a:pt x="3209141" y="5615504"/>
                </a:moveTo>
                <a:cubicBezTo>
                  <a:pt x="3215087" y="5615504"/>
                  <a:pt x="3219877" y="5620293"/>
                  <a:pt x="3219877" y="5626240"/>
                </a:cubicBezTo>
                <a:cubicBezTo>
                  <a:pt x="3219877" y="5632186"/>
                  <a:pt x="3215087" y="5636976"/>
                  <a:pt x="3209141" y="5636976"/>
                </a:cubicBezTo>
                <a:cubicBezTo>
                  <a:pt x="3203194" y="5636976"/>
                  <a:pt x="3198404" y="5632186"/>
                  <a:pt x="3198404" y="5626240"/>
                </a:cubicBezTo>
                <a:cubicBezTo>
                  <a:pt x="3198404" y="5620293"/>
                  <a:pt x="3203194" y="5615504"/>
                  <a:pt x="3209141" y="5615504"/>
                </a:cubicBezTo>
                <a:close/>
                <a:moveTo>
                  <a:pt x="2175766" y="5612861"/>
                </a:moveTo>
                <a:cubicBezTo>
                  <a:pt x="2181713" y="5612861"/>
                  <a:pt x="2186503" y="5617651"/>
                  <a:pt x="2186503" y="5623597"/>
                </a:cubicBezTo>
                <a:cubicBezTo>
                  <a:pt x="2186503" y="5629544"/>
                  <a:pt x="2181713" y="5634333"/>
                  <a:pt x="2175766" y="5634333"/>
                </a:cubicBezTo>
                <a:cubicBezTo>
                  <a:pt x="2169820" y="5634333"/>
                  <a:pt x="2165030" y="5629544"/>
                  <a:pt x="2165030" y="5623597"/>
                </a:cubicBezTo>
                <a:cubicBezTo>
                  <a:pt x="2165030" y="5617651"/>
                  <a:pt x="2169820" y="5612861"/>
                  <a:pt x="2175766" y="5612861"/>
                </a:cubicBezTo>
                <a:close/>
                <a:moveTo>
                  <a:pt x="1838632" y="5612366"/>
                </a:moveTo>
                <a:cubicBezTo>
                  <a:pt x="1838963" y="5612366"/>
                  <a:pt x="1838963" y="5612366"/>
                  <a:pt x="1838963" y="5612696"/>
                </a:cubicBezTo>
                <a:cubicBezTo>
                  <a:pt x="1838963" y="5613027"/>
                  <a:pt x="1838632" y="5613027"/>
                  <a:pt x="1838632" y="5613027"/>
                </a:cubicBezTo>
                <a:cubicBezTo>
                  <a:pt x="1838302" y="5613027"/>
                  <a:pt x="1838302" y="5613027"/>
                  <a:pt x="1838302" y="5612696"/>
                </a:cubicBezTo>
                <a:cubicBezTo>
                  <a:pt x="1838302" y="5612366"/>
                  <a:pt x="1838302" y="5612366"/>
                  <a:pt x="1838632" y="5612366"/>
                </a:cubicBezTo>
                <a:close/>
                <a:moveTo>
                  <a:pt x="2516700" y="5610053"/>
                </a:moveTo>
                <a:cubicBezTo>
                  <a:pt x="2522647" y="5610053"/>
                  <a:pt x="2527437" y="5614843"/>
                  <a:pt x="2527437" y="5620789"/>
                </a:cubicBezTo>
                <a:cubicBezTo>
                  <a:pt x="2527437" y="5626736"/>
                  <a:pt x="2522647" y="5631528"/>
                  <a:pt x="2516700" y="5631528"/>
                </a:cubicBezTo>
                <a:cubicBezTo>
                  <a:pt x="2510754" y="5631528"/>
                  <a:pt x="2505964" y="5626736"/>
                  <a:pt x="2505964" y="5620789"/>
                </a:cubicBezTo>
                <a:cubicBezTo>
                  <a:pt x="2505964" y="5614843"/>
                  <a:pt x="2510754" y="5610053"/>
                  <a:pt x="2516700" y="5610053"/>
                </a:cubicBezTo>
                <a:close/>
                <a:moveTo>
                  <a:pt x="3502173" y="5609888"/>
                </a:moveTo>
                <a:lnTo>
                  <a:pt x="3503192" y="5610907"/>
                </a:lnTo>
                <a:lnTo>
                  <a:pt x="3503192" y="5630344"/>
                </a:lnTo>
                <a:lnTo>
                  <a:pt x="3502173" y="5631363"/>
                </a:lnTo>
                <a:cubicBezTo>
                  <a:pt x="3496226" y="5631363"/>
                  <a:pt x="3491437" y="5626571"/>
                  <a:pt x="3491437" y="5620625"/>
                </a:cubicBezTo>
                <a:cubicBezTo>
                  <a:pt x="3491437" y="5614678"/>
                  <a:pt x="3496226" y="5609888"/>
                  <a:pt x="3502173" y="5609888"/>
                </a:cubicBezTo>
                <a:close/>
                <a:moveTo>
                  <a:pt x="2366055" y="5609392"/>
                </a:moveTo>
                <a:cubicBezTo>
                  <a:pt x="2372002" y="5609392"/>
                  <a:pt x="2376793" y="5614182"/>
                  <a:pt x="2376793" y="5620129"/>
                </a:cubicBezTo>
                <a:cubicBezTo>
                  <a:pt x="2376793" y="5626075"/>
                  <a:pt x="2372002" y="5630867"/>
                  <a:pt x="2366055" y="5630867"/>
                </a:cubicBezTo>
                <a:cubicBezTo>
                  <a:pt x="2360109" y="5630867"/>
                  <a:pt x="2355319" y="5626075"/>
                  <a:pt x="2355319" y="5620129"/>
                </a:cubicBezTo>
                <a:cubicBezTo>
                  <a:pt x="2355319" y="5614182"/>
                  <a:pt x="2360109" y="5609392"/>
                  <a:pt x="2366055" y="5609392"/>
                </a:cubicBezTo>
                <a:close/>
                <a:moveTo>
                  <a:pt x="2201370" y="5607741"/>
                </a:moveTo>
                <a:cubicBezTo>
                  <a:pt x="2207316" y="5607741"/>
                  <a:pt x="2212108" y="5612531"/>
                  <a:pt x="2212108" y="5618478"/>
                </a:cubicBezTo>
                <a:cubicBezTo>
                  <a:pt x="2212108" y="5624424"/>
                  <a:pt x="2207316" y="5629214"/>
                  <a:pt x="2201370" y="5629214"/>
                </a:cubicBezTo>
                <a:cubicBezTo>
                  <a:pt x="2195424" y="5629214"/>
                  <a:pt x="2190634" y="5624424"/>
                  <a:pt x="2190634" y="5618478"/>
                </a:cubicBezTo>
                <a:cubicBezTo>
                  <a:pt x="2190634" y="5612531"/>
                  <a:pt x="2195424" y="5607741"/>
                  <a:pt x="2201370" y="5607741"/>
                </a:cubicBezTo>
                <a:close/>
                <a:moveTo>
                  <a:pt x="2921560" y="5606585"/>
                </a:moveTo>
                <a:cubicBezTo>
                  <a:pt x="2927507" y="5606585"/>
                  <a:pt x="2932298" y="5611375"/>
                  <a:pt x="2932298" y="5617321"/>
                </a:cubicBezTo>
                <a:cubicBezTo>
                  <a:pt x="2932298" y="5623268"/>
                  <a:pt x="2927507" y="5628057"/>
                  <a:pt x="2921560" y="5628057"/>
                </a:cubicBezTo>
                <a:cubicBezTo>
                  <a:pt x="2915614" y="5628057"/>
                  <a:pt x="2910824" y="5623268"/>
                  <a:pt x="2910824" y="5617321"/>
                </a:cubicBezTo>
                <a:cubicBezTo>
                  <a:pt x="2910824" y="5611375"/>
                  <a:pt x="2915614" y="5606585"/>
                  <a:pt x="2921560" y="5606585"/>
                </a:cubicBezTo>
                <a:close/>
                <a:moveTo>
                  <a:pt x="2801308" y="5605593"/>
                </a:moveTo>
                <a:cubicBezTo>
                  <a:pt x="2807255" y="5605593"/>
                  <a:pt x="2812046" y="5610383"/>
                  <a:pt x="2812046" y="5616329"/>
                </a:cubicBezTo>
                <a:cubicBezTo>
                  <a:pt x="2812046" y="5622276"/>
                  <a:pt x="2807255" y="5627065"/>
                  <a:pt x="2801308" y="5627065"/>
                </a:cubicBezTo>
                <a:cubicBezTo>
                  <a:pt x="2795362" y="5627065"/>
                  <a:pt x="2790572" y="5622276"/>
                  <a:pt x="2790572" y="5616329"/>
                </a:cubicBezTo>
                <a:cubicBezTo>
                  <a:pt x="2790572" y="5610383"/>
                  <a:pt x="2795362" y="5605593"/>
                  <a:pt x="2801308" y="5605593"/>
                </a:cubicBezTo>
                <a:close/>
                <a:moveTo>
                  <a:pt x="3041648" y="5603446"/>
                </a:moveTo>
                <a:cubicBezTo>
                  <a:pt x="3047594" y="5603446"/>
                  <a:pt x="3052384" y="5608236"/>
                  <a:pt x="3052384" y="5614182"/>
                </a:cubicBezTo>
                <a:cubicBezTo>
                  <a:pt x="3052384" y="5620129"/>
                  <a:pt x="3047594" y="5624919"/>
                  <a:pt x="3041648" y="5624919"/>
                </a:cubicBezTo>
                <a:cubicBezTo>
                  <a:pt x="3035701" y="5624919"/>
                  <a:pt x="3030911" y="5620129"/>
                  <a:pt x="3030911" y="5614182"/>
                </a:cubicBezTo>
                <a:cubicBezTo>
                  <a:pt x="3030911" y="5608236"/>
                  <a:pt x="3035701" y="5603446"/>
                  <a:pt x="3041648" y="5603446"/>
                </a:cubicBezTo>
                <a:close/>
                <a:moveTo>
                  <a:pt x="3322621" y="5602785"/>
                </a:moveTo>
                <a:cubicBezTo>
                  <a:pt x="3328567" y="5602785"/>
                  <a:pt x="3333359" y="5607575"/>
                  <a:pt x="3333359" y="5613521"/>
                </a:cubicBezTo>
                <a:cubicBezTo>
                  <a:pt x="3333359" y="5619468"/>
                  <a:pt x="3328567" y="5624260"/>
                  <a:pt x="3322621" y="5624260"/>
                </a:cubicBezTo>
                <a:cubicBezTo>
                  <a:pt x="3316674" y="5624260"/>
                  <a:pt x="3311884" y="5619468"/>
                  <a:pt x="3311884" y="5613521"/>
                </a:cubicBezTo>
                <a:cubicBezTo>
                  <a:pt x="3311884" y="5607575"/>
                  <a:pt x="3316674" y="5602785"/>
                  <a:pt x="3322621" y="5602785"/>
                </a:cubicBezTo>
                <a:close/>
                <a:moveTo>
                  <a:pt x="2681386" y="5600473"/>
                </a:moveTo>
                <a:cubicBezTo>
                  <a:pt x="2687332" y="5600473"/>
                  <a:pt x="2692124" y="5605263"/>
                  <a:pt x="2692124" y="5611210"/>
                </a:cubicBezTo>
                <a:cubicBezTo>
                  <a:pt x="2692124" y="5617156"/>
                  <a:pt x="2687332" y="5621946"/>
                  <a:pt x="2681386" y="5621946"/>
                </a:cubicBezTo>
                <a:cubicBezTo>
                  <a:pt x="2675440" y="5621946"/>
                  <a:pt x="2670650" y="5617156"/>
                  <a:pt x="2670650" y="5611210"/>
                </a:cubicBezTo>
                <a:cubicBezTo>
                  <a:pt x="2670650" y="5605263"/>
                  <a:pt x="2675440" y="5600473"/>
                  <a:pt x="2681386" y="5600473"/>
                </a:cubicBezTo>
                <a:close/>
                <a:moveTo>
                  <a:pt x="2229285" y="5600473"/>
                </a:moveTo>
                <a:cubicBezTo>
                  <a:pt x="2235232" y="5600473"/>
                  <a:pt x="2240023" y="5605263"/>
                  <a:pt x="2240023" y="5611210"/>
                </a:cubicBezTo>
                <a:cubicBezTo>
                  <a:pt x="2240023" y="5617156"/>
                  <a:pt x="2235232" y="5621946"/>
                  <a:pt x="2229285" y="5621946"/>
                </a:cubicBezTo>
                <a:cubicBezTo>
                  <a:pt x="2223338" y="5621946"/>
                  <a:pt x="2218549" y="5617156"/>
                  <a:pt x="2218549" y="5611210"/>
                </a:cubicBezTo>
                <a:cubicBezTo>
                  <a:pt x="2218549" y="5605263"/>
                  <a:pt x="2223338" y="5600473"/>
                  <a:pt x="2229285" y="5600473"/>
                </a:cubicBezTo>
                <a:close/>
                <a:moveTo>
                  <a:pt x="3469798" y="5599646"/>
                </a:moveTo>
                <a:cubicBezTo>
                  <a:pt x="3475744" y="5599646"/>
                  <a:pt x="3480536" y="5604436"/>
                  <a:pt x="3480536" y="5610383"/>
                </a:cubicBezTo>
                <a:cubicBezTo>
                  <a:pt x="3480536" y="5616329"/>
                  <a:pt x="3475744" y="5621121"/>
                  <a:pt x="3469798" y="5621121"/>
                </a:cubicBezTo>
                <a:cubicBezTo>
                  <a:pt x="3463851" y="5621121"/>
                  <a:pt x="3459061" y="5616329"/>
                  <a:pt x="3459061" y="5610383"/>
                </a:cubicBezTo>
                <a:cubicBezTo>
                  <a:pt x="3459061" y="5604436"/>
                  <a:pt x="3463851" y="5599646"/>
                  <a:pt x="3469798" y="5599646"/>
                </a:cubicBezTo>
                <a:close/>
                <a:moveTo>
                  <a:pt x="3160908" y="5596013"/>
                </a:moveTo>
                <a:cubicBezTo>
                  <a:pt x="3166854" y="5596013"/>
                  <a:pt x="3171644" y="5600803"/>
                  <a:pt x="3171644" y="5606749"/>
                </a:cubicBezTo>
                <a:cubicBezTo>
                  <a:pt x="3171644" y="5612696"/>
                  <a:pt x="3166854" y="5617488"/>
                  <a:pt x="3160908" y="5617488"/>
                </a:cubicBezTo>
                <a:cubicBezTo>
                  <a:pt x="3154961" y="5617488"/>
                  <a:pt x="3150171" y="5612696"/>
                  <a:pt x="3150171" y="5606749"/>
                </a:cubicBezTo>
                <a:cubicBezTo>
                  <a:pt x="3150171" y="5600803"/>
                  <a:pt x="3154961" y="5596013"/>
                  <a:pt x="3160908" y="5596013"/>
                </a:cubicBezTo>
                <a:close/>
                <a:moveTo>
                  <a:pt x="2403883" y="5595682"/>
                </a:moveTo>
                <a:cubicBezTo>
                  <a:pt x="2409830" y="5595682"/>
                  <a:pt x="2414620" y="5600472"/>
                  <a:pt x="2414620" y="5606418"/>
                </a:cubicBezTo>
                <a:cubicBezTo>
                  <a:pt x="2414620" y="5612365"/>
                  <a:pt x="2409830" y="5617155"/>
                  <a:pt x="2403883" y="5617155"/>
                </a:cubicBezTo>
                <a:cubicBezTo>
                  <a:pt x="2397936" y="5617155"/>
                  <a:pt x="2393147" y="5612365"/>
                  <a:pt x="2393147" y="5606418"/>
                </a:cubicBezTo>
                <a:cubicBezTo>
                  <a:pt x="2393147" y="5600472"/>
                  <a:pt x="2397936" y="5595682"/>
                  <a:pt x="2403883" y="5595682"/>
                </a:cubicBezTo>
                <a:close/>
                <a:moveTo>
                  <a:pt x="2063939" y="5592874"/>
                </a:moveTo>
                <a:cubicBezTo>
                  <a:pt x="2069886" y="5592874"/>
                  <a:pt x="2074676" y="5597664"/>
                  <a:pt x="2074676" y="5603611"/>
                </a:cubicBezTo>
                <a:cubicBezTo>
                  <a:pt x="2074676" y="5609557"/>
                  <a:pt x="2069886" y="5614349"/>
                  <a:pt x="2063939" y="5614349"/>
                </a:cubicBezTo>
                <a:lnTo>
                  <a:pt x="2055844" y="5606253"/>
                </a:lnTo>
                <a:lnTo>
                  <a:pt x="2045604" y="5616496"/>
                </a:lnTo>
                <a:lnTo>
                  <a:pt x="2037675" y="5608567"/>
                </a:lnTo>
                <a:lnTo>
                  <a:pt x="2028591" y="5617651"/>
                </a:lnTo>
                <a:lnTo>
                  <a:pt x="2020994" y="5610053"/>
                </a:lnTo>
                <a:lnTo>
                  <a:pt x="2012898" y="5618147"/>
                </a:lnTo>
                <a:lnTo>
                  <a:pt x="2005714" y="5610962"/>
                </a:lnTo>
                <a:lnTo>
                  <a:pt x="1998031" y="5618642"/>
                </a:lnTo>
                <a:lnTo>
                  <a:pt x="1991342" y="5611954"/>
                </a:lnTo>
                <a:lnTo>
                  <a:pt x="1984323" y="5618974"/>
                </a:lnTo>
                <a:lnTo>
                  <a:pt x="1978128" y="5612779"/>
                </a:lnTo>
                <a:lnTo>
                  <a:pt x="1971108" y="5619797"/>
                </a:lnTo>
                <a:lnTo>
                  <a:pt x="1965326" y="5614016"/>
                </a:lnTo>
                <a:lnTo>
                  <a:pt x="1958388" y="5620954"/>
                </a:lnTo>
                <a:lnTo>
                  <a:pt x="1953268" y="5615835"/>
                </a:lnTo>
                <a:lnTo>
                  <a:pt x="1946165" y="5622936"/>
                </a:lnTo>
                <a:lnTo>
                  <a:pt x="1941623" y="5618395"/>
                </a:lnTo>
                <a:lnTo>
                  <a:pt x="1934108" y="5625909"/>
                </a:lnTo>
                <a:lnTo>
                  <a:pt x="1930310" y="5622111"/>
                </a:lnTo>
                <a:lnTo>
                  <a:pt x="1922379" y="5630040"/>
                </a:lnTo>
                <a:lnTo>
                  <a:pt x="1919159" y="5626819"/>
                </a:lnTo>
                <a:lnTo>
                  <a:pt x="1910486" y="5635492"/>
                </a:lnTo>
                <a:cubicBezTo>
                  <a:pt x="1904540" y="5635492"/>
                  <a:pt x="1899750" y="5630700"/>
                  <a:pt x="1899750" y="5624754"/>
                </a:cubicBezTo>
                <a:cubicBezTo>
                  <a:pt x="1899750" y="5618807"/>
                  <a:pt x="1904540" y="5614017"/>
                  <a:pt x="1910486" y="5614017"/>
                </a:cubicBezTo>
                <a:lnTo>
                  <a:pt x="1913708" y="5617240"/>
                </a:lnTo>
                <a:lnTo>
                  <a:pt x="1922379" y="5608567"/>
                </a:lnTo>
                <a:lnTo>
                  <a:pt x="1926179" y="5612366"/>
                </a:lnTo>
                <a:lnTo>
                  <a:pt x="1934108" y="5604436"/>
                </a:lnTo>
                <a:lnTo>
                  <a:pt x="1938651" y="5608980"/>
                </a:lnTo>
                <a:lnTo>
                  <a:pt x="1946165" y="5601464"/>
                </a:lnTo>
                <a:lnTo>
                  <a:pt x="1951286" y="5606585"/>
                </a:lnTo>
                <a:lnTo>
                  <a:pt x="1958388" y="5599481"/>
                </a:lnTo>
                <a:lnTo>
                  <a:pt x="1964170" y="5605263"/>
                </a:lnTo>
                <a:lnTo>
                  <a:pt x="1971108" y="5598325"/>
                </a:lnTo>
                <a:lnTo>
                  <a:pt x="1977303" y="5604519"/>
                </a:lnTo>
                <a:lnTo>
                  <a:pt x="1984323" y="5597499"/>
                </a:lnTo>
                <a:lnTo>
                  <a:pt x="1991011" y="5604188"/>
                </a:lnTo>
                <a:lnTo>
                  <a:pt x="1998031" y="5597168"/>
                </a:lnTo>
                <a:lnTo>
                  <a:pt x="2005218" y="5604355"/>
                </a:lnTo>
                <a:lnTo>
                  <a:pt x="2012898" y="5596674"/>
                </a:lnTo>
                <a:lnTo>
                  <a:pt x="2020498" y="5604271"/>
                </a:lnTo>
                <a:lnTo>
                  <a:pt x="2028591" y="5596178"/>
                </a:lnTo>
                <a:lnTo>
                  <a:pt x="2036520" y="5604107"/>
                </a:lnTo>
                <a:lnTo>
                  <a:pt x="2045604" y="5595021"/>
                </a:lnTo>
                <a:lnTo>
                  <a:pt x="2053699" y="5603116"/>
                </a:lnTo>
                <a:close/>
                <a:moveTo>
                  <a:pt x="2562622" y="5591223"/>
                </a:moveTo>
                <a:cubicBezTo>
                  <a:pt x="2568568" y="5591223"/>
                  <a:pt x="2573358" y="5596013"/>
                  <a:pt x="2573358" y="5601960"/>
                </a:cubicBezTo>
                <a:cubicBezTo>
                  <a:pt x="2573358" y="5607906"/>
                  <a:pt x="2568568" y="5612696"/>
                  <a:pt x="2562622" y="5612696"/>
                </a:cubicBezTo>
                <a:cubicBezTo>
                  <a:pt x="2556675" y="5612696"/>
                  <a:pt x="2551886" y="5607906"/>
                  <a:pt x="2551886" y="5601960"/>
                </a:cubicBezTo>
                <a:cubicBezTo>
                  <a:pt x="2551886" y="5596013"/>
                  <a:pt x="2556675" y="5591223"/>
                  <a:pt x="2562622" y="5591223"/>
                </a:cubicBezTo>
                <a:close/>
                <a:moveTo>
                  <a:pt x="2259845" y="5590563"/>
                </a:moveTo>
                <a:cubicBezTo>
                  <a:pt x="2265792" y="5590563"/>
                  <a:pt x="2270583" y="5595352"/>
                  <a:pt x="2270583" y="5601299"/>
                </a:cubicBezTo>
                <a:cubicBezTo>
                  <a:pt x="2270583" y="5607245"/>
                  <a:pt x="2265792" y="5612035"/>
                  <a:pt x="2259845" y="5612035"/>
                </a:cubicBezTo>
                <a:cubicBezTo>
                  <a:pt x="2253898" y="5612035"/>
                  <a:pt x="2249109" y="5607245"/>
                  <a:pt x="2249109" y="5601299"/>
                </a:cubicBezTo>
                <a:cubicBezTo>
                  <a:pt x="2249109" y="5595352"/>
                  <a:pt x="2253898" y="5590563"/>
                  <a:pt x="2259845" y="5590563"/>
                </a:cubicBezTo>
                <a:close/>
                <a:moveTo>
                  <a:pt x="2083926" y="5589735"/>
                </a:moveTo>
                <a:cubicBezTo>
                  <a:pt x="2089872" y="5589735"/>
                  <a:pt x="2094662" y="5594525"/>
                  <a:pt x="2094662" y="5600472"/>
                </a:cubicBezTo>
                <a:cubicBezTo>
                  <a:pt x="2094662" y="5606418"/>
                  <a:pt x="2089872" y="5611208"/>
                  <a:pt x="2083926" y="5611208"/>
                </a:cubicBezTo>
                <a:cubicBezTo>
                  <a:pt x="2077979" y="5611208"/>
                  <a:pt x="2073189" y="5606418"/>
                  <a:pt x="2073189" y="5600472"/>
                </a:cubicBezTo>
                <a:cubicBezTo>
                  <a:pt x="2073189" y="5594525"/>
                  <a:pt x="2077979" y="5589735"/>
                  <a:pt x="2083926" y="5589735"/>
                </a:cubicBezTo>
                <a:close/>
                <a:moveTo>
                  <a:pt x="3434283" y="5586432"/>
                </a:moveTo>
                <a:cubicBezTo>
                  <a:pt x="3440230" y="5586432"/>
                  <a:pt x="3445021" y="5591222"/>
                  <a:pt x="3445021" y="5597168"/>
                </a:cubicBezTo>
                <a:cubicBezTo>
                  <a:pt x="3445021" y="5603115"/>
                  <a:pt x="3440230" y="5607904"/>
                  <a:pt x="3434283" y="5607904"/>
                </a:cubicBezTo>
                <a:cubicBezTo>
                  <a:pt x="3428337" y="5607904"/>
                  <a:pt x="3423547" y="5603115"/>
                  <a:pt x="3423547" y="5597168"/>
                </a:cubicBezTo>
                <a:cubicBezTo>
                  <a:pt x="3423547" y="5591222"/>
                  <a:pt x="3428337" y="5586432"/>
                  <a:pt x="3434283" y="5586432"/>
                </a:cubicBezTo>
                <a:close/>
                <a:moveTo>
                  <a:pt x="2105894" y="5584781"/>
                </a:moveTo>
                <a:cubicBezTo>
                  <a:pt x="2111841" y="5584781"/>
                  <a:pt x="2116632" y="5589571"/>
                  <a:pt x="2116632" y="5595517"/>
                </a:cubicBezTo>
                <a:cubicBezTo>
                  <a:pt x="2116632" y="5601464"/>
                  <a:pt x="2111841" y="5606255"/>
                  <a:pt x="2105894" y="5606255"/>
                </a:cubicBezTo>
                <a:cubicBezTo>
                  <a:pt x="2099948" y="5606255"/>
                  <a:pt x="2095158" y="5601464"/>
                  <a:pt x="2095158" y="5595517"/>
                </a:cubicBezTo>
                <a:cubicBezTo>
                  <a:pt x="2095158" y="5589571"/>
                  <a:pt x="2099948" y="5584781"/>
                  <a:pt x="2105894" y="5584781"/>
                </a:cubicBezTo>
                <a:close/>
                <a:moveTo>
                  <a:pt x="3279013" y="5584614"/>
                </a:moveTo>
                <a:cubicBezTo>
                  <a:pt x="3284959" y="5584614"/>
                  <a:pt x="3289751" y="5589404"/>
                  <a:pt x="3289751" y="5595351"/>
                </a:cubicBezTo>
                <a:cubicBezTo>
                  <a:pt x="3289751" y="5601297"/>
                  <a:pt x="3284959" y="5606089"/>
                  <a:pt x="3279013" y="5606089"/>
                </a:cubicBezTo>
                <a:cubicBezTo>
                  <a:pt x="3273066" y="5606089"/>
                  <a:pt x="3268276" y="5601297"/>
                  <a:pt x="3268276" y="5595351"/>
                </a:cubicBezTo>
                <a:cubicBezTo>
                  <a:pt x="3268276" y="5589404"/>
                  <a:pt x="3273066" y="5584614"/>
                  <a:pt x="3279013" y="5584614"/>
                </a:cubicBezTo>
                <a:close/>
                <a:moveTo>
                  <a:pt x="2860444" y="5578669"/>
                </a:moveTo>
                <a:cubicBezTo>
                  <a:pt x="2866391" y="5578669"/>
                  <a:pt x="2871182" y="5583459"/>
                  <a:pt x="2871182" y="5589406"/>
                </a:cubicBezTo>
                <a:cubicBezTo>
                  <a:pt x="2871182" y="5595352"/>
                  <a:pt x="2866391" y="5600142"/>
                  <a:pt x="2860444" y="5600142"/>
                </a:cubicBezTo>
                <a:cubicBezTo>
                  <a:pt x="2854498" y="5600142"/>
                  <a:pt x="2849708" y="5595352"/>
                  <a:pt x="2849708" y="5589406"/>
                </a:cubicBezTo>
                <a:cubicBezTo>
                  <a:pt x="2849708" y="5583459"/>
                  <a:pt x="2854498" y="5578669"/>
                  <a:pt x="2860444" y="5578669"/>
                </a:cubicBezTo>
                <a:close/>
                <a:moveTo>
                  <a:pt x="2445178" y="5578007"/>
                </a:moveTo>
                <a:cubicBezTo>
                  <a:pt x="2451124" y="5578007"/>
                  <a:pt x="2455914" y="5582797"/>
                  <a:pt x="2455914" y="5588743"/>
                </a:cubicBezTo>
                <a:cubicBezTo>
                  <a:pt x="2455914" y="5594690"/>
                  <a:pt x="2451124" y="5599481"/>
                  <a:pt x="2445178" y="5599481"/>
                </a:cubicBezTo>
                <a:cubicBezTo>
                  <a:pt x="2439231" y="5599481"/>
                  <a:pt x="2434441" y="5594690"/>
                  <a:pt x="2434441" y="5588743"/>
                </a:cubicBezTo>
                <a:cubicBezTo>
                  <a:pt x="2434441" y="5582797"/>
                  <a:pt x="2439231" y="5578007"/>
                  <a:pt x="2445178" y="5578007"/>
                </a:cubicBezTo>
                <a:close/>
                <a:moveTo>
                  <a:pt x="2129847" y="5577842"/>
                </a:moveTo>
                <a:cubicBezTo>
                  <a:pt x="2135794" y="5577842"/>
                  <a:pt x="2140585" y="5582632"/>
                  <a:pt x="2140585" y="5588579"/>
                </a:cubicBezTo>
                <a:cubicBezTo>
                  <a:pt x="2140585" y="5594525"/>
                  <a:pt x="2135794" y="5599315"/>
                  <a:pt x="2129847" y="5599315"/>
                </a:cubicBezTo>
                <a:cubicBezTo>
                  <a:pt x="2123900" y="5599315"/>
                  <a:pt x="2119110" y="5594525"/>
                  <a:pt x="2119110" y="5588579"/>
                </a:cubicBezTo>
                <a:cubicBezTo>
                  <a:pt x="2119110" y="5582632"/>
                  <a:pt x="2123900" y="5577842"/>
                  <a:pt x="2129847" y="5577842"/>
                </a:cubicBezTo>
                <a:close/>
                <a:moveTo>
                  <a:pt x="2293211" y="5577513"/>
                </a:moveTo>
                <a:cubicBezTo>
                  <a:pt x="2299157" y="5577513"/>
                  <a:pt x="2303949" y="5582303"/>
                  <a:pt x="2303949" y="5588249"/>
                </a:cubicBezTo>
                <a:cubicBezTo>
                  <a:pt x="2303949" y="5594196"/>
                  <a:pt x="2299157" y="5598987"/>
                  <a:pt x="2293211" y="5598987"/>
                </a:cubicBezTo>
                <a:cubicBezTo>
                  <a:pt x="2287264" y="5598987"/>
                  <a:pt x="2282474" y="5594196"/>
                  <a:pt x="2282474" y="5588249"/>
                </a:cubicBezTo>
                <a:cubicBezTo>
                  <a:pt x="2282474" y="5582303"/>
                  <a:pt x="2287264" y="5577513"/>
                  <a:pt x="2293211" y="5577513"/>
                </a:cubicBezTo>
                <a:close/>
                <a:moveTo>
                  <a:pt x="2984825" y="5577348"/>
                </a:moveTo>
                <a:cubicBezTo>
                  <a:pt x="2990772" y="5577348"/>
                  <a:pt x="2995564" y="5582138"/>
                  <a:pt x="2995564" y="5588084"/>
                </a:cubicBezTo>
                <a:cubicBezTo>
                  <a:pt x="2995564" y="5594031"/>
                  <a:pt x="2990772" y="5598821"/>
                  <a:pt x="2984825" y="5598821"/>
                </a:cubicBezTo>
                <a:cubicBezTo>
                  <a:pt x="2978879" y="5598821"/>
                  <a:pt x="2974089" y="5594031"/>
                  <a:pt x="2974089" y="5588084"/>
                </a:cubicBezTo>
                <a:cubicBezTo>
                  <a:pt x="2974089" y="5582138"/>
                  <a:pt x="2978879" y="5577348"/>
                  <a:pt x="2984825" y="5577348"/>
                </a:cubicBezTo>
                <a:close/>
                <a:moveTo>
                  <a:pt x="2736062" y="5575364"/>
                </a:moveTo>
                <a:cubicBezTo>
                  <a:pt x="2742008" y="5575364"/>
                  <a:pt x="2746798" y="5580154"/>
                  <a:pt x="2746798" y="5586100"/>
                </a:cubicBezTo>
                <a:cubicBezTo>
                  <a:pt x="2746798" y="5592047"/>
                  <a:pt x="2742008" y="5596839"/>
                  <a:pt x="2736062" y="5596839"/>
                </a:cubicBezTo>
                <a:cubicBezTo>
                  <a:pt x="2730115" y="5596839"/>
                  <a:pt x="2725325" y="5592047"/>
                  <a:pt x="2725325" y="5586100"/>
                </a:cubicBezTo>
                <a:cubicBezTo>
                  <a:pt x="2725325" y="5580154"/>
                  <a:pt x="2730115" y="5575364"/>
                  <a:pt x="2736062" y="5575364"/>
                </a:cubicBezTo>
                <a:close/>
                <a:moveTo>
                  <a:pt x="3108875" y="5571896"/>
                </a:moveTo>
                <a:cubicBezTo>
                  <a:pt x="3114822" y="5571896"/>
                  <a:pt x="3119613" y="5576686"/>
                  <a:pt x="3119613" y="5582632"/>
                </a:cubicBezTo>
                <a:cubicBezTo>
                  <a:pt x="3119613" y="5588579"/>
                  <a:pt x="3114822" y="5593368"/>
                  <a:pt x="3108875" y="5593368"/>
                </a:cubicBezTo>
                <a:cubicBezTo>
                  <a:pt x="3102929" y="5593368"/>
                  <a:pt x="3098139" y="5588579"/>
                  <a:pt x="3098139" y="5582632"/>
                </a:cubicBezTo>
                <a:cubicBezTo>
                  <a:pt x="3098139" y="5576686"/>
                  <a:pt x="3102929" y="5571896"/>
                  <a:pt x="3108875" y="5571896"/>
                </a:cubicBezTo>
                <a:close/>
                <a:moveTo>
                  <a:pt x="3395465" y="5569419"/>
                </a:moveTo>
                <a:cubicBezTo>
                  <a:pt x="3401412" y="5569419"/>
                  <a:pt x="3406203" y="5574209"/>
                  <a:pt x="3406203" y="5580156"/>
                </a:cubicBezTo>
                <a:cubicBezTo>
                  <a:pt x="3406203" y="5586102"/>
                  <a:pt x="3401412" y="5590892"/>
                  <a:pt x="3395465" y="5590892"/>
                </a:cubicBezTo>
                <a:cubicBezTo>
                  <a:pt x="3389518" y="5590892"/>
                  <a:pt x="3384729" y="5586102"/>
                  <a:pt x="3384729" y="5580156"/>
                </a:cubicBezTo>
                <a:cubicBezTo>
                  <a:pt x="3384729" y="5574209"/>
                  <a:pt x="3389518" y="5569419"/>
                  <a:pt x="3395465" y="5569419"/>
                </a:cubicBezTo>
                <a:close/>
                <a:moveTo>
                  <a:pt x="2156111" y="5568427"/>
                </a:moveTo>
                <a:cubicBezTo>
                  <a:pt x="2162058" y="5568427"/>
                  <a:pt x="2166848" y="5573217"/>
                  <a:pt x="2166848" y="5579164"/>
                </a:cubicBezTo>
                <a:cubicBezTo>
                  <a:pt x="2166848" y="5585110"/>
                  <a:pt x="2162058" y="5589900"/>
                  <a:pt x="2156111" y="5589900"/>
                </a:cubicBezTo>
                <a:cubicBezTo>
                  <a:pt x="2150164" y="5589900"/>
                  <a:pt x="2145375" y="5585110"/>
                  <a:pt x="2145375" y="5579164"/>
                </a:cubicBezTo>
                <a:cubicBezTo>
                  <a:pt x="2145375" y="5573217"/>
                  <a:pt x="2150164" y="5568427"/>
                  <a:pt x="2156111" y="5568427"/>
                </a:cubicBezTo>
                <a:close/>
                <a:moveTo>
                  <a:pt x="2612506" y="5567931"/>
                </a:moveTo>
                <a:cubicBezTo>
                  <a:pt x="2618452" y="5567931"/>
                  <a:pt x="2623244" y="5572721"/>
                  <a:pt x="2623244" y="5578668"/>
                </a:cubicBezTo>
                <a:cubicBezTo>
                  <a:pt x="2623244" y="5584614"/>
                  <a:pt x="2618452" y="5589404"/>
                  <a:pt x="2612506" y="5589404"/>
                </a:cubicBezTo>
                <a:cubicBezTo>
                  <a:pt x="2606559" y="5589404"/>
                  <a:pt x="2601770" y="5584614"/>
                  <a:pt x="2601770" y="5578668"/>
                </a:cubicBezTo>
                <a:cubicBezTo>
                  <a:pt x="2601770" y="5572721"/>
                  <a:pt x="2606559" y="5567931"/>
                  <a:pt x="2612506" y="5567931"/>
                </a:cubicBezTo>
                <a:close/>
                <a:moveTo>
                  <a:pt x="1994728" y="5564132"/>
                </a:moveTo>
                <a:cubicBezTo>
                  <a:pt x="2000674" y="5564132"/>
                  <a:pt x="2005466" y="5568922"/>
                  <a:pt x="2005466" y="5574868"/>
                </a:cubicBezTo>
                <a:cubicBezTo>
                  <a:pt x="2005466" y="5580815"/>
                  <a:pt x="2000674" y="5585606"/>
                  <a:pt x="1994728" y="5585606"/>
                </a:cubicBezTo>
                <a:lnTo>
                  <a:pt x="1988039" y="5578917"/>
                </a:lnTo>
                <a:lnTo>
                  <a:pt x="1978045" y="5588910"/>
                </a:lnTo>
                <a:lnTo>
                  <a:pt x="1971604" y="5582469"/>
                </a:lnTo>
                <a:lnTo>
                  <a:pt x="1962848" y="5591223"/>
                </a:lnTo>
                <a:lnTo>
                  <a:pt x="1956654" y="5585029"/>
                </a:lnTo>
                <a:lnTo>
                  <a:pt x="1948973" y="5592709"/>
                </a:lnTo>
                <a:lnTo>
                  <a:pt x="1942945" y="5586680"/>
                </a:lnTo>
                <a:lnTo>
                  <a:pt x="1935923" y="5593701"/>
                </a:lnTo>
                <a:lnTo>
                  <a:pt x="1930225" y="5588003"/>
                </a:lnTo>
                <a:lnTo>
                  <a:pt x="1923701" y="5594525"/>
                </a:lnTo>
                <a:lnTo>
                  <a:pt x="1918415" y="5589239"/>
                </a:lnTo>
                <a:lnTo>
                  <a:pt x="1912304" y="5595352"/>
                </a:lnTo>
                <a:lnTo>
                  <a:pt x="1907430" y="5590479"/>
                </a:lnTo>
                <a:lnTo>
                  <a:pt x="1901236" y="5596672"/>
                </a:lnTo>
                <a:lnTo>
                  <a:pt x="1896942" y="5592378"/>
                </a:lnTo>
                <a:lnTo>
                  <a:pt x="1890664" y="5598654"/>
                </a:lnTo>
                <a:lnTo>
                  <a:pt x="1886783" y="5594773"/>
                </a:lnTo>
                <a:lnTo>
                  <a:pt x="1880258" y="5601297"/>
                </a:lnTo>
                <a:lnTo>
                  <a:pt x="1876954" y="5597995"/>
                </a:lnTo>
                <a:lnTo>
                  <a:pt x="1870015" y="5604932"/>
                </a:lnTo>
                <a:lnTo>
                  <a:pt x="1867210" y="5602126"/>
                </a:lnTo>
                <a:lnTo>
                  <a:pt x="1859610" y="5609724"/>
                </a:lnTo>
                <a:lnTo>
                  <a:pt x="1857462" y="5607575"/>
                </a:lnTo>
                <a:lnTo>
                  <a:pt x="1849203" y="5615833"/>
                </a:lnTo>
                <a:cubicBezTo>
                  <a:pt x="1843257" y="5615833"/>
                  <a:pt x="1838467" y="5611043"/>
                  <a:pt x="1838467" y="5605097"/>
                </a:cubicBezTo>
                <a:cubicBezTo>
                  <a:pt x="1838467" y="5599150"/>
                  <a:pt x="1843257" y="5594360"/>
                  <a:pt x="1849203" y="5594360"/>
                </a:cubicBezTo>
                <a:lnTo>
                  <a:pt x="1851352" y="5596509"/>
                </a:lnTo>
                <a:lnTo>
                  <a:pt x="1859610" y="5588249"/>
                </a:lnTo>
                <a:lnTo>
                  <a:pt x="1862418" y="5591057"/>
                </a:lnTo>
                <a:lnTo>
                  <a:pt x="1870015" y="5583459"/>
                </a:lnTo>
                <a:lnTo>
                  <a:pt x="1873319" y="5586763"/>
                </a:lnTo>
                <a:lnTo>
                  <a:pt x="1880258" y="5579824"/>
                </a:lnTo>
                <a:lnTo>
                  <a:pt x="1884140" y="5583707"/>
                </a:lnTo>
                <a:lnTo>
                  <a:pt x="1890664" y="5577182"/>
                </a:lnTo>
                <a:lnTo>
                  <a:pt x="1894960" y="5581477"/>
                </a:lnTo>
                <a:lnTo>
                  <a:pt x="1901236" y="5575199"/>
                </a:lnTo>
                <a:lnTo>
                  <a:pt x="1906109" y="5580072"/>
                </a:lnTo>
                <a:lnTo>
                  <a:pt x="1912304" y="5573878"/>
                </a:lnTo>
                <a:lnTo>
                  <a:pt x="1917589" y="5579164"/>
                </a:lnTo>
                <a:lnTo>
                  <a:pt x="1923701" y="5573052"/>
                </a:lnTo>
                <a:lnTo>
                  <a:pt x="1929399" y="5578751"/>
                </a:lnTo>
                <a:lnTo>
                  <a:pt x="1935923" y="5572227"/>
                </a:lnTo>
                <a:lnTo>
                  <a:pt x="1941953" y="5578257"/>
                </a:lnTo>
                <a:lnTo>
                  <a:pt x="1948973" y="5571235"/>
                </a:lnTo>
                <a:lnTo>
                  <a:pt x="1955167" y="5577430"/>
                </a:lnTo>
                <a:lnTo>
                  <a:pt x="1962848" y="5569749"/>
                </a:lnTo>
                <a:lnTo>
                  <a:pt x="1969291" y="5576191"/>
                </a:lnTo>
                <a:lnTo>
                  <a:pt x="1978045" y="5567437"/>
                </a:lnTo>
                <a:lnTo>
                  <a:pt x="1984734" y="5574126"/>
                </a:lnTo>
                <a:close/>
                <a:moveTo>
                  <a:pt x="3231772" y="5562151"/>
                </a:moveTo>
                <a:cubicBezTo>
                  <a:pt x="3237718" y="5562151"/>
                  <a:pt x="3242510" y="5566941"/>
                  <a:pt x="3242510" y="5572888"/>
                </a:cubicBezTo>
                <a:cubicBezTo>
                  <a:pt x="3242510" y="5578834"/>
                  <a:pt x="3237718" y="5583624"/>
                  <a:pt x="3231772" y="5583624"/>
                </a:cubicBezTo>
                <a:cubicBezTo>
                  <a:pt x="3225825" y="5583624"/>
                  <a:pt x="3221036" y="5578834"/>
                  <a:pt x="3221036" y="5572888"/>
                </a:cubicBezTo>
                <a:cubicBezTo>
                  <a:pt x="3221036" y="5566941"/>
                  <a:pt x="3225825" y="5562151"/>
                  <a:pt x="3231772" y="5562151"/>
                </a:cubicBezTo>
                <a:close/>
                <a:moveTo>
                  <a:pt x="1730438" y="5562151"/>
                </a:moveTo>
                <a:cubicBezTo>
                  <a:pt x="1731624" y="5562151"/>
                  <a:pt x="1732584" y="5563112"/>
                  <a:pt x="1732584" y="5564298"/>
                </a:cubicBezTo>
                <a:cubicBezTo>
                  <a:pt x="1732584" y="5565484"/>
                  <a:pt x="1731624" y="5566447"/>
                  <a:pt x="1730438" y="5566447"/>
                </a:cubicBezTo>
                <a:cubicBezTo>
                  <a:pt x="1729251" y="5566447"/>
                  <a:pt x="1728291" y="5565484"/>
                  <a:pt x="1728291" y="5564298"/>
                </a:cubicBezTo>
                <a:cubicBezTo>
                  <a:pt x="1728291" y="5563112"/>
                  <a:pt x="1729251" y="5562151"/>
                  <a:pt x="1730438" y="5562151"/>
                </a:cubicBezTo>
                <a:close/>
                <a:moveTo>
                  <a:pt x="2329880" y="5560995"/>
                </a:moveTo>
                <a:cubicBezTo>
                  <a:pt x="2335827" y="5560995"/>
                  <a:pt x="2340618" y="5565784"/>
                  <a:pt x="2340618" y="5571731"/>
                </a:cubicBezTo>
                <a:cubicBezTo>
                  <a:pt x="2340618" y="5577678"/>
                  <a:pt x="2335827" y="5582469"/>
                  <a:pt x="2329880" y="5582469"/>
                </a:cubicBezTo>
                <a:cubicBezTo>
                  <a:pt x="2323934" y="5582469"/>
                  <a:pt x="2319144" y="5577678"/>
                  <a:pt x="2319144" y="5571731"/>
                </a:cubicBezTo>
                <a:cubicBezTo>
                  <a:pt x="2319144" y="5565784"/>
                  <a:pt x="2323934" y="5560995"/>
                  <a:pt x="2329880" y="5560995"/>
                </a:cubicBezTo>
                <a:close/>
                <a:moveTo>
                  <a:pt x="2012898" y="5559177"/>
                </a:moveTo>
                <a:cubicBezTo>
                  <a:pt x="2018845" y="5559177"/>
                  <a:pt x="2023637" y="5563967"/>
                  <a:pt x="2023637" y="5569914"/>
                </a:cubicBezTo>
                <a:cubicBezTo>
                  <a:pt x="2023637" y="5575860"/>
                  <a:pt x="2018845" y="5580650"/>
                  <a:pt x="2012898" y="5580650"/>
                </a:cubicBezTo>
                <a:cubicBezTo>
                  <a:pt x="2006952" y="5580650"/>
                  <a:pt x="2002162" y="5575860"/>
                  <a:pt x="2002162" y="5569914"/>
                </a:cubicBezTo>
                <a:cubicBezTo>
                  <a:pt x="2002162" y="5563967"/>
                  <a:pt x="2006952" y="5559177"/>
                  <a:pt x="2012898" y="5559177"/>
                </a:cubicBezTo>
                <a:close/>
                <a:moveTo>
                  <a:pt x="3503192" y="5556673"/>
                </a:moveTo>
                <a:lnTo>
                  <a:pt x="3503192" y="5565317"/>
                </a:lnTo>
                <a:lnTo>
                  <a:pt x="3498870" y="5560995"/>
                </a:lnTo>
                <a:close/>
                <a:moveTo>
                  <a:pt x="2490107" y="5556038"/>
                </a:moveTo>
                <a:cubicBezTo>
                  <a:pt x="2496054" y="5556038"/>
                  <a:pt x="2500843" y="5560828"/>
                  <a:pt x="2500843" y="5566775"/>
                </a:cubicBezTo>
                <a:cubicBezTo>
                  <a:pt x="2500843" y="5572721"/>
                  <a:pt x="2496054" y="5577511"/>
                  <a:pt x="2490107" y="5577511"/>
                </a:cubicBezTo>
                <a:cubicBezTo>
                  <a:pt x="2484160" y="5577511"/>
                  <a:pt x="2479370" y="5572721"/>
                  <a:pt x="2479370" y="5566775"/>
                </a:cubicBezTo>
                <a:cubicBezTo>
                  <a:pt x="2479370" y="5560828"/>
                  <a:pt x="2484160" y="5556038"/>
                  <a:pt x="2490107" y="5556038"/>
                </a:cubicBezTo>
                <a:close/>
                <a:moveTo>
                  <a:pt x="2185016" y="5556038"/>
                </a:moveTo>
                <a:cubicBezTo>
                  <a:pt x="2190963" y="5556038"/>
                  <a:pt x="2195753" y="5560828"/>
                  <a:pt x="2195753" y="5566775"/>
                </a:cubicBezTo>
                <a:cubicBezTo>
                  <a:pt x="2195753" y="5572721"/>
                  <a:pt x="2190963" y="5577511"/>
                  <a:pt x="2185016" y="5577511"/>
                </a:cubicBezTo>
                <a:cubicBezTo>
                  <a:pt x="2179070" y="5577511"/>
                  <a:pt x="2174280" y="5572721"/>
                  <a:pt x="2174280" y="5566775"/>
                </a:cubicBezTo>
                <a:cubicBezTo>
                  <a:pt x="2174280" y="5560828"/>
                  <a:pt x="2179070" y="5556038"/>
                  <a:pt x="2185016" y="5556038"/>
                </a:cubicBezTo>
                <a:close/>
                <a:moveTo>
                  <a:pt x="2032885" y="5552405"/>
                </a:moveTo>
                <a:cubicBezTo>
                  <a:pt x="2038832" y="5552405"/>
                  <a:pt x="2043623" y="5557195"/>
                  <a:pt x="2043623" y="5563142"/>
                </a:cubicBezTo>
                <a:cubicBezTo>
                  <a:pt x="2043623" y="5569088"/>
                  <a:pt x="2038832" y="5573878"/>
                  <a:pt x="2032885" y="5573878"/>
                </a:cubicBezTo>
                <a:cubicBezTo>
                  <a:pt x="2026938" y="5573878"/>
                  <a:pt x="2022149" y="5569088"/>
                  <a:pt x="2022149" y="5563142"/>
                </a:cubicBezTo>
                <a:cubicBezTo>
                  <a:pt x="2022149" y="5557195"/>
                  <a:pt x="2026938" y="5552405"/>
                  <a:pt x="2032885" y="5552405"/>
                </a:cubicBezTo>
                <a:close/>
                <a:moveTo>
                  <a:pt x="3353179" y="5548110"/>
                </a:moveTo>
                <a:cubicBezTo>
                  <a:pt x="3359125" y="5548110"/>
                  <a:pt x="3363915" y="5552899"/>
                  <a:pt x="3363915" y="5558846"/>
                </a:cubicBezTo>
                <a:cubicBezTo>
                  <a:pt x="3363915" y="5564793"/>
                  <a:pt x="3359125" y="5569584"/>
                  <a:pt x="3353179" y="5569584"/>
                </a:cubicBezTo>
                <a:cubicBezTo>
                  <a:pt x="3347232" y="5569584"/>
                  <a:pt x="3342442" y="5564793"/>
                  <a:pt x="3342442" y="5558846"/>
                </a:cubicBezTo>
                <a:cubicBezTo>
                  <a:pt x="3342442" y="5552899"/>
                  <a:pt x="3347232" y="5548110"/>
                  <a:pt x="3353179" y="5548110"/>
                </a:cubicBezTo>
                <a:close/>
                <a:moveTo>
                  <a:pt x="2923874" y="5546127"/>
                </a:moveTo>
                <a:cubicBezTo>
                  <a:pt x="2929820" y="5546127"/>
                  <a:pt x="2934612" y="5550917"/>
                  <a:pt x="2934612" y="5556864"/>
                </a:cubicBezTo>
                <a:cubicBezTo>
                  <a:pt x="2934612" y="5562810"/>
                  <a:pt x="2929820" y="5567600"/>
                  <a:pt x="2923874" y="5567600"/>
                </a:cubicBezTo>
                <a:cubicBezTo>
                  <a:pt x="2917927" y="5567600"/>
                  <a:pt x="2913138" y="5562810"/>
                  <a:pt x="2913138" y="5556864"/>
                </a:cubicBezTo>
                <a:cubicBezTo>
                  <a:pt x="2913138" y="5550917"/>
                  <a:pt x="2917927" y="5546127"/>
                  <a:pt x="2923874" y="5546127"/>
                </a:cubicBezTo>
                <a:close/>
                <a:moveTo>
                  <a:pt x="2794866" y="5544971"/>
                </a:moveTo>
                <a:cubicBezTo>
                  <a:pt x="2800812" y="5544971"/>
                  <a:pt x="2805604" y="5549761"/>
                  <a:pt x="2805604" y="5555707"/>
                </a:cubicBezTo>
                <a:cubicBezTo>
                  <a:pt x="2805604" y="5561654"/>
                  <a:pt x="2800812" y="5566445"/>
                  <a:pt x="2794866" y="5566445"/>
                </a:cubicBezTo>
                <a:cubicBezTo>
                  <a:pt x="2788920" y="5566445"/>
                  <a:pt x="2784130" y="5561654"/>
                  <a:pt x="2784130" y="5555707"/>
                </a:cubicBezTo>
                <a:cubicBezTo>
                  <a:pt x="2784130" y="5549761"/>
                  <a:pt x="2788920" y="5544971"/>
                  <a:pt x="2794866" y="5544971"/>
                </a:cubicBezTo>
                <a:close/>
                <a:moveTo>
                  <a:pt x="2055020" y="5543320"/>
                </a:moveTo>
                <a:cubicBezTo>
                  <a:pt x="2060967" y="5543320"/>
                  <a:pt x="2065756" y="5548110"/>
                  <a:pt x="2065756" y="5554056"/>
                </a:cubicBezTo>
                <a:cubicBezTo>
                  <a:pt x="2065756" y="5560003"/>
                  <a:pt x="2060967" y="5564794"/>
                  <a:pt x="2055020" y="5564794"/>
                </a:cubicBezTo>
                <a:cubicBezTo>
                  <a:pt x="2049074" y="5564794"/>
                  <a:pt x="2044284" y="5560003"/>
                  <a:pt x="2044284" y="5554056"/>
                </a:cubicBezTo>
                <a:cubicBezTo>
                  <a:pt x="2044284" y="5548110"/>
                  <a:pt x="2049074" y="5543320"/>
                  <a:pt x="2055020" y="5543320"/>
                </a:cubicBezTo>
                <a:close/>
                <a:moveTo>
                  <a:pt x="3052549" y="5542659"/>
                </a:moveTo>
                <a:cubicBezTo>
                  <a:pt x="3058495" y="5542659"/>
                  <a:pt x="3063287" y="5547449"/>
                  <a:pt x="3063287" y="5553395"/>
                </a:cubicBezTo>
                <a:cubicBezTo>
                  <a:pt x="3063287" y="5559342"/>
                  <a:pt x="3058495" y="5564132"/>
                  <a:pt x="3052549" y="5564132"/>
                </a:cubicBezTo>
                <a:cubicBezTo>
                  <a:pt x="3046602" y="5564132"/>
                  <a:pt x="3041812" y="5559342"/>
                  <a:pt x="3041812" y="5553395"/>
                </a:cubicBezTo>
                <a:cubicBezTo>
                  <a:pt x="3041812" y="5547449"/>
                  <a:pt x="3046602" y="5542659"/>
                  <a:pt x="3052549" y="5542659"/>
                </a:cubicBezTo>
                <a:close/>
                <a:moveTo>
                  <a:pt x="2369855" y="5540181"/>
                </a:moveTo>
                <a:cubicBezTo>
                  <a:pt x="2375802" y="5540181"/>
                  <a:pt x="2380591" y="5544971"/>
                  <a:pt x="2380591" y="5550917"/>
                </a:cubicBezTo>
                <a:cubicBezTo>
                  <a:pt x="2380591" y="5556864"/>
                  <a:pt x="2375802" y="5561654"/>
                  <a:pt x="2369855" y="5561654"/>
                </a:cubicBezTo>
                <a:cubicBezTo>
                  <a:pt x="2363908" y="5561654"/>
                  <a:pt x="2359118" y="5556864"/>
                  <a:pt x="2359118" y="5550917"/>
                </a:cubicBezTo>
                <a:cubicBezTo>
                  <a:pt x="2359118" y="5544971"/>
                  <a:pt x="2363908" y="5540181"/>
                  <a:pt x="2369855" y="5540181"/>
                </a:cubicBezTo>
                <a:close/>
                <a:moveTo>
                  <a:pt x="2216896" y="5540181"/>
                </a:moveTo>
                <a:cubicBezTo>
                  <a:pt x="2222843" y="5540181"/>
                  <a:pt x="2227634" y="5544971"/>
                  <a:pt x="2227634" y="5550917"/>
                </a:cubicBezTo>
                <a:cubicBezTo>
                  <a:pt x="2227634" y="5556864"/>
                  <a:pt x="2222843" y="5561654"/>
                  <a:pt x="2216896" y="5561654"/>
                </a:cubicBezTo>
                <a:cubicBezTo>
                  <a:pt x="2210950" y="5561654"/>
                  <a:pt x="2206160" y="5556864"/>
                  <a:pt x="2206160" y="5550917"/>
                </a:cubicBezTo>
                <a:cubicBezTo>
                  <a:pt x="2206160" y="5544971"/>
                  <a:pt x="2210950" y="5540181"/>
                  <a:pt x="2216896" y="5540181"/>
                </a:cubicBezTo>
                <a:close/>
                <a:moveTo>
                  <a:pt x="2666356" y="5539355"/>
                </a:moveTo>
                <a:cubicBezTo>
                  <a:pt x="2672302" y="5539355"/>
                  <a:pt x="2677094" y="5544145"/>
                  <a:pt x="2677094" y="5550092"/>
                </a:cubicBezTo>
                <a:cubicBezTo>
                  <a:pt x="2677094" y="5556038"/>
                  <a:pt x="2672302" y="5560830"/>
                  <a:pt x="2666356" y="5560830"/>
                </a:cubicBezTo>
                <a:cubicBezTo>
                  <a:pt x="2660409" y="5560830"/>
                  <a:pt x="2655620" y="5556038"/>
                  <a:pt x="2655620" y="5550092"/>
                </a:cubicBezTo>
                <a:cubicBezTo>
                  <a:pt x="2655620" y="5544145"/>
                  <a:pt x="2660409" y="5539355"/>
                  <a:pt x="2666356" y="5539355"/>
                </a:cubicBezTo>
                <a:close/>
                <a:moveTo>
                  <a:pt x="3180565" y="5534566"/>
                </a:moveTo>
                <a:cubicBezTo>
                  <a:pt x="3186511" y="5534566"/>
                  <a:pt x="3191303" y="5539355"/>
                  <a:pt x="3191303" y="5545302"/>
                </a:cubicBezTo>
                <a:cubicBezTo>
                  <a:pt x="3191303" y="5551249"/>
                  <a:pt x="3186511" y="5556040"/>
                  <a:pt x="3180565" y="5556040"/>
                </a:cubicBezTo>
                <a:cubicBezTo>
                  <a:pt x="3174618" y="5556040"/>
                  <a:pt x="3169828" y="5551249"/>
                  <a:pt x="3169828" y="5545302"/>
                </a:cubicBezTo>
                <a:cubicBezTo>
                  <a:pt x="3169828" y="5539355"/>
                  <a:pt x="3174618" y="5534566"/>
                  <a:pt x="3180565" y="5534566"/>
                </a:cubicBezTo>
                <a:close/>
                <a:moveTo>
                  <a:pt x="1922709" y="5531427"/>
                </a:moveTo>
                <a:cubicBezTo>
                  <a:pt x="1928655" y="5531427"/>
                  <a:pt x="1933447" y="5536217"/>
                  <a:pt x="1933447" y="5542163"/>
                </a:cubicBezTo>
                <a:cubicBezTo>
                  <a:pt x="1933447" y="5548110"/>
                  <a:pt x="1928655" y="5552901"/>
                  <a:pt x="1922709" y="5552901"/>
                </a:cubicBezTo>
                <a:lnTo>
                  <a:pt x="1917837" y="5548028"/>
                </a:lnTo>
                <a:lnTo>
                  <a:pt x="1908008" y="5557856"/>
                </a:lnTo>
                <a:lnTo>
                  <a:pt x="1903300" y="5553149"/>
                </a:lnTo>
                <a:lnTo>
                  <a:pt x="1894794" y="5561654"/>
                </a:lnTo>
                <a:lnTo>
                  <a:pt x="1889920" y="5556782"/>
                </a:lnTo>
                <a:lnTo>
                  <a:pt x="1882569" y="5564132"/>
                </a:lnTo>
                <a:lnTo>
                  <a:pt x="1878027" y="5559590"/>
                </a:lnTo>
                <a:lnTo>
                  <a:pt x="1871503" y="5566114"/>
                </a:lnTo>
                <a:lnTo>
                  <a:pt x="1867043" y="5561655"/>
                </a:lnTo>
                <a:lnTo>
                  <a:pt x="1861096" y="5567600"/>
                </a:lnTo>
                <a:lnTo>
                  <a:pt x="1856967" y="5563473"/>
                </a:lnTo>
                <a:lnTo>
                  <a:pt x="1851517" y="5568923"/>
                </a:lnTo>
                <a:lnTo>
                  <a:pt x="1847717" y="5565124"/>
                </a:lnTo>
                <a:lnTo>
                  <a:pt x="1842265" y="5570576"/>
                </a:lnTo>
                <a:lnTo>
                  <a:pt x="1838796" y="5567108"/>
                </a:lnTo>
                <a:lnTo>
                  <a:pt x="1833346" y="5572558"/>
                </a:lnTo>
                <a:lnTo>
                  <a:pt x="1830207" y="5569419"/>
                </a:lnTo>
                <a:lnTo>
                  <a:pt x="1824592" y="5575035"/>
                </a:lnTo>
                <a:lnTo>
                  <a:pt x="1821949" y="5572392"/>
                </a:lnTo>
                <a:lnTo>
                  <a:pt x="1815836" y="5578503"/>
                </a:lnTo>
                <a:lnTo>
                  <a:pt x="1813856" y="5576523"/>
                </a:lnTo>
                <a:lnTo>
                  <a:pt x="1807248" y="5583128"/>
                </a:lnTo>
                <a:lnTo>
                  <a:pt x="1805596" y="5581475"/>
                </a:lnTo>
                <a:lnTo>
                  <a:pt x="1798328" y="5588743"/>
                </a:lnTo>
                <a:lnTo>
                  <a:pt x="1795686" y="5586102"/>
                </a:lnTo>
                <a:lnTo>
                  <a:pt x="1789242" y="5592545"/>
                </a:lnTo>
                <a:cubicBezTo>
                  <a:pt x="1785047" y="5592545"/>
                  <a:pt x="1781645" y="5589142"/>
                  <a:pt x="1781645" y="5584947"/>
                </a:cubicBezTo>
                <a:lnTo>
                  <a:pt x="1788087" y="5578503"/>
                </a:lnTo>
                <a:lnTo>
                  <a:pt x="1787591" y="5578007"/>
                </a:lnTo>
                <a:cubicBezTo>
                  <a:pt x="1787591" y="5572061"/>
                  <a:pt x="1792381" y="5567271"/>
                  <a:pt x="1798328" y="5567271"/>
                </a:cubicBezTo>
                <a:lnTo>
                  <a:pt x="1799980" y="5568923"/>
                </a:lnTo>
                <a:lnTo>
                  <a:pt x="1807248" y="5561655"/>
                </a:lnTo>
                <a:lnTo>
                  <a:pt x="1809230" y="5563638"/>
                </a:lnTo>
                <a:lnTo>
                  <a:pt x="1815836" y="5557030"/>
                </a:lnTo>
                <a:lnTo>
                  <a:pt x="1818480" y="5559675"/>
                </a:lnTo>
                <a:lnTo>
                  <a:pt x="1824592" y="5553562"/>
                </a:lnTo>
                <a:lnTo>
                  <a:pt x="1827731" y="5556701"/>
                </a:lnTo>
                <a:lnTo>
                  <a:pt x="1833346" y="5551084"/>
                </a:lnTo>
                <a:lnTo>
                  <a:pt x="1836814" y="5554552"/>
                </a:lnTo>
                <a:lnTo>
                  <a:pt x="1842265" y="5549102"/>
                </a:lnTo>
                <a:lnTo>
                  <a:pt x="1846064" y="5552901"/>
                </a:lnTo>
                <a:lnTo>
                  <a:pt x="1851517" y="5547449"/>
                </a:lnTo>
                <a:lnTo>
                  <a:pt x="1855646" y="5551578"/>
                </a:lnTo>
                <a:lnTo>
                  <a:pt x="1861096" y="5546127"/>
                </a:lnTo>
                <a:lnTo>
                  <a:pt x="1865557" y="5550588"/>
                </a:lnTo>
                <a:lnTo>
                  <a:pt x="1871503" y="5544641"/>
                </a:lnTo>
                <a:lnTo>
                  <a:pt x="1876045" y="5549183"/>
                </a:lnTo>
                <a:lnTo>
                  <a:pt x="1882569" y="5542659"/>
                </a:lnTo>
                <a:lnTo>
                  <a:pt x="1887442" y="5547532"/>
                </a:lnTo>
                <a:lnTo>
                  <a:pt x="1894794" y="5540181"/>
                </a:lnTo>
                <a:lnTo>
                  <a:pt x="1899502" y="5544889"/>
                </a:lnTo>
                <a:lnTo>
                  <a:pt x="1908008" y="5536383"/>
                </a:lnTo>
                <a:lnTo>
                  <a:pt x="1912881" y="5541256"/>
                </a:lnTo>
                <a:close/>
                <a:moveTo>
                  <a:pt x="2079632" y="5531262"/>
                </a:moveTo>
                <a:cubicBezTo>
                  <a:pt x="2085578" y="5531262"/>
                  <a:pt x="2090370" y="5536052"/>
                  <a:pt x="2090370" y="5541998"/>
                </a:cubicBezTo>
                <a:cubicBezTo>
                  <a:pt x="2090370" y="5547945"/>
                  <a:pt x="2085578" y="5552735"/>
                  <a:pt x="2079632" y="5552735"/>
                </a:cubicBezTo>
                <a:cubicBezTo>
                  <a:pt x="2073685" y="5552735"/>
                  <a:pt x="2068895" y="5547945"/>
                  <a:pt x="2068895" y="5541998"/>
                </a:cubicBezTo>
                <a:cubicBezTo>
                  <a:pt x="2068895" y="5536052"/>
                  <a:pt x="2073685" y="5531262"/>
                  <a:pt x="2079632" y="5531262"/>
                </a:cubicBezTo>
                <a:close/>
                <a:moveTo>
                  <a:pt x="3472274" y="5530105"/>
                </a:moveTo>
                <a:cubicBezTo>
                  <a:pt x="3478220" y="5530105"/>
                  <a:pt x="3483012" y="5534895"/>
                  <a:pt x="3483012" y="5540842"/>
                </a:cubicBezTo>
                <a:cubicBezTo>
                  <a:pt x="3483012" y="5546788"/>
                  <a:pt x="3478220" y="5551578"/>
                  <a:pt x="3472274" y="5551578"/>
                </a:cubicBezTo>
                <a:cubicBezTo>
                  <a:pt x="3466328" y="5551578"/>
                  <a:pt x="3461538" y="5546788"/>
                  <a:pt x="3461538" y="5540842"/>
                </a:cubicBezTo>
                <a:cubicBezTo>
                  <a:pt x="3461538" y="5534895"/>
                  <a:pt x="3466328" y="5530105"/>
                  <a:pt x="3472274" y="5530105"/>
                </a:cubicBezTo>
                <a:close/>
                <a:moveTo>
                  <a:pt x="2539000" y="5529280"/>
                </a:moveTo>
                <a:cubicBezTo>
                  <a:pt x="2544947" y="5529280"/>
                  <a:pt x="2549738" y="5534070"/>
                  <a:pt x="2549738" y="5540016"/>
                </a:cubicBezTo>
                <a:cubicBezTo>
                  <a:pt x="2549738" y="5545963"/>
                  <a:pt x="2544947" y="5550753"/>
                  <a:pt x="2539000" y="5550753"/>
                </a:cubicBezTo>
                <a:cubicBezTo>
                  <a:pt x="2533054" y="5550753"/>
                  <a:pt x="2528264" y="5545963"/>
                  <a:pt x="2528264" y="5540016"/>
                </a:cubicBezTo>
                <a:cubicBezTo>
                  <a:pt x="2528264" y="5534070"/>
                  <a:pt x="2533054" y="5529280"/>
                  <a:pt x="2539000" y="5529280"/>
                </a:cubicBezTo>
                <a:close/>
                <a:moveTo>
                  <a:pt x="1939062" y="5524490"/>
                </a:moveTo>
                <a:cubicBezTo>
                  <a:pt x="1945008" y="5524490"/>
                  <a:pt x="1949800" y="5529280"/>
                  <a:pt x="1949800" y="5535226"/>
                </a:cubicBezTo>
                <a:cubicBezTo>
                  <a:pt x="1949800" y="5541173"/>
                  <a:pt x="1945008" y="5545963"/>
                  <a:pt x="1939062" y="5545963"/>
                </a:cubicBezTo>
                <a:cubicBezTo>
                  <a:pt x="1933116" y="5545963"/>
                  <a:pt x="1928326" y="5541173"/>
                  <a:pt x="1928326" y="5535226"/>
                </a:cubicBezTo>
                <a:cubicBezTo>
                  <a:pt x="1928326" y="5529280"/>
                  <a:pt x="1933116" y="5524490"/>
                  <a:pt x="1939062" y="5524490"/>
                </a:cubicBezTo>
                <a:close/>
                <a:moveTo>
                  <a:pt x="3307093" y="5522177"/>
                </a:moveTo>
                <a:cubicBezTo>
                  <a:pt x="3313039" y="5522177"/>
                  <a:pt x="3317831" y="5526966"/>
                  <a:pt x="3317831" y="5532913"/>
                </a:cubicBezTo>
                <a:cubicBezTo>
                  <a:pt x="3317831" y="5538859"/>
                  <a:pt x="3313039" y="5543651"/>
                  <a:pt x="3307093" y="5543651"/>
                </a:cubicBezTo>
                <a:cubicBezTo>
                  <a:pt x="3301146" y="5543651"/>
                  <a:pt x="3296356" y="5538859"/>
                  <a:pt x="3296356" y="5532913"/>
                </a:cubicBezTo>
                <a:cubicBezTo>
                  <a:pt x="3296356" y="5526966"/>
                  <a:pt x="3301146" y="5522177"/>
                  <a:pt x="3307093" y="5522177"/>
                </a:cubicBezTo>
                <a:close/>
                <a:moveTo>
                  <a:pt x="2251750" y="5520526"/>
                </a:moveTo>
                <a:cubicBezTo>
                  <a:pt x="2257696" y="5520526"/>
                  <a:pt x="2262488" y="5525315"/>
                  <a:pt x="2262488" y="5531262"/>
                </a:cubicBezTo>
                <a:cubicBezTo>
                  <a:pt x="2262488" y="5537209"/>
                  <a:pt x="2257696" y="5541998"/>
                  <a:pt x="2251750" y="5541998"/>
                </a:cubicBezTo>
                <a:cubicBezTo>
                  <a:pt x="2245803" y="5541998"/>
                  <a:pt x="2241014" y="5537209"/>
                  <a:pt x="2241014" y="5531262"/>
                </a:cubicBezTo>
                <a:cubicBezTo>
                  <a:pt x="2241014" y="5525315"/>
                  <a:pt x="2245803" y="5520526"/>
                  <a:pt x="2251750" y="5520526"/>
                </a:cubicBezTo>
                <a:close/>
                <a:moveTo>
                  <a:pt x="2106722" y="5516065"/>
                </a:moveTo>
                <a:cubicBezTo>
                  <a:pt x="2112668" y="5516065"/>
                  <a:pt x="2117460" y="5520855"/>
                  <a:pt x="2117460" y="5526802"/>
                </a:cubicBezTo>
                <a:cubicBezTo>
                  <a:pt x="2117460" y="5532748"/>
                  <a:pt x="2112668" y="5537540"/>
                  <a:pt x="2106722" y="5537540"/>
                </a:cubicBezTo>
                <a:cubicBezTo>
                  <a:pt x="2100775" y="5537540"/>
                  <a:pt x="2095985" y="5532748"/>
                  <a:pt x="2095985" y="5526802"/>
                </a:cubicBezTo>
                <a:cubicBezTo>
                  <a:pt x="2095985" y="5520855"/>
                  <a:pt x="2100775" y="5516065"/>
                  <a:pt x="2106722" y="5516065"/>
                </a:cubicBezTo>
                <a:close/>
                <a:moveTo>
                  <a:pt x="1957066" y="5515405"/>
                </a:moveTo>
                <a:cubicBezTo>
                  <a:pt x="1963013" y="5515405"/>
                  <a:pt x="1967803" y="5520194"/>
                  <a:pt x="1967803" y="5526141"/>
                </a:cubicBezTo>
                <a:cubicBezTo>
                  <a:pt x="1967803" y="5532087"/>
                  <a:pt x="1963013" y="5536877"/>
                  <a:pt x="1957066" y="5536877"/>
                </a:cubicBezTo>
                <a:cubicBezTo>
                  <a:pt x="1951120" y="5536877"/>
                  <a:pt x="1946330" y="5532087"/>
                  <a:pt x="1946330" y="5526141"/>
                </a:cubicBezTo>
                <a:cubicBezTo>
                  <a:pt x="1946330" y="5520194"/>
                  <a:pt x="1951120" y="5515405"/>
                  <a:pt x="1957066" y="5515405"/>
                </a:cubicBezTo>
                <a:close/>
                <a:moveTo>
                  <a:pt x="2413463" y="5514909"/>
                </a:moveTo>
                <a:cubicBezTo>
                  <a:pt x="2419409" y="5514909"/>
                  <a:pt x="2424199" y="5519698"/>
                  <a:pt x="2424199" y="5525645"/>
                </a:cubicBezTo>
                <a:cubicBezTo>
                  <a:pt x="2424199" y="5531592"/>
                  <a:pt x="2419409" y="5536383"/>
                  <a:pt x="2413463" y="5536383"/>
                </a:cubicBezTo>
                <a:cubicBezTo>
                  <a:pt x="2407516" y="5536383"/>
                  <a:pt x="2402726" y="5531592"/>
                  <a:pt x="2402726" y="5525645"/>
                </a:cubicBezTo>
                <a:cubicBezTo>
                  <a:pt x="2402726" y="5519698"/>
                  <a:pt x="2407516" y="5514909"/>
                  <a:pt x="2413463" y="5514909"/>
                </a:cubicBezTo>
                <a:close/>
                <a:moveTo>
                  <a:pt x="2858296" y="5508797"/>
                </a:moveTo>
                <a:cubicBezTo>
                  <a:pt x="2864242" y="5508797"/>
                  <a:pt x="2869034" y="5513587"/>
                  <a:pt x="2869034" y="5519534"/>
                </a:cubicBezTo>
                <a:cubicBezTo>
                  <a:pt x="2869034" y="5525480"/>
                  <a:pt x="2864242" y="5530272"/>
                  <a:pt x="2858296" y="5530272"/>
                </a:cubicBezTo>
                <a:cubicBezTo>
                  <a:pt x="2852349" y="5530272"/>
                  <a:pt x="2847559" y="5525480"/>
                  <a:pt x="2847559" y="5519534"/>
                </a:cubicBezTo>
                <a:cubicBezTo>
                  <a:pt x="2847559" y="5513587"/>
                  <a:pt x="2852349" y="5508797"/>
                  <a:pt x="2858296" y="5508797"/>
                </a:cubicBezTo>
                <a:close/>
                <a:moveTo>
                  <a:pt x="2991927" y="5507476"/>
                </a:moveTo>
                <a:cubicBezTo>
                  <a:pt x="2997873" y="5507476"/>
                  <a:pt x="3002665" y="5512266"/>
                  <a:pt x="3002665" y="5518212"/>
                </a:cubicBezTo>
                <a:cubicBezTo>
                  <a:pt x="3002665" y="5524159"/>
                  <a:pt x="2997873" y="5528949"/>
                  <a:pt x="2991927" y="5528949"/>
                </a:cubicBezTo>
                <a:cubicBezTo>
                  <a:pt x="2985980" y="5528949"/>
                  <a:pt x="2981190" y="5524159"/>
                  <a:pt x="2981190" y="5518212"/>
                </a:cubicBezTo>
                <a:cubicBezTo>
                  <a:pt x="2981190" y="5512266"/>
                  <a:pt x="2985980" y="5507476"/>
                  <a:pt x="2991927" y="5507476"/>
                </a:cubicBezTo>
                <a:close/>
                <a:moveTo>
                  <a:pt x="3431476" y="5505327"/>
                </a:moveTo>
                <a:cubicBezTo>
                  <a:pt x="3437422" y="5505327"/>
                  <a:pt x="3442214" y="5510117"/>
                  <a:pt x="3442214" y="5516064"/>
                </a:cubicBezTo>
                <a:cubicBezTo>
                  <a:pt x="3442214" y="5522010"/>
                  <a:pt x="3437422" y="5526800"/>
                  <a:pt x="3431476" y="5526800"/>
                </a:cubicBezTo>
                <a:cubicBezTo>
                  <a:pt x="3425529" y="5526800"/>
                  <a:pt x="3420739" y="5522010"/>
                  <a:pt x="3420739" y="5516064"/>
                </a:cubicBezTo>
                <a:cubicBezTo>
                  <a:pt x="3420739" y="5510117"/>
                  <a:pt x="3425529" y="5505327"/>
                  <a:pt x="3431476" y="5505327"/>
                </a:cubicBezTo>
                <a:close/>
                <a:moveTo>
                  <a:pt x="2724829" y="5505163"/>
                </a:moveTo>
                <a:cubicBezTo>
                  <a:pt x="2730776" y="5505163"/>
                  <a:pt x="2735567" y="5509952"/>
                  <a:pt x="2735567" y="5515899"/>
                </a:cubicBezTo>
                <a:cubicBezTo>
                  <a:pt x="2735567" y="5521845"/>
                  <a:pt x="2730776" y="5526637"/>
                  <a:pt x="2724829" y="5526637"/>
                </a:cubicBezTo>
                <a:cubicBezTo>
                  <a:pt x="2718882" y="5526637"/>
                  <a:pt x="2714093" y="5521845"/>
                  <a:pt x="2714093" y="5515899"/>
                </a:cubicBezTo>
                <a:cubicBezTo>
                  <a:pt x="2714093" y="5509952"/>
                  <a:pt x="2718882" y="5505163"/>
                  <a:pt x="2724829" y="5505163"/>
                </a:cubicBezTo>
                <a:close/>
                <a:moveTo>
                  <a:pt x="1977219" y="5503676"/>
                </a:moveTo>
                <a:cubicBezTo>
                  <a:pt x="1983166" y="5503676"/>
                  <a:pt x="1987956" y="5508466"/>
                  <a:pt x="1987956" y="5514413"/>
                </a:cubicBezTo>
                <a:cubicBezTo>
                  <a:pt x="1987956" y="5520359"/>
                  <a:pt x="1983166" y="5525151"/>
                  <a:pt x="1977219" y="5525151"/>
                </a:cubicBezTo>
                <a:cubicBezTo>
                  <a:pt x="1971273" y="5525151"/>
                  <a:pt x="1966483" y="5520359"/>
                  <a:pt x="1966483" y="5514413"/>
                </a:cubicBezTo>
                <a:cubicBezTo>
                  <a:pt x="1966483" y="5508466"/>
                  <a:pt x="1971273" y="5503676"/>
                  <a:pt x="1977219" y="5503676"/>
                </a:cubicBezTo>
                <a:close/>
                <a:moveTo>
                  <a:pt x="3124899" y="5501365"/>
                </a:moveTo>
                <a:cubicBezTo>
                  <a:pt x="3130846" y="5501365"/>
                  <a:pt x="3135637" y="5506154"/>
                  <a:pt x="3135637" y="5512101"/>
                </a:cubicBezTo>
                <a:cubicBezTo>
                  <a:pt x="3135637" y="5518048"/>
                  <a:pt x="3130846" y="5522837"/>
                  <a:pt x="3124899" y="5522837"/>
                </a:cubicBezTo>
                <a:cubicBezTo>
                  <a:pt x="3118952" y="5522837"/>
                  <a:pt x="3114163" y="5518048"/>
                  <a:pt x="3114163" y="5512101"/>
                </a:cubicBezTo>
                <a:cubicBezTo>
                  <a:pt x="3114163" y="5506154"/>
                  <a:pt x="3118952" y="5501365"/>
                  <a:pt x="3124899" y="5501365"/>
                </a:cubicBezTo>
                <a:close/>
                <a:moveTo>
                  <a:pt x="2592188" y="5497069"/>
                </a:moveTo>
                <a:cubicBezTo>
                  <a:pt x="2598134" y="5497069"/>
                  <a:pt x="2602926" y="5501859"/>
                  <a:pt x="2602926" y="5507805"/>
                </a:cubicBezTo>
                <a:cubicBezTo>
                  <a:pt x="2602926" y="5513752"/>
                  <a:pt x="2598134" y="5518542"/>
                  <a:pt x="2592188" y="5518542"/>
                </a:cubicBezTo>
                <a:cubicBezTo>
                  <a:pt x="2586242" y="5518542"/>
                  <a:pt x="2581452" y="5513752"/>
                  <a:pt x="2581452" y="5507805"/>
                </a:cubicBezTo>
                <a:cubicBezTo>
                  <a:pt x="2581452" y="5501859"/>
                  <a:pt x="2586242" y="5497069"/>
                  <a:pt x="2592188" y="5497069"/>
                </a:cubicBezTo>
                <a:close/>
                <a:moveTo>
                  <a:pt x="2136784" y="5497069"/>
                </a:moveTo>
                <a:cubicBezTo>
                  <a:pt x="2142730" y="5497069"/>
                  <a:pt x="2147520" y="5501859"/>
                  <a:pt x="2147520" y="5507805"/>
                </a:cubicBezTo>
                <a:cubicBezTo>
                  <a:pt x="2147520" y="5513752"/>
                  <a:pt x="2142730" y="5518542"/>
                  <a:pt x="2136784" y="5518542"/>
                </a:cubicBezTo>
                <a:cubicBezTo>
                  <a:pt x="2130837" y="5518542"/>
                  <a:pt x="2126047" y="5513752"/>
                  <a:pt x="2126047" y="5507805"/>
                </a:cubicBezTo>
                <a:cubicBezTo>
                  <a:pt x="2126047" y="5501859"/>
                  <a:pt x="2130837" y="5497069"/>
                  <a:pt x="2136784" y="5497069"/>
                </a:cubicBezTo>
                <a:close/>
                <a:moveTo>
                  <a:pt x="2290238" y="5496244"/>
                </a:moveTo>
                <a:cubicBezTo>
                  <a:pt x="2296185" y="5496244"/>
                  <a:pt x="2300976" y="5501033"/>
                  <a:pt x="2300976" y="5506980"/>
                </a:cubicBezTo>
                <a:cubicBezTo>
                  <a:pt x="2300976" y="5512926"/>
                  <a:pt x="2296185" y="5517716"/>
                  <a:pt x="2290238" y="5517716"/>
                </a:cubicBezTo>
                <a:cubicBezTo>
                  <a:pt x="2284292" y="5517716"/>
                  <a:pt x="2279502" y="5512926"/>
                  <a:pt x="2279502" y="5506980"/>
                </a:cubicBezTo>
                <a:cubicBezTo>
                  <a:pt x="2279502" y="5501033"/>
                  <a:pt x="2284292" y="5496244"/>
                  <a:pt x="2290238" y="5496244"/>
                </a:cubicBezTo>
                <a:close/>
                <a:moveTo>
                  <a:pt x="1848212" y="5494426"/>
                </a:moveTo>
                <a:cubicBezTo>
                  <a:pt x="1854158" y="5494426"/>
                  <a:pt x="1858950" y="5499216"/>
                  <a:pt x="1858950" y="5505163"/>
                </a:cubicBezTo>
                <a:cubicBezTo>
                  <a:pt x="1858950" y="5511109"/>
                  <a:pt x="1854158" y="5515901"/>
                  <a:pt x="1848212" y="5515901"/>
                </a:cubicBezTo>
                <a:lnTo>
                  <a:pt x="1845404" y="5513093"/>
                </a:lnTo>
                <a:lnTo>
                  <a:pt x="1835493" y="5523004"/>
                </a:lnTo>
                <a:lnTo>
                  <a:pt x="1832519" y="5520030"/>
                </a:lnTo>
                <a:lnTo>
                  <a:pt x="1824261" y="5528290"/>
                </a:lnTo>
                <a:lnTo>
                  <a:pt x="1821205" y="5525234"/>
                </a:lnTo>
                <a:lnTo>
                  <a:pt x="1814020" y="5532419"/>
                </a:lnTo>
                <a:lnTo>
                  <a:pt x="1810963" y="5529361"/>
                </a:lnTo>
                <a:lnTo>
                  <a:pt x="1804935" y="5535391"/>
                </a:lnTo>
                <a:lnTo>
                  <a:pt x="1801961" y="5532417"/>
                </a:lnTo>
                <a:lnTo>
                  <a:pt x="1796510" y="5537868"/>
                </a:lnTo>
                <a:lnTo>
                  <a:pt x="1793621" y="5534978"/>
                </a:lnTo>
                <a:lnTo>
                  <a:pt x="1788581" y="5540016"/>
                </a:lnTo>
                <a:lnTo>
                  <a:pt x="1786022" y="5537457"/>
                </a:lnTo>
                <a:lnTo>
                  <a:pt x="1781314" y="5542165"/>
                </a:lnTo>
                <a:lnTo>
                  <a:pt x="1778835" y="5539687"/>
                </a:lnTo>
                <a:lnTo>
                  <a:pt x="1774046" y="5544475"/>
                </a:lnTo>
                <a:lnTo>
                  <a:pt x="1771982" y="5542411"/>
                </a:lnTo>
                <a:lnTo>
                  <a:pt x="1767109" y="5547284"/>
                </a:lnTo>
                <a:lnTo>
                  <a:pt x="1765374" y="5545550"/>
                </a:lnTo>
                <a:lnTo>
                  <a:pt x="1760170" y="5550753"/>
                </a:lnTo>
                <a:lnTo>
                  <a:pt x="1758850" y="5549433"/>
                </a:lnTo>
                <a:lnTo>
                  <a:pt x="1753234" y="5555048"/>
                </a:lnTo>
                <a:lnTo>
                  <a:pt x="1752325" y="5554139"/>
                </a:lnTo>
                <a:lnTo>
                  <a:pt x="1745966" y="5560499"/>
                </a:lnTo>
                <a:lnTo>
                  <a:pt x="1745470" y="5560004"/>
                </a:lnTo>
                <a:lnTo>
                  <a:pt x="1738366" y="5567106"/>
                </a:lnTo>
                <a:cubicBezTo>
                  <a:pt x="1732420" y="5567106"/>
                  <a:pt x="1727630" y="5562316"/>
                  <a:pt x="1727630" y="5556370"/>
                </a:cubicBezTo>
                <a:cubicBezTo>
                  <a:pt x="1727630" y="5550423"/>
                  <a:pt x="1732420" y="5545633"/>
                  <a:pt x="1738366" y="5545633"/>
                </a:cubicBezTo>
                <a:lnTo>
                  <a:pt x="1738862" y="5546129"/>
                </a:lnTo>
                <a:lnTo>
                  <a:pt x="1745966" y="5539026"/>
                </a:lnTo>
                <a:lnTo>
                  <a:pt x="1746874" y="5539935"/>
                </a:lnTo>
                <a:lnTo>
                  <a:pt x="1753234" y="5533574"/>
                </a:lnTo>
                <a:lnTo>
                  <a:pt x="1754555" y="5534895"/>
                </a:lnTo>
                <a:lnTo>
                  <a:pt x="1760170" y="5529280"/>
                </a:lnTo>
                <a:lnTo>
                  <a:pt x="1761904" y="5531014"/>
                </a:lnTo>
                <a:lnTo>
                  <a:pt x="1767109" y="5525810"/>
                </a:lnTo>
                <a:lnTo>
                  <a:pt x="1769174" y="5527875"/>
                </a:lnTo>
                <a:lnTo>
                  <a:pt x="1774046" y="5523002"/>
                </a:lnTo>
                <a:lnTo>
                  <a:pt x="1776524" y="5525480"/>
                </a:lnTo>
                <a:lnTo>
                  <a:pt x="1781314" y="5520690"/>
                </a:lnTo>
                <a:lnTo>
                  <a:pt x="1783873" y="5523250"/>
                </a:lnTo>
                <a:lnTo>
                  <a:pt x="1788581" y="5518542"/>
                </a:lnTo>
                <a:lnTo>
                  <a:pt x="1791472" y="5521433"/>
                </a:lnTo>
                <a:lnTo>
                  <a:pt x="1796510" y="5516395"/>
                </a:lnTo>
                <a:lnTo>
                  <a:pt x="1799484" y="5519369"/>
                </a:lnTo>
                <a:lnTo>
                  <a:pt x="1804935" y="5513917"/>
                </a:lnTo>
                <a:lnTo>
                  <a:pt x="1807992" y="5516974"/>
                </a:lnTo>
                <a:lnTo>
                  <a:pt x="1814020" y="5510944"/>
                </a:lnTo>
                <a:lnTo>
                  <a:pt x="1817076" y="5514000"/>
                </a:lnTo>
                <a:lnTo>
                  <a:pt x="1824261" y="5506815"/>
                </a:lnTo>
                <a:lnTo>
                  <a:pt x="1827235" y="5509789"/>
                </a:lnTo>
                <a:lnTo>
                  <a:pt x="1835493" y="5501529"/>
                </a:lnTo>
                <a:lnTo>
                  <a:pt x="1838301" y="5504337"/>
                </a:lnTo>
                <a:close/>
                <a:moveTo>
                  <a:pt x="3256713" y="5490627"/>
                </a:moveTo>
                <a:cubicBezTo>
                  <a:pt x="3262660" y="5490627"/>
                  <a:pt x="3267451" y="5495416"/>
                  <a:pt x="3267451" y="5501363"/>
                </a:cubicBezTo>
                <a:cubicBezTo>
                  <a:pt x="3267451" y="5507309"/>
                  <a:pt x="3262660" y="5512099"/>
                  <a:pt x="3256713" y="5512099"/>
                </a:cubicBezTo>
                <a:cubicBezTo>
                  <a:pt x="3250766" y="5512099"/>
                  <a:pt x="3245976" y="5507309"/>
                  <a:pt x="3245976" y="5501363"/>
                </a:cubicBezTo>
                <a:cubicBezTo>
                  <a:pt x="3245976" y="5495416"/>
                  <a:pt x="3250766" y="5490627"/>
                  <a:pt x="3256713" y="5490627"/>
                </a:cubicBezTo>
                <a:close/>
                <a:moveTo>
                  <a:pt x="1999849" y="5488809"/>
                </a:moveTo>
                <a:cubicBezTo>
                  <a:pt x="2005795" y="5488809"/>
                  <a:pt x="2010587" y="5493599"/>
                  <a:pt x="2010587" y="5499545"/>
                </a:cubicBezTo>
                <a:cubicBezTo>
                  <a:pt x="2010587" y="5505492"/>
                  <a:pt x="2005795" y="5510282"/>
                  <a:pt x="1999849" y="5510282"/>
                </a:cubicBezTo>
                <a:cubicBezTo>
                  <a:pt x="1993902" y="5510282"/>
                  <a:pt x="1989112" y="5505492"/>
                  <a:pt x="1989112" y="5499545"/>
                </a:cubicBezTo>
                <a:cubicBezTo>
                  <a:pt x="1989112" y="5493599"/>
                  <a:pt x="1993902" y="5488809"/>
                  <a:pt x="1999849" y="5488809"/>
                </a:cubicBezTo>
                <a:close/>
                <a:moveTo>
                  <a:pt x="1566578" y="5488480"/>
                </a:moveTo>
                <a:cubicBezTo>
                  <a:pt x="1566670" y="5488480"/>
                  <a:pt x="1566742" y="5488554"/>
                  <a:pt x="1566742" y="5488644"/>
                </a:cubicBezTo>
                <a:cubicBezTo>
                  <a:pt x="1566742" y="5488736"/>
                  <a:pt x="1566670" y="5488809"/>
                  <a:pt x="1566578" y="5488809"/>
                </a:cubicBezTo>
                <a:cubicBezTo>
                  <a:pt x="1566488" y="5488809"/>
                  <a:pt x="1566413" y="5488736"/>
                  <a:pt x="1566413" y="5488644"/>
                </a:cubicBezTo>
                <a:cubicBezTo>
                  <a:pt x="1566413" y="5488554"/>
                  <a:pt x="1566488" y="5488480"/>
                  <a:pt x="1566578" y="5488480"/>
                </a:cubicBezTo>
                <a:close/>
                <a:moveTo>
                  <a:pt x="1862418" y="5485176"/>
                </a:moveTo>
                <a:cubicBezTo>
                  <a:pt x="1868364" y="5485176"/>
                  <a:pt x="1873156" y="5489966"/>
                  <a:pt x="1873156" y="5495912"/>
                </a:cubicBezTo>
                <a:cubicBezTo>
                  <a:pt x="1873156" y="5501859"/>
                  <a:pt x="1868364" y="5506649"/>
                  <a:pt x="1862418" y="5506649"/>
                </a:cubicBezTo>
                <a:cubicBezTo>
                  <a:pt x="1856471" y="5506649"/>
                  <a:pt x="1851682" y="5501859"/>
                  <a:pt x="1851682" y="5495912"/>
                </a:cubicBezTo>
                <a:cubicBezTo>
                  <a:pt x="1851682" y="5489966"/>
                  <a:pt x="1856471" y="5485176"/>
                  <a:pt x="1862418" y="5485176"/>
                </a:cubicBezTo>
                <a:close/>
                <a:moveTo>
                  <a:pt x="2461200" y="5484186"/>
                </a:moveTo>
                <a:cubicBezTo>
                  <a:pt x="2467146" y="5484186"/>
                  <a:pt x="2471936" y="5488976"/>
                  <a:pt x="2471936" y="5494922"/>
                </a:cubicBezTo>
                <a:cubicBezTo>
                  <a:pt x="2471936" y="5500869"/>
                  <a:pt x="2467146" y="5505658"/>
                  <a:pt x="2461200" y="5505658"/>
                </a:cubicBezTo>
                <a:cubicBezTo>
                  <a:pt x="2455253" y="5505658"/>
                  <a:pt x="2450463" y="5500869"/>
                  <a:pt x="2450463" y="5494922"/>
                </a:cubicBezTo>
                <a:cubicBezTo>
                  <a:pt x="2450463" y="5488976"/>
                  <a:pt x="2455253" y="5484186"/>
                  <a:pt x="2461200" y="5484186"/>
                </a:cubicBezTo>
                <a:close/>
                <a:moveTo>
                  <a:pt x="3386546" y="5475430"/>
                </a:moveTo>
                <a:cubicBezTo>
                  <a:pt x="3392493" y="5475430"/>
                  <a:pt x="3397284" y="5480220"/>
                  <a:pt x="3397284" y="5486166"/>
                </a:cubicBezTo>
                <a:cubicBezTo>
                  <a:pt x="3397284" y="5492113"/>
                  <a:pt x="3392493" y="5496903"/>
                  <a:pt x="3386546" y="5496903"/>
                </a:cubicBezTo>
                <a:cubicBezTo>
                  <a:pt x="3380600" y="5496903"/>
                  <a:pt x="3375810" y="5492113"/>
                  <a:pt x="3375810" y="5486166"/>
                </a:cubicBezTo>
                <a:cubicBezTo>
                  <a:pt x="3375810" y="5480220"/>
                  <a:pt x="3380600" y="5475430"/>
                  <a:pt x="3386546" y="5475430"/>
                </a:cubicBezTo>
                <a:close/>
                <a:moveTo>
                  <a:pt x="2169986" y="5473779"/>
                </a:moveTo>
                <a:cubicBezTo>
                  <a:pt x="2175933" y="5473779"/>
                  <a:pt x="2180724" y="5478569"/>
                  <a:pt x="2180724" y="5484515"/>
                </a:cubicBezTo>
                <a:cubicBezTo>
                  <a:pt x="2180724" y="5490462"/>
                  <a:pt x="2175933" y="5495253"/>
                  <a:pt x="2169986" y="5495253"/>
                </a:cubicBezTo>
                <a:cubicBezTo>
                  <a:pt x="2164040" y="5495253"/>
                  <a:pt x="2159250" y="5490462"/>
                  <a:pt x="2159250" y="5484515"/>
                </a:cubicBezTo>
                <a:cubicBezTo>
                  <a:pt x="2159250" y="5478569"/>
                  <a:pt x="2164040" y="5473779"/>
                  <a:pt x="2169986" y="5473779"/>
                </a:cubicBezTo>
                <a:close/>
                <a:moveTo>
                  <a:pt x="1878440" y="5473283"/>
                </a:moveTo>
                <a:cubicBezTo>
                  <a:pt x="1884371" y="5473283"/>
                  <a:pt x="1889178" y="5478090"/>
                  <a:pt x="1889178" y="5484019"/>
                </a:cubicBezTo>
                <a:cubicBezTo>
                  <a:pt x="1889178" y="5489948"/>
                  <a:pt x="1884371" y="5494756"/>
                  <a:pt x="1878440" y="5494756"/>
                </a:cubicBezTo>
                <a:cubicBezTo>
                  <a:pt x="1872511" y="5494756"/>
                  <a:pt x="1867704" y="5489948"/>
                  <a:pt x="1867704" y="5484019"/>
                </a:cubicBezTo>
                <a:cubicBezTo>
                  <a:pt x="1867704" y="5478090"/>
                  <a:pt x="1872511" y="5473283"/>
                  <a:pt x="1878440" y="5473283"/>
                </a:cubicBezTo>
                <a:close/>
                <a:moveTo>
                  <a:pt x="2024956" y="5470311"/>
                </a:moveTo>
                <a:cubicBezTo>
                  <a:pt x="2030903" y="5470311"/>
                  <a:pt x="2035693" y="5475100"/>
                  <a:pt x="2035693" y="5481047"/>
                </a:cubicBezTo>
                <a:cubicBezTo>
                  <a:pt x="2035693" y="5486993"/>
                  <a:pt x="2030903" y="5491783"/>
                  <a:pt x="2024956" y="5491783"/>
                </a:cubicBezTo>
                <a:cubicBezTo>
                  <a:pt x="2019010" y="5491783"/>
                  <a:pt x="2014220" y="5486993"/>
                  <a:pt x="2014220" y="5481047"/>
                </a:cubicBezTo>
                <a:cubicBezTo>
                  <a:pt x="2014220" y="5475100"/>
                  <a:pt x="2019010" y="5470311"/>
                  <a:pt x="2024956" y="5470311"/>
                </a:cubicBezTo>
                <a:close/>
                <a:moveTo>
                  <a:pt x="2332523" y="5466840"/>
                </a:moveTo>
                <a:cubicBezTo>
                  <a:pt x="2338470" y="5466840"/>
                  <a:pt x="2343261" y="5471630"/>
                  <a:pt x="2343261" y="5477577"/>
                </a:cubicBezTo>
                <a:cubicBezTo>
                  <a:pt x="2343261" y="5483523"/>
                  <a:pt x="2338470" y="5488313"/>
                  <a:pt x="2332523" y="5488313"/>
                </a:cubicBezTo>
                <a:cubicBezTo>
                  <a:pt x="2326576" y="5488313"/>
                  <a:pt x="2321787" y="5483523"/>
                  <a:pt x="2321787" y="5477577"/>
                </a:cubicBezTo>
                <a:cubicBezTo>
                  <a:pt x="2321787" y="5471630"/>
                  <a:pt x="2326576" y="5466840"/>
                  <a:pt x="2332523" y="5466840"/>
                </a:cubicBezTo>
                <a:close/>
                <a:moveTo>
                  <a:pt x="3503192" y="5466649"/>
                </a:moveTo>
                <a:lnTo>
                  <a:pt x="3503192" y="5466703"/>
                </a:lnTo>
                <a:lnTo>
                  <a:pt x="3503165" y="5466676"/>
                </a:lnTo>
                <a:close/>
                <a:moveTo>
                  <a:pt x="2926350" y="5465850"/>
                </a:moveTo>
                <a:cubicBezTo>
                  <a:pt x="2932297" y="5465850"/>
                  <a:pt x="2937088" y="5470640"/>
                  <a:pt x="2937088" y="5476587"/>
                </a:cubicBezTo>
                <a:cubicBezTo>
                  <a:pt x="2937088" y="5482533"/>
                  <a:pt x="2932297" y="5487323"/>
                  <a:pt x="2926350" y="5487323"/>
                </a:cubicBezTo>
                <a:cubicBezTo>
                  <a:pt x="2920404" y="5487323"/>
                  <a:pt x="2915614" y="5482533"/>
                  <a:pt x="2915614" y="5476587"/>
                </a:cubicBezTo>
                <a:cubicBezTo>
                  <a:pt x="2915614" y="5470640"/>
                  <a:pt x="2920404" y="5465850"/>
                  <a:pt x="2926350" y="5465850"/>
                </a:cubicBezTo>
                <a:close/>
                <a:moveTo>
                  <a:pt x="2787929" y="5464694"/>
                </a:moveTo>
                <a:cubicBezTo>
                  <a:pt x="2793876" y="5464694"/>
                  <a:pt x="2798666" y="5469483"/>
                  <a:pt x="2798666" y="5475430"/>
                </a:cubicBezTo>
                <a:cubicBezTo>
                  <a:pt x="2798666" y="5481376"/>
                  <a:pt x="2793876" y="5486166"/>
                  <a:pt x="2787929" y="5486166"/>
                </a:cubicBezTo>
                <a:cubicBezTo>
                  <a:pt x="2781983" y="5486166"/>
                  <a:pt x="2777193" y="5481376"/>
                  <a:pt x="2777193" y="5475430"/>
                </a:cubicBezTo>
                <a:cubicBezTo>
                  <a:pt x="2777193" y="5469483"/>
                  <a:pt x="2781983" y="5464694"/>
                  <a:pt x="2787929" y="5464694"/>
                </a:cubicBezTo>
                <a:close/>
                <a:moveTo>
                  <a:pt x="3064773" y="5462051"/>
                </a:moveTo>
                <a:cubicBezTo>
                  <a:pt x="3070720" y="5462051"/>
                  <a:pt x="3075511" y="5466840"/>
                  <a:pt x="3075511" y="5472787"/>
                </a:cubicBezTo>
                <a:cubicBezTo>
                  <a:pt x="3075511" y="5478734"/>
                  <a:pt x="3070720" y="5483523"/>
                  <a:pt x="3064773" y="5483523"/>
                </a:cubicBezTo>
                <a:cubicBezTo>
                  <a:pt x="3058826" y="5483523"/>
                  <a:pt x="3054037" y="5478734"/>
                  <a:pt x="3054037" y="5472787"/>
                </a:cubicBezTo>
                <a:cubicBezTo>
                  <a:pt x="3054037" y="5466840"/>
                  <a:pt x="3058826" y="5462051"/>
                  <a:pt x="3064773" y="5462051"/>
                </a:cubicBezTo>
                <a:close/>
                <a:moveTo>
                  <a:pt x="2650002" y="5458582"/>
                </a:moveTo>
                <a:cubicBezTo>
                  <a:pt x="2655949" y="5458582"/>
                  <a:pt x="2660740" y="5463372"/>
                  <a:pt x="2660740" y="5469319"/>
                </a:cubicBezTo>
                <a:cubicBezTo>
                  <a:pt x="2660740" y="5475265"/>
                  <a:pt x="2655949" y="5480055"/>
                  <a:pt x="2650002" y="5480055"/>
                </a:cubicBezTo>
                <a:cubicBezTo>
                  <a:pt x="2644056" y="5480055"/>
                  <a:pt x="2639266" y="5475265"/>
                  <a:pt x="2639266" y="5469319"/>
                </a:cubicBezTo>
                <a:cubicBezTo>
                  <a:pt x="2639266" y="5463372"/>
                  <a:pt x="2644056" y="5458582"/>
                  <a:pt x="2650002" y="5458582"/>
                </a:cubicBezTo>
                <a:close/>
                <a:moveTo>
                  <a:pt x="1896446" y="5458582"/>
                </a:moveTo>
                <a:cubicBezTo>
                  <a:pt x="1902393" y="5458582"/>
                  <a:pt x="1907182" y="5463372"/>
                  <a:pt x="1907182" y="5469319"/>
                </a:cubicBezTo>
                <a:cubicBezTo>
                  <a:pt x="1907182" y="5475265"/>
                  <a:pt x="1902393" y="5480055"/>
                  <a:pt x="1896446" y="5480055"/>
                </a:cubicBezTo>
                <a:cubicBezTo>
                  <a:pt x="1890500" y="5480055"/>
                  <a:pt x="1885710" y="5475265"/>
                  <a:pt x="1885710" y="5469319"/>
                </a:cubicBezTo>
                <a:cubicBezTo>
                  <a:pt x="1885710" y="5463372"/>
                  <a:pt x="1890500" y="5458582"/>
                  <a:pt x="1896446" y="5458582"/>
                </a:cubicBezTo>
                <a:close/>
                <a:moveTo>
                  <a:pt x="3202039" y="5453132"/>
                </a:moveTo>
                <a:cubicBezTo>
                  <a:pt x="3207970" y="5453132"/>
                  <a:pt x="3212777" y="5457939"/>
                  <a:pt x="3212777" y="5463868"/>
                </a:cubicBezTo>
                <a:cubicBezTo>
                  <a:pt x="3212777" y="5469797"/>
                  <a:pt x="3207970" y="5474604"/>
                  <a:pt x="3202039" y="5474604"/>
                </a:cubicBezTo>
                <a:cubicBezTo>
                  <a:pt x="3196110" y="5474604"/>
                  <a:pt x="3191303" y="5469797"/>
                  <a:pt x="3191303" y="5463868"/>
                </a:cubicBezTo>
                <a:cubicBezTo>
                  <a:pt x="3191303" y="5457939"/>
                  <a:pt x="3196110" y="5453132"/>
                  <a:pt x="3202039" y="5453132"/>
                </a:cubicBezTo>
                <a:close/>
                <a:moveTo>
                  <a:pt x="1771073" y="5452636"/>
                </a:moveTo>
                <a:cubicBezTo>
                  <a:pt x="1777020" y="5452636"/>
                  <a:pt x="1781811" y="5457426"/>
                  <a:pt x="1781811" y="5463372"/>
                </a:cubicBezTo>
                <a:cubicBezTo>
                  <a:pt x="1781811" y="5469319"/>
                  <a:pt x="1777020" y="5474110"/>
                  <a:pt x="1771073" y="5474110"/>
                </a:cubicBezTo>
                <a:lnTo>
                  <a:pt x="1770577" y="5473614"/>
                </a:lnTo>
                <a:lnTo>
                  <a:pt x="1760502" y="5483688"/>
                </a:lnTo>
                <a:lnTo>
                  <a:pt x="1759676" y="5482863"/>
                </a:lnTo>
                <a:lnTo>
                  <a:pt x="1751416" y="5491123"/>
                </a:lnTo>
                <a:lnTo>
                  <a:pt x="1750259" y="5489968"/>
                </a:lnTo>
                <a:lnTo>
                  <a:pt x="1743323" y="5496903"/>
                </a:lnTo>
                <a:lnTo>
                  <a:pt x="1742084" y="5495664"/>
                </a:lnTo>
                <a:lnTo>
                  <a:pt x="1736219" y="5501528"/>
                </a:lnTo>
                <a:lnTo>
                  <a:pt x="1734898" y="5500206"/>
                </a:lnTo>
                <a:lnTo>
                  <a:pt x="1729777" y="5505327"/>
                </a:lnTo>
                <a:lnTo>
                  <a:pt x="1728374" y="5503924"/>
                </a:lnTo>
                <a:lnTo>
                  <a:pt x="1723830" y="5508466"/>
                </a:lnTo>
                <a:lnTo>
                  <a:pt x="1722592" y="5507228"/>
                </a:lnTo>
                <a:lnTo>
                  <a:pt x="1718380" y="5511439"/>
                </a:lnTo>
                <a:lnTo>
                  <a:pt x="1717142" y="5510200"/>
                </a:lnTo>
                <a:lnTo>
                  <a:pt x="1713094" y="5514248"/>
                </a:lnTo>
                <a:lnTo>
                  <a:pt x="1712185" y="5513339"/>
                </a:lnTo>
                <a:lnTo>
                  <a:pt x="1707973" y="5517552"/>
                </a:lnTo>
                <a:lnTo>
                  <a:pt x="1707231" y="5516809"/>
                </a:lnTo>
                <a:lnTo>
                  <a:pt x="1702854" y="5521185"/>
                </a:lnTo>
                <a:lnTo>
                  <a:pt x="1702441" y="5520774"/>
                </a:lnTo>
                <a:lnTo>
                  <a:pt x="1697568" y="5525647"/>
                </a:lnTo>
                <a:lnTo>
                  <a:pt x="1697320" y="5525399"/>
                </a:lnTo>
                <a:lnTo>
                  <a:pt x="1696494" y="5526224"/>
                </a:lnTo>
                <a:lnTo>
                  <a:pt x="1696907" y="5526637"/>
                </a:lnTo>
                <a:lnTo>
                  <a:pt x="1689474" y="5534070"/>
                </a:lnTo>
                <a:cubicBezTo>
                  <a:pt x="1689474" y="5539520"/>
                  <a:pt x="1685179" y="5543814"/>
                  <a:pt x="1679728" y="5543814"/>
                </a:cubicBezTo>
                <a:cubicBezTo>
                  <a:pt x="1674278" y="5543814"/>
                  <a:pt x="1669982" y="5539520"/>
                  <a:pt x="1669982" y="5534070"/>
                </a:cubicBezTo>
                <a:lnTo>
                  <a:pt x="1676425" y="5527629"/>
                </a:lnTo>
                <a:lnTo>
                  <a:pt x="1675433" y="5526637"/>
                </a:lnTo>
                <a:lnTo>
                  <a:pt x="1681627" y="5520442"/>
                </a:lnTo>
                <a:lnTo>
                  <a:pt x="1681214" y="5520030"/>
                </a:lnTo>
                <a:cubicBezTo>
                  <a:pt x="1681214" y="5514101"/>
                  <a:pt x="1686022" y="5509293"/>
                  <a:pt x="1691951" y="5509293"/>
                </a:cubicBezTo>
                <a:lnTo>
                  <a:pt x="1692199" y="5509541"/>
                </a:lnTo>
                <a:lnTo>
                  <a:pt x="1697568" y="5504172"/>
                </a:lnTo>
                <a:lnTo>
                  <a:pt x="1697981" y="5504585"/>
                </a:lnTo>
                <a:lnTo>
                  <a:pt x="1702854" y="5499712"/>
                </a:lnTo>
                <a:lnTo>
                  <a:pt x="1703598" y="5500456"/>
                </a:lnTo>
                <a:lnTo>
                  <a:pt x="1707973" y="5496079"/>
                </a:lnTo>
                <a:lnTo>
                  <a:pt x="1708882" y="5496988"/>
                </a:lnTo>
                <a:lnTo>
                  <a:pt x="1713094" y="5492773"/>
                </a:lnTo>
                <a:lnTo>
                  <a:pt x="1714334" y="5494013"/>
                </a:lnTo>
                <a:lnTo>
                  <a:pt x="1718380" y="5489966"/>
                </a:lnTo>
                <a:lnTo>
                  <a:pt x="1719620" y="5491206"/>
                </a:lnTo>
                <a:lnTo>
                  <a:pt x="1723830" y="5486993"/>
                </a:lnTo>
                <a:lnTo>
                  <a:pt x="1725235" y="5488398"/>
                </a:lnTo>
                <a:lnTo>
                  <a:pt x="1729777" y="5483855"/>
                </a:lnTo>
                <a:lnTo>
                  <a:pt x="1731098" y="5485176"/>
                </a:lnTo>
                <a:lnTo>
                  <a:pt x="1736219" y="5480055"/>
                </a:lnTo>
                <a:lnTo>
                  <a:pt x="1737459" y="5481295"/>
                </a:lnTo>
                <a:lnTo>
                  <a:pt x="1743323" y="5475430"/>
                </a:lnTo>
                <a:lnTo>
                  <a:pt x="1744479" y="5476587"/>
                </a:lnTo>
                <a:lnTo>
                  <a:pt x="1751416" y="5469648"/>
                </a:lnTo>
                <a:lnTo>
                  <a:pt x="1752243" y="5470475"/>
                </a:lnTo>
                <a:lnTo>
                  <a:pt x="1760502" y="5462215"/>
                </a:lnTo>
                <a:lnTo>
                  <a:pt x="1760998" y="5462711"/>
                </a:lnTo>
                <a:close/>
                <a:moveTo>
                  <a:pt x="2513397" y="5447515"/>
                </a:moveTo>
                <a:cubicBezTo>
                  <a:pt x="2519344" y="5447515"/>
                  <a:pt x="2524135" y="5452304"/>
                  <a:pt x="2524135" y="5458251"/>
                </a:cubicBezTo>
                <a:cubicBezTo>
                  <a:pt x="2524135" y="5464198"/>
                  <a:pt x="2519344" y="5468987"/>
                  <a:pt x="2513397" y="5468987"/>
                </a:cubicBezTo>
                <a:cubicBezTo>
                  <a:pt x="2507450" y="5468987"/>
                  <a:pt x="2502661" y="5464198"/>
                  <a:pt x="2502661" y="5458251"/>
                </a:cubicBezTo>
                <a:cubicBezTo>
                  <a:pt x="2502661" y="5452304"/>
                  <a:pt x="2507450" y="5447515"/>
                  <a:pt x="2513397" y="5447515"/>
                </a:cubicBezTo>
                <a:close/>
                <a:moveTo>
                  <a:pt x="2053038" y="5447515"/>
                </a:moveTo>
                <a:cubicBezTo>
                  <a:pt x="2058969" y="5447515"/>
                  <a:pt x="2063776" y="5452322"/>
                  <a:pt x="2063776" y="5458251"/>
                </a:cubicBezTo>
                <a:cubicBezTo>
                  <a:pt x="2063776" y="5464180"/>
                  <a:pt x="2058969" y="5468987"/>
                  <a:pt x="2053038" y="5468987"/>
                </a:cubicBezTo>
                <a:cubicBezTo>
                  <a:pt x="2047109" y="5468987"/>
                  <a:pt x="2042302" y="5464180"/>
                  <a:pt x="2042302" y="5458251"/>
                </a:cubicBezTo>
                <a:cubicBezTo>
                  <a:pt x="2042302" y="5452322"/>
                  <a:pt x="2047109" y="5447515"/>
                  <a:pt x="2053038" y="5447515"/>
                </a:cubicBezTo>
                <a:close/>
                <a:moveTo>
                  <a:pt x="2206656" y="5445368"/>
                </a:moveTo>
                <a:cubicBezTo>
                  <a:pt x="2212602" y="5445368"/>
                  <a:pt x="2217394" y="5450158"/>
                  <a:pt x="2217394" y="5456104"/>
                </a:cubicBezTo>
                <a:cubicBezTo>
                  <a:pt x="2217394" y="5462051"/>
                  <a:pt x="2212602" y="5466842"/>
                  <a:pt x="2206656" y="5466842"/>
                </a:cubicBezTo>
                <a:cubicBezTo>
                  <a:pt x="2200709" y="5466842"/>
                  <a:pt x="2195920" y="5462051"/>
                  <a:pt x="2195920" y="5456104"/>
                </a:cubicBezTo>
                <a:cubicBezTo>
                  <a:pt x="2195920" y="5450158"/>
                  <a:pt x="2200709" y="5445368"/>
                  <a:pt x="2206656" y="5445368"/>
                </a:cubicBezTo>
                <a:close/>
                <a:moveTo>
                  <a:pt x="1783131" y="5440743"/>
                </a:moveTo>
                <a:cubicBezTo>
                  <a:pt x="1789077" y="5440743"/>
                  <a:pt x="1793867" y="5445532"/>
                  <a:pt x="1793867" y="5451479"/>
                </a:cubicBezTo>
                <a:cubicBezTo>
                  <a:pt x="1793867" y="5457426"/>
                  <a:pt x="1789077" y="5462217"/>
                  <a:pt x="1783131" y="5462217"/>
                </a:cubicBezTo>
                <a:cubicBezTo>
                  <a:pt x="1777184" y="5462217"/>
                  <a:pt x="1772394" y="5457426"/>
                  <a:pt x="1772394" y="5451479"/>
                </a:cubicBezTo>
                <a:cubicBezTo>
                  <a:pt x="1772394" y="5445532"/>
                  <a:pt x="1777184" y="5440743"/>
                  <a:pt x="1783131" y="5440743"/>
                </a:cubicBezTo>
                <a:close/>
                <a:moveTo>
                  <a:pt x="1916929" y="5440411"/>
                </a:moveTo>
                <a:cubicBezTo>
                  <a:pt x="1922875" y="5440411"/>
                  <a:pt x="1927665" y="5445201"/>
                  <a:pt x="1927665" y="5451148"/>
                </a:cubicBezTo>
                <a:cubicBezTo>
                  <a:pt x="1927665" y="5457094"/>
                  <a:pt x="1922875" y="5461884"/>
                  <a:pt x="1916929" y="5461884"/>
                </a:cubicBezTo>
                <a:cubicBezTo>
                  <a:pt x="1910982" y="5461884"/>
                  <a:pt x="1906192" y="5457094"/>
                  <a:pt x="1906192" y="5451148"/>
                </a:cubicBezTo>
                <a:cubicBezTo>
                  <a:pt x="1906192" y="5445201"/>
                  <a:pt x="1910982" y="5440411"/>
                  <a:pt x="1916929" y="5440411"/>
                </a:cubicBezTo>
                <a:close/>
                <a:moveTo>
                  <a:pt x="3337488" y="5439586"/>
                </a:moveTo>
                <a:cubicBezTo>
                  <a:pt x="3343419" y="5439586"/>
                  <a:pt x="3348224" y="5444393"/>
                  <a:pt x="3348224" y="5450322"/>
                </a:cubicBezTo>
                <a:cubicBezTo>
                  <a:pt x="3348224" y="5456253"/>
                  <a:pt x="3343419" y="5461060"/>
                  <a:pt x="3337488" y="5461060"/>
                </a:cubicBezTo>
                <a:cubicBezTo>
                  <a:pt x="3331559" y="5461060"/>
                  <a:pt x="3326752" y="5456253"/>
                  <a:pt x="3326752" y="5450322"/>
                </a:cubicBezTo>
                <a:cubicBezTo>
                  <a:pt x="3326752" y="5444393"/>
                  <a:pt x="3331559" y="5439586"/>
                  <a:pt x="3337488" y="5439586"/>
                </a:cubicBezTo>
                <a:close/>
                <a:moveTo>
                  <a:pt x="2378940" y="5431822"/>
                </a:moveTo>
                <a:cubicBezTo>
                  <a:pt x="2384887" y="5431822"/>
                  <a:pt x="2389678" y="5436612"/>
                  <a:pt x="2389678" y="5442558"/>
                </a:cubicBezTo>
                <a:cubicBezTo>
                  <a:pt x="2389678" y="5448505"/>
                  <a:pt x="2384887" y="5453296"/>
                  <a:pt x="2378940" y="5453296"/>
                </a:cubicBezTo>
                <a:cubicBezTo>
                  <a:pt x="2372994" y="5453296"/>
                  <a:pt x="2368204" y="5448505"/>
                  <a:pt x="2368204" y="5442558"/>
                </a:cubicBezTo>
                <a:cubicBezTo>
                  <a:pt x="2368204" y="5436612"/>
                  <a:pt x="2372994" y="5431822"/>
                  <a:pt x="2378940" y="5431822"/>
                </a:cubicBezTo>
                <a:close/>
                <a:moveTo>
                  <a:pt x="1461359" y="5429675"/>
                </a:moveTo>
                <a:cubicBezTo>
                  <a:pt x="1461524" y="5429675"/>
                  <a:pt x="1461854" y="5430005"/>
                  <a:pt x="1461854" y="5430171"/>
                </a:cubicBezTo>
                <a:cubicBezTo>
                  <a:pt x="1461854" y="5430336"/>
                  <a:pt x="1461359" y="5430665"/>
                  <a:pt x="1461359" y="5430665"/>
                </a:cubicBezTo>
                <a:cubicBezTo>
                  <a:pt x="1461193" y="5430665"/>
                  <a:pt x="1460864" y="5430336"/>
                  <a:pt x="1460864" y="5430171"/>
                </a:cubicBezTo>
                <a:cubicBezTo>
                  <a:pt x="1460864" y="5430005"/>
                  <a:pt x="1461193" y="5429675"/>
                  <a:pt x="1461359" y="5429675"/>
                </a:cubicBezTo>
                <a:close/>
                <a:moveTo>
                  <a:pt x="1796841" y="5425875"/>
                </a:moveTo>
                <a:cubicBezTo>
                  <a:pt x="1802788" y="5425875"/>
                  <a:pt x="1807580" y="5430665"/>
                  <a:pt x="1807580" y="5436612"/>
                </a:cubicBezTo>
                <a:cubicBezTo>
                  <a:pt x="1807580" y="5442558"/>
                  <a:pt x="1802788" y="5447348"/>
                  <a:pt x="1796841" y="5447348"/>
                </a:cubicBezTo>
                <a:cubicBezTo>
                  <a:pt x="1790895" y="5447348"/>
                  <a:pt x="1786105" y="5442558"/>
                  <a:pt x="1786105" y="5436612"/>
                </a:cubicBezTo>
                <a:cubicBezTo>
                  <a:pt x="1786105" y="5430665"/>
                  <a:pt x="1790895" y="5425875"/>
                  <a:pt x="1796841" y="5425875"/>
                </a:cubicBezTo>
                <a:close/>
                <a:moveTo>
                  <a:pt x="3470458" y="5421582"/>
                </a:moveTo>
                <a:cubicBezTo>
                  <a:pt x="3476405" y="5421582"/>
                  <a:pt x="3481196" y="5426371"/>
                  <a:pt x="3481196" y="5432318"/>
                </a:cubicBezTo>
                <a:cubicBezTo>
                  <a:pt x="3481196" y="5438265"/>
                  <a:pt x="3476405" y="5443056"/>
                  <a:pt x="3470458" y="5443056"/>
                </a:cubicBezTo>
                <a:cubicBezTo>
                  <a:pt x="3464512" y="5443056"/>
                  <a:pt x="3459722" y="5438265"/>
                  <a:pt x="3459722" y="5432318"/>
                </a:cubicBezTo>
                <a:cubicBezTo>
                  <a:pt x="3459722" y="5426371"/>
                  <a:pt x="3464512" y="5421582"/>
                  <a:pt x="3470458" y="5421582"/>
                </a:cubicBezTo>
                <a:close/>
                <a:moveTo>
                  <a:pt x="2084422" y="5420094"/>
                </a:moveTo>
                <a:cubicBezTo>
                  <a:pt x="2090368" y="5420094"/>
                  <a:pt x="2095158" y="5424884"/>
                  <a:pt x="2095158" y="5430830"/>
                </a:cubicBezTo>
                <a:cubicBezTo>
                  <a:pt x="2095158" y="5436777"/>
                  <a:pt x="2090368" y="5441568"/>
                  <a:pt x="2084422" y="5441568"/>
                </a:cubicBezTo>
                <a:cubicBezTo>
                  <a:pt x="2078475" y="5441568"/>
                  <a:pt x="2073685" y="5436777"/>
                  <a:pt x="2073685" y="5430830"/>
                </a:cubicBezTo>
                <a:cubicBezTo>
                  <a:pt x="2073685" y="5424884"/>
                  <a:pt x="2078475" y="5420094"/>
                  <a:pt x="2084422" y="5420094"/>
                </a:cubicBezTo>
                <a:close/>
                <a:moveTo>
                  <a:pt x="1939888" y="5417947"/>
                </a:moveTo>
                <a:cubicBezTo>
                  <a:pt x="1945834" y="5417947"/>
                  <a:pt x="1950624" y="5422737"/>
                  <a:pt x="1950624" y="5428683"/>
                </a:cubicBezTo>
                <a:cubicBezTo>
                  <a:pt x="1950624" y="5434630"/>
                  <a:pt x="1945834" y="5439421"/>
                  <a:pt x="1939888" y="5439421"/>
                </a:cubicBezTo>
                <a:cubicBezTo>
                  <a:pt x="1933941" y="5439421"/>
                  <a:pt x="1929151" y="5434630"/>
                  <a:pt x="1929151" y="5428683"/>
                </a:cubicBezTo>
                <a:cubicBezTo>
                  <a:pt x="1929151" y="5422737"/>
                  <a:pt x="1933941" y="5417947"/>
                  <a:pt x="1939888" y="5417947"/>
                </a:cubicBezTo>
                <a:close/>
                <a:moveTo>
                  <a:pt x="2855984" y="5417121"/>
                </a:moveTo>
                <a:cubicBezTo>
                  <a:pt x="2861930" y="5417121"/>
                  <a:pt x="2866722" y="5421911"/>
                  <a:pt x="2866722" y="5427858"/>
                </a:cubicBezTo>
                <a:cubicBezTo>
                  <a:pt x="2866722" y="5433804"/>
                  <a:pt x="2861930" y="5438594"/>
                  <a:pt x="2855984" y="5438594"/>
                </a:cubicBezTo>
                <a:cubicBezTo>
                  <a:pt x="2850037" y="5438594"/>
                  <a:pt x="2845248" y="5433804"/>
                  <a:pt x="2845248" y="5427858"/>
                </a:cubicBezTo>
                <a:cubicBezTo>
                  <a:pt x="2845248" y="5421911"/>
                  <a:pt x="2850037" y="5417121"/>
                  <a:pt x="2855984" y="5417121"/>
                </a:cubicBezTo>
                <a:close/>
                <a:moveTo>
                  <a:pt x="2999526" y="5415800"/>
                </a:moveTo>
                <a:cubicBezTo>
                  <a:pt x="3005472" y="5415800"/>
                  <a:pt x="3010264" y="5420590"/>
                  <a:pt x="3010264" y="5426536"/>
                </a:cubicBezTo>
                <a:cubicBezTo>
                  <a:pt x="3010264" y="5432483"/>
                  <a:pt x="3005472" y="5437274"/>
                  <a:pt x="2999526" y="5437274"/>
                </a:cubicBezTo>
                <a:cubicBezTo>
                  <a:pt x="2993580" y="5437274"/>
                  <a:pt x="2988790" y="5432483"/>
                  <a:pt x="2988790" y="5426536"/>
                </a:cubicBezTo>
                <a:cubicBezTo>
                  <a:pt x="2988790" y="5420590"/>
                  <a:pt x="2993580" y="5415800"/>
                  <a:pt x="2999526" y="5415800"/>
                </a:cubicBezTo>
                <a:close/>
                <a:moveTo>
                  <a:pt x="2712440" y="5413322"/>
                </a:moveTo>
                <a:cubicBezTo>
                  <a:pt x="2718386" y="5413322"/>
                  <a:pt x="2723178" y="5418112"/>
                  <a:pt x="2723178" y="5424058"/>
                </a:cubicBezTo>
                <a:cubicBezTo>
                  <a:pt x="2723178" y="5430005"/>
                  <a:pt x="2718386" y="5434796"/>
                  <a:pt x="2712440" y="5434796"/>
                </a:cubicBezTo>
                <a:cubicBezTo>
                  <a:pt x="2706494" y="5434796"/>
                  <a:pt x="2701704" y="5430005"/>
                  <a:pt x="2701704" y="5424058"/>
                </a:cubicBezTo>
                <a:cubicBezTo>
                  <a:pt x="2701704" y="5418112"/>
                  <a:pt x="2706494" y="5413322"/>
                  <a:pt x="2712440" y="5413322"/>
                </a:cubicBezTo>
                <a:close/>
                <a:moveTo>
                  <a:pt x="2247290" y="5411671"/>
                </a:moveTo>
                <a:cubicBezTo>
                  <a:pt x="2253236" y="5411671"/>
                  <a:pt x="2258028" y="5416461"/>
                  <a:pt x="2258028" y="5422407"/>
                </a:cubicBezTo>
                <a:cubicBezTo>
                  <a:pt x="2258028" y="5428354"/>
                  <a:pt x="2253236" y="5433145"/>
                  <a:pt x="2247290" y="5433145"/>
                </a:cubicBezTo>
                <a:cubicBezTo>
                  <a:pt x="2241343" y="5433145"/>
                  <a:pt x="2236553" y="5428354"/>
                  <a:pt x="2236553" y="5422407"/>
                </a:cubicBezTo>
                <a:cubicBezTo>
                  <a:pt x="2236553" y="5416461"/>
                  <a:pt x="2241343" y="5411671"/>
                  <a:pt x="2247290" y="5411671"/>
                </a:cubicBezTo>
                <a:close/>
                <a:moveTo>
                  <a:pt x="3142574" y="5409193"/>
                </a:moveTo>
                <a:cubicBezTo>
                  <a:pt x="3148520" y="5409193"/>
                  <a:pt x="3153310" y="5413982"/>
                  <a:pt x="3153310" y="5419929"/>
                </a:cubicBezTo>
                <a:cubicBezTo>
                  <a:pt x="3153310" y="5425875"/>
                  <a:pt x="3148520" y="5430667"/>
                  <a:pt x="3142574" y="5430667"/>
                </a:cubicBezTo>
                <a:cubicBezTo>
                  <a:pt x="3136627" y="5430667"/>
                  <a:pt x="3131838" y="5425875"/>
                  <a:pt x="3131838" y="5419929"/>
                </a:cubicBezTo>
                <a:cubicBezTo>
                  <a:pt x="3131838" y="5413982"/>
                  <a:pt x="3136627" y="5409193"/>
                  <a:pt x="3142574" y="5409193"/>
                </a:cubicBezTo>
                <a:close/>
                <a:moveTo>
                  <a:pt x="1812864" y="5407540"/>
                </a:moveTo>
                <a:cubicBezTo>
                  <a:pt x="1818810" y="5407540"/>
                  <a:pt x="1823602" y="5412330"/>
                  <a:pt x="1823602" y="5418276"/>
                </a:cubicBezTo>
                <a:cubicBezTo>
                  <a:pt x="1823602" y="5424223"/>
                  <a:pt x="1818810" y="5429014"/>
                  <a:pt x="1812864" y="5429014"/>
                </a:cubicBezTo>
                <a:cubicBezTo>
                  <a:pt x="1806917" y="5429014"/>
                  <a:pt x="1802127" y="5424223"/>
                  <a:pt x="1802127" y="5418276"/>
                </a:cubicBezTo>
                <a:cubicBezTo>
                  <a:pt x="1802127" y="5412330"/>
                  <a:pt x="1806917" y="5407540"/>
                  <a:pt x="1812864" y="5407540"/>
                </a:cubicBezTo>
                <a:close/>
                <a:moveTo>
                  <a:pt x="1691621" y="5405889"/>
                </a:moveTo>
                <a:cubicBezTo>
                  <a:pt x="1697568" y="5405889"/>
                  <a:pt x="1702358" y="5410679"/>
                  <a:pt x="1702358" y="5416625"/>
                </a:cubicBezTo>
                <a:lnTo>
                  <a:pt x="1692116" y="5426867"/>
                </a:lnTo>
                <a:lnTo>
                  <a:pt x="1694098" y="5428850"/>
                </a:lnTo>
                <a:lnTo>
                  <a:pt x="1685508" y="5437439"/>
                </a:lnTo>
                <a:lnTo>
                  <a:pt x="1686994" y="5438925"/>
                </a:lnTo>
                <a:lnTo>
                  <a:pt x="1680141" y="5445780"/>
                </a:lnTo>
                <a:lnTo>
                  <a:pt x="1681214" y="5446854"/>
                </a:lnTo>
                <a:lnTo>
                  <a:pt x="1675434" y="5452636"/>
                </a:lnTo>
                <a:lnTo>
                  <a:pt x="1676095" y="5453296"/>
                </a:lnTo>
                <a:lnTo>
                  <a:pt x="1671220" y="5458171"/>
                </a:lnTo>
                <a:lnTo>
                  <a:pt x="1671798" y="5458747"/>
                </a:lnTo>
                <a:lnTo>
                  <a:pt x="1667670" y="5462874"/>
                </a:lnTo>
                <a:lnTo>
                  <a:pt x="1668002" y="5463206"/>
                </a:lnTo>
                <a:lnTo>
                  <a:pt x="1664284" y="5466925"/>
                </a:lnTo>
                <a:lnTo>
                  <a:pt x="1664530" y="5467172"/>
                </a:lnTo>
                <a:lnTo>
                  <a:pt x="1660980" y="5470722"/>
                </a:lnTo>
                <a:lnTo>
                  <a:pt x="1661228" y="5470970"/>
                </a:lnTo>
                <a:lnTo>
                  <a:pt x="1657676" y="5474521"/>
                </a:lnTo>
                <a:lnTo>
                  <a:pt x="1657924" y="5474769"/>
                </a:lnTo>
                <a:lnTo>
                  <a:pt x="1654206" y="5478487"/>
                </a:lnTo>
                <a:lnTo>
                  <a:pt x="1654619" y="5478898"/>
                </a:lnTo>
                <a:lnTo>
                  <a:pt x="1650490" y="5483029"/>
                </a:lnTo>
                <a:lnTo>
                  <a:pt x="1651151" y="5483690"/>
                </a:lnTo>
                <a:lnTo>
                  <a:pt x="1646527" y="5488315"/>
                </a:lnTo>
                <a:lnTo>
                  <a:pt x="1647353" y="5489140"/>
                </a:lnTo>
                <a:lnTo>
                  <a:pt x="1642150" y="5494343"/>
                </a:lnTo>
                <a:lnTo>
                  <a:pt x="1643224" y="5495416"/>
                </a:lnTo>
                <a:lnTo>
                  <a:pt x="1637192" y="5501446"/>
                </a:lnTo>
                <a:lnTo>
                  <a:pt x="1638597" y="5502851"/>
                </a:lnTo>
                <a:cubicBezTo>
                  <a:pt x="1638597" y="5508797"/>
                  <a:pt x="1633807" y="5513587"/>
                  <a:pt x="1627860" y="5513587"/>
                </a:cubicBezTo>
                <a:lnTo>
                  <a:pt x="1626458" y="5512184"/>
                </a:lnTo>
                <a:lnTo>
                  <a:pt x="1622576" y="5516064"/>
                </a:lnTo>
                <a:cubicBezTo>
                  <a:pt x="1620112" y="5516064"/>
                  <a:pt x="1618116" y="5514068"/>
                  <a:pt x="1618116" y="5511605"/>
                </a:cubicBezTo>
                <a:lnTo>
                  <a:pt x="1621997" y="5507724"/>
                </a:lnTo>
                <a:lnTo>
                  <a:pt x="1617124" y="5502851"/>
                </a:lnTo>
                <a:lnTo>
                  <a:pt x="1623154" y="5496821"/>
                </a:lnTo>
                <a:lnTo>
                  <a:pt x="1621749" y="5495416"/>
                </a:lnTo>
                <a:lnTo>
                  <a:pt x="1626952" y="5490214"/>
                </a:lnTo>
                <a:lnTo>
                  <a:pt x="1625878" y="5489140"/>
                </a:lnTo>
                <a:lnTo>
                  <a:pt x="1630503" y="5484515"/>
                </a:lnTo>
                <a:lnTo>
                  <a:pt x="1629678" y="5483690"/>
                </a:lnTo>
                <a:lnTo>
                  <a:pt x="1633809" y="5479561"/>
                </a:lnTo>
                <a:lnTo>
                  <a:pt x="1633146" y="5478898"/>
                </a:lnTo>
                <a:lnTo>
                  <a:pt x="1636863" y="5475182"/>
                </a:lnTo>
                <a:lnTo>
                  <a:pt x="1636450" y="5474769"/>
                </a:lnTo>
                <a:lnTo>
                  <a:pt x="1640002" y="5471218"/>
                </a:lnTo>
                <a:lnTo>
                  <a:pt x="1639754" y="5470970"/>
                </a:lnTo>
                <a:lnTo>
                  <a:pt x="1643305" y="5467420"/>
                </a:lnTo>
                <a:lnTo>
                  <a:pt x="1643057" y="5467172"/>
                </a:lnTo>
                <a:lnTo>
                  <a:pt x="1646775" y="5463454"/>
                </a:lnTo>
                <a:lnTo>
                  <a:pt x="1646527" y="5463206"/>
                </a:lnTo>
                <a:lnTo>
                  <a:pt x="1650656" y="5459078"/>
                </a:lnTo>
                <a:lnTo>
                  <a:pt x="1650325" y="5458747"/>
                </a:lnTo>
                <a:lnTo>
                  <a:pt x="1655198" y="5453874"/>
                </a:lnTo>
                <a:lnTo>
                  <a:pt x="1654621" y="5453296"/>
                </a:lnTo>
                <a:lnTo>
                  <a:pt x="1660402" y="5447515"/>
                </a:lnTo>
                <a:lnTo>
                  <a:pt x="1659742" y="5446854"/>
                </a:lnTo>
                <a:lnTo>
                  <a:pt x="1666595" y="5440000"/>
                </a:lnTo>
                <a:lnTo>
                  <a:pt x="1665522" y="5438925"/>
                </a:lnTo>
                <a:lnTo>
                  <a:pt x="1674111" y="5430336"/>
                </a:lnTo>
                <a:lnTo>
                  <a:pt x="1672625" y="5428850"/>
                </a:lnTo>
                <a:lnTo>
                  <a:pt x="1682867" y="5418608"/>
                </a:lnTo>
                <a:lnTo>
                  <a:pt x="1680885" y="5416625"/>
                </a:lnTo>
                <a:cubicBezTo>
                  <a:pt x="1680885" y="5410679"/>
                  <a:pt x="1685675" y="5405889"/>
                  <a:pt x="1691621" y="5405889"/>
                </a:cubicBezTo>
                <a:close/>
                <a:moveTo>
                  <a:pt x="2570219" y="5404403"/>
                </a:moveTo>
                <a:cubicBezTo>
                  <a:pt x="2576166" y="5404403"/>
                  <a:pt x="2580958" y="5409193"/>
                  <a:pt x="2580958" y="5415139"/>
                </a:cubicBezTo>
                <a:cubicBezTo>
                  <a:pt x="2580958" y="5421086"/>
                  <a:pt x="2576166" y="5425875"/>
                  <a:pt x="2570219" y="5425875"/>
                </a:cubicBezTo>
                <a:cubicBezTo>
                  <a:pt x="2564273" y="5425875"/>
                  <a:pt x="2559483" y="5421086"/>
                  <a:pt x="2559483" y="5415139"/>
                </a:cubicBezTo>
                <a:cubicBezTo>
                  <a:pt x="2559483" y="5409193"/>
                  <a:pt x="2564273" y="5404403"/>
                  <a:pt x="2570219" y="5404403"/>
                </a:cubicBezTo>
                <a:close/>
                <a:moveTo>
                  <a:pt x="3283969" y="5397464"/>
                </a:moveTo>
                <a:cubicBezTo>
                  <a:pt x="3289916" y="5397464"/>
                  <a:pt x="3294707" y="5402254"/>
                  <a:pt x="3294707" y="5408201"/>
                </a:cubicBezTo>
                <a:cubicBezTo>
                  <a:pt x="3294707" y="5414147"/>
                  <a:pt x="3289916" y="5418937"/>
                  <a:pt x="3283969" y="5418937"/>
                </a:cubicBezTo>
                <a:cubicBezTo>
                  <a:pt x="3278022" y="5418937"/>
                  <a:pt x="3273233" y="5414147"/>
                  <a:pt x="3273233" y="5408201"/>
                </a:cubicBezTo>
                <a:cubicBezTo>
                  <a:pt x="3273233" y="5402254"/>
                  <a:pt x="3278022" y="5397464"/>
                  <a:pt x="3283969" y="5397464"/>
                </a:cubicBezTo>
                <a:close/>
                <a:moveTo>
                  <a:pt x="1965987" y="5391022"/>
                </a:moveTo>
                <a:cubicBezTo>
                  <a:pt x="1971934" y="5391022"/>
                  <a:pt x="1976723" y="5395812"/>
                  <a:pt x="1976723" y="5401758"/>
                </a:cubicBezTo>
                <a:cubicBezTo>
                  <a:pt x="1976723" y="5407705"/>
                  <a:pt x="1971934" y="5412496"/>
                  <a:pt x="1965987" y="5412496"/>
                </a:cubicBezTo>
                <a:cubicBezTo>
                  <a:pt x="1960040" y="5412496"/>
                  <a:pt x="1955251" y="5407705"/>
                  <a:pt x="1955251" y="5401758"/>
                </a:cubicBezTo>
                <a:cubicBezTo>
                  <a:pt x="1955251" y="5395812"/>
                  <a:pt x="1960040" y="5391022"/>
                  <a:pt x="1965987" y="5391022"/>
                </a:cubicBezTo>
                <a:close/>
                <a:moveTo>
                  <a:pt x="1701366" y="5390857"/>
                </a:moveTo>
                <a:cubicBezTo>
                  <a:pt x="1707312" y="5390857"/>
                  <a:pt x="1712104" y="5395647"/>
                  <a:pt x="1712104" y="5401593"/>
                </a:cubicBezTo>
                <a:cubicBezTo>
                  <a:pt x="1712104" y="5407540"/>
                  <a:pt x="1707312" y="5412330"/>
                  <a:pt x="1701366" y="5412330"/>
                </a:cubicBezTo>
                <a:cubicBezTo>
                  <a:pt x="1695419" y="5412330"/>
                  <a:pt x="1690629" y="5407540"/>
                  <a:pt x="1690629" y="5401593"/>
                </a:cubicBezTo>
                <a:cubicBezTo>
                  <a:pt x="1690629" y="5395647"/>
                  <a:pt x="1695419" y="5390857"/>
                  <a:pt x="1701366" y="5390857"/>
                </a:cubicBezTo>
                <a:close/>
                <a:moveTo>
                  <a:pt x="2429816" y="5390363"/>
                </a:moveTo>
                <a:cubicBezTo>
                  <a:pt x="2435763" y="5390363"/>
                  <a:pt x="2440554" y="5395153"/>
                  <a:pt x="2440554" y="5401099"/>
                </a:cubicBezTo>
                <a:cubicBezTo>
                  <a:pt x="2440554" y="5407046"/>
                  <a:pt x="2435763" y="5411836"/>
                  <a:pt x="2429816" y="5411836"/>
                </a:cubicBezTo>
                <a:cubicBezTo>
                  <a:pt x="2423870" y="5411836"/>
                  <a:pt x="2419080" y="5407046"/>
                  <a:pt x="2419080" y="5401099"/>
                </a:cubicBezTo>
                <a:cubicBezTo>
                  <a:pt x="2419080" y="5395153"/>
                  <a:pt x="2423870" y="5390363"/>
                  <a:pt x="2429816" y="5390363"/>
                </a:cubicBezTo>
                <a:close/>
                <a:moveTo>
                  <a:pt x="2119275" y="5387224"/>
                </a:moveTo>
                <a:cubicBezTo>
                  <a:pt x="2125222" y="5387224"/>
                  <a:pt x="2130012" y="5392014"/>
                  <a:pt x="2130012" y="5397960"/>
                </a:cubicBezTo>
                <a:cubicBezTo>
                  <a:pt x="2130012" y="5403907"/>
                  <a:pt x="2125222" y="5408697"/>
                  <a:pt x="2119275" y="5408697"/>
                </a:cubicBezTo>
                <a:cubicBezTo>
                  <a:pt x="2113329" y="5408697"/>
                  <a:pt x="2108539" y="5403907"/>
                  <a:pt x="2108539" y="5397960"/>
                </a:cubicBezTo>
                <a:cubicBezTo>
                  <a:pt x="2108539" y="5392014"/>
                  <a:pt x="2113329" y="5387224"/>
                  <a:pt x="2119275" y="5387224"/>
                </a:cubicBezTo>
                <a:close/>
                <a:moveTo>
                  <a:pt x="1831033" y="5385407"/>
                </a:moveTo>
                <a:cubicBezTo>
                  <a:pt x="1836979" y="5385407"/>
                  <a:pt x="1841771" y="5390196"/>
                  <a:pt x="1841771" y="5396143"/>
                </a:cubicBezTo>
                <a:cubicBezTo>
                  <a:pt x="1841771" y="5402089"/>
                  <a:pt x="1836979" y="5406881"/>
                  <a:pt x="1831033" y="5406881"/>
                </a:cubicBezTo>
                <a:cubicBezTo>
                  <a:pt x="1825086" y="5406881"/>
                  <a:pt x="1820296" y="5402089"/>
                  <a:pt x="1820296" y="5396143"/>
                </a:cubicBezTo>
                <a:cubicBezTo>
                  <a:pt x="1820296" y="5390196"/>
                  <a:pt x="1825086" y="5385407"/>
                  <a:pt x="1831033" y="5385407"/>
                </a:cubicBezTo>
                <a:close/>
                <a:moveTo>
                  <a:pt x="3422886" y="5380946"/>
                </a:moveTo>
                <a:cubicBezTo>
                  <a:pt x="3428833" y="5380946"/>
                  <a:pt x="3433622" y="5385736"/>
                  <a:pt x="3433622" y="5391683"/>
                </a:cubicBezTo>
                <a:cubicBezTo>
                  <a:pt x="3433622" y="5397629"/>
                  <a:pt x="3428833" y="5402419"/>
                  <a:pt x="3422886" y="5402419"/>
                </a:cubicBezTo>
                <a:cubicBezTo>
                  <a:pt x="3416940" y="5402419"/>
                  <a:pt x="3412150" y="5397629"/>
                  <a:pt x="3412150" y="5391683"/>
                </a:cubicBezTo>
                <a:cubicBezTo>
                  <a:pt x="3412150" y="5385736"/>
                  <a:pt x="3416940" y="5380946"/>
                  <a:pt x="3422886" y="5380946"/>
                </a:cubicBezTo>
                <a:close/>
                <a:moveTo>
                  <a:pt x="1712929" y="5372357"/>
                </a:moveTo>
                <a:cubicBezTo>
                  <a:pt x="1718876" y="5372357"/>
                  <a:pt x="1723666" y="5377147"/>
                  <a:pt x="1723666" y="5383093"/>
                </a:cubicBezTo>
                <a:cubicBezTo>
                  <a:pt x="1723666" y="5389040"/>
                  <a:pt x="1718876" y="5393829"/>
                  <a:pt x="1712929" y="5393829"/>
                </a:cubicBezTo>
                <a:cubicBezTo>
                  <a:pt x="1706983" y="5393829"/>
                  <a:pt x="1702193" y="5389040"/>
                  <a:pt x="1702193" y="5383093"/>
                </a:cubicBezTo>
                <a:cubicBezTo>
                  <a:pt x="1702193" y="5377147"/>
                  <a:pt x="1706983" y="5372357"/>
                  <a:pt x="1712929" y="5372357"/>
                </a:cubicBezTo>
                <a:close/>
                <a:moveTo>
                  <a:pt x="2292054" y="5371696"/>
                </a:moveTo>
                <a:cubicBezTo>
                  <a:pt x="2298000" y="5371696"/>
                  <a:pt x="2302792" y="5376486"/>
                  <a:pt x="2302792" y="5382432"/>
                </a:cubicBezTo>
                <a:cubicBezTo>
                  <a:pt x="2302792" y="5388379"/>
                  <a:pt x="2298000" y="5393169"/>
                  <a:pt x="2292054" y="5393169"/>
                </a:cubicBezTo>
                <a:cubicBezTo>
                  <a:pt x="2286108" y="5393169"/>
                  <a:pt x="2281318" y="5388379"/>
                  <a:pt x="2281318" y="5382432"/>
                </a:cubicBezTo>
                <a:cubicBezTo>
                  <a:pt x="2281318" y="5376486"/>
                  <a:pt x="2286108" y="5371696"/>
                  <a:pt x="2292054" y="5371696"/>
                </a:cubicBezTo>
                <a:close/>
                <a:moveTo>
                  <a:pt x="1603910" y="5369220"/>
                </a:moveTo>
                <a:cubicBezTo>
                  <a:pt x="1609856" y="5369220"/>
                  <a:pt x="1614648" y="5374009"/>
                  <a:pt x="1614648" y="5379956"/>
                </a:cubicBezTo>
                <a:lnTo>
                  <a:pt x="1605975" y="5388629"/>
                </a:lnTo>
                <a:lnTo>
                  <a:pt x="1610023" y="5392674"/>
                </a:lnTo>
                <a:lnTo>
                  <a:pt x="1602919" y="5399778"/>
                </a:lnTo>
                <a:lnTo>
                  <a:pt x="1606388" y="5403246"/>
                </a:lnTo>
                <a:lnTo>
                  <a:pt x="1600606" y="5409028"/>
                </a:lnTo>
                <a:lnTo>
                  <a:pt x="1603414" y="5411836"/>
                </a:lnTo>
                <a:lnTo>
                  <a:pt x="1598624" y="5416625"/>
                </a:lnTo>
                <a:lnTo>
                  <a:pt x="1601267" y="5419268"/>
                </a:lnTo>
                <a:lnTo>
                  <a:pt x="1597384" y="5423151"/>
                </a:lnTo>
                <a:lnTo>
                  <a:pt x="1599614" y="5425380"/>
                </a:lnTo>
                <a:lnTo>
                  <a:pt x="1596229" y="5428765"/>
                </a:lnTo>
                <a:lnTo>
                  <a:pt x="1598130" y="5430665"/>
                </a:lnTo>
                <a:lnTo>
                  <a:pt x="1594991" y="5433806"/>
                </a:lnTo>
                <a:lnTo>
                  <a:pt x="1596806" y="5435622"/>
                </a:lnTo>
                <a:lnTo>
                  <a:pt x="1593751" y="5438677"/>
                </a:lnTo>
                <a:lnTo>
                  <a:pt x="1595485" y="5440411"/>
                </a:lnTo>
                <a:lnTo>
                  <a:pt x="1592429" y="5443467"/>
                </a:lnTo>
                <a:lnTo>
                  <a:pt x="1594165" y="5445201"/>
                </a:lnTo>
                <a:lnTo>
                  <a:pt x="1590695" y="5448671"/>
                </a:lnTo>
                <a:lnTo>
                  <a:pt x="1592512" y="5450487"/>
                </a:lnTo>
                <a:lnTo>
                  <a:pt x="1588630" y="5454370"/>
                </a:lnTo>
                <a:lnTo>
                  <a:pt x="1590530" y="5456269"/>
                </a:lnTo>
                <a:lnTo>
                  <a:pt x="1586153" y="5460646"/>
                </a:lnTo>
                <a:lnTo>
                  <a:pt x="1588219" y="5462711"/>
                </a:lnTo>
                <a:lnTo>
                  <a:pt x="1582933" y="5467997"/>
                </a:lnTo>
                <a:lnTo>
                  <a:pt x="1585244" y="5470309"/>
                </a:lnTo>
                <a:lnTo>
                  <a:pt x="1579132" y="5476420"/>
                </a:lnTo>
                <a:lnTo>
                  <a:pt x="1581445" y="5478734"/>
                </a:lnTo>
                <a:cubicBezTo>
                  <a:pt x="1581445" y="5484515"/>
                  <a:pt x="1576655" y="5489305"/>
                  <a:pt x="1570873" y="5489305"/>
                </a:cubicBezTo>
                <a:cubicBezTo>
                  <a:pt x="1565092" y="5489305"/>
                  <a:pt x="1560302" y="5484515"/>
                  <a:pt x="1560302" y="5478734"/>
                </a:cubicBezTo>
                <a:lnTo>
                  <a:pt x="1566248" y="5472787"/>
                </a:lnTo>
                <a:lnTo>
                  <a:pt x="1563770" y="5470309"/>
                </a:lnTo>
                <a:lnTo>
                  <a:pt x="1569056" y="5465023"/>
                </a:lnTo>
                <a:lnTo>
                  <a:pt x="1566744" y="5462711"/>
                </a:lnTo>
                <a:lnTo>
                  <a:pt x="1571121" y="5458334"/>
                </a:lnTo>
                <a:lnTo>
                  <a:pt x="1569056" y="5456269"/>
                </a:lnTo>
                <a:lnTo>
                  <a:pt x="1572939" y="5452388"/>
                </a:lnTo>
                <a:lnTo>
                  <a:pt x="1571038" y="5450487"/>
                </a:lnTo>
                <a:lnTo>
                  <a:pt x="1574506" y="5447019"/>
                </a:lnTo>
                <a:lnTo>
                  <a:pt x="1572691" y="5445201"/>
                </a:lnTo>
                <a:lnTo>
                  <a:pt x="1575746" y="5442146"/>
                </a:lnTo>
                <a:lnTo>
                  <a:pt x="1574012" y="5440411"/>
                </a:lnTo>
                <a:lnTo>
                  <a:pt x="1577068" y="5437356"/>
                </a:lnTo>
                <a:lnTo>
                  <a:pt x="1575334" y="5435622"/>
                </a:lnTo>
                <a:lnTo>
                  <a:pt x="1578472" y="5432483"/>
                </a:lnTo>
                <a:lnTo>
                  <a:pt x="1576655" y="5430665"/>
                </a:lnTo>
                <a:lnTo>
                  <a:pt x="1580042" y="5427280"/>
                </a:lnTo>
                <a:lnTo>
                  <a:pt x="1578141" y="5425380"/>
                </a:lnTo>
                <a:lnTo>
                  <a:pt x="1582022" y="5421498"/>
                </a:lnTo>
                <a:lnTo>
                  <a:pt x="1579792" y="5419268"/>
                </a:lnTo>
                <a:lnTo>
                  <a:pt x="1584584" y="5414478"/>
                </a:lnTo>
                <a:lnTo>
                  <a:pt x="1581941" y="5411836"/>
                </a:lnTo>
                <a:lnTo>
                  <a:pt x="1587723" y="5406055"/>
                </a:lnTo>
                <a:lnTo>
                  <a:pt x="1584913" y="5403246"/>
                </a:lnTo>
                <a:lnTo>
                  <a:pt x="1592016" y="5396143"/>
                </a:lnTo>
                <a:lnTo>
                  <a:pt x="1588548" y="5392674"/>
                </a:lnTo>
                <a:lnTo>
                  <a:pt x="1597221" y="5384004"/>
                </a:lnTo>
                <a:lnTo>
                  <a:pt x="1593173" y="5379956"/>
                </a:lnTo>
                <a:cubicBezTo>
                  <a:pt x="1593173" y="5374009"/>
                  <a:pt x="1597963" y="5369220"/>
                  <a:pt x="1603910" y="5369220"/>
                </a:cubicBezTo>
                <a:close/>
                <a:moveTo>
                  <a:pt x="1357626" y="5366906"/>
                </a:moveTo>
                <a:cubicBezTo>
                  <a:pt x="1357790" y="5366906"/>
                  <a:pt x="1358120" y="5367237"/>
                  <a:pt x="1358120" y="5367402"/>
                </a:cubicBezTo>
                <a:cubicBezTo>
                  <a:pt x="1358120" y="5367567"/>
                  <a:pt x="1357626" y="5367896"/>
                  <a:pt x="1357626" y="5367896"/>
                </a:cubicBezTo>
                <a:cubicBezTo>
                  <a:pt x="1357459" y="5367896"/>
                  <a:pt x="1357130" y="5367567"/>
                  <a:pt x="1357130" y="5367402"/>
                </a:cubicBezTo>
                <a:cubicBezTo>
                  <a:pt x="1357130" y="5367237"/>
                  <a:pt x="1357459" y="5366906"/>
                  <a:pt x="1357626" y="5366906"/>
                </a:cubicBezTo>
                <a:close/>
                <a:moveTo>
                  <a:pt x="2929160" y="5361785"/>
                </a:moveTo>
                <a:cubicBezTo>
                  <a:pt x="2935090" y="5361785"/>
                  <a:pt x="2939896" y="5366592"/>
                  <a:pt x="2939896" y="5372521"/>
                </a:cubicBezTo>
                <a:cubicBezTo>
                  <a:pt x="2939896" y="5378451"/>
                  <a:pt x="2935090" y="5383258"/>
                  <a:pt x="2929160" y="5383258"/>
                </a:cubicBezTo>
                <a:cubicBezTo>
                  <a:pt x="2923230" y="5383258"/>
                  <a:pt x="2918423" y="5378451"/>
                  <a:pt x="2918423" y="5372521"/>
                </a:cubicBezTo>
                <a:cubicBezTo>
                  <a:pt x="2918423" y="5366592"/>
                  <a:pt x="2923230" y="5361785"/>
                  <a:pt x="2929160" y="5361785"/>
                </a:cubicBezTo>
                <a:close/>
                <a:moveTo>
                  <a:pt x="2780165" y="5360628"/>
                </a:moveTo>
                <a:cubicBezTo>
                  <a:pt x="2786112" y="5360628"/>
                  <a:pt x="2790903" y="5365418"/>
                  <a:pt x="2790903" y="5371365"/>
                </a:cubicBezTo>
                <a:cubicBezTo>
                  <a:pt x="2790903" y="5377311"/>
                  <a:pt x="2786112" y="5382103"/>
                  <a:pt x="2780165" y="5382103"/>
                </a:cubicBezTo>
                <a:cubicBezTo>
                  <a:pt x="2774219" y="5382103"/>
                  <a:pt x="2769429" y="5377311"/>
                  <a:pt x="2769429" y="5371365"/>
                </a:cubicBezTo>
                <a:cubicBezTo>
                  <a:pt x="2769429" y="5365418"/>
                  <a:pt x="2774219" y="5360628"/>
                  <a:pt x="2780165" y="5360628"/>
                </a:cubicBezTo>
                <a:close/>
                <a:moveTo>
                  <a:pt x="1995059" y="5358977"/>
                </a:moveTo>
                <a:cubicBezTo>
                  <a:pt x="2001006" y="5358977"/>
                  <a:pt x="2005797" y="5363767"/>
                  <a:pt x="2005797" y="5369714"/>
                </a:cubicBezTo>
                <a:cubicBezTo>
                  <a:pt x="2005797" y="5375660"/>
                  <a:pt x="2001006" y="5380450"/>
                  <a:pt x="1995059" y="5380450"/>
                </a:cubicBezTo>
                <a:cubicBezTo>
                  <a:pt x="1989112" y="5380450"/>
                  <a:pt x="1984323" y="5375660"/>
                  <a:pt x="1984323" y="5369714"/>
                </a:cubicBezTo>
                <a:cubicBezTo>
                  <a:pt x="1984323" y="5363767"/>
                  <a:pt x="1989112" y="5358977"/>
                  <a:pt x="1995059" y="5358977"/>
                </a:cubicBezTo>
                <a:close/>
                <a:moveTo>
                  <a:pt x="1851846" y="5358813"/>
                </a:moveTo>
                <a:cubicBezTo>
                  <a:pt x="1857793" y="5358813"/>
                  <a:pt x="1862584" y="5363603"/>
                  <a:pt x="1862584" y="5369549"/>
                </a:cubicBezTo>
                <a:cubicBezTo>
                  <a:pt x="1862584" y="5375496"/>
                  <a:pt x="1857793" y="5380285"/>
                  <a:pt x="1851846" y="5380285"/>
                </a:cubicBezTo>
                <a:cubicBezTo>
                  <a:pt x="1845900" y="5380285"/>
                  <a:pt x="1841110" y="5375496"/>
                  <a:pt x="1841110" y="5369549"/>
                </a:cubicBezTo>
                <a:cubicBezTo>
                  <a:pt x="1841110" y="5363603"/>
                  <a:pt x="1845900" y="5358813"/>
                  <a:pt x="1851846" y="5358813"/>
                </a:cubicBezTo>
                <a:close/>
                <a:moveTo>
                  <a:pt x="3077988" y="5357656"/>
                </a:moveTo>
                <a:cubicBezTo>
                  <a:pt x="3083934" y="5357656"/>
                  <a:pt x="3088726" y="5362446"/>
                  <a:pt x="3088726" y="5368392"/>
                </a:cubicBezTo>
                <a:cubicBezTo>
                  <a:pt x="3088726" y="5374339"/>
                  <a:pt x="3083934" y="5379130"/>
                  <a:pt x="3077988" y="5379130"/>
                </a:cubicBezTo>
                <a:cubicBezTo>
                  <a:pt x="3072041" y="5379130"/>
                  <a:pt x="3067251" y="5374339"/>
                  <a:pt x="3067251" y="5368392"/>
                </a:cubicBezTo>
                <a:cubicBezTo>
                  <a:pt x="3067251" y="5362446"/>
                  <a:pt x="3072041" y="5357656"/>
                  <a:pt x="3077988" y="5357656"/>
                </a:cubicBezTo>
                <a:close/>
                <a:moveTo>
                  <a:pt x="2631998" y="5353856"/>
                </a:moveTo>
                <a:cubicBezTo>
                  <a:pt x="2637944" y="5353856"/>
                  <a:pt x="2642736" y="5358646"/>
                  <a:pt x="2642736" y="5364593"/>
                </a:cubicBezTo>
                <a:cubicBezTo>
                  <a:pt x="2642736" y="5370539"/>
                  <a:pt x="2637944" y="5375331"/>
                  <a:pt x="2631998" y="5375331"/>
                </a:cubicBezTo>
                <a:cubicBezTo>
                  <a:pt x="2626052" y="5375331"/>
                  <a:pt x="2621262" y="5370539"/>
                  <a:pt x="2621262" y="5364593"/>
                </a:cubicBezTo>
                <a:cubicBezTo>
                  <a:pt x="2621262" y="5358646"/>
                  <a:pt x="2626052" y="5353856"/>
                  <a:pt x="2631998" y="5353856"/>
                </a:cubicBezTo>
                <a:close/>
                <a:moveTo>
                  <a:pt x="1609856" y="5353692"/>
                </a:moveTo>
                <a:cubicBezTo>
                  <a:pt x="1615803" y="5353692"/>
                  <a:pt x="1620594" y="5358482"/>
                  <a:pt x="1620594" y="5364428"/>
                </a:cubicBezTo>
                <a:cubicBezTo>
                  <a:pt x="1620594" y="5370375"/>
                  <a:pt x="1615803" y="5375164"/>
                  <a:pt x="1609856" y="5375164"/>
                </a:cubicBezTo>
                <a:cubicBezTo>
                  <a:pt x="1603910" y="5375164"/>
                  <a:pt x="1599120" y="5370375"/>
                  <a:pt x="1599120" y="5364428"/>
                </a:cubicBezTo>
                <a:cubicBezTo>
                  <a:pt x="1599120" y="5358482"/>
                  <a:pt x="1603910" y="5353692"/>
                  <a:pt x="1609856" y="5353692"/>
                </a:cubicBezTo>
                <a:close/>
                <a:moveTo>
                  <a:pt x="1726473" y="5350223"/>
                </a:moveTo>
                <a:cubicBezTo>
                  <a:pt x="1732420" y="5350223"/>
                  <a:pt x="1737210" y="5355013"/>
                  <a:pt x="1737210" y="5360960"/>
                </a:cubicBezTo>
                <a:cubicBezTo>
                  <a:pt x="1737210" y="5366906"/>
                  <a:pt x="1732420" y="5371696"/>
                  <a:pt x="1726473" y="5371696"/>
                </a:cubicBezTo>
                <a:cubicBezTo>
                  <a:pt x="1720527" y="5371696"/>
                  <a:pt x="1715737" y="5366906"/>
                  <a:pt x="1715737" y="5360960"/>
                </a:cubicBezTo>
                <a:cubicBezTo>
                  <a:pt x="1715737" y="5355013"/>
                  <a:pt x="1720527" y="5350223"/>
                  <a:pt x="1726473" y="5350223"/>
                </a:cubicBezTo>
                <a:close/>
                <a:moveTo>
                  <a:pt x="2157927" y="5348406"/>
                </a:moveTo>
                <a:cubicBezTo>
                  <a:pt x="2163873" y="5348406"/>
                  <a:pt x="2168663" y="5353196"/>
                  <a:pt x="2168663" y="5359142"/>
                </a:cubicBezTo>
                <a:cubicBezTo>
                  <a:pt x="2168663" y="5365089"/>
                  <a:pt x="2163873" y="5369879"/>
                  <a:pt x="2157927" y="5369879"/>
                </a:cubicBezTo>
                <a:cubicBezTo>
                  <a:pt x="2151980" y="5369879"/>
                  <a:pt x="2147190" y="5365089"/>
                  <a:pt x="2147190" y="5359142"/>
                </a:cubicBezTo>
                <a:cubicBezTo>
                  <a:pt x="2147190" y="5353196"/>
                  <a:pt x="2151980" y="5348406"/>
                  <a:pt x="2157927" y="5348406"/>
                </a:cubicBezTo>
                <a:close/>
                <a:moveTo>
                  <a:pt x="3225329" y="5348076"/>
                </a:moveTo>
                <a:cubicBezTo>
                  <a:pt x="3231276" y="5348076"/>
                  <a:pt x="3236067" y="5352866"/>
                  <a:pt x="3236067" y="5358813"/>
                </a:cubicBezTo>
                <a:cubicBezTo>
                  <a:pt x="3236067" y="5364759"/>
                  <a:pt x="3231276" y="5369549"/>
                  <a:pt x="3225329" y="5369549"/>
                </a:cubicBezTo>
                <a:cubicBezTo>
                  <a:pt x="3219383" y="5369549"/>
                  <a:pt x="3214593" y="5364759"/>
                  <a:pt x="3214593" y="5358813"/>
                </a:cubicBezTo>
                <a:cubicBezTo>
                  <a:pt x="3214593" y="5352866"/>
                  <a:pt x="3219383" y="5348076"/>
                  <a:pt x="3225329" y="5348076"/>
                </a:cubicBezTo>
                <a:close/>
                <a:moveTo>
                  <a:pt x="2485317" y="5341963"/>
                </a:moveTo>
                <a:cubicBezTo>
                  <a:pt x="2491264" y="5341963"/>
                  <a:pt x="2496055" y="5346753"/>
                  <a:pt x="2496055" y="5352700"/>
                </a:cubicBezTo>
                <a:cubicBezTo>
                  <a:pt x="2496055" y="5358646"/>
                  <a:pt x="2491264" y="5363436"/>
                  <a:pt x="2485317" y="5363436"/>
                </a:cubicBezTo>
                <a:cubicBezTo>
                  <a:pt x="2479370" y="5363436"/>
                  <a:pt x="2474581" y="5358646"/>
                  <a:pt x="2474581" y="5352700"/>
                </a:cubicBezTo>
                <a:cubicBezTo>
                  <a:pt x="2474581" y="5346753"/>
                  <a:pt x="2479370" y="5341963"/>
                  <a:pt x="2485317" y="5341963"/>
                </a:cubicBezTo>
                <a:close/>
                <a:moveTo>
                  <a:pt x="1617454" y="5335027"/>
                </a:moveTo>
                <a:cubicBezTo>
                  <a:pt x="1623384" y="5335027"/>
                  <a:pt x="1628190" y="5339834"/>
                  <a:pt x="1628190" y="5345763"/>
                </a:cubicBezTo>
                <a:cubicBezTo>
                  <a:pt x="1628190" y="5351692"/>
                  <a:pt x="1623384" y="5356499"/>
                  <a:pt x="1617454" y="5356499"/>
                </a:cubicBezTo>
                <a:cubicBezTo>
                  <a:pt x="1611524" y="5356499"/>
                  <a:pt x="1606717" y="5351692"/>
                  <a:pt x="1606717" y="5345763"/>
                </a:cubicBezTo>
                <a:cubicBezTo>
                  <a:pt x="1606717" y="5339834"/>
                  <a:pt x="1611524" y="5335027"/>
                  <a:pt x="1617454" y="5335027"/>
                </a:cubicBezTo>
                <a:close/>
                <a:moveTo>
                  <a:pt x="3370689" y="5333374"/>
                </a:moveTo>
                <a:cubicBezTo>
                  <a:pt x="3376635" y="5333374"/>
                  <a:pt x="3381427" y="5338164"/>
                  <a:pt x="3381427" y="5344110"/>
                </a:cubicBezTo>
                <a:cubicBezTo>
                  <a:pt x="3381427" y="5350057"/>
                  <a:pt x="3376635" y="5354848"/>
                  <a:pt x="3370689" y="5354848"/>
                </a:cubicBezTo>
                <a:cubicBezTo>
                  <a:pt x="3364742" y="5354848"/>
                  <a:pt x="3359952" y="5350057"/>
                  <a:pt x="3359952" y="5344110"/>
                </a:cubicBezTo>
                <a:cubicBezTo>
                  <a:pt x="3359952" y="5338164"/>
                  <a:pt x="3364742" y="5333374"/>
                  <a:pt x="3370689" y="5333374"/>
                </a:cubicBezTo>
                <a:close/>
                <a:moveTo>
                  <a:pt x="1875468" y="5327263"/>
                </a:moveTo>
                <a:cubicBezTo>
                  <a:pt x="1881414" y="5327263"/>
                  <a:pt x="1886206" y="5332053"/>
                  <a:pt x="1886206" y="5337999"/>
                </a:cubicBezTo>
                <a:cubicBezTo>
                  <a:pt x="1886206" y="5343946"/>
                  <a:pt x="1881414" y="5348735"/>
                  <a:pt x="1875468" y="5348735"/>
                </a:cubicBezTo>
                <a:cubicBezTo>
                  <a:pt x="1869521" y="5348735"/>
                  <a:pt x="1864731" y="5343946"/>
                  <a:pt x="1864731" y="5337999"/>
                </a:cubicBezTo>
                <a:cubicBezTo>
                  <a:pt x="1864731" y="5332053"/>
                  <a:pt x="1869521" y="5327263"/>
                  <a:pt x="1875468" y="5327263"/>
                </a:cubicBezTo>
                <a:close/>
                <a:moveTo>
                  <a:pt x="2341444" y="5324785"/>
                </a:moveTo>
                <a:cubicBezTo>
                  <a:pt x="2347390" y="5324785"/>
                  <a:pt x="2352180" y="5329574"/>
                  <a:pt x="2352180" y="5335521"/>
                </a:cubicBezTo>
                <a:cubicBezTo>
                  <a:pt x="2352180" y="5341467"/>
                  <a:pt x="2347390" y="5346257"/>
                  <a:pt x="2341444" y="5346257"/>
                </a:cubicBezTo>
                <a:cubicBezTo>
                  <a:pt x="2335497" y="5346257"/>
                  <a:pt x="2330707" y="5341467"/>
                  <a:pt x="2330707" y="5335521"/>
                </a:cubicBezTo>
                <a:cubicBezTo>
                  <a:pt x="2330707" y="5329574"/>
                  <a:pt x="2335497" y="5324785"/>
                  <a:pt x="2341444" y="5324785"/>
                </a:cubicBezTo>
                <a:close/>
                <a:moveTo>
                  <a:pt x="1742331" y="5323794"/>
                </a:moveTo>
                <a:cubicBezTo>
                  <a:pt x="1748277" y="5323794"/>
                  <a:pt x="1753067" y="5328584"/>
                  <a:pt x="1753067" y="5334531"/>
                </a:cubicBezTo>
                <a:cubicBezTo>
                  <a:pt x="1753067" y="5340477"/>
                  <a:pt x="1748277" y="5345267"/>
                  <a:pt x="1742331" y="5345267"/>
                </a:cubicBezTo>
                <a:cubicBezTo>
                  <a:pt x="1736384" y="5345267"/>
                  <a:pt x="1731594" y="5340477"/>
                  <a:pt x="1731594" y="5334531"/>
                </a:cubicBezTo>
                <a:cubicBezTo>
                  <a:pt x="1731594" y="5328584"/>
                  <a:pt x="1736384" y="5323794"/>
                  <a:pt x="1742331" y="5323794"/>
                </a:cubicBezTo>
                <a:close/>
                <a:moveTo>
                  <a:pt x="3503192" y="5323434"/>
                </a:moveTo>
                <a:lnTo>
                  <a:pt x="3503192" y="5325472"/>
                </a:lnTo>
                <a:lnTo>
                  <a:pt x="3502173" y="5324453"/>
                </a:lnTo>
                <a:close/>
                <a:moveTo>
                  <a:pt x="2027764" y="5321151"/>
                </a:moveTo>
                <a:cubicBezTo>
                  <a:pt x="2033710" y="5321151"/>
                  <a:pt x="2038502" y="5325941"/>
                  <a:pt x="2038502" y="5331888"/>
                </a:cubicBezTo>
                <a:cubicBezTo>
                  <a:pt x="2038502" y="5337834"/>
                  <a:pt x="2033710" y="5342624"/>
                  <a:pt x="2027764" y="5342624"/>
                </a:cubicBezTo>
                <a:cubicBezTo>
                  <a:pt x="2021817" y="5342624"/>
                  <a:pt x="2017028" y="5337834"/>
                  <a:pt x="2017028" y="5331888"/>
                </a:cubicBezTo>
                <a:cubicBezTo>
                  <a:pt x="2017028" y="5325941"/>
                  <a:pt x="2021817" y="5321151"/>
                  <a:pt x="2027764" y="5321151"/>
                </a:cubicBezTo>
                <a:close/>
                <a:moveTo>
                  <a:pt x="1522805" y="5314874"/>
                </a:moveTo>
                <a:cubicBezTo>
                  <a:pt x="1528752" y="5314874"/>
                  <a:pt x="1533542" y="5319663"/>
                  <a:pt x="1533542" y="5325610"/>
                </a:cubicBezTo>
                <a:lnTo>
                  <a:pt x="1524291" y="5334862"/>
                </a:lnTo>
                <a:lnTo>
                  <a:pt x="1531065" y="5341634"/>
                </a:lnTo>
                <a:lnTo>
                  <a:pt x="1523631" y="5349067"/>
                </a:lnTo>
                <a:lnTo>
                  <a:pt x="1529744" y="5355178"/>
                </a:lnTo>
                <a:lnTo>
                  <a:pt x="1523797" y="5361124"/>
                </a:lnTo>
                <a:lnTo>
                  <a:pt x="1529083" y="5366410"/>
                </a:lnTo>
                <a:lnTo>
                  <a:pt x="1524375" y="5371119"/>
                </a:lnTo>
                <a:lnTo>
                  <a:pt x="1529083" y="5375825"/>
                </a:lnTo>
                <a:lnTo>
                  <a:pt x="1525200" y="5379708"/>
                </a:lnTo>
                <a:lnTo>
                  <a:pt x="1529412" y="5383919"/>
                </a:lnTo>
                <a:lnTo>
                  <a:pt x="1526274" y="5387057"/>
                </a:lnTo>
                <a:lnTo>
                  <a:pt x="1530240" y="5391022"/>
                </a:lnTo>
                <a:lnTo>
                  <a:pt x="1527349" y="5393913"/>
                </a:lnTo>
                <a:lnTo>
                  <a:pt x="1530900" y="5397464"/>
                </a:lnTo>
                <a:lnTo>
                  <a:pt x="1528339" y="5400026"/>
                </a:lnTo>
                <a:lnTo>
                  <a:pt x="1531726" y="5403411"/>
                </a:lnTo>
                <a:lnTo>
                  <a:pt x="1529083" y="5406054"/>
                </a:lnTo>
                <a:lnTo>
                  <a:pt x="1532222" y="5409193"/>
                </a:lnTo>
                <a:lnTo>
                  <a:pt x="1529412" y="5412002"/>
                </a:lnTo>
                <a:lnTo>
                  <a:pt x="1532551" y="5415139"/>
                </a:lnTo>
                <a:lnTo>
                  <a:pt x="1529331" y="5418361"/>
                </a:lnTo>
                <a:lnTo>
                  <a:pt x="1532385" y="5421415"/>
                </a:lnTo>
                <a:lnTo>
                  <a:pt x="1528668" y="5425132"/>
                </a:lnTo>
                <a:lnTo>
                  <a:pt x="1531890" y="5428354"/>
                </a:lnTo>
                <a:lnTo>
                  <a:pt x="1527349" y="5432895"/>
                </a:lnTo>
                <a:lnTo>
                  <a:pt x="1530571" y="5436118"/>
                </a:lnTo>
                <a:lnTo>
                  <a:pt x="1525368" y="5441320"/>
                </a:lnTo>
                <a:lnTo>
                  <a:pt x="1528753" y="5444705"/>
                </a:lnTo>
                <a:lnTo>
                  <a:pt x="1520079" y="5453380"/>
                </a:lnTo>
                <a:lnTo>
                  <a:pt x="1521152" y="5454453"/>
                </a:lnTo>
                <a:cubicBezTo>
                  <a:pt x="1521152" y="5457592"/>
                  <a:pt x="1518511" y="5460233"/>
                  <a:pt x="1515372" y="5460233"/>
                </a:cubicBezTo>
                <a:cubicBezTo>
                  <a:pt x="1512234" y="5460233"/>
                  <a:pt x="1509591" y="5457592"/>
                  <a:pt x="1509591" y="5454453"/>
                </a:cubicBezTo>
                <a:lnTo>
                  <a:pt x="1513309" y="5450737"/>
                </a:lnTo>
                <a:lnTo>
                  <a:pt x="1507279" y="5444705"/>
                </a:lnTo>
                <a:lnTo>
                  <a:pt x="1512482" y="5439503"/>
                </a:lnTo>
                <a:lnTo>
                  <a:pt x="1509096" y="5436118"/>
                </a:lnTo>
                <a:lnTo>
                  <a:pt x="1513640" y="5431576"/>
                </a:lnTo>
                <a:lnTo>
                  <a:pt x="1510418" y="5428354"/>
                </a:lnTo>
                <a:lnTo>
                  <a:pt x="1514134" y="5424637"/>
                </a:lnTo>
                <a:lnTo>
                  <a:pt x="1510912" y="5421415"/>
                </a:lnTo>
                <a:lnTo>
                  <a:pt x="1514134" y="5418195"/>
                </a:lnTo>
                <a:lnTo>
                  <a:pt x="1511079" y="5415139"/>
                </a:lnTo>
                <a:lnTo>
                  <a:pt x="1513886" y="5412331"/>
                </a:lnTo>
                <a:lnTo>
                  <a:pt x="1510747" y="5409193"/>
                </a:lnTo>
                <a:lnTo>
                  <a:pt x="1513390" y="5406550"/>
                </a:lnTo>
                <a:lnTo>
                  <a:pt x="1510251" y="5403411"/>
                </a:lnTo>
                <a:lnTo>
                  <a:pt x="1512813" y="5400851"/>
                </a:lnTo>
                <a:lnTo>
                  <a:pt x="1509426" y="5397464"/>
                </a:lnTo>
                <a:lnTo>
                  <a:pt x="1512317" y="5394573"/>
                </a:lnTo>
                <a:lnTo>
                  <a:pt x="1508765" y="5391022"/>
                </a:lnTo>
                <a:lnTo>
                  <a:pt x="1511904" y="5387883"/>
                </a:lnTo>
                <a:lnTo>
                  <a:pt x="1507940" y="5383919"/>
                </a:lnTo>
                <a:lnTo>
                  <a:pt x="1511821" y="5380037"/>
                </a:lnTo>
                <a:lnTo>
                  <a:pt x="1507608" y="5375825"/>
                </a:lnTo>
                <a:lnTo>
                  <a:pt x="1512317" y="5371119"/>
                </a:lnTo>
                <a:lnTo>
                  <a:pt x="1507608" y="5366410"/>
                </a:lnTo>
                <a:lnTo>
                  <a:pt x="1513555" y="5360464"/>
                </a:lnTo>
                <a:lnTo>
                  <a:pt x="1508269" y="5355178"/>
                </a:lnTo>
                <a:lnTo>
                  <a:pt x="1515702" y="5347745"/>
                </a:lnTo>
                <a:lnTo>
                  <a:pt x="1509591" y="5341634"/>
                </a:lnTo>
                <a:lnTo>
                  <a:pt x="1518842" y="5332384"/>
                </a:lnTo>
                <a:lnTo>
                  <a:pt x="1512069" y="5325610"/>
                </a:lnTo>
                <a:cubicBezTo>
                  <a:pt x="1512069" y="5319663"/>
                  <a:pt x="1516859" y="5314874"/>
                  <a:pt x="1522805" y="5314874"/>
                </a:cubicBezTo>
                <a:close/>
                <a:moveTo>
                  <a:pt x="1626539" y="5312727"/>
                </a:moveTo>
                <a:cubicBezTo>
                  <a:pt x="1632486" y="5312727"/>
                  <a:pt x="1637277" y="5317517"/>
                  <a:pt x="1637277" y="5323463"/>
                </a:cubicBezTo>
                <a:cubicBezTo>
                  <a:pt x="1637277" y="5329410"/>
                  <a:pt x="1632486" y="5334201"/>
                  <a:pt x="1626539" y="5334201"/>
                </a:cubicBezTo>
                <a:cubicBezTo>
                  <a:pt x="1620592" y="5334201"/>
                  <a:pt x="1615803" y="5329410"/>
                  <a:pt x="1615803" y="5323463"/>
                </a:cubicBezTo>
                <a:cubicBezTo>
                  <a:pt x="1615803" y="5317517"/>
                  <a:pt x="1620592" y="5312727"/>
                  <a:pt x="1626539" y="5312727"/>
                </a:cubicBezTo>
                <a:close/>
                <a:moveTo>
                  <a:pt x="2200874" y="5302981"/>
                </a:moveTo>
                <a:cubicBezTo>
                  <a:pt x="2206820" y="5302981"/>
                  <a:pt x="2211612" y="5307770"/>
                  <a:pt x="2211612" y="5313717"/>
                </a:cubicBezTo>
                <a:cubicBezTo>
                  <a:pt x="2211612" y="5319663"/>
                  <a:pt x="2206820" y="5324453"/>
                  <a:pt x="2200874" y="5324453"/>
                </a:cubicBezTo>
                <a:cubicBezTo>
                  <a:pt x="2194928" y="5324453"/>
                  <a:pt x="2190138" y="5319663"/>
                  <a:pt x="2190138" y="5313717"/>
                </a:cubicBezTo>
                <a:cubicBezTo>
                  <a:pt x="2190138" y="5307770"/>
                  <a:pt x="2194928" y="5302981"/>
                  <a:pt x="2200874" y="5302981"/>
                </a:cubicBezTo>
                <a:close/>
                <a:moveTo>
                  <a:pt x="1255874" y="5300669"/>
                </a:moveTo>
                <a:cubicBezTo>
                  <a:pt x="1256056" y="5300669"/>
                  <a:pt x="1256203" y="5300816"/>
                  <a:pt x="1256203" y="5301000"/>
                </a:cubicBezTo>
                <a:cubicBezTo>
                  <a:pt x="1256203" y="5301182"/>
                  <a:pt x="1256056" y="5301330"/>
                  <a:pt x="1255874" y="5301330"/>
                </a:cubicBezTo>
                <a:cubicBezTo>
                  <a:pt x="1255690" y="5301330"/>
                  <a:pt x="1255543" y="5301182"/>
                  <a:pt x="1255543" y="5301000"/>
                </a:cubicBezTo>
                <a:cubicBezTo>
                  <a:pt x="1255543" y="5300816"/>
                  <a:pt x="1255690" y="5300669"/>
                  <a:pt x="1255874" y="5300669"/>
                </a:cubicBezTo>
                <a:close/>
                <a:moveTo>
                  <a:pt x="2853341" y="5299512"/>
                </a:moveTo>
                <a:cubicBezTo>
                  <a:pt x="2859288" y="5299512"/>
                  <a:pt x="2864079" y="5304302"/>
                  <a:pt x="2864079" y="5310249"/>
                </a:cubicBezTo>
                <a:cubicBezTo>
                  <a:pt x="2864079" y="5316195"/>
                  <a:pt x="2859288" y="5320985"/>
                  <a:pt x="2853341" y="5320985"/>
                </a:cubicBezTo>
                <a:cubicBezTo>
                  <a:pt x="2847394" y="5320985"/>
                  <a:pt x="2842605" y="5316195"/>
                  <a:pt x="2842605" y="5310249"/>
                </a:cubicBezTo>
                <a:cubicBezTo>
                  <a:pt x="2842605" y="5304302"/>
                  <a:pt x="2847394" y="5299512"/>
                  <a:pt x="2853341" y="5299512"/>
                </a:cubicBezTo>
                <a:close/>
                <a:moveTo>
                  <a:pt x="3007951" y="5298026"/>
                </a:moveTo>
                <a:cubicBezTo>
                  <a:pt x="3013897" y="5298026"/>
                  <a:pt x="3018689" y="5302816"/>
                  <a:pt x="3018689" y="5308762"/>
                </a:cubicBezTo>
                <a:cubicBezTo>
                  <a:pt x="3018689" y="5314709"/>
                  <a:pt x="3013897" y="5319499"/>
                  <a:pt x="3007951" y="5319499"/>
                </a:cubicBezTo>
                <a:cubicBezTo>
                  <a:pt x="3002004" y="5319499"/>
                  <a:pt x="2997214" y="5314709"/>
                  <a:pt x="2997214" y="5308762"/>
                </a:cubicBezTo>
                <a:cubicBezTo>
                  <a:pt x="2997214" y="5302816"/>
                  <a:pt x="3002004" y="5298026"/>
                  <a:pt x="3007951" y="5298026"/>
                </a:cubicBezTo>
                <a:close/>
                <a:moveTo>
                  <a:pt x="1526440" y="5295879"/>
                </a:moveTo>
                <a:cubicBezTo>
                  <a:pt x="1532386" y="5295879"/>
                  <a:pt x="1537176" y="5300669"/>
                  <a:pt x="1537176" y="5306615"/>
                </a:cubicBezTo>
                <a:cubicBezTo>
                  <a:pt x="1537176" y="5312562"/>
                  <a:pt x="1532386" y="5317352"/>
                  <a:pt x="1526440" y="5317352"/>
                </a:cubicBezTo>
                <a:cubicBezTo>
                  <a:pt x="1520494" y="5317352"/>
                  <a:pt x="1515704" y="5312562"/>
                  <a:pt x="1515704" y="5306615"/>
                </a:cubicBezTo>
                <a:cubicBezTo>
                  <a:pt x="1515704" y="5300669"/>
                  <a:pt x="1520494" y="5295879"/>
                  <a:pt x="1526440" y="5295879"/>
                </a:cubicBezTo>
                <a:close/>
                <a:moveTo>
                  <a:pt x="2699061" y="5295383"/>
                </a:moveTo>
                <a:cubicBezTo>
                  <a:pt x="2705007" y="5295383"/>
                  <a:pt x="2709799" y="5300173"/>
                  <a:pt x="2709799" y="5306119"/>
                </a:cubicBezTo>
                <a:cubicBezTo>
                  <a:pt x="2709799" y="5312066"/>
                  <a:pt x="2705007" y="5316856"/>
                  <a:pt x="2699061" y="5316856"/>
                </a:cubicBezTo>
                <a:cubicBezTo>
                  <a:pt x="2693114" y="5316856"/>
                  <a:pt x="2688324" y="5312066"/>
                  <a:pt x="2688324" y="5306119"/>
                </a:cubicBezTo>
                <a:cubicBezTo>
                  <a:pt x="2688324" y="5300173"/>
                  <a:pt x="2693114" y="5295383"/>
                  <a:pt x="2699061" y="5295383"/>
                </a:cubicBezTo>
                <a:close/>
                <a:moveTo>
                  <a:pt x="1760831" y="5292409"/>
                </a:moveTo>
                <a:cubicBezTo>
                  <a:pt x="1766778" y="5292409"/>
                  <a:pt x="1771569" y="5297199"/>
                  <a:pt x="1771569" y="5303145"/>
                </a:cubicBezTo>
                <a:cubicBezTo>
                  <a:pt x="1771569" y="5309092"/>
                  <a:pt x="1766778" y="5313882"/>
                  <a:pt x="1760831" y="5313882"/>
                </a:cubicBezTo>
                <a:cubicBezTo>
                  <a:pt x="1754884" y="5313882"/>
                  <a:pt x="1750095" y="5309092"/>
                  <a:pt x="1750095" y="5303145"/>
                </a:cubicBezTo>
                <a:cubicBezTo>
                  <a:pt x="1750095" y="5297199"/>
                  <a:pt x="1754884" y="5292409"/>
                  <a:pt x="1760831" y="5292409"/>
                </a:cubicBezTo>
                <a:close/>
                <a:moveTo>
                  <a:pt x="3161568" y="5290758"/>
                </a:moveTo>
                <a:cubicBezTo>
                  <a:pt x="3167515" y="5290758"/>
                  <a:pt x="3172306" y="5295548"/>
                  <a:pt x="3172306" y="5301494"/>
                </a:cubicBezTo>
                <a:cubicBezTo>
                  <a:pt x="3172306" y="5307441"/>
                  <a:pt x="3167515" y="5312231"/>
                  <a:pt x="3161568" y="5312231"/>
                </a:cubicBezTo>
                <a:cubicBezTo>
                  <a:pt x="3155622" y="5312231"/>
                  <a:pt x="3150832" y="5307441"/>
                  <a:pt x="3150832" y="5301494"/>
                </a:cubicBezTo>
                <a:cubicBezTo>
                  <a:pt x="3150832" y="5295548"/>
                  <a:pt x="3155622" y="5290758"/>
                  <a:pt x="3161568" y="5290758"/>
                </a:cubicBezTo>
                <a:close/>
                <a:moveTo>
                  <a:pt x="1902391" y="5289931"/>
                </a:moveTo>
                <a:cubicBezTo>
                  <a:pt x="1908337" y="5289931"/>
                  <a:pt x="1913129" y="5294721"/>
                  <a:pt x="1913129" y="5300667"/>
                </a:cubicBezTo>
                <a:cubicBezTo>
                  <a:pt x="1913129" y="5306614"/>
                  <a:pt x="1908337" y="5311405"/>
                  <a:pt x="1902391" y="5311405"/>
                </a:cubicBezTo>
                <a:cubicBezTo>
                  <a:pt x="1896444" y="5311405"/>
                  <a:pt x="1891654" y="5306614"/>
                  <a:pt x="1891654" y="5300667"/>
                </a:cubicBezTo>
                <a:cubicBezTo>
                  <a:pt x="1891654" y="5294721"/>
                  <a:pt x="1896444" y="5289931"/>
                  <a:pt x="1902391" y="5289931"/>
                </a:cubicBezTo>
                <a:close/>
                <a:moveTo>
                  <a:pt x="1637771" y="5286133"/>
                </a:moveTo>
                <a:cubicBezTo>
                  <a:pt x="1643718" y="5286133"/>
                  <a:pt x="1648509" y="5290923"/>
                  <a:pt x="1648509" y="5296869"/>
                </a:cubicBezTo>
                <a:cubicBezTo>
                  <a:pt x="1648509" y="5302816"/>
                  <a:pt x="1643718" y="5307606"/>
                  <a:pt x="1637771" y="5307606"/>
                </a:cubicBezTo>
                <a:cubicBezTo>
                  <a:pt x="1631825" y="5307606"/>
                  <a:pt x="1627035" y="5302816"/>
                  <a:pt x="1627035" y="5296869"/>
                </a:cubicBezTo>
                <a:cubicBezTo>
                  <a:pt x="1627035" y="5290923"/>
                  <a:pt x="1631825" y="5286133"/>
                  <a:pt x="1637771" y="5286133"/>
                </a:cubicBezTo>
                <a:close/>
                <a:moveTo>
                  <a:pt x="2546104" y="5285637"/>
                </a:moveTo>
                <a:cubicBezTo>
                  <a:pt x="2552050" y="5285637"/>
                  <a:pt x="2556840" y="5290427"/>
                  <a:pt x="2556840" y="5296373"/>
                </a:cubicBezTo>
                <a:cubicBezTo>
                  <a:pt x="2556840" y="5302320"/>
                  <a:pt x="2552050" y="5307110"/>
                  <a:pt x="2546104" y="5307110"/>
                </a:cubicBezTo>
                <a:cubicBezTo>
                  <a:pt x="2540157" y="5307110"/>
                  <a:pt x="2535368" y="5302320"/>
                  <a:pt x="2535368" y="5296373"/>
                </a:cubicBezTo>
                <a:cubicBezTo>
                  <a:pt x="2535368" y="5290427"/>
                  <a:pt x="2540157" y="5285637"/>
                  <a:pt x="2546104" y="5285637"/>
                </a:cubicBezTo>
                <a:close/>
                <a:moveTo>
                  <a:pt x="3313370" y="5278204"/>
                </a:moveTo>
                <a:cubicBezTo>
                  <a:pt x="3319317" y="5278204"/>
                  <a:pt x="3324108" y="5282994"/>
                  <a:pt x="3324108" y="5288941"/>
                </a:cubicBezTo>
                <a:cubicBezTo>
                  <a:pt x="3324108" y="5294887"/>
                  <a:pt x="3319317" y="5299677"/>
                  <a:pt x="3313370" y="5299677"/>
                </a:cubicBezTo>
                <a:cubicBezTo>
                  <a:pt x="3307424" y="5299677"/>
                  <a:pt x="3302634" y="5294887"/>
                  <a:pt x="3302634" y="5288941"/>
                </a:cubicBezTo>
                <a:cubicBezTo>
                  <a:pt x="3302634" y="5282994"/>
                  <a:pt x="3307424" y="5278204"/>
                  <a:pt x="3313370" y="5278204"/>
                </a:cubicBezTo>
                <a:close/>
                <a:moveTo>
                  <a:pt x="2064435" y="5276718"/>
                </a:moveTo>
                <a:cubicBezTo>
                  <a:pt x="2070382" y="5276718"/>
                  <a:pt x="2075171" y="5281508"/>
                  <a:pt x="2075171" y="5287454"/>
                </a:cubicBezTo>
                <a:cubicBezTo>
                  <a:pt x="2075171" y="5293401"/>
                  <a:pt x="2070382" y="5298191"/>
                  <a:pt x="2064435" y="5298191"/>
                </a:cubicBezTo>
                <a:cubicBezTo>
                  <a:pt x="2058488" y="5298191"/>
                  <a:pt x="2053699" y="5293401"/>
                  <a:pt x="2053699" y="5287454"/>
                </a:cubicBezTo>
                <a:cubicBezTo>
                  <a:pt x="2053699" y="5281508"/>
                  <a:pt x="2058488" y="5276718"/>
                  <a:pt x="2064435" y="5276718"/>
                </a:cubicBezTo>
                <a:close/>
                <a:moveTo>
                  <a:pt x="1531559" y="5273083"/>
                </a:moveTo>
                <a:cubicBezTo>
                  <a:pt x="1537506" y="5273083"/>
                  <a:pt x="1542297" y="5277873"/>
                  <a:pt x="1542297" y="5283820"/>
                </a:cubicBezTo>
                <a:cubicBezTo>
                  <a:pt x="1542297" y="5289766"/>
                  <a:pt x="1537506" y="5294556"/>
                  <a:pt x="1531559" y="5294556"/>
                </a:cubicBezTo>
                <a:cubicBezTo>
                  <a:pt x="1525613" y="5294556"/>
                  <a:pt x="1520823" y="5289766"/>
                  <a:pt x="1520823" y="5283820"/>
                </a:cubicBezTo>
                <a:cubicBezTo>
                  <a:pt x="1520823" y="5277873"/>
                  <a:pt x="1525613" y="5273083"/>
                  <a:pt x="1531559" y="5273083"/>
                </a:cubicBezTo>
                <a:close/>
                <a:moveTo>
                  <a:pt x="2395623" y="5270440"/>
                </a:moveTo>
                <a:cubicBezTo>
                  <a:pt x="2401570" y="5270440"/>
                  <a:pt x="2406360" y="5275230"/>
                  <a:pt x="2406360" y="5281177"/>
                </a:cubicBezTo>
                <a:cubicBezTo>
                  <a:pt x="2406360" y="5287123"/>
                  <a:pt x="2401570" y="5291913"/>
                  <a:pt x="2395623" y="5291913"/>
                </a:cubicBezTo>
                <a:cubicBezTo>
                  <a:pt x="2389676" y="5291913"/>
                  <a:pt x="2384887" y="5287123"/>
                  <a:pt x="2384887" y="5281177"/>
                </a:cubicBezTo>
                <a:cubicBezTo>
                  <a:pt x="2384887" y="5275230"/>
                  <a:pt x="2389676" y="5270440"/>
                  <a:pt x="2395623" y="5270440"/>
                </a:cubicBezTo>
                <a:close/>
                <a:moveTo>
                  <a:pt x="3462365" y="5260200"/>
                </a:moveTo>
                <a:cubicBezTo>
                  <a:pt x="3468312" y="5260200"/>
                  <a:pt x="3473101" y="5264990"/>
                  <a:pt x="3473101" y="5270936"/>
                </a:cubicBezTo>
                <a:cubicBezTo>
                  <a:pt x="3473101" y="5276883"/>
                  <a:pt x="3468312" y="5281673"/>
                  <a:pt x="3462365" y="5281673"/>
                </a:cubicBezTo>
                <a:cubicBezTo>
                  <a:pt x="3456418" y="5281673"/>
                  <a:pt x="3451628" y="5276883"/>
                  <a:pt x="3451628" y="5270936"/>
                </a:cubicBezTo>
                <a:cubicBezTo>
                  <a:pt x="3451628" y="5264990"/>
                  <a:pt x="3456418" y="5260200"/>
                  <a:pt x="3462365" y="5260200"/>
                </a:cubicBezTo>
                <a:close/>
                <a:moveTo>
                  <a:pt x="1782139" y="5255575"/>
                </a:moveTo>
                <a:cubicBezTo>
                  <a:pt x="1788086" y="5255575"/>
                  <a:pt x="1792877" y="5260365"/>
                  <a:pt x="1792877" y="5266311"/>
                </a:cubicBezTo>
                <a:cubicBezTo>
                  <a:pt x="1792877" y="5272258"/>
                  <a:pt x="1788086" y="5277048"/>
                  <a:pt x="1782139" y="5277048"/>
                </a:cubicBezTo>
                <a:cubicBezTo>
                  <a:pt x="1776192" y="5277048"/>
                  <a:pt x="1771403" y="5272258"/>
                  <a:pt x="1771403" y="5266311"/>
                </a:cubicBezTo>
                <a:cubicBezTo>
                  <a:pt x="1771403" y="5260365"/>
                  <a:pt x="1776192" y="5255575"/>
                  <a:pt x="1782139" y="5255575"/>
                </a:cubicBezTo>
                <a:close/>
                <a:moveTo>
                  <a:pt x="1440050" y="5255079"/>
                </a:moveTo>
                <a:cubicBezTo>
                  <a:pt x="1445996" y="5255079"/>
                  <a:pt x="1450788" y="5259869"/>
                  <a:pt x="1450788" y="5265815"/>
                </a:cubicBezTo>
                <a:lnTo>
                  <a:pt x="1440875" y="5275728"/>
                </a:lnTo>
                <a:lnTo>
                  <a:pt x="1450621" y="5285472"/>
                </a:lnTo>
                <a:lnTo>
                  <a:pt x="1442693" y="5293401"/>
                </a:lnTo>
                <a:lnTo>
                  <a:pt x="1451448" y="5302155"/>
                </a:lnTo>
                <a:lnTo>
                  <a:pt x="1445171" y="5308433"/>
                </a:lnTo>
                <a:lnTo>
                  <a:pt x="1453100" y="5316360"/>
                </a:lnTo>
                <a:lnTo>
                  <a:pt x="1448225" y="5321233"/>
                </a:lnTo>
                <a:lnTo>
                  <a:pt x="1455413" y="5328419"/>
                </a:lnTo>
                <a:lnTo>
                  <a:pt x="1451448" y="5332384"/>
                </a:lnTo>
                <a:lnTo>
                  <a:pt x="1457889" y="5338825"/>
                </a:lnTo>
                <a:lnTo>
                  <a:pt x="1454750" y="5341963"/>
                </a:lnTo>
                <a:lnTo>
                  <a:pt x="1460699" y="5347910"/>
                </a:lnTo>
                <a:lnTo>
                  <a:pt x="1458137" y="5350471"/>
                </a:lnTo>
                <a:lnTo>
                  <a:pt x="1463671" y="5356003"/>
                </a:lnTo>
                <a:lnTo>
                  <a:pt x="1461358" y="5358317"/>
                </a:lnTo>
                <a:lnTo>
                  <a:pt x="1466479" y="5363438"/>
                </a:lnTo>
                <a:lnTo>
                  <a:pt x="1464249" y="5365668"/>
                </a:lnTo>
                <a:lnTo>
                  <a:pt x="1468957" y="5370375"/>
                </a:lnTo>
                <a:lnTo>
                  <a:pt x="1466644" y="5372688"/>
                </a:lnTo>
                <a:lnTo>
                  <a:pt x="1471270" y="5377313"/>
                </a:lnTo>
                <a:lnTo>
                  <a:pt x="1468544" y="5380039"/>
                </a:lnTo>
                <a:lnTo>
                  <a:pt x="1473086" y="5384581"/>
                </a:lnTo>
                <a:lnTo>
                  <a:pt x="1469947" y="5387720"/>
                </a:lnTo>
                <a:lnTo>
                  <a:pt x="1474243" y="5392014"/>
                </a:lnTo>
                <a:lnTo>
                  <a:pt x="1470443" y="5395813"/>
                </a:lnTo>
                <a:lnTo>
                  <a:pt x="1474903" y="5400272"/>
                </a:lnTo>
                <a:lnTo>
                  <a:pt x="1470360" y="5404816"/>
                </a:lnTo>
                <a:lnTo>
                  <a:pt x="1474737" y="5409193"/>
                </a:lnTo>
                <a:lnTo>
                  <a:pt x="1469451" y="5414478"/>
                </a:lnTo>
                <a:lnTo>
                  <a:pt x="1473913" y="5418939"/>
                </a:lnTo>
                <a:cubicBezTo>
                  <a:pt x="1473913" y="5424868"/>
                  <a:pt x="1469106" y="5429675"/>
                  <a:pt x="1463175" y="5429675"/>
                </a:cubicBezTo>
                <a:cubicBezTo>
                  <a:pt x="1457246" y="5429675"/>
                  <a:pt x="1452439" y="5424868"/>
                  <a:pt x="1452439" y="5418939"/>
                </a:cubicBezTo>
                <a:lnTo>
                  <a:pt x="1457725" y="5413653"/>
                </a:lnTo>
                <a:lnTo>
                  <a:pt x="1453264" y="5409193"/>
                </a:lnTo>
                <a:lnTo>
                  <a:pt x="1457806" y="5404651"/>
                </a:lnTo>
                <a:lnTo>
                  <a:pt x="1453429" y="5400272"/>
                </a:lnTo>
                <a:lnTo>
                  <a:pt x="1457227" y="5396474"/>
                </a:lnTo>
                <a:lnTo>
                  <a:pt x="1452768" y="5392014"/>
                </a:lnTo>
                <a:lnTo>
                  <a:pt x="1455907" y="5388877"/>
                </a:lnTo>
                <a:lnTo>
                  <a:pt x="1451612" y="5384581"/>
                </a:lnTo>
                <a:lnTo>
                  <a:pt x="1454338" y="5381855"/>
                </a:lnTo>
                <a:lnTo>
                  <a:pt x="1449796" y="5377313"/>
                </a:lnTo>
                <a:lnTo>
                  <a:pt x="1452108" y="5375001"/>
                </a:lnTo>
                <a:lnTo>
                  <a:pt x="1447482" y="5370375"/>
                </a:lnTo>
                <a:lnTo>
                  <a:pt x="1449713" y="5368144"/>
                </a:lnTo>
                <a:lnTo>
                  <a:pt x="1445006" y="5363438"/>
                </a:lnTo>
                <a:lnTo>
                  <a:pt x="1447318" y="5361126"/>
                </a:lnTo>
                <a:lnTo>
                  <a:pt x="1442197" y="5356003"/>
                </a:lnTo>
                <a:lnTo>
                  <a:pt x="1444758" y="5353444"/>
                </a:lnTo>
                <a:lnTo>
                  <a:pt x="1439224" y="5347910"/>
                </a:lnTo>
                <a:lnTo>
                  <a:pt x="1442361" y="5344773"/>
                </a:lnTo>
                <a:lnTo>
                  <a:pt x="1436415" y="5338825"/>
                </a:lnTo>
                <a:lnTo>
                  <a:pt x="1440379" y="5334860"/>
                </a:lnTo>
                <a:lnTo>
                  <a:pt x="1433938" y="5328419"/>
                </a:lnTo>
                <a:lnTo>
                  <a:pt x="1438812" y="5323546"/>
                </a:lnTo>
                <a:lnTo>
                  <a:pt x="1431625" y="5316360"/>
                </a:lnTo>
                <a:lnTo>
                  <a:pt x="1437901" y="5310084"/>
                </a:lnTo>
                <a:lnTo>
                  <a:pt x="1429974" y="5302155"/>
                </a:lnTo>
                <a:lnTo>
                  <a:pt x="1437903" y="5294228"/>
                </a:lnTo>
                <a:lnTo>
                  <a:pt x="1429147" y="5285472"/>
                </a:lnTo>
                <a:lnTo>
                  <a:pt x="1439060" y="5275561"/>
                </a:lnTo>
                <a:lnTo>
                  <a:pt x="1429313" y="5265815"/>
                </a:lnTo>
                <a:cubicBezTo>
                  <a:pt x="1429313" y="5259869"/>
                  <a:pt x="1434103" y="5255079"/>
                  <a:pt x="1440050" y="5255079"/>
                </a:cubicBezTo>
                <a:close/>
                <a:moveTo>
                  <a:pt x="1651151" y="5254748"/>
                </a:moveTo>
                <a:cubicBezTo>
                  <a:pt x="1657082" y="5254748"/>
                  <a:pt x="1661889" y="5259555"/>
                  <a:pt x="1661889" y="5265484"/>
                </a:cubicBezTo>
                <a:cubicBezTo>
                  <a:pt x="1661889" y="5271415"/>
                  <a:pt x="1657082" y="5276222"/>
                  <a:pt x="1651151" y="5276222"/>
                </a:cubicBezTo>
                <a:cubicBezTo>
                  <a:pt x="1645221" y="5276222"/>
                  <a:pt x="1640414" y="5271415"/>
                  <a:pt x="1640414" y="5265484"/>
                </a:cubicBezTo>
                <a:cubicBezTo>
                  <a:pt x="1640414" y="5259555"/>
                  <a:pt x="1645221" y="5254748"/>
                  <a:pt x="1651151" y="5254748"/>
                </a:cubicBezTo>
                <a:close/>
                <a:moveTo>
                  <a:pt x="1204171" y="5254252"/>
                </a:moveTo>
                <a:cubicBezTo>
                  <a:pt x="1206482" y="5254252"/>
                  <a:pt x="1208465" y="5256234"/>
                  <a:pt x="1208465" y="5258547"/>
                </a:cubicBezTo>
                <a:cubicBezTo>
                  <a:pt x="1208465" y="5260859"/>
                  <a:pt x="1206482" y="5262841"/>
                  <a:pt x="1204171" y="5262841"/>
                </a:cubicBezTo>
                <a:cubicBezTo>
                  <a:pt x="1201693" y="5262841"/>
                  <a:pt x="1199875" y="5260859"/>
                  <a:pt x="1199875" y="5258547"/>
                </a:cubicBezTo>
                <a:cubicBezTo>
                  <a:pt x="1199875" y="5256234"/>
                  <a:pt x="1201857" y="5254252"/>
                  <a:pt x="1204171" y="5254252"/>
                </a:cubicBezTo>
                <a:close/>
                <a:moveTo>
                  <a:pt x="1365223" y="5250950"/>
                </a:moveTo>
                <a:cubicBezTo>
                  <a:pt x="1371170" y="5250950"/>
                  <a:pt x="1375961" y="5255740"/>
                  <a:pt x="1375961" y="5261686"/>
                </a:cubicBezTo>
                <a:lnTo>
                  <a:pt x="1370674" y="5266972"/>
                </a:lnTo>
                <a:lnTo>
                  <a:pt x="1380420" y="5276716"/>
                </a:lnTo>
                <a:lnTo>
                  <a:pt x="1376370" y="5280764"/>
                </a:lnTo>
                <a:lnTo>
                  <a:pt x="1385210" y="5289601"/>
                </a:lnTo>
                <a:lnTo>
                  <a:pt x="1381989" y="5292822"/>
                </a:lnTo>
                <a:lnTo>
                  <a:pt x="1390166" y="5300998"/>
                </a:lnTo>
                <a:lnTo>
                  <a:pt x="1387604" y="5303560"/>
                </a:lnTo>
                <a:lnTo>
                  <a:pt x="1395120" y="5311074"/>
                </a:lnTo>
                <a:lnTo>
                  <a:pt x="1392890" y="5313304"/>
                </a:lnTo>
                <a:lnTo>
                  <a:pt x="1399912" y="5320324"/>
                </a:lnTo>
                <a:lnTo>
                  <a:pt x="1397930" y="5322308"/>
                </a:lnTo>
                <a:lnTo>
                  <a:pt x="1404535" y="5328914"/>
                </a:lnTo>
                <a:lnTo>
                  <a:pt x="1402553" y="5330898"/>
                </a:lnTo>
                <a:lnTo>
                  <a:pt x="1408664" y="5337009"/>
                </a:lnTo>
                <a:lnTo>
                  <a:pt x="1406436" y="5339239"/>
                </a:lnTo>
                <a:lnTo>
                  <a:pt x="1412466" y="5345267"/>
                </a:lnTo>
                <a:lnTo>
                  <a:pt x="1409821" y="5347912"/>
                </a:lnTo>
                <a:lnTo>
                  <a:pt x="1415603" y="5353692"/>
                </a:lnTo>
                <a:lnTo>
                  <a:pt x="1412382" y="5356914"/>
                </a:lnTo>
                <a:lnTo>
                  <a:pt x="1417915" y="5362446"/>
                </a:lnTo>
                <a:lnTo>
                  <a:pt x="1414198" y="5366162"/>
                </a:lnTo>
                <a:lnTo>
                  <a:pt x="1419732" y="5371696"/>
                </a:lnTo>
                <a:lnTo>
                  <a:pt x="1414859" y="5376569"/>
                </a:lnTo>
                <a:lnTo>
                  <a:pt x="1420393" y="5382103"/>
                </a:lnTo>
                <a:lnTo>
                  <a:pt x="1412630" y="5389865"/>
                </a:lnTo>
                <a:lnTo>
                  <a:pt x="1415934" y="5393169"/>
                </a:lnTo>
                <a:cubicBezTo>
                  <a:pt x="1415934" y="5396635"/>
                  <a:pt x="1413123" y="5399446"/>
                  <a:pt x="1409658" y="5399446"/>
                </a:cubicBezTo>
                <a:cubicBezTo>
                  <a:pt x="1406192" y="5399446"/>
                  <a:pt x="1403380" y="5396635"/>
                  <a:pt x="1403380" y="5393169"/>
                </a:cubicBezTo>
                <a:lnTo>
                  <a:pt x="1406684" y="5389867"/>
                </a:lnTo>
                <a:lnTo>
                  <a:pt x="1398920" y="5382103"/>
                </a:lnTo>
                <a:lnTo>
                  <a:pt x="1403793" y="5377230"/>
                </a:lnTo>
                <a:lnTo>
                  <a:pt x="1398259" y="5371696"/>
                </a:lnTo>
                <a:lnTo>
                  <a:pt x="1401976" y="5367980"/>
                </a:lnTo>
                <a:lnTo>
                  <a:pt x="1396442" y="5362446"/>
                </a:lnTo>
                <a:lnTo>
                  <a:pt x="1399664" y="5359225"/>
                </a:lnTo>
                <a:lnTo>
                  <a:pt x="1394130" y="5353692"/>
                </a:lnTo>
                <a:lnTo>
                  <a:pt x="1396773" y="5351049"/>
                </a:lnTo>
                <a:lnTo>
                  <a:pt x="1390991" y="5345267"/>
                </a:lnTo>
                <a:lnTo>
                  <a:pt x="1393222" y="5343039"/>
                </a:lnTo>
                <a:lnTo>
                  <a:pt x="1387192" y="5337009"/>
                </a:lnTo>
                <a:lnTo>
                  <a:pt x="1389176" y="5335027"/>
                </a:lnTo>
                <a:lnTo>
                  <a:pt x="1383063" y="5328914"/>
                </a:lnTo>
                <a:lnTo>
                  <a:pt x="1385045" y="5326933"/>
                </a:lnTo>
                <a:lnTo>
                  <a:pt x="1378438" y="5320324"/>
                </a:lnTo>
                <a:lnTo>
                  <a:pt x="1380668" y="5318096"/>
                </a:lnTo>
                <a:lnTo>
                  <a:pt x="1373648" y="5311074"/>
                </a:lnTo>
                <a:lnTo>
                  <a:pt x="1376207" y="5308514"/>
                </a:lnTo>
                <a:lnTo>
                  <a:pt x="1368691" y="5300998"/>
                </a:lnTo>
                <a:lnTo>
                  <a:pt x="1371912" y="5297778"/>
                </a:lnTo>
                <a:lnTo>
                  <a:pt x="1363735" y="5289601"/>
                </a:lnTo>
                <a:lnTo>
                  <a:pt x="1367783" y="5285554"/>
                </a:lnTo>
                <a:lnTo>
                  <a:pt x="1358945" y="5276716"/>
                </a:lnTo>
                <a:lnTo>
                  <a:pt x="1364231" y="5271431"/>
                </a:lnTo>
                <a:lnTo>
                  <a:pt x="1354487" y="5261686"/>
                </a:lnTo>
                <a:cubicBezTo>
                  <a:pt x="1354487" y="5255740"/>
                  <a:pt x="1359276" y="5250950"/>
                  <a:pt x="1365223" y="5250950"/>
                </a:cubicBezTo>
                <a:close/>
                <a:moveTo>
                  <a:pt x="2248446" y="5250287"/>
                </a:moveTo>
                <a:cubicBezTo>
                  <a:pt x="2254393" y="5250287"/>
                  <a:pt x="2259184" y="5255077"/>
                  <a:pt x="2259184" y="5261024"/>
                </a:cubicBezTo>
                <a:cubicBezTo>
                  <a:pt x="2259184" y="5266970"/>
                  <a:pt x="2254393" y="5271762"/>
                  <a:pt x="2248446" y="5271762"/>
                </a:cubicBezTo>
                <a:cubicBezTo>
                  <a:pt x="2242500" y="5271762"/>
                  <a:pt x="2237710" y="5266970"/>
                  <a:pt x="2237710" y="5261024"/>
                </a:cubicBezTo>
                <a:cubicBezTo>
                  <a:pt x="2237710" y="5255077"/>
                  <a:pt x="2242500" y="5250287"/>
                  <a:pt x="2248446" y="5250287"/>
                </a:cubicBezTo>
                <a:close/>
                <a:moveTo>
                  <a:pt x="1932951" y="5246489"/>
                </a:moveTo>
                <a:cubicBezTo>
                  <a:pt x="1938897" y="5246489"/>
                  <a:pt x="1943687" y="5251279"/>
                  <a:pt x="1943687" y="5257226"/>
                </a:cubicBezTo>
                <a:cubicBezTo>
                  <a:pt x="1943687" y="5263172"/>
                  <a:pt x="1938897" y="5267964"/>
                  <a:pt x="1932951" y="5267964"/>
                </a:cubicBezTo>
                <a:cubicBezTo>
                  <a:pt x="1927004" y="5267964"/>
                  <a:pt x="1922214" y="5263172"/>
                  <a:pt x="1922214" y="5257226"/>
                </a:cubicBezTo>
                <a:cubicBezTo>
                  <a:pt x="1922214" y="5251279"/>
                  <a:pt x="1927004" y="5246489"/>
                  <a:pt x="1932951" y="5246489"/>
                </a:cubicBezTo>
                <a:close/>
                <a:moveTo>
                  <a:pt x="1538333" y="5246325"/>
                </a:moveTo>
                <a:cubicBezTo>
                  <a:pt x="1544280" y="5246325"/>
                  <a:pt x="1549069" y="5251115"/>
                  <a:pt x="1549069" y="5257061"/>
                </a:cubicBezTo>
                <a:cubicBezTo>
                  <a:pt x="1549069" y="5263008"/>
                  <a:pt x="1544280" y="5267797"/>
                  <a:pt x="1538333" y="5267797"/>
                </a:cubicBezTo>
                <a:cubicBezTo>
                  <a:pt x="1532386" y="5267797"/>
                  <a:pt x="1527597" y="5263008"/>
                  <a:pt x="1527597" y="5257061"/>
                </a:cubicBezTo>
                <a:cubicBezTo>
                  <a:pt x="1527597" y="5251115"/>
                  <a:pt x="1532386" y="5246325"/>
                  <a:pt x="1538333" y="5246325"/>
                </a:cubicBezTo>
                <a:close/>
                <a:moveTo>
                  <a:pt x="1361259" y="5233440"/>
                </a:moveTo>
                <a:cubicBezTo>
                  <a:pt x="1367205" y="5233440"/>
                  <a:pt x="1371995" y="5238230"/>
                  <a:pt x="1371995" y="5244176"/>
                </a:cubicBezTo>
                <a:cubicBezTo>
                  <a:pt x="1371995" y="5250123"/>
                  <a:pt x="1367205" y="5254912"/>
                  <a:pt x="1361259" y="5254912"/>
                </a:cubicBezTo>
                <a:cubicBezTo>
                  <a:pt x="1355312" y="5254912"/>
                  <a:pt x="1350522" y="5250123"/>
                  <a:pt x="1350522" y="5244176"/>
                </a:cubicBezTo>
                <a:cubicBezTo>
                  <a:pt x="1350522" y="5238230"/>
                  <a:pt x="1355312" y="5233440"/>
                  <a:pt x="1361259" y="5233440"/>
                </a:cubicBezTo>
                <a:close/>
                <a:moveTo>
                  <a:pt x="1441205" y="5231954"/>
                </a:moveTo>
                <a:cubicBezTo>
                  <a:pt x="1447151" y="5231954"/>
                  <a:pt x="1451943" y="5236743"/>
                  <a:pt x="1451943" y="5242690"/>
                </a:cubicBezTo>
                <a:cubicBezTo>
                  <a:pt x="1451943" y="5248636"/>
                  <a:pt x="1447151" y="5253426"/>
                  <a:pt x="1441205" y="5253426"/>
                </a:cubicBezTo>
                <a:cubicBezTo>
                  <a:pt x="1435258" y="5253426"/>
                  <a:pt x="1430468" y="5248636"/>
                  <a:pt x="1430468" y="5242690"/>
                </a:cubicBezTo>
                <a:cubicBezTo>
                  <a:pt x="1430468" y="5236743"/>
                  <a:pt x="1435258" y="5231954"/>
                  <a:pt x="1441205" y="5231954"/>
                </a:cubicBezTo>
                <a:close/>
                <a:moveTo>
                  <a:pt x="2932297" y="5229475"/>
                </a:moveTo>
                <a:cubicBezTo>
                  <a:pt x="2938243" y="5229475"/>
                  <a:pt x="2943035" y="5234265"/>
                  <a:pt x="2943035" y="5240212"/>
                </a:cubicBezTo>
                <a:cubicBezTo>
                  <a:pt x="2943035" y="5246158"/>
                  <a:pt x="2938243" y="5250950"/>
                  <a:pt x="2932297" y="5250950"/>
                </a:cubicBezTo>
                <a:cubicBezTo>
                  <a:pt x="2926350" y="5250950"/>
                  <a:pt x="2921560" y="5246158"/>
                  <a:pt x="2921560" y="5240212"/>
                </a:cubicBezTo>
                <a:cubicBezTo>
                  <a:pt x="2921560" y="5234265"/>
                  <a:pt x="2926350" y="5229475"/>
                  <a:pt x="2932297" y="5229475"/>
                </a:cubicBezTo>
                <a:close/>
                <a:moveTo>
                  <a:pt x="2771907" y="5227989"/>
                </a:moveTo>
                <a:cubicBezTo>
                  <a:pt x="2777854" y="5227989"/>
                  <a:pt x="2782645" y="5232779"/>
                  <a:pt x="2782645" y="5238726"/>
                </a:cubicBezTo>
                <a:cubicBezTo>
                  <a:pt x="2782645" y="5244672"/>
                  <a:pt x="2777854" y="5249464"/>
                  <a:pt x="2771907" y="5249464"/>
                </a:cubicBezTo>
                <a:cubicBezTo>
                  <a:pt x="2765960" y="5249464"/>
                  <a:pt x="2761171" y="5244672"/>
                  <a:pt x="2761171" y="5238726"/>
                </a:cubicBezTo>
                <a:cubicBezTo>
                  <a:pt x="2761171" y="5232779"/>
                  <a:pt x="2765960" y="5227989"/>
                  <a:pt x="2771907" y="5227989"/>
                </a:cubicBezTo>
                <a:close/>
                <a:moveTo>
                  <a:pt x="1300472" y="5225511"/>
                </a:moveTo>
                <a:cubicBezTo>
                  <a:pt x="1306418" y="5225511"/>
                  <a:pt x="1311208" y="5230301"/>
                  <a:pt x="1311208" y="5236247"/>
                </a:cubicBezTo>
                <a:lnTo>
                  <a:pt x="1307740" y="5239717"/>
                </a:lnTo>
                <a:lnTo>
                  <a:pt x="1318310" y="5250287"/>
                </a:lnTo>
                <a:lnTo>
                  <a:pt x="1315667" y="5252930"/>
                </a:lnTo>
                <a:lnTo>
                  <a:pt x="1325413" y="5262676"/>
                </a:lnTo>
                <a:lnTo>
                  <a:pt x="1323266" y="5264823"/>
                </a:lnTo>
                <a:lnTo>
                  <a:pt x="1332353" y="5273909"/>
                </a:lnTo>
                <a:lnTo>
                  <a:pt x="1330536" y="5275726"/>
                </a:lnTo>
                <a:lnTo>
                  <a:pt x="1338959" y="5284149"/>
                </a:lnTo>
                <a:lnTo>
                  <a:pt x="1337225" y="5285885"/>
                </a:lnTo>
                <a:lnTo>
                  <a:pt x="1345236" y="5293895"/>
                </a:lnTo>
                <a:lnTo>
                  <a:pt x="1343254" y="5295879"/>
                </a:lnTo>
                <a:lnTo>
                  <a:pt x="1350852" y="5303477"/>
                </a:lnTo>
                <a:lnTo>
                  <a:pt x="1348622" y="5305707"/>
                </a:lnTo>
                <a:lnTo>
                  <a:pt x="1355808" y="5312891"/>
                </a:lnTo>
                <a:lnTo>
                  <a:pt x="1353082" y="5315618"/>
                </a:lnTo>
                <a:lnTo>
                  <a:pt x="1360102" y="5322638"/>
                </a:lnTo>
                <a:lnTo>
                  <a:pt x="1356798" y="5325941"/>
                </a:lnTo>
                <a:lnTo>
                  <a:pt x="1363572" y="5332713"/>
                </a:lnTo>
                <a:lnTo>
                  <a:pt x="1359524" y="5336761"/>
                </a:lnTo>
                <a:lnTo>
                  <a:pt x="1366213" y="5343450"/>
                </a:lnTo>
                <a:lnTo>
                  <a:pt x="1361259" y="5348406"/>
                </a:lnTo>
                <a:lnTo>
                  <a:pt x="1367701" y="5354847"/>
                </a:lnTo>
                <a:cubicBezTo>
                  <a:pt x="1367701" y="5360793"/>
                  <a:pt x="1362910" y="5365585"/>
                  <a:pt x="1356963" y="5365585"/>
                </a:cubicBezTo>
                <a:cubicBezTo>
                  <a:pt x="1351017" y="5365585"/>
                  <a:pt x="1346227" y="5360793"/>
                  <a:pt x="1346227" y="5354847"/>
                </a:cubicBezTo>
                <a:lnTo>
                  <a:pt x="1351181" y="5349892"/>
                </a:lnTo>
                <a:lnTo>
                  <a:pt x="1344740" y="5343450"/>
                </a:lnTo>
                <a:lnTo>
                  <a:pt x="1348786" y="5339404"/>
                </a:lnTo>
                <a:lnTo>
                  <a:pt x="1342098" y="5332713"/>
                </a:lnTo>
                <a:lnTo>
                  <a:pt x="1345401" y="5329410"/>
                </a:lnTo>
                <a:lnTo>
                  <a:pt x="1338629" y="5322638"/>
                </a:lnTo>
                <a:lnTo>
                  <a:pt x="1341355" y="5319913"/>
                </a:lnTo>
                <a:lnTo>
                  <a:pt x="1334334" y="5312891"/>
                </a:lnTo>
                <a:lnTo>
                  <a:pt x="1336564" y="5310661"/>
                </a:lnTo>
                <a:lnTo>
                  <a:pt x="1329379" y="5303477"/>
                </a:lnTo>
                <a:lnTo>
                  <a:pt x="1331361" y="5301496"/>
                </a:lnTo>
                <a:lnTo>
                  <a:pt x="1323762" y="5293895"/>
                </a:lnTo>
                <a:lnTo>
                  <a:pt x="1325496" y="5292161"/>
                </a:lnTo>
                <a:lnTo>
                  <a:pt x="1317486" y="5284149"/>
                </a:lnTo>
                <a:lnTo>
                  <a:pt x="1319302" y="5282333"/>
                </a:lnTo>
                <a:lnTo>
                  <a:pt x="1310879" y="5273909"/>
                </a:lnTo>
                <a:lnTo>
                  <a:pt x="1313026" y="5271762"/>
                </a:lnTo>
                <a:lnTo>
                  <a:pt x="1303940" y="5262676"/>
                </a:lnTo>
                <a:lnTo>
                  <a:pt x="1306583" y="5260033"/>
                </a:lnTo>
                <a:lnTo>
                  <a:pt x="1296837" y="5250287"/>
                </a:lnTo>
                <a:lnTo>
                  <a:pt x="1300306" y="5246819"/>
                </a:lnTo>
                <a:lnTo>
                  <a:pt x="1289736" y="5236247"/>
                </a:lnTo>
                <a:cubicBezTo>
                  <a:pt x="1289736" y="5230301"/>
                  <a:pt x="1294526" y="5225511"/>
                  <a:pt x="1300472" y="5225511"/>
                </a:cubicBezTo>
                <a:close/>
                <a:moveTo>
                  <a:pt x="2105400" y="5225182"/>
                </a:moveTo>
                <a:cubicBezTo>
                  <a:pt x="2111346" y="5225182"/>
                  <a:pt x="2116138" y="5229971"/>
                  <a:pt x="2116138" y="5235918"/>
                </a:cubicBezTo>
                <a:cubicBezTo>
                  <a:pt x="2116138" y="5241864"/>
                  <a:pt x="2111346" y="5246654"/>
                  <a:pt x="2105400" y="5246654"/>
                </a:cubicBezTo>
                <a:cubicBezTo>
                  <a:pt x="2099454" y="5246654"/>
                  <a:pt x="2094664" y="5241864"/>
                  <a:pt x="2094664" y="5235918"/>
                </a:cubicBezTo>
                <a:cubicBezTo>
                  <a:pt x="2094664" y="5229971"/>
                  <a:pt x="2099454" y="5225182"/>
                  <a:pt x="2105400" y="5225182"/>
                </a:cubicBezTo>
                <a:close/>
                <a:moveTo>
                  <a:pt x="3092192" y="5224850"/>
                </a:moveTo>
                <a:cubicBezTo>
                  <a:pt x="3098139" y="5224850"/>
                  <a:pt x="3102930" y="5229640"/>
                  <a:pt x="3102930" y="5235587"/>
                </a:cubicBezTo>
                <a:cubicBezTo>
                  <a:pt x="3102930" y="5241533"/>
                  <a:pt x="3098139" y="5246325"/>
                  <a:pt x="3092192" y="5246325"/>
                </a:cubicBezTo>
                <a:cubicBezTo>
                  <a:pt x="3086246" y="5246325"/>
                  <a:pt x="3081456" y="5241533"/>
                  <a:pt x="3081456" y="5235587"/>
                </a:cubicBezTo>
                <a:cubicBezTo>
                  <a:pt x="3081456" y="5229640"/>
                  <a:pt x="3086246" y="5224850"/>
                  <a:pt x="3092192" y="5224850"/>
                </a:cubicBezTo>
                <a:close/>
                <a:moveTo>
                  <a:pt x="2612506" y="5220886"/>
                </a:moveTo>
                <a:cubicBezTo>
                  <a:pt x="2618452" y="5220886"/>
                  <a:pt x="2623244" y="5225676"/>
                  <a:pt x="2623244" y="5231622"/>
                </a:cubicBezTo>
                <a:cubicBezTo>
                  <a:pt x="2623244" y="5237569"/>
                  <a:pt x="2618452" y="5242359"/>
                  <a:pt x="2612506" y="5242359"/>
                </a:cubicBezTo>
                <a:cubicBezTo>
                  <a:pt x="2606559" y="5242359"/>
                  <a:pt x="2601770" y="5237569"/>
                  <a:pt x="2601770" y="5231622"/>
                </a:cubicBezTo>
                <a:cubicBezTo>
                  <a:pt x="2601770" y="5225676"/>
                  <a:pt x="2606559" y="5220886"/>
                  <a:pt x="2612506" y="5220886"/>
                </a:cubicBezTo>
                <a:close/>
                <a:moveTo>
                  <a:pt x="1667173" y="5218243"/>
                </a:moveTo>
                <a:cubicBezTo>
                  <a:pt x="1673119" y="5218243"/>
                  <a:pt x="1677911" y="5223033"/>
                  <a:pt x="1677911" y="5228979"/>
                </a:cubicBezTo>
                <a:cubicBezTo>
                  <a:pt x="1677911" y="5234926"/>
                  <a:pt x="1673119" y="5239717"/>
                  <a:pt x="1667173" y="5239717"/>
                </a:cubicBezTo>
                <a:cubicBezTo>
                  <a:pt x="1661226" y="5239717"/>
                  <a:pt x="1656436" y="5234926"/>
                  <a:pt x="1656436" y="5228979"/>
                </a:cubicBezTo>
                <a:cubicBezTo>
                  <a:pt x="1656436" y="5223033"/>
                  <a:pt x="1661226" y="5218243"/>
                  <a:pt x="1667173" y="5218243"/>
                </a:cubicBezTo>
                <a:close/>
                <a:moveTo>
                  <a:pt x="1547087" y="5214939"/>
                </a:moveTo>
                <a:cubicBezTo>
                  <a:pt x="1553034" y="5214939"/>
                  <a:pt x="1557824" y="5219729"/>
                  <a:pt x="1557824" y="5225676"/>
                </a:cubicBezTo>
                <a:cubicBezTo>
                  <a:pt x="1557824" y="5231622"/>
                  <a:pt x="1553034" y="5236412"/>
                  <a:pt x="1547087" y="5236412"/>
                </a:cubicBezTo>
                <a:cubicBezTo>
                  <a:pt x="1541141" y="5236412"/>
                  <a:pt x="1536351" y="5231622"/>
                  <a:pt x="1536351" y="5225676"/>
                </a:cubicBezTo>
                <a:cubicBezTo>
                  <a:pt x="1536351" y="5219729"/>
                  <a:pt x="1541141" y="5214939"/>
                  <a:pt x="1547087" y="5214939"/>
                </a:cubicBezTo>
                <a:close/>
                <a:moveTo>
                  <a:pt x="3250766" y="5214608"/>
                </a:moveTo>
                <a:cubicBezTo>
                  <a:pt x="3256713" y="5214608"/>
                  <a:pt x="3261504" y="5219398"/>
                  <a:pt x="3261504" y="5225345"/>
                </a:cubicBezTo>
                <a:cubicBezTo>
                  <a:pt x="3261504" y="5231291"/>
                  <a:pt x="3256713" y="5236083"/>
                  <a:pt x="3250766" y="5236083"/>
                </a:cubicBezTo>
                <a:cubicBezTo>
                  <a:pt x="3244820" y="5236083"/>
                  <a:pt x="3240030" y="5231291"/>
                  <a:pt x="3240030" y="5225345"/>
                </a:cubicBezTo>
                <a:cubicBezTo>
                  <a:pt x="3240030" y="5219398"/>
                  <a:pt x="3244820" y="5214608"/>
                  <a:pt x="3250766" y="5214608"/>
                </a:cubicBezTo>
                <a:close/>
                <a:moveTo>
                  <a:pt x="1253229" y="5213288"/>
                </a:moveTo>
                <a:cubicBezTo>
                  <a:pt x="1259176" y="5213288"/>
                  <a:pt x="1263966" y="5218078"/>
                  <a:pt x="1263966" y="5224025"/>
                </a:cubicBezTo>
                <a:lnTo>
                  <a:pt x="1262067" y="5225924"/>
                </a:lnTo>
                <a:lnTo>
                  <a:pt x="1272557" y="5236412"/>
                </a:lnTo>
                <a:lnTo>
                  <a:pt x="1270821" y="5238148"/>
                </a:lnTo>
                <a:lnTo>
                  <a:pt x="1280648" y="5247976"/>
                </a:lnTo>
                <a:lnTo>
                  <a:pt x="1278998" y="5249627"/>
                </a:lnTo>
                <a:lnTo>
                  <a:pt x="1288248" y="5258877"/>
                </a:lnTo>
                <a:lnTo>
                  <a:pt x="1286349" y="5260777"/>
                </a:lnTo>
                <a:lnTo>
                  <a:pt x="1295186" y="5269613"/>
                </a:lnTo>
                <a:lnTo>
                  <a:pt x="1292791" y="5272010"/>
                </a:lnTo>
                <a:lnTo>
                  <a:pt x="1301298" y="5280516"/>
                </a:lnTo>
                <a:lnTo>
                  <a:pt x="1298490" y="5283324"/>
                </a:lnTo>
                <a:lnTo>
                  <a:pt x="1306583" y="5291417"/>
                </a:lnTo>
                <a:lnTo>
                  <a:pt x="1303032" y="5294970"/>
                </a:lnTo>
                <a:lnTo>
                  <a:pt x="1310879" y="5302816"/>
                </a:lnTo>
                <a:lnTo>
                  <a:pt x="1306418" y="5307276"/>
                </a:lnTo>
                <a:lnTo>
                  <a:pt x="1314181" y="5315038"/>
                </a:lnTo>
                <a:lnTo>
                  <a:pt x="1306500" y="5322721"/>
                </a:lnTo>
                <a:lnTo>
                  <a:pt x="1311540" y="5327759"/>
                </a:lnTo>
                <a:cubicBezTo>
                  <a:pt x="1311540" y="5330951"/>
                  <a:pt x="1308950" y="5333540"/>
                  <a:pt x="1305758" y="5333540"/>
                </a:cubicBezTo>
                <a:cubicBezTo>
                  <a:pt x="1302565" y="5333540"/>
                  <a:pt x="1299976" y="5330951"/>
                  <a:pt x="1299976" y="5327759"/>
                </a:cubicBezTo>
                <a:lnTo>
                  <a:pt x="1302702" y="5325034"/>
                </a:lnTo>
                <a:lnTo>
                  <a:pt x="1292708" y="5315038"/>
                </a:lnTo>
                <a:lnTo>
                  <a:pt x="1297167" y="5310580"/>
                </a:lnTo>
                <a:lnTo>
                  <a:pt x="1289404" y="5302816"/>
                </a:lnTo>
                <a:lnTo>
                  <a:pt x="1292956" y="5299264"/>
                </a:lnTo>
                <a:lnTo>
                  <a:pt x="1285110" y="5291417"/>
                </a:lnTo>
                <a:lnTo>
                  <a:pt x="1287918" y="5288611"/>
                </a:lnTo>
                <a:lnTo>
                  <a:pt x="1279825" y="5280516"/>
                </a:lnTo>
                <a:lnTo>
                  <a:pt x="1282220" y="5278123"/>
                </a:lnTo>
                <a:lnTo>
                  <a:pt x="1273712" y="5269613"/>
                </a:lnTo>
                <a:lnTo>
                  <a:pt x="1275611" y="5267714"/>
                </a:lnTo>
                <a:lnTo>
                  <a:pt x="1266775" y="5258877"/>
                </a:lnTo>
                <a:lnTo>
                  <a:pt x="1268426" y="5257228"/>
                </a:lnTo>
                <a:lnTo>
                  <a:pt x="1259176" y="5247976"/>
                </a:lnTo>
                <a:lnTo>
                  <a:pt x="1260912" y="5246241"/>
                </a:lnTo>
                <a:lnTo>
                  <a:pt x="1251082" y="5236412"/>
                </a:lnTo>
                <a:lnTo>
                  <a:pt x="1252981" y="5234513"/>
                </a:lnTo>
                <a:lnTo>
                  <a:pt x="1242493" y="5224025"/>
                </a:lnTo>
                <a:cubicBezTo>
                  <a:pt x="1242493" y="5218078"/>
                  <a:pt x="1247283" y="5213288"/>
                  <a:pt x="1253229" y="5213288"/>
                </a:cubicBezTo>
                <a:close/>
                <a:moveTo>
                  <a:pt x="1358120" y="5213122"/>
                </a:moveTo>
                <a:cubicBezTo>
                  <a:pt x="1364066" y="5213122"/>
                  <a:pt x="1368858" y="5217912"/>
                  <a:pt x="1368858" y="5223858"/>
                </a:cubicBezTo>
                <a:cubicBezTo>
                  <a:pt x="1368858" y="5229805"/>
                  <a:pt x="1364066" y="5234596"/>
                  <a:pt x="1358120" y="5234596"/>
                </a:cubicBezTo>
                <a:cubicBezTo>
                  <a:pt x="1352173" y="5234596"/>
                  <a:pt x="1347384" y="5229805"/>
                  <a:pt x="1347384" y="5223858"/>
                </a:cubicBezTo>
                <a:cubicBezTo>
                  <a:pt x="1347384" y="5217912"/>
                  <a:pt x="1352173" y="5213122"/>
                  <a:pt x="1358120" y="5213122"/>
                </a:cubicBezTo>
                <a:close/>
                <a:moveTo>
                  <a:pt x="1806588" y="5212626"/>
                </a:moveTo>
                <a:cubicBezTo>
                  <a:pt x="1812534" y="5212626"/>
                  <a:pt x="1817324" y="5217416"/>
                  <a:pt x="1817324" y="5223362"/>
                </a:cubicBezTo>
                <a:cubicBezTo>
                  <a:pt x="1817324" y="5229309"/>
                  <a:pt x="1812534" y="5234099"/>
                  <a:pt x="1806588" y="5234099"/>
                </a:cubicBezTo>
                <a:cubicBezTo>
                  <a:pt x="1800641" y="5234099"/>
                  <a:pt x="1795851" y="5229309"/>
                  <a:pt x="1795851" y="5223362"/>
                </a:cubicBezTo>
                <a:cubicBezTo>
                  <a:pt x="1795851" y="5217416"/>
                  <a:pt x="1800641" y="5212626"/>
                  <a:pt x="1806588" y="5212626"/>
                </a:cubicBezTo>
                <a:close/>
                <a:moveTo>
                  <a:pt x="1293534" y="5209654"/>
                </a:moveTo>
                <a:cubicBezTo>
                  <a:pt x="1299480" y="5209654"/>
                  <a:pt x="1304270" y="5214443"/>
                  <a:pt x="1304270" y="5220390"/>
                </a:cubicBezTo>
                <a:cubicBezTo>
                  <a:pt x="1304270" y="5226336"/>
                  <a:pt x="1299480" y="5231126"/>
                  <a:pt x="1293534" y="5231126"/>
                </a:cubicBezTo>
                <a:cubicBezTo>
                  <a:pt x="1287587" y="5231126"/>
                  <a:pt x="1282797" y="5226336"/>
                  <a:pt x="1282797" y="5220390"/>
                </a:cubicBezTo>
                <a:cubicBezTo>
                  <a:pt x="1282797" y="5214443"/>
                  <a:pt x="1287587" y="5209654"/>
                  <a:pt x="1293534" y="5209654"/>
                </a:cubicBezTo>
                <a:close/>
                <a:moveTo>
                  <a:pt x="2455088" y="5207836"/>
                </a:moveTo>
                <a:cubicBezTo>
                  <a:pt x="2461035" y="5207836"/>
                  <a:pt x="2465826" y="5212626"/>
                  <a:pt x="2465826" y="5218573"/>
                </a:cubicBezTo>
                <a:cubicBezTo>
                  <a:pt x="2465826" y="5224519"/>
                  <a:pt x="2461035" y="5229311"/>
                  <a:pt x="2455088" y="5229311"/>
                </a:cubicBezTo>
                <a:cubicBezTo>
                  <a:pt x="2449142" y="5229311"/>
                  <a:pt x="2444352" y="5224519"/>
                  <a:pt x="2444352" y="5218573"/>
                </a:cubicBezTo>
                <a:cubicBezTo>
                  <a:pt x="2444352" y="5212626"/>
                  <a:pt x="2449142" y="5207836"/>
                  <a:pt x="2455088" y="5207836"/>
                </a:cubicBezTo>
                <a:close/>
                <a:moveTo>
                  <a:pt x="1151974" y="5205029"/>
                </a:moveTo>
                <a:cubicBezTo>
                  <a:pt x="1157259" y="5205029"/>
                  <a:pt x="1161555" y="5209322"/>
                  <a:pt x="1161555" y="5214608"/>
                </a:cubicBezTo>
                <a:cubicBezTo>
                  <a:pt x="1161555" y="5219894"/>
                  <a:pt x="1157259" y="5224190"/>
                  <a:pt x="1151974" y="5224190"/>
                </a:cubicBezTo>
                <a:cubicBezTo>
                  <a:pt x="1146688" y="5224190"/>
                  <a:pt x="1142394" y="5219894"/>
                  <a:pt x="1142394" y="5214608"/>
                </a:cubicBezTo>
                <a:cubicBezTo>
                  <a:pt x="1142394" y="5209322"/>
                  <a:pt x="1146688" y="5205029"/>
                  <a:pt x="1151974" y="5205029"/>
                </a:cubicBezTo>
                <a:close/>
                <a:moveTo>
                  <a:pt x="1444014" y="5204864"/>
                </a:moveTo>
                <a:cubicBezTo>
                  <a:pt x="1449961" y="5204864"/>
                  <a:pt x="1454752" y="5209654"/>
                  <a:pt x="1454752" y="5215600"/>
                </a:cubicBezTo>
                <a:cubicBezTo>
                  <a:pt x="1454752" y="5221547"/>
                  <a:pt x="1449961" y="5226338"/>
                  <a:pt x="1444014" y="5226338"/>
                </a:cubicBezTo>
                <a:cubicBezTo>
                  <a:pt x="1438068" y="5226338"/>
                  <a:pt x="1433278" y="5221547"/>
                  <a:pt x="1433278" y="5215600"/>
                </a:cubicBezTo>
                <a:cubicBezTo>
                  <a:pt x="1433278" y="5209654"/>
                  <a:pt x="1438068" y="5204864"/>
                  <a:pt x="1444014" y="5204864"/>
                </a:cubicBezTo>
                <a:close/>
                <a:moveTo>
                  <a:pt x="1214246" y="5200735"/>
                </a:moveTo>
                <a:cubicBezTo>
                  <a:pt x="1220177" y="5200735"/>
                  <a:pt x="1224984" y="5205542"/>
                  <a:pt x="1224984" y="5211471"/>
                </a:cubicBezTo>
                <a:lnTo>
                  <a:pt x="1223250" y="5213205"/>
                </a:lnTo>
                <a:lnTo>
                  <a:pt x="1233904" y="5223858"/>
                </a:lnTo>
                <a:lnTo>
                  <a:pt x="1231838" y="5225925"/>
                </a:lnTo>
                <a:lnTo>
                  <a:pt x="1241832" y="5235918"/>
                </a:lnTo>
                <a:lnTo>
                  <a:pt x="1239354" y="5238396"/>
                </a:lnTo>
                <a:lnTo>
                  <a:pt x="1248935" y="5247976"/>
                </a:lnTo>
                <a:lnTo>
                  <a:pt x="1245715" y="5251198"/>
                </a:lnTo>
                <a:lnTo>
                  <a:pt x="1254882" y="5260363"/>
                </a:lnTo>
                <a:lnTo>
                  <a:pt x="1250999" y="5264246"/>
                </a:lnTo>
                <a:lnTo>
                  <a:pt x="1260001" y="5273248"/>
                </a:lnTo>
                <a:lnTo>
                  <a:pt x="1255047" y="5278204"/>
                </a:lnTo>
                <a:lnTo>
                  <a:pt x="1263470" y="5286629"/>
                </a:lnTo>
                <a:cubicBezTo>
                  <a:pt x="1263470" y="5292411"/>
                  <a:pt x="1258844" y="5297036"/>
                  <a:pt x="1253064" y="5297036"/>
                </a:cubicBezTo>
                <a:cubicBezTo>
                  <a:pt x="1247283" y="5297036"/>
                  <a:pt x="1242658" y="5292411"/>
                  <a:pt x="1242658" y="5286629"/>
                </a:cubicBezTo>
                <a:lnTo>
                  <a:pt x="1247283" y="5282004"/>
                </a:lnTo>
                <a:lnTo>
                  <a:pt x="1238528" y="5273248"/>
                </a:lnTo>
                <a:lnTo>
                  <a:pt x="1242410" y="5269367"/>
                </a:lnTo>
                <a:lnTo>
                  <a:pt x="1233408" y="5260363"/>
                </a:lnTo>
                <a:lnTo>
                  <a:pt x="1236628" y="5257144"/>
                </a:lnTo>
                <a:lnTo>
                  <a:pt x="1227461" y="5247976"/>
                </a:lnTo>
                <a:lnTo>
                  <a:pt x="1229939" y="5245499"/>
                </a:lnTo>
                <a:lnTo>
                  <a:pt x="1220358" y="5235918"/>
                </a:lnTo>
                <a:lnTo>
                  <a:pt x="1222423" y="5233852"/>
                </a:lnTo>
                <a:lnTo>
                  <a:pt x="1212431" y="5223858"/>
                </a:lnTo>
                <a:lnTo>
                  <a:pt x="1214165" y="5222126"/>
                </a:lnTo>
                <a:lnTo>
                  <a:pt x="1203510" y="5211471"/>
                </a:lnTo>
                <a:cubicBezTo>
                  <a:pt x="1203510" y="5205542"/>
                  <a:pt x="1208317" y="5200735"/>
                  <a:pt x="1214246" y="5200735"/>
                </a:cubicBezTo>
                <a:close/>
                <a:moveTo>
                  <a:pt x="1244310" y="5199743"/>
                </a:moveTo>
                <a:cubicBezTo>
                  <a:pt x="1250257" y="5199743"/>
                  <a:pt x="1255048" y="5204533"/>
                  <a:pt x="1255048" y="5210479"/>
                </a:cubicBezTo>
                <a:cubicBezTo>
                  <a:pt x="1255048" y="5216426"/>
                  <a:pt x="1250257" y="5221215"/>
                  <a:pt x="1244310" y="5221215"/>
                </a:cubicBezTo>
                <a:cubicBezTo>
                  <a:pt x="1238364" y="5221215"/>
                  <a:pt x="1233574" y="5216426"/>
                  <a:pt x="1233574" y="5210479"/>
                </a:cubicBezTo>
                <a:cubicBezTo>
                  <a:pt x="1233574" y="5204533"/>
                  <a:pt x="1238364" y="5199743"/>
                  <a:pt x="1244310" y="5199743"/>
                </a:cubicBezTo>
                <a:close/>
                <a:moveTo>
                  <a:pt x="3406533" y="5198586"/>
                </a:moveTo>
                <a:cubicBezTo>
                  <a:pt x="3412479" y="5198586"/>
                  <a:pt x="3417271" y="5203376"/>
                  <a:pt x="3417271" y="5209322"/>
                </a:cubicBezTo>
                <a:cubicBezTo>
                  <a:pt x="3417271" y="5215269"/>
                  <a:pt x="3412479" y="5220060"/>
                  <a:pt x="3406533" y="5220060"/>
                </a:cubicBezTo>
                <a:cubicBezTo>
                  <a:pt x="3400586" y="5220060"/>
                  <a:pt x="3395796" y="5215269"/>
                  <a:pt x="3395796" y="5209322"/>
                </a:cubicBezTo>
                <a:cubicBezTo>
                  <a:pt x="3395796" y="5203376"/>
                  <a:pt x="3400586" y="5198586"/>
                  <a:pt x="3406533" y="5198586"/>
                </a:cubicBezTo>
                <a:close/>
                <a:moveTo>
                  <a:pt x="1967308" y="5195943"/>
                </a:moveTo>
                <a:cubicBezTo>
                  <a:pt x="1973255" y="5195943"/>
                  <a:pt x="1978046" y="5200733"/>
                  <a:pt x="1978046" y="5206679"/>
                </a:cubicBezTo>
                <a:cubicBezTo>
                  <a:pt x="1978046" y="5212626"/>
                  <a:pt x="1973255" y="5217418"/>
                  <a:pt x="1967308" y="5217418"/>
                </a:cubicBezTo>
                <a:cubicBezTo>
                  <a:pt x="1961362" y="5217418"/>
                  <a:pt x="1956572" y="5212626"/>
                  <a:pt x="1956572" y="5206679"/>
                </a:cubicBezTo>
                <a:cubicBezTo>
                  <a:pt x="1956572" y="5200733"/>
                  <a:pt x="1961362" y="5195943"/>
                  <a:pt x="1967308" y="5195943"/>
                </a:cubicBezTo>
                <a:close/>
                <a:moveTo>
                  <a:pt x="1179724" y="5191649"/>
                </a:moveTo>
                <a:cubicBezTo>
                  <a:pt x="1185670" y="5191649"/>
                  <a:pt x="1190462" y="5196439"/>
                  <a:pt x="1190462" y="5202386"/>
                </a:cubicBezTo>
                <a:lnTo>
                  <a:pt x="1187653" y="5205195"/>
                </a:lnTo>
                <a:lnTo>
                  <a:pt x="1198224" y="5215765"/>
                </a:lnTo>
                <a:lnTo>
                  <a:pt x="1194673" y="5219316"/>
                </a:lnTo>
                <a:lnTo>
                  <a:pt x="1204996" y="5229640"/>
                </a:lnTo>
                <a:lnTo>
                  <a:pt x="1200702" y="5233936"/>
                </a:lnTo>
                <a:lnTo>
                  <a:pt x="1210613" y="5243845"/>
                </a:lnTo>
                <a:cubicBezTo>
                  <a:pt x="1210613" y="5249791"/>
                  <a:pt x="1205822" y="5254583"/>
                  <a:pt x="1199875" y="5254583"/>
                </a:cubicBezTo>
                <a:cubicBezTo>
                  <a:pt x="1193929" y="5254583"/>
                  <a:pt x="1189139" y="5249791"/>
                  <a:pt x="1189139" y="5243845"/>
                </a:cubicBezTo>
                <a:lnTo>
                  <a:pt x="1193434" y="5239551"/>
                </a:lnTo>
                <a:lnTo>
                  <a:pt x="1183524" y="5229640"/>
                </a:lnTo>
                <a:lnTo>
                  <a:pt x="1187075" y="5226090"/>
                </a:lnTo>
                <a:lnTo>
                  <a:pt x="1176750" y="5215765"/>
                </a:lnTo>
                <a:lnTo>
                  <a:pt x="1179559" y="5212957"/>
                </a:lnTo>
                <a:lnTo>
                  <a:pt x="1168988" y="5202386"/>
                </a:lnTo>
                <a:cubicBezTo>
                  <a:pt x="1168988" y="5196439"/>
                  <a:pt x="1173778" y="5191649"/>
                  <a:pt x="1179724" y="5191649"/>
                </a:cubicBezTo>
                <a:close/>
                <a:moveTo>
                  <a:pt x="1286926" y="5191318"/>
                </a:moveTo>
                <a:cubicBezTo>
                  <a:pt x="1292873" y="5191318"/>
                  <a:pt x="1297663" y="5196108"/>
                  <a:pt x="1297663" y="5202054"/>
                </a:cubicBezTo>
                <a:cubicBezTo>
                  <a:pt x="1297663" y="5208001"/>
                  <a:pt x="1292873" y="5212792"/>
                  <a:pt x="1286926" y="5212792"/>
                </a:cubicBezTo>
                <a:cubicBezTo>
                  <a:pt x="1280980" y="5212792"/>
                  <a:pt x="1276190" y="5208001"/>
                  <a:pt x="1276190" y="5202054"/>
                </a:cubicBezTo>
                <a:cubicBezTo>
                  <a:pt x="1276190" y="5196108"/>
                  <a:pt x="1280980" y="5191318"/>
                  <a:pt x="1286926" y="5191318"/>
                </a:cubicBezTo>
                <a:close/>
                <a:moveTo>
                  <a:pt x="2300808" y="5189336"/>
                </a:moveTo>
                <a:cubicBezTo>
                  <a:pt x="2306755" y="5189336"/>
                  <a:pt x="2311546" y="5194126"/>
                  <a:pt x="2311546" y="5200072"/>
                </a:cubicBezTo>
                <a:cubicBezTo>
                  <a:pt x="2311546" y="5206019"/>
                  <a:pt x="2306755" y="5210810"/>
                  <a:pt x="2300808" y="5210810"/>
                </a:cubicBezTo>
                <a:cubicBezTo>
                  <a:pt x="2294862" y="5210810"/>
                  <a:pt x="2290072" y="5206019"/>
                  <a:pt x="2290072" y="5200072"/>
                </a:cubicBezTo>
                <a:cubicBezTo>
                  <a:pt x="2290072" y="5194126"/>
                  <a:pt x="2294862" y="5189336"/>
                  <a:pt x="2300808" y="5189336"/>
                </a:cubicBezTo>
                <a:close/>
                <a:moveTo>
                  <a:pt x="1355973" y="5189336"/>
                </a:moveTo>
                <a:cubicBezTo>
                  <a:pt x="1361919" y="5189336"/>
                  <a:pt x="1366709" y="5194126"/>
                  <a:pt x="1366709" y="5200072"/>
                </a:cubicBezTo>
                <a:cubicBezTo>
                  <a:pt x="1366709" y="5206019"/>
                  <a:pt x="1361919" y="5210810"/>
                  <a:pt x="1355973" y="5210810"/>
                </a:cubicBezTo>
                <a:cubicBezTo>
                  <a:pt x="1350026" y="5210810"/>
                  <a:pt x="1345236" y="5206019"/>
                  <a:pt x="1345236" y="5200072"/>
                </a:cubicBezTo>
                <a:cubicBezTo>
                  <a:pt x="1345236" y="5194126"/>
                  <a:pt x="1350026" y="5189336"/>
                  <a:pt x="1355973" y="5189336"/>
                </a:cubicBezTo>
                <a:close/>
                <a:moveTo>
                  <a:pt x="1146027" y="5188346"/>
                </a:moveTo>
                <a:cubicBezTo>
                  <a:pt x="1151974" y="5188346"/>
                  <a:pt x="1156763" y="5193135"/>
                  <a:pt x="1156763" y="5199082"/>
                </a:cubicBezTo>
                <a:cubicBezTo>
                  <a:pt x="1156763" y="5205029"/>
                  <a:pt x="1151974" y="5209820"/>
                  <a:pt x="1146027" y="5209820"/>
                </a:cubicBezTo>
                <a:cubicBezTo>
                  <a:pt x="1140080" y="5209820"/>
                  <a:pt x="1135291" y="5205029"/>
                  <a:pt x="1135291" y="5199082"/>
                </a:cubicBezTo>
                <a:cubicBezTo>
                  <a:pt x="1135291" y="5193135"/>
                  <a:pt x="1140080" y="5188346"/>
                  <a:pt x="1146027" y="5188346"/>
                </a:cubicBezTo>
                <a:close/>
                <a:moveTo>
                  <a:pt x="1204832" y="5187850"/>
                </a:moveTo>
                <a:cubicBezTo>
                  <a:pt x="1210762" y="5187850"/>
                  <a:pt x="1215568" y="5192657"/>
                  <a:pt x="1215568" y="5198586"/>
                </a:cubicBezTo>
                <a:cubicBezTo>
                  <a:pt x="1215568" y="5204515"/>
                  <a:pt x="1210762" y="5209322"/>
                  <a:pt x="1204832" y="5209322"/>
                </a:cubicBezTo>
                <a:cubicBezTo>
                  <a:pt x="1198902" y="5209322"/>
                  <a:pt x="1194095" y="5204515"/>
                  <a:pt x="1194095" y="5198586"/>
                </a:cubicBezTo>
                <a:cubicBezTo>
                  <a:pt x="1194095" y="5192657"/>
                  <a:pt x="1198902" y="5187850"/>
                  <a:pt x="1204832" y="5187850"/>
                </a:cubicBezTo>
                <a:close/>
                <a:moveTo>
                  <a:pt x="1235060" y="5184711"/>
                </a:moveTo>
                <a:cubicBezTo>
                  <a:pt x="1241007" y="5184711"/>
                  <a:pt x="1245796" y="5189501"/>
                  <a:pt x="1245796" y="5195447"/>
                </a:cubicBezTo>
                <a:cubicBezTo>
                  <a:pt x="1245796" y="5201394"/>
                  <a:pt x="1241007" y="5206185"/>
                  <a:pt x="1235060" y="5206185"/>
                </a:cubicBezTo>
                <a:cubicBezTo>
                  <a:pt x="1229114" y="5206185"/>
                  <a:pt x="1224324" y="5201394"/>
                  <a:pt x="1224324" y="5195447"/>
                </a:cubicBezTo>
                <a:cubicBezTo>
                  <a:pt x="1224324" y="5189501"/>
                  <a:pt x="1229114" y="5184711"/>
                  <a:pt x="1235060" y="5184711"/>
                </a:cubicBezTo>
                <a:close/>
                <a:moveTo>
                  <a:pt x="1105558" y="5183885"/>
                </a:moveTo>
                <a:cubicBezTo>
                  <a:pt x="1106715" y="5183885"/>
                  <a:pt x="1107705" y="5184876"/>
                  <a:pt x="1107705" y="5186032"/>
                </a:cubicBezTo>
                <a:cubicBezTo>
                  <a:pt x="1107705" y="5187189"/>
                  <a:pt x="1106715" y="5188179"/>
                  <a:pt x="1105558" y="5188179"/>
                </a:cubicBezTo>
                <a:cubicBezTo>
                  <a:pt x="1104401" y="5188179"/>
                  <a:pt x="1103411" y="5187189"/>
                  <a:pt x="1103411" y="5186032"/>
                </a:cubicBezTo>
                <a:cubicBezTo>
                  <a:pt x="1103411" y="5184876"/>
                  <a:pt x="1104401" y="5183885"/>
                  <a:pt x="1105558" y="5183885"/>
                </a:cubicBezTo>
                <a:close/>
                <a:moveTo>
                  <a:pt x="1557988" y="5178435"/>
                </a:moveTo>
                <a:cubicBezTo>
                  <a:pt x="1563935" y="5178435"/>
                  <a:pt x="1568726" y="5183225"/>
                  <a:pt x="1568726" y="5189171"/>
                </a:cubicBezTo>
                <a:cubicBezTo>
                  <a:pt x="1568726" y="5195118"/>
                  <a:pt x="1563935" y="5199909"/>
                  <a:pt x="1557988" y="5199909"/>
                </a:cubicBezTo>
                <a:cubicBezTo>
                  <a:pt x="1552042" y="5199909"/>
                  <a:pt x="1547252" y="5195118"/>
                  <a:pt x="1547252" y="5189171"/>
                </a:cubicBezTo>
                <a:cubicBezTo>
                  <a:pt x="1547252" y="5183225"/>
                  <a:pt x="1552042" y="5178435"/>
                  <a:pt x="1557988" y="5178435"/>
                </a:cubicBezTo>
                <a:close/>
                <a:moveTo>
                  <a:pt x="1170968" y="5178104"/>
                </a:moveTo>
                <a:cubicBezTo>
                  <a:pt x="1176915" y="5178104"/>
                  <a:pt x="1181706" y="5182893"/>
                  <a:pt x="1181706" y="5188840"/>
                </a:cubicBezTo>
                <a:cubicBezTo>
                  <a:pt x="1181706" y="5194786"/>
                  <a:pt x="1176915" y="5199576"/>
                  <a:pt x="1170968" y="5199576"/>
                </a:cubicBezTo>
                <a:cubicBezTo>
                  <a:pt x="1165022" y="5199576"/>
                  <a:pt x="1160232" y="5194786"/>
                  <a:pt x="1160232" y="5188840"/>
                </a:cubicBezTo>
                <a:cubicBezTo>
                  <a:pt x="1160232" y="5182893"/>
                  <a:pt x="1165022" y="5178104"/>
                  <a:pt x="1170968" y="5178104"/>
                </a:cubicBezTo>
                <a:close/>
                <a:moveTo>
                  <a:pt x="1686004" y="5175627"/>
                </a:moveTo>
                <a:cubicBezTo>
                  <a:pt x="1691951" y="5175627"/>
                  <a:pt x="1696742" y="5180417"/>
                  <a:pt x="1696742" y="5186363"/>
                </a:cubicBezTo>
                <a:cubicBezTo>
                  <a:pt x="1696742" y="5192310"/>
                  <a:pt x="1691951" y="5197100"/>
                  <a:pt x="1686004" y="5197100"/>
                </a:cubicBezTo>
                <a:cubicBezTo>
                  <a:pt x="1680058" y="5197100"/>
                  <a:pt x="1675268" y="5192310"/>
                  <a:pt x="1675268" y="5186363"/>
                </a:cubicBezTo>
                <a:cubicBezTo>
                  <a:pt x="1675268" y="5180417"/>
                  <a:pt x="1680058" y="5175627"/>
                  <a:pt x="1686004" y="5175627"/>
                </a:cubicBezTo>
                <a:close/>
                <a:moveTo>
                  <a:pt x="1194756" y="5174470"/>
                </a:moveTo>
                <a:cubicBezTo>
                  <a:pt x="1200702" y="5174470"/>
                  <a:pt x="1205494" y="5179260"/>
                  <a:pt x="1205494" y="5185207"/>
                </a:cubicBezTo>
                <a:cubicBezTo>
                  <a:pt x="1205494" y="5191153"/>
                  <a:pt x="1200702" y="5195943"/>
                  <a:pt x="1194756" y="5195943"/>
                </a:cubicBezTo>
                <a:cubicBezTo>
                  <a:pt x="1188809" y="5195943"/>
                  <a:pt x="1184020" y="5191153"/>
                  <a:pt x="1184020" y="5185207"/>
                </a:cubicBezTo>
                <a:cubicBezTo>
                  <a:pt x="1184020" y="5179260"/>
                  <a:pt x="1188809" y="5174470"/>
                  <a:pt x="1194756" y="5174470"/>
                </a:cubicBezTo>
                <a:close/>
                <a:moveTo>
                  <a:pt x="1448308" y="5173149"/>
                </a:moveTo>
                <a:cubicBezTo>
                  <a:pt x="1454254" y="5173149"/>
                  <a:pt x="1459046" y="5177939"/>
                  <a:pt x="1459046" y="5183885"/>
                </a:cubicBezTo>
                <a:cubicBezTo>
                  <a:pt x="1459046" y="5189832"/>
                  <a:pt x="1454254" y="5194622"/>
                  <a:pt x="1448308" y="5194622"/>
                </a:cubicBezTo>
                <a:cubicBezTo>
                  <a:pt x="1442361" y="5194622"/>
                  <a:pt x="1437572" y="5189832"/>
                  <a:pt x="1437572" y="5183885"/>
                </a:cubicBezTo>
                <a:cubicBezTo>
                  <a:pt x="1437572" y="5177939"/>
                  <a:pt x="1442361" y="5173149"/>
                  <a:pt x="1448308" y="5173149"/>
                </a:cubicBezTo>
                <a:close/>
                <a:moveTo>
                  <a:pt x="1138759" y="5173149"/>
                </a:moveTo>
                <a:cubicBezTo>
                  <a:pt x="1144706" y="5173149"/>
                  <a:pt x="1149495" y="5177939"/>
                  <a:pt x="1149495" y="5183885"/>
                </a:cubicBezTo>
                <a:cubicBezTo>
                  <a:pt x="1149495" y="5189832"/>
                  <a:pt x="1144706" y="5194622"/>
                  <a:pt x="1138759" y="5194622"/>
                </a:cubicBezTo>
                <a:cubicBezTo>
                  <a:pt x="1132812" y="5194622"/>
                  <a:pt x="1128023" y="5189832"/>
                  <a:pt x="1128023" y="5183885"/>
                </a:cubicBezTo>
                <a:cubicBezTo>
                  <a:pt x="1128023" y="5177939"/>
                  <a:pt x="1132812" y="5173149"/>
                  <a:pt x="1138759" y="5173149"/>
                </a:cubicBezTo>
                <a:close/>
                <a:moveTo>
                  <a:pt x="1280815" y="5170175"/>
                </a:moveTo>
                <a:cubicBezTo>
                  <a:pt x="1286762" y="5170175"/>
                  <a:pt x="1291553" y="5174965"/>
                  <a:pt x="1291553" y="5180911"/>
                </a:cubicBezTo>
                <a:cubicBezTo>
                  <a:pt x="1291553" y="5186858"/>
                  <a:pt x="1286762" y="5191649"/>
                  <a:pt x="1280815" y="5191649"/>
                </a:cubicBezTo>
                <a:cubicBezTo>
                  <a:pt x="1274868" y="5191649"/>
                  <a:pt x="1270079" y="5186858"/>
                  <a:pt x="1270079" y="5180911"/>
                </a:cubicBezTo>
                <a:cubicBezTo>
                  <a:pt x="1270079" y="5174965"/>
                  <a:pt x="1274868" y="5170175"/>
                  <a:pt x="1280815" y="5170175"/>
                </a:cubicBezTo>
                <a:close/>
                <a:moveTo>
                  <a:pt x="1225975" y="5167697"/>
                </a:moveTo>
                <a:cubicBezTo>
                  <a:pt x="1231921" y="5167697"/>
                  <a:pt x="1236713" y="5172487"/>
                  <a:pt x="1236713" y="5178433"/>
                </a:cubicBezTo>
                <a:cubicBezTo>
                  <a:pt x="1236713" y="5184380"/>
                  <a:pt x="1231921" y="5189171"/>
                  <a:pt x="1225975" y="5189171"/>
                </a:cubicBezTo>
                <a:cubicBezTo>
                  <a:pt x="1220028" y="5189171"/>
                  <a:pt x="1215238" y="5184380"/>
                  <a:pt x="1215238" y="5178433"/>
                </a:cubicBezTo>
                <a:cubicBezTo>
                  <a:pt x="1215238" y="5172487"/>
                  <a:pt x="1220028" y="5167697"/>
                  <a:pt x="1225975" y="5167697"/>
                </a:cubicBezTo>
                <a:close/>
                <a:moveTo>
                  <a:pt x="2150824" y="5165881"/>
                </a:moveTo>
                <a:cubicBezTo>
                  <a:pt x="2156770" y="5165881"/>
                  <a:pt x="2161562" y="5170671"/>
                  <a:pt x="2161562" y="5176617"/>
                </a:cubicBezTo>
                <a:cubicBezTo>
                  <a:pt x="2161562" y="5182564"/>
                  <a:pt x="2156770" y="5187354"/>
                  <a:pt x="2150824" y="5187354"/>
                </a:cubicBezTo>
                <a:cubicBezTo>
                  <a:pt x="2144877" y="5187354"/>
                  <a:pt x="2140087" y="5182564"/>
                  <a:pt x="2140087" y="5176617"/>
                </a:cubicBezTo>
                <a:cubicBezTo>
                  <a:pt x="2140087" y="5170671"/>
                  <a:pt x="2144877" y="5165881"/>
                  <a:pt x="2150824" y="5165881"/>
                </a:cubicBezTo>
                <a:close/>
                <a:moveTo>
                  <a:pt x="1161224" y="5164560"/>
                </a:moveTo>
                <a:cubicBezTo>
                  <a:pt x="1167170" y="5164560"/>
                  <a:pt x="1171960" y="5169349"/>
                  <a:pt x="1171960" y="5175296"/>
                </a:cubicBezTo>
                <a:cubicBezTo>
                  <a:pt x="1171960" y="5181242"/>
                  <a:pt x="1167170" y="5186034"/>
                  <a:pt x="1161224" y="5186034"/>
                </a:cubicBezTo>
                <a:cubicBezTo>
                  <a:pt x="1155277" y="5186034"/>
                  <a:pt x="1150487" y="5181242"/>
                  <a:pt x="1150487" y="5175296"/>
                </a:cubicBezTo>
                <a:cubicBezTo>
                  <a:pt x="1150487" y="5169349"/>
                  <a:pt x="1155277" y="5164560"/>
                  <a:pt x="1161224" y="5164560"/>
                </a:cubicBezTo>
                <a:close/>
                <a:moveTo>
                  <a:pt x="1834668" y="5162907"/>
                </a:moveTo>
                <a:cubicBezTo>
                  <a:pt x="1840614" y="5162907"/>
                  <a:pt x="1845406" y="5167697"/>
                  <a:pt x="1845406" y="5173643"/>
                </a:cubicBezTo>
                <a:cubicBezTo>
                  <a:pt x="1845406" y="5179590"/>
                  <a:pt x="1840614" y="5184381"/>
                  <a:pt x="1834668" y="5184381"/>
                </a:cubicBezTo>
                <a:cubicBezTo>
                  <a:pt x="1828721" y="5184381"/>
                  <a:pt x="1823931" y="5179590"/>
                  <a:pt x="1823931" y="5173643"/>
                </a:cubicBezTo>
                <a:cubicBezTo>
                  <a:pt x="1823931" y="5167697"/>
                  <a:pt x="1828721" y="5162907"/>
                  <a:pt x="1834668" y="5162907"/>
                </a:cubicBezTo>
                <a:close/>
                <a:moveTo>
                  <a:pt x="1354981" y="5161752"/>
                </a:moveTo>
                <a:cubicBezTo>
                  <a:pt x="1360928" y="5161752"/>
                  <a:pt x="1365719" y="5166542"/>
                  <a:pt x="1365719" y="5172488"/>
                </a:cubicBezTo>
                <a:cubicBezTo>
                  <a:pt x="1365719" y="5178435"/>
                  <a:pt x="1360928" y="5183225"/>
                  <a:pt x="1354981" y="5183225"/>
                </a:cubicBezTo>
                <a:cubicBezTo>
                  <a:pt x="1349034" y="5183225"/>
                  <a:pt x="1344245" y="5178435"/>
                  <a:pt x="1344245" y="5172488"/>
                </a:cubicBezTo>
                <a:cubicBezTo>
                  <a:pt x="1344245" y="5166542"/>
                  <a:pt x="1349034" y="5161752"/>
                  <a:pt x="1354981" y="5161752"/>
                </a:cubicBezTo>
                <a:close/>
                <a:moveTo>
                  <a:pt x="1184184" y="5159603"/>
                </a:moveTo>
                <a:cubicBezTo>
                  <a:pt x="1190131" y="5159603"/>
                  <a:pt x="1194921" y="5164393"/>
                  <a:pt x="1194921" y="5170340"/>
                </a:cubicBezTo>
                <a:cubicBezTo>
                  <a:pt x="1194921" y="5176286"/>
                  <a:pt x="1190131" y="5181076"/>
                  <a:pt x="1184184" y="5181076"/>
                </a:cubicBezTo>
                <a:cubicBezTo>
                  <a:pt x="1178238" y="5181076"/>
                  <a:pt x="1173448" y="5176286"/>
                  <a:pt x="1173448" y="5170340"/>
                </a:cubicBezTo>
                <a:cubicBezTo>
                  <a:pt x="1173448" y="5164393"/>
                  <a:pt x="1178238" y="5159603"/>
                  <a:pt x="1184184" y="5159603"/>
                </a:cubicBezTo>
                <a:close/>
                <a:moveTo>
                  <a:pt x="1130499" y="5158282"/>
                </a:moveTo>
                <a:cubicBezTo>
                  <a:pt x="1136446" y="5158282"/>
                  <a:pt x="1141236" y="5163072"/>
                  <a:pt x="1141236" y="5169018"/>
                </a:cubicBezTo>
                <a:cubicBezTo>
                  <a:pt x="1141236" y="5174965"/>
                  <a:pt x="1136446" y="5179756"/>
                  <a:pt x="1130499" y="5179756"/>
                </a:cubicBezTo>
                <a:cubicBezTo>
                  <a:pt x="1124553" y="5179756"/>
                  <a:pt x="1119763" y="5174965"/>
                  <a:pt x="1119763" y="5169018"/>
                </a:cubicBezTo>
                <a:cubicBezTo>
                  <a:pt x="1119763" y="5163072"/>
                  <a:pt x="1124553" y="5158282"/>
                  <a:pt x="1130499" y="5158282"/>
                </a:cubicBezTo>
                <a:close/>
                <a:moveTo>
                  <a:pt x="1099280" y="5158282"/>
                </a:moveTo>
                <a:cubicBezTo>
                  <a:pt x="1105227" y="5158282"/>
                  <a:pt x="1110017" y="5163072"/>
                  <a:pt x="1110017" y="5169018"/>
                </a:cubicBezTo>
                <a:cubicBezTo>
                  <a:pt x="1110017" y="5174965"/>
                  <a:pt x="1105227" y="5179756"/>
                  <a:pt x="1099280" y="5179756"/>
                </a:cubicBezTo>
                <a:cubicBezTo>
                  <a:pt x="1093334" y="5179756"/>
                  <a:pt x="1088544" y="5174965"/>
                  <a:pt x="1088544" y="5169018"/>
                </a:cubicBezTo>
                <a:cubicBezTo>
                  <a:pt x="1088544" y="5163072"/>
                  <a:pt x="1093334" y="5158282"/>
                  <a:pt x="1099280" y="5158282"/>
                </a:cubicBezTo>
                <a:close/>
                <a:moveTo>
                  <a:pt x="2850698" y="5151179"/>
                </a:moveTo>
                <a:cubicBezTo>
                  <a:pt x="2856644" y="5151179"/>
                  <a:pt x="2861436" y="5155968"/>
                  <a:pt x="2861436" y="5161915"/>
                </a:cubicBezTo>
                <a:cubicBezTo>
                  <a:pt x="2861436" y="5167861"/>
                  <a:pt x="2856644" y="5172653"/>
                  <a:pt x="2850698" y="5172653"/>
                </a:cubicBezTo>
                <a:cubicBezTo>
                  <a:pt x="2844752" y="5172653"/>
                  <a:pt x="2839962" y="5167861"/>
                  <a:pt x="2839962" y="5161915"/>
                </a:cubicBezTo>
                <a:cubicBezTo>
                  <a:pt x="2839962" y="5155968"/>
                  <a:pt x="2844752" y="5151179"/>
                  <a:pt x="2850698" y="5151179"/>
                </a:cubicBezTo>
                <a:close/>
                <a:moveTo>
                  <a:pt x="1150487" y="5150353"/>
                </a:moveTo>
                <a:cubicBezTo>
                  <a:pt x="1156434" y="5150353"/>
                  <a:pt x="1161225" y="5155143"/>
                  <a:pt x="1161225" y="5161089"/>
                </a:cubicBezTo>
                <a:cubicBezTo>
                  <a:pt x="1161225" y="5167036"/>
                  <a:pt x="1156434" y="5171826"/>
                  <a:pt x="1150487" y="5171826"/>
                </a:cubicBezTo>
                <a:cubicBezTo>
                  <a:pt x="1144541" y="5171826"/>
                  <a:pt x="1139751" y="5167036"/>
                  <a:pt x="1139751" y="5161089"/>
                </a:cubicBezTo>
                <a:cubicBezTo>
                  <a:pt x="1139751" y="5155143"/>
                  <a:pt x="1144541" y="5150353"/>
                  <a:pt x="1150487" y="5150353"/>
                </a:cubicBezTo>
                <a:close/>
                <a:moveTo>
                  <a:pt x="3017036" y="5149528"/>
                </a:moveTo>
                <a:cubicBezTo>
                  <a:pt x="3022982" y="5149528"/>
                  <a:pt x="3027774" y="5154317"/>
                  <a:pt x="3027774" y="5160264"/>
                </a:cubicBezTo>
                <a:cubicBezTo>
                  <a:pt x="3027774" y="5166210"/>
                  <a:pt x="3022982" y="5171002"/>
                  <a:pt x="3017036" y="5171002"/>
                </a:cubicBezTo>
                <a:cubicBezTo>
                  <a:pt x="3011090" y="5171002"/>
                  <a:pt x="3006300" y="5166210"/>
                  <a:pt x="3006300" y="5160264"/>
                </a:cubicBezTo>
                <a:cubicBezTo>
                  <a:pt x="3006300" y="5154317"/>
                  <a:pt x="3011090" y="5149528"/>
                  <a:pt x="3017036" y="5149528"/>
                </a:cubicBezTo>
                <a:close/>
                <a:moveTo>
                  <a:pt x="1216889" y="5148536"/>
                </a:moveTo>
                <a:cubicBezTo>
                  <a:pt x="1222836" y="5148536"/>
                  <a:pt x="1227628" y="5153325"/>
                  <a:pt x="1227628" y="5159272"/>
                </a:cubicBezTo>
                <a:cubicBezTo>
                  <a:pt x="1227628" y="5165219"/>
                  <a:pt x="1222836" y="5170010"/>
                  <a:pt x="1216889" y="5170010"/>
                </a:cubicBezTo>
                <a:cubicBezTo>
                  <a:pt x="1210943" y="5170010"/>
                  <a:pt x="1206153" y="5165219"/>
                  <a:pt x="1206153" y="5159272"/>
                </a:cubicBezTo>
                <a:cubicBezTo>
                  <a:pt x="1206153" y="5153325"/>
                  <a:pt x="1210943" y="5148536"/>
                  <a:pt x="1216889" y="5148536"/>
                </a:cubicBezTo>
                <a:close/>
                <a:moveTo>
                  <a:pt x="2684525" y="5146720"/>
                </a:moveTo>
                <a:cubicBezTo>
                  <a:pt x="2690471" y="5146720"/>
                  <a:pt x="2695263" y="5151510"/>
                  <a:pt x="2695263" y="5157456"/>
                </a:cubicBezTo>
                <a:cubicBezTo>
                  <a:pt x="2695263" y="5163403"/>
                  <a:pt x="2690471" y="5168193"/>
                  <a:pt x="2684525" y="5168193"/>
                </a:cubicBezTo>
                <a:cubicBezTo>
                  <a:pt x="2678578" y="5168193"/>
                  <a:pt x="2673788" y="5163403"/>
                  <a:pt x="2673788" y="5157456"/>
                </a:cubicBezTo>
                <a:cubicBezTo>
                  <a:pt x="2673788" y="5151510"/>
                  <a:pt x="2678578" y="5146720"/>
                  <a:pt x="2684525" y="5146720"/>
                </a:cubicBezTo>
                <a:close/>
                <a:moveTo>
                  <a:pt x="1275529" y="5145728"/>
                </a:moveTo>
                <a:cubicBezTo>
                  <a:pt x="1281476" y="5145728"/>
                  <a:pt x="1286267" y="5150518"/>
                  <a:pt x="1286267" y="5156464"/>
                </a:cubicBezTo>
                <a:cubicBezTo>
                  <a:pt x="1286267" y="5162411"/>
                  <a:pt x="1281476" y="5167201"/>
                  <a:pt x="1275529" y="5167201"/>
                </a:cubicBezTo>
                <a:cubicBezTo>
                  <a:pt x="1269583" y="5167201"/>
                  <a:pt x="1264793" y="5162411"/>
                  <a:pt x="1264793" y="5156464"/>
                </a:cubicBezTo>
                <a:cubicBezTo>
                  <a:pt x="1264793" y="5150518"/>
                  <a:pt x="1269583" y="5145728"/>
                  <a:pt x="1275529" y="5145728"/>
                </a:cubicBezTo>
                <a:close/>
                <a:moveTo>
                  <a:pt x="1173117" y="5143581"/>
                </a:moveTo>
                <a:cubicBezTo>
                  <a:pt x="1179063" y="5143581"/>
                  <a:pt x="1183853" y="5148371"/>
                  <a:pt x="1183853" y="5154317"/>
                </a:cubicBezTo>
                <a:cubicBezTo>
                  <a:pt x="1183853" y="5160264"/>
                  <a:pt x="1179063" y="5165054"/>
                  <a:pt x="1173117" y="5165054"/>
                </a:cubicBezTo>
                <a:cubicBezTo>
                  <a:pt x="1167170" y="5165054"/>
                  <a:pt x="1162380" y="5160264"/>
                  <a:pt x="1162380" y="5154317"/>
                </a:cubicBezTo>
                <a:cubicBezTo>
                  <a:pt x="1162380" y="5148371"/>
                  <a:pt x="1167170" y="5143581"/>
                  <a:pt x="1173117" y="5143581"/>
                </a:cubicBezTo>
                <a:close/>
                <a:moveTo>
                  <a:pt x="1120920" y="5143416"/>
                </a:moveTo>
                <a:cubicBezTo>
                  <a:pt x="1126866" y="5143416"/>
                  <a:pt x="1131658" y="5148206"/>
                  <a:pt x="1131658" y="5154153"/>
                </a:cubicBezTo>
                <a:cubicBezTo>
                  <a:pt x="1131658" y="5160099"/>
                  <a:pt x="1126866" y="5164891"/>
                  <a:pt x="1120920" y="5164891"/>
                </a:cubicBezTo>
                <a:cubicBezTo>
                  <a:pt x="1114973" y="5164891"/>
                  <a:pt x="1110183" y="5160099"/>
                  <a:pt x="1110183" y="5154153"/>
                </a:cubicBezTo>
                <a:cubicBezTo>
                  <a:pt x="1110183" y="5148206"/>
                  <a:pt x="1114973" y="5143416"/>
                  <a:pt x="1120920" y="5143416"/>
                </a:cubicBezTo>
                <a:close/>
                <a:moveTo>
                  <a:pt x="3182382" y="5141764"/>
                </a:moveTo>
                <a:cubicBezTo>
                  <a:pt x="3188329" y="5141764"/>
                  <a:pt x="3193120" y="5146553"/>
                  <a:pt x="3193120" y="5152500"/>
                </a:cubicBezTo>
                <a:cubicBezTo>
                  <a:pt x="3193120" y="5158447"/>
                  <a:pt x="3188329" y="5163238"/>
                  <a:pt x="3182382" y="5163238"/>
                </a:cubicBezTo>
                <a:cubicBezTo>
                  <a:pt x="3176436" y="5163238"/>
                  <a:pt x="3171646" y="5158447"/>
                  <a:pt x="3171646" y="5152500"/>
                </a:cubicBezTo>
                <a:cubicBezTo>
                  <a:pt x="3171646" y="5146553"/>
                  <a:pt x="3176436" y="5141764"/>
                  <a:pt x="3182382" y="5141764"/>
                </a:cubicBezTo>
                <a:close/>
                <a:moveTo>
                  <a:pt x="1091848" y="5141599"/>
                </a:moveTo>
                <a:cubicBezTo>
                  <a:pt x="1097794" y="5141599"/>
                  <a:pt x="1102586" y="5146389"/>
                  <a:pt x="1102586" y="5152335"/>
                </a:cubicBezTo>
                <a:cubicBezTo>
                  <a:pt x="1102586" y="5158282"/>
                  <a:pt x="1097794" y="5163072"/>
                  <a:pt x="1091848" y="5163072"/>
                </a:cubicBezTo>
                <a:cubicBezTo>
                  <a:pt x="1085901" y="5163072"/>
                  <a:pt x="1081111" y="5158282"/>
                  <a:pt x="1081111" y="5152335"/>
                </a:cubicBezTo>
                <a:cubicBezTo>
                  <a:pt x="1081111" y="5146389"/>
                  <a:pt x="1085901" y="5141599"/>
                  <a:pt x="1091848" y="5141599"/>
                </a:cubicBezTo>
                <a:close/>
                <a:moveTo>
                  <a:pt x="2005795" y="5137799"/>
                </a:moveTo>
                <a:cubicBezTo>
                  <a:pt x="2011742" y="5137799"/>
                  <a:pt x="2016533" y="5142589"/>
                  <a:pt x="2016533" y="5148536"/>
                </a:cubicBezTo>
                <a:cubicBezTo>
                  <a:pt x="2016533" y="5154482"/>
                  <a:pt x="2011742" y="5159272"/>
                  <a:pt x="2005795" y="5159272"/>
                </a:cubicBezTo>
                <a:cubicBezTo>
                  <a:pt x="1999849" y="5159272"/>
                  <a:pt x="1995059" y="5154482"/>
                  <a:pt x="1995059" y="5148536"/>
                </a:cubicBezTo>
                <a:cubicBezTo>
                  <a:pt x="1995059" y="5142589"/>
                  <a:pt x="1999849" y="5137799"/>
                  <a:pt x="2005795" y="5137799"/>
                </a:cubicBezTo>
                <a:close/>
                <a:moveTo>
                  <a:pt x="1454750" y="5136478"/>
                </a:moveTo>
                <a:cubicBezTo>
                  <a:pt x="1460697" y="5136478"/>
                  <a:pt x="1465488" y="5141268"/>
                  <a:pt x="1465488" y="5147214"/>
                </a:cubicBezTo>
                <a:cubicBezTo>
                  <a:pt x="1465488" y="5153161"/>
                  <a:pt x="1460697" y="5157951"/>
                  <a:pt x="1454750" y="5157951"/>
                </a:cubicBezTo>
                <a:cubicBezTo>
                  <a:pt x="1448804" y="5157951"/>
                  <a:pt x="1444014" y="5153161"/>
                  <a:pt x="1444014" y="5147214"/>
                </a:cubicBezTo>
                <a:cubicBezTo>
                  <a:pt x="1444014" y="5141268"/>
                  <a:pt x="1448804" y="5136478"/>
                  <a:pt x="1454750" y="5136478"/>
                </a:cubicBezTo>
                <a:close/>
                <a:moveTo>
                  <a:pt x="2520169" y="5136148"/>
                </a:moveTo>
                <a:cubicBezTo>
                  <a:pt x="2526116" y="5136148"/>
                  <a:pt x="2530907" y="5140938"/>
                  <a:pt x="2530907" y="5146885"/>
                </a:cubicBezTo>
                <a:cubicBezTo>
                  <a:pt x="2530907" y="5152831"/>
                  <a:pt x="2526116" y="5157623"/>
                  <a:pt x="2520169" y="5157623"/>
                </a:cubicBezTo>
                <a:cubicBezTo>
                  <a:pt x="2514222" y="5157623"/>
                  <a:pt x="2509433" y="5152831"/>
                  <a:pt x="2509433" y="5146885"/>
                </a:cubicBezTo>
                <a:cubicBezTo>
                  <a:pt x="2509433" y="5140938"/>
                  <a:pt x="2514222" y="5136148"/>
                  <a:pt x="2520169" y="5136148"/>
                </a:cubicBezTo>
                <a:close/>
                <a:moveTo>
                  <a:pt x="1571534" y="5135984"/>
                </a:moveTo>
                <a:cubicBezTo>
                  <a:pt x="1577481" y="5135984"/>
                  <a:pt x="1582272" y="5140773"/>
                  <a:pt x="1582272" y="5146720"/>
                </a:cubicBezTo>
                <a:cubicBezTo>
                  <a:pt x="1582272" y="5152666"/>
                  <a:pt x="1577481" y="5157456"/>
                  <a:pt x="1571534" y="5157456"/>
                </a:cubicBezTo>
                <a:cubicBezTo>
                  <a:pt x="1565588" y="5157456"/>
                  <a:pt x="1560798" y="5152666"/>
                  <a:pt x="1560798" y="5146720"/>
                </a:cubicBezTo>
                <a:cubicBezTo>
                  <a:pt x="1560798" y="5140773"/>
                  <a:pt x="1565588" y="5135984"/>
                  <a:pt x="1571534" y="5135984"/>
                </a:cubicBezTo>
                <a:close/>
                <a:moveTo>
                  <a:pt x="1139088" y="5135488"/>
                </a:moveTo>
                <a:cubicBezTo>
                  <a:pt x="1145035" y="5135488"/>
                  <a:pt x="1149827" y="5140277"/>
                  <a:pt x="1149827" y="5146224"/>
                </a:cubicBezTo>
                <a:cubicBezTo>
                  <a:pt x="1149827" y="5152171"/>
                  <a:pt x="1145035" y="5156960"/>
                  <a:pt x="1139088" y="5156960"/>
                </a:cubicBezTo>
                <a:cubicBezTo>
                  <a:pt x="1133142" y="5156960"/>
                  <a:pt x="1128352" y="5152171"/>
                  <a:pt x="1128352" y="5146224"/>
                </a:cubicBezTo>
                <a:cubicBezTo>
                  <a:pt x="1128352" y="5140277"/>
                  <a:pt x="1133142" y="5135488"/>
                  <a:pt x="1139088" y="5135488"/>
                </a:cubicBezTo>
                <a:close/>
                <a:moveTo>
                  <a:pt x="1054022" y="5131853"/>
                </a:moveTo>
                <a:cubicBezTo>
                  <a:pt x="1058128" y="5131853"/>
                  <a:pt x="1061456" y="5135181"/>
                  <a:pt x="1061456" y="5139286"/>
                </a:cubicBezTo>
                <a:cubicBezTo>
                  <a:pt x="1061456" y="5143392"/>
                  <a:pt x="1058128" y="5146720"/>
                  <a:pt x="1054022" y="5146720"/>
                </a:cubicBezTo>
                <a:cubicBezTo>
                  <a:pt x="1049917" y="5146720"/>
                  <a:pt x="1046589" y="5143392"/>
                  <a:pt x="1046589" y="5139286"/>
                </a:cubicBezTo>
                <a:cubicBezTo>
                  <a:pt x="1046589" y="5135181"/>
                  <a:pt x="1049917" y="5131853"/>
                  <a:pt x="1054022" y="5131853"/>
                </a:cubicBezTo>
                <a:close/>
                <a:moveTo>
                  <a:pt x="1355312" y="5129871"/>
                </a:moveTo>
                <a:cubicBezTo>
                  <a:pt x="1361259" y="5129871"/>
                  <a:pt x="1366048" y="5134660"/>
                  <a:pt x="1366048" y="5140607"/>
                </a:cubicBezTo>
                <a:cubicBezTo>
                  <a:pt x="1366048" y="5146553"/>
                  <a:pt x="1361259" y="5151345"/>
                  <a:pt x="1355312" y="5151345"/>
                </a:cubicBezTo>
                <a:cubicBezTo>
                  <a:pt x="1349366" y="5151345"/>
                  <a:pt x="1344576" y="5146553"/>
                  <a:pt x="1344576" y="5140607"/>
                </a:cubicBezTo>
                <a:cubicBezTo>
                  <a:pt x="1344576" y="5134660"/>
                  <a:pt x="1349366" y="5129871"/>
                  <a:pt x="1355312" y="5129871"/>
                </a:cubicBezTo>
                <a:close/>
                <a:moveTo>
                  <a:pt x="1110348" y="5128384"/>
                </a:moveTo>
                <a:cubicBezTo>
                  <a:pt x="1116294" y="5128384"/>
                  <a:pt x="1121086" y="5133174"/>
                  <a:pt x="1121086" y="5139121"/>
                </a:cubicBezTo>
                <a:cubicBezTo>
                  <a:pt x="1121086" y="5145067"/>
                  <a:pt x="1116294" y="5149859"/>
                  <a:pt x="1110348" y="5149859"/>
                </a:cubicBezTo>
                <a:cubicBezTo>
                  <a:pt x="1104401" y="5149859"/>
                  <a:pt x="1099612" y="5145067"/>
                  <a:pt x="1099612" y="5139121"/>
                </a:cubicBezTo>
                <a:cubicBezTo>
                  <a:pt x="1099612" y="5133174"/>
                  <a:pt x="1104401" y="5128384"/>
                  <a:pt x="1110348" y="5128384"/>
                </a:cubicBezTo>
                <a:close/>
                <a:moveTo>
                  <a:pt x="3345250" y="5128055"/>
                </a:moveTo>
                <a:cubicBezTo>
                  <a:pt x="3351196" y="5128055"/>
                  <a:pt x="3355988" y="5132845"/>
                  <a:pt x="3355988" y="5138791"/>
                </a:cubicBezTo>
                <a:cubicBezTo>
                  <a:pt x="3355988" y="5144738"/>
                  <a:pt x="3351196" y="5149528"/>
                  <a:pt x="3345250" y="5149528"/>
                </a:cubicBezTo>
                <a:cubicBezTo>
                  <a:pt x="3339304" y="5149528"/>
                  <a:pt x="3334514" y="5144738"/>
                  <a:pt x="3334514" y="5138791"/>
                </a:cubicBezTo>
                <a:cubicBezTo>
                  <a:pt x="3334514" y="5132845"/>
                  <a:pt x="3339304" y="5128055"/>
                  <a:pt x="3345250" y="5128055"/>
                </a:cubicBezTo>
                <a:close/>
                <a:moveTo>
                  <a:pt x="1208135" y="5126567"/>
                </a:moveTo>
                <a:cubicBezTo>
                  <a:pt x="1214082" y="5126567"/>
                  <a:pt x="1218873" y="5131357"/>
                  <a:pt x="1218873" y="5137303"/>
                </a:cubicBezTo>
                <a:cubicBezTo>
                  <a:pt x="1218873" y="5143250"/>
                  <a:pt x="1214082" y="5148040"/>
                  <a:pt x="1208135" y="5148040"/>
                </a:cubicBezTo>
                <a:cubicBezTo>
                  <a:pt x="1202189" y="5148040"/>
                  <a:pt x="1197399" y="5143250"/>
                  <a:pt x="1197399" y="5137303"/>
                </a:cubicBezTo>
                <a:cubicBezTo>
                  <a:pt x="1197399" y="5131357"/>
                  <a:pt x="1202189" y="5126567"/>
                  <a:pt x="1208135" y="5126567"/>
                </a:cubicBezTo>
                <a:close/>
                <a:moveTo>
                  <a:pt x="1708139" y="5126402"/>
                </a:moveTo>
                <a:cubicBezTo>
                  <a:pt x="1714086" y="5126402"/>
                  <a:pt x="1718876" y="5131192"/>
                  <a:pt x="1718876" y="5137139"/>
                </a:cubicBezTo>
                <a:cubicBezTo>
                  <a:pt x="1718876" y="5143085"/>
                  <a:pt x="1714086" y="5147877"/>
                  <a:pt x="1708139" y="5147877"/>
                </a:cubicBezTo>
                <a:cubicBezTo>
                  <a:pt x="1702193" y="5147877"/>
                  <a:pt x="1697403" y="5143085"/>
                  <a:pt x="1697403" y="5137139"/>
                </a:cubicBezTo>
                <a:cubicBezTo>
                  <a:pt x="1697403" y="5131192"/>
                  <a:pt x="1702193" y="5126402"/>
                  <a:pt x="1708139" y="5126402"/>
                </a:cubicBezTo>
                <a:close/>
                <a:moveTo>
                  <a:pt x="1162049" y="5125577"/>
                </a:moveTo>
                <a:cubicBezTo>
                  <a:pt x="1167996" y="5125577"/>
                  <a:pt x="1172787" y="5130367"/>
                  <a:pt x="1172787" y="5136313"/>
                </a:cubicBezTo>
                <a:cubicBezTo>
                  <a:pt x="1172787" y="5142260"/>
                  <a:pt x="1167996" y="5147049"/>
                  <a:pt x="1162049" y="5147049"/>
                </a:cubicBezTo>
                <a:cubicBezTo>
                  <a:pt x="1156103" y="5147049"/>
                  <a:pt x="1151313" y="5142260"/>
                  <a:pt x="1151313" y="5136313"/>
                </a:cubicBezTo>
                <a:cubicBezTo>
                  <a:pt x="1151313" y="5130367"/>
                  <a:pt x="1156103" y="5125577"/>
                  <a:pt x="1162049" y="5125577"/>
                </a:cubicBezTo>
                <a:close/>
                <a:moveTo>
                  <a:pt x="1082927" y="5125246"/>
                </a:moveTo>
                <a:cubicBezTo>
                  <a:pt x="1088873" y="5125246"/>
                  <a:pt x="1093663" y="5130035"/>
                  <a:pt x="1093663" y="5135982"/>
                </a:cubicBezTo>
                <a:cubicBezTo>
                  <a:pt x="1093663" y="5141928"/>
                  <a:pt x="1088873" y="5146720"/>
                  <a:pt x="1082927" y="5146720"/>
                </a:cubicBezTo>
                <a:cubicBezTo>
                  <a:pt x="1076980" y="5146720"/>
                  <a:pt x="1072190" y="5141928"/>
                  <a:pt x="1072190" y="5135982"/>
                </a:cubicBezTo>
                <a:cubicBezTo>
                  <a:pt x="1072190" y="5130035"/>
                  <a:pt x="1076980" y="5125246"/>
                  <a:pt x="1082927" y="5125246"/>
                </a:cubicBezTo>
                <a:close/>
                <a:moveTo>
                  <a:pt x="2358787" y="5119795"/>
                </a:moveTo>
                <a:cubicBezTo>
                  <a:pt x="2364734" y="5119795"/>
                  <a:pt x="2369525" y="5124585"/>
                  <a:pt x="2369525" y="5130531"/>
                </a:cubicBezTo>
                <a:cubicBezTo>
                  <a:pt x="2369525" y="5136478"/>
                  <a:pt x="2364734" y="5141268"/>
                  <a:pt x="2358787" y="5141268"/>
                </a:cubicBezTo>
                <a:cubicBezTo>
                  <a:pt x="2352841" y="5141268"/>
                  <a:pt x="2348051" y="5136478"/>
                  <a:pt x="2348051" y="5130531"/>
                </a:cubicBezTo>
                <a:cubicBezTo>
                  <a:pt x="2348051" y="5124585"/>
                  <a:pt x="2352841" y="5119795"/>
                  <a:pt x="2358787" y="5119795"/>
                </a:cubicBezTo>
                <a:close/>
                <a:moveTo>
                  <a:pt x="1127196" y="5119630"/>
                </a:moveTo>
                <a:cubicBezTo>
                  <a:pt x="1133142" y="5119630"/>
                  <a:pt x="1137934" y="5124420"/>
                  <a:pt x="1137934" y="5130367"/>
                </a:cubicBezTo>
                <a:cubicBezTo>
                  <a:pt x="1137934" y="5136313"/>
                  <a:pt x="1133142" y="5141105"/>
                  <a:pt x="1127196" y="5141105"/>
                </a:cubicBezTo>
                <a:cubicBezTo>
                  <a:pt x="1121249" y="5141105"/>
                  <a:pt x="1116459" y="5136313"/>
                  <a:pt x="1116459" y="5130367"/>
                </a:cubicBezTo>
                <a:cubicBezTo>
                  <a:pt x="1116459" y="5124420"/>
                  <a:pt x="1121249" y="5119630"/>
                  <a:pt x="1127196" y="5119630"/>
                </a:cubicBezTo>
                <a:close/>
                <a:moveTo>
                  <a:pt x="1271069" y="5117648"/>
                </a:moveTo>
                <a:cubicBezTo>
                  <a:pt x="1277015" y="5117648"/>
                  <a:pt x="1281805" y="5122438"/>
                  <a:pt x="1281805" y="5128384"/>
                </a:cubicBezTo>
                <a:cubicBezTo>
                  <a:pt x="1281805" y="5134331"/>
                  <a:pt x="1277015" y="5139121"/>
                  <a:pt x="1271069" y="5139121"/>
                </a:cubicBezTo>
                <a:cubicBezTo>
                  <a:pt x="1265122" y="5139121"/>
                  <a:pt x="1260332" y="5134331"/>
                  <a:pt x="1260332" y="5128384"/>
                </a:cubicBezTo>
                <a:cubicBezTo>
                  <a:pt x="1260332" y="5122438"/>
                  <a:pt x="1265122" y="5117648"/>
                  <a:pt x="1271069" y="5117648"/>
                </a:cubicBezTo>
                <a:close/>
                <a:moveTo>
                  <a:pt x="1098784" y="5113023"/>
                </a:moveTo>
                <a:cubicBezTo>
                  <a:pt x="1104731" y="5113023"/>
                  <a:pt x="1109521" y="5117813"/>
                  <a:pt x="1109521" y="5123759"/>
                </a:cubicBezTo>
                <a:cubicBezTo>
                  <a:pt x="1109521" y="5129706"/>
                  <a:pt x="1104731" y="5134496"/>
                  <a:pt x="1098784" y="5134496"/>
                </a:cubicBezTo>
                <a:cubicBezTo>
                  <a:pt x="1092838" y="5134496"/>
                  <a:pt x="1088048" y="5129706"/>
                  <a:pt x="1088048" y="5123759"/>
                </a:cubicBezTo>
                <a:cubicBezTo>
                  <a:pt x="1088048" y="5117813"/>
                  <a:pt x="1092838" y="5113023"/>
                  <a:pt x="1098784" y="5113023"/>
                </a:cubicBezTo>
                <a:close/>
                <a:moveTo>
                  <a:pt x="1046422" y="5110545"/>
                </a:moveTo>
                <a:cubicBezTo>
                  <a:pt x="1052369" y="5110545"/>
                  <a:pt x="1057159" y="5115335"/>
                  <a:pt x="1057159" y="5121281"/>
                </a:cubicBezTo>
                <a:cubicBezTo>
                  <a:pt x="1057159" y="5127228"/>
                  <a:pt x="1052369" y="5132018"/>
                  <a:pt x="1046422" y="5132018"/>
                </a:cubicBezTo>
                <a:cubicBezTo>
                  <a:pt x="1040476" y="5132018"/>
                  <a:pt x="1035686" y="5127228"/>
                  <a:pt x="1035686" y="5121281"/>
                </a:cubicBezTo>
                <a:cubicBezTo>
                  <a:pt x="1035686" y="5115335"/>
                  <a:pt x="1040476" y="5110545"/>
                  <a:pt x="1046422" y="5110545"/>
                </a:cubicBezTo>
                <a:close/>
                <a:moveTo>
                  <a:pt x="3503192" y="5110186"/>
                </a:moveTo>
                <a:lnTo>
                  <a:pt x="3503192" y="5128742"/>
                </a:lnTo>
                <a:lnTo>
                  <a:pt x="3493915" y="5119464"/>
                </a:lnTo>
                <a:close/>
                <a:moveTo>
                  <a:pt x="1010249" y="5109719"/>
                </a:moveTo>
                <a:cubicBezTo>
                  <a:pt x="1010523" y="5109719"/>
                  <a:pt x="1010743" y="5109941"/>
                  <a:pt x="1010743" y="5110215"/>
                </a:cubicBezTo>
                <a:cubicBezTo>
                  <a:pt x="1010743" y="5110488"/>
                  <a:pt x="1010523" y="5110710"/>
                  <a:pt x="1010249" y="5110710"/>
                </a:cubicBezTo>
                <a:cubicBezTo>
                  <a:pt x="1009975" y="5110710"/>
                  <a:pt x="1009753" y="5110488"/>
                  <a:pt x="1009753" y="5110215"/>
                </a:cubicBezTo>
                <a:cubicBezTo>
                  <a:pt x="1009753" y="5109941"/>
                  <a:pt x="1009975" y="5109719"/>
                  <a:pt x="1010249" y="5109719"/>
                </a:cubicBezTo>
                <a:close/>
                <a:moveTo>
                  <a:pt x="1072851" y="5109059"/>
                </a:moveTo>
                <a:cubicBezTo>
                  <a:pt x="1078798" y="5109059"/>
                  <a:pt x="1083588" y="5113848"/>
                  <a:pt x="1083588" y="5119795"/>
                </a:cubicBezTo>
                <a:cubicBezTo>
                  <a:pt x="1083588" y="5125742"/>
                  <a:pt x="1078798" y="5130531"/>
                  <a:pt x="1072851" y="5130531"/>
                </a:cubicBezTo>
                <a:cubicBezTo>
                  <a:pt x="1066905" y="5130531"/>
                  <a:pt x="1062115" y="5125742"/>
                  <a:pt x="1062115" y="5119795"/>
                </a:cubicBezTo>
                <a:cubicBezTo>
                  <a:pt x="1062115" y="5113848"/>
                  <a:pt x="1066905" y="5109059"/>
                  <a:pt x="1072851" y="5109059"/>
                </a:cubicBezTo>
                <a:close/>
                <a:moveTo>
                  <a:pt x="1866714" y="5105589"/>
                </a:moveTo>
                <a:cubicBezTo>
                  <a:pt x="1872660" y="5105589"/>
                  <a:pt x="1877452" y="5110378"/>
                  <a:pt x="1877452" y="5116325"/>
                </a:cubicBezTo>
                <a:cubicBezTo>
                  <a:pt x="1877452" y="5122271"/>
                  <a:pt x="1872660" y="5127063"/>
                  <a:pt x="1866714" y="5127063"/>
                </a:cubicBezTo>
                <a:cubicBezTo>
                  <a:pt x="1860767" y="5127063"/>
                  <a:pt x="1855977" y="5122271"/>
                  <a:pt x="1855977" y="5116325"/>
                </a:cubicBezTo>
                <a:cubicBezTo>
                  <a:pt x="1855977" y="5110378"/>
                  <a:pt x="1860767" y="5105589"/>
                  <a:pt x="1866714" y="5105589"/>
                </a:cubicBezTo>
                <a:close/>
                <a:moveTo>
                  <a:pt x="1150817" y="5105424"/>
                </a:moveTo>
                <a:cubicBezTo>
                  <a:pt x="1156763" y="5105424"/>
                  <a:pt x="1161555" y="5110214"/>
                  <a:pt x="1161555" y="5116160"/>
                </a:cubicBezTo>
                <a:cubicBezTo>
                  <a:pt x="1161555" y="5122107"/>
                  <a:pt x="1156763" y="5126896"/>
                  <a:pt x="1150817" y="5126896"/>
                </a:cubicBezTo>
                <a:cubicBezTo>
                  <a:pt x="1144870" y="5126896"/>
                  <a:pt x="1140080" y="5122107"/>
                  <a:pt x="1140080" y="5116160"/>
                </a:cubicBezTo>
                <a:cubicBezTo>
                  <a:pt x="1140080" y="5110214"/>
                  <a:pt x="1144870" y="5105424"/>
                  <a:pt x="1150817" y="5105424"/>
                </a:cubicBezTo>
                <a:close/>
                <a:moveTo>
                  <a:pt x="1114642" y="5102287"/>
                </a:moveTo>
                <a:cubicBezTo>
                  <a:pt x="1120588" y="5102287"/>
                  <a:pt x="1125378" y="5107076"/>
                  <a:pt x="1125378" y="5113023"/>
                </a:cubicBezTo>
                <a:cubicBezTo>
                  <a:pt x="1125378" y="5118970"/>
                  <a:pt x="1120588" y="5123759"/>
                  <a:pt x="1114642" y="5123759"/>
                </a:cubicBezTo>
                <a:cubicBezTo>
                  <a:pt x="1108695" y="5123759"/>
                  <a:pt x="1103905" y="5118970"/>
                  <a:pt x="1103905" y="5113023"/>
                </a:cubicBezTo>
                <a:cubicBezTo>
                  <a:pt x="1103905" y="5107076"/>
                  <a:pt x="1108695" y="5102287"/>
                  <a:pt x="1114642" y="5102287"/>
                </a:cubicBezTo>
                <a:close/>
                <a:moveTo>
                  <a:pt x="1199875" y="5101459"/>
                </a:moveTo>
                <a:cubicBezTo>
                  <a:pt x="1205806" y="5101459"/>
                  <a:pt x="1210613" y="5106267"/>
                  <a:pt x="1210613" y="5112196"/>
                </a:cubicBezTo>
                <a:cubicBezTo>
                  <a:pt x="1210613" y="5118127"/>
                  <a:pt x="1205806" y="5122934"/>
                  <a:pt x="1199875" y="5122934"/>
                </a:cubicBezTo>
                <a:cubicBezTo>
                  <a:pt x="1193946" y="5122934"/>
                  <a:pt x="1189139" y="5118127"/>
                  <a:pt x="1189139" y="5112196"/>
                </a:cubicBezTo>
                <a:cubicBezTo>
                  <a:pt x="1189139" y="5106267"/>
                  <a:pt x="1193946" y="5101459"/>
                  <a:pt x="1199875" y="5101459"/>
                </a:cubicBezTo>
                <a:close/>
                <a:moveTo>
                  <a:pt x="2201370" y="5097991"/>
                </a:moveTo>
                <a:cubicBezTo>
                  <a:pt x="2207316" y="5097991"/>
                  <a:pt x="2212108" y="5102781"/>
                  <a:pt x="2212108" y="5108727"/>
                </a:cubicBezTo>
                <a:cubicBezTo>
                  <a:pt x="2212108" y="5114674"/>
                  <a:pt x="2207316" y="5119465"/>
                  <a:pt x="2201370" y="5119465"/>
                </a:cubicBezTo>
                <a:cubicBezTo>
                  <a:pt x="2195424" y="5119465"/>
                  <a:pt x="2190634" y="5114674"/>
                  <a:pt x="2190634" y="5108727"/>
                </a:cubicBezTo>
                <a:cubicBezTo>
                  <a:pt x="2190634" y="5102781"/>
                  <a:pt x="2195424" y="5097991"/>
                  <a:pt x="2201370" y="5097991"/>
                </a:cubicBezTo>
                <a:close/>
                <a:moveTo>
                  <a:pt x="1086397" y="5096834"/>
                </a:moveTo>
                <a:cubicBezTo>
                  <a:pt x="1092344" y="5096834"/>
                  <a:pt x="1097133" y="5101624"/>
                  <a:pt x="1097133" y="5107571"/>
                </a:cubicBezTo>
                <a:cubicBezTo>
                  <a:pt x="1097133" y="5113517"/>
                  <a:pt x="1092344" y="5118309"/>
                  <a:pt x="1086397" y="5118309"/>
                </a:cubicBezTo>
                <a:cubicBezTo>
                  <a:pt x="1080450" y="5118309"/>
                  <a:pt x="1075661" y="5113517"/>
                  <a:pt x="1075661" y="5107571"/>
                </a:cubicBezTo>
                <a:cubicBezTo>
                  <a:pt x="1075661" y="5101624"/>
                  <a:pt x="1080450" y="5096834"/>
                  <a:pt x="1086397" y="5096834"/>
                </a:cubicBezTo>
                <a:close/>
                <a:moveTo>
                  <a:pt x="1463340" y="5094191"/>
                </a:moveTo>
                <a:cubicBezTo>
                  <a:pt x="1469286" y="5094191"/>
                  <a:pt x="1474076" y="5098981"/>
                  <a:pt x="1474076" y="5104928"/>
                </a:cubicBezTo>
                <a:cubicBezTo>
                  <a:pt x="1474076" y="5110874"/>
                  <a:pt x="1469286" y="5115664"/>
                  <a:pt x="1463340" y="5115664"/>
                </a:cubicBezTo>
                <a:cubicBezTo>
                  <a:pt x="1457393" y="5115664"/>
                  <a:pt x="1452604" y="5110874"/>
                  <a:pt x="1452604" y="5104928"/>
                </a:cubicBezTo>
                <a:cubicBezTo>
                  <a:pt x="1452604" y="5098981"/>
                  <a:pt x="1457393" y="5094191"/>
                  <a:pt x="1463340" y="5094191"/>
                </a:cubicBezTo>
                <a:close/>
                <a:moveTo>
                  <a:pt x="1357293" y="5093036"/>
                </a:moveTo>
                <a:cubicBezTo>
                  <a:pt x="1363239" y="5093036"/>
                  <a:pt x="1368031" y="5097826"/>
                  <a:pt x="1368031" y="5103773"/>
                </a:cubicBezTo>
                <a:cubicBezTo>
                  <a:pt x="1368031" y="5109719"/>
                  <a:pt x="1363239" y="5114509"/>
                  <a:pt x="1357293" y="5114509"/>
                </a:cubicBezTo>
                <a:cubicBezTo>
                  <a:pt x="1351346" y="5114509"/>
                  <a:pt x="1346556" y="5109719"/>
                  <a:pt x="1346556" y="5103773"/>
                </a:cubicBezTo>
                <a:cubicBezTo>
                  <a:pt x="1346556" y="5097826"/>
                  <a:pt x="1351346" y="5093036"/>
                  <a:pt x="1357293" y="5093036"/>
                </a:cubicBezTo>
                <a:close/>
                <a:moveTo>
                  <a:pt x="1061784" y="5092705"/>
                </a:moveTo>
                <a:cubicBezTo>
                  <a:pt x="1067730" y="5092705"/>
                  <a:pt x="1072520" y="5097495"/>
                  <a:pt x="1072520" y="5103442"/>
                </a:cubicBezTo>
                <a:cubicBezTo>
                  <a:pt x="1072520" y="5109388"/>
                  <a:pt x="1067730" y="5114180"/>
                  <a:pt x="1061784" y="5114180"/>
                </a:cubicBezTo>
                <a:cubicBezTo>
                  <a:pt x="1055837" y="5114180"/>
                  <a:pt x="1051047" y="5109388"/>
                  <a:pt x="1051047" y="5103442"/>
                </a:cubicBezTo>
                <a:cubicBezTo>
                  <a:pt x="1051047" y="5097495"/>
                  <a:pt x="1055837" y="5092705"/>
                  <a:pt x="1061784" y="5092705"/>
                </a:cubicBezTo>
                <a:close/>
                <a:moveTo>
                  <a:pt x="1037337" y="5092705"/>
                </a:moveTo>
                <a:cubicBezTo>
                  <a:pt x="1043268" y="5092705"/>
                  <a:pt x="1048075" y="5097512"/>
                  <a:pt x="1048075" y="5103442"/>
                </a:cubicBezTo>
                <a:cubicBezTo>
                  <a:pt x="1048075" y="5109373"/>
                  <a:pt x="1043268" y="5114180"/>
                  <a:pt x="1037337" y="5114180"/>
                </a:cubicBezTo>
                <a:cubicBezTo>
                  <a:pt x="1031408" y="5114180"/>
                  <a:pt x="1026600" y="5109373"/>
                  <a:pt x="1026600" y="5103442"/>
                </a:cubicBezTo>
                <a:cubicBezTo>
                  <a:pt x="1026600" y="5097512"/>
                  <a:pt x="1031408" y="5092705"/>
                  <a:pt x="1037337" y="5092705"/>
                </a:cubicBezTo>
                <a:close/>
                <a:moveTo>
                  <a:pt x="1587888" y="5087088"/>
                </a:moveTo>
                <a:cubicBezTo>
                  <a:pt x="1593834" y="5087088"/>
                  <a:pt x="1598624" y="5091878"/>
                  <a:pt x="1598624" y="5097825"/>
                </a:cubicBezTo>
                <a:cubicBezTo>
                  <a:pt x="1598624" y="5103771"/>
                  <a:pt x="1593834" y="5108563"/>
                  <a:pt x="1587888" y="5108563"/>
                </a:cubicBezTo>
                <a:cubicBezTo>
                  <a:pt x="1581941" y="5108563"/>
                  <a:pt x="1577151" y="5103771"/>
                  <a:pt x="1577151" y="5097825"/>
                </a:cubicBezTo>
                <a:cubicBezTo>
                  <a:pt x="1577151" y="5091878"/>
                  <a:pt x="1581941" y="5087088"/>
                  <a:pt x="1587888" y="5087088"/>
                </a:cubicBezTo>
                <a:close/>
                <a:moveTo>
                  <a:pt x="1267765" y="5085273"/>
                </a:moveTo>
                <a:cubicBezTo>
                  <a:pt x="1273712" y="5085273"/>
                  <a:pt x="1278503" y="5090062"/>
                  <a:pt x="1278503" y="5096009"/>
                </a:cubicBezTo>
                <a:cubicBezTo>
                  <a:pt x="1278503" y="5101955"/>
                  <a:pt x="1273712" y="5106745"/>
                  <a:pt x="1267765" y="5106745"/>
                </a:cubicBezTo>
                <a:cubicBezTo>
                  <a:pt x="1261819" y="5106745"/>
                  <a:pt x="1257029" y="5101955"/>
                  <a:pt x="1257029" y="5096009"/>
                </a:cubicBezTo>
                <a:cubicBezTo>
                  <a:pt x="1257029" y="5090062"/>
                  <a:pt x="1261819" y="5085273"/>
                  <a:pt x="1267765" y="5085273"/>
                </a:cubicBezTo>
                <a:close/>
                <a:moveTo>
                  <a:pt x="1101758" y="5083290"/>
                </a:moveTo>
                <a:cubicBezTo>
                  <a:pt x="1107705" y="5083290"/>
                  <a:pt x="1112495" y="5088080"/>
                  <a:pt x="1112495" y="5094027"/>
                </a:cubicBezTo>
                <a:cubicBezTo>
                  <a:pt x="1112495" y="5099973"/>
                  <a:pt x="1107705" y="5104763"/>
                  <a:pt x="1101758" y="5104763"/>
                </a:cubicBezTo>
                <a:cubicBezTo>
                  <a:pt x="1095812" y="5104763"/>
                  <a:pt x="1091022" y="5099973"/>
                  <a:pt x="1091022" y="5094027"/>
                </a:cubicBezTo>
                <a:cubicBezTo>
                  <a:pt x="1091022" y="5088080"/>
                  <a:pt x="1095812" y="5083290"/>
                  <a:pt x="1101758" y="5083290"/>
                </a:cubicBezTo>
                <a:close/>
                <a:moveTo>
                  <a:pt x="1139749" y="5082630"/>
                </a:moveTo>
                <a:cubicBezTo>
                  <a:pt x="1145696" y="5082630"/>
                  <a:pt x="1150487" y="5087419"/>
                  <a:pt x="1150487" y="5093366"/>
                </a:cubicBezTo>
                <a:cubicBezTo>
                  <a:pt x="1150487" y="5099312"/>
                  <a:pt x="1145696" y="5104102"/>
                  <a:pt x="1139749" y="5104102"/>
                </a:cubicBezTo>
                <a:cubicBezTo>
                  <a:pt x="1133803" y="5104102"/>
                  <a:pt x="1129013" y="5099312"/>
                  <a:pt x="1129013" y="5093366"/>
                </a:cubicBezTo>
                <a:cubicBezTo>
                  <a:pt x="1129013" y="5087419"/>
                  <a:pt x="1133803" y="5082630"/>
                  <a:pt x="1139749" y="5082630"/>
                </a:cubicBezTo>
                <a:close/>
                <a:moveTo>
                  <a:pt x="1002320" y="5080151"/>
                </a:moveTo>
                <a:cubicBezTo>
                  <a:pt x="1008267" y="5080151"/>
                  <a:pt x="1012892" y="5084777"/>
                  <a:pt x="1012892" y="5090723"/>
                </a:cubicBezTo>
                <a:cubicBezTo>
                  <a:pt x="1012892" y="5096670"/>
                  <a:pt x="1008102" y="5101295"/>
                  <a:pt x="1002320" y="5101295"/>
                </a:cubicBezTo>
                <a:cubicBezTo>
                  <a:pt x="996374" y="5101295"/>
                  <a:pt x="991749" y="5096670"/>
                  <a:pt x="991749" y="5090723"/>
                </a:cubicBezTo>
                <a:cubicBezTo>
                  <a:pt x="991749" y="5084777"/>
                  <a:pt x="996374" y="5080151"/>
                  <a:pt x="1002320" y="5080151"/>
                </a:cubicBezTo>
                <a:close/>
                <a:moveTo>
                  <a:pt x="1073181" y="5079655"/>
                </a:moveTo>
                <a:cubicBezTo>
                  <a:pt x="1079127" y="5079655"/>
                  <a:pt x="1083919" y="5084445"/>
                  <a:pt x="1083919" y="5090392"/>
                </a:cubicBezTo>
                <a:cubicBezTo>
                  <a:pt x="1083919" y="5096338"/>
                  <a:pt x="1079127" y="5101128"/>
                  <a:pt x="1073181" y="5101128"/>
                </a:cubicBezTo>
                <a:cubicBezTo>
                  <a:pt x="1067234" y="5101128"/>
                  <a:pt x="1062444" y="5096338"/>
                  <a:pt x="1062444" y="5090392"/>
                </a:cubicBezTo>
                <a:cubicBezTo>
                  <a:pt x="1062444" y="5084445"/>
                  <a:pt x="1067234" y="5079655"/>
                  <a:pt x="1073181" y="5079655"/>
                </a:cubicBezTo>
                <a:close/>
                <a:moveTo>
                  <a:pt x="1049396" y="5076022"/>
                </a:moveTo>
                <a:cubicBezTo>
                  <a:pt x="1055343" y="5076022"/>
                  <a:pt x="1060133" y="5080812"/>
                  <a:pt x="1060133" y="5086759"/>
                </a:cubicBezTo>
                <a:cubicBezTo>
                  <a:pt x="1060133" y="5092705"/>
                  <a:pt x="1055343" y="5097495"/>
                  <a:pt x="1049396" y="5097495"/>
                </a:cubicBezTo>
                <a:cubicBezTo>
                  <a:pt x="1043450" y="5097495"/>
                  <a:pt x="1038660" y="5092705"/>
                  <a:pt x="1038660" y="5086759"/>
                </a:cubicBezTo>
                <a:cubicBezTo>
                  <a:pt x="1038660" y="5080812"/>
                  <a:pt x="1043450" y="5076022"/>
                  <a:pt x="1049396" y="5076022"/>
                </a:cubicBezTo>
                <a:close/>
                <a:moveTo>
                  <a:pt x="1026932" y="5075195"/>
                </a:moveTo>
                <a:cubicBezTo>
                  <a:pt x="1032878" y="5075195"/>
                  <a:pt x="1037668" y="5079985"/>
                  <a:pt x="1037668" y="5085932"/>
                </a:cubicBezTo>
                <a:cubicBezTo>
                  <a:pt x="1037668" y="5091878"/>
                  <a:pt x="1032878" y="5096670"/>
                  <a:pt x="1026932" y="5096670"/>
                </a:cubicBezTo>
                <a:cubicBezTo>
                  <a:pt x="1020985" y="5096670"/>
                  <a:pt x="1016195" y="5091878"/>
                  <a:pt x="1016195" y="5085932"/>
                </a:cubicBezTo>
                <a:cubicBezTo>
                  <a:pt x="1016195" y="5079985"/>
                  <a:pt x="1020985" y="5075195"/>
                  <a:pt x="1026932" y="5075195"/>
                </a:cubicBezTo>
                <a:close/>
                <a:moveTo>
                  <a:pt x="1192278" y="5072719"/>
                </a:moveTo>
                <a:cubicBezTo>
                  <a:pt x="1198224" y="5072719"/>
                  <a:pt x="1203016" y="5077509"/>
                  <a:pt x="1203016" y="5083455"/>
                </a:cubicBezTo>
                <a:cubicBezTo>
                  <a:pt x="1203016" y="5089402"/>
                  <a:pt x="1198224" y="5094193"/>
                  <a:pt x="1192278" y="5094193"/>
                </a:cubicBezTo>
                <a:cubicBezTo>
                  <a:pt x="1186331" y="5094193"/>
                  <a:pt x="1181541" y="5089402"/>
                  <a:pt x="1181541" y="5083455"/>
                </a:cubicBezTo>
                <a:cubicBezTo>
                  <a:pt x="1181541" y="5077509"/>
                  <a:pt x="1186331" y="5072719"/>
                  <a:pt x="1192278" y="5072719"/>
                </a:cubicBezTo>
                <a:close/>
                <a:moveTo>
                  <a:pt x="2049074" y="5071397"/>
                </a:moveTo>
                <a:cubicBezTo>
                  <a:pt x="2055020" y="5071397"/>
                  <a:pt x="2059810" y="5076187"/>
                  <a:pt x="2059810" y="5082134"/>
                </a:cubicBezTo>
                <a:cubicBezTo>
                  <a:pt x="2059810" y="5088080"/>
                  <a:pt x="2055020" y="5092870"/>
                  <a:pt x="2049074" y="5092870"/>
                </a:cubicBezTo>
                <a:cubicBezTo>
                  <a:pt x="2043127" y="5092870"/>
                  <a:pt x="2038337" y="5088080"/>
                  <a:pt x="2038337" y="5082134"/>
                </a:cubicBezTo>
                <a:cubicBezTo>
                  <a:pt x="2038337" y="5076187"/>
                  <a:pt x="2043127" y="5071397"/>
                  <a:pt x="2049074" y="5071397"/>
                </a:cubicBezTo>
                <a:close/>
                <a:moveTo>
                  <a:pt x="1733741" y="5069911"/>
                </a:moveTo>
                <a:cubicBezTo>
                  <a:pt x="1739688" y="5069911"/>
                  <a:pt x="1744479" y="5074701"/>
                  <a:pt x="1744479" y="5080647"/>
                </a:cubicBezTo>
                <a:cubicBezTo>
                  <a:pt x="1744479" y="5086594"/>
                  <a:pt x="1739688" y="5091384"/>
                  <a:pt x="1733741" y="5091384"/>
                </a:cubicBezTo>
                <a:cubicBezTo>
                  <a:pt x="1727795" y="5091384"/>
                  <a:pt x="1723005" y="5086594"/>
                  <a:pt x="1723005" y="5080647"/>
                </a:cubicBezTo>
                <a:cubicBezTo>
                  <a:pt x="1723005" y="5074701"/>
                  <a:pt x="1727795" y="5069911"/>
                  <a:pt x="1733741" y="5069911"/>
                </a:cubicBezTo>
                <a:close/>
                <a:moveTo>
                  <a:pt x="2935600" y="5063798"/>
                </a:moveTo>
                <a:cubicBezTo>
                  <a:pt x="2941547" y="5063798"/>
                  <a:pt x="2946337" y="5068588"/>
                  <a:pt x="2946337" y="5074534"/>
                </a:cubicBezTo>
                <a:cubicBezTo>
                  <a:pt x="2946337" y="5080481"/>
                  <a:pt x="2941547" y="5085273"/>
                  <a:pt x="2935600" y="5085273"/>
                </a:cubicBezTo>
                <a:cubicBezTo>
                  <a:pt x="2929654" y="5085273"/>
                  <a:pt x="2924864" y="5080481"/>
                  <a:pt x="2924864" y="5074534"/>
                </a:cubicBezTo>
                <a:cubicBezTo>
                  <a:pt x="2924864" y="5068588"/>
                  <a:pt x="2929654" y="5063798"/>
                  <a:pt x="2935600" y="5063798"/>
                </a:cubicBezTo>
                <a:close/>
                <a:moveTo>
                  <a:pt x="2762822" y="5062312"/>
                </a:moveTo>
                <a:cubicBezTo>
                  <a:pt x="2768768" y="5062312"/>
                  <a:pt x="2773560" y="5067102"/>
                  <a:pt x="2773560" y="5073048"/>
                </a:cubicBezTo>
                <a:cubicBezTo>
                  <a:pt x="2773560" y="5078995"/>
                  <a:pt x="2768768" y="5083786"/>
                  <a:pt x="2762822" y="5083786"/>
                </a:cubicBezTo>
                <a:cubicBezTo>
                  <a:pt x="2756875" y="5083786"/>
                  <a:pt x="2752085" y="5078995"/>
                  <a:pt x="2752085" y="5073048"/>
                </a:cubicBezTo>
                <a:cubicBezTo>
                  <a:pt x="2752085" y="5067102"/>
                  <a:pt x="2756875" y="5062312"/>
                  <a:pt x="2762822" y="5062312"/>
                </a:cubicBezTo>
                <a:close/>
                <a:moveTo>
                  <a:pt x="1088709" y="5062147"/>
                </a:moveTo>
                <a:cubicBezTo>
                  <a:pt x="1094655" y="5062147"/>
                  <a:pt x="1099445" y="5066937"/>
                  <a:pt x="1099445" y="5072883"/>
                </a:cubicBezTo>
                <a:cubicBezTo>
                  <a:pt x="1099445" y="5078830"/>
                  <a:pt x="1094655" y="5083620"/>
                  <a:pt x="1088709" y="5083620"/>
                </a:cubicBezTo>
                <a:cubicBezTo>
                  <a:pt x="1082762" y="5083620"/>
                  <a:pt x="1077972" y="5078830"/>
                  <a:pt x="1077972" y="5072883"/>
                </a:cubicBezTo>
                <a:cubicBezTo>
                  <a:pt x="1077972" y="5066937"/>
                  <a:pt x="1082762" y="5062147"/>
                  <a:pt x="1088709" y="5062147"/>
                </a:cubicBezTo>
                <a:close/>
                <a:moveTo>
                  <a:pt x="1059306" y="5061320"/>
                </a:moveTo>
                <a:cubicBezTo>
                  <a:pt x="1065252" y="5061320"/>
                  <a:pt x="1070042" y="5066110"/>
                  <a:pt x="1070042" y="5072056"/>
                </a:cubicBezTo>
                <a:cubicBezTo>
                  <a:pt x="1070042" y="5078003"/>
                  <a:pt x="1065252" y="5082794"/>
                  <a:pt x="1059306" y="5082794"/>
                </a:cubicBezTo>
                <a:cubicBezTo>
                  <a:pt x="1053359" y="5082794"/>
                  <a:pt x="1048569" y="5078003"/>
                  <a:pt x="1048569" y="5072056"/>
                </a:cubicBezTo>
                <a:cubicBezTo>
                  <a:pt x="1048569" y="5066110"/>
                  <a:pt x="1053359" y="5061320"/>
                  <a:pt x="1059306" y="5061320"/>
                </a:cubicBezTo>
                <a:close/>
                <a:moveTo>
                  <a:pt x="993233" y="5060990"/>
                </a:moveTo>
                <a:cubicBezTo>
                  <a:pt x="999180" y="5060990"/>
                  <a:pt x="1003969" y="5065780"/>
                  <a:pt x="1003969" y="5071727"/>
                </a:cubicBezTo>
                <a:cubicBezTo>
                  <a:pt x="1003969" y="5077673"/>
                  <a:pt x="999180" y="5082463"/>
                  <a:pt x="993233" y="5082463"/>
                </a:cubicBezTo>
                <a:cubicBezTo>
                  <a:pt x="987286" y="5082463"/>
                  <a:pt x="982497" y="5077673"/>
                  <a:pt x="982497" y="5071727"/>
                </a:cubicBezTo>
                <a:cubicBezTo>
                  <a:pt x="982497" y="5065780"/>
                  <a:pt x="987286" y="5060990"/>
                  <a:pt x="993233" y="5060990"/>
                </a:cubicBezTo>
                <a:close/>
                <a:moveTo>
                  <a:pt x="3107885" y="5059008"/>
                </a:moveTo>
                <a:cubicBezTo>
                  <a:pt x="3113832" y="5059008"/>
                  <a:pt x="3118623" y="5063798"/>
                  <a:pt x="3118623" y="5069745"/>
                </a:cubicBezTo>
                <a:cubicBezTo>
                  <a:pt x="3118623" y="5075691"/>
                  <a:pt x="3113832" y="5080481"/>
                  <a:pt x="3107885" y="5080481"/>
                </a:cubicBezTo>
                <a:cubicBezTo>
                  <a:pt x="3101938" y="5080481"/>
                  <a:pt x="3097148" y="5075691"/>
                  <a:pt x="3097148" y="5069745"/>
                </a:cubicBezTo>
                <a:cubicBezTo>
                  <a:pt x="3097148" y="5063798"/>
                  <a:pt x="3101938" y="5059008"/>
                  <a:pt x="3107885" y="5059008"/>
                </a:cubicBezTo>
                <a:close/>
                <a:moveTo>
                  <a:pt x="1036182" y="5058512"/>
                </a:moveTo>
                <a:cubicBezTo>
                  <a:pt x="1042128" y="5058512"/>
                  <a:pt x="1046918" y="5063302"/>
                  <a:pt x="1046918" y="5069249"/>
                </a:cubicBezTo>
                <a:cubicBezTo>
                  <a:pt x="1046918" y="5075195"/>
                  <a:pt x="1042128" y="5079985"/>
                  <a:pt x="1036182" y="5079985"/>
                </a:cubicBezTo>
                <a:cubicBezTo>
                  <a:pt x="1030235" y="5079985"/>
                  <a:pt x="1025446" y="5075195"/>
                  <a:pt x="1025446" y="5069249"/>
                </a:cubicBezTo>
                <a:cubicBezTo>
                  <a:pt x="1025446" y="5063302"/>
                  <a:pt x="1030235" y="5058512"/>
                  <a:pt x="1036182" y="5058512"/>
                </a:cubicBezTo>
                <a:close/>
                <a:moveTo>
                  <a:pt x="1015203" y="5057522"/>
                </a:moveTo>
                <a:cubicBezTo>
                  <a:pt x="1021150" y="5057522"/>
                  <a:pt x="1025940" y="5062312"/>
                  <a:pt x="1025940" y="5068258"/>
                </a:cubicBezTo>
                <a:cubicBezTo>
                  <a:pt x="1025940" y="5074205"/>
                  <a:pt x="1021150" y="5078995"/>
                  <a:pt x="1015203" y="5078995"/>
                </a:cubicBezTo>
                <a:cubicBezTo>
                  <a:pt x="1009257" y="5078995"/>
                  <a:pt x="1004467" y="5074205"/>
                  <a:pt x="1004467" y="5068258"/>
                </a:cubicBezTo>
                <a:cubicBezTo>
                  <a:pt x="1004467" y="5062312"/>
                  <a:pt x="1009257" y="5057522"/>
                  <a:pt x="1015203" y="5057522"/>
                </a:cubicBezTo>
                <a:close/>
                <a:moveTo>
                  <a:pt x="959702" y="5057522"/>
                </a:moveTo>
                <a:cubicBezTo>
                  <a:pt x="961685" y="5057522"/>
                  <a:pt x="963173" y="5059008"/>
                  <a:pt x="963173" y="5060990"/>
                </a:cubicBezTo>
                <a:cubicBezTo>
                  <a:pt x="963173" y="5062973"/>
                  <a:pt x="961685" y="5064459"/>
                  <a:pt x="959702" y="5064459"/>
                </a:cubicBezTo>
                <a:cubicBezTo>
                  <a:pt x="957720" y="5064459"/>
                  <a:pt x="956234" y="5062973"/>
                  <a:pt x="956234" y="5060990"/>
                </a:cubicBezTo>
                <a:cubicBezTo>
                  <a:pt x="956234" y="5059008"/>
                  <a:pt x="957720" y="5057522"/>
                  <a:pt x="959702" y="5057522"/>
                </a:cubicBezTo>
                <a:close/>
                <a:moveTo>
                  <a:pt x="1128848" y="5056695"/>
                </a:moveTo>
                <a:cubicBezTo>
                  <a:pt x="1134795" y="5056695"/>
                  <a:pt x="1139584" y="5061485"/>
                  <a:pt x="1139584" y="5067431"/>
                </a:cubicBezTo>
                <a:cubicBezTo>
                  <a:pt x="1139584" y="5073378"/>
                  <a:pt x="1134795" y="5078169"/>
                  <a:pt x="1128848" y="5078169"/>
                </a:cubicBezTo>
                <a:cubicBezTo>
                  <a:pt x="1122902" y="5078169"/>
                  <a:pt x="1118112" y="5073378"/>
                  <a:pt x="1118112" y="5067431"/>
                </a:cubicBezTo>
                <a:cubicBezTo>
                  <a:pt x="1118112" y="5061485"/>
                  <a:pt x="1122902" y="5056695"/>
                  <a:pt x="1128848" y="5056695"/>
                </a:cubicBezTo>
                <a:close/>
                <a:moveTo>
                  <a:pt x="2591362" y="5054548"/>
                </a:moveTo>
                <a:cubicBezTo>
                  <a:pt x="2597309" y="5054548"/>
                  <a:pt x="2602101" y="5059338"/>
                  <a:pt x="2602101" y="5065284"/>
                </a:cubicBezTo>
                <a:cubicBezTo>
                  <a:pt x="2602101" y="5071231"/>
                  <a:pt x="2597309" y="5076022"/>
                  <a:pt x="2591362" y="5076022"/>
                </a:cubicBezTo>
                <a:cubicBezTo>
                  <a:pt x="2585416" y="5076022"/>
                  <a:pt x="2580626" y="5071231"/>
                  <a:pt x="2580626" y="5065284"/>
                </a:cubicBezTo>
                <a:cubicBezTo>
                  <a:pt x="2580626" y="5059338"/>
                  <a:pt x="2585416" y="5054548"/>
                  <a:pt x="2591362" y="5054548"/>
                </a:cubicBezTo>
                <a:close/>
                <a:moveTo>
                  <a:pt x="1361259" y="5050584"/>
                </a:moveTo>
                <a:cubicBezTo>
                  <a:pt x="1367205" y="5050584"/>
                  <a:pt x="1371995" y="5055373"/>
                  <a:pt x="1371995" y="5061320"/>
                </a:cubicBezTo>
                <a:cubicBezTo>
                  <a:pt x="1371995" y="5067266"/>
                  <a:pt x="1367205" y="5072056"/>
                  <a:pt x="1361259" y="5072056"/>
                </a:cubicBezTo>
                <a:cubicBezTo>
                  <a:pt x="1355312" y="5072056"/>
                  <a:pt x="1350522" y="5067266"/>
                  <a:pt x="1350522" y="5061320"/>
                </a:cubicBezTo>
                <a:cubicBezTo>
                  <a:pt x="1350522" y="5055373"/>
                  <a:pt x="1355312" y="5050584"/>
                  <a:pt x="1361259" y="5050584"/>
                </a:cubicBezTo>
                <a:close/>
                <a:moveTo>
                  <a:pt x="1265783" y="5048107"/>
                </a:moveTo>
                <a:cubicBezTo>
                  <a:pt x="1271730" y="5048107"/>
                  <a:pt x="1276519" y="5052897"/>
                  <a:pt x="1276519" y="5058844"/>
                </a:cubicBezTo>
                <a:cubicBezTo>
                  <a:pt x="1276519" y="5064790"/>
                  <a:pt x="1271730" y="5069580"/>
                  <a:pt x="1265783" y="5069580"/>
                </a:cubicBezTo>
                <a:cubicBezTo>
                  <a:pt x="1259836" y="5069580"/>
                  <a:pt x="1255047" y="5064790"/>
                  <a:pt x="1255047" y="5058844"/>
                </a:cubicBezTo>
                <a:cubicBezTo>
                  <a:pt x="1255047" y="5052897"/>
                  <a:pt x="1259836" y="5048107"/>
                  <a:pt x="1265783" y="5048107"/>
                </a:cubicBezTo>
                <a:close/>
                <a:moveTo>
                  <a:pt x="3278187" y="5047776"/>
                </a:moveTo>
                <a:cubicBezTo>
                  <a:pt x="3284134" y="5047776"/>
                  <a:pt x="3288926" y="5052566"/>
                  <a:pt x="3288926" y="5058512"/>
                </a:cubicBezTo>
                <a:cubicBezTo>
                  <a:pt x="3288926" y="5064459"/>
                  <a:pt x="3284134" y="5069250"/>
                  <a:pt x="3278187" y="5069250"/>
                </a:cubicBezTo>
                <a:cubicBezTo>
                  <a:pt x="3272241" y="5069250"/>
                  <a:pt x="3267451" y="5064459"/>
                  <a:pt x="3267451" y="5058512"/>
                </a:cubicBezTo>
                <a:cubicBezTo>
                  <a:pt x="3267451" y="5052566"/>
                  <a:pt x="3272241" y="5047776"/>
                  <a:pt x="3278187" y="5047776"/>
                </a:cubicBezTo>
                <a:close/>
                <a:moveTo>
                  <a:pt x="1474408" y="5045464"/>
                </a:moveTo>
                <a:cubicBezTo>
                  <a:pt x="1480338" y="5045464"/>
                  <a:pt x="1485146" y="5050271"/>
                  <a:pt x="1485146" y="5056201"/>
                </a:cubicBezTo>
                <a:cubicBezTo>
                  <a:pt x="1485146" y="5062130"/>
                  <a:pt x="1480338" y="5066937"/>
                  <a:pt x="1474408" y="5066937"/>
                </a:cubicBezTo>
                <a:cubicBezTo>
                  <a:pt x="1468478" y="5066937"/>
                  <a:pt x="1463671" y="5062130"/>
                  <a:pt x="1463671" y="5056201"/>
                </a:cubicBezTo>
                <a:cubicBezTo>
                  <a:pt x="1463671" y="5050271"/>
                  <a:pt x="1468478" y="5045464"/>
                  <a:pt x="1474408" y="5045464"/>
                </a:cubicBezTo>
                <a:close/>
                <a:moveTo>
                  <a:pt x="982663" y="5041994"/>
                </a:moveTo>
                <a:cubicBezTo>
                  <a:pt x="988610" y="5041994"/>
                  <a:pt x="993400" y="5046784"/>
                  <a:pt x="993400" y="5052731"/>
                </a:cubicBezTo>
                <a:cubicBezTo>
                  <a:pt x="993400" y="5058677"/>
                  <a:pt x="988610" y="5063467"/>
                  <a:pt x="982663" y="5063467"/>
                </a:cubicBezTo>
                <a:cubicBezTo>
                  <a:pt x="976717" y="5063467"/>
                  <a:pt x="971927" y="5058677"/>
                  <a:pt x="971927" y="5052731"/>
                </a:cubicBezTo>
                <a:cubicBezTo>
                  <a:pt x="971927" y="5046784"/>
                  <a:pt x="976717" y="5041994"/>
                  <a:pt x="982663" y="5041994"/>
                </a:cubicBezTo>
                <a:close/>
                <a:moveTo>
                  <a:pt x="1044936" y="5041169"/>
                </a:moveTo>
                <a:cubicBezTo>
                  <a:pt x="1050883" y="5041169"/>
                  <a:pt x="1055672" y="5045959"/>
                  <a:pt x="1055672" y="5051905"/>
                </a:cubicBezTo>
                <a:cubicBezTo>
                  <a:pt x="1055672" y="5057852"/>
                  <a:pt x="1050883" y="5062643"/>
                  <a:pt x="1044936" y="5062643"/>
                </a:cubicBezTo>
                <a:cubicBezTo>
                  <a:pt x="1038990" y="5062643"/>
                  <a:pt x="1034200" y="5057852"/>
                  <a:pt x="1034200" y="5051905"/>
                </a:cubicBezTo>
                <a:cubicBezTo>
                  <a:pt x="1034200" y="5045959"/>
                  <a:pt x="1038990" y="5041169"/>
                  <a:pt x="1044936" y="5041169"/>
                </a:cubicBezTo>
                <a:close/>
                <a:moveTo>
                  <a:pt x="2422384" y="5040508"/>
                </a:moveTo>
                <a:cubicBezTo>
                  <a:pt x="2428330" y="5040508"/>
                  <a:pt x="2433122" y="5045298"/>
                  <a:pt x="2433122" y="5051244"/>
                </a:cubicBezTo>
                <a:cubicBezTo>
                  <a:pt x="2433122" y="5057191"/>
                  <a:pt x="2428330" y="5061981"/>
                  <a:pt x="2422384" y="5061981"/>
                </a:cubicBezTo>
                <a:cubicBezTo>
                  <a:pt x="2416437" y="5061981"/>
                  <a:pt x="2411647" y="5057191"/>
                  <a:pt x="2411647" y="5051244"/>
                </a:cubicBezTo>
                <a:cubicBezTo>
                  <a:pt x="2411647" y="5045298"/>
                  <a:pt x="2416437" y="5040508"/>
                  <a:pt x="2422384" y="5040508"/>
                </a:cubicBezTo>
                <a:close/>
                <a:moveTo>
                  <a:pt x="1902887" y="5040343"/>
                </a:moveTo>
                <a:cubicBezTo>
                  <a:pt x="1908833" y="5040343"/>
                  <a:pt x="1913623" y="5045133"/>
                  <a:pt x="1913623" y="5051080"/>
                </a:cubicBezTo>
                <a:cubicBezTo>
                  <a:pt x="1913623" y="5057026"/>
                  <a:pt x="1908833" y="5061816"/>
                  <a:pt x="1902887" y="5061816"/>
                </a:cubicBezTo>
                <a:cubicBezTo>
                  <a:pt x="1896940" y="5061816"/>
                  <a:pt x="1892150" y="5057026"/>
                  <a:pt x="1892150" y="5051080"/>
                </a:cubicBezTo>
                <a:cubicBezTo>
                  <a:pt x="1892150" y="5045133"/>
                  <a:pt x="1896940" y="5040343"/>
                  <a:pt x="1902887" y="5040343"/>
                </a:cubicBezTo>
                <a:close/>
                <a:moveTo>
                  <a:pt x="1185670" y="5039847"/>
                </a:moveTo>
                <a:cubicBezTo>
                  <a:pt x="1191617" y="5039847"/>
                  <a:pt x="1196409" y="5044637"/>
                  <a:pt x="1196409" y="5050584"/>
                </a:cubicBezTo>
                <a:cubicBezTo>
                  <a:pt x="1196409" y="5056530"/>
                  <a:pt x="1191617" y="5061320"/>
                  <a:pt x="1185670" y="5061320"/>
                </a:cubicBezTo>
                <a:cubicBezTo>
                  <a:pt x="1179724" y="5061320"/>
                  <a:pt x="1174934" y="5056530"/>
                  <a:pt x="1174934" y="5050584"/>
                </a:cubicBezTo>
                <a:cubicBezTo>
                  <a:pt x="1174934" y="5044637"/>
                  <a:pt x="1179724" y="5039847"/>
                  <a:pt x="1185670" y="5039847"/>
                </a:cubicBezTo>
                <a:close/>
                <a:moveTo>
                  <a:pt x="1002485" y="5039351"/>
                </a:moveTo>
                <a:lnTo>
                  <a:pt x="1012725" y="5049592"/>
                </a:lnTo>
                <a:lnTo>
                  <a:pt x="1022140" y="5040177"/>
                </a:lnTo>
                <a:cubicBezTo>
                  <a:pt x="1028087" y="5040177"/>
                  <a:pt x="1032876" y="5044967"/>
                  <a:pt x="1032876" y="5050913"/>
                </a:cubicBezTo>
                <a:cubicBezTo>
                  <a:pt x="1032876" y="5056860"/>
                  <a:pt x="1028087" y="5061651"/>
                  <a:pt x="1022140" y="5061651"/>
                </a:cubicBezTo>
                <a:lnTo>
                  <a:pt x="1011900" y="5051409"/>
                </a:lnTo>
                <a:lnTo>
                  <a:pt x="1002485" y="5060824"/>
                </a:lnTo>
                <a:cubicBezTo>
                  <a:pt x="996538" y="5060824"/>
                  <a:pt x="991749" y="5056034"/>
                  <a:pt x="991749" y="5050088"/>
                </a:cubicBezTo>
                <a:cubicBezTo>
                  <a:pt x="991749" y="5044141"/>
                  <a:pt x="996538" y="5039351"/>
                  <a:pt x="1002485" y="5039351"/>
                </a:cubicBezTo>
                <a:close/>
                <a:moveTo>
                  <a:pt x="1075494" y="5038361"/>
                </a:moveTo>
                <a:cubicBezTo>
                  <a:pt x="1081441" y="5038361"/>
                  <a:pt x="1086232" y="5043151"/>
                  <a:pt x="1086232" y="5049097"/>
                </a:cubicBezTo>
                <a:cubicBezTo>
                  <a:pt x="1086232" y="5055044"/>
                  <a:pt x="1081441" y="5059834"/>
                  <a:pt x="1075494" y="5059834"/>
                </a:cubicBezTo>
                <a:cubicBezTo>
                  <a:pt x="1069548" y="5059834"/>
                  <a:pt x="1064758" y="5055044"/>
                  <a:pt x="1064758" y="5049097"/>
                </a:cubicBezTo>
                <a:cubicBezTo>
                  <a:pt x="1064758" y="5043151"/>
                  <a:pt x="1069548" y="5038361"/>
                  <a:pt x="1075494" y="5038361"/>
                </a:cubicBezTo>
                <a:close/>
                <a:moveTo>
                  <a:pt x="1607543" y="5031093"/>
                </a:moveTo>
                <a:cubicBezTo>
                  <a:pt x="1613489" y="5031093"/>
                  <a:pt x="1618281" y="5035883"/>
                  <a:pt x="1618281" y="5041829"/>
                </a:cubicBezTo>
                <a:cubicBezTo>
                  <a:pt x="1618281" y="5047776"/>
                  <a:pt x="1613489" y="5052566"/>
                  <a:pt x="1607543" y="5052566"/>
                </a:cubicBezTo>
                <a:cubicBezTo>
                  <a:pt x="1601596" y="5052566"/>
                  <a:pt x="1596806" y="5047776"/>
                  <a:pt x="1596806" y="5041829"/>
                </a:cubicBezTo>
                <a:cubicBezTo>
                  <a:pt x="1596806" y="5035883"/>
                  <a:pt x="1601596" y="5031093"/>
                  <a:pt x="1607543" y="5031093"/>
                </a:cubicBezTo>
                <a:close/>
                <a:moveTo>
                  <a:pt x="3445184" y="5030597"/>
                </a:moveTo>
                <a:cubicBezTo>
                  <a:pt x="3451131" y="5030597"/>
                  <a:pt x="3455922" y="5035387"/>
                  <a:pt x="3455922" y="5041333"/>
                </a:cubicBezTo>
                <a:cubicBezTo>
                  <a:pt x="3455922" y="5047280"/>
                  <a:pt x="3451131" y="5052070"/>
                  <a:pt x="3445184" y="5052070"/>
                </a:cubicBezTo>
                <a:cubicBezTo>
                  <a:pt x="3439238" y="5052070"/>
                  <a:pt x="3434448" y="5047280"/>
                  <a:pt x="3434448" y="5041333"/>
                </a:cubicBezTo>
                <a:cubicBezTo>
                  <a:pt x="3434448" y="5035387"/>
                  <a:pt x="3439238" y="5030597"/>
                  <a:pt x="3445184" y="5030597"/>
                </a:cubicBezTo>
                <a:close/>
                <a:moveTo>
                  <a:pt x="950617" y="5029772"/>
                </a:moveTo>
                <a:cubicBezTo>
                  <a:pt x="956564" y="5029772"/>
                  <a:pt x="961353" y="5034561"/>
                  <a:pt x="961353" y="5040508"/>
                </a:cubicBezTo>
                <a:cubicBezTo>
                  <a:pt x="961353" y="5046454"/>
                  <a:pt x="956564" y="5051246"/>
                  <a:pt x="950617" y="5051246"/>
                </a:cubicBezTo>
                <a:cubicBezTo>
                  <a:pt x="944671" y="5051246"/>
                  <a:pt x="939881" y="5046454"/>
                  <a:pt x="939881" y="5040508"/>
                </a:cubicBezTo>
                <a:cubicBezTo>
                  <a:pt x="939881" y="5034561"/>
                  <a:pt x="944671" y="5029772"/>
                  <a:pt x="950617" y="5029772"/>
                </a:cubicBezTo>
                <a:close/>
                <a:moveTo>
                  <a:pt x="1118606" y="5027293"/>
                </a:moveTo>
                <a:cubicBezTo>
                  <a:pt x="1124553" y="5027293"/>
                  <a:pt x="1129344" y="5032083"/>
                  <a:pt x="1129344" y="5038030"/>
                </a:cubicBezTo>
                <a:cubicBezTo>
                  <a:pt x="1129344" y="5043976"/>
                  <a:pt x="1124553" y="5048768"/>
                  <a:pt x="1118606" y="5048768"/>
                </a:cubicBezTo>
                <a:cubicBezTo>
                  <a:pt x="1112660" y="5048768"/>
                  <a:pt x="1107870" y="5043976"/>
                  <a:pt x="1107870" y="5038030"/>
                </a:cubicBezTo>
                <a:cubicBezTo>
                  <a:pt x="1107870" y="5032083"/>
                  <a:pt x="1112660" y="5027293"/>
                  <a:pt x="1118606" y="5027293"/>
                </a:cubicBezTo>
                <a:close/>
                <a:moveTo>
                  <a:pt x="2257367" y="5020686"/>
                </a:moveTo>
                <a:cubicBezTo>
                  <a:pt x="2263313" y="5020686"/>
                  <a:pt x="2268105" y="5025476"/>
                  <a:pt x="2268105" y="5031423"/>
                </a:cubicBezTo>
                <a:cubicBezTo>
                  <a:pt x="2268105" y="5037369"/>
                  <a:pt x="2263313" y="5042159"/>
                  <a:pt x="2257367" y="5042159"/>
                </a:cubicBezTo>
                <a:cubicBezTo>
                  <a:pt x="2251420" y="5042159"/>
                  <a:pt x="2246630" y="5037369"/>
                  <a:pt x="2246630" y="5031423"/>
                </a:cubicBezTo>
                <a:cubicBezTo>
                  <a:pt x="2246630" y="5025476"/>
                  <a:pt x="2251420" y="5020686"/>
                  <a:pt x="2257367" y="5020686"/>
                </a:cubicBezTo>
                <a:close/>
                <a:moveTo>
                  <a:pt x="1007108" y="5020521"/>
                </a:moveTo>
                <a:cubicBezTo>
                  <a:pt x="1013055" y="5020521"/>
                  <a:pt x="1017845" y="5025311"/>
                  <a:pt x="1017845" y="5031258"/>
                </a:cubicBezTo>
                <a:cubicBezTo>
                  <a:pt x="1017845" y="5037204"/>
                  <a:pt x="1013055" y="5041996"/>
                  <a:pt x="1007108" y="5041996"/>
                </a:cubicBezTo>
                <a:lnTo>
                  <a:pt x="997941" y="5032827"/>
                </a:lnTo>
                <a:lnTo>
                  <a:pt x="988610" y="5042159"/>
                </a:lnTo>
                <a:lnTo>
                  <a:pt x="980762" y="5034312"/>
                </a:lnTo>
                <a:lnTo>
                  <a:pt x="970768" y="5044306"/>
                </a:lnTo>
                <a:cubicBezTo>
                  <a:pt x="964822" y="5044306"/>
                  <a:pt x="960032" y="5039516"/>
                  <a:pt x="960032" y="5033569"/>
                </a:cubicBezTo>
                <a:cubicBezTo>
                  <a:pt x="960032" y="5027623"/>
                  <a:pt x="964822" y="5022833"/>
                  <a:pt x="970768" y="5022833"/>
                </a:cubicBezTo>
                <a:lnTo>
                  <a:pt x="978616" y="5030680"/>
                </a:lnTo>
                <a:lnTo>
                  <a:pt x="988610" y="5020686"/>
                </a:lnTo>
                <a:lnTo>
                  <a:pt x="997777" y="5029853"/>
                </a:lnTo>
                <a:close/>
                <a:moveTo>
                  <a:pt x="1030235" y="5018869"/>
                </a:moveTo>
                <a:cubicBezTo>
                  <a:pt x="1036182" y="5018869"/>
                  <a:pt x="1040972" y="5023659"/>
                  <a:pt x="1040972" y="5029605"/>
                </a:cubicBezTo>
                <a:cubicBezTo>
                  <a:pt x="1040972" y="5035552"/>
                  <a:pt x="1036182" y="5040343"/>
                  <a:pt x="1030235" y="5040343"/>
                </a:cubicBezTo>
                <a:cubicBezTo>
                  <a:pt x="1024289" y="5040343"/>
                  <a:pt x="1019499" y="5035552"/>
                  <a:pt x="1019499" y="5029605"/>
                </a:cubicBezTo>
                <a:cubicBezTo>
                  <a:pt x="1019499" y="5023659"/>
                  <a:pt x="1024289" y="5018869"/>
                  <a:pt x="1030235" y="5018869"/>
                </a:cubicBezTo>
                <a:close/>
                <a:moveTo>
                  <a:pt x="1062444" y="5011766"/>
                </a:moveTo>
                <a:cubicBezTo>
                  <a:pt x="1068391" y="5011766"/>
                  <a:pt x="1073182" y="5016555"/>
                  <a:pt x="1073182" y="5022502"/>
                </a:cubicBezTo>
                <a:cubicBezTo>
                  <a:pt x="1073182" y="5028448"/>
                  <a:pt x="1068391" y="5033240"/>
                  <a:pt x="1062444" y="5033240"/>
                </a:cubicBezTo>
                <a:cubicBezTo>
                  <a:pt x="1056498" y="5033240"/>
                  <a:pt x="1051708" y="5028448"/>
                  <a:pt x="1051708" y="5022502"/>
                </a:cubicBezTo>
                <a:cubicBezTo>
                  <a:pt x="1051708" y="5016555"/>
                  <a:pt x="1056498" y="5011766"/>
                  <a:pt x="1062444" y="5011766"/>
                </a:cubicBezTo>
                <a:close/>
                <a:moveTo>
                  <a:pt x="939881" y="5009289"/>
                </a:moveTo>
                <a:cubicBezTo>
                  <a:pt x="945827" y="5009289"/>
                  <a:pt x="950617" y="5014079"/>
                  <a:pt x="950617" y="5020025"/>
                </a:cubicBezTo>
                <a:cubicBezTo>
                  <a:pt x="950617" y="5025972"/>
                  <a:pt x="945827" y="5030762"/>
                  <a:pt x="939881" y="5030762"/>
                </a:cubicBezTo>
                <a:cubicBezTo>
                  <a:pt x="933934" y="5030762"/>
                  <a:pt x="929144" y="5025972"/>
                  <a:pt x="929144" y="5020025"/>
                </a:cubicBezTo>
                <a:cubicBezTo>
                  <a:pt x="929144" y="5014079"/>
                  <a:pt x="933934" y="5009289"/>
                  <a:pt x="939881" y="5009289"/>
                </a:cubicBezTo>
                <a:close/>
                <a:moveTo>
                  <a:pt x="1265618" y="5005490"/>
                </a:moveTo>
                <a:cubicBezTo>
                  <a:pt x="1271565" y="5005490"/>
                  <a:pt x="1276355" y="5010279"/>
                  <a:pt x="1276355" y="5016226"/>
                </a:cubicBezTo>
                <a:cubicBezTo>
                  <a:pt x="1276355" y="5022172"/>
                  <a:pt x="1271565" y="5026964"/>
                  <a:pt x="1265618" y="5026964"/>
                </a:cubicBezTo>
                <a:cubicBezTo>
                  <a:pt x="1259672" y="5026964"/>
                  <a:pt x="1254882" y="5022172"/>
                  <a:pt x="1254882" y="5016226"/>
                </a:cubicBezTo>
                <a:cubicBezTo>
                  <a:pt x="1254882" y="5010279"/>
                  <a:pt x="1259672" y="5005490"/>
                  <a:pt x="1265618" y="5005490"/>
                </a:cubicBezTo>
                <a:close/>
                <a:moveTo>
                  <a:pt x="1763144" y="5005325"/>
                </a:moveTo>
                <a:cubicBezTo>
                  <a:pt x="1769091" y="5005325"/>
                  <a:pt x="1773882" y="5010115"/>
                  <a:pt x="1773882" y="5016061"/>
                </a:cubicBezTo>
                <a:cubicBezTo>
                  <a:pt x="1773882" y="5022008"/>
                  <a:pt x="1769091" y="5026797"/>
                  <a:pt x="1763144" y="5026797"/>
                </a:cubicBezTo>
                <a:cubicBezTo>
                  <a:pt x="1757198" y="5026797"/>
                  <a:pt x="1752408" y="5022008"/>
                  <a:pt x="1752408" y="5016061"/>
                </a:cubicBezTo>
                <a:cubicBezTo>
                  <a:pt x="1752408" y="5010115"/>
                  <a:pt x="1757198" y="5005325"/>
                  <a:pt x="1763144" y="5005325"/>
                </a:cubicBezTo>
                <a:close/>
                <a:moveTo>
                  <a:pt x="1180220" y="5002351"/>
                </a:moveTo>
                <a:cubicBezTo>
                  <a:pt x="1186166" y="5002351"/>
                  <a:pt x="1190956" y="5007140"/>
                  <a:pt x="1190956" y="5013087"/>
                </a:cubicBezTo>
                <a:cubicBezTo>
                  <a:pt x="1190956" y="5019034"/>
                  <a:pt x="1186166" y="5023825"/>
                  <a:pt x="1180220" y="5023825"/>
                </a:cubicBezTo>
                <a:cubicBezTo>
                  <a:pt x="1174274" y="5023825"/>
                  <a:pt x="1169484" y="5019034"/>
                  <a:pt x="1169484" y="5013087"/>
                </a:cubicBezTo>
                <a:cubicBezTo>
                  <a:pt x="1169484" y="5007140"/>
                  <a:pt x="1174274" y="5002351"/>
                  <a:pt x="1180220" y="5002351"/>
                </a:cubicBezTo>
                <a:close/>
                <a:moveTo>
                  <a:pt x="1367535" y="5002021"/>
                </a:moveTo>
                <a:cubicBezTo>
                  <a:pt x="1373481" y="5002021"/>
                  <a:pt x="1378273" y="5006811"/>
                  <a:pt x="1378273" y="5012757"/>
                </a:cubicBezTo>
                <a:cubicBezTo>
                  <a:pt x="1378273" y="5018704"/>
                  <a:pt x="1373481" y="5023494"/>
                  <a:pt x="1367535" y="5023494"/>
                </a:cubicBezTo>
                <a:cubicBezTo>
                  <a:pt x="1361588" y="5023494"/>
                  <a:pt x="1356798" y="5018704"/>
                  <a:pt x="1356798" y="5012757"/>
                </a:cubicBezTo>
                <a:cubicBezTo>
                  <a:pt x="1356798" y="5006811"/>
                  <a:pt x="1361588" y="5002021"/>
                  <a:pt x="1367535" y="5002021"/>
                </a:cubicBezTo>
                <a:close/>
                <a:moveTo>
                  <a:pt x="909323" y="5001855"/>
                </a:moveTo>
                <a:cubicBezTo>
                  <a:pt x="913783" y="5001855"/>
                  <a:pt x="917416" y="5005490"/>
                  <a:pt x="917416" y="5009948"/>
                </a:cubicBezTo>
                <a:cubicBezTo>
                  <a:pt x="917416" y="5014408"/>
                  <a:pt x="913783" y="5018043"/>
                  <a:pt x="909323" y="5018043"/>
                </a:cubicBezTo>
                <a:cubicBezTo>
                  <a:pt x="904862" y="5018043"/>
                  <a:pt x="901229" y="5014408"/>
                  <a:pt x="901229" y="5009948"/>
                </a:cubicBezTo>
                <a:cubicBezTo>
                  <a:pt x="901229" y="5005490"/>
                  <a:pt x="904862" y="5001855"/>
                  <a:pt x="909323" y="5001855"/>
                </a:cubicBezTo>
                <a:close/>
                <a:moveTo>
                  <a:pt x="991582" y="4999213"/>
                </a:moveTo>
                <a:cubicBezTo>
                  <a:pt x="997529" y="4999213"/>
                  <a:pt x="1002318" y="5004003"/>
                  <a:pt x="1002318" y="5009950"/>
                </a:cubicBezTo>
                <a:cubicBezTo>
                  <a:pt x="1002318" y="5015896"/>
                  <a:pt x="997529" y="5020686"/>
                  <a:pt x="991582" y="5020686"/>
                </a:cubicBezTo>
                <a:lnTo>
                  <a:pt x="983570" y="5012674"/>
                </a:lnTo>
                <a:lnTo>
                  <a:pt x="973742" y="5022502"/>
                </a:lnTo>
                <a:lnTo>
                  <a:pt x="966806" y="5015565"/>
                </a:lnTo>
                <a:lnTo>
                  <a:pt x="957554" y="5024815"/>
                </a:lnTo>
                <a:cubicBezTo>
                  <a:pt x="951607" y="5024815"/>
                  <a:pt x="946818" y="5020025"/>
                  <a:pt x="946818" y="5014079"/>
                </a:cubicBezTo>
                <a:cubicBezTo>
                  <a:pt x="946818" y="5008132"/>
                  <a:pt x="951607" y="5003343"/>
                  <a:pt x="957554" y="5003343"/>
                </a:cubicBezTo>
                <a:lnTo>
                  <a:pt x="964492" y="5010281"/>
                </a:lnTo>
                <a:lnTo>
                  <a:pt x="973742" y="5001029"/>
                </a:lnTo>
                <a:lnTo>
                  <a:pt x="981754" y="5009041"/>
                </a:lnTo>
                <a:close/>
                <a:moveTo>
                  <a:pt x="2097471" y="4995579"/>
                </a:moveTo>
                <a:cubicBezTo>
                  <a:pt x="2103418" y="4995579"/>
                  <a:pt x="2108208" y="5000368"/>
                  <a:pt x="2108208" y="5006315"/>
                </a:cubicBezTo>
                <a:cubicBezTo>
                  <a:pt x="2108208" y="5012262"/>
                  <a:pt x="2103418" y="5017051"/>
                  <a:pt x="2097471" y="5017051"/>
                </a:cubicBezTo>
                <a:cubicBezTo>
                  <a:pt x="2091525" y="5017051"/>
                  <a:pt x="2086735" y="5012262"/>
                  <a:pt x="2086735" y="5006315"/>
                </a:cubicBezTo>
                <a:cubicBezTo>
                  <a:pt x="2086735" y="5000368"/>
                  <a:pt x="2091525" y="4995579"/>
                  <a:pt x="2097471" y="4995579"/>
                </a:cubicBezTo>
                <a:close/>
                <a:moveTo>
                  <a:pt x="1015368" y="4994257"/>
                </a:moveTo>
                <a:cubicBezTo>
                  <a:pt x="1021315" y="4994257"/>
                  <a:pt x="1026104" y="4999047"/>
                  <a:pt x="1026104" y="5004994"/>
                </a:cubicBezTo>
                <a:cubicBezTo>
                  <a:pt x="1026104" y="5010940"/>
                  <a:pt x="1021315" y="5015732"/>
                  <a:pt x="1015368" y="5015732"/>
                </a:cubicBezTo>
                <a:cubicBezTo>
                  <a:pt x="1009422" y="5015732"/>
                  <a:pt x="1004632" y="5010940"/>
                  <a:pt x="1004632" y="5004994"/>
                </a:cubicBezTo>
                <a:cubicBezTo>
                  <a:pt x="1004632" y="4999047"/>
                  <a:pt x="1009422" y="4994257"/>
                  <a:pt x="1015368" y="4994257"/>
                </a:cubicBezTo>
                <a:close/>
                <a:moveTo>
                  <a:pt x="1109026" y="4993928"/>
                </a:moveTo>
                <a:cubicBezTo>
                  <a:pt x="1114973" y="4993928"/>
                  <a:pt x="1119764" y="4998718"/>
                  <a:pt x="1119764" y="5004664"/>
                </a:cubicBezTo>
                <a:cubicBezTo>
                  <a:pt x="1119764" y="5010611"/>
                  <a:pt x="1114973" y="5015400"/>
                  <a:pt x="1109026" y="5015400"/>
                </a:cubicBezTo>
                <a:cubicBezTo>
                  <a:pt x="1103080" y="5015400"/>
                  <a:pt x="1098290" y="5010611"/>
                  <a:pt x="1098290" y="5004664"/>
                </a:cubicBezTo>
                <a:cubicBezTo>
                  <a:pt x="1098290" y="4998718"/>
                  <a:pt x="1103080" y="4993928"/>
                  <a:pt x="1109026" y="4993928"/>
                </a:cubicBezTo>
                <a:close/>
                <a:moveTo>
                  <a:pt x="1488283" y="4989797"/>
                </a:moveTo>
                <a:cubicBezTo>
                  <a:pt x="1494229" y="4989797"/>
                  <a:pt x="1499021" y="4994587"/>
                  <a:pt x="1499021" y="5000533"/>
                </a:cubicBezTo>
                <a:cubicBezTo>
                  <a:pt x="1499021" y="5006480"/>
                  <a:pt x="1494229" y="5011270"/>
                  <a:pt x="1488283" y="5011270"/>
                </a:cubicBezTo>
                <a:cubicBezTo>
                  <a:pt x="1482336" y="5011270"/>
                  <a:pt x="1477546" y="5006480"/>
                  <a:pt x="1477546" y="5000533"/>
                </a:cubicBezTo>
                <a:cubicBezTo>
                  <a:pt x="1477546" y="4994587"/>
                  <a:pt x="1482336" y="4989797"/>
                  <a:pt x="1488283" y="4989797"/>
                </a:cubicBezTo>
                <a:close/>
                <a:moveTo>
                  <a:pt x="1049726" y="4981703"/>
                </a:moveTo>
                <a:cubicBezTo>
                  <a:pt x="1055672" y="4981703"/>
                  <a:pt x="1060462" y="4986493"/>
                  <a:pt x="1060462" y="4992440"/>
                </a:cubicBezTo>
                <a:cubicBezTo>
                  <a:pt x="1060462" y="4998386"/>
                  <a:pt x="1055672" y="5003178"/>
                  <a:pt x="1049726" y="5003178"/>
                </a:cubicBezTo>
                <a:cubicBezTo>
                  <a:pt x="1043779" y="5003178"/>
                  <a:pt x="1038990" y="4998386"/>
                  <a:pt x="1038990" y="4992440"/>
                </a:cubicBezTo>
                <a:cubicBezTo>
                  <a:pt x="1038990" y="4986493"/>
                  <a:pt x="1043779" y="4981703"/>
                  <a:pt x="1049726" y="4981703"/>
                </a:cubicBezTo>
                <a:close/>
                <a:moveTo>
                  <a:pt x="957885" y="4980052"/>
                </a:moveTo>
                <a:cubicBezTo>
                  <a:pt x="963832" y="4980052"/>
                  <a:pt x="968621" y="4984842"/>
                  <a:pt x="968621" y="4990789"/>
                </a:cubicBezTo>
                <a:cubicBezTo>
                  <a:pt x="968621" y="4996735"/>
                  <a:pt x="963832" y="5001525"/>
                  <a:pt x="957885" y="5001525"/>
                </a:cubicBezTo>
                <a:lnTo>
                  <a:pt x="952187" y="4995827"/>
                </a:lnTo>
                <a:lnTo>
                  <a:pt x="943184" y="5004829"/>
                </a:lnTo>
                <a:lnTo>
                  <a:pt x="938313" y="4999957"/>
                </a:lnTo>
                <a:lnTo>
                  <a:pt x="927988" y="5010279"/>
                </a:lnTo>
                <a:cubicBezTo>
                  <a:pt x="922041" y="5010279"/>
                  <a:pt x="917251" y="5005490"/>
                  <a:pt x="917251" y="4999543"/>
                </a:cubicBezTo>
                <a:cubicBezTo>
                  <a:pt x="917251" y="4993596"/>
                  <a:pt x="922041" y="4988807"/>
                  <a:pt x="927988" y="4988807"/>
                </a:cubicBezTo>
                <a:lnTo>
                  <a:pt x="932861" y="4993680"/>
                </a:lnTo>
                <a:lnTo>
                  <a:pt x="943184" y="4983354"/>
                </a:lnTo>
                <a:lnTo>
                  <a:pt x="948885" y="4989055"/>
                </a:lnTo>
                <a:close/>
                <a:moveTo>
                  <a:pt x="869183" y="4979721"/>
                </a:moveTo>
                <a:cubicBezTo>
                  <a:pt x="869457" y="4979721"/>
                  <a:pt x="869679" y="4979943"/>
                  <a:pt x="869679" y="4980217"/>
                </a:cubicBezTo>
                <a:cubicBezTo>
                  <a:pt x="869679" y="4980489"/>
                  <a:pt x="869457" y="4980711"/>
                  <a:pt x="869183" y="4980711"/>
                </a:cubicBezTo>
                <a:cubicBezTo>
                  <a:pt x="868909" y="4980711"/>
                  <a:pt x="868687" y="4980489"/>
                  <a:pt x="868687" y="4980217"/>
                </a:cubicBezTo>
                <a:cubicBezTo>
                  <a:pt x="868687" y="4979943"/>
                  <a:pt x="868909" y="4979721"/>
                  <a:pt x="869183" y="4979721"/>
                </a:cubicBezTo>
                <a:close/>
                <a:moveTo>
                  <a:pt x="898749" y="4977410"/>
                </a:moveTo>
                <a:cubicBezTo>
                  <a:pt x="904696" y="4977410"/>
                  <a:pt x="909487" y="4982199"/>
                  <a:pt x="909487" y="4988146"/>
                </a:cubicBezTo>
                <a:cubicBezTo>
                  <a:pt x="909487" y="4994092"/>
                  <a:pt x="904696" y="4998882"/>
                  <a:pt x="898749" y="4998882"/>
                </a:cubicBezTo>
                <a:cubicBezTo>
                  <a:pt x="892803" y="4998882"/>
                  <a:pt x="888013" y="4994092"/>
                  <a:pt x="888013" y="4988146"/>
                </a:cubicBezTo>
                <a:cubicBezTo>
                  <a:pt x="888013" y="4982199"/>
                  <a:pt x="892803" y="4977410"/>
                  <a:pt x="898749" y="4977410"/>
                </a:cubicBezTo>
                <a:close/>
                <a:moveTo>
                  <a:pt x="975560" y="4975922"/>
                </a:moveTo>
                <a:cubicBezTo>
                  <a:pt x="981506" y="4975922"/>
                  <a:pt x="986296" y="4980711"/>
                  <a:pt x="986296" y="4986658"/>
                </a:cubicBezTo>
                <a:cubicBezTo>
                  <a:pt x="986296" y="4992605"/>
                  <a:pt x="981506" y="4997394"/>
                  <a:pt x="975560" y="4997394"/>
                </a:cubicBezTo>
                <a:cubicBezTo>
                  <a:pt x="969613" y="4997394"/>
                  <a:pt x="964824" y="4992605"/>
                  <a:pt x="964824" y="4986658"/>
                </a:cubicBezTo>
                <a:cubicBezTo>
                  <a:pt x="964824" y="4980711"/>
                  <a:pt x="969613" y="4975922"/>
                  <a:pt x="975560" y="4975922"/>
                </a:cubicBezTo>
                <a:close/>
                <a:moveTo>
                  <a:pt x="1630503" y="4967332"/>
                </a:moveTo>
                <a:cubicBezTo>
                  <a:pt x="1636450" y="4967332"/>
                  <a:pt x="1641241" y="4972122"/>
                  <a:pt x="1641241" y="4978069"/>
                </a:cubicBezTo>
                <a:cubicBezTo>
                  <a:pt x="1641241" y="4984015"/>
                  <a:pt x="1636450" y="4988807"/>
                  <a:pt x="1630503" y="4988807"/>
                </a:cubicBezTo>
                <a:cubicBezTo>
                  <a:pt x="1624557" y="4988807"/>
                  <a:pt x="1619767" y="4984015"/>
                  <a:pt x="1619767" y="4978069"/>
                </a:cubicBezTo>
                <a:cubicBezTo>
                  <a:pt x="1619767" y="4972122"/>
                  <a:pt x="1624557" y="4967332"/>
                  <a:pt x="1630503" y="4967332"/>
                </a:cubicBezTo>
                <a:close/>
                <a:moveTo>
                  <a:pt x="2847724" y="4967003"/>
                </a:moveTo>
                <a:cubicBezTo>
                  <a:pt x="2853670" y="4967003"/>
                  <a:pt x="2858462" y="4971793"/>
                  <a:pt x="2858462" y="4977739"/>
                </a:cubicBezTo>
                <a:cubicBezTo>
                  <a:pt x="2858462" y="4983686"/>
                  <a:pt x="2853670" y="4988475"/>
                  <a:pt x="2847724" y="4988475"/>
                </a:cubicBezTo>
                <a:cubicBezTo>
                  <a:pt x="2841778" y="4988475"/>
                  <a:pt x="2836988" y="4983686"/>
                  <a:pt x="2836988" y="4977739"/>
                </a:cubicBezTo>
                <a:cubicBezTo>
                  <a:pt x="2836988" y="4971793"/>
                  <a:pt x="2841778" y="4967003"/>
                  <a:pt x="2847724" y="4967003"/>
                </a:cubicBezTo>
                <a:close/>
                <a:moveTo>
                  <a:pt x="1000336" y="4966836"/>
                </a:moveTo>
                <a:cubicBezTo>
                  <a:pt x="1006283" y="4966836"/>
                  <a:pt x="1011073" y="4971626"/>
                  <a:pt x="1011073" y="4977573"/>
                </a:cubicBezTo>
                <a:cubicBezTo>
                  <a:pt x="1011073" y="4983519"/>
                  <a:pt x="1006283" y="4988311"/>
                  <a:pt x="1000336" y="4988311"/>
                </a:cubicBezTo>
                <a:cubicBezTo>
                  <a:pt x="994390" y="4988311"/>
                  <a:pt x="989600" y="4983519"/>
                  <a:pt x="989600" y="4977573"/>
                </a:cubicBezTo>
                <a:cubicBezTo>
                  <a:pt x="989600" y="4971626"/>
                  <a:pt x="994390" y="4966836"/>
                  <a:pt x="1000336" y="4966836"/>
                </a:cubicBezTo>
                <a:close/>
                <a:moveTo>
                  <a:pt x="1943687" y="4965846"/>
                </a:moveTo>
                <a:cubicBezTo>
                  <a:pt x="1949634" y="4965846"/>
                  <a:pt x="1954425" y="4970636"/>
                  <a:pt x="1954425" y="4976582"/>
                </a:cubicBezTo>
                <a:cubicBezTo>
                  <a:pt x="1954425" y="4982529"/>
                  <a:pt x="1949634" y="4987320"/>
                  <a:pt x="1943687" y="4987320"/>
                </a:cubicBezTo>
                <a:cubicBezTo>
                  <a:pt x="1937741" y="4987320"/>
                  <a:pt x="1932951" y="4982529"/>
                  <a:pt x="1932951" y="4976582"/>
                </a:cubicBezTo>
                <a:cubicBezTo>
                  <a:pt x="1932951" y="4970636"/>
                  <a:pt x="1937741" y="4965846"/>
                  <a:pt x="1943687" y="4965846"/>
                </a:cubicBezTo>
                <a:close/>
                <a:moveTo>
                  <a:pt x="3026780" y="4965185"/>
                </a:moveTo>
                <a:cubicBezTo>
                  <a:pt x="3032727" y="4965185"/>
                  <a:pt x="3037518" y="4969975"/>
                  <a:pt x="3037518" y="4975922"/>
                </a:cubicBezTo>
                <a:cubicBezTo>
                  <a:pt x="3037518" y="4981868"/>
                  <a:pt x="3032727" y="4986660"/>
                  <a:pt x="3026780" y="4986660"/>
                </a:cubicBezTo>
                <a:cubicBezTo>
                  <a:pt x="3020834" y="4986660"/>
                  <a:pt x="3016044" y="4981868"/>
                  <a:pt x="3016044" y="4975922"/>
                </a:cubicBezTo>
                <a:cubicBezTo>
                  <a:pt x="3016044" y="4969975"/>
                  <a:pt x="3020834" y="4965185"/>
                  <a:pt x="3026780" y="4965185"/>
                </a:cubicBezTo>
                <a:close/>
                <a:moveTo>
                  <a:pt x="2668832" y="4962211"/>
                </a:moveTo>
                <a:cubicBezTo>
                  <a:pt x="2674779" y="4962211"/>
                  <a:pt x="2679570" y="4967001"/>
                  <a:pt x="2679570" y="4972948"/>
                </a:cubicBezTo>
                <a:cubicBezTo>
                  <a:pt x="2679570" y="4978894"/>
                  <a:pt x="2674779" y="4983686"/>
                  <a:pt x="2668832" y="4983686"/>
                </a:cubicBezTo>
                <a:cubicBezTo>
                  <a:pt x="2662886" y="4983686"/>
                  <a:pt x="2658096" y="4978894"/>
                  <a:pt x="2658096" y="4972948"/>
                </a:cubicBezTo>
                <a:cubicBezTo>
                  <a:pt x="2658096" y="4967001"/>
                  <a:pt x="2662886" y="4962211"/>
                  <a:pt x="2668832" y="4962211"/>
                </a:cubicBezTo>
                <a:close/>
                <a:moveTo>
                  <a:pt x="1176254" y="4959568"/>
                </a:moveTo>
                <a:cubicBezTo>
                  <a:pt x="1182200" y="4959568"/>
                  <a:pt x="1186992" y="4964358"/>
                  <a:pt x="1186992" y="4970305"/>
                </a:cubicBezTo>
                <a:cubicBezTo>
                  <a:pt x="1186992" y="4976251"/>
                  <a:pt x="1182200" y="4981043"/>
                  <a:pt x="1176254" y="4981043"/>
                </a:cubicBezTo>
                <a:cubicBezTo>
                  <a:pt x="1170307" y="4981043"/>
                  <a:pt x="1165518" y="4976251"/>
                  <a:pt x="1165518" y="4970305"/>
                </a:cubicBezTo>
                <a:cubicBezTo>
                  <a:pt x="1165518" y="4964358"/>
                  <a:pt x="1170307" y="4959568"/>
                  <a:pt x="1176254" y="4959568"/>
                </a:cubicBezTo>
                <a:close/>
                <a:moveTo>
                  <a:pt x="941367" y="4957753"/>
                </a:moveTo>
                <a:cubicBezTo>
                  <a:pt x="947314" y="4957753"/>
                  <a:pt x="952103" y="4962542"/>
                  <a:pt x="952103" y="4968489"/>
                </a:cubicBezTo>
                <a:cubicBezTo>
                  <a:pt x="952103" y="4974435"/>
                  <a:pt x="947314" y="4979225"/>
                  <a:pt x="941367" y="4979225"/>
                </a:cubicBezTo>
                <a:lnTo>
                  <a:pt x="936908" y="4974767"/>
                </a:lnTo>
                <a:lnTo>
                  <a:pt x="927823" y="4983850"/>
                </a:lnTo>
                <a:lnTo>
                  <a:pt x="924023" y="4980051"/>
                </a:lnTo>
                <a:lnTo>
                  <a:pt x="914608" y="4989466"/>
                </a:lnTo>
                <a:cubicBezTo>
                  <a:pt x="908662" y="4989466"/>
                  <a:pt x="903872" y="4984676"/>
                  <a:pt x="903872" y="4978729"/>
                </a:cubicBezTo>
                <a:cubicBezTo>
                  <a:pt x="903872" y="4972783"/>
                  <a:pt x="908662" y="4967993"/>
                  <a:pt x="914608" y="4967993"/>
                </a:cubicBezTo>
                <a:lnTo>
                  <a:pt x="918408" y="4971793"/>
                </a:lnTo>
                <a:lnTo>
                  <a:pt x="927823" y="4962378"/>
                </a:lnTo>
                <a:lnTo>
                  <a:pt x="932283" y="4966838"/>
                </a:lnTo>
                <a:close/>
                <a:moveTo>
                  <a:pt x="1267436" y="4956925"/>
                </a:moveTo>
                <a:cubicBezTo>
                  <a:pt x="1273382" y="4956925"/>
                  <a:pt x="1278172" y="4961715"/>
                  <a:pt x="1278172" y="4967662"/>
                </a:cubicBezTo>
                <a:cubicBezTo>
                  <a:pt x="1278172" y="4973608"/>
                  <a:pt x="1273382" y="4978400"/>
                  <a:pt x="1267436" y="4978400"/>
                </a:cubicBezTo>
                <a:cubicBezTo>
                  <a:pt x="1261489" y="4978400"/>
                  <a:pt x="1256699" y="4973608"/>
                  <a:pt x="1256699" y="4967662"/>
                </a:cubicBezTo>
                <a:cubicBezTo>
                  <a:pt x="1256699" y="4961715"/>
                  <a:pt x="1261489" y="4956925"/>
                  <a:pt x="1267436" y="4956925"/>
                </a:cubicBezTo>
                <a:close/>
                <a:moveTo>
                  <a:pt x="3204682" y="4956761"/>
                </a:moveTo>
                <a:cubicBezTo>
                  <a:pt x="3210628" y="4956761"/>
                  <a:pt x="3215420" y="4961550"/>
                  <a:pt x="3215420" y="4967497"/>
                </a:cubicBezTo>
                <a:cubicBezTo>
                  <a:pt x="3215420" y="4973443"/>
                  <a:pt x="3210628" y="4978233"/>
                  <a:pt x="3204682" y="4978233"/>
                </a:cubicBezTo>
                <a:cubicBezTo>
                  <a:pt x="3198736" y="4978233"/>
                  <a:pt x="3193946" y="4973443"/>
                  <a:pt x="3193946" y="4967497"/>
                </a:cubicBezTo>
                <a:cubicBezTo>
                  <a:pt x="3193946" y="4961550"/>
                  <a:pt x="3198736" y="4956761"/>
                  <a:pt x="3204682" y="4956761"/>
                </a:cubicBezTo>
                <a:close/>
                <a:moveTo>
                  <a:pt x="1100437" y="4955935"/>
                </a:moveTo>
                <a:cubicBezTo>
                  <a:pt x="1106384" y="4955935"/>
                  <a:pt x="1111173" y="4960725"/>
                  <a:pt x="1111173" y="4966671"/>
                </a:cubicBezTo>
                <a:cubicBezTo>
                  <a:pt x="1111173" y="4972618"/>
                  <a:pt x="1106384" y="4977410"/>
                  <a:pt x="1100437" y="4977410"/>
                </a:cubicBezTo>
                <a:cubicBezTo>
                  <a:pt x="1094490" y="4977410"/>
                  <a:pt x="1089701" y="4972618"/>
                  <a:pt x="1089701" y="4966671"/>
                </a:cubicBezTo>
                <a:cubicBezTo>
                  <a:pt x="1089701" y="4960725"/>
                  <a:pt x="1094490" y="4955935"/>
                  <a:pt x="1100437" y="4955935"/>
                </a:cubicBezTo>
                <a:close/>
                <a:moveTo>
                  <a:pt x="886858" y="4955606"/>
                </a:moveTo>
                <a:cubicBezTo>
                  <a:pt x="892804" y="4955606"/>
                  <a:pt x="897594" y="4960395"/>
                  <a:pt x="897594" y="4966342"/>
                </a:cubicBezTo>
                <a:cubicBezTo>
                  <a:pt x="897594" y="4972289"/>
                  <a:pt x="892804" y="4977078"/>
                  <a:pt x="886858" y="4977078"/>
                </a:cubicBezTo>
                <a:cubicBezTo>
                  <a:pt x="880911" y="4977078"/>
                  <a:pt x="876122" y="4972289"/>
                  <a:pt x="876122" y="4966342"/>
                </a:cubicBezTo>
                <a:cubicBezTo>
                  <a:pt x="876122" y="4960395"/>
                  <a:pt x="880911" y="4955606"/>
                  <a:pt x="886858" y="4955606"/>
                </a:cubicBezTo>
                <a:close/>
                <a:moveTo>
                  <a:pt x="2492089" y="4950814"/>
                </a:moveTo>
                <a:cubicBezTo>
                  <a:pt x="2498036" y="4950814"/>
                  <a:pt x="2502827" y="4955604"/>
                  <a:pt x="2502827" y="4961550"/>
                </a:cubicBezTo>
                <a:cubicBezTo>
                  <a:pt x="2502827" y="4967497"/>
                  <a:pt x="2498036" y="4972289"/>
                  <a:pt x="2492089" y="4972289"/>
                </a:cubicBezTo>
                <a:cubicBezTo>
                  <a:pt x="2486142" y="4972289"/>
                  <a:pt x="2481353" y="4967497"/>
                  <a:pt x="2481353" y="4961550"/>
                </a:cubicBezTo>
                <a:cubicBezTo>
                  <a:pt x="2481353" y="4955604"/>
                  <a:pt x="2486142" y="4950814"/>
                  <a:pt x="2492089" y="4950814"/>
                </a:cubicBezTo>
                <a:close/>
                <a:moveTo>
                  <a:pt x="959207" y="4950318"/>
                </a:moveTo>
                <a:cubicBezTo>
                  <a:pt x="965153" y="4950318"/>
                  <a:pt x="969945" y="4955108"/>
                  <a:pt x="969945" y="4961054"/>
                </a:cubicBezTo>
                <a:cubicBezTo>
                  <a:pt x="969945" y="4967001"/>
                  <a:pt x="965153" y="4971793"/>
                  <a:pt x="959207" y="4971793"/>
                </a:cubicBezTo>
                <a:cubicBezTo>
                  <a:pt x="953260" y="4971793"/>
                  <a:pt x="948470" y="4967001"/>
                  <a:pt x="948470" y="4961054"/>
                </a:cubicBezTo>
                <a:cubicBezTo>
                  <a:pt x="948470" y="4955108"/>
                  <a:pt x="953260" y="4950318"/>
                  <a:pt x="959207" y="4950318"/>
                </a:cubicBezTo>
                <a:close/>
                <a:moveTo>
                  <a:pt x="1037502" y="4947675"/>
                </a:moveTo>
                <a:cubicBezTo>
                  <a:pt x="1043448" y="4947675"/>
                  <a:pt x="1048238" y="4952465"/>
                  <a:pt x="1048238" y="4958412"/>
                </a:cubicBezTo>
                <a:cubicBezTo>
                  <a:pt x="1048238" y="4964358"/>
                  <a:pt x="1043448" y="4969150"/>
                  <a:pt x="1037502" y="4969150"/>
                </a:cubicBezTo>
                <a:cubicBezTo>
                  <a:pt x="1031555" y="4969150"/>
                  <a:pt x="1026765" y="4964358"/>
                  <a:pt x="1026765" y="4958412"/>
                </a:cubicBezTo>
                <a:cubicBezTo>
                  <a:pt x="1026765" y="4952465"/>
                  <a:pt x="1031555" y="4947675"/>
                  <a:pt x="1037502" y="4947675"/>
                </a:cubicBezTo>
                <a:close/>
                <a:moveTo>
                  <a:pt x="858943" y="4946685"/>
                </a:moveTo>
                <a:cubicBezTo>
                  <a:pt x="864690" y="4946685"/>
                  <a:pt x="869350" y="4951345"/>
                  <a:pt x="869350" y="4957092"/>
                </a:cubicBezTo>
                <a:cubicBezTo>
                  <a:pt x="869350" y="4962839"/>
                  <a:pt x="864690" y="4967499"/>
                  <a:pt x="858943" y="4967499"/>
                </a:cubicBezTo>
                <a:cubicBezTo>
                  <a:pt x="853196" y="4967499"/>
                  <a:pt x="848536" y="4962839"/>
                  <a:pt x="848536" y="4957092"/>
                </a:cubicBezTo>
                <a:cubicBezTo>
                  <a:pt x="848536" y="4951345"/>
                  <a:pt x="853196" y="4946685"/>
                  <a:pt x="858943" y="4946685"/>
                </a:cubicBezTo>
                <a:close/>
                <a:moveTo>
                  <a:pt x="1376289" y="4946520"/>
                </a:moveTo>
                <a:cubicBezTo>
                  <a:pt x="1382235" y="4946520"/>
                  <a:pt x="1387027" y="4951310"/>
                  <a:pt x="1387027" y="4957257"/>
                </a:cubicBezTo>
                <a:cubicBezTo>
                  <a:pt x="1387027" y="4963203"/>
                  <a:pt x="1382235" y="4967993"/>
                  <a:pt x="1376289" y="4967993"/>
                </a:cubicBezTo>
                <a:cubicBezTo>
                  <a:pt x="1370342" y="4967993"/>
                  <a:pt x="1365552" y="4963203"/>
                  <a:pt x="1365552" y="4957257"/>
                </a:cubicBezTo>
                <a:cubicBezTo>
                  <a:pt x="1365552" y="4951310"/>
                  <a:pt x="1370342" y="4946520"/>
                  <a:pt x="1376289" y="4946520"/>
                </a:cubicBezTo>
                <a:close/>
                <a:moveTo>
                  <a:pt x="3379608" y="4942060"/>
                </a:moveTo>
                <a:cubicBezTo>
                  <a:pt x="3385554" y="4942060"/>
                  <a:pt x="3390346" y="4946850"/>
                  <a:pt x="3390346" y="4952796"/>
                </a:cubicBezTo>
                <a:cubicBezTo>
                  <a:pt x="3390346" y="4958743"/>
                  <a:pt x="3385554" y="4963534"/>
                  <a:pt x="3379608" y="4963534"/>
                </a:cubicBezTo>
                <a:cubicBezTo>
                  <a:pt x="3373661" y="4963534"/>
                  <a:pt x="3368872" y="4958743"/>
                  <a:pt x="3368872" y="4952796"/>
                </a:cubicBezTo>
                <a:cubicBezTo>
                  <a:pt x="3368872" y="4946850"/>
                  <a:pt x="3373661" y="4942060"/>
                  <a:pt x="3379608" y="4942060"/>
                </a:cubicBezTo>
                <a:close/>
                <a:moveTo>
                  <a:pt x="985636" y="4935949"/>
                </a:moveTo>
                <a:cubicBezTo>
                  <a:pt x="991582" y="4935949"/>
                  <a:pt x="996372" y="4940738"/>
                  <a:pt x="996372" y="4946685"/>
                </a:cubicBezTo>
                <a:cubicBezTo>
                  <a:pt x="996372" y="4952632"/>
                  <a:pt x="991582" y="4957421"/>
                  <a:pt x="985636" y="4957421"/>
                </a:cubicBezTo>
                <a:cubicBezTo>
                  <a:pt x="979689" y="4957421"/>
                  <a:pt x="974899" y="4952632"/>
                  <a:pt x="974899" y="4946685"/>
                </a:cubicBezTo>
                <a:cubicBezTo>
                  <a:pt x="974899" y="4940738"/>
                  <a:pt x="979689" y="4935949"/>
                  <a:pt x="985636" y="4935949"/>
                </a:cubicBezTo>
                <a:close/>
                <a:moveTo>
                  <a:pt x="924188" y="4933470"/>
                </a:moveTo>
                <a:cubicBezTo>
                  <a:pt x="930135" y="4933470"/>
                  <a:pt x="934924" y="4938260"/>
                  <a:pt x="934924" y="4944207"/>
                </a:cubicBezTo>
                <a:cubicBezTo>
                  <a:pt x="934924" y="4950153"/>
                  <a:pt x="930135" y="4954943"/>
                  <a:pt x="924188" y="4954943"/>
                </a:cubicBezTo>
                <a:lnTo>
                  <a:pt x="921216" y="4951971"/>
                </a:lnTo>
                <a:lnTo>
                  <a:pt x="911470" y="4961715"/>
                </a:lnTo>
                <a:lnTo>
                  <a:pt x="908993" y="4959239"/>
                </a:lnTo>
                <a:lnTo>
                  <a:pt x="900072" y="4968159"/>
                </a:lnTo>
                <a:cubicBezTo>
                  <a:pt x="894126" y="4968159"/>
                  <a:pt x="889336" y="4963368"/>
                  <a:pt x="889336" y="4957421"/>
                </a:cubicBezTo>
                <a:cubicBezTo>
                  <a:pt x="889336" y="4951475"/>
                  <a:pt x="894126" y="4946685"/>
                  <a:pt x="900072" y="4946685"/>
                </a:cubicBezTo>
                <a:lnTo>
                  <a:pt x="902551" y="4949163"/>
                </a:lnTo>
                <a:lnTo>
                  <a:pt x="911470" y="4940242"/>
                </a:lnTo>
                <a:lnTo>
                  <a:pt x="914444" y="4943217"/>
                </a:lnTo>
                <a:close/>
                <a:moveTo>
                  <a:pt x="2319144" y="4933141"/>
                </a:moveTo>
                <a:cubicBezTo>
                  <a:pt x="2325090" y="4933141"/>
                  <a:pt x="2329882" y="4937931"/>
                  <a:pt x="2329882" y="4943877"/>
                </a:cubicBezTo>
                <a:cubicBezTo>
                  <a:pt x="2329882" y="4949824"/>
                  <a:pt x="2325090" y="4954614"/>
                  <a:pt x="2319144" y="4954614"/>
                </a:cubicBezTo>
                <a:cubicBezTo>
                  <a:pt x="2313197" y="4954614"/>
                  <a:pt x="2308408" y="4949824"/>
                  <a:pt x="2308408" y="4943877"/>
                </a:cubicBezTo>
                <a:cubicBezTo>
                  <a:pt x="2308408" y="4937931"/>
                  <a:pt x="2313197" y="4933141"/>
                  <a:pt x="2319144" y="4933141"/>
                </a:cubicBezTo>
                <a:close/>
                <a:moveTo>
                  <a:pt x="1796841" y="4932149"/>
                </a:moveTo>
                <a:cubicBezTo>
                  <a:pt x="1802788" y="4932149"/>
                  <a:pt x="1807580" y="4936939"/>
                  <a:pt x="1807580" y="4942885"/>
                </a:cubicBezTo>
                <a:cubicBezTo>
                  <a:pt x="1807580" y="4948832"/>
                  <a:pt x="1802788" y="4953623"/>
                  <a:pt x="1796841" y="4953623"/>
                </a:cubicBezTo>
                <a:cubicBezTo>
                  <a:pt x="1790895" y="4953623"/>
                  <a:pt x="1786105" y="4948832"/>
                  <a:pt x="1786105" y="4942885"/>
                </a:cubicBezTo>
                <a:cubicBezTo>
                  <a:pt x="1786105" y="4936939"/>
                  <a:pt x="1790895" y="4932149"/>
                  <a:pt x="1796841" y="4932149"/>
                </a:cubicBezTo>
                <a:close/>
                <a:moveTo>
                  <a:pt x="1505462" y="4926532"/>
                </a:moveTo>
                <a:cubicBezTo>
                  <a:pt x="1511408" y="4926532"/>
                  <a:pt x="1516200" y="4931322"/>
                  <a:pt x="1516200" y="4937268"/>
                </a:cubicBezTo>
                <a:cubicBezTo>
                  <a:pt x="1516200" y="4943215"/>
                  <a:pt x="1511408" y="4948006"/>
                  <a:pt x="1505462" y="4948006"/>
                </a:cubicBezTo>
                <a:cubicBezTo>
                  <a:pt x="1499515" y="4948006"/>
                  <a:pt x="1494725" y="4943215"/>
                  <a:pt x="1494725" y="4937268"/>
                </a:cubicBezTo>
                <a:cubicBezTo>
                  <a:pt x="1494725" y="4931322"/>
                  <a:pt x="1499515" y="4926532"/>
                  <a:pt x="1505462" y="4926532"/>
                </a:cubicBezTo>
                <a:close/>
                <a:moveTo>
                  <a:pt x="820454" y="4924220"/>
                </a:moveTo>
                <a:cubicBezTo>
                  <a:pt x="821914" y="4924220"/>
                  <a:pt x="823097" y="4925403"/>
                  <a:pt x="823097" y="4926863"/>
                </a:cubicBezTo>
                <a:cubicBezTo>
                  <a:pt x="823097" y="4928323"/>
                  <a:pt x="821914" y="4929506"/>
                  <a:pt x="820454" y="4929506"/>
                </a:cubicBezTo>
                <a:cubicBezTo>
                  <a:pt x="818994" y="4929506"/>
                  <a:pt x="817811" y="4928323"/>
                  <a:pt x="817811" y="4926863"/>
                </a:cubicBezTo>
                <a:cubicBezTo>
                  <a:pt x="817811" y="4925403"/>
                  <a:pt x="818994" y="4924220"/>
                  <a:pt x="820454" y="4924220"/>
                </a:cubicBezTo>
                <a:close/>
                <a:moveTo>
                  <a:pt x="847213" y="4923230"/>
                </a:moveTo>
                <a:cubicBezTo>
                  <a:pt x="853159" y="4923230"/>
                  <a:pt x="857949" y="4928020"/>
                  <a:pt x="857949" y="4933966"/>
                </a:cubicBezTo>
                <a:cubicBezTo>
                  <a:pt x="857949" y="4939913"/>
                  <a:pt x="853159" y="4944703"/>
                  <a:pt x="847213" y="4944703"/>
                </a:cubicBezTo>
                <a:cubicBezTo>
                  <a:pt x="841266" y="4944703"/>
                  <a:pt x="836476" y="4939913"/>
                  <a:pt x="836476" y="4933966"/>
                </a:cubicBezTo>
                <a:cubicBezTo>
                  <a:pt x="836476" y="4928020"/>
                  <a:pt x="841266" y="4923230"/>
                  <a:pt x="847213" y="4923230"/>
                </a:cubicBezTo>
                <a:close/>
                <a:moveTo>
                  <a:pt x="942524" y="4922073"/>
                </a:moveTo>
                <a:cubicBezTo>
                  <a:pt x="948470" y="4922073"/>
                  <a:pt x="953260" y="4926863"/>
                  <a:pt x="953260" y="4932810"/>
                </a:cubicBezTo>
                <a:cubicBezTo>
                  <a:pt x="953260" y="4938756"/>
                  <a:pt x="948470" y="4943546"/>
                  <a:pt x="942524" y="4943546"/>
                </a:cubicBezTo>
                <a:cubicBezTo>
                  <a:pt x="936577" y="4943546"/>
                  <a:pt x="931787" y="4938756"/>
                  <a:pt x="931787" y="4932810"/>
                </a:cubicBezTo>
                <a:cubicBezTo>
                  <a:pt x="931787" y="4926863"/>
                  <a:pt x="936577" y="4922073"/>
                  <a:pt x="942524" y="4922073"/>
                </a:cubicBezTo>
                <a:close/>
                <a:moveTo>
                  <a:pt x="894124" y="4916788"/>
                </a:moveTo>
                <a:cubicBezTo>
                  <a:pt x="900071" y="4916788"/>
                  <a:pt x="904861" y="4921577"/>
                  <a:pt x="904861" y="4927524"/>
                </a:cubicBezTo>
                <a:cubicBezTo>
                  <a:pt x="904861" y="4933470"/>
                  <a:pt x="900071" y="4938262"/>
                  <a:pt x="894124" y="4938262"/>
                </a:cubicBezTo>
                <a:lnTo>
                  <a:pt x="893051" y="4937189"/>
                </a:lnTo>
                <a:lnTo>
                  <a:pt x="884215" y="4946024"/>
                </a:lnTo>
                <a:lnTo>
                  <a:pt x="883306" y="4945116"/>
                </a:lnTo>
                <a:lnTo>
                  <a:pt x="873477" y="4954943"/>
                </a:lnTo>
                <a:cubicBezTo>
                  <a:pt x="867530" y="4954943"/>
                  <a:pt x="862741" y="4950153"/>
                  <a:pt x="862741" y="4944207"/>
                </a:cubicBezTo>
                <a:cubicBezTo>
                  <a:pt x="862741" y="4938260"/>
                  <a:pt x="867530" y="4933470"/>
                  <a:pt x="873477" y="4933470"/>
                </a:cubicBezTo>
                <a:lnTo>
                  <a:pt x="874386" y="4934379"/>
                </a:lnTo>
                <a:lnTo>
                  <a:pt x="884215" y="4924550"/>
                </a:lnTo>
                <a:lnTo>
                  <a:pt x="885289" y="4925623"/>
                </a:lnTo>
                <a:close/>
                <a:moveTo>
                  <a:pt x="1093002" y="4912988"/>
                </a:moveTo>
                <a:cubicBezTo>
                  <a:pt x="1098949" y="4912988"/>
                  <a:pt x="1103741" y="4917778"/>
                  <a:pt x="1103741" y="4923724"/>
                </a:cubicBezTo>
                <a:cubicBezTo>
                  <a:pt x="1103741" y="4929671"/>
                  <a:pt x="1098949" y="4934461"/>
                  <a:pt x="1093002" y="4934461"/>
                </a:cubicBezTo>
                <a:cubicBezTo>
                  <a:pt x="1087056" y="4934461"/>
                  <a:pt x="1082266" y="4929671"/>
                  <a:pt x="1082266" y="4923724"/>
                </a:cubicBezTo>
                <a:cubicBezTo>
                  <a:pt x="1082266" y="4917778"/>
                  <a:pt x="1087056" y="4912988"/>
                  <a:pt x="1093002" y="4912988"/>
                </a:cubicBezTo>
                <a:close/>
                <a:moveTo>
                  <a:pt x="1173942" y="4910841"/>
                </a:moveTo>
                <a:cubicBezTo>
                  <a:pt x="1179889" y="4910841"/>
                  <a:pt x="1184680" y="4915631"/>
                  <a:pt x="1184680" y="4921577"/>
                </a:cubicBezTo>
                <a:cubicBezTo>
                  <a:pt x="1184680" y="4927524"/>
                  <a:pt x="1179889" y="4932314"/>
                  <a:pt x="1173942" y="4932314"/>
                </a:cubicBezTo>
                <a:cubicBezTo>
                  <a:pt x="1167996" y="4932314"/>
                  <a:pt x="1163206" y="4927524"/>
                  <a:pt x="1163206" y="4921577"/>
                </a:cubicBezTo>
                <a:cubicBezTo>
                  <a:pt x="1163206" y="4915631"/>
                  <a:pt x="1167996" y="4910841"/>
                  <a:pt x="1173942" y="4910841"/>
                </a:cubicBezTo>
                <a:close/>
                <a:moveTo>
                  <a:pt x="2151320" y="4910014"/>
                </a:moveTo>
                <a:cubicBezTo>
                  <a:pt x="2157266" y="4910014"/>
                  <a:pt x="2162058" y="4914804"/>
                  <a:pt x="2162058" y="4920750"/>
                </a:cubicBezTo>
                <a:cubicBezTo>
                  <a:pt x="2162058" y="4926697"/>
                  <a:pt x="2157266" y="4931488"/>
                  <a:pt x="2151320" y="4931488"/>
                </a:cubicBezTo>
                <a:cubicBezTo>
                  <a:pt x="2145373" y="4931488"/>
                  <a:pt x="2140583" y="4926697"/>
                  <a:pt x="2140583" y="4920750"/>
                </a:cubicBezTo>
                <a:cubicBezTo>
                  <a:pt x="2140583" y="4914804"/>
                  <a:pt x="2145373" y="4910014"/>
                  <a:pt x="2151320" y="4910014"/>
                </a:cubicBezTo>
                <a:close/>
                <a:moveTo>
                  <a:pt x="1026104" y="4909355"/>
                </a:moveTo>
                <a:cubicBezTo>
                  <a:pt x="1032051" y="4909355"/>
                  <a:pt x="1036841" y="4914145"/>
                  <a:pt x="1036841" y="4920091"/>
                </a:cubicBezTo>
                <a:cubicBezTo>
                  <a:pt x="1036841" y="4926038"/>
                  <a:pt x="1032051" y="4930828"/>
                  <a:pt x="1026104" y="4930828"/>
                </a:cubicBezTo>
                <a:cubicBezTo>
                  <a:pt x="1020158" y="4930828"/>
                  <a:pt x="1015368" y="4926038"/>
                  <a:pt x="1015368" y="4920091"/>
                </a:cubicBezTo>
                <a:cubicBezTo>
                  <a:pt x="1015368" y="4914145"/>
                  <a:pt x="1020158" y="4909355"/>
                  <a:pt x="1026104" y="4909355"/>
                </a:cubicBezTo>
                <a:close/>
                <a:moveTo>
                  <a:pt x="906513" y="4906877"/>
                </a:moveTo>
                <a:cubicBezTo>
                  <a:pt x="912460" y="4906877"/>
                  <a:pt x="917250" y="4911667"/>
                  <a:pt x="917250" y="4917613"/>
                </a:cubicBezTo>
                <a:cubicBezTo>
                  <a:pt x="917250" y="4923560"/>
                  <a:pt x="912460" y="4928351"/>
                  <a:pt x="906513" y="4928351"/>
                </a:cubicBezTo>
                <a:cubicBezTo>
                  <a:pt x="900567" y="4928351"/>
                  <a:pt x="895777" y="4923560"/>
                  <a:pt x="895777" y="4917613"/>
                </a:cubicBezTo>
                <a:cubicBezTo>
                  <a:pt x="895777" y="4911667"/>
                  <a:pt x="900567" y="4906877"/>
                  <a:pt x="906513" y="4906877"/>
                </a:cubicBezTo>
                <a:close/>
                <a:moveTo>
                  <a:pt x="1271398" y="4901756"/>
                </a:moveTo>
                <a:cubicBezTo>
                  <a:pt x="1277345" y="4901756"/>
                  <a:pt x="1282136" y="4906545"/>
                  <a:pt x="1282136" y="4912492"/>
                </a:cubicBezTo>
                <a:cubicBezTo>
                  <a:pt x="1282136" y="4918439"/>
                  <a:pt x="1277345" y="4923230"/>
                  <a:pt x="1271398" y="4923230"/>
                </a:cubicBezTo>
                <a:cubicBezTo>
                  <a:pt x="1265452" y="4923230"/>
                  <a:pt x="1260662" y="4918439"/>
                  <a:pt x="1260662" y="4912492"/>
                </a:cubicBezTo>
                <a:cubicBezTo>
                  <a:pt x="1260662" y="4906545"/>
                  <a:pt x="1265452" y="4901756"/>
                  <a:pt x="1271398" y="4901756"/>
                </a:cubicBezTo>
                <a:close/>
                <a:moveTo>
                  <a:pt x="971100" y="4901426"/>
                </a:moveTo>
                <a:cubicBezTo>
                  <a:pt x="977046" y="4901426"/>
                  <a:pt x="981836" y="4906216"/>
                  <a:pt x="981836" y="4912163"/>
                </a:cubicBezTo>
                <a:cubicBezTo>
                  <a:pt x="981836" y="4918109"/>
                  <a:pt x="977046" y="4922899"/>
                  <a:pt x="971100" y="4922899"/>
                </a:cubicBezTo>
                <a:cubicBezTo>
                  <a:pt x="965153" y="4922899"/>
                  <a:pt x="960363" y="4918109"/>
                  <a:pt x="960363" y="4912163"/>
                </a:cubicBezTo>
                <a:cubicBezTo>
                  <a:pt x="960363" y="4906216"/>
                  <a:pt x="965153" y="4901426"/>
                  <a:pt x="971100" y="4901426"/>
                </a:cubicBezTo>
                <a:close/>
                <a:moveTo>
                  <a:pt x="1657428" y="4894819"/>
                </a:moveTo>
                <a:cubicBezTo>
                  <a:pt x="1663375" y="4894819"/>
                  <a:pt x="1668165" y="4899609"/>
                  <a:pt x="1668165" y="4905555"/>
                </a:cubicBezTo>
                <a:cubicBezTo>
                  <a:pt x="1668165" y="4911502"/>
                  <a:pt x="1663375" y="4916292"/>
                  <a:pt x="1657428" y="4916292"/>
                </a:cubicBezTo>
                <a:cubicBezTo>
                  <a:pt x="1651482" y="4916292"/>
                  <a:pt x="1646692" y="4911502"/>
                  <a:pt x="1646692" y="4905555"/>
                </a:cubicBezTo>
                <a:cubicBezTo>
                  <a:pt x="1646692" y="4899609"/>
                  <a:pt x="1651482" y="4894819"/>
                  <a:pt x="1657428" y="4894819"/>
                </a:cubicBezTo>
                <a:close/>
                <a:moveTo>
                  <a:pt x="808891" y="4891680"/>
                </a:moveTo>
                <a:cubicBezTo>
                  <a:pt x="814837" y="4891680"/>
                  <a:pt x="819627" y="4896470"/>
                  <a:pt x="819627" y="4902416"/>
                </a:cubicBezTo>
                <a:cubicBezTo>
                  <a:pt x="819627" y="4908363"/>
                  <a:pt x="814837" y="4913153"/>
                  <a:pt x="808891" y="4913153"/>
                </a:cubicBezTo>
                <a:cubicBezTo>
                  <a:pt x="802944" y="4913153"/>
                  <a:pt x="798154" y="4908363"/>
                  <a:pt x="798154" y="4902416"/>
                </a:cubicBezTo>
                <a:cubicBezTo>
                  <a:pt x="798154" y="4896470"/>
                  <a:pt x="802944" y="4891680"/>
                  <a:pt x="808891" y="4891680"/>
                </a:cubicBezTo>
                <a:close/>
                <a:moveTo>
                  <a:pt x="876120" y="4891349"/>
                </a:moveTo>
                <a:cubicBezTo>
                  <a:pt x="882066" y="4891349"/>
                  <a:pt x="886856" y="4896139"/>
                  <a:pt x="886856" y="4902085"/>
                </a:cubicBezTo>
                <a:lnTo>
                  <a:pt x="877525" y="4911419"/>
                </a:lnTo>
                <a:lnTo>
                  <a:pt x="878102" y="4911996"/>
                </a:lnTo>
                <a:lnTo>
                  <a:pt x="869017" y="4921083"/>
                </a:lnTo>
                <a:lnTo>
                  <a:pt x="869513" y="4921577"/>
                </a:lnTo>
                <a:cubicBezTo>
                  <a:pt x="869513" y="4927524"/>
                  <a:pt x="864723" y="4932314"/>
                  <a:pt x="858776" y="4932314"/>
                </a:cubicBezTo>
                <a:cubicBezTo>
                  <a:pt x="852830" y="4932314"/>
                  <a:pt x="848040" y="4927524"/>
                  <a:pt x="848040" y="4921577"/>
                </a:cubicBezTo>
                <a:lnTo>
                  <a:pt x="857125" y="4912492"/>
                </a:lnTo>
                <a:lnTo>
                  <a:pt x="856629" y="4911996"/>
                </a:lnTo>
                <a:lnTo>
                  <a:pt x="865963" y="4902664"/>
                </a:lnTo>
                <a:lnTo>
                  <a:pt x="865384" y="4902085"/>
                </a:lnTo>
                <a:cubicBezTo>
                  <a:pt x="865384" y="4896139"/>
                  <a:pt x="870173" y="4891349"/>
                  <a:pt x="876120" y="4891349"/>
                </a:cubicBezTo>
                <a:close/>
                <a:moveTo>
                  <a:pt x="925841" y="4890523"/>
                </a:moveTo>
                <a:cubicBezTo>
                  <a:pt x="931787" y="4890523"/>
                  <a:pt x="936577" y="4895313"/>
                  <a:pt x="936577" y="4901260"/>
                </a:cubicBezTo>
                <a:cubicBezTo>
                  <a:pt x="936577" y="4907206"/>
                  <a:pt x="931787" y="4911996"/>
                  <a:pt x="925841" y="4911996"/>
                </a:cubicBezTo>
                <a:cubicBezTo>
                  <a:pt x="919894" y="4911996"/>
                  <a:pt x="915104" y="4907206"/>
                  <a:pt x="915104" y="4901260"/>
                </a:cubicBezTo>
                <a:cubicBezTo>
                  <a:pt x="915104" y="4895313"/>
                  <a:pt x="919894" y="4890523"/>
                  <a:pt x="925841" y="4890523"/>
                </a:cubicBezTo>
                <a:close/>
                <a:moveTo>
                  <a:pt x="1387852" y="4883587"/>
                </a:moveTo>
                <a:cubicBezTo>
                  <a:pt x="1393799" y="4883587"/>
                  <a:pt x="1398589" y="4888376"/>
                  <a:pt x="1398589" y="4894323"/>
                </a:cubicBezTo>
                <a:cubicBezTo>
                  <a:pt x="1398589" y="4900269"/>
                  <a:pt x="1393799" y="4905059"/>
                  <a:pt x="1387852" y="4905059"/>
                </a:cubicBezTo>
                <a:cubicBezTo>
                  <a:pt x="1381906" y="4905059"/>
                  <a:pt x="1377116" y="4900269"/>
                  <a:pt x="1377116" y="4894323"/>
                </a:cubicBezTo>
                <a:cubicBezTo>
                  <a:pt x="1377116" y="4888376"/>
                  <a:pt x="1381906" y="4883587"/>
                  <a:pt x="1387852" y="4883587"/>
                </a:cubicBezTo>
                <a:close/>
                <a:moveTo>
                  <a:pt x="1989608" y="4881769"/>
                </a:moveTo>
                <a:cubicBezTo>
                  <a:pt x="1995555" y="4881769"/>
                  <a:pt x="2000345" y="4886559"/>
                  <a:pt x="2000345" y="4892506"/>
                </a:cubicBezTo>
                <a:cubicBezTo>
                  <a:pt x="2000345" y="4898452"/>
                  <a:pt x="1995555" y="4903242"/>
                  <a:pt x="1989608" y="4903242"/>
                </a:cubicBezTo>
                <a:cubicBezTo>
                  <a:pt x="1983662" y="4903242"/>
                  <a:pt x="1978872" y="4898452"/>
                  <a:pt x="1978872" y="4892506"/>
                </a:cubicBezTo>
                <a:cubicBezTo>
                  <a:pt x="1978872" y="4886559"/>
                  <a:pt x="1983662" y="4881769"/>
                  <a:pt x="1989608" y="4881769"/>
                </a:cubicBezTo>
                <a:close/>
                <a:moveTo>
                  <a:pt x="888509" y="4877638"/>
                </a:moveTo>
                <a:cubicBezTo>
                  <a:pt x="894455" y="4877638"/>
                  <a:pt x="899245" y="4882428"/>
                  <a:pt x="899245" y="4888375"/>
                </a:cubicBezTo>
                <a:cubicBezTo>
                  <a:pt x="899245" y="4894321"/>
                  <a:pt x="894455" y="4899111"/>
                  <a:pt x="888509" y="4899111"/>
                </a:cubicBezTo>
                <a:cubicBezTo>
                  <a:pt x="882562" y="4899111"/>
                  <a:pt x="877773" y="4894321"/>
                  <a:pt x="877773" y="4888375"/>
                </a:cubicBezTo>
                <a:cubicBezTo>
                  <a:pt x="877773" y="4882428"/>
                  <a:pt x="882562" y="4877638"/>
                  <a:pt x="888509" y="4877638"/>
                </a:cubicBezTo>
                <a:close/>
                <a:moveTo>
                  <a:pt x="796007" y="4866902"/>
                </a:moveTo>
                <a:cubicBezTo>
                  <a:pt x="801954" y="4866902"/>
                  <a:pt x="806744" y="4871692"/>
                  <a:pt x="806744" y="4877638"/>
                </a:cubicBezTo>
                <a:cubicBezTo>
                  <a:pt x="806744" y="4883585"/>
                  <a:pt x="801954" y="4888375"/>
                  <a:pt x="796007" y="4888375"/>
                </a:cubicBezTo>
                <a:cubicBezTo>
                  <a:pt x="790061" y="4888375"/>
                  <a:pt x="785271" y="4883585"/>
                  <a:pt x="785271" y="4877638"/>
                </a:cubicBezTo>
                <a:cubicBezTo>
                  <a:pt x="785271" y="4871692"/>
                  <a:pt x="790061" y="4866902"/>
                  <a:pt x="796007" y="4866902"/>
                </a:cubicBezTo>
                <a:close/>
                <a:moveTo>
                  <a:pt x="1015699" y="4865912"/>
                </a:moveTo>
                <a:cubicBezTo>
                  <a:pt x="1021646" y="4865912"/>
                  <a:pt x="1026436" y="4870702"/>
                  <a:pt x="1026436" y="4876648"/>
                </a:cubicBezTo>
                <a:cubicBezTo>
                  <a:pt x="1026436" y="4882595"/>
                  <a:pt x="1021646" y="4887384"/>
                  <a:pt x="1015699" y="4887384"/>
                </a:cubicBezTo>
                <a:cubicBezTo>
                  <a:pt x="1009753" y="4887384"/>
                  <a:pt x="1004963" y="4882595"/>
                  <a:pt x="1004963" y="4876648"/>
                </a:cubicBezTo>
                <a:cubicBezTo>
                  <a:pt x="1004963" y="4870702"/>
                  <a:pt x="1009753" y="4865912"/>
                  <a:pt x="1015699" y="4865912"/>
                </a:cubicBezTo>
                <a:close/>
                <a:moveTo>
                  <a:pt x="771892" y="4865745"/>
                </a:moveTo>
                <a:cubicBezTo>
                  <a:pt x="775195" y="4865745"/>
                  <a:pt x="778003" y="4868553"/>
                  <a:pt x="778003" y="4871857"/>
                </a:cubicBezTo>
                <a:cubicBezTo>
                  <a:pt x="778003" y="4875160"/>
                  <a:pt x="775360" y="4877968"/>
                  <a:pt x="771892" y="4877968"/>
                </a:cubicBezTo>
                <a:cubicBezTo>
                  <a:pt x="768588" y="4877968"/>
                  <a:pt x="765780" y="4875160"/>
                  <a:pt x="765780" y="4871857"/>
                </a:cubicBezTo>
                <a:cubicBezTo>
                  <a:pt x="765780" y="4868553"/>
                  <a:pt x="768588" y="4865745"/>
                  <a:pt x="771892" y="4865745"/>
                </a:cubicBezTo>
                <a:close/>
                <a:moveTo>
                  <a:pt x="1087058" y="4864094"/>
                </a:moveTo>
                <a:cubicBezTo>
                  <a:pt x="1093004" y="4864094"/>
                  <a:pt x="1097794" y="4868884"/>
                  <a:pt x="1097794" y="4874831"/>
                </a:cubicBezTo>
                <a:cubicBezTo>
                  <a:pt x="1097794" y="4880777"/>
                  <a:pt x="1093004" y="4885569"/>
                  <a:pt x="1087058" y="4885569"/>
                </a:cubicBezTo>
                <a:cubicBezTo>
                  <a:pt x="1081111" y="4885569"/>
                  <a:pt x="1076321" y="4880777"/>
                  <a:pt x="1076321" y="4874831"/>
                </a:cubicBezTo>
                <a:cubicBezTo>
                  <a:pt x="1076321" y="4868884"/>
                  <a:pt x="1081111" y="4864094"/>
                  <a:pt x="1087058" y="4864094"/>
                </a:cubicBezTo>
                <a:close/>
                <a:moveTo>
                  <a:pt x="857455" y="4863930"/>
                </a:moveTo>
                <a:cubicBezTo>
                  <a:pt x="863401" y="4863930"/>
                  <a:pt x="868193" y="4868719"/>
                  <a:pt x="868193" y="4874666"/>
                </a:cubicBezTo>
                <a:lnTo>
                  <a:pt x="858032" y="4884825"/>
                </a:lnTo>
                <a:lnTo>
                  <a:pt x="860427" y="4887220"/>
                </a:lnTo>
                <a:lnTo>
                  <a:pt x="851592" y="4896057"/>
                </a:lnTo>
                <a:lnTo>
                  <a:pt x="853655" y="4898121"/>
                </a:lnTo>
                <a:lnTo>
                  <a:pt x="843002" y="4908776"/>
                </a:lnTo>
                <a:lnTo>
                  <a:pt x="844736" y="4910510"/>
                </a:lnTo>
                <a:cubicBezTo>
                  <a:pt x="844736" y="4916456"/>
                  <a:pt x="839946" y="4921248"/>
                  <a:pt x="834000" y="4921248"/>
                </a:cubicBezTo>
                <a:cubicBezTo>
                  <a:pt x="828053" y="4921248"/>
                  <a:pt x="823264" y="4916456"/>
                  <a:pt x="823264" y="4910510"/>
                </a:cubicBezTo>
                <a:lnTo>
                  <a:pt x="833917" y="4899857"/>
                </a:lnTo>
                <a:lnTo>
                  <a:pt x="832183" y="4898121"/>
                </a:lnTo>
                <a:lnTo>
                  <a:pt x="841018" y="4889285"/>
                </a:lnTo>
                <a:lnTo>
                  <a:pt x="838955" y="4887220"/>
                </a:lnTo>
                <a:lnTo>
                  <a:pt x="849113" y="4877061"/>
                </a:lnTo>
                <a:lnTo>
                  <a:pt x="846718" y="4874666"/>
                </a:lnTo>
                <a:cubicBezTo>
                  <a:pt x="846718" y="4868719"/>
                  <a:pt x="851508" y="4863930"/>
                  <a:pt x="857455" y="4863930"/>
                </a:cubicBezTo>
                <a:close/>
                <a:moveTo>
                  <a:pt x="957224" y="4862442"/>
                </a:moveTo>
                <a:cubicBezTo>
                  <a:pt x="963171" y="4862442"/>
                  <a:pt x="967961" y="4867231"/>
                  <a:pt x="967961" y="4873178"/>
                </a:cubicBezTo>
                <a:cubicBezTo>
                  <a:pt x="967961" y="4879125"/>
                  <a:pt x="963171" y="4883916"/>
                  <a:pt x="957224" y="4883916"/>
                </a:cubicBezTo>
                <a:cubicBezTo>
                  <a:pt x="951278" y="4883916"/>
                  <a:pt x="946488" y="4879125"/>
                  <a:pt x="946488" y="4873178"/>
                </a:cubicBezTo>
                <a:cubicBezTo>
                  <a:pt x="946488" y="4867231"/>
                  <a:pt x="951278" y="4862442"/>
                  <a:pt x="957224" y="4862442"/>
                </a:cubicBezTo>
                <a:close/>
                <a:moveTo>
                  <a:pt x="2939069" y="4859800"/>
                </a:moveTo>
                <a:cubicBezTo>
                  <a:pt x="2945015" y="4859800"/>
                  <a:pt x="2949807" y="4864590"/>
                  <a:pt x="2949807" y="4870537"/>
                </a:cubicBezTo>
                <a:cubicBezTo>
                  <a:pt x="2949807" y="4876483"/>
                  <a:pt x="2945015" y="4881273"/>
                  <a:pt x="2939069" y="4881273"/>
                </a:cubicBezTo>
                <a:cubicBezTo>
                  <a:pt x="2933122" y="4881273"/>
                  <a:pt x="2928332" y="4876483"/>
                  <a:pt x="2928332" y="4870537"/>
                </a:cubicBezTo>
                <a:cubicBezTo>
                  <a:pt x="2928332" y="4864590"/>
                  <a:pt x="2933122" y="4859800"/>
                  <a:pt x="2939069" y="4859800"/>
                </a:cubicBezTo>
                <a:close/>
                <a:moveTo>
                  <a:pt x="2753076" y="4858148"/>
                </a:moveTo>
                <a:cubicBezTo>
                  <a:pt x="2759022" y="4858148"/>
                  <a:pt x="2763814" y="4862938"/>
                  <a:pt x="2763814" y="4868884"/>
                </a:cubicBezTo>
                <a:cubicBezTo>
                  <a:pt x="2763814" y="4874831"/>
                  <a:pt x="2759022" y="4879621"/>
                  <a:pt x="2753076" y="4879621"/>
                </a:cubicBezTo>
                <a:cubicBezTo>
                  <a:pt x="2747129" y="4879621"/>
                  <a:pt x="2742339" y="4874831"/>
                  <a:pt x="2742339" y="4868884"/>
                </a:cubicBezTo>
                <a:cubicBezTo>
                  <a:pt x="2742339" y="4862938"/>
                  <a:pt x="2747129" y="4858148"/>
                  <a:pt x="2753076" y="4858148"/>
                </a:cubicBezTo>
                <a:close/>
                <a:moveTo>
                  <a:pt x="1173613" y="4855834"/>
                </a:moveTo>
                <a:cubicBezTo>
                  <a:pt x="1179559" y="4855834"/>
                  <a:pt x="1184349" y="4860624"/>
                  <a:pt x="1184349" y="4866571"/>
                </a:cubicBezTo>
                <a:cubicBezTo>
                  <a:pt x="1184349" y="4872517"/>
                  <a:pt x="1179559" y="4877309"/>
                  <a:pt x="1173613" y="4877309"/>
                </a:cubicBezTo>
                <a:cubicBezTo>
                  <a:pt x="1167666" y="4877309"/>
                  <a:pt x="1162876" y="4872517"/>
                  <a:pt x="1162876" y="4866571"/>
                </a:cubicBezTo>
                <a:cubicBezTo>
                  <a:pt x="1162876" y="4860624"/>
                  <a:pt x="1167666" y="4855834"/>
                  <a:pt x="1173613" y="4855834"/>
                </a:cubicBezTo>
                <a:close/>
                <a:moveTo>
                  <a:pt x="909487" y="4855340"/>
                </a:moveTo>
                <a:cubicBezTo>
                  <a:pt x="915434" y="4855340"/>
                  <a:pt x="920224" y="4860130"/>
                  <a:pt x="920224" y="4866077"/>
                </a:cubicBezTo>
                <a:cubicBezTo>
                  <a:pt x="920224" y="4872023"/>
                  <a:pt x="915434" y="4876815"/>
                  <a:pt x="909487" y="4876815"/>
                </a:cubicBezTo>
                <a:cubicBezTo>
                  <a:pt x="903541" y="4876815"/>
                  <a:pt x="898751" y="4872023"/>
                  <a:pt x="898751" y="4866077"/>
                </a:cubicBezTo>
                <a:cubicBezTo>
                  <a:pt x="898751" y="4860130"/>
                  <a:pt x="903541" y="4855340"/>
                  <a:pt x="909487" y="4855340"/>
                </a:cubicBezTo>
                <a:close/>
                <a:moveTo>
                  <a:pt x="1525944" y="4854844"/>
                </a:moveTo>
                <a:cubicBezTo>
                  <a:pt x="1531890" y="4854844"/>
                  <a:pt x="1536680" y="4859634"/>
                  <a:pt x="1536680" y="4865581"/>
                </a:cubicBezTo>
                <a:cubicBezTo>
                  <a:pt x="1536680" y="4871527"/>
                  <a:pt x="1531890" y="4876319"/>
                  <a:pt x="1525944" y="4876319"/>
                </a:cubicBezTo>
                <a:cubicBezTo>
                  <a:pt x="1519998" y="4876319"/>
                  <a:pt x="1515208" y="4871527"/>
                  <a:pt x="1515208" y="4865581"/>
                </a:cubicBezTo>
                <a:cubicBezTo>
                  <a:pt x="1515208" y="4859634"/>
                  <a:pt x="1519998" y="4854844"/>
                  <a:pt x="1525944" y="4854844"/>
                </a:cubicBezTo>
                <a:close/>
                <a:moveTo>
                  <a:pt x="3124568" y="4854515"/>
                </a:moveTo>
                <a:cubicBezTo>
                  <a:pt x="3130514" y="4854515"/>
                  <a:pt x="3135306" y="4859305"/>
                  <a:pt x="3135306" y="4865251"/>
                </a:cubicBezTo>
                <a:cubicBezTo>
                  <a:pt x="3135306" y="4871198"/>
                  <a:pt x="3130514" y="4875987"/>
                  <a:pt x="3124568" y="4875987"/>
                </a:cubicBezTo>
                <a:cubicBezTo>
                  <a:pt x="3118621" y="4875987"/>
                  <a:pt x="3113832" y="4871198"/>
                  <a:pt x="3113832" y="4865251"/>
                </a:cubicBezTo>
                <a:cubicBezTo>
                  <a:pt x="3113832" y="4859305"/>
                  <a:pt x="3118621" y="4854515"/>
                  <a:pt x="3124568" y="4854515"/>
                </a:cubicBezTo>
                <a:close/>
                <a:moveTo>
                  <a:pt x="831026" y="4850054"/>
                </a:moveTo>
                <a:cubicBezTo>
                  <a:pt x="836972" y="4850054"/>
                  <a:pt x="841762" y="4854844"/>
                  <a:pt x="841762" y="4860791"/>
                </a:cubicBezTo>
                <a:lnTo>
                  <a:pt x="832678" y="4869876"/>
                </a:lnTo>
                <a:lnTo>
                  <a:pt x="836476" y="4873674"/>
                </a:lnTo>
                <a:lnTo>
                  <a:pt x="826895" y="4883255"/>
                </a:lnTo>
                <a:lnTo>
                  <a:pt x="830199" y="4886559"/>
                </a:lnTo>
                <a:cubicBezTo>
                  <a:pt x="830199" y="4892506"/>
                  <a:pt x="825409" y="4897295"/>
                  <a:pt x="819462" y="4897295"/>
                </a:cubicBezTo>
                <a:cubicBezTo>
                  <a:pt x="813516" y="4897295"/>
                  <a:pt x="808726" y="4892506"/>
                  <a:pt x="808726" y="4886559"/>
                </a:cubicBezTo>
                <a:lnTo>
                  <a:pt x="818307" y="4876978"/>
                </a:lnTo>
                <a:lnTo>
                  <a:pt x="815004" y="4873674"/>
                </a:lnTo>
                <a:lnTo>
                  <a:pt x="824087" y="4864590"/>
                </a:lnTo>
                <a:lnTo>
                  <a:pt x="820290" y="4860791"/>
                </a:lnTo>
                <a:cubicBezTo>
                  <a:pt x="820290" y="4854844"/>
                  <a:pt x="825079" y="4850054"/>
                  <a:pt x="831026" y="4850054"/>
                </a:cubicBezTo>
                <a:close/>
                <a:moveTo>
                  <a:pt x="2568568" y="4849723"/>
                </a:moveTo>
                <a:cubicBezTo>
                  <a:pt x="2574515" y="4849723"/>
                  <a:pt x="2579305" y="4854513"/>
                  <a:pt x="2579305" y="4860459"/>
                </a:cubicBezTo>
                <a:cubicBezTo>
                  <a:pt x="2579305" y="4866406"/>
                  <a:pt x="2574515" y="4871198"/>
                  <a:pt x="2568568" y="4871198"/>
                </a:cubicBezTo>
                <a:cubicBezTo>
                  <a:pt x="2562622" y="4871198"/>
                  <a:pt x="2557832" y="4866406"/>
                  <a:pt x="2557832" y="4860459"/>
                </a:cubicBezTo>
                <a:cubicBezTo>
                  <a:pt x="2557832" y="4854513"/>
                  <a:pt x="2562622" y="4849723"/>
                  <a:pt x="2568568" y="4849723"/>
                </a:cubicBezTo>
                <a:close/>
                <a:moveTo>
                  <a:pt x="1835163" y="4849227"/>
                </a:moveTo>
                <a:cubicBezTo>
                  <a:pt x="1841110" y="4849227"/>
                  <a:pt x="1845902" y="4854017"/>
                  <a:pt x="1845902" y="4859963"/>
                </a:cubicBezTo>
                <a:cubicBezTo>
                  <a:pt x="1845902" y="4865910"/>
                  <a:pt x="1841110" y="4870700"/>
                  <a:pt x="1835163" y="4870700"/>
                </a:cubicBezTo>
                <a:cubicBezTo>
                  <a:pt x="1829217" y="4870700"/>
                  <a:pt x="1824427" y="4865910"/>
                  <a:pt x="1824427" y="4859963"/>
                </a:cubicBezTo>
                <a:cubicBezTo>
                  <a:pt x="1824427" y="4854017"/>
                  <a:pt x="1829217" y="4849227"/>
                  <a:pt x="1835163" y="4849227"/>
                </a:cubicBezTo>
                <a:close/>
                <a:moveTo>
                  <a:pt x="870505" y="4845265"/>
                </a:moveTo>
                <a:cubicBezTo>
                  <a:pt x="876451" y="4845265"/>
                  <a:pt x="881241" y="4850054"/>
                  <a:pt x="881241" y="4856001"/>
                </a:cubicBezTo>
                <a:cubicBezTo>
                  <a:pt x="881241" y="4861947"/>
                  <a:pt x="876451" y="4866737"/>
                  <a:pt x="870505" y="4866737"/>
                </a:cubicBezTo>
                <a:cubicBezTo>
                  <a:pt x="864558" y="4866737"/>
                  <a:pt x="859768" y="4861947"/>
                  <a:pt x="859768" y="4856001"/>
                </a:cubicBezTo>
                <a:cubicBezTo>
                  <a:pt x="859768" y="4850054"/>
                  <a:pt x="864558" y="4845265"/>
                  <a:pt x="870505" y="4845265"/>
                </a:cubicBezTo>
                <a:close/>
                <a:moveTo>
                  <a:pt x="3307755" y="4842455"/>
                </a:moveTo>
                <a:cubicBezTo>
                  <a:pt x="3313702" y="4842455"/>
                  <a:pt x="3318492" y="4847245"/>
                  <a:pt x="3318492" y="4853191"/>
                </a:cubicBezTo>
                <a:cubicBezTo>
                  <a:pt x="3318492" y="4859138"/>
                  <a:pt x="3313702" y="4863930"/>
                  <a:pt x="3307755" y="4863930"/>
                </a:cubicBezTo>
                <a:cubicBezTo>
                  <a:pt x="3301809" y="4863930"/>
                  <a:pt x="3297019" y="4859138"/>
                  <a:pt x="3297019" y="4853191"/>
                </a:cubicBezTo>
                <a:cubicBezTo>
                  <a:pt x="3297019" y="4847245"/>
                  <a:pt x="3301809" y="4842455"/>
                  <a:pt x="3307755" y="4842455"/>
                </a:cubicBezTo>
                <a:close/>
                <a:moveTo>
                  <a:pt x="1277841" y="4839152"/>
                </a:moveTo>
                <a:cubicBezTo>
                  <a:pt x="1283787" y="4839152"/>
                  <a:pt x="1288579" y="4843941"/>
                  <a:pt x="1288579" y="4849888"/>
                </a:cubicBezTo>
                <a:cubicBezTo>
                  <a:pt x="1288579" y="4855834"/>
                  <a:pt x="1283787" y="4860624"/>
                  <a:pt x="1277841" y="4860624"/>
                </a:cubicBezTo>
                <a:cubicBezTo>
                  <a:pt x="1271894" y="4860624"/>
                  <a:pt x="1267104" y="4855834"/>
                  <a:pt x="1267104" y="4849888"/>
                </a:cubicBezTo>
                <a:cubicBezTo>
                  <a:pt x="1267104" y="4843941"/>
                  <a:pt x="1271894" y="4839152"/>
                  <a:pt x="1277841" y="4839152"/>
                </a:cubicBezTo>
                <a:close/>
                <a:moveTo>
                  <a:pt x="759336" y="4835022"/>
                </a:moveTo>
                <a:cubicBezTo>
                  <a:pt x="765283" y="4835022"/>
                  <a:pt x="770073" y="4839812"/>
                  <a:pt x="770073" y="4845759"/>
                </a:cubicBezTo>
                <a:cubicBezTo>
                  <a:pt x="770073" y="4851705"/>
                  <a:pt x="765283" y="4856495"/>
                  <a:pt x="759336" y="4856495"/>
                </a:cubicBezTo>
                <a:cubicBezTo>
                  <a:pt x="753390" y="4856495"/>
                  <a:pt x="748600" y="4851705"/>
                  <a:pt x="748600" y="4845759"/>
                </a:cubicBezTo>
                <a:cubicBezTo>
                  <a:pt x="748600" y="4839812"/>
                  <a:pt x="753390" y="4835022"/>
                  <a:pt x="759336" y="4835022"/>
                </a:cubicBezTo>
                <a:close/>
                <a:moveTo>
                  <a:pt x="2387198" y="4834691"/>
                </a:moveTo>
                <a:cubicBezTo>
                  <a:pt x="2393145" y="4834691"/>
                  <a:pt x="2397936" y="4839481"/>
                  <a:pt x="2397936" y="4845428"/>
                </a:cubicBezTo>
                <a:cubicBezTo>
                  <a:pt x="2397936" y="4851374"/>
                  <a:pt x="2393145" y="4856166"/>
                  <a:pt x="2387198" y="4856166"/>
                </a:cubicBezTo>
                <a:cubicBezTo>
                  <a:pt x="2381252" y="4856166"/>
                  <a:pt x="2376462" y="4851374"/>
                  <a:pt x="2376462" y="4845428"/>
                </a:cubicBezTo>
                <a:cubicBezTo>
                  <a:pt x="2376462" y="4839481"/>
                  <a:pt x="2381252" y="4834691"/>
                  <a:pt x="2387198" y="4834691"/>
                </a:cubicBezTo>
                <a:close/>
                <a:moveTo>
                  <a:pt x="838294" y="4833866"/>
                </a:moveTo>
                <a:cubicBezTo>
                  <a:pt x="844240" y="4833866"/>
                  <a:pt x="849032" y="4838656"/>
                  <a:pt x="849032" y="4844602"/>
                </a:cubicBezTo>
                <a:cubicBezTo>
                  <a:pt x="849032" y="4850549"/>
                  <a:pt x="844240" y="4855338"/>
                  <a:pt x="838294" y="4855338"/>
                </a:cubicBezTo>
                <a:cubicBezTo>
                  <a:pt x="832347" y="4855338"/>
                  <a:pt x="827557" y="4850549"/>
                  <a:pt x="827557" y="4844602"/>
                </a:cubicBezTo>
                <a:cubicBezTo>
                  <a:pt x="827557" y="4838656"/>
                  <a:pt x="832347" y="4833866"/>
                  <a:pt x="838294" y="4833866"/>
                </a:cubicBezTo>
                <a:close/>
                <a:moveTo>
                  <a:pt x="3486480" y="4823955"/>
                </a:moveTo>
                <a:cubicBezTo>
                  <a:pt x="3492427" y="4823955"/>
                  <a:pt x="3497218" y="4828745"/>
                  <a:pt x="3497218" y="4834691"/>
                </a:cubicBezTo>
                <a:cubicBezTo>
                  <a:pt x="3497218" y="4840638"/>
                  <a:pt x="3492427" y="4845428"/>
                  <a:pt x="3486480" y="4845428"/>
                </a:cubicBezTo>
                <a:cubicBezTo>
                  <a:pt x="3480534" y="4845428"/>
                  <a:pt x="3475744" y="4840638"/>
                  <a:pt x="3475744" y="4834691"/>
                </a:cubicBezTo>
                <a:cubicBezTo>
                  <a:pt x="3475744" y="4828745"/>
                  <a:pt x="3480534" y="4823955"/>
                  <a:pt x="3486480" y="4823955"/>
                </a:cubicBezTo>
                <a:close/>
                <a:moveTo>
                  <a:pt x="811534" y="4821643"/>
                </a:moveTo>
                <a:cubicBezTo>
                  <a:pt x="817480" y="4821643"/>
                  <a:pt x="822270" y="4826433"/>
                  <a:pt x="822270" y="4832380"/>
                </a:cubicBezTo>
                <a:lnTo>
                  <a:pt x="812609" y="4842042"/>
                </a:lnTo>
                <a:lnTo>
                  <a:pt x="818472" y="4847906"/>
                </a:lnTo>
                <a:lnTo>
                  <a:pt x="809387" y="4856993"/>
                </a:lnTo>
                <a:lnTo>
                  <a:pt x="814176" y="4861781"/>
                </a:lnTo>
                <a:cubicBezTo>
                  <a:pt x="814176" y="4867727"/>
                  <a:pt x="809387" y="4872517"/>
                  <a:pt x="803440" y="4872517"/>
                </a:cubicBezTo>
                <a:cubicBezTo>
                  <a:pt x="797494" y="4872517"/>
                  <a:pt x="792704" y="4867727"/>
                  <a:pt x="792704" y="4861781"/>
                </a:cubicBezTo>
                <a:lnTo>
                  <a:pt x="801789" y="4852696"/>
                </a:lnTo>
                <a:lnTo>
                  <a:pt x="796999" y="4847906"/>
                </a:lnTo>
                <a:lnTo>
                  <a:pt x="806662" y="4838245"/>
                </a:lnTo>
                <a:lnTo>
                  <a:pt x="800797" y="4832380"/>
                </a:lnTo>
                <a:cubicBezTo>
                  <a:pt x="800797" y="4826433"/>
                  <a:pt x="805587" y="4821643"/>
                  <a:pt x="811534" y="4821643"/>
                </a:cubicBezTo>
                <a:close/>
                <a:moveTo>
                  <a:pt x="944010" y="4818836"/>
                </a:moveTo>
                <a:cubicBezTo>
                  <a:pt x="949956" y="4818836"/>
                  <a:pt x="954746" y="4823625"/>
                  <a:pt x="954746" y="4829572"/>
                </a:cubicBezTo>
                <a:cubicBezTo>
                  <a:pt x="954746" y="4835518"/>
                  <a:pt x="949956" y="4840308"/>
                  <a:pt x="944010" y="4840308"/>
                </a:cubicBezTo>
                <a:cubicBezTo>
                  <a:pt x="938063" y="4840308"/>
                  <a:pt x="933274" y="4835518"/>
                  <a:pt x="933274" y="4829572"/>
                </a:cubicBezTo>
                <a:cubicBezTo>
                  <a:pt x="933274" y="4823625"/>
                  <a:pt x="938063" y="4818836"/>
                  <a:pt x="944010" y="4818836"/>
                </a:cubicBezTo>
                <a:close/>
                <a:moveTo>
                  <a:pt x="1006448" y="4817018"/>
                </a:moveTo>
                <a:cubicBezTo>
                  <a:pt x="1012394" y="4817018"/>
                  <a:pt x="1017186" y="4821808"/>
                  <a:pt x="1017186" y="4827754"/>
                </a:cubicBezTo>
                <a:cubicBezTo>
                  <a:pt x="1017186" y="4833701"/>
                  <a:pt x="1012394" y="4838493"/>
                  <a:pt x="1006448" y="4838493"/>
                </a:cubicBezTo>
                <a:cubicBezTo>
                  <a:pt x="1000501" y="4838493"/>
                  <a:pt x="995711" y="4833701"/>
                  <a:pt x="995711" y="4827754"/>
                </a:cubicBezTo>
                <a:cubicBezTo>
                  <a:pt x="995711" y="4821808"/>
                  <a:pt x="1000501" y="4817018"/>
                  <a:pt x="1006448" y="4817018"/>
                </a:cubicBezTo>
                <a:close/>
                <a:moveTo>
                  <a:pt x="893464" y="4815861"/>
                </a:moveTo>
                <a:cubicBezTo>
                  <a:pt x="899410" y="4815861"/>
                  <a:pt x="904202" y="4820651"/>
                  <a:pt x="904202" y="4826598"/>
                </a:cubicBezTo>
                <a:cubicBezTo>
                  <a:pt x="904202" y="4832544"/>
                  <a:pt x="899410" y="4837334"/>
                  <a:pt x="893464" y="4837334"/>
                </a:cubicBezTo>
                <a:cubicBezTo>
                  <a:pt x="887517" y="4837334"/>
                  <a:pt x="882727" y="4832544"/>
                  <a:pt x="882727" y="4826598"/>
                </a:cubicBezTo>
                <a:cubicBezTo>
                  <a:pt x="882727" y="4820651"/>
                  <a:pt x="887517" y="4815861"/>
                  <a:pt x="893464" y="4815861"/>
                </a:cubicBezTo>
                <a:close/>
                <a:moveTo>
                  <a:pt x="2210950" y="4813548"/>
                </a:moveTo>
                <a:cubicBezTo>
                  <a:pt x="2216896" y="4813548"/>
                  <a:pt x="2221688" y="4818338"/>
                  <a:pt x="2221688" y="4824284"/>
                </a:cubicBezTo>
                <a:cubicBezTo>
                  <a:pt x="2221688" y="4830231"/>
                  <a:pt x="2216896" y="4835022"/>
                  <a:pt x="2210950" y="4835022"/>
                </a:cubicBezTo>
                <a:cubicBezTo>
                  <a:pt x="2205003" y="4835022"/>
                  <a:pt x="2200213" y="4830231"/>
                  <a:pt x="2200213" y="4824284"/>
                </a:cubicBezTo>
                <a:cubicBezTo>
                  <a:pt x="2200213" y="4818338"/>
                  <a:pt x="2205003" y="4813548"/>
                  <a:pt x="2210950" y="4813548"/>
                </a:cubicBezTo>
                <a:close/>
                <a:moveTo>
                  <a:pt x="1688647" y="4813054"/>
                </a:moveTo>
                <a:cubicBezTo>
                  <a:pt x="1694594" y="4813054"/>
                  <a:pt x="1699384" y="4817844"/>
                  <a:pt x="1699384" y="4823790"/>
                </a:cubicBezTo>
                <a:cubicBezTo>
                  <a:pt x="1699384" y="4829737"/>
                  <a:pt x="1694594" y="4834528"/>
                  <a:pt x="1688647" y="4834528"/>
                </a:cubicBezTo>
                <a:cubicBezTo>
                  <a:pt x="1682701" y="4834528"/>
                  <a:pt x="1677911" y="4829737"/>
                  <a:pt x="1677911" y="4823790"/>
                </a:cubicBezTo>
                <a:cubicBezTo>
                  <a:pt x="1677911" y="4817844"/>
                  <a:pt x="1682701" y="4813054"/>
                  <a:pt x="1688647" y="4813054"/>
                </a:cubicBezTo>
                <a:close/>
                <a:moveTo>
                  <a:pt x="1402553" y="4812558"/>
                </a:moveTo>
                <a:cubicBezTo>
                  <a:pt x="1408500" y="4812558"/>
                  <a:pt x="1413290" y="4817348"/>
                  <a:pt x="1413290" y="4823294"/>
                </a:cubicBezTo>
                <a:cubicBezTo>
                  <a:pt x="1413290" y="4829241"/>
                  <a:pt x="1408500" y="4834032"/>
                  <a:pt x="1402553" y="4834032"/>
                </a:cubicBezTo>
                <a:cubicBezTo>
                  <a:pt x="1396607" y="4834032"/>
                  <a:pt x="1391817" y="4829241"/>
                  <a:pt x="1391817" y="4823294"/>
                </a:cubicBezTo>
                <a:cubicBezTo>
                  <a:pt x="1391817" y="4817348"/>
                  <a:pt x="1396607" y="4812558"/>
                  <a:pt x="1402553" y="4812558"/>
                </a:cubicBezTo>
                <a:close/>
                <a:moveTo>
                  <a:pt x="852334" y="4809585"/>
                </a:moveTo>
                <a:cubicBezTo>
                  <a:pt x="858280" y="4809585"/>
                  <a:pt x="863070" y="4814375"/>
                  <a:pt x="863070" y="4820322"/>
                </a:cubicBezTo>
                <a:cubicBezTo>
                  <a:pt x="863070" y="4826268"/>
                  <a:pt x="858280" y="4831058"/>
                  <a:pt x="852334" y="4831058"/>
                </a:cubicBezTo>
                <a:cubicBezTo>
                  <a:pt x="846387" y="4831058"/>
                  <a:pt x="841597" y="4826268"/>
                  <a:pt x="841597" y="4820322"/>
                </a:cubicBezTo>
                <a:cubicBezTo>
                  <a:pt x="841597" y="4814375"/>
                  <a:pt x="846387" y="4809585"/>
                  <a:pt x="852334" y="4809585"/>
                </a:cubicBezTo>
                <a:close/>
                <a:moveTo>
                  <a:pt x="788575" y="4809585"/>
                </a:moveTo>
                <a:cubicBezTo>
                  <a:pt x="794521" y="4809585"/>
                  <a:pt x="799311" y="4814375"/>
                  <a:pt x="799311" y="4820322"/>
                </a:cubicBezTo>
                <a:lnTo>
                  <a:pt x="790309" y="4829324"/>
                </a:lnTo>
                <a:lnTo>
                  <a:pt x="797162" y="4836177"/>
                </a:lnTo>
                <a:lnTo>
                  <a:pt x="786674" y="4846667"/>
                </a:lnTo>
                <a:lnTo>
                  <a:pt x="792374" y="4852366"/>
                </a:lnTo>
                <a:cubicBezTo>
                  <a:pt x="792374" y="4858313"/>
                  <a:pt x="787583" y="4863102"/>
                  <a:pt x="781636" y="4863102"/>
                </a:cubicBezTo>
                <a:cubicBezTo>
                  <a:pt x="775690" y="4863102"/>
                  <a:pt x="770900" y="4858313"/>
                  <a:pt x="770900" y="4852366"/>
                </a:cubicBezTo>
                <a:lnTo>
                  <a:pt x="781388" y="4841878"/>
                </a:lnTo>
                <a:lnTo>
                  <a:pt x="775690" y="4836177"/>
                </a:lnTo>
                <a:lnTo>
                  <a:pt x="784692" y="4827175"/>
                </a:lnTo>
                <a:lnTo>
                  <a:pt x="777838" y="4820322"/>
                </a:lnTo>
                <a:cubicBezTo>
                  <a:pt x="777838" y="4814375"/>
                  <a:pt x="782628" y="4809585"/>
                  <a:pt x="788575" y="4809585"/>
                </a:cubicBezTo>
                <a:close/>
                <a:moveTo>
                  <a:pt x="1082762" y="4809089"/>
                </a:moveTo>
                <a:cubicBezTo>
                  <a:pt x="1088709" y="4809089"/>
                  <a:pt x="1093498" y="4813879"/>
                  <a:pt x="1093498" y="4819826"/>
                </a:cubicBezTo>
                <a:cubicBezTo>
                  <a:pt x="1093498" y="4825772"/>
                  <a:pt x="1088709" y="4830562"/>
                  <a:pt x="1082762" y="4830562"/>
                </a:cubicBezTo>
                <a:cubicBezTo>
                  <a:pt x="1076816" y="4830562"/>
                  <a:pt x="1072026" y="4825772"/>
                  <a:pt x="1072026" y="4819826"/>
                </a:cubicBezTo>
                <a:cubicBezTo>
                  <a:pt x="1072026" y="4813879"/>
                  <a:pt x="1076816" y="4809089"/>
                  <a:pt x="1082762" y="4809089"/>
                </a:cubicBezTo>
                <a:close/>
                <a:moveTo>
                  <a:pt x="745296" y="4808593"/>
                </a:moveTo>
                <a:cubicBezTo>
                  <a:pt x="751243" y="4808593"/>
                  <a:pt x="756033" y="4813383"/>
                  <a:pt x="756033" y="4819330"/>
                </a:cubicBezTo>
                <a:cubicBezTo>
                  <a:pt x="756033" y="4825276"/>
                  <a:pt x="751243" y="4830066"/>
                  <a:pt x="745296" y="4830066"/>
                </a:cubicBezTo>
                <a:cubicBezTo>
                  <a:pt x="739350" y="4830066"/>
                  <a:pt x="734560" y="4825276"/>
                  <a:pt x="734560" y="4819330"/>
                </a:cubicBezTo>
                <a:cubicBezTo>
                  <a:pt x="734560" y="4813383"/>
                  <a:pt x="739350" y="4808593"/>
                  <a:pt x="745296" y="4808593"/>
                </a:cubicBezTo>
                <a:close/>
                <a:moveTo>
                  <a:pt x="723824" y="4806115"/>
                </a:moveTo>
                <a:cubicBezTo>
                  <a:pt x="728778" y="4806115"/>
                  <a:pt x="732742" y="4810080"/>
                  <a:pt x="732742" y="4815034"/>
                </a:cubicBezTo>
                <a:cubicBezTo>
                  <a:pt x="732742" y="4819990"/>
                  <a:pt x="728778" y="4823955"/>
                  <a:pt x="723824" y="4823955"/>
                </a:cubicBezTo>
                <a:cubicBezTo>
                  <a:pt x="718867" y="4823955"/>
                  <a:pt x="714903" y="4819990"/>
                  <a:pt x="714903" y="4815034"/>
                </a:cubicBezTo>
                <a:cubicBezTo>
                  <a:pt x="714903" y="4810080"/>
                  <a:pt x="718867" y="4806115"/>
                  <a:pt x="723824" y="4806115"/>
                </a:cubicBezTo>
                <a:close/>
                <a:moveTo>
                  <a:pt x="818968" y="4800829"/>
                </a:moveTo>
                <a:cubicBezTo>
                  <a:pt x="824915" y="4800829"/>
                  <a:pt x="829704" y="4805619"/>
                  <a:pt x="829704" y="4811566"/>
                </a:cubicBezTo>
                <a:cubicBezTo>
                  <a:pt x="829704" y="4817512"/>
                  <a:pt x="824915" y="4822302"/>
                  <a:pt x="818968" y="4822302"/>
                </a:cubicBezTo>
                <a:cubicBezTo>
                  <a:pt x="813022" y="4822302"/>
                  <a:pt x="808232" y="4817512"/>
                  <a:pt x="808232" y="4811566"/>
                </a:cubicBezTo>
                <a:cubicBezTo>
                  <a:pt x="808232" y="4805619"/>
                  <a:pt x="813022" y="4800829"/>
                  <a:pt x="818968" y="4800829"/>
                </a:cubicBezTo>
                <a:close/>
                <a:moveTo>
                  <a:pt x="1175593" y="4793561"/>
                </a:moveTo>
                <a:cubicBezTo>
                  <a:pt x="1181540" y="4793561"/>
                  <a:pt x="1186331" y="4798351"/>
                  <a:pt x="1186331" y="4804298"/>
                </a:cubicBezTo>
                <a:cubicBezTo>
                  <a:pt x="1186331" y="4810244"/>
                  <a:pt x="1181540" y="4815034"/>
                  <a:pt x="1175593" y="4815034"/>
                </a:cubicBezTo>
                <a:cubicBezTo>
                  <a:pt x="1169647" y="4815034"/>
                  <a:pt x="1164857" y="4810244"/>
                  <a:pt x="1164857" y="4804298"/>
                </a:cubicBezTo>
                <a:cubicBezTo>
                  <a:pt x="1164857" y="4798351"/>
                  <a:pt x="1169647" y="4793561"/>
                  <a:pt x="1175593" y="4793561"/>
                </a:cubicBezTo>
                <a:close/>
                <a:moveTo>
                  <a:pt x="791547" y="4790754"/>
                </a:moveTo>
                <a:cubicBezTo>
                  <a:pt x="797494" y="4790754"/>
                  <a:pt x="802283" y="4795544"/>
                  <a:pt x="802283" y="4801490"/>
                </a:cubicBezTo>
                <a:cubicBezTo>
                  <a:pt x="802283" y="4807437"/>
                  <a:pt x="797494" y="4812228"/>
                  <a:pt x="791547" y="4812228"/>
                </a:cubicBezTo>
                <a:cubicBezTo>
                  <a:pt x="785601" y="4812228"/>
                  <a:pt x="780811" y="4807437"/>
                  <a:pt x="780811" y="4801490"/>
                </a:cubicBezTo>
                <a:cubicBezTo>
                  <a:pt x="780811" y="4795544"/>
                  <a:pt x="785601" y="4790754"/>
                  <a:pt x="791547" y="4790754"/>
                </a:cubicBezTo>
                <a:close/>
                <a:moveTo>
                  <a:pt x="2040978" y="4787119"/>
                </a:moveTo>
                <a:cubicBezTo>
                  <a:pt x="2046925" y="4787119"/>
                  <a:pt x="2051715" y="4791909"/>
                  <a:pt x="2051715" y="4797855"/>
                </a:cubicBezTo>
                <a:cubicBezTo>
                  <a:pt x="2051715" y="4803802"/>
                  <a:pt x="2046925" y="4808593"/>
                  <a:pt x="2040978" y="4808593"/>
                </a:cubicBezTo>
                <a:cubicBezTo>
                  <a:pt x="2035032" y="4808593"/>
                  <a:pt x="2030242" y="4803802"/>
                  <a:pt x="2030242" y="4797855"/>
                </a:cubicBezTo>
                <a:cubicBezTo>
                  <a:pt x="2030242" y="4791909"/>
                  <a:pt x="2035032" y="4787119"/>
                  <a:pt x="2040978" y="4787119"/>
                </a:cubicBezTo>
                <a:close/>
                <a:moveTo>
                  <a:pt x="689136" y="4784478"/>
                </a:moveTo>
                <a:cubicBezTo>
                  <a:pt x="689501" y="4784478"/>
                  <a:pt x="689797" y="4784773"/>
                  <a:pt x="689797" y="4785139"/>
                </a:cubicBezTo>
                <a:cubicBezTo>
                  <a:pt x="689797" y="4785503"/>
                  <a:pt x="689501" y="4785799"/>
                  <a:pt x="689136" y="4785799"/>
                </a:cubicBezTo>
                <a:cubicBezTo>
                  <a:pt x="688772" y="4785799"/>
                  <a:pt x="688476" y="4785503"/>
                  <a:pt x="688476" y="4785139"/>
                </a:cubicBezTo>
                <a:cubicBezTo>
                  <a:pt x="688476" y="4784773"/>
                  <a:pt x="688772" y="4784478"/>
                  <a:pt x="689136" y="4784478"/>
                </a:cubicBezTo>
                <a:close/>
                <a:moveTo>
                  <a:pt x="768753" y="4780182"/>
                </a:moveTo>
                <a:cubicBezTo>
                  <a:pt x="774699" y="4780182"/>
                  <a:pt x="779489" y="4784972"/>
                  <a:pt x="779489" y="4790919"/>
                </a:cubicBezTo>
                <a:lnTo>
                  <a:pt x="769991" y="4800417"/>
                </a:lnTo>
                <a:lnTo>
                  <a:pt x="778830" y="4809254"/>
                </a:lnTo>
                <a:lnTo>
                  <a:pt x="769084" y="4819000"/>
                </a:lnTo>
                <a:lnTo>
                  <a:pt x="776682" y="4826598"/>
                </a:lnTo>
                <a:cubicBezTo>
                  <a:pt x="776682" y="4832544"/>
                  <a:pt x="771892" y="4837334"/>
                  <a:pt x="765945" y="4837334"/>
                </a:cubicBezTo>
                <a:cubicBezTo>
                  <a:pt x="759999" y="4837334"/>
                  <a:pt x="755209" y="4832544"/>
                  <a:pt x="755209" y="4826598"/>
                </a:cubicBezTo>
                <a:lnTo>
                  <a:pt x="764953" y="4816853"/>
                </a:lnTo>
                <a:lnTo>
                  <a:pt x="757356" y="4809254"/>
                </a:lnTo>
                <a:lnTo>
                  <a:pt x="766854" y="4799756"/>
                </a:lnTo>
                <a:lnTo>
                  <a:pt x="758017" y="4790919"/>
                </a:lnTo>
                <a:cubicBezTo>
                  <a:pt x="758017" y="4784972"/>
                  <a:pt x="762806" y="4780182"/>
                  <a:pt x="768753" y="4780182"/>
                </a:cubicBezTo>
                <a:close/>
                <a:moveTo>
                  <a:pt x="710278" y="4776549"/>
                </a:moveTo>
                <a:cubicBezTo>
                  <a:pt x="716224" y="4776549"/>
                  <a:pt x="721016" y="4781339"/>
                  <a:pt x="721016" y="4787285"/>
                </a:cubicBezTo>
                <a:cubicBezTo>
                  <a:pt x="721016" y="4793232"/>
                  <a:pt x="716224" y="4798022"/>
                  <a:pt x="710278" y="4798022"/>
                </a:cubicBezTo>
                <a:cubicBezTo>
                  <a:pt x="704331" y="4798022"/>
                  <a:pt x="699542" y="4793232"/>
                  <a:pt x="699542" y="4787285"/>
                </a:cubicBezTo>
                <a:cubicBezTo>
                  <a:pt x="699542" y="4781339"/>
                  <a:pt x="704331" y="4776549"/>
                  <a:pt x="710278" y="4776549"/>
                </a:cubicBezTo>
                <a:close/>
                <a:moveTo>
                  <a:pt x="1550556" y="4773906"/>
                </a:moveTo>
                <a:cubicBezTo>
                  <a:pt x="1556502" y="4773906"/>
                  <a:pt x="1561292" y="4778696"/>
                  <a:pt x="1561292" y="4784643"/>
                </a:cubicBezTo>
                <a:cubicBezTo>
                  <a:pt x="1561292" y="4790589"/>
                  <a:pt x="1556502" y="4795379"/>
                  <a:pt x="1550556" y="4795379"/>
                </a:cubicBezTo>
                <a:cubicBezTo>
                  <a:pt x="1544609" y="4795379"/>
                  <a:pt x="1539819" y="4790589"/>
                  <a:pt x="1539819" y="4784643"/>
                </a:cubicBezTo>
                <a:cubicBezTo>
                  <a:pt x="1539819" y="4778696"/>
                  <a:pt x="1544609" y="4773906"/>
                  <a:pt x="1550556" y="4773906"/>
                </a:cubicBezTo>
                <a:close/>
                <a:moveTo>
                  <a:pt x="877937" y="4771924"/>
                </a:moveTo>
                <a:cubicBezTo>
                  <a:pt x="883884" y="4771924"/>
                  <a:pt x="888674" y="4776714"/>
                  <a:pt x="888674" y="4782660"/>
                </a:cubicBezTo>
                <a:cubicBezTo>
                  <a:pt x="888674" y="4788607"/>
                  <a:pt x="883884" y="4793397"/>
                  <a:pt x="877937" y="4793397"/>
                </a:cubicBezTo>
                <a:cubicBezTo>
                  <a:pt x="871991" y="4793397"/>
                  <a:pt x="867201" y="4788607"/>
                  <a:pt x="867201" y="4782660"/>
                </a:cubicBezTo>
                <a:cubicBezTo>
                  <a:pt x="867201" y="4776714"/>
                  <a:pt x="871991" y="4771924"/>
                  <a:pt x="877937" y="4771924"/>
                </a:cubicBezTo>
                <a:close/>
                <a:moveTo>
                  <a:pt x="748766" y="4770107"/>
                </a:moveTo>
                <a:cubicBezTo>
                  <a:pt x="754713" y="4770107"/>
                  <a:pt x="759503" y="4774896"/>
                  <a:pt x="759503" y="4780843"/>
                </a:cubicBezTo>
                <a:lnTo>
                  <a:pt x="750088" y="4790260"/>
                </a:lnTo>
                <a:lnTo>
                  <a:pt x="759503" y="4799673"/>
                </a:lnTo>
                <a:cubicBezTo>
                  <a:pt x="759503" y="4805619"/>
                  <a:pt x="754713" y="4810409"/>
                  <a:pt x="748766" y="4810409"/>
                </a:cubicBezTo>
                <a:cubicBezTo>
                  <a:pt x="742820" y="4810409"/>
                  <a:pt x="738030" y="4805619"/>
                  <a:pt x="738030" y="4799673"/>
                </a:cubicBezTo>
                <a:lnTo>
                  <a:pt x="747445" y="4790260"/>
                </a:lnTo>
                <a:lnTo>
                  <a:pt x="738030" y="4780843"/>
                </a:lnTo>
                <a:cubicBezTo>
                  <a:pt x="738030" y="4774896"/>
                  <a:pt x="742820" y="4770107"/>
                  <a:pt x="748766" y="4770107"/>
                </a:cubicBezTo>
                <a:close/>
                <a:moveTo>
                  <a:pt x="931952" y="4769942"/>
                </a:moveTo>
                <a:cubicBezTo>
                  <a:pt x="937899" y="4769942"/>
                  <a:pt x="942688" y="4774732"/>
                  <a:pt x="942688" y="4780678"/>
                </a:cubicBezTo>
                <a:cubicBezTo>
                  <a:pt x="942688" y="4786625"/>
                  <a:pt x="937899" y="4791415"/>
                  <a:pt x="931952" y="4791415"/>
                </a:cubicBezTo>
                <a:cubicBezTo>
                  <a:pt x="926006" y="4791415"/>
                  <a:pt x="921216" y="4786625"/>
                  <a:pt x="921216" y="4780678"/>
                </a:cubicBezTo>
                <a:cubicBezTo>
                  <a:pt x="921216" y="4774732"/>
                  <a:pt x="926006" y="4769942"/>
                  <a:pt x="931952" y="4769942"/>
                </a:cubicBezTo>
                <a:close/>
                <a:moveTo>
                  <a:pt x="834494" y="4769775"/>
                </a:moveTo>
                <a:cubicBezTo>
                  <a:pt x="840441" y="4769775"/>
                  <a:pt x="845231" y="4774565"/>
                  <a:pt x="845231" y="4780512"/>
                </a:cubicBezTo>
                <a:cubicBezTo>
                  <a:pt x="845231" y="4786458"/>
                  <a:pt x="840441" y="4791248"/>
                  <a:pt x="834494" y="4791248"/>
                </a:cubicBezTo>
                <a:cubicBezTo>
                  <a:pt x="828548" y="4791248"/>
                  <a:pt x="823758" y="4786458"/>
                  <a:pt x="823758" y="4780512"/>
                </a:cubicBezTo>
                <a:cubicBezTo>
                  <a:pt x="823758" y="4774565"/>
                  <a:pt x="828548" y="4769775"/>
                  <a:pt x="834494" y="4769775"/>
                </a:cubicBezTo>
                <a:close/>
                <a:moveTo>
                  <a:pt x="1287422" y="4768619"/>
                </a:moveTo>
                <a:cubicBezTo>
                  <a:pt x="1293369" y="4768619"/>
                  <a:pt x="1298159" y="4773408"/>
                  <a:pt x="1298159" y="4779355"/>
                </a:cubicBezTo>
                <a:cubicBezTo>
                  <a:pt x="1298159" y="4785302"/>
                  <a:pt x="1293369" y="4790093"/>
                  <a:pt x="1287422" y="4790093"/>
                </a:cubicBezTo>
                <a:cubicBezTo>
                  <a:pt x="1281476" y="4790093"/>
                  <a:pt x="1276686" y="4785302"/>
                  <a:pt x="1276686" y="4779355"/>
                </a:cubicBezTo>
                <a:cubicBezTo>
                  <a:pt x="1276686" y="4773408"/>
                  <a:pt x="1281476" y="4768619"/>
                  <a:pt x="1287422" y="4768619"/>
                </a:cubicBezTo>
                <a:close/>
                <a:moveTo>
                  <a:pt x="799476" y="4764325"/>
                </a:moveTo>
                <a:cubicBezTo>
                  <a:pt x="805422" y="4764325"/>
                  <a:pt x="810212" y="4769115"/>
                  <a:pt x="810212" y="4775061"/>
                </a:cubicBezTo>
                <a:cubicBezTo>
                  <a:pt x="810212" y="4781008"/>
                  <a:pt x="805422" y="4785798"/>
                  <a:pt x="799476" y="4785798"/>
                </a:cubicBezTo>
                <a:cubicBezTo>
                  <a:pt x="793529" y="4785798"/>
                  <a:pt x="788739" y="4781008"/>
                  <a:pt x="788739" y="4775061"/>
                </a:cubicBezTo>
                <a:cubicBezTo>
                  <a:pt x="788739" y="4769115"/>
                  <a:pt x="793529" y="4764325"/>
                  <a:pt x="799476" y="4764325"/>
                </a:cubicBezTo>
                <a:close/>
                <a:moveTo>
                  <a:pt x="998850" y="4762178"/>
                </a:moveTo>
                <a:cubicBezTo>
                  <a:pt x="1004797" y="4762178"/>
                  <a:pt x="1009586" y="4766968"/>
                  <a:pt x="1009586" y="4772914"/>
                </a:cubicBezTo>
                <a:cubicBezTo>
                  <a:pt x="1009586" y="4778861"/>
                  <a:pt x="1004797" y="4783651"/>
                  <a:pt x="998850" y="4783651"/>
                </a:cubicBezTo>
                <a:cubicBezTo>
                  <a:pt x="992904" y="4783651"/>
                  <a:pt x="988114" y="4778861"/>
                  <a:pt x="988114" y="4772914"/>
                </a:cubicBezTo>
                <a:cubicBezTo>
                  <a:pt x="988114" y="4766968"/>
                  <a:pt x="992904" y="4762178"/>
                  <a:pt x="998850" y="4762178"/>
                </a:cubicBezTo>
                <a:close/>
                <a:moveTo>
                  <a:pt x="730596" y="4761021"/>
                </a:moveTo>
                <a:cubicBezTo>
                  <a:pt x="736542" y="4761021"/>
                  <a:pt x="741332" y="4765811"/>
                  <a:pt x="741332" y="4771758"/>
                </a:cubicBezTo>
                <a:lnTo>
                  <a:pt x="730760" y="4782329"/>
                </a:lnTo>
                <a:lnTo>
                  <a:pt x="740671" y="4792240"/>
                </a:lnTo>
                <a:cubicBezTo>
                  <a:pt x="740671" y="4798187"/>
                  <a:pt x="735881" y="4802978"/>
                  <a:pt x="729935" y="4802978"/>
                </a:cubicBezTo>
                <a:cubicBezTo>
                  <a:pt x="723988" y="4802978"/>
                  <a:pt x="719198" y="4798187"/>
                  <a:pt x="719198" y="4792240"/>
                </a:cubicBezTo>
                <a:lnTo>
                  <a:pt x="729770" y="4781668"/>
                </a:lnTo>
                <a:lnTo>
                  <a:pt x="719859" y="4771758"/>
                </a:lnTo>
                <a:cubicBezTo>
                  <a:pt x="719859" y="4765811"/>
                  <a:pt x="724649" y="4761021"/>
                  <a:pt x="730596" y="4761021"/>
                </a:cubicBezTo>
                <a:close/>
                <a:moveTo>
                  <a:pt x="771231" y="4756892"/>
                </a:moveTo>
                <a:cubicBezTo>
                  <a:pt x="777178" y="4756892"/>
                  <a:pt x="781967" y="4761682"/>
                  <a:pt x="781967" y="4767628"/>
                </a:cubicBezTo>
                <a:cubicBezTo>
                  <a:pt x="781967" y="4773575"/>
                  <a:pt x="777178" y="4778365"/>
                  <a:pt x="771231" y="4778365"/>
                </a:cubicBezTo>
                <a:cubicBezTo>
                  <a:pt x="765285" y="4778365"/>
                  <a:pt x="760495" y="4773575"/>
                  <a:pt x="760495" y="4767628"/>
                </a:cubicBezTo>
                <a:cubicBezTo>
                  <a:pt x="760495" y="4761682"/>
                  <a:pt x="765285" y="4756892"/>
                  <a:pt x="771231" y="4756892"/>
                </a:cubicBezTo>
                <a:close/>
                <a:moveTo>
                  <a:pt x="1878606" y="4755900"/>
                </a:moveTo>
                <a:cubicBezTo>
                  <a:pt x="1884538" y="4755900"/>
                  <a:pt x="1889343" y="4760707"/>
                  <a:pt x="1889343" y="4766636"/>
                </a:cubicBezTo>
                <a:cubicBezTo>
                  <a:pt x="1889343" y="4772566"/>
                  <a:pt x="1884538" y="4777373"/>
                  <a:pt x="1878606" y="4777373"/>
                </a:cubicBezTo>
                <a:cubicBezTo>
                  <a:pt x="1872677" y="4777373"/>
                  <a:pt x="1867870" y="4772566"/>
                  <a:pt x="1867870" y="4766636"/>
                </a:cubicBezTo>
                <a:cubicBezTo>
                  <a:pt x="1867870" y="4760707"/>
                  <a:pt x="1872677" y="4755900"/>
                  <a:pt x="1878606" y="4755900"/>
                </a:cubicBezTo>
                <a:close/>
                <a:moveTo>
                  <a:pt x="713087" y="4753588"/>
                </a:moveTo>
                <a:cubicBezTo>
                  <a:pt x="719034" y="4753588"/>
                  <a:pt x="723824" y="4758378"/>
                  <a:pt x="723824" y="4764325"/>
                </a:cubicBezTo>
                <a:cubicBezTo>
                  <a:pt x="723824" y="4770271"/>
                  <a:pt x="719034" y="4775063"/>
                  <a:pt x="713087" y="4775063"/>
                </a:cubicBezTo>
                <a:cubicBezTo>
                  <a:pt x="707141" y="4775063"/>
                  <a:pt x="702351" y="4770271"/>
                  <a:pt x="702351" y="4764325"/>
                </a:cubicBezTo>
                <a:cubicBezTo>
                  <a:pt x="702351" y="4758378"/>
                  <a:pt x="707141" y="4753588"/>
                  <a:pt x="713087" y="4753588"/>
                </a:cubicBezTo>
                <a:close/>
                <a:moveTo>
                  <a:pt x="748104" y="4748467"/>
                </a:moveTo>
                <a:cubicBezTo>
                  <a:pt x="754050" y="4748467"/>
                  <a:pt x="758840" y="4753257"/>
                  <a:pt x="758840" y="4759204"/>
                </a:cubicBezTo>
                <a:cubicBezTo>
                  <a:pt x="758840" y="4765150"/>
                  <a:pt x="754050" y="4769942"/>
                  <a:pt x="748104" y="4769942"/>
                </a:cubicBezTo>
                <a:cubicBezTo>
                  <a:pt x="742157" y="4769942"/>
                  <a:pt x="737368" y="4765150"/>
                  <a:pt x="737368" y="4759204"/>
                </a:cubicBezTo>
                <a:cubicBezTo>
                  <a:pt x="737368" y="4753257"/>
                  <a:pt x="742157" y="4748467"/>
                  <a:pt x="748104" y="4748467"/>
                </a:cubicBezTo>
                <a:close/>
                <a:moveTo>
                  <a:pt x="695246" y="4748303"/>
                </a:moveTo>
                <a:cubicBezTo>
                  <a:pt x="701192" y="4748303"/>
                  <a:pt x="705984" y="4753093"/>
                  <a:pt x="705984" y="4759039"/>
                </a:cubicBezTo>
                <a:cubicBezTo>
                  <a:pt x="705984" y="4764986"/>
                  <a:pt x="701192" y="4769775"/>
                  <a:pt x="695246" y="4769775"/>
                </a:cubicBezTo>
                <a:cubicBezTo>
                  <a:pt x="689299" y="4769775"/>
                  <a:pt x="684510" y="4764986"/>
                  <a:pt x="684510" y="4759039"/>
                </a:cubicBezTo>
                <a:cubicBezTo>
                  <a:pt x="684510" y="4753093"/>
                  <a:pt x="689299" y="4748303"/>
                  <a:pt x="695246" y="4748303"/>
                </a:cubicBezTo>
                <a:close/>
                <a:moveTo>
                  <a:pt x="1080615" y="4747146"/>
                </a:moveTo>
                <a:cubicBezTo>
                  <a:pt x="1086562" y="4747146"/>
                  <a:pt x="1091353" y="4751936"/>
                  <a:pt x="1091353" y="4757882"/>
                </a:cubicBezTo>
                <a:cubicBezTo>
                  <a:pt x="1091353" y="4763829"/>
                  <a:pt x="1086562" y="4768619"/>
                  <a:pt x="1080615" y="4768619"/>
                </a:cubicBezTo>
                <a:cubicBezTo>
                  <a:pt x="1074669" y="4768619"/>
                  <a:pt x="1069879" y="4763829"/>
                  <a:pt x="1069879" y="4757882"/>
                </a:cubicBezTo>
                <a:cubicBezTo>
                  <a:pt x="1069879" y="4751936"/>
                  <a:pt x="1074669" y="4747146"/>
                  <a:pt x="1080615" y="4747146"/>
                </a:cubicBezTo>
                <a:close/>
                <a:moveTo>
                  <a:pt x="676251" y="4745989"/>
                </a:moveTo>
                <a:cubicBezTo>
                  <a:pt x="682031" y="4745989"/>
                  <a:pt x="686656" y="4750614"/>
                  <a:pt x="686656" y="4756396"/>
                </a:cubicBezTo>
                <a:cubicBezTo>
                  <a:pt x="686656" y="4762178"/>
                  <a:pt x="682031" y="4766803"/>
                  <a:pt x="676251" y="4766803"/>
                </a:cubicBezTo>
                <a:cubicBezTo>
                  <a:pt x="670470" y="4766803"/>
                  <a:pt x="665845" y="4762178"/>
                  <a:pt x="665845" y="4756396"/>
                </a:cubicBezTo>
                <a:cubicBezTo>
                  <a:pt x="665845" y="4750614"/>
                  <a:pt x="670470" y="4745989"/>
                  <a:pt x="676251" y="4745989"/>
                </a:cubicBezTo>
                <a:close/>
                <a:moveTo>
                  <a:pt x="2844420" y="4741531"/>
                </a:moveTo>
                <a:cubicBezTo>
                  <a:pt x="2850367" y="4741531"/>
                  <a:pt x="2855158" y="4746321"/>
                  <a:pt x="2855158" y="4752267"/>
                </a:cubicBezTo>
                <a:cubicBezTo>
                  <a:pt x="2855158" y="4758214"/>
                  <a:pt x="2850367" y="4763003"/>
                  <a:pt x="2844420" y="4763003"/>
                </a:cubicBezTo>
                <a:cubicBezTo>
                  <a:pt x="2838474" y="4763003"/>
                  <a:pt x="2833684" y="4758214"/>
                  <a:pt x="2833684" y="4752267"/>
                </a:cubicBezTo>
                <a:cubicBezTo>
                  <a:pt x="2833684" y="4746321"/>
                  <a:pt x="2838474" y="4741531"/>
                  <a:pt x="2844420" y="4741531"/>
                </a:cubicBezTo>
                <a:close/>
                <a:moveTo>
                  <a:pt x="728613" y="4739713"/>
                </a:moveTo>
                <a:cubicBezTo>
                  <a:pt x="734560" y="4739713"/>
                  <a:pt x="739350" y="4744503"/>
                  <a:pt x="739350" y="4750450"/>
                </a:cubicBezTo>
                <a:cubicBezTo>
                  <a:pt x="739350" y="4756396"/>
                  <a:pt x="734560" y="4761188"/>
                  <a:pt x="728613" y="4761188"/>
                </a:cubicBezTo>
                <a:cubicBezTo>
                  <a:pt x="722667" y="4761188"/>
                  <a:pt x="717877" y="4756396"/>
                  <a:pt x="717877" y="4750450"/>
                </a:cubicBezTo>
                <a:cubicBezTo>
                  <a:pt x="717877" y="4744503"/>
                  <a:pt x="722667" y="4739713"/>
                  <a:pt x="728613" y="4739713"/>
                </a:cubicBezTo>
                <a:close/>
                <a:moveTo>
                  <a:pt x="3037518" y="4739549"/>
                </a:moveTo>
                <a:cubicBezTo>
                  <a:pt x="3043465" y="4739549"/>
                  <a:pt x="3048255" y="4744338"/>
                  <a:pt x="3048255" y="4750285"/>
                </a:cubicBezTo>
                <a:cubicBezTo>
                  <a:pt x="3048255" y="4756231"/>
                  <a:pt x="3043465" y="4761021"/>
                  <a:pt x="3037518" y="4761021"/>
                </a:cubicBezTo>
                <a:cubicBezTo>
                  <a:pt x="3031572" y="4761021"/>
                  <a:pt x="3026782" y="4756231"/>
                  <a:pt x="3026782" y="4750285"/>
                </a:cubicBezTo>
                <a:cubicBezTo>
                  <a:pt x="3026782" y="4744338"/>
                  <a:pt x="3031572" y="4739549"/>
                  <a:pt x="3037518" y="4739549"/>
                </a:cubicBezTo>
                <a:close/>
                <a:moveTo>
                  <a:pt x="2651820" y="4736245"/>
                </a:moveTo>
                <a:cubicBezTo>
                  <a:pt x="2657766" y="4736245"/>
                  <a:pt x="2662558" y="4741035"/>
                  <a:pt x="2662558" y="4746981"/>
                </a:cubicBezTo>
                <a:cubicBezTo>
                  <a:pt x="2662558" y="4752928"/>
                  <a:pt x="2657766" y="4757718"/>
                  <a:pt x="2651820" y="4757718"/>
                </a:cubicBezTo>
                <a:cubicBezTo>
                  <a:pt x="2645873" y="4757718"/>
                  <a:pt x="2641084" y="4752928"/>
                  <a:pt x="2641084" y="4746981"/>
                </a:cubicBezTo>
                <a:cubicBezTo>
                  <a:pt x="2641084" y="4741035"/>
                  <a:pt x="2645873" y="4736245"/>
                  <a:pt x="2651820" y="4736245"/>
                </a:cubicBezTo>
                <a:close/>
                <a:moveTo>
                  <a:pt x="1420889" y="4732445"/>
                </a:moveTo>
                <a:cubicBezTo>
                  <a:pt x="1426835" y="4732445"/>
                  <a:pt x="1431625" y="4737235"/>
                  <a:pt x="1431625" y="4743182"/>
                </a:cubicBezTo>
                <a:cubicBezTo>
                  <a:pt x="1431625" y="4749128"/>
                  <a:pt x="1426835" y="4753920"/>
                  <a:pt x="1420889" y="4753920"/>
                </a:cubicBezTo>
                <a:cubicBezTo>
                  <a:pt x="1414942" y="4753920"/>
                  <a:pt x="1410152" y="4749128"/>
                  <a:pt x="1410152" y="4743182"/>
                </a:cubicBezTo>
                <a:cubicBezTo>
                  <a:pt x="1410152" y="4737235"/>
                  <a:pt x="1414942" y="4732445"/>
                  <a:pt x="1420889" y="4732445"/>
                </a:cubicBezTo>
                <a:close/>
                <a:moveTo>
                  <a:pt x="711270" y="4731453"/>
                </a:moveTo>
                <a:cubicBezTo>
                  <a:pt x="717216" y="4731453"/>
                  <a:pt x="722006" y="4736243"/>
                  <a:pt x="722006" y="4742190"/>
                </a:cubicBezTo>
                <a:cubicBezTo>
                  <a:pt x="722006" y="4748136"/>
                  <a:pt x="717216" y="4752928"/>
                  <a:pt x="711270" y="4752928"/>
                </a:cubicBezTo>
                <a:cubicBezTo>
                  <a:pt x="705323" y="4752928"/>
                  <a:pt x="700534" y="4748136"/>
                  <a:pt x="700534" y="4742190"/>
                </a:cubicBezTo>
                <a:cubicBezTo>
                  <a:pt x="700534" y="4736243"/>
                  <a:pt x="705323" y="4731453"/>
                  <a:pt x="711270" y="4731453"/>
                </a:cubicBezTo>
                <a:close/>
                <a:moveTo>
                  <a:pt x="3228798" y="4730628"/>
                </a:moveTo>
                <a:cubicBezTo>
                  <a:pt x="3234744" y="4730628"/>
                  <a:pt x="3239534" y="4735418"/>
                  <a:pt x="3239534" y="4741364"/>
                </a:cubicBezTo>
                <a:cubicBezTo>
                  <a:pt x="3239534" y="4747311"/>
                  <a:pt x="3234744" y="4752101"/>
                  <a:pt x="3228798" y="4752101"/>
                </a:cubicBezTo>
                <a:cubicBezTo>
                  <a:pt x="3222851" y="4752101"/>
                  <a:pt x="3218061" y="4747311"/>
                  <a:pt x="3218061" y="4741364"/>
                </a:cubicBezTo>
                <a:cubicBezTo>
                  <a:pt x="3218061" y="4735418"/>
                  <a:pt x="3222851" y="4730628"/>
                  <a:pt x="3228798" y="4730628"/>
                </a:cubicBezTo>
                <a:close/>
                <a:moveTo>
                  <a:pt x="817151" y="4725507"/>
                </a:moveTo>
                <a:cubicBezTo>
                  <a:pt x="823097" y="4725507"/>
                  <a:pt x="827887" y="4730297"/>
                  <a:pt x="827887" y="4736243"/>
                </a:cubicBezTo>
                <a:cubicBezTo>
                  <a:pt x="827887" y="4742190"/>
                  <a:pt x="823097" y="4746979"/>
                  <a:pt x="817151" y="4746979"/>
                </a:cubicBezTo>
                <a:cubicBezTo>
                  <a:pt x="811204" y="4746979"/>
                  <a:pt x="806414" y="4742190"/>
                  <a:pt x="806414" y="4736243"/>
                </a:cubicBezTo>
                <a:cubicBezTo>
                  <a:pt x="806414" y="4730297"/>
                  <a:pt x="811204" y="4725507"/>
                  <a:pt x="817151" y="4725507"/>
                </a:cubicBezTo>
                <a:close/>
                <a:moveTo>
                  <a:pt x="780150" y="4724185"/>
                </a:moveTo>
                <a:cubicBezTo>
                  <a:pt x="786096" y="4724185"/>
                  <a:pt x="790886" y="4728975"/>
                  <a:pt x="790886" y="4734922"/>
                </a:cubicBezTo>
                <a:cubicBezTo>
                  <a:pt x="790886" y="4740868"/>
                  <a:pt x="786096" y="4745660"/>
                  <a:pt x="780150" y="4745660"/>
                </a:cubicBezTo>
                <a:cubicBezTo>
                  <a:pt x="774204" y="4745660"/>
                  <a:pt x="769414" y="4740868"/>
                  <a:pt x="769414" y="4734922"/>
                </a:cubicBezTo>
                <a:cubicBezTo>
                  <a:pt x="769414" y="4728975"/>
                  <a:pt x="774204" y="4724185"/>
                  <a:pt x="780150" y="4724185"/>
                </a:cubicBezTo>
                <a:close/>
                <a:moveTo>
                  <a:pt x="2462025" y="4724021"/>
                </a:moveTo>
                <a:cubicBezTo>
                  <a:pt x="2467972" y="4724021"/>
                  <a:pt x="2472763" y="4728810"/>
                  <a:pt x="2472763" y="4734757"/>
                </a:cubicBezTo>
                <a:cubicBezTo>
                  <a:pt x="2472763" y="4740703"/>
                  <a:pt x="2467972" y="4745493"/>
                  <a:pt x="2462025" y="4745493"/>
                </a:cubicBezTo>
                <a:cubicBezTo>
                  <a:pt x="2456079" y="4745493"/>
                  <a:pt x="2451289" y="4740703"/>
                  <a:pt x="2451289" y="4734757"/>
                </a:cubicBezTo>
                <a:cubicBezTo>
                  <a:pt x="2451289" y="4728810"/>
                  <a:pt x="2456079" y="4724021"/>
                  <a:pt x="2462025" y="4724021"/>
                </a:cubicBezTo>
                <a:close/>
                <a:moveTo>
                  <a:pt x="643213" y="4724021"/>
                </a:moveTo>
                <a:cubicBezTo>
                  <a:pt x="644537" y="4724021"/>
                  <a:pt x="645527" y="4725011"/>
                  <a:pt x="645527" y="4726332"/>
                </a:cubicBezTo>
                <a:cubicBezTo>
                  <a:pt x="645527" y="4727655"/>
                  <a:pt x="644370" y="4728646"/>
                  <a:pt x="643213" y="4728646"/>
                </a:cubicBezTo>
                <a:cubicBezTo>
                  <a:pt x="641894" y="4728646"/>
                  <a:pt x="640902" y="4727655"/>
                  <a:pt x="640902" y="4726332"/>
                </a:cubicBezTo>
                <a:cubicBezTo>
                  <a:pt x="640902" y="4725011"/>
                  <a:pt x="641894" y="4724021"/>
                  <a:pt x="643213" y="4724021"/>
                </a:cubicBezTo>
                <a:close/>
                <a:moveTo>
                  <a:pt x="1180220" y="4723525"/>
                </a:moveTo>
                <a:cubicBezTo>
                  <a:pt x="1186166" y="4723525"/>
                  <a:pt x="1190956" y="4728314"/>
                  <a:pt x="1190956" y="4734261"/>
                </a:cubicBezTo>
                <a:cubicBezTo>
                  <a:pt x="1190956" y="4740207"/>
                  <a:pt x="1186166" y="4744997"/>
                  <a:pt x="1180220" y="4744997"/>
                </a:cubicBezTo>
                <a:cubicBezTo>
                  <a:pt x="1174274" y="4744997"/>
                  <a:pt x="1169484" y="4740207"/>
                  <a:pt x="1169484" y="4734261"/>
                </a:cubicBezTo>
                <a:cubicBezTo>
                  <a:pt x="1169484" y="4728314"/>
                  <a:pt x="1174274" y="4723525"/>
                  <a:pt x="1180220" y="4723525"/>
                </a:cubicBezTo>
                <a:close/>
                <a:moveTo>
                  <a:pt x="863401" y="4722864"/>
                </a:moveTo>
                <a:cubicBezTo>
                  <a:pt x="869348" y="4722864"/>
                  <a:pt x="874138" y="4727654"/>
                  <a:pt x="874138" y="4733600"/>
                </a:cubicBezTo>
                <a:cubicBezTo>
                  <a:pt x="874138" y="4739547"/>
                  <a:pt x="869348" y="4744337"/>
                  <a:pt x="863401" y="4744337"/>
                </a:cubicBezTo>
                <a:cubicBezTo>
                  <a:pt x="857455" y="4744337"/>
                  <a:pt x="852665" y="4739547"/>
                  <a:pt x="852665" y="4733600"/>
                </a:cubicBezTo>
                <a:cubicBezTo>
                  <a:pt x="852665" y="4727654"/>
                  <a:pt x="857455" y="4722864"/>
                  <a:pt x="863401" y="4722864"/>
                </a:cubicBezTo>
                <a:close/>
                <a:moveTo>
                  <a:pt x="1724491" y="4721046"/>
                </a:moveTo>
                <a:cubicBezTo>
                  <a:pt x="1730438" y="4721046"/>
                  <a:pt x="1735229" y="4725836"/>
                  <a:pt x="1735229" y="4731783"/>
                </a:cubicBezTo>
                <a:cubicBezTo>
                  <a:pt x="1735229" y="4737729"/>
                  <a:pt x="1730438" y="4742521"/>
                  <a:pt x="1724491" y="4742521"/>
                </a:cubicBezTo>
                <a:cubicBezTo>
                  <a:pt x="1718544" y="4742521"/>
                  <a:pt x="1713755" y="4737729"/>
                  <a:pt x="1713755" y="4731783"/>
                </a:cubicBezTo>
                <a:cubicBezTo>
                  <a:pt x="1713755" y="4725836"/>
                  <a:pt x="1718544" y="4721046"/>
                  <a:pt x="1724491" y="4721046"/>
                </a:cubicBezTo>
                <a:close/>
                <a:moveTo>
                  <a:pt x="750747" y="4719891"/>
                </a:moveTo>
                <a:cubicBezTo>
                  <a:pt x="756693" y="4719891"/>
                  <a:pt x="761483" y="4724681"/>
                  <a:pt x="761483" y="4730628"/>
                </a:cubicBezTo>
                <a:cubicBezTo>
                  <a:pt x="761483" y="4736574"/>
                  <a:pt x="756693" y="4741364"/>
                  <a:pt x="750747" y="4741364"/>
                </a:cubicBezTo>
                <a:cubicBezTo>
                  <a:pt x="744800" y="4741364"/>
                  <a:pt x="740010" y="4736574"/>
                  <a:pt x="740010" y="4730628"/>
                </a:cubicBezTo>
                <a:cubicBezTo>
                  <a:pt x="740010" y="4724681"/>
                  <a:pt x="744800" y="4719891"/>
                  <a:pt x="750747" y="4719891"/>
                </a:cubicBezTo>
                <a:close/>
                <a:moveTo>
                  <a:pt x="661880" y="4716257"/>
                </a:moveTo>
                <a:lnTo>
                  <a:pt x="671876" y="4726251"/>
                </a:lnTo>
                <a:lnTo>
                  <a:pt x="678894" y="4719231"/>
                </a:lnTo>
                <a:lnTo>
                  <a:pt x="689631" y="4729967"/>
                </a:lnTo>
                <a:lnTo>
                  <a:pt x="695081" y="4724517"/>
                </a:lnTo>
                <a:cubicBezTo>
                  <a:pt x="701028" y="4724517"/>
                  <a:pt x="705818" y="4729306"/>
                  <a:pt x="705818" y="4735253"/>
                </a:cubicBezTo>
                <a:cubicBezTo>
                  <a:pt x="705818" y="4741199"/>
                  <a:pt x="701028" y="4745989"/>
                  <a:pt x="695081" y="4745989"/>
                </a:cubicBezTo>
                <a:lnTo>
                  <a:pt x="684345" y="4735253"/>
                </a:lnTo>
                <a:lnTo>
                  <a:pt x="678894" y="4740703"/>
                </a:lnTo>
                <a:lnTo>
                  <a:pt x="668900" y="4730711"/>
                </a:lnTo>
                <a:lnTo>
                  <a:pt x="661880" y="4737729"/>
                </a:lnTo>
                <a:cubicBezTo>
                  <a:pt x="655934" y="4737729"/>
                  <a:pt x="651144" y="4732940"/>
                  <a:pt x="651144" y="4726993"/>
                </a:cubicBezTo>
                <a:cubicBezTo>
                  <a:pt x="651144" y="4721046"/>
                  <a:pt x="655934" y="4716257"/>
                  <a:pt x="661880" y="4716257"/>
                </a:cubicBezTo>
                <a:close/>
                <a:moveTo>
                  <a:pt x="921380" y="4715102"/>
                </a:moveTo>
                <a:cubicBezTo>
                  <a:pt x="927327" y="4715102"/>
                  <a:pt x="932117" y="4719891"/>
                  <a:pt x="932117" y="4725838"/>
                </a:cubicBezTo>
                <a:cubicBezTo>
                  <a:pt x="932117" y="4731785"/>
                  <a:pt x="927327" y="4736574"/>
                  <a:pt x="921380" y="4736574"/>
                </a:cubicBezTo>
                <a:cubicBezTo>
                  <a:pt x="915434" y="4736574"/>
                  <a:pt x="910644" y="4731785"/>
                  <a:pt x="910644" y="4725838"/>
                </a:cubicBezTo>
                <a:cubicBezTo>
                  <a:pt x="910644" y="4719891"/>
                  <a:pt x="915434" y="4715102"/>
                  <a:pt x="921380" y="4715102"/>
                </a:cubicBezTo>
                <a:close/>
                <a:moveTo>
                  <a:pt x="3416444" y="4714770"/>
                </a:moveTo>
                <a:cubicBezTo>
                  <a:pt x="3422390" y="4714770"/>
                  <a:pt x="3427182" y="4719560"/>
                  <a:pt x="3427182" y="4725507"/>
                </a:cubicBezTo>
                <a:cubicBezTo>
                  <a:pt x="3427182" y="4731453"/>
                  <a:pt x="3422390" y="4736243"/>
                  <a:pt x="3416444" y="4736243"/>
                </a:cubicBezTo>
                <a:cubicBezTo>
                  <a:pt x="3410497" y="4736243"/>
                  <a:pt x="3405707" y="4731453"/>
                  <a:pt x="3405707" y="4725507"/>
                </a:cubicBezTo>
                <a:cubicBezTo>
                  <a:pt x="3405707" y="4719560"/>
                  <a:pt x="3410497" y="4714770"/>
                  <a:pt x="3416444" y="4714770"/>
                </a:cubicBezTo>
                <a:close/>
                <a:moveTo>
                  <a:pt x="727127" y="4713945"/>
                </a:moveTo>
                <a:cubicBezTo>
                  <a:pt x="733074" y="4713945"/>
                  <a:pt x="737864" y="4718735"/>
                  <a:pt x="737864" y="4724681"/>
                </a:cubicBezTo>
                <a:cubicBezTo>
                  <a:pt x="737864" y="4730628"/>
                  <a:pt x="733074" y="4735419"/>
                  <a:pt x="727127" y="4735419"/>
                </a:cubicBezTo>
                <a:cubicBezTo>
                  <a:pt x="721181" y="4735419"/>
                  <a:pt x="716391" y="4730628"/>
                  <a:pt x="716391" y="4724681"/>
                </a:cubicBezTo>
                <a:cubicBezTo>
                  <a:pt x="716391" y="4718735"/>
                  <a:pt x="721181" y="4713945"/>
                  <a:pt x="727127" y="4713945"/>
                </a:cubicBezTo>
                <a:close/>
                <a:moveTo>
                  <a:pt x="707635" y="4707171"/>
                </a:moveTo>
                <a:cubicBezTo>
                  <a:pt x="713582" y="4707171"/>
                  <a:pt x="718373" y="4711961"/>
                  <a:pt x="718373" y="4717908"/>
                </a:cubicBezTo>
                <a:cubicBezTo>
                  <a:pt x="718373" y="4723854"/>
                  <a:pt x="713582" y="4728646"/>
                  <a:pt x="707635" y="4728646"/>
                </a:cubicBezTo>
                <a:cubicBezTo>
                  <a:pt x="701688" y="4728646"/>
                  <a:pt x="696899" y="4723854"/>
                  <a:pt x="696899" y="4717908"/>
                </a:cubicBezTo>
                <a:cubicBezTo>
                  <a:pt x="696899" y="4711961"/>
                  <a:pt x="701688" y="4707171"/>
                  <a:pt x="707635" y="4707171"/>
                </a:cubicBezTo>
                <a:close/>
                <a:moveTo>
                  <a:pt x="2276857" y="4705356"/>
                </a:moveTo>
                <a:cubicBezTo>
                  <a:pt x="2282804" y="4705356"/>
                  <a:pt x="2287596" y="4710145"/>
                  <a:pt x="2287596" y="4716092"/>
                </a:cubicBezTo>
                <a:cubicBezTo>
                  <a:pt x="2287596" y="4722038"/>
                  <a:pt x="2282804" y="4726828"/>
                  <a:pt x="2276857" y="4726828"/>
                </a:cubicBezTo>
                <a:cubicBezTo>
                  <a:pt x="2270911" y="4726828"/>
                  <a:pt x="2266121" y="4722038"/>
                  <a:pt x="2266121" y="4716092"/>
                </a:cubicBezTo>
                <a:cubicBezTo>
                  <a:pt x="2266121" y="4710145"/>
                  <a:pt x="2270911" y="4705356"/>
                  <a:pt x="2276857" y="4705356"/>
                </a:cubicBezTo>
                <a:close/>
                <a:moveTo>
                  <a:pt x="993068" y="4700564"/>
                </a:moveTo>
                <a:cubicBezTo>
                  <a:pt x="999015" y="4700564"/>
                  <a:pt x="1003805" y="4705354"/>
                  <a:pt x="1003805" y="4711300"/>
                </a:cubicBezTo>
                <a:cubicBezTo>
                  <a:pt x="1003805" y="4717247"/>
                  <a:pt x="999015" y="4722037"/>
                  <a:pt x="993068" y="4722037"/>
                </a:cubicBezTo>
                <a:cubicBezTo>
                  <a:pt x="987122" y="4722037"/>
                  <a:pt x="982332" y="4717247"/>
                  <a:pt x="982332" y="4711300"/>
                </a:cubicBezTo>
                <a:cubicBezTo>
                  <a:pt x="982332" y="4705354"/>
                  <a:pt x="987122" y="4700564"/>
                  <a:pt x="993068" y="4700564"/>
                </a:cubicBezTo>
                <a:close/>
                <a:moveTo>
                  <a:pt x="1300141" y="4689333"/>
                </a:moveTo>
                <a:cubicBezTo>
                  <a:pt x="1306087" y="4689333"/>
                  <a:pt x="1310879" y="4694123"/>
                  <a:pt x="1310879" y="4700070"/>
                </a:cubicBezTo>
                <a:cubicBezTo>
                  <a:pt x="1310879" y="4706016"/>
                  <a:pt x="1306087" y="4710806"/>
                  <a:pt x="1300141" y="4710806"/>
                </a:cubicBezTo>
                <a:cubicBezTo>
                  <a:pt x="1294194" y="4710806"/>
                  <a:pt x="1289404" y="4706016"/>
                  <a:pt x="1289404" y="4700070"/>
                </a:cubicBezTo>
                <a:cubicBezTo>
                  <a:pt x="1289404" y="4694123"/>
                  <a:pt x="1294194" y="4689333"/>
                  <a:pt x="1300141" y="4689333"/>
                </a:cubicBezTo>
                <a:close/>
                <a:moveTo>
                  <a:pt x="629669" y="4685203"/>
                </a:moveTo>
                <a:lnTo>
                  <a:pt x="638259" y="4693792"/>
                </a:lnTo>
                <a:lnTo>
                  <a:pt x="646023" y="4686028"/>
                </a:lnTo>
                <a:lnTo>
                  <a:pt x="655191" y="4695197"/>
                </a:lnTo>
                <a:lnTo>
                  <a:pt x="661219" y="4689167"/>
                </a:lnTo>
                <a:lnTo>
                  <a:pt x="670966" y="4698913"/>
                </a:lnTo>
                <a:lnTo>
                  <a:pt x="675920" y="4693958"/>
                </a:lnTo>
                <a:lnTo>
                  <a:pt x="686575" y="4704613"/>
                </a:lnTo>
                <a:lnTo>
                  <a:pt x="690952" y="4700234"/>
                </a:lnTo>
                <a:cubicBezTo>
                  <a:pt x="696899" y="4700234"/>
                  <a:pt x="701688" y="4705024"/>
                  <a:pt x="701688" y="4710971"/>
                </a:cubicBezTo>
                <a:cubicBezTo>
                  <a:pt x="701688" y="4716917"/>
                  <a:pt x="696899" y="4721707"/>
                  <a:pt x="690952" y="4721707"/>
                </a:cubicBezTo>
                <a:lnTo>
                  <a:pt x="680299" y="4711054"/>
                </a:lnTo>
                <a:lnTo>
                  <a:pt x="675920" y="4715431"/>
                </a:lnTo>
                <a:lnTo>
                  <a:pt x="666174" y="4705687"/>
                </a:lnTo>
                <a:lnTo>
                  <a:pt x="661219" y="4710641"/>
                </a:lnTo>
                <a:lnTo>
                  <a:pt x="652053" y="4701473"/>
                </a:lnTo>
                <a:lnTo>
                  <a:pt x="646023" y="4707502"/>
                </a:lnTo>
                <a:lnTo>
                  <a:pt x="637433" y="4698911"/>
                </a:lnTo>
                <a:lnTo>
                  <a:pt x="629669" y="4706675"/>
                </a:lnTo>
                <a:cubicBezTo>
                  <a:pt x="623723" y="4706675"/>
                  <a:pt x="618933" y="4701885"/>
                  <a:pt x="618933" y="4695939"/>
                </a:cubicBezTo>
                <a:cubicBezTo>
                  <a:pt x="618933" y="4689992"/>
                  <a:pt x="623723" y="4685203"/>
                  <a:pt x="629669" y="4685203"/>
                </a:cubicBezTo>
                <a:close/>
                <a:moveTo>
                  <a:pt x="1579296" y="4683056"/>
                </a:moveTo>
                <a:cubicBezTo>
                  <a:pt x="1585243" y="4683056"/>
                  <a:pt x="1590034" y="4687845"/>
                  <a:pt x="1590034" y="4693792"/>
                </a:cubicBezTo>
                <a:cubicBezTo>
                  <a:pt x="1590034" y="4699739"/>
                  <a:pt x="1585243" y="4704528"/>
                  <a:pt x="1579296" y="4704528"/>
                </a:cubicBezTo>
                <a:cubicBezTo>
                  <a:pt x="1573350" y="4704528"/>
                  <a:pt x="1568560" y="4699739"/>
                  <a:pt x="1568560" y="4693792"/>
                </a:cubicBezTo>
                <a:cubicBezTo>
                  <a:pt x="1568560" y="4687845"/>
                  <a:pt x="1573350" y="4683056"/>
                  <a:pt x="1579296" y="4683056"/>
                </a:cubicBezTo>
                <a:close/>
                <a:moveTo>
                  <a:pt x="2098297" y="4680909"/>
                </a:moveTo>
                <a:cubicBezTo>
                  <a:pt x="2104243" y="4680909"/>
                  <a:pt x="2109035" y="4685699"/>
                  <a:pt x="2109035" y="4691645"/>
                </a:cubicBezTo>
                <a:cubicBezTo>
                  <a:pt x="2109035" y="4697592"/>
                  <a:pt x="2104243" y="4702383"/>
                  <a:pt x="2098297" y="4702383"/>
                </a:cubicBezTo>
                <a:cubicBezTo>
                  <a:pt x="2092350" y="4702383"/>
                  <a:pt x="2087560" y="4697592"/>
                  <a:pt x="2087560" y="4691645"/>
                </a:cubicBezTo>
                <a:cubicBezTo>
                  <a:pt x="2087560" y="4685699"/>
                  <a:pt x="2092350" y="4680909"/>
                  <a:pt x="2098297" y="4680909"/>
                </a:cubicBezTo>
                <a:close/>
                <a:moveTo>
                  <a:pt x="761154" y="4679587"/>
                </a:moveTo>
                <a:cubicBezTo>
                  <a:pt x="767100" y="4679587"/>
                  <a:pt x="771890" y="4684377"/>
                  <a:pt x="771890" y="4690324"/>
                </a:cubicBezTo>
                <a:cubicBezTo>
                  <a:pt x="771890" y="4696270"/>
                  <a:pt x="767100" y="4701060"/>
                  <a:pt x="761154" y="4701060"/>
                </a:cubicBezTo>
                <a:cubicBezTo>
                  <a:pt x="755207" y="4701060"/>
                  <a:pt x="750417" y="4696270"/>
                  <a:pt x="750417" y="4690324"/>
                </a:cubicBezTo>
                <a:cubicBezTo>
                  <a:pt x="750417" y="4684377"/>
                  <a:pt x="755207" y="4679587"/>
                  <a:pt x="761154" y="4679587"/>
                </a:cubicBezTo>
                <a:close/>
                <a:moveTo>
                  <a:pt x="730100" y="4679256"/>
                </a:moveTo>
                <a:cubicBezTo>
                  <a:pt x="736046" y="4679256"/>
                  <a:pt x="740836" y="4684046"/>
                  <a:pt x="740836" y="4689992"/>
                </a:cubicBezTo>
                <a:cubicBezTo>
                  <a:pt x="740836" y="4695939"/>
                  <a:pt x="736046" y="4700730"/>
                  <a:pt x="730100" y="4700730"/>
                </a:cubicBezTo>
                <a:cubicBezTo>
                  <a:pt x="724153" y="4700730"/>
                  <a:pt x="719363" y="4695939"/>
                  <a:pt x="719363" y="4689992"/>
                </a:cubicBezTo>
                <a:cubicBezTo>
                  <a:pt x="719363" y="4684046"/>
                  <a:pt x="724153" y="4679256"/>
                  <a:pt x="730100" y="4679256"/>
                </a:cubicBezTo>
                <a:close/>
                <a:moveTo>
                  <a:pt x="1080945" y="4677605"/>
                </a:moveTo>
                <a:cubicBezTo>
                  <a:pt x="1086876" y="4677605"/>
                  <a:pt x="1091681" y="4682412"/>
                  <a:pt x="1091681" y="4688341"/>
                </a:cubicBezTo>
                <a:cubicBezTo>
                  <a:pt x="1091681" y="4694272"/>
                  <a:pt x="1086876" y="4699080"/>
                  <a:pt x="1080945" y="4699080"/>
                </a:cubicBezTo>
                <a:cubicBezTo>
                  <a:pt x="1075016" y="4699080"/>
                  <a:pt x="1070208" y="4694272"/>
                  <a:pt x="1070208" y="4688341"/>
                </a:cubicBezTo>
                <a:cubicBezTo>
                  <a:pt x="1070208" y="4682412"/>
                  <a:pt x="1075016" y="4677605"/>
                  <a:pt x="1080945" y="4677605"/>
                </a:cubicBezTo>
                <a:close/>
                <a:moveTo>
                  <a:pt x="800468" y="4676284"/>
                </a:moveTo>
                <a:cubicBezTo>
                  <a:pt x="806414" y="4676284"/>
                  <a:pt x="811204" y="4681073"/>
                  <a:pt x="811204" y="4687020"/>
                </a:cubicBezTo>
                <a:cubicBezTo>
                  <a:pt x="811204" y="4692967"/>
                  <a:pt x="806414" y="4697758"/>
                  <a:pt x="800468" y="4697758"/>
                </a:cubicBezTo>
                <a:cubicBezTo>
                  <a:pt x="794521" y="4697758"/>
                  <a:pt x="789731" y="4692967"/>
                  <a:pt x="789731" y="4687020"/>
                </a:cubicBezTo>
                <a:cubicBezTo>
                  <a:pt x="789731" y="4681073"/>
                  <a:pt x="794521" y="4676284"/>
                  <a:pt x="800468" y="4676284"/>
                </a:cubicBezTo>
                <a:close/>
                <a:moveTo>
                  <a:pt x="705653" y="4676284"/>
                </a:moveTo>
                <a:cubicBezTo>
                  <a:pt x="711599" y="4676284"/>
                  <a:pt x="716389" y="4681073"/>
                  <a:pt x="716389" y="4687020"/>
                </a:cubicBezTo>
                <a:cubicBezTo>
                  <a:pt x="716389" y="4692967"/>
                  <a:pt x="711599" y="4697758"/>
                  <a:pt x="705653" y="4697758"/>
                </a:cubicBezTo>
                <a:cubicBezTo>
                  <a:pt x="699706" y="4697758"/>
                  <a:pt x="694916" y="4692967"/>
                  <a:pt x="694916" y="4687020"/>
                </a:cubicBezTo>
                <a:cubicBezTo>
                  <a:pt x="694916" y="4681073"/>
                  <a:pt x="699706" y="4676284"/>
                  <a:pt x="705653" y="4676284"/>
                </a:cubicBezTo>
                <a:close/>
                <a:moveTo>
                  <a:pt x="850187" y="4668190"/>
                </a:moveTo>
                <a:cubicBezTo>
                  <a:pt x="856133" y="4668190"/>
                  <a:pt x="860923" y="4672980"/>
                  <a:pt x="860923" y="4678927"/>
                </a:cubicBezTo>
                <a:cubicBezTo>
                  <a:pt x="860923" y="4684873"/>
                  <a:pt x="856133" y="4689663"/>
                  <a:pt x="850187" y="4689663"/>
                </a:cubicBezTo>
                <a:cubicBezTo>
                  <a:pt x="844240" y="4689663"/>
                  <a:pt x="839450" y="4684873"/>
                  <a:pt x="839450" y="4678927"/>
                </a:cubicBezTo>
                <a:cubicBezTo>
                  <a:pt x="839450" y="4672980"/>
                  <a:pt x="844240" y="4668190"/>
                  <a:pt x="850187" y="4668190"/>
                </a:cubicBezTo>
                <a:close/>
                <a:moveTo>
                  <a:pt x="598121" y="4661912"/>
                </a:moveTo>
                <a:cubicBezTo>
                  <a:pt x="600492" y="4661912"/>
                  <a:pt x="602415" y="4663836"/>
                  <a:pt x="602415" y="4666208"/>
                </a:cubicBezTo>
                <a:cubicBezTo>
                  <a:pt x="602415" y="4668579"/>
                  <a:pt x="600492" y="4670502"/>
                  <a:pt x="598121" y="4670502"/>
                </a:cubicBezTo>
                <a:cubicBezTo>
                  <a:pt x="595749" y="4670502"/>
                  <a:pt x="593826" y="4668580"/>
                  <a:pt x="593826" y="4666208"/>
                </a:cubicBezTo>
                <a:cubicBezTo>
                  <a:pt x="593826" y="4663836"/>
                  <a:pt x="595749" y="4661912"/>
                  <a:pt x="598121" y="4661912"/>
                </a:cubicBezTo>
                <a:close/>
                <a:moveTo>
                  <a:pt x="614473" y="4653984"/>
                </a:moveTo>
                <a:lnTo>
                  <a:pt x="622153" y="4661664"/>
                </a:lnTo>
                <a:lnTo>
                  <a:pt x="628844" y="4654974"/>
                </a:lnTo>
                <a:lnTo>
                  <a:pt x="636939" y="4663067"/>
                </a:lnTo>
                <a:lnTo>
                  <a:pt x="642390" y="4657617"/>
                </a:lnTo>
                <a:lnTo>
                  <a:pt x="651062" y="4666290"/>
                </a:lnTo>
                <a:lnTo>
                  <a:pt x="655604" y="4661748"/>
                </a:lnTo>
                <a:lnTo>
                  <a:pt x="665267" y="4671411"/>
                </a:lnTo>
                <a:lnTo>
                  <a:pt x="669809" y="4666867"/>
                </a:lnTo>
                <a:lnTo>
                  <a:pt x="680464" y="4677522"/>
                </a:lnTo>
                <a:lnTo>
                  <a:pt x="685998" y="4671988"/>
                </a:lnTo>
                <a:cubicBezTo>
                  <a:pt x="691944" y="4671988"/>
                  <a:pt x="696734" y="4676778"/>
                  <a:pt x="696734" y="4682724"/>
                </a:cubicBezTo>
                <a:cubicBezTo>
                  <a:pt x="696734" y="4688671"/>
                  <a:pt x="691944" y="4693462"/>
                  <a:pt x="685998" y="4693462"/>
                </a:cubicBezTo>
                <a:lnTo>
                  <a:pt x="675343" y="4682806"/>
                </a:lnTo>
                <a:lnTo>
                  <a:pt x="669809" y="4688341"/>
                </a:lnTo>
                <a:lnTo>
                  <a:pt x="660148" y="4678679"/>
                </a:lnTo>
                <a:lnTo>
                  <a:pt x="655604" y="4683222"/>
                </a:lnTo>
                <a:lnTo>
                  <a:pt x="646932" y="4674549"/>
                </a:lnTo>
                <a:lnTo>
                  <a:pt x="642390" y="4679091"/>
                </a:lnTo>
                <a:lnTo>
                  <a:pt x="634296" y="4670996"/>
                </a:lnTo>
                <a:lnTo>
                  <a:pt x="628844" y="4676448"/>
                </a:lnTo>
                <a:lnTo>
                  <a:pt x="621163" y="4668768"/>
                </a:lnTo>
                <a:lnTo>
                  <a:pt x="614473" y="4675458"/>
                </a:lnTo>
                <a:cubicBezTo>
                  <a:pt x="608526" y="4675458"/>
                  <a:pt x="603736" y="4670667"/>
                  <a:pt x="603736" y="4664720"/>
                </a:cubicBezTo>
                <a:cubicBezTo>
                  <a:pt x="603736" y="4658774"/>
                  <a:pt x="608526" y="4653984"/>
                  <a:pt x="614473" y="4653984"/>
                </a:cubicBezTo>
                <a:close/>
                <a:moveTo>
                  <a:pt x="912295" y="4653654"/>
                </a:moveTo>
                <a:cubicBezTo>
                  <a:pt x="918242" y="4653654"/>
                  <a:pt x="923031" y="4658444"/>
                  <a:pt x="923031" y="4664391"/>
                </a:cubicBezTo>
                <a:cubicBezTo>
                  <a:pt x="923031" y="4670337"/>
                  <a:pt x="918242" y="4675127"/>
                  <a:pt x="912295" y="4675127"/>
                </a:cubicBezTo>
                <a:cubicBezTo>
                  <a:pt x="906348" y="4675127"/>
                  <a:pt x="901559" y="4670337"/>
                  <a:pt x="901559" y="4664391"/>
                </a:cubicBezTo>
                <a:cubicBezTo>
                  <a:pt x="901559" y="4658444"/>
                  <a:pt x="906348" y="4653654"/>
                  <a:pt x="912295" y="4653654"/>
                </a:cubicBezTo>
                <a:close/>
                <a:moveTo>
                  <a:pt x="1927500" y="4651506"/>
                </a:moveTo>
                <a:cubicBezTo>
                  <a:pt x="1933447" y="4651506"/>
                  <a:pt x="1938236" y="4656295"/>
                  <a:pt x="1938236" y="4662242"/>
                </a:cubicBezTo>
                <a:cubicBezTo>
                  <a:pt x="1938236" y="4668188"/>
                  <a:pt x="1933447" y="4672980"/>
                  <a:pt x="1927500" y="4672980"/>
                </a:cubicBezTo>
                <a:cubicBezTo>
                  <a:pt x="1921554" y="4672980"/>
                  <a:pt x="1916764" y="4668188"/>
                  <a:pt x="1916764" y="4662242"/>
                </a:cubicBezTo>
                <a:cubicBezTo>
                  <a:pt x="1916764" y="4656295"/>
                  <a:pt x="1921554" y="4651506"/>
                  <a:pt x="1927500" y="4651506"/>
                </a:cubicBezTo>
                <a:close/>
                <a:moveTo>
                  <a:pt x="1187818" y="4645065"/>
                </a:moveTo>
                <a:cubicBezTo>
                  <a:pt x="1193764" y="4645065"/>
                  <a:pt x="1198554" y="4649855"/>
                  <a:pt x="1198554" y="4655801"/>
                </a:cubicBezTo>
                <a:cubicBezTo>
                  <a:pt x="1198554" y="4661748"/>
                  <a:pt x="1193764" y="4666538"/>
                  <a:pt x="1187818" y="4666538"/>
                </a:cubicBezTo>
                <a:cubicBezTo>
                  <a:pt x="1181871" y="4666538"/>
                  <a:pt x="1177081" y="4661748"/>
                  <a:pt x="1177081" y="4655801"/>
                </a:cubicBezTo>
                <a:cubicBezTo>
                  <a:pt x="1177081" y="4649855"/>
                  <a:pt x="1181871" y="4645065"/>
                  <a:pt x="1187818" y="4645065"/>
                </a:cubicBezTo>
                <a:close/>
                <a:moveTo>
                  <a:pt x="1443189" y="4642751"/>
                </a:moveTo>
                <a:cubicBezTo>
                  <a:pt x="1449135" y="4642751"/>
                  <a:pt x="1453925" y="4647541"/>
                  <a:pt x="1453925" y="4653488"/>
                </a:cubicBezTo>
                <a:cubicBezTo>
                  <a:pt x="1453925" y="4659434"/>
                  <a:pt x="1449135" y="4664224"/>
                  <a:pt x="1443189" y="4664224"/>
                </a:cubicBezTo>
                <a:cubicBezTo>
                  <a:pt x="1437242" y="4664224"/>
                  <a:pt x="1432452" y="4659434"/>
                  <a:pt x="1432452" y="4653488"/>
                </a:cubicBezTo>
                <a:cubicBezTo>
                  <a:pt x="1432452" y="4647541"/>
                  <a:pt x="1437242" y="4642751"/>
                  <a:pt x="1443189" y="4642751"/>
                </a:cubicBezTo>
                <a:close/>
                <a:moveTo>
                  <a:pt x="684180" y="4635319"/>
                </a:moveTo>
                <a:cubicBezTo>
                  <a:pt x="690127" y="4635319"/>
                  <a:pt x="694916" y="4640108"/>
                  <a:pt x="694916" y="4646055"/>
                </a:cubicBezTo>
                <a:cubicBezTo>
                  <a:pt x="694916" y="4652002"/>
                  <a:pt x="690127" y="4656793"/>
                  <a:pt x="684180" y="4656793"/>
                </a:cubicBezTo>
                <a:cubicBezTo>
                  <a:pt x="678234" y="4656793"/>
                  <a:pt x="673444" y="4652002"/>
                  <a:pt x="673444" y="4646055"/>
                </a:cubicBezTo>
                <a:cubicBezTo>
                  <a:pt x="673444" y="4640108"/>
                  <a:pt x="678234" y="4635319"/>
                  <a:pt x="684180" y="4635319"/>
                </a:cubicBezTo>
                <a:close/>
                <a:moveTo>
                  <a:pt x="709782" y="4634491"/>
                </a:moveTo>
                <a:cubicBezTo>
                  <a:pt x="715728" y="4634491"/>
                  <a:pt x="720518" y="4639281"/>
                  <a:pt x="720518" y="4645228"/>
                </a:cubicBezTo>
                <a:cubicBezTo>
                  <a:pt x="720518" y="4651174"/>
                  <a:pt x="715728" y="4655964"/>
                  <a:pt x="709782" y="4655964"/>
                </a:cubicBezTo>
                <a:cubicBezTo>
                  <a:pt x="703835" y="4655964"/>
                  <a:pt x="699046" y="4651174"/>
                  <a:pt x="699046" y="4645228"/>
                </a:cubicBezTo>
                <a:cubicBezTo>
                  <a:pt x="699046" y="4639281"/>
                  <a:pt x="703835" y="4634491"/>
                  <a:pt x="709782" y="4634491"/>
                </a:cubicBezTo>
                <a:close/>
                <a:moveTo>
                  <a:pt x="989435" y="4631519"/>
                </a:moveTo>
                <a:cubicBezTo>
                  <a:pt x="995382" y="4631519"/>
                  <a:pt x="1000172" y="4636309"/>
                  <a:pt x="1000172" y="4642255"/>
                </a:cubicBezTo>
                <a:cubicBezTo>
                  <a:pt x="1000172" y="4648202"/>
                  <a:pt x="995382" y="4652992"/>
                  <a:pt x="989435" y="4652992"/>
                </a:cubicBezTo>
                <a:cubicBezTo>
                  <a:pt x="983489" y="4652992"/>
                  <a:pt x="978699" y="4648202"/>
                  <a:pt x="978699" y="4642255"/>
                </a:cubicBezTo>
                <a:cubicBezTo>
                  <a:pt x="978699" y="4636309"/>
                  <a:pt x="983489" y="4631519"/>
                  <a:pt x="989435" y="4631519"/>
                </a:cubicBezTo>
                <a:close/>
                <a:moveTo>
                  <a:pt x="742818" y="4630362"/>
                </a:moveTo>
                <a:cubicBezTo>
                  <a:pt x="748765" y="4630362"/>
                  <a:pt x="753554" y="4635152"/>
                  <a:pt x="753554" y="4641099"/>
                </a:cubicBezTo>
                <a:cubicBezTo>
                  <a:pt x="753554" y="4647045"/>
                  <a:pt x="748765" y="4651835"/>
                  <a:pt x="742818" y="4651835"/>
                </a:cubicBezTo>
                <a:cubicBezTo>
                  <a:pt x="736872" y="4651835"/>
                  <a:pt x="732082" y="4647045"/>
                  <a:pt x="732082" y="4641099"/>
                </a:cubicBezTo>
                <a:cubicBezTo>
                  <a:pt x="732082" y="4635152"/>
                  <a:pt x="736872" y="4630362"/>
                  <a:pt x="742818" y="4630362"/>
                </a:cubicBezTo>
                <a:close/>
                <a:moveTo>
                  <a:pt x="597955" y="4621938"/>
                </a:moveTo>
                <a:lnTo>
                  <a:pt x="604479" y="4628463"/>
                </a:lnTo>
                <a:lnTo>
                  <a:pt x="610508" y="4622434"/>
                </a:lnTo>
                <a:lnTo>
                  <a:pt x="617528" y="4629454"/>
                </a:lnTo>
                <a:lnTo>
                  <a:pt x="622401" y="4624581"/>
                </a:lnTo>
                <a:lnTo>
                  <a:pt x="629917" y="4632097"/>
                </a:lnTo>
                <a:lnTo>
                  <a:pt x="634459" y="4627555"/>
                </a:lnTo>
                <a:lnTo>
                  <a:pt x="642884" y="4635979"/>
                </a:lnTo>
                <a:lnTo>
                  <a:pt x="648005" y="4630858"/>
                </a:lnTo>
                <a:lnTo>
                  <a:pt x="657420" y="4640273"/>
                </a:lnTo>
                <a:lnTo>
                  <a:pt x="664027" y="4633666"/>
                </a:lnTo>
                <a:cubicBezTo>
                  <a:pt x="669974" y="4633666"/>
                  <a:pt x="674763" y="4638456"/>
                  <a:pt x="674763" y="4644402"/>
                </a:cubicBezTo>
                <a:cubicBezTo>
                  <a:pt x="674763" y="4650349"/>
                  <a:pt x="669974" y="4655139"/>
                  <a:pt x="664027" y="4655139"/>
                </a:cubicBezTo>
                <a:lnTo>
                  <a:pt x="654612" y="4645724"/>
                </a:lnTo>
                <a:lnTo>
                  <a:pt x="648005" y="4652333"/>
                </a:lnTo>
                <a:lnTo>
                  <a:pt x="639580" y="4643908"/>
                </a:lnTo>
                <a:lnTo>
                  <a:pt x="634459" y="4649027"/>
                </a:lnTo>
                <a:lnTo>
                  <a:pt x="626945" y="4641513"/>
                </a:lnTo>
                <a:lnTo>
                  <a:pt x="622401" y="4646055"/>
                </a:lnTo>
                <a:lnTo>
                  <a:pt x="615381" y="4639035"/>
                </a:lnTo>
                <a:lnTo>
                  <a:pt x="610508" y="4643908"/>
                </a:lnTo>
                <a:lnTo>
                  <a:pt x="603983" y="4637382"/>
                </a:lnTo>
                <a:lnTo>
                  <a:pt x="597955" y="4643412"/>
                </a:lnTo>
                <a:lnTo>
                  <a:pt x="591514" y="4636971"/>
                </a:lnTo>
                <a:lnTo>
                  <a:pt x="583750" y="4644734"/>
                </a:lnTo>
                <a:cubicBezTo>
                  <a:pt x="577803" y="4644734"/>
                  <a:pt x="573014" y="4639944"/>
                  <a:pt x="573014" y="4633997"/>
                </a:cubicBezTo>
                <a:cubicBezTo>
                  <a:pt x="573014" y="4628051"/>
                  <a:pt x="577803" y="4623261"/>
                  <a:pt x="583750" y="4623261"/>
                </a:cubicBezTo>
                <a:lnTo>
                  <a:pt x="590191" y="4629702"/>
                </a:lnTo>
                <a:close/>
                <a:moveTo>
                  <a:pt x="784940" y="4621608"/>
                </a:moveTo>
                <a:cubicBezTo>
                  <a:pt x="790886" y="4621608"/>
                  <a:pt x="795676" y="4626398"/>
                  <a:pt x="795676" y="4632345"/>
                </a:cubicBezTo>
                <a:cubicBezTo>
                  <a:pt x="795676" y="4638291"/>
                  <a:pt x="790886" y="4643081"/>
                  <a:pt x="784940" y="4643081"/>
                </a:cubicBezTo>
                <a:cubicBezTo>
                  <a:pt x="778993" y="4643081"/>
                  <a:pt x="774204" y="4638291"/>
                  <a:pt x="774204" y="4632345"/>
                </a:cubicBezTo>
                <a:cubicBezTo>
                  <a:pt x="774204" y="4626398"/>
                  <a:pt x="778993" y="4621608"/>
                  <a:pt x="784940" y="4621608"/>
                </a:cubicBezTo>
                <a:close/>
                <a:moveTo>
                  <a:pt x="1765456" y="4618140"/>
                </a:moveTo>
                <a:cubicBezTo>
                  <a:pt x="1771403" y="4618140"/>
                  <a:pt x="1776192" y="4622930"/>
                  <a:pt x="1776192" y="4628876"/>
                </a:cubicBezTo>
                <a:cubicBezTo>
                  <a:pt x="1776192" y="4634823"/>
                  <a:pt x="1771403" y="4639613"/>
                  <a:pt x="1765456" y="4639613"/>
                </a:cubicBezTo>
                <a:cubicBezTo>
                  <a:pt x="1759510" y="4639613"/>
                  <a:pt x="1754720" y="4634823"/>
                  <a:pt x="1754720" y="4628876"/>
                </a:cubicBezTo>
                <a:cubicBezTo>
                  <a:pt x="1754720" y="4622930"/>
                  <a:pt x="1759510" y="4618140"/>
                  <a:pt x="1765456" y="4618140"/>
                </a:cubicBezTo>
                <a:close/>
                <a:moveTo>
                  <a:pt x="2943035" y="4611368"/>
                </a:moveTo>
                <a:cubicBezTo>
                  <a:pt x="2948966" y="4611368"/>
                  <a:pt x="2953773" y="4616175"/>
                  <a:pt x="2953773" y="4622104"/>
                </a:cubicBezTo>
                <a:cubicBezTo>
                  <a:pt x="2953773" y="4628033"/>
                  <a:pt x="2948966" y="4632841"/>
                  <a:pt x="2943035" y="4632841"/>
                </a:cubicBezTo>
                <a:cubicBezTo>
                  <a:pt x="2937106" y="4632841"/>
                  <a:pt x="2932298" y="4628033"/>
                  <a:pt x="2932298" y="4622104"/>
                </a:cubicBezTo>
                <a:cubicBezTo>
                  <a:pt x="2932298" y="4616175"/>
                  <a:pt x="2937106" y="4611368"/>
                  <a:pt x="2943035" y="4611368"/>
                </a:cubicBezTo>
                <a:close/>
                <a:moveTo>
                  <a:pt x="2742504" y="4609715"/>
                </a:moveTo>
                <a:cubicBezTo>
                  <a:pt x="2748450" y="4609715"/>
                  <a:pt x="2753240" y="4614505"/>
                  <a:pt x="2753240" y="4620451"/>
                </a:cubicBezTo>
                <a:cubicBezTo>
                  <a:pt x="2753240" y="4626398"/>
                  <a:pt x="2748450" y="4631188"/>
                  <a:pt x="2742504" y="4631188"/>
                </a:cubicBezTo>
                <a:cubicBezTo>
                  <a:pt x="2736557" y="4631188"/>
                  <a:pt x="2731768" y="4626398"/>
                  <a:pt x="2731768" y="4620451"/>
                </a:cubicBezTo>
                <a:cubicBezTo>
                  <a:pt x="2731768" y="4614505"/>
                  <a:pt x="2736557" y="4609715"/>
                  <a:pt x="2742504" y="4609715"/>
                </a:cubicBezTo>
                <a:close/>
                <a:moveTo>
                  <a:pt x="838294" y="4607072"/>
                </a:moveTo>
                <a:cubicBezTo>
                  <a:pt x="844240" y="4607072"/>
                  <a:pt x="849032" y="4611862"/>
                  <a:pt x="849032" y="4617809"/>
                </a:cubicBezTo>
                <a:cubicBezTo>
                  <a:pt x="849032" y="4623755"/>
                  <a:pt x="844240" y="4628547"/>
                  <a:pt x="838294" y="4628547"/>
                </a:cubicBezTo>
                <a:cubicBezTo>
                  <a:pt x="832347" y="4628547"/>
                  <a:pt x="827557" y="4623755"/>
                  <a:pt x="827557" y="4617809"/>
                </a:cubicBezTo>
                <a:cubicBezTo>
                  <a:pt x="827557" y="4611862"/>
                  <a:pt x="832347" y="4607072"/>
                  <a:pt x="838294" y="4607072"/>
                </a:cubicBezTo>
                <a:close/>
                <a:moveTo>
                  <a:pt x="3142738" y="4605751"/>
                </a:moveTo>
                <a:cubicBezTo>
                  <a:pt x="3148685" y="4605751"/>
                  <a:pt x="3153477" y="4610541"/>
                  <a:pt x="3153477" y="4616487"/>
                </a:cubicBezTo>
                <a:cubicBezTo>
                  <a:pt x="3153477" y="4622434"/>
                  <a:pt x="3148685" y="4627223"/>
                  <a:pt x="3142738" y="4627223"/>
                </a:cubicBezTo>
                <a:cubicBezTo>
                  <a:pt x="3136792" y="4627223"/>
                  <a:pt x="3132002" y="4622434"/>
                  <a:pt x="3132002" y="4616487"/>
                </a:cubicBezTo>
                <a:cubicBezTo>
                  <a:pt x="3132002" y="4610541"/>
                  <a:pt x="3136792" y="4605751"/>
                  <a:pt x="3142738" y="4605751"/>
                </a:cubicBezTo>
                <a:close/>
                <a:moveTo>
                  <a:pt x="2543957" y="4600630"/>
                </a:moveTo>
                <a:cubicBezTo>
                  <a:pt x="2549903" y="4600630"/>
                  <a:pt x="2554695" y="4605420"/>
                  <a:pt x="2554695" y="4611366"/>
                </a:cubicBezTo>
                <a:cubicBezTo>
                  <a:pt x="2554695" y="4617313"/>
                  <a:pt x="2549903" y="4622102"/>
                  <a:pt x="2543957" y="4622102"/>
                </a:cubicBezTo>
                <a:cubicBezTo>
                  <a:pt x="2538010" y="4622102"/>
                  <a:pt x="2533220" y="4617313"/>
                  <a:pt x="2533220" y="4611366"/>
                </a:cubicBezTo>
                <a:cubicBezTo>
                  <a:pt x="2533220" y="4605420"/>
                  <a:pt x="2538010" y="4600630"/>
                  <a:pt x="2543957" y="4600630"/>
                </a:cubicBezTo>
                <a:close/>
                <a:moveTo>
                  <a:pt x="1316494" y="4600630"/>
                </a:moveTo>
                <a:cubicBezTo>
                  <a:pt x="1322441" y="4600630"/>
                  <a:pt x="1327230" y="4605420"/>
                  <a:pt x="1327230" y="4611366"/>
                </a:cubicBezTo>
                <a:cubicBezTo>
                  <a:pt x="1327230" y="4617313"/>
                  <a:pt x="1322441" y="4622102"/>
                  <a:pt x="1316494" y="4622102"/>
                </a:cubicBezTo>
                <a:cubicBezTo>
                  <a:pt x="1310548" y="4622102"/>
                  <a:pt x="1305758" y="4617313"/>
                  <a:pt x="1305758" y="4611366"/>
                </a:cubicBezTo>
                <a:cubicBezTo>
                  <a:pt x="1305758" y="4605420"/>
                  <a:pt x="1310548" y="4600630"/>
                  <a:pt x="1316494" y="4600630"/>
                </a:cubicBezTo>
                <a:close/>
                <a:moveTo>
                  <a:pt x="1083919" y="4599969"/>
                </a:moveTo>
                <a:cubicBezTo>
                  <a:pt x="1089865" y="4599969"/>
                  <a:pt x="1094655" y="4604759"/>
                  <a:pt x="1094655" y="4610705"/>
                </a:cubicBezTo>
                <a:cubicBezTo>
                  <a:pt x="1094655" y="4616652"/>
                  <a:pt x="1089865" y="4621442"/>
                  <a:pt x="1083919" y="4621442"/>
                </a:cubicBezTo>
                <a:cubicBezTo>
                  <a:pt x="1077972" y="4621442"/>
                  <a:pt x="1073182" y="4616652"/>
                  <a:pt x="1073182" y="4610705"/>
                </a:cubicBezTo>
                <a:cubicBezTo>
                  <a:pt x="1073182" y="4604759"/>
                  <a:pt x="1077972" y="4599969"/>
                  <a:pt x="1083919" y="4599969"/>
                </a:cubicBezTo>
                <a:close/>
                <a:moveTo>
                  <a:pt x="554017" y="4597822"/>
                </a:moveTo>
                <a:cubicBezTo>
                  <a:pt x="557574" y="4597822"/>
                  <a:pt x="560460" y="4600706"/>
                  <a:pt x="560460" y="4604265"/>
                </a:cubicBezTo>
                <a:cubicBezTo>
                  <a:pt x="560460" y="4607821"/>
                  <a:pt x="557574" y="4610707"/>
                  <a:pt x="554017" y="4610707"/>
                </a:cubicBezTo>
                <a:cubicBezTo>
                  <a:pt x="550459" y="4610707"/>
                  <a:pt x="547575" y="4607821"/>
                  <a:pt x="547575" y="4604265"/>
                </a:cubicBezTo>
                <a:cubicBezTo>
                  <a:pt x="547575" y="4600706"/>
                  <a:pt x="550459" y="4597822"/>
                  <a:pt x="554017" y="4597822"/>
                </a:cubicBezTo>
                <a:close/>
                <a:moveTo>
                  <a:pt x="3339304" y="4592868"/>
                </a:moveTo>
                <a:cubicBezTo>
                  <a:pt x="3345250" y="4592868"/>
                  <a:pt x="3350042" y="4597657"/>
                  <a:pt x="3350042" y="4603604"/>
                </a:cubicBezTo>
                <a:cubicBezTo>
                  <a:pt x="3350042" y="4609550"/>
                  <a:pt x="3345250" y="4614340"/>
                  <a:pt x="3339304" y="4614340"/>
                </a:cubicBezTo>
                <a:cubicBezTo>
                  <a:pt x="3333357" y="4614340"/>
                  <a:pt x="3328567" y="4609550"/>
                  <a:pt x="3328567" y="4603604"/>
                </a:cubicBezTo>
                <a:cubicBezTo>
                  <a:pt x="3328567" y="4597657"/>
                  <a:pt x="3333357" y="4592868"/>
                  <a:pt x="3339304" y="4592868"/>
                </a:cubicBezTo>
                <a:close/>
                <a:moveTo>
                  <a:pt x="662706" y="4590225"/>
                </a:moveTo>
                <a:cubicBezTo>
                  <a:pt x="668652" y="4590225"/>
                  <a:pt x="673442" y="4595014"/>
                  <a:pt x="673442" y="4600961"/>
                </a:cubicBezTo>
                <a:cubicBezTo>
                  <a:pt x="673442" y="4606907"/>
                  <a:pt x="668652" y="4611697"/>
                  <a:pt x="662706" y="4611697"/>
                </a:cubicBezTo>
                <a:cubicBezTo>
                  <a:pt x="656759" y="4611697"/>
                  <a:pt x="651969" y="4606907"/>
                  <a:pt x="651969" y="4600961"/>
                </a:cubicBezTo>
                <a:cubicBezTo>
                  <a:pt x="651969" y="4595014"/>
                  <a:pt x="656759" y="4590225"/>
                  <a:pt x="662706" y="4590225"/>
                </a:cubicBezTo>
                <a:close/>
                <a:moveTo>
                  <a:pt x="580115" y="4588572"/>
                </a:moveTo>
                <a:lnTo>
                  <a:pt x="585482" y="4593941"/>
                </a:lnTo>
                <a:lnTo>
                  <a:pt x="590851" y="4588572"/>
                </a:lnTo>
                <a:lnTo>
                  <a:pt x="596631" y="4594354"/>
                </a:lnTo>
                <a:lnTo>
                  <a:pt x="601423" y="4589562"/>
                </a:lnTo>
                <a:lnTo>
                  <a:pt x="607784" y="4595921"/>
                </a:lnTo>
                <a:lnTo>
                  <a:pt x="612655" y="4591050"/>
                </a:lnTo>
                <a:lnTo>
                  <a:pt x="619758" y="4598153"/>
                </a:lnTo>
                <a:lnTo>
                  <a:pt x="625705" y="4592207"/>
                </a:lnTo>
                <a:lnTo>
                  <a:pt x="633800" y="4600302"/>
                </a:lnTo>
                <a:lnTo>
                  <a:pt x="641894" y="4592207"/>
                </a:lnTo>
                <a:cubicBezTo>
                  <a:pt x="647840" y="4592207"/>
                  <a:pt x="652630" y="4596997"/>
                  <a:pt x="652630" y="4602943"/>
                </a:cubicBezTo>
                <a:cubicBezTo>
                  <a:pt x="652630" y="4608890"/>
                  <a:pt x="647840" y="4613679"/>
                  <a:pt x="641894" y="4613679"/>
                </a:cubicBezTo>
                <a:lnTo>
                  <a:pt x="633800" y="4605586"/>
                </a:lnTo>
                <a:lnTo>
                  <a:pt x="625705" y="4613679"/>
                </a:lnTo>
                <a:lnTo>
                  <a:pt x="618602" y="4606578"/>
                </a:lnTo>
                <a:lnTo>
                  <a:pt x="612655" y="4612525"/>
                </a:lnTo>
                <a:lnTo>
                  <a:pt x="606296" y="4606164"/>
                </a:lnTo>
                <a:lnTo>
                  <a:pt x="601423" y="4611037"/>
                </a:lnTo>
                <a:lnTo>
                  <a:pt x="595641" y="4605255"/>
                </a:lnTo>
                <a:lnTo>
                  <a:pt x="590851" y="4610045"/>
                </a:lnTo>
                <a:lnTo>
                  <a:pt x="585482" y="4604677"/>
                </a:lnTo>
                <a:lnTo>
                  <a:pt x="580115" y="4610045"/>
                </a:lnTo>
                <a:lnTo>
                  <a:pt x="574829" y="4604759"/>
                </a:lnTo>
                <a:lnTo>
                  <a:pt x="568057" y="4611533"/>
                </a:lnTo>
                <a:cubicBezTo>
                  <a:pt x="562111" y="4611533"/>
                  <a:pt x="557321" y="4606741"/>
                  <a:pt x="557321" y="4600794"/>
                </a:cubicBezTo>
                <a:cubicBezTo>
                  <a:pt x="557321" y="4594848"/>
                  <a:pt x="562111" y="4590058"/>
                  <a:pt x="568057" y="4590058"/>
                </a:cubicBezTo>
                <a:lnTo>
                  <a:pt x="573343" y="4595344"/>
                </a:lnTo>
                <a:close/>
                <a:moveTo>
                  <a:pt x="905357" y="4585268"/>
                </a:moveTo>
                <a:cubicBezTo>
                  <a:pt x="911303" y="4585268"/>
                  <a:pt x="916093" y="4590058"/>
                  <a:pt x="916093" y="4596005"/>
                </a:cubicBezTo>
                <a:cubicBezTo>
                  <a:pt x="916093" y="4601951"/>
                  <a:pt x="911303" y="4606743"/>
                  <a:pt x="905357" y="4606743"/>
                </a:cubicBezTo>
                <a:cubicBezTo>
                  <a:pt x="899410" y="4606743"/>
                  <a:pt x="894620" y="4601951"/>
                  <a:pt x="894620" y="4596005"/>
                </a:cubicBezTo>
                <a:cubicBezTo>
                  <a:pt x="894620" y="4590058"/>
                  <a:pt x="899410" y="4585268"/>
                  <a:pt x="905357" y="4585268"/>
                </a:cubicBezTo>
                <a:close/>
                <a:moveTo>
                  <a:pt x="689960" y="4585104"/>
                </a:moveTo>
                <a:cubicBezTo>
                  <a:pt x="695907" y="4585104"/>
                  <a:pt x="700696" y="4589893"/>
                  <a:pt x="700696" y="4595840"/>
                </a:cubicBezTo>
                <a:cubicBezTo>
                  <a:pt x="700696" y="4601786"/>
                  <a:pt x="695907" y="4606576"/>
                  <a:pt x="689960" y="4606576"/>
                </a:cubicBezTo>
                <a:cubicBezTo>
                  <a:pt x="684014" y="4606576"/>
                  <a:pt x="679224" y="4601786"/>
                  <a:pt x="679224" y="4595840"/>
                </a:cubicBezTo>
                <a:cubicBezTo>
                  <a:pt x="679224" y="4589893"/>
                  <a:pt x="684014" y="4585104"/>
                  <a:pt x="689960" y="4585104"/>
                </a:cubicBezTo>
                <a:close/>
                <a:moveTo>
                  <a:pt x="2349704" y="4584608"/>
                </a:moveTo>
                <a:cubicBezTo>
                  <a:pt x="2355650" y="4584608"/>
                  <a:pt x="2360440" y="4589397"/>
                  <a:pt x="2360440" y="4595344"/>
                </a:cubicBezTo>
                <a:cubicBezTo>
                  <a:pt x="2360440" y="4601290"/>
                  <a:pt x="2355650" y="4606080"/>
                  <a:pt x="2349704" y="4606080"/>
                </a:cubicBezTo>
                <a:cubicBezTo>
                  <a:pt x="2343757" y="4606080"/>
                  <a:pt x="2338967" y="4601290"/>
                  <a:pt x="2338967" y="4595344"/>
                </a:cubicBezTo>
                <a:cubicBezTo>
                  <a:pt x="2338967" y="4589397"/>
                  <a:pt x="2343757" y="4584608"/>
                  <a:pt x="2349704" y="4584608"/>
                </a:cubicBezTo>
                <a:close/>
                <a:moveTo>
                  <a:pt x="1612828" y="4581469"/>
                </a:moveTo>
                <a:cubicBezTo>
                  <a:pt x="1618775" y="4581469"/>
                  <a:pt x="1623567" y="4586259"/>
                  <a:pt x="1623567" y="4592205"/>
                </a:cubicBezTo>
                <a:cubicBezTo>
                  <a:pt x="1623567" y="4598152"/>
                  <a:pt x="1618775" y="4602941"/>
                  <a:pt x="1612828" y="4602941"/>
                </a:cubicBezTo>
                <a:cubicBezTo>
                  <a:pt x="1606882" y="4602941"/>
                  <a:pt x="1602092" y="4598152"/>
                  <a:pt x="1602092" y="4592205"/>
                </a:cubicBezTo>
                <a:cubicBezTo>
                  <a:pt x="1602092" y="4586259"/>
                  <a:pt x="1606882" y="4581469"/>
                  <a:pt x="1612828" y="4581469"/>
                </a:cubicBezTo>
                <a:close/>
                <a:moveTo>
                  <a:pt x="725145" y="4575689"/>
                </a:moveTo>
                <a:cubicBezTo>
                  <a:pt x="731092" y="4575689"/>
                  <a:pt x="735881" y="4580478"/>
                  <a:pt x="735881" y="4586425"/>
                </a:cubicBezTo>
                <a:cubicBezTo>
                  <a:pt x="735881" y="4592372"/>
                  <a:pt x="731092" y="4597161"/>
                  <a:pt x="725145" y="4597161"/>
                </a:cubicBezTo>
                <a:cubicBezTo>
                  <a:pt x="719198" y="4597161"/>
                  <a:pt x="714409" y="4592372"/>
                  <a:pt x="714409" y="4586425"/>
                </a:cubicBezTo>
                <a:cubicBezTo>
                  <a:pt x="714409" y="4580478"/>
                  <a:pt x="719198" y="4575689"/>
                  <a:pt x="725145" y="4575689"/>
                </a:cubicBezTo>
                <a:close/>
                <a:moveTo>
                  <a:pt x="2162058" y="4562308"/>
                </a:moveTo>
                <a:cubicBezTo>
                  <a:pt x="2168004" y="4562308"/>
                  <a:pt x="2172794" y="4567097"/>
                  <a:pt x="2172794" y="4573044"/>
                </a:cubicBezTo>
                <a:cubicBezTo>
                  <a:pt x="2172794" y="4578991"/>
                  <a:pt x="2168004" y="4583780"/>
                  <a:pt x="2162058" y="4583780"/>
                </a:cubicBezTo>
                <a:cubicBezTo>
                  <a:pt x="2156111" y="4583780"/>
                  <a:pt x="2151321" y="4578991"/>
                  <a:pt x="2151321" y="4573044"/>
                </a:cubicBezTo>
                <a:cubicBezTo>
                  <a:pt x="2151321" y="4567097"/>
                  <a:pt x="2156111" y="4562308"/>
                  <a:pt x="2162058" y="4562308"/>
                </a:cubicBezTo>
                <a:close/>
                <a:moveTo>
                  <a:pt x="770570" y="4560986"/>
                </a:moveTo>
                <a:cubicBezTo>
                  <a:pt x="776517" y="4560986"/>
                  <a:pt x="781307" y="4565776"/>
                  <a:pt x="781307" y="4571723"/>
                </a:cubicBezTo>
                <a:cubicBezTo>
                  <a:pt x="781307" y="4577669"/>
                  <a:pt x="776517" y="4582461"/>
                  <a:pt x="770570" y="4582461"/>
                </a:cubicBezTo>
                <a:cubicBezTo>
                  <a:pt x="764624" y="4582461"/>
                  <a:pt x="759834" y="4577669"/>
                  <a:pt x="759834" y="4571723"/>
                </a:cubicBezTo>
                <a:cubicBezTo>
                  <a:pt x="759834" y="4565776"/>
                  <a:pt x="764624" y="4560986"/>
                  <a:pt x="770570" y="4560986"/>
                </a:cubicBezTo>
                <a:close/>
                <a:moveTo>
                  <a:pt x="1198718" y="4557353"/>
                </a:moveTo>
                <a:cubicBezTo>
                  <a:pt x="1204665" y="4557353"/>
                  <a:pt x="1209457" y="4562143"/>
                  <a:pt x="1209457" y="4568089"/>
                </a:cubicBezTo>
                <a:cubicBezTo>
                  <a:pt x="1209457" y="4574036"/>
                  <a:pt x="1204665" y="4578826"/>
                  <a:pt x="1198718" y="4578826"/>
                </a:cubicBezTo>
                <a:cubicBezTo>
                  <a:pt x="1192772" y="4578826"/>
                  <a:pt x="1187982" y="4574036"/>
                  <a:pt x="1187982" y="4568089"/>
                </a:cubicBezTo>
                <a:cubicBezTo>
                  <a:pt x="1187982" y="4562143"/>
                  <a:pt x="1192772" y="4557353"/>
                  <a:pt x="1198718" y="4557353"/>
                </a:cubicBezTo>
                <a:close/>
                <a:moveTo>
                  <a:pt x="988278" y="4554545"/>
                </a:moveTo>
                <a:cubicBezTo>
                  <a:pt x="994225" y="4554545"/>
                  <a:pt x="999015" y="4559335"/>
                  <a:pt x="999015" y="4565282"/>
                </a:cubicBezTo>
                <a:cubicBezTo>
                  <a:pt x="999015" y="4571228"/>
                  <a:pt x="994225" y="4576018"/>
                  <a:pt x="988278" y="4576018"/>
                </a:cubicBezTo>
                <a:cubicBezTo>
                  <a:pt x="982332" y="4576018"/>
                  <a:pt x="977542" y="4571228"/>
                  <a:pt x="977542" y="4565282"/>
                </a:cubicBezTo>
                <a:cubicBezTo>
                  <a:pt x="977542" y="4559335"/>
                  <a:pt x="982332" y="4554545"/>
                  <a:pt x="988278" y="4554545"/>
                </a:cubicBezTo>
                <a:close/>
                <a:moveTo>
                  <a:pt x="619758" y="4546946"/>
                </a:moveTo>
                <a:cubicBezTo>
                  <a:pt x="625705" y="4546946"/>
                  <a:pt x="630495" y="4551736"/>
                  <a:pt x="630495" y="4557683"/>
                </a:cubicBezTo>
                <a:cubicBezTo>
                  <a:pt x="630495" y="4563629"/>
                  <a:pt x="625705" y="4568419"/>
                  <a:pt x="619758" y="4568419"/>
                </a:cubicBezTo>
                <a:lnTo>
                  <a:pt x="613068" y="4561730"/>
                </a:lnTo>
                <a:lnTo>
                  <a:pt x="603076" y="4571724"/>
                </a:lnTo>
                <a:lnTo>
                  <a:pt x="597377" y="4566026"/>
                </a:lnTo>
                <a:lnTo>
                  <a:pt x="590192" y="4573211"/>
                </a:lnTo>
                <a:lnTo>
                  <a:pt x="585236" y="4568254"/>
                </a:lnTo>
                <a:lnTo>
                  <a:pt x="579619" y="4573871"/>
                </a:lnTo>
                <a:lnTo>
                  <a:pt x="575160" y="4569413"/>
                </a:lnTo>
                <a:lnTo>
                  <a:pt x="570371" y="4574202"/>
                </a:lnTo>
                <a:lnTo>
                  <a:pt x="566238" y="4570072"/>
                </a:lnTo>
                <a:lnTo>
                  <a:pt x="561119" y="4575191"/>
                </a:lnTo>
                <a:lnTo>
                  <a:pt x="557073" y="4571145"/>
                </a:lnTo>
                <a:lnTo>
                  <a:pt x="550878" y="4577340"/>
                </a:lnTo>
                <a:lnTo>
                  <a:pt x="546749" y="4573211"/>
                </a:lnTo>
                <a:lnTo>
                  <a:pt x="538985" y="4580974"/>
                </a:lnTo>
                <a:cubicBezTo>
                  <a:pt x="533039" y="4580974"/>
                  <a:pt x="528249" y="4576183"/>
                  <a:pt x="528249" y="4570236"/>
                </a:cubicBezTo>
                <a:cubicBezTo>
                  <a:pt x="528249" y="4564290"/>
                  <a:pt x="533039" y="4559500"/>
                  <a:pt x="538985" y="4559500"/>
                </a:cubicBezTo>
                <a:lnTo>
                  <a:pt x="543114" y="4563629"/>
                </a:lnTo>
                <a:lnTo>
                  <a:pt x="550878" y="4555865"/>
                </a:lnTo>
                <a:lnTo>
                  <a:pt x="554924" y="4559913"/>
                </a:lnTo>
                <a:lnTo>
                  <a:pt x="561119" y="4553718"/>
                </a:lnTo>
                <a:lnTo>
                  <a:pt x="565250" y="4557849"/>
                </a:lnTo>
                <a:lnTo>
                  <a:pt x="570371" y="4552728"/>
                </a:lnTo>
                <a:lnTo>
                  <a:pt x="574829" y="4557187"/>
                </a:lnTo>
                <a:lnTo>
                  <a:pt x="579619" y="4552397"/>
                </a:lnTo>
                <a:lnTo>
                  <a:pt x="584575" y="4557353"/>
                </a:lnTo>
                <a:lnTo>
                  <a:pt x="590192" y="4551736"/>
                </a:lnTo>
                <a:lnTo>
                  <a:pt x="595891" y="4557435"/>
                </a:lnTo>
                <a:lnTo>
                  <a:pt x="603076" y="4550250"/>
                </a:lnTo>
                <a:lnTo>
                  <a:pt x="609764" y="4556940"/>
                </a:lnTo>
                <a:close/>
                <a:moveTo>
                  <a:pt x="1469782" y="4542486"/>
                </a:moveTo>
                <a:cubicBezTo>
                  <a:pt x="1475729" y="4542486"/>
                  <a:pt x="1480519" y="4547276"/>
                  <a:pt x="1480519" y="4553222"/>
                </a:cubicBezTo>
                <a:cubicBezTo>
                  <a:pt x="1480519" y="4559169"/>
                  <a:pt x="1475729" y="4563960"/>
                  <a:pt x="1469782" y="4563960"/>
                </a:cubicBezTo>
                <a:cubicBezTo>
                  <a:pt x="1463836" y="4563960"/>
                  <a:pt x="1459046" y="4559169"/>
                  <a:pt x="1459046" y="4553222"/>
                </a:cubicBezTo>
                <a:cubicBezTo>
                  <a:pt x="1459046" y="4547276"/>
                  <a:pt x="1463836" y="4542486"/>
                  <a:pt x="1469782" y="4542486"/>
                </a:cubicBezTo>
                <a:close/>
                <a:moveTo>
                  <a:pt x="641729" y="4540670"/>
                </a:moveTo>
                <a:cubicBezTo>
                  <a:pt x="647675" y="4540670"/>
                  <a:pt x="652465" y="4545460"/>
                  <a:pt x="652465" y="4551407"/>
                </a:cubicBezTo>
                <a:cubicBezTo>
                  <a:pt x="652465" y="4557353"/>
                  <a:pt x="647675" y="4562143"/>
                  <a:pt x="641729" y="4562143"/>
                </a:cubicBezTo>
                <a:cubicBezTo>
                  <a:pt x="635782" y="4562143"/>
                  <a:pt x="630993" y="4557353"/>
                  <a:pt x="630993" y="4551407"/>
                </a:cubicBezTo>
                <a:cubicBezTo>
                  <a:pt x="630993" y="4545460"/>
                  <a:pt x="635782" y="4540670"/>
                  <a:pt x="641729" y="4540670"/>
                </a:cubicBezTo>
                <a:close/>
                <a:moveTo>
                  <a:pt x="828218" y="4539182"/>
                </a:moveTo>
                <a:cubicBezTo>
                  <a:pt x="834165" y="4539182"/>
                  <a:pt x="838955" y="4543972"/>
                  <a:pt x="838955" y="4549919"/>
                </a:cubicBezTo>
                <a:cubicBezTo>
                  <a:pt x="838955" y="4555865"/>
                  <a:pt x="834165" y="4560655"/>
                  <a:pt x="828218" y="4560655"/>
                </a:cubicBezTo>
                <a:cubicBezTo>
                  <a:pt x="822272" y="4560655"/>
                  <a:pt x="817482" y="4555865"/>
                  <a:pt x="817482" y="4549919"/>
                </a:cubicBezTo>
                <a:cubicBezTo>
                  <a:pt x="817482" y="4543972"/>
                  <a:pt x="822272" y="4539182"/>
                  <a:pt x="828218" y="4539182"/>
                </a:cubicBezTo>
                <a:close/>
                <a:moveTo>
                  <a:pt x="1982174" y="4534888"/>
                </a:moveTo>
                <a:cubicBezTo>
                  <a:pt x="1988120" y="4534888"/>
                  <a:pt x="1992912" y="4539678"/>
                  <a:pt x="1992912" y="4545625"/>
                </a:cubicBezTo>
                <a:cubicBezTo>
                  <a:pt x="1992912" y="4551571"/>
                  <a:pt x="1988120" y="4556361"/>
                  <a:pt x="1982174" y="4556361"/>
                </a:cubicBezTo>
                <a:cubicBezTo>
                  <a:pt x="1976227" y="4556361"/>
                  <a:pt x="1971438" y="4551571"/>
                  <a:pt x="1971438" y="4545625"/>
                </a:cubicBezTo>
                <a:cubicBezTo>
                  <a:pt x="1971438" y="4539678"/>
                  <a:pt x="1976227" y="4534888"/>
                  <a:pt x="1982174" y="4534888"/>
                </a:cubicBezTo>
                <a:close/>
                <a:moveTo>
                  <a:pt x="670799" y="4530593"/>
                </a:moveTo>
                <a:cubicBezTo>
                  <a:pt x="676746" y="4530593"/>
                  <a:pt x="681535" y="4535383"/>
                  <a:pt x="681535" y="4541329"/>
                </a:cubicBezTo>
                <a:cubicBezTo>
                  <a:pt x="681535" y="4547276"/>
                  <a:pt x="676746" y="4552067"/>
                  <a:pt x="670799" y="4552067"/>
                </a:cubicBezTo>
                <a:cubicBezTo>
                  <a:pt x="664853" y="4552067"/>
                  <a:pt x="660063" y="4547276"/>
                  <a:pt x="660063" y="4541329"/>
                </a:cubicBezTo>
                <a:cubicBezTo>
                  <a:pt x="660063" y="4535383"/>
                  <a:pt x="664853" y="4530593"/>
                  <a:pt x="670799" y="4530593"/>
                </a:cubicBezTo>
                <a:close/>
                <a:moveTo>
                  <a:pt x="708792" y="4515396"/>
                </a:moveTo>
                <a:cubicBezTo>
                  <a:pt x="714723" y="4515396"/>
                  <a:pt x="719530" y="4520203"/>
                  <a:pt x="719530" y="4526133"/>
                </a:cubicBezTo>
                <a:cubicBezTo>
                  <a:pt x="719530" y="4532063"/>
                  <a:pt x="714723" y="4536869"/>
                  <a:pt x="708792" y="4536869"/>
                </a:cubicBezTo>
                <a:cubicBezTo>
                  <a:pt x="702862" y="4536869"/>
                  <a:pt x="698055" y="4532063"/>
                  <a:pt x="698055" y="4526133"/>
                </a:cubicBezTo>
                <a:cubicBezTo>
                  <a:pt x="698055" y="4520203"/>
                  <a:pt x="702862" y="4515396"/>
                  <a:pt x="708792" y="4515396"/>
                </a:cubicBezTo>
                <a:close/>
                <a:moveTo>
                  <a:pt x="1090195" y="4513249"/>
                </a:moveTo>
                <a:cubicBezTo>
                  <a:pt x="1096141" y="4513249"/>
                  <a:pt x="1100933" y="4518039"/>
                  <a:pt x="1100933" y="4523986"/>
                </a:cubicBezTo>
                <a:cubicBezTo>
                  <a:pt x="1100933" y="4529932"/>
                  <a:pt x="1096141" y="4534722"/>
                  <a:pt x="1090195" y="4534722"/>
                </a:cubicBezTo>
                <a:cubicBezTo>
                  <a:pt x="1084248" y="4534722"/>
                  <a:pt x="1079458" y="4529932"/>
                  <a:pt x="1079458" y="4523986"/>
                </a:cubicBezTo>
                <a:cubicBezTo>
                  <a:pt x="1079458" y="4518039"/>
                  <a:pt x="1084248" y="4513249"/>
                  <a:pt x="1090195" y="4513249"/>
                </a:cubicBezTo>
                <a:close/>
                <a:moveTo>
                  <a:pt x="900567" y="4509120"/>
                </a:moveTo>
                <a:cubicBezTo>
                  <a:pt x="906513" y="4509120"/>
                  <a:pt x="911303" y="4513910"/>
                  <a:pt x="911303" y="4519857"/>
                </a:cubicBezTo>
                <a:cubicBezTo>
                  <a:pt x="911303" y="4525803"/>
                  <a:pt x="906513" y="4530593"/>
                  <a:pt x="900567" y="4530593"/>
                </a:cubicBezTo>
                <a:cubicBezTo>
                  <a:pt x="894620" y="4530593"/>
                  <a:pt x="889830" y="4525803"/>
                  <a:pt x="889830" y="4519857"/>
                </a:cubicBezTo>
                <a:cubicBezTo>
                  <a:pt x="889830" y="4513910"/>
                  <a:pt x="894620" y="4509120"/>
                  <a:pt x="900567" y="4509120"/>
                </a:cubicBezTo>
                <a:close/>
                <a:moveTo>
                  <a:pt x="580280" y="4504825"/>
                </a:moveTo>
                <a:cubicBezTo>
                  <a:pt x="586226" y="4504825"/>
                  <a:pt x="591016" y="4509614"/>
                  <a:pt x="591016" y="4515561"/>
                </a:cubicBezTo>
                <a:cubicBezTo>
                  <a:pt x="591016" y="4521507"/>
                  <a:pt x="586226" y="4526299"/>
                  <a:pt x="580280" y="4526299"/>
                </a:cubicBezTo>
                <a:lnTo>
                  <a:pt x="576067" y="4522088"/>
                </a:lnTo>
                <a:lnTo>
                  <a:pt x="567232" y="4530924"/>
                </a:lnTo>
                <a:lnTo>
                  <a:pt x="563763" y="4527456"/>
                </a:lnTo>
                <a:lnTo>
                  <a:pt x="557156" y="4534063"/>
                </a:lnTo>
                <a:lnTo>
                  <a:pt x="554182" y="4531089"/>
                </a:lnTo>
                <a:lnTo>
                  <a:pt x="548896" y="4536375"/>
                </a:lnTo>
                <a:lnTo>
                  <a:pt x="546088" y="4533567"/>
                </a:lnTo>
                <a:lnTo>
                  <a:pt x="540968" y="4538688"/>
                </a:lnTo>
                <a:lnTo>
                  <a:pt x="538241" y="4535962"/>
                </a:lnTo>
                <a:lnTo>
                  <a:pt x="532543" y="4541662"/>
                </a:lnTo>
                <a:lnTo>
                  <a:pt x="529817" y="4538936"/>
                </a:lnTo>
                <a:lnTo>
                  <a:pt x="522798" y="4545956"/>
                </a:lnTo>
                <a:lnTo>
                  <a:pt x="518255" y="4541412"/>
                </a:lnTo>
                <a:lnTo>
                  <a:pt x="510905" y="4548762"/>
                </a:lnTo>
                <a:cubicBezTo>
                  <a:pt x="506617" y="4548762"/>
                  <a:pt x="503141" y="4545287"/>
                  <a:pt x="503141" y="4541000"/>
                </a:cubicBezTo>
                <a:cubicBezTo>
                  <a:pt x="503141" y="4536711"/>
                  <a:pt x="506617" y="4533236"/>
                  <a:pt x="510905" y="4533236"/>
                </a:cubicBezTo>
                <a:lnTo>
                  <a:pt x="512475" y="4534805"/>
                </a:lnTo>
                <a:lnTo>
                  <a:pt x="522798" y="4524482"/>
                </a:lnTo>
                <a:lnTo>
                  <a:pt x="525523" y="4527208"/>
                </a:lnTo>
                <a:lnTo>
                  <a:pt x="532543" y="4520188"/>
                </a:lnTo>
                <a:lnTo>
                  <a:pt x="535267" y="4522914"/>
                </a:lnTo>
                <a:lnTo>
                  <a:pt x="540968" y="4517214"/>
                </a:lnTo>
                <a:lnTo>
                  <a:pt x="543775" y="4520023"/>
                </a:lnTo>
                <a:lnTo>
                  <a:pt x="548896" y="4514902"/>
                </a:lnTo>
                <a:lnTo>
                  <a:pt x="551869" y="4517876"/>
                </a:lnTo>
                <a:lnTo>
                  <a:pt x="557156" y="4512589"/>
                </a:lnTo>
                <a:lnTo>
                  <a:pt x="560624" y="4516057"/>
                </a:lnTo>
                <a:lnTo>
                  <a:pt x="567232" y="4509450"/>
                </a:lnTo>
                <a:lnTo>
                  <a:pt x="571442" y="4513662"/>
                </a:lnTo>
                <a:close/>
                <a:moveTo>
                  <a:pt x="1811707" y="4503174"/>
                </a:moveTo>
                <a:cubicBezTo>
                  <a:pt x="1817653" y="4503174"/>
                  <a:pt x="1822445" y="4507963"/>
                  <a:pt x="1822445" y="4513910"/>
                </a:cubicBezTo>
                <a:cubicBezTo>
                  <a:pt x="1822445" y="4519857"/>
                  <a:pt x="1817653" y="4524648"/>
                  <a:pt x="1811707" y="4524648"/>
                </a:cubicBezTo>
                <a:cubicBezTo>
                  <a:pt x="1805760" y="4524648"/>
                  <a:pt x="1800970" y="4519857"/>
                  <a:pt x="1800970" y="4513910"/>
                </a:cubicBezTo>
                <a:cubicBezTo>
                  <a:pt x="1800970" y="4507963"/>
                  <a:pt x="1805760" y="4503174"/>
                  <a:pt x="1811707" y="4503174"/>
                </a:cubicBezTo>
                <a:close/>
                <a:moveTo>
                  <a:pt x="1336810" y="4501686"/>
                </a:moveTo>
                <a:cubicBezTo>
                  <a:pt x="1342757" y="4501686"/>
                  <a:pt x="1347548" y="4506476"/>
                  <a:pt x="1347548" y="4512422"/>
                </a:cubicBezTo>
                <a:cubicBezTo>
                  <a:pt x="1347548" y="4518369"/>
                  <a:pt x="1342757" y="4523160"/>
                  <a:pt x="1336810" y="4523160"/>
                </a:cubicBezTo>
                <a:cubicBezTo>
                  <a:pt x="1330864" y="4523160"/>
                  <a:pt x="1326074" y="4518369"/>
                  <a:pt x="1326074" y="4512422"/>
                </a:cubicBezTo>
                <a:cubicBezTo>
                  <a:pt x="1326074" y="4506476"/>
                  <a:pt x="1330864" y="4501686"/>
                  <a:pt x="1336810" y="4501686"/>
                </a:cubicBezTo>
                <a:close/>
                <a:moveTo>
                  <a:pt x="597625" y="4497392"/>
                </a:moveTo>
                <a:cubicBezTo>
                  <a:pt x="603572" y="4497392"/>
                  <a:pt x="608363" y="4502182"/>
                  <a:pt x="608363" y="4508128"/>
                </a:cubicBezTo>
                <a:cubicBezTo>
                  <a:pt x="608363" y="4514075"/>
                  <a:pt x="603572" y="4518865"/>
                  <a:pt x="597625" y="4518865"/>
                </a:cubicBezTo>
                <a:cubicBezTo>
                  <a:pt x="591679" y="4518865"/>
                  <a:pt x="586889" y="4514075"/>
                  <a:pt x="586889" y="4508128"/>
                </a:cubicBezTo>
                <a:cubicBezTo>
                  <a:pt x="586889" y="4502182"/>
                  <a:pt x="591679" y="4497392"/>
                  <a:pt x="597625" y="4497392"/>
                </a:cubicBezTo>
                <a:close/>
                <a:moveTo>
                  <a:pt x="757850" y="4493592"/>
                </a:moveTo>
                <a:cubicBezTo>
                  <a:pt x="763797" y="4493592"/>
                  <a:pt x="768586" y="4498382"/>
                  <a:pt x="768586" y="4504329"/>
                </a:cubicBezTo>
                <a:cubicBezTo>
                  <a:pt x="768586" y="4510275"/>
                  <a:pt x="763797" y="4515065"/>
                  <a:pt x="757850" y="4515065"/>
                </a:cubicBezTo>
                <a:cubicBezTo>
                  <a:pt x="751904" y="4515065"/>
                  <a:pt x="747114" y="4510275"/>
                  <a:pt x="747114" y="4504329"/>
                </a:cubicBezTo>
                <a:cubicBezTo>
                  <a:pt x="747114" y="4498382"/>
                  <a:pt x="751904" y="4493592"/>
                  <a:pt x="757850" y="4493592"/>
                </a:cubicBezTo>
                <a:close/>
                <a:moveTo>
                  <a:pt x="621245" y="4486491"/>
                </a:moveTo>
                <a:cubicBezTo>
                  <a:pt x="627191" y="4486491"/>
                  <a:pt x="631981" y="4491281"/>
                  <a:pt x="631981" y="4497227"/>
                </a:cubicBezTo>
                <a:cubicBezTo>
                  <a:pt x="631981" y="4503174"/>
                  <a:pt x="627191" y="4507963"/>
                  <a:pt x="621245" y="4507963"/>
                </a:cubicBezTo>
                <a:cubicBezTo>
                  <a:pt x="615298" y="4507963"/>
                  <a:pt x="610508" y="4503174"/>
                  <a:pt x="610508" y="4497227"/>
                </a:cubicBezTo>
                <a:cubicBezTo>
                  <a:pt x="610508" y="4491281"/>
                  <a:pt x="615298" y="4486491"/>
                  <a:pt x="621245" y="4486491"/>
                </a:cubicBezTo>
                <a:close/>
                <a:moveTo>
                  <a:pt x="652630" y="4470633"/>
                </a:moveTo>
                <a:cubicBezTo>
                  <a:pt x="658577" y="4470633"/>
                  <a:pt x="663366" y="4475423"/>
                  <a:pt x="663366" y="4481370"/>
                </a:cubicBezTo>
                <a:cubicBezTo>
                  <a:pt x="663366" y="4487316"/>
                  <a:pt x="658577" y="4492106"/>
                  <a:pt x="652630" y="4492106"/>
                </a:cubicBezTo>
                <a:cubicBezTo>
                  <a:pt x="646684" y="4492106"/>
                  <a:pt x="641894" y="4487316"/>
                  <a:pt x="641894" y="4481370"/>
                </a:cubicBezTo>
                <a:cubicBezTo>
                  <a:pt x="641894" y="4475423"/>
                  <a:pt x="646684" y="4470633"/>
                  <a:pt x="652630" y="4470633"/>
                </a:cubicBezTo>
                <a:close/>
                <a:moveTo>
                  <a:pt x="990261" y="4468981"/>
                </a:moveTo>
                <a:cubicBezTo>
                  <a:pt x="996207" y="4468981"/>
                  <a:pt x="1000997" y="4473770"/>
                  <a:pt x="1000997" y="4479717"/>
                </a:cubicBezTo>
                <a:cubicBezTo>
                  <a:pt x="1000997" y="4485664"/>
                  <a:pt x="996207" y="4490453"/>
                  <a:pt x="990261" y="4490453"/>
                </a:cubicBezTo>
                <a:cubicBezTo>
                  <a:pt x="984314" y="4490453"/>
                  <a:pt x="979524" y="4485664"/>
                  <a:pt x="979524" y="4479717"/>
                </a:cubicBezTo>
                <a:cubicBezTo>
                  <a:pt x="979524" y="4473770"/>
                  <a:pt x="984314" y="4468981"/>
                  <a:pt x="990261" y="4468981"/>
                </a:cubicBezTo>
                <a:close/>
                <a:moveTo>
                  <a:pt x="2840952" y="4468816"/>
                </a:moveTo>
                <a:cubicBezTo>
                  <a:pt x="2846898" y="4468816"/>
                  <a:pt x="2851690" y="4473606"/>
                  <a:pt x="2851690" y="4479552"/>
                </a:cubicBezTo>
                <a:cubicBezTo>
                  <a:pt x="2851690" y="4485499"/>
                  <a:pt x="2846898" y="4490289"/>
                  <a:pt x="2840952" y="4490289"/>
                </a:cubicBezTo>
                <a:cubicBezTo>
                  <a:pt x="2835006" y="4490289"/>
                  <a:pt x="2830216" y="4485499"/>
                  <a:pt x="2830216" y="4479552"/>
                </a:cubicBezTo>
                <a:cubicBezTo>
                  <a:pt x="2830216" y="4473606"/>
                  <a:pt x="2835006" y="4468816"/>
                  <a:pt x="2840952" y="4468816"/>
                </a:cubicBezTo>
                <a:close/>
                <a:moveTo>
                  <a:pt x="1651315" y="4468155"/>
                </a:moveTo>
                <a:cubicBezTo>
                  <a:pt x="1657262" y="4468155"/>
                  <a:pt x="1662053" y="4472945"/>
                  <a:pt x="1662053" y="4478892"/>
                </a:cubicBezTo>
                <a:cubicBezTo>
                  <a:pt x="1662053" y="4484838"/>
                  <a:pt x="1657262" y="4489630"/>
                  <a:pt x="1651315" y="4489630"/>
                </a:cubicBezTo>
                <a:cubicBezTo>
                  <a:pt x="1645369" y="4489630"/>
                  <a:pt x="1640579" y="4484838"/>
                  <a:pt x="1640579" y="4478892"/>
                </a:cubicBezTo>
                <a:cubicBezTo>
                  <a:pt x="1640579" y="4472945"/>
                  <a:pt x="1645369" y="4468155"/>
                  <a:pt x="1651315" y="4468155"/>
                </a:cubicBezTo>
                <a:close/>
                <a:moveTo>
                  <a:pt x="3048916" y="4466834"/>
                </a:moveTo>
                <a:cubicBezTo>
                  <a:pt x="3054862" y="4466834"/>
                  <a:pt x="3059654" y="4471624"/>
                  <a:pt x="3059654" y="4477570"/>
                </a:cubicBezTo>
                <a:cubicBezTo>
                  <a:pt x="3059654" y="4483517"/>
                  <a:pt x="3054862" y="4488306"/>
                  <a:pt x="3048916" y="4488306"/>
                </a:cubicBezTo>
                <a:cubicBezTo>
                  <a:pt x="3042969" y="4488306"/>
                  <a:pt x="3038179" y="4483517"/>
                  <a:pt x="3038179" y="4477570"/>
                </a:cubicBezTo>
                <a:cubicBezTo>
                  <a:pt x="3038179" y="4471624"/>
                  <a:pt x="3042969" y="4466834"/>
                  <a:pt x="3048916" y="4466834"/>
                </a:cubicBezTo>
                <a:close/>
                <a:moveTo>
                  <a:pt x="820290" y="4463860"/>
                </a:moveTo>
                <a:cubicBezTo>
                  <a:pt x="826236" y="4463860"/>
                  <a:pt x="831028" y="4468649"/>
                  <a:pt x="831028" y="4474596"/>
                </a:cubicBezTo>
                <a:cubicBezTo>
                  <a:pt x="831028" y="4480542"/>
                  <a:pt x="826236" y="4485332"/>
                  <a:pt x="820290" y="4485332"/>
                </a:cubicBezTo>
                <a:cubicBezTo>
                  <a:pt x="814343" y="4485332"/>
                  <a:pt x="809553" y="4480542"/>
                  <a:pt x="809553" y="4474596"/>
                </a:cubicBezTo>
                <a:cubicBezTo>
                  <a:pt x="809553" y="4468649"/>
                  <a:pt x="814343" y="4463860"/>
                  <a:pt x="820290" y="4463860"/>
                </a:cubicBezTo>
                <a:close/>
                <a:moveTo>
                  <a:pt x="544106" y="4463695"/>
                </a:moveTo>
                <a:cubicBezTo>
                  <a:pt x="550053" y="4463695"/>
                  <a:pt x="554843" y="4468485"/>
                  <a:pt x="554843" y="4474431"/>
                </a:cubicBezTo>
                <a:cubicBezTo>
                  <a:pt x="554843" y="4480378"/>
                  <a:pt x="550053" y="4485168"/>
                  <a:pt x="544106" y="4485168"/>
                </a:cubicBezTo>
                <a:lnTo>
                  <a:pt x="542372" y="4483433"/>
                </a:lnTo>
                <a:lnTo>
                  <a:pt x="534360" y="4491445"/>
                </a:lnTo>
                <a:lnTo>
                  <a:pt x="532791" y="4489876"/>
                </a:lnTo>
                <a:lnTo>
                  <a:pt x="526596" y="4496070"/>
                </a:lnTo>
                <a:lnTo>
                  <a:pt x="525440" y="4494915"/>
                </a:lnTo>
                <a:lnTo>
                  <a:pt x="519989" y="4500364"/>
                </a:lnTo>
                <a:lnTo>
                  <a:pt x="518584" y="4498961"/>
                </a:lnTo>
                <a:lnTo>
                  <a:pt x="513052" y="4504493"/>
                </a:lnTo>
                <a:lnTo>
                  <a:pt x="511731" y="4503172"/>
                </a:lnTo>
                <a:lnTo>
                  <a:pt x="505288" y="4509614"/>
                </a:lnTo>
                <a:lnTo>
                  <a:pt x="503471" y="4507797"/>
                </a:lnTo>
                <a:lnTo>
                  <a:pt x="495542" y="4515726"/>
                </a:lnTo>
                <a:cubicBezTo>
                  <a:pt x="489596" y="4515726"/>
                  <a:pt x="484806" y="4510936"/>
                  <a:pt x="484806" y="4504989"/>
                </a:cubicBezTo>
                <a:cubicBezTo>
                  <a:pt x="484806" y="4499043"/>
                  <a:pt x="489596" y="4494253"/>
                  <a:pt x="495542" y="4494253"/>
                </a:cubicBezTo>
                <a:lnTo>
                  <a:pt x="497360" y="4496070"/>
                </a:lnTo>
                <a:lnTo>
                  <a:pt x="505288" y="4488142"/>
                </a:lnTo>
                <a:lnTo>
                  <a:pt x="506610" y="4489463"/>
                </a:lnTo>
                <a:lnTo>
                  <a:pt x="513052" y="4483021"/>
                </a:lnTo>
                <a:lnTo>
                  <a:pt x="514455" y="4484425"/>
                </a:lnTo>
                <a:lnTo>
                  <a:pt x="519989" y="4478892"/>
                </a:lnTo>
                <a:lnTo>
                  <a:pt x="521146" y="4480048"/>
                </a:lnTo>
                <a:lnTo>
                  <a:pt x="526596" y="4474598"/>
                </a:lnTo>
                <a:lnTo>
                  <a:pt x="528166" y="4476167"/>
                </a:lnTo>
                <a:lnTo>
                  <a:pt x="534360" y="4469973"/>
                </a:lnTo>
                <a:lnTo>
                  <a:pt x="536094" y="4471707"/>
                </a:lnTo>
                <a:close/>
                <a:moveTo>
                  <a:pt x="2633649" y="4463199"/>
                </a:moveTo>
                <a:cubicBezTo>
                  <a:pt x="2639596" y="4463199"/>
                  <a:pt x="2644387" y="4467989"/>
                  <a:pt x="2644387" y="4473935"/>
                </a:cubicBezTo>
                <a:cubicBezTo>
                  <a:pt x="2644387" y="4479882"/>
                  <a:pt x="2639596" y="4484672"/>
                  <a:pt x="2633649" y="4484672"/>
                </a:cubicBezTo>
                <a:cubicBezTo>
                  <a:pt x="2627702" y="4484672"/>
                  <a:pt x="2622913" y="4479882"/>
                  <a:pt x="2622913" y="4473935"/>
                </a:cubicBezTo>
                <a:cubicBezTo>
                  <a:pt x="2622913" y="4467989"/>
                  <a:pt x="2627702" y="4463199"/>
                  <a:pt x="2633649" y="4463199"/>
                </a:cubicBezTo>
                <a:close/>
                <a:moveTo>
                  <a:pt x="1213586" y="4459566"/>
                </a:moveTo>
                <a:cubicBezTo>
                  <a:pt x="1219532" y="4459566"/>
                  <a:pt x="1224324" y="4464356"/>
                  <a:pt x="1224324" y="4470302"/>
                </a:cubicBezTo>
                <a:cubicBezTo>
                  <a:pt x="1224324" y="4476249"/>
                  <a:pt x="1219532" y="4481038"/>
                  <a:pt x="1213586" y="4481038"/>
                </a:cubicBezTo>
                <a:cubicBezTo>
                  <a:pt x="1207639" y="4481038"/>
                  <a:pt x="1202849" y="4476249"/>
                  <a:pt x="1202849" y="4470302"/>
                </a:cubicBezTo>
                <a:cubicBezTo>
                  <a:pt x="1202849" y="4464356"/>
                  <a:pt x="1207639" y="4459566"/>
                  <a:pt x="1213586" y="4459566"/>
                </a:cubicBezTo>
                <a:close/>
                <a:moveTo>
                  <a:pt x="3254731" y="4457088"/>
                </a:moveTo>
                <a:cubicBezTo>
                  <a:pt x="3260677" y="4457088"/>
                  <a:pt x="3265469" y="4461877"/>
                  <a:pt x="3265469" y="4467824"/>
                </a:cubicBezTo>
                <a:cubicBezTo>
                  <a:pt x="3265469" y="4473770"/>
                  <a:pt x="3260677" y="4478560"/>
                  <a:pt x="3254731" y="4478560"/>
                </a:cubicBezTo>
                <a:cubicBezTo>
                  <a:pt x="3248784" y="4478560"/>
                  <a:pt x="3243994" y="4473770"/>
                  <a:pt x="3243994" y="4467824"/>
                </a:cubicBezTo>
                <a:cubicBezTo>
                  <a:pt x="3243994" y="4461877"/>
                  <a:pt x="3248784" y="4457088"/>
                  <a:pt x="3254731" y="4457088"/>
                </a:cubicBezTo>
                <a:close/>
                <a:moveTo>
                  <a:pt x="557650" y="4455270"/>
                </a:moveTo>
                <a:cubicBezTo>
                  <a:pt x="563597" y="4455270"/>
                  <a:pt x="568387" y="4460060"/>
                  <a:pt x="568387" y="4466007"/>
                </a:cubicBezTo>
                <a:cubicBezTo>
                  <a:pt x="568387" y="4471953"/>
                  <a:pt x="563597" y="4476745"/>
                  <a:pt x="557650" y="4476745"/>
                </a:cubicBezTo>
                <a:cubicBezTo>
                  <a:pt x="551704" y="4476745"/>
                  <a:pt x="546914" y="4471953"/>
                  <a:pt x="546914" y="4466007"/>
                </a:cubicBezTo>
                <a:cubicBezTo>
                  <a:pt x="546914" y="4460060"/>
                  <a:pt x="551704" y="4455270"/>
                  <a:pt x="557650" y="4455270"/>
                </a:cubicBezTo>
                <a:close/>
                <a:moveTo>
                  <a:pt x="2429981" y="4450149"/>
                </a:moveTo>
                <a:cubicBezTo>
                  <a:pt x="2435928" y="4450149"/>
                  <a:pt x="2440717" y="4454939"/>
                  <a:pt x="2440717" y="4460885"/>
                </a:cubicBezTo>
                <a:cubicBezTo>
                  <a:pt x="2440717" y="4466832"/>
                  <a:pt x="2435928" y="4471624"/>
                  <a:pt x="2429981" y="4471624"/>
                </a:cubicBezTo>
                <a:cubicBezTo>
                  <a:pt x="2424034" y="4471624"/>
                  <a:pt x="2419244" y="4466832"/>
                  <a:pt x="2419244" y="4460885"/>
                </a:cubicBezTo>
                <a:cubicBezTo>
                  <a:pt x="2419244" y="4454939"/>
                  <a:pt x="2424034" y="4450149"/>
                  <a:pt x="2429981" y="4450149"/>
                </a:cubicBezTo>
                <a:close/>
                <a:moveTo>
                  <a:pt x="693926" y="4448663"/>
                </a:moveTo>
                <a:cubicBezTo>
                  <a:pt x="699873" y="4448663"/>
                  <a:pt x="704663" y="4453453"/>
                  <a:pt x="704663" y="4459399"/>
                </a:cubicBezTo>
                <a:cubicBezTo>
                  <a:pt x="704663" y="4465346"/>
                  <a:pt x="699873" y="4470136"/>
                  <a:pt x="693926" y="4470136"/>
                </a:cubicBezTo>
                <a:cubicBezTo>
                  <a:pt x="687980" y="4470136"/>
                  <a:pt x="683190" y="4465346"/>
                  <a:pt x="683190" y="4459399"/>
                </a:cubicBezTo>
                <a:cubicBezTo>
                  <a:pt x="683190" y="4453453"/>
                  <a:pt x="687980" y="4448663"/>
                  <a:pt x="693926" y="4448663"/>
                </a:cubicBezTo>
                <a:close/>
                <a:moveTo>
                  <a:pt x="442684" y="4448333"/>
                </a:moveTo>
                <a:cubicBezTo>
                  <a:pt x="442868" y="4448333"/>
                  <a:pt x="443015" y="4448481"/>
                  <a:pt x="443015" y="4448663"/>
                </a:cubicBezTo>
                <a:cubicBezTo>
                  <a:pt x="443015" y="4448847"/>
                  <a:pt x="442868" y="4448994"/>
                  <a:pt x="442684" y="4448994"/>
                </a:cubicBezTo>
                <a:cubicBezTo>
                  <a:pt x="442502" y="4448994"/>
                  <a:pt x="442355" y="4448847"/>
                  <a:pt x="442355" y="4448663"/>
                </a:cubicBezTo>
                <a:cubicBezTo>
                  <a:pt x="442355" y="4448481"/>
                  <a:pt x="442502" y="4448333"/>
                  <a:pt x="442684" y="4448333"/>
                </a:cubicBezTo>
                <a:close/>
                <a:moveTo>
                  <a:pt x="576151" y="4443377"/>
                </a:moveTo>
                <a:cubicBezTo>
                  <a:pt x="582097" y="4443377"/>
                  <a:pt x="586887" y="4448167"/>
                  <a:pt x="586887" y="4454113"/>
                </a:cubicBezTo>
                <a:cubicBezTo>
                  <a:pt x="586887" y="4460060"/>
                  <a:pt x="582097" y="4464852"/>
                  <a:pt x="576151" y="4464852"/>
                </a:cubicBezTo>
                <a:cubicBezTo>
                  <a:pt x="570204" y="4464852"/>
                  <a:pt x="565414" y="4460060"/>
                  <a:pt x="565414" y="4454113"/>
                </a:cubicBezTo>
                <a:cubicBezTo>
                  <a:pt x="565414" y="4448167"/>
                  <a:pt x="570204" y="4443377"/>
                  <a:pt x="576151" y="4443377"/>
                </a:cubicBezTo>
                <a:close/>
                <a:moveTo>
                  <a:pt x="3455262" y="4440405"/>
                </a:moveTo>
                <a:cubicBezTo>
                  <a:pt x="3461208" y="4440405"/>
                  <a:pt x="3466000" y="4445195"/>
                  <a:pt x="3466000" y="4451141"/>
                </a:cubicBezTo>
                <a:cubicBezTo>
                  <a:pt x="3466000" y="4457088"/>
                  <a:pt x="3461208" y="4461877"/>
                  <a:pt x="3455262" y="4461877"/>
                </a:cubicBezTo>
                <a:cubicBezTo>
                  <a:pt x="3449315" y="4461877"/>
                  <a:pt x="3444525" y="4457088"/>
                  <a:pt x="3444525" y="4451141"/>
                </a:cubicBezTo>
                <a:cubicBezTo>
                  <a:pt x="3444525" y="4445195"/>
                  <a:pt x="3449315" y="4440405"/>
                  <a:pt x="3455262" y="4440405"/>
                </a:cubicBezTo>
                <a:close/>
                <a:moveTo>
                  <a:pt x="1501331" y="4430659"/>
                </a:moveTo>
                <a:cubicBezTo>
                  <a:pt x="1507277" y="4430659"/>
                  <a:pt x="1512069" y="4435448"/>
                  <a:pt x="1512069" y="4441395"/>
                </a:cubicBezTo>
                <a:cubicBezTo>
                  <a:pt x="1512069" y="4447341"/>
                  <a:pt x="1507277" y="4452131"/>
                  <a:pt x="1501331" y="4452131"/>
                </a:cubicBezTo>
                <a:cubicBezTo>
                  <a:pt x="1495384" y="4452131"/>
                  <a:pt x="1490594" y="4447341"/>
                  <a:pt x="1490594" y="4441395"/>
                </a:cubicBezTo>
                <a:cubicBezTo>
                  <a:pt x="1490594" y="4435448"/>
                  <a:pt x="1495384" y="4430659"/>
                  <a:pt x="1501331" y="4430659"/>
                </a:cubicBezTo>
                <a:close/>
                <a:moveTo>
                  <a:pt x="2232589" y="4430494"/>
                </a:moveTo>
                <a:cubicBezTo>
                  <a:pt x="2238535" y="4430494"/>
                  <a:pt x="2243327" y="4435284"/>
                  <a:pt x="2243327" y="4441230"/>
                </a:cubicBezTo>
                <a:cubicBezTo>
                  <a:pt x="2243327" y="4447177"/>
                  <a:pt x="2238535" y="4451968"/>
                  <a:pt x="2232589" y="4451968"/>
                </a:cubicBezTo>
                <a:cubicBezTo>
                  <a:pt x="2226642" y="4451968"/>
                  <a:pt x="2221852" y="4447177"/>
                  <a:pt x="2221852" y="4441230"/>
                </a:cubicBezTo>
                <a:cubicBezTo>
                  <a:pt x="2221852" y="4435284"/>
                  <a:pt x="2226642" y="4430494"/>
                  <a:pt x="2232589" y="4430494"/>
                </a:cubicBezTo>
                <a:close/>
                <a:moveTo>
                  <a:pt x="601589" y="4426859"/>
                </a:moveTo>
                <a:cubicBezTo>
                  <a:pt x="607536" y="4426859"/>
                  <a:pt x="612326" y="4431649"/>
                  <a:pt x="612326" y="4437595"/>
                </a:cubicBezTo>
                <a:cubicBezTo>
                  <a:pt x="612326" y="4443542"/>
                  <a:pt x="607536" y="4448333"/>
                  <a:pt x="601589" y="4448333"/>
                </a:cubicBezTo>
                <a:cubicBezTo>
                  <a:pt x="595643" y="4448333"/>
                  <a:pt x="590853" y="4443542"/>
                  <a:pt x="590853" y="4437595"/>
                </a:cubicBezTo>
                <a:cubicBezTo>
                  <a:pt x="590853" y="4431649"/>
                  <a:pt x="595643" y="4426859"/>
                  <a:pt x="601589" y="4426859"/>
                </a:cubicBezTo>
                <a:close/>
                <a:moveTo>
                  <a:pt x="898585" y="4424712"/>
                </a:moveTo>
                <a:cubicBezTo>
                  <a:pt x="904531" y="4424712"/>
                  <a:pt x="909321" y="4429502"/>
                  <a:pt x="909321" y="4435448"/>
                </a:cubicBezTo>
                <a:cubicBezTo>
                  <a:pt x="909321" y="4441395"/>
                  <a:pt x="904531" y="4446187"/>
                  <a:pt x="898585" y="4446187"/>
                </a:cubicBezTo>
                <a:cubicBezTo>
                  <a:pt x="892638" y="4446187"/>
                  <a:pt x="887848" y="4441395"/>
                  <a:pt x="887848" y="4435448"/>
                </a:cubicBezTo>
                <a:cubicBezTo>
                  <a:pt x="887848" y="4429502"/>
                  <a:pt x="892638" y="4424712"/>
                  <a:pt x="898585" y="4424712"/>
                </a:cubicBezTo>
                <a:close/>
                <a:moveTo>
                  <a:pt x="747278" y="4419262"/>
                </a:moveTo>
                <a:cubicBezTo>
                  <a:pt x="753225" y="4419262"/>
                  <a:pt x="758015" y="4424051"/>
                  <a:pt x="758015" y="4429998"/>
                </a:cubicBezTo>
                <a:cubicBezTo>
                  <a:pt x="758015" y="4435944"/>
                  <a:pt x="753225" y="4440734"/>
                  <a:pt x="747278" y="4440734"/>
                </a:cubicBezTo>
                <a:cubicBezTo>
                  <a:pt x="741332" y="4440734"/>
                  <a:pt x="736542" y="4435944"/>
                  <a:pt x="736542" y="4429998"/>
                </a:cubicBezTo>
                <a:cubicBezTo>
                  <a:pt x="736542" y="4424051"/>
                  <a:pt x="741332" y="4419262"/>
                  <a:pt x="747278" y="4419262"/>
                </a:cubicBezTo>
                <a:close/>
                <a:moveTo>
                  <a:pt x="1099941" y="4416948"/>
                </a:moveTo>
                <a:cubicBezTo>
                  <a:pt x="1105888" y="4416948"/>
                  <a:pt x="1110677" y="4421738"/>
                  <a:pt x="1110677" y="4427684"/>
                </a:cubicBezTo>
                <a:cubicBezTo>
                  <a:pt x="1110677" y="4433631"/>
                  <a:pt x="1105888" y="4438421"/>
                  <a:pt x="1099941" y="4438421"/>
                </a:cubicBezTo>
                <a:cubicBezTo>
                  <a:pt x="1093994" y="4438421"/>
                  <a:pt x="1089205" y="4433631"/>
                  <a:pt x="1089205" y="4427684"/>
                </a:cubicBezTo>
                <a:cubicBezTo>
                  <a:pt x="1089205" y="4421738"/>
                  <a:pt x="1093994" y="4416948"/>
                  <a:pt x="1099941" y="4416948"/>
                </a:cubicBezTo>
                <a:close/>
                <a:moveTo>
                  <a:pt x="521146" y="4414140"/>
                </a:moveTo>
                <a:cubicBezTo>
                  <a:pt x="527092" y="4414140"/>
                  <a:pt x="531884" y="4418930"/>
                  <a:pt x="531884" y="4424877"/>
                </a:cubicBezTo>
                <a:cubicBezTo>
                  <a:pt x="531884" y="4430823"/>
                  <a:pt x="527092" y="4435613"/>
                  <a:pt x="521146" y="4435613"/>
                </a:cubicBezTo>
                <a:lnTo>
                  <a:pt x="521062" y="4435532"/>
                </a:lnTo>
                <a:lnTo>
                  <a:pt x="514374" y="4442220"/>
                </a:lnTo>
                <a:lnTo>
                  <a:pt x="514538" y="4442385"/>
                </a:lnTo>
                <a:lnTo>
                  <a:pt x="508509" y="4448415"/>
                </a:lnTo>
                <a:lnTo>
                  <a:pt x="508921" y="4448828"/>
                </a:lnTo>
                <a:lnTo>
                  <a:pt x="503223" y="4454526"/>
                </a:lnTo>
                <a:lnTo>
                  <a:pt x="503471" y="4454774"/>
                </a:lnTo>
                <a:lnTo>
                  <a:pt x="497360" y="4460885"/>
                </a:lnTo>
                <a:lnTo>
                  <a:pt x="497361" y="4460885"/>
                </a:lnTo>
                <a:cubicBezTo>
                  <a:pt x="497361" y="4466832"/>
                  <a:pt x="492570" y="4471624"/>
                  <a:pt x="486623" y="4471624"/>
                </a:cubicBezTo>
                <a:lnTo>
                  <a:pt x="486292" y="4471292"/>
                </a:lnTo>
                <a:lnTo>
                  <a:pt x="478859" y="4478727"/>
                </a:lnTo>
                <a:lnTo>
                  <a:pt x="476959" y="4476828"/>
                </a:lnTo>
                <a:lnTo>
                  <a:pt x="468784" y="4485003"/>
                </a:lnTo>
                <a:cubicBezTo>
                  <a:pt x="463994" y="4485003"/>
                  <a:pt x="460030" y="4481038"/>
                  <a:pt x="460030" y="4476249"/>
                </a:cubicBezTo>
                <a:lnTo>
                  <a:pt x="468206" y="4468072"/>
                </a:lnTo>
                <a:lnTo>
                  <a:pt x="468123" y="4467989"/>
                </a:lnTo>
                <a:cubicBezTo>
                  <a:pt x="468123" y="4462042"/>
                  <a:pt x="472913" y="4457252"/>
                  <a:pt x="478859" y="4457252"/>
                </a:cubicBezTo>
                <a:lnTo>
                  <a:pt x="479189" y="4457584"/>
                </a:lnTo>
                <a:lnTo>
                  <a:pt x="481998" y="4454774"/>
                </a:lnTo>
                <a:lnTo>
                  <a:pt x="487697" y="4449076"/>
                </a:lnTo>
                <a:lnTo>
                  <a:pt x="487449" y="4448828"/>
                </a:lnTo>
                <a:lnTo>
                  <a:pt x="493478" y="4442798"/>
                </a:lnTo>
                <a:lnTo>
                  <a:pt x="493066" y="4442385"/>
                </a:lnTo>
                <a:lnTo>
                  <a:pt x="500498" y="4434952"/>
                </a:lnTo>
                <a:lnTo>
                  <a:pt x="500334" y="4434788"/>
                </a:lnTo>
                <a:cubicBezTo>
                  <a:pt x="500334" y="4428841"/>
                  <a:pt x="505124" y="4424051"/>
                  <a:pt x="511070" y="4424051"/>
                </a:cubicBezTo>
                <a:lnTo>
                  <a:pt x="511152" y="4424135"/>
                </a:lnTo>
                <a:close/>
                <a:moveTo>
                  <a:pt x="2043457" y="4405220"/>
                </a:moveTo>
                <a:cubicBezTo>
                  <a:pt x="2049403" y="4405220"/>
                  <a:pt x="2054195" y="4410010"/>
                  <a:pt x="2054195" y="4415956"/>
                </a:cubicBezTo>
                <a:cubicBezTo>
                  <a:pt x="2054195" y="4421903"/>
                  <a:pt x="2049403" y="4426694"/>
                  <a:pt x="2043457" y="4426694"/>
                </a:cubicBezTo>
                <a:cubicBezTo>
                  <a:pt x="2037510" y="4426694"/>
                  <a:pt x="2032720" y="4421903"/>
                  <a:pt x="2032720" y="4415956"/>
                </a:cubicBezTo>
                <a:cubicBezTo>
                  <a:pt x="2032720" y="4410010"/>
                  <a:pt x="2037510" y="4405220"/>
                  <a:pt x="2043457" y="4405220"/>
                </a:cubicBezTo>
                <a:close/>
                <a:moveTo>
                  <a:pt x="635782" y="4404726"/>
                </a:moveTo>
                <a:cubicBezTo>
                  <a:pt x="641729" y="4404726"/>
                  <a:pt x="646519" y="4409515"/>
                  <a:pt x="646519" y="4415462"/>
                </a:cubicBezTo>
                <a:cubicBezTo>
                  <a:pt x="646519" y="4421408"/>
                  <a:pt x="641729" y="4426200"/>
                  <a:pt x="635782" y="4426200"/>
                </a:cubicBezTo>
                <a:cubicBezTo>
                  <a:pt x="629836" y="4426200"/>
                  <a:pt x="625046" y="4421408"/>
                  <a:pt x="625046" y="4415462"/>
                </a:cubicBezTo>
                <a:cubicBezTo>
                  <a:pt x="625046" y="4409515"/>
                  <a:pt x="629836" y="4404726"/>
                  <a:pt x="635782" y="4404726"/>
                </a:cubicBezTo>
                <a:close/>
                <a:moveTo>
                  <a:pt x="535352" y="4401257"/>
                </a:moveTo>
                <a:cubicBezTo>
                  <a:pt x="541299" y="4401257"/>
                  <a:pt x="546090" y="4406047"/>
                  <a:pt x="546090" y="4411994"/>
                </a:cubicBezTo>
                <a:cubicBezTo>
                  <a:pt x="546090" y="4417940"/>
                  <a:pt x="541299" y="4422730"/>
                  <a:pt x="535352" y="4422730"/>
                </a:cubicBezTo>
                <a:cubicBezTo>
                  <a:pt x="529406" y="4422730"/>
                  <a:pt x="524616" y="4417940"/>
                  <a:pt x="524616" y="4411994"/>
                </a:cubicBezTo>
                <a:cubicBezTo>
                  <a:pt x="524616" y="4406047"/>
                  <a:pt x="529406" y="4401257"/>
                  <a:pt x="535352" y="4401257"/>
                </a:cubicBezTo>
                <a:close/>
                <a:moveTo>
                  <a:pt x="1361753" y="4391511"/>
                </a:moveTo>
                <a:cubicBezTo>
                  <a:pt x="1367700" y="4391511"/>
                  <a:pt x="1372489" y="4396301"/>
                  <a:pt x="1372489" y="4402247"/>
                </a:cubicBezTo>
                <a:cubicBezTo>
                  <a:pt x="1372489" y="4408194"/>
                  <a:pt x="1367700" y="4412984"/>
                  <a:pt x="1361753" y="4412984"/>
                </a:cubicBezTo>
                <a:cubicBezTo>
                  <a:pt x="1355806" y="4412984"/>
                  <a:pt x="1351017" y="4408194"/>
                  <a:pt x="1351017" y="4402247"/>
                </a:cubicBezTo>
                <a:cubicBezTo>
                  <a:pt x="1351017" y="4396301"/>
                  <a:pt x="1355806" y="4391511"/>
                  <a:pt x="1361753" y="4391511"/>
                </a:cubicBezTo>
                <a:close/>
                <a:moveTo>
                  <a:pt x="555503" y="4384077"/>
                </a:moveTo>
                <a:cubicBezTo>
                  <a:pt x="561450" y="4384077"/>
                  <a:pt x="566240" y="4388866"/>
                  <a:pt x="566240" y="4394813"/>
                </a:cubicBezTo>
                <a:cubicBezTo>
                  <a:pt x="566240" y="4400759"/>
                  <a:pt x="561450" y="4405551"/>
                  <a:pt x="555503" y="4405551"/>
                </a:cubicBezTo>
                <a:cubicBezTo>
                  <a:pt x="549557" y="4405551"/>
                  <a:pt x="544767" y="4400759"/>
                  <a:pt x="544767" y="4394813"/>
                </a:cubicBezTo>
                <a:cubicBezTo>
                  <a:pt x="544767" y="4388866"/>
                  <a:pt x="549557" y="4384077"/>
                  <a:pt x="555503" y="4384077"/>
                </a:cubicBezTo>
                <a:close/>
                <a:moveTo>
                  <a:pt x="403538" y="4382922"/>
                </a:moveTo>
                <a:cubicBezTo>
                  <a:pt x="403703" y="4382922"/>
                  <a:pt x="403868" y="4383086"/>
                  <a:pt x="403868" y="4383253"/>
                </a:cubicBezTo>
                <a:cubicBezTo>
                  <a:pt x="403868" y="4383418"/>
                  <a:pt x="403538" y="4383582"/>
                  <a:pt x="403538" y="4383582"/>
                </a:cubicBezTo>
                <a:cubicBezTo>
                  <a:pt x="403372" y="4383582"/>
                  <a:pt x="403207" y="4383418"/>
                  <a:pt x="403207" y="4383253"/>
                </a:cubicBezTo>
                <a:cubicBezTo>
                  <a:pt x="403207" y="4383086"/>
                  <a:pt x="403372" y="4382922"/>
                  <a:pt x="403538" y="4382922"/>
                </a:cubicBezTo>
                <a:close/>
                <a:moveTo>
                  <a:pt x="815004" y="4380608"/>
                </a:moveTo>
                <a:cubicBezTo>
                  <a:pt x="820950" y="4380608"/>
                  <a:pt x="825742" y="4385398"/>
                  <a:pt x="825742" y="4391345"/>
                </a:cubicBezTo>
                <a:cubicBezTo>
                  <a:pt x="825742" y="4397291"/>
                  <a:pt x="820950" y="4402081"/>
                  <a:pt x="815004" y="4402081"/>
                </a:cubicBezTo>
                <a:cubicBezTo>
                  <a:pt x="809057" y="4402081"/>
                  <a:pt x="804267" y="4397291"/>
                  <a:pt x="804267" y="4391345"/>
                </a:cubicBezTo>
                <a:cubicBezTo>
                  <a:pt x="804267" y="4385398"/>
                  <a:pt x="809057" y="4380608"/>
                  <a:pt x="815004" y="4380608"/>
                </a:cubicBezTo>
                <a:close/>
                <a:moveTo>
                  <a:pt x="1864069" y="4375489"/>
                </a:moveTo>
                <a:cubicBezTo>
                  <a:pt x="1870015" y="4375489"/>
                  <a:pt x="1874807" y="4380279"/>
                  <a:pt x="1874807" y="4386225"/>
                </a:cubicBezTo>
                <a:cubicBezTo>
                  <a:pt x="1874807" y="4392172"/>
                  <a:pt x="1870015" y="4396962"/>
                  <a:pt x="1864069" y="4396962"/>
                </a:cubicBezTo>
                <a:cubicBezTo>
                  <a:pt x="1858122" y="4396962"/>
                  <a:pt x="1853332" y="4392172"/>
                  <a:pt x="1853332" y="4386225"/>
                </a:cubicBezTo>
                <a:cubicBezTo>
                  <a:pt x="1853332" y="4380279"/>
                  <a:pt x="1858122" y="4375489"/>
                  <a:pt x="1864069" y="4375489"/>
                </a:cubicBezTo>
                <a:close/>
                <a:moveTo>
                  <a:pt x="680876" y="4375322"/>
                </a:moveTo>
                <a:cubicBezTo>
                  <a:pt x="686823" y="4375322"/>
                  <a:pt x="691613" y="4380112"/>
                  <a:pt x="691613" y="4386059"/>
                </a:cubicBezTo>
                <a:cubicBezTo>
                  <a:pt x="691613" y="4392005"/>
                  <a:pt x="686823" y="4396797"/>
                  <a:pt x="680876" y="4396797"/>
                </a:cubicBezTo>
                <a:cubicBezTo>
                  <a:pt x="674930" y="4396797"/>
                  <a:pt x="670140" y="4392005"/>
                  <a:pt x="670140" y="4386059"/>
                </a:cubicBezTo>
                <a:cubicBezTo>
                  <a:pt x="670140" y="4380112"/>
                  <a:pt x="674930" y="4375322"/>
                  <a:pt x="680876" y="4375322"/>
                </a:cubicBezTo>
                <a:close/>
                <a:moveTo>
                  <a:pt x="487780" y="4374332"/>
                </a:moveTo>
                <a:cubicBezTo>
                  <a:pt x="493711" y="4374332"/>
                  <a:pt x="498518" y="4379139"/>
                  <a:pt x="498518" y="4385069"/>
                </a:cubicBezTo>
                <a:lnTo>
                  <a:pt x="489348" y="4394237"/>
                </a:lnTo>
                <a:lnTo>
                  <a:pt x="491413" y="4396301"/>
                </a:lnTo>
                <a:lnTo>
                  <a:pt x="484393" y="4403323"/>
                </a:lnTo>
                <a:lnTo>
                  <a:pt x="486458" y="4405386"/>
                </a:lnTo>
                <a:lnTo>
                  <a:pt x="480264" y="4411581"/>
                </a:lnTo>
                <a:lnTo>
                  <a:pt x="482165" y="4413480"/>
                </a:lnTo>
                <a:lnTo>
                  <a:pt x="475968" y="4419674"/>
                </a:lnTo>
                <a:lnTo>
                  <a:pt x="477538" y="4421244"/>
                </a:lnTo>
                <a:lnTo>
                  <a:pt x="470599" y="4428182"/>
                </a:lnTo>
                <a:lnTo>
                  <a:pt x="471756" y="4429337"/>
                </a:lnTo>
                <a:lnTo>
                  <a:pt x="463331" y="4437764"/>
                </a:lnTo>
                <a:lnTo>
                  <a:pt x="463992" y="4438423"/>
                </a:lnTo>
                <a:cubicBezTo>
                  <a:pt x="463992" y="4444369"/>
                  <a:pt x="459202" y="4449159"/>
                  <a:pt x="453256" y="4449159"/>
                </a:cubicBezTo>
                <a:cubicBezTo>
                  <a:pt x="447309" y="4449159"/>
                  <a:pt x="442519" y="4444369"/>
                  <a:pt x="442519" y="4438423"/>
                </a:cubicBezTo>
                <a:lnTo>
                  <a:pt x="450944" y="4429998"/>
                </a:lnTo>
                <a:lnTo>
                  <a:pt x="450283" y="4429337"/>
                </a:lnTo>
                <a:lnTo>
                  <a:pt x="457220" y="4422400"/>
                </a:lnTo>
                <a:lnTo>
                  <a:pt x="456065" y="4421244"/>
                </a:lnTo>
                <a:lnTo>
                  <a:pt x="462260" y="4415049"/>
                </a:lnTo>
                <a:lnTo>
                  <a:pt x="460690" y="4413480"/>
                </a:lnTo>
                <a:lnTo>
                  <a:pt x="466883" y="4407287"/>
                </a:lnTo>
                <a:lnTo>
                  <a:pt x="464984" y="4405386"/>
                </a:lnTo>
                <a:lnTo>
                  <a:pt x="472004" y="4398366"/>
                </a:lnTo>
                <a:lnTo>
                  <a:pt x="469940" y="4396301"/>
                </a:lnTo>
                <a:lnTo>
                  <a:pt x="479107" y="4387134"/>
                </a:lnTo>
                <a:lnTo>
                  <a:pt x="477044" y="4385069"/>
                </a:lnTo>
                <a:cubicBezTo>
                  <a:pt x="477044" y="4379139"/>
                  <a:pt x="481851" y="4374332"/>
                  <a:pt x="487780" y="4374332"/>
                </a:cubicBezTo>
                <a:close/>
                <a:moveTo>
                  <a:pt x="995382" y="4374001"/>
                </a:moveTo>
                <a:cubicBezTo>
                  <a:pt x="1001328" y="4374001"/>
                  <a:pt x="1006118" y="4378791"/>
                  <a:pt x="1006118" y="4384737"/>
                </a:cubicBezTo>
                <a:cubicBezTo>
                  <a:pt x="1006118" y="4390684"/>
                  <a:pt x="1001328" y="4395474"/>
                  <a:pt x="995382" y="4395474"/>
                </a:cubicBezTo>
                <a:cubicBezTo>
                  <a:pt x="989435" y="4395474"/>
                  <a:pt x="984645" y="4390684"/>
                  <a:pt x="984645" y="4384737"/>
                </a:cubicBezTo>
                <a:cubicBezTo>
                  <a:pt x="984645" y="4378791"/>
                  <a:pt x="989435" y="4374001"/>
                  <a:pt x="995382" y="4374001"/>
                </a:cubicBezTo>
                <a:close/>
                <a:moveTo>
                  <a:pt x="583254" y="4361447"/>
                </a:moveTo>
                <a:cubicBezTo>
                  <a:pt x="589200" y="4361447"/>
                  <a:pt x="593990" y="4366237"/>
                  <a:pt x="593990" y="4372184"/>
                </a:cubicBezTo>
                <a:cubicBezTo>
                  <a:pt x="593990" y="4378130"/>
                  <a:pt x="589200" y="4382920"/>
                  <a:pt x="583254" y="4382920"/>
                </a:cubicBezTo>
                <a:cubicBezTo>
                  <a:pt x="577307" y="4382920"/>
                  <a:pt x="572518" y="4378130"/>
                  <a:pt x="572518" y="4372184"/>
                </a:cubicBezTo>
                <a:cubicBezTo>
                  <a:pt x="572518" y="4366237"/>
                  <a:pt x="577307" y="4361447"/>
                  <a:pt x="583254" y="4361447"/>
                </a:cubicBezTo>
                <a:close/>
                <a:moveTo>
                  <a:pt x="498352" y="4360457"/>
                </a:moveTo>
                <a:cubicBezTo>
                  <a:pt x="504298" y="4360457"/>
                  <a:pt x="509088" y="4365247"/>
                  <a:pt x="509088" y="4371193"/>
                </a:cubicBezTo>
                <a:cubicBezTo>
                  <a:pt x="509088" y="4377140"/>
                  <a:pt x="504298" y="4381930"/>
                  <a:pt x="498352" y="4381930"/>
                </a:cubicBezTo>
                <a:cubicBezTo>
                  <a:pt x="492405" y="4381930"/>
                  <a:pt x="487615" y="4377140"/>
                  <a:pt x="487615" y="4371193"/>
                </a:cubicBezTo>
                <a:cubicBezTo>
                  <a:pt x="487615" y="4365247"/>
                  <a:pt x="492405" y="4360457"/>
                  <a:pt x="498352" y="4360457"/>
                </a:cubicBezTo>
                <a:close/>
                <a:moveTo>
                  <a:pt x="1232582" y="4351207"/>
                </a:moveTo>
                <a:cubicBezTo>
                  <a:pt x="1238528" y="4351207"/>
                  <a:pt x="1243318" y="4355997"/>
                  <a:pt x="1243318" y="4361943"/>
                </a:cubicBezTo>
                <a:cubicBezTo>
                  <a:pt x="1243318" y="4367890"/>
                  <a:pt x="1238528" y="4372680"/>
                  <a:pt x="1232582" y="4372680"/>
                </a:cubicBezTo>
                <a:cubicBezTo>
                  <a:pt x="1226636" y="4372680"/>
                  <a:pt x="1221846" y="4367890"/>
                  <a:pt x="1221846" y="4361943"/>
                </a:cubicBezTo>
                <a:cubicBezTo>
                  <a:pt x="1221846" y="4355997"/>
                  <a:pt x="1226636" y="4351207"/>
                  <a:pt x="1232582" y="4351207"/>
                </a:cubicBezTo>
                <a:close/>
                <a:moveTo>
                  <a:pt x="513713" y="4342453"/>
                </a:moveTo>
                <a:cubicBezTo>
                  <a:pt x="519660" y="4342453"/>
                  <a:pt x="524449" y="4347242"/>
                  <a:pt x="524449" y="4353189"/>
                </a:cubicBezTo>
                <a:cubicBezTo>
                  <a:pt x="524449" y="4359136"/>
                  <a:pt x="519660" y="4363925"/>
                  <a:pt x="513713" y="4363925"/>
                </a:cubicBezTo>
                <a:cubicBezTo>
                  <a:pt x="507766" y="4363925"/>
                  <a:pt x="502977" y="4359136"/>
                  <a:pt x="502977" y="4353189"/>
                </a:cubicBezTo>
                <a:cubicBezTo>
                  <a:pt x="502977" y="4347242"/>
                  <a:pt x="507766" y="4342453"/>
                  <a:pt x="513713" y="4342453"/>
                </a:cubicBezTo>
                <a:close/>
                <a:moveTo>
                  <a:pt x="1695419" y="4342286"/>
                </a:moveTo>
                <a:cubicBezTo>
                  <a:pt x="1701366" y="4342286"/>
                  <a:pt x="1706157" y="4347076"/>
                  <a:pt x="1706157" y="4353023"/>
                </a:cubicBezTo>
                <a:cubicBezTo>
                  <a:pt x="1706157" y="4358969"/>
                  <a:pt x="1701366" y="4363761"/>
                  <a:pt x="1695419" y="4363761"/>
                </a:cubicBezTo>
                <a:cubicBezTo>
                  <a:pt x="1689473" y="4363761"/>
                  <a:pt x="1684683" y="4358969"/>
                  <a:pt x="1684683" y="4353023"/>
                </a:cubicBezTo>
                <a:cubicBezTo>
                  <a:pt x="1684683" y="4347076"/>
                  <a:pt x="1689473" y="4342286"/>
                  <a:pt x="1695419" y="4342286"/>
                </a:cubicBezTo>
                <a:close/>
                <a:moveTo>
                  <a:pt x="739020" y="4337165"/>
                </a:moveTo>
                <a:cubicBezTo>
                  <a:pt x="744967" y="4337165"/>
                  <a:pt x="749757" y="4341955"/>
                  <a:pt x="749757" y="4347901"/>
                </a:cubicBezTo>
                <a:cubicBezTo>
                  <a:pt x="749757" y="4353848"/>
                  <a:pt x="744967" y="4358638"/>
                  <a:pt x="739020" y="4358638"/>
                </a:cubicBezTo>
                <a:cubicBezTo>
                  <a:pt x="733074" y="4358638"/>
                  <a:pt x="728284" y="4353848"/>
                  <a:pt x="728284" y="4347901"/>
                </a:cubicBezTo>
                <a:cubicBezTo>
                  <a:pt x="728284" y="4341955"/>
                  <a:pt x="733074" y="4337165"/>
                  <a:pt x="739020" y="4337165"/>
                </a:cubicBezTo>
                <a:close/>
                <a:moveTo>
                  <a:pt x="457387" y="4336010"/>
                </a:moveTo>
                <a:cubicBezTo>
                  <a:pt x="463333" y="4336010"/>
                  <a:pt x="468123" y="4340800"/>
                  <a:pt x="468123" y="4346747"/>
                </a:cubicBezTo>
                <a:lnTo>
                  <a:pt x="459617" y="4355254"/>
                </a:lnTo>
                <a:lnTo>
                  <a:pt x="463498" y="4359134"/>
                </a:lnTo>
                <a:lnTo>
                  <a:pt x="456476" y="4366156"/>
                </a:lnTo>
                <a:lnTo>
                  <a:pt x="460194" y="4369872"/>
                </a:lnTo>
                <a:lnTo>
                  <a:pt x="453668" y="4376396"/>
                </a:lnTo>
                <a:lnTo>
                  <a:pt x="456891" y="4379618"/>
                </a:lnTo>
                <a:lnTo>
                  <a:pt x="450119" y="4386390"/>
                </a:lnTo>
                <a:lnTo>
                  <a:pt x="452926" y="4389198"/>
                </a:lnTo>
                <a:lnTo>
                  <a:pt x="445079" y="4397045"/>
                </a:lnTo>
                <a:lnTo>
                  <a:pt x="447144" y="4399109"/>
                </a:lnTo>
                <a:lnTo>
                  <a:pt x="436902" y="4409351"/>
                </a:lnTo>
                <a:lnTo>
                  <a:pt x="437563" y="4410011"/>
                </a:lnTo>
                <a:cubicBezTo>
                  <a:pt x="437563" y="4415212"/>
                  <a:pt x="433349" y="4419428"/>
                  <a:pt x="428148" y="4419428"/>
                </a:cubicBezTo>
                <a:cubicBezTo>
                  <a:pt x="422949" y="4419428"/>
                  <a:pt x="418733" y="4415212"/>
                  <a:pt x="418733" y="4410011"/>
                </a:cubicBezTo>
                <a:lnTo>
                  <a:pt x="427654" y="4401091"/>
                </a:lnTo>
                <a:lnTo>
                  <a:pt x="425672" y="4399109"/>
                </a:lnTo>
                <a:lnTo>
                  <a:pt x="433517" y="4391263"/>
                </a:lnTo>
                <a:lnTo>
                  <a:pt x="431454" y="4389198"/>
                </a:lnTo>
                <a:lnTo>
                  <a:pt x="438226" y="4382426"/>
                </a:lnTo>
                <a:lnTo>
                  <a:pt x="435418" y="4379618"/>
                </a:lnTo>
                <a:lnTo>
                  <a:pt x="441942" y="4373094"/>
                </a:lnTo>
                <a:lnTo>
                  <a:pt x="438720" y="4369872"/>
                </a:lnTo>
                <a:lnTo>
                  <a:pt x="445742" y="4362850"/>
                </a:lnTo>
                <a:lnTo>
                  <a:pt x="442025" y="4359134"/>
                </a:lnTo>
                <a:lnTo>
                  <a:pt x="450531" y="4350628"/>
                </a:lnTo>
                <a:lnTo>
                  <a:pt x="446650" y="4346747"/>
                </a:lnTo>
                <a:cubicBezTo>
                  <a:pt x="446650" y="4340800"/>
                  <a:pt x="451440" y="4336010"/>
                  <a:pt x="457387" y="4336010"/>
                </a:cubicBezTo>
                <a:close/>
                <a:moveTo>
                  <a:pt x="620750" y="4332046"/>
                </a:moveTo>
                <a:cubicBezTo>
                  <a:pt x="626697" y="4332046"/>
                  <a:pt x="631487" y="4336836"/>
                  <a:pt x="631487" y="4342782"/>
                </a:cubicBezTo>
                <a:cubicBezTo>
                  <a:pt x="631487" y="4348729"/>
                  <a:pt x="626697" y="4353519"/>
                  <a:pt x="620750" y="4353519"/>
                </a:cubicBezTo>
                <a:cubicBezTo>
                  <a:pt x="614804" y="4353519"/>
                  <a:pt x="610014" y="4348729"/>
                  <a:pt x="610014" y="4342782"/>
                </a:cubicBezTo>
                <a:cubicBezTo>
                  <a:pt x="610014" y="4336836"/>
                  <a:pt x="614804" y="4332046"/>
                  <a:pt x="620750" y="4332046"/>
                </a:cubicBezTo>
                <a:close/>
                <a:moveTo>
                  <a:pt x="899906" y="4331220"/>
                </a:moveTo>
                <a:cubicBezTo>
                  <a:pt x="905853" y="4331220"/>
                  <a:pt x="910642" y="4336010"/>
                  <a:pt x="910642" y="4341957"/>
                </a:cubicBezTo>
                <a:cubicBezTo>
                  <a:pt x="910642" y="4347903"/>
                  <a:pt x="905853" y="4352693"/>
                  <a:pt x="899906" y="4352693"/>
                </a:cubicBezTo>
                <a:cubicBezTo>
                  <a:pt x="893960" y="4352693"/>
                  <a:pt x="889170" y="4347903"/>
                  <a:pt x="889170" y="4341957"/>
                </a:cubicBezTo>
                <a:cubicBezTo>
                  <a:pt x="889170" y="4336010"/>
                  <a:pt x="893960" y="4331220"/>
                  <a:pt x="899906" y="4331220"/>
                </a:cubicBezTo>
                <a:close/>
                <a:moveTo>
                  <a:pt x="464653" y="4320978"/>
                </a:moveTo>
                <a:cubicBezTo>
                  <a:pt x="470599" y="4320978"/>
                  <a:pt x="475391" y="4325768"/>
                  <a:pt x="475391" y="4331715"/>
                </a:cubicBezTo>
                <a:cubicBezTo>
                  <a:pt x="475391" y="4337661"/>
                  <a:pt x="470599" y="4342453"/>
                  <a:pt x="464653" y="4342453"/>
                </a:cubicBezTo>
                <a:cubicBezTo>
                  <a:pt x="458706" y="4342453"/>
                  <a:pt x="453916" y="4337661"/>
                  <a:pt x="453916" y="4331715"/>
                </a:cubicBezTo>
                <a:cubicBezTo>
                  <a:pt x="453916" y="4325768"/>
                  <a:pt x="458706" y="4320978"/>
                  <a:pt x="464653" y="4320978"/>
                </a:cubicBezTo>
                <a:close/>
                <a:moveTo>
                  <a:pt x="535846" y="4319492"/>
                </a:moveTo>
                <a:cubicBezTo>
                  <a:pt x="541793" y="4319492"/>
                  <a:pt x="546583" y="4324282"/>
                  <a:pt x="546583" y="4330228"/>
                </a:cubicBezTo>
                <a:cubicBezTo>
                  <a:pt x="546583" y="4336175"/>
                  <a:pt x="541793" y="4340966"/>
                  <a:pt x="535846" y="4340966"/>
                </a:cubicBezTo>
                <a:cubicBezTo>
                  <a:pt x="529900" y="4340966"/>
                  <a:pt x="525110" y="4336175"/>
                  <a:pt x="525110" y="4330228"/>
                </a:cubicBezTo>
                <a:cubicBezTo>
                  <a:pt x="525110" y="4324282"/>
                  <a:pt x="529900" y="4319492"/>
                  <a:pt x="535846" y="4319492"/>
                </a:cubicBezTo>
                <a:close/>
                <a:moveTo>
                  <a:pt x="365711" y="4316022"/>
                </a:moveTo>
                <a:cubicBezTo>
                  <a:pt x="365875" y="4316022"/>
                  <a:pt x="366205" y="4316351"/>
                  <a:pt x="366205" y="4316518"/>
                </a:cubicBezTo>
                <a:cubicBezTo>
                  <a:pt x="366205" y="4316683"/>
                  <a:pt x="365711" y="4317012"/>
                  <a:pt x="365711" y="4317012"/>
                </a:cubicBezTo>
                <a:cubicBezTo>
                  <a:pt x="365544" y="4317012"/>
                  <a:pt x="365215" y="4316683"/>
                  <a:pt x="365215" y="4316518"/>
                </a:cubicBezTo>
                <a:cubicBezTo>
                  <a:pt x="365215" y="4316351"/>
                  <a:pt x="365544" y="4316022"/>
                  <a:pt x="365711" y="4316022"/>
                </a:cubicBezTo>
                <a:close/>
                <a:moveTo>
                  <a:pt x="2947164" y="4312718"/>
                </a:moveTo>
                <a:cubicBezTo>
                  <a:pt x="2953110" y="4312718"/>
                  <a:pt x="2957902" y="4317508"/>
                  <a:pt x="2957902" y="4323455"/>
                </a:cubicBezTo>
                <a:cubicBezTo>
                  <a:pt x="2957902" y="4329401"/>
                  <a:pt x="2953110" y="4334193"/>
                  <a:pt x="2947164" y="4334193"/>
                </a:cubicBezTo>
                <a:cubicBezTo>
                  <a:pt x="2941218" y="4334193"/>
                  <a:pt x="2936428" y="4329401"/>
                  <a:pt x="2936428" y="4323455"/>
                </a:cubicBezTo>
                <a:cubicBezTo>
                  <a:pt x="2936428" y="4317508"/>
                  <a:pt x="2941218" y="4312718"/>
                  <a:pt x="2947164" y="4312718"/>
                </a:cubicBezTo>
                <a:close/>
                <a:moveTo>
                  <a:pt x="2731107" y="4310903"/>
                </a:moveTo>
                <a:cubicBezTo>
                  <a:pt x="2737053" y="4310903"/>
                  <a:pt x="2741845" y="4315692"/>
                  <a:pt x="2741845" y="4321639"/>
                </a:cubicBezTo>
                <a:cubicBezTo>
                  <a:pt x="2741845" y="4327585"/>
                  <a:pt x="2737053" y="4332375"/>
                  <a:pt x="2731107" y="4332375"/>
                </a:cubicBezTo>
                <a:cubicBezTo>
                  <a:pt x="2725160" y="4332375"/>
                  <a:pt x="2720370" y="4327585"/>
                  <a:pt x="2720370" y="4321639"/>
                </a:cubicBezTo>
                <a:cubicBezTo>
                  <a:pt x="2720370" y="4315692"/>
                  <a:pt x="2725160" y="4310903"/>
                  <a:pt x="2731107" y="4310903"/>
                </a:cubicBezTo>
                <a:close/>
                <a:moveTo>
                  <a:pt x="1113652" y="4310242"/>
                </a:moveTo>
                <a:cubicBezTo>
                  <a:pt x="1119598" y="4310242"/>
                  <a:pt x="1124390" y="4315032"/>
                  <a:pt x="1124390" y="4320978"/>
                </a:cubicBezTo>
                <a:cubicBezTo>
                  <a:pt x="1124390" y="4326925"/>
                  <a:pt x="1119598" y="4331716"/>
                  <a:pt x="1113652" y="4331716"/>
                </a:cubicBezTo>
                <a:cubicBezTo>
                  <a:pt x="1107705" y="4331716"/>
                  <a:pt x="1102915" y="4326925"/>
                  <a:pt x="1102915" y="4320978"/>
                </a:cubicBezTo>
                <a:cubicBezTo>
                  <a:pt x="1102915" y="4315032"/>
                  <a:pt x="1107705" y="4310242"/>
                  <a:pt x="1113652" y="4310242"/>
                </a:cubicBezTo>
                <a:close/>
                <a:moveTo>
                  <a:pt x="1537837" y="4306774"/>
                </a:moveTo>
                <a:cubicBezTo>
                  <a:pt x="1543784" y="4306774"/>
                  <a:pt x="1548575" y="4311563"/>
                  <a:pt x="1548575" y="4317510"/>
                </a:cubicBezTo>
                <a:cubicBezTo>
                  <a:pt x="1548575" y="4323456"/>
                  <a:pt x="1543784" y="4328246"/>
                  <a:pt x="1537837" y="4328246"/>
                </a:cubicBezTo>
                <a:cubicBezTo>
                  <a:pt x="1531890" y="4328246"/>
                  <a:pt x="1527101" y="4323456"/>
                  <a:pt x="1527101" y="4317510"/>
                </a:cubicBezTo>
                <a:cubicBezTo>
                  <a:pt x="1527101" y="4311563"/>
                  <a:pt x="1531890" y="4306774"/>
                  <a:pt x="1537837" y="4306774"/>
                </a:cubicBezTo>
                <a:close/>
                <a:moveTo>
                  <a:pt x="3162229" y="4306607"/>
                </a:moveTo>
                <a:cubicBezTo>
                  <a:pt x="3168176" y="4306607"/>
                  <a:pt x="3172967" y="4311397"/>
                  <a:pt x="3172967" y="4317343"/>
                </a:cubicBezTo>
                <a:cubicBezTo>
                  <a:pt x="3172967" y="4323290"/>
                  <a:pt x="3168176" y="4328081"/>
                  <a:pt x="3162229" y="4328081"/>
                </a:cubicBezTo>
                <a:cubicBezTo>
                  <a:pt x="3156282" y="4328081"/>
                  <a:pt x="3151493" y="4323290"/>
                  <a:pt x="3151493" y="4317343"/>
                </a:cubicBezTo>
                <a:cubicBezTo>
                  <a:pt x="3151493" y="4311397"/>
                  <a:pt x="3156282" y="4306607"/>
                  <a:pt x="3162229" y="4306607"/>
                </a:cubicBezTo>
                <a:close/>
                <a:moveTo>
                  <a:pt x="476052" y="4302148"/>
                </a:moveTo>
                <a:cubicBezTo>
                  <a:pt x="481998" y="4302148"/>
                  <a:pt x="486788" y="4306938"/>
                  <a:pt x="486788" y="4312885"/>
                </a:cubicBezTo>
                <a:cubicBezTo>
                  <a:pt x="486788" y="4318831"/>
                  <a:pt x="481998" y="4323621"/>
                  <a:pt x="476052" y="4323621"/>
                </a:cubicBezTo>
                <a:cubicBezTo>
                  <a:pt x="470105" y="4323621"/>
                  <a:pt x="465315" y="4318831"/>
                  <a:pt x="465315" y="4312885"/>
                </a:cubicBezTo>
                <a:cubicBezTo>
                  <a:pt x="465315" y="4306938"/>
                  <a:pt x="470105" y="4302148"/>
                  <a:pt x="476052" y="4302148"/>
                </a:cubicBezTo>
                <a:close/>
                <a:moveTo>
                  <a:pt x="2517857" y="4301156"/>
                </a:moveTo>
                <a:cubicBezTo>
                  <a:pt x="2523804" y="4301156"/>
                  <a:pt x="2528596" y="4305946"/>
                  <a:pt x="2528596" y="4311893"/>
                </a:cubicBezTo>
                <a:cubicBezTo>
                  <a:pt x="2528596" y="4317839"/>
                  <a:pt x="2523804" y="4322629"/>
                  <a:pt x="2517857" y="4322629"/>
                </a:cubicBezTo>
                <a:cubicBezTo>
                  <a:pt x="2511911" y="4322629"/>
                  <a:pt x="2507121" y="4317839"/>
                  <a:pt x="2507121" y="4311893"/>
                </a:cubicBezTo>
                <a:cubicBezTo>
                  <a:pt x="2507121" y="4305946"/>
                  <a:pt x="2511911" y="4301156"/>
                  <a:pt x="2517857" y="4301156"/>
                </a:cubicBezTo>
                <a:close/>
                <a:moveTo>
                  <a:pt x="669974" y="4294384"/>
                </a:moveTo>
                <a:cubicBezTo>
                  <a:pt x="675920" y="4294384"/>
                  <a:pt x="680710" y="4299174"/>
                  <a:pt x="680710" y="4305121"/>
                </a:cubicBezTo>
                <a:cubicBezTo>
                  <a:pt x="680710" y="4311067"/>
                  <a:pt x="675920" y="4315857"/>
                  <a:pt x="669974" y="4315857"/>
                </a:cubicBezTo>
                <a:cubicBezTo>
                  <a:pt x="664027" y="4315857"/>
                  <a:pt x="659237" y="4311067"/>
                  <a:pt x="659237" y="4305121"/>
                </a:cubicBezTo>
                <a:cubicBezTo>
                  <a:pt x="659237" y="4299174"/>
                  <a:pt x="664027" y="4294384"/>
                  <a:pt x="669974" y="4294384"/>
                </a:cubicBezTo>
                <a:close/>
                <a:moveTo>
                  <a:pt x="3372836" y="4292898"/>
                </a:moveTo>
                <a:cubicBezTo>
                  <a:pt x="3378782" y="4292898"/>
                  <a:pt x="3383574" y="4297688"/>
                  <a:pt x="3383574" y="4303635"/>
                </a:cubicBezTo>
                <a:cubicBezTo>
                  <a:pt x="3383574" y="4309581"/>
                  <a:pt x="3378782" y="4314371"/>
                  <a:pt x="3372836" y="4314371"/>
                </a:cubicBezTo>
                <a:cubicBezTo>
                  <a:pt x="3366889" y="4314371"/>
                  <a:pt x="3362100" y="4309581"/>
                  <a:pt x="3362100" y="4303635"/>
                </a:cubicBezTo>
                <a:cubicBezTo>
                  <a:pt x="3362100" y="4297688"/>
                  <a:pt x="3366889" y="4292898"/>
                  <a:pt x="3372836" y="4292898"/>
                </a:cubicBezTo>
                <a:close/>
                <a:moveTo>
                  <a:pt x="566404" y="4289924"/>
                </a:moveTo>
                <a:cubicBezTo>
                  <a:pt x="572351" y="4289924"/>
                  <a:pt x="577141" y="4294714"/>
                  <a:pt x="577141" y="4300660"/>
                </a:cubicBezTo>
                <a:cubicBezTo>
                  <a:pt x="577141" y="4306607"/>
                  <a:pt x="572351" y="4311397"/>
                  <a:pt x="566404" y="4311397"/>
                </a:cubicBezTo>
                <a:cubicBezTo>
                  <a:pt x="560458" y="4311397"/>
                  <a:pt x="555668" y="4306607"/>
                  <a:pt x="555668" y="4300660"/>
                </a:cubicBezTo>
                <a:cubicBezTo>
                  <a:pt x="555668" y="4294714"/>
                  <a:pt x="560458" y="4289924"/>
                  <a:pt x="566404" y="4289924"/>
                </a:cubicBezTo>
                <a:close/>
                <a:moveTo>
                  <a:pt x="812690" y="4288767"/>
                </a:moveTo>
                <a:cubicBezTo>
                  <a:pt x="818637" y="4288767"/>
                  <a:pt x="823427" y="4293557"/>
                  <a:pt x="823427" y="4299504"/>
                </a:cubicBezTo>
                <a:cubicBezTo>
                  <a:pt x="823427" y="4305450"/>
                  <a:pt x="818637" y="4310240"/>
                  <a:pt x="812690" y="4310240"/>
                </a:cubicBezTo>
                <a:cubicBezTo>
                  <a:pt x="806744" y="4310240"/>
                  <a:pt x="801954" y="4305450"/>
                  <a:pt x="801954" y="4299504"/>
                </a:cubicBezTo>
                <a:cubicBezTo>
                  <a:pt x="801954" y="4293557"/>
                  <a:pt x="806744" y="4288767"/>
                  <a:pt x="812690" y="4288767"/>
                </a:cubicBezTo>
                <a:close/>
                <a:moveTo>
                  <a:pt x="2310390" y="4284307"/>
                </a:moveTo>
                <a:cubicBezTo>
                  <a:pt x="2316336" y="4284307"/>
                  <a:pt x="2321128" y="4289097"/>
                  <a:pt x="2321128" y="4295043"/>
                </a:cubicBezTo>
                <a:cubicBezTo>
                  <a:pt x="2321128" y="4300990"/>
                  <a:pt x="2316336" y="4305782"/>
                  <a:pt x="2310390" y="4305782"/>
                </a:cubicBezTo>
                <a:cubicBezTo>
                  <a:pt x="2304443" y="4305782"/>
                  <a:pt x="2299653" y="4300990"/>
                  <a:pt x="2299653" y="4295043"/>
                </a:cubicBezTo>
                <a:cubicBezTo>
                  <a:pt x="2299653" y="4289097"/>
                  <a:pt x="2304443" y="4284307"/>
                  <a:pt x="2310390" y="4284307"/>
                </a:cubicBezTo>
                <a:close/>
                <a:moveTo>
                  <a:pt x="434259" y="4282656"/>
                </a:moveTo>
                <a:cubicBezTo>
                  <a:pt x="440206" y="4282656"/>
                  <a:pt x="444998" y="4287446"/>
                  <a:pt x="444998" y="4293393"/>
                </a:cubicBezTo>
                <a:lnTo>
                  <a:pt x="434591" y="4303798"/>
                </a:lnTo>
                <a:lnTo>
                  <a:pt x="440372" y="4309579"/>
                </a:lnTo>
                <a:lnTo>
                  <a:pt x="432114" y="4317839"/>
                </a:lnTo>
                <a:lnTo>
                  <a:pt x="437730" y="4323455"/>
                </a:lnTo>
                <a:lnTo>
                  <a:pt x="430626" y="4330560"/>
                </a:lnTo>
                <a:lnTo>
                  <a:pt x="435583" y="4335514"/>
                </a:lnTo>
                <a:lnTo>
                  <a:pt x="428563" y="4342534"/>
                </a:lnTo>
                <a:lnTo>
                  <a:pt x="433104" y="4347076"/>
                </a:lnTo>
                <a:lnTo>
                  <a:pt x="425422" y="4354758"/>
                </a:lnTo>
                <a:lnTo>
                  <a:pt x="429140" y="4358475"/>
                </a:lnTo>
                <a:lnTo>
                  <a:pt x="420220" y="4367395"/>
                </a:lnTo>
                <a:lnTo>
                  <a:pt x="423194" y="4370368"/>
                </a:lnTo>
                <a:cubicBezTo>
                  <a:pt x="423194" y="4376314"/>
                  <a:pt x="418402" y="4381104"/>
                  <a:pt x="412456" y="4381104"/>
                </a:cubicBezTo>
                <a:cubicBezTo>
                  <a:pt x="406509" y="4381104"/>
                  <a:pt x="401719" y="4376314"/>
                  <a:pt x="401719" y="4370368"/>
                </a:cubicBezTo>
                <a:lnTo>
                  <a:pt x="410640" y="4361447"/>
                </a:lnTo>
                <a:lnTo>
                  <a:pt x="407667" y="4358475"/>
                </a:lnTo>
                <a:lnTo>
                  <a:pt x="415348" y="4350794"/>
                </a:lnTo>
                <a:lnTo>
                  <a:pt x="411632" y="4347076"/>
                </a:lnTo>
                <a:lnTo>
                  <a:pt x="418650" y="4340058"/>
                </a:lnTo>
                <a:lnTo>
                  <a:pt x="414108" y="4335514"/>
                </a:lnTo>
                <a:lnTo>
                  <a:pt x="421211" y="4328411"/>
                </a:lnTo>
                <a:lnTo>
                  <a:pt x="416257" y="4323455"/>
                </a:lnTo>
                <a:lnTo>
                  <a:pt x="424515" y="4315196"/>
                </a:lnTo>
                <a:lnTo>
                  <a:pt x="418900" y="4309579"/>
                </a:lnTo>
                <a:lnTo>
                  <a:pt x="429305" y="4299174"/>
                </a:lnTo>
                <a:lnTo>
                  <a:pt x="423523" y="4293393"/>
                </a:lnTo>
                <a:cubicBezTo>
                  <a:pt x="423523" y="4287446"/>
                  <a:pt x="428313" y="4282656"/>
                  <a:pt x="434259" y="4282656"/>
                </a:cubicBezTo>
                <a:close/>
                <a:moveTo>
                  <a:pt x="493066" y="4278527"/>
                </a:moveTo>
                <a:cubicBezTo>
                  <a:pt x="499012" y="4278527"/>
                  <a:pt x="503802" y="4283317"/>
                  <a:pt x="503802" y="4289263"/>
                </a:cubicBezTo>
                <a:cubicBezTo>
                  <a:pt x="503802" y="4295210"/>
                  <a:pt x="499012" y="4300000"/>
                  <a:pt x="493066" y="4300000"/>
                </a:cubicBezTo>
                <a:cubicBezTo>
                  <a:pt x="487119" y="4300000"/>
                  <a:pt x="482329" y="4295210"/>
                  <a:pt x="482329" y="4289263"/>
                </a:cubicBezTo>
                <a:cubicBezTo>
                  <a:pt x="482329" y="4283317"/>
                  <a:pt x="487119" y="4278527"/>
                  <a:pt x="493066" y="4278527"/>
                </a:cubicBezTo>
                <a:close/>
                <a:moveTo>
                  <a:pt x="1391650" y="4269606"/>
                </a:moveTo>
                <a:cubicBezTo>
                  <a:pt x="1397597" y="4269606"/>
                  <a:pt x="1402388" y="4274396"/>
                  <a:pt x="1402388" y="4280343"/>
                </a:cubicBezTo>
                <a:cubicBezTo>
                  <a:pt x="1402388" y="4286289"/>
                  <a:pt x="1397597" y="4291079"/>
                  <a:pt x="1391650" y="4291079"/>
                </a:cubicBezTo>
                <a:cubicBezTo>
                  <a:pt x="1385704" y="4291079"/>
                  <a:pt x="1380914" y="4286289"/>
                  <a:pt x="1380914" y="4280343"/>
                </a:cubicBezTo>
                <a:cubicBezTo>
                  <a:pt x="1380914" y="4274396"/>
                  <a:pt x="1385704" y="4269606"/>
                  <a:pt x="1391650" y="4269606"/>
                </a:cubicBezTo>
                <a:close/>
                <a:moveTo>
                  <a:pt x="1004465" y="4269112"/>
                </a:moveTo>
                <a:cubicBezTo>
                  <a:pt x="1010412" y="4269112"/>
                  <a:pt x="1015202" y="4273902"/>
                  <a:pt x="1015202" y="4279849"/>
                </a:cubicBezTo>
                <a:cubicBezTo>
                  <a:pt x="1015202" y="4285795"/>
                  <a:pt x="1010412" y="4290585"/>
                  <a:pt x="1004465" y="4290585"/>
                </a:cubicBezTo>
                <a:cubicBezTo>
                  <a:pt x="998519" y="4290585"/>
                  <a:pt x="993729" y="4285795"/>
                  <a:pt x="993729" y="4279849"/>
                </a:cubicBezTo>
                <a:cubicBezTo>
                  <a:pt x="993729" y="4273902"/>
                  <a:pt x="998519" y="4269112"/>
                  <a:pt x="1004465" y="4269112"/>
                </a:cubicBezTo>
                <a:close/>
                <a:moveTo>
                  <a:pt x="351175" y="4264321"/>
                </a:moveTo>
                <a:cubicBezTo>
                  <a:pt x="356648" y="4264321"/>
                  <a:pt x="361085" y="4268758"/>
                  <a:pt x="361085" y="4274231"/>
                </a:cubicBezTo>
                <a:cubicBezTo>
                  <a:pt x="361085" y="4279705"/>
                  <a:pt x="356648" y="4284142"/>
                  <a:pt x="351175" y="4284142"/>
                </a:cubicBezTo>
                <a:cubicBezTo>
                  <a:pt x="345702" y="4284142"/>
                  <a:pt x="341264" y="4279705"/>
                  <a:pt x="341264" y="4274231"/>
                </a:cubicBezTo>
                <a:cubicBezTo>
                  <a:pt x="341264" y="4268758"/>
                  <a:pt x="345702" y="4264321"/>
                  <a:pt x="351175" y="4264321"/>
                </a:cubicBezTo>
                <a:close/>
                <a:moveTo>
                  <a:pt x="442023" y="4262999"/>
                </a:moveTo>
                <a:cubicBezTo>
                  <a:pt x="447970" y="4262999"/>
                  <a:pt x="452760" y="4267789"/>
                  <a:pt x="452760" y="4273736"/>
                </a:cubicBezTo>
                <a:cubicBezTo>
                  <a:pt x="452760" y="4279682"/>
                  <a:pt x="447970" y="4284472"/>
                  <a:pt x="442023" y="4284472"/>
                </a:cubicBezTo>
                <a:cubicBezTo>
                  <a:pt x="436077" y="4284472"/>
                  <a:pt x="431287" y="4279682"/>
                  <a:pt x="431287" y="4273736"/>
                </a:cubicBezTo>
                <a:cubicBezTo>
                  <a:pt x="431287" y="4267789"/>
                  <a:pt x="436077" y="4262999"/>
                  <a:pt x="442023" y="4262999"/>
                </a:cubicBezTo>
                <a:close/>
                <a:moveTo>
                  <a:pt x="2111511" y="4261513"/>
                </a:moveTo>
                <a:cubicBezTo>
                  <a:pt x="2117458" y="4261513"/>
                  <a:pt x="2122248" y="4266303"/>
                  <a:pt x="2122248" y="4272249"/>
                </a:cubicBezTo>
                <a:cubicBezTo>
                  <a:pt x="2122248" y="4278196"/>
                  <a:pt x="2117458" y="4282986"/>
                  <a:pt x="2111511" y="4282986"/>
                </a:cubicBezTo>
                <a:cubicBezTo>
                  <a:pt x="2105565" y="4282986"/>
                  <a:pt x="2100775" y="4278196"/>
                  <a:pt x="2100775" y="4272249"/>
                </a:cubicBezTo>
                <a:cubicBezTo>
                  <a:pt x="2100775" y="4266303"/>
                  <a:pt x="2105565" y="4261513"/>
                  <a:pt x="2111511" y="4261513"/>
                </a:cubicBezTo>
                <a:close/>
                <a:moveTo>
                  <a:pt x="607701" y="4252428"/>
                </a:moveTo>
                <a:cubicBezTo>
                  <a:pt x="613647" y="4252428"/>
                  <a:pt x="618437" y="4257217"/>
                  <a:pt x="618437" y="4263164"/>
                </a:cubicBezTo>
                <a:cubicBezTo>
                  <a:pt x="618437" y="4269110"/>
                  <a:pt x="613647" y="4273902"/>
                  <a:pt x="607701" y="4273902"/>
                </a:cubicBezTo>
                <a:cubicBezTo>
                  <a:pt x="601754" y="4273902"/>
                  <a:pt x="596964" y="4269110"/>
                  <a:pt x="596964" y="4263164"/>
                </a:cubicBezTo>
                <a:cubicBezTo>
                  <a:pt x="596964" y="4257217"/>
                  <a:pt x="601754" y="4252428"/>
                  <a:pt x="607701" y="4252428"/>
                </a:cubicBezTo>
                <a:close/>
                <a:moveTo>
                  <a:pt x="517513" y="4248794"/>
                </a:moveTo>
                <a:cubicBezTo>
                  <a:pt x="523459" y="4248794"/>
                  <a:pt x="528249" y="4253584"/>
                  <a:pt x="528249" y="4259531"/>
                </a:cubicBezTo>
                <a:cubicBezTo>
                  <a:pt x="528249" y="4265477"/>
                  <a:pt x="523459" y="4270269"/>
                  <a:pt x="517513" y="4270269"/>
                </a:cubicBezTo>
                <a:cubicBezTo>
                  <a:pt x="511566" y="4270269"/>
                  <a:pt x="506776" y="4265477"/>
                  <a:pt x="506776" y="4259531"/>
                </a:cubicBezTo>
                <a:cubicBezTo>
                  <a:pt x="506776" y="4253584"/>
                  <a:pt x="511566" y="4248794"/>
                  <a:pt x="517513" y="4248794"/>
                </a:cubicBezTo>
                <a:close/>
                <a:moveTo>
                  <a:pt x="329371" y="4248298"/>
                </a:moveTo>
                <a:cubicBezTo>
                  <a:pt x="329645" y="4248298"/>
                  <a:pt x="329865" y="4248520"/>
                  <a:pt x="329865" y="4248794"/>
                </a:cubicBezTo>
                <a:cubicBezTo>
                  <a:pt x="329865" y="4249068"/>
                  <a:pt x="329645" y="4249289"/>
                  <a:pt x="329371" y="4249289"/>
                </a:cubicBezTo>
                <a:cubicBezTo>
                  <a:pt x="329097" y="4249289"/>
                  <a:pt x="328875" y="4249068"/>
                  <a:pt x="328875" y="4248794"/>
                </a:cubicBezTo>
                <a:cubicBezTo>
                  <a:pt x="328875" y="4248520"/>
                  <a:pt x="329097" y="4248298"/>
                  <a:pt x="329371" y="4248298"/>
                </a:cubicBezTo>
                <a:close/>
                <a:moveTo>
                  <a:pt x="733568" y="4246812"/>
                </a:moveTo>
                <a:cubicBezTo>
                  <a:pt x="739514" y="4246812"/>
                  <a:pt x="744306" y="4251602"/>
                  <a:pt x="744306" y="4257549"/>
                </a:cubicBezTo>
                <a:cubicBezTo>
                  <a:pt x="744306" y="4263495"/>
                  <a:pt x="739514" y="4268287"/>
                  <a:pt x="733568" y="4268287"/>
                </a:cubicBezTo>
                <a:cubicBezTo>
                  <a:pt x="727622" y="4268287"/>
                  <a:pt x="722832" y="4263495"/>
                  <a:pt x="722832" y="4257549"/>
                </a:cubicBezTo>
                <a:cubicBezTo>
                  <a:pt x="722832" y="4251602"/>
                  <a:pt x="727622" y="4246812"/>
                  <a:pt x="733568" y="4246812"/>
                </a:cubicBezTo>
                <a:close/>
                <a:moveTo>
                  <a:pt x="406509" y="4245820"/>
                </a:moveTo>
                <a:cubicBezTo>
                  <a:pt x="412456" y="4245820"/>
                  <a:pt x="417247" y="4250610"/>
                  <a:pt x="417247" y="4256557"/>
                </a:cubicBezTo>
                <a:lnTo>
                  <a:pt x="407418" y="4266384"/>
                </a:lnTo>
                <a:lnTo>
                  <a:pt x="414935" y="4273900"/>
                </a:lnTo>
                <a:lnTo>
                  <a:pt x="406840" y="4281995"/>
                </a:lnTo>
                <a:lnTo>
                  <a:pt x="413777" y="4288932"/>
                </a:lnTo>
                <a:lnTo>
                  <a:pt x="406180" y="4296531"/>
                </a:lnTo>
                <a:lnTo>
                  <a:pt x="412456" y="4302807"/>
                </a:lnTo>
                <a:lnTo>
                  <a:pt x="404858" y="4310407"/>
                </a:lnTo>
                <a:lnTo>
                  <a:pt x="410309" y="4315857"/>
                </a:lnTo>
                <a:lnTo>
                  <a:pt x="401719" y="4324447"/>
                </a:lnTo>
                <a:lnTo>
                  <a:pt x="406346" y="4329072"/>
                </a:lnTo>
                <a:lnTo>
                  <a:pt x="395773" y="4339643"/>
                </a:lnTo>
                <a:lnTo>
                  <a:pt x="398747" y="4342617"/>
                </a:lnTo>
                <a:cubicBezTo>
                  <a:pt x="398747" y="4348068"/>
                  <a:pt x="394286" y="4352364"/>
                  <a:pt x="389001" y="4352364"/>
                </a:cubicBezTo>
                <a:cubicBezTo>
                  <a:pt x="383550" y="4352364"/>
                  <a:pt x="379255" y="4348068"/>
                  <a:pt x="379255" y="4342617"/>
                </a:cubicBezTo>
                <a:lnTo>
                  <a:pt x="388836" y="4333036"/>
                </a:lnTo>
                <a:lnTo>
                  <a:pt x="384872" y="4329072"/>
                </a:lnTo>
                <a:lnTo>
                  <a:pt x="393461" y="4320482"/>
                </a:lnTo>
                <a:lnTo>
                  <a:pt x="388836" y="4315857"/>
                </a:lnTo>
                <a:lnTo>
                  <a:pt x="396433" y="4308260"/>
                </a:lnTo>
                <a:lnTo>
                  <a:pt x="390983" y="4302807"/>
                </a:lnTo>
                <a:lnTo>
                  <a:pt x="398580" y="4295210"/>
                </a:lnTo>
                <a:lnTo>
                  <a:pt x="392304" y="4288932"/>
                </a:lnTo>
                <a:lnTo>
                  <a:pt x="400398" y="4280839"/>
                </a:lnTo>
                <a:lnTo>
                  <a:pt x="393461" y="4273900"/>
                </a:lnTo>
                <a:lnTo>
                  <a:pt x="403289" y="4264073"/>
                </a:lnTo>
                <a:lnTo>
                  <a:pt x="395773" y="4256557"/>
                </a:lnTo>
                <a:cubicBezTo>
                  <a:pt x="395773" y="4250610"/>
                  <a:pt x="400562" y="4245820"/>
                  <a:pt x="406509" y="4245820"/>
                </a:cubicBezTo>
                <a:close/>
                <a:moveTo>
                  <a:pt x="454577" y="4238719"/>
                </a:moveTo>
                <a:cubicBezTo>
                  <a:pt x="460524" y="4238719"/>
                  <a:pt x="465314" y="4243509"/>
                  <a:pt x="465314" y="4249455"/>
                </a:cubicBezTo>
                <a:cubicBezTo>
                  <a:pt x="465314" y="4255402"/>
                  <a:pt x="460524" y="4260192"/>
                  <a:pt x="454577" y="4260192"/>
                </a:cubicBezTo>
                <a:cubicBezTo>
                  <a:pt x="448631" y="4260192"/>
                  <a:pt x="443841" y="4255402"/>
                  <a:pt x="443841" y="4249455"/>
                </a:cubicBezTo>
                <a:cubicBezTo>
                  <a:pt x="443841" y="4243509"/>
                  <a:pt x="448631" y="4238719"/>
                  <a:pt x="454577" y="4238719"/>
                </a:cubicBezTo>
                <a:close/>
                <a:moveTo>
                  <a:pt x="1922875" y="4233927"/>
                </a:moveTo>
                <a:cubicBezTo>
                  <a:pt x="1928822" y="4233927"/>
                  <a:pt x="1933612" y="4238717"/>
                  <a:pt x="1933612" y="4244664"/>
                </a:cubicBezTo>
                <a:cubicBezTo>
                  <a:pt x="1933612" y="4250610"/>
                  <a:pt x="1928822" y="4255400"/>
                  <a:pt x="1922875" y="4255400"/>
                </a:cubicBezTo>
                <a:cubicBezTo>
                  <a:pt x="1916929" y="4255400"/>
                  <a:pt x="1912139" y="4250610"/>
                  <a:pt x="1912139" y="4244664"/>
                </a:cubicBezTo>
                <a:cubicBezTo>
                  <a:pt x="1912139" y="4238717"/>
                  <a:pt x="1916929" y="4233927"/>
                  <a:pt x="1922875" y="4233927"/>
                </a:cubicBezTo>
                <a:close/>
                <a:moveTo>
                  <a:pt x="1256368" y="4231284"/>
                </a:moveTo>
                <a:cubicBezTo>
                  <a:pt x="1262315" y="4231284"/>
                  <a:pt x="1267104" y="4236074"/>
                  <a:pt x="1267104" y="4242021"/>
                </a:cubicBezTo>
                <a:cubicBezTo>
                  <a:pt x="1267104" y="4247967"/>
                  <a:pt x="1262315" y="4252759"/>
                  <a:pt x="1256368" y="4252759"/>
                </a:cubicBezTo>
                <a:cubicBezTo>
                  <a:pt x="1250422" y="4252759"/>
                  <a:pt x="1245632" y="4247967"/>
                  <a:pt x="1245632" y="4242021"/>
                </a:cubicBezTo>
                <a:cubicBezTo>
                  <a:pt x="1245632" y="4236074"/>
                  <a:pt x="1250422" y="4231284"/>
                  <a:pt x="1256368" y="4231284"/>
                </a:cubicBezTo>
                <a:close/>
                <a:moveTo>
                  <a:pt x="904696" y="4228147"/>
                </a:moveTo>
                <a:cubicBezTo>
                  <a:pt x="910642" y="4228147"/>
                  <a:pt x="915432" y="4232937"/>
                  <a:pt x="915432" y="4238884"/>
                </a:cubicBezTo>
                <a:cubicBezTo>
                  <a:pt x="915432" y="4244830"/>
                  <a:pt x="910642" y="4249622"/>
                  <a:pt x="904696" y="4249622"/>
                </a:cubicBezTo>
                <a:cubicBezTo>
                  <a:pt x="898749" y="4249622"/>
                  <a:pt x="893960" y="4244830"/>
                  <a:pt x="893960" y="4238884"/>
                </a:cubicBezTo>
                <a:cubicBezTo>
                  <a:pt x="893960" y="4232937"/>
                  <a:pt x="898749" y="4228147"/>
                  <a:pt x="904696" y="4228147"/>
                </a:cubicBezTo>
                <a:close/>
                <a:moveTo>
                  <a:pt x="411465" y="4225173"/>
                </a:moveTo>
                <a:cubicBezTo>
                  <a:pt x="417412" y="4225173"/>
                  <a:pt x="422202" y="4229963"/>
                  <a:pt x="422202" y="4235909"/>
                </a:cubicBezTo>
                <a:cubicBezTo>
                  <a:pt x="422202" y="4241856"/>
                  <a:pt x="417412" y="4246646"/>
                  <a:pt x="411465" y="4246646"/>
                </a:cubicBezTo>
                <a:cubicBezTo>
                  <a:pt x="405519" y="4246646"/>
                  <a:pt x="400729" y="4241856"/>
                  <a:pt x="400729" y="4235909"/>
                </a:cubicBezTo>
                <a:cubicBezTo>
                  <a:pt x="400729" y="4229963"/>
                  <a:pt x="405519" y="4225173"/>
                  <a:pt x="411465" y="4225173"/>
                </a:cubicBezTo>
                <a:close/>
                <a:moveTo>
                  <a:pt x="551539" y="4211629"/>
                </a:moveTo>
                <a:cubicBezTo>
                  <a:pt x="557486" y="4211629"/>
                  <a:pt x="562275" y="4216419"/>
                  <a:pt x="562275" y="4222365"/>
                </a:cubicBezTo>
                <a:cubicBezTo>
                  <a:pt x="562275" y="4228312"/>
                  <a:pt x="557486" y="4233104"/>
                  <a:pt x="551539" y="4233104"/>
                </a:cubicBezTo>
                <a:cubicBezTo>
                  <a:pt x="545593" y="4233104"/>
                  <a:pt x="540803" y="4228312"/>
                  <a:pt x="540803" y="4222365"/>
                </a:cubicBezTo>
                <a:cubicBezTo>
                  <a:pt x="540803" y="4216419"/>
                  <a:pt x="545593" y="4211629"/>
                  <a:pt x="551539" y="4211629"/>
                </a:cubicBezTo>
                <a:close/>
                <a:moveTo>
                  <a:pt x="381403" y="4210141"/>
                </a:moveTo>
                <a:cubicBezTo>
                  <a:pt x="387350" y="4210141"/>
                  <a:pt x="392140" y="4214931"/>
                  <a:pt x="392140" y="4220877"/>
                </a:cubicBezTo>
                <a:lnTo>
                  <a:pt x="382475" y="4230544"/>
                </a:lnTo>
                <a:lnTo>
                  <a:pt x="391479" y="4239544"/>
                </a:lnTo>
                <a:lnTo>
                  <a:pt x="383136" y="4247886"/>
                </a:lnTo>
                <a:lnTo>
                  <a:pt x="391314" y="4256062"/>
                </a:lnTo>
                <a:lnTo>
                  <a:pt x="383384" y="4263991"/>
                </a:lnTo>
                <a:lnTo>
                  <a:pt x="390652" y="4271259"/>
                </a:lnTo>
                <a:lnTo>
                  <a:pt x="382064" y="4279849"/>
                </a:lnTo>
                <a:lnTo>
                  <a:pt x="388342" y="4286125"/>
                </a:lnTo>
                <a:lnTo>
                  <a:pt x="378675" y="4295789"/>
                </a:lnTo>
                <a:lnTo>
                  <a:pt x="383880" y="4300992"/>
                </a:lnTo>
                <a:cubicBezTo>
                  <a:pt x="383880" y="4306938"/>
                  <a:pt x="379090" y="4311728"/>
                  <a:pt x="373143" y="4311728"/>
                </a:cubicBezTo>
                <a:cubicBezTo>
                  <a:pt x="367197" y="4311728"/>
                  <a:pt x="362407" y="4306938"/>
                  <a:pt x="362407" y="4300992"/>
                </a:cubicBezTo>
                <a:lnTo>
                  <a:pt x="372070" y="4291329"/>
                </a:lnTo>
                <a:lnTo>
                  <a:pt x="366867" y="4286125"/>
                </a:lnTo>
                <a:lnTo>
                  <a:pt x="375455" y="4277537"/>
                </a:lnTo>
                <a:lnTo>
                  <a:pt x="369179" y="4271259"/>
                </a:lnTo>
                <a:lnTo>
                  <a:pt x="377108" y="4263330"/>
                </a:lnTo>
                <a:lnTo>
                  <a:pt x="369840" y="4256062"/>
                </a:lnTo>
                <a:lnTo>
                  <a:pt x="378181" y="4247721"/>
                </a:lnTo>
                <a:lnTo>
                  <a:pt x="370004" y="4239544"/>
                </a:lnTo>
                <a:lnTo>
                  <a:pt x="379667" y="4229881"/>
                </a:lnTo>
                <a:lnTo>
                  <a:pt x="370667" y="4220877"/>
                </a:lnTo>
                <a:cubicBezTo>
                  <a:pt x="370667" y="4214931"/>
                  <a:pt x="375457" y="4210141"/>
                  <a:pt x="381403" y="4210141"/>
                </a:cubicBezTo>
                <a:close/>
                <a:moveTo>
                  <a:pt x="473738" y="4208820"/>
                </a:moveTo>
                <a:cubicBezTo>
                  <a:pt x="479685" y="4208820"/>
                  <a:pt x="484475" y="4213610"/>
                  <a:pt x="484475" y="4219556"/>
                </a:cubicBezTo>
                <a:cubicBezTo>
                  <a:pt x="484475" y="4225503"/>
                  <a:pt x="479685" y="4230294"/>
                  <a:pt x="473738" y="4230294"/>
                </a:cubicBezTo>
                <a:cubicBezTo>
                  <a:pt x="467792" y="4230294"/>
                  <a:pt x="463002" y="4225503"/>
                  <a:pt x="463002" y="4219556"/>
                </a:cubicBezTo>
                <a:cubicBezTo>
                  <a:pt x="463002" y="4213610"/>
                  <a:pt x="467792" y="4208820"/>
                  <a:pt x="473738" y="4208820"/>
                </a:cubicBezTo>
                <a:close/>
                <a:moveTo>
                  <a:pt x="661880" y="4205683"/>
                </a:moveTo>
                <a:cubicBezTo>
                  <a:pt x="667827" y="4205683"/>
                  <a:pt x="672618" y="4210472"/>
                  <a:pt x="672618" y="4216419"/>
                </a:cubicBezTo>
                <a:cubicBezTo>
                  <a:pt x="672618" y="4222365"/>
                  <a:pt x="667827" y="4227155"/>
                  <a:pt x="661880" y="4227155"/>
                </a:cubicBezTo>
                <a:cubicBezTo>
                  <a:pt x="655934" y="4227155"/>
                  <a:pt x="651144" y="4222365"/>
                  <a:pt x="651144" y="4216419"/>
                </a:cubicBezTo>
                <a:cubicBezTo>
                  <a:pt x="651144" y="4210472"/>
                  <a:pt x="655934" y="4205683"/>
                  <a:pt x="661880" y="4205683"/>
                </a:cubicBezTo>
                <a:close/>
                <a:moveTo>
                  <a:pt x="1745634" y="4203040"/>
                </a:moveTo>
                <a:cubicBezTo>
                  <a:pt x="1751581" y="4203040"/>
                  <a:pt x="1756372" y="4207829"/>
                  <a:pt x="1756372" y="4213776"/>
                </a:cubicBezTo>
                <a:cubicBezTo>
                  <a:pt x="1756372" y="4219723"/>
                  <a:pt x="1751581" y="4224514"/>
                  <a:pt x="1745634" y="4224514"/>
                </a:cubicBezTo>
                <a:cubicBezTo>
                  <a:pt x="1739688" y="4224514"/>
                  <a:pt x="1734898" y="4219723"/>
                  <a:pt x="1734898" y="4213776"/>
                </a:cubicBezTo>
                <a:cubicBezTo>
                  <a:pt x="1734898" y="4207829"/>
                  <a:pt x="1739688" y="4203040"/>
                  <a:pt x="1745634" y="4203040"/>
                </a:cubicBezTo>
                <a:close/>
                <a:moveTo>
                  <a:pt x="420055" y="4200395"/>
                </a:moveTo>
                <a:cubicBezTo>
                  <a:pt x="426001" y="4200395"/>
                  <a:pt x="430791" y="4205185"/>
                  <a:pt x="430791" y="4211131"/>
                </a:cubicBezTo>
                <a:cubicBezTo>
                  <a:pt x="430791" y="4217078"/>
                  <a:pt x="426001" y="4221869"/>
                  <a:pt x="420055" y="4221869"/>
                </a:cubicBezTo>
                <a:cubicBezTo>
                  <a:pt x="414108" y="4221869"/>
                  <a:pt x="409318" y="4217078"/>
                  <a:pt x="409318" y="4211131"/>
                </a:cubicBezTo>
                <a:cubicBezTo>
                  <a:pt x="409318" y="4205185"/>
                  <a:pt x="414108" y="4200395"/>
                  <a:pt x="420055" y="4200395"/>
                </a:cubicBezTo>
                <a:close/>
                <a:moveTo>
                  <a:pt x="314999" y="4195111"/>
                </a:moveTo>
                <a:cubicBezTo>
                  <a:pt x="320292" y="4195111"/>
                  <a:pt x="324581" y="4199400"/>
                  <a:pt x="324581" y="4204691"/>
                </a:cubicBezTo>
                <a:cubicBezTo>
                  <a:pt x="324581" y="4209983"/>
                  <a:pt x="320292" y="4214272"/>
                  <a:pt x="314999" y="4214272"/>
                </a:cubicBezTo>
                <a:cubicBezTo>
                  <a:pt x="309708" y="4214272"/>
                  <a:pt x="305420" y="4209983"/>
                  <a:pt x="305420" y="4204691"/>
                </a:cubicBezTo>
                <a:cubicBezTo>
                  <a:pt x="305420" y="4199400"/>
                  <a:pt x="309708" y="4195111"/>
                  <a:pt x="314999" y="4195111"/>
                </a:cubicBezTo>
                <a:close/>
                <a:moveTo>
                  <a:pt x="1131820" y="4192468"/>
                </a:moveTo>
                <a:cubicBezTo>
                  <a:pt x="1137752" y="4192468"/>
                  <a:pt x="1142557" y="4197275"/>
                  <a:pt x="1142557" y="4203204"/>
                </a:cubicBezTo>
                <a:cubicBezTo>
                  <a:pt x="1142557" y="4209134"/>
                  <a:pt x="1137752" y="4213941"/>
                  <a:pt x="1131820" y="4213941"/>
                </a:cubicBezTo>
                <a:cubicBezTo>
                  <a:pt x="1125891" y="4213941"/>
                  <a:pt x="1121084" y="4209134"/>
                  <a:pt x="1121084" y="4203204"/>
                </a:cubicBezTo>
                <a:cubicBezTo>
                  <a:pt x="1121084" y="4197275"/>
                  <a:pt x="1125891" y="4192468"/>
                  <a:pt x="1131820" y="4192468"/>
                </a:cubicBezTo>
                <a:close/>
                <a:moveTo>
                  <a:pt x="383715" y="4188668"/>
                </a:moveTo>
                <a:cubicBezTo>
                  <a:pt x="389661" y="4188668"/>
                  <a:pt x="394451" y="4193458"/>
                  <a:pt x="394451" y="4199405"/>
                </a:cubicBezTo>
                <a:cubicBezTo>
                  <a:pt x="394451" y="4205351"/>
                  <a:pt x="389661" y="4210141"/>
                  <a:pt x="383715" y="4210141"/>
                </a:cubicBezTo>
                <a:cubicBezTo>
                  <a:pt x="377768" y="4210141"/>
                  <a:pt x="372979" y="4205351"/>
                  <a:pt x="372979" y="4199405"/>
                </a:cubicBezTo>
                <a:cubicBezTo>
                  <a:pt x="372979" y="4193458"/>
                  <a:pt x="377768" y="4188668"/>
                  <a:pt x="383715" y="4188668"/>
                </a:cubicBezTo>
                <a:close/>
                <a:moveTo>
                  <a:pt x="813847" y="4187676"/>
                </a:moveTo>
                <a:cubicBezTo>
                  <a:pt x="819794" y="4187676"/>
                  <a:pt x="824583" y="4192466"/>
                  <a:pt x="824583" y="4198413"/>
                </a:cubicBezTo>
                <a:cubicBezTo>
                  <a:pt x="824583" y="4204359"/>
                  <a:pt x="819794" y="4209151"/>
                  <a:pt x="813847" y="4209151"/>
                </a:cubicBezTo>
                <a:cubicBezTo>
                  <a:pt x="807900" y="4209151"/>
                  <a:pt x="803111" y="4204359"/>
                  <a:pt x="803111" y="4198413"/>
                </a:cubicBezTo>
                <a:cubicBezTo>
                  <a:pt x="803111" y="4192466"/>
                  <a:pt x="807900" y="4187676"/>
                  <a:pt x="813847" y="4187676"/>
                </a:cubicBezTo>
                <a:close/>
                <a:moveTo>
                  <a:pt x="294683" y="4179914"/>
                </a:moveTo>
                <a:cubicBezTo>
                  <a:pt x="294866" y="4179914"/>
                  <a:pt x="295013" y="4180062"/>
                  <a:pt x="295013" y="4180244"/>
                </a:cubicBezTo>
                <a:cubicBezTo>
                  <a:pt x="295013" y="4180427"/>
                  <a:pt x="294866" y="4180575"/>
                  <a:pt x="294683" y="4180575"/>
                </a:cubicBezTo>
                <a:cubicBezTo>
                  <a:pt x="294500" y="4180575"/>
                  <a:pt x="294352" y="4180427"/>
                  <a:pt x="294352" y="4180244"/>
                </a:cubicBezTo>
                <a:cubicBezTo>
                  <a:pt x="294352" y="4180062"/>
                  <a:pt x="294500" y="4179914"/>
                  <a:pt x="294683" y="4179914"/>
                </a:cubicBezTo>
                <a:close/>
                <a:moveTo>
                  <a:pt x="358278" y="4176115"/>
                </a:moveTo>
                <a:cubicBezTo>
                  <a:pt x="364224" y="4176115"/>
                  <a:pt x="369014" y="4180904"/>
                  <a:pt x="369014" y="4186851"/>
                </a:cubicBezTo>
                <a:lnTo>
                  <a:pt x="359516" y="4196351"/>
                </a:lnTo>
                <a:lnTo>
                  <a:pt x="369673" y="4206508"/>
                </a:lnTo>
                <a:lnTo>
                  <a:pt x="361002" y="4215181"/>
                </a:lnTo>
                <a:lnTo>
                  <a:pt x="370169" y="4224348"/>
                </a:lnTo>
                <a:lnTo>
                  <a:pt x="361498" y="4233020"/>
                </a:lnTo>
                <a:lnTo>
                  <a:pt x="369673" y="4241195"/>
                </a:lnTo>
                <a:lnTo>
                  <a:pt x="360258" y="4250610"/>
                </a:lnTo>
                <a:lnTo>
                  <a:pt x="367197" y="4257549"/>
                </a:lnTo>
                <a:cubicBezTo>
                  <a:pt x="367197" y="4263495"/>
                  <a:pt x="362407" y="4268287"/>
                  <a:pt x="356460" y="4268287"/>
                </a:cubicBezTo>
                <a:cubicBezTo>
                  <a:pt x="350514" y="4268287"/>
                  <a:pt x="345724" y="4263495"/>
                  <a:pt x="345724" y="4257549"/>
                </a:cubicBezTo>
                <a:lnTo>
                  <a:pt x="355139" y="4248134"/>
                </a:lnTo>
                <a:lnTo>
                  <a:pt x="348200" y="4241195"/>
                </a:lnTo>
                <a:lnTo>
                  <a:pt x="356871" y="4232524"/>
                </a:lnTo>
                <a:lnTo>
                  <a:pt x="348696" y="4224348"/>
                </a:lnTo>
                <a:lnTo>
                  <a:pt x="357367" y="4215677"/>
                </a:lnTo>
                <a:lnTo>
                  <a:pt x="348200" y="4206508"/>
                </a:lnTo>
                <a:lnTo>
                  <a:pt x="357699" y="4197010"/>
                </a:lnTo>
                <a:lnTo>
                  <a:pt x="347541" y="4186851"/>
                </a:lnTo>
                <a:cubicBezTo>
                  <a:pt x="347541" y="4180904"/>
                  <a:pt x="352331" y="4176115"/>
                  <a:pt x="358278" y="4176115"/>
                </a:cubicBezTo>
                <a:close/>
                <a:moveTo>
                  <a:pt x="501159" y="4171819"/>
                </a:moveTo>
                <a:cubicBezTo>
                  <a:pt x="507106" y="4171819"/>
                  <a:pt x="511896" y="4176609"/>
                  <a:pt x="511896" y="4182555"/>
                </a:cubicBezTo>
                <a:cubicBezTo>
                  <a:pt x="511896" y="4188502"/>
                  <a:pt x="507106" y="4193293"/>
                  <a:pt x="501159" y="4193293"/>
                </a:cubicBezTo>
                <a:cubicBezTo>
                  <a:pt x="495213" y="4193293"/>
                  <a:pt x="490423" y="4188502"/>
                  <a:pt x="490423" y="4182555"/>
                </a:cubicBezTo>
                <a:cubicBezTo>
                  <a:pt x="490423" y="4176609"/>
                  <a:pt x="495213" y="4171819"/>
                  <a:pt x="501159" y="4171819"/>
                </a:cubicBezTo>
                <a:close/>
                <a:moveTo>
                  <a:pt x="434426" y="4170003"/>
                </a:moveTo>
                <a:cubicBezTo>
                  <a:pt x="440372" y="4170003"/>
                  <a:pt x="445164" y="4174793"/>
                  <a:pt x="445164" y="4180740"/>
                </a:cubicBezTo>
                <a:cubicBezTo>
                  <a:pt x="445164" y="4186686"/>
                  <a:pt x="440372" y="4191478"/>
                  <a:pt x="434426" y="4191478"/>
                </a:cubicBezTo>
                <a:cubicBezTo>
                  <a:pt x="428479" y="4191478"/>
                  <a:pt x="423690" y="4186686"/>
                  <a:pt x="423690" y="4180740"/>
                </a:cubicBezTo>
                <a:cubicBezTo>
                  <a:pt x="423690" y="4174793"/>
                  <a:pt x="428479" y="4170003"/>
                  <a:pt x="434426" y="4170003"/>
                </a:cubicBezTo>
                <a:close/>
                <a:moveTo>
                  <a:pt x="1580288" y="4169672"/>
                </a:moveTo>
                <a:cubicBezTo>
                  <a:pt x="1586235" y="4169672"/>
                  <a:pt x="1591026" y="4174462"/>
                  <a:pt x="1591026" y="4180408"/>
                </a:cubicBezTo>
                <a:cubicBezTo>
                  <a:pt x="1591026" y="4186355"/>
                  <a:pt x="1586235" y="4191146"/>
                  <a:pt x="1580288" y="4191146"/>
                </a:cubicBezTo>
                <a:cubicBezTo>
                  <a:pt x="1574342" y="4191146"/>
                  <a:pt x="1569552" y="4186355"/>
                  <a:pt x="1569552" y="4180408"/>
                </a:cubicBezTo>
                <a:cubicBezTo>
                  <a:pt x="1569552" y="4174462"/>
                  <a:pt x="1574342" y="4169672"/>
                  <a:pt x="1580288" y="4169672"/>
                </a:cubicBezTo>
                <a:close/>
                <a:moveTo>
                  <a:pt x="597129" y="4165378"/>
                </a:moveTo>
                <a:cubicBezTo>
                  <a:pt x="603076" y="4165378"/>
                  <a:pt x="607865" y="4170168"/>
                  <a:pt x="607865" y="4176115"/>
                </a:cubicBezTo>
                <a:cubicBezTo>
                  <a:pt x="607865" y="4182061"/>
                  <a:pt x="603076" y="4186853"/>
                  <a:pt x="597129" y="4186853"/>
                </a:cubicBezTo>
                <a:cubicBezTo>
                  <a:pt x="591183" y="4186853"/>
                  <a:pt x="586393" y="4182061"/>
                  <a:pt x="586393" y="4176115"/>
                </a:cubicBezTo>
                <a:cubicBezTo>
                  <a:pt x="586393" y="4170168"/>
                  <a:pt x="591183" y="4165378"/>
                  <a:pt x="597129" y="4165378"/>
                </a:cubicBezTo>
                <a:close/>
                <a:moveTo>
                  <a:pt x="338621" y="4164221"/>
                </a:moveTo>
                <a:cubicBezTo>
                  <a:pt x="344567" y="4164221"/>
                  <a:pt x="349357" y="4169011"/>
                  <a:pt x="349357" y="4174958"/>
                </a:cubicBezTo>
                <a:lnTo>
                  <a:pt x="340190" y="4184126"/>
                </a:lnTo>
                <a:lnTo>
                  <a:pt x="350184" y="4194119"/>
                </a:lnTo>
                <a:lnTo>
                  <a:pt x="340684" y="4203619"/>
                </a:lnTo>
                <a:lnTo>
                  <a:pt x="349522" y="4212455"/>
                </a:lnTo>
                <a:lnTo>
                  <a:pt x="338950" y="4223028"/>
                </a:lnTo>
                <a:lnTo>
                  <a:pt x="346383" y="4230459"/>
                </a:lnTo>
                <a:cubicBezTo>
                  <a:pt x="346383" y="4236405"/>
                  <a:pt x="341593" y="4241197"/>
                  <a:pt x="335647" y="4241197"/>
                </a:cubicBezTo>
                <a:cubicBezTo>
                  <a:pt x="329700" y="4241197"/>
                  <a:pt x="324910" y="4236405"/>
                  <a:pt x="324910" y="4230459"/>
                </a:cubicBezTo>
                <a:lnTo>
                  <a:pt x="335480" y="4219889"/>
                </a:lnTo>
                <a:lnTo>
                  <a:pt x="328049" y="4212455"/>
                </a:lnTo>
                <a:lnTo>
                  <a:pt x="337546" y="4202958"/>
                </a:lnTo>
                <a:lnTo>
                  <a:pt x="328710" y="4194119"/>
                </a:lnTo>
                <a:lnTo>
                  <a:pt x="337877" y="4184952"/>
                </a:lnTo>
                <a:lnTo>
                  <a:pt x="327884" y="4174958"/>
                </a:lnTo>
                <a:cubicBezTo>
                  <a:pt x="327884" y="4169011"/>
                  <a:pt x="332674" y="4164221"/>
                  <a:pt x="338621" y="4164221"/>
                </a:cubicBezTo>
                <a:close/>
                <a:moveTo>
                  <a:pt x="389165" y="4163230"/>
                </a:moveTo>
                <a:cubicBezTo>
                  <a:pt x="395112" y="4163230"/>
                  <a:pt x="399902" y="4168019"/>
                  <a:pt x="399902" y="4173966"/>
                </a:cubicBezTo>
                <a:cubicBezTo>
                  <a:pt x="399902" y="4179912"/>
                  <a:pt x="395112" y="4184704"/>
                  <a:pt x="389165" y="4184704"/>
                </a:cubicBezTo>
                <a:cubicBezTo>
                  <a:pt x="383219" y="4184704"/>
                  <a:pt x="378429" y="4179912"/>
                  <a:pt x="378429" y="4173966"/>
                </a:cubicBezTo>
                <a:cubicBezTo>
                  <a:pt x="378429" y="4168019"/>
                  <a:pt x="383219" y="4163230"/>
                  <a:pt x="389165" y="4163230"/>
                </a:cubicBezTo>
                <a:close/>
                <a:moveTo>
                  <a:pt x="1017846" y="4153650"/>
                </a:moveTo>
                <a:cubicBezTo>
                  <a:pt x="1023793" y="4153650"/>
                  <a:pt x="1028583" y="4158440"/>
                  <a:pt x="1028583" y="4164386"/>
                </a:cubicBezTo>
                <a:cubicBezTo>
                  <a:pt x="1028583" y="4170333"/>
                  <a:pt x="1023793" y="4175124"/>
                  <a:pt x="1017846" y="4175124"/>
                </a:cubicBezTo>
                <a:cubicBezTo>
                  <a:pt x="1011900" y="4175124"/>
                  <a:pt x="1007110" y="4170333"/>
                  <a:pt x="1007110" y="4164386"/>
                </a:cubicBezTo>
                <a:cubicBezTo>
                  <a:pt x="1007110" y="4158440"/>
                  <a:pt x="1011900" y="4153650"/>
                  <a:pt x="1017846" y="4153650"/>
                </a:cubicBezTo>
                <a:close/>
                <a:moveTo>
                  <a:pt x="358607" y="4153650"/>
                </a:moveTo>
                <a:cubicBezTo>
                  <a:pt x="364554" y="4153650"/>
                  <a:pt x="369345" y="4158440"/>
                  <a:pt x="369345" y="4164386"/>
                </a:cubicBezTo>
                <a:cubicBezTo>
                  <a:pt x="369345" y="4170333"/>
                  <a:pt x="364554" y="4175124"/>
                  <a:pt x="358607" y="4175124"/>
                </a:cubicBezTo>
                <a:cubicBezTo>
                  <a:pt x="352661" y="4175124"/>
                  <a:pt x="347871" y="4170333"/>
                  <a:pt x="347871" y="4164386"/>
                </a:cubicBezTo>
                <a:cubicBezTo>
                  <a:pt x="347871" y="4158440"/>
                  <a:pt x="352661" y="4153650"/>
                  <a:pt x="358607" y="4153650"/>
                </a:cubicBezTo>
                <a:close/>
                <a:moveTo>
                  <a:pt x="299803" y="4148364"/>
                </a:moveTo>
                <a:cubicBezTo>
                  <a:pt x="305749" y="4148364"/>
                  <a:pt x="310539" y="4153154"/>
                  <a:pt x="310539" y="4159100"/>
                </a:cubicBezTo>
                <a:cubicBezTo>
                  <a:pt x="310539" y="4165047"/>
                  <a:pt x="305749" y="4169837"/>
                  <a:pt x="299803" y="4169837"/>
                </a:cubicBezTo>
                <a:cubicBezTo>
                  <a:pt x="293856" y="4169837"/>
                  <a:pt x="289066" y="4165047"/>
                  <a:pt x="289066" y="4159100"/>
                </a:cubicBezTo>
                <a:cubicBezTo>
                  <a:pt x="289066" y="4153154"/>
                  <a:pt x="293856" y="4148364"/>
                  <a:pt x="299803" y="4148364"/>
                </a:cubicBezTo>
                <a:close/>
                <a:moveTo>
                  <a:pt x="731421" y="4147703"/>
                </a:moveTo>
                <a:cubicBezTo>
                  <a:pt x="737368" y="4147703"/>
                  <a:pt x="742157" y="4152493"/>
                  <a:pt x="742157" y="4158440"/>
                </a:cubicBezTo>
                <a:cubicBezTo>
                  <a:pt x="742157" y="4164386"/>
                  <a:pt x="737368" y="4169178"/>
                  <a:pt x="731421" y="4169178"/>
                </a:cubicBezTo>
                <a:cubicBezTo>
                  <a:pt x="725475" y="4169178"/>
                  <a:pt x="720685" y="4164386"/>
                  <a:pt x="720685" y="4158440"/>
                </a:cubicBezTo>
                <a:cubicBezTo>
                  <a:pt x="720685" y="4152493"/>
                  <a:pt x="725475" y="4147703"/>
                  <a:pt x="731421" y="4147703"/>
                </a:cubicBezTo>
                <a:close/>
                <a:moveTo>
                  <a:pt x="337135" y="4143243"/>
                </a:moveTo>
                <a:cubicBezTo>
                  <a:pt x="343081" y="4143243"/>
                  <a:pt x="347871" y="4148033"/>
                  <a:pt x="347871" y="4153979"/>
                </a:cubicBezTo>
                <a:cubicBezTo>
                  <a:pt x="347871" y="4159926"/>
                  <a:pt x="343081" y="4164716"/>
                  <a:pt x="337135" y="4164716"/>
                </a:cubicBezTo>
                <a:cubicBezTo>
                  <a:pt x="331188" y="4164716"/>
                  <a:pt x="326398" y="4159926"/>
                  <a:pt x="326398" y="4153979"/>
                </a:cubicBezTo>
                <a:cubicBezTo>
                  <a:pt x="326398" y="4148033"/>
                  <a:pt x="331188" y="4143243"/>
                  <a:pt x="337135" y="4143243"/>
                </a:cubicBezTo>
                <a:close/>
                <a:moveTo>
                  <a:pt x="2837152" y="4142582"/>
                </a:moveTo>
                <a:cubicBezTo>
                  <a:pt x="2843099" y="4142582"/>
                  <a:pt x="2847890" y="4147372"/>
                  <a:pt x="2847890" y="4153319"/>
                </a:cubicBezTo>
                <a:cubicBezTo>
                  <a:pt x="2847890" y="4159265"/>
                  <a:pt x="2843099" y="4164057"/>
                  <a:pt x="2837152" y="4164057"/>
                </a:cubicBezTo>
                <a:cubicBezTo>
                  <a:pt x="2831206" y="4164057"/>
                  <a:pt x="2826416" y="4159265"/>
                  <a:pt x="2826416" y="4153319"/>
                </a:cubicBezTo>
                <a:cubicBezTo>
                  <a:pt x="2826416" y="4147372"/>
                  <a:pt x="2831206" y="4142582"/>
                  <a:pt x="2837152" y="4142582"/>
                </a:cubicBezTo>
                <a:close/>
                <a:moveTo>
                  <a:pt x="3061303" y="4140269"/>
                </a:moveTo>
                <a:cubicBezTo>
                  <a:pt x="3067250" y="4140269"/>
                  <a:pt x="3072041" y="4145059"/>
                  <a:pt x="3072041" y="4151005"/>
                </a:cubicBezTo>
                <a:cubicBezTo>
                  <a:pt x="3072041" y="4156952"/>
                  <a:pt x="3067250" y="4161743"/>
                  <a:pt x="3061303" y="4161743"/>
                </a:cubicBezTo>
                <a:cubicBezTo>
                  <a:pt x="3055356" y="4161743"/>
                  <a:pt x="3050566" y="4156952"/>
                  <a:pt x="3050566" y="4151005"/>
                </a:cubicBezTo>
                <a:cubicBezTo>
                  <a:pt x="3050566" y="4145059"/>
                  <a:pt x="3055356" y="4140269"/>
                  <a:pt x="3061303" y="4140269"/>
                </a:cubicBezTo>
                <a:close/>
                <a:moveTo>
                  <a:pt x="2613994" y="4136306"/>
                </a:moveTo>
                <a:cubicBezTo>
                  <a:pt x="2619924" y="4136306"/>
                  <a:pt x="2624730" y="4141113"/>
                  <a:pt x="2624730" y="4147043"/>
                </a:cubicBezTo>
                <a:cubicBezTo>
                  <a:pt x="2624730" y="4152974"/>
                  <a:pt x="2619924" y="4157779"/>
                  <a:pt x="2613994" y="4157779"/>
                </a:cubicBezTo>
                <a:cubicBezTo>
                  <a:pt x="2608064" y="4157779"/>
                  <a:pt x="2603257" y="4152974"/>
                  <a:pt x="2603257" y="4147043"/>
                </a:cubicBezTo>
                <a:cubicBezTo>
                  <a:pt x="2603257" y="4141113"/>
                  <a:pt x="2608064" y="4136306"/>
                  <a:pt x="2613994" y="4136306"/>
                </a:cubicBezTo>
                <a:close/>
                <a:moveTo>
                  <a:pt x="1427000" y="4134818"/>
                </a:moveTo>
                <a:cubicBezTo>
                  <a:pt x="1432946" y="4134818"/>
                  <a:pt x="1437738" y="4139608"/>
                  <a:pt x="1437738" y="4145555"/>
                </a:cubicBezTo>
                <a:cubicBezTo>
                  <a:pt x="1437738" y="4151501"/>
                  <a:pt x="1432946" y="4156293"/>
                  <a:pt x="1427000" y="4156293"/>
                </a:cubicBezTo>
                <a:cubicBezTo>
                  <a:pt x="1421054" y="4156293"/>
                  <a:pt x="1416264" y="4151501"/>
                  <a:pt x="1416264" y="4145555"/>
                </a:cubicBezTo>
                <a:cubicBezTo>
                  <a:pt x="1416264" y="4139608"/>
                  <a:pt x="1421054" y="4134818"/>
                  <a:pt x="1427000" y="4134818"/>
                </a:cubicBezTo>
                <a:close/>
                <a:moveTo>
                  <a:pt x="319460" y="4133993"/>
                </a:moveTo>
                <a:cubicBezTo>
                  <a:pt x="325406" y="4133993"/>
                  <a:pt x="330196" y="4138783"/>
                  <a:pt x="330196" y="4144729"/>
                </a:cubicBezTo>
                <a:lnTo>
                  <a:pt x="320285" y="4154642"/>
                </a:lnTo>
                <a:lnTo>
                  <a:pt x="331023" y="4165376"/>
                </a:lnTo>
                <a:lnTo>
                  <a:pt x="320533" y="4175867"/>
                </a:lnTo>
                <a:lnTo>
                  <a:pt x="329865" y="4185198"/>
                </a:lnTo>
                <a:cubicBezTo>
                  <a:pt x="329865" y="4191145"/>
                  <a:pt x="325075" y="4195935"/>
                  <a:pt x="319129" y="4195935"/>
                </a:cubicBezTo>
                <a:cubicBezTo>
                  <a:pt x="313182" y="4195935"/>
                  <a:pt x="308392" y="4191145"/>
                  <a:pt x="308392" y="4185198"/>
                </a:cubicBezTo>
                <a:lnTo>
                  <a:pt x="318881" y="4174710"/>
                </a:lnTo>
                <a:lnTo>
                  <a:pt x="309549" y="4165376"/>
                </a:lnTo>
                <a:lnTo>
                  <a:pt x="319458" y="4155467"/>
                </a:lnTo>
                <a:lnTo>
                  <a:pt x="308723" y="4144729"/>
                </a:lnTo>
                <a:cubicBezTo>
                  <a:pt x="308723" y="4138783"/>
                  <a:pt x="313513" y="4133993"/>
                  <a:pt x="319460" y="4133993"/>
                </a:cubicBezTo>
                <a:close/>
                <a:moveTo>
                  <a:pt x="456063" y="4133001"/>
                </a:moveTo>
                <a:cubicBezTo>
                  <a:pt x="462010" y="4133001"/>
                  <a:pt x="466802" y="4137791"/>
                  <a:pt x="466802" y="4143737"/>
                </a:cubicBezTo>
                <a:cubicBezTo>
                  <a:pt x="466802" y="4149684"/>
                  <a:pt x="462010" y="4154475"/>
                  <a:pt x="456063" y="4154475"/>
                </a:cubicBezTo>
                <a:cubicBezTo>
                  <a:pt x="450117" y="4154475"/>
                  <a:pt x="445327" y="4149684"/>
                  <a:pt x="445327" y="4143737"/>
                </a:cubicBezTo>
                <a:cubicBezTo>
                  <a:pt x="445327" y="4137791"/>
                  <a:pt x="450117" y="4133001"/>
                  <a:pt x="456063" y="4133001"/>
                </a:cubicBezTo>
                <a:close/>
                <a:moveTo>
                  <a:pt x="399243" y="4132671"/>
                </a:moveTo>
                <a:cubicBezTo>
                  <a:pt x="405189" y="4132671"/>
                  <a:pt x="409979" y="4137461"/>
                  <a:pt x="409979" y="4143408"/>
                </a:cubicBezTo>
                <a:cubicBezTo>
                  <a:pt x="409979" y="4149354"/>
                  <a:pt x="405189" y="4154146"/>
                  <a:pt x="399243" y="4154146"/>
                </a:cubicBezTo>
                <a:cubicBezTo>
                  <a:pt x="393296" y="4154146"/>
                  <a:pt x="388506" y="4149354"/>
                  <a:pt x="388506" y="4143408"/>
                </a:cubicBezTo>
                <a:cubicBezTo>
                  <a:pt x="388506" y="4137461"/>
                  <a:pt x="393296" y="4132671"/>
                  <a:pt x="399243" y="4132671"/>
                </a:cubicBezTo>
                <a:close/>
                <a:moveTo>
                  <a:pt x="3282152" y="4130029"/>
                </a:moveTo>
                <a:cubicBezTo>
                  <a:pt x="3288098" y="4130029"/>
                  <a:pt x="3292890" y="4134818"/>
                  <a:pt x="3292890" y="4140765"/>
                </a:cubicBezTo>
                <a:cubicBezTo>
                  <a:pt x="3292890" y="4146711"/>
                  <a:pt x="3288098" y="4151503"/>
                  <a:pt x="3282152" y="4151503"/>
                </a:cubicBezTo>
                <a:cubicBezTo>
                  <a:pt x="3276205" y="4151503"/>
                  <a:pt x="3271415" y="4146711"/>
                  <a:pt x="3271415" y="4140765"/>
                </a:cubicBezTo>
                <a:cubicBezTo>
                  <a:pt x="3271415" y="4134818"/>
                  <a:pt x="3276205" y="4130029"/>
                  <a:pt x="3282152" y="4130029"/>
                </a:cubicBezTo>
                <a:close/>
                <a:moveTo>
                  <a:pt x="361415" y="4127386"/>
                </a:moveTo>
                <a:cubicBezTo>
                  <a:pt x="367362" y="4127386"/>
                  <a:pt x="372153" y="4132175"/>
                  <a:pt x="372153" y="4138122"/>
                </a:cubicBezTo>
                <a:cubicBezTo>
                  <a:pt x="372153" y="4144069"/>
                  <a:pt x="367362" y="4148860"/>
                  <a:pt x="361415" y="4148860"/>
                </a:cubicBezTo>
                <a:cubicBezTo>
                  <a:pt x="355468" y="4148860"/>
                  <a:pt x="350679" y="4144069"/>
                  <a:pt x="350679" y="4138122"/>
                </a:cubicBezTo>
                <a:cubicBezTo>
                  <a:pt x="350679" y="4132175"/>
                  <a:pt x="355468" y="4127386"/>
                  <a:pt x="361415" y="4127386"/>
                </a:cubicBezTo>
                <a:close/>
                <a:moveTo>
                  <a:pt x="301785" y="4127054"/>
                </a:moveTo>
                <a:cubicBezTo>
                  <a:pt x="307731" y="4127054"/>
                  <a:pt x="312521" y="4131844"/>
                  <a:pt x="312521" y="4137791"/>
                </a:cubicBezTo>
                <a:cubicBezTo>
                  <a:pt x="312521" y="4143737"/>
                  <a:pt x="307731" y="4148529"/>
                  <a:pt x="301785" y="4148529"/>
                </a:cubicBezTo>
                <a:cubicBezTo>
                  <a:pt x="295838" y="4148529"/>
                  <a:pt x="291049" y="4143737"/>
                  <a:pt x="291049" y="4137791"/>
                </a:cubicBezTo>
                <a:cubicBezTo>
                  <a:pt x="291049" y="4131844"/>
                  <a:pt x="295838" y="4127054"/>
                  <a:pt x="301785" y="4127054"/>
                </a:cubicBezTo>
                <a:close/>
                <a:moveTo>
                  <a:pt x="538985" y="4126064"/>
                </a:moveTo>
                <a:cubicBezTo>
                  <a:pt x="544932" y="4126064"/>
                  <a:pt x="549722" y="4130854"/>
                  <a:pt x="549722" y="4136801"/>
                </a:cubicBezTo>
                <a:cubicBezTo>
                  <a:pt x="549722" y="4142747"/>
                  <a:pt x="544932" y="4147539"/>
                  <a:pt x="538985" y="4147539"/>
                </a:cubicBezTo>
                <a:cubicBezTo>
                  <a:pt x="533039" y="4147539"/>
                  <a:pt x="528249" y="4142747"/>
                  <a:pt x="528249" y="4136801"/>
                </a:cubicBezTo>
                <a:cubicBezTo>
                  <a:pt x="528249" y="4130854"/>
                  <a:pt x="533039" y="4126064"/>
                  <a:pt x="538985" y="4126064"/>
                </a:cubicBezTo>
                <a:close/>
                <a:moveTo>
                  <a:pt x="280642" y="4125074"/>
                </a:moveTo>
                <a:cubicBezTo>
                  <a:pt x="285751" y="4125074"/>
                  <a:pt x="289892" y="4129215"/>
                  <a:pt x="289892" y="4134324"/>
                </a:cubicBezTo>
                <a:cubicBezTo>
                  <a:pt x="289892" y="4139433"/>
                  <a:pt x="285751" y="4143574"/>
                  <a:pt x="280642" y="4143574"/>
                </a:cubicBezTo>
                <a:cubicBezTo>
                  <a:pt x="275533" y="4143574"/>
                  <a:pt x="271392" y="4139433"/>
                  <a:pt x="271392" y="4134324"/>
                </a:cubicBezTo>
                <a:cubicBezTo>
                  <a:pt x="271392" y="4129215"/>
                  <a:pt x="275533" y="4125074"/>
                  <a:pt x="280642" y="4125074"/>
                </a:cubicBezTo>
                <a:close/>
                <a:moveTo>
                  <a:pt x="2396119" y="4122761"/>
                </a:moveTo>
                <a:cubicBezTo>
                  <a:pt x="2402066" y="4122761"/>
                  <a:pt x="2406857" y="4127550"/>
                  <a:pt x="2406857" y="4133497"/>
                </a:cubicBezTo>
                <a:cubicBezTo>
                  <a:pt x="2406857" y="4139443"/>
                  <a:pt x="2402066" y="4144235"/>
                  <a:pt x="2396119" y="4144235"/>
                </a:cubicBezTo>
                <a:cubicBezTo>
                  <a:pt x="2390172" y="4144235"/>
                  <a:pt x="2385383" y="4139443"/>
                  <a:pt x="2385383" y="4133497"/>
                </a:cubicBezTo>
                <a:cubicBezTo>
                  <a:pt x="2385383" y="4127550"/>
                  <a:pt x="2390172" y="4122761"/>
                  <a:pt x="2396119" y="4122761"/>
                </a:cubicBezTo>
                <a:close/>
                <a:moveTo>
                  <a:pt x="335978" y="4119786"/>
                </a:moveTo>
                <a:cubicBezTo>
                  <a:pt x="341924" y="4119786"/>
                  <a:pt x="346714" y="4124576"/>
                  <a:pt x="346714" y="4130523"/>
                </a:cubicBezTo>
                <a:cubicBezTo>
                  <a:pt x="346714" y="4136469"/>
                  <a:pt x="341924" y="4141261"/>
                  <a:pt x="335978" y="4141261"/>
                </a:cubicBezTo>
                <a:cubicBezTo>
                  <a:pt x="330031" y="4141261"/>
                  <a:pt x="325242" y="4136469"/>
                  <a:pt x="325242" y="4130523"/>
                </a:cubicBezTo>
                <a:cubicBezTo>
                  <a:pt x="325242" y="4124576"/>
                  <a:pt x="330031" y="4119786"/>
                  <a:pt x="335978" y="4119786"/>
                </a:cubicBezTo>
                <a:close/>
                <a:moveTo>
                  <a:pt x="913616" y="4114997"/>
                </a:moveTo>
                <a:cubicBezTo>
                  <a:pt x="919563" y="4114997"/>
                  <a:pt x="924353" y="4119786"/>
                  <a:pt x="924353" y="4125733"/>
                </a:cubicBezTo>
                <a:cubicBezTo>
                  <a:pt x="924353" y="4131679"/>
                  <a:pt x="919563" y="4136471"/>
                  <a:pt x="913616" y="4136471"/>
                </a:cubicBezTo>
                <a:cubicBezTo>
                  <a:pt x="907670" y="4136471"/>
                  <a:pt x="902880" y="4131679"/>
                  <a:pt x="902880" y="4125733"/>
                </a:cubicBezTo>
                <a:cubicBezTo>
                  <a:pt x="902880" y="4119786"/>
                  <a:pt x="907670" y="4114997"/>
                  <a:pt x="913616" y="4114997"/>
                </a:cubicBezTo>
                <a:close/>
                <a:moveTo>
                  <a:pt x="3495731" y="4112685"/>
                </a:moveTo>
                <a:lnTo>
                  <a:pt x="3503192" y="4120145"/>
                </a:lnTo>
                <a:lnTo>
                  <a:pt x="3503192" y="4126698"/>
                </a:lnTo>
                <a:lnTo>
                  <a:pt x="3495731" y="4134159"/>
                </a:lnTo>
                <a:cubicBezTo>
                  <a:pt x="3489784" y="4134159"/>
                  <a:pt x="3484994" y="4129368"/>
                  <a:pt x="3484994" y="4123421"/>
                </a:cubicBezTo>
                <a:cubicBezTo>
                  <a:pt x="3484994" y="4117475"/>
                  <a:pt x="3489784" y="4112685"/>
                  <a:pt x="3495731" y="4112685"/>
                </a:cubicBezTo>
                <a:close/>
                <a:moveTo>
                  <a:pt x="317478" y="4111858"/>
                </a:moveTo>
                <a:cubicBezTo>
                  <a:pt x="323424" y="4111858"/>
                  <a:pt x="328216" y="4116648"/>
                  <a:pt x="328216" y="4122594"/>
                </a:cubicBezTo>
                <a:cubicBezTo>
                  <a:pt x="328216" y="4128541"/>
                  <a:pt x="323424" y="4133332"/>
                  <a:pt x="317478" y="4133332"/>
                </a:cubicBezTo>
                <a:cubicBezTo>
                  <a:pt x="311531" y="4133332"/>
                  <a:pt x="306741" y="4128541"/>
                  <a:pt x="306741" y="4122594"/>
                </a:cubicBezTo>
                <a:cubicBezTo>
                  <a:pt x="306741" y="4116648"/>
                  <a:pt x="311531" y="4111858"/>
                  <a:pt x="317478" y="4111858"/>
                </a:cubicBezTo>
                <a:close/>
                <a:moveTo>
                  <a:pt x="261481" y="4110867"/>
                </a:moveTo>
                <a:cubicBezTo>
                  <a:pt x="261573" y="4110867"/>
                  <a:pt x="261647" y="4110942"/>
                  <a:pt x="261647" y="4111032"/>
                </a:cubicBezTo>
                <a:cubicBezTo>
                  <a:pt x="261647" y="4111124"/>
                  <a:pt x="261573" y="4111197"/>
                  <a:pt x="261481" y="4111197"/>
                </a:cubicBezTo>
                <a:cubicBezTo>
                  <a:pt x="261391" y="4111197"/>
                  <a:pt x="261316" y="4111124"/>
                  <a:pt x="261316" y="4111032"/>
                </a:cubicBezTo>
                <a:cubicBezTo>
                  <a:pt x="261316" y="4110942"/>
                  <a:pt x="261391" y="4110867"/>
                  <a:pt x="261481" y="4110867"/>
                </a:cubicBezTo>
                <a:close/>
                <a:moveTo>
                  <a:pt x="656759" y="4108556"/>
                </a:moveTo>
                <a:cubicBezTo>
                  <a:pt x="662706" y="4108556"/>
                  <a:pt x="667496" y="4113346"/>
                  <a:pt x="667496" y="4119292"/>
                </a:cubicBezTo>
                <a:cubicBezTo>
                  <a:pt x="667496" y="4125239"/>
                  <a:pt x="662706" y="4130030"/>
                  <a:pt x="656759" y="4130030"/>
                </a:cubicBezTo>
                <a:cubicBezTo>
                  <a:pt x="650813" y="4130030"/>
                  <a:pt x="646023" y="4125239"/>
                  <a:pt x="646023" y="4119292"/>
                </a:cubicBezTo>
                <a:cubicBezTo>
                  <a:pt x="646023" y="4113346"/>
                  <a:pt x="650813" y="4108556"/>
                  <a:pt x="656759" y="4108556"/>
                </a:cubicBezTo>
                <a:close/>
                <a:moveTo>
                  <a:pt x="301289" y="4105086"/>
                </a:moveTo>
                <a:cubicBezTo>
                  <a:pt x="307236" y="4105086"/>
                  <a:pt x="312025" y="4109876"/>
                  <a:pt x="312025" y="4115822"/>
                </a:cubicBezTo>
                <a:cubicBezTo>
                  <a:pt x="312025" y="4121769"/>
                  <a:pt x="307236" y="4126560"/>
                  <a:pt x="301289" y="4126560"/>
                </a:cubicBezTo>
                <a:cubicBezTo>
                  <a:pt x="295342" y="4126560"/>
                  <a:pt x="290553" y="4121769"/>
                  <a:pt x="290553" y="4115822"/>
                </a:cubicBezTo>
                <a:cubicBezTo>
                  <a:pt x="290553" y="4109876"/>
                  <a:pt x="295342" y="4105086"/>
                  <a:pt x="301289" y="4105086"/>
                </a:cubicBezTo>
                <a:close/>
                <a:moveTo>
                  <a:pt x="2186834" y="4102609"/>
                </a:moveTo>
                <a:cubicBezTo>
                  <a:pt x="2192780" y="4102609"/>
                  <a:pt x="2197570" y="4107399"/>
                  <a:pt x="2197570" y="4113346"/>
                </a:cubicBezTo>
                <a:cubicBezTo>
                  <a:pt x="2197570" y="4119292"/>
                  <a:pt x="2192780" y="4124084"/>
                  <a:pt x="2186834" y="4124084"/>
                </a:cubicBezTo>
                <a:cubicBezTo>
                  <a:pt x="2180888" y="4124084"/>
                  <a:pt x="2176098" y="4119292"/>
                  <a:pt x="2176098" y="4113346"/>
                </a:cubicBezTo>
                <a:cubicBezTo>
                  <a:pt x="2176098" y="4107399"/>
                  <a:pt x="2180888" y="4102609"/>
                  <a:pt x="2186834" y="4102609"/>
                </a:cubicBezTo>
                <a:close/>
                <a:moveTo>
                  <a:pt x="283616" y="4100957"/>
                </a:moveTo>
                <a:cubicBezTo>
                  <a:pt x="289562" y="4100957"/>
                  <a:pt x="294352" y="4105746"/>
                  <a:pt x="294352" y="4111693"/>
                </a:cubicBezTo>
                <a:cubicBezTo>
                  <a:pt x="294352" y="4117639"/>
                  <a:pt x="289562" y="4122431"/>
                  <a:pt x="283616" y="4122431"/>
                </a:cubicBezTo>
                <a:cubicBezTo>
                  <a:pt x="277669" y="4122431"/>
                  <a:pt x="272880" y="4117639"/>
                  <a:pt x="272880" y="4111693"/>
                </a:cubicBezTo>
                <a:cubicBezTo>
                  <a:pt x="272880" y="4105746"/>
                  <a:pt x="277669" y="4100957"/>
                  <a:pt x="283616" y="4100957"/>
                </a:cubicBezTo>
                <a:close/>
                <a:moveTo>
                  <a:pt x="1285440" y="4099139"/>
                </a:moveTo>
                <a:cubicBezTo>
                  <a:pt x="1291387" y="4099139"/>
                  <a:pt x="1296178" y="4103929"/>
                  <a:pt x="1296178" y="4109876"/>
                </a:cubicBezTo>
                <a:cubicBezTo>
                  <a:pt x="1296178" y="4115822"/>
                  <a:pt x="1291387" y="4120614"/>
                  <a:pt x="1285440" y="4120614"/>
                </a:cubicBezTo>
                <a:cubicBezTo>
                  <a:pt x="1279494" y="4120614"/>
                  <a:pt x="1274704" y="4115822"/>
                  <a:pt x="1274704" y="4109876"/>
                </a:cubicBezTo>
                <a:cubicBezTo>
                  <a:pt x="1274704" y="4103929"/>
                  <a:pt x="1279494" y="4099139"/>
                  <a:pt x="1285440" y="4099139"/>
                </a:cubicBezTo>
                <a:close/>
                <a:moveTo>
                  <a:pt x="367857" y="4096496"/>
                </a:moveTo>
                <a:cubicBezTo>
                  <a:pt x="373804" y="4096496"/>
                  <a:pt x="378594" y="4101286"/>
                  <a:pt x="378594" y="4107233"/>
                </a:cubicBezTo>
                <a:cubicBezTo>
                  <a:pt x="378594" y="4113179"/>
                  <a:pt x="373804" y="4117969"/>
                  <a:pt x="367857" y="4117969"/>
                </a:cubicBezTo>
                <a:cubicBezTo>
                  <a:pt x="361911" y="4117969"/>
                  <a:pt x="357121" y="4113179"/>
                  <a:pt x="357121" y="4107233"/>
                </a:cubicBezTo>
                <a:cubicBezTo>
                  <a:pt x="357121" y="4101286"/>
                  <a:pt x="361911" y="4096496"/>
                  <a:pt x="367857" y="4096496"/>
                </a:cubicBezTo>
                <a:close/>
                <a:moveTo>
                  <a:pt x="415761" y="4095671"/>
                </a:moveTo>
                <a:cubicBezTo>
                  <a:pt x="421707" y="4095671"/>
                  <a:pt x="426497" y="4100461"/>
                  <a:pt x="426497" y="4106407"/>
                </a:cubicBezTo>
                <a:cubicBezTo>
                  <a:pt x="426497" y="4112354"/>
                  <a:pt x="421707" y="4117145"/>
                  <a:pt x="415761" y="4117145"/>
                </a:cubicBezTo>
                <a:cubicBezTo>
                  <a:pt x="409814" y="4117145"/>
                  <a:pt x="405025" y="4112354"/>
                  <a:pt x="405025" y="4106407"/>
                </a:cubicBezTo>
                <a:cubicBezTo>
                  <a:pt x="405025" y="4100461"/>
                  <a:pt x="409814" y="4095671"/>
                  <a:pt x="415761" y="4095671"/>
                </a:cubicBezTo>
                <a:close/>
                <a:moveTo>
                  <a:pt x="336472" y="4093028"/>
                </a:moveTo>
                <a:cubicBezTo>
                  <a:pt x="342419" y="4093028"/>
                  <a:pt x="347210" y="4097818"/>
                  <a:pt x="347210" y="4103764"/>
                </a:cubicBezTo>
                <a:cubicBezTo>
                  <a:pt x="347210" y="4109711"/>
                  <a:pt x="342419" y="4114502"/>
                  <a:pt x="336472" y="4114502"/>
                </a:cubicBezTo>
                <a:cubicBezTo>
                  <a:pt x="330526" y="4114502"/>
                  <a:pt x="325736" y="4109711"/>
                  <a:pt x="325736" y="4103764"/>
                </a:cubicBezTo>
                <a:cubicBezTo>
                  <a:pt x="325736" y="4097818"/>
                  <a:pt x="330526" y="4093028"/>
                  <a:pt x="336472" y="4093028"/>
                </a:cubicBezTo>
                <a:close/>
                <a:moveTo>
                  <a:pt x="486953" y="4087907"/>
                </a:moveTo>
                <a:cubicBezTo>
                  <a:pt x="492899" y="4087907"/>
                  <a:pt x="497689" y="4092697"/>
                  <a:pt x="497689" y="4098643"/>
                </a:cubicBezTo>
                <a:cubicBezTo>
                  <a:pt x="497689" y="4104590"/>
                  <a:pt x="492899" y="4109381"/>
                  <a:pt x="486953" y="4109381"/>
                </a:cubicBezTo>
                <a:cubicBezTo>
                  <a:pt x="481006" y="4109381"/>
                  <a:pt x="476216" y="4104590"/>
                  <a:pt x="476216" y="4098643"/>
                </a:cubicBezTo>
                <a:cubicBezTo>
                  <a:pt x="476216" y="4092697"/>
                  <a:pt x="481006" y="4087907"/>
                  <a:pt x="486953" y="4087907"/>
                </a:cubicBezTo>
                <a:close/>
                <a:moveTo>
                  <a:pt x="315164" y="4087577"/>
                </a:moveTo>
                <a:cubicBezTo>
                  <a:pt x="321111" y="4087577"/>
                  <a:pt x="325901" y="4092367"/>
                  <a:pt x="325901" y="4098314"/>
                </a:cubicBezTo>
                <a:cubicBezTo>
                  <a:pt x="325901" y="4104260"/>
                  <a:pt x="321111" y="4109052"/>
                  <a:pt x="315164" y="4109052"/>
                </a:cubicBezTo>
                <a:cubicBezTo>
                  <a:pt x="309218" y="4109052"/>
                  <a:pt x="304428" y="4104260"/>
                  <a:pt x="304428" y="4098314"/>
                </a:cubicBezTo>
                <a:cubicBezTo>
                  <a:pt x="304428" y="4092367"/>
                  <a:pt x="309218" y="4087577"/>
                  <a:pt x="315164" y="4087577"/>
                </a:cubicBezTo>
                <a:close/>
                <a:moveTo>
                  <a:pt x="1988616" y="4077666"/>
                </a:moveTo>
                <a:cubicBezTo>
                  <a:pt x="1994563" y="4077666"/>
                  <a:pt x="1999354" y="4082456"/>
                  <a:pt x="1999354" y="4088403"/>
                </a:cubicBezTo>
                <a:cubicBezTo>
                  <a:pt x="1999354" y="4094349"/>
                  <a:pt x="1994563" y="4099139"/>
                  <a:pt x="1988616" y="4099139"/>
                </a:cubicBezTo>
                <a:cubicBezTo>
                  <a:pt x="1982670" y="4099139"/>
                  <a:pt x="1977880" y="4094349"/>
                  <a:pt x="1977880" y="4088403"/>
                </a:cubicBezTo>
                <a:cubicBezTo>
                  <a:pt x="1977880" y="4082456"/>
                  <a:pt x="1982670" y="4077666"/>
                  <a:pt x="1988616" y="4077666"/>
                </a:cubicBezTo>
                <a:close/>
                <a:moveTo>
                  <a:pt x="818968" y="4076841"/>
                </a:moveTo>
                <a:cubicBezTo>
                  <a:pt x="824915" y="4076841"/>
                  <a:pt x="829704" y="4081631"/>
                  <a:pt x="829704" y="4087577"/>
                </a:cubicBezTo>
                <a:cubicBezTo>
                  <a:pt x="829704" y="4093524"/>
                  <a:pt x="824915" y="4098315"/>
                  <a:pt x="818968" y="4098315"/>
                </a:cubicBezTo>
                <a:cubicBezTo>
                  <a:pt x="813022" y="4098315"/>
                  <a:pt x="808232" y="4093524"/>
                  <a:pt x="808232" y="4087577"/>
                </a:cubicBezTo>
                <a:cubicBezTo>
                  <a:pt x="808232" y="4081631"/>
                  <a:pt x="813022" y="4076841"/>
                  <a:pt x="818968" y="4076841"/>
                </a:cubicBezTo>
                <a:close/>
                <a:moveTo>
                  <a:pt x="265775" y="4076179"/>
                </a:moveTo>
                <a:lnTo>
                  <a:pt x="275522" y="4085925"/>
                </a:lnTo>
                <a:lnTo>
                  <a:pt x="283781" y="4077666"/>
                </a:lnTo>
                <a:lnTo>
                  <a:pt x="293608" y="4087494"/>
                </a:lnTo>
                <a:lnTo>
                  <a:pt x="299142" y="4081960"/>
                </a:lnTo>
                <a:cubicBezTo>
                  <a:pt x="305089" y="4081960"/>
                  <a:pt x="309880" y="4086750"/>
                  <a:pt x="309880" y="4092697"/>
                </a:cubicBezTo>
                <a:cubicBezTo>
                  <a:pt x="309880" y="4098643"/>
                  <a:pt x="305089" y="4103435"/>
                  <a:pt x="299142" y="4103435"/>
                </a:cubicBezTo>
                <a:lnTo>
                  <a:pt x="289314" y="4093605"/>
                </a:lnTo>
                <a:lnTo>
                  <a:pt x="283781" y="4099139"/>
                </a:lnTo>
                <a:lnTo>
                  <a:pt x="274034" y="4089393"/>
                </a:lnTo>
                <a:lnTo>
                  <a:pt x="265775" y="4097653"/>
                </a:lnTo>
                <a:cubicBezTo>
                  <a:pt x="259828" y="4097653"/>
                  <a:pt x="255038" y="4092861"/>
                  <a:pt x="255038" y="4086915"/>
                </a:cubicBezTo>
                <a:cubicBezTo>
                  <a:pt x="255038" y="4080968"/>
                  <a:pt x="259828" y="4076179"/>
                  <a:pt x="265775" y="4076179"/>
                </a:cubicBezTo>
                <a:close/>
                <a:moveTo>
                  <a:pt x="589532" y="4070232"/>
                </a:moveTo>
                <a:cubicBezTo>
                  <a:pt x="595478" y="4070232"/>
                  <a:pt x="600268" y="4075022"/>
                  <a:pt x="600268" y="4080968"/>
                </a:cubicBezTo>
                <a:cubicBezTo>
                  <a:pt x="600268" y="4086915"/>
                  <a:pt x="595478" y="4091706"/>
                  <a:pt x="589532" y="4091706"/>
                </a:cubicBezTo>
                <a:cubicBezTo>
                  <a:pt x="583585" y="4091706"/>
                  <a:pt x="578795" y="4086915"/>
                  <a:pt x="578795" y="4080968"/>
                </a:cubicBezTo>
                <a:cubicBezTo>
                  <a:pt x="578795" y="4075022"/>
                  <a:pt x="583585" y="4070232"/>
                  <a:pt x="589532" y="4070232"/>
                </a:cubicBezTo>
                <a:close/>
                <a:moveTo>
                  <a:pt x="1155277" y="4062966"/>
                </a:moveTo>
                <a:cubicBezTo>
                  <a:pt x="1161224" y="4062966"/>
                  <a:pt x="1166014" y="4067756"/>
                  <a:pt x="1166014" y="4073702"/>
                </a:cubicBezTo>
                <a:cubicBezTo>
                  <a:pt x="1166014" y="4079649"/>
                  <a:pt x="1161224" y="4084438"/>
                  <a:pt x="1155277" y="4084438"/>
                </a:cubicBezTo>
                <a:cubicBezTo>
                  <a:pt x="1149331" y="4084438"/>
                  <a:pt x="1144541" y="4079649"/>
                  <a:pt x="1144541" y="4073702"/>
                </a:cubicBezTo>
                <a:cubicBezTo>
                  <a:pt x="1144541" y="4067756"/>
                  <a:pt x="1149331" y="4062966"/>
                  <a:pt x="1155277" y="4062966"/>
                </a:cubicBezTo>
                <a:close/>
                <a:moveTo>
                  <a:pt x="339942" y="4061478"/>
                </a:moveTo>
                <a:cubicBezTo>
                  <a:pt x="345889" y="4061478"/>
                  <a:pt x="350679" y="4066268"/>
                  <a:pt x="350679" y="4072214"/>
                </a:cubicBezTo>
                <a:cubicBezTo>
                  <a:pt x="350679" y="4078161"/>
                  <a:pt x="345889" y="4082952"/>
                  <a:pt x="339942" y="4082952"/>
                </a:cubicBezTo>
                <a:cubicBezTo>
                  <a:pt x="333996" y="4082952"/>
                  <a:pt x="329206" y="4078161"/>
                  <a:pt x="329206" y="4072214"/>
                </a:cubicBezTo>
                <a:cubicBezTo>
                  <a:pt x="329206" y="4066268"/>
                  <a:pt x="333996" y="4061478"/>
                  <a:pt x="339942" y="4061478"/>
                </a:cubicBezTo>
                <a:close/>
                <a:moveTo>
                  <a:pt x="379751" y="4059331"/>
                </a:moveTo>
                <a:cubicBezTo>
                  <a:pt x="385697" y="4059331"/>
                  <a:pt x="390487" y="4064121"/>
                  <a:pt x="390487" y="4070067"/>
                </a:cubicBezTo>
                <a:cubicBezTo>
                  <a:pt x="390487" y="4076014"/>
                  <a:pt x="385697" y="4080804"/>
                  <a:pt x="379751" y="4080804"/>
                </a:cubicBezTo>
                <a:cubicBezTo>
                  <a:pt x="373804" y="4080804"/>
                  <a:pt x="369014" y="4076014"/>
                  <a:pt x="369014" y="4070067"/>
                </a:cubicBezTo>
                <a:cubicBezTo>
                  <a:pt x="369014" y="4064121"/>
                  <a:pt x="373804" y="4059331"/>
                  <a:pt x="379751" y="4059331"/>
                </a:cubicBezTo>
                <a:close/>
                <a:moveTo>
                  <a:pt x="247937" y="4054706"/>
                </a:moveTo>
                <a:cubicBezTo>
                  <a:pt x="252562" y="4054706"/>
                  <a:pt x="256361" y="4058505"/>
                  <a:pt x="256361" y="4063131"/>
                </a:cubicBezTo>
                <a:cubicBezTo>
                  <a:pt x="256361" y="4067756"/>
                  <a:pt x="252562" y="4071553"/>
                  <a:pt x="247937" y="4071553"/>
                </a:cubicBezTo>
                <a:cubicBezTo>
                  <a:pt x="243312" y="4071553"/>
                  <a:pt x="239512" y="4067756"/>
                  <a:pt x="239512" y="4063131"/>
                </a:cubicBezTo>
                <a:cubicBezTo>
                  <a:pt x="239512" y="4058505"/>
                  <a:pt x="243312" y="4054706"/>
                  <a:pt x="247937" y="4054706"/>
                </a:cubicBezTo>
                <a:close/>
                <a:moveTo>
                  <a:pt x="266766" y="4051567"/>
                </a:moveTo>
                <a:lnTo>
                  <a:pt x="275108" y="4059910"/>
                </a:lnTo>
                <a:lnTo>
                  <a:pt x="281798" y="4053220"/>
                </a:lnTo>
                <a:lnTo>
                  <a:pt x="290636" y="4062057"/>
                </a:lnTo>
                <a:lnTo>
                  <a:pt x="296170" y="4056523"/>
                </a:lnTo>
                <a:lnTo>
                  <a:pt x="306741" y="4067095"/>
                </a:lnTo>
                <a:lnTo>
                  <a:pt x="314009" y="4059827"/>
                </a:lnTo>
                <a:cubicBezTo>
                  <a:pt x="319956" y="4059827"/>
                  <a:pt x="324746" y="4064617"/>
                  <a:pt x="324746" y="4070563"/>
                </a:cubicBezTo>
                <a:cubicBezTo>
                  <a:pt x="324746" y="4076510"/>
                  <a:pt x="319956" y="4081301"/>
                  <a:pt x="314009" y="4081301"/>
                </a:cubicBezTo>
                <a:lnTo>
                  <a:pt x="303438" y="4070728"/>
                </a:lnTo>
                <a:lnTo>
                  <a:pt x="296170" y="4077996"/>
                </a:lnTo>
                <a:lnTo>
                  <a:pt x="287332" y="4069159"/>
                </a:lnTo>
                <a:lnTo>
                  <a:pt x="281798" y="4074694"/>
                </a:lnTo>
                <a:lnTo>
                  <a:pt x="273455" y="4066351"/>
                </a:lnTo>
                <a:lnTo>
                  <a:pt x="266766" y="4073041"/>
                </a:lnTo>
                <a:cubicBezTo>
                  <a:pt x="260820" y="4073041"/>
                  <a:pt x="256030" y="4068250"/>
                  <a:pt x="256030" y="4062303"/>
                </a:cubicBezTo>
                <a:cubicBezTo>
                  <a:pt x="256030" y="4056357"/>
                  <a:pt x="260820" y="4051567"/>
                  <a:pt x="266766" y="4051567"/>
                </a:cubicBezTo>
                <a:close/>
                <a:moveTo>
                  <a:pt x="440372" y="4050906"/>
                </a:moveTo>
                <a:cubicBezTo>
                  <a:pt x="446319" y="4050906"/>
                  <a:pt x="451109" y="4055696"/>
                  <a:pt x="451109" y="4061643"/>
                </a:cubicBezTo>
                <a:cubicBezTo>
                  <a:pt x="451109" y="4067589"/>
                  <a:pt x="446319" y="4072381"/>
                  <a:pt x="440372" y="4072381"/>
                </a:cubicBezTo>
                <a:cubicBezTo>
                  <a:pt x="434426" y="4072381"/>
                  <a:pt x="429636" y="4067589"/>
                  <a:pt x="429636" y="4061643"/>
                </a:cubicBezTo>
                <a:cubicBezTo>
                  <a:pt x="429636" y="4055696"/>
                  <a:pt x="434426" y="4050906"/>
                  <a:pt x="440372" y="4050906"/>
                </a:cubicBezTo>
                <a:close/>
                <a:moveTo>
                  <a:pt x="1802457" y="4049255"/>
                </a:moveTo>
                <a:cubicBezTo>
                  <a:pt x="1808403" y="4049255"/>
                  <a:pt x="1813193" y="4054045"/>
                  <a:pt x="1813193" y="4059992"/>
                </a:cubicBezTo>
                <a:cubicBezTo>
                  <a:pt x="1813193" y="4065938"/>
                  <a:pt x="1808403" y="4070728"/>
                  <a:pt x="1802457" y="4070728"/>
                </a:cubicBezTo>
                <a:cubicBezTo>
                  <a:pt x="1796510" y="4070728"/>
                  <a:pt x="1791720" y="4065938"/>
                  <a:pt x="1791720" y="4059992"/>
                </a:cubicBezTo>
                <a:cubicBezTo>
                  <a:pt x="1791720" y="4054045"/>
                  <a:pt x="1796510" y="4049255"/>
                  <a:pt x="1802457" y="4049255"/>
                </a:cubicBezTo>
                <a:close/>
                <a:moveTo>
                  <a:pt x="733074" y="4039344"/>
                </a:moveTo>
                <a:cubicBezTo>
                  <a:pt x="739020" y="4039344"/>
                  <a:pt x="743810" y="4044134"/>
                  <a:pt x="743810" y="4050081"/>
                </a:cubicBezTo>
                <a:cubicBezTo>
                  <a:pt x="743810" y="4056027"/>
                  <a:pt x="739020" y="4060819"/>
                  <a:pt x="733074" y="4060819"/>
                </a:cubicBezTo>
                <a:cubicBezTo>
                  <a:pt x="727127" y="4060819"/>
                  <a:pt x="722337" y="4056027"/>
                  <a:pt x="722337" y="4050081"/>
                </a:cubicBezTo>
                <a:cubicBezTo>
                  <a:pt x="722337" y="4044134"/>
                  <a:pt x="727127" y="4039344"/>
                  <a:pt x="733074" y="4039344"/>
                </a:cubicBezTo>
                <a:close/>
                <a:moveTo>
                  <a:pt x="529239" y="4033067"/>
                </a:moveTo>
                <a:cubicBezTo>
                  <a:pt x="535186" y="4033067"/>
                  <a:pt x="539976" y="4037856"/>
                  <a:pt x="539976" y="4043803"/>
                </a:cubicBezTo>
                <a:cubicBezTo>
                  <a:pt x="539976" y="4049750"/>
                  <a:pt x="535186" y="4054541"/>
                  <a:pt x="529239" y="4054541"/>
                </a:cubicBezTo>
                <a:cubicBezTo>
                  <a:pt x="523293" y="4054541"/>
                  <a:pt x="518503" y="4049750"/>
                  <a:pt x="518503" y="4043803"/>
                </a:cubicBezTo>
                <a:cubicBezTo>
                  <a:pt x="518503" y="4037856"/>
                  <a:pt x="523293" y="4033067"/>
                  <a:pt x="529239" y="4033067"/>
                </a:cubicBezTo>
                <a:close/>
                <a:moveTo>
                  <a:pt x="1036015" y="4026791"/>
                </a:moveTo>
                <a:cubicBezTo>
                  <a:pt x="1041962" y="4026791"/>
                  <a:pt x="1046752" y="4031580"/>
                  <a:pt x="1046752" y="4037527"/>
                </a:cubicBezTo>
                <a:cubicBezTo>
                  <a:pt x="1046752" y="4043474"/>
                  <a:pt x="1041962" y="4048265"/>
                  <a:pt x="1036015" y="4048265"/>
                </a:cubicBezTo>
                <a:cubicBezTo>
                  <a:pt x="1030069" y="4048265"/>
                  <a:pt x="1025279" y="4043474"/>
                  <a:pt x="1025279" y="4037527"/>
                </a:cubicBezTo>
                <a:cubicBezTo>
                  <a:pt x="1025279" y="4031580"/>
                  <a:pt x="1030069" y="4026791"/>
                  <a:pt x="1036015" y="4026791"/>
                </a:cubicBezTo>
                <a:close/>
                <a:moveTo>
                  <a:pt x="265445" y="4025965"/>
                </a:moveTo>
                <a:lnTo>
                  <a:pt x="272547" y="4033068"/>
                </a:lnTo>
                <a:lnTo>
                  <a:pt x="278660" y="4026955"/>
                </a:lnTo>
                <a:lnTo>
                  <a:pt x="286755" y="4035049"/>
                </a:lnTo>
                <a:lnTo>
                  <a:pt x="293692" y="4028112"/>
                </a:lnTo>
                <a:lnTo>
                  <a:pt x="304180" y="4038600"/>
                </a:lnTo>
                <a:lnTo>
                  <a:pt x="314835" y="4027946"/>
                </a:lnTo>
                <a:cubicBezTo>
                  <a:pt x="320781" y="4027946"/>
                  <a:pt x="325571" y="4032735"/>
                  <a:pt x="325571" y="4038682"/>
                </a:cubicBezTo>
                <a:cubicBezTo>
                  <a:pt x="325571" y="4044628"/>
                  <a:pt x="320781" y="4049420"/>
                  <a:pt x="314835" y="4049420"/>
                </a:cubicBezTo>
                <a:lnTo>
                  <a:pt x="304346" y="4038932"/>
                </a:lnTo>
                <a:lnTo>
                  <a:pt x="293692" y="4049585"/>
                </a:lnTo>
                <a:lnTo>
                  <a:pt x="285598" y="4041491"/>
                </a:lnTo>
                <a:lnTo>
                  <a:pt x="278660" y="4048430"/>
                </a:lnTo>
                <a:lnTo>
                  <a:pt x="271556" y="4041327"/>
                </a:lnTo>
                <a:lnTo>
                  <a:pt x="265445" y="4047440"/>
                </a:lnTo>
                <a:lnTo>
                  <a:pt x="258177" y="4040172"/>
                </a:lnTo>
                <a:lnTo>
                  <a:pt x="250084" y="4048265"/>
                </a:lnTo>
                <a:cubicBezTo>
                  <a:pt x="244137" y="4048265"/>
                  <a:pt x="239347" y="4043474"/>
                  <a:pt x="239347" y="4037527"/>
                </a:cubicBezTo>
                <a:cubicBezTo>
                  <a:pt x="239347" y="4031580"/>
                  <a:pt x="244137" y="4026791"/>
                  <a:pt x="250084" y="4026791"/>
                </a:cubicBezTo>
                <a:lnTo>
                  <a:pt x="257352" y="4034059"/>
                </a:lnTo>
                <a:close/>
                <a:moveTo>
                  <a:pt x="347871" y="4024477"/>
                </a:moveTo>
                <a:cubicBezTo>
                  <a:pt x="353818" y="4024477"/>
                  <a:pt x="358607" y="4029267"/>
                  <a:pt x="358607" y="4035214"/>
                </a:cubicBezTo>
                <a:cubicBezTo>
                  <a:pt x="358607" y="4041160"/>
                  <a:pt x="353818" y="4045950"/>
                  <a:pt x="347871" y="4045950"/>
                </a:cubicBezTo>
                <a:cubicBezTo>
                  <a:pt x="341924" y="4045950"/>
                  <a:pt x="337135" y="4041160"/>
                  <a:pt x="337135" y="4035214"/>
                </a:cubicBezTo>
                <a:cubicBezTo>
                  <a:pt x="337135" y="4029267"/>
                  <a:pt x="341924" y="4024477"/>
                  <a:pt x="347871" y="4024477"/>
                </a:cubicBezTo>
                <a:close/>
                <a:moveTo>
                  <a:pt x="1629017" y="4018695"/>
                </a:moveTo>
                <a:cubicBezTo>
                  <a:pt x="1634964" y="4018695"/>
                  <a:pt x="1639754" y="4023485"/>
                  <a:pt x="1639754" y="4029432"/>
                </a:cubicBezTo>
                <a:cubicBezTo>
                  <a:pt x="1639754" y="4035378"/>
                  <a:pt x="1634964" y="4040170"/>
                  <a:pt x="1629017" y="4040170"/>
                </a:cubicBezTo>
                <a:cubicBezTo>
                  <a:pt x="1623071" y="4040170"/>
                  <a:pt x="1618281" y="4035378"/>
                  <a:pt x="1618281" y="4029432"/>
                </a:cubicBezTo>
                <a:cubicBezTo>
                  <a:pt x="1618281" y="4023485"/>
                  <a:pt x="1623071" y="4018695"/>
                  <a:pt x="1629017" y="4018695"/>
                </a:cubicBezTo>
                <a:close/>
                <a:moveTo>
                  <a:pt x="398912" y="4015062"/>
                </a:moveTo>
                <a:cubicBezTo>
                  <a:pt x="404858" y="4015062"/>
                  <a:pt x="409648" y="4019852"/>
                  <a:pt x="409648" y="4025799"/>
                </a:cubicBezTo>
                <a:cubicBezTo>
                  <a:pt x="409648" y="4031745"/>
                  <a:pt x="404858" y="4036537"/>
                  <a:pt x="398912" y="4036537"/>
                </a:cubicBezTo>
                <a:cubicBezTo>
                  <a:pt x="392965" y="4036537"/>
                  <a:pt x="388175" y="4031745"/>
                  <a:pt x="388175" y="4025799"/>
                </a:cubicBezTo>
                <a:cubicBezTo>
                  <a:pt x="388175" y="4019852"/>
                  <a:pt x="392965" y="4015062"/>
                  <a:pt x="398912" y="4015062"/>
                </a:cubicBezTo>
                <a:close/>
                <a:moveTo>
                  <a:pt x="655438" y="4002673"/>
                </a:moveTo>
                <a:cubicBezTo>
                  <a:pt x="661384" y="4002673"/>
                  <a:pt x="666176" y="4007463"/>
                  <a:pt x="666176" y="4013410"/>
                </a:cubicBezTo>
                <a:cubicBezTo>
                  <a:pt x="666176" y="4019356"/>
                  <a:pt x="661384" y="4024148"/>
                  <a:pt x="655438" y="4024148"/>
                </a:cubicBezTo>
                <a:cubicBezTo>
                  <a:pt x="649491" y="4024148"/>
                  <a:pt x="644701" y="4019356"/>
                  <a:pt x="644701" y="4013410"/>
                </a:cubicBezTo>
                <a:cubicBezTo>
                  <a:pt x="644701" y="4007463"/>
                  <a:pt x="649491" y="4002673"/>
                  <a:pt x="655438" y="4002673"/>
                </a:cubicBezTo>
                <a:close/>
                <a:moveTo>
                  <a:pt x="475226" y="3996893"/>
                </a:moveTo>
                <a:cubicBezTo>
                  <a:pt x="481173" y="3996893"/>
                  <a:pt x="485963" y="4001683"/>
                  <a:pt x="485963" y="4007630"/>
                </a:cubicBezTo>
                <a:cubicBezTo>
                  <a:pt x="485963" y="4013576"/>
                  <a:pt x="481173" y="4018366"/>
                  <a:pt x="475226" y="4018366"/>
                </a:cubicBezTo>
                <a:cubicBezTo>
                  <a:pt x="469280" y="4018366"/>
                  <a:pt x="464490" y="4013576"/>
                  <a:pt x="464490" y="4007630"/>
                </a:cubicBezTo>
                <a:cubicBezTo>
                  <a:pt x="464490" y="4001683"/>
                  <a:pt x="469280" y="3996893"/>
                  <a:pt x="475226" y="3996893"/>
                </a:cubicBezTo>
                <a:close/>
                <a:moveTo>
                  <a:pt x="292535" y="3995901"/>
                </a:moveTo>
                <a:cubicBezTo>
                  <a:pt x="298481" y="3995901"/>
                  <a:pt x="303273" y="4000691"/>
                  <a:pt x="303273" y="4006638"/>
                </a:cubicBezTo>
                <a:cubicBezTo>
                  <a:pt x="303273" y="4012584"/>
                  <a:pt x="298481" y="4017376"/>
                  <a:pt x="292535" y="4017376"/>
                </a:cubicBezTo>
                <a:lnTo>
                  <a:pt x="284771" y="4009612"/>
                </a:lnTo>
                <a:lnTo>
                  <a:pt x="275191" y="4019193"/>
                </a:lnTo>
                <a:lnTo>
                  <a:pt x="269161" y="4013163"/>
                </a:lnTo>
                <a:lnTo>
                  <a:pt x="262306" y="4020019"/>
                </a:lnTo>
                <a:lnTo>
                  <a:pt x="256691" y="4014402"/>
                </a:lnTo>
                <a:lnTo>
                  <a:pt x="249588" y="4021505"/>
                </a:lnTo>
                <a:lnTo>
                  <a:pt x="243147" y="4015062"/>
                </a:lnTo>
                <a:lnTo>
                  <a:pt x="233566" y="4024642"/>
                </a:lnTo>
                <a:cubicBezTo>
                  <a:pt x="227636" y="4024642"/>
                  <a:pt x="222829" y="4019837"/>
                  <a:pt x="222829" y="4013906"/>
                </a:cubicBezTo>
                <a:cubicBezTo>
                  <a:pt x="222829" y="4007976"/>
                  <a:pt x="227636" y="4003169"/>
                  <a:pt x="233566" y="4003169"/>
                </a:cubicBezTo>
                <a:lnTo>
                  <a:pt x="240008" y="4009610"/>
                </a:lnTo>
                <a:lnTo>
                  <a:pt x="249588" y="4000030"/>
                </a:lnTo>
                <a:lnTo>
                  <a:pt x="255205" y="4005646"/>
                </a:lnTo>
                <a:lnTo>
                  <a:pt x="262306" y="3998544"/>
                </a:lnTo>
                <a:lnTo>
                  <a:pt x="268336" y="4004574"/>
                </a:lnTo>
                <a:lnTo>
                  <a:pt x="275191" y="3997719"/>
                </a:lnTo>
                <a:lnTo>
                  <a:pt x="282953" y="4005483"/>
                </a:lnTo>
                <a:close/>
                <a:moveTo>
                  <a:pt x="927327" y="3990947"/>
                </a:moveTo>
                <a:cubicBezTo>
                  <a:pt x="933274" y="3990947"/>
                  <a:pt x="938063" y="3995737"/>
                  <a:pt x="938063" y="4001683"/>
                </a:cubicBezTo>
                <a:cubicBezTo>
                  <a:pt x="938063" y="4007630"/>
                  <a:pt x="933274" y="4012419"/>
                  <a:pt x="927327" y="4012419"/>
                </a:cubicBezTo>
                <a:cubicBezTo>
                  <a:pt x="921380" y="4012419"/>
                  <a:pt x="916591" y="4007630"/>
                  <a:pt x="916591" y="4001683"/>
                </a:cubicBezTo>
                <a:cubicBezTo>
                  <a:pt x="916591" y="3995737"/>
                  <a:pt x="921380" y="3990947"/>
                  <a:pt x="927327" y="3990947"/>
                </a:cubicBezTo>
                <a:close/>
                <a:moveTo>
                  <a:pt x="319460" y="3990780"/>
                </a:moveTo>
                <a:cubicBezTo>
                  <a:pt x="325406" y="3990780"/>
                  <a:pt x="330196" y="3995570"/>
                  <a:pt x="330196" y="4001517"/>
                </a:cubicBezTo>
                <a:cubicBezTo>
                  <a:pt x="330196" y="4007463"/>
                  <a:pt x="325406" y="4012255"/>
                  <a:pt x="319460" y="4012255"/>
                </a:cubicBezTo>
                <a:cubicBezTo>
                  <a:pt x="313513" y="4012255"/>
                  <a:pt x="308723" y="4007463"/>
                  <a:pt x="308723" y="4001517"/>
                </a:cubicBezTo>
                <a:cubicBezTo>
                  <a:pt x="308723" y="3995570"/>
                  <a:pt x="313513" y="3990780"/>
                  <a:pt x="319460" y="3990780"/>
                </a:cubicBezTo>
                <a:close/>
                <a:moveTo>
                  <a:pt x="1468294" y="3986651"/>
                </a:moveTo>
                <a:cubicBezTo>
                  <a:pt x="1474241" y="3986651"/>
                  <a:pt x="1479032" y="3991441"/>
                  <a:pt x="1479032" y="3997388"/>
                </a:cubicBezTo>
                <a:cubicBezTo>
                  <a:pt x="1479032" y="4003334"/>
                  <a:pt x="1474241" y="4008126"/>
                  <a:pt x="1468294" y="4008126"/>
                </a:cubicBezTo>
                <a:cubicBezTo>
                  <a:pt x="1462348" y="4008126"/>
                  <a:pt x="1457558" y="4003334"/>
                  <a:pt x="1457558" y="3997388"/>
                </a:cubicBezTo>
                <a:cubicBezTo>
                  <a:pt x="1457558" y="3991441"/>
                  <a:pt x="1462348" y="3986651"/>
                  <a:pt x="1468294" y="3986651"/>
                </a:cubicBezTo>
                <a:close/>
                <a:moveTo>
                  <a:pt x="216883" y="3984504"/>
                </a:moveTo>
                <a:cubicBezTo>
                  <a:pt x="220847" y="3984504"/>
                  <a:pt x="223986" y="3987643"/>
                  <a:pt x="223986" y="3991607"/>
                </a:cubicBezTo>
                <a:cubicBezTo>
                  <a:pt x="223986" y="3995572"/>
                  <a:pt x="220847" y="3998711"/>
                  <a:pt x="216883" y="3998711"/>
                </a:cubicBezTo>
                <a:cubicBezTo>
                  <a:pt x="212918" y="3998711"/>
                  <a:pt x="209779" y="3995572"/>
                  <a:pt x="209779" y="3991607"/>
                </a:cubicBezTo>
                <a:cubicBezTo>
                  <a:pt x="209779" y="3987643"/>
                  <a:pt x="212918" y="3984504"/>
                  <a:pt x="216883" y="3984504"/>
                </a:cubicBezTo>
                <a:close/>
                <a:moveTo>
                  <a:pt x="362076" y="3980375"/>
                </a:moveTo>
                <a:cubicBezTo>
                  <a:pt x="368022" y="3980375"/>
                  <a:pt x="372812" y="3985165"/>
                  <a:pt x="372812" y="3991111"/>
                </a:cubicBezTo>
                <a:cubicBezTo>
                  <a:pt x="372812" y="3997058"/>
                  <a:pt x="368022" y="4001848"/>
                  <a:pt x="362076" y="4001848"/>
                </a:cubicBezTo>
                <a:cubicBezTo>
                  <a:pt x="356129" y="4001848"/>
                  <a:pt x="351339" y="3997058"/>
                  <a:pt x="351339" y="3991111"/>
                </a:cubicBezTo>
                <a:cubicBezTo>
                  <a:pt x="351339" y="3985165"/>
                  <a:pt x="356129" y="3980375"/>
                  <a:pt x="362076" y="3980375"/>
                </a:cubicBezTo>
                <a:close/>
                <a:moveTo>
                  <a:pt x="585566" y="3966829"/>
                </a:moveTo>
                <a:cubicBezTo>
                  <a:pt x="591512" y="3966829"/>
                  <a:pt x="596302" y="3971619"/>
                  <a:pt x="596302" y="3977566"/>
                </a:cubicBezTo>
                <a:cubicBezTo>
                  <a:pt x="596302" y="3983512"/>
                  <a:pt x="591512" y="3988304"/>
                  <a:pt x="585566" y="3988304"/>
                </a:cubicBezTo>
                <a:cubicBezTo>
                  <a:pt x="579619" y="3988304"/>
                  <a:pt x="574829" y="3983512"/>
                  <a:pt x="574829" y="3977566"/>
                </a:cubicBezTo>
                <a:cubicBezTo>
                  <a:pt x="574829" y="3971619"/>
                  <a:pt x="579619" y="3966829"/>
                  <a:pt x="585566" y="3966829"/>
                </a:cubicBezTo>
                <a:close/>
                <a:moveTo>
                  <a:pt x="272548" y="3965012"/>
                </a:moveTo>
                <a:cubicBezTo>
                  <a:pt x="278495" y="3965012"/>
                  <a:pt x="283285" y="3969802"/>
                  <a:pt x="283285" y="3975748"/>
                </a:cubicBezTo>
                <a:cubicBezTo>
                  <a:pt x="283285" y="3981695"/>
                  <a:pt x="278495" y="3986486"/>
                  <a:pt x="272548" y="3986486"/>
                </a:cubicBezTo>
                <a:lnTo>
                  <a:pt x="267346" y="3981282"/>
                </a:lnTo>
                <a:lnTo>
                  <a:pt x="258342" y="3990286"/>
                </a:lnTo>
                <a:lnTo>
                  <a:pt x="253965" y="3985909"/>
                </a:lnTo>
                <a:lnTo>
                  <a:pt x="246780" y="3993094"/>
                </a:lnTo>
                <a:lnTo>
                  <a:pt x="242238" y="3988552"/>
                </a:lnTo>
                <a:lnTo>
                  <a:pt x="234061" y="3996729"/>
                </a:lnTo>
                <a:cubicBezTo>
                  <a:pt x="228115" y="3996729"/>
                  <a:pt x="223325" y="3991937"/>
                  <a:pt x="223325" y="3985990"/>
                </a:cubicBezTo>
                <a:cubicBezTo>
                  <a:pt x="223325" y="3980044"/>
                  <a:pt x="228115" y="3975254"/>
                  <a:pt x="234061" y="3975254"/>
                </a:cubicBezTo>
                <a:lnTo>
                  <a:pt x="238603" y="3979796"/>
                </a:lnTo>
                <a:lnTo>
                  <a:pt x="246780" y="3971619"/>
                </a:lnTo>
                <a:lnTo>
                  <a:pt x="251157" y="3975996"/>
                </a:lnTo>
                <a:lnTo>
                  <a:pt x="258342" y="3968812"/>
                </a:lnTo>
                <a:lnTo>
                  <a:pt x="263546" y="3974016"/>
                </a:lnTo>
                <a:close/>
                <a:moveTo>
                  <a:pt x="427158" y="3961873"/>
                </a:moveTo>
                <a:cubicBezTo>
                  <a:pt x="433104" y="3961873"/>
                  <a:pt x="437896" y="3966663"/>
                  <a:pt x="437896" y="3972609"/>
                </a:cubicBezTo>
                <a:cubicBezTo>
                  <a:pt x="437896" y="3978556"/>
                  <a:pt x="433104" y="3983348"/>
                  <a:pt x="427158" y="3983348"/>
                </a:cubicBezTo>
                <a:cubicBezTo>
                  <a:pt x="421211" y="3983348"/>
                  <a:pt x="416422" y="3978556"/>
                  <a:pt x="416422" y="3972609"/>
                </a:cubicBezTo>
                <a:cubicBezTo>
                  <a:pt x="416422" y="3966663"/>
                  <a:pt x="421211" y="3961873"/>
                  <a:pt x="427158" y="3961873"/>
                </a:cubicBezTo>
                <a:close/>
                <a:moveTo>
                  <a:pt x="294352" y="3958405"/>
                </a:moveTo>
                <a:cubicBezTo>
                  <a:pt x="300299" y="3958405"/>
                  <a:pt x="305089" y="3963195"/>
                  <a:pt x="305089" y="3969141"/>
                </a:cubicBezTo>
                <a:cubicBezTo>
                  <a:pt x="305089" y="3975088"/>
                  <a:pt x="300299" y="3979877"/>
                  <a:pt x="294352" y="3979877"/>
                </a:cubicBezTo>
                <a:cubicBezTo>
                  <a:pt x="288406" y="3979877"/>
                  <a:pt x="283616" y="3975088"/>
                  <a:pt x="283616" y="3969141"/>
                </a:cubicBezTo>
                <a:cubicBezTo>
                  <a:pt x="283616" y="3963195"/>
                  <a:pt x="288406" y="3958405"/>
                  <a:pt x="294352" y="3958405"/>
                </a:cubicBezTo>
                <a:close/>
                <a:moveTo>
                  <a:pt x="2951622" y="3957083"/>
                </a:moveTo>
                <a:cubicBezTo>
                  <a:pt x="2957569" y="3957083"/>
                  <a:pt x="2962361" y="3961873"/>
                  <a:pt x="2962361" y="3967820"/>
                </a:cubicBezTo>
                <a:cubicBezTo>
                  <a:pt x="2962361" y="3973766"/>
                  <a:pt x="2957569" y="3978558"/>
                  <a:pt x="2951622" y="3978558"/>
                </a:cubicBezTo>
                <a:cubicBezTo>
                  <a:pt x="2945676" y="3978558"/>
                  <a:pt x="2940886" y="3973766"/>
                  <a:pt x="2940886" y="3967820"/>
                </a:cubicBezTo>
                <a:cubicBezTo>
                  <a:pt x="2940886" y="3961873"/>
                  <a:pt x="2945676" y="3957083"/>
                  <a:pt x="2951622" y="3957083"/>
                </a:cubicBezTo>
                <a:close/>
                <a:moveTo>
                  <a:pt x="828548" y="3955762"/>
                </a:moveTo>
                <a:cubicBezTo>
                  <a:pt x="834494" y="3955762"/>
                  <a:pt x="839286" y="3960552"/>
                  <a:pt x="839286" y="3966498"/>
                </a:cubicBezTo>
                <a:cubicBezTo>
                  <a:pt x="839286" y="3972445"/>
                  <a:pt x="834494" y="3977236"/>
                  <a:pt x="828548" y="3977236"/>
                </a:cubicBezTo>
                <a:cubicBezTo>
                  <a:pt x="822601" y="3977236"/>
                  <a:pt x="817811" y="3972445"/>
                  <a:pt x="817811" y="3966498"/>
                </a:cubicBezTo>
                <a:cubicBezTo>
                  <a:pt x="817811" y="3960552"/>
                  <a:pt x="822601" y="3955762"/>
                  <a:pt x="828548" y="3955762"/>
                </a:cubicBezTo>
                <a:close/>
                <a:moveTo>
                  <a:pt x="2719049" y="3955101"/>
                </a:moveTo>
                <a:cubicBezTo>
                  <a:pt x="2724996" y="3955101"/>
                  <a:pt x="2729785" y="3959891"/>
                  <a:pt x="2729785" y="3965837"/>
                </a:cubicBezTo>
                <a:cubicBezTo>
                  <a:pt x="2729785" y="3971784"/>
                  <a:pt x="2724996" y="3976576"/>
                  <a:pt x="2719049" y="3976576"/>
                </a:cubicBezTo>
                <a:cubicBezTo>
                  <a:pt x="2713102" y="3976576"/>
                  <a:pt x="2708313" y="3971784"/>
                  <a:pt x="2708313" y="3965837"/>
                </a:cubicBezTo>
                <a:cubicBezTo>
                  <a:pt x="2708313" y="3959891"/>
                  <a:pt x="2713102" y="3955101"/>
                  <a:pt x="2719049" y="3955101"/>
                </a:cubicBezTo>
                <a:close/>
                <a:moveTo>
                  <a:pt x="1320292" y="3953946"/>
                </a:moveTo>
                <a:cubicBezTo>
                  <a:pt x="1326238" y="3953946"/>
                  <a:pt x="1331030" y="3958736"/>
                  <a:pt x="1331030" y="3964682"/>
                </a:cubicBezTo>
                <a:cubicBezTo>
                  <a:pt x="1331030" y="3970629"/>
                  <a:pt x="1326238" y="3975421"/>
                  <a:pt x="1320292" y="3975421"/>
                </a:cubicBezTo>
                <a:cubicBezTo>
                  <a:pt x="1314346" y="3975421"/>
                  <a:pt x="1309556" y="3970629"/>
                  <a:pt x="1309556" y="3964682"/>
                </a:cubicBezTo>
                <a:cubicBezTo>
                  <a:pt x="1309556" y="3958736"/>
                  <a:pt x="1314346" y="3953946"/>
                  <a:pt x="1320292" y="3953946"/>
                </a:cubicBezTo>
                <a:close/>
                <a:moveTo>
                  <a:pt x="3182876" y="3950476"/>
                </a:moveTo>
                <a:cubicBezTo>
                  <a:pt x="3188823" y="3950476"/>
                  <a:pt x="3193614" y="3955266"/>
                  <a:pt x="3193614" y="3961212"/>
                </a:cubicBezTo>
                <a:cubicBezTo>
                  <a:pt x="3193614" y="3967159"/>
                  <a:pt x="3188823" y="3971950"/>
                  <a:pt x="3182876" y="3971950"/>
                </a:cubicBezTo>
                <a:cubicBezTo>
                  <a:pt x="3176930" y="3971950"/>
                  <a:pt x="3172140" y="3967159"/>
                  <a:pt x="3172140" y="3961212"/>
                </a:cubicBezTo>
                <a:cubicBezTo>
                  <a:pt x="3172140" y="3955266"/>
                  <a:pt x="3176930" y="3950476"/>
                  <a:pt x="3182876" y="3950476"/>
                </a:cubicBezTo>
                <a:close/>
                <a:moveTo>
                  <a:pt x="329535" y="3947008"/>
                </a:moveTo>
                <a:cubicBezTo>
                  <a:pt x="335482" y="3947008"/>
                  <a:pt x="340274" y="3951797"/>
                  <a:pt x="340274" y="3957744"/>
                </a:cubicBezTo>
                <a:cubicBezTo>
                  <a:pt x="340274" y="3963691"/>
                  <a:pt x="335482" y="3968482"/>
                  <a:pt x="329535" y="3968482"/>
                </a:cubicBezTo>
                <a:cubicBezTo>
                  <a:pt x="323589" y="3968482"/>
                  <a:pt x="318799" y="3963691"/>
                  <a:pt x="318799" y="3957744"/>
                </a:cubicBezTo>
                <a:cubicBezTo>
                  <a:pt x="318799" y="3951797"/>
                  <a:pt x="323589" y="3947008"/>
                  <a:pt x="329535" y="3947008"/>
                </a:cubicBezTo>
                <a:close/>
                <a:moveTo>
                  <a:pt x="2490272" y="3944696"/>
                </a:moveTo>
                <a:cubicBezTo>
                  <a:pt x="2496218" y="3944696"/>
                  <a:pt x="2501010" y="3949486"/>
                  <a:pt x="2501010" y="3955432"/>
                </a:cubicBezTo>
                <a:cubicBezTo>
                  <a:pt x="2501010" y="3961379"/>
                  <a:pt x="2496218" y="3966170"/>
                  <a:pt x="2490272" y="3966170"/>
                </a:cubicBezTo>
                <a:cubicBezTo>
                  <a:pt x="2484325" y="3966170"/>
                  <a:pt x="2479535" y="3961379"/>
                  <a:pt x="2479535" y="3955432"/>
                </a:cubicBezTo>
                <a:cubicBezTo>
                  <a:pt x="2479535" y="3949486"/>
                  <a:pt x="2484325" y="3944696"/>
                  <a:pt x="2490272" y="3944696"/>
                </a:cubicBezTo>
                <a:close/>
                <a:moveTo>
                  <a:pt x="3407523" y="3936271"/>
                </a:moveTo>
                <a:cubicBezTo>
                  <a:pt x="3413470" y="3936271"/>
                  <a:pt x="3418261" y="3941061"/>
                  <a:pt x="3418261" y="3947008"/>
                </a:cubicBezTo>
                <a:cubicBezTo>
                  <a:pt x="3418261" y="3952954"/>
                  <a:pt x="3413470" y="3957746"/>
                  <a:pt x="3407523" y="3957746"/>
                </a:cubicBezTo>
                <a:cubicBezTo>
                  <a:pt x="3401576" y="3957746"/>
                  <a:pt x="3396786" y="3952954"/>
                  <a:pt x="3396786" y="3947008"/>
                </a:cubicBezTo>
                <a:cubicBezTo>
                  <a:pt x="3396786" y="3941061"/>
                  <a:pt x="3401576" y="3936271"/>
                  <a:pt x="3407523" y="3936271"/>
                </a:cubicBezTo>
                <a:close/>
                <a:moveTo>
                  <a:pt x="254544" y="3935446"/>
                </a:moveTo>
                <a:cubicBezTo>
                  <a:pt x="260490" y="3935446"/>
                  <a:pt x="265280" y="3940236"/>
                  <a:pt x="265280" y="3946182"/>
                </a:cubicBezTo>
                <a:cubicBezTo>
                  <a:pt x="265280" y="3952129"/>
                  <a:pt x="260490" y="3956919"/>
                  <a:pt x="254544" y="3956919"/>
                </a:cubicBezTo>
                <a:lnTo>
                  <a:pt x="251405" y="3953780"/>
                </a:lnTo>
                <a:lnTo>
                  <a:pt x="242649" y="3962536"/>
                </a:lnTo>
                <a:lnTo>
                  <a:pt x="239758" y="3959645"/>
                </a:lnTo>
                <a:lnTo>
                  <a:pt x="231913" y="3967490"/>
                </a:lnTo>
                <a:lnTo>
                  <a:pt x="228280" y="3963857"/>
                </a:lnTo>
                <a:lnTo>
                  <a:pt x="218698" y="3973437"/>
                </a:lnTo>
                <a:cubicBezTo>
                  <a:pt x="212752" y="3973437"/>
                  <a:pt x="207962" y="3968647"/>
                  <a:pt x="207962" y="3962700"/>
                </a:cubicBezTo>
                <a:cubicBezTo>
                  <a:pt x="207962" y="3956754"/>
                  <a:pt x="212752" y="3951964"/>
                  <a:pt x="218698" y="3951964"/>
                </a:cubicBezTo>
                <a:lnTo>
                  <a:pt x="222331" y="3955599"/>
                </a:lnTo>
                <a:lnTo>
                  <a:pt x="231913" y="3946017"/>
                </a:lnTo>
                <a:lnTo>
                  <a:pt x="234802" y="3948908"/>
                </a:lnTo>
                <a:lnTo>
                  <a:pt x="242649" y="3941061"/>
                </a:lnTo>
                <a:lnTo>
                  <a:pt x="245788" y="3944202"/>
                </a:lnTo>
                <a:close/>
                <a:moveTo>
                  <a:pt x="522798" y="3931976"/>
                </a:moveTo>
                <a:cubicBezTo>
                  <a:pt x="528745" y="3931976"/>
                  <a:pt x="533535" y="3936766"/>
                  <a:pt x="533535" y="3942712"/>
                </a:cubicBezTo>
                <a:cubicBezTo>
                  <a:pt x="533535" y="3948659"/>
                  <a:pt x="528745" y="3953450"/>
                  <a:pt x="522798" y="3953450"/>
                </a:cubicBezTo>
                <a:cubicBezTo>
                  <a:pt x="516852" y="3953450"/>
                  <a:pt x="512062" y="3948659"/>
                  <a:pt x="512062" y="3942712"/>
                </a:cubicBezTo>
                <a:cubicBezTo>
                  <a:pt x="512062" y="3936766"/>
                  <a:pt x="516852" y="3931976"/>
                  <a:pt x="522798" y="3931976"/>
                </a:cubicBezTo>
                <a:close/>
                <a:moveTo>
                  <a:pt x="203337" y="3929829"/>
                </a:moveTo>
                <a:cubicBezTo>
                  <a:pt x="209283" y="3929829"/>
                  <a:pt x="214075" y="3934619"/>
                  <a:pt x="214075" y="3940565"/>
                </a:cubicBezTo>
                <a:cubicBezTo>
                  <a:pt x="214075" y="3946512"/>
                  <a:pt x="209283" y="3951303"/>
                  <a:pt x="203337" y="3951303"/>
                </a:cubicBezTo>
                <a:cubicBezTo>
                  <a:pt x="197390" y="3951303"/>
                  <a:pt x="192601" y="3946512"/>
                  <a:pt x="192601" y="3940565"/>
                </a:cubicBezTo>
                <a:cubicBezTo>
                  <a:pt x="192601" y="3934619"/>
                  <a:pt x="197390" y="3929829"/>
                  <a:pt x="203337" y="3929829"/>
                </a:cubicBezTo>
                <a:close/>
                <a:moveTo>
                  <a:pt x="384376" y="3927847"/>
                </a:moveTo>
                <a:cubicBezTo>
                  <a:pt x="390322" y="3927847"/>
                  <a:pt x="395112" y="3932636"/>
                  <a:pt x="395112" y="3938583"/>
                </a:cubicBezTo>
                <a:cubicBezTo>
                  <a:pt x="395112" y="3944529"/>
                  <a:pt x="390322" y="3949321"/>
                  <a:pt x="384376" y="3949321"/>
                </a:cubicBezTo>
                <a:cubicBezTo>
                  <a:pt x="378429" y="3949321"/>
                  <a:pt x="373639" y="3944529"/>
                  <a:pt x="373639" y="3938583"/>
                </a:cubicBezTo>
                <a:cubicBezTo>
                  <a:pt x="373639" y="3932636"/>
                  <a:pt x="378429" y="3927847"/>
                  <a:pt x="384376" y="3927847"/>
                </a:cubicBezTo>
                <a:close/>
                <a:moveTo>
                  <a:pt x="2270250" y="3927682"/>
                </a:moveTo>
                <a:cubicBezTo>
                  <a:pt x="2276197" y="3927682"/>
                  <a:pt x="2280988" y="3932472"/>
                  <a:pt x="2280988" y="3938418"/>
                </a:cubicBezTo>
                <a:cubicBezTo>
                  <a:pt x="2280988" y="3944365"/>
                  <a:pt x="2276197" y="3949156"/>
                  <a:pt x="2270250" y="3949156"/>
                </a:cubicBezTo>
                <a:cubicBezTo>
                  <a:pt x="2264304" y="3949156"/>
                  <a:pt x="2259514" y="3944365"/>
                  <a:pt x="2259514" y="3938418"/>
                </a:cubicBezTo>
                <a:cubicBezTo>
                  <a:pt x="2259514" y="3932472"/>
                  <a:pt x="2264304" y="3927682"/>
                  <a:pt x="2270250" y="3927682"/>
                </a:cubicBezTo>
                <a:close/>
                <a:moveTo>
                  <a:pt x="272052" y="3927351"/>
                </a:moveTo>
                <a:cubicBezTo>
                  <a:pt x="277999" y="3927351"/>
                  <a:pt x="282790" y="3932140"/>
                  <a:pt x="282790" y="3938087"/>
                </a:cubicBezTo>
                <a:cubicBezTo>
                  <a:pt x="282790" y="3944034"/>
                  <a:pt x="277999" y="3948825"/>
                  <a:pt x="272052" y="3948825"/>
                </a:cubicBezTo>
                <a:cubicBezTo>
                  <a:pt x="266106" y="3948825"/>
                  <a:pt x="261316" y="3944034"/>
                  <a:pt x="261316" y="3938087"/>
                </a:cubicBezTo>
                <a:cubicBezTo>
                  <a:pt x="261316" y="3932140"/>
                  <a:pt x="266106" y="3927351"/>
                  <a:pt x="272052" y="3927351"/>
                </a:cubicBezTo>
                <a:close/>
                <a:moveTo>
                  <a:pt x="739020" y="3921239"/>
                </a:moveTo>
                <a:cubicBezTo>
                  <a:pt x="744967" y="3921239"/>
                  <a:pt x="749757" y="3926029"/>
                  <a:pt x="749757" y="3931976"/>
                </a:cubicBezTo>
                <a:cubicBezTo>
                  <a:pt x="749757" y="3937922"/>
                  <a:pt x="744967" y="3942712"/>
                  <a:pt x="739020" y="3942712"/>
                </a:cubicBezTo>
                <a:cubicBezTo>
                  <a:pt x="733074" y="3942712"/>
                  <a:pt x="728284" y="3937922"/>
                  <a:pt x="728284" y="3931976"/>
                </a:cubicBezTo>
                <a:cubicBezTo>
                  <a:pt x="728284" y="3926029"/>
                  <a:pt x="733074" y="3921239"/>
                  <a:pt x="739020" y="3921239"/>
                </a:cubicBezTo>
                <a:close/>
                <a:moveTo>
                  <a:pt x="1184349" y="3920910"/>
                </a:moveTo>
                <a:cubicBezTo>
                  <a:pt x="1190296" y="3920910"/>
                  <a:pt x="1195085" y="3925700"/>
                  <a:pt x="1195085" y="3931646"/>
                </a:cubicBezTo>
                <a:cubicBezTo>
                  <a:pt x="1195085" y="3937593"/>
                  <a:pt x="1190296" y="3942384"/>
                  <a:pt x="1184349" y="3942384"/>
                </a:cubicBezTo>
                <a:cubicBezTo>
                  <a:pt x="1178402" y="3942384"/>
                  <a:pt x="1173613" y="3937593"/>
                  <a:pt x="1173613" y="3931646"/>
                </a:cubicBezTo>
                <a:cubicBezTo>
                  <a:pt x="1173613" y="3925700"/>
                  <a:pt x="1178402" y="3920910"/>
                  <a:pt x="1184349" y="3920910"/>
                </a:cubicBezTo>
                <a:close/>
                <a:moveTo>
                  <a:pt x="300628" y="3914797"/>
                </a:moveTo>
                <a:cubicBezTo>
                  <a:pt x="306575" y="3914797"/>
                  <a:pt x="311366" y="3919587"/>
                  <a:pt x="311366" y="3925533"/>
                </a:cubicBezTo>
                <a:cubicBezTo>
                  <a:pt x="311366" y="3931480"/>
                  <a:pt x="306575" y="3936270"/>
                  <a:pt x="300628" y="3936270"/>
                </a:cubicBezTo>
                <a:cubicBezTo>
                  <a:pt x="294682" y="3936270"/>
                  <a:pt x="289892" y="3931480"/>
                  <a:pt x="289892" y="3925533"/>
                </a:cubicBezTo>
                <a:cubicBezTo>
                  <a:pt x="289892" y="3919587"/>
                  <a:pt x="294682" y="3914797"/>
                  <a:pt x="300628" y="3914797"/>
                </a:cubicBezTo>
                <a:close/>
                <a:moveTo>
                  <a:pt x="187811" y="3913807"/>
                </a:moveTo>
                <a:cubicBezTo>
                  <a:pt x="190948" y="3913807"/>
                  <a:pt x="193426" y="3916285"/>
                  <a:pt x="193426" y="3919424"/>
                </a:cubicBezTo>
                <a:cubicBezTo>
                  <a:pt x="193426" y="3922561"/>
                  <a:pt x="190948" y="3925039"/>
                  <a:pt x="187811" y="3925039"/>
                </a:cubicBezTo>
                <a:cubicBezTo>
                  <a:pt x="184672" y="3925039"/>
                  <a:pt x="182194" y="3922561"/>
                  <a:pt x="182194" y="3919424"/>
                </a:cubicBezTo>
                <a:cubicBezTo>
                  <a:pt x="182194" y="3916285"/>
                  <a:pt x="184672" y="3913807"/>
                  <a:pt x="187811" y="3913807"/>
                </a:cubicBezTo>
                <a:close/>
                <a:moveTo>
                  <a:pt x="238191" y="3907199"/>
                </a:moveTo>
                <a:cubicBezTo>
                  <a:pt x="244137" y="3907199"/>
                  <a:pt x="248927" y="3911989"/>
                  <a:pt x="248927" y="3917936"/>
                </a:cubicBezTo>
                <a:cubicBezTo>
                  <a:pt x="248927" y="3923882"/>
                  <a:pt x="244137" y="3928674"/>
                  <a:pt x="238191" y="3928674"/>
                </a:cubicBezTo>
                <a:lnTo>
                  <a:pt x="236786" y="3927269"/>
                </a:lnTo>
                <a:lnTo>
                  <a:pt x="227948" y="3936107"/>
                </a:lnTo>
                <a:lnTo>
                  <a:pt x="226296" y="3934456"/>
                </a:lnTo>
                <a:lnTo>
                  <a:pt x="217543" y="3943210"/>
                </a:lnTo>
                <a:cubicBezTo>
                  <a:pt x="211597" y="3943210"/>
                  <a:pt x="206807" y="3938418"/>
                  <a:pt x="206807" y="3932472"/>
                </a:cubicBezTo>
                <a:cubicBezTo>
                  <a:pt x="206807" y="3926525"/>
                  <a:pt x="211597" y="3921735"/>
                  <a:pt x="217543" y="3921735"/>
                </a:cubicBezTo>
                <a:lnTo>
                  <a:pt x="219194" y="3923386"/>
                </a:lnTo>
                <a:lnTo>
                  <a:pt x="227948" y="3914632"/>
                </a:lnTo>
                <a:lnTo>
                  <a:pt x="229353" y="3916037"/>
                </a:lnTo>
                <a:close/>
                <a:moveTo>
                  <a:pt x="2061627" y="3905547"/>
                </a:moveTo>
                <a:cubicBezTo>
                  <a:pt x="2067574" y="3905547"/>
                  <a:pt x="2072364" y="3910337"/>
                  <a:pt x="2072364" y="3916283"/>
                </a:cubicBezTo>
                <a:cubicBezTo>
                  <a:pt x="2072364" y="3922230"/>
                  <a:pt x="2067574" y="3927021"/>
                  <a:pt x="2061627" y="3927021"/>
                </a:cubicBezTo>
                <a:cubicBezTo>
                  <a:pt x="2055681" y="3927021"/>
                  <a:pt x="2050891" y="3922230"/>
                  <a:pt x="2050891" y="3916283"/>
                </a:cubicBezTo>
                <a:cubicBezTo>
                  <a:pt x="2050891" y="3910337"/>
                  <a:pt x="2055681" y="3905547"/>
                  <a:pt x="2061627" y="3905547"/>
                </a:cubicBezTo>
                <a:close/>
                <a:moveTo>
                  <a:pt x="466802" y="3898279"/>
                </a:moveTo>
                <a:cubicBezTo>
                  <a:pt x="472748" y="3898279"/>
                  <a:pt x="477538" y="3903069"/>
                  <a:pt x="477538" y="3909015"/>
                </a:cubicBezTo>
                <a:cubicBezTo>
                  <a:pt x="477538" y="3914962"/>
                  <a:pt x="472748" y="3919751"/>
                  <a:pt x="466802" y="3919751"/>
                </a:cubicBezTo>
                <a:cubicBezTo>
                  <a:pt x="460855" y="3919751"/>
                  <a:pt x="456065" y="3914962"/>
                  <a:pt x="456065" y="3909015"/>
                </a:cubicBezTo>
                <a:cubicBezTo>
                  <a:pt x="456065" y="3903069"/>
                  <a:pt x="460855" y="3898279"/>
                  <a:pt x="466802" y="3898279"/>
                </a:cubicBezTo>
                <a:close/>
                <a:moveTo>
                  <a:pt x="252231" y="3897618"/>
                </a:moveTo>
                <a:cubicBezTo>
                  <a:pt x="258161" y="3897618"/>
                  <a:pt x="262969" y="3902425"/>
                  <a:pt x="262969" y="3908354"/>
                </a:cubicBezTo>
                <a:cubicBezTo>
                  <a:pt x="262969" y="3914285"/>
                  <a:pt x="258161" y="3919092"/>
                  <a:pt x="252231" y="3919092"/>
                </a:cubicBezTo>
                <a:cubicBezTo>
                  <a:pt x="246301" y="3919092"/>
                  <a:pt x="241494" y="3914285"/>
                  <a:pt x="241494" y="3908354"/>
                </a:cubicBezTo>
                <a:cubicBezTo>
                  <a:pt x="241494" y="3902425"/>
                  <a:pt x="246301" y="3897618"/>
                  <a:pt x="252231" y="3897618"/>
                </a:cubicBezTo>
                <a:close/>
                <a:moveTo>
                  <a:pt x="346550" y="3895306"/>
                </a:moveTo>
                <a:cubicBezTo>
                  <a:pt x="352496" y="3895306"/>
                  <a:pt x="357286" y="3900096"/>
                  <a:pt x="357286" y="3906043"/>
                </a:cubicBezTo>
                <a:cubicBezTo>
                  <a:pt x="357286" y="3911989"/>
                  <a:pt x="352496" y="3916781"/>
                  <a:pt x="346550" y="3916781"/>
                </a:cubicBezTo>
                <a:cubicBezTo>
                  <a:pt x="340603" y="3916781"/>
                  <a:pt x="335813" y="3911989"/>
                  <a:pt x="335813" y="3906043"/>
                </a:cubicBezTo>
                <a:cubicBezTo>
                  <a:pt x="335813" y="3900096"/>
                  <a:pt x="340603" y="3895306"/>
                  <a:pt x="346550" y="3895306"/>
                </a:cubicBezTo>
                <a:close/>
                <a:moveTo>
                  <a:pt x="1059968" y="3888203"/>
                </a:moveTo>
                <a:cubicBezTo>
                  <a:pt x="1065914" y="3888203"/>
                  <a:pt x="1070704" y="3892993"/>
                  <a:pt x="1070704" y="3898939"/>
                </a:cubicBezTo>
                <a:cubicBezTo>
                  <a:pt x="1070704" y="3904886"/>
                  <a:pt x="1065914" y="3909676"/>
                  <a:pt x="1059968" y="3909676"/>
                </a:cubicBezTo>
                <a:cubicBezTo>
                  <a:pt x="1054022" y="3909676"/>
                  <a:pt x="1049232" y="3904886"/>
                  <a:pt x="1049232" y="3898939"/>
                </a:cubicBezTo>
                <a:cubicBezTo>
                  <a:pt x="1049232" y="3892993"/>
                  <a:pt x="1054022" y="3888203"/>
                  <a:pt x="1059968" y="3888203"/>
                </a:cubicBezTo>
                <a:close/>
                <a:moveTo>
                  <a:pt x="658081" y="3887378"/>
                </a:moveTo>
                <a:cubicBezTo>
                  <a:pt x="664027" y="3887378"/>
                  <a:pt x="668819" y="3892167"/>
                  <a:pt x="668819" y="3898114"/>
                </a:cubicBezTo>
                <a:cubicBezTo>
                  <a:pt x="668819" y="3904061"/>
                  <a:pt x="664027" y="3908852"/>
                  <a:pt x="658081" y="3908852"/>
                </a:cubicBezTo>
                <a:cubicBezTo>
                  <a:pt x="652134" y="3908852"/>
                  <a:pt x="647344" y="3904061"/>
                  <a:pt x="647344" y="3898114"/>
                </a:cubicBezTo>
                <a:cubicBezTo>
                  <a:pt x="647344" y="3892167"/>
                  <a:pt x="652134" y="3887378"/>
                  <a:pt x="658081" y="3887378"/>
                </a:cubicBezTo>
                <a:close/>
                <a:moveTo>
                  <a:pt x="275191" y="3883908"/>
                </a:moveTo>
                <a:cubicBezTo>
                  <a:pt x="281138" y="3883908"/>
                  <a:pt x="285928" y="3888697"/>
                  <a:pt x="285928" y="3894644"/>
                </a:cubicBezTo>
                <a:cubicBezTo>
                  <a:pt x="285928" y="3900590"/>
                  <a:pt x="281138" y="3905382"/>
                  <a:pt x="275191" y="3905382"/>
                </a:cubicBezTo>
                <a:cubicBezTo>
                  <a:pt x="269245" y="3905382"/>
                  <a:pt x="264455" y="3900590"/>
                  <a:pt x="264455" y="3894644"/>
                </a:cubicBezTo>
                <a:cubicBezTo>
                  <a:pt x="264455" y="3888697"/>
                  <a:pt x="269245" y="3883908"/>
                  <a:pt x="275191" y="3883908"/>
                </a:cubicBezTo>
                <a:close/>
                <a:moveTo>
                  <a:pt x="223323" y="3880274"/>
                </a:moveTo>
                <a:cubicBezTo>
                  <a:pt x="229270" y="3880274"/>
                  <a:pt x="234061" y="3885064"/>
                  <a:pt x="234061" y="3891011"/>
                </a:cubicBezTo>
                <a:lnTo>
                  <a:pt x="224893" y="3900179"/>
                </a:lnTo>
                <a:lnTo>
                  <a:pt x="224976" y="3900261"/>
                </a:lnTo>
                <a:cubicBezTo>
                  <a:pt x="224976" y="3906207"/>
                  <a:pt x="220185" y="3910997"/>
                  <a:pt x="214238" y="3910997"/>
                </a:cubicBezTo>
                <a:lnTo>
                  <a:pt x="213331" y="3910090"/>
                </a:lnTo>
                <a:lnTo>
                  <a:pt x="203337" y="3920084"/>
                </a:lnTo>
                <a:cubicBezTo>
                  <a:pt x="197390" y="3920084"/>
                  <a:pt x="192601" y="3915293"/>
                  <a:pt x="192601" y="3909346"/>
                </a:cubicBezTo>
                <a:cubicBezTo>
                  <a:pt x="192601" y="3903400"/>
                  <a:pt x="197390" y="3898610"/>
                  <a:pt x="203337" y="3898610"/>
                </a:cubicBezTo>
                <a:lnTo>
                  <a:pt x="204244" y="3899519"/>
                </a:lnTo>
                <a:lnTo>
                  <a:pt x="212669" y="3891094"/>
                </a:lnTo>
                <a:lnTo>
                  <a:pt x="212587" y="3891011"/>
                </a:lnTo>
                <a:cubicBezTo>
                  <a:pt x="212587" y="3885064"/>
                  <a:pt x="217377" y="3880274"/>
                  <a:pt x="223323" y="3880274"/>
                </a:cubicBezTo>
                <a:close/>
                <a:moveTo>
                  <a:pt x="1866218" y="3880110"/>
                </a:moveTo>
                <a:cubicBezTo>
                  <a:pt x="1872164" y="3880110"/>
                  <a:pt x="1876954" y="3884899"/>
                  <a:pt x="1876954" y="3890846"/>
                </a:cubicBezTo>
                <a:cubicBezTo>
                  <a:pt x="1876954" y="3896793"/>
                  <a:pt x="1872164" y="3901584"/>
                  <a:pt x="1866218" y="3901584"/>
                </a:cubicBezTo>
                <a:cubicBezTo>
                  <a:pt x="1860271" y="3901584"/>
                  <a:pt x="1855481" y="3896793"/>
                  <a:pt x="1855481" y="3890846"/>
                </a:cubicBezTo>
                <a:cubicBezTo>
                  <a:pt x="1855481" y="3884899"/>
                  <a:pt x="1860271" y="3880110"/>
                  <a:pt x="1866218" y="3880110"/>
                </a:cubicBezTo>
                <a:close/>
                <a:moveTo>
                  <a:pt x="189297" y="3876640"/>
                </a:moveTo>
                <a:cubicBezTo>
                  <a:pt x="195243" y="3876640"/>
                  <a:pt x="200033" y="3881429"/>
                  <a:pt x="200033" y="3887376"/>
                </a:cubicBezTo>
                <a:cubicBezTo>
                  <a:pt x="200033" y="3893322"/>
                  <a:pt x="195243" y="3898114"/>
                  <a:pt x="189297" y="3898114"/>
                </a:cubicBezTo>
                <a:cubicBezTo>
                  <a:pt x="183350" y="3898114"/>
                  <a:pt x="178561" y="3893322"/>
                  <a:pt x="178561" y="3887376"/>
                </a:cubicBezTo>
                <a:cubicBezTo>
                  <a:pt x="178561" y="3881429"/>
                  <a:pt x="183350" y="3876640"/>
                  <a:pt x="189297" y="3876640"/>
                </a:cubicBezTo>
                <a:close/>
                <a:moveTo>
                  <a:pt x="234556" y="3869207"/>
                </a:moveTo>
                <a:cubicBezTo>
                  <a:pt x="240502" y="3869207"/>
                  <a:pt x="245294" y="3873997"/>
                  <a:pt x="245294" y="3879943"/>
                </a:cubicBezTo>
                <a:cubicBezTo>
                  <a:pt x="245294" y="3885890"/>
                  <a:pt x="240502" y="3890681"/>
                  <a:pt x="234556" y="3890681"/>
                </a:cubicBezTo>
                <a:cubicBezTo>
                  <a:pt x="228609" y="3890681"/>
                  <a:pt x="223819" y="3885890"/>
                  <a:pt x="223819" y="3879943"/>
                </a:cubicBezTo>
                <a:cubicBezTo>
                  <a:pt x="223819" y="3873997"/>
                  <a:pt x="228609" y="3869207"/>
                  <a:pt x="234556" y="3869207"/>
                </a:cubicBezTo>
                <a:close/>
                <a:moveTo>
                  <a:pt x="416916" y="3865574"/>
                </a:moveTo>
                <a:cubicBezTo>
                  <a:pt x="422862" y="3865574"/>
                  <a:pt x="427652" y="3870364"/>
                  <a:pt x="427652" y="3876310"/>
                </a:cubicBezTo>
                <a:cubicBezTo>
                  <a:pt x="427652" y="3882257"/>
                  <a:pt x="422862" y="3887048"/>
                  <a:pt x="416916" y="3887048"/>
                </a:cubicBezTo>
                <a:cubicBezTo>
                  <a:pt x="410969" y="3887048"/>
                  <a:pt x="406180" y="3882257"/>
                  <a:pt x="406180" y="3876310"/>
                </a:cubicBezTo>
                <a:cubicBezTo>
                  <a:pt x="406180" y="3870364"/>
                  <a:pt x="410969" y="3865574"/>
                  <a:pt x="416916" y="3865574"/>
                </a:cubicBezTo>
                <a:close/>
                <a:moveTo>
                  <a:pt x="313182" y="3863756"/>
                </a:moveTo>
                <a:cubicBezTo>
                  <a:pt x="319129" y="3863756"/>
                  <a:pt x="323920" y="3868546"/>
                  <a:pt x="323920" y="3874493"/>
                </a:cubicBezTo>
                <a:cubicBezTo>
                  <a:pt x="323920" y="3880439"/>
                  <a:pt x="319129" y="3885231"/>
                  <a:pt x="313182" y="3885231"/>
                </a:cubicBezTo>
                <a:cubicBezTo>
                  <a:pt x="307236" y="3885231"/>
                  <a:pt x="302446" y="3880439"/>
                  <a:pt x="302446" y="3874493"/>
                </a:cubicBezTo>
                <a:cubicBezTo>
                  <a:pt x="302446" y="3868546"/>
                  <a:pt x="307236" y="3863756"/>
                  <a:pt x="313182" y="3863756"/>
                </a:cubicBezTo>
                <a:close/>
                <a:moveTo>
                  <a:pt x="175090" y="3855992"/>
                </a:moveTo>
                <a:cubicBezTo>
                  <a:pt x="181037" y="3855992"/>
                  <a:pt x="185829" y="3860782"/>
                  <a:pt x="185829" y="3866729"/>
                </a:cubicBezTo>
                <a:cubicBezTo>
                  <a:pt x="185829" y="3872675"/>
                  <a:pt x="181037" y="3877467"/>
                  <a:pt x="175090" y="3877467"/>
                </a:cubicBezTo>
                <a:cubicBezTo>
                  <a:pt x="169144" y="3877467"/>
                  <a:pt x="164354" y="3872675"/>
                  <a:pt x="164354" y="3866729"/>
                </a:cubicBezTo>
                <a:cubicBezTo>
                  <a:pt x="164354" y="3860782"/>
                  <a:pt x="169144" y="3855992"/>
                  <a:pt x="175090" y="3855992"/>
                </a:cubicBezTo>
                <a:close/>
                <a:moveTo>
                  <a:pt x="946488" y="3855828"/>
                </a:moveTo>
                <a:cubicBezTo>
                  <a:pt x="952435" y="3855828"/>
                  <a:pt x="957224" y="3860617"/>
                  <a:pt x="957224" y="3866564"/>
                </a:cubicBezTo>
                <a:cubicBezTo>
                  <a:pt x="957224" y="3872510"/>
                  <a:pt x="952435" y="3877302"/>
                  <a:pt x="946488" y="3877302"/>
                </a:cubicBezTo>
                <a:cubicBezTo>
                  <a:pt x="940542" y="3877302"/>
                  <a:pt x="935752" y="3872510"/>
                  <a:pt x="935752" y="3866564"/>
                </a:cubicBezTo>
                <a:cubicBezTo>
                  <a:pt x="935752" y="3860617"/>
                  <a:pt x="940542" y="3855828"/>
                  <a:pt x="946488" y="3855828"/>
                </a:cubicBezTo>
                <a:close/>
                <a:moveTo>
                  <a:pt x="585401" y="3854506"/>
                </a:moveTo>
                <a:cubicBezTo>
                  <a:pt x="591347" y="3854506"/>
                  <a:pt x="596137" y="3859296"/>
                  <a:pt x="596137" y="3865242"/>
                </a:cubicBezTo>
                <a:cubicBezTo>
                  <a:pt x="596137" y="3871189"/>
                  <a:pt x="591347" y="3875981"/>
                  <a:pt x="585401" y="3875981"/>
                </a:cubicBezTo>
                <a:cubicBezTo>
                  <a:pt x="579454" y="3875981"/>
                  <a:pt x="574664" y="3871189"/>
                  <a:pt x="574664" y="3865242"/>
                </a:cubicBezTo>
                <a:cubicBezTo>
                  <a:pt x="574664" y="3859296"/>
                  <a:pt x="579454" y="3854506"/>
                  <a:pt x="585401" y="3854506"/>
                </a:cubicBezTo>
                <a:close/>
                <a:moveTo>
                  <a:pt x="209448" y="3854506"/>
                </a:moveTo>
                <a:cubicBezTo>
                  <a:pt x="215395" y="3854506"/>
                  <a:pt x="220186" y="3859296"/>
                  <a:pt x="220186" y="3865242"/>
                </a:cubicBezTo>
                <a:lnTo>
                  <a:pt x="210357" y="3875072"/>
                </a:lnTo>
                <a:lnTo>
                  <a:pt x="211597" y="3876310"/>
                </a:lnTo>
                <a:cubicBezTo>
                  <a:pt x="211597" y="3882257"/>
                  <a:pt x="206805" y="3887048"/>
                  <a:pt x="200859" y="3887048"/>
                </a:cubicBezTo>
                <a:cubicBezTo>
                  <a:pt x="194912" y="3887048"/>
                  <a:pt x="190122" y="3882257"/>
                  <a:pt x="190122" y="3876310"/>
                </a:cubicBezTo>
                <a:lnTo>
                  <a:pt x="199950" y="3866482"/>
                </a:lnTo>
                <a:lnTo>
                  <a:pt x="198712" y="3865242"/>
                </a:lnTo>
                <a:cubicBezTo>
                  <a:pt x="198712" y="3859296"/>
                  <a:pt x="203502" y="3854506"/>
                  <a:pt x="209448" y="3854506"/>
                </a:cubicBezTo>
                <a:close/>
                <a:moveTo>
                  <a:pt x="252891" y="3854341"/>
                </a:moveTo>
                <a:cubicBezTo>
                  <a:pt x="258838" y="3854341"/>
                  <a:pt x="263629" y="3859131"/>
                  <a:pt x="263629" y="3865078"/>
                </a:cubicBezTo>
                <a:cubicBezTo>
                  <a:pt x="263629" y="3871024"/>
                  <a:pt x="258838" y="3875816"/>
                  <a:pt x="252891" y="3875816"/>
                </a:cubicBezTo>
                <a:cubicBezTo>
                  <a:pt x="246945" y="3875816"/>
                  <a:pt x="242155" y="3871024"/>
                  <a:pt x="242155" y="3865078"/>
                </a:cubicBezTo>
                <a:cubicBezTo>
                  <a:pt x="242155" y="3859131"/>
                  <a:pt x="246945" y="3854341"/>
                  <a:pt x="252891" y="3854341"/>
                </a:cubicBezTo>
                <a:close/>
                <a:moveTo>
                  <a:pt x="1684518" y="3852689"/>
                </a:moveTo>
                <a:cubicBezTo>
                  <a:pt x="1690465" y="3852689"/>
                  <a:pt x="1695254" y="3857479"/>
                  <a:pt x="1695254" y="3863425"/>
                </a:cubicBezTo>
                <a:cubicBezTo>
                  <a:pt x="1695254" y="3869372"/>
                  <a:pt x="1690465" y="3874163"/>
                  <a:pt x="1684518" y="3874163"/>
                </a:cubicBezTo>
                <a:cubicBezTo>
                  <a:pt x="1678572" y="3874163"/>
                  <a:pt x="1673782" y="3869372"/>
                  <a:pt x="1673782" y="3863425"/>
                </a:cubicBezTo>
                <a:cubicBezTo>
                  <a:pt x="1673782" y="3857479"/>
                  <a:pt x="1678572" y="3852689"/>
                  <a:pt x="1684518" y="3852689"/>
                </a:cubicBezTo>
                <a:close/>
                <a:moveTo>
                  <a:pt x="160556" y="3843439"/>
                </a:moveTo>
                <a:cubicBezTo>
                  <a:pt x="162538" y="3843439"/>
                  <a:pt x="164189" y="3845091"/>
                  <a:pt x="164189" y="3847073"/>
                </a:cubicBezTo>
                <a:cubicBezTo>
                  <a:pt x="164189" y="3849054"/>
                  <a:pt x="162538" y="3850707"/>
                  <a:pt x="160556" y="3850707"/>
                </a:cubicBezTo>
                <a:cubicBezTo>
                  <a:pt x="158574" y="3850707"/>
                  <a:pt x="156921" y="3849054"/>
                  <a:pt x="156921" y="3847073"/>
                </a:cubicBezTo>
                <a:cubicBezTo>
                  <a:pt x="156921" y="3845091"/>
                  <a:pt x="158574" y="3843439"/>
                  <a:pt x="160556" y="3843439"/>
                </a:cubicBezTo>
                <a:close/>
                <a:moveTo>
                  <a:pt x="187811" y="3842943"/>
                </a:moveTo>
                <a:cubicBezTo>
                  <a:pt x="193757" y="3842943"/>
                  <a:pt x="198549" y="3847732"/>
                  <a:pt x="198549" y="3853679"/>
                </a:cubicBezTo>
                <a:cubicBezTo>
                  <a:pt x="198549" y="3859625"/>
                  <a:pt x="193757" y="3864417"/>
                  <a:pt x="187811" y="3864417"/>
                </a:cubicBezTo>
                <a:cubicBezTo>
                  <a:pt x="181864" y="3864417"/>
                  <a:pt x="177074" y="3859625"/>
                  <a:pt x="177074" y="3853679"/>
                </a:cubicBezTo>
                <a:cubicBezTo>
                  <a:pt x="177074" y="3847732"/>
                  <a:pt x="181864" y="3842943"/>
                  <a:pt x="187811" y="3842943"/>
                </a:cubicBezTo>
                <a:close/>
                <a:moveTo>
                  <a:pt x="218698" y="3841952"/>
                </a:moveTo>
                <a:cubicBezTo>
                  <a:pt x="224645" y="3841952"/>
                  <a:pt x="229436" y="3846742"/>
                  <a:pt x="229436" y="3852689"/>
                </a:cubicBezTo>
                <a:cubicBezTo>
                  <a:pt x="229436" y="3858635"/>
                  <a:pt x="224645" y="3863427"/>
                  <a:pt x="218698" y="3863427"/>
                </a:cubicBezTo>
                <a:cubicBezTo>
                  <a:pt x="212752" y="3863427"/>
                  <a:pt x="207962" y="3858635"/>
                  <a:pt x="207962" y="3852689"/>
                </a:cubicBezTo>
                <a:cubicBezTo>
                  <a:pt x="207962" y="3846742"/>
                  <a:pt x="212752" y="3841952"/>
                  <a:pt x="218698" y="3841952"/>
                </a:cubicBezTo>
                <a:close/>
                <a:moveTo>
                  <a:pt x="372647" y="3834024"/>
                </a:moveTo>
                <a:cubicBezTo>
                  <a:pt x="378594" y="3834024"/>
                  <a:pt x="383384" y="3838813"/>
                  <a:pt x="383384" y="3844760"/>
                </a:cubicBezTo>
                <a:cubicBezTo>
                  <a:pt x="383384" y="3850707"/>
                  <a:pt x="378594" y="3855496"/>
                  <a:pt x="372647" y="3855496"/>
                </a:cubicBezTo>
                <a:cubicBezTo>
                  <a:pt x="366701" y="3855496"/>
                  <a:pt x="361911" y="3850707"/>
                  <a:pt x="361911" y="3844760"/>
                </a:cubicBezTo>
                <a:cubicBezTo>
                  <a:pt x="361911" y="3838813"/>
                  <a:pt x="366701" y="3834024"/>
                  <a:pt x="372647" y="3834024"/>
                </a:cubicBezTo>
                <a:close/>
                <a:moveTo>
                  <a:pt x="283616" y="3833363"/>
                </a:moveTo>
                <a:cubicBezTo>
                  <a:pt x="289562" y="3833363"/>
                  <a:pt x="294352" y="3838153"/>
                  <a:pt x="294352" y="3844099"/>
                </a:cubicBezTo>
                <a:cubicBezTo>
                  <a:pt x="294352" y="3850046"/>
                  <a:pt x="289562" y="3854837"/>
                  <a:pt x="283616" y="3854837"/>
                </a:cubicBezTo>
                <a:cubicBezTo>
                  <a:pt x="277669" y="3854837"/>
                  <a:pt x="272880" y="3850046"/>
                  <a:pt x="272880" y="3844099"/>
                </a:cubicBezTo>
                <a:cubicBezTo>
                  <a:pt x="272880" y="3838153"/>
                  <a:pt x="277669" y="3833363"/>
                  <a:pt x="283616" y="3833363"/>
                </a:cubicBezTo>
                <a:close/>
                <a:moveTo>
                  <a:pt x="196565" y="3830059"/>
                </a:moveTo>
                <a:cubicBezTo>
                  <a:pt x="202511" y="3830059"/>
                  <a:pt x="207303" y="3834849"/>
                  <a:pt x="207303" y="3840796"/>
                </a:cubicBezTo>
                <a:cubicBezTo>
                  <a:pt x="207303" y="3846742"/>
                  <a:pt x="202511" y="3851534"/>
                  <a:pt x="196565" y="3851534"/>
                </a:cubicBezTo>
                <a:cubicBezTo>
                  <a:pt x="190618" y="3851534"/>
                  <a:pt x="185829" y="3846742"/>
                  <a:pt x="185829" y="3840796"/>
                </a:cubicBezTo>
                <a:cubicBezTo>
                  <a:pt x="185829" y="3834849"/>
                  <a:pt x="190618" y="3830059"/>
                  <a:pt x="196565" y="3830059"/>
                </a:cubicBezTo>
                <a:close/>
                <a:moveTo>
                  <a:pt x="233070" y="3825930"/>
                </a:moveTo>
                <a:cubicBezTo>
                  <a:pt x="239016" y="3825930"/>
                  <a:pt x="243808" y="3830720"/>
                  <a:pt x="243808" y="3836667"/>
                </a:cubicBezTo>
                <a:cubicBezTo>
                  <a:pt x="243808" y="3842613"/>
                  <a:pt x="239016" y="3847405"/>
                  <a:pt x="233070" y="3847405"/>
                </a:cubicBezTo>
                <a:cubicBezTo>
                  <a:pt x="227123" y="3847405"/>
                  <a:pt x="222333" y="3842613"/>
                  <a:pt x="222333" y="3836667"/>
                </a:cubicBezTo>
                <a:cubicBezTo>
                  <a:pt x="222333" y="3830720"/>
                  <a:pt x="227123" y="3825930"/>
                  <a:pt x="233070" y="3825930"/>
                </a:cubicBezTo>
                <a:close/>
                <a:moveTo>
                  <a:pt x="1516529" y="3824113"/>
                </a:moveTo>
                <a:cubicBezTo>
                  <a:pt x="1522476" y="3824113"/>
                  <a:pt x="1527266" y="3828903"/>
                  <a:pt x="1527266" y="3834849"/>
                </a:cubicBezTo>
                <a:cubicBezTo>
                  <a:pt x="1527266" y="3840796"/>
                  <a:pt x="1522476" y="3845587"/>
                  <a:pt x="1516529" y="3845587"/>
                </a:cubicBezTo>
                <a:cubicBezTo>
                  <a:pt x="1510583" y="3845587"/>
                  <a:pt x="1505793" y="3840796"/>
                  <a:pt x="1505793" y="3834849"/>
                </a:cubicBezTo>
                <a:cubicBezTo>
                  <a:pt x="1505793" y="3828903"/>
                  <a:pt x="1510583" y="3824113"/>
                  <a:pt x="1516529" y="3824113"/>
                </a:cubicBezTo>
                <a:close/>
                <a:moveTo>
                  <a:pt x="843415" y="3823948"/>
                </a:moveTo>
                <a:cubicBezTo>
                  <a:pt x="849361" y="3823948"/>
                  <a:pt x="854151" y="3828738"/>
                  <a:pt x="854151" y="3834684"/>
                </a:cubicBezTo>
                <a:cubicBezTo>
                  <a:pt x="854151" y="3840631"/>
                  <a:pt x="849361" y="3845421"/>
                  <a:pt x="843415" y="3845421"/>
                </a:cubicBezTo>
                <a:cubicBezTo>
                  <a:pt x="837468" y="3845421"/>
                  <a:pt x="832678" y="3840631"/>
                  <a:pt x="832678" y="3834684"/>
                </a:cubicBezTo>
                <a:cubicBezTo>
                  <a:pt x="832678" y="3828738"/>
                  <a:pt x="837468" y="3823948"/>
                  <a:pt x="843415" y="3823948"/>
                </a:cubicBezTo>
                <a:close/>
                <a:moveTo>
                  <a:pt x="520156" y="3822627"/>
                </a:moveTo>
                <a:cubicBezTo>
                  <a:pt x="526102" y="3822627"/>
                  <a:pt x="530892" y="3827416"/>
                  <a:pt x="530892" y="3833363"/>
                </a:cubicBezTo>
                <a:cubicBezTo>
                  <a:pt x="530892" y="3839309"/>
                  <a:pt x="526102" y="3844101"/>
                  <a:pt x="520156" y="3844101"/>
                </a:cubicBezTo>
                <a:cubicBezTo>
                  <a:pt x="514209" y="3844101"/>
                  <a:pt x="509419" y="3839309"/>
                  <a:pt x="509419" y="3833363"/>
                </a:cubicBezTo>
                <a:cubicBezTo>
                  <a:pt x="509419" y="3827416"/>
                  <a:pt x="514209" y="3822627"/>
                  <a:pt x="520156" y="3822627"/>
                </a:cubicBezTo>
                <a:close/>
                <a:moveTo>
                  <a:pt x="174926" y="3821470"/>
                </a:moveTo>
                <a:cubicBezTo>
                  <a:pt x="180872" y="3821470"/>
                  <a:pt x="185664" y="3826260"/>
                  <a:pt x="185664" y="3832206"/>
                </a:cubicBezTo>
                <a:cubicBezTo>
                  <a:pt x="185664" y="3838153"/>
                  <a:pt x="180872" y="3842944"/>
                  <a:pt x="174926" y="3842944"/>
                </a:cubicBezTo>
                <a:cubicBezTo>
                  <a:pt x="168979" y="3842944"/>
                  <a:pt x="164189" y="3838153"/>
                  <a:pt x="164189" y="3832206"/>
                </a:cubicBezTo>
                <a:cubicBezTo>
                  <a:pt x="164189" y="3826260"/>
                  <a:pt x="168979" y="3821470"/>
                  <a:pt x="174926" y="3821470"/>
                </a:cubicBezTo>
                <a:close/>
                <a:moveTo>
                  <a:pt x="204494" y="3816019"/>
                </a:moveTo>
                <a:cubicBezTo>
                  <a:pt x="210440" y="3816019"/>
                  <a:pt x="215232" y="3820809"/>
                  <a:pt x="215232" y="3826756"/>
                </a:cubicBezTo>
                <a:cubicBezTo>
                  <a:pt x="215232" y="3832702"/>
                  <a:pt x="210440" y="3837494"/>
                  <a:pt x="204494" y="3837494"/>
                </a:cubicBezTo>
                <a:cubicBezTo>
                  <a:pt x="198547" y="3837494"/>
                  <a:pt x="193757" y="3832702"/>
                  <a:pt x="193757" y="3826756"/>
                </a:cubicBezTo>
                <a:cubicBezTo>
                  <a:pt x="193757" y="3820809"/>
                  <a:pt x="198547" y="3816019"/>
                  <a:pt x="204494" y="3816019"/>
                </a:cubicBezTo>
                <a:close/>
                <a:moveTo>
                  <a:pt x="184176" y="3806934"/>
                </a:moveTo>
                <a:cubicBezTo>
                  <a:pt x="190122" y="3806934"/>
                  <a:pt x="194914" y="3811724"/>
                  <a:pt x="194914" y="3817670"/>
                </a:cubicBezTo>
                <a:cubicBezTo>
                  <a:pt x="194914" y="3823617"/>
                  <a:pt x="190122" y="3828407"/>
                  <a:pt x="184176" y="3828407"/>
                </a:cubicBezTo>
                <a:cubicBezTo>
                  <a:pt x="178229" y="3828407"/>
                  <a:pt x="173440" y="3823617"/>
                  <a:pt x="173440" y="3817670"/>
                </a:cubicBezTo>
                <a:cubicBezTo>
                  <a:pt x="173440" y="3811724"/>
                  <a:pt x="178229" y="3806934"/>
                  <a:pt x="184176" y="3806934"/>
                </a:cubicBezTo>
                <a:close/>
                <a:moveTo>
                  <a:pt x="257848" y="3804291"/>
                </a:moveTo>
                <a:cubicBezTo>
                  <a:pt x="263794" y="3804291"/>
                  <a:pt x="268586" y="3809081"/>
                  <a:pt x="268586" y="3815027"/>
                </a:cubicBezTo>
                <a:cubicBezTo>
                  <a:pt x="268586" y="3820974"/>
                  <a:pt x="263794" y="3825765"/>
                  <a:pt x="257848" y="3825765"/>
                </a:cubicBezTo>
                <a:cubicBezTo>
                  <a:pt x="251901" y="3825765"/>
                  <a:pt x="247111" y="3820974"/>
                  <a:pt x="247111" y="3815027"/>
                </a:cubicBezTo>
                <a:cubicBezTo>
                  <a:pt x="247111" y="3809081"/>
                  <a:pt x="251901" y="3804291"/>
                  <a:pt x="257848" y="3804291"/>
                </a:cubicBezTo>
                <a:close/>
                <a:moveTo>
                  <a:pt x="333664" y="3803630"/>
                </a:moveTo>
                <a:cubicBezTo>
                  <a:pt x="339611" y="3803630"/>
                  <a:pt x="344403" y="3808420"/>
                  <a:pt x="344403" y="3814367"/>
                </a:cubicBezTo>
                <a:cubicBezTo>
                  <a:pt x="344403" y="3820313"/>
                  <a:pt x="339611" y="3825105"/>
                  <a:pt x="333664" y="3825105"/>
                </a:cubicBezTo>
                <a:cubicBezTo>
                  <a:pt x="327718" y="3825105"/>
                  <a:pt x="322928" y="3820313"/>
                  <a:pt x="322928" y="3814367"/>
                </a:cubicBezTo>
                <a:cubicBezTo>
                  <a:pt x="322928" y="3808420"/>
                  <a:pt x="327718" y="3803630"/>
                  <a:pt x="333664" y="3803630"/>
                </a:cubicBezTo>
                <a:close/>
                <a:moveTo>
                  <a:pt x="162041" y="3801152"/>
                </a:moveTo>
                <a:cubicBezTo>
                  <a:pt x="167987" y="3801152"/>
                  <a:pt x="172779" y="3805942"/>
                  <a:pt x="172779" y="3811888"/>
                </a:cubicBezTo>
                <a:cubicBezTo>
                  <a:pt x="172779" y="3817835"/>
                  <a:pt x="167987" y="3822627"/>
                  <a:pt x="162041" y="3822627"/>
                </a:cubicBezTo>
                <a:cubicBezTo>
                  <a:pt x="156094" y="3822627"/>
                  <a:pt x="151304" y="3817835"/>
                  <a:pt x="151304" y="3811888"/>
                </a:cubicBezTo>
                <a:cubicBezTo>
                  <a:pt x="151304" y="3805942"/>
                  <a:pt x="156094" y="3801152"/>
                  <a:pt x="162041" y="3801152"/>
                </a:cubicBezTo>
                <a:close/>
                <a:moveTo>
                  <a:pt x="215726" y="3798840"/>
                </a:moveTo>
                <a:cubicBezTo>
                  <a:pt x="221672" y="3798840"/>
                  <a:pt x="226464" y="3803630"/>
                  <a:pt x="226464" y="3809577"/>
                </a:cubicBezTo>
                <a:cubicBezTo>
                  <a:pt x="226464" y="3815523"/>
                  <a:pt x="221672" y="3820315"/>
                  <a:pt x="215726" y="3820315"/>
                </a:cubicBezTo>
                <a:cubicBezTo>
                  <a:pt x="209779" y="3820315"/>
                  <a:pt x="204990" y="3815523"/>
                  <a:pt x="204990" y="3809577"/>
                </a:cubicBezTo>
                <a:cubicBezTo>
                  <a:pt x="204990" y="3803630"/>
                  <a:pt x="209779" y="3798840"/>
                  <a:pt x="215726" y="3798840"/>
                </a:cubicBezTo>
                <a:close/>
                <a:moveTo>
                  <a:pt x="1361753" y="3795041"/>
                </a:moveTo>
                <a:cubicBezTo>
                  <a:pt x="1367700" y="3795041"/>
                  <a:pt x="1372489" y="3799831"/>
                  <a:pt x="1372489" y="3805777"/>
                </a:cubicBezTo>
                <a:cubicBezTo>
                  <a:pt x="1372489" y="3811724"/>
                  <a:pt x="1367700" y="3816514"/>
                  <a:pt x="1361753" y="3816514"/>
                </a:cubicBezTo>
                <a:cubicBezTo>
                  <a:pt x="1355806" y="3816514"/>
                  <a:pt x="1351017" y="3811724"/>
                  <a:pt x="1351017" y="3805777"/>
                </a:cubicBezTo>
                <a:cubicBezTo>
                  <a:pt x="1351017" y="3799831"/>
                  <a:pt x="1355806" y="3795041"/>
                  <a:pt x="1361753" y="3795041"/>
                </a:cubicBezTo>
                <a:close/>
                <a:moveTo>
                  <a:pt x="749921" y="3792894"/>
                </a:moveTo>
                <a:cubicBezTo>
                  <a:pt x="755868" y="3792894"/>
                  <a:pt x="760658" y="3797684"/>
                  <a:pt x="760658" y="3803630"/>
                </a:cubicBezTo>
                <a:cubicBezTo>
                  <a:pt x="760658" y="3809577"/>
                  <a:pt x="755868" y="3814368"/>
                  <a:pt x="749921" y="3814368"/>
                </a:cubicBezTo>
                <a:cubicBezTo>
                  <a:pt x="743975" y="3814368"/>
                  <a:pt x="739185" y="3809577"/>
                  <a:pt x="739185" y="3803630"/>
                </a:cubicBezTo>
                <a:cubicBezTo>
                  <a:pt x="739185" y="3797684"/>
                  <a:pt x="743975" y="3792894"/>
                  <a:pt x="749921" y="3792894"/>
                </a:cubicBezTo>
                <a:close/>
                <a:moveTo>
                  <a:pt x="461845" y="3791737"/>
                </a:moveTo>
                <a:cubicBezTo>
                  <a:pt x="467792" y="3791737"/>
                  <a:pt x="472583" y="3796527"/>
                  <a:pt x="472583" y="3802474"/>
                </a:cubicBezTo>
                <a:cubicBezTo>
                  <a:pt x="472583" y="3808420"/>
                  <a:pt x="467792" y="3813212"/>
                  <a:pt x="461845" y="3813212"/>
                </a:cubicBezTo>
                <a:cubicBezTo>
                  <a:pt x="455899" y="3813212"/>
                  <a:pt x="451109" y="3808420"/>
                  <a:pt x="451109" y="3802474"/>
                </a:cubicBezTo>
                <a:cubicBezTo>
                  <a:pt x="451109" y="3796527"/>
                  <a:pt x="455899" y="3791737"/>
                  <a:pt x="461845" y="3791737"/>
                </a:cubicBezTo>
                <a:close/>
                <a:moveTo>
                  <a:pt x="191279" y="3791241"/>
                </a:moveTo>
                <a:cubicBezTo>
                  <a:pt x="197226" y="3791241"/>
                  <a:pt x="202015" y="3796031"/>
                  <a:pt x="202015" y="3801978"/>
                </a:cubicBezTo>
                <a:cubicBezTo>
                  <a:pt x="202015" y="3807924"/>
                  <a:pt x="197226" y="3812716"/>
                  <a:pt x="191279" y="3812716"/>
                </a:cubicBezTo>
                <a:cubicBezTo>
                  <a:pt x="185333" y="3812716"/>
                  <a:pt x="180543" y="3807924"/>
                  <a:pt x="180543" y="3801978"/>
                </a:cubicBezTo>
                <a:cubicBezTo>
                  <a:pt x="180543" y="3796031"/>
                  <a:pt x="185333" y="3791241"/>
                  <a:pt x="191279" y="3791241"/>
                </a:cubicBezTo>
                <a:close/>
                <a:moveTo>
                  <a:pt x="172283" y="3784799"/>
                </a:moveTo>
                <a:cubicBezTo>
                  <a:pt x="178229" y="3784799"/>
                  <a:pt x="183021" y="3789589"/>
                  <a:pt x="183021" y="3795535"/>
                </a:cubicBezTo>
                <a:cubicBezTo>
                  <a:pt x="183021" y="3801482"/>
                  <a:pt x="178229" y="3806273"/>
                  <a:pt x="172283" y="3806273"/>
                </a:cubicBezTo>
                <a:cubicBezTo>
                  <a:pt x="166336" y="3806273"/>
                  <a:pt x="161546" y="3801482"/>
                  <a:pt x="161546" y="3795535"/>
                </a:cubicBezTo>
                <a:cubicBezTo>
                  <a:pt x="161546" y="3789589"/>
                  <a:pt x="166336" y="3784799"/>
                  <a:pt x="172283" y="3784799"/>
                </a:cubicBezTo>
                <a:close/>
                <a:moveTo>
                  <a:pt x="148826" y="3781991"/>
                </a:moveTo>
                <a:cubicBezTo>
                  <a:pt x="154773" y="3781991"/>
                  <a:pt x="159564" y="3786781"/>
                  <a:pt x="159564" y="3792727"/>
                </a:cubicBezTo>
                <a:cubicBezTo>
                  <a:pt x="159564" y="3798674"/>
                  <a:pt x="154773" y="3803466"/>
                  <a:pt x="148826" y="3803466"/>
                </a:cubicBezTo>
                <a:cubicBezTo>
                  <a:pt x="142880" y="3803466"/>
                  <a:pt x="138090" y="3798674"/>
                  <a:pt x="138090" y="3792727"/>
                </a:cubicBezTo>
                <a:cubicBezTo>
                  <a:pt x="138090" y="3786781"/>
                  <a:pt x="142880" y="3781991"/>
                  <a:pt x="148826" y="3781991"/>
                </a:cubicBezTo>
                <a:close/>
                <a:moveTo>
                  <a:pt x="235216" y="3776541"/>
                </a:moveTo>
                <a:cubicBezTo>
                  <a:pt x="241163" y="3776541"/>
                  <a:pt x="245955" y="3781330"/>
                  <a:pt x="245955" y="3787277"/>
                </a:cubicBezTo>
                <a:cubicBezTo>
                  <a:pt x="245955" y="3793223"/>
                  <a:pt x="241163" y="3798015"/>
                  <a:pt x="235216" y="3798015"/>
                </a:cubicBezTo>
                <a:cubicBezTo>
                  <a:pt x="229270" y="3798015"/>
                  <a:pt x="224480" y="3793223"/>
                  <a:pt x="224480" y="3787277"/>
                </a:cubicBezTo>
                <a:cubicBezTo>
                  <a:pt x="224480" y="3781330"/>
                  <a:pt x="229270" y="3776541"/>
                  <a:pt x="235216" y="3776541"/>
                </a:cubicBezTo>
                <a:close/>
                <a:moveTo>
                  <a:pt x="299142" y="3774394"/>
                </a:moveTo>
                <a:cubicBezTo>
                  <a:pt x="305089" y="3774394"/>
                  <a:pt x="309880" y="3779183"/>
                  <a:pt x="309880" y="3785130"/>
                </a:cubicBezTo>
                <a:cubicBezTo>
                  <a:pt x="309880" y="3791077"/>
                  <a:pt x="305089" y="3795866"/>
                  <a:pt x="299142" y="3795866"/>
                </a:cubicBezTo>
                <a:cubicBezTo>
                  <a:pt x="293196" y="3795866"/>
                  <a:pt x="288406" y="3791077"/>
                  <a:pt x="288406" y="3785130"/>
                </a:cubicBezTo>
                <a:cubicBezTo>
                  <a:pt x="288406" y="3779183"/>
                  <a:pt x="293196" y="3774394"/>
                  <a:pt x="299142" y="3774394"/>
                </a:cubicBezTo>
                <a:close/>
                <a:moveTo>
                  <a:pt x="135282" y="3773072"/>
                </a:moveTo>
                <a:cubicBezTo>
                  <a:pt x="136104" y="3773072"/>
                  <a:pt x="136768" y="3773738"/>
                  <a:pt x="136768" y="3774558"/>
                </a:cubicBezTo>
                <a:cubicBezTo>
                  <a:pt x="136768" y="3775380"/>
                  <a:pt x="136104" y="3776045"/>
                  <a:pt x="135282" y="3776045"/>
                </a:cubicBezTo>
                <a:cubicBezTo>
                  <a:pt x="134462" y="3776045"/>
                  <a:pt x="133796" y="3775380"/>
                  <a:pt x="133796" y="3774558"/>
                </a:cubicBezTo>
                <a:cubicBezTo>
                  <a:pt x="133796" y="3773738"/>
                  <a:pt x="134462" y="3773072"/>
                  <a:pt x="135282" y="3773072"/>
                </a:cubicBezTo>
                <a:close/>
                <a:moveTo>
                  <a:pt x="200198" y="3772906"/>
                </a:moveTo>
                <a:cubicBezTo>
                  <a:pt x="206145" y="3772906"/>
                  <a:pt x="210936" y="3777696"/>
                  <a:pt x="210936" y="3783642"/>
                </a:cubicBezTo>
                <a:cubicBezTo>
                  <a:pt x="210936" y="3789589"/>
                  <a:pt x="206145" y="3794380"/>
                  <a:pt x="200198" y="3794380"/>
                </a:cubicBezTo>
                <a:cubicBezTo>
                  <a:pt x="194251" y="3794380"/>
                  <a:pt x="189462" y="3789589"/>
                  <a:pt x="189462" y="3783642"/>
                </a:cubicBezTo>
                <a:cubicBezTo>
                  <a:pt x="189462" y="3777696"/>
                  <a:pt x="194251" y="3772906"/>
                  <a:pt x="200198" y="3772906"/>
                </a:cubicBezTo>
                <a:close/>
                <a:moveTo>
                  <a:pt x="179220" y="3767786"/>
                </a:moveTo>
                <a:cubicBezTo>
                  <a:pt x="185166" y="3767786"/>
                  <a:pt x="189958" y="3772576"/>
                  <a:pt x="189958" y="3778523"/>
                </a:cubicBezTo>
                <a:cubicBezTo>
                  <a:pt x="189958" y="3784469"/>
                  <a:pt x="185166" y="3789261"/>
                  <a:pt x="179220" y="3789261"/>
                </a:cubicBezTo>
                <a:cubicBezTo>
                  <a:pt x="173273" y="3789261"/>
                  <a:pt x="168483" y="3784469"/>
                  <a:pt x="168483" y="3778523"/>
                </a:cubicBezTo>
                <a:cubicBezTo>
                  <a:pt x="168483" y="3772576"/>
                  <a:pt x="173273" y="3767786"/>
                  <a:pt x="179220" y="3767786"/>
                </a:cubicBezTo>
                <a:close/>
                <a:moveTo>
                  <a:pt x="1219697" y="3765969"/>
                </a:moveTo>
                <a:cubicBezTo>
                  <a:pt x="1225644" y="3765969"/>
                  <a:pt x="1230433" y="3770759"/>
                  <a:pt x="1230433" y="3776705"/>
                </a:cubicBezTo>
                <a:cubicBezTo>
                  <a:pt x="1230433" y="3782652"/>
                  <a:pt x="1225644" y="3787443"/>
                  <a:pt x="1219697" y="3787443"/>
                </a:cubicBezTo>
                <a:cubicBezTo>
                  <a:pt x="1213750" y="3787443"/>
                  <a:pt x="1208961" y="3782652"/>
                  <a:pt x="1208961" y="3776705"/>
                </a:cubicBezTo>
                <a:cubicBezTo>
                  <a:pt x="1208961" y="3770759"/>
                  <a:pt x="1213750" y="3765969"/>
                  <a:pt x="1219697" y="3765969"/>
                </a:cubicBezTo>
                <a:close/>
                <a:moveTo>
                  <a:pt x="160554" y="3763987"/>
                </a:moveTo>
                <a:cubicBezTo>
                  <a:pt x="166501" y="3763987"/>
                  <a:pt x="171293" y="3768777"/>
                  <a:pt x="171293" y="3774723"/>
                </a:cubicBezTo>
                <a:cubicBezTo>
                  <a:pt x="171293" y="3780670"/>
                  <a:pt x="166501" y="3785461"/>
                  <a:pt x="160554" y="3785461"/>
                </a:cubicBezTo>
                <a:cubicBezTo>
                  <a:pt x="154608" y="3785461"/>
                  <a:pt x="149818" y="3780670"/>
                  <a:pt x="149818" y="3774723"/>
                </a:cubicBezTo>
                <a:cubicBezTo>
                  <a:pt x="149818" y="3768777"/>
                  <a:pt x="154608" y="3763987"/>
                  <a:pt x="160554" y="3763987"/>
                </a:cubicBezTo>
                <a:close/>
                <a:moveTo>
                  <a:pt x="665680" y="3762665"/>
                </a:moveTo>
                <a:cubicBezTo>
                  <a:pt x="671626" y="3762665"/>
                  <a:pt x="676416" y="3767455"/>
                  <a:pt x="676416" y="3773402"/>
                </a:cubicBezTo>
                <a:cubicBezTo>
                  <a:pt x="676416" y="3779348"/>
                  <a:pt x="671626" y="3784140"/>
                  <a:pt x="665680" y="3784140"/>
                </a:cubicBezTo>
                <a:cubicBezTo>
                  <a:pt x="659733" y="3784140"/>
                  <a:pt x="654943" y="3779348"/>
                  <a:pt x="654943" y="3773402"/>
                </a:cubicBezTo>
                <a:cubicBezTo>
                  <a:pt x="654943" y="3767455"/>
                  <a:pt x="659733" y="3762665"/>
                  <a:pt x="665680" y="3762665"/>
                </a:cubicBezTo>
                <a:close/>
                <a:moveTo>
                  <a:pt x="410144" y="3762005"/>
                </a:moveTo>
                <a:cubicBezTo>
                  <a:pt x="416090" y="3762005"/>
                  <a:pt x="420880" y="3766794"/>
                  <a:pt x="420880" y="3772741"/>
                </a:cubicBezTo>
                <a:cubicBezTo>
                  <a:pt x="420880" y="3778687"/>
                  <a:pt x="416090" y="3783477"/>
                  <a:pt x="410144" y="3783477"/>
                </a:cubicBezTo>
                <a:cubicBezTo>
                  <a:pt x="404197" y="3783477"/>
                  <a:pt x="399408" y="3778687"/>
                  <a:pt x="399408" y="3772741"/>
                </a:cubicBezTo>
                <a:cubicBezTo>
                  <a:pt x="399408" y="3766794"/>
                  <a:pt x="404197" y="3762005"/>
                  <a:pt x="410144" y="3762005"/>
                </a:cubicBezTo>
                <a:close/>
                <a:moveTo>
                  <a:pt x="2833188" y="3755729"/>
                </a:moveTo>
                <a:cubicBezTo>
                  <a:pt x="2839134" y="3755729"/>
                  <a:pt x="2843926" y="3760518"/>
                  <a:pt x="2843926" y="3766465"/>
                </a:cubicBezTo>
                <a:cubicBezTo>
                  <a:pt x="2843926" y="3772411"/>
                  <a:pt x="2839134" y="3777203"/>
                  <a:pt x="2833188" y="3777203"/>
                </a:cubicBezTo>
                <a:cubicBezTo>
                  <a:pt x="2827242" y="3777203"/>
                  <a:pt x="2822452" y="3772411"/>
                  <a:pt x="2822452" y="3766465"/>
                </a:cubicBezTo>
                <a:cubicBezTo>
                  <a:pt x="2822452" y="3760518"/>
                  <a:pt x="2827242" y="3755729"/>
                  <a:pt x="2833188" y="3755729"/>
                </a:cubicBezTo>
                <a:close/>
                <a:moveTo>
                  <a:pt x="3074518" y="3753250"/>
                </a:moveTo>
                <a:cubicBezTo>
                  <a:pt x="3080464" y="3753250"/>
                  <a:pt x="3085256" y="3758040"/>
                  <a:pt x="3085256" y="3763987"/>
                </a:cubicBezTo>
                <a:cubicBezTo>
                  <a:pt x="3085256" y="3769933"/>
                  <a:pt x="3080464" y="3774723"/>
                  <a:pt x="3074518" y="3774723"/>
                </a:cubicBezTo>
                <a:cubicBezTo>
                  <a:pt x="3068571" y="3774723"/>
                  <a:pt x="3063781" y="3769933"/>
                  <a:pt x="3063781" y="3763987"/>
                </a:cubicBezTo>
                <a:cubicBezTo>
                  <a:pt x="3063781" y="3758040"/>
                  <a:pt x="3068571" y="3753250"/>
                  <a:pt x="3074518" y="3753250"/>
                </a:cubicBezTo>
                <a:close/>
                <a:moveTo>
                  <a:pt x="215395" y="3749782"/>
                </a:moveTo>
                <a:cubicBezTo>
                  <a:pt x="221341" y="3749782"/>
                  <a:pt x="226131" y="3754572"/>
                  <a:pt x="226131" y="3760518"/>
                </a:cubicBezTo>
                <a:cubicBezTo>
                  <a:pt x="226131" y="3766465"/>
                  <a:pt x="221341" y="3771256"/>
                  <a:pt x="215395" y="3771256"/>
                </a:cubicBezTo>
                <a:cubicBezTo>
                  <a:pt x="209448" y="3771256"/>
                  <a:pt x="204658" y="3766465"/>
                  <a:pt x="204658" y="3760518"/>
                </a:cubicBezTo>
                <a:cubicBezTo>
                  <a:pt x="204658" y="3754572"/>
                  <a:pt x="209448" y="3749782"/>
                  <a:pt x="215395" y="3749782"/>
                </a:cubicBezTo>
                <a:close/>
                <a:moveTo>
                  <a:pt x="2593345" y="3749286"/>
                </a:moveTo>
                <a:cubicBezTo>
                  <a:pt x="2599291" y="3749286"/>
                  <a:pt x="2604081" y="3754076"/>
                  <a:pt x="2604081" y="3760022"/>
                </a:cubicBezTo>
                <a:cubicBezTo>
                  <a:pt x="2604081" y="3765969"/>
                  <a:pt x="2599291" y="3770761"/>
                  <a:pt x="2593345" y="3770761"/>
                </a:cubicBezTo>
                <a:cubicBezTo>
                  <a:pt x="2587398" y="3770761"/>
                  <a:pt x="2582608" y="3765969"/>
                  <a:pt x="2582608" y="3760022"/>
                </a:cubicBezTo>
                <a:cubicBezTo>
                  <a:pt x="2582608" y="3754076"/>
                  <a:pt x="2587398" y="3749286"/>
                  <a:pt x="2593345" y="3749286"/>
                </a:cubicBezTo>
                <a:close/>
                <a:moveTo>
                  <a:pt x="268913" y="3746312"/>
                </a:moveTo>
                <a:cubicBezTo>
                  <a:pt x="274860" y="3746312"/>
                  <a:pt x="279652" y="3751102"/>
                  <a:pt x="279652" y="3757048"/>
                </a:cubicBezTo>
                <a:cubicBezTo>
                  <a:pt x="279652" y="3762995"/>
                  <a:pt x="274860" y="3767786"/>
                  <a:pt x="268913" y="3767786"/>
                </a:cubicBezTo>
                <a:cubicBezTo>
                  <a:pt x="262967" y="3767786"/>
                  <a:pt x="258177" y="3762995"/>
                  <a:pt x="258177" y="3757048"/>
                </a:cubicBezTo>
                <a:cubicBezTo>
                  <a:pt x="258177" y="3751102"/>
                  <a:pt x="262967" y="3746312"/>
                  <a:pt x="268913" y="3746312"/>
                </a:cubicBezTo>
                <a:close/>
                <a:moveTo>
                  <a:pt x="148826" y="3744330"/>
                </a:moveTo>
                <a:lnTo>
                  <a:pt x="158820" y="3754324"/>
                </a:lnTo>
                <a:lnTo>
                  <a:pt x="167822" y="3745322"/>
                </a:lnTo>
                <a:lnTo>
                  <a:pt x="178477" y="3755975"/>
                </a:lnTo>
                <a:lnTo>
                  <a:pt x="186323" y="3748129"/>
                </a:lnTo>
                <a:cubicBezTo>
                  <a:pt x="192269" y="3748129"/>
                  <a:pt x="197061" y="3752919"/>
                  <a:pt x="197061" y="3758866"/>
                </a:cubicBezTo>
                <a:cubicBezTo>
                  <a:pt x="197061" y="3764812"/>
                  <a:pt x="192269" y="3769604"/>
                  <a:pt x="186323" y="3769604"/>
                </a:cubicBezTo>
                <a:lnTo>
                  <a:pt x="175670" y="3758949"/>
                </a:lnTo>
                <a:lnTo>
                  <a:pt x="167822" y="3766796"/>
                </a:lnTo>
                <a:lnTo>
                  <a:pt x="157828" y="3756802"/>
                </a:lnTo>
                <a:lnTo>
                  <a:pt x="148826" y="3765804"/>
                </a:lnTo>
                <a:cubicBezTo>
                  <a:pt x="142880" y="3765804"/>
                  <a:pt x="138090" y="3761013"/>
                  <a:pt x="138090" y="3755066"/>
                </a:cubicBezTo>
                <a:cubicBezTo>
                  <a:pt x="138090" y="3749120"/>
                  <a:pt x="142880" y="3744330"/>
                  <a:pt x="148826" y="3744330"/>
                </a:cubicBezTo>
                <a:close/>
                <a:moveTo>
                  <a:pt x="3310396" y="3742679"/>
                </a:moveTo>
                <a:cubicBezTo>
                  <a:pt x="3316343" y="3742679"/>
                  <a:pt x="3321134" y="3747469"/>
                  <a:pt x="3321134" y="3753415"/>
                </a:cubicBezTo>
                <a:cubicBezTo>
                  <a:pt x="3321134" y="3759362"/>
                  <a:pt x="3316343" y="3764152"/>
                  <a:pt x="3310396" y="3764152"/>
                </a:cubicBezTo>
                <a:cubicBezTo>
                  <a:pt x="3304450" y="3764152"/>
                  <a:pt x="3299660" y="3759362"/>
                  <a:pt x="3299660" y="3753415"/>
                </a:cubicBezTo>
                <a:cubicBezTo>
                  <a:pt x="3299660" y="3747469"/>
                  <a:pt x="3304450" y="3742679"/>
                  <a:pt x="3310396" y="3742679"/>
                </a:cubicBezTo>
                <a:close/>
                <a:moveTo>
                  <a:pt x="1089865" y="3737228"/>
                </a:moveTo>
                <a:cubicBezTo>
                  <a:pt x="1095812" y="3737228"/>
                  <a:pt x="1100602" y="3742018"/>
                  <a:pt x="1100602" y="3747965"/>
                </a:cubicBezTo>
                <a:cubicBezTo>
                  <a:pt x="1100602" y="3753911"/>
                  <a:pt x="1095812" y="3758701"/>
                  <a:pt x="1089865" y="3758701"/>
                </a:cubicBezTo>
                <a:cubicBezTo>
                  <a:pt x="1083919" y="3758701"/>
                  <a:pt x="1079129" y="3753911"/>
                  <a:pt x="1079129" y="3747965"/>
                </a:cubicBezTo>
                <a:cubicBezTo>
                  <a:pt x="1079129" y="3742018"/>
                  <a:pt x="1083919" y="3737228"/>
                  <a:pt x="1089865" y="3737228"/>
                </a:cubicBezTo>
                <a:close/>
                <a:moveTo>
                  <a:pt x="2361926" y="3735576"/>
                </a:moveTo>
                <a:cubicBezTo>
                  <a:pt x="2367873" y="3735576"/>
                  <a:pt x="2372664" y="3740365"/>
                  <a:pt x="2372664" y="3746312"/>
                </a:cubicBezTo>
                <a:cubicBezTo>
                  <a:pt x="2372664" y="3752258"/>
                  <a:pt x="2367873" y="3757050"/>
                  <a:pt x="2361926" y="3757050"/>
                </a:cubicBezTo>
                <a:cubicBezTo>
                  <a:pt x="2355980" y="3757050"/>
                  <a:pt x="2351190" y="3752258"/>
                  <a:pt x="2351190" y="3746312"/>
                </a:cubicBezTo>
                <a:cubicBezTo>
                  <a:pt x="2351190" y="3740365"/>
                  <a:pt x="2355980" y="3735576"/>
                  <a:pt x="2361926" y="3735576"/>
                </a:cubicBezTo>
                <a:close/>
                <a:moveTo>
                  <a:pt x="589861" y="3733264"/>
                </a:moveTo>
                <a:cubicBezTo>
                  <a:pt x="595808" y="3733264"/>
                  <a:pt x="600598" y="3738054"/>
                  <a:pt x="600598" y="3744000"/>
                </a:cubicBezTo>
                <a:cubicBezTo>
                  <a:pt x="600598" y="3749947"/>
                  <a:pt x="595808" y="3754738"/>
                  <a:pt x="589861" y="3754738"/>
                </a:cubicBezTo>
                <a:cubicBezTo>
                  <a:pt x="583915" y="3754738"/>
                  <a:pt x="579125" y="3749947"/>
                  <a:pt x="579125" y="3744000"/>
                </a:cubicBezTo>
                <a:cubicBezTo>
                  <a:pt x="579125" y="3738054"/>
                  <a:pt x="583915" y="3733264"/>
                  <a:pt x="589861" y="3733264"/>
                </a:cubicBezTo>
                <a:close/>
                <a:moveTo>
                  <a:pt x="364223" y="3733264"/>
                </a:moveTo>
                <a:cubicBezTo>
                  <a:pt x="370169" y="3733264"/>
                  <a:pt x="374961" y="3738054"/>
                  <a:pt x="374961" y="3744000"/>
                </a:cubicBezTo>
                <a:cubicBezTo>
                  <a:pt x="374961" y="3749947"/>
                  <a:pt x="370169" y="3754738"/>
                  <a:pt x="364223" y="3754738"/>
                </a:cubicBezTo>
                <a:cubicBezTo>
                  <a:pt x="358276" y="3754738"/>
                  <a:pt x="353486" y="3749947"/>
                  <a:pt x="353486" y="3744000"/>
                </a:cubicBezTo>
                <a:cubicBezTo>
                  <a:pt x="353486" y="3738054"/>
                  <a:pt x="358276" y="3733264"/>
                  <a:pt x="364223" y="3733264"/>
                </a:cubicBezTo>
                <a:close/>
                <a:moveTo>
                  <a:pt x="136768" y="3725665"/>
                </a:moveTo>
                <a:cubicBezTo>
                  <a:pt x="142715" y="3725665"/>
                  <a:pt x="147506" y="3730455"/>
                  <a:pt x="147506" y="3736401"/>
                </a:cubicBezTo>
                <a:cubicBezTo>
                  <a:pt x="147506" y="3742348"/>
                  <a:pt x="142715" y="3747139"/>
                  <a:pt x="136768" y="3747139"/>
                </a:cubicBezTo>
                <a:cubicBezTo>
                  <a:pt x="130822" y="3747139"/>
                  <a:pt x="126032" y="3742348"/>
                  <a:pt x="126032" y="3736401"/>
                </a:cubicBezTo>
                <a:cubicBezTo>
                  <a:pt x="126032" y="3730455"/>
                  <a:pt x="130822" y="3725665"/>
                  <a:pt x="136768" y="3725665"/>
                </a:cubicBezTo>
                <a:close/>
                <a:moveTo>
                  <a:pt x="198051" y="3724179"/>
                </a:moveTo>
                <a:cubicBezTo>
                  <a:pt x="203998" y="3724179"/>
                  <a:pt x="208789" y="3728968"/>
                  <a:pt x="208789" y="3734915"/>
                </a:cubicBezTo>
                <a:cubicBezTo>
                  <a:pt x="208789" y="3740861"/>
                  <a:pt x="203998" y="3745653"/>
                  <a:pt x="198051" y="3745653"/>
                </a:cubicBezTo>
                <a:cubicBezTo>
                  <a:pt x="192105" y="3745653"/>
                  <a:pt x="187315" y="3740861"/>
                  <a:pt x="187315" y="3734915"/>
                </a:cubicBezTo>
                <a:cubicBezTo>
                  <a:pt x="187315" y="3728968"/>
                  <a:pt x="192105" y="3724179"/>
                  <a:pt x="198051" y="3724179"/>
                </a:cubicBezTo>
                <a:close/>
                <a:moveTo>
                  <a:pt x="156921" y="3724179"/>
                </a:moveTo>
                <a:lnTo>
                  <a:pt x="165676" y="3732933"/>
                </a:lnTo>
                <a:lnTo>
                  <a:pt x="173935" y="3724673"/>
                </a:lnTo>
                <a:cubicBezTo>
                  <a:pt x="179882" y="3724673"/>
                  <a:pt x="184674" y="3729463"/>
                  <a:pt x="184674" y="3735409"/>
                </a:cubicBezTo>
                <a:cubicBezTo>
                  <a:pt x="184674" y="3741356"/>
                  <a:pt x="179882" y="3746147"/>
                  <a:pt x="173935" y="3746147"/>
                </a:cubicBezTo>
                <a:lnTo>
                  <a:pt x="165181" y="3737391"/>
                </a:lnTo>
                <a:lnTo>
                  <a:pt x="156921" y="3745653"/>
                </a:lnTo>
                <a:cubicBezTo>
                  <a:pt x="150975" y="3745653"/>
                  <a:pt x="146185" y="3740861"/>
                  <a:pt x="146185" y="3734915"/>
                </a:cubicBezTo>
                <a:cubicBezTo>
                  <a:pt x="146185" y="3728968"/>
                  <a:pt x="150975" y="3724179"/>
                  <a:pt x="156921" y="3724179"/>
                </a:cubicBezTo>
                <a:close/>
                <a:moveTo>
                  <a:pt x="242649" y="3719389"/>
                </a:moveTo>
                <a:cubicBezTo>
                  <a:pt x="248596" y="3719389"/>
                  <a:pt x="253387" y="3724179"/>
                  <a:pt x="253387" y="3730125"/>
                </a:cubicBezTo>
                <a:cubicBezTo>
                  <a:pt x="253387" y="3736072"/>
                  <a:pt x="248596" y="3740863"/>
                  <a:pt x="242649" y="3740863"/>
                </a:cubicBezTo>
                <a:cubicBezTo>
                  <a:pt x="236703" y="3740863"/>
                  <a:pt x="231913" y="3736072"/>
                  <a:pt x="231913" y="3730125"/>
                </a:cubicBezTo>
                <a:cubicBezTo>
                  <a:pt x="231913" y="3724179"/>
                  <a:pt x="236703" y="3719389"/>
                  <a:pt x="242649" y="3719389"/>
                </a:cubicBezTo>
                <a:close/>
                <a:moveTo>
                  <a:pt x="2142896" y="3716579"/>
                </a:moveTo>
                <a:cubicBezTo>
                  <a:pt x="2148843" y="3716579"/>
                  <a:pt x="2153635" y="3721369"/>
                  <a:pt x="2153635" y="3727316"/>
                </a:cubicBezTo>
                <a:cubicBezTo>
                  <a:pt x="2153635" y="3733262"/>
                  <a:pt x="2148843" y="3738052"/>
                  <a:pt x="2142896" y="3738052"/>
                </a:cubicBezTo>
                <a:cubicBezTo>
                  <a:pt x="2136950" y="3738052"/>
                  <a:pt x="2132160" y="3733262"/>
                  <a:pt x="2132160" y="3727316"/>
                </a:cubicBezTo>
                <a:cubicBezTo>
                  <a:pt x="2132160" y="3721369"/>
                  <a:pt x="2136950" y="3716579"/>
                  <a:pt x="2142896" y="3716579"/>
                </a:cubicBezTo>
                <a:close/>
                <a:moveTo>
                  <a:pt x="971596" y="3708982"/>
                </a:moveTo>
                <a:cubicBezTo>
                  <a:pt x="977542" y="3708982"/>
                  <a:pt x="982334" y="3713772"/>
                  <a:pt x="982334" y="3719718"/>
                </a:cubicBezTo>
                <a:cubicBezTo>
                  <a:pt x="982334" y="3725665"/>
                  <a:pt x="977542" y="3730456"/>
                  <a:pt x="971596" y="3730456"/>
                </a:cubicBezTo>
                <a:cubicBezTo>
                  <a:pt x="965649" y="3730456"/>
                  <a:pt x="960859" y="3725665"/>
                  <a:pt x="960859" y="3719718"/>
                </a:cubicBezTo>
                <a:cubicBezTo>
                  <a:pt x="960859" y="3713772"/>
                  <a:pt x="965649" y="3708982"/>
                  <a:pt x="971596" y="3708982"/>
                </a:cubicBezTo>
                <a:close/>
                <a:moveTo>
                  <a:pt x="124546" y="3708982"/>
                </a:moveTo>
                <a:cubicBezTo>
                  <a:pt x="129927" y="3708982"/>
                  <a:pt x="134292" y="3713345"/>
                  <a:pt x="134292" y="3718728"/>
                </a:cubicBezTo>
                <a:cubicBezTo>
                  <a:pt x="134292" y="3724109"/>
                  <a:pt x="129927" y="3728472"/>
                  <a:pt x="124546" y="3728472"/>
                </a:cubicBezTo>
                <a:cubicBezTo>
                  <a:pt x="119163" y="3728472"/>
                  <a:pt x="114800" y="3724109"/>
                  <a:pt x="114800" y="3718728"/>
                </a:cubicBezTo>
                <a:cubicBezTo>
                  <a:pt x="114800" y="3713345"/>
                  <a:pt x="119163" y="3708982"/>
                  <a:pt x="124546" y="3708982"/>
                </a:cubicBezTo>
                <a:close/>
                <a:moveTo>
                  <a:pt x="323754" y="3705513"/>
                </a:moveTo>
                <a:cubicBezTo>
                  <a:pt x="329700" y="3705513"/>
                  <a:pt x="334490" y="3710303"/>
                  <a:pt x="334490" y="3716250"/>
                </a:cubicBezTo>
                <a:cubicBezTo>
                  <a:pt x="334490" y="3722196"/>
                  <a:pt x="329700" y="3726986"/>
                  <a:pt x="323754" y="3726986"/>
                </a:cubicBezTo>
                <a:cubicBezTo>
                  <a:pt x="317807" y="3726986"/>
                  <a:pt x="313017" y="3722196"/>
                  <a:pt x="313017" y="3716250"/>
                </a:cubicBezTo>
                <a:cubicBezTo>
                  <a:pt x="313017" y="3710303"/>
                  <a:pt x="317807" y="3705513"/>
                  <a:pt x="323754" y="3705513"/>
                </a:cubicBezTo>
                <a:close/>
                <a:moveTo>
                  <a:pt x="521806" y="3704851"/>
                </a:moveTo>
                <a:cubicBezTo>
                  <a:pt x="527753" y="3704851"/>
                  <a:pt x="532544" y="3709641"/>
                  <a:pt x="532544" y="3715587"/>
                </a:cubicBezTo>
                <a:cubicBezTo>
                  <a:pt x="532544" y="3721534"/>
                  <a:pt x="527753" y="3726325"/>
                  <a:pt x="521806" y="3726325"/>
                </a:cubicBezTo>
                <a:cubicBezTo>
                  <a:pt x="515860" y="3726325"/>
                  <a:pt x="511070" y="3721534"/>
                  <a:pt x="511070" y="3715587"/>
                </a:cubicBezTo>
                <a:cubicBezTo>
                  <a:pt x="511070" y="3709641"/>
                  <a:pt x="515860" y="3704851"/>
                  <a:pt x="521806" y="3704851"/>
                </a:cubicBezTo>
                <a:close/>
                <a:moveTo>
                  <a:pt x="162537" y="3702208"/>
                </a:moveTo>
                <a:cubicBezTo>
                  <a:pt x="168483" y="3702208"/>
                  <a:pt x="173275" y="3706998"/>
                  <a:pt x="173275" y="3712944"/>
                </a:cubicBezTo>
                <a:cubicBezTo>
                  <a:pt x="173275" y="3718891"/>
                  <a:pt x="168483" y="3723683"/>
                  <a:pt x="162537" y="3723683"/>
                </a:cubicBezTo>
                <a:lnTo>
                  <a:pt x="155269" y="3716415"/>
                </a:lnTo>
                <a:lnTo>
                  <a:pt x="146183" y="3725500"/>
                </a:lnTo>
                <a:cubicBezTo>
                  <a:pt x="140237" y="3725500"/>
                  <a:pt x="135447" y="3720708"/>
                  <a:pt x="135447" y="3714762"/>
                </a:cubicBezTo>
                <a:cubicBezTo>
                  <a:pt x="135447" y="3708815"/>
                  <a:pt x="140237" y="3704026"/>
                  <a:pt x="146183" y="3704026"/>
                </a:cubicBezTo>
                <a:lnTo>
                  <a:pt x="153451" y="3711294"/>
                </a:lnTo>
                <a:close/>
                <a:moveTo>
                  <a:pt x="182854" y="3699896"/>
                </a:moveTo>
                <a:cubicBezTo>
                  <a:pt x="188801" y="3699896"/>
                  <a:pt x="193592" y="3704686"/>
                  <a:pt x="193592" y="3710633"/>
                </a:cubicBezTo>
                <a:cubicBezTo>
                  <a:pt x="193592" y="3716579"/>
                  <a:pt x="188801" y="3721371"/>
                  <a:pt x="182854" y="3721371"/>
                </a:cubicBezTo>
                <a:cubicBezTo>
                  <a:pt x="176908" y="3721371"/>
                  <a:pt x="172118" y="3716579"/>
                  <a:pt x="172118" y="3710633"/>
                </a:cubicBezTo>
                <a:cubicBezTo>
                  <a:pt x="172118" y="3704686"/>
                  <a:pt x="176908" y="3699896"/>
                  <a:pt x="182854" y="3699896"/>
                </a:cubicBezTo>
                <a:close/>
                <a:moveTo>
                  <a:pt x="1937905" y="3694611"/>
                </a:moveTo>
                <a:cubicBezTo>
                  <a:pt x="1943852" y="3694611"/>
                  <a:pt x="1948643" y="3699400"/>
                  <a:pt x="1948643" y="3705347"/>
                </a:cubicBezTo>
                <a:cubicBezTo>
                  <a:pt x="1948643" y="3711294"/>
                  <a:pt x="1943852" y="3716085"/>
                  <a:pt x="1937905" y="3716085"/>
                </a:cubicBezTo>
                <a:cubicBezTo>
                  <a:pt x="1931959" y="3716085"/>
                  <a:pt x="1927169" y="3711294"/>
                  <a:pt x="1927169" y="3705347"/>
                </a:cubicBezTo>
                <a:cubicBezTo>
                  <a:pt x="1927169" y="3699400"/>
                  <a:pt x="1931959" y="3694611"/>
                  <a:pt x="1937905" y="3694611"/>
                </a:cubicBezTo>
                <a:close/>
                <a:moveTo>
                  <a:pt x="219526" y="3693454"/>
                </a:moveTo>
                <a:cubicBezTo>
                  <a:pt x="225472" y="3693454"/>
                  <a:pt x="230262" y="3698244"/>
                  <a:pt x="230262" y="3704190"/>
                </a:cubicBezTo>
                <a:cubicBezTo>
                  <a:pt x="230262" y="3710137"/>
                  <a:pt x="225472" y="3714928"/>
                  <a:pt x="219526" y="3714928"/>
                </a:cubicBezTo>
                <a:cubicBezTo>
                  <a:pt x="213579" y="3714928"/>
                  <a:pt x="208789" y="3710137"/>
                  <a:pt x="208789" y="3704190"/>
                </a:cubicBezTo>
                <a:cubicBezTo>
                  <a:pt x="208789" y="3698244"/>
                  <a:pt x="213579" y="3693454"/>
                  <a:pt x="219526" y="3693454"/>
                </a:cubicBezTo>
                <a:close/>
                <a:moveTo>
                  <a:pt x="864062" y="3681231"/>
                </a:moveTo>
                <a:cubicBezTo>
                  <a:pt x="870009" y="3681231"/>
                  <a:pt x="874798" y="3686021"/>
                  <a:pt x="874798" y="3691968"/>
                </a:cubicBezTo>
                <a:cubicBezTo>
                  <a:pt x="874798" y="3697914"/>
                  <a:pt x="870009" y="3702704"/>
                  <a:pt x="864062" y="3702704"/>
                </a:cubicBezTo>
                <a:cubicBezTo>
                  <a:pt x="858116" y="3702704"/>
                  <a:pt x="853326" y="3697914"/>
                  <a:pt x="853326" y="3691968"/>
                </a:cubicBezTo>
                <a:cubicBezTo>
                  <a:pt x="853326" y="3686021"/>
                  <a:pt x="858116" y="3681231"/>
                  <a:pt x="864062" y="3681231"/>
                </a:cubicBezTo>
                <a:close/>
                <a:moveTo>
                  <a:pt x="151800" y="3680900"/>
                </a:moveTo>
                <a:cubicBezTo>
                  <a:pt x="157747" y="3680900"/>
                  <a:pt x="162538" y="3685690"/>
                  <a:pt x="162538" y="3691636"/>
                </a:cubicBezTo>
                <a:cubicBezTo>
                  <a:pt x="162538" y="3697583"/>
                  <a:pt x="157747" y="3702375"/>
                  <a:pt x="151800" y="3702375"/>
                </a:cubicBezTo>
                <a:lnTo>
                  <a:pt x="145771" y="3696345"/>
                </a:lnTo>
                <a:lnTo>
                  <a:pt x="135612" y="3706505"/>
                </a:lnTo>
                <a:cubicBezTo>
                  <a:pt x="129665" y="3706505"/>
                  <a:pt x="124875" y="3701714"/>
                  <a:pt x="124875" y="3695767"/>
                </a:cubicBezTo>
                <a:cubicBezTo>
                  <a:pt x="124875" y="3689821"/>
                  <a:pt x="129665" y="3685031"/>
                  <a:pt x="135612" y="3685031"/>
                </a:cubicBezTo>
                <a:lnTo>
                  <a:pt x="141640" y="3691061"/>
                </a:lnTo>
                <a:close/>
                <a:moveTo>
                  <a:pt x="288074" y="3678918"/>
                </a:moveTo>
                <a:cubicBezTo>
                  <a:pt x="294021" y="3678918"/>
                  <a:pt x="298811" y="3683708"/>
                  <a:pt x="298811" y="3689654"/>
                </a:cubicBezTo>
                <a:cubicBezTo>
                  <a:pt x="298811" y="3695601"/>
                  <a:pt x="294021" y="3700391"/>
                  <a:pt x="288074" y="3700391"/>
                </a:cubicBezTo>
                <a:cubicBezTo>
                  <a:pt x="282128" y="3700391"/>
                  <a:pt x="277338" y="3695601"/>
                  <a:pt x="277338" y="3689654"/>
                </a:cubicBezTo>
                <a:cubicBezTo>
                  <a:pt x="277338" y="3683708"/>
                  <a:pt x="282128" y="3678918"/>
                  <a:pt x="288074" y="3678918"/>
                </a:cubicBezTo>
                <a:close/>
                <a:moveTo>
                  <a:pt x="461184" y="3677267"/>
                </a:moveTo>
                <a:cubicBezTo>
                  <a:pt x="467131" y="3677267"/>
                  <a:pt x="471921" y="3682057"/>
                  <a:pt x="471921" y="3688003"/>
                </a:cubicBezTo>
                <a:cubicBezTo>
                  <a:pt x="471921" y="3693950"/>
                  <a:pt x="467131" y="3698741"/>
                  <a:pt x="461184" y="3698741"/>
                </a:cubicBezTo>
                <a:cubicBezTo>
                  <a:pt x="455238" y="3698741"/>
                  <a:pt x="450448" y="3693950"/>
                  <a:pt x="450448" y="3688003"/>
                </a:cubicBezTo>
                <a:cubicBezTo>
                  <a:pt x="450448" y="3682057"/>
                  <a:pt x="455238" y="3677267"/>
                  <a:pt x="461184" y="3677267"/>
                </a:cubicBezTo>
                <a:close/>
                <a:moveTo>
                  <a:pt x="169310" y="3676606"/>
                </a:moveTo>
                <a:cubicBezTo>
                  <a:pt x="175257" y="3676606"/>
                  <a:pt x="180047" y="3681396"/>
                  <a:pt x="180047" y="3687343"/>
                </a:cubicBezTo>
                <a:cubicBezTo>
                  <a:pt x="180047" y="3693289"/>
                  <a:pt x="175257" y="3698079"/>
                  <a:pt x="169310" y="3698079"/>
                </a:cubicBezTo>
                <a:cubicBezTo>
                  <a:pt x="163364" y="3698079"/>
                  <a:pt x="158574" y="3693289"/>
                  <a:pt x="158574" y="3687343"/>
                </a:cubicBezTo>
                <a:cubicBezTo>
                  <a:pt x="158574" y="3681396"/>
                  <a:pt x="163364" y="3676606"/>
                  <a:pt x="169310" y="3676606"/>
                </a:cubicBezTo>
                <a:close/>
                <a:moveTo>
                  <a:pt x="1747783" y="3670989"/>
                </a:moveTo>
                <a:cubicBezTo>
                  <a:pt x="1753730" y="3670989"/>
                  <a:pt x="1758519" y="3675779"/>
                  <a:pt x="1758519" y="3681726"/>
                </a:cubicBezTo>
                <a:cubicBezTo>
                  <a:pt x="1758519" y="3687672"/>
                  <a:pt x="1753730" y="3692464"/>
                  <a:pt x="1747783" y="3692464"/>
                </a:cubicBezTo>
                <a:cubicBezTo>
                  <a:pt x="1741836" y="3692464"/>
                  <a:pt x="1737047" y="3687672"/>
                  <a:pt x="1737047" y="3681726"/>
                </a:cubicBezTo>
                <a:cubicBezTo>
                  <a:pt x="1737047" y="3675779"/>
                  <a:pt x="1741836" y="3670989"/>
                  <a:pt x="1747783" y="3670989"/>
                </a:cubicBezTo>
                <a:close/>
                <a:moveTo>
                  <a:pt x="199537" y="3668678"/>
                </a:moveTo>
                <a:cubicBezTo>
                  <a:pt x="205484" y="3668678"/>
                  <a:pt x="210274" y="3673468"/>
                  <a:pt x="210274" y="3679414"/>
                </a:cubicBezTo>
                <a:cubicBezTo>
                  <a:pt x="210274" y="3685360"/>
                  <a:pt x="205484" y="3690152"/>
                  <a:pt x="199537" y="3690152"/>
                </a:cubicBezTo>
                <a:cubicBezTo>
                  <a:pt x="193591" y="3690152"/>
                  <a:pt x="188801" y="3685360"/>
                  <a:pt x="188801" y="3679414"/>
                </a:cubicBezTo>
                <a:cubicBezTo>
                  <a:pt x="188801" y="3673468"/>
                  <a:pt x="193591" y="3668678"/>
                  <a:pt x="199537" y="3668678"/>
                </a:cubicBezTo>
                <a:close/>
                <a:moveTo>
                  <a:pt x="124711" y="3667025"/>
                </a:moveTo>
                <a:cubicBezTo>
                  <a:pt x="130657" y="3667025"/>
                  <a:pt x="135447" y="3671815"/>
                  <a:pt x="135447" y="3677761"/>
                </a:cubicBezTo>
                <a:cubicBezTo>
                  <a:pt x="135447" y="3683708"/>
                  <a:pt x="130657" y="3688498"/>
                  <a:pt x="124711" y="3688498"/>
                </a:cubicBezTo>
                <a:cubicBezTo>
                  <a:pt x="118764" y="3688498"/>
                  <a:pt x="113974" y="3683708"/>
                  <a:pt x="113974" y="3677761"/>
                </a:cubicBezTo>
                <a:cubicBezTo>
                  <a:pt x="113974" y="3671815"/>
                  <a:pt x="118764" y="3667025"/>
                  <a:pt x="124711" y="3667025"/>
                </a:cubicBezTo>
                <a:close/>
                <a:moveTo>
                  <a:pt x="141889" y="3660749"/>
                </a:moveTo>
                <a:cubicBezTo>
                  <a:pt x="147836" y="3660749"/>
                  <a:pt x="152626" y="3665539"/>
                  <a:pt x="152626" y="3671485"/>
                </a:cubicBezTo>
                <a:cubicBezTo>
                  <a:pt x="152626" y="3677432"/>
                  <a:pt x="147836" y="3682223"/>
                  <a:pt x="141889" y="3682223"/>
                </a:cubicBezTo>
                <a:cubicBezTo>
                  <a:pt x="135943" y="3682223"/>
                  <a:pt x="131153" y="3677432"/>
                  <a:pt x="131153" y="3671485"/>
                </a:cubicBezTo>
                <a:cubicBezTo>
                  <a:pt x="131153" y="3665539"/>
                  <a:pt x="135943" y="3660749"/>
                  <a:pt x="141889" y="3660749"/>
                </a:cubicBezTo>
                <a:close/>
                <a:moveTo>
                  <a:pt x="157417" y="3654471"/>
                </a:moveTo>
                <a:cubicBezTo>
                  <a:pt x="163364" y="3654471"/>
                  <a:pt x="168155" y="3659261"/>
                  <a:pt x="168155" y="3665208"/>
                </a:cubicBezTo>
                <a:cubicBezTo>
                  <a:pt x="168155" y="3671154"/>
                  <a:pt x="163364" y="3675946"/>
                  <a:pt x="157417" y="3675946"/>
                </a:cubicBezTo>
                <a:cubicBezTo>
                  <a:pt x="151471" y="3675946"/>
                  <a:pt x="146681" y="3671154"/>
                  <a:pt x="146681" y="3665208"/>
                </a:cubicBezTo>
                <a:cubicBezTo>
                  <a:pt x="146681" y="3659261"/>
                  <a:pt x="151471" y="3654471"/>
                  <a:pt x="157417" y="3654471"/>
                </a:cubicBezTo>
                <a:close/>
                <a:moveTo>
                  <a:pt x="766604" y="3654307"/>
                </a:moveTo>
                <a:cubicBezTo>
                  <a:pt x="772551" y="3654307"/>
                  <a:pt x="777342" y="3659096"/>
                  <a:pt x="777342" y="3665043"/>
                </a:cubicBezTo>
                <a:cubicBezTo>
                  <a:pt x="777342" y="3670989"/>
                  <a:pt x="772551" y="3675781"/>
                  <a:pt x="766604" y="3675781"/>
                </a:cubicBezTo>
                <a:cubicBezTo>
                  <a:pt x="760658" y="3675781"/>
                  <a:pt x="755868" y="3670989"/>
                  <a:pt x="755868" y="3665043"/>
                </a:cubicBezTo>
                <a:cubicBezTo>
                  <a:pt x="755868" y="3659096"/>
                  <a:pt x="760658" y="3654307"/>
                  <a:pt x="766604" y="3654307"/>
                </a:cubicBezTo>
                <a:close/>
                <a:moveTo>
                  <a:pt x="257020" y="3653316"/>
                </a:moveTo>
                <a:cubicBezTo>
                  <a:pt x="262967" y="3653316"/>
                  <a:pt x="267757" y="3658106"/>
                  <a:pt x="267757" y="3664053"/>
                </a:cubicBezTo>
                <a:cubicBezTo>
                  <a:pt x="267757" y="3669999"/>
                  <a:pt x="262967" y="3674791"/>
                  <a:pt x="257020" y="3674791"/>
                </a:cubicBezTo>
                <a:cubicBezTo>
                  <a:pt x="251074" y="3674791"/>
                  <a:pt x="246284" y="3669999"/>
                  <a:pt x="246284" y="3664053"/>
                </a:cubicBezTo>
                <a:cubicBezTo>
                  <a:pt x="246284" y="3658106"/>
                  <a:pt x="251074" y="3653316"/>
                  <a:pt x="257020" y="3653316"/>
                </a:cubicBezTo>
                <a:close/>
                <a:moveTo>
                  <a:pt x="407336" y="3650674"/>
                </a:moveTo>
                <a:cubicBezTo>
                  <a:pt x="413283" y="3650674"/>
                  <a:pt x="418073" y="3655463"/>
                  <a:pt x="418073" y="3661410"/>
                </a:cubicBezTo>
                <a:cubicBezTo>
                  <a:pt x="418073" y="3667356"/>
                  <a:pt x="413283" y="3672148"/>
                  <a:pt x="407336" y="3672148"/>
                </a:cubicBezTo>
                <a:cubicBezTo>
                  <a:pt x="401390" y="3672148"/>
                  <a:pt x="396600" y="3667356"/>
                  <a:pt x="396600" y="3661410"/>
                </a:cubicBezTo>
                <a:cubicBezTo>
                  <a:pt x="396600" y="3655463"/>
                  <a:pt x="401390" y="3650674"/>
                  <a:pt x="407336" y="3650674"/>
                </a:cubicBezTo>
                <a:close/>
                <a:moveTo>
                  <a:pt x="113643" y="3650178"/>
                </a:moveTo>
                <a:cubicBezTo>
                  <a:pt x="119590" y="3650178"/>
                  <a:pt x="124381" y="3654967"/>
                  <a:pt x="124381" y="3660914"/>
                </a:cubicBezTo>
                <a:cubicBezTo>
                  <a:pt x="124381" y="3666860"/>
                  <a:pt x="119590" y="3671652"/>
                  <a:pt x="113643" y="3671652"/>
                </a:cubicBezTo>
                <a:cubicBezTo>
                  <a:pt x="107696" y="3671652"/>
                  <a:pt x="102907" y="3666860"/>
                  <a:pt x="102907" y="3660914"/>
                </a:cubicBezTo>
                <a:cubicBezTo>
                  <a:pt x="102907" y="3654967"/>
                  <a:pt x="107696" y="3650178"/>
                  <a:pt x="113643" y="3650178"/>
                </a:cubicBezTo>
                <a:close/>
                <a:moveTo>
                  <a:pt x="1572195" y="3646707"/>
                </a:moveTo>
                <a:cubicBezTo>
                  <a:pt x="1578141" y="3646707"/>
                  <a:pt x="1582933" y="3651497"/>
                  <a:pt x="1582933" y="3657444"/>
                </a:cubicBezTo>
                <a:cubicBezTo>
                  <a:pt x="1582933" y="3663390"/>
                  <a:pt x="1578141" y="3668182"/>
                  <a:pt x="1572195" y="3668182"/>
                </a:cubicBezTo>
                <a:cubicBezTo>
                  <a:pt x="1566248" y="3668182"/>
                  <a:pt x="1561458" y="3663390"/>
                  <a:pt x="1561458" y="3657444"/>
                </a:cubicBezTo>
                <a:cubicBezTo>
                  <a:pt x="1561458" y="3651497"/>
                  <a:pt x="1566248" y="3646707"/>
                  <a:pt x="1572195" y="3646707"/>
                </a:cubicBezTo>
                <a:close/>
                <a:moveTo>
                  <a:pt x="182194" y="3645056"/>
                </a:moveTo>
                <a:cubicBezTo>
                  <a:pt x="188140" y="3645056"/>
                  <a:pt x="192932" y="3649846"/>
                  <a:pt x="192932" y="3655793"/>
                </a:cubicBezTo>
                <a:cubicBezTo>
                  <a:pt x="192932" y="3661739"/>
                  <a:pt x="188140" y="3666531"/>
                  <a:pt x="182194" y="3666531"/>
                </a:cubicBezTo>
                <a:cubicBezTo>
                  <a:pt x="176247" y="3666531"/>
                  <a:pt x="171457" y="3661739"/>
                  <a:pt x="171457" y="3655793"/>
                </a:cubicBezTo>
                <a:cubicBezTo>
                  <a:pt x="171457" y="3649846"/>
                  <a:pt x="176247" y="3645056"/>
                  <a:pt x="182194" y="3645056"/>
                </a:cubicBezTo>
                <a:close/>
                <a:moveTo>
                  <a:pt x="132143" y="3641588"/>
                </a:moveTo>
                <a:cubicBezTo>
                  <a:pt x="138090" y="3641588"/>
                  <a:pt x="142880" y="3646378"/>
                  <a:pt x="142880" y="3652324"/>
                </a:cubicBezTo>
                <a:cubicBezTo>
                  <a:pt x="142880" y="3658271"/>
                  <a:pt x="138090" y="3663062"/>
                  <a:pt x="132143" y="3663062"/>
                </a:cubicBezTo>
                <a:cubicBezTo>
                  <a:pt x="126197" y="3663062"/>
                  <a:pt x="121407" y="3658271"/>
                  <a:pt x="121407" y="3652324"/>
                </a:cubicBezTo>
                <a:cubicBezTo>
                  <a:pt x="121407" y="3646378"/>
                  <a:pt x="126197" y="3641588"/>
                  <a:pt x="132143" y="3641588"/>
                </a:cubicBezTo>
                <a:close/>
                <a:moveTo>
                  <a:pt x="102081" y="3637624"/>
                </a:moveTo>
                <a:cubicBezTo>
                  <a:pt x="106004" y="3637624"/>
                  <a:pt x="109184" y="3640804"/>
                  <a:pt x="109184" y="3644727"/>
                </a:cubicBezTo>
                <a:cubicBezTo>
                  <a:pt x="109184" y="3648650"/>
                  <a:pt x="106004" y="3651828"/>
                  <a:pt x="102081" y="3651828"/>
                </a:cubicBezTo>
                <a:cubicBezTo>
                  <a:pt x="98158" y="3651828"/>
                  <a:pt x="94978" y="3648650"/>
                  <a:pt x="94978" y="3644727"/>
                </a:cubicBezTo>
                <a:cubicBezTo>
                  <a:pt x="94978" y="3640804"/>
                  <a:pt x="98158" y="3637624"/>
                  <a:pt x="102081" y="3637624"/>
                </a:cubicBezTo>
                <a:close/>
                <a:moveTo>
                  <a:pt x="146515" y="3633328"/>
                </a:moveTo>
                <a:cubicBezTo>
                  <a:pt x="152461" y="3633328"/>
                  <a:pt x="157253" y="3638118"/>
                  <a:pt x="157253" y="3644065"/>
                </a:cubicBezTo>
                <a:cubicBezTo>
                  <a:pt x="157253" y="3650011"/>
                  <a:pt x="152461" y="3654802"/>
                  <a:pt x="146515" y="3654802"/>
                </a:cubicBezTo>
                <a:cubicBezTo>
                  <a:pt x="140568" y="3654802"/>
                  <a:pt x="135778" y="3650011"/>
                  <a:pt x="135778" y="3644065"/>
                </a:cubicBezTo>
                <a:cubicBezTo>
                  <a:pt x="135778" y="3638118"/>
                  <a:pt x="140568" y="3633328"/>
                  <a:pt x="146515" y="3633328"/>
                </a:cubicBezTo>
                <a:close/>
                <a:moveTo>
                  <a:pt x="229766" y="3628703"/>
                </a:moveTo>
                <a:cubicBezTo>
                  <a:pt x="235712" y="3628703"/>
                  <a:pt x="240504" y="3633493"/>
                  <a:pt x="240504" y="3639439"/>
                </a:cubicBezTo>
                <a:cubicBezTo>
                  <a:pt x="240504" y="3645386"/>
                  <a:pt x="235712" y="3650178"/>
                  <a:pt x="229766" y="3650178"/>
                </a:cubicBezTo>
                <a:cubicBezTo>
                  <a:pt x="223819" y="3650178"/>
                  <a:pt x="219030" y="3645386"/>
                  <a:pt x="219030" y="3639439"/>
                </a:cubicBezTo>
                <a:cubicBezTo>
                  <a:pt x="219030" y="3633493"/>
                  <a:pt x="223819" y="3628703"/>
                  <a:pt x="229766" y="3628703"/>
                </a:cubicBezTo>
                <a:close/>
                <a:moveTo>
                  <a:pt x="678563" y="3628042"/>
                </a:moveTo>
                <a:cubicBezTo>
                  <a:pt x="684510" y="3628042"/>
                  <a:pt x="689299" y="3632832"/>
                  <a:pt x="689299" y="3638778"/>
                </a:cubicBezTo>
                <a:cubicBezTo>
                  <a:pt x="689299" y="3644725"/>
                  <a:pt x="684510" y="3649515"/>
                  <a:pt x="678563" y="3649515"/>
                </a:cubicBezTo>
                <a:cubicBezTo>
                  <a:pt x="672617" y="3649515"/>
                  <a:pt x="667827" y="3644725"/>
                  <a:pt x="667827" y="3638778"/>
                </a:cubicBezTo>
                <a:cubicBezTo>
                  <a:pt x="667827" y="3632832"/>
                  <a:pt x="672617" y="3628042"/>
                  <a:pt x="678563" y="3628042"/>
                </a:cubicBezTo>
                <a:close/>
                <a:moveTo>
                  <a:pt x="359433" y="3625070"/>
                </a:moveTo>
                <a:cubicBezTo>
                  <a:pt x="365379" y="3625070"/>
                  <a:pt x="370169" y="3629860"/>
                  <a:pt x="370169" y="3635806"/>
                </a:cubicBezTo>
                <a:cubicBezTo>
                  <a:pt x="370169" y="3641753"/>
                  <a:pt x="365379" y="3646544"/>
                  <a:pt x="359433" y="3646544"/>
                </a:cubicBezTo>
                <a:cubicBezTo>
                  <a:pt x="353486" y="3646544"/>
                  <a:pt x="348696" y="3641753"/>
                  <a:pt x="348696" y="3635806"/>
                </a:cubicBezTo>
                <a:cubicBezTo>
                  <a:pt x="348696" y="3629860"/>
                  <a:pt x="353486" y="3625070"/>
                  <a:pt x="359433" y="3625070"/>
                </a:cubicBezTo>
                <a:close/>
                <a:moveTo>
                  <a:pt x="122564" y="3623417"/>
                </a:moveTo>
                <a:cubicBezTo>
                  <a:pt x="128510" y="3623417"/>
                  <a:pt x="133300" y="3628207"/>
                  <a:pt x="133300" y="3634154"/>
                </a:cubicBezTo>
                <a:cubicBezTo>
                  <a:pt x="133300" y="3640100"/>
                  <a:pt x="128510" y="3644890"/>
                  <a:pt x="122564" y="3644890"/>
                </a:cubicBezTo>
                <a:cubicBezTo>
                  <a:pt x="116617" y="3644890"/>
                  <a:pt x="111827" y="3640100"/>
                  <a:pt x="111827" y="3634154"/>
                </a:cubicBezTo>
                <a:cubicBezTo>
                  <a:pt x="111827" y="3628207"/>
                  <a:pt x="116617" y="3623417"/>
                  <a:pt x="122564" y="3623417"/>
                </a:cubicBezTo>
                <a:close/>
                <a:moveTo>
                  <a:pt x="166997" y="3622427"/>
                </a:moveTo>
                <a:cubicBezTo>
                  <a:pt x="172944" y="3622427"/>
                  <a:pt x="177735" y="3627217"/>
                  <a:pt x="177735" y="3633163"/>
                </a:cubicBezTo>
                <a:cubicBezTo>
                  <a:pt x="177735" y="3639110"/>
                  <a:pt x="172944" y="3643902"/>
                  <a:pt x="166997" y="3643902"/>
                </a:cubicBezTo>
                <a:cubicBezTo>
                  <a:pt x="161050" y="3643902"/>
                  <a:pt x="156261" y="3639110"/>
                  <a:pt x="156261" y="3633163"/>
                </a:cubicBezTo>
                <a:cubicBezTo>
                  <a:pt x="156261" y="3627217"/>
                  <a:pt x="161050" y="3622427"/>
                  <a:pt x="166997" y="3622427"/>
                </a:cubicBezTo>
                <a:close/>
                <a:moveTo>
                  <a:pt x="1410647" y="3622096"/>
                </a:moveTo>
                <a:cubicBezTo>
                  <a:pt x="1416593" y="3622096"/>
                  <a:pt x="1421385" y="3626886"/>
                  <a:pt x="1421385" y="3632832"/>
                </a:cubicBezTo>
                <a:cubicBezTo>
                  <a:pt x="1421385" y="3638778"/>
                  <a:pt x="1416593" y="3643570"/>
                  <a:pt x="1410647" y="3643570"/>
                </a:cubicBezTo>
                <a:cubicBezTo>
                  <a:pt x="1404700" y="3643570"/>
                  <a:pt x="1399910" y="3638778"/>
                  <a:pt x="1399910" y="3632832"/>
                </a:cubicBezTo>
                <a:cubicBezTo>
                  <a:pt x="1399910" y="3626886"/>
                  <a:pt x="1404700" y="3622096"/>
                  <a:pt x="1410647" y="3622096"/>
                </a:cubicBezTo>
                <a:close/>
                <a:moveTo>
                  <a:pt x="136604" y="3613341"/>
                </a:moveTo>
                <a:cubicBezTo>
                  <a:pt x="142550" y="3613341"/>
                  <a:pt x="147342" y="3618131"/>
                  <a:pt x="147342" y="3624078"/>
                </a:cubicBezTo>
                <a:cubicBezTo>
                  <a:pt x="147342" y="3630024"/>
                  <a:pt x="142550" y="3634814"/>
                  <a:pt x="136604" y="3634814"/>
                </a:cubicBezTo>
                <a:cubicBezTo>
                  <a:pt x="130657" y="3634814"/>
                  <a:pt x="125867" y="3630024"/>
                  <a:pt x="125867" y="3624078"/>
                </a:cubicBezTo>
                <a:cubicBezTo>
                  <a:pt x="125867" y="3618131"/>
                  <a:pt x="130657" y="3613341"/>
                  <a:pt x="136604" y="3613341"/>
                </a:cubicBezTo>
                <a:close/>
                <a:moveTo>
                  <a:pt x="112818" y="3606238"/>
                </a:moveTo>
                <a:cubicBezTo>
                  <a:pt x="118764" y="3606238"/>
                  <a:pt x="123556" y="3611028"/>
                  <a:pt x="123556" y="3616975"/>
                </a:cubicBezTo>
                <a:cubicBezTo>
                  <a:pt x="123556" y="3622921"/>
                  <a:pt x="118764" y="3627713"/>
                  <a:pt x="112818" y="3627713"/>
                </a:cubicBezTo>
                <a:cubicBezTo>
                  <a:pt x="106871" y="3627713"/>
                  <a:pt x="102081" y="3622921"/>
                  <a:pt x="102081" y="3616975"/>
                </a:cubicBezTo>
                <a:cubicBezTo>
                  <a:pt x="102081" y="3611028"/>
                  <a:pt x="106871" y="3606238"/>
                  <a:pt x="112818" y="3606238"/>
                </a:cubicBezTo>
                <a:close/>
                <a:moveTo>
                  <a:pt x="206311" y="3605248"/>
                </a:moveTo>
                <a:cubicBezTo>
                  <a:pt x="212258" y="3605248"/>
                  <a:pt x="217049" y="3610038"/>
                  <a:pt x="217049" y="3615984"/>
                </a:cubicBezTo>
                <a:cubicBezTo>
                  <a:pt x="217049" y="3621931"/>
                  <a:pt x="212258" y="3626722"/>
                  <a:pt x="206311" y="3626722"/>
                </a:cubicBezTo>
                <a:cubicBezTo>
                  <a:pt x="200364" y="3626722"/>
                  <a:pt x="195575" y="3621931"/>
                  <a:pt x="195575" y="3615984"/>
                </a:cubicBezTo>
                <a:cubicBezTo>
                  <a:pt x="195575" y="3610038"/>
                  <a:pt x="200364" y="3605248"/>
                  <a:pt x="206311" y="3605248"/>
                </a:cubicBezTo>
                <a:close/>
                <a:moveTo>
                  <a:pt x="599441" y="3602605"/>
                </a:moveTo>
                <a:cubicBezTo>
                  <a:pt x="605387" y="3602605"/>
                  <a:pt x="610177" y="3607395"/>
                  <a:pt x="610177" y="3613341"/>
                </a:cubicBezTo>
                <a:cubicBezTo>
                  <a:pt x="610177" y="3619288"/>
                  <a:pt x="605387" y="3624080"/>
                  <a:pt x="599441" y="3624080"/>
                </a:cubicBezTo>
                <a:cubicBezTo>
                  <a:pt x="593494" y="3624080"/>
                  <a:pt x="588704" y="3619288"/>
                  <a:pt x="588704" y="3613341"/>
                </a:cubicBezTo>
                <a:cubicBezTo>
                  <a:pt x="588704" y="3607395"/>
                  <a:pt x="593494" y="3602605"/>
                  <a:pt x="599441" y="3602605"/>
                </a:cubicBezTo>
                <a:close/>
                <a:moveTo>
                  <a:pt x="153782" y="3600953"/>
                </a:moveTo>
                <a:cubicBezTo>
                  <a:pt x="159729" y="3600953"/>
                  <a:pt x="164521" y="3605742"/>
                  <a:pt x="164521" y="3611689"/>
                </a:cubicBezTo>
                <a:cubicBezTo>
                  <a:pt x="164521" y="3617636"/>
                  <a:pt x="159729" y="3622425"/>
                  <a:pt x="153782" y="3622425"/>
                </a:cubicBezTo>
                <a:cubicBezTo>
                  <a:pt x="147836" y="3622425"/>
                  <a:pt x="143046" y="3617636"/>
                  <a:pt x="143046" y="3611689"/>
                </a:cubicBezTo>
                <a:cubicBezTo>
                  <a:pt x="143046" y="3605742"/>
                  <a:pt x="147836" y="3600953"/>
                  <a:pt x="153782" y="3600953"/>
                </a:cubicBezTo>
                <a:close/>
                <a:moveTo>
                  <a:pt x="317311" y="3600458"/>
                </a:moveTo>
                <a:cubicBezTo>
                  <a:pt x="323258" y="3600458"/>
                  <a:pt x="328049" y="3605248"/>
                  <a:pt x="328049" y="3611195"/>
                </a:cubicBezTo>
                <a:cubicBezTo>
                  <a:pt x="328049" y="3617141"/>
                  <a:pt x="323258" y="3621931"/>
                  <a:pt x="317311" y="3621931"/>
                </a:cubicBezTo>
                <a:cubicBezTo>
                  <a:pt x="311365" y="3621931"/>
                  <a:pt x="306575" y="3617141"/>
                  <a:pt x="306575" y="3611195"/>
                </a:cubicBezTo>
                <a:cubicBezTo>
                  <a:pt x="306575" y="3605248"/>
                  <a:pt x="311365" y="3600458"/>
                  <a:pt x="317311" y="3600458"/>
                </a:cubicBezTo>
                <a:close/>
                <a:moveTo>
                  <a:pt x="1262479" y="3597816"/>
                </a:moveTo>
                <a:cubicBezTo>
                  <a:pt x="1268426" y="3597816"/>
                  <a:pt x="1273218" y="3602605"/>
                  <a:pt x="1273218" y="3608552"/>
                </a:cubicBezTo>
                <a:cubicBezTo>
                  <a:pt x="1273218" y="3614498"/>
                  <a:pt x="1268426" y="3619290"/>
                  <a:pt x="1262479" y="3619290"/>
                </a:cubicBezTo>
                <a:cubicBezTo>
                  <a:pt x="1256533" y="3619290"/>
                  <a:pt x="1251743" y="3614498"/>
                  <a:pt x="1251743" y="3608552"/>
                </a:cubicBezTo>
                <a:cubicBezTo>
                  <a:pt x="1251743" y="3602605"/>
                  <a:pt x="1256533" y="3597816"/>
                  <a:pt x="1262479" y="3597816"/>
                </a:cubicBezTo>
                <a:close/>
                <a:moveTo>
                  <a:pt x="127353" y="3594345"/>
                </a:moveTo>
                <a:cubicBezTo>
                  <a:pt x="133300" y="3594345"/>
                  <a:pt x="138090" y="3599135"/>
                  <a:pt x="138090" y="3605081"/>
                </a:cubicBezTo>
                <a:cubicBezTo>
                  <a:pt x="138090" y="3611028"/>
                  <a:pt x="133300" y="3615820"/>
                  <a:pt x="127353" y="3615820"/>
                </a:cubicBezTo>
                <a:cubicBezTo>
                  <a:pt x="121407" y="3615820"/>
                  <a:pt x="116617" y="3611028"/>
                  <a:pt x="116617" y="3605081"/>
                </a:cubicBezTo>
                <a:cubicBezTo>
                  <a:pt x="116617" y="3599135"/>
                  <a:pt x="121407" y="3594345"/>
                  <a:pt x="127353" y="3594345"/>
                </a:cubicBezTo>
                <a:close/>
                <a:moveTo>
                  <a:pt x="102907" y="3590052"/>
                </a:moveTo>
                <a:cubicBezTo>
                  <a:pt x="108853" y="3590052"/>
                  <a:pt x="113645" y="3594841"/>
                  <a:pt x="113645" y="3600788"/>
                </a:cubicBezTo>
                <a:cubicBezTo>
                  <a:pt x="113645" y="3606734"/>
                  <a:pt x="108853" y="3611526"/>
                  <a:pt x="102907" y="3611526"/>
                </a:cubicBezTo>
                <a:cubicBezTo>
                  <a:pt x="96960" y="3611526"/>
                  <a:pt x="92170" y="3606734"/>
                  <a:pt x="92170" y="3600788"/>
                </a:cubicBezTo>
                <a:cubicBezTo>
                  <a:pt x="92170" y="3594841"/>
                  <a:pt x="96960" y="3590052"/>
                  <a:pt x="102907" y="3590052"/>
                </a:cubicBezTo>
                <a:close/>
                <a:moveTo>
                  <a:pt x="185829" y="3582784"/>
                </a:moveTo>
                <a:cubicBezTo>
                  <a:pt x="191775" y="3582784"/>
                  <a:pt x="196565" y="3587573"/>
                  <a:pt x="196565" y="3593520"/>
                </a:cubicBezTo>
                <a:cubicBezTo>
                  <a:pt x="196565" y="3599466"/>
                  <a:pt x="191775" y="3604258"/>
                  <a:pt x="185829" y="3604258"/>
                </a:cubicBezTo>
                <a:cubicBezTo>
                  <a:pt x="179882" y="3604258"/>
                  <a:pt x="175092" y="3599466"/>
                  <a:pt x="175092" y="3593520"/>
                </a:cubicBezTo>
                <a:cubicBezTo>
                  <a:pt x="175092" y="3587573"/>
                  <a:pt x="179882" y="3582784"/>
                  <a:pt x="185829" y="3582784"/>
                </a:cubicBezTo>
                <a:close/>
                <a:moveTo>
                  <a:pt x="142054" y="3580470"/>
                </a:moveTo>
                <a:cubicBezTo>
                  <a:pt x="148001" y="3580470"/>
                  <a:pt x="152792" y="3585260"/>
                  <a:pt x="152792" y="3591207"/>
                </a:cubicBezTo>
                <a:cubicBezTo>
                  <a:pt x="152792" y="3597153"/>
                  <a:pt x="148001" y="3601944"/>
                  <a:pt x="142054" y="3601944"/>
                </a:cubicBezTo>
                <a:cubicBezTo>
                  <a:pt x="136108" y="3601944"/>
                  <a:pt x="131318" y="3597153"/>
                  <a:pt x="131318" y="3591207"/>
                </a:cubicBezTo>
                <a:cubicBezTo>
                  <a:pt x="131318" y="3585260"/>
                  <a:pt x="136108" y="3580470"/>
                  <a:pt x="142054" y="3580470"/>
                </a:cubicBezTo>
                <a:close/>
                <a:moveTo>
                  <a:pt x="528578" y="3578158"/>
                </a:moveTo>
                <a:cubicBezTo>
                  <a:pt x="534525" y="3578158"/>
                  <a:pt x="539316" y="3582948"/>
                  <a:pt x="539316" y="3588895"/>
                </a:cubicBezTo>
                <a:cubicBezTo>
                  <a:pt x="539316" y="3594841"/>
                  <a:pt x="534525" y="3599633"/>
                  <a:pt x="528578" y="3599633"/>
                </a:cubicBezTo>
                <a:cubicBezTo>
                  <a:pt x="522632" y="3599633"/>
                  <a:pt x="517842" y="3594841"/>
                  <a:pt x="517842" y="3588895"/>
                </a:cubicBezTo>
                <a:cubicBezTo>
                  <a:pt x="517842" y="3582948"/>
                  <a:pt x="522632" y="3578158"/>
                  <a:pt x="528578" y="3578158"/>
                </a:cubicBezTo>
                <a:close/>
                <a:moveTo>
                  <a:pt x="280477" y="3576837"/>
                </a:moveTo>
                <a:cubicBezTo>
                  <a:pt x="286424" y="3576837"/>
                  <a:pt x="291213" y="3581627"/>
                  <a:pt x="291213" y="3587573"/>
                </a:cubicBezTo>
                <a:cubicBezTo>
                  <a:pt x="291213" y="3593520"/>
                  <a:pt x="286424" y="3598311"/>
                  <a:pt x="280477" y="3598311"/>
                </a:cubicBezTo>
                <a:cubicBezTo>
                  <a:pt x="274530" y="3598311"/>
                  <a:pt x="269741" y="3593520"/>
                  <a:pt x="269741" y="3587573"/>
                </a:cubicBezTo>
                <a:cubicBezTo>
                  <a:pt x="269741" y="3581627"/>
                  <a:pt x="274530" y="3576837"/>
                  <a:pt x="280477" y="3576837"/>
                </a:cubicBezTo>
                <a:close/>
                <a:moveTo>
                  <a:pt x="118599" y="3576341"/>
                </a:moveTo>
                <a:cubicBezTo>
                  <a:pt x="124546" y="3576341"/>
                  <a:pt x="129336" y="3581131"/>
                  <a:pt x="129336" y="3587077"/>
                </a:cubicBezTo>
                <a:cubicBezTo>
                  <a:pt x="129336" y="3593024"/>
                  <a:pt x="124546" y="3597816"/>
                  <a:pt x="118599" y="3597816"/>
                </a:cubicBezTo>
                <a:cubicBezTo>
                  <a:pt x="112653" y="3597816"/>
                  <a:pt x="107863" y="3593024"/>
                  <a:pt x="107863" y="3587077"/>
                </a:cubicBezTo>
                <a:cubicBezTo>
                  <a:pt x="107863" y="3581131"/>
                  <a:pt x="112653" y="3576341"/>
                  <a:pt x="118599" y="3576341"/>
                </a:cubicBezTo>
                <a:close/>
                <a:moveTo>
                  <a:pt x="92500" y="3574855"/>
                </a:moveTo>
                <a:cubicBezTo>
                  <a:pt x="98446" y="3574855"/>
                  <a:pt x="103238" y="3579644"/>
                  <a:pt x="103238" y="3585591"/>
                </a:cubicBezTo>
                <a:cubicBezTo>
                  <a:pt x="103238" y="3591537"/>
                  <a:pt x="98446" y="3596329"/>
                  <a:pt x="92500" y="3596329"/>
                </a:cubicBezTo>
                <a:cubicBezTo>
                  <a:pt x="86553" y="3596329"/>
                  <a:pt x="81763" y="3591537"/>
                  <a:pt x="81763" y="3585591"/>
                </a:cubicBezTo>
                <a:cubicBezTo>
                  <a:pt x="81763" y="3579644"/>
                  <a:pt x="86553" y="3574855"/>
                  <a:pt x="92500" y="3574855"/>
                </a:cubicBezTo>
                <a:close/>
                <a:moveTo>
                  <a:pt x="1127031" y="3573698"/>
                </a:moveTo>
                <a:cubicBezTo>
                  <a:pt x="1132977" y="3573698"/>
                  <a:pt x="1137767" y="3578488"/>
                  <a:pt x="1137767" y="3584435"/>
                </a:cubicBezTo>
                <a:cubicBezTo>
                  <a:pt x="1137767" y="3590381"/>
                  <a:pt x="1132977" y="3595173"/>
                  <a:pt x="1127031" y="3595173"/>
                </a:cubicBezTo>
                <a:cubicBezTo>
                  <a:pt x="1121084" y="3595173"/>
                  <a:pt x="1116294" y="3590381"/>
                  <a:pt x="1116294" y="3584435"/>
                </a:cubicBezTo>
                <a:cubicBezTo>
                  <a:pt x="1116294" y="3578488"/>
                  <a:pt x="1121084" y="3573698"/>
                  <a:pt x="1127031" y="3573698"/>
                </a:cubicBezTo>
                <a:close/>
                <a:moveTo>
                  <a:pt x="81599" y="3567091"/>
                </a:moveTo>
                <a:cubicBezTo>
                  <a:pt x="83912" y="3567091"/>
                  <a:pt x="85730" y="3568908"/>
                  <a:pt x="85730" y="3571220"/>
                </a:cubicBezTo>
                <a:cubicBezTo>
                  <a:pt x="85730" y="3573533"/>
                  <a:pt x="83912" y="3575351"/>
                  <a:pt x="81599" y="3575351"/>
                </a:cubicBezTo>
                <a:cubicBezTo>
                  <a:pt x="79287" y="3575351"/>
                  <a:pt x="77470" y="3573533"/>
                  <a:pt x="77470" y="3571220"/>
                </a:cubicBezTo>
                <a:cubicBezTo>
                  <a:pt x="77470" y="3568908"/>
                  <a:pt x="79287" y="3567091"/>
                  <a:pt x="81599" y="3567091"/>
                </a:cubicBezTo>
                <a:close/>
                <a:moveTo>
                  <a:pt x="168154" y="3561309"/>
                </a:moveTo>
                <a:cubicBezTo>
                  <a:pt x="174100" y="3561309"/>
                  <a:pt x="178892" y="3566099"/>
                  <a:pt x="178892" y="3572045"/>
                </a:cubicBezTo>
                <a:cubicBezTo>
                  <a:pt x="178892" y="3577992"/>
                  <a:pt x="174100" y="3582784"/>
                  <a:pt x="168154" y="3582784"/>
                </a:cubicBezTo>
                <a:cubicBezTo>
                  <a:pt x="162207" y="3582784"/>
                  <a:pt x="157417" y="3577992"/>
                  <a:pt x="157417" y="3572045"/>
                </a:cubicBezTo>
                <a:cubicBezTo>
                  <a:pt x="157417" y="3566099"/>
                  <a:pt x="162207" y="3561309"/>
                  <a:pt x="168154" y="3561309"/>
                </a:cubicBezTo>
                <a:close/>
                <a:moveTo>
                  <a:pt x="131814" y="3560980"/>
                </a:moveTo>
                <a:cubicBezTo>
                  <a:pt x="137760" y="3560980"/>
                  <a:pt x="142552" y="3565769"/>
                  <a:pt x="142552" y="3571716"/>
                </a:cubicBezTo>
                <a:cubicBezTo>
                  <a:pt x="142552" y="3577663"/>
                  <a:pt x="137760" y="3582452"/>
                  <a:pt x="131814" y="3582452"/>
                </a:cubicBezTo>
                <a:cubicBezTo>
                  <a:pt x="125867" y="3582452"/>
                  <a:pt x="121077" y="3577663"/>
                  <a:pt x="121077" y="3571716"/>
                </a:cubicBezTo>
                <a:cubicBezTo>
                  <a:pt x="121077" y="3565769"/>
                  <a:pt x="125867" y="3560980"/>
                  <a:pt x="131814" y="3560980"/>
                </a:cubicBezTo>
                <a:close/>
                <a:moveTo>
                  <a:pt x="110010" y="3559162"/>
                </a:moveTo>
                <a:cubicBezTo>
                  <a:pt x="115956" y="3559162"/>
                  <a:pt x="120746" y="3563952"/>
                  <a:pt x="120746" y="3569899"/>
                </a:cubicBezTo>
                <a:cubicBezTo>
                  <a:pt x="120746" y="3575845"/>
                  <a:pt x="115956" y="3580635"/>
                  <a:pt x="110010" y="3580635"/>
                </a:cubicBezTo>
                <a:cubicBezTo>
                  <a:pt x="104063" y="3580635"/>
                  <a:pt x="99274" y="3575845"/>
                  <a:pt x="99274" y="3569899"/>
                </a:cubicBezTo>
                <a:cubicBezTo>
                  <a:pt x="99274" y="3563952"/>
                  <a:pt x="104063" y="3559162"/>
                  <a:pt x="110010" y="3559162"/>
                </a:cubicBezTo>
                <a:close/>
                <a:moveTo>
                  <a:pt x="465315" y="3554537"/>
                </a:moveTo>
                <a:cubicBezTo>
                  <a:pt x="471262" y="3554537"/>
                  <a:pt x="476052" y="3559327"/>
                  <a:pt x="476052" y="3565273"/>
                </a:cubicBezTo>
                <a:cubicBezTo>
                  <a:pt x="476052" y="3571220"/>
                  <a:pt x="471262" y="3576012"/>
                  <a:pt x="465315" y="3576012"/>
                </a:cubicBezTo>
                <a:cubicBezTo>
                  <a:pt x="459369" y="3576012"/>
                  <a:pt x="454579" y="3571220"/>
                  <a:pt x="454579" y="3565273"/>
                </a:cubicBezTo>
                <a:cubicBezTo>
                  <a:pt x="454579" y="3559327"/>
                  <a:pt x="459369" y="3554537"/>
                  <a:pt x="465315" y="3554537"/>
                </a:cubicBezTo>
                <a:close/>
                <a:moveTo>
                  <a:pt x="248101" y="3554207"/>
                </a:moveTo>
                <a:cubicBezTo>
                  <a:pt x="254048" y="3554207"/>
                  <a:pt x="258840" y="3558997"/>
                  <a:pt x="258840" y="3564944"/>
                </a:cubicBezTo>
                <a:cubicBezTo>
                  <a:pt x="258840" y="3570890"/>
                  <a:pt x="254048" y="3575682"/>
                  <a:pt x="248101" y="3575682"/>
                </a:cubicBezTo>
                <a:cubicBezTo>
                  <a:pt x="242155" y="3575682"/>
                  <a:pt x="237365" y="3570890"/>
                  <a:pt x="237365" y="3564944"/>
                </a:cubicBezTo>
                <a:cubicBezTo>
                  <a:pt x="237365" y="3558997"/>
                  <a:pt x="242155" y="3554207"/>
                  <a:pt x="248101" y="3554207"/>
                </a:cubicBezTo>
                <a:close/>
                <a:moveTo>
                  <a:pt x="1003475" y="3550242"/>
                </a:moveTo>
                <a:cubicBezTo>
                  <a:pt x="1009422" y="3550242"/>
                  <a:pt x="1014213" y="3555031"/>
                  <a:pt x="1014213" y="3560978"/>
                </a:cubicBezTo>
                <a:cubicBezTo>
                  <a:pt x="1014213" y="3566924"/>
                  <a:pt x="1009422" y="3571716"/>
                  <a:pt x="1003475" y="3571716"/>
                </a:cubicBezTo>
                <a:cubicBezTo>
                  <a:pt x="997529" y="3571716"/>
                  <a:pt x="992739" y="3566924"/>
                  <a:pt x="992739" y="3560978"/>
                </a:cubicBezTo>
                <a:cubicBezTo>
                  <a:pt x="992739" y="3555031"/>
                  <a:pt x="997529" y="3550242"/>
                  <a:pt x="1003475" y="3550242"/>
                </a:cubicBezTo>
                <a:close/>
                <a:moveTo>
                  <a:pt x="101256" y="3543140"/>
                </a:moveTo>
                <a:cubicBezTo>
                  <a:pt x="107202" y="3543140"/>
                  <a:pt x="111994" y="3547930"/>
                  <a:pt x="111994" y="3553876"/>
                </a:cubicBezTo>
                <a:cubicBezTo>
                  <a:pt x="111994" y="3559823"/>
                  <a:pt x="107202" y="3564613"/>
                  <a:pt x="101256" y="3564613"/>
                </a:cubicBezTo>
                <a:cubicBezTo>
                  <a:pt x="95309" y="3564613"/>
                  <a:pt x="90519" y="3559823"/>
                  <a:pt x="90519" y="3553876"/>
                </a:cubicBezTo>
                <a:cubicBezTo>
                  <a:pt x="90519" y="3547930"/>
                  <a:pt x="95309" y="3543140"/>
                  <a:pt x="101256" y="3543140"/>
                </a:cubicBezTo>
                <a:close/>
                <a:moveTo>
                  <a:pt x="122399" y="3542479"/>
                </a:moveTo>
                <a:cubicBezTo>
                  <a:pt x="128345" y="3542479"/>
                  <a:pt x="133137" y="3547269"/>
                  <a:pt x="133137" y="3553216"/>
                </a:cubicBezTo>
                <a:cubicBezTo>
                  <a:pt x="133137" y="3559162"/>
                  <a:pt x="128345" y="3563954"/>
                  <a:pt x="122399" y="3563954"/>
                </a:cubicBezTo>
                <a:cubicBezTo>
                  <a:pt x="116452" y="3563954"/>
                  <a:pt x="111663" y="3559162"/>
                  <a:pt x="111663" y="3553216"/>
                </a:cubicBezTo>
                <a:cubicBezTo>
                  <a:pt x="111663" y="3547269"/>
                  <a:pt x="116452" y="3542479"/>
                  <a:pt x="122399" y="3542479"/>
                </a:cubicBezTo>
                <a:close/>
                <a:moveTo>
                  <a:pt x="152957" y="3540826"/>
                </a:moveTo>
                <a:cubicBezTo>
                  <a:pt x="158904" y="3540826"/>
                  <a:pt x="163695" y="3545616"/>
                  <a:pt x="163695" y="3551563"/>
                </a:cubicBezTo>
                <a:cubicBezTo>
                  <a:pt x="163695" y="3557509"/>
                  <a:pt x="158904" y="3562299"/>
                  <a:pt x="152957" y="3562299"/>
                </a:cubicBezTo>
                <a:cubicBezTo>
                  <a:pt x="147010" y="3562299"/>
                  <a:pt x="142221" y="3557509"/>
                  <a:pt x="142221" y="3551563"/>
                </a:cubicBezTo>
                <a:cubicBezTo>
                  <a:pt x="142221" y="3545616"/>
                  <a:pt x="147010" y="3540826"/>
                  <a:pt x="152957" y="3540826"/>
                </a:cubicBezTo>
                <a:close/>
                <a:moveTo>
                  <a:pt x="2956579" y="3537358"/>
                </a:moveTo>
                <a:cubicBezTo>
                  <a:pt x="2962526" y="3537358"/>
                  <a:pt x="2967317" y="3542148"/>
                  <a:pt x="2967317" y="3548095"/>
                </a:cubicBezTo>
                <a:cubicBezTo>
                  <a:pt x="2967317" y="3554041"/>
                  <a:pt x="2962526" y="3558833"/>
                  <a:pt x="2956579" y="3558833"/>
                </a:cubicBezTo>
                <a:cubicBezTo>
                  <a:pt x="2950632" y="3558833"/>
                  <a:pt x="2945842" y="3554041"/>
                  <a:pt x="2945842" y="3548095"/>
                </a:cubicBezTo>
                <a:cubicBezTo>
                  <a:pt x="2945842" y="3542148"/>
                  <a:pt x="2950632" y="3537358"/>
                  <a:pt x="2956579" y="3537358"/>
                </a:cubicBezTo>
                <a:close/>
                <a:moveTo>
                  <a:pt x="2705999" y="3535211"/>
                </a:moveTo>
                <a:cubicBezTo>
                  <a:pt x="2711946" y="3535211"/>
                  <a:pt x="2716737" y="3540001"/>
                  <a:pt x="2716737" y="3545948"/>
                </a:cubicBezTo>
                <a:cubicBezTo>
                  <a:pt x="2716737" y="3551894"/>
                  <a:pt x="2711946" y="3556686"/>
                  <a:pt x="2705999" y="3556686"/>
                </a:cubicBezTo>
                <a:cubicBezTo>
                  <a:pt x="2700053" y="3556686"/>
                  <a:pt x="2695263" y="3551894"/>
                  <a:pt x="2695263" y="3545948"/>
                </a:cubicBezTo>
                <a:cubicBezTo>
                  <a:pt x="2695263" y="3540001"/>
                  <a:pt x="2700053" y="3535211"/>
                  <a:pt x="2705999" y="3535211"/>
                </a:cubicBezTo>
                <a:close/>
                <a:moveTo>
                  <a:pt x="220020" y="3532402"/>
                </a:moveTo>
                <a:cubicBezTo>
                  <a:pt x="225966" y="3532402"/>
                  <a:pt x="230758" y="3537192"/>
                  <a:pt x="230758" y="3543138"/>
                </a:cubicBezTo>
                <a:cubicBezTo>
                  <a:pt x="230758" y="3549085"/>
                  <a:pt x="225966" y="3553876"/>
                  <a:pt x="220020" y="3553876"/>
                </a:cubicBezTo>
                <a:cubicBezTo>
                  <a:pt x="214073" y="3553876"/>
                  <a:pt x="209283" y="3549085"/>
                  <a:pt x="209283" y="3543138"/>
                </a:cubicBezTo>
                <a:cubicBezTo>
                  <a:pt x="209283" y="3537192"/>
                  <a:pt x="214073" y="3532402"/>
                  <a:pt x="220020" y="3532402"/>
                </a:cubicBezTo>
                <a:close/>
                <a:moveTo>
                  <a:pt x="408987" y="3531743"/>
                </a:moveTo>
                <a:cubicBezTo>
                  <a:pt x="414934" y="3531743"/>
                  <a:pt x="419724" y="3536533"/>
                  <a:pt x="419724" y="3542479"/>
                </a:cubicBezTo>
                <a:cubicBezTo>
                  <a:pt x="419724" y="3548426"/>
                  <a:pt x="414934" y="3553217"/>
                  <a:pt x="408987" y="3553217"/>
                </a:cubicBezTo>
                <a:cubicBezTo>
                  <a:pt x="403041" y="3553217"/>
                  <a:pt x="398251" y="3548426"/>
                  <a:pt x="398251" y="3542479"/>
                </a:cubicBezTo>
                <a:cubicBezTo>
                  <a:pt x="398251" y="3536533"/>
                  <a:pt x="403041" y="3531743"/>
                  <a:pt x="408987" y="3531743"/>
                </a:cubicBezTo>
                <a:close/>
                <a:moveTo>
                  <a:pt x="3204186" y="3530586"/>
                </a:moveTo>
                <a:cubicBezTo>
                  <a:pt x="3210132" y="3530586"/>
                  <a:pt x="3214924" y="3535376"/>
                  <a:pt x="3214924" y="3541323"/>
                </a:cubicBezTo>
                <a:cubicBezTo>
                  <a:pt x="3214924" y="3547269"/>
                  <a:pt x="3210132" y="3552060"/>
                  <a:pt x="3204186" y="3552060"/>
                </a:cubicBezTo>
                <a:cubicBezTo>
                  <a:pt x="3198240" y="3552060"/>
                  <a:pt x="3193450" y="3547269"/>
                  <a:pt x="3193450" y="3541323"/>
                </a:cubicBezTo>
                <a:cubicBezTo>
                  <a:pt x="3193450" y="3535376"/>
                  <a:pt x="3198240" y="3530586"/>
                  <a:pt x="3204186" y="3530586"/>
                </a:cubicBezTo>
                <a:close/>
                <a:moveTo>
                  <a:pt x="92500" y="3527943"/>
                </a:moveTo>
                <a:cubicBezTo>
                  <a:pt x="98446" y="3527943"/>
                  <a:pt x="103238" y="3532733"/>
                  <a:pt x="103238" y="3538680"/>
                </a:cubicBezTo>
                <a:cubicBezTo>
                  <a:pt x="103238" y="3544626"/>
                  <a:pt x="98446" y="3549416"/>
                  <a:pt x="92500" y="3549416"/>
                </a:cubicBezTo>
                <a:cubicBezTo>
                  <a:pt x="86553" y="3549416"/>
                  <a:pt x="81763" y="3544626"/>
                  <a:pt x="81763" y="3538680"/>
                </a:cubicBezTo>
                <a:cubicBezTo>
                  <a:pt x="81763" y="3532733"/>
                  <a:pt x="86553" y="3527943"/>
                  <a:pt x="92500" y="3527943"/>
                </a:cubicBezTo>
                <a:close/>
                <a:moveTo>
                  <a:pt x="891317" y="3527283"/>
                </a:moveTo>
                <a:cubicBezTo>
                  <a:pt x="897263" y="3527283"/>
                  <a:pt x="902053" y="3532072"/>
                  <a:pt x="902053" y="3538019"/>
                </a:cubicBezTo>
                <a:cubicBezTo>
                  <a:pt x="902053" y="3543966"/>
                  <a:pt x="897263" y="3548757"/>
                  <a:pt x="891317" y="3548757"/>
                </a:cubicBezTo>
                <a:cubicBezTo>
                  <a:pt x="885370" y="3548757"/>
                  <a:pt x="880580" y="3543966"/>
                  <a:pt x="880580" y="3538019"/>
                </a:cubicBezTo>
                <a:cubicBezTo>
                  <a:pt x="880580" y="3532072"/>
                  <a:pt x="885370" y="3527283"/>
                  <a:pt x="891317" y="3527283"/>
                </a:cubicBezTo>
                <a:close/>
                <a:moveTo>
                  <a:pt x="2462688" y="3524969"/>
                </a:moveTo>
                <a:cubicBezTo>
                  <a:pt x="2468634" y="3524969"/>
                  <a:pt x="2473426" y="3529759"/>
                  <a:pt x="2473426" y="3535706"/>
                </a:cubicBezTo>
                <a:cubicBezTo>
                  <a:pt x="2473426" y="3541652"/>
                  <a:pt x="2468634" y="3546443"/>
                  <a:pt x="2462688" y="3546443"/>
                </a:cubicBezTo>
                <a:cubicBezTo>
                  <a:pt x="2456741" y="3546443"/>
                  <a:pt x="2451951" y="3541652"/>
                  <a:pt x="2451951" y="3535706"/>
                </a:cubicBezTo>
                <a:cubicBezTo>
                  <a:pt x="2451951" y="3529759"/>
                  <a:pt x="2456741" y="3524969"/>
                  <a:pt x="2462688" y="3524969"/>
                </a:cubicBezTo>
                <a:close/>
                <a:moveTo>
                  <a:pt x="113808" y="3524805"/>
                </a:moveTo>
                <a:cubicBezTo>
                  <a:pt x="119754" y="3524805"/>
                  <a:pt x="124546" y="3529594"/>
                  <a:pt x="124546" y="3535541"/>
                </a:cubicBezTo>
                <a:cubicBezTo>
                  <a:pt x="124546" y="3541487"/>
                  <a:pt x="119754" y="3546277"/>
                  <a:pt x="113808" y="3546277"/>
                </a:cubicBezTo>
                <a:cubicBezTo>
                  <a:pt x="107861" y="3546277"/>
                  <a:pt x="103071" y="3541487"/>
                  <a:pt x="103071" y="3535541"/>
                </a:cubicBezTo>
                <a:cubicBezTo>
                  <a:pt x="103071" y="3529594"/>
                  <a:pt x="107861" y="3524805"/>
                  <a:pt x="113808" y="3524805"/>
                </a:cubicBezTo>
                <a:close/>
                <a:moveTo>
                  <a:pt x="139743" y="3521336"/>
                </a:moveTo>
                <a:cubicBezTo>
                  <a:pt x="145689" y="3521336"/>
                  <a:pt x="150479" y="3526126"/>
                  <a:pt x="150479" y="3532072"/>
                </a:cubicBezTo>
                <a:cubicBezTo>
                  <a:pt x="150479" y="3538019"/>
                  <a:pt x="145689" y="3542810"/>
                  <a:pt x="139743" y="3542810"/>
                </a:cubicBezTo>
                <a:cubicBezTo>
                  <a:pt x="133796" y="3542810"/>
                  <a:pt x="129006" y="3538019"/>
                  <a:pt x="129006" y="3532072"/>
                </a:cubicBezTo>
                <a:cubicBezTo>
                  <a:pt x="129006" y="3526126"/>
                  <a:pt x="133796" y="3521336"/>
                  <a:pt x="139743" y="3521336"/>
                </a:cubicBezTo>
                <a:close/>
                <a:moveTo>
                  <a:pt x="3440890" y="3517205"/>
                </a:moveTo>
                <a:cubicBezTo>
                  <a:pt x="3446837" y="3517205"/>
                  <a:pt x="3451628" y="3521995"/>
                  <a:pt x="3451628" y="3527942"/>
                </a:cubicBezTo>
                <a:cubicBezTo>
                  <a:pt x="3451628" y="3533888"/>
                  <a:pt x="3446837" y="3538680"/>
                  <a:pt x="3440890" y="3538680"/>
                </a:cubicBezTo>
                <a:cubicBezTo>
                  <a:pt x="3434944" y="3538680"/>
                  <a:pt x="3430154" y="3533888"/>
                  <a:pt x="3430154" y="3527942"/>
                </a:cubicBezTo>
                <a:cubicBezTo>
                  <a:pt x="3430154" y="3521995"/>
                  <a:pt x="3434944" y="3517205"/>
                  <a:pt x="3440890" y="3517205"/>
                </a:cubicBezTo>
                <a:close/>
                <a:moveTo>
                  <a:pt x="83250" y="3513572"/>
                </a:moveTo>
                <a:cubicBezTo>
                  <a:pt x="89196" y="3513572"/>
                  <a:pt x="93988" y="3518362"/>
                  <a:pt x="93988" y="3524309"/>
                </a:cubicBezTo>
                <a:cubicBezTo>
                  <a:pt x="93988" y="3530255"/>
                  <a:pt x="89196" y="3535046"/>
                  <a:pt x="83250" y="3535046"/>
                </a:cubicBezTo>
                <a:cubicBezTo>
                  <a:pt x="77303" y="3535046"/>
                  <a:pt x="72513" y="3530255"/>
                  <a:pt x="72513" y="3524309"/>
                </a:cubicBezTo>
                <a:cubicBezTo>
                  <a:pt x="72513" y="3518362"/>
                  <a:pt x="77303" y="3513572"/>
                  <a:pt x="83250" y="3513572"/>
                </a:cubicBezTo>
                <a:close/>
                <a:moveTo>
                  <a:pt x="195738" y="3511590"/>
                </a:moveTo>
                <a:cubicBezTo>
                  <a:pt x="201684" y="3511590"/>
                  <a:pt x="206476" y="3516380"/>
                  <a:pt x="206476" y="3522326"/>
                </a:cubicBezTo>
                <a:cubicBezTo>
                  <a:pt x="206476" y="3528273"/>
                  <a:pt x="201684" y="3533064"/>
                  <a:pt x="195738" y="3533064"/>
                </a:cubicBezTo>
                <a:cubicBezTo>
                  <a:pt x="189791" y="3533064"/>
                  <a:pt x="185001" y="3528273"/>
                  <a:pt x="185001" y="3522326"/>
                </a:cubicBezTo>
                <a:cubicBezTo>
                  <a:pt x="185001" y="3516380"/>
                  <a:pt x="189791" y="3511590"/>
                  <a:pt x="195738" y="3511590"/>
                </a:cubicBezTo>
                <a:close/>
                <a:moveTo>
                  <a:pt x="2232589" y="3509772"/>
                </a:moveTo>
                <a:cubicBezTo>
                  <a:pt x="2238535" y="3509772"/>
                  <a:pt x="2243327" y="3514562"/>
                  <a:pt x="2243327" y="3520509"/>
                </a:cubicBezTo>
                <a:cubicBezTo>
                  <a:pt x="2243327" y="3526455"/>
                  <a:pt x="2238535" y="3531247"/>
                  <a:pt x="2232589" y="3531247"/>
                </a:cubicBezTo>
                <a:cubicBezTo>
                  <a:pt x="2226642" y="3531247"/>
                  <a:pt x="2221852" y="3526455"/>
                  <a:pt x="2221852" y="3520509"/>
                </a:cubicBezTo>
                <a:cubicBezTo>
                  <a:pt x="2221852" y="3514562"/>
                  <a:pt x="2226642" y="3509772"/>
                  <a:pt x="2232589" y="3509772"/>
                </a:cubicBezTo>
                <a:close/>
                <a:moveTo>
                  <a:pt x="359103" y="3509772"/>
                </a:moveTo>
                <a:cubicBezTo>
                  <a:pt x="365050" y="3509772"/>
                  <a:pt x="369840" y="3514562"/>
                  <a:pt x="369840" y="3520509"/>
                </a:cubicBezTo>
                <a:cubicBezTo>
                  <a:pt x="369840" y="3526455"/>
                  <a:pt x="365050" y="3531247"/>
                  <a:pt x="359103" y="3531247"/>
                </a:cubicBezTo>
                <a:cubicBezTo>
                  <a:pt x="353157" y="3531247"/>
                  <a:pt x="348367" y="3526455"/>
                  <a:pt x="348367" y="3520509"/>
                </a:cubicBezTo>
                <a:cubicBezTo>
                  <a:pt x="348367" y="3514562"/>
                  <a:pt x="353157" y="3509772"/>
                  <a:pt x="359103" y="3509772"/>
                </a:cubicBezTo>
                <a:close/>
                <a:moveTo>
                  <a:pt x="105881" y="3508122"/>
                </a:moveTo>
                <a:cubicBezTo>
                  <a:pt x="111827" y="3508122"/>
                  <a:pt x="116617" y="3512911"/>
                  <a:pt x="116617" y="3518858"/>
                </a:cubicBezTo>
                <a:cubicBezTo>
                  <a:pt x="116617" y="3524805"/>
                  <a:pt x="111827" y="3529596"/>
                  <a:pt x="105881" y="3529596"/>
                </a:cubicBezTo>
                <a:cubicBezTo>
                  <a:pt x="99934" y="3529596"/>
                  <a:pt x="95144" y="3524805"/>
                  <a:pt x="95144" y="3518858"/>
                </a:cubicBezTo>
                <a:cubicBezTo>
                  <a:pt x="95144" y="3512911"/>
                  <a:pt x="99934" y="3508122"/>
                  <a:pt x="105881" y="3508122"/>
                </a:cubicBezTo>
                <a:close/>
                <a:moveTo>
                  <a:pt x="789565" y="3505147"/>
                </a:moveTo>
                <a:cubicBezTo>
                  <a:pt x="795511" y="3505147"/>
                  <a:pt x="800301" y="3509937"/>
                  <a:pt x="800301" y="3515884"/>
                </a:cubicBezTo>
                <a:cubicBezTo>
                  <a:pt x="800301" y="3521830"/>
                  <a:pt x="795511" y="3526622"/>
                  <a:pt x="789565" y="3526622"/>
                </a:cubicBezTo>
                <a:cubicBezTo>
                  <a:pt x="783618" y="3526622"/>
                  <a:pt x="778829" y="3521830"/>
                  <a:pt x="778829" y="3515884"/>
                </a:cubicBezTo>
                <a:cubicBezTo>
                  <a:pt x="778829" y="3509937"/>
                  <a:pt x="783618" y="3505147"/>
                  <a:pt x="789565" y="3505147"/>
                </a:cubicBezTo>
                <a:close/>
                <a:moveTo>
                  <a:pt x="128344" y="3502669"/>
                </a:moveTo>
                <a:cubicBezTo>
                  <a:pt x="134290" y="3502669"/>
                  <a:pt x="139082" y="3507459"/>
                  <a:pt x="139082" y="3513405"/>
                </a:cubicBezTo>
                <a:cubicBezTo>
                  <a:pt x="139082" y="3519352"/>
                  <a:pt x="134290" y="3524144"/>
                  <a:pt x="128344" y="3524144"/>
                </a:cubicBezTo>
                <a:cubicBezTo>
                  <a:pt x="122397" y="3524144"/>
                  <a:pt x="117607" y="3519352"/>
                  <a:pt x="117607" y="3513405"/>
                </a:cubicBezTo>
                <a:cubicBezTo>
                  <a:pt x="117607" y="3507459"/>
                  <a:pt x="122397" y="3502669"/>
                  <a:pt x="128344" y="3502669"/>
                </a:cubicBezTo>
                <a:close/>
                <a:moveTo>
                  <a:pt x="73504" y="3500028"/>
                </a:moveTo>
                <a:cubicBezTo>
                  <a:pt x="79450" y="3500028"/>
                  <a:pt x="84242" y="3504818"/>
                  <a:pt x="84242" y="3510765"/>
                </a:cubicBezTo>
                <a:cubicBezTo>
                  <a:pt x="84242" y="3516711"/>
                  <a:pt x="79450" y="3521501"/>
                  <a:pt x="73504" y="3521501"/>
                </a:cubicBezTo>
                <a:cubicBezTo>
                  <a:pt x="67557" y="3521501"/>
                  <a:pt x="62767" y="3516711"/>
                  <a:pt x="62767" y="3510765"/>
                </a:cubicBezTo>
                <a:cubicBezTo>
                  <a:pt x="62767" y="3504818"/>
                  <a:pt x="67557" y="3500028"/>
                  <a:pt x="73504" y="3500028"/>
                </a:cubicBezTo>
                <a:close/>
                <a:moveTo>
                  <a:pt x="62932" y="3496889"/>
                </a:moveTo>
                <a:cubicBezTo>
                  <a:pt x="63480" y="3496889"/>
                  <a:pt x="63924" y="3497333"/>
                  <a:pt x="63924" y="3497881"/>
                </a:cubicBezTo>
                <a:cubicBezTo>
                  <a:pt x="63924" y="3498428"/>
                  <a:pt x="63480" y="3498871"/>
                  <a:pt x="62932" y="3498871"/>
                </a:cubicBezTo>
                <a:cubicBezTo>
                  <a:pt x="62386" y="3498871"/>
                  <a:pt x="61942" y="3498428"/>
                  <a:pt x="61942" y="3497881"/>
                </a:cubicBezTo>
                <a:cubicBezTo>
                  <a:pt x="61942" y="3497333"/>
                  <a:pt x="62386" y="3496889"/>
                  <a:pt x="62932" y="3496889"/>
                </a:cubicBezTo>
                <a:close/>
                <a:moveTo>
                  <a:pt x="98117" y="3492264"/>
                </a:moveTo>
                <a:cubicBezTo>
                  <a:pt x="104063" y="3492264"/>
                  <a:pt x="108855" y="3497054"/>
                  <a:pt x="108855" y="3503001"/>
                </a:cubicBezTo>
                <a:cubicBezTo>
                  <a:pt x="108855" y="3508947"/>
                  <a:pt x="104063" y="3513739"/>
                  <a:pt x="98117" y="3513739"/>
                </a:cubicBezTo>
                <a:cubicBezTo>
                  <a:pt x="92170" y="3513739"/>
                  <a:pt x="87380" y="3508947"/>
                  <a:pt x="87380" y="3503001"/>
                </a:cubicBezTo>
                <a:cubicBezTo>
                  <a:pt x="87380" y="3497054"/>
                  <a:pt x="92170" y="3492264"/>
                  <a:pt x="98117" y="3492264"/>
                </a:cubicBezTo>
                <a:close/>
                <a:moveTo>
                  <a:pt x="2018184" y="3491933"/>
                </a:moveTo>
                <a:cubicBezTo>
                  <a:pt x="2024131" y="3491933"/>
                  <a:pt x="2028922" y="3496723"/>
                  <a:pt x="2028922" y="3502669"/>
                </a:cubicBezTo>
                <a:cubicBezTo>
                  <a:pt x="2028922" y="3508616"/>
                  <a:pt x="2024131" y="3513407"/>
                  <a:pt x="2018184" y="3513407"/>
                </a:cubicBezTo>
                <a:cubicBezTo>
                  <a:pt x="2012238" y="3513407"/>
                  <a:pt x="2007448" y="3508616"/>
                  <a:pt x="2007448" y="3502669"/>
                </a:cubicBezTo>
                <a:cubicBezTo>
                  <a:pt x="2007448" y="3496723"/>
                  <a:pt x="2012238" y="3491933"/>
                  <a:pt x="2018184" y="3491933"/>
                </a:cubicBezTo>
                <a:close/>
                <a:moveTo>
                  <a:pt x="174761" y="3491768"/>
                </a:moveTo>
                <a:cubicBezTo>
                  <a:pt x="180707" y="3491768"/>
                  <a:pt x="185497" y="3496558"/>
                  <a:pt x="185497" y="3502505"/>
                </a:cubicBezTo>
                <a:cubicBezTo>
                  <a:pt x="185497" y="3508451"/>
                  <a:pt x="180707" y="3513241"/>
                  <a:pt x="174761" y="3513241"/>
                </a:cubicBezTo>
                <a:cubicBezTo>
                  <a:pt x="168814" y="3513241"/>
                  <a:pt x="164025" y="3508451"/>
                  <a:pt x="164025" y="3502505"/>
                </a:cubicBezTo>
                <a:cubicBezTo>
                  <a:pt x="164025" y="3496558"/>
                  <a:pt x="168814" y="3491768"/>
                  <a:pt x="174761" y="3491768"/>
                </a:cubicBezTo>
                <a:close/>
                <a:moveTo>
                  <a:pt x="315164" y="3488629"/>
                </a:moveTo>
                <a:cubicBezTo>
                  <a:pt x="321111" y="3488629"/>
                  <a:pt x="325901" y="3493419"/>
                  <a:pt x="325901" y="3499365"/>
                </a:cubicBezTo>
                <a:cubicBezTo>
                  <a:pt x="325901" y="3505312"/>
                  <a:pt x="321111" y="3510104"/>
                  <a:pt x="315164" y="3510104"/>
                </a:cubicBezTo>
                <a:cubicBezTo>
                  <a:pt x="309218" y="3510104"/>
                  <a:pt x="304428" y="3505312"/>
                  <a:pt x="304428" y="3499365"/>
                </a:cubicBezTo>
                <a:cubicBezTo>
                  <a:pt x="304428" y="3493419"/>
                  <a:pt x="309218" y="3488629"/>
                  <a:pt x="315164" y="3488629"/>
                </a:cubicBezTo>
                <a:close/>
                <a:moveTo>
                  <a:pt x="118433" y="3484996"/>
                </a:moveTo>
                <a:cubicBezTo>
                  <a:pt x="124379" y="3484996"/>
                  <a:pt x="129171" y="3489786"/>
                  <a:pt x="129171" y="3495732"/>
                </a:cubicBezTo>
                <a:cubicBezTo>
                  <a:pt x="129171" y="3501679"/>
                  <a:pt x="124379" y="3506471"/>
                  <a:pt x="118433" y="3506471"/>
                </a:cubicBezTo>
                <a:cubicBezTo>
                  <a:pt x="112486" y="3506471"/>
                  <a:pt x="107696" y="3501679"/>
                  <a:pt x="107696" y="3495732"/>
                </a:cubicBezTo>
                <a:cubicBezTo>
                  <a:pt x="107696" y="3489786"/>
                  <a:pt x="112486" y="3484996"/>
                  <a:pt x="118433" y="3484996"/>
                </a:cubicBezTo>
                <a:close/>
                <a:moveTo>
                  <a:pt x="697724" y="3483675"/>
                </a:moveTo>
                <a:cubicBezTo>
                  <a:pt x="703671" y="3483675"/>
                  <a:pt x="708460" y="3488465"/>
                  <a:pt x="708460" y="3494411"/>
                </a:cubicBezTo>
                <a:cubicBezTo>
                  <a:pt x="708460" y="3500358"/>
                  <a:pt x="703671" y="3505149"/>
                  <a:pt x="697724" y="3505149"/>
                </a:cubicBezTo>
                <a:cubicBezTo>
                  <a:pt x="691778" y="3505149"/>
                  <a:pt x="686988" y="3500358"/>
                  <a:pt x="686988" y="3494411"/>
                </a:cubicBezTo>
                <a:cubicBezTo>
                  <a:pt x="686988" y="3488465"/>
                  <a:pt x="691778" y="3483675"/>
                  <a:pt x="697724" y="3483675"/>
                </a:cubicBezTo>
                <a:close/>
                <a:moveTo>
                  <a:pt x="90353" y="3477397"/>
                </a:moveTo>
                <a:cubicBezTo>
                  <a:pt x="96299" y="3477397"/>
                  <a:pt x="101089" y="3482187"/>
                  <a:pt x="101089" y="3488133"/>
                </a:cubicBezTo>
                <a:cubicBezTo>
                  <a:pt x="101089" y="3494080"/>
                  <a:pt x="96299" y="3498871"/>
                  <a:pt x="90353" y="3498871"/>
                </a:cubicBezTo>
                <a:cubicBezTo>
                  <a:pt x="84406" y="3498871"/>
                  <a:pt x="79617" y="3494080"/>
                  <a:pt x="79617" y="3488133"/>
                </a:cubicBezTo>
                <a:cubicBezTo>
                  <a:pt x="79617" y="3482187"/>
                  <a:pt x="84406" y="3477397"/>
                  <a:pt x="90353" y="3477397"/>
                </a:cubicBezTo>
                <a:close/>
                <a:moveTo>
                  <a:pt x="1819471" y="3473103"/>
                </a:moveTo>
                <a:cubicBezTo>
                  <a:pt x="1825417" y="3473103"/>
                  <a:pt x="1830209" y="3477893"/>
                  <a:pt x="1830209" y="3483840"/>
                </a:cubicBezTo>
                <a:cubicBezTo>
                  <a:pt x="1830209" y="3489786"/>
                  <a:pt x="1825417" y="3494578"/>
                  <a:pt x="1819471" y="3494578"/>
                </a:cubicBezTo>
                <a:cubicBezTo>
                  <a:pt x="1813524" y="3494578"/>
                  <a:pt x="1808734" y="3489786"/>
                  <a:pt x="1808734" y="3483840"/>
                </a:cubicBezTo>
                <a:cubicBezTo>
                  <a:pt x="1808734" y="3477893"/>
                  <a:pt x="1813524" y="3473103"/>
                  <a:pt x="1819471" y="3473103"/>
                </a:cubicBezTo>
                <a:close/>
                <a:moveTo>
                  <a:pt x="156590" y="3472772"/>
                </a:moveTo>
                <a:cubicBezTo>
                  <a:pt x="162537" y="3472772"/>
                  <a:pt x="167328" y="3477562"/>
                  <a:pt x="167328" y="3483508"/>
                </a:cubicBezTo>
                <a:cubicBezTo>
                  <a:pt x="167328" y="3489455"/>
                  <a:pt x="162537" y="3494246"/>
                  <a:pt x="156590" y="3494246"/>
                </a:cubicBezTo>
                <a:cubicBezTo>
                  <a:pt x="150644" y="3494246"/>
                  <a:pt x="145854" y="3489455"/>
                  <a:pt x="145854" y="3483508"/>
                </a:cubicBezTo>
                <a:cubicBezTo>
                  <a:pt x="145854" y="3477562"/>
                  <a:pt x="150644" y="3472772"/>
                  <a:pt x="156590" y="3472772"/>
                </a:cubicBezTo>
                <a:close/>
                <a:moveTo>
                  <a:pt x="276513" y="3468478"/>
                </a:moveTo>
                <a:cubicBezTo>
                  <a:pt x="282459" y="3468478"/>
                  <a:pt x="287249" y="3473268"/>
                  <a:pt x="287249" y="3479214"/>
                </a:cubicBezTo>
                <a:cubicBezTo>
                  <a:pt x="287249" y="3485161"/>
                  <a:pt x="282459" y="3489952"/>
                  <a:pt x="276513" y="3489952"/>
                </a:cubicBezTo>
                <a:cubicBezTo>
                  <a:pt x="270566" y="3489952"/>
                  <a:pt x="265776" y="3485161"/>
                  <a:pt x="265776" y="3479214"/>
                </a:cubicBezTo>
                <a:cubicBezTo>
                  <a:pt x="265776" y="3473268"/>
                  <a:pt x="270566" y="3468478"/>
                  <a:pt x="276513" y="3468478"/>
                </a:cubicBezTo>
                <a:close/>
                <a:moveTo>
                  <a:pt x="109514" y="3468147"/>
                </a:moveTo>
                <a:cubicBezTo>
                  <a:pt x="115460" y="3468147"/>
                  <a:pt x="120252" y="3472937"/>
                  <a:pt x="120252" y="3478883"/>
                </a:cubicBezTo>
                <a:cubicBezTo>
                  <a:pt x="120252" y="3484830"/>
                  <a:pt x="115460" y="3489621"/>
                  <a:pt x="109514" y="3489621"/>
                </a:cubicBezTo>
                <a:cubicBezTo>
                  <a:pt x="103567" y="3489621"/>
                  <a:pt x="98778" y="3484830"/>
                  <a:pt x="98778" y="3478883"/>
                </a:cubicBezTo>
                <a:cubicBezTo>
                  <a:pt x="98778" y="3472937"/>
                  <a:pt x="103567" y="3468147"/>
                  <a:pt x="109514" y="3468147"/>
                </a:cubicBezTo>
                <a:close/>
                <a:moveTo>
                  <a:pt x="615133" y="3462861"/>
                </a:moveTo>
                <a:cubicBezTo>
                  <a:pt x="621080" y="3462861"/>
                  <a:pt x="625870" y="3467651"/>
                  <a:pt x="625870" y="3473597"/>
                </a:cubicBezTo>
                <a:cubicBezTo>
                  <a:pt x="625870" y="3479544"/>
                  <a:pt x="621080" y="3484334"/>
                  <a:pt x="615133" y="3484334"/>
                </a:cubicBezTo>
                <a:cubicBezTo>
                  <a:pt x="609187" y="3484334"/>
                  <a:pt x="604397" y="3479544"/>
                  <a:pt x="604397" y="3473597"/>
                </a:cubicBezTo>
                <a:cubicBezTo>
                  <a:pt x="604397" y="3467651"/>
                  <a:pt x="609187" y="3462861"/>
                  <a:pt x="615133" y="3462861"/>
                </a:cubicBezTo>
                <a:close/>
                <a:moveTo>
                  <a:pt x="141229" y="3454603"/>
                </a:moveTo>
                <a:cubicBezTo>
                  <a:pt x="147175" y="3454603"/>
                  <a:pt x="151965" y="3459393"/>
                  <a:pt x="151965" y="3465339"/>
                </a:cubicBezTo>
                <a:cubicBezTo>
                  <a:pt x="151965" y="3471286"/>
                  <a:pt x="147175" y="3476076"/>
                  <a:pt x="141229" y="3476076"/>
                </a:cubicBezTo>
                <a:cubicBezTo>
                  <a:pt x="135282" y="3476076"/>
                  <a:pt x="130492" y="3471286"/>
                  <a:pt x="130492" y="3465339"/>
                </a:cubicBezTo>
                <a:cubicBezTo>
                  <a:pt x="130492" y="3459393"/>
                  <a:pt x="135282" y="3454603"/>
                  <a:pt x="141229" y="3454603"/>
                </a:cubicBezTo>
                <a:close/>
                <a:moveTo>
                  <a:pt x="1636285" y="3453942"/>
                </a:moveTo>
                <a:cubicBezTo>
                  <a:pt x="1642232" y="3453942"/>
                  <a:pt x="1647022" y="3458732"/>
                  <a:pt x="1647022" y="3464678"/>
                </a:cubicBezTo>
                <a:cubicBezTo>
                  <a:pt x="1647022" y="3470625"/>
                  <a:pt x="1642232" y="3475417"/>
                  <a:pt x="1636285" y="3475417"/>
                </a:cubicBezTo>
                <a:cubicBezTo>
                  <a:pt x="1630339" y="3475417"/>
                  <a:pt x="1625549" y="3470625"/>
                  <a:pt x="1625549" y="3464678"/>
                </a:cubicBezTo>
                <a:cubicBezTo>
                  <a:pt x="1625549" y="3458732"/>
                  <a:pt x="1630339" y="3453942"/>
                  <a:pt x="1636285" y="3453942"/>
                </a:cubicBezTo>
                <a:close/>
                <a:moveTo>
                  <a:pt x="101585" y="3452124"/>
                </a:moveTo>
                <a:cubicBezTo>
                  <a:pt x="107532" y="3452124"/>
                  <a:pt x="112323" y="3456914"/>
                  <a:pt x="112323" y="3462861"/>
                </a:cubicBezTo>
                <a:cubicBezTo>
                  <a:pt x="112323" y="3468808"/>
                  <a:pt x="107532" y="3473599"/>
                  <a:pt x="101585" y="3473599"/>
                </a:cubicBezTo>
                <a:cubicBezTo>
                  <a:pt x="95639" y="3473599"/>
                  <a:pt x="90849" y="3468808"/>
                  <a:pt x="90849" y="3462861"/>
                </a:cubicBezTo>
                <a:cubicBezTo>
                  <a:pt x="90849" y="3456914"/>
                  <a:pt x="95639" y="3452124"/>
                  <a:pt x="101585" y="3452124"/>
                </a:cubicBezTo>
                <a:close/>
                <a:moveTo>
                  <a:pt x="242816" y="3448986"/>
                </a:moveTo>
                <a:cubicBezTo>
                  <a:pt x="248762" y="3448986"/>
                  <a:pt x="253554" y="3453776"/>
                  <a:pt x="253554" y="3459722"/>
                </a:cubicBezTo>
                <a:cubicBezTo>
                  <a:pt x="253554" y="3465668"/>
                  <a:pt x="248762" y="3470460"/>
                  <a:pt x="242816" y="3470460"/>
                </a:cubicBezTo>
                <a:cubicBezTo>
                  <a:pt x="236869" y="3470460"/>
                  <a:pt x="232079" y="3465668"/>
                  <a:pt x="232079" y="3459722"/>
                </a:cubicBezTo>
                <a:cubicBezTo>
                  <a:pt x="232079" y="3453776"/>
                  <a:pt x="236869" y="3448986"/>
                  <a:pt x="242816" y="3448986"/>
                </a:cubicBezTo>
                <a:close/>
                <a:moveTo>
                  <a:pt x="540968" y="3442710"/>
                </a:moveTo>
                <a:cubicBezTo>
                  <a:pt x="546898" y="3442710"/>
                  <a:pt x="551706" y="3447517"/>
                  <a:pt x="551706" y="3453446"/>
                </a:cubicBezTo>
                <a:cubicBezTo>
                  <a:pt x="551706" y="3459375"/>
                  <a:pt x="546898" y="3464183"/>
                  <a:pt x="540968" y="3464183"/>
                </a:cubicBezTo>
                <a:cubicBezTo>
                  <a:pt x="535038" y="3464183"/>
                  <a:pt x="530231" y="3459375"/>
                  <a:pt x="530231" y="3453446"/>
                </a:cubicBezTo>
                <a:cubicBezTo>
                  <a:pt x="530231" y="3447517"/>
                  <a:pt x="535038" y="3442710"/>
                  <a:pt x="540968" y="3442710"/>
                </a:cubicBezTo>
                <a:close/>
                <a:moveTo>
                  <a:pt x="128014" y="3437424"/>
                </a:moveTo>
                <a:cubicBezTo>
                  <a:pt x="133961" y="3437424"/>
                  <a:pt x="138751" y="3442214"/>
                  <a:pt x="138751" y="3448160"/>
                </a:cubicBezTo>
                <a:cubicBezTo>
                  <a:pt x="138751" y="3454107"/>
                  <a:pt x="133961" y="3458898"/>
                  <a:pt x="128014" y="3458898"/>
                </a:cubicBezTo>
                <a:cubicBezTo>
                  <a:pt x="122068" y="3458898"/>
                  <a:pt x="117278" y="3454107"/>
                  <a:pt x="117278" y="3448160"/>
                </a:cubicBezTo>
                <a:cubicBezTo>
                  <a:pt x="117278" y="3442214"/>
                  <a:pt x="122068" y="3437424"/>
                  <a:pt x="128014" y="3437424"/>
                </a:cubicBezTo>
                <a:close/>
                <a:moveTo>
                  <a:pt x="65575" y="3437424"/>
                </a:moveTo>
                <a:cubicBezTo>
                  <a:pt x="71521" y="3437424"/>
                  <a:pt x="76313" y="3442214"/>
                  <a:pt x="76313" y="3448160"/>
                </a:cubicBezTo>
                <a:lnTo>
                  <a:pt x="74412" y="3450061"/>
                </a:lnTo>
                <a:lnTo>
                  <a:pt x="85069" y="3460714"/>
                </a:lnTo>
                <a:lnTo>
                  <a:pt x="82424" y="3463359"/>
                </a:lnTo>
                <a:lnTo>
                  <a:pt x="93161" y="3474093"/>
                </a:lnTo>
                <a:cubicBezTo>
                  <a:pt x="93161" y="3480040"/>
                  <a:pt x="88371" y="3484831"/>
                  <a:pt x="82424" y="3484831"/>
                </a:cubicBezTo>
                <a:cubicBezTo>
                  <a:pt x="76478" y="3484831"/>
                  <a:pt x="71688" y="3480040"/>
                  <a:pt x="71688" y="3474093"/>
                </a:cubicBezTo>
                <a:lnTo>
                  <a:pt x="74331" y="3471451"/>
                </a:lnTo>
                <a:lnTo>
                  <a:pt x="63594" y="3460714"/>
                </a:lnTo>
                <a:lnTo>
                  <a:pt x="65492" y="3458817"/>
                </a:lnTo>
                <a:lnTo>
                  <a:pt x="54838" y="3448160"/>
                </a:lnTo>
                <a:cubicBezTo>
                  <a:pt x="54838" y="3442214"/>
                  <a:pt x="59628" y="3437424"/>
                  <a:pt x="65575" y="3437424"/>
                </a:cubicBezTo>
                <a:close/>
                <a:moveTo>
                  <a:pt x="1467800" y="3434781"/>
                </a:moveTo>
                <a:cubicBezTo>
                  <a:pt x="1473747" y="3434781"/>
                  <a:pt x="1478538" y="3439571"/>
                  <a:pt x="1478538" y="3445517"/>
                </a:cubicBezTo>
                <a:cubicBezTo>
                  <a:pt x="1478538" y="3451464"/>
                  <a:pt x="1473747" y="3456256"/>
                  <a:pt x="1467800" y="3456256"/>
                </a:cubicBezTo>
                <a:cubicBezTo>
                  <a:pt x="1461854" y="3456256"/>
                  <a:pt x="1457064" y="3451464"/>
                  <a:pt x="1457064" y="3445517"/>
                </a:cubicBezTo>
                <a:cubicBezTo>
                  <a:pt x="1457064" y="3439571"/>
                  <a:pt x="1461854" y="3434781"/>
                  <a:pt x="1467800" y="3434781"/>
                </a:cubicBezTo>
                <a:close/>
                <a:moveTo>
                  <a:pt x="213577" y="3430486"/>
                </a:moveTo>
                <a:cubicBezTo>
                  <a:pt x="219524" y="3430486"/>
                  <a:pt x="224315" y="3435275"/>
                  <a:pt x="224315" y="3441222"/>
                </a:cubicBezTo>
                <a:cubicBezTo>
                  <a:pt x="224315" y="3447168"/>
                  <a:pt x="219524" y="3451960"/>
                  <a:pt x="213577" y="3451960"/>
                </a:cubicBezTo>
                <a:cubicBezTo>
                  <a:pt x="207631" y="3451960"/>
                  <a:pt x="202841" y="3447168"/>
                  <a:pt x="202841" y="3441222"/>
                </a:cubicBezTo>
                <a:cubicBezTo>
                  <a:pt x="202841" y="3435275"/>
                  <a:pt x="207631" y="3430486"/>
                  <a:pt x="213577" y="3430486"/>
                </a:cubicBezTo>
                <a:close/>
                <a:moveTo>
                  <a:pt x="56326" y="3428009"/>
                </a:moveTo>
                <a:cubicBezTo>
                  <a:pt x="60950" y="3428009"/>
                  <a:pt x="64585" y="3431644"/>
                  <a:pt x="64585" y="3436269"/>
                </a:cubicBezTo>
                <a:cubicBezTo>
                  <a:pt x="64585" y="3440892"/>
                  <a:pt x="60785" y="3444527"/>
                  <a:pt x="56326" y="3444527"/>
                </a:cubicBezTo>
                <a:cubicBezTo>
                  <a:pt x="51701" y="3444527"/>
                  <a:pt x="48066" y="3440892"/>
                  <a:pt x="48066" y="3436269"/>
                </a:cubicBezTo>
                <a:cubicBezTo>
                  <a:pt x="48066" y="3431644"/>
                  <a:pt x="51701" y="3428009"/>
                  <a:pt x="56326" y="3428009"/>
                </a:cubicBezTo>
                <a:close/>
                <a:moveTo>
                  <a:pt x="474730" y="3423384"/>
                </a:moveTo>
                <a:cubicBezTo>
                  <a:pt x="480677" y="3423384"/>
                  <a:pt x="485467" y="3428174"/>
                  <a:pt x="485467" y="3434120"/>
                </a:cubicBezTo>
                <a:cubicBezTo>
                  <a:pt x="485467" y="3440067"/>
                  <a:pt x="480677" y="3444857"/>
                  <a:pt x="474730" y="3444857"/>
                </a:cubicBezTo>
                <a:cubicBezTo>
                  <a:pt x="468784" y="3444857"/>
                  <a:pt x="463994" y="3440067"/>
                  <a:pt x="463994" y="3434120"/>
                </a:cubicBezTo>
                <a:cubicBezTo>
                  <a:pt x="463994" y="3428174"/>
                  <a:pt x="468784" y="3423384"/>
                  <a:pt x="474730" y="3423384"/>
                </a:cubicBezTo>
                <a:close/>
                <a:moveTo>
                  <a:pt x="116617" y="3420906"/>
                </a:moveTo>
                <a:cubicBezTo>
                  <a:pt x="122564" y="3420906"/>
                  <a:pt x="127355" y="3425696"/>
                  <a:pt x="127355" y="3431642"/>
                </a:cubicBezTo>
                <a:cubicBezTo>
                  <a:pt x="127355" y="3437589"/>
                  <a:pt x="122564" y="3442380"/>
                  <a:pt x="116617" y="3442380"/>
                </a:cubicBezTo>
                <a:cubicBezTo>
                  <a:pt x="110671" y="3442380"/>
                  <a:pt x="105881" y="3437589"/>
                  <a:pt x="105881" y="3431642"/>
                </a:cubicBezTo>
                <a:cubicBezTo>
                  <a:pt x="105881" y="3425696"/>
                  <a:pt x="110671" y="3420906"/>
                  <a:pt x="116617" y="3420906"/>
                </a:cubicBezTo>
                <a:close/>
                <a:moveTo>
                  <a:pt x="1313355" y="3416116"/>
                </a:moveTo>
                <a:cubicBezTo>
                  <a:pt x="1319302" y="3416116"/>
                  <a:pt x="1324093" y="3420906"/>
                  <a:pt x="1324093" y="3426852"/>
                </a:cubicBezTo>
                <a:cubicBezTo>
                  <a:pt x="1324093" y="3432799"/>
                  <a:pt x="1319302" y="3437591"/>
                  <a:pt x="1313355" y="3437591"/>
                </a:cubicBezTo>
                <a:cubicBezTo>
                  <a:pt x="1307409" y="3437591"/>
                  <a:pt x="1302619" y="3432799"/>
                  <a:pt x="1302619" y="3426852"/>
                </a:cubicBezTo>
                <a:cubicBezTo>
                  <a:pt x="1302619" y="3420906"/>
                  <a:pt x="1307409" y="3416116"/>
                  <a:pt x="1313355" y="3416116"/>
                </a:cubicBezTo>
                <a:close/>
                <a:moveTo>
                  <a:pt x="188305" y="3412646"/>
                </a:moveTo>
                <a:cubicBezTo>
                  <a:pt x="194251" y="3412646"/>
                  <a:pt x="199043" y="3417436"/>
                  <a:pt x="199043" y="3423382"/>
                </a:cubicBezTo>
                <a:cubicBezTo>
                  <a:pt x="199043" y="3429329"/>
                  <a:pt x="194251" y="3434120"/>
                  <a:pt x="188305" y="3434120"/>
                </a:cubicBezTo>
                <a:cubicBezTo>
                  <a:pt x="182358" y="3434120"/>
                  <a:pt x="177569" y="3429329"/>
                  <a:pt x="177569" y="3423382"/>
                </a:cubicBezTo>
                <a:cubicBezTo>
                  <a:pt x="177569" y="3417436"/>
                  <a:pt x="182358" y="3412646"/>
                  <a:pt x="188305" y="3412646"/>
                </a:cubicBezTo>
                <a:close/>
                <a:moveTo>
                  <a:pt x="106706" y="3405213"/>
                </a:moveTo>
                <a:cubicBezTo>
                  <a:pt x="112637" y="3405213"/>
                  <a:pt x="117444" y="3410020"/>
                  <a:pt x="117444" y="3415950"/>
                </a:cubicBezTo>
                <a:cubicBezTo>
                  <a:pt x="117444" y="3421879"/>
                  <a:pt x="112637" y="3426686"/>
                  <a:pt x="106706" y="3426686"/>
                </a:cubicBezTo>
                <a:cubicBezTo>
                  <a:pt x="100777" y="3426686"/>
                  <a:pt x="95970" y="3421879"/>
                  <a:pt x="95970" y="3415950"/>
                </a:cubicBezTo>
                <a:cubicBezTo>
                  <a:pt x="95970" y="3410020"/>
                  <a:pt x="100777" y="3405213"/>
                  <a:pt x="106706" y="3405213"/>
                </a:cubicBezTo>
                <a:close/>
                <a:moveTo>
                  <a:pt x="415761" y="3404882"/>
                </a:moveTo>
                <a:cubicBezTo>
                  <a:pt x="421707" y="3404882"/>
                  <a:pt x="426497" y="3409672"/>
                  <a:pt x="426497" y="3415618"/>
                </a:cubicBezTo>
                <a:cubicBezTo>
                  <a:pt x="426497" y="3421565"/>
                  <a:pt x="421707" y="3426356"/>
                  <a:pt x="415761" y="3426356"/>
                </a:cubicBezTo>
                <a:cubicBezTo>
                  <a:pt x="409814" y="3426356"/>
                  <a:pt x="405025" y="3421565"/>
                  <a:pt x="405025" y="3415618"/>
                </a:cubicBezTo>
                <a:cubicBezTo>
                  <a:pt x="405025" y="3409672"/>
                  <a:pt x="409814" y="3404882"/>
                  <a:pt x="415761" y="3404882"/>
                </a:cubicBezTo>
                <a:close/>
                <a:moveTo>
                  <a:pt x="1172125" y="3397614"/>
                </a:moveTo>
                <a:cubicBezTo>
                  <a:pt x="1178071" y="3397614"/>
                  <a:pt x="1182863" y="3402404"/>
                  <a:pt x="1182863" y="3408350"/>
                </a:cubicBezTo>
                <a:cubicBezTo>
                  <a:pt x="1182863" y="3414297"/>
                  <a:pt x="1178071" y="3419088"/>
                  <a:pt x="1172125" y="3419088"/>
                </a:cubicBezTo>
                <a:cubicBezTo>
                  <a:pt x="1166178" y="3419088"/>
                  <a:pt x="1161388" y="3414297"/>
                  <a:pt x="1161388" y="3408350"/>
                </a:cubicBezTo>
                <a:cubicBezTo>
                  <a:pt x="1161388" y="3402404"/>
                  <a:pt x="1166178" y="3397614"/>
                  <a:pt x="1172125" y="3397614"/>
                </a:cubicBezTo>
                <a:close/>
                <a:moveTo>
                  <a:pt x="166501" y="3395632"/>
                </a:moveTo>
                <a:cubicBezTo>
                  <a:pt x="172448" y="3395632"/>
                  <a:pt x="177237" y="3400422"/>
                  <a:pt x="177237" y="3406368"/>
                </a:cubicBezTo>
                <a:cubicBezTo>
                  <a:pt x="177237" y="3412315"/>
                  <a:pt x="172448" y="3417106"/>
                  <a:pt x="166501" y="3417106"/>
                </a:cubicBezTo>
                <a:cubicBezTo>
                  <a:pt x="160554" y="3417106"/>
                  <a:pt x="155765" y="3412315"/>
                  <a:pt x="155765" y="3406368"/>
                </a:cubicBezTo>
                <a:cubicBezTo>
                  <a:pt x="155765" y="3400422"/>
                  <a:pt x="160554" y="3395632"/>
                  <a:pt x="166501" y="3395632"/>
                </a:cubicBezTo>
                <a:close/>
                <a:moveTo>
                  <a:pt x="98117" y="3390348"/>
                </a:moveTo>
                <a:cubicBezTo>
                  <a:pt x="104063" y="3390348"/>
                  <a:pt x="108855" y="3395138"/>
                  <a:pt x="108855" y="3401084"/>
                </a:cubicBezTo>
                <a:cubicBezTo>
                  <a:pt x="108855" y="3407030"/>
                  <a:pt x="104063" y="3411820"/>
                  <a:pt x="98117" y="3411820"/>
                </a:cubicBezTo>
                <a:cubicBezTo>
                  <a:pt x="92170" y="3411820"/>
                  <a:pt x="87380" y="3407030"/>
                  <a:pt x="87380" y="3401084"/>
                </a:cubicBezTo>
                <a:cubicBezTo>
                  <a:pt x="87380" y="3395138"/>
                  <a:pt x="92170" y="3390348"/>
                  <a:pt x="98117" y="3390348"/>
                </a:cubicBezTo>
                <a:close/>
                <a:moveTo>
                  <a:pt x="363564" y="3387042"/>
                </a:moveTo>
                <a:cubicBezTo>
                  <a:pt x="369510" y="3387042"/>
                  <a:pt x="374300" y="3391832"/>
                  <a:pt x="374300" y="3397779"/>
                </a:cubicBezTo>
                <a:cubicBezTo>
                  <a:pt x="374300" y="3403725"/>
                  <a:pt x="369510" y="3408517"/>
                  <a:pt x="363564" y="3408517"/>
                </a:cubicBezTo>
                <a:cubicBezTo>
                  <a:pt x="357617" y="3408517"/>
                  <a:pt x="352827" y="3403725"/>
                  <a:pt x="352827" y="3397779"/>
                </a:cubicBezTo>
                <a:cubicBezTo>
                  <a:pt x="352827" y="3391832"/>
                  <a:pt x="357617" y="3387042"/>
                  <a:pt x="363564" y="3387042"/>
                </a:cubicBezTo>
                <a:close/>
                <a:moveTo>
                  <a:pt x="1043283" y="3379776"/>
                </a:moveTo>
                <a:cubicBezTo>
                  <a:pt x="1049230" y="3379776"/>
                  <a:pt x="1054022" y="3384566"/>
                  <a:pt x="1054022" y="3390513"/>
                </a:cubicBezTo>
                <a:cubicBezTo>
                  <a:pt x="1054022" y="3396459"/>
                  <a:pt x="1049230" y="3401249"/>
                  <a:pt x="1043283" y="3401249"/>
                </a:cubicBezTo>
                <a:cubicBezTo>
                  <a:pt x="1037337" y="3401249"/>
                  <a:pt x="1032547" y="3396459"/>
                  <a:pt x="1032547" y="3390513"/>
                </a:cubicBezTo>
                <a:cubicBezTo>
                  <a:pt x="1032547" y="3384566"/>
                  <a:pt x="1037337" y="3379776"/>
                  <a:pt x="1043283" y="3379776"/>
                </a:cubicBezTo>
                <a:close/>
                <a:moveTo>
                  <a:pt x="147836" y="3379445"/>
                </a:moveTo>
                <a:cubicBezTo>
                  <a:pt x="153782" y="3379445"/>
                  <a:pt x="158574" y="3384235"/>
                  <a:pt x="158574" y="3390181"/>
                </a:cubicBezTo>
                <a:cubicBezTo>
                  <a:pt x="158574" y="3396128"/>
                  <a:pt x="153782" y="3400919"/>
                  <a:pt x="147836" y="3400919"/>
                </a:cubicBezTo>
                <a:cubicBezTo>
                  <a:pt x="141889" y="3400919"/>
                  <a:pt x="137100" y="3396128"/>
                  <a:pt x="137100" y="3390181"/>
                </a:cubicBezTo>
                <a:cubicBezTo>
                  <a:pt x="137100" y="3384235"/>
                  <a:pt x="141889" y="3379445"/>
                  <a:pt x="147836" y="3379445"/>
                </a:cubicBezTo>
                <a:close/>
                <a:moveTo>
                  <a:pt x="317478" y="3369865"/>
                </a:moveTo>
                <a:cubicBezTo>
                  <a:pt x="323424" y="3369865"/>
                  <a:pt x="328216" y="3374655"/>
                  <a:pt x="328216" y="3380602"/>
                </a:cubicBezTo>
                <a:cubicBezTo>
                  <a:pt x="328216" y="3386548"/>
                  <a:pt x="323424" y="3391340"/>
                  <a:pt x="317478" y="3391340"/>
                </a:cubicBezTo>
                <a:cubicBezTo>
                  <a:pt x="311531" y="3391340"/>
                  <a:pt x="306741" y="3386548"/>
                  <a:pt x="306741" y="3380602"/>
                </a:cubicBezTo>
                <a:cubicBezTo>
                  <a:pt x="306741" y="3374655"/>
                  <a:pt x="311531" y="3369865"/>
                  <a:pt x="317478" y="3369865"/>
                </a:cubicBezTo>
                <a:close/>
                <a:moveTo>
                  <a:pt x="131979" y="3363917"/>
                </a:moveTo>
                <a:cubicBezTo>
                  <a:pt x="137925" y="3363917"/>
                  <a:pt x="142717" y="3368707"/>
                  <a:pt x="142717" y="3374653"/>
                </a:cubicBezTo>
                <a:cubicBezTo>
                  <a:pt x="142717" y="3380600"/>
                  <a:pt x="137925" y="3385391"/>
                  <a:pt x="131979" y="3385391"/>
                </a:cubicBezTo>
                <a:cubicBezTo>
                  <a:pt x="126032" y="3385391"/>
                  <a:pt x="121242" y="3380600"/>
                  <a:pt x="121242" y="3374653"/>
                </a:cubicBezTo>
                <a:cubicBezTo>
                  <a:pt x="121242" y="3368707"/>
                  <a:pt x="126032" y="3363917"/>
                  <a:pt x="131979" y="3363917"/>
                </a:cubicBezTo>
                <a:close/>
                <a:moveTo>
                  <a:pt x="926006" y="3362431"/>
                </a:moveTo>
                <a:cubicBezTo>
                  <a:pt x="931952" y="3362431"/>
                  <a:pt x="936742" y="3367221"/>
                  <a:pt x="936742" y="3373167"/>
                </a:cubicBezTo>
                <a:cubicBezTo>
                  <a:pt x="936742" y="3379113"/>
                  <a:pt x="931952" y="3383905"/>
                  <a:pt x="926006" y="3383905"/>
                </a:cubicBezTo>
                <a:cubicBezTo>
                  <a:pt x="920059" y="3383905"/>
                  <a:pt x="915269" y="3379113"/>
                  <a:pt x="915269" y="3373167"/>
                </a:cubicBezTo>
                <a:cubicBezTo>
                  <a:pt x="915269" y="3367221"/>
                  <a:pt x="920059" y="3362431"/>
                  <a:pt x="926006" y="3362431"/>
                </a:cubicBezTo>
                <a:close/>
                <a:moveTo>
                  <a:pt x="49884" y="3362101"/>
                </a:moveTo>
                <a:cubicBezTo>
                  <a:pt x="55830" y="3362101"/>
                  <a:pt x="60622" y="3366891"/>
                  <a:pt x="60622" y="3372838"/>
                </a:cubicBezTo>
                <a:lnTo>
                  <a:pt x="59382" y="3374078"/>
                </a:lnTo>
                <a:lnTo>
                  <a:pt x="68880" y="3383574"/>
                </a:lnTo>
                <a:lnTo>
                  <a:pt x="67063" y="3385391"/>
                </a:lnTo>
                <a:lnTo>
                  <a:pt x="76644" y="3394971"/>
                </a:lnTo>
                <a:lnTo>
                  <a:pt x="74247" y="3397368"/>
                </a:lnTo>
                <a:lnTo>
                  <a:pt x="83912" y="3407030"/>
                </a:lnTo>
                <a:lnTo>
                  <a:pt x="80938" y="3410005"/>
                </a:lnTo>
                <a:lnTo>
                  <a:pt x="90849" y="3419914"/>
                </a:lnTo>
                <a:lnTo>
                  <a:pt x="87545" y="3423217"/>
                </a:lnTo>
                <a:lnTo>
                  <a:pt x="97787" y="3433458"/>
                </a:lnTo>
                <a:lnTo>
                  <a:pt x="94152" y="3437093"/>
                </a:lnTo>
                <a:lnTo>
                  <a:pt x="104889" y="3447829"/>
                </a:lnTo>
                <a:cubicBezTo>
                  <a:pt x="104889" y="3453776"/>
                  <a:pt x="100099" y="3458566"/>
                  <a:pt x="94152" y="3458566"/>
                </a:cubicBezTo>
                <a:cubicBezTo>
                  <a:pt x="88206" y="3458566"/>
                  <a:pt x="83416" y="3453776"/>
                  <a:pt x="83416" y="3447829"/>
                </a:cubicBezTo>
                <a:lnTo>
                  <a:pt x="87049" y="3444196"/>
                </a:lnTo>
                <a:lnTo>
                  <a:pt x="76313" y="3433458"/>
                </a:lnTo>
                <a:lnTo>
                  <a:pt x="79615" y="3430156"/>
                </a:lnTo>
                <a:lnTo>
                  <a:pt x="69374" y="3419914"/>
                </a:lnTo>
                <a:lnTo>
                  <a:pt x="72347" y="3416942"/>
                </a:lnTo>
                <a:lnTo>
                  <a:pt x="62438" y="3407030"/>
                </a:lnTo>
                <a:lnTo>
                  <a:pt x="64833" y="3404636"/>
                </a:lnTo>
                <a:lnTo>
                  <a:pt x="55170" y="3394971"/>
                </a:lnTo>
                <a:lnTo>
                  <a:pt x="56985" y="3393155"/>
                </a:lnTo>
                <a:lnTo>
                  <a:pt x="47406" y="3383574"/>
                </a:lnTo>
                <a:lnTo>
                  <a:pt x="48644" y="3382336"/>
                </a:lnTo>
                <a:lnTo>
                  <a:pt x="39148" y="3372838"/>
                </a:lnTo>
                <a:cubicBezTo>
                  <a:pt x="39148" y="3366891"/>
                  <a:pt x="43937" y="3362101"/>
                  <a:pt x="49884" y="3362101"/>
                </a:cubicBezTo>
                <a:close/>
                <a:moveTo>
                  <a:pt x="40965" y="3358302"/>
                </a:moveTo>
                <a:cubicBezTo>
                  <a:pt x="43428" y="3358302"/>
                  <a:pt x="45425" y="3360298"/>
                  <a:pt x="45425" y="3362762"/>
                </a:cubicBezTo>
                <a:cubicBezTo>
                  <a:pt x="45425" y="3365225"/>
                  <a:pt x="43428" y="3367222"/>
                  <a:pt x="40965" y="3367222"/>
                </a:cubicBezTo>
                <a:cubicBezTo>
                  <a:pt x="38501" y="3367222"/>
                  <a:pt x="36505" y="3365225"/>
                  <a:pt x="36505" y="3362762"/>
                </a:cubicBezTo>
                <a:cubicBezTo>
                  <a:pt x="36505" y="3360298"/>
                  <a:pt x="38501" y="3358302"/>
                  <a:pt x="40965" y="3358302"/>
                </a:cubicBezTo>
                <a:close/>
                <a:moveTo>
                  <a:pt x="277009" y="3353347"/>
                </a:moveTo>
                <a:cubicBezTo>
                  <a:pt x="282955" y="3353347"/>
                  <a:pt x="287745" y="3358137"/>
                  <a:pt x="287745" y="3364084"/>
                </a:cubicBezTo>
                <a:cubicBezTo>
                  <a:pt x="287745" y="3370030"/>
                  <a:pt x="282955" y="3374822"/>
                  <a:pt x="277009" y="3374822"/>
                </a:cubicBezTo>
                <a:cubicBezTo>
                  <a:pt x="271062" y="3374822"/>
                  <a:pt x="266272" y="3370030"/>
                  <a:pt x="266272" y="3364084"/>
                </a:cubicBezTo>
                <a:cubicBezTo>
                  <a:pt x="266272" y="3358137"/>
                  <a:pt x="271062" y="3353347"/>
                  <a:pt x="277009" y="3353347"/>
                </a:cubicBezTo>
                <a:close/>
                <a:moveTo>
                  <a:pt x="118433" y="3349216"/>
                </a:moveTo>
                <a:cubicBezTo>
                  <a:pt x="124379" y="3349216"/>
                  <a:pt x="129171" y="3354006"/>
                  <a:pt x="129171" y="3359952"/>
                </a:cubicBezTo>
                <a:cubicBezTo>
                  <a:pt x="129171" y="3365899"/>
                  <a:pt x="124379" y="3370691"/>
                  <a:pt x="118433" y="3370691"/>
                </a:cubicBezTo>
                <a:cubicBezTo>
                  <a:pt x="112486" y="3370691"/>
                  <a:pt x="107696" y="3365899"/>
                  <a:pt x="107696" y="3359952"/>
                </a:cubicBezTo>
                <a:cubicBezTo>
                  <a:pt x="107696" y="3354006"/>
                  <a:pt x="112486" y="3349216"/>
                  <a:pt x="118433" y="3349216"/>
                </a:cubicBezTo>
                <a:close/>
                <a:moveTo>
                  <a:pt x="819794" y="3345583"/>
                </a:moveTo>
                <a:cubicBezTo>
                  <a:pt x="825740" y="3345583"/>
                  <a:pt x="830530" y="3350373"/>
                  <a:pt x="830530" y="3356319"/>
                </a:cubicBezTo>
                <a:cubicBezTo>
                  <a:pt x="830530" y="3362266"/>
                  <a:pt x="825740" y="3367058"/>
                  <a:pt x="819794" y="3367058"/>
                </a:cubicBezTo>
                <a:cubicBezTo>
                  <a:pt x="813847" y="3367058"/>
                  <a:pt x="809057" y="3362266"/>
                  <a:pt x="809057" y="3356319"/>
                </a:cubicBezTo>
                <a:cubicBezTo>
                  <a:pt x="809057" y="3350373"/>
                  <a:pt x="813847" y="3345583"/>
                  <a:pt x="819794" y="3345583"/>
                </a:cubicBezTo>
                <a:close/>
                <a:moveTo>
                  <a:pt x="241659" y="3337655"/>
                </a:moveTo>
                <a:cubicBezTo>
                  <a:pt x="247605" y="3337655"/>
                  <a:pt x="252397" y="3342444"/>
                  <a:pt x="252397" y="3348391"/>
                </a:cubicBezTo>
                <a:cubicBezTo>
                  <a:pt x="252397" y="3354337"/>
                  <a:pt x="247605" y="3359129"/>
                  <a:pt x="241659" y="3359129"/>
                </a:cubicBezTo>
                <a:cubicBezTo>
                  <a:pt x="235712" y="3359129"/>
                  <a:pt x="230923" y="3354337"/>
                  <a:pt x="230923" y="3348391"/>
                </a:cubicBezTo>
                <a:cubicBezTo>
                  <a:pt x="230923" y="3342444"/>
                  <a:pt x="235712" y="3337655"/>
                  <a:pt x="241659" y="3337655"/>
                </a:cubicBezTo>
                <a:close/>
                <a:moveTo>
                  <a:pt x="106871" y="3335176"/>
                </a:moveTo>
                <a:cubicBezTo>
                  <a:pt x="112818" y="3335176"/>
                  <a:pt x="117607" y="3339966"/>
                  <a:pt x="117607" y="3345912"/>
                </a:cubicBezTo>
                <a:cubicBezTo>
                  <a:pt x="117607" y="3351859"/>
                  <a:pt x="112818" y="3356651"/>
                  <a:pt x="106871" y="3356651"/>
                </a:cubicBezTo>
                <a:cubicBezTo>
                  <a:pt x="100924" y="3356651"/>
                  <a:pt x="96135" y="3351859"/>
                  <a:pt x="96135" y="3345912"/>
                </a:cubicBezTo>
                <a:cubicBezTo>
                  <a:pt x="96135" y="3339966"/>
                  <a:pt x="100924" y="3335176"/>
                  <a:pt x="106871" y="3335176"/>
                </a:cubicBezTo>
                <a:close/>
                <a:moveTo>
                  <a:pt x="723657" y="3329395"/>
                </a:moveTo>
                <a:cubicBezTo>
                  <a:pt x="729604" y="3329395"/>
                  <a:pt x="734394" y="3334184"/>
                  <a:pt x="734394" y="3340131"/>
                </a:cubicBezTo>
                <a:cubicBezTo>
                  <a:pt x="734394" y="3346077"/>
                  <a:pt x="729604" y="3350869"/>
                  <a:pt x="723657" y="3350869"/>
                </a:cubicBezTo>
                <a:cubicBezTo>
                  <a:pt x="717711" y="3350869"/>
                  <a:pt x="712921" y="3346077"/>
                  <a:pt x="712921" y="3340131"/>
                </a:cubicBezTo>
                <a:cubicBezTo>
                  <a:pt x="712921" y="3334184"/>
                  <a:pt x="717711" y="3329395"/>
                  <a:pt x="723657" y="3329395"/>
                </a:cubicBezTo>
                <a:close/>
                <a:moveTo>
                  <a:pt x="210934" y="3322623"/>
                </a:moveTo>
                <a:cubicBezTo>
                  <a:pt x="216881" y="3322623"/>
                  <a:pt x="221672" y="3327412"/>
                  <a:pt x="221672" y="3333359"/>
                </a:cubicBezTo>
                <a:cubicBezTo>
                  <a:pt x="221672" y="3339305"/>
                  <a:pt x="216881" y="3344097"/>
                  <a:pt x="210934" y="3344097"/>
                </a:cubicBezTo>
                <a:cubicBezTo>
                  <a:pt x="204988" y="3344097"/>
                  <a:pt x="200198" y="3339305"/>
                  <a:pt x="200198" y="3333359"/>
                </a:cubicBezTo>
                <a:cubicBezTo>
                  <a:pt x="200198" y="3327412"/>
                  <a:pt x="204988" y="3322623"/>
                  <a:pt x="210934" y="3322623"/>
                </a:cubicBezTo>
                <a:close/>
                <a:moveTo>
                  <a:pt x="637269" y="3313868"/>
                </a:moveTo>
                <a:cubicBezTo>
                  <a:pt x="643215" y="3313868"/>
                  <a:pt x="648005" y="3318658"/>
                  <a:pt x="648005" y="3324605"/>
                </a:cubicBezTo>
                <a:cubicBezTo>
                  <a:pt x="648005" y="3330551"/>
                  <a:pt x="643215" y="3335343"/>
                  <a:pt x="637269" y="3335343"/>
                </a:cubicBezTo>
                <a:cubicBezTo>
                  <a:pt x="631322" y="3335343"/>
                  <a:pt x="626532" y="3330551"/>
                  <a:pt x="626532" y="3324605"/>
                </a:cubicBezTo>
                <a:cubicBezTo>
                  <a:pt x="626532" y="3318658"/>
                  <a:pt x="631322" y="3313868"/>
                  <a:pt x="637269" y="3313868"/>
                </a:cubicBezTo>
                <a:close/>
                <a:moveTo>
                  <a:pt x="184507" y="3308087"/>
                </a:moveTo>
                <a:cubicBezTo>
                  <a:pt x="190454" y="3308087"/>
                  <a:pt x="195243" y="3312876"/>
                  <a:pt x="195243" y="3318823"/>
                </a:cubicBezTo>
                <a:cubicBezTo>
                  <a:pt x="195243" y="3324770"/>
                  <a:pt x="190454" y="3329561"/>
                  <a:pt x="184507" y="3329561"/>
                </a:cubicBezTo>
                <a:cubicBezTo>
                  <a:pt x="178561" y="3329561"/>
                  <a:pt x="173771" y="3324770"/>
                  <a:pt x="173771" y="3318823"/>
                </a:cubicBezTo>
                <a:cubicBezTo>
                  <a:pt x="173771" y="3312876"/>
                  <a:pt x="178561" y="3308087"/>
                  <a:pt x="184507" y="3308087"/>
                </a:cubicBezTo>
                <a:close/>
                <a:moveTo>
                  <a:pt x="2828730" y="3301148"/>
                </a:moveTo>
                <a:cubicBezTo>
                  <a:pt x="2834676" y="3301148"/>
                  <a:pt x="2839466" y="3305938"/>
                  <a:pt x="2839466" y="3311884"/>
                </a:cubicBezTo>
                <a:cubicBezTo>
                  <a:pt x="2839466" y="3317831"/>
                  <a:pt x="2834676" y="3322623"/>
                  <a:pt x="2828730" y="3322623"/>
                </a:cubicBezTo>
                <a:cubicBezTo>
                  <a:pt x="2822783" y="3322623"/>
                  <a:pt x="2817993" y="3317831"/>
                  <a:pt x="2817993" y="3311884"/>
                </a:cubicBezTo>
                <a:cubicBezTo>
                  <a:pt x="2817993" y="3305938"/>
                  <a:pt x="2822783" y="3301148"/>
                  <a:pt x="2828730" y="3301148"/>
                </a:cubicBezTo>
                <a:close/>
                <a:moveTo>
                  <a:pt x="559468" y="3298836"/>
                </a:moveTo>
                <a:cubicBezTo>
                  <a:pt x="565414" y="3298836"/>
                  <a:pt x="570204" y="3303626"/>
                  <a:pt x="570204" y="3309573"/>
                </a:cubicBezTo>
                <a:cubicBezTo>
                  <a:pt x="570204" y="3315519"/>
                  <a:pt x="565414" y="3320311"/>
                  <a:pt x="559468" y="3320311"/>
                </a:cubicBezTo>
                <a:cubicBezTo>
                  <a:pt x="553521" y="3320311"/>
                  <a:pt x="548731" y="3315519"/>
                  <a:pt x="548731" y="3309573"/>
                </a:cubicBezTo>
                <a:cubicBezTo>
                  <a:pt x="548731" y="3303626"/>
                  <a:pt x="553521" y="3298836"/>
                  <a:pt x="559468" y="3298836"/>
                </a:cubicBezTo>
                <a:close/>
                <a:moveTo>
                  <a:pt x="3088063" y="3298671"/>
                </a:moveTo>
                <a:cubicBezTo>
                  <a:pt x="3094010" y="3298671"/>
                  <a:pt x="3098801" y="3303461"/>
                  <a:pt x="3098801" y="3309408"/>
                </a:cubicBezTo>
                <a:cubicBezTo>
                  <a:pt x="3098801" y="3315355"/>
                  <a:pt x="3094010" y="3320146"/>
                  <a:pt x="3088063" y="3320146"/>
                </a:cubicBezTo>
                <a:cubicBezTo>
                  <a:pt x="3082117" y="3320146"/>
                  <a:pt x="3077327" y="3315355"/>
                  <a:pt x="3077327" y="3309408"/>
                </a:cubicBezTo>
                <a:cubicBezTo>
                  <a:pt x="3077327" y="3303461"/>
                  <a:pt x="3082117" y="3298671"/>
                  <a:pt x="3088063" y="3298671"/>
                </a:cubicBezTo>
                <a:close/>
                <a:moveTo>
                  <a:pt x="2573027" y="3294872"/>
                </a:moveTo>
                <a:cubicBezTo>
                  <a:pt x="2578974" y="3294872"/>
                  <a:pt x="2583765" y="3299662"/>
                  <a:pt x="2583765" y="3305608"/>
                </a:cubicBezTo>
                <a:cubicBezTo>
                  <a:pt x="2583765" y="3311555"/>
                  <a:pt x="2578974" y="3316345"/>
                  <a:pt x="2573027" y="3316345"/>
                </a:cubicBezTo>
                <a:cubicBezTo>
                  <a:pt x="2567080" y="3316345"/>
                  <a:pt x="2562291" y="3311555"/>
                  <a:pt x="2562291" y="3305608"/>
                </a:cubicBezTo>
                <a:cubicBezTo>
                  <a:pt x="2562291" y="3299662"/>
                  <a:pt x="2567080" y="3294872"/>
                  <a:pt x="2573027" y="3294872"/>
                </a:cubicBezTo>
                <a:close/>
                <a:moveTo>
                  <a:pt x="161711" y="3294376"/>
                </a:moveTo>
                <a:cubicBezTo>
                  <a:pt x="167658" y="3294376"/>
                  <a:pt x="172448" y="3299166"/>
                  <a:pt x="172448" y="3305113"/>
                </a:cubicBezTo>
                <a:cubicBezTo>
                  <a:pt x="172448" y="3311059"/>
                  <a:pt x="167658" y="3315851"/>
                  <a:pt x="161711" y="3315851"/>
                </a:cubicBezTo>
                <a:cubicBezTo>
                  <a:pt x="155765" y="3315851"/>
                  <a:pt x="150975" y="3311059"/>
                  <a:pt x="150975" y="3305113"/>
                </a:cubicBezTo>
                <a:cubicBezTo>
                  <a:pt x="150975" y="3299166"/>
                  <a:pt x="155765" y="3294376"/>
                  <a:pt x="161711" y="3294376"/>
                </a:cubicBezTo>
                <a:close/>
                <a:moveTo>
                  <a:pt x="3336660" y="3289421"/>
                </a:moveTo>
                <a:cubicBezTo>
                  <a:pt x="3342607" y="3289421"/>
                  <a:pt x="3347397" y="3294211"/>
                  <a:pt x="3347397" y="3300158"/>
                </a:cubicBezTo>
                <a:cubicBezTo>
                  <a:pt x="3347397" y="3306104"/>
                  <a:pt x="3342607" y="3310894"/>
                  <a:pt x="3336660" y="3310894"/>
                </a:cubicBezTo>
                <a:cubicBezTo>
                  <a:pt x="3330714" y="3310894"/>
                  <a:pt x="3325924" y="3306104"/>
                  <a:pt x="3325924" y="3300158"/>
                </a:cubicBezTo>
                <a:cubicBezTo>
                  <a:pt x="3325924" y="3294211"/>
                  <a:pt x="3330714" y="3289421"/>
                  <a:pt x="3336660" y="3289421"/>
                </a:cubicBezTo>
                <a:close/>
                <a:moveTo>
                  <a:pt x="27254" y="3289421"/>
                </a:moveTo>
                <a:cubicBezTo>
                  <a:pt x="27584" y="3289421"/>
                  <a:pt x="27749" y="3289586"/>
                  <a:pt x="27749" y="3289918"/>
                </a:cubicBezTo>
                <a:cubicBezTo>
                  <a:pt x="27749" y="3290247"/>
                  <a:pt x="27254" y="3290412"/>
                  <a:pt x="27254" y="3290412"/>
                </a:cubicBezTo>
                <a:cubicBezTo>
                  <a:pt x="26923" y="3290412"/>
                  <a:pt x="26759" y="3290247"/>
                  <a:pt x="26759" y="3289918"/>
                </a:cubicBezTo>
                <a:cubicBezTo>
                  <a:pt x="26759" y="3289586"/>
                  <a:pt x="26923" y="3289421"/>
                  <a:pt x="27254" y="3289421"/>
                </a:cubicBezTo>
                <a:close/>
                <a:moveTo>
                  <a:pt x="36173" y="3287604"/>
                </a:moveTo>
                <a:cubicBezTo>
                  <a:pt x="42120" y="3287604"/>
                  <a:pt x="46911" y="3292394"/>
                  <a:pt x="46911" y="3298341"/>
                </a:cubicBezTo>
                <a:lnTo>
                  <a:pt x="46497" y="3298755"/>
                </a:lnTo>
                <a:lnTo>
                  <a:pt x="55005" y="3307259"/>
                </a:lnTo>
                <a:lnTo>
                  <a:pt x="53847" y="3308418"/>
                </a:lnTo>
                <a:lnTo>
                  <a:pt x="62273" y="3316841"/>
                </a:lnTo>
                <a:lnTo>
                  <a:pt x="60620" y="3318493"/>
                </a:lnTo>
                <a:lnTo>
                  <a:pt x="69045" y="3326916"/>
                </a:lnTo>
                <a:lnTo>
                  <a:pt x="66898" y="3329065"/>
                </a:lnTo>
                <a:lnTo>
                  <a:pt x="75487" y="3337653"/>
                </a:lnTo>
                <a:lnTo>
                  <a:pt x="73008" y="3340132"/>
                </a:lnTo>
                <a:lnTo>
                  <a:pt x="81763" y="3348887"/>
                </a:lnTo>
                <a:lnTo>
                  <a:pt x="78791" y="3351861"/>
                </a:lnTo>
                <a:lnTo>
                  <a:pt x="87876" y="3360945"/>
                </a:lnTo>
                <a:lnTo>
                  <a:pt x="84738" y="3364084"/>
                </a:lnTo>
                <a:lnTo>
                  <a:pt x="94319" y="3373663"/>
                </a:lnTo>
                <a:lnTo>
                  <a:pt x="91097" y="3376885"/>
                </a:lnTo>
                <a:lnTo>
                  <a:pt x="101256" y="3387042"/>
                </a:lnTo>
                <a:cubicBezTo>
                  <a:pt x="101256" y="3392989"/>
                  <a:pt x="96464" y="3397780"/>
                  <a:pt x="90518" y="3397780"/>
                </a:cubicBezTo>
                <a:cubicBezTo>
                  <a:pt x="84571" y="3397780"/>
                  <a:pt x="79781" y="3392989"/>
                  <a:pt x="79781" y="3387042"/>
                </a:cubicBezTo>
                <a:lnTo>
                  <a:pt x="83002" y="3383822"/>
                </a:lnTo>
                <a:lnTo>
                  <a:pt x="72845" y="3373663"/>
                </a:lnTo>
                <a:lnTo>
                  <a:pt x="75982" y="3370526"/>
                </a:lnTo>
                <a:lnTo>
                  <a:pt x="66402" y="3360945"/>
                </a:lnTo>
                <a:lnTo>
                  <a:pt x="69374" y="3357972"/>
                </a:lnTo>
                <a:lnTo>
                  <a:pt x="60291" y="3348887"/>
                </a:lnTo>
                <a:lnTo>
                  <a:pt x="62767" y="3346410"/>
                </a:lnTo>
                <a:lnTo>
                  <a:pt x="54013" y="3337653"/>
                </a:lnTo>
                <a:lnTo>
                  <a:pt x="56160" y="3335506"/>
                </a:lnTo>
                <a:lnTo>
                  <a:pt x="47572" y="3326916"/>
                </a:lnTo>
                <a:lnTo>
                  <a:pt x="49221" y="3325267"/>
                </a:lnTo>
                <a:lnTo>
                  <a:pt x="40798" y="3316841"/>
                </a:lnTo>
                <a:lnTo>
                  <a:pt x="41953" y="3315686"/>
                </a:lnTo>
                <a:lnTo>
                  <a:pt x="33531" y="3307259"/>
                </a:lnTo>
                <a:lnTo>
                  <a:pt x="33942" y="3306848"/>
                </a:lnTo>
                <a:lnTo>
                  <a:pt x="25437" y="3298341"/>
                </a:lnTo>
                <a:cubicBezTo>
                  <a:pt x="25437" y="3292394"/>
                  <a:pt x="30227" y="3287604"/>
                  <a:pt x="36173" y="3287604"/>
                </a:cubicBezTo>
                <a:close/>
                <a:moveTo>
                  <a:pt x="490092" y="3284300"/>
                </a:moveTo>
                <a:cubicBezTo>
                  <a:pt x="496023" y="3284300"/>
                  <a:pt x="500828" y="3289108"/>
                  <a:pt x="500828" y="3295037"/>
                </a:cubicBezTo>
                <a:cubicBezTo>
                  <a:pt x="500828" y="3300968"/>
                  <a:pt x="496023" y="3305773"/>
                  <a:pt x="490092" y="3305773"/>
                </a:cubicBezTo>
                <a:cubicBezTo>
                  <a:pt x="484162" y="3305773"/>
                  <a:pt x="479355" y="3300968"/>
                  <a:pt x="479355" y="3295037"/>
                </a:cubicBezTo>
                <a:cubicBezTo>
                  <a:pt x="479355" y="3289108"/>
                  <a:pt x="484162" y="3284300"/>
                  <a:pt x="490092" y="3284300"/>
                </a:cubicBezTo>
                <a:close/>
                <a:moveTo>
                  <a:pt x="2332029" y="3284136"/>
                </a:moveTo>
                <a:cubicBezTo>
                  <a:pt x="2337975" y="3284136"/>
                  <a:pt x="2342767" y="3288926"/>
                  <a:pt x="2342767" y="3294872"/>
                </a:cubicBezTo>
                <a:cubicBezTo>
                  <a:pt x="2342767" y="3300818"/>
                  <a:pt x="2337975" y="3305610"/>
                  <a:pt x="2332029" y="3305610"/>
                </a:cubicBezTo>
                <a:cubicBezTo>
                  <a:pt x="2326082" y="3305610"/>
                  <a:pt x="2321292" y="3300818"/>
                  <a:pt x="2321292" y="3294872"/>
                </a:cubicBezTo>
                <a:cubicBezTo>
                  <a:pt x="2321292" y="3288926"/>
                  <a:pt x="2326082" y="3284136"/>
                  <a:pt x="2332029" y="3284136"/>
                </a:cubicBezTo>
                <a:close/>
                <a:moveTo>
                  <a:pt x="142221" y="3281162"/>
                </a:moveTo>
                <a:cubicBezTo>
                  <a:pt x="148167" y="3281162"/>
                  <a:pt x="152959" y="3285951"/>
                  <a:pt x="152959" y="3291898"/>
                </a:cubicBezTo>
                <a:cubicBezTo>
                  <a:pt x="152959" y="3297844"/>
                  <a:pt x="148167" y="3302634"/>
                  <a:pt x="142221" y="3302634"/>
                </a:cubicBezTo>
                <a:cubicBezTo>
                  <a:pt x="136274" y="3302634"/>
                  <a:pt x="131484" y="3297844"/>
                  <a:pt x="131484" y="3291898"/>
                </a:cubicBezTo>
                <a:cubicBezTo>
                  <a:pt x="131484" y="3285951"/>
                  <a:pt x="136274" y="3281162"/>
                  <a:pt x="142221" y="3281162"/>
                </a:cubicBezTo>
                <a:close/>
                <a:moveTo>
                  <a:pt x="2107876" y="3271582"/>
                </a:moveTo>
                <a:cubicBezTo>
                  <a:pt x="2113823" y="3271582"/>
                  <a:pt x="2118613" y="3276372"/>
                  <a:pt x="2118613" y="3282318"/>
                </a:cubicBezTo>
                <a:cubicBezTo>
                  <a:pt x="2118613" y="3288265"/>
                  <a:pt x="2113823" y="3293056"/>
                  <a:pt x="2107876" y="3293056"/>
                </a:cubicBezTo>
                <a:cubicBezTo>
                  <a:pt x="2101930" y="3293056"/>
                  <a:pt x="2097140" y="3288265"/>
                  <a:pt x="2097140" y="3282318"/>
                </a:cubicBezTo>
                <a:cubicBezTo>
                  <a:pt x="2097140" y="3276372"/>
                  <a:pt x="2101930" y="3271582"/>
                  <a:pt x="2107876" y="3271582"/>
                </a:cubicBezTo>
                <a:close/>
                <a:moveTo>
                  <a:pt x="428148" y="3270425"/>
                </a:moveTo>
                <a:cubicBezTo>
                  <a:pt x="434095" y="3270425"/>
                  <a:pt x="438885" y="3275215"/>
                  <a:pt x="438885" y="3281162"/>
                </a:cubicBezTo>
                <a:cubicBezTo>
                  <a:pt x="438885" y="3287108"/>
                  <a:pt x="434095" y="3291900"/>
                  <a:pt x="428148" y="3291900"/>
                </a:cubicBezTo>
                <a:cubicBezTo>
                  <a:pt x="422202" y="3291900"/>
                  <a:pt x="417412" y="3287108"/>
                  <a:pt x="417412" y="3281162"/>
                </a:cubicBezTo>
                <a:cubicBezTo>
                  <a:pt x="417412" y="3275215"/>
                  <a:pt x="422202" y="3270425"/>
                  <a:pt x="428148" y="3270425"/>
                </a:cubicBezTo>
                <a:close/>
                <a:moveTo>
                  <a:pt x="125703" y="3268608"/>
                </a:moveTo>
                <a:cubicBezTo>
                  <a:pt x="131649" y="3268608"/>
                  <a:pt x="136441" y="3273397"/>
                  <a:pt x="136441" y="3279344"/>
                </a:cubicBezTo>
                <a:cubicBezTo>
                  <a:pt x="136441" y="3285291"/>
                  <a:pt x="131649" y="3290082"/>
                  <a:pt x="125703" y="3290082"/>
                </a:cubicBezTo>
                <a:cubicBezTo>
                  <a:pt x="119756" y="3290082"/>
                  <a:pt x="114966" y="3285291"/>
                  <a:pt x="114966" y="3279344"/>
                </a:cubicBezTo>
                <a:cubicBezTo>
                  <a:pt x="114966" y="3273397"/>
                  <a:pt x="119756" y="3268608"/>
                  <a:pt x="125703" y="3268608"/>
                </a:cubicBezTo>
                <a:close/>
                <a:moveTo>
                  <a:pt x="1900905" y="3258862"/>
                </a:moveTo>
                <a:cubicBezTo>
                  <a:pt x="1906851" y="3258862"/>
                  <a:pt x="1911643" y="3263652"/>
                  <a:pt x="1911643" y="3269598"/>
                </a:cubicBezTo>
                <a:cubicBezTo>
                  <a:pt x="1911643" y="3275545"/>
                  <a:pt x="1906851" y="3280336"/>
                  <a:pt x="1900905" y="3280336"/>
                </a:cubicBezTo>
                <a:cubicBezTo>
                  <a:pt x="1894958" y="3280336"/>
                  <a:pt x="1890168" y="3275545"/>
                  <a:pt x="1890168" y="3269598"/>
                </a:cubicBezTo>
                <a:cubicBezTo>
                  <a:pt x="1890168" y="3263652"/>
                  <a:pt x="1894958" y="3258862"/>
                  <a:pt x="1900905" y="3258862"/>
                </a:cubicBezTo>
                <a:close/>
                <a:moveTo>
                  <a:pt x="373308" y="3257046"/>
                </a:moveTo>
                <a:cubicBezTo>
                  <a:pt x="379255" y="3257046"/>
                  <a:pt x="384044" y="3261836"/>
                  <a:pt x="384044" y="3267782"/>
                </a:cubicBezTo>
                <a:cubicBezTo>
                  <a:pt x="384044" y="3273729"/>
                  <a:pt x="379255" y="3278520"/>
                  <a:pt x="373308" y="3278520"/>
                </a:cubicBezTo>
                <a:cubicBezTo>
                  <a:pt x="367362" y="3278520"/>
                  <a:pt x="362572" y="3273729"/>
                  <a:pt x="362572" y="3267782"/>
                </a:cubicBezTo>
                <a:cubicBezTo>
                  <a:pt x="362572" y="3261836"/>
                  <a:pt x="367362" y="3257046"/>
                  <a:pt x="373308" y="3257046"/>
                </a:cubicBezTo>
                <a:close/>
                <a:moveTo>
                  <a:pt x="111661" y="3256715"/>
                </a:moveTo>
                <a:cubicBezTo>
                  <a:pt x="117607" y="3256715"/>
                  <a:pt x="122397" y="3261505"/>
                  <a:pt x="122397" y="3267451"/>
                </a:cubicBezTo>
                <a:cubicBezTo>
                  <a:pt x="122397" y="3273397"/>
                  <a:pt x="117607" y="3278189"/>
                  <a:pt x="111661" y="3278189"/>
                </a:cubicBezTo>
                <a:cubicBezTo>
                  <a:pt x="105714" y="3278189"/>
                  <a:pt x="100924" y="3273397"/>
                  <a:pt x="100924" y="3267451"/>
                </a:cubicBezTo>
                <a:cubicBezTo>
                  <a:pt x="100924" y="3261505"/>
                  <a:pt x="105714" y="3256715"/>
                  <a:pt x="111661" y="3256715"/>
                </a:cubicBezTo>
                <a:close/>
                <a:moveTo>
                  <a:pt x="1709955" y="3245978"/>
                </a:moveTo>
                <a:cubicBezTo>
                  <a:pt x="1715902" y="3245978"/>
                  <a:pt x="1720692" y="3250768"/>
                  <a:pt x="1720692" y="3256715"/>
                </a:cubicBezTo>
                <a:cubicBezTo>
                  <a:pt x="1720692" y="3262661"/>
                  <a:pt x="1715902" y="3267453"/>
                  <a:pt x="1709955" y="3267453"/>
                </a:cubicBezTo>
                <a:cubicBezTo>
                  <a:pt x="1704009" y="3267453"/>
                  <a:pt x="1699219" y="3262661"/>
                  <a:pt x="1699219" y="3256715"/>
                </a:cubicBezTo>
                <a:cubicBezTo>
                  <a:pt x="1699219" y="3250768"/>
                  <a:pt x="1704009" y="3245978"/>
                  <a:pt x="1709955" y="3245978"/>
                </a:cubicBezTo>
                <a:close/>
                <a:moveTo>
                  <a:pt x="324910" y="3244326"/>
                </a:moveTo>
                <a:cubicBezTo>
                  <a:pt x="330857" y="3244326"/>
                  <a:pt x="335647" y="3249116"/>
                  <a:pt x="335647" y="3255062"/>
                </a:cubicBezTo>
                <a:cubicBezTo>
                  <a:pt x="335647" y="3261009"/>
                  <a:pt x="330857" y="3265800"/>
                  <a:pt x="324910" y="3265800"/>
                </a:cubicBezTo>
                <a:cubicBezTo>
                  <a:pt x="318964" y="3265800"/>
                  <a:pt x="314174" y="3261009"/>
                  <a:pt x="314174" y="3255062"/>
                </a:cubicBezTo>
                <a:cubicBezTo>
                  <a:pt x="314174" y="3249116"/>
                  <a:pt x="318964" y="3244326"/>
                  <a:pt x="324910" y="3244326"/>
                </a:cubicBezTo>
                <a:close/>
                <a:moveTo>
                  <a:pt x="1534367" y="3233589"/>
                </a:moveTo>
                <a:cubicBezTo>
                  <a:pt x="1540314" y="3233589"/>
                  <a:pt x="1545105" y="3238379"/>
                  <a:pt x="1545105" y="3244326"/>
                </a:cubicBezTo>
                <a:cubicBezTo>
                  <a:pt x="1545105" y="3250272"/>
                  <a:pt x="1540314" y="3255064"/>
                  <a:pt x="1534367" y="3255064"/>
                </a:cubicBezTo>
                <a:cubicBezTo>
                  <a:pt x="1528420" y="3255064"/>
                  <a:pt x="1523631" y="3250272"/>
                  <a:pt x="1523631" y="3244326"/>
                </a:cubicBezTo>
                <a:cubicBezTo>
                  <a:pt x="1523631" y="3238379"/>
                  <a:pt x="1528420" y="3233589"/>
                  <a:pt x="1534367" y="3233589"/>
                </a:cubicBezTo>
                <a:close/>
                <a:moveTo>
                  <a:pt x="282294" y="3231938"/>
                </a:moveTo>
                <a:cubicBezTo>
                  <a:pt x="288241" y="3231938"/>
                  <a:pt x="293031" y="3236728"/>
                  <a:pt x="293031" y="3242675"/>
                </a:cubicBezTo>
                <a:cubicBezTo>
                  <a:pt x="293031" y="3248621"/>
                  <a:pt x="288241" y="3253413"/>
                  <a:pt x="282294" y="3253413"/>
                </a:cubicBezTo>
                <a:cubicBezTo>
                  <a:pt x="276348" y="3253413"/>
                  <a:pt x="271558" y="3248621"/>
                  <a:pt x="271558" y="3242675"/>
                </a:cubicBezTo>
                <a:cubicBezTo>
                  <a:pt x="271558" y="3236728"/>
                  <a:pt x="276348" y="3231938"/>
                  <a:pt x="282294" y="3231938"/>
                </a:cubicBezTo>
                <a:close/>
                <a:moveTo>
                  <a:pt x="1373316" y="3221367"/>
                </a:moveTo>
                <a:cubicBezTo>
                  <a:pt x="1379263" y="3221367"/>
                  <a:pt x="1384055" y="3226156"/>
                  <a:pt x="1384055" y="3232103"/>
                </a:cubicBezTo>
                <a:cubicBezTo>
                  <a:pt x="1384055" y="3238050"/>
                  <a:pt x="1379263" y="3242841"/>
                  <a:pt x="1373316" y="3242841"/>
                </a:cubicBezTo>
                <a:cubicBezTo>
                  <a:pt x="1367370" y="3242841"/>
                  <a:pt x="1362580" y="3238050"/>
                  <a:pt x="1362580" y="3232103"/>
                </a:cubicBezTo>
                <a:cubicBezTo>
                  <a:pt x="1362580" y="3226156"/>
                  <a:pt x="1367370" y="3221367"/>
                  <a:pt x="1373316" y="3221367"/>
                </a:cubicBezTo>
                <a:close/>
                <a:moveTo>
                  <a:pt x="245127" y="3220210"/>
                </a:moveTo>
                <a:cubicBezTo>
                  <a:pt x="251074" y="3220210"/>
                  <a:pt x="255865" y="3225000"/>
                  <a:pt x="255865" y="3230946"/>
                </a:cubicBezTo>
                <a:cubicBezTo>
                  <a:pt x="255865" y="3236893"/>
                  <a:pt x="251074" y="3241685"/>
                  <a:pt x="245127" y="3241685"/>
                </a:cubicBezTo>
                <a:cubicBezTo>
                  <a:pt x="239181" y="3241685"/>
                  <a:pt x="234391" y="3236893"/>
                  <a:pt x="234391" y="3230946"/>
                </a:cubicBezTo>
                <a:cubicBezTo>
                  <a:pt x="234391" y="3225000"/>
                  <a:pt x="239181" y="3220210"/>
                  <a:pt x="245127" y="3220210"/>
                </a:cubicBezTo>
                <a:close/>
                <a:moveTo>
                  <a:pt x="24117" y="3217899"/>
                </a:moveTo>
                <a:lnTo>
                  <a:pt x="29731" y="3223516"/>
                </a:lnTo>
                <a:lnTo>
                  <a:pt x="32044" y="3221202"/>
                </a:lnTo>
                <a:cubicBezTo>
                  <a:pt x="37991" y="3221202"/>
                  <a:pt x="42782" y="3225992"/>
                  <a:pt x="42782" y="3231938"/>
                </a:cubicBezTo>
                <a:lnTo>
                  <a:pt x="42534" y="3232186"/>
                </a:lnTo>
                <a:lnTo>
                  <a:pt x="50050" y="3239700"/>
                </a:lnTo>
                <a:lnTo>
                  <a:pt x="49221" y="3240530"/>
                </a:lnTo>
                <a:lnTo>
                  <a:pt x="56491" y="3247796"/>
                </a:lnTo>
                <a:lnTo>
                  <a:pt x="55170" y="3249117"/>
                </a:lnTo>
                <a:lnTo>
                  <a:pt x="62439" y="3256383"/>
                </a:lnTo>
                <a:lnTo>
                  <a:pt x="60785" y="3258038"/>
                </a:lnTo>
                <a:lnTo>
                  <a:pt x="68219" y="3265469"/>
                </a:lnTo>
                <a:lnTo>
                  <a:pt x="66154" y="3267534"/>
                </a:lnTo>
                <a:lnTo>
                  <a:pt x="73835" y="3275215"/>
                </a:lnTo>
                <a:lnTo>
                  <a:pt x="71521" y="3277529"/>
                </a:lnTo>
                <a:lnTo>
                  <a:pt x="79452" y="3285457"/>
                </a:lnTo>
                <a:lnTo>
                  <a:pt x="77057" y="3287852"/>
                </a:lnTo>
                <a:lnTo>
                  <a:pt x="85563" y="3296358"/>
                </a:lnTo>
                <a:lnTo>
                  <a:pt x="83085" y="3298836"/>
                </a:lnTo>
                <a:lnTo>
                  <a:pt x="92006" y="3307755"/>
                </a:lnTo>
                <a:lnTo>
                  <a:pt x="89690" y="3310071"/>
                </a:lnTo>
                <a:lnTo>
                  <a:pt x="99438" y="3319815"/>
                </a:lnTo>
                <a:lnTo>
                  <a:pt x="97290" y="3321964"/>
                </a:lnTo>
                <a:lnTo>
                  <a:pt x="107863" y="3332533"/>
                </a:lnTo>
                <a:cubicBezTo>
                  <a:pt x="107863" y="3338480"/>
                  <a:pt x="103071" y="3343272"/>
                  <a:pt x="97125" y="3343272"/>
                </a:cubicBezTo>
                <a:cubicBezTo>
                  <a:pt x="91178" y="3343272"/>
                  <a:pt x="86389" y="3338480"/>
                  <a:pt x="86389" y="3332533"/>
                </a:cubicBezTo>
                <a:lnTo>
                  <a:pt x="88535" y="3330387"/>
                </a:lnTo>
                <a:lnTo>
                  <a:pt x="77964" y="3319815"/>
                </a:lnTo>
                <a:lnTo>
                  <a:pt x="80276" y="3317503"/>
                </a:lnTo>
                <a:lnTo>
                  <a:pt x="70531" y="3307755"/>
                </a:lnTo>
                <a:lnTo>
                  <a:pt x="73008" y="3305279"/>
                </a:lnTo>
                <a:lnTo>
                  <a:pt x="64090" y="3296358"/>
                </a:lnTo>
                <a:lnTo>
                  <a:pt x="66484" y="3293965"/>
                </a:lnTo>
                <a:lnTo>
                  <a:pt x="57977" y="3285457"/>
                </a:lnTo>
                <a:lnTo>
                  <a:pt x="60289" y="3283146"/>
                </a:lnTo>
                <a:lnTo>
                  <a:pt x="52362" y="3275215"/>
                </a:lnTo>
                <a:lnTo>
                  <a:pt x="54426" y="3273151"/>
                </a:lnTo>
                <a:lnTo>
                  <a:pt x="46745" y="3265469"/>
                </a:lnTo>
                <a:lnTo>
                  <a:pt x="48396" y="3263818"/>
                </a:lnTo>
                <a:lnTo>
                  <a:pt x="40965" y="3256383"/>
                </a:lnTo>
                <a:lnTo>
                  <a:pt x="42285" y="3255064"/>
                </a:lnTo>
                <a:lnTo>
                  <a:pt x="35017" y="3247796"/>
                </a:lnTo>
                <a:lnTo>
                  <a:pt x="35842" y="3246970"/>
                </a:lnTo>
                <a:lnTo>
                  <a:pt x="28576" y="3239700"/>
                </a:lnTo>
                <a:lnTo>
                  <a:pt x="28822" y="3239454"/>
                </a:lnTo>
                <a:lnTo>
                  <a:pt x="21308" y="3231938"/>
                </a:lnTo>
                <a:lnTo>
                  <a:pt x="22794" y="3230452"/>
                </a:lnTo>
                <a:lnTo>
                  <a:pt x="17179" y="3224837"/>
                </a:lnTo>
                <a:cubicBezTo>
                  <a:pt x="17179" y="3221004"/>
                  <a:pt x="20285" y="3217899"/>
                  <a:pt x="24117" y="3217899"/>
                </a:cubicBezTo>
                <a:close/>
                <a:moveTo>
                  <a:pt x="1225975" y="3209474"/>
                </a:moveTo>
                <a:cubicBezTo>
                  <a:pt x="1231921" y="3209474"/>
                  <a:pt x="1236713" y="3214264"/>
                  <a:pt x="1236713" y="3220210"/>
                </a:cubicBezTo>
                <a:cubicBezTo>
                  <a:pt x="1236713" y="3226156"/>
                  <a:pt x="1231921" y="3230948"/>
                  <a:pt x="1225975" y="3230948"/>
                </a:cubicBezTo>
                <a:cubicBezTo>
                  <a:pt x="1220028" y="3230948"/>
                  <a:pt x="1215238" y="3226156"/>
                  <a:pt x="1215238" y="3220210"/>
                </a:cubicBezTo>
                <a:cubicBezTo>
                  <a:pt x="1215238" y="3214264"/>
                  <a:pt x="1220028" y="3209474"/>
                  <a:pt x="1225975" y="3209474"/>
                </a:cubicBezTo>
                <a:close/>
                <a:moveTo>
                  <a:pt x="212752" y="3208978"/>
                </a:moveTo>
                <a:cubicBezTo>
                  <a:pt x="218698" y="3208978"/>
                  <a:pt x="223490" y="3213768"/>
                  <a:pt x="223490" y="3219714"/>
                </a:cubicBezTo>
                <a:cubicBezTo>
                  <a:pt x="223490" y="3225661"/>
                  <a:pt x="218698" y="3230452"/>
                  <a:pt x="212752" y="3230452"/>
                </a:cubicBezTo>
                <a:cubicBezTo>
                  <a:pt x="206805" y="3230452"/>
                  <a:pt x="202015" y="3225661"/>
                  <a:pt x="202015" y="3219714"/>
                </a:cubicBezTo>
                <a:cubicBezTo>
                  <a:pt x="202015" y="3213768"/>
                  <a:pt x="206805" y="3208978"/>
                  <a:pt x="212752" y="3208978"/>
                </a:cubicBezTo>
                <a:close/>
                <a:moveTo>
                  <a:pt x="184837" y="3198242"/>
                </a:moveTo>
                <a:cubicBezTo>
                  <a:pt x="190783" y="3198242"/>
                  <a:pt x="195575" y="3203031"/>
                  <a:pt x="195575" y="3208978"/>
                </a:cubicBezTo>
                <a:cubicBezTo>
                  <a:pt x="195575" y="3214924"/>
                  <a:pt x="190783" y="3219716"/>
                  <a:pt x="184837" y="3219716"/>
                </a:cubicBezTo>
                <a:cubicBezTo>
                  <a:pt x="178890" y="3219716"/>
                  <a:pt x="174100" y="3214924"/>
                  <a:pt x="174100" y="3208978"/>
                </a:cubicBezTo>
                <a:cubicBezTo>
                  <a:pt x="174100" y="3203031"/>
                  <a:pt x="178890" y="3198242"/>
                  <a:pt x="184837" y="3198242"/>
                </a:cubicBezTo>
                <a:close/>
                <a:moveTo>
                  <a:pt x="1091516" y="3197910"/>
                </a:moveTo>
                <a:cubicBezTo>
                  <a:pt x="1097463" y="3197910"/>
                  <a:pt x="1102254" y="3202700"/>
                  <a:pt x="1102254" y="3208647"/>
                </a:cubicBezTo>
                <a:cubicBezTo>
                  <a:pt x="1102254" y="3214593"/>
                  <a:pt x="1097463" y="3219385"/>
                  <a:pt x="1091516" y="3219385"/>
                </a:cubicBezTo>
                <a:cubicBezTo>
                  <a:pt x="1085570" y="3219385"/>
                  <a:pt x="1080780" y="3214593"/>
                  <a:pt x="1080780" y="3208647"/>
                </a:cubicBezTo>
                <a:cubicBezTo>
                  <a:pt x="1080780" y="3202700"/>
                  <a:pt x="1085570" y="3197910"/>
                  <a:pt x="1091516" y="3197910"/>
                </a:cubicBezTo>
                <a:close/>
                <a:moveTo>
                  <a:pt x="160719" y="3187999"/>
                </a:moveTo>
                <a:cubicBezTo>
                  <a:pt x="166666" y="3187999"/>
                  <a:pt x="171457" y="3192789"/>
                  <a:pt x="171457" y="3198736"/>
                </a:cubicBezTo>
                <a:cubicBezTo>
                  <a:pt x="171457" y="3204682"/>
                  <a:pt x="166666" y="3209472"/>
                  <a:pt x="160719" y="3209472"/>
                </a:cubicBezTo>
                <a:cubicBezTo>
                  <a:pt x="154773" y="3209472"/>
                  <a:pt x="149983" y="3204682"/>
                  <a:pt x="149983" y="3198736"/>
                </a:cubicBezTo>
                <a:cubicBezTo>
                  <a:pt x="149983" y="3192789"/>
                  <a:pt x="154773" y="3187999"/>
                  <a:pt x="160719" y="3187999"/>
                </a:cubicBezTo>
                <a:close/>
                <a:moveTo>
                  <a:pt x="969117" y="3186842"/>
                </a:moveTo>
                <a:cubicBezTo>
                  <a:pt x="975064" y="3186842"/>
                  <a:pt x="979854" y="3191633"/>
                  <a:pt x="979854" y="3197579"/>
                </a:cubicBezTo>
                <a:cubicBezTo>
                  <a:pt x="979854" y="3203525"/>
                  <a:pt x="975064" y="3208317"/>
                  <a:pt x="969117" y="3208317"/>
                </a:cubicBezTo>
                <a:cubicBezTo>
                  <a:pt x="963171" y="3208317"/>
                  <a:pt x="958381" y="3203525"/>
                  <a:pt x="958381" y="3197579"/>
                </a:cubicBezTo>
                <a:cubicBezTo>
                  <a:pt x="958381" y="3191633"/>
                  <a:pt x="963171" y="3186842"/>
                  <a:pt x="969117" y="3186842"/>
                </a:cubicBezTo>
                <a:close/>
                <a:moveTo>
                  <a:pt x="140238" y="3178253"/>
                </a:moveTo>
                <a:cubicBezTo>
                  <a:pt x="146185" y="3178253"/>
                  <a:pt x="150977" y="3183043"/>
                  <a:pt x="150977" y="3188990"/>
                </a:cubicBezTo>
                <a:cubicBezTo>
                  <a:pt x="150977" y="3194936"/>
                  <a:pt x="146185" y="3199728"/>
                  <a:pt x="140238" y="3199728"/>
                </a:cubicBezTo>
                <a:cubicBezTo>
                  <a:pt x="134292" y="3199728"/>
                  <a:pt x="129502" y="3194936"/>
                  <a:pt x="129502" y="3188990"/>
                </a:cubicBezTo>
                <a:cubicBezTo>
                  <a:pt x="129502" y="3183043"/>
                  <a:pt x="134292" y="3178253"/>
                  <a:pt x="140238" y="3178253"/>
                </a:cubicBezTo>
                <a:close/>
                <a:moveTo>
                  <a:pt x="857951" y="3176271"/>
                </a:moveTo>
                <a:cubicBezTo>
                  <a:pt x="863897" y="3176271"/>
                  <a:pt x="868687" y="3181061"/>
                  <a:pt x="868687" y="3187007"/>
                </a:cubicBezTo>
                <a:cubicBezTo>
                  <a:pt x="868687" y="3192954"/>
                  <a:pt x="863897" y="3197745"/>
                  <a:pt x="857951" y="3197745"/>
                </a:cubicBezTo>
                <a:cubicBezTo>
                  <a:pt x="852004" y="3197745"/>
                  <a:pt x="847214" y="3192954"/>
                  <a:pt x="847214" y="3187007"/>
                </a:cubicBezTo>
                <a:cubicBezTo>
                  <a:pt x="847214" y="3181061"/>
                  <a:pt x="852004" y="3176271"/>
                  <a:pt x="857951" y="3176271"/>
                </a:cubicBezTo>
                <a:close/>
                <a:moveTo>
                  <a:pt x="122893" y="3168838"/>
                </a:moveTo>
                <a:cubicBezTo>
                  <a:pt x="128840" y="3168838"/>
                  <a:pt x="133631" y="3173628"/>
                  <a:pt x="133631" y="3179575"/>
                </a:cubicBezTo>
                <a:cubicBezTo>
                  <a:pt x="133631" y="3185521"/>
                  <a:pt x="128840" y="3190313"/>
                  <a:pt x="122893" y="3190313"/>
                </a:cubicBezTo>
                <a:cubicBezTo>
                  <a:pt x="116947" y="3190313"/>
                  <a:pt x="112157" y="3185521"/>
                  <a:pt x="112157" y="3179575"/>
                </a:cubicBezTo>
                <a:cubicBezTo>
                  <a:pt x="112157" y="3173628"/>
                  <a:pt x="116947" y="3168838"/>
                  <a:pt x="122893" y="3168838"/>
                </a:cubicBezTo>
                <a:close/>
                <a:moveTo>
                  <a:pt x="757356" y="3166031"/>
                </a:moveTo>
                <a:cubicBezTo>
                  <a:pt x="763302" y="3166031"/>
                  <a:pt x="768092" y="3170821"/>
                  <a:pt x="768092" y="3176767"/>
                </a:cubicBezTo>
                <a:cubicBezTo>
                  <a:pt x="768092" y="3182714"/>
                  <a:pt x="763302" y="3187505"/>
                  <a:pt x="757356" y="3187505"/>
                </a:cubicBezTo>
                <a:cubicBezTo>
                  <a:pt x="751409" y="3187505"/>
                  <a:pt x="746620" y="3182714"/>
                  <a:pt x="746620" y="3176767"/>
                </a:cubicBezTo>
                <a:cubicBezTo>
                  <a:pt x="746620" y="3170821"/>
                  <a:pt x="751409" y="3166031"/>
                  <a:pt x="757356" y="3166031"/>
                </a:cubicBezTo>
                <a:close/>
                <a:moveTo>
                  <a:pt x="666670" y="3156120"/>
                </a:moveTo>
                <a:cubicBezTo>
                  <a:pt x="672617" y="3156120"/>
                  <a:pt x="677406" y="3160910"/>
                  <a:pt x="677406" y="3166856"/>
                </a:cubicBezTo>
                <a:cubicBezTo>
                  <a:pt x="677406" y="3172802"/>
                  <a:pt x="672617" y="3177594"/>
                  <a:pt x="666670" y="3177594"/>
                </a:cubicBezTo>
                <a:cubicBezTo>
                  <a:pt x="660724" y="3177594"/>
                  <a:pt x="655934" y="3172802"/>
                  <a:pt x="655934" y="3166856"/>
                </a:cubicBezTo>
                <a:cubicBezTo>
                  <a:pt x="655934" y="3160910"/>
                  <a:pt x="660724" y="3156120"/>
                  <a:pt x="666670" y="3156120"/>
                </a:cubicBezTo>
                <a:close/>
                <a:moveTo>
                  <a:pt x="13875" y="3150008"/>
                </a:moveTo>
                <a:cubicBezTo>
                  <a:pt x="15152" y="3150008"/>
                  <a:pt x="16187" y="3151044"/>
                  <a:pt x="16187" y="3152322"/>
                </a:cubicBezTo>
                <a:cubicBezTo>
                  <a:pt x="16187" y="3153598"/>
                  <a:pt x="15152" y="3154634"/>
                  <a:pt x="13875" y="3154634"/>
                </a:cubicBezTo>
                <a:cubicBezTo>
                  <a:pt x="12597" y="3154634"/>
                  <a:pt x="11562" y="3153598"/>
                  <a:pt x="11562" y="3152322"/>
                </a:cubicBezTo>
                <a:cubicBezTo>
                  <a:pt x="11562" y="3151044"/>
                  <a:pt x="12597" y="3150008"/>
                  <a:pt x="13875" y="3150008"/>
                </a:cubicBezTo>
                <a:close/>
                <a:moveTo>
                  <a:pt x="21802" y="3147034"/>
                </a:moveTo>
                <a:lnTo>
                  <a:pt x="28328" y="3153558"/>
                </a:lnTo>
                <a:lnTo>
                  <a:pt x="28905" y="3152981"/>
                </a:lnTo>
                <a:lnTo>
                  <a:pt x="35183" y="3159258"/>
                </a:lnTo>
                <a:lnTo>
                  <a:pt x="35348" y="3159094"/>
                </a:lnTo>
                <a:cubicBezTo>
                  <a:pt x="41294" y="3159094"/>
                  <a:pt x="46086" y="3163884"/>
                  <a:pt x="46086" y="3169830"/>
                </a:cubicBezTo>
                <a:lnTo>
                  <a:pt x="45673" y="3170243"/>
                </a:lnTo>
                <a:lnTo>
                  <a:pt x="51868" y="3176436"/>
                </a:lnTo>
                <a:lnTo>
                  <a:pt x="50959" y="3177346"/>
                </a:lnTo>
                <a:lnTo>
                  <a:pt x="57154" y="3183539"/>
                </a:lnTo>
                <a:lnTo>
                  <a:pt x="56162" y="3184531"/>
                </a:lnTo>
                <a:lnTo>
                  <a:pt x="62439" y="3190807"/>
                </a:lnTo>
                <a:lnTo>
                  <a:pt x="60951" y="3192295"/>
                </a:lnTo>
                <a:lnTo>
                  <a:pt x="67394" y="3198736"/>
                </a:lnTo>
                <a:lnTo>
                  <a:pt x="65906" y="3200224"/>
                </a:lnTo>
                <a:lnTo>
                  <a:pt x="72680" y="3206996"/>
                </a:lnTo>
                <a:lnTo>
                  <a:pt x="71110" y="3208565"/>
                </a:lnTo>
                <a:lnTo>
                  <a:pt x="78462" y="3215915"/>
                </a:lnTo>
                <a:lnTo>
                  <a:pt x="77055" y="3217321"/>
                </a:lnTo>
                <a:lnTo>
                  <a:pt x="84902" y="3225165"/>
                </a:lnTo>
                <a:lnTo>
                  <a:pt x="83662" y="3226405"/>
                </a:lnTo>
                <a:lnTo>
                  <a:pt x="92170" y="3234911"/>
                </a:lnTo>
                <a:lnTo>
                  <a:pt x="91260" y="3235821"/>
                </a:lnTo>
                <a:lnTo>
                  <a:pt x="100595" y="3245153"/>
                </a:lnTo>
                <a:lnTo>
                  <a:pt x="100182" y="3245565"/>
                </a:lnTo>
                <a:lnTo>
                  <a:pt x="110671" y="3256054"/>
                </a:lnTo>
                <a:cubicBezTo>
                  <a:pt x="110671" y="3262000"/>
                  <a:pt x="105881" y="3266790"/>
                  <a:pt x="99934" y="3266790"/>
                </a:cubicBezTo>
                <a:cubicBezTo>
                  <a:pt x="93988" y="3266790"/>
                  <a:pt x="89198" y="3262000"/>
                  <a:pt x="89198" y="3256054"/>
                </a:cubicBezTo>
                <a:lnTo>
                  <a:pt x="89609" y="3255643"/>
                </a:lnTo>
                <a:lnTo>
                  <a:pt x="79121" y="3245153"/>
                </a:lnTo>
                <a:lnTo>
                  <a:pt x="80029" y="3244244"/>
                </a:lnTo>
                <a:lnTo>
                  <a:pt x="70698" y="3234911"/>
                </a:lnTo>
                <a:lnTo>
                  <a:pt x="71934" y="3233674"/>
                </a:lnTo>
                <a:lnTo>
                  <a:pt x="63428" y="3225165"/>
                </a:lnTo>
                <a:lnTo>
                  <a:pt x="64831" y="3223762"/>
                </a:lnTo>
                <a:lnTo>
                  <a:pt x="56987" y="3215915"/>
                </a:lnTo>
                <a:lnTo>
                  <a:pt x="58555" y="3214347"/>
                </a:lnTo>
                <a:lnTo>
                  <a:pt x="51205" y="3206996"/>
                </a:lnTo>
                <a:lnTo>
                  <a:pt x="52692" y="3205509"/>
                </a:lnTo>
                <a:lnTo>
                  <a:pt x="45920" y="3198736"/>
                </a:lnTo>
                <a:lnTo>
                  <a:pt x="47406" y="3197250"/>
                </a:lnTo>
                <a:lnTo>
                  <a:pt x="40965" y="3190807"/>
                </a:lnTo>
                <a:lnTo>
                  <a:pt x="41955" y="3189817"/>
                </a:lnTo>
                <a:lnTo>
                  <a:pt x="35679" y="3183539"/>
                </a:lnTo>
                <a:lnTo>
                  <a:pt x="36588" y="3182632"/>
                </a:lnTo>
                <a:lnTo>
                  <a:pt x="30393" y="3176436"/>
                </a:lnTo>
                <a:lnTo>
                  <a:pt x="30804" y="3176025"/>
                </a:lnTo>
                <a:lnTo>
                  <a:pt x="29070" y="3174291"/>
                </a:lnTo>
                <a:lnTo>
                  <a:pt x="28905" y="3174455"/>
                </a:lnTo>
                <a:lnTo>
                  <a:pt x="22381" y="3167930"/>
                </a:lnTo>
                <a:lnTo>
                  <a:pt x="21802" y="3168509"/>
                </a:lnTo>
                <a:cubicBezTo>
                  <a:pt x="15856" y="3168509"/>
                  <a:pt x="11066" y="3163717"/>
                  <a:pt x="11066" y="3157771"/>
                </a:cubicBezTo>
                <a:cubicBezTo>
                  <a:pt x="11066" y="3151824"/>
                  <a:pt x="15856" y="3147034"/>
                  <a:pt x="21802" y="3147034"/>
                </a:cubicBezTo>
                <a:close/>
                <a:moveTo>
                  <a:pt x="585071" y="3146538"/>
                </a:moveTo>
                <a:cubicBezTo>
                  <a:pt x="591018" y="3146538"/>
                  <a:pt x="595808" y="3151328"/>
                  <a:pt x="595808" y="3157275"/>
                </a:cubicBezTo>
                <a:cubicBezTo>
                  <a:pt x="595808" y="3163221"/>
                  <a:pt x="591018" y="3168013"/>
                  <a:pt x="585071" y="3168013"/>
                </a:cubicBezTo>
                <a:cubicBezTo>
                  <a:pt x="579125" y="3168013"/>
                  <a:pt x="574335" y="3163221"/>
                  <a:pt x="574335" y="3157275"/>
                </a:cubicBezTo>
                <a:cubicBezTo>
                  <a:pt x="574335" y="3151328"/>
                  <a:pt x="579125" y="3146538"/>
                  <a:pt x="585071" y="3146538"/>
                </a:cubicBezTo>
                <a:close/>
                <a:moveTo>
                  <a:pt x="512060" y="3137455"/>
                </a:moveTo>
                <a:cubicBezTo>
                  <a:pt x="518007" y="3137455"/>
                  <a:pt x="522797" y="3142244"/>
                  <a:pt x="522797" y="3148191"/>
                </a:cubicBezTo>
                <a:cubicBezTo>
                  <a:pt x="522797" y="3154138"/>
                  <a:pt x="518007" y="3158929"/>
                  <a:pt x="512060" y="3158929"/>
                </a:cubicBezTo>
                <a:cubicBezTo>
                  <a:pt x="506114" y="3158929"/>
                  <a:pt x="501324" y="3154138"/>
                  <a:pt x="501324" y="3148191"/>
                </a:cubicBezTo>
                <a:cubicBezTo>
                  <a:pt x="501324" y="3142244"/>
                  <a:pt x="506114" y="3137455"/>
                  <a:pt x="512060" y="3137455"/>
                </a:cubicBezTo>
                <a:close/>
                <a:moveTo>
                  <a:pt x="446980" y="3128699"/>
                </a:moveTo>
                <a:cubicBezTo>
                  <a:pt x="452926" y="3128699"/>
                  <a:pt x="457716" y="3133489"/>
                  <a:pt x="457716" y="3139435"/>
                </a:cubicBezTo>
                <a:cubicBezTo>
                  <a:pt x="457716" y="3145382"/>
                  <a:pt x="452926" y="3150173"/>
                  <a:pt x="446980" y="3150173"/>
                </a:cubicBezTo>
                <a:cubicBezTo>
                  <a:pt x="441033" y="3150173"/>
                  <a:pt x="436243" y="3145382"/>
                  <a:pt x="436243" y="3139435"/>
                </a:cubicBezTo>
                <a:cubicBezTo>
                  <a:pt x="436243" y="3133489"/>
                  <a:pt x="441033" y="3128699"/>
                  <a:pt x="446980" y="3128699"/>
                </a:cubicBezTo>
                <a:close/>
                <a:moveTo>
                  <a:pt x="389165" y="3120276"/>
                </a:moveTo>
                <a:cubicBezTo>
                  <a:pt x="395112" y="3120276"/>
                  <a:pt x="399902" y="3125066"/>
                  <a:pt x="399902" y="3131012"/>
                </a:cubicBezTo>
                <a:cubicBezTo>
                  <a:pt x="399902" y="3136959"/>
                  <a:pt x="395112" y="3141750"/>
                  <a:pt x="389165" y="3141750"/>
                </a:cubicBezTo>
                <a:cubicBezTo>
                  <a:pt x="383219" y="3141750"/>
                  <a:pt x="378429" y="3136959"/>
                  <a:pt x="378429" y="3131012"/>
                </a:cubicBezTo>
                <a:cubicBezTo>
                  <a:pt x="378429" y="3125066"/>
                  <a:pt x="383219" y="3120276"/>
                  <a:pt x="389165" y="3120276"/>
                </a:cubicBezTo>
                <a:close/>
                <a:moveTo>
                  <a:pt x="337960" y="3112181"/>
                </a:moveTo>
                <a:cubicBezTo>
                  <a:pt x="343907" y="3112181"/>
                  <a:pt x="348698" y="3116970"/>
                  <a:pt x="348698" y="3122917"/>
                </a:cubicBezTo>
                <a:cubicBezTo>
                  <a:pt x="348698" y="3128864"/>
                  <a:pt x="343907" y="3133655"/>
                  <a:pt x="337960" y="3133655"/>
                </a:cubicBezTo>
                <a:cubicBezTo>
                  <a:pt x="332014" y="3133655"/>
                  <a:pt x="327224" y="3128864"/>
                  <a:pt x="327224" y="3122917"/>
                </a:cubicBezTo>
                <a:cubicBezTo>
                  <a:pt x="327224" y="3116970"/>
                  <a:pt x="332014" y="3112181"/>
                  <a:pt x="337960" y="3112181"/>
                </a:cubicBezTo>
                <a:close/>
                <a:moveTo>
                  <a:pt x="292864" y="3104419"/>
                </a:moveTo>
                <a:cubicBezTo>
                  <a:pt x="298811" y="3104419"/>
                  <a:pt x="303601" y="3109208"/>
                  <a:pt x="303601" y="3115155"/>
                </a:cubicBezTo>
                <a:cubicBezTo>
                  <a:pt x="303601" y="3121101"/>
                  <a:pt x="298811" y="3125893"/>
                  <a:pt x="292864" y="3125893"/>
                </a:cubicBezTo>
                <a:cubicBezTo>
                  <a:pt x="286918" y="3125893"/>
                  <a:pt x="282128" y="3121101"/>
                  <a:pt x="282128" y="3115155"/>
                </a:cubicBezTo>
                <a:cubicBezTo>
                  <a:pt x="282128" y="3109208"/>
                  <a:pt x="286918" y="3104419"/>
                  <a:pt x="292864" y="3104419"/>
                </a:cubicBezTo>
                <a:close/>
                <a:moveTo>
                  <a:pt x="253552" y="3096984"/>
                </a:moveTo>
                <a:cubicBezTo>
                  <a:pt x="259499" y="3096984"/>
                  <a:pt x="264290" y="3101774"/>
                  <a:pt x="264290" y="3107720"/>
                </a:cubicBezTo>
                <a:cubicBezTo>
                  <a:pt x="264290" y="3113667"/>
                  <a:pt x="259499" y="3118459"/>
                  <a:pt x="253552" y="3118459"/>
                </a:cubicBezTo>
                <a:cubicBezTo>
                  <a:pt x="247605" y="3118459"/>
                  <a:pt x="242816" y="3113667"/>
                  <a:pt x="242816" y="3107720"/>
                </a:cubicBezTo>
                <a:cubicBezTo>
                  <a:pt x="242816" y="3101774"/>
                  <a:pt x="247605" y="3096984"/>
                  <a:pt x="253552" y="3096984"/>
                </a:cubicBezTo>
                <a:close/>
                <a:moveTo>
                  <a:pt x="219194" y="3089883"/>
                </a:moveTo>
                <a:cubicBezTo>
                  <a:pt x="225141" y="3089883"/>
                  <a:pt x="229932" y="3094672"/>
                  <a:pt x="229932" y="3100619"/>
                </a:cubicBezTo>
                <a:cubicBezTo>
                  <a:pt x="229932" y="3106565"/>
                  <a:pt x="225141" y="3111357"/>
                  <a:pt x="219194" y="3111357"/>
                </a:cubicBezTo>
                <a:cubicBezTo>
                  <a:pt x="213248" y="3111357"/>
                  <a:pt x="208458" y="3106565"/>
                  <a:pt x="208458" y="3100619"/>
                </a:cubicBezTo>
                <a:cubicBezTo>
                  <a:pt x="208458" y="3094672"/>
                  <a:pt x="213248" y="3089883"/>
                  <a:pt x="219194" y="3089883"/>
                </a:cubicBezTo>
                <a:close/>
                <a:moveTo>
                  <a:pt x="189626" y="3083109"/>
                </a:moveTo>
                <a:cubicBezTo>
                  <a:pt x="195573" y="3083109"/>
                  <a:pt x="200364" y="3087899"/>
                  <a:pt x="200364" y="3093845"/>
                </a:cubicBezTo>
                <a:cubicBezTo>
                  <a:pt x="200364" y="3099792"/>
                  <a:pt x="195573" y="3104583"/>
                  <a:pt x="189626" y="3104583"/>
                </a:cubicBezTo>
                <a:cubicBezTo>
                  <a:pt x="183680" y="3104583"/>
                  <a:pt x="178890" y="3099792"/>
                  <a:pt x="178890" y="3093845"/>
                </a:cubicBezTo>
                <a:cubicBezTo>
                  <a:pt x="178890" y="3087899"/>
                  <a:pt x="183680" y="3083109"/>
                  <a:pt x="189626" y="3083109"/>
                </a:cubicBezTo>
                <a:close/>
                <a:moveTo>
                  <a:pt x="164023" y="3076668"/>
                </a:moveTo>
                <a:cubicBezTo>
                  <a:pt x="169969" y="3076668"/>
                  <a:pt x="174761" y="3081458"/>
                  <a:pt x="174761" y="3087404"/>
                </a:cubicBezTo>
                <a:cubicBezTo>
                  <a:pt x="174761" y="3093351"/>
                  <a:pt x="169969" y="3098143"/>
                  <a:pt x="164023" y="3098143"/>
                </a:cubicBezTo>
                <a:cubicBezTo>
                  <a:pt x="158076" y="3098143"/>
                  <a:pt x="153287" y="3093351"/>
                  <a:pt x="153287" y="3087404"/>
                </a:cubicBezTo>
                <a:cubicBezTo>
                  <a:pt x="153287" y="3081458"/>
                  <a:pt x="158076" y="3076668"/>
                  <a:pt x="164023" y="3076668"/>
                </a:cubicBezTo>
                <a:close/>
                <a:moveTo>
                  <a:pt x="13215" y="3076337"/>
                </a:moveTo>
                <a:lnTo>
                  <a:pt x="17756" y="3080878"/>
                </a:lnTo>
                <a:lnTo>
                  <a:pt x="20481" y="3078154"/>
                </a:lnTo>
                <a:lnTo>
                  <a:pt x="25933" y="3083607"/>
                </a:lnTo>
                <a:lnTo>
                  <a:pt x="26923" y="3082615"/>
                </a:lnTo>
                <a:lnTo>
                  <a:pt x="32044" y="3087736"/>
                </a:lnTo>
                <a:lnTo>
                  <a:pt x="32540" y="3087240"/>
                </a:lnTo>
                <a:lnTo>
                  <a:pt x="37660" y="3092359"/>
                </a:lnTo>
                <a:lnTo>
                  <a:pt x="37824" y="3092194"/>
                </a:lnTo>
                <a:cubicBezTo>
                  <a:pt x="43771" y="3092194"/>
                  <a:pt x="48562" y="3096984"/>
                  <a:pt x="48562" y="3102930"/>
                </a:cubicBezTo>
                <a:lnTo>
                  <a:pt x="48398" y="3103095"/>
                </a:lnTo>
                <a:lnTo>
                  <a:pt x="53354" y="3108052"/>
                </a:lnTo>
                <a:lnTo>
                  <a:pt x="52941" y="3108464"/>
                </a:lnTo>
                <a:lnTo>
                  <a:pt x="58144" y="3113667"/>
                </a:lnTo>
                <a:lnTo>
                  <a:pt x="57648" y="3114163"/>
                </a:lnTo>
                <a:lnTo>
                  <a:pt x="62934" y="3119449"/>
                </a:lnTo>
                <a:lnTo>
                  <a:pt x="62273" y="3120111"/>
                </a:lnTo>
                <a:lnTo>
                  <a:pt x="67890" y="3125726"/>
                </a:lnTo>
                <a:lnTo>
                  <a:pt x="67475" y="3126141"/>
                </a:lnTo>
                <a:lnTo>
                  <a:pt x="73504" y="3132169"/>
                </a:lnTo>
                <a:lnTo>
                  <a:pt x="73256" y="3132417"/>
                </a:lnTo>
                <a:lnTo>
                  <a:pt x="76561" y="3135719"/>
                </a:lnTo>
                <a:lnTo>
                  <a:pt x="76642" y="3135637"/>
                </a:lnTo>
                <a:lnTo>
                  <a:pt x="84819" y="3143814"/>
                </a:lnTo>
                <a:lnTo>
                  <a:pt x="85232" y="3143401"/>
                </a:lnTo>
                <a:lnTo>
                  <a:pt x="94482" y="3152651"/>
                </a:lnTo>
                <a:lnTo>
                  <a:pt x="95639" y="3151495"/>
                </a:lnTo>
                <a:lnTo>
                  <a:pt x="106046" y="3161901"/>
                </a:lnTo>
                <a:lnTo>
                  <a:pt x="108028" y="3159919"/>
                </a:lnTo>
                <a:cubicBezTo>
                  <a:pt x="113974" y="3159919"/>
                  <a:pt x="118766" y="3164709"/>
                  <a:pt x="118766" y="3170656"/>
                </a:cubicBezTo>
                <a:cubicBezTo>
                  <a:pt x="118766" y="3176602"/>
                  <a:pt x="113974" y="3181394"/>
                  <a:pt x="108028" y="3181394"/>
                </a:cubicBezTo>
                <a:lnTo>
                  <a:pt x="97621" y="3170987"/>
                </a:lnTo>
                <a:lnTo>
                  <a:pt x="95639" y="3172969"/>
                </a:lnTo>
                <a:lnTo>
                  <a:pt x="86389" y="3163719"/>
                </a:lnTo>
                <a:lnTo>
                  <a:pt x="85232" y="3164876"/>
                </a:lnTo>
                <a:lnTo>
                  <a:pt x="77055" y="3156697"/>
                </a:lnTo>
                <a:lnTo>
                  <a:pt x="76642" y="3157110"/>
                </a:lnTo>
                <a:lnTo>
                  <a:pt x="69291" y="3149761"/>
                </a:lnTo>
                <a:lnTo>
                  <a:pt x="69210" y="3149842"/>
                </a:lnTo>
                <a:cubicBezTo>
                  <a:pt x="63263" y="3149842"/>
                  <a:pt x="58473" y="3145052"/>
                  <a:pt x="58473" y="3139106"/>
                </a:cubicBezTo>
                <a:lnTo>
                  <a:pt x="58720" y="3138859"/>
                </a:lnTo>
                <a:lnTo>
                  <a:pt x="52031" y="3132169"/>
                </a:lnTo>
                <a:lnTo>
                  <a:pt x="52444" y="3131756"/>
                </a:lnTo>
                <a:lnTo>
                  <a:pt x="46416" y="3125726"/>
                </a:lnTo>
                <a:lnTo>
                  <a:pt x="47076" y="3125067"/>
                </a:lnTo>
                <a:lnTo>
                  <a:pt x="41459" y="3119449"/>
                </a:lnTo>
                <a:lnTo>
                  <a:pt x="41955" y="3118953"/>
                </a:lnTo>
                <a:lnTo>
                  <a:pt x="36669" y="3113667"/>
                </a:lnTo>
                <a:lnTo>
                  <a:pt x="37082" y="3113254"/>
                </a:lnTo>
                <a:lnTo>
                  <a:pt x="32540" y="3108714"/>
                </a:lnTo>
                <a:lnTo>
                  <a:pt x="27419" y="3103593"/>
                </a:lnTo>
                <a:lnTo>
                  <a:pt x="26923" y="3104089"/>
                </a:lnTo>
                <a:lnTo>
                  <a:pt x="21473" y="3098637"/>
                </a:lnTo>
                <a:lnTo>
                  <a:pt x="20481" y="3099629"/>
                </a:lnTo>
                <a:lnTo>
                  <a:pt x="13627" y="3092773"/>
                </a:lnTo>
                <a:lnTo>
                  <a:pt x="13215" y="3093186"/>
                </a:lnTo>
                <a:cubicBezTo>
                  <a:pt x="8589" y="3093186"/>
                  <a:pt x="4790" y="3089386"/>
                  <a:pt x="4790" y="3084762"/>
                </a:cubicBezTo>
                <a:cubicBezTo>
                  <a:pt x="4790" y="3080136"/>
                  <a:pt x="8589" y="3076337"/>
                  <a:pt x="13215" y="3076337"/>
                </a:cubicBezTo>
                <a:close/>
                <a:moveTo>
                  <a:pt x="142221" y="3070557"/>
                </a:moveTo>
                <a:cubicBezTo>
                  <a:pt x="148167" y="3070557"/>
                  <a:pt x="152959" y="3075346"/>
                  <a:pt x="152959" y="3081293"/>
                </a:cubicBezTo>
                <a:cubicBezTo>
                  <a:pt x="152959" y="3087240"/>
                  <a:pt x="148167" y="3092030"/>
                  <a:pt x="142221" y="3092030"/>
                </a:cubicBezTo>
                <a:cubicBezTo>
                  <a:pt x="136274" y="3092030"/>
                  <a:pt x="131484" y="3087240"/>
                  <a:pt x="131484" y="3081293"/>
                </a:cubicBezTo>
                <a:cubicBezTo>
                  <a:pt x="131484" y="3075346"/>
                  <a:pt x="136274" y="3070557"/>
                  <a:pt x="142221" y="3070557"/>
                </a:cubicBezTo>
                <a:close/>
                <a:moveTo>
                  <a:pt x="2961534" y="3045943"/>
                </a:moveTo>
                <a:cubicBezTo>
                  <a:pt x="2967480" y="3045943"/>
                  <a:pt x="2972272" y="3050733"/>
                  <a:pt x="2972272" y="3056680"/>
                </a:cubicBezTo>
                <a:cubicBezTo>
                  <a:pt x="2972272" y="3062626"/>
                  <a:pt x="2967480" y="3067418"/>
                  <a:pt x="2961534" y="3067418"/>
                </a:cubicBezTo>
                <a:cubicBezTo>
                  <a:pt x="2955587" y="3067418"/>
                  <a:pt x="2950797" y="3062626"/>
                  <a:pt x="2950797" y="3056680"/>
                </a:cubicBezTo>
                <a:cubicBezTo>
                  <a:pt x="2950797" y="3050733"/>
                  <a:pt x="2955587" y="3045943"/>
                  <a:pt x="2961534" y="3045943"/>
                </a:cubicBezTo>
                <a:close/>
                <a:moveTo>
                  <a:pt x="2693775" y="3044292"/>
                </a:moveTo>
                <a:cubicBezTo>
                  <a:pt x="2699722" y="3044292"/>
                  <a:pt x="2704513" y="3049082"/>
                  <a:pt x="2704513" y="3055029"/>
                </a:cubicBezTo>
                <a:cubicBezTo>
                  <a:pt x="2704513" y="3060975"/>
                  <a:pt x="2699722" y="3065767"/>
                  <a:pt x="2693775" y="3065767"/>
                </a:cubicBezTo>
                <a:cubicBezTo>
                  <a:pt x="2687828" y="3065767"/>
                  <a:pt x="2683038" y="3060975"/>
                  <a:pt x="2683038" y="3055029"/>
                </a:cubicBezTo>
                <a:cubicBezTo>
                  <a:pt x="2683038" y="3049082"/>
                  <a:pt x="2687828" y="3044292"/>
                  <a:pt x="2693775" y="3044292"/>
                </a:cubicBezTo>
                <a:close/>
                <a:moveTo>
                  <a:pt x="3222026" y="3041649"/>
                </a:moveTo>
                <a:cubicBezTo>
                  <a:pt x="3227972" y="3041649"/>
                  <a:pt x="3232764" y="3046439"/>
                  <a:pt x="3232764" y="3052386"/>
                </a:cubicBezTo>
                <a:cubicBezTo>
                  <a:pt x="3232764" y="3058332"/>
                  <a:pt x="3227972" y="3063122"/>
                  <a:pt x="3222026" y="3063122"/>
                </a:cubicBezTo>
                <a:cubicBezTo>
                  <a:pt x="3216079" y="3063122"/>
                  <a:pt x="3211289" y="3058332"/>
                  <a:pt x="3211289" y="3052386"/>
                </a:cubicBezTo>
                <a:cubicBezTo>
                  <a:pt x="3211289" y="3046439"/>
                  <a:pt x="3216079" y="3041649"/>
                  <a:pt x="3222026" y="3041649"/>
                </a:cubicBezTo>
                <a:close/>
                <a:moveTo>
                  <a:pt x="2441874" y="3039336"/>
                </a:moveTo>
                <a:cubicBezTo>
                  <a:pt x="2447820" y="3039336"/>
                  <a:pt x="2452612" y="3044126"/>
                  <a:pt x="2452612" y="3050072"/>
                </a:cubicBezTo>
                <a:cubicBezTo>
                  <a:pt x="2452612" y="3056019"/>
                  <a:pt x="2447820" y="3060809"/>
                  <a:pt x="2441874" y="3060809"/>
                </a:cubicBezTo>
                <a:cubicBezTo>
                  <a:pt x="2435928" y="3060809"/>
                  <a:pt x="2431138" y="3056019"/>
                  <a:pt x="2431138" y="3050072"/>
                </a:cubicBezTo>
                <a:cubicBezTo>
                  <a:pt x="2431138" y="3044126"/>
                  <a:pt x="2435928" y="3039336"/>
                  <a:pt x="2441874" y="3039336"/>
                </a:cubicBezTo>
                <a:close/>
                <a:moveTo>
                  <a:pt x="3463851" y="3036529"/>
                </a:moveTo>
                <a:cubicBezTo>
                  <a:pt x="3469798" y="3036529"/>
                  <a:pt x="3474589" y="3041318"/>
                  <a:pt x="3474589" y="3047265"/>
                </a:cubicBezTo>
                <a:cubicBezTo>
                  <a:pt x="3474589" y="3053211"/>
                  <a:pt x="3469798" y="3058001"/>
                  <a:pt x="3463851" y="3058001"/>
                </a:cubicBezTo>
                <a:cubicBezTo>
                  <a:pt x="3457904" y="3058001"/>
                  <a:pt x="3453115" y="3053211"/>
                  <a:pt x="3453115" y="3047265"/>
                </a:cubicBezTo>
                <a:cubicBezTo>
                  <a:pt x="3453115" y="3041318"/>
                  <a:pt x="3457904" y="3036529"/>
                  <a:pt x="3463851" y="3036529"/>
                </a:cubicBezTo>
                <a:close/>
                <a:moveTo>
                  <a:pt x="2208638" y="3034050"/>
                </a:moveTo>
                <a:cubicBezTo>
                  <a:pt x="2214584" y="3034050"/>
                  <a:pt x="2219376" y="3038840"/>
                  <a:pt x="2219376" y="3044787"/>
                </a:cubicBezTo>
                <a:cubicBezTo>
                  <a:pt x="2219376" y="3050733"/>
                  <a:pt x="2214584" y="3055525"/>
                  <a:pt x="2208638" y="3055525"/>
                </a:cubicBezTo>
                <a:cubicBezTo>
                  <a:pt x="2202692" y="3055525"/>
                  <a:pt x="2197902" y="3050733"/>
                  <a:pt x="2197902" y="3044787"/>
                </a:cubicBezTo>
                <a:cubicBezTo>
                  <a:pt x="2197902" y="3038840"/>
                  <a:pt x="2202692" y="3034050"/>
                  <a:pt x="2208638" y="3034050"/>
                </a:cubicBezTo>
                <a:close/>
                <a:moveTo>
                  <a:pt x="1993242" y="3028931"/>
                </a:moveTo>
                <a:cubicBezTo>
                  <a:pt x="1999188" y="3028931"/>
                  <a:pt x="2003980" y="3033721"/>
                  <a:pt x="2003980" y="3039667"/>
                </a:cubicBezTo>
                <a:cubicBezTo>
                  <a:pt x="2003980" y="3045614"/>
                  <a:pt x="1999188" y="3050406"/>
                  <a:pt x="1993242" y="3050406"/>
                </a:cubicBezTo>
                <a:cubicBezTo>
                  <a:pt x="1987295" y="3050406"/>
                  <a:pt x="1982505" y="3045614"/>
                  <a:pt x="1982505" y="3039667"/>
                </a:cubicBezTo>
                <a:cubicBezTo>
                  <a:pt x="1982505" y="3033721"/>
                  <a:pt x="1987295" y="3028931"/>
                  <a:pt x="1993242" y="3028931"/>
                </a:cubicBezTo>
                <a:close/>
                <a:moveTo>
                  <a:pt x="1794528" y="3023975"/>
                </a:moveTo>
                <a:cubicBezTo>
                  <a:pt x="1800474" y="3023975"/>
                  <a:pt x="1805266" y="3028765"/>
                  <a:pt x="1805266" y="3034711"/>
                </a:cubicBezTo>
                <a:cubicBezTo>
                  <a:pt x="1805266" y="3040658"/>
                  <a:pt x="1800474" y="3045449"/>
                  <a:pt x="1794528" y="3045449"/>
                </a:cubicBezTo>
                <a:cubicBezTo>
                  <a:pt x="1788581" y="3045449"/>
                  <a:pt x="1783792" y="3040658"/>
                  <a:pt x="1783792" y="3034711"/>
                </a:cubicBezTo>
                <a:cubicBezTo>
                  <a:pt x="1783792" y="3028765"/>
                  <a:pt x="1788581" y="3023975"/>
                  <a:pt x="1794528" y="3023975"/>
                </a:cubicBezTo>
                <a:close/>
                <a:moveTo>
                  <a:pt x="1611672" y="3019185"/>
                </a:moveTo>
                <a:cubicBezTo>
                  <a:pt x="1617618" y="3019185"/>
                  <a:pt x="1622410" y="3023975"/>
                  <a:pt x="1622410" y="3029921"/>
                </a:cubicBezTo>
                <a:cubicBezTo>
                  <a:pt x="1622410" y="3035868"/>
                  <a:pt x="1617618" y="3040659"/>
                  <a:pt x="1611672" y="3040659"/>
                </a:cubicBezTo>
                <a:cubicBezTo>
                  <a:pt x="1605725" y="3040659"/>
                  <a:pt x="1600936" y="3035868"/>
                  <a:pt x="1600936" y="3029921"/>
                </a:cubicBezTo>
                <a:cubicBezTo>
                  <a:pt x="1600936" y="3023975"/>
                  <a:pt x="1605725" y="3019185"/>
                  <a:pt x="1611672" y="3019185"/>
                </a:cubicBezTo>
                <a:close/>
                <a:moveTo>
                  <a:pt x="1443683" y="3014560"/>
                </a:moveTo>
                <a:cubicBezTo>
                  <a:pt x="1449629" y="3014560"/>
                  <a:pt x="1454421" y="3019350"/>
                  <a:pt x="1454421" y="3025296"/>
                </a:cubicBezTo>
                <a:cubicBezTo>
                  <a:pt x="1454421" y="3031243"/>
                  <a:pt x="1449629" y="3036032"/>
                  <a:pt x="1443683" y="3036032"/>
                </a:cubicBezTo>
                <a:cubicBezTo>
                  <a:pt x="1437736" y="3036032"/>
                  <a:pt x="1432946" y="3031243"/>
                  <a:pt x="1432946" y="3025296"/>
                </a:cubicBezTo>
                <a:cubicBezTo>
                  <a:pt x="1432946" y="3019350"/>
                  <a:pt x="1437736" y="3014560"/>
                  <a:pt x="1443683" y="3014560"/>
                </a:cubicBezTo>
                <a:close/>
                <a:moveTo>
                  <a:pt x="1289900" y="3010100"/>
                </a:moveTo>
                <a:cubicBezTo>
                  <a:pt x="1295847" y="3010100"/>
                  <a:pt x="1300637" y="3014889"/>
                  <a:pt x="1300637" y="3020836"/>
                </a:cubicBezTo>
                <a:cubicBezTo>
                  <a:pt x="1300637" y="3026782"/>
                  <a:pt x="1295847" y="3031574"/>
                  <a:pt x="1289900" y="3031574"/>
                </a:cubicBezTo>
                <a:cubicBezTo>
                  <a:pt x="1283954" y="3031574"/>
                  <a:pt x="1279164" y="3026782"/>
                  <a:pt x="1279164" y="3020836"/>
                </a:cubicBezTo>
                <a:cubicBezTo>
                  <a:pt x="1279164" y="3014889"/>
                  <a:pt x="1283954" y="3010100"/>
                  <a:pt x="1289900" y="3010100"/>
                </a:cubicBezTo>
                <a:close/>
                <a:moveTo>
                  <a:pt x="1149331" y="3005805"/>
                </a:moveTo>
                <a:cubicBezTo>
                  <a:pt x="1155277" y="3005805"/>
                  <a:pt x="1160069" y="3010595"/>
                  <a:pt x="1160069" y="3016542"/>
                </a:cubicBezTo>
                <a:cubicBezTo>
                  <a:pt x="1160069" y="3022488"/>
                  <a:pt x="1155277" y="3027278"/>
                  <a:pt x="1149331" y="3027278"/>
                </a:cubicBezTo>
                <a:cubicBezTo>
                  <a:pt x="1143384" y="3027278"/>
                  <a:pt x="1138594" y="3022488"/>
                  <a:pt x="1138594" y="3016542"/>
                </a:cubicBezTo>
                <a:cubicBezTo>
                  <a:pt x="1138594" y="3010595"/>
                  <a:pt x="1143384" y="3005805"/>
                  <a:pt x="1149331" y="3005805"/>
                </a:cubicBezTo>
                <a:close/>
                <a:moveTo>
                  <a:pt x="13709" y="3004814"/>
                </a:moveTo>
                <a:lnTo>
                  <a:pt x="18252" y="3009357"/>
                </a:lnTo>
                <a:lnTo>
                  <a:pt x="20151" y="3007457"/>
                </a:lnTo>
                <a:lnTo>
                  <a:pt x="24528" y="3011834"/>
                </a:lnTo>
                <a:lnTo>
                  <a:pt x="26098" y="3010264"/>
                </a:lnTo>
                <a:lnTo>
                  <a:pt x="30062" y="3014228"/>
                </a:lnTo>
                <a:lnTo>
                  <a:pt x="31219" y="3013072"/>
                </a:lnTo>
                <a:lnTo>
                  <a:pt x="35183" y="3017036"/>
                </a:lnTo>
                <a:lnTo>
                  <a:pt x="36009" y="3016211"/>
                </a:lnTo>
                <a:lnTo>
                  <a:pt x="39973" y="3020175"/>
                </a:lnTo>
                <a:lnTo>
                  <a:pt x="40634" y="3019514"/>
                </a:lnTo>
                <a:lnTo>
                  <a:pt x="44598" y="3023479"/>
                </a:lnTo>
                <a:lnTo>
                  <a:pt x="45092" y="3022985"/>
                </a:lnTo>
                <a:lnTo>
                  <a:pt x="49303" y="3027197"/>
                </a:lnTo>
                <a:lnTo>
                  <a:pt x="49717" y="3026782"/>
                </a:lnTo>
                <a:lnTo>
                  <a:pt x="54096" y="3031161"/>
                </a:lnTo>
                <a:lnTo>
                  <a:pt x="54674" y="3030582"/>
                </a:lnTo>
                <a:lnTo>
                  <a:pt x="59547" y="3035455"/>
                </a:lnTo>
                <a:lnTo>
                  <a:pt x="60291" y="3034711"/>
                </a:lnTo>
                <a:lnTo>
                  <a:pt x="65825" y="3040245"/>
                </a:lnTo>
                <a:lnTo>
                  <a:pt x="66898" y="3039171"/>
                </a:lnTo>
                <a:lnTo>
                  <a:pt x="73009" y="3045283"/>
                </a:lnTo>
                <a:lnTo>
                  <a:pt x="74495" y="3043797"/>
                </a:lnTo>
                <a:lnTo>
                  <a:pt x="81515" y="3050817"/>
                </a:lnTo>
                <a:lnTo>
                  <a:pt x="83746" y="3048586"/>
                </a:lnTo>
                <a:lnTo>
                  <a:pt x="91839" y="3056682"/>
                </a:lnTo>
                <a:lnTo>
                  <a:pt x="94813" y="3053707"/>
                </a:lnTo>
                <a:lnTo>
                  <a:pt x="104063" y="3062958"/>
                </a:lnTo>
                <a:lnTo>
                  <a:pt x="108028" y="3058993"/>
                </a:lnTo>
                <a:lnTo>
                  <a:pt x="118599" y="3069565"/>
                </a:lnTo>
                <a:lnTo>
                  <a:pt x="123554" y="3064610"/>
                </a:lnTo>
                <a:cubicBezTo>
                  <a:pt x="129500" y="3064610"/>
                  <a:pt x="134292" y="3069400"/>
                  <a:pt x="134292" y="3075346"/>
                </a:cubicBezTo>
                <a:cubicBezTo>
                  <a:pt x="134292" y="3081293"/>
                  <a:pt x="129500" y="3086084"/>
                  <a:pt x="123554" y="3086084"/>
                </a:cubicBezTo>
                <a:lnTo>
                  <a:pt x="112982" y="3075513"/>
                </a:lnTo>
                <a:lnTo>
                  <a:pt x="108028" y="3080467"/>
                </a:lnTo>
                <a:lnTo>
                  <a:pt x="98778" y="3071218"/>
                </a:lnTo>
                <a:lnTo>
                  <a:pt x="94813" y="3075182"/>
                </a:lnTo>
                <a:lnTo>
                  <a:pt x="86720" y="3067086"/>
                </a:lnTo>
                <a:lnTo>
                  <a:pt x="83746" y="3070061"/>
                </a:lnTo>
                <a:lnTo>
                  <a:pt x="76726" y="3063041"/>
                </a:lnTo>
                <a:lnTo>
                  <a:pt x="74495" y="3065271"/>
                </a:lnTo>
                <a:lnTo>
                  <a:pt x="68384" y="3059160"/>
                </a:lnTo>
                <a:lnTo>
                  <a:pt x="66898" y="3060646"/>
                </a:lnTo>
                <a:lnTo>
                  <a:pt x="61364" y="3055112"/>
                </a:lnTo>
                <a:lnTo>
                  <a:pt x="60291" y="3056184"/>
                </a:lnTo>
                <a:lnTo>
                  <a:pt x="55418" y="3051311"/>
                </a:lnTo>
                <a:lnTo>
                  <a:pt x="54674" y="3052055"/>
                </a:lnTo>
                <a:lnTo>
                  <a:pt x="50297" y="3047677"/>
                </a:lnTo>
                <a:lnTo>
                  <a:pt x="49717" y="3048257"/>
                </a:lnTo>
                <a:lnTo>
                  <a:pt x="45505" y="3044046"/>
                </a:lnTo>
                <a:lnTo>
                  <a:pt x="45092" y="3044459"/>
                </a:lnTo>
                <a:lnTo>
                  <a:pt x="41128" y="3040495"/>
                </a:lnTo>
                <a:lnTo>
                  <a:pt x="40634" y="3040989"/>
                </a:lnTo>
                <a:lnTo>
                  <a:pt x="36669" y="3037025"/>
                </a:lnTo>
                <a:lnTo>
                  <a:pt x="36009" y="3037685"/>
                </a:lnTo>
                <a:lnTo>
                  <a:pt x="32044" y="3033721"/>
                </a:lnTo>
                <a:lnTo>
                  <a:pt x="31219" y="3034546"/>
                </a:lnTo>
                <a:lnTo>
                  <a:pt x="27254" y="3030582"/>
                </a:lnTo>
                <a:lnTo>
                  <a:pt x="26098" y="3031739"/>
                </a:lnTo>
                <a:lnTo>
                  <a:pt x="21721" y="3027362"/>
                </a:lnTo>
                <a:lnTo>
                  <a:pt x="20151" y="3028931"/>
                </a:lnTo>
                <a:lnTo>
                  <a:pt x="15609" y="3024389"/>
                </a:lnTo>
                <a:lnTo>
                  <a:pt x="13709" y="3026288"/>
                </a:lnTo>
                <a:cubicBezTo>
                  <a:pt x="7762" y="3026288"/>
                  <a:pt x="2972" y="3021497"/>
                  <a:pt x="2972" y="3015550"/>
                </a:cubicBezTo>
                <a:lnTo>
                  <a:pt x="4294" y="3014228"/>
                </a:lnTo>
                <a:lnTo>
                  <a:pt x="3137" y="3013072"/>
                </a:lnTo>
                <a:cubicBezTo>
                  <a:pt x="3137" y="3011431"/>
                  <a:pt x="4469" y="3010100"/>
                  <a:pt x="6111" y="3010100"/>
                </a:cubicBezTo>
                <a:lnTo>
                  <a:pt x="7266" y="3011256"/>
                </a:lnTo>
                <a:close/>
                <a:moveTo>
                  <a:pt x="1021150" y="3001675"/>
                </a:moveTo>
                <a:cubicBezTo>
                  <a:pt x="1027096" y="3001675"/>
                  <a:pt x="1031888" y="3006465"/>
                  <a:pt x="1031888" y="3012411"/>
                </a:cubicBezTo>
                <a:cubicBezTo>
                  <a:pt x="1031888" y="3018358"/>
                  <a:pt x="1027096" y="3023148"/>
                  <a:pt x="1021150" y="3023148"/>
                </a:cubicBezTo>
                <a:cubicBezTo>
                  <a:pt x="1015203" y="3023148"/>
                  <a:pt x="1010414" y="3018358"/>
                  <a:pt x="1010414" y="3012411"/>
                </a:cubicBezTo>
                <a:cubicBezTo>
                  <a:pt x="1010414" y="3006465"/>
                  <a:pt x="1015203" y="3001675"/>
                  <a:pt x="1021150" y="3001675"/>
                </a:cubicBezTo>
                <a:close/>
                <a:moveTo>
                  <a:pt x="904862" y="2997711"/>
                </a:moveTo>
                <a:cubicBezTo>
                  <a:pt x="910809" y="2997711"/>
                  <a:pt x="915599" y="3002500"/>
                  <a:pt x="915599" y="3008447"/>
                </a:cubicBezTo>
                <a:cubicBezTo>
                  <a:pt x="915599" y="3014393"/>
                  <a:pt x="910809" y="3019185"/>
                  <a:pt x="904862" y="3019185"/>
                </a:cubicBezTo>
                <a:cubicBezTo>
                  <a:pt x="898916" y="3019185"/>
                  <a:pt x="894126" y="3014393"/>
                  <a:pt x="894126" y="3008447"/>
                </a:cubicBezTo>
                <a:cubicBezTo>
                  <a:pt x="894126" y="3002500"/>
                  <a:pt x="898916" y="2997711"/>
                  <a:pt x="904862" y="2997711"/>
                </a:cubicBezTo>
                <a:close/>
                <a:moveTo>
                  <a:pt x="799311" y="2993913"/>
                </a:moveTo>
                <a:cubicBezTo>
                  <a:pt x="805258" y="2993913"/>
                  <a:pt x="810047" y="2998703"/>
                  <a:pt x="810047" y="3004649"/>
                </a:cubicBezTo>
                <a:cubicBezTo>
                  <a:pt x="810047" y="3010595"/>
                  <a:pt x="805258" y="3015385"/>
                  <a:pt x="799311" y="3015385"/>
                </a:cubicBezTo>
                <a:cubicBezTo>
                  <a:pt x="793364" y="3015385"/>
                  <a:pt x="788575" y="3010595"/>
                  <a:pt x="788575" y="3004649"/>
                </a:cubicBezTo>
                <a:cubicBezTo>
                  <a:pt x="788575" y="2998703"/>
                  <a:pt x="793364" y="2993913"/>
                  <a:pt x="799311" y="2993913"/>
                </a:cubicBezTo>
                <a:close/>
                <a:moveTo>
                  <a:pt x="704002" y="2990113"/>
                </a:moveTo>
                <a:cubicBezTo>
                  <a:pt x="709948" y="2990113"/>
                  <a:pt x="714738" y="2994903"/>
                  <a:pt x="714738" y="3000849"/>
                </a:cubicBezTo>
                <a:cubicBezTo>
                  <a:pt x="714738" y="3006796"/>
                  <a:pt x="709948" y="3011588"/>
                  <a:pt x="704002" y="3011588"/>
                </a:cubicBezTo>
                <a:cubicBezTo>
                  <a:pt x="698055" y="3011588"/>
                  <a:pt x="693266" y="3006796"/>
                  <a:pt x="693266" y="3000849"/>
                </a:cubicBezTo>
                <a:cubicBezTo>
                  <a:pt x="693266" y="2994903"/>
                  <a:pt x="698055" y="2990113"/>
                  <a:pt x="704002" y="2990113"/>
                </a:cubicBezTo>
                <a:close/>
                <a:moveTo>
                  <a:pt x="618272" y="2986645"/>
                </a:moveTo>
                <a:cubicBezTo>
                  <a:pt x="624219" y="2986645"/>
                  <a:pt x="629010" y="2991434"/>
                  <a:pt x="629010" y="2997381"/>
                </a:cubicBezTo>
                <a:cubicBezTo>
                  <a:pt x="629010" y="3003328"/>
                  <a:pt x="624219" y="3008119"/>
                  <a:pt x="618272" y="3008119"/>
                </a:cubicBezTo>
                <a:cubicBezTo>
                  <a:pt x="612326" y="3008119"/>
                  <a:pt x="607536" y="3003328"/>
                  <a:pt x="607536" y="2997381"/>
                </a:cubicBezTo>
                <a:cubicBezTo>
                  <a:pt x="607536" y="2991434"/>
                  <a:pt x="612326" y="2986645"/>
                  <a:pt x="618272" y="2986645"/>
                </a:cubicBezTo>
                <a:close/>
                <a:moveTo>
                  <a:pt x="541297" y="2983174"/>
                </a:moveTo>
                <a:cubicBezTo>
                  <a:pt x="547244" y="2983174"/>
                  <a:pt x="552033" y="2987964"/>
                  <a:pt x="552033" y="2993911"/>
                </a:cubicBezTo>
                <a:cubicBezTo>
                  <a:pt x="552033" y="2999857"/>
                  <a:pt x="547244" y="3004649"/>
                  <a:pt x="541297" y="3004649"/>
                </a:cubicBezTo>
                <a:cubicBezTo>
                  <a:pt x="535350" y="3004649"/>
                  <a:pt x="530561" y="2999857"/>
                  <a:pt x="530561" y="2993911"/>
                </a:cubicBezTo>
                <a:cubicBezTo>
                  <a:pt x="530561" y="2987964"/>
                  <a:pt x="535350" y="2983174"/>
                  <a:pt x="541297" y="2983174"/>
                </a:cubicBezTo>
                <a:close/>
                <a:moveTo>
                  <a:pt x="472582" y="2979871"/>
                </a:moveTo>
                <a:cubicBezTo>
                  <a:pt x="478528" y="2979871"/>
                  <a:pt x="483320" y="2984661"/>
                  <a:pt x="483320" y="2990607"/>
                </a:cubicBezTo>
                <a:cubicBezTo>
                  <a:pt x="483320" y="2996554"/>
                  <a:pt x="478528" y="3001345"/>
                  <a:pt x="472582" y="3001345"/>
                </a:cubicBezTo>
                <a:cubicBezTo>
                  <a:pt x="466635" y="3001345"/>
                  <a:pt x="461845" y="2996554"/>
                  <a:pt x="461845" y="2990607"/>
                </a:cubicBezTo>
                <a:cubicBezTo>
                  <a:pt x="461845" y="2984661"/>
                  <a:pt x="466635" y="2979871"/>
                  <a:pt x="472582" y="2979871"/>
                </a:cubicBezTo>
                <a:close/>
                <a:moveTo>
                  <a:pt x="411465" y="2976899"/>
                </a:moveTo>
                <a:cubicBezTo>
                  <a:pt x="417412" y="2976899"/>
                  <a:pt x="422202" y="2981688"/>
                  <a:pt x="422202" y="2987635"/>
                </a:cubicBezTo>
                <a:cubicBezTo>
                  <a:pt x="422202" y="2993581"/>
                  <a:pt x="417412" y="2998371"/>
                  <a:pt x="411465" y="2998371"/>
                </a:cubicBezTo>
                <a:cubicBezTo>
                  <a:pt x="405519" y="2998371"/>
                  <a:pt x="400729" y="2993581"/>
                  <a:pt x="400729" y="2987635"/>
                </a:cubicBezTo>
                <a:cubicBezTo>
                  <a:pt x="400729" y="2981688"/>
                  <a:pt x="405519" y="2976899"/>
                  <a:pt x="411465" y="2976899"/>
                </a:cubicBezTo>
                <a:close/>
                <a:moveTo>
                  <a:pt x="357286" y="2973760"/>
                </a:moveTo>
                <a:cubicBezTo>
                  <a:pt x="363232" y="2973760"/>
                  <a:pt x="368024" y="2978550"/>
                  <a:pt x="368024" y="2984496"/>
                </a:cubicBezTo>
                <a:cubicBezTo>
                  <a:pt x="368024" y="2990443"/>
                  <a:pt x="363232" y="2995234"/>
                  <a:pt x="357286" y="2995234"/>
                </a:cubicBezTo>
                <a:cubicBezTo>
                  <a:pt x="351339" y="2995234"/>
                  <a:pt x="346550" y="2990443"/>
                  <a:pt x="346550" y="2984496"/>
                </a:cubicBezTo>
                <a:cubicBezTo>
                  <a:pt x="346550" y="2978550"/>
                  <a:pt x="351339" y="2973760"/>
                  <a:pt x="357286" y="2973760"/>
                </a:cubicBezTo>
                <a:close/>
                <a:moveTo>
                  <a:pt x="309382" y="2970952"/>
                </a:moveTo>
                <a:cubicBezTo>
                  <a:pt x="315329" y="2970952"/>
                  <a:pt x="320119" y="2975742"/>
                  <a:pt x="320119" y="2981688"/>
                </a:cubicBezTo>
                <a:cubicBezTo>
                  <a:pt x="320119" y="2987635"/>
                  <a:pt x="315329" y="2992424"/>
                  <a:pt x="309382" y="2992424"/>
                </a:cubicBezTo>
                <a:cubicBezTo>
                  <a:pt x="303436" y="2992424"/>
                  <a:pt x="298646" y="2987635"/>
                  <a:pt x="298646" y="2981688"/>
                </a:cubicBezTo>
                <a:cubicBezTo>
                  <a:pt x="298646" y="2975742"/>
                  <a:pt x="303436" y="2970952"/>
                  <a:pt x="309382" y="2970952"/>
                </a:cubicBezTo>
                <a:close/>
                <a:moveTo>
                  <a:pt x="267592" y="2968143"/>
                </a:moveTo>
                <a:cubicBezTo>
                  <a:pt x="273538" y="2968143"/>
                  <a:pt x="278330" y="2972932"/>
                  <a:pt x="278330" y="2978879"/>
                </a:cubicBezTo>
                <a:cubicBezTo>
                  <a:pt x="278330" y="2984826"/>
                  <a:pt x="273538" y="2989617"/>
                  <a:pt x="267592" y="2989617"/>
                </a:cubicBezTo>
                <a:cubicBezTo>
                  <a:pt x="261645" y="2989617"/>
                  <a:pt x="256856" y="2984826"/>
                  <a:pt x="256856" y="2978879"/>
                </a:cubicBezTo>
                <a:cubicBezTo>
                  <a:pt x="256856" y="2972932"/>
                  <a:pt x="261645" y="2968143"/>
                  <a:pt x="267592" y="2968143"/>
                </a:cubicBezTo>
                <a:close/>
                <a:moveTo>
                  <a:pt x="230923" y="2965501"/>
                </a:moveTo>
                <a:cubicBezTo>
                  <a:pt x="236869" y="2965501"/>
                  <a:pt x="241661" y="2970291"/>
                  <a:pt x="241661" y="2976238"/>
                </a:cubicBezTo>
                <a:cubicBezTo>
                  <a:pt x="241661" y="2982184"/>
                  <a:pt x="236869" y="2986976"/>
                  <a:pt x="230923" y="2986976"/>
                </a:cubicBezTo>
                <a:cubicBezTo>
                  <a:pt x="224976" y="2986976"/>
                  <a:pt x="220186" y="2982184"/>
                  <a:pt x="220186" y="2976238"/>
                </a:cubicBezTo>
                <a:cubicBezTo>
                  <a:pt x="220186" y="2970291"/>
                  <a:pt x="224976" y="2965501"/>
                  <a:pt x="230923" y="2965501"/>
                </a:cubicBezTo>
                <a:close/>
                <a:moveTo>
                  <a:pt x="199208" y="2963023"/>
                </a:moveTo>
                <a:cubicBezTo>
                  <a:pt x="205154" y="2963023"/>
                  <a:pt x="209946" y="2967813"/>
                  <a:pt x="209946" y="2973760"/>
                </a:cubicBezTo>
                <a:cubicBezTo>
                  <a:pt x="209946" y="2979706"/>
                  <a:pt x="205154" y="2984498"/>
                  <a:pt x="199208" y="2984498"/>
                </a:cubicBezTo>
                <a:cubicBezTo>
                  <a:pt x="193261" y="2984498"/>
                  <a:pt x="188471" y="2979706"/>
                  <a:pt x="188471" y="2973760"/>
                </a:cubicBezTo>
                <a:cubicBezTo>
                  <a:pt x="188471" y="2967813"/>
                  <a:pt x="193261" y="2963023"/>
                  <a:pt x="199208" y="2963023"/>
                </a:cubicBezTo>
                <a:close/>
                <a:moveTo>
                  <a:pt x="171953" y="2960710"/>
                </a:moveTo>
                <a:cubicBezTo>
                  <a:pt x="177900" y="2960710"/>
                  <a:pt x="182691" y="2965500"/>
                  <a:pt x="182691" y="2971446"/>
                </a:cubicBezTo>
                <a:cubicBezTo>
                  <a:pt x="182691" y="2977393"/>
                  <a:pt x="177900" y="2982184"/>
                  <a:pt x="171953" y="2982184"/>
                </a:cubicBezTo>
                <a:cubicBezTo>
                  <a:pt x="166007" y="2982184"/>
                  <a:pt x="161217" y="2977393"/>
                  <a:pt x="161217" y="2971446"/>
                </a:cubicBezTo>
                <a:cubicBezTo>
                  <a:pt x="161217" y="2965500"/>
                  <a:pt x="166007" y="2960710"/>
                  <a:pt x="171953" y="2960710"/>
                </a:cubicBezTo>
                <a:close/>
                <a:moveTo>
                  <a:pt x="148497" y="2958398"/>
                </a:moveTo>
                <a:cubicBezTo>
                  <a:pt x="154443" y="2958398"/>
                  <a:pt x="159235" y="2963188"/>
                  <a:pt x="159235" y="2969134"/>
                </a:cubicBezTo>
                <a:cubicBezTo>
                  <a:pt x="159235" y="2975081"/>
                  <a:pt x="154443" y="2979873"/>
                  <a:pt x="148497" y="2979873"/>
                </a:cubicBezTo>
                <a:cubicBezTo>
                  <a:pt x="142550" y="2979873"/>
                  <a:pt x="137760" y="2975081"/>
                  <a:pt x="137760" y="2969134"/>
                </a:cubicBezTo>
                <a:cubicBezTo>
                  <a:pt x="137760" y="2963188"/>
                  <a:pt x="142550" y="2958398"/>
                  <a:pt x="148497" y="2958398"/>
                </a:cubicBezTo>
                <a:close/>
                <a:moveTo>
                  <a:pt x="15195" y="2933787"/>
                </a:moveTo>
                <a:lnTo>
                  <a:pt x="18745" y="2937338"/>
                </a:lnTo>
                <a:lnTo>
                  <a:pt x="21306" y="2934777"/>
                </a:lnTo>
                <a:lnTo>
                  <a:pt x="24610" y="2938082"/>
                </a:lnTo>
                <a:lnTo>
                  <a:pt x="26759" y="2935933"/>
                </a:lnTo>
                <a:lnTo>
                  <a:pt x="29648" y="2938825"/>
                </a:lnTo>
                <a:lnTo>
                  <a:pt x="31548" y="2936924"/>
                </a:lnTo>
                <a:lnTo>
                  <a:pt x="34356" y="2939733"/>
                </a:lnTo>
                <a:lnTo>
                  <a:pt x="36009" y="2938080"/>
                </a:lnTo>
                <a:lnTo>
                  <a:pt x="38898" y="2940971"/>
                </a:lnTo>
                <a:lnTo>
                  <a:pt x="40467" y="2939402"/>
                </a:lnTo>
                <a:lnTo>
                  <a:pt x="43275" y="2942211"/>
                </a:lnTo>
                <a:lnTo>
                  <a:pt x="44763" y="2940723"/>
                </a:lnTo>
                <a:lnTo>
                  <a:pt x="47735" y="2943697"/>
                </a:lnTo>
                <a:lnTo>
                  <a:pt x="49388" y="2942045"/>
                </a:lnTo>
                <a:lnTo>
                  <a:pt x="52692" y="2945349"/>
                </a:lnTo>
                <a:lnTo>
                  <a:pt x="54509" y="2943531"/>
                </a:lnTo>
                <a:lnTo>
                  <a:pt x="58225" y="2947247"/>
                </a:lnTo>
                <a:lnTo>
                  <a:pt x="60455" y="2945017"/>
                </a:lnTo>
                <a:lnTo>
                  <a:pt x="64751" y="2949313"/>
                </a:lnTo>
                <a:lnTo>
                  <a:pt x="67392" y="2946670"/>
                </a:lnTo>
                <a:lnTo>
                  <a:pt x="72349" y="2951626"/>
                </a:lnTo>
                <a:lnTo>
                  <a:pt x="75652" y="2948321"/>
                </a:lnTo>
                <a:lnTo>
                  <a:pt x="81517" y="2954184"/>
                </a:lnTo>
                <a:lnTo>
                  <a:pt x="85563" y="2950138"/>
                </a:lnTo>
                <a:lnTo>
                  <a:pt x="92500" y="2957077"/>
                </a:lnTo>
                <a:lnTo>
                  <a:pt x="97456" y="2952120"/>
                </a:lnTo>
                <a:lnTo>
                  <a:pt x="105550" y="2960214"/>
                </a:lnTo>
                <a:lnTo>
                  <a:pt x="111661" y="2954103"/>
                </a:lnTo>
                <a:lnTo>
                  <a:pt x="121076" y="2963519"/>
                </a:lnTo>
                <a:lnTo>
                  <a:pt x="128510" y="2956085"/>
                </a:lnTo>
                <a:cubicBezTo>
                  <a:pt x="134457" y="2956085"/>
                  <a:pt x="139248" y="2960875"/>
                  <a:pt x="139248" y="2966821"/>
                </a:cubicBezTo>
                <a:cubicBezTo>
                  <a:pt x="139248" y="2972767"/>
                  <a:pt x="134457" y="2977559"/>
                  <a:pt x="128510" y="2977559"/>
                </a:cubicBezTo>
                <a:lnTo>
                  <a:pt x="119094" y="2968143"/>
                </a:lnTo>
                <a:lnTo>
                  <a:pt x="111661" y="2975577"/>
                </a:lnTo>
                <a:lnTo>
                  <a:pt x="103567" y="2967484"/>
                </a:lnTo>
                <a:lnTo>
                  <a:pt x="97456" y="2973593"/>
                </a:lnTo>
                <a:lnTo>
                  <a:pt x="90519" y="2966656"/>
                </a:lnTo>
                <a:lnTo>
                  <a:pt x="85563" y="2971613"/>
                </a:lnTo>
                <a:lnTo>
                  <a:pt x="79700" y="2965748"/>
                </a:lnTo>
                <a:lnTo>
                  <a:pt x="75652" y="2969795"/>
                </a:lnTo>
                <a:lnTo>
                  <a:pt x="70696" y="2964839"/>
                </a:lnTo>
                <a:lnTo>
                  <a:pt x="67392" y="2968143"/>
                </a:lnTo>
                <a:lnTo>
                  <a:pt x="63098" y="2963849"/>
                </a:lnTo>
                <a:lnTo>
                  <a:pt x="60455" y="2966491"/>
                </a:lnTo>
                <a:lnTo>
                  <a:pt x="56739" y="2962775"/>
                </a:lnTo>
                <a:lnTo>
                  <a:pt x="54509" y="2965006"/>
                </a:lnTo>
                <a:lnTo>
                  <a:pt x="51205" y="2961702"/>
                </a:lnTo>
                <a:lnTo>
                  <a:pt x="49388" y="2963517"/>
                </a:lnTo>
                <a:lnTo>
                  <a:pt x="46416" y="2960545"/>
                </a:lnTo>
                <a:lnTo>
                  <a:pt x="44763" y="2962198"/>
                </a:lnTo>
                <a:lnTo>
                  <a:pt x="41953" y="2959390"/>
                </a:lnTo>
                <a:lnTo>
                  <a:pt x="40467" y="2960876"/>
                </a:lnTo>
                <a:lnTo>
                  <a:pt x="37576" y="2957987"/>
                </a:lnTo>
                <a:lnTo>
                  <a:pt x="36009" y="2959555"/>
                </a:lnTo>
                <a:lnTo>
                  <a:pt x="33199" y="2956747"/>
                </a:lnTo>
                <a:lnTo>
                  <a:pt x="31548" y="2958398"/>
                </a:lnTo>
                <a:lnTo>
                  <a:pt x="28657" y="2955509"/>
                </a:lnTo>
                <a:lnTo>
                  <a:pt x="26759" y="2957408"/>
                </a:lnTo>
                <a:lnTo>
                  <a:pt x="23453" y="2954104"/>
                </a:lnTo>
                <a:lnTo>
                  <a:pt x="21306" y="2956251"/>
                </a:lnTo>
                <a:lnTo>
                  <a:pt x="17755" y="2952699"/>
                </a:lnTo>
                <a:lnTo>
                  <a:pt x="15195" y="2955259"/>
                </a:lnTo>
                <a:lnTo>
                  <a:pt x="10157" y="2950223"/>
                </a:lnTo>
                <a:lnTo>
                  <a:pt x="8425" y="2951956"/>
                </a:lnTo>
                <a:cubicBezTo>
                  <a:pt x="3800" y="2951956"/>
                  <a:pt x="0" y="2948156"/>
                  <a:pt x="0" y="2943531"/>
                </a:cubicBezTo>
                <a:cubicBezTo>
                  <a:pt x="0" y="2938906"/>
                  <a:pt x="3800" y="2935106"/>
                  <a:pt x="8425" y="2935106"/>
                </a:cubicBezTo>
                <a:lnTo>
                  <a:pt x="11149" y="2937833"/>
                </a:lnTo>
                <a:close/>
                <a:moveTo>
                  <a:pt x="137760" y="2843761"/>
                </a:moveTo>
                <a:cubicBezTo>
                  <a:pt x="143707" y="2843761"/>
                  <a:pt x="148497" y="2848551"/>
                  <a:pt x="148497" y="2854498"/>
                </a:cubicBezTo>
                <a:cubicBezTo>
                  <a:pt x="148497" y="2860444"/>
                  <a:pt x="143707" y="2865236"/>
                  <a:pt x="137760" y="2865236"/>
                </a:cubicBezTo>
                <a:lnTo>
                  <a:pt x="129337" y="2856811"/>
                </a:lnTo>
                <a:lnTo>
                  <a:pt x="119425" y="2866722"/>
                </a:lnTo>
                <a:lnTo>
                  <a:pt x="112486" y="2859785"/>
                </a:lnTo>
                <a:lnTo>
                  <a:pt x="103897" y="2868375"/>
                </a:lnTo>
                <a:lnTo>
                  <a:pt x="98198" y="2862676"/>
                </a:lnTo>
                <a:lnTo>
                  <a:pt x="91014" y="2869861"/>
                </a:lnTo>
                <a:lnTo>
                  <a:pt x="86224" y="2865071"/>
                </a:lnTo>
                <a:lnTo>
                  <a:pt x="80111" y="2871182"/>
                </a:lnTo>
                <a:lnTo>
                  <a:pt x="76311" y="2867385"/>
                </a:lnTo>
                <a:lnTo>
                  <a:pt x="71192" y="2872504"/>
                </a:lnTo>
                <a:lnTo>
                  <a:pt x="68053" y="2869367"/>
                </a:lnTo>
                <a:lnTo>
                  <a:pt x="63594" y="2873825"/>
                </a:lnTo>
                <a:lnTo>
                  <a:pt x="60951" y="2871182"/>
                </a:lnTo>
                <a:lnTo>
                  <a:pt x="57152" y="2874980"/>
                </a:lnTo>
                <a:lnTo>
                  <a:pt x="55005" y="2872835"/>
                </a:lnTo>
                <a:lnTo>
                  <a:pt x="51701" y="2876139"/>
                </a:lnTo>
                <a:lnTo>
                  <a:pt x="49884" y="2874321"/>
                </a:lnTo>
                <a:lnTo>
                  <a:pt x="46910" y="2877294"/>
                </a:lnTo>
                <a:lnTo>
                  <a:pt x="45176" y="2875560"/>
                </a:lnTo>
                <a:lnTo>
                  <a:pt x="42449" y="2878286"/>
                </a:lnTo>
                <a:lnTo>
                  <a:pt x="40798" y="2876635"/>
                </a:lnTo>
                <a:lnTo>
                  <a:pt x="38156" y="2879278"/>
                </a:lnTo>
                <a:lnTo>
                  <a:pt x="36420" y="2877544"/>
                </a:lnTo>
                <a:lnTo>
                  <a:pt x="33695" y="2880268"/>
                </a:lnTo>
                <a:lnTo>
                  <a:pt x="31795" y="2878369"/>
                </a:lnTo>
                <a:lnTo>
                  <a:pt x="29070" y="2881093"/>
                </a:lnTo>
                <a:lnTo>
                  <a:pt x="26923" y="2878948"/>
                </a:lnTo>
                <a:lnTo>
                  <a:pt x="23951" y="2881921"/>
                </a:lnTo>
                <a:lnTo>
                  <a:pt x="21471" y="2879442"/>
                </a:lnTo>
                <a:lnTo>
                  <a:pt x="18334" y="2882579"/>
                </a:lnTo>
                <a:lnTo>
                  <a:pt x="15526" y="2879772"/>
                </a:lnTo>
                <a:lnTo>
                  <a:pt x="11891" y="2883407"/>
                </a:lnTo>
                <a:lnTo>
                  <a:pt x="4540" y="2876056"/>
                </a:lnTo>
                <a:lnTo>
                  <a:pt x="4459" y="2876137"/>
                </a:lnTo>
                <a:cubicBezTo>
                  <a:pt x="2818" y="2876137"/>
                  <a:pt x="1486" y="2874805"/>
                  <a:pt x="1486" y="2873163"/>
                </a:cubicBezTo>
                <a:lnTo>
                  <a:pt x="1568" y="2873081"/>
                </a:lnTo>
                <a:lnTo>
                  <a:pt x="1155" y="2872669"/>
                </a:lnTo>
                <a:cubicBezTo>
                  <a:pt x="1155" y="2866722"/>
                  <a:pt x="5945" y="2861932"/>
                  <a:pt x="11891" y="2861932"/>
                </a:cubicBezTo>
                <a:lnTo>
                  <a:pt x="14699" y="2864740"/>
                </a:lnTo>
                <a:lnTo>
                  <a:pt x="18334" y="2861105"/>
                </a:lnTo>
                <a:lnTo>
                  <a:pt x="20812" y="2863585"/>
                </a:lnTo>
                <a:lnTo>
                  <a:pt x="23951" y="2860446"/>
                </a:lnTo>
                <a:lnTo>
                  <a:pt x="26096" y="2862593"/>
                </a:lnTo>
                <a:lnTo>
                  <a:pt x="29070" y="2859619"/>
                </a:lnTo>
                <a:lnTo>
                  <a:pt x="30969" y="2861520"/>
                </a:lnTo>
                <a:lnTo>
                  <a:pt x="33695" y="2858794"/>
                </a:lnTo>
                <a:lnTo>
                  <a:pt x="35429" y="2860529"/>
                </a:lnTo>
                <a:lnTo>
                  <a:pt x="38156" y="2857803"/>
                </a:lnTo>
                <a:lnTo>
                  <a:pt x="39807" y="2859454"/>
                </a:lnTo>
                <a:lnTo>
                  <a:pt x="42449" y="2856811"/>
                </a:lnTo>
                <a:lnTo>
                  <a:pt x="44184" y="2858547"/>
                </a:lnTo>
                <a:lnTo>
                  <a:pt x="46910" y="2855821"/>
                </a:lnTo>
                <a:lnTo>
                  <a:pt x="48727" y="2857638"/>
                </a:lnTo>
                <a:lnTo>
                  <a:pt x="51701" y="2854664"/>
                </a:lnTo>
                <a:lnTo>
                  <a:pt x="53848" y="2856811"/>
                </a:lnTo>
                <a:lnTo>
                  <a:pt x="57152" y="2853508"/>
                </a:lnTo>
                <a:lnTo>
                  <a:pt x="59795" y="2856151"/>
                </a:lnTo>
                <a:lnTo>
                  <a:pt x="63594" y="2852351"/>
                </a:lnTo>
                <a:lnTo>
                  <a:pt x="66732" y="2855490"/>
                </a:lnTo>
                <a:lnTo>
                  <a:pt x="71192" y="2851030"/>
                </a:lnTo>
                <a:lnTo>
                  <a:pt x="74990" y="2854829"/>
                </a:lnTo>
                <a:lnTo>
                  <a:pt x="80111" y="2849708"/>
                </a:lnTo>
                <a:lnTo>
                  <a:pt x="84902" y="2854500"/>
                </a:lnTo>
                <a:lnTo>
                  <a:pt x="91014" y="2848387"/>
                </a:lnTo>
                <a:lnTo>
                  <a:pt x="96712" y="2854085"/>
                </a:lnTo>
                <a:lnTo>
                  <a:pt x="103897" y="2846900"/>
                </a:lnTo>
                <a:lnTo>
                  <a:pt x="110835" y="2853839"/>
                </a:lnTo>
                <a:lnTo>
                  <a:pt x="119425" y="2845250"/>
                </a:lnTo>
                <a:lnTo>
                  <a:pt x="127849" y="2853672"/>
                </a:lnTo>
                <a:close/>
                <a:moveTo>
                  <a:pt x="159400" y="2841944"/>
                </a:moveTo>
                <a:cubicBezTo>
                  <a:pt x="165346" y="2841944"/>
                  <a:pt x="170138" y="2846734"/>
                  <a:pt x="170138" y="2852681"/>
                </a:cubicBezTo>
                <a:cubicBezTo>
                  <a:pt x="170138" y="2858627"/>
                  <a:pt x="165346" y="2863418"/>
                  <a:pt x="159400" y="2863418"/>
                </a:cubicBezTo>
                <a:cubicBezTo>
                  <a:pt x="153453" y="2863418"/>
                  <a:pt x="148663" y="2858627"/>
                  <a:pt x="148663" y="2852681"/>
                </a:cubicBezTo>
                <a:cubicBezTo>
                  <a:pt x="148663" y="2846734"/>
                  <a:pt x="153453" y="2841944"/>
                  <a:pt x="159400" y="2841944"/>
                </a:cubicBezTo>
                <a:close/>
                <a:moveTo>
                  <a:pt x="184672" y="2840128"/>
                </a:moveTo>
                <a:cubicBezTo>
                  <a:pt x="190618" y="2840128"/>
                  <a:pt x="195410" y="2844918"/>
                  <a:pt x="195410" y="2850865"/>
                </a:cubicBezTo>
                <a:cubicBezTo>
                  <a:pt x="195410" y="2856811"/>
                  <a:pt x="190618" y="2861603"/>
                  <a:pt x="184672" y="2861603"/>
                </a:cubicBezTo>
                <a:cubicBezTo>
                  <a:pt x="178725" y="2861603"/>
                  <a:pt x="173935" y="2856811"/>
                  <a:pt x="173935" y="2850865"/>
                </a:cubicBezTo>
                <a:cubicBezTo>
                  <a:pt x="173935" y="2844918"/>
                  <a:pt x="178725" y="2840128"/>
                  <a:pt x="184672" y="2840128"/>
                </a:cubicBezTo>
                <a:close/>
                <a:moveTo>
                  <a:pt x="214238" y="2838311"/>
                </a:moveTo>
                <a:cubicBezTo>
                  <a:pt x="220185" y="2838311"/>
                  <a:pt x="224976" y="2843101"/>
                  <a:pt x="224976" y="2849047"/>
                </a:cubicBezTo>
                <a:cubicBezTo>
                  <a:pt x="224976" y="2854994"/>
                  <a:pt x="220185" y="2859784"/>
                  <a:pt x="214238" y="2859784"/>
                </a:cubicBezTo>
                <a:cubicBezTo>
                  <a:pt x="208291" y="2859784"/>
                  <a:pt x="203502" y="2854994"/>
                  <a:pt x="203502" y="2849047"/>
                </a:cubicBezTo>
                <a:cubicBezTo>
                  <a:pt x="203502" y="2843101"/>
                  <a:pt x="208291" y="2838311"/>
                  <a:pt x="214238" y="2838311"/>
                </a:cubicBezTo>
                <a:close/>
                <a:moveTo>
                  <a:pt x="248266" y="2836329"/>
                </a:moveTo>
                <a:cubicBezTo>
                  <a:pt x="254213" y="2836329"/>
                  <a:pt x="259004" y="2841118"/>
                  <a:pt x="259004" y="2847065"/>
                </a:cubicBezTo>
                <a:cubicBezTo>
                  <a:pt x="259004" y="2853011"/>
                  <a:pt x="254213" y="2857803"/>
                  <a:pt x="248266" y="2857803"/>
                </a:cubicBezTo>
                <a:cubicBezTo>
                  <a:pt x="242320" y="2857803"/>
                  <a:pt x="237530" y="2853011"/>
                  <a:pt x="237530" y="2847065"/>
                </a:cubicBezTo>
                <a:cubicBezTo>
                  <a:pt x="237530" y="2841118"/>
                  <a:pt x="242320" y="2836329"/>
                  <a:pt x="248266" y="2836329"/>
                </a:cubicBezTo>
                <a:close/>
                <a:moveTo>
                  <a:pt x="287414" y="2834347"/>
                </a:moveTo>
                <a:cubicBezTo>
                  <a:pt x="293360" y="2834347"/>
                  <a:pt x="298150" y="2839137"/>
                  <a:pt x="298150" y="2845083"/>
                </a:cubicBezTo>
                <a:cubicBezTo>
                  <a:pt x="298150" y="2851030"/>
                  <a:pt x="293360" y="2855821"/>
                  <a:pt x="287414" y="2855821"/>
                </a:cubicBezTo>
                <a:cubicBezTo>
                  <a:pt x="281467" y="2855821"/>
                  <a:pt x="276677" y="2851030"/>
                  <a:pt x="276677" y="2845083"/>
                </a:cubicBezTo>
                <a:cubicBezTo>
                  <a:pt x="276677" y="2839137"/>
                  <a:pt x="281467" y="2834347"/>
                  <a:pt x="287414" y="2834347"/>
                </a:cubicBezTo>
                <a:close/>
                <a:moveTo>
                  <a:pt x="332178" y="2832200"/>
                </a:moveTo>
                <a:cubicBezTo>
                  <a:pt x="338125" y="2832200"/>
                  <a:pt x="342916" y="2836990"/>
                  <a:pt x="342916" y="2842936"/>
                </a:cubicBezTo>
                <a:cubicBezTo>
                  <a:pt x="342916" y="2848883"/>
                  <a:pt x="338125" y="2853674"/>
                  <a:pt x="332178" y="2853674"/>
                </a:cubicBezTo>
                <a:cubicBezTo>
                  <a:pt x="326232" y="2853674"/>
                  <a:pt x="321442" y="2848883"/>
                  <a:pt x="321442" y="2842936"/>
                </a:cubicBezTo>
                <a:cubicBezTo>
                  <a:pt x="321442" y="2836990"/>
                  <a:pt x="326232" y="2832200"/>
                  <a:pt x="332178" y="2832200"/>
                </a:cubicBezTo>
                <a:close/>
                <a:moveTo>
                  <a:pt x="383054" y="2829886"/>
                </a:moveTo>
                <a:cubicBezTo>
                  <a:pt x="389001" y="2829886"/>
                  <a:pt x="393790" y="2834676"/>
                  <a:pt x="393790" y="2840623"/>
                </a:cubicBezTo>
                <a:cubicBezTo>
                  <a:pt x="393790" y="2846569"/>
                  <a:pt x="389001" y="2851361"/>
                  <a:pt x="383054" y="2851361"/>
                </a:cubicBezTo>
                <a:cubicBezTo>
                  <a:pt x="377108" y="2851361"/>
                  <a:pt x="372318" y="2846569"/>
                  <a:pt x="372318" y="2840623"/>
                </a:cubicBezTo>
                <a:cubicBezTo>
                  <a:pt x="372318" y="2834676"/>
                  <a:pt x="377108" y="2829886"/>
                  <a:pt x="383054" y="2829886"/>
                </a:cubicBezTo>
                <a:close/>
                <a:moveTo>
                  <a:pt x="440702" y="2827574"/>
                </a:moveTo>
                <a:cubicBezTo>
                  <a:pt x="446648" y="2827574"/>
                  <a:pt x="451438" y="2832364"/>
                  <a:pt x="451438" y="2838311"/>
                </a:cubicBezTo>
                <a:cubicBezTo>
                  <a:pt x="451438" y="2844258"/>
                  <a:pt x="446648" y="2849049"/>
                  <a:pt x="440702" y="2849049"/>
                </a:cubicBezTo>
                <a:cubicBezTo>
                  <a:pt x="434755" y="2849049"/>
                  <a:pt x="429966" y="2844258"/>
                  <a:pt x="429966" y="2838311"/>
                </a:cubicBezTo>
                <a:cubicBezTo>
                  <a:pt x="429966" y="2832364"/>
                  <a:pt x="434755" y="2827574"/>
                  <a:pt x="440702" y="2827574"/>
                </a:cubicBezTo>
                <a:close/>
                <a:moveTo>
                  <a:pt x="505618" y="2825097"/>
                </a:moveTo>
                <a:cubicBezTo>
                  <a:pt x="511564" y="2825097"/>
                  <a:pt x="516356" y="2829886"/>
                  <a:pt x="516356" y="2835833"/>
                </a:cubicBezTo>
                <a:cubicBezTo>
                  <a:pt x="516356" y="2841779"/>
                  <a:pt x="511564" y="2846571"/>
                  <a:pt x="505618" y="2846571"/>
                </a:cubicBezTo>
                <a:cubicBezTo>
                  <a:pt x="499671" y="2846571"/>
                  <a:pt x="494881" y="2841779"/>
                  <a:pt x="494881" y="2835833"/>
                </a:cubicBezTo>
                <a:cubicBezTo>
                  <a:pt x="494881" y="2829886"/>
                  <a:pt x="499671" y="2825097"/>
                  <a:pt x="505618" y="2825097"/>
                </a:cubicBezTo>
                <a:close/>
                <a:moveTo>
                  <a:pt x="578299" y="2822618"/>
                </a:moveTo>
                <a:cubicBezTo>
                  <a:pt x="584246" y="2822618"/>
                  <a:pt x="589036" y="2827408"/>
                  <a:pt x="589036" y="2833354"/>
                </a:cubicBezTo>
                <a:cubicBezTo>
                  <a:pt x="589036" y="2839301"/>
                  <a:pt x="584246" y="2844093"/>
                  <a:pt x="578299" y="2844093"/>
                </a:cubicBezTo>
                <a:cubicBezTo>
                  <a:pt x="572353" y="2844093"/>
                  <a:pt x="567563" y="2839301"/>
                  <a:pt x="567563" y="2833354"/>
                </a:cubicBezTo>
                <a:cubicBezTo>
                  <a:pt x="567563" y="2827408"/>
                  <a:pt x="572353" y="2822618"/>
                  <a:pt x="578299" y="2822618"/>
                </a:cubicBezTo>
                <a:close/>
                <a:moveTo>
                  <a:pt x="659567" y="2819811"/>
                </a:moveTo>
                <a:cubicBezTo>
                  <a:pt x="665513" y="2819811"/>
                  <a:pt x="670305" y="2824601"/>
                  <a:pt x="670305" y="2830547"/>
                </a:cubicBezTo>
                <a:cubicBezTo>
                  <a:pt x="670305" y="2836494"/>
                  <a:pt x="665513" y="2841285"/>
                  <a:pt x="659567" y="2841285"/>
                </a:cubicBezTo>
                <a:cubicBezTo>
                  <a:pt x="653620" y="2841285"/>
                  <a:pt x="648830" y="2836494"/>
                  <a:pt x="648830" y="2830547"/>
                </a:cubicBezTo>
                <a:cubicBezTo>
                  <a:pt x="648830" y="2824601"/>
                  <a:pt x="653620" y="2819811"/>
                  <a:pt x="659567" y="2819811"/>
                </a:cubicBezTo>
                <a:close/>
                <a:moveTo>
                  <a:pt x="750086" y="2817168"/>
                </a:moveTo>
                <a:cubicBezTo>
                  <a:pt x="756033" y="2817168"/>
                  <a:pt x="760824" y="2821957"/>
                  <a:pt x="760824" y="2827904"/>
                </a:cubicBezTo>
                <a:cubicBezTo>
                  <a:pt x="760824" y="2833851"/>
                  <a:pt x="756033" y="2838642"/>
                  <a:pt x="750086" y="2838642"/>
                </a:cubicBezTo>
                <a:cubicBezTo>
                  <a:pt x="744140" y="2838642"/>
                  <a:pt x="739350" y="2833851"/>
                  <a:pt x="739350" y="2827904"/>
                </a:cubicBezTo>
                <a:cubicBezTo>
                  <a:pt x="739350" y="2821957"/>
                  <a:pt x="744140" y="2817168"/>
                  <a:pt x="750086" y="2817168"/>
                </a:cubicBezTo>
                <a:close/>
                <a:moveTo>
                  <a:pt x="850352" y="2814195"/>
                </a:moveTo>
                <a:cubicBezTo>
                  <a:pt x="856298" y="2814195"/>
                  <a:pt x="861088" y="2818985"/>
                  <a:pt x="861088" y="2824932"/>
                </a:cubicBezTo>
                <a:cubicBezTo>
                  <a:pt x="861088" y="2830878"/>
                  <a:pt x="856298" y="2835670"/>
                  <a:pt x="850352" y="2835670"/>
                </a:cubicBezTo>
                <a:cubicBezTo>
                  <a:pt x="844405" y="2835670"/>
                  <a:pt x="839615" y="2830878"/>
                  <a:pt x="839615" y="2824932"/>
                </a:cubicBezTo>
                <a:cubicBezTo>
                  <a:pt x="839615" y="2818985"/>
                  <a:pt x="844405" y="2814195"/>
                  <a:pt x="850352" y="2814195"/>
                </a:cubicBezTo>
                <a:close/>
                <a:moveTo>
                  <a:pt x="961189" y="2811221"/>
                </a:moveTo>
                <a:cubicBezTo>
                  <a:pt x="967135" y="2811221"/>
                  <a:pt x="971925" y="2816011"/>
                  <a:pt x="971925" y="2821957"/>
                </a:cubicBezTo>
                <a:cubicBezTo>
                  <a:pt x="971925" y="2827904"/>
                  <a:pt x="967135" y="2832695"/>
                  <a:pt x="961189" y="2832695"/>
                </a:cubicBezTo>
                <a:cubicBezTo>
                  <a:pt x="955242" y="2832695"/>
                  <a:pt x="950452" y="2827904"/>
                  <a:pt x="950452" y="2821957"/>
                </a:cubicBezTo>
                <a:cubicBezTo>
                  <a:pt x="950452" y="2816011"/>
                  <a:pt x="955242" y="2811221"/>
                  <a:pt x="961189" y="2811221"/>
                </a:cubicBezTo>
                <a:close/>
                <a:moveTo>
                  <a:pt x="1083258" y="2808082"/>
                </a:moveTo>
                <a:cubicBezTo>
                  <a:pt x="1089205" y="2808082"/>
                  <a:pt x="1093996" y="2812872"/>
                  <a:pt x="1093996" y="2818819"/>
                </a:cubicBezTo>
                <a:cubicBezTo>
                  <a:pt x="1093996" y="2824765"/>
                  <a:pt x="1089205" y="2829555"/>
                  <a:pt x="1083258" y="2829555"/>
                </a:cubicBezTo>
                <a:cubicBezTo>
                  <a:pt x="1077312" y="2829555"/>
                  <a:pt x="1072522" y="2824765"/>
                  <a:pt x="1072522" y="2818819"/>
                </a:cubicBezTo>
                <a:cubicBezTo>
                  <a:pt x="1072522" y="2812872"/>
                  <a:pt x="1077312" y="2808082"/>
                  <a:pt x="1083258" y="2808082"/>
                </a:cubicBezTo>
                <a:close/>
                <a:moveTo>
                  <a:pt x="1217550" y="2804945"/>
                </a:moveTo>
                <a:cubicBezTo>
                  <a:pt x="1223497" y="2804945"/>
                  <a:pt x="1228288" y="2809735"/>
                  <a:pt x="1228288" y="2815681"/>
                </a:cubicBezTo>
                <a:cubicBezTo>
                  <a:pt x="1228288" y="2821628"/>
                  <a:pt x="1223497" y="2826420"/>
                  <a:pt x="1217550" y="2826420"/>
                </a:cubicBezTo>
                <a:cubicBezTo>
                  <a:pt x="1211604" y="2826420"/>
                  <a:pt x="1206814" y="2821628"/>
                  <a:pt x="1206814" y="2815681"/>
                </a:cubicBezTo>
                <a:cubicBezTo>
                  <a:pt x="1206814" y="2809735"/>
                  <a:pt x="1211604" y="2804945"/>
                  <a:pt x="1217550" y="2804945"/>
                </a:cubicBezTo>
                <a:close/>
                <a:moveTo>
                  <a:pt x="1364561" y="2801475"/>
                </a:moveTo>
                <a:cubicBezTo>
                  <a:pt x="1370507" y="2801475"/>
                  <a:pt x="1375299" y="2806265"/>
                  <a:pt x="1375299" y="2812212"/>
                </a:cubicBezTo>
                <a:cubicBezTo>
                  <a:pt x="1375299" y="2818158"/>
                  <a:pt x="1370507" y="2822950"/>
                  <a:pt x="1364561" y="2822950"/>
                </a:cubicBezTo>
                <a:cubicBezTo>
                  <a:pt x="1358614" y="2822950"/>
                  <a:pt x="1353824" y="2818158"/>
                  <a:pt x="1353824" y="2812212"/>
                </a:cubicBezTo>
                <a:cubicBezTo>
                  <a:pt x="1353824" y="2806265"/>
                  <a:pt x="1358614" y="2801475"/>
                  <a:pt x="1364561" y="2801475"/>
                </a:cubicBezTo>
                <a:close/>
                <a:moveTo>
                  <a:pt x="1525283" y="2798007"/>
                </a:moveTo>
                <a:cubicBezTo>
                  <a:pt x="1531230" y="2798007"/>
                  <a:pt x="1536020" y="2802797"/>
                  <a:pt x="1536020" y="2808743"/>
                </a:cubicBezTo>
                <a:cubicBezTo>
                  <a:pt x="1536020" y="2814690"/>
                  <a:pt x="1531230" y="2819479"/>
                  <a:pt x="1525283" y="2819479"/>
                </a:cubicBezTo>
                <a:cubicBezTo>
                  <a:pt x="1519337" y="2819479"/>
                  <a:pt x="1514547" y="2814690"/>
                  <a:pt x="1514547" y="2808743"/>
                </a:cubicBezTo>
                <a:cubicBezTo>
                  <a:pt x="1514547" y="2802797"/>
                  <a:pt x="1519337" y="2798007"/>
                  <a:pt x="1525283" y="2798007"/>
                </a:cubicBezTo>
                <a:close/>
                <a:moveTo>
                  <a:pt x="1700540" y="2794538"/>
                </a:moveTo>
                <a:cubicBezTo>
                  <a:pt x="1706487" y="2794538"/>
                  <a:pt x="1711277" y="2799328"/>
                  <a:pt x="1711277" y="2805275"/>
                </a:cubicBezTo>
                <a:cubicBezTo>
                  <a:pt x="1711277" y="2811221"/>
                  <a:pt x="1706487" y="2816013"/>
                  <a:pt x="1700540" y="2816013"/>
                </a:cubicBezTo>
                <a:cubicBezTo>
                  <a:pt x="1694594" y="2816013"/>
                  <a:pt x="1689804" y="2811221"/>
                  <a:pt x="1689804" y="2805275"/>
                </a:cubicBezTo>
                <a:cubicBezTo>
                  <a:pt x="1689804" y="2799328"/>
                  <a:pt x="1694594" y="2794538"/>
                  <a:pt x="1700540" y="2794538"/>
                </a:cubicBezTo>
                <a:close/>
                <a:moveTo>
                  <a:pt x="1891159" y="2790739"/>
                </a:moveTo>
                <a:cubicBezTo>
                  <a:pt x="1897105" y="2790739"/>
                  <a:pt x="1901897" y="2795529"/>
                  <a:pt x="1901897" y="2801475"/>
                </a:cubicBezTo>
                <a:cubicBezTo>
                  <a:pt x="1901897" y="2807422"/>
                  <a:pt x="1897105" y="2812213"/>
                  <a:pt x="1891159" y="2812213"/>
                </a:cubicBezTo>
                <a:cubicBezTo>
                  <a:pt x="1885212" y="2812213"/>
                  <a:pt x="1880422" y="2807422"/>
                  <a:pt x="1880422" y="2801475"/>
                </a:cubicBezTo>
                <a:cubicBezTo>
                  <a:pt x="1880422" y="2795529"/>
                  <a:pt x="1885212" y="2790739"/>
                  <a:pt x="1891159" y="2790739"/>
                </a:cubicBezTo>
                <a:close/>
                <a:moveTo>
                  <a:pt x="2098132" y="2786939"/>
                </a:moveTo>
                <a:cubicBezTo>
                  <a:pt x="2104078" y="2786939"/>
                  <a:pt x="2108868" y="2791729"/>
                  <a:pt x="2108868" y="2797676"/>
                </a:cubicBezTo>
                <a:cubicBezTo>
                  <a:pt x="2108868" y="2803622"/>
                  <a:pt x="2104078" y="2808412"/>
                  <a:pt x="2098132" y="2808412"/>
                </a:cubicBezTo>
                <a:cubicBezTo>
                  <a:pt x="2092186" y="2808412"/>
                  <a:pt x="2087396" y="2803622"/>
                  <a:pt x="2087396" y="2797676"/>
                </a:cubicBezTo>
                <a:cubicBezTo>
                  <a:pt x="2087396" y="2791729"/>
                  <a:pt x="2092186" y="2786939"/>
                  <a:pt x="2098132" y="2786939"/>
                </a:cubicBezTo>
                <a:close/>
                <a:moveTo>
                  <a:pt x="2322448" y="2782810"/>
                </a:moveTo>
                <a:cubicBezTo>
                  <a:pt x="2328394" y="2782810"/>
                  <a:pt x="2333186" y="2787600"/>
                  <a:pt x="2333186" y="2793546"/>
                </a:cubicBezTo>
                <a:cubicBezTo>
                  <a:pt x="2333186" y="2799493"/>
                  <a:pt x="2328394" y="2804283"/>
                  <a:pt x="2322448" y="2804283"/>
                </a:cubicBezTo>
                <a:cubicBezTo>
                  <a:pt x="2316501" y="2804283"/>
                  <a:pt x="2311711" y="2799493"/>
                  <a:pt x="2311711" y="2793546"/>
                </a:cubicBezTo>
                <a:cubicBezTo>
                  <a:pt x="2311711" y="2787600"/>
                  <a:pt x="2316501" y="2782810"/>
                  <a:pt x="2322448" y="2782810"/>
                </a:cubicBezTo>
                <a:close/>
                <a:moveTo>
                  <a:pt x="3345911" y="2780993"/>
                </a:moveTo>
                <a:cubicBezTo>
                  <a:pt x="3351857" y="2780993"/>
                  <a:pt x="3356649" y="2785783"/>
                  <a:pt x="3356649" y="2791729"/>
                </a:cubicBezTo>
                <a:cubicBezTo>
                  <a:pt x="3356649" y="2797676"/>
                  <a:pt x="3351857" y="2802465"/>
                  <a:pt x="3345911" y="2802465"/>
                </a:cubicBezTo>
                <a:cubicBezTo>
                  <a:pt x="3339964" y="2802465"/>
                  <a:pt x="3335174" y="2797676"/>
                  <a:pt x="3335174" y="2791729"/>
                </a:cubicBezTo>
                <a:cubicBezTo>
                  <a:pt x="3335174" y="2785783"/>
                  <a:pt x="3339964" y="2780993"/>
                  <a:pt x="3345911" y="2780993"/>
                </a:cubicBezTo>
                <a:close/>
                <a:moveTo>
                  <a:pt x="2564934" y="2778846"/>
                </a:moveTo>
                <a:cubicBezTo>
                  <a:pt x="2570880" y="2778846"/>
                  <a:pt x="2575670" y="2783636"/>
                  <a:pt x="2575670" y="2789582"/>
                </a:cubicBezTo>
                <a:cubicBezTo>
                  <a:pt x="2575670" y="2795529"/>
                  <a:pt x="2570880" y="2800320"/>
                  <a:pt x="2564934" y="2800320"/>
                </a:cubicBezTo>
                <a:cubicBezTo>
                  <a:pt x="2558987" y="2800320"/>
                  <a:pt x="2554197" y="2795529"/>
                  <a:pt x="2554197" y="2789582"/>
                </a:cubicBezTo>
                <a:cubicBezTo>
                  <a:pt x="2554197" y="2783636"/>
                  <a:pt x="2558987" y="2778846"/>
                  <a:pt x="2564934" y="2778846"/>
                </a:cubicBezTo>
                <a:close/>
                <a:moveTo>
                  <a:pt x="3094670" y="2777028"/>
                </a:moveTo>
                <a:cubicBezTo>
                  <a:pt x="3100617" y="2777028"/>
                  <a:pt x="3105408" y="2781818"/>
                  <a:pt x="3105408" y="2787765"/>
                </a:cubicBezTo>
                <a:cubicBezTo>
                  <a:pt x="3105408" y="2793711"/>
                  <a:pt x="3100617" y="2798503"/>
                  <a:pt x="3094670" y="2798503"/>
                </a:cubicBezTo>
                <a:cubicBezTo>
                  <a:pt x="3088724" y="2798503"/>
                  <a:pt x="3083934" y="2793711"/>
                  <a:pt x="3083934" y="2787765"/>
                </a:cubicBezTo>
                <a:cubicBezTo>
                  <a:pt x="3083934" y="2781818"/>
                  <a:pt x="3088724" y="2777028"/>
                  <a:pt x="3094670" y="2777028"/>
                </a:cubicBezTo>
                <a:close/>
                <a:moveTo>
                  <a:pt x="2826251" y="2775377"/>
                </a:moveTo>
                <a:cubicBezTo>
                  <a:pt x="2832198" y="2775377"/>
                  <a:pt x="2836989" y="2780167"/>
                  <a:pt x="2836989" y="2786113"/>
                </a:cubicBezTo>
                <a:cubicBezTo>
                  <a:pt x="2836989" y="2792060"/>
                  <a:pt x="2832198" y="2796852"/>
                  <a:pt x="2826251" y="2796852"/>
                </a:cubicBezTo>
                <a:cubicBezTo>
                  <a:pt x="2820305" y="2796852"/>
                  <a:pt x="2815515" y="2792060"/>
                  <a:pt x="2815515" y="2786113"/>
                </a:cubicBezTo>
                <a:cubicBezTo>
                  <a:pt x="2815515" y="2780167"/>
                  <a:pt x="2820305" y="2775377"/>
                  <a:pt x="2826251" y="2775377"/>
                </a:cubicBezTo>
                <a:close/>
                <a:moveTo>
                  <a:pt x="114800" y="2738377"/>
                </a:moveTo>
                <a:cubicBezTo>
                  <a:pt x="120746" y="2738377"/>
                  <a:pt x="125536" y="2743166"/>
                  <a:pt x="125536" y="2749113"/>
                </a:cubicBezTo>
                <a:cubicBezTo>
                  <a:pt x="125536" y="2755059"/>
                  <a:pt x="120746" y="2759851"/>
                  <a:pt x="114800" y="2759851"/>
                </a:cubicBezTo>
                <a:lnTo>
                  <a:pt x="110091" y="2755143"/>
                </a:lnTo>
                <a:lnTo>
                  <a:pt x="100428" y="2764804"/>
                </a:lnTo>
                <a:lnTo>
                  <a:pt x="96795" y="2761173"/>
                </a:lnTo>
                <a:lnTo>
                  <a:pt x="88371" y="2769597"/>
                </a:lnTo>
                <a:lnTo>
                  <a:pt x="85561" y="2766788"/>
                </a:lnTo>
                <a:lnTo>
                  <a:pt x="78295" y="2774054"/>
                </a:lnTo>
                <a:lnTo>
                  <a:pt x="76313" y="2772074"/>
                </a:lnTo>
                <a:lnTo>
                  <a:pt x="69870" y="2778516"/>
                </a:lnTo>
                <a:lnTo>
                  <a:pt x="68384" y="2777030"/>
                </a:lnTo>
                <a:lnTo>
                  <a:pt x="62934" y="2782480"/>
                </a:lnTo>
                <a:lnTo>
                  <a:pt x="61858" y="2781405"/>
                </a:lnTo>
                <a:lnTo>
                  <a:pt x="56821" y="2786443"/>
                </a:lnTo>
                <a:lnTo>
                  <a:pt x="55995" y="2785618"/>
                </a:lnTo>
                <a:lnTo>
                  <a:pt x="51535" y="2790078"/>
                </a:lnTo>
                <a:lnTo>
                  <a:pt x="50874" y="2789419"/>
                </a:lnTo>
                <a:lnTo>
                  <a:pt x="46745" y="2793548"/>
                </a:lnTo>
                <a:lnTo>
                  <a:pt x="46166" y="2792971"/>
                </a:lnTo>
                <a:lnTo>
                  <a:pt x="42285" y="2796852"/>
                </a:lnTo>
                <a:lnTo>
                  <a:pt x="41622" y="2796191"/>
                </a:lnTo>
                <a:lnTo>
                  <a:pt x="37824" y="2799989"/>
                </a:lnTo>
                <a:lnTo>
                  <a:pt x="37082" y="2799246"/>
                </a:lnTo>
                <a:lnTo>
                  <a:pt x="33366" y="2802961"/>
                </a:lnTo>
                <a:lnTo>
                  <a:pt x="32209" y="2801806"/>
                </a:lnTo>
                <a:lnTo>
                  <a:pt x="28409" y="2805606"/>
                </a:lnTo>
                <a:lnTo>
                  <a:pt x="26923" y="2804120"/>
                </a:lnTo>
                <a:lnTo>
                  <a:pt x="22794" y="2808249"/>
                </a:lnTo>
                <a:lnTo>
                  <a:pt x="20977" y="2806431"/>
                </a:lnTo>
                <a:lnTo>
                  <a:pt x="16683" y="2810725"/>
                </a:lnTo>
                <a:lnTo>
                  <a:pt x="13131" y="2807174"/>
                </a:lnTo>
                <a:lnTo>
                  <a:pt x="9744" y="2810560"/>
                </a:lnTo>
                <a:cubicBezTo>
                  <a:pt x="5119" y="2810560"/>
                  <a:pt x="1320" y="2806761"/>
                  <a:pt x="1320" y="2802136"/>
                </a:cubicBezTo>
                <a:cubicBezTo>
                  <a:pt x="1320" y="2797511"/>
                  <a:pt x="5119" y="2793711"/>
                  <a:pt x="9744" y="2793711"/>
                </a:cubicBezTo>
                <a:lnTo>
                  <a:pt x="10984" y="2794951"/>
                </a:lnTo>
                <a:lnTo>
                  <a:pt x="16683" y="2789253"/>
                </a:lnTo>
                <a:lnTo>
                  <a:pt x="18499" y="2791070"/>
                </a:lnTo>
                <a:lnTo>
                  <a:pt x="22794" y="2786774"/>
                </a:lnTo>
                <a:lnTo>
                  <a:pt x="24280" y="2788260"/>
                </a:lnTo>
                <a:lnTo>
                  <a:pt x="28409" y="2784132"/>
                </a:lnTo>
                <a:lnTo>
                  <a:pt x="29566" y="2785288"/>
                </a:lnTo>
                <a:lnTo>
                  <a:pt x="33366" y="2781489"/>
                </a:lnTo>
                <a:lnTo>
                  <a:pt x="34108" y="2782231"/>
                </a:lnTo>
                <a:lnTo>
                  <a:pt x="37824" y="2778515"/>
                </a:lnTo>
                <a:lnTo>
                  <a:pt x="38485" y="2779177"/>
                </a:lnTo>
                <a:lnTo>
                  <a:pt x="42285" y="2775377"/>
                </a:lnTo>
                <a:lnTo>
                  <a:pt x="42862" y="2775957"/>
                </a:lnTo>
                <a:lnTo>
                  <a:pt x="46745" y="2772074"/>
                </a:lnTo>
                <a:lnTo>
                  <a:pt x="47406" y="2772734"/>
                </a:lnTo>
                <a:lnTo>
                  <a:pt x="51535" y="2768605"/>
                </a:lnTo>
                <a:lnTo>
                  <a:pt x="52360" y="2769431"/>
                </a:lnTo>
                <a:lnTo>
                  <a:pt x="56821" y="2764971"/>
                </a:lnTo>
                <a:lnTo>
                  <a:pt x="57894" y="2766045"/>
                </a:lnTo>
                <a:lnTo>
                  <a:pt x="62934" y="2761006"/>
                </a:lnTo>
                <a:lnTo>
                  <a:pt x="64420" y="2762492"/>
                </a:lnTo>
                <a:lnTo>
                  <a:pt x="69870" y="2757042"/>
                </a:lnTo>
                <a:lnTo>
                  <a:pt x="71853" y="2759024"/>
                </a:lnTo>
                <a:lnTo>
                  <a:pt x="78295" y="2752582"/>
                </a:lnTo>
                <a:lnTo>
                  <a:pt x="81103" y="2755391"/>
                </a:lnTo>
                <a:lnTo>
                  <a:pt x="88371" y="2748123"/>
                </a:lnTo>
                <a:lnTo>
                  <a:pt x="92004" y="2751756"/>
                </a:lnTo>
                <a:lnTo>
                  <a:pt x="100428" y="2743331"/>
                </a:lnTo>
                <a:lnTo>
                  <a:pt x="105137" y="2748040"/>
                </a:lnTo>
                <a:close/>
                <a:moveTo>
                  <a:pt x="131814" y="2733091"/>
                </a:moveTo>
                <a:cubicBezTo>
                  <a:pt x="137760" y="2733091"/>
                  <a:pt x="142552" y="2737881"/>
                  <a:pt x="142552" y="2743827"/>
                </a:cubicBezTo>
                <a:cubicBezTo>
                  <a:pt x="142552" y="2749774"/>
                  <a:pt x="137760" y="2754565"/>
                  <a:pt x="131814" y="2754565"/>
                </a:cubicBezTo>
                <a:cubicBezTo>
                  <a:pt x="125867" y="2754565"/>
                  <a:pt x="121077" y="2749774"/>
                  <a:pt x="121077" y="2743827"/>
                </a:cubicBezTo>
                <a:cubicBezTo>
                  <a:pt x="121077" y="2737881"/>
                  <a:pt x="125867" y="2733091"/>
                  <a:pt x="131814" y="2733091"/>
                </a:cubicBezTo>
                <a:close/>
                <a:moveTo>
                  <a:pt x="151800" y="2727639"/>
                </a:moveTo>
                <a:cubicBezTo>
                  <a:pt x="157747" y="2727639"/>
                  <a:pt x="162538" y="2732428"/>
                  <a:pt x="162538" y="2738375"/>
                </a:cubicBezTo>
                <a:cubicBezTo>
                  <a:pt x="162538" y="2744322"/>
                  <a:pt x="157747" y="2749113"/>
                  <a:pt x="151800" y="2749113"/>
                </a:cubicBezTo>
                <a:cubicBezTo>
                  <a:pt x="145854" y="2749113"/>
                  <a:pt x="141064" y="2744322"/>
                  <a:pt x="141064" y="2738375"/>
                </a:cubicBezTo>
                <a:cubicBezTo>
                  <a:pt x="141064" y="2732428"/>
                  <a:pt x="145854" y="2727639"/>
                  <a:pt x="151800" y="2727639"/>
                </a:cubicBezTo>
                <a:close/>
                <a:moveTo>
                  <a:pt x="175422" y="2721692"/>
                </a:moveTo>
                <a:cubicBezTo>
                  <a:pt x="181368" y="2721692"/>
                  <a:pt x="186160" y="2726482"/>
                  <a:pt x="186160" y="2732428"/>
                </a:cubicBezTo>
                <a:cubicBezTo>
                  <a:pt x="186160" y="2738375"/>
                  <a:pt x="181368" y="2743166"/>
                  <a:pt x="175422" y="2743166"/>
                </a:cubicBezTo>
                <a:cubicBezTo>
                  <a:pt x="169475" y="2743166"/>
                  <a:pt x="164685" y="2738375"/>
                  <a:pt x="164685" y="2732428"/>
                </a:cubicBezTo>
                <a:cubicBezTo>
                  <a:pt x="164685" y="2726482"/>
                  <a:pt x="169475" y="2721692"/>
                  <a:pt x="175422" y="2721692"/>
                </a:cubicBezTo>
                <a:close/>
                <a:moveTo>
                  <a:pt x="203007" y="2715745"/>
                </a:moveTo>
                <a:cubicBezTo>
                  <a:pt x="208954" y="2715745"/>
                  <a:pt x="213744" y="2720535"/>
                  <a:pt x="213744" y="2726482"/>
                </a:cubicBezTo>
                <a:cubicBezTo>
                  <a:pt x="213744" y="2732428"/>
                  <a:pt x="208954" y="2737220"/>
                  <a:pt x="203007" y="2737220"/>
                </a:cubicBezTo>
                <a:cubicBezTo>
                  <a:pt x="197061" y="2737220"/>
                  <a:pt x="192271" y="2732428"/>
                  <a:pt x="192271" y="2726482"/>
                </a:cubicBezTo>
                <a:cubicBezTo>
                  <a:pt x="192271" y="2720535"/>
                  <a:pt x="197061" y="2715745"/>
                  <a:pt x="203007" y="2715745"/>
                </a:cubicBezTo>
                <a:close/>
                <a:moveTo>
                  <a:pt x="234887" y="2709305"/>
                </a:moveTo>
                <a:cubicBezTo>
                  <a:pt x="240833" y="2709305"/>
                  <a:pt x="245625" y="2714095"/>
                  <a:pt x="245625" y="2720041"/>
                </a:cubicBezTo>
                <a:cubicBezTo>
                  <a:pt x="245625" y="2725988"/>
                  <a:pt x="240833" y="2730779"/>
                  <a:pt x="234887" y="2730779"/>
                </a:cubicBezTo>
                <a:cubicBezTo>
                  <a:pt x="228940" y="2730779"/>
                  <a:pt x="224151" y="2725988"/>
                  <a:pt x="224151" y="2720041"/>
                </a:cubicBezTo>
                <a:cubicBezTo>
                  <a:pt x="224151" y="2714095"/>
                  <a:pt x="228940" y="2709305"/>
                  <a:pt x="234887" y="2709305"/>
                </a:cubicBezTo>
                <a:close/>
                <a:moveTo>
                  <a:pt x="271556" y="2702698"/>
                </a:moveTo>
                <a:cubicBezTo>
                  <a:pt x="277503" y="2702698"/>
                  <a:pt x="282294" y="2707487"/>
                  <a:pt x="282294" y="2713434"/>
                </a:cubicBezTo>
                <a:cubicBezTo>
                  <a:pt x="282294" y="2719380"/>
                  <a:pt x="277503" y="2724172"/>
                  <a:pt x="271556" y="2724172"/>
                </a:cubicBezTo>
                <a:cubicBezTo>
                  <a:pt x="265610" y="2724172"/>
                  <a:pt x="260820" y="2719380"/>
                  <a:pt x="260820" y="2713434"/>
                </a:cubicBezTo>
                <a:cubicBezTo>
                  <a:pt x="260820" y="2707487"/>
                  <a:pt x="265610" y="2702698"/>
                  <a:pt x="271556" y="2702698"/>
                </a:cubicBezTo>
                <a:close/>
                <a:moveTo>
                  <a:pt x="313678" y="2695759"/>
                </a:moveTo>
                <a:cubicBezTo>
                  <a:pt x="319625" y="2695759"/>
                  <a:pt x="324414" y="2700549"/>
                  <a:pt x="324414" y="2706495"/>
                </a:cubicBezTo>
                <a:cubicBezTo>
                  <a:pt x="324414" y="2712442"/>
                  <a:pt x="319625" y="2717234"/>
                  <a:pt x="313678" y="2717234"/>
                </a:cubicBezTo>
                <a:cubicBezTo>
                  <a:pt x="307731" y="2717234"/>
                  <a:pt x="302942" y="2712442"/>
                  <a:pt x="302942" y="2706495"/>
                </a:cubicBezTo>
                <a:cubicBezTo>
                  <a:pt x="302942" y="2700549"/>
                  <a:pt x="307731" y="2695759"/>
                  <a:pt x="313678" y="2695759"/>
                </a:cubicBezTo>
                <a:close/>
                <a:moveTo>
                  <a:pt x="361746" y="2688656"/>
                </a:moveTo>
                <a:cubicBezTo>
                  <a:pt x="367693" y="2688656"/>
                  <a:pt x="372483" y="2693446"/>
                  <a:pt x="372483" y="2699392"/>
                </a:cubicBezTo>
                <a:cubicBezTo>
                  <a:pt x="372483" y="2705339"/>
                  <a:pt x="367693" y="2710130"/>
                  <a:pt x="361746" y="2710130"/>
                </a:cubicBezTo>
                <a:cubicBezTo>
                  <a:pt x="355800" y="2710130"/>
                  <a:pt x="351010" y="2705339"/>
                  <a:pt x="351010" y="2699392"/>
                </a:cubicBezTo>
                <a:cubicBezTo>
                  <a:pt x="351010" y="2693446"/>
                  <a:pt x="355800" y="2688656"/>
                  <a:pt x="361746" y="2688656"/>
                </a:cubicBezTo>
                <a:close/>
                <a:moveTo>
                  <a:pt x="416090" y="2681058"/>
                </a:moveTo>
                <a:cubicBezTo>
                  <a:pt x="422037" y="2681058"/>
                  <a:pt x="426827" y="2685848"/>
                  <a:pt x="426827" y="2691795"/>
                </a:cubicBezTo>
                <a:cubicBezTo>
                  <a:pt x="426827" y="2697741"/>
                  <a:pt x="422037" y="2702533"/>
                  <a:pt x="416090" y="2702533"/>
                </a:cubicBezTo>
                <a:cubicBezTo>
                  <a:pt x="410144" y="2702533"/>
                  <a:pt x="405354" y="2697741"/>
                  <a:pt x="405354" y="2691795"/>
                </a:cubicBezTo>
                <a:cubicBezTo>
                  <a:pt x="405354" y="2685848"/>
                  <a:pt x="410144" y="2681058"/>
                  <a:pt x="416090" y="2681058"/>
                </a:cubicBezTo>
                <a:close/>
                <a:moveTo>
                  <a:pt x="477373" y="2673130"/>
                </a:moveTo>
                <a:cubicBezTo>
                  <a:pt x="483320" y="2673130"/>
                  <a:pt x="488109" y="2677920"/>
                  <a:pt x="488109" y="2683866"/>
                </a:cubicBezTo>
                <a:cubicBezTo>
                  <a:pt x="488109" y="2689813"/>
                  <a:pt x="483320" y="2694602"/>
                  <a:pt x="477373" y="2694602"/>
                </a:cubicBezTo>
                <a:cubicBezTo>
                  <a:pt x="471427" y="2694602"/>
                  <a:pt x="466637" y="2689813"/>
                  <a:pt x="466637" y="2683866"/>
                </a:cubicBezTo>
                <a:cubicBezTo>
                  <a:pt x="466637" y="2677920"/>
                  <a:pt x="471427" y="2673130"/>
                  <a:pt x="477373" y="2673130"/>
                </a:cubicBezTo>
                <a:close/>
                <a:moveTo>
                  <a:pt x="546418" y="2664871"/>
                </a:moveTo>
                <a:cubicBezTo>
                  <a:pt x="552365" y="2664871"/>
                  <a:pt x="557154" y="2669661"/>
                  <a:pt x="557154" y="2675608"/>
                </a:cubicBezTo>
                <a:cubicBezTo>
                  <a:pt x="557154" y="2681554"/>
                  <a:pt x="552365" y="2686344"/>
                  <a:pt x="546418" y="2686344"/>
                </a:cubicBezTo>
                <a:cubicBezTo>
                  <a:pt x="540472" y="2686344"/>
                  <a:pt x="535682" y="2681554"/>
                  <a:pt x="535682" y="2675608"/>
                </a:cubicBezTo>
                <a:cubicBezTo>
                  <a:pt x="535682" y="2669661"/>
                  <a:pt x="540472" y="2664871"/>
                  <a:pt x="546418" y="2664871"/>
                </a:cubicBezTo>
                <a:close/>
                <a:moveTo>
                  <a:pt x="623558" y="2656447"/>
                </a:moveTo>
                <a:cubicBezTo>
                  <a:pt x="629505" y="2656447"/>
                  <a:pt x="634296" y="2661237"/>
                  <a:pt x="634296" y="2667183"/>
                </a:cubicBezTo>
                <a:cubicBezTo>
                  <a:pt x="634296" y="2673130"/>
                  <a:pt x="629505" y="2677921"/>
                  <a:pt x="623558" y="2677921"/>
                </a:cubicBezTo>
                <a:cubicBezTo>
                  <a:pt x="617612" y="2677921"/>
                  <a:pt x="612822" y="2673130"/>
                  <a:pt x="612822" y="2667183"/>
                </a:cubicBezTo>
                <a:cubicBezTo>
                  <a:pt x="612822" y="2661237"/>
                  <a:pt x="617612" y="2656447"/>
                  <a:pt x="623558" y="2656447"/>
                </a:cubicBezTo>
                <a:close/>
                <a:moveTo>
                  <a:pt x="709452" y="2647526"/>
                </a:moveTo>
                <a:cubicBezTo>
                  <a:pt x="715399" y="2647526"/>
                  <a:pt x="720189" y="2652316"/>
                  <a:pt x="720189" y="2658263"/>
                </a:cubicBezTo>
                <a:cubicBezTo>
                  <a:pt x="720189" y="2664209"/>
                  <a:pt x="715399" y="2669001"/>
                  <a:pt x="709452" y="2669001"/>
                </a:cubicBezTo>
                <a:cubicBezTo>
                  <a:pt x="703506" y="2669001"/>
                  <a:pt x="698716" y="2664209"/>
                  <a:pt x="698716" y="2658263"/>
                </a:cubicBezTo>
                <a:cubicBezTo>
                  <a:pt x="698716" y="2652316"/>
                  <a:pt x="703506" y="2647526"/>
                  <a:pt x="709452" y="2647526"/>
                </a:cubicBezTo>
                <a:close/>
                <a:moveTo>
                  <a:pt x="100595" y="2643727"/>
                </a:moveTo>
                <a:cubicBezTo>
                  <a:pt x="106542" y="2643727"/>
                  <a:pt x="111331" y="2648516"/>
                  <a:pt x="111331" y="2654463"/>
                </a:cubicBezTo>
                <a:cubicBezTo>
                  <a:pt x="111331" y="2660409"/>
                  <a:pt x="106542" y="2665201"/>
                  <a:pt x="100595" y="2665201"/>
                </a:cubicBezTo>
                <a:lnTo>
                  <a:pt x="98778" y="2663384"/>
                </a:lnTo>
                <a:lnTo>
                  <a:pt x="89196" y="2672965"/>
                </a:lnTo>
                <a:lnTo>
                  <a:pt x="88287" y="2672058"/>
                </a:lnTo>
                <a:lnTo>
                  <a:pt x="79781" y="2680564"/>
                </a:lnTo>
                <a:lnTo>
                  <a:pt x="79202" y="2679985"/>
                </a:lnTo>
                <a:lnTo>
                  <a:pt x="75652" y="2683537"/>
                </a:lnTo>
                <a:lnTo>
                  <a:pt x="69541" y="2689648"/>
                </a:lnTo>
                <a:lnTo>
                  <a:pt x="69872" y="2689977"/>
                </a:lnTo>
                <a:lnTo>
                  <a:pt x="64255" y="2695594"/>
                </a:lnTo>
                <a:lnTo>
                  <a:pt x="64586" y="2695924"/>
                </a:lnTo>
                <a:lnTo>
                  <a:pt x="59299" y="2701211"/>
                </a:lnTo>
                <a:lnTo>
                  <a:pt x="59795" y="2701705"/>
                </a:lnTo>
                <a:lnTo>
                  <a:pt x="54674" y="2706827"/>
                </a:lnTo>
                <a:lnTo>
                  <a:pt x="55005" y="2707156"/>
                </a:lnTo>
                <a:lnTo>
                  <a:pt x="50132" y="2712029"/>
                </a:lnTo>
                <a:lnTo>
                  <a:pt x="50380" y="2712277"/>
                </a:lnTo>
                <a:cubicBezTo>
                  <a:pt x="50380" y="2718224"/>
                  <a:pt x="45588" y="2723015"/>
                  <a:pt x="39642" y="2723015"/>
                </a:cubicBezTo>
                <a:lnTo>
                  <a:pt x="39477" y="2722851"/>
                </a:lnTo>
                <a:lnTo>
                  <a:pt x="34522" y="2727805"/>
                </a:lnTo>
                <a:lnTo>
                  <a:pt x="34110" y="2727392"/>
                </a:lnTo>
                <a:lnTo>
                  <a:pt x="29237" y="2732264"/>
                </a:lnTo>
                <a:lnTo>
                  <a:pt x="28328" y="2731357"/>
                </a:lnTo>
                <a:lnTo>
                  <a:pt x="23124" y="2736561"/>
                </a:lnTo>
                <a:lnTo>
                  <a:pt x="21719" y="2735156"/>
                </a:lnTo>
                <a:lnTo>
                  <a:pt x="16352" y="2740524"/>
                </a:lnTo>
                <a:lnTo>
                  <a:pt x="10239" y="2734412"/>
                </a:lnTo>
                <a:lnTo>
                  <a:pt x="8752" y="2735899"/>
                </a:lnTo>
                <a:cubicBezTo>
                  <a:pt x="7433" y="2735899"/>
                  <a:pt x="6441" y="2734908"/>
                  <a:pt x="6441" y="2733585"/>
                </a:cubicBezTo>
                <a:lnTo>
                  <a:pt x="7927" y="2732099"/>
                </a:lnTo>
                <a:lnTo>
                  <a:pt x="5615" y="2729787"/>
                </a:lnTo>
                <a:cubicBezTo>
                  <a:pt x="5615" y="2723841"/>
                  <a:pt x="10405" y="2719051"/>
                  <a:pt x="16352" y="2719051"/>
                </a:cubicBezTo>
                <a:lnTo>
                  <a:pt x="17755" y="2720456"/>
                </a:lnTo>
                <a:lnTo>
                  <a:pt x="23124" y="2715087"/>
                </a:lnTo>
                <a:lnTo>
                  <a:pt x="24032" y="2715995"/>
                </a:lnTo>
                <a:lnTo>
                  <a:pt x="29237" y="2710791"/>
                </a:lnTo>
                <a:lnTo>
                  <a:pt x="29649" y="2711204"/>
                </a:lnTo>
                <a:lnTo>
                  <a:pt x="33614" y="2707239"/>
                </a:lnTo>
                <a:lnTo>
                  <a:pt x="33531" y="2707156"/>
                </a:lnTo>
                <a:lnTo>
                  <a:pt x="38650" y="2702037"/>
                </a:lnTo>
                <a:lnTo>
                  <a:pt x="38320" y="2701705"/>
                </a:lnTo>
                <a:lnTo>
                  <a:pt x="43606" y="2696420"/>
                </a:lnTo>
                <a:lnTo>
                  <a:pt x="43112" y="2695924"/>
                </a:lnTo>
                <a:lnTo>
                  <a:pt x="48727" y="2690308"/>
                </a:lnTo>
                <a:lnTo>
                  <a:pt x="48398" y="2689977"/>
                </a:lnTo>
                <a:lnTo>
                  <a:pt x="54507" y="2683868"/>
                </a:lnTo>
                <a:lnTo>
                  <a:pt x="54178" y="2683537"/>
                </a:lnTo>
                <a:lnTo>
                  <a:pt x="60951" y="2676763"/>
                </a:lnTo>
                <a:cubicBezTo>
                  <a:pt x="60951" y="2670816"/>
                  <a:pt x="65741" y="2666027"/>
                  <a:pt x="71688" y="2666027"/>
                </a:cubicBezTo>
                <a:lnTo>
                  <a:pt x="72265" y="2666606"/>
                </a:lnTo>
                <a:lnTo>
                  <a:pt x="79781" y="2659090"/>
                </a:lnTo>
                <a:lnTo>
                  <a:pt x="80688" y="2659998"/>
                </a:lnTo>
                <a:lnTo>
                  <a:pt x="89196" y="2651490"/>
                </a:lnTo>
                <a:lnTo>
                  <a:pt x="91014" y="2653308"/>
                </a:lnTo>
                <a:close/>
                <a:moveTo>
                  <a:pt x="805093" y="2638276"/>
                </a:moveTo>
                <a:cubicBezTo>
                  <a:pt x="811039" y="2638276"/>
                  <a:pt x="815829" y="2643066"/>
                  <a:pt x="815829" y="2649012"/>
                </a:cubicBezTo>
                <a:cubicBezTo>
                  <a:pt x="815829" y="2654959"/>
                  <a:pt x="811039" y="2659749"/>
                  <a:pt x="805093" y="2659749"/>
                </a:cubicBezTo>
                <a:cubicBezTo>
                  <a:pt x="799146" y="2659749"/>
                  <a:pt x="794356" y="2654959"/>
                  <a:pt x="794356" y="2649012"/>
                </a:cubicBezTo>
                <a:cubicBezTo>
                  <a:pt x="794356" y="2643066"/>
                  <a:pt x="799146" y="2638276"/>
                  <a:pt x="805093" y="2638276"/>
                </a:cubicBezTo>
                <a:close/>
                <a:moveTo>
                  <a:pt x="113974" y="2635468"/>
                </a:moveTo>
                <a:cubicBezTo>
                  <a:pt x="119921" y="2635468"/>
                  <a:pt x="124712" y="2640258"/>
                  <a:pt x="124712" y="2646205"/>
                </a:cubicBezTo>
                <a:cubicBezTo>
                  <a:pt x="124712" y="2652151"/>
                  <a:pt x="119921" y="2656943"/>
                  <a:pt x="113974" y="2656943"/>
                </a:cubicBezTo>
                <a:cubicBezTo>
                  <a:pt x="108028" y="2656943"/>
                  <a:pt x="103238" y="2652151"/>
                  <a:pt x="103238" y="2646205"/>
                </a:cubicBezTo>
                <a:cubicBezTo>
                  <a:pt x="103238" y="2640258"/>
                  <a:pt x="108028" y="2635468"/>
                  <a:pt x="113974" y="2635468"/>
                </a:cubicBezTo>
                <a:close/>
                <a:moveTo>
                  <a:pt x="910809" y="2628696"/>
                </a:moveTo>
                <a:cubicBezTo>
                  <a:pt x="916755" y="2628696"/>
                  <a:pt x="921545" y="2633486"/>
                  <a:pt x="921545" y="2639433"/>
                </a:cubicBezTo>
                <a:cubicBezTo>
                  <a:pt x="921545" y="2645379"/>
                  <a:pt x="916755" y="2650169"/>
                  <a:pt x="910809" y="2650169"/>
                </a:cubicBezTo>
                <a:cubicBezTo>
                  <a:pt x="904862" y="2650169"/>
                  <a:pt x="900072" y="2645379"/>
                  <a:pt x="900072" y="2639433"/>
                </a:cubicBezTo>
                <a:cubicBezTo>
                  <a:pt x="900072" y="2633486"/>
                  <a:pt x="904862" y="2628696"/>
                  <a:pt x="910809" y="2628696"/>
                </a:cubicBezTo>
                <a:close/>
                <a:moveTo>
                  <a:pt x="129996" y="2626714"/>
                </a:moveTo>
                <a:cubicBezTo>
                  <a:pt x="135927" y="2626714"/>
                  <a:pt x="140734" y="2631521"/>
                  <a:pt x="140734" y="2637450"/>
                </a:cubicBezTo>
                <a:cubicBezTo>
                  <a:pt x="140734" y="2643381"/>
                  <a:pt x="135927" y="2648187"/>
                  <a:pt x="129996" y="2648187"/>
                </a:cubicBezTo>
                <a:cubicBezTo>
                  <a:pt x="124067" y="2648187"/>
                  <a:pt x="119260" y="2643381"/>
                  <a:pt x="119260" y="2637450"/>
                </a:cubicBezTo>
                <a:cubicBezTo>
                  <a:pt x="119260" y="2631521"/>
                  <a:pt x="124067" y="2626714"/>
                  <a:pt x="129996" y="2626714"/>
                </a:cubicBezTo>
                <a:close/>
                <a:moveTo>
                  <a:pt x="1027426" y="2618621"/>
                </a:moveTo>
                <a:cubicBezTo>
                  <a:pt x="1033372" y="2618621"/>
                  <a:pt x="1038162" y="2623410"/>
                  <a:pt x="1038162" y="2629357"/>
                </a:cubicBezTo>
                <a:cubicBezTo>
                  <a:pt x="1038162" y="2635304"/>
                  <a:pt x="1033372" y="2640095"/>
                  <a:pt x="1027426" y="2640095"/>
                </a:cubicBezTo>
                <a:cubicBezTo>
                  <a:pt x="1021479" y="2640095"/>
                  <a:pt x="1016690" y="2635304"/>
                  <a:pt x="1016690" y="2629357"/>
                </a:cubicBezTo>
                <a:cubicBezTo>
                  <a:pt x="1016690" y="2623410"/>
                  <a:pt x="1021479" y="2618621"/>
                  <a:pt x="1027426" y="2618621"/>
                </a:cubicBezTo>
                <a:close/>
                <a:moveTo>
                  <a:pt x="148826" y="2617629"/>
                </a:moveTo>
                <a:cubicBezTo>
                  <a:pt x="154773" y="2617629"/>
                  <a:pt x="159564" y="2622419"/>
                  <a:pt x="159564" y="2628365"/>
                </a:cubicBezTo>
                <a:cubicBezTo>
                  <a:pt x="159564" y="2634312"/>
                  <a:pt x="154773" y="2639102"/>
                  <a:pt x="148826" y="2639102"/>
                </a:cubicBezTo>
                <a:cubicBezTo>
                  <a:pt x="142880" y="2639102"/>
                  <a:pt x="138090" y="2634312"/>
                  <a:pt x="138090" y="2628365"/>
                </a:cubicBezTo>
                <a:cubicBezTo>
                  <a:pt x="138090" y="2622419"/>
                  <a:pt x="142880" y="2617629"/>
                  <a:pt x="148826" y="2617629"/>
                </a:cubicBezTo>
                <a:close/>
                <a:moveTo>
                  <a:pt x="1155771" y="2608379"/>
                </a:moveTo>
                <a:cubicBezTo>
                  <a:pt x="1161718" y="2608379"/>
                  <a:pt x="1166510" y="2613168"/>
                  <a:pt x="1166510" y="2619115"/>
                </a:cubicBezTo>
                <a:cubicBezTo>
                  <a:pt x="1166510" y="2625062"/>
                  <a:pt x="1161718" y="2629853"/>
                  <a:pt x="1155771" y="2629853"/>
                </a:cubicBezTo>
                <a:cubicBezTo>
                  <a:pt x="1149825" y="2629853"/>
                  <a:pt x="1145035" y="2625062"/>
                  <a:pt x="1145035" y="2619115"/>
                </a:cubicBezTo>
                <a:cubicBezTo>
                  <a:pt x="1145035" y="2613168"/>
                  <a:pt x="1149825" y="2608379"/>
                  <a:pt x="1155771" y="2608379"/>
                </a:cubicBezTo>
                <a:close/>
                <a:moveTo>
                  <a:pt x="170961" y="2608214"/>
                </a:moveTo>
                <a:cubicBezTo>
                  <a:pt x="176908" y="2608214"/>
                  <a:pt x="181699" y="2613003"/>
                  <a:pt x="181699" y="2618950"/>
                </a:cubicBezTo>
                <a:cubicBezTo>
                  <a:pt x="181699" y="2624897"/>
                  <a:pt x="176908" y="2629688"/>
                  <a:pt x="170961" y="2629688"/>
                </a:cubicBezTo>
                <a:cubicBezTo>
                  <a:pt x="165015" y="2629688"/>
                  <a:pt x="160225" y="2624897"/>
                  <a:pt x="160225" y="2618950"/>
                </a:cubicBezTo>
                <a:cubicBezTo>
                  <a:pt x="160225" y="2613003"/>
                  <a:pt x="165015" y="2608214"/>
                  <a:pt x="170961" y="2608214"/>
                </a:cubicBezTo>
                <a:close/>
                <a:moveTo>
                  <a:pt x="196894" y="2598136"/>
                </a:moveTo>
                <a:cubicBezTo>
                  <a:pt x="202841" y="2598136"/>
                  <a:pt x="207631" y="2602926"/>
                  <a:pt x="207631" y="2608873"/>
                </a:cubicBezTo>
                <a:cubicBezTo>
                  <a:pt x="207631" y="2614819"/>
                  <a:pt x="202841" y="2619611"/>
                  <a:pt x="196894" y="2619611"/>
                </a:cubicBezTo>
                <a:cubicBezTo>
                  <a:pt x="190948" y="2619611"/>
                  <a:pt x="186158" y="2614819"/>
                  <a:pt x="186158" y="2608873"/>
                </a:cubicBezTo>
                <a:cubicBezTo>
                  <a:pt x="186158" y="2602926"/>
                  <a:pt x="190948" y="2598136"/>
                  <a:pt x="196894" y="2598136"/>
                </a:cubicBezTo>
                <a:close/>
                <a:moveTo>
                  <a:pt x="1296506" y="2597642"/>
                </a:moveTo>
                <a:cubicBezTo>
                  <a:pt x="1302452" y="2597642"/>
                  <a:pt x="1307244" y="2602432"/>
                  <a:pt x="1307244" y="2608379"/>
                </a:cubicBezTo>
                <a:cubicBezTo>
                  <a:pt x="1307244" y="2614325"/>
                  <a:pt x="1302452" y="2619117"/>
                  <a:pt x="1296506" y="2619117"/>
                </a:cubicBezTo>
                <a:cubicBezTo>
                  <a:pt x="1290559" y="2619117"/>
                  <a:pt x="1285770" y="2614325"/>
                  <a:pt x="1285770" y="2608379"/>
                </a:cubicBezTo>
                <a:cubicBezTo>
                  <a:pt x="1285770" y="2602432"/>
                  <a:pt x="1290559" y="2597642"/>
                  <a:pt x="1296506" y="2597642"/>
                </a:cubicBezTo>
                <a:close/>
                <a:moveTo>
                  <a:pt x="18996" y="2594339"/>
                </a:moveTo>
                <a:cubicBezTo>
                  <a:pt x="19270" y="2594339"/>
                  <a:pt x="19491" y="2594561"/>
                  <a:pt x="19491" y="2594835"/>
                </a:cubicBezTo>
                <a:cubicBezTo>
                  <a:pt x="19491" y="2595108"/>
                  <a:pt x="19270" y="2595330"/>
                  <a:pt x="18996" y="2595330"/>
                </a:cubicBezTo>
                <a:cubicBezTo>
                  <a:pt x="18722" y="2595330"/>
                  <a:pt x="18500" y="2595108"/>
                  <a:pt x="18500" y="2594835"/>
                </a:cubicBezTo>
                <a:cubicBezTo>
                  <a:pt x="18500" y="2594561"/>
                  <a:pt x="18722" y="2594339"/>
                  <a:pt x="18996" y="2594339"/>
                </a:cubicBezTo>
                <a:close/>
                <a:moveTo>
                  <a:pt x="226792" y="2587731"/>
                </a:moveTo>
                <a:cubicBezTo>
                  <a:pt x="232738" y="2587731"/>
                  <a:pt x="237530" y="2592521"/>
                  <a:pt x="237530" y="2598468"/>
                </a:cubicBezTo>
                <a:cubicBezTo>
                  <a:pt x="237530" y="2604414"/>
                  <a:pt x="232738" y="2609206"/>
                  <a:pt x="226792" y="2609206"/>
                </a:cubicBezTo>
                <a:cubicBezTo>
                  <a:pt x="220845" y="2609206"/>
                  <a:pt x="216055" y="2604414"/>
                  <a:pt x="216055" y="2598468"/>
                </a:cubicBezTo>
                <a:cubicBezTo>
                  <a:pt x="216055" y="2592521"/>
                  <a:pt x="220845" y="2587731"/>
                  <a:pt x="226792" y="2587731"/>
                </a:cubicBezTo>
                <a:close/>
                <a:moveTo>
                  <a:pt x="1450621" y="2586575"/>
                </a:moveTo>
                <a:cubicBezTo>
                  <a:pt x="1456568" y="2586575"/>
                  <a:pt x="1461359" y="2591365"/>
                  <a:pt x="1461359" y="2597311"/>
                </a:cubicBezTo>
                <a:cubicBezTo>
                  <a:pt x="1461359" y="2603258"/>
                  <a:pt x="1456568" y="2608049"/>
                  <a:pt x="1450621" y="2608049"/>
                </a:cubicBezTo>
                <a:cubicBezTo>
                  <a:pt x="1444675" y="2608049"/>
                  <a:pt x="1439885" y="2603258"/>
                  <a:pt x="1439885" y="2597311"/>
                </a:cubicBezTo>
                <a:cubicBezTo>
                  <a:pt x="1439885" y="2591365"/>
                  <a:pt x="1444675" y="2586575"/>
                  <a:pt x="1450621" y="2586575"/>
                </a:cubicBezTo>
                <a:close/>
                <a:moveTo>
                  <a:pt x="261481" y="2576829"/>
                </a:moveTo>
                <a:cubicBezTo>
                  <a:pt x="267427" y="2576829"/>
                  <a:pt x="272217" y="2581618"/>
                  <a:pt x="272217" y="2587565"/>
                </a:cubicBezTo>
                <a:cubicBezTo>
                  <a:pt x="272217" y="2593511"/>
                  <a:pt x="267427" y="2598301"/>
                  <a:pt x="261481" y="2598301"/>
                </a:cubicBezTo>
                <a:cubicBezTo>
                  <a:pt x="255534" y="2598301"/>
                  <a:pt x="250744" y="2593511"/>
                  <a:pt x="250744" y="2587565"/>
                </a:cubicBezTo>
                <a:cubicBezTo>
                  <a:pt x="250744" y="2581618"/>
                  <a:pt x="255534" y="2576829"/>
                  <a:pt x="261481" y="2576829"/>
                </a:cubicBezTo>
                <a:close/>
                <a:moveTo>
                  <a:pt x="1618610" y="2575178"/>
                </a:moveTo>
                <a:cubicBezTo>
                  <a:pt x="1624557" y="2575178"/>
                  <a:pt x="1629348" y="2579967"/>
                  <a:pt x="1629348" y="2585914"/>
                </a:cubicBezTo>
                <a:cubicBezTo>
                  <a:pt x="1629348" y="2591861"/>
                  <a:pt x="1624557" y="2596652"/>
                  <a:pt x="1618610" y="2596652"/>
                </a:cubicBezTo>
                <a:cubicBezTo>
                  <a:pt x="1612664" y="2596652"/>
                  <a:pt x="1607874" y="2591861"/>
                  <a:pt x="1607874" y="2585914"/>
                </a:cubicBezTo>
                <a:cubicBezTo>
                  <a:pt x="1607874" y="2579967"/>
                  <a:pt x="1612664" y="2575178"/>
                  <a:pt x="1618610" y="2575178"/>
                </a:cubicBezTo>
                <a:close/>
                <a:moveTo>
                  <a:pt x="301289" y="2565432"/>
                </a:moveTo>
                <a:cubicBezTo>
                  <a:pt x="307236" y="2565432"/>
                  <a:pt x="312025" y="2570221"/>
                  <a:pt x="312025" y="2576168"/>
                </a:cubicBezTo>
                <a:cubicBezTo>
                  <a:pt x="312025" y="2582114"/>
                  <a:pt x="307236" y="2586906"/>
                  <a:pt x="301289" y="2586906"/>
                </a:cubicBezTo>
                <a:cubicBezTo>
                  <a:pt x="295342" y="2586906"/>
                  <a:pt x="290553" y="2582114"/>
                  <a:pt x="290553" y="2576168"/>
                </a:cubicBezTo>
                <a:cubicBezTo>
                  <a:pt x="290553" y="2570221"/>
                  <a:pt x="295342" y="2565432"/>
                  <a:pt x="301289" y="2565432"/>
                </a:cubicBezTo>
                <a:close/>
                <a:moveTo>
                  <a:pt x="1801796" y="2563449"/>
                </a:moveTo>
                <a:cubicBezTo>
                  <a:pt x="1807742" y="2563449"/>
                  <a:pt x="1812534" y="2568239"/>
                  <a:pt x="1812534" y="2574185"/>
                </a:cubicBezTo>
                <a:cubicBezTo>
                  <a:pt x="1812534" y="2580132"/>
                  <a:pt x="1807742" y="2584924"/>
                  <a:pt x="1801796" y="2584924"/>
                </a:cubicBezTo>
                <a:cubicBezTo>
                  <a:pt x="1795849" y="2584924"/>
                  <a:pt x="1791060" y="2580132"/>
                  <a:pt x="1791060" y="2574185"/>
                </a:cubicBezTo>
                <a:cubicBezTo>
                  <a:pt x="1791060" y="2568239"/>
                  <a:pt x="1795849" y="2563449"/>
                  <a:pt x="1801796" y="2563449"/>
                </a:cubicBezTo>
                <a:close/>
                <a:moveTo>
                  <a:pt x="346714" y="2553538"/>
                </a:moveTo>
                <a:cubicBezTo>
                  <a:pt x="352661" y="2553538"/>
                  <a:pt x="357451" y="2558328"/>
                  <a:pt x="357451" y="2564275"/>
                </a:cubicBezTo>
                <a:cubicBezTo>
                  <a:pt x="357451" y="2570221"/>
                  <a:pt x="352661" y="2575013"/>
                  <a:pt x="346714" y="2575013"/>
                </a:cubicBezTo>
                <a:cubicBezTo>
                  <a:pt x="340768" y="2575013"/>
                  <a:pt x="335978" y="2570221"/>
                  <a:pt x="335978" y="2564275"/>
                </a:cubicBezTo>
                <a:cubicBezTo>
                  <a:pt x="335978" y="2558328"/>
                  <a:pt x="340768" y="2553538"/>
                  <a:pt x="346714" y="2553538"/>
                </a:cubicBezTo>
                <a:close/>
                <a:moveTo>
                  <a:pt x="2000674" y="2551721"/>
                </a:moveTo>
                <a:cubicBezTo>
                  <a:pt x="2006621" y="2551721"/>
                  <a:pt x="2011411" y="2556511"/>
                  <a:pt x="2011411" y="2562457"/>
                </a:cubicBezTo>
                <a:cubicBezTo>
                  <a:pt x="2011411" y="2568404"/>
                  <a:pt x="2006621" y="2573195"/>
                  <a:pt x="2000674" y="2573195"/>
                </a:cubicBezTo>
                <a:cubicBezTo>
                  <a:pt x="1994728" y="2573195"/>
                  <a:pt x="1989938" y="2568404"/>
                  <a:pt x="1989938" y="2562457"/>
                </a:cubicBezTo>
                <a:cubicBezTo>
                  <a:pt x="1989938" y="2556511"/>
                  <a:pt x="1994728" y="2551721"/>
                  <a:pt x="2000674" y="2551721"/>
                </a:cubicBezTo>
                <a:close/>
                <a:moveTo>
                  <a:pt x="104063" y="2548088"/>
                </a:moveTo>
                <a:cubicBezTo>
                  <a:pt x="110010" y="2548088"/>
                  <a:pt x="114800" y="2552878"/>
                  <a:pt x="114800" y="2558824"/>
                </a:cubicBezTo>
                <a:cubicBezTo>
                  <a:pt x="114800" y="2564771"/>
                  <a:pt x="110010" y="2569562"/>
                  <a:pt x="104063" y="2569562"/>
                </a:cubicBezTo>
                <a:lnTo>
                  <a:pt x="94400" y="2579225"/>
                </a:lnTo>
                <a:lnTo>
                  <a:pt x="94813" y="2579636"/>
                </a:lnTo>
                <a:lnTo>
                  <a:pt x="86059" y="2588392"/>
                </a:lnTo>
                <a:lnTo>
                  <a:pt x="87051" y="2589382"/>
                </a:lnTo>
                <a:lnTo>
                  <a:pt x="79121" y="2597311"/>
                </a:lnTo>
                <a:lnTo>
                  <a:pt x="80277" y="2598468"/>
                </a:lnTo>
                <a:lnTo>
                  <a:pt x="72928" y="2605817"/>
                </a:lnTo>
                <a:lnTo>
                  <a:pt x="74332" y="2607222"/>
                </a:lnTo>
                <a:lnTo>
                  <a:pt x="67559" y="2613996"/>
                </a:lnTo>
                <a:lnTo>
                  <a:pt x="69045" y="2615480"/>
                </a:lnTo>
                <a:lnTo>
                  <a:pt x="62604" y="2621923"/>
                </a:lnTo>
                <a:lnTo>
                  <a:pt x="63926" y="2623244"/>
                </a:lnTo>
                <a:lnTo>
                  <a:pt x="57648" y="2629522"/>
                </a:lnTo>
                <a:lnTo>
                  <a:pt x="58805" y="2630679"/>
                </a:lnTo>
                <a:lnTo>
                  <a:pt x="52775" y="2636708"/>
                </a:lnTo>
                <a:lnTo>
                  <a:pt x="53683" y="2637615"/>
                </a:lnTo>
                <a:lnTo>
                  <a:pt x="47654" y="2643645"/>
                </a:lnTo>
                <a:lnTo>
                  <a:pt x="48068" y="2644058"/>
                </a:lnTo>
                <a:lnTo>
                  <a:pt x="41957" y="2650169"/>
                </a:lnTo>
                <a:lnTo>
                  <a:pt x="42122" y="2650334"/>
                </a:lnTo>
                <a:cubicBezTo>
                  <a:pt x="42122" y="2656280"/>
                  <a:pt x="37330" y="2661072"/>
                  <a:pt x="31384" y="2661072"/>
                </a:cubicBezTo>
                <a:lnTo>
                  <a:pt x="30971" y="2660659"/>
                </a:lnTo>
                <a:lnTo>
                  <a:pt x="24776" y="2666854"/>
                </a:lnTo>
                <a:lnTo>
                  <a:pt x="21721" y="2663798"/>
                </a:lnTo>
                <a:lnTo>
                  <a:pt x="17179" y="2668340"/>
                </a:lnTo>
                <a:cubicBezTo>
                  <a:pt x="13346" y="2668340"/>
                  <a:pt x="10240" y="2665234"/>
                  <a:pt x="10240" y="2661403"/>
                </a:cubicBezTo>
                <a:lnTo>
                  <a:pt x="14784" y="2656859"/>
                </a:lnTo>
                <a:lnTo>
                  <a:pt x="14040" y="2656116"/>
                </a:lnTo>
                <a:cubicBezTo>
                  <a:pt x="14040" y="2650169"/>
                  <a:pt x="18830" y="2645379"/>
                  <a:pt x="24776" y="2645379"/>
                </a:cubicBezTo>
                <a:lnTo>
                  <a:pt x="25189" y="2645792"/>
                </a:lnTo>
                <a:lnTo>
                  <a:pt x="26759" y="2644223"/>
                </a:lnTo>
                <a:lnTo>
                  <a:pt x="26594" y="2644058"/>
                </a:lnTo>
                <a:lnTo>
                  <a:pt x="32622" y="2638030"/>
                </a:lnTo>
                <a:lnTo>
                  <a:pt x="32209" y="2637615"/>
                </a:lnTo>
                <a:lnTo>
                  <a:pt x="38237" y="2631587"/>
                </a:lnTo>
                <a:lnTo>
                  <a:pt x="37330" y="2630679"/>
                </a:lnTo>
                <a:lnTo>
                  <a:pt x="43608" y="2624401"/>
                </a:lnTo>
                <a:lnTo>
                  <a:pt x="42451" y="2623244"/>
                </a:lnTo>
                <a:lnTo>
                  <a:pt x="48894" y="2616802"/>
                </a:lnTo>
                <a:lnTo>
                  <a:pt x="47572" y="2615480"/>
                </a:lnTo>
                <a:lnTo>
                  <a:pt x="54344" y="2608708"/>
                </a:lnTo>
                <a:lnTo>
                  <a:pt x="52858" y="2607222"/>
                </a:lnTo>
                <a:lnTo>
                  <a:pt x="60208" y="2599872"/>
                </a:lnTo>
                <a:lnTo>
                  <a:pt x="58803" y="2598468"/>
                </a:lnTo>
                <a:lnTo>
                  <a:pt x="66732" y="2590539"/>
                </a:lnTo>
                <a:lnTo>
                  <a:pt x="65577" y="2589382"/>
                </a:lnTo>
                <a:lnTo>
                  <a:pt x="74331" y="2580628"/>
                </a:lnTo>
                <a:lnTo>
                  <a:pt x="73340" y="2579636"/>
                </a:lnTo>
                <a:lnTo>
                  <a:pt x="83003" y="2569973"/>
                </a:lnTo>
                <a:lnTo>
                  <a:pt x="82591" y="2569561"/>
                </a:lnTo>
                <a:cubicBezTo>
                  <a:pt x="82591" y="2563614"/>
                  <a:pt x="87380" y="2558824"/>
                  <a:pt x="93327" y="2558824"/>
                </a:cubicBezTo>
                <a:cubicBezTo>
                  <a:pt x="93327" y="2552878"/>
                  <a:pt x="98117" y="2548088"/>
                  <a:pt x="104063" y="2548088"/>
                </a:cubicBezTo>
                <a:close/>
                <a:moveTo>
                  <a:pt x="398086" y="2541149"/>
                </a:moveTo>
                <a:cubicBezTo>
                  <a:pt x="404033" y="2541149"/>
                  <a:pt x="408822" y="2545939"/>
                  <a:pt x="408822" y="2551886"/>
                </a:cubicBezTo>
                <a:cubicBezTo>
                  <a:pt x="408822" y="2557832"/>
                  <a:pt x="404033" y="2562624"/>
                  <a:pt x="398086" y="2562624"/>
                </a:cubicBezTo>
                <a:cubicBezTo>
                  <a:pt x="392140" y="2562624"/>
                  <a:pt x="387350" y="2557832"/>
                  <a:pt x="387350" y="2551886"/>
                </a:cubicBezTo>
                <a:cubicBezTo>
                  <a:pt x="387350" y="2545939"/>
                  <a:pt x="392140" y="2541149"/>
                  <a:pt x="398086" y="2541149"/>
                </a:cubicBezTo>
                <a:close/>
                <a:moveTo>
                  <a:pt x="2216237" y="2539828"/>
                </a:moveTo>
                <a:cubicBezTo>
                  <a:pt x="2222184" y="2539828"/>
                  <a:pt x="2226975" y="2544618"/>
                  <a:pt x="2226975" y="2550564"/>
                </a:cubicBezTo>
                <a:cubicBezTo>
                  <a:pt x="2226975" y="2556511"/>
                  <a:pt x="2222184" y="2561302"/>
                  <a:pt x="2216237" y="2561302"/>
                </a:cubicBezTo>
                <a:cubicBezTo>
                  <a:pt x="2210290" y="2561302"/>
                  <a:pt x="2205501" y="2556511"/>
                  <a:pt x="2205501" y="2550564"/>
                </a:cubicBezTo>
                <a:cubicBezTo>
                  <a:pt x="2205501" y="2544618"/>
                  <a:pt x="2210290" y="2539828"/>
                  <a:pt x="2216237" y="2539828"/>
                </a:cubicBezTo>
                <a:close/>
                <a:moveTo>
                  <a:pt x="116947" y="2536855"/>
                </a:moveTo>
                <a:cubicBezTo>
                  <a:pt x="122893" y="2536855"/>
                  <a:pt x="127685" y="2541645"/>
                  <a:pt x="127685" y="2547592"/>
                </a:cubicBezTo>
                <a:cubicBezTo>
                  <a:pt x="127685" y="2553538"/>
                  <a:pt x="122893" y="2558328"/>
                  <a:pt x="116947" y="2558328"/>
                </a:cubicBezTo>
                <a:cubicBezTo>
                  <a:pt x="111000" y="2558328"/>
                  <a:pt x="106210" y="2553538"/>
                  <a:pt x="106210" y="2547592"/>
                </a:cubicBezTo>
                <a:cubicBezTo>
                  <a:pt x="106210" y="2541645"/>
                  <a:pt x="111000" y="2536855"/>
                  <a:pt x="116947" y="2536855"/>
                </a:cubicBezTo>
                <a:close/>
                <a:moveTo>
                  <a:pt x="3456418" y="2534377"/>
                </a:moveTo>
                <a:cubicBezTo>
                  <a:pt x="3462365" y="2534377"/>
                  <a:pt x="3467155" y="2539167"/>
                  <a:pt x="3467155" y="2545114"/>
                </a:cubicBezTo>
                <a:cubicBezTo>
                  <a:pt x="3467155" y="2551060"/>
                  <a:pt x="3462365" y="2555852"/>
                  <a:pt x="3456418" y="2555852"/>
                </a:cubicBezTo>
                <a:cubicBezTo>
                  <a:pt x="3450472" y="2555852"/>
                  <a:pt x="3445682" y="2551060"/>
                  <a:pt x="3445682" y="2545114"/>
                </a:cubicBezTo>
                <a:cubicBezTo>
                  <a:pt x="3445682" y="2539167"/>
                  <a:pt x="3450472" y="2534377"/>
                  <a:pt x="3456418" y="2534377"/>
                </a:cubicBezTo>
                <a:close/>
                <a:moveTo>
                  <a:pt x="2448977" y="2528596"/>
                </a:moveTo>
                <a:cubicBezTo>
                  <a:pt x="2454924" y="2528596"/>
                  <a:pt x="2459715" y="2533385"/>
                  <a:pt x="2459715" y="2539332"/>
                </a:cubicBezTo>
                <a:cubicBezTo>
                  <a:pt x="2459715" y="2545278"/>
                  <a:pt x="2454924" y="2550068"/>
                  <a:pt x="2448977" y="2550068"/>
                </a:cubicBezTo>
                <a:cubicBezTo>
                  <a:pt x="2443030" y="2550068"/>
                  <a:pt x="2438241" y="2545278"/>
                  <a:pt x="2438241" y="2539332"/>
                </a:cubicBezTo>
                <a:cubicBezTo>
                  <a:pt x="2438241" y="2533385"/>
                  <a:pt x="2443030" y="2528596"/>
                  <a:pt x="2448977" y="2528596"/>
                </a:cubicBezTo>
                <a:close/>
                <a:moveTo>
                  <a:pt x="456395" y="2528266"/>
                </a:moveTo>
                <a:cubicBezTo>
                  <a:pt x="462341" y="2528266"/>
                  <a:pt x="467133" y="2533056"/>
                  <a:pt x="467133" y="2539003"/>
                </a:cubicBezTo>
                <a:cubicBezTo>
                  <a:pt x="467133" y="2544949"/>
                  <a:pt x="462341" y="2549741"/>
                  <a:pt x="456395" y="2549741"/>
                </a:cubicBezTo>
                <a:cubicBezTo>
                  <a:pt x="450448" y="2549741"/>
                  <a:pt x="445658" y="2544949"/>
                  <a:pt x="445658" y="2539003"/>
                </a:cubicBezTo>
                <a:cubicBezTo>
                  <a:pt x="445658" y="2533056"/>
                  <a:pt x="450448" y="2528266"/>
                  <a:pt x="456395" y="2528266"/>
                </a:cubicBezTo>
                <a:close/>
                <a:moveTo>
                  <a:pt x="131979" y="2524963"/>
                </a:moveTo>
                <a:cubicBezTo>
                  <a:pt x="137925" y="2524963"/>
                  <a:pt x="142717" y="2529752"/>
                  <a:pt x="142717" y="2535699"/>
                </a:cubicBezTo>
                <a:cubicBezTo>
                  <a:pt x="142717" y="2541645"/>
                  <a:pt x="137925" y="2546435"/>
                  <a:pt x="131979" y="2546435"/>
                </a:cubicBezTo>
                <a:cubicBezTo>
                  <a:pt x="126032" y="2546435"/>
                  <a:pt x="121242" y="2541645"/>
                  <a:pt x="121242" y="2535699"/>
                </a:cubicBezTo>
                <a:cubicBezTo>
                  <a:pt x="121242" y="2529752"/>
                  <a:pt x="126032" y="2524963"/>
                  <a:pt x="131979" y="2524963"/>
                </a:cubicBezTo>
                <a:close/>
                <a:moveTo>
                  <a:pt x="3215583" y="2523971"/>
                </a:moveTo>
                <a:cubicBezTo>
                  <a:pt x="3221530" y="2523971"/>
                  <a:pt x="3226321" y="2528760"/>
                  <a:pt x="3226321" y="2534707"/>
                </a:cubicBezTo>
                <a:cubicBezTo>
                  <a:pt x="3226321" y="2540653"/>
                  <a:pt x="3221530" y="2545445"/>
                  <a:pt x="3215583" y="2545445"/>
                </a:cubicBezTo>
                <a:cubicBezTo>
                  <a:pt x="3209636" y="2545445"/>
                  <a:pt x="3204847" y="2540653"/>
                  <a:pt x="3204847" y="2534707"/>
                </a:cubicBezTo>
                <a:cubicBezTo>
                  <a:pt x="3204847" y="2528760"/>
                  <a:pt x="3209636" y="2523971"/>
                  <a:pt x="3215583" y="2523971"/>
                </a:cubicBezTo>
                <a:close/>
                <a:moveTo>
                  <a:pt x="2698731" y="2519841"/>
                </a:moveTo>
                <a:cubicBezTo>
                  <a:pt x="2704678" y="2519841"/>
                  <a:pt x="2709469" y="2524631"/>
                  <a:pt x="2709469" y="2530578"/>
                </a:cubicBezTo>
                <a:cubicBezTo>
                  <a:pt x="2709469" y="2536524"/>
                  <a:pt x="2704678" y="2541316"/>
                  <a:pt x="2698731" y="2541316"/>
                </a:cubicBezTo>
                <a:cubicBezTo>
                  <a:pt x="2692785" y="2541316"/>
                  <a:pt x="2687995" y="2536524"/>
                  <a:pt x="2687995" y="2530578"/>
                </a:cubicBezTo>
                <a:cubicBezTo>
                  <a:pt x="2687995" y="2524631"/>
                  <a:pt x="2692785" y="2519841"/>
                  <a:pt x="2698731" y="2519841"/>
                </a:cubicBezTo>
                <a:close/>
                <a:moveTo>
                  <a:pt x="2959386" y="2517694"/>
                </a:moveTo>
                <a:cubicBezTo>
                  <a:pt x="2965333" y="2517694"/>
                  <a:pt x="2970124" y="2522484"/>
                  <a:pt x="2970124" y="2528431"/>
                </a:cubicBezTo>
                <a:cubicBezTo>
                  <a:pt x="2970124" y="2534377"/>
                  <a:pt x="2965333" y="2539169"/>
                  <a:pt x="2959386" y="2539169"/>
                </a:cubicBezTo>
                <a:cubicBezTo>
                  <a:pt x="2953440" y="2539169"/>
                  <a:pt x="2948650" y="2534377"/>
                  <a:pt x="2948650" y="2528431"/>
                </a:cubicBezTo>
                <a:cubicBezTo>
                  <a:pt x="2948650" y="2522484"/>
                  <a:pt x="2953440" y="2517694"/>
                  <a:pt x="2959386" y="2517694"/>
                </a:cubicBezTo>
                <a:close/>
                <a:moveTo>
                  <a:pt x="30723" y="2517694"/>
                </a:moveTo>
                <a:cubicBezTo>
                  <a:pt x="33199" y="2517694"/>
                  <a:pt x="35183" y="2519677"/>
                  <a:pt x="35183" y="2522155"/>
                </a:cubicBezTo>
                <a:cubicBezTo>
                  <a:pt x="35183" y="2524631"/>
                  <a:pt x="33199" y="2526613"/>
                  <a:pt x="30723" y="2526613"/>
                </a:cubicBezTo>
                <a:cubicBezTo>
                  <a:pt x="28245" y="2526613"/>
                  <a:pt x="26263" y="2524631"/>
                  <a:pt x="26263" y="2522155"/>
                </a:cubicBezTo>
                <a:cubicBezTo>
                  <a:pt x="26263" y="2519677"/>
                  <a:pt x="28245" y="2517694"/>
                  <a:pt x="30723" y="2517694"/>
                </a:cubicBezTo>
                <a:close/>
                <a:moveTo>
                  <a:pt x="521971" y="2514720"/>
                </a:moveTo>
                <a:cubicBezTo>
                  <a:pt x="527918" y="2514720"/>
                  <a:pt x="532708" y="2519510"/>
                  <a:pt x="532708" y="2525457"/>
                </a:cubicBezTo>
                <a:cubicBezTo>
                  <a:pt x="532708" y="2531403"/>
                  <a:pt x="527918" y="2536195"/>
                  <a:pt x="521971" y="2536195"/>
                </a:cubicBezTo>
                <a:cubicBezTo>
                  <a:pt x="516025" y="2536195"/>
                  <a:pt x="511235" y="2531403"/>
                  <a:pt x="511235" y="2525457"/>
                </a:cubicBezTo>
                <a:cubicBezTo>
                  <a:pt x="511235" y="2519510"/>
                  <a:pt x="516025" y="2514720"/>
                  <a:pt x="521971" y="2514720"/>
                </a:cubicBezTo>
                <a:close/>
                <a:moveTo>
                  <a:pt x="149818" y="2512574"/>
                </a:moveTo>
                <a:cubicBezTo>
                  <a:pt x="155749" y="2512574"/>
                  <a:pt x="160556" y="2517381"/>
                  <a:pt x="160556" y="2523310"/>
                </a:cubicBezTo>
                <a:cubicBezTo>
                  <a:pt x="160556" y="2529241"/>
                  <a:pt x="155749" y="2534046"/>
                  <a:pt x="149818" y="2534046"/>
                </a:cubicBezTo>
                <a:cubicBezTo>
                  <a:pt x="143889" y="2534046"/>
                  <a:pt x="139082" y="2529241"/>
                  <a:pt x="139082" y="2523310"/>
                </a:cubicBezTo>
                <a:cubicBezTo>
                  <a:pt x="139082" y="2517381"/>
                  <a:pt x="143889" y="2512574"/>
                  <a:pt x="149818" y="2512574"/>
                </a:cubicBezTo>
                <a:close/>
                <a:moveTo>
                  <a:pt x="595312" y="2500680"/>
                </a:moveTo>
                <a:cubicBezTo>
                  <a:pt x="601258" y="2500680"/>
                  <a:pt x="606048" y="2505470"/>
                  <a:pt x="606048" y="2511417"/>
                </a:cubicBezTo>
                <a:cubicBezTo>
                  <a:pt x="606048" y="2517363"/>
                  <a:pt x="601258" y="2522153"/>
                  <a:pt x="595312" y="2522153"/>
                </a:cubicBezTo>
                <a:cubicBezTo>
                  <a:pt x="589365" y="2522153"/>
                  <a:pt x="584575" y="2517363"/>
                  <a:pt x="584575" y="2511417"/>
                </a:cubicBezTo>
                <a:cubicBezTo>
                  <a:pt x="584575" y="2505470"/>
                  <a:pt x="589365" y="2500680"/>
                  <a:pt x="595312" y="2500680"/>
                </a:cubicBezTo>
                <a:close/>
                <a:moveTo>
                  <a:pt x="170797" y="2499690"/>
                </a:moveTo>
                <a:cubicBezTo>
                  <a:pt x="176743" y="2499690"/>
                  <a:pt x="181535" y="2504480"/>
                  <a:pt x="181535" y="2510427"/>
                </a:cubicBezTo>
                <a:cubicBezTo>
                  <a:pt x="181535" y="2516373"/>
                  <a:pt x="176743" y="2521163"/>
                  <a:pt x="170797" y="2521163"/>
                </a:cubicBezTo>
                <a:cubicBezTo>
                  <a:pt x="164850" y="2521163"/>
                  <a:pt x="160060" y="2516373"/>
                  <a:pt x="160060" y="2510427"/>
                </a:cubicBezTo>
                <a:cubicBezTo>
                  <a:pt x="160060" y="2504480"/>
                  <a:pt x="164850" y="2499690"/>
                  <a:pt x="170797" y="2499690"/>
                </a:cubicBezTo>
                <a:close/>
                <a:moveTo>
                  <a:pt x="677242" y="2486145"/>
                </a:moveTo>
                <a:cubicBezTo>
                  <a:pt x="683188" y="2486145"/>
                  <a:pt x="687980" y="2490934"/>
                  <a:pt x="687980" y="2496881"/>
                </a:cubicBezTo>
                <a:cubicBezTo>
                  <a:pt x="687980" y="2502827"/>
                  <a:pt x="683188" y="2507619"/>
                  <a:pt x="677242" y="2507619"/>
                </a:cubicBezTo>
                <a:cubicBezTo>
                  <a:pt x="671295" y="2507619"/>
                  <a:pt x="666505" y="2502827"/>
                  <a:pt x="666505" y="2496881"/>
                </a:cubicBezTo>
                <a:cubicBezTo>
                  <a:pt x="666505" y="2490934"/>
                  <a:pt x="671295" y="2486145"/>
                  <a:pt x="677242" y="2486145"/>
                </a:cubicBezTo>
                <a:close/>
                <a:moveTo>
                  <a:pt x="195408" y="2485980"/>
                </a:moveTo>
                <a:cubicBezTo>
                  <a:pt x="201355" y="2485980"/>
                  <a:pt x="206145" y="2490770"/>
                  <a:pt x="206145" y="2496716"/>
                </a:cubicBezTo>
                <a:cubicBezTo>
                  <a:pt x="206145" y="2502663"/>
                  <a:pt x="201355" y="2507452"/>
                  <a:pt x="195408" y="2507452"/>
                </a:cubicBezTo>
                <a:cubicBezTo>
                  <a:pt x="189462" y="2507452"/>
                  <a:pt x="184672" y="2502663"/>
                  <a:pt x="184672" y="2496716"/>
                </a:cubicBezTo>
                <a:cubicBezTo>
                  <a:pt x="184672" y="2490770"/>
                  <a:pt x="189462" y="2485980"/>
                  <a:pt x="195408" y="2485980"/>
                </a:cubicBezTo>
                <a:close/>
                <a:moveTo>
                  <a:pt x="91014" y="2482510"/>
                </a:moveTo>
                <a:cubicBezTo>
                  <a:pt x="96960" y="2482510"/>
                  <a:pt x="101750" y="2487299"/>
                  <a:pt x="101750" y="2493246"/>
                </a:cubicBezTo>
                <a:lnTo>
                  <a:pt x="91839" y="2503159"/>
                </a:lnTo>
                <a:lnTo>
                  <a:pt x="93988" y="2505306"/>
                </a:lnTo>
                <a:lnTo>
                  <a:pt x="84902" y="2514391"/>
                </a:lnTo>
                <a:lnTo>
                  <a:pt x="87216" y="2516703"/>
                </a:lnTo>
                <a:lnTo>
                  <a:pt x="78625" y="2525294"/>
                </a:lnTo>
                <a:lnTo>
                  <a:pt x="80938" y="2527605"/>
                </a:lnTo>
                <a:lnTo>
                  <a:pt x="73009" y="2535534"/>
                </a:lnTo>
                <a:lnTo>
                  <a:pt x="75323" y="2537846"/>
                </a:lnTo>
                <a:lnTo>
                  <a:pt x="67723" y="2545445"/>
                </a:lnTo>
                <a:lnTo>
                  <a:pt x="69706" y="2547425"/>
                </a:lnTo>
                <a:lnTo>
                  <a:pt x="62356" y="2554777"/>
                </a:lnTo>
                <a:lnTo>
                  <a:pt x="64255" y="2556675"/>
                </a:lnTo>
                <a:lnTo>
                  <a:pt x="57070" y="2563860"/>
                </a:lnTo>
                <a:lnTo>
                  <a:pt x="58475" y="2565265"/>
                </a:lnTo>
                <a:lnTo>
                  <a:pt x="51289" y="2572452"/>
                </a:lnTo>
                <a:lnTo>
                  <a:pt x="52197" y="2573360"/>
                </a:lnTo>
                <a:lnTo>
                  <a:pt x="44928" y="2580628"/>
                </a:lnTo>
                <a:lnTo>
                  <a:pt x="45425" y="2581124"/>
                </a:lnTo>
                <a:cubicBezTo>
                  <a:pt x="45425" y="2587071"/>
                  <a:pt x="40634" y="2591861"/>
                  <a:pt x="34687" y="2591861"/>
                </a:cubicBezTo>
                <a:lnTo>
                  <a:pt x="34522" y="2591696"/>
                </a:lnTo>
                <a:lnTo>
                  <a:pt x="27254" y="2598962"/>
                </a:lnTo>
                <a:cubicBezTo>
                  <a:pt x="21325" y="2598962"/>
                  <a:pt x="16518" y="2594155"/>
                  <a:pt x="16518" y="2588226"/>
                </a:cubicBezTo>
                <a:cubicBezTo>
                  <a:pt x="16518" y="2582296"/>
                  <a:pt x="21325" y="2577489"/>
                  <a:pt x="27254" y="2577489"/>
                </a:cubicBezTo>
                <a:lnTo>
                  <a:pt x="27419" y="2577656"/>
                </a:lnTo>
                <a:lnTo>
                  <a:pt x="31219" y="2573856"/>
                </a:lnTo>
                <a:lnTo>
                  <a:pt x="30723" y="2573360"/>
                </a:lnTo>
                <a:lnTo>
                  <a:pt x="37909" y="2566174"/>
                </a:lnTo>
                <a:lnTo>
                  <a:pt x="37001" y="2565265"/>
                </a:lnTo>
                <a:lnTo>
                  <a:pt x="44185" y="2558080"/>
                </a:lnTo>
                <a:lnTo>
                  <a:pt x="42781" y="2556675"/>
                </a:lnTo>
                <a:lnTo>
                  <a:pt x="50132" y="2549324"/>
                </a:lnTo>
                <a:lnTo>
                  <a:pt x="48233" y="2547425"/>
                </a:lnTo>
                <a:lnTo>
                  <a:pt x="55830" y="2539828"/>
                </a:lnTo>
                <a:lnTo>
                  <a:pt x="53848" y="2537846"/>
                </a:lnTo>
                <a:lnTo>
                  <a:pt x="61775" y="2529919"/>
                </a:lnTo>
                <a:lnTo>
                  <a:pt x="59464" y="2527605"/>
                </a:lnTo>
                <a:lnTo>
                  <a:pt x="68053" y="2519016"/>
                </a:lnTo>
                <a:lnTo>
                  <a:pt x="65741" y="2516703"/>
                </a:lnTo>
                <a:lnTo>
                  <a:pt x="74825" y="2507619"/>
                </a:lnTo>
                <a:lnTo>
                  <a:pt x="72513" y="2505306"/>
                </a:lnTo>
                <a:lnTo>
                  <a:pt x="82424" y="2495394"/>
                </a:lnTo>
                <a:lnTo>
                  <a:pt x="80277" y="2493246"/>
                </a:lnTo>
                <a:cubicBezTo>
                  <a:pt x="80277" y="2487299"/>
                  <a:pt x="85067" y="2482510"/>
                  <a:pt x="91014" y="2482510"/>
                </a:cubicBezTo>
                <a:close/>
                <a:moveTo>
                  <a:pt x="223819" y="2471773"/>
                </a:moveTo>
                <a:cubicBezTo>
                  <a:pt x="229766" y="2471773"/>
                  <a:pt x="234557" y="2476563"/>
                  <a:pt x="234557" y="2482510"/>
                </a:cubicBezTo>
                <a:cubicBezTo>
                  <a:pt x="234557" y="2488456"/>
                  <a:pt x="229766" y="2493246"/>
                  <a:pt x="223819" y="2493246"/>
                </a:cubicBezTo>
                <a:cubicBezTo>
                  <a:pt x="217873" y="2493246"/>
                  <a:pt x="213083" y="2488456"/>
                  <a:pt x="213083" y="2482510"/>
                </a:cubicBezTo>
                <a:cubicBezTo>
                  <a:pt x="213083" y="2476563"/>
                  <a:pt x="217873" y="2471773"/>
                  <a:pt x="223819" y="2471773"/>
                </a:cubicBezTo>
                <a:close/>
                <a:moveTo>
                  <a:pt x="768422" y="2470948"/>
                </a:moveTo>
                <a:cubicBezTo>
                  <a:pt x="774368" y="2470948"/>
                  <a:pt x="779158" y="2475737"/>
                  <a:pt x="779158" y="2481684"/>
                </a:cubicBezTo>
                <a:cubicBezTo>
                  <a:pt x="779158" y="2487630"/>
                  <a:pt x="774368" y="2492422"/>
                  <a:pt x="768422" y="2492422"/>
                </a:cubicBezTo>
                <a:cubicBezTo>
                  <a:pt x="762475" y="2492422"/>
                  <a:pt x="757685" y="2487630"/>
                  <a:pt x="757685" y="2481684"/>
                </a:cubicBezTo>
                <a:cubicBezTo>
                  <a:pt x="757685" y="2475737"/>
                  <a:pt x="762475" y="2470948"/>
                  <a:pt x="768422" y="2470948"/>
                </a:cubicBezTo>
                <a:close/>
                <a:moveTo>
                  <a:pt x="100099" y="2469791"/>
                </a:moveTo>
                <a:cubicBezTo>
                  <a:pt x="106046" y="2469791"/>
                  <a:pt x="110837" y="2474581"/>
                  <a:pt x="110837" y="2480527"/>
                </a:cubicBezTo>
                <a:cubicBezTo>
                  <a:pt x="110837" y="2486474"/>
                  <a:pt x="106046" y="2491266"/>
                  <a:pt x="100099" y="2491266"/>
                </a:cubicBezTo>
                <a:cubicBezTo>
                  <a:pt x="94152" y="2491266"/>
                  <a:pt x="89363" y="2486474"/>
                  <a:pt x="89363" y="2480527"/>
                </a:cubicBezTo>
                <a:cubicBezTo>
                  <a:pt x="89363" y="2474581"/>
                  <a:pt x="94152" y="2469791"/>
                  <a:pt x="100099" y="2469791"/>
                </a:cubicBezTo>
                <a:close/>
                <a:moveTo>
                  <a:pt x="256691" y="2456908"/>
                </a:moveTo>
                <a:cubicBezTo>
                  <a:pt x="262637" y="2456908"/>
                  <a:pt x="267429" y="2461698"/>
                  <a:pt x="267429" y="2467644"/>
                </a:cubicBezTo>
                <a:cubicBezTo>
                  <a:pt x="267429" y="2473590"/>
                  <a:pt x="262637" y="2478382"/>
                  <a:pt x="256691" y="2478382"/>
                </a:cubicBezTo>
                <a:cubicBezTo>
                  <a:pt x="250744" y="2478382"/>
                  <a:pt x="245955" y="2473590"/>
                  <a:pt x="245955" y="2467644"/>
                </a:cubicBezTo>
                <a:cubicBezTo>
                  <a:pt x="245955" y="2461698"/>
                  <a:pt x="250744" y="2456908"/>
                  <a:pt x="256691" y="2456908"/>
                </a:cubicBezTo>
                <a:close/>
                <a:moveTo>
                  <a:pt x="110671" y="2456576"/>
                </a:moveTo>
                <a:cubicBezTo>
                  <a:pt x="116617" y="2456576"/>
                  <a:pt x="121407" y="2461366"/>
                  <a:pt x="121407" y="2467313"/>
                </a:cubicBezTo>
                <a:cubicBezTo>
                  <a:pt x="121407" y="2473259"/>
                  <a:pt x="116617" y="2478049"/>
                  <a:pt x="110671" y="2478049"/>
                </a:cubicBezTo>
                <a:cubicBezTo>
                  <a:pt x="104724" y="2478049"/>
                  <a:pt x="99934" y="2473259"/>
                  <a:pt x="99934" y="2467313"/>
                </a:cubicBezTo>
                <a:cubicBezTo>
                  <a:pt x="99934" y="2461366"/>
                  <a:pt x="104724" y="2456576"/>
                  <a:pt x="110671" y="2456576"/>
                </a:cubicBezTo>
                <a:close/>
                <a:moveTo>
                  <a:pt x="869348" y="2455255"/>
                </a:moveTo>
                <a:cubicBezTo>
                  <a:pt x="875294" y="2455255"/>
                  <a:pt x="880084" y="2460045"/>
                  <a:pt x="880084" y="2465992"/>
                </a:cubicBezTo>
                <a:cubicBezTo>
                  <a:pt x="880084" y="2471938"/>
                  <a:pt x="875294" y="2476728"/>
                  <a:pt x="869348" y="2476728"/>
                </a:cubicBezTo>
                <a:cubicBezTo>
                  <a:pt x="863401" y="2476728"/>
                  <a:pt x="858612" y="2471938"/>
                  <a:pt x="858612" y="2465992"/>
                </a:cubicBezTo>
                <a:cubicBezTo>
                  <a:pt x="858612" y="2460045"/>
                  <a:pt x="863401" y="2455255"/>
                  <a:pt x="869348" y="2455255"/>
                </a:cubicBezTo>
                <a:close/>
                <a:moveTo>
                  <a:pt x="123060" y="2442536"/>
                </a:moveTo>
                <a:cubicBezTo>
                  <a:pt x="129006" y="2442536"/>
                  <a:pt x="133798" y="2447326"/>
                  <a:pt x="133798" y="2453273"/>
                </a:cubicBezTo>
                <a:cubicBezTo>
                  <a:pt x="133798" y="2459219"/>
                  <a:pt x="129006" y="2464011"/>
                  <a:pt x="123060" y="2464011"/>
                </a:cubicBezTo>
                <a:cubicBezTo>
                  <a:pt x="117113" y="2464011"/>
                  <a:pt x="112323" y="2459219"/>
                  <a:pt x="112323" y="2453273"/>
                </a:cubicBezTo>
                <a:cubicBezTo>
                  <a:pt x="112323" y="2447326"/>
                  <a:pt x="117113" y="2442536"/>
                  <a:pt x="123060" y="2442536"/>
                </a:cubicBezTo>
                <a:close/>
                <a:moveTo>
                  <a:pt x="294352" y="2441380"/>
                </a:moveTo>
                <a:cubicBezTo>
                  <a:pt x="300299" y="2441380"/>
                  <a:pt x="305089" y="2446170"/>
                  <a:pt x="305089" y="2452116"/>
                </a:cubicBezTo>
                <a:cubicBezTo>
                  <a:pt x="305089" y="2458063"/>
                  <a:pt x="300299" y="2462854"/>
                  <a:pt x="294352" y="2462854"/>
                </a:cubicBezTo>
                <a:cubicBezTo>
                  <a:pt x="288406" y="2462854"/>
                  <a:pt x="283616" y="2458063"/>
                  <a:pt x="283616" y="2452116"/>
                </a:cubicBezTo>
                <a:cubicBezTo>
                  <a:pt x="283616" y="2446170"/>
                  <a:pt x="288406" y="2441380"/>
                  <a:pt x="294352" y="2441380"/>
                </a:cubicBezTo>
                <a:close/>
                <a:moveTo>
                  <a:pt x="981010" y="2439068"/>
                </a:moveTo>
                <a:cubicBezTo>
                  <a:pt x="986957" y="2439068"/>
                  <a:pt x="991747" y="2443858"/>
                  <a:pt x="991747" y="2449805"/>
                </a:cubicBezTo>
                <a:cubicBezTo>
                  <a:pt x="991747" y="2455751"/>
                  <a:pt x="986957" y="2460543"/>
                  <a:pt x="981010" y="2460543"/>
                </a:cubicBezTo>
                <a:cubicBezTo>
                  <a:pt x="975064" y="2460543"/>
                  <a:pt x="970274" y="2455751"/>
                  <a:pt x="970274" y="2449805"/>
                </a:cubicBezTo>
                <a:cubicBezTo>
                  <a:pt x="970274" y="2443858"/>
                  <a:pt x="975064" y="2439068"/>
                  <a:pt x="981010" y="2439068"/>
                </a:cubicBezTo>
                <a:close/>
                <a:moveTo>
                  <a:pt x="137594" y="2427836"/>
                </a:moveTo>
                <a:cubicBezTo>
                  <a:pt x="143540" y="2427836"/>
                  <a:pt x="148330" y="2432626"/>
                  <a:pt x="148330" y="2438572"/>
                </a:cubicBezTo>
                <a:cubicBezTo>
                  <a:pt x="148330" y="2444519"/>
                  <a:pt x="143540" y="2449310"/>
                  <a:pt x="137594" y="2449310"/>
                </a:cubicBezTo>
                <a:cubicBezTo>
                  <a:pt x="131647" y="2449310"/>
                  <a:pt x="126858" y="2444519"/>
                  <a:pt x="126858" y="2438572"/>
                </a:cubicBezTo>
                <a:cubicBezTo>
                  <a:pt x="126858" y="2432626"/>
                  <a:pt x="131647" y="2427836"/>
                  <a:pt x="137594" y="2427836"/>
                </a:cubicBezTo>
                <a:close/>
                <a:moveTo>
                  <a:pt x="337464" y="2425193"/>
                </a:moveTo>
                <a:cubicBezTo>
                  <a:pt x="343411" y="2425193"/>
                  <a:pt x="348200" y="2429983"/>
                  <a:pt x="348200" y="2435929"/>
                </a:cubicBezTo>
                <a:cubicBezTo>
                  <a:pt x="348200" y="2441876"/>
                  <a:pt x="343411" y="2446667"/>
                  <a:pt x="337464" y="2446667"/>
                </a:cubicBezTo>
                <a:cubicBezTo>
                  <a:pt x="331518" y="2446667"/>
                  <a:pt x="326728" y="2441876"/>
                  <a:pt x="326728" y="2435929"/>
                </a:cubicBezTo>
                <a:cubicBezTo>
                  <a:pt x="326728" y="2429983"/>
                  <a:pt x="331518" y="2425193"/>
                  <a:pt x="337464" y="2425193"/>
                </a:cubicBezTo>
                <a:close/>
                <a:moveTo>
                  <a:pt x="1103741" y="2422384"/>
                </a:moveTo>
                <a:cubicBezTo>
                  <a:pt x="1109687" y="2422384"/>
                  <a:pt x="1114479" y="2427173"/>
                  <a:pt x="1114479" y="2433120"/>
                </a:cubicBezTo>
                <a:cubicBezTo>
                  <a:pt x="1114479" y="2439067"/>
                  <a:pt x="1109687" y="2443858"/>
                  <a:pt x="1103741" y="2443858"/>
                </a:cubicBezTo>
                <a:cubicBezTo>
                  <a:pt x="1097794" y="2443858"/>
                  <a:pt x="1093004" y="2439067"/>
                  <a:pt x="1093004" y="2433120"/>
                </a:cubicBezTo>
                <a:cubicBezTo>
                  <a:pt x="1093004" y="2427173"/>
                  <a:pt x="1097794" y="2422384"/>
                  <a:pt x="1103741" y="2422384"/>
                </a:cubicBezTo>
                <a:close/>
                <a:moveTo>
                  <a:pt x="92335" y="2413961"/>
                </a:moveTo>
                <a:cubicBezTo>
                  <a:pt x="98282" y="2413961"/>
                  <a:pt x="103071" y="2418751"/>
                  <a:pt x="103071" y="2424697"/>
                </a:cubicBezTo>
                <a:lnTo>
                  <a:pt x="92748" y="2435021"/>
                </a:lnTo>
                <a:lnTo>
                  <a:pt x="95968" y="2438241"/>
                </a:lnTo>
                <a:lnTo>
                  <a:pt x="86305" y="2447905"/>
                </a:lnTo>
                <a:lnTo>
                  <a:pt x="89361" y="2450961"/>
                </a:lnTo>
                <a:lnTo>
                  <a:pt x="80277" y="2460047"/>
                </a:lnTo>
                <a:lnTo>
                  <a:pt x="83251" y="2463019"/>
                </a:lnTo>
                <a:lnTo>
                  <a:pt x="74497" y="2471773"/>
                </a:lnTo>
                <a:lnTo>
                  <a:pt x="77140" y="2474416"/>
                </a:lnTo>
                <a:lnTo>
                  <a:pt x="68632" y="2482924"/>
                </a:lnTo>
                <a:lnTo>
                  <a:pt x="70862" y="2485153"/>
                </a:lnTo>
                <a:lnTo>
                  <a:pt x="62602" y="2493412"/>
                </a:lnTo>
                <a:lnTo>
                  <a:pt x="64420" y="2495228"/>
                </a:lnTo>
                <a:lnTo>
                  <a:pt x="56160" y="2503488"/>
                </a:lnTo>
                <a:lnTo>
                  <a:pt x="57483" y="2504810"/>
                </a:lnTo>
                <a:lnTo>
                  <a:pt x="49142" y="2513151"/>
                </a:lnTo>
                <a:lnTo>
                  <a:pt x="49886" y="2513895"/>
                </a:lnTo>
                <a:cubicBezTo>
                  <a:pt x="49886" y="2519841"/>
                  <a:pt x="45094" y="2524633"/>
                  <a:pt x="39148" y="2524633"/>
                </a:cubicBezTo>
                <a:cubicBezTo>
                  <a:pt x="33201" y="2524633"/>
                  <a:pt x="28411" y="2519841"/>
                  <a:pt x="28411" y="2513895"/>
                </a:cubicBezTo>
                <a:lnTo>
                  <a:pt x="36753" y="2505554"/>
                </a:lnTo>
                <a:lnTo>
                  <a:pt x="36009" y="2504810"/>
                </a:lnTo>
                <a:lnTo>
                  <a:pt x="44267" y="2496551"/>
                </a:lnTo>
                <a:lnTo>
                  <a:pt x="42945" y="2495228"/>
                </a:lnTo>
                <a:lnTo>
                  <a:pt x="51204" y="2486970"/>
                </a:lnTo>
                <a:lnTo>
                  <a:pt x="49388" y="2485153"/>
                </a:lnTo>
                <a:lnTo>
                  <a:pt x="57894" y="2476646"/>
                </a:lnTo>
                <a:lnTo>
                  <a:pt x="55666" y="2474416"/>
                </a:lnTo>
                <a:lnTo>
                  <a:pt x="64420" y="2465662"/>
                </a:lnTo>
                <a:lnTo>
                  <a:pt x="61777" y="2463019"/>
                </a:lnTo>
                <a:lnTo>
                  <a:pt x="70861" y="2453935"/>
                </a:lnTo>
                <a:lnTo>
                  <a:pt x="67888" y="2450961"/>
                </a:lnTo>
                <a:lnTo>
                  <a:pt x="77551" y="2441298"/>
                </a:lnTo>
                <a:lnTo>
                  <a:pt x="74495" y="2438241"/>
                </a:lnTo>
                <a:lnTo>
                  <a:pt x="84819" y="2427917"/>
                </a:lnTo>
                <a:lnTo>
                  <a:pt x="81599" y="2424697"/>
                </a:lnTo>
                <a:cubicBezTo>
                  <a:pt x="81599" y="2418751"/>
                  <a:pt x="86389" y="2413961"/>
                  <a:pt x="92335" y="2413961"/>
                </a:cubicBezTo>
                <a:close/>
                <a:moveTo>
                  <a:pt x="154774" y="2412473"/>
                </a:moveTo>
                <a:cubicBezTo>
                  <a:pt x="160721" y="2412473"/>
                  <a:pt x="165513" y="2417262"/>
                  <a:pt x="165513" y="2423209"/>
                </a:cubicBezTo>
                <a:cubicBezTo>
                  <a:pt x="165513" y="2429155"/>
                  <a:pt x="160721" y="2433947"/>
                  <a:pt x="154774" y="2433947"/>
                </a:cubicBezTo>
                <a:cubicBezTo>
                  <a:pt x="148828" y="2433947"/>
                  <a:pt x="144038" y="2429155"/>
                  <a:pt x="144038" y="2423209"/>
                </a:cubicBezTo>
                <a:cubicBezTo>
                  <a:pt x="144038" y="2417262"/>
                  <a:pt x="148828" y="2412473"/>
                  <a:pt x="154774" y="2412473"/>
                </a:cubicBezTo>
                <a:close/>
                <a:moveTo>
                  <a:pt x="386523" y="2408344"/>
                </a:moveTo>
                <a:cubicBezTo>
                  <a:pt x="392469" y="2408344"/>
                  <a:pt x="397259" y="2413134"/>
                  <a:pt x="397259" y="2419080"/>
                </a:cubicBezTo>
                <a:cubicBezTo>
                  <a:pt x="397259" y="2425027"/>
                  <a:pt x="392469" y="2429818"/>
                  <a:pt x="386523" y="2429818"/>
                </a:cubicBezTo>
                <a:cubicBezTo>
                  <a:pt x="380576" y="2429818"/>
                  <a:pt x="375786" y="2425027"/>
                  <a:pt x="375786" y="2419080"/>
                </a:cubicBezTo>
                <a:cubicBezTo>
                  <a:pt x="375786" y="2413134"/>
                  <a:pt x="380576" y="2408344"/>
                  <a:pt x="386523" y="2408344"/>
                </a:cubicBezTo>
                <a:close/>
                <a:moveTo>
                  <a:pt x="1238693" y="2405040"/>
                </a:moveTo>
                <a:cubicBezTo>
                  <a:pt x="1244640" y="2405040"/>
                  <a:pt x="1249431" y="2409830"/>
                  <a:pt x="1249431" y="2415776"/>
                </a:cubicBezTo>
                <a:cubicBezTo>
                  <a:pt x="1249431" y="2421723"/>
                  <a:pt x="1244640" y="2426514"/>
                  <a:pt x="1238693" y="2426514"/>
                </a:cubicBezTo>
                <a:cubicBezTo>
                  <a:pt x="1232747" y="2426514"/>
                  <a:pt x="1227957" y="2421723"/>
                  <a:pt x="1227957" y="2415776"/>
                </a:cubicBezTo>
                <a:cubicBezTo>
                  <a:pt x="1227957" y="2409830"/>
                  <a:pt x="1232747" y="2405040"/>
                  <a:pt x="1238693" y="2405040"/>
                </a:cubicBezTo>
                <a:close/>
                <a:moveTo>
                  <a:pt x="100264" y="2399754"/>
                </a:moveTo>
                <a:cubicBezTo>
                  <a:pt x="106210" y="2399754"/>
                  <a:pt x="111000" y="2404544"/>
                  <a:pt x="111000" y="2410491"/>
                </a:cubicBezTo>
                <a:cubicBezTo>
                  <a:pt x="111000" y="2416437"/>
                  <a:pt x="106210" y="2421229"/>
                  <a:pt x="100264" y="2421229"/>
                </a:cubicBezTo>
                <a:cubicBezTo>
                  <a:pt x="94317" y="2421229"/>
                  <a:pt x="89527" y="2416437"/>
                  <a:pt x="89527" y="2410491"/>
                </a:cubicBezTo>
                <a:cubicBezTo>
                  <a:pt x="89527" y="2404544"/>
                  <a:pt x="94317" y="2399754"/>
                  <a:pt x="100264" y="2399754"/>
                </a:cubicBezTo>
                <a:close/>
                <a:moveTo>
                  <a:pt x="174761" y="2396286"/>
                </a:moveTo>
                <a:cubicBezTo>
                  <a:pt x="180707" y="2396286"/>
                  <a:pt x="185497" y="2401075"/>
                  <a:pt x="185497" y="2407022"/>
                </a:cubicBezTo>
                <a:cubicBezTo>
                  <a:pt x="185497" y="2412969"/>
                  <a:pt x="180707" y="2417760"/>
                  <a:pt x="174761" y="2417760"/>
                </a:cubicBezTo>
                <a:cubicBezTo>
                  <a:pt x="168814" y="2417760"/>
                  <a:pt x="164025" y="2412969"/>
                  <a:pt x="164025" y="2407022"/>
                </a:cubicBezTo>
                <a:cubicBezTo>
                  <a:pt x="164025" y="2401075"/>
                  <a:pt x="168814" y="2396286"/>
                  <a:pt x="174761" y="2396286"/>
                </a:cubicBezTo>
                <a:close/>
                <a:moveTo>
                  <a:pt x="441859" y="2390671"/>
                </a:moveTo>
                <a:cubicBezTo>
                  <a:pt x="447805" y="2390671"/>
                  <a:pt x="452595" y="2395460"/>
                  <a:pt x="452595" y="2401407"/>
                </a:cubicBezTo>
                <a:cubicBezTo>
                  <a:pt x="452595" y="2407353"/>
                  <a:pt x="447805" y="2412145"/>
                  <a:pt x="441859" y="2412145"/>
                </a:cubicBezTo>
                <a:cubicBezTo>
                  <a:pt x="435912" y="2412145"/>
                  <a:pt x="431122" y="2407353"/>
                  <a:pt x="431122" y="2401407"/>
                </a:cubicBezTo>
                <a:cubicBezTo>
                  <a:pt x="431122" y="2395460"/>
                  <a:pt x="435912" y="2390671"/>
                  <a:pt x="441859" y="2390671"/>
                </a:cubicBezTo>
                <a:close/>
                <a:moveTo>
                  <a:pt x="1386364" y="2387200"/>
                </a:moveTo>
                <a:cubicBezTo>
                  <a:pt x="1392311" y="2387200"/>
                  <a:pt x="1397103" y="2391990"/>
                  <a:pt x="1397103" y="2397937"/>
                </a:cubicBezTo>
                <a:cubicBezTo>
                  <a:pt x="1397103" y="2403883"/>
                  <a:pt x="1392311" y="2408675"/>
                  <a:pt x="1386364" y="2408675"/>
                </a:cubicBezTo>
                <a:cubicBezTo>
                  <a:pt x="1380418" y="2408675"/>
                  <a:pt x="1375628" y="2403883"/>
                  <a:pt x="1375628" y="2397937"/>
                </a:cubicBezTo>
                <a:cubicBezTo>
                  <a:pt x="1375628" y="2391990"/>
                  <a:pt x="1380418" y="2387200"/>
                  <a:pt x="1386364" y="2387200"/>
                </a:cubicBezTo>
                <a:close/>
                <a:moveTo>
                  <a:pt x="109349" y="2384889"/>
                </a:moveTo>
                <a:cubicBezTo>
                  <a:pt x="115296" y="2384889"/>
                  <a:pt x="120087" y="2389678"/>
                  <a:pt x="120087" y="2395625"/>
                </a:cubicBezTo>
                <a:cubicBezTo>
                  <a:pt x="120087" y="2401572"/>
                  <a:pt x="115296" y="2406363"/>
                  <a:pt x="109349" y="2406363"/>
                </a:cubicBezTo>
                <a:cubicBezTo>
                  <a:pt x="103403" y="2406363"/>
                  <a:pt x="98613" y="2401572"/>
                  <a:pt x="98613" y="2395625"/>
                </a:cubicBezTo>
                <a:cubicBezTo>
                  <a:pt x="98613" y="2389678"/>
                  <a:pt x="103403" y="2384889"/>
                  <a:pt x="109349" y="2384889"/>
                </a:cubicBezTo>
                <a:close/>
                <a:moveTo>
                  <a:pt x="49884" y="2384393"/>
                </a:moveTo>
                <a:cubicBezTo>
                  <a:pt x="50380" y="2384393"/>
                  <a:pt x="50876" y="2384889"/>
                  <a:pt x="50876" y="2385383"/>
                </a:cubicBezTo>
                <a:cubicBezTo>
                  <a:pt x="50876" y="2385879"/>
                  <a:pt x="49884" y="2386375"/>
                  <a:pt x="49884" y="2386375"/>
                </a:cubicBezTo>
                <a:cubicBezTo>
                  <a:pt x="49390" y="2386375"/>
                  <a:pt x="48894" y="2385879"/>
                  <a:pt x="48894" y="2385383"/>
                </a:cubicBezTo>
                <a:cubicBezTo>
                  <a:pt x="48894" y="2384889"/>
                  <a:pt x="49390" y="2384393"/>
                  <a:pt x="49884" y="2384393"/>
                </a:cubicBezTo>
                <a:close/>
                <a:moveTo>
                  <a:pt x="198051" y="2379272"/>
                </a:moveTo>
                <a:cubicBezTo>
                  <a:pt x="203998" y="2379272"/>
                  <a:pt x="208789" y="2384061"/>
                  <a:pt x="208789" y="2390008"/>
                </a:cubicBezTo>
                <a:cubicBezTo>
                  <a:pt x="208789" y="2395955"/>
                  <a:pt x="203998" y="2400746"/>
                  <a:pt x="198051" y="2400746"/>
                </a:cubicBezTo>
                <a:cubicBezTo>
                  <a:pt x="192105" y="2400746"/>
                  <a:pt x="187315" y="2395955"/>
                  <a:pt x="187315" y="2390008"/>
                </a:cubicBezTo>
                <a:cubicBezTo>
                  <a:pt x="187315" y="2384061"/>
                  <a:pt x="192105" y="2379272"/>
                  <a:pt x="198051" y="2379272"/>
                </a:cubicBezTo>
                <a:close/>
                <a:moveTo>
                  <a:pt x="504296" y="2372335"/>
                </a:moveTo>
                <a:cubicBezTo>
                  <a:pt x="510243" y="2372335"/>
                  <a:pt x="515034" y="2377125"/>
                  <a:pt x="515034" y="2383071"/>
                </a:cubicBezTo>
                <a:cubicBezTo>
                  <a:pt x="515034" y="2389018"/>
                  <a:pt x="510243" y="2393809"/>
                  <a:pt x="504296" y="2393809"/>
                </a:cubicBezTo>
                <a:cubicBezTo>
                  <a:pt x="498350" y="2393809"/>
                  <a:pt x="493560" y="2389018"/>
                  <a:pt x="493560" y="2383071"/>
                </a:cubicBezTo>
                <a:cubicBezTo>
                  <a:pt x="493560" y="2377125"/>
                  <a:pt x="498350" y="2372335"/>
                  <a:pt x="504296" y="2372335"/>
                </a:cubicBezTo>
                <a:close/>
                <a:moveTo>
                  <a:pt x="1547748" y="2369196"/>
                </a:moveTo>
                <a:cubicBezTo>
                  <a:pt x="1553694" y="2369196"/>
                  <a:pt x="1558484" y="2373986"/>
                  <a:pt x="1558484" y="2379932"/>
                </a:cubicBezTo>
                <a:cubicBezTo>
                  <a:pt x="1558484" y="2385879"/>
                  <a:pt x="1553694" y="2390671"/>
                  <a:pt x="1547748" y="2390671"/>
                </a:cubicBezTo>
                <a:cubicBezTo>
                  <a:pt x="1541801" y="2390671"/>
                  <a:pt x="1537012" y="2385879"/>
                  <a:pt x="1537012" y="2379932"/>
                </a:cubicBezTo>
                <a:cubicBezTo>
                  <a:pt x="1537012" y="2373986"/>
                  <a:pt x="1541801" y="2369196"/>
                  <a:pt x="1547748" y="2369196"/>
                </a:cubicBezTo>
                <a:close/>
                <a:moveTo>
                  <a:pt x="119921" y="2369196"/>
                </a:moveTo>
                <a:cubicBezTo>
                  <a:pt x="125867" y="2369196"/>
                  <a:pt x="130657" y="2373986"/>
                  <a:pt x="130657" y="2379932"/>
                </a:cubicBezTo>
                <a:cubicBezTo>
                  <a:pt x="130657" y="2385879"/>
                  <a:pt x="125867" y="2390671"/>
                  <a:pt x="119921" y="2390671"/>
                </a:cubicBezTo>
                <a:cubicBezTo>
                  <a:pt x="113974" y="2390671"/>
                  <a:pt x="109184" y="2385879"/>
                  <a:pt x="109184" y="2379932"/>
                </a:cubicBezTo>
                <a:cubicBezTo>
                  <a:pt x="109184" y="2373986"/>
                  <a:pt x="113974" y="2369196"/>
                  <a:pt x="119921" y="2369196"/>
                </a:cubicBezTo>
                <a:close/>
                <a:moveTo>
                  <a:pt x="88700" y="2366553"/>
                </a:moveTo>
                <a:cubicBezTo>
                  <a:pt x="94647" y="2366553"/>
                  <a:pt x="99438" y="2371343"/>
                  <a:pt x="99438" y="2377290"/>
                </a:cubicBezTo>
                <a:lnTo>
                  <a:pt x="89113" y="2387615"/>
                </a:lnTo>
                <a:lnTo>
                  <a:pt x="92500" y="2391000"/>
                </a:lnTo>
                <a:lnTo>
                  <a:pt x="82674" y="2400827"/>
                </a:lnTo>
                <a:lnTo>
                  <a:pt x="85730" y="2403883"/>
                </a:lnTo>
                <a:lnTo>
                  <a:pt x="76065" y="2413548"/>
                </a:lnTo>
                <a:lnTo>
                  <a:pt x="78626" y="2416108"/>
                </a:lnTo>
                <a:lnTo>
                  <a:pt x="69211" y="2425522"/>
                </a:lnTo>
                <a:lnTo>
                  <a:pt x="71358" y="2427669"/>
                </a:lnTo>
                <a:lnTo>
                  <a:pt x="62025" y="2437003"/>
                </a:lnTo>
                <a:lnTo>
                  <a:pt x="63430" y="2438408"/>
                </a:lnTo>
                <a:cubicBezTo>
                  <a:pt x="63430" y="2444354"/>
                  <a:pt x="58638" y="2449144"/>
                  <a:pt x="52692" y="2449144"/>
                </a:cubicBezTo>
                <a:lnTo>
                  <a:pt x="52197" y="2448650"/>
                </a:lnTo>
                <a:lnTo>
                  <a:pt x="44104" y="2456743"/>
                </a:lnTo>
                <a:cubicBezTo>
                  <a:pt x="39479" y="2456743"/>
                  <a:pt x="35844" y="2453108"/>
                  <a:pt x="35844" y="2448485"/>
                </a:cubicBezTo>
                <a:lnTo>
                  <a:pt x="43937" y="2440391"/>
                </a:lnTo>
                <a:lnTo>
                  <a:pt x="41955" y="2438408"/>
                </a:lnTo>
                <a:lnTo>
                  <a:pt x="51289" y="2429074"/>
                </a:lnTo>
                <a:lnTo>
                  <a:pt x="49884" y="2427669"/>
                </a:lnTo>
                <a:lnTo>
                  <a:pt x="59299" y="2418255"/>
                </a:lnTo>
                <a:lnTo>
                  <a:pt x="57152" y="2416108"/>
                </a:lnTo>
                <a:lnTo>
                  <a:pt x="66815" y="2406444"/>
                </a:lnTo>
                <a:lnTo>
                  <a:pt x="64255" y="2403883"/>
                </a:lnTo>
                <a:lnTo>
                  <a:pt x="74083" y="2394056"/>
                </a:lnTo>
                <a:lnTo>
                  <a:pt x="71027" y="2391000"/>
                </a:lnTo>
                <a:lnTo>
                  <a:pt x="81351" y="2380676"/>
                </a:lnTo>
                <a:lnTo>
                  <a:pt x="77964" y="2377290"/>
                </a:lnTo>
                <a:cubicBezTo>
                  <a:pt x="77964" y="2371343"/>
                  <a:pt x="82754" y="2366553"/>
                  <a:pt x="88700" y="2366553"/>
                </a:cubicBezTo>
                <a:close/>
                <a:moveTo>
                  <a:pt x="225306" y="2361598"/>
                </a:moveTo>
                <a:cubicBezTo>
                  <a:pt x="231252" y="2361598"/>
                  <a:pt x="236044" y="2366389"/>
                  <a:pt x="236044" y="2372335"/>
                </a:cubicBezTo>
                <a:cubicBezTo>
                  <a:pt x="236044" y="2378281"/>
                  <a:pt x="231252" y="2383071"/>
                  <a:pt x="225306" y="2383071"/>
                </a:cubicBezTo>
                <a:cubicBezTo>
                  <a:pt x="219359" y="2383071"/>
                  <a:pt x="214569" y="2378281"/>
                  <a:pt x="214569" y="2372335"/>
                </a:cubicBezTo>
                <a:cubicBezTo>
                  <a:pt x="214569" y="2366389"/>
                  <a:pt x="219359" y="2361598"/>
                  <a:pt x="225306" y="2361598"/>
                </a:cubicBezTo>
                <a:close/>
                <a:moveTo>
                  <a:pt x="574333" y="2353339"/>
                </a:moveTo>
                <a:cubicBezTo>
                  <a:pt x="580280" y="2353339"/>
                  <a:pt x="585070" y="2358129"/>
                  <a:pt x="585070" y="2364075"/>
                </a:cubicBezTo>
                <a:cubicBezTo>
                  <a:pt x="585070" y="2370021"/>
                  <a:pt x="580280" y="2374811"/>
                  <a:pt x="574333" y="2374811"/>
                </a:cubicBezTo>
                <a:cubicBezTo>
                  <a:pt x="568387" y="2374811"/>
                  <a:pt x="563597" y="2370021"/>
                  <a:pt x="563597" y="2364075"/>
                </a:cubicBezTo>
                <a:cubicBezTo>
                  <a:pt x="563597" y="2358129"/>
                  <a:pt x="568387" y="2353339"/>
                  <a:pt x="574333" y="2353339"/>
                </a:cubicBezTo>
                <a:close/>
                <a:moveTo>
                  <a:pt x="131979" y="2352678"/>
                </a:moveTo>
                <a:cubicBezTo>
                  <a:pt x="137925" y="2352678"/>
                  <a:pt x="142717" y="2357468"/>
                  <a:pt x="142717" y="2363414"/>
                </a:cubicBezTo>
                <a:cubicBezTo>
                  <a:pt x="142717" y="2369361"/>
                  <a:pt x="137925" y="2374152"/>
                  <a:pt x="131979" y="2374152"/>
                </a:cubicBezTo>
                <a:cubicBezTo>
                  <a:pt x="126032" y="2374152"/>
                  <a:pt x="121242" y="2369361"/>
                  <a:pt x="121242" y="2363414"/>
                </a:cubicBezTo>
                <a:cubicBezTo>
                  <a:pt x="121242" y="2357468"/>
                  <a:pt x="126032" y="2352678"/>
                  <a:pt x="131979" y="2352678"/>
                </a:cubicBezTo>
                <a:close/>
                <a:moveTo>
                  <a:pt x="95803" y="2352017"/>
                </a:moveTo>
                <a:cubicBezTo>
                  <a:pt x="101750" y="2352017"/>
                  <a:pt x="106540" y="2356807"/>
                  <a:pt x="106540" y="2362754"/>
                </a:cubicBezTo>
                <a:cubicBezTo>
                  <a:pt x="106540" y="2368700"/>
                  <a:pt x="101750" y="2373490"/>
                  <a:pt x="95803" y="2373490"/>
                </a:cubicBezTo>
                <a:cubicBezTo>
                  <a:pt x="89857" y="2373490"/>
                  <a:pt x="85067" y="2368700"/>
                  <a:pt x="85067" y="2362754"/>
                </a:cubicBezTo>
                <a:cubicBezTo>
                  <a:pt x="85067" y="2356807"/>
                  <a:pt x="89857" y="2352017"/>
                  <a:pt x="95803" y="2352017"/>
                </a:cubicBezTo>
                <a:close/>
                <a:moveTo>
                  <a:pt x="1723501" y="2350696"/>
                </a:moveTo>
                <a:cubicBezTo>
                  <a:pt x="1729447" y="2350696"/>
                  <a:pt x="1734237" y="2355486"/>
                  <a:pt x="1734237" y="2361432"/>
                </a:cubicBezTo>
                <a:cubicBezTo>
                  <a:pt x="1734237" y="2367378"/>
                  <a:pt x="1729447" y="2372170"/>
                  <a:pt x="1723501" y="2372170"/>
                </a:cubicBezTo>
                <a:cubicBezTo>
                  <a:pt x="1717554" y="2372170"/>
                  <a:pt x="1712764" y="2367378"/>
                  <a:pt x="1712764" y="2361432"/>
                </a:cubicBezTo>
                <a:cubicBezTo>
                  <a:pt x="1712764" y="2355486"/>
                  <a:pt x="1717554" y="2350696"/>
                  <a:pt x="1723501" y="2350696"/>
                </a:cubicBezTo>
                <a:close/>
                <a:moveTo>
                  <a:pt x="256526" y="2343097"/>
                </a:moveTo>
                <a:cubicBezTo>
                  <a:pt x="262473" y="2343097"/>
                  <a:pt x="267264" y="2347886"/>
                  <a:pt x="267264" y="2353833"/>
                </a:cubicBezTo>
                <a:cubicBezTo>
                  <a:pt x="267264" y="2359780"/>
                  <a:pt x="262473" y="2364571"/>
                  <a:pt x="256526" y="2364571"/>
                </a:cubicBezTo>
                <a:cubicBezTo>
                  <a:pt x="250580" y="2364571"/>
                  <a:pt x="245790" y="2359780"/>
                  <a:pt x="245790" y="2353833"/>
                </a:cubicBezTo>
                <a:cubicBezTo>
                  <a:pt x="245790" y="2347886"/>
                  <a:pt x="250580" y="2343097"/>
                  <a:pt x="256526" y="2343097"/>
                </a:cubicBezTo>
                <a:close/>
                <a:moveTo>
                  <a:pt x="103238" y="2336820"/>
                </a:moveTo>
                <a:cubicBezTo>
                  <a:pt x="109169" y="2336820"/>
                  <a:pt x="113976" y="2341628"/>
                  <a:pt x="113976" y="2347557"/>
                </a:cubicBezTo>
                <a:cubicBezTo>
                  <a:pt x="113976" y="2353488"/>
                  <a:pt x="109169" y="2358293"/>
                  <a:pt x="103238" y="2358293"/>
                </a:cubicBezTo>
                <a:cubicBezTo>
                  <a:pt x="97309" y="2358293"/>
                  <a:pt x="92502" y="2353488"/>
                  <a:pt x="92502" y="2347557"/>
                </a:cubicBezTo>
                <a:cubicBezTo>
                  <a:pt x="92502" y="2341628"/>
                  <a:pt x="97309" y="2336820"/>
                  <a:pt x="103238" y="2336820"/>
                </a:cubicBezTo>
                <a:close/>
                <a:moveTo>
                  <a:pt x="146185" y="2335334"/>
                </a:moveTo>
                <a:cubicBezTo>
                  <a:pt x="152116" y="2335334"/>
                  <a:pt x="156923" y="2340142"/>
                  <a:pt x="156923" y="2346071"/>
                </a:cubicBezTo>
                <a:cubicBezTo>
                  <a:pt x="156923" y="2352002"/>
                  <a:pt x="152116" y="2356807"/>
                  <a:pt x="146185" y="2356807"/>
                </a:cubicBezTo>
                <a:cubicBezTo>
                  <a:pt x="140256" y="2356807"/>
                  <a:pt x="135449" y="2352002"/>
                  <a:pt x="135449" y="2346071"/>
                </a:cubicBezTo>
                <a:cubicBezTo>
                  <a:pt x="135449" y="2340142"/>
                  <a:pt x="140256" y="2335334"/>
                  <a:pt x="146185" y="2335334"/>
                </a:cubicBezTo>
                <a:close/>
                <a:moveTo>
                  <a:pt x="652630" y="2333682"/>
                </a:moveTo>
                <a:cubicBezTo>
                  <a:pt x="658577" y="2333682"/>
                  <a:pt x="663366" y="2338472"/>
                  <a:pt x="663366" y="2344418"/>
                </a:cubicBezTo>
                <a:cubicBezTo>
                  <a:pt x="663366" y="2350364"/>
                  <a:pt x="658577" y="2355156"/>
                  <a:pt x="652630" y="2355156"/>
                </a:cubicBezTo>
                <a:cubicBezTo>
                  <a:pt x="646684" y="2355156"/>
                  <a:pt x="641894" y="2350364"/>
                  <a:pt x="641894" y="2344418"/>
                </a:cubicBezTo>
                <a:cubicBezTo>
                  <a:pt x="641894" y="2338472"/>
                  <a:pt x="646684" y="2333682"/>
                  <a:pt x="652630" y="2333682"/>
                </a:cubicBezTo>
                <a:close/>
                <a:moveTo>
                  <a:pt x="1914450" y="2332360"/>
                </a:moveTo>
                <a:cubicBezTo>
                  <a:pt x="1920397" y="2332360"/>
                  <a:pt x="1925188" y="2337150"/>
                  <a:pt x="1925188" y="2343097"/>
                </a:cubicBezTo>
                <a:cubicBezTo>
                  <a:pt x="1925188" y="2349043"/>
                  <a:pt x="1920397" y="2353834"/>
                  <a:pt x="1914450" y="2353834"/>
                </a:cubicBezTo>
                <a:cubicBezTo>
                  <a:pt x="1908504" y="2353834"/>
                  <a:pt x="1903714" y="2349043"/>
                  <a:pt x="1903714" y="2343097"/>
                </a:cubicBezTo>
                <a:cubicBezTo>
                  <a:pt x="1903714" y="2337150"/>
                  <a:pt x="1908504" y="2332360"/>
                  <a:pt x="1914450" y="2332360"/>
                </a:cubicBezTo>
                <a:close/>
                <a:moveTo>
                  <a:pt x="84571" y="2325257"/>
                </a:moveTo>
                <a:cubicBezTo>
                  <a:pt x="90518" y="2325257"/>
                  <a:pt x="95309" y="2330047"/>
                  <a:pt x="95309" y="2335993"/>
                </a:cubicBezTo>
                <a:lnTo>
                  <a:pt x="84654" y="2346648"/>
                </a:lnTo>
                <a:lnTo>
                  <a:pt x="87380" y="2349374"/>
                </a:lnTo>
                <a:lnTo>
                  <a:pt x="76809" y="2359944"/>
                </a:lnTo>
                <a:lnTo>
                  <a:pt x="79122" y="2362257"/>
                </a:lnTo>
                <a:lnTo>
                  <a:pt x="68714" y="2372664"/>
                </a:lnTo>
                <a:lnTo>
                  <a:pt x="70202" y="2374151"/>
                </a:lnTo>
                <a:cubicBezTo>
                  <a:pt x="70202" y="2380097"/>
                  <a:pt x="65410" y="2384887"/>
                  <a:pt x="59464" y="2384887"/>
                </a:cubicBezTo>
                <a:cubicBezTo>
                  <a:pt x="53517" y="2384887"/>
                  <a:pt x="48727" y="2380097"/>
                  <a:pt x="48727" y="2374151"/>
                </a:cubicBezTo>
                <a:lnTo>
                  <a:pt x="59134" y="2363744"/>
                </a:lnTo>
                <a:lnTo>
                  <a:pt x="57648" y="2362257"/>
                </a:lnTo>
                <a:lnTo>
                  <a:pt x="68218" y="2351688"/>
                </a:lnTo>
                <a:lnTo>
                  <a:pt x="65906" y="2349374"/>
                </a:lnTo>
                <a:lnTo>
                  <a:pt x="76561" y="2338720"/>
                </a:lnTo>
                <a:lnTo>
                  <a:pt x="73835" y="2335993"/>
                </a:lnTo>
                <a:cubicBezTo>
                  <a:pt x="73835" y="2330047"/>
                  <a:pt x="78625" y="2325257"/>
                  <a:pt x="84571" y="2325257"/>
                </a:cubicBezTo>
                <a:close/>
                <a:moveTo>
                  <a:pt x="292535" y="2323936"/>
                </a:moveTo>
                <a:cubicBezTo>
                  <a:pt x="298481" y="2323936"/>
                  <a:pt x="303273" y="2328725"/>
                  <a:pt x="303273" y="2334672"/>
                </a:cubicBezTo>
                <a:cubicBezTo>
                  <a:pt x="303273" y="2340618"/>
                  <a:pt x="298481" y="2345410"/>
                  <a:pt x="292535" y="2345410"/>
                </a:cubicBezTo>
                <a:cubicBezTo>
                  <a:pt x="286588" y="2345410"/>
                  <a:pt x="281798" y="2340618"/>
                  <a:pt x="281798" y="2334672"/>
                </a:cubicBezTo>
                <a:cubicBezTo>
                  <a:pt x="281798" y="2328725"/>
                  <a:pt x="286588" y="2323936"/>
                  <a:pt x="292535" y="2323936"/>
                </a:cubicBezTo>
                <a:close/>
                <a:moveTo>
                  <a:pt x="111661" y="2320798"/>
                </a:moveTo>
                <a:cubicBezTo>
                  <a:pt x="117607" y="2320798"/>
                  <a:pt x="122397" y="2325588"/>
                  <a:pt x="122397" y="2331535"/>
                </a:cubicBezTo>
                <a:cubicBezTo>
                  <a:pt x="122397" y="2337481"/>
                  <a:pt x="117607" y="2342271"/>
                  <a:pt x="111661" y="2342271"/>
                </a:cubicBezTo>
                <a:cubicBezTo>
                  <a:pt x="105714" y="2342271"/>
                  <a:pt x="100924" y="2337481"/>
                  <a:pt x="100924" y="2331535"/>
                </a:cubicBezTo>
                <a:cubicBezTo>
                  <a:pt x="100924" y="2325588"/>
                  <a:pt x="105714" y="2320798"/>
                  <a:pt x="111661" y="2320798"/>
                </a:cubicBezTo>
                <a:close/>
                <a:moveTo>
                  <a:pt x="162868" y="2317163"/>
                </a:moveTo>
                <a:cubicBezTo>
                  <a:pt x="168814" y="2317163"/>
                  <a:pt x="173606" y="2321953"/>
                  <a:pt x="173606" y="2327900"/>
                </a:cubicBezTo>
                <a:cubicBezTo>
                  <a:pt x="173606" y="2333846"/>
                  <a:pt x="168814" y="2338638"/>
                  <a:pt x="162868" y="2338638"/>
                </a:cubicBezTo>
                <a:cubicBezTo>
                  <a:pt x="156921" y="2338638"/>
                  <a:pt x="152132" y="2333846"/>
                  <a:pt x="152132" y="2327900"/>
                </a:cubicBezTo>
                <a:cubicBezTo>
                  <a:pt x="152132" y="2321953"/>
                  <a:pt x="156921" y="2317163"/>
                  <a:pt x="162868" y="2317163"/>
                </a:cubicBezTo>
                <a:close/>
                <a:moveTo>
                  <a:pt x="2121093" y="2314520"/>
                </a:moveTo>
                <a:cubicBezTo>
                  <a:pt x="2127039" y="2314520"/>
                  <a:pt x="2131829" y="2319310"/>
                  <a:pt x="2131829" y="2325257"/>
                </a:cubicBezTo>
                <a:cubicBezTo>
                  <a:pt x="2131829" y="2331203"/>
                  <a:pt x="2127039" y="2335995"/>
                  <a:pt x="2121093" y="2335995"/>
                </a:cubicBezTo>
                <a:cubicBezTo>
                  <a:pt x="2115146" y="2335995"/>
                  <a:pt x="2110356" y="2331203"/>
                  <a:pt x="2110356" y="2325257"/>
                </a:cubicBezTo>
                <a:cubicBezTo>
                  <a:pt x="2110356" y="2319310"/>
                  <a:pt x="2115146" y="2314520"/>
                  <a:pt x="2121093" y="2314520"/>
                </a:cubicBezTo>
                <a:close/>
                <a:moveTo>
                  <a:pt x="739681" y="2313199"/>
                </a:moveTo>
                <a:cubicBezTo>
                  <a:pt x="745628" y="2313199"/>
                  <a:pt x="750417" y="2317989"/>
                  <a:pt x="750417" y="2323936"/>
                </a:cubicBezTo>
                <a:cubicBezTo>
                  <a:pt x="750417" y="2329882"/>
                  <a:pt x="745628" y="2334674"/>
                  <a:pt x="739681" y="2334674"/>
                </a:cubicBezTo>
                <a:cubicBezTo>
                  <a:pt x="733734" y="2334674"/>
                  <a:pt x="728945" y="2329882"/>
                  <a:pt x="728945" y="2323936"/>
                </a:cubicBezTo>
                <a:cubicBezTo>
                  <a:pt x="728945" y="2317989"/>
                  <a:pt x="733734" y="2313199"/>
                  <a:pt x="739681" y="2313199"/>
                </a:cubicBezTo>
                <a:close/>
                <a:moveTo>
                  <a:pt x="92170" y="2311052"/>
                </a:moveTo>
                <a:cubicBezTo>
                  <a:pt x="98117" y="2311052"/>
                  <a:pt x="102908" y="2315842"/>
                  <a:pt x="102908" y="2321789"/>
                </a:cubicBezTo>
                <a:cubicBezTo>
                  <a:pt x="102908" y="2327735"/>
                  <a:pt x="98117" y="2332527"/>
                  <a:pt x="92170" y="2332527"/>
                </a:cubicBezTo>
                <a:cubicBezTo>
                  <a:pt x="86224" y="2332527"/>
                  <a:pt x="81434" y="2327735"/>
                  <a:pt x="81434" y="2321789"/>
                </a:cubicBezTo>
                <a:cubicBezTo>
                  <a:pt x="81434" y="2315842"/>
                  <a:pt x="86224" y="2311052"/>
                  <a:pt x="92170" y="2311052"/>
                </a:cubicBezTo>
                <a:close/>
                <a:moveTo>
                  <a:pt x="66567" y="2307749"/>
                </a:moveTo>
                <a:cubicBezTo>
                  <a:pt x="68880" y="2307749"/>
                  <a:pt x="70698" y="2309566"/>
                  <a:pt x="70698" y="2311878"/>
                </a:cubicBezTo>
                <a:cubicBezTo>
                  <a:pt x="70698" y="2314191"/>
                  <a:pt x="68880" y="2316009"/>
                  <a:pt x="66567" y="2316009"/>
                </a:cubicBezTo>
                <a:cubicBezTo>
                  <a:pt x="64255" y="2316009"/>
                  <a:pt x="62438" y="2314191"/>
                  <a:pt x="62438" y="2311878"/>
                </a:cubicBezTo>
                <a:cubicBezTo>
                  <a:pt x="62438" y="2309566"/>
                  <a:pt x="64255" y="2307749"/>
                  <a:pt x="66567" y="2307749"/>
                </a:cubicBezTo>
                <a:close/>
                <a:moveTo>
                  <a:pt x="333664" y="2303784"/>
                </a:moveTo>
                <a:cubicBezTo>
                  <a:pt x="339611" y="2303784"/>
                  <a:pt x="344403" y="2308574"/>
                  <a:pt x="344403" y="2314520"/>
                </a:cubicBezTo>
                <a:cubicBezTo>
                  <a:pt x="344403" y="2320467"/>
                  <a:pt x="339611" y="2325257"/>
                  <a:pt x="333664" y="2325257"/>
                </a:cubicBezTo>
                <a:cubicBezTo>
                  <a:pt x="327718" y="2325257"/>
                  <a:pt x="322928" y="2320467"/>
                  <a:pt x="322928" y="2314520"/>
                </a:cubicBezTo>
                <a:cubicBezTo>
                  <a:pt x="322928" y="2308574"/>
                  <a:pt x="327718" y="2303784"/>
                  <a:pt x="333664" y="2303784"/>
                </a:cubicBezTo>
                <a:close/>
                <a:moveTo>
                  <a:pt x="120911" y="2303784"/>
                </a:moveTo>
                <a:cubicBezTo>
                  <a:pt x="126858" y="2303784"/>
                  <a:pt x="131647" y="2308574"/>
                  <a:pt x="131647" y="2314520"/>
                </a:cubicBezTo>
                <a:cubicBezTo>
                  <a:pt x="131647" y="2320467"/>
                  <a:pt x="126858" y="2325257"/>
                  <a:pt x="120911" y="2325257"/>
                </a:cubicBezTo>
                <a:cubicBezTo>
                  <a:pt x="114964" y="2325257"/>
                  <a:pt x="110175" y="2320467"/>
                  <a:pt x="110175" y="2314520"/>
                </a:cubicBezTo>
                <a:cubicBezTo>
                  <a:pt x="110175" y="2308574"/>
                  <a:pt x="114964" y="2303784"/>
                  <a:pt x="120911" y="2303784"/>
                </a:cubicBezTo>
                <a:close/>
                <a:moveTo>
                  <a:pt x="2343757" y="2298334"/>
                </a:moveTo>
                <a:cubicBezTo>
                  <a:pt x="2349704" y="2298334"/>
                  <a:pt x="2354494" y="2303123"/>
                  <a:pt x="2354494" y="2309070"/>
                </a:cubicBezTo>
                <a:cubicBezTo>
                  <a:pt x="2354494" y="2315017"/>
                  <a:pt x="2349704" y="2319806"/>
                  <a:pt x="2343757" y="2319806"/>
                </a:cubicBezTo>
                <a:cubicBezTo>
                  <a:pt x="2337810" y="2319806"/>
                  <a:pt x="2333021" y="2315017"/>
                  <a:pt x="2333021" y="2309070"/>
                </a:cubicBezTo>
                <a:cubicBezTo>
                  <a:pt x="2333021" y="2303123"/>
                  <a:pt x="2337810" y="2298334"/>
                  <a:pt x="2343757" y="2298334"/>
                </a:cubicBezTo>
                <a:close/>
                <a:moveTo>
                  <a:pt x="182194" y="2298167"/>
                </a:moveTo>
                <a:cubicBezTo>
                  <a:pt x="188140" y="2298167"/>
                  <a:pt x="192932" y="2302957"/>
                  <a:pt x="192932" y="2308903"/>
                </a:cubicBezTo>
                <a:cubicBezTo>
                  <a:pt x="192932" y="2314850"/>
                  <a:pt x="188140" y="2319642"/>
                  <a:pt x="182194" y="2319642"/>
                </a:cubicBezTo>
                <a:cubicBezTo>
                  <a:pt x="176247" y="2319642"/>
                  <a:pt x="171457" y="2314850"/>
                  <a:pt x="171457" y="2308903"/>
                </a:cubicBezTo>
                <a:cubicBezTo>
                  <a:pt x="171457" y="2302957"/>
                  <a:pt x="176247" y="2298167"/>
                  <a:pt x="182194" y="2298167"/>
                </a:cubicBezTo>
                <a:close/>
                <a:moveTo>
                  <a:pt x="99768" y="2295856"/>
                </a:moveTo>
                <a:cubicBezTo>
                  <a:pt x="105714" y="2295856"/>
                  <a:pt x="110506" y="2300645"/>
                  <a:pt x="110506" y="2306592"/>
                </a:cubicBezTo>
                <a:cubicBezTo>
                  <a:pt x="110506" y="2312539"/>
                  <a:pt x="105714" y="2317330"/>
                  <a:pt x="99768" y="2317330"/>
                </a:cubicBezTo>
                <a:cubicBezTo>
                  <a:pt x="93821" y="2317330"/>
                  <a:pt x="89031" y="2312539"/>
                  <a:pt x="89031" y="2306592"/>
                </a:cubicBezTo>
                <a:cubicBezTo>
                  <a:pt x="89031" y="2300645"/>
                  <a:pt x="93821" y="2295856"/>
                  <a:pt x="99768" y="2295856"/>
                </a:cubicBezTo>
                <a:close/>
                <a:moveTo>
                  <a:pt x="836312" y="2292056"/>
                </a:moveTo>
                <a:cubicBezTo>
                  <a:pt x="842258" y="2292056"/>
                  <a:pt x="847048" y="2296846"/>
                  <a:pt x="847048" y="2302792"/>
                </a:cubicBezTo>
                <a:cubicBezTo>
                  <a:pt x="847048" y="2308739"/>
                  <a:pt x="842258" y="2313530"/>
                  <a:pt x="836312" y="2313530"/>
                </a:cubicBezTo>
                <a:cubicBezTo>
                  <a:pt x="830365" y="2313530"/>
                  <a:pt x="825575" y="2308739"/>
                  <a:pt x="825575" y="2302792"/>
                </a:cubicBezTo>
                <a:cubicBezTo>
                  <a:pt x="825575" y="2296846"/>
                  <a:pt x="830365" y="2292056"/>
                  <a:pt x="836312" y="2292056"/>
                </a:cubicBezTo>
                <a:close/>
                <a:moveTo>
                  <a:pt x="3326089" y="2291726"/>
                </a:moveTo>
                <a:cubicBezTo>
                  <a:pt x="3332036" y="2291726"/>
                  <a:pt x="3336825" y="2296516"/>
                  <a:pt x="3336825" y="2302463"/>
                </a:cubicBezTo>
                <a:cubicBezTo>
                  <a:pt x="3336825" y="2308409"/>
                  <a:pt x="3332036" y="2313201"/>
                  <a:pt x="3326089" y="2313201"/>
                </a:cubicBezTo>
                <a:cubicBezTo>
                  <a:pt x="3320142" y="2313201"/>
                  <a:pt x="3315353" y="2308409"/>
                  <a:pt x="3315353" y="2302463"/>
                </a:cubicBezTo>
                <a:cubicBezTo>
                  <a:pt x="3315353" y="2296516"/>
                  <a:pt x="3320142" y="2291726"/>
                  <a:pt x="3326089" y="2291726"/>
                </a:cubicBezTo>
                <a:close/>
                <a:moveTo>
                  <a:pt x="76642" y="2288258"/>
                </a:moveTo>
                <a:cubicBezTo>
                  <a:pt x="82589" y="2288258"/>
                  <a:pt x="87380" y="2293048"/>
                  <a:pt x="87380" y="2298995"/>
                </a:cubicBezTo>
                <a:cubicBezTo>
                  <a:pt x="87380" y="2304941"/>
                  <a:pt x="82589" y="2309733"/>
                  <a:pt x="76642" y="2309733"/>
                </a:cubicBezTo>
                <a:cubicBezTo>
                  <a:pt x="70696" y="2309733"/>
                  <a:pt x="65906" y="2304941"/>
                  <a:pt x="65906" y="2298995"/>
                </a:cubicBezTo>
                <a:cubicBezTo>
                  <a:pt x="65906" y="2293048"/>
                  <a:pt x="70696" y="2288258"/>
                  <a:pt x="76642" y="2288258"/>
                </a:cubicBezTo>
                <a:close/>
                <a:moveTo>
                  <a:pt x="131483" y="2285945"/>
                </a:moveTo>
                <a:cubicBezTo>
                  <a:pt x="137429" y="2285945"/>
                  <a:pt x="142219" y="2290735"/>
                  <a:pt x="142219" y="2296681"/>
                </a:cubicBezTo>
                <a:cubicBezTo>
                  <a:pt x="142219" y="2302628"/>
                  <a:pt x="137429" y="2307417"/>
                  <a:pt x="131483" y="2307417"/>
                </a:cubicBezTo>
                <a:cubicBezTo>
                  <a:pt x="125536" y="2307417"/>
                  <a:pt x="120746" y="2302628"/>
                  <a:pt x="120746" y="2296681"/>
                </a:cubicBezTo>
                <a:cubicBezTo>
                  <a:pt x="120746" y="2290735"/>
                  <a:pt x="125536" y="2285945"/>
                  <a:pt x="131483" y="2285945"/>
                </a:cubicBezTo>
                <a:close/>
                <a:moveTo>
                  <a:pt x="2581616" y="2285449"/>
                </a:moveTo>
                <a:cubicBezTo>
                  <a:pt x="2587563" y="2285449"/>
                  <a:pt x="2592354" y="2290239"/>
                  <a:pt x="2592354" y="2296185"/>
                </a:cubicBezTo>
                <a:cubicBezTo>
                  <a:pt x="2592354" y="2302132"/>
                  <a:pt x="2587563" y="2306921"/>
                  <a:pt x="2581616" y="2306921"/>
                </a:cubicBezTo>
                <a:cubicBezTo>
                  <a:pt x="2575670" y="2306921"/>
                  <a:pt x="2570880" y="2302132"/>
                  <a:pt x="2570880" y="2296185"/>
                </a:cubicBezTo>
                <a:cubicBezTo>
                  <a:pt x="2570880" y="2290239"/>
                  <a:pt x="2575670" y="2285449"/>
                  <a:pt x="2581616" y="2285449"/>
                </a:cubicBezTo>
                <a:close/>
                <a:moveTo>
                  <a:pt x="380411" y="2282806"/>
                </a:moveTo>
                <a:cubicBezTo>
                  <a:pt x="386358" y="2282806"/>
                  <a:pt x="391149" y="2287596"/>
                  <a:pt x="391149" y="2293542"/>
                </a:cubicBezTo>
                <a:cubicBezTo>
                  <a:pt x="391149" y="2299489"/>
                  <a:pt x="386358" y="2304280"/>
                  <a:pt x="380411" y="2304280"/>
                </a:cubicBezTo>
                <a:cubicBezTo>
                  <a:pt x="374465" y="2304280"/>
                  <a:pt x="369675" y="2299489"/>
                  <a:pt x="369675" y="2293542"/>
                </a:cubicBezTo>
                <a:cubicBezTo>
                  <a:pt x="369675" y="2287596"/>
                  <a:pt x="374465" y="2282806"/>
                  <a:pt x="380411" y="2282806"/>
                </a:cubicBezTo>
                <a:close/>
                <a:moveTo>
                  <a:pt x="3082282" y="2281319"/>
                </a:moveTo>
                <a:cubicBezTo>
                  <a:pt x="3088228" y="2281319"/>
                  <a:pt x="3093020" y="2286109"/>
                  <a:pt x="3093020" y="2292056"/>
                </a:cubicBezTo>
                <a:cubicBezTo>
                  <a:pt x="3093020" y="2298003"/>
                  <a:pt x="3088228" y="2302792"/>
                  <a:pt x="3082282" y="2302792"/>
                </a:cubicBezTo>
                <a:cubicBezTo>
                  <a:pt x="3076335" y="2302792"/>
                  <a:pt x="3071545" y="2298003"/>
                  <a:pt x="3071545" y="2292056"/>
                </a:cubicBezTo>
                <a:cubicBezTo>
                  <a:pt x="3071545" y="2286109"/>
                  <a:pt x="3076335" y="2281319"/>
                  <a:pt x="3082282" y="2281319"/>
                </a:cubicBezTo>
                <a:close/>
                <a:moveTo>
                  <a:pt x="107532" y="2279834"/>
                </a:moveTo>
                <a:cubicBezTo>
                  <a:pt x="113478" y="2279834"/>
                  <a:pt x="118268" y="2284623"/>
                  <a:pt x="118268" y="2290570"/>
                </a:cubicBezTo>
                <a:cubicBezTo>
                  <a:pt x="118268" y="2296516"/>
                  <a:pt x="113478" y="2301308"/>
                  <a:pt x="107532" y="2301308"/>
                </a:cubicBezTo>
                <a:cubicBezTo>
                  <a:pt x="101585" y="2301308"/>
                  <a:pt x="96795" y="2296516"/>
                  <a:pt x="96795" y="2290570"/>
                </a:cubicBezTo>
                <a:cubicBezTo>
                  <a:pt x="96795" y="2284623"/>
                  <a:pt x="101585" y="2279834"/>
                  <a:pt x="107532" y="2279834"/>
                </a:cubicBezTo>
                <a:close/>
                <a:moveTo>
                  <a:pt x="2830712" y="2278842"/>
                </a:moveTo>
                <a:cubicBezTo>
                  <a:pt x="2836658" y="2278842"/>
                  <a:pt x="2841450" y="2283631"/>
                  <a:pt x="2841450" y="2289578"/>
                </a:cubicBezTo>
                <a:cubicBezTo>
                  <a:pt x="2841450" y="2295524"/>
                  <a:pt x="2836658" y="2300316"/>
                  <a:pt x="2830712" y="2300316"/>
                </a:cubicBezTo>
                <a:cubicBezTo>
                  <a:pt x="2824765" y="2300316"/>
                  <a:pt x="2819975" y="2295524"/>
                  <a:pt x="2819975" y="2289578"/>
                </a:cubicBezTo>
                <a:cubicBezTo>
                  <a:pt x="2819975" y="2283631"/>
                  <a:pt x="2824765" y="2278842"/>
                  <a:pt x="2830712" y="2278842"/>
                </a:cubicBezTo>
                <a:close/>
                <a:moveTo>
                  <a:pt x="204658" y="2278181"/>
                </a:moveTo>
                <a:cubicBezTo>
                  <a:pt x="210605" y="2278181"/>
                  <a:pt x="215396" y="2282971"/>
                  <a:pt x="215396" y="2288917"/>
                </a:cubicBezTo>
                <a:cubicBezTo>
                  <a:pt x="215396" y="2294863"/>
                  <a:pt x="210605" y="2299655"/>
                  <a:pt x="204658" y="2299655"/>
                </a:cubicBezTo>
                <a:cubicBezTo>
                  <a:pt x="198712" y="2299655"/>
                  <a:pt x="193922" y="2294863"/>
                  <a:pt x="193922" y="2288917"/>
                </a:cubicBezTo>
                <a:cubicBezTo>
                  <a:pt x="193922" y="2282971"/>
                  <a:pt x="198712" y="2278181"/>
                  <a:pt x="204658" y="2278181"/>
                </a:cubicBezTo>
                <a:close/>
                <a:moveTo>
                  <a:pt x="86057" y="2274548"/>
                </a:moveTo>
                <a:cubicBezTo>
                  <a:pt x="92004" y="2274548"/>
                  <a:pt x="96795" y="2279338"/>
                  <a:pt x="96795" y="2285284"/>
                </a:cubicBezTo>
                <a:cubicBezTo>
                  <a:pt x="96795" y="2291231"/>
                  <a:pt x="92004" y="2296022"/>
                  <a:pt x="86057" y="2296022"/>
                </a:cubicBezTo>
                <a:cubicBezTo>
                  <a:pt x="80111" y="2296022"/>
                  <a:pt x="75321" y="2291231"/>
                  <a:pt x="75321" y="2285284"/>
                </a:cubicBezTo>
                <a:cubicBezTo>
                  <a:pt x="75321" y="2279338"/>
                  <a:pt x="80111" y="2274548"/>
                  <a:pt x="86057" y="2274548"/>
                </a:cubicBezTo>
                <a:close/>
                <a:moveTo>
                  <a:pt x="943018" y="2270252"/>
                </a:moveTo>
                <a:cubicBezTo>
                  <a:pt x="948964" y="2270252"/>
                  <a:pt x="953756" y="2275042"/>
                  <a:pt x="953756" y="2280988"/>
                </a:cubicBezTo>
                <a:cubicBezTo>
                  <a:pt x="953756" y="2286935"/>
                  <a:pt x="948964" y="2291726"/>
                  <a:pt x="943018" y="2291726"/>
                </a:cubicBezTo>
                <a:cubicBezTo>
                  <a:pt x="937071" y="2291726"/>
                  <a:pt x="932282" y="2286935"/>
                  <a:pt x="932282" y="2280988"/>
                </a:cubicBezTo>
                <a:cubicBezTo>
                  <a:pt x="932282" y="2275042"/>
                  <a:pt x="937071" y="2270252"/>
                  <a:pt x="943018" y="2270252"/>
                </a:cubicBezTo>
                <a:close/>
                <a:moveTo>
                  <a:pt x="143540" y="2267279"/>
                </a:moveTo>
                <a:cubicBezTo>
                  <a:pt x="149487" y="2267279"/>
                  <a:pt x="154278" y="2272069"/>
                  <a:pt x="154278" y="2278016"/>
                </a:cubicBezTo>
                <a:cubicBezTo>
                  <a:pt x="154278" y="2283963"/>
                  <a:pt x="149487" y="2288754"/>
                  <a:pt x="143540" y="2288754"/>
                </a:cubicBezTo>
                <a:cubicBezTo>
                  <a:pt x="137594" y="2288754"/>
                  <a:pt x="132804" y="2283963"/>
                  <a:pt x="132804" y="2278016"/>
                </a:cubicBezTo>
                <a:cubicBezTo>
                  <a:pt x="132804" y="2272069"/>
                  <a:pt x="137594" y="2267279"/>
                  <a:pt x="143540" y="2267279"/>
                </a:cubicBezTo>
                <a:close/>
                <a:moveTo>
                  <a:pt x="115792" y="2262984"/>
                </a:moveTo>
                <a:cubicBezTo>
                  <a:pt x="121738" y="2262984"/>
                  <a:pt x="126528" y="2267774"/>
                  <a:pt x="126528" y="2273720"/>
                </a:cubicBezTo>
                <a:cubicBezTo>
                  <a:pt x="126528" y="2279667"/>
                  <a:pt x="121738" y="2284457"/>
                  <a:pt x="115792" y="2284457"/>
                </a:cubicBezTo>
                <a:cubicBezTo>
                  <a:pt x="109845" y="2284457"/>
                  <a:pt x="105055" y="2279667"/>
                  <a:pt x="105055" y="2273720"/>
                </a:cubicBezTo>
                <a:cubicBezTo>
                  <a:pt x="105055" y="2267774"/>
                  <a:pt x="109845" y="2262984"/>
                  <a:pt x="115792" y="2262984"/>
                </a:cubicBezTo>
                <a:close/>
                <a:moveTo>
                  <a:pt x="433269" y="2261002"/>
                </a:moveTo>
                <a:cubicBezTo>
                  <a:pt x="439216" y="2261002"/>
                  <a:pt x="444006" y="2265792"/>
                  <a:pt x="444006" y="2271738"/>
                </a:cubicBezTo>
                <a:cubicBezTo>
                  <a:pt x="444006" y="2277685"/>
                  <a:pt x="439216" y="2282476"/>
                  <a:pt x="433269" y="2282476"/>
                </a:cubicBezTo>
                <a:cubicBezTo>
                  <a:pt x="427323" y="2282476"/>
                  <a:pt x="422533" y="2277685"/>
                  <a:pt x="422533" y="2271738"/>
                </a:cubicBezTo>
                <a:cubicBezTo>
                  <a:pt x="422533" y="2265792"/>
                  <a:pt x="427323" y="2261002"/>
                  <a:pt x="433269" y="2261002"/>
                </a:cubicBezTo>
                <a:close/>
                <a:moveTo>
                  <a:pt x="94978" y="2260012"/>
                </a:moveTo>
                <a:cubicBezTo>
                  <a:pt x="100924" y="2260012"/>
                  <a:pt x="105716" y="2264802"/>
                  <a:pt x="105716" y="2270748"/>
                </a:cubicBezTo>
                <a:cubicBezTo>
                  <a:pt x="105716" y="2276695"/>
                  <a:pt x="100924" y="2281486"/>
                  <a:pt x="94978" y="2281486"/>
                </a:cubicBezTo>
                <a:cubicBezTo>
                  <a:pt x="89031" y="2281486"/>
                  <a:pt x="84242" y="2276695"/>
                  <a:pt x="84242" y="2270748"/>
                </a:cubicBezTo>
                <a:cubicBezTo>
                  <a:pt x="84242" y="2264802"/>
                  <a:pt x="89031" y="2260012"/>
                  <a:pt x="94978" y="2260012"/>
                </a:cubicBezTo>
                <a:close/>
                <a:moveTo>
                  <a:pt x="230756" y="2257369"/>
                </a:moveTo>
                <a:cubicBezTo>
                  <a:pt x="236703" y="2257369"/>
                  <a:pt x="241494" y="2262159"/>
                  <a:pt x="241494" y="2268105"/>
                </a:cubicBezTo>
                <a:cubicBezTo>
                  <a:pt x="241494" y="2274052"/>
                  <a:pt x="236703" y="2278843"/>
                  <a:pt x="230756" y="2278843"/>
                </a:cubicBezTo>
                <a:cubicBezTo>
                  <a:pt x="224810" y="2278843"/>
                  <a:pt x="220020" y="2274052"/>
                  <a:pt x="220020" y="2268105"/>
                </a:cubicBezTo>
                <a:cubicBezTo>
                  <a:pt x="220020" y="2262159"/>
                  <a:pt x="224810" y="2257369"/>
                  <a:pt x="230756" y="2257369"/>
                </a:cubicBezTo>
                <a:close/>
                <a:moveTo>
                  <a:pt x="1060794" y="2247787"/>
                </a:moveTo>
                <a:cubicBezTo>
                  <a:pt x="1066740" y="2247787"/>
                  <a:pt x="1071532" y="2252577"/>
                  <a:pt x="1071532" y="2258524"/>
                </a:cubicBezTo>
                <a:cubicBezTo>
                  <a:pt x="1071532" y="2264470"/>
                  <a:pt x="1066740" y="2269260"/>
                  <a:pt x="1060794" y="2269260"/>
                </a:cubicBezTo>
                <a:cubicBezTo>
                  <a:pt x="1054847" y="2269260"/>
                  <a:pt x="1050057" y="2264470"/>
                  <a:pt x="1050057" y="2258524"/>
                </a:cubicBezTo>
                <a:cubicBezTo>
                  <a:pt x="1050057" y="2252577"/>
                  <a:pt x="1054847" y="2247787"/>
                  <a:pt x="1060794" y="2247787"/>
                </a:cubicBezTo>
                <a:close/>
                <a:moveTo>
                  <a:pt x="157582" y="2247622"/>
                </a:moveTo>
                <a:cubicBezTo>
                  <a:pt x="163529" y="2247622"/>
                  <a:pt x="168318" y="2252412"/>
                  <a:pt x="168318" y="2258359"/>
                </a:cubicBezTo>
                <a:cubicBezTo>
                  <a:pt x="168318" y="2264305"/>
                  <a:pt x="163529" y="2269097"/>
                  <a:pt x="157582" y="2269097"/>
                </a:cubicBezTo>
                <a:cubicBezTo>
                  <a:pt x="151636" y="2269097"/>
                  <a:pt x="146846" y="2264305"/>
                  <a:pt x="146846" y="2258359"/>
                </a:cubicBezTo>
                <a:cubicBezTo>
                  <a:pt x="146846" y="2252412"/>
                  <a:pt x="151636" y="2247622"/>
                  <a:pt x="157582" y="2247622"/>
                </a:cubicBezTo>
                <a:close/>
                <a:moveTo>
                  <a:pt x="124546" y="2245309"/>
                </a:moveTo>
                <a:cubicBezTo>
                  <a:pt x="130492" y="2245309"/>
                  <a:pt x="135282" y="2250099"/>
                  <a:pt x="135282" y="2256045"/>
                </a:cubicBezTo>
                <a:cubicBezTo>
                  <a:pt x="135282" y="2261992"/>
                  <a:pt x="130492" y="2266784"/>
                  <a:pt x="124546" y="2266784"/>
                </a:cubicBezTo>
                <a:cubicBezTo>
                  <a:pt x="118599" y="2266784"/>
                  <a:pt x="113809" y="2261992"/>
                  <a:pt x="113809" y="2256045"/>
                </a:cubicBezTo>
                <a:cubicBezTo>
                  <a:pt x="113809" y="2250099"/>
                  <a:pt x="118599" y="2245309"/>
                  <a:pt x="124546" y="2245309"/>
                </a:cubicBezTo>
                <a:close/>
                <a:moveTo>
                  <a:pt x="103567" y="2244484"/>
                </a:moveTo>
                <a:cubicBezTo>
                  <a:pt x="109514" y="2244484"/>
                  <a:pt x="114305" y="2249274"/>
                  <a:pt x="114305" y="2255220"/>
                </a:cubicBezTo>
                <a:cubicBezTo>
                  <a:pt x="114305" y="2261167"/>
                  <a:pt x="109514" y="2265958"/>
                  <a:pt x="103567" y="2265958"/>
                </a:cubicBezTo>
                <a:cubicBezTo>
                  <a:pt x="97621" y="2265958"/>
                  <a:pt x="92831" y="2261167"/>
                  <a:pt x="92831" y="2255220"/>
                </a:cubicBezTo>
                <a:cubicBezTo>
                  <a:pt x="92831" y="2249274"/>
                  <a:pt x="97621" y="2244484"/>
                  <a:pt x="103567" y="2244484"/>
                </a:cubicBezTo>
                <a:close/>
                <a:moveTo>
                  <a:pt x="492899" y="2238373"/>
                </a:moveTo>
                <a:cubicBezTo>
                  <a:pt x="498846" y="2238373"/>
                  <a:pt x="503636" y="2243162"/>
                  <a:pt x="503636" y="2249109"/>
                </a:cubicBezTo>
                <a:cubicBezTo>
                  <a:pt x="503636" y="2255055"/>
                  <a:pt x="498846" y="2259847"/>
                  <a:pt x="492899" y="2259847"/>
                </a:cubicBezTo>
                <a:cubicBezTo>
                  <a:pt x="486953" y="2259847"/>
                  <a:pt x="482163" y="2255055"/>
                  <a:pt x="482163" y="2249109"/>
                </a:cubicBezTo>
                <a:cubicBezTo>
                  <a:pt x="482163" y="2243162"/>
                  <a:pt x="486953" y="2238373"/>
                  <a:pt x="492899" y="2238373"/>
                </a:cubicBezTo>
                <a:close/>
                <a:moveTo>
                  <a:pt x="260655" y="2235730"/>
                </a:moveTo>
                <a:cubicBezTo>
                  <a:pt x="266602" y="2235730"/>
                  <a:pt x="271393" y="2240519"/>
                  <a:pt x="271393" y="2246466"/>
                </a:cubicBezTo>
                <a:cubicBezTo>
                  <a:pt x="271393" y="2252412"/>
                  <a:pt x="266602" y="2257204"/>
                  <a:pt x="260655" y="2257204"/>
                </a:cubicBezTo>
                <a:cubicBezTo>
                  <a:pt x="254709" y="2257204"/>
                  <a:pt x="249919" y="2252412"/>
                  <a:pt x="249919" y="2246466"/>
                </a:cubicBezTo>
                <a:cubicBezTo>
                  <a:pt x="249919" y="2240519"/>
                  <a:pt x="254709" y="2235730"/>
                  <a:pt x="260655" y="2235730"/>
                </a:cubicBezTo>
                <a:close/>
                <a:moveTo>
                  <a:pt x="85234" y="2230775"/>
                </a:moveTo>
                <a:cubicBezTo>
                  <a:pt x="89156" y="2230775"/>
                  <a:pt x="92337" y="2233956"/>
                  <a:pt x="92337" y="2237878"/>
                </a:cubicBezTo>
                <a:cubicBezTo>
                  <a:pt x="92337" y="2241801"/>
                  <a:pt x="89156" y="2244980"/>
                  <a:pt x="85234" y="2244980"/>
                </a:cubicBezTo>
                <a:cubicBezTo>
                  <a:pt x="81311" y="2244980"/>
                  <a:pt x="78130" y="2241801"/>
                  <a:pt x="78130" y="2237878"/>
                </a:cubicBezTo>
                <a:cubicBezTo>
                  <a:pt x="78130" y="2233956"/>
                  <a:pt x="81311" y="2230775"/>
                  <a:pt x="85234" y="2230775"/>
                </a:cubicBezTo>
                <a:close/>
                <a:moveTo>
                  <a:pt x="111992" y="2228132"/>
                </a:moveTo>
                <a:cubicBezTo>
                  <a:pt x="117939" y="2228132"/>
                  <a:pt x="122728" y="2232922"/>
                  <a:pt x="122728" y="2238868"/>
                </a:cubicBezTo>
                <a:cubicBezTo>
                  <a:pt x="122728" y="2244815"/>
                  <a:pt x="117939" y="2249605"/>
                  <a:pt x="111992" y="2249605"/>
                </a:cubicBezTo>
                <a:cubicBezTo>
                  <a:pt x="106046" y="2249605"/>
                  <a:pt x="101256" y="2244815"/>
                  <a:pt x="101256" y="2238868"/>
                </a:cubicBezTo>
                <a:cubicBezTo>
                  <a:pt x="101256" y="2232922"/>
                  <a:pt x="106046" y="2228132"/>
                  <a:pt x="111992" y="2228132"/>
                </a:cubicBezTo>
                <a:close/>
                <a:moveTo>
                  <a:pt x="173769" y="2226975"/>
                </a:moveTo>
                <a:cubicBezTo>
                  <a:pt x="179716" y="2226975"/>
                  <a:pt x="184507" y="2231765"/>
                  <a:pt x="184507" y="2237712"/>
                </a:cubicBezTo>
                <a:cubicBezTo>
                  <a:pt x="184507" y="2243658"/>
                  <a:pt x="179716" y="2248450"/>
                  <a:pt x="173769" y="2248450"/>
                </a:cubicBezTo>
                <a:cubicBezTo>
                  <a:pt x="167822" y="2248450"/>
                  <a:pt x="163033" y="2243658"/>
                  <a:pt x="163033" y="2237712"/>
                </a:cubicBezTo>
                <a:cubicBezTo>
                  <a:pt x="163033" y="2231765"/>
                  <a:pt x="167822" y="2226975"/>
                  <a:pt x="173769" y="2226975"/>
                </a:cubicBezTo>
                <a:close/>
                <a:moveTo>
                  <a:pt x="134125" y="2226480"/>
                </a:moveTo>
                <a:cubicBezTo>
                  <a:pt x="140072" y="2226480"/>
                  <a:pt x="144864" y="2231269"/>
                  <a:pt x="144864" y="2237216"/>
                </a:cubicBezTo>
                <a:cubicBezTo>
                  <a:pt x="144864" y="2243162"/>
                  <a:pt x="140072" y="2247954"/>
                  <a:pt x="134125" y="2247954"/>
                </a:cubicBezTo>
                <a:cubicBezTo>
                  <a:pt x="128179" y="2247954"/>
                  <a:pt x="123389" y="2243162"/>
                  <a:pt x="123389" y="2237216"/>
                </a:cubicBezTo>
                <a:cubicBezTo>
                  <a:pt x="123389" y="2231269"/>
                  <a:pt x="128179" y="2226480"/>
                  <a:pt x="134125" y="2226480"/>
                </a:cubicBezTo>
                <a:close/>
                <a:moveTo>
                  <a:pt x="1189964" y="2224827"/>
                </a:moveTo>
                <a:cubicBezTo>
                  <a:pt x="1195911" y="2224827"/>
                  <a:pt x="1200702" y="2229617"/>
                  <a:pt x="1200702" y="2235563"/>
                </a:cubicBezTo>
                <a:cubicBezTo>
                  <a:pt x="1200702" y="2241510"/>
                  <a:pt x="1195911" y="2246301"/>
                  <a:pt x="1189964" y="2246301"/>
                </a:cubicBezTo>
                <a:cubicBezTo>
                  <a:pt x="1184018" y="2246301"/>
                  <a:pt x="1179228" y="2241510"/>
                  <a:pt x="1179228" y="2235563"/>
                </a:cubicBezTo>
                <a:cubicBezTo>
                  <a:pt x="1179228" y="2229617"/>
                  <a:pt x="1184018" y="2224827"/>
                  <a:pt x="1189964" y="2224827"/>
                </a:cubicBezTo>
                <a:close/>
                <a:moveTo>
                  <a:pt x="559799" y="2214918"/>
                </a:moveTo>
                <a:cubicBezTo>
                  <a:pt x="565746" y="2214918"/>
                  <a:pt x="570535" y="2219708"/>
                  <a:pt x="570535" y="2225654"/>
                </a:cubicBezTo>
                <a:cubicBezTo>
                  <a:pt x="570535" y="2231601"/>
                  <a:pt x="565746" y="2236392"/>
                  <a:pt x="559799" y="2236392"/>
                </a:cubicBezTo>
                <a:cubicBezTo>
                  <a:pt x="553852" y="2236392"/>
                  <a:pt x="549063" y="2231601"/>
                  <a:pt x="549063" y="2225654"/>
                </a:cubicBezTo>
                <a:cubicBezTo>
                  <a:pt x="549063" y="2219708"/>
                  <a:pt x="553852" y="2214918"/>
                  <a:pt x="559799" y="2214918"/>
                </a:cubicBezTo>
                <a:close/>
                <a:moveTo>
                  <a:pt x="295178" y="2213100"/>
                </a:moveTo>
                <a:cubicBezTo>
                  <a:pt x="301124" y="2213100"/>
                  <a:pt x="305916" y="2217890"/>
                  <a:pt x="305916" y="2223837"/>
                </a:cubicBezTo>
                <a:cubicBezTo>
                  <a:pt x="305916" y="2229783"/>
                  <a:pt x="301124" y="2234575"/>
                  <a:pt x="295178" y="2234575"/>
                </a:cubicBezTo>
                <a:cubicBezTo>
                  <a:pt x="289231" y="2234575"/>
                  <a:pt x="284441" y="2229783"/>
                  <a:pt x="284441" y="2223837"/>
                </a:cubicBezTo>
                <a:cubicBezTo>
                  <a:pt x="284441" y="2217890"/>
                  <a:pt x="289231" y="2213100"/>
                  <a:pt x="295178" y="2213100"/>
                </a:cubicBezTo>
                <a:close/>
                <a:moveTo>
                  <a:pt x="95803" y="2212440"/>
                </a:moveTo>
                <a:cubicBezTo>
                  <a:pt x="101750" y="2212440"/>
                  <a:pt x="106540" y="2217229"/>
                  <a:pt x="106540" y="2223176"/>
                </a:cubicBezTo>
                <a:cubicBezTo>
                  <a:pt x="106540" y="2229122"/>
                  <a:pt x="101750" y="2233914"/>
                  <a:pt x="95803" y="2233914"/>
                </a:cubicBezTo>
                <a:cubicBezTo>
                  <a:pt x="89857" y="2233914"/>
                  <a:pt x="85067" y="2229122"/>
                  <a:pt x="85067" y="2223176"/>
                </a:cubicBezTo>
                <a:cubicBezTo>
                  <a:pt x="85067" y="2217229"/>
                  <a:pt x="89857" y="2212440"/>
                  <a:pt x="95803" y="2212440"/>
                </a:cubicBezTo>
                <a:close/>
                <a:moveTo>
                  <a:pt x="120581" y="2210787"/>
                </a:moveTo>
                <a:cubicBezTo>
                  <a:pt x="126528" y="2210787"/>
                  <a:pt x="131318" y="2215577"/>
                  <a:pt x="131318" y="2221523"/>
                </a:cubicBezTo>
                <a:cubicBezTo>
                  <a:pt x="131318" y="2227470"/>
                  <a:pt x="126528" y="2232261"/>
                  <a:pt x="120581" y="2232261"/>
                </a:cubicBezTo>
                <a:cubicBezTo>
                  <a:pt x="114635" y="2232261"/>
                  <a:pt x="109845" y="2227470"/>
                  <a:pt x="109845" y="2221523"/>
                </a:cubicBezTo>
                <a:cubicBezTo>
                  <a:pt x="109845" y="2215577"/>
                  <a:pt x="114635" y="2210787"/>
                  <a:pt x="120581" y="2210787"/>
                </a:cubicBezTo>
                <a:close/>
                <a:moveTo>
                  <a:pt x="145028" y="2206823"/>
                </a:moveTo>
                <a:cubicBezTo>
                  <a:pt x="150975" y="2206823"/>
                  <a:pt x="155766" y="2211612"/>
                  <a:pt x="155766" y="2217559"/>
                </a:cubicBezTo>
                <a:cubicBezTo>
                  <a:pt x="155766" y="2223505"/>
                  <a:pt x="150975" y="2228297"/>
                  <a:pt x="145028" y="2228297"/>
                </a:cubicBezTo>
                <a:cubicBezTo>
                  <a:pt x="139082" y="2228297"/>
                  <a:pt x="134292" y="2223505"/>
                  <a:pt x="134292" y="2217559"/>
                </a:cubicBezTo>
                <a:cubicBezTo>
                  <a:pt x="134292" y="2211612"/>
                  <a:pt x="139082" y="2206823"/>
                  <a:pt x="145028" y="2206823"/>
                </a:cubicBezTo>
                <a:close/>
                <a:moveTo>
                  <a:pt x="192765" y="2205336"/>
                </a:moveTo>
                <a:cubicBezTo>
                  <a:pt x="198712" y="2205336"/>
                  <a:pt x="203502" y="2210126"/>
                  <a:pt x="203502" y="2216073"/>
                </a:cubicBezTo>
                <a:cubicBezTo>
                  <a:pt x="203502" y="2222019"/>
                  <a:pt x="198712" y="2226811"/>
                  <a:pt x="192765" y="2226811"/>
                </a:cubicBezTo>
                <a:cubicBezTo>
                  <a:pt x="186819" y="2226811"/>
                  <a:pt x="182029" y="2222019"/>
                  <a:pt x="182029" y="2216073"/>
                </a:cubicBezTo>
                <a:cubicBezTo>
                  <a:pt x="182029" y="2210126"/>
                  <a:pt x="186819" y="2205336"/>
                  <a:pt x="192765" y="2205336"/>
                </a:cubicBezTo>
                <a:close/>
                <a:moveTo>
                  <a:pt x="1331691" y="2201372"/>
                </a:moveTo>
                <a:cubicBezTo>
                  <a:pt x="1337637" y="2201372"/>
                  <a:pt x="1342427" y="2206162"/>
                  <a:pt x="1342427" y="2212108"/>
                </a:cubicBezTo>
                <a:cubicBezTo>
                  <a:pt x="1342427" y="2218055"/>
                  <a:pt x="1337637" y="2222846"/>
                  <a:pt x="1331691" y="2222846"/>
                </a:cubicBezTo>
                <a:cubicBezTo>
                  <a:pt x="1325744" y="2222846"/>
                  <a:pt x="1320954" y="2218055"/>
                  <a:pt x="1320954" y="2212108"/>
                </a:cubicBezTo>
                <a:cubicBezTo>
                  <a:pt x="1320954" y="2206162"/>
                  <a:pt x="1325744" y="2201372"/>
                  <a:pt x="1331691" y="2201372"/>
                </a:cubicBezTo>
                <a:close/>
                <a:moveTo>
                  <a:pt x="105714" y="2196911"/>
                </a:moveTo>
                <a:cubicBezTo>
                  <a:pt x="111661" y="2196911"/>
                  <a:pt x="116452" y="2201701"/>
                  <a:pt x="116452" y="2207648"/>
                </a:cubicBezTo>
                <a:cubicBezTo>
                  <a:pt x="116452" y="2213594"/>
                  <a:pt x="111661" y="2218384"/>
                  <a:pt x="105714" y="2218384"/>
                </a:cubicBezTo>
                <a:cubicBezTo>
                  <a:pt x="99768" y="2218384"/>
                  <a:pt x="94978" y="2213594"/>
                  <a:pt x="94978" y="2207648"/>
                </a:cubicBezTo>
                <a:cubicBezTo>
                  <a:pt x="94978" y="2201701"/>
                  <a:pt x="99768" y="2196911"/>
                  <a:pt x="105714" y="2196911"/>
                </a:cubicBezTo>
                <a:close/>
                <a:moveTo>
                  <a:pt x="129500" y="2192453"/>
                </a:moveTo>
                <a:cubicBezTo>
                  <a:pt x="135447" y="2192453"/>
                  <a:pt x="140237" y="2197243"/>
                  <a:pt x="140237" y="2203189"/>
                </a:cubicBezTo>
                <a:cubicBezTo>
                  <a:pt x="140237" y="2209136"/>
                  <a:pt x="135447" y="2213927"/>
                  <a:pt x="129500" y="2213927"/>
                </a:cubicBezTo>
                <a:cubicBezTo>
                  <a:pt x="123554" y="2213927"/>
                  <a:pt x="118764" y="2209136"/>
                  <a:pt x="118764" y="2203189"/>
                </a:cubicBezTo>
                <a:cubicBezTo>
                  <a:pt x="118764" y="2197243"/>
                  <a:pt x="123554" y="2192453"/>
                  <a:pt x="129500" y="2192453"/>
                </a:cubicBezTo>
                <a:close/>
                <a:moveTo>
                  <a:pt x="634626" y="2190636"/>
                </a:moveTo>
                <a:cubicBezTo>
                  <a:pt x="640572" y="2190636"/>
                  <a:pt x="645362" y="2195425"/>
                  <a:pt x="645362" y="2201372"/>
                </a:cubicBezTo>
                <a:cubicBezTo>
                  <a:pt x="645362" y="2207318"/>
                  <a:pt x="640572" y="2212110"/>
                  <a:pt x="634626" y="2212110"/>
                </a:cubicBezTo>
                <a:cubicBezTo>
                  <a:pt x="628679" y="2212110"/>
                  <a:pt x="623889" y="2207318"/>
                  <a:pt x="623889" y="2201372"/>
                </a:cubicBezTo>
                <a:cubicBezTo>
                  <a:pt x="623889" y="2195425"/>
                  <a:pt x="628679" y="2190636"/>
                  <a:pt x="634626" y="2190636"/>
                </a:cubicBezTo>
                <a:close/>
                <a:moveTo>
                  <a:pt x="334492" y="2189479"/>
                </a:moveTo>
                <a:cubicBezTo>
                  <a:pt x="340438" y="2189479"/>
                  <a:pt x="345228" y="2194269"/>
                  <a:pt x="345228" y="2200215"/>
                </a:cubicBezTo>
                <a:cubicBezTo>
                  <a:pt x="345228" y="2206162"/>
                  <a:pt x="340438" y="2210953"/>
                  <a:pt x="334492" y="2210953"/>
                </a:cubicBezTo>
                <a:cubicBezTo>
                  <a:pt x="328545" y="2210953"/>
                  <a:pt x="323755" y="2206162"/>
                  <a:pt x="323755" y="2200215"/>
                </a:cubicBezTo>
                <a:cubicBezTo>
                  <a:pt x="323755" y="2194269"/>
                  <a:pt x="328545" y="2189479"/>
                  <a:pt x="334492" y="2189479"/>
                </a:cubicBezTo>
                <a:close/>
                <a:moveTo>
                  <a:pt x="157251" y="2186010"/>
                </a:moveTo>
                <a:cubicBezTo>
                  <a:pt x="163197" y="2186010"/>
                  <a:pt x="167989" y="2190800"/>
                  <a:pt x="167989" y="2196747"/>
                </a:cubicBezTo>
                <a:cubicBezTo>
                  <a:pt x="167989" y="2202693"/>
                  <a:pt x="163197" y="2207485"/>
                  <a:pt x="157251" y="2207485"/>
                </a:cubicBezTo>
                <a:cubicBezTo>
                  <a:pt x="151304" y="2207485"/>
                  <a:pt x="146515" y="2202693"/>
                  <a:pt x="146515" y="2196747"/>
                </a:cubicBezTo>
                <a:cubicBezTo>
                  <a:pt x="146515" y="2190800"/>
                  <a:pt x="151304" y="2186010"/>
                  <a:pt x="157251" y="2186010"/>
                </a:cubicBezTo>
                <a:close/>
                <a:moveTo>
                  <a:pt x="214569" y="2182707"/>
                </a:moveTo>
                <a:cubicBezTo>
                  <a:pt x="220516" y="2182707"/>
                  <a:pt x="225307" y="2187497"/>
                  <a:pt x="225307" y="2193443"/>
                </a:cubicBezTo>
                <a:cubicBezTo>
                  <a:pt x="225307" y="2199390"/>
                  <a:pt x="220516" y="2204180"/>
                  <a:pt x="214569" y="2204180"/>
                </a:cubicBezTo>
                <a:cubicBezTo>
                  <a:pt x="208623" y="2204180"/>
                  <a:pt x="203833" y="2199390"/>
                  <a:pt x="203833" y="2193443"/>
                </a:cubicBezTo>
                <a:cubicBezTo>
                  <a:pt x="203833" y="2187497"/>
                  <a:pt x="208623" y="2182707"/>
                  <a:pt x="214569" y="2182707"/>
                </a:cubicBezTo>
                <a:close/>
                <a:moveTo>
                  <a:pt x="115460" y="2180560"/>
                </a:moveTo>
                <a:cubicBezTo>
                  <a:pt x="121407" y="2180560"/>
                  <a:pt x="126197" y="2185350"/>
                  <a:pt x="126197" y="2191296"/>
                </a:cubicBezTo>
                <a:cubicBezTo>
                  <a:pt x="126197" y="2197243"/>
                  <a:pt x="121407" y="2202034"/>
                  <a:pt x="115460" y="2202034"/>
                </a:cubicBezTo>
                <a:cubicBezTo>
                  <a:pt x="109514" y="2202034"/>
                  <a:pt x="104724" y="2197243"/>
                  <a:pt x="104724" y="2191296"/>
                </a:cubicBezTo>
                <a:cubicBezTo>
                  <a:pt x="104724" y="2185350"/>
                  <a:pt x="109514" y="2180560"/>
                  <a:pt x="115460" y="2180560"/>
                </a:cubicBezTo>
                <a:close/>
                <a:moveTo>
                  <a:pt x="94152" y="2178578"/>
                </a:moveTo>
                <a:cubicBezTo>
                  <a:pt x="94244" y="2178578"/>
                  <a:pt x="94319" y="2178652"/>
                  <a:pt x="94319" y="2178743"/>
                </a:cubicBezTo>
                <a:cubicBezTo>
                  <a:pt x="94319" y="2178834"/>
                  <a:pt x="94244" y="2178907"/>
                  <a:pt x="94152" y="2178907"/>
                </a:cubicBezTo>
                <a:cubicBezTo>
                  <a:pt x="94062" y="2178907"/>
                  <a:pt x="93988" y="2178834"/>
                  <a:pt x="93988" y="2178743"/>
                </a:cubicBezTo>
                <a:cubicBezTo>
                  <a:pt x="93988" y="2178652"/>
                  <a:pt x="94062" y="2178578"/>
                  <a:pt x="94152" y="2178578"/>
                </a:cubicBezTo>
                <a:close/>
                <a:moveTo>
                  <a:pt x="1486465" y="2177421"/>
                </a:moveTo>
                <a:cubicBezTo>
                  <a:pt x="1492412" y="2177421"/>
                  <a:pt x="1497203" y="2182211"/>
                  <a:pt x="1497203" y="2188157"/>
                </a:cubicBezTo>
                <a:cubicBezTo>
                  <a:pt x="1497203" y="2194104"/>
                  <a:pt x="1492412" y="2198896"/>
                  <a:pt x="1486465" y="2198896"/>
                </a:cubicBezTo>
                <a:cubicBezTo>
                  <a:pt x="1480519" y="2198896"/>
                  <a:pt x="1475729" y="2194104"/>
                  <a:pt x="1475729" y="2188157"/>
                </a:cubicBezTo>
                <a:cubicBezTo>
                  <a:pt x="1475729" y="2182211"/>
                  <a:pt x="1480519" y="2177421"/>
                  <a:pt x="1486465" y="2177421"/>
                </a:cubicBezTo>
                <a:close/>
                <a:moveTo>
                  <a:pt x="138917" y="2173290"/>
                </a:moveTo>
                <a:cubicBezTo>
                  <a:pt x="144864" y="2173290"/>
                  <a:pt x="149655" y="2178080"/>
                  <a:pt x="149655" y="2184027"/>
                </a:cubicBezTo>
                <a:cubicBezTo>
                  <a:pt x="149655" y="2189973"/>
                  <a:pt x="144864" y="2194764"/>
                  <a:pt x="138917" y="2194764"/>
                </a:cubicBezTo>
                <a:cubicBezTo>
                  <a:pt x="132971" y="2194764"/>
                  <a:pt x="128181" y="2189973"/>
                  <a:pt x="128181" y="2184027"/>
                </a:cubicBezTo>
                <a:cubicBezTo>
                  <a:pt x="128181" y="2178080"/>
                  <a:pt x="132971" y="2173290"/>
                  <a:pt x="138917" y="2173290"/>
                </a:cubicBezTo>
                <a:close/>
                <a:moveTo>
                  <a:pt x="718042" y="2165363"/>
                </a:moveTo>
                <a:cubicBezTo>
                  <a:pt x="723988" y="2165363"/>
                  <a:pt x="728778" y="2170153"/>
                  <a:pt x="728778" y="2176100"/>
                </a:cubicBezTo>
                <a:cubicBezTo>
                  <a:pt x="728778" y="2182046"/>
                  <a:pt x="723988" y="2186838"/>
                  <a:pt x="718042" y="2186838"/>
                </a:cubicBezTo>
                <a:cubicBezTo>
                  <a:pt x="712095" y="2186838"/>
                  <a:pt x="707306" y="2182046"/>
                  <a:pt x="707306" y="2176100"/>
                </a:cubicBezTo>
                <a:cubicBezTo>
                  <a:pt x="707306" y="2170153"/>
                  <a:pt x="712095" y="2165363"/>
                  <a:pt x="718042" y="2165363"/>
                </a:cubicBezTo>
                <a:close/>
                <a:moveTo>
                  <a:pt x="379255" y="2164867"/>
                </a:moveTo>
                <a:cubicBezTo>
                  <a:pt x="385201" y="2164867"/>
                  <a:pt x="389993" y="2169657"/>
                  <a:pt x="389993" y="2175604"/>
                </a:cubicBezTo>
                <a:cubicBezTo>
                  <a:pt x="389993" y="2181550"/>
                  <a:pt x="385201" y="2186342"/>
                  <a:pt x="379255" y="2186342"/>
                </a:cubicBezTo>
                <a:cubicBezTo>
                  <a:pt x="373308" y="2186342"/>
                  <a:pt x="368518" y="2181550"/>
                  <a:pt x="368518" y="2175604"/>
                </a:cubicBezTo>
                <a:cubicBezTo>
                  <a:pt x="368518" y="2169657"/>
                  <a:pt x="373308" y="2164867"/>
                  <a:pt x="379255" y="2164867"/>
                </a:cubicBezTo>
                <a:close/>
                <a:moveTo>
                  <a:pt x="171293" y="2164371"/>
                </a:moveTo>
                <a:cubicBezTo>
                  <a:pt x="177239" y="2164371"/>
                  <a:pt x="182031" y="2169161"/>
                  <a:pt x="182031" y="2175107"/>
                </a:cubicBezTo>
                <a:cubicBezTo>
                  <a:pt x="182031" y="2181054"/>
                  <a:pt x="177239" y="2185846"/>
                  <a:pt x="171293" y="2185846"/>
                </a:cubicBezTo>
                <a:cubicBezTo>
                  <a:pt x="165346" y="2185846"/>
                  <a:pt x="160556" y="2181054"/>
                  <a:pt x="160556" y="2175107"/>
                </a:cubicBezTo>
                <a:cubicBezTo>
                  <a:pt x="160556" y="2169161"/>
                  <a:pt x="165346" y="2164371"/>
                  <a:pt x="171293" y="2164371"/>
                </a:cubicBezTo>
                <a:close/>
                <a:moveTo>
                  <a:pt x="124875" y="2163050"/>
                </a:moveTo>
                <a:cubicBezTo>
                  <a:pt x="130822" y="2163050"/>
                  <a:pt x="135613" y="2167840"/>
                  <a:pt x="135613" y="2173786"/>
                </a:cubicBezTo>
                <a:cubicBezTo>
                  <a:pt x="135613" y="2179733"/>
                  <a:pt x="130822" y="2184524"/>
                  <a:pt x="124875" y="2184524"/>
                </a:cubicBezTo>
                <a:cubicBezTo>
                  <a:pt x="118929" y="2184524"/>
                  <a:pt x="114139" y="2179733"/>
                  <a:pt x="114139" y="2173786"/>
                </a:cubicBezTo>
                <a:cubicBezTo>
                  <a:pt x="114139" y="2167840"/>
                  <a:pt x="118929" y="2163050"/>
                  <a:pt x="124875" y="2163050"/>
                </a:cubicBezTo>
                <a:close/>
                <a:moveTo>
                  <a:pt x="239677" y="2159250"/>
                </a:moveTo>
                <a:cubicBezTo>
                  <a:pt x="245623" y="2159250"/>
                  <a:pt x="250415" y="2164040"/>
                  <a:pt x="250415" y="2169987"/>
                </a:cubicBezTo>
                <a:cubicBezTo>
                  <a:pt x="250415" y="2175933"/>
                  <a:pt x="245623" y="2180723"/>
                  <a:pt x="239677" y="2180723"/>
                </a:cubicBezTo>
                <a:cubicBezTo>
                  <a:pt x="233730" y="2180723"/>
                  <a:pt x="228940" y="2175933"/>
                  <a:pt x="228940" y="2169987"/>
                </a:cubicBezTo>
                <a:cubicBezTo>
                  <a:pt x="228940" y="2164040"/>
                  <a:pt x="233730" y="2159250"/>
                  <a:pt x="239677" y="2159250"/>
                </a:cubicBezTo>
                <a:close/>
                <a:moveTo>
                  <a:pt x="1654950" y="2153635"/>
                </a:moveTo>
                <a:cubicBezTo>
                  <a:pt x="1660897" y="2153635"/>
                  <a:pt x="1665686" y="2158425"/>
                  <a:pt x="1665686" y="2164371"/>
                </a:cubicBezTo>
                <a:cubicBezTo>
                  <a:pt x="1665686" y="2170318"/>
                  <a:pt x="1660897" y="2175109"/>
                  <a:pt x="1654950" y="2175109"/>
                </a:cubicBezTo>
                <a:cubicBezTo>
                  <a:pt x="1649004" y="2175109"/>
                  <a:pt x="1644214" y="2170318"/>
                  <a:pt x="1644214" y="2164371"/>
                </a:cubicBezTo>
                <a:cubicBezTo>
                  <a:pt x="1644214" y="2158425"/>
                  <a:pt x="1649004" y="2153635"/>
                  <a:pt x="1654950" y="2153635"/>
                </a:cubicBezTo>
                <a:close/>
                <a:moveTo>
                  <a:pt x="105881" y="2153635"/>
                </a:moveTo>
                <a:cubicBezTo>
                  <a:pt x="111262" y="2153635"/>
                  <a:pt x="115627" y="2157998"/>
                  <a:pt x="115627" y="2163381"/>
                </a:cubicBezTo>
                <a:cubicBezTo>
                  <a:pt x="115627" y="2168764"/>
                  <a:pt x="111262" y="2173127"/>
                  <a:pt x="105881" y="2173127"/>
                </a:cubicBezTo>
                <a:cubicBezTo>
                  <a:pt x="100498" y="2173127"/>
                  <a:pt x="96135" y="2168764"/>
                  <a:pt x="96135" y="2163381"/>
                </a:cubicBezTo>
                <a:cubicBezTo>
                  <a:pt x="96135" y="2157998"/>
                  <a:pt x="100498" y="2153635"/>
                  <a:pt x="105881" y="2153635"/>
                </a:cubicBezTo>
                <a:close/>
                <a:moveTo>
                  <a:pt x="148993" y="2152974"/>
                </a:moveTo>
                <a:cubicBezTo>
                  <a:pt x="154939" y="2152974"/>
                  <a:pt x="159731" y="2157764"/>
                  <a:pt x="159731" y="2163710"/>
                </a:cubicBezTo>
                <a:cubicBezTo>
                  <a:pt x="159731" y="2169657"/>
                  <a:pt x="154939" y="2174449"/>
                  <a:pt x="148993" y="2174449"/>
                </a:cubicBezTo>
                <a:cubicBezTo>
                  <a:pt x="143046" y="2174449"/>
                  <a:pt x="138256" y="2169657"/>
                  <a:pt x="138256" y="2163710"/>
                </a:cubicBezTo>
                <a:cubicBezTo>
                  <a:pt x="138256" y="2157764"/>
                  <a:pt x="143046" y="2152974"/>
                  <a:pt x="148993" y="2152974"/>
                </a:cubicBezTo>
                <a:close/>
                <a:moveTo>
                  <a:pt x="134457" y="2144550"/>
                </a:moveTo>
                <a:cubicBezTo>
                  <a:pt x="140388" y="2144550"/>
                  <a:pt x="145195" y="2149357"/>
                  <a:pt x="145195" y="2155286"/>
                </a:cubicBezTo>
                <a:cubicBezTo>
                  <a:pt x="145195" y="2161217"/>
                  <a:pt x="140388" y="2166022"/>
                  <a:pt x="134457" y="2166022"/>
                </a:cubicBezTo>
                <a:cubicBezTo>
                  <a:pt x="128528" y="2166022"/>
                  <a:pt x="123720" y="2161217"/>
                  <a:pt x="123720" y="2155286"/>
                </a:cubicBezTo>
                <a:cubicBezTo>
                  <a:pt x="123720" y="2149357"/>
                  <a:pt x="128528" y="2144550"/>
                  <a:pt x="134457" y="2144550"/>
                </a:cubicBezTo>
                <a:close/>
                <a:moveTo>
                  <a:pt x="187315" y="2141575"/>
                </a:moveTo>
                <a:cubicBezTo>
                  <a:pt x="193261" y="2141575"/>
                  <a:pt x="198053" y="2146365"/>
                  <a:pt x="198053" y="2152312"/>
                </a:cubicBezTo>
                <a:cubicBezTo>
                  <a:pt x="198053" y="2158258"/>
                  <a:pt x="193261" y="2163050"/>
                  <a:pt x="187315" y="2163050"/>
                </a:cubicBezTo>
                <a:cubicBezTo>
                  <a:pt x="181368" y="2163050"/>
                  <a:pt x="176578" y="2158258"/>
                  <a:pt x="176578" y="2152312"/>
                </a:cubicBezTo>
                <a:cubicBezTo>
                  <a:pt x="176578" y="2146365"/>
                  <a:pt x="181368" y="2141575"/>
                  <a:pt x="187315" y="2141575"/>
                </a:cubicBezTo>
                <a:close/>
                <a:moveTo>
                  <a:pt x="810543" y="2139429"/>
                </a:moveTo>
                <a:cubicBezTo>
                  <a:pt x="816490" y="2139429"/>
                  <a:pt x="821281" y="2144218"/>
                  <a:pt x="821281" y="2150165"/>
                </a:cubicBezTo>
                <a:cubicBezTo>
                  <a:pt x="821281" y="2156111"/>
                  <a:pt x="816490" y="2160903"/>
                  <a:pt x="810543" y="2160903"/>
                </a:cubicBezTo>
                <a:cubicBezTo>
                  <a:pt x="804597" y="2160903"/>
                  <a:pt x="799807" y="2156111"/>
                  <a:pt x="799807" y="2150165"/>
                </a:cubicBezTo>
                <a:cubicBezTo>
                  <a:pt x="799807" y="2144218"/>
                  <a:pt x="804597" y="2139429"/>
                  <a:pt x="810543" y="2139429"/>
                </a:cubicBezTo>
                <a:close/>
                <a:moveTo>
                  <a:pt x="429966" y="2139264"/>
                </a:moveTo>
                <a:cubicBezTo>
                  <a:pt x="435912" y="2139264"/>
                  <a:pt x="440704" y="2144053"/>
                  <a:pt x="440704" y="2150000"/>
                </a:cubicBezTo>
                <a:cubicBezTo>
                  <a:pt x="440704" y="2155946"/>
                  <a:pt x="435912" y="2160738"/>
                  <a:pt x="429966" y="2160738"/>
                </a:cubicBezTo>
                <a:cubicBezTo>
                  <a:pt x="424019" y="2160738"/>
                  <a:pt x="419229" y="2155946"/>
                  <a:pt x="419229" y="2150000"/>
                </a:cubicBezTo>
                <a:cubicBezTo>
                  <a:pt x="419229" y="2144053"/>
                  <a:pt x="424019" y="2139264"/>
                  <a:pt x="429966" y="2139264"/>
                </a:cubicBezTo>
                <a:close/>
                <a:moveTo>
                  <a:pt x="116947" y="2136291"/>
                </a:moveTo>
                <a:cubicBezTo>
                  <a:pt x="122893" y="2136291"/>
                  <a:pt x="127685" y="2141081"/>
                  <a:pt x="127685" y="2147027"/>
                </a:cubicBezTo>
                <a:cubicBezTo>
                  <a:pt x="127685" y="2152974"/>
                  <a:pt x="122893" y="2157764"/>
                  <a:pt x="116947" y="2157764"/>
                </a:cubicBezTo>
                <a:cubicBezTo>
                  <a:pt x="111000" y="2157764"/>
                  <a:pt x="106210" y="2152974"/>
                  <a:pt x="106210" y="2147027"/>
                </a:cubicBezTo>
                <a:cubicBezTo>
                  <a:pt x="106210" y="2141081"/>
                  <a:pt x="111000" y="2136291"/>
                  <a:pt x="116947" y="2136291"/>
                </a:cubicBezTo>
                <a:close/>
                <a:moveTo>
                  <a:pt x="268584" y="2134474"/>
                </a:moveTo>
                <a:cubicBezTo>
                  <a:pt x="274530" y="2134474"/>
                  <a:pt x="279322" y="2139264"/>
                  <a:pt x="279322" y="2145210"/>
                </a:cubicBezTo>
                <a:cubicBezTo>
                  <a:pt x="279322" y="2151157"/>
                  <a:pt x="274530" y="2155946"/>
                  <a:pt x="268584" y="2155946"/>
                </a:cubicBezTo>
                <a:cubicBezTo>
                  <a:pt x="262637" y="2155946"/>
                  <a:pt x="257848" y="2151157"/>
                  <a:pt x="257848" y="2145210"/>
                </a:cubicBezTo>
                <a:cubicBezTo>
                  <a:pt x="257848" y="2139264"/>
                  <a:pt x="262637" y="2134474"/>
                  <a:pt x="268584" y="2134474"/>
                </a:cubicBezTo>
                <a:close/>
                <a:moveTo>
                  <a:pt x="160225" y="2131665"/>
                </a:moveTo>
                <a:cubicBezTo>
                  <a:pt x="166172" y="2131665"/>
                  <a:pt x="170963" y="2136454"/>
                  <a:pt x="170963" y="2142401"/>
                </a:cubicBezTo>
                <a:cubicBezTo>
                  <a:pt x="170963" y="2148347"/>
                  <a:pt x="166172" y="2153139"/>
                  <a:pt x="160225" y="2153139"/>
                </a:cubicBezTo>
                <a:cubicBezTo>
                  <a:pt x="154278" y="2153139"/>
                  <a:pt x="149489" y="2148347"/>
                  <a:pt x="149489" y="2142401"/>
                </a:cubicBezTo>
                <a:cubicBezTo>
                  <a:pt x="149489" y="2136454"/>
                  <a:pt x="154278" y="2131665"/>
                  <a:pt x="160225" y="2131665"/>
                </a:cubicBezTo>
                <a:close/>
                <a:moveTo>
                  <a:pt x="1837806" y="2130178"/>
                </a:moveTo>
                <a:cubicBezTo>
                  <a:pt x="1843753" y="2130178"/>
                  <a:pt x="1848544" y="2134968"/>
                  <a:pt x="1848544" y="2140915"/>
                </a:cubicBezTo>
                <a:cubicBezTo>
                  <a:pt x="1848544" y="2146861"/>
                  <a:pt x="1843753" y="2151653"/>
                  <a:pt x="1837806" y="2151653"/>
                </a:cubicBezTo>
                <a:cubicBezTo>
                  <a:pt x="1831860" y="2151653"/>
                  <a:pt x="1827070" y="2146861"/>
                  <a:pt x="1827070" y="2140915"/>
                </a:cubicBezTo>
                <a:cubicBezTo>
                  <a:pt x="1827070" y="2134968"/>
                  <a:pt x="1831860" y="2130178"/>
                  <a:pt x="1837806" y="2130178"/>
                </a:cubicBezTo>
                <a:close/>
                <a:moveTo>
                  <a:pt x="144036" y="2125224"/>
                </a:moveTo>
                <a:cubicBezTo>
                  <a:pt x="149983" y="2125224"/>
                  <a:pt x="154774" y="2130013"/>
                  <a:pt x="154774" y="2135960"/>
                </a:cubicBezTo>
                <a:cubicBezTo>
                  <a:pt x="154774" y="2141906"/>
                  <a:pt x="149983" y="2146698"/>
                  <a:pt x="144036" y="2146698"/>
                </a:cubicBezTo>
                <a:cubicBezTo>
                  <a:pt x="138090" y="2146698"/>
                  <a:pt x="133300" y="2141906"/>
                  <a:pt x="133300" y="2135960"/>
                </a:cubicBezTo>
                <a:cubicBezTo>
                  <a:pt x="133300" y="2130013"/>
                  <a:pt x="138090" y="2125224"/>
                  <a:pt x="144036" y="2125224"/>
                </a:cubicBezTo>
                <a:close/>
                <a:moveTo>
                  <a:pt x="127849" y="2119111"/>
                </a:moveTo>
                <a:cubicBezTo>
                  <a:pt x="133796" y="2119111"/>
                  <a:pt x="138588" y="2123901"/>
                  <a:pt x="138588" y="2129847"/>
                </a:cubicBezTo>
                <a:cubicBezTo>
                  <a:pt x="138588" y="2135794"/>
                  <a:pt x="133796" y="2140585"/>
                  <a:pt x="127849" y="2140585"/>
                </a:cubicBezTo>
                <a:cubicBezTo>
                  <a:pt x="121903" y="2140585"/>
                  <a:pt x="117113" y="2135794"/>
                  <a:pt x="117113" y="2129847"/>
                </a:cubicBezTo>
                <a:cubicBezTo>
                  <a:pt x="117113" y="2123901"/>
                  <a:pt x="121903" y="2119111"/>
                  <a:pt x="127849" y="2119111"/>
                </a:cubicBezTo>
                <a:close/>
                <a:moveTo>
                  <a:pt x="205980" y="2117789"/>
                </a:moveTo>
                <a:cubicBezTo>
                  <a:pt x="211926" y="2117789"/>
                  <a:pt x="216718" y="2122579"/>
                  <a:pt x="216718" y="2128526"/>
                </a:cubicBezTo>
                <a:cubicBezTo>
                  <a:pt x="216718" y="2134472"/>
                  <a:pt x="211926" y="2139264"/>
                  <a:pt x="205980" y="2139264"/>
                </a:cubicBezTo>
                <a:cubicBezTo>
                  <a:pt x="200033" y="2139264"/>
                  <a:pt x="195243" y="2134472"/>
                  <a:pt x="195243" y="2128526"/>
                </a:cubicBezTo>
                <a:cubicBezTo>
                  <a:pt x="195243" y="2122579"/>
                  <a:pt x="200033" y="2117789"/>
                  <a:pt x="205980" y="2117789"/>
                </a:cubicBezTo>
                <a:close/>
                <a:moveTo>
                  <a:pt x="912791" y="2112835"/>
                </a:moveTo>
                <a:cubicBezTo>
                  <a:pt x="918738" y="2112835"/>
                  <a:pt x="923527" y="2117625"/>
                  <a:pt x="923527" y="2123571"/>
                </a:cubicBezTo>
                <a:cubicBezTo>
                  <a:pt x="923527" y="2129518"/>
                  <a:pt x="918738" y="2134307"/>
                  <a:pt x="912791" y="2134307"/>
                </a:cubicBezTo>
                <a:cubicBezTo>
                  <a:pt x="906844" y="2134307"/>
                  <a:pt x="902055" y="2129518"/>
                  <a:pt x="902055" y="2123571"/>
                </a:cubicBezTo>
                <a:cubicBezTo>
                  <a:pt x="902055" y="2117625"/>
                  <a:pt x="906844" y="2112835"/>
                  <a:pt x="912791" y="2112835"/>
                </a:cubicBezTo>
                <a:close/>
                <a:moveTo>
                  <a:pt x="486953" y="2112835"/>
                </a:moveTo>
                <a:cubicBezTo>
                  <a:pt x="492899" y="2112835"/>
                  <a:pt x="497689" y="2117625"/>
                  <a:pt x="497689" y="2123571"/>
                </a:cubicBezTo>
                <a:cubicBezTo>
                  <a:pt x="497689" y="2129518"/>
                  <a:pt x="492899" y="2134307"/>
                  <a:pt x="486953" y="2134307"/>
                </a:cubicBezTo>
                <a:cubicBezTo>
                  <a:pt x="481006" y="2134307"/>
                  <a:pt x="476216" y="2129518"/>
                  <a:pt x="476216" y="2123571"/>
                </a:cubicBezTo>
                <a:cubicBezTo>
                  <a:pt x="476216" y="2117625"/>
                  <a:pt x="481006" y="2112835"/>
                  <a:pt x="486953" y="2112835"/>
                </a:cubicBezTo>
                <a:close/>
                <a:moveTo>
                  <a:pt x="172779" y="2109202"/>
                </a:moveTo>
                <a:cubicBezTo>
                  <a:pt x="178725" y="2109202"/>
                  <a:pt x="183515" y="2113991"/>
                  <a:pt x="183515" y="2119938"/>
                </a:cubicBezTo>
                <a:cubicBezTo>
                  <a:pt x="183515" y="2125885"/>
                  <a:pt x="178725" y="2130674"/>
                  <a:pt x="172779" y="2130674"/>
                </a:cubicBezTo>
                <a:cubicBezTo>
                  <a:pt x="166832" y="2130674"/>
                  <a:pt x="162042" y="2125885"/>
                  <a:pt x="162042" y="2119938"/>
                </a:cubicBezTo>
                <a:cubicBezTo>
                  <a:pt x="162042" y="2113991"/>
                  <a:pt x="166832" y="2109202"/>
                  <a:pt x="172779" y="2109202"/>
                </a:cubicBezTo>
                <a:close/>
                <a:moveTo>
                  <a:pt x="301785" y="2108870"/>
                </a:moveTo>
                <a:cubicBezTo>
                  <a:pt x="307731" y="2108870"/>
                  <a:pt x="312521" y="2113660"/>
                  <a:pt x="312521" y="2119607"/>
                </a:cubicBezTo>
                <a:cubicBezTo>
                  <a:pt x="312521" y="2125553"/>
                  <a:pt x="307731" y="2130345"/>
                  <a:pt x="301785" y="2130345"/>
                </a:cubicBezTo>
                <a:cubicBezTo>
                  <a:pt x="295838" y="2130345"/>
                  <a:pt x="291049" y="2125553"/>
                  <a:pt x="291049" y="2119607"/>
                </a:cubicBezTo>
                <a:cubicBezTo>
                  <a:pt x="291049" y="2113660"/>
                  <a:pt x="295838" y="2108870"/>
                  <a:pt x="301785" y="2108870"/>
                </a:cubicBezTo>
                <a:close/>
                <a:moveTo>
                  <a:pt x="2035693" y="2107549"/>
                </a:moveTo>
                <a:cubicBezTo>
                  <a:pt x="2041639" y="2107549"/>
                  <a:pt x="2046431" y="2112339"/>
                  <a:pt x="2046431" y="2118285"/>
                </a:cubicBezTo>
                <a:cubicBezTo>
                  <a:pt x="2046431" y="2124232"/>
                  <a:pt x="2041639" y="2129023"/>
                  <a:pt x="2035693" y="2129023"/>
                </a:cubicBezTo>
                <a:cubicBezTo>
                  <a:pt x="2029746" y="2129023"/>
                  <a:pt x="2024956" y="2124232"/>
                  <a:pt x="2024956" y="2118285"/>
                </a:cubicBezTo>
                <a:cubicBezTo>
                  <a:pt x="2024956" y="2112339"/>
                  <a:pt x="2029746" y="2107549"/>
                  <a:pt x="2035693" y="2107549"/>
                </a:cubicBezTo>
                <a:close/>
                <a:moveTo>
                  <a:pt x="115956" y="2104081"/>
                </a:moveTo>
                <a:cubicBezTo>
                  <a:pt x="116784" y="2104081"/>
                  <a:pt x="117444" y="2104741"/>
                  <a:pt x="117444" y="2105567"/>
                </a:cubicBezTo>
                <a:cubicBezTo>
                  <a:pt x="117444" y="2106392"/>
                  <a:pt x="116784" y="2107055"/>
                  <a:pt x="115956" y="2107055"/>
                </a:cubicBezTo>
                <a:cubicBezTo>
                  <a:pt x="115131" y="2107055"/>
                  <a:pt x="114470" y="2106392"/>
                  <a:pt x="114470" y="2105567"/>
                </a:cubicBezTo>
                <a:cubicBezTo>
                  <a:pt x="114470" y="2104741"/>
                  <a:pt x="115131" y="2104081"/>
                  <a:pt x="115956" y="2104081"/>
                </a:cubicBezTo>
                <a:close/>
                <a:moveTo>
                  <a:pt x="138255" y="2100777"/>
                </a:moveTo>
                <a:lnTo>
                  <a:pt x="148167" y="2110688"/>
                </a:lnTo>
                <a:lnTo>
                  <a:pt x="154278" y="2104577"/>
                </a:lnTo>
                <a:cubicBezTo>
                  <a:pt x="160225" y="2104577"/>
                  <a:pt x="165017" y="2109366"/>
                  <a:pt x="165017" y="2115313"/>
                </a:cubicBezTo>
                <a:cubicBezTo>
                  <a:pt x="165017" y="2121259"/>
                  <a:pt x="160225" y="2126049"/>
                  <a:pt x="154278" y="2126049"/>
                </a:cubicBezTo>
                <a:lnTo>
                  <a:pt x="144368" y="2116138"/>
                </a:lnTo>
                <a:lnTo>
                  <a:pt x="138255" y="2122251"/>
                </a:lnTo>
                <a:cubicBezTo>
                  <a:pt x="132308" y="2122251"/>
                  <a:pt x="127518" y="2117460"/>
                  <a:pt x="127518" y="2111513"/>
                </a:cubicBezTo>
                <a:cubicBezTo>
                  <a:pt x="127518" y="2105567"/>
                  <a:pt x="132308" y="2100777"/>
                  <a:pt x="138255" y="2100777"/>
                </a:cubicBezTo>
                <a:close/>
                <a:moveTo>
                  <a:pt x="227288" y="2092848"/>
                </a:moveTo>
                <a:cubicBezTo>
                  <a:pt x="233234" y="2092848"/>
                  <a:pt x="238026" y="2097638"/>
                  <a:pt x="238026" y="2103585"/>
                </a:cubicBezTo>
                <a:cubicBezTo>
                  <a:pt x="238026" y="2109531"/>
                  <a:pt x="233234" y="2114321"/>
                  <a:pt x="227288" y="2114321"/>
                </a:cubicBezTo>
                <a:cubicBezTo>
                  <a:pt x="221341" y="2114321"/>
                  <a:pt x="216551" y="2109531"/>
                  <a:pt x="216551" y="2103585"/>
                </a:cubicBezTo>
                <a:cubicBezTo>
                  <a:pt x="216551" y="2097638"/>
                  <a:pt x="221341" y="2092848"/>
                  <a:pt x="227288" y="2092848"/>
                </a:cubicBezTo>
                <a:close/>
                <a:moveTo>
                  <a:pt x="2248117" y="2087231"/>
                </a:moveTo>
                <a:cubicBezTo>
                  <a:pt x="2254063" y="2087231"/>
                  <a:pt x="2258855" y="2092021"/>
                  <a:pt x="2258855" y="2097968"/>
                </a:cubicBezTo>
                <a:cubicBezTo>
                  <a:pt x="2258855" y="2103914"/>
                  <a:pt x="2254063" y="2108706"/>
                  <a:pt x="2248117" y="2108706"/>
                </a:cubicBezTo>
                <a:cubicBezTo>
                  <a:pt x="2242170" y="2108706"/>
                  <a:pt x="2237380" y="2103914"/>
                  <a:pt x="2237380" y="2097968"/>
                </a:cubicBezTo>
                <a:cubicBezTo>
                  <a:pt x="2237380" y="2092021"/>
                  <a:pt x="2242170" y="2087231"/>
                  <a:pt x="2248117" y="2087231"/>
                </a:cubicBezTo>
                <a:close/>
                <a:moveTo>
                  <a:pt x="186984" y="2085580"/>
                </a:moveTo>
                <a:cubicBezTo>
                  <a:pt x="192930" y="2085580"/>
                  <a:pt x="197722" y="2090370"/>
                  <a:pt x="197722" y="2096317"/>
                </a:cubicBezTo>
                <a:cubicBezTo>
                  <a:pt x="197722" y="2102263"/>
                  <a:pt x="192930" y="2107055"/>
                  <a:pt x="186984" y="2107055"/>
                </a:cubicBezTo>
                <a:cubicBezTo>
                  <a:pt x="181037" y="2107055"/>
                  <a:pt x="176247" y="2102263"/>
                  <a:pt x="176247" y="2096317"/>
                </a:cubicBezTo>
                <a:cubicBezTo>
                  <a:pt x="176247" y="2090370"/>
                  <a:pt x="181037" y="2085580"/>
                  <a:pt x="186984" y="2085580"/>
                </a:cubicBezTo>
                <a:close/>
                <a:moveTo>
                  <a:pt x="1025609" y="2085414"/>
                </a:moveTo>
                <a:cubicBezTo>
                  <a:pt x="1031555" y="2085414"/>
                  <a:pt x="1036347" y="2090204"/>
                  <a:pt x="1036347" y="2096150"/>
                </a:cubicBezTo>
                <a:cubicBezTo>
                  <a:pt x="1036347" y="2102097"/>
                  <a:pt x="1031555" y="2106888"/>
                  <a:pt x="1025609" y="2106888"/>
                </a:cubicBezTo>
                <a:cubicBezTo>
                  <a:pt x="1019662" y="2106888"/>
                  <a:pt x="1014872" y="2102097"/>
                  <a:pt x="1014872" y="2096150"/>
                </a:cubicBezTo>
                <a:cubicBezTo>
                  <a:pt x="1014872" y="2090204"/>
                  <a:pt x="1019662" y="2085414"/>
                  <a:pt x="1025609" y="2085414"/>
                </a:cubicBezTo>
                <a:close/>
                <a:moveTo>
                  <a:pt x="551210" y="2085414"/>
                </a:moveTo>
                <a:cubicBezTo>
                  <a:pt x="557156" y="2085414"/>
                  <a:pt x="561946" y="2090204"/>
                  <a:pt x="561946" y="2096150"/>
                </a:cubicBezTo>
                <a:cubicBezTo>
                  <a:pt x="561946" y="2102097"/>
                  <a:pt x="557156" y="2106888"/>
                  <a:pt x="551210" y="2106888"/>
                </a:cubicBezTo>
                <a:cubicBezTo>
                  <a:pt x="545263" y="2106888"/>
                  <a:pt x="540473" y="2102097"/>
                  <a:pt x="540473" y="2096150"/>
                </a:cubicBezTo>
                <a:cubicBezTo>
                  <a:pt x="540473" y="2090204"/>
                  <a:pt x="545263" y="2085414"/>
                  <a:pt x="551210" y="2085414"/>
                </a:cubicBezTo>
                <a:close/>
                <a:moveTo>
                  <a:pt x="339611" y="2082112"/>
                </a:moveTo>
                <a:cubicBezTo>
                  <a:pt x="345558" y="2082112"/>
                  <a:pt x="350347" y="2086902"/>
                  <a:pt x="350347" y="2092848"/>
                </a:cubicBezTo>
                <a:cubicBezTo>
                  <a:pt x="350347" y="2098795"/>
                  <a:pt x="345558" y="2103585"/>
                  <a:pt x="339611" y="2103585"/>
                </a:cubicBezTo>
                <a:cubicBezTo>
                  <a:pt x="333664" y="2103585"/>
                  <a:pt x="328875" y="2098795"/>
                  <a:pt x="328875" y="2092848"/>
                </a:cubicBezTo>
                <a:cubicBezTo>
                  <a:pt x="328875" y="2086902"/>
                  <a:pt x="333664" y="2082112"/>
                  <a:pt x="339611" y="2082112"/>
                </a:cubicBezTo>
                <a:close/>
                <a:moveTo>
                  <a:pt x="148826" y="2081285"/>
                </a:moveTo>
                <a:lnTo>
                  <a:pt x="157830" y="2090287"/>
                </a:lnTo>
                <a:lnTo>
                  <a:pt x="165015" y="2083102"/>
                </a:lnTo>
                <a:cubicBezTo>
                  <a:pt x="170961" y="2083102"/>
                  <a:pt x="175753" y="2087892"/>
                  <a:pt x="175753" y="2093838"/>
                </a:cubicBezTo>
                <a:cubicBezTo>
                  <a:pt x="175753" y="2099785"/>
                  <a:pt x="170961" y="2104577"/>
                  <a:pt x="165015" y="2104577"/>
                </a:cubicBezTo>
                <a:lnTo>
                  <a:pt x="156013" y="2095573"/>
                </a:lnTo>
                <a:lnTo>
                  <a:pt x="148826" y="2102759"/>
                </a:lnTo>
                <a:cubicBezTo>
                  <a:pt x="142880" y="2102759"/>
                  <a:pt x="138090" y="2097968"/>
                  <a:pt x="138090" y="2092021"/>
                </a:cubicBezTo>
                <a:cubicBezTo>
                  <a:pt x="138090" y="2086074"/>
                  <a:pt x="142880" y="2081285"/>
                  <a:pt x="148826" y="2081285"/>
                </a:cubicBezTo>
                <a:close/>
                <a:moveTo>
                  <a:pt x="3426850" y="2078973"/>
                </a:moveTo>
                <a:cubicBezTo>
                  <a:pt x="3432797" y="2078973"/>
                  <a:pt x="3437588" y="2083763"/>
                  <a:pt x="3437588" y="2089709"/>
                </a:cubicBezTo>
                <a:cubicBezTo>
                  <a:pt x="3437588" y="2095656"/>
                  <a:pt x="3432797" y="2100447"/>
                  <a:pt x="3426850" y="2100447"/>
                </a:cubicBezTo>
                <a:cubicBezTo>
                  <a:pt x="3420904" y="2100447"/>
                  <a:pt x="3416114" y="2095656"/>
                  <a:pt x="3416114" y="2089709"/>
                </a:cubicBezTo>
                <a:cubicBezTo>
                  <a:pt x="3416114" y="2083763"/>
                  <a:pt x="3420904" y="2078973"/>
                  <a:pt x="3426850" y="2078973"/>
                </a:cubicBezTo>
                <a:close/>
                <a:moveTo>
                  <a:pt x="128344" y="2077816"/>
                </a:moveTo>
                <a:cubicBezTo>
                  <a:pt x="134290" y="2077816"/>
                  <a:pt x="139082" y="2082606"/>
                  <a:pt x="139082" y="2088553"/>
                </a:cubicBezTo>
                <a:cubicBezTo>
                  <a:pt x="139082" y="2094499"/>
                  <a:pt x="134290" y="2099291"/>
                  <a:pt x="128344" y="2099291"/>
                </a:cubicBezTo>
                <a:cubicBezTo>
                  <a:pt x="122397" y="2099291"/>
                  <a:pt x="117607" y="2094499"/>
                  <a:pt x="117607" y="2088553"/>
                </a:cubicBezTo>
                <a:cubicBezTo>
                  <a:pt x="117607" y="2082606"/>
                  <a:pt x="122397" y="2077816"/>
                  <a:pt x="128344" y="2077816"/>
                </a:cubicBezTo>
                <a:close/>
                <a:moveTo>
                  <a:pt x="2474414" y="2070713"/>
                </a:moveTo>
                <a:cubicBezTo>
                  <a:pt x="2480361" y="2070713"/>
                  <a:pt x="2485152" y="2075503"/>
                  <a:pt x="2485152" y="2081449"/>
                </a:cubicBezTo>
                <a:cubicBezTo>
                  <a:pt x="2485152" y="2087396"/>
                  <a:pt x="2480361" y="2092187"/>
                  <a:pt x="2474414" y="2092187"/>
                </a:cubicBezTo>
                <a:cubicBezTo>
                  <a:pt x="2468468" y="2092187"/>
                  <a:pt x="2463678" y="2087396"/>
                  <a:pt x="2463678" y="2081449"/>
                </a:cubicBezTo>
                <a:cubicBezTo>
                  <a:pt x="2463678" y="2075503"/>
                  <a:pt x="2468468" y="2070713"/>
                  <a:pt x="2474414" y="2070713"/>
                </a:cubicBezTo>
                <a:close/>
                <a:moveTo>
                  <a:pt x="251735" y="2066749"/>
                </a:moveTo>
                <a:cubicBezTo>
                  <a:pt x="257681" y="2066749"/>
                  <a:pt x="262473" y="2071538"/>
                  <a:pt x="262473" y="2077485"/>
                </a:cubicBezTo>
                <a:cubicBezTo>
                  <a:pt x="262473" y="2083431"/>
                  <a:pt x="257681" y="2088223"/>
                  <a:pt x="251735" y="2088223"/>
                </a:cubicBezTo>
                <a:cubicBezTo>
                  <a:pt x="245788" y="2088223"/>
                  <a:pt x="240998" y="2083431"/>
                  <a:pt x="240998" y="2077485"/>
                </a:cubicBezTo>
                <a:cubicBezTo>
                  <a:pt x="240998" y="2071538"/>
                  <a:pt x="245788" y="2066749"/>
                  <a:pt x="251735" y="2066749"/>
                </a:cubicBezTo>
                <a:close/>
                <a:moveTo>
                  <a:pt x="3194936" y="2065098"/>
                </a:moveTo>
                <a:cubicBezTo>
                  <a:pt x="3200882" y="2065098"/>
                  <a:pt x="3205674" y="2069888"/>
                  <a:pt x="3205674" y="2075834"/>
                </a:cubicBezTo>
                <a:cubicBezTo>
                  <a:pt x="3205674" y="2081781"/>
                  <a:pt x="3200882" y="2086570"/>
                  <a:pt x="3194936" y="2086570"/>
                </a:cubicBezTo>
                <a:cubicBezTo>
                  <a:pt x="3188990" y="2086570"/>
                  <a:pt x="3184200" y="2081781"/>
                  <a:pt x="3184200" y="2075834"/>
                </a:cubicBezTo>
                <a:cubicBezTo>
                  <a:pt x="3184200" y="2069888"/>
                  <a:pt x="3188990" y="2065098"/>
                  <a:pt x="3194936" y="2065098"/>
                </a:cubicBezTo>
                <a:close/>
                <a:moveTo>
                  <a:pt x="203007" y="2060969"/>
                </a:moveTo>
                <a:cubicBezTo>
                  <a:pt x="208954" y="2060969"/>
                  <a:pt x="213744" y="2065758"/>
                  <a:pt x="213744" y="2071705"/>
                </a:cubicBezTo>
                <a:cubicBezTo>
                  <a:pt x="213744" y="2077652"/>
                  <a:pt x="208954" y="2082441"/>
                  <a:pt x="203007" y="2082441"/>
                </a:cubicBezTo>
                <a:cubicBezTo>
                  <a:pt x="197061" y="2082441"/>
                  <a:pt x="192271" y="2077652"/>
                  <a:pt x="192271" y="2071705"/>
                </a:cubicBezTo>
                <a:cubicBezTo>
                  <a:pt x="192271" y="2065758"/>
                  <a:pt x="197061" y="2060969"/>
                  <a:pt x="203007" y="2060969"/>
                </a:cubicBezTo>
                <a:close/>
                <a:moveTo>
                  <a:pt x="2711781" y="2060473"/>
                </a:moveTo>
                <a:cubicBezTo>
                  <a:pt x="2717728" y="2060473"/>
                  <a:pt x="2722519" y="2065263"/>
                  <a:pt x="2722519" y="2071209"/>
                </a:cubicBezTo>
                <a:cubicBezTo>
                  <a:pt x="2722519" y="2077155"/>
                  <a:pt x="2717728" y="2081945"/>
                  <a:pt x="2711781" y="2081945"/>
                </a:cubicBezTo>
                <a:cubicBezTo>
                  <a:pt x="2705834" y="2081945"/>
                  <a:pt x="2701045" y="2077155"/>
                  <a:pt x="2701045" y="2071209"/>
                </a:cubicBezTo>
                <a:cubicBezTo>
                  <a:pt x="2701045" y="2065263"/>
                  <a:pt x="2705834" y="2060473"/>
                  <a:pt x="2711781" y="2060473"/>
                </a:cubicBezTo>
                <a:close/>
                <a:moveTo>
                  <a:pt x="140403" y="2059977"/>
                </a:moveTo>
                <a:lnTo>
                  <a:pt x="150314" y="2069888"/>
                </a:lnTo>
                <a:lnTo>
                  <a:pt x="159400" y="2060802"/>
                </a:lnTo>
                <a:lnTo>
                  <a:pt x="167824" y="2069227"/>
                </a:lnTo>
                <a:lnTo>
                  <a:pt x="176743" y="2060308"/>
                </a:lnTo>
                <a:cubicBezTo>
                  <a:pt x="182690" y="2060308"/>
                  <a:pt x="187481" y="2065098"/>
                  <a:pt x="187481" y="2071044"/>
                </a:cubicBezTo>
                <a:cubicBezTo>
                  <a:pt x="187481" y="2076991"/>
                  <a:pt x="182690" y="2081781"/>
                  <a:pt x="176743" y="2081781"/>
                </a:cubicBezTo>
                <a:lnTo>
                  <a:pt x="168318" y="2073358"/>
                </a:lnTo>
                <a:lnTo>
                  <a:pt x="159400" y="2082277"/>
                </a:lnTo>
                <a:lnTo>
                  <a:pt x="149489" y="2072364"/>
                </a:lnTo>
                <a:lnTo>
                  <a:pt x="140403" y="2081451"/>
                </a:lnTo>
                <a:cubicBezTo>
                  <a:pt x="134457" y="2081451"/>
                  <a:pt x="129667" y="2076660"/>
                  <a:pt x="129667" y="2070713"/>
                </a:cubicBezTo>
                <a:cubicBezTo>
                  <a:pt x="129667" y="2064767"/>
                  <a:pt x="134457" y="2059977"/>
                  <a:pt x="140403" y="2059977"/>
                </a:cubicBezTo>
                <a:close/>
                <a:moveTo>
                  <a:pt x="2954432" y="2058324"/>
                </a:moveTo>
                <a:cubicBezTo>
                  <a:pt x="2960378" y="2058324"/>
                  <a:pt x="2965168" y="2063114"/>
                  <a:pt x="2965168" y="2069060"/>
                </a:cubicBezTo>
                <a:cubicBezTo>
                  <a:pt x="2965168" y="2075007"/>
                  <a:pt x="2960378" y="2079798"/>
                  <a:pt x="2954432" y="2079798"/>
                </a:cubicBezTo>
                <a:cubicBezTo>
                  <a:pt x="2948486" y="2079798"/>
                  <a:pt x="2943696" y="2075007"/>
                  <a:pt x="2943696" y="2069060"/>
                </a:cubicBezTo>
                <a:cubicBezTo>
                  <a:pt x="2943696" y="2063114"/>
                  <a:pt x="2948486" y="2058324"/>
                  <a:pt x="2954432" y="2058324"/>
                </a:cubicBezTo>
                <a:close/>
                <a:moveTo>
                  <a:pt x="1149495" y="2057499"/>
                </a:moveTo>
                <a:cubicBezTo>
                  <a:pt x="1155442" y="2057499"/>
                  <a:pt x="1160232" y="2062288"/>
                  <a:pt x="1160232" y="2068235"/>
                </a:cubicBezTo>
                <a:cubicBezTo>
                  <a:pt x="1160232" y="2074181"/>
                  <a:pt x="1155442" y="2078971"/>
                  <a:pt x="1149495" y="2078971"/>
                </a:cubicBezTo>
                <a:cubicBezTo>
                  <a:pt x="1143549" y="2078971"/>
                  <a:pt x="1138759" y="2074181"/>
                  <a:pt x="1138759" y="2068235"/>
                </a:cubicBezTo>
                <a:cubicBezTo>
                  <a:pt x="1138759" y="2062288"/>
                  <a:pt x="1143549" y="2057499"/>
                  <a:pt x="1149495" y="2057499"/>
                </a:cubicBezTo>
                <a:close/>
                <a:moveTo>
                  <a:pt x="622897" y="2057004"/>
                </a:moveTo>
                <a:cubicBezTo>
                  <a:pt x="628828" y="2057004"/>
                  <a:pt x="633636" y="2061811"/>
                  <a:pt x="633636" y="2067741"/>
                </a:cubicBezTo>
                <a:cubicBezTo>
                  <a:pt x="633636" y="2073671"/>
                  <a:pt x="628828" y="2078477"/>
                  <a:pt x="622897" y="2078477"/>
                </a:cubicBezTo>
                <a:cubicBezTo>
                  <a:pt x="616968" y="2078477"/>
                  <a:pt x="612161" y="2073671"/>
                  <a:pt x="612161" y="2067741"/>
                </a:cubicBezTo>
                <a:cubicBezTo>
                  <a:pt x="612161" y="2061811"/>
                  <a:pt x="616968" y="2057004"/>
                  <a:pt x="622897" y="2057004"/>
                </a:cubicBezTo>
                <a:close/>
                <a:moveTo>
                  <a:pt x="382558" y="2054361"/>
                </a:moveTo>
                <a:cubicBezTo>
                  <a:pt x="388505" y="2054361"/>
                  <a:pt x="393295" y="2059151"/>
                  <a:pt x="393295" y="2065098"/>
                </a:cubicBezTo>
                <a:cubicBezTo>
                  <a:pt x="393295" y="2071044"/>
                  <a:pt x="388505" y="2075836"/>
                  <a:pt x="382558" y="2075836"/>
                </a:cubicBezTo>
                <a:cubicBezTo>
                  <a:pt x="376612" y="2075836"/>
                  <a:pt x="371822" y="2071044"/>
                  <a:pt x="371822" y="2065098"/>
                </a:cubicBezTo>
                <a:cubicBezTo>
                  <a:pt x="371822" y="2059151"/>
                  <a:pt x="376612" y="2054361"/>
                  <a:pt x="382558" y="2054361"/>
                </a:cubicBezTo>
                <a:close/>
                <a:moveTo>
                  <a:pt x="279816" y="2039659"/>
                </a:moveTo>
                <a:cubicBezTo>
                  <a:pt x="285763" y="2039659"/>
                  <a:pt x="290553" y="2044449"/>
                  <a:pt x="290553" y="2050395"/>
                </a:cubicBezTo>
                <a:cubicBezTo>
                  <a:pt x="290553" y="2056342"/>
                  <a:pt x="285763" y="2061132"/>
                  <a:pt x="279816" y="2061132"/>
                </a:cubicBezTo>
                <a:cubicBezTo>
                  <a:pt x="273870" y="2061132"/>
                  <a:pt x="269080" y="2056342"/>
                  <a:pt x="269080" y="2050395"/>
                </a:cubicBezTo>
                <a:cubicBezTo>
                  <a:pt x="269080" y="2044449"/>
                  <a:pt x="273870" y="2039659"/>
                  <a:pt x="279816" y="2039659"/>
                </a:cubicBezTo>
                <a:close/>
                <a:moveTo>
                  <a:pt x="170465" y="2039329"/>
                </a:moveTo>
                <a:cubicBezTo>
                  <a:pt x="176412" y="2039329"/>
                  <a:pt x="181203" y="2044119"/>
                  <a:pt x="181203" y="2050066"/>
                </a:cubicBezTo>
                <a:cubicBezTo>
                  <a:pt x="181203" y="2056012"/>
                  <a:pt x="176412" y="2060804"/>
                  <a:pt x="170465" y="2060804"/>
                </a:cubicBezTo>
                <a:lnTo>
                  <a:pt x="161959" y="2052296"/>
                </a:lnTo>
                <a:lnTo>
                  <a:pt x="151965" y="2062288"/>
                </a:lnTo>
                <a:cubicBezTo>
                  <a:pt x="146019" y="2062288"/>
                  <a:pt x="141229" y="2057499"/>
                  <a:pt x="141229" y="2051552"/>
                </a:cubicBezTo>
                <a:cubicBezTo>
                  <a:pt x="141229" y="2045605"/>
                  <a:pt x="146019" y="2040816"/>
                  <a:pt x="151965" y="2040816"/>
                </a:cubicBezTo>
                <a:lnTo>
                  <a:pt x="160473" y="2049322"/>
                </a:lnTo>
                <a:close/>
                <a:moveTo>
                  <a:pt x="189793" y="2036355"/>
                </a:moveTo>
                <a:cubicBezTo>
                  <a:pt x="195739" y="2036355"/>
                  <a:pt x="200531" y="2041145"/>
                  <a:pt x="200531" y="2047092"/>
                </a:cubicBezTo>
                <a:cubicBezTo>
                  <a:pt x="200531" y="2053038"/>
                  <a:pt x="195739" y="2057830"/>
                  <a:pt x="189793" y="2057830"/>
                </a:cubicBezTo>
                <a:cubicBezTo>
                  <a:pt x="183846" y="2057830"/>
                  <a:pt x="179057" y="2053038"/>
                  <a:pt x="179057" y="2047092"/>
                </a:cubicBezTo>
                <a:cubicBezTo>
                  <a:pt x="179057" y="2041145"/>
                  <a:pt x="183846" y="2036355"/>
                  <a:pt x="189793" y="2036355"/>
                </a:cubicBezTo>
                <a:close/>
                <a:moveTo>
                  <a:pt x="221508" y="2035199"/>
                </a:moveTo>
                <a:cubicBezTo>
                  <a:pt x="227454" y="2035199"/>
                  <a:pt x="232246" y="2039988"/>
                  <a:pt x="232246" y="2045935"/>
                </a:cubicBezTo>
                <a:cubicBezTo>
                  <a:pt x="232246" y="2051882"/>
                  <a:pt x="227454" y="2056673"/>
                  <a:pt x="221508" y="2056673"/>
                </a:cubicBezTo>
                <a:cubicBezTo>
                  <a:pt x="215561" y="2056673"/>
                  <a:pt x="210771" y="2051882"/>
                  <a:pt x="210771" y="2045935"/>
                </a:cubicBezTo>
                <a:cubicBezTo>
                  <a:pt x="210771" y="2039988"/>
                  <a:pt x="215561" y="2035199"/>
                  <a:pt x="221508" y="2035199"/>
                </a:cubicBezTo>
                <a:close/>
                <a:moveTo>
                  <a:pt x="1285440" y="2029087"/>
                </a:moveTo>
                <a:cubicBezTo>
                  <a:pt x="1291387" y="2029087"/>
                  <a:pt x="1296178" y="2033877"/>
                  <a:pt x="1296178" y="2039824"/>
                </a:cubicBezTo>
                <a:cubicBezTo>
                  <a:pt x="1296178" y="2045770"/>
                  <a:pt x="1291387" y="2050560"/>
                  <a:pt x="1285440" y="2050560"/>
                </a:cubicBezTo>
                <a:cubicBezTo>
                  <a:pt x="1279494" y="2050560"/>
                  <a:pt x="1274704" y="2045770"/>
                  <a:pt x="1274704" y="2039824"/>
                </a:cubicBezTo>
                <a:cubicBezTo>
                  <a:pt x="1274704" y="2033877"/>
                  <a:pt x="1279494" y="2029087"/>
                  <a:pt x="1285440" y="2029087"/>
                </a:cubicBezTo>
                <a:close/>
                <a:moveTo>
                  <a:pt x="139743" y="2028262"/>
                </a:moveTo>
                <a:cubicBezTo>
                  <a:pt x="141889" y="2028262"/>
                  <a:pt x="143542" y="2029913"/>
                  <a:pt x="143542" y="2032061"/>
                </a:cubicBezTo>
                <a:cubicBezTo>
                  <a:pt x="143542" y="2034208"/>
                  <a:pt x="141725" y="2035859"/>
                  <a:pt x="139743" y="2035859"/>
                </a:cubicBezTo>
                <a:cubicBezTo>
                  <a:pt x="137596" y="2035859"/>
                  <a:pt x="135943" y="2034208"/>
                  <a:pt x="135943" y="2032061"/>
                </a:cubicBezTo>
                <a:cubicBezTo>
                  <a:pt x="135943" y="2029913"/>
                  <a:pt x="137596" y="2028262"/>
                  <a:pt x="139743" y="2028262"/>
                </a:cubicBezTo>
                <a:close/>
                <a:moveTo>
                  <a:pt x="702680" y="2027601"/>
                </a:moveTo>
                <a:cubicBezTo>
                  <a:pt x="708611" y="2027601"/>
                  <a:pt x="713417" y="2032408"/>
                  <a:pt x="713417" y="2038337"/>
                </a:cubicBezTo>
                <a:cubicBezTo>
                  <a:pt x="713417" y="2044268"/>
                  <a:pt x="708611" y="2049076"/>
                  <a:pt x="702680" y="2049076"/>
                </a:cubicBezTo>
                <a:cubicBezTo>
                  <a:pt x="696751" y="2049076"/>
                  <a:pt x="691944" y="2044268"/>
                  <a:pt x="691944" y="2038337"/>
                </a:cubicBezTo>
                <a:cubicBezTo>
                  <a:pt x="691944" y="2032408"/>
                  <a:pt x="696751" y="2027601"/>
                  <a:pt x="702680" y="2027601"/>
                </a:cubicBezTo>
                <a:close/>
                <a:moveTo>
                  <a:pt x="431287" y="2025619"/>
                </a:moveTo>
                <a:cubicBezTo>
                  <a:pt x="437234" y="2025619"/>
                  <a:pt x="442025" y="2030409"/>
                  <a:pt x="442025" y="2036355"/>
                </a:cubicBezTo>
                <a:cubicBezTo>
                  <a:pt x="442025" y="2042302"/>
                  <a:pt x="437234" y="2047092"/>
                  <a:pt x="431287" y="2047092"/>
                </a:cubicBezTo>
                <a:cubicBezTo>
                  <a:pt x="425341" y="2047092"/>
                  <a:pt x="420551" y="2042302"/>
                  <a:pt x="420551" y="2036355"/>
                </a:cubicBezTo>
                <a:cubicBezTo>
                  <a:pt x="420551" y="2030409"/>
                  <a:pt x="425341" y="2025619"/>
                  <a:pt x="431287" y="2025619"/>
                </a:cubicBezTo>
                <a:close/>
                <a:moveTo>
                  <a:pt x="163693" y="2020663"/>
                </a:moveTo>
                <a:cubicBezTo>
                  <a:pt x="169640" y="2020663"/>
                  <a:pt x="174431" y="2025453"/>
                  <a:pt x="174431" y="2031399"/>
                </a:cubicBezTo>
                <a:cubicBezTo>
                  <a:pt x="174431" y="2037346"/>
                  <a:pt x="169640" y="2042137"/>
                  <a:pt x="163693" y="2042137"/>
                </a:cubicBezTo>
                <a:cubicBezTo>
                  <a:pt x="157747" y="2042137"/>
                  <a:pt x="152957" y="2037346"/>
                  <a:pt x="152957" y="2031399"/>
                </a:cubicBezTo>
                <a:cubicBezTo>
                  <a:pt x="152957" y="2025453"/>
                  <a:pt x="157747" y="2020663"/>
                  <a:pt x="163693" y="2020663"/>
                </a:cubicBezTo>
                <a:close/>
                <a:moveTo>
                  <a:pt x="182029" y="2016533"/>
                </a:moveTo>
                <a:cubicBezTo>
                  <a:pt x="187975" y="2016533"/>
                  <a:pt x="192767" y="2021323"/>
                  <a:pt x="192767" y="2027270"/>
                </a:cubicBezTo>
                <a:cubicBezTo>
                  <a:pt x="192767" y="2033216"/>
                  <a:pt x="187975" y="2038008"/>
                  <a:pt x="182029" y="2038008"/>
                </a:cubicBezTo>
                <a:cubicBezTo>
                  <a:pt x="176082" y="2038008"/>
                  <a:pt x="171293" y="2033216"/>
                  <a:pt x="171293" y="2027270"/>
                </a:cubicBezTo>
                <a:cubicBezTo>
                  <a:pt x="171293" y="2021323"/>
                  <a:pt x="176082" y="2016533"/>
                  <a:pt x="182029" y="2016533"/>
                </a:cubicBezTo>
                <a:close/>
                <a:moveTo>
                  <a:pt x="204329" y="2011414"/>
                </a:moveTo>
                <a:cubicBezTo>
                  <a:pt x="210275" y="2011414"/>
                  <a:pt x="215067" y="2016204"/>
                  <a:pt x="215067" y="2022151"/>
                </a:cubicBezTo>
                <a:cubicBezTo>
                  <a:pt x="215067" y="2028097"/>
                  <a:pt x="210275" y="2032887"/>
                  <a:pt x="204329" y="2032887"/>
                </a:cubicBezTo>
                <a:cubicBezTo>
                  <a:pt x="198382" y="2032887"/>
                  <a:pt x="193592" y="2028097"/>
                  <a:pt x="193592" y="2022151"/>
                </a:cubicBezTo>
                <a:cubicBezTo>
                  <a:pt x="193592" y="2016204"/>
                  <a:pt x="198382" y="2011414"/>
                  <a:pt x="204329" y="2011414"/>
                </a:cubicBezTo>
                <a:close/>
                <a:moveTo>
                  <a:pt x="311861" y="2011248"/>
                </a:moveTo>
                <a:cubicBezTo>
                  <a:pt x="317807" y="2011248"/>
                  <a:pt x="322599" y="2016037"/>
                  <a:pt x="322599" y="2021984"/>
                </a:cubicBezTo>
                <a:cubicBezTo>
                  <a:pt x="322599" y="2027931"/>
                  <a:pt x="317807" y="2032722"/>
                  <a:pt x="311861" y="2032722"/>
                </a:cubicBezTo>
                <a:cubicBezTo>
                  <a:pt x="305914" y="2032722"/>
                  <a:pt x="301124" y="2027931"/>
                  <a:pt x="301124" y="2021984"/>
                </a:cubicBezTo>
                <a:cubicBezTo>
                  <a:pt x="301124" y="2016037"/>
                  <a:pt x="305914" y="2011248"/>
                  <a:pt x="311861" y="2011248"/>
                </a:cubicBezTo>
                <a:close/>
                <a:moveTo>
                  <a:pt x="242484" y="2008111"/>
                </a:moveTo>
                <a:cubicBezTo>
                  <a:pt x="248415" y="2008111"/>
                  <a:pt x="253221" y="2012918"/>
                  <a:pt x="253221" y="2018847"/>
                </a:cubicBezTo>
                <a:cubicBezTo>
                  <a:pt x="253221" y="2024778"/>
                  <a:pt x="248415" y="2029585"/>
                  <a:pt x="242484" y="2029585"/>
                </a:cubicBezTo>
                <a:cubicBezTo>
                  <a:pt x="236555" y="2029585"/>
                  <a:pt x="231748" y="2024778"/>
                  <a:pt x="231748" y="2018847"/>
                </a:cubicBezTo>
                <a:cubicBezTo>
                  <a:pt x="231748" y="2012918"/>
                  <a:pt x="236555" y="2008111"/>
                  <a:pt x="242484" y="2008111"/>
                </a:cubicBezTo>
                <a:close/>
                <a:moveTo>
                  <a:pt x="152957" y="2002990"/>
                </a:moveTo>
                <a:cubicBezTo>
                  <a:pt x="158904" y="2002990"/>
                  <a:pt x="163695" y="2007779"/>
                  <a:pt x="163695" y="2013726"/>
                </a:cubicBezTo>
                <a:cubicBezTo>
                  <a:pt x="163695" y="2019672"/>
                  <a:pt x="158904" y="2024464"/>
                  <a:pt x="152957" y="2024464"/>
                </a:cubicBezTo>
                <a:cubicBezTo>
                  <a:pt x="147010" y="2024464"/>
                  <a:pt x="142221" y="2019672"/>
                  <a:pt x="142221" y="2013726"/>
                </a:cubicBezTo>
                <a:cubicBezTo>
                  <a:pt x="142221" y="2007779"/>
                  <a:pt x="147010" y="2002990"/>
                  <a:pt x="152957" y="2002990"/>
                </a:cubicBezTo>
                <a:close/>
                <a:moveTo>
                  <a:pt x="1433607" y="2000676"/>
                </a:moveTo>
                <a:cubicBezTo>
                  <a:pt x="1439554" y="2000676"/>
                  <a:pt x="1444345" y="2005466"/>
                  <a:pt x="1444345" y="2011413"/>
                </a:cubicBezTo>
                <a:cubicBezTo>
                  <a:pt x="1444345" y="2017359"/>
                  <a:pt x="1439554" y="2022151"/>
                  <a:pt x="1433607" y="2022151"/>
                </a:cubicBezTo>
                <a:cubicBezTo>
                  <a:pt x="1427661" y="2022151"/>
                  <a:pt x="1422871" y="2017359"/>
                  <a:pt x="1422871" y="2011413"/>
                </a:cubicBezTo>
                <a:cubicBezTo>
                  <a:pt x="1422871" y="2005466"/>
                  <a:pt x="1427661" y="2000676"/>
                  <a:pt x="1433607" y="2000676"/>
                </a:cubicBezTo>
                <a:close/>
                <a:moveTo>
                  <a:pt x="175257" y="1999521"/>
                </a:moveTo>
                <a:cubicBezTo>
                  <a:pt x="181203" y="1999521"/>
                  <a:pt x="185995" y="2004311"/>
                  <a:pt x="185995" y="2010257"/>
                </a:cubicBezTo>
                <a:cubicBezTo>
                  <a:pt x="185995" y="2016204"/>
                  <a:pt x="181203" y="2020994"/>
                  <a:pt x="175257" y="2020994"/>
                </a:cubicBezTo>
                <a:cubicBezTo>
                  <a:pt x="169310" y="2020994"/>
                  <a:pt x="164521" y="2016204"/>
                  <a:pt x="164521" y="2010257"/>
                </a:cubicBezTo>
                <a:cubicBezTo>
                  <a:pt x="164521" y="2004311"/>
                  <a:pt x="169310" y="1999521"/>
                  <a:pt x="175257" y="1999521"/>
                </a:cubicBezTo>
                <a:close/>
                <a:moveTo>
                  <a:pt x="791382" y="1997704"/>
                </a:moveTo>
                <a:cubicBezTo>
                  <a:pt x="797329" y="1997704"/>
                  <a:pt x="802120" y="2002493"/>
                  <a:pt x="802120" y="2008440"/>
                </a:cubicBezTo>
                <a:cubicBezTo>
                  <a:pt x="802120" y="2014387"/>
                  <a:pt x="797329" y="2019178"/>
                  <a:pt x="791382" y="2019178"/>
                </a:cubicBezTo>
                <a:cubicBezTo>
                  <a:pt x="785436" y="2019178"/>
                  <a:pt x="780646" y="2014387"/>
                  <a:pt x="780646" y="2008440"/>
                </a:cubicBezTo>
                <a:cubicBezTo>
                  <a:pt x="780646" y="2002493"/>
                  <a:pt x="785436" y="1997704"/>
                  <a:pt x="791382" y="1997704"/>
                </a:cubicBezTo>
                <a:close/>
                <a:moveTo>
                  <a:pt x="486127" y="1995722"/>
                </a:moveTo>
                <a:cubicBezTo>
                  <a:pt x="492074" y="1995722"/>
                  <a:pt x="496864" y="2000511"/>
                  <a:pt x="496864" y="2006458"/>
                </a:cubicBezTo>
                <a:cubicBezTo>
                  <a:pt x="496864" y="2012404"/>
                  <a:pt x="492074" y="2017196"/>
                  <a:pt x="486127" y="2017196"/>
                </a:cubicBezTo>
                <a:cubicBezTo>
                  <a:pt x="480181" y="2017196"/>
                  <a:pt x="475391" y="2012404"/>
                  <a:pt x="475391" y="2006458"/>
                </a:cubicBezTo>
                <a:cubicBezTo>
                  <a:pt x="475391" y="2000511"/>
                  <a:pt x="480181" y="1995722"/>
                  <a:pt x="486127" y="1995722"/>
                </a:cubicBezTo>
                <a:close/>
                <a:moveTo>
                  <a:pt x="194418" y="1992583"/>
                </a:moveTo>
                <a:cubicBezTo>
                  <a:pt x="200349" y="1992583"/>
                  <a:pt x="205156" y="1997390"/>
                  <a:pt x="205156" y="2003319"/>
                </a:cubicBezTo>
                <a:cubicBezTo>
                  <a:pt x="205156" y="2009250"/>
                  <a:pt x="200349" y="2014055"/>
                  <a:pt x="194418" y="2014055"/>
                </a:cubicBezTo>
                <a:cubicBezTo>
                  <a:pt x="188489" y="2014055"/>
                  <a:pt x="183682" y="2009250"/>
                  <a:pt x="183682" y="2003319"/>
                </a:cubicBezTo>
                <a:cubicBezTo>
                  <a:pt x="183682" y="1997390"/>
                  <a:pt x="188489" y="1992583"/>
                  <a:pt x="194418" y="1992583"/>
                </a:cubicBezTo>
                <a:close/>
                <a:moveTo>
                  <a:pt x="220516" y="1985150"/>
                </a:moveTo>
                <a:cubicBezTo>
                  <a:pt x="226462" y="1985150"/>
                  <a:pt x="231254" y="1989940"/>
                  <a:pt x="231254" y="1995886"/>
                </a:cubicBezTo>
                <a:cubicBezTo>
                  <a:pt x="231254" y="2001833"/>
                  <a:pt x="226462" y="2006624"/>
                  <a:pt x="220516" y="2006624"/>
                </a:cubicBezTo>
                <a:cubicBezTo>
                  <a:pt x="214569" y="2006624"/>
                  <a:pt x="209779" y="2001833"/>
                  <a:pt x="209779" y="1995886"/>
                </a:cubicBezTo>
                <a:cubicBezTo>
                  <a:pt x="209779" y="1989940"/>
                  <a:pt x="214569" y="1985150"/>
                  <a:pt x="220516" y="1985150"/>
                </a:cubicBezTo>
                <a:close/>
                <a:moveTo>
                  <a:pt x="165840" y="1983333"/>
                </a:moveTo>
                <a:cubicBezTo>
                  <a:pt x="171787" y="1983333"/>
                  <a:pt x="176577" y="1988122"/>
                  <a:pt x="176577" y="1994069"/>
                </a:cubicBezTo>
                <a:cubicBezTo>
                  <a:pt x="176577" y="2000015"/>
                  <a:pt x="171787" y="2004807"/>
                  <a:pt x="165840" y="2004807"/>
                </a:cubicBezTo>
                <a:cubicBezTo>
                  <a:pt x="159894" y="2004807"/>
                  <a:pt x="155104" y="2000015"/>
                  <a:pt x="155104" y="1994069"/>
                </a:cubicBezTo>
                <a:cubicBezTo>
                  <a:pt x="155104" y="1988122"/>
                  <a:pt x="159894" y="1983333"/>
                  <a:pt x="165840" y="1983333"/>
                </a:cubicBezTo>
                <a:close/>
                <a:moveTo>
                  <a:pt x="348532" y="1981846"/>
                </a:moveTo>
                <a:cubicBezTo>
                  <a:pt x="354478" y="1981846"/>
                  <a:pt x="359268" y="1986636"/>
                  <a:pt x="359268" y="1992583"/>
                </a:cubicBezTo>
                <a:cubicBezTo>
                  <a:pt x="359268" y="1998529"/>
                  <a:pt x="354478" y="2003319"/>
                  <a:pt x="348532" y="2003319"/>
                </a:cubicBezTo>
                <a:cubicBezTo>
                  <a:pt x="342585" y="2003319"/>
                  <a:pt x="337795" y="1998529"/>
                  <a:pt x="337795" y="1992583"/>
                </a:cubicBezTo>
                <a:cubicBezTo>
                  <a:pt x="337795" y="1986636"/>
                  <a:pt x="342585" y="1981846"/>
                  <a:pt x="348532" y="1981846"/>
                </a:cubicBezTo>
                <a:close/>
                <a:moveTo>
                  <a:pt x="266435" y="1980029"/>
                </a:moveTo>
                <a:cubicBezTo>
                  <a:pt x="272382" y="1980029"/>
                  <a:pt x="277173" y="1984819"/>
                  <a:pt x="277173" y="1990765"/>
                </a:cubicBezTo>
                <a:cubicBezTo>
                  <a:pt x="277173" y="1996712"/>
                  <a:pt x="272382" y="2001503"/>
                  <a:pt x="266435" y="2001503"/>
                </a:cubicBezTo>
                <a:cubicBezTo>
                  <a:pt x="260489" y="2001503"/>
                  <a:pt x="255699" y="1996712"/>
                  <a:pt x="255699" y="1990765"/>
                </a:cubicBezTo>
                <a:cubicBezTo>
                  <a:pt x="255699" y="1984819"/>
                  <a:pt x="260489" y="1980029"/>
                  <a:pt x="266435" y="1980029"/>
                </a:cubicBezTo>
                <a:close/>
                <a:moveTo>
                  <a:pt x="187150" y="1977056"/>
                </a:moveTo>
                <a:cubicBezTo>
                  <a:pt x="193097" y="1977056"/>
                  <a:pt x="197886" y="1981846"/>
                  <a:pt x="197886" y="1987793"/>
                </a:cubicBezTo>
                <a:cubicBezTo>
                  <a:pt x="197886" y="1993739"/>
                  <a:pt x="193097" y="1998531"/>
                  <a:pt x="187150" y="1998531"/>
                </a:cubicBezTo>
                <a:cubicBezTo>
                  <a:pt x="181203" y="1998531"/>
                  <a:pt x="176414" y="1993739"/>
                  <a:pt x="176414" y="1987793"/>
                </a:cubicBezTo>
                <a:cubicBezTo>
                  <a:pt x="176414" y="1981846"/>
                  <a:pt x="181203" y="1977056"/>
                  <a:pt x="187150" y="1977056"/>
                </a:cubicBezTo>
                <a:close/>
                <a:moveTo>
                  <a:pt x="1594989" y="1972265"/>
                </a:moveTo>
                <a:cubicBezTo>
                  <a:pt x="1600936" y="1972265"/>
                  <a:pt x="1605725" y="1977055"/>
                  <a:pt x="1605725" y="1983001"/>
                </a:cubicBezTo>
                <a:cubicBezTo>
                  <a:pt x="1605725" y="1988948"/>
                  <a:pt x="1600936" y="1993739"/>
                  <a:pt x="1594989" y="1993739"/>
                </a:cubicBezTo>
                <a:cubicBezTo>
                  <a:pt x="1589042" y="1993739"/>
                  <a:pt x="1584253" y="1988948"/>
                  <a:pt x="1584253" y="1983001"/>
                </a:cubicBezTo>
                <a:cubicBezTo>
                  <a:pt x="1584253" y="1977055"/>
                  <a:pt x="1589042" y="1972265"/>
                  <a:pt x="1594989" y="1972265"/>
                </a:cubicBezTo>
                <a:close/>
                <a:moveTo>
                  <a:pt x="207962" y="1967475"/>
                </a:moveTo>
                <a:cubicBezTo>
                  <a:pt x="213908" y="1967475"/>
                  <a:pt x="218700" y="1972265"/>
                  <a:pt x="218700" y="1978212"/>
                </a:cubicBezTo>
                <a:cubicBezTo>
                  <a:pt x="218700" y="1984158"/>
                  <a:pt x="213908" y="1988950"/>
                  <a:pt x="207962" y="1988950"/>
                </a:cubicBezTo>
                <a:cubicBezTo>
                  <a:pt x="202015" y="1988950"/>
                  <a:pt x="197226" y="1984158"/>
                  <a:pt x="197226" y="1978212"/>
                </a:cubicBezTo>
                <a:cubicBezTo>
                  <a:pt x="197226" y="1972265"/>
                  <a:pt x="202015" y="1967475"/>
                  <a:pt x="207962" y="1967475"/>
                </a:cubicBezTo>
                <a:close/>
                <a:moveTo>
                  <a:pt x="889501" y="1966814"/>
                </a:moveTo>
                <a:cubicBezTo>
                  <a:pt x="895447" y="1966814"/>
                  <a:pt x="900237" y="1971604"/>
                  <a:pt x="900237" y="1977551"/>
                </a:cubicBezTo>
                <a:cubicBezTo>
                  <a:pt x="900237" y="1983497"/>
                  <a:pt x="895447" y="1988289"/>
                  <a:pt x="889501" y="1988289"/>
                </a:cubicBezTo>
                <a:cubicBezTo>
                  <a:pt x="883554" y="1988289"/>
                  <a:pt x="878765" y="1983497"/>
                  <a:pt x="878765" y="1977551"/>
                </a:cubicBezTo>
                <a:cubicBezTo>
                  <a:pt x="878765" y="1971604"/>
                  <a:pt x="883554" y="1966814"/>
                  <a:pt x="889501" y="1966814"/>
                </a:cubicBezTo>
                <a:close/>
                <a:moveTo>
                  <a:pt x="547575" y="1964832"/>
                </a:moveTo>
                <a:cubicBezTo>
                  <a:pt x="553521" y="1964832"/>
                  <a:pt x="558311" y="1969622"/>
                  <a:pt x="558311" y="1975569"/>
                </a:cubicBezTo>
                <a:cubicBezTo>
                  <a:pt x="558311" y="1981515"/>
                  <a:pt x="553521" y="1986305"/>
                  <a:pt x="547575" y="1986305"/>
                </a:cubicBezTo>
                <a:cubicBezTo>
                  <a:pt x="541628" y="1986305"/>
                  <a:pt x="536838" y="1981515"/>
                  <a:pt x="536838" y="1975569"/>
                </a:cubicBezTo>
                <a:cubicBezTo>
                  <a:pt x="536838" y="1969622"/>
                  <a:pt x="541628" y="1964832"/>
                  <a:pt x="547575" y="1964832"/>
                </a:cubicBezTo>
                <a:close/>
                <a:moveTo>
                  <a:pt x="178559" y="1962685"/>
                </a:moveTo>
                <a:cubicBezTo>
                  <a:pt x="184505" y="1962685"/>
                  <a:pt x="189297" y="1967475"/>
                  <a:pt x="189297" y="1973422"/>
                </a:cubicBezTo>
                <a:cubicBezTo>
                  <a:pt x="189297" y="1979368"/>
                  <a:pt x="184505" y="1984160"/>
                  <a:pt x="178559" y="1984160"/>
                </a:cubicBezTo>
                <a:cubicBezTo>
                  <a:pt x="172612" y="1984160"/>
                  <a:pt x="167822" y="1979368"/>
                  <a:pt x="167822" y="1973422"/>
                </a:cubicBezTo>
                <a:cubicBezTo>
                  <a:pt x="167822" y="1967475"/>
                  <a:pt x="172612" y="1962685"/>
                  <a:pt x="178559" y="1962685"/>
                </a:cubicBezTo>
                <a:close/>
                <a:moveTo>
                  <a:pt x="238851" y="1957564"/>
                </a:moveTo>
                <a:cubicBezTo>
                  <a:pt x="244798" y="1957564"/>
                  <a:pt x="249588" y="1962354"/>
                  <a:pt x="249588" y="1968301"/>
                </a:cubicBezTo>
                <a:cubicBezTo>
                  <a:pt x="249588" y="1974247"/>
                  <a:pt x="244798" y="1979039"/>
                  <a:pt x="238851" y="1979039"/>
                </a:cubicBezTo>
                <a:cubicBezTo>
                  <a:pt x="232905" y="1979039"/>
                  <a:pt x="228115" y="1974247"/>
                  <a:pt x="228115" y="1968301"/>
                </a:cubicBezTo>
                <a:cubicBezTo>
                  <a:pt x="228115" y="1962354"/>
                  <a:pt x="232905" y="1957564"/>
                  <a:pt x="238851" y="1957564"/>
                </a:cubicBezTo>
                <a:close/>
                <a:moveTo>
                  <a:pt x="165346" y="1953104"/>
                </a:moveTo>
                <a:cubicBezTo>
                  <a:pt x="168447" y="1953104"/>
                  <a:pt x="170961" y="1955618"/>
                  <a:pt x="170961" y="1958719"/>
                </a:cubicBezTo>
                <a:cubicBezTo>
                  <a:pt x="170961" y="1961822"/>
                  <a:pt x="168447" y="1964336"/>
                  <a:pt x="165346" y="1964336"/>
                </a:cubicBezTo>
                <a:cubicBezTo>
                  <a:pt x="162244" y="1964336"/>
                  <a:pt x="159729" y="1961822"/>
                  <a:pt x="159729" y="1958719"/>
                </a:cubicBezTo>
                <a:cubicBezTo>
                  <a:pt x="159729" y="1955618"/>
                  <a:pt x="162244" y="1953104"/>
                  <a:pt x="165346" y="1953104"/>
                </a:cubicBezTo>
                <a:close/>
                <a:moveTo>
                  <a:pt x="389991" y="1951288"/>
                </a:moveTo>
                <a:cubicBezTo>
                  <a:pt x="395937" y="1951288"/>
                  <a:pt x="400729" y="1956078"/>
                  <a:pt x="400729" y="1962025"/>
                </a:cubicBezTo>
                <a:cubicBezTo>
                  <a:pt x="400729" y="1967971"/>
                  <a:pt x="395937" y="1972761"/>
                  <a:pt x="389991" y="1972761"/>
                </a:cubicBezTo>
                <a:cubicBezTo>
                  <a:pt x="384044" y="1972761"/>
                  <a:pt x="379255" y="1967971"/>
                  <a:pt x="379255" y="1962025"/>
                </a:cubicBezTo>
                <a:cubicBezTo>
                  <a:pt x="379255" y="1956078"/>
                  <a:pt x="384044" y="1951288"/>
                  <a:pt x="389991" y="1951288"/>
                </a:cubicBezTo>
                <a:close/>
                <a:moveTo>
                  <a:pt x="293856" y="1950792"/>
                </a:moveTo>
                <a:cubicBezTo>
                  <a:pt x="299803" y="1950792"/>
                  <a:pt x="304594" y="1955582"/>
                  <a:pt x="304594" y="1961529"/>
                </a:cubicBezTo>
                <a:cubicBezTo>
                  <a:pt x="304594" y="1967475"/>
                  <a:pt x="299803" y="1972267"/>
                  <a:pt x="293856" y="1972267"/>
                </a:cubicBezTo>
                <a:cubicBezTo>
                  <a:pt x="287910" y="1972267"/>
                  <a:pt x="283120" y="1967475"/>
                  <a:pt x="283120" y="1961529"/>
                </a:cubicBezTo>
                <a:cubicBezTo>
                  <a:pt x="283120" y="1955582"/>
                  <a:pt x="287910" y="1950792"/>
                  <a:pt x="293856" y="1950792"/>
                </a:cubicBezTo>
                <a:close/>
                <a:moveTo>
                  <a:pt x="1770081" y="1944515"/>
                </a:moveTo>
                <a:cubicBezTo>
                  <a:pt x="1776028" y="1944515"/>
                  <a:pt x="1780818" y="1949304"/>
                  <a:pt x="1780818" y="1955251"/>
                </a:cubicBezTo>
                <a:cubicBezTo>
                  <a:pt x="1780818" y="1961197"/>
                  <a:pt x="1776028" y="1965989"/>
                  <a:pt x="1770081" y="1965989"/>
                </a:cubicBezTo>
                <a:cubicBezTo>
                  <a:pt x="1764135" y="1965989"/>
                  <a:pt x="1759345" y="1961197"/>
                  <a:pt x="1759345" y="1955251"/>
                </a:cubicBezTo>
                <a:cubicBezTo>
                  <a:pt x="1759345" y="1949304"/>
                  <a:pt x="1764135" y="1944515"/>
                  <a:pt x="1770081" y="1944515"/>
                </a:cubicBezTo>
                <a:close/>
                <a:moveTo>
                  <a:pt x="222829" y="1941211"/>
                </a:moveTo>
                <a:cubicBezTo>
                  <a:pt x="228776" y="1941211"/>
                  <a:pt x="233567" y="1946001"/>
                  <a:pt x="233567" y="1951947"/>
                </a:cubicBezTo>
                <a:cubicBezTo>
                  <a:pt x="233567" y="1957894"/>
                  <a:pt x="228776" y="1962684"/>
                  <a:pt x="222829" y="1962684"/>
                </a:cubicBezTo>
                <a:cubicBezTo>
                  <a:pt x="216883" y="1962684"/>
                  <a:pt x="212093" y="1957894"/>
                  <a:pt x="212093" y="1951947"/>
                </a:cubicBezTo>
                <a:cubicBezTo>
                  <a:pt x="212093" y="1946001"/>
                  <a:pt x="216883" y="1941211"/>
                  <a:pt x="222829" y="1941211"/>
                </a:cubicBezTo>
                <a:close/>
                <a:moveTo>
                  <a:pt x="191279" y="1940717"/>
                </a:moveTo>
                <a:cubicBezTo>
                  <a:pt x="197226" y="1940717"/>
                  <a:pt x="202015" y="1945506"/>
                  <a:pt x="202015" y="1951453"/>
                </a:cubicBezTo>
                <a:lnTo>
                  <a:pt x="199867" y="1953602"/>
                </a:lnTo>
                <a:lnTo>
                  <a:pt x="210440" y="1964172"/>
                </a:lnTo>
                <a:cubicBezTo>
                  <a:pt x="210440" y="1970118"/>
                  <a:pt x="205649" y="1974910"/>
                  <a:pt x="199702" y="1974910"/>
                </a:cubicBezTo>
                <a:cubicBezTo>
                  <a:pt x="193756" y="1974910"/>
                  <a:pt x="188966" y="1970118"/>
                  <a:pt x="188966" y="1964172"/>
                </a:cubicBezTo>
                <a:lnTo>
                  <a:pt x="191113" y="1962025"/>
                </a:lnTo>
                <a:lnTo>
                  <a:pt x="180543" y="1951453"/>
                </a:lnTo>
                <a:cubicBezTo>
                  <a:pt x="180543" y="1945506"/>
                  <a:pt x="185333" y="1940717"/>
                  <a:pt x="191279" y="1940717"/>
                </a:cubicBezTo>
                <a:close/>
                <a:moveTo>
                  <a:pt x="997529" y="1935100"/>
                </a:moveTo>
                <a:cubicBezTo>
                  <a:pt x="1003475" y="1935100"/>
                  <a:pt x="1008265" y="1939889"/>
                  <a:pt x="1008265" y="1945836"/>
                </a:cubicBezTo>
                <a:cubicBezTo>
                  <a:pt x="1008265" y="1951782"/>
                  <a:pt x="1003475" y="1956574"/>
                  <a:pt x="997529" y="1956574"/>
                </a:cubicBezTo>
                <a:cubicBezTo>
                  <a:pt x="991582" y="1956574"/>
                  <a:pt x="986792" y="1951782"/>
                  <a:pt x="986792" y="1945836"/>
                </a:cubicBezTo>
                <a:cubicBezTo>
                  <a:pt x="986792" y="1939889"/>
                  <a:pt x="991582" y="1935100"/>
                  <a:pt x="997529" y="1935100"/>
                </a:cubicBezTo>
                <a:close/>
                <a:moveTo>
                  <a:pt x="616455" y="1932953"/>
                </a:moveTo>
                <a:cubicBezTo>
                  <a:pt x="622401" y="1932953"/>
                  <a:pt x="627193" y="1937742"/>
                  <a:pt x="627193" y="1943689"/>
                </a:cubicBezTo>
                <a:cubicBezTo>
                  <a:pt x="627193" y="1949635"/>
                  <a:pt x="622401" y="1954425"/>
                  <a:pt x="616455" y="1954425"/>
                </a:cubicBezTo>
                <a:cubicBezTo>
                  <a:pt x="610508" y="1954425"/>
                  <a:pt x="605719" y="1949635"/>
                  <a:pt x="605719" y="1943689"/>
                </a:cubicBezTo>
                <a:cubicBezTo>
                  <a:pt x="605719" y="1937742"/>
                  <a:pt x="610508" y="1932953"/>
                  <a:pt x="616455" y="1932953"/>
                </a:cubicBezTo>
                <a:close/>
                <a:moveTo>
                  <a:pt x="259828" y="1928988"/>
                </a:moveTo>
                <a:cubicBezTo>
                  <a:pt x="265775" y="1928988"/>
                  <a:pt x="270564" y="1933778"/>
                  <a:pt x="270564" y="1939725"/>
                </a:cubicBezTo>
                <a:cubicBezTo>
                  <a:pt x="270564" y="1945671"/>
                  <a:pt x="265775" y="1950463"/>
                  <a:pt x="259828" y="1950463"/>
                </a:cubicBezTo>
                <a:cubicBezTo>
                  <a:pt x="253882" y="1950463"/>
                  <a:pt x="249092" y="1945671"/>
                  <a:pt x="249092" y="1939725"/>
                </a:cubicBezTo>
                <a:cubicBezTo>
                  <a:pt x="249092" y="1933778"/>
                  <a:pt x="253882" y="1928988"/>
                  <a:pt x="259828" y="1928988"/>
                </a:cubicBezTo>
                <a:close/>
                <a:moveTo>
                  <a:pt x="179551" y="1928163"/>
                </a:moveTo>
                <a:cubicBezTo>
                  <a:pt x="185497" y="1928163"/>
                  <a:pt x="190289" y="1932953"/>
                  <a:pt x="190289" y="1938899"/>
                </a:cubicBezTo>
                <a:cubicBezTo>
                  <a:pt x="190289" y="1944846"/>
                  <a:pt x="185497" y="1949635"/>
                  <a:pt x="179551" y="1949635"/>
                </a:cubicBezTo>
                <a:cubicBezTo>
                  <a:pt x="173604" y="1949635"/>
                  <a:pt x="168814" y="1944846"/>
                  <a:pt x="168814" y="1938899"/>
                </a:cubicBezTo>
                <a:cubicBezTo>
                  <a:pt x="168814" y="1932953"/>
                  <a:pt x="173604" y="1928163"/>
                  <a:pt x="179551" y="1928163"/>
                </a:cubicBezTo>
                <a:close/>
                <a:moveTo>
                  <a:pt x="325075" y="1920232"/>
                </a:moveTo>
                <a:cubicBezTo>
                  <a:pt x="331022" y="1920232"/>
                  <a:pt x="335811" y="1925022"/>
                  <a:pt x="335811" y="1930969"/>
                </a:cubicBezTo>
                <a:cubicBezTo>
                  <a:pt x="335811" y="1936915"/>
                  <a:pt x="331022" y="1941707"/>
                  <a:pt x="325075" y="1941707"/>
                </a:cubicBezTo>
                <a:cubicBezTo>
                  <a:pt x="319129" y="1941707"/>
                  <a:pt x="314339" y="1936915"/>
                  <a:pt x="314339" y="1930969"/>
                </a:cubicBezTo>
                <a:cubicBezTo>
                  <a:pt x="314339" y="1925022"/>
                  <a:pt x="319129" y="1920232"/>
                  <a:pt x="325075" y="1920232"/>
                </a:cubicBezTo>
                <a:close/>
                <a:moveTo>
                  <a:pt x="436738" y="1919738"/>
                </a:moveTo>
                <a:cubicBezTo>
                  <a:pt x="442684" y="1919738"/>
                  <a:pt x="447474" y="1924528"/>
                  <a:pt x="447474" y="1930475"/>
                </a:cubicBezTo>
                <a:cubicBezTo>
                  <a:pt x="447474" y="1936421"/>
                  <a:pt x="442684" y="1941213"/>
                  <a:pt x="436738" y="1941213"/>
                </a:cubicBezTo>
                <a:cubicBezTo>
                  <a:pt x="430791" y="1941213"/>
                  <a:pt x="426001" y="1936421"/>
                  <a:pt x="426001" y="1930475"/>
                </a:cubicBezTo>
                <a:cubicBezTo>
                  <a:pt x="426001" y="1924528"/>
                  <a:pt x="430791" y="1919738"/>
                  <a:pt x="436738" y="1919738"/>
                </a:cubicBezTo>
                <a:close/>
                <a:moveTo>
                  <a:pt x="1958884" y="1918252"/>
                </a:moveTo>
                <a:cubicBezTo>
                  <a:pt x="1964830" y="1918252"/>
                  <a:pt x="1969620" y="1923042"/>
                  <a:pt x="1969620" y="1928988"/>
                </a:cubicBezTo>
                <a:cubicBezTo>
                  <a:pt x="1969620" y="1934935"/>
                  <a:pt x="1964830" y="1939725"/>
                  <a:pt x="1958884" y="1939725"/>
                </a:cubicBezTo>
                <a:cubicBezTo>
                  <a:pt x="1952937" y="1939725"/>
                  <a:pt x="1948147" y="1934935"/>
                  <a:pt x="1948147" y="1928988"/>
                </a:cubicBezTo>
                <a:cubicBezTo>
                  <a:pt x="1948147" y="1923042"/>
                  <a:pt x="1952937" y="1918252"/>
                  <a:pt x="1958884" y="1918252"/>
                </a:cubicBezTo>
                <a:close/>
                <a:moveTo>
                  <a:pt x="204329" y="1917591"/>
                </a:moveTo>
                <a:cubicBezTo>
                  <a:pt x="210275" y="1917591"/>
                  <a:pt x="215067" y="1922381"/>
                  <a:pt x="215067" y="1928328"/>
                </a:cubicBezTo>
                <a:lnTo>
                  <a:pt x="213827" y="1929567"/>
                </a:lnTo>
                <a:lnTo>
                  <a:pt x="223490" y="1939229"/>
                </a:lnTo>
                <a:cubicBezTo>
                  <a:pt x="223490" y="1945175"/>
                  <a:pt x="218698" y="1949967"/>
                  <a:pt x="212752" y="1949967"/>
                </a:cubicBezTo>
                <a:cubicBezTo>
                  <a:pt x="206805" y="1949967"/>
                  <a:pt x="202015" y="1945175"/>
                  <a:pt x="202015" y="1939229"/>
                </a:cubicBezTo>
                <a:lnTo>
                  <a:pt x="203254" y="1937990"/>
                </a:lnTo>
                <a:lnTo>
                  <a:pt x="193592" y="1928328"/>
                </a:lnTo>
                <a:cubicBezTo>
                  <a:pt x="193592" y="1922381"/>
                  <a:pt x="198382" y="1917591"/>
                  <a:pt x="204329" y="1917591"/>
                </a:cubicBezTo>
                <a:close/>
                <a:moveTo>
                  <a:pt x="239347" y="1913625"/>
                </a:moveTo>
                <a:cubicBezTo>
                  <a:pt x="245294" y="1913625"/>
                  <a:pt x="250085" y="1918415"/>
                  <a:pt x="250085" y="1924361"/>
                </a:cubicBezTo>
                <a:cubicBezTo>
                  <a:pt x="250085" y="1930308"/>
                  <a:pt x="245294" y="1935100"/>
                  <a:pt x="239347" y="1935100"/>
                </a:cubicBezTo>
                <a:cubicBezTo>
                  <a:pt x="233401" y="1935100"/>
                  <a:pt x="228611" y="1930308"/>
                  <a:pt x="228611" y="1924361"/>
                </a:cubicBezTo>
                <a:cubicBezTo>
                  <a:pt x="228611" y="1918415"/>
                  <a:pt x="233401" y="1913625"/>
                  <a:pt x="239347" y="1913625"/>
                </a:cubicBezTo>
                <a:close/>
                <a:moveTo>
                  <a:pt x="193426" y="1907020"/>
                </a:moveTo>
                <a:cubicBezTo>
                  <a:pt x="199373" y="1907020"/>
                  <a:pt x="204162" y="1911810"/>
                  <a:pt x="204162" y="1917756"/>
                </a:cubicBezTo>
                <a:cubicBezTo>
                  <a:pt x="204162" y="1923702"/>
                  <a:pt x="199373" y="1928492"/>
                  <a:pt x="193426" y="1928492"/>
                </a:cubicBezTo>
                <a:cubicBezTo>
                  <a:pt x="187479" y="1928492"/>
                  <a:pt x="182690" y="1923702"/>
                  <a:pt x="182690" y="1917756"/>
                </a:cubicBezTo>
                <a:cubicBezTo>
                  <a:pt x="182690" y="1911810"/>
                  <a:pt x="187479" y="1907020"/>
                  <a:pt x="193426" y="1907020"/>
                </a:cubicBezTo>
                <a:close/>
                <a:moveTo>
                  <a:pt x="1116294" y="1903054"/>
                </a:moveTo>
                <a:cubicBezTo>
                  <a:pt x="1122241" y="1903054"/>
                  <a:pt x="1127032" y="1907843"/>
                  <a:pt x="1127032" y="1913790"/>
                </a:cubicBezTo>
                <a:cubicBezTo>
                  <a:pt x="1127032" y="1919736"/>
                  <a:pt x="1122241" y="1924528"/>
                  <a:pt x="1116294" y="1924528"/>
                </a:cubicBezTo>
                <a:cubicBezTo>
                  <a:pt x="1110348" y="1924528"/>
                  <a:pt x="1105558" y="1919736"/>
                  <a:pt x="1105558" y="1913790"/>
                </a:cubicBezTo>
                <a:cubicBezTo>
                  <a:pt x="1105558" y="1907843"/>
                  <a:pt x="1110348" y="1903054"/>
                  <a:pt x="1116294" y="1903054"/>
                </a:cubicBezTo>
                <a:close/>
                <a:moveTo>
                  <a:pt x="692934" y="1900081"/>
                </a:moveTo>
                <a:cubicBezTo>
                  <a:pt x="698881" y="1900081"/>
                  <a:pt x="703671" y="1904871"/>
                  <a:pt x="703671" y="1910818"/>
                </a:cubicBezTo>
                <a:cubicBezTo>
                  <a:pt x="703671" y="1916764"/>
                  <a:pt x="698881" y="1921556"/>
                  <a:pt x="692934" y="1921556"/>
                </a:cubicBezTo>
                <a:cubicBezTo>
                  <a:pt x="686988" y="1921556"/>
                  <a:pt x="682198" y="1916764"/>
                  <a:pt x="682198" y="1910818"/>
                </a:cubicBezTo>
                <a:cubicBezTo>
                  <a:pt x="682198" y="1904871"/>
                  <a:pt x="686988" y="1900081"/>
                  <a:pt x="692934" y="1900081"/>
                </a:cubicBezTo>
                <a:close/>
                <a:moveTo>
                  <a:pt x="283449" y="1898924"/>
                </a:moveTo>
                <a:cubicBezTo>
                  <a:pt x="289396" y="1898924"/>
                  <a:pt x="294186" y="1903714"/>
                  <a:pt x="294186" y="1909661"/>
                </a:cubicBezTo>
                <a:cubicBezTo>
                  <a:pt x="294186" y="1915607"/>
                  <a:pt x="289396" y="1920399"/>
                  <a:pt x="283449" y="1920399"/>
                </a:cubicBezTo>
                <a:cubicBezTo>
                  <a:pt x="277503" y="1920399"/>
                  <a:pt x="272713" y="1915607"/>
                  <a:pt x="272713" y="1909661"/>
                </a:cubicBezTo>
                <a:cubicBezTo>
                  <a:pt x="272713" y="1903714"/>
                  <a:pt x="277503" y="1898924"/>
                  <a:pt x="283449" y="1898924"/>
                </a:cubicBezTo>
                <a:close/>
                <a:moveTo>
                  <a:pt x="2161395" y="1894466"/>
                </a:moveTo>
                <a:cubicBezTo>
                  <a:pt x="2167342" y="1894466"/>
                  <a:pt x="2172133" y="1899256"/>
                  <a:pt x="2172133" y="1905202"/>
                </a:cubicBezTo>
                <a:cubicBezTo>
                  <a:pt x="2172133" y="1911149"/>
                  <a:pt x="2167342" y="1915940"/>
                  <a:pt x="2161395" y="1915940"/>
                </a:cubicBezTo>
                <a:cubicBezTo>
                  <a:pt x="2155449" y="1915940"/>
                  <a:pt x="2150659" y="1911149"/>
                  <a:pt x="2150659" y="1905202"/>
                </a:cubicBezTo>
                <a:cubicBezTo>
                  <a:pt x="2150659" y="1899256"/>
                  <a:pt x="2155449" y="1894466"/>
                  <a:pt x="2161395" y="1894466"/>
                </a:cubicBezTo>
                <a:close/>
                <a:moveTo>
                  <a:pt x="360590" y="1888518"/>
                </a:moveTo>
                <a:cubicBezTo>
                  <a:pt x="366536" y="1888518"/>
                  <a:pt x="371326" y="1893307"/>
                  <a:pt x="371326" y="1899254"/>
                </a:cubicBezTo>
                <a:cubicBezTo>
                  <a:pt x="371326" y="1905201"/>
                  <a:pt x="366536" y="1909992"/>
                  <a:pt x="360590" y="1909992"/>
                </a:cubicBezTo>
                <a:cubicBezTo>
                  <a:pt x="354643" y="1909992"/>
                  <a:pt x="349853" y="1905201"/>
                  <a:pt x="349853" y="1899254"/>
                </a:cubicBezTo>
                <a:cubicBezTo>
                  <a:pt x="349853" y="1893307"/>
                  <a:pt x="354643" y="1888518"/>
                  <a:pt x="360590" y="1888518"/>
                </a:cubicBezTo>
                <a:close/>
                <a:moveTo>
                  <a:pt x="489596" y="1886867"/>
                </a:moveTo>
                <a:cubicBezTo>
                  <a:pt x="495542" y="1886867"/>
                  <a:pt x="500334" y="1891657"/>
                  <a:pt x="500334" y="1897603"/>
                </a:cubicBezTo>
                <a:cubicBezTo>
                  <a:pt x="500334" y="1903550"/>
                  <a:pt x="495542" y="1908339"/>
                  <a:pt x="489596" y="1908339"/>
                </a:cubicBezTo>
                <a:cubicBezTo>
                  <a:pt x="483649" y="1908339"/>
                  <a:pt x="478859" y="1903550"/>
                  <a:pt x="478859" y="1897603"/>
                </a:cubicBezTo>
                <a:cubicBezTo>
                  <a:pt x="478859" y="1891657"/>
                  <a:pt x="483649" y="1886867"/>
                  <a:pt x="489596" y="1886867"/>
                </a:cubicBezTo>
                <a:close/>
                <a:moveTo>
                  <a:pt x="258012" y="1884720"/>
                </a:moveTo>
                <a:cubicBezTo>
                  <a:pt x="263959" y="1884720"/>
                  <a:pt x="268750" y="1889510"/>
                  <a:pt x="268750" y="1895456"/>
                </a:cubicBezTo>
                <a:cubicBezTo>
                  <a:pt x="268750" y="1901403"/>
                  <a:pt x="263959" y="1906194"/>
                  <a:pt x="258012" y="1906194"/>
                </a:cubicBezTo>
                <a:cubicBezTo>
                  <a:pt x="252066" y="1906194"/>
                  <a:pt x="247276" y="1901403"/>
                  <a:pt x="247276" y="1895456"/>
                </a:cubicBezTo>
                <a:cubicBezTo>
                  <a:pt x="247276" y="1889510"/>
                  <a:pt x="252066" y="1884720"/>
                  <a:pt x="258012" y="1884720"/>
                </a:cubicBezTo>
                <a:close/>
                <a:moveTo>
                  <a:pt x="207301" y="1884555"/>
                </a:moveTo>
                <a:lnTo>
                  <a:pt x="216883" y="1894135"/>
                </a:lnTo>
                <a:lnTo>
                  <a:pt x="217708" y="1893309"/>
                </a:lnTo>
                <a:lnTo>
                  <a:pt x="226877" y="1902476"/>
                </a:lnTo>
                <a:lnTo>
                  <a:pt x="226958" y="1902395"/>
                </a:lnTo>
                <a:cubicBezTo>
                  <a:pt x="232889" y="1902395"/>
                  <a:pt x="237696" y="1907202"/>
                  <a:pt x="237696" y="1913131"/>
                </a:cubicBezTo>
                <a:cubicBezTo>
                  <a:pt x="237696" y="1919062"/>
                  <a:pt x="232889" y="1923867"/>
                  <a:pt x="226958" y="1923867"/>
                </a:cubicBezTo>
                <a:lnTo>
                  <a:pt x="217791" y="1914700"/>
                </a:lnTo>
                <a:lnTo>
                  <a:pt x="217708" y="1914784"/>
                </a:lnTo>
                <a:lnTo>
                  <a:pt x="208127" y="1905202"/>
                </a:lnTo>
                <a:lnTo>
                  <a:pt x="207301" y="1906028"/>
                </a:lnTo>
                <a:cubicBezTo>
                  <a:pt x="201355" y="1906028"/>
                  <a:pt x="196565" y="1901238"/>
                  <a:pt x="196565" y="1895291"/>
                </a:cubicBezTo>
                <a:cubicBezTo>
                  <a:pt x="196565" y="1889345"/>
                  <a:pt x="201355" y="1884555"/>
                  <a:pt x="207301" y="1884555"/>
                </a:cubicBezTo>
                <a:close/>
                <a:moveTo>
                  <a:pt x="192932" y="1878442"/>
                </a:moveTo>
                <a:cubicBezTo>
                  <a:pt x="196896" y="1878442"/>
                  <a:pt x="200033" y="1881581"/>
                  <a:pt x="200033" y="1885545"/>
                </a:cubicBezTo>
                <a:cubicBezTo>
                  <a:pt x="200033" y="1889510"/>
                  <a:pt x="196896" y="1892648"/>
                  <a:pt x="192932" y="1892648"/>
                </a:cubicBezTo>
                <a:cubicBezTo>
                  <a:pt x="188967" y="1892648"/>
                  <a:pt x="185829" y="1889510"/>
                  <a:pt x="185829" y="1885545"/>
                </a:cubicBezTo>
                <a:cubicBezTo>
                  <a:pt x="185829" y="1881581"/>
                  <a:pt x="188967" y="1878442"/>
                  <a:pt x="192932" y="1878442"/>
                </a:cubicBezTo>
                <a:close/>
                <a:moveTo>
                  <a:pt x="2376627" y="1874809"/>
                </a:moveTo>
                <a:cubicBezTo>
                  <a:pt x="2382574" y="1874809"/>
                  <a:pt x="2387365" y="1879599"/>
                  <a:pt x="2387365" y="1885545"/>
                </a:cubicBezTo>
                <a:cubicBezTo>
                  <a:pt x="2387365" y="1891492"/>
                  <a:pt x="2382574" y="1896283"/>
                  <a:pt x="2376627" y="1896283"/>
                </a:cubicBezTo>
                <a:cubicBezTo>
                  <a:pt x="2370680" y="1896283"/>
                  <a:pt x="2365890" y="1891492"/>
                  <a:pt x="2365890" y="1885545"/>
                </a:cubicBezTo>
                <a:cubicBezTo>
                  <a:pt x="2365890" y="1879599"/>
                  <a:pt x="2370680" y="1874809"/>
                  <a:pt x="2376627" y="1874809"/>
                </a:cubicBezTo>
                <a:close/>
                <a:moveTo>
                  <a:pt x="1246457" y="1870678"/>
                </a:moveTo>
                <a:cubicBezTo>
                  <a:pt x="1252404" y="1870678"/>
                  <a:pt x="1257195" y="1875468"/>
                  <a:pt x="1257195" y="1881414"/>
                </a:cubicBezTo>
                <a:cubicBezTo>
                  <a:pt x="1257195" y="1887361"/>
                  <a:pt x="1252404" y="1892153"/>
                  <a:pt x="1246457" y="1892153"/>
                </a:cubicBezTo>
                <a:cubicBezTo>
                  <a:pt x="1240511" y="1892153"/>
                  <a:pt x="1235721" y="1887361"/>
                  <a:pt x="1235721" y="1881414"/>
                </a:cubicBezTo>
                <a:cubicBezTo>
                  <a:pt x="1235721" y="1875468"/>
                  <a:pt x="1240511" y="1870678"/>
                  <a:pt x="1246457" y="1870678"/>
                </a:cubicBezTo>
                <a:close/>
                <a:moveTo>
                  <a:pt x="310374" y="1867706"/>
                </a:moveTo>
                <a:cubicBezTo>
                  <a:pt x="316321" y="1867706"/>
                  <a:pt x="321112" y="1872495"/>
                  <a:pt x="321112" y="1878442"/>
                </a:cubicBezTo>
                <a:cubicBezTo>
                  <a:pt x="321112" y="1884389"/>
                  <a:pt x="316321" y="1889180"/>
                  <a:pt x="310374" y="1889180"/>
                </a:cubicBezTo>
                <a:cubicBezTo>
                  <a:pt x="304428" y="1889180"/>
                  <a:pt x="299638" y="1884389"/>
                  <a:pt x="299638" y="1878442"/>
                </a:cubicBezTo>
                <a:cubicBezTo>
                  <a:pt x="299638" y="1872495"/>
                  <a:pt x="304428" y="1867706"/>
                  <a:pt x="310374" y="1867706"/>
                </a:cubicBezTo>
                <a:close/>
                <a:moveTo>
                  <a:pt x="3298174" y="1867541"/>
                </a:moveTo>
                <a:cubicBezTo>
                  <a:pt x="3304120" y="1867541"/>
                  <a:pt x="3308912" y="1872331"/>
                  <a:pt x="3308912" y="1878277"/>
                </a:cubicBezTo>
                <a:cubicBezTo>
                  <a:pt x="3308912" y="1884224"/>
                  <a:pt x="3304120" y="1889014"/>
                  <a:pt x="3298174" y="1889014"/>
                </a:cubicBezTo>
                <a:cubicBezTo>
                  <a:pt x="3292227" y="1889014"/>
                  <a:pt x="3287438" y="1884224"/>
                  <a:pt x="3287438" y="1878277"/>
                </a:cubicBezTo>
                <a:cubicBezTo>
                  <a:pt x="3287438" y="1872331"/>
                  <a:pt x="3292227" y="1867541"/>
                  <a:pt x="3298174" y="1867541"/>
                </a:cubicBezTo>
                <a:close/>
                <a:moveTo>
                  <a:pt x="778003" y="1866384"/>
                </a:moveTo>
                <a:cubicBezTo>
                  <a:pt x="783950" y="1866384"/>
                  <a:pt x="788739" y="1871174"/>
                  <a:pt x="788739" y="1877120"/>
                </a:cubicBezTo>
                <a:cubicBezTo>
                  <a:pt x="788739" y="1883067"/>
                  <a:pt x="783950" y="1887857"/>
                  <a:pt x="778003" y="1887857"/>
                </a:cubicBezTo>
                <a:cubicBezTo>
                  <a:pt x="772057" y="1887857"/>
                  <a:pt x="767267" y="1883067"/>
                  <a:pt x="767267" y="1877120"/>
                </a:cubicBezTo>
                <a:cubicBezTo>
                  <a:pt x="767267" y="1871174"/>
                  <a:pt x="772057" y="1866384"/>
                  <a:pt x="778003" y="1866384"/>
                </a:cubicBezTo>
                <a:close/>
                <a:moveTo>
                  <a:pt x="2602430" y="1860769"/>
                </a:moveTo>
                <a:cubicBezTo>
                  <a:pt x="2608361" y="1860769"/>
                  <a:pt x="2613166" y="1865576"/>
                  <a:pt x="2613166" y="1871505"/>
                </a:cubicBezTo>
                <a:cubicBezTo>
                  <a:pt x="2613166" y="1877436"/>
                  <a:pt x="2608361" y="1882243"/>
                  <a:pt x="2602430" y="1882243"/>
                </a:cubicBezTo>
                <a:cubicBezTo>
                  <a:pt x="2596501" y="1882243"/>
                  <a:pt x="2591694" y="1877436"/>
                  <a:pt x="2591694" y="1871505"/>
                </a:cubicBezTo>
                <a:cubicBezTo>
                  <a:pt x="2591694" y="1865576"/>
                  <a:pt x="2596501" y="1860769"/>
                  <a:pt x="2602430" y="1860769"/>
                </a:cubicBezTo>
                <a:close/>
                <a:moveTo>
                  <a:pt x="3068738" y="1856969"/>
                </a:moveTo>
                <a:cubicBezTo>
                  <a:pt x="3074684" y="1856969"/>
                  <a:pt x="3079474" y="1861759"/>
                  <a:pt x="3079474" y="1867706"/>
                </a:cubicBezTo>
                <a:cubicBezTo>
                  <a:pt x="3079474" y="1873652"/>
                  <a:pt x="3074684" y="1878442"/>
                  <a:pt x="3068738" y="1878442"/>
                </a:cubicBezTo>
                <a:cubicBezTo>
                  <a:pt x="3062791" y="1878442"/>
                  <a:pt x="3058001" y="1873652"/>
                  <a:pt x="3058001" y="1867706"/>
                </a:cubicBezTo>
                <a:cubicBezTo>
                  <a:pt x="3058001" y="1861759"/>
                  <a:pt x="3062791" y="1856969"/>
                  <a:pt x="3068738" y="1856969"/>
                </a:cubicBezTo>
                <a:close/>
                <a:moveTo>
                  <a:pt x="400564" y="1855481"/>
                </a:moveTo>
                <a:cubicBezTo>
                  <a:pt x="406511" y="1855481"/>
                  <a:pt x="411301" y="1860271"/>
                  <a:pt x="411301" y="1866218"/>
                </a:cubicBezTo>
                <a:cubicBezTo>
                  <a:pt x="411301" y="1872164"/>
                  <a:pt x="406511" y="1876956"/>
                  <a:pt x="400564" y="1876956"/>
                </a:cubicBezTo>
                <a:cubicBezTo>
                  <a:pt x="394618" y="1876956"/>
                  <a:pt x="389828" y="1872164"/>
                  <a:pt x="389828" y="1866218"/>
                </a:cubicBezTo>
                <a:cubicBezTo>
                  <a:pt x="389828" y="1860271"/>
                  <a:pt x="394618" y="1855481"/>
                  <a:pt x="400564" y="1855481"/>
                </a:cubicBezTo>
                <a:close/>
                <a:moveTo>
                  <a:pt x="2834841" y="1854656"/>
                </a:moveTo>
                <a:cubicBezTo>
                  <a:pt x="2840787" y="1854656"/>
                  <a:pt x="2845579" y="1859446"/>
                  <a:pt x="2845579" y="1865392"/>
                </a:cubicBezTo>
                <a:cubicBezTo>
                  <a:pt x="2845579" y="1871339"/>
                  <a:pt x="2840787" y="1876130"/>
                  <a:pt x="2834841" y="1876130"/>
                </a:cubicBezTo>
                <a:cubicBezTo>
                  <a:pt x="2828894" y="1876130"/>
                  <a:pt x="2824104" y="1871339"/>
                  <a:pt x="2824104" y="1865392"/>
                </a:cubicBezTo>
                <a:cubicBezTo>
                  <a:pt x="2824104" y="1859446"/>
                  <a:pt x="2828894" y="1854656"/>
                  <a:pt x="2834841" y="1854656"/>
                </a:cubicBezTo>
                <a:close/>
                <a:moveTo>
                  <a:pt x="278824" y="1854656"/>
                </a:moveTo>
                <a:cubicBezTo>
                  <a:pt x="284771" y="1854656"/>
                  <a:pt x="289562" y="1859446"/>
                  <a:pt x="289562" y="1865392"/>
                </a:cubicBezTo>
                <a:cubicBezTo>
                  <a:pt x="289562" y="1871339"/>
                  <a:pt x="284771" y="1876130"/>
                  <a:pt x="278824" y="1876130"/>
                </a:cubicBezTo>
                <a:cubicBezTo>
                  <a:pt x="272878" y="1876130"/>
                  <a:pt x="268088" y="1871339"/>
                  <a:pt x="268088" y="1865392"/>
                </a:cubicBezTo>
                <a:cubicBezTo>
                  <a:pt x="268088" y="1859446"/>
                  <a:pt x="272878" y="1854656"/>
                  <a:pt x="278824" y="1854656"/>
                </a:cubicBezTo>
                <a:close/>
                <a:moveTo>
                  <a:pt x="208127" y="1853499"/>
                </a:moveTo>
                <a:lnTo>
                  <a:pt x="218617" y="1863989"/>
                </a:lnTo>
                <a:lnTo>
                  <a:pt x="221508" y="1861098"/>
                </a:lnTo>
                <a:lnTo>
                  <a:pt x="229932" y="1869521"/>
                </a:lnTo>
                <a:lnTo>
                  <a:pt x="231748" y="1867706"/>
                </a:lnTo>
                <a:lnTo>
                  <a:pt x="240750" y="1876708"/>
                </a:lnTo>
                <a:lnTo>
                  <a:pt x="242484" y="1874974"/>
                </a:lnTo>
                <a:cubicBezTo>
                  <a:pt x="248431" y="1874974"/>
                  <a:pt x="253222" y="1879763"/>
                  <a:pt x="253222" y="1885710"/>
                </a:cubicBezTo>
                <a:cubicBezTo>
                  <a:pt x="253222" y="1891657"/>
                  <a:pt x="248431" y="1896448"/>
                  <a:pt x="242484" y="1896448"/>
                </a:cubicBezTo>
                <a:lnTo>
                  <a:pt x="233482" y="1887446"/>
                </a:lnTo>
                <a:lnTo>
                  <a:pt x="231748" y="1889180"/>
                </a:lnTo>
                <a:lnTo>
                  <a:pt x="223323" y="1880755"/>
                </a:lnTo>
                <a:lnTo>
                  <a:pt x="221508" y="1882571"/>
                </a:lnTo>
                <a:lnTo>
                  <a:pt x="211018" y="1872083"/>
                </a:lnTo>
                <a:lnTo>
                  <a:pt x="208127" y="1874974"/>
                </a:lnTo>
                <a:cubicBezTo>
                  <a:pt x="202180" y="1874974"/>
                  <a:pt x="197390" y="1870182"/>
                  <a:pt x="197390" y="1864236"/>
                </a:cubicBezTo>
                <a:cubicBezTo>
                  <a:pt x="197390" y="1858289"/>
                  <a:pt x="202180" y="1853499"/>
                  <a:pt x="208127" y="1853499"/>
                </a:cubicBezTo>
                <a:close/>
                <a:moveTo>
                  <a:pt x="548731" y="1853005"/>
                </a:moveTo>
                <a:cubicBezTo>
                  <a:pt x="554678" y="1853005"/>
                  <a:pt x="559468" y="1857795"/>
                  <a:pt x="559468" y="1863741"/>
                </a:cubicBezTo>
                <a:cubicBezTo>
                  <a:pt x="559468" y="1869688"/>
                  <a:pt x="554678" y="1874479"/>
                  <a:pt x="548731" y="1874479"/>
                </a:cubicBezTo>
                <a:cubicBezTo>
                  <a:pt x="542785" y="1874479"/>
                  <a:pt x="537995" y="1869688"/>
                  <a:pt x="537995" y="1863741"/>
                </a:cubicBezTo>
                <a:cubicBezTo>
                  <a:pt x="537995" y="1857795"/>
                  <a:pt x="542785" y="1853005"/>
                  <a:pt x="548731" y="1853005"/>
                </a:cubicBezTo>
                <a:close/>
                <a:moveTo>
                  <a:pt x="1388348" y="1838303"/>
                </a:moveTo>
                <a:cubicBezTo>
                  <a:pt x="1394295" y="1838303"/>
                  <a:pt x="1399085" y="1843092"/>
                  <a:pt x="1399085" y="1849039"/>
                </a:cubicBezTo>
                <a:cubicBezTo>
                  <a:pt x="1399085" y="1854985"/>
                  <a:pt x="1394295" y="1859777"/>
                  <a:pt x="1388348" y="1859777"/>
                </a:cubicBezTo>
                <a:cubicBezTo>
                  <a:pt x="1382402" y="1859777"/>
                  <a:pt x="1377612" y="1854985"/>
                  <a:pt x="1377612" y="1849039"/>
                </a:cubicBezTo>
                <a:cubicBezTo>
                  <a:pt x="1377612" y="1843092"/>
                  <a:pt x="1382402" y="1838303"/>
                  <a:pt x="1388348" y="1838303"/>
                </a:cubicBezTo>
                <a:close/>
                <a:moveTo>
                  <a:pt x="340768" y="1835330"/>
                </a:moveTo>
                <a:cubicBezTo>
                  <a:pt x="346714" y="1835330"/>
                  <a:pt x="351506" y="1840120"/>
                  <a:pt x="351506" y="1846066"/>
                </a:cubicBezTo>
                <a:cubicBezTo>
                  <a:pt x="351506" y="1852013"/>
                  <a:pt x="346714" y="1856804"/>
                  <a:pt x="340768" y="1856804"/>
                </a:cubicBezTo>
                <a:cubicBezTo>
                  <a:pt x="334821" y="1856804"/>
                  <a:pt x="330031" y="1852013"/>
                  <a:pt x="330031" y="1846066"/>
                </a:cubicBezTo>
                <a:cubicBezTo>
                  <a:pt x="330031" y="1840120"/>
                  <a:pt x="334821" y="1835330"/>
                  <a:pt x="340768" y="1835330"/>
                </a:cubicBezTo>
                <a:close/>
                <a:moveTo>
                  <a:pt x="205650" y="1834173"/>
                </a:moveTo>
                <a:lnTo>
                  <a:pt x="205815" y="1834173"/>
                </a:lnTo>
                <a:lnTo>
                  <a:pt x="205815" y="1834338"/>
                </a:lnTo>
                <a:close/>
                <a:moveTo>
                  <a:pt x="872156" y="1832026"/>
                </a:moveTo>
                <a:cubicBezTo>
                  <a:pt x="878102" y="1832026"/>
                  <a:pt x="882892" y="1836816"/>
                  <a:pt x="882892" y="1842763"/>
                </a:cubicBezTo>
                <a:cubicBezTo>
                  <a:pt x="882892" y="1848709"/>
                  <a:pt x="878102" y="1853499"/>
                  <a:pt x="872156" y="1853499"/>
                </a:cubicBezTo>
                <a:cubicBezTo>
                  <a:pt x="866209" y="1853499"/>
                  <a:pt x="861419" y="1848709"/>
                  <a:pt x="861419" y="1842763"/>
                </a:cubicBezTo>
                <a:cubicBezTo>
                  <a:pt x="861419" y="1836816"/>
                  <a:pt x="866209" y="1832026"/>
                  <a:pt x="872156" y="1832026"/>
                </a:cubicBezTo>
                <a:close/>
                <a:moveTo>
                  <a:pt x="223323" y="1830870"/>
                </a:moveTo>
                <a:lnTo>
                  <a:pt x="232244" y="1839789"/>
                </a:lnTo>
                <a:lnTo>
                  <a:pt x="235877" y="1836156"/>
                </a:lnTo>
                <a:lnTo>
                  <a:pt x="243558" y="1843836"/>
                </a:lnTo>
                <a:lnTo>
                  <a:pt x="246614" y="1840781"/>
                </a:lnTo>
                <a:lnTo>
                  <a:pt x="255782" y="1849949"/>
                </a:lnTo>
                <a:lnTo>
                  <a:pt x="259334" y="1846398"/>
                </a:lnTo>
                <a:cubicBezTo>
                  <a:pt x="265280" y="1846398"/>
                  <a:pt x="270072" y="1851187"/>
                  <a:pt x="270072" y="1857134"/>
                </a:cubicBezTo>
                <a:cubicBezTo>
                  <a:pt x="270072" y="1863080"/>
                  <a:pt x="265280" y="1867872"/>
                  <a:pt x="259334" y="1867872"/>
                </a:cubicBezTo>
                <a:lnTo>
                  <a:pt x="250165" y="1858704"/>
                </a:lnTo>
                <a:lnTo>
                  <a:pt x="246614" y="1862255"/>
                </a:lnTo>
                <a:lnTo>
                  <a:pt x="238933" y="1854574"/>
                </a:lnTo>
                <a:lnTo>
                  <a:pt x="235877" y="1857628"/>
                </a:lnTo>
                <a:lnTo>
                  <a:pt x="226957" y="1848709"/>
                </a:lnTo>
                <a:lnTo>
                  <a:pt x="223323" y="1852343"/>
                </a:lnTo>
                <a:cubicBezTo>
                  <a:pt x="217377" y="1852343"/>
                  <a:pt x="212587" y="1847553"/>
                  <a:pt x="212587" y="1841606"/>
                </a:cubicBezTo>
                <a:cubicBezTo>
                  <a:pt x="212587" y="1835660"/>
                  <a:pt x="217377" y="1830870"/>
                  <a:pt x="223323" y="1830870"/>
                </a:cubicBezTo>
                <a:close/>
                <a:moveTo>
                  <a:pt x="302281" y="1823108"/>
                </a:moveTo>
                <a:cubicBezTo>
                  <a:pt x="308227" y="1823108"/>
                  <a:pt x="313019" y="1827897"/>
                  <a:pt x="313019" y="1833844"/>
                </a:cubicBezTo>
                <a:cubicBezTo>
                  <a:pt x="313019" y="1839790"/>
                  <a:pt x="308227" y="1844582"/>
                  <a:pt x="302281" y="1844582"/>
                </a:cubicBezTo>
                <a:cubicBezTo>
                  <a:pt x="296334" y="1844582"/>
                  <a:pt x="291545" y="1839790"/>
                  <a:pt x="291545" y="1833844"/>
                </a:cubicBezTo>
                <a:cubicBezTo>
                  <a:pt x="291545" y="1827897"/>
                  <a:pt x="296334" y="1823108"/>
                  <a:pt x="302281" y="1823108"/>
                </a:cubicBezTo>
                <a:close/>
                <a:moveTo>
                  <a:pt x="445823" y="1821455"/>
                </a:moveTo>
                <a:cubicBezTo>
                  <a:pt x="451770" y="1821455"/>
                  <a:pt x="456559" y="1826245"/>
                  <a:pt x="456559" y="1832191"/>
                </a:cubicBezTo>
                <a:cubicBezTo>
                  <a:pt x="456559" y="1838138"/>
                  <a:pt x="451770" y="1842928"/>
                  <a:pt x="445823" y="1842928"/>
                </a:cubicBezTo>
                <a:cubicBezTo>
                  <a:pt x="439876" y="1842928"/>
                  <a:pt x="435087" y="1838138"/>
                  <a:pt x="435087" y="1832191"/>
                </a:cubicBezTo>
                <a:cubicBezTo>
                  <a:pt x="435087" y="1826245"/>
                  <a:pt x="439876" y="1821455"/>
                  <a:pt x="445823" y="1821455"/>
                </a:cubicBezTo>
                <a:close/>
                <a:moveTo>
                  <a:pt x="614804" y="1818151"/>
                </a:moveTo>
                <a:cubicBezTo>
                  <a:pt x="620750" y="1818151"/>
                  <a:pt x="625540" y="1822941"/>
                  <a:pt x="625540" y="1828888"/>
                </a:cubicBezTo>
                <a:cubicBezTo>
                  <a:pt x="625540" y="1834834"/>
                  <a:pt x="620750" y="1839626"/>
                  <a:pt x="614804" y="1839626"/>
                </a:cubicBezTo>
                <a:cubicBezTo>
                  <a:pt x="608857" y="1839626"/>
                  <a:pt x="604068" y="1834834"/>
                  <a:pt x="604068" y="1828888"/>
                </a:cubicBezTo>
                <a:cubicBezTo>
                  <a:pt x="604068" y="1822941"/>
                  <a:pt x="608857" y="1818151"/>
                  <a:pt x="614804" y="1818151"/>
                </a:cubicBezTo>
                <a:close/>
                <a:moveTo>
                  <a:pt x="238520" y="1806919"/>
                </a:moveTo>
                <a:lnTo>
                  <a:pt x="246203" y="1814600"/>
                </a:lnTo>
                <a:lnTo>
                  <a:pt x="250744" y="1810058"/>
                </a:lnTo>
                <a:lnTo>
                  <a:pt x="258012" y="1817326"/>
                </a:lnTo>
                <a:lnTo>
                  <a:pt x="262637" y="1812701"/>
                </a:lnTo>
                <a:lnTo>
                  <a:pt x="272217" y="1822280"/>
                </a:lnTo>
                <a:lnTo>
                  <a:pt x="278164" y="1816334"/>
                </a:lnTo>
                <a:cubicBezTo>
                  <a:pt x="284110" y="1816334"/>
                  <a:pt x="288900" y="1821124"/>
                  <a:pt x="288900" y="1827070"/>
                </a:cubicBezTo>
                <a:cubicBezTo>
                  <a:pt x="288900" y="1833017"/>
                  <a:pt x="284110" y="1837808"/>
                  <a:pt x="278164" y="1837808"/>
                </a:cubicBezTo>
                <a:lnTo>
                  <a:pt x="268584" y="1828227"/>
                </a:lnTo>
                <a:lnTo>
                  <a:pt x="262637" y="1834173"/>
                </a:lnTo>
                <a:lnTo>
                  <a:pt x="255369" y="1826907"/>
                </a:lnTo>
                <a:lnTo>
                  <a:pt x="250744" y="1831532"/>
                </a:lnTo>
                <a:lnTo>
                  <a:pt x="243064" y="1823850"/>
                </a:lnTo>
                <a:lnTo>
                  <a:pt x="238520" y="1828393"/>
                </a:lnTo>
                <a:cubicBezTo>
                  <a:pt x="232574" y="1828393"/>
                  <a:pt x="227784" y="1823602"/>
                  <a:pt x="227784" y="1817655"/>
                </a:cubicBezTo>
                <a:cubicBezTo>
                  <a:pt x="227784" y="1811709"/>
                  <a:pt x="232574" y="1806919"/>
                  <a:pt x="238520" y="1806919"/>
                </a:cubicBezTo>
                <a:close/>
                <a:moveTo>
                  <a:pt x="1542792" y="1806258"/>
                </a:moveTo>
                <a:cubicBezTo>
                  <a:pt x="1548738" y="1806258"/>
                  <a:pt x="1553530" y="1811048"/>
                  <a:pt x="1553530" y="1816995"/>
                </a:cubicBezTo>
                <a:cubicBezTo>
                  <a:pt x="1553530" y="1822941"/>
                  <a:pt x="1548738" y="1827733"/>
                  <a:pt x="1542792" y="1827733"/>
                </a:cubicBezTo>
                <a:cubicBezTo>
                  <a:pt x="1536845" y="1827733"/>
                  <a:pt x="1532055" y="1822941"/>
                  <a:pt x="1532055" y="1816995"/>
                </a:cubicBezTo>
                <a:cubicBezTo>
                  <a:pt x="1532055" y="1811048"/>
                  <a:pt x="1536845" y="1806258"/>
                  <a:pt x="1542792" y="1806258"/>
                </a:cubicBezTo>
                <a:close/>
                <a:moveTo>
                  <a:pt x="222333" y="1804276"/>
                </a:moveTo>
                <a:cubicBezTo>
                  <a:pt x="226986" y="1804276"/>
                  <a:pt x="230758" y="1808048"/>
                  <a:pt x="230758" y="1812701"/>
                </a:cubicBezTo>
                <a:cubicBezTo>
                  <a:pt x="230758" y="1817353"/>
                  <a:pt x="226986" y="1821125"/>
                  <a:pt x="222333" y="1821125"/>
                </a:cubicBezTo>
                <a:cubicBezTo>
                  <a:pt x="217680" y="1821125"/>
                  <a:pt x="213908" y="1817353"/>
                  <a:pt x="213908" y="1812701"/>
                </a:cubicBezTo>
                <a:cubicBezTo>
                  <a:pt x="213908" y="1808048"/>
                  <a:pt x="217680" y="1804276"/>
                  <a:pt x="222333" y="1804276"/>
                </a:cubicBezTo>
                <a:close/>
                <a:moveTo>
                  <a:pt x="375290" y="1801633"/>
                </a:moveTo>
                <a:cubicBezTo>
                  <a:pt x="381237" y="1801633"/>
                  <a:pt x="386028" y="1806423"/>
                  <a:pt x="386028" y="1812369"/>
                </a:cubicBezTo>
                <a:cubicBezTo>
                  <a:pt x="386028" y="1818316"/>
                  <a:pt x="381237" y="1823108"/>
                  <a:pt x="375290" y="1823108"/>
                </a:cubicBezTo>
                <a:cubicBezTo>
                  <a:pt x="369344" y="1823108"/>
                  <a:pt x="364554" y="1818316"/>
                  <a:pt x="364554" y="1812369"/>
                </a:cubicBezTo>
                <a:cubicBezTo>
                  <a:pt x="364554" y="1806423"/>
                  <a:pt x="369344" y="1801633"/>
                  <a:pt x="375290" y="1801633"/>
                </a:cubicBezTo>
                <a:close/>
                <a:moveTo>
                  <a:pt x="975725" y="1796843"/>
                </a:moveTo>
                <a:cubicBezTo>
                  <a:pt x="981671" y="1796843"/>
                  <a:pt x="986463" y="1801633"/>
                  <a:pt x="986463" y="1807580"/>
                </a:cubicBezTo>
                <a:cubicBezTo>
                  <a:pt x="986463" y="1813526"/>
                  <a:pt x="981671" y="1818318"/>
                  <a:pt x="975725" y="1818318"/>
                </a:cubicBezTo>
                <a:cubicBezTo>
                  <a:pt x="969778" y="1818318"/>
                  <a:pt x="964988" y="1813526"/>
                  <a:pt x="964988" y="1807580"/>
                </a:cubicBezTo>
                <a:cubicBezTo>
                  <a:pt x="964988" y="1801633"/>
                  <a:pt x="969778" y="1796843"/>
                  <a:pt x="975725" y="1796843"/>
                </a:cubicBezTo>
                <a:close/>
                <a:moveTo>
                  <a:pt x="328710" y="1790401"/>
                </a:moveTo>
                <a:cubicBezTo>
                  <a:pt x="334656" y="1790401"/>
                  <a:pt x="339446" y="1795191"/>
                  <a:pt x="339446" y="1801137"/>
                </a:cubicBezTo>
                <a:cubicBezTo>
                  <a:pt x="339446" y="1807084"/>
                  <a:pt x="334656" y="1811875"/>
                  <a:pt x="328710" y="1811875"/>
                </a:cubicBezTo>
                <a:cubicBezTo>
                  <a:pt x="322763" y="1811875"/>
                  <a:pt x="317974" y="1807084"/>
                  <a:pt x="317974" y="1801137"/>
                </a:cubicBezTo>
                <a:cubicBezTo>
                  <a:pt x="317974" y="1795191"/>
                  <a:pt x="322763" y="1790401"/>
                  <a:pt x="328710" y="1790401"/>
                </a:cubicBezTo>
                <a:close/>
                <a:moveTo>
                  <a:pt x="496699" y="1786272"/>
                </a:moveTo>
                <a:cubicBezTo>
                  <a:pt x="502645" y="1786272"/>
                  <a:pt x="507435" y="1791062"/>
                  <a:pt x="507435" y="1797008"/>
                </a:cubicBezTo>
                <a:cubicBezTo>
                  <a:pt x="507435" y="1802955"/>
                  <a:pt x="502645" y="1807746"/>
                  <a:pt x="496699" y="1807746"/>
                </a:cubicBezTo>
                <a:cubicBezTo>
                  <a:pt x="490752" y="1807746"/>
                  <a:pt x="485963" y="1802955"/>
                  <a:pt x="485963" y="1797008"/>
                </a:cubicBezTo>
                <a:cubicBezTo>
                  <a:pt x="485963" y="1791062"/>
                  <a:pt x="490752" y="1786272"/>
                  <a:pt x="496699" y="1786272"/>
                </a:cubicBezTo>
                <a:close/>
                <a:moveTo>
                  <a:pt x="688309" y="1782307"/>
                </a:moveTo>
                <a:cubicBezTo>
                  <a:pt x="694256" y="1782307"/>
                  <a:pt x="699046" y="1787097"/>
                  <a:pt x="699046" y="1793044"/>
                </a:cubicBezTo>
                <a:cubicBezTo>
                  <a:pt x="699046" y="1798990"/>
                  <a:pt x="694256" y="1803782"/>
                  <a:pt x="688309" y="1803782"/>
                </a:cubicBezTo>
                <a:cubicBezTo>
                  <a:pt x="682363" y="1803782"/>
                  <a:pt x="677573" y="1798990"/>
                  <a:pt x="677573" y="1793044"/>
                </a:cubicBezTo>
                <a:cubicBezTo>
                  <a:pt x="677573" y="1787097"/>
                  <a:pt x="682363" y="1782307"/>
                  <a:pt x="688309" y="1782307"/>
                </a:cubicBezTo>
                <a:close/>
                <a:moveTo>
                  <a:pt x="238687" y="1779168"/>
                </a:moveTo>
                <a:lnTo>
                  <a:pt x="247607" y="1788087"/>
                </a:lnTo>
                <a:lnTo>
                  <a:pt x="253883" y="1781811"/>
                </a:lnTo>
                <a:lnTo>
                  <a:pt x="260655" y="1788583"/>
                </a:lnTo>
                <a:lnTo>
                  <a:pt x="266602" y="1782637"/>
                </a:lnTo>
                <a:lnTo>
                  <a:pt x="273622" y="1789657"/>
                </a:lnTo>
                <a:lnTo>
                  <a:pt x="280146" y="1783133"/>
                </a:lnTo>
                <a:lnTo>
                  <a:pt x="290636" y="1793621"/>
                </a:lnTo>
                <a:lnTo>
                  <a:pt x="299142" y="1785115"/>
                </a:lnTo>
                <a:cubicBezTo>
                  <a:pt x="305089" y="1785115"/>
                  <a:pt x="309880" y="1789905"/>
                  <a:pt x="309880" y="1795851"/>
                </a:cubicBezTo>
                <a:cubicBezTo>
                  <a:pt x="309880" y="1801798"/>
                  <a:pt x="305089" y="1806589"/>
                  <a:pt x="299142" y="1806589"/>
                </a:cubicBezTo>
                <a:lnTo>
                  <a:pt x="288654" y="1796099"/>
                </a:lnTo>
                <a:lnTo>
                  <a:pt x="280146" y="1804605"/>
                </a:lnTo>
                <a:lnTo>
                  <a:pt x="273126" y="1797587"/>
                </a:lnTo>
                <a:lnTo>
                  <a:pt x="266602" y="1804109"/>
                </a:lnTo>
                <a:lnTo>
                  <a:pt x="259830" y="1797339"/>
                </a:lnTo>
                <a:lnTo>
                  <a:pt x="253883" y="1803286"/>
                </a:lnTo>
                <a:lnTo>
                  <a:pt x="244964" y="1794365"/>
                </a:lnTo>
                <a:lnTo>
                  <a:pt x="238687" y="1800643"/>
                </a:lnTo>
                <a:cubicBezTo>
                  <a:pt x="232740" y="1800643"/>
                  <a:pt x="227950" y="1795851"/>
                  <a:pt x="227950" y="1789905"/>
                </a:cubicBezTo>
                <a:cubicBezTo>
                  <a:pt x="227950" y="1783958"/>
                  <a:pt x="232740" y="1779168"/>
                  <a:pt x="238687" y="1779168"/>
                </a:cubicBezTo>
                <a:close/>
                <a:moveTo>
                  <a:pt x="1709955" y="1775039"/>
                </a:moveTo>
                <a:cubicBezTo>
                  <a:pt x="1715902" y="1775039"/>
                  <a:pt x="1720692" y="1779829"/>
                  <a:pt x="1720692" y="1785776"/>
                </a:cubicBezTo>
                <a:cubicBezTo>
                  <a:pt x="1720692" y="1791722"/>
                  <a:pt x="1715902" y="1796514"/>
                  <a:pt x="1709955" y="1796514"/>
                </a:cubicBezTo>
                <a:cubicBezTo>
                  <a:pt x="1704009" y="1796514"/>
                  <a:pt x="1699219" y="1791722"/>
                  <a:pt x="1699219" y="1785776"/>
                </a:cubicBezTo>
                <a:cubicBezTo>
                  <a:pt x="1699219" y="1779829"/>
                  <a:pt x="1704009" y="1775039"/>
                  <a:pt x="1709955" y="1775039"/>
                </a:cubicBezTo>
                <a:close/>
                <a:moveTo>
                  <a:pt x="414273" y="1766779"/>
                </a:moveTo>
                <a:cubicBezTo>
                  <a:pt x="420220" y="1766779"/>
                  <a:pt x="425009" y="1771569"/>
                  <a:pt x="425009" y="1777516"/>
                </a:cubicBezTo>
                <a:cubicBezTo>
                  <a:pt x="425009" y="1783462"/>
                  <a:pt x="420220" y="1788254"/>
                  <a:pt x="414273" y="1788254"/>
                </a:cubicBezTo>
                <a:cubicBezTo>
                  <a:pt x="408326" y="1788254"/>
                  <a:pt x="403537" y="1783462"/>
                  <a:pt x="403537" y="1777516"/>
                </a:cubicBezTo>
                <a:cubicBezTo>
                  <a:pt x="403537" y="1771569"/>
                  <a:pt x="408326" y="1766779"/>
                  <a:pt x="414273" y="1766779"/>
                </a:cubicBezTo>
                <a:close/>
                <a:moveTo>
                  <a:pt x="1089534" y="1761329"/>
                </a:moveTo>
                <a:cubicBezTo>
                  <a:pt x="1095481" y="1761329"/>
                  <a:pt x="1100272" y="1766119"/>
                  <a:pt x="1100272" y="1772065"/>
                </a:cubicBezTo>
                <a:cubicBezTo>
                  <a:pt x="1100272" y="1778012"/>
                  <a:pt x="1095481" y="1782802"/>
                  <a:pt x="1089534" y="1782802"/>
                </a:cubicBezTo>
                <a:cubicBezTo>
                  <a:pt x="1083588" y="1782802"/>
                  <a:pt x="1078798" y="1778012"/>
                  <a:pt x="1078798" y="1772065"/>
                </a:cubicBezTo>
                <a:cubicBezTo>
                  <a:pt x="1078798" y="1766119"/>
                  <a:pt x="1083588" y="1761329"/>
                  <a:pt x="1089534" y="1761329"/>
                </a:cubicBezTo>
                <a:close/>
                <a:moveTo>
                  <a:pt x="358772" y="1756373"/>
                </a:moveTo>
                <a:cubicBezTo>
                  <a:pt x="364719" y="1756373"/>
                  <a:pt x="369510" y="1761162"/>
                  <a:pt x="369510" y="1767109"/>
                </a:cubicBezTo>
                <a:cubicBezTo>
                  <a:pt x="369510" y="1773055"/>
                  <a:pt x="364719" y="1777847"/>
                  <a:pt x="358772" y="1777847"/>
                </a:cubicBezTo>
                <a:cubicBezTo>
                  <a:pt x="352826" y="1777847"/>
                  <a:pt x="348036" y="1773055"/>
                  <a:pt x="348036" y="1767109"/>
                </a:cubicBezTo>
                <a:cubicBezTo>
                  <a:pt x="348036" y="1761162"/>
                  <a:pt x="352826" y="1756373"/>
                  <a:pt x="358772" y="1756373"/>
                </a:cubicBezTo>
                <a:close/>
                <a:moveTo>
                  <a:pt x="322597" y="1752410"/>
                </a:moveTo>
                <a:cubicBezTo>
                  <a:pt x="328543" y="1752410"/>
                  <a:pt x="333335" y="1757200"/>
                  <a:pt x="333335" y="1763146"/>
                </a:cubicBezTo>
                <a:cubicBezTo>
                  <a:pt x="333335" y="1769093"/>
                  <a:pt x="328543" y="1773883"/>
                  <a:pt x="322597" y="1773883"/>
                </a:cubicBezTo>
                <a:cubicBezTo>
                  <a:pt x="316650" y="1773883"/>
                  <a:pt x="311861" y="1769093"/>
                  <a:pt x="311861" y="1763146"/>
                </a:cubicBezTo>
                <a:cubicBezTo>
                  <a:pt x="311861" y="1757200"/>
                  <a:pt x="316650" y="1752410"/>
                  <a:pt x="322597" y="1752410"/>
                </a:cubicBezTo>
                <a:close/>
                <a:moveTo>
                  <a:pt x="299307" y="1752244"/>
                </a:moveTo>
                <a:cubicBezTo>
                  <a:pt x="305253" y="1752244"/>
                  <a:pt x="310045" y="1757033"/>
                  <a:pt x="310045" y="1762980"/>
                </a:cubicBezTo>
                <a:cubicBezTo>
                  <a:pt x="310045" y="1768926"/>
                  <a:pt x="305253" y="1773718"/>
                  <a:pt x="299307" y="1773718"/>
                </a:cubicBezTo>
                <a:lnTo>
                  <a:pt x="292039" y="1766450"/>
                </a:lnTo>
                <a:lnTo>
                  <a:pt x="283285" y="1775204"/>
                </a:lnTo>
                <a:lnTo>
                  <a:pt x="277338" y="1769259"/>
                </a:lnTo>
                <a:lnTo>
                  <a:pt x="269905" y="1776692"/>
                </a:lnTo>
                <a:lnTo>
                  <a:pt x="262556" y="1769341"/>
                </a:lnTo>
                <a:lnTo>
                  <a:pt x="255205" y="1776692"/>
                </a:lnTo>
                <a:cubicBezTo>
                  <a:pt x="249258" y="1776692"/>
                  <a:pt x="244468" y="1771901"/>
                  <a:pt x="244468" y="1765954"/>
                </a:cubicBezTo>
                <a:cubicBezTo>
                  <a:pt x="244468" y="1760007"/>
                  <a:pt x="249258" y="1755218"/>
                  <a:pt x="255205" y="1755218"/>
                </a:cubicBezTo>
                <a:lnTo>
                  <a:pt x="262556" y="1762567"/>
                </a:lnTo>
                <a:lnTo>
                  <a:pt x="269905" y="1755218"/>
                </a:lnTo>
                <a:lnTo>
                  <a:pt x="275852" y="1761164"/>
                </a:lnTo>
                <a:lnTo>
                  <a:pt x="283285" y="1753731"/>
                </a:lnTo>
                <a:lnTo>
                  <a:pt x="290551" y="1760999"/>
                </a:lnTo>
                <a:close/>
                <a:moveTo>
                  <a:pt x="553686" y="1749765"/>
                </a:moveTo>
                <a:cubicBezTo>
                  <a:pt x="559632" y="1749765"/>
                  <a:pt x="564422" y="1754555"/>
                  <a:pt x="564422" y="1760502"/>
                </a:cubicBezTo>
                <a:cubicBezTo>
                  <a:pt x="564422" y="1766448"/>
                  <a:pt x="559632" y="1771240"/>
                  <a:pt x="553686" y="1771240"/>
                </a:cubicBezTo>
                <a:cubicBezTo>
                  <a:pt x="547740" y="1771240"/>
                  <a:pt x="542950" y="1766448"/>
                  <a:pt x="542950" y="1760502"/>
                </a:cubicBezTo>
                <a:cubicBezTo>
                  <a:pt x="542950" y="1754555"/>
                  <a:pt x="547740" y="1749765"/>
                  <a:pt x="553686" y="1749765"/>
                </a:cubicBezTo>
                <a:close/>
                <a:moveTo>
                  <a:pt x="1890168" y="1745636"/>
                </a:moveTo>
                <a:cubicBezTo>
                  <a:pt x="1896115" y="1745636"/>
                  <a:pt x="1900906" y="1750426"/>
                  <a:pt x="1900906" y="1756373"/>
                </a:cubicBezTo>
                <a:cubicBezTo>
                  <a:pt x="1900906" y="1762319"/>
                  <a:pt x="1896115" y="1767111"/>
                  <a:pt x="1890168" y="1767111"/>
                </a:cubicBezTo>
                <a:cubicBezTo>
                  <a:pt x="1884222" y="1767111"/>
                  <a:pt x="1879432" y="1762319"/>
                  <a:pt x="1879432" y="1756373"/>
                </a:cubicBezTo>
                <a:cubicBezTo>
                  <a:pt x="1879432" y="1750426"/>
                  <a:pt x="1884222" y="1745636"/>
                  <a:pt x="1890168" y="1745636"/>
                </a:cubicBezTo>
                <a:close/>
                <a:moveTo>
                  <a:pt x="769908" y="1745636"/>
                </a:moveTo>
                <a:cubicBezTo>
                  <a:pt x="775854" y="1745636"/>
                  <a:pt x="780644" y="1750426"/>
                  <a:pt x="780644" y="1756373"/>
                </a:cubicBezTo>
                <a:cubicBezTo>
                  <a:pt x="780644" y="1762319"/>
                  <a:pt x="775854" y="1767111"/>
                  <a:pt x="769908" y="1767111"/>
                </a:cubicBezTo>
                <a:cubicBezTo>
                  <a:pt x="763961" y="1767111"/>
                  <a:pt x="759172" y="1762319"/>
                  <a:pt x="759172" y="1756373"/>
                </a:cubicBezTo>
                <a:cubicBezTo>
                  <a:pt x="759172" y="1750426"/>
                  <a:pt x="763961" y="1745636"/>
                  <a:pt x="769908" y="1745636"/>
                </a:cubicBezTo>
                <a:close/>
                <a:moveTo>
                  <a:pt x="458046" y="1730606"/>
                </a:moveTo>
                <a:cubicBezTo>
                  <a:pt x="463992" y="1730606"/>
                  <a:pt x="468782" y="1735396"/>
                  <a:pt x="468782" y="1741342"/>
                </a:cubicBezTo>
                <a:cubicBezTo>
                  <a:pt x="468782" y="1747289"/>
                  <a:pt x="463992" y="1752079"/>
                  <a:pt x="458046" y="1752079"/>
                </a:cubicBezTo>
                <a:cubicBezTo>
                  <a:pt x="452099" y="1752079"/>
                  <a:pt x="447309" y="1747289"/>
                  <a:pt x="447309" y="1741342"/>
                </a:cubicBezTo>
                <a:cubicBezTo>
                  <a:pt x="447309" y="1735396"/>
                  <a:pt x="452099" y="1730606"/>
                  <a:pt x="458046" y="1730606"/>
                </a:cubicBezTo>
                <a:close/>
                <a:moveTo>
                  <a:pt x="1214082" y="1725650"/>
                </a:moveTo>
                <a:cubicBezTo>
                  <a:pt x="1220028" y="1725650"/>
                  <a:pt x="1224820" y="1730440"/>
                  <a:pt x="1224820" y="1736386"/>
                </a:cubicBezTo>
                <a:cubicBezTo>
                  <a:pt x="1224820" y="1742333"/>
                  <a:pt x="1220028" y="1747124"/>
                  <a:pt x="1214082" y="1747124"/>
                </a:cubicBezTo>
                <a:cubicBezTo>
                  <a:pt x="1208135" y="1747124"/>
                  <a:pt x="1203345" y="1742333"/>
                  <a:pt x="1203345" y="1736386"/>
                </a:cubicBezTo>
                <a:cubicBezTo>
                  <a:pt x="1203345" y="1730440"/>
                  <a:pt x="1208135" y="1725650"/>
                  <a:pt x="1214082" y="1725650"/>
                </a:cubicBezTo>
                <a:close/>
                <a:moveTo>
                  <a:pt x="301455" y="1723667"/>
                </a:moveTo>
                <a:cubicBezTo>
                  <a:pt x="307402" y="1723667"/>
                  <a:pt x="312192" y="1728457"/>
                  <a:pt x="312192" y="1734404"/>
                </a:cubicBezTo>
                <a:cubicBezTo>
                  <a:pt x="312192" y="1740350"/>
                  <a:pt x="307402" y="1745142"/>
                  <a:pt x="301455" y="1745142"/>
                </a:cubicBezTo>
                <a:lnTo>
                  <a:pt x="295922" y="1739608"/>
                </a:lnTo>
                <a:lnTo>
                  <a:pt x="286588" y="1748942"/>
                </a:lnTo>
                <a:lnTo>
                  <a:pt x="280312" y="1742664"/>
                </a:lnTo>
                <a:lnTo>
                  <a:pt x="271723" y="1751253"/>
                </a:lnTo>
                <a:lnTo>
                  <a:pt x="261812" y="1741342"/>
                </a:lnTo>
                <a:lnTo>
                  <a:pt x="253718" y="1749436"/>
                </a:lnTo>
                <a:cubicBezTo>
                  <a:pt x="248610" y="1749436"/>
                  <a:pt x="244468" y="1745295"/>
                  <a:pt x="244468" y="1740186"/>
                </a:cubicBezTo>
                <a:cubicBezTo>
                  <a:pt x="244468" y="1735077"/>
                  <a:pt x="248610" y="1730936"/>
                  <a:pt x="253718" y="1730936"/>
                </a:cubicBezTo>
                <a:lnTo>
                  <a:pt x="262141" y="1739360"/>
                </a:lnTo>
                <a:lnTo>
                  <a:pt x="271723" y="1729779"/>
                </a:lnTo>
                <a:lnTo>
                  <a:pt x="278001" y="1736055"/>
                </a:lnTo>
                <a:lnTo>
                  <a:pt x="286588" y="1727467"/>
                </a:lnTo>
                <a:lnTo>
                  <a:pt x="292122" y="1733001"/>
                </a:lnTo>
                <a:close/>
                <a:moveTo>
                  <a:pt x="392304" y="1721189"/>
                </a:moveTo>
                <a:cubicBezTo>
                  <a:pt x="398251" y="1721189"/>
                  <a:pt x="403041" y="1725979"/>
                  <a:pt x="403041" y="1731926"/>
                </a:cubicBezTo>
                <a:cubicBezTo>
                  <a:pt x="403041" y="1737872"/>
                  <a:pt x="398251" y="1742662"/>
                  <a:pt x="392304" y="1742662"/>
                </a:cubicBezTo>
                <a:cubicBezTo>
                  <a:pt x="386358" y="1742662"/>
                  <a:pt x="381568" y="1737872"/>
                  <a:pt x="381568" y="1731926"/>
                </a:cubicBezTo>
                <a:cubicBezTo>
                  <a:pt x="381568" y="1725979"/>
                  <a:pt x="386358" y="1721189"/>
                  <a:pt x="392304" y="1721189"/>
                </a:cubicBezTo>
                <a:close/>
                <a:moveTo>
                  <a:pt x="320450" y="1720034"/>
                </a:moveTo>
                <a:cubicBezTo>
                  <a:pt x="326397" y="1720034"/>
                  <a:pt x="331186" y="1724824"/>
                  <a:pt x="331186" y="1730771"/>
                </a:cubicBezTo>
                <a:cubicBezTo>
                  <a:pt x="331186" y="1736717"/>
                  <a:pt x="326397" y="1741507"/>
                  <a:pt x="320450" y="1741507"/>
                </a:cubicBezTo>
                <a:cubicBezTo>
                  <a:pt x="314503" y="1741507"/>
                  <a:pt x="309714" y="1736717"/>
                  <a:pt x="309714" y="1730771"/>
                </a:cubicBezTo>
                <a:cubicBezTo>
                  <a:pt x="309714" y="1724824"/>
                  <a:pt x="314503" y="1720034"/>
                  <a:pt x="320450" y="1720034"/>
                </a:cubicBezTo>
                <a:close/>
                <a:moveTo>
                  <a:pt x="2082935" y="1719043"/>
                </a:moveTo>
                <a:cubicBezTo>
                  <a:pt x="2088882" y="1719043"/>
                  <a:pt x="2093674" y="1723832"/>
                  <a:pt x="2093674" y="1729779"/>
                </a:cubicBezTo>
                <a:cubicBezTo>
                  <a:pt x="2093674" y="1735725"/>
                  <a:pt x="2088882" y="1740517"/>
                  <a:pt x="2082935" y="1740517"/>
                </a:cubicBezTo>
                <a:cubicBezTo>
                  <a:pt x="2076989" y="1740517"/>
                  <a:pt x="2072199" y="1735725"/>
                  <a:pt x="2072199" y="1729779"/>
                </a:cubicBezTo>
                <a:cubicBezTo>
                  <a:pt x="2072199" y="1723832"/>
                  <a:pt x="2076989" y="1719043"/>
                  <a:pt x="2082935" y="1719043"/>
                </a:cubicBezTo>
                <a:close/>
                <a:moveTo>
                  <a:pt x="348861" y="1718547"/>
                </a:moveTo>
                <a:cubicBezTo>
                  <a:pt x="354808" y="1718547"/>
                  <a:pt x="359599" y="1723336"/>
                  <a:pt x="359599" y="1729283"/>
                </a:cubicBezTo>
                <a:cubicBezTo>
                  <a:pt x="359599" y="1735229"/>
                  <a:pt x="354808" y="1740021"/>
                  <a:pt x="348861" y="1740021"/>
                </a:cubicBezTo>
                <a:cubicBezTo>
                  <a:pt x="342915" y="1740021"/>
                  <a:pt x="338125" y="1735229"/>
                  <a:pt x="338125" y="1729283"/>
                </a:cubicBezTo>
                <a:cubicBezTo>
                  <a:pt x="338125" y="1723336"/>
                  <a:pt x="342915" y="1718547"/>
                  <a:pt x="348861" y="1718547"/>
                </a:cubicBezTo>
                <a:close/>
                <a:moveTo>
                  <a:pt x="617282" y="1712435"/>
                </a:moveTo>
                <a:cubicBezTo>
                  <a:pt x="623213" y="1712435"/>
                  <a:pt x="628020" y="1717242"/>
                  <a:pt x="628020" y="1723172"/>
                </a:cubicBezTo>
                <a:cubicBezTo>
                  <a:pt x="628020" y="1729103"/>
                  <a:pt x="623213" y="1733908"/>
                  <a:pt x="617282" y="1733908"/>
                </a:cubicBezTo>
                <a:cubicBezTo>
                  <a:pt x="611353" y="1733908"/>
                  <a:pt x="606546" y="1729103"/>
                  <a:pt x="606546" y="1723172"/>
                </a:cubicBezTo>
                <a:cubicBezTo>
                  <a:pt x="606546" y="1717242"/>
                  <a:pt x="611353" y="1712435"/>
                  <a:pt x="617282" y="1712435"/>
                </a:cubicBezTo>
                <a:close/>
                <a:moveTo>
                  <a:pt x="860098" y="1708141"/>
                </a:moveTo>
                <a:cubicBezTo>
                  <a:pt x="866044" y="1708141"/>
                  <a:pt x="870836" y="1712931"/>
                  <a:pt x="870836" y="1718878"/>
                </a:cubicBezTo>
                <a:cubicBezTo>
                  <a:pt x="870836" y="1724824"/>
                  <a:pt x="866044" y="1729614"/>
                  <a:pt x="860098" y="1729614"/>
                </a:cubicBezTo>
                <a:cubicBezTo>
                  <a:pt x="854151" y="1729614"/>
                  <a:pt x="849361" y="1724824"/>
                  <a:pt x="849361" y="1718878"/>
                </a:cubicBezTo>
                <a:cubicBezTo>
                  <a:pt x="849361" y="1712931"/>
                  <a:pt x="854151" y="1708141"/>
                  <a:pt x="860098" y="1708141"/>
                </a:cubicBezTo>
                <a:close/>
                <a:moveTo>
                  <a:pt x="304098" y="1698230"/>
                </a:moveTo>
                <a:cubicBezTo>
                  <a:pt x="310045" y="1698230"/>
                  <a:pt x="314835" y="1703020"/>
                  <a:pt x="314835" y="1708967"/>
                </a:cubicBezTo>
                <a:cubicBezTo>
                  <a:pt x="314835" y="1714913"/>
                  <a:pt x="310045" y="1719703"/>
                  <a:pt x="304098" y="1719703"/>
                </a:cubicBezTo>
                <a:lnTo>
                  <a:pt x="298811" y="1714417"/>
                </a:lnTo>
                <a:lnTo>
                  <a:pt x="288735" y="1724495"/>
                </a:lnTo>
                <a:lnTo>
                  <a:pt x="281302" y="1717060"/>
                </a:lnTo>
                <a:lnTo>
                  <a:pt x="271392" y="1726971"/>
                </a:lnTo>
                <a:cubicBezTo>
                  <a:pt x="265445" y="1726971"/>
                  <a:pt x="260655" y="1722180"/>
                  <a:pt x="260655" y="1716233"/>
                </a:cubicBezTo>
                <a:cubicBezTo>
                  <a:pt x="260655" y="1710287"/>
                  <a:pt x="265445" y="1705497"/>
                  <a:pt x="271392" y="1705497"/>
                </a:cubicBezTo>
                <a:lnTo>
                  <a:pt x="278826" y="1712929"/>
                </a:lnTo>
                <a:lnTo>
                  <a:pt x="288735" y="1703020"/>
                </a:lnTo>
                <a:lnTo>
                  <a:pt x="294021" y="1708308"/>
                </a:lnTo>
                <a:close/>
                <a:moveTo>
                  <a:pt x="2287594" y="1696248"/>
                </a:moveTo>
                <a:cubicBezTo>
                  <a:pt x="2293540" y="1696248"/>
                  <a:pt x="2298332" y="1701038"/>
                  <a:pt x="2298332" y="1706985"/>
                </a:cubicBezTo>
                <a:cubicBezTo>
                  <a:pt x="2298332" y="1712931"/>
                  <a:pt x="2293540" y="1717723"/>
                  <a:pt x="2287594" y="1717723"/>
                </a:cubicBezTo>
                <a:cubicBezTo>
                  <a:pt x="2281647" y="1717723"/>
                  <a:pt x="2276857" y="1712931"/>
                  <a:pt x="2276857" y="1706985"/>
                </a:cubicBezTo>
                <a:cubicBezTo>
                  <a:pt x="2276857" y="1701038"/>
                  <a:pt x="2281647" y="1696248"/>
                  <a:pt x="2287594" y="1696248"/>
                </a:cubicBezTo>
                <a:close/>
                <a:moveTo>
                  <a:pt x="507106" y="1693274"/>
                </a:moveTo>
                <a:cubicBezTo>
                  <a:pt x="513052" y="1693274"/>
                  <a:pt x="517844" y="1698064"/>
                  <a:pt x="517844" y="1704010"/>
                </a:cubicBezTo>
                <a:cubicBezTo>
                  <a:pt x="517844" y="1709957"/>
                  <a:pt x="513052" y="1714749"/>
                  <a:pt x="507106" y="1714749"/>
                </a:cubicBezTo>
                <a:cubicBezTo>
                  <a:pt x="501159" y="1714749"/>
                  <a:pt x="496369" y="1709957"/>
                  <a:pt x="496369" y="1704010"/>
                </a:cubicBezTo>
                <a:cubicBezTo>
                  <a:pt x="496369" y="1698064"/>
                  <a:pt x="501159" y="1693274"/>
                  <a:pt x="507106" y="1693274"/>
                </a:cubicBezTo>
                <a:close/>
                <a:moveTo>
                  <a:pt x="321111" y="1692118"/>
                </a:moveTo>
                <a:cubicBezTo>
                  <a:pt x="327057" y="1692118"/>
                  <a:pt x="331847" y="1696907"/>
                  <a:pt x="331847" y="1702854"/>
                </a:cubicBezTo>
                <a:cubicBezTo>
                  <a:pt x="331847" y="1708800"/>
                  <a:pt x="327057" y="1713592"/>
                  <a:pt x="321111" y="1713592"/>
                </a:cubicBezTo>
                <a:cubicBezTo>
                  <a:pt x="315164" y="1713592"/>
                  <a:pt x="310374" y="1708800"/>
                  <a:pt x="310374" y="1702854"/>
                </a:cubicBezTo>
                <a:cubicBezTo>
                  <a:pt x="310374" y="1696907"/>
                  <a:pt x="315164" y="1692118"/>
                  <a:pt x="321111" y="1692118"/>
                </a:cubicBezTo>
                <a:close/>
                <a:moveTo>
                  <a:pt x="267923" y="1692118"/>
                </a:moveTo>
                <a:cubicBezTo>
                  <a:pt x="268107" y="1692118"/>
                  <a:pt x="268254" y="1692265"/>
                  <a:pt x="268254" y="1692447"/>
                </a:cubicBezTo>
                <a:cubicBezTo>
                  <a:pt x="268254" y="1692631"/>
                  <a:pt x="268107" y="1692778"/>
                  <a:pt x="267923" y="1692778"/>
                </a:cubicBezTo>
                <a:cubicBezTo>
                  <a:pt x="267741" y="1692778"/>
                  <a:pt x="267594" y="1692631"/>
                  <a:pt x="267594" y="1692447"/>
                </a:cubicBezTo>
                <a:cubicBezTo>
                  <a:pt x="267594" y="1692265"/>
                  <a:pt x="267741" y="1692118"/>
                  <a:pt x="267923" y="1692118"/>
                </a:cubicBezTo>
                <a:close/>
                <a:moveTo>
                  <a:pt x="1349860" y="1689970"/>
                </a:moveTo>
                <a:cubicBezTo>
                  <a:pt x="1355806" y="1689970"/>
                  <a:pt x="1360598" y="1694760"/>
                  <a:pt x="1360598" y="1700707"/>
                </a:cubicBezTo>
                <a:cubicBezTo>
                  <a:pt x="1360598" y="1706653"/>
                  <a:pt x="1355806" y="1711443"/>
                  <a:pt x="1349860" y="1711443"/>
                </a:cubicBezTo>
                <a:cubicBezTo>
                  <a:pt x="1343913" y="1711443"/>
                  <a:pt x="1339124" y="1706653"/>
                  <a:pt x="1339124" y="1700707"/>
                </a:cubicBezTo>
                <a:cubicBezTo>
                  <a:pt x="1339124" y="1694760"/>
                  <a:pt x="1343913" y="1689970"/>
                  <a:pt x="1349860" y="1689970"/>
                </a:cubicBezTo>
                <a:close/>
                <a:moveTo>
                  <a:pt x="3392328" y="1687659"/>
                </a:moveTo>
                <a:cubicBezTo>
                  <a:pt x="3398274" y="1687659"/>
                  <a:pt x="3403066" y="1692449"/>
                  <a:pt x="3403066" y="1698395"/>
                </a:cubicBezTo>
                <a:cubicBezTo>
                  <a:pt x="3403066" y="1704342"/>
                  <a:pt x="3398274" y="1709132"/>
                  <a:pt x="3392328" y="1709132"/>
                </a:cubicBezTo>
                <a:cubicBezTo>
                  <a:pt x="3386382" y="1709132"/>
                  <a:pt x="3381592" y="1704342"/>
                  <a:pt x="3381592" y="1698395"/>
                </a:cubicBezTo>
                <a:cubicBezTo>
                  <a:pt x="3381592" y="1692449"/>
                  <a:pt x="3386382" y="1687659"/>
                  <a:pt x="3392328" y="1687659"/>
                </a:cubicBezTo>
                <a:close/>
                <a:moveTo>
                  <a:pt x="343907" y="1686502"/>
                </a:moveTo>
                <a:cubicBezTo>
                  <a:pt x="349853" y="1686502"/>
                  <a:pt x="354643" y="1691292"/>
                  <a:pt x="354643" y="1697239"/>
                </a:cubicBezTo>
                <a:cubicBezTo>
                  <a:pt x="354643" y="1703185"/>
                  <a:pt x="349853" y="1707977"/>
                  <a:pt x="343907" y="1707977"/>
                </a:cubicBezTo>
                <a:cubicBezTo>
                  <a:pt x="337960" y="1707977"/>
                  <a:pt x="333170" y="1703185"/>
                  <a:pt x="333170" y="1697239"/>
                </a:cubicBezTo>
                <a:cubicBezTo>
                  <a:pt x="333170" y="1691292"/>
                  <a:pt x="337960" y="1686502"/>
                  <a:pt x="343907" y="1686502"/>
                </a:cubicBezTo>
                <a:close/>
                <a:moveTo>
                  <a:pt x="430295" y="1684520"/>
                </a:moveTo>
                <a:cubicBezTo>
                  <a:pt x="436242" y="1684520"/>
                  <a:pt x="441033" y="1689310"/>
                  <a:pt x="441033" y="1695256"/>
                </a:cubicBezTo>
                <a:cubicBezTo>
                  <a:pt x="441033" y="1701203"/>
                  <a:pt x="436242" y="1705993"/>
                  <a:pt x="430295" y="1705993"/>
                </a:cubicBezTo>
                <a:cubicBezTo>
                  <a:pt x="424349" y="1705993"/>
                  <a:pt x="419559" y="1701203"/>
                  <a:pt x="419559" y="1695256"/>
                </a:cubicBezTo>
                <a:cubicBezTo>
                  <a:pt x="419559" y="1689310"/>
                  <a:pt x="424349" y="1684520"/>
                  <a:pt x="430295" y="1684520"/>
                </a:cubicBezTo>
                <a:close/>
                <a:moveTo>
                  <a:pt x="378264" y="1683199"/>
                </a:moveTo>
                <a:cubicBezTo>
                  <a:pt x="384211" y="1683199"/>
                  <a:pt x="389001" y="1687988"/>
                  <a:pt x="389001" y="1693935"/>
                </a:cubicBezTo>
                <a:cubicBezTo>
                  <a:pt x="389001" y="1699881"/>
                  <a:pt x="384211" y="1704673"/>
                  <a:pt x="378264" y="1704673"/>
                </a:cubicBezTo>
                <a:cubicBezTo>
                  <a:pt x="372318" y="1704673"/>
                  <a:pt x="367528" y="1699881"/>
                  <a:pt x="367528" y="1693935"/>
                </a:cubicBezTo>
                <a:cubicBezTo>
                  <a:pt x="367528" y="1687988"/>
                  <a:pt x="372318" y="1683199"/>
                  <a:pt x="378264" y="1683199"/>
                </a:cubicBezTo>
                <a:close/>
                <a:moveTo>
                  <a:pt x="289231" y="1680060"/>
                </a:moveTo>
                <a:cubicBezTo>
                  <a:pt x="295178" y="1680060"/>
                  <a:pt x="299968" y="1684850"/>
                  <a:pt x="299968" y="1690796"/>
                </a:cubicBezTo>
                <a:cubicBezTo>
                  <a:pt x="299968" y="1696743"/>
                  <a:pt x="295178" y="1701534"/>
                  <a:pt x="289231" y="1701534"/>
                </a:cubicBezTo>
                <a:cubicBezTo>
                  <a:pt x="283285" y="1701534"/>
                  <a:pt x="278495" y="1696743"/>
                  <a:pt x="278495" y="1690796"/>
                </a:cubicBezTo>
                <a:cubicBezTo>
                  <a:pt x="278495" y="1684850"/>
                  <a:pt x="283285" y="1680060"/>
                  <a:pt x="289231" y="1680060"/>
                </a:cubicBezTo>
                <a:close/>
                <a:moveTo>
                  <a:pt x="2502330" y="1679234"/>
                </a:moveTo>
                <a:cubicBezTo>
                  <a:pt x="2508276" y="1679234"/>
                  <a:pt x="2513068" y="1684024"/>
                  <a:pt x="2513068" y="1689970"/>
                </a:cubicBezTo>
                <a:cubicBezTo>
                  <a:pt x="2513068" y="1695917"/>
                  <a:pt x="2508276" y="1700707"/>
                  <a:pt x="2502330" y="1700707"/>
                </a:cubicBezTo>
                <a:cubicBezTo>
                  <a:pt x="2496383" y="1700707"/>
                  <a:pt x="2491593" y="1695917"/>
                  <a:pt x="2491593" y="1689970"/>
                </a:cubicBezTo>
                <a:cubicBezTo>
                  <a:pt x="2491593" y="1684024"/>
                  <a:pt x="2496383" y="1679234"/>
                  <a:pt x="2502330" y="1679234"/>
                </a:cubicBezTo>
                <a:close/>
                <a:moveTo>
                  <a:pt x="306410" y="1675105"/>
                </a:moveTo>
                <a:cubicBezTo>
                  <a:pt x="312357" y="1675105"/>
                  <a:pt x="317148" y="1679895"/>
                  <a:pt x="317148" y="1685841"/>
                </a:cubicBezTo>
                <a:cubicBezTo>
                  <a:pt x="317148" y="1691788"/>
                  <a:pt x="312357" y="1696578"/>
                  <a:pt x="306410" y="1696578"/>
                </a:cubicBezTo>
                <a:cubicBezTo>
                  <a:pt x="300464" y="1696578"/>
                  <a:pt x="295674" y="1691788"/>
                  <a:pt x="295674" y="1685841"/>
                </a:cubicBezTo>
                <a:cubicBezTo>
                  <a:pt x="295674" y="1679895"/>
                  <a:pt x="300464" y="1675105"/>
                  <a:pt x="306410" y="1675105"/>
                </a:cubicBezTo>
                <a:close/>
                <a:moveTo>
                  <a:pt x="687980" y="1674113"/>
                </a:moveTo>
                <a:cubicBezTo>
                  <a:pt x="693926" y="1674113"/>
                  <a:pt x="698716" y="1678903"/>
                  <a:pt x="698716" y="1684850"/>
                </a:cubicBezTo>
                <a:cubicBezTo>
                  <a:pt x="698716" y="1690796"/>
                  <a:pt x="693926" y="1695588"/>
                  <a:pt x="687980" y="1695588"/>
                </a:cubicBezTo>
                <a:cubicBezTo>
                  <a:pt x="682033" y="1695588"/>
                  <a:pt x="677243" y="1690796"/>
                  <a:pt x="677243" y="1684850"/>
                </a:cubicBezTo>
                <a:cubicBezTo>
                  <a:pt x="677243" y="1678903"/>
                  <a:pt x="682033" y="1674113"/>
                  <a:pt x="687980" y="1674113"/>
                </a:cubicBezTo>
                <a:close/>
                <a:moveTo>
                  <a:pt x="3173793" y="1673617"/>
                </a:moveTo>
                <a:cubicBezTo>
                  <a:pt x="3179739" y="1673617"/>
                  <a:pt x="3184529" y="1678407"/>
                  <a:pt x="3184529" y="1684353"/>
                </a:cubicBezTo>
                <a:cubicBezTo>
                  <a:pt x="3184529" y="1690300"/>
                  <a:pt x="3179739" y="1695092"/>
                  <a:pt x="3173793" y="1695092"/>
                </a:cubicBezTo>
                <a:cubicBezTo>
                  <a:pt x="3167846" y="1695092"/>
                  <a:pt x="3163056" y="1690300"/>
                  <a:pt x="3163056" y="1684353"/>
                </a:cubicBezTo>
                <a:cubicBezTo>
                  <a:pt x="3163056" y="1678407"/>
                  <a:pt x="3167846" y="1673617"/>
                  <a:pt x="3173793" y="1673617"/>
                </a:cubicBezTo>
                <a:close/>
                <a:moveTo>
                  <a:pt x="959371" y="1670149"/>
                </a:moveTo>
                <a:cubicBezTo>
                  <a:pt x="965318" y="1670149"/>
                  <a:pt x="970108" y="1674939"/>
                  <a:pt x="970108" y="1680885"/>
                </a:cubicBezTo>
                <a:cubicBezTo>
                  <a:pt x="970108" y="1686832"/>
                  <a:pt x="965318" y="1691623"/>
                  <a:pt x="959371" y="1691623"/>
                </a:cubicBezTo>
                <a:cubicBezTo>
                  <a:pt x="953425" y="1691623"/>
                  <a:pt x="948635" y="1686832"/>
                  <a:pt x="948635" y="1680885"/>
                </a:cubicBezTo>
                <a:cubicBezTo>
                  <a:pt x="948635" y="1674939"/>
                  <a:pt x="953425" y="1670149"/>
                  <a:pt x="959371" y="1670149"/>
                </a:cubicBezTo>
                <a:close/>
                <a:moveTo>
                  <a:pt x="2724333" y="1669159"/>
                </a:moveTo>
                <a:cubicBezTo>
                  <a:pt x="2730280" y="1669159"/>
                  <a:pt x="2735071" y="1673948"/>
                  <a:pt x="2735071" y="1679895"/>
                </a:cubicBezTo>
                <a:cubicBezTo>
                  <a:pt x="2735071" y="1685841"/>
                  <a:pt x="2730280" y="1690631"/>
                  <a:pt x="2724333" y="1690631"/>
                </a:cubicBezTo>
                <a:cubicBezTo>
                  <a:pt x="2718386" y="1690631"/>
                  <a:pt x="2713597" y="1685841"/>
                  <a:pt x="2713597" y="1679895"/>
                </a:cubicBezTo>
                <a:cubicBezTo>
                  <a:pt x="2713597" y="1673948"/>
                  <a:pt x="2718386" y="1669159"/>
                  <a:pt x="2724333" y="1669159"/>
                </a:cubicBezTo>
                <a:close/>
                <a:moveTo>
                  <a:pt x="322928" y="1667671"/>
                </a:moveTo>
                <a:cubicBezTo>
                  <a:pt x="328875" y="1667671"/>
                  <a:pt x="333666" y="1672461"/>
                  <a:pt x="333666" y="1678407"/>
                </a:cubicBezTo>
                <a:cubicBezTo>
                  <a:pt x="333666" y="1684353"/>
                  <a:pt x="328875" y="1689145"/>
                  <a:pt x="322928" y="1689145"/>
                </a:cubicBezTo>
                <a:cubicBezTo>
                  <a:pt x="316982" y="1689145"/>
                  <a:pt x="312192" y="1684353"/>
                  <a:pt x="312192" y="1678407"/>
                </a:cubicBezTo>
                <a:cubicBezTo>
                  <a:pt x="312192" y="1672461"/>
                  <a:pt x="316982" y="1667671"/>
                  <a:pt x="322928" y="1667671"/>
                </a:cubicBezTo>
                <a:close/>
                <a:moveTo>
                  <a:pt x="2949640" y="1667175"/>
                </a:moveTo>
                <a:cubicBezTo>
                  <a:pt x="2955587" y="1667175"/>
                  <a:pt x="2960378" y="1671965"/>
                  <a:pt x="2960378" y="1677911"/>
                </a:cubicBezTo>
                <a:cubicBezTo>
                  <a:pt x="2960378" y="1683858"/>
                  <a:pt x="2955587" y="1688649"/>
                  <a:pt x="2949640" y="1688649"/>
                </a:cubicBezTo>
                <a:cubicBezTo>
                  <a:pt x="2943694" y="1688649"/>
                  <a:pt x="2938904" y="1683858"/>
                  <a:pt x="2938904" y="1677911"/>
                </a:cubicBezTo>
                <a:cubicBezTo>
                  <a:pt x="2938904" y="1671965"/>
                  <a:pt x="2943694" y="1667175"/>
                  <a:pt x="2949640" y="1667175"/>
                </a:cubicBezTo>
                <a:close/>
                <a:moveTo>
                  <a:pt x="342585" y="1659248"/>
                </a:moveTo>
                <a:cubicBezTo>
                  <a:pt x="348532" y="1659248"/>
                  <a:pt x="353322" y="1664038"/>
                  <a:pt x="353322" y="1669984"/>
                </a:cubicBezTo>
                <a:cubicBezTo>
                  <a:pt x="353322" y="1675930"/>
                  <a:pt x="348532" y="1680720"/>
                  <a:pt x="342585" y="1680720"/>
                </a:cubicBezTo>
                <a:cubicBezTo>
                  <a:pt x="336639" y="1680720"/>
                  <a:pt x="331849" y="1675930"/>
                  <a:pt x="331849" y="1669984"/>
                </a:cubicBezTo>
                <a:cubicBezTo>
                  <a:pt x="331849" y="1664038"/>
                  <a:pt x="336639" y="1659248"/>
                  <a:pt x="342585" y="1659248"/>
                </a:cubicBezTo>
                <a:close/>
                <a:moveTo>
                  <a:pt x="286920" y="1658587"/>
                </a:moveTo>
                <a:cubicBezTo>
                  <a:pt x="292370" y="1658587"/>
                  <a:pt x="296664" y="1662883"/>
                  <a:pt x="296664" y="1668333"/>
                </a:cubicBezTo>
                <a:cubicBezTo>
                  <a:pt x="296664" y="1673784"/>
                  <a:pt x="292205" y="1678079"/>
                  <a:pt x="286920" y="1678079"/>
                </a:cubicBezTo>
                <a:cubicBezTo>
                  <a:pt x="281469" y="1678079"/>
                  <a:pt x="277173" y="1673784"/>
                  <a:pt x="277173" y="1668333"/>
                </a:cubicBezTo>
                <a:cubicBezTo>
                  <a:pt x="277173" y="1662883"/>
                  <a:pt x="281469" y="1658587"/>
                  <a:pt x="286920" y="1658587"/>
                </a:cubicBezTo>
                <a:close/>
                <a:moveTo>
                  <a:pt x="1497533" y="1654787"/>
                </a:moveTo>
                <a:cubicBezTo>
                  <a:pt x="1503479" y="1654787"/>
                  <a:pt x="1508269" y="1659577"/>
                  <a:pt x="1508269" y="1665524"/>
                </a:cubicBezTo>
                <a:cubicBezTo>
                  <a:pt x="1508269" y="1671470"/>
                  <a:pt x="1503479" y="1676262"/>
                  <a:pt x="1497533" y="1676262"/>
                </a:cubicBezTo>
                <a:cubicBezTo>
                  <a:pt x="1491586" y="1676262"/>
                  <a:pt x="1486796" y="1671470"/>
                  <a:pt x="1486796" y="1665524"/>
                </a:cubicBezTo>
                <a:cubicBezTo>
                  <a:pt x="1486796" y="1659577"/>
                  <a:pt x="1491586" y="1654787"/>
                  <a:pt x="1497533" y="1654787"/>
                </a:cubicBezTo>
                <a:close/>
                <a:moveTo>
                  <a:pt x="562111" y="1654787"/>
                </a:moveTo>
                <a:cubicBezTo>
                  <a:pt x="568057" y="1654787"/>
                  <a:pt x="572847" y="1659577"/>
                  <a:pt x="572847" y="1665524"/>
                </a:cubicBezTo>
                <a:cubicBezTo>
                  <a:pt x="572847" y="1671470"/>
                  <a:pt x="568057" y="1676262"/>
                  <a:pt x="562111" y="1676262"/>
                </a:cubicBezTo>
                <a:cubicBezTo>
                  <a:pt x="556164" y="1676262"/>
                  <a:pt x="551374" y="1671470"/>
                  <a:pt x="551374" y="1665524"/>
                </a:cubicBezTo>
                <a:cubicBezTo>
                  <a:pt x="551374" y="1659577"/>
                  <a:pt x="556164" y="1654787"/>
                  <a:pt x="562111" y="1654787"/>
                </a:cubicBezTo>
                <a:close/>
                <a:moveTo>
                  <a:pt x="307236" y="1653301"/>
                </a:moveTo>
                <a:cubicBezTo>
                  <a:pt x="313182" y="1653301"/>
                  <a:pt x="317972" y="1658091"/>
                  <a:pt x="317972" y="1664038"/>
                </a:cubicBezTo>
                <a:cubicBezTo>
                  <a:pt x="317972" y="1669984"/>
                  <a:pt x="313182" y="1674774"/>
                  <a:pt x="307236" y="1674774"/>
                </a:cubicBezTo>
                <a:cubicBezTo>
                  <a:pt x="301289" y="1674774"/>
                  <a:pt x="296499" y="1669984"/>
                  <a:pt x="296499" y="1664038"/>
                </a:cubicBezTo>
                <a:cubicBezTo>
                  <a:pt x="296499" y="1658091"/>
                  <a:pt x="301289" y="1653301"/>
                  <a:pt x="307236" y="1653301"/>
                </a:cubicBezTo>
                <a:close/>
                <a:moveTo>
                  <a:pt x="370171" y="1651484"/>
                </a:moveTo>
                <a:cubicBezTo>
                  <a:pt x="376117" y="1651484"/>
                  <a:pt x="380907" y="1656274"/>
                  <a:pt x="380907" y="1662220"/>
                </a:cubicBezTo>
                <a:cubicBezTo>
                  <a:pt x="380907" y="1668167"/>
                  <a:pt x="376117" y="1672956"/>
                  <a:pt x="370171" y="1672956"/>
                </a:cubicBezTo>
                <a:cubicBezTo>
                  <a:pt x="364224" y="1672956"/>
                  <a:pt x="359435" y="1668167"/>
                  <a:pt x="359435" y="1662220"/>
                </a:cubicBezTo>
                <a:cubicBezTo>
                  <a:pt x="359435" y="1656274"/>
                  <a:pt x="364224" y="1651484"/>
                  <a:pt x="370171" y="1651484"/>
                </a:cubicBezTo>
                <a:close/>
                <a:moveTo>
                  <a:pt x="472748" y="1646694"/>
                </a:moveTo>
                <a:cubicBezTo>
                  <a:pt x="478695" y="1646694"/>
                  <a:pt x="483486" y="1651484"/>
                  <a:pt x="483486" y="1657430"/>
                </a:cubicBezTo>
                <a:cubicBezTo>
                  <a:pt x="483486" y="1663377"/>
                  <a:pt x="478695" y="1668168"/>
                  <a:pt x="472748" y="1668168"/>
                </a:cubicBezTo>
                <a:cubicBezTo>
                  <a:pt x="466802" y="1668168"/>
                  <a:pt x="462012" y="1663377"/>
                  <a:pt x="462012" y="1657430"/>
                </a:cubicBezTo>
                <a:cubicBezTo>
                  <a:pt x="462012" y="1651484"/>
                  <a:pt x="466802" y="1646694"/>
                  <a:pt x="472748" y="1646694"/>
                </a:cubicBezTo>
                <a:close/>
                <a:moveTo>
                  <a:pt x="411301" y="1646527"/>
                </a:moveTo>
                <a:cubicBezTo>
                  <a:pt x="417247" y="1646527"/>
                  <a:pt x="422037" y="1651317"/>
                  <a:pt x="422037" y="1657264"/>
                </a:cubicBezTo>
                <a:cubicBezTo>
                  <a:pt x="422037" y="1663210"/>
                  <a:pt x="417247" y="1668002"/>
                  <a:pt x="411301" y="1668002"/>
                </a:cubicBezTo>
                <a:cubicBezTo>
                  <a:pt x="405354" y="1668002"/>
                  <a:pt x="400564" y="1663210"/>
                  <a:pt x="400564" y="1657264"/>
                </a:cubicBezTo>
                <a:cubicBezTo>
                  <a:pt x="400564" y="1651317"/>
                  <a:pt x="405354" y="1646527"/>
                  <a:pt x="411301" y="1646527"/>
                </a:cubicBezTo>
                <a:close/>
                <a:moveTo>
                  <a:pt x="343081" y="1635626"/>
                </a:moveTo>
                <a:cubicBezTo>
                  <a:pt x="349028" y="1635626"/>
                  <a:pt x="353818" y="1640416"/>
                  <a:pt x="353818" y="1646363"/>
                </a:cubicBezTo>
                <a:cubicBezTo>
                  <a:pt x="353818" y="1652309"/>
                  <a:pt x="349028" y="1657099"/>
                  <a:pt x="343081" y="1657099"/>
                </a:cubicBezTo>
                <a:cubicBezTo>
                  <a:pt x="337135" y="1657099"/>
                  <a:pt x="332345" y="1652309"/>
                  <a:pt x="332345" y="1646363"/>
                </a:cubicBezTo>
                <a:cubicBezTo>
                  <a:pt x="332345" y="1640416"/>
                  <a:pt x="337135" y="1635626"/>
                  <a:pt x="343081" y="1635626"/>
                </a:cubicBezTo>
                <a:close/>
                <a:moveTo>
                  <a:pt x="766275" y="1634966"/>
                </a:moveTo>
                <a:cubicBezTo>
                  <a:pt x="772221" y="1634966"/>
                  <a:pt x="777011" y="1639755"/>
                  <a:pt x="777011" y="1645702"/>
                </a:cubicBezTo>
                <a:cubicBezTo>
                  <a:pt x="777011" y="1651649"/>
                  <a:pt x="772221" y="1656438"/>
                  <a:pt x="766275" y="1656438"/>
                </a:cubicBezTo>
                <a:cubicBezTo>
                  <a:pt x="760328" y="1656438"/>
                  <a:pt x="755538" y="1651649"/>
                  <a:pt x="755538" y="1645702"/>
                </a:cubicBezTo>
                <a:cubicBezTo>
                  <a:pt x="755538" y="1639755"/>
                  <a:pt x="760328" y="1634966"/>
                  <a:pt x="766275" y="1634966"/>
                </a:cubicBezTo>
                <a:close/>
                <a:moveTo>
                  <a:pt x="305914" y="1632488"/>
                </a:moveTo>
                <a:cubicBezTo>
                  <a:pt x="311861" y="1632488"/>
                  <a:pt x="316650" y="1637277"/>
                  <a:pt x="316650" y="1643224"/>
                </a:cubicBezTo>
                <a:cubicBezTo>
                  <a:pt x="316650" y="1649170"/>
                  <a:pt x="311861" y="1653962"/>
                  <a:pt x="305914" y="1653962"/>
                </a:cubicBezTo>
                <a:cubicBezTo>
                  <a:pt x="299968" y="1653962"/>
                  <a:pt x="295178" y="1649170"/>
                  <a:pt x="295178" y="1643224"/>
                </a:cubicBezTo>
                <a:cubicBezTo>
                  <a:pt x="295178" y="1637277"/>
                  <a:pt x="299968" y="1632488"/>
                  <a:pt x="305914" y="1632488"/>
                </a:cubicBezTo>
                <a:close/>
                <a:moveTo>
                  <a:pt x="1068391" y="1631662"/>
                </a:moveTo>
                <a:cubicBezTo>
                  <a:pt x="1074322" y="1631662"/>
                  <a:pt x="1079129" y="1636469"/>
                  <a:pt x="1079129" y="1642398"/>
                </a:cubicBezTo>
                <a:cubicBezTo>
                  <a:pt x="1079129" y="1648329"/>
                  <a:pt x="1074322" y="1653135"/>
                  <a:pt x="1068391" y="1653135"/>
                </a:cubicBezTo>
                <a:cubicBezTo>
                  <a:pt x="1062462" y="1653135"/>
                  <a:pt x="1057655" y="1648329"/>
                  <a:pt x="1057655" y="1642398"/>
                </a:cubicBezTo>
                <a:cubicBezTo>
                  <a:pt x="1057655" y="1636469"/>
                  <a:pt x="1062462" y="1631662"/>
                  <a:pt x="1068391" y="1631662"/>
                </a:cubicBezTo>
                <a:close/>
                <a:moveTo>
                  <a:pt x="366207" y="1625055"/>
                </a:moveTo>
                <a:cubicBezTo>
                  <a:pt x="372153" y="1625055"/>
                  <a:pt x="376943" y="1629845"/>
                  <a:pt x="376943" y="1635791"/>
                </a:cubicBezTo>
                <a:cubicBezTo>
                  <a:pt x="376943" y="1641738"/>
                  <a:pt x="372153" y="1646527"/>
                  <a:pt x="366207" y="1646527"/>
                </a:cubicBezTo>
                <a:cubicBezTo>
                  <a:pt x="360260" y="1646527"/>
                  <a:pt x="355470" y="1641738"/>
                  <a:pt x="355470" y="1635791"/>
                </a:cubicBezTo>
                <a:cubicBezTo>
                  <a:pt x="355470" y="1629845"/>
                  <a:pt x="360260" y="1625055"/>
                  <a:pt x="366207" y="1625055"/>
                </a:cubicBezTo>
                <a:close/>
                <a:moveTo>
                  <a:pt x="301620" y="1621916"/>
                </a:moveTo>
                <a:cubicBezTo>
                  <a:pt x="301894" y="1621916"/>
                  <a:pt x="302116" y="1622138"/>
                  <a:pt x="302116" y="1622412"/>
                </a:cubicBezTo>
                <a:cubicBezTo>
                  <a:pt x="302116" y="1622686"/>
                  <a:pt x="301894" y="1622906"/>
                  <a:pt x="301620" y="1622906"/>
                </a:cubicBezTo>
                <a:cubicBezTo>
                  <a:pt x="301346" y="1622906"/>
                  <a:pt x="301124" y="1622686"/>
                  <a:pt x="301124" y="1622412"/>
                </a:cubicBezTo>
                <a:cubicBezTo>
                  <a:pt x="301124" y="1622138"/>
                  <a:pt x="301346" y="1621916"/>
                  <a:pt x="301620" y="1621916"/>
                </a:cubicBezTo>
                <a:close/>
                <a:moveTo>
                  <a:pt x="1657097" y="1620926"/>
                </a:moveTo>
                <a:cubicBezTo>
                  <a:pt x="1663044" y="1620926"/>
                  <a:pt x="1667835" y="1625715"/>
                  <a:pt x="1667835" y="1631662"/>
                </a:cubicBezTo>
                <a:cubicBezTo>
                  <a:pt x="1667835" y="1637609"/>
                  <a:pt x="1663044" y="1642398"/>
                  <a:pt x="1657097" y="1642398"/>
                </a:cubicBezTo>
                <a:cubicBezTo>
                  <a:pt x="1651151" y="1642398"/>
                  <a:pt x="1646361" y="1637609"/>
                  <a:pt x="1646361" y="1631662"/>
                </a:cubicBezTo>
                <a:cubicBezTo>
                  <a:pt x="1646361" y="1625715"/>
                  <a:pt x="1651151" y="1620926"/>
                  <a:pt x="1657097" y="1620926"/>
                </a:cubicBezTo>
                <a:close/>
                <a:moveTo>
                  <a:pt x="623229" y="1615309"/>
                </a:moveTo>
                <a:cubicBezTo>
                  <a:pt x="629175" y="1615309"/>
                  <a:pt x="633965" y="1620098"/>
                  <a:pt x="633965" y="1626045"/>
                </a:cubicBezTo>
                <a:cubicBezTo>
                  <a:pt x="633965" y="1631992"/>
                  <a:pt x="629175" y="1636783"/>
                  <a:pt x="623229" y="1636783"/>
                </a:cubicBezTo>
                <a:cubicBezTo>
                  <a:pt x="617282" y="1636783"/>
                  <a:pt x="612492" y="1631992"/>
                  <a:pt x="612492" y="1626045"/>
                </a:cubicBezTo>
                <a:cubicBezTo>
                  <a:pt x="612492" y="1620098"/>
                  <a:pt x="617282" y="1615309"/>
                  <a:pt x="623229" y="1615309"/>
                </a:cubicBezTo>
                <a:close/>
                <a:moveTo>
                  <a:pt x="399243" y="1615309"/>
                </a:moveTo>
                <a:cubicBezTo>
                  <a:pt x="405189" y="1615309"/>
                  <a:pt x="409979" y="1620098"/>
                  <a:pt x="409979" y="1626045"/>
                </a:cubicBezTo>
                <a:cubicBezTo>
                  <a:pt x="409979" y="1631992"/>
                  <a:pt x="405189" y="1636783"/>
                  <a:pt x="399243" y="1636783"/>
                </a:cubicBezTo>
                <a:cubicBezTo>
                  <a:pt x="393296" y="1636783"/>
                  <a:pt x="388506" y="1631992"/>
                  <a:pt x="388506" y="1626045"/>
                </a:cubicBezTo>
                <a:cubicBezTo>
                  <a:pt x="388506" y="1620098"/>
                  <a:pt x="393296" y="1615309"/>
                  <a:pt x="399243" y="1615309"/>
                </a:cubicBezTo>
                <a:close/>
                <a:moveTo>
                  <a:pt x="448301" y="1608701"/>
                </a:moveTo>
                <a:cubicBezTo>
                  <a:pt x="454248" y="1608701"/>
                  <a:pt x="459039" y="1613491"/>
                  <a:pt x="459039" y="1619438"/>
                </a:cubicBezTo>
                <a:cubicBezTo>
                  <a:pt x="459039" y="1625384"/>
                  <a:pt x="454248" y="1630176"/>
                  <a:pt x="448301" y="1630176"/>
                </a:cubicBezTo>
                <a:cubicBezTo>
                  <a:pt x="442355" y="1630176"/>
                  <a:pt x="437565" y="1625384"/>
                  <a:pt x="437565" y="1619438"/>
                </a:cubicBezTo>
                <a:cubicBezTo>
                  <a:pt x="437565" y="1613491"/>
                  <a:pt x="442355" y="1608701"/>
                  <a:pt x="448301" y="1608701"/>
                </a:cubicBezTo>
                <a:close/>
                <a:moveTo>
                  <a:pt x="520320" y="1607709"/>
                </a:moveTo>
                <a:cubicBezTo>
                  <a:pt x="526267" y="1607709"/>
                  <a:pt x="531058" y="1612499"/>
                  <a:pt x="531058" y="1618446"/>
                </a:cubicBezTo>
                <a:cubicBezTo>
                  <a:pt x="531058" y="1624392"/>
                  <a:pt x="526267" y="1629184"/>
                  <a:pt x="520320" y="1629184"/>
                </a:cubicBezTo>
                <a:cubicBezTo>
                  <a:pt x="514374" y="1629184"/>
                  <a:pt x="509584" y="1624392"/>
                  <a:pt x="509584" y="1618446"/>
                </a:cubicBezTo>
                <a:cubicBezTo>
                  <a:pt x="509584" y="1612499"/>
                  <a:pt x="514374" y="1607709"/>
                  <a:pt x="520320" y="1607709"/>
                </a:cubicBezTo>
                <a:close/>
                <a:moveTo>
                  <a:pt x="325242" y="1605894"/>
                </a:moveTo>
                <a:cubicBezTo>
                  <a:pt x="331188" y="1605894"/>
                  <a:pt x="335978" y="1610684"/>
                  <a:pt x="335978" y="1616630"/>
                </a:cubicBezTo>
                <a:lnTo>
                  <a:pt x="326644" y="1625965"/>
                </a:lnTo>
                <a:lnTo>
                  <a:pt x="336637" y="1635956"/>
                </a:lnTo>
                <a:lnTo>
                  <a:pt x="325901" y="1646694"/>
                </a:lnTo>
                <a:lnTo>
                  <a:pt x="335647" y="1656438"/>
                </a:lnTo>
                <a:cubicBezTo>
                  <a:pt x="335647" y="1662385"/>
                  <a:pt x="330857" y="1667175"/>
                  <a:pt x="324910" y="1667175"/>
                </a:cubicBezTo>
                <a:cubicBezTo>
                  <a:pt x="318964" y="1667175"/>
                  <a:pt x="314174" y="1662385"/>
                  <a:pt x="314174" y="1656438"/>
                </a:cubicBezTo>
                <a:lnTo>
                  <a:pt x="324909" y="1645704"/>
                </a:lnTo>
                <a:lnTo>
                  <a:pt x="315164" y="1635956"/>
                </a:lnTo>
                <a:lnTo>
                  <a:pt x="324496" y="1626624"/>
                </a:lnTo>
                <a:lnTo>
                  <a:pt x="314505" y="1616630"/>
                </a:lnTo>
                <a:cubicBezTo>
                  <a:pt x="314505" y="1610684"/>
                  <a:pt x="319295" y="1605894"/>
                  <a:pt x="325242" y="1605894"/>
                </a:cubicBezTo>
                <a:close/>
                <a:moveTo>
                  <a:pt x="852830" y="1594991"/>
                </a:moveTo>
                <a:cubicBezTo>
                  <a:pt x="858776" y="1594991"/>
                  <a:pt x="863566" y="1599781"/>
                  <a:pt x="863566" y="1605727"/>
                </a:cubicBezTo>
                <a:cubicBezTo>
                  <a:pt x="863566" y="1611674"/>
                  <a:pt x="858776" y="1616464"/>
                  <a:pt x="852830" y="1616464"/>
                </a:cubicBezTo>
                <a:cubicBezTo>
                  <a:pt x="846883" y="1616464"/>
                  <a:pt x="842093" y="1611674"/>
                  <a:pt x="842093" y="1605727"/>
                </a:cubicBezTo>
                <a:cubicBezTo>
                  <a:pt x="842093" y="1599781"/>
                  <a:pt x="846883" y="1594991"/>
                  <a:pt x="852830" y="1594991"/>
                </a:cubicBezTo>
                <a:close/>
                <a:moveTo>
                  <a:pt x="1187653" y="1593175"/>
                </a:moveTo>
                <a:cubicBezTo>
                  <a:pt x="1193584" y="1593175"/>
                  <a:pt x="1198391" y="1597982"/>
                  <a:pt x="1198391" y="1603911"/>
                </a:cubicBezTo>
                <a:cubicBezTo>
                  <a:pt x="1198391" y="1609842"/>
                  <a:pt x="1193584" y="1614648"/>
                  <a:pt x="1187653" y="1614648"/>
                </a:cubicBezTo>
                <a:cubicBezTo>
                  <a:pt x="1181724" y="1614648"/>
                  <a:pt x="1176916" y="1609842"/>
                  <a:pt x="1176916" y="1603911"/>
                </a:cubicBezTo>
                <a:cubicBezTo>
                  <a:pt x="1176916" y="1597982"/>
                  <a:pt x="1181724" y="1593175"/>
                  <a:pt x="1187653" y="1593175"/>
                </a:cubicBezTo>
                <a:close/>
                <a:moveTo>
                  <a:pt x="392304" y="1589375"/>
                </a:moveTo>
                <a:cubicBezTo>
                  <a:pt x="398251" y="1589375"/>
                  <a:pt x="403041" y="1594165"/>
                  <a:pt x="403041" y="1600112"/>
                </a:cubicBezTo>
                <a:cubicBezTo>
                  <a:pt x="403041" y="1606058"/>
                  <a:pt x="398251" y="1610850"/>
                  <a:pt x="392304" y="1610850"/>
                </a:cubicBezTo>
                <a:cubicBezTo>
                  <a:pt x="386358" y="1610850"/>
                  <a:pt x="381568" y="1606058"/>
                  <a:pt x="381568" y="1600112"/>
                </a:cubicBezTo>
                <a:cubicBezTo>
                  <a:pt x="381568" y="1594165"/>
                  <a:pt x="386358" y="1589375"/>
                  <a:pt x="392304" y="1589375"/>
                </a:cubicBezTo>
                <a:close/>
                <a:moveTo>
                  <a:pt x="1828721" y="1588715"/>
                </a:moveTo>
                <a:cubicBezTo>
                  <a:pt x="1834668" y="1588715"/>
                  <a:pt x="1839459" y="1593505"/>
                  <a:pt x="1839459" y="1599451"/>
                </a:cubicBezTo>
                <a:cubicBezTo>
                  <a:pt x="1839459" y="1605398"/>
                  <a:pt x="1834668" y="1610189"/>
                  <a:pt x="1828721" y="1610189"/>
                </a:cubicBezTo>
                <a:cubicBezTo>
                  <a:pt x="1822774" y="1610189"/>
                  <a:pt x="1817985" y="1605398"/>
                  <a:pt x="1817985" y="1599451"/>
                </a:cubicBezTo>
                <a:cubicBezTo>
                  <a:pt x="1817985" y="1593505"/>
                  <a:pt x="1822774" y="1588715"/>
                  <a:pt x="1828721" y="1588715"/>
                </a:cubicBezTo>
                <a:close/>
                <a:moveTo>
                  <a:pt x="321938" y="1587558"/>
                </a:moveTo>
                <a:cubicBezTo>
                  <a:pt x="327319" y="1587558"/>
                  <a:pt x="331682" y="1591921"/>
                  <a:pt x="331682" y="1597304"/>
                </a:cubicBezTo>
                <a:cubicBezTo>
                  <a:pt x="331682" y="1602687"/>
                  <a:pt x="327319" y="1607049"/>
                  <a:pt x="321938" y="1607049"/>
                </a:cubicBezTo>
                <a:cubicBezTo>
                  <a:pt x="316555" y="1607049"/>
                  <a:pt x="312192" y="1602686"/>
                  <a:pt x="312192" y="1597304"/>
                </a:cubicBezTo>
                <a:cubicBezTo>
                  <a:pt x="312192" y="1591921"/>
                  <a:pt x="316555" y="1587558"/>
                  <a:pt x="321938" y="1587558"/>
                </a:cubicBezTo>
                <a:close/>
                <a:moveTo>
                  <a:pt x="431783" y="1577647"/>
                </a:moveTo>
                <a:cubicBezTo>
                  <a:pt x="437730" y="1577647"/>
                  <a:pt x="442521" y="1582437"/>
                  <a:pt x="442521" y="1588384"/>
                </a:cubicBezTo>
                <a:cubicBezTo>
                  <a:pt x="442521" y="1594330"/>
                  <a:pt x="437730" y="1599122"/>
                  <a:pt x="431783" y="1599122"/>
                </a:cubicBezTo>
                <a:cubicBezTo>
                  <a:pt x="425837" y="1599122"/>
                  <a:pt x="421047" y="1594330"/>
                  <a:pt x="421047" y="1588384"/>
                </a:cubicBezTo>
                <a:cubicBezTo>
                  <a:pt x="421047" y="1582437"/>
                  <a:pt x="425837" y="1577647"/>
                  <a:pt x="431783" y="1577647"/>
                </a:cubicBezTo>
                <a:close/>
                <a:moveTo>
                  <a:pt x="691283" y="1575004"/>
                </a:moveTo>
                <a:cubicBezTo>
                  <a:pt x="697230" y="1575004"/>
                  <a:pt x="702020" y="1579794"/>
                  <a:pt x="702020" y="1585741"/>
                </a:cubicBezTo>
                <a:cubicBezTo>
                  <a:pt x="702020" y="1591687"/>
                  <a:pt x="697230" y="1596479"/>
                  <a:pt x="691283" y="1596479"/>
                </a:cubicBezTo>
                <a:cubicBezTo>
                  <a:pt x="685337" y="1596479"/>
                  <a:pt x="680547" y="1591687"/>
                  <a:pt x="680547" y="1585741"/>
                </a:cubicBezTo>
                <a:cubicBezTo>
                  <a:pt x="680547" y="1579794"/>
                  <a:pt x="685337" y="1575004"/>
                  <a:pt x="691283" y="1575004"/>
                </a:cubicBezTo>
                <a:close/>
                <a:moveTo>
                  <a:pt x="489762" y="1569554"/>
                </a:moveTo>
                <a:cubicBezTo>
                  <a:pt x="495709" y="1569554"/>
                  <a:pt x="500498" y="1574344"/>
                  <a:pt x="500498" y="1580290"/>
                </a:cubicBezTo>
                <a:cubicBezTo>
                  <a:pt x="500498" y="1586237"/>
                  <a:pt x="495709" y="1591027"/>
                  <a:pt x="489762" y="1591027"/>
                </a:cubicBezTo>
                <a:cubicBezTo>
                  <a:pt x="483816" y="1591027"/>
                  <a:pt x="479026" y="1586237"/>
                  <a:pt x="479026" y="1580290"/>
                </a:cubicBezTo>
                <a:cubicBezTo>
                  <a:pt x="479026" y="1574344"/>
                  <a:pt x="483816" y="1569554"/>
                  <a:pt x="489762" y="1569554"/>
                </a:cubicBezTo>
                <a:close/>
                <a:moveTo>
                  <a:pt x="573508" y="1567572"/>
                </a:moveTo>
                <a:cubicBezTo>
                  <a:pt x="579454" y="1567572"/>
                  <a:pt x="584244" y="1572361"/>
                  <a:pt x="584244" y="1578308"/>
                </a:cubicBezTo>
                <a:cubicBezTo>
                  <a:pt x="584244" y="1584254"/>
                  <a:pt x="579454" y="1589046"/>
                  <a:pt x="573508" y="1589046"/>
                </a:cubicBezTo>
                <a:cubicBezTo>
                  <a:pt x="567561" y="1589046"/>
                  <a:pt x="562771" y="1584254"/>
                  <a:pt x="562771" y="1578308"/>
                </a:cubicBezTo>
                <a:cubicBezTo>
                  <a:pt x="562771" y="1572361"/>
                  <a:pt x="567561" y="1567572"/>
                  <a:pt x="573508" y="1567572"/>
                </a:cubicBezTo>
                <a:close/>
                <a:moveTo>
                  <a:pt x="342254" y="1560304"/>
                </a:moveTo>
                <a:cubicBezTo>
                  <a:pt x="348200" y="1560304"/>
                  <a:pt x="352992" y="1565094"/>
                  <a:pt x="352992" y="1571040"/>
                </a:cubicBezTo>
                <a:lnTo>
                  <a:pt x="345558" y="1578474"/>
                </a:lnTo>
                <a:lnTo>
                  <a:pt x="355635" y="1588548"/>
                </a:lnTo>
                <a:lnTo>
                  <a:pt x="346796" y="1597386"/>
                </a:lnTo>
                <a:lnTo>
                  <a:pt x="355964" y="1606553"/>
                </a:lnTo>
                <a:lnTo>
                  <a:pt x="346054" y="1616465"/>
                </a:lnTo>
                <a:lnTo>
                  <a:pt x="355139" y="1625549"/>
                </a:lnTo>
                <a:cubicBezTo>
                  <a:pt x="355139" y="1631495"/>
                  <a:pt x="350349" y="1636287"/>
                  <a:pt x="344403" y="1636287"/>
                </a:cubicBezTo>
                <a:cubicBezTo>
                  <a:pt x="338456" y="1636287"/>
                  <a:pt x="333666" y="1631495"/>
                  <a:pt x="333666" y="1625549"/>
                </a:cubicBezTo>
                <a:lnTo>
                  <a:pt x="343575" y="1615640"/>
                </a:lnTo>
                <a:lnTo>
                  <a:pt x="334492" y="1606553"/>
                </a:lnTo>
                <a:lnTo>
                  <a:pt x="343327" y="1597717"/>
                </a:lnTo>
                <a:lnTo>
                  <a:pt x="334160" y="1588548"/>
                </a:lnTo>
                <a:lnTo>
                  <a:pt x="341591" y="1581117"/>
                </a:lnTo>
                <a:lnTo>
                  <a:pt x="331518" y="1571040"/>
                </a:lnTo>
                <a:cubicBezTo>
                  <a:pt x="331518" y="1565094"/>
                  <a:pt x="336307" y="1560304"/>
                  <a:pt x="342254" y="1560304"/>
                </a:cubicBezTo>
                <a:close/>
                <a:moveTo>
                  <a:pt x="2012073" y="1559478"/>
                </a:moveTo>
                <a:cubicBezTo>
                  <a:pt x="2018020" y="1559478"/>
                  <a:pt x="2022809" y="1564268"/>
                  <a:pt x="2022809" y="1570214"/>
                </a:cubicBezTo>
                <a:cubicBezTo>
                  <a:pt x="2022809" y="1576161"/>
                  <a:pt x="2018020" y="1580951"/>
                  <a:pt x="2012073" y="1580951"/>
                </a:cubicBezTo>
                <a:cubicBezTo>
                  <a:pt x="2006126" y="1580951"/>
                  <a:pt x="2001337" y="1576161"/>
                  <a:pt x="2001337" y="1570214"/>
                </a:cubicBezTo>
                <a:cubicBezTo>
                  <a:pt x="2001337" y="1564268"/>
                  <a:pt x="2006126" y="1559478"/>
                  <a:pt x="2012073" y="1559478"/>
                </a:cubicBezTo>
                <a:close/>
                <a:moveTo>
                  <a:pt x="1317484" y="1554853"/>
                </a:moveTo>
                <a:cubicBezTo>
                  <a:pt x="1323431" y="1554853"/>
                  <a:pt x="1328222" y="1559643"/>
                  <a:pt x="1328222" y="1565590"/>
                </a:cubicBezTo>
                <a:cubicBezTo>
                  <a:pt x="1328222" y="1571536"/>
                  <a:pt x="1323431" y="1576326"/>
                  <a:pt x="1317484" y="1576326"/>
                </a:cubicBezTo>
                <a:cubicBezTo>
                  <a:pt x="1311538" y="1576326"/>
                  <a:pt x="1306748" y="1571536"/>
                  <a:pt x="1306748" y="1565590"/>
                </a:cubicBezTo>
                <a:cubicBezTo>
                  <a:pt x="1306748" y="1559643"/>
                  <a:pt x="1311538" y="1554853"/>
                  <a:pt x="1317484" y="1554853"/>
                </a:cubicBezTo>
                <a:close/>
                <a:moveTo>
                  <a:pt x="947974" y="1554522"/>
                </a:moveTo>
                <a:cubicBezTo>
                  <a:pt x="953921" y="1554522"/>
                  <a:pt x="958711" y="1559312"/>
                  <a:pt x="958711" y="1565258"/>
                </a:cubicBezTo>
                <a:cubicBezTo>
                  <a:pt x="958711" y="1571205"/>
                  <a:pt x="953921" y="1575996"/>
                  <a:pt x="947974" y="1575996"/>
                </a:cubicBezTo>
                <a:cubicBezTo>
                  <a:pt x="942028" y="1575996"/>
                  <a:pt x="937238" y="1571205"/>
                  <a:pt x="937238" y="1565258"/>
                </a:cubicBezTo>
                <a:cubicBezTo>
                  <a:pt x="937238" y="1559312"/>
                  <a:pt x="942028" y="1554522"/>
                  <a:pt x="947974" y="1554522"/>
                </a:cubicBezTo>
                <a:close/>
                <a:moveTo>
                  <a:pt x="336970" y="1552704"/>
                </a:moveTo>
                <a:cubicBezTo>
                  <a:pt x="337244" y="1552704"/>
                  <a:pt x="337466" y="1552926"/>
                  <a:pt x="337466" y="1553200"/>
                </a:cubicBezTo>
                <a:cubicBezTo>
                  <a:pt x="337466" y="1553474"/>
                  <a:pt x="337244" y="1553695"/>
                  <a:pt x="336970" y="1553695"/>
                </a:cubicBezTo>
                <a:cubicBezTo>
                  <a:pt x="336696" y="1553695"/>
                  <a:pt x="336474" y="1553474"/>
                  <a:pt x="336474" y="1553200"/>
                </a:cubicBezTo>
                <a:cubicBezTo>
                  <a:pt x="336474" y="1552926"/>
                  <a:pt x="336696" y="1552704"/>
                  <a:pt x="336970" y="1552704"/>
                </a:cubicBezTo>
                <a:close/>
                <a:moveTo>
                  <a:pt x="421211" y="1552375"/>
                </a:moveTo>
                <a:cubicBezTo>
                  <a:pt x="427158" y="1552375"/>
                  <a:pt x="431948" y="1557165"/>
                  <a:pt x="431948" y="1563111"/>
                </a:cubicBezTo>
                <a:cubicBezTo>
                  <a:pt x="431948" y="1569058"/>
                  <a:pt x="427158" y="1573848"/>
                  <a:pt x="421211" y="1573848"/>
                </a:cubicBezTo>
                <a:cubicBezTo>
                  <a:pt x="415265" y="1573848"/>
                  <a:pt x="410475" y="1569058"/>
                  <a:pt x="410475" y="1563111"/>
                </a:cubicBezTo>
                <a:cubicBezTo>
                  <a:pt x="410475" y="1557165"/>
                  <a:pt x="415265" y="1552375"/>
                  <a:pt x="421211" y="1552375"/>
                </a:cubicBezTo>
                <a:close/>
                <a:moveTo>
                  <a:pt x="468123" y="1538829"/>
                </a:moveTo>
                <a:cubicBezTo>
                  <a:pt x="474069" y="1538829"/>
                  <a:pt x="478859" y="1543619"/>
                  <a:pt x="478859" y="1549565"/>
                </a:cubicBezTo>
                <a:cubicBezTo>
                  <a:pt x="478859" y="1555512"/>
                  <a:pt x="474069" y="1560302"/>
                  <a:pt x="468123" y="1560302"/>
                </a:cubicBezTo>
                <a:cubicBezTo>
                  <a:pt x="462176" y="1560302"/>
                  <a:pt x="457387" y="1555512"/>
                  <a:pt x="457387" y="1549565"/>
                </a:cubicBezTo>
                <a:cubicBezTo>
                  <a:pt x="457387" y="1543619"/>
                  <a:pt x="462176" y="1538829"/>
                  <a:pt x="468123" y="1538829"/>
                </a:cubicBezTo>
                <a:close/>
                <a:moveTo>
                  <a:pt x="2206656" y="1534204"/>
                </a:moveTo>
                <a:cubicBezTo>
                  <a:pt x="2212602" y="1534204"/>
                  <a:pt x="2217394" y="1538994"/>
                  <a:pt x="2217394" y="1544940"/>
                </a:cubicBezTo>
                <a:cubicBezTo>
                  <a:pt x="2217394" y="1550887"/>
                  <a:pt x="2212602" y="1555677"/>
                  <a:pt x="2206656" y="1555677"/>
                </a:cubicBezTo>
                <a:cubicBezTo>
                  <a:pt x="2200709" y="1555677"/>
                  <a:pt x="2195920" y="1550887"/>
                  <a:pt x="2195920" y="1544940"/>
                </a:cubicBezTo>
                <a:cubicBezTo>
                  <a:pt x="2195920" y="1538994"/>
                  <a:pt x="2200709" y="1534204"/>
                  <a:pt x="2206656" y="1534204"/>
                </a:cubicBezTo>
                <a:close/>
                <a:moveTo>
                  <a:pt x="766604" y="1533708"/>
                </a:moveTo>
                <a:cubicBezTo>
                  <a:pt x="772551" y="1533708"/>
                  <a:pt x="777342" y="1538498"/>
                  <a:pt x="777342" y="1544444"/>
                </a:cubicBezTo>
                <a:cubicBezTo>
                  <a:pt x="777342" y="1550391"/>
                  <a:pt x="772551" y="1555183"/>
                  <a:pt x="766604" y="1555183"/>
                </a:cubicBezTo>
                <a:cubicBezTo>
                  <a:pt x="760658" y="1555183"/>
                  <a:pt x="755868" y="1550391"/>
                  <a:pt x="755868" y="1544444"/>
                </a:cubicBezTo>
                <a:cubicBezTo>
                  <a:pt x="755868" y="1538498"/>
                  <a:pt x="760658" y="1533708"/>
                  <a:pt x="766604" y="1533708"/>
                </a:cubicBezTo>
                <a:close/>
                <a:moveTo>
                  <a:pt x="363232" y="1532553"/>
                </a:moveTo>
                <a:cubicBezTo>
                  <a:pt x="369179" y="1532553"/>
                  <a:pt x="373969" y="1537343"/>
                  <a:pt x="373969" y="1543290"/>
                </a:cubicBezTo>
                <a:lnTo>
                  <a:pt x="366949" y="1550309"/>
                </a:lnTo>
                <a:lnTo>
                  <a:pt x="375953" y="1559312"/>
                </a:lnTo>
                <a:lnTo>
                  <a:pt x="367941" y="1567324"/>
                </a:lnTo>
                <a:lnTo>
                  <a:pt x="376449" y="1575830"/>
                </a:lnTo>
                <a:lnTo>
                  <a:pt x="367445" y="1584834"/>
                </a:lnTo>
                <a:lnTo>
                  <a:pt x="375953" y="1593340"/>
                </a:lnTo>
                <a:lnTo>
                  <a:pt x="365957" y="1603334"/>
                </a:lnTo>
                <a:lnTo>
                  <a:pt x="375786" y="1613162"/>
                </a:lnTo>
                <a:cubicBezTo>
                  <a:pt x="375786" y="1619108"/>
                  <a:pt x="370996" y="1623900"/>
                  <a:pt x="365050" y="1623900"/>
                </a:cubicBezTo>
                <a:cubicBezTo>
                  <a:pt x="359103" y="1623900"/>
                  <a:pt x="354313" y="1619108"/>
                  <a:pt x="354313" y="1613162"/>
                </a:cubicBezTo>
                <a:lnTo>
                  <a:pt x="364306" y="1603169"/>
                </a:lnTo>
                <a:lnTo>
                  <a:pt x="354478" y="1593340"/>
                </a:lnTo>
                <a:lnTo>
                  <a:pt x="363480" y="1584338"/>
                </a:lnTo>
                <a:lnTo>
                  <a:pt x="354974" y="1575830"/>
                </a:lnTo>
                <a:lnTo>
                  <a:pt x="362984" y="1567820"/>
                </a:lnTo>
                <a:lnTo>
                  <a:pt x="354478" y="1559312"/>
                </a:lnTo>
                <a:lnTo>
                  <a:pt x="361496" y="1552293"/>
                </a:lnTo>
                <a:lnTo>
                  <a:pt x="352496" y="1543290"/>
                </a:lnTo>
                <a:cubicBezTo>
                  <a:pt x="352496" y="1537343"/>
                  <a:pt x="357286" y="1532553"/>
                  <a:pt x="363232" y="1532553"/>
                </a:cubicBezTo>
                <a:close/>
                <a:moveTo>
                  <a:pt x="535846" y="1529250"/>
                </a:moveTo>
                <a:cubicBezTo>
                  <a:pt x="541793" y="1529250"/>
                  <a:pt x="546583" y="1534039"/>
                  <a:pt x="546583" y="1539986"/>
                </a:cubicBezTo>
                <a:cubicBezTo>
                  <a:pt x="546583" y="1545933"/>
                  <a:pt x="541793" y="1550724"/>
                  <a:pt x="535846" y="1550724"/>
                </a:cubicBezTo>
                <a:cubicBezTo>
                  <a:pt x="529900" y="1550724"/>
                  <a:pt x="525110" y="1545933"/>
                  <a:pt x="525110" y="1539986"/>
                </a:cubicBezTo>
                <a:cubicBezTo>
                  <a:pt x="525110" y="1534039"/>
                  <a:pt x="529900" y="1529250"/>
                  <a:pt x="535846" y="1529250"/>
                </a:cubicBezTo>
                <a:close/>
                <a:moveTo>
                  <a:pt x="632477" y="1526442"/>
                </a:moveTo>
                <a:cubicBezTo>
                  <a:pt x="638424" y="1526442"/>
                  <a:pt x="643213" y="1531232"/>
                  <a:pt x="643213" y="1537178"/>
                </a:cubicBezTo>
                <a:cubicBezTo>
                  <a:pt x="643213" y="1543125"/>
                  <a:pt x="638424" y="1547915"/>
                  <a:pt x="632477" y="1547915"/>
                </a:cubicBezTo>
                <a:cubicBezTo>
                  <a:pt x="626530" y="1547915"/>
                  <a:pt x="621741" y="1543125"/>
                  <a:pt x="621741" y="1537178"/>
                </a:cubicBezTo>
                <a:cubicBezTo>
                  <a:pt x="621741" y="1531232"/>
                  <a:pt x="626530" y="1526442"/>
                  <a:pt x="632477" y="1526442"/>
                </a:cubicBezTo>
                <a:close/>
                <a:moveTo>
                  <a:pt x="3478056" y="1524293"/>
                </a:moveTo>
                <a:cubicBezTo>
                  <a:pt x="3484002" y="1524293"/>
                  <a:pt x="3488794" y="1529083"/>
                  <a:pt x="3488794" y="1535030"/>
                </a:cubicBezTo>
                <a:cubicBezTo>
                  <a:pt x="3488794" y="1540976"/>
                  <a:pt x="3484002" y="1545768"/>
                  <a:pt x="3478056" y="1545768"/>
                </a:cubicBezTo>
                <a:cubicBezTo>
                  <a:pt x="3472109" y="1545768"/>
                  <a:pt x="3467320" y="1540976"/>
                  <a:pt x="3467320" y="1535030"/>
                </a:cubicBezTo>
                <a:cubicBezTo>
                  <a:pt x="3467320" y="1529083"/>
                  <a:pt x="3472109" y="1524293"/>
                  <a:pt x="3478056" y="1524293"/>
                </a:cubicBezTo>
                <a:close/>
                <a:moveTo>
                  <a:pt x="1458384" y="1517356"/>
                </a:moveTo>
                <a:cubicBezTo>
                  <a:pt x="1464330" y="1517356"/>
                  <a:pt x="1469122" y="1522146"/>
                  <a:pt x="1469122" y="1528093"/>
                </a:cubicBezTo>
                <a:cubicBezTo>
                  <a:pt x="1469122" y="1534039"/>
                  <a:pt x="1464330" y="1538831"/>
                  <a:pt x="1458384" y="1538831"/>
                </a:cubicBezTo>
                <a:cubicBezTo>
                  <a:pt x="1452437" y="1538831"/>
                  <a:pt x="1447647" y="1534039"/>
                  <a:pt x="1447647" y="1528093"/>
                </a:cubicBezTo>
                <a:cubicBezTo>
                  <a:pt x="1447647" y="1522146"/>
                  <a:pt x="1452437" y="1517356"/>
                  <a:pt x="1458384" y="1517356"/>
                </a:cubicBezTo>
                <a:close/>
                <a:moveTo>
                  <a:pt x="358609" y="1517356"/>
                </a:moveTo>
                <a:cubicBezTo>
                  <a:pt x="363990" y="1517356"/>
                  <a:pt x="368353" y="1521720"/>
                  <a:pt x="368353" y="1527103"/>
                </a:cubicBezTo>
                <a:cubicBezTo>
                  <a:pt x="368353" y="1532486"/>
                  <a:pt x="363990" y="1536847"/>
                  <a:pt x="358609" y="1536847"/>
                </a:cubicBezTo>
                <a:cubicBezTo>
                  <a:pt x="353226" y="1536847"/>
                  <a:pt x="348863" y="1532484"/>
                  <a:pt x="348863" y="1527103"/>
                </a:cubicBezTo>
                <a:cubicBezTo>
                  <a:pt x="348863" y="1521720"/>
                  <a:pt x="353226" y="1517356"/>
                  <a:pt x="358609" y="1517356"/>
                </a:cubicBezTo>
                <a:close/>
                <a:moveTo>
                  <a:pt x="2410984" y="1514218"/>
                </a:moveTo>
                <a:cubicBezTo>
                  <a:pt x="2416931" y="1514218"/>
                  <a:pt x="2421723" y="1519007"/>
                  <a:pt x="2421723" y="1524954"/>
                </a:cubicBezTo>
                <a:cubicBezTo>
                  <a:pt x="2421723" y="1530900"/>
                  <a:pt x="2416931" y="1535690"/>
                  <a:pt x="2410984" y="1535690"/>
                </a:cubicBezTo>
                <a:cubicBezTo>
                  <a:pt x="2405038" y="1535690"/>
                  <a:pt x="2400248" y="1530900"/>
                  <a:pt x="2400248" y="1524954"/>
                </a:cubicBezTo>
                <a:cubicBezTo>
                  <a:pt x="2400248" y="1519007"/>
                  <a:pt x="2405038" y="1514218"/>
                  <a:pt x="2410984" y="1514218"/>
                </a:cubicBezTo>
                <a:close/>
                <a:moveTo>
                  <a:pt x="453420" y="1514053"/>
                </a:moveTo>
                <a:cubicBezTo>
                  <a:pt x="459367" y="1514053"/>
                  <a:pt x="464159" y="1518843"/>
                  <a:pt x="464159" y="1524789"/>
                </a:cubicBezTo>
                <a:cubicBezTo>
                  <a:pt x="464159" y="1530736"/>
                  <a:pt x="459367" y="1535526"/>
                  <a:pt x="453420" y="1535526"/>
                </a:cubicBezTo>
                <a:cubicBezTo>
                  <a:pt x="447474" y="1535526"/>
                  <a:pt x="442684" y="1530736"/>
                  <a:pt x="442684" y="1524789"/>
                </a:cubicBezTo>
                <a:cubicBezTo>
                  <a:pt x="442684" y="1518843"/>
                  <a:pt x="447474" y="1514053"/>
                  <a:pt x="453420" y="1514053"/>
                </a:cubicBezTo>
                <a:close/>
                <a:moveTo>
                  <a:pt x="1052369" y="1513722"/>
                </a:moveTo>
                <a:cubicBezTo>
                  <a:pt x="1058315" y="1513722"/>
                  <a:pt x="1063105" y="1518512"/>
                  <a:pt x="1063105" y="1524458"/>
                </a:cubicBezTo>
                <a:cubicBezTo>
                  <a:pt x="1063105" y="1530404"/>
                  <a:pt x="1058315" y="1535196"/>
                  <a:pt x="1052369" y="1535196"/>
                </a:cubicBezTo>
                <a:cubicBezTo>
                  <a:pt x="1046422" y="1535196"/>
                  <a:pt x="1041632" y="1530404"/>
                  <a:pt x="1041632" y="1524458"/>
                </a:cubicBezTo>
                <a:cubicBezTo>
                  <a:pt x="1041632" y="1518512"/>
                  <a:pt x="1046422" y="1513722"/>
                  <a:pt x="1052369" y="1513722"/>
                </a:cubicBezTo>
                <a:close/>
                <a:moveTo>
                  <a:pt x="3270094" y="1507114"/>
                </a:moveTo>
                <a:cubicBezTo>
                  <a:pt x="3276040" y="1507114"/>
                  <a:pt x="3280830" y="1511904"/>
                  <a:pt x="3280830" y="1517851"/>
                </a:cubicBezTo>
                <a:cubicBezTo>
                  <a:pt x="3280830" y="1523797"/>
                  <a:pt x="3276040" y="1528587"/>
                  <a:pt x="3270094" y="1528587"/>
                </a:cubicBezTo>
                <a:cubicBezTo>
                  <a:pt x="3264147" y="1528587"/>
                  <a:pt x="3259358" y="1523797"/>
                  <a:pt x="3259358" y="1517851"/>
                </a:cubicBezTo>
                <a:cubicBezTo>
                  <a:pt x="3259358" y="1511904"/>
                  <a:pt x="3264147" y="1507114"/>
                  <a:pt x="3270094" y="1507114"/>
                </a:cubicBezTo>
                <a:close/>
                <a:moveTo>
                  <a:pt x="2622582" y="1500838"/>
                </a:moveTo>
                <a:cubicBezTo>
                  <a:pt x="2628528" y="1500838"/>
                  <a:pt x="2633320" y="1505628"/>
                  <a:pt x="2633320" y="1511575"/>
                </a:cubicBezTo>
                <a:cubicBezTo>
                  <a:pt x="2633320" y="1517521"/>
                  <a:pt x="2628528" y="1522313"/>
                  <a:pt x="2622582" y="1522313"/>
                </a:cubicBezTo>
                <a:cubicBezTo>
                  <a:pt x="2616635" y="1522313"/>
                  <a:pt x="2611845" y="1517521"/>
                  <a:pt x="2611845" y="1511575"/>
                </a:cubicBezTo>
                <a:cubicBezTo>
                  <a:pt x="2611845" y="1505628"/>
                  <a:pt x="2616635" y="1500838"/>
                  <a:pt x="2622582" y="1500838"/>
                </a:cubicBezTo>
                <a:close/>
                <a:moveTo>
                  <a:pt x="508427" y="1498692"/>
                </a:moveTo>
                <a:cubicBezTo>
                  <a:pt x="514374" y="1498692"/>
                  <a:pt x="519165" y="1503481"/>
                  <a:pt x="519165" y="1509428"/>
                </a:cubicBezTo>
                <a:cubicBezTo>
                  <a:pt x="519165" y="1515374"/>
                  <a:pt x="514374" y="1520164"/>
                  <a:pt x="508427" y="1520164"/>
                </a:cubicBezTo>
                <a:cubicBezTo>
                  <a:pt x="502481" y="1520164"/>
                  <a:pt x="497691" y="1515374"/>
                  <a:pt x="497691" y="1509428"/>
                </a:cubicBezTo>
                <a:cubicBezTo>
                  <a:pt x="497691" y="1503481"/>
                  <a:pt x="502481" y="1498692"/>
                  <a:pt x="508427" y="1498692"/>
                </a:cubicBezTo>
                <a:close/>
                <a:moveTo>
                  <a:pt x="3055852" y="1497039"/>
                </a:moveTo>
                <a:cubicBezTo>
                  <a:pt x="3061799" y="1497039"/>
                  <a:pt x="3066589" y="1501829"/>
                  <a:pt x="3066589" y="1507775"/>
                </a:cubicBezTo>
                <a:cubicBezTo>
                  <a:pt x="3066589" y="1513722"/>
                  <a:pt x="3061799" y="1518512"/>
                  <a:pt x="3055852" y="1518512"/>
                </a:cubicBezTo>
                <a:cubicBezTo>
                  <a:pt x="3049906" y="1518512"/>
                  <a:pt x="3045116" y="1513722"/>
                  <a:pt x="3045116" y="1507775"/>
                </a:cubicBezTo>
                <a:cubicBezTo>
                  <a:pt x="3045116" y="1501829"/>
                  <a:pt x="3049906" y="1497039"/>
                  <a:pt x="3055852" y="1497039"/>
                </a:cubicBezTo>
                <a:close/>
                <a:moveTo>
                  <a:pt x="2838805" y="1494892"/>
                </a:moveTo>
                <a:cubicBezTo>
                  <a:pt x="2844752" y="1494892"/>
                  <a:pt x="2849541" y="1499682"/>
                  <a:pt x="2849541" y="1505628"/>
                </a:cubicBezTo>
                <a:cubicBezTo>
                  <a:pt x="2849541" y="1511575"/>
                  <a:pt x="2844752" y="1516366"/>
                  <a:pt x="2838805" y="1516366"/>
                </a:cubicBezTo>
                <a:cubicBezTo>
                  <a:pt x="2832858" y="1516366"/>
                  <a:pt x="2828069" y="1511575"/>
                  <a:pt x="2828069" y="1505628"/>
                </a:cubicBezTo>
                <a:cubicBezTo>
                  <a:pt x="2828069" y="1499682"/>
                  <a:pt x="2832858" y="1494892"/>
                  <a:pt x="2838805" y="1494892"/>
                </a:cubicBezTo>
                <a:close/>
                <a:moveTo>
                  <a:pt x="444006" y="1494066"/>
                </a:moveTo>
                <a:cubicBezTo>
                  <a:pt x="449952" y="1494066"/>
                  <a:pt x="454744" y="1498856"/>
                  <a:pt x="454744" y="1504803"/>
                </a:cubicBezTo>
                <a:cubicBezTo>
                  <a:pt x="454744" y="1510749"/>
                  <a:pt x="449952" y="1515539"/>
                  <a:pt x="444006" y="1515539"/>
                </a:cubicBezTo>
                <a:cubicBezTo>
                  <a:pt x="438059" y="1515539"/>
                  <a:pt x="433269" y="1510749"/>
                  <a:pt x="433269" y="1504803"/>
                </a:cubicBezTo>
                <a:cubicBezTo>
                  <a:pt x="433269" y="1498856"/>
                  <a:pt x="438059" y="1494066"/>
                  <a:pt x="444006" y="1494066"/>
                </a:cubicBezTo>
                <a:close/>
                <a:moveTo>
                  <a:pt x="849526" y="1491753"/>
                </a:moveTo>
                <a:cubicBezTo>
                  <a:pt x="855473" y="1491753"/>
                  <a:pt x="860264" y="1496543"/>
                  <a:pt x="860264" y="1502489"/>
                </a:cubicBezTo>
                <a:cubicBezTo>
                  <a:pt x="860264" y="1508436"/>
                  <a:pt x="855473" y="1513226"/>
                  <a:pt x="849526" y="1513226"/>
                </a:cubicBezTo>
                <a:cubicBezTo>
                  <a:pt x="843580" y="1513226"/>
                  <a:pt x="838790" y="1508436"/>
                  <a:pt x="838790" y="1502489"/>
                </a:cubicBezTo>
                <a:cubicBezTo>
                  <a:pt x="838790" y="1496543"/>
                  <a:pt x="843580" y="1491753"/>
                  <a:pt x="849526" y="1491753"/>
                </a:cubicBezTo>
                <a:close/>
                <a:moveTo>
                  <a:pt x="380576" y="1489110"/>
                </a:moveTo>
                <a:cubicBezTo>
                  <a:pt x="386523" y="1489110"/>
                  <a:pt x="391314" y="1493900"/>
                  <a:pt x="391314" y="1499846"/>
                </a:cubicBezTo>
                <a:lnTo>
                  <a:pt x="386110" y="1505051"/>
                </a:lnTo>
                <a:lnTo>
                  <a:pt x="395278" y="1514218"/>
                </a:lnTo>
                <a:lnTo>
                  <a:pt x="389082" y="1520412"/>
                </a:lnTo>
                <a:lnTo>
                  <a:pt x="397259" y="1528589"/>
                </a:lnTo>
                <a:lnTo>
                  <a:pt x="390074" y="1535775"/>
                </a:lnTo>
                <a:lnTo>
                  <a:pt x="397920" y="1543619"/>
                </a:lnTo>
                <a:lnTo>
                  <a:pt x="390072" y="1551466"/>
                </a:lnTo>
                <a:lnTo>
                  <a:pt x="398417" y="1559808"/>
                </a:lnTo>
                <a:lnTo>
                  <a:pt x="389745" y="1568480"/>
                </a:lnTo>
                <a:lnTo>
                  <a:pt x="399739" y="1578473"/>
                </a:lnTo>
                <a:cubicBezTo>
                  <a:pt x="399739" y="1584419"/>
                  <a:pt x="394947" y="1589209"/>
                  <a:pt x="389001" y="1589209"/>
                </a:cubicBezTo>
                <a:cubicBezTo>
                  <a:pt x="383054" y="1589209"/>
                  <a:pt x="378264" y="1584419"/>
                  <a:pt x="378264" y="1578473"/>
                </a:cubicBezTo>
                <a:lnTo>
                  <a:pt x="386935" y="1569802"/>
                </a:lnTo>
                <a:lnTo>
                  <a:pt x="376943" y="1559808"/>
                </a:lnTo>
                <a:lnTo>
                  <a:pt x="384788" y="1551962"/>
                </a:lnTo>
                <a:lnTo>
                  <a:pt x="376447" y="1543619"/>
                </a:lnTo>
                <a:lnTo>
                  <a:pt x="383630" y="1536436"/>
                </a:lnTo>
                <a:lnTo>
                  <a:pt x="375786" y="1528589"/>
                </a:lnTo>
                <a:lnTo>
                  <a:pt x="381981" y="1522394"/>
                </a:lnTo>
                <a:lnTo>
                  <a:pt x="373804" y="1514218"/>
                </a:lnTo>
                <a:lnTo>
                  <a:pt x="379007" y="1509015"/>
                </a:lnTo>
                <a:lnTo>
                  <a:pt x="369840" y="1499846"/>
                </a:lnTo>
                <a:cubicBezTo>
                  <a:pt x="369840" y="1493900"/>
                  <a:pt x="374629" y="1489110"/>
                  <a:pt x="380576" y="1489110"/>
                </a:cubicBezTo>
                <a:close/>
                <a:moveTo>
                  <a:pt x="587218" y="1487789"/>
                </a:moveTo>
                <a:cubicBezTo>
                  <a:pt x="593165" y="1487789"/>
                  <a:pt x="597955" y="1492579"/>
                  <a:pt x="597955" y="1498525"/>
                </a:cubicBezTo>
                <a:cubicBezTo>
                  <a:pt x="597955" y="1504472"/>
                  <a:pt x="593165" y="1509263"/>
                  <a:pt x="587218" y="1509263"/>
                </a:cubicBezTo>
                <a:cubicBezTo>
                  <a:pt x="581272" y="1509263"/>
                  <a:pt x="576482" y="1504472"/>
                  <a:pt x="576482" y="1498525"/>
                </a:cubicBezTo>
                <a:cubicBezTo>
                  <a:pt x="576482" y="1492579"/>
                  <a:pt x="581272" y="1487789"/>
                  <a:pt x="587218" y="1487789"/>
                </a:cubicBezTo>
                <a:close/>
                <a:moveTo>
                  <a:pt x="373806" y="1484485"/>
                </a:moveTo>
                <a:cubicBezTo>
                  <a:pt x="374080" y="1484485"/>
                  <a:pt x="374300" y="1484707"/>
                  <a:pt x="374300" y="1484981"/>
                </a:cubicBezTo>
                <a:cubicBezTo>
                  <a:pt x="374300" y="1485255"/>
                  <a:pt x="374080" y="1485475"/>
                  <a:pt x="373806" y="1485475"/>
                </a:cubicBezTo>
                <a:cubicBezTo>
                  <a:pt x="373532" y="1485475"/>
                  <a:pt x="373310" y="1485255"/>
                  <a:pt x="373310" y="1484981"/>
                </a:cubicBezTo>
                <a:cubicBezTo>
                  <a:pt x="373310" y="1484707"/>
                  <a:pt x="373532" y="1484485"/>
                  <a:pt x="373806" y="1484485"/>
                </a:cubicBezTo>
                <a:close/>
                <a:moveTo>
                  <a:pt x="697891" y="1484320"/>
                </a:moveTo>
                <a:cubicBezTo>
                  <a:pt x="703822" y="1484320"/>
                  <a:pt x="708629" y="1489127"/>
                  <a:pt x="708629" y="1495057"/>
                </a:cubicBezTo>
                <a:cubicBezTo>
                  <a:pt x="708629" y="1500988"/>
                  <a:pt x="703822" y="1505795"/>
                  <a:pt x="697891" y="1505795"/>
                </a:cubicBezTo>
                <a:cubicBezTo>
                  <a:pt x="691961" y="1505795"/>
                  <a:pt x="687154" y="1500988"/>
                  <a:pt x="687154" y="1495057"/>
                </a:cubicBezTo>
                <a:cubicBezTo>
                  <a:pt x="687154" y="1489127"/>
                  <a:pt x="691961" y="1484320"/>
                  <a:pt x="697891" y="1484320"/>
                </a:cubicBezTo>
                <a:close/>
                <a:moveTo>
                  <a:pt x="1610517" y="1481017"/>
                </a:moveTo>
                <a:cubicBezTo>
                  <a:pt x="1616463" y="1481017"/>
                  <a:pt x="1621255" y="1485806"/>
                  <a:pt x="1621255" y="1491753"/>
                </a:cubicBezTo>
                <a:cubicBezTo>
                  <a:pt x="1621255" y="1497699"/>
                  <a:pt x="1616463" y="1502489"/>
                  <a:pt x="1610517" y="1502489"/>
                </a:cubicBezTo>
                <a:cubicBezTo>
                  <a:pt x="1604570" y="1502489"/>
                  <a:pt x="1599780" y="1497699"/>
                  <a:pt x="1599780" y="1491753"/>
                </a:cubicBezTo>
                <a:cubicBezTo>
                  <a:pt x="1599780" y="1485806"/>
                  <a:pt x="1604570" y="1481017"/>
                  <a:pt x="1610517" y="1481017"/>
                </a:cubicBezTo>
                <a:close/>
                <a:moveTo>
                  <a:pt x="488935" y="1474409"/>
                </a:moveTo>
                <a:cubicBezTo>
                  <a:pt x="494881" y="1474409"/>
                  <a:pt x="499671" y="1479199"/>
                  <a:pt x="499671" y="1485146"/>
                </a:cubicBezTo>
                <a:cubicBezTo>
                  <a:pt x="499671" y="1491092"/>
                  <a:pt x="494881" y="1495884"/>
                  <a:pt x="488935" y="1495884"/>
                </a:cubicBezTo>
                <a:cubicBezTo>
                  <a:pt x="482988" y="1495884"/>
                  <a:pt x="478199" y="1491092"/>
                  <a:pt x="478199" y="1485146"/>
                </a:cubicBezTo>
                <a:cubicBezTo>
                  <a:pt x="478199" y="1479199"/>
                  <a:pt x="482988" y="1474409"/>
                  <a:pt x="488935" y="1474409"/>
                </a:cubicBezTo>
                <a:close/>
                <a:moveTo>
                  <a:pt x="1166343" y="1472923"/>
                </a:moveTo>
                <a:cubicBezTo>
                  <a:pt x="1172290" y="1472923"/>
                  <a:pt x="1177081" y="1477713"/>
                  <a:pt x="1177081" y="1483659"/>
                </a:cubicBezTo>
                <a:cubicBezTo>
                  <a:pt x="1177081" y="1489606"/>
                  <a:pt x="1172290" y="1494396"/>
                  <a:pt x="1166343" y="1494396"/>
                </a:cubicBezTo>
                <a:cubicBezTo>
                  <a:pt x="1160396" y="1494396"/>
                  <a:pt x="1155607" y="1489606"/>
                  <a:pt x="1155607" y="1483659"/>
                </a:cubicBezTo>
                <a:cubicBezTo>
                  <a:pt x="1155607" y="1477713"/>
                  <a:pt x="1160396" y="1472923"/>
                  <a:pt x="1166343" y="1472923"/>
                </a:cubicBezTo>
                <a:close/>
                <a:moveTo>
                  <a:pt x="553356" y="1457395"/>
                </a:moveTo>
                <a:cubicBezTo>
                  <a:pt x="559303" y="1457395"/>
                  <a:pt x="564095" y="1462185"/>
                  <a:pt x="564095" y="1468132"/>
                </a:cubicBezTo>
                <a:cubicBezTo>
                  <a:pt x="564095" y="1474078"/>
                  <a:pt x="559303" y="1478868"/>
                  <a:pt x="553356" y="1478868"/>
                </a:cubicBezTo>
                <a:cubicBezTo>
                  <a:pt x="547410" y="1478868"/>
                  <a:pt x="542620" y="1474078"/>
                  <a:pt x="542620" y="1468132"/>
                </a:cubicBezTo>
                <a:cubicBezTo>
                  <a:pt x="542620" y="1462185"/>
                  <a:pt x="547410" y="1457395"/>
                  <a:pt x="553356" y="1457395"/>
                </a:cubicBezTo>
                <a:close/>
                <a:moveTo>
                  <a:pt x="475885" y="1455413"/>
                </a:moveTo>
                <a:cubicBezTo>
                  <a:pt x="481832" y="1455413"/>
                  <a:pt x="486622" y="1460203"/>
                  <a:pt x="486622" y="1466149"/>
                </a:cubicBezTo>
                <a:cubicBezTo>
                  <a:pt x="486622" y="1472096"/>
                  <a:pt x="481832" y="1476887"/>
                  <a:pt x="475885" y="1476887"/>
                </a:cubicBezTo>
                <a:cubicBezTo>
                  <a:pt x="469939" y="1476887"/>
                  <a:pt x="465149" y="1472096"/>
                  <a:pt x="465149" y="1466149"/>
                </a:cubicBezTo>
                <a:cubicBezTo>
                  <a:pt x="465149" y="1460203"/>
                  <a:pt x="469939" y="1455413"/>
                  <a:pt x="475885" y="1455413"/>
                </a:cubicBezTo>
                <a:close/>
                <a:moveTo>
                  <a:pt x="940871" y="1449302"/>
                </a:moveTo>
                <a:cubicBezTo>
                  <a:pt x="946818" y="1449302"/>
                  <a:pt x="951607" y="1454092"/>
                  <a:pt x="951607" y="1460038"/>
                </a:cubicBezTo>
                <a:cubicBezTo>
                  <a:pt x="951607" y="1465985"/>
                  <a:pt x="946818" y="1470775"/>
                  <a:pt x="940871" y="1470775"/>
                </a:cubicBezTo>
                <a:cubicBezTo>
                  <a:pt x="934924" y="1470775"/>
                  <a:pt x="930135" y="1465985"/>
                  <a:pt x="930135" y="1460038"/>
                </a:cubicBezTo>
                <a:cubicBezTo>
                  <a:pt x="930135" y="1454092"/>
                  <a:pt x="934924" y="1449302"/>
                  <a:pt x="940871" y="1449302"/>
                </a:cubicBezTo>
                <a:close/>
                <a:moveTo>
                  <a:pt x="396929" y="1448641"/>
                </a:moveTo>
                <a:cubicBezTo>
                  <a:pt x="402130" y="1448641"/>
                  <a:pt x="406346" y="1452857"/>
                  <a:pt x="406346" y="1458056"/>
                </a:cubicBezTo>
                <a:lnTo>
                  <a:pt x="403453" y="1460949"/>
                </a:lnTo>
                <a:lnTo>
                  <a:pt x="413777" y="1471270"/>
                </a:lnTo>
                <a:lnTo>
                  <a:pt x="409317" y="1475731"/>
                </a:lnTo>
                <a:lnTo>
                  <a:pt x="417414" y="1483824"/>
                </a:lnTo>
                <a:lnTo>
                  <a:pt x="412126" y="1489112"/>
                </a:lnTo>
                <a:lnTo>
                  <a:pt x="419559" y="1496543"/>
                </a:lnTo>
                <a:lnTo>
                  <a:pt x="413529" y="1502573"/>
                </a:lnTo>
                <a:lnTo>
                  <a:pt x="420880" y="1509922"/>
                </a:lnTo>
                <a:lnTo>
                  <a:pt x="414273" y="1516531"/>
                </a:lnTo>
                <a:lnTo>
                  <a:pt x="422698" y="1524954"/>
                </a:lnTo>
                <a:lnTo>
                  <a:pt x="415594" y="1532057"/>
                </a:lnTo>
                <a:lnTo>
                  <a:pt x="425837" y="1542298"/>
                </a:lnTo>
                <a:cubicBezTo>
                  <a:pt x="425837" y="1548244"/>
                  <a:pt x="421045" y="1553036"/>
                  <a:pt x="415098" y="1553036"/>
                </a:cubicBezTo>
                <a:cubicBezTo>
                  <a:pt x="409152" y="1553036"/>
                  <a:pt x="404362" y="1548244"/>
                  <a:pt x="404362" y="1542298"/>
                </a:cubicBezTo>
                <a:lnTo>
                  <a:pt x="411465" y="1535194"/>
                </a:lnTo>
                <a:lnTo>
                  <a:pt x="401225" y="1524954"/>
                </a:lnTo>
                <a:lnTo>
                  <a:pt x="407830" y="1518348"/>
                </a:lnTo>
                <a:lnTo>
                  <a:pt x="399408" y="1509922"/>
                </a:lnTo>
                <a:lnTo>
                  <a:pt x="405436" y="1503894"/>
                </a:lnTo>
                <a:lnTo>
                  <a:pt x="398086" y="1496543"/>
                </a:lnTo>
                <a:lnTo>
                  <a:pt x="403370" y="1491259"/>
                </a:lnTo>
                <a:lnTo>
                  <a:pt x="395939" y="1483824"/>
                </a:lnTo>
                <a:lnTo>
                  <a:pt x="400398" y="1479366"/>
                </a:lnTo>
                <a:lnTo>
                  <a:pt x="392304" y="1471270"/>
                </a:lnTo>
                <a:lnTo>
                  <a:pt x="396515" y="1467060"/>
                </a:lnTo>
                <a:lnTo>
                  <a:pt x="387514" y="1458056"/>
                </a:lnTo>
                <a:cubicBezTo>
                  <a:pt x="387514" y="1452857"/>
                  <a:pt x="391730" y="1448641"/>
                  <a:pt x="396929" y="1448641"/>
                </a:cubicBezTo>
                <a:close/>
                <a:moveTo>
                  <a:pt x="1774046" y="1446659"/>
                </a:moveTo>
                <a:cubicBezTo>
                  <a:pt x="1779992" y="1446659"/>
                  <a:pt x="1784784" y="1451449"/>
                  <a:pt x="1784784" y="1457395"/>
                </a:cubicBezTo>
                <a:cubicBezTo>
                  <a:pt x="1784784" y="1463342"/>
                  <a:pt x="1779992" y="1468133"/>
                  <a:pt x="1774046" y="1468133"/>
                </a:cubicBezTo>
                <a:cubicBezTo>
                  <a:pt x="1768099" y="1468133"/>
                  <a:pt x="1763309" y="1463342"/>
                  <a:pt x="1763309" y="1457395"/>
                </a:cubicBezTo>
                <a:cubicBezTo>
                  <a:pt x="1763309" y="1451449"/>
                  <a:pt x="1768099" y="1446659"/>
                  <a:pt x="1774046" y="1446659"/>
                </a:cubicBezTo>
                <a:close/>
                <a:moveTo>
                  <a:pt x="644205" y="1445338"/>
                </a:moveTo>
                <a:cubicBezTo>
                  <a:pt x="650152" y="1445338"/>
                  <a:pt x="654943" y="1450127"/>
                  <a:pt x="654943" y="1456074"/>
                </a:cubicBezTo>
                <a:cubicBezTo>
                  <a:pt x="654943" y="1462020"/>
                  <a:pt x="650152" y="1466812"/>
                  <a:pt x="644205" y="1466812"/>
                </a:cubicBezTo>
                <a:cubicBezTo>
                  <a:pt x="638259" y="1466812"/>
                  <a:pt x="633469" y="1462020"/>
                  <a:pt x="633469" y="1456074"/>
                </a:cubicBezTo>
                <a:cubicBezTo>
                  <a:pt x="633469" y="1450127"/>
                  <a:pt x="638259" y="1445338"/>
                  <a:pt x="644205" y="1445338"/>
                </a:cubicBezTo>
                <a:close/>
                <a:moveTo>
                  <a:pt x="770239" y="1441538"/>
                </a:moveTo>
                <a:cubicBezTo>
                  <a:pt x="776186" y="1441538"/>
                  <a:pt x="780976" y="1446328"/>
                  <a:pt x="780976" y="1452274"/>
                </a:cubicBezTo>
                <a:cubicBezTo>
                  <a:pt x="780976" y="1458221"/>
                  <a:pt x="776186" y="1463011"/>
                  <a:pt x="770239" y="1463011"/>
                </a:cubicBezTo>
                <a:cubicBezTo>
                  <a:pt x="764293" y="1463011"/>
                  <a:pt x="759503" y="1458221"/>
                  <a:pt x="759503" y="1452274"/>
                </a:cubicBezTo>
                <a:cubicBezTo>
                  <a:pt x="759503" y="1446328"/>
                  <a:pt x="764293" y="1441538"/>
                  <a:pt x="770239" y="1441538"/>
                </a:cubicBezTo>
                <a:close/>
                <a:moveTo>
                  <a:pt x="528578" y="1433609"/>
                </a:moveTo>
                <a:cubicBezTo>
                  <a:pt x="534525" y="1433609"/>
                  <a:pt x="539316" y="1438399"/>
                  <a:pt x="539316" y="1444345"/>
                </a:cubicBezTo>
                <a:cubicBezTo>
                  <a:pt x="539316" y="1450292"/>
                  <a:pt x="534525" y="1455084"/>
                  <a:pt x="528578" y="1455084"/>
                </a:cubicBezTo>
                <a:cubicBezTo>
                  <a:pt x="522632" y="1455084"/>
                  <a:pt x="517842" y="1450292"/>
                  <a:pt x="517842" y="1444345"/>
                </a:cubicBezTo>
                <a:cubicBezTo>
                  <a:pt x="517842" y="1438399"/>
                  <a:pt x="522632" y="1433609"/>
                  <a:pt x="528578" y="1433609"/>
                </a:cubicBezTo>
                <a:close/>
                <a:moveTo>
                  <a:pt x="1290395" y="1432288"/>
                </a:moveTo>
                <a:cubicBezTo>
                  <a:pt x="1296326" y="1432288"/>
                  <a:pt x="1301131" y="1437095"/>
                  <a:pt x="1301131" y="1443024"/>
                </a:cubicBezTo>
                <a:cubicBezTo>
                  <a:pt x="1301131" y="1448955"/>
                  <a:pt x="1296326" y="1453762"/>
                  <a:pt x="1290395" y="1453762"/>
                </a:cubicBezTo>
                <a:cubicBezTo>
                  <a:pt x="1284465" y="1453762"/>
                  <a:pt x="1279658" y="1448955"/>
                  <a:pt x="1279658" y="1443024"/>
                </a:cubicBezTo>
                <a:cubicBezTo>
                  <a:pt x="1279658" y="1437095"/>
                  <a:pt x="1284465" y="1432288"/>
                  <a:pt x="1290395" y="1432288"/>
                </a:cubicBezTo>
                <a:close/>
                <a:moveTo>
                  <a:pt x="420551" y="1419238"/>
                </a:moveTo>
                <a:cubicBezTo>
                  <a:pt x="426497" y="1419238"/>
                  <a:pt x="431289" y="1424028"/>
                  <a:pt x="431289" y="1429974"/>
                </a:cubicBezTo>
                <a:lnTo>
                  <a:pt x="428479" y="1432784"/>
                </a:lnTo>
                <a:lnTo>
                  <a:pt x="436904" y="1441207"/>
                </a:lnTo>
                <a:lnTo>
                  <a:pt x="433352" y="1444758"/>
                </a:lnTo>
                <a:lnTo>
                  <a:pt x="440537" y="1451943"/>
                </a:lnTo>
                <a:lnTo>
                  <a:pt x="436325" y="1456155"/>
                </a:lnTo>
                <a:lnTo>
                  <a:pt x="443180" y="1463011"/>
                </a:lnTo>
                <a:lnTo>
                  <a:pt x="438389" y="1467802"/>
                </a:lnTo>
                <a:lnTo>
                  <a:pt x="445492" y="1474904"/>
                </a:lnTo>
                <a:lnTo>
                  <a:pt x="440371" y="1480025"/>
                </a:lnTo>
                <a:lnTo>
                  <a:pt x="448962" y="1488614"/>
                </a:lnTo>
                <a:cubicBezTo>
                  <a:pt x="448962" y="1494561"/>
                  <a:pt x="444170" y="1499352"/>
                  <a:pt x="438224" y="1499352"/>
                </a:cubicBezTo>
                <a:cubicBezTo>
                  <a:pt x="432277" y="1499352"/>
                  <a:pt x="427487" y="1494561"/>
                  <a:pt x="427487" y="1488614"/>
                </a:cubicBezTo>
                <a:lnTo>
                  <a:pt x="432607" y="1483495"/>
                </a:lnTo>
                <a:lnTo>
                  <a:pt x="424019" y="1474904"/>
                </a:lnTo>
                <a:lnTo>
                  <a:pt x="428809" y="1470114"/>
                </a:lnTo>
                <a:lnTo>
                  <a:pt x="421707" y="1463011"/>
                </a:lnTo>
                <a:lnTo>
                  <a:pt x="425918" y="1458800"/>
                </a:lnTo>
                <a:lnTo>
                  <a:pt x="419065" y="1451943"/>
                </a:lnTo>
                <a:lnTo>
                  <a:pt x="422614" y="1448393"/>
                </a:lnTo>
                <a:lnTo>
                  <a:pt x="415430" y="1441207"/>
                </a:lnTo>
                <a:lnTo>
                  <a:pt x="418237" y="1438399"/>
                </a:lnTo>
                <a:lnTo>
                  <a:pt x="409814" y="1429974"/>
                </a:lnTo>
                <a:cubicBezTo>
                  <a:pt x="409814" y="1424028"/>
                  <a:pt x="414604" y="1419238"/>
                  <a:pt x="420551" y="1419238"/>
                </a:cubicBezTo>
                <a:close/>
                <a:moveTo>
                  <a:pt x="412291" y="1417587"/>
                </a:moveTo>
                <a:cubicBezTo>
                  <a:pt x="412456" y="1417587"/>
                  <a:pt x="412456" y="1417587"/>
                  <a:pt x="412456" y="1417752"/>
                </a:cubicBezTo>
                <a:cubicBezTo>
                  <a:pt x="412456" y="1417918"/>
                  <a:pt x="412291" y="1417918"/>
                  <a:pt x="412291" y="1417918"/>
                </a:cubicBezTo>
                <a:cubicBezTo>
                  <a:pt x="412126" y="1417918"/>
                  <a:pt x="412126" y="1417918"/>
                  <a:pt x="412126" y="1417752"/>
                </a:cubicBezTo>
                <a:cubicBezTo>
                  <a:pt x="412126" y="1417587"/>
                  <a:pt x="412126" y="1417587"/>
                  <a:pt x="412291" y="1417587"/>
                </a:cubicBezTo>
                <a:close/>
                <a:moveTo>
                  <a:pt x="510905" y="1415274"/>
                </a:moveTo>
                <a:cubicBezTo>
                  <a:pt x="516852" y="1415274"/>
                  <a:pt x="521642" y="1420063"/>
                  <a:pt x="521642" y="1426010"/>
                </a:cubicBezTo>
                <a:cubicBezTo>
                  <a:pt x="521642" y="1431957"/>
                  <a:pt x="516852" y="1436748"/>
                  <a:pt x="510905" y="1436748"/>
                </a:cubicBezTo>
                <a:cubicBezTo>
                  <a:pt x="504959" y="1436748"/>
                  <a:pt x="500169" y="1431957"/>
                  <a:pt x="500169" y="1426010"/>
                </a:cubicBezTo>
                <a:cubicBezTo>
                  <a:pt x="500169" y="1420063"/>
                  <a:pt x="504959" y="1415274"/>
                  <a:pt x="510905" y="1415274"/>
                </a:cubicBezTo>
                <a:close/>
                <a:moveTo>
                  <a:pt x="1948477" y="1415109"/>
                </a:moveTo>
                <a:cubicBezTo>
                  <a:pt x="1954424" y="1415109"/>
                  <a:pt x="1959215" y="1419899"/>
                  <a:pt x="1959215" y="1425845"/>
                </a:cubicBezTo>
                <a:cubicBezTo>
                  <a:pt x="1959215" y="1431792"/>
                  <a:pt x="1954424" y="1436581"/>
                  <a:pt x="1948477" y="1436581"/>
                </a:cubicBezTo>
                <a:cubicBezTo>
                  <a:pt x="1942530" y="1436581"/>
                  <a:pt x="1937741" y="1431792"/>
                  <a:pt x="1937741" y="1425845"/>
                </a:cubicBezTo>
                <a:cubicBezTo>
                  <a:pt x="1937741" y="1419899"/>
                  <a:pt x="1942530" y="1415109"/>
                  <a:pt x="1948477" y="1415109"/>
                </a:cubicBezTo>
                <a:close/>
                <a:moveTo>
                  <a:pt x="603076" y="1414944"/>
                </a:moveTo>
                <a:cubicBezTo>
                  <a:pt x="609022" y="1414944"/>
                  <a:pt x="613812" y="1419734"/>
                  <a:pt x="613812" y="1425681"/>
                </a:cubicBezTo>
                <a:cubicBezTo>
                  <a:pt x="613812" y="1431627"/>
                  <a:pt x="609022" y="1436417"/>
                  <a:pt x="603076" y="1436417"/>
                </a:cubicBezTo>
                <a:cubicBezTo>
                  <a:pt x="597129" y="1436417"/>
                  <a:pt x="592339" y="1431627"/>
                  <a:pt x="592339" y="1425681"/>
                </a:cubicBezTo>
                <a:cubicBezTo>
                  <a:pt x="592339" y="1419734"/>
                  <a:pt x="597129" y="1414944"/>
                  <a:pt x="603076" y="1414944"/>
                </a:cubicBezTo>
                <a:close/>
                <a:moveTo>
                  <a:pt x="1040807" y="1406519"/>
                </a:moveTo>
                <a:cubicBezTo>
                  <a:pt x="1046754" y="1406519"/>
                  <a:pt x="1051543" y="1411309"/>
                  <a:pt x="1051543" y="1417256"/>
                </a:cubicBezTo>
                <a:cubicBezTo>
                  <a:pt x="1051543" y="1423202"/>
                  <a:pt x="1046754" y="1427994"/>
                  <a:pt x="1040807" y="1427994"/>
                </a:cubicBezTo>
                <a:cubicBezTo>
                  <a:pt x="1034860" y="1427994"/>
                  <a:pt x="1030071" y="1423202"/>
                  <a:pt x="1030071" y="1417256"/>
                </a:cubicBezTo>
                <a:cubicBezTo>
                  <a:pt x="1030071" y="1411309"/>
                  <a:pt x="1034860" y="1406519"/>
                  <a:pt x="1040807" y="1406519"/>
                </a:cubicBezTo>
                <a:close/>
                <a:moveTo>
                  <a:pt x="707306" y="1401894"/>
                </a:moveTo>
                <a:cubicBezTo>
                  <a:pt x="713252" y="1401894"/>
                  <a:pt x="718044" y="1406684"/>
                  <a:pt x="718044" y="1412631"/>
                </a:cubicBezTo>
                <a:cubicBezTo>
                  <a:pt x="718044" y="1418577"/>
                  <a:pt x="713252" y="1423369"/>
                  <a:pt x="707306" y="1423369"/>
                </a:cubicBezTo>
                <a:cubicBezTo>
                  <a:pt x="701359" y="1423369"/>
                  <a:pt x="696569" y="1418577"/>
                  <a:pt x="696569" y="1412631"/>
                </a:cubicBezTo>
                <a:cubicBezTo>
                  <a:pt x="696569" y="1406684"/>
                  <a:pt x="701359" y="1401894"/>
                  <a:pt x="707306" y="1401894"/>
                </a:cubicBezTo>
                <a:close/>
                <a:moveTo>
                  <a:pt x="850022" y="1397930"/>
                </a:moveTo>
                <a:cubicBezTo>
                  <a:pt x="855969" y="1397930"/>
                  <a:pt x="860758" y="1402720"/>
                  <a:pt x="860758" y="1408666"/>
                </a:cubicBezTo>
                <a:cubicBezTo>
                  <a:pt x="860758" y="1414613"/>
                  <a:pt x="855969" y="1419403"/>
                  <a:pt x="850022" y="1419403"/>
                </a:cubicBezTo>
                <a:cubicBezTo>
                  <a:pt x="844076" y="1419403"/>
                  <a:pt x="839286" y="1414613"/>
                  <a:pt x="839286" y="1408666"/>
                </a:cubicBezTo>
                <a:cubicBezTo>
                  <a:pt x="839286" y="1402720"/>
                  <a:pt x="844076" y="1397930"/>
                  <a:pt x="850022" y="1397930"/>
                </a:cubicBezTo>
                <a:close/>
                <a:moveTo>
                  <a:pt x="1425018" y="1392809"/>
                </a:moveTo>
                <a:cubicBezTo>
                  <a:pt x="1430964" y="1392809"/>
                  <a:pt x="1435754" y="1397599"/>
                  <a:pt x="1435754" y="1403545"/>
                </a:cubicBezTo>
                <a:cubicBezTo>
                  <a:pt x="1435754" y="1409492"/>
                  <a:pt x="1430964" y="1414283"/>
                  <a:pt x="1425018" y="1414283"/>
                </a:cubicBezTo>
                <a:cubicBezTo>
                  <a:pt x="1419071" y="1414283"/>
                  <a:pt x="1414282" y="1409492"/>
                  <a:pt x="1414282" y="1403545"/>
                </a:cubicBezTo>
                <a:cubicBezTo>
                  <a:pt x="1414282" y="1397599"/>
                  <a:pt x="1419071" y="1392809"/>
                  <a:pt x="1425018" y="1392809"/>
                </a:cubicBezTo>
                <a:close/>
                <a:moveTo>
                  <a:pt x="572186" y="1391652"/>
                </a:moveTo>
                <a:cubicBezTo>
                  <a:pt x="578133" y="1391652"/>
                  <a:pt x="582923" y="1396442"/>
                  <a:pt x="582923" y="1402389"/>
                </a:cubicBezTo>
                <a:cubicBezTo>
                  <a:pt x="582923" y="1408335"/>
                  <a:pt x="578133" y="1413127"/>
                  <a:pt x="572186" y="1413127"/>
                </a:cubicBezTo>
                <a:cubicBezTo>
                  <a:pt x="566240" y="1413127"/>
                  <a:pt x="561450" y="1408335"/>
                  <a:pt x="561450" y="1402389"/>
                </a:cubicBezTo>
                <a:cubicBezTo>
                  <a:pt x="561450" y="1396442"/>
                  <a:pt x="566240" y="1391652"/>
                  <a:pt x="572186" y="1391652"/>
                </a:cubicBezTo>
                <a:close/>
                <a:moveTo>
                  <a:pt x="2133480" y="1387523"/>
                </a:moveTo>
                <a:cubicBezTo>
                  <a:pt x="2139426" y="1387523"/>
                  <a:pt x="2144218" y="1392313"/>
                  <a:pt x="2144218" y="1398260"/>
                </a:cubicBezTo>
                <a:cubicBezTo>
                  <a:pt x="2144218" y="1404206"/>
                  <a:pt x="2139426" y="1408998"/>
                  <a:pt x="2133480" y="1408998"/>
                </a:cubicBezTo>
                <a:cubicBezTo>
                  <a:pt x="2127534" y="1408998"/>
                  <a:pt x="2122744" y="1404206"/>
                  <a:pt x="2122744" y="1398260"/>
                </a:cubicBezTo>
                <a:cubicBezTo>
                  <a:pt x="2122744" y="1392313"/>
                  <a:pt x="2127534" y="1387523"/>
                  <a:pt x="2133480" y="1387523"/>
                </a:cubicBezTo>
                <a:close/>
                <a:moveTo>
                  <a:pt x="436902" y="1381247"/>
                </a:moveTo>
                <a:cubicBezTo>
                  <a:pt x="441829" y="1381247"/>
                  <a:pt x="445823" y="1385241"/>
                  <a:pt x="445823" y="1390168"/>
                </a:cubicBezTo>
                <a:lnTo>
                  <a:pt x="445492" y="1390499"/>
                </a:lnTo>
                <a:lnTo>
                  <a:pt x="455403" y="1400408"/>
                </a:lnTo>
                <a:lnTo>
                  <a:pt x="453420" y="1402390"/>
                </a:lnTo>
                <a:lnTo>
                  <a:pt x="460855" y="1409823"/>
                </a:lnTo>
                <a:lnTo>
                  <a:pt x="458377" y="1412301"/>
                </a:lnTo>
                <a:lnTo>
                  <a:pt x="464819" y="1418742"/>
                </a:lnTo>
                <a:lnTo>
                  <a:pt x="461845" y="1421716"/>
                </a:lnTo>
                <a:lnTo>
                  <a:pt x="468289" y="1428159"/>
                </a:lnTo>
                <a:lnTo>
                  <a:pt x="465067" y="1431381"/>
                </a:lnTo>
                <a:lnTo>
                  <a:pt x="472252" y="1438564"/>
                </a:lnTo>
                <a:lnTo>
                  <a:pt x="468865" y="1441951"/>
                </a:lnTo>
                <a:lnTo>
                  <a:pt x="477869" y="1450953"/>
                </a:lnTo>
                <a:cubicBezTo>
                  <a:pt x="477869" y="1456899"/>
                  <a:pt x="473078" y="1461691"/>
                  <a:pt x="467131" y="1461691"/>
                </a:cubicBezTo>
                <a:cubicBezTo>
                  <a:pt x="461184" y="1461691"/>
                  <a:pt x="456395" y="1456899"/>
                  <a:pt x="456395" y="1450953"/>
                </a:cubicBezTo>
                <a:lnTo>
                  <a:pt x="459780" y="1447568"/>
                </a:lnTo>
                <a:lnTo>
                  <a:pt x="450779" y="1438564"/>
                </a:lnTo>
                <a:lnTo>
                  <a:pt x="454000" y="1435343"/>
                </a:lnTo>
                <a:lnTo>
                  <a:pt x="446815" y="1428159"/>
                </a:lnTo>
                <a:lnTo>
                  <a:pt x="449789" y="1425184"/>
                </a:lnTo>
                <a:lnTo>
                  <a:pt x="443347" y="1418742"/>
                </a:lnTo>
                <a:lnTo>
                  <a:pt x="445823" y="1416265"/>
                </a:lnTo>
                <a:lnTo>
                  <a:pt x="439382" y="1409823"/>
                </a:lnTo>
                <a:lnTo>
                  <a:pt x="441363" y="1407843"/>
                </a:lnTo>
                <a:lnTo>
                  <a:pt x="433930" y="1400408"/>
                </a:lnTo>
                <a:lnTo>
                  <a:pt x="436077" y="1398261"/>
                </a:lnTo>
                <a:lnTo>
                  <a:pt x="427983" y="1390168"/>
                </a:lnTo>
                <a:cubicBezTo>
                  <a:pt x="427983" y="1385241"/>
                  <a:pt x="431977" y="1381247"/>
                  <a:pt x="436902" y="1381247"/>
                </a:cubicBezTo>
                <a:close/>
                <a:moveTo>
                  <a:pt x="549722" y="1373979"/>
                </a:moveTo>
                <a:cubicBezTo>
                  <a:pt x="555668" y="1373979"/>
                  <a:pt x="560458" y="1378769"/>
                  <a:pt x="560458" y="1384715"/>
                </a:cubicBezTo>
                <a:cubicBezTo>
                  <a:pt x="560458" y="1390662"/>
                  <a:pt x="555668" y="1395454"/>
                  <a:pt x="549722" y="1395454"/>
                </a:cubicBezTo>
                <a:cubicBezTo>
                  <a:pt x="543775" y="1395454"/>
                  <a:pt x="538985" y="1390662"/>
                  <a:pt x="538985" y="1384715"/>
                </a:cubicBezTo>
                <a:cubicBezTo>
                  <a:pt x="538985" y="1378769"/>
                  <a:pt x="543775" y="1373979"/>
                  <a:pt x="549722" y="1373979"/>
                </a:cubicBezTo>
                <a:close/>
                <a:moveTo>
                  <a:pt x="658247" y="1371336"/>
                </a:moveTo>
                <a:cubicBezTo>
                  <a:pt x="664178" y="1371336"/>
                  <a:pt x="668985" y="1376143"/>
                  <a:pt x="668985" y="1382073"/>
                </a:cubicBezTo>
                <a:cubicBezTo>
                  <a:pt x="668985" y="1388003"/>
                  <a:pt x="664178" y="1392811"/>
                  <a:pt x="658247" y="1392811"/>
                </a:cubicBezTo>
                <a:cubicBezTo>
                  <a:pt x="652318" y="1392811"/>
                  <a:pt x="647511" y="1388003"/>
                  <a:pt x="647511" y="1382073"/>
                </a:cubicBezTo>
                <a:cubicBezTo>
                  <a:pt x="647511" y="1376143"/>
                  <a:pt x="652318" y="1371336"/>
                  <a:pt x="658247" y="1371336"/>
                </a:cubicBezTo>
                <a:close/>
                <a:moveTo>
                  <a:pt x="2327568" y="1364894"/>
                </a:moveTo>
                <a:cubicBezTo>
                  <a:pt x="2333515" y="1364894"/>
                  <a:pt x="2338306" y="1369684"/>
                  <a:pt x="2338306" y="1375630"/>
                </a:cubicBezTo>
                <a:cubicBezTo>
                  <a:pt x="2338306" y="1381577"/>
                  <a:pt x="2333515" y="1386366"/>
                  <a:pt x="2327568" y="1386366"/>
                </a:cubicBezTo>
                <a:cubicBezTo>
                  <a:pt x="2321622" y="1386366"/>
                  <a:pt x="2316832" y="1381577"/>
                  <a:pt x="2316832" y="1375630"/>
                </a:cubicBezTo>
                <a:cubicBezTo>
                  <a:pt x="2316832" y="1369684"/>
                  <a:pt x="2321622" y="1364894"/>
                  <a:pt x="2327568" y="1364894"/>
                </a:cubicBezTo>
                <a:close/>
                <a:moveTo>
                  <a:pt x="1149825" y="1363902"/>
                </a:moveTo>
                <a:cubicBezTo>
                  <a:pt x="1155771" y="1363902"/>
                  <a:pt x="1160563" y="1368692"/>
                  <a:pt x="1160563" y="1374638"/>
                </a:cubicBezTo>
                <a:cubicBezTo>
                  <a:pt x="1160563" y="1380585"/>
                  <a:pt x="1155771" y="1385376"/>
                  <a:pt x="1149825" y="1385376"/>
                </a:cubicBezTo>
                <a:cubicBezTo>
                  <a:pt x="1143878" y="1385376"/>
                  <a:pt x="1139088" y="1380585"/>
                  <a:pt x="1139088" y="1374638"/>
                </a:cubicBezTo>
                <a:cubicBezTo>
                  <a:pt x="1139088" y="1368692"/>
                  <a:pt x="1143878" y="1363902"/>
                  <a:pt x="1149825" y="1363902"/>
                </a:cubicBezTo>
                <a:close/>
                <a:moveTo>
                  <a:pt x="777011" y="1357790"/>
                </a:moveTo>
                <a:cubicBezTo>
                  <a:pt x="782958" y="1357790"/>
                  <a:pt x="787748" y="1362580"/>
                  <a:pt x="787748" y="1368527"/>
                </a:cubicBezTo>
                <a:cubicBezTo>
                  <a:pt x="787748" y="1374473"/>
                  <a:pt x="782958" y="1379263"/>
                  <a:pt x="777011" y="1379263"/>
                </a:cubicBezTo>
                <a:cubicBezTo>
                  <a:pt x="771065" y="1379263"/>
                  <a:pt x="766275" y="1374473"/>
                  <a:pt x="766275" y="1368527"/>
                </a:cubicBezTo>
                <a:cubicBezTo>
                  <a:pt x="766275" y="1362580"/>
                  <a:pt x="771065" y="1357790"/>
                  <a:pt x="777011" y="1357790"/>
                </a:cubicBezTo>
                <a:close/>
                <a:moveTo>
                  <a:pt x="3358135" y="1356304"/>
                </a:moveTo>
                <a:cubicBezTo>
                  <a:pt x="3364082" y="1356304"/>
                  <a:pt x="3368873" y="1361094"/>
                  <a:pt x="3368873" y="1367041"/>
                </a:cubicBezTo>
                <a:cubicBezTo>
                  <a:pt x="3368873" y="1372987"/>
                  <a:pt x="3364082" y="1377779"/>
                  <a:pt x="3358135" y="1377779"/>
                </a:cubicBezTo>
                <a:cubicBezTo>
                  <a:pt x="3352188" y="1377779"/>
                  <a:pt x="3347399" y="1372987"/>
                  <a:pt x="3347399" y="1367041"/>
                </a:cubicBezTo>
                <a:cubicBezTo>
                  <a:pt x="3347399" y="1361094"/>
                  <a:pt x="3352188" y="1356304"/>
                  <a:pt x="3358135" y="1356304"/>
                </a:cubicBezTo>
                <a:close/>
                <a:moveTo>
                  <a:pt x="1570048" y="1354487"/>
                </a:moveTo>
                <a:cubicBezTo>
                  <a:pt x="1575994" y="1354487"/>
                  <a:pt x="1580784" y="1359277"/>
                  <a:pt x="1580784" y="1365223"/>
                </a:cubicBezTo>
                <a:cubicBezTo>
                  <a:pt x="1580784" y="1371170"/>
                  <a:pt x="1575994" y="1375961"/>
                  <a:pt x="1570048" y="1375961"/>
                </a:cubicBezTo>
                <a:cubicBezTo>
                  <a:pt x="1564101" y="1375961"/>
                  <a:pt x="1559312" y="1371170"/>
                  <a:pt x="1559312" y="1365223"/>
                </a:cubicBezTo>
                <a:cubicBezTo>
                  <a:pt x="1559312" y="1359277"/>
                  <a:pt x="1564101" y="1354487"/>
                  <a:pt x="1570048" y="1354487"/>
                </a:cubicBezTo>
                <a:close/>
                <a:moveTo>
                  <a:pt x="937403" y="1353991"/>
                </a:moveTo>
                <a:cubicBezTo>
                  <a:pt x="943349" y="1353991"/>
                  <a:pt x="948141" y="1358781"/>
                  <a:pt x="948141" y="1364727"/>
                </a:cubicBezTo>
                <a:cubicBezTo>
                  <a:pt x="948141" y="1370674"/>
                  <a:pt x="943349" y="1375465"/>
                  <a:pt x="937403" y="1375465"/>
                </a:cubicBezTo>
                <a:cubicBezTo>
                  <a:pt x="931456" y="1375465"/>
                  <a:pt x="926666" y="1370674"/>
                  <a:pt x="926666" y="1364727"/>
                </a:cubicBezTo>
                <a:cubicBezTo>
                  <a:pt x="926666" y="1358781"/>
                  <a:pt x="931456" y="1353991"/>
                  <a:pt x="937403" y="1353991"/>
                </a:cubicBezTo>
                <a:close/>
                <a:moveTo>
                  <a:pt x="462010" y="1350523"/>
                </a:moveTo>
                <a:cubicBezTo>
                  <a:pt x="467956" y="1350523"/>
                  <a:pt x="472748" y="1355312"/>
                  <a:pt x="472748" y="1361259"/>
                </a:cubicBezTo>
                <a:lnTo>
                  <a:pt x="472334" y="1361673"/>
                </a:lnTo>
                <a:lnTo>
                  <a:pt x="480181" y="1369519"/>
                </a:lnTo>
                <a:lnTo>
                  <a:pt x="479272" y="1370428"/>
                </a:lnTo>
                <a:lnTo>
                  <a:pt x="485796" y="1376951"/>
                </a:lnTo>
                <a:lnTo>
                  <a:pt x="484558" y="1378192"/>
                </a:lnTo>
                <a:lnTo>
                  <a:pt x="490588" y="1384220"/>
                </a:lnTo>
                <a:lnTo>
                  <a:pt x="489100" y="1385707"/>
                </a:lnTo>
                <a:lnTo>
                  <a:pt x="495377" y="1391983"/>
                </a:lnTo>
                <a:lnTo>
                  <a:pt x="493808" y="1393553"/>
                </a:lnTo>
                <a:lnTo>
                  <a:pt x="501159" y="1400902"/>
                </a:lnTo>
                <a:lnTo>
                  <a:pt x="499836" y="1402226"/>
                </a:lnTo>
                <a:lnTo>
                  <a:pt x="509417" y="1411805"/>
                </a:lnTo>
                <a:cubicBezTo>
                  <a:pt x="509417" y="1417752"/>
                  <a:pt x="504628" y="1422543"/>
                  <a:pt x="498681" y="1422543"/>
                </a:cubicBezTo>
                <a:cubicBezTo>
                  <a:pt x="492735" y="1422543"/>
                  <a:pt x="487945" y="1417752"/>
                  <a:pt x="487945" y="1411805"/>
                </a:cubicBezTo>
                <a:lnTo>
                  <a:pt x="489266" y="1410484"/>
                </a:lnTo>
                <a:lnTo>
                  <a:pt x="479686" y="1400902"/>
                </a:lnTo>
                <a:lnTo>
                  <a:pt x="481254" y="1399335"/>
                </a:lnTo>
                <a:lnTo>
                  <a:pt x="473905" y="1391983"/>
                </a:lnTo>
                <a:lnTo>
                  <a:pt x="475389" y="1390499"/>
                </a:lnTo>
                <a:lnTo>
                  <a:pt x="469113" y="1384220"/>
                </a:lnTo>
                <a:lnTo>
                  <a:pt x="470351" y="1382981"/>
                </a:lnTo>
                <a:lnTo>
                  <a:pt x="464323" y="1376951"/>
                </a:lnTo>
                <a:lnTo>
                  <a:pt x="465230" y="1376045"/>
                </a:lnTo>
                <a:lnTo>
                  <a:pt x="458708" y="1369519"/>
                </a:lnTo>
                <a:lnTo>
                  <a:pt x="459119" y="1369108"/>
                </a:lnTo>
                <a:lnTo>
                  <a:pt x="451274" y="1361259"/>
                </a:lnTo>
                <a:cubicBezTo>
                  <a:pt x="451274" y="1355312"/>
                  <a:pt x="456063" y="1350523"/>
                  <a:pt x="462010" y="1350523"/>
                </a:cubicBezTo>
                <a:close/>
                <a:moveTo>
                  <a:pt x="2529419" y="1348376"/>
                </a:moveTo>
                <a:cubicBezTo>
                  <a:pt x="2535366" y="1348376"/>
                  <a:pt x="2540157" y="1353165"/>
                  <a:pt x="2540157" y="1359112"/>
                </a:cubicBezTo>
                <a:cubicBezTo>
                  <a:pt x="2540157" y="1365059"/>
                  <a:pt x="2535366" y="1369848"/>
                  <a:pt x="2529419" y="1369848"/>
                </a:cubicBezTo>
                <a:cubicBezTo>
                  <a:pt x="2523472" y="1369848"/>
                  <a:pt x="2518683" y="1365059"/>
                  <a:pt x="2518683" y="1359112"/>
                </a:cubicBezTo>
                <a:cubicBezTo>
                  <a:pt x="2518683" y="1353165"/>
                  <a:pt x="2523472" y="1348376"/>
                  <a:pt x="2529419" y="1348376"/>
                </a:cubicBezTo>
                <a:close/>
                <a:moveTo>
                  <a:pt x="620584" y="1348376"/>
                </a:moveTo>
                <a:cubicBezTo>
                  <a:pt x="626530" y="1348376"/>
                  <a:pt x="631322" y="1353165"/>
                  <a:pt x="631322" y="1359112"/>
                </a:cubicBezTo>
                <a:cubicBezTo>
                  <a:pt x="631322" y="1365059"/>
                  <a:pt x="626530" y="1369848"/>
                  <a:pt x="620584" y="1369848"/>
                </a:cubicBezTo>
                <a:cubicBezTo>
                  <a:pt x="614637" y="1369848"/>
                  <a:pt x="609848" y="1365059"/>
                  <a:pt x="609848" y="1359112"/>
                </a:cubicBezTo>
                <a:cubicBezTo>
                  <a:pt x="609848" y="1353165"/>
                  <a:pt x="614637" y="1348376"/>
                  <a:pt x="620584" y="1348376"/>
                </a:cubicBezTo>
                <a:close/>
                <a:moveTo>
                  <a:pt x="3153640" y="1342925"/>
                </a:moveTo>
                <a:cubicBezTo>
                  <a:pt x="3159586" y="1342925"/>
                  <a:pt x="3164378" y="1347715"/>
                  <a:pt x="3164378" y="1353661"/>
                </a:cubicBezTo>
                <a:cubicBezTo>
                  <a:pt x="3164378" y="1359608"/>
                  <a:pt x="3159586" y="1364398"/>
                  <a:pt x="3153640" y="1364398"/>
                </a:cubicBezTo>
                <a:cubicBezTo>
                  <a:pt x="3147693" y="1364398"/>
                  <a:pt x="3142903" y="1359608"/>
                  <a:pt x="3142903" y="1353661"/>
                </a:cubicBezTo>
                <a:cubicBezTo>
                  <a:pt x="3142903" y="1347715"/>
                  <a:pt x="3147693" y="1342925"/>
                  <a:pt x="3153640" y="1342925"/>
                </a:cubicBezTo>
                <a:close/>
                <a:moveTo>
                  <a:pt x="2736228" y="1338796"/>
                </a:moveTo>
                <a:cubicBezTo>
                  <a:pt x="2742174" y="1338796"/>
                  <a:pt x="2746966" y="1343586"/>
                  <a:pt x="2746966" y="1349532"/>
                </a:cubicBezTo>
                <a:cubicBezTo>
                  <a:pt x="2746966" y="1355479"/>
                  <a:pt x="2742174" y="1360269"/>
                  <a:pt x="2736228" y="1360269"/>
                </a:cubicBezTo>
                <a:cubicBezTo>
                  <a:pt x="2730281" y="1360269"/>
                  <a:pt x="2725492" y="1355479"/>
                  <a:pt x="2725492" y="1349532"/>
                </a:cubicBezTo>
                <a:cubicBezTo>
                  <a:pt x="2725492" y="1343586"/>
                  <a:pt x="2730281" y="1338796"/>
                  <a:pt x="2736228" y="1338796"/>
                </a:cubicBezTo>
                <a:close/>
                <a:moveTo>
                  <a:pt x="2945346" y="1336979"/>
                </a:moveTo>
                <a:cubicBezTo>
                  <a:pt x="2951293" y="1336979"/>
                  <a:pt x="2956084" y="1341768"/>
                  <a:pt x="2956084" y="1347715"/>
                </a:cubicBezTo>
                <a:cubicBezTo>
                  <a:pt x="2956084" y="1353661"/>
                  <a:pt x="2951293" y="1358453"/>
                  <a:pt x="2945346" y="1358453"/>
                </a:cubicBezTo>
                <a:cubicBezTo>
                  <a:pt x="2939400" y="1358453"/>
                  <a:pt x="2934610" y="1353661"/>
                  <a:pt x="2934610" y="1347715"/>
                </a:cubicBezTo>
                <a:cubicBezTo>
                  <a:pt x="2934610" y="1341768"/>
                  <a:pt x="2939400" y="1336979"/>
                  <a:pt x="2945346" y="1336979"/>
                </a:cubicBezTo>
                <a:close/>
                <a:moveTo>
                  <a:pt x="592339" y="1331526"/>
                </a:moveTo>
                <a:cubicBezTo>
                  <a:pt x="598286" y="1331526"/>
                  <a:pt x="603076" y="1336316"/>
                  <a:pt x="603076" y="1342263"/>
                </a:cubicBezTo>
                <a:cubicBezTo>
                  <a:pt x="603076" y="1348209"/>
                  <a:pt x="598286" y="1353001"/>
                  <a:pt x="592339" y="1353001"/>
                </a:cubicBezTo>
                <a:cubicBezTo>
                  <a:pt x="586393" y="1353001"/>
                  <a:pt x="581603" y="1348209"/>
                  <a:pt x="581603" y="1342263"/>
                </a:cubicBezTo>
                <a:cubicBezTo>
                  <a:pt x="581603" y="1336316"/>
                  <a:pt x="586393" y="1331526"/>
                  <a:pt x="592339" y="1331526"/>
                </a:cubicBezTo>
                <a:close/>
                <a:moveTo>
                  <a:pt x="719198" y="1327068"/>
                </a:moveTo>
                <a:cubicBezTo>
                  <a:pt x="725145" y="1327068"/>
                  <a:pt x="729935" y="1331857"/>
                  <a:pt x="729935" y="1337804"/>
                </a:cubicBezTo>
                <a:cubicBezTo>
                  <a:pt x="729935" y="1343750"/>
                  <a:pt x="725145" y="1348540"/>
                  <a:pt x="719198" y="1348540"/>
                </a:cubicBezTo>
                <a:cubicBezTo>
                  <a:pt x="713252" y="1348540"/>
                  <a:pt x="708462" y="1343750"/>
                  <a:pt x="708462" y="1337804"/>
                </a:cubicBezTo>
                <a:cubicBezTo>
                  <a:pt x="708462" y="1331857"/>
                  <a:pt x="713252" y="1327068"/>
                  <a:pt x="719198" y="1327068"/>
                </a:cubicBezTo>
                <a:close/>
                <a:moveTo>
                  <a:pt x="1268426" y="1321782"/>
                </a:moveTo>
                <a:cubicBezTo>
                  <a:pt x="1274372" y="1321782"/>
                  <a:pt x="1279164" y="1326572"/>
                  <a:pt x="1279164" y="1332518"/>
                </a:cubicBezTo>
                <a:cubicBezTo>
                  <a:pt x="1279164" y="1338465"/>
                  <a:pt x="1274372" y="1343254"/>
                  <a:pt x="1268426" y="1343254"/>
                </a:cubicBezTo>
                <a:cubicBezTo>
                  <a:pt x="1262479" y="1343254"/>
                  <a:pt x="1257690" y="1338465"/>
                  <a:pt x="1257690" y="1332518"/>
                </a:cubicBezTo>
                <a:cubicBezTo>
                  <a:pt x="1257690" y="1326572"/>
                  <a:pt x="1262479" y="1321782"/>
                  <a:pt x="1268426" y="1321782"/>
                </a:cubicBezTo>
                <a:close/>
                <a:moveTo>
                  <a:pt x="571526" y="1319304"/>
                </a:moveTo>
                <a:cubicBezTo>
                  <a:pt x="577472" y="1319304"/>
                  <a:pt x="582262" y="1324093"/>
                  <a:pt x="582262" y="1330040"/>
                </a:cubicBezTo>
                <a:cubicBezTo>
                  <a:pt x="582262" y="1335987"/>
                  <a:pt x="577472" y="1340778"/>
                  <a:pt x="571526" y="1340778"/>
                </a:cubicBezTo>
                <a:cubicBezTo>
                  <a:pt x="565579" y="1340778"/>
                  <a:pt x="560789" y="1335987"/>
                  <a:pt x="560789" y="1330040"/>
                </a:cubicBezTo>
                <a:cubicBezTo>
                  <a:pt x="560789" y="1324093"/>
                  <a:pt x="565579" y="1319304"/>
                  <a:pt x="571526" y="1319304"/>
                </a:cubicBezTo>
                <a:close/>
                <a:moveTo>
                  <a:pt x="1725648" y="1318147"/>
                </a:moveTo>
                <a:cubicBezTo>
                  <a:pt x="1731594" y="1318147"/>
                  <a:pt x="1736386" y="1322937"/>
                  <a:pt x="1736386" y="1328883"/>
                </a:cubicBezTo>
                <a:cubicBezTo>
                  <a:pt x="1736386" y="1334830"/>
                  <a:pt x="1731594" y="1339620"/>
                  <a:pt x="1725648" y="1339620"/>
                </a:cubicBezTo>
                <a:cubicBezTo>
                  <a:pt x="1719701" y="1339620"/>
                  <a:pt x="1714911" y="1334830"/>
                  <a:pt x="1714911" y="1328883"/>
                </a:cubicBezTo>
                <a:cubicBezTo>
                  <a:pt x="1714911" y="1322937"/>
                  <a:pt x="1719701" y="1318147"/>
                  <a:pt x="1725648" y="1318147"/>
                </a:cubicBezTo>
                <a:close/>
                <a:moveTo>
                  <a:pt x="478200" y="1315671"/>
                </a:moveTo>
                <a:lnTo>
                  <a:pt x="485300" y="1322772"/>
                </a:lnTo>
                <a:lnTo>
                  <a:pt x="487778" y="1320294"/>
                </a:lnTo>
                <a:lnTo>
                  <a:pt x="494635" y="1327149"/>
                </a:lnTo>
                <a:lnTo>
                  <a:pt x="495213" y="1326572"/>
                </a:lnTo>
                <a:lnTo>
                  <a:pt x="501157" y="1332518"/>
                </a:lnTo>
                <a:lnTo>
                  <a:pt x="501489" y="1332187"/>
                </a:lnTo>
                <a:lnTo>
                  <a:pt x="507106" y="1337804"/>
                </a:lnTo>
                <a:lnTo>
                  <a:pt x="507270" y="1337639"/>
                </a:lnTo>
                <a:lnTo>
                  <a:pt x="513465" y="1343834"/>
                </a:lnTo>
                <a:lnTo>
                  <a:pt x="513713" y="1343586"/>
                </a:lnTo>
                <a:lnTo>
                  <a:pt x="521558" y="1351431"/>
                </a:lnTo>
                <a:lnTo>
                  <a:pt x="521971" y="1351019"/>
                </a:lnTo>
                <a:lnTo>
                  <a:pt x="532624" y="1361673"/>
                </a:lnTo>
                <a:lnTo>
                  <a:pt x="533368" y="1360929"/>
                </a:lnTo>
                <a:cubicBezTo>
                  <a:pt x="539315" y="1360929"/>
                  <a:pt x="544105" y="1365719"/>
                  <a:pt x="544105" y="1371666"/>
                </a:cubicBezTo>
                <a:cubicBezTo>
                  <a:pt x="544105" y="1377612"/>
                  <a:pt x="539315" y="1382404"/>
                  <a:pt x="533368" y="1382404"/>
                </a:cubicBezTo>
                <a:lnTo>
                  <a:pt x="522715" y="1371749"/>
                </a:lnTo>
                <a:lnTo>
                  <a:pt x="521971" y="1372493"/>
                </a:lnTo>
                <a:lnTo>
                  <a:pt x="514126" y="1364646"/>
                </a:lnTo>
                <a:lnTo>
                  <a:pt x="513713" y="1365059"/>
                </a:lnTo>
                <a:lnTo>
                  <a:pt x="507518" y="1358864"/>
                </a:lnTo>
                <a:lnTo>
                  <a:pt x="507270" y="1359112"/>
                </a:lnTo>
                <a:lnTo>
                  <a:pt x="501653" y="1353497"/>
                </a:lnTo>
                <a:lnTo>
                  <a:pt x="501489" y="1353661"/>
                </a:lnTo>
                <a:lnTo>
                  <a:pt x="495542" y="1347715"/>
                </a:lnTo>
                <a:lnTo>
                  <a:pt x="495213" y="1348044"/>
                </a:lnTo>
                <a:lnTo>
                  <a:pt x="488357" y="1341189"/>
                </a:lnTo>
                <a:lnTo>
                  <a:pt x="487778" y="1341768"/>
                </a:lnTo>
                <a:cubicBezTo>
                  <a:pt x="481832" y="1341768"/>
                  <a:pt x="477042" y="1336977"/>
                  <a:pt x="477042" y="1331030"/>
                </a:cubicBezTo>
                <a:lnTo>
                  <a:pt x="477536" y="1330536"/>
                </a:lnTo>
                <a:lnTo>
                  <a:pt x="470436" y="1323434"/>
                </a:lnTo>
                <a:cubicBezTo>
                  <a:pt x="470436" y="1319146"/>
                  <a:pt x="473912" y="1315671"/>
                  <a:pt x="478200" y="1315671"/>
                </a:cubicBezTo>
                <a:close/>
                <a:moveTo>
                  <a:pt x="853490" y="1313028"/>
                </a:moveTo>
                <a:cubicBezTo>
                  <a:pt x="859437" y="1313028"/>
                  <a:pt x="864227" y="1317817"/>
                  <a:pt x="864227" y="1323764"/>
                </a:cubicBezTo>
                <a:cubicBezTo>
                  <a:pt x="864227" y="1329710"/>
                  <a:pt x="859437" y="1334500"/>
                  <a:pt x="853490" y="1334500"/>
                </a:cubicBezTo>
                <a:cubicBezTo>
                  <a:pt x="847544" y="1334500"/>
                  <a:pt x="842754" y="1329710"/>
                  <a:pt x="842754" y="1323764"/>
                </a:cubicBezTo>
                <a:cubicBezTo>
                  <a:pt x="842754" y="1317817"/>
                  <a:pt x="847544" y="1313028"/>
                  <a:pt x="853490" y="1313028"/>
                </a:cubicBezTo>
                <a:close/>
                <a:moveTo>
                  <a:pt x="1033208" y="1309722"/>
                </a:moveTo>
                <a:cubicBezTo>
                  <a:pt x="1039154" y="1309722"/>
                  <a:pt x="1043944" y="1314512"/>
                  <a:pt x="1043944" y="1320459"/>
                </a:cubicBezTo>
                <a:cubicBezTo>
                  <a:pt x="1043944" y="1326405"/>
                  <a:pt x="1039154" y="1331197"/>
                  <a:pt x="1033208" y="1331197"/>
                </a:cubicBezTo>
                <a:cubicBezTo>
                  <a:pt x="1027261" y="1331197"/>
                  <a:pt x="1022471" y="1326405"/>
                  <a:pt x="1022471" y="1320459"/>
                </a:cubicBezTo>
                <a:cubicBezTo>
                  <a:pt x="1022471" y="1314512"/>
                  <a:pt x="1027261" y="1309722"/>
                  <a:pt x="1033208" y="1309722"/>
                </a:cubicBezTo>
                <a:close/>
                <a:moveTo>
                  <a:pt x="674103" y="1304272"/>
                </a:moveTo>
                <a:cubicBezTo>
                  <a:pt x="680049" y="1304272"/>
                  <a:pt x="684839" y="1309062"/>
                  <a:pt x="684839" y="1315008"/>
                </a:cubicBezTo>
                <a:cubicBezTo>
                  <a:pt x="684839" y="1320955"/>
                  <a:pt x="680049" y="1325746"/>
                  <a:pt x="674103" y="1325746"/>
                </a:cubicBezTo>
                <a:cubicBezTo>
                  <a:pt x="668156" y="1325746"/>
                  <a:pt x="663366" y="1320955"/>
                  <a:pt x="663366" y="1315008"/>
                </a:cubicBezTo>
                <a:cubicBezTo>
                  <a:pt x="663366" y="1309062"/>
                  <a:pt x="668156" y="1304272"/>
                  <a:pt x="674103" y="1304272"/>
                </a:cubicBezTo>
                <a:close/>
                <a:moveTo>
                  <a:pt x="639416" y="1287918"/>
                </a:moveTo>
                <a:cubicBezTo>
                  <a:pt x="645362" y="1287918"/>
                  <a:pt x="650152" y="1292708"/>
                  <a:pt x="650152" y="1298655"/>
                </a:cubicBezTo>
                <a:cubicBezTo>
                  <a:pt x="650152" y="1304601"/>
                  <a:pt x="645362" y="1309393"/>
                  <a:pt x="639416" y="1309393"/>
                </a:cubicBezTo>
                <a:cubicBezTo>
                  <a:pt x="633469" y="1309393"/>
                  <a:pt x="628679" y="1304601"/>
                  <a:pt x="628679" y="1298655"/>
                </a:cubicBezTo>
                <a:cubicBezTo>
                  <a:pt x="628679" y="1292708"/>
                  <a:pt x="633469" y="1287918"/>
                  <a:pt x="639416" y="1287918"/>
                </a:cubicBezTo>
                <a:close/>
                <a:moveTo>
                  <a:pt x="1891490" y="1284781"/>
                </a:moveTo>
                <a:cubicBezTo>
                  <a:pt x="1897436" y="1284781"/>
                  <a:pt x="1902228" y="1289571"/>
                  <a:pt x="1902228" y="1295518"/>
                </a:cubicBezTo>
                <a:cubicBezTo>
                  <a:pt x="1902228" y="1301464"/>
                  <a:pt x="1897436" y="1306256"/>
                  <a:pt x="1891490" y="1306256"/>
                </a:cubicBezTo>
                <a:cubicBezTo>
                  <a:pt x="1885543" y="1306256"/>
                  <a:pt x="1880754" y="1301464"/>
                  <a:pt x="1880754" y="1295518"/>
                </a:cubicBezTo>
                <a:cubicBezTo>
                  <a:pt x="1880754" y="1289571"/>
                  <a:pt x="1885543" y="1284781"/>
                  <a:pt x="1891490" y="1284781"/>
                </a:cubicBezTo>
                <a:close/>
                <a:moveTo>
                  <a:pt x="504959" y="1283295"/>
                </a:moveTo>
                <a:lnTo>
                  <a:pt x="512473" y="1290811"/>
                </a:lnTo>
                <a:lnTo>
                  <a:pt x="514538" y="1288746"/>
                </a:lnTo>
                <a:lnTo>
                  <a:pt x="520566" y="1294775"/>
                </a:lnTo>
                <a:lnTo>
                  <a:pt x="522302" y="1293039"/>
                </a:lnTo>
                <a:lnTo>
                  <a:pt x="527671" y="1298407"/>
                </a:lnTo>
                <a:lnTo>
                  <a:pt x="529404" y="1296674"/>
                </a:lnTo>
                <a:lnTo>
                  <a:pt x="534773" y="1302043"/>
                </a:lnTo>
                <a:lnTo>
                  <a:pt x="536507" y="1300307"/>
                </a:lnTo>
                <a:lnTo>
                  <a:pt x="543033" y="1306831"/>
                </a:lnTo>
                <a:lnTo>
                  <a:pt x="545097" y="1304768"/>
                </a:lnTo>
                <a:lnTo>
                  <a:pt x="553686" y="1313357"/>
                </a:lnTo>
                <a:lnTo>
                  <a:pt x="556329" y="1310714"/>
                </a:lnTo>
                <a:cubicBezTo>
                  <a:pt x="562275" y="1310714"/>
                  <a:pt x="567067" y="1315504"/>
                  <a:pt x="567067" y="1321451"/>
                </a:cubicBezTo>
                <a:cubicBezTo>
                  <a:pt x="567067" y="1327397"/>
                  <a:pt x="562275" y="1332189"/>
                  <a:pt x="556329" y="1332189"/>
                </a:cubicBezTo>
                <a:lnTo>
                  <a:pt x="547740" y="1323598"/>
                </a:lnTo>
                <a:lnTo>
                  <a:pt x="545097" y="1326240"/>
                </a:lnTo>
                <a:lnTo>
                  <a:pt x="538573" y="1319717"/>
                </a:lnTo>
                <a:lnTo>
                  <a:pt x="536507" y="1321782"/>
                </a:lnTo>
                <a:lnTo>
                  <a:pt x="531140" y="1316413"/>
                </a:lnTo>
                <a:lnTo>
                  <a:pt x="529404" y="1318149"/>
                </a:lnTo>
                <a:lnTo>
                  <a:pt x="524037" y="1312781"/>
                </a:lnTo>
                <a:lnTo>
                  <a:pt x="522302" y="1314514"/>
                </a:lnTo>
                <a:lnTo>
                  <a:pt x="516273" y="1308484"/>
                </a:lnTo>
                <a:lnTo>
                  <a:pt x="514538" y="1310218"/>
                </a:lnTo>
                <a:lnTo>
                  <a:pt x="507024" y="1302704"/>
                </a:lnTo>
                <a:lnTo>
                  <a:pt x="504959" y="1304769"/>
                </a:lnTo>
                <a:cubicBezTo>
                  <a:pt x="499012" y="1304769"/>
                  <a:pt x="494222" y="1299978"/>
                  <a:pt x="494222" y="1294031"/>
                </a:cubicBezTo>
                <a:cubicBezTo>
                  <a:pt x="494222" y="1288085"/>
                  <a:pt x="499012" y="1283295"/>
                  <a:pt x="504959" y="1283295"/>
                </a:cubicBezTo>
                <a:close/>
                <a:moveTo>
                  <a:pt x="786096" y="1281972"/>
                </a:moveTo>
                <a:cubicBezTo>
                  <a:pt x="792043" y="1281972"/>
                  <a:pt x="796835" y="1286762"/>
                  <a:pt x="796835" y="1292708"/>
                </a:cubicBezTo>
                <a:cubicBezTo>
                  <a:pt x="796835" y="1298655"/>
                  <a:pt x="792043" y="1303446"/>
                  <a:pt x="786096" y="1303446"/>
                </a:cubicBezTo>
                <a:cubicBezTo>
                  <a:pt x="780150" y="1303446"/>
                  <a:pt x="775360" y="1298655"/>
                  <a:pt x="775360" y="1292708"/>
                </a:cubicBezTo>
                <a:cubicBezTo>
                  <a:pt x="775360" y="1286762"/>
                  <a:pt x="780150" y="1281972"/>
                  <a:pt x="786096" y="1281972"/>
                </a:cubicBezTo>
                <a:close/>
                <a:moveTo>
                  <a:pt x="1396607" y="1280486"/>
                </a:moveTo>
                <a:cubicBezTo>
                  <a:pt x="1402553" y="1280486"/>
                  <a:pt x="1407343" y="1285275"/>
                  <a:pt x="1407343" y="1291222"/>
                </a:cubicBezTo>
                <a:cubicBezTo>
                  <a:pt x="1407343" y="1297168"/>
                  <a:pt x="1402553" y="1301958"/>
                  <a:pt x="1396607" y="1301958"/>
                </a:cubicBezTo>
                <a:cubicBezTo>
                  <a:pt x="1390660" y="1301958"/>
                  <a:pt x="1385870" y="1297168"/>
                  <a:pt x="1385870" y="1291222"/>
                </a:cubicBezTo>
                <a:cubicBezTo>
                  <a:pt x="1385870" y="1285275"/>
                  <a:pt x="1390660" y="1280486"/>
                  <a:pt x="1396607" y="1280486"/>
                </a:cubicBezTo>
                <a:close/>
                <a:moveTo>
                  <a:pt x="613316" y="1276686"/>
                </a:moveTo>
                <a:cubicBezTo>
                  <a:pt x="619263" y="1276686"/>
                  <a:pt x="624052" y="1281476"/>
                  <a:pt x="624052" y="1287422"/>
                </a:cubicBezTo>
                <a:cubicBezTo>
                  <a:pt x="624052" y="1293369"/>
                  <a:pt x="619263" y="1298161"/>
                  <a:pt x="613316" y="1298161"/>
                </a:cubicBezTo>
                <a:cubicBezTo>
                  <a:pt x="607370" y="1298161"/>
                  <a:pt x="602580" y="1293369"/>
                  <a:pt x="602580" y="1287422"/>
                </a:cubicBezTo>
                <a:cubicBezTo>
                  <a:pt x="602580" y="1281476"/>
                  <a:pt x="607370" y="1276686"/>
                  <a:pt x="613316" y="1276686"/>
                </a:cubicBezTo>
                <a:close/>
                <a:moveTo>
                  <a:pt x="937403" y="1267767"/>
                </a:moveTo>
                <a:cubicBezTo>
                  <a:pt x="943349" y="1267767"/>
                  <a:pt x="948141" y="1272557"/>
                  <a:pt x="948141" y="1278504"/>
                </a:cubicBezTo>
                <a:cubicBezTo>
                  <a:pt x="948141" y="1284450"/>
                  <a:pt x="943349" y="1289242"/>
                  <a:pt x="937403" y="1289242"/>
                </a:cubicBezTo>
                <a:cubicBezTo>
                  <a:pt x="931456" y="1289242"/>
                  <a:pt x="926666" y="1284450"/>
                  <a:pt x="926666" y="1278504"/>
                </a:cubicBezTo>
                <a:cubicBezTo>
                  <a:pt x="926666" y="1272557"/>
                  <a:pt x="931456" y="1267767"/>
                  <a:pt x="937403" y="1267767"/>
                </a:cubicBezTo>
                <a:close/>
                <a:moveTo>
                  <a:pt x="1137438" y="1265620"/>
                </a:moveTo>
                <a:cubicBezTo>
                  <a:pt x="1143384" y="1265620"/>
                  <a:pt x="1148176" y="1270410"/>
                  <a:pt x="1148176" y="1276357"/>
                </a:cubicBezTo>
                <a:cubicBezTo>
                  <a:pt x="1148176" y="1282303"/>
                  <a:pt x="1143384" y="1287095"/>
                  <a:pt x="1137438" y="1287095"/>
                </a:cubicBezTo>
                <a:cubicBezTo>
                  <a:pt x="1131491" y="1287095"/>
                  <a:pt x="1126701" y="1282303"/>
                  <a:pt x="1126701" y="1276357"/>
                </a:cubicBezTo>
                <a:cubicBezTo>
                  <a:pt x="1126701" y="1270410"/>
                  <a:pt x="1131491" y="1265620"/>
                  <a:pt x="1137438" y="1265620"/>
                </a:cubicBezTo>
                <a:close/>
                <a:moveTo>
                  <a:pt x="732909" y="1259342"/>
                </a:moveTo>
                <a:cubicBezTo>
                  <a:pt x="738856" y="1259342"/>
                  <a:pt x="743645" y="1264132"/>
                  <a:pt x="743645" y="1270079"/>
                </a:cubicBezTo>
                <a:cubicBezTo>
                  <a:pt x="743645" y="1276025"/>
                  <a:pt x="738856" y="1280815"/>
                  <a:pt x="732909" y="1280815"/>
                </a:cubicBezTo>
                <a:cubicBezTo>
                  <a:pt x="726962" y="1280815"/>
                  <a:pt x="722173" y="1276025"/>
                  <a:pt x="722173" y="1270079"/>
                </a:cubicBezTo>
                <a:cubicBezTo>
                  <a:pt x="722173" y="1264132"/>
                  <a:pt x="726962" y="1259342"/>
                  <a:pt x="732909" y="1259342"/>
                </a:cubicBezTo>
                <a:close/>
                <a:moveTo>
                  <a:pt x="2067408" y="1255049"/>
                </a:moveTo>
                <a:cubicBezTo>
                  <a:pt x="2073354" y="1255049"/>
                  <a:pt x="2078144" y="1259838"/>
                  <a:pt x="2078144" y="1265785"/>
                </a:cubicBezTo>
                <a:cubicBezTo>
                  <a:pt x="2078144" y="1271731"/>
                  <a:pt x="2073354" y="1276521"/>
                  <a:pt x="2067408" y="1276521"/>
                </a:cubicBezTo>
                <a:cubicBezTo>
                  <a:pt x="2061461" y="1276521"/>
                  <a:pt x="2056671" y="1271731"/>
                  <a:pt x="2056671" y="1265785"/>
                </a:cubicBezTo>
                <a:cubicBezTo>
                  <a:pt x="2056671" y="1259838"/>
                  <a:pt x="2061461" y="1255049"/>
                  <a:pt x="2067408" y="1255049"/>
                </a:cubicBezTo>
                <a:close/>
                <a:moveTo>
                  <a:pt x="520983" y="1251910"/>
                </a:moveTo>
                <a:lnTo>
                  <a:pt x="527092" y="1258021"/>
                </a:lnTo>
                <a:lnTo>
                  <a:pt x="532543" y="1252570"/>
                </a:lnTo>
                <a:lnTo>
                  <a:pt x="538985" y="1259013"/>
                </a:lnTo>
                <a:lnTo>
                  <a:pt x="542124" y="1255874"/>
                </a:lnTo>
                <a:lnTo>
                  <a:pt x="547576" y="1261325"/>
                </a:lnTo>
                <a:lnTo>
                  <a:pt x="550714" y="1258188"/>
                </a:lnTo>
                <a:lnTo>
                  <a:pt x="555751" y="1263225"/>
                </a:lnTo>
                <a:lnTo>
                  <a:pt x="558972" y="1260003"/>
                </a:lnTo>
                <a:lnTo>
                  <a:pt x="564424" y="1265454"/>
                </a:lnTo>
                <a:lnTo>
                  <a:pt x="568057" y="1261821"/>
                </a:lnTo>
                <a:lnTo>
                  <a:pt x="575077" y="1268841"/>
                </a:lnTo>
                <a:lnTo>
                  <a:pt x="579290" y="1264628"/>
                </a:lnTo>
                <a:lnTo>
                  <a:pt x="588871" y="1274208"/>
                </a:lnTo>
                <a:lnTo>
                  <a:pt x="593826" y="1269253"/>
                </a:lnTo>
                <a:cubicBezTo>
                  <a:pt x="599772" y="1269253"/>
                  <a:pt x="604562" y="1274043"/>
                  <a:pt x="604562" y="1279990"/>
                </a:cubicBezTo>
                <a:cubicBezTo>
                  <a:pt x="604562" y="1285936"/>
                  <a:pt x="599772" y="1290726"/>
                  <a:pt x="593826" y="1290726"/>
                </a:cubicBezTo>
                <a:lnTo>
                  <a:pt x="584246" y="1281146"/>
                </a:lnTo>
                <a:lnTo>
                  <a:pt x="579290" y="1286101"/>
                </a:lnTo>
                <a:lnTo>
                  <a:pt x="572270" y="1279083"/>
                </a:lnTo>
                <a:lnTo>
                  <a:pt x="568057" y="1283295"/>
                </a:lnTo>
                <a:lnTo>
                  <a:pt x="562607" y="1277843"/>
                </a:lnTo>
                <a:lnTo>
                  <a:pt x="558972" y="1281478"/>
                </a:lnTo>
                <a:lnTo>
                  <a:pt x="553934" y="1276440"/>
                </a:lnTo>
                <a:lnTo>
                  <a:pt x="550714" y="1279660"/>
                </a:lnTo>
                <a:lnTo>
                  <a:pt x="545263" y="1274210"/>
                </a:lnTo>
                <a:lnTo>
                  <a:pt x="542124" y="1277348"/>
                </a:lnTo>
                <a:lnTo>
                  <a:pt x="535682" y="1270906"/>
                </a:lnTo>
                <a:lnTo>
                  <a:pt x="532543" y="1274045"/>
                </a:lnTo>
                <a:lnTo>
                  <a:pt x="521973" y="1263473"/>
                </a:lnTo>
                <a:lnTo>
                  <a:pt x="520983" y="1264464"/>
                </a:lnTo>
                <a:cubicBezTo>
                  <a:pt x="517516" y="1264464"/>
                  <a:pt x="514705" y="1261652"/>
                  <a:pt x="514705" y="1258188"/>
                </a:cubicBezTo>
                <a:cubicBezTo>
                  <a:pt x="514705" y="1254721"/>
                  <a:pt x="517516" y="1251910"/>
                  <a:pt x="520983" y="1251910"/>
                </a:cubicBezTo>
                <a:close/>
                <a:moveTo>
                  <a:pt x="691283" y="1243320"/>
                </a:moveTo>
                <a:cubicBezTo>
                  <a:pt x="697230" y="1243320"/>
                  <a:pt x="702020" y="1248110"/>
                  <a:pt x="702020" y="1254057"/>
                </a:cubicBezTo>
                <a:cubicBezTo>
                  <a:pt x="702020" y="1260003"/>
                  <a:pt x="697230" y="1264793"/>
                  <a:pt x="691283" y="1264793"/>
                </a:cubicBezTo>
                <a:cubicBezTo>
                  <a:pt x="685337" y="1264793"/>
                  <a:pt x="680547" y="1260003"/>
                  <a:pt x="680547" y="1254057"/>
                </a:cubicBezTo>
                <a:cubicBezTo>
                  <a:pt x="680547" y="1248110"/>
                  <a:pt x="685337" y="1243320"/>
                  <a:pt x="691283" y="1243320"/>
                </a:cubicBezTo>
                <a:close/>
                <a:moveTo>
                  <a:pt x="1534863" y="1240513"/>
                </a:moveTo>
                <a:cubicBezTo>
                  <a:pt x="1540810" y="1240513"/>
                  <a:pt x="1545601" y="1245302"/>
                  <a:pt x="1545601" y="1251249"/>
                </a:cubicBezTo>
                <a:cubicBezTo>
                  <a:pt x="1545601" y="1257195"/>
                  <a:pt x="1540810" y="1261987"/>
                  <a:pt x="1534863" y="1261987"/>
                </a:cubicBezTo>
                <a:cubicBezTo>
                  <a:pt x="1528916" y="1261987"/>
                  <a:pt x="1524127" y="1257195"/>
                  <a:pt x="1524127" y="1251249"/>
                </a:cubicBezTo>
                <a:cubicBezTo>
                  <a:pt x="1524127" y="1245302"/>
                  <a:pt x="1528916" y="1240513"/>
                  <a:pt x="1534863" y="1240513"/>
                </a:cubicBezTo>
                <a:close/>
                <a:moveTo>
                  <a:pt x="859768" y="1236217"/>
                </a:moveTo>
                <a:cubicBezTo>
                  <a:pt x="865715" y="1236217"/>
                  <a:pt x="870505" y="1241007"/>
                  <a:pt x="870505" y="1246953"/>
                </a:cubicBezTo>
                <a:cubicBezTo>
                  <a:pt x="870505" y="1252900"/>
                  <a:pt x="865715" y="1257690"/>
                  <a:pt x="859768" y="1257690"/>
                </a:cubicBezTo>
                <a:cubicBezTo>
                  <a:pt x="853822" y="1257690"/>
                  <a:pt x="849032" y="1252900"/>
                  <a:pt x="849032" y="1246953"/>
                </a:cubicBezTo>
                <a:cubicBezTo>
                  <a:pt x="849032" y="1241007"/>
                  <a:pt x="853822" y="1236217"/>
                  <a:pt x="859768" y="1236217"/>
                </a:cubicBezTo>
                <a:close/>
                <a:moveTo>
                  <a:pt x="659402" y="1232913"/>
                </a:moveTo>
                <a:cubicBezTo>
                  <a:pt x="665349" y="1232913"/>
                  <a:pt x="670138" y="1237703"/>
                  <a:pt x="670138" y="1243650"/>
                </a:cubicBezTo>
                <a:cubicBezTo>
                  <a:pt x="670138" y="1249596"/>
                  <a:pt x="665349" y="1254388"/>
                  <a:pt x="659402" y="1254388"/>
                </a:cubicBezTo>
                <a:cubicBezTo>
                  <a:pt x="653456" y="1254388"/>
                  <a:pt x="648666" y="1249596"/>
                  <a:pt x="648666" y="1243650"/>
                </a:cubicBezTo>
                <a:cubicBezTo>
                  <a:pt x="648666" y="1237703"/>
                  <a:pt x="653456" y="1232913"/>
                  <a:pt x="659402" y="1232913"/>
                </a:cubicBezTo>
                <a:close/>
                <a:moveTo>
                  <a:pt x="2251914" y="1230106"/>
                </a:moveTo>
                <a:cubicBezTo>
                  <a:pt x="2257861" y="1230106"/>
                  <a:pt x="2262653" y="1234896"/>
                  <a:pt x="2262653" y="1240842"/>
                </a:cubicBezTo>
                <a:cubicBezTo>
                  <a:pt x="2262653" y="1246789"/>
                  <a:pt x="2257861" y="1251580"/>
                  <a:pt x="2251914" y="1251580"/>
                </a:cubicBezTo>
                <a:cubicBezTo>
                  <a:pt x="2245968" y="1251580"/>
                  <a:pt x="2241178" y="1246789"/>
                  <a:pt x="2241178" y="1240842"/>
                </a:cubicBezTo>
                <a:cubicBezTo>
                  <a:pt x="2241178" y="1234896"/>
                  <a:pt x="2245968" y="1230106"/>
                  <a:pt x="2251914" y="1230106"/>
                </a:cubicBezTo>
                <a:close/>
                <a:moveTo>
                  <a:pt x="634955" y="1226471"/>
                </a:moveTo>
                <a:cubicBezTo>
                  <a:pt x="640902" y="1226471"/>
                  <a:pt x="645692" y="1231261"/>
                  <a:pt x="645692" y="1237207"/>
                </a:cubicBezTo>
                <a:cubicBezTo>
                  <a:pt x="645692" y="1243154"/>
                  <a:pt x="640902" y="1247945"/>
                  <a:pt x="634955" y="1247945"/>
                </a:cubicBezTo>
                <a:cubicBezTo>
                  <a:pt x="629009" y="1247945"/>
                  <a:pt x="624219" y="1243154"/>
                  <a:pt x="624219" y="1237207"/>
                </a:cubicBezTo>
                <a:cubicBezTo>
                  <a:pt x="624219" y="1231261"/>
                  <a:pt x="629009" y="1226471"/>
                  <a:pt x="634955" y="1226471"/>
                </a:cubicBezTo>
                <a:close/>
                <a:moveTo>
                  <a:pt x="1029079" y="1222508"/>
                </a:moveTo>
                <a:cubicBezTo>
                  <a:pt x="1035025" y="1222508"/>
                  <a:pt x="1039815" y="1227298"/>
                  <a:pt x="1039815" y="1233245"/>
                </a:cubicBezTo>
                <a:cubicBezTo>
                  <a:pt x="1039815" y="1239191"/>
                  <a:pt x="1035025" y="1243983"/>
                  <a:pt x="1029079" y="1243983"/>
                </a:cubicBezTo>
                <a:cubicBezTo>
                  <a:pt x="1023132" y="1243983"/>
                  <a:pt x="1018342" y="1239191"/>
                  <a:pt x="1018342" y="1233245"/>
                </a:cubicBezTo>
                <a:cubicBezTo>
                  <a:pt x="1018342" y="1227298"/>
                  <a:pt x="1023132" y="1222508"/>
                  <a:pt x="1029079" y="1222508"/>
                </a:cubicBezTo>
                <a:close/>
                <a:moveTo>
                  <a:pt x="1250751" y="1222012"/>
                </a:moveTo>
                <a:cubicBezTo>
                  <a:pt x="1256698" y="1222012"/>
                  <a:pt x="1261489" y="1226802"/>
                  <a:pt x="1261489" y="1232749"/>
                </a:cubicBezTo>
                <a:cubicBezTo>
                  <a:pt x="1261489" y="1238695"/>
                  <a:pt x="1256698" y="1243485"/>
                  <a:pt x="1250751" y="1243485"/>
                </a:cubicBezTo>
                <a:cubicBezTo>
                  <a:pt x="1244805" y="1243485"/>
                  <a:pt x="1240015" y="1238695"/>
                  <a:pt x="1240015" y="1232749"/>
                </a:cubicBezTo>
                <a:cubicBezTo>
                  <a:pt x="1240015" y="1226802"/>
                  <a:pt x="1244805" y="1222012"/>
                  <a:pt x="1250751" y="1222012"/>
                </a:cubicBezTo>
                <a:close/>
                <a:moveTo>
                  <a:pt x="3438248" y="1220360"/>
                </a:moveTo>
                <a:cubicBezTo>
                  <a:pt x="3444194" y="1220360"/>
                  <a:pt x="3448986" y="1225150"/>
                  <a:pt x="3448986" y="1231096"/>
                </a:cubicBezTo>
                <a:cubicBezTo>
                  <a:pt x="3448986" y="1237043"/>
                  <a:pt x="3444194" y="1241832"/>
                  <a:pt x="3438248" y="1241832"/>
                </a:cubicBezTo>
                <a:cubicBezTo>
                  <a:pt x="3432301" y="1241832"/>
                  <a:pt x="3427511" y="1237043"/>
                  <a:pt x="3427511" y="1231096"/>
                </a:cubicBezTo>
                <a:cubicBezTo>
                  <a:pt x="3427511" y="1225150"/>
                  <a:pt x="3432301" y="1220360"/>
                  <a:pt x="3438248" y="1220360"/>
                </a:cubicBezTo>
                <a:close/>
                <a:moveTo>
                  <a:pt x="549392" y="1217717"/>
                </a:moveTo>
                <a:lnTo>
                  <a:pt x="556577" y="1224901"/>
                </a:lnTo>
                <a:lnTo>
                  <a:pt x="560954" y="1220524"/>
                </a:lnTo>
                <a:lnTo>
                  <a:pt x="566736" y="1226306"/>
                </a:lnTo>
                <a:lnTo>
                  <a:pt x="571196" y="1221846"/>
                </a:lnTo>
                <a:lnTo>
                  <a:pt x="576069" y="1226719"/>
                </a:lnTo>
                <a:lnTo>
                  <a:pt x="580776" y="1222012"/>
                </a:lnTo>
                <a:lnTo>
                  <a:pt x="585649" y="1226885"/>
                </a:lnTo>
                <a:lnTo>
                  <a:pt x="590687" y="1221846"/>
                </a:lnTo>
                <a:lnTo>
                  <a:pt x="596468" y="1227628"/>
                </a:lnTo>
                <a:lnTo>
                  <a:pt x="602084" y="1222012"/>
                </a:lnTo>
                <a:lnTo>
                  <a:pt x="609929" y="1229859"/>
                </a:lnTo>
                <a:lnTo>
                  <a:pt x="616455" y="1223334"/>
                </a:lnTo>
                <a:cubicBezTo>
                  <a:pt x="622401" y="1223334"/>
                  <a:pt x="627193" y="1228124"/>
                  <a:pt x="627193" y="1234070"/>
                </a:cubicBezTo>
                <a:cubicBezTo>
                  <a:pt x="627193" y="1240017"/>
                  <a:pt x="622401" y="1244807"/>
                  <a:pt x="616455" y="1244807"/>
                </a:cubicBezTo>
                <a:lnTo>
                  <a:pt x="608608" y="1236961"/>
                </a:lnTo>
                <a:lnTo>
                  <a:pt x="602084" y="1243485"/>
                </a:lnTo>
                <a:lnTo>
                  <a:pt x="596302" y="1237703"/>
                </a:lnTo>
                <a:lnTo>
                  <a:pt x="590687" y="1243320"/>
                </a:lnTo>
                <a:lnTo>
                  <a:pt x="585814" y="1238447"/>
                </a:lnTo>
                <a:lnTo>
                  <a:pt x="580776" y="1243485"/>
                </a:lnTo>
                <a:lnTo>
                  <a:pt x="575903" y="1238614"/>
                </a:lnTo>
                <a:lnTo>
                  <a:pt x="571196" y="1243320"/>
                </a:lnTo>
                <a:lnTo>
                  <a:pt x="565414" y="1237538"/>
                </a:lnTo>
                <a:lnTo>
                  <a:pt x="560954" y="1241999"/>
                </a:lnTo>
                <a:lnTo>
                  <a:pt x="553769" y="1234814"/>
                </a:lnTo>
                <a:lnTo>
                  <a:pt x="549392" y="1239191"/>
                </a:lnTo>
                <a:cubicBezTo>
                  <a:pt x="543446" y="1239191"/>
                  <a:pt x="538656" y="1234400"/>
                  <a:pt x="538656" y="1228453"/>
                </a:cubicBezTo>
                <a:cubicBezTo>
                  <a:pt x="538656" y="1222507"/>
                  <a:pt x="543446" y="1217717"/>
                  <a:pt x="549392" y="1217717"/>
                </a:cubicBezTo>
                <a:close/>
                <a:moveTo>
                  <a:pt x="797494" y="1213423"/>
                </a:moveTo>
                <a:cubicBezTo>
                  <a:pt x="803440" y="1213423"/>
                  <a:pt x="808230" y="1218213"/>
                  <a:pt x="808230" y="1224159"/>
                </a:cubicBezTo>
                <a:cubicBezTo>
                  <a:pt x="808230" y="1230106"/>
                  <a:pt x="803440" y="1234897"/>
                  <a:pt x="797494" y="1234897"/>
                </a:cubicBezTo>
                <a:cubicBezTo>
                  <a:pt x="791547" y="1234897"/>
                  <a:pt x="786757" y="1230106"/>
                  <a:pt x="786757" y="1224159"/>
                </a:cubicBezTo>
                <a:cubicBezTo>
                  <a:pt x="786757" y="1218213"/>
                  <a:pt x="791547" y="1213423"/>
                  <a:pt x="797494" y="1213423"/>
                </a:cubicBezTo>
                <a:close/>
                <a:moveTo>
                  <a:pt x="2444021" y="1210780"/>
                </a:moveTo>
                <a:cubicBezTo>
                  <a:pt x="2449967" y="1210780"/>
                  <a:pt x="2454759" y="1215570"/>
                  <a:pt x="2454759" y="1221516"/>
                </a:cubicBezTo>
                <a:cubicBezTo>
                  <a:pt x="2454759" y="1227463"/>
                  <a:pt x="2449967" y="1232253"/>
                  <a:pt x="2444021" y="1232253"/>
                </a:cubicBezTo>
                <a:cubicBezTo>
                  <a:pt x="2438074" y="1232253"/>
                  <a:pt x="2433284" y="1227463"/>
                  <a:pt x="2433284" y="1221516"/>
                </a:cubicBezTo>
                <a:cubicBezTo>
                  <a:pt x="2433284" y="1215570"/>
                  <a:pt x="2438074" y="1210780"/>
                  <a:pt x="2444021" y="1210780"/>
                </a:cubicBezTo>
                <a:close/>
                <a:moveTo>
                  <a:pt x="3243334" y="1204006"/>
                </a:moveTo>
                <a:cubicBezTo>
                  <a:pt x="3249280" y="1204006"/>
                  <a:pt x="3254072" y="1208796"/>
                  <a:pt x="3254072" y="1214743"/>
                </a:cubicBezTo>
                <a:cubicBezTo>
                  <a:pt x="3254072" y="1220689"/>
                  <a:pt x="3249280" y="1225481"/>
                  <a:pt x="3243334" y="1225481"/>
                </a:cubicBezTo>
                <a:cubicBezTo>
                  <a:pt x="3237387" y="1225481"/>
                  <a:pt x="3232597" y="1220689"/>
                  <a:pt x="3232597" y="1214743"/>
                </a:cubicBezTo>
                <a:cubicBezTo>
                  <a:pt x="3232597" y="1208796"/>
                  <a:pt x="3237387" y="1204006"/>
                  <a:pt x="3243334" y="1204006"/>
                </a:cubicBezTo>
                <a:close/>
                <a:moveTo>
                  <a:pt x="1683030" y="1202520"/>
                </a:moveTo>
                <a:cubicBezTo>
                  <a:pt x="1688977" y="1202520"/>
                  <a:pt x="1693768" y="1207310"/>
                  <a:pt x="1693768" y="1213256"/>
                </a:cubicBezTo>
                <a:cubicBezTo>
                  <a:pt x="1693768" y="1219203"/>
                  <a:pt x="1688977" y="1223993"/>
                  <a:pt x="1683030" y="1223993"/>
                </a:cubicBezTo>
                <a:cubicBezTo>
                  <a:pt x="1677084" y="1223993"/>
                  <a:pt x="1672294" y="1219203"/>
                  <a:pt x="1672294" y="1213256"/>
                </a:cubicBezTo>
                <a:cubicBezTo>
                  <a:pt x="1672294" y="1207310"/>
                  <a:pt x="1677084" y="1202520"/>
                  <a:pt x="1683030" y="1202520"/>
                </a:cubicBezTo>
                <a:close/>
                <a:moveTo>
                  <a:pt x="2641578" y="1198060"/>
                </a:moveTo>
                <a:cubicBezTo>
                  <a:pt x="2647524" y="1198060"/>
                  <a:pt x="2652316" y="1202850"/>
                  <a:pt x="2652316" y="1208796"/>
                </a:cubicBezTo>
                <a:cubicBezTo>
                  <a:pt x="2652316" y="1214743"/>
                  <a:pt x="2647524" y="1219534"/>
                  <a:pt x="2641578" y="1219534"/>
                </a:cubicBezTo>
                <a:cubicBezTo>
                  <a:pt x="2635631" y="1219534"/>
                  <a:pt x="2630841" y="1214743"/>
                  <a:pt x="2630841" y="1208796"/>
                </a:cubicBezTo>
                <a:cubicBezTo>
                  <a:pt x="2630841" y="1202850"/>
                  <a:pt x="2635631" y="1198060"/>
                  <a:pt x="2641578" y="1198060"/>
                </a:cubicBezTo>
                <a:close/>
                <a:moveTo>
                  <a:pt x="748270" y="1197895"/>
                </a:moveTo>
                <a:cubicBezTo>
                  <a:pt x="754217" y="1197895"/>
                  <a:pt x="759007" y="1202685"/>
                  <a:pt x="759007" y="1208631"/>
                </a:cubicBezTo>
                <a:cubicBezTo>
                  <a:pt x="759007" y="1214578"/>
                  <a:pt x="754217" y="1219368"/>
                  <a:pt x="748270" y="1219368"/>
                </a:cubicBezTo>
                <a:cubicBezTo>
                  <a:pt x="742324" y="1219368"/>
                  <a:pt x="737534" y="1214578"/>
                  <a:pt x="737534" y="1208631"/>
                </a:cubicBezTo>
                <a:cubicBezTo>
                  <a:pt x="737534" y="1202685"/>
                  <a:pt x="742324" y="1197895"/>
                  <a:pt x="748270" y="1197895"/>
                </a:cubicBezTo>
                <a:close/>
                <a:moveTo>
                  <a:pt x="3043959" y="1194591"/>
                </a:moveTo>
                <a:cubicBezTo>
                  <a:pt x="3049906" y="1194591"/>
                  <a:pt x="3054696" y="1199381"/>
                  <a:pt x="3054696" y="1205328"/>
                </a:cubicBezTo>
                <a:cubicBezTo>
                  <a:pt x="3054696" y="1211274"/>
                  <a:pt x="3049906" y="1216066"/>
                  <a:pt x="3043959" y="1216066"/>
                </a:cubicBezTo>
                <a:cubicBezTo>
                  <a:pt x="3038013" y="1216066"/>
                  <a:pt x="3033223" y="1211274"/>
                  <a:pt x="3033223" y="1205328"/>
                </a:cubicBezTo>
                <a:cubicBezTo>
                  <a:pt x="3033223" y="1199381"/>
                  <a:pt x="3038013" y="1194591"/>
                  <a:pt x="3043959" y="1194591"/>
                </a:cubicBezTo>
                <a:close/>
                <a:moveTo>
                  <a:pt x="2842438" y="1192609"/>
                </a:moveTo>
                <a:cubicBezTo>
                  <a:pt x="2848385" y="1192609"/>
                  <a:pt x="2853176" y="1197399"/>
                  <a:pt x="2853176" y="1203346"/>
                </a:cubicBezTo>
                <a:cubicBezTo>
                  <a:pt x="2853176" y="1209292"/>
                  <a:pt x="2848385" y="1214082"/>
                  <a:pt x="2842438" y="1214082"/>
                </a:cubicBezTo>
                <a:cubicBezTo>
                  <a:pt x="2836492" y="1214082"/>
                  <a:pt x="2831702" y="1209292"/>
                  <a:pt x="2831702" y="1203346"/>
                </a:cubicBezTo>
                <a:cubicBezTo>
                  <a:pt x="2831702" y="1197399"/>
                  <a:pt x="2836492" y="1192609"/>
                  <a:pt x="2842438" y="1192609"/>
                </a:cubicBezTo>
                <a:close/>
                <a:moveTo>
                  <a:pt x="564754" y="1190462"/>
                </a:moveTo>
                <a:cubicBezTo>
                  <a:pt x="567034" y="1190462"/>
                  <a:pt x="568883" y="1192311"/>
                  <a:pt x="568883" y="1194591"/>
                </a:cubicBezTo>
                <a:cubicBezTo>
                  <a:pt x="568883" y="1196872"/>
                  <a:pt x="567034" y="1198720"/>
                  <a:pt x="564754" y="1198720"/>
                </a:cubicBezTo>
                <a:cubicBezTo>
                  <a:pt x="562473" y="1198720"/>
                  <a:pt x="560624" y="1196872"/>
                  <a:pt x="560624" y="1194591"/>
                </a:cubicBezTo>
                <a:cubicBezTo>
                  <a:pt x="560624" y="1192311"/>
                  <a:pt x="562473" y="1190462"/>
                  <a:pt x="564754" y="1190462"/>
                </a:cubicBezTo>
                <a:close/>
                <a:moveTo>
                  <a:pt x="940210" y="1190133"/>
                </a:moveTo>
                <a:cubicBezTo>
                  <a:pt x="946157" y="1190133"/>
                  <a:pt x="950947" y="1194923"/>
                  <a:pt x="950947" y="1200869"/>
                </a:cubicBezTo>
                <a:cubicBezTo>
                  <a:pt x="950947" y="1206816"/>
                  <a:pt x="946157" y="1211606"/>
                  <a:pt x="940210" y="1211606"/>
                </a:cubicBezTo>
                <a:cubicBezTo>
                  <a:pt x="934264" y="1211606"/>
                  <a:pt x="929474" y="1206816"/>
                  <a:pt x="929474" y="1200869"/>
                </a:cubicBezTo>
                <a:cubicBezTo>
                  <a:pt x="929474" y="1194923"/>
                  <a:pt x="934264" y="1190133"/>
                  <a:pt x="940210" y="1190133"/>
                </a:cubicBezTo>
                <a:close/>
                <a:moveTo>
                  <a:pt x="709617" y="1188149"/>
                </a:moveTo>
                <a:cubicBezTo>
                  <a:pt x="715564" y="1188149"/>
                  <a:pt x="720354" y="1192939"/>
                  <a:pt x="720354" y="1198885"/>
                </a:cubicBezTo>
                <a:cubicBezTo>
                  <a:pt x="720354" y="1204832"/>
                  <a:pt x="715564" y="1209623"/>
                  <a:pt x="709617" y="1209623"/>
                </a:cubicBezTo>
                <a:cubicBezTo>
                  <a:pt x="703671" y="1209623"/>
                  <a:pt x="698881" y="1204832"/>
                  <a:pt x="698881" y="1198885"/>
                </a:cubicBezTo>
                <a:cubicBezTo>
                  <a:pt x="698881" y="1192939"/>
                  <a:pt x="703671" y="1188149"/>
                  <a:pt x="709617" y="1188149"/>
                </a:cubicBezTo>
                <a:close/>
                <a:moveTo>
                  <a:pt x="679884" y="1182863"/>
                </a:moveTo>
                <a:cubicBezTo>
                  <a:pt x="685831" y="1182863"/>
                  <a:pt x="690623" y="1187653"/>
                  <a:pt x="690623" y="1193599"/>
                </a:cubicBezTo>
                <a:cubicBezTo>
                  <a:pt x="690623" y="1199546"/>
                  <a:pt x="685831" y="1204337"/>
                  <a:pt x="679884" y="1204337"/>
                </a:cubicBezTo>
                <a:cubicBezTo>
                  <a:pt x="673938" y="1204337"/>
                  <a:pt x="669148" y="1199546"/>
                  <a:pt x="669148" y="1193599"/>
                </a:cubicBezTo>
                <a:cubicBezTo>
                  <a:pt x="669148" y="1187653"/>
                  <a:pt x="673938" y="1182863"/>
                  <a:pt x="679884" y="1182863"/>
                </a:cubicBezTo>
                <a:close/>
                <a:moveTo>
                  <a:pt x="656759" y="1180883"/>
                </a:moveTo>
                <a:cubicBezTo>
                  <a:pt x="662706" y="1180883"/>
                  <a:pt x="667496" y="1185672"/>
                  <a:pt x="667496" y="1191619"/>
                </a:cubicBezTo>
                <a:cubicBezTo>
                  <a:pt x="667496" y="1197566"/>
                  <a:pt x="662706" y="1202355"/>
                  <a:pt x="656759" y="1202355"/>
                </a:cubicBezTo>
                <a:lnTo>
                  <a:pt x="647923" y="1193520"/>
                </a:lnTo>
                <a:lnTo>
                  <a:pt x="638920" y="1202522"/>
                </a:lnTo>
                <a:lnTo>
                  <a:pt x="632560" y="1196162"/>
                </a:lnTo>
                <a:lnTo>
                  <a:pt x="624715" y="1204006"/>
                </a:lnTo>
                <a:lnTo>
                  <a:pt x="619758" y="1199052"/>
                </a:lnTo>
                <a:lnTo>
                  <a:pt x="612655" y="1206155"/>
                </a:lnTo>
                <a:lnTo>
                  <a:pt x="607949" y="1201448"/>
                </a:lnTo>
                <a:lnTo>
                  <a:pt x="601589" y="1207808"/>
                </a:lnTo>
                <a:lnTo>
                  <a:pt x="596468" y="1202687"/>
                </a:lnTo>
                <a:lnTo>
                  <a:pt x="590522" y="1208633"/>
                </a:lnTo>
                <a:lnTo>
                  <a:pt x="584244" y="1202355"/>
                </a:lnTo>
                <a:lnTo>
                  <a:pt x="578629" y="1207972"/>
                </a:lnTo>
                <a:cubicBezTo>
                  <a:pt x="572682" y="1207972"/>
                  <a:pt x="567892" y="1203181"/>
                  <a:pt x="567892" y="1197234"/>
                </a:cubicBezTo>
                <a:cubicBezTo>
                  <a:pt x="567892" y="1191288"/>
                  <a:pt x="572682" y="1186498"/>
                  <a:pt x="578629" y="1186498"/>
                </a:cubicBezTo>
                <a:lnTo>
                  <a:pt x="584905" y="1192776"/>
                </a:lnTo>
                <a:lnTo>
                  <a:pt x="590522" y="1187159"/>
                </a:lnTo>
                <a:lnTo>
                  <a:pt x="595643" y="1192280"/>
                </a:lnTo>
                <a:lnTo>
                  <a:pt x="601589" y="1186333"/>
                </a:lnTo>
                <a:lnTo>
                  <a:pt x="606296" y="1191040"/>
                </a:lnTo>
                <a:lnTo>
                  <a:pt x="612655" y="1184680"/>
                </a:lnTo>
                <a:lnTo>
                  <a:pt x="617612" y="1189637"/>
                </a:lnTo>
                <a:lnTo>
                  <a:pt x="624715" y="1182534"/>
                </a:lnTo>
                <a:lnTo>
                  <a:pt x="631074" y="1188893"/>
                </a:lnTo>
                <a:lnTo>
                  <a:pt x="638920" y="1181047"/>
                </a:lnTo>
                <a:lnTo>
                  <a:pt x="647757" y="1189885"/>
                </a:lnTo>
                <a:close/>
                <a:moveTo>
                  <a:pt x="1372985" y="1179395"/>
                </a:moveTo>
                <a:cubicBezTo>
                  <a:pt x="1378932" y="1179395"/>
                  <a:pt x="1383722" y="1184185"/>
                  <a:pt x="1383722" y="1190131"/>
                </a:cubicBezTo>
                <a:cubicBezTo>
                  <a:pt x="1383722" y="1196078"/>
                  <a:pt x="1378932" y="1200869"/>
                  <a:pt x="1372985" y="1200869"/>
                </a:cubicBezTo>
                <a:cubicBezTo>
                  <a:pt x="1367039" y="1200869"/>
                  <a:pt x="1362249" y="1196078"/>
                  <a:pt x="1362249" y="1190131"/>
                </a:cubicBezTo>
                <a:cubicBezTo>
                  <a:pt x="1362249" y="1184185"/>
                  <a:pt x="1367039" y="1179395"/>
                  <a:pt x="1372985" y="1179395"/>
                </a:cubicBezTo>
                <a:close/>
                <a:moveTo>
                  <a:pt x="1128848" y="1177248"/>
                </a:moveTo>
                <a:cubicBezTo>
                  <a:pt x="1134795" y="1177248"/>
                  <a:pt x="1139584" y="1182038"/>
                  <a:pt x="1139584" y="1187984"/>
                </a:cubicBezTo>
                <a:cubicBezTo>
                  <a:pt x="1139584" y="1193931"/>
                  <a:pt x="1134795" y="1198720"/>
                  <a:pt x="1128848" y="1198720"/>
                </a:cubicBezTo>
                <a:cubicBezTo>
                  <a:pt x="1122902" y="1198720"/>
                  <a:pt x="1118112" y="1193931"/>
                  <a:pt x="1118112" y="1187984"/>
                </a:cubicBezTo>
                <a:cubicBezTo>
                  <a:pt x="1118112" y="1182038"/>
                  <a:pt x="1122902" y="1177248"/>
                  <a:pt x="1128848" y="1177248"/>
                </a:cubicBezTo>
                <a:close/>
                <a:moveTo>
                  <a:pt x="1840779" y="1167502"/>
                </a:moveTo>
                <a:cubicBezTo>
                  <a:pt x="1846725" y="1167502"/>
                  <a:pt x="1851515" y="1172292"/>
                  <a:pt x="1851515" y="1178238"/>
                </a:cubicBezTo>
                <a:cubicBezTo>
                  <a:pt x="1851515" y="1184185"/>
                  <a:pt x="1846725" y="1188976"/>
                  <a:pt x="1840779" y="1188976"/>
                </a:cubicBezTo>
                <a:cubicBezTo>
                  <a:pt x="1834832" y="1188976"/>
                  <a:pt x="1830042" y="1184185"/>
                  <a:pt x="1830042" y="1178238"/>
                </a:cubicBezTo>
                <a:cubicBezTo>
                  <a:pt x="1830042" y="1172292"/>
                  <a:pt x="1834832" y="1167502"/>
                  <a:pt x="1840779" y="1167502"/>
                </a:cubicBezTo>
                <a:close/>
                <a:moveTo>
                  <a:pt x="868191" y="1167172"/>
                </a:moveTo>
                <a:cubicBezTo>
                  <a:pt x="874138" y="1167172"/>
                  <a:pt x="878928" y="1171962"/>
                  <a:pt x="878928" y="1177909"/>
                </a:cubicBezTo>
                <a:cubicBezTo>
                  <a:pt x="878928" y="1183855"/>
                  <a:pt x="874138" y="1188645"/>
                  <a:pt x="868191" y="1188645"/>
                </a:cubicBezTo>
                <a:cubicBezTo>
                  <a:pt x="862245" y="1188645"/>
                  <a:pt x="857455" y="1183855"/>
                  <a:pt x="857455" y="1177909"/>
                </a:cubicBezTo>
                <a:cubicBezTo>
                  <a:pt x="857455" y="1171962"/>
                  <a:pt x="862245" y="1167172"/>
                  <a:pt x="868191" y="1167172"/>
                </a:cubicBezTo>
                <a:close/>
                <a:moveTo>
                  <a:pt x="810543" y="1151811"/>
                </a:moveTo>
                <a:cubicBezTo>
                  <a:pt x="816490" y="1151811"/>
                  <a:pt x="821281" y="1156600"/>
                  <a:pt x="821281" y="1162547"/>
                </a:cubicBezTo>
                <a:cubicBezTo>
                  <a:pt x="821281" y="1168494"/>
                  <a:pt x="816490" y="1173283"/>
                  <a:pt x="810543" y="1173283"/>
                </a:cubicBezTo>
                <a:cubicBezTo>
                  <a:pt x="804597" y="1173283"/>
                  <a:pt x="799807" y="1168494"/>
                  <a:pt x="799807" y="1162547"/>
                </a:cubicBezTo>
                <a:cubicBezTo>
                  <a:pt x="799807" y="1156600"/>
                  <a:pt x="804597" y="1151811"/>
                  <a:pt x="810543" y="1151811"/>
                </a:cubicBezTo>
                <a:close/>
                <a:moveTo>
                  <a:pt x="1028087" y="1144047"/>
                </a:moveTo>
                <a:cubicBezTo>
                  <a:pt x="1034033" y="1144047"/>
                  <a:pt x="1038823" y="1148837"/>
                  <a:pt x="1038823" y="1154783"/>
                </a:cubicBezTo>
                <a:cubicBezTo>
                  <a:pt x="1038823" y="1160730"/>
                  <a:pt x="1034033" y="1165521"/>
                  <a:pt x="1028087" y="1165521"/>
                </a:cubicBezTo>
                <a:cubicBezTo>
                  <a:pt x="1022140" y="1165521"/>
                  <a:pt x="1017350" y="1160730"/>
                  <a:pt x="1017350" y="1154783"/>
                </a:cubicBezTo>
                <a:cubicBezTo>
                  <a:pt x="1017350" y="1148837"/>
                  <a:pt x="1022140" y="1144047"/>
                  <a:pt x="1028087" y="1144047"/>
                </a:cubicBezTo>
                <a:close/>
                <a:moveTo>
                  <a:pt x="764789" y="1142561"/>
                </a:moveTo>
                <a:cubicBezTo>
                  <a:pt x="770735" y="1142561"/>
                  <a:pt x="775525" y="1147350"/>
                  <a:pt x="775525" y="1153297"/>
                </a:cubicBezTo>
                <a:cubicBezTo>
                  <a:pt x="775525" y="1159243"/>
                  <a:pt x="770735" y="1164033"/>
                  <a:pt x="764789" y="1164033"/>
                </a:cubicBezTo>
                <a:cubicBezTo>
                  <a:pt x="758842" y="1164033"/>
                  <a:pt x="754052" y="1159243"/>
                  <a:pt x="754052" y="1153297"/>
                </a:cubicBezTo>
                <a:cubicBezTo>
                  <a:pt x="754052" y="1147350"/>
                  <a:pt x="758842" y="1142561"/>
                  <a:pt x="764789" y="1142561"/>
                </a:cubicBezTo>
                <a:close/>
                <a:moveTo>
                  <a:pt x="678728" y="1138926"/>
                </a:moveTo>
                <a:cubicBezTo>
                  <a:pt x="684674" y="1138926"/>
                  <a:pt x="689466" y="1143715"/>
                  <a:pt x="689466" y="1149662"/>
                </a:cubicBezTo>
                <a:cubicBezTo>
                  <a:pt x="689466" y="1155609"/>
                  <a:pt x="684674" y="1160398"/>
                  <a:pt x="678728" y="1160398"/>
                </a:cubicBezTo>
                <a:lnTo>
                  <a:pt x="671626" y="1153297"/>
                </a:lnTo>
                <a:lnTo>
                  <a:pt x="661219" y="1163704"/>
                </a:lnTo>
                <a:lnTo>
                  <a:pt x="655850" y="1158335"/>
                </a:lnTo>
                <a:lnTo>
                  <a:pt x="646684" y="1167502"/>
                </a:lnTo>
                <a:lnTo>
                  <a:pt x="642058" y="1162877"/>
                </a:lnTo>
                <a:lnTo>
                  <a:pt x="633800" y="1171136"/>
                </a:lnTo>
                <a:lnTo>
                  <a:pt x="629092" y="1166428"/>
                </a:lnTo>
                <a:lnTo>
                  <a:pt x="621576" y="1173944"/>
                </a:lnTo>
                <a:lnTo>
                  <a:pt x="615959" y="1168329"/>
                </a:lnTo>
                <a:lnTo>
                  <a:pt x="608857" y="1175432"/>
                </a:lnTo>
                <a:lnTo>
                  <a:pt x="601671" y="1168246"/>
                </a:lnTo>
                <a:lnTo>
                  <a:pt x="594817" y="1175099"/>
                </a:lnTo>
                <a:cubicBezTo>
                  <a:pt x="588871" y="1175099"/>
                  <a:pt x="584081" y="1170309"/>
                  <a:pt x="584081" y="1164363"/>
                </a:cubicBezTo>
                <a:cubicBezTo>
                  <a:pt x="584081" y="1158416"/>
                  <a:pt x="588871" y="1153626"/>
                  <a:pt x="594817" y="1153626"/>
                </a:cubicBezTo>
                <a:lnTo>
                  <a:pt x="602002" y="1160813"/>
                </a:lnTo>
                <a:lnTo>
                  <a:pt x="608857" y="1153958"/>
                </a:lnTo>
                <a:lnTo>
                  <a:pt x="614473" y="1159575"/>
                </a:lnTo>
                <a:lnTo>
                  <a:pt x="621576" y="1152472"/>
                </a:lnTo>
                <a:lnTo>
                  <a:pt x="626284" y="1157180"/>
                </a:lnTo>
                <a:lnTo>
                  <a:pt x="633800" y="1149662"/>
                </a:lnTo>
                <a:lnTo>
                  <a:pt x="638425" y="1154287"/>
                </a:lnTo>
                <a:lnTo>
                  <a:pt x="646684" y="1146029"/>
                </a:lnTo>
                <a:lnTo>
                  <a:pt x="652053" y="1151398"/>
                </a:lnTo>
                <a:lnTo>
                  <a:pt x="661219" y="1142229"/>
                </a:lnTo>
                <a:lnTo>
                  <a:pt x="668323" y="1149333"/>
                </a:lnTo>
                <a:close/>
                <a:moveTo>
                  <a:pt x="1504636" y="1138100"/>
                </a:moveTo>
                <a:cubicBezTo>
                  <a:pt x="1510583" y="1138100"/>
                  <a:pt x="1515372" y="1142890"/>
                  <a:pt x="1515372" y="1148837"/>
                </a:cubicBezTo>
                <a:cubicBezTo>
                  <a:pt x="1515372" y="1154783"/>
                  <a:pt x="1510583" y="1159575"/>
                  <a:pt x="1504636" y="1159575"/>
                </a:cubicBezTo>
                <a:cubicBezTo>
                  <a:pt x="1498690" y="1159575"/>
                  <a:pt x="1493900" y="1154783"/>
                  <a:pt x="1493900" y="1148837"/>
                </a:cubicBezTo>
                <a:cubicBezTo>
                  <a:pt x="1493900" y="1142890"/>
                  <a:pt x="1498690" y="1138100"/>
                  <a:pt x="1504636" y="1138100"/>
                </a:cubicBezTo>
                <a:close/>
                <a:moveTo>
                  <a:pt x="728943" y="1138100"/>
                </a:moveTo>
                <a:cubicBezTo>
                  <a:pt x="734889" y="1138100"/>
                  <a:pt x="739679" y="1142890"/>
                  <a:pt x="739679" y="1148837"/>
                </a:cubicBezTo>
                <a:cubicBezTo>
                  <a:pt x="739679" y="1154783"/>
                  <a:pt x="734889" y="1159575"/>
                  <a:pt x="728943" y="1159575"/>
                </a:cubicBezTo>
                <a:cubicBezTo>
                  <a:pt x="722996" y="1159575"/>
                  <a:pt x="718207" y="1154783"/>
                  <a:pt x="718207" y="1148837"/>
                </a:cubicBezTo>
                <a:cubicBezTo>
                  <a:pt x="718207" y="1142890"/>
                  <a:pt x="722996" y="1138100"/>
                  <a:pt x="728943" y="1138100"/>
                </a:cubicBezTo>
                <a:close/>
                <a:moveTo>
                  <a:pt x="700863" y="1137273"/>
                </a:moveTo>
                <a:cubicBezTo>
                  <a:pt x="706810" y="1137273"/>
                  <a:pt x="711601" y="1142063"/>
                  <a:pt x="711601" y="1148009"/>
                </a:cubicBezTo>
                <a:cubicBezTo>
                  <a:pt x="711601" y="1153956"/>
                  <a:pt x="706810" y="1158748"/>
                  <a:pt x="700863" y="1158748"/>
                </a:cubicBezTo>
                <a:cubicBezTo>
                  <a:pt x="694916" y="1158748"/>
                  <a:pt x="690127" y="1153956"/>
                  <a:pt x="690127" y="1148009"/>
                </a:cubicBezTo>
                <a:cubicBezTo>
                  <a:pt x="690127" y="1142063"/>
                  <a:pt x="694916" y="1137273"/>
                  <a:pt x="700863" y="1137273"/>
                </a:cubicBezTo>
                <a:close/>
                <a:moveTo>
                  <a:pt x="2007942" y="1135953"/>
                </a:moveTo>
                <a:cubicBezTo>
                  <a:pt x="2013889" y="1135953"/>
                  <a:pt x="2018678" y="1140743"/>
                  <a:pt x="2018678" y="1146690"/>
                </a:cubicBezTo>
                <a:cubicBezTo>
                  <a:pt x="2018678" y="1152636"/>
                  <a:pt x="2013889" y="1157426"/>
                  <a:pt x="2007942" y="1157426"/>
                </a:cubicBezTo>
                <a:cubicBezTo>
                  <a:pt x="2001996" y="1157426"/>
                  <a:pt x="1997206" y="1152636"/>
                  <a:pt x="1997206" y="1146690"/>
                </a:cubicBezTo>
                <a:cubicBezTo>
                  <a:pt x="1997206" y="1140743"/>
                  <a:pt x="2001996" y="1135953"/>
                  <a:pt x="2007942" y="1135953"/>
                </a:cubicBezTo>
                <a:close/>
                <a:moveTo>
                  <a:pt x="1236876" y="1132648"/>
                </a:moveTo>
                <a:cubicBezTo>
                  <a:pt x="1242822" y="1132648"/>
                  <a:pt x="1247612" y="1137438"/>
                  <a:pt x="1247612" y="1143384"/>
                </a:cubicBezTo>
                <a:cubicBezTo>
                  <a:pt x="1247612" y="1149331"/>
                  <a:pt x="1242822" y="1154122"/>
                  <a:pt x="1236876" y="1154122"/>
                </a:cubicBezTo>
                <a:cubicBezTo>
                  <a:pt x="1230929" y="1154122"/>
                  <a:pt x="1226140" y="1149331"/>
                  <a:pt x="1226140" y="1143384"/>
                </a:cubicBezTo>
                <a:cubicBezTo>
                  <a:pt x="1226140" y="1137438"/>
                  <a:pt x="1230929" y="1132648"/>
                  <a:pt x="1236876" y="1132648"/>
                </a:cubicBezTo>
                <a:close/>
                <a:moveTo>
                  <a:pt x="609848" y="1130171"/>
                </a:moveTo>
                <a:cubicBezTo>
                  <a:pt x="611034" y="1130171"/>
                  <a:pt x="611995" y="1131132"/>
                  <a:pt x="611995" y="1132318"/>
                </a:cubicBezTo>
                <a:cubicBezTo>
                  <a:pt x="611995" y="1133505"/>
                  <a:pt x="611034" y="1134465"/>
                  <a:pt x="609848" y="1134465"/>
                </a:cubicBezTo>
                <a:cubicBezTo>
                  <a:pt x="608661" y="1134465"/>
                  <a:pt x="607701" y="1133505"/>
                  <a:pt x="607701" y="1132318"/>
                </a:cubicBezTo>
                <a:cubicBezTo>
                  <a:pt x="607701" y="1131132"/>
                  <a:pt x="608661" y="1130171"/>
                  <a:pt x="609848" y="1130171"/>
                </a:cubicBezTo>
                <a:close/>
                <a:moveTo>
                  <a:pt x="945496" y="1120590"/>
                </a:moveTo>
                <a:cubicBezTo>
                  <a:pt x="951443" y="1120590"/>
                  <a:pt x="956232" y="1125380"/>
                  <a:pt x="956232" y="1131326"/>
                </a:cubicBezTo>
                <a:cubicBezTo>
                  <a:pt x="956232" y="1137273"/>
                  <a:pt x="951443" y="1142063"/>
                  <a:pt x="945496" y="1142063"/>
                </a:cubicBezTo>
                <a:cubicBezTo>
                  <a:pt x="939550" y="1142063"/>
                  <a:pt x="934760" y="1137273"/>
                  <a:pt x="934760" y="1131326"/>
                </a:cubicBezTo>
                <a:cubicBezTo>
                  <a:pt x="934760" y="1125380"/>
                  <a:pt x="939550" y="1120590"/>
                  <a:pt x="945496" y="1120590"/>
                </a:cubicBezTo>
                <a:close/>
                <a:moveTo>
                  <a:pt x="2183366" y="1108864"/>
                </a:moveTo>
                <a:cubicBezTo>
                  <a:pt x="2189312" y="1108864"/>
                  <a:pt x="2194104" y="1113653"/>
                  <a:pt x="2194104" y="1119600"/>
                </a:cubicBezTo>
                <a:cubicBezTo>
                  <a:pt x="2194104" y="1125546"/>
                  <a:pt x="2189312" y="1130336"/>
                  <a:pt x="2183366" y="1130336"/>
                </a:cubicBezTo>
                <a:cubicBezTo>
                  <a:pt x="2177419" y="1130336"/>
                  <a:pt x="2172629" y="1125546"/>
                  <a:pt x="2172629" y="1119600"/>
                </a:cubicBezTo>
                <a:cubicBezTo>
                  <a:pt x="2172629" y="1113653"/>
                  <a:pt x="2177419" y="1108864"/>
                  <a:pt x="2183366" y="1108864"/>
                </a:cubicBezTo>
                <a:close/>
                <a:moveTo>
                  <a:pt x="683023" y="1106219"/>
                </a:moveTo>
                <a:cubicBezTo>
                  <a:pt x="688970" y="1106219"/>
                  <a:pt x="693760" y="1111009"/>
                  <a:pt x="693760" y="1116955"/>
                </a:cubicBezTo>
                <a:cubicBezTo>
                  <a:pt x="693760" y="1122902"/>
                  <a:pt x="688970" y="1127693"/>
                  <a:pt x="683023" y="1127693"/>
                </a:cubicBezTo>
                <a:lnTo>
                  <a:pt x="678234" y="1122904"/>
                </a:lnTo>
                <a:lnTo>
                  <a:pt x="667827" y="1133309"/>
                </a:lnTo>
                <a:lnTo>
                  <a:pt x="663368" y="1128850"/>
                </a:lnTo>
                <a:lnTo>
                  <a:pt x="653952" y="1138265"/>
                </a:lnTo>
                <a:lnTo>
                  <a:pt x="648914" y="1133226"/>
                </a:lnTo>
                <a:lnTo>
                  <a:pt x="640241" y="1141900"/>
                </a:lnTo>
                <a:lnTo>
                  <a:pt x="633882" y="1135539"/>
                </a:lnTo>
                <a:lnTo>
                  <a:pt x="625872" y="1143551"/>
                </a:lnTo>
                <a:cubicBezTo>
                  <a:pt x="619925" y="1143551"/>
                  <a:pt x="615135" y="1138759"/>
                  <a:pt x="615135" y="1132813"/>
                </a:cubicBezTo>
                <a:cubicBezTo>
                  <a:pt x="615135" y="1126866"/>
                  <a:pt x="619925" y="1122076"/>
                  <a:pt x="625872" y="1122076"/>
                </a:cubicBezTo>
                <a:lnTo>
                  <a:pt x="632231" y="1128436"/>
                </a:lnTo>
                <a:lnTo>
                  <a:pt x="640241" y="1120425"/>
                </a:lnTo>
                <a:lnTo>
                  <a:pt x="645279" y="1125463"/>
                </a:lnTo>
                <a:lnTo>
                  <a:pt x="653952" y="1116791"/>
                </a:lnTo>
                <a:lnTo>
                  <a:pt x="658412" y="1121251"/>
                </a:lnTo>
                <a:lnTo>
                  <a:pt x="667827" y="1111836"/>
                </a:lnTo>
                <a:lnTo>
                  <a:pt x="672617" y="1116626"/>
                </a:lnTo>
                <a:close/>
                <a:moveTo>
                  <a:pt x="3503192" y="1105861"/>
                </a:moveTo>
                <a:lnTo>
                  <a:pt x="3503192" y="1111534"/>
                </a:lnTo>
                <a:lnTo>
                  <a:pt x="3500356" y="1108697"/>
                </a:lnTo>
                <a:close/>
                <a:moveTo>
                  <a:pt x="878763" y="1105064"/>
                </a:moveTo>
                <a:cubicBezTo>
                  <a:pt x="884709" y="1105064"/>
                  <a:pt x="889499" y="1109854"/>
                  <a:pt x="889499" y="1115800"/>
                </a:cubicBezTo>
                <a:cubicBezTo>
                  <a:pt x="889499" y="1121747"/>
                  <a:pt x="884709" y="1126538"/>
                  <a:pt x="878763" y="1126538"/>
                </a:cubicBezTo>
                <a:cubicBezTo>
                  <a:pt x="872816" y="1126538"/>
                  <a:pt x="868026" y="1121747"/>
                  <a:pt x="868026" y="1115800"/>
                </a:cubicBezTo>
                <a:cubicBezTo>
                  <a:pt x="868026" y="1109854"/>
                  <a:pt x="872816" y="1105064"/>
                  <a:pt x="878763" y="1105064"/>
                </a:cubicBezTo>
                <a:close/>
                <a:moveTo>
                  <a:pt x="700532" y="1100604"/>
                </a:moveTo>
                <a:cubicBezTo>
                  <a:pt x="706478" y="1100604"/>
                  <a:pt x="711270" y="1105394"/>
                  <a:pt x="711270" y="1111340"/>
                </a:cubicBezTo>
                <a:cubicBezTo>
                  <a:pt x="711270" y="1117287"/>
                  <a:pt x="706478" y="1122076"/>
                  <a:pt x="700532" y="1122076"/>
                </a:cubicBezTo>
                <a:cubicBezTo>
                  <a:pt x="694585" y="1122076"/>
                  <a:pt x="689795" y="1117287"/>
                  <a:pt x="689795" y="1111340"/>
                </a:cubicBezTo>
                <a:cubicBezTo>
                  <a:pt x="689795" y="1105394"/>
                  <a:pt x="694585" y="1100604"/>
                  <a:pt x="700532" y="1100604"/>
                </a:cubicBezTo>
                <a:close/>
                <a:moveTo>
                  <a:pt x="1645700" y="1098786"/>
                </a:moveTo>
                <a:cubicBezTo>
                  <a:pt x="1651646" y="1098786"/>
                  <a:pt x="1656436" y="1103576"/>
                  <a:pt x="1656436" y="1109523"/>
                </a:cubicBezTo>
                <a:cubicBezTo>
                  <a:pt x="1656436" y="1115469"/>
                  <a:pt x="1651646" y="1120259"/>
                  <a:pt x="1645700" y="1120259"/>
                </a:cubicBezTo>
                <a:cubicBezTo>
                  <a:pt x="1639754" y="1120259"/>
                  <a:pt x="1634964" y="1115469"/>
                  <a:pt x="1634964" y="1109523"/>
                </a:cubicBezTo>
                <a:cubicBezTo>
                  <a:pt x="1634964" y="1103576"/>
                  <a:pt x="1639754" y="1098786"/>
                  <a:pt x="1645700" y="1098786"/>
                </a:cubicBezTo>
                <a:close/>
                <a:moveTo>
                  <a:pt x="1123398" y="1097961"/>
                </a:moveTo>
                <a:cubicBezTo>
                  <a:pt x="1129344" y="1097961"/>
                  <a:pt x="1134136" y="1102751"/>
                  <a:pt x="1134136" y="1108697"/>
                </a:cubicBezTo>
                <a:cubicBezTo>
                  <a:pt x="1134136" y="1114644"/>
                  <a:pt x="1129344" y="1119435"/>
                  <a:pt x="1123398" y="1119435"/>
                </a:cubicBezTo>
                <a:cubicBezTo>
                  <a:pt x="1117451" y="1119435"/>
                  <a:pt x="1112661" y="1114644"/>
                  <a:pt x="1112661" y="1108697"/>
                </a:cubicBezTo>
                <a:cubicBezTo>
                  <a:pt x="1112661" y="1102751"/>
                  <a:pt x="1117451" y="1097961"/>
                  <a:pt x="1123398" y="1097961"/>
                </a:cubicBezTo>
                <a:close/>
                <a:moveTo>
                  <a:pt x="825079" y="1096310"/>
                </a:moveTo>
                <a:cubicBezTo>
                  <a:pt x="831026" y="1096310"/>
                  <a:pt x="835816" y="1101100"/>
                  <a:pt x="835816" y="1107046"/>
                </a:cubicBezTo>
                <a:cubicBezTo>
                  <a:pt x="835816" y="1112993"/>
                  <a:pt x="831026" y="1117784"/>
                  <a:pt x="825079" y="1117784"/>
                </a:cubicBezTo>
                <a:cubicBezTo>
                  <a:pt x="819133" y="1117784"/>
                  <a:pt x="814343" y="1112993"/>
                  <a:pt x="814343" y="1107046"/>
                </a:cubicBezTo>
                <a:cubicBezTo>
                  <a:pt x="814343" y="1101100"/>
                  <a:pt x="819133" y="1096310"/>
                  <a:pt x="825079" y="1096310"/>
                </a:cubicBezTo>
                <a:close/>
                <a:moveTo>
                  <a:pt x="721841" y="1095814"/>
                </a:moveTo>
                <a:cubicBezTo>
                  <a:pt x="727788" y="1095814"/>
                  <a:pt x="732578" y="1100604"/>
                  <a:pt x="732578" y="1106550"/>
                </a:cubicBezTo>
                <a:cubicBezTo>
                  <a:pt x="732578" y="1112497"/>
                  <a:pt x="727788" y="1117287"/>
                  <a:pt x="721841" y="1117287"/>
                </a:cubicBezTo>
                <a:cubicBezTo>
                  <a:pt x="715895" y="1117287"/>
                  <a:pt x="711105" y="1112497"/>
                  <a:pt x="711105" y="1106550"/>
                </a:cubicBezTo>
                <a:cubicBezTo>
                  <a:pt x="711105" y="1100604"/>
                  <a:pt x="715895" y="1095814"/>
                  <a:pt x="721841" y="1095814"/>
                </a:cubicBezTo>
                <a:close/>
                <a:moveTo>
                  <a:pt x="748600" y="1092840"/>
                </a:moveTo>
                <a:cubicBezTo>
                  <a:pt x="754546" y="1092840"/>
                  <a:pt x="759338" y="1097630"/>
                  <a:pt x="759338" y="1103576"/>
                </a:cubicBezTo>
                <a:cubicBezTo>
                  <a:pt x="759338" y="1109523"/>
                  <a:pt x="754546" y="1114312"/>
                  <a:pt x="748600" y="1114312"/>
                </a:cubicBezTo>
                <a:cubicBezTo>
                  <a:pt x="742653" y="1114312"/>
                  <a:pt x="737864" y="1109523"/>
                  <a:pt x="737864" y="1103576"/>
                </a:cubicBezTo>
                <a:cubicBezTo>
                  <a:pt x="737864" y="1097630"/>
                  <a:pt x="742653" y="1092840"/>
                  <a:pt x="748600" y="1092840"/>
                </a:cubicBezTo>
                <a:close/>
                <a:moveTo>
                  <a:pt x="782463" y="1092675"/>
                </a:moveTo>
                <a:cubicBezTo>
                  <a:pt x="788410" y="1092675"/>
                  <a:pt x="793200" y="1097465"/>
                  <a:pt x="793200" y="1103411"/>
                </a:cubicBezTo>
                <a:cubicBezTo>
                  <a:pt x="793200" y="1109358"/>
                  <a:pt x="788410" y="1114149"/>
                  <a:pt x="782463" y="1114149"/>
                </a:cubicBezTo>
                <a:cubicBezTo>
                  <a:pt x="776517" y="1114149"/>
                  <a:pt x="771727" y="1109358"/>
                  <a:pt x="771727" y="1103411"/>
                </a:cubicBezTo>
                <a:cubicBezTo>
                  <a:pt x="771727" y="1097465"/>
                  <a:pt x="776517" y="1092675"/>
                  <a:pt x="782463" y="1092675"/>
                </a:cubicBezTo>
                <a:close/>
                <a:moveTo>
                  <a:pt x="1353660" y="1088875"/>
                </a:moveTo>
                <a:cubicBezTo>
                  <a:pt x="1359606" y="1088875"/>
                  <a:pt x="1364396" y="1093665"/>
                  <a:pt x="1364396" y="1099612"/>
                </a:cubicBezTo>
                <a:cubicBezTo>
                  <a:pt x="1364396" y="1105558"/>
                  <a:pt x="1359606" y="1110348"/>
                  <a:pt x="1353660" y="1110348"/>
                </a:cubicBezTo>
                <a:cubicBezTo>
                  <a:pt x="1347713" y="1110348"/>
                  <a:pt x="1342923" y="1105558"/>
                  <a:pt x="1342923" y="1099612"/>
                </a:cubicBezTo>
                <a:cubicBezTo>
                  <a:pt x="1342923" y="1093665"/>
                  <a:pt x="1347713" y="1088875"/>
                  <a:pt x="1353660" y="1088875"/>
                </a:cubicBezTo>
                <a:close/>
                <a:moveTo>
                  <a:pt x="2366222" y="1087060"/>
                </a:moveTo>
                <a:cubicBezTo>
                  <a:pt x="2372168" y="1087060"/>
                  <a:pt x="2376958" y="1091850"/>
                  <a:pt x="2376958" y="1097796"/>
                </a:cubicBezTo>
                <a:cubicBezTo>
                  <a:pt x="2376958" y="1103742"/>
                  <a:pt x="2372168" y="1108532"/>
                  <a:pt x="2366222" y="1108532"/>
                </a:cubicBezTo>
                <a:cubicBezTo>
                  <a:pt x="2360275" y="1108532"/>
                  <a:pt x="2355486" y="1103742"/>
                  <a:pt x="2355486" y="1097796"/>
                </a:cubicBezTo>
                <a:cubicBezTo>
                  <a:pt x="2355486" y="1091850"/>
                  <a:pt x="2360275" y="1087060"/>
                  <a:pt x="2366222" y="1087060"/>
                </a:cubicBezTo>
                <a:close/>
                <a:moveTo>
                  <a:pt x="688309" y="1079792"/>
                </a:moveTo>
                <a:cubicBezTo>
                  <a:pt x="694256" y="1079792"/>
                  <a:pt x="699046" y="1084581"/>
                  <a:pt x="699046" y="1090528"/>
                </a:cubicBezTo>
                <a:cubicBezTo>
                  <a:pt x="699046" y="1096475"/>
                  <a:pt x="694256" y="1101266"/>
                  <a:pt x="688309" y="1101266"/>
                </a:cubicBezTo>
                <a:lnTo>
                  <a:pt x="683601" y="1096556"/>
                </a:lnTo>
                <a:lnTo>
                  <a:pt x="673277" y="1106881"/>
                </a:lnTo>
                <a:lnTo>
                  <a:pt x="667660" y="1101264"/>
                </a:lnTo>
                <a:lnTo>
                  <a:pt x="657916" y="1111011"/>
                </a:lnTo>
                <a:lnTo>
                  <a:pt x="650318" y="1103411"/>
                </a:lnTo>
                <a:lnTo>
                  <a:pt x="641399" y="1112332"/>
                </a:lnTo>
                <a:cubicBezTo>
                  <a:pt x="635618" y="1112332"/>
                  <a:pt x="630993" y="1107707"/>
                  <a:pt x="630993" y="1101925"/>
                </a:cubicBezTo>
                <a:cubicBezTo>
                  <a:pt x="630993" y="1096143"/>
                  <a:pt x="635618" y="1091518"/>
                  <a:pt x="641399" y="1091518"/>
                </a:cubicBezTo>
                <a:lnTo>
                  <a:pt x="648666" y="1098786"/>
                </a:lnTo>
                <a:lnTo>
                  <a:pt x="657916" y="1089536"/>
                </a:lnTo>
                <a:lnTo>
                  <a:pt x="663533" y="1095153"/>
                </a:lnTo>
                <a:lnTo>
                  <a:pt x="673277" y="1085407"/>
                </a:lnTo>
                <a:lnTo>
                  <a:pt x="677986" y="1090115"/>
                </a:lnTo>
                <a:close/>
                <a:moveTo>
                  <a:pt x="3325428" y="1078964"/>
                </a:moveTo>
                <a:cubicBezTo>
                  <a:pt x="3331375" y="1078964"/>
                  <a:pt x="3336166" y="1083754"/>
                  <a:pt x="3336166" y="1089701"/>
                </a:cubicBezTo>
                <a:cubicBezTo>
                  <a:pt x="3336166" y="1095647"/>
                  <a:pt x="3331375" y="1100439"/>
                  <a:pt x="3325428" y="1100439"/>
                </a:cubicBezTo>
                <a:cubicBezTo>
                  <a:pt x="3319482" y="1100439"/>
                  <a:pt x="3314692" y="1095647"/>
                  <a:pt x="3314692" y="1089701"/>
                </a:cubicBezTo>
                <a:cubicBezTo>
                  <a:pt x="3314692" y="1083754"/>
                  <a:pt x="3319482" y="1078964"/>
                  <a:pt x="3325428" y="1078964"/>
                </a:cubicBezTo>
                <a:close/>
                <a:moveTo>
                  <a:pt x="1029739" y="1073845"/>
                </a:moveTo>
                <a:cubicBezTo>
                  <a:pt x="1035686" y="1073845"/>
                  <a:pt x="1040477" y="1078635"/>
                  <a:pt x="1040477" y="1084581"/>
                </a:cubicBezTo>
                <a:cubicBezTo>
                  <a:pt x="1040477" y="1090528"/>
                  <a:pt x="1035686" y="1095320"/>
                  <a:pt x="1029739" y="1095320"/>
                </a:cubicBezTo>
                <a:cubicBezTo>
                  <a:pt x="1023793" y="1095320"/>
                  <a:pt x="1019003" y="1090528"/>
                  <a:pt x="1019003" y="1084581"/>
                </a:cubicBezTo>
                <a:cubicBezTo>
                  <a:pt x="1019003" y="1078635"/>
                  <a:pt x="1023793" y="1073845"/>
                  <a:pt x="1029739" y="1073845"/>
                </a:cubicBezTo>
                <a:close/>
                <a:moveTo>
                  <a:pt x="704167" y="1072853"/>
                </a:moveTo>
                <a:cubicBezTo>
                  <a:pt x="710113" y="1072853"/>
                  <a:pt x="714903" y="1077643"/>
                  <a:pt x="714903" y="1083590"/>
                </a:cubicBezTo>
                <a:cubicBezTo>
                  <a:pt x="714903" y="1089536"/>
                  <a:pt x="710113" y="1094326"/>
                  <a:pt x="704167" y="1094326"/>
                </a:cubicBezTo>
                <a:cubicBezTo>
                  <a:pt x="698220" y="1094326"/>
                  <a:pt x="693430" y="1089536"/>
                  <a:pt x="693430" y="1083590"/>
                </a:cubicBezTo>
                <a:cubicBezTo>
                  <a:pt x="693430" y="1077643"/>
                  <a:pt x="698220" y="1072853"/>
                  <a:pt x="704167" y="1072853"/>
                </a:cubicBezTo>
                <a:close/>
                <a:moveTo>
                  <a:pt x="2554858" y="1071532"/>
                </a:moveTo>
                <a:cubicBezTo>
                  <a:pt x="2560804" y="1071532"/>
                  <a:pt x="2565596" y="1076322"/>
                  <a:pt x="2565596" y="1082268"/>
                </a:cubicBezTo>
                <a:cubicBezTo>
                  <a:pt x="2565596" y="1088215"/>
                  <a:pt x="2560804" y="1093006"/>
                  <a:pt x="2554858" y="1093006"/>
                </a:cubicBezTo>
                <a:cubicBezTo>
                  <a:pt x="2548912" y="1093006"/>
                  <a:pt x="2544122" y="1088215"/>
                  <a:pt x="2544122" y="1082268"/>
                </a:cubicBezTo>
                <a:cubicBezTo>
                  <a:pt x="2544122" y="1076322"/>
                  <a:pt x="2548912" y="1071532"/>
                  <a:pt x="2554858" y="1071532"/>
                </a:cubicBezTo>
                <a:close/>
                <a:moveTo>
                  <a:pt x="655604" y="1071036"/>
                </a:moveTo>
                <a:cubicBezTo>
                  <a:pt x="655934" y="1071036"/>
                  <a:pt x="656265" y="1071365"/>
                  <a:pt x="656265" y="1071697"/>
                </a:cubicBezTo>
                <a:cubicBezTo>
                  <a:pt x="656265" y="1072026"/>
                  <a:pt x="655604" y="1072357"/>
                  <a:pt x="655604" y="1072357"/>
                </a:cubicBezTo>
                <a:cubicBezTo>
                  <a:pt x="655273" y="1072357"/>
                  <a:pt x="654943" y="1072026"/>
                  <a:pt x="654943" y="1071697"/>
                </a:cubicBezTo>
                <a:cubicBezTo>
                  <a:pt x="654943" y="1071365"/>
                  <a:pt x="655273" y="1071036"/>
                  <a:pt x="655604" y="1071036"/>
                </a:cubicBezTo>
                <a:close/>
                <a:moveTo>
                  <a:pt x="3134810" y="1066411"/>
                </a:moveTo>
                <a:cubicBezTo>
                  <a:pt x="3140756" y="1066411"/>
                  <a:pt x="3145546" y="1071200"/>
                  <a:pt x="3145546" y="1077147"/>
                </a:cubicBezTo>
                <a:cubicBezTo>
                  <a:pt x="3145546" y="1083094"/>
                  <a:pt x="3140756" y="1087883"/>
                  <a:pt x="3134810" y="1087883"/>
                </a:cubicBezTo>
                <a:cubicBezTo>
                  <a:pt x="3128864" y="1087883"/>
                  <a:pt x="3124074" y="1083094"/>
                  <a:pt x="3124074" y="1077147"/>
                </a:cubicBezTo>
                <a:cubicBezTo>
                  <a:pt x="3124074" y="1071200"/>
                  <a:pt x="3128864" y="1066411"/>
                  <a:pt x="3134810" y="1066411"/>
                </a:cubicBezTo>
                <a:close/>
                <a:moveTo>
                  <a:pt x="722006" y="1065256"/>
                </a:moveTo>
                <a:cubicBezTo>
                  <a:pt x="727953" y="1065256"/>
                  <a:pt x="732742" y="1070045"/>
                  <a:pt x="732742" y="1075992"/>
                </a:cubicBezTo>
                <a:cubicBezTo>
                  <a:pt x="732742" y="1081939"/>
                  <a:pt x="727953" y="1086728"/>
                  <a:pt x="722006" y="1086728"/>
                </a:cubicBezTo>
                <a:cubicBezTo>
                  <a:pt x="716060" y="1086728"/>
                  <a:pt x="711270" y="1081939"/>
                  <a:pt x="711270" y="1075992"/>
                </a:cubicBezTo>
                <a:cubicBezTo>
                  <a:pt x="711270" y="1070045"/>
                  <a:pt x="716060" y="1065256"/>
                  <a:pt x="722006" y="1065256"/>
                </a:cubicBezTo>
                <a:close/>
                <a:moveTo>
                  <a:pt x="2747294" y="1062611"/>
                </a:moveTo>
                <a:cubicBezTo>
                  <a:pt x="2753240" y="1062611"/>
                  <a:pt x="2758032" y="1067401"/>
                  <a:pt x="2758032" y="1073347"/>
                </a:cubicBezTo>
                <a:cubicBezTo>
                  <a:pt x="2758032" y="1079294"/>
                  <a:pt x="2753240" y="1084085"/>
                  <a:pt x="2747294" y="1084085"/>
                </a:cubicBezTo>
                <a:cubicBezTo>
                  <a:pt x="2741347" y="1084085"/>
                  <a:pt x="2736557" y="1079294"/>
                  <a:pt x="2736557" y="1073347"/>
                </a:cubicBezTo>
                <a:cubicBezTo>
                  <a:pt x="2736557" y="1067401"/>
                  <a:pt x="2741347" y="1062611"/>
                  <a:pt x="2747294" y="1062611"/>
                </a:cubicBezTo>
                <a:close/>
                <a:moveTo>
                  <a:pt x="1795849" y="1062282"/>
                </a:moveTo>
                <a:cubicBezTo>
                  <a:pt x="1801796" y="1062282"/>
                  <a:pt x="1806588" y="1067071"/>
                  <a:pt x="1806588" y="1073018"/>
                </a:cubicBezTo>
                <a:cubicBezTo>
                  <a:pt x="1806588" y="1078964"/>
                  <a:pt x="1801796" y="1083754"/>
                  <a:pt x="1795849" y="1083754"/>
                </a:cubicBezTo>
                <a:cubicBezTo>
                  <a:pt x="1789903" y="1083754"/>
                  <a:pt x="1785113" y="1078964"/>
                  <a:pt x="1785113" y="1073018"/>
                </a:cubicBezTo>
                <a:cubicBezTo>
                  <a:pt x="1785113" y="1067071"/>
                  <a:pt x="1789903" y="1062282"/>
                  <a:pt x="1795849" y="1062282"/>
                </a:cubicBezTo>
                <a:close/>
                <a:moveTo>
                  <a:pt x="2941218" y="1060960"/>
                </a:moveTo>
                <a:cubicBezTo>
                  <a:pt x="2947164" y="1060960"/>
                  <a:pt x="2951956" y="1065750"/>
                  <a:pt x="2951956" y="1071697"/>
                </a:cubicBezTo>
                <a:cubicBezTo>
                  <a:pt x="2951956" y="1077643"/>
                  <a:pt x="2947164" y="1082433"/>
                  <a:pt x="2941218" y="1082433"/>
                </a:cubicBezTo>
                <a:cubicBezTo>
                  <a:pt x="2935271" y="1082433"/>
                  <a:pt x="2930481" y="1077643"/>
                  <a:pt x="2930481" y="1071697"/>
                </a:cubicBezTo>
                <a:cubicBezTo>
                  <a:pt x="2930481" y="1065750"/>
                  <a:pt x="2935271" y="1060960"/>
                  <a:pt x="2941218" y="1060960"/>
                </a:cubicBezTo>
                <a:close/>
                <a:moveTo>
                  <a:pt x="952930" y="1058153"/>
                </a:moveTo>
                <a:cubicBezTo>
                  <a:pt x="958877" y="1058153"/>
                  <a:pt x="963667" y="1062942"/>
                  <a:pt x="963667" y="1068889"/>
                </a:cubicBezTo>
                <a:cubicBezTo>
                  <a:pt x="963667" y="1074835"/>
                  <a:pt x="958877" y="1079625"/>
                  <a:pt x="952930" y="1079625"/>
                </a:cubicBezTo>
                <a:cubicBezTo>
                  <a:pt x="946984" y="1079625"/>
                  <a:pt x="942194" y="1074835"/>
                  <a:pt x="942194" y="1068889"/>
                </a:cubicBezTo>
                <a:cubicBezTo>
                  <a:pt x="942194" y="1062942"/>
                  <a:pt x="946984" y="1058153"/>
                  <a:pt x="952930" y="1058153"/>
                </a:cubicBezTo>
                <a:close/>
                <a:moveTo>
                  <a:pt x="742985" y="1057988"/>
                </a:moveTo>
                <a:cubicBezTo>
                  <a:pt x="748931" y="1057988"/>
                  <a:pt x="753721" y="1062778"/>
                  <a:pt x="753721" y="1068724"/>
                </a:cubicBezTo>
                <a:cubicBezTo>
                  <a:pt x="753721" y="1074671"/>
                  <a:pt x="748931" y="1079460"/>
                  <a:pt x="742985" y="1079460"/>
                </a:cubicBezTo>
                <a:cubicBezTo>
                  <a:pt x="737038" y="1079460"/>
                  <a:pt x="732248" y="1074671"/>
                  <a:pt x="732248" y="1068724"/>
                </a:cubicBezTo>
                <a:cubicBezTo>
                  <a:pt x="732248" y="1062778"/>
                  <a:pt x="737038" y="1057988"/>
                  <a:pt x="742985" y="1057988"/>
                </a:cubicBezTo>
                <a:close/>
                <a:moveTo>
                  <a:pt x="691283" y="1055674"/>
                </a:moveTo>
                <a:cubicBezTo>
                  <a:pt x="697230" y="1055674"/>
                  <a:pt x="702020" y="1060464"/>
                  <a:pt x="702020" y="1066411"/>
                </a:cubicBezTo>
                <a:cubicBezTo>
                  <a:pt x="702020" y="1072357"/>
                  <a:pt x="697230" y="1077147"/>
                  <a:pt x="691283" y="1077147"/>
                </a:cubicBezTo>
                <a:lnTo>
                  <a:pt x="684676" y="1070540"/>
                </a:lnTo>
                <a:lnTo>
                  <a:pt x="674103" y="1081113"/>
                </a:lnTo>
                <a:cubicBezTo>
                  <a:pt x="668156" y="1081113"/>
                  <a:pt x="663366" y="1076322"/>
                  <a:pt x="663366" y="1070375"/>
                </a:cubicBezTo>
                <a:cubicBezTo>
                  <a:pt x="663366" y="1064428"/>
                  <a:pt x="668156" y="1059639"/>
                  <a:pt x="674103" y="1059639"/>
                </a:cubicBezTo>
                <a:lnTo>
                  <a:pt x="680712" y="1066248"/>
                </a:lnTo>
                <a:close/>
                <a:moveTo>
                  <a:pt x="1226800" y="1052536"/>
                </a:moveTo>
                <a:cubicBezTo>
                  <a:pt x="1232747" y="1052536"/>
                  <a:pt x="1237537" y="1057325"/>
                  <a:pt x="1237537" y="1063272"/>
                </a:cubicBezTo>
                <a:cubicBezTo>
                  <a:pt x="1237537" y="1069218"/>
                  <a:pt x="1232747" y="1074010"/>
                  <a:pt x="1226800" y="1074010"/>
                </a:cubicBezTo>
                <a:cubicBezTo>
                  <a:pt x="1220854" y="1074010"/>
                  <a:pt x="1216064" y="1069218"/>
                  <a:pt x="1216064" y="1063272"/>
                </a:cubicBezTo>
                <a:cubicBezTo>
                  <a:pt x="1216064" y="1057325"/>
                  <a:pt x="1220854" y="1052536"/>
                  <a:pt x="1226800" y="1052536"/>
                </a:cubicBezTo>
                <a:close/>
                <a:moveTo>
                  <a:pt x="768753" y="1051875"/>
                </a:moveTo>
                <a:cubicBezTo>
                  <a:pt x="774699" y="1051875"/>
                  <a:pt x="779489" y="1056665"/>
                  <a:pt x="779489" y="1062611"/>
                </a:cubicBezTo>
                <a:cubicBezTo>
                  <a:pt x="779489" y="1068558"/>
                  <a:pt x="774699" y="1073349"/>
                  <a:pt x="768753" y="1073349"/>
                </a:cubicBezTo>
                <a:cubicBezTo>
                  <a:pt x="762806" y="1073349"/>
                  <a:pt x="758017" y="1068558"/>
                  <a:pt x="758017" y="1062611"/>
                </a:cubicBezTo>
                <a:cubicBezTo>
                  <a:pt x="758017" y="1056665"/>
                  <a:pt x="762806" y="1051875"/>
                  <a:pt x="768753" y="1051875"/>
                </a:cubicBezTo>
                <a:close/>
                <a:moveTo>
                  <a:pt x="890821" y="1049563"/>
                </a:moveTo>
                <a:cubicBezTo>
                  <a:pt x="896767" y="1049563"/>
                  <a:pt x="901559" y="1054353"/>
                  <a:pt x="901559" y="1060299"/>
                </a:cubicBezTo>
                <a:cubicBezTo>
                  <a:pt x="901559" y="1066246"/>
                  <a:pt x="896767" y="1071037"/>
                  <a:pt x="890821" y="1071037"/>
                </a:cubicBezTo>
                <a:cubicBezTo>
                  <a:pt x="884874" y="1071037"/>
                  <a:pt x="880084" y="1066246"/>
                  <a:pt x="880084" y="1060299"/>
                </a:cubicBezTo>
                <a:cubicBezTo>
                  <a:pt x="880084" y="1054353"/>
                  <a:pt x="884874" y="1049563"/>
                  <a:pt x="890821" y="1049563"/>
                </a:cubicBezTo>
                <a:close/>
                <a:moveTo>
                  <a:pt x="707635" y="1049398"/>
                </a:moveTo>
                <a:cubicBezTo>
                  <a:pt x="713582" y="1049398"/>
                  <a:pt x="718373" y="1054188"/>
                  <a:pt x="718373" y="1060135"/>
                </a:cubicBezTo>
                <a:cubicBezTo>
                  <a:pt x="718373" y="1066081"/>
                  <a:pt x="713582" y="1070871"/>
                  <a:pt x="707635" y="1070871"/>
                </a:cubicBezTo>
                <a:cubicBezTo>
                  <a:pt x="701688" y="1070871"/>
                  <a:pt x="696899" y="1066081"/>
                  <a:pt x="696899" y="1060135"/>
                </a:cubicBezTo>
                <a:cubicBezTo>
                  <a:pt x="696899" y="1054188"/>
                  <a:pt x="701688" y="1049398"/>
                  <a:pt x="707635" y="1049398"/>
                </a:cubicBezTo>
                <a:close/>
                <a:moveTo>
                  <a:pt x="800632" y="1047581"/>
                </a:moveTo>
                <a:cubicBezTo>
                  <a:pt x="806579" y="1047581"/>
                  <a:pt x="811369" y="1052371"/>
                  <a:pt x="811369" y="1058317"/>
                </a:cubicBezTo>
                <a:cubicBezTo>
                  <a:pt x="811369" y="1064264"/>
                  <a:pt x="806579" y="1069054"/>
                  <a:pt x="800632" y="1069054"/>
                </a:cubicBezTo>
                <a:cubicBezTo>
                  <a:pt x="794686" y="1069054"/>
                  <a:pt x="789896" y="1064264"/>
                  <a:pt x="789896" y="1058317"/>
                </a:cubicBezTo>
                <a:cubicBezTo>
                  <a:pt x="789896" y="1052371"/>
                  <a:pt x="794686" y="1047581"/>
                  <a:pt x="800632" y="1047581"/>
                </a:cubicBezTo>
                <a:close/>
                <a:moveTo>
                  <a:pt x="1479032" y="1046424"/>
                </a:moveTo>
                <a:cubicBezTo>
                  <a:pt x="1484979" y="1046424"/>
                  <a:pt x="1489771" y="1051214"/>
                  <a:pt x="1489771" y="1057160"/>
                </a:cubicBezTo>
                <a:cubicBezTo>
                  <a:pt x="1489771" y="1063107"/>
                  <a:pt x="1484979" y="1067897"/>
                  <a:pt x="1479032" y="1067897"/>
                </a:cubicBezTo>
                <a:cubicBezTo>
                  <a:pt x="1473086" y="1067897"/>
                  <a:pt x="1468296" y="1063107"/>
                  <a:pt x="1468296" y="1057160"/>
                </a:cubicBezTo>
                <a:cubicBezTo>
                  <a:pt x="1468296" y="1051214"/>
                  <a:pt x="1473086" y="1046424"/>
                  <a:pt x="1479032" y="1046424"/>
                </a:cubicBezTo>
                <a:close/>
                <a:moveTo>
                  <a:pt x="840772" y="1046424"/>
                </a:moveTo>
                <a:cubicBezTo>
                  <a:pt x="846718" y="1046424"/>
                  <a:pt x="851508" y="1051214"/>
                  <a:pt x="851508" y="1057160"/>
                </a:cubicBezTo>
                <a:cubicBezTo>
                  <a:pt x="851508" y="1063107"/>
                  <a:pt x="846718" y="1067897"/>
                  <a:pt x="840772" y="1067897"/>
                </a:cubicBezTo>
                <a:cubicBezTo>
                  <a:pt x="834825" y="1067897"/>
                  <a:pt x="830036" y="1063107"/>
                  <a:pt x="830036" y="1057160"/>
                </a:cubicBezTo>
                <a:cubicBezTo>
                  <a:pt x="830036" y="1051214"/>
                  <a:pt x="834825" y="1046424"/>
                  <a:pt x="840772" y="1046424"/>
                </a:cubicBezTo>
                <a:close/>
                <a:moveTo>
                  <a:pt x="724649" y="1041634"/>
                </a:moveTo>
                <a:cubicBezTo>
                  <a:pt x="730596" y="1041634"/>
                  <a:pt x="735385" y="1046424"/>
                  <a:pt x="735385" y="1052371"/>
                </a:cubicBezTo>
                <a:cubicBezTo>
                  <a:pt x="735385" y="1058317"/>
                  <a:pt x="730596" y="1063107"/>
                  <a:pt x="724649" y="1063107"/>
                </a:cubicBezTo>
                <a:cubicBezTo>
                  <a:pt x="718703" y="1063107"/>
                  <a:pt x="713913" y="1058317"/>
                  <a:pt x="713913" y="1052371"/>
                </a:cubicBezTo>
                <a:cubicBezTo>
                  <a:pt x="713913" y="1046424"/>
                  <a:pt x="718703" y="1041634"/>
                  <a:pt x="724649" y="1041634"/>
                </a:cubicBezTo>
                <a:close/>
                <a:moveTo>
                  <a:pt x="688970" y="1032218"/>
                </a:moveTo>
                <a:cubicBezTo>
                  <a:pt x="693924" y="1032218"/>
                  <a:pt x="698054" y="1036347"/>
                  <a:pt x="698054" y="1041303"/>
                </a:cubicBezTo>
                <a:cubicBezTo>
                  <a:pt x="698054" y="1046258"/>
                  <a:pt x="693924" y="1050389"/>
                  <a:pt x="688970" y="1050389"/>
                </a:cubicBezTo>
                <a:cubicBezTo>
                  <a:pt x="684014" y="1050389"/>
                  <a:pt x="679884" y="1046258"/>
                  <a:pt x="679884" y="1041303"/>
                </a:cubicBezTo>
                <a:cubicBezTo>
                  <a:pt x="679884" y="1036347"/>
                  <a:pt x="684014" y="1032218"/>
                  <a:pt x="688970" y="1032218"/>
                </a:cubicBezTo>
                <a:close/>
                <a:moveTo>
                  <a:pt x="1954590" y="1029081"/>
                </a:moveTo>
                <a:cubicBezTo>
                  <a:pt x="1960536" y="1029081"/>
                  <a:pt x="1965328" y="1033870"/>
                  <a:pt x="1965328" y="1039817"/>
                </a:cubicBezTo>
                <a:cubicBezTo>
                  <a:pt x="1965328" y="1045763"/>
                  <a:pt x="1960536" y="1050553"/>
                  <a:pt x="1954590" y="1050553"/>
                </a:cubicBezTo>
                <a:cubicBezTo>
                  <a:pt x="1948643" y="1050553"/>
                  <a:pt x="1943854" y="1045763"/>
                  <a:pt x="1943854" y="1039817"/>
                </a:cubicBezTo>
                <a:cubicBezTo>
                  <a:pt x="1943854" y="1033870"/>
                  <a:pt x="1948643" y="1029081"/>
                  <a:pt x="1954590" y="1029081"/>
                </a:cubicBezTo>
                <a:close/>
                <a:moveTo>
                  <a:pt x="1120920" y="1027263"/>
                </a:moveTo>
                <a:cubicBezTo>
                  <a:pt x="1126866" y="1027263"/>
                  <a:pt x="1131658" y="1032053"/>
                  <a:pt x="1131658" y="1037999"/>
                </a:cubicBezTo>
                <a:cubicBezTo>
                  <a:pt x="1131658" y="1043946"/>
                  <a:pt x="1126866" y="1048736"/>
                  <a:pt x="1120920" y="1048736"/>
                </a:cubicBezTo>
                <a:cubicBezTo>
                  <a:pt x="1114973" y="1048736"/>
                  <a:pt x="1110183" y="1043946"/>
                  <a:pt x="1110183" y="1037999"/>
                </a:cubicBezTo>
                <a:cubicBezTo>
                  <a:pt x="1110183" y="1032053"/>
                  <a:pt x="1114973" y="1027263"/>
                  <a:pt x="1120920" y="1027263"/>
                </a:cubicBezTo>
                <a:close/>
                <a:moveTo>
                  <a:pt x="707966" y="1026932"/>
                </a:moveTo>
                <a:cubicBezTo>
                  <a:pt x="713913" y="1026932"/>
                  <a:pt x="718703" y="1031722"/>
                  <a:pt x="718703" y="1037668"/>
                </a:cubicBezTo>
                <a:cubicBezTo>
                  <a:pt x="718703" y="1043615"/>
                  <a:pt x="713913" y="1048405"/>
                  <a:pt x="707966" y="1048405"/>
                </a:cubicBezTo>
                <a:cubicBezTo>
                  <a:pt x="702020" y="1048405"/>
                  <a:pt x="697230" y="1043615"/>
                  <a:pt x="697230" y="1037668"/>
                </a:cubicBezTo>
                <a:cubicBezTo>
                  <a:pt x="697230" y="1031722"/>
                  <a:pt x="702020" y="1026932"/>
                  <a:pt x="707966" y="1026932"/>
                </a:cubicBezTo>
                <a:close/>
                <a:moveTo>
                  <a:pt x="763797" y="1023463"/>
                </a:moveTo>
                <a:cubicBezTo>
                  <a:pt x="769743" y="1023463"/>
                  <a:pt x="774533" y="1028253"/>
                  <a:pt x="774533" y="1034200"/>
                </a:cubicBezTo>
                <a:cubicBezTo>
                  <a:pt x="774533" y="1040146"/>
                  <a:pt x="769743" y="1044936"/>
                  <a:pt x="763797" y="1044936"/>
                </a:cubicBezTo>
                <a:cubicBezTo>
                  <a:pt x="757850" y="1044936"/>
                  <a:pt x="753060" y="1040146"/>
                  <a:pt x="753060" y="1034200"/>
                </a:cubicBezTo>
                <a:cubicBezTo>
                  <a:pt x="753060" y="1028253"/>
                  <a:pt x="757850" y="1023463"/>
                  <a:pt x="763797" y="1023463"/>
                </a:cubicBezTo>
                <a:close/>
                <a:moveTo>
                  <a:pt x="725970" y="1020656"/>
                </a:moveTo>
                <a:cubicBezTo>
                  <a:pt x="731917" y="1020656"/>
                  <a:pt x="736707" y="1025446"/>
                  <a:pt x="736707" y="1031392"/>
                </a:cubicBezTo>
                <a:cubicBezTo>
                  <a:pt x="736707" y="1037339"/>
                  <a:pt x="731917" y="1042130"/>
                  <a:pt x="725970" y="1042130"/>
                </a:cubicBezTo>
                <a:cubicBezTo>
                  <a:pt x="720024" y="1042130"/>
                  <a:pt x="715234" y="1037339"/>
                  <a:pt x="715234" y="1031392"/>
                </a:cubicBezTo>
                <a:cubicBezTo>
                  <a:pt x="715234" y="1025446"/>
                  <a:pt x="720024" y="1020656"/>
                  <a:pt x="725970" y="1020656"/>
                </a:cubicBezTo>
                <a:close/>
                <a:moveTo>
                  <a:pt x="788739" y="1014545"/>
                </a:moveTo>
                <a:cubicBezTo>
                  <a:pt x="794686" y="1014545"/>
                  <a:pt x="799478" y="1019335"/>
                  <a:pt x="799478" y="1025281"/>
                </a:cubicBezTo>
                <a:cubicBezTo>
                  <a:pt x="799478" y="1031227"/>
                  <a:pt x="794686" y="1036017"/>
                  <a:pt x="788739" y="1036017"/>
                </a:cubicBezTo>
                <a:cubicBezTo>
                  <a:pt x="782793" y="1036017"/>
                  <a:pt x="778003" y="1031227"/>
                  <a:pt x="778003" y="1025281"/>
                </a:cubicBezTo>
                <a:cubicBezTo>
                  <a:pt x="778003" y="1019335"/>
                  <a:pt x="782793" y="1014545"/>
                  <a:pt x="788739" y="1014545"/>
                </a:cubicBezTo>
                <a:close/>
                <a:moveTo>
                  <a:pt x="1033704" y="1011076"/>
                </a:moveTo>
                <a:cubicBezTo>
                  <a:pt x="1039650" y="1011076"/>
                  <a:pt x="1044440" y="1015866"/>
                  <a:pt x="1044440" y="1021813"/>
                </a:cubicBezTo>
                <a:cubicBezTo>
                  <a:pt x="1044440" y="1027759"/>
                  <a:pt x="1039650" y="1032549"/>
                  <a:pt x="1033704" y="1032549"/>
                </a:cubicBezTo>
                <a:cubicBezTo>
                  <a:pt x="1027757" y="1032549"/>
                  <a:pt x="1022967" y="1027759"/>
                  <a:pt x="1022967" y="1021813"/>
                </a:cubicBezTo>
                <a:cubicBezTo>
                  <a:pt x="1022967" y="1015866"/>
                  <a:pt x="1027757" y="1011076"/>
                  <a:pt x="1033704" y="1011076"/>
                </a:cubicBezTo>
                <a:close/>
                <a:moveTo>
                  <a:pt x="1338133" y="1007937"/>
                </a:moveTo>
                <a:cubicBezTo>
                  <a:pt x="1344080" y="1007937"/>
                  <a:pt x="1348871" y="1012727"/>
                  <a:pt x="1348871" y="1018674"/>
                </a:cubicBezTo>
                <a:cubicBezTo>
                  <a:pt x="1348871" y="1024620"/>
                  <a:pt x="1344080" y="1029412"/>
                  <a:pt x="1338133" y="1029412"/>
                </a:cubicBezTo>
                <a:cubicBezTo>
                  <a:pt x="1332187" y="1029412"/>
                  <a:pt x="1327397" y="1024620"/>
                  <a:pt x="1327397" y="1018674"/>
                </a:cubicBezTo>
                <a:cubicBezTo>
                  <a:pt x="1327397" y="1012727"/>
                  <a:pt x="1332187" y="1007937"/>
                  <a:pt x="1338133" y="1007937"/>
                </a:cubicBezTo>
                <a:close/>
                <a:moveTo>
                  <a:pt x="819298" y="1006945"/>
                </a:moveTo>
                <a:cubicBezTo>
                  <a:pt x="825244" y="1006945"/>
                  <a:pt x="830034" y="1011735"/>
                  <a:pt x="830034" y="1017682"/>
                </a:cubicBezTo>
                <a:cubicBezTo>
                  <a:pt x="830034" y="1023628"/>
                  <a:pt x="825244" y="1028418"/>
                  <a:pt x="819298" y="1028418"/>
                </a:cubicBezTo>
                <a:cubicBezTo>
                  <a:pt x="813351" y="1028418"/>
                  <a:pt x="808561" y="1023628"/>
                  <a:pt x="808561" y="1017682"/>
                </a:cubicBezTo>
                <a:cubicBezTo>
                  <a:pt x="808561" y="1011735"/>
                  <a:pt x="813351" y="1006945"/>
                  <a:pt x="819298" y="1006945"/>
                </a:cubicBezTo>
                <a:close/>
                <a:moveTo>
                  <a:pt x="1613324" y="1006120"/>
                </a:moveTo>
                <a:cubicBezTo>
                  <a:pt x="1619271" y="1006120"/>
                  <a:pt x="1624063" y="1010910"/>
                  <a:pt x="1624063" y="1016856"/>
                </a:cubicBezTo>
                <a:cubicBezTo>
                  <a:pt x="1624063" y="1022803"/>
                  <a:pt x="1619271" y="1027593"/>
                  <a:pt x="1613324" y="1027593"/>
                </a:cubicBezTo>
                <a:cubicBezTo>
                  <a:pt x="1607378" y="1027593"/>
                  <a:pt x="1602588" y="1022803"/>
                  <a:pt x="1602588" y="1016856"/>
                </a:cubicBezTo>
                <a:cubicBezTo>
                  <a:pt x="1602588" y="1010910"/>
                  <a:pt x="1607378" y="1006120"/>
                  <a:pt x="1613324" y="1006120"/>
                </a:cubicBezTo>
                <a:close/>
                <a:moveTo>
                  <a:pt x="962179" y="1002320"/>
                </a:moveTo>
                <a:cubicBezTo>
                  <a:pt x="968125" y="1002320"/>
                  <a:pt x="972917" y="1007110"/>
                  <a:pt x="972917" y="1013057"/>
                </a:cubicBezTo>
                <a:cubicBezTo>
                  <a:pt x="972917" y="1019003"/>
                  <a:pt x="968125" y="1023795"/>
                  <a:pt x="962179" y="1023795"/>
                </a:cubicBezTo>
                <a:cubicBezTo>
                  <a:pt x="956232" y="1023795"/>
                  <a:pt x="951443" y="1019003"/>
                  <a:pt x="951443" y="1013057"/>
                </a:cubicBezTo>
                <a:cubicBezTo>
                  <a:pt x="951443" y="1007110"/>
                  <a:pt x="956232" y="1002320"/>
                  <a:pt x="962179" y="1002320"/>
                </a:cubicBezTo>
                <a:close/>
                <a:moveTo>
                  <a:pt x="857125" y="1001660"/>
                </a:moveTo>
                <a:cubicBezTo>
                  <a:pt x="863072" y="1001660"/>
                  <a:pt x="867862" y="1006449"/>
                  <a:pt x="867862" y="1012396"/>
                </a:cubicBezTo>
                <a:cubicBezTo>
                  <a:pt x="867862" y="1018342"/>
                  <a:pt x="863072" y="1023132"/>
                  <a:pt x="857125" y="1023132"/>
                </a:cubicBezTo>
                <a:cubicBezTo>
                  <a:pt x="851179" y="1023132"/>
                  <a:pt x="846389" y="1018342"/>
                  <a:pt x="846389" y="1012396"/>
                </a:cubicBezTo>
                <a:cubicBezTo>
                  <a:pt x="846389" y="1006449"/>
                  <a:pt x="851179" y="1001660"/>
                  <a:pt x="857125" y="1001660"/>
                </a:cubicBezTo>
                <a:close/>
                <a:moveTo>
                  <a:pt x="2121587" y="1000173"/>
                </a:moveTo>
                <a:cubicBezTo>
                  <a:pt x="2127534" y="1000173"/>
                  <a:pt x="2132323" y="1004963"/>
                  <a:pt x="2132323" y="1010910"/>
                </a:cubicBezTo>
                <a:cubicBezTo>
                  <a:pt x="2132323" y="1016856"/>
                  <a:pt x="2127534" y="1021646"/>
                  <a:pt x="2121587" y="1021646"/>
                </a:cubicBezTo>
                <a:cubicBezTo>
                  <a:pt x="2115640" y="1021646"/>
                  <a:pt x="2110850" y="1016856"/>
                  <a:pt x="2110850" y="1010910"/>
                </a:cubicBezTo>
                <a:cubicBezTo>
                  <a:pt x="2110850" y="1004963"/>
                  <a:pt x="2115640" y="1000173"/>
                  <a:pt x="2121587" y="1000173"/>
                </a:cubicBezTo>
                <a:close/>
                <a:moveTo>
                  <a:pt x="904037" y="999678"/>
                </a:moveTo>
                <a:cubicBezTo>
                  <a:pt x="909983" y="999678"/>
                  <a:pt x="914773" y="1004467"/>
                  <a:pt x="914773" y="1010414"/>
                </a:cubicBezTo>
                <a:cubicBezTo>
                  <a:pt x="914773" y="1016360"/>
                  <a:pt x="909983" y="1021152"/>
                  <a:pt x="904037" y="1021152"/>
                </a:cubicBezTo>
                <a:cubicBezTo>
                  <a:pt x="898090" y="1021152"/>
                  <a:pt x="893300" y="1016360"/>
                  <a:pt x="893300" y="1010414"/>
                </a:cubicBezTo>
                <a:cubicBezTo>
                  <a:pt x="893300" y="1004467"/>
                  <a:pt x="898090" y="999678"/>
                  <a:pt x="904037" y="999678"/>
                </a:cubicBezTo>
                <a:close/>
                <a:moveTo>
                  <a:pt x="723328" y="999017"/>
                </a:moveTo>
                <a:cubicBezTo>
                  <a:pt x="729274" y="999017"/>
                  <a:pt x="734064" y="1003806"/>
                  <a:pt x="734064" y="1009753"/>
                </a:cubicBezTo>
                <a:cubicBezTo>
                  <a:pt x="734064" y="1015700"/>
                  <a:pt x="729274" y="1020489"/>
                  <a:pt x="723328" y="1020489"/>
                </a:cubicBezTo>
                <a:cubicBezTo>
                  <a:pt x="717381" y="1020489"/>
                  <a:pt x="712591" y="1015700"/>
                  <a:pt x="712591" y="1009753"/>
                </a:cubicBezTo>
                <a:cubicBezTo>
                  <a:pt x="712591" y="1003806"/>
                  <a:pt x="717381" y="999017"/>
                  <a:pt x="723328" y="999017"/>
                </a:cubicBezTo>
                <a:close/>
                <a:moveTo>
                  <a:pt x="743149" y="993070"/>
                </a:moveTo>
                <a:cubicBezTo>
                  <a:pt x="749096" y="993070"/>
                  <a:pt x="753886" y="997860"/>
                  <a:pt x="753886" y="1003806"/>
                </a:cubicBezTo>
                <a:lnTo>
                  <a:pt x="744636" y="1013057"/>
                </a:lnTo>
                <a:lnTo>
                  <a:pt x="754711" y="1023132"/>
                </a:lnTo>
                <a:lnTo>
                  <a:pt x="743975" y="1033870"/>
                </a:lnTo>
                <a:lnTo>
                  <a:pt x="753554" y="1043450"/>
                </a:lnTo>
                <a:cubicBezTo>
                  <a:pt x="753554" y="1049397"/>
                  <a:pt x="748765" y="1054188"/>
                  <a:pt x="742818" y="1054188"/>
                </a:cubicBezTo>
                <a:cubicBezTo>
                  <a:pt x="736872" y="1054188"/>
                  <a:pt x="732082" y="1049397"/>
                  <a:pt x="732082" y="1043450"/>
                </a:cubicBezTo>
                <a:cubicBezTo>
                  <a:pt x="732082" y="1037503"/>
                  <a:pt x="736872" y="1032714"/>
                  <a:pt x="742818" y="1032714"/>
                </a:cubicBezTo>
                <a:lnTo>
                  <a:pt x="743866" y="1033761"/>
                </a:lnTo>
                <a:lnTo>
                  <a:pt x="733238" y="1023132"/>
                </a:lnTo>
                <a:lnTo>
                  <a:pt x="742489" y="1013882"/>
                </a:lnTo>
                <a:lnTo>
                  <a:pt x="732413" y="1003806"/>
                </a:lnTo>
                <a:cubicBezTo>
                  <a:pt x="732413" y="997860"/>
                  <a:pt x="737203" y="993070"/>
                  <a:pt x="743149" y="993070"/>
                </a:cubicBezTo>
                <a:close/>
                <a:moveTo>
                  <a:pt x="762475" y="984645"/>
                </a:moveTo>
                <a:cubicBezTo>
                  <a:pt x="768422" y="984645"/>
                  <a:pt x="773213" y="989435"/>
                  <a:pt x="773213" y="995382"/>
                </a:cubicBezTo>
                <a:lnTo>
                  <a:pt x="764622" y="1003973"/>
                </a:lnTo>
                <a:lnTo>
                  <a:pt x="773872" y="1013223"/>
                </a:lnTo>
                <a:cubicBezTo>
                  <a:pt x="773872" y="1019170"/>
                  <a:pt x="769082" y="1023959"/>
                  <a:pt x="763136" y="1023959"/>
                </a:cubicBezTo>
                <a:cubicBezTo>
                  <a:pt x="757189" y="1023959"/>
                  <a:pt x="752400" y="1019170"/>
                  <a:pt x="752400" y="1013223"/>
                </a:cubicBezTo>
                <a:lnTo>
                  <a:pt x="760989" y="1004634"/>
                </a:lnTo>
                <a:lnTo>
                  <a:pt x="751739" y="995382"/>
                </a:lnTo>
                <a:cubicBezTo>
                  <a:pt x="751739" y="989435"/>
                  <a:pt x="756529" y="984645"/>
                  <a:pt x="762475" y="984645"/>
                </a:cubicBezTo>
                <a:close/>
                <a:moveTo>
                  <a:pt x="1219697" y="981177"/>
                </a:moveTo>
                <a:cubicBezTo>
                  <a:pt x="1225644" y="981177"/>
                  <a:pt x="1230433" y="985967"/>
                  <a:pt x="1230433" y="991913"/>
                </a:cubicBezTo>
                <a:cubicBezTo>
                  <a:pt x="1230433" y="997860"/>
                  <a:pt x="1225644" y="1002650"/>
                  <a:pt x="1219697" y="1002650"/>
                </a:cubicBezTo>
                <a:cubicBezTo>
                  <a:pt x="1213750" y="1002650"/>
                  <a:pt x="1208961" y="997860"/>
                  <a:pt x="1208961" y="991913"/>
                </a:cubicBezTo>
                <a:cubicBezTo>
                  <a:pt x="1208961" y="985967"/>
                  <a:pt x="1213750" y="981177"/>
                  <a:pt x="1219697" y="981177"/>
                </a:cubicBezTo>
                <a:close/>
                <a:moveTo>
                  <a:pt x="808726" y="980683"/>
                </a:moveTo>
                <a:cubicBezTo>
                  <a:pt x="814672" y="980683"/>
                  <a:pt x="819462" y="985473"/>
                  <a:pt x="819462" y="991419"/>
                </a:cubicBezTo>
                <a:cubicBezTo>
                  <a:pt x="819462" y="997366"/>
                  <a:pt x="814672" y="1002156"/>
                  <a:pt x="808726" y="1002156"/>
                </a:cubicBezTo>
                <a:cubicBezTo>
                  <a:pt x="802779" y="1002156"/>
                  <a:pt x="797990" y="997366"/>
                  <a:pt x="797990" y="991419"/>
                </a:cubicBezTo>
                <a:cubicBezTo>
                  <a:pt x="797990" y="985473"/>
                  <a:pt x="802779" y="980683"/>
                  <a:pt x="808726" y="980683"/>
                </a:cubicBezTo>
                <a:close/>
                <a:moveTo>
                  <a:pt x="737203" y="976387"/>
                </a:moveTo>
                <a:cubicBezTo>
                  <a:pt x="740673" y="976387"/>
                  <a:pt x="743316" y="979030"/>
                  <a:pt x="743316" y="982499"/>
                </a:cubicBezTo>
                <a:cubicBezTo>
                  <a:pt x="743316" y="985969"/>
                  <a:pt x="740506" y="988612"/>
                  <a:pt x="737203" y="988612"/>
                </a:cubicBezTo>
                <a:cubicBezTo>
                  <a:pt x="733734" y="988612"/>
                  <a:pt x="731092" y="985969"/>
                  <a:pt x="731092" y="982499"/>
                </a:cubicBezTo>
                <a:cubicBezTo>
                  <a:pt x="731092" y="979030"/>
                  <a:pt x="733734" y="976387"/>
                  <a:pt x="737203" y="976387"/>
                </a:cubicBezTo>
                <a:close/>
                <a:moveTo>
                  <a:pt x="2295524" y="976222"/>
                </a:moveTo>
                <a:cubicBezTo>
                  <a:pt x="2301471" y="976222"/>
                  <a:pt x="2306260" y="981012"/>
                  <a:pt x="2306260" y="986959"/>
                </a:cubicBezTo>
                <a:cubicBezTo>
                  <a:pt x="2306260" y="992905"/>
                  <a:pt x="2301471" y="997695"/>
                  <a:pt x="2295524" y="997695"/>
                </a:cubicBezTo>
                <a:cubicBezTo>
                  <a:pt x="2289578" y="997695"/>
                  <a:pt x="2284788" y="992905"/>
                  <a:pt x="2284788" y="986959"/>
                </a:cubicBezTo>
                <a:cubicBezTo>
                  <a:pt x="2284788" y="981012"/>
                  <a:pt x="2289578" y="976222"/>
                  <a:pt x="2295524" y="976222"/>
                </a:cubicBezTo>
                <a:close/>
                <a:moveTo>
                  <a:pt x="838294" y="970276"/>
                </a:moveTo>
                <a:cubicBezTo>
                  <a:pt x="844240" y="970276"/>
                  <a:pt x="849032" y="975066"/>
                  <a:pt x="849032" y="981012"/>
                </a:cubicBezTo>
                <a:cubicBezTo>
                  <a:pt x="849032" y="986959"/>
                  <a:pt x="844240" y="991749"/>
                  <a:pt x="838294" y="991749"/>
                </a:cubicBezTo>
                <a:cubicBezTo>
                  <a:pt x="832347" y="991749"/>
                  <a:pt x="827557" y="986959"/>
                  <a:pt x="827557" y="981012"/>
                </a:cubicBezTo>
                <a:cubicBezTo>
                  <a:pt x="827557" y="975066"/>
                  <a:pt x="832347" y="970276"/>
                  <a:pt x="838294" y="970276"/>
                </a:cubicBezTo>
                <a:close/>
                <a:moveTo>
                  <a:pt x="1756041" y="968294"/>
                </a:moveTo>
                <a:cubicBezTo>
                  <a:pt x="1761988" y="968294"/>
                  <a:pt x="1766778" y="973084"/>
                  <a:pt x="1766778" y="979030"/>
                </a:cubicBezTo>
                <a:cubicBezTo>
                  <a:pt x="1766778" y="984977"/>
                  <a:pt x="1761988" y="989766"/>
                  <a:pt x="1756041" y="989766"/>
                </a:cubicBezTo>
                <a:cubicBezTo>
                  <a:pt x="1750095" y="989766"/>
                  <a:pt x="1745305" y="984977"/>
                  <a:pt x="1745305" y="979030"/>
                </a:cubicBezTo>
                <a:cubicBezTo>
                  <a:pt x="1745305" y="973084"/>
                  <a:pt x="1750095" y="968294"/>
                  <a:pt x="1756041" y="968294"/>
                </a:cubicBezTo>
                <a:close/>
                <a:moveTo>
                  <a:pt x="3400255" y="966972"/>
                </a:moveTo>
                <a:cubicBezTo>
                  <a:pt x="3406202" y="966972"/>
                  <a:pt x="3410993" y="971762"/>
                  <a:pt x="3410993" y="977709"/>
                </a:cubicBezTo>
                <a:cubicBezTo>
                  <a:pt x="3410993" y="983655"/>
                  <a:pt x="3406202" y="988447"/>
                  <a:pt x="3400255" y="988447"/>
                </a:cubicBezTo>
                <a:cubicBezTo>
                  <a:pt x="3394308" y="988447"/>
                  <a:pt x="3389518" y="983655"/>
                  <a:pt x="3389518" y="977709"/>
                </a:cubicBezTo>
                <a:cubicBezTo>
                  <a:pt x="3389518" y="971762"/>
                  <a:pt x="3394308" y="966972"/>
                  <a:pt x="3400255" y="966972"/>
                </a:cubicBezTo>
                <a:close/>
                <a:moveTo>
                  <a:pt x="758842" y="966476"/>
                </a:moveTo>
                <a:cubicBezTo>
                  <a:pt x="764789" y="966476"/>
                  <a:pt x="769578" y="971266"/>
                  <a:pt x="769578" y="977213"/>
                </a:cubicBezTo>
                <a:cubicBezTo>
                  <a:pt x="769578" y="983159"/>
                  <a:pt x="764789" y="987949"/>
                  <a:pt x="758842" y="987949"/>
                </a:cubicBezTo>
                <a:cubicBezTo>
                  <a:pt x="752896" y="987949"/>
                  <a:pt x="748106" y="983159"/>
                  <a:pt x="748106" y="977213"/>
                </a:cubicBezTo>
                <a:cubicBezTo>
                  <a:pt x="748106" y="971266"/>
                  <a:pt x="752896" y="966476"/>
                  <a:pt x="758842" y="966476"/>
                </a:cubicBezTo>
                <a:close/>
                <a:moveTo>
                  <a:pt x="1457558" y="964825"/>
                </a:moveTo>
                <a:cubicBezTo>
                  <a:pt x="1463505" y="964825"/>
                  <a:pt x="1468296" y="969615"/>
                  <a:pt x="1468296" y="975562"/>
                </a:cubicBezTo>
                <a:cubicBezTo>
                  <a:pt x="1468296" y="981508"/>
                  <a:pt x="1463505" y="986298"/>
                  <a:pt x="1457558" y="986298"/>
                </a:cubicBezTo>
                <a:cubicBezTo>
                  <a:pt x="1451612" y="986298"/>
                  <a:pt x="1446822" y="981508"/>
                  <a:pt x="1446822" y="975562"/>
                </a:cubicBezTo>
                <a:cubicBezTo>
                  <a:pt x="1446822" y="969615"/>
                  <a:pt x="1451612" y="964825"/>
                  <a:pt x="1457558" y="964825"/>
                </a:cubicBezTo>
                <a:close/>
                <a:moveTo>
                  <a:pt x="1121084" y="964165"/>
                </a:moveTo>
                <a:cubicBezTo>
                  <a:pt x="1127031" y="964165"/>
                  <a:pt x="1131820" y="968955"/>
                  <a:pt x="1131820" y="974901"/>
                </a:cubicBezTo>
                <a:cubicBezTo>
                  <a:pt x="1131820" y="980848"/>
                  <a:pt x="1127031" y="985638"/>
                  <a:pt x="1121084" y="985638"/>
                </a:cubicBezTo>
                <a:cubicBezTo>
                  <a:pt x="1115138" y="985638"/>
                  <a:pt x="1110348" y="980848"/>
                  <a:pt x="1110348" y="974901"/>
                </a:cubicBezTo>
                <a:cubicBezTo>
                  <a:pt x="1110348" y="968955"/>
                  <a:pt x="1115138" y="964165"/>
                  <a:pt x="1121084" y="964165"/>
                </a:cubicBezTo>
                <a:close/>
                <a:moveTo>
                  <a:pt x="874138" y="961522"/>
                </a:moveTo>
                <a:cubicBezTo>
                  <a:pt x="880084" y="961522"/>
                  <a:pt x="884874" y="966312"/>
                  <a:pt x="884874" y="972258"/>
                </a:cubicBezTo>
                <a:cubicBezTo>
                  <a:pt x="884874" y="978205"/>
                  <a:pt x="880084" y="982995"/>
                  <a:pt x="874138" y="982995"/>
                </a:cubicBezTo>
                <a:cubicBezTo>
                  <a:pt x="868191" y="982995"/>
                  <a:pt x="863401" y="978205"/>
                  <a:pt x="863401" y="972258"/>
                </a:cubicBezTo>
                <a:cubicBezTo>
                  <a:pt x="863401" y="966312"/>
                  <a:pt x="868191" y="961522"/>
                  <a:pt x="874138" y="961522"/>
                </a:cubicBezTo>
                <a:close/>
                <a:moveTo>
                  <a:pt x="779820" y="958218"/>
                </a:moveTo>
                <a:cubicBezTo>
                  <a:pt x="785767" y="958218"/>
                  <a:pt x="790557" y="963008"/>
                  <a:pt x="790557" y="968955"/>
                </a:cubicBezTo>
                <a:lnTo>
                  <a:pt x="783868" y="975645"/>
                </a:lnTo>
                <a:lnTo>
                  <a:pt x="793200" y="984977"/>
                </a:lnTo>
                <a:lnTo>
                  <a:pt x="785354" y="992824"/>
                </a:lnTo>
                <a:lnTo>
                  <a:pt x="795015" y="1002485"/>
                </a:lnTo>
                <a:cubicBezTo>
                  <a:pt x="795015" y="1008432"/>
                  <a:pt x="790226" y="1013223"/>
                  <a:pt x="784279" y="1013223"/>
                </a:cubicBezTo>
                <a:cubicBezTo>
                  <a:pt x="778333" y="1013223"/>
                  <a:pt x="773543" y="1008432"/>
                  <a:pt x="773543" y="1002485"/>
                </a:cubicBezTo>
                <a:lnTo>
                  <a:pt x="781390" y="994640"/>
                </a:lnTo>
                <a:lnTo>
                  <a:pt x="771727" y="984977"/>
                </a:lnTo>
                <a:lnTo>
                  <a:pt x="778418" y="978288"/>
                </a:lnTo>
                <a:lnTo>
                  <a:pt x="769084" y="968955"/>
                </a:lnTo>
                <a:cubicBezTo>
                  <a:pt x="769084" y="963008"/>
                  <a:pt x="773874" y="958218"/>
                  <a:pt x="779820" y="958218"/>
                </a:cubicBezTo>
                <a:close/>
                <a:moveTo>
                  <a:pt x="2475406" y="958052"/>
                </a:moveTo>
                <a:cubicBezTo>
                  <a:pt x="2481353" y="958052"/>
                  <a:pt x="2486142" y="962842"/>
                  <a:pt x="2486142" y="968788"/>
                </a:cubicBezTo>
                <a:cubicBezTo>
                  <a:pt x="2486142" y="974735"/>
                  <a:pt x="2481353" y="979524"/>
                  <a:pt x="2475406" y="979524"/>
                </a:cubicBezTo>
                <a:cubicBezTo>
                  <a:pt x="2469460" y="979524"/>
                  <a:pt x="2464670" y="974735"/>
                  <a:pt x="2464670" y="968788"/>
                </a:cubicBezTo>
                <a:cubicBezTo>
                  <a:pt x="2464670" y="962842"/>
                  <a:pt x="2469460" y="958052"/>
                  <a:pt x="2475406" y="958052"/>
                </a:cubicBezTo>
                <a:close/>
                <a:moveTo>
                  <a:pt x="1039650" y="955244"/>
                </a:moveTo>
                <a:cubicBezTo>
                  <a:pt x="1045597" y="955244"/>
                  <a:pt x="1050387" y="960034"/>
                  <a:pt x="1050387" y="965981"/>
                </a:cubicBezTo>
                <a:cubicBezTo>
                  <a:pt x="1050387" y="971927"/>
                  <a:pt x="1045597" y="976717"/>
                  <a:pt x="1039650" y="976717"/>
                </a:cubicBezTo>
                <a:cubicBezTo>
                  <a:pt x="1033704" y="976717"/>
                  <a:pt x="1028914" y="971927"/>
                  <a:pt x="1028914" y="965981"/>
                </a:cubicBezTo>
                <a:cubicBezTo>
                  <a:pt x="1028914" y="960034"/>
                  <a:pt x="1033704" y="955244"/>
                  <a:pt x="1039650" y="955244"/>
                </a:cubicBezTo>
                <a:close/>
                <a:moveTo>
                  <a:pt x="918406" y="955244"/>
                </a:moveTo>
                <a:cubicBezTo>
                  <a:pt x="924353" y="955244"/>
                  <a:pt x="929143" y="960034"/>
                  <a:pt x="929143" y="965981"/>
                </a:cubicBezTo>
                <a:cubicBezTo>
                  <a:pt x="929143" y="971927"/>
                  <a:pt x="924353" y="976717"/>
                  <a:pt x="918406" y="976717"/>
                </a:cubicBezTo>
                <a:cubicBezTo>
                  <a:pt x="912460" y="976717"/>
                  <a:pt x="907670" y="971927"/>
                  <a:pt x="907670" y="965981"/>
                </a:cubicBezTo>
                <a:cubicBezTo>
                  <a:pt x="907670" y="960034"/>
                  <a:pt x="912460" y="955244"/>
                  <a:pt x="918406" y="955244"/>
                </a:cubicBezTo>
                <a:close/>
                <a:moveTo>
                  <a:pt x="972917" y="952766"/>
                </a:moveTo>
                <a:cubicBezTo>
                  <a:pt x="978864" y="952766"/>
                  <a:pt x="983653" y="957556"/>
                  <a:pt x="983653" y="963502"/>
                </a:cubicBezTo>
                <a:cubicBezTo>
                  <a:pt x="983653" y="969449"/>
                  <a:pt x="978864" y="974240"/>
                  <a:pt x="972917" y="974240"/>
                </a:cubicBezTo>
                <a:cubicBezTo>
                  <a:pt x="966970" y="974240"/>
                  <a:pt x="962181" y="969449"/>
                  <a:pt x="962181" y="963502"/>
                </a:cubicBezTo>
                <a:cubicBezTo>
                  <a:pt x="962181" y="957556"/>
                  <a:pt x="966970" y="952766"/>
                  <a:pt x="972917" y="952766"/>
                </a:cubicBezTo>
                <a:close/>
                <a:moveTo>
                  <a:pt x="3218226" y="951776"/>
                </a:moveTo>
                <a:cubicBezTo>
                  <a:pt x="3224172" y="951776"/>
                  <a:pt x="3228964" y="956565"/>
                  <a:pt x="3228964" y="962512"/>
                </a:cubicBezTo>
                <a:cubicBezTo>
                  <a:pt x="3228964" y="968459"/>
                  <a:pt x="3224172" y="973248"/>
                  <a:pt x="3218226" y="973248"/>
                </a:cubicBezTo>
                <a:cubicBezTo>
                  <a:pt x="3212280" y="973248"/>
                  <a:pt x="3207490" y="968459"/>
                  <a:pt x="3207490" y="962512"/>
                </a:cubicBezTo>
                <a:cubicBezTo>
                  <a:pt x="3207490" y="956565"/>
                  <a:pt x="3212280" y="951776"/>
                  <a:pt x="3218226" y="951776"/>
                </a:cubicBezTo>
                <a:close/>
                <a:moveTo>
                  <a:pt x="2659417" y="946159"/>
                </a:moveTo>
                <a:cubicBezTo>
                  <a:pt x="2665364" y="946159"/>
                  <a:pt x="2670154" y="950948"/>
                  <a:pt x="2670154" y="956895"/>
                </a:cubicBezTo>
                <a:cubicBezTo>
                  <a:pt x="2670154" y="962842"/>
                  <a:pt x="2665364" y="967631"/>
                  <a:pt x="2659417" y="967631"/>
                </a:cubicBezTo>
                <a:cubicBezTo>
                  <a:pt x="2653471" y="967631"/>
                  <a:pt x="2648681" y="962842"/>
                  <a:pt x="2648681" y="956895"/>
                </a:cubicBezTo>
                <a:cubicBezTo>
                  <a:pt x="2648681" y="950948"/>
                  <a:pt x="2653471" y="946159"/>
                  <a:pt x="2659417" y="946159"/>
                </a:cubicBezTo>
                <a:close/>
                <a:moveTo>
                  <a:pt x="3032727" y="943021"/>
                </a:moveTo>
                <a:cubicBezTo>
                  <a:pt x="3038674" y="943021"/>
                  <a:pt x="3043465" y="947811"/>
                  <a:pt x="3043465" y="953758"/>
                </a:cubicBezTo>
                <a:cubicBezTo>
                  <a:pt x="3043465" y="959704"/>
                  <a:pt x="3038674" y="964494"/>
                  <a:pt x="3032727" y="964494"/>
                </a:cubicBezTo>
                <a:cubicBezTo>
                  <a:pt x="3026780" y="964494"/>
                  <a:pt x="3021991" y="959704"/>
                  <a:pt x="3021991" y="953758"/>
                </a:cubicBezTo>
                <a:cubicBezTo>
                  <a:pt x="3021991" y="947811"/>
                  <a:pt x="3026780" y="943021"/>
                  <a:pt x="3032727" y="943021"/>
                </a:cubicBezTo>
                <a:close/>
                <a:moveTo>
                  <a:pt x="2845906" y="941038"/>
                </a:moveTo>
                <a:cubicBezTo>
                  <a:pt x="2851853" y="941038"/>
                  <a:pt x="2856644" y="945827"/>
                  <a:pt x="2856644" y="951774"/>
                </a:cubicBezTo>
                <a:cubicBezTo>
                  <a:pt x="2856644" y="957721"/>
                  <a:pt x="2851853" y="962510"/>
                  <a:pt x="2845906" y="962510"/>
                </a:cubicBezTo>
                <a:cubicBezTo>
                  <a:pt x="2839960" y="962510"/>
                  <a:pt x="2835170" y="957721"/>
                  <a:pt x="2835170" y="951774"/>
                </a:cubicBezTo>
                <a:cubicBezTo>
                  <a:pt x="2835170" y="945827"/>
                  <a:pt x="2839960" y="941038"/>
                  <a:pt x="2845906" y="941038"/>
                </a:cubicBezTo>
                <a:close/>
                <a:moveTo>
                  <a:pt x="773212" y="940377"/>
                </a:moveTo>
                <a:cubicBezTo>
                  <a:pt x="779158" y="940377"/>
                  <a:pt x="783948" y="945167"/>
                  <a:pt x="783948" y="951113"/>
                </a:cubicBezTo>
                <a:cubicBezTo>
                  <a:pt x="783948" y="957060"/>
                  <a:pt x="779158" y="961851"/>
                  <a:pt x="773212" y="961851"/>
                </a:cubicBezTo>
                <a:cubicBezTo>
                  <a:pt x="767265" y="961851"/>
                  <a:pt x="762475" y="957060"/>
                  <a:pt x="762475" y="951113"/>
                </a:cubicBezTo>
                <a:cubicBezTo>
                  <a:pt x="762475" y="945167"/>
                  <a:pt x="767265" y="940377"/>
                  <a:pt x="773212" y="940377"/>
                </a:cubicBezTo>
                <a:close/>
                <a:moveTo>
                  <a:pt x="857125" y="937240"/>
                </a:moveTo>
                <a:cubicBezTo>
                  <a:pt x="863072" y="937240"/>
                  <a:pt x="867862" y="942030"/>
                  <a:pt x="867862" y="947976"/>
                </a:cubicBezTo>
                <a:cubicBezTo>
                  <a:pt x="867862" y="953923"/>
                  <a:pt x="863072" y="958712"/>
                  <a:pt x="857125" y="958712"/>
                </a:cubicBezTo>
                <a:cubicBezTo>
                  <a:pt x="851179" y="958712"/>
                  <a:pt x="846389" y="953923"/>
                  <a:pt x="846389" y="947976"/>
                </a:cubicBezTo>
                <a:cubicBezTo>
                  <a:pt x="846389" y="942030"/>
                  <a:pt x="851179" y="937240"/>
                  <a:pt x="857125" y="937240"/>
                </a:cubicBezTo>
                <a:close/>
                <a:moveTo>
                  <a:pt x="1325909" y="936083"/>
                </a:moveTo>
                <a:cubicBezTo>
                  <a:pt x="1331856" y="936083"/>
                  <a:pt x="1336645" y="940873"/>
                  <a:pt x="1336645" y="946820"/>
                </a:cubicBezTo>
                <a:cubicBezTo>
                  <a:pt x="1336645" y="952766"/>
                  <a:pt x="1331856" y="957556"/>
                  <a:pt x="1325909" y="957556"/>
                </a:cubicBezTo>
                <a:cubicBezTo>
                  <a:pt x="1319962" y="957556"/>
                  <a:pt x="1315173" y="952766"/>
                  <a:pt x="1315173" y="946820"/>
                </a:cubicBezTo>
                <a:cubicBezTo>
                  <a:pt x="1315173" y="940873"/>
                  <a:pt x="1319962" y="936083"/>
                  <a:pt x="1325909" y="936083"/>
                </a:cubicBezTo>
                <a:close/>
                <a:moveTo>
                  <a:pt x="1907018" y="933771"/>
                </a:moveTo>
                <a:cubicBezTo>
                  <a:pt x="1912964" y="933771"/>
                  <a:pt x="1917754" y="938561"/>
                  <a:pt x="1917754" y="944508"/>
                </a:cubicBezTo>
                <a:cubicBezTo>
                  <a:pt x="1917754" y="950454"/>
                  <a:pt x="1912964" y="955244"/>
                  <a:pt x="1907018" y="955244"/>
                </a:cubicBezTo>
                <a:cubicBezTo>
                  <a:pt x="1901071" y="955244"/>
                  <a:pt x="1896281" y="950454"/>
                  <a:pt x="1896281" y="944508"/>
                </a:cubicBezTo>
                <a:cubicBezTo>
                  <a:pt x="1896281" y="938561"/>
                  <a:pt x="1901071" y="933771"/>
                  <a:pt x="1907018" y="933771"/>
                </a:cubicBezTo>
                <a:close/>
                <a:moveTo>
                  <a:pt x="795843" y="932780"/>
                </a:moveTo>
                <a:cubicBezTo>
                  <a:pt x="801789" y="932780"/>
                  <a:pt x="806581" y="937569"/>
                  <a:pt x="806581" y="943516"/>
                </a:cubicBezTo>
                <a:lnTo>
                  <a:pt x="801623" y="948472"/>
                </a:lnTo>
                <a:lnTo>
                  <a:pt x="811534" y="958383"/>
                </a:lnTo>
                <a:lnTo>
                  <a:pt x="805754" y="964165"/>
                </a:lnTo>
                <a:lnTo>
                  <a:pt x="814672" y="973084"/>
                </a:lnTo>
                <a:cubicBezTo>
                  <a:pt x="814672" y="979030"/>
                  <a:pt x="809883" y="983820"/>
                  <a:pt x="803936" y="983820"/>
                </a:cubicBezTo>
                <a:cubicBezTo>
                  <a:pt x="797990" y="983820"/>
                  <a:pt x="793200" y="979030"/>
                  <a:pt x="793200" y="973084"/>
                </a:cubicBezTo>
                <a:lnTo>
                  <a:pt x="798982" y="967304"/>
                </a:lnTo>
                <a:lnTo>
                  <a:pt x="790061" y="958383"/>
                </a:lnTo>
                <a:lnTo>
                  <a:pt x="795017" y="953427"/>
                </a:lnTo>
                <a:lnTo>
                  <a:pt x="785106" y="943516"/>
                </a:lnTo>
                <a:cubicBezTo>
                  <a:pt x="785106" y="937569"/>
                  <a:pt x="789896" y="932780"/>
                  <a:pt x="795843" y="932780"/>
                </a:cubicBezTo>
                <a:close/>
                <a:moveTo>
                  <a:pt x="891648" y="925511"/>
                </a:moveTo>
                <a:cubicBezTo>
                  <a:pt x="897594" y="925511"/>
                  <a:pt x="902384" y="930301"/>
                  <a:pt x="902384" y="936248"/>
                </a:cubicBezTo>
                <a:cubicBezTo>
                  <a:pt x="902384" y="942194"/>
                  <a:pt x="897594" y="946984"/>
                  <a:pt x="891648" y="946984"/>
                </a:cubicBezTo>
                <a:cubicBezTo>
                  <a:pt x="885701" y="946984"/>
                  <a:pt x="880911" y="942194"/>
                  <a:pt x="880911" y="936248"/>
                </a:cubicBezTo>
                <a:cubicBezTo>
                  <a:pt x="880911" y="930301"/>
                  <a:pt x="885701" y="925511"/>
                  <a:pt x="891648" y="925511"/>
                </a:cubicBezTo>
                <a:close/>
                <a:moveTo>
                  <a:pt x="1585409" y="923529"/>
                </a:moveTo>
                <a:cubicBezTo>
                  <a:pt x="1591356" y="923529"/>
                  <a:pt x="1596146" y="928319"/>
                  <a:pt x="1596146" y="934266"/>
                </a:cubicBezTo>
                <a:cubicBezTo>
                  <a:pt x="1596146" y="940212"/>
                  <a:pt x="1591356" y="945002"/>
                  <a:pt x="1585409" y="945002"/>
                </a:cubicBezTo>
                <a:cubicBezTo>
                  <a:pt x="1579463" y="945002"/>
                  <a:pt x="1574673" y="940212"/>
                  <a:pt x="1574673" y="934266"/>
                </a:cubicBezTo>
                <a:cubicBezTo>
                  <a:pt x="1574673" y="928319"/>
                  <a:pt x="1579463" y="923529"/>
                  <a:pt x="1585409" y="923529"/>
                </a:cubicBezTo>
                <a:close/>
                <a:moveTo>
                  <a:pt x="786098" y="923033"/>
                </a:moveTo>
                <a:cubicBezTo>
                  <a:pt x="787467" y="923033"/>
                  <a:pt x="788576" y="924143"/>
                  <a:pt x="788576" y="925511"/>
                </a:cubicBezTo>
                <a:cubicBezTo>
                  <a:pt x="788576" y="926880"/>
                  <a:pt x="787467" y="927990"/>
                  <a:pt x="786098" y="927990"/>
                </a:cubicBezTo>
                <a:cubicBezTo>
                  <a:pt x="784730" y="927990"/>
                  <a:pt x="783620" y="926880"/>
                  <a:pt x="783620" y="925511"/>
                </a:cubicBezTo>
                <a:cubicBezTo>
                  <a:pt x="783620" y="924143"/>
                  <a:pt x="784730" y="923033"/>
                  <a:pt x="786098" y="923033"/>
                </a:cubicBezTo>
                <a:close/>
                <a:moveTo>
                  <a:pt x="818143" y="922373"/>
                </a:moveTo>
                <a:cubicBezTo>
                  <a:pt x="824089" y="922373"/>
                  <a:pt x="828879" y="927163"/>
                  <a:pt x="828879" y="933109"/>
                </a:cubicBezTo>
                <a:lnTo>
                  <a:pt x="824998" y="936992"/>
                </a:lnTo>
                <a:lnTo>
                  <a:pt x="833834" y="945827"/>
                </a:lnTo>
                <a:lnTo>
                  <a:pt x="829125" y="950536"/>
                </a:lnTo>
                <a:lnTo>
                  <a:pt x="839119" y="960530"/>
                </a:lnTo>
                <a:cubicBezTo>
                  <a:pt x="839119" y="966476"/>
                  <a:pt x="834329" y="971266"/>
                  <a:pt x="828383" y="971266"/>
                </a:cubicBezTo>
                <a:cubicBezTo>
                  <a:pt x="822436" y="971266"/>
                  <a:pt x="817647" y="966476"/>
                  <a:pt x="817647" y="960530"/>
                </a:cubicBezTo>
                <a:lnTo>
                  <a:pt x="822355" y="955823"/>
                </a:lnTo>
                <a:lnTo>
                  <a:pt x="812361" y="945827"/>
                </a:lnTo>
                <a:lnTo>
                  <a:pt x="816244" y="941946"/>
                </a:lnTo>
                <a:lnTo>
                  <a:pt x="807406" y="933109"/>
                </a:lnTo>
                <a:cubicBezTo>
                  <a:pt x="807406" y="927163"/>
                  <a:pt x="812196" y="922373"/>
                  <a:pt x="818143" y="922373"/>
                </a:cubicBezTo>
                <a:close/>
                <a:moveTo>
                  <a:pt x="1215403" y="917747"/>
                </a:moveTo>
                <a:cubicBezTo>
                  <a:pt x="1221350" y="917747"/>
                  <a:pt x="1226141" y="922537"/>
                  <a:pt x="1226141" y="928484"/>
                </a:cubicBezTo>
                <a:cubicBezTo>
                  <a:pt x="1226141" y="934430"/>
                  <a:pt x="1221350" y="939220"/>
                  <a:pt x="1215403" y="939220"/>
                </a:cubicBezTo>
                <a:cubicBezTo>
                  <a:pt x="1209457" y="939220"/>
                  <a:pt x="1204667" y="934430"/>
                  <a:pt x="1204667" y="928484"/>
                </a:cubicBezTo>
                <a:cubicBezTo>
                  <a:pt x="1204667" y="922537"/>
                  <a:pt x="1209457" y="917747"/>
                  <a:pt x="1215403" y="917747"/>
                </a:cubicBezTo>
                <a:close/>
                <a:moveTo>
                  <a:pt x="933438" y="915436"/>
                </a:moveTo>
                <a:cubicBezTo>
                  <a:pt x="939385" y="915436"/>
                  <a:pt x="944175" y="920226"/>
                  <a:pt x="944175" y="926172"/>
                </a:cubicBezTo>
                <a:cubicBezTo>
                  <a:pt x="944175" y="932119"/>
                  <a:pt x="939385" y="936908"/>
                  <a:pt x="933438" y="936908"/>
                </a:cubicBezTo>
                <a:cubicBezTo>
                  <a:pt x="927492" y="936908"/>
                  <a:pt x="922702" y="932119"/>
                  <a:pt x="922702" y="926172"/>
                </a:cubicBezTo>
                <a:cubicBezTo>
                  <a:pt x="922702" y="920226"/>
                  <a:pt x="927492" y="915436"/>
                  <a:pt x="933438" y="915436"/>
                </a:cubicBezTo>
                <a:close/>
                <a:moveTo>
                  <a:pt x="984644" y="908497"/>
                </a:moveTo>
                <a:cubicBezTo>
                  <a:pt x="990590" y="908497"/>
                  <a:pt x="995380" y="913287"/>
                  <a:pt x="995380" y="919234"/>
                </a:cubicBezTo>
                <a:cubicBezTo>
                  <a:pt x="995380" y="925180"/>
                  <a:pt x="990590" y="929970"/>
                  <a:pt x="984644" y="929970"/>
                </a:cubicBezTo>
                <a:cubicBezTo>
                  <a:pt x="978697" y="929970"/>
                  <a:pt x="973907" y="925180"/>
                  <a:pt x="973907" y="919234"/>
                </a:cubicBezTo>
                <a:cubicBezTo>
                  <a:pt x="973907" y="913287"/>
                  <a:pt x="978697" y="908497"/>
                  <a:pt x="984644" y="908497"/>
                </a:cubicBezTo>
                <a:close/>
                <a:moveTo>
                  <a:pt x="1123398" y="908168"/>
                </a:moveTo>
                <a:cubicBezTo>
                  <a:pt x="1129344" y="908168"/>
                  <a:pt x="1134136" y="912958"/>
                  <a:pt x="1134136" y="918904"/>
                </a:cubicBezTo>
                <a:cubicBezTo>
                  <a:pt x="1134136" y="924851"/>
                  <a:pt x="1129344" y="929640"/>
                  <a:pt x="1123398" y="929640"/>
                </a:cubicBezTo>
                <a:cubicBezTo>
                  <a:pt x="1117451" y="929640"/>
                  <a:pt x="1112661" y="924851"/>
                  <a:pt x="1112661" y="918904"/>
                </a:cubicBezTo>
                <a:cubicBezTo>
                  <a:pt x="1112661" y="912958"/>
                  <a:pt x="1117451" y="908168"/>
                  <a:pt x="1123398" y="908168"/>
                </a:cubicBezTo>
                <a:close/>
                <a:moveTo>
                  <a:pt x="810379" y="908001"/>
                </a:moveTo>
                <a:cubicBezTo>
                  <a:pt x="816325" y="908001"/>
                  <a:pt x="821115" y="912791"/>
                  <a:pt x="821115" y="918738"/>
                </a:cubicBezTo>
                <a:cubicBezTo>
                  <a:pt x="821115" y="924684"/>
                  <a:pt x="816325" y="929474"/>
                  <a:pt x="810379" y="929474"/>
                </a:cubicBezTo>
                <a:cubicBezTo>
                  <a:pt x="804432" y="929474"/>
                  <a:pt x="799642" y="924684"/>
                  <a:pt x="799642" y="918738"/>
                </a:cubicBezTo>
                <a:cubicBezTo>
                  <a:pt x="799642" y="912791"/>
                  <a:pt x="804432" y="908001"/>
                  <a:pt x="810379" y="908001"/>
                </a:cubicBezTo>
                <a:close/>
                <a:moveTo>
                  <a:pt x="1047248" y="905690"/>
                </a:moveTo>
                <a:cubicBezTo>
                  <a:pt x="1053194" y="905690"/>
                  <a:pt x="1057986" y="910480"/>
                  <a:pt x="1057986" y="916426"/>
                </a:cubicBezTo>
                <a:cubicBezTo>
                  <a:pt x="1057986" y="922373"/>
                  <a:pt x="1053194" y="927163"/>
                  <a:pt x="1047248" y="927163"/>
                </a:cubicBezTo>
                <a:cubicBezTo>
                  <a:pt x="1041301" y="927163"/>
                  <a:pt x="1036511" y="922373"/>
                  <a:pt x="1036511" y="916426"/>
                </a:cubicBezTo>
                <a:cubicBezTo>
                  <a:pt x="1036511" y="910480"/>
                  <a:pt x="1041301" y="905690"/>
                  <a:pt x="1047248" y="905690"/>
                </a:cubicBezTo>
                <a:close/>
                <a:moveTo>
                  <a:pt x="2065756" y="903211"/>
                </a:moveTo>
                <a:cubicBezTo>
                  <a:pt x="2071703" y="903211"/>
                  <a:pt x="2076493" y="908001"/>
                  <a:pt x="2076493" y="913948"/>
                </a:cubicBezTo>
                <a:cubicBezTo>
                  <a:pt x="2076493" y="919894"/>
                  <a:pt x="2071703" y="924686"/>
                  <a:pt x="2065756" y="924686"/>
                </a:cubicBezTo>
                <a:cubicBezTo>
                  <a:pt x="2059810" y="924686"/>
                  <a:pt x="2055020" y="919894"/>
                  <a:pt x="2055020" y="913948"/>
                </a:cubicBezTo>
                <a:cubicBezTo>
                  <a:pt x="2055020" y="908001"/>
                  <a:pt x="2059810" y="903211"/>
                  <a:pt x="2065756" y="903211"/>
                </a:cubicBezTo>
                <a:close/>
                <a:moveTo>
                  <a:pt x="834165" y="898092"/>
                </a:moveTo>
                <a:cubicBezTo>
                  <a:pt x="840111" y="898092"/>
                  <a:pt x="844903" y="902882"/>
                  <a:pt x="844903" y="908829"/>
                </a:cubicBezTo>
                <a:lnTo>
                  <a:pt x="842673" y="911059"/>
                </a:lnTo>
                <a:lnTo>
                  <a:pt x="852004" y="920390"/>
                </a:lnTo>
                <a:lnTo>
                  <a:pt x="849360" y="923033"/>
                </a:lnTo>
                <a:lnTo>
                  <a:pt x="858447" y="932119"/>
                </a:lnTo>
                <a:cubicBezTo>
                  <a:pt x="858447" y="938065"/>
                  <a:pt x="853655" y="942855"/>
                  <a:pt x="847709" y="942855"/>
                </a:cubicBezTo>
                <a:cubicBezTo>
                  <a:pt x="841762" y="942855"/>
                  <a:pt x="836972" y="938065"/>
                  <a:pt x="836972" y="932119"/>
                </a:cubicBezTo>
                <a:lnTo>
                  <a:pt x="839615" y="929476"/>
                </a:lnTo>
                <a:lnTo>
                  <a:pt x="830530" y="920390"/>
                </a:lnTo>
                <a:lnTo>
                  <a:pt x="832760" y="918160"/>
                </a:lnTo>
                <a:lnTo>
                  <a:pt x="823428" y="908829"/>
                </a:lnTo>
                <a:cubicBezTo>
                  <a:pt x="823428" y="902882"/>
                  <a:pt x="828218" y="898092"/>
                  <a:pt x="834165" y="898092"/>
                </a:cubicBezTo>
                <a:close/>
                <a:moveTo>
                  <a:pt x="909156" y="892971"/>
                </a:moveTo>
                <a:cubicBezTo>
                  <a:pt x="915103" y="892971"/>
                  <a:pt x="919892" y="897761"/>
                  <a:pt x="919892" y="903707"/>
                </a:cubicBezTo>
                <a:cubicBezTo>
                  <a:pt x="919892" y="909654"/>
                  <a:pt x="915103" y="914444"/>
                  <a:pt x="909156" y="914444"/>
                </a:cubicBezTo>
                <a:cubicBezTo>
                  <a:pt x="903210" y="914444"/>
                  <a:pt x="898420" y="909654"/>
                  <a:pt x="898420" y="903707"/>
                </a:cubicBezTo>
                <a:cubicBezTo>
                  <a:pt x="898420" y="897761"/>
                  <a:pt x="903210" y="892971"/>
                  <a:pt x="909156" y="892971"/>
                </a:cubicBezTo>
                <a:close/>
                <a:moveTo>
                  <a:pt x="1439883" y="892310"/>
                </a:moveTo>
                <a:cubicBezTo>
                  <a:pt x="1445830" y="892310"/>
                  <a:pt x="1450621" y="897100"/>
                  <a:pt x="1450621" y="903047"/>
                </a:cubicBezTo>
                <a:cubicBezTo>
                  <a:pt x="1450621" y="908993"/>
                  <a:pt x="1445830" y="913785"/>
                  <a:pt x="1439883" y="913785"/>
                </a:cubicBezTo>
                <a:cubicBezTo>
                  <a:pt x="1433937" y="913785"/>
                  <a:pt x="1429147" y="908993"/>
                  <a:pt x="1429147" y="903047"/>
                </a:cubicBezTo>
                <a:cubicBezTo>
                  <a:pt x="1429147" y="897100"/>
                  <a:pt x="1433937" y="892310"/>
                  <a:pt x="1439883" y="892310"/>
                </a:cubicBezTo>
                <a:close/>
                <a:moveTo>
                  <a:pt x="1721188" y="884878"/>
                </a:moveTo>
                <a:cubicBezTo>
                  <a:pt x="1727134" y="884878"/>
                  <a:pt x="1731924" y="889667"/>
                  <a:pt x="1731924" y="895614"/>
                </a:cubicBezTo>
                <a:cubicBezTo>
                  <a:pt x="1731924" y="901561"/>
                  <a:pt x="1727134" y="906350"/>
                  <a:pt x="1721188" y="906350"/>
                </a:cubicBezTo>
                <a:cubicBezTo>
                  <a:pt x="1715241" y="906350"/>
                  <a:pt x="1710451" y="901561"/>
                  <a:pt x="1710451" y="895614"/>
                </a:cubicBezTo>
                <a:cubicBezTo>
                  <a:pt x="1710451" y="889667"/>
                  <a:pt x="1715241" y="884878"/>
                  <a:pt x="1721188" y="884878"/>
                </a:cubicBezTo>
                <a:close/>
                <a:moveTo>
                  <a:pt x="823760" y="884050"/>
                </a:moveTo>
                <a:cubicBezTo>
                  <a:pt x="829540" y="884050"/>
                  <a:pt x="834165" y="888676"/>
                  <a:pt x="834165" y="894457"/>
                </a:cubicBezTo>
                <a:cubicBezTo>
                  <a:pt x="834165" y="900239"/>
                  <a:pt x="829540" y="904864"/>
                  <a:pt x="823760" y="904864"/>
                </a:cubicBezTo>
                <a:cubicBezTo>
                  <a:pt x="817978" y="904864"/>
                  <a:pt x="813353" y="900239"/>
                  <a:pt x="813353" y="894457"/>
                </a:cubicBezTo>
                <a:cubicBezTo>
                  <a:pt x="813353" y="888676"/>
                  <a:pt x="817978" y="884050"/>
                  <a:pt x="823760" y="884050"/>
                </a:cubicBezTo>
                <a:close/>
                <a:moveTo>
                  <a:pt x="949131" y="880086"/>
                </a:moveTo>
                <a:cubicBezTo>
                  <a:pt x="955077" y="880086"/>
                  <a:pt x="959867" y="884876"/>
                  <a:pt x="959867" y="890823"/>
                </a:cubicBezTo>
                <a:cubicBezTo>
                  <a:pt x="959867" y="896769"/>
                  <a:pt x="955077" y="901559"/>
                  <a:pt x="949131" y="901559"/>
                </a:cubicBezTo>
                <a:cubicBezTo>
                  <a:pt x="943184" y="901559"/>
                  <a:pt x="938395" y="896769"/>
                  <a:pt x="938395" y="890823"/>
                </a:cubicBezTo>
                <a:cubicBezTo>
                  <a:pt x="938395" y="884876"/>
                  <a:pt x="943184" y="880086"/>
                  <a:pt x="949131" y="880086"/>
                </a:cubicBezTo>
                <a:close/>
                <a:moveTo>
                  <a:pt x="2231434" y="877443"/>
                </a:moveTo>
                <a:cubicBezTo>
                  <a:pt x="2237380" y="877443"/>
                  <a:pt x="2242172" y="882233"/>
                  <a:pt x="2242172" y="888180"/>
                </a:cubicBezTo>
                <a:cubicBezTo>
                  <a:pt x="2242172" y="894126"/>
                  <a:pt x="2237380" y="898916"/>
                  <a:pt x="2231434" y="898916"/>
                </a:cubicBezTo>
                <a:cubicBezTo>
                  <a:pt x="2225487" y="898916"/>
                  <a:pt x="2220698" y="894126"/>
                  <a:pt x="2220698" y="888180"/>
                </a:cubicBezTo>
                <a:cubicBezTo>
                  <a:pt x="2220698" y="882233"/>
                  <a:pt x="2225487" y="877443"/>
                  <a:pt x="2231434" y="877443"/>
                </a:cubicBezTo>
                <a:close/>
                <a:moveTo>
                  <a:pt x="849030" y="874636"/>
                </a:moveTo>
                <a:cubicBezTo>
                  <a:pt x="854977" y="874636"/>
                  <a:pt x="859766" y="879426"/>
                  <a:pt x="859766" y="885372"/>
                </a:cubicBezTo>
                <a:lnTo>
                  <a:pt x="858941" y="886197"/>
                </a:lnTo>
                <a:lnTo>
                  <a:pt x="869017" y="896273"/>
                </a:lnTo>
                <a:lnTo>
                  <a:pt x="868108" y="897182"/>
                </a:lnTo>
                <a:lnTo>
                  <a:pt x="876945" y="906019"/>
                </a:lnTo>
                <a:lnTo>
                  <a:pt x="866304" y="916662"/>
                </a:lnTo>
                <a:lnTo>
                  <a:pt x="875790" y="907176"/>
                </a:lnTo>
                <a:cubicBezTo>
                  <a:pt x="881737" y="907176"/>
                  <a:pt x="886527" y="911966"/>
                  <a:pt x="886527" y="917912"/>
                </a:cubicBezTo>
                <a:cubicBezTo>
                  <a:pt x="886527" y="923859"/>
                  <a:pt x="881737" y="928649"/>
                  <a:pt x="875790" y="928649"/>
                </a:cubicBezTo>
                <a:cubicBezTo>
                  <a:pt x="869844" y="928649"/>
                  <a:pt x="865054" y="923859"/>
                  <a:pt x="865054" y="917912"/>
                </a:cubicBezTo>
                <a:lnTo>
                  <a:pt x="866209" y="916757"/>
                </a:lnTo>
                <a:lnTo>
                  <a:pt x="855473" y="906019"/>
                </a:lnTo>
                <a:lnTo>
                  <a:pt x="856381" y="905112"/>
                </a:lnTo>
                <a:lnTo>
                  <a:pt x="847544" y="896273"/>
                </a:lnTo>
                <a:lnTo>
                  <a:pt x="848369" y="895449"/>
                </a:lnTo>
                <a:lnTo>
                  <a:pt x="838294" y="885372"/>
                </a:lnTo>
                <a:cubicBezTo>
                  <a:pt x="838294" y="879426"/>
                  <a:pt x="843084" y="874636"/>
                  <a:pt x="849030" y="874636"/>
                </a:cubicBezTo>
                <a:close/>
                <a:moveTo>
                  <a:pt x="1316824" y="872322"/>
                </a:moveTo>
                <a:cubicBezTo>
                  <a:pt x="1322770" y="872322"/>
                  <a:pt x="1327562" y="877112"/>
                  <a:pt x="1327562" y="883059"/>
                </a:cubicBezTo>
                <a:cubicBezTo>
                  <a:pt x="1327562" y="889005"/>
                  <a:pt x="1322770" y="893795"/>
                  <a:pt x="1316824" y="893795"/>
                </a:cubicBezTo>
                <a:cubicBezTo>
                  <a:pt x="1310877" y="893795"/>
                  <a:pt x="1306087" y="889005"/>
                  <a:pt x="1306087" y="883059"/>
                </a:cubicBezTo>
                <a:cubicBezTo>
                  <a:pt x="1306087" y="877112"/>
                  <a:pt x="1310877" y="872322"/>
                  <a:pt x="1316824" y="872322"/>
                </a:cubicBezTo>
                <a:close/>
                <a:moveTo>
                  <a:pt x="835488" y="870175"/>
                </a:moveTo>
                <a:cubicBezTo>
                  <a:pt x="835653" y="870175"/>
                  <a:pt x="835817" y="870340"/>
                  <a:pt x="835817" y="870506"/>
                </a:cubicBezTo>
                <a:cubicBezTo>
                  <a:pt x="835817" y="870671"/>
                  <a:pt x="835488" y="870836"/>
                  <a:pt x="835488" y="870836"/>
                </a:cubicBezTo>
                <a:cubicBezTo>
                  <a:pt x="835321" y="870836"/>
                  <a:pt x="835157" y="870671"/>
                  <a:pt x="835157" y="870506"/>
                </a:cubicBezTo>
                <a:cubicBezTo>
                  <a:pt x="835157" y="870340"/>
                  <a:pt x="835321" y="870175"/>
                  <a:pt x="835488" y="870175"/>
                </a:cubicBezTo>
                <a:close/>
                <a:moveTo>
                  <a:pt x="997529" y="869185"/>
                </a:moveTo>
                <a:cubicBezTo>
                  <a:pt x="1003475" y="869185"/>
                  <a:pt x="1008265" y="873975"/>
                  <a:pt x="1008265" y="879922"/>
                </a:cubicBezTo>
                <a:cubicBezTo>
                  <a:pt x="1008265" y="885868"/>
                  <a:pt x="1003475" y="890658"/>
                  <a:pt x="997529" y="890658"/>
                </a:cubicBezTo>
                <a:cubicBezTo>
                  <a:pt x="991582" y="890658"/>
                  <a:pt x="986792" y="885868"/>
                  <a:pt x="986792" y="879922"/>
                </a:cubicBezTo>
                <a:cubicBezTo>
                  <a:pt x="986792" y="873975"/>
                  <a:pt x="991582" y="869185"/>
                  <a:pt x="997529" y="869185"/>
                </a:cubicBezTo>
                <a:close/>
                <a:moveTo>
                  <a:pt x="3468312" y="867203"/>
                </a:moveTo>
                <a:cubicBezTo>
                  <a:pt x="3474258" y="867203"/>
                  <a:pt x="3479048" y="871993"/>
                  <a:pt x="3479048" y="877939"/>
                </a:cubicBezTo>
                <a:cubicBezTo>
                  <a:pt x="3479048" y="883886"/>
                  <a:pt x="3474258" y="888676"/>
                  <a:pt x="3468312" y="888676"/>
                </a:cubicBezTo>
                <a:cubicBezTo>
                  <a:pt x="3462365" y="888676"/>
                  <a:pt x="3457575" y="883886"/>
                  <a:pt x="3457575" y="877939"/>
                </a:cubicBezTo>
                <a:cubicBezTo>
                  <a:pt x="3457575" y="871993"/>
                  <a:pt x="3462365" y="867203"/>
                  <a:pt x="3468312" y="867203"/>
                </a:cubicBezTo>
                <a:close/>
                <a:moveTo>
                  <a:pt x="926500" y="863733"/>
                </a:moveTo>
                <a:cubicBezTo>
                  <a:pt x="932446" y="863733"/>
                  <a:pt x="937238" y="868523"/>
                  <a:pt x="937238" y="874469"/>
                </a:cubicBezTo>
                <a:cubicBezTo>
                  <a:pt x="937238" y="880416"/>
                  <a:pt x="932446" y="885207"/>
                  <a:pt x="926500" y="885207"/>
                </a:cubicBezTo>
                <a:cubicBezTo>
                  <a:pt x="920553" y="885207"/>
                  <a:pt x="915763" y="880416"/>
                  <a:pt x="915763" y="874469"/>
                </a:cubicBezTo>
                <a:cubicBezTo>
                  <a:pt x="915763" y="868523"/>
                  <a:pt x="920553" y="863733"/>
                  <a:pt x="926500" y="863733"/>
                </a:cubicBezTo>
                <a:close/>
                <a:moveTo>
                  <a:pt x="874302" y="862578"/>
                </a:moveTo>
                <a:lnTo>
                  <a:pt x="883223" y="871497"/>
                </a:lnTo>
                <a:lnTo>
                  <a:pt x="883884" y="870836"/>
                </a:lnTo>
                <a:lnTo>
                  <a:pt x="893465" y="880417"/>
                </a:lnTo>
                <a:lnTo>
                  <a:pt x="894124" y="879757"/>
                </a:lnTo>
                <a:cubicBezTo>
                  <a:pt x="900071" y="879757"/>
                  <a:pt x="904861" y="884546"/>
                  <a:pt x="904861" y="890493"/>
                </a:cubicBezTo>
                <a:cubicBezTo>
                  <a:pt x="904861" y="896440"/>
                  <a:pt x="900071" y="901229"/>
                  <a:pt x="894124" y="901229"/>
                </a:cubicBezTo>
                <a:lnTo>
                  <a:pt x="884545" y="891650"/>
                </a:lnTo>
                <a:lnTo>
                  <a:pt x="883884" y="892309"/>
                </a:lnTo>
                <a:lnTo>
                  <a:pt x="874965" y="883390"/>
                </a:lnTo>
                <a:lnTo>
                  <a:pt x="874302" y="884050"/>
                </a:lnTo>
                <a:cubicBezTo>
                  <a:pt x="868356" y="884050"/>
                  <a:pt x="863566" y="879261"/>
                  <a:pt x="863566" y="873314"/>
                </a:cubicBezTo>
                <a:cubicBezTo>
                  <a:pt x="863566" y="867368"/>
                  <a:pt x="868356" y="862578"/>
                  <a:pt x="874302" y="862578"/>
                </a:cubicBezTo>
                <a:close/>
                <a:moveTo>
                  <a:pt x="1213586" y="861751"/>
                </a:moveTo>
                <a:cubicBezTo>
                  <a:pt x="1219532" y="861751"/>
                  <a:pt x="1224324" y="866540"/>
                  <a:pt x="1224324" y="872487"/>
                </a:cubicBezTo>
                <a:cubicBezTo>
                  <a:pt x="1224324" y="878433"/>
                  <a:pt x="1219532" y="883223"/>
                  <a:pt x="1213586" y="883223"/>
                </a:cubicBezTo>
                <a:cubicBezTo>
                  <a:pt x="1207639" y="883223"/>
                  <a:pt x="1202849" y="878433"/>
                  <a:pt x="1202849" y="872487"/>
                </a:cubicBezTo>
                <a:cubicBezTo>
                  <a:pt x="1202849" y="866540"/>
                  <a:pt x="1207639" y="861751"/>
                  <a:pt x="1213586" y="861751"/>
                </a:cubicBezTo>
                <a:close/>
                <a:moveTo>
                  <a:pt x="1056333" y="861751"/>
                </a:moveTo>
                <a:cubicBezTo>
                  <a:pt x="1062280" y="861751"/>
                  <a:pt x="1067070" y="866540"/>
                  <a:pt x="1067070" y="872487"/>
                </a:cubicBezTo>
                <a:cubicBezTo>
                  <a:pt x="1067070" y="878433"/>
                  <a:pt x="1062280" y="883223"/>
                  <a:pt x="1056333" y="883223"/>
                </a:cubicBezTo>
                <a:cubicBezTo>
                  <a:pt x="1050387" y="883223"/>
                  <a:pt x="1045597" y="878433"/>
                  <a:pt x="1045597" y="872487"/>
                </a:cubicBezTo>
                <a:cubicBezTo>
                  <a:pt x="1045597" y="866540"/>
                  <a:pt x="1050387" y="861751"/>
                  <a:pt x="1056333" y="861751"/>
                </a:cubicBezTo>
                <a:close/>
                <a:moveTo>
                  <a:pt x="1127527" y="858778"/>
                </a:moveTo>
                <a:cubicBezTo>
                  <a:pt x="1133473" y="858778"/>
                  <a:pt x="1138265" y="863568"/>
                  <a:pt x="1138265" y="869515"/>
                </a:cubicBezTo>
                <a:cubicBezTo>
                  <a:pt x="1138265" y="875461"/>
                  <a:pt x="1133473" y="880251"/>
                  <a:pt x="1127527" y="880251"/>
                </a:cubicBezTo>
                <a:cubicBezTo>
                  <a:pt x="1121580" y="880251"/>
                  <a:pt x="1116790" y="875461"/>
                  <a:pt x="1116790" y="869515"/>
                </a:cubicBezTo>
                <a:cubicBezTo>
                  <a:pt x="1116790" y="863568"/>
                  <a:pt x="1121580" y="858778"/>
                  <a:pt x="1127527" y="858778"/>
                </a:cubicBezTo>
                <a:close/>
                <a:moveTo>
                  <a:pt x="2402726" y="856796"/>
                </a:moveTo>
                <a:cubicBezTo>
                  <a:pt x="2408657" y="856796"/>
                  <a:pt x="2413464" y="861603"/>
                  <a:pt x="2413464" y="867532"/>
                </a:cubicBezTo>
                <a:cubicBezTo>
                  <a:pt x="2413464" y="873463"/>
                  <a:pt x="2408657" y="878269"/>
                  <a:pt x="2402726" y="878269"/>
                </a:cubicBezTo>
                <a:cubicBezTo>
                  <a:pt x="2396797" y="878269"/>
                  <a:pt x="2391990" y="873463"/>
                  <a:pt x="2391990" y="867532"/>
                </a:cubicBezTo>
                <a:cubicBezTo>
                  <a:pt x="2391990" y="861603"/>
                  <a:pt x="2396797" y="856796"/>
                  <a:pt x="2402726" y="856796"/>
                </a:cubicBezTo>
                <a:close/>
                <a:moveTo>
                  <a:pt x="862576" y="851675"/>
                </a:moveTo>
                <a:cubicBezTo>
                  <a:pt x="868522" y="851675"/>
                  <a:pt x="873312" y="856465"/>
                  <a:pt x="873312" y="862411"/>
                </a:cubicBezTo>
                <a:cubicBezTo>
                  <a:pt x="873312" y="868358"/>
                  <a:pt x="868522" y="873148"/>
                  <a:pt x="862576" y="873148"/>
                </a:cubicBezTo>
                <a:cubicBezTo>
                  <a:pt x="856629" y="873148"/>
                  <a:pt x="851840" y="868358"/>
                  <a:pt x="851840" y="862411"/>
                </a:cubicBezTo>
                <a:cubicBezTo>
                  <a:pt x="851840" y="856465"/>
                  <a:pt x="856629" y="851675"/>
                  <a:pt x="862576" y="851675"/>
                </a:cubicBezTo>
                <a:close/>
                <a:moveTo>
                  <a:pt x="1561623" y="850353"/>
                </a:moveTo>
                <a:cubicBezTo>
                  <a:pt x="1567570" y="850353"/>
                  <a:pt x="1572361" y="855143"/>
                  <a:pt x="1572361" y="861090"/>
                </a:cubicBezTo>
                <a:cubicBezTo>
                  <a:pt x="1572361" y="867036"/>
                  <a:pt x="1567570" y="871826"/>
                  <a:pt x="1561623" y="871826"/>
                </a:cubicBezTo>
                <a:cubicBezTo>
                  <a:pt x="1555677" y="871826"/>
                  <a:pt x="1550887" y="867036"/>
                  <a:pt x="1550887" y="861090"/>
                </a:cubicBezTo>
                <a:cubicBezTo>
                  <a:pt x="1550887" y="855143"/>
                  <a:pt x="1555677" y="850353"/>
                  <a:pt x="1561623" y="850353"/>
                </a:cubicBezTo>
                <a:close/>
                <a:moveTo>
                  <a:pt x="3294706" y="849363"/>
                </a:moveTo>
                <a:cubicBezTo>
                  <a:pt x="3300652" y="849363"/>
                  <a:pt x="3305444" y="854153"/>
                  <a:pt x="3305444" y="860100"/>
                </a:cubicBezTo>
                <a:cubicBezTo>
                  <a:pt x="3305444" y="866046"/>
                  <a:pt x="3300652" y="870836"/>
                  <a:pt x="3294706" y="870836"/>
                </a:cubicBezTo>
                <a:cubicBezTo>
                  <a:pt x="3288759" y="870836"/>
                  <a:pt x="3283969" y="866046"/>
                  <a:pt x="3283969" y="860100"/>
                </a:cubicBezTo>
                <a:cubicBezTo>
                  <a:pt x="3283969" y="854153"/>
                  <a:pt x="3288759" y="849363"/>
                  <a:pt x="3294706" y="849363"/>
                </a:cubicBezTo>
                <a:close/>
                <a:moveTo>
                  <a:pt x="1864896" y="849032"/>
                </a:moveTo>
                <a:cubicBezTo>
                  <a:pt x="1870843" y="849032"/>
                  <a:pt x="1875634" y="853822"/>
                  <a:pt x="1875634" y="859768"/>
                </a:cubicBezTo>
                <a:cubicBezTo>
                  <a:pt x="1875634" y="865715"/>
                  <a:pt x="1870843" y="870505"/>
                  <a:pt x="1864896" y="870505"/>
                </a:cubicBezTo>
                <a:cubicBezTo>
                  <a:pt x="1858950" y="870505"/>
                  <a:pt x="1854160" y="865715"/>
                  <a:pt x="1854160" y="859768"/>
                </a:cubicBezTo>
                <a:cubicBezTo>
                  <a:pt x="1854160" y="853822"/>
                  <a:pt x="1858950" y="849032"/>
                  <a:pt x="1864896" y="849032"/>
                </a:cubicBezTo>
                <a:close/>
                <a:moveTo>
                  <a:pt x="964988" y="848371"/>
                </a:moveTo>
                <a:cubicBezTo>
                  <a:pt x="970935" y="848371"/>
                  <a:pt x="975725" y="853161"/>
                  <a:pt x="975725" y="859108"/>
                </a:cubicBezTo>
                <a:cubicBezTo>
                  <a:pt x="975725" y="865054"/>
                  <a:pt x="970935" y="869846"/>
                  <a:pt x="964988" y="869846"/>
                </a:cubicBezTo>
                <a:cubicBezTo>
                  <a:pt x="959042" y="869846"/>
                  <a:pt x="954252" y="865054"/>
                  <a:pt x="954252" y="859108"/>
                </a:cubicBezTo>
                <a:cubicBezTo>
                  <a:pt x="954252" y="853161"/>
                  <a:pt x="959042" y="848371"/>
                  <a:pt x="964988" y="848371"/>
                </a:cubicBezTo>
                <a:close/>
                <a:moveTo>
                  <a:pt x="2578644" y="842260"/>
                </a:moveTo>
                <a:cubicBezTo>
                  <a:pt x="2584590" y="842260"/>
                  <a:pt x="2589380" y="847050"/>
                  <a:pt x="2589380" y="852996"/>
                </a:cubicBezTo>
                <a:cubicBezTo>
                  <a:pt x="2589380" y="858943"/>
                  <a:pt x="2584590" y="863733"/>
                  <a:pt x="2578644" y="863733"/>
                </a:cubicBezTo>
                <a:cubicBezTo>
                  <a:pt x="2572698" y="863733"/>
                  <a:pt x="2567908" y="858943"/>
                  <a:pt x="2567908" y="852996"/>
                </a:cubicBezTo>
                <a:cubicBezTo>
                  <a:pt x="2567908" y="847050"/>
                  <a:pt x="2572698" y="842260"/>
                  <a:pt x="2578644" y="842260"/>
                </a:cubicBezTo>
                <a:close/>
                <a:moveTo>
                  <a:pt x="889170" y="840278"/>
                </a:moveTo>
                <a:lnTo>
                  <a:pt x="898751" y="849859"/>
                </a:lnTo>
                <a:lnTo>
                  <a:pt x="900733" y="847875"/>
                </a:lnTo>
                <a:lnTo>
                  <a:pt x="909654" y="856796"/>
                </a:lnTo>
                <a:lnTo>
                  <a:pt x="911966" y="854484"/>
                </a:lnTo>
                <a:cubicBezTo>
                  <a:pt x="917912" y="854484"/>
                  <a:pt x="922702" y="859274"/>
                  <a:pt x="922702" y="865221"/>
                </a:cubicBezTo>
                <a:cubicBezTo>
                  <a:pt x="922702" y="871167"/>
                  <a:pt x="917912" y="875957"/>
                  <a:pt x="911966" y="875957"/>
                </a:cubicBezTo>
                <a:lnTo>
                  <a:pt x="903045" y="867036"/>
                </a:lnTo>
                <a:lnTo>
                  <a:pt x="900733" y="869348"/>
                </a:lnTo>
                <a:lnTo>
                  <a:pt x="891154" y="859768"/>
                </a:lnTo>
                <a:lnTo>
                  <a:pt x="889170" y="861751"/>
                </a:lnTo>
                <a:cubicBezTo>
                  <a:pt x="883223" y="861751"/>
                  <a:pt x="878433" y="856961"/>
                  <a:pt x="878433" y="851014"/>
                </a:cubicBezTo>
                <a:cubicBezTo>
                  <a:pt x="878433" y="845068"/>
                  <a:pt x="883223" y="840278"/>
                  <a:pt x="889170" y="840278"/>
                </a:cubicBezTo>
                <a:close/>
                <a:moveTo>
                  <a:pt x="3117135" y="837635"/>
                </a:moveTo>
                <a:cubicBezTo>
                  <a:pt x="3123082" y="837635"/>
                  <a:pt x="3127873" y="842425"/>
                  <a:pt x="3127873" y="848371"/>
                </a:cubicBezTo>
                <a:cubicBezTo>
                  <a:pt x="3127873" y="854318"/>
                  <a:pt x="3123082" y="859108"/>
                  <a:pt x="3117135" y="859108"/>
                </a:cubicBezTo>
                <a:cubicBezTo>
                  <a:pt x="3111188" y="859108"/>
                  <a:pt x="3106399" y="854318"/>
                  <a:pt x="3106399" y="848371"/>
                </a:cubicBezTo>
                <a:cubicBezTo>
                  <a:pt x="3106399" y="842425"/>
                  <a:pt x="3111188" y="837635"/>
                  <a:pt x="3117135" y="837635"/>
                </a:cubicBezTo>
                <a:close/>
                <a:moveTo>
                  <a:pt x="1010908" y="834331"/>
                </a:moveTo>
                <a:cubicBezTo>
                  <a:pt x="1016854" y="834331"/>
                  <a:pt x="1021644" y="839121"/>
                  <a:pt x="1021644" y="845068"/>
                </a:cubicBezTo>
                <a:cubicBezTo>
                  <a:pt x="1021644" y="851014"/>
                  <a:pt x="1016854" y="855804"/>
                  <a:pt x="1010908" y="855804"/>
                </a:cubicBezTo>
                <a:cubicBezTo>
                  <a:pt x="1004961" y="855804"/>
                  <a:pt x="1000172" y="851014"/>
                  <a:pt x="1000172" y="845068"/>
                </a:cubicBezTo>
                <a:cubicBezTo>
                  <a:pt x="1000172" y="839121"/>
                  <a:pt x="1004961" y="834331"/>
                  <a:pt x="1010908" y="834331"/>
                </a:cubicBezTo>
                <a:close/>
                <a:moveTo>
                  <a:pt x="2757369" y="834000"/>
                </a:moveTo>
                <a:cubicBezTo>
                  <a:pt x="2763316" y="834000"/>
                  <a:pt x="2768108" y="838790"/>
                  <a:pt x="2768108" y="844736"/>
                </a:cubicBezTo>
                <a:cubicBezTo>
                  <a:pt x="2768108" y="850683"/>
                  <a:pt x="2763316" y="855473"/>
                  <a:pt x="2757369" y="855473"/>
                </a:cubicBezTo>
                <a:cubicBezTo>
                  <a:pt x="2751423" y="855473"/>
                  <a:pt x="2746633" y="850683"/>
                  <a:pt x="2746633" y="844736"/>
                </a:cubicBezTo>
                <a:cubicBezTo>
                  <a:pt x="2746633" y="838790"/>
                  <a:pt x="2751423" y="834000"/>
                  <a:pt x="2757369" y="834000"/>
                </a:cubicBezTo>
                <a:close/>
                <a:moveTo>
                  <a:pt x="2937582" y="832514"/>
                </a:moveTo>
                <a:cubicBezTo>
                  <a:pt x="2943529" y="832514"/>
                  <a:pt x="2948321" y="837304"/>
                  <a:pt x="2948321" y="843250"/>
                </a:cubicBezTo>
                <a:cubicBezTo>
                  <a:pt x="2948321" y="849197"/>
                  <a:pt x="2943529" y="853987"/>
                  <a:pt x="2937582" y="853987"/>
                </a:cubicBezTo>
                <a:cubicBezTo>
                  <a:pt x="2931636" y="853987"/>
                  <a:pt x="2926846" y="849197"/>
                  <a:pt x="2926846" y="843250"/>
                </a:cubicBezTo>
                <a:cubicBezTo>
                  <a:pt x="2926846" y="837304"/>
                  <a:pt x="2931636" y="832514"/>
                  <a:pt x="2937582" y="832514"/>
                </a:cubicBezTo>
                <a:close/>
                <a:moveTo>
                  <a:pt x="874635" y="831853"/>
                </a:moveTo>
                <a:cubicBezTo>
                  <a:pt x="878922" y="831853"/>
                  <a:pt x="882398" y="835328"/>
                  <a:pt x="882398" y="839617"/>
                </a:cubicBezTo>
                <a:cubicBezTo>
                  <a:pt x="882398" y="843904"/>
                  <a:pt x="878922" y="847381"/>
                  <a:pt x="874635" y="847381"/>
                </a:cubicBezTo>
                <a:cubicBezTo>
                  <a:pt x="870347" y="847381"/>
                  <a:pt x="866872" y="843904"/>
                  <a:pt x="866872" y="839617"/>
                </a:cubicBezTo>
                <a:cubicBezTo>
                  <a:pt x="866872" y="835328"/>
                  <a:pt x="870347" y="831853"/>
                  <a:pt x="874635" y="831853"/>
                </a:cubicBezTo>
                <a:close/>
                <a:moveTo>
                  <a:pt x="1425514" y="828220"/>
                </a:moveTo>
                <a:cubicBezTo>
                  <a:pt x="1431460" y="828220"/>
                  <a:pt x="1436250" y="833010"/>
                  <a:pt x="1436250" y="838956"/>
                </a:cubicBezTo>
                <a:cubicBezTo>
                  <a:pt x="1436250" y="844903"/>
                  <a:pt x="1431460" y="849693"/>
                  <a:pt x="1425514" y="849693"/>
                </a:cubicBezTo>
                <a:cubicBezTo>
                  <a:pt x="1419567" y="849693"/>
                  <a:pt x="1414777" y="844903"/>
                  <a:pt x="1414777" y="838956"/>
                </a:cubicBezTo>
                <a:cubicBezTo>
                  <a:pt x="1414777" y="833010"/>
                  <a:pt x="1419567" y="828220"/>
                  <a:pt x="1425514" y="828220"/>
                </a:cubicBezTo>
                <a:close/>
                <a:moveTo>
                  <a:pt x="1066409" y="822768"/>
                </a:moveTo>
                <a:cubicBezTo>
                  <a:pt x="1072355" y="822768"/>
                  <a:pt x="1077145" y="827558"/>
                  <a:pt x="1077145" y="833504"/>
                </a:cubicBezTo>
                <a:cubicBezTo>
                  <a:pt x="1077145" y="839451"/>
                  <a:pt x="1072355" y="844241"/>
                  <a:pt x="1066409" y="844241"/>
                </a:cubicBezTo>
                <a:cubicBezTo>
                  <a:pt x="1060462" y="844241"/>
                  <a:pt x="1055672" y="839451"/>
                  <a:pt x="1055672" y="833504"/>
                </a:cubicBezTo>
                <a:cubicBezTo>
                  <a:pt x="1055672" y="827558"/>
                  <a:pt x="1060462" y="822768"/>
                  <a:pt x="1066409" y="822768"/>
                </a:cubicBezTo>
                <a:close/>
                <a:moveTo>
                  <a:pt x="980846" y="819960"/>
                </a:moveTo>
                <a:cubicBezTo>
                  <a:pt x="986792" y="819960"/>
                  <a:pt x="991582" y="824750"/>
                  <a:pt x="991582" y="830696"/>
                </a:cubicBezTo>
                <a:cubicBezTo>
                  <a:pt x="991582" y="836643"/>
                  <a:pt x="986792" y="841433"/>
                  <a:pt x="980846" y="841433"/>
                </a:cubicBezTo>
                <a:cubicBezTo>
                  <a:pt x="974899" y="841433"/>
                  <a:pt x="970109" y="836643"/>
                  <a:pt x="970109" y="830696"/>
                </a:cubicBezTo>
                <a:cubicBezTo>
                  <a:pt x="970109" y="824750"/>
                  <a:pt x="974899" y="819960"/>
                  <a:pt x="980846" y="819960"/>
                </a:cubicBezTo>
                <a:close/>
                <a:moveTo>
                  <a:pt x="902715" y="818639"/>
                </a:moveTo>
                <a:lnTo>
                  <a:pt x="913287" y="829210"/>
                </a:lnTo>
                <a:lnTo>
                  <a:pt x="916424" y="826073"/>
                </a:lnTo>
                <a:lnTo>
                  <a:pt x="925262" y="834911"/>
                </a:lnTo>
                <a:lnTo>
                  <a:pt x="928978" y="831192"/>
                </a:lnTo>
                <a:lnTo>
                  <a:pt x="939468" y="841683"/>
                </a:lnTo>
                <a:lnTo>
                  <a:pt x="943845" y="837305"/>
                </a:lnTo>
                <a:cubicBezTo>
                  <a:pt x="949792" y="837305"/>
                  <a:pt x="954581" y="842095"/>
                  <a:pt x="954581" y="848042"/>
                </a:cubicBezTo>
                <a:cubicBezTo>
                  <a:pt x="954581" y="853989"/>
                  <a:pt x="949792" y="858778"/>
                  <a:pt x="943845" y="858778"/>
                </a:cubicBezTo>
                <a:lnTo>
                  <a:pt x="933355" y="848288"/>
                </a:lnTo>
                <a:lnTo>
                  <a:pt x="928978" y="852665"/>
                </a:lnTo>
                <a:lnTo>
                  <a:pt x="920142" y="843830"/>
                </a:lnTo>
                <a:lnTo>
                  <a:pt x="916424" y="847546"/>
                </a:lnTo>
                <a:lnTo>
                  <a:pt x="905853" y="836974"/>
                </a:lnTo>
                <a:lnTo>
                  <a:pt x="902715" y="840111"/>
                </a:lnTo>
                <a:cubicBezTo>
                  <a:pt x="896769" y="840111"/>
                  <a:pt x="891979" y="835322"/>
                  <a:pt x="891979" y="829375"/>
                </a:cubicBezTo>
                <a:cubicBezTo>
                  <a:pt x="891979" y="823428"/>
                  <a:pt x="896769" y="818639"/>
                  <a:pt x="902715" y="818639"/>
                </a:cubicBezTo>
                <a:close/>
                <a:moveTo>
                  <a:pt x="2015706" y="817152"/>
                </a:moveTo>
                <a:cubicBezTo>
                  <a:pt x="2021653" y="817152"/>
                  <a:pt x="2026444" y="821942"/>
                  <a:pt x="2026444" y="827889"/>
                </a:cubicBezTo>
                <a:cubicBezTo>
                  <a:pt x="2026444" y="833835"/>
                  <a:pt x="2021653" y="838625"/>
                  <a:pt x="2015706" y="838625"/>
                </a:cubicBezTo>
                <a:cubicBezTo>
                  <a:pt x="2009760" y="838625"/>
                  <a:pt x="2004970" y="833835"/>
                  <a:pt x="2004970" y="827889"/>
                </a:cubicBezTo>
                <a:cubicBezTo>
                  <a:pt x="2004970" y="821942"/>
                  <a:pt x="2009760" y="817152"/>
                  <a:pt x="2015706" y="817152"/>
                </a:cubicBezTo>
                <a:close/>
                <a:moveTo>
                  <a:pt x="1310548" y="816162"/>
                </a:moveTo>
                <a:cubicBezTo>
                  <a:pt x="1316494" y="816162"/>
                  <a:pt x="1321284" y="820952"/>
                  <a:pt x="1321284" y="826899"/>
                </a:cubicBezTo>
                <a:cubicBezTo>
                  <a:pt x="1321284" y="832845"/>
                  <a:pt x="1316494" y="837635"/>
                  <a:pt x="1310548" y="837635"/>
                </a:cubicBezTo>
                <a:cubicBezTo>
                  <a:pt x="1304601" y="837635"/>
                  <a:pt x="1299811" y="832845"/>
                  <a:pt x="1299811" y="826899"/>
                </a:cubicBezTo>
                <a:cubicBezTo>
                  <a:pt x="1299811" y="820952"/>
                  <a:pt x="1304601" y="816162"/>
                  <a:pt x="1310548" y="816162"/>
                </a:cubicBezTo>
                <a:close/>
                <a:moveTo>
                  <a:pt x="1133307" y="815006"/>
                </a:moveTo>
                <a:cubicBezTo>
                  <a:pt x="1139253" y="815006"/>
                  <a:pt x="1144045" y="819795"/>
                  <a:pt x="1144045" y="825742"/>
                </a:cubicBezTo>
                <a:cubicBezTo>
                  <a:pt x="1144045" y="831688"/>
                  <a:pt x="1139253" y="836478"/>
                  <a:pt x="1133307" y="836478"/>
                </a:cubicBezTo>
                <a:cubicBezTo>
                  <a:pt x="1127360" y="836478"/>
                  <a:pt x="1122570" y="831688"/>
                  <a:pt x="1122570" y="825742"/>
                </a:cubicBezTo>
                <a:cubicBezTo>
                  <a:pt x="1122570" y="819795"/>
                  <a:pt x="1127360" y="815006"/>
                  <a:pt x="1133307" y="815006"/>
                </a:cubicBezTo>
                <a:close/>
                <a:moveTo>
                  <a:pt x="1213915" y="812363"/>
                </a:moveTo>
                <a:cubicBezTo>
                  <a:pt x="1219862" y="812363"/>
                  <a:pt x="1224653" y="817152"/>
                  <a:pt x="1224653" y="823099"/>
                </a:cubicBezTo>
                <a:cubicBezTo>
                  <a:pt x="1224653" y="829046"/>
                  <a:pt x="1219862" y="833837"/>
                  <a:pt x="1213915" y="833837"/>
                </a:cubicBezTo>
                <a:cubicBezTo>
                  <a:pt x="1207969" y="833837"/>
                  <a:pt x="1203179" y="829046"/>
                  <a:pt x="1203179" y="823099"/>
                </a:cubicBezTo>
                <a:cubicBezTo>
                  <a:pt x="1203179" y="817152"/>
                  <a:pt x="1207969" y="812363"/>
                  <a:pt x="1213915" y="812363"/>
                </a:cubicBezTo>
                <a:close/>
                <a:moveTo>
                  <a:pt x="1690794" y="810876"/>
                </a:moveTo>
                <a:cubicBezTo>
                  <a:pt x="1696741" y="810876"/>
                  <a:pt x="1701532" y="815666"/>
                  <a:pt x="1701532" y="821613"/>
                </a:cubicBezTo>
                <a:cubicBezTo>
                  <a:pt x="1701532" y="827559"/>
                  <a:pt x="1696741" y="832349"/>
                  <a:pt x="1690794" y="832349"/>
                </a:cubicBezTo>
                <a:cubicBezTo>
                  <a:pt x="1684848" y="832349"/>
                  <a:pt x="1680058" y="827559"/>
                  <a:pt x="1680058" y="821613"/>
                </a:cubicBezTo>
                <a:cubicBezTo>
                  <a:pt x="1680058" y="815666"/>
                  <a:pt x="1684848" y="810876"/>
                  <a:pt x="1690794" y="810876"/>
                </a:cubicBezTo>
                <a:close/>
                <a:moveTo>
                  <a:pt x="931127" y="805259"/>
                </a:moveTo>
                <a:lnTo>
                  <a:pt x="940377" y="814510"/>
                </a:lnTo>
                <a:lnTo>
                  <a:pt x="945331" y="809555"/>
                </a:lnTo>
                <a:lnTo>
                  <a:pt x="954746" y="818970"/>
                </a:lnTo>
                <a:lnTo>
                  <a:pt x="960528" y="813188"/>
                </a:lnTo>
                <a:cubicBezTo>
                  <a:pt x="966474" y="813188"/>
                  <a:pt x="971264" y="817978"/>
                  <a:pt x="971264" y="823925"/>
                </a:cubicBezTo>
                <a:cubicBezTo>
                  <a:pt x="971264" y="829871"/>
                  <a:pt x="966474" y="834661"/>
                  <a:pt x="960528" y="834661"/>
                </a:cubicBezTo>
                <a:lnTo>
                  <a:pt x="951113" y="825246"/>
                </a:lnTo>
                <a:lnTo>
                  <a:pt x="945331" y="831028"/>
                </a:lnTo>
                <a:lnTo>
                  <a:pt x="936081" y="821778"/>
                </a:lnTo>
                <a:lnTo>
                  <a:pt x="931127" y="826732"/>
                </a:lnTo>
                <a:cubicBezTo>
                  <a:pt x="925180" y="826732"/>
                  <a:pt x="920390" y="821942"/>
                  <a:pt x="920390" y="815996"/>
                </a:cubicBezTo>
                <a:cubicBezTo>
                  <a:pt x="920390" y="810049"/>
                  <a:pt x="925180" y="805259"/>
                  <a:pt x="931127" y="805259"/>
                </a:cubicBezTo>
                <a:close/>
                <a:moveTo>
                  <a:pt x="1024783" y="803277"/>
                </a:moveTo>
                <a:cubicBezTo>
                  <a:pt x="1030730" y="803277"/>
                  <a:pt x="1035519" y="808067"/>
                  <a:pt x="1035519" y="814014"/>
                </a:cubicBezTo>
                <a:cubicBezTo>
                  <a:pt x="1035519" y="819960"/>
                  <a:pt x="1030730" y="824750"/>
                  <a:pt x="1024783" y="824750"/>
                </a:cubicBezTo>
                <a:cubicBezTo>
                  <a:pt x="1018837" y="824750"/>
                  <a:pt x="1014047" y="819960"/>
                  <a:pt x="1014047" y="814014"/>
                </a:cubicBezTo>
                <a:cubicBezTo>
                  <a:pt x="1014047" y="808067"/>
                  <a:pt x="1018837" y="803277"/>
                  <a:pt x="1024783" y="803277"/>
                </a:cubicBezTo>
                <a:close/>
                <a:moveTo>
                  <a:pt x="914938" y="797331"/>
                </a:moveTo>
                <a:cubicBezTo>
                  <a:pt x="920884" y="797331"/>
                  <a:pt x="925674" y="802121"/>
                  <a:pt x="925674" y="808067"/>
                </a:cubicBezTo>
                <a:cubicBezTo>
                  <a:pt x="925674" y="814014"/>
                  <a:pt x="920884" y="818805"/>
                  <a:pt x="914938" y="818805"/>
                </a:cubicBezTo>
                <a:cubicBezTo>
                  <a:pt x="908991" y="818805"/>
                  <a:pt x="904202" y="814014"/>
                  <a:pt x="904202" y="808067"/>
                </a:cubicBezTo>
                <a:cubicBezTo>
                  <a:pt x="904202" y="802121"/>
                  <a:pt x="908991" y="797331"/>
                  <a:pt x="914938" y="797331"/>
                </a:cubicBezTo>
                <a:close/>
                <a:moveTo>
                  <a:pt x="996703" y="794358"/>
                </a:moveTo>
                <a:cubicBezTo>
                  <a:pt x="1002650" y="794358"/>
                  <a:pt x="1007441" y="799148"/>
                  <a:pt x="1007441" y="805095"/>
                </a:cubicBezTo>
                <a:cubicBezTo>
                  <a:pt x="1007441" y="811041"/>
                  <a:pt x="1002650" y="815831"/>
                  <a:pt x="996703" y="815831"/>
                </a:cubicBezTo>
                <a:cubicBezTo>
                  <a:pt x="990757" y="815831"/>
                  <a:pt x="985967" y="811041"/>
                  <a:pt x="985967" y="805095"/>
                </a:cubicBezTo>
                <a:cubicBezTo>
                  <a:pt x="985967" y="799148"/>
                  <a:pt x="990757" y="794358"/>
                  <a:pt x="996703" y="794358"/>
                </a:cubicBezTo>
                <a:close/>
                <a:moveTo>
                  <a:pt x="2173288" y="789567"/>
                </a:moveTo>
                <a:cubicBezTo>
                  <a:pt x="2179235" y="789567"/>
                  <a:pt x="2184026" y="794357"/>
                  <a:pt x="2184026" y="800303"/>
                </a:cubicBezTo>
                <a:cubicBezTo>
                  <a:pt x="2184026" y="806250"/>
                  <a:pt x="2179235" y="811039"/>
                  <a:pt x="2173288" y="811039"/>
                </a:cubicBezTo>
                <a:cubicBezTo>
                  <a:pt x="2167342" y="811039"/>
                  <a:pt x="2162552" y="806250"/>
                  <a:pt x="2162552" y="800303"/>
                </a:cubicBezTo>
                <a:cubicBezTo>
                  <a:pt x="2162552" y="794357"/>
                  <a:pt x="2167342" y="789567"/>
                  <a:pt x="2173288" y="789567"/>
                </a:cubicBezTo>
                <a:close/>
                <a:moveTo>
                  <a:pt x="1077476" y="788577"/>
                </a:moveTo>
                <a:cubicBezTo>
                  <a:pt x="1083423" y="788577"/>
                  <a:pt x="1088213" y="793367"/>
                  <a:pt x="1088213" y="799313"/>
                </a:cubicBezTo>
                <a:cubicBezTo>
                  <a:pt x="1088213" y="805259"/>
                  <a:pt x="1083423" y="810049"/>
                  <a:pt x="1077476" y="810049"/>
                </a:cubicBezTo>
                <a:cubicBezTo>
                  <a:pt x="1071530" y="810049"/>
                  <a:pt x="1066740" y="805259"/>
                  <a:pt x="1066740" y="799313"/>
                </a:cubicBezTo>
                <a:cubicBezTo>
                  <a:pt x="1066740" y="793367"/>
                  <a:pt x="1071530" y="788577"/>
                  <a:pt x="1077476" y="788577"/>
                </a:cubicBezTo>
                <a:close/>
                <a:moveTo>
                  <a:pt x="1541470" y="785769"/>
                </a:moveTo>
                <a:cubicBezTo>
                  <a:pt x="1547417" y="785769"/>
                  <a:pt x="1552208" y="790559"/>
                  <a:pt x="1552208" y="796505"/>
                </a:cubicBezTo>
                <a:cubicBezTo>
                  <a:pt x="1552208" y="802452"/>
                  <a:pt x="1547417" y="807242"/>
                  <a:pt x="1541470" y="807242"/>
                </a:cubicBezTo>
                <a:cubicBezTo>
                  <a:pt x="1535524" y="807242"/>
                  <a:pt x="1530734" y="802452"/>
                  <a:pt x="1530734" y="796505"/>
                </a:cubicBezTo>
                <a:cubicBezTo>
                  <a:pt x="1530734" y="790559"/>
                  <a:pt x="1535524" y="785769"/>
                  <a:pt x="1541470" y="785769"/>
                </a:cubicBezTo>
                <a:close/>
                <a:moveTo>
                  <a:pt x="944506" y="784942"/>
                </a:moveTo>
                <a:lnTo>
                  <a:pt x="954583" y="795017"/>
                </a:lnTo>
                <a:lnTo>
                  <a:pt x="960528" y="789071"/>
                </a:lnTo>
                <a:lnTo>
                  <a:pt x="969613" y="798156"/>
                </a:lnTo>
                <a:lnTo>
                  <a:pt x="976715" y="791055"/>
                </a:lnTo>
                <a:cubicBezTo>
                  <a:pt x="982661" y="791055"/>
                  <a:pt x="987451" y="795845"/>
                  <a:pt x="987451" y="801791"/>
                </a:cubicBezTo>
                <a:cubicBezTo>
                  <a:pt x="987451" y="807738"/>
                  <a:pt x="982661" y="812528"/>
                  <a:pt x="976715" y="812528"/>
                </a:cubicBezTo>
                <a:lnTo>
                  <a:pt x="967630" y="803442"/>
                </a:lnTo>
                <a:lnTo>
                  <a:pt x="960528" y="810545"/>
                </a:lnTo>
                <a:lnTo>
                  <a:pt x="950452" y="800470"/>
                </a:lnTo>
                <a:lnTo>
                  <a:pt x="944506" y="806416"/>
                </a:lnTo>
                <a:cubicBezTo>
                  <a:pt x="938559" y="806416"/>
                  <a:pt x="933770" y="801625"/>
                  <a:pt x="933770" y="795678"/>
                </a:cubicBezTo>
                <a:cubicBezTo>
                  <a:pt x="933770" y="789732"/>
                  <a:pt x="938559" y="784942"/>
                  <a:pt x="944506" y="784942"/>
                </a:cubicBezTo>
                <a:close/>
                <a:moveTo>
                  <a:pt x="925676" y="783620"/>
                </a:moveTo>
                <a:cubicBezTo>
                  <a:pt x="927408" y="783620"/>
                  <a:pt x="928813" y="785025"/>
                  <a:pt x="928813" y="786759"/>
                </a:cubicBezTo>
                <a:cubicBezTo>
                  <a:pt x="928813" y="788492"/>
                  <a:pt x="927408" y="789896"/>
                  <a:pt x="925676" y="789896"/>
                </a:cubicBezTo>
                <a:cubicBezTo>
                  <a:pt x="923942" y="789896"/>
                  <a:pt x="922537" y="788492"/>
                  <a:pt x="922537" y="786759"/>
                </a:cubicBezTo>
                <a:cubicBezTo>
                  <a:pt x="922537" y="785025"/>
                  <a:pt x="923942" y="783620"/>
                  <a:pt x="925676" y="783620"/>
                </a:cubicBezTo>
                <a:close/>
                <a:moveTo>
                  <a:pt x="1140576" y="776519"/>
                </a:moveTo>
                <a:cubicBezTo>
                  <a:pt x="1146523" y="776519"/>
                  <a:pt x="1151313" y="781309"/>
                  <a:pt x="1151313" y="787255"/>
                </a:cubicBezTo>
                <a:cubicBezTo>
                  <a:pt x="1151313" y="793202"/>
                  <a:pt x="1146523" y="797991"/>
                  <a:pt x="1140576" y="797991"/>
                </a:cubicBezTo>
                <a:cubicBezTo>
                  <a:pt x="1134630" y="797991"/>
                  <a:pt x="1129840" y="793202"/>
                  <a:pt x="1129840" y="787255"/>
                </a:cubicBezTo>
                <a:cubicBezTo>
                  <a:pt x="1129840" y="781309"/>
                  <a:pt x="1134630" y="776519"/>
                  <a:pt x="1140576" y="776519"/>
                </a:cubicBezTo>
                <a:close/>
                <a:moveTo>
                  <a:pt x="1038990" y="775856"/>
                </a:moveTo>
                <a:cubicBezTo>
                  <a:pt x="1044936" y="775856"/>
                  <a:pt x="1049726" y="780646"/>
                  <a:pt x="1049726" y="786593"/>
                </a:cubicBezTo>
                <a:cubicBezTo>
                  <a:pt x="1049726" y="792539"/>
                  <a:pt x="1044936" y="797329"/>
                  <a:pt x="1038990" y="797329"/>
                </a:cubicBezTo>
                <a:cubicBezTo>
                  <a:pt x="1033043" y="797329"/>
                  <a:pt x="1028253" y="792539"/>
                  <a:pt x="1028253" y="786593"/>
                </a:cubicBezTo>
                <a:cubicBezTo>
                  <a:pt x="1028253" y="780646"/>
                  <a:pt x="1033043" y="775856"/>
                  <a:pt x="1038990" y="775856"/>
                </a:cubicBezTo>
                <a:close/>
                <a:moveTo>
                  <a:pt x="1827400" y="774205"/>
                </a:moveTo>
                <a:cubicBezTo>
                  <a:pt x="1833346" y="774205"/>
                  <a:pt x="1838136" y="778995"/>
                  <a:pt x="1838136" y="784942"/>
                </a:cubicBezTo>
                <a:cubicBezTo>
                  <a:pt x="1838136" y="790888"/>
                  <a:pt x="1833346" y="795678"/>
                  <a:pt x="1827400" y="795678"/>
                </a:cubicBezTo>
                <a:cubicBezTo>
                  <a:pt x="1821453" y="795678"/>
                  <a:pt x="1816663" y="790888"/>
                  <a:pt x="1816663" y="784942"/>
                </a:cubicBezTo>
                <a:cubicBezTo>
                  <a:pt x="1816663" y="778995"/>
                  <a:pt x="1821453" y="774205"/>
                  <a:pt x="1827400" y="774205"/>
                </a:cubicBezTo>
                <a:close/>
                <a:moveTo>
                  <a:pt x="1414282" y="771727"/>
                </a:moveTo>
                <a:cubicBezTo>
                  <a:pt x="1420228" y="771727"/>
                  <a:pt x="1425018" y="776517"/>
                  <a:pt x="1425018" y="782464"/>
                </a:cubicBezTo>
                <a:cubicBezTo>
                  <a:pt x="1425018" y="788410"/>
                  <a:pt x="1420228" y="793200"/>
                  <a:pt x="1414282" y="793200"/>
                </a:cubicBezTo>
                <a:cubicBezTo>
                  <a:pt x="1408335" y="793200"/>
                  <a:pt x="1403545" y="788410"/>
                  <a:pt x="1403545" y="782464"/>
                </a:cubicBezTo>
                <a:cubicBezTo>
                  <a:pt x="1403545" y="776517"/>
                  <a:pt x="1408335" y="771727"/>
                  <a:pt x="1414282" y="771727"/>
                </a:cubicBezTo>
                <a:close/>
                <a:moveTo>
                  <a:pt x="974899" y="769416"/>
                </a:moveTo>
                <a:lnTo>
                  <a:pt x="984149" y="778666"/>
                </a:lnTo>
                <a:lnTo>
                  <a:pt x="992243" y="770570"/>
                </a:lnTo>
                <a:lnTo>
                  <a:pt x="1002651" y="780977"/>
                </a:lnTo>
                <a:lnTo>
                  <a:pt x="1012229" y="771398"/>
                </a:lnTo>
                <a:cubicBezTo>
                  <a:pt x="1018176" y="771398"/>
                  <a:pt x="1022966" y="776188"/>
                  <a:pt x="1022966" y="782134"/>
                </a:cubicBezTo>
                <a:cubicBezTo>
                  <a:pt x="1022966" y="788081"/>
                  <a:pt x="1018176" y="792872"/>
                  <a:pt x="1012229" y="792872"/>
                </a:cubicBezTo>
                <a:lnTo>
                  <a:pt x="1001822" y="782465"/>
                </a:lnTo>
                <a:lnTo>
                  <a:pt x="992243" y="792043"/>
                </a:lnTo>
                <a:lnTo>
                  <a:pt x="982994" y="782795"/>
                </a:lnTo>
                <a:lnTo>
                  <a:pt x="974899" y="790890"/>
                </a:lnTo>
                <a:cubicBezTo>
                  <a:pt x="968970" y="790890"/>
                  <a:pt x="964163" y="786083"/>
                  <a:pt x="964163" y="780152"/>
                </a:cubicBezTo>
                <a:cubicBezTo>
                  <a:pt x="964163" y="774223"/>
                  <a:pt x="968970" y="769416"/>
                  <a:pt x="974899" y="769416"/>
                </a:cubicBezTo>
                <a:close/>
                <a:moveTo>
                  <a:pt x="1216229" y="768920"/>
                </a:moveTo>
                <a:cubicBezTo>
                  <a:pt x="1222175" y="768920"/>
                  <a:pt x="1226965" y="773710"/>
                  <a:pt x="1226965" y="779656"/>
                </a:cubicBezTo>
                <a:cubicBezTo>
                  <a:pt x="1226965" y="785602"/>
                  <a:pt x="1222175" y="790392"/>
                  <a:pt x="1216229" y="790392"/>
                </a:cubicBezTo>
                <a:cubicBezTo>
                  <a:pt x="1210282" y="790392"/>
                  <a:pt x="1205492" y="785602"/>
                  <a:pt x="1205492" y="779656"/>
                </a:cubicBezTo>
                <a:cubicBezTo>
                  <a:pt x="1205492" y="773710"/>
                  <a:pt x="1210282" y="768920"/>
                  <a:pt x="1216229" y="768920"/>
                </a:cubicBezTo>
                <a:close/>
                <a:moveTo>
                  <a:pt x="2336654" y="766937"/>
                </a:moveTo>
                <a:cubicBezTo>
                  <a:pt x="2342600" y="766937"/>
                  <a:pt x="2347392" y="771727"/>
                  <a:pt x="2347392" y="777674"/>
                </a:cubicBezTo>
                <a:cubicBezTo>
                  <a:pt x="2347392" y="783620"/>
                  <a:pt x="2342600" y="788412"/>
                  <a:pt x="2336654" y="788412"/>
                </a:cubicBezTo>
                <a:cubicBezTo>
                  <a:pt x="2330707" y="788412"/>
                  <a:pt x="2325918" y="783620"/>
                  <a:pt x="2325918" y="777674"/>
                </a:cubicBezTo>
                <a:cubicBezTo>
                  <a:pt x="2325918" y="771727"/>
                  <a:pt x="2330707" y="766937"/>
                  <a:pt x="2336654" y="766937"/>
                </a:cubicBezTo>
                <a:close/>
                <a:moveTo>
                  <a:pt x="1306583" y="766608"/>
                </a:moveTo>
                <a:cubicBezTo>
                  <a:pt x="1312530" y="766608"/>
                  <a:pt x="1317321" y="771398"/>
                  <a:pt x="1317321" y="777344"/>
                </a:cubicBezTo>
                <a:cubicBezTo>
                  <a:pt x="1317321" y="783291"/>
                  <a:pt x="1312530" y="788081"/>
                  <a:pt x="1306583" y="788081"/>
                </a:cubicBezTo>
                <a:cubicBezTo>
                  <a:pt x="1300637" y="788081"/>
                  <a:pt x="1295847" y="783291"/>
                  <a:pt x="1295847" y="777344"/>
                </a:cubicBezTo>
                <a:cubicBezTo>
                  <a:pt x="1295847" y="771398"/>
                  <a:pt x="1300637" y="766608"/>
                  <a:pt x="1306583" y="766608"/>
                </a:cubicBezTo>
                <a:close/>
                <a:moveTo>
                  <a:pt x="956728" y="764955"/>
                </a:moveTo>
                <a:cubicBezTo>
                  <a:pt x="962675" y="764955"/>
                  <a:pt x="967465" y="769745"/>
                  <a:pt x="967465" y="775692"/>
                </a:cubicBezTo>
                <a:cubicBezTo>
                  <a:pt x="967465" y="781638"/>
                  <a:pt x="962675" y="786428"/>
                  <a:pt x="956728" y="786428"/>
                </a:cubicBezTo>
                <a:cubicBezTo>
                  <a:pt x="950782" y="786428"/>
                  <a:pt x="945992" y="781638"/>
                  <a:pt x="945992" y="775692"/>
                </a:cubicBezTo>
                <a:cubicBezTo>
                  <a:pt x="945992" y="769745"/>
                  <a:pt x="950782" y="764955"/>
                  <a:pt x="956728" y="764955"/>
                </a:cubicBezTo>
                <a:close/>
                <a:moveTo>
                  <a:pt x="3364411" y="758348"/>
                </a:moveTo>
                <a:cubicBezTo>
                  <a:pt x="3370358" y="758348"/>
                  <a:pt x="3375149" y="763138"/>
                  <a:pt x="3375149" y="769084"/>
                </a:cubicBezTo>
                <a:cubicBezTo>
                  <a:pt x="3375149" y="775031"/>
                  <a:pt x="3370358" y="779821"/>
                  <a:pt x="3364411" y="779821"/>
                </a:cubicBezTo>
                <a:cubicBezTo>
                  <a:pt x="3358464" y="779821"/>
                  <a:pt x="3353675" y="775031"/>
                  <a:pt x="3353675" y="769084"/>
                </a:cubicBezTo>
                <a:cubicBezTo>
                  <a:pt x="3353675" y="763138"/>
                  <a:pt x="3358464" y="758348"/>
                  <a:pt x="3364411" y="758348"/>
                </a:cubicBezTo>
                <a:close/>
                <a:moveTo>
                  <a:pt x="1089038" y="758183"/>
                </a:moveTo>
                <a:cubicBezTo>
                  <a:pt x="1094985" y="758183"/>
                  <a:pt x="1099776" y="762973"/>
                  <a:pt x="1099776" y="768920"/>
                </a:cubicBezTo>
                <a:cubicBezTo>
                  <a:pt x="1099776" y="774866"/>
                  <a:pt x="1094985" y="779656"/>
                  <a:pt x="1089038" y="779656"/>
                </a:cubicBezTo>
                <a:cubicBezTo>
                  <a:pt x="1083092" y="779656"/>
                  <a:pt x="1078302" y="774866"/>
                  <a:pt x="1078302" y="768920"/>
                </a:cubicBezTo>
                <a:cubicBezTo>
                  <a:pt x="1078302" y="762973"/>
                  <a:pt x="1083092" y="758183"/>
                  <a:pt x="1089038" y="758183"/>
                </a:cubicBezTo>
                <a:close/>
                <a:moveTo>
                  <a:pt x="1053194" y="751245"/>
                </a:moveTo>
                <a:cubicBezTo>
                  <a:pt x="1059141" y="751245"/>
                  <a:pt x="1063932" y="756035"/>
                  <a:pt x="1063932" y="761981"/>
                </a:cubicBezTo>
                <a:cubicBezTo>
                  <a:pt x="1063932" y="767928"/>
                  <a:pt x="1059141" y="772717"/>
                  <a:pt x="1053194" y="772717"/>
                </a:cubicBezTo>
                <a:cubicBezTo>
                  <a:pt x="1047248" y="772717"/>
                  <a:pt x="1042458" y="767928"/>
                  <a:pt x="1042458" y="761981"/>
                </a:cubicBezTo>
                <a:cubicBezTo>
                  <a:pt x="1042458" y="756035"/>
                  <a:pt x="1047248" y="751245"/>
                  <a:pt x="1053194" y="751245"/>
                </a:cubicBezTo>
                <a:close/>
                <a:moveTo>
                  <a:pt x="1027426" y="750254"/>
                </a:moveTo>
                <a:cubicBezTo>
                  <a:pt x="1033372" y="750254"/>
                  <a:pt x="1038162" y="755044"/>
                  <a:pt x="1038162" y="760991"/>
                </a:cubicBezTo>
                <a:cubicBezTo>
                  <a:pt x="1038162" y="766937"/>
                  <a:pt x="1033372" y="771727"/>
                  <a:pt x="1027426" y="771727"/>
                </a:cubicBezTo>
                <a:lnTo>
                  <a:pt x="1017682" y="761983"/>
                </a:lnTo>
                <a:lnTo>
                  <a:pt x="1006944" y="772719"/>
                </a:lnTo>
                <a:lnTo>
                  <a:pt x="997118" y="762892"/>
                </a:lnTo>
                <a:lnTo>
                  <a:pt x="988114" y="771894"/>
                </a:lnTo>
                <a:cubicBezTo>
                  <a:pt x="982167" y="771894"/>
                  <a:pt x="977377" y="767102"/>
                  <a:pt x="977377" y="761156"/>
                </a:cubicBezTo>
                <a:cubicBezTo>
                  <a:pt x="977377" y="755209"/>
                  <a:pt x="982167" y="750419"/>
                  <a:pt x="988114" y="750419"/>
                </a:cubicBezTo>
                <a:lnTo>
                  <a:pt x="997943" y="760247"/>
                </a:lnTo>
                <a:lnTo>
                  <a:pt x="1006944" y="751245"/>
                </a:lnTo>
                <a:lnTo>
                  <a:pt x="1016690" y="760991"/>
                </a:lnTo>
                <a:close/>
                <a:moveTo>
                  <a:pt x="2504478" y="749923"/>
                </a:moveTo>
                <a:cubicBezTo>
                  <a:pt x="2510424" y="749923"/>
                  <a:pt x="2515216" y="754713"/>
                  <a:pt x="2515216" y="760660"/>
                </a:cubicBezTo>
                <a:cubicBezTo>
                  <a:pt x="2515216" y="766606"/>
                  <a:pt x="2510424" y="771396"/>
                  <a:pt x="2504478" y="771396"/>
                </a:cubicBezTo>
                <a:cubicBezTo>
                  <a:pt x="2498532" y="771396"/>
                  <a:pt x="2493742" y="766606"/>
                  <a:pt x="2493742" y="760660"/>
                </a:cubicBezTo>
                <a:cubicBezTo>
                  <a:pt x="2493742" y="754713"/>
                  <a:pt x="2498532" y="749923"/>
                  <a:pt x="2504478" y="749923"/>
                </a:cubicBezTo>
                <a:close/>
                <a:moveTo>
                  <a:pt x="1664532" y="745630"/>
                </a:moveTo>
                <a:cubicBezTo>
                  <a:pt x="1670478" y="745630"/>
                  <a:pt x="1675268" y="750419"/>
                  <a:pt x="1675268" y="756366"/>
                </a:cubicBezTo>
                <a:cubicBezTo>
                  <a:pt x="1675268" y="762312"/>
                  <a:pt x="1670478" y="767102"/>
                  <a:pt x="1664532" y="767102"/>
                </a:cubicBezTo>
                <a:cubicBezTo>
                  <a:pt x="1658585" y="767102"/>
                  <a:pt x="1653795" y="762312"/>
                  <a:pt x="1653795" y="756366"/>
                </a:cubicBezTo>
                <a:cubicBezTo>
                  <a:pt x="1653795" y="750419"/>
                  <a:pt x="1658585" y="745630"/>
                  <a:pt x="1664532" y="745630"/>
                </a:cubicBezTo>
                <a:close/>
                <a:moveTo>
                  <a:pt x="967466" y="745463"/>
                </a:moveTo>
                <a:cubicBezTo>
                  <a:pt x="973246" y="745463"/>
                  <a:pt x="977873" y="750088"/>
                  <a:pt x="977873" y="755870"/>
                </a:cubicBezTo>
                <a:cubicBezTo>
                  <a:pt x="977873" y="761650"/>
                  <a:pt x="973246" y="766277"/>
                  <a:pt x="967466" y="766277"/>
                </a:cubicBezTo>
                <a:cubicBezTo>
                  <a:pt x="961685" y="766277"/>
                  <a:pt x="957060" y="761650"/>
                  <a:pt x="957060" y="755870"/>
                </a:cubicBezTo>
                <a:cubicBezTo>
                  <a:pt x="957060" y="750088"/>
                  <a:pt x="961685" y="745463"/>
                  <a:pt x="967466" y="745463"/>
                </a:cubicBezTo>
                <a:close/>
                <a:moveTo>
                  <a:pt x="3194770" y="743977"/>
                </a:moveTo>
                <a:cubicBezTo>
                  <a:pt x="3200716" y="743977"/>
                  <a:pt x="3205508" y="748767"/>
                  <a:pt x="3205508" y="754713"/>
                </a:cubicBezTo>
                <a:cubicBezTo>
                  <a:pt x="3205508" y="760660"/>
                  <a:pt x="3200716" y="765451"/>
                  <a:pt x="3194770" y="765451"/>
                </a:cubicBezTo>
                <a:cubicBezTo>
                  <a:pt x="3188823" y="765451"/>
                  <a:pt x="3184033" y="760660"/>
                  <a:pt x="3184033" y="754713"/>
                </a:cubicBezTo>
                <a:cubicBezTo>
                  <a:pt x="3184033" y="748767"/>
                  <a:pt x="3188823" y="743977"/>
                  <a:pt x="3194770" y="743977"/>
                </a:cubicBezTo>
                <a:close/>
                <a:moveTo>
                  <a:pt x="1148670" y="742820"/>
                </a:moveTo>
                <a:cubicBezTo>
                  <a:pt x="1154616" y="742820"/>
                  <a:pt x="1159408" y="747610"/>
                  <a:pt x="1159408" y="753556"/>
                </a:cubicBezTo>
                <a:cubicBezTo>
                  <a:pt x="1159408" y="759503"/>
                  <a:pt x="1154616" y="764293"/>
                  <a:pt x="1148670" y="764293"/>
                </a:cubicBezTo>
                <a:cubicBezTo>
                  <a:pt x="1142723" y="764293"/>
                  <a:pt x="1137934" y="759503"/>
                  <a:pt x="1137934" y="753556"/>
                </a:cubicBezTo>
                <a:cubicBezTo>
                  <a:pt x="1137934" y="747610"/>
                  <a:pt x="1142723" y="742820"/>
                  <a:pt x="1148670" y="742820"/>
                </a:cubicBezTo>
                <a:close/>
                <a:moveTo>
                  <a:pt x="1971108" y="741004"/>
                </a:moveTo>
                <a:cubicBezTo>
                  <a:pt x="1977055" y="741004"/>
                  <a:pt x="1981846" y="745794"/>
                  <a:pt x="1981846" y="751741"/>
                </a:cubicBezTo>
                <a:cubicBezTo>
                  <a:pt x="1981846" y="757687"/>
                  <a:pt x="1977055" y="762479"/>
                  <a:pt x="1971108" y="762479"/>
                </a:cubicBezTo>
                <a:cubicBezTo>
                  <a:pt x="1965162" y="762479"/>
                  <a:pt x="1960372" y="757687"/>
                  <a:pt x="1960372" y="751741"/>
                </a:cubicBezTo>
                <a:cubicBezTo>
                  <a:pt x="1960372" y="745794"/>
                  <a:pt x="1965162" y="741004"/>
                  <a:pt x="1971108" y="741004"/>
                </a:cubicBezTo>
                <a:close/>
                <a:moveTo>
                  <a:pt x="2675771" y="738857"/>
                </a:moveTo>
                <a:cubicBezTo>
                  <a:pt x="2681717" y="738857"/>
                  <a:pt x="2686509" y="743647"/>
                  <a:pt x="2686509" y="749594"/>
                </a:cubicBezTo>
                <a:cubicBezTo>
                  <a:pt x="2686509" y="755540"/>
                  <a:pt x="2681717" y="760330"/>
                  <a:pt x="2675771" y="760330"/>
                </a:cubicBezTo>
                <a:cubicBezTo>
                  <a:pt x="2669824" y="760330"/>
                  <a:pt x="2665034" y="755540"/>
                  <a:pt x="2665034" y="749594"/>
                </a:cubicBezTo>
                <a:cubicBezTo>
                  <a:pt x="2665034" y="743647"/>
                  <a:pt x="2669824" y="738857"/>
                  <a:pt x="2675771" y="738857"/>
                </a:cubicBezTo>
                <a:close/>
                <a:moveTo>
                  <a:pt x="3022487" y="735883"/>
                </a:moveTo>
                <a:cubicBezTo>
                  <a:pt x="3028418" y="735883"/>
                  <a:pt x="3033225" y="740691"/>
                  <a:pt x="3033225" y="746620"/>
                </a:cubicBezTo>
                <a:cubicBezTo>
                  <a:pt x="3033225" y="752551"/>
                  <a:pt x="3028418" y="757358"/>
                  <a:pt x="3022487" y="757358"/>
                </a:cubicBezTo>
                <a:cubicBezTo>
                  <a:pt x="3016558" y="757358"/>
                  <a:pt x="3011750" y="752551"/>
                  <a:pt x="3011750" y="746620"/>
                </a:cubicBezTo>
                <a:cubicBezTo>
                  <a:pt x="3011750" y="740691"/>
                  <a:pt x="3016558" y="735883"/>
                  <a:pt x="3022487" y="735883"/>
                </a:cubicBezTo>
                <a:close/>
                <a:moveTo>
                  <a:pt x="976881" y="735719"/>
                </a:moveTo>
                <a:cubicBezTo>
                  <a:pt x="977046" y="735719"/>
                  <a:pt x="977211" y="735883"/>
                  <a:pt x="977211" y="736050"/>
                </a:cubicBezTo>
                <a:cubicBezTo>
                  <a:pt x="977211" y="736214"/>
                  <a:pt x="976881" y="736379"/>
                  <a:pt x="976881" y="736379"/>
                </a:cubicBezTo>
                <a:cubicBezTo>
                  <a:pt x="976715" y="736379"/>
                  <a:pt x="976550" y="736214"/>
                  <a:pt x="976550" y="736050"/>
                </a:cubicBezTo>
                <a:cubicBezTo>
                  <a:pt x="976550" y="735883"/>
                  <a:pt x="976715" y="735719"/>
                  <a:pt x="976881" y="735719"/>
                </a:cubicBezTo>
                <a:close/>
                <a:moveTo>
                  <a:pt x="2849046" y="734231"/>
                </a:moveTo>
                <a:cubicBezTo>
                  <a:pt x="2854992" y="734231"/>
                  <a:pt x="2859784" y="739020"/>
                  <a:pt x="2859784" y="744967"/>
                </a:cubicBezTo>
                <a:cubicBezTo>
                  <a:pt x="2859784" y="750913"/>
                  <a:pt x="2854992" y="755705"/>
                  <a:pt x="2849046" y="755705"/>
                </a:cubicBezTo>
                <a:cubicBezTo>
                  <a:pt x="2843099" y="755705"/>
                  <a:pt x="2838309" y="750913"/>
                  <a:pt x="2838309" y="744967"/>
                </a:cubicBezTo>
                <a:cubicBezTo>
                  <a:pt x="2838309" y="739020"/>
                  <a:pt x="2843099" y="734231"/>
                  <a:pt x="2849046" y="734231"/>
                </a:cubicBezTo>
                <a:close/>
                <a:moveTo>
                  <a:pt x="1020819" y="732911"/>
                </a:moveTo>
                <a:cubicBezTo>
                  <a:pt x="1026765" y="732911"/>
                  <a:pt x="1031555" y="737701"/>
                  <a:pt x="1031555" y="743647"/>
                </a:cubicBezTo>
                <a:cubicBezTo>
                  <a:pt x="1031555" y="749594"/>
                  <a:pt x="1026765" y="754384"/>
                  <a:pt x="1020819" y="754384"/>
                </a:cubicBezTo>
                <a:cubicBezTo>
                  <a:pt x="1014872" y="754384"/>
                  <a:pt x="1010082" y="749594"/>
                  <a:pt x="1010082" y="743647"/>
                </a:cubicBezTo>
                <a:cubicBezTo>
                  <a:pt x="1010082" y="737701"/>
                  <a:pt x="1014872" y="732911"/>
                  <a:pt x="1020819" y="732911"/>
                </a:cubicBezTo>
                <a:close/>
                <a:moveTo>
                  <a:pt x="1000007" y="731919"/>
                </a:moveTo>
                <a:cubicBezTo>
                  <a:pt x="1005953" y="731919"/>
                  <a:pt x="1010743" y="736709"/>
                  <a:pt x="1010743" y="742655"/>
                </a:cubicBezTo>
                <a:cubicBezTo>
                  <a:pt x="1010743" y="748602"/>
                  <a:pt x="1005953" y="753392"/>
                  <a:pt x="1000007" y="753392"/>
                </a:cubicBezTo>
                <a:cubicBezTo>
                  <a:pt x="994060" y="753392"/>
                  <a:pt x="989270" y="748602"/>
                  <a:pt x="989270" y="742655"/>
                </a:cubicBezTo>
                <a:cubicBezTo>
                  <a:pt x="989270" y="736709"/>
                  <a:pt x="994060" y="731919"/>
                  <a:pt x="1000007" y="731919"/>
                </a:cubicBezTo>
                <a:close/>
                <a:moveTo>
                  <a:pt x="1101098" y="731423"/>
                </a:moveTo>
                <a:cubicBezTo>
                  <a:pt x="1107044" y="731423"/>
                  <a:pt x="1111834" y="736213"/>
                  <a:pt x="1111834" y="742159"/>
                </a:cubicBezTo>
                <a:cubicBezTo>
                  <a:pt x="1111834" y="748106"/>
                  <a:pt x="1107044" y="752896"/>
                  <a:pt x="1101098" y="752896"/>
                </a:cubicBezTo>
                <a:cubicBezTo>
                  <a:pt x="1095151" y="752896"/>
                  <a:pt x="1090361" y="748106"/>
                  <a:pt x="1090361" y="742159"/>
                </a:cubicBezTo>
                <a:cubicBezTo>
                  <a:pt x="1090361" y="736213"/>
                  <a:pt x="1095151" y="731423"/>
                  <a:pt x="1101098" y="731423"/>
                </a:cubicBezTo>
                <a:close/>
                <a:moveTo>
                  <a:pt x="1041962" y="730929"/>
                </a:moveTo>
                <a:cubicBezTo>
                  <a:pt x="1047908" y="730929"/>
                  <a:pt x="1052698" y="735719"/>
                  <a:pt x="1052698" y="741665"/>
                </a:cubicBezTo>
                <a:cubicBezTo>
                  <a:pt x="1052698" y="747612"/>
                  <a:pt x="1047908" y="752401"/>
                  <a:pt x="1041962" y="752401"/>
                </a:cubicBezTo>
                <a:cubicBezTo>
                  <a:pt x="1036015" y="752401"/>
                  <a:pt x="1031226" y="747612"/>
                  <a:pt x="1031226" y="741665"/>
                </a:cubicBezTo>
                <a:cubicBezTo>
                  <a:pt x="1031226" y="735719"/>
                  <a:pt x="1036015" y="730929"/>
                  <a:pt x="1041962" y="730929"/>
                </a:cubicBezTo>
                <a:close/>
                <a:moveTo>
                  <a:pt x="1219862" y="730762"/>
                </a:moveTo>
                <a:cubicBezTo>
                  <a:pt x="1225808" y="730762"/>
                  <a:pt x="1230600" y="735552"/>
                  <a:pt x="1230600" y="741499"/>
                </a:cubicBezTo>
                <a:cubicBezTo>
                  <a:pt x="1230600" y="747445"/>
                  <a:pt x="1225808" y="752235"/>
                  <a:pt x="1219862" y="752235"/>
                </a:cubicBezTo>
                <a:cubicBezTo>
                  <a:pt x="1213915" y="752235"/>
                  <a:pt x="1209125" y="747445"/>
                  <a:pt x="1209125" y="741499"/>
                </a:cubicBezTo>
                <a:cubicBezTo>
                  <a:pt x="1209125" y="735552"/>
                  <a:pt x="1213915" y="730762"/>
                  <a:pt x="1219862" y="730762"/>
                </a:cubicBezTo>
                <a:close/>
                <a:moveTo>
                  <a:pt x="1067234" y="729111"/>
                </a:moveTo>
                <a:cubicBezTo>
                  <a:pt x="1073181" y="729111"/>
                  <a:pt x="1077972" y="733901"/>
                  <a:pt x="1077972" y="739848"/>
                </a:cubicBezTo>
                <a:cubicBezTo>
                  <a:pt x="1077972" y="745794"/>
                  <a:pt x="1073181" y="750584"/>
                  <a:pt x="1067234" y="750584"/>
                </a:cubicBezTo>
                <a:cubicBezTo>
                  <a:pt x="1061288" y="750584"/>
                  <a:pt x="1056498" y="745794"/>
                  <a:pt x="1056498" y="739848"/>
                </a:cubicBezTo>
                <a:cubicBezTo>
                  <a:pt x="1056498" y="733901"/>
                  <a:pt x="1061288" y="729111"/>
                  <a:pt x="1067234" y="729111"/>
                </a:cubicBezTo>
                <a:close/>
                <a:moveTo>
                  <a:pt x="1524787" y="728945"/>
                </a:moveTo>
                <a:cubicBezTo>
                  <a:pt x="1530734" y="728945"/>
                  <a:pt x="1535524" y="733735"/>
                  <a:pt x="1535524" y="739681"/>
                </a:cubicBezTo>
                <a:cubicBezTo>
                  <a:pt x="1535524" y="745628"/>
                  <a:pt x="1530734" y="750417"/>
                  <a:pt x="1524787" y="750417"/>
                </a:cubicBezTo>
                <a:cubicBezTo>
                  <a:pt x="1518841" y="750417"/>
                  <a:pt x="1514051" y="745628"/>
                  <a:pt x="1514051" y="739681"/>
                </a:cubicBezTo>
                <a:cubicBezTo>
                  <a:pt x="1514051" y="733735"/>
                  <a:pt x="1518841" y="728945"/>
                  <a:pt x="1524787" y="728945"/>
                </a:cubicBezTo>
                <a:close/>
                <a:moveTo>
                  <a:pt x="1304766" y="723329"/>
                </a:moveTo>
                <a:cubicBezTo>
                  <a:pt x="1310712" y="723329"/>
                  <a:pt x="1315504" y="728119"/>
                  <a:pt x="1315504" y="734066"/>
                </a:cubicBezTo>
                <a:cubicBezTo>
                  <a:pt x="1315504" y="740013"/>
                  <a:pt x="1310712" y="744804"/>
                  <a:pt x="1304766" y="744804"/>
                </a:cubicBezTo>
                <a:cubicBezTo>
                  <a:pt x="1298819" y="744804"/>
                  <a:pt x="1294030" y="740013"/>
                  <a:pt x="1294030" y="734066"/>
                </a:cubicBezTo>
                <a:cubicBezTo>
                  <a:pt x="1294030" y="728119"/>
                  <a:pt x="1298819" y="723329"/>
                  <a:pt x="1304766" y="723329"/>
                </a:cubicBezTo>
                <a:close/>
                <a:moveTo>
                  <a:pt x="1405692" y="722173"/>
                </a:moveTo>
                <a:cubicBezTo>
                  <a:pt x="1411638" y="722173"/>
                  <a:pt x="1416430" y="726963"/>
                  <a:pt x="1416430" y="732909"/>
                </a:cubicBezTo>
                <a:cubicBezTo>
                  <a:pt x="1416430" y="738856"/>
                  <a:pt x="1411638" y="743646"/>
                  <a:pt x="1405692" y="743646"/>
                </a:cubicBezTo>
                <a:cubicBezTo>
                  <a:pt x="1399746" y="743646"/>
                  <a:pt x="1394956" y="738856"/>
                  <a:pt x="1394956" y="732909"/>
                </a:cubicBezTo>
                <a:cubicBezTo>
                  <a:pt x="1394956" y="726963"/>
                  <a:pt x="1399746" y="722173"/>
                  <a:pt x="1405692" y="722173"/>
                </a:cubicBezTo>
                <a:close/>
                <a:moveTo>
                  <a:pt x="1033537" y="715401"/>
                </a:moveTo>
                <a:cubicBezTo>
                  <a:pt x="1039484" y="715401"/>
                  <a:pt x="1044275" y="720191"/>
                  <a:pt x="1044275" y="726137"/>
                </a:cubicBezTo>
                <a:cubicBezTo>
                  <a:pt x="1044275" y="732084"/>
                  <a:pt x="1039484" y="736873"/>
                  <a:pt x="1033537" y="736873"/>
                </a:cubicBezTo>
                <a:cubicBezTo>
                  <a:pt x="1027591" y="736873"/>
                  <a:pt x="1022801" y="732084"/>
                  <a:pt x="1022801" y="726137"/>
                </a:cubicBezTo>
                <a:cubicBezTo>
                  <a:pt x="1022801" y="720191"/>
                  <a:pt x="1027591" y="715401"/>
                  <a:pt x="1033537" y="715401"/>
                </a:cubicBezTo>
                <a:close/>
                <a:moveTo>
                  <a:pt x="1010743" y="713419"/>
                </a:moveTo>
                <a:cubicBezTo>
                  <a:pt x="1016690" y="713419"/>
                  <a:pt x="1021479" y="718209"/>
                  <a:pt x="1021479" y="724155"/>
                </a:cubicBezTo>
                <a:cubicBezTo>
                  <a:pt x="1021479" y="730101"/>
                  <a:pt x="1016690" y="734891"/>
                  <a:pt x="1010743" y="734891"/>
                </a:cubicBezTo>
                <a:cubicBezTo>
                  <a:pt x="1004797" y="734891"/>
                  <a:pt x="1000007" y="730101"/>
                  <a:pt x="1000007" y="724155"/>
                </a:cubicBezTo>
                <a:cubicBezTo>
                  <a:pt x="1000007" y="718209"/>
                  <a:pt x="1004797" y="713419"/>
                  <a:pt x="1010743" y="713419"/>
                </a:cubicBezTo>
                <a:close/>
                <a:moveTo>
                  <a:pt x="1157755" y="713254"/>
                </a:moveTo>
                <a:cubicBezTo>
                  <a:pt x="1163702" y="713254"/>
                  <a:pt x="1168492" y="718044"/>
                  <a:pt x="1168492" y="723990"/>
                </a:cubicBezTo>
                <a:cubicBezTo>
                  <a:pt x="1168492" y="729937"/>
                  <a:pt x="1163702" y="734728"/>
                  <a:pt x="1157755" y="734728"/>
                </a:cubicBezTo>
                <a:cubicBezTo>
                  <a:pt x="1151809" y="734728"/>
                  <a:pt x="1147019" y="729937"/>
                  <a:pt x="1147019" y="723990"/>
                </a:cubicBezTo>
                <a:cubicBezTo>
                  <a:pt x="1147019" y="718044"/>
                  <a:pt x="1151809" y="713254"/>
                  <a:pt x="1157755" y="713254"/>
                </a:cubicBezTo>
                <a:close/>
                <a:moveTo>
                  <a:pt x="1055837" y="712923"/>
                </a:moveTo>
                <a:cubicBezTo>
                  <a:pt x="1061784" y="712923"/>
                  <a:pt x="1066574" y="717712"/>
                  <a:pt x="1066574" y="723659"/>
                </a:cubicBezTo>
                <a:cubicBezTo>
                  <a:pt x="1066574" y="729606"/>
                  <a:pt x="1061784" y="734396"/>
                  <a:pt x="1055837" y="734396"/>
                </a:cubicBezTo>
                <a:cubicBezTo>
                  <a:pt x="1049891" y="734396"/>
                  <a:pt x="1045101" y="729606"/>
                  <a:pt x="1045101" y="723659"/>
                </a:cubicBezTo>
                <a:cubicBezTo>
                  <a:pt x="1045101" y="717712"/>
                  <a:pt x="1049891" y="712923"/>
                  <a:pt x="1055837" y="712923"/>
                </a:cubicBezTo>
                <a:close/>
                <a:moveTo>
                  <a:pt x="2120926" y="711932"/>
                </a:moveTo>
                <a:cubicBezTo>
                  <a:pt x="2126873" y="711932"/>
                  <a:pt x="2131664" y="716722"/>
                  <a:pt x="2131664" y="722669"/>
                </a:cubicBezTo>
                <a:cubicBezTo>
                  <a:pt x="2131664" y="728615"/>
                  <a:pt x="2126873" y="733405"/>
                  <a:pt x="2120926" y="733405"/>
                </a:cubicBezTo>
                <a:cubicBezTo>
                  <a:pt x="2114980" y="733405"/>
                  <a:pt x="2110190" y="728615"/>
                  <a:pt x="2110190" y="722669"/>
                </a:cubicBezTo>
                <a:cubicBezTo>
                  <a:pt x="2110190" y="716722"/>
                  <a:pt x="2114980" y="711932"/>
                  <a:pt x="2120926" y="711932"/>
                </a:cubicBezTo>
                <a:close/>
                <a:moveTo>
                  <a:pt x="1081111" y="709290"/>
                </a:moveTo>
                <a:cubicBezTo>
                  <a:pt x="1087058" y="709290"/>
                  <a:pt x="1091848" y="714079"/>
                  <a:pt x="1091848" y="720026"/>
                </a:cubicBezTo>
                <a:cubicBezTo>
                  <a:pt x="1091848" y="725973"/>
                  <a:pt x="1087058" y="730762"/>
                  <a:pt x="1081111" y="730762"/>
                </a:cubicBezTo>
                <a:cubicBezTo>
                  <a:pt x="1075165" y="730762"/>
                  <a:pt x="1070375" y="725973"/>
                  <a:pt x="1070375" y="720026"/>
                </a:cubicBezTo>
                <a:cubicBezTo>
                  <a:pt x="1070375" y="714079"/>
                  <a:pt x="1075165" y="709290"/>
                  <a:pt x="1081111" y="709290"/>
                </a:cubicBezTo>
                <a:close/>
                <a:moveTo>
                  <a:pt x="1794528" y="708133"/>
                </a:moveTo>
                <a:cubicBezTo>
                  <a:pt x="1800474" y="708133"/>
                  <a:pt x="1805266" y="712923"/>
                  <a:pt x="1805266" y="718869"/>
                </a:cubicBezTo>
                <a:cubicBezTo>
                  <a:pt x="1805266" y="724816"/>
                  <a:pt x="1800474" y="729606"/>
                  <a:pt x="1794528" y="729606"/>
                </a:cubicBezTo>
                <a:cubicBezTo>
                  <a:pt x="1788581" y="729606"/>
                  <a:pt x="1783792" y="724816"/>
                  <a:pt x="1783792" y="718869"/>
                </a:cubicBezTo>
                <a:cubicBezTo>
                  <a:pt x="1783792" y="712923"/>
                  <a:pt x="1788581" y="708133"/>
                  <a:pt x="1794528" y="708133"/>
                </a:cubicBezTo>
                <a:close/>
                <a:moveTo>
                  <a:pt x="1113487" y="707803"/>
                </a:moveTo>
                <a:cubicBezTo>
                  <a:pt x="1119433" y="707803"/>
                  <a:pt x="1124223" y="712593"/>
                  <a:pt x="1124223" y="718540"/>
                </a:cubicBezTo>
                <a:cubicBezTo>
                  <a:pt x="1124223" y="724486"/>
                  <a:pt x="1119433" y="729276"/>
                  <a:pt x="1113487" y="729276"/>
                </a:cubicBezTo>
                <a:cubicBezTo>
                  <a:pt x="1107540" y="729276"/>
                  <a:pt x="1102750" y="724486"/>
                  <a:pt x="1102750" y="718540"/>
                </a:cubicBezTo>
                <a:cubicBezTo>
                  <a:pt x="1102750" y="712593"/>
                  <a:pt x="1107540" y="707803"/>
                  <a:pt x="1113487" y="707803"/>
                </a:cubicBezTo>
                <a:close/>
                <a:moveTo>
                  <a:pt x="1045101" y="698222"/>
                </a:moveTo>
                <a:cubicBezTo>
                  <a:pt x="1051047" y="698222"/>
                  <a:pt x="1055837" y="703012"/>
                  <a:pt x="1055837" y="708958"/>
                </a:cubicBezTo>
                <a:cubicBezTo>
                  <a:pt x="1055837" y="714905"/>
                  <a:pt x="1051047" y="719696"/>
                  <a:pt x="1045101" y="719696"/>
                </a:cubicBezTo>
                <a:cubicBezTo>
                  <a:pt x="1039154" y="719696"/>
                  <a:pt x="1034364" y="714905"/>
                  <a:pt x="1034364" y="708958"/>
                </a:cubicBezTo>
                <a:cubicBezTo>
                  <a:pt x="1034364" y="703012"/>
                  <a:pt x="1039154" y="698222"/>
                  <a:pt x="1045101" y="698222"/>
                </a:cubicBezTo>
                <a:close/>
                <a:moveTo>
                  <a:pt x="1020158" y="698222"/>
                </a:moveTo>
                <a:cubicBezTo>
                  <a:pt x="1024263" y="698222"/>
                  <a:pt x="1027591" y="701550"/>
                  <a:pt x="1027591" y="705655"/>
                </a:cubicBezTo>
                <a:cubicBezTo>
                  <a:pt x="1027591" y="709759"/>
                  <a:pt x="1024263" y="713087"/>
                  <a:pt x="1020158" y="713087"/>
                </a:cubicBezTo>
                <a:cubicBezTo>
                  <a:pt x="1016053" y="713087"/>
                  <a:pt x="1012725" y="709759"/>
                  <a:pt x="1012725" y="705655"/>
                </a:cubicBezTo>
                <a:cubicBezTo>
                  <a:pt x="1012725" y="701550"/>
                  <a:pt x="1016053" y="698222"/>
                  <a:pt x="1020158" y="698222"/>
                </a:cubicBezTo>
                <a:close/>
                <a:moveTo>
                  <a:pt x="1224983" y="697561"/>
                </a:moveTo>
                <a:cubicBezTo>
                  <a:pt x="1230929" y="697561"/>
                  <a:pt x="1235719" y="702351"/>
                  <a:pt x="1235719" y="708298"/>
                </a:cubicBezTo>
                <a:cubicBezTo>
                  <a:pt x="1235719" y="714244"/>
                  <a:pt x="1230929" y="719034"/>
                  <a:pt x="1224983" y="719034"/>
                </a:cubicBezTo>
                <a:cubicBezTo>
                  <a:pt x="1219036" y="719034"/>
                  <a:pt x="1214246" y="714244"/>
                  <a:pt x="1214246" y="708298"/>
                </a:cubicBezTo>
                <a:cubicBezTo>
                  <a:pt x="1214246" y="702351"/>
                  <a:pt x="1219036" y="697561"/>
                  <a:pt x="1224983" y="697561"/>
                </a:cubicBezTo>
                <a:close/>
                <a:moveTo>
                  <a:pt x="1068887" y="695909"/>
                </a:moveTo>
                <a:cubicBezTo>
                  <a:pt x="1074834" y="695909"/>
                  <a:pt x="1079625" y="700698"/>
                  <a:pt x="1079625" y="706645"/>
                </a:cubicBezTo>
                <a:cubicBezTo>
                  <a:pt x="1079625" y="712592"/>
                  <a:pt x="1074834" y="717381"/>
                  <a:pt x="1068887" y="717381"/>
                </a:cubicBezTo>
                <a:cubicBezTo>
                  <a:pt x="1062940" y="717381"/>
                  <a:pt x="1058151" y="712592"/>
                  <a:pt x="1058151" y="706645"/>
                </a:cubicBezTo>
                <a:cubicBezTo>
                  <a:pt x="1058151" y="700698"/>
                  <a:pt x="1062940" y="695909"/>
                  <a:pt x="1068887" y="695909"/>
                </a:cubicBezTo>
                <a:close/>
                <a:moveTo>
                  <a:pt x="1094490" y="691119"/>
                </a:moveTo>
                <a:cubicBezTo>
                  <a:pt x="1100437" y="691119"/>
                  <a:pt x="1105228" y="695909"/>
                  <a:pt x="1105228" y="701855"/>
                </a:cubicBezTo>
                <a:cubicBezTo>
                  <a:pt x="1105228" y="707802"/>
                  <a:pt x="1100437" y="712592"/>
                  <a:pt x="1094490" y="712592"/>
                </a:cubicBezTo>
                <a:cubicBezTo>
                  <a:pt x="1088544" y="712592"/>
                  <a:pt x="1083754" y="707802"/>
                  <a:pt x="1083754" y="701855"/>
                </a:cubicBezTo>
                <a:cubicBezTo>
                  <a:pt x="1083754" y="695909"/>
                  <a:pt x="1088544" y="691119"/>
                  <a:pt x="1094490" y="691119"/>
                </a:cubicBezTo>
                <a:close/>
                <a:moveTo>
                  <a:pt x="1641900" y="688311"/>
                </a:moveTo>
                <a:cubicBezTo>
                  <a:pt x="1647847" y="688311"/>
                  <a:pt x="1652638" y="693101"/>
                  <a:pt x="1652638" y="699048"/>
                </a:cubicBezTo>
                <a:cubicBezTo>
                  <a:pt x="1652638" y="704994"/>
                  <a:pt x="1647847" y="709784"/>
                  <a:pt x="1641900" y="709784"/>
                </a:cubicBezTo>
                <a:cubicBezTo>
                  <a:pt x="1635954" y="709784"/>
                  <a:pt x="1631164" y="704994"/>
                  <a:pt x="1631164" y="699048"/>
                </a:cubicBezTo>
                <a:cubicBezTo>
                  <a:pt x="1631164" y="693101"/>
                  <a:pt x="1635954" y="688311"/>
                  <a:pt x="1641900" y="688311"/>
                </a:cubicBezTo>
                <a:close/>
                <a:moveTo>
                  <a:pt x="2276528" y="687486"/>
                </a:moveTo>
                <a:cubicBezTo>
                  <a:pt x="2282474" y="687486"/>
                  <a:pt x="2287266" y="692275"/>
                  <a:pt x="2287266" y="698222"/>
                </a:cubicBezTo>
                <a:cubicBezTo>
                  <a:pt x="2287266" y="704169"/>
                  <a:pt x="2282474" y="708958"/>
                  <a:pt x="2276528" y="708958"/>
                </a:cubicBezTo>
                <a:cubicBezTo>
                  <a:pt x="2270581" y="708958"/>
                  <a:pt x="2265792" y="704169"/>
                  <a:pt x="2265792" y="698222"/>
                </a:cubicBezTo>
                <a:cubicBezTo>
                  <a:pt x="2265792" y="692275"/>
                  <a:pt x="2270581" y="687486"/>
                  <a:pt x="2276528" y="687486"/>
                </a:cubicBezTo>
                <a:close/>
                <a:moveTo>
                  <a:pt x="1167500" y="687319"/>
                </a:moveTo>
                <a:cubicBezTo>
                  <a:pt x="1173446" y="687319"/>
                  <a:pt x="1178238" y="692109"/>
                  <a:pt x="1178238" y="698055"/>
                </a:cubicBezTo>
                <a:cubicBezTo>
                  <a:pt x="1178238" y="704002"/>
                  <a:pt x="1173446" y="708794"/>
                  <a:pt x="1167500" y="708794"/>
                </a:cubicBezTo>
                <a:cubicBezTo>
                  <a:pt x="1161553" y="708794"/>
                  <a:pt x="1156763" y="704002"/>
                  <a:pt x="1156763" y="698055"/>
                </a:cubicBezTo>
                <a:cubicBezTo>
                  <a:pt x="1156763" y="692109"/>
                  <a:pt x="1161553" y="687319"/>
                  <a:pt x="1167500" y="687319"/>
                </a:cubicBezTo>
                <a:close/>
                <a:moveTo>
                  <a:pt x="1125709" y="686825"/>
                </a:moveTo>
                <a:cubicBezTo>
                  <a:pt x="1131656" y="686825"/>
                  <a:pt x="1136447" y="691615"/>
                  <a:pt x="1136447" y="697561"/>
                </a:cubicBezTo>
                <a:cubicBezTo>
                  <a:pt x="1136447" y="703508"/>
                  <a:pt x="1131656" y="708298"/>
                  <a:pt x="1125709" y="708298"/>
                </a:cubicBezTo>
                <a:cubicBezTo>
                  <a:pt x="1119763" y="708298"/>
                  <a:pt x="1114973" y="703508"/>
                  <a:pt x="1114973" y="697561"/>
                </a:cubicBezTo>
                <a:cubicBezTo>
                  <a:pt x="1114973" y="691615"/>
                  <a:pt x="1119763" y="686825"/>
                  <a:pt x="1125709" y="686825"/>
                </a:cubicBezTo>
                <a:close/>
                <a:moveTo>
                  <a:pt x="1304766" y="685668"/>
                </a:moveTo>
                <a:cubicBezTo>
                  <a:pt x="1310712" y="685668"/>
                  <a:pt x="1315504" y="690458"/>
                  <a:pt x="1315504" y="696405"/>
                </a:cubicBezTo>
                <a:cubicBezTo>
                  <a:pt x="1315504" y="702351"/>
                  <a:pt x="1310712" y="707141"/>
                  <a:pt x="1304766" y="707141"/>
                </a:cubicBezTo>
                <a:cubicBezTo>
                  <a:pt x="1298819" y="707141"/>
                  <a:pt x="1294030" y="702351"/>
                  <a:pt x="1294030" y="696405"/>
                </a:cubicBezTo>
                <a:cubicBezTo>
                  <a:pt x="1294030" y="690458"/>
                  <a:pt x="1298819" y="685668"/>
                  <a:pt x="1304766" y="685668"/>
                </a:cubicBezTo>
                <a:close/>
                <a:moveTo>
                  <a:pt x="1055508" y="681208"/>
                </a:moveTo>
                <a:cubicBezTo>
                  <a:pt x="1061454" y="681208"/>
                  <a:pt x="1066246" y="685998"/>
                  <a:pt x="1066246" y="691944"/>
                </a:cubicBezTo>
                <a:cubicBezTo>
                  <a:pt x="1066246" y="697891"/>
                  <a:pt x="1061454" y="702681"/>
                  <a:pt x="1055508" y="702681"/>
                </a:cubicBezTo>
                <a:cubicBezTo>
                  <a:pt x="1049561" y="702681"/>
                  <a:pt x="1044771" y="697891"/>
                  <a:pt x="1044771" y="691944"/>
                </a:cubicBezTo>
                <a:cubicBezTo>
                  <a:pt x="1044771" y="685998"/>
                  <a:pt x="1049561" y="681208"/>
                  <a:pt x="1055508" y="681208"/>
                </a:cubicBezTo>
                <a:close/>
                <a:moveTo>
                  <a:pt x="1080945" y="679722"/>
                </a:moveTo>
                <a:cubicBezTo>
                  <a:pt x="1086891" y="679722"/>
                  <a:pt x="1091681" y="684512"/>
                  <a:pt x="1091681" y="690458"/>
                </a:cubicBezTo>
                <a:cubicBezTo>
                  <a:pt x="1091681" y="696405"/>
                  <a:pt x="1086891" y="701195"/>
                  <a:pt x="1080945" y="701195"/>
                </a:cubicBezTo>
                <a:cubicBezTo>
                  <a:pt x="1074998" y="701195"/>
                  <a:pt x="1070208" y="696405"/>
                  <a:pt x="1070208" y="690458"/>
                </a:cubicBezTo>
                <a:cubicBezTo>
                  <a:pt x="1070208" y="684512"/>
                  <a:pt x="1074998" y="679722"/>
                  <a:pt x="1080945" y="679722"/>
                </a:cubicBezTo>
                <a:close/>
                <a:moveTo>
                  <a:pt x="1511077" y="679391"/>
                </a:moveTo>
                <a:cubicBezTo>
                  <a:pt x="1517023" y="679391"/>
                  <a:pt x="1521813" y="684180"/>
                  <a:pt x="1521813" y="690127"/>
                </a:cubicBezTo>
                <a:cubicBezTo>
                  <a:pt x="1521813" y="696073"/>
                  <a:pt x="1517023" y="700863"/>
                  <a:pt x="1511077" y="700863"/>
                </a:cubicBezTo>
                <a:cubicBezTo>
                  <a:pt x="1505130" y="700863"/>
                  <a:pt x="1500340" y="696073"/>
                  <a:pt x="1500340" y="690127"/>
                </a:cubicBezTo>
                <a:cubicBezTo>
                  <a:pt x="1500340" y="684180"/>
                  <a:pt x="1505130" y="679391"/>
                  <a:pt x="1511077" y="679391"/>
                </a:cubicBezTo>
                <a:close/>
                <a:moveTo>
                  <a:pt x="1399414" y="679061"/>
                </a:moveTo>
                <a:cubicBezTo>
                  <a:pt x="1405361" y="679061"/>
                  <a:pt x="1410152" y="683851"/>
                  <a:pt x="1410152" y="689797"/>
                </a:cubicBezTo>
                <a:cubicBezTo>
                  <a:pt x="1410152" y="695744"/>
                  <a:pt x="1405361" y="700535"/>
                  <a:pt x="1399414" y="700535"/>
                </a:cubicBezTo>
                <a:cubicBezTo>
                  <a:pt x="1393468" y="700535"/>
                  <a:pt x="1388678" y="695744"/>
                  <a:pt x="1388678" y="689797"/>
                </a:cubicBezTo>
                <a:cubicBezTo>
                  <a:pt x="1388678" y="683851"/>
                  <a:pt x="1393468" y="679061"/>
                  <a:pt x="1399414" y="679061"/>
                </a:cubicBezTo>
                <a:close/>
                <a:moveTo>
                  <a:pt x="3428172" y="677904"/>
                </a:moveTo>
                <a:cubicBezTo>
                  <a:pt x="3434118" y="677904"/>
                  <a:pt x="3438910" y="682694"/>
                  <a:pt x="3438910" y="688641"/>
                </a:cubicBezTo>
                <a:cubicBezTo>
                  <a:pt x="3438910" y="694587"/>
                  <a:pt x="3434118" y="699379"/>
                  <a:pt x="3428172" y="699379"/>
                </a:cubicBezTo>
                <a:cubicBezTo>
                  <a:pt x="3422226" y="699379"/>
                  <a:pt x="3417436" y="694587"/>
                  <a:pt x="3417436" y="688641"/>
                </a:cubicBezTo>
                <a:cubicBezTo>
                  <a:pt x="3417436" y="682694"/>
                  <a:pt x="3422226" y="677904"/>
                  <a:pt x="3428172" y="677904"/>
                </a:cubicBezTo>
                <a:close/>
                <a:moveTo>
                  <a:pt x="1107209" y="674271"/>
                </a:moveTo>
                <a:cubicBezTo>
                  <a:pt x="1113156" y="674271"/>
                  <a:pt x="1117947" y="679061"/>
                  <a:pt x="1117947" y="685008"/>
                </a:cubicBezTo>
                <a:cubicBezTo>
                  <a:pt x="1117947" y="690954"/>
                  <a:pt x="1113156" y="695744"/>
                  <a:pt x="1107209" y="695744"/>
                </a:cubicBezTo>
                <a:cubicBezTo>
                  <a:pt x="1101262" y="695744"/>
                  <a:pt x="1096473" y="690954"/>
                  <a:pt x="1096473" y="685008"/>
                </a:cubicBezTo>
                <a:cubicBezTo>
                  <a:pt x="1096473" y="679061"/>
                  <a:pt x="1101262" y="674271"/>
                  <a:pt x="1107209" y="674271"/>
                </a:cubicBezTo>
                <a:close/>
                <a:moveTo>
                  <a:pt x="1931133" y="673940"/>
                </a:moveTo>
                <a:cubicBezTo>
                  <a:pt x="1937080" y="673940"/>
                  <a:pt x="1941870" y="678730"/>
                  <a:pt x="1941870" y="684676"/>
                </a:cubicBezTo>
                <a:cubicBezTo>
                  <a:pt x="1941870" y="690623"/>
                  <a:pt x="1937080" y="695413"/>
                  <a:pt x="1931133" y="695413"/>
                </a:cubicBezTo>
                <a:cubicBezTo>
                  <a:pt x="1925187" y="695413"/>
                  <a:pt x="1920397" y="690623"/>
                  <a:pt x="1920397" y="684676"/>
                </a:cubicBezTo>
                <a:cubicBezTo>
                  <a:pt x="1920397" y="678730"/>
                  <a:pt x="1925187" y="673940"/>
                  <a:pt x="1931133" y="673940"/>
                </a:cubicBezTo>
                <a:close/>
                <a:moveTo>
                  <a:pt x="1231094" y="668489"/>
                </a:moveTo>
                <a:cubicBezTo>
                  <a:pt x="1237041" y="668489"/>
                  <a:pt x="1241832" y="673279"/>
                  <a:pt x="1241832" y="679226"/>
                </a:cubicBezTo>
                <a:cubicBezTo>
                  <a:pt x="1241832" y="685172"/>
                  <a:pt x="1237041" y="689962"/>
                  <a:pt x="1231094" y="689962"/>
                </a:cubicBezTo>
                <a:cubicBezTo>
                  <a:pt x="1225148" y="689962"/>
                  <a:pt x="1220358" y="685172"/>
                  <a:pt x="1220358" y="679226"/>
                </a:cubicBezTo>
                <a:cubicBezTo>
                  <a:pt x="1220358" y="673279"/>
                  <a:pt x="1225148" y="668489"/>
                  <a:pt x="1231094" y="668489"/>
                </a:cubicBezTo>
                <a:close/>
                <a:moveTo>
                  <a:pt x="2436753" y="668325"/>
                </a:moveTo>
                <a:cubicBezTo>
                  <a:pt x="2442700" y="668325"/>
                  <a:pt x="2447491" y="673115"/>
                  <a:pt x="2447491" y="679061"/>
                </a:cubicBezTo>
                <a:cubicBezTo>
                  <a:pt x="2447491" y="685008"/>
                  <a:pt x="2442700" y="689797"/>
                  <a:pt x="2436753" y="689797"/>
                </a:cubicBezTo>
                <a:cubicBezTo>
                  <a:pt x="2430806" y="689797"/>
                  <a:pt x="2426016" y="685008"/>
                  <a:pt x="2426016" y="679061"/>
                </a:cubicBezTo>
                <a:cubicBezTo>
                  <a:pt x="2426016" y="673115"/>
                  <a:pt x="2430806" y="668325"/>
                  <a:pt x="2436753" y="668325"/>
                </a:cubicBezTo>
                <a:close/>
                <a:moveTo>
                  <a:pt x="1137932" y="667994"/>
                </a:moveTo>
                <a:cubicBezTo>
                  <a:pt x="1143878" y="667994"/>
                  <a:pt x="1148670" y="672783"/>
                  <a:pt x="1148670" y="678730"/>
                </a:cubicBezTo>
                <a:cubicBezTo>
                  <a:pt x="1148670" y="684676"/>
                  <a:pt x="1143878" y="689466"/>
                  <a:pt x="1137932" y="689466"/>
                </a:cubicBezTo>
                <a:cubicBezTo>
                  <a:pt x="1131985" y="689466"/>
                  <a:pt x="1127196" y="684676"/>
                  <a:pt x="1127196" y="678730"/>
                </a:cubicBezTo>
                <a:cubicBezTo>
                  <a:pt x="1127196" y="672783"/>
                  <a:pt x="1131985" y="667994"/>
                  <a:pt x="1137932" y="667994"/>
                </a:cubicBezTo>
                <a:close/>
                <a:moveTo>
                  <a:pt x="1177575" y="664525"/>
                </a:moveTo>
                <a:cubicBezTo>
                  <a:pt x="1183522" y="664525"/>
                  <a:pt x="1188313" y="669315"/>
                  <a:pt x="1188313" y="675261"/>
                </a:cubicBezTo>
                <a:cubicBezTo>
                  <a:pt x="1188313" y="681208"/>
                  <a:pt x="1183522" y="685998"/>
                  <a:pt x="1177575" y="685998"/>
                </a:cubicBezTo>
                <a:cubicBezTo>
                  <a:pt x="1171629" y="685998"/>
                  <a:pt x="1166839" y="681208"/>
                  <a:pt x="1166839" y="675261"/>
                </a:cubicBezTo>
                <a:cubicBezTo>
                  <a:pt x="1166839" y="669315"/>
                  <a:pt x="1171629" y="664525"/>
                  <a:pt x="1177575" y="664525"/>
                </a:cubicBezTo>
                <a:close/>
                <a:moveTo>
                  <a:pt x="1064758" y="664029"/>
                </a:moveTo>
                <a:cubicBezTo>
                  <a:pt x="1070704" y="664029"/>
                  <a:pt x="1075494" y="668819"/>
                  <a:pt x="1075494" y="674765"/>
                </a:cubicBezTo>
                <a:cubicBezTo>
                  <a:pt x="1075494" y="680712"/>
                  <a:pt x="1070704" y="685503"/>
                  <a:pt x="1064758" y="685503"/>
                </a:cubicBezTo>
                <a:cubicBezTo>
                  <a:pt x="1058811" y="685503"/>
                  <a:pt x="1054022" y="680712"/>
                  <a:pt x="1054022" y="674765"/>
                </a:cubicBezTo>
                <a:cubicBezTo>
                  <a:pt x="1054022" y="668819"/>
                  <a:pt x="1058811" y="664029"/>
                  <a:pt x="1064758" y="664029"/>
                </a:cubicBezTo>
                <a:close/>
                <a:moveTo>
                  <a:pt x="1092012" y="663864"/>
                </a:moveTo>
                <a:cubicBezTo>
                  <a:pt x="1097959" y="663864"/>
                  <a:pt x="1102750" y="668654"/>
                  <a:pt x="1102750" y="674601"/>
                </a:cubicBezTo>
                <a:cubicBezTo>
                  <a:pt x="1102750" y="680547"/>
                  <a:pt x="1097959" y="685337"/>
                  <a:pt x="1092012" y="685337"/>
                </a:cubicBezTo>
                <a:cubicBezTo>
                  <a:pt x="1086066" y="685337"/>
                  <a:pt x="1081276" y="680547"/>
                  <a:pt x="1081276" y="674601"/>
                </a:cubicBezTo>
                <a:cubicBezTo>
                  <a:pt x="1081276" y="668654"/>
                  <a:pt x="1086066" y="663864"/>
                  <a:pt x="1092012" y="663864"/>
                </a:cubicBezTo>
                <a:close/>
                <a:moveTo>
                  <a:pt x="3265963" y="661386"/>
                </a:moveTo>
                <a:cubicBezTo>
                  <a:pt x="3271910" y="661386"/>
                  <a:pt x="3276699" y="666176"/>
                  <a:pt x="3276699" y="672122"/>
                </a:cubicBezTo>
                <a:cubicBezTo>
                  <a:pt x="3276699" y="678069"/>
                  <a:pt x="3271910" y="682861"/>
                  <a:pt x="3265963" y="682861"/>
                </a:cubicBezTo>
                <a:cubicBezTo>
                  <a:pt x="3260016" y="682861"/>
                  <a:pt x="3255227" y="678069"/>
                  <a:pt x="3255227" y="672122"/>
                </a:cubicBezTo>
                <a:cubicBezTo>
                  <a:pt x="3255227" y="666176"/>
                  <a:pt x="3260016" y="661386"/>
                  <a:pt x="3265963" y="661386"/>
                </a:cubicBezTo>
                <a:close/>
                <a:moveTo>
                  <a:pt x="1119267" y="658578"/>
                </a:moveTo>
                <a:cubicBezTo>
                  <a:pt x="1125213" y="658578"/>
                  <a:pt x="1130005" y="663368"/>
                  <a:pt x="1130005" y="669315"/>
                </a:cubicBezTo>
                <a:cubicBezTo>
                  <a:pt x="1130005" y="675261"/>
                  <a:pt x="1125213" y="680051"/>
                  <a:pt x="1119267" y="680051"/>
                </a:cubicBezTo>
                <a:cubicBezTo>
                  <a:pt x="1113320" y="680051"/>
                  <a:pt x="1108530" y="675261"/>
                  <a:pt x="1108530" y="669315"/>
                </a:cubicBezTo>
                <a:cubicBezTo>
                  <a:pt x="1108530" y="663368"/>
                  <a:pt x="1113320" y="658578"/>
                  <a:pt x="1119267" y="658578"/>
                </a:cubicBezTo>
                <a:close/>
                <a:moveTo>
                  <a:pt x="1072522" y="655275"/>
                </a:moveTo>
                <a:cubicBezTo>
                  <a:pt x="1073708" y="655275"/>
                  <a:pt x="1074669" y="656236"/>
                  <a:pt x="1074669" y="657422"/>
                </a:cubicBezTo>
                <a:cubicBezTo>
                  <a:pt x="1074669" y="658608"/>
                  <a:pt x="1073708" y="659571"/>
                  <a:pt x="1072522" y="659571"/>
                </a:cubicBezTo>
                <a:cubicBezTo>
                  <a:pt x="1071336" y="659571"/>
                  <a:pt x="1070375" y="658608"/>
                  <a:pt x="1070375" y="657422"/>
                </a:cubicBezTo>
                <a:cubicBezTo>
                  <a:pt x="1070375" y="656236"/>
                  <a:pt x="1071336" y="655275"/>
                  <a:pt x="1072522" y="655275"/>
                </a:cubicBezTo>
                <a:close/>
                <a:moveTo>
                  <a:pt x="2600613" y="654779"/>
                </a:moveTo>
                <a:cubicBezTo>
                  <a:pt x="2606559" y="654779"/>
                  <a:pt x="2611351" y="659569"/>
                  <a:pt x="2611351" y="665515"/>
                </a:cubicBezTo>
                <a:cubicBezTo>
                  <a:pt x="2611351" y="671462"/>
                  <a:pt x="2606559" y="676252"/>
                  <a:pt x="2600613" y="676252"/>
                </a:cubicBezTo>
                <a:cubicBezTo>
                  <a:pt x="2594666" y="676252"/>
                  <a:pt x="2589876" y="671462"/>
                  <a:pt x="2589876" y="665515"/>
                </a:cubicBezTo>
                <a:cubicBezTo>
                  <a:pt x="2589876" y="659569"/>
                  <a:pt x="2594666" y="654779"/>
                  <a:pt x="2600613" y="654779"/>
                </a:cubicBezTo>
                <a:close/>
                <a:moveTo>
                  <a:pt x="1306418" y="652797"/>
                </a:moveTo>
                <a:cubicBezTo>
                  <a:pt x="1312365" y="652797"/>
                  <a:pt x="1317155" y="657586"/>
                  <a:pt x="1317155" y="663533"/>
                </a:cubicBezTo>
                <a:cubicBezTo>
                  <a:pt x="1317155" y="669480"/>
                  <a:pt x="1312365" y="674271"/>
                  <a:pt x="1306418" y="674271"/>
                </a:cubicBezTo>
                <a:cubicBezTo>
                  <a:pt x="1300472" y="674271"/>
                  <a:pt x="1295682" y="669480"/>
                  <a:pt x="1295682" y="663533"/>
                </a:cubicBezTo>
                <a:cubicBezTo>
                  <a:pt x="1295682" y="657586"/>
                  <a:pt x="1300472" y="652797"/>
                  <a:pt x="1306418" y="652797"/>
                </a:cubicBezTo>
                <a:close/>
                <a:moveTo>
                  <a:pt x="1149825" y="650981"/>
                </a:moveTo>
                <a:cubicBezTo>
                  <a:pt x="1155771" y="650981"/>
                  <a:pt x="1160563" y="655771"/>
                  <a:pt x="1160563" y="661717"/>
                </a:cubicBezTo>
                <a:cubicBezTo>
                  <a:pt x="1160563" y="667664"/>
                  <a:pt x="1155771" y="672454"/>
                  <a:pt x="1149825" y="672454"/>
                </a:cubicBezTo>
                <a:cubicBezTo>
                  <a:pt x="1143878" y="672454"/>
                  <a:pt x="1139088" y="667664"/>
                  <a:pt x="1139088" y="661717"/>
                </a:cubicBezTo>
                <a:cubicBezTo>
                  <a:pt x="1139088" y="655771"/>
                  <a:pt x="1143878" y="650981"/>
                  <a:pt x="1149825" y="650981"/>
                </a:cubicBezTo>
                <a:close/>
                <a:moveTo>
                  <a:pt x="3100948" y="650485"/>
                </a:moveTo>
                <a:cubicBezTo>
                  <a:pt x="3106895" y="650485"/>
                  <a:pt x="3111686" y="655275"/>
                  <a:pt x="3111686" y="661221"/>
                </a:cubicBezTo>
                <a:cubicBezTo>
                  <a:pt x="3111686" y="667168"/>
                  <a:pt x="3106895" y="671958"/>
                  <a:pt x="3100948" y="671958"/>
                </a:cubicBezTo>
                <a:cubicBezTo>
                  <a:pt x="3095002" y="671958"/>
                  <a:pt x="3090212" y="667168"/>
                  <a:pt x="3090212" y="661221"/>
                </a:cubicBezTo>
                <a:cubicBezTo>
                  <a:pt x="3090212" y="655275"/>
                  <a:pt x="3095002" y="650485"/>
                  <a:pt x="3100948" y="650485"/>
                </a:cubicBezTo>
                <a:close/>
                <a:moveTo>
                  <a:pt x="1765787" y="650320"/>
                </a:moveTo>
                <a:cubicBezTo>
                  <a:pt x="1771734" y="650320"/>
                  <a:pt x="1776525" y="655110"/>
                  <a:pt x="1776525" y="661057"/>
                </a:cubicBezTo>
                <a:cubicBezTo>
                  <a:pt x="1776525" y="667003"/>
                  <a:pt x="1771734" y="671793"/>
                  <a:pt x="1765787" y="671793"/>
                </a:cubicBezTo>
                <a:cubicBezTo>
                  <a:pt x="1759841" y="671793"/>
                  <a:pt x="1755051" y="667003"/>
                  <a:pt x="1755051" y="661057"/>
                </a:cubicBezTo>
                <a:cubicBezTo>
                  <a:pt x="1755051" y="655110"/>
                  <a:pt x="1759841" y="650320"/>
                  <a:pt x="1765787" y="650320"/>
                </a:cubicBezTo>
                <a:close/>
                <a:moveTo>
                  <a:pt x="1102088" y="648338"/>
                </a:moveTo>
                <a:cubicBezTo>
                  <a:pt x="1108034" y="648338"/>
                  <a:pt x="1112826" y="653128"/>
                  <a:pt x="1112826" y="659075"/>
                </a:cubicBezTo>
                <a:cubicBezTo>
                  <a:pt x="1112826" y="665021"/>
                  <a:pt x="1108034" y="669811"/>
                  <a:pt x="1102088" y="669811"/>
                </a:cubicBezTo>
                <a:cubicBezTo>
                  <a:pt x="1096141" y="669811"/>
                  <a:pt x="1091352" y="665021"/>
                  <a:pt x="1091352" y="659075"/>
                </a:cubicBezTo>
                <a:cubicBezTo>
                  <a:pt x="1091352" y="653128"/>
                  <a:pt x="1096141" y="648338"/>
                  <a:pt x="1102088" y="648338"/>
                </a:cubicBezTo>
                <a:close/>
                <a:moveTo>
                  <a:pt x="2766951" y="647181"/>
                </a:moveTo>
                <a:cubicBezTo>
                  <a:pt x="2772897" y="647181"/>
                  <a:pt x="2777689" y="651971"/>
                  <a:pt x="2777689" y="657918"/>
                </a:cubicBezTo>
                <a:cubicBezTo>
                  <a:pt x="2777689" y="663864"/>
                  <a:pt x="2772897" y="668656"/>
                  <a:pt x="2766951" y="668656"/>
                </a:cubicBezTo>
                <a:cubicBezTo>
                  <a:pt x="2761004" y="668656"/>
                  <a:pt x="2756214" y="663864"/>
                  <a:pt x="2756214" y="657918"/>
                </a:cubicBezTo>
                <a:cubicBezTo>
                  <a:pt x="2756214" y="651971"/>
                  <a:pt x="2761004" y="647181"/>
                  <a:pt x="2766951" y="647181"/>
                </a:cubicBezTo>
                <a:close/>
                <a:moveTo>
                  <a:pt x="2934114" y="645695"/>
                </a:moveTo>
                <a:cubicBezTo>
                  <a:pt x="2940061" y="645695"/>
                  <a:pt x="2944852" y="650485"/>
                  <a:pt x="2944852" y="656431"/>
                </a:cubicBezTo>
                <a:cubicBezTo>
                  <a:pt x="2944852" y="662378"/>
                  <a:pt x="2940061" y="667168"/>
                  <a:pt x="2934114" y="667168"/>
                </a:cubicBezTo>
                <a:cubicBezTo>
                  <a:pt x="2928168" y="667168"/>
                  <a:pt x="2923378" y="662378"/>
                  <a:pt x="2923378" y="656431"/>
                </a:cubicBezTo>
                <a:cubicBezTo>
                  <a:pt x="2923378" y="650485"/>
                  <a:pt x="2928168" y="645695"/>
                  <a:pt x="2934114" y="645695"/>
                </a:cubicBezTo>
                <a:close/>
                <a:moveTo>
                  <a:pt x="1187818" y="644374"/>
                </a:moveTo>
                <a:cubicBezTo>
                  <a:pt x="1193764" y="644374"/>
                  <a:pt x="1198554" y="649164"/>
                  <a:pt x="1198554" y="655110"/>
                </a:cubicBezTo>
                <a:cubicBezTo>
                  <a:pt x="1198554" y="661057"/>
                  <a:pt x="1193764" y="665846"/>
                  <a:pt x="1187818" y="665846"/>
                </a:cubicBezTo>
                <a:cubicBezTo>
                  <a:pt x="1181871" y="665846"/>
                  <a:pt x="1177081" y="661057"/>
                  <a:pt x="1177081" y="655110"/>
                </a:cubicBezTo>
                <a:cubicBezTo>
                  <a:pt x="1177081" y="649164"/>
                  <a:pt x="1181871" y="644374"/>
                  <a:pt x="1187818" y="644374"/>
                </a:cubicBezTo>
                <a:close/>
                <a:moveTo>
                  <a:pt x="2073850" y="643711"/>
                </a:moveTo>
                <a:cubicBezTo>
                  <a:pt x="2079796" y="643711"/>
                  <a:pt x="2084586" y="648501"/>
                  <a:pt x="2084586" y="654448"/>
                </a:cubicBezTo>
                <a:cubicBezTo>
                  <a:pt x="2084586" y="660394"/>
                  <a:pt x="2079796" y="665184"/>
                  <a:pt x="2073850" y="665184"/>
                </a:cubicBezTo>
                <a:cubicBezTo>
                  <a:pt x="2067904" y="665184"/>
                  <a:pt x="2063114" y="660394"/>
                  <a:pt x="2063114" y="654448"/>
                </a:cubicBezTo>
                <a:cubicBezTo>
                  <a:pt x="2063114" y="648501"/>
                  <a:pt x="2067904" y="643711"/>
                  <a:pt x="2073850" y="643711"/>
                </a:cubicBezTo>
                <a:close/>
                <a:moveTo>
                  <a:pt x="1130666" y="643711"/>
                </a:moveTo>
                <a:cubicBezTo>
                  <a:pt x="1136612" y="643711"/>
                  <a:pt x="1141402" y="648501"/>
                  <a:pt x="1141402" y="654448"/>
                </a:cubicBezTo>
                <a:cubicBezTo>
                  <a:pt x="1141402" y="660394"/>
                  <a:pt x="1136612" y="665184"/>
                  <a:pt x="1130666" y="665184"/>
                </a:cubicBezTo>
                <a:cubicBezTo>
                  <a:pt x="1124719" y="665184"/>
                  <a:pt x="1119929" y="660394"/>
                  <a:pt x="1119929" y="654448"/>
                </a:cubicBezTo>
                <a:cubicBezTo>
                  <a:pt x="1119929" y="648501"/>
                  <a:pt x="1124719" y="643711"/>
                  <a:pt x="1130666" y="643711"/>
                </a:cubicBezTo>
                <a:close/>
                <a:moveTo>
                  <a:pt x="1238033" y="643382"/>
                </a:moveTo>
                <a:cubicBezTo>
                  <a:pt x="1243979" y="643382"/>
                  <a:pt x="1248769" y="648172"/>
                  <a:pt x="1248769" y="654118"/>
                </a:cubicBezTo>
                <a:cubicBezTo>
                  <a:pt x="1248769" y="660065"/>
                  <a:pt x="1243979" y="664856"/>
                  <a:pt x="1238033" y="664856"/>
                </a:cubicBezTo>
                <a:cubicBezTo>
                  <a:pt x="1232086" y="664856"/>
                  <a:pt x="1227296" y="660065"/>
                  <a:pt x="1227296" y="654118"/>
                </a:cubicBezTo>
                <a:cubicBezTo>
                  <a:pt x="1227296" y="648172"/>
                  <a:pt x="1232086" y="643382"/>
                  <a:pt x="1238033" y="643382"/>
                </a:cubicBezTo>
                <a:close/>
                <a:moveTo>
                  <a:pt x="1395285" y="641564"/>
                </a:moveTo>
                <a:cubicBezTo>
                  <a:pt x="1401232" y="641564"/>
                  <a:pt x="1406023" y="646354"/>
                  <a:pt x="1406023" y="652301"/>
                </a:cubicBezTo>
                <a:cubicBezTo>
                  <a:pt x="1406023" y="658247"/>
                  <a:pt x="1401232" y="663037"/>
                  <a:pt x="1395285" y="663037"/>
                </a:cubicBezTo>
                <a:cubicBezTo>
                  <a:pt x="1389339" y="663037"/>
                  <a:pt x="1384549" y="658247"/>
                  <a:pt x="1384549" y="652301"/>
                </a:cubicBezTo>
                <a:cubicBezTo>
                  <a:pt x="1384549" y="646354"/>
                  <a:pt x="1389339" y="641564"/>
                  <a:pt x="1395285" y="641564"/>
                </a:cubicBezTo>
                <a:close/>
                <a:moveTo>
                  <a:pt x="1622739" y="638425"/>
                </a:moveTo>
                <a:cubicBezTo>
                  <a:pt x="1628686" y="638425"/>
                  <a:pt x="1633478" y="643215"/>
                  <a:pt x="1633478" y="649162"/>
                </a:cubicBezTo>
                <a:cubicBezTo>
                  <a:pt x="1633478" y="655108"/>
                  <a:pt x="1628686" y="659898"/>
                  <a:pt x="1622739" y="659898"/>
                </a:cubicBezTo>
                <a:cubicBezTo>
                  <a:pt x="1616793" y="659898"/>
                  <a:pt x="1612003" y="655108"/>
                  <a:pt x="1612003" y="649162"/>
                </a:cubicBezTo>
                <a:cubicBezTo>
                  <a:pt x="1612003" y="643215"/>
                  <a:pt x="1616793" y="638425"/>
                  <a:pt x="1622739" y="638425"/>
                </a:cubicBezTo>
                <a:close/>
                <a:moveTo>
                  <a:pt x="1500011" y="636114"/>
                </a:moveTo>
                <a:cubicBezTo>
                  <a:pt x="1505958" y="636114"/>
                  <a:pt x="1510747" y="640904"/>
                  <a:pt x="1510747" y="646850"/>
                </a:cubicBezTo>
                <a:cubicBezTo>
                  <a:pt x="1510747" y="652797"/>
                  <a:pt x="1505958" y="657586"/>
                  <a:pt x="1500011" y="657586"/>
                </a:cubicBezTo>
                <a:cubicBezTo>
                  <a:pt x="1494064" y="657586"/>
                  <a:pt x="1489275" y="652797"/>
                  <a:pt x="1489275" y="646850"/>
                </a:cubicBezTo>
                <a:cubicBezTo>
                  <a:pt x="1489275" y="640904"/>
                  <a:pt x="1494064" y="636114"/>
                  <a:pt x="1500011" y="636114"/>
                </a:cubicBezTo>
                <a:close/>
                <a:moveTo>
                  <a:pt x="1161388" y="635288"/>
                </a:moveTo>
                <a:cubicBezTo>
                  <a:pt x="1167335" y="635288"/>
                  <a:pt x="1172125" y="640078"/>
                  <a:pt x="1172125" y="646025"/>
                </a:cubicBezTo>
                <a:cubicBezTo>
                  <a:pt x="1172125" y="651971"/>
                  <a:pt x="1167335" y="656761"/>
                  <a:pt x="1161388" y="656761"/>
                </a:cubicBezTo>
                <a:cubicBezTo>
                  <a:pt x="1155442" y="656761"/>
                  <a:pt x="1150652" y="651971"/>
                  <a:pt x="1150652" y="646025"/>
                </a:cubicBezTo>
                <a:cubicBezTo>
                  <a:pt x="1150652" y="640078"/>
                  <a:pt x="1155442" y="635288"/>
                  <a:pt x="1161388" y="635288"/>
                </a:cubicBezTo>
                <a:close/>
                <a:moveTo>
                  <a:pt x="1110842" y="632645"/>
                </a:moveTo>
                <a:cubicBezTo>
                  <a:pt x="1116789" y="632645"/>
                  <a:pt x="1121580" y="637435"/>
                  <a:pt x="1121580" y="643382"/>
                </a:cubicBezTo>
                <a:cubicBezTo>
                  <a:pt x="1121580" y="649328"/>
                  <a:pt x="1116789" y="654118"/>
                  <a:pt x="1110842" y="654118"/>
                </a:cubicBezTo>
                <a:cubicBezTo>
                  <a:pt x="1104896" y="654118"/>
                  <a:pt x="1100106" y="649328"/>
                  <a:pt x="1100106" y="643382"/>
                </a:cubicBezTo>
                <a:cubicBezTo>
                  <a:pt x="1100106" y="637435"/>
                  <a:pt x="1104896" y="632645"/>
                  <a:pt x="1110842" y="632645"/>
                </a:cubicBezTo>
                <a:close/>
                <a:moveTo>
                  <a:pt x="1140906" y="629177"/>
                </a:moveTo>
                <a:cubicBezTo>
                  <a:pt x="1146852" y="629177"/>
                  <a:pt x="1151644" y="633967"/>
                  <a:pt x="1151644" y="639914"/>
                </a:cubicBezTo>
                <a:cubicBezTo>
                  <a:pt x="1151644" y="645860"/>
                  <a:pt x="1146852" y="650650"/>
                  <a:pt x="1140906" y="650650"/>
                </a:cubicBezTo>
                <a:cubicBezTo>
                  <a:pt x="1134960" y="650650"/>
                  <a:pt x="1130170" y="645860"/>
                  <a:pt x="1130170" y="639914"/>
                </a:cubicBezTo>
                <a:cubicBezTo>
                  <a:pt x="1130170" y="633967"/>
                  <a:pt x="1134960" y="629177"/>
                  <a:pt x="1140906" y="629177"/>
                </a:cubicBezTo>
                <a:close/>
                <a:moveTo>
                  <a:pt x="1198224" y="626533"/>
                </a:moveTo>
                <a:cubicBezTo>
                  <a:pt x="1204171" y="626533"/>
                  <a:pt x="1208962" y="631322"/>
                  <a:pt x="1208962" y="637269"/>
                </a:cubicBezTo>
                <a:cubicBezTo>
                  <a:pt x="1208962" y="643215"/>
                  <a:pt x="1204171" y="648007"/>
                  <a:pt x="1198224" y="648007"/>
                </a:cubicBezTo>
                <a:cubicBezTo>
                  <a:pt x="1192278" y="648007"/>
                  <a:pt x="1187488" y="643215"/>
                  <a:pt x="1187488" y="637269"/>
                </a:cubicBezTo>
                <a:cubicBezTo>
                  <a:pt x="1187488" y="631322"/>
                  <a:pt x="1192278" y="626533"/>
                  <a:pt x="1198224" y="626533"/>
                </a:cubicBezTo>
                <a:close/>
                <a:moveTo>
                  <a:pt x="1309226" y="624385"/>
                </a:moveTo>
                <a:cubicBezTo>
                  <a:pt x="1315173" y="624385"/>
                  <a:pt x="1319964" y="629175"/>
                  <a:pt x="1319964" y="635122"/>
                </a:cubicBezTo>
                <a:cubicBezTo>
                  <a:pt x="1319964" y="641068"/>
                  <a:pt x="1315173" y="645858"/>
                  <a:pt x="1309226" y="645858"/>
                </a:cubicBezTo>
                <a:cubicBezTo>
                  <a:pt x="1303280" y="645858"/>
                  <a:pt x="1298490" y="641068"/>
                  <a:pt x="1298490" y="635122"/>
                </a:cubicBezTo>
                <a:cubicBezTo>
                  <a:pt x="1298490" y="629175"/>
                  <a:pt x="1303280" y="624385"/>
                  <a:pt x="1309226" y="624385"/>
                </a:cubicBezTo>
                <a:close/>
                <a:moveTo>
                  <a:pt x="1245632" y="621413"/>
                </a:moveTo>
                <a:cubicBezTo>
                  <a:pt x="1251578" y="621413"/>
                  <a:pt x="1256368" y="626203"/>
                  <a:pt x="1256368" y="632150"/>
                </a:cubicBezTo>
                <a:cubicBezTo>
                  <a:pt x="1256368" y="638096"/>
                  <a:pt x="1251578" y="642886"/>
                  <a:pt x="1245632" y="642886"/>
                </a:cubicBezTo>
                <a:cubicBezTo>
                  <a:pt x="1239685" y="642886"/>
                  <a:pt x="1234895" y="638096"/>
                  <a:pt x="1234895" y="632150"/>
                </a:cubicBezTo>
                <a:cubicBezTo>
                  <a:pt x="1234895" y="626203"/>
                  <a:pt x="1239685" y="621413"/>
                  <a:pt x="1245632" y="621413"/>
                </a:cubicBezTo>
                <a:close/>
                <a:moveTo>
                  <a:pt x="1172290" y="620917"/>
                </a:moveTo>
                <a:cubicBezTo>
                  <a:pt x="1178236" y="620917"/>
                  <a:pt x="1183028" y="625707"/>
                  <a:pt x="1183028" y="631654"/>
                </a:cubicBezTo>
                <a:cubicBezTo>
                  <a:pt x="1183028" y="637600"/>
                  <a:pt x="1178236" y="642390"/>
                  <a:pt x="1172290" y="642390"/>
                </a:cubicBezTo>
                <a:cubicBezTo>
                  <a:pt x="1166343" y="642390"/>
                  <a:pt x="1161553" y="637600"/>
                  <a:pt x="1161553" y="631654"/>
                </a:cubicBezTo>
                <a:cubicBezTo>
                  <a:pt x="1161553" y="625707"/>
                  <a:pt x="1166343" y="620917"/>
                  <a:pt x="1172290" y="620917"/>
                </a:cubicBezTo>
                <a:close/>
                <a:moveTo>
                  <a:pt x="1118443" y="617778"/>
                </a:moveTo>
                <a:cubicBezTo>
                  <a:pt x="1123729" y="617778"/>
                  <a:pt x="1128023" y="622074"/>
                  <a:pt x="1128023" y="627360"/>
                </a:cubicBezTo>
                <a:cubicBezTo>
                  <a:pt x="1128023" y="632645"/>
                  <a:pt x="1123729" y="636939"/>
                  <a:pt x="1118443" y="636939"/>
                </a:cubicBezTo>
                <a:cubicBezTo>
                  <a:pt x="1113157" y="636939"/>
                  <a:pt x="1108862" y="632645"/>
                  <a:pt x="1108862" y="627360"/>
                </a:cubicBezTo>
                <a:cubicBezTo>
                  <a:pt x="1108862" y="622074"/>
                  <a:pt x="1113157" y="617778"/>
                  <a:pt x="1118443" y="617778"/>
                </a:cubicBezTo>
                <a:close/>
                <a:moveTo>
                  <a:pt x="2222184" y="617614"/>
                </a:moveTo>
                <a:cubicBezTo>
                  <a:pt x="2228130" y="617614"/>
                  <a:pt x="2232920" y="622403"/>
                  <a:pt x="2232920" y="628350"/>
                </a:cubicBezTo>
                <a:cubicBezTo>
                  <a:pt x="2232920" y="634297"/>
                  <a:pt x="2228130" y="639086"/>
                  <a:pt x="2222184" y="639086"/>
                </a:cubicBezTo>
                <a:cubicBezTo>
                  <a:pt x="2216237" y="639086"/>
                  <a:pt x="2211447" y="634297"/>
                  <a:pt x="2211447" y="628350"/>
                </a:cubicBezTo>
                <a:cubicBezTo>
                  <a:pt x="2211447" y="622403"/>
                  <a:pt x="2216237" y="617614"/>
                  <a:pt x="2222184" y="617614"/>
                </a:cubicBezTo>
                <a:close/>
                <a:moveTo>
                  <a:pt x="1895785" y="615302"/>
                </a:moveTo>
                <a:cubicBezTo>
                  <a:pt x="1901732" y="615302"/>
                  <a:pt x="1906522" y="620092"/>
                  <a:pt x="1906522" y="626038"/>
                </a:cubicBezTo>
                <a:cubicBezTo>
                  <a:pt x="1906522" y="631985"/>
                  <a:pt x="1901732" y="636774"/>
                  <a:pt x="1895785" y="636774"/>
                </a:cubicBezTo>
                <a:cubicBezTo>
                  <a:pt x="1889839" y="636774"/>
                  <a:pt x="1885049" y="631985"/>
                  <a:pt x="1885049" y="626038"/>
                </a:cubicBezTo>
                <a:cubicBezTo>
                  <a:pt x="1885049" y="620092"/>
                  <a:pt x="1889839" y="615302"/>
                  <a:pt x="1895785" y="615302"/>
                </a:cubicBezTo>
                <a:close/>
                <a:moveTo>
                  <a:pt x="1150321" y="614971"/>
                </a:moveTo>
                <a:cubicBezTo>
                  <a:pt x="1156267" y="614971"/>
                  <a:pt x="1161059" y="619760"/>
                  <a:pt x="1161059" y="625707"/>
                </a:cubicBezTo>
                <a:cubicBezTo>
                  <a:pt x="1161059" y="631654"/>
                  <a:pt x="1156267" y="636443"/>
                  <a:pt x="1150321" y="636443"/>
                </a:cubicBezTo>
                <a:cubicBezTo>
                  <a:pt x="1144374" y="636443"/>
                  <a:pt x="1139584" y="631654"/>
                  <a:pt x="1139584" y="625707"/>
                </a:cubicBezTo>
                <a:cubicBezTo>
                  <a:pt x="1139584" y="619760"/>
                  <a:pt x="1144374" y="614971"/>
                  <a:pt x="1150321" y="614971"/>
                </a:cubicBezTo>
                <a:close/>
                <a:moveTo>
                  <a:pt x="1124719" y="610841"/>
                </a:moveTo>
                <a:lnTo>
                  <a:pt x="1124884" y="611006"/>
                </a:lnTo>
                <a:lnTo>
                  <a:pt x="1124719" y="611006"/>
                </a:lnTo>
                <a:close/>
                <a:moveTo>
                  <a:pt x="1208465" y="610675"/>
                </a:moveTo>
                <a:cubicBezTo>
                  <a:pt x="1214411" y="610675"/>
                  <a:pt x="1219201" y="615465"/>
                  <a:pt x="1219201" y="621411"/>
                </a:cubicBezTo>
                <a:cubicBezTo>
                  <a:pt x="1219201" y="627358"/>
                  <a:pt x="1214411" y="632148"/>
                  <a:pt x="1208465" y="632148"/>
                </a:cubicBezTo>
                <a:cubicBezTo>
                  <a:pt x="1202518" y="632148"/>
                  <a:pt x="1197728" y="627358"/>
                  <a:pt x="1197728" y="621411"/>
                </a:cubicBezTo>
                <a:cubicBezTo>
                  <a:pt x="1197728" y="615465"/>
                  <a:pt x="1202518" y="610675"/>
                  <a:pt x="1208465" y="610675"/>
                </a:cubicBezTo>
                <a:close/>
                <a:moveTo>
                  <a:pt x="1392974" y="609189"/>
                </a:moveTo>
                <a:cubicBezTo>
                  <a:pt x="1398920" y="609189"/>
                  <a:pt x="1403712" y="613979"/>
                  <a:pt x="1403712" y="619925"/>
                </a:cubicBezTo>
                <a:cubicBezTo>
                  <a:pt x="1403712" y="625872"/>
                  <a:pt x="1398920" y="630661"/>
                  <a:pt x="1392974" y="630661"/>
                </a:cubicBezTo>
                <a:cubicBezTo>
                  <a:pt x="1387027" y="630661"/>
                  <a:pt x="1382237" y="625872"/>
                  <a:pt x="1382237" y="619925"/>
                </a:cubicBezTo>
                <a:cubicBezTo>
                  <a:pt x="1382237" y="613979"/>
                  <a:pt x="1387027" y="609189"/>
                  <a:pt x="1392974" y="609189"/>
                </a:cubicBezTo>
                <a:close/>
                <a:moveTo>
                  <a:pt x="3485984" y="607207"/>
                </a:moveTo>
                <a:cubicBezTo>
                  <a:pt x="3491931" y="607207"/>
                  <a:pt x="3496722" y="611997"/>
                  <a:pt x="3496722" y="617943"/>
                </a:cubicBezTo>
                <a:cubicBezTo>
                  <a:pt x="3496722" y="623890"/>
                  <a:pt x="3491931" y="628679"/>
                  <a:pt x="3485984" y="628679"/>
                </a:cubicBezTo>
                <a:cubicBezTo>
                  <a:pt x="3480038" y="628679"/>
                  <a:pt x="3475248" y="623890"/>
                  <a:pt x="3475248" y="617943"/>
                </a:cubicBezTo>
                <a:cubicBezTo>
                  <a:pt x="3475248" y="611997"/>
                  <a:pt x="3480038" y="607207"/>
                  <a:pt x="3485984" y="607207"/>
                </a:cubicBezTo>
                <a:close/>
                <a:moveTo>
                  <a:pt x="1182532" y="607207"/>
                </a:moveTo>
                <a:cubicBezTo>
                  <a:pt x="1188478" y="607207"/>
                  <a:pt x="1193268" y="611997"/>
                  <a:pt x="1193268" y="617943"/>
                </a:cubicBezTo>
                <a:cubicBezTo>
                  <a:pt x="1193268" y="623890"/>
                  <a:pt x="1188478" y="628679"/>
                  <a:pt x="1182532" y="628679"/>
                </a:cubicBezTo>
                <a:cubicBezTo>
                  <a:pt x="1176585" y="628679"/>
                  <a:pt x="1171795" y="623890"/>
                  <a:pt x="1171795" y="617943"/>
                </a:cubicBezTo>
                <a:cubicBezTo>
                  <a:pt x="1171795" y="611997"/>
                  <a:pt x="1176585" y="607207"/>
                  <a:pt x="1182532" y="607207"/>
                </a:cubicBezTo>
                <a:close/>
                <a:moveTo>
                  <a:pt x="1253725" y="602252"/>
                </a:moveTo>
                <a:cubicBezTo>
                  <a:pt x="1259672" y="602252"/>
                  <a:pt x="1264463" y="607042"/>
                  <a:pt x="1264463" y="612988"/>
                </a:cubicBezTo>
                <a:cubicBezTo>
                  <a:pt x="1264463" y="618935"/>
                  <a:pt x="1259672" y="623725"/>
                  <a:pt x="1253725" y="623725"/>
                </a:cubicBezTo>
                <a:cubicBezTo>
                  <a:pt x="1247779" y="623725"/>
                  <a:pt x="1242989" y="618935"/>
                  <a:pt x="1242989" y="612988"/>
                </a:cubicBezTo>
                <a:cubicBezTo>
                  <a:pt x="1242989" y="607042"/>
                  <a:pt x="1247779" y="602252"/>
                  <a:pt x="1253725" y="602252"/>
                </a:cubicBezTo>
                <a:close/>
                <a:moveTo>
                  <a:pt x="1158746" y="600766"/>
                </a:moveTo>
                <a:cubicBezTo>
                  <a:pt x="1164692" y="600766"/>
                  <a:pt x="1169484" y="605556"/>
                  <a:pt x="1169484" y="611502"/>
                </a:cubicBezTo>
                <a:cubicBezTo>
                  <a:pt x="1169484" y="617449"/>
                  <a:pt x="1164692" y="622239"/>
                  <a:pt x="1158746" y="622239"/>
                </a:cubicBezTo>
                <a:cubicBezTo>
                  <a:pt x="1152799" y="622239"/>
                  <a:pt x="1148009" y="617449"/>
                  <a:pt x="1148009" y="611502"/>
                </a:cubicBezTo>
                <a:cubicBezTo>
                  <a:pt x="1148009" y="605556"/>
                  <a:pt x="1152799" y="600766"/>
                  <a:pt x="1158746" y="600766"/>
                </a:cubicBezTo>
                <a:close/>
                <a:moveTo>
                  <a:pt x="1740680" y="599939"/>
                </a:moveTo>
                <a:cubicBezTo>
                  <a:pt x="1746626" y="599939"/>
                  <a:pt x="1751416" y="604728"/>
                  <a:pt x="1751416" y="610675"/>
                </a:cubicBezTo>
                <a:cubicBezTo>
                  <a:pt x="1751416" y="616622"/>
                  <a:pt x="1746626" y="621411"/>
                  <a:pt x="1740680" y="621411"/>
                </a:cubicBezTo>
                <a:cubicBezTo>
                  <a:pt x="1734733" y="621411"/>
                  <a:pt x="1729943" y="616622"/>
                  <a:pt x="1729943" y="610675"/>
                </a:cubicBezTo>
                <a:cubicBezTo>
                  <a:pt x="1729943" y="604728"/>
                  <a:pt x="1734733" y="599939"/>
                  <a:pt x="1740680" y="599939"/>
                </a:cubicBezTo>
                <a:close/>
                <a:moveTo>
                  <a:pt x="1313190" y="599939"/>
                </a:moveTo>
                <a:cubicBezTo>
                  <a:pt x="1319137" y="599939"/>
                  <a:pt x="1323929" y="604728"/>
                  <a:pt x="1323929" y="610675"/>
                </a:cubicBezTo>
                <a:cubicBezTo>
                  <a:pt x="1323929" y="616622"/>
                  <a:pt x="1319137" y="621411"/>
                  <a:pt x="1313190" y="621411"/>
                </a:cubicBezTo>
                <a:cubicBezTo>
                  <a:pt x="1307244" y="621411"/>
                  <a:pt x="1302454" y="616622"/>
                  <a:pt x="1302454" y="610675"/>
                </a:cubicBezTo>
                <a:cubicBezTo>
                  <a:pt x="1302454" y="604728"/>
                  <a:pt x="1307244" y="599939"/>
                  <a:pt x="1313190" y="599939"/>
                </a:cubicBezTo>
                <a:close/>
                <a:moveTo>
                  <a:pt x="1491420" y="598784"/>
                </a:moveTo>
                <a:cubicBezTo>
                  <a:pt x="1497366" y="598784"/>
                  <a:pt x="1502158" y="603574"/>
                  <a:pt x="1502158" y="609520"/>
                </a:cubicBezTo>
                <a:cubicBezTo>
                  <a:pt x="1502158" y="615467"/>
                  <a:pt x="1497366" y="620257"/>
                  <a:pt x="1491420" y="620257"/>
                </a:cubicBezTo>
                <a:cubicBezTo>
                  <a:pt x="1485473" y="620257"/>
                  <a:pt x="1480684" y="615467"/>
                  <a:pt x="1480684" y="609520"/>
                </a:cubicBezTo>
                <a:cubicBezTo>
                  <a:pt x="1480684" y="603574"/>
                  <a:pt x="1485473" y="598784"/>
                  <a:pt x="1491420" y="598784"/>
                </a:cubicBezTo>
                <a:close/>
                <a:moveTo>
                  <a:pt x="2374976" y="596635"/>
                </a:moveTo>
                <a:cubicBezTo>
                  <a:pt x="2380922" y="596635"/>
                  <a:pt x="2385712" y="601425"/>
                  <a:pt x="2385712" y="607371"/>
                </a:cubicBezTo>
                <a:cubicBezTo>
                  <a:pt x="2385712" y="613318"/>
                  <a:pt x="2380922" y="618108"/>
                  <a:pt x="2374976" y="618108"/>
                </a:cubicBezTo>
                <a:cubicBezTo>
                  <a:pt x="2369030" y="618108"/>
                  <a:pt x="2364240" y="613318"/>
                  <a:pt x="2364240" y="607371"/>
                </a:cubicBezTo>
                <a:cubicBezTo>
                  <a:pt x="2364240" y="601425"/>
                  <a:pt x="2369030" y="596635"/>
                  <a:pt x="2374976" y="596635"/>
                </a:cubicBezTo>
                <a:close/>
                <a:moveTo>
                  <a:pt x="1218376" y="596306"/>
                </a:moveTo>
                <a:cubicBezTo>
                  <a:pt x="1224322" y="596306"/>
                  <a:pt x="1229114" y="601096"/>
                  <a:pt x="1229114" y="607042"/>
                </a:cubicBezTo>
                <a:cubicBezTo>
                  <a:pt x="1229114" y="612988"/>
                  <a:pt x="1224322" y="617778"/>
                  <a:pt x="1218376" y="617778"/>
                </a:cubicBezTo>
                <a:cubicBezTo>
                  <a:pt x="1212429" y="617778"/>
                  <a:pt x="1207639" y="612988"/>
                  <a:pt x="1207639" y="607042"/>
                </a:cubicBezTo>
                <a:cubicBezTo>
                  <a:pt x="1207639" y="601096"/>
                  <a:pt x="1212429" y="596306"/>
                  <a:pt x="1218376" y="596306"/>
                </a:cubicBezTo>
                <a:close/>
                <a:moveTo>
                  <a:pt x="1606552" y="595149"/>
                </a:moveTo>
                <a:cubicBezTo>
                  <a:pt x="1612499" y="595149"/>
                  <a:pt x="1617291" y="599939"/>
                  <a:pt x="1617291" y="605885"/>
                </a:cubicBezTo>
                <a:cubicBezTo>
                  <a:pt x="1617291" y="611832"/>
                  <a:pt x="1612499" y="616622"/>
                  <a:pt x="1606552" y="616622"/>
                </a:cubicBezTo>
                <a:cubicBezTo>
                  <a:pt x="1600606" y="616622"/>
                  <a:pt x="1595816" y="611832"/>
                  <a:pt x="1595816" y="605885"/>
                </a:cubicBezTo>
                <a:cubicBezTo>
                  <a:pt x="1595816" y="599939"/>
                  <a:pt x="1600606" y="595149"/>
                  <a:pt x="1606552" y="595149"/>
                </a:cubicBezTo>
                <a:close/>
                <a:moveTo>
                  <a:pt x="1192111" y="594157"/>
                </a:moveTo>
                <a:cubicBezTo>
                  <a:pt x="1198058" y="594157"/>
                  <a:pt x="1202849" y="598947"/>
                  <a:pt x="1202849" y="604893"/>
                </a:cubicBezTo>
                <a:cubicBezTo>
                  <a:pt x="1202849" y="610840"/>
                  <a:pt x="1198058" y="615630"/>
                  <a:pt x="1192111" y="615630"/>
                </a:cubicBezTo>
                <a:cubicBezTo>
                  <a:pt x="1186165" y="615630"/>
                  <a:pt x="1181375" y="610840"/>
                  <a:pt x="1181375" y="604893"/>
                </a:cubicBezTo>
                <a:cubicBezTo>
                  <a:pt x="1181375" y="598947"/>
                  <a:pt x="1186165" y="594157"/>
                  <a:pt x="1192111" y="594157"/>
                </a:cubicBezTo>
                <a:close/>
                <a:moveTo>
                  <a:pt x="3331210" y="588542"/>
                </a:moveTo>
                <a:cubicBezTo>
                  <a:pt x="3337156" y="588542"/>
                  <a:pt x="3341948" y="593331"/>
                  <a:pt x="3341948" y="599278"/>
                </a:cubicBezTo>
                <a:cubicBezTo>
                  <a:pt x="3341948" y="605224"/>
                  <a:pt x="3337156" y="610014"/>
                  <a:pt x="3331210" y="610014"/>
                </a:cubicBezTo>
                <a:cubicBezTo>
                  <a:pt x="3325264" y="610014"/>
                  <a:pt x="3320474" y="605224"/>
                  <a:pt x="3320474" y="599278"/>
                </a:cubicBezTo>
                <a:cubicBezTo>
                  <a:pt x="3320474" y="593331"/>
                  <a:pt x="3325264" y="588542"/>
                  <a:pt x="3331210" y="588542"/>
                </a:cubicBezTo>
                <a:close/>
                <a:moveTo>
                  <a:pt x="1165849" y="586228"/>
                </a:moveTo>
                <a:cubicBezTo>
                  <a:pt x="1171795" y="586228"/>
                  <a:pt x="1176587" y="591018"/>
                  <a:pt x="1176587" y="596964"/>
                </a:cubicBezTo>
                <a:cubicBezTo>
                  <a:pt x="1176587" y="602911"/>
                  <a:pt x="1171795" y="607701"/>
                  <a:pt x="1165849" y="607701"/>
                </a:cubicBezTo>
                <a:cubicBezTo>
                  <a:pt x="1159902" y="607701"/>
                  <a:pt x="1155112" y="602911"/>
                  <a:pt x="1155112" y="596964"/>
                </a:cubicBezTo>
                <a:cubicBezTo>
                  <a:pt x="1155112" y="591018"/>
                  <a:pt x="1159902" y="586228"/>
                  <a:pt x="1165849" y="586228"/>
                </a:cubicBezTo>
                <a:close/>
                <a:moveTo>
                  <a:pt x="1261819" y="585403"/>
                </a:moveTo>
                <a:cubicBezTo>
                  <a:pt x="1267765" y="585403"/>
                  <a:pt x="1272557" y="590193"/>
                  <a:pt x="1272557" y="596139"/>
                </a:cubicBezTo>
                <a:cubicBezTo>
                  <a:pt x="1272557" y="602086"/>
                  <a:pt x="1267765" y="606876"/>
                  <a:pt x="1261819" y="606876"/>
                </a:cubicBezTo>
                <a:cubicBezTo>
                  <a:pt x="1255872" y="606876"/>
                  <a:pt x="1251082" y="602086"/>
                  <a:pt x="1251082" y="596139"/>
                </a:cubicBezTo>
                <a:cubicBezTo>
                  <a:pt x="1251082" y="590193"/>
                  <a:pt x="1255872" y="585403"/>
                  <a:pt x="1261819" y="585403"/>
                </a:cubicBezTo>
                <a:close/>
                <a:moveTo>
                  <a:pt x="2031728" y="583916"/>
                </a:moveTo>
                <a:cubicBezTo>
                  <a:pt x="2037675" y="583916"/>
                  <a:pt x="2042466" y="588706"/>
                  <a:pt x="2042466" y="594653"/>
                </a:cubicBezTo>
                <a:cubicBezTo>
                  <a:pt x="2042466" y="600600"/>
                  <a:pt x="2037675" y="605389"/>
                  <a:pt x="2031728" y="605389"/>
                </a:cubicBezTo>
                <a:cubicBezTo>
                  <a:pt x="2025782" y="605389"/>
                  <a:pt x="2020992" y="600600"/>
                  <a:pt x="2020992" y="594653"/>
                </a:cubicBezTo>
                <a:cubicBezTo>
                  <a:pt x="2020992" y="588706"/>
                  <a:pt x="2025782" y="583916"/>
                  <a:pt x="2031728" y="583916"/>
                </a:cubicBezTo>
                <a:close/>
                <a:moveTo>
                  <a:pt x="1392311" y="581274"/>
                </a:moveTo>
                <a:cubicBezTo>
                  <a:pt x="1398258" y="581274"/>
                  <a:pt x="1403049" y="586063"/>
                  <a:pt x="1403049" y="592010"/>
                </a:cubicBezTo>
                <a:cubicBezTo>
                  <a:pt x="1403049" y="597956"/>
                  <a:pt x="1398258" y="602746"/>
                  <a:pt x="1392311" y="602746"/>
                </a:cubicBezTo>
                <a:cubicBezTo>
                  <a:pt x="1386364" y="602746"/>
                  <a:pt x="1381575" y="597956"/>
                  <a:pt x="1381575" y="592010"/>
                </a:cubicBezTo>
                <a:cubicBezTo>
                  <a:pt x="1381575" y="586063"/>
                  <a:pt x="1386364" y="581274"/>
                  <a:pt x="1392311" y="581274"/>
                </a:cubicBezTo>
                <a:close/>
                <a:moveTo>
                  <a:pt x="2531732" y="580778"/>
                </a:moveTo>
                <a:cubicBezTo>
                  <a:pt x="2537679" y="580778"/>
                  <a:pt x="2542471" y="585567"/>
                  <a:pt x="2542471" y="591514"/>
                </a:cubicBezTo>
                <a:cubicBezTo>
                  <a:pt x="2542471" y="597460"/>
                  <a:pt x="2537679" y="602250"/>
                  <a:pt x="2531732" y="602250"/>
                </a:cubicBezTo>
                <a:cubicBezTo>
                  <a:pt x="2525786" y="602250"/>
                  <a:pt x="2520996" y="597460"/>
                  <a:pt x="2520996" y="591514"/>
                </a:cubicBezTo>
                <a:cubicBezTo>
                  <a:pt x="2520996" y="585567"/>
                  <a:pt x="2525786" y="580778"/>
                  <a:pt x="2531732" y="580778"/>
                </a:cubicBezTo>
                <a:close/>
                <a:moveTo>
                  <a:pt x="1317980" y="578631"/>
                </a:moveTo>
                <a:cubicBezTo>
                  <a:pt x="1323927" y="578631"/>
                  <a:pt x="1328718" y="583420"/>
                  <a:pt x="1328718" y="589367"/>
                </a:cubicBezTo>
                <a:cubicBezTo>
                  <a:pt x="1328718" y="595314"/>
                  <a:pt x="1323927" y="600103"/>
                  <a:pt x="1317980" y="600103"/>
                </a:cubicBezTo>
                <a:cubicBezTo>
                  <a:pt x="1312034" y="600103"/>
                  <a:pt x="1307244" y="595314"/>
                  <a:pt x="1307244" y="589367"/>
                </a:cubicBezTo>
                <a:cubicBezTo>
                  <a:pt x="1307244" y="583420"/>
                  <a:pt x="1312034" y="578631"/>
                  <a:pt x="1317980" y="578631"/>
                </a:cubicBezTo>
                <a:close/>
                <a:moveTo>
                  <a:pt x="1171795" y="577640"/>
                </a:moveTo>
                <a:cubicBezTo>
                  <a:pt x="1174168" y="577640"/>
                  <a:pt x="1176091" y="579564"/>
                  <a:pt x="1176091" y="581936"/>
                </a:cubicBezTo>
                <a:cubicBezTo>
                  <a:pt x="1176091" y="584307"/>
                  <a:pt x="1174168" y="586230"/>
                  <a:pt x="1171795" y="586230"/>
                </a:cubicBezTo>
                <a:cubicBezTo>
                  <a:pt x="1169425" y="586230"/>
                  <a:pt x="1167502" y="584307"/>
                  <a:pt x="1167502" y="581936"/>
                </a:cubicBezTo>
                <a:cubicBezTo>
                  <a:pt x="1167502" y="579564"/>
                  <a:pt x="1169425" y="577640"/>
                  <a:pt x="1171795" y="577640"/>
                </a:cubicBezTo>
                <a:close/>
                <a:moveTo>
                  <a:pt x="3173132" y="575327"/>
                </a:moveTo>
                <a:cubicBezTo>
                  <a:pt x="3179078" y="575327"/>
                  <a:pt x="3183870" y="580117"/>
                  <a:pt x="3183870" y="586063"/>
                </a:cubicBezTo>
                <a:cubicBezTo>
                  <a:pt x="3183870" y="592010"/>
                  <a:pt x="3179078" y="596800"/>
                  <a:pt x="3173132" y="596800"/>
                </a:cubicBezTo>
                <a:cubicBezTo>
                  <a:pt x="3167186" y="596800"/>
                  <a:pt x="3162396" y="592010"/>
                  <a:pt x="3162396" y="586063"/>
                </a:cubicBezTo>
                <a:cubicBezTo>
                  <a:pt x="3162396" y="580117"/>
                  <a:pt x="3167186" y="575327"/>
                  <a:pt x="3173132" y="575327"/>
                </a:cubicBezTo>
                <a:close/>
                <a:moveTo>
                  <a:pt x="2690967" y="570537"/>
                </a:moveTo>
                <a:cubicBezTo>
                  <a:pt x="2696914" y="570537"/>
                  <a:pt x="2701706" y="575327"/>
                  <a:pt x="2701706" y="581274"/>
                </a:cubicBezTo>
                <a:cubicBezTo>
                  <a:pt x="2701706" y="587220"/>
                  <a:pt x="2696914" y="592012"/>
                  <a:pt x="2690967" y="592012"/>
                </a:cubicBezTo>
                <a:cubicBezTo>
                  <a:pt x="2685021" y="592012"/>
                  <a:pt x="2680231" y="587220"/>
                  <a:pt x="2680231" y="581274"/>
                </a:cubicBezTo>
                <a:cubicBezTo>
                  <a:pt x="2680231" y="575327"/>
                  <a:pt x="2685021" y="570537"/>
                  <a:pt x="2690967" y="570537"/>
                </a:cubicBezTo>
                <a:close/>
                <a:moveTo>
                  <a:pt x="3012905" y="567730"/>
                </a:moveTo>
                <a:cubicBezTo>
                  <a:pt x="3018852" y="567730"/>
                  <a:pt x="3023643" y="572519"/>
                  <a:pt x="3023643" y="578466"/>
                </a:cubicBezTo>
                <a:cubicBezTo>
                  <a:pt x="3023643" y="584413"/>
                  <a:pt x="3018852" y="589202"/>
                  <a:pt x="3012905" y="589202"/>
                </a:cubicBezTo>
                <a:cubicBezTo>
                  <a:pt x="3006959" y="589202"/>
                  <a:pt x="3002169" y="584413"/>
                  <a:pt x="3002169" y="578466"/>
                </a:cubicBezTo>
                <a:cubicBezTo>
                  <a:pt x="3002169" y="572519"/>
                  <a:pt x="3006959" y="567730"/>
                  <a:pt x="3012905" y="567730"/>
                </a:cubicBezTo>
                <a:close/>
                <a:moveTo>
                  <a:pt x="1484979" y="566573"/>
                </a:moveTo>
                <a:cubicBezTo>
                  <a:pt x="1490926" y="566573"/>
                  <a:pt x="1495717" y="571363"/>
                  <a:pt x="1495717" y="577309"/>
                </a:cubicBezTo>
                <a:cubicBezTo>
                  <a:pt x="1495717" y="583256"/>
                  <a:pt x="1490926" y="588046"/>
                  <a:pt x="1484979" y="588046"/>
                </a:cubicBezTo>
                <a:cubicBezTo>
                  <a:pt x="1479032" y="588046"/>
                  <a:pt x="1474243" y="583256"/>
                  <a:pt x="1474243" y="577309"/>
                </a:cubicBezTo>
                <a:cubicBezTo>
                  <a:pt x="1474243" y="571363"/>
                  <a:pt x="1479032" y="566573"/>
                  <a:pt x="1484979" y="566573"/>
                </a:cubicBezTo>
                <a:close/>
                <a:moveTo>
                  <a:pt x="2851855" y="566242"/>
                </a:moveTo>
                <a:cubicBezTo>
                  <a:pt x="2857801" y="566242"/>
                  <a:pt x="2862593" y="571032"/>
                  <a:pt x="2862593" y="576978"/>
                </a:cubicBezTo>
                <a:cubicBezTo>
                  <a:pt x="2862593" y="582925"/>
                  <a:pt x="2857801" y="587714"/>
                  <a:pt x="2851855" y="587714"/>
                </a:cubicBezTo>
                <a:cubicBezTo>
                  <a:pt x="2845908" y="587714"/>
                  <a:pt x="2841118" y="582925"/>
                  <a:pt x="2841118" y="576978"/>
                </a:cubicBezTo>
                <a:cubicBezTo>
                  <a:pt x="2841118" y="571032"/>
                  <a:pt x="2845908" y="566242"/>
                  <a:pt x="2851855" y="566242"/>
                </a:cubicBezTo>
                <a:close/>
                <a:moveTo>
                  <a:pt x="1864565" y="564259"/>
                </a:moveTo>
                <a:cubicBezTo>
                  <a:pt x="1870511" y="564259"/>
                  <a:pt x="1875301" y="569049"/>
                  <a:pt x="1875301" y="574996"/>
                </a:cubicBezTo>
                <a:cubicBezTo>
                  <a:pt x="1875301" y="580942"/>
                  <a:pt x="1870511" y="585732"/>
                  <a:pt x="1864565" y="585732"/>
                </a:cubicBezTo>
                <a:cubicBezTo>
                  <a:pt x="1858618" y="585732"/>
                  <a:pt x="1853828" y="580942"/>
                  <a:pt x="1853828" y="574996"/>
                </a:cubicBezTo>
                <a:cubicBezTo>
                  <a:pt x="1853828" y="569049"/>
                  <a:pt x="1858618" y="564259"/>
                  <a:pt x="1864565" y="564259"/>
                </a:cubicBezTo>
                <a:close/>
                <a:moveTo>
                  <a:pt x="1323431" y="560460"/>
                </a:moveTo>
                <a:cubicBezTo>
                  <a:pt x="1329377" y="560460"/>
                  <a:pt x="1334167" y="565250"/>
                  <a:pt x="1334167" y="571196"/>
                </a:cubicBezTo>
                <a:cubicBezTo>
                  <a:pt x="1334167" y="577143"/>
                  <a:pt x="1329377" y="581934"/>
                  <a:pt x="1323431" y="581934"/>
                </a:cubicBezTo>
                <a:cubicBezTo>
                  <a:pt x="1317484" y="581934"/>
                  <a:pt x="1312694" y="577143"/>
                  <a:pt x="1312694" y="571196"/>
                </a:cubicBezTo>
                <a:cubicBezTo>
                  <a:pt x="1312694" y="565250"/>
                  <a:pt x="1317484" y="560460"/>
                  <a:pt x="1323431" y="560460"/>
                </a:cubicBezTo>
                <a:close/>
                <a:moveTo>
                  <a:pt x="1593173" y="557817"/>
                </a:moveTo>
                <a:cubicBezTo>
                  <a:pt x="1599120" y="557817"/>
                  <a:pt x="1603910" y="562607"/>
                  <a:pt x="1603910" y="568553"/>
                </a:cubicBezTo>
                <a:cubicBezTo>
                  <a:pt x="1603910" y="574500"/>
                  <a:pt x="1599120" y="579291"/>
                  <a:pt x="1593173" y="579291"/>
                </a:cubicBezTo>
                <a:cubicBezTo>
                  <a:pt x="1587227" y="579291"/>
                  <a:pt x="1582437" y="574500"/>
                  <a:pt x="1582437" y="568553"/>
                </a:cubicBezTo>
                <a:cubicBezTo>
                  <a:pt x="1582437" y="562607"/>
                  <a:pt x="1587227" y="557817"/>
                  <a:pt x="1593173" y="557817"/>
                </a:cubicBezTo>
                <a:close/>
                <a:moveTo>
                  <a:pt x="1392807" y="557323"/>
                </a:moveTo>
                <a:cubicBezTo>
                  <a:pt x="1398754" y="557323"/>
                  <a:pt x="1403545" y="562113"/>
                  <a:pt x="1403545" y="568059"/>
                </a:cubicBezTo>
                <a:cubicBezTo>
                  <a:pt x="1403545" y="574006"/>
                  <a:pt x="1398754" y="578796"/>
                  <a:pt x="1392807" y="578796"/>
                </a:cubicBezTo>
                <a:cubicBezTo>
                  <a:pt x="1386860" y="578796"/>
                  <a:pt x="1382071" y="574006"/>
                  <a:pt x="1382071" y="568059"/>
                </a:cubicBezTo>
                <a:cubicBezTo>
                  <a:pt x="1382071" y="562113"/>
                  <a:pt x="1386860" y="557323"/>
                  <a:pt x="1392807" y="557323"/>
                </a:cubicBezTo>
                <a:close/>
                <a:moveTo>
                  <a:pt x="2172959" y="556662"/>
                </a:moveTo>
                <a:cubicBezTo>
                  <a:pt x="2178905" y="556662"/>
                  <a:pt x="2183697" y="561452"/>
                  <a:pt x="2183697" y="567399"/>
                </a:cubicBezTo>
                <a:cubicBezTo>
                  <a:pt x="2183697" y="573345"/>
                  <a:pt x="2178905" y="578136"/>
                  <a:pt x="2172959" y="578136"/>
                </a:cubicBezTo>
                <a:cubicBezTo>
                  <a:pt x="2167012" y="578136"/>
                  <a:pt x="2162222" y="573345"/>
                  <a:pt x="2162222" y="567399"/>
                </a:cubicBezTo>
                <a:cubicBezTo>
                  <a:pt x="2162222" y="561452"/>
                  <a:pt x="2167012" y="556662"/>
                  <a:pt x="2172959" y="556662"/>
                </a:cubicBezTo>
                <a:close/>
                <a:moveTo>
                  <a:pt x="1718876" y="556331"/>
                </a:moveTo>
                <a:cubicBezTo>
                  <a:pt x="1724822" y="556331"/>
                  <a:pt x="1729612" y="561121"/>
                  <a:pt x="1729612" y="567067"/>
                </a:cubicBezTo>
                <a:cubicBezTo>
                  <a:pt x="1729612" y="573014"/>
                  <a:pt x="1724822" y="577805"/>
                  <a:pt x="1718876" y="577805"/>
                </a:cubicBezTo>
                <a:cubicBezTo>
                  <a:pt x="1712929" y="577805"/>
                  <a:pt x="1708139" y="573014"/>
                  <a:pt x="1708139" y="567067"/>
                </a:cubicBezTo>
                <a:cubicBezTo>
                  <a:pt x="1708139" y="561121"/>
                  <a:pt x="1712929" y="556331"/>
                  <a:pt x="1718876" y="556331"/>
                </a:cubicBezTo>
                <a:close/>
                <a:moveTo>
                  <a:pt x="1220360" y="542126"/>
                </a:moveTo>
                <a:cubicBezTo>
                  <a:pt x="1226141" y="542126"/>
                  <a:pt x="1230766" y="546751"/>
                  <a:pt x="1230766" y="552533"/>
                </a:cubicBezTo>
                <a:lnTo>
                  <a:pt x="1221433" y="561866"/>
                </a:lnTo>
                <a:lnTo>
                  <a:pt x="1225644" y="566077"/>
                </a:lnTo>
                <a:lnTo>
                  <a:pt x="1215816" y="575905"/>
                </a:lnTo>
                <a:lnTo>
                  <a:pt x="1219038" y="579127"/>
                </a:lnTo>
                <a:lnTo>
                  <a:pt x="1208796" y="589367"/>
                </a:lnTo>
                <a:lnTo>
                  <a:pt x="1211439" y="592010"/>
                </a:lnTo>
                <a:cubicBezTo>
                  <a:pt x="1211439" y="597956"/>
                  <a:pt x="1206649" y="602746"/>
                  <a:pt x="1200702" y="602746"/>
                </a:cubicBezTo>
                <a:cubicBezTo>
                  <a:pt x="1194756" y="602746"/>
                  <a:pt x="1189966" y="597956"/>
                  <a:pt x="1189966" y="592010"/>
                </a:cubicBezTo>
                <a:lnTo>
                  <a:pt x="1200206" y="581770"/>
                </a:lnTo>
                <a:lnTo>
                  <a:pt x="1197564" y="579127"/>
                </a:lnTo>
                <a:lnTo>
                  <a:pt x="1207393" y="569299"/>
                </a:lnTo>
                <a:lnTo>
                  <a:pt x="1204171" y="566077"/>
                </a:lnTo>
                <a:lnTo>
                  <a:pt x="1213834" y="556414"/>
                </a:lnTo>
                <a:lnTo>
                  <a:pt x="1209953" y="552533"/>
                </a:lnTo>
                <a:cubicBezTo>
                  <a:pt x="1209953" y="546751"/>
                  <a:pt x="1214578" y="542126"/>
                  <a:pt x="1220360" y="542126"/>
                </a:cubicBezTo>
                <a:close/>
                <a:moveTo>
                  <a:pt x="1480188" y="539152"/>
                </a:moveTo>
                <a:cubicBezTo>
                  <a:pt x="1486134" y="539152"/>
                  <a:pt x="1490926" y="543942"/>
                  <a:pt x="1490926" y="549888"/>
                </a:cubicBezTo>
                <a:cubicBezTo>
                  <a:pt x="1490926" y="555835"/>
                  <a:pt x="1486134" y="560625"/>
                  <a:pt x="1480188" y="560625"/>
                </a:cubicBezTo>
                <a:cubicBezTo>
                  <a:pt x="1474241" y="560625"/>
                  <a:pt x="1469451" y="555835"/>
                  <a:pt x="1469451" y="549888"/>
                </a:cubicBezTo>
                <a:cubicBezTo>
                  <a:pt x="1469451" y="543942"/>
                  <a:pt x="1474241" y="539152"/>
                  <a:pt x="1480188" y="539152"/>
                </a:cubicBezTo>
                <a:close/>
                <a:moveTo>
                  <a:pt x="1224818" y="538162"/>
                </a:moveTo>
                <a:cubicBezTo>
                  <a:pt x="1224984" y="538162"/>
                  <a:pt x="1224984" y="538162"/>
                  <a:pt x="1224984" y="538326"/>
                </a:cubicBezTo>
                <a:cubicBezTo>
                  <a:pt x="1224984" y="538493"/>
                  <a:pt x="1224818" y="538493"/>
                  <a:pt x="1224818" y="538493"/>
                </a:cubicBezTo>
                <a:cubicBezTo>
                  <a:pt x="1224653" y="538493"/>
                  <a:pt x="1224653" y="538493"/>
                  <a:pt x="1224653" y="538326"/>
                </a:cubicBezTo>
                <a:cubicBezTo>
                  <a:pt x="1224653" y="538162"/>
                  <a:pt x="1224653" y="538162"/>
                  <a:pt x="1224818" y="538162"/>
                </a:cubicBezTo>
                <a:close/>
                <a:moveTo>
                  <a:pt x="2318814" y="533866"/>
                </a:moveTo>
                <a:cubicBezTo>
                  <a:pt x="2324761" y="533866"/>
                  <a:pt x="2329552" y="538656"/>
                  <a:pt x="2329552" y="544602"/>
                </a:cubicBezTo>
                <a:cubicBezTo>
                  <a:pt x="2329552" y="550549"/>
                  <a:pt x="2324761" y="555339"/>
                  <a:pt x="2318814" y="555339"/>
                </a:cubicBezTo>
                <a:cubicBezTo>
                  <a:pt x="2312868" y="555339"/>
                  <a:pt x="2308078" y="550549"/>
                  <a:pt x="2308078" y="544602"/>
                </a:cubicBezTo>
                <a:cubicBezTo>
                  <a:pt x="2308078" y="538656"/>
                  <a:pt x="2312868" y="533866"/>
                  <a:pt x="2318814" y="533866"/>
                </a:cubicBezTo>
                <a:close/>
                <a:moveTo>
                  <a:pt x="1993902" y="532050"/>
                </a:moveTo>
                <a:cubicBezTo>
                  <a:pt x="1999849" y="532050"/>
                  <a:pt x="2004640" y="536840"/>
                  <a:pt x="2004640" y="542787"/>
                </a:cubicBezTo>
                <a:cubicBezTo>
                  <a:pt x="2004640" y="548733"/>
                  <a:pt x="1999849" y="553523"/>
                  <a:pt x="1993902" y="553523"/>
                </a:cubicBezTo>
                <a:cubicBezTo>
                  <a:pt x="1987956" y="553523"/>
                  <a:pt x="1983166" y="548733"/>
                  <a:pt x="1983166" y="542787"/>
                </a:cubicBezTo>
                <a:cubicBezTo>
                  <a:pt x="1983166" y="536840"/>
                  <a:pt x="1987956" y="532050"/>
                  <a:pt x="1993902" y="532050"/>
                </a:cubicBezTo>
                <a:close/>
                <a:moveTo>
                  <a:pt x="1582106" y="525773"/>
                </a:moveTo>
                <a:cubicBezTo>
                  <a:pt x="1588052" y="525773"/>
                  <a:pt x="1592844" y="530562"/>
                  <a:pt x="1592844" y="536509"/>
                </a:cubicBezTo>
                <a:cubicBezTo>
                  <a:pt x="1592844" y="542456"/>
                  <a:pt x="1588052" y="547245"/>
                  <a:pt x="1582106" y="547245"/>
                </a:cubicBezTo>
                <a:cubicBezTo>
                  <a:pt x="1576159" y="547245"/>
                  <a:pt x="1571369" y="542456"/>
                  <a:pt x="1571369" y="536509"/>
                </a:cubicBezTo>
                <a:cubicBezTo>
                  <a:pt x="1571369" y="530562"/>
                  <a:pt x="1576159" y="525773"/>
                  <a:pt x="1582106" y="525773"/>
                </a:cubicBezTo>
                <a:close/>
                <a:moveTo>
                  <a:pt x="3390675" y="524947"/>
                </a:moveTo>
                <a:cubicBezTo>
                  <a:pt x="3396622" y="524947"/>
                  <a:pt x="3401414" y="529737"/>
                  <a:pt x="3401414" y="535684"/>
                </a:cubicBezTo>
                <a:cubicBezTo>
                  <a:pt x="3401414" y="541630"/>
                  <a:pt x="3396622" y="546420"/>
                  <a:pt x="3390675" y="546420"/>
                </a:cubicBezTo>
                <a:cubicBezTo>
                  <a:pt x="3384729" y="546420"/>
                  <a:pt x="3379939" y="541630"/>
                  <a:pt x="3379939" y="535684"/>
                </a:cubicBezTo>
                <a:cubicBezTo>
                  <a:pt x="3379939" y="529737"/>
                  <a:pt x="3384729" y="524947"/>
                  <a:pt x="3390675" y="524947"/>
                </a:cubicBezTo>
                <a:close/>
                <a:moveTo>
                  <a:pt x="1836979" y="520322"/>
                </a:moveTo>
                <a:cubicBezTo>
                  <a:pt x="1842926" y="520322"/>
                  <a:pt x="1847717" y="525112"/>
                  <a:pt x="1847717" y="531059"/>
                </a:cubicBezTo>
                <a:cubicBezTo>
                  <a:pt x="1847717" y="537005"/>
                  <a:pt x="1842926" y="541797"/>
                  <a:pt x="1836979" y="541797"/>
                </a:cubicBezTo>
                <a:cubicBezTo>
                  <a:pt x="1831033" y="541797"/>
                  <a:pt x="1826243" y="537005"/>
                  <a:pt x="1826243" y="531059"/>
                </a:cubicBezTo>
                <a:cubicBezTo>
                  <a:pt x="1826243" y="525112"/>
                  <a:pt x="1831033" y="520322"/>
                  <a:pt x="1836979" y="520322"/>
                </a:cubicBezTo>
                <a:close/>
                <a:moveTo>
                  <a:pt x="1700209" y="518834"/>
                </a:moveTo>
                <a:cubicBezTo>
                  <a:pt x="1706156" y="518834"/>
                  <a:pt x="1710947" y="523624"/>
                  <a:pt x="1710947" y="529571"/>
                </a:cubicBezTo>
                <a:cubicBezTo>
                  <a:pt x="1710947" y="535517"/>
                  <a:pt x="1706156" y="540309"/>
                  <a:pt x="1700209" y="540309"/>
                </a:cubicBezTo>
                <a:cubicBezTo>
                  <a:pt x="1694262" y="540309"/>
                  <a:pt x="1689473" y="535517"/>
                  <a:pt x="1689473" y="529571"/>
                </a:cubicBezTo>
                <a:cubicBezTo>
                  <a:pt x="1689473" y="523624"/>
                  <a:pt x="1694262" y="518834"/>
                  <a:pt x="1700209" y="518834"/>
                </a:cubicBezTo>
                <a:close/>
                <a:moveTo>
                  <a:pt x="2468468" y="516027"/>
                </a:moveTo>
                <a:cubicBezTo>
                  <a:pt x="2474414" y="516027"/>
                  <a:pt x="2479206" y="520816"/>
                  <a:pt x="2479206" y="526763"/>
                </a:cubicBezTo>
                <a:cubicBezTo>
                  <a:pt x="2479206" y="532709"/>
                  <a:pt x="2474414" y="537499"/>
                  <a:pt x="2468468" y="537499"/>
                </a:cubicBezTo>
                <a:cubicBezTo>
                  <a:pt x="2462521" y="537499"/>
                  <a:pt x="2457731" y="532709"/>
                  <a:pt x="2457731" y="526763"/>
                </a:cubicBezTo>
                <a:cubicBezTo>
                  <a:pt x="2457731" y="520816"/>
                  <a:pt x="2462521" y="516027"/>
                  <a:pt x="2468468" y="516027"/>
                </a:cubicBezTo>
                <a:close/>
                <a:moveTo>
                  <a:pt x="1477215" y="515697"/>
                </a:moveTo>
                <a:cubicBezTo>
                  <a:pt x="1483162" y="515697"/>
                  <a:pt x="1487953" y="520487"/>
                  <a:pt x="1487953" y="526433"/>
                </a:cubicBezTo>
                <a:cubicBezTo>
                  <a:pt x="1487953" y="532380"/>
                  <a:pt x="1483162" y="537170"/>
                  <a:pt x="1477215" y="537170"/>
                </a:cubicBezTo>
                <a:cubicBezTo>
                  <a:pt x="1471269" y="537170"/>
                  <a:pt x="1466479" y="532380"/>
                  <a:pt x="1466479" y="526433"/>
                </a:cubicBezTo>
                <a:cubicBezTo>
                  <a:pt x="1466479" y="520487"/>
                  <a:pt x="1471269" y="515697"/>
                  <a:pt x="1477215" y="515697"/>
                </a:cubicBezTo>
                <a:close/>
                <a:moveTo>
                  <a:pt x="1270573" y="512062"/>
                </a:moveTo>
                <a:cubicBezTo>
                  <a:pt x="1276519" y="512062"/>
                  <a:pt x="1281311" y="516852"/>
                  <a:pt x="1281311" y="522799"/>
                </a:cubicBezTo>
                <a:lnTo>
                  <a:pt x="1272722" y="531390"/>
                </a:lnTo>
                <a:lnTo>
                  <a:pt x="1276355" y="535023"/>
                </a:lnTo>
                <a:lnTo>
                  <a:pt x="1267600" y="543777"/>
                </a:lnTo>
                <a:lnTo>
                  <a:pt x="1270573" y="546749"/>
                </a:lnTo>
                <a:lnTo>
                  <a:pt x="1261406" y="555918"/>
                </a:lnTo>
                <a:lnTo>
                  <a:pt x="1263636" y="558148"/>
                </a:lnTo>
                <a:lnTo>
                  <a:pt x="1254056" y="567728"/>
                </a:lnTo>
                <a:lnTo>
                  <a:pt x="1256039" y="569710"/>
                </a:lnTo>
                <a:lnTo>
                  <a:pt x="1246044" y="579704"/>
                </a:lnTo>
                <a:lnTo>
                  <a:pt x="1247779" y="581439"/>
                </a:lnTo>
                <a:cubicBezTo>
                  <a:pt x="1247779" y="587385"/>
                  <a:pt x="1242987" y="592175"/>
                  <a:pt x="1237041" y="592175"/>
                </a:cubicBezTo>
                <a:lnTo>
                  <a:pt x="1233022" y="588157"/>
                </a:lnTo>
                <a:lnTo>
                  <a:pt x="1238693" y="593827"/>
                </a:lnTo>
                <a:cubicBezTo>
                  <a:pt x="1238693" y="599774"/>
                  <a:pt x="1233904" y="604564"/>
                  <a:pt x="1227957" y="604564"/>
                </a:cubicBezTo>
                <a:cubicBezTo>
                  <a:pt x="1222010" y="604564"/>
                  <a:pt x="1217221" y="599774"/>
                  <a:pt x="1217221" y="593827"/>
                </a:cubicBezTo>
                <a:lnTo>
                  <a:pt x="1227957" y="583091"/>
                </a:lnTo>
                <a:lnTo>
                  <a:pt x="1226304" y="581439"/>
                </a:lnTo>
                <a:lnTo>
                  <a:pt x="1236298" y="571444"/>
                </a:lnTo>
                <a:lnTo>
                  <a:pt x="1234564" y="569710"/>
                </a:lnTo>
                <a:lnTo>
                  <a:pt x="1244144" y="560130"/>
                </a:lnTo>
                <a:lnTo>
                  <a:pt x="1242162" y="558148"/>
                </a:lnTo>
                <a:lnTo>
                  <a:pt x="1251330" y="548980"/>
                </a:lnTo>
                <a:lnTo>
                  <a:pt x="1249100" y="546749"/>
                </a:lnTo>
                <a:lnTo>
                  <a:pt x="1257854" y="537995"/>
                </a:lnTo>
                <a:lnTo>
                  <a:pt x="1254882" y="535023"/>
                </a:lnTo>
                <a:lnTo>
                  <a:pt x="1263471" y="526433"/>
                </a:lnTo>
                <a:lnTo>
                  <a:pt x="1259836" y="522799"/>
                </a:lnTo>
                <a:cubicBezTo>
                  <a:pt x="1259836" y="516852"/>
                  <a:pt x="1264626" y="512062"/>
                  <a:pt x="1270573" y="512062"/>
                </a:cubicBezTo>
                <a:close/>
                <a:moveTo>
                  <a:pt x="3239534" y="509586"/>
                </a:moveTo>
                <a:cubicBezTo>
                  <a:pt x="3245480" y="509586"/>
                  <a:pt x="3250272" y="514376"/>
                  <a:pt x="3250272" y="520322"/>
                </a:cubicBezTo>
                <a:cubicBezTo>
                  <a:pt x="3250272" y="526269"/>
                  <a:pt x="3245480" y="531059"/>
                  <a:pt x="3239534" y="531059"/>
                </a:cubicBezTo>
                <a:cubicBezTo>
                  <a:pt x="3233588" y="531059"/>
                  <a:pt x="3228798" y="526269"/>
                  <a:pt x="3228798" y="520322"/>
                </a:cubicBezTo>
                <a:cubicBezTo>
                  <a:pt x="3228798" y="514376"/>
                  <a:pt x="3233588" y="509586"/>
                  <a:pt x="3239534" y="509586"/>
                </a:cubicBezTo>
                <a:close/>
                <a:moveTo>
                  <a:pt x="1274374" y="504133"/>
                </a:moveTo>
                <a:cubicBezTo>
                  <a:pt x="1277567" y="504133"/>
                  <a:pt x="1280156" y="506723"/>
                  <a:pt x="1280156" y="509915"/>
                </a:cubicBezTo>
                <a:cubicBezTo>
                  <a:pt x="1280156" y="513108"/>
                  <a:pt x="1277567" y="515697"/>
                  <a:pt x="1274374" y="515697"/>
                </a:cubicBezTo>
                <a:cubicBezTo>
                  <a:pt x="1271182" y="515697"/>
                  <a:pt x="1268592" y="513108"/>
                  <a:pt x="1268592" y="509915"/>
                </a:cubicBezTo>
                <a:cubicBezTo>
                  <a:pt x="1268592" y="506723"/>
                  <a:pt x="1271182" y="504133"/>
                  <a:pt x="1274374" y="504133"/>
                </a:cubicBezTo>
                <a:close/>
                <a:moveTo>
                  <a:pt x="2128526" y="503638"/>
                </a:moveTo>
                <a:cubicBezTo>
                  <a:pt x="2134472" y="503638"/>
                  <a:pt x="2139262" y="508427"/>
                  <a:pt x="2139262" y="514374"/>
                </a:cubicBezTo>
                <a:cubicBezTo>
                  <a:pt x="2139262" y="520320"/>
                  <a:pt x="2134472" y="525112"/>
                  <a:pt x="2128526" y="525112"/>
                </a:cubicBezTo>
                <a:cubicBezTo>
                  <a:pt x="2122579" y="525112"/>
                  <a:pt x="2117789" y="520320"/>
                  <a:pt x="2117789" y="514374"/>
                </a:cubicBezTo>
                <a:cubicBezTo>
                  <a:pt x="2117789" y="508427"/>
                  <a:pt x="2122579" y="503638"/>
                  <a:pt x="2128526" y="503638"/>
                </a:cubicBezTo>
                <a:close/>
                <a:moveTo>
                  <a:pt x="2621095" y="503473"/>
                </a:moveTo>
                <a:cubicBezTo>
                  <a:pt x="2627042" y="503473"/>
                  <a:pt x="2631833" y="508263"/>
                  <a:pt x="2631833" y="514209"/>
                </a:cubicBezTo>
                <a:cubicBezTo>
                  <a:pt x="2631833" y="520156"/>
                  <a:pt x="2627042" y="524947"/>
                  <a:pt x="2621095" y="524947"/>
                </a:cubicBezTo>
                <a:cubicBezTo>
                  <a:pt x="2615149" y="524947"/>
                  <a:pt x="2610359" y="520156"/>
                  <a:pt x="2610359" y="514209"/>
                </a:cubicBezTo>
                <a:cubicBezTo>
                  <a:pt x="2610359" y="508263"/>
                  <a:pt x="2615149" y="503473"/>
                  <a:pt x="2621095" y="503473"/>
                </a:cubicBezTo>
                <a:close/>
                <a:moveTo>
                  <a:pt x="3085916" y="499508"/>
                </a:moveTo>
                <a:cubicBezTo>
                  <a:pt x="3091863" y="499508"/>
                  <a:pt x="3096654" y="504298"/>
                  <a:pt x="3096654" y="510245"/>
                </a:cubicBezTo>
                <a:cubicBezTo>
                  <a:pt x="3096654" y="516191"/>
                  <a:pt x="3091863" y="520983"/>
                  <a:pt x="3085916" y="520983"/>
                </a:cubicBezTo>
                <a:cubicBezTo>
                  <a:pt x="3079970" y="520983"/>
                  <a:pt x="3075180" y="516191"/>
                  <a:pt x="3075180" y="510245"/>
                </a:cubicBezTo>
                <a:cubicBezTo>
                  <a:pt x="3075180" y="504298"/>
                  <a:pt x="3079970" y="499508"/>
                  <a:pt x="3085916" y="499508"/>
                </a:cubicBezTo>
                <a:close/>
                <a:moveTo>
                  <a:pt x="1573185" y="498518"/>
                </a:moveTo>
                <a:cubicBezTo>
                  <a:pt x="1579132" y="498518"/>
                  <a:pt x="1583923" y="503308"/>
                  <a:pt x="1583923" y="509255"/>
                </a:cubicBezTo>
                <a:cubicBezTo>
                  <a:pt x="1583923" y="515201"/>
                  <a:pt x="1579132" y="519991"/>
                  <a:pt x="1573185" y="519991"/>
                </a:cubicBezTo>
                <a:cubicBezTo>
                  <a:pt x="1567238" y="519991"/>
                  <a:pt x="1562449" y="515201"/>
                  <a:pt x="1562449" y="509255"/>
                </a:cubicBezTo>
                <a:cubicBezTo>
                  <a:pt x="1562449" y="503308"/>
                  <a:pt x="1567238" y="498518"/>
                  <a:pt x="1573185" y="498518"/>
                </a:cubicBezTo>
                <a:close/>
                <a:moveTo>
                  <a:pt x="2775540" y="496536"/>
                </a:moveTo>
                <a:cubicBezTo>
                  <a:pt x="2781487" y="496536"/>
                  <a:pt x="2786276" y="501326"/>
                  <a:pt x="2786276" y="507272"/>
                </a:cubicBezTo>
                <a:cubicBezTo>
                  <a:pt x="2786276" y="513219"/>
                  <a:pt x="2781487" y="518010"/>
                  <a:pt x="2775540" y="518010"/>
                </a:cubicBezTo>
                <a:cubicBezTo>
                  <a:pt x="2769594" y="518010"/>
                  <a:pt x="2764804" y="513219"/>
                  <a:pt x="2764804" y="507272"/>
                </a:cubicBezTo>
                <a:cubicBezTo>
                  <a:pt x="2764804" y="501326"/>
                  <a:pt x="2769594" y="496536"/>
                  <a:pt x="2775540" y="496536"/>
                </a:cubicBezTo>
                <a:close/>
                <a:moveTo>
                  <a:pt x="2930975" y="495215"/>
                </a:moveTo>
                <a:cubicBezTo>
                  <a:pt x="2936922" y="495215"/>
                  <a:pt x="2941714" y="500004"/>
                  <a:pt x="2941714" y="505951"/>
                </a:cubicBezTo>
                <a:cubicBezTo>
                  <a:pt x="2941714" y="511897"/>
                  <a:pt x="2936922" y="516689"/>
                  <a:pt x="2930975" y="516689"/>
                </a:cubicBezTo>
                <a:cubicBezTo>
                  <a:pt x="2925029" y="516689"/>
                  <a:pt x="2920239" y="511897"/>
                  <a:pt x="2920239" y="505951"/>
                </a:cubicBezTo>
                <a:cubicBezTo>
                  <a:pt x="2920239" y="500004"/>
                  <a:pt x="2925029" y="495215"/>
                  <a:pt x="2930975" y="495215"/>
                </a:cubicBezTo>
                <a:close/>
                <a:moveTo>
                  <a:pt x="1960370" y="487286"/>
                </a:moveTo>
                <a:cubicBezTo>
                  <a:pt x="1966316" y="487286"/>
                  <a:pt x="1971108" y="492076"/>
                  <a:pt x="1971108" y="498022"/>
                </a:cubicBezTo>
                <a:cubicBezTo>
                  <a:pt x="1971108" y="503969"/>
                  <a:pt x="1966316" y="508760"/>
                  <a:pt x="1960370" y="508760"/>
                </a:cubicBezTo>
                <a:cubicBezTo>
                  <a:pt x="1954424" y="508760"/>
                  <a:pt x="1949634" y="503969"/>
                  <a:pt x="1949634" y="498022"/>
                </a:cubicBezTo>
                <a:cubicBezTo>
                  <a:pt x="1949634" y="492076"/>
                  <a:pt x="1954424" y="487286"/>
                  <a:pt x="1960370" y="487286"/>
                </a:cubicBezTo>
                <a:close/>
                <a:moveTo>
                  <a:pt x="1684352" y="486955"/>
                </a:moveTo>
                <a:cubicBezTo>
                  <a:pt x="1690298" y="486955"/>
                  <a:pt x="1695090" y="491744"/>
                  <a:pt x="1695090" y="497691"/>
                </a:cubicBezTo>
                <a:cubicBezTo>
                  <a:pt x="1695090" y="503638"/>
                  <a:pt x="1690298" y="508429"/>
                  <a:pt x="1684352" y="508429"/>
                </a:cubicBezTo>
                <a:cubicBezTo>
                  <a:pt x="1678405" y="508429"/>
                  <a:pt x="1673615" y="503638"/>
                  <a:pt x="1673615" y="497691"/>
                </a:cubicBezTo>
                <a:cubicBezTo>
                  <a:pt x="1673615" y="491744"/>
                  <a:pt x="1678405" y="486955"/>
                  <a:pt x="1684352" y="486955"/>
                </a:cubicBezTo>
                <a:close/>
                <a:moveTo>
                  <a:pt x="1812864" y="482496"/>
                </a:moveTo>
                <a:cubicBezTo>
                  <a:pt x="1818810" y="482496"/>
                  <a:pt x="1823602" y="487286"/>
                  <a:pt x="1823602" y="493232"/>
                </a:cubicBezTo>
                <a:cubicBezTo>
                  <a:pt x="1823602" y="499179"/>
                  <a:pt x="1818810" y="503969"/>
                  <a:pt x="1812864" y="503969"/>
                </a:cubicBezTo>
                <a:cubicBezTo>
                  <a:pt x="1806917" y="503969"/>
                  <a:pt x="1802127" y="499179"/>
                  <a:pt x="1802127" y="493232"/>
                </a:cubicBezTo>
                <a:cubicBezTo>
                  <a:pt x="1802127" y="487286"/>
                  <a:pt x="1806917" y="482496"/>
                  <a:pt x="1812864" y="482496"/>
                </a:cubicBezTo>
                <a:close/>
                <a:moveTo>
                  <a:pt x="2267772" y="479357"/>
                </a:moveTo>
                <a:cubicBezTo>
                  <a:pt x="2273718" y="479357"/>
                  <a:pt x="2278510" y="484147"/>
                  <a:pt x="2278510" y="490094"/>
                </a:cubicBezTo>
                <a:cubicBezTo>
                  <a:pt x="2278510" y="496040"/>
                  <a:pt x="2273718" y="500830"/>
                  <a:pt x="2267772" y="500830"/>
                </a:cubicBezTo>
                <a:cubicBezTo>
                  <a:pt x="2261826" y="500830"/>
                  <a:pt x="2257036" y="496040"/>
                  <a:pt x="2257036" y="490094"/>
                </a:cubicBezTo>
                <a:cubicBezTo>
                  <a:pt x="2257036" y="484147"/>
                  <a:pt x="2261826" y="479357"/>
                  <a:pt x="2267772" y="479357"/>
                </a:cubicBezTo>
                <a:close/>
                <a:moveTo>
                  <a:pt x="1566084" y="475558"/>
                </a:moveTo>
                <a:cubicBezTo>
                  <a:pt x="1572030" y="475558"/>
                  <a:pt x="1576820" y="480347"/>
                  <a:pt x="1576820" y="486294"/>
                </a:cubicBezTo>
                <a:cubicBezTo>
                  <a:pt x="1576820" y="492241"/>
                  <a:pt x="1572030" y="497030"/>
                  <a:pt x="1566084" y="497030"/>
                </a:cubicBezTo>
                <a:cubicBezTo>
                  <a:pt x="1560137" y="497030"/>
                  <a:pt x="1555347" y="492241"/>
                  <a:pt x="1555347" y="486294"/>
                </a:cubicBezTo>
                <a:cubicBezTo>
                  <a:pt x="1555347" y="480347"/>
                  <a:pt x="1560137" y="475558"/>
                  <a:pt x="1566084" y="475558"/>
                </a:cubicBezTo>
                <a:close/>
                <a:moveTo>
                  <a:pt x="1325413" y="470768"/>
                </a:moveTo>
                <a:cubicBezTo>
                  <a:pt x="1331344" y="470768"/>
                  <a:pt x="1336149" y="475575"/>
                  <a:pt x="1336149" y="481504"/>
                </a:cubicBezTo>
                <a:lnTo>
                  <a:pt x="1328883" y="488772"/>
                </a:lnTo>
                <a:lnTo>
                  <a:pt x="1333012" y="492901"/>
                </a:lnTo>
                <a:lnTo>
                  <a:pt x="1325580" y="500336"/>
                </a:lnTo>
                <a:lnTo>
                  <a:pt x="1328881" y="503638"/>
                </a:lnTo>
                <a:lnTo>
                  <a:pt x="1321201" y="511318"/>
                </a:lnTo>
                <a:lnTo>
                  <a:pt x="1323929" y="514044"/>
                </a:lnTo>
                <a:lnTo>
                  <a:pt x="1315917" y="522056"/>
                </a:lnTo>
                <a:lnTo>
                  <a:pt x="1318147" y="524285"/>
                </a:lnTo>
                <a:lnTo>
                  <a:pt x="1309804" y="532628"/>
                </a:lnTo>
                <a:lnTo>
                  <a:pt x="1311704" y="534527"/>
                </a:lnTo>
                <a:lnTo>
                  <a:pt x="1302950" y="543281"/>
                </a:lnTo>
                <a:lnTo>
                  <a:pt x="1304603" y="544934"/>
                </a:lnTo>
                <a:lnTo>
                  <a:pt x="1295186" y="554350"/>
                </a:lnTo>
                <a:lnTo>
                  <a:pt x="1297002" y="556166"/>
                </a:lnTo>
                <a:lnTo>
                  <a:pt x="1287093" y="566077"/>
                </a:lnTo>
                <a:lnTo>
                  <a:pt x="1289075" y="568059"/>
                </a:lnTo>
                <a:lnTo>
                  <a:pt x="1278420" y="578714"/>
                </a:lnTo>
                <a:lnTo>
                  <a:pt x="1280982" y="581274"/>
                </a:lnTo>
                <a:cubicBezTo>
                  <a:pt x="1280982" y="587220"/>
                  <a:pt x="1276190" y="592012"/>
                  <a:pt x="1270243" y="592012"/>
                </a:cubicBezTo>
                <a:cubicBezTo>
                  <a:pt x="1264297" y="592012"/>
                  <a:pt x="1259507" y="587220"/>
                  <a:pt x="1259507" y="581274"/>
                </a:cubicBezTo>
                <a:lnTo>
                  <a:pt x="1270160" y="570621"/>
                </a:lnTo>
                <a:lnTo>
                  <a:pt x="1267600" y="568059"/>
                </a:lnTo>
                <a:lnTo>
                  <a:pt x="1277511" y="558148"/>
                </a:lnTo>
                <a:lnTo>
                  <a:pt x="1275529" y="556166"/>
                </a:lnTo>
                <a:lnTo>
                  <a:pt x="1284946" y="546751"/>
                </a:lnTo>
                <a:lnTo>
                  <a:pt x="1283128" y="544934"/>
                </a:lnTo>
                <a:lnTo>
                  <a:pt x="1291882" y="536180"/>
                </a:lnTo>
                <a:lnTo>
                  <a:pt x="1290230" y="534527"/>
                </a:lnTo>
                <a:lnTo>
                  <a:pt x="1298571" y="526185"/>
                </a:lnTo>
                <a:lnTo>
                  <a:pt x="1296672" y="524285"/>
                </a:lnTo>
                <a:lnTo>
                  <a:pt x="1304683" y="516275"/>
                </a:lnTo>
                <a:lnTo>
                  <a:pt x="1302454" y="514044"/>
                </a:lnTo>
                <a:lnTo>
                  <a:pt x="1310135" y="506364"/>
                </a:lnTo>
                <a:lnTo>
                  <a:pt x="1307409" y="503638"/>
                </a:lnTo>
                <a:lnTo>
                  <a:pt x="1314843" y="496205"/>
                </a:lnTo>
                <a:lnTo>
                  <a:pt x="1311540" y="492901"/>
                </a:lnTo>
                <a:lnTo>
                  <a:pt x="1318808" y="485635"/>
                </a:lnTo>
                <a:lnTo>
                  <a:pt x="1314677" y="481504"/>
                </a:lnTo>
                <a:cubicBezTo>
                  <a:pt x="1314677" y="475575"/>
                  <a:pt x="1319484" y="470768"/>
                  <a:pt x="1325413" y="470768"/>
                </a:cubicBezTo>
                <a:close/>
                <a:moveTo>
                  <a:pt x="3444855" y="469776"/>
                </a:moveTo>
                <a:cubicBezTo>
                  <a:pt x="3450801" y="469776"/>
                  <a:pt x="3455593" y="474566"/>
                  <a:pt x="3455593" y="480512"/>
                </a:cubicBezTo>
                <a:cubicBezTo>
                  <a:pt x="3455593" y="486459"/>
                  <a:pt x="3450801" y="491249"/>
                  <a:pt x="3444855" y="491249"/>
                </a:cubicBezTo>
                <a:cubicBezTo>
                  <a:pt x="3438908" y="491249"/>
                  <a:pt x="3434118" y="486459"/>
                  <a:pt x="3434118" y="480512"/>
                </a:cubicBezTo>
                <a:cubicBezTo>
                  <a:pt x="3434118" y="474566"/>
                  <a:pt x="3438908" y="469776"/>
                  <a:pt x="3444855" y="469776"/>
                </a:cubicBezTo>
                <a:close/>
                <a:moveTo>
                  <a:pt x="1327562" y="468786"/>
                </a:moveTo>
                <a:cubicBezTo>
                  <a:pt x="1327836" y="468786"/>
                  <a:pt x="1328058" y="469008"/>
                  <a:pt x="1328058" y="469282"/>
                </a:cubicBezTo>
                <a:cubicBezTo>
                  <a:pt x="1328058" y="469555"/>
                  <a:pt x="1327836" y="469778"/>
                  <a:pt x="1327562" y="469778"/>
                </a:cubicBezTo>
                <a:cubicBezTo>
                  <a:pt x="1327288" y="469778"/>
                  <a:pt x="1327066" y="469555"/>
                  <a:pt x="1327066" y="469282"/>
                </a:cubicBezTo>
                <a:cubicBezTo>
                  <a:pt x="1327066" y="469008"/>
                  <a:pt x="1327288" y="468786"/>
                  <a:pt x="1327562" y="468786"/>
                </a:cubicBezTo>
                <a:close/>
                <a:moveTo>
                  <a:pt x="2410655" y="459865"/>
                </a:moveTo>
                <a:cubicBezTo>
                  <a:pt x="2416602" y="459865"/>
                  <a:pt x="2421393" y="464655"/>
                  <a:pt x="2421393" y="470601"/>
                </a:cubicBezTo>
                <a:cubicBezTo>
                  <a:pt x="2421393" y="476548"/>
                  <a:pt x="2416602" y="481338"/>
                  <a:pt x="2410655" y="481338"/>
                </a:cubicBezTo>
                <a:cubicBezTo>
                  <a:pt x="2404708" y="481338"/>
                  <a:pt x="2399919" y="476548"/>
                  <a:pt x="2399919" y="470601"/>
                </a:cubicBezTo>
                <a:cubicBezTo>
                  <a:pt x="2399919" y="464655"/>
                  <a:pt x="2404708" y="459865"/>
                  <a:pt x="2410655" y="459865"/>
                </a:cubicBezTo>
                <a:close/>
                <a:moveTo>
                  <a:pt x="1670972" y="459865"/>
                </a:moveTo>
                <a:cubicBezTo>
                  <a:pt x="1676919" y="459865"/>
                  <a:pt x="1681709" y="464655"/>
                  <a:pt x="1681709" y="470601"/>
                </a:cubicBezTo>
                <a:cubicBezTo>
                  <a:pt x="1681709" y="476548"/>
                  <a:pt x="1676919" y="481338"/>
                  <a:pt x="1670972" y="481338"/>
                </a:cubicBezTo>
                <a:cubicBezTo>
                  <a:pt x="1665026" y="481338"/>
                  <a:pt x="1660236" y="476548"/>
                  <a:pt x="1660236" y="470601"/>
                </a:cubicBezTo>
                <a:cubicBezTo>
                  <a:pt x="1660236" y="464655"/>
                  <a:pt x="1665026" y="459865"/>
                  <a:pt x="1670972" y="459865"/>
                </a:cubicBezTo>
                <a:close/>
                <a:moveTo>
                  <a:pt x="2088717" y="457883"/>
                </a:moveTo>
                <a:cubicBezTo>
                  <a:pt x="2094664" y="457883"/>
                  <a:pt x="2099454" y="462673"/>
                  <a:pt x="2099454" y="468619"/>
                </a:cubicBezTo>
                <a:cubicBezTo>
                  <a:pt x="2099454" y="474566"/>
                  <a:pt x="2094664" y="479357"/>
                  <a:pt x="2088717" y="479357"/>
                </a:cubicBezTo>
                <a:cubicBezTo>
                  <a:pt x="2082771" y="479357"/>
                  <a:pt x="2077981" y="474566"/>
                  <a:pt x="2077981" y="468619"/>
                </a:cubicBezTo>
                <a:cubicBezTo>
                  <a:pt x="2077981" y="462673"/>
                  <a:pt x="2082771" y="457883"/>
                  <a:pt x="2088717" y="457883"/>
                </a:cubicBezTo>
                <a:close/>
                <a:moveTo>
                  <a:pt x="3300321" y="452432"/>
                </a:moveTo>
                <a:cubicBezTo>
                  <a:pt x="3306267" y="452432"/>
                  <a:pt x="3311059" y="457222"/>
                  <a:pt x="3311059" y="463169"/>
                </a:cubicBezTo>
                <a:cubicBezTo>
                  <a:pt x="3311059" y="469115"/>
                  <a:pt x="3306267" y="473907"/>
                  <a:pt x="3300321" y="473907"/>
                </a:cubicBezTo>
                <a:cubicBezTo>
                  <a:pt x="3294374" y="473907"/>
                  <a:pt x="3289584" y="469115"/>
                  <a:pt x="3289584" y="463169"/>
                </a:cubicBezTo>
                <a:cubicBezTo>
                  <a:pt x="3289584" y="457222"/>
                  <a:pt x="3294374" y="452432"/>
                  <a:pt x="3300321" y="452432"/>
                </a:cubicBezTo>
                <a:close/>
                <a:moveTo>
                  <a:pt x="1791720" y="450285"/>
                </a:moveTo>
                <a:cubicBezTo>
                  <a:pt x="1797667" y="450285"/>
                  <a:pt x="1802458" y="455075"/>
                  <a:pt x="1802458" y="461022"/>
                </a:cubicBezTo>
                <a:cubicBezTo>
                  <a:pt x="1802458" y="466968"/>
                  <a:pt x="1797667" y="471758"/>
                  <a:pt x="1791720" y="471758"/>
                </a:cubicBezTo>
                <a:cubicBezTo>
                  <a:pt x="1785774" y="471758"/>
                  <a:pt x="1780984" y="466968"/>
                  <a:pt x="1780984" y="461022"/>
                </a:cubicBezTo>
                <a:cubicBezTo>
                  <a:pt x="1780984" y="455075"/>
                  <a:pt x="1785774" y="450285"/>
                  <a:pt x="1791720" y="450285"/>
                </a:cubicBezTo>
                <a:close/>
                <a:moveTo>
                  <a:pt x="1930473" y="448964"/>
                </a:moveTo>
                <a:cubicBezTo>
                  <a:pt x="1936419" y="448964"/>
                  <a:pt x="1941209" y="453754"/>
                  <a:pt x="1941209" y="459700"/>
                </a:cubicBezTo>
                <a:cubicBezTo>
                  <a:pt x="1941209" y="465647"/>
                  <a:pt x="1936419" y="470436"/>
                  <a:pt x="1930473" y="470436"/>
                </a:cubicBezTo>
                <a:cubicBezTo>
                  <a:pt x="1924526" y="470436"/>
                  <a:pt x="1919736" y="465647"/>
                  <a:pt x="1919736" y="459700"/>
                </a:cubicBezTo>
                <a:cubicBezTo>
                  <a:pt x="1919736" y="453754"/>
                  <a:pt x="1924526" y="448964"/>
                  <a:pt x="1930473" y="448964"/>
                </a:cubicBezTo>
                <a:close/>
                <a:moveTo>
                  <a:pt x="2556840" y="445164"/>
                </a:moveTo>
                <a:cubicBezTo>
                  <a:pt x="2562787" y="445164"/>
                  <a:pt x="2567578" y="449954"/>
                  <a:pt x="2567578" y="455901"/>
                </a:cubicBezTo>
                <a:cubicBezTo>
                  <a:pt x="2567578" y="461847"/>
                  <a:pt x="2562787" y="466637"/>
                  <a:pt x="2556840" y="466637"/>
                </a:cubicBezTo>
                <a:cubicBezTo>
                  <a:pt x="2550894" y="466637"/>
                  <a:pt x="2546104" y="461847"/>
                  <a:pt x="2546104" y="455901"/>
                </a:cubicBezTo>
                <a:cubicBezTo>
                  <a:pt x="2546104" y="449954"/>
                  <a:pt x="2550894" y="445164"/>
                  <a:pt x="2556840" y="445164"/>
                </a:cubicBezTo>
                <a:close/>
                <a:moveTo>
                  <a:pt x="3153146" y="440208"/>
                </a:moveTo>
                <a:cubicBezTo>
                  <a:pt x="3159092" y="440208"/>
                  <a:pt x="3163882" y="444998"/>
                  <a:pt x="3163882" y="450944"/>
                </a:cubicBezTo>
                <a:cubicBezTo>
                  <a:pt x="3163882" y="456891"/>
                  <a:pt x="3159092" y="461682"/>
                  <a:pt x="3153146" y="461682"/>
                </a:cubicBezTo>
                <a:cubicBezTo>
                  <a:pt x="3147199" y="461682"/>
                  <a:pt x="3142409" y="456891"/>
                  <a:pt x="3142409" y="450944"/>
                </a:cubicBezTo>
                <a:cubicBezTo>
                  <a:pt x="3142409" y="444998"/>
                  <a:pt x="3147199" y="440208"/>
                  <a:pt x="3153146" y="440208"/>
                </a:cubicBezTo>
                <a:close/>
                <a:moveTo>
                  <a:pt x="1659575" y="437071"/>
                </a:moveTo>
                <a:cubicBezTo>
                  <a:pt x="1665522" y="437071"/>
                  <a:pt x="1670313" y="441861"/>
                  <a:pt x="1670313" y="447807"/>
                </a:cubicBezTo>
                <a:cubicBezTo>
                  <a:pt x="1670313" y="453754"/>
                  <a:pt x="1665522" y="458543"/>
                  <a:pt x="1659575" y="458543"/>
                </a:cubicBezTo>
                <a:cubicBezTo>
                  <a:pt x="1653629" y="458543"/>
                  <a:pt x="1648839" y="453754"/>
                  <a:pt x="1648839" y="447807"/>
                </a:cubicBezTo>
                <a:cubicBezTo>
                  <a:pt x="1648839" y="441861"/>
                  <a:pt x="1653629" y="437071"/>
                  <a:pt x="1659575" y="437071"/>
                </a:cubicBezTo>
                <a:close/>
                <a:moveTo>
                  <a:pt x="2705007" y="435749"/>
                </a:moveTo>
                <a:cubicBezTo>
                  <a:pt x="2710954" y="435749"/>
                  <a:pt x="2715746" y="440539"/>
                  <a:pt x="2715746" y="446486"/>
                </a:cubicBezTo>
                <a:cubicBezTo>
                  <a:pt x="2715746" y="452432"/>
                  <a:pt x="2710954" y="457222"/>
                  <a:pt x="2705007" y="457222"/>
                </a:cubicBezTo>
                <a:cubicBezTo>
                  <a:pt x="2699061" y="457222"/>
                  <a:pt x="2694271" y="452432"/>
                  <a:pt x="2694271" y="446486"/>
                </a:cubicBezTo>
                <a:cubicBezTo>
                  <a:pt x="2694271" y="440539"/>
                  <a:pt x="2699061" y="435749"/>
                  <a:pt x="2705007" y="435749"/>
                </a:cubicBezTo>
                <a:close/>
                <a:moveTo>
                  <a:pt x="1379594" y="435749"/>
                </a:moveTo>
                <a:cubicBezTo>
                  <a:pt x="1383061" y="435749"/>
                  <a:pt x="1385870" y="438561"/>
                  <a:pt x="1385870" y="442027"/>
                </a:cubicBezTo>
                <a:lnTo>
                  <a:pt x="1381906" y="445991"/>
                </a:lnTo>
                <a:lnTo>
                  <a:pt x="1388844" y="452928"/>
                </a:lnTo>
                <a:lnTo>
                  <a:pt x="1382650" y="459123"/>
                </a:lnTo>
                <a:lnTo>
                  <a:pt x="1386531" y="463004"/>
                </a:lnTo>
                <a:lnTo>
                  <a:pt x="1380255" y="469280"/>
                </a:lnTo>
                <a:lnTo>
                  <a:pt x="1383394" y="472419"/>
                </a:lnTo>
                <a:lnTo>
                  <a:pt x="1376950" y="478861"/>
                </a:lnTo>
                <a:lnTo>
                  <a:pt x="1379592" y="481504"/>
                </a:lnTo>
                <a:lnTo>
                  <a:pt x="1372904" y="488195"/>
                </a:lnTo>
                <a:lnTo>
                  <a:pt x="1374968" y="490258"/>
                </a:lnTo>
                <a:lnTo>
                  <a:pt x="1367864" y="497362"/>
                </a:lnTo>
                <a:lnTo>
                  <a:pt x="1369848" y="499344"/>
                </a:lnTo>
                <a:lnTo>
                  <a:pt x="1362415" y="506778"/>
                </a:lnTo>
                <a:lnTo>
                  <a:pt x="1364231" y="508594"/>
                </a:lnTo>
                <a:lnTo>
                  <a:pt x="1356304" y="516523"/>
                </a:lnTo>
                <a:lnTo>
                  <a:pt x="1358286" y="518505"/>
                </a:lnTo>
                <a:lnTo>
                  <a:pt x="1349778" y="527011"/>
                </a:lnTo>
                <a:lnTo>
                  <a:pt x="1352173" y="529406"/>
                </a:lnTo>
                <a:lnTo>
                  <a:pt x="1343088" y="538491"/>
                </a:lnTo>
                <a:lnTo>
                  <a:pt x="1346060" y="541464"/>
                </a:lnTo>
                <a:lnTo>
                  <a:pt x="1336068" y="551456"/>
                </a:lnTo>
                <a:lnTo>
                  <a:pt x="1339951" y="555339"/>
                </a:lnTo>
                <a:cubicBezTo>
                  <a:pt x="1339951" y="561285"/>
                  <a:pt x="1335159" y="566075"/>
                  <a:pt x="1329213" y="566075"/>
                </a:cubicBezTo>
                <a:cubicBezTo>
                  <a:pt x="1323266" y="566075"/>
                  <a:pt x="1318476" y="561285"/>
                  <a:pt x="1318476" y="555339"/>
                </a:cubicBezTo>
                <a:lnTo>
                  <a:pt x="1328470" y="545347"/>
                </a:lnTo>
                <a:lnTo>
                  <a:pt x="1324588" y="541464"/>
                </a:lnTo>
                <a:lnTo>
                  <a:pt x="1333673" y="532380"/>
                </a:lnTo>
                <a:lnTo>
                  <a:pt x="1330699" y="529406"/>
                </a:lnTo>
                <a:lnTo>
                  <a:pt x="1339207" y="520900"/>
                </a:lnTo>
                <a:lnTo>
                  <a:pt x="1336812" y="518505"/>
                </a:lnTo>
                <a:lnTo>
                  <a:pt x="1344740" y="510576"/>
                </a:lnTo>
                <a:lnTo>
                  <a:pt x="1342758" y="508594"/>
                </a:lnTo>
                <a:lnTo>
                  <a:pt x="1350191" y="501161"/>
                </a:lnTo>
                <a:lnTo>
                  <a:pt x="1348374" y="499344"/>
                </a:lnTo>
                <a:lnTo>
                  <a:pt x="1355477" y="492241"/>
                </a:lnTo>
                <a:lnTo>
                  <a:pt x="1353495" y="490258"/>
                </a:lnTo>
                <a:lnTo>
                  <a:pt x="1360184" y="483570"/>
                </a:lnTo>
                <a:lnTo>
                  <a:pt x="1358120" y="481504"/>
                </a:lnTo>
                <a:lnTo>
                  <a:pt x="1364562" y="475062"/>
                </a:lnTo>
                <a:lnTo>
                  <a:pt x="1361919" y="472419"/>
                </a:lnTo>
                <a:lnTo>
                  <a:pt x="1368196" y="466143"/>
                </a:lnTo>
                <a:lnTo>
                  <a:pt x="1365056" y="463004"/>
                </a:lnTo>
                <a:lnTo>
                  <a:pt x="1371251" y="456809"/>
                </a:lnTo>
                <a:lnTo>
                  <a:pt x="1367370" y="452928"/>
                </a:lnTo>
                <a:lnTo>
                  <a:pt x="1375795" y="444504"/>
                </a:lnTo>
                <a:lnTo>
                  <a:pt x="1373316" y="442027"/>
                </a:lnTo>
                <a:cubicBezTo>
                  <a:pt x="1373316" y="438561"/>
                  <a:pt x="1376128" y="435749"/>
                  <a:pt x="1379594" y="435749"/>
                </a:cubicBezTo>
                <a:close/>
                <a:moveTo>
                  <a:pt x="3004151" y="433271"/>
                </a:moveTo>
                <a:cubicBezTo>
                  <a:pt x="3010098" y="433271"/>
                  <a:pt x="3014889" y="438061"/>
                  <a:pt x="3014889" y="444008"/>
                </a:cubicBezTo>
                <a:cubicBezTo>
                  <a:pt x="3014889" y="449954"/>
                  <a:pt x="3010098" y="454746"/>
                  <a:pt x="3004151" y="454746"/>
                </a:cubicBezTo>
                <a:cubicBezTo>
                  <a:pt x="2998204" y="454746"/>
                  <a:pt x="2993415" y="449954"/>
                  <a:pt x="2993415" y="444008"/>
                </a:cubicBezTo>
                <a:cubicBezTo>
                  <a:pt x="2993415" y="438061"/>
                  <a:pt x="2998204" y="433271"/>
                  <a:pt x="3004151" y="433271"/>
                </a:cubicBezTo>
                <a:close/>
                <a:moveTo>
                  <a:pt x="2221356" y="432446"/>
                </a:moveTo>
                <a:cubicBezTo>
                  <a:pt x="2227303" y="432446"/>
                  <a:pt x="2232094" y="437235"/>
                  <a:pt x="2232094" y="443182"/>
                </a:cubicBezTo>
                <a:cubicBezTo>
                  <a:pt x="2232094" y="449129"/>
                  <a:pt x="2227303" y="453918"/>
                  <a:pt x="2221356" y="453918"/>
                </a:cubicBezTo>
                <a:cubicBezTo>
                  <a:pt x="2215410" y="453918"/>
                  <a:pt x="2210620" y="449129"/>
                  <a:pt x="2210620" y="443182"/>
                </a:cubicBezTo>
                <a:cubicBezTo>
                  <a:pt x="2210620" y="437235"/>
                  <a:pt x="2215410" y="432446"/>
                  <a:pt x="2221356" y="432446"/>
                </a:cubicBezTo>
                <a:close/>
                <a:moveTo>
                  <a:pt x="2854498" y="431785"/>
                </a:moveTo>
                <a:cubicBezTo>
                  <a:pt x="2860444" y="431785"/>
                  <a:pt x="2865236" y="436575"/>
                  <a:pt x="2865236" y="442521"/>
                </a:cubicBezTo>
                <a:cubicBezTo>
                  <a:pt x="2865236" y="448468"/>
                  <a:pt x="2860444" y="453259"/>
                  <a:pt x="2854498" y="453259"/>
                </a:cubicBezTo>
                <a:cubicBezTo>
                  <a:pt x="2848551" y="453259"/>
                  <a:pt x="2843761" y="448468"/>
                  <a:pt x="2843761" y="442521"/>
                </a:cubicBezTo>
                <a:cubicBezTo>
                  <a:pt x="2843761" y="436575"/>
                  <a:pt x="2848551" y="431785"/>
                  <a:pt x="2854498" y="431785"/>
                </a:cubicBezTo>
                <a:close/>
                <a:moveTo>
                  <a:pt x="1773385" y="423196"/>
                </a:moveTo>
                <a:cubicBezTo>
                  <a:pt x="1779331" y="423196"/>
                  <a:pt x="1784123" y="427985"/>
                  <a:pt x="1784123" y="433932"/>
                </a:cubicBezTo>
                <a:cubicBezTo>
                  <a:pt x="1784123" y="439878"/>
                  <a:pt x="1779331" y="444668"/>
                  <a:pt x="1773385" y="444668"/>
                </a:cubicBezTo>
                <a:cubicBezTo>
                  <a:pt x="1767438" y="444668"/>
                  <a:pt x="1762648" y="439878"/>
                  <a:pt x="1762648" y="433932"/>
                </a:cubicBezTo>
                <a:cubicBezTo>
                  <a:pt x="1762648" y="427985"/>
                  <a:pt x="1767438" y="423196"/>
                  <a:pt x="1773385" y="423196"/>
                </a:cubicBezTo>
                <a:close/>
                <a:moveTo>
                  <a:pt x="3494244" y="422039"/>
                </a:moveTo>
                <a:lnTo>
                  <a:pt x="3503192" y="430985"/>
                </a:lnTo>
                <a:lnTo>
                  <a:pt x="3503192" y="434565"/>
                </a:lnTo>
                <a:lnTo>
                  <a:pt x="3494244" y="443512"/>
                </a:lnTo>
                <a:cubicBezTo>
                  <a:pt x="3488298" y="443512"/>
                  <a:pt x="3483508" y="438722"/>
                  <a:pt x="3483508" y="432775"/>
                </a:cubicBezTo>
                <a:cubicBezTo>
                  <a:pt x="3483508" y="426829"/>
                  <a:pt x="3488298" y="422039"/>
                  <a:pt x="3494244" y="422039"/>
                </a:cubicBezTo>
                <a:close/>
                <a:moveTo>
                  <a:pt x="2052872" y="418900"/>
                </a:moveTo>
                <a:cubicBezTo>
                  <a:pt x="2058818" y="418900"/>
                  <a:pt x="2063610" y="423690"/>
                  <a:pt x="2063610" y="429636"/>
                </a:cubicBezTo>
                <a:cubicBezTo>
                  <a:pt x="2063610" y="435583"/>
                  <a:pt x="2058818" y="440373"/>
                  <a:pt x="2052872" y="440373"/>
                </a:cubicBezTo>
                <a:cubicBezTo>
                  <a:pt x="2046925" y="440373"/>
                  <a:pt x="2042135" y="435583"/>
                  <a:pt x="2042135" y="429636"/>
                </a:cubicBezTo>
                <a:cubicBezTo>
                  <a:pt x="2042135" y="423690"/>
                  <a:pt x="2046925" y="418900"/>
                  <a:pt x="2052872" y="418900"/>
                </a:cubicBezTo>
                <a:close/>
                <a:moveTo>
                  <a:pt x="1650160" y="418074"/>
                </a:moveTo>
                <a:cubicBezTo>
                  <a:pt x="1656107" y="418074"/>
                  <a:pt x="1660898" y="422864"/>
                  <a:pt x="1660898" y="428811"/>
                </a:cubicBezTo>
                <a:cubicBezTo>
                  <a:pt x="1660898" y="434757"/>
                  <a:pt x="1656107" y="439549"/>
                  <a:pt x="1650160" y="439549"/>
                </a:cubicBezTo>
                <a:cubicBezTo>
                  <a:pt x="1644214" y="439549"/>
                  <a:pt x="1639424" y="434757"/>
                  <a:pt x="1639424" y="428811"/>
                </a:cubicBezTo>
                <a:cubicBezTo>
                  <a:pt x="1639424" y="422864"/>
                  <a:pt x="1644214" y="418074"/>
                  <a:pt x="1650160" y="418074"/>
                </a:cubicBezTo>
                <a:close/>
                <a:moveTo>
                  <a:pt x="1904044" y="416424"/>
                </a:moveTo>
                <a:cubicBezTo>
                  <a:pt x="1909990" y="416424"/>
                  <a:pt x="1914780" y="421213"/>
                  <a:pt x="1914780" y="427160"/>
                </a:cubicBezTo>
                <a:cubicBezTo>
                  <a:pt x="1914780" y="433106"/>
                  <a:pt x="1909990" y="437896"/>
                  <a:pt x="1904044" y="437896"/>
                </a:cubicBezTo>
                <a:cubicBezTo>
                  <a:pt x="1898097" y="437896"/>
                  <a:pt x="1893307" y="433106"/>
                  <a:pt x="1893307" y="427160"/>
                </a:cubicBezTo>
                <a:cubicBezTo>
                  <a:pt x="1893307" y="421213"/>
                  <a:pt x="1898097" y="416424"/>
                  <a:pt x="1904044" y="416424"/>
                </a:cubicBezTo>
                <a:close/>
                <a:moveTo>
                  <a:pt x="2357962" y="411303"/>
                </a:moveTo>
                <a:cubicBezTo>
                  <a:pt x="2363908" y="411303"/>
                  <a:pt x="2368698" y="416092"/>
                  <a:pt x="2368698" y="422039"/>
                </a:cubicBezTo>
                <a:cubicBezTo>
                  <a:pt x="2368698" y="427985"/>
                  <a:pt x="2363908" y="432777"/>
                  <a:pt x="2357962" y="432777"/>
                </a:cubicBezTo>
                <a:cubicBezTo>
                  <a:pt x="2352015" y="432777"/>
                  <a:pt x="2347226" y="427985"/>
                  <a:pt x="2347226" y="422039"/>
                </a:cubicBezTo>
                <a:cubicBezTo>
                  <a:pt x="2347226" y="416092"/>
                  <a:pt x="2352015" y="411303"/>
                  <a:pt x="2357962" y="411303"/>
                </a:cubicBezTo>
                <a:close/>
                <a:moveTo>
                  <a:pt x="1432782" y="403703"/>
                </a:moveTo>
                <a:lnTo>
                  <a:pt x="1433030" y="403951"/>
                </a:lnTo>
                <a:lnTo>
                  <a:pt x="1433111" y="403870"/>
                </a:lnTo>
                <a:cubicBezTo>
                  <a:pt x="1439042" y="403870"/>
                  <a:pt x="1443849" y="408677"/>
                  <a:pt x="1443849" y="414606"/>
                </a:cubicBezTo>
                <a:lnTo>
                  <a:pt x="1438647" y="419809"/>
                </a:lnTo>
                <a:lnTo>
                  <a:pt x="1443189" y="424351"/>
                </a:lnTo>
                <a:lnTo>
                  <a:pt x="1438151" y="429388"/>
                </a:lnTo>
                <a:lnTo>
                  <a:pt x="1441867" y="433105"/>
                </a:lnTo>
                <a:lnTo>
                  <a:pt x="1436828" y="438144"/>
                </a:lnTo>
                <a:lnTo>
                  <a:pt x="1439883" y="441200"/>
                </a:lnTo>
                <a:lnTo>
                  <a:pt x="1434681" y="446402"/>
                </a:lnTo>
                <a:lnTo>
                  <a:pt x="1437242" y="448964"/>
                </a:lnTo>
                <a:lnTo>
                  <a:pt x="1431792" y="454414"/>
                </a:lnTo>
                <a:lnTo>
                  <a:pt x="1434103" y="456726"/>
                </a:lnTo>
                <a:lnTo>
                  <a:pt x="1428486" y="462343"/>
                </a:lnTo>
                <a:lnTo>
                  <a:pt x="1430468" y="464325"/>
                </a:lnTo>
                <a:lnTo>
                  <a:pt x="1424440" y="470353"/>
                </a:lnTo>
                <a:lnTo>
                  <a:pt x="1426670" y="472584"/>
                </a:lnTo>
                <a:lnTo>
                  <a:pt x="1420228" y="479024"/>
                </a:lnTo>
                <a:lnTo>
                  <a:pt x="1422541" y="481338"/>
                </a:lnTo>
                <a:lnTo>
                  <a:pt x="1415686" y="488195"/>
                </a:lnTo>
                <a:lnTo>
                  <a:pt x="1418575" y="491084"/>
                </a:lnTo>
                <a:lnTo>
                  <a:pt x="1411061" y="498600"/>
                </a:lnTo>
                <a:lnTo>
                  <a:pt x="1414613" y="502151"/>
                </a:lnTo>
                <a:lnTo>
                  <a:pt x="1406353" y="510411"/>
                </a:lnTo>
                <a:lnTo>
                  <a:pt x="1410978" y="515036"/>
                </a:lnTo>
                <a:lnTo>
                  <a:pt x="1401894" y="524120"/>
                </a:lnTo>
                <a:lnTo>
                  <a:pt x="1407841" y="530067"/>
                </a:lnTo>
                <a:lnTo>
                  <a:pt x="1397763" y="540144"/>
                </a:lnTo>
                <a:lnTo>
                  <a:pt x="1405198" y="547577"/>
                </a:lnTo>
                <a:cubicBezTo>
                  <a:pt x="1405198" y="553523"/>
                  <a:pt x="1400406" y="558313"/>
                  <a:pt x="1394460" y="558313"/>
                </a:cubicBezTo>
                <a:cubicBezTo>
                  <a:pt x="1388513" y="558313"/>
                  <a:pt x="1383723" y="553523"/>
                  <a:pt x="1383723" y="547577"/>
                </a:cubicBezTo>
                <a:lnTo>
                  <a:pt x="1393801" y="537501"/>
                </a:lnTo>
                <a:lnTo>
                  <a:pt x="1386366" y="530067"/>
                </a:lnTo>
                <a:lnTo>
                  <a:pt x="1395452" y="520983"/>
                </a:lnTo>
                <a:lnTo>
                  <a:pt x="1389505" y="515036"/>
                </a:lnTo>
                <a:lnTo>
                  <a:pt x="1397763" y="506778"/>
                </a:lnTo>
                <a:lnTo>
                  <a:pt x="1393138" y="502151"/>
                </a:lnTo>
                <a:lnTo>
                  <a:pt x="1400654" y="494635"/>
                </a:lnTo>
                <a:lnTo>
                  <a:pt x="1397103" y="491084"/>
                </a:lnTo>
                <a:lnTo>
                  <a:pt x="1403958" y="484229"/>
                </a:lnTo>
                <a:lnTo>
                  <a:pt x="1401067" y="481338"/>
                </a:lnTo>
                <a:lnTo>
                  <a:pt x="1407510" y="474897"/>
                </a:lnTo>
                <a:lnTo>
                  <a:pt x="1405196" y="472584"/>
                </a:lnTo>
                <a:lnTo>
                  <a:pt x="1411226" y="466555"/>
                </a:lnTo>
                <a:lnTo>
                  <a:pt x="1408996" y="464325"/>
                </a:lnTo>
                <a:lnTo>
                  <a:pt x="1414611" y="458710"/>
                </a:lnTo>
                <a:lnTo>
                  <a:pt x="1412629" y="456726"/>
                </a:lnTo>
                <a:lnTo>
                  <a:pt x="1418079" y="451275"/>
                </a:lnTo>
                <a:lnTo>
                  <a:pt x="1415768" y="448964"/>
                </a:lnTo>
                <a:lnTo>
                  <a:pt x="1420970" y="443761"/>
                </a:lnTo>
                <a:lnTo>
                  <a:pt x="1418410" y="441200"/>
                </a:lnTo>
                <a:lnTo>
                  <a:pt x="1423448" y="436162"/>
                </a:lnTo>
                <a:lnTo>
                  <a:pt x="1420393" y="433105"/>
                </a:lnTo>
                <a:lnTo>
                  <a:pt x="1425430" y="428067"/>
                </a:lnTo>
                <a:lnTo>
                  <a:pt x="1421714" y="424351"/>
                </a:lnTo>
                <a:lnTo>
                  <a:pt x="1426917" y="419148"/>
                </a:lnTo>
                <a:lnTo>
                  <a:pt x="1422375" y="414606"/>
                </a:lnTo>
                <a:lnTo>
                  <a:pt x="1432534" y="404447"/>
                </a:lnTo>
                <a:lnTo>
                  <a:pt x="1432286" y="404199"/>
                </a:lnTo>
                <a:cubicBezTo>
                  <a:pt x="1432286" y="403925"/>
                  <a:pt x="1432508" y="403703"/>
                  <a:pt x="1432782" y="403703"/>
                </a:cubicBezTo>
                <a:close/>
                <a:moveTo>
                  <a:pt x="3355988" y="403043"/>
                </a:moveTo>
                <a:cubicBezTo>
                  <a:pt x="3361935" y="403043"/>
                  <a:pt x="3366726" y="407832"/>
                  <a:pt x="3366726" y="413779"/>
                </a:cubicBezTo>
                <a:cubicBezTo>
                  <a:pt x="3366726" y="419726"/>
                  <a:pt x="3361935" y="424517"/>
                  <a:pt x="3355988" y="424517"/>
                </a:cubicBezTo>
                <a:cubicBezTo>
                  <a:pt x="3350042" y="424517"/>
                  <a:pt x="3345252" y="419726"/>
                  <a:pt x="3345252" y="413779"/>
                </a:cubicBezTo>
                <a:cubicBezTo>
                  <a:pt x="3345252" y="407832"/>
                  <a:pt x="3350042" y="403043"/>
                  <a:pt x="3355988" y="403043"/>
                </a:cubicBezTo>
                <a:close/>
                <a:moveTo>
                  <a:pt x="1757527" y="400564"/>
                </a:moveTo>
                <a:cubicBezTo>
                  <a:pt x="1763474" y="400564"/>
                  <a:pt x="1768265" y="405354"/>
                  <a:pt x="1768265" y="411301"/>
                </a:cubicBezTo>
                <a:cubicBezTo>
                  <a:pt x="1768265" y="417247"/>
                  <a:pt x="1763474" y="422039"/>
                  <a:pt x="1757527" y="422039"/>
                </a:cubicBezTo>
                <a:cubicBezTo>
                  <a:pt x="1751581" y="422039"/>
                  <a:pt x="1746791" y="417247"/>
                  <a:pt x="1746791" y="411301"/>
                </a:cubicBezTo>
                <a:cubicBezTo>
                  <a:pt x="1746791" y="405354"/>
                  <a:pt x="1751581" y="400564"/>
                  <a:pt x="1757527" y="400564"/>
                </a:cubicBezTo>
                <a:close/>
                <a:moveTo>
                  <a:pt x="2497871" y="394784"/>
                </a:moveTo>
                <a:cubicBezTo>
                  <a:pt x="2503817" y="394784"/>
                  <a:pt x="2508607" y="399574"/>
                  <a:pt x="2508607" y="405521"/>
                </a:cubicBezTo>
                <a:cubicBezTo>
                  <a:pt x="2508607" y="411467"/>
                  <a:pt x="2503817" y="416259"/>
                  <a:pt x="2497871" y="416259"/>
                </a:cubicBezTo>
                <a:cubicBezTo>
                  <a:pt x="2491924" y="416259"/>
                  <a:pt x="2487134" y="411467"/>
                  <a:pt x="2487134" y="405521"/>
                </a:cubicBezTo>
                <a:cubicBezTo>
                  <a:pt x="2487134" y="399574"/>
                  <a:pt x="2491924" y="394784"/>
                  <a:pt x="2497871" y="394784"/>
                </a:cubicBezTo>
                <a:close/>
                <a:moveTo>
                  <a:pt x="2179566" y="392306"/>
                </a:moveTo>
                <a:cubicBezTo>
                  <a:pt x="2185512" y="392306"/>
                  <a:pt x="2190304" y="397096"/>
                  <a:pt x="2190304" y="403043"/>
                </a:cubicBezTo>
                <a:cubicBezTo>
                  <a:pt x="2190304" y="408989"/>
                  <a:pt x="2185512" y="413781"/>
                  <a:pt x="2179566" y="413781"/>
                </a:cubicBezTo>
                <a:cubicBezTo>
                  <a:pt x="2173620" y="413781"/>
                  <a:pt x="2168830" y="408989"/>
                  <a:pt x="2168830" y="403043"/>
                </a:cubicBezTo>
                <a:cubicBezTo>
                  <a:pt x="2168830" y="397096"/>
                  <a:pt x="2173620" y="392306"/>
                  <a:pt x="2179566" y="392306"/>
                </a:cubicBezTo>
                <a:close/>
                <a:moveTo>
                  <a:pt x="1880587" y="389167"/>
                </a:moveTo>
                <a:cubicBezTo>
                  <a:pt x="1886534" y="389167"/>
                  <a:pt x="1891325" y="393957"/>
                  <a:pt x="1891325" y="399904"/>
                </a:cubicBezTo>
                <a:cubicBezTo>
                  <a:pt x="1891325" y="405850"/>
                  <a:pt x="1886534" y="410642"/>
                  <a:pt x="1880587" y="410642"/>
                </a:cubicBezTo>
                <a:cubicBezTo>
                  <a:pt x="1874640" y="410642"/>
                  <a:pt x="1869851" y="405850"/>
                  <a:pt x="1869851" y="399904"/>
                </a:cubicBezTo>
                <a:cubicBezTo>
                  <a:pt x="1869851" y="393957"/>
                  <a:pt x="1874640" y="389167"/>
                  <a:pt x="1880587" y="389167"/>
                </a:cubicBezTo>
                <a:close/>
                <a:moveTo>
                  <a:pt x="3215087" y="388838"/>
                </a:moveTo>
                <a:cubicBezTo>
                  <a:pt x="3221034" y="388838"/>
                  <a:pt x="3225824" y="393628"/>
                  <a:pt x="3225824" y="399574"/>
                </a:cubicBezTo>
                <a:cubicBezTo>
                  <a:pt x="3225824" y="405521"/>
                  <a:pt x="3221034" y="410311"/>
                  <a:pt x="3215087" y="410311"/>
                </a:cubicBezTo>
                <a:cubicBezTo>
                  <a:pt x="3209141" y="410311"/>
                  <a:pt x="3204351" y="405521"/>
                  <a:pt x="3204351" y="399574"/>
                </a:cubicBezTo>
                <a:cubicBezTo>
                  <a:pt x="3204351" y="393628"/>
                  <a:pt x="3209141" y="388838"/>
                  <a:pt x="3215087" y="388838"/>
                </a:cubicBezTo>
                <a:close/>
                <a:moveTo>
                  <a:pt x="2020662" y="385699"/>
                </a:moveTo>
                <a:cubicBezTo>
                  <a:pt x="2026609" y="385699"/>
                  <a:pt x="2031400" y="390489"/>
                  <a:pt x="2031400" y="396435"/>
                </a:cubicBezTo>
                <a:cubicBezTo>
                  <a:pt x="2031400" y="402382"/>
                  <a:pt x="2026609" y="407172"/>
                  <a:pt x="2020662" y="407172"/>
                </a:cubicBezTo>
                <a:cubicBezTo>
                  <a:pt x="2014716" y="407172"/>
                  <a:pt x="2009926" y="402382"/>
                  <a:pt x="2009926" y="396435"/>
                </a:cubicBezTo>
                <a:cubicBezTo>
                  <a:pt x="2009926" y="390489"/>
                  <a:pt x="2014716" y="385699"/>
                  <a:pt x="2020662" y="385699"/>
                </a:cubicBezTo>
                <a:close/>
                <a:moveTo>
                  <a:pt x="2639927" y="383221"/>
                </a:moveTo>
                <a:cubicBezTo>
                  <a:pt x="2645873" y="383221"/>
                  <a:pt x="2650665" y="388011"/>
                  <a:pt x="2650665" y="393957"/>
                </a:cubicBezTo>
                <a:cubicBezTo>
                  <a:pt x="2650665" y="399904"/>
                  <a:pt x="2645873" y="404693"/>
                  <a:pt x="2639927" y="404693"/>
                </a:cubicBezTo>
                <a:cubicBezTo>
                  <a:pt x="2633980" y="404693"/>
                  <a:pt x="2629190" y="399904"/>
                  <a:pt x="2629190" y="393957"/>
                </a:cubicBezTo>
                <a:cubicBezTo>
                  <a:pt x="2629190" y="388011"/>
                  <a:pt x="2633980" y="383221"/>
                  <a:pt x="2639927" y="383221"/>
                </a:cubicBezTo>
                <a:close/>
                <a:moveTo>
                  <a:pt x="1743983" y="381735"/>
                </a:moveTo>
                <a:cubicBezTo>
                  <a:pt x="1749930" y="381735"/>
                  <a:pt x="1754721" y="386524"/>
                  <a:pt x="1754721" y="392471"/>
                </a:cubicBezTo>
                <a:cubicBezTo>
                  <a:pt x="1754721" y="398417"/>
                  <a:pt x="1749930" y="403207"/>
                  <a:pt x="1743983" y="403207"/>
                </a:cubicBezTo>
                <a:cubicBezTo>
                  <a:pt x="1738037" y="403207"/>
                  <a:pt x="1733247" y="398417"/>
                  <a:pt x="1733247" y="392471"/>
                </a:cubicBezTo>
                <a:cubicBezTo>
                  <a:pt x="1733247" y="386524"/>
                  <a:pt x="1738037" y="381735"/>
                  <a:pt x="1743983" y="381735"/>
                </a:cubicBezTo>
                <a:close/>
                <a:moveTo>
                  <a:pt x="3072041" y="379588"/>
                </a:moveTo>
                <a:cubicBezTo>
                  <a:pt x="3077988" y="379588"/>
                  <a:pt x="3082779" y="384377"/>
                  <a:pt x="3082779" y="390324"/>
                </a:cubicBezTo>
                <a:cubicBezTo>
                  <a:pt x="3082779" y="396271"/>
                  <a:pt x="3077988" y="401062"/>
                  <a:pt x="3072041" y="401062"/>
                </a:cubicBezTo>
                <a:cubicBezTo>
                  <a:pt x="3066094" y="401062"/>
                  <a:pt x="3061305" y="396271"/>
                  <a:pt x="3061305" y="390324"/>
                </a:cubicBezTo>
                <a:cubicBezTo>
                  <a:pt x="3061305" y="384377"/>
                  <a:pt x="3066094" y="379588"/>
                  <a:pt x="3072041" y="379588"/>
                </a:cubicBezTo>
                <a:close/>
                <a:moveTo>
                  <a:pt x="2783634" y="376778"/>
                </a:moveTo>
                <a:cubicBezTo>
                  <a:pt x="2789580" y="376778"/>
                  <a:pt x="2794372" y="381568"/>
                  <a:pt x="2794372" y="387515"/>
                </a:cubicBezTo>
                <a:cubicBezTo>
                  <a:pt x="2794372" y="393461"/>
                  <a:pt x="2789580" y="398253"/>
                  <a:pt x="2783634" y="398253"/>
                </a:cubicBezTo>
                <a:cubicBezTo>
                  <a:pt x="2777687" y="398253"/>
                  <a:pt x="2772897" y="393461"/>
                  <a:pt x="2772897" y="387515"/>
                </a:cubicBezTo>
                <a:cubicBezTo>
                  <a:pt x="2772897" y="381568"/>
                  <a:pt x="2777687" y="376778"/>
                  <a:pt x="2783634" y="376778"/>
                </a:cubicBezTo>
                <a:close/>
                <a:moveTo>
                  <a:pt x="2928003" y="375623"/>
                </a:moveTo>
                <a:cubicBezTo>
                  <a:pt x="2933950" y="375623"/>
                  <a:pt x="2938741" y="380413"/>
                  <a:pt x="2938741" y="386360"/>
                </a:cubicBezTo>
                <a:cubicBezTo>
                  <a:pt x="2938741" y="392306"/>
                  <a:pt x="2933950" y="397098"/>
                  <a:pt x="2928003" y="397098"/>
                </a:cubicBezTo>
                <a:cubicBezTo>
                  <a:pt x="2922056" y="397098"/>
                  <a:pt x="2917266" y="392306"/>
                  <a:pt x="2917266" y="386360"/>
                </a:cubicBezTo>
                <a:cubicBezTo>
                  <a:pt x="2917266" y="380413"/>
                  <a:pt x="2922056" y="375623"/>
                  <a:pt x="2928003" y="375623"/>
                </a:cubicBezTo>
                <a:close/>
                <a:moveTo>
                  <a:pt x="1486961" y="372484"/>
                </a:moveTo>
                <a:cubicBezTo>
                  <a:pt x="1490100" y="372484"/>
                  <a:pt x="1492743" y="375127"/>
                  <a:pt x="1492743" y="378266"/>
                </a:cubicBezTo>
                <a:lnTo>
                  <a:pt x="1491174" y="379834"/>
                </a:lnTo>
                <a:lnTo>
                  <a:pt x="1498854" y="387515"/>
                </a:lnTo>
                <a:lnTo>
                  <a:pt x="1494972" y="391398"/>
                </a:lnTo>
                <a:lnTo>
                  <a:pt x="1499348" y="395775"/>
                </a:lnTo>
                <a:lnTo>
                  <a:pt x="1495467" y="399656"/>
                </a:lnTo>
                <a:lnTo>
                  <a:pt x="1499186" y="403374"/>
                </a:lnTo>
                <a:lnTo>
                  <a:pt x="1495303" y="407255"/>
                </a:lnTo>
                <a:lnTo>
                  <a:pt x="1498358" y="410311"/>
                </a:lnTo>
                <a:lnTo>
                  <a:pt x="1494477" y="414192"/>
                </a:lnTo>
                <a:lnTo>
                  <a:pt x="1497203" y="416918"/>
                </a:lnTo>
                <a:lnTo>
                  <a:pt x="1493156" y="420965"/>
                </a:lnTo>
                <a:lnTo>
                  <a:pt x="1495551" y="423360"/>
                </a:lnTo>
                <a:lnTo>
                  <a:pt x="1491338" y="427573"/>
                </a:lnTo>
                <a:lnTo>
                  <a:pt x="1493735" y="429968"/>
                </a:lnTo>
                <a:lnTo>
                  <a:pt x="1489275" y="434428"/>
                </a:lnTo>
                <a:lnTo>
                  <a:pt x="1491751" y="436904"/>
                </a:lnTo>
                <a:lnTo>
                  <a:pt x="1486961" y="441696"/>
                </a:lnTo>
                <a:lnTo>
                  <a:pt x="1489934" y="444668"/>
                </a:lnTo>
                <a:lnTo>
                  <a:pt x="1484648" y="449954"/>
                </a:lnTo>
                <a:lnTo>
                  <a:pt x="1488116" y="453422"/>
                </a:lnTo>
                <a:lnTo>
                  <a:pt x="1482253" y="459286"/>
                </a:lnTo>
                <a:lnTo>
                  <a:pt x="1486632" y="463665"/>
                </a:lnTo>
                <a:lnTo>
                  <a:pt x="1480271" y="470024"/>
                </a:lnTo>
                <a:lnTo>
                  <a:pt x="1485804" y="475558"/>
                </a:lnTo>
                <a:lnTo>
                  <a:pt x="1478538" y="482826"/>
                </a:lnTo>
                <a:lnTo>
                  <a:pt x="1485475" y="489762"/>
                </a:lnTo>
                <a:lnTo>
                  <a:pt x="1477461" y="497774"/>
                </a:lnTo>
                <a:lnTo>
                  <a:pt x="1486136" y="506447"/>
                </a:lnTo>
                <a:cubicBezTo>
                  <a:pt x="1486136" y="512378"/>
                  <a:pt x="1481329" y="517183"/>
                  <a:pt x="1475398" y="517183"/>
                </a:cubicBezTo>
                <a:cubicBezTo>
                  <a:pt x="1469468" y="517183"/>
                  <a:pt x="1464661" y="512378"/>
                  <a:pt x="1464661" y="506447"/>
                </a:cubicBezTo>
                <a:lnTo>
                  <a:pt x="1472673" y="498435"/>
                </a:lnTo>
                <a:lnTo>
                  <a:pt x="1464001" y="489762"/>
                </a:lnTo>
                <a:lnTo>
                  <a:pt x="1471269" y="482494"/>
                </a:lnTo>
                <a:lnTo>
                  <a:pt x="1464332" y="475558"/>
                </a:lnTo>
                <a:lnTo>
                  <a:pt x="1470691" y="469198"/>
                </a:lnTo>
                <a:lnTo>
                  <a:pt x="1465157" y="463665"/>
                </a:lnTo>
                <a:lnTo>
                  <a:pt x="1471022" y="457801"/>
                </a:lnTo>
                <a:lnTo>
                  <a:pt x="1466644" y="453422"/>
                </a:lnTo>
                <a:lnTo>
                  <a:pt x="1471929" y="448137"/>
                </a:lnTo>
                <a:lnTo>
                  <a:pt x="1468461" y="444668"/>
                </a:lnTo>
                <a:lnTo>
                  <a:pt x="1473252" y="439878"/>
                </a:lnTo>
                <a:lnTo>
                  <a:pt x="1470278" y="436904"/>
                </a:lnTo>
                <a:lnTo>
                  <a:pt x="1474739" y="432446"/>
                </a:lnTo>
                <a:lnTo>
                  <a:pt x="1472260" y="429968"/>
                </a:lnTo>
                <a:lnTo>
                  <a:pt x="1476471" y="425757"/>
                </a:lnTo>
                <a:lnTo>
                  <a:pt x="1474076" y="423360"/>
                </a:lnTo>
                <a:lnTo>
                  <a:pt x="1478124" y="419313"/>
                </a:lnTo>
                <a:lnTo>
                  <a:pt x="1475729" y="416918"/>
                </a:lnTo>
                <a:lnTo>
                  <a:pt x="1479612" y="413037"/>
                </a:lnTo>
                <a:lnTo>
                  <a:pt x="1476886" y="410311"/>
                </a:lnTo>
                <a:lnTo>
                  <a:pt x="1480767" y="406429"/>
                </a:lnTo>
                <a:lnTo>
                  <a:pt x="1477711" y="403374"/>
                </a:lnTo>
                <a:lnTo>
                  <a:pt x="1481592" y="399493"/>
                </a:lnTo>
                <a:lnTo>
                  <a:pt x="1477876" y="395775"/>
                </a:lnTo>
                <a:lnTo>
                  <a:pt x="1481759" y="391892"/>
                </a:lnTo>
                <a:lnTo>
                  <a:pt x="1477382" y="387515"/>
                </a:lnTo>
                <a:lnTo>
                  <a:pt x="1483906" y="380991"/>
                </a:lnTo>
                <a:lnTo>
                  <a:pt x="1481180" y="378266"/>
                </a:lnTo>
                <a:cubicBezTo>
                  <a:pt x="1481180" y="375127"/>
                  <a:pt x="1483822" y="372484"/>
                  <a:pt x="1486961" y="372484"/>
                </a:cubicBezTo>
                <a:close/>
                <a:moveTo>
                  <a:pt x="2310058" y="369842"/>
                </a:moveTo>
                <a:cubicBezTo>
                  <a:pt x="2316005" y="369842"/>
                  <a:pt x="2320796" y="374631"/>
                  <a:pt x="2320796" y="380578"/>
                </a:cubicBezTo>
                <a:cubicBezTo>
                  <a:pt x="2320796" y="386524"/>
                  <a:pt x="2316005" y="391316"/>
                  <a:pt x="2310058" y="391316"/>
                </a:cubicBezTo>
                <a:cubicBezTo>
                  <a:pt x="2304112" y="391316"/>
                  <a:pt x="2299322" y="386524"/>
                  <a:pt x="2299322" y="380578"/>
                </a:cubicBezTo>
                <a:cubicBezTo>
                  <a:pt x="2299322" y="374631"/>
                  <a:pt x="2304112" y="369842"/>
                  <a:pt x="2310058" y="369842"/>
                </a:cubicBezTo>
                <a:close/>
                <a:moveTo>
                  <a:pt x="1859940" y="366373"/>
                </a:moveTo>
                <a:cubicBezTo>
                  <a:pt x="1865886" y="366373"/>
                  <a:pt x="1870678" y="371163"/>
                  <a:pt x="1870678" y="377110"/>
                </a:cubicBezTo>
                <a:cubicBezTo>
                  <a:pt x="1870678" y="383056"/>
                  <a:pt x="1865886" y="387846"/>
                  <a:pt x="1859940" y="387846"/>
                </a:cubicBezTo>
                <a:cubicBezTo>
                  <a:pt x="1853993" y="387846"/>
                  <a:pt x="1849203" y="383056"/>
                  <a:pt x="1849203" y="377110"/>
                </a:cubicBezTo>
                <a:cubicBezTo>
                  <a:pt x="1849203" y="371163"/>
                  <a:pt x="1853993" y="366373"/>
                  <a:pt x="1859940" y="366373"/>
                </a:cubicBezTo>
                <a:close/>
                <a:moveTo>
                  <a:pt x="1732090" y="366373"/>
                </a:moveTo>
                <a:cubicBezTo>
                  <a:pt x="1738037" y="366373"/>
                  <a:pt x="1742828" y="371163"/>
                  <a:pt x="1742828" y="377110"/>
                </a:cubicBezTo>
                <a:cubicBezTo>
                  <a:pt x="1742828" y="383056"/>
                  <a:pt x="1738037" y="387846"/>
                  <a:pt x="1732090" y="387846"/>
                </a:cubicBezTo>
                <a:cubicBezTo>
                  <a:pt x="1726144" y="387846"/>
                  <a:pt x="1721354" y="383056"/>
                  <a:pt x="1721354" y="377110"/>
                </a:cubicBezTo>
                <a:cubicBezTo>
                  <a:pt x="1721354" y="371163"/>
                  <a:pt x="1726144" y="366373"/>
                  <a:pt x="1732090" y="366373"/>
                </a:cubicBezTo>
                <a:close/>
                <a:moveTo>
                  <a:pt x="3406864" y="360923"/>
                </a:moveTo>
                <a:cubicBezTo>
                  <a:pt x="3412810" y="360923"/>
                  <a:pt x="3417600" y="365712"/>
                  <a:pt x="3417600" y="371659"/>
                </a:cubicBezTo>
                <a:cubicBezTo>
                  <a:pt x="3417600" y="377606"/>
                  <a:pt x="3412810" y="382395"/>
                  <a:pt x="3406864" y="382395"/>
                </a:cubicBezTo>
                <a:cubicBezTo>
                  <a:pt x="3400918" y="382395"/>
                  <a:pt x="3396128" y="377606"/>
                  <a:pt x="3396128" y="371659"/>
                </a:cubicBezTo>
                <a:cubicBezTo>
                  <a:pt x="3396128" y="365712"/>
                  <a:pt x="3400918" y="360923"/>
                  <a:pt x="3406864" y="360923"/>
                </a:cubicBezTo>
                <a:close/>
                <a:moveTo>
                  <a:pt x="2141740" y="358280"/>
                </a:moveTo>
                <a:cubicBezTo>
                  <a:pt x="2147686" y="358280"/>
                  <a:pt x="2152478" y="363070"/>
                  <a:pt x="2152478" y="369016"/>
                </a:cubicBezTo>
                <a:cubicBezTo>
                  <a:pt x="2152478" y="374963"/>
                  <a:pt x="2147686" y="379752"/>
                  <a:pt x="2141740" y="379752"/>
                </a:cubicBezTo>
                <a:cubicBezTo>
                  <a:pt x="2135794" y="379752"/>
                  <a:pt x="2131004" y="374963"/>
                  <a:pt x="2131004" y="369016"/>
                </a:cubicBezTo>
                <a:cubicBezTo>
                  <a:pt x="2131004" y="363070"/>
                  <a:pt x="2135794" y="358280"/>
                  <a:pt x="2141740" y="358280"/>
                </a:cubicBezTo>
                <a:close/>
                <a:moveTo>
                  <a:pt x="1992085" y="357949"/>
                </a:moveTo>
                <a:cubicBezTo>
                  <a:pt x="1998031" y="357949"/>
                  <a:pt x="2002823" y="362738"/>
                  <a:pt x="2002823" y="368685"/>
                </a:cubicBezTo>
                <a:cubicBezTo>
                  <a:pt x="2002823" y="374631"/>
                  <a:pt x="1998031" y="379421"/>
                  <a:pt x="1992085" y="379421"/>
                </a:cubicBezTo>
                <a:cubicBezTo>
                  <a:pt x="1986138" y="379421"/>
                  <a:pt x="1981348" y="374631"/>
                  <a:pt x="1981348" y="368685"/>
                </a:cubicBezTo>
                <a:cubicBezTo>
                  <a:pt x="1981348" y="362738"/>
                  <a:pt x="1986138" y="357949"/>
                  <a:pt x="1992085" y="357949"/>
                </a:cubicBezTo>
                <a:close/>
                <a:moveTo>
                  <a:pt x="2443691" y="351837"/>
                </a:moveTo>
                <a:cubicBezTo>
                  <a:pt x="2449638" y="351837"/>
                  <a:pt x="2454430" y="356627"/>
                  <a:pt x="2454430" y="362574"/>
                </a:cubicBezTo>
                <a:cubicBezTo>
                  <a:pt x="2454430" y="368520"/>
                  <a:pt x="2449638" y="373310"/>
                  <a:pt x="2443691" y="373310"/>
                </a:cubicBezTo>
                <a:cubicBezTo>
                  <a:pt x="2437745" y="373310"/>
                  <a:pt x="2432955" y="368520"/>
                  <a:pt x="2432955" y="362574"/>
                </a:cubicBezTo>
                <a:cubicBezTo>
                  <a:pt x="2432955" y="356627"/>
                  <a:pt x="2437745" y="351837"/>
                  <a:pt x="2443691" y="351837"/>
                </a:cubicBezTo>
                <a:close/>
                <a:moveTo>
                  <a:pt x="1841771" y="347542"/>
                </a:moveTo>
                <a:cubicBezTo>
                  <a:pt x="1847717" y="347542"/>
                  <a:pt x="1852509" y="352331"/>
                  <a:pt x="1852509" y="358278"/>
                </a:cubicBezTo>
                <a:cubicBezTo>
                  <a:pt x="1852509" y="364225"/>
                  <a:pt x="1847717" y="369014"/>
                  <a:pt x="1841771" y="369014"/>
                </a:cubicBezTo>
                <a:cubicBezTo>
                  <a:pt x="1835824" y="369014"/>
                  <a:pt x="1831034" y="364225"/>
                  <a:pt x="1831034" y="358278"/>
                </a:cubicBezTo>
                <a:cubicBezTo>
                  <a:pt x="1831034" y="352331"/>
                  <a:pt x="1835824" y="347542"/>
                  <a:pt x="1841771" y="347542"/>
                </a:cubicBezTo>
                <a:close/>
                <a:moveTo>
                  <a:pt x="3271910" y="344899"/>
                </a:moveTo>
                <a:cubicBezTo>
                  <a:pt x="3277856" y="344899"/>
                  <a:pt x="3282648" y="349689"/>
                  <a:pt x="3282648" y="355635"/>
                </a:cubicBezTo>
                <a:cubicBezTo>
                  <a:pt x="3282648" y="361582"/>
                  <a:pt x="3277856" y="366371"/>
                  <a:pt x="3271910" y="366371"/>
                </a:cubicBezTo>
                <a:cubicBezTo>
                  <a:pt x="3265963" y="366371"/>
                  <a:pt x="3261173" y="361582"/>
                  <a:pt x="3261173" y="355635"/>
                </a:cubicBezTo>
                <a:cubicBezTo>
                  <a:pt x="3261173" y="349689"/>
                  <a:pt x="3265963" y="344899"/>
                  <a:pt x="3271910" y="344899"/>
                </a:cubicBezTo>
                <a:close/>
                <a:moveTo>
                  <a:pt x="1539653" y="343248"/>
                </a:moveTo>
                <a:cubicBezTo>
                  <a:pt x="1539819" y="343248"/>
                  <a:pt x="1539819" y="343248"/>
                  <a:pt x="1539819" y="343413"/>
                </a:cubicBezTo>
                <a:cubicBezTo>
                  <a:pt x="1539819" y="343579"/>
                  <a:pt x="1539653" y="343579"/>
                  <a:pt x="1539653" y="343579"/>
                </a:cubicBezTo>
                <a:cubicBezTo>
                  <a:pt x="1539488" y="343579"/>
                  <a:pt x="1539488" y="343579"/>
                  <a:pt x="1539488" y="343413"/>
                </a:cubicBezTo>
                <a:cubicBezTo>
                  <a:pt x="1539488" y="343248"/>
                  <a:pt x="1539488" y="343248"/>
                  <a:pt x="1539653" y="343248"/>
                </a:cubicBezTo>
                <a:close/>
                <a:moveTo>
                  <a:pt x="1542627" y="341762"/>
                </a:moveTo>
                <a:cubicBezTo>
                  <a:pt x="1548573" y="341762"/>
                  <a:pt x="1553198" y="346387"/>
                  <a:pt x="1553198" y="352333"/>
                </a:cubicBezTo>
                <a:lnTo>
                  <a:pt x="1550308" y="355224"/>
                </a:lnTo>
                <a:lnTo>
                  <a:pt x="1555677" y="360591"/>
                </a:lnTo>
                <a:lnTo>
                  <a:pt x="1552950" y="363318"/>
                </a:lnTo>
                <a:lnTo>
                  <a:pt x="1557163" y="367528"/>
                </a:lnTo>
                <a:lnTo>
                  <a:pt x="1554520" y="370171"/>
                </a:lnTo>
                <a:lnTo>
                  <a:pt x="1558320" y="373971"/>
                </a:lnTo>
                <a:lnTo>
                  <a:pt x="1555760" y="376532"/>
                </a:lnTo>
                <a:lnTo>
                  <a:pt x="1558980" y="379752"/>
                </a:lnTo>
                <a:lnTo>
                  <a:pt x="1556502" y="382231"/>
                </a:lnTo>
                <a:lnTo>
                  <a:pt x="1559476" y="385203"/>
                </a:lnTo>
                <a:lnTo>
                  <a:pt x="1556915" y="387764"/>
                </a:lnTo>
                <a:lnTo>
                  <a:pt x="1559641" y="390489"/>
                </a:lnTo>
                <a:lnTo>
                  <a:pt x="1556833" y="393296"/>
                </a:lnTo>
                <a:lnTo>
                  <a:pt x="1559641" y="396104"/>
                </a:lnTo>
                <a:lnTo>
                  <a:pt x="1556750" y="398995"/>
                </a:lnTo>
                <a:lnTo>
                  <a:pt x="1559808" y="402052"/>
                </a:lnTo>
                <a:lnTo>
                  <a:pt x="1556669" y="405191"/>
                </a:lnTo>
                <a:lnTo>
                  <a:pt x="1560302" y="408824"/>
                </a:lnTo>
                <a:lnTo>
                  <a:pt x="1556750" y="412376"/>
                </a:lnTo>
                <a:lnTo>
                  <a:pt x="1560962" y="416587"/>
                </a:lnTo>
                <a:lnTo>
                  <a:pt x="1556915" y="420634"/>
                </a:lnTo>
                <a:lnTo>
                  <a:pt x="1562284" y="426003"/>
                </a:lnTo>
                <a:lnTo>
                  <a:pt x="1557659" y="430628"/>
                </a:lnTo>
                <a:lnTo>
                  <a:pt x="1564266" y="437235"/>
                </a:lnTo>
                <a:lnTo>
                  <a:pt x="1558980" y="442521"/>
                </a:lnTo>
                <a:lnTo>
                  <a:pt x="1567238" y="450780"/>
                </a:lnTo>
                <a:lnTo>
                  <a:pt x="1561292" y="456728"/>
                </a:lnTo>
                <a:lnTo>
                  <a:pt x="1571368" y="466804"/>
                </a:lnTo>
                <a:cubicBezTo>
                  <a:pt x="1571368" y="472750"/>
                  <a:pt x="1566578" y="477540"/>
                  <a:pt x="1560631" y="477540"/>
                </a:cubicBezTo>
                <a:cubicBezTo>
                  <a:pt x="1554685" y="477540"/>
                  <a:pt x="1549895" y="472750"/>
                  <a:pt x="1549895" y="466804"/>
                </a:cubicBezTo>
                <a:lnTo>
                  <a:pt x="1555841" y="460857"/>
                </a:lnTo>
                <a:lnTo>
                  <a:pt x="1545766" y="450780"/>
                </a:lnTo>
                <a:lnTo>
                  <a:pt x="1551052" y="445495"/>
                </a:lnTo>
                <a:lnTo>
                  <a:pt x="1542793" y="437235"/>
                </a:lnTo>
                <a:lnTo>
                  <a:pt x="1547417" y="432612"/>
                </a:lnTo>
                <a:lnTo>
                  <a:pt x="1540810" y="426003"/>
                </a:lnTo>
                <a:lnTo>
                  <a:pt x="1544857" y="421956"/>
                </a:lnTo>
                <a:lnTo>
                  <a:pt x="1539488" y="416587"/>
                </a:lnTo>
                <a:lnTo>
                  <a:pt x="1543040" y="413035"/>
                </a:lnTo>
                <a:lnTo>
                  <a:pt x="1538829" y="408824"/>
                </a:lnTo>
                <a:lnTo>
                  <a:pt x="1541968" y="405687"/>
                </a:lnTo>
                <a:lnTo>
                  <a:pt x="1538333" y="402052"/>
                </a:lnTo>
                <a:lnTo>
                  <a:pt x="1541224" y="399161"/>
                </a:lnTo>
                <a:lnTo>
                  <a:pt x="1538168" y="396104"/>
                </a:lnTo>
                <a:lnTo>
                  <a:pt x="1540976" y="393296"/>
                </a:lnTo>
                <a:lnTo>
                  <a:pt x="1538168" y="390489"/>
                </a:lnTo>
                <a:lnTo>
                  <a:pt x="1540728" y="387929"/>
                </a:lnTo>
                <a:lnTo>
                  <a:pt x="1538002" y="385203"/>
                </a:lnTo>
                <a:lnTo>
                  <a:pt x="1540480" y="382725"/>
                </a:lnTo>
                <a:lnTo>
                  <a:pt x="1537508" y="379752"/>
                </a:lnTo>
                <a:lnTo>
                  <a:pt x="1540067" y="377193"/>
                </a:lnTo>
                <a:lnTo>
                  <a:pt x="1536847" y="373971"/>
                </a:lnTo>
                <a:lnTo>
                  <a:pt x="1539490" y="371328"/>
                </a:lnTo>
                <a:lnTo>
                  <a:pt x="1535690" y="367528"/>
                </a:lnTo>
                <a:lnTo>
                  <a:pt x="1538414" y="364804"/>
                </a:lnTo>
                <a:lnTo>
                  <a:pt x="1534202" y="360591"/>
                </a:lnTo>
                <a:lnTo>
                  <a:pt x="1537258" y="357536"/>
                </a:lnTo>
                <a:lnTo>
                  <a:pt x="1532055" y="352333"/>
                </a:lnTo>
                <a:cubicBezTo>
                  <a:pt x="1532055" y="346387"/>
                  <a:pt x="1536680" y="341762"/>
                  <a:pt x="1542627" y="341762"/>
                </a:cubicBezTo>
                <a:close/>
                <a:moveTo>
                  <a:pt x="2579966" y="338291"/>
                </a:moveTo>
                <a:cubicBezTo>
                  <a:pt x="2585912" y="338291"/>
                  <a:pt x="2590704" y="343081"/>
                  <a:pt x="2590704" y="349028"/>
                </a:cubicBezTo>
                <a:cubicBezTo>
                  <a:pt x="2590704" y="354974"/>
                  <a:pt x="2585912" y="359766"/>
                  <a:pt x="2579966" y="359766"/>
                </a:cubicBezTo>
                <a:cubicBezTo>
                  <a:pt x="2574019" y="359766"/>
                  <a:pt x="2569229" y="354974"/>
                  <a:pt x="2569229" y="349028"/>
                </a:cubicBezTo>
                <a:cubicBezTo>
                  <a:pt x="2569229" y="343081"/>
                  <a:pt x="2574019" y="338291"/>
                  <a:pt x="2579966" y="338291"/>
                </a:cubicBezTo>
                <a:close/>
                <a:moveTo>
                  <a:pt x="2266286" y="334823"/>
                </a:moveTo>
                <a:cubicBezTo>
                  <a:pt x="2272232" y="334823"/>
                  <a:pt x="2277024" y="339613"/>
                  <a:pt x="2277024" y="345559"/>
                </a:cubicBezTo>
                <a:cubicBezTo>
                  <a:pt x="2277024" y="351506"/>
                  <a:pt x="2272232" y="356296"/>
                  <a:pt x="2266286" y="356296"/>
                </a:cubicBezTo>
                <a:cubicBezTo>
                  <a:pt x="2260339" y="356296"/>
                  <a:pt x="2255550" y="351506"/>
                  <a:pt x="2255550" y="345559"/>
                </a:cubicBezTo>
                <a:cubicBezTo>
                  <a:pt x="2255550" y="339613"/>
                  <a:pt x="2260339" y="334823"/>
                  <a:pt x="2266286" y="334823"/>
                </a:cubicBezTo>
                <a:close/>
                <a:moveTo>
                  <a:pt x="1966483" y="334823"/>
                </a:moveTo>
                <a:cubicBezTo>
                  <a:pt x="1972430" y="334823"/>
                  <a:pt x="1977219" y="339613"/>
                  <a:pt x="1977219" y="345559"/>
                </a:cubicBezTo>
                <a:cubicBezTo>
                  <a:pt x="1977219" y="351506"/>
                  <a:pt x="1972430" y="356296"/>
                  <a:pt x="1966483" y="356296"/>
                </a:cubicBezTo>
                <a:cubicBezTo>
                  <a:pt x="1960536" y="356296"/>
                  <a:pt x="1955747" y="351506"/>
                  <a:pt x="1955747" y="345559"/>
                </a:cubicBezTo>
                <a:cubicBezTo>
                  <a:pt x="1955747" y="339613"/>
                  <a:pt x="1960536" y="334823"/>
                  <a:pt x="1966483" y="334823"/>
                </a:cubicBezTo>
                <a:close/>
                <a:moveTo>
                  <a:pt x="3134644" y="333666"/>
                </a:moveTo>
                <a:cubicBezTo>
                  <a:pt x="3140590" y="333666"/>
                  <a:pt x="3145382" y="338456"/>
                  <a:pt x="3145382" y="344403"/>
                </a:cubicBezTo>
                <a:cubicBezTo>
                  <a:pt x="3145382" y="350349"/>
                  <a:pt x="3140590" y="355139"/>
                  <a:pt x="3134644" y="355139"/>
                </a:cubicBezTo>
                <a:cubicBezTo>
                  <a:pt x="3128697" y="355139"/>
                  <a:pt x="3123907" y="350349"/>
                  <a:pt x="3123907" y="344403"/>
                </a:cubicBezTo>
                <a:cubicBezTo>
                  <a:pt x="3123907" y="338456"/>
                  <a:pt x="3128697" y="333666"/>
                  <a:pt x="3134644" y="333666"/>
                </a:cubicBezTo>
                <a:close/>
                <a:moveTo>
                  <a:pt x="1825913" y="332345"/>
                </a:moveTo>
                <a:cubicBezTo>
                  <a:pt x="1831860" y="332345"/>
                  <a:pt x="1836651" y="337135"/>
                  <a:pt x="1836651" y="343081"/>
                </a:cubicBezTo>
                <a:cubicBezTo>
                  <a:pt x="1836651" y="349028"/>
                  <a:pt x="1831860" y="353818"/>
                  <a:pt x="1825913" y="353818"/>
                </a:cubicBezTo>
                <a:cubicBezTo>
                  <a:pt x="1819967" y="353818"/>
                  <a:pt x="1815177" y="349028"/>
                  <a:pt x="1815177" y="343081"/>
                </a:cubicBezTo>
                <a:cubicBezTo>
                  <a:pt x="1815177" y="337135"/>
                  <a:pt x="1819967" y="332345"/>
                  <a:pt x="1825913" y="332345"/>
                </a:cubicBezTo>
                <a:close/>
                <a:moveTo>
                  <a:pt x="2107547" y="329867"/>
                </a:moveTo>
                <a:cubicBezTo>
                  <a:pt x="2113494" y="329867"/>
                  <a:pt x="2118285" y="334657"/>
                  <a:pt x="2118285" y="340603"/>
                </a:cubicBezTo>
                <a:cubicBezTo>
                  <a:pt x="2118285" y="346550"/>
                  <a:pt x="2113494" y="351341"/>
                  <a:pt x="2107547" y="351341"/>
                </a:cubicBezTo>
                <a:cubicBezTo>
                  <a:pt x="2101600" y="351341"/>
                  <a:pt x="2096811" y="346550"/>
                  <a:pt x="2096811" y="340603"/>
                </a:cubicBezTo>
                <a:cubicBezTo>
                  <a:pt x="2096811" y="334657"/>
                  <a:pt x="2101600" y="329867"/>
                  <a:pt x="2107547" y="329867"/>
                </a:cubicBezTo>
                <a:close/>
                <a:moveTo>
                  <a:pt x="2717892" y="329702"/>
                </a:moveTo>
                <a:cubicBezTo>
                  <a:pt x="2723839" y="329702"/>
                  <a:pt x="2728630" y="334492"/>
                  <a:pt x="2728630" y="340438"/>
                </a:cubicBezTo>
                <a:cubicBezTo>
                  <a:pt x="2728630" y="346385"/>
                  <a:pt x="2723839" y="351175"/>
                  <a:pt x="2717892" y="351175"/>
                </a:cubicBezTo>
                <a:cubicBezTo>
                  <a:pt x="2711946" y="351175"/>
                  <a:pt x="2707156" y="346385"/>
                  <a:pt x="2707156" y="340438"/>
                </a:cubicBezTo>
                <a:cubicBezTo>
                  <a:pt x="2707156" y="334492"/>
                  <a:pt x="2711946" y="329702"/>
                  <a:pt x="2717892" y="329702"/>
                </a:cubicBezTo>
                <a:close/>
                <a:moveTo>
                  <a:pt x="2996222" y="327390"/>
                </a:moveTo>
                <a:cubicBezTo>
                  <a:pt x="3002169" y="327390"/>
                  <a:pt x="3006959" y="332180"/>
                  <a:pt x="3006959" y="338127"/>
                </a:cubicBezTo>
                <a:cubicBezTo>
                  <a:pt x="3006959" y="344073"/>
                  <a:pt x="3002169" y="348865"/>
                  <a:pt x="2996222" y="348865"/>
                </a:cubicBezTo>
                <a:cubicBezTo>
                  <a:pt x="2990276" y="348865"/>
                  <a:pt x="2985486" y="344073"/>
                  <a:pt x="2985486" y="338127"/>
                </a:cubicBezTo>
                <a:cubicBezTo>
                  <a:pt x="2985486" y="332180"/>
                  <a:pt x="2990276" y="327390"/>
                  <a:pt x="2996222" y="327390"/>
                </a:cubicBezTo>
                <a:close/>
                <a:moveTo>
                  <a:pt x="2856974" y="325902"/>
                </a:moveTo>
                <a:cubicBezTo>
                  <a:pt x="2862921" y="325902"/>
                  <a:pt x="2867712" y="330692"/>
                  <a:pt x="2867712" y="336639"/>
                </a:cubicBezTo>
                <a:cubicBezTo>
                  <a:pt x="2867712" y="342585"/>
                  <a:pt x="2862921" y="347377"/>
                  <a:pt x="2856974" y="347377"/>
                </a:cubicBezTo>
                <a:cubicBezTo>
                  <a:pt x="2851028" y="347377"/>
                  <a:pt x="2846238" y="342585"/>
                  <a:pt x="2846238" y="336639"/>
                </a:cubicBezTo>
                <a:cubicBezTo>
                  <a:pt x="2846238" y="330692"/>
                  <a:pt x="2851028" y="325902"/>
                  <a:pt x="2856974" y="325902"/>
                </a:cubicBezTo>
                <a:close/>
                <a:moveTo>
                  <a:pt x="3453280" y="325077"/>
                </a:moveTo>
                <a:cubicBezTo>
                  <a:pt x="3459226" y="325077"/>
                  <a:pt x="3464018" y="329867"/>
                  <a:pt x="3464018" y="335813"/>
                </a:cubicBezTo>
                <a:cubicBezTo>
                  <a:pt x="3464018" y="341760"/>
                  <a:pt x="3459226" y="346550"/>
                  <a:pt x="3453280" y="346550"/>
                </a:cubicBezTo>
                <a:cubicBezTo>
                  <a:pt x="3447333" y="346550"/>
                  <a:pt x="3442543" y="341760"/>
                  <a:pt x="3442543" y="335813"/>
                </a:cubicBezTo>
                <a:cubicBezTo>
                  <a:pt x="3442543" y="329867"/>
                  <a:pt x="3447333" y="325077"/>
                  <a:pt x="3453280" y="325077"/>
                </a:cubicBezTo>
                <a:close/>
                <a:moveTo>
                  <a:pt x="1811873" y="320122"/>
                </a:moveTo>
                <a:cubicBezTo>
                  <a:pt x="1817820" y="320122"/>
                  <a:pt x="1822610" y="324912"/>
                  <a:pt x="1822610" y="330859"/>
                </a:cubicBezTo>
                <a:cubicBezTo>
                  <a:pt x="1822610" y="336805"/>
                  <a:pt x="1817820" y="341595"/>
                  <a:pt x="1811873" y="341595"/>
                </a:cubicBezTo>
                <a:cubicBezTo>
                  <a:pt x="1805927" y="341595"/>
                  <a:pt x="1801137" y="336805"/>
                  <a:pt x="1801137" y="330859"/>
                </a:cubicBezTo>
                <a:cubicBezTo>
                  <a:pt x="1801137" y="324912"/>
                  <a:pt x="1805927" y="320122"/>
                  <a:pt x="1811873" y="320122"/>
                </a:cubicBezTo>
                <a:close/>
                <a:moveTo>
                  <a:pt x="1943687" y="315993"/>
                </a:moveTo>
                <a:cubicBezTo>
                  <a:pt x="1949634" y="315993"/>
                  <a:pt x="1954425" y="320783"/>
                  <a:pt x="1954425" y="326730"/>
                </a:cubicBezTo>
                <a:cubicBezTo>
                  <a:pt x="1954425" y="332676"/>
                  <a:pt x="1949634" y="337466"/>
                  <a:pt x="1943687" y="337466"/>
                </a:cubicBezTo>
                <a:cubicBezTo>
                  <a:pt x="1937741" y="337466"/>
                  <a:pt x="1932951" y="332676"/>
                  <a:pt x="1932951" y="326730"/>
                </a:cubicBezTo>
                <a:cubicBezTo>
                  <a:pt x="1932951" y="320783"/>
                  <a:pt x="1937741" y="315993"/>
                  <a:pt x="1943687" y="315993"/>
                </a:cubicBezTo>
                <a:close/>
                <a:moveTo>
                  <a:pt x="2394302" y="315166"/>
                </a:moveTo>
                <a:cubicBezTo>
                  <a:pt x="2400248" y="315166"/>
                  <a:pt x="2405040" y="319956"/>
                  <a:pt x="2405040" y="325902"/>
                </a:cubicBezTo>
                <a:cubicBezTo>
                  <a:pt x="2405040" y="331849"/>
                  <a:pt x="2400248" y="336640"/>
                  <a:pt x="2394302" y="336640"/>
                </a:cubicBezTo>
                <a:cubicBezTo>
                  <a:pt x="2388355" y="336640"/>
                  <a:pt x="2383565" y="331849"/>
                  <a:pt x="2383565" y="325902"/>
                </a:cubicBezTo>
                <a:cubicBezTo>
                  <a:pt x="2383565" y="319956"/>
                  <a:pt x="2388355" y="315166"/>
                  <a:pt x="2394302" y="315166"/>
                </a:cubicBezTo>
                <a:close/>
                <a:moveTo>
                  <a:pt x="1595981" y="314505"/>
                </a:moveTo>
                <a:lnTo>
                  <a:pt x="1598790" y="317315"/>
                </a:lnTo>
                <a:lnTo>
                  <a:pt x="1599945" y="316158"/>
                </a:lnTo>
                <a:cubicBezTo>
                  <a:pt x="1605892" y="316158"/>
                  <a:pt x="1610683" y="320948"/>
                  <a:pt x="1610683" y="326894"/>
                </a:cubicBezTo>
                <a:lnTo>
                  <a:pt x="1608866" y="328712"/>
                </a:lnTo>
                <a:lnTo>
                  <a:pt x="1613985" y="333831"/>
                </a:lnTo>
                <a:lnTo>
                  <a:pt x="1612499" y="335317"/>
                </a:lnTo>
                <a:lnTo>
                  <a:pt x="1616959" y="339778"/>
                </a:lnTo>
                <a:lnTo>
                  <a:pt x="1615719" y="341018"/>
                </a:lnTo>
                <a:lnTo>
                  <a:pt x="1619602" y="344899"/>
                </a:lnTo>
                <a:lnTo>
                  <a:pt x="1618281" y="346220"/>
                </a:lnTo>
                <a:lnTo>
                  <a:pt x="1621749" y="349689"/>
                </a:lnTo>
                <a:lnTo>
                  <a:pt x="1620757" y="350680"/>
                </a:lnTo>
                <a:lnTo>
                  <a:pt x="1624063" y="353984"/>
                </a:lnTo>
                <a:lnTo>
                  <a:pt x="1622823" y="355224"/>
                </a:lnTo>
                <a:lnTo>
                  <a:pt x="1626045" y="358445"/>
                </a:lnTo>
                <a:lnTo>
                  <a:pt x="1624971" y="359518"/>
                </a:lnTo>
                <a:lnTo>
                  <a:pt x="1628356" y="362903"/>
                </a:lnTo>
                <a:lnTo>
                  <a:pt x="1627035" y="364225"/>
                </a:lnTo>
                <a:lnTo>
                  <a:pt x="1630835" y="368024"/>
                </a:lnTo>
                <a:lnTo>
                  <a:pt x="1629430" y="369429"/>
                </a:lnTo>
                <a:lnTo>
                  <a:pt x="1633809" y="373806"/>
                </a:lnTo>
                <a:lnTo>
                  <a:pt x="1631991" y="375623"/>
                </a:lnTo>
                <a:lnTo>
                  <a:pt x="1637277" y="380907"/>
                </a:lnTo>
                <a:lnTo>
                  <a:pt x="1635045" y="383139"/>
                </a:lnTo>
                <a:lnTo>
                  <a:pt x="1641406" y="389498"/>
                </a:lnTo>
                <a:lnTo>
                  <a:pt x="1638763" y="392141"/>
                </a:lnTo>
                <a:lnTo>
                  <a:pt x="1646692" y="400069"/>
                </a:lnTo>
                <a:lnTo>
                  <a:pt x="1643470" y="403291"/>
                </a:lnTo>
                <a:lnTo>
                  <a:pt x="1653134" y="412953"/>
                </a:lnTo>
                <a:cubicBezTo>
                  <a:pt x="1653134" y="418900"/>
                  <a:pt x="1648343" y="423690"/>
                  <a:pt x="1642396" y="423690"/>
                </a:cubicBezTo>
                <a:cubicBezTo>
                  <a:pt x="1636450" y="423690"/>
                  <a:pt x="1631660" y="418900"/>
                  <a:pt x="1631660" y="412953"/>
                </a:cubicBezTo>
                <a:lnTo>
                  <a:pt x="1634880" y="409733"/>
                </a:lnTo>
                <a:lnTo>
                  <a:pt x="1625218" y="400069"/>
                </a:lnTo>
                <a:lnTo>
                  <a:pt x="1627860" y="397427"/>
                </a:lnTo>
                <a:lnTo>
                  <a:pt x="1619932" y="389498"/>
                </a:lnTo>
                <a:lnTo>
                  <a:pt x="1622162" y="387268"/>
                </a:lnTo>
                <a:lnTo>
                  <a:pt x="1615803" y="380907"/>
                </a:lnTo>
                <a:lnTo>
                  <a:pt x="1617618" y="379092"/>
                </a:lnTo>
                <a:lnTo>
                  <a:pt x="1612334" y="373806"/>
                </a:lnTo>
                <a:lnTo>
                  <a:pt x="1613739" y="372403"/>
                </a:lnTo>
                <a:lnTo>
                  <a:pt x="1609360" y="368024"/>
                </a:lnTo>
                <a:lnTo>
                  <a:pt x="1610682" y="366703"/>
                </a:lnTo>
                <a:lnTo>
                  <a:pt x="1606882" y="362903"/>
                </a:lnTo>
                <a:lnTo>
                  <a:pt x="1607956" y="361830"/>
                </a:lnTo>
                <a:lnTo>
                  <a:pt x="1604570" y="358445"/>
                </a:lnTo>
                <a:lnTo>
                  <a:pt x="1605810" y="357206"/>
                </a:lnTo>
                <a:lnTo>
                  <a:pt x="1602588" y="353984"/>
                </a:lnTo>
                <a:lnTo>
                  <a:pt x="1603580" y="352994"/>
                </a:lnTo>
                <a:lnTo>
                  <a:pt x="1600275" y="349689"/>
                </a:lnTo>
                <a:lnTo>
                  <a:pt x="1601596" y="348367"/>
                </a:lnTo>
                <a:lnTo>
                  <a:pt x="1598128" y="344899"/>
                </a:lnTo>
                <a:lnTo>
                  <a:pt x="1599368" y="343661"/>
                </a:lnTo>
                <a:lnTo>
                  <a:pt x="1595485" y="339778"/>
                </a:lnTo>
                <a:lnTo>
                  <a:pt x="1596971" y="338291"/>
                </a:lnTo>
                <a:lnTo>
                  <a:pt x="1592512" y="333831"/>
                </a:lnTo>
                <a:lnTo>
                  <a:pt x="1594328" y="332015"/>
                </a:lnTo>
                <a:lnTo>
                  <a:pt x="1589209" y="326894"/>
                </a:lnTo>
                <a:lnTo>
                  <a:pt x="1594330" y="321773"/>
                </a:lnTo>
                <a:lnTo>
                  <a:pt x="1591521" y="318966"/>
                </a:lnTo>
                <a:cubicBezTo>
                  <a:pt x="1591521" y="316488"/>
                  <a:pt x="1593503" y="314505"/>
                  <a:pt x="1595981" y="314505"/>
                </a:cubicBezTo>
                <a:close/>
                <a:moveTo>
                  <a:pt x="3323942" y="307569"/>
                </a:moveTo>
                <a:cubicBezTo>
                  <a:pt x="3329888" y="307569"/>
                  <a:pt x="3334680" y="312358"/>
                  <a:pt x="3334680" y="318305"/>
                </a:cubicBezTo>
                <a:cubicBezTo>
                  <a:pt x="3334680" y="324252"/>
                  <a:pt x="3329888" y="329041"/>
                  <a:pt x="3323942" y="329041"/>
                </a:cubicBezTo>
                <a:cubicBezTo>
                  <a:pt x="3317996" y="329041"/>
                  <a:pt x="3313206" y="324252"/>
                  <a:pt x="3313206" y="318305"/>
                </a:cubicBezTo>
                <a:cubicBezTo>
                  <a:pt x="3313206" y="312358"/>
                  <a:pt x="3317996" y="307569"/>
                  <a:pt x="3323942" y="307569"/>
                </a:cubicBezTo>
                <a:close/>
                <a:moveTo>
                  <a:pt x="2076824" y="306247"/>
                </a:moveTo>
                <a:cubicBezTo>
                  <a:pt x="2082771" y="306247"/>
                  <a:pt x="2087560" y="311037"/>
                  <a:pt x="2087560" y="316983"/>
                </a:cubicBezTo>
                <a:cubicBezTo>
                  <a:pt x="2087560" y="322930"/>
                  <a:pt x="2082771" y="327720"/>
                  <a:pt x="2076824" y="327720"/>
                </a:cubicBezTo>
                <a:cubicBezTo>
                  <a:pt x="2070878" y="327720"/>
                  <a:pt x="2066088" y="322930"/>
                  <a:pt x="2066088" y="316983"/>
                </a:cubicBezTo>
                <a:cubicBezTo>
                  <a:pt x="2066088" y="311037"/>
                  <a:pt x="2070878" y="306247"/>
                  <a:pt x="2076824" y="306247"/>
                </a:cubicBezTo>
                <a:close/>
                <a:moveTo>
                  <a:pt x="2226642" y="305255"/>
                </a:moveTo>
                <a:cubicBezTo>
                  <a:pt x="2232589" y="305255"/>
                  <a:pt x="2237380" y="310045"/>
                  <a:pt x="2237380" y="315992"/>
                </a:cubicBezTo>
                <a:cubicBezTo>
                  <a:pt x="2237380" y="321938"/>
                  <a:pt x="2232589" y="326730"/>
                  <a:pt x="2226642" y="326730"/>
                </a:cubicBezTo>
                <a:cubicBezTo>
                  <a:pt x="2220696" y="326730"/>
                  <a:pt x="2215906" y="321938"/>
                  <a:pt x="2215906" y="315992"/>
                </a:cubicBezTo>
                <a:cubicBezTo>
                  <a:pt x="2215906" y="310045"/>
                  <a:pt x="2220696" y="305255"/>
                  <a:pt x="2226642" y="305255"/>
                </a:cubicBezTo>
                <a:close/>
                <a:moveTo>
                  <a:pt x="1923369" y="300630"/>
                </a:moveTo>
                <a:cubicBezTo>
                  <a:pt x="1929316" y="300630"/>
                  <a:pt x="1934106" y="305420"/>
                  <a:pt x="1934106" y="311367"/>
                </a:cubicBezTo>
                <a:cubicBezTo>
                  <a:pt x="1934106" y="317313"/>
                  <a:pt x="1929316" y="322103"/>
                  <a:pt x="1923369" y="322103"/>
                </a:cubicBezTo>
                <a:cubicBezTo>
                  <a:pt x="1917423" y="322103"/>
                  <a:pt x="1912633" y="317313"/>
                  <a:pt x="1912633" y="311367"/>
                </a:cubicBezTo>
                <a:cubicBezTo>
                  <a:pt x="1912633" y="305420"/>
                  <a:pt x="1917423" y="300630"/>
                  <a:pt x="1923369" y="300630"/>
                </a:cubicBezTo>
                <a:close/>
                <a:moveTo>
                  <a:pt x="2524794" y="300134"/>
                </a:moveTo>
                <a:cubicBezTo>
                  <a:pt x="2530740" y="300134"/>
                  <a:pt x="2535532" y="304924"/>
                  <a:pt x="2535532" y="310871"/>
                </a:cubicBezTo>
                <a:cubicBezTo>
                  <a:pt x="2535532" y="316817"/>
                  <a:pt x="2530740" y="321607"/>
                  <a:pt x="2524794" y="321607"/>
                </a:cubicBezTo>
                <a:cubicBezTo>
                  <a:pt x="2518848" y="321607"/>
                  <a:pt x="2514058" y="316817"/>
                  <a:pt x="2514058" y="310871"/>
                </a:cubicBezTo>
                <a:cubicBezTo>
                  <a:pt x="2514058" y="304924"/>
                  <a:pt x="2518848" y="300134"/>
                  <a:pt x="2524794" y="300134"/>
                </a:cubicBezTo>
                <a:close/>
                <a:moveTo>
                  <a:pt x="3495401" y="295180"/>
                </a:moveTo>
                <a:lnTo>
                  <a:pt x="3503192" y="302970"/>
                </a:lnTo>
                <a:lnTo>
                  <a:pt x="3503192" y="308862"/>
                </a:lnTo>
                <a:lnTo>
                  <a:pt x="3495401" y="316652"/>
                </a:lnTo>
                <a:cubicBezTo>
                  <a:pt x="3489454" y="316652"/>
                  <a:pt x="3484665" y="311862"/>
                  <a:pt x="3484665" y="305916"/>
                </a:cubicBezTo>
                <a:cubicBezTo>
                  <a:pt x="3484665" y="299969"/>
                  <a:pt x="3489454" y="295180"/>
                  <a:pt x="3495401" y="295180"/>
                </a:cubicBezTo>
                <a:close/>
                <a:moveTo>
                  <a:pt x="3192458" y="294519"/>
                </a:moveTo>
                <a:cubicBezTo>
                  <a:pt x="3198404" y="294519"/>
                  <a:pt x="3203196" y="299309"/>
                  <a:pt x="3203196" y="305255"/>
                </a:cubicBezTo>
                <a:cubicBezTo>
                  <a:pt x="3203196" y="311202"/>
                  <a:pt x="3198404" y="315993"/>
                  <a:pt x="3192458" y="315993"/>
                </a:cubicBezTo>
                <a:cubicBezTo>
                  <a:pt x="3186511" y="315993"/>
                  <a:pt x="3181722" y="311202"/>
                  <a:pt x="3181722" y="305255"/>
                </a:cubicBezTo>
                <a:cubicBezTo>
                  <a:pt x="3181722" y="299309"/>
                  <a:pt x="3186511" y="294519"/>
                  <a:pt x="3192458" y="294519"/>
                </a:cubicBezTo>
                <a:close/>
                <a:moveTo>
                  <a:pt x="2657270" y="289398"/>
                </a:moveTo>
                <a:cubicBezTo>
                  <a:pt x="2663217" y="289398"/>
                  <a:pt x="2668008" y="294188"/>
                  <a:pt x="2668008" y="300134"/>
                </a:cubicBezTo>
                <a:cubicBezTo>
                  <a:pt x="2668008" y="306081"/>
                  <a:pt x="2663217" y="310871"/>
                  <a:pt x="2657270" y="310871"/>
                </a:cubicBezTo>
                <a:cubicBezTo>
                  <a:pt x="2651324" y="310871"/>
                  <a:pt x="2646534" y="306081"/>
                  <a:pt x="2646534" y="300134"/>
                </a:cubicBezTo>
                <a:cubicBezTo>
                  <a:pt x="2646534" y="294188"/>
                  <a:pt x="2651324" y="289398"/>
                  <a:pt x="2657270" y="289398"/>
                </a:cubicBezTo>
                <a:close/>
                <a:moveTo>
                  <a:pt x="1905200" y="288572"/>
                </a:moveTo>
                <a:cubicBezTo>
                  <a:pt x="1911147" y="288572"/>
                  <a:pt x="1915937" y="293362"/>
                  <a:pt x="1915937" y="299309"/>
                </a:cubicBezTo>
                <a:cubicBezTo>
                  <a:pt x="1915937" y="305255"/>
                  <a:pt x="1911147" y="310047"/>
                  <a:pt x="1905200" y="310047"/>
                </a:cubicBezTo>
                <a:cubicBezTo>
                  <a:pt x="1899254" y="310047"/>
                  <a:pt x="1894464" y="305255"/>
                  <a:pt x="1894464" y="299309"/>
                </a:cubicBezTo>
                <a:cubicBezTo>
                  <a:pt x="1894464" y="293362"/>
                  <a:pt x="1899254" y="288572"/>
                  <a:pt x="1905200" y="288572"/>
                </a:cubicBezTo>
                <a:close/>
                <a:moveTo>
                  <a:pt x="2049238" y="286921"/>
                </a:moveTo>
                <a:cubicBezTo>
                  <a:pt x="2055185" y="286921"/>
                  <a:pt x="2059975" y="291711"/>
                  <a:pt x="2059975" y="297658"/>
                </a:cubicBezTo>
                <a:cubicBezTo>
                  <a:pt x="2059975" y="303604"/>
                  <a:pt x="2055185" y="308394"/>
                  <a:pt x="2049238" y="308394"/>
                </a:cubicBezTo>
                <a:cubicBezTo>
                  <a:pt x="2043292" y="308394"/>
                  <a:pt x="2038502" y="303604"/>
                  <a:pt x="2038502" y="297658"/>
                </a:cubicBezTo>
                <a:cubicBezTo>
                  <a:pt x="2038502" y="291711"/>
                  <a:pt x="2043292" y="286921"/>
                  <a:pt x="2049238" y="286921"/>
                </a:cubicBezTo>
                <a:close/>
                <a:moveTo>
                  <a:pt x="3059321" y="286094"/>
                </a:moveTo>
                <a:cubicBezTo>
                  <a:pt x="3065267" y="286094"/>
                  <a:pt x="3070059" y="290884"/>
                  <a:pt x="3070059" y="296831"/>
                </a:cubicBezTo>
                <a:cubicBezTo>
                  <a:pt x="3070059" y="302777"/>
                  <a:pt x="3065267" y="307569"/>
                  <a:pt x="3059321" y="307569"/>
                </a:cubicBezTo>
                <a:cubicBezTo>
                  <a:pt x="3053374" y="307569"/>
                  <a:pt x="3048584" y="302777"/>
                  <a:pt x="3048584" y="296831"/>
                </a:cubicBezTo>
                <a:cubicBezTo>
                  <a:pt x="3048584" y="290884"/>
                  <a:pt x="3053374" y="286094"/>
                  <a:pt x="3059321" y="286094"/>
                </a:cubicBezTo>
                <a:close/>
                <a:moveTo>
                  <a:pt x="1653630" y="285104"/>
                </a:moveTo>
                <a:cubicBezTo>
                  <a:pt x="1659012" y="285104"/>
                  <a:pt x="1663375" y="289467"/>
                  <a:pt x="1663375" y="294850"/>
                </a:cubicBezTo>
                <a:lnTo>
                  <a:pt x="1662962" y="295263"/>
                </a:lnTo>
                <a:lnTo>
                  <a:pt x="1669488" y="301787"/>
                </a:lnTo>
                <a:lnTo>
                  <a:pt x="1668910" y="302366"/>
                </a:lnTo>
                <a:lnTo>
                  <a:pt x="1674111" y="307567"/>
                </a:lnTo>
                <a:lnTo>
                  <a:pt x="1673863" y="307815"/>
                </a:lnTo>
                <a:lnTo>
                  <a:pt x="1675847" y="309799"/>
                </a:lnTo>
                <a:lnTo>
                  <a:pt x="1676093" y="309551"/>
                </a:lnTo>
                <a:lnTo>
                  <a:pt x="1679893" y="313349"/>
                </a:lnTo>
                <a:lnTo>
                  <a:pt x="1680222" y="313019"/>
                </a:lnTo>
                <a:lnTo>
                  <a:pt x="1683939" y="316736"/>
                </a:lnTo>
                <a:lnTo>
                  <a:pt x="1684352" y="316323"/>
                </a:lnTo>
                <a:lnTo>
                  <a:pt x="1688564" y="320535"/>
                </a:lnTo>
                <a:lnTo>
                  <a:pt x="1688977" y="320122"/>
                </a:lnTo>
                <a:lnTo>
                  <a:pt x="1693520" y="324664"/>
                </a:lnTo>
                <a:lnTo>
                  <a:pt x="1693933" y="324252"/>
                </a:lnTo>
                <a:lnTo>
                  <a:pt x="1699302" y="329621"/>
                </a:lnTo>
                <a:lnTo>
                  <a:pt x="1699548" y="329373"/>
                </a:lnTo>
                <a:lnTo>
                  <a:pt x="1705991" y="335813"/>
                </a:lnTo>
                <a:cubicBezTo>
                  <a:pt x="1711937" y="335813"/>
                  <a:pt x="1716729" y="340603"/>
                  <a:pt x="1716729" y="346550"/>
                </a:cubicBezTo>
                <a:lnTo>
                  <a:pt x="1716481" y="346800"/>
                </a:lnTo>
                <a:lnTo>
                  <a:pt x="1724162" y="354480"/>
                </a:lnTo>
                <a:lnTo>
                  <a:pt x="1723418" y="355224"/>
                </a:lnTo>
                <a:lnTo>
                  <a:pt x="1732751" y="364556"/>
                </a:lnTo>
                <a:cubicBezTo>
                  <a:pt x="1732751" y="370502"/>
                  <a:pt x="1727960" y="375292"/>
                  <a:pt x="1722013" y="375292"/>
                </a:cubicBezTo>
                <a:cubicBezTo>
                  <a:pt x="1716066" y="375292"/>
                  <a:pt x="1711277" y="370502"/>
                  <a:pt x="1711277" y="364556"/>
                </a:cubicBezTo>
                <a:lnTo>
                  <a:pt x="1712020" y="363814"/>
                </a:lnTo>
                <a:lnTo>
                  <a:pt x="1702689" y="354480"/>
                </a:lnTo>
                <a:lnTo>
                  <a:pt x="1702937" y="354234"/>
                </a:lnTo>
                <a:lnTo>
                  <a:pt x="1699548" y="350845"/>
                </a:lnTo>
                <a:lnTo>
                  <a:pt x="1694181" y="345478"/>
                </a:lnTo>
                <a:lnTo>
                  <a:pt x="1693933" y="345724"/>
                </a:lnTo>
                <a:lnTo>
                  <a:pt x="1689391" y="341182"/>
                </a:lnTo>
                <a:lnTo>
                  <a:pt x="1688977" y="341595"/>
                </a:lnTo>
                <a:lnTo>
                  <a:pt x="1684766" y="337384"/>
                </a:lnTo>
                <a:lnTo>
                  <a:pt x="1684352" y="337797"/>
                </a:lnTo>
                <a:lnTo>
                  <a:pt x="1680635" y="334079"/>
                </a:lnTo>
                <a:lnTo>
                  <a:pt x="1680222" y="334492"/>
                </a:lnTo>
                <a:lnTo>
                  <a:pt x="1676425" y="330694"/>
                </a:lnTo>
                <a:lnTo>
                  <a:pt x="1676093" y="331025"/>
                </a:lnTo>
                <a:lnTo>
                  <a:pt x="1672210" y="327142"/>
                </a:lnTo>
                <a:lnTo>
                  <a:pt x="1671964" y="327389"/>
                </a:lnTo>
                <a:lnTo>
                  <a:pt x="1667835" y="323260"/>
                </a:lnTo>
                <a:lnTo>
                  <a:pt x="1667834" y="323260"/>
                </a:lnTo>
                <a:cubicBezTo>
                  <a:pt x="1661887" y="323260"/>
                  <a:pt x="1657097" y="318470"/>
                  <a:pt x="1657097" y="312523"/>
                </a:cubicBezTo>
                <a:lnTo>
                  <a:pt x="1657345" y="312275"/>
                </a:lnTo>
                <a:lnTo>
                  <a:pt x="1652638" y="307567"/>
                </a:lnTo>
                <a:lnTo>
                  <a:pt x="1653216" y="306989"/>
                </a:lnTo>
                <a:lnTo>
                  <a:pt x="1648013" y="301787"/>
                </a:lnTo>
                <a:lnTo>
                  <a:pt x="1649418" y="300384"/>
                </a:lnTo>
                <a:lnTo>
                  <a:pt x="1643884" y="294850"/>
                </a:lnTo>
                <a:cubicBezTo>
                  <a:pt x="1643884" y="289467"/>
                  <a:pt x="1648248" y="285104"/>
                  <a:pt x="1653630" y="285104"/>
                </a:cubicBezTo>
                <a:close/>
                <a:moveTo>
                  <a:pt x="2349041" y="284608"/>
                </a:moveTo>
                <a:cubicBezTo>
                  <a:pt x="2354988" y="284608"/>
                  <a:pt x="2359779" y="289398"/>
                  <a:pt x="2359779" y="295344"/>
                </a:cubicBezTo>
                <a:cubicBezTo>
                  <a:pt x="2359779" y="301291"/>
                  <a:pt x="2354988" y="306082"/>
                  <a:pt x="2349041" y="306082"/>
                </a:cubicBezTo>
                <a:cubicBezTo>
                  <a:pt x="2343095" y="306082"/>
                  <a:pt x="2338305" y="301291"/>
                  <a:pt x="2338305" y="295344"/>
                </a:cubicBezTo>
                <a:cubicBezTo>
                  <a:pt x="2338305" y="289398"/>
                  <a:pt x="2343095" y="284608"/>
                  <a:pt x="2349041" y="284608"/>
                </a:cubicBezTo>
                <a:close/>
                <a:moveTo>
                  <a:pt x="2790902" y="283616"/>
                </a:moveTo>
                <a:cubicBezTo>
                  <a:pt x="2796848" y="283616"/>
                  <a:pt x="2801640" y="288406"/>
                  <a:pt x="2801640" y="294353"/>
                </a:cubicBezTo>
                <a:cubicBezTo>
                  <a:pt x="2801640" y="300299"/>
                  <a:pt x="2796848" y="305089"/>
                  <a:pt x="2790902" y="305089"/>
                </a:cubicBezTo>
                <a:cubicBezTo>
                  <a:pt x="2784955" y="305089"/>
                  <a:pt x="2780165" y="300299"/>
                  <a:pt x="2780165" y="294353"/>
                </a:cubicBezTo>
                <a:cubicBezTo>
                  <a:pt x="2780165" y="288406"/>
                  <a:pt x="2784955" y="283616"/>
                  <a:pt x="2790902" y="283616"/>
                </a:cubicBezTo>
                <a:close/>
                <a:moveTo>
                  <a:pt x="2925195" y="282461"/>
                </a:moveTo>
                <a:cubicBezTo>
                  <a:pt x="2931142" y="282461"/>
                  <a:pt x="2935933" y="287251"/>
                  <a:pt x="2935933" y="293197"/>
                </a:cubicBezTo>
                <a:cubicBezTo>
                  <a:pt x="2935933" y="299144"/>
                  <a:pt x="2931142" y="303934"/>
                  <a:pt x="2925195" y="303934"/>
                </a:cubicBezTo>
                <a:cubicBezTo>
                  <a:pt x="2919249" y="303934"/>
                  <a:pt x="2914459" y="299144"/>
                  <a:pt x="2914459" y="293197"/>
                </a:cubicBezTo>
                <a:cubicBezTo>
                  <a:pt x="2914459" y="287251"/>
                  <a:pt x="2919249" y="282461"/>
                  <a:pt x="2925195" y="282461"/>
                </a:cubicBezTo>
                <a:close/>
                <a:moveTo>
                  <a:pt x="2190798" y="280975"/>
                </a:moveTo>
                <a:cubicBezTo>
                  <a:pt x="2196745" y="280975"/>
                  <a:pt x="2201536" y="285765"/>
                  <a:pt x="2201536" y="291711"/>
                </a:cubicBezTo>
                <a:cubicBezTo>
                  <a:pt x="2201536" y="297658"/>
                  <a:pt x="2196745" y="302448"/>
                  <a:pt x="2190798" y="302448"/>
                </a:cubicBezTo>
                <a:cubicBezTo>
                  <a:pt x="2184852" y="302448"/>
                  <a:pt x="2180062" y="297658"/>
                  <a:pt x="2180062" y="291711"/>
                </a:cubicBezTo>
                <a:cubicBezTo>
                  <a:pt x="2180062" y="285765"/>
                  <a:pt x="2184852" y="280975"/>
                  <a:pt x="2190798" y="280975"/>
                </a:cubicBezTo>
                <a:close/>
                <a:moveTo>
                  <a:pt x="1889178" y="279157"/>
                </a:moveTo>
                <a:cubicBezTo>
                  <a:pt x="1895125" y="279157"/>
                  <a:pt x="1899914" y="283947"/>
                  <a:pt x="1899914" y="289894"/>
                </a:cubicBezTo>
                <a:cubicBezTo>
                  <a:pt x="1899914" y="295840"/>
                  <a:pt x="1895125" y="300632"/>
                  <a:pt x="1889178" y="300632"/>
                </a:cubicBezTo>
                <a:cubicBezTo>
                  <a:pt x="1883232" y="300632"/>
                  <a:pt x="1878442" y="295840"/>
                  <a:pt x="1878442" y="289894"/>
                </a:cubicBezTo>
                <a:cubicBezTo>
                  <a:pt x="1878442" y="283947"/>
                  <a:pt x="1883232" y="279157"/>
                  <a:pt x="1889178" y="279157"/>
                </a:cubicBezTo>
                <a:close/>
                <a:moveTo>
                  <a:pt x="3371844" y="276348"/>
                </a:moveTo>
                <a:cubicBezTo>
                  <a:pt x="3377790" y="276348"/>
                  <a:pt x="3382582" y="281138"/>
                  <a:pt x="3382582" y="287084"/>
                </a:cubicBezTo>
                <a:cubicBezTo>
                  <a:pt x="3382582" y="293031"/>
                  <a:pt x="3377790" y="297822"/>
                  <a:pt x="3371844" y="297822"/>
                </a:cubicBezTo>
                <a:cubicBezTo>
                  <a:pt x="3365897" y="297822"/>
                  <a:pt x="3361108" y="293031"/>
                  <a:pt x="3361108" y="287084"/>
                </a:cubicBezTo>
                <a:cubicBezTo>
                  <a:pt x="3361108" y="281138"/>
                  <a:pt x="3365897" y="276348"/>
                  <a:pt x="3371844" y="276348"/>
                </a:cubicBezTo>
                <a:close/>
                <a:moveTo>
                  <a:pt x="2024296" y="271558"/>
                </a:moveTo>
                <a:cubicBezTo>
                  <a:pt x="2030242" y="271558"/>
                  <a:pt x="2035032" y="276348"/>
                  <a:pt x="2035032" y="282295"/>
                </a:cubicBezTo>
                <a:cubicBezTo>
                  <a:pt x="2035032" y="288241"/>
                  <a:pt x="2030242" y="293031"/>
                  <a:pt x="2024296" y="293031"/>
                </a:cubicBezTo>
                <a:cubicBezTo>
                  <a:pt x="2018349" y="293031"/>
                  <a:pt x="2013559" y="288241"/>
                  <a:pt x="2013559" y="282295"/>
                </a:cubicBezTo>
                <a:cubicBezTo>
                  <a:pt x="2013559" y="276348"/>
                  <a:pt x="2018349" y="271558"/>
                  <a:pt x="2024296" y="271558"/>
                </a:cubicBezTo>
                <a:close/>
                <a:moveTo>
                  <a:pt x="2474085" y="267925"/>
                </a:moveTo>
                <a:cubicBezTo>
                  <a:pt x="2480031" y="267925"/>
                  <a:pt x="2484821" y="272715"/>
                  <a:pt x="2484821" y="278661"/>
                </a:cubicBezTo>
                <a:cubicBezTo>
                  <a:pt x="2484821" y="284608"/>
                  <a:pt x="2480031" y="289400"/>
                  <a:pt x="2474085" y="289400"/>
                </a:cubicBezTo>
                <a:cubicBezTo>
                  <a:pt x="2468138" y="289400"/>
                  <a:pt x="2463348" y="284608"/>
                  <a:pt x="2463348" y="278661"/>
                </a:cubicBezTo>
                <a:cubicBezTo>
                  <a:pt x="2463348" y="272715"/>
                  <a:pt x="2468138" y="267925"/>
                  <a:pt x="2474085" y="267925"/>
                </a:cubicBezTo>
                <a:close/>
                <a:moveTo>
                  <a:pt x="1705991" y="261979"/>
                </a:moveTo>
                <a:cubicBezTo>
                  <a:pt x="1707314" y="261979"/>
                  <a:pt x="1708304" y="262969"/>
                  <a:pt x="1708304" y="264290"/>
                </a:cubicBezTo>
                <a:cubicBezTo>
                  <a:pt x="1708304" y="265612"/>
                  <a:pt x="1707314" y="266604"/>
                  <a:pt x="1705991" y="266604"/>
                </a:cubicBezTo>
                <a:cubicBezTo>
                  <a:pt x="1704669" y="266604"/>
                  <a:pt x="1703679" y="265612"/>
                  <a:pt x="1703679" y="264290"/>
                </a:cubicBezTo>
                <a:cubicBezTo>
                  <a:pt x="1703679" y="262969"/>
                  <a:pt x="1704669" y="261979"/>
                  <a:pt x="1705991" y="261979"/>
                </a:cubicBezTo>
                <a:close/>
                <a:moveTo>
                  <a:pt x="3245645" y="261647"/>
                </a:moveTo>
                <a:cubicBezTo>
                  <a:pt x="3251592" y="261647"/>
                  <a:pt x="3256383" y="266437"/>
                  <a:pt x="3256383" y="272384"/>
                </a:cubicBezTo>
                <a:cubicBezTo>
                  <a:pt x="3256383" y="278330"/>
                  <a:pt x="3251592" y="283120"/>
                  <a:pt x="3245645" y="283120"/>
                </a:cubicBezTo>
                <a:cubicBezTo>
                  <a:pt x="3239699" y="283120"/>
                  <a:pt x="3234909" y="278330"/>
                  <a:pt x="3234909" y="272384"/>
                </a:cubicBezTo>
                <a:cubicBezTo>
                  <a:pt x="3234909" y="266437"/>
                  <a:pt x="3239699" y="261647"/>
                  <a:pt x="3245645" y="261647"/>
                </a:cubicBezTo>
                <a:close/>
                <a:moveTo>
                  <a:pt x="2158093" y="261153"/>
                </a:moveTo>
                <a:cubicBezTo>
                  <a:pt x="2164040" y="261153"/>
                  <a:pt x="2168832" y="265943"/>
                  <a:pt x="2168832" y="271890"/>
                </a:cubicBezTo>
                <a:cubicBezTo>
                  <a:pt x="2168832" y="277836"/>
                  <a:pt x="2164040" y="282628"/>
                  <a:pt x="2158093" y="282628"/>
                </a:cubicBezTo>
                <a:cubicBezTo>
                  <a:pt x="2152147" y="282628"/>
                  <a:pt x="2147357" y="277836"/>
                  <a:pt x="2147357" y="271890"/>
                </a:cubicBezTo>
                <a:cubicBezTo>
                  <a:pt x="2147357" y="265943"/>
                  <a:pt x="2152147" y="261153"/>
                  <a:pt x="2158093" y="261153"/>
                </a:cubicBezTo>
                <a:close/>
                <a:moveTo>
                  <a:pt x="1712764" y="260657"/>
                </a:moveTo>
                <a:lnTo>
                  <a:pt x="1718876" y="266768"/>
                </a:lnTo>
                <a:lnTo>
                  <a:pt x="1719205" y="266439"/>
                </a:lnTo>
                <a:lnTo>
                  <a:pt x="1724658" y="271890"/>
                </a:lnTo>
                <a:lnTo>
                  <a:pt x="1725318" y="271229"/>
                </a:lnTo>
                <a:lnTo>
                  <a:pt x="1730191" y="276102"/>
                </a:lnTo>
                <a:lnTo>
                  <a:pt x="1731265" y="275027"/>
                </a:lnTo>
                <a:lnTo>
                  <a:pt x="1735890" y="279652"/>
                </a:lnTo>
                <a:lnTo>
                  <a:pt x="1737210" y="278332"/>
                </a:lnTo>
                <a:lnTo>
                  <a:pt x="1741505" y="282626"/>
                </a:lnTo>
                <a:lnTo>
                  <a:pt x="1743156" y="280975"/>
                </a:lnTo>
                <a:lnTo>
                  <a:pt x="1747616" y="285433"/>
                </a:lnTo>
                <a:lnTo>
                  <a:pt x="1749434" y="283616"/>
                </a:lnTo>
                <a:lnTo>
                  <a:pt x="1753894" y="288076"/>
                </a:lnTo>
                <a:lnTo>
                  <a:pt x="1755876" y="286094"/>
                </a:lnTo>
                <a:lnTo>
                  <a:pt x="1760916" y="291134"/>
                </a:lnTo>
                <a:lnTo>
                  <a:pt x="1762980" y="289068"/>
                </a:lnTo>
                <a:lnTo>
                  <a:pt x="1768513" y="294602"/>
                </a:lnTo>
                <a:lnTo>
                  <a:pt x="1770577" y="292537"/>
                </a:lnTo>
                <a:lnTo>
                  <a:pt x="1777184" y="299144"/>
                </a:lnTo>
                <a:lnTo>
                  <a:pt x="1779166" y="297162"/>
                </a:lnTo>
                <a:lnTo>
                  <a:pt x="1786847" y="304843"/>
                </a:lnTo>
                <a:lnTo>
                  <a:pt x="1788746" y="302944"/>
                </a:lnTo>
                <a:lnTo>
                  <a:pt x="1797996" y="312194"/>
                </a:lnTo>
                <a:lnTo>
                  <a:pt x="1799649" y="310541"/>
                </a:lnTo>
                <a:cubicBezTo>
                  <a:pt x="1805596" y="310541"/>
                  <a:pt x="1810385" y="315331"/>
                  <a:pt x="1810385" y="321277"/>
                </a:cubicBezTo>
                <a:cubicBezTo>
                  <a:pt x="1810385" y="327224"/>
                  <a:pt x="1805596" y="332014"/>
                  <a:pt x="1799649" y="332014"/>
                </a:cubicBezTo>
                <a:lnTo>
                  <a:pt x="1790399" y="322764"/>
                </a:lnTo>
                <a:lnTo>
                  <a:pt x="1788746" y="324416"/>
                </a:lnTo>
                <a:lnTo>
                  <a:pt x="1781067" y="316737"/>
                </a:lnTo>
                <a:lnTo>
                  <a:pt x="1779166" y="318636"/>
                </a:lnTo>
                <a:lnTo>
                  <a:pt x="1772559" y="312027"/>
                </a:lnTo>
                <a:lnTo>
                  <a:pt x="1770577" y="314009"/>
                </a:lnTo>
                <a:lnTo>
                  <a:pt x="1765045" y="308477"/>
                </a:lnTo>
                <a:lnTo>
                  <a:pt x="1762980" y="310543"/>
                </a:lnTo>
                <a:lnTo>
                  <a:pt x="1757942" y="305503"/>
                </a:lnTo>
                <a:lnTo>
                  <a:pt x="1755876" y="307569"/>
                </a:lnTo>
                <a:lnTo>
                  <a:pt x="1751416" y="303107"/>
                </a:lnTo>
                <a:lnTo>
                  <a:pt x="1749434" y="305089"/>
                </a:lnTo>
                <a:lnTo>
                  <a:pt x="1744975" y="300630"/>
                </a:lnTo>
                <a:lnTo>
                  <a:pt x="1743156" y="302448"/>
                </a:lnTo>
                <a:lnTo>
                  <a:pt x="1738862" y="298154"/>
                </a:lnTo>
                <a:lnTo>
                  <a:pt x="1737210" y="299805"/>
                </a:lnTo>
                <a:lnTo>
                  <a:pt x="1732584" y="295181"/>
                </a:lnTo>
                <a:lnTo>
                  <a:pt x="1731265" y="296501"/>
                </a:lnTo>
                <a:lnTo>
                  <a:pt x="1726392" y="291628"/>
                </a:lnTo>
                <a:lnTo>
                  <a:pt x="1725318" y="292701"/>
                </a:lnTo>
                <a:lnTo>
                  <a:pt x="1719868" y="287251"/>
                </a:lnTo>
                <a:lnTo>
                  <a:pt x="1719205" y="287912"/>
                </a:lnTo>
                <a:lnTo>
                  <a:pt x="1713094" y="281800"/>
                </a:lnTo>
                <a:lnTo>
                  <a:pt x="1712764" y="282130"/>
                </a:lnTo>
                <a:cubicBezTo>
                  <a:pt x="1706818" y="282130"/>
                  <a:pt x="1702028" y="277340"/>
                  <a:pt x="1702028" y="271394"/>
                </a:cubicBezTo>
                <a:cubicBezTo>
                  <a:pt x="1702028" y="265447"/>
                  <a:pt x="1706818" y="260657"/>
                  <a:pt x="1712764" y="260657"/>
                </a:cubicBezTo>
                <a:close/>
                <a:moveTo>
                  <a:pt x="2001996" y="259336"/>
                </a:moveTo>
                <a:cubicBezTo>
                  <a:pt x="2007942" y="259336"/>
                  <a:pt x="2012732" y="264125"/>
                  <a:pt x="2012732" y="270072"/>
                </a:cubicBezTo>
                <a:cubicBezTo>
                  <a:pt x="2012732" y="276019"/>
                  <a:pt x="2007942" y="280810"/>
                  <a:pt x="2001996" y="280810"/>
                </a:cubicBezTo>
                <a:cubicBezTo>
                  <a:pt x="1996049" y="280810"/>
                  <a:pt x="1991259" y="276019"/>
                  <a:pt x="1991259" y="270072"/>
                </a:cubicBezTo>
                <a:cubicBezTo>
                  <a:pt x="1991259" y="264125"/>
                  <a:pt x="1996049" y="259336"/>
                  <a:pt x="2001996" y="259336"/>
                </a:cubicBezTo>
                <a:close/>
                <a:moveTo>
                  <a:pt x="2307747" y="259171"/>
                </a:moveTo>
                <a:cubicBezTo>
                  <a:pt x="2313693" y="259171"/>
                  <a:pt x="2318485" y="263961"/>
                  <a:pt x="2318485" y="269907"/>
                </a:cubicBezTo>
                <a:cubicBezTo>
                  <a:pt x="2318485" y="275854"/>
                  <a:pt x="2313693" y="280644"/>
                  <a:pt x="2307747" y="280644"/>
                </a:cubicBezTo>
                <a:cubicBezTo>
                  <a:pt x="2301800" y="280644"/>
                  <a:pt x="2297010" y="275854"/>
                  <a:pt x="2297010" y="269907"/>
                </a:cubicBezTo>
                <a:cubicBezTo>
                  <a:pt x="2297010" y="263961"/>
                  <a:pt x="2301800" y="259171"/>
                  <a:pt x="2307747" y="259171"/>
                </a:cubicBezTo>
                <a:close/>
                <a:moveTo>
                  <a:pt x="2601109" y="255536"/>
                </a:moveTo>
                <a:cubicBezTo>
                  <a:pt x="2607055" y="255536"/>
                  <a:pt x="2611845" y="260326"/>
                  <a:pt x="2611845" y="266273"/>
                </a:cubicBezTo>
                <a:cubicBezTo>
                  <a:pt x="2611845" y="272219"/>
                  <a:pt x="2607055" y="277011"/>
                  <a:pt x="2601109" y="277011"/>
                </a:cubicBezTo>
                <a:cubicBezTo>
                  <a:pt x="2595162" y="277011"/>
                  <a:pt x="2590372" y="272219"/>
                  <a:pt x="2590372" y="266273"/>
                </a:cubicBezTo>
                <a:cubicBezTo>
                  <a:pt x="2590372" y="260326"/>
                  <a:pt x="2595162" y="255536"/>
                  <a:pt x="2601109" y="255536"/>
                </a:cubicBezTo>
                <a:close/>
                <a:moveTo>
                  <a:pt x="3117796" y="251407"/>
                </a:moveTo>
                <a:cubicBezTo>
                  <a:pt x="3123742" y="251407"/>
                  <a:pt x="3128532" y="256197"/>
                  <a:pt x="3128532" y="262143"/>
                </a:cubicBezTo>
                <a:cubicBezTo>
                  <a:pt x="3128532" y="268090"/>
                  <a:pt x="3123742" y="272881"/>
                  <a:pt x="3117796" y="272881"/>
                </a:cubicBezTo>
                <a:cubicBezTo>
                  <a:pt x="3111849" y="272881"/>
                  <a:pt x="3107060" y="268090"/>
                  <a:pt x="3107060" y="262143"/>
                </a:cubicBezTo>
                <a:cubicBezTo>
                  <a:pt x="3107060" y="256197"/>
                  <a:pt x="3111849" y="251407"/>
                  <a:pt x="3117796" y="251407"/>
                </a:cubicBezTo>
                <a:close/>
                <a:moveTo>
                  <a:pt x="3415452" y="250415"/>
                </a:moveTo>
                <a:cubicBezTo>
                  <a:pt x="3421398" y="250415"/>
                  <a:pt x="3426190" y="255205"/>
                  <a:pt x="3426190" y="261151"/>
                </a:cubicBezTo>
                <a:cubicBezTo>
                  <a:pt x="3426190" y="267098"/>
                  <a:pt x="3421398" y="271890"/>
                  <a:pt x="3415452" y="271890"/>
                </a:cubicBezTo>
                <a:cubicBezTo>
                  <a:pt x="3409505" y="271890"/>
                  <a:pt x="3404715" y="267098"/>
                  <a:pt x="3404715" y="261151"/>
                </a:cubicBezTo>
                <a:cubicBezTo>
                  <a:pt x="3404715" y="255205"/>
                  <a:pt x="3409505" y="250415"/>
                  <a:pt x="3415452" y="250415"/>
                </a:cubicBezTo>
                <a:close/>
                <a:moveTo>
                  <a:pt x="1981844" y="249919"/>
                </a:moveTo>
                <a:cubicBezTo>
                  <a:pt x="1987791" y="249919"/>
                  <a:pt x="1992581" y="254709"/>
                  <a:pt x="1992581" y="260656"/>
                </a:cubicBezTo>
                <a:cubicBezTo>
                  <a:pt x="1992581" y="266602"/>
                  <a:pt x="1987791" y="271394"/>
                  <a:pt x="1981844" y="271394"/>
                </a:cubicBezTo>
                <a:cubicBezTo>
                  <a:pt x="1975898" y="271394"/>
                  <a:pt x="1971108" y="266602"/>
                  <a:pt x="1971108" y="260656"/>
                </a:cubicBezTo>
                <a:cubicBezTo>
                  <a:pt x="1971108" y="254709"/>
                  <a:pt x="1975898" y="249919"/>
                  <a:pt x="1981844" y="249919"/>
                </a:cubicBezTo>
                <a:close/>
                <a:moveTo>
                  <a:pt x="2729785" y="247607"/>
                </a:moveTo>
                <a:cubicBezTo>
                  <a:pt x="2735732" y="247607"/>
                  <a:pt x="2740524" y="252397"/>
                  <a:pt x="2740524" y="258344"/>
                </a:cubicBezTo>
                <a:cubicBezTo>
                  <a:pt x="2740524" y="264290"/>
                  <a:pt x="2735732" y="269082"/>
                  <a:pt x="2729785" y="269082"/>
                </a:cubicBezTo>
                <a:cubicBezTo>
                  <a:pt x="2723839" y="269082"/>
                  <a:pt x="2719049" y="264290"/>
                  <a:pt x="2719049" y="258344"/>
                </a:cubicBezTo>
                <a:cubicBezTo>
                  <a:pt x="2719049" y="252397"/>
                  <a:pt x="2723839" y="247607"/>
                  <a:pt x="2729785" y="247607"/>
                </a:cubicBezTo>
                <a:close/>
                <a:moveTo>
                  <a:pt x="2988790" y="245460"/>
                </a:moveTo>
                <a:cubicBezTo>
                  <a:pt x="2994736" y="245460"/>
                  <a:pt x="2999528" y="250250"/>
                  <a:pt x="2999528" y="256197"/>
                </a:cubicBezTo>
                <a:cubicBezTo>
                  <a:pt x="2999528" y="262143"/>
                  <a:pt x="2994736" y="266933"/>
                  <a:pt x="2988790" y="266933"/>
                </a:cubicBezTo>
                <a:cubicBezTo>
                  <a:pt x="2982843" y="266933"/>
                  <a:pt x="2978053" y="262143"/>
                  <a:pt x="2978053" y="256197"/>
                </a:cubicBezTo>
                <a:cubicBezTo>
                  <a:pt x="2978053" y="250250"/>
                  <a:pt x="2982843" y="245460"/>
                  <a:pt x="2988790" y="245460"/>
                </a:cubicBezTo>
                <a:close/>
                <a:moveTo>
                  <a:pt x="2128690" y="245129"/>
                </a:moveTo>
                <a:cubicBezTo>
                  <a:pt x="2134637" y="245129"/>
                  <a:pt x="2139428" y="249919"/>
                  <a:pt x="2139428" y="255866"/>
                </a:cubicBezTo>
                <a:cubicBezTo>
                  <a:pt x="2139428" y="261812"/>
                  <a:pt x="2134637" y="266602"/>
                  <a:pt x="2128690" y="266602"/>
                </a:cubicBezTo>
                <a:cubicBezTo>
                  <a:pt x="2122744" y="266602"/>
                  <a:pt x="2117954" y="261812"/>
                  <a:pt x="2117954" y="255866"/>
                </a:cubicBezTo>
                <a:cubicBezTo>
                  <a:pt x="2117954" y="249919"/>
                  <a:pt x="2122744" y="245129"/>
                  <a:pt x="2128690" y="245129"/>
                </a:cubicBezTo>
                <a:close/>
                <a:moveTo>
                  <a:pt x="2859123" y="244304"/>
                </a:moveTo>
                <a:cubicBezTo>
                  <a:pt x="2865069" y="244304"/>
                  <a:pt x="2869861" y="249094"/>
                  <a:pt x="2869861" y="255040"/>
                </a:cubicBezTo>
                <a:cubicBezTo>
                  <a:pt x="2869861" y="260987"/>
                  <a:pt x="2865069" y="265778"/>
                  <a:pt x="2859123" y="265778"/>
                </a:cubicBezTo>
                <a:cubicBezTo>
                  <a:pt x="2853176" y="265778"/>
                  <a:pt x="2848386" y="260987"/>
                  <a:pt x="2848386" y="255040"/>
                </a:cubicBezTo>
                <a:cubicBezTo>
                  <a:pt x="2848386" y="249094"/>
                  <a:pt x="2853176" y="244304"/>
                  <a:pt x="2859123" y="244304"/>
                </a:cubicBezTo>
                <a:close/>
                <a:moveTo>
                  <a:pt x="1963674" y="242818"/>
                </a:moveTo>
                <a:cubicBezTo>
                  <a:pt x="1969620" y="242818"/>
                  <a:pt x="1974410" y="247607"/>
                  <a:pt x="1974410" y="253554"/>
                </a:cubicBezTo>
                <a:cubicBezTo>
                  <a:pt x="1974410" y="259500"/>
                  <a:pt x="1969620" y="264292"/>
                  <a:pt x="1963674" y="264292"/>
                </a:cubicBezTo>
                <a:cubicBezTo>
                  <a:pt x="1957727" y="264292"/>
                  <a:pt x="1952937" y="259500"/>
                  <a:pt x="1952937" y="253554"/>
                </a:cubicBezTo>
                <a:cubicBezTo>
                  <a:pt x="1952937" y="247607"/>
                  <a:pt x="1957727" y="242818"/>
                  <a:pt x="1963674" y="242818"/>
                </a:cubicBezTo>
                <a:close/>
                <a:moveTo>
                  <a:pt x="2427503" y="241331"/>
                </a:moveTo>
                <a:cubicBezTo>
                  <a:pt x="2433449" y="241331"/>
                  <a:pt x="2438241" y="246121"/>
                  <a:pt x="2438241" y="252068"/>
                </a:cubicBezTo>
                <a:cubicBezTo>
                  <a:pt x="2438241" y="258014"/>
                  <a:pt x="2433449" y="262804"/>
                  <a:pt x="2427503" y="262804"/>
                </a:cubicBezTo>
                <a:cubicBezTo>
                  <a:pt x="2421556" y="262804"/>
                  <a:pt x="2416766" y="258014"/>
                  <a:pt x="2416766" y="252068"/>
                </a:cubicBezTo>
                <a:cubicBezTo>
                  <a:pt x="2416766" y="246121"/>
                  <a:pt x="2421556" y="241331"/>
                  <a:pt x="2427503" y="241331"/>
                </a:cubicBezTo>
                <a:close/>
                <a:moveTo>
                  <a:pt x="2270250" y="238522"/>
                </a:moveTo>
                <a:cubicBezTo>
                  <a:pt x="2276197" y="238522"/>
                  <a:pt x="2280988" y="243312"/>
                  <a:pt x="2280988" y="249258"/>
                </a:cubicBezTo>
                <a:cubicBezTo>
                  <a:pt x="2280988" y="255205"/>
                  <a:pt x="2276197" y="259995"/>
                  <a:pt x="2270250" y="259995"/>
                </a:cubicBezTo>
                <a:cubicBezTo>
                  <a:pt x="2264304" y="259995"/>
                  <a:pt x="2259514" y="255205"/>
                  <a:pt x="2259514" y="249258"/>
                </a:cubicBezTo>
                <a:cubicBezTo>
                  <a:pt x="2259514" y="243312"/>
                  <a:pt x="2264304" y="238522"/>
                  <a:pt x="2270250" y="238522"/>
                </a:cubicBezTo>
                <a:close/>
                <a:moveTo>
                  <a:pt x="1765291" y="234889"/>
                </a:moveTo>
                <a:lnTo>
                  <a:pt x="1770660" y="240256"/>
                </a:lnTo>
                <a:lnTo>
                  <a:pt x="1773385" y="237532"/>
                </a:lnTo>
                <a:lnTo>
                  <a:pt x="1779744" y="243891"/>
                </a:lnTo>
                <a:lnTo>
                  <a:pt x="1781149" y="242486"/>
                </a:lnTo>
                <a:lnTo>
                  <a:pt x="1786930" y="248268"/>
                </a:lnTo>
                <a:lnTo>
                  <a:pt x="1788913" y="246286"/>
                </a:lnTo>
                <a:lnTo>
                  <a:pt x="1794282" y="251655"/>
                </a:lnTo>
                <a:lnTo>
                  <a:pt x="1796677" y="249258"/>
                </a:lnTo>
                <a:lnTo>
                  <a:pt x="1801714" y="254296"/>
                </a:lnTo>
                <a:lnTo>
                  <a:pt x="1804439" y="251572"/>
                </a:lnTo>
                <a:lnTo>
                  <a:pt x="1809478" y="256610"/>
                </a:lnTo>
                <a:lnTo>
                  <a:pt x="1812534" y="253554"/>
                </a:lnTo>
                <a:lnTo>
                  <a:pt x="1817655" y="258675"/>
                </a:lnTo>
                <a:lnTo>
                  <a:pt x="1820957" y="255371"/>
                </a:lnTo>
                <a:lnTo>
                  <a:pt x="1826326" y="260740"/>
                </a:lnTo>
                <a:lnTo>
                  <a:pt x="1829878" y="257189"/>
                </a:lnTo>
                <a:lnTo>
                  <a:pt x="1835907" y="263217"/>
                </a:lnTo>
                <a:lnTo>
                  <a:pt x="1839624" y="259500"/>
                </a:lnTo>
                <a:lnTo>
                  <a:pt x="1846398" y="266274"/>
                </a:lnTo>
                <a:lnTo>
                  <a:pt x="1850195" y="262475"/>
                </a:lnTo>
                <a:lnTo>
                  <a:pt x="1857959" y="270237"/>
                </a:lnTo>
                <a:lnTo>
                  <a:pt x="1861757" y="266439"/>
                </a:lnTo>
                <a:lnTo>
                  <a:pt x="1870924" y="275606"/>
                </a:lnTo>
                <a:lnTo>
                  <a:pt x="1874640" y="271890"/>
                </a:lnTo>
                <a:cubicBezTo>
                  <a:pt x="1880587" y="271890"/>
                  <a:pt x="1885378" y="276679"/>
                  <a:pt x="1885378" y="282626"/>
                </a:cubicBezTo>
                <a:cubicBezTo>
                  <a:pt x="1885378" y="288572"/>
                  <a:pt x="1880587" y="293362"/>
                  <a:pt x="1874640" y="293362"/>
                </a:cubicBezTo>
                <a:lnTo>
                  <a:pt x="1865474" y="284195"/>
                </a:lnTo>
                <a:lnTo>
                  <a:pt x="1861757" y="287912"/>
                </a:lnTo>
                <a:lnTo>
                  <a:pt x="1853995" y="280149"/>
                </a:lnTo>
                <a:lnTo>
                  <a:pt x="1850195" y="283949"/>
                </a:lnTo>
                <a:lnTo>
                  <a:pt x="1843423" y="277175"/>
                </a:lnTo>
                <a:lnTo>
                  <a:pt x="1839624" y="280975"/>
                </a:lnTo>
                <a:lnTo>
                  <a:pt x="1833596" y="274945"/>
                </a:lnTo>
                <a:lnTo>
                  <a:pt x="1829878" y="278663"/>
                </a:lnTo>
                <a:lnTo>
                  <a:pt x="1824509" y="273294"/>
                </a:lnTo>
                <a:lnTo>
                  <a:pt x="1820957" y="276846"/>
                </a:lnTo>
                <a:lnTo>
                  <a:pt x="1815836" y="271725"/>
                </a:lnTo>
                <a:lnTo>
                  <a:pt x="1812534" y="275027"/>
                </a:lnTo>
                <a:lnTo>
                  <a:pt x="1807496" y="269989"/>
                </a:lnTo>
                <a:lnTo>
                  <a:pt x="1804439" y="273046"/>
                </a:lnTo>
                <a:lnTo>
                  <a:pt x="1799401" y="268007"/>
                </a:lnTo>
                <a:lnTo>
                  <a:pt x="1796677" y="270731"/>
                </a:lnTo>
                <a:lnTo>
                  <a:pt x="1791309" y="265364"/>
                </a:lnTo>
                <a:lnTo>
                  <a:pt x="1788913" y="267760"/>
                </a:lnTo>
                <a:lnTo>
                  <a:pt x="1783131" y="261979"/>
                </a:lnTo>
                <a:lnTo>
                  <a:pt x="1781149" y="263961"/>
                </a:lnTo>
                <a:lnTo>
                  <a:pt x="1774789" y="257602"/>
                </a:lnTo>
                <a:lnTo>
                  <a:pt x="1773385" y="259006"/>
                </a:lnTo>
                <a:cubicBezTo>
                  <a:pt x="1767438" y="259006"/>
                  <a:pt x="1762648" y="254215"/>
                  <a:pt x="1762648" y="248268"/>
                </a:cubicBezTo>
                <a:lnTo>
                  <a:pt x="1763228" y="247691"/>
                </a:lnTo>
                <a:lnTo>
                  <a:pt x="1757859" y="242322"/>
                </a:lnTo>
                <a:cubicBezTo>
                  <a:pt x="1757859" y="238193"/>
                  <a:pt x="1761162" y="234889"/>
                  <a:pt x="1765291" y="234889"/>
                </a:cubicBezTo>
                <a:close/>
                <a:moveTo>
                  <a:pt x="3294706" y="234393"/>
                </a:moveTo>
                <a:cubicBezTo>
                  <a:pt x="3300652" y="234393"/>
                  <a:pt x="3305444" y="239183"/>
                  <a:pt x="3305444" y="245129"/>
                </a:cubicBezTo>
                <a:cubicBezTo>
                  <a:pt x="3305444" y="251076"/>
                  <a:pt x="3300652" y="255866"/>
                  <a:pt x="3294706" y="255866"/>
                </a:cubicBezTo>
                <a:cubicBezTo>
                  <a:pt x="3288759" y="255866"/>
                  <a:pt x="3283969" y="251076"/>
                  <a:pt x="3283969" y="245129"/>
                </a:cubicBezTo>
                <a:cubicBezTo>
                  <a:pt x="3283969" y="239183"/>
                  <a:pt x="3288759" y="234393"/>
                  <a:pt x="3294706" y="234393"/>
                </a:cubicBezTo>
                <a:close/>
                <a:moveTo>
                  <a:pt x="2101930" y="232575"/>
                </a:moveTo>
                <a:cubicBezTo>
                  <a:pt x="2107876" y="232575"/>
                  <a:pt x="2112668" y="237365"/>
                  <a:pt x="2112668" y="243312"/>
                </a:cubicBezTo>
                <a:cubicBezTo>
                  <a:pt x="2112668" y="249258"/>
                  <a:pt x="2107876" y="254050"/>
                  <a:pt x="2101930" y="254050"/>
                </a:cubicBezTo>
                <a:cubicBezTo>
                  <a:pt x="2095983" y="254050"/>
                  <a:pt x="2091194" y="249258"/>
                  <a:pt x="2091194" y="243312"/>
                </a:cubicBezTo>
                <a:cubicBezTo>
                  <a:pt x="2091194" y="237365"/>
                  <a:pt x="2095983" y="232575"/>
                  <a:pt x="2101930" y="232575"/>
                </a:cubicBezTo>
                <a:close/>
                <a:moveTo>
                  <a:pt x="3455426" y="229272"/>
                </a:moveTo>
                <a:cubicBezTo>
                  <a:pt x="3461373" y="229272"/>
                  <a:pt x="3466164" y="234062"/>
                  <a:pt x="3466164" y="240008"/>
                </a:cubicBezTo>
                <a:cubicBezTo>
                  <a:pt x="3466164" y="245955"/>
                  <a:pt x="3461373" y="250746"/>
                  <a:pt x="3455426" y="250746"/>
                </a:cubicBezTo>
                <a:cubicBezTo>
                  <a:pt x="3449480" y="250746"/>
                  <a:pt x="3444690" y="245955"/>
                  <a:pt x="3444690" y="240008"/>
                </a:cubicBezTo>
                <a:cubicBezTo>
                  <a:pt x="3444690" y="234062"/>
                  <a:pt x="3449480" y="229272"/>
                  <a:pt x="3455426" y="229272"/>
                </a:cubicBezTo>
                <a:close/>
                <a:moveTo>
                  <a:pt x="2549572" y="227456"/>
                </a:moveTo>
                <a:cubicBezTo>
                  <a:pt x="2555519" y="227456"/>
                  <a:pt x="2560310" y="232246"/>
                  <a:pt x="2560310" y="238193"/>
                </a:cubicBezTo>
                <a:cubicBezTo>
                  <a:pt x="2560310" y="244139"/>
                  <a:pt x="2555519" y="248931"/>
                  <a:pt x="2549572" y="248931"/>
                </a:cubicBezTo>
                <a:cubicBezTo>
                  <a:pt x="2543626" y="248931"/>
                  <a:pt x="2538836" y="244139"/>
                  <a:pt x="2538836" y="238193"/>
                </a:cubicBezTo>
                <a:cubicBezTo>
                  <a:pt x="2538836" y="232246"/>
                  <a:pt x="2543626" y="227456"/>
                  <a:pt x="2549572" y="227456"/>
                </a:cubicBezTo>
                <a:close/>
                <a:moveTo>
                  <a:pt x="2077650" y="222996"/>
                </a:moveTo>
                <a:cubicBezTo>
                  <a:pt x="2083596" y="222996"/>
                  <a:pt x="2088388" y="227786"/>
                  <a:pt x="2088388" y="233732"/>
                </a:cubicBezTo>
                <a:cubicBezTo>
                  <a:pt x="2088388" y="239679"/>
                  <a:pt x="2083596" y="244470"/>
                  <a:pt x="2077650" y="244470"/>
                </a:cubicBezTo>
                <a:cubicBezTo>
                  <a:pt x="2071703" y="244470"/>
                  <a:pt x="2066913" y="239679"/>
                  <a:pt x="2066913" y="233732"/>
                </a:cubicBezTo>
                <a:cubicBezTo>
                  <a:pt x="2066913" y="227786"/>
                  <a:pt x="2071703" y="222996"/>
                  <a:pt x="2077650" y="222996"/>
                </a:cubicBezTo>
                <a:close/>
                <a:moveTo>
                  <a:pt x="3171810" y="222335"/>
                </a:moveTo>
                <a:cubicBezTo>
                  <a:pt x="3177757" y="222335"/>
                  <a:pt x="3182548" y="227125"/>
                  <a:pt x="3182548" y="233071"/>
                </a:cubicBezTo>
                <a:cubicBezTo>
                  <a:pt x="3182548" y="239018"/>
                  <a:pt x="3177757" y="243810"/>
                  <a:pt x="3171810" y="243810"/>
                </a:cubicBezTo>
                <a:cubicBezTo>
                  <a:pt x="3165864" y="243810"/>
                  <a:pt x="3161074" y="239018"/>
                  <a:pt x="3161074" y="233071"/>
                </a:cubicBezTo>
                <a:cubicBezTo>
                  <a:pt x="3161074" y="227125"/>
                  <a:pt x="3165864" y="222335"/>
                  <a:pt x="3171810" y="222335"/>
                </a:cubicBezTo>
                <a:close/>
                <a:moveTo>
                  <a:pt x="2235892" y="221839"/>
                </a:moveTo>
                <a:cubicBezTo>
                  <a:pt x="2241839" y="221839"/>
                  <a:pt x="2246629" y="226629"/>
                  <a:pt x="2246629" y="232575"/>
                </a:cubicBezTo>
                <a:cubicBezTo>
                  <a:pt x="2246629" y="238522"/>
                  <a:pt x="2241839" y="243314"/>
                  <a:pt x="2235892" y="243314"/>
                </a:cubicBezTo>
                <a:cubicBezTo>
                  <a:pt x="2229946" y="243314"/>
                  <a:pt x="2225156" y="238522"/>
                  <a:pt x="2225156" y="232575"/>
                </a:cubicBezTo>
                <a:cubicBezTo>
                  <a:pt x="2225156" y="226629"/>
                  <a:pt x="2229946" y="221839"/>
                  <a:pt x="2235892" y="221839"/>
                </a:cubicBezTo>
                <a:close/>
                <a:moveTo>
                  <a:pt x="2384887" y="219526"/>
                </a:moveTo>
                <a:cubicBezTo>
                  <a:pt x="2390833" y="219526"/>
                  <a:pt x="2395625" y="224316"/>
                  <a:pt x="2395625" y="230262"/>
                </a:cubicBezTo>
                <a:cubicBezTo>
                  <a:pt x="2395625" y="236209"/>
                  <a:pt x="2390833" y="241000"/>
                  <a:pt x="2384887" y="241000"/>
                </a:cubicBezTo>
                <a:cubicBezTo>
                  <a:pt x="2378940" y="241000"/>
                  <a:pt x="2374150" y="236209"/>
                  <a:pt x="2374150" y="230262"/>
                </a:cubicBezTo>
                <a:cubicBezTo>
                  <a:pt x="2374150" y="224316"/>
                  <a:pt x="2378940" y="219526"/>
                  <a:pt x="2384887" y="219526"/>
                </a:cubicBezTo>
                <a:close/>
                <a:moveTo>
                  <a:pt x="2673128" y="217710"/>
                </a:moveTo>
                <a:cubicBezTo>
                  <a:pt x="2679074" y="217710"/>
                  <a:pt x="2683866" y="222500"/>
                  <a:pt x="2683866" y="228446"/>
                </a:cubicBezTo>
                <a:cubicBezTo>
                  <a:pt x="2683866" y="234393"/>
                  <a:pt x="2679074" y="239184"/>
                  <a:pt x="2673128" y="239184"/>
                </a:cubicBezTo>
                <a:cubicBezTo>
                  <a:pt x="2667181" y="239184"/>
                  <a:pt x="2662392" y="234393"/>
                  <a:pt x="2662392" y="228446"/>
                </a:cubicBezTo>
                <a:cubicBezTo>
                  <a:pt x="2662392" y="222500"/>
                  <a:pt x="2667181" y="217710"/>
                  <a:pt x="2673128" y="217710"/>
                </a:cubicBezTo>
                <a:close/>
                <a:moveTo>
                  <a:pt x="2055681" y="215893"/>
                </a:moveTo>
                <a:cubicBezTo>
                  <a:pt x="2061627" y="215893"/>
                  <a:pt x="2066417" y="220682"/>
                  <a:pt x="2066417" y="226629"/>
                </a:cubicBezTo>
                <a:cubicBezTo>
                  <a:pt x="2066417" y="232575"/>
                  <a:pt x="2061627" y="237365"/>
                  <a:pt x="2055681" y="237365"/>
                </a:cubicBezTo>
                <a:cubicBezTo>
                  <a:pt x="2049734" y="237365"/>
                  <a:pt x="2044944" y="232575"/>
                  <a:pt x="2044944" y="226629"/>
                </a:cubicBezTo>
                <a:cubicBezTo>
                  <a:pt x="2044944" y="220682"/>
                  <a:pt x="2049734" y="215893"/>
                  <a:pt x="2055681" y="215893"/>
                </a:cubicBezTo>
                <a:close/>
                <a:moveTo>
                  <a:pt x="3047759" y="214571"/>
                </a:moveTo>
                <a:cubicBezTo>
                  <a:pt x="3053706" y="214571"/>
                  <a:pt x="3058497" y="219361"/>
                  <a:pt x="3058497" y="225307"/>
                </a:cubicBezTo>
                <a:cubicBezTo>
                  <a:pt x="3058497" y="231254"/>
                  <a:pt x="3053706" y="236046"/>
                  <a:pt x="3047759" y="236046"/>
                </a:cubicBezTo>
                <a:cubicBezTo>
                  <a:pt x="3041812" y="236046"/>
                  <a:pt x="3037022" y="231254"/>
                  <a:pt x="3037022" y="225307"/>
                </a:cubicBezTo>
                <a:cubicBezTo>
                  <a:pt x="3037022" y="219361"/>
                  <a:pt x="3041812" y="214571"/>
                  <a:pt x="3047759" y="214571"/>
                </a:cubicBezTo>
                <a:close/>
                <a:moveTo>
                  <a:pt x="1816334" y="213910"/>
                </a:moveTo>
                <a:cubicBezTo>
                  <a:pt x="1816516" y="213910"/>
                  <a:pt x="1816663" y="214058"/>
                  <a:pt x="1816663" y="214242"/>
                </a:cubicBezTo>
                <a:cubicBezTo>
                  <a:pt x="1816663" y="214424"/>
                  <a:pt x="1816516" y="214571"/>
                  <a:pt x="1816334" y="214571"/>
                </a:cubicBezTo>
                <a:cubicBezTo>
                  <a:pt x="1816150" y="214571"/>
                  <a:pt x="1816002" y="214424"/>
                  <a:pt x="1816002" y="214242"/>
                </a:cubicBezTo>
                <a:cubicBezTo>
                  <a:pt x="1816002" y="214058"/>
                  <a:pt x="1816150" y="213910"/>
                  <a:pt x="1816334" y="213910"/>
                </a:cubicBezTo>
                <a:close/>
                <a:moveTo>
                  <a:pt x="3491931" y="212259"/>
                </a:moveTo>
                <a:cubicBezTo>
                  <a:pt x="3497878" y="212259"/>
                  <a:pt x="3502669" y="217049"/>
                  <a:pt x="3502669" y="222996"/>
                </a:cubicBezTo>
                <a:cubicBezTo>
                  <a:pt x="3502669" y="228942"/>
                  <a:pt x="3497878" y="233734"/>
                  <a:pt x="3491931" y="233734"/>
                </a:cubicBezTo>
                <a:cubicBezTo>
                  <a:pt x="3485984" y="233734"/>
                  <a:pt x="3481195" y="228942"/>
                  <a:pt x="3481195" y="222996"/>
                </a:cubicBezTo>
                <a:cubicBezTo>
                  <a:pt x="3481195" y="217049"/>
                  <a:pt x="3485984" y="212259"/>
                  <a:pt x="3491931" y="212259"/>
                </a:cubicBezTo>
                <a:close/>
                <a:moveTo>
                  <a:pt x="2797675" y="212259"/>
                </a:moveTo>
                <a:cubicBezTo>
                  <a:pt x="2803622" y="212259"/>
                  <a:pt x="2808414" y="217049"/>
                  <a:pt x="2808414" y="222996"/>
                </a:cubicBezTo>
                <a:cubicBezTo>
                  <a:pt x="2808414" y="228942"/>
                  <a:pt x="2803622" y="233734"/>
                  <a:pt x="2797675" y="233734"/>
                </a:cubicBezTo>
                <a:cubicBezTo>
                  <a:pt x="2791729" y="233734"/>
                  <a:pt x="2786939" y="228942"/>
                  <a:pt x="2786939" y="222996"/>
                </a:cubicBezTo>
                <a:cubicBezTo>
                  <a:pt x="2786939" y="217049"/>
                  <a:pt x="2791729" y="212259"/>
                  <a:pt x="2797675" y="212259"/>
                </a:cubicBezTo>
                <a:close/>
                <a:moveTo>
                  <a:pt x="3339635" y="211928"/>
                </a:moveTo>
                <a:cubicBezTo>
                  <a:pt x="3345581" y="211928"/>
                  <a:pt x="3350373" y="216718"/>
                  <a:pt x="3350373" y="222665"/>
                </a:cubicBezTo>
                <a:cubicBezTo>
                  <a:pt x="3350373" y="228611"/>
                  <a:pt x="3345581" y="233403"/>
                  <a:pt x="3339635" y="233403"/>
                </a:cubicBezTo>
                <a:cubicBezTo>
                  <a:pt x="3333688" y="233403"/>
                  <a:pt x="3328898" y="228611"/>
                  <a:pt x="3328898" y="222665"/>
                </a:cubicBezTo>
                <a:cubicBezTo>
                  <a:pt x="3328898" y="216718"/>
                  <a:pt x="3333688" y="211928"/>
                  <a:pt x="3339635" y="211928"/>
                </a:cubicBezTo>
                <a:close/>
                <a:moveTo>
                  <a:pt x="2922717" y="211267"/>
                </a:moveTo>
                <a:cubicBezTo>
                  <a:pt x="2928664" y="211267"/>
                  <a:pt x="2933455" y="216057"/>
                  <a:pt x="2933455" y="222004"/>
                </a:cubicBezTo>
                <a:cubicBezTo>
                  <a:pt x="2933455" y="227950"/>
                  <a:pt x="2928664" y="232742"/>
                  <a:pt x="2922717" y="232742"/>
                </a:cubicBezTo>
                <a:cubicBezTo>
                  <a:pt x="2916770" y="232742"/>
                  <a:pt x="2911981" y="227950"/>
                  <a:pt x="2911981" y="222004"/>
                </a:cubicBezTo>
                <a:cubicBezTo>
                  <a:pt x="2911981" y="216057"/>
                  <a:pt x="2916770" y="211267"/>
                  <a:pt x="2922717" y="211267"/>
                </a:cubicBezTo>
                <a:close/>
                <a:moveTo>
                  <a:pt x="2035528" y="210772"/>
                </a:moveTo>
                <a:cubicBezTo>
                  <a:pt x="2041474" y="210772"/>
                  <a:pt x="2046264" y="215561"/>
                  <a:pt x="2046264" y="221508"/>
                </a:cubicBezTo>
                <a:cubicBezTo>
                  <a:pt x="2046264" y="227455"/>
                  <a:pt x="2041474" y="232246"/>
                  <a:pt x="2035528" y="232246"/>
                </a:cubicBezTo>
                <a:cubicBezTo>
                  <a:pt x="2029581" y="232246"/>
                  <a:pt x="2024792" y="227455"/>
                  <a:pt x="2024792" y="221508"/>
                </a:cubicBezTo>
                <a:cubicBezTo>
                  <a:pt x="2024792" y="215561"/>
                  <a:pt x="2029581" y="210772"/>
                  <a:pt x="2035528" y="210772"/>
                </a:cubicBezTo>
                <a:close/>
                <a:moveTo>
                  <a:pt x="1826078" y="209946"/>
                </a:moveTo>
                <a:lnTo>
                  <a:pt x="1833429" y="217297"/>
                </a:lnTo>
                <a:lnTo>
                  <a:pt x="1835493" y="215232"/>
                </a:lnTo>
                <a:lnTo>
                  <a:pt x="1842183" y="221922"/>
                </a:lnTo>
                <a:lnTo>
                  <a:pt x="1844910" y="219196"/>
                </a:lnTo>
                <a:lnTo>
                  <a:pt x="1851104" y="225391"/>
                </a:lnTo>
                <a:lnTo>
                  <a:pt x="1854324" y="222169"/>
                </a:lnTo>
                <a:lnTo>
                  <a:pt x="1860106" y="227950"/>
                </a:lnTo>
                <a:lnTo>
                  <a:pt x="1863739" y="224317"/>
                </a:lnTo>
                <a:lnTo>
                  <a:pt x="1869521" y="230097"/>
                </a:lnTo>
                <a:lnTo>
                  <a:pt x="1873650" y="225968"/>
                </a:lnTo>
                <a:lnTo>
                  <a:pt x="1879350" y="231667"/>
                </a:lnTo>
                <a:lnTo>
                  <a:pt x="1883892" y="227125"/>
                </a:lnTo>
                <a:lnTo>
                  <a:pt x="1889922" y="233155"/>
                </a:lnTo>
                <a:lnTo>
                  <a:pt x="1894794" y="228282"/>
                </a:lnTo>
                <a:lnTo>
                  <a:pt x="1901236" y="234724"/>
                </a:lnTo>
                <a:lnTo>
                  <a:pt x="1906357" y="229603"/>
                </a:lnTo>
                <a:lnTo>
                  <a:pt x="1913542" y="236788"/>
                </a:lnTo>
                <a:lnTo>
                  <a:pt x="1918909" y="231420"/>
                </a:lnTo>
                <a:lnTo>
                  <a:pt x="1926921" y="239431"/>
                </a:lnTo>
                <a:lnTo>
                  <a:pt x="1932455" y="233897"/>
                </a:lnTo>
                <a:lnTo>
                  <a:pt x="1941705" y="243147"/>
                </a:lnTo>
                <a:lnTo>
                  <a:pt x="1947320" y="237532"/>
                </a:lnTo>
                <a:cubicBezTo>
                  <a:pt x="1953267" y="237532"/>
                  <a:pt x="1958058" y="242322"/>
                  <a:pt x="1958058" y="248268"/>
                </a:cubicBezTo>
                <a:cubicBezTo>
                  <a:pt x="1958058" y="254215"/>
                  <a:pt x="1953267" y="259006"/>
                  <a:pt x="1947320" y="259006"/>
                </a:cubicBezTo>
                <a:lnTo>
                  <a:pt x="1938070" y="249756"/>
                </a:lnTo>
                <a:lnTo>
                  <a:pt x="1932455" y="255371"/>
                </a:lnTo>
                <a:lnTo>
                  <a:pt x="1924445" y="247359"/>
                </a:lnTo>
                <a:lnTo>
                  <a:pt x="1918909" y="252895"/>
                </a:lnTo>
                <a:lnTo>
                  <a:pt x="1911724" y="245708"/>
                </a:lnTo>
                <a:lnTo>
                  <a:pt x="1906357" y="251076"/>
                </a:lnTo>
                <a:lnTo>
                  <a:pt x="1899914" y="244633"/>
                </a:lnTo>
                <a:lnTo>
                  <a:pt x="1894794" y="249754"/>
                </a:lnTo>
                <a:lnTo>
                  <a:pt x="1888765" y="243726"/>
                </a:lnTo>
                <a:lnTo>
                  <a:pt x="1883892" y="248599"/>
                </a:lnTo>
                <a:lnTo>
                  <a:pt x="1878194" y="242899"/>
                </a:lnTo>
                <a:lnTo>
                  <a:pt x="1873650" y="247443"/>
                </a:lnTo>
                <a:lnTo>
                  <a:pt x="1867870" y="241661"/>
                </a:lnTo>
                <a:lnTo>
                  <a:pt x="1863739" y="245792"/>
                </a:lnTo>
                <a:lnTo>
                  <a:pt x="1857958" y="240010"/>
                </a:lnTo>
                <a:lnTo>
                  <a:pt x="1854324" y="243643"/>
                </a:lnTo>
                <a:lnTo>
                  <a:pt x="1848132" y="237449"/>
                </a:lnTo>
                <a:lnTo>
                  <a:pt x="1844910" y="240671"/>
                </a:lnTo>
                <a:lnTo>
                  <a:pt x="1838219" y="233978"/>
                </a:lnTo>
                <a:lnTo>
                  <a:pt x="1835493" y="236705"/>
                </a:lnTo>
                <a:lnTo>
                  <a:pt x="1828143" y="229355"/>
                </a:lnTo>
                <a:lnTo>
                  <a:pt x="1826078" y="231420"/>
                </a:lnTo>
                <a:cubicBezTo>
                  <a:pt x="1820149" y="231420"/>
                  <a:pt x="1815342" y="226613"/>
                  <a:pt x="1815342" y="220682"/>
                </a:cubicBezTo>
                <a:cubicBezTo>
                  <a:pt x="1815342" y="214753"/>
                  <a:pt x="1820149" y="209946"/>
                  <a:pt x="1826078" y="209946"/>
                </a:cubicBezTo>
                <a:close/>
                <a:moveTo>
                  <a:pt x="2204674" y="208956"/>
                </a:moveTo>
                <a:cubicBezTo>
                  <a:pt x="2210620" y="208956"/>
                  <a:pt x="2215410" y="213746"/>
                  <a:pt x="2215410" y="219692"/>
                </a:cubicBezTo>
                <a:cubicBezTo>
                  <a:pt x="2215410" y="225639"/>
                  <a:pt x="2210620" y="230429"/>
                  <a:pt x="2204674" y="230429"/>
                </a:cubicBezTo>
                <a:cubicBezTo>
                  <a:pt x="2198727" y="230429"/>
                  <a:pt x="2193937" y="225639"/>
                  <a:pt x="2193937" y="219692"/>
                </a:cubicBezTo>
                <a:cubicBezTo>
                  <a:pt x="2193937" y="213746"/>
                  <a:pt x="2198727" y="208956"/>
                  <a:pt x="2204674" y="208956"/>
                </a:cubicBezTo>
                <a:close/>
                <a:moveTo>
                  <a:pt x="2501835" y="204164"/>
                </a:moveTo>
                <a:cubicBezTo>
                  <a:pt x="2507782" y="204164"/>
                  <a:pt x="2512573" y="208954"/>
                  <a:pt x="2512573" y="214901"/>
                </a:cubicBezTo>
                <a:cubicBezTo>
                  <a:pt x="2512573" y="220847"/>
                  <a:pt x="2507782" y="225637"/>
                  <a:pt x="2501835" y="225637"/>
                </a:cubicBezTo>
                <a:cubicBezTo>
                  <a:pt x="2495889" y="225637"/>
                  <a:pt x="2491099" y="220847"/>
                  <a:pt x="2491099" y="214901"/>
                </a:cubicBezTo>
                <a:cubicBezTo>
                  <a:pt x="2491099" y="208954"/>
                  <a:pt x="2495889" y="204164"/>
                  <a:pt x="2501835" y="204164"/>
                </a:cubicBezTo>
                <a:close/>
                <a:moveTo>
                  <a:pt x="2345904" y="202017"/>
                </a:moveTo>
                <a:cubicBezTo>
                  <a:pt x="2351850" y="202017"/>
                  <a:pt x="2356642" y="206807"/>
                  <a:pt x="2356642" y="212754"/>
                </a:cubicBezTo>
                <a:cubicBezTo>
                  <a:pt x="2356642" y="218700"/>
                  <a:pt x="2351850" y="223492"/>
                  <a:pt x="2345904" y="223492"/>
                </a:cubicBezTo>
                <a:cubicBezTo>
                  <a:pt x="2339958" y="223492"/>
                  <a:pt x="2335168" y="218700"/>
                  <a:pt x="2335168" y="212754"/>
                </a:cubicBezTo>
                <a:cubicBezTo>
                  <a:pt x="2335168" y="206807"/>
                  <a:pt x="2339958" y="202017"/>
                  <a:pt x="2345904" y="202017"/>
                </a:cubicBezTo>
                <a:close/>
                <a:moveTo>
                  <a:pt x="2176262" y="198878"/>
                </a:moveTo>
                <a:cubicBezTo>
                  <a:pt x="2182209" y="198878"/>
                  <a:pt x="2186999" y="203668"/>
                  <a:pt x="2186999" y="209615"/>
                </a:cubicBezTo>
                <a:cubicBezTo>
                  <a:pt x="2186999" y="215561"/>
                  <a:pt x="2182209" y="220353"/>
                  <a:pt x="2176262" y="220353"/>
                </a:cubicBezTo>
                <a:cubicBezTo>
                  <a:pt x="2170316" y="220353"/>
                  <a:pt x="2165526" y="215561"/>
                  <a:pt x="2165526" y="209615"/>
                </a:cubicBezTo>
                <a:cubicBezTo>
                  <a:pt x="2165526" y="203668"/>
                  <a:pt x="2170316" y="198878"/>
                  <a:pt x="2176262" y="198878"/>
                </a:cubicBezTo>
                <a:close/>
                <a:moveTo>
                  <a:pt x="3221694" y="198549"/>
                </a:moveTo>
                <a:cubicBezTo>
                  <a:pt x="3227641" y="198549"/>
                  <a:pt x="3232432" y="203339"/>
                  <a:pt x="3232432" y="209285"/>
                </a:cubicBezTo>
                <a:cubicBezTo>
                  <a:pt x="3232432" y="215232"/>
                  <a:pt x="3227641" y="220023"/>
                  <a:pt x="3221694" y="220023"/>
                </a:cubicBezTo>
                <a:cubicBezTo>
                  <a:pt x="3215748" y="220023"/>
                  <a:pt x="3210958" y="215232"/>
                  <a:pt x="3210958" y="209285"/>
                </a:cubicBezTo>
                <a:cubicBezTo>
                  <a:pt x="3210958" y="203339"/>
                  <a:pt x="3215748" y="198549"/>
                  <a:pt x="3221694" y="198549"/>
                </a:cubicBezTo>
                <a:close/>
                <a:moveTo>
                  <a:pt x="3380764" y="193924"/>
                </a:moveTo>
                <a:cubicBezTo>
                  <a:pt x="3386711" y="193924"/>
                  <a:pt x="3391502" y="198714"/>
                  <a:pt x="3391502" y="204660"/>
                </a:cubicBezTo>
                <a:cubicBezTo>
                  <a:pt x="3391502" y="210607"/>
                  <a:pt x="3386711" y="215398"/>
                  <a:pt x="3380764" y="215398"/>
                </a:cubicBezTo>
                <a:cubicBezTo>
                  <a:pt x="3374818" y="215398"/>
                  <a:pt x="3370028" y="210607"/>
                  <a:pt x="3370028" y="204660"/>
                </a:cubicBezTo>
                <a:cubicBezTo>
                  <a:pt x="3370028" y="198714"/>
                  <a:pt x="3374818" y="193924"/>
                  <a:pt x="3380764" y="193924"/>
                </a:cubicBezTo>
                <a:close/>
                <a:moveTo>
                  <a:pt x="2620601" y="192932"/>
                </a:moveTo>
                <a:cubicBezTo>
                  <a:pt x="2626548" y="192932"/>
                  <a:pt x="2631339" y="197722"/>
                  <a:pt x="2631339" y="203668"/>
                </a:cubicBezTo>
                <a:cubicBezTo>
                  <a:pt x="2631339" y="209615"/>
                  <a:pt x="2626548" y="214406"/>
                  <a:pt x="2620601" y="214406"/>
                </a:cubicBezTo>
                <a:cubicBezTo>
                  <a:pt x="2614654" y="214406"/>
                  <a:pt x="2609864" y="209615"/>
                  <a:pt x="2609864" y="203668"/>
                </a:cubicBezTo>
                <a:cubicBezTo>
                  <a:pt x="2609864" y="197722"/>
                  <a:pt x="2614654" y="192932"/>
                  <a:pt x="2620601" y="192932"/>
                </a:cubicBezTo>
                <a:close/>
                <a:moveTo>
                  <a:pt x="2150164" y="191610"/>
                </a:moveTo>
                <a:cubicBezTo>
                  <a:pt x="2156111" y="191610"/>
                  <a:pt x="2160903" y="196400"/>
                  <a:pt x="2160903" y="202347"/>
                </a:cubicBezTo>
                <a:cubicBezTo>
                  <a:pt x="2160903" y="208293"/>
                  <a:pt x="2156111" y="213085"/>
                  <a:pt x="2150164" y="213085"/>
                </a:cubicBezTo>
                <a:cubicBezTo>
                  <a:pt x="2144218" y="213085"/>
                  <a:pt x="2139428" y="208293"/>
                  <a:pt x="2139428" y="202347"/>
                </a:cubicBezTo>
                <a:cubicBezTo>
                  <a:pt x="2139428" y="196400"/>
                  <a:pt x="2144218" y="191610"/>
                  <a:pt x="2150164" y="191610"/>
                </a:cubicBezTo>
                <a:close/>
                <a:moveTo>
                  <a:pt x="1877120" y="190289"/>
                </a:moveTo>
                <a:cubicBezTo>
                  <a:pt x="1879309" y="190289"/>
                  <a:pt x="1881085" y="192063"/>
                  <a:pt x="1881085" y="194253"/>
                </a:cubicBezTo>
                <a:cubicBezTo>
                  <a:pt x="1881085" y="196444"/>
                  <a:pt x="1879309" y="198218"/>
                  <a:pt x="1877120" y="198218"/>
                </a:cubicBezTo>
                <a:cubicBezTo>
                  <a:pt x="1874930" y="198218"/>
                  <a:pt x="1873156" y="196444"/>
                  <a:pt x="1873156" y="194253"/>
                </a:cubicBezTo>
                <a:cubicBezTo>
                  <a:pt x="1873156" y="192063"/>
                  <a:pt x="1874930" y="190289"/>
                  <a:pt x="1877120" y="190289"/>
                </a:cubicBezTo>
                <a:close/>
                <a:moveTo>
                  <a:pt x="1888186" y="189134"/>
                </a:moveTo>
                <a:lnTo>
                  <a:pt x="1895867" y="196815"/>
                </a:lnTo>
                <a:lnTo>
                  <a:pt x="1899087" y="193593"/>
                </a:lnTo>
                <a:lnTo>
                  <a:pt x="1906190" y="200696"/>
                </a:lnTo>
                <a:lnTo>
                  <a:pt x="1910155" y="196732"/>
                </a:lnTo>
                <a:lnTo>
                  <a:pt x="1916927" y="203504"/>
                </a:lnTo>
                <a:lnTo>
                  <a:pt x="1921387" y="199043"/>
                </a:lnTo>
                <a:lnTo>
                  <a:pt x="1927831" y="205486"/>
                </a:lnTo>
                <a:lnTo>
                  <a:pt x="1932786" y="200531"/>
                </a:lnTo>
                <a:lnTo>
                  <a:pt x="1939310" y="207055"/>
                </a:lnTo>
                <a:lnTo>
                  <a:pt x="1944844" y="201521"/>
                </a:lnTo>
                <a:lnTo>
                  <a:pt x="1951451" y="208129"/>
                </a:lnTo>
                <a:lnTo>
                  <a:pt x="1957398" y="202182"/>
                </a:lnTo>
                <a:lnTo>
                  <a:pt x="1964418" y="209202"/>
                </a:lnTo>
                <a:lnTo>
                  <a:pt x="1970777" y="202843"/>
                </a:lnTo>
                <a:lnTo>
                  <a:pt x="1978376" y="210442"/>
                </a:lnTo>
                <a:lnTo>
                  <a:pt x="1985148" y="203668"/>
                </a:lnTo>
                <a:lnTo>
                  <a:pt x="1993490" y="212010"/>
                </a:lnTo>
                <a:lnTo>
                  <a:pt x="2000510" y="204990"/>
                </a:lnTo>
                <a:lnTo>
                  <a:pt x="2010091" y="214571"/>
                </a:lnTo>
                <a:lnTo>
                  <a:pt x="2017359" y="207303"/>
                </a:lnTo>
                <a:cubicBezTo>
                  <a:pt x="2023305" y="207303"/>
                  <a:pt x="2028095" y="212093"/>
                  <a:pt x="2028095" y="218040"/>
                </a:cubicBezTo>
                <a:cubicBezTo>
                  <a:pt x="2028095" y="223986"/>
                  <a:pt x="2023305" y="228778"/>
                  <a:pt x="2017359" y="228778"/>
                </a:cubicBezTo>
                <a:lnTo>
                  <a:pt x="2007778" y="219196"/>
                </a:lnTo>
                <a:lnTo>
                  <a:pt x="2000510" y="226464"/>
                </a:lnTo>
                <a:lnTo>
                  <a:pt x="1992168" y="218123"/>
                </a:lnTo>
                <a:lnTo>
                  <a:pt x="1985148" y="225143"/>
                </a:lnTo>
                <a:lnTo>
                  <a:pt x="1977549" y="217543"/>
                </a:lnTo>
                <a:lnTo>
                  <a:pt x="1970777" y="224316"/>
                </a:lnTo>
                <a:lnTo>
                  <a:pt x="1963759" y="217297"/>
                </a:lnTo>
                <a:lnTo>
                  <a:pt x="1957398" y="223657"/>
                </a:lnTo>
                <a:lnTo>
                  <a:pt x="1950790" y="217049"/>
                </a:lnTo>
                <a:lnTo>
                  <a:pt x="1944844" y="222996"/>
                </a:lnTo>
                <a:lnTo>
                  <a:pt x="1938320" y="216472"/>
                </a:lnTo>
                <a:lnTo>
                  <a:pt x="1932786" y="222006"/>
                </a:lnTo>
                <a:lnTo>
                  <a:pt x="1926344" y="215561"/>
                </a:lnTo>
                <a:lnTo>
                  <a:pt x="1921387" y="220518"/>
                </a:lnTo>
                <a:lnTo>
                  <a:pt x="1914615" y="213746"/>
                </a:lnTo>
                <a:lnTo>
                  <a:pt x="1910155" y="218206"/>
                </a:lnTo>
                <a:lnTo>
                  <a:pt x="1903052" y="211103"/>
                </a:lnTo>
                <a:lnTo>
                  <a:pt x="1899087" y="215067"/>
                </a:lnTo>
                <a:lnTo>
                  <a:pt x="1891407" y="207386"/>
                </a:lnTo>
                <a:lnTo>
                  <a:pt x="1888186" y="210607"/>
                </a:lnTo>
                <a:cubicBezTo>
                  <a:pt x="1882257" y="210607"/>
                  <a:pt x="1877450" y="205801"/>
                  <a:pt x="1877450" y="199870"/>
                </a:cubicBezTo>
                <a:cubicBezTo>
                  <a:pt x="1877450" y="193941"/>
                  <a:pt x="1882257" y="189134"/>
                  <a:pt x="1888186" y="189134"/>
                </a:cubicBezTo>
                <a:close/>
                <a:moveTo>
                  <a:pt x="3102434" y="189132"/>
                </a:moveTo>
                <a:cubicBezTo>
                  <a:pt x="3108381" y="189132"/>
                  <a:pt x="3113172" y="193922"/>
                  <a:pt x="3113172" y="199869"/>
                </a:cubicBezTo>
                <a:cubicBezTo>
                  <a:pt x="3113172" y="205815"/>
                  <a:pt x="3108381" y="210607"/>
                  <a:pt x="3102434" y="210607"/>
                </a:cubicBezTo>
                <a:cubicBezTo>
                  <a:pt x="3096488" y="210607"/>
                  <a:pt x="3091698" y="205815"/>
                  <a:pt x="3091698" y="199869"/>
                </a:cubicBezTo>
                <a:cubicBezTo>
                  <a:pt x="3091698" y="193922"/>
                  <a:pt x="3096488" y="189132"/>
                  <a:pt x="3102434" y="189132"/>
                </a:cubicBezTo>
                <a:close/>
                <a:moveTo>
                  <a:pt x="2310058" y="188142"/>
                </a:moveTo>
                <a:cubicBezTo>
                  <a:pt x="2316005" y="188142"/>
                  <a:pt x="2320796" y="192932"/>
                  <a:pt x="2320796" y="198878"/>
                </a:cubicBezTo>
                <a:cubicBezTo>
                  <a:pt x="2320796" y="204825"/>
                  <a:pt x="2316005" y="209617"/>
                  <a:pt x="2310058" y="209617"/>
                </a:cubicBezTo>
                <a:cubicBezTo>
                  <a:pt x="2304112" y="209617"/>
                  <a:pt x="2299322" y="204825"/>
                  <a:pt x="2299322" y="198878"/>
                </a:cubicBezTo>
                <a:cubicBezTo>
                  <a:pt x="2299322" y="192932"/>
                  <a:pt x="2304112" y="188142"/>
                  <a:pt x="2310058" y="188142"/>
                </a:cubicBezTo>
                <a:close/>
                <a:moveTo>
                  <a:pt x="2126378" y="186325"/>
                </a:moveTo>
                <a:cubicBezTo>
                  <a:pt x="2132325" y="186325"/>
                  <a:pt x="2137116" y="191115"/>
                  <a:pt x="2137116" y="197061"/>
                </a:cubicBezTo>
                <a:cubicBezTo>
                  <a:pt x="2137116" y="203007"/>
                  <a:pt x="2132325" y="207797"/>
                  <a:pt x="2126378" y="207797"/>
                </a:cubicBezTo>
                <a:cubicBezTo>
                  <a:pt x="2120432" y="207797"/>
                  <a:pt x="2115642" y="203007"/>
                  <a:pt x="2115642" y="197061"/>
                </a:cubicBezTo>
                <a:cubicBezTo>
                  <a:pt x="2115642" y="191115"/>
                  <a:pt x="2120432" y="186325"/>
                  <a:pt x="2126378" y="186325"/>
                </a:cubicBezTo>
                <a:close/>
                <a:moveTo>
                  <a:pt x="2740522" y="185664"/>
                </a:moveTo>
                <a:cubicBezTo>
                  <a:pt x="2746468" y="185664"/>
                  <a:pt x="2751260" y="190454"/>
                  <a:pt x="2751260" y="196400"/>
                </a:cubicBezTo>
                <a:cubicBezTo>
                  <a:pt x="2751260" y="202347"/>
                  <a:pt x="2746468" y="207138"/>
                  <a:pt x="2740522" y="207138"/>
                </a:cubicBezTo>
                <a:cubicBezTo>
                  <a:pt x="2734575" y="207138"/>
                  <a:pt x="2729785" y="202347"/>
                  <a:pt x="2729785" y="196400"/>
                </a:cubicBezTo>
                <a:cubicBezTo>
                  <a:pt x="2729785" y="190454"/>
                  <a:pt x="2734575" y="185664"/>
                  <a:pt x="2740522" y="185664"/>
                </a:cubicBezTo>
                <a:close/>
                <a:moveTo>
                  <a:pt x="2458062" y="185499"/>
                </a:moveTo>
                <a:cubicBezTo>
                  <a:pt x="2464009" y="185499"/>
                  <a:pt x="2468801" y="190289"/>
                  <a:pt x="2468801" y="196236"/>
                </a:cubicBezTo>
                <a:cubicBezTo>
                  <a:pt x="2468801" y="202182"/>
                  <a:pt x="2464009" y="206974"/>
                  <a:pt x="2458062" y="206974"/>
                </a:cubicBezTo>
                <a:cubicBezTo>
                  <a:pt x="2452116" y="206974"/>
                  <a:pt x="2447326" y="202182"/>
                  <a:pt x="2447326" y="196236"/>
                </a:cubicBezTo>
                <a:cubicBezTo>
                  <a:pt x="2447326" y="190289"/>
                  <a:pt x="2452116" y="185499"/>
                  <a:pt x="2458062" y="185499"/>
                </a:cubicBezTo>
                <a:close/>
                <a:moveTo>
                  <a:pt x="2982018" y="183682"/>
                </a:moveTo>
                <a:cubicBezTo>
                  <a:pt x="2987964" y="183682"/>
                  <a:pt x="2992754" y="188472"/>
                  <a:pt x="2992754" y="194418"/>
                </a:cubicBezTo>
                <a:cubicBezTo>
                  <a:pt x="2992754" y="200365"/>
                  <a:pt x="2987964" y="205156"/>
                  <a:pt x="2982018" y="205156"/>
                </a:cubicBezTo>
                <a:cubicBezTo>
                  <a:pt x="2976071" y="205156"/>
                  <a:pt x="2971281" y="200365"/>
                  <a:pt x="2971281" y="194418"/>
                </a:cubicBezTo>
                <a:cubicBezTo>
                  <a:pt x="2971281" y="188472"/>
                  <a:pt x="2976071" y="183682"/>
                  <a:pt x="2982018" y="183682"/>
                </a:cubicBezTo>
                <a:close/>
                <a:moveTo>
                  <a:pt x="2104574" y="182856"/>
                </a:moveTo>
                <a:cubicBezTo>
                  <a:pt x="2110521" y="182856"/>
                  <a:pt x="2115311" y="187646"/>
                  <a:pt x="2115311" y="193593"/>
                </a:cubicBezTo>
                <a:cubicBezTo>
                  <a:pt x="2115311" y="199539"/>
                  <a:pt x="2110521" y="204329"/>
                  <a:pt x="2104574" y="204329"/>
                </a:cubicBezTo>
                <a:cubicBezTo>
                  <a:pt x="2098628" y="204329"/>
                  <a:pt x="2093838" y="199539"/>
                  <a:pt x="2093838" y="193593"/>
                </a:cubicBezTo>
                <a:cubicBezTo>
                  <a:pt x="2093838" y="187646"/>
                  <a:pt x="2098628" y="182856"/>
                  <a:pt x="2104574" y="182856"/>
                </a:cubicBezTo>
                <a:close/>
                <a:moveTo>
                  <a:pt x="2861270" y="182692"/>
                </a:moveTo>
                <a:cubicBezTo>
                  <a:pt x="2867216" y="182692"/>
                  <a:pt x="2872006" y="187481"/>
                  <a:pt x="2872006" y="193428"/>
                </a:cubicBezTo>
                <a:cubicBezTo>
                  <a:pt x="2872006" y="199375"/>
                  <a:pt x="2867216" y="204166"/>
                  <a:pt x="2861270" y="204166"/>
                </a:cubicBezTo>
                <a:cubicBezTo>
                  <a:pt x="2855323" y="204166"/>
                  <a:pt x="2850533" y="199375"/>
                  <a:pt x="2850533" y="193428"/>
                </a:cubicBezTo>
                <a:cubicBezTo>
                  <a:pt x="2850533" y="187481"/>
                  <a:pt x="2855323" y="182692"/>
                  <a:pt x="2861270" y="182692"/>
                </a:cubicBezTo>
                <a:close/>
                <a:moveTo>
                  <a:pt x="3418757" y="179717"/>
                </a:moveTo>
                <a:cubicBezTo>
                  <a:pt x="3424704" y="179717"/>
                  <a:pt x="3429493" y="184507"/>
                  <a:pt x="3429493" y="190454"/>
                </a:cubicBezTo>
                <a:cubicBezTo>
                  <a:pt x="3429493" y="196400"/>
                  <a:pt x="3424704" y="201192"/>
                  <a:pt x="3418757" y="201192"/>
                </a:cubicBezTo>
                <a:cubicBezTo>
                  <a:pt x="3412810" y="201192"/>
                  <a:pt x="3408021" y="196400"/>
                  <a:pt x="3408021" y="190454"/>
                </a:cubicBezTo>
                <a:cubicBezTo>
                  <a:pt x="3408021" y="184507"/>
                  <a:pt x="3412810" y="179717"/>
                  <a:pt x="3418757" y="179717"/>
                </a:cubicBezTo>
                <a:close/>
                <a:moveTo>
                  <a:pt x="3267780" y="179223"/>
                </a:moveTo>
                <a:cubicBezTo>
                  <a:pt x="3273727" y="179223"/>
                  <a:pt x="3278518" y="184013"/>
                  <a:pt x="3278518" y="189960"/>
                </a:cubicBezTo>
                <a:cubicBezTo>
                  <a:pt x="3278518" y="195906"/>
                  <a:pt x="3273727" y="200698"/>
                  <a:pt x="3267780" y="200698"/>
                </a:cubicBezTo>
                <a:cubicBezTo>
                  <a:pt x="3261834" y="200698"/>
                  <a:pt x="3257044" y="195906"/>
                  <a:pt x="3257044" y="189960"/>
                </a:cubicBezTo>
                <a:cubicBezTo>
                  <a:pt x="3257044" y="184013"/>
                  <a:pt x="3261834" y="179223"/>
                  <a:pt x="3267780" y="179223"/>
                </a:cubicBezTo>
                <a:close/>
                <a:moveTo>
                  <a:pt x="2277353" y="177570"/>
                </a:moveTo>
                <a:cubicBezTo>
                  <a:pt x="2283300" y="177570"/>
                  <a:pt x="2288092" y="182360"/>
                  <a:pt x="2288092" y="188307"/>
                </a:cubicBezTo>
                <a:cubicBezTo>
                  <a:pt x="2288092" y="194253"/>
                  <a:pt x="2283300" y="199045"/>
                  <a:pt x="2277353" y="199045"/>
                </a:cubicBezTo>
                <a:cubicBezTo>
                  <a:pt x="2271407" y="199045"/>
                  <a:pt x="2266617" y="194253"/>
                  <a:pt x="2266617" y="188307"/>
                </a:cubicBezTo>
                <a:cubicBezTo>
                  <a:pt x="2266617" y="182360"/>
                  <a:pt x="2271407" y="177570"/>
                  <a:pt x="2277353" y="177570"/>
                </a:cubicBezTo>
                <a:close/>
                <a:moveTo>
                  <a:pt x="2572202" y="172781"/>
                </a:moveTo>
                <a:cubicBezTo>
                  <a:pt x="2578148" y="172781"/>
                  <a:pt x="2582938" y="177570"/>
                  <a:pt x="2582938" y="183517"/>
                </a:cubicBezTo>
                <a:cubicBezTo>
                  <a:pt x="2582938" y="189464"/>
                  <a:pt x="2578148" y="194255"/>
                  <a:pt x="2572202" y="194255"/>
                </a:cubicBezTo>
                <a:cubicBezTo>
                  <a:pt x="2566255" y="194255"/>
                  <a:pt x="2561465" y="189464"/>
                  <a:pt x="2561465" y="183517"/>
                </a:cubicBezTo>
                <a:cubicBezTo>
                  <a:pt x="2561465" y="177570"/>
                  <a:pt x="2566255" y="172781"/>
                  <a:pt x="2572202" y="172781"/>
                </a:cubicBezTo>
                <a:close/>
                <a:moveTo>
                  <a:pt x="2417758" y="170799"/>
                </a:moveTo>
                <a:cubicBezTo>
                  <a:pt x="2423705" y="170799"/>
                  <a:pt x="2428496" y="175588"/>
                  <a:pt x="2428496" y="181535"/>
                </a:cubicBezTo>
                <a:cubicBezTo>
                  <a:pt x="2428496" y="187481"/>
                  <a:pt x="2423705" y="192273"/>
                  <a:pt x="2417758" y="192273"/>
                </a:cubicBezTo>
                <a:cubicBezTo>
                  <a:pt x="2411812" y="192273"/>
                  <a:pt x="2407022" y="187481"/>
                  <a:pt x="2407022" y="181535"/>
                </a:cubicBezTo>
                <a:cubicBezTo>
                  <a:pt x="2407022" y="175588"/>
                  <a:pt x="2411812" y="170799"/>
                  <a:pt x="2417758" y="170799"/>
                </a:cubicBezTo>
                <a:close/>
                <a:moveTo>
                  <a:pt x="2247290" y="169807"/>
                </a:moveTo>
                <a:cubicBezTo>
                  <a:pt x="2253236" y="169807"/>
                  <a:pt x="2258028" y="174596"/>
                  <a:pt x="2258028" y="180543"/>
                </a:cubicBezTo>
                <a:cubicBezTo>
                  <a:pt x="2258028" y="186489"/>
                  <a:pt x="2253236" y="191279"/>
                  <a:pt x="2247290" y="191279"/>
                </a:cubicBezTo>
                <a:cubicBezTo>
                  <a:pt x="2241343" y="191279"/>
                  <a:pt x="2236553" y="186489"/>
                  <a:pt x="2236553" y="180543"/>
                </a:cubicBezTo>
                <a:cubicBezTo>
                  <a:pt x="2236553" y="174596"/>
                  <a:pt x="2241343" y="169807"/>
                  <a:pt x="2247290" y="169807"/>
                </a:cubicBezTo>
                <a:close/>
                <a:moveTo>
                  <a:pt x="3453444" y="168816"/>
                </a:moveTo>
                <a:cubicBezTo>
                  <a:pt x="3459391" y="168816"/>
                  <a:pt x="3464182" y="173606"/>
                  <a:pt x="3464182" y="179553"/>
                </a:cubicBezTo>
                <a:cubicBezTo>
                  <a:pt x="3464182" y="185499"/>
                  <a:pt x="3459391" y="190291"/>
                  <a:pt x="3453444" y="190291"/>
                </a:cubicBezTo>
                <a:cubicBezTo>
                  <a:pt x="3447498" y="190291"/>
                  <a:pt x="3442708" y="185499"/>
                  <a:pt x="3442708" y="179553"/>
                </a:cubicBezTo>
                <a:cubicBezTo>
                  <a:pt x="3442708" y="173606"/>
                  <a:pt x="3447498" y="168816"/>
                  <a:pt x="3453444" y="168816"/>
                </a:cubicBezTo>
                <a:close/>
                <a:moveTo>
                  <a:pt x="3152979" y="168320"/>
                </a:moveTo>
                <a:cubicBezTo>
                  <a:pt x="3158926" y="168320"/>
                  <a:pt x="3163717" y="173110"/>
                  <a:pt x="3163717" y="179057"/>
                </a:cubicBezTo>
                <a:cubicBezTo>
                  <a:pt x="3163717" y="185003"/>
                  <a:pt x="3158926" y="189793"/>
                  <a:pt x="3152979" y="189793"/>
                </a:cubicBezTo>
                <a:cubicBezTo>
                  <a:pt x="3147032" y="189793"/>
                  <a:pt x="3142243" y="185003"/>
                  <a:pt x="3142243" y="179057"/>
                </a:cubicBezTo>
                <a:cubicBezTo>
                  <a:pt x="3142243" y="173110"/>
                  <a:pt x="3147032" y="168320"/>
                  <a:pt x="3152979" y="168320"/>
                </a:cubicBezTo>
                <a:close/>
                <a:moveTo>
                  <a:pt x="1939064" y="166503"/>
                </a:moveTo>
                <a:lnTo>
                  <a:pt x="1946661" y="174100"/>
                </a:lnTo>
                <a:lnTo>
                  <a:pt x="1951616" y="169146"/>
                </a:lnTo>
                <a:lnTo>
                  <a:pt x="1959711" y="177239"/>
                </a:lnTo>
                <a:lnTo>
                  <a:pt x="1964170" y="172781"/>
                </a:lnTo>
                <a:lnTo>
                  <a:pt x="1971850" y="180461"/>
                </a:lnTo>
                <a:lnTo>
                  <a:pt x="1976888" y="175424"/>
                </a:lnTo>
                <a:lnTo>
                  <a:pt x="1984321" y="182856"/>
                </a:lnTo>
                <a:lnTo>
                  <a:pt x="1990103" y="177075"/>
                </a:lnTo>
                <a:lnTo>
                  <a:pt x="1997289" y="184261"/>
                </a:lnTo>
                <a:lnTo>
                  <a:pt x="2003648" y="177902"/>
                </a:lnTo>
                <a:lnTo>
                  <a:pt x="2010998" y="185251"/>
                </a:lnTo>
                <a:lnTo>
                  <a:pt x="2017853" y="178396"/>
                </a:lnTo>
                <a:lnTo>
                  <a:pt x="2025536" y="186078"/>
                </a:lnTo>
                <a:lnTo>
                  <a:pt x="2033050" y="178562"/>
                </a:lnTo>
                <a:lnTo>
                  <a:pt x="2041226" y="186739"/>
                </a:lnTo>
                <a:lnTo>
                  <a:pt x="2049074" y="178892"/>
                </a:lnTo>
                <a:lnTo>
                  <a:pt x="2057828" y="187646"/>
                </a:lnTo>
                <a:lnTo>
                  <a:pt x="2066086" y="179388"/>
                </a:lnTo>
                <a:lnTo>
                  <a:pt x="2075915" y="189216"/>
                </a:lnTo>
                <a:lnTo>
                  <a:pt x="2084586" y="180545"/>
                </a:lnTo>
                <a:cubicBezTo>
                  <a:pt x="2090533" y="180545"/>
                  <a:pt x="2095323" y="185335"/>
                  <a:pt x="2095323" y="191281"/>
                </a:cubicBezTo>
                <a:cubicBezTo>
                  <a:pt x="2095323" y="197227"/>
                  <a:pt x="2090533" y="202019"/>
                  <a:pt x="2084586" y="202019"/>
                </a:cubicBezTo>
                <a:lnTo>
                  <a:pt x="2074759" y="192190"/>
                </a:lnTo>
                <a:lnTo>
                  <a:pt x="2066086" y="200861"/>
                </a:lnTo>
                <a:lnTo>
                  <a:pt x="2057332" y="192106"/>
                </a:lnTo>
                <a:lnTo>
                  <a:pt x="2049074" y="200366"/>
                </a:lnTo>
                <a:lnTo>
                  <a:pt x="2040897" y="192190"/>
                </a:lnTo>
                <a:lnTo>
                  <a:pt x="2033050" y="200037"/>
                </a:lnTo>
                <a:lnTo>
                  <a:pt x="2025369" y="192354"/>
                </a:lnTo>
                <a:lnTo>
                  <a:pt x="2017853" y="199870"/>
                </a:lnTo>
                <a:lnTo>
                  <a:pt x="2010504" y="192519"/>
                </a:lnTo>
                <a:lnTo>
                  <a:pt x="2003648" y="199376"/>
                </a:lnTo>
                <a:lnTo>
                  <a:pt x="1996462" y="192188"/>
                </a:lnTo>
                <a:lnTo>
                  <a:pt x="1990103" y="198549"/>
                </a:lnTo>
                <a:lnTo>
                  <a:pt x="1982670" y="191116"/>
                </a:lnTo>
                <a:lnTo>
                  <a:pt x="1976888" y="196898"/>
                </a:lnTo>
                <a:lnTo>
                  <a:pt x="1969207" y="189217"/>
                </a:lnTo>
                <a:lnTo>
                  <a:pt x="1964170" y="194255"/>
                </a:lnTo>
                <a:lnTo>
                  <a:pt x="1956076" y="186160"/>
                </a:lnTo>
                <a:lnTo>
                  <a:pt x="1951616" y="190620"/>
                </a:lnTo>
                <a:lnTo>
                  <a:pt x="1941707" y="180709"/>
                </a:lnTo>
                <a:lnTo>
                  <a:pt x="1939064" y="183352"/>
                </a:lnTo>
                <a:cubicBezTo>
                  <a:pt x="1934411" y="183352"/>
                  <a:pt x="1930639" y="179580"/>
                  <a:pt x="1930639" y="174928"/>
                </a:cubicBezTo>
                <a:cubicBezTo>
                  <a:pt x="1930639" y="170275"/>
                  <a:pt x="1934411" y="166503"/>
                  <a:pt x="1939064" y="166503"/>
                </a:cubicBezTo>
                <a:close/>
                <a:moveTo>
                  <a:pt x="2219706" y="164191"/>
                </a:moveTo>
                <a:cubicBezTo>
                  <a:pt x="2225652" y="164191"/>
                  <a:pt x="2230444" y="168981"/>
                  <a:pt x="2230444" y="174928"/>
                </a:cubicBezTo>
                <a:cubicBezTo>
                  <a:pt x="2230444" y="180874"/>
                  <a:pt x="2225652" y="185664"/>
                  <a:pt x="2219706" y="185664"/>
                </a:cubicBezTo>
                <a:cubicBezTo>
                  <a:pt x="2213759" y="185664"/>
                  <a:pt x="2208969" y="180874"/>
                  <a:pt x="2208969" y="174928"/>
                </a:cubicBezTo>
                <a:cubicBezTo>
                  <a:pt x="2208969" y="168981"/>
                  <a:pt x="2213759" y="164191"/>
                  <a:pt x="2219706" y="164191"/>
                </a:cubicBezTo>
                <a:close/>
                <a:moveTo>
                  <a:pt x="2687499" y="164026"/>
                </a:moveTo>
                <a:cubicBezTo>
                  <a:pt x="2693446" y="164026"/>
                  <a:pt x="2698237" y="168816"/>
                  <a:pt x="2698237" y="174763"/>
                </a:cubicBezTo>
                <a:cubicBezTo>
                  <a:pt x="2698237" y="180709"/>
                  <a:pt x="2693446" y="185501"/>
                  <a:pt x="2687499" y="185501"/>
                </a:cubicBezTo>
                <a:cubicBezTo>
                  <a:pt x="2681552" y="185501"/>
                  <a:pt x="2676762" y="180709"/>
                  <a:pt x="2676762" y="174763"/>
                </a:cubicBezTo>
                <a:cubicBezTo>
                  <a:pt x="2676762" y="168816"/>
                  <a:pt x="2681552" y="164026"/>
                  <a:pt x="2687499" y="164026"/>
                </a:cubicBezTo>
                <a:close/>
                <a:moveTo>
                  <a:pt x="3310067" y="163860"/>
                </a:moveTo>
                <a:cubicBezTo>
                  <a:pt x="3316014" y="163860"/>
                  <a:pt x="3320803" y="168650"/>
                  <a:pt x="3320803" y="174596"/>
                </a:cubicBezTo>
                <a:cubicBezTo>
                  <a:pt x="3320803" y="180543"/>
                  <a:pt x="3316014" y="185335"/>
                  <a:pt x="3310067" y="185335"/>
                </a:cubicBezTo>
                <a:cubicBezTo>
                  <a:pt x="3304120" y="185335"/>
                  <a:pt x="3299330" y="180543"/>
                  <a:pt x="3299330" y="174596"/>
                </a:cubicBezTo>
                <a:cubicBezTo>
                  <a:pt x="3299330" y="168650"/>
                  <a:pt x="3304120" y="163860"/>
                  <a:pt x="3310067" y="163860"/>
                </a:cubicBezTo>
                <a:close/>
                <a:moveTo>
                  <a:pt x="3037022" y="161217"/>
                </a:moveTo>
                <a:cubicBezTo>
                  <a:pt x="3042969" y="161217"/>
                  <a:pt x="3047759" y="166007"/>
                  <a:pt x="3047759" y="171954"/>
                </a:cubicBezTo>
                <a:cubicBezTo>
                  <a:pt x="3047759" y="177900"/>
                  <a:pt x="3042969" y="182692"/>
                  <a:pt x="3037022" y="182692"/>
                </a:cubicBezTo>
                <a:cubicBezTo>
                  <a:pt x="3031076" y="182692"/>
                  <a:pt x="3026286" y="177900"/>
                  <a:pt x="3026286" y="171954"/>
                </a:cubicBezTo>
                <a:cubicBezTo>
                  <a:pt x="3026286" y="166007"/>
                  <a:pt x="3031076" y="161217"/>
                  <a:pt x="3037022" y="161217"/>
                </a:cubicBezTo>
                <a:close/>
                <a:moveTo>
                  <a:pt x="3485490" y="160723"/>
                </a:moveTo>
                <a:cubicBezTo>
                  <a:pt x="3491437" y="160723"/>
                  <a:pt x="3496228" y="165513"/>
                  <a:pt x="3496228" y="171459"/>
                </a:cubicBezTo>
                <a:cubicBezTo>
                  <a:pt x="3496228" y="177406"/>
                  <a:pt x="3491437" y="182197"/>
                  <a:pt x="3485490" y="182197"/>
                </a:cubicBezTo>
                <a:cubicBezTo>
                  <a:pt x="3479544" y="182197"/>
                  <a:pt x="3474754" y="177406"/>
                  <a:pt x="3474754" y="171459"/>
                </a:cubicBezTo>
                <a:cubicBezTo>
                  <a:pt x="3474754" y="165513"/>
                  <a:pt x="3479544" y="160723"/>
                  <a:pt x="3485490" y="160723"/>
                </a:cubicBezTo>
                <a:close/>
                <a:moveTo>
                  <a:pt x="2194267" y="160556"/>
                </a:moveTo>
                <a:cubicBezTo>
                  <a:pt x="2200213" y="160556"/>
                  <a:pt x="2205005" y="165346"/>
                  <a:pt x="2205005" y="171293"/>
                </a:cubicBezTo>
                <a:cubicBezTo>
                  <a:pt x="2205005" y="177239"/>
                  <a:pt x="2200213" y="182031"/>
                  <a:pt x="2194267" y="182031"/>
                </a:cubicBezTo>
                <a:cubicBezTo>
                  <a:pt x="2188320" y="182031"/>
                  <a:pt x="2183530" y="177239"/>
                  <a:pt x="2183530" y="171293"/>
                </a:cubicBezTo>
                <a:cubicBezTo>
                  <a:pt x="2183530" y="165346"/>
                  <a:pt x="2188320" y="160556"/>
                  <a:pt x="2194267" y="160556"/>
                </a:cubicBezTo>
                <a:close/>
                <a:moveTo>
                  <a:pt x="2380756" y="159401"/>
                </a:moveTo>
                <a:cubicBezTo>
                  <a:pt x="2386702" y="159401"/>
                  <a:pt x="2391494" y="164191"/>
                  <a:pt x="2391494" y="170138"/>
                </a:cubicBezTo>
                <a:cubicBezTo>
                  <a:pt x="2391494" y="176084"/>
                  <a:pt x="2386702" y="180874"/>
                  <a:pt x="2380756" y="180874"/>
                </a:cubicBezTo>
                <a:cubicBezTo>
                  <a:pt x="2374810" y="180874"/>
                  <a:pt x="2370020" y="176084"/>
                  <a:pt x="2370020" y="170138"/>
                </a:cubicBezTo>
                <a:cubicBezTo>
                  <a:pt x="2370020" y="164191"/>
                  <a:pt x="2374810" y="159401"/>
                  <a:pt x="2380756" y="159401"/>
                </a:cubicBezTo>
                <a:close/>
                <a:moveTo>
                  <a:pt x="2803951" y="159070"/>
                </a:moveTo>
                <a:cubicBezTo>
                  <a:pt x="2809898" y="159070"/>
                  <a:pt x="2814688" y="163860"/>
                  <a:pt x="2814688" y="169807"/>
                </a:cubicBezTo>
                <a:cubicBezTo>
                  <a:pt x="2814688" y="175753"/>
                  <a:pt x="2809898" y="180545"/>
                  <a:pt x="2803951" y="180545"/>
                </a:cubicBezTo>
                <a:cubicBezTo>
                  <a:pt x="2798005" y="180545"/>
                  <a:pt x="2793215" y="175753"/>
                  <a:pt x="2793215" y="169807"/>
                </a:cubicBezTo>
                <a:cubicBezTo>
                  <a:pt x="2793215" y="163860"/>
                  <a:pt x="2798005" y="159070"/>
                  <a:pt x="2803951" y="159070"/>
                </a:cubicBezTo>
                <a:close/>
                <a:moveTo>
                  <a:pt x="2170976" y="158245"/>
                </a:moveTo>
                <a:cubicBezTo>
                  <a:pt x="2176923" y="158245"/>
                  <a:pt x="2181715" y="163035"/>
                  <a:pt x="2181715" y="168981"/>
                </a:cubicBezTo>
                <a:cubicBezTo>
                  <a:pt x="2181715" y="174928"/>
                  <a:pt x="2176923" y="179719"/>
                  <a:pt x="2170976" y="179719"/>
                </a:cubicBezTo>
                <a:cubicBezTo>
                  <a:pt x="2165030" y="179719"/>
                  <a:pt x="2160240" y="174928"/>
                  <a:pt x="2160240" y="168981"/>
                </a:cubicBezTo>
                <a:cubicBezTo>
                  <a:pt x="2160240" y="163035"/>
                  <a:pt x="2165030" y="158245"/>
                  <a:pt x="2170976" y="158245"/>
                </a:cubicBezTo>
                <a:close/>
                <a:moveTo>
                  <a:pt x="2920570" y="158080"/>
                </a:moveTo>
                <a:cubicBezTo>
                  <a:pt x="2926517" y="158080"/>
                  <a:pt x="2931308" y="162870"/>
                  <a:pt x="2931308" y="168816"/>
                </a:cubicBezTo>
                <a:cubicBezTo>
                  <a:pt x="2931308" y="174763"/>
                  <a:pt x="2926517" y="179553"/>
                  <a:pt x="2920570" y="179553"/>
                </a:cubicBezTo>
                <a:cubicBezTo>
                  <a:pt x="2914624" y="179553"/>
                  <a:pt x="2909834" y="174763"/>
                  <a:pt x="2909834" y="168816"/>
                </a:cubicBezTo>
                <a:cubicBezTo>
                  <a:pt x="2909834" y="162870"/>
                  <a:pt x="2914624" y="158080"/>
                  <a:pt x="2920570" y="158080"/>
                </a:cubicBezTo>
                <a:close/>
                <a:moveTo>
                  <a:pt x="2527439" y="156923"/>
                </a:moveTo>
                <a:cubicBezTo>
                  <a:pt x="2533385" y="156923"/>
                  <a:pt x="2538177" y="161713"/>
                  <a:pt x="2538177" y="167660"/>
                </a:cubicBezTo>
                <a:cubicBezTo>
                  <a:pt x="2538177" y="173606"/>
                  <a:pt x="2533385" y="178398"/>
                  <a:pt x="2527439" y="178398"/>
                </a:cubicBezTo>
                <a:cubicBezTo>
                  <a:pt x="2521492" y="178398"/>
                  <a:pt x="2516702" y="173606"/>
                  <a:pt x="2516702" y="167660"/>
                </a:cubicBezTo>
                <a:cubicBezTo>
                  <a:pt x="2516702" y="161713"/>
                  <a:pt x="2521492" y="156923"/>
                  <a:pt x="2527439" y="156923"/>
                </a:cubicBezTo>
                <a:close/>
                <a:moveTo>
                  <a:pt x="3349214" y="152132"/>
                </a:moveTo>
                <a:cubicBezTo>
                  <a:pt x="3355161" y="152132"/>
                  <a:pt x="3359952" y="156922"/>
                  <a:pt x="3359952" y="162868"/>
                </a:cubicBezTo>
                <a:cubicBezTo>
                  <a:pt x="3359952" y="168815"/>
                  <a:pt x="3355161" y="173606"/>
                  <a:pt x="3349214" y="173606"/>
                </a:cubicBezTo>
                <a:cubicBezTo>
                  <a:pt x="3343268" y="173606"/>
                  <a:pt x="3338478" y="168815"/>
                  <a:pt x="3338478" y="162868"/>
                </a:cubicBezTo>
                <a:cubicBezTo>
                  <a:pt x="3338478" y="156922"/>
                  <a:pt x="3343268" y="152132"/>
                  <a:pt x="3349214" y="152132"/>
                </a:cubicBezTo>
                <a:close/>
                <a:moveTo>
                  <a:pt x="3199890" y="151638"/>
                </a:moveTo>
                <a:cubicBezTo>
                  <a:pt x="3205837" y="151638"/>
                  <a:pt x="3210627" y="156427"/>
                  <a:pt x="3210627" y="162374"/>
                </a:cubicBezTo>
                <a:cubicBezTo>
                  <a:pt x="3210627" y="168320"/>
                  <a:pt x="3205837" y="173112"/>
                  <a:pt x="3199890" y="173112"/>
                </a:cubicBezTo>
                <a:cubicBezTo>
                  <a:pt x="3193944" y="173112"/>
                  <a:pt x="3189154" y="168320"/>
                  <a:pt x="3189154" y="162374"/>
                </a:cubicBezTo>
                <a:cubicBezTo>
                  <a:pt x="3189154" y="156427"/>
                  <a:pt x="3193944" y="151638"/>
                  <a:pt x="3199890" y="151638"/>
                </a:cubicBezTo>
                <a:close/>
                <a:moveTo>
                  <a:pt x="2346565" y="150977"/>
                </a:moveTo>
                <a:cubicBezTo>
                  <a:pt x="2352511" y="150977"/>
                  <a:pt x="2357303" y="155767"/>
                  <a:pt x="2357303" y="161713"/>
                </a:cubicBezTo>
                <a:cubicBezTo>
                  <a:pt x="2357303" y="167660"/>
                  <a:pt x="2352511" y="172451"/>
                  <a:pt x="2346565" y="172451"/>
                </a:cubicBezTo>
                <a:cubicBezTo>
                  <a:pt x="2340618" y="172451"/>
                  <a:pt x="2335828" y="167660"/>
                  <a:pt x="2335828" y="161713"/>
                </a:cubicBezTo>
                <a:cubicBezTo>
                  <a:pt x="2335828" y="155767"/>
                  <a:pt x="2340618" y="150977"/>
                  <a:pt x="2346565" y="150977"/>
                </a:cubicBezTo>
                <a:close/>
                <a:moveTo>
                  <a:pt x="1988452" y="150481"/>
                </a:moveTo>
                <a:cubicBezTo>
                  <a:pt x="1988726" y="150481"/>
                  <a:pt x="1988948" y="150703"/>
                  <a:pt x="1988948" y="150977"/>
                </a:cubicBezTo>
                <a:cubicBezTo>
                  <a:pt x="1988948" y="151251"/>
                  <a:pt x="1988726" y="151471"/>
                  <a:pt x="1988452" y="151471"/>
                </a:cubicBezTo>
                <a:cubicBezTo>
                  <a:pt x="1988178" y="151471"/>
                  <a:pt x="1987956" y="151251"/>
                  <a:pt x="1987956" y="150977"/>
                </a:cubicBezTo>
                <a:cubicBezTo>
                  <a:pt x="1987956" y="150703"/>
                  <a:pt x="1988178" y="150481"/>
                  <a:pt x="1988452" y="150481"/>
                </a:cubicBezTo>
                <a:close/>
                <a:moveTo>
                  <a:pt x="2638440" y="146517"/>
                </a:moveTo>
                <a:cubicBezTo>
                  <a:pt x="2644387" y="146517"/>
                  <a:pt x="2649178" y="151306"/>
                  <a:pt x="2649178" y="157253"/>
                </a:cubicBezTo>
                <a:cubicBezTo>
                  <a:pt x="2649178" y="163199"/>
                  <a:pt x="2644387" y="167991"/>
                  <a:pt x="2638440" y="167991"/>
                </a:cubicBezTo>
                <a:cubicBezTo>
                  <a:pt x="2632494" y="167991"/>
                  <a:pt x="2627704" y="163199"/>
                  <a:pt x="2627704" y="157253"/>
                </a:cubicBezTo>
                <a:cubicBezTo>
                  <a:pt x="2627704" y="151306"/>
                  <a:pt x="2632494" y="146517"/>
                  <a:pt x="2638440" y="146517"/>
                </a:cubicBezTo>
                <a:close/>
                <a:moveTo>
                  <a:pt x="2315015" y="144865"/>
                </a:moveTo>
                <a:cubicBezTo>
                  <a:pt x="2320961" y="144865"/>
                  <a:pt x="2325753" y="149655"/>
                  <a:pt x="2325753" y="155602"/>
                </a:cubicBezTo>
                <a:cubicBezTo>
                  <a:pt x="2325753" y="161548"/>
                  <a:pt x="2320961" y="166340"/>
                  <a:pt x="2315015" y="166340"/>
                </a:cubicBezTo>
                <a:cubicBezTo>
                  <a:pt x="2309068" y="166340"/>
                  <a:pt x="2304278" y="161548"/>
                  <a:pt x="2304278" y="155602"/>
                </a:cubicBezTo>
                <a:cubicBezTo>
                  <a:pt x="2304278" y="149655"/>
                  <a:pt x="2309068" y="144865"/>
                  <a:pt x="2315015" y="144865"/>
                </a:cubicBezTo>
                <a:close/>
                <a:moveTo>
                  <a:pt x="2485978" y="144369"/>
                </a:moveTo>
                <a:cubicBezTo>
                  <a:pt x="2491924" y="144369"/>
                  <a:pt x="2496714" y="149159"/>
                  <a:pt x="2496714" y="155106"/>
                </a:cubicBezTo>
                <a:cubicBezTo>
                  <a:pt x="2496714" y="161052"/>
                  <a:pt x="2491924" y="165844"/>
                  <a:pt x="2485978" y="165844"/>
                </a:cubicBezTo>
                <a:cubicBezTo>
                  <a:pt x="2480031" y="165844"/>
                  <a:pt x="2475242" y="161052"/>
                  <a:pt x="2475242" y="155106"/>
                </a:cubicBezTo>
                <a:cubicBezTo>
                  <a:pt x="2475242" y="149159"/>
                  <a:pt x="2480031" y="144369"/>
                  <a:pt x="2485978" y="144369"/>
                </a:cubicBezTo>
                <a:close/>
                <a:moveTo>
                  <a:pt x="3385225" y="143213"/>
                </a:moveTo>
                <a:cubicBezTo>
                  <a:pt x="3391171" y="143213"/>
                  <a:pt x="3395963" y="148003"/>
                  <a:pt x="3395963" y="153949"/>
                </a:cubicBezTo>
                <a:cubicBezTo>
                  <a:pt x="3395963" y="159896"/>
                  <a:pt x="3391171" y="164687"/>
                  <a:pt x="3385225" y="164687"/>
                </a:cubicBezTo>
                <a:cubicBezTo>
                  <a:pt x="3379278" y="164687"/>
                  <a:pt x="3374488" y="159896"/>
                  <a:pt x="3374488" y="153949"/>
                </a:cubicBezTo>
                <a:cubicBezTo>
                  <a:pt x="3374488" y="148003"/>
                  <a:pt x="3379278" y="143213"/>
                  <a:pt x="3385225" y="143213"/>
                </a:cubicBezTo>
                <a:close/>
                <a:moveTo>
                  <a:pt x="3088228" y="143048"/>
                </a:moveTo>
                <a:cubicBezTo>
                  <a:pt x="3094174" y="143048"/>
                  <a:pt x="3098966" y="147838"/>
                  <a:pt x="3098966" y="153784"/>
                </a:cubicBezTo>
                <a:cubicBezTo>
                  <a:pt x="3098966" y="159731"/>
                  <a:pt x="3094174" y="164522"/>
                  <a:pt x="3088228" y="164522"/>
                </a:cubicBezTo>
                <a:cubicBezTo>
                  <a:pt x="3082282" y="164522"/>
                  <a:pt x="3077492" y="159731"/>
                  <a:pt x="3077492" y="153784"/>
                </a:cubicBezTo>
                <a:cubicBezTo>
                  <a:pt x="3077492" y="147838"/>
                  <a:pt x="3082282" y="143048"/>
                  <a:pt x="3088228" y="143048"/>
                </a:cubicBezTo>
                <a:close/>
                <a:moveTo>
                  <a:pt x="2286108" y="140735"/>
                </a:moveTo>
                <a:cubicBezTo>
                  <a:pt x="2292054" y="140735"/>
                  <a:pt x="2296846" y="145524"/>
                  <a:pt x="2296846" y="151471"/>
                </a:cubicBezTo>
                <a:cubicBezTo>
                  <a:pt x="2296846" y="157418"/>
                  <a:pt x="2292054" y="162209"/>
                  <a:pt x="2286108" y="162209"/>
                </a:cubicBezTo>
                <a:cubicBezTo>
                  <a:pt x="2280161" y="162209"/>
                  <a:pt x="2275371" y="157418"/>
                  <a:pt x="2275371" y="151471"/>
                </a:cubicBezTo>
                <a:cubicBezTo>
                  <a:pt x="2275371" y="145524"/>
                  <a:pt x="2280161" y="140735"/>
                  <a:pt x="2286108" y="140735"/>
                </a:cubicBezTo>
                <a:close/>
                <a:moveTo>
                  <a:pt x="2750432" y="139909"/>
                </a:moveTo>
                <a:cubicBezTo>
                  <a:pt x="2756379" y="139909"/>
                  <a:pt x="2761171" y="144699"/>
                  <a:pt x="2761171" y="150646"/>
                </a:cubicBezTo>
                <a:cubicBezTo>
                  <a:pt x="2761171" y="156592"/>
                  <a:pt x="2756379" y="161384"/>
                  <a:pt x="2750432" y="161384"/>
                </a:cubicBezTo>
                <a:cubicBezTo>
                  <a:pt x="2744486" y="161384"/>
                  <a:pt x="2739696" y="156592"/>
                  <a:pt x="2739696" y="150646"/>
                </a:cubicBezTo>
                <a:cubicBezTo>
                  <a:pt x="2739696" y="144699"/>
                  <a:pt x="2744486" y="139909"/>
                  <a:pt x="2750432" y="139909"/>
                </a:cubicBezTo>
                <a:close/>
                <a:moveTo>
                  <a:pt x="3243169" y="138588"/>
                </a:moveTo>
                <a:cubicBezTo>
                  <a:pt x="3249116" y="138588"/>
                  <a:pt x="3253907" y="143378"/>
                  <a:pt x="3253907" y="149324"/>
                </a:cubicBezTo>
                <a:cubicBezTo>
                  <a:pt x="3253907" y="155271"/>
                  <a:pt x="3249116" y="160062"/>
                  <a:pt x="3243169" y="160062"/>
                </a:cubicBezTo>
                <a:cubicBezTo>
                  <a:pt x="3237222" y="160062"/>
                  <a:pt x="3232432" y="155271"/>
                  <a:pt x="3232432" y="149324"/>
                </a:cubicBezTo>
                <a:cubicBezTo>
                  <a:pt x="3232432" y="143378"/>
                  <a:pt x="3237222" y="138588"/>
                  <a:pt x="3243169" y="138588"/>
                </a:cubicBezTo>
                <a:close/>
                <a:moveTo>
                  <a:pt x="2975905" y="138257"/>
                </a:moveTo>
                <a:cubicBezTo>
                  <a:pt x="2981851" y="138257"/>
                  <a:pt x="2986643" y="143046"/>
                  <a:pt x="2986643" y="148993"/>
                </a:cubicBezTo>
                <a:cubicBezTo>
                  <a:pt x="2986643" y="154939"/>
                  <a:pt x="2981851" y="159731"/>
                  <a:pt x="2975905" y="159731"/>
                </a:cubicBezTo>
                <a:cubicBezTo>
                  <a:pt x="2969958" y="159731"/>
                  <a:pt x="2965168" y="154939"/>
                  <a:pt x="2965168" y="148993"/>
                </a:cubicBezTo>
                <a:cubicBezTo>
                  <a:pt x="2965168" y="143046"/>
                  <a:pt x="2969958" y="138257"/>
                  <a:pt x="2975905" y="138257"/>
                </a:cubicBezTo>
                <a:close/>
                <a:moveTo>
                  <a:pt x="2259182" y="138257"/>
                </a:moveTo>
                <a:cubicBezTo>
                  <a:pt x="2265129" y="138257"/>
                  <a:pt x="2269920" y="143046"/>
                  <a:pt x="2269920" y="148993"/>
                </a:cubicBezTo>
                <a:cubicBezTo>
                  <a:pt x="2269920" y="154939"/>
                  <a:pt x="2265129" y="159731"/>
                  <a:pt x="2259182" y="159731"/>
                </a:cubicBezTo>
                <a:cubicBezTo>
                  <a:pt x="2253236" y="159731"/>
                  <a:pt x="2248446" y="154939"/>
                  <a:pt x="2248446" y="148993"/>
                </a:cubicBezTo>
                <a:cubicBezTo>
                  <a:pt x="2248446" y="143046"/>
                  <a:pt x="2253236" y="138257"/>
                  <a:pt x="2259182" y="138257"/>
                </a:cubicBezTo>
                <a:close/>
                <a:moveTo>
                  <a:pt x="2863085" y="137102"/>
                </a:moveTo>
                <a:cubicBezTo>
                  <a:pt x="2869032" y="137102"/>
                  <a:pt x="2873824" y="141891"/>
                  <a:pt x="2873824" y="147838"/>
                </a:cubicBezTo>
                <a:cubicBezTo>
                  <a:pt x="2873824" y="153784"/>
                  <a:pt x="2869032" y="158576"/>
                  <a:pt x="2863085" y="158576"/>
                </a:cubicBezTo>
                <a:cubicBezTo>
                  <a:pt x="2857139" y="158576"/>
                  <a:pt x="2852349" y="153784"/>
                  <a:pt x="2852349" y="147838"/>
                </a:cubicBezTo>
                <a:cubicBezTo>
                  <a:pt x="2852349" y="141891"/>
                  <a:pt x="2857139" y="137102"/>
                  <a:pt x="2863085" y="137102"/>
                </a:cubicBezTo>
                <a:close/>
                <a:moveTo>
                  <a:pt x="2234406" y="136935"/>
                </a:moveTo>
                <a:cubicBezTo>
                  <a:pt x="2240353" y="136935"/>
                  <a:pt x="2245144" y="141725"/>
                  <a:pt x="2245144" y="147671"/>
                </a:cubicBezTo>
                <a:cubicBezTo>
                  <a:pt x="2245144" y="153618"/>
                  <a:pt x="2240353" y="158409"/>
                  <a:pt x="2234406" y="158409"/>
                </a:cubicBezTo>
                <a:cubicBezTo>
                  <a:pt x="2228460" y="158409"/>
                  <a:pt x="2223670" y="153618"/>
                  <a:pt x="2223670" y="147671"/>
                </a:cubicBezTo>
                <a:cubicBezTo>
                  <a:pt x="2223670" y="141725"/>
                  <a:pt x="2228460" y="136935"/>
                  <a:pt x="2234406" y="136935"/>
                </a:cubicBezTo>
                <a:close/>
                <a:moveTo>
                  <a:pt x="3418590" y="136770"/>
                </a:moveTo>
                <a:cubicBezTo>
                  <a:pt x="3424537" y="136770"/>
                  <a:pt x="3429328" y="141560"/>
                  <a:pt x="3429328" y="147507"/>
                </a:cubicBezTo>
                <a:cubicBezTo>
                  <a:pt x="3429328" y="153453"/>
                  <a:pt x="3424537" y="158243"/>
                  <a:pt x="3418590" y="158243"/>
                </a:cubicBezTo>
                <a:cubicBezTo>
                  <a:pt x="3412644" y="158243"/>
                  <a:pt x="3407854" y="153453"/>
                  <a:pt x="3407854" y="147507"/>
                </a:cubicBezTo>
                <a:cubicBezTo>
                  <a:pt x="3407854" y="141560"/>
                  <a:pt x="3412644" y="136770"/>
                  <a:pt x="3418590" y="136770"/>
                </a:cubicBezTo>
                <a:close/>
                <a:moveTo>
                  <a:pt x="2211281" y="136441"/>
                </a:moveTo>
                <a:cubicBezTo>
                  <a:pt x="2217227" y="136441"/>
                  <a:pt x="2222019" y="141231"/>
                  <a:pt x="2222019" y="147177"/>
                </a:cubicBezTo>
                <a:cubicBezTo>
                  <a:pt x="2222019" y="153124"/>
                  <a:pt x="2217227" y="157915"/>
                  <a:pt x="2211281" y="157915"/>
                </a:cubicBezTo>
                <a:cubicBezTo>
                  <a:pt x="2205334" y="157915"/>
                  <a:pt x="2200544" y="153124"/>
                  <a:pt x="2200544" y="147177"/>
                </a:cubicBezTo>
                <a:cubicBezTo>
                  <a:pt x="2200544" y="141231"/>
                  <a:pt x="2205334" y="136441"/>
                  <a:pt x="2211281" y="136441"/>
                </a:cubicBezTo>
                <a:close/>
                <a:moveTo>
                  <a:pt x="2447820" y="135119"/>
                </a:moveTo>
                <a:cubicBezTo>
                  <a:pt x="2453767" y="135119"/>
                  <a:pt x="2458558" y="139909"/>
                  <a:pt x="2458558" y="145856"/>
                </a:cubicBezTo>
                <a:cubicBezTo>
                  <a:pt x="2458558" y="151802"/>
                  <a:pt x="2453767" y="156594"/>
                  <a:pt x="2447820" y="156594"/>
                </a:cubicBezTo>
                <a:cubicBezTo>
                  <a:pt x="2441874" y="156594"/>
                  <a:pt x="2437084" y="151802"/>
                  <a:pt x="2437084" y="145856"/>
                </a:cubicBezTo>
                <a:cubicBezTo>
                  <a:pt x="2437084" y="139909"/>
                  <a:pt x="2441874" y="135119"/>
                  <a:pt x="2447820" y="135119"/>
                </a:cubicBezTo>
                <a:close/>
                <a:moveTo>
                  <a:pt x="2592850" y="132806"/>
                </a:moveTo>
                <a:cubicBezTo>
                  <a:pt x="2598797" y="132806"/>
                  <a:pt x="2603587" y="137596"/>
                  <a:pt x="2603587" y="143542"/>
                </a:cubicBezTo>
                <a:cubicBezTo>
                  <a:pt x="2603587" y="149489"/>
                  <a:pt x="2598797" y="154280"/>
                  <a:pt x="2592850" y="154280"/>
                </a:cubicBezTo>
                <a:cubicBezTo>
                  <a:pt x="2586904" y="154280"/>
                  <a:pt x="2582114" y="149489"/>
                  <a:pt x="2582114" y="143542"/>
                </a:cubicBezTo>
                <a:cubicBezTo>
                  <a:pt x="2582114" y="137596"/>
                  <a:pt x="2586904" y="132806"/>
                  <a:pt x="2592850" y="132806"/>
                </a:cubicBezTo>
                <a:close/>
                <a:moveTo>
                  <a:pt x="3449315" y="132477"/>
                </a:moveTo>
                <a:cubicBezTo>
                  <a:pt x="3455262" y="132477"/>
                  <a:pt x="3460053" y="137266"/>
                  <a:pt x="3460053" y="143213"/>
                </a:cubicBezTo>
                <a:cubicBezTo>
                  <a:pt x="3460053" y="149159"/>
                  <a:pt x="3455262" y="153951"/>
                  <a:pt x="3449315" y="153951"/>
                </a:cubicBezTo>
                <a:cubicBezTo>
                  <a:pt x="3443368" y="153951"/>
                  <a:pt x="3438579" y="149159"/>
                  <a:pt x="3438579" y="143213"/>
                </a:cubicBezTo>
                <a:cubicBezTo>
                  <a:pt x="3438579" y="137266"/>
                  <a:pt x="3443368" y="132477"/>
                  <a:pt x="3449315" y="132477"/>
                </a:cubicBezTo>
                <a:close/>
                <a:moveTo>
                  <a:pt x="2051387" y="130163"/>
                </a:moveTo>
                <a:cubicBezTo>
                  <a:pt x="2053485" y="130163"/>
                  <a:pt x="2055185" y="131864"/>
                  <a:pt x="2055185" y="133963"/>
                </a:cubicBezTo>
                <a:cubicBezTo>
                  <a:pt x="2055185" y="136061"/>
                  <a:pt x="2053485" y="137761"/>
                  <a:pt x="2051387" y="137761"/>
                </a:cubicBezTo>
                <a:cubicBezTo>
                  <a:pt x="2049289" y="137761"/>
                  <a:pt x="2047588" y="136061"/>
                  <a:pt x="2047588" y="133963"/>
                </a:cubicBezTo>
                <a:cubicBezTo>
                  <a:pt x="2047588" y="131864"/>
                  <a:pt x="2049289" y="130163"/>
                  <a:pt x="2051387" y="130163"/>
                </a:cubicBezTo>
                <a:close/>
                <a:moveTo>
                  <a:pt x="3477726" y="129834"/>
                </a:moveTo>
                <a:cubicBezTo>
                  <a:pt x="3483673" y="129834"/>
                  <a:pt x="3488464" y="134623"/>
                  <a:pt x="3488464" y="140570"/>
                </a:cubicBezTo>
                <a:cubicBezTo>
                  <a:pt x="3488464" y="146517"/>
                  <a:pt x="3483673" y="151306"/>
                  <a:pt x="3477726" y="151306"/>
                </a:cubicBezTo>
                <a:cubicBezTo>
                  <a:pt x="3471780" y="151306"/>
                  <a:pt x="3466990" y="146517"/>
                  <a:pt x="3466990" y="140570"/>
                </a:cubicBezTo>
                <a:cubicBezTo>
                  <a:pt x="3466990" y="134623"/>
                  <a:pt x="3471780" y="129834"/>
                  <a:pt x="3477726" y="129834"/>
                </a:cubicBezTo>
                <a:close/>
                <a:moveTo>
                  <a:pt x="3503192" y="129144"/>
                </a:moveTo>
                <a:lnTo>
                  <a:pt x="3503192" y="149025"/>
                </a:lnTo>
                <a:lnTo>
                  <a:pt x="3493252" y="139084"/>
                </a:lnTo>
                <a:close/>
                <a:moveTo>
                  <a:pt x="3283306" y="128842"/>
                </a:moveTo>
                <a:cubicBezTo>
                  <a:pt x="3289253" y="128842"/>
                  <a:pt x="3294045" y="133631"/>
                  <a:pt x="3294045" y="139578"/>
                </a:cubicBezTo>
                <a:cubicBezTo>
                  <a:pt x="3294045" y="145524"/>
                  <a:pt x="3289253" y="150316"/>
                  <a:pt x="3283306" y="150316"/>
                </a:cubicBezTo>
                <a:cubicBezTo>
                  <a:pt x="3277360" y="150316"/>
                  <a:pt x="3272570" y="145524"/>
                  <a:pt x="3272570" y="139578"/>
                </a:cubicBezTo>
                <a:cubicBezTo>
                  <a:pt x="3272570" y="133631"/>
                  <a:pt x="3277360" y="128842"/>
                  <a:pt x="3283306" y="128842"/>
                </a:cubicBezTo>
                <a:close/>
                <a:moveTo>
                  <a:pt x="3135800" y="128677"/>
                </a:moveTo>
                <a:cubicBezTo>
                  <a:pt x="3141747" y="128677"/>
                  <a:pt x="3146538" y="133467"/>
                  <a:pt x="3146538" y="139413"/>
                </a:cubicBezTo>
                <a:cubicBezTo>
                  <a:pt x="3146538" y="145360"/>
                  <a:pt x="3141747" y="150149"/>
                  <a:pt x="3135800" y="150149"/>
                </a:cubicBezTo>
                <a:cubicBezTo>
                  <a:pt x="3129854" y="150149"/>
                  <a:pt x="3125064" y="145360"/>
                  <a:pt x="3125064" y="139413"/>
                </a:cubicBezTo>
                <a:cubicBezTo>
                  <a:pt x="3125064" y="133467"/>
                  <a:pt x="3129854" y="128677"/>
                  <a:pt x="3135800" y="128677"/>
                </a:cubicBezTo>
                <a:close/>
                <a:moveTo>
                  <a:pt x="2412471" y="128347"/>
                </a:moveTo>
                <a:cubicBezTo>
                  <a:pt x="2418417" y="128347"/>
                  <a:pt x="2423209" y="133137"/>
                  <a:pt x="2423209" y="139084"/>
                </a:cubicBezTo>
                <a:cubicBezTo>
                  <a:pt x="2423209" y="145030"/>
                  <a:pt x="2418417" y="149822"/>
                  <a:pt x="2412471" y="149822"/>
                </a:cubicBezTo>
                <a:cubicBezTo>
                  <a:pt x="2406524" y="149822"/>
                  <a:pt x="2401734" y="145030"/>
                  <a:pt x="2401734" y="139084"/>
                </a:cubicBezTo>
                <a:cubicBezTo>
                  <a:pt x="2401734" y="133137"/>
                  <a:pt x="2406524" y="128347"/>
                  <a:pt x="2412471" y="128347"/>
                </a:cubicBezTo>
                <a:close/>
                <a:moveTo>
                  <a:pt x="2700714" y="124877"/>
                </a:moveTo>
                <a:cubicBezTo>
                  <a:pt x="2706660" y="124877"/>
                  <a:pt x="2711450" y="129667"/>
                  <a:pt x="2711450" y="135614"/>
                </a:cubicBezTo>
                <a:cubicBezTo>
                  <a:pt x="2711450" y="141560"/>
                  <a:pt x="2706660" y="146352"/>
                  <a:pt x="2700714" y="146352"/>
                </a:cubicBezTo>
                <a:cubicBezTo>
                  <a:pt x="2694767" y="146352"/>
                  <a:pt x="2689977" y="141560"/>
                  <a:pt x="2689977" y="135614"/>
                </a:cubicBezTo>
                <a:cubicBezTo>
                  <a:pt x="2689977" y="129667"/>
                  <a:pt x="2694767" y="124877"/>
                  <a:pt x="2700714" y="124877"/>
                </a:cubicBezTo>
                <a:close/>
                <a:moveTo>
                  <a:pt x="2379766" y="123556"/>
                </a:moveTo>
                <a:cubicBezTo>
                  <a:pt x="2385712" y="123556"/>
                  <a:pt x="2390504" y="128346"/>
                  <a:pt x="2390504" y="134292"/>
                </a:cubicBezTo>
                <a:cubicBezTo>
                  <a:pt x="2390504" y="140239"/>
                  <a:pt x="2385712" y="145030"/>
                  <a:pt x="2379766" y="145030"/>
                </a:cubicBezTo>
                <a:cubicBezTo>
                  <a:pt x="2373819" y="145030"/>
                  <a:pt x="2369030" y="140239"/>
                  <a:pt x="2369030" y="134292"/>
                </a:cubicBezTo>
                <a:cubicBezTo>
                  <a:pt x="2369030" y="128346"/>
                  <a:pt x="2373819" y="123556"/>
                  <a:pt x="2379766" y="123556"/>
                </a:cubicBezTo>
                <a:close/>
                <a:moveTo>
                  <a:pt x="2550562" y="122401"/>
                </a:moveTo>
                <a:cubicBezTo>
                  <a:pt x="2556509" y="122401"/>
                  <a:pt x="2561300" y="127191"/>
                  <a:pt x="2561300" y="133137"/>
                </a:cubicBezTo>
                <a:cubicBezTo>
                  <a:pt x="2561300" y="139084"/>
                  <a:pt x="2556509" y="143874"/>
                  <a:pt x="2550562" y="143874"/>
                </a:cubicBezTo>
                <a:cubicBezTo>
                  <a:pt x="2544616" y="143874"/>
                  <a:pt x="2539826" y="139084"/>
                  <a:pt x="2539826" y="133137"/>
                </a:cubicBezTo>
                <a:cubicBezTo>
                  <a:pt x="2539826" y="127191"/>
                  <a:pt x="2544616" y="122401"/>
                  <a:pt x="2550562" y="122401"/>
                </a:cubicBezTo>
                <a:close/>
                <a:moveTo>
                  <a:pt x="3027441" y="122234"/>
                </a:moveTo>
                <a:cubicBezTo>
                  <a:pt x="3033388" y="122234"/>
                  <a:pt x="3038178" y="127024"/>
                  <a:pt x="3038178" y="132971"/>
                </a:cubicBezTo>
                <a:cubicBezTo>
                  <a:pt x="3038178" y="138917"/>
                  <a:pt x="3033388" y="143707"/>
                  <a:pt x="3027441" y="143707"/>
                </a:cubicBezTo>
                <a:cubicBezTo>
                  <a:pt x="3021495" y="143707"/>
                  <a:pt x="3016705" y="138917"/>
                  <a:pt x="3016705" y="132971"/>
                </a:cubicBezTo>
                <a:cubicBezTo>
                  <a:pt x="3016705" y="127024"/>
                  <a:pt x="3021495" y="122234"/>
                  <a:pt x="3027441" y="122234"/>
                </a:cubicBezTo>
                <a:close/>
                <a:moveTo>
                  <a:pt x="3320474" y="121574"/>
                </a:moveTo>
                <a:cubicBezTo>
                  <a:pt x="3326420" y="121574"/>
                  <a:pt x="3331212" y="126363"/>
                  <a:pt x="3331212" y="132310"/>
                </a:cubicBezTo>
                <a:cubicBezTo>
                  <a:pt x="3331212" y="138257"/>
                  <a:pt x="3326420" y="143046"/>
                  <a:pt x="3320474" y="143046"/>
                </a:cubicBezTo>
                <a:cubicBezTo>
                  <a:pt x="3314527" y="143046"/>
                  <a:pt x="3309737" y="138257"/>
                  <a:pt x="3309737" y="132310"/>
                </a:cubicBezTo>
                <a:cubicBezTo>
                  <a:pt x="3309737" y="126363"/>
                  <a:pt x="3314527" y="121574"/>
                  <a:pt x="3320474" y="121574"/>
                </a:cubicBezTo>
                <a:close/>
                <a:moveTo>
                  <a:pt x="2349372" y="120748"/>
                </a:moveTo>
                <a:cubicBezTo>
                  <a:pt x="2355319" y="120748"/>
                  <a:pt x="2360110" y="125538"/>
                  <a:pt x="2360110" y="131484"/>
                </a:cubicBezTo>
                <a:cubicBezTo>
                  <a:pt x="2360110" y="137431"/>
                  <a:pt x="2355319" y="142223"/>
                  <a:pt x="2349372" y="142223"/>
                </a:cubicBezTo>
                <a:cubicBezTo>
                  <a:pt x="2343426" y="142223"/>
                  <a:pt x="2338636" y="137431"/>
                  <a:pt x="2338636" y="131484"/>
                </a:cubicBezTo>
                <a:cubicBezTo>
                  <a:pt x="2338636" y="125538"/>
                  <a:pt x="2343426" y="120748"/>
                  <a:pt x="2349372" y="120748"/>
                </a:cubicBezTo>
                <a:close/>
                <a:moveTo>
                  <a:pt x="2809402" y="120252"/>
                </a:moveTo>
                <a:cubicBezTo>
                  <a:pt x="2815348" y="120252"/>
                  <a:pt x="2820140" y="125042"/>
                  <a:pt x="2820140" y="130988"/>
                </a:cubicBezTo>
                <a:cubicBezTo>
                  <a:pt x="2820140" y="136935"/>
                  <a:pt x="2815348" y="141725"/>
                  <a:pt x="2809402" y="141725"/>
                </a:cubicBezTo>
                <a:cubicBezTo>
                  <a:pt x="2803455" y="141725"/>
                  <a:pt x="2798666" y="136935"/>
                  <a:pt x="2798666" y="130988"/>
                </a:cubicBezTo>
                <a:cubicBezTo>
                  <a:pt x="2798666" y="125042"/>
                  <a:pt x="2803455" y="120252"/>
                  <a:pt x="2809402" y="120252"/>
                </a:cubicBezTo>
                <a:close/>
                <a:moveTo>
                  <a:pt x="2918422" y="119427"/>
                </a:moveTo>
                <a:cubicBezTo>
                  <a:pt x="2924368" y="119427"/>
                  <a:pt x="2929160" y="124217"/>
                  <a:pt x="2929160" y="130163"/>
                </a:cubicBezTo>
                <a:cubicBezTo>
                  <a:pt x="2929160" y="136109"/>
                  <a:pt x="2924368" y="140901"/>
                  <a:pt x="2918422" y="140901"/>
                </a:cubicBezTo>
                <a:cubicBezTo>
                  <a:pt x="2912475" y="140901"/>
                  <a:pt x="2907685" y="136109"/>
                  <a:pt x="2907685" y="130163"/>
                </a:cubicBezTo>
                <a:cubicBezTo>
                  <a:pt x="2907685" y="124217"/>
                  <a:pt x="2912475" y="119427"/>
                  <a:pt x="2918422" y="119427"/>
                </a:cubicBezTo>
                <a:close/>
                <a:moveTo>
                  <a:pt x="2321292" y="119095"/>
                </a:moveTo>
                <a:cubicBezTo>
                  <a:pt x="2327239" y="119095"/>
                  <a:pt x="2332029" y="123885"/>
                  <a:pt x="2332029" y="129832"/>
                </a:cubicBezTo>
                <a:cubicBezTo>
                  <a:pt x="2332029" y="135778"/>
                  <a:pt x="2327239" y="140570"/>
                  <a:pt x="2321292" y="140570"/>
                </a:cubicBezTo>
                <a:cubicBezTo>
                  <a:pt x="2315346" y="140570"/>
                  <a:pt x="2310556" y="135778"/>
                  <a:pt x="2310556" y="129832"/>
                </a:cubicBezTo>
                <a:cubicBezTo>
                  <a:pt x="2310556" y="123885"/>
                  <a:pt x="2315346" y="119095"/>
                  <a:pt x="2321292" y="119095"/>
                </a:cubicBezTo>
                <a:close/>
                <a:moveTo>
                  <a:pt x="2247621" y="118601"/>
                </a:moveTo>
                <a:cubicBezTo>
                  <a:pt x="2253567" y="118601"/>
                  <a:pt x="2258359" y="123391"/>
                  <a:pt x="2258359" y="129338"/>
                </a:cubicBezTo>
                <a:cubicBezTo>
                  <a:pt x="2258359" y="135284"/>
                  <a:pt x="2253567" y="140076"/>
                  <a:pt x="2247621" y="140076"/>
                </a:cubicBezTo>
                <a:cubicBezTo>
                  <a:pt x="2241674" y="140076"/>
                  <a:pt x="2236884" y="135284"/>
                  <a:pt x="2236884" y="129338"/>
                </a:cubicBezTo>
                <a:cubicBezTo>
                  <a:pt x="2236884" y="123391"/>
                  <a:pt x="2241674" y="118601"/>
                  <a:pt x="2247621" y="118601"/>
                </a:cubicBezTo>
                <a:close/>
                <a:moveTo>
                  <a:pt x="2295028" y="118435"/>
                </a:moveTo>
                <a:cubicBezTo>
                  <a:pt x="2300975" y="118435"/>
                  <a:pt x="2305766" y="123225"/>
                  <a:pt x="2305766" y="129171"/>
                </a:cubicBezTo>
                <a:cubicBezTo>
                  <a:pt x="2305766" y="135118"/>
                  <a:pt x="2300975" y="139909"/>
                  <a:pt x="2295028" y="139909"/>
                </a:cubicBezTo>
                <a:cubicBezTo>
                  <a:pt x="2289082" y="139909"/>
                  <a:pt x="2284292" y="135118"/>
                  <a:pt x="2284292" y="129171"/>
                </a:cubicBezTo>
                <a:cubicBezTo>
                  <a:pt x="2284292" y="123225"/>
                  <a:pt x="2289082" y="118435"/>
                  <a:pt x="2295028" y="118435"/>
                </a:cubicBezTo>
                <a:close/>
                <a:moveTo>
                  <a:pt x="2270581" y="118435"/>
                </a:moveTo>
                <a:cubicBezTo>
                  <a:pt x="2276528" y="118435"/>
                  <a:pt x="2281320" y="123225"/>
                  <a:pt x="2281320" y="129171"/>
                </a:cubicBezTo>
                <a:cubicBezTo>
                  <a:pt x="2281320" y="135118"/>
                  <a:pt x="2276528" y="139909"/>
                  <a:pt x="2270581" y="139909"/>
                </a:cubicBezTo>
                <a:cubicBezTo>
                  <a:pt x="2264635" y="139909"/>
                  <a:pt x="2259845" y="135118"/>
                  <a:pt x="2259845" y="129171"/>
                </a:cubicBezTo>
                <a:cubicBezTo>
                  <a:pt x="2259845" y="123225"/>
                  <a:pt x="2264635" y="118435"/>
                  <a:pt x="2270581" y="118435"/>
                </a:cubicBezTo>
                <a:close/>
                <a:moveTo>
                  <a:pt x="3179904" y="117609"/>
                </a:moveTo>
                <a:cubicBezTo>
                  <a:pt x="3185850" y="117609"/>
                  <a:pt x="3190642" y="122399"/>
                  <a:pt x="3190642" y="128346"/>
                </a:cubicBezTo>
                <a:cubicBezTo>
                  <a:pt x="3190642" y="134292"/>
                  <a:pt x="3185850" y="139082"/>
                  <a:pt x="3179904" y="139082"/>
                </a:cubicBezTo>
                <a:cubicBezTo>
                  <a:pt x="3173958" y="139082"/>
                  <a:pt x="3169168" y="134292"/>
                  <a:pt x="3169168" y="128346"/>
                </a:cubicBezTo>
                <a:cubicBezTo>
                  <a:pt x="3169168" y="122399"/>
                  <a:pt x="3173958" y="117609"/>
                  <a:pt x="3179904" y="117609"/>
                </a:cubicBezTo>
                <a:close/>
                <a:moveTo>
                  <a:pt x="3354832" y="116619"/>
                </a:moveTo>
                <a:cubicBezTo>
                  <a:pt x="3360778" y="116619"/>
                  <a:pt x="3365570" y="121409"/>
                  <a:pt x="3365570" y="127355"/>
                </a:cubicBezTo>
                <a:cubicBezTo>
                  <a:pt x="3365570" y="133302"/>
                  <a:pt x="3360778" y="138094"/>
                  <a:pt x="3354832" y="138094"/>
                </a:cubicBezTo>
                <a:cubicBezTo>
                  <a:pt x="3348885" y="138094"/>
                  <a:pt x="3344095" y="133302"/>
                  <a:pt x="3344095" y="127355"/>
                </a:cubicBezTo>
                <a:cubicBezTo>
                  <a:pt x="3344095" y="121409"/>
                  <a:pt x="3348885" y="116619"/>
                  <a:pt x="3354832" y="116619"/>
                </a:cubicBezTo>
                <a:close/>
                <a:moveTo>
                  <a:pt x="2511250" y="114637"/>
                </a:moveTo>
                <a:cubicBezTo>
                  <a:pt x="2517196" y="114637"/>
                  <a:pt x="2521986" y="119427"/>
                  <a:pt x="2521986" y="125373"/>
                </a:cubicBezTo>
                <a:cubicBezTo>
                  <a:pt x="2521986" y="131320"/>
                  <a:pt x="2517196" y="136109"/>
                  <a:pt x="2511250" y="136109"/>
                </a:cubicBezTo>
                <a:cubicBezTo>
                  <a:pt x="2505304" y="136109"/>
                  <a:pt x="2500514" y="131320"/>
                  <a:pt x="2500514" y="125373"/>
                </a:cubicBezTo>
                <a:cubicBezTo>
                  <a:pt x="2500514" y="119427"/>
                  <a:pt x="2505304" y="114637"/>
                  <a:pt x="2511250" y="114637"/>
                </a:cubicBezTo>
                <a:close/>
                <a:moveTo>
                  <a:pt x="2654463" y="112984"/>
                </a:moveTo>
                <a:cubicBezTo>
                  <a:pt x="2660409" y="112984"/>
                  <a:pt x="2665201" y="117774"/>
                  <a:pt x="2665201" y="123721"/>
                </a:cubicBezTo>
                <a:cubicBezTo>
                  <a:pt x="2665201" y="129667"/>
                  <a:pt x="2660409" y="134459"/>
                  <a:pt x="2654463" y="134459"/>
                </a:cubicBezTo>
                <a:cubicBezTo>
                  <a:pt x="2648516" y="134459"/>
                  <a:pt x="2643726" y="129667"/>
                  <a:pt x="2643726" y="123721"/>
                </a:cubicBezTo>
                <a:cubicBezTo>
                  <a:pt x="2643726" y="117774"/>
                  <a:pt x="2648516" y="112984"/>
                  <a:pt x="2654463" y="112984"/>
                </a:cubicBezTo>
                <a:close/>
                <a:moveTo>
                  <a:pt x="2132325" y="111829"/>
                </a:moveTo>
                <a:lnTo>
                  <a:pt x="2142732" y="122234"/>
                </a:lnTo>
                <a:lnTo>
                  <a:pt x="2149833" y="115133"/>
                </a:lnTo>
                <a:lnTo>
                  <a:pt x="2159828" y="125125"/>
                </a:lnTo>
                <a:lnTo>
                  <a:pt x="2167673" y="117280"/>
                </a:lnTo>
                <a:lnTo>
                  <a:pt x="2177500" y="127107"/>
                </a:lnTo>
                <a:lnTo>
                  <a:pt x="2186173" y="118435"/>
                </a:lnTo>
                <a:lnTo>
                  <a:pt x="2196168" y="128429"/>
                </a:lnTo>
                <a:lnTo>
                  <a:pt x="2205666" y="118931"/>
                </a:lnTo>
                <a:lnTo>
                  <a:pt x="2215906" y="129171"/>
                </a:lnTo>
                <a:lnTo>
                  <a:pt x="2226146" y="118931"/>
                </a:lnTo>
                <a:cubicBezTo>
                  <a:pt x="2232093" y="118931"/>
                  <a:pt x="2236884" y="123721"/>
                  <a:pt x="2236884" y="129667"/>
                </a:cubicBezTo>
                <a:cubicBezTo>
                  <a:pt x="2236884" y="135614"/>
                  <a:pt x="2232093" y="140403"/>
                  <a:pt x="2226146" y="140403"/>
                </a:cubicBezTo>
                <a:lnTo>
                  <a:pt x="2215906" y="130163"/>
                </a:lnTo>
                <a:lnTo>
                  <a:pt x="2205666" y="140403"/>
                </a:lnTo>
                <a:lnTo>
                  <a:pt x="2195673" y="130411"/>
                </a:lnTo>
                <a:lnTo>
                  <a:pt x="2186173" y="139909"/>
                </a:lnTo>
                <a:lnTo>
                  <a:pt x="2176346" y="130082"/>
                </a:lnTo>
                <a:lnTo>
                  <a:pt x="2169574" y="136854"/>
                </a:lnTo>
                <a:lnTo>
                  <a:pt x="2179484" y="146763"/>
                </a:lnTo>
                <a:lnTo>
                  <a:pt x="2189642" y="136606"/>
                </a:lnTo>
                <a:cubicBezTo>
                  <a:pt x="2195588" y="136606"/>
                  <a:pt x="2200380" y="141395"/>
                  <a:pt x="2200380" y="147342"/>
                </a:cubicBezTo>
                <a:cubicBezTo>
                  <a:pt x="2200380" y="153288"/>
                  <a:pt x="2195588" y="158080"/>
                  <a:pt x="2189642" y="158080"/>
                </a:cubicBezTo>
                <a:lnTo>
                  <a:pt x="2179649" y="148086"/>
                </a:lnTo>
                <a:lnTo>
                  <a:pt x="2169490" y="158243"/>
                </a:lnTo>
                <a:lnTo>
                  <a:pt x="2159994" y="148747"/>
                </a:lnTo>
                <a:lnTo>
                  <a:pt x="2150494" y="158245"/>
                </a:lnTo>
                <a:lnTo>
                  <a:pt x="2160076" y="167824"/>
                </a:lnTo>
                <a:cubicBezTo>
                  <a:pt x="2160076" y="173771"/>
                  <a:pt x="2155284" y="178562"/>
                  <a:pt x="2149338" y="178562"/>
                </a:cubicBezTo>
                <a:lnTo>
                  <a:pt x="2139097" y="168320"/>
                </a:lnTo>
                <a:lnTo>
                  <a:pt x="2129186" y="178231"/>
                </a:lnTo>
                <a:lnTo>
                  <a:pt x="2119688" y="168733"/>
                </a:lnTo>
                <a:lnTo>
                  <a:pt x="2110354" y="178065"/>
                </a:lnTo>
                <a:lnTo>
                  <a:pt x="2101684" y="169394"/>
                </a:lnTo>
                <a:lnTo>
                  <a:pt x="2092846" y="178231"/>
                </a:lnTo>
                <a:lnTo>
                  <a:pt x="2084505" y="169888"/>
                </a:lnTo>
                <a:lnTo>
                  <a:pt x="2076163" y="178231"/>
                </a:lnTo>
                <a:lnTo>
                  <a:pt x="2068070" y="170138"/>
                </a:lnTo>
                <a:lnTo>
                  <a:pt x="2060471" y="177737"/>
                </a:lnTo>
                <a:lnTo>
                  <a:pt x="2052294" y="169560"/>
                </a:lnTo>
                <a:lnTo>
                  <a:pt x="2045274" y="176580"/>
                </a:lnTo>
                <a:lnTo>
                  <a:pt x="2036933" y="168237"/>
                </a:lnTo>
                <a:lnTo>
                  <a:pt x="2030572" y="174598"/>
                </a:lnTo>
                <a:lnTo>
                  <a:pt x="2021982" y="166009"/>
                </a:lnTo>
                <a:lnTo>
                  <a:pt x="2016367" y="171624"/>
                </a:lnTo>
                <a:lnTo>
                  <a:pt x="2007200" y="162457"/>
                </a:lnTo>
                <a:lnTo>
                  <a:pt x="2002327" y="167330"/>
                </a:lnTo>
                <a:cubicBezTo>
                  <a:pt x="1996380" y="167330"/>
                  <a:pt x="1991590" y="162539"/>
                  <a:pt x="1991590" y="156592"/>
                </a:cubicBezTo>
                <a:cubicBezTo>
                  <a:pt x="1991590" y="150646"/>
                  <a:pt x="1996380" y="145856"/>
                  <a:pt x="2002327" y="145856"/>
                </a:cubicBezTo>
                <a:lnTo>
                  <a:pt x="2011494" y="155023"/>
                </a:lnTo>
                <a:lnTo>
                  <a:pt x="2016367" y="150149"/>
                </a:lnTo>
                <a:lnTo>
                  <a:pt x="2024956" y="158739"/>
                </a:lnTo>
                <a:lnTo>
                  <a:pt x="2030572" y="153124"/>
                </a:lnTo>
                <a:lnTo>
                  <a:pt x="2038915" y="161465"/>
                </a:lnTo>
                <a:lnTo>
                  <a:pt x="2045274" y="155106"/>
                </a:lnTo>
                <a:lnTo>
                  <a:pt x="2053451" y="163283"/>
                </a:lnTo>
                <a:lnTo>
                  <a:pt x="2060471" y="156263"/>
                </a:lnTo>
                <a:lnTo>
                  <a:pt x="2068564" y="164356"/>
                </a:lnTo>
                <a:lnTo>
                  <a:pt x="2076163" y="156757"/>
                </a:lnTo>
                <a:lnTo>
                  <a:pt x="2084505" y="165098"/>
                </a:lnTo>
                <a:lnTo>
                  <a:pt x="2092846" y="156757"/>
                </a:lnTo>
                <a:lnTo>
                  <a:pt x="2101519" y="165429"/>
                </a:lnTo>
                <a:lnTo>
                  <a:pt x="2110354" y="156592"/>
                </a:lnTo>
                <a:lnTo>
                  <a:pt x="2119853" y="166090"/>
                </a:lnTo>
                <a:lnTo>
                  <a:pt x="2129186" y="156757"/>
                </a:lnTo>
                <a:lnTo>
                  <a:pt x="2139428" y="166997"/>
                </a:lnTo>
                <a:lnTo>
                  <a:pt x="2149173" y="157253"/>
                </a:lnTo>
                <a:lnTo>
                  <a:pt x="2141246" y="149324"/>
                </a:lnTo>
                <a:lnTo>
                  <a:pt x="2132325" y="158243"/>
                </a:lnTo>
                <a:lnTo>
                  <a:pt x="2123323" y="149241"/>
                </a:lnTo>
                <a:lnTo>
                  <a:pt x="2114980" y="157584"/>
                </a:lnTo>
                <a:lnTo>
                  <a:pt x="2105896" y="148499"/>
                </a:lnTo>
                <a:lnTo>
                  <a:pt x="2098462" y="155933"/>
                </a:lnTo>
                <a:lnTo>
                  <a:pt x="2089211" y="146683"/>
                </a:lnTo>
                <a:lnTo>
                  <a:pt x="2082439" y="153453"/>
                </a:lnTo>
                <a:lnTo>
                  <a:pt x="2072776" y="143790"/>
                </a:lnTo>
                <a:lnTo>
                  <a:pt x="2066747" y="149822"/>
                </a:lnTo>
                <a:cubicBezTo>
                  <a:pt x="2060800" y="149822"/>
                  <a:pt x="2056010" y="145030"/>
                  <a:pt x="2056010" y="139084"/>
                </a:cubicBezTo>
                <a:cubicBezTo>
                  <a:pt x="2056010" y="133137"/>
                  <a:pt x="2060800" y="128347"/>
                  <a:pt x="2066747" y="128347"/>
                </a:cubicBezTo>
                <a:lnTo>
                  <a:pt x="2076410" y="138010"/>
                </a:lnTo>
                <a:lnTo>
                  <a:pt x="2082439" y="131981"/>
                </a:lnTo>
                <a:lnTo>
                  <a:pt x="2091690" y="141231"/>
                </a:lnTo>
                <a:lnTo>
                  <a:pt x="2098462" y="134459"/>
                </a:lnTo>
                <a:lnTo>
                  <a:pt x="2107547" y="143542"/>
                </a:lnTo>
                <a:lnTo>
                  <a:pt x="2114980" y="136109"/>
                </a:lnTo>
                <a:lnTo>
                  <a:pt x="2123984" y="145112"/>
                </a:lnTo>
                <a:lnTo>
                  <a:pt x="2132325" y="136770"/>
                </a:lnTo>
                <a:lnTo>
                  <a:pt x="2141410" y="145854"/>
                </a:lnTo>
                <a:lnTo>
                  <a:pt x="2150329" y="136935"/>
                </a:lnTo>
                <a:lnTo>
                  <a:pt x="2159828" y="146433"/>
                </a:lnTo>
                <a:lnTo>
                  <a:pt x="2167590" y="138671"/>
                </a:lnTo>
                <a:lnTo>
                  <a:pt x="2157680" y="128760"/>
                </a:lnTo>
                <a:lnTo>
                  <a:pt x="2149833" y="136607"/>
                </a:lnTo>
                <a:lnTo>
                  <a:pt x="2139428" y="126200"/>
                </a:lnTo>
                <a:lnTo>
                  <a:pt x="2132325" y="133304"/>
                </a:lnTo>
                <a:cubicBezTo>
                  <a:pt x="2126378" y="133304"/>
                  <a:pt x="2121589" y="128512"/>
                  <a:pt x="2121589" y="122566"/>
                </a:cubicBezTo>
                <a:cubicBezTo>
                  <a:pt x="2121589" y="116619"/>
                  <a:pt x="2126378" y="111829"/>
                  <a:pt x="2132325" y="111829"/>
                </a:cubicBezTo>
                <a:close/>
                <a:moveTo>
                  <a:pt x="3494080" y="110837"/>
                </a:moveTo>
                <a:lnTo>
                  <a:pt x="3503192" y="119950"/>
                </a:lnTo>
                <a:lnTo>
                  <a:pt x="3503192" y="123198"/>
                </a:lnTo>
                <a:lnTo>
                  <a:pt x="3494080" y="132312"/>
                </a:lnTo>
                <a:cubicBezTo>
                  <a:pt x="3488133" y="132312"/>
                  <a:pt x="3483343" y="127520"/>
                  <a:pt x="3483343" y="121574"/>
                </a:cubicBezTo>
                <a:cubicBezTo>
                  <a:pt x="3483343" y="115627"/>
                  <a:pt x="3488133" y="110837"/>
                  <a:pt x="3494080" y="110837"/>
                </a:cubicBezTo>
                <a:close/>
                <a:moveTo>
                  <a:pt x="3469798" y="110672"/>
                </a:moveTo>
                <a:cubicBezTo>
                  <a:pt x="3475744" y="110672"/>
                  <a:pt x="3480536" y="115462"/>
                  <a:pt x="3480536" y="121409"/>
                </a:cubicBezTo>
                <a:cubicBezTo>
                  <a:pt x="3480536" y="127355"/>
                  <a:pt x="3475744" y="132145"/>
                  <a:pt x="3469798" y="132145"/>
                </a:cubicBezTo>
                <a:cubicBezTo>
                  <a:pt x="3463851" y="132145"/>
                  <a:pt x="3459061" y="127355"/>
                  <a:pt x="3459061" y="121409"/>
                </a:cubicBezTo>
                <a:cubicBezTo>
                  <a:pt x="3459061" y="115462"/>
                  <a:pt x="3463851" y="110672"/>
                  <a:pt x="3469798" y="110672"/>
                </a:cubicBezTo>
                <a:close/>
                <a:moveTo>
                  <a:pt x="2115476" y="110506"/>
                </a:moveTo>
                <a:cubicBezTo>
                  <a:pt x="2119606" y="110506"/>
                  <a:pt x="2122910" y="113810"/>
                  <a:pt x="2122910" y="117939"/>
                </a:cubicBezTo>
                <a:cubicBezTo>
                  <a:pt x="2122910" y="122070"/>
                  <a:pt x="2119606" y="125373"/>
                  <a:pt x="2115476" y="125373"/>
                </a:cubicBezTo>
                <a:cubicBezTo>
                  <a:pt x="2111346" y="125373"/>
                  <a:pt x="2108043" y="122070"/>
                  <a:pt x="2108043" y="117939"/>
                </a:cubicBezTo>
                <a:cubicBezTo>
                  <a:pt x="2108043" y="113810"/>
                  <a:pt x="2111346" y="110506"/>
                  <a:pt x="2115476" y="110506"/>
                </a:cubicBezTo>
                <a:close/>
                <a:moveTo>
                  <a:pt x="3075345" y="109845"/>
                </a:moveTo>
                <a:cubicBezTo>
                  <a:pt x="3081291" y="109845"/>
                  <a:pt x="3086083" y="114635"/>
                  <a:pt x="3086083" y="120582"/>
                </a:cubicBezTo>
                <a:cubicBezTo>
                  <a:pt x="3086083" y="126528"/>
                  <a:pt x="3081291" y="131320"/>
                  <a:pt x="3075345" y="131320"/>
                </a:cubicBezTo>
                <a:cubicBezTo>
                  <a:pt x="3069398" y="131320"/>
                  <a:pt x="3064608" y="126528"/>
                  <a:pt x="3064608" y="120582"/>
                </a:cubicBezTo>
                <a:cubicBezTo>
                  <a:pt x="3064608" y="114635"/>
                  <a:pt x="3069398" y="109845"/>
                  <a:pt x="3075345" y="109845"/>
                </a:cubicBezTo>
                <a:close/>
                <a:moveTo>
                  <a:pt x="3220869" y="109351"/>
                </a:moveTo>
                <a:cubicBezTo>
                  <a:pt x="3226816" y="109351"/>
                  <a:pt x="3231607" y="114141"/>
                  <a:pt x="3231607" y="120087"/>
                </a:cubicBezTo>
                <a:cubicBezTo>
                  <a:pt x="3231607" y="126034"/>
                  <a:pt x="3226816" y="130824"/>
                  <a:pt x="3220869" y="130824"/>
                </a:cubicBezTo>
                <a:cubicBezTo>
                  <a:pt x="3214922" y="130824"/>
                  <a:pt x="3210132" y="126034"/>
                  <a:pt x="3210132" y="120087"/>
                </a:cubicBezTo>
                <a:cubicBezTo>
                  <a:pt x="3210132" y="114141"/>
                  <a:pt x="3214922" y="109351"/>
                  <a:pt x="3220869" y="109351"/>
                </a:cubicBezTo>
                <a:close/>
                <a:moveTo>
                  <a:pt x="2474910" y="109185"/>
                </a:moveTo>
                <a:cubicBezTo>
                  <a:pt x="2480857" y="109185"/>
                  <a:pt x="2485648" y="113974"/>
                  <a:pt x="2485648" y="119921"/>
                </a:cubicBezTo>
                <a:cubicBezTo>
                  <a:pt x="2485648" y="125867"/>
                  <a:pt x="2480857" y="130659"/>
                  <a:pt x="2474910" y="130659"/>
                </a:cubicBezTo>
                <a:cubicBezTo>
                  <a:pt x="2468964" y="130659"/>
                  <a:pt x="2464174" y="125867"/>
                  <a:pt x="2464174" y="119921"/>
                </a:cubicBezTo>
                <a:cubicBezTo>
                  <a:pt x="2464174" y="113974"/>
                  <a:pt x="2468964" y="109185"/>
                  <a:pt x="2474910" y="109185"/>
                </a:cubicBezTo>
                <a:close/>
                <a:moveTo>
                  <a:pt x="2759352" y="107038"/>
                </a:moveTo>
                <a:cubicBezTo>
                  <a:pt x="2765298" y="107038"/>
                  <a:pt x="2770090" y="111827"/>
                  <a:pt x="2770090" y="117774"/>
                </a:cubicBezTo>
                <a:cubicBezTo>
                  <a:pt x="2770090" y="123721"/>
                  <a:pt x="2765298" y="128512"/>
                  <a:pt x="2759352" y="128512"/>
                </a:cubicBezTo>
                <a:cubicBezTo>
                  <a:pt x="2753405" y="128512"/>
                  <a:pt x="2748615" y="123721"/>
                  <a:pt x="2748615" y="117774"/>
                </a:cubicBezTo>
                <a:cubicBezTo>
                  <a:pt x="2748615" y="111827"/>
                  <a:pt x="2753405" y="107038"/>
                  <a:pt x="2759352" y="107038"/>
                </a:cubicBezTo>
                <a:close/>
                <a:moveTo>
                  <a:pt x="2441213" y="105716"/>
                </a:moveTo>
                <a:cubicBezTo>
                  <a:pt x="2447160" y="105716"/>
                  <a:pt x="2451951" y="110506"/>
                  <a:pt x="2451951" y="116453"/>
                </a:cubicBezTo>
                <a:cubicBezTo>
                  <a:pt x="2451951" y="122399"/>
                  <a:pt x="2447160" y="127191"/>
                  <a:pt x="2441213" y="127191"/>
                </a:cubicBezTo>
                <a:cubicBezTo>
                  <a:pt x="2435267" y="127191"/>
                  <a:pt x="2430477" y="122399"/>
                  <a:pt x="2430477" y="116453"/>
                </a:cubicBezTo>
                <a:cubicBezTo>
                  <a:pt x="2430477" y="110506"/>
                  <a:pt x="2435267" y="105716"/>
                  <a:pt x="2441213" y="105716"/>
                </a:cubicBezTo>
                <a:close/>
                <a:moveTo>
                  <a:pt x="2970289" y="105387"/>
                </a:moveTo>
                <a:cubicBezTo>
                  <a:pt x="2976236" y="105387"/>
                  <a:pt x="2981028" y="110177"/>
                  <a:pt x="2981028" y="116123"/>
                </a:cubicBezTo>
                <a:cubicBezTo>
                  <a:pt x="2981028" y="122070"/>
                  <a:pt x="2976236" y="126861"/>
                  <a:pt x="2970289" y="126861"/>
                </a:cubicBezTo>
                <a:cubicBezTo>
                  <a:pt x="2964343" y="126861"/>
                  <a:pt x="2959553" y="122070"/>
                  <a:pt x="2959553" y="116123"/>
                </a:cubicBezTo>
                <a:cubicBezTo>
                  <a:pt x="2959553" y="110177"/>
                  <a:pt x="2964343" y="105387"/>
                  <a:pt x="2970289" y="105387"/>
                </a:cubicBezTo>
                <a:close/>
                <a:moveTo>
                  <a:pt x="2864738" y="104561"/>
                </a:moveTo>
                <a:cubicBezTo>
                  <a:pt x="2870684" y="104561"/>
                  <a:pt x="2875476" y="109351"/>
                  <a:pt x="2875476" y="115298"/>
                </a:cubicBezTo>
                <a:cubicBezTo>
                  <a:pt x="2875476" y="121244"/>
                  <a:pt x="2870684" y="126034"/>
                  <a:pt x="2864738" y="126034"/>
                </a:cubicBezTo>
                <a:cubicBezTo>
                  <a:pt x="2858792" y="126034"/>
                  <a:pt x="2854002" y="121244"/>
                  <a:pt x="2854002" y="115298"/>
                </a:cubicBezTo>
                <a:cubicBezTo>
                  <a:pt x="2854002" y="109351"/>
                  <a:pt x="2858792" y="104561"/>
                  <a:pt x="2864738" y="104561"/>
                </a:cubicBezTo>
                <a:close/>
                <a:moveTo>
                  <a:pt x="2611516" y="104230"/>
                </a:moveTo>
                <a:cubicBezTo>
                  <a:pt x="2617462" y="104230"/>
                  <a:pt x="2622254" y="109020"/>
                  <a:pt x="2622254" y="114966"/>
                </a:cubicBezTo>
                <a:cubicBezTo>
                  <a:pt x="2622254" y="120913"/>
                  <a:pt x="2617462" y="125703"/>
                  <a:pt x="2611516" y="125703"/>
                </a:cubicBezTo>
                <a:cubicBezTo>
                  <a:pt x="2605569" y="125703"/>
                  <a:pt x="2600779" y="120913"/>
                  <a:pt x="2600779" y="114966"/>
                </a:cubicBezTo>
                <a:cubicBezTo>
                  <a:pt x="2600779" y="109020"/>
                  <a:pt x="2605569" y="104230"/>
                  <a:pt x="2611516" y="104230"/>
                </a:cubicBezTo>
                <a:close/>
                <a:moveTo>
                  <a:pt x="3258860" y="103569"/>
                </a:moveTo>
                <a:cubicBezTo>
                  <a:pt x="3264806" y="103569"/>
                  <a:pt x="3269598" y="108359"/>
                  <a:pt x="3269598" y="114306"/>
                </a:cubicBezTo>
                <a:cubicBezTo>
                  <a:pt x="3269598" y="120252"/>
                  <a:pt x="3264806" y="125042"/>
                  <a:pt x="3258860" y="125042"/>
                </a:cubicBezTo>
                <a:cubicBezTo>
                  <a:pt x="3252913" y="125042"/>
                  <a:pt x="3248124" y="120252"/>
                  <a:pt x="3248124" y="114306"/>
                </a:cubicBezTo>
                <a:cubicBezTo>
                  <a:pt x="3248124" y="108359"/>
                  <a:pt x="3252913" y="103569"/>
                  <a:pt x="3258860" y="103569"/>
                </a:cubicBezTo>
                <a:close/>
                <a:moveTo>
                  <a:pt x="2303286" y="102577"/>
                </a:moveTo>
                <a:cubicBezTo>
                  <a:pt x="2309233" y="102577"/>
                  <a:pt x="2314024" y="107367"/>
                  <a:pt x="2314024" y="113314"/>
                </a:cubicBezTo>
                <a:cubicBezTo>
                  <a:pt x="2314024" y="119260"/>
                  <a:pt x="2309233" y="124052"/>
                  <a:pt x="2303286" y="124052"/>
                </a:cubicBezTo>
                <a:cubicBezTo>
                  <a:pt x="2297340" y="124052"/>
                  <a:pt x="2292550" y="119260"/>
                  <a:pt x="2292550" y="113314"/>
                </a:cubicBezTo>
                <a:cubicBezTo>
                  <a:pt x="2292550" y="107367"/>
                  <a:pt x="2297340" y="102577"/>
                  <a:pt x="2303286" y="102577"/>
                </a:cubicBezTo>
                <a:close/>
                <a:moveTo>
                  <a:pt x="2280326" y="102577"/>
                </a:moveTo>
                <a:cubicBezTo>
                  <a:pt x="2286272" y="102577"/>
                  <a:pt x="2291064" y="107367"/>
                  <a:pt x="2291064" y="113314"/>
                </a:cubicBezTo>
                <a:cubicBezTo>
                  <a:pt x="2291064" y="119260"/>
                  <a:pt x="2286272" y="124052"/>
                  <a:pt x="2280326" y="124052"/>
                </a:cubicBezTo>
                <a:cubicBezTo>
                  <a:pt x="2274379" y="124052"/>
                  <a:pt x="2269590" y="119260"/>
                  <a:pt x="2269590" y="113314"/>
                </a:cubicBezTo>
                <a:cubicBezTo>
                  <a:pt x="2269590" y="107367"/>
                  <a:pt x="2274379" y="102577"/>
                  <a:pt x="2280326" y="102577"/>
                </a:cubicBezTo>
                <a:close/>
                <a:moveTo>
                  <a:pt x="2258688" y="102248"/>
                </a:moveTo>
                <a:cubicBezTo>
                  <a:pt x="2264635" y="102248"/>
                  <a:pt x="2269426" y="107038"/>
                  <a:pt x="2269426" y="112984"/>
                </a:cubicBezTo>
                <a:cubicBezTo>
                  <a:pt x="2269426" y="118931"/>
                  <a:pt x="2264635" y="123722"/>
                  <a:pt x="2258688" y="123722"/>
                </a:cubicBezTo>
                <a:cubicBezTo>
                  <a:pt x="2252742" y="123722"/>
                  <a:pt x="2247952" y="118931"/>
                  <a:pt x="2247952" y="112984"/>
                </a:cubicBezTo>
                <a:cubicBezTo>
                  <a:pt x="2247952" y="107038"/>
                  <a:pt x="2252742" y="102248"/>
                  <a:pt x="2258688" y="102248"/>
                </a:cubicBezTo>
                <a:close/>
                <a:moveTo>
                  <a:pt x="2238039" y="101256"/>
                </a:moveTo>
                <a:cubicBezTo>
                  <a:pt x="2243986" y="101256"/>
                  <a:pt x="2248778" y="106046"/>
                  <a:pt x="2248778" y="111992"/>
                </a:cubicBezTo>
                <a:cubicBezTo>
                  <a:pt x="2248778" y="117939"/>
                  <a:pt x="2243986" y="122730"/>
                  <a:pt x="2238039" y="122730"/>
                </a:cubicBezTo>
                <a:cubicBezTo>
                  <a:pt x="2232093" y="122730"/>
                  <a:pt x="2227303" y="117939"/>
                  <a:pt x="2227303" y="111992"/>
                </a:cubicBezTo>
                <a:cubicBezTo>
                  <a:pt x="2227303" y="106046"/>
                  <a:pt x="2232093" y="101256"/>
                  <a:pt x="2238039" y="101256"/>
                </a:cubicBezTo>
                <a:close/>
                <a:moveTo>
                  <a:pt x="3120109" y="100430"/>
                </a:moveTo>
                <a:cubicBezTo>
                  <a:pt x="3126056" y="100430"/>
                  <a:pt x="3130846" y="105220"/>
                  <a:pt x="3130846" y="111167"/>
                </a:cubicBezTo>
                <a:cubicBezTo>
                  <a:pt x="3130846" y="117113"/>
                  <a:pt x="3126056" y="121903"/>
                  <a:pt x="3120109" y="121903"/>
                </a:cubicBezTo>
                <a:cubicBezTo>
                  <a:pt x="3114163" y="121903"/>
                  <a:pt x="3109373" y="117113"/>
                  <a:pt x="3109373" y="111167"/>
                </a:cubicBezTo>
                <a:cubicBezTo>
                  <a:pt x="3109373" y="105220"/>
                  <a:pt x="3114163" y="100430"/>
                  <a:pt x="3120109" y="100430"/>
                </a:cubicBezTo>
                <a:close/>
                <a:moveTo>
                  <a:pt x="3294374" y="99605"/>
                </a:moveTo>
                <a:cubicBezTo>
                  <a:pt x="3300321" y="99605"/>
                  <a:pt x="3305112" y="104395"/>
                  <a:pt x="3305112" y="110341"/>
                </a:cubicBezTo>
                <a:cubicBezTo>
                  <a:pt x="3305112" y="116288"/>
                  <a:pt x="3300321" y="121079"/>
                  <a:pt x="3294374" y="121079"/>
                </a:cubicBezTo>
                <a:cubicBezTo>
                  <a:pt x="3288428" y="121079"/>
                  <a:pt x="3283638" y="116288"/>
                  <a:pt x="3283638" y="110341"/>
                </a:cubicBezTo>
                <a:cubicBezTo>
                  <a:pt x="3283638" y="104395"/>
                  <a:pt x="3288428" y="99605"/>
                  <a:pt x="3294374" y="99605"/>
                </a:cubicBezTo>
                <a:close/>
                <a:moveTo>
                  <a:pt x="2218218" y="99275"/>
                </a:moveTo>
                <a:cubicBezTo>
                  <a:pt x="2224164" y="99275"/>
                  <a:pt x="2228956" y="104065"/>
                  <a:pt x="2228956" y="110012"/>
                </a:cubicBezTo>
                <a:cubicBezTo>
                  <a:pt x="2228956" y="115958"/>
                  <a:pt x="2224164" y="120750"/>
                  <a:pt x="2218218" y="120750"/>
                </a:cubicBezTo>
                <a:cubicBezTo>
                  <a:pt x="2212271" y="120750"/>
                  <a:pt x="2207481" y="115958"/>
                  <a:pt x="2207481" y="110012"/>
                </a:cubicBezTo>
                <a:cubicBezTo>
                  <a:pt x="2207481" y="104065"/>
                  <a:pt x="2212271" y="99275"/>
                  <a:pt x="2218218" y="99275"/>
                </a:cubicBezTo>
                <a:close/>
                <a:moveTo>
                  <a:pt x="3503192" y="98586"/>
                </a:moveTo>
                <a:lnTo>
                  <a:pt x="3503192" y="111526"/>
                </a:lnTo>
                <a:lnTo>
                  <a:pt x="3496722" y="105056"/>
                </a:lnTo>
                <a:close/>
                <a:moveTo>
                  <a:pt x="2571541" y="97787"/>
                </a:moveTo>
                <a:cubicBezTo>
                  <a:pt x="2577487" y="97787"/>
                  <a:pt x="2582279" y="102577"/>
                  <a:pt x="2582279" y="108524"/>
                </a:cubicBezTo>
                <a:cubicBezTo>
                  <a:pt x="2582279" y="114470"/>
                  <a:pt x="2577487" y="119262"/>
                  <a:pt x="2571541" y="119262"/>
                </a:cubicBezTo>
                <a:cubicBezTo>
                  <a:pt x="2565594" y="119262"/>
                  <a:pt x="2560804" y="114470"/>
                  <a:pt x="2560804" y="108524"/>
                </a:cubicBezTo>
                <a:cubicBezTo>
                  <a:pt x="2560804" y="102577"/>
                  <a:pt x="2565594" y="97787"/>
                  <a:pt x="2571541" y="97787"/>
                </a:cubicBezTo>
                <a:close/>
                <a:moveTo>
                  <a:pt x="2712771" y="96797"/>
                </a:moveTo>
                <a:cubicBezTo>
                  <a:pt x="2718718" y="96797"/>
                  <a:pt x="2723509" y="101587"/>
                  <a:pt x="2723509" y="107534"/>
                </a:cubicBezTo>
                <a:cubicBezTo>
                  <a:pt x="2723509" y="113480"/>
                  <a:pt x="2718718" y="118272"/>
                  <a:pt x="2712771" y="118272"/>
                </a:cubicBezTo>
                <a:cubicBezTo>
                  <a:pt x="2706825" y="118272"/>
                  <a:pt x="2702035" y="113480"/>
                  <a:pt x="2702035" y="107534"/>
                </a:cubicBezTo>
                <a:cubicBezTo>
                  <a:pt x="2702035" y="101587"/>
                  <a:pt x="2706825" y="96797"/>
                  <a:pt x="2712771" y="96797"/>
                </a:cubicBezTo>
                <a:close/>
                <a:moveTo>
                  <a:pt x="2199056" y="96466"/>
                </a:moveTo>
                <a:cubicBezTo>
                  <a:pt x="2205003" y="96466"/>
                  <a:pt x="2209794" y="101256"/>
                  <a:pt x="2209794" y="107202"/>
                </a:cubicBezTo>
                <a:cubicBezTo>
                  <a:pt x="2209794" y="113149"/>
                  <a:pt x="2205003" y="117941"/>
                  <a:pt x="2199056" y="117941"/>
                </a:cubicBezTo>
                <a:cubicBezTo>
                  <a:pt x="2193110" y="117941"/>
                  <a:pt x="2188320" y="113149"/>
                  <a:pt x="2188320" y="107202"/>
                </a:cubicBezTo>
                <a:cubicBezTo>
                  <a:pt x="2188320" y="101256"/>
                  <a:pt x="2193110" y="96466"/>
                  <a:pt x="2199056" y="96466"/>
                </a:cubicBezTo>
                <a:close/>
                <a:moveTo>
                  <a:pt x="3463026" y="95641"/>
                </a:moveTo>
                <a:cubicBezTo>
                  <a:pt x="3468972" y="95641"/>
                  <a:pt x="3473764" y="100430"/>
                  <a:pt x="3473764" y="106377"/>
                </a:cubicBezTo>
                <a:cubicBezTo>
                  <a:pt x="3473764" y="112323"/>
                  <a:pt x="3468972" y="117113"/>
                  <a:pt x="3463026" y="117113"/>
                </a:cubicBezTo>
                <a:cubicBezTo>
                  <a:pt x="3457079" y="117113"/>
                  <a:pt x="3452289" y="112323"/>
                  <a:pt x="3452289" y="106377"/>
                </a:cubicBezTo>
                <a:cubicBezTo>
                  <a:pt x="3452289" y="100430"/>
                  <a:pt x="3457079" y="95641"/>
                  <a:pt x="3463026" y="95641"/>
                </a:cubicBezTo>
                <a:close/>
                <a:moveTo>
                  <a:pt x="3485820" y="95311"/>
                </a:moveTo>
                <a:cubicBezTo>
                  <a:pt x="3491766" y="95311"/>
                  <a:pt x="3496556" y="100101"/>
                  <a:pt x="3496556" y="106047"/>
                </a:cubicBezTo>
                <a:cubicBezTo>
                  <a:pt x="3496556" y="111994"/>
                  <a:pt x="3491766" y="116784"/>
                  <a:pt x="3485820" y="116784"/>
                </a:cubicBezTo>
                <a:cubicBezTo>
                  <a:pt x="3479873" y="116784"/>
                  <a:pt x="3475084" y="111994"/>
                  <a:pt x="3475084" y="106047"/>
                </a:cubicBezTo>
                <a:cubicBezTo>
                  <a:pt x="3475084" y="100101"/>
                  <a:pt x="3479873" y="95311"/>
                  <a:pt x="3485820" y="95311"/>
                </a:cubicBezTo>
                <a:close/>
                <a:moveTo>
                  <a:pt x="3018687" y="94649"/>
                </a:moveTo>
                <a:cubicBezTo>
                  <a:pt x="3024634" y="94649"/>
                  <a:pt x="3029424" y="99439"/>
                  <a:pt x="3029424" y="105385"/>
                </a:cubicBezTo>
                <a:cubicBezTo>
                  <a:pt x="3029424" y="111331"/>
                  <a:pt x="3024634" y="116123"/>
                  <a:pt x="3018687" y="116123"/>
                </a:cubicBezTo>
                <a:cubicBezTo>
                  <a:pt x="3012740" y="116123"/>
                  <a:pt x="3007951" y="111331"/>
                  <a:pt x="3007951" y="105385"/>
                </a:cubicBezTo>
                <a:cubicBezTo>
                  <a:pt x="3007951" y="99439"/>
                  <a:pt x="3012740" y="94649"/>
                  <a:pt x="3018687" y="94649"/>
                </a:cubicBezTo>
                <a:close/>
                <a:moveTo>
                  <a:pt x="3161733" y="93494"/>
                </a:moveTo>
                <a:cubicBezTo>
                  <a:pt x="3167680" y="93494"/>
                  <a:pt x="3172471" y="98284"/>
                  <a:pt x="3172471" y="104230"/>
                </a:cubicBezTo>
                <a:cubicBezTo>
                  <a:pt x="3172471" y="110177"/>
                  <a:pt x="3167680" y="114966"/>
                  <a:pt x="3161733" y="114966"/>
                </a:cubicBezTo>
                <a:cubicBezTo>
                  <a:pt x="3155787" y="114966"/>
                  <a:pt x="3150997" y="110177"/>
                  <a:pt x="3150997" y="104230"/>
                </a:cubicBezTo>
                <a:cubicBezTo>
                  <a:pt x="3150997" y="98284"/>
                  <a:pt x="3155787" y="93494"/>
                  <a:pt x="3161733" y="93494"/>
                </a:cubicBezTo>
                <a:close/>
                <a:moveTo>
                  <a:pt x="2534376" y="93327"/>
                </a:moveTo>
                <a:cubicBezTo>
                  <a:pt x="2540322" y="93327"/>
                  <a:pt x="2545114" y="98117"/>
                  <a:pt x="2545114" y="104064"/>
                </a:cubicBezTo>
                <a:cubicBezTo>
                  <a:pt x="2545114" y="110010"/>
                  <a:pt x="2540322" y="114802"/>
                  <a:pt x="2534376" y="114802"/>
                </a:cubicBezTo>
                <a:cubicBezTo>
                  <a:pt x="2528429" y="114802"/>
                  <a:pt x="2523639" y="110010"/>
                  <a:pt x="2523639" y="104064"/>
                </a:cubicBezTo>
                <a:cubicBezTo>
                  <a:pt x="2523639" y="98117"/>
                  <a:pt x="2528429" y="93327"/>
                  <a:pt x="2534376" y="93327"/>
                </a:cubicBezTo>
                <a:close/>
                <a:moveTo>
                  <a:pt x="2814523" y="92833"/>
                </a:moveTo>
                <a:cubicBezTo>
                  <a:pt x="2820470" y="92833"/>
                  <a:pt x="2825259" y="97623"/>
                  <a:pt x="2825259" y="103569"/>
                </a:cubicBezTo>
                <a:cubicBezTo>
                  <a:pt x="2825259" y="109516"/>
                  <a:pt x="2820470" y="114306"/>
                  <a:pt x="2814523" y="114306"/>
                </a:cubicBezTo>
                <a:cubicBezTo>
                  <a:pt x="2808576" y="114306"/>
                  <a:pt x="2803786" y="109516"/>
                  <a:pt x="2803786" y="103569"/>
                </a:cubicBezTo>
                <a:cubicBezTo>
                  <a:pt x="2803786" y="97623"/>
                  <a:pt x="2808576" y="92833"/>
                  <a:pt x="2814523" y="92833"/>
                </a:cubicBezTo>
                <a:close/>
                <a:moveTo>
                  <a:pt x="2180556" y="92833"/>
                </a:moveTo>
                <a:cubicBezTo>
                  <a:pt x="2186173" y="92833"/>
                  <a:pt x="2190798" y="97458"/>
                  <a:pt x="2190798" y="103073"/>
                </a:cubicBezTo>
                <a:cubicBezTo>
                  <a:pt x="2190798" y="108690"/>
                  <a:pt x="2186173" y="113315"/>
                  <a:pt x="2180556" y="113315"/>
                </a:cubicBezTo>
                <a:cubicBezTo>
                  <a:pt x="2174941" y="113315"/>
                  <a:pt x="2170316" y="108690"/>
                  <a:pt x="2170316" y="103073"/>
                </a:cubicBezTo>
                <a:cubicBezTo>
                  <a:pt x="2170316" y="97458"/>
                  <a:pt x="2174941" y="92833"/>
                  <a:pt x="2180556" y="92833"/>
                </a:cubicBezTo>
                <a:close/>
                <a:moveTo>
                  <a:pt x="2499522" y="90520"/>
                </a:moveTo>
                <a:cubicBezTo>
                  <a:pt x="2505468" y="90520"/>
                  <a:pt x="2510260" y="95309"/>
                  <a:pt x="2510260" y="101256"/>
                </a:cubicBezTo>
                <a:cubicBezTo>
                  <a:pt x="2510260" y="107202"/>
                  <a:pt x="2505468" y="111994"/>
                  <a:pt x="2499522" y="111994"/>
                </a:cubicBezTo>
                <a:cubicBezTo>
                  <a:pt x="2493575" y="111994"/>
                  <a:pt x="2488786" y="107202"/>
                  <a:pt x="2488786" y="101256"/>
                </a:cubicBezTo>
                <a:cubicBezTo>
                  <a:pt x="2488786" y="95309"/>
                  <a:pt x="2493575" y="90520"/>
                  <a:pt x="2499522" y="90520"/>
                </a:cubicBezTo>
                <a:close/>
                <a:moveTo>
                  <a:pt x="2669164" y="89365"/>
                </a:moveTo>
                <a:cubicBezTo>
                  <a:pt x="2675110" y="89365"/>
                  <a:pt x="2679902" y="94154"/>
                  <a:pt x="2679902" y="100101"/>
                </a:cubicBezTo>
                <a:cubicBezTo>
                  <a:pt x="2679902" y="106047"/>
                  <a:pt x="2675110" y="110837"/>
                  <a:pt x="2669164" y="110837"/>
                </a:cubicBezTo>
                <a:cubicBezTo>
                  <a:pt x="2663217" y="110837"/>
                  <a:pt x="2658427" y="106047"/>
                  <a:pt x="2658427" y="100101"/>
                </a:cubicBezTo>
                <a:cubicBezTo>
                  <a:pt x="2658427" y="94154"/>
                  <a:pt x="2663217" y="89365"/>
                  <a:pt x="2669164" y="89365"/>
                </a:cubicBezTo>
                <a:close/>
                <a:moveTo>
                  <a:pt x="3200716" y="88537"/>
                </a:moveTo>
                <a:cubicBezTo>
                  <a:pt x="3206662" y="88537"/>
                  <a:pt x="3211454" y="93327"/>
                  <a:pt x="3211454" y="99274"/>
                </a:cubicBezTo>
                <a:cubicBezTo>
                  <a:pt x="3211454" y="105220"/>
                  <a:pt x="3206662" y="110012"/>
                  <a:pt x="3200716" y="110012"/>
                </a:cubicBezTo>
                <a:cubicBezTo>
                  <a:pt x="3194770" y="110012"/>
                  <a:pt x="3189980" y="105220"/>
                  <a:pt x="3189980" y="99274"/>
                </a:cubicBezTo>
                <a:cubicBezTo>
                  <a:pt x="3189980" y="93327"/>
                  <a:pt x="3194770" y="88537"/>
                  <a:pt x="3200716" y="88537"/>
                </a:cubicBezTo>
                <a:close/>
                <a:moveTo>
                  <a:pt x="2332358" y="87547"/>
                </a:moveTo>
                <a:cubicBezTo>
                  <a:pt x="2338305" y="87547"/>
                  <a:pt x="2343096" y="92337"/>
                  <a:pt x="2343096" y="98284"/>
                </a:cubicBezTo>
                <a:lnTo>
                  <a:pt x="2333269" y="108111"/>
                </a:lnTo>
                <a:lnTo>
                  <a:pt x="2338142" y="112984"/>
                </a:lnTo>
                <a:cubicBezTo>
                  <a:pt x="2338142" y="118931"/>
                  <a:pt x="2333350" y="123722"/>
                  <a:pt x="2327404" y="123722"/>
                </a:cubicBezTo>
                <a:cubicBezTo>
                  <a:pt x="2321457" y="123722"/>
                  <a:pt x="2316667" y="118931"/>
                  <a:pt x="2316667" y="112984"/>
                </a:cubicBezTo>
                <a:lnTo>
                  <a:pt x="2326495" y="103157"/>
                </a:lnTo>
                <a:lnTo>
                  <a:pt x="2321622" y="98284"/>
                </a:lnTo>
                <a:cubicBezTo>
                  <a:pt x="2321622" y="92337"/>
                  <a:pt x="2326412" y="87547"/>
                  <a:pt x="2332358" y="87547"/>
                </a:cubicBezTo>
                <a:close/>
                <a:moveTo>
                  <a:pt x="2309729" y="86720"/>
                </a:moveTo>
                <a:cubicBezTo>
                  <a:pt x="2315676" y="86720"/>
                  <a:pt x="2320467" y="91510"/>
                  <a:pt x="2320467" y="97456"/>
                </a:cubicBezTo>
                <a:cubicBezTo>
                  <a:pt x="2320467" y="103403"/>
                  <a:pt x="2315676" y="108194"/>
                  <a:pt x="2309729" y="108194"/>
                </a:cubicBezTo>
                <a:cubicBezTo>
                  <a:pt x="2303782" y="108194"/>
                  <a:pt x="2298992" y="103403"/>
                  <a:pt x="2298992" y="97456"/>
                </a:cubicBezTo>
                <a:cubicBezTo>
                  <a:pt x="2298992" y="91510"/>
                  <a:pt x="2303782" y="86720"/>
                  <a:pt x="2309729" y="86720"/>
                </a:cubicBezTo>
                <a:close/>
                <a:moveTo>
                  <a:pt x="3063781" y="86390"/>
                </a:moveTo>
                <a:cubicBezTo>
                  <a:pt x="3069728" y="86390"/>
                  <a:pt x="3074519" y="91180"/>
                  <a:pt x="3074519" y="97127"/>
                </a:cubicBezTo>
                <a:cubicBezTo>
                  <a:pt x="3074519" y="103073"/>
                  <a:pt x="3069728" y="107865"/>
                  <a:pt x="3063781" y="107865"/>
                </a:cubicBezTo>
                <a:cubicBezTo>
                  <a:pt x="3057834" y="107865"/>
                  <a:pt x="3053045" y="103073"/>
                  <a:pt x="3053045" y="97127"/>
                </a:cubicBezTo>
                <a:cubicBezTo>
                  <a:pt x="3053045" y="91180"/>
                  <a:pt x="3057834" y="86390"/>
                  <a:pt x="3063781" y="86390"/>
                </a:cubicBezTo>
                <a:close/>
                <a:moveTo>
                  <a:pt x="3236891" y="85399"/>
                </a:moveTo>
                <a:cubicBezTo>
                  <a:pt x="3242838" y="85399"/>
                  <a:pt x="3247629" y="90188"/>
                  <a:pt x="3247629" y="96135"/>
                </a:cubicBezTo>
                <a:cubicBezTo>
                  <a:pt x="3247629" y="102081"/>
                  <a:pt x="3242838" y="106873"/>
                  <a:pt x="3236891" y="106873"/>
                </a:cubicBezTo>
                <a:cubicBezTo>
                  <a:pt x="3230944" y="106873"/>
                  <a:pt x="3226155" y="102081"/>
                  <a:pt x="3226155" y="96135"/>
                </a:cubicBezTo>
                <a:cubicBezTo>
                  <a:pt x="3226155" y="90188"/>
                  <a:pt x="3230944" y="85399"/>
                  <a:pt x="3236891" y="85399"/>
                </a:cubicBezTo>
                <a:close/>
                <a:moveTo>
                  <a:pt x="2287925" y="84904"/>
                </a:moveTo>
                <a:cubicBezTo>
                  <a:pt x="2293872" y="84904"/>
                  <a:pt x="2298663" y="89694"/>
                  <a:pt x="2298663" y="95641"/>
                </a:cubicBezTo>
                <a:cubicBezTo>
                  <a:pt x="2298663" y="101587"/>
                  <a:pt x="2293872" y="106377"/>
                  <a:pt x="2287925" y="106377"/>
                </a:cubicBezTo>
                <a:cubicBezTo>
                  <a:pt x="2281978" y="106377"/>
                  <a:pt x="2277188" y="101587"/>
                  <a:pt x="2277188" y="95641"/>
                </a:cubicBezTo>
                <a:cubicBezTo>
                  <a:pt x="2277188" y="89694"/>
                  <a:pt x="2281978" y="84904"/>
                  <a:pt x="2287925" y="84904"/>
                </a:cubicBezTo>
                <a:close/>
                <a:moveTo>
                  <a:pt x="2767612" y="83912"/>
                </a:moveTo>
                <a:cubicBezTo>
                  <a:pt x="2773558" y="83912"/>
                  <a:pt x="2778350" y="88702"/>
                  <a:pt x="2778350" y="94649"/>
                </a:cubicBezTo>
                <a:cubicBezTo>
                  <a:pt x="2778350" y="100595"/>
                  <a:pt x="2773558" y="105385"/>
                  <a:pt x="2767612" y="105385"/>
                </a:cubicBezTo>
                <a:cubicBezTo>
                  <a:pt x="2761665" y="105385"/>
                  <a:pt x="2756875" y="100595"/>
                  <a:pt x="2756875" y="94649"/>
                </a:cubicBezTo>
                <a:cubicBezTo>
                  <a:pt x="2756875" y="88702"/>
                  <a:pt x="2761665" y="83912"/>
                  <a:pt x="2767612" y="83912"/>
                </a:cubicBezTo>
                <a:close/>
                <a:moveTo>
                  <a:pt x="2628528" y="83912"/>
                </a:moveTo>
                <a:cubicBezTo>
                  <a:pt x="2634474" y="83912"/>
                  <a:pt x="2639266" y="88702"/>
                  <a:pt x="2639266" y="94649"/>
                </a:cubicBezTo>
                <a:cubicBezTo>
                  <a:pt x="2639266" y="100595"/>
                  <a:pt x="2634474" y="105385"/>
                  <a:pt x="2628528" y="105385"/>
                </a:cubicBezTo>
                <a:cubicBezTo>
                  <a:pt x="2622582" y="105385"/>
                  <a:pt x="2617792" y="100595"/>
                  <a:pt x="2617792" y="94649"/>
                </a:cubicBezTo>
                <a:cubicBezTo>
                  <a:pt x="2617792" y="88702"/>
                  <a:pt x="2622582" y="83912"/>
                  <a:pt x="2628528" y="83912"/>
                </a:cubicBezTo>
                <a:close/>
                <a:moveTo>
                  <a:pt x="3270754" y="83583"/>
                </a:moveTo>
                <a:cubicBezTo>
                  <a:pt x="3276701" y="83583"/>
                  <a:pt x="3281493" y="88373"/>
                  <a:pt x="3281493" y="94319"/>
                </a:cubicBezTo>
                <a:cubicBezTo>
                  <a:pt x="3281493" y="100266"/>
                  <a:pt x="3276701" y="105056"/>
                  <a:pt x="3270754" y="105056"/>
                </a:cubicBezTo>
                <a:cubicBezTo>
                  <a:pt x="3264808" y="105056"/>
                  <a:pt x="3260018" y="100266"/>
                  <a:pt x="3260018" y="94319"/>
                </a:cubicBezTo>
                <a:cubicBezTo>
                  <a:pt x="3260018" y="88373"/>
                  <a:pt x="3264808" y="83583"/>
                  <a:pt x="3270754" y="83583"/>
                </a:cubicBezTo>
                <a:close/>
                <a:moveTo>
                  <a:pt x="2226974" y="82426"/>
                </a:moveTo>
                <a:cubicBezTo>
                  <a:pt x="2227799" y="82426"/>
                  <a:pt x="2228462" y="83087"/>
                  <a:pt x="2228462" y="83912"/>
                </a:cubicBezTo>
                <a:cubicBezTo>
                  <a:pt x="2228462" y="84738"/>
                  <a:pt x="2227799" y="85399"/>
                  <a:pt x="2226974" y="85399"/>
                </a:cubicBezTo>
                <a:cubicBezTo>
                  <a:pt x="2226148" y="85399"/>
                  <a:pt x="2225487" y="84738"/>
                  <a:pt x="2225487" y="83912"/>
                </a:cubicBezTo>
                <a:cubicBezTo>
                  <a:pt x="2225487" y="83087"/>
                  <a:pt x="2226148" y="82426"/>
                  <a:pt x="2226974" y="82426"/>
                </a:cubicBezTo>
                <a:close/>
                <a:moveTo>
                  <a:pt x="2266946" y="82261"/>
                </a:moveTo>
                <a:cubicBezTo>
                  <a:pt x="2272893" y="82261"/>
                  <a:pt x="2277684" y="87051"/>
                  <a:pt x="2277684" y="92998"/>
                </a:cubicBezTo>
                <a:cubicBezTo>
                  <a:pt x="2277684" y="98944"/>
                  <a:pt x="2272893" y="103736"/>
                  <a:pt x="2266946" y="103736"/>
                </a:cubicBezTo>
                <a:cubicBezTo>
                  <a:pt x="2261000" y="103736"/>
                  <a:pt x="2256210" y="98944"/>
                  <a:pt x="2256210" y="92998"/>
                </a:cubicBezTo>
                <a:cubicBezTo>
                  <a:pt x="2256210" y="87051"/>
                  <a:pt x="2261000" y="82261"/>
                  <a:pt x="2266946" y="82261"/>
                </a:cubicBezTo>
                <a:close/>
                <a:moveTo>
                  <a:pt x="3435275" y="80444"/>
                </a:moveTo>
                <a:cubicBezTo>
                  <a:pt x="3441222" y="80444"/>
                  <a:pt x="3446012" y="85234"/>
                  <a:pt x="3446012" y="91180"/>
                </a:cubicBezTo>
                <a:lnTo>
                  <a:pt x="3440313" y="96880"/>
                </a:lnTo>
                <a:lnTo>
                  <a:pt x="3449811" y="106377"/>
                </a:lnTo>
                <a:lnTo>
                  <a:pt x="3444772" y="111415"/>
                </a:lnTo>
                <a:lnTo>
                  <a:pt x="3454766" y="121409"/>
                </a:lnTo>
                <a:cubicBezTo>
                  <a:pt x="3454766" y="127355"/>
                  <a:pt x="3449976" y="132145"/>
                  <a:pt x="3444029" y="132145"/>
                </a:cubicBezTo>
                <a:cubicBezTo>
                  <a:pt x="3438083" y="132145"/>
                  <a:pt x="3433293" y="127355"/>
                  <a:pt x="3433293" y="121409"/>
                </a:cubicBezTo>
                <a:lnTo>
                  <a:pt x="3438331" y="116371"/>
                </a:lnTo>
                <a:lnTo>
                  <a:pt x="3428337" y="106377"/>
                </a:lnTo>
                <a:lnTo>
                  <a:pt x="3434037" y="100678"/>
                </a:lnTo>
                <a:lnTo>
                  <a:pt x="3424539" y="91180"/>
                </a:lnTo>
                <a:cubicBezTo>
                  <a:pt x="3424539" y="85234"/>
                  <a:pt x="3429328" y="80444"/>
                  <a:pt x="3435275" y="80444"/>
                </a:cubicBezTo>
                <a:close/>
                <a:moveTo>
                  <a:pt x="3106068" y="80444"/>
                </a:moveTo>
                <a:cubicBezTo>
                  <a:pt x="3112014" y="80444"/>
                  <a:pt x="3116806" y="85234"/>
                  <a:pt x="3116806" y="91180"/>
                </a:cubicBezTo>
                <a:cubicBezTo>
                  <a:pt x="3116806" y="97127"/>
                  <a:pt x="3112014" y="101917"/>
                  <a:pt x="3106068" y="101917"/>
                </a:cubicBezTo>
                <a:cubicBezTo>
                  <a:pt x="3100121" y="101917"/>
                  <a:pt x="3095331" y="97127"/>
                  <a:pt x="3095331" y="91180"/>
                </a:cubicBezTo>
                <a:cubicBezTo>
                  <a:pt x="3095331" y="85234"/>
                  <a:pt x="3100121" y="80444"/>
                  <a:pt x="3106068" y="80444"/>
                </a:cubicBezTo>
                <a:close/>
                <a:moveTo>
                  <a:pt x="2590537" y="80279"/>
                </a:moveTo>
                <a:cubicBezTo>
                  <a:pt x="2596484" y="80279"/>
                  <a:pt x="2601275" y="85069"/>
                  <a:pt x="2601275" y="91016"/>
                </a:cubicBezTo>
                <a:cubicBezTo>
                  <a:pt x="2601275" y="96962"/>
                  <a:pt x="2596484" y="101754"/>
                  <a:pt x="2590537" y="101754"/>
                </a:cubicBezTo>
                <a:cubicBezTo>
                  <a:pt x="2584590" y="101754"/>
                  <a:pt x="2579801" y="96962"/>
                  <a:pt x="2579801" y="91016"/>
                </a:cubicBezTo>
                <a:cubicBezTo>
                  <a:pt x="2579801" y="85069"/>
                  <a:pt x="2584590" y="80279"/>
                  <a:pt x="2590537" y="80279"/>
                </a:cubicBezTo>
                <a:close/>
                <a:moveTo>
                  <a:pt x="3458069" y="78793"/>
                </a:moveTo>
                <a:cubicBezTo>
                  <a:pt x="3464016" y="78793"/>
                  <a:pt x="3468808" y="83583"/>
                  <a:pt x="3468808" y="89529"/>
                </a:cubicBezTo>
                <a:cubicBezTo>
                  <a:pt x="3468808" y="95476"/>
                  <a:pt x="3464016" y="100266"/>
                  <a:pt x="3458069" y="100266"/>
                </a:cubicBezTo>
                <a:cubicBezTo>
                  <a:pt x="3452123" y="100266"/>
                  <a:pt x="3447333" y="95476"/>
                  <a:pt x="3447333" y="89529"/>
                </a:cubicBezTo>
                <a:cubicBezTo>
                  <a:pt x="3447333" y="83583"/>
                  <a:pt x="3452123" y="78793"/>
                  <a:pt x="3458069" y="78793"/>
                </a:cubicBezTo>
                <a:close/>
                <a:moveTo>
                  <a:pt x="2246630" y="78297"/>
                </a:moveTo>
                <a:cubicBezTo>
                  <a:pt x="2252577" y="78297"/>
                  <a:pt x="2257368" y="83087"/>
                  <a:pt x="2257368" y="89033"/>
                </a:cubicBezTo>
                <a:cubicBezTo>
                  <a:pt x="2257368" y="94980"/>
                  <a:pt x="2252577" y="99771"/>
                  <a:pt x="2246630" y="99771"/>
                </a:cubicBezTo>
                <a:cubicBezTo>
                  <a:pt x="2240684" y="99771"/>
                  <a:pt x="2235894" y="94980"/>
                  <a:pt x="2235894" y="89033"/>
                </a:cubicBezTo>
                <a:cubicBezTo>
                  <a:pt x="2235894" y="83087"/>
                  <a:pt x="2240684" y="78297"/>
                  <a:pt x="2246630" y="78297"/>
                </a:cubicBezTo>
                <a:close/>
                <a:moveTo>
                  <a:pt x="2555023" y="77966"/>
                </a:moveTo>
                <a:cubicBezTo>
                  <a:pt x="2560969" y="77966"/>
                  <a:pt x="2565761" y="82756"/>
                  <a:pt x="2565761" y="88702"/>
                </a:cubicBezTo>
                <a:cubicBezTo>
                  <a:pt x="2565761" y="94649"/>
                  <a:pt x="2560969" y="99440"/>
                  <a:pt x="2555023" y="99440"/>
                </a:cubicBezTo>
                <a:cubicBezTo>
                  <a:pt x="2549076" y="99440"/>
                  <a:pt x="2544286" y="94649"/>
                  <a:pt x="2544286" y="88702"/>
                </a:cubicBezTo>
                <a:cubicBezTo>
                  <a:pt x="2544286" y="82756"/>
                  <a:pt x="2549076" y="77966"/>
                  <a:pt x="2555023" y="77966"/>
                </a:cubicBezTo>
                <a:close/>
                <a:moveTo>
                  <a:pt x="2723674" y="77305"/>
                </a:moveTo>
                <a:cubicBezTo>
                  <a:pt x="2729620" y="77305"/>
                  <a:pt x="2734410" y="82095"/>
                  <a:pt x="2734410" y="88041"/>
                </a:cubicBezTo>
                <a:cubicBezTo>
                  <a:pt x="2734410" y="93988"/>
                  <a:pt x="2729620" y="98778"/>
                  <a:pt x="2723674" y="98778"/>
                </a:cubicBezTo>
                <a:cubicBezTo>
                  <a:pt x="2717728" y="98778"/>
                  <a:pt x="2712938" y="93988"/>
                  <a:pt x="2712938" y="88041"/>
                </a:cubicBezTo>
                <a:cubicBezTo>
                  <a:pt x="2712938" y="82095"/>
                  <a:pt x="2717728" y="77305"/>
                  <a:pt x="2723674" y="77305"/>
                </a:cubicBezTo>
                <a:close/>
                <a:moveTo>
                  <a:pt x="2521822" y="76480"/>
                </a:moveTo>
                <a:cubicBezTo>
                  <a:pt x="2527768" y="76480"/>
                  <a:pt x="2532560" y="81269"/>
                  <a:pt x="2532560" y="87216"/>
                </a:cubicBezTo>
                <a:cubicBezTo>
                  <a:pt x="2532560" y="93162"/>
                  <a:pt x="2527768" y="97954"/>
                  <a:pt x="2521822" y="97954"/>
                </a:cubicBezTo>
                <a:cubicBezTo>
                  <a:pt x="2515875" y="97954"/>
                  <a:pt x="2511085" y="93162"/>
                  <a:pt x="2511085" y="87216"/>
                </a:cubicBezTo>
                <a:cubicBezTo>
                  <a:pt x="2511085" y="81269"/>
                  <a:pt x="2515875" y="76480"/>
                  <a:pt x="2521822" y="76480"/>
                </a:cubicBezTo>
                <a:close/>
                <a:moveTo>
                  <a:pt x="3145382" y="76315"/>
                </a:moveTo>
                <a:cubicBezTo>
                  <a:pt x="3151328" y="76315"/>
                  <a:pt x="3156120" y="81105"/>
                  <a:pt x="3156120" y="87051"/>
                </a:cubicBezTo>
                <a:cubicBezTo>
                  <a:pt x="3156120" y="92998"/>
                  <a:pt x="3151328" y="97787"/>
                  <a:pt x="3145382" y="97787"/>
                </a:cubicBezTo>
                <a:cubicBezTo>
                  <a:pt x="3139435" y="97787"/>
                  <a:pt x="3134645" y="92998"/>
                  <a:pt x="3134645" y="87051"/>
                </a:cubicBezTo>
                <a:cubicBezTo>
                  <a:pt x="3134645" y="81105"/>
                  <a:pt x="3139435" y="76315"/>
                  <a:pt x="3145382" y="76315"/>
                </a:cubicBezTo>
                <a:close/>
                <a:moveTo>
                  <a:pt x="3479873" y="76148"/>
                </a:moveTo>
                <a:cubicBezTo>
                  <a:pt x="3485820" y="76148"/>
                  <a:pt x="3490611" y="80938"/>
                  <a:pt x="3490611" y="86885"/>
                </a:cubicBezTo>
                <a:cubicBezTo>
                  <a:pt x="3490611" y="92831"/>
                  <a:pt x="3485820" y="97623"/>
                  <a:pt x="3479873" y="97623"/>
                </a:cubicBezTo>
                <a:cubicBezTo>
                  <a:pt x="3473927" y="97623"/>
                  <a:pt x="3469137" y="92831"/>
                  <a:pt x="3469137" y="86885"/>
                </a:cubicBezTo>
                <a:cubicBezTo>
                  <a:pt x="3469137" y="80938"/>
                  <a:pt x="3473927" y="76148"/>
                  <a:pt x="3479873" y="76148"/>
                </a:cubicBezTo>
                <a:close/>
                <a:moveTo>
                  <a:pt x="3182382" y="73672"/>
                </a:moveTo>
                <a:cubicBezTo>
                  <a:pt x="3188329" y="73672"/>
                  <a:pt x="3193120" y="78462"/>
                  <a:pt x="3193120" y="84408"/>
                </a:cubicBezTo>
                <a:cubicBezTo>
                  <a:pt x="3193120" y="90355"/>
                  <a:pt x="3188329" y="95146"/>
                  <a:pt x="3182382" y="95146"/>
                </a:cubicBezTo>
                <a:cubicBezTo>
                  <a:pt x="3176436" y="95146"/>
                  <a:pt x="3171646" y="90355"/>
                  <a:pt x="3171646" y="84408"/>
                </a:cubicBezTo>
                <a:cubicBezTo>
                  <a:pt x="3171646" y="78462"/>
                  <a:pt x="3176436" y="73672"/>
                  <a:pt x="3182382" y="73672"/>
                </a:cubicBezTo>
                <a:close/>
                <a:moveTo>
                  <a:pt x="2682378" y="72515"/>
                </a:moveTo>
                <a:cubicBezTo>
                  <a:pt x="2688324" y="72515"/>
                  <a:pt x="2693114" y="77305"/>
                  <a:pt x="2693114" y="83252"/>
                </a:cubicBezTo>
                <a:cubicBezTo>
                  <a:pt x="2693114" y="89198"/>
                  <a:pt x="2688324" y="93988"/>
                  <a:pt x="2682378" y="93988"/>
                </a:cubicBezTo>
                <a:cubicBezTo>
                  <a:pt x="2676431" y="93988"/>
                  <a:pt x="2671642" y="89198"/>
                  <a:pt x="2671642" y="83252"/>
                </a:cubicBezTo>
                <a:cubicBezTo>
                  <a:pt x="2671642" y="77305"/>
                  <a:pt x="2676431" y="72515"/>
                  <a:pt x="2682378" y="72515"/>
                </a:cubicBezTo>
                <a:close/>
                <a:moveTo>
                  <a:pt x="3500852" y="72350"/>
                </a:moveTo>
                <a:lnTo>
                  <a:pt x="3503192" y="74690"/>
                </a:lnTo>
                <a:lnTo>
                  <a:pt x="3503192" y="91485"/>
                </a:lnTo>
                <a:lnTo>
                  <a:pt x="3500852" y="93825"/>
                </a:lnTo>
                <a:cubicBezTo>
                  <a:pt x="3494905" y="93825"/>
                  <a:pt x="3490115" y="89033"/>
                  <a:pt x="3490115" y="83087"/>
                </a:cubicBezTo>
                <a:cubicBezTo>
                  <a:pt x="3490115" y="77140"/>
                  <a:pt x="3494905" y="72350"/>
                  <a:pt x="3500852" y="72350"/>
                </a:cubicBezTo>
                <a:close/>
                <a:moveTo>
                  <a:pt x="2358458" y="72019"/>
                </a:moveTo>
                <a:cubicBezTo>
                  <a:pt x="2364404" y="72019"/>
                  <a:pt x="2369194" y="76809"/>
                  <a:pt x="2369194" y="82756"/>
                </a:cubicBezTo>
                <a:lnTo>
                  <a:pt x="2360110" y="91841"/>
                </a:lnTo>
                <a:lnTo>
                  <a:pt x="2367049" y="98779"/>
                </a:lnTo>
                <a:lnTo>
                  <a:pt x="2358293" y="107534"/>
                </a:lnTo>
                <a:lnTo>
                  <a:pt x="2363745" y="112984"/>
                </a:lnTo>
                <a:cubicBezTo>
                  <a:pt x="2363745" y="118931"/>
                  <a:pt x="2358954" y="123722"/>
                  <a:pt x="2353007" y="123722"/>
                </a:cubicBezTo>
                <a:cubicBezTo>
                  <a:pt x="2347061" y="123722"/>
                  <a:pt x="2342271" y="118931"/>
                  <a:pt x="2342271" y="112984"/>
                </a:cubicBezTo>
                <a:lnTo>
                  <a:pt x="2351025" y="104230"/>
                </a:lnTo>
                <a:lnTo>
                  <a:pt x="2345574" y="98779"/>
                </a:lnTo>
                <a:lnTo>
                  <a:pt x="2354660" y="89694"/>
                </a:lnTo>
                <a:lnTo>
                  <a:pt x="2347722" y="82756"/>
                </a:lnTo>
                <a:cubicBezTo>
                  <a:pt x="2347722" y="76809"/>
                  <a:pt x="2352511" y="72019"/>
                  <a:pt x="2358458" y="72019"/>
                </a:cubicBezTo>
                <a:close/>
                <a:moveTo>
                  <a:pt x="3217069" y="71854"/>
                </a:moveTo>
                <a:cubicBezTo>
                  <a:pt x="3223016" y="71854"/>
                  <a:pt x="3227808" y="76644"/>
                  <a:pt x="3227808" y="82591"/>
                </a:cubicBezTo>
                <a:cubicBezTo>
                  <a:pt x="3227808" y="88537"/>
                  <a:pt x="3223016" y="93327"/>
                  <a:pt x="3217069" y="93327"/>
                </a:cubicBezTo>
                <a:cubicBezTo>
                  <a:pt x="3211123" y="93327"/>
                  <a:pt x="3206333" y="88537"/>
                  <a:pt x="3206333" y="82591"/>
                </a:cubicBezTo>
                <a:cubicBezTo>
                  <a:pt x="3206333" y="76644"/>
                  <a:pt x="3211123" y="71854"/>
                  <a:pt x="3217069" y="71854"/>
                </a:cubicBezTo>
                <a:close/>
                <a:moveTo>
                  <a:pt x="3249445" y="71029"/>
                </a:moveTo>
                <a:cubicBezTo>
                  <a:pt x="3255392" y="71029"/>
                  <a:pt x="3260181" y="75819"/>
                  <a:pt x="3260181" y="81765"/>
                </a:cubicBezTo>
                <a:cubicBezTo>
                  <a:pt x="3260181" y="87712"/>
                  <a:pt x="3255392" y="92503"/>
                  <a:pt x="3249445" y="92503"/>
                </a:cubicBezTo>
                <a:cubicBezTo>
                  <a:pt x="3243498" y="92503"/>
                  <a:pt x="3238708" y="87712"/>
                  <a:pt x="3238708" y="81765"/>
                </a:cubicBezTo>
                <a:cubicBezTo>
                  <a:pt x="3238708" y="75819"/>
                  <a:pt x="3243498" y="71029"/>
                  <a:pt x="3249445" y="71029"/>
                </a:cubicBezTo>
                <a:close/>
                <a:moveTo>
                  <a:pt x="2643891" y="69376"/>
                </a:moveTo>
                <a:cubicBezTo>
                  <a:pt x="2649838" y="69376"/>
                  <a:pt x="2654629" y="74166"/>
                  <a:pt x="2654629" y="80113"/>
                </a:cubicBezTo>
                <a:cubicBezTo>
                  <a:pt x="2654629" y="86059"/>
                  <a:pt x="2649838" y="90849"/>
                  <a:pt x="2643891" y="90849"/>
                </a:cubicBezTo>
                <a:cubicBezTo>
                  <a:pt x="2637944" y="90849"/>
                  <a:pt x="2633155" y="86059"/>
                  <a:pt x="2633155" y="80113"/>
                </a:cubicBezTo>
                <a:cubicBezTo>
                  <a:pt x="2633155" y="74166"/>
                  <a:pt x="2637944" y="69376"/>
                  <a:pt x="2643891" y="69376"/>
                </a:cubicBezTo>
                <a:close/>
                <a:moveTo>
                  <a:pt x="2335662" y="69376"/>
                </a:moveTo>
                <a:cubicBezTo>
                  <a:pt x="2341608" y="69376"/>
                  <a:pt x="2346400" y="74166"/>
                  <a:pt x="2346400" y="80113"/>
                </a:cubicBezTo>
                <a:cubicBezTo>
                  <a:pt x="2346400" y="86059"/>
                  <a:pt x="2341608" y="90849"/>
                  <a:pt x="2335662" y="90849"/>
                </a:cubicBezTo>
                <a:cubicBezTo>
                  <a:pt x="2329716" y="90849"/>
                  <a:pt x="2324926" y="86059"/>
                  <a:pt x="2324926" y="80113"/>
                </a:cubicBezTo>
                <a:cubicBezTo>
                  <a:pt x="2324926" y="74166"/>
                  <a:pt x="2329716" y="69376"/>
                  <a:pt x="2335662" y="69376"/>
                </a:cubicBezTo>
                <a:close/>
                <a:moveTo>
                  <a:pt x="3362264" y="68220"/>
                </a:moveTo>
                <a:cubicBezTo>
                  <a:pt x="3368211" y="68220"/>
                  <a:pt x="3373002" y="73009"/>
                  <a:pt x="3373002" y="78956"/>
                </a:cubicBezTo>
                <a:lnTo>
                  <a:pt x="3365074" y="86885"/>
                </a:lnTo>
                <a:lnTo>
                  <a:pt x="3370855" y="92666"/>
                </a:lnTo>
                <a:lnTo>
                  <a:pt x="3362760" y="100762"/>
                </a:lnTo>
                <a:lnTo>
                  <a:pt x="3368707" y="106708"/>
                </a:lnTo>
                <a:cubicBezTo>
                  <a:pt x="3368707" y="112655"/>
                  <a:pt x="3363915" y="117444"/>
                  <a:pt x="3357968" y="117444"/>
                </a:cubicBezTo>
                <a:cubicBezTo>
                  <a:pt x="3352022" y="117444"/>
                  <a:pt x="3347232" y="112655"/>
                  <a:pt x="3347232" y="106708"/>
                </a:cubicBezTo>
                <a:lnTo>
                  <a:pt x="3355328" y="98613"/>
                </a:lnTo>
                <a:lnTo>
                  <a:pt x="3349381" y="92666"/>
                </a:lnTo>
                <a:lnTo>
                  <a:pt x="3357310" y="84738"/>
                </a:lnTo>
                <a:lnTo>
                  <a:pt x="3351528" y="78956"/>
                </a:lnTo>
                <a:cubicBezTo>
                  <a:pt x="3351528" y="73009"/>
                  <a:pt x="3356318" y="68220"/>
                  <a:pt x="3362264" y="68220"/>
                </a:cubicBezTo>
                <a:close/>
                <a:moveTo>
                  <a:pt x="2607716" y="67229"/>
                </a:moveTo>
                <a:cubicBezTo>
                  <a:pt x="2613662" y="67229"/>
                  <a:pt x="2618454" y="72019"/>
                  <a:pt x="2618454" y="77966"/>
                </a:cubicBezTo>
                <a:cubicBezTo>
                  <a:pt x="2618454" y="83912"/>
                  <a:pt x="2613662" y="88704"/>
                  <a:pt x="2607716" y="88704"/>
                </a:cubicBezTo>
                <a:cubicBezTo>
                  <a:pt x="2601770" y="88704"/>
                  <a:pt x="2596980" y="83912"/>
                  <a:pt x="2596980" y="77966"/>
                </a:cubicBezTo>
                <a:cubicBezTo>
                  <a:pt x="2596980" y="72019"/>
                  <a:pt x="2601770" y="67229"/>
                  <a:pt x="2607716" y="67229"/>
                </a:cubicBezTo>
                <a:close/>
                <a:moveTo>
                  <a:pt x="2292385" y="66900"/>
                </a:moveTo>
                <a:cubicBezTo>
                  <a:pt x="2294848" y="66900"/>
                  <a:pt x="2296846" y="68896"/>
                  <a:pt x="2296846" y="71360"/>
                </a:cubicBezTo>
                <a:cubicBezTo>
                  <a:pt x="2296846" y="73823"/>
                  <a:pt x="2294848" y="75819"/>
                  <a:pt x="2292385" y="75819"/>
                </a:cubicBezTo>
                <a:cubicBezTo>
                  <a:pt x="2289921" y="75819"/>
                  <a:pt x="2287925" y="73823"/>
                  <a:pt x="2287925" y="71360"/>
                </a:cubicBezTo>
                <a:cubicBezTo>
                  <a:pt x="2287925" y="68896"/>
                  <a:pt x="2289921" y="66900"/>
                  <a:pt x="2292385" y="66900"/>
                </a:cubicBezTo>
                <a:close/>
                <a:moveTo>
                  <a:pt x="3387040" y="66404"/>
                </a:moveTo>
                <a:cubicBezTo>
                  <a:pt x="3392987" y="66404"/>
                  <a:pt x="3397778" y="71194"/>
                  <a:pt x="3397778" y="77140"/>
                </a:cubicBezTo>
                <a:lnTo>
                  <a:pt x="3389850" y="85069"/>
                </a:lnTo>
                <a:lnTo>
                  <a:pt x="3397284" y="92502"/>
                </a:lnTo>
                <a:lnTo>
                  <a:pt x="3390510" y="99275"/>
                </a:lnTo>
                <a:lnTo>
                  <a:pt x="3397447" y="106212"/>
                </a:lnTo>
                <a:lnTo>
                  <a:pt x="3388528" y="115133"/>
                </a:lnTo>
                <a:lnTo>
                  <a:pt x="3397447" y="124052"/>
                </a:lnTo>
                <a:cubicBezTo>
                  <a:pt x="3397447" y="129998"/>
                  <a:pt x="3392658" y="134788"/>
                  <a:pt x="3386711" y="134788"/>
                </a:cubicBezTo>
                <a:cubicBezTo>
                  <a:pt x="3380764" y="134788"/>
                  <a:pt x="3375974" y="129998"/>
                  <a:pt x="3375974" y="124052"/>
                </a:cubicBezTo>
                <a:lnTo>
                  <a:pt x="3384894" y="115133"/>
                </a:lnTo>
                <a:lnTo>
                  <a:pt x="3375974" y="106212"/>
                </a:lnTo>
                <a:lnTo>
                  <a:pt x="3382748" y="99440"/>
                </a:lnTo>
                <a:lnTo>
                  <a:pt x="3375810" y="92502"/>
                </a:lnTo>
                <a:lnTo>
                  <a:pt x="3383738" y="84575"/>
                </a:lnTo>
                <a:lnTo>
                  <a:pt x="3376304" y="77140"/>
                </a:lnTo>
                <a:cubicBezTo>
                  <a:pt x="3376304" y="71194"/>
                  <a:pt x="3381094" y="66404"/>
                  <a:pt x="3387040" y="66404"/>
                </a:cubicBezTo>
                <a:close/>
                <a:moveTo>
                  <a:pt x="3093184" y="66239"/>
                </a:moveTo>
                <a:cubicBezTo>
                  <a:pt x="3099131" y="66239"/>
                  <a:pt x="3103922" y="71029"/>
                  <a:pt x="3103922" y="76976"/>
                </a:cubicBezTo>
                <a:cubicBezTo>
                  <a:pt x="3103922" y="82922"/>
                  <a:pt x="3099131" y="87714"/>
                  <a:pt x="3093184" y="87714"/>
                </a:cubicBezTo>
                <a:cubicBezTo>
                  <a:pt x="3087238" y="87714"/>
                  <a:pt x="3082448" y="82922"/>
                  <a:pt x="3082448" y="76976"/>
                </a:cubicBezTo>
                <a:cubicBezTo>
                  <a:pt x="3082448" y="71029"/>
                  <a:pt x="3087238" y="66239"/>
                  <a:pt x="3093184" y="66239"/>
                </a:cubicBezTo>
                <a:close/>
                <a:moveTo>
                  <a:pt x="2573690" y="65908"/>
                </a:moveTo>
                <a:cubicBezTo>
                  <a:pt x="2579636" y="65908"/>
                  <a:pt x="2584428" y="70698"/>
                  <a:pt x="2584428" y="76644"/>
                </a:cubicBezTo>
                <a:cubicBezTo>
                  <a:pt x="2584428" y="82591"/>
                  <a:pt x="2579636" y="87382"/>
                  <a:pt x="2573690" y="87382"/>
                </a:cubicBezTo>
                <a:cubicBezTo>
                  <a:pt x="2567743" y="87382"/>
                  <a:pt x="2562953" y="82591"/>
                  <a:pt x="2562953" y="76644"/>
                </a:cubicBezTo>
                <a:cubicBezTo>
                  <a:pt x="2562953" y="70698"/>
                  <a:pt x="2567743" y="65908"/>
                  <a:pt x="2573690" y="65908"/>
                </a:cubicBezTo>
                <a:close/>
                <a:moveTo>
                  <a:pt x="2313693" y="65579"/>
                </a:moveTo>
                <a:cubicBezTo>
                  <a:pt x="2319640" y="65579"/>
                  <a:pt x="2324431" y="70368"/>
                  <a:pt x="2324431" y="76315"/>
                </a:cubicBezTo>
                <a:cubicBezTo>
                  <a:pt x="2324431" y="82261"/>
                  <a:pt x="2319640" y="87053"/>
                  <a:pt x="2313693" y="87053"/>
                </a:cubicBezTo>
                <a:cubicBezTo>
                  <a:pt x="2307747" y="87053"/>
                  <a:pt x="2302957" y="82261"/>
                  <a:pt x="2302957" y="76315"/>
                </a:cubicBezTo>
                <a:cubicBezTo>
                  <a:pt x="2302957" y="70368"/>
                  <a:pt x="2307747" y="65579"/>
                  <a:pt x="2313693" y="65579"/>
                </a:cubicBezTo>
                <a:close/>
                <a:moveTo>
                  <a:pt x="2541808" y="65083"/>
                </a:moveTo>
                <a:cubicBezTo>
                  <a:pt x="2547755" y="65083"/>
                  <a:pt x="2552546" y="69872"/>
                  <a:pt x="2552546" y="75819"/>
                </a:cubicBezTo>
                <a:cubicBezTo>
                  <a:pt x="2552546" y="81765"/>
                  <a:pt x="2547755" y="86557"/>
                  <a:pt x="2541808" y="86557"/>
                </a:cubicBezTo>
                <a:cubicBezTo>
                  <a:pt x="2535862" y="86557"/>
                  <a:pt x="2531072" y="81765"/>
                  <a:pt x="2531072" y="75819"/>
                </a:cubicBezTo>
                <a:cubicBezTo>
                  <a:pt x="2531072" y="69872"/>
                  <a:pt x="2535862" y="65083"/>
                  <a:pt x="2541808" y="65083"/>
                </a:cubicBezTo>
                <a:close/>
                <a:moveTo>
                  <a:pt x="2511580" y="64257"/>
                </a:moveTo>
                <a:cubicBezTo>
                  <a:pt x="2517526" y="64257"/>
                  <a:pt x="2522318" y="69047"/>
                  <a:pt x="2522318" y="74993"/>
                </a:cubicBezTo>
                <a:cubicBezTo>
                  <a:pt x="2522318" y="80940"/>
                  <a:pt x="2517526" y="85730"/>
                  <a:pt x="2511580" y="85730"/>
                </a:cubicBezTo>
                <a:cubicBezTo>
                  <a:pt x="2505633" y="85730"/>
                  <a:pt x="2500843" y="80940"/>
                  <a:pt x="2500843" y="74993"/>
                </a:cubicBezTo>
                <a:cubicBezTo>
                  <a:pt x="2500843" y="69047"/>
                  <a:pt x="2505633" y="64257"/>
                  <a:pt x="2511580" y="64257"/>
                </a:cubicBezTo>
                <a:close/>
                <a:moveTo>
                  <a:pt x="3410662" y="63761"/>
                </a:moveTo>
                <a:cubicBezTo>
                  <a:pt x="3416608" y="63761"/>
                  <a:pt x="3421400" y="68551"/>
                  <a:pt x="3421400" y="74497"/>
                </a:cubicBezTo>
                <a:lnTo>
                  <a:pt x="3412975" y="82922"/>
                </a:lnTo>
                <a:lnTo>
                  <a:pt x="3422226" y="92172"/>
                </a:lnTo>
                <a:lnTo>
                  <a:pt x="3416362" y="98037"/>
                </a:lnTo>
                <a:lnTo>
                  <a:pt x="3424539" y="106212"/>
                </a:lnTo>
                <a:lnTo>
                  <a:pt x="3417848" y="112903"/>
                </a:lnTo>
                <a:lnTo>
                  <a:pt x="3427182" y="122234"/>
                </a:lnTo>
                <a:cubicBezTo>
                  <a:pt x="3427182" y="128181"/>
                  <a:pt x="3422390" y="132972"/>
                  <a:pt x="3416444" y="132972"/>
                </a:cubicBezTo>
                <a:cubicBezTo>
                  <a:pt x="3410497" y="132972"/>
                  <a:pt x="3405707" y="128181"/>
                  <a:pt x="3405707" y="122234"/>
                </a:cubicBezTo>
                <a:lnTo>
                  <a:pt x="3412396" y="115546"/>
                </a:lnTo>
                <a:lnTo>
                  <a:pt x="3403064" y="106212"/>
                </a:lnTo>
                <a:lnTo>
                  <a:pt x="3408928" y="100349"/>
                </a:lnTo>
                <a:lnTo>
                  <a:pt x="3400753" y="92172"/>
                </a:lnTo>
                <a:lnTo>
                  <a:pt x="3409176" y="83749"/>
                </a:lnTo>
                <a:lnTo>
                  <a:pt x="3399926" y="74497"/>
                </a:lnTo>
                <a:cubicBezTo>
                  <a:pt x="3399926" y="68551"/>
                  <a:pt x="3404715" y="63761"/>
                  <a:pt x="3410662" y="63761"/>
                </a:cubicBezTo>
                <a:close/>
                <a:moveTo>
                  <a:pt x="3130681" y="63596"/>
                </a:moveTo>
                <a:cubicBezTo>
                  <a:pt x="3136612" y="63596"/>
                  <a:pt x="3141417" y="68403"/>
                  <a:pt x="3141417" y="74333"/>
                </a:cubicBezTo>
                <a:cubicBezTo>
                  <a:pt x="3141417" y="80264"/>
                  <a:pt x="3136612" y="85069"/>
                  <a:pt x="3130681" y="85069"/>
                </a:cubicBezTo>
                <a:cubicBezTo>
                  <a:pt x="3124752" y="85069"/>
                  <a:pt x="3119944" y="80264"/>
                  <a:pt x="3119944" y="74333"/>
                </a:cubicBezTo>
                <a:cubicBezTo>
                  <a:pt x="3119944" y="68403"/>
                  <a:pt x="3124752" y="63596"/>
                  <a:pt x="3130681" y="63596"/>
                </a:cubicBezTo>
                <a:close/>
                <a:moveTo>
                  <a:pt x="2483004" y="63430"/>
                </a:moveTo>
                <a:cubicBezTo>
                  <a:pt x="2488950" y="63430"/>
                  <a:pt x="2493742" y="68220"/>
                  <a:pt x="2493742" y="74166"/>
                </a:cubicBezTo>
                <a:lnTo>
                  <a:pt x="2491347" y="76563"/>
                </a:lnTo>
                <a:lnTo>
                  <a:pt x="2501339" y="86555"/>
                </a:lnTo>
                <a:cubicBezTo>
                  <a:pt x="2501339" y="92502"/>
                  <a:pt x="2496549" y="97293"/>
                  <a:pt x="2490603" y="97293"/>
                </a:cubicBezTo>
                <a:cubicBezTo>
                  <a:pt x="2484656" y="97293"/>
                  <a:pt x="2479866" y="92502"/>
                  <a:pt x="2479866" y="86555"/>
                </a:cubicBezTo>
                <a:lnTo>
                  <a:pt x="2482262" y="84162"/>
                </a:lnTo>
                <a:lnTo>
                  <a:pt x="2472267" y="74166"/>
                </a:lnTo>
                <a:cubicBezTo>
                  <a:pt x="2472267" y="68220"/>
                  <a:pt x="2477057" y="63430"/>
                  <a:pt x="2483004" y="63430"/>
                </a:cubicBezTo>
                <a:close/>
                <a:moveTo>
                  <a:pt x="2455914" y="62273"/>
                </a:moveTo>
                <a:cubicBezTo>
                  <a:pt x="2461860" y="62273"/>
                  <a:pt x="2466652" y="67063"/>
                  <a:pt x="2466652" y="73009"/>
                </a:cubicBezTo>
                <a:lnTo>
                  <a:pt x="2462688" y="76976"/>
                </a:lnTo>
                <a:lnTo>
                  <a:pt x="2471936" y="86224"/>
                </a:lnTo>
                <a:lnTo>
                  <a:pt x="2468136" y="90024"/>
                </a:lnTo>
                <a:lnTo>
                  <a:pt x="2477882" y="99770"/>
                </a:lnTo>
                <a:cubicBezTo>
                  <a:pt x="2477882" y="105716"/>
                  <a:pt x="2473093" y="110506"/>
                  <a:pt x="2467146" y="110506"/>
                </a:cubicBezTo>
                <a:cubicBezTo>
                  <a:pt x="2461200" y="110506"/>
                  <a:pt x="2456410" y="105716"/>
                  <a:pt x="2456410" y="99770"/>
                </a:cubicBezTo>
                <a:lnTo>
                  <a:pt x="2460210" y="95972"/>
                </a:lnTo>
                <a:lnTo>
                  <a:pt x="2450463" y="86224"/>
                </a:lnTo>
                <a:lnTo>
                  <a:pt x="2454428" y="82261"/>
                </a:lnTo>
                <a:lnTo>
                  <a:pt x="2445178" y="73009"/>
                </a:lnTo>
                <a:cubicBezTo>
                  <a:pt x="2445178" y="67063"/>
                  <a:pt x="2449967" y="62273"/>
                  <a:pt x="2455914" y="62273"/>
                </a:cubicBezTo>
                <a:close/>
                <a:moveTo>
                  <a:pt x="3166029" y="62108"/>
                </a:moveTo>
                <a:cubicBezTo>
                  <a:pt x="3171975" y="62108"/>
                  <a:pt x="3176767" y="66898"/>
                  <a:pt x="3176767" y="72845"/>
                </a:cubicBezTo>
                <a:cubicBezTo>
                  <a:pt x="3176767" y="78791"/>
                  <a:pt x="3171975" y="83583"/>
                  <a:pt x="3166029" y="83583"/>
                </a:cubicBezTo>
                <a:cubicBezTo>
                  <a:pt x="3160082" y="83583"/>
                  <a:pt x="3155292" y="78791"/>
                  <a:pt x="3155292" y="72845"/>
                </a:cubicBezTo>
                <a:cubicBezTo>
                  <a:pt x="3155292" y="66898"/>
                  <a:pt x="3160082" y="62108"/>
                  <a:pt x="3166029" y="62108"/>
                </a:cubicBezTo>
                <a:close/>
                <a:moveTo>
                  <a:pt x="3199230" y="60953"/>
                </a:moveTo>
                <a:cubicBezTo>
                  <a:pt x="3205176" y="60953"/>
                  <a:pt x="3209968" y="65743"/>
                  <a:pt x="3209968" y="71690"/>
                </a:cubicBezTo>
                <a:cubicBezTo>
                  <a:pt x="3209968" y="77636"/>
                  <a:pt x="3205176" y="82428"/>
                  <a:pt x="3199230" y="82428"/>
                </a:cubicBezTo>
                <a:cubicBezTo>
                  <a:pt x="3193283" y="82428"/>
                  <a:pt x="3188494" y="77636"/>
                  <a:pt x="3188494" y="71690"/>
                </a:cubicBezTo>
                <a:cubicBezTo>
                  <a:pt x="3188494" y="65743"/>
                  <a:pt x="3193283" y="60953"/>
                  <a:pt x="3199230" y="60953"/>
                </a:cubicBezTo>
                <a:close/>
                <a:moveTo>
                  <a:pt x="2429981" y="60457"/>
                </a:moveTo>
                <a:cubicBezTo>
                  <a:pt x="2435928" y="60457"/>
                  <a:pt x="2440717" y="65247"/>
                  <a:pt x="2440717" y="71194"/>
                </a:cubicBezTo>
                <a:lnTo>
                  <a:pt x="2435102" y="76811"/>
                </a:lnTo>
                <a:lnTo>
                  <a:pt x="2444187" y="85894"/>
                </a:lnTo>
                <a:lnTo>
                  <a:pt x="2439398" y="90686"/>
                </a:lnTo>
                <a:lnTo>
                  <a:pt x="2447656" y="98944"/>
                </a:lnTo>
                <a:cubicBezTo>
                  <a:pt x="2447656" y="104891"/>
                  <a:pt x="2442866" y="109682"/>
                  <a:pt x="2436919" y="109682"/>
                </a:cubicBezTo>
                <a:cubicBezTo>
                  <a:pt x="2430973" y="109682"/>
                  <a:pt x="2426183" y="104891"/>
                  <a:pt x="2426183" y="98944"/>
                </a:cubicBezTo>
                <a:lnTo>
                  <a:pt x="2430973" y="94156"/>
                </a:lnTo>
                <a:lnTo>
                  <a:pt x="2422713" y="85894"/>
                </a:lnTo>
                <a:lnTo>
                  <a:pt x="2428330" y="80279"/>
                </a:lnTo>
                <a:lnTo>
                  <a:pt x="2419244" y="71194"/>
                </a:lnTo>
                <a:cubicBezTo>
                  <a:pt x="2419244" y="65247"/>
                  <a:pt x="2424034" y="60457"/>
                  <a:pt x="2429981" y="60457"/>
                </a:cubicBezTo>
                <a:close/>
                <a:moveTo>
                  <a:pt x="3433458" y="60126"/>
                </a:moveTo>
                <a:cubicBezTo>
                  <a:pt x="3439404" y="60126"/>
                  <a:pt x="3444194" y="64916"/>
                  <a:pt x="3444194" y="70863"/>
                </a:cubicBezTo>
                <a:cubicBezTo>
                  <a:pt x="3444194" y="76809"/>
                  <a:pt x="3439404" y="81599"/>
                  <a:pt x="3433458" y="81599"/>
                </a:cubicBezTo>
                <a:cubicBezTo>
                  <a:pt x="3427511" y="81599"/>
                  <a:pt x="3422721" y="76809"/>
                  <a:pt x="3422721" y="70863"/>
                </a:cubicBezTo>
                <a:cubicBezTo>
                  <a:pt x="3422721" y="64916"/>
                  <a:pt x="3427511" y="60126"/>
                  <a:pt x="3433458" y="60126"/>
                </a:cubicBezTo>
                <a:close/>
                <a:moveTo>
                  <a:pt x="3230448" y="59962"/>
                </a:moveTo>
                <a:cubicBezTo>
                  <a:pt x="3236395" y="59962"/>
                  <a:pt x="3241187" y="64751"/>
                  <a:pt x="3241187" y="70698"/>
                </a:cubicBezTo>
                <a:cubicBezTo>
                  <a:pt x="3241187" y="76644"/>
                  <a:pt x="3236395" y="81436"/>
                  <a:pt x="3230448" y="81436"/>
                </a:cubicBezTo>
                <a:cubicBezTo>
                  <a:pt x="3224502" y="81436"/>
                  <a:pt x="3219712" y="76644"/>
                  <a:pt x="3219712" y="70698"/>
                </a:cubicBezTo>
                <a:cubicBezTo>
                  <a:pt x="3219712" y="64751"/>
                  <a:pt x="3224502" y="59962"/>
                  <a:pt x="3230448" y="59962"/>
                </a:cubicBezTo>
                <a:close/>
                <a:moveTo>
                  <a:pt x="3260183" y="58969"/>
                </a:moveTo>
                <a:cubicBezTo>
                  <a:pt x="3266130" y="58969"/>
                  <a:pt x="3270921" y="63759"/>
                  <a:pt x="3270921" y="69706"/>
                </a:cubicBezTo>
                <a:cubicBezTo>
                  <a:pt x="3270921" y="75652"/>
                  <a:pt x="3266130" y="80444"/>
                  <a:pt x="3260183" y="80444"/>
                </a:cubicBezTo>
                <a:cubicBezTo>
                  <a:pt x="3254236" y="80444"/>
                  <a:pt x="3249446" y="75652"/>
                  <a:pt x="3249446" y="69706"/>
                </a:cubicBezTo>
                <a:cubicBezTo>
                  <a:pt x="3249446" y="63759"/>
                  <a:pt x="3254236" y="58969"/>
                  <a:pt x="3260183" y="58969"/>
                </a:cubicBezTo>
                <a:close/>
                <a:moveTo>
                  <a:pt x="2657602" y="58309"/>
                </a:moveTo>
                <a:cubicBezTo>
                  <a:pt x="2663548" y="58309"/>
                  <a:pt x="2668338" y="63099"/>
                  <a:pt x="2668338" y="69045"/>
                </a:cubicBezTo>
                <a:cubicBezTo>
                  <a:pt x="2668338" y="74992"/>
                  <a:pt x="2663548" y="79783"/>
                  <a:pt x="2657602" y="79783"/>
                </a:cubicBezTo>
                <a:cubicBezTo>
                  <a:pt x="2651655" y="79783"/>
                  <a:pt x="2646865" y="74992"/>
                  <a:pt x="2646865" y="69045"/>
                </a:cubicBezTo>
                <a:cubicBezTo>
                  <a:pt x="2646865" y="63099"/>
                  <a:pt x="2651655" y="58309"/>
                  <a:pt x="2657602" y="58309"/>
                </a:cubicBezTo>
                <a:close/>
                <a:moveTo>
                  <a:pt x="2405204" y="57814"/>
                </a:moveTo>
                <a:cubicBezTo>
                  <a:pt x="2411151" y="57814"/>
                  <a:pt x="2415941" y="62604"/>
                  <a:pt x="2415941" y="68551"/>
                </a:cubicBezTo>
                <a:lnTo>
                  <a:pt x="2408508" y="75984"/>
                </a:lnTo>
                <a:lnTo>
                  <a:pt x="2417925" y="85399"/>
                </a:lnTo>
                <a:lnTo>
                  <a:pt x="2411810" y="91511"/>
                </a:lnTo>
                <a:lnTo>
                  <a:pt x="2419080" y="98779"/>
                </a:lnTo>
                <a:lnTo>
                  <a:pt x="2412060" y="105799"/>
                </a:lnTo>
                <a:lnTo>
                  <a:pt x="2420566" y="114306"/>
                </a:lnTo>
                <a:cubicBezTo>
                  <a:pt x="2420566" y="120252"/>
                  <a:pt x="2415776" y="125042"/>
                  <a:pt x="2409830" y="125042"/>
                </a:cubicBezTo>
                <a:cubicBezTo>
                  <a:pt x="2403883" y="125042"/>
                  <a:pt x="2399093" y="120252"/>
                  <a:pt x="2399093" y="114306"/>
                </a:cubicBezTo>
                <a:lnTo>
                  <a:pt x="2406113" y="107287"/>
                </a:lnTo>
                <a:lnTo>
                  <a:pt x="2397605" y="98779"/>
                </a:lnTo>
                <a:lnTo>
                  <a:pt x="2403718" y="92666"/>
                </a:lnTo>
                <a:lnTo>
                  <a:pt x="2396450" y="85399"/>
                </a:lnTo>
                <a:lnTo>
                  <a:pt x="2403883" y="77967"/>
                </a:lnTo>
                <a:lnTo>
                  <a:pt x="2394468" y="68551"/>
                </a:lnTo>
                <a:cubicBezTo>
                  <a:pt x="2394468" y="62604"/>
                  <a:pt x="2399258" y="57814"/>
                  <a:pt x="2405204" y="57814"/>
                </a:cubicBezTo>
                <a:close/>
                <a:moveTo>
                  <a:pt x="3288263" y="57483"/>
                </a:moveTo>
                <a:cubicBezTo>
                  <a:pt x="3294210" y="57483"/>
                  <a:pt x="3299001" y="62273"/>
                  <a:pt x="3299001" y="68220"/>
                </a:cubicBezTo>
                <a:lnTo>
                  <a:pt x="3288511" y="78710"/>
                </a:lnTo>
                <a:lnTo>
                  <a:pt x="3290908" y="81105"/>
                </a:lnTo>
                <a:cubicBezTo>
                  <a:pt x="3290908" y="87051"/>
                  <a:pt x="3286116" y="91843"/>
                  <a:pt x="3280170" y="91843"/>
                </a:cubicBezTo>
                <a:cubicBezTo>
                  <a:pt x="3274223" y="91843"/>
                  <a:pt x="3269433" y="87051"/>
                  <a:pt x="3269433" y="81105"/>
                </a:cubicBezTo>
                <a:lnTo>
                  <a:pt x="3279922" y="70616"/>
                </a:lnTo>
                <a:lnTo>
                  <a:pt x="3277526" y="68220"/>
                </a:lnTo>
                <a:cubicBezTo>
                  <a:pt x="3277526" y="62273"/>
                  <a:pt x="3282316" y="57483"/>
                  <a:pt x="3288263" y="57483"/>
                </a:cubicBezTo>
                <a:close/>
                <a:moveTo>
                  <a:pt x="2623077" y="56658"/>
                </a:moveTo>
                <a:cubicBezTo>
                  <a:pt x="2629024" y="56658"/>
                  <a:pt x="2633816" y="61448"/>
                  <a:pt x="2633816" y="67394"/>
                </a:cubicBezTo>
                <a:cubicBezTo>
                  <a:pt x="2633816" y="73341"/>
                  <a:pt x="2629024" y="78130"/>
                  <a:pt x="2623077" y="78130"/>
                </a:cubicBezTo>
                <a:cubicBezTo>
                  <a:pt x="2617131" y="78130"/>
                  <a:pt x="2612341" y="73341"/>
                  <a:pt x="2612341" y="67394"/>
                </a:cubicBezTo>
                <a:cubicBezTo>
                  <a:pt x="2612341" y="61448"/>
                  <a:pt x="2617131" y="56658"/>
                  <a:pt x="2623077" y="56658"/>
                </a:cubicBezTo>
                <a:close/>
                <a:moveTo>
                  <a:pt x="3476901" y="55997"/>
                </a:moveTo>
                <a:cubicBezTo>
                  <a:pt x="3478881" y="55997"/>
                  <a:pt x="3480534" y="57648"/>
                  <a:pt x="3480534" y="59630"/>
                </a:cubicBezTo>
                <a:cubicBezTo>
                  <a:pt x="3480534" y="61612"/>
                  <a:pt x="3478881" y="63265"/>
                  <a:pt x="3476901" y="63265"/>
                </a:cubicBezTo>
                <a:cubicBezTo>
                  <a:pt x="3474917" y="63265"/>
                  <a:pt x="3473266" y="61612"/>
                  <a:pt x="3473266" y="59630"/>
                </a:cubicBezTo>
                <a:cubicBezTo>
                  <a:pt x="3473266" y="57648"/>
                  <a:pt x="3474917" y="55997"/>
                  <a:pt x="3476901" y="55997"/>
                </a:cubicBezTo>
                <a:close/>
                <a:moveTo>
                  <a:pt x="3315022" y="55666"/>
                </a:moveTo>
                <a:cubicBezTo>
                  <a:pt x="3320968" y="55666"/>
                  <a:pt x="3325760" y="60456"/>
                  <a:pt x="3325760" y="66402"/>
                </a:cubicBezTo>
                <a:lnTo>
                  <a:pt x="3315601" y="76561"/>
                </a:lnTo>
                <a:lnTo>
                  <a:pt x="3319648" y="80609"/>
                </a:lnTo>
                <a:lnTo>
                  <a:pt x="3310067" y="90190"/>
                </a:lnTo>
                <a:lnTo>
                  <a:pt x="3313206" y="93327"/>
                </a:lnTo>
                <a:cubicBezTo>
                  <a:pt x="3313206" y="99274"/>
                  <a:pt x="3308414" y="104065"/>
                  <a:pt x="3302468" y="104065"/>
                </a:cubicBezTo>
                <a:cubicBezTo>
                  <a:pt x="3296521" y="104065"/>
                  <a:pt x="3291731" y="99274"/>
                  <a:pt x="3291731" y="93327"/>
                </a:cubicBezTo>
                <a:lnTo>
                  <a:pt x="3301311" y="83748"/>
                </a:lnTo>
                <a:lnTo>
                  <a:pt x="3298174" y="80609"/>
                </a:lnTo>
                <a:lnTo>
                  <a:pt x="3308333" y="70450"/>
                </a:lnTo>
                <a:lnTo>
                  <a:pt x="3304285" y="66402"/>
                </a:lnTo>
                <a:cubicBezTo>
                  <a:pt x="3304285" y="60456"/>
                  <a:pt x="3309075" y="55666"/>
                  <a:pt x="3315022" y="55666"/>
                </a:cubicBezTo>
                <a:close/>
                <a:moveTo>
                  <a:pt x="3455591" y="55336"/>
                </a:moveTo>
                <a:cubicBezTo>
                  <a:pt x="3461538" y="55336"/>
                  <a:pt x="3466329" y="60126"/>
                  <a:pt x="3466329" y="66073"/>
                </a:cubicBezTo>
                <a:cubicBezTo>
                  <a:pt x="3466329" y="72019"/>
                  <a:pt x="3461538" y="76811"/>
                  <a:pt x="3455591" y="76811"/>
                </a:cubicBezTo>
                <a:cubicBezTo>
                  <a:pt x="3449644" y="76811"/>
                  <a:pt x="3444855" y="72019"/>
                  <a:pt x="3444855" y="66073"/>
                </a:cubicBezTo>
                <a:cubicBezTo>
                  <a:pt x="3444855" y="60126"/>
                  <a:pt x="3449644" y="55336"/>
                  <a:pt x="3455591" y="55336"/>
                </a:cubicBezTo>
                <a:close/>
                <a:moveTo>
                  <a:pt x="2590372" y="55336"/>
                </a:moveTo>
                <a:cubicBezTo>
                  <a:pt x="2596303" y="55336"/>
                  <a:pt x="2601110" y="60144"/>
                  <a:pt x="2601110" y="66073"/>
                </a:cubicBezTo>
                <a:cubicBezTo>
                  <a:pt x="2601110" y="72004"/>
                  <a:pt x="2596303" y="76809"/>
                  <a:pt x="2590372" y="76809"/>
                </a:cubicBezTo>
                <a:cubicBezTo>
                  <a:pt x="2584443" y="76809"/>
                  <a:pt x="2579636" y="72004"/>
                  <a:pt x="2579636" y="66073"/>
                </a:cubicBezTo>
                <a:cubicBezTo>
                  <a:pt x="2579636" y="60144"/>
                  <a:pt x="2584443" y="55336"/>
                  <a:pt x="2590372" y="55336"/>
                </a:cubicBezTo>
                <a:close/>
                <a:moveTo>
                  <a:pt x="2559483" y="54180"/>
                </a:moveTo>
                <a:cubicBezTo>
                  <a:pt x="2565430" y="54180"/>
                  <a:pt x="2570221" y="58969"/>
                  <a:pt x="2570221" y="64916"/>
                </a:cubicBezTo>
                <a:cubicBezTo>
                  <a:pt x="2570221" y="70863"/>
                  <a:pt x="2565430" y="75654"/>
                  <a:pt x="2559483" y="75654"/>
                </a:cubicBezTo>
                <a:cubicBezTo>
                  <a:pt x="2553536" y="75654"/>
                  <a:pt x="2548747" y="70863"/>
                  <a:pt x="2548747" y="64916"/>
                </a:cubicBezTo>
                <a:cubicBezTo>
                  <a:pt x="2548747" y="58969"/>
                  <a:pt x="2553536" y="54180"/>
                  <a:pt x="2559483" y="54180"/>
                </a:cubicBezTo>
                <a:close/>
                <a:moveTo>
                  <a:pt x="2381583" y="54180"/>
                </a:moveTo>
                <a:cubicBezTo>
                  <a:pt x="2387530" y="54180"/>
                  <a:pt x="2392321" y="58969"/>
                  <a:pt x="2392321" y="64916"/>
                </a:cubicBezTo>
                <a:lnTo>
                  <a:pt x="2382904" y="74333"/>
                </a:lnTo>
                <a:lnTo>
                  <a:pt x="2392980" y="84408"/>
                </a:lnTo>
                <a:lnTo>
                  <a:pt x="2385466" y="91924"/>
                </a:lnTo>
                <a:lnTo>
                  <a:pt x="2392321" y="98779"/>
                </a:lnTo>
                <a:lnTo>
                  <a:pt x="2384474" y="106625"/>
                </a:lnTo>
                <a:lnTo>
                  <a:pt x="2391163" y="113314"/>
                </a:lnTo>
                <a:cubicBezTo>
                  <a:pt x="2391163" y="119260"/>
                  <a:pt x="2386373" y="124052"/>
                  <a:pt x="2380426" y="124052"/>
                </a:cubicBezTo>
                <a:cubicBezTo>
                  <a:pt x="2374480" y="124052"/>
                  <a:pt x="2369690" y="119260"/>
                  <a:pt x="2369690" y="113314"/>
                </a:cubicBezTo>
                <a:lnTo>
                  <a:pt x="2377536" y="105468"/>
                </a:lnTo>
                <a:lnTo>
                  <a:pt x="2370847" y="98779"/>
                </a:lnTo>
                <a:lnTo>
                  <a:pt x="2378363" y="91263"/>
                </a:lnTo>
                <a:lnTo>
                  <a:pt x="2371508" y="84408"/>
                </a:lnTo>
                <a:lnTo>
                  <a:pt x="2380922" y="74993"/>
                </a:lnTo>
                <a:lnTo>
                  <a:pt x="2370847" y="64916"/>
                </a:lnTo>
                <a:cubicBezTo>
                  <a:pt x="2370847" y="58969"/>
                  <a:pt x="2375637" y="54180"/>
                  <a:pt x="2381583" y="54180"/>
                </a:cubicBezTo>
                <a:close/>
                <a:moveTo>
                  <a:pt x="2358624" y="53025"/>
                </a:moveTo>
                <a:cubicBezTo>
                  <a:pt x="2362588" y="53025"/>
                  <a:pt x="2365728" y="56164"/>
                  <a:pt x="2365728" y="60128"/>
                </a:cubicBezTo>
                <a:cubicBezTo>
                  <a:pt x="2365728" y="64092"/>
                  <a:pt x="2362588" y="67229"/>
                  <a:pt x="2358624" y="67229"/>
                </a:cubicBezTo>
                <a:cubicBezTo>
                  <a:pt x="2354660" y="67229"/>
                  <a:pt x="2351521" y="64092"/>
                  <a:pt x="2351521" y="60128"/>
                </a:cubicBezTo>
                <a:cubicBezTo>
                  <a:pt x="2351521" y="56164"/>
                  <a:pt x="2354660" y="53025"/>
                  <a:pt x="2358624" y="53025"/>
                </a:cubicBezTo>
                <a:close/>
                <a:moveTo>
                  <a:pt x="3340625" y="52858"/>
                </a:moveTo>
                <a:cubicBezTo>
                  <a:pt x="3346572" y="52858"/>
                  <a:pt x="3351363" y="57648"/>
                  <a:pt x="3351363" y="63594"/>
                </a:cubicBezTo>
                <a:lnTo>
                  <a:pt x="3341038" y="73918"/>
                </a:lnTo>
                <a:lnTo>
                  <a:pt x="3347069" y="79948"/>
                </a:lnTo>
                <a:lnTo>
                  <a:pt x="3338561" y="88456"/>
                </a:lnTo>
                <a:lnTo>
                  <a:pt x="3342940" y="92833"/>
                </a:lnTo>
                <a:lnTo>
                  <a:pt x="3332946" y="102827"/>
                </a:lnTo>
                <a:lnTo>
                  <a:pt x="3337984" y="107863"/>
                </a:lnTo>
                <a:cubicBezTo>
                  <a:pt x="3337984" y="113810"/>
                  <a:pt x="3333192" y="118601"/>
                  <a:pt x="3327246" y="118601"/>
                </a:cubicBezTo>
                <a:cubicBezTo>
                  <a:pt x="3321299" y="118601"/>
                  <a:pt x="3316509" y="113810"/>
                  <a:pt x="3316509" y="107863"/>
                </a:cubicBezTo>
                <a:lnTo>
                  <a:pt x="3326502" y="97871"/>
                </a:lnTo>
                <a:lnTo>
                  <a:pt x="3321466" y="92833"/>
                </a:lnTo>
                <a:lnTo>
                  <a:pt x="3329972" y="84327"/>
                </a:lnTo>
                <a:lnTo>
                  <a:pt x="3325595" y="79948"/>
                </a:lnTo>
                <a:lnTo>
                  <a:pt x="3335918" y="69624"/>
                </a:lnTo>
                <a:lnTo>
                  <a:pt x="3329888" y="63594"/>
                </a:lnTo>
                <a:cubicBezTo>
                  <a:pt x="3329888" y="57648"/>
                  <a:pt x="3334678" y="52858"/>
                  <a:pt x="3340625" y="52858"/>
                </a:cubicBezTo>
                <a:close/>
                <a:moveTo>
                  <a:pt x="2530246" y="52529"/>
                </a:moveTo>
                <a:cubicBezTo>
                  <a:pt x="2536193" y="52529"/>
                  <a:pt x="2540984" y="57319"/>
                  <a:pt x="2540984" y="63265"/>
                </a:cubicBezTo>
                <a:cubicBezTo>
                  <a:pt x="2540984" y="69211"/>
                  <a:pt x="2536193" y="74002"/>
                  <a:pt x="2530246" y="74002"/>
                </a:cubicBezTo>
                <a:cubicBezTo>
                  <a:pt x="2524300" y="74002"/>
                  <a:pt x="2519510" y="69211"/>
                  <a:pt x="2519510" y="63265"/>
                </a:cubicBezTo>
                <a:cubicBezTo>
                  <a:pt x="2519510" y="57319"/>
                  <a:pt x="2524300" y="52529"/>
                  <a:pt x="2530246" y="52529"/>
                </a:cubicBezTo>
                <a:close/>
                <a:moveTo>
                  <a:pt x="3151328" y="52033"/>
                </a:moveTo>
                <a:cubicBezTo>
                  <a:pt x="3157274" y="52033"/>
                  <a:pt x="3162064" y="56823"/>
                  <a:pt x="3162064" y="62769"/>
                </a:cubicBezTo>
                <a:cubicBezTo>
                  <a:pt x="3162064" y="68716"/>
                  <a:pt x="3157274" y="73507"/>
                  <a:pt x="3151328" y="73507"/>
                </a:cubicBezTo>
                <a:cubicBezTo>
                  <a:pt x="3145382" y="73507"/>
                  <a:pt x="3140592" y="68716"/>
                  <a:pt x="3140592" y="62769"/>
                </a:cubicBezTo>
                <a:cubicBezTo>
                  <a:pt x="3140592" y="56823"/>
                  <a:pt x="3145382" y="52033"/>
                  <a:pt x="3151328" y="52033"/>
                </a:cubicBezTo>
                <a:close/>
                <a:moveTo>
                  <a:pt x="2502330" y="50547"/>
                </a:moveTo>
                <a:cubicBezTo>
                  <a:pt x="2508276" y="50547"/>
                  <a:pt x="2513068" y="55336"/>
                  <a:pt x="2513068" y="61283"/>
                </a:cubicBezTo>
                <a:cubicBezTo>
                  <a:pt x="2513068" y="67229"/>
                  <a:pt x="2508276" y="72021"/>
                  <a:pt x="2502330" y="72021"/>
                </a:cubicBezTo>
                <a:cubicBezTo>
                  <a:pt x="2496383" y="72021"/>
                  <a:pt x="2491593" y="67229"/>
                  <a:pt x="2491593" y="61283"/>
                </a:cubicBezTo>
                <a:cubicBezTo>
                  <a:pt x="2491593" y="55336"/>
                  <a:pt x="2496383" y="50547"/>
                  <a:pt x="2502330" y="50547"/>
                </a:cubicBezTo>
                <a:close/>
                <a:moveTo>
                  <a:pt x="3183208" y="50380"/>
                </a:moveTo>
                <a:cubicBezTo>
                  <a:pt x="3189154" y="50380"/>
                  <a:pt x="3193946" y="55170"/>
                  <a:pt x="3193946" y="61116"/>
                </a:cubicBezTo>
                <a:cubicBezTo>
                  <a:pt x="3193946" y="67063"/>
                  <a:pt x="3189154" y="71854"/>
                  <a:pt x="3183208" y="71854"/>
                </a:cubicBezTo>
                <a:cubicBezTo>
                  <a:pt x="3177261" y="71854"/>
                  <a:pt x="3172471" y="67063"/>
                  <a:pt x="3172471" y="61116"/>
                </a:cubicBezTo>
                <a:cubicBezTo>
                  <a:pt x="3172471" y="55170"/>
                  <a:pt x="3177261" y="50380"/>
                  <a:pt x="3183208" y="50380"/>
                </a:cubicBezTo>
                <a:close/>
                <a:moveTo>
                  <a:pt x="3365238" y="49225"/>
                </a:moveTo>
                <a:cubicBezTo>
                  <a:pt x="3371185" y="49225"/>
                  <a:pt x="3375976" y="54015"/>
                  <a:pt x="3375976" y="59962"/>
                </a:cubicBezTo>
                <a:cubicBezTo>
                  <a:pt x="3375976" y="65908"/>
                  <a:pt x="3371185" y="70700"/>
                  <a:pt x="3365238" y="70700"/>
                </a:cubicBezTo>
                <a:cubicBezTo>
                  <a:pt x="3359292" y="70700"/>
                  <a:pt x="3354502" y="65908"/>
                  <a:pt x="3354502" y="59962"/>
                </a:cubicBezTo>
                <a:cubicBezTo>
                  <a:pt x="3354502" y="54015"/>
                  <a:pt x="3359292" y="49225"/>
                  <a:pt x="3365238" y="49225"/>
                </a:cubicBezTo>
                <a:close/>
                <a:moveTo>
                  <a:pt x="3213601" y="48729"/>
                </a:moveTo>
                <a:cubicBezTo>
                  <a:pt x="3219548" y="48729"/>
                  <a:pt x="3224339" y="53519"/>
                  <a:pt x="3224339" y="59465"/>
                </a:cubicBezTo>
                <a:cubicBezTo>
                  <a:pt x="3224339" y="65412"/>
                  <a:pt x="3219548" y="70202"/>
                  <a:pt x="3213601" y="70202"/>
                </a:cubicBezTo>
                <a:cubicBezTo>
                  <a:pt x="3207654" y="70202"/>
                  <a:pt x="3202864" y="65412"/>
                  <a:pt x="3202864" y="59465"/>
                </a:cubicBezTo>
                <a:cubicBezTo>
                  <a:pt x="3202864" y="53519"/>
                  <a:pt x="3207654" y="48729"/>
                  <a:pt x="3213601" y="48729"/>
                </a:cubicBezTo>
                <a:close/>
                <a:moveTo>
                  <a:pt x="2475736" y="47739"/>
                </a:moveTo>
                <a:cubicBezTo>
                  <a:pt x="2481682" y="47739"/>
                  <a:pt x="2486474" y="52529"/>
                  <a:pt x="2486474" y="58475"/>
                </a:cubicBezTo>
                <a:cubicBezTo>
                  <a:pt x="2486474" y="64422"/>
                  <a:pt x="2481682" y="69211"/>
                  <a:pt x="2475736" y="69211"/>
                </a:cubicBezTo>
                <a:cubicBezTo>
                  <a:pt x="2469789" y="69211"/>
                  <a:pt x="2464999" y="64422"/>
                  <a:pt x="2464999" y="58475"/>
                </a:cubicBezTo>
                <a:cubicBezTo>
                  <a:pt x="2464999" y="52529"/>
                  <a:pt x="2469789" y="47739"/>
                  <a:pt x="2475736" y="47739"/>
                </a:cubicBezTo>
                <a:close/>
                <a:moveTo>
                  <a:pt x="2636788" y="46747"/>
                </a:moveTo>
                <a:cubicBezTo>
                  <a:pt x="2642734" y="46747"/>
                  <a:pt x="2647526" y="51537"/>
                  <a:pt x="2647526" y="57483"/>
                </a:cubicBezTo>
                <a:cubicBezTo>
                  <a:pt x="2647526" y="63430"/>
                  <a:pt x="2642734" y="68221"/>
                  <a:pt x="2636788" y="68221"/>
                </a:cubicBezTo>
                <a:cubicBezTo>
                  <a:pt x="2630841" y="68221"/>
                  <a:pt x="2626052" y="63430"/>
                  <a:pt x="2626052" y="57483"/>
                </a:cubicBezTo>
                <a:cubicBezTo>
                  <a:pt x="2626052" y="51537"/>
                  <a:pt x="2630841" y="46747"/>
                  <a:pt x="2636788" y="46747"/>
                </a:cubicBezTo>
                <a:close/>
                <a:moveTo>
                  <a:pt x="3242342" y="46416"/>
                </a:moveTo>
                <a:cubicBezTo>
                  <a:pt x="3248288" y="46416"/>
                  <a:pt x="3253080" y="51206"/>
                  <a:pt x="3253080" y="57152"/>
                </a:cubicBezTo>
                <a:cubicBezTo>
                  <a:pt x="3253080" y="63099"/>
                  <a:pt x="3248288" y="67890"/>
                  <a:pt x="3242342" y="67890"/>
                </a:cubicBezTo>
                <a:cubicBezTo>
                  <a:pt x="3236395" y="67890"/>
                  <a:pt x="3231605" y="63099"/>
                  <a:pt x="3231605" y="57152"/>
                </a:cubicBezTo>
                <a:cubicBezTo>
                  <a:pt x="3231605" y="51206"/>
                  <a:pt x="3236395" y="46416"/>
                  <a:pt x="3242342" y="46416"/>
                </a:cubicBezTo>
                <a:close/>
                <a:moveTo>
                  <a:pt x="2605404" y="44600"/>
                </a:moveTo>
                <a:cubicBezTo>
                  <a:pt x="2611351" y="44600"/>
                  <a:pt x="2616142" y="49390"/>
                  <a:pt x="2616142" y="55336"/>
                </a:cubicBezTo>
                <a:cubicBezTo>
                  <a:pt x="2616142" y="61283"/>
                  <a:pt x="2611351" y="66074"/>
                  <a:pt x="2605404" y="66074"/>
                </a:cubicBezTo>
                <a:cubicBezTo>
                  <a:pt x="2599458" y="66074"/>
                  <a:pt x="2594668" y="61283"/>
                  <a:pt x="2594668" y="55336"/>
                </a:cubicBezTo>
                <a:cubicBezTo>
                  <a:pt x="2594668" y="49390"/>
                  <a:pt x="2599458" y="44600"/>
                  <a:pt x="2605404" y="44600"/>
                </a:cubicBezTo>
                <a:close/>
                <a:moveTo>
                  <a:pt x="3388858" y="44435"/>
                </a:moveTo>
                <a:cubicBezTo>
                  <a:pt x="3394804" y="44435"/>
                  <a:pt x="3399596" y="49225"/>
                  <a:pt x="3399596" y="55172"/>
                </a:cubicBezTo>
                <a:cubicBezTo>
                  <a:pt x="3399596" y="61118"/>
                  <a:pt x="3394804" y="65910"/>
                  <a:pt x="3388858" y="65910"/>
                </a:cubicBezTo>
                <a:cubicBezTo>
                  <a:pt x="3382911" y="65910"/>
                  <a:pt x="3378122" y="61118"/>
                  <a:pt x="3378122" y="55172"/>
                </a:cubicBezTo>
                <a:cubicBezTo>
                  <a:pt x="3378122" y="49225"/>
                  <a:pt x="3382911" y="44435"/>
                  <a:pt x="3388858" y="44435"/>
                </a:cubicBezTo>
                <a:close/>
                <a:moveTo>
                  <a:pt x="2450132" y="43939"/>
                </a:moveTo>
                <a:cubicBezTo>
                  <a:pt x="2456079" y="43939"/>
                  <a:pt x="2460870" y="48729"/>
                  <a:pt x="2460870" y="54676"/>
                </a:cubicBezTo>
                <a:cubicBezTo>
                  <a:pt x="2460870" y="60622"/>
                  <a:pt x="2456079" y="65414"/>
                  <a:pt x="2450132" y="65414"/>
                </a:cubicBezTo>
                <a:cubicBezTo>
                  <a:pt x="2444186" y="65414"/>
                  <a:pt x="2439396" y="60622"/>
                  <a:pt x="2439396" y="54676"/>
                </a:cubicBezTo>
                <a:cubicBezTo>
                  <a:pt x="2439396" y="48729"/>
                  <a:pt x="2444186" y="43939"/>
                  <a:pt x="2450132" y="43939"/>
                </a:cubicBezTo>
                <a:close/>
                <a:moveTo>
                  <a:pt x="3411818" y="43608"/>
                </a:moveTo>
                <a:cubicBezTo>
                  <a:pt x="3414793" y="43608"/>
                  <a:pt x="3417104" y="45920"/>
                  <a:pt x="3417104" y="48894"/>
                </a:cubicBezTo>
                <a:cubicBezTo>
                  <a:pt x="3417104" y="51868"/>
                  <a:pt x="3414626" y="54180"/>
                  <a:pt x="3411818" y="54180"/>
                </a:cubicBezTo>
                <a:cubicBezTo>
                  <a:pt x="3408844" y="54180"/>
                  <a:pt x="3406533" y="51868"/>
                  <a:pt x="3406533" y="48894"/>
                </a:cubicBezTo>
                <a:cubicBezTo>
                  <a:pt x="3406533" y="45920"/>
                  <a:pt x="3408844" y="43608"/>
                  <a:pt x="3411818" y="43608"/>
                </a:cubicBezTo>
                <a:close/>
                <a:moveTo>
                  <a:pt x="3269927" y="43608"/>
                </a:moveTo>
                <a:cubicBezTo>
                  <a:pt x="3275874" y="43608"/>
                  <a:pt x="3280666" y="48398"/>
                  <a:pt x="3280666" y="54344"/>
                </a:cubicBezTo>
                <a:cubicBezTo>
                  <a:pt x="3280666" y="60291"/>
                  <a:pt x="3275874" y="65083"/>
                  <a:pt x="3269927" y="65083"/>
                </a:cubicBezTo>
                <a:cubicBezTo>
                  <a:pt x="3263981" y="65083"/>
                  <a:pt x="3259191" y="60291"/>
                  <a:pt x="3259191" y="54344"/>
                </a:cubicBezTo>
                <a:cubicBezTo>
                  <a:pt x="3259191" y="48398"/>
                  <a:pt x="3263981" y="43608"/>
                  <a:pt x="3269927" y="43608"/>
                </a:cubicBezTo>
                <a:close/>
                <a:moveTo>
                  <a:pt x="2575340" y="42287"/>
                </a:moveTo>
                <a:cubicBezTo>
                  <a:pt x="2581287" y="42287"/>
                  <a:pt x="2586078" y="47076"/>
                  <a:pt x="2586078" y="53023"/>
                </a:cubicBezTo>
                <a:cubicBezTo>
                  <a:pt x="2586078" y="58969"/>
                  <a:pt x="2581287" y="63761"/>
                  <a:pt x="2575340" y="63761"/>
                </a:cubicBezTo>
                <a:cubicBezTo>
                  <a:pt x="2569394" y="63761"/>
                  <a:pt x="2564604" y="58969"/>
                  <a:pt x="2564604" y="53023"/>
                </a:cubicBezTo>
                <a:cubicBezTo>
                  <a:pt x="2564604" y="47076"/>
                  <a:pt x="2569394" y="42287"/>
                  <a:pt x="2575340" y="42287"/>
                </a:cubicBezTo>
                <a:close/>
                <a:moveTo>
                  <a:pt x="3138278" y="41626"/>
                </a:moveTo>
                <a:cubicBezTo>
                  <a:pt x="3144225" y="41626"/>
                  <a:pt x="3149016" y="46416"/>
                  <a:pt x="3149016" y="52362"/>
                </a:cubicBezTo>
                <a:cubicBezTo>
                  <a:pt x="3149016" y="58309"/>
                  <a:pt x="3144225" y="63100"/>
                  <a:pt x="3138278" y="63100"/>
                </a:cubicBezTo>
                <a:cubicBezTo>
                  <a:pt x="3132332" y="63100"/>
                  <a:pt x="3127542" y="58309"/>
                  <a:pt x="3127542" y="52362"/>
                </a:cubicBezTo>
                <a:cubicBezTo>
                  <a:pt x="3127542" y="46416"/>
                  <a:pt x="3132332" y="41626"/>
                  <a:pt x="3138278" y="41626"/>
                </a:cubicBezTo>
                <a:close/>
                <a:moveTo>
                  <a:pt x="2425687" y="40471"/>
                </a:moveTo>
                <a:cubicBezTo>
                  <a:pt x="2430888" y="40471"/>
                  <a:pt x="2435102" y="44687"/>
                  <a:pt x="2435102" y="49886"/>
                </a:cubicBezTo>
                <a:cubicBezTo>
                  <a:pt x="2435102" y="55087"/>
                  <a:pt x="2430888" y="59301"/>
                  <a:pt x="2425687" y="59301"/>
                </a:cubicBezTo>
                <a:cubicBezTo>
                  <a:pt x="2420488" y="59301"/>
                  <a:pt x="2416272" y="55087"/>
                  <a:pt x="2416272" y="49886"/>
                </a:cubicBezTo>
                <a:cubicBezTo>
                  <a:pt x="2416272" y="44687"/>
                  <a:pt x="2420488" y="40471"/>
                  <a:pt x="2425687" y="40471"/>
                </a:cubicBezTo>
                <a:close/>
                <a:moveTo>
                  <a:pt x="3296356" y="39810"/>
                </a:moveTo>
                <a:cubicBezTo>
                  <a:pt x="3302303" y="39810"/>
                  <a:pt x="3307094" y="44600"/>
                  <a:pt x="3307094" y="50547"/>
                </a:cubicBezTo>
                <a:cubicBezTo>
                  <a:pt x="3307094" y="56493"/>
                  <a:pt x="3302303" y="61285"/>
                  <a:pt x="3296356" y="61285"/>
                </a:cubicBezTo>
                <a:cubicBezTo>
                  <a:pt x="3290410" y="61285"/>
                  <a:pt x="3285620" y="56493"/>
                  <a:pt x="3285620" y="50547"/>
                </a:cubicBezTo>
                <a:cubicBezTo>
                  <a:pt x="3285620" y="44600"/>
                  <a:pt x="3290410" y="39810"/>
                  <a:pt x="3296356" y="39810"/>
                </a:cubicBezTo>
                <a:close/>
                <a:moveTo>
                  <a:pt x="2546764" y="39148"/>
                </a:moveTo>
                <a:cubicBezTo>
                  <a:pt x="2552711" y="39148"/>
                  <a:pt x="2557502" y="43938"/>
                  <a:pt x="2557502" y="49884"/>
                </a:cubicBezTo>
                <a:cubicBezTo>
                  <a:pt x="2557502" y="55831"/>
                  <a:pt x="2552711" y="60622"/>
                  <a:pt x="2546764" y="60622"/>
                </a:cubicBezTo>
                <a:cubicBezTo>
                  <a:pt x="2540818" y="60622"/>
                  <a:pt x="2536028" y="55831"/>
                  <a:pt x="2536028" y="49884"/>
                </a:cubicBezTo>
                <a:cubicBezTo>
                  <a:pt x="2536028" y="43938"/>
                  <a:pt x="2540818" y="39148"/>
                  <a:pt x="2546764" y="39148"/>
                </a:cubicBezTo>
                <a:close/>
                <a:moveTo>
                  <a:pt x="3169001" y="38983"/>
                </a:moveTo>
                <a:cubicBezTo>
                  <a:pt x="3174948" y="38983"/>
                  <a:pt x="3179739" y="43773"/>
                  <a:pt x="3179739" y="49719"/>
                </a:cubicBezTo>
                <a:cubicBezTo>
                  <a:pt x="3179739" y="55666"/>
                  <a:pt x="3174948" y="60457"/>
                  <a:pt x="3169001" y="60457"/>
                </a:cubicBezTo>
                <a:cubicBezTo>
                  <a:pt x="3163054" y="60457"/>
                  <a:pt x="3158265" y="55666"/>
                  <a:pt x="3158265" y="49719"/>
                </a:cubicBezTo>
                <a:cubicBezTo>
                  <a:pt x="3158265" y="43773"/>
                  <a:pt x="3163054" y="38983"/>
                  <a:pt x="3169001" y="38983"/>
                </a:cubicBezTo>
                <a:close/>
                <a:moveTo>
                  <a:pt x="3198569" y="35679"/>
                </a:moveTo>
                <a:cubicBezTo>
                  <a:pt x="3204516" y="35679"/>
                  <a:pt x="3209306" y="40469"/>
                  <a:pt x="3209306" y="46416"/>
                </a:cubicBezTo>
                <a:cubicBezTo>
                  <a:pt x="3209306" y="52362"/>
                  <a:pt x="3204516" y="57154"/>
                  <a:pt x="3198569" y="57154"/>
                </a:cubicBezTo>
                <a:cubicBezTo>
                  <a:pt x="3192622" y="57154"/>
                  <a:pt x="3187833" y="52362"/>
                  <a:pt x="3187833" y="46416"/>
                </a:cubicBezTo>
                <a:cubicBezTo>
                  <a:pt x="3187833" y="40469"/>
                  <a:pt x="3192622" y="35679"/>
                  <a:pt x="3198569" y="35679"/>
                </a:cubicBezTo>
                <a:close/>
                <a:moveTo>
                  <a:pt x="2649012" y="35679"/>
                </a:moveTo>
                <a:cubicBezTo>
                  <a:pt x="2654959" y="35679"/>
                  <a:pt x="2659750" y="40469"/>
                  <a:pt x="2659750" y="46416"/>
                </a:cubicBezTo>
                <a:cubicBezTo>
                  <a:pt x="2659750" y="52362"/>
                  <a:pt x="2654959" y="57154"/>
                  <a:pt x="2649012" y="57154"/>
                </a:cubicBezTo>
                <a:cubicBezTo>
                  <a:pt x="2643066" y="57154"/>
                  <a:pt x="2638276" y="52362"/>
                  <a:pt x="2638276" y="46416"/>
                </a:cubicBezTo>
                <a:cubicBezTo>
                  <a:pt x="2638276" y="40469"/>
                  <a:pt x="2643066" y="35679"/>
                  <a:pt x="2649012" y="35679"/>
                </a:cubicBezTo>
                <a:close/>
                <a:moveTo>
                  <a:pt x="2519510" y="35185"/>
                </a:moveTo>
                <a:cubicBezTo>
                  <a:pt x="2525441" y="35185"/>
                  <a:pt x="2530246" y="39992"/>
                  <a:pt x="2530246" y="45922"/>
                </a:cubicBezTo>
                <a:cubicBezTo>
                  <a:pt x="2530246" y="51852"/>
                  <a:pt x="2525441" y="56660"/>
                  <a:pt x="2519510" y="56660"/>
                </a:cubicBezTo>
                <a:cubicBezTo>
                  <a:pt x="2513581" y="56660"/>
                  <a:pt x="2508774" y="51852"/>
                  <a:pt x="2508774" y="45922"/>
                </a:cubicBezTo>
                <a:cubicBezTo>
                  <a:pt x="2508774" y="39992"/>
                  <a:pt x="2513581" y="35185"/>
                  <a:pt x="2519510" y="35185"/>
                </a:cubicBezTo>
                <a:close/>
                <a:moveTo>
                  <a:pt x="3321630" y="34854"/>
                </a:moveTo>
                <a:cubicBezTo>
                  <a:pt x="3327577" y="34854"/>
                  <a:pt x="3332368" y="39644"/>
                  <a:pt x="3332368" y="45590"/>
                </a:cubicBezTo>
                <a:cubicBezTo>
                  <a:pt x="3332368" y="51537"/>
                  <a:pt x="3327577" y="56328"/>
                  <a:pt x="3321630" y="56328"/>
                </a:cubicBezTo>
                <a:cubicBezTo>
                  <a:pt x="3315684" y="56328"/>
                  <a:pt x="3310894" y="51537"/>
                  <a:pt x="3310894" y="45590"/>
                </a:cubicBezTo>
                <a:cubicBezTo>
                  <a:pt x="3310894" y="39644"/>
                  <a:pt x="3315684" y="34854"/>
                  <a:pt x="3321630" y="34854"/>
                </a:cubicBezTo>
                <a:close/>
                <a:moveTo>
                  <a:pt x="2467974" y="34358"/>
                </a:moveTo>
                <a:cubicBezTo>
                  <a:pt x="2468303" y="34358"/>
                  <a:pt x="2468303" y="34358"/>
                  <a:pt x="2468303" y="34687"/>
                </a:cubicBezTo>
                <a:cubicBezTo>
                  <a:pt x="2468303" y="35019"/>
                  <a:pt x="2467974" y="35019"/>
                  <a:pt x="2467974" y="35019"/>
                </a:cubicBezTo>
                <a:cubicBezTo>
                  <a:pt x="2467642" y="35019"/>
                  <a:pt x="2467642" y="35019"/>
                  <a:pt x="2467642" y="34687"/>
                </a:cubicBezTo>
                <a:cubicBezTo>
                  <a:pt x="2467642" y="34358"/>
                  <a:pt x="2467642" y="34358"/>
                  <a:pt x="2467974" y="34358"/>
                </a:cubicBezTo>
                <a:close/>
                <a:moveTo>
                  <a:pt x="3346077" y="33203"/>
                </a:moveTo>
                <a:cubicBezTo>
                  <a:pt x="3349546" y="33203"/>
                  <a:pt x="3352353" y="36011"/>
                  <a:pt x="3352353" y="39481"/>
                </a:cubicBezTo>
                <a:cubicBezTo>
                  <a:pt x="3352353" y="42949"/>
                  <a:pt x="3349546" y="45757"/>
                  <a:pt x="3346077" y="45757"/>
                </a:cubicBezTo>
                <a:cubicBezTo>
                  <a:pt x="3342607" y="45757"/>
                  <a:pt x="3339800" y="42949"/>
                  <a:pt x="3339800" y="39481"/>
                </a:cubicBezTo>
                <a:cubicBezTo>
                  <a:pt x="3339800" y="36011"/>
                  <a:pt x="3342607" y="33203"/>
                  <a:pt x="3346077" y="33203"/>
                </a:cubicBezTo>
                <a:close/>
                <a:moveTo>
                  <a:pt x="3095166" y="33203"/>
                </a:moveTo>
                <a:cubicBezTo>
                  <a:pt x="3101113" y="33203"/>
                  <a:pt x="3105904" y="37993"/>
                  <a:pt x="3105904" y="43939"/>
                </a:cubicBezTo>
                <a:lnTo>
                  <a:pt x="3105821" y="44022"/>
                </a:lnTo>
                <a:lnTo>
                  <a:pt x="3116393" y="54592"/>
                </a:lnTo>
                <a:lnTo>
                  <a:pt x="3117466" y="53519"/>
                </a:lnTo>
                <a:cubicBezTo>
                  <a:pt x="3123413" y="53519"/>
                  <a:pt x="3128204" y="58309"/>
                  <a:pt x="3128204" y="64255"/>
                </a:cubicBezTo>
                <a:cubicBezTo>
                  <a:pt x="3128204" y="70202"/>
                  <a:pt x="3123413" y="74993"/>
                  <a:pt x="3117466" y="74993"/>
                </a:cubicBezTo>
                <a:lnTo>
                  <a:pt x="3106813" y="64338"/>
                </a:lnTo>
                <a:lnTo>
                  <a:pt x="3105738" y="65414"/>
                </a:lnTo>
                <a:cubicBezTo>
                  <a:pt x="3099792" y="65414"/>
                  <a:pt x="3095002" y="60622"/>
                  <a:pt x="3095002" y="54676"/>
                </a:cubicBezTo>
                <a:lnTo>
                  <a:pt x="3095083" y="54594"/>
                </a:lnTo>
                <a:lnTo>
                  <a:pt x="3084430" y="43939"/>
                </a:lnTo>
                <a:cubicBezTo>
                  <a:pt x="3084430" y="37993"/>
                  <a:pt x="3089220" y="33203"/>
                  <a:pt x="3095166" y="33203"/>
                </a:cubicBezTo>
                <a:close/>
                <a:moveTo>
                  <a:pt x="2618619" y="32211"/>
                </a:moveTo>
                <a:cubicBezTo>
                  <a:pt x="2624565" y="32211"/>
                  <a:pt x="2629355" y="37001"/>
                  <a:pt x="2629355" y="42947"/>
                </a:cubicBezTo>
                <a:cubicBezTo>
                  <a:pt x="2629355" y="48894"/>
                  <a:pt x="2624565" y="53685"/>
                  <a:pt x="2618619" y="53685"/>
                </a:cubicBezTo>
                <a:cubicBezTo>
                  <a:pt x="2612672" y="53685"/>
                  <a:pt x="2607882" y="48894"/>
                  <a:pt x="2607882" y="42947"/>
                </a:cubicBezTo>
                <a:cubicBezTo>
                  <a:pt x="2607882" y="37001"/>
                  <a:pt x="2612672" y="32211"/>
                  <a:pt x="2618619" y="32211"/>
                </a:cubicBezTo>
                <a:close/>
                <a:moveTo>
                  <a:pt x="3226651" y="31550"/>
                </a:moveTo>
                <a:cubicBezTo>
                  <a:pt x="3232597" y="31550"/>
                  <a:pt x="3237389" y="36340"/>
                  <a:pt x="3237389" y="42287"/>
                </a:cubicBezTo>
                <a:cubicBezTo>
                  <a:pt x="3237389" y="48233"/>
                  <a:pt x="3232597" y="53025"/>
                  <a:pt x="3226651" y="53025"/>
                </a:cubicBezTo>
                <a:cubicBezTo>
                  <a:pt x="3220704" y="53025"/>
                  <a:pt x="3215914" y="48233"/>
                  <a:pt x="3215914" y="42287"/>
                </a:cubicBezTo>
                <a:cubicBezTo>
                  <a:pt x="3215914" y="36340"/>
                  <a:pt x="3220704" y="31550"/>
                  <a:pt x="3226651" y="31550"/>
                </a:cubicBezTo>
                <a:close/>
                <a:moveTo>
                  <a:pt x="2493246" y="30229"/>
                </a:moveTo>
                <a:cubicBezTo>
                  <a:pt x="2499192" y="30229"/>
                  <a:pt x="2503984" y="35019"/>
                  <a:pt x="2503984" y="40965"/>
                </a:cubicBezTo>
                <a:cubicBezTo>
                  <a:pt x="2503984" y="46912"/>
                  <a:pt x="2499192" y="51702"/>
                  <a:pt x="2493246" y="51702"/>
                </a:cubicBezTo>
                <a:cubicBezTo>
                  <a:pt x="2487299" y="51702"/>
                  <a:pt x="2482510" y="46912"/>
                  <a:pt x="2482510" y="40965"/>
                </a:cubicBezTo>
                <a:cubicBezTo>
                  <a:pt x="2482510" y="35019"/>
                  <a:pt x="2487299" y="30229"/>
                  <a:pt x="2493246" y="30229"/>
                </a:cubicBezTo>
                <a:close/>
                <a:moveTo>
                  <a:pt x="3126550" y="29403"/>
                </a:moveTo>
                <a:cubicBezTo>
                  <a:pt x="3132496" y="29403"/>
                  <a:pt x="3137286" y="34193"/>
                  <a:pt x="3137286" y="40140"/>
                </a:cubicBezTo>
                <a:cubicBezTo>
                  <a:pt x="3137286" y="46086"/>
                  <a:pt x="3132496" y="50878"/>
                  <a:pt x="3126550" y="50878"/>
                </a:cubicBezTo>
                <a:cubicBezTo>
                  <a:pt x="3120604" y="50878"/>
                  <a:pt x="3115814" y="46086"/>
                  <a:pt x="3115814" y="40140"/>
                </a:cubicBezTo>
                <a:cubicBezTo>
                  <a:pt x="3115814" y="34193"/>
                  <a:pt x="3120604" y="29403"/>
                  <a:pt x="3126550" y="29403"/>
                </a:cubicBezTo>
                <a:close/>
                <a:moveTo>
                  <a:pt x="2589380" y="27915"/>
                </a:moveTo>
                <a:cubicBezTo>
                  <a:pt x="2595327" y="27915"/>
                  <a:pt x="2600118" y="32705"/>
                  <a:pt x="2600118" y="38652"/>
                </a:cubicBezTo>
                <a:cubicBezTo>
                  <a:pt x="2600118" y="44598"/>
                  <a:pt x="2595327" y="49390"/>
                  <a:pt x="2589380" y="49390"/>
                </a:cubicBezTo>
                <a:cubicBezTo>
                  <a:pt x="2583434" y="49390"/>
                  <a:pt x="2578644" y="44598"/>
                  <a:pt x="2578644" y="38652"/>
                </a:cubicBezTo>
                <a:cubicBezTo>
                  <a:pt x="2578644" y="32705"/>
                  <a:pt x="2583434" y="27915"/>
                  <a:pt x="2589380" y="27915"/>
                </a:cubicBezTo>
                <a:close/>
                <a:moveTo>
                  <a:pt x="2690638" y="26760"/>
                </a:moveTo>
                <a:cubicBezTo>
                  <a:pt x="2696584" y="26760"/>
                  <a:pt x="2701374" y="31550"/>
                  <a:pt x="2701374" y="37497"/>
                </a:cubicBezTo>
                <a:lnTo>
                  <a:pt x="2690640" y="48233"/>
                </a:lnTo>
                <a:lnTo>
                  <a:pt x="2691630" y="49223"/>
                </a:lnTo>
                <a:cubicBezTo>
                  <a:pt x="2691630" y="55170"/>
                  <a:pt x="2686838" y="59962"/>
                  <a:pt x="2680892" y="59962"/>
                </a:cubicBezTo>
                <a:lnTo>
                  <a:pt x="2680479" y="59549"/>
                </a:lnTo>
                <a:lnTo>
                  <a:pt x="2669989" y="70039"/>
                </a:lnTo>
                <a:cubicBezTo>
                  <a:pt x="2664042" y="70039"/>
                  <a:pt x="2659252" y="65247"/>
                  <a:pt x="2659252" y="59301"/>
                </a:cubicBezTo>
                <a:cubicBezTo>
                  <a:pt x="2659252" y="53354"/>
                  <a:pt x="2664042" y="48564"/>
                  <a:pt x="2669989" y="48564"/>
                </a:cubicBezTo>
                <a:lnTo>
                  <a:pt x="2670402" y="48977"/>
                </a:lnTo>
                <a:lnTo>
                  <a:pt x="2680892" y="38487"/>
                </a:lnTo>
                <a:lnTo>
                  <a:pt x="2679902" y="37497"/>
                </a:lnTo>
                <a:cubicBezTo>
                  <a:pt x="2679902" y="31550"/>
                  <a:pt x="2684691" y="26760"/>
                  <a:pt x="2690638" y="26760"/>
                </a:cubicBezTo>
                <a:close/>
                <a:moveTo>
                  <a:pt x="3253740" y="26596"/>
                </a:moveTo>
                <a:cubicBezTo>
                  <a:pt x="3259687" y="26596"/>
                  <a:pt x="3264478" y="31386"/>
                  <a:pt x="3264478" y="37332"/>
                </a:cubicBezTo>
                <a:cubicBezTo>
                  <a:pt x="3264478" y="43279"/>
                  <a:pt x="3259687" y="48070"/>
                  <a:pt x="3253740" y="48070"/>
                </a:cubicBezTo>
                <a:cubicBezTo>
                  <a:pt x="3247794" y="48070"/>
                  <a:pt x="3243004" y="43279"/>
                  <a:pt x="3243004" y="37332"/>
                </a:cubicBezTo>
                <a:cubicBezTo>
                  <a:pt x="3243004" y="31386"/>
                  <a:pt x="3247794" y="26596"/>
                  <a:pt x="3253740" y="26596"/>
                </a:cubicBezTo>
                <a:close/>
                <a:moveTo>
                  <a:pt x="2534542" y="25108"/>
                </a:moveTo>
                <a:cubicBezTo>
                  <a:pt x="2535699" y="25108"/>
                  <a:pt x="2536524" y="25933"/>
                  <a:pt x="2536524" y="27090"/>
                </a:cubicBezTo>
                <a:cubicBezTo>
                  <a:pt x="2536524" y="28247"/>
                  <a:pt x="2535699" y="29072"/>
                  <a:pt x="2534542" y="29072"/>
                </a:cubicBezTo>
                <a:cubicBezTo>
                  <a:pt x="2533385" y="29072"/>
                  <a:pt x="2532560" y="28247"/>
                  <a:pt x="2532560" y="27090"/>
                </a:cubicBezTo>
                <a:cubicBezTo>
                  <a:pt x="2532560" y="25933"/>
                  <a:pt x="2533385" y="25108"/>
                  <a:pt x="2534542" y="25108"/>
                </a:cubicBezTo>
                <a:close/>
                <a:moveTo>
                  <a:pt x="3156614" y="24943"/>
                </a:moveTo>
                <a:cubicBezTo>
                  <a:pt x="3162560" y="24943"/>
                  <a:pt x="3167352" y="29733"/>
                  <a:pt x="3167352" y="35679"/>
                </a:cubicBezTo>
                <a:cubicBezTo>
                  <a:pt x="3167352" y="41626"/>
                  <a:pt x="3162560" y="46417"/>
                  <a:pt x="3156614" y="46417"/>
                </a:cubicBezTo>
                <a:cubicBezTo>
                  <a:pt x="3150667" y="46417"/>
                  <a:pt x="3145878" y="41626"/>
                  <a:pt x="3145878" y="35679"/>
                </a:cubicBezTo>
                <a:cubicBezTo>
                  <a:pt x="3145878" y="29733"/>
                  <a:pt x="3150667" y="24943"/>
                  <a:pt x="3156614" y="24943"/>
                </a:cubicBezTo>
                <a:close/>
                <a:moveTo>
                  <a:pt x="3054202" y="24778"/>
                </a:moveTo>
                <a:cubicBezTo>
                  <a:pt x="3060148" y="24778"/>
                  <a:pt x="3064940" y="29568"/>
                  <a:pt x="3064940" y="35515"/>
                </a:cubicBezTo>
                <a:lnTo>
                  <a:pt x="3063205" y="37249"/>
                </a:lnTo>
                <a:lnTo>
                  <a:pt x="3073031" y="47076"/>
                </a:lnTo>
                <a:lnTo>
                  <a:pt x="3072783" y="47324"/>
                </a:lnTo>
                <a:lnTo>
                  <a:pt x="3081373" y="55914"/>
                </a:lnTo>
                <a:lnTo>
                  <a:pt x="3081786" y="55501"/>
                </a:lnTo>
                <a:cubicBezTo>
                  <a:pt x="3087732" y="55501"/>
                  <a:pt x="3092524" y="60291"/>
                  <a:pt x="3092524" y="66237"/>
                </a:cubicBezTo>
                <a:cubicBezTo>
                  <a:pt x="3092524" y="72184"/>
                  <a:pt x="3087732" y="76976"/>
                  <a:pt x="3081786" y="76976"/>
                </a:cubicBezTo>
                <a:lnTo>
                  <a:pt x="3071958" y="67148"/>
                </a:lnTo>
                <a:lnTo>
                  <a:pt x="3071545" y="67561"/>
                </a:lnTo>
                <a:cubicBezTo>
                  <a:pt x="3065598" y="67561"/>
                  <a:pt x="3060809" y="62769"/>
                  <a:pt x="3060809" y="56823"/>
                </a:cubicBezTo>
                <a:lnTo>
                  <a:pt x="3061057" y="56576"/>
                </a:lnTo>
                <a:lnTo>
                  <a:pt x="3051558" y="47076"/>
                </a:lnTo>
                <a:lnTo>
                  <a:pt x="3053293" y="45344"/>
                </a:lnTo>
                <a:lnTo>
                  <a:pt x="3043465" y="35515"/>
                </a:lnTo>
                <a:cubicBezTo>
                  <a:pt x="3043465" y="29568"/>
                  <a:pt x="3048255" y="24778"/>
                  <a:pt x="3054202" y="24778"/>
                </a:cubicBezTo>
                <a:close/>
                <a:moveTo>
                  <a:pt x="3279674" y="23622"/>
                </a:moveTo>
                <a:cubicBezTo>
                  <a:pt x="3283802" y="23622"/>
                  <a:pt x="3287106" y="26925"/>
                  <a:pt x="3287106" y="31054"/>
                </a:cubicBezTo>
                <a:cubicBezTo>
                  <a:pt x="3287106" y="35183"/>
                  <a:pt x="3283802" y="38489"/>
                  <a:pt x="3279674" y="38489"/>
                </a:cubicBezTo>
                <a:cubicBezTo>
                  <a:pt x="3275544" y="38489"/>
                  <a:pt x="3272241" y="35183"/>
                  <a:pt x="3272241" y="31054"/>
                </a:cubicBezTo>
                <a:cubicBezTo>
                  <a:pt x="3272241" y="26925"/>
                  <a:pt x="3275544" y="23622"/>
                  <a:pt x="3279674" y="23622"/>
                </a:cubicBezTo>
                <a:close/>
                <a:moveTo>
                  <a:pt x="2561465" y="22796"/>
                </a:moveTo>
                <a:cubicBezTo>
                  <a:pt x="2567412" y="22796"/>
                  <a:pt x="2572203" y="27586"/>
                  <a:pt x="2572203" y="33532"/>
                </a:cubicBezTo>
                <a:cubicBezTo>
                  <a:pt x="2572203" y="39479"/>
                  <a:pt x="2567412" y="44270"/>
                  <a:pt x="2561465" y="44270"/>
                </a:cubicBezTo>
                <a:cubicBezTo>
                  <a:pt x="2555519" y="44270"/>
                  <a:pt x="2550729" y="39479"/>
                  <a:pt x="2550729" y="33532"/>
                </a:cubicBezTo>
                <a:cubicBezTo>
                  <a:pt x="2550729" y="27586"/>
                  <a:pt x="2555519" y="22796"/>
                  <a:pt x="2561465" y="22796"/>
                </a:cubicBezTo>
                <a:close/>
                <a:moveTo>
                  <a:pt x="2659748" y="22135"/>
                </a:moveTo>
                <a:cubicBezTo>
                  <a:pt x="2665695" y="22135"/>
                  <a:pt x="2670486" y="26925"/>
                  <a:pt x="2670486" y="32872"/>
                </a:cubicBezTo>
                <a:cubicBezTo>
                  <a:pt x="2670486" y="38818"/>
                  <a:pt x="2665695" y="43610"/>
                  <a:pt x="2659748" y="43610"/>
                </a:cubicBezTo>
                <a:cubicBezTo>
                  <a:pt x="2653802" y="43610"/>
                  <a:pt x="2649012" y="38818"/>
                  <a:pt x="2649012" y="32872"/>
                </a:cubicBezTo>
                <a:cubicBezTo>
                  <a:pt x="2649012" y="26925"/>
                  <a:pt x="2653802" y="22135"/>
                  <a:pt x="2659748" y="22135"/>
                </a:cubicBezTo>
                <a:close/>
                <a:moveTo>
                  <a:pt x="3085916" y="19822"/>
                </a:moveTo>
                <a:cubicBezTo>
                  <a:pt x="3091863" y="19822"/>
                  <a:pt x="3096654" y="24612"/>
                  <a:pt x="3096654" y="30558"/>
                </a:cubicBezTo>
                <a:cubicBezTo>
                  <a:pt x="3096654" y="36505"/>
                  <a:pt x="3091863" y="41296"/>
                  <a:pt x="3085916" y="41296"/>
                </a:cubicBezTo>
                <a:cubicBezTo>
                  <a:pt x="3079970" y="41296"/>
                  <a:pt x="3075180" y="36505"/>
                  <a:pt x="3075180" y="30558"/>
                </a:cubicBezTo>
                <a:cubicBezTo>
                  <a:pt x="3075180" y="24612"/>
                  <a:pt x="3079970" y="19822"/>
                  <a:pt x="3085916" y="19822"/>
                </a:cubicBezTo>
                <a:close/>
                <a:moveTo>
                  <a:pt x="3185190" y="19657"/>
                </a:moveTo>
                <a:cubicBezTo>
                  <a:pt x="3191136" y="19657"/>
                  <a:pt x="3195928" y="24447"/>
                  <a:pt x="3195928" y="30394"/>
                </a:cubicBezTo>
                <a:cubicBezTo>
                  <a:pt x="3195928" y="36340"/>
                  <a:pt x="3191136" y="41132"/>
                  <a:pt x="3185190" y="41132"/>
                </a:cubicBezTo>
                <a:cubicBezTo>
                  <a:pt x="3179243" y="41132"/>
                  <a:pt x="3174454" y="36340"/>
                  <a:pt x="3174454" y="30394"/>
                </a:cubicBezTo>
                <a:cubicBezTo>
                  <a:pt x="3174454" y="24447"/>
                  <a:pt x="3179243" y="19657"/>
                  <a:pt x="3185190" y="19657"/>
                </a:cubicBezTo>
                <a:close/>
                <a:moveTo>
                  <a:pt x="2730611" y="17840"/>
                </a:moveTo>
                <a:cubicBezTo>
                  <a:pt x="2736557" y="17840"/>
                  <a:pt x="2741349" y="22630"/>
                  <a:pt x="2741349" y="28576"/>
                </a:cubicBezTo>
                <a:lnTo>
                  <a:pt x="2731105" y="38818"/>
                </a:lnTo>
                <a:lnTo>
                  <a:pt x="2733750" y="41461"/>
                </a:lnTo>
                <a:lnTo>
                  <a:pt x="2724335" y="50876"/>
                </a:lnTo>
                <a:lnTo>
                  <a:pt x="2725327" y="51868"/>
                </a:lnTo>
                <a:cubicBezTo>
                  <a:pt x="2725327" y="57814"/>
                  <a:pt x="2720535" y="62606"/>
                  <a:pt x="2714589" y="62606"/>
                </a:cubicBezTo>
                <a:lnTo>
                  <a:pt x="2714506" y="62523"/>
                </a:lnTo>
                <a:lnTo>
                  <a:pt x="2705007" y="72021"/>
                </a:lnTo>
                <a:lnTo>
                  <a:pt x="2704511" y="71525"/>
                </a:lnTo>
                <a:lnTo>
                  <a:pt x="2694271" y="81767"/>
                </a:lnTo>
                <a:cubicBezTo>
                  <a:pt x="2688324" y="81767"/>
                  <a:pt x="2683534" y="76976"/>
                  <a:pt x="2683534" y="71029"/>
                </a:cubicBezTo>
                <a:cubicBezTo>
                  <a:pt x="2683534" y="65083"/>
                  <a:pt x="2688324" y="60293"/>
                  <a:pt x="2694271" y="60293"/>
                </a:cubicBezTo>
                <a:lnTo>
                  <a:pt x="2694767" y="60789"/>
                </a:lnTo>
                <a:lnTo>
                  <a:pt x="2705007" y="50547"/>
                </a:lnTo>
                <a:lnTo>
                  <a:pt x="2705090" y="50630"/>
                </a:lnTo>
                <a:lnTo>
                  <a:pt x="2713267" y="42453"/>
                </a:lnTo>
                <a:lnTo>
                  <a:pt x="2712275" y="41461"/>
                </a:lnTo>
                <a:lnTo>
                  <a:pt x="2722518" y="31219"/>
                </a:lnTo>
                <a:lnTo>
                  <a:pt x="2719874" y="28576"/>
                </a:lnTo>
                <a:cubicBezTo>
                  <a:pt x="2719874" y="22630"/>
                  <a:pt x="2724664" y="17840"/>
                  <a:pt x="2730611" y="17840"/>
                </a:cubicBezTo>
                <a:close/>
                <a:moveTo>
                  <a:pt x="2601771" y="17014"/>
                </a:moveTo>
                <a:cubicBezTo>
                  <a:pt x="2603753" y="17014"/>
                  <a:pt x="2605404" y="18667"/>
                  <a:pt x="2605404" y="20649"/>
                </a:cubicBezTo>
                <a:cubicBezTo>
                  <a:pt x="2605404" y="22631"/>
                  <a:pt x="2603753" y="24282"/>
                  <a:pt x="2601771" y="24282"/>
                </a:cubicBezTo>
                <a:cubicBezTo>
                  <a:pt x="2599789" y="24282"/>
                  <a:pt x="2598136" y="22631"/>
                  <a:pt x="2598136" y="20649"/>
                </a:cubicBezTo>
                <a:cubicBezTo>
                  <a:pt x="2598136" y="18667"/>
                  <a:pt x="2599789" y="17014"/>
                  <a:pt x="2601771" y="17014"/>
                </a:cubicBezTo>
                <a:close/>
                <a:moveTo>
                  <a:pt x="2630180" y="16518"/>
                </a:moveTo>
                <a:cubicBezTo>
                  <a:pt x="2636127" y="16518"/>
                  <a:pt x="2640919" y="21308"/>
                  <a:pt x="2640919" y="27255"/>
                </a:cubicBezTo>
                <a:cubicBezTo>
                  <a:pt x="2640919" y="33201"/>
                  <a:pt x="2636127" y="37993"/>
                  <a:pt x="2630180" y="37993"/>
                </a:cubicBezTo>
                <a:cubicBezTo>
                  <a:pt x="2624234" y="37993"/>
                  <a:pt x="2619444" y="33201"/>
                  <a:pt x="2619444" y="27255"/>
                </a:cubicBezTo>
                <a:cubicBezTo>
                  <a:pt x="2619444" y="21308"/>
                  <a:pt x="2624234" y="16518"/>
                  <a:pt x="2630180" y="16518"/>
                </a:cubicBezTo>
                <a:close/>
                <a:moveTo>
                  <a:pt x="3015054" y="16354"/>
                </a:moveTo>
                <a:cubicBezTo>
                  <a:pt x="3021000" y="16354"/>
                  <a:pt x="3025790" y="21143"/>
                  <a:pt x="3025790" y="27090"/>
                </a:cubicBezTo>
                <a:lnTo>
                  <a:pt x="3022405" y="30477"/>
                </a:lnTo>
                <a:lnTo>
                  <a:pt x="3031737" y="39808"/>
                </a:lnTo>
                <a:lnTo>
                  <a:pt x="3030002" y="41543"/>
                </a:lnTo>
                <a:lnTo>
                  <a:pt x="3038510" y="50051"/>
                </a:lnTo>
                <a:lnTo>
                  <a:pt x="3037766" y="50796"/>
                </a:lnTo>
                <a:lnTo>
                  <a:pt x="3046108" y="59136"/>
                </a:lnTo>
                <a:lnTo>
                  <a:pt x="3045530" y="59715"/>
                </a:lnTo>
                <a:lnTo>
                  <a:pt x="3054533" y="68716"/>
                </a:lnTo>
                <a:lnTo>
                  <a:pt x="3053293" y="69956"/>
                </a:lnTo>
                <a:lnTo>
                  <a:pt x="3063948" y="80609"/>
                </a:lnTo>
                <a:cubicBezTo>
                  <a:pt x="3063948" y="86555"/>
                  <a:pt x="3059156" y="91347"/>
                  <a:pt x="3053210" y="91347"/>
                </a:cubicBezTo>
                <a:cubicBezTo>
                  <a:pt x="3047263" y="91347"/>
                  <a:pt x="3042473" y="86555"/>
                  <a:pt x="3042473" y="80609"/>
                </a:cubicBezTo>
                <a:lnTo>
                  <a:pt x="3043711" y="79371"/>
                </a:lnTo>
                <a:lnTo>
                  <a:pt x="3033058" y="68716"/>
                </a:lnTo>
                <a:lnTo>
                  <a:pt x="3033636" y="68138"/>
                </a:lnTo>
                <a:lnTo>
                  <a:pt x="3024634" y="59136"/>
                </a:lnTo>
                <a:lnTo>
                  <a:pt x="3025378" y="58394"/>
                </a:lnTo>
                <a:lnTo>
                  <a:pt x="3017036" y="50051"/>
                </a:lnTo>
                <a:lnTo>
                  <a:pt x="3018770" y="48316"/>
                </a:lnTo>
                <a:lnTo>
                  <a:pt x="3010264" y="39808"/>
                </a:lnTo>
                <a:lnTo>
                  <a:pt x="3013649" y="36423"/>
                </a:lnTo>
                <a:lnTo>
                  <a:pt x="3004318" y="27090"/>
                </a:lnTo>
                <a:cubicBezTo>
                  <a:pt x="3004318" y="21143"/>
                  <a:pt x="3009108" y="16354"/>
                  <a:pt x="3015054" y="16354"/>
                </a:cubicBezTo>
                <a:close/>
                <a:moveTo>
                  <a:pt x="3212776" y="15858"/>
                </a:moveTo>
                <a:cubicBezTo>
                  <a:pt x="3217236" y="15858"/>
                  <a:pt x="3220871" y="19491"/>
                  <a:pt x="3220871" y="23951"/>
                </a:cubicBezTo>
                <a:cubicBezTo>
                  <a:pt x="3220871" y="28411"/>
                  <a:pt x="3217236" y="32046"/>
                  <a:pt x="3212776" y="32046"/>
                </a:cubicBezTo>
                <a:cubicBezTo>
                  <a:pt x="3208317" y="32046"/>
                  <a:pt x="3204682" y="28411"/>
                  <a:pt x="3204682" y="23951"/>
                </a:cubicBezTo>
                <a:cubicBezTo>
                  <a:pt x="3204682" y="19491"/>
                  <a:pt x="3208317" y="15858"/>
                  <a:pt x="3212776" y="15858"/>
                </a:cubicBezTo>
                <a:close/>
                <a:moveTo>
                  <a:pt x="2801640" y="15032"/>
                </a:moveTo>
                <a:cubicBezTo>
                  <a:pt x="2807586" y="15032"/>
                  <a:pt x="2812376" y="19822"/>
                  <a:pt x="2812376" y="25769"/>
                </a:cubicBezTo>
                <a:lnTo>
                  <a:pt x="2804034" y="34112"/>
                </a:lnTo>
                <a:lnTo>
                  <a:pt x="2808245" y="38322"/>
                </a:lnTo>
                <a:lnTo>
                  <a:pt x="2800814" y="45755"/>
                </a:lnTo>
                <a:lnTo>
                  <a:pt x="2803457" y="48398"/>
                </a:lnTo>
                <a:lnTo>
                  <a:pt x="2796354" y="55503"/>
                </a:lnTo>
                <a:lnTo>
                  <a:pt x="2798170" y="57319"/>
                </a:lnTo>
                <a:lnTo>
                  <a:pt x="2790489" y="64999"/>
                </a:lnTo>
                <a:lnTo>
                  <a:pt x="2792223" y="66733"/>
                </a:lnTo>
                <a:lnTo>
                  <a:pt x="2783056" y="75900"/>
                </a:lnTo>
                <a:lnTo>
                  <a:pt x="2785618" y="78462"/>
                </a:lnTo>
                <a:cubicBezTo>
                  <a:pt x="2785618" y="84408"/>
                  <a:pt x="2780826" y="89198"/>
                  <a:pt x="2774880" y="89198"/>
                </a:cubicBezTo>
                <a:cubicBezTo>
                  <a:pt x="2768933" y="89198"/>
                  <a:pt x="2764143" y="84408"/>
                  <a:pt x="2764143" y="78462"/>
                </a:cubicBezTo>
                <a:lnTo>
                  <a:pt x="2773312" y="69295"/>
                </a:lnTo>
                <a:lnTo>
                  <a:pt x="2770750" y="66733"/>
                </a:lnTo>
                <a:lnTo>
                  <a:pt x="2778431" y="59053"/>
                </a:lnTo>
                <a:lnTo>
                  <a:pt x="2776697" y="57319"/>
                </a:lnTo>
                <a:lnTo>
                  <a:pt x="2783800" y="50215"/>
                </a:lnTo>
                <a:lnTo>
                  <a:pt x="2781983" y="48398"/>
                </a:lnTo>
                <a:lnTo>
                  <a:pt x="2789416" y="40965"/>
                </a:lnTo>
                <a:lnTo>
                  <a:pt x="2786772" y="38322"/>
                </a:lnTo>
                <a:lnTo>
                  <a:pt x="2795114" y="29981"/>
                </a:lnTo>
                <a:lnTo>
                  <a:pt x="2790903" y="25769"/>
                </a:lnTo>
                <a:cubicBezTo>
                  <a:pt x="2790903" y="19822"/>
                  <a:pt x="2795693" y="15032"/>
                  <a:pt x="2801640" y="15032"/>
                </a:cubicBezTo>
                <a:close/>
                <a:moveTo>
                  <a:pt x="3116310" y="14207"/>
                </a:moveTo>
                <a:cubicBezTo>
                  <a:pt x="3122256" y="14207"/>
                  <a:pt x="3127048" y="18996"/>
                  <a:pt x="3127048" y="24943"/>
                </a:cubicBezTo>
                <a:cubicBezTo>
                  <a:pt x="3127048" y="30889"/>
                  <a:pt x="3122256" y="35681"/>
                  <a:pt x="3116310" y="35681"/>
                </a:cubicBezTo>
                <a:cubicBezTo>
                  <a:pt x="3110363" y="35681"/>
                  <a:pt x="3105573" y="30889"/>
                  <a:pt x="3105573" y="24943"/>
                </a:cubicBezTo>
                <a:cubicBezTo>
                  <a:pt x="3105573" y="18996"/>
                  <a:pt x="3110363" y="14207"/>
                  <a:pt x="3116310" y="14207"/>
                </a:cubicBezTo>
                <a:close/>
                <a:moveTo>
                  <a:pt x="2699392" y="11729"/>
                </a:moveTo>
                <a:cubicBezTo>
                  <a:pt x="2705338" y="11729"/>
                  <a:pt x="2710130" y="16518"/>
                  <a:pt x="2710130" y="22465"/>
                </a:cubicBezTo>
                <a:cubicBezTo>
                  <a:pt x="2710130" y="28411"/>
                  <a:pt x="2705338" y="33203"/>
                  <a:pt x="2699392" y="33203"/>
                </a:cubicBezTo>
                <a:cubicBezTo>
                  <a:pt x="2693446" y="33203"/>
                  <a:pt x="2688656" y="28411"/>
                  <a:pt x="2688656" y="22465"/>
                </a:cubicBezTo>
                <a:cubicBezTo>
                  <a:pt x="2688656" y="16518"/>
                  <a:pt x="2693446" y="11729"/>
                  <a:pt x="2699392" y="11729"/>
                </a:cubicBezTo>
                <a:close/>
                <a:moveTo>
                  <a:pt x="2669330" y="10407"/>
                </a:moveTo>
                <a:cubicBezTo>
                  <a:pt x="2672138" y="10407"/>
                  <a:pt x="2674451" y="12719"/>
                  <a:pt x="2674451" y="15528"/>
                </a:cubicBezTo>
                <a:cubicBezTo>
                  <a:pt x="2674451" y="18336"/>
                  <a:pt x="2672138" y="20649"/>
                  <a:pt x="2669330" y="20649"/>
                </a:cubicBezTo>
                <a:cubicBezTo>
                  <a:pt x="2666520" y="20649"/>
                  <a:pt x="2664209" y="18336"/>
                  <a:pt x="2664209" y="15528"/>
                </a:cubicBezTo>
                <a:cubicBezTo>
                  <a:pt x="2664209" y="12719"/>
                  <a:pt x="2666520" y="10407"/>
                  <a:pt x="2669330" y="10407"/>
                </a:cubicBezTo>
                <a:close/>
                <a:moveTo>
                  <a:pt x="3047098" y="10078"/>
                </a:moveTo>
                <a:cubicBezTo>
                  <a:pt x="3053045" y="10078"/>
                  <a:pt x="3057834" y="14867"/>
                  <a:pt x="3057834" y="20814"/>
                </a:cubicBezTo>
                <a:cubicBezTo>
                  <a:pt x="3057834" y="26760"/>
                  <a:pt x="3053045" y="31552"/>
                  <a:pt x="3047098" y="31552"/>
                </a:cubicBezTo>
                <a:cubicBezTo>
                  <a:pt x="3041152" y="31552"/>
                  <a:pt x="3036362" y="26760"/>
                  <a:pt x="3036362" y="20814"/>
                </a:cubicBezTo>
                <a:cubicBezTo>
                  <a:pt x="3036362" y="14867"/>
                  <a:pt x="3041152" y="10078"/>
                  <a:pt x="3047098" y="10078"/>
                </a:cubicBezTo>
                <a:close/>
                <a:moveTo>
                  <a:pt x="3145546" y="9582"/>
                </a:moveTo>
                <a:cubicBezTo>
                  <a:pt x="3150171" y="9582"/>
                  <a:pt x="3153971" y="13381"/>
                  <a:pt x="3153971" y="18006"/>
                </a:cubicBezTo>
                <a:cubicBezTo>
                  <a:pt x="3153971" y="22631"/>
                  <a:pt x="3150171" y="26431"/>
                  <a:pt x="3145546" y="26431"/>
                </a:cubicBezTo>
                <a:cubicBezTo>
                  <a:pt x="3140921" y="26431"/>
                  <a:pt x="3137122" y="22631"/>
                  <a:pt x="3137122" y="18006"/>
                </a:cubicBezTo>
                <a:cubicBezTo>
                  <a:pt x="3137122" y="13381"/>
                  <a:pt x="3140921" y="9582"/>
                  <a:pt x="3145546" y="9582"/>
                </a:cubicBezTo>
                <a:close/>
                <a:moveTo>
                  <a:pt x="2768768" y="8425"/>
                </a:moveTo>
                <a:cubicBezTo>
                  <a:pt x="2774715" y="8425"/>
                  <a:pt x="2779506" y="13215"/>
                  <a:pt x="2779506" y="19161"/>
                </a:cubicBezTo>
                <a:lnTo>
                  <a:pt x="2769429" y="29239"/>
                </a:lnTo>
                <a:lnTo>
                  <a:pt x="2773888" y="33697"/>
                </a:lnTo>
                <a:lnTo>
                  <a:pt x="2765135" y="42451"/>
                </a:lnTo>
                <a:lnTo>
                  <a:pt x="2767778" y="45094"/>
                </a:lnTo>
                <a:lnTo>
                  <a:pt x="2759518" y="53354"/>
                </a:lnTo>
                <a:lnTo>
                  <a:pt x="2760675" y="54511"/>
                </a:lnTo>
                <a:lnTo>
                  <a:pt x="2752252" y="62934"/>
                </a:lnTo>
                <a:lnTo>
                  <a:pt x="2752912" y="63594"/>
                </a:lnTo>
                <a:lnTo>
                  <a:pt x="2743248" y="73257"/>
                </a:lnTo>
                <a:lnTo>
                  <a:pt x="2744156" y="74166"/>
                </a:lnTo>
                <a:cubicBezTo>
                  <a:pt x="2744156" y="80113"/>
                  <a:pt x="2739365" y="84904"/>
                  <a:pt x="2733418" y="84904"/>
                </a:cubicBezTo>
                <a:cubicBezTo>
                  <a:pt x="2727472" y="84904"/>
                  <a:pt x="2722682" y="80113"/>
                  <a:pt x="2722682" y="74166"/>
                </a:cubicBezTo>
                <a:lnTo>
                  <a:pt x="2732347" y="64503"/>
                </a:lnTo>
                <a:lnTo>
                  <a:pt x="2731438" y="63594"/>
                </a:lnTo>
                <a:lnTo>
                  <a:pt x="2739861" y="55172"/>
                </a:lnTo>
                <a:lnTo>
                  <a:pt x="2739200" y="54511"/>
                </a:lnTo>
                <a:lnTo>
                  <a:pt x="2747460" y="46251"/>
                </a:lnTo>
                <a:lnTo>
                  <a:pt x="2746304" y="45094"/>
                </a:lnTo>
                <a:lnTo>
                  <a:pt x="2755058" y="36340"/>
                </a:lnTo>
                <a:lnTo>
                  <a:pt x="2752415" y="33697"/>
                </a:lnTo>
                <a:lnTo>
                  <a:pt x="2762490" y="23622"/>
                </a:lnTo>
                <a:lnTo>
                  <a:pt x="2758032" y="19161"/>
                </a:lnTo>
                <a:cubicBezTo>
                  <a:pt x="2758032" y="13215"/>
                  <a:pt x="2762822" y="8425"/>
                  <a:pt x="2768768" y="8425"/>
                </a:cubicBezTo>
                <a:close/>
                <a:moveTo>
                  <a:pt x="2977557" y="7433"/>
                </a:moveTo>
                <a:cubicBezTo>
                  <a:pt x="2983504" y="7433"/>
                  <a:pt x="2988296" y="12223"/>
                  <a:pt x="2988296" y="18169"/>
                </a:cubicBezTo>
                <a:lnTo>
                  <a:pt x="2983091" y="23374"/>
                </a:lnTo>
                <a:lnTo>
                  <a:pt x="2992258" y="32541"/>
                </a:lnTo>
                <a:lnTo>
                  <a:pt x="2988954" y="35844"/>
                </a:lnTo>
                <a:lnTo>
                  <a:pt x="2996883" y="43773"/>
                </a:lnTo>
                <a:lnTo>
                  <a:pt x="2994820" y="45838"/>
                </a:lnTo>
                <a:lnTo>
                  <a:pt x="3002006" y="53023"/>
                </a:lnTo>
                <a:lnTo>
                  <a:pt x="3000435" y="54594"/>
                </a:lnTo>
                <a:lnTo>
                  <a:pt x="3007786" y="61944"/>
                </a:lnTo>
                <a:lnTo>
                  <a:pt x="3005887" y="63844"/>
                </a:lnTo>
                <a:lnTo>
                  <a:pt x="3014228" y="72184"/>
                </a:lnTo>
                <a:lnTo>
                  <a:pt x="3010925" y="75489"/>
                </a:lnTo>
                <a:lnTo>
                  <a:pt x="3021332" y="85894"/>
                </a:lnTo>
                <a:cubicBezTo>
                  <a:pt x="3021332" y="91841"/>
                  <a:pt x="3016540" y="96633"/>
                  <a:pt x="3010594" y="96633"/>
                </a:cubicBezTo>
                <a:cubicBezTo>
                  <a:pt x="3004647" y="96633"/>
                  <a:pt x="2999857" y="91841"/>
                  <a:pt x="2999857" y="85894"/>
                </a:cubicBezTo>
                <a:lnTo>
                  <a:pt x="3003161" y="82593"/>
                </a:lnTo>
                <a:lnTo>
                  <a:pt x="2992754" y="72184"/>
                </a:lnTo>
                <a:lnTo>
                  <a:pt x="2994653" y="70287"/>
                </a:lnTo>
                <a:lnTo>
                  <a:pt x="2986312" y="61944"/>
                </a:lnTo>
                <a:lnTo>
                  <a:pt x="2987881" y="60374"/>
                </a:lnTo>
                <a:lnTo>
                  <a:pt x="2980532" y="53023"/>
                </a:lnTo>
                <a:lnTo>
                  <a:pt x="2982595" y="50959"/>
                </a:lnTo>
                <a:lnTo>
                  <a:pt x="2975410" y="43773"/>
                </a:lnTo>
                <a:lnTo>
                  <a:pt x="2978714" y="40469"/>
                </a:lnTo>
                <a:lnTo>
                  <a:pt x="2970785" y="32541"/>
                </a:lnTo>
                <a:lnTo>
                  <a:pt x="2975988" y="27338"/>
                </a:lnTo>
                <a:lnTo>
                  <a:pt x="2966821" y="18169"/>
                </a:lnTo>
                <a:cubicBezTo>
                  <a:pt x="2966821" y="12223"/>
                  <a:pt x="2971611" y="7433"/>
                  <a:pt x="2977557" y="7433"/>
                </a:cubicBezTo>
                <a:close/>
                <a:moveTo>
                  <a:pt x="2838309" y="6607"/>
                </a:moveTo>
                <a:cubicBezTo>
                  <a:pt x="2844256" y="6607"/>
                  <a:pt x="2849047" y="11397"/>
                  <a:pt x="2849047" y="17344"/>
                </a:cubicBezTo>
                <a:lnTo>
                  <a:pt x="2840704" y="25687"/>
                </a:lnTo>
                <a:lnTo>
                  <a:pt x="2846734" y="31715"/>
                </a:lnTo>
                <a:lnTo>
                  <a:pt x="2839878" y="38570"/>
                </a:lnTo>
                <a:lnTo>
                  <a:pt x="2844091" y="42783"/>
                </a:lnTo>
                <a:lnTo>
                  <a:pt x="2838063" y="48812"/>
                </a:lnTo>
                <a:lnTo>
                  <a:pt x="2841118" y="51868"/>
                </a:lnTo>
                <a:lnTo>
                  <a:pt x="2835089" y="57898"/>
                </a:lnTo>
                <a:lnTo>
                  <a:pt x="2837815" y="60622"/>
                </a:lnTo>
                <a:lnTo>
                  <a:pt x="2830795" y="67642"/>
                </a:lnTo>
                <a:lnTo>
                  <a:pt x="2834015" y="70863"/>
                </a:lnTo>
                <a:lnTo>
                  <a:pt x="2825176" y="79700"/>
                </a:lnTo>
                <a:lnTo>
                  <a:pt x="2829886" y="84408"/>
                </a:lnTo>
                <a:cubicBezTo>
                  <a:pt x="2829886" y="90355"/>
                  <a:pt x="2825094" y="95146"/>
                  <a:pt x="2819148" y="95146"/>
                </a:cubicBezTo>
                <a:cubicBezTo>
                  <a:pt x="2813202" y="95146"/>
                  <a:pt x="2808412" y="90355"/>
                  <a:pt x="2808412" y="84408"/>
                </a:cubicBezTo>
                <a:lnTo>
                  <a:pt x="2817249" y="75571"/>
                </a:lnTo>
                <a:lnTo>
                  <a:pt x="2812541" y="70863"/>
                </a:lnTo>
                <a:lnTo>
                  <a:pt x="2819561" y="63843"/>
                </a:lnTo>
                <a:lnTo>
                  <a:pt x="2816340" y="60622"/>
                </a:lnTo>
                <a:lnTo>
                  <a:pt x="2822368" y="54594"/>
                </a:lnTo>
                <a:lnTo>
                  <a:pt x="2819644" y="51868"/>
                </a:lnTo>
                <a:lnTo>
                  <a:pt x="2825674" y="45838"/>
                </a:lnTo>
                <a:lnTo>
                  <a:pt x="2822618" y="42783"/>
                </a:lnTo>
                <a:lnTo>
                  <a:pt x="2829472" y="35929"/>
                </a:lnTo>
                <a:lnTo>
                  <a:pt x="2825259" y="31715"/>
                </a:lnTo>
                <a:lnTo>
                  <a:pt x="2833601" y="23374"/>
                </a:lnTo>
                <a:lnTo>
                  <a:pt x="2827573" y="17344"/>
                </a:lnTo>
                <a:cubicBezTo>
                  <a:pt x="2827573" y="11397"/>
                  <a:pt x="2832362" y="6607"/>
                  <a:pt x="2838309" y="6607"/>
                </a:cubicBezTo>
                <a:close/>
                <a:moveTo>
                  <a:pt x="2908015" y="6278"/>
                </a:moveTo>
                <a:cubicBezTo>
                  <a:pt x="2913961" y="6278"/>
                  <a:pt x="2918753" y="11068"/>
                  <a:pt x="2918753" y="17014"/>
                </a:cubicBezTo>
                <a:lnTo>
                  <a:pt x="2912064" y="23703"/>
                </a:lnTo>
                <a:lnTo>
                  <a:pt x="2919580" y="31219"/>
                </a:lnTo>
                <a:lnTo>
                  <a:pt x="2914540" y="36259"/>
                </a:lnTo>
                <a:lnTo>
                  <a:pt x="2920570" y="42287"/>
                </a:lnTo>
                <a:lnTo>
                  <a:pt x="2916522" y="46334"/>
                </a:lnTo>
                <a:lnTo>
                  <a:pt x="2921560" y="51372"/>
                </a:lnTo>
                <a:lnTo>
                  <a:pt x="2917844" y="55088"/>
                </a:lnTo>
                <a:lnTo>
                  <a:pt x="2922884" y="60126"/>
                </a:lnTo>
                <a:lnTo>
                  <a:pt x="2918506" y="64503"/>
                </a:lnTo>
                <a:lnTo>
                  <a:pt x="2924205" y="70202"/>
                </a:lnTo>
                <a:lnTo>
                  <a:pt x="2918257" y="76150"/>
                </a:lnTo>
                <a:lnTo>
                  <a:pt x="2925690" y="83583"/>
                </a:lnTo>
                <a:lnTo>
                  <a:pt x="2916935" y="92337"/>
                </a:lnTo>
                <a:lnTo>
                  <a:pt x="2927342" y="102742"/>
                </a:lnTo>
                <a:cubicBezTo>
                  <a:pt x="2927342" y="108689"/>
                  <a:pt x="2922551" y="113480"/>
                  <a:pt x="2916604" y="113480"/>
                </a:cubicBezTo>
                <a:cubicBezTo>
                  <a:pt x="2910658" y="113480"/>
                  <a:pt x="2905868" y="108689"/>
                  <a:pt x="2905868" y="102742"/>
                </a:cubicBezTo>
                <a:lnTo>
                  <a:pt x="2914622" y="93988"/>
                </a:lnTo>
                <a:lnTo>
                  <a:pt x="2904217" y="83583"/>
                </a:lnTo>
                <a:lnTo>
                  <a:pt x="2910163" y="77636"/>
                </a:lnTo>
                <a:lnTo>
                  <a:pt x="2902730" y="70202"/>
                </a:lnTo>
                <a:lnTo>
                  <a:pt x="2907108" y="65825"/>
                </a:lnTo>
                <a:lnTo>
                  <a:pt x="2901409" y="60126"/>
                </a:lnTo>
                <a:lnTo>
                  <a:pt x="2905126" y="56410"/>
                </a:lnTo>
                <a:lnTo>
                  <a:pt x="2900088" y="51372"/>
                </a:lnTo>
                <a:lnTo>
                  <a:pt x="2904134" y="47326"/>
                </a:lnTo>
                <a:lnTo>
                  <a:pt x="2899096" y="42287"/>
                </a:lnTo>
                <a:lnTo>
                  <a:pt x="2904134" y="37249"/>
                </a:lnTo>
                <a:lnTo>
                  <a:pt x="2898106" y="31219"/>
                </a:lnTo>
                <a:lnTo>
                  <a:pt x="2904794" y="24530"/>
                </a:lnTo>
                <a:lnTo>
                  <a:pt x="2897278" y="17014"/>
                </a:lnTo>
                <a:cubicBezTo>
                  <a:pt x="2897278" y="11068"/>
                  <a:pt x="2902068" y="6278"/>
                  <a:pt x="2908015" y="6278"/>
                </a:cubicBezTo>
                <a:close/>
                <a:moveTo>
                  <a:pt x="2737220" y="5451"/>
                </a:moveTo>
                <a:cubicBezTo>
                  <a:pt x="2740688" y="5451"/>
                  <a:pt x="2743496" y="8258"/>
                  <a:pt x="2743496" y="11729"/>
                </a:cubicBezTo>
                <a:cubicBezTo>
                  <a:pt x="2743496" y="15197"/>
                  <a:pt x="2740688" y="18005"/>
                  <a:pt x="2737220" y="18005"/>
                </a:cubicBezTo>
                <a:cubicBezTo>
                  <a:pt x="2733750" y="18005"/>
                  <a:pt x="2730942" y="15197"/>
                  <a:pt x="2730942" y="11729"/>
                </a:cubicBezTo>
                <a:cubicBezTo>
                  <a:pt x="2730942" y="8258"/>
                  <a:pt x="2733750" y="5451"/>
                  <a:pt x="2737220" y="5451"/>
                </a:cubicBezTo>
                <a:close/>
                <a:moveTo>
                  <a:pt x="3077823" y="5121"/>
                </a:moveTo>
                <a:cubicBezTo>
                  <a:pt x="3082448" y="5121"/>
                  <a:pt x="3086246" y="8921"/>
                  <a:pt x="3086246" y="13546"/>
                </a:cubicBezTo>
                <a:cubicBezTo>
                  <a:pt x="3086246" y="18171"/>
                  <a:pt x="3082448" y="21971"/>
                  <a:pt x="3077823" y="21971"/>
                </a:cubicBezTo>
                <a:cubicBezTo>
                  <a:pt x="3073198" y="21971"/>
                  <a:pt x="3069398" y="18171"/>
                  <a:pt x="3069398" y="13546"/>
                </a:cubicBezTo>
                <a:cubicBezTo>
                  <a:pt x="3069398" y="8921"/>
                  <a:pt x="3073198" y="5121"/>
                  <a:pt x="3077823" y="5121"/>
                </a:cubicBezTo>
                <a:close/>
                <a:moveTo>
                  <a:pt x="3009768" y="1982"/>
                </a:moveTo>
                <a:cubicBezTo>
                  <a:pt x="3014393" y="1982"/>
                  <a:pt x="3018193" y="5782"/>
                  <a:pt x="3018193" y="10407"/>
                </a:cubicBezTo>
                <a:cubicBezTo>
                  <a:pt x="3018193" y="15032"/>
                  <a:pt x="3014393" y="18832"/>
                  <a:pt x="3009768" y="18832"/>
                </a:cubicBezTo>
                <a:cubicBezTo>
                  <a:pt x="3005143" y="18832"/>
                  <a:pt x="3001344" y="15032"/>
                  <a:pt x="3001344" y="10407"/>
                </a:cubicBezTo>
                <a:cubicBezTo>
                  <a:pt x="3001344" y="5782"/>
                  <a:pt x="3005143" y="1982"/>
                  <a:pt x="3009768" y="1982"/>
                </a:cubicBezTo>
                <a:close/>
                <a:moveTo>
                  <a:pt x="2805273" y="1982"/>
                </a:moveTo>
                <a:cubicBezTo>
                  <a:pt x="2809379" y="1982"/>
                  <a:pt x="2812706" y="5310"/>
                  <a:pt x="2812706" y="9415"/>
                </a:cubicBezTo>
                <a:cubicBezTo>
                  <a:pt x="2812706" y="13520"/>
                  <a:pt x="2809378" y="16850"/>
                  <a:pt x="2805273" y="16850"/>
                </a:cubicBezTo>
                <a:cubicBezTo>
                  <a:pt x="2801168" y="16850"/>
                  <a:pt x="2797840" y="13520"/>
                  <a:pt x="2797840" y="9415"/>
                </a:cubicBezTo>
                <a:cubicBezTo>
                  <a:pt x="2797840" y="5310"/>
                  <a:pt x="2801168" y="1982"/>
                  <a:pt x="2805273" y="1982"/>
                </a:cubicBezTo>
                <a:close/>
                <a:moveTo>
                  <a:pt x="2941714" y="167"/>
                </a:moveTo>
                <a:cubicBezTo>
                  <a:pt x="2946338" y="167"/>
                  <a:pt x="2950138" y="3966"/>
                  <a:pt x="2950138" y="8591"/>
                </a:cubicBezTo>
                <a:lnTo>
                  <a:pt x="2944192" y="14538"/>
                </a:lnTo>
                <a:lnTo>
                  <a:pt x="2954763" y="25108"/>
                </a:lnTo>
                <a:lnTo>
                  <a:pt x="2949807" y="30064"/>
                </a:lnTo>
                <a:lnTo>
                  <a:pt x="2957241" y="37497"/>
                </a:lnTo>
                <a:lnTo>
                  <a:pt x="2953690" y="41048"/>
                </a:lnTo>
                <a:lnTo>
                  <a:pt x="2960214" y="47572"/>
                </a:lnTo>
                <a:lnTo>
                  <a:pt x="2957488" y="50299"/>
                </a:lnTo>
                <a:lnTo>
                  <a:pt x="2963517" y="56327"/>
                </a:lnTo>
                <a:lnTo>
                  <a:pt x="2960710" y="59134"/>
                </a:lnTo>
                <a:lnTo>
                  <a:pt x="2967152" y="65577"/>
                </a:lnTo>
                <a:lnTo>
                  <a:pt x="2963434" y="69295"/>
                </a:lnTo>
                <a:lnTo>
                  <a:pt x="2971281" y="77140"/>
                </a:lnTo>
                <a:lnTo>
                  <a:pt x="2965581" y="82839"/>
                </a:lnTo>
                <a:lnTo>
                  <a:pt x="2975906" y="93162"/>
                </a:lnTo>
                <a:cubicBezTo>
                  <a:pt x="2975906" y="99109"/>
                  <a:pt x="2971115" y="103901"/>
                  <a:pt x="2965168" y="103901"/>
                </a:cubicBezTo>
                <a:cubicBezTo>
                  <a:pt x="2959222" y="103901"/>
                  <a:pt x="2954432" y="99109"/>
                  <a:pt x="2954432" y="93162"/>
                </a:cubicBezTo>
                <a:lnTo>
                  <a:pt x="2960130" y="87464"/>
                </a:lnTo>
                <a:lnTo>
                  <a:pt x="2949807" y="77140"/>
                </a:lnTo>
                <a:lnTo>
                  <a:pt x="2953523" y="73424"/>
                </a:lnTo>
                <a:lnTo>
                  <a:pt x="2945678" y="65577"/>
                </a:lnTo>
                <a:lnTo>
                  <a:pt x="2948486" y="62769"/>
                </a:lnTo>
                <a:lnTo>
                  <a:pt x="2942043" y="56327"/>
                </a:lnTo>
                <a:lnTo>
                  <a:pt x="2944767" y="53602"/>
                </a:lnTo>
                <a:lnTo>
                  <a:pt x="2938739" y="47572"/>
                </a:lnTo>
                <a:lnTo>
                  <a:pt x="2942291" y="44021"/>
                </a:lnTo>
                <a:lnTo>
                  <a:pt x="2935767" y="37497"/>
                </a:lnTo>
                <a:lnTo>
                  <a:pt x="2940722" y="32542"/>
                </a:lnTo>
                <a:lnTo>
                  <a:pt x="2933289" y="25108"/>
                </a:lnTo>
                <a:lnTo>
                  <a:pt x="2941547" y="16850"/>
                </a:lnTo>
                <a:lnTo>
                  <a:pt x="2933289" y="8591"/>
                </a:lnTo>
                <a:cubicBezTo>
                  <a:pt x="2933289" y="3966"/>
                  <a:pt x="2937088" y="167"/>
                  <a:pt x="2941714" y="167"/>
                </a:cubicBezTo>
                <a:close/>
                <a:moveTo>
                  <a:pt x="2873494" y="0"/>
                </a:moveTo>
                <a:cubicBezTo>
                  <a:pt x="2878117" y="0"/>
                  <a:pt x="2881752" y="3635"/>
                  <a:pt x="2881752" y="8260"/>
                </a:cubicBezTo>
                <a:lnTo>
                  <a:pt x="2874484" y="15528"/>
                </a:lnTo>
                <a:lnTo>
                  <a:pt x="2883570" y="24612"/>
                </a:lnTo>
                <a:lnTo>
                  <a:pt x="2876962" y="31219"/>
                </a:lnTo>
                <a:lnTo>
                  <a:pt x="2882744" y="37001"/>
                </a:lnTo>
                <a:lnTo>
                  <a:pt x="2877294" y="42451"/>
                </a:lnTo>
                <a:lnTo>
                  <a:pt x="2881754" y="46912"/>
                </a:lnTo>
                <a:lnTo>
                  <a:pt x="2876881" y="51787"/>
                </a:lnTo>
                <a:lnTo>
                  <a:pt x="2880760" y="55666"/>
                </a:lnTo>
                <a:lnTo>
                  <a:pt x="2875641" y="60787"/>
                </a:lnTo>
                <a:lnTo>
                  <a:pt x="2879770" y="64916"/>
                </a:lnTo>
                <a:lnTo>
                  <a:pt x="2873411" y="71277"/>
                </a:lnTo>
                <a:lnTo>
                  <a:pt x="2878448" y="76315"/>
                </a:lnTo>
                <a:lnTo>
                  <a:pt x="2869778" y="84988"/>
                </a:lnTo>
                <a:lnTo>
                  <a:pt x="2877127" y="92337"/>
                </a:lnTo>
                <a:cubicBezTo>
                  <a:pt x="2877127" y="98284"/>
                  <a:pt x="2872337" y="103075"/>
                  <a:pt x="2866391" y="103075"/>
                </a:cubicBezTo>
                <a:cubicBezTo>
                  <a:pt x="2860444" y="103075"/>
                  <a:pt x="2855654" y="98284"/>
                  <a:pt x="2855654" y="92337"/>
                </a:cubicBezTo>
                <a:lnTo>
                  <a:pt x="2864325" y="83666"/>
                </a:lnTo>
                <a:lnTo>
                  <a:pt x="2856976" y="76315"/>
                </a:lnTo>
                <a:lnTo>
                  <a:pt x="2863335" y="69956"/>
                </a:lnTo>
                <a:lnTo>
                  <a:pt x="2858296" y="64916"/>
                </a:lnTo>
                <a:lnTo>
                  <a:pt x="2863416" y="59795"/>
                </a:lnTo>
                <a:lnTo>
                  <a:pt x="2859288" y="55666"/>
                </a:lnTo>
                <a:lnTo>
                  <a:pt x="2864160" y="50793"/>
                </a:lnTo>
                <a:lnTo>
                  <a:pt x="2860280" y="46912"/>
                </a:lnTo>
                <a:lnTo>
                  <a:pt x="2865730" y="41461"/>
                </a:lnTo>
                <a:lnTo>
                  <a:pt x="2861270" y="37001"/>
                </a:lnTo>
                <a:lnTo>
                  <a:pt x="2867877" y="30394"/>
                </a:lnTo>
                <a:lnTo>
                  <a:pt x="2862095" y="24612"/>
                </a:lnTo>
                <a:lnTo>
                  <a:pt x="2871841" y="14866"/>
                </a:lnTo>
                <a:lnTo>
                  <a:pt x="2865234" y="8260"/>
                </a:lnTo>
                <a:cubicBezTo>
                  <a:pt x="2865234" y="3635"/>
                  <a:pt x="2868867" y="0"/>
                  <a:pt x="2873494" y="0"/>
                </a:cubicBezTo>
                <a:close/>
              </a:path>
            </a:pathLst>
          </a:custGeom>
          <a:gradFill flip="none" rotWithShape="1">
            <a:gsLst>
              <a:gs pos="0">
                <a:schemeClr val="bg2"/>
              </a:gs>
              <a:gs pos="64000">
                <a:schemeClr val="accent1">
                  <a:lumMod val="50000"/>
                </a:schemeClr>
              </a:gs>
              <a:gs pos="84000">
                <a:schemeClr val="bg2">
                  <a:lumMod val="75000"/>
                </a:schemeClr>
              </a:gs>
              <a:gs pos="100000">
                <a:schemeClr val="accent1"/>
              </a:gs>
            </a:gsLst>
            <a:path path="circle">
              <a:fillToRect l="50000" t="50000" r="50000" b="50000"/>
            </a:path>
            <a:tileRect/>
          </a:gradFill>
          <a:ln w="9525" cap="flat">
            <a:noFill/>
            <a:prstDash val="solid"/>
            <a:miter/>
          </a:ln>
        </p:spPr>
        <p:txBody>
          <a:bodyPr wrap="square"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Segoe UI"/>
              <a:ea typeface="+mn-ea"/>
              <a:cs typeface="+mn-cs"/>
            </a:endParaRPr>
          </a:p>
        </p:txBody>
      </p:sp>
      <p:sp>
        <p:nvSpPr>
          <p:cNvPr id="2" name="Title 1"/>
          <p:cNvSpPr>
            <a:spLocks noGrp="1"/>
          </p:cNvSpPr>
          <p:nvPr userDrawn="1">
            <p:ph type="title" hasCustomPrompt="1"/>
          </p:nvPr>
        </p:nvSpPr>
        <p:spPr>
          <a:xfrm>
            <a:off x="585216" y="3152001"/>
            <a:ext cx="7339584" cy="553998"/>
          </a:xfrm>
          <a:noFill/>
        </p:spPr>
        <p:txBody>
          <a:bodyPr wrap="square" lIns="0" tIns="0" rIns="0" bIns="0" anchor="b" anchorCtr="0">
            <a:spAutoFit/>
          </a:bodyPr>
          <a:lstStyle>
            <a:lvl1pPr algn="l" defTabSz="932742" rtl="0" eaLnBrk="1" latinLnBrk="0" hangingPunct="1">
              <a:lnSpc>
                <a:spcPct val="100000"/>
              </a:lnSpc>
              <a:spcBef>
                <a:spcPct val="0"/>
              </a:spcBef>
              <a:buNone/>
              <a:defRPr lang="en-US" sz="3600" b="1" kern="1200" cap="all" spc="300" baseline="0" dirty="0">
                <a:ln w="3175">
                  <a:noFill/>
                </a:ln>
                <a:gradFill flip="none" rotWithShape="1">
                  <a:gsLst>
                    <a:gs pos="22000">
                      <a:schemeClr val="accent1">
                        <a:lumMod val="60000"/>
                        <a:lumOff val="40000"/>
                      </a:schemeClr>
                    </a:gs>
                    <a:gs pos="100000">
                      <a:schemeClr val="accent3"/>
                    </a:gs>
                  </a:gsLst>
                  <a:lin ang="5400000" scaled="1"/>
                  <a:tileRect/>
                </a:gradFill>
                <a:effectLst/>
                <a:latin typeface="+mj-lt"/>
                <a:ea typeface="+mn-ea"/>
                <a:cs typeface="Segoe UI" panose="020B0502040204020203" pitchFamily="34" charset="0"/>
              </a:defRPr>
            </a:lvl1pPr>
          </a:lstStyle>
          <a:p>
            <a:r>
              <a:rPr lang="en-US"/>
              <a:t>Section title</a:t>
            </a:r>
          </a:p>
        </p:txBody>
      </p:sp>
    </p:spTree>
    <p:extLst>
      <p:ext uri="{BB962C8B-B14F-4D97-AF65-F5344CB8AC3E}">
        <p14:creationId xmlns:p14="http://schemas.microsoft.com/office/powerpoint/2010/main" val="24276764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Section Title 2">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154FDAE-47E2-93DC-8292-8080776DEE64}"/>
              </a:ext>
            </a:extLst>
          </p:cNvPr>
          <p:cNvSpPr/>
          <p:nvPr userDrawn="1"/>
        </p:nvSpPr>
        <p:spPr bwMode="auto">
          <a:xfrm>
            <a:off x="0" y="0"/>
            <a:ext cx="12192000" cy="6858000"/>
          </a:xfrm>
          <a:prstGeom prst="rect">
            <a:avLst/>
          </a:prstGeom>
          <a:gradFill>
            <a:gsLst>
              <a:gs pos="0">
                <a:srgbClr val="243A5E">
                  <a:lumMod val="75000"/>
                </a:srgbClr>
              </a:gs>
              <a:gs pos="85000">
                <a:srgbClr val="243A5E">
                  <a:lumMod val="50000"/>
                </a:srgbClr>
              </a:gs>
            </a:gsLst>
            <a:lin ang="0" scaled="1"/>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p:cNvSpPr>
            <a:spLocks noGrp="1"/>
          </p:cNvSpPr>
          <p:nvPr userDrawn="1">
            <p:ph type="title" hasCustomPrompt="1"/>
          </p:nvPr>
        </p:nvSpPr>
        <p:spPr>
          <a:xfrm>
            <a:off x="585216" y="3179701"/>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3"/>
                </a:solidFill>
                <a:effectLst/>
                <a:latin typeface="+mj-lt"/>
                <a:ea typeface="+mn-ea"/>
                <a:cs typeface="Segoe UI" pitchFamily="34" charset="0"/>
              </a:defRPr>
            </a:lvl1pPr>
          </a:lstStyle>
          <a:p>
            <a:r>
              <a:rPr lang="en-US"/>
              <a:t>Section title</a:t>
            </a:r>
          </a:p>
        </p:txBody>
      </p:sp>
      <p:sp>
        <p:nvSpPr>
          <p:cNvPr id="16" name="Freeform: Shape 15">
            <a:extLst>
              <a:ext uri="{FF2B5EF4-FFF2-40B4-BE49-F238E27FC236}">
                <a16:creationId xmlns:a16="http://schemas.microsoft.com/office/drawing/2014/main" id="{888E6951-CEEF-206C-FBA9-1FE4619C30AA}"/>
              </a:ext>
            </a:extLst>
          </p:cNvPr>
          <p:cNvSpPr/>
          <p:nvPr/>
        </p:nvSpPr>
        <p:spPr>
          <a:xfrm flipH="1">
            <a:off x="1976642" y="4130193"/>
            <a:ext cx="10215358" cy="2727805"/>
          </a:xfrm>
          <a:custGeom>
            <a:avLst/>
            <a:gdLst>
              <a:gd name="connsiteX0" fmla="*/ 795455 w 10215358"/>
              <a:gd name="connsiteY0" fmla="*/ 462 h 2727805"/>
              <a:gd name="connsiteX1" fmla="*/ 499463 w 10215358"/>
              <a:gd name="connsiteY1" fmla="*/ 24353 h 2727805"/>
              <a:gd name="connsiteX2" fmla="*/ 95236 w 10215358"/>
              <a:gd name="connsiteY2" fmla="*/ 119650 h 2727805"/>
              <a:gd name="connsiteX3" fmla="*/ 0 w 10215358"/>
              <a:gd name="connsiteY3" fmla="*/ 157430 h 2727805"/>
              <a:gd name="connsiteX4" fmla="*/ 0 w 10215358"/>
              <a:gd name="connsiteY4" fmla="*/ 2727805 h 2727805"/>
              <a:gd name="connsiteX5" fmla="*/ 10215358 w 10215358"/>
              <a:gd name="connsiteY5" fmla="*/ 2727805 h 2727805"/>
              <a:gd name="connsiteX6" fmla="*/ 10144639 w 10215358"/>
              <a:gd name="connsiteY6" fmla="*/ 2558390 h 2727805"/>
              <a:gd name="connsiteX7" fmla="*/ 7779224 w 10215358"/>
              <a:gd name="connsiteY7" fmla="*/ 1469756 h 2727805"/>
              <a:gd name="connsiteX8" fmla="*/ 4355227 w 10215358"/>
              <a:gd name="connsiteY8" fmla="*/ 2122885 h 2727805"/>
              <a:gd name="connsiteX9" fmla="*/ 795455 w 10215358"/>
              <a:gd name="connsiteY9" fmla="*/ 462 h 2727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215358" h="2727805">
                <a:moveTo>
                  <a:pt x="795455" y="462"/>
                </a:moveTo>
                <a:cubicBezTo>
                  <a:pt x="698656" y="2360"/>
                  <a:pt x="600035" y="10149"/>
                  <a:pt x="499463" y="24353"/>
                </a:cubicBezTo>
                <a:cubicBezTo>
                  <a:pt x="355761" y="44646"/>
                  <a:pt x="220974" y="76809"/>
                  <a:pt x="95236" y="119650"/>
                </a:cubicBezTo>
                <a:lnTo>
                  <a:pt x="0" y="157430"/>
                </a:lnTo>
                <a:lnTo>
                  <a:pt x="0" y="2727805"/>
                </a:lnTo>
                <a:lnTo>
                  <a:pt x="10215358" y="2727805"/>
                </a:lnTo>
                <a:lnTo>
                  <a:pt x="10144639" y="2558390"/>
                </a:lnTo>
                <a:cubicBezTo>
                  <a:pt x="9781843" y="1762373"/>
                  <a:pt x="8946083" y="1086740"/>
                  <a:pt x="7779224" y="1469756"/>
                </a:cubicBezTo>
                <a:cubicBezTo>
                  <a:pt x="6647424" y="1841299"/>
                  <a:pt x="5731723" y="3225843"/>
                  <a:pt x="4355227" y="2122885"/>
                </a:cubicBezTo>
                <a:cubicBezTo>
                  <a:pt x="3289527" y="1268936"/>
                  <a:pt x="2247448" y="-28013"/>
                  <a:pt x="795455" y="462"/>
                </a:cubicBezTo>
                <a:close/>
              </a:path>
            </a:pathLst>
          </a:custGeom>
          <a:gradFill flip="none" rotWithShape="1">
            <a:gsLst>
              <a:gs pos="10000">
                <a:srgbClr val="0078D4">
                  <a:alpha val="0"/>
                </a:srgbClr>
              </a:gs>
              <a:gs pos="100000">
                <a:srgbClr val="243A5E">
                  <a:lumMod val="50000"/>
                </a:srgbClr>
              </a:gs>
            </a:gsLst>
            <a:lin ang="10800000" scaled="1"/>
            <a:tileRect/>
          </a:gradFill>
          <a:ln w="214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000000"/>
              </a:solidFill>
              <a:effectLst/>
              <a:uLnTx/>
              <a:uFillTx/>
            </a:endParaRPr>
          </a:p>
        </p:txBody>
      </p:sp>
      <p:sp>
        <p:nvSpPr>
          <p:cNvPr id="17" name="Freeform: Shape 16">
            <a:extLst>
              <a:ext uri="{FF2B5EF4-FFF2-40B4-BE49-F238E27FC236}">
                <a16:creationId xmlns:a16="http://schemas.microsoft.com/office/drawing/2014/main" id="{0FA565D8-2422-3EB6-10FF-58740CB7189A}"/>
              </a:ext>
            </a:extLst>
          </p:cNvPr>
          <p:cNvSpPr/>
          <p:nvPr/>
        </p:nvSpPr>
        <p:spPr>
          <a:xfrm flipH="1" flipV="1">
            <a:off x="152400" y="2735943"/>
            <a:ext cx="4122057" cy="4122055"/>
          </a:xfrm>
          <a:custGeom>
            <a:avLst/>
            <a:gdLst>
              <a:gd name="connsiteX0" fmla="*/ 6613200 w 6689088"/>
              <a:gd name="connsiteY0" fmla="*/ 6687632 h 6689084"/>
              <a:gd name="connsiteX1" fmla="*/ 6613929 w 6689088"/>
              <a:gd name="connsiteY1" fmla="*/ 6688360 h 6689084"/>
              <a:gd name="connsiteX2" fmla="*/ 6613200 w 6689088"/>
              <a:gd name="connsiteY2" fmla="*/ 6689084 h 6689084"/>
              <a:gd name="connsiteX3" fmla="*/ 6612476 w 6689088"/>
              <a:gd name="connsiteY3" fmla="*/ 6688360 h 6689084"/>
              <a:gd name="connsiteX4" fmla="*/ 6613200 w 6689088"/>
              <a:gd name="connsiteY4" fmla="*/ 6687632 h 6689084"/>
              <a:gd name="connsiteX5" fmla="*/ 6613200 w 6689088"/>
              <a:gd name="connsiteY5" fmla="*/ 6534050 h 6689084"/>
              <a:gd name="connsiteX6" fmla="*/ 6613566 w 6689088"/>
              <a:gd name="connsiteY6" fmla="*/ 6534413 h 6689084"/>
              <a:gd name="connsiteX7" fmla="*/ 6613200 w 6689088"/>
              <a:gd name="connsiteY7" fmla="*/ 6534775 h 6689084"/>
              <a:gd name="connsiteX8" fmla="*/ 6612838 w 6689088"/>
              <a:gd name="connsiteY8" fmla="*/ 6534413 h 6689084"/>
              <a:gd name="connsiteX9" fmla="*/ 6613200 w 6689088"/>
              <a:gd name="connsiteY9" fmla="*/ 6534050 h 6689084"/>
              <a:gd name="connsiteX10" fmla="*/ 6459619 w 6689088"/>
              <a:gd name="connsiteY10" fmla="*/ 6533684 h 6689084"/>
              <a:gd name="connsiteX11" fmla="*/ 6460344 w 6689088"/>
              <a:gd name="connsiteY11" fmla="*/ 6534413 h 6689084"/>
              <a:gd name="connsiteX12" fmla="*/ 6459619 w 6689088"/>
              <a:gd name="connsiteY12" fmla="*/ 6535137 h 6689084"/>
              <a:gd name="connsiteX13" fmla="*/ 6458891 w 6689088"/>
              <a:gd name="connsiteY13" fmla="*/ 6534413 h 6689084"/>
              <a:gd name="connsiteX14" fmla="*/ 6459619 w 6689088"/>
              <a:gd name="connsiteY14" fmla="*/ 6533684 h 6689084"/>
              <a:gd name="connsiteX15" fmla="*/ 6613200 w 6689088"/>
              <a:gd name="connsiteY15" fmla="*/ 6380465 h 6689084"/>
              <a:gd name="connsiteX16" fmla="*/ 6613566 w 6689088"/>
              <a:gd name="connsiteY16" fmla="*/ 6380827 h 6689084"/>
              <a:gd name="connsiteX17" fmla="*/ 6613200 w 6689088"/>
              <a:gd name="connsiteY17" fmla="*/ 6381193 h 6689084"/>
              <a:gd name="connsiteX18" fmla="*/ 6612838 w 6689088"/>
              <a:gd name="connsiteY18" fmla="*/ 6380827 h 6689084"/>
              <a:gd name="connsiteX19" fmla="*/ 6613200 w 6689088"/>
              <a:gd name="connsiteY19" fmla="*/ 6380465 h 6689084"/>
              <a:gd name="connsiteX20" fmla="*/ 6459616 w 6689088"/>
              <a:gd name="connsiteY20" fmla="*/ 6380465 h 6689084"/>
              <a:gd name="connsiteX21" fmla="*/ 6459982 w 6689088"/>
              <a:gd name="connsiteY21" fmla="*/ 6380827 h 6689084"/>
              <a:gd name="connsiteX22" fmla="*/ 6459616 w 6689088"/>
              <a:gd name="connsiteY22" fmla="*/ 6381193 h 6689084"/>
              <a:gd name="connsiteX23" fmla="*/ 6459254 w 6689088"/>
              <a:gd name="connsiteY23" fmla="*/ 6380827 h 6689084"/>
              <a:gd name="connsiteX24" fmla="*/ 6459616 w 6689088"/>
              <a:gd name="connsiteY24" fmla="*/ 6380465 h 6689084"/>
              <a:gd name="connsiteX25" fmla="*/ 6305668 w 6689088"/>
              <a:gd name="connsiteY25" fmla="*/ 6380103 h 6689084"/>
              <a:gd name="connsiteX26" fmla="*/ 6306396 w 6689088"/>
              <a:gd name="connsiteY26" fmla="*/ 6380831 h 6689084"/>
              <a:gd name="connsiteX27" fmla="*/ 6305668 w 6689088"/>
              <a:gd name="connsiteY27" fmla="*/ 6381555 h 6689084"/>
              <a:gd name="connsiteX28" fmla="*/ 6304940 w 6689088"/>
              <a:gd name="connsiteY28" fmla="*/ 6380831 h 6689084"/>
              <a:gd name="connsiteX29" fmla="*/ 6305668 w 6689088"/>
              <a:gd name="connsiteY29" fmla="*/ 6380103 h 6689084"/>
              <a:gd name="connsiteX30" fmla="*/ 6459616 w 6689088"/>
              <a:gd name="connsiteY30" fmla="*/ 6226518 h 6689084"/>
              <a:gd name="connsiteX31" fmla="*/ 6459982 w 6689088"/>
              <a:gd name="connsiteY31" fmla="*/ 6226880 h 6689084"/>
              <a:gd name="connsiteX32" fmla="*/ 6459616 w 6689088"/>
              <a:gd name="connsiteY32" fmla="*/ 6227242 h 6689084"/>
              <a:gd name="connsiteX33" fmla="*/ 6459254 w 6689088"/>
              <a:gd name="connsiteY33" fmla="*/ 6226880 h 6689084"/>
              <a:gd name="connsiteX34" fmla="*/ 6459616 w 6689088"/>
              <a:gd name="connsiteY34" fmla="*/ 6226518 h 6689084"/>
              <a:gd name="connsiteX35" fmla="*/ 6305668 w 6689088"/>
              <a:gd name="connsiteY35" fmla="*/ 6226518 h 6689084"/>
              <a:gd name="connsiteX36" fmla="*/ 6306034 w 6689088"/>
              <a:gd name="connsiteY36" fmla="*/ 6226880 h 6689084"/>
              <a:gd name="connsiteX37" fmla="*/ 6305668 w 6689088"/>
              <a:gd name="connsiteY37" fmla="*/ 6227242 h 6689084"/>
              <a:gd name="connsiteX38" fmla="*/ 6305306 w 6689088"/>
              <a:gd name="connsiteY38" fmla="*/ 6226880 h 6689084"/>
              <a:gd name="connsiteX39" fmla="*/ 6305668 w 6689088"/>
              <a:gd name="connsiteY39" fmla="*/ 6226518 h 6689084"/>
              <a:gd name="connsiteX40" fmla="*/ 6152083 w 6689088"/>
              <a:gd name="connsiteY40" fmla="*/ 6226156 h 6689084"/>
              <a:gd name="connsiteX41" fmla="*/ 6152811 w 6689088"/>
              <a:gd name="connsiteY41" fmla="*/ 6226884 h 6689084"/>
              <a:gd name="connsiteX42" fmla="*/ 6152083 w 6689088"/>
              <a:gd name="connsiteY42" fmla="*/ 6227608 h 6689084"/>
              <a:gd name="connsiteX43" fmla="*/ 6151358 w 6689088"/>
              <a:gd name="connsiteY43" fmla="*/ 6226884 h 6689084"/>
              <a:gd name="connsiteX44" fmla="*/ 6152083 w 6689088"/>
              <a:gd name="connsiteY44" fmla="*/ 6226156 h 6689084"/>
              <a:gd name="connsiteX45" fmla="*/ 6305668 w 6689088"/>
              <a:gd name="connsiteY45" fmla="*/ 6072933 h 6689084"/>
              <a:gd name="connsiteX46" fmla="*/ 6306034 w 6689088"/>
              <a:gd name="connsiteY46" fmla="*/ 6073295 h 6689084"/>
              <a:gd name="connsiteX47" fmla="*/ 6305668 w 6689088"/>
              <a:gd name="connsiteY47" fmla="*/ 6073661 h 6689084"/>
              <a:gd name="connsiteX48" fmla="*/ 6305306 w 6689088"/>
              <a:gd name="connsiteY48" fmla="*/ 6073295 h 6689084"/>
              <a:gd name="connsiteX49" fmla="*/ 6305668 w 6689088"/>
              <a:gd name="connsiteY49" fmla="*/ 6072933 h 6689084"/>
              <a:gd name="connsiteX50" fmla="*/ 6152086 w 6689088"/>
              <a:gd name="connsiteY50" fmla="*/ 6072933 h 6689084"/>
              <a:gd name="connsiteX51" fmla="*/ 6152448 w 6689088"/>
              <a:gd name="connsiteY51" fmla="*/ 6073295 h 6689084"/>
              <a:gd name="connsiteX52" fmla="*/ 6152086 w 6689088"/>
              <a:gd name="connsiteY52" fmla="*/ 6073661 h 6689084"/>
              <a:gd name="connsiteX53" fmla="*/ 6151724 w 6689088"/>
              <a:gd name="connsiteY53" fmla="*/ 6073295 h 6689084"/>
              <a:gd name="connsiteX54" fmla="*/ 6152086 w 6689088"/>
              <a:gd name="connsiteY54" fmla="*/ 6072933 h 6689084"/>
              <a:gd name="connsiteX55" fmla="*/ 5998136 w 6689088"/>
              <a:gd name="connsiteY55" fmla="*/ 6072570 h 6689084"/>
              <a:gd name="connsiteX56" fmla="*/ 5998864 w 6689088"/>
              <a:gd name="connsiteY56" fmla="*/ 6073298 h 6689084"/>
              <a:gd name="connsiteX57" fmla="*/ 5998136 w 6689088"/>
              <a:gd name="connsiteY57" fmla="*/ 6074023 h 6689084"/>
              <a:gd name="connsiteX58" fmla="*/ 5997411 w 6689088"/>
              <a:gd name="connsiteY58" fmla="*/ 6073298 h 6689084"/>
              <a:gd name="connsiteX59" fmla="*/ 5998136 w 6689088"/>
              <a:gd name="connsiteY59" fmla="*/ 6072570 h 6689084"/>
              <a:gd name="connsiteX60" fmla="*/ 6613200 w 6689088"/>
              <a:gd name="connsiteY60" fmla="*/ 5918985 h 6689084"/>
              <a:gd name="connsiteX61" fmla="*/ 6613566 w 6689088"/>
              <a:gd name="connsiteY61" fmla="*/ 5919347 h 6689084"/>
              <a:gd name="connsiteX62" fmla="*/ 6613200 w 6689088"/>
              <a:gd name="connsiteY62" fmla="*/ 5919709 h 6689084"/>
              <a:gd name="connsiteX63" fmla="*/ 6612838 w 6689088"/>
              <a:gd name="connsiteY63" fmla="*/ 5919347 h 6689084"/>
              <a:gd name="connsiteX64" fmla="*/ 6613200 w 6689088"/>
              <a:gd name="connsiteY64" fmla="*/ 5918985 h 6689084"/>
              <a:gd name="connsiteX65" fmla="*/ 6152086 w 6689088"/>
              <a:gd name="connsiteY65" fmla="*/ 5918985 h 6689084"/>
              <a:gd name="connsiteX66" fmla="*/ 6152448 w 6689088"/>
              <a:gd name="connsiteY66" fmla="*/ 5919347 h 6689084"/>
              <a:gd name="connsiteX67" fmla="*/ 6152086 w 6689088"/>
              <a:gd name="connsiteY67" fmla="*/ 5919709 h 6689084"/>
              <a:gd name="connsiteX68" fmla="*/ 6151724 w 6689088"/>
              <a:gd name="connsiteY68" fmla="*/ 5919347 h 6689084"/>
              <a:gd name="connsiteX69" fmla="*/ 6152086 w 6689088"/>
              <a:gd name="connsiteY69" fmla="*/ 5918985 h 6689084"/>
              <a:gd name="connsiteX70" fmla="*/ 5998136 w 6689088"/>
              <a:gd name="connsiteY70" fmla="*/ 5918985 h 6689084"/>
              <a:gd name="connsiteX71" fmla="*/ 5998502 w 6689088"/>
              <a:gd name="connsiteY71" fmla="*/ 5919347 h 6689084"/>
              <a:gd name="connsiteX72" fmla="*/ 5998136 w 6689088"/>
              <a:gd name="connsiteY72" fmla="*/ 5919709 h 6689084"/>
              <a:gd name="connsiteX73" fmla="*/ 5997773 w 6689088"/>
              <a:gd name="connsiteY73" fmla="*/ 5919347 h 6689084"/>
              <a:gd name="connsiteX74" fmla="*/ 5998136 w 6689088"/>
              <a:gd name="connsiteY74" fmla="*/ 5918985 h 6689084"/>
              <a:gd name="connsiteX75" fmla="*/ 5844554 w 6689088"/>
              <a:gd name="connsiteY75" fmla="*/ 5918623 h 6689084"/>
              <a:gd name="connsiteX76" fmla="*/ 5845278 w 6689088"/>
              <a:gd name="connsiteY76" fmla="*/ 5919347 h 6689084"/>
              <a:gd name="connsiteX77" fmla="*/ 5844554 w 6689088"/>
              <a:gd name="connsiteY77" fmla="*/ 5920075 h 6689084"/>
              <a:gd name="connsiteX78" fmla="*/ 5843826 w 6689088"/>
              <a:gd name="connsiteY78" fmla="*/ 5919347 h 6689084"/>
              <a:gd name="connsiteX79" fmla="*/ 5844554 w 6689088"/>
              <a:gd name="connsiteY79" fmla="*/ 5918623 h 6689084"/>
              <a:gd name="connsiteX80" fmla="*/ 6459616 w 6689088"/>
              <a:gd name="connsiteY80" fmla="*/ 5765400 h 6689084"/>
              <a:gd name="connsiteX81" fmla="*/ 6459982 w 6689088"/>
              <a:gd name="connsiteY81" fmla="*/ 5765762 h 6689084"/>
              <a:gd name="connsiteX82" fmla="*/ 6459616 w 6689088"/>
              <a:gd name="connsiteY82" fmla="*/ 5766128 h 6689084"/>
              <a:gd name="connsiteX83" fmla="*/ 6459254 w 6689088"/>
              <a:gd name="connsiteY83" fmla="*/ 5765762 h 6689084"/>
              <a:gd name="connsiteX84" fmla="*/ 6459616 w 6689088"/>
              <a:gd name="connsiteY84" fmla="*/ 5765400 h 6689084"/>
              <a:gd name="connsiteX85" fmla="*/ 5998136 w 6689088"/>
              <a:gd name="connsiteY85" fmla="*/ 5765400 h 6689084"/>
              <a:gd name="connsiteX86" fmla="*/ 5998502 w 6689088"/>
              <a:gd name="connsiteY86" fmla="*/ 5765762 h 6689084"/>
              <a:gd name="connsiteX87" fmla="*/ 5998136 w 6689088"/>
              <a:gd name="connsiteY87" fmla="*/ 5766128 h 6689084"/>
              <a:gd name="connsiteX88" fmla="*/ 5997773 w 6689088"/>
              <a:gd name="connsiteY88" fmla="*/ 5765762 h 6689084"/>
              <a:gd name="connsiteX89" fmla="*/ 5998136 w 6689088"/>
              <a:gd name="connsiteY89" fmla="*/ 5765400 h 6689084"/>
              <a:gd name="connsiteX90" fmla="*/ 5844550 w 6689088"/>
              <a:gd name="connsiteY90" fmla="*/ 5765400 h 6689084"/>
              <a:gd name="connsiteX91" fmla="*/ 5844916 w 6689088"/>
              <a:gd name="connsiteY91" fmla="*/ 5765762 h 6689084"/>
              <a:gd name="connsiteX92" fmla="*/ 5844550 w 6689088"/>
              <a:gd name="connsiteY92" fmla="*/ 5766128 h 6689084"/>
              <a:gd name="connsiteX93" fmla="*/ 5844188 w 6689088"/>
              <a:gd name="connsiteY93" fmla="*/ 5765762 h 6689084"/>
              <a:gd name="connsiteX94" fmla="*/ 5844550 w 6689088"/>
              <a:gd name="connsiteY94" fmla="*/ 5765400 h 6689084"/>
              <a:gd name="connsiteX95" fmla="*/ 5690602 w 6689088"/>
              <a:gd name="connsiteY95" fmla="*/ 5765038 h 6689084"/>
              <a:gd name="connsiteX96" fmla="*/ 5691331 w 6689088"/>
              <a:gd name="connsiteY96" fmla="*/ 5765766 h 6689084"/>
              <a:gd name="connsiteX97" fmla="*/ 5690602 w 6689088"/>
              <a:gd name="connsiteY97" fmla="*/ 5766490 h 6689084"/>
              <a:gd name="connsiteX98" fmla="*/ 5689874 w 6689088"/>
              <a:gd name="connsiteY98" fmla="*/ 5765766 h 6689084"/>
              <a:gd name="connsiteX99" fmla="*/ 5690602 w 6689088"/>
              <a:gd name="connsiteY99" fmla="*/ 5765038 h 6689084"/>
              <a:gd name="connsiteX100" fmla="*/ 6613200 w 6689088"/>
              <a:gd name="connsiteY100" fmla="*/ 5764313 h 6689084"/>
              <a:gd name="connsiteX101" fmla="*/ 6614653 w 6689088"/>
              <a:gd name="connsiteY101" fmla="*/ 5765766 h 6689084"/>
              <a:gd name="connsiteX102" fmla="*/ 6613200 w 6689088"/>
              <a:gd name="connsiteY102" fmla="*/ 5767218 h 6689084"/>
              <a:gd name="connsiteX103" fmla="*/ 6611752 w 6689088"/>
              <a:gd name="connsiteY103" fmla="*/ 5765766 h 6689084"/>
              <a:gd name="connsiteX104" fmla="*/ 6613200 w 6689088"/>
              <a:gd name="connsiteY104" fmla="*/ 5764313 h 6689084"/>
              <a:gd name="connsiteX105" fmla="*/ 6305668 w 6689088"/>
              <a:gd name="connsiteY105" fmla="*/ 5611452 h 6689084"/>
              <a:gd name="connsiteX106" fmla="*/ 6306034 w 6689088"/>
              <a:gd name="connsiteY106" fmla="*/ 5611815 h 6689084"/>
              <a:gd name="connsiteX107" fmla="*/ 6305668 w 6689088"/>
              <a:gd name="connsiteY107" fmla="*/ 5612177 h 6689084"/>
              <a:gd name="connsiteX108" fmla="*/ 6305306 w 6689088"/>
              <a:gd name="connsiteY108" fmla="*/ 5611815 h 6689084"/>
              <a:gd name="connsiteX109" fmla="*/ 6305668 w 6689088"/>
              <a:gd name="connsiteY109" fmla="*/ 5611452 h 6689084"/>
              <a:gd name="connsiteX110" fmla="*/ 5844550 w 6689088"/>
              <a:gd name="connsiteY110" fmla="*/ 5611452 h 6689084"/>
              <a:gd name="connsiteX111" fmla="*/ 5844916 w 6689088"/>
              <a:gd name="connsiteY111" fmla="*/ 5611815 h 6689084"/>
              <a:gd name="connsiteX112" fmla="*/ 5844550 w 6689088"/>
              <a:gd name="connsiteY112" fmla="*/ 5612181 h 6689084"/>
              <a:gd name="connsiteX113" fmla="*/ 5844188 w 6689088"/>
              <a:gd name="connsiteY113" fmla="*/ 5611815 h 6689084"/>
              <a:gd name="connsiteX114" fmla="*/ 5844550 w 6689088"/>
              <a:gd name="connsiteY114" fmla="*/ 5611452 h 6689084"/>
              <a:gd name="connsiteX115" fmla="*/ 5690606 w 6689088"/>
              <a:gd name="connsiteY115" fmla="*/ 5611452 h 6689084"/>
              <a:gd name="connsiteX116" fmla="*/ 5690972 w 6689088"/>
              <a:gd name="connsiteY116" fmla="*/ 5611815 h 6689084"/>
              <a:gd name="connsiteX117" fmla="*/ 5690606 w 6689088"/>
              <a:gd name="connsiteY117" fmla="*/ 5612181 h 6689084"/>
              <a:gd name="connsiteX118" fmla="*/ 5690244 w 6689088"/>
              <a:gd name="connsiteY118" fmla="*/ 5611815 h 6689084"/>
              <a:gd name="connsiteX119" fmla="*/ 5690606 w 6689088"/>
              <a:gd name="connsiteY119" fmla="*/ 5611452 h 6689084"/>
              <a:gd name="connsiteX120" fmla="*/ 5537021 w 6689088"/>
              <a:gd name="connsiteY120" fmla="*/ 5611090 h 6689084"/>
              <a:gd name="connsiteX121" fmla="*/ 5537750 w 6689088"/>
              <a:gd name="connsiteY121" fmla="*/ 5611815 h 6689084"/>
              <a:gd name="connsiteX122" fmla="*/ 5537021 w 6689088"/>
              <a:gd name="connsiteY122" fmla="*/ 5612543 h 6689084"/>
              <a:gd name="connsiteX123" fmla="*/ 5536297 w 6689088"/>
              <a:gd name="connsiteY123" fmla="*/ 5611815 h 6689084"/>
              <a:gd name="connsiteX124" fmla="*/ 5537021 w 6689088"/>
              <a:gd name="connsiteY124" fmla="*/ 5611090 h 6689084"/>
              <a:gd name="connsiteX125" fmla="*/ 6459616 w 6689088"/>
              <a:gd name="connsiteY125" fmla="*/ 5610366 h 6689084"/>
              <a:gd name="connsiteX126" fmla="*/ 6461068 w 6689088"/>
              <a:gd name="connsiteY126" fmla="*/ 5611818 h 6689084"/>
              <a:gd name="connsiteX127" fmla="*/ 6459616 w 6689088"/>
              <a:gd name="connsiteY127" fmla="*/ 5613271 h 6689084"/>
              <a:gd name="connsiteX128" fmla="*/ 6458163 w 6689088"/>
              <a:gd name="connsiteY128" fmla="*/ 5611818 h 6689084"/>
              <a:gd name="connsiteX129" fmla="*/ 6459616 w 6689088"/>
              <a:gd name="connsiteY129" fmla="*/ 5610366 h 6689084"/>
              <a:gd name="connsiteX130" fmla="*/ 6613200 w 6689088"/>
              <a:gd name="connsiteY130" fmla="*/ 5609638 h 6689084"/>
              <a:gd name="connsiteX131" fmla="*/ 6615381 w 6689088"/>
              <a:gd name="connsiteY131" fmla="*/ 5611815 h 6689084"/>
              <a:gd name="connsiteX132" fmla="*/ 6613200 w 6689088"/>
              <a:gd name="connsiteY132" fmla="*/ 5613995 h 6689084"/>
              <a:gd name="connsiteX133" fmla="*/ 6611024 w 6689088"/>
              <a:gd name="connsiteY133" fmla="*/ 5611815 h 6689084"/>
              <a:gd name="connsiteX134" fmla="*/ 6613200 w 6689088"/>
              <a:gd name="connsiteY134" fmla="*/ 5609638 h 6689084"/>
              <a:gd name="connsiteX135" fmla="*/ 6152086 w 6689088"/>
              <a:gd name="connsiteY135" fmla="*/ 5457871 h 6689084"/>
              <a:gd name="connsiteX136" fmla="*/ 6152448 w 6689088"/>
              <a:gd name="connsiteY136" fmla="*/ 5458233 h 6689084"/>
              <a:gd name="connsiteX137" fmla="*/ 6152086 w 6689088"/>
              <a:gd name="connsiteY137" fmla="*/ 5458595 h 6689084"/>
              <a:gd name="connsiteX138" fmla="*/ 6151724 w 6689088"/>
              <a:gd name="connsiteY138" fmla="*/ 5458233 h 6689084"/>
              <a:gd name="connsiteX139" fmla="*/ 6152086 w 6689088"/>
              <a:gd name="connsiteY139" fmla="*/ 5457871 h 6689084"/>
              <a:gd name="connsiteX140" fmla="*/ 5690606 w 6689088"/>
              <a:gd name="connsiteY140" fmla="*/ 5457871 h 6689084"/>
              <a:gd name="connsiteX141" fmla="*/ 5690972 w 6689088"/>
              <a:gd name="connsiteY141" fmla="*/ 5458233 h 6689084"/>
              <a:gd name="connsiteX142" fmla="*/ 5690606 w 6689088"/>
              <a:gd name="connsiteY142" fmla="*/ 5458595 h 6689084"/>
              <a:gd name="connsiteX143" fmla="*/ 5690244 w 6689088"/>
              <a:gd name="connsiteY143" fmla="*/ 5458233 h 6689084"/>
              <a:gd name="connsiteX144" fmla="*/ 5690606 w 6689088"/>
              <a:gd name="connsiteY144" fmla="*/ 5457871 h 6689084"/>
              <a:gd name="connsiteX145" fmla="*/ 5536659 w 6689088"/>
              <a:gd name="connsiteY145" fmla="*/ 5457871 h 6689084"/>
              <a:gd name="connsiteX146" fmla="*/ 5537021 w 6689088"/>
              <a:gd name="connsiteY146" fmla="*/ 5458233 h 6689084"/>
              <a:gd name="connsiteX147" fmla="*/ 5536659 w 6689088"/>
              <a:gd name="connsiteY147" fmla="*/ 5458595 h 6689084"/>
              <a:gd name="connsiteX148" fmla="*/ 5536297 w 6689088"/>
              <a:gd name="connsiteY148" fmla="*/ 5458233 h 6689084"/>
              <a:gd name="connsiteX149" fmla="*/ 5536659 w 6689088"/>
              <a:gd name="connsiteY149" fmla="*/ 5457871 h 6689084"/>
              <a:gd name="connsiteX150" fmla="*/ 5383078 w 6689088"/>
              <a:gd name="connsiteY150" fmla="*/ 5457505 h 6689084"/>
              <a:gd name="connsiteX151" fmla="*/ 5383802 w 6689088"/>
              <a:gd name="connsiteY151" fmla="*/ 5458233 h 6689084"/>
              <a:gd name="connsiteX152" fmla="*/ 5383078 w 6689088"/>
              <a:gd name="connsiteY152" fmla="*/ 5458957 h 6689084"/>
              <a:gd name="connsiteX153" fmla="*/ 5382350 w 6689088"/>
              <a:gd name="connsiteY153" fmla="*/ 5458233 h 6689084"/>
              <a:gd name="connsiteX154" fmla="*/ 5383078 w 6689088"/>
              <a:gd name="connsiteY154" fmla="*/ 5457505 h 6689084"/>
              <a:gd name="connsiteX155" fmla="*/ 6305668 w 6689088"/>
              <a:gd name="connsiteY155" fmla="*/ 5456781 h 6689084"/>
              <a:gd name="connsiteX156" fmla="*/ 6307120 w 6689088"/>
              <a:gd name="connsiteY156" fmla="*/ 5458233 h 6689084"/>
              <a:gd name="connsiteX157" fmla="*/ 6305668 w 6689088"/>
              <a:gd name="connsiteY157" fmla="*/ 5459685 h 6689084"/>
              <a:gd name="connsiteX158" fmla="*/ 6304216 w 6689088"/>
              <a:gd name="connsiteY158" fmla="*/ 5458233 h 6689084"/>
              <a:gd name="connsiteX159" fmla="*/ 6305668 w 6689088"/>
              <a:gd name="connsiteY159" fmla="*/ 5456781 h 6689084"/>
              <a:gd name="connsiteX160" fmla="*/ 6459619 w 6689088"/>
              <a:gd name="connsiteY160" fmla="*/ 5456053 h 6689084"/>
              <a:gd name="connsiteX161" fmla="*/ 6461796 w 6689088"/>
              <a:gd name="connsiteY161" fmla="*/ 5458233 h 6689084"/>
              <a:gd name="connsiteX162" fmla="*/ 6459619 w 6689088"/>
              <a:gd name="connsiteY162" fmla="*/ 5460410 h 6689084"/>
              <a:gd name="connsiteX163" fmla="*/ 6457439 w 6689088"/>
              <a:gd name="connsiteY163" fmla="*/ 5458233 h 6689084"/>
              <a:gd name="connsiteX164" fmla="*/ 6459619 w 6689088"/>
              <a:gd name="connsiteY164" fmla="*/ 5456053 h 6689084"/>
              <a:gd name="connsiteX165" fmla="*/ 6613200 w 6689088"/>
              <a:gd name="connsiteY165" fmla="*/ 5454966 h 6689084"/>
              <a:gd name="connsiteX166" fmla="*/ 6616468 w 6689088"/>
              <a:gd name="connsiteY166" fmla="*/ 5458233 h 6689084"/>
              <a:gd name="connsiteX167" fmla="*/ 6613200 w 6689088"/>
              <a:gd name="connsiteY167" fmla="*/ 5461500 h 6689084"/>
              <a:gd name="connsiteX168" fmla="*/ 6609934 w 6689088"/>
              <a:gd name="connsiteY168" fmla="*/ 5458233 h 6689084"/>
              <a:gd name="connsiteX169" fmla="*/ 6613200 w 6689088"/>
              <a:gd name="connsiteY169" fmla="*/ 5454966 h 6689084"/>
              <a:gd name="connsiteX170" fmla="*/ 5998136 w 6689088"/>
              <a:gd name="connsiteY170" fmla="*/ 5303924 h 6689084"/>
              <a:gd name="connsiteX171" fmla="*/ 5998502 w 6689088"/>
              <a:gd name="connsiteY171" fmla="*/ 5304286 h 6689084"/>
              <a:gd name="connsiteX172" fmla="*/ 5998136 w 6689088"/>
              <a:gd name="connsiteY172" fmla="*/ 5304652 h 6689084"/>
              <a:gd name="connsiteX173" fmla="*/ 5997773 w 6689088"/>
              <a:gd name="connsiteY173" fmla="*/ 5304286 h 6689084"/>
              <a:gd name="connsiteX174" fmla="*/ 5998136 w 6689088"/>
              <a:gd name="connsiteY174" fmla="*/ 5303924 h 6689084"/>
              <a:gd name="connsiteX175" fmla="*/ 5536659 w 6689088"/>
              <a:gd name="connsiteY175" fmla="*/ 5303924 h 6689084"/>
              <a:gd name="connsiteX176" fmla="*/ 5537021 w 6689088"/>
              <a:gd name="connsiteY176" fmla="*/ 5304286 h 6689084"/>
              <a:gd name="connsiteX177" fmla="*/ 5536659 w 6689088"/>
              <a:gd name="connsiteY177" fmla="*/ 5304652 h 6689084"/>
              <a:gd name="connsiteX178" fmla="*/ 5536297 w 6689088"/>
              <a:gd name="connsiteY178" fmla="*/ 5304286 h 6689084"/>
              <a:gd name="connsiteX179" fmla="*/ 5536659 w 6689088"/>
              <a:gd name="connsiteY179" fmla="*/ 5303924 h 6689084"/>
              <a:gd name="connsiteX180" fmla="*/ 5383074 w 6689088"/>
              <a:gd name="connsiteY180" fmla="*/ 5303924 h 6689084"/>
              <a:gd name="connsiteX181" fmla="*/ 5383436 w 6689088"/>
              <a:gd name="connsiteY181" fmla="*/ 5304286 h 6689084"/>
              <a:gd name="connsiteX182" fmla="*/ 5383074 w 6689088"/>
              <a:gd name="connsiteY182" fmla="*/ 5304652 h 6689084"/>
              <a:gd name="connsiteX183" fmla="*/ 5382712 w 6689088"/>
              <a:gd name="connsiteY183" fmla="*/ 5304286 h 6689084"/>
              <a:gd name="connsiteX184" fmla="*/ 5383074 w 6689088"/>
              <a:gd name="connsiteY184" fmla="*/ 5303924 h 6689084"/>
              <a:gd name="connsiteX185" fmla="*/ 5229126 w 6689088"/>
              <a:gd name="connsiteY185" fmla="*/ 5303558 h 6689084"/>
              <a:gd name="connsiteX186" fmla="*/ 5229854 w 6689088"/>
              <a:gd name="connsiteY186" fmla="*/ 5304282 h 6689084"/>
              <a:gd name="connsiteX187" fmla="*/ 5229126 w 6689088"/>
              <a:gd name="connsiteY187" fmla="*/ 5305010 h 6689084"/>
              <a:gd name="connsiteX188" fmla="*/ 5228402 w 6689088"/>
              <a:gd name="connsiteY188" fmla="*/ 5304282 h 6689084"/>
              <a:gd name="connsiteX189" fmla="*/ 5229126 w 6689088"/>
              <a:gd name="connsiteY189" fmla="*/ 5303558 h 6689084"/>
              <a:gd name="connsiteX190" fmla="*/ 6152086 w 6689088"/>
              <a:gd name="connsiteY190" fmla="*/ 5302833 h 6689084"/>
              <a:gd name="connsiteX191" fmla="*/ 6153539 w 6689088"/>
              <a:gd name="connsiteY191" fmla="*/ 5304286 h 6689084"/>
              <a:gd name="connsiteX192" fmla="*/ 6152086 w 6689088"/>
              <a:gd name="connsiteY192" fmla="*/ 5305738 h 6689084"/>
              <a:gd name="connsiteX193" fmla="*/ 6150638 w 6689088"/>
              <a:gd name="connsiteY193" fmla="*/ 5304286 h 6689084"/>
              <a:gd name="connsiteX194" fmla="*/ 6152086 w 6689088"/>
              <a:gd name="connsiteY194" fmla="*/ 5302833 h 6689084"/>
              <a:gd name="connsiteX195" fmla="*/ 6305672 w 6689088"/>
              <a:gd name="connsiteY195" fmla="*/ 5302105 h 6689084"/>
              <a:gd name="connsiteX196" fmla="*/ 6307848 w 6689088"/>
              <a:gd name="connsiteY196" fmla="*/ 5304282 h 6689084"/>
              <a:gd name="connsiteX197" fmla="*/ 6305672 w 6689088"/>
              <a:gd name="connsiteY197" fmla="*/ 5306462 h 6689084"/>
              <a:gd name="connsiteX198" fmla="*/ 6303492 w 6689088"/>
              <a:gd name="connsiteY198" fmla="*/ 5304282 h 6689084"/>
              <a:gd name="connsiteX199" fmla="*/ 6305672 w 6689088"/>
              <a:gd name="connsiteY199" fmla="*/ 5302105 h 6689084"/>
              <a:gd name="connsiteX200" fmla="*/ 6459619 w 6689088"/>
              <a:gd name="connsiteY200" fmla="*/ 5301019 h 6689084"/>
              <a:gd name="connsiteX201" fmla="*/ 6462882 w 6689088"/>
              <a:gd name="connsiteY201" fmla="*/ 5304286 h 6689084"/>
              <a:gd name="connsiteX202" fmla="*/ 6459619 w 6689088"/>
              <a:gd name="connsiteY202" fmla="*/ 5307553 h 6689084"/>
              <a:gd name="connsiteX203" fmla="*/ 6456348 w 6689088"/>
              <a:gd name="connsiteY203" fmla="*/ 5304286 h 6689084"/>
              <a:gd name="connsiteX204" fmla="*/ 6459619 w 6689088"/>
              <a:gd name="connsiteY204" fmla="*/ 5301019 h 6689084"/>
              <a:gd name="connsiteX205" fmla="*/ 6613200 w 6689088"/>
              <a:gd name="connsiteY205" fmla="*/ 5299929 h 6689084"/>
              <a:gd name="connsiteX206" fmla="*/ 6617558 w 6689088"/>
              <a:gd name="connsiteY206" fmla="*/ 5304286 h 6689084"/>
              <a:gd name="connsiteX207" fmla="*/ 6613200 w 6689088"/>
              <a:gd name="connsiteY207" fmla="*/ 5308643 h 6689084"/>
              <a:gd name="connsiteX208" fmla="*/ 6608844 w 6689088"/>
              <a:gd name="connsiteY208" fmla="*/ 5304286 h 6689084"/>
              <a:gd name="connsiteX209" fmla="*/ 6613200 w 6689088"/>
              <a:gd name="connsiteY209" fmla="*/ 5299929 h 6689084"/>
              <a:gd name="connsiteX210" fmla="*/ 5844550 w 6689088"/>
              <a:gd name="connsiteY210" fmla="*/ 5150338 h 6689084"/>
              <a:gd name="connsiteX211" fmla="*/ 5844916 w 6689088"/>
              <a:gd name="connsiteY211" fmla="*/ 5150700 h 6689084"/>
              <a:gd name="connsiteX212" fmla="*/ 5844550 w 6689088"/>
              <a:gd name="connsiteY212" fmla="*/ 5151063 h 6689084"/>
              <a:gd name="connsiteX213" fmla="*/ 5844188 w 6689088"/>
              <a:gd name="connsiteY213" fmla="*/ 5150700 h 6689084"/>
              <a:gd name="connsiteX214" fmla="*/ 5844550 w 6689088"/>
              <a:gd name="connsiteY214" fmla="*/ 5150338 h 6689084"/>
              <a:gd name="connsiteX215" fmla="*/ 5383074 w 6689088"/>
              <a:gd name="connsiteY215" fmla="*/ 5150338 h 6689084"/>
              <a:gd name="connsiteX216" fmla="*/ 5383436 w 6689088"/>
              <a:gd name="connsiteY216" fmla="*/ 5150700 h 6689084"/>
              <a:gd name="connsiteX217" fmla="*/ 5383074 w 6689088"/>
              <a:gd name="connsiteY217" fmla="*/ 5151063 h 6689084"/>
              <a:gd name="connsiteX218" fmla="*/ 5382712 w 6689088"/>
              <a:gd name="connsiteY218" fmla="*/ 5150700 h 6689084"/>
              <a:gd name="connsiteX219" fmla="*/ 5383074 w 6689088"/>
              <a:gd name="connsiteY219" fmla="*/ 5150338 h 6689084"/>
              <a:gd name="connsiteX220" fmla="*/ 5229126 w 6689088"/>
              <a:gd name="connsiteY220" fmla="*/ 5150338 h 6689084"/>
              <a:gd name="connsiteX221" fmla="*/ 5229488 w 6689088"/>
              <a:gd name="connsiteY221" fmla="*/ 5150700 h 6689084"/>
              <a:gd name="connsiteX222" fmla="*/ 5229126 w 6689088"/>
              <a:gd name="connsiteY222" fmla="*/ 5151063 h 6689084"/>
              <a:gd name="connsiteX223" fmla="*/ 5228764 w 6689088"/>
              <a:gd name="connsiteY223" fmla="*/ 5150700 h 6689084"/>
              <a:gd name="connsiteX224" fmla="*/ 5229126 w 6689088"/>
              <a:gd name="connsiteY224" fmla="*/ 5150338 h 6689084"/>
              <a:gd name="connsiteX225" fmla="*/ 5075545 w 6689088"/>
              <a:gd name="connsiteY225" fmla="*/ 5149972 h 6689084"/>
              <a:gd name="connsiteX226" fmla="*/ 5076270 w 6689088"/>
              <a:gd name="connsiteY226" fmla="*/ 5150700 h 6689084"/>
              <a:gd name="connsiteX227" fmla="*/ 5075545 w 6689088"/>
              <a:gd name="connsiteY227" fmla="*/ 5151425 h 6689084"/>
              <a:gd name="connsiteX228" fmla="*/ 5074817 w 6689088"/>
              <a:gd name="connsiteY228" fmla="*/ 5150700 h 6689084"/>
              <a:gd name="connsiteX229" fmla="*/ 5075545 w 6689088"/>
              <a:gd name="connsiteY229" fmla="*/ 5149972 h 6689084"/>
              <a:gd name="connsiteX230" fmla="*/ 5998139 w 6689088"/>
              <a:gd name="connsiteY230" fmla="*/ 5149248 h 6689084"/>
              <a:gd name="connsiteX231" fmla="*/ 5999592 w 6689088"/>
              <a:gd name="connsiteY231" fmla="*/ 5150700 h 6689084"/>
              <a:gd name="connsiteX232" fmla="*/ 5998139 w 6689088"/>
              <a:gd name="connsiteY232" fmla="*/ 5152153 h 6689084"/>
              <a:gd name="connsiteX233" fmla="*/ 5996690 w 6689088"/>
              <a:gd name="connsiteY233" fmla="*/ 5150700 h 6689084"/>
              <a:gd name="connsiteX234" fmla="*/ 5998139 w 6689088"/>
              <a:gd name="connsiteY234" fmla="*/ 5149248 h 6689084"/>
              <a:gd name="connsiteX235" fmla="*/ 6152083 w 6689088"/>
              <a:gd name="connsiteY235" fmla="*/ 5148524 h 6689084"/>
              <a:gd name="connsiteX236" fmla="*/ 6154263 w 6689088"/>
              <a:gd name="connsiteY236" fmla="*/ 5150704 h 6689084"/>
              <a:gd name="connsiteX237" fmla="*/ 6152083 w 6689088"/>
              <a:gd name="connsiteY237" fmla="*/ 5152881 h 6689084"/>
              <a:gd name="connsiteX238" fmla="*/ 6149906 w 6689088"/>
              <a:gd name="connsiteY238" fmla="*/ 5150704 h 6689084"/>
              <a:gd name="connsiteX239" fmla="*/ 6152083 w 6689088"/>
              <a:gd name="connsiteY239" fmla="*/ 5148524 h 6689084"/>
              <a:gd name="connsiteX240" fmla="*/ 6305672 w 6689088"/>
              <a:gd name="connsiteY240" fmla="*/ 5147434 h 6689084"/>
              <a:gd name="connsiteX241" fmla="*/ 6308935 w 6689088"/>
              <a:gd name="connsiteY241" fmla="*/ 5150700 h 6689084"/>
              <a:gd name="connsiteX242" fmla="*/ 6305672 w 6689088"/>
              <a:gd name="connsiteY242" fmla="*/ 5153967 h 6689084"/>
              <a:gd name="connsiteX243" fmla="*/ 6302401 w 6689088"/>
              <a:gd name="connsiteY243" fmla="*/ 5150700 h 6689084"/>
              <a:gd name="connsiteX244" fmla="*/ 6305672 w 6689088"/>
              <a:gd name="connsiteY244" fmla="*/ 5147434 h 6689084"/>
              <a:gd name="connsiteX245" fmla="*/ 6459616 w 6689088"/>
              <a:gd name="connsiteY245" fmla="*/ 5145981 h 6689084"/>
              <a:gd name="connsiteX246" fmla="*/ 6463972 w 6689088"/>
              <a:gd name="connsiteY246" fmla="*/ 5150338 h 6689084"/>
              <a:gd name="connsiteX247" fmla="*/ 6459616 w 6689088"/>
              <a:gd name="connsiteY247" fmla="*/ 5154695 h 6689084"/>
              <a:gd name="connsiteX248" fmla="*/ 6455258 w 6689088"/>
              <a:gd name="connsiteY248" fmla="*/ 5150338 h 6689084"/>
              <a:gd name="connsiteX249" fmla="*/ 6459616 w 6689088"/>
              <a:gd name="connsiteY249" fmla="*/ 5145981 h 6689084"/>
              <a:gd name="connsiteX250" fmla="*/ 6613200 w 6689088"/>
              <a:gd name="connsiteY250" fmla="*/ 5144891 h 6689084"/>
              <a:gd name="connsiteX251" fmla="*/ 6619010 w 6689088"/>
              <a:gd name="connsiteY251" fmla="*/ 5150700 h 6689084"/>
              <a:gd name="connsiteX252" fmla="*/ 6613200 w 6689088"/>
              <a:gd name="connsiteY252" fmla="*/ 5156510 h 6689084"/>
              <a:gd name="connsiteX253" fmla="*/ 6607395 w 6689088"/>
              <a:gd name="connsiteY253" fmla="*/ 5150700 h 6689084"/>
              <a:gd name="connsiteX254" fmla="*/ 6613200 w 6689088"/>
              <a:gd name="connsiteY254" fmla="*/ 5144891 h 6689084"/>
              <a:gd name="connsiteX255" fmla="*/ 5690606 w 6689088"/>
              <a:gd name="connsiteY255" fmla="*/ 4996391 h 6689084"/>
              <a:gd name="connsiteX256" fmla="*/ 5690972 w 6689088"/>
              <a:gd name="connsiteY256" fmla="*/ 4996753 h 6689084"/>
              <a:gd name="connsiteX257" fmla="*/ 5690606 w 6689088"/>
              <a:gd name="connsiteY257" fmla="*/ 4997119 h 6689084"/>
              <a:gd name="connsiteX258" fmla="*/ 5690244 w 6689088"/>
              <a:gd name="connsiteY258" fmla="*/ 4996753 h 6689084"/>
              <a:gd name="connsiteX259" fmla="*/ 5690606 w 6689088"/>
              <a:gd name="connsiteY259" fmla="*/ 4996391 h 6689084"/>
              <a:gd name="connsiteX260" fmla="*/ 5229126 w 6689088"/>
              <a:gd name="connsiteY260" fmla="*/ 4996391 h 6689084"/>
              <a:gd name="connsiteX261" fmla="*/ 5229488 w 6689088"/>
              <a:gd name="connsiteY261" fmla="*/ 4996753 h 6689084"/>
              <a:gd name="connsiteX262" fmla="*/ 5229126 w 6689088"/>
              <a:gd name="connsiteY262" fmla="*/ 4997119 h 6689084"/>
              <a:gd name="connsiteX263" fmla="*/ 5228764 w 6689088"/>
              <a:gd name="connsiteY263" fmla="*/ 4996753 h 6689084"/>
              <a:gd name="connsiteX264" fmla="*/ 5229126 w 6689088"/>
              <a:gd name="connsiteY264" fmla="*/ 4996391 h 6689084"/>
              <a:gd name="connsiteX265" fmla="*/ 5075541 w 6689088"/>
              <a:gd name="connsiteY265" fmla="*/ 4996391 h 6689084"/>
              <a:gd name="connsiteX266" fmla="*/ 5075904 w 6689088"/>
              <a:gd name="connsiteY266" fmla="*/ 4996753 h 6689084"/>
              <a:gd name="connsiteX267" fmla="*/ 5075541 w 6689088"/>
              <a:gd name="connsiteY267" fmla="*/ 4997119 h 6689084"/>
              <a:gd name="connsiteX268" fmla="*/ 5075179 w 6689088"/>
              <a:gd name="connsiteY268" fmla="*/ 4996753 h 6689084"/>
              <a:gd name="connsiteX269" fmla="*/ 5075541 w 6689088"/>
              <a:gd name="connsiteY269" fmla="*/ 4996391 h 6689084"/>
              <a:gd name="connsiteX270" fmla="*/ 4921594 w 6689088"/>
              <a:gd name="connsiteY270" fmla="*/ 4996029 h 6689084"/>
              <a:gd name="connsiteX271" fmla="*/ 4922322 w 6689088"/>
              <a:gd name="connsiteY271" fmla="*/ 4996753 h 6689084"/>
              <a:gd name="connsiteX272" fmla="*/ 4921594 w 6689088"/>
              <a:gd name="connsiteY272" fmla="*/ 4997481 h 6689084"/>
              <a:gd name="connsiteX273" fmla="*/ 4920870 w 6689088"/>
              <a:gd name="connsiteY273" fmla="*/ 4996753 h 6689084"/>
              <a:gd name="connsiteX274" fmla="*/ 4921594 w 6689088"/>
              <a:gd name="connsiteY274" fmla="*/ 4996029 h 6689084"/>
              <a:gd name="connsiteX275" fmla="*/ 5844554 w 6689088"/>
              <a:gd name="connsiteY275" fmla="*/ 4995301 h 6689084"/>
              <a:gd name="connsiteX276" fmla="*/ 5846006 w 6689088"/>
              <a:gd name="connsiteY276" fmla="*/ 4996753 h 6689084"/>
              <a:gd name="connsiteX277" fmla="*/ 5844554 w 6689088"/>
              <a:gd name="connsiteY277" fmla="*/ 4998205 h 6689084"/>
              <a:gd name="connsiteX278" fmla="*/ 5843102 w 6689088"/>
              <a:gd name="connsiteY278" fmla="*/ 4996753 h 6689084"/>
              <a:gd name="connsiteX279" fmla="*/ 5844554 w 6689088"/>
              <a:gd name="connsiteY279" fmla="*/ 4995301 h 6689084"/>
              <a:gd name="connsiteX280" fmla="*/ 5998136 w 6689088"/>
              <a:gd name="connsiteY280" fmla="*/ 4994577 h 6689084"/>
              <a:gd name="connsiteX281" fmla="*/ 6000316 w 6689088"/>
              <a:gd name="connsiteY281" fmla="*/ 4996753 h 6689084"/>
              <a:gd name="connsiteX282" fmla="*/ 5998136 w 6689088"/>
              <a:gd name="connsiteY282" fmla="*/ 4998934 h 6689084"/>
              <a:gd name="connsiteX283" fmla="*/ 5995959 w 6689088"/>
              <a:gd name="connsiteY283" fmla="*/ 4996753 h 6689084"/>
              <a:gd name="connsiteX284" fmla="*/ 5998136 w 6689088"/>
              <a:gd name="connsiteY284" fmla="*/ 4994577 h 6689084"/>
              <a:gd name="connsiteX285" fmla="*/ 6152083 w 6689088"/>
              <a:gd name="connsiteY285" fmla="*/ 4993486 h 6689084"/>
              <a:gd name="connsiteX286" fmla="*/ 6155350 w 6689088"/>
              <a:gd name="connsiteY286" fmla="*/ 4996753 h 6689084"/>
              <a:gd name="connsiteX287" fmla="*/ 6152083 w 6689088"/>
              <a:gd name="connsiteY287" fmla="*/ 5000024 h 6689084"/>
              <a:gd name="connsiteX288" fmla="*/ 6148816 w 6689088"/>
              <a:gd name="connsiteY288" fmla="*/ 4996753 h 6689084"/>
              <a:gd name="connsiteX289" fmla="*/ 6152083 w 6689088"/>
              <a:gd name="connsiteY289" fmla="*/ 4993486 h 6689084"/>
              <a:gd name="connsiteX290" fmla="*/ 6305668 w 6689088"/>
              <a:gd name="connsiteY290" fmla="*/ 4992396 h 6689084"/>
              <a:gd name="connsiteX291" fmla="*/ 6310025 w 6689088"/>
              <a:gd name="connsiteY291" fmla="*/ 4996753 h 6689084"/>
              <a:gd name="connsiteX292" fmla="*/ 6305668 w 6689088"/>
              <a:gd name="connsiteY292" fmla="*/ 5001110 h 6689084"/>
              <a:gd name="connsiteX293" fmla="*/ 6301311 w 6689088"/>
              <a:gd name="connsiteY293" fmla="*/ 4996753 h 6689084"/>
              <a:gd name="connsiteX294" fmla="*/ 6305668 w 6689088"/>
              <a:gd name="connsiteY294" fmla="*/ 4992396 h 6689084"/>
              <a:gd name="connsiteX295" fmla="*/ 6459616 w 6689088"/>
              <a:gd name="connsiteY295" fmla="*/ 4990944 h 6689084"/>
              <a:gd name="connsiteX296" fmla="*/ 6465425 w 6689088"/>
              <a:gd name="connsiteY296" fmla="*/ 4996753 h 6689084"/>
              <a:gd name="connsiteX297" fmla="*/ 6459616 w 6689088"/>
              <a:gd name="connsiteY297" fmla="*/ 5002562 h 6689084"/>
              <a:gd name="connsiteX298" fmla="*/ 6453806 w 6689088"/>
              <a:gd name="connsiteY298" fmla="*/ 4996753 h 6689084"/>
              <a:gd name="connsiteX299" fmla="*/ 6459616 w 6689088"/>
              <a:gd name="connsiteY299" fmla="*/ 4990944 h 6689084"/>
              <a:gd name="connsiteX300" fmla="*/ 6613200 w 6689088"/>
              <a:gd name="connsiteY300" fmla="*/ 4989491 h 6689084"/>
              <a:gd name="connsiteX301" fmla="*/ 6620462 w 6689088"/>
              <a:gd name="connsiteY301" fmla="*/ 4996753 h 6689084"/>
              <a:gd name="connsiteX302" fmla="*/ 6613200 w 6689088"/>
              <a:gd name="connsiteY302" fmla="*/ 5004015 h 6689084"/>
              <a:gd name="connsiteX303" fmla="*/ 6605939 w 6689088"/>
              <a:gd name="connsiteY303" fmla="*/ 4996753 h 6689084"/>
              <a:gd name="connsiteX304" fmla="*/ 6613200 w 6689088"/>
              <a:gd name="connsiteY304" fmla="*/ 4989491 h 6689084"/>
              <a:gd name="connsiteX305" fmla="*/ 5536659 w 6689088"/>
              <a:gd name="connsiteY305" fmla="*/ 4842806 h 6689084"/>
              <a:gd name="connsiteX306" fmla="*/ 5537021 w 6689088"/>
              <a:gd name="connsiteY306" fmla="*/ 4843168 h 6689084"/>
              <a:gd name="connsiteX307" fmla="*/ 5536659 w 6689088"/>
              <a:gd name="connsiteY307" fmla="*/ 4843530 h 6689084"/>
              <a:gd name="connsiteX308" fmla="*/ 5536297 w 6689088"/>
              <a:gd name="connsiteY308" fmla="*/ 4843168 h 6689084"/>
              <a:gd name="connsiteX309" fmla="*/ 5536659 w 6689088"/>
              <a:gd name="connsiteY309" fmla="*/ 4842806 h 6689084"/>
              <a:gd name="connsiteX310" fmla="*/ 5075541 w 6689088"/>
              <a:gd name="connsiteY310" fmla="*/ 4842806 h 6689084"/>
              <a:gd name="connsiteX311" fmla="*/ 5075904 w 6689088"/>
              <a:gd name="connsiteY311" fmla="*/ 4843168 h 6689084"/>
              <a:gd name="connsiteX312" fmla="*/ 5075541 w 6689088"/>
              <a:gd name="connsiteY312" fmla="*/ 4843530 h 6689084"/>
              <a:gd name="connsiteX313" fmla="*/ 5075179 w 6689088"/>
              <a:gd name="connsiteY313" fmla="*/ 4843168 h 6689084"/>
              <a:gd name="connsiteX314" fmla="*/ 5075541 w 6689088"/>
              <a:gd name="connsiteY314" fmla="*/ 4842806 h 6689084"/>
              <a:gd name="connsiteX315" fmla="*/ 4921594 w 6689088"/>
              <a:gd name="connsiteY315" fmla="*/ 4842806 h 6689084"/>
              <a:gd name="connsiteX316" fmla="*/ 4921956 w 6689088"/>
              <a:gd name="connsiteY316" fmla="*/ 4843168 h 6689084"/>
              <a:gd name="connsiteX317" fmla="*/ 4921594 w 6689088"/>
              <a:gd name="connsiteY317" fmla="*/ 4843530 h 6689084"/>
              <a:gd name="connsiteX318" fmla="*/ 4921232 w 6689088"/>
              <a:gd name="connsiteY318" fmla="*/ 4843168 h 6689084"/>
              <a:gd name="connsiteX319" fmla="*/ 4921594 w 6689088"/>
              <a:gd name="connsiteY319" fmla="*/ 4842806 h 6689084"/>
              <a:gd name="connsiteX320" fmla="*/ 4768012 w 6689088"/>
              <a:gd name="connsiteY320" fmla="*/ 4842444 h 6689084"/>
              <a:gd name="connsiteX321" fmla="*/ 4768736 w 6689088"/>
              <a:gd name="connsiteY321" fmla="*/ 4843172 h 6689084"/>
              <a:gd name="connsiteX322" fmla="*/ 4768012 w 6689088"/>
              <a:gd name="connsiteY322" fmla="*/ 4843896 h 6689084"/>
              <a:gd name="connsiteX323" fmla="*/ 4767284 w 6689088"/>
              <a:gd name="connsiteY323" fmla="*/ 4843172 h 6689084"/>
              <a:gd name="connsiteX324" fmla="*/ 4768012 w 6689088"/>
              <a:gd name="connsiteY324" fmla="*/ 4842444 h 6689084"/>
              <a:gd name="connsiteX325" fmla="*/ 5690606 w 6689088"/>
              <a:gd name="connsiteY325" fmla="*/ 4841353 h 6689084"/>
              <a:gd name="connsiteX326" fmla="*/ 5692059 w 6689088"/>
              <a:gd name="connsiteY326" fmla="*/ 4842806 h 6689084"/>
              <a:gd name="connsiteX327" fmla="*/ 5690606 w 6689088"/>
              <a:gd name="connsiteY327" fmla="*/ 4844258 h 6689084"/>
              <a:gd name="connsiteX328" fmla="*/ 5689154 w 6689088"/>
              <a:gd name="connsiteY328" fmla="*/ 4842806 h 6689084"/>
              <a:gd name="connsiteX329" fmla="*/ 5690606 w 6689088"/>
              <a:gd name="connsiteY329" fmla="*/ 4841353 h 6689084"/>
              <a:gd name="connsiteX330" fmla="*/ 5844554 w 6689088"/>
              <a:gd name="connsiteY330" fmla="*/ 4840629 h 6689084"/>
              <a:gd name="connsiteX331" fmla="*/ 5846730 w 6689088"/>
              <a:gd name="connsiteY331" fmla="*/ 4842810 h 6689084"/>
              <a:gd name="connsiteX332" fmla="*/ 5844554 w 6689088"/>
              <a:gd name="connsiteY332" fmla="*/ 4844986 h 6689084"/>
              <a:gd name="connsiteX333" fmla="*/ 5842374 w 6689088"/>
              <a:gd name="connsiteY333" fmla="*/ 4842810 h 6689084"/>
              <a:gd name="connsiteX334" fmla="*/ 5844554 w 6689088"/>
              <a:gd name="connsiteY334" fmla="*/ 4840629 h 6689084"/>
              <a:gd name="connsiteX335" fmla="*/ 5998136 w 6689088"/>
              <a:gd name="connsiteY335" fmla="*/ 4839901 h 6689084"/>
              <a:gd name="connsiteX336" fmla="*/ 6001402 w 6689088"/>
              <a:gd name="connsiteY336" fmla="*/ 4843168 h 6689084"/>
              <a:gd name="connsiteX337" fmla="*/ 5998136 w 6689088"/>
              <a:gd name="connsiteY337" fmla="*/ 4846435 h 6689084"/>
              <a:gd name="connsiteX338" fmla="*/ 5994868 w 6689088"/>
              <a:gd name="connsiteY338" fmla="*/ 4843168 h 6689084"/>
              <a:gd name="connsiteX339" fmla="*/ 5998136 w 6689088"/>
              <a:gd name="connsiteY339" fmla="*/ 4839901 h 6689084"/>
              <a:gd name="connsiteX340" fmla="*/ 6152083 w 6689088"/>
              <a:gd name="connsiteY340" fmla="*/ 4838449 h 6689084"/>
              <a:gd name="connsiteX341" fmla="*/ 6156440 w 6689088"/>
              <a:gd name="connsiteY341" fmla="*/ 4842806 h 6689084"/>
              <a:gd name="connsiteX342" fmla="*/ 6152083 w 6689088"/>
              <a:gd name="connsiteY342" fmla="*/ 4847163 h 6689084"/>
              <a:gd name="connsiteX343" fmla="*/ 6147726 w 6689088"/>
              <a:gd name="connsiteY343" fmla="*/ 4842806 h 6689084"/>
              <a:gd name="connsiteX344" fmla="*/ 6152083 w 6689088"/>
              <a:gd name="connsiteY344" fmla="*/ 4838449 h 6689084"/>
              <a:gd name="connsiteX345" fmla="*/ 6305668 w 6689088"/>
              <a:gd name="connsiteY345" fmla="*/ 4836996 h 6689084"/>
              <a:gd name="connsiteX346" fmla="*/ 6311478 w 6689088"/>
              <a:gd name="connsiteY346" fmla="*/ 4842806 h 6689084"/>
              <a:gd name="connsiteX347" fmla="*/ 6305668 w 6689088"/>
              <a:gd name="connsiteY347" fmla="*/ 4848615 h 6689084"/>
              <a:gd name="connsiteX348" fmla="*/ 6299858 w 6689088"/>
              <a:gd name="connsiteY348" fmla="*/ 4842806 h 6689084"/>
              <a:gd name="connsiteX349" fmla="*/ 6305668 w 6689088"/>
              <a:gd name="connsiteY349" fmla="*/ 4836996 h 6689084"/>
              <a:gd name="connsiteX350" fmla="*/ 6459616 w 6689088"/>
              <a:gd name="connsiteY350" fmla="*/ 4835544 h 6689084"/>
              <a:gd name="connsiteX351" fmla="*/ 6466877 w 6689088"/>
              <a:gd name="connsiteY351" fmla="*/ 4842806 h 6689084"/>
              <a:gd name="connsiteX352" fmla="*/ 6459616 w 6689088"/>
              <a:gd name="connsiteY352" fmla="*/ 4850067 h 6689084"/>
              <a:gd name="connsiteX353" fmla="*/ 6452354 w 6689088"/>
              <a:gd name="connsiteY353" fmla="*/ 4842806 h 6689084"/>
              <a:gd name="connsiteX354" fmla="*/ 6459616 w 6689088"/>
              <a:gd name="connsiteY354" fmla="*/ 4835544 h 6689084"/>
              <a:gd name="connsiteX355" fmla="*/ 6613200 w 6689088"/>
              <a:gd name="connsiteY355" fmla="*/ 4833730 h 6689084"/>
              <a:gd name="connsiteX356" fmla="*/ 6622280 w 6689088"/>
              <a:gd name="connsiteY356" fmla="*/ 4842806 h 6689084"/>
              <a:gd name="connsiteX357" fmla="*/ 6613200 w 6689088"/>
              <a:gd name="connsiteY357" fmla="*/ 4851886 h 6689084"/>
              <a:gd name="connsiteX358" fmla="*/ 6604124 w 6689088"/>
              <a:gd name="connsiteY358" fmla="*/ 4842806 h 6689084"/>
              <a:gd name="connsiteX359" fmla="*/ 6613200 w 6689088"/>
              <a:gd name="connsiteY359" fmla="*/ 4833730 h 6689084"/>
              <a:gd name="connsiteX360" fmla="*/ 5383074 w 6689088"/>
              <a:gd name="connsiteY360" fmla="*/ 4688858 h 6689084"/>
              <a:gd name="connsiteX361" fmla="*/ 5383436 w 6689088"/>
              <a:gd name="connsiteY361" fmla="*/ 4689220 h 6689084"/>
              <a:gd name="connsiteX362" fmla="*/ 5383074 w 6689088"/>
              <a:gd name="connsiteY362" fmla="*/ 4689586 h 6689084"/>
              <a:gd name="connsiteX363" fmla="*/ 5382712 w 6689088"/>
              <a:gd name="connsiteY363" fmla="*/ 4689220 h 6689084"/>
              <a:gd name="connsiteX364" fmla="*/ 5383074 w 6689088"/>
              <a:gd name="connsiteY364" fmla="*/ 4688858 h 6689084"/>
              <a:gd name="connsiteX365" fmla="*/ 4921594 w 6689088"/>
              <a:gd name="connsiteY365" fmla="*/ 4688858 h 6689084"/>
              <a:gd name="connsiteX366" fmla="*/ 4921956 w 6689088"/>
              <a:gd name="connsiteY366" fmla="*/ 4689220 h 6689084"/>
              <a:gd name="connsiteX367" fmla="*/ 4921594 w 6689088"/>
              <a:gd name="connsiteY367" fmla="*/ 4689586 h 6689084"/>
              <a:gd name="connsiteX368" fmla="*/ 4921232 w 6689088"/>
              <a:gd name="connsiteY368" fmla="*/ 4689220 h 6689084"/>
              <a:gd name="connsiteX369" fmla="*/ 4921594 w 6689088"/>
              <a:gd name="connsiteY369" fmla="*/ 4688858 h 6689084"/>
              <a:gd name="connsiteX370" fmla="*/ 4768008 w 6689088"/>
              <a:gd name="connsiteY370" fmla="*/ 4688858 h 6689084"/>
              <a:gd name="connsiteX371" fmla="*/ 4768370 w 6689088"/>
              <a:gd name="connsiteY371" fmla="*/ 4689220 h 6689084"/>
              <a:gd name="connsiteX372" fmla="*/ 4768008 w 6689088"/>
              <a:gd name="connsiteY372" fmla="*/ 4689586 h 6689084"/>
              <a:gd name="connsiteX373" fmla="*/ 4767646 w 6689088"/>
              <a:gd name="connsiteY373" fmla="*/ 4689220 h 6689084"/>
              <a:gd name="connsiteX374" fmla="*/ 4768008 w 6689088"/>
              <a:gd name="connsiteY374" fmla="*/ 4688858 h 6689084"/>
              <a:gd name="connsiteX375" fmla="*/ 4614065 w 6689088"/>
              <a:gd name="connsiteY375" fmla="*/ 4688496 h 6689084"/>
              <a:gd name="connsiteX376" fmla="*/ 4614789 w 6689088"/>
              <a:gd name="connsiteY376" fmla="*/ 4689220 h 6689084"/>
              <a:gd name="connsiteX377" fmla="*/ 4614065 w 6689088"/>
              <a:gd name="connsiteY377" fmla="*/ 4689949 h 6689084"/>
              <a:gd name="connsiteX378" fmla="*/ 4613337 w 6689088"/>
              <a:gd name="connsiteY378" fmla="*/ 4689220 h 6689084"/>
              <a:gd name="connsiteX379" fmla="*/ 4614065 w 6689088"/>
              <a:gd name="connsiteY379" fmla="*/ 4688496 h 6689084"/>
              <a:gd name="connsiteX380" fmla="*/ 5536659 w 6689088"/>
              <a:gd name="connsiteY380" fmla="*/ 4687406 h 6689084"/>
              <a:gd name="connsiteX381" fmla="*/ 5538112 w 6689088"/>
              <a:gd name="connsiteY381" fmla="*/ 4688858 h 6689084"/>
              <a:gd name="connsiteX382" fmla="*/ 5536659 w 6689088"/>
              <a:gd name="connsiteY382" fmla="*/ 4690311 h 6689084"/>
              <a:gd name="connsiteX383" fmla="*/ 5535207 w 6689088"/>
              <a:gd name="connsiteY383" fmla="*/ 4688858 h 6689084"/>
              <a:gd name="connsiteX384" fmla="*/ 5536659 w 6689088"/>
              <a:gd name="connsiteY384" fmla="*/ 4687406 h 6689084"/>
              <a:gd name="connsiteX385" fmla="*/ 5690602 w 6689088"/>
              <a:gd name="connsiteY385" fmla="*/ 4687044 h 6689084"/>
              <a:gd name="connsiteX386" fmla="*/ 5692783 w 6689088"/>
              <a:gd name="connsiteY386" fmla="*/ 4689220 h 6689084"/>
              <a:gd name="connsiteX387" fmla="*/ 5690602 w 6689088"/>
              <a:gd name="connsiteY387" fmla="*/ 4691401 h 6689084"/>
              <a:gd name="connsiteX388" fmla="*/ 5688426 w 6689088"/>
              <a:gd name="connsiteY388" fmla="*/ 4689220 h 6689084"/>
              <a:gd name="connsiteX389" fmla="*/ 5690602 w 6689088"/>
              <a:gd name="connsiteY389" fmla="*/ 4687044 h 6689084"/>
              <a:gd name="connsiteX390" fmla="*/ 5844554 w 6689088"/>
              <a:gd name="connsiteY390" fmla="*/ 4685954 h 6689084"/>
              <a:gd name="connsiteX391" fmla="*/ 5847817 w 6689088"/>
              <a:gd name="connsiteY391" fmla="*/ 4689220 h 6689084"/>
              <a:gd name="connsiteX392" fmla="*/ 5844554 w 6689088"/>
              <a:gd name="connsiteY392" fmla="*/ 4692491 h 6689084"/>
              <a:gd name="connsiteX393" fmla="*/ 5841284 w 6689088"/>
              <a:gd name="connsiteY393" fmla="*/ 4689220 h 6689084"/>
              <a:gd name="connsiteX394" fmla="*/ 5844554 w 6689088"/>
              <a:gd name="connsiteY394" fmla="*/ 4685954 h 6689084"/>
              <a:gd name="connsiteX395" fmla="*/ 5998136 w 6689088"/>
              <a:gd name="connsiteY395" fmla="*/ 4684863 h 6689084"/>
              <a:gd name="connsiteX396" fmla="*/ 6002492 w 6689088"/>
              <a:gd name="connsiteY396" fmla="*/ 4689220 h 6689084"/>
              <a:gd name="connsiteX397" fmla="*/ 5998136 w 6689088"/>
              <a:gd name="connsiteY397" fmla="*/ 4693577 h 6689084"/>
              <a:gd name="connsiteX398" fmla="*/ 5993778 w 6689088"/>
              <a:gd name="connsiteY398" fmla="*/ 4689220 h 6689084"/>
              <a:gd name="connsiteX399" fmla="*/ 5998136 w 6689088"/>
              <a:gd name="connsiteY399" fmla="*/ 4684863 h 6689084"/>
              <a:gd name="connsiteX400" fmla="*/ 6152086 w 6689088"/>
              <a:gd name="connsiteY400" fmla="*/ 4683411 h 6689084"/>
              <a:gd name="connsiteX401" fmla="*/ 6157896 w 6689088"/>
              <a:gd name="connsiteY401" fmla="*/ 4689220 h 6689084"/>
              <a:gd name="connsiteX402" fmla="*/ 6152086 w 6689088"/>
              <a:gd name="connsiteY402" fmla="*/ 4695030 h 6689084"/>
              <a:gd name="connsiteX403" fmla="*/ 6146277 w 6689088"/>
              <a:gd name="connsiteY403" fmla="*/ 4689220 h 6689084"/>
              <a:gd name="connsiteX404" fmla="*/ 6152086 w 6689088"/>
              <a:gd name="connsiteY404" fmla="*/ 4683411 h 6689084"/>
              <a:gd name="connsiteX405" fmla="*/ 6305668 w 6689088"/>
              <a:gd name="connsiteY405" fmla="*/ 4681959 h 6689084"/>
              <a:gd name="connsiteX406" fmla="*/ 6312930 w 6689088"/>
              <a:gd name="connsiteY406" fmla="*/ 4689220 h 6689084"/>
              <a:gd name="connsiteX407" fmla="*/ 6305668 w 6689088"/>
              <a:gd name="connsiteY407" fmla="*/ 4696482 h 6689084"/>
              <a:gd name="connsiteX408" fmla="*/ 6298406 w 6689088"/>
              <a:gd name="connsiteY408" fmla="*/ 4689220 h 6689084"/>
              <a:gd name="connsiteX409" fmla="*/ 6305668 w 6689088"/>
              <a:gd name="connsiteY409" fmla="*/ 4681959 h 6689084"/>
              <a:gd name="connsiteX410" fmla="*/ 6459616 w 6689088"/>
              <a:gd name="connsiteY410" fmla="*/ 4680144 h 6689084"/>
              <a:gd name="connsiteX411" fmla="*/ 6468696 w 6689088"/>
              <a:gd name="connsiteY411" fmla="*/ 4689220 h 6689084"/>
              <a:gd name="connsiteX412" fmla="*/ 6459616 w 6689088"/>
              <a:gd name="connsiteY412" fmla="*/ 4698300 h 6689084"/>
              <a:gd name="connsiteX413" fmla="*/ 6450540 w 6689088"/>
              <a:gd name="connsiteY413" fmla="*/ 4689220 h 6689084"/>
              <a:gd name="connsiteX414" fmla="*/ 6459616 w 6689088"/>
              <a:gd name="connsiteY414" fmla="*/ 4680144 h 6689084"/>
              <a:gd name="connsiteX415" fmla="*/ 6613200 w 6689088"/>
              <a:gd name="connsiteY415" fmla="*/ 4679054 h 6689084"/>
              <a:gd name="connsiteX416" fmla="*/ 6623367 w 6689088"/>
              <a:gd name="connsiteY416" fmla="*/ 4689220 h 6689084"/>
              <a:gd name="connsiteX417" fmla="*/ 6613200 w 6689088"/>
              <a:gd name="connsiteY417" fmla="*/ 4699387 h 6689084"/>
              <a:gd name="connsiteX418" fmla="*/ 6603034 w 6689088"/>
              <a:gd name="connsiteY418" fmla="*/ 4689220 h 6689084"/>
              <a:gd name="connsiteX419" fmla="*/ 6613200 w 6689088"/>
              <a:gd name="connsiteY419" fmla="*/ 4679054 h 6689084"/>
              <a:gd name="connsiteX420" fmla="*/ 5229126 w 6689088"/>
              <a:gd name="connsiteY420" fmla="*/ 4535273 h 6689084"/>
              <a:gd name="connsiteX421" fmla="*/ 5229488 w 6689088"/>
              <a:gd name="connsiteY421" fmla="*/ 4535635 h 6689084"/>
              <a:gd name="connsiteX422" fmla="*/ 5229126 w 6689088"/>
              <a:gd name="connsiteY422" fmla="*/ 4535997 h 6689084"/>
              <a:gd name="connsiteX423" fmla="*/ 5228764 w 6689088"/>
              <a:gd name="connsiteY423" fmla="*/ 4535635 h 6689084"/>
              <a:gd name="connsiteX424" fmla="*/ 5229126 w 6689088"/>
              <a:gd name="connsiteY424" fmla="*/ 4535273 h 6689084"/>
              <a:gd name="connsiteX425" fmla="*/ 4768008 w 6689088"/>
              <a:gd name="connsiteY425" fmla="*/ 4535273 h 6689084"/>
              <a:gd name="connsiteX426" fmla="*/ 4768370 w 6689088"/>
              <a:gd name="connsiteY426" fmla="*/ 4535635 h 6689084"/>
              <a:gd name="connsiteX427" fmla="*/ 4768008 w 6689088"/>
              <a:gd name="connsiteY427" fmla="*/ 4535997 h 6689084"/>
              <a:gd name="connsiteX428" fmla="*/ 4767646 w 6689088"/>
              <a:gd name="connsiteY428" fmla="*/ 4535635 h 6689084"/>
              <a:gd name="connsiteX429" fmla="*/ 4768008 w 6689088"/>
              <a:gd name="connsiteY429" fmla="*/ 4535273 h 6689084"/>
              <a:gd name="connsiteX430" fmla="*/ 4614061 w 6689088"/>
              <a:gd name="connsiteY430" fmla="*/ 4535273 h 6689084"/>
              <a:gd name="connsiteX431" fmla="*/ 4614424 w 6689088"/>
              <a:gd name="connsiteY431" fmla="*/ 4535635 h 6689084"/>
              <a:gd name="connsiteX432" fmla="*/ 4614061 w 6689088"/>
              <a:gd name="connsiteY432" fmla="*/ 4535997 h 6689084"/>
              <a:gd name="connsiteX433" fmla="*/ 4613699 w 6689088"/>
              <a:gd name="connsiteY433" fmla="*/ 4535635 h 6689084"/>
              <a:gd name="connsiteX434" fmla="*/ 4614061 w 6689088"/>
              <a:gd name="connsiteY434" fmla="*/ 4535273 h 6689084"/>
              <a:gd name="connsiteX435" fmla="*/ 4460480 w 6689088"/>
              <a:gd name="connsiteY435" fmla="*/ 4534911 h 6689084"/>
              <a:gd name="connsiteX436" fmla="*/ 4461204 w 6689088"/>
              <a:gd name="connsiteY436" fmla="*/ 4535635 h 6689084"/>
              <a:gd name="connsiteX437" fmla="*/ 4460480 w 6689088"/>
              <a:gd name="connsiteY437" fmla="*/ 4536363 h 6689084"/>
              <a:gd name="connsiteX438" fmla="*/ 4459752 w 6689088"/>
              <a:gd name="connsiteY438" fmla="*/ 4535635 h 6689084"/>
              <a:gd name="connsiteX439" fmla="*/ 4460480 w 6689088"/>
              <a:gd name="connsiteY439" fmla="*/ 4534911 h 6689084"/>
              <a:gd name="connsiteX440" fmla="*/ 5383074 w 6689088"/>
              <a:gd name="connsiteY440" fmla="*/ 4533821 h 6689084"/>
              <a:gd name="connsiteX441" fmla="*/ 5384526 w 6689088"/>
              <a:gd name="connsiteY441" fmla="*/ 4535273 h 6689084"/>
              <a:gd name="connsiteX442" fmla="*/ 5383074 w 6689088"/>
              <a:gd name="connsiteY442" fmla="*/ 4536725 h 6689084"/>
              <a:gd name="connsiteX443" fmla="*/ 5381622 w 6689088"/>
              <a:gd name="connsiteY443" fmla="*/ 4535273 h 6689084"/>
              <a:gd name="connsiteX444" fmla="*/ 5383074 w 6689088"/>
              <a:gd name="connsiteY444" fmla="*/ 4533821 h 6689084"/>
              <a:gd name="connsiteX445" fmla="*/ 5536659 w 6689088"/>
              <a:gd name="connsiteY445" fmla="*/ 4533096 h 6689084"/>
              <a:gd name="connsiteX446" fmla="*/ 5538840 w 6689088"/>
              <a:gd name="connsiteY446" fmla="*/ 4535277 h 6689084"/>
              <a:gd name="connsiteX447" fmla="*/ 5536659 w 6689088"/>
              <a:gd name="connsiteY447" fmla="*/ 4537453 h 6689084"/>
              <a:gd name="connsiteX448" fmla="*/ 5534482 w 6689088"/>
              <a:gd name="connsiteY448" fmla="*/ 4535277 h 6689084"/>
              <a:gd name="connsiteX449" fmla="*/ 5536659 w 6689088"/>
              <a:gd name="connsiteY449" fmla="*/ 4533096 h 6689084"/>
              <a:gd name="connsiteX450" fmla="*/ 5690606 w 6689088"/>
              <a:gd name="connsiteY450" fmla="*/ 4532368 h 6689084"/>
              <a:gd name="connsiteX451" fmla="*/ 5693870 w 6689088"/>
              <a:gd name="connsiteY451" fmla="*/ 4535635 h 6689084"/>
              <a:gd name="connsiteX452" fmla="*/ 5690606 w 6689088"/>
              <a:gd name="connsiteY452" fmla="*/ 4538906 h 6689084"/>
              <a:gd name="connsiteX453" fmla="*/ 5687336 w 6689088"/>
              <a:gd name="connsiteY453" fmla="*/ 4535635 h 6689084"/>
              <a:gd name="connsiteX454" fmla="*/ 5690606 w 6689088"/>
              <a:gd name="connsiteY454" fmla="*/ 4532368 h 6689084"/>
              <a:gd name="connsiteX455" fmla="*/ 5844554 w 6689088"/>
              <a:gd name="connsiteY455" fmla="*/ 4530916 h 6689084"/>
              <a:gd name="connsiteX456" fmla="*/ 5848911 w 6689088"/>
              <a:gd name="connsiteY456" fmla="*/ 4535273 h 6689084"/>
              <a:gd name="connsiteX457" fmla="*/ 5844554 w 6689088"/>
              <a:gd name="connsiteY457" fmla="*/ 4539630 h 6689084"/>
              <a:gd name="connsiteX458" fmla="*/ 5840197 w 6689088"/>
              <a:gd name="connsiteY458" fmla="*/ 4535273 h 6689084"/>
              <a:gd name="connsiteX459" fmla="*/ 5844554 w 6689088"/>
              <a:gd name="connsiteY459" fmla="*/ 4530916 h 6689084"/>
              <a:gd name="connsiteX460" fmla="*/ 5998139 w 6689088"/>
              <a:gd name="connsiteY460" fmla="*/ 4529830 h 6689084"/>
              <a:gd name="connsiteX461" fmla="*/ 6003948 w 6689088"/>
              <a:gd name="connsiteY461" fmla="*/ 4535639 h 6689084"/>
              <a:gd name="connsiteX462" fmla="*/ 5998139 w 6689088"/>
              <a:gd name="connsiteY462" fmla="*/ 4541448 h 6689084"/>
              <a:gd name="connsiteX463" fmla="*/ 5992330 w 6689088"/>
              <a:gd name="connsiteY463" fmla="*/ 4535639 h 6689084"/>
              <a:gd name="connsiteX464" fmla="*/ 5998139 w 6689088"/>
              <a:gd name="connsiteY464" fmla="*/ 4529830 h 6689084"/>
              <a:gd name="connsiteX465" fmla="*/ 6152086 w 6689088"/>
              <a:gd name="connsiteY465" fmla="*/ 4528011 h 6689084"/>
              <a:gd name="connsiteX466" fmla="*/ 6159348 w 6689088"/>
              <a:gd name="connsiteY466" fmla="*/ 4535273 h 6689084"/>
              <a:gd name="connsiteX467" fmla="*/ 6152086 w 6689088"/>
              <a:gd name="connsiteY467" fmla="*/ 4542535 h 6689084"/>
              <a:gd name="connsiteX468" fmla="*/ 6144825 w 6689088"/>
              <a:gd name="connsiteY468" fmla="*/ 4535273 h 6689084"/>
              <a:gd name="connsiteX469" fmla="*/ 6152086 w 6689088"/>
              <a:gd name="connsiteY469" fmla="*/ 4528011 h 6689084"/>
              <a:gd name="connsiteX470" fmla="*/ 6305668 w 6689088"/>
              <a:gd name="connsiteY470" fmla="*/ 4526197 h 6689084"/>
              <a:gd name="connsiteX471" fmla="*/ 6314748 w 6689088"/>
              <a:gd name="connsiteY471" fmla="*/ 4535273 h 6689084"/>
              <a:gd name="connsiteX472" fmla="*/ 6305668 w 6689088"/>
              <a:gd name="connsiteY472" fmla="*/ 4544353 h 6689084"/>
              <a:gd name="connsiteX473" fmla="*/ 6296592 w 6689088"/>
              <a:gd name="connsiteY473" fmla="*/ 4535273 h 6689084"/>
              <a:gd name="connsiteX474" fmla="*/ 6305668 w 6689088"/>
              <a:gd name="connsiteY474" fmla="*/ 4526197 h 6689084"/>
              <a:gd name="connsiteX475" fmla="*/ 6459616 w 6689088"/>
              <a:gd name="connsiteY475" fmla="*/ 4525469 h 6689084"/>
              <a:gd name="connsiteX476" fmla="*/ 6469782 w 6689088"/>
              <a:gd name="connsiteY476" fmla="*/ 4535635 h 6689084"/>
              <a:gd name="connsiteX477" fmla="*/ 6459616 w 6689088"/>
              <a:gd name="connsiteY477" fmla="*/ 4545802 h 6689084"/>
              <a:gd name="connsiteX478" fmla="*/ 6449449 w 6689088"/>
              <a:gd name="connsiteY478" fmla="*/ 4535635 h 6689084"/>
              <a:gd name="connsiteX479" fmla="*/ 6459616 w 6689088"/>
              <a:gd name="connsiteY479" fmla="*/ 4525469 h 6689084"/>
              <a:gd name="connsiteX480" fmla="*/ 6613197 w 6689088"/>
              <a:gd name="connsiteY480" fmla="*/ 4523292 h 6689084"/>
              <a:gd name="connsiteX481" fmla="*/ 6625182 w 6689088"/>
              <a:gd name="connsiteY481" fmla="*/ 4535273 h 6689084"/>
              <a:gd name="connsiteX482" fmla="*/ 6613197 w 6689088"/>
              <a:gd name="connsiteY482" fmla="*/ 4547254 h 6689084"/>
              <a:gd name="connsiteX483" fmla="*/ 6601216 w 6689088"/>
              <a:gd name="connsiteY483" fmla="*/ 4535273 h 6689084"/>
              <a:gd name="connsiteX484" fmla="*/ 6613197 w 6689088"/>
              <a:gd name="connsiteY484" fmla="*/ 4523292 h 6689084"/>
              <a:gd name="connsiteX485" fmla="*/ 5075541 w 6689088"/>
              <a:gd name="connsiteY485" fmla="*/ 4381326 h 6689084"/>
              <a:gd name="connsiteX486" fmla="*/ 5075904 w 6689088"/>
              <a:gd name="connsiteY486" fmla="*/ 4381688 h 6689084"/>
              <a:gd name="connsiteX487" fmla="*/ 5075541 w 6689088"/>
              <a:gd name="connsiteY487" fmla="*/ 4382054 h 6689084"/>
              <a:gd name="connsiteX488" fmla="*/ 5075179 w 6689088"/>
              <a:gd name="connsiteY488" fmla="*/ 4381688 h 6689084"/>
              <a:gd name="connsiteX489" fmla="*/ 5075541 w 6689088"/>
              <a:gd name="connsiteY489" fmla="*/ 4381326 h 6689084"/>
              <a:gd name="connsiteX490" fmla="*/ 4614061 w 6689088"/>
              <a:gd name="connsiteY490" fmla="*/ 4381326 h 6689084"/>
              <a:gd name="connsiteX491" fmla="*/ 4614424 w 6689088"/>
              <a:gd name="connsiteY491" fmla="*/ 4381688 h 6689084"/>
              <a:gd name="connsiteX492" fmla="*/ 4614061 w 6689088"/>
              <a:gd name="connsiteY492" fmla="*/ 4382054 h 6689084"/>
              <a:gd name="connsiteX493" fmla="*/ 4613699 w 6689088"/>
              <a:gd name="connsiteY493" fmla="*/ 4381688 h 6689084"/>
              <a:gd name="connsiteX494" fmla="*/ 4614061 w 6689088"/>
              <a:gd name="connsiteY494" fmla="*/ 4381326 h 6689084"/>
              <a:gd name="connsiteX495" fmla="*/ 4460480 w 6689088"/>
              <a:gd name="connsiteY495" fmla="*/ 4381326 h 6689084"/>
              <a:gd name="connsiteX496" fmla="*/ 4460842 w 6689088"/>
              <a:gd name="connsiteY496" fmla="*/ 4381688 h 6689084"/>
              <a:gd name="connsiteX497" fmla="*/ 4460480 w 6689088"/>
              <a:gd name="connsiteY497" fmla="*/ 4382054 h 6689084"/>
              <a:gd name="connsiteX498" fmla="*/ 4460118 w 6689088"/>
              <a:gd name="connsiteY498" fmla="*/ 4381688 h 6689084"/>
              <a:gd name="connsiteX499" fmla="*/ 4460480 w 6689088"/>
              <a:gd name="connsiteY499" fmla="*/ 4381326 h 6689084"/>
              <a:gd name="connsiteX500" fmla="*/ 4306528 w 6689088"/>
              <a:gd name="connsiteY500" fmla="*/ 4380964 h 6689084"/>
              <a:gd name="connsiteX501" fmla="*/ 4307256 w 6689088"/>
              <a:gd name="connsiteY501" fmla="*/ 4381688 h 6689084"/>
              <a:gd name="connsiteX502" fmla="*/ 4306528 w 6689088"/>
              <a:gd name="connsiteY502" fmla="*/ 4382416 h 6689084"/>
              <a:gd name="connsiteX503" fmla="*/ 4305804 w 6689088"/>
              <a:gd name="connsiteY503" fmla="*/ 4381688 h 6689084"/>
              <a:gd name="connsiteX504" fmla="*/ 4306528 w 6689088"/>
              <a:gd name="connsiteY504" fmla="*/ 4380964 h 6689084"/>
              <a:gd name="connsiteX505" fmla="*/ 5229126 w 6689088"/>
              <a:gd name="connsiteY505" fmla="*/ 4379873 h 6689084"/>
              <a:gd name="connsiteX506" fmla="*/ 5230579 w 6689088"/>
              <a:gd name="connsiteY506" fmla="*/ 4381326 h 6689084"/>
              <a:gd name="connsiteX507" fmla="*/ 5229126 w 6689088"/>
              <a:gd name="connsiteY507" fmla="*/ 4382778 h 6689084"/>
              <a:gd name="connsiteX508" fmla="*/ 5227674 w 6689088"/>
              <a:gd name="connsiteY508" fmla="*/ 4381326 h 6689084"/>
              <a:gd name="connsiteX509" fmla="*/ 5229126 w 6689088"/>
              <a:gd name="connsiteY509" fmla="*/ 4379873 h 6689084"/>
              <a:gd name="connsiteX510" fmla="*/ 5383074 w 6689088"/>
              <a:gd name="connsiteY510" fmla="*/ 4379511 h 6689084"/>
              <a:gd name="connsiteX511" fmla="*/ 5385250 w 6689088"/>
              <a:gd name="connsiteY511" fmla="*/ 4381688 h 6689084"/>
              <a:gd name="connsiteX512" fmla="*/ 5383074 w 6689088"/>
              <a:gd name="connsiteY512" fmla="*/ 4383868 h 6689084"/>
              <a:gd name="connsiteX513" fmla="*/ 5380894 w 6689088"/>
              <a:gd name="connsiteY513" fmla="*/ 4381688 h 6689084"/>
              <a:gd name="connsiteX514" fmla="*/ 5383074 w 6689088"/>
              <a:gd name="connsiteY514" fmla="*/ 4379511 h 6689084"/>
              <a:gd name="connsiteX515" fmla="*/ 5536659 w 6689088"/>
              <a:gd name="connsiteY515" fmla="*/ 4378421 h 6689084"/>
              <a:gd name="connsiteX516" fmla="*/ 5539922 w 6689088"/>
              <a:gd name="connsiteY516" fmla="*/ 4381688 h 6689084"/>
              <a:gd name="connsiteX517" fmla="*/ 5536659 w 6689088"/>
              <a:gd name="connsiteY517" fmla="*/ 4384958 h 6689084"/>
              <a:gd name="connsiteX518" fmla="*/ 5533388 w 6689088"/>
              <a:gd name="connsiteY518" fmla="*/ 4381688 h 6689084"/>
              <a:gd name="connsiteX519" fmla="*/ 5536659 w 6689088"/>
              <a:gd name="connsiteY519" fmla="*/ 4378421 h 6689084"/>
              <a:gd name="connsiteX520" fmla="*/ 5690606 w 6689088"/>
              <a:gd name="connsiteY520" fmla="*/ 4377331 h 6689084"/>
              <a:gd name="connsiteX521" fmla="*/ 5694964 w 6689088"/>
              <a:gd name="connsiteY521" fmla="*/ 4381688 h 6689084"/>
              <a:gd name="connsiteX522" fmla="*/ 5690606 w 6689088"/>
              <a:gd name="connsiteY522" fmla="*/ 4386045 h 6689084"/>
              <a:gd name="connsiteX523" fmla="*/ 5686250 w 6689088"/>
              <a:gd name="connsiteY523" fmla="*/ 4381688 h 6689084"/>
              <a:gd name="connsiteX524" fmla="*/ 5690606 w 6689088"/>
              <a:gd name="connsiteY524" fmla="*/ 4377331 h 6689084"/>
              <a:gd name="connsiteX525" fmla="*/ 5844550 w 6689088"/>
              <a:gd name="connsiteY525" fmla="*/ 4375878 h 6689084"/>
              <a:gd name="connsiteX526" fmla="*/ 5850360 w 6689088"/>
              <a:gd name="connsiteY526" fmla="*/ 4381688 h 6689084"/>
              <a:gd name="connsiteX527" fmla="*/ 5844550 w 6689088"/>
              <a:gd name="connsiteY527" fmla="*/ 4387497 h 6689084"/>
              <a:gd name="connsiteX528" fmla="*/ 5838741 w 6689088"/>
              <a:gd name="connsiteY528" fmla="*/ 4381688 h 6689084"/>
              <a:gd name="connsiteX529" fmla="*/ 5844550 w 6689088"/>
              <a:gd name="connsiteY529" fmla="*/ 4375878 h 6689084"/>
              <a:gd name="connsiteX530" fmla="*/ 5998136 w 6689088"/>
              <a:gd name="connsiteY530" fmla="*/ 4374430 h 6689084"/>
              <a:gd name="connsiteX531" fmla="*/ 6005397 w 6689088"/>
              <a:gd name="connsiteY531" fmla="*/ 4381692 h 6689084"/>
              <a:gd name="connsiteX532" fmla="*/ 5998136 w 6689088"/>
              <a:gd name="connsiteY532" fmla="*/ 4388953 h 6689084"/>
              <a:gd name="connsiteX533" fmla="*/ 5990874 w 6689088"/>
              <a:gd name="connsiteY533" fmla="*/ 4381692 h 6689084"/>
              <a:gd name="connsiteX534" fmla="*/ 5998136 w 6689088"/>
              <a:gd name="connsiteY534" fmla="*/ 4374430 h 6689084"/>
              <a:gd name="connsiteX535" fmla="*/ 6152083 w 6689088"/>
              <a:gd name="connsiteY535" fmla="*/ 4372612 h 6689084"/>
              <a:gd name="connsiteX536" fmla="*/ 6161162 w 6689088"/>
              <a:gd name="connsiteY536" fmla="*/ 4381688 h 6689084"/>
              <a:gd name="connsiteX537" fmla="*/ 6152083 w 6689088"/>
              <a:gd name="connsiteY537" fmla="*/ 4390768 h 6689084"/>
              <a:gd name="connsiteX538" fmla="*/ 6143006 w 6689088"/>
              <a:gd name="connsiteY538" fmla="*/ 4381688 h 6689084"/>
              <a:gd name="connsiteX539" fmla="*/ 6152083 w 6689088"/>
              <a:gd name="connsiteY539" fmla="*/ 4372612 h 6689084"/>
              <a:gd name="connsiteX540" fmla="*/ 6305668 w 6689088"/>
              <a:gd name="connsiteY540" fmla="*/ 4371525 h 6689084"/>
              <a:gd name="connsiteX541" fmla="*/ 6315834 w 6689088"/>
              <a:gd name="connsiteY541" fmla="*/ 4381692 h 6689084"/>
              <a:gd name="connsiteX542" fmla="*/ 6305668 w 6689088"/>
              <a:gd name="connsiteY542" fmla="*/ 4391858 h 6689084"/>
              <a:gd name="connsiteX543" fmla="*/ 6295502 w 6689088"/>
              <a:gd name="connsiteY543" fmla="*/ 4381692 h 6689084"/>
              <a:gd name="connsiteX544" fmla="*/ 6305668 w 6689088"/>
              <a:gd name="connsiteY544" fmla="*/ 4371525 h 6689084"/>
              <a:gd name="connsiteX545" fmla="*/ 6459616 w 6689088"/>
              <a:gd name="connsiteY545" fmla="*/ 4369707 h 6689084"/>
              <a:gd name="connsiteX546" fmla="*/ 6471600 w 6689088"/>
              <a:gd name="connsiteY546" fmla="*/ 4381688 h 6689084"/>
              <a:gd name="connsiteX547" fmla="*/ 6459616 w 6689088"/>
              <a:gd name="connsiteY547" fmla="*/ 4393672 h 6689084"/>
              <a:gd name="connsiteX548" fmla="*/ 6447634 w 6689088"/>
              <a:gd name="connsiteY548" fmla="*/ 4381688 h 6689084"/>
              <a:gd name="connsiteX549" fmla="*/ 6459616 w 6689088"/>
              <a:gd name="connsiteY549" fmla="*/ 4369707 h 6689084"/>
              <a:gd name="connsiteX550" fmla="*/ 6613200 w 6689088"/>
              <a:gd name="connsiteY550" fmla="*/ 4367530 h 6689084"/>
              <a:gd name="connsiteX551" fmla="*/ 6626996 w 6689088"/>
              <a:gd name="connsiteY551" fmla="*/ 4381326 h 6689084"/>
              <a:gd name="connsiteX552" fmla="*/ 6613200 w 6689088"/>
              <a:gd name="connsiteY552" fmla="*/ 4395125 h 6689084"/>
              <a:gd name="connsiteX553" fmla="*/ 6599402 w 6689088"/>
              <a:gd name="connsiteY553" fmla="*/ 4381326 h 6689084"/>
              <a:gd name="connsiteX554" fmla="*/ 6613200 w 6689088"/>
              <a:gd name="connsiteY554" fmla="*/ 4367530 h 6689084"/>
              <a:gd name="connsiteX555" fmla="*/ 4921594 w 6689088"/>
              <a:gd name="connsiteY555" fmla="*/ 4227744 h 6689084"/>
              <a:gd name="connsiteX556" fmla="*/ 4921956 w 6689088"/>
              <a:gd name="connsiteY556" fmla="*/ 4228106 h 6689084"/>
              <a:gd name="connsiteX557" fmla="*/ 4921594 w 6689088"/>
              <a:gd name="connsiteY557" fmla="*/ 4228468 h 6689084"/>
              <a:gd name="connsiteX558" fmla="*/ 4921232 w 6689088"/>
              <a:gd name="connsiteY558" fmla="*/ 4228106 h 6689084"/>
              <a:gd name="connsiteX559" fmla="*/ 4921594 w 6689088"/>
              <a:gd name="connsiteY559" fmla="*/ 4227744 h 6689084"/>
              <a:gd name="connsiteX560" fmla="*/ 4460480 w 6689088"/>
              <a:gd name="connsiteY560" fmla="*/ 4227744 h 6689084"/>
              <a:gd name="connsiteX561" fmla="*/ 4460842 w 6689088"/>
              <a:gd name="connsiteY561" fmla="*/ 4228106 h 6689084"/>
              <a:gd name="connsiteX562" fmla="*/ 4460480 w 6689088"/>
              <a:gd name="connsiteY562" fmla="*/ 4228468 h 6689084"/>
              <a:gd name="connsiteX563" fmla="*/ 4460118 w 6689088"/>
              <a:gd name="connsiteY563" fmla="*/ 4228106 h 6689084"/>
              <a:gd name="connsiteX564" fmla="*/ 4460480 w 6689088"/>
              <a:gd name="connsiteY564" fmla="*/ 4227744 h 6689084"/>
              <a:gd name="connsiteX565" fmla="*/ 4306532 w 6689088"/>
              <a:gd name="connsiteY565" fmla="*/ 4227744 h 6689084"/>
              <a:gd name="connsiteX566" fmla="*/ 4306894 w 6689088"/>
              <a:gd name="connsiteY566" fmla="*/ 4228106 h 6689084"/>
              <a:gd name="connsiteX567" fmla="*/ 4306532 w 6689088"/>
              <a:gd name="connsiteY567" fmla="*/ 4228468 h 6689084"/>
              <a:gd name="connsiteX568" fmla="*/ 4306170 w 6689088"/>
              <a:gd name="connsiteY568" fmla="*/ 4228106 h 6689084"/>
              <a:gd name="connsiteX569" fmla="*/ 4306532 w 6689088"/>
              <a:gd name="connsiteY569" fmla="*/ 4227744 h 6689084"/>
              <a:gd name="connsiteX570" fmla="*/ 4152947 w 6689088"/>
              <a:gd name="connsiteY570" fmla="*/ 4227378 h 6689084"/>
              <a:gd name="connsiteX571" fmla="*/ 4153672 w 6689088"/>
              <a:gd name="connsiteY571" fmla="*/ 4228103 h 6689084"/>
              <a:gd name="connsiteX572" fmla="*/ 4152947 w 6689088"/>
              <a:gd name="connsiteY572" fmla="*/ 4228831 h 6689084"/>
              <a:gd name="connsiteX573" fmla="*/ 4152219 w 6689088"/>
              <a:gd name="connsiteY573" fmla="*/ 4228103 h 6689084"/>
              <a:gd name="connsiteX574" fmla="*/ 4152947 w 6689088"/>
              <a:gd name="connsiteY574" fmla="*/ 4227378 h 6689084"/>
              <a:gd name="connsiteX575" fmla="*/ 5075541 w 6689088"/>
              <a:gd name="connsiteY575" fmla="*/ 4226292 h 6689084"/>
              <a:gd name="connsiteX576" fmla="*/ 5076994 w 6689088"/>
              <a:gd name="connsiteY576" fmla="*/ 4227744 h 6689084"/>
              <a:gd name="connsiteX577" fmla="*/ 5075541 w 6689088"/>
              <a:gd name="connsiteY577" fmla="*/ 4229197 h 6689084"/>
              <a:gd name="connsiteX578" fmla="*/ 5074089 w 6689088"/>
              <a:gd name="connsiteY578" fmla="*/ 4227744 h 6689084"/>
              <a:gd name="connsiteX579" fmla="*/ 5075541 w 6689088"/>
              <a:gd name="connsiteY579" fmla="*/ 4226292 h 6689084"/>
              <a:gd name="connsiteX580" fmla="*/ 5229122 w 6689088"/>
              <a:gd name="connsiteY580" fmla="*/ 4225564 h 6689084"/>
              <a:gd name="connsiteX581" fmla="*/ 5231303 w 6689088"/>
              <a:gd name="connsiteY581" fmla="*/ 4227744 h 6689084"/>
              <a:gd name="connsiteX582" fmla="*/ 5229122 w 6689088"/>
              <a:gd name="connsiteY582" fmla="*/ 4229921 h 6689084"/>
              <a:gd name="connsiteX583" fmla="*/ 5226946 w 6689088"/>
              <a:gd name="connsiteY583" fmla="*/ 4227744 h 6689084"/>
              <a:gd name="connsiteX584" fmla="*/ 5229122 w 6689088"/>
              <a:gd name="connsiteY584" fmla="*/ 4225564 h 6689084"/>
              <a:gd name="connsiteX585" fmla="*/ 5383078 w 6689088"/>
              <a:gd name="connsiteY585" fmla="*/ 4224840 h 6689084"/>
              <a:gd name="connsiteX586" fmla="*/ 5386344 w 6689088"/>
              <a:gd name="connsiteY586" fmla="*/ 4228106 h 6689084"/>
              <a:gd name="connsiteX587" fmla="*/ 5383078 w 6689088"/>
              <a:gd name="connsiteY587" fmla="*/ 4231377 h 6689084"/>
              <a:gd name="connsiteX588" fmla="*/ 5379807 w 6689088"/>
              <a:gd name="connsiteY588" fmla="*/ 4228106 h 6689084"/>
              <a:gd name="connsiteX589" fmla="*/ 5383078 w 6689088"/>
              <a:gd name="connsiteY589" fmla="*/ 4224840 h 6689084"/>
              <a:gd name="connsiteX590" fmla="*/ 5536659 w 6689088"/>
              <a:gd name="connsiteY590" fmla="*/ 4223383 h 6689084"/>
              <a:gd name="connsiteX591" fmla="*/ 5541016 w 6689088"/>
              <a:gd name="connsiteY591" fmla="*/ 4227740 h 6689084"/>
              <a:gd name="connsiteX592" fmla="*/ 5536659 w 6689088"/>
              <a:gd name="connsiteY592" fmla="*/ 4232097 h 6689084"/>
              <a:gd name="connsiteX593" fmla="*/ 5532302 w 6689088"/>
              <a:gd name="connsiteY593" fmla="*/ 4227740 h 6689084"/>
              <a:gd name="connsiteX594" fmla="*/ 5536659 w 6689088"/>
              <a:gd name="connsiteY594" fmla="*/ 4223383 h 6689084"/>
              <a:gd name="connsiteX595" fmla="*/ 5690606 w 6689088"/>
              <a:gd name="connsiteY595" fmla="*/ 4222297 h 6689084"/>
              <a:gd name="connsiteX596" fmla="*/ 5696416 w 6689088"/>
              <a:gd name="connsiteY596" fmla="*/ 4228106 h 6689084"/>
              <a:gd name="connsiteX597" fmla="*/ 5690606 w 6689088"/>
              <a:gd name="connsiteY597" fmla="*/ 4233916 h 6689084"/>
              <a:gd name="connsiteX598" fmla="*/ 5684797 w 6689088"/>
              <a:gd name="connsiteY598" fmla="*/ 4228106 h 6689084"/>
              <a:gd name="connsiteX599" fmla="*/ 5690606 w 6689088"/>
              <a:gd name="connsiteY599" fmla="*/ 4222297 h 6689084"/>
              <a:gd name="connsiteX600" fmla="*/ 5844554 w 6689088"/>
              <a:gd name="connsiteY600" fmla="*/ 4220479 h 6689084"/>
              <a:gd name="connsiteX601" fmla="*/ 5851816 w 6689088"/>
              <a:gd name="connsiteY601" fmla="*/ 4227740 h 6689084"/>
              <a:gd name="connsiteX602" fmla="*/ 5844554 w 6689088"/>
              <a:gd name="connsiteY602" fmla="*/ 4235002 h 6689084"/>
              <a:gd name="connsiteX603" fmla="*/ 5837292 w 6689088"/>
              <a:gd name="connsiteY603" fmla="*/ 4227740 h 6689084"/>
              <a:gd name="connsiteX604" fmla="*/ 5844554 w 6689088"/>
              <a:gd name="connsiteY604" fmla="*/ 4220479 h 6689084"/>
              <a:gd name="connsiteX605" fmla="*/ 5998136 w 6689088"/>
              <a:gd name="connsiteY605" fmla="*/ 4218664 h 6689084"/>
              <a:gd name="connsiteX606" fmla="*/ 6007216 w 6689088"/>
              <a:gd name="connsiteY606" fmla="*/ 4227740 h 6689084"/>
              <a:gd name="connsiteX607" fmla="*/ 5998136 w 6689088"/>
              <a:gd name="connsiteY607" fmla="*/ 4236820 h 6689084"/>
              <a:gd name="connsiteX608" fmla="*/ 5989059 w 6689088"/>
              <a:gd name="connsiteY608" fmla="*/ 4227740 h 6689084"/>
              <a:gd name="connsiteX609" fmla="*/ 5998136 w 6689088"/>
              <a:gd name="connsiteY609" fmla="*/ 4218664 h 6689084"/>
              <a:gd name="connsiteX610" fmla="*/ 6152086 w 6689088"/>
              <a:gd name="connsiteY610" fmla="*/ 4217940 h 6689084"/>
              <a:gd name="connsiteX611" fmla="*/ 6162253 w 6689088"/>
              <a:gd name="connsiteY611" fmla="*/ 4228106 h 6689084"/>
              <a:gd name="connsiteX612" fmla="*/ 6152086 w 6689088"/>
              <a:gd name="connsiteY612" fmla="*/ 4238273 h 6689084"/>
              <a:gd name="connsiteX613" fmla="*/ 6141920 w 6689088"/>
              <a:gd name="connsiteY613" fmla="*/ 4228106 h 6689084"/>
              <a:gd name="connsiteX614" fmla="*/ 6152086 w 6689088"/>
              <a:gd name="connsiteY614" fmla="*/ 4217940 h 6689084"/>
              <a:gd name="connsiteX615" fmla="*/ 6305668 w 6689088"/>
              <a:gd name="connsiteY615" fmla="*/ 4215760 h 6689084"/>
              <a:gd name="connsiteX616" fmla="*/ 6317649 w 6689088"/>
              <a:gd name="connsiteY616" fmla="*/ 4227740 h 6689084"/>
              <a:gd name="connsiteX617" fmla="*/ 6305668 w 6689088"/>
              <a:gd name="connsiteY617" fmla="*/ 4239721 h 6689084"/>
              <a:gd name="connsiteX618" fmla="*/ 6293687 w 6689088"/>
              <a:gd name="connsiteY618" fmla="*/ 4227740 h 6689084"/>
              <a:gd name="connsiteX619" fmla="*/ 6305668 w 6689088"/>
              <a:gd name="connsiteY619" fmla="*/ 4215760 h 6689084"/>
              <a:gd name="connsiteX620" fmla="*/ 6459619 w 6689088"/>
              <a:gd name="connsiteY620" fmla="*/ 4213945 h 6689084"/>
              <a:gd name="connsiteX621" fmla="*/ 6473414 w 6689088"/>
              <a:gd name="connsiteY621" fmla="*/ 4227744 h 6689084"/>
              <a:gd name="connsiteX622" fmla="*/ 6459619 w 6689088"/>
              <a:gd name="connsiteY622" fmla="*/ 4241539 h 6689084"/>
              <a:gd name="connsiteX623" fmla="*/ 6445820 w 6689088"/>
              <a:gd name="connsiteY623" fmla="*/ 4227744 h 6689084"/>
              <a:gd name="connsiteX624" fmla="*/ 6459619 w 6689088"/>
              <a:gd name="connsiteY624" fmla="*/ 4213945 h 6689084"/>
              <a:gd name="connsiteX625" fmla="*/ 6613200 w 6689088"/>
              <a:gd name="connsiteY625" fmla="*/ 4212855 h 6689084"/>
              <a:gd name="connsiteX626" fmla="*/ 6628452 w 6689088"/>
              <a:gd name="connsiteY626" fmla="*/ 4228103 h 6689084"/>
              <a:gd name="connsiteX627" fmla="*/ 6613200 w 6689088"/>
              <a:gd name="connsiteY627" fmla="*/ 4243354 h 6689084"/>
              <a:gd name="connsiteX628" fmla="*/ 6597953 w 6689088"/>
              <a:gd name="connsiteY628" fmla="*/ 4228103 h 6689084"/>
              <a:gd name="connsiteX629" fmla="*/ 6613200 w 6689088"/>
              <a:gd name="connsiteY629" fmla="*/ 4212855 h 6689084"/>
              <a:gd name="connsiteX630" fmla="*/ 4768008 w 6689088"/>
              <a:gd name="connsiteY630" fmla="*/ 4073793 h 6689084"/>
              <a:gd name="connsiteX631" fmla="*/ 4768370 w 6689088"/>
              <a:gd name="connsiteY631" fmla="*/ 4074155 h 6689084"/>
              <a:gd name="connsiteX632" fmla="*/ 4768008 w 6689088"/>
              <a:gd name="connsiteY632" fmla="*/ 4074521 h 6689084"/>
              <a:gd name="connsiteX633" fmla="*/ 4767646 w 6689088"/>
              <a:gd name="connsiteY633" fmla="*/ 4074155 h 6689084"/>
              <a:gd name="connsiteX634" fmla="*/ 4768008 w 6689088"/>
              <a:gd name="connsiteY634" fmla="*/ 4073793 h 6689084"/>
              <a:gd name="connsiteX635" fmla="*/ 4306532 w 6689088"/>
              <a:gd name="connsiteY635" fmla="*/ 4073793 h 6689084"/>
              <a:gd name="connsiteX636" fmla="*/ 4306894 w 6689088"/>
              <a:gd name="connsiteY636" fmla="*/ 4074155 h 6689084"/>
              <a:gd name="connsiteX637" fmla="*/ 4306532 w 6689088"/>
              <a:gd name="connsiteY637" fmla="*/ 4074521 h 6689084"/>
              <a:gd name="connsiteX638" fmla="*/ 4306170 w 6689088"/>
              <a:gd name="connsiteY638" fmla="*/ 4074155 h 6689084"/>
              <a:gd name="connsiteX639" fmla="*/ 4306532 w 6689088"/>
              <a:gd name="connsiteY639" fmla="*/ 4073793 h 6689084"/>
              <a:gd name="connsiteX640" fmla="*/ 4152947 w 6689088"/>
              <a:gd name="connsiteY640" fmla="*/ 4073793 h 6689084"/>
              <a:gd name="connsiteX641" fmla="*/ 4153309 w 6689088"/>
              <a:gd name="connsiteY641" fmla="*/ 4074155 h 6689084"/>
              <a:gd name="connsiteX642" fmla="*/ 4152947 w 6689088"/>
              <a:gd name="connsiteY642" fmla="*/ 4074521 h 6689084"/>
              <a:gd name="connsiteX643" fmla="*/ 4152585 w 6689088"/>
              <a:gd name="connsiteY643" fmla="*/ 4074155 h 6689084"/>
              <a:gd name="connsiteX644" fmla="*/ 4152947 w 6689088"/>
              <a:gd name="connsiteY644" fmla="*/ 4073793 h 6689084"/>
              <a:gd name="connsiteX645" fmla="*/ 3998996 w 6689088"/>
              <a:gd name="connsiteY645" fmla="*/ 4073431 h 6689084"/>
              <a:gd name="connsiteX646" fmla="*/ 3999724 w 6689088"/>
              <a:gd name="connsiteY646" fmla="*/ 4074155 h 6689084"/>
              <a:gd name="connsiteX647" fmla="*/ 3998996 w 6689088"/>
              <a:gd name="connsiteY647" fmla="*/ 4074883 h 6689084"/>
              <a:gd name="connsiteX648" fmla="*/ 3998272 w 6689088"/>
              <a:gd name="connsiteY648" fmla="*/ 4074155 h 6689084"/>
              <a:gd name="connsiteX649" fmla="*/ 3998996 w 6689088"/>
              <a:gd name="connsiteY649" fmla="*/ 4073431 h 6689084"/>
              <a:gd name="connsiteX650" fmla="*/ 4921594 w 6689088"/>
              <a:gd name="connsiteY650" fmla="*/ 4072344 h 6689084"/>
              <a:gd name="connsiteX651" fmla="*/ 4923046 w 6689088"/>
              <a:gd name="connsiteY651" fmla="*/ 4073797 h 6689084"/>
              <a:gd name="connsiteX652" fmla="*/ 4921594 w 6689088"/>
              <a:gd name="connsiteY652" fmla="*/ 4075249 h 6689084"/>
              <a:gd name="connsiteX653" fmla="*/ 4920142 w 6689088"/>
              <a:gd name="connsiteY653" fmla="*/ 4073797 h 6689084"/>
              <a:gd name="connsiteX654" fmla="*/ 4921594 w 6689088"/>
              <a:gd name="connsiteY654" fmla="*/ 4072344 h 6689084"/>
              <a:gd name="connsiteX655" fmla="*/ 5075541 w 6689088"/>
              <a:gd name="connsiteY655" fmla="*/ 4071978 h 6689084"/>
              <a:gd name="connsiteX656" fmla="*/ 5077722 w 6689088"/>
              <a:gd name="connsiteY656" fmla="*/ 4074155 h 6689084"/>
              <a:gd name="connsiteX657" fmla="*/ 5075541 w 6689088"/>
              <a:gd name="connsiteY657" fmla="*/ 4076335 h 6689084"/>
              <a:gd name="connsiteX658" fmla="*/ 5073364 w 6689088"/>
              <a:gd name="connsiteY658" fmla="*/ 4074155 h 6689084"/>
              <a:gd name="connsiteX659" fmla="*/ 5075541 w 6689088"/>
              <a:gd name="connsiteY659" fmla="*/ 4071978 h 6689084"/>
              <a:gd name="connsiteX660" fmla="*/ 5229126 w 6689088"/>
              <a:gd name="connsiteY660" fmla="*/ 4070892 h 6689084"/>
              <a:gd name="connsiteX661" fmla="*/ 5232394 w 6689088"/>
              <a:gd name="connsiteY661" fmla="*/ 4074159 h 6689084"/>
              <a:gd name="connsiteX662" fmla="*/ 5229126 w 6689088"/>
              <a:gd name="connsiteY662" fmla="*/ 4077429 h 6689084"/>
              <a:gd name="connsiteX663" fmla="*/ 5225860 w 6689088"/>
              <a:gd name="connsiteY663" fmla="*/ 4074159 h 6689084"/>
              <a:gd name="connsiteX664" fmla="*/ 5229126 w 6689088"/>
              <a:gd name="connsiteY664" fmla="*/ 4070892 h 6689084"/>
              <a:gd name="connsiteX665" fmla="*/ 5383074 w 6689088"/>
              <a:gd name="connsiteY665" fmla="*/ 4069802 h 6689084"/>
              <a:gd name="connsiteX666" fmla="*/ 5387431 w 6689088"/>
              <a:gd name="connsiteY666" fmla="*/ 4074159 h 6689084"/>
              <a:gd name="connsiteX667" fmla="*/ 5383074 w 6689088"/>
              <a:gd name="connsiteY667" fmla="*/ 4078516 h 6689084"/>
              <a:gd name="connsiteX668" fmla="*/ 5378717 w 6689088"/>
              <a:gd name="connsiteY668" fmla="*/ 4074159 h 6689084"/>
              <a:gd name="connsiteX669" fmla="*/ 5383074 w 6689088"/>
              <a:gd name="connsiteY669" fmla="*/ 4069802 h 6689084"/>
              <a:gd name="connsiteX670" fmla="*/ 5536659 w 6689088"/>
              <a:gd name="connsiteY670" fmla="*/ 4068349 h 6689084"/>
              <a:gd name="connsiteX671" fmla="*/ 5542468 w 6689088"/>
              <a:gd name="connsiteY671" fmla="*/ 4074159 h 6689084"/>
              <a:gd name="connsiteX672" fmla="*/ 5536659 w 6689088"/>
              <a:gd name="connsiteY672" fmla="*/ 4079968 h 6689084"/>
              <a:gd name="connsiteX673" fmla="*/ 5530850 w 6689088"/>
              <a:gd name="connsiteY673" fmla="*/ 4074159 h 6689084"/>
              <a:gd name="connsiteX674" fmla="*/ 5536659 w 6689088"/>
              <a:gd name="connsiteY674" fmla="*/ 4068349 h 6689084"/>
              <a:gd name="connsiteX675" fmla="*/ 5690606 w 6689088"/>
              <a:gd name="connsiteY675" fmla="*/ 4066897 h 6689084"/>
              <a:gd name="connsiteX676" fmla="*/ 5697868 w 6689088"/>
              <a:gd name="connsiteY676" fmla="*/ 4074159 h 6689084"/>
              <a:gd name="connsiteX677" fmla="*/ 5690606 w 6689088"/>
              <a:gd name="connsiteY677" fmla="*/ 4081420 h 6689084"/>
              <a:gd name="connsiteX678" fmla="*/ 5683345 w 6689088"/>
              <a:gd name="connsiteY678" fmla="*/ 4074159 h 6689084"/>
              <a:gd name="connsiteX679" fmla="*/ 5690606 w 6689088"/>
              <a:gd name="connsiteY679" fmla="*/ 4066897 h 6689084"/>
              <a:gd name="connsiteX680" fmla="*/ 5844554 w 6689088"/>
              <a:gd name="connsiteY680" fmla="*/ 4064717 h 6689084"/>
              <a:gd name="connsiteX681" fmla="*/ 5853634 w 6689088"/>
              <a:gd name="connsiteY681" fmla="*/ 4073793 h 6689084"/>
              <a:gd name="connsiteX682" fmla="*/ 5844554 w 6689088"/>
              <a:gd name="connsiteY682" fmla="*/ 4082873 h 6689084"/>
              <a:gd name="connsiteX683" fmla="*/ 5835478 w 6689088"/>
              <a:gd name="connsiteY683" fmla="*/ 4073793 h 6689084"/>
              <a:gd name="connsiteX684" fmla="*/ 5844554 w 6689088"/>
              <a:gd name="connsiteY684" fmla="*/ 4064717 h 6689084"/>
              <a:gd name="connsiteX685" fmla="*/ 5998139 w 6689088"/>
              <a:gd name="connsiteY685" fmla="*/ 4063992 h 6689084"/>
              <a:gd name="connsiteX686" fmla="*/ 6008306 w 6689088"/>
              <a:gd name="connsiteY686" fmla="*/ 4074159 h 6689084"/>
              <a:gd name="connsiteX687" fmla="*/ 5998139 w 6689088"/>
              <a:gd name="connsiteY687" fmla="*/ 4084325 h 6689084"/>
              <a:gd name="connsiteX688" fmla="*/ 5987973 w 6689088"/>
              <a:gd name="connsiteY688" fmla="*/ 4074159 h 6689084"/>
              <a:gd name="connsiteX689" fmla="*/ 5998139 w 6689088"/>
              <a:gd name="connsiteY689" fmla="*/ 4063992 h 6689084"/>
              <a:gd name="connsiteX690" fmla="*/ 6152083 w 6689088"/>
              <a:gd name="connsiteY690" fmla="*/ 4062174 h 6689084"/>
              <a:gd name="connsiteX691" fmla="*/ 6164064 w 6689088"/>
              <a:gd name="connsiteY691" fmla="*/ 4074155 h 6689084"/>
              <a:gd name="connsiteX692" fmla="*/ 6152083 w 6689088"/>
              <a:gd name="connsiteY692" fmla="*/ 4086140 h 6689084"/>
              <a:gd name="connsiteX693" fmla="*/ 6140102 w 6689088"/>
              <a:gd name="connsiteY693" fmla="*/ 4074155 h 6689084"/>
              <a:gd name="connsiteX694" fmla="*/ 6152083 w 6689088"/>
              <a:gd name="connsiteY694" fmla="*/ 4062174 h 6689084"/>
              <a:gd name="connsiteX695" fmla="*/ 6305672 w 6689088"/>
              <a:gd name="connsiteY695" fmla="*/ 4059998 h 6689084"/>
              <a:gd name="connsiteX696" fmla="*/ 6319467 w 6689088"/>
              <a:gd name="connsiteY696" fmla="*/ 4073793 h 6689084"/>
              <a:gd name="connsiteX697" fmla="*/ 6305672 w 6689088"/>
              <a:gd name="connsiteY697" fmla="*/ 4087592 h 6689084"/>
              <a:gd name="connsiteX698" fmla="*/ 6291873 w 6689088"/>
              <a:gd name="connsiteY698" fmla="*/ 4073793 h 6689084"/>
              <a:gd name="connsiteX699" fmla="*/ 6305672 w 6689088"/>
              <a:gd name="connsiteY699" fmla="*/ 4059998 h 6689084"/>
              <a:gd name="connsiteX700" fmla="*/ 6459619 w 6689088"/>
              <a:gd name="connsiteY700" fmla="*/ 4058907 h 6689084"/>
              <a:gd name="connsiteX701" fmla="*/ 6474867 w 6689088"/>
              <a:gd name="connsiteY701" fmla="*/ 4074155 h 6689084"/>
              <a:gd name="connsiteX702" fmla="*/ 6459619 w 6689088"/>
              <a:gd name="connsiteY702" fmla="*/ 4089406 h 6689084"/>
              <a:gd name="connsiteX703" fmla="*/ 6444368 w 6689088"/>
              <a:gd name="connsiteY703" fmla="*/ 4074155 h 6689084"/>
              <a:gd name="connsiteX704" fmla="*/ 6459619 w 6689088"/>
              <a:gd name="connsiteY704" fmla="*/ 4058907 h 6689084"/>
              <a:gd name="connsiteX705" fmla="*/ 6613197 w 6689088"/>
              <a:gd name="connsiteY705" fmla="*/ 4057093 h 6689084"/>
              <a:gd name="connsiteX706" fmla="*/ 6630266 w 6689088"/>
              <a:gd name="connsiteY706" fmla="*/ 4074159 h 6689084"/>
              <a:gd name="connsiteX707" fmla="*/ 6613197 w 6689088"/>
              <a:gd name="connsiteY707" fmla="*/ 4091225 h 6689084"/>
              <a:gd name="connsiteX708" fmla="*/ 6596135 w 6689088"/>
              <a:gd name="connsiteY708" fmla="*/ 4074159 h 6689084"/>
              <a:gd name="connsiteX709" fmla="*/ 6613197 w 6689088"/>
              <a:gd name="connsiteY709" fmla="*/ 4057093 h 6689084"/>
              <a:gd name="connsiteX710" fmla="*/ 4614061 w 6689088"/>
              <a:gd name="connsiteY710" fmla="*/ 3919845 h 6689084"/>
              <a:gd name="connsiteX711" fmla="*/ 4614424 w 6689088"/>
              <a:gd name="connsiteY711" fmla="*/ 3920208 h 6689084"/>
              <a:gd name="connsiteX712" fmla="*/ 4614061 w 6689088"/>
              <a:gd name="connsiteY712" fmla="*/ 3920574 h 6689084"/>
              <a:gd name="connsiteX713" fmla="*/ 4613699 w 6689088"/>
              <a:gd name="connsiteY713" fmla="*/ 3920208 h 6689084"/>
              <a:gd name="connsiteX714" fmla="*/ 4614061 w 6689088"/>
              <a:gd name="connsiteY714" fmla="*/ 3919845 h 6689084"/>
              <a:gd name="connsiteX715" fmla="*/ 4152947 w 6689088"/>
              <a:gd name="connsiteY715" fmla="*/ 3919845 h 6689084"/>
              <a:gd name="connsiteX716" fmla="*/ 4153309 w 6689088"/>
              <a:gd name="connsiteY716" fmla="*/ 3920208 h 6689084"/>
              <a:gd name="connsiteX717" fmla="*/ 4152947 w 6689088"/>
              <a:gd name="connsiteY717" fmla="*/ 3920574 h 6689084"/>
              <a:gd name="connsiteX718" fmla="*/ 4152585 w 6689088"/>
              <a:gd name="connsiteY718" fmla="*/ 3920208 h 6689084"/>
              <a:gd name="connsiteX719" fmla="*/ 4152947 w 6689088"/>
              <a:gd name="connsiteY719" fmla="*/ 3919845 h 6689084"/>
              <a:gd name="connsiteX720" fmla="*/ 3999000 w 6689088"/>
              <a:gd name="connsiteY720" fmla="*/ 3919845 h 6689084"/>
              <a:gd name="connsiteX721" fmla="*/ 3999362 w 6689088"/>
              <a:gd name="connsiteY721" fmla="*/ 3920208 h 6689084"/>
              <a:gd name="connsiteX722" fmla="*/ 3999000 w 6689088"/>
              <a:gd name="connsiteY722" fmla="*/ 3920574 h 6689084"/>
              <a:gd name="connsiteX723" fmla="*/ 3998638 w 6689088"/>
              <a:gd name="connsiteY723" fmla="*/ 3920208 h 6689084"/>
              <a:gd name="connsiteX724" fmla="*/ 3999000 w 6689088"/>
              <a:gd name="connsiteY724" fmla="*/ 3919845 h 6689084"/>
              <a:gd name="connsiteX725" fmla="*/ 3845418 w 6689088"/>
              <a:gd name="connsiteY725" fmla="*/ 3919483 h 6689084"/>
              <a:gd name="connsiteX726" fmla="*/ 3846142 w 6689088"/>
              <a:gd name="connsiteY726" fmla="*/ 3920211 h 6689084"/>
              <a:gd name="connsiteX727" fmla="*/ 3845418 w 6689088"/>
              <a:gd name="connsiteY727" fmla="*/ 3920936 h 6689084"/>
              <a:gd name="connsiteX728" fmla="*/ 3844690 w 6689088"/>
              <a:gd name="connsiteY728" fmla="*/ 3920211 h 6689084"/>
              <a:gd name="connsiteX729" fmla="*/ 3845418 w 6689088"/>
              <a:gd name="connsiteY729" fmla="*/ 3919483 h 6689084"/>
              <a:gd name="connsiteX730" fmla="*/ 4768012 w 6689088"/>
              <a:gd name="connsiteY730" fmla="*/ 3918759 h 6689084"/>
              <a:gd name="connsiteX731" fmla="*/ 4769464 w 6689088"/>
              <a:gd name="connsiteY731" fmla="*/ 3920211 h 6689084"/>
              <a:gd name="connsiteX732" fmla="*/ 4768012 w 6689088"/>
              <a:gd name="connsiteY732" fmla="*/ 3921664 h 6689084"/>
              <a:gd name="connsiteX733" fmla="*/ 4766560 w 6689088"/>
              <a:gd name="connsiteY733" fmla="*/ 3920211 h 6689084"/>
              <a:gd name="connsiteX734" fmla="*/ 4768012 w 6689088"/>
              <a:gd name="connsiteY734" fmla="*/ 3918759 h 6689084"/>
              <a:gd name="connsiteX735" fmla="*/ 4921594 w 6689088"/>
              <a:gd name="connsiteY735" fmla="*/ 3918031 h 6689084"/>
              <a:gd name="connsiteX736" fmla="*/ 4923774 w 6689088"/>
              <a:gd name="connsiteY736" fmla="*/ 3920208 h 6689084"/>
              <a:gd name="connsiteX737" fmla="*/ 4921594 w 6689088"/>
              <a:gd name="connsiteY737" fmla="*/ 3922388 h 6689084"/>
              <a:gd name="connsiteX738" fmla="*/ 4919417 w 6689088"/>
              <a:gd name="connsiteY738" fmla="*/ 3920208 h 6689084"/>
              <a:gd name="connsiteX739" fmla="*/ 4921594 w 6689088"/>
              <a:gd name="connsiteY739" fmla="*/ 3918031 h 6689084"/>
              <a:gd name="connsiteX740" fmla="*/ 5075545 w 6689088"/>
              <a:gd name="connsiteY740" fmla="*/ 3917307 h 6689084"/>
              <a:gd name="connsiteX741" fmla="*/ 5078812 w 6689088"/>
              <a:gd name="connsiteY741" fmla="*/ 3920574 h 6689084"/>
              <a:gd name="connsiteX742" fmla="*/ 5075545 w 6689088"/>
              <a:gd name="connsiteY742" fmla="*/ 3923844 h 6689084"/>
              <a:gd name="connsiteX743" fmla="*/ 5072274 w 6689088"/>
              <a:gd name="connsiteY743" fmla="*/ 3920574 h 6689084"/>
              <a:gd name="connsiteX744" fmla="*/ 5075545 w 6689088"/>
              <a:gd name="connsiteY744" fmla="*/ 3917307 h 6689084"/>
              <a:gd name="connsiteX745" fmla="*/ 5229126 w 6689088"/>
              <a:gd name="connsiteY745" fmla="*/ 3915854 h 6689084"/>
              <a:gd name="connsiteX746" fmla="*/ 5233484 w 6689088"/>
              <a:gd name="connsiteY746" fmla="*/ 3920211 h 6689084"/>
              <a:gd name="connsiteX747" fmla="*/ 5229126 w 6689088"/>
              <a:gd name="connsiteY747" fmla="*/ 3924568 h 6689084"/>
              <a:gd name="connsiteX748" fmla="*/ 5224770 w 6689088"/>
              <a:gd name="connsiteY748" fmla="*/ 3920211 h 6689084"/>
              <a:gd name="connsiteX749" fmla="*/ 5229126 w 6689088"/>
              <a:gd name="connsiteY749" fmla="*/ 3915854 h 6689084"/>
              <a:gd name="connsiteX750" fmla="*/ 5383074 w 6689088"/>
              <a:gd name="connsiteY750" fmla="*/ 3914764 h 6689084"/>
              <a:gd name="connsiteX751" fmla="*/ 5388883 w 6689088"/>
              <a:gd name="connsiteY751" fmla="*/ 3920574 h 6689084"/>
              <a:gd name="connsiteX752" fmla="*/ 5383074 w 6689088"/>
              <a:gd name="connsiteY752" fmla="*/ 3926383 h 6689084"/>
              <a:gd name="connsiteX753" fmla="*/ 5377264 w 6689088"/>
              <a:gd name="connsiteY753" fmla="*/ 3920574 h 6689084"/>
              <a:gd name="connsiteX754" fmla="*/ 5383074 w 6689088"/>
              <a:gd name="connsiteY754" fmla="*/ 3914764 h 6689084"/>
              <a:gd name="connsiteX755" fmla="*/ 5536659 w 6689088"/>
              <a:gd name="connsiteY755" fmla="*/ 3912950 h 6689084"/>
              <a:gd name="connsiteX756" fmla="*/ 5543921 w 6689088"/>
              <a:gd name="connsiteY756" fmla="*/ 3920211 h 6689084"/>
              <a:gd name="connsiteX757" fmla="*/ 5536659 w 6689088"/>
              <a:gd name="connsiteY757" fmla="*/ 3927473 h 6689084"/>
              <a:gd name="connsiteX758" fmla="*/ 5529398 w 6689088"/>
              <a:gd name="connsiteY758" fmla="*/ 3920211 h 6689084"/>
              <a:gd name="connsiteX759" fmla="*/ 5536659 w 6689088"/>
              <a:gd name="connsiteY759" fmla="*/ 3912950 h 6689084"/>
              <a:gd name="connsiteX760" fmla="*/ 5690606 w 6689088"/>
              <a:gd name="connsiteY760" fmla="*/ 3911135 h 6689084"/>
              <a:gd name="connsiteX761" fmla="*/ 5699686 w 6689088"/>
              <a:gd name="connsiteY761" fmla="*/ 3920211 h 6689084"/>
              <a:gd name="connsiteX762" fmla="*/ 5690606 w 6689088"/>
              <a:gd name="connsiteY762" fmla="*/ 3929291 h 6689084"/>
              <a:gd name="connsiteX763" fmla="*/ 5681530 w 6689088"/>
              <a:gd name="connsiteY763" fmla="*/ 3920211 h 6689084"/>
              <a:gd name="connsiteX764" fmla="*/ 5690606 w 6689088"/>
              <a:gd name="connsiteY764" fmla="*/ 3911135 h 6689084"/>
              <a:gd name="connsiteX765" fmla="*/ 5844554 w 6689088"/>
              <a:gd name="connsiteY765" fmla="*/ 3910045 h 6689084"/>
              <a:gd name="connsiteX766" fmla="*/ 5854720 w 6689088"/>
              <a:gd name="connsiteY766" fmla="*/ 3920211 h 6689084"/>
              <a:gd name="connsiteX767" fmla="*/ 5844554 w 6689088"/>
              <a:gd name="connsiteY767" fmla="*/ 3930378 h 6689084"/>
              <a:gd name="connsiteX768" fmla="*/ 5834388 w 6689088"/>
              <a:gd name="connsiteY768" fmla="*/ 3920211 h 6689084"/>
              <a:gd name="connsiteX769" fmla="*/ 5844554 w 6689088"/>
              <a:gd name="connsiteY769" fmla="*/ 3910045 h 6689084"/>
              <a:gd name="connsiteX770" fmla="*/ 5998139 w 6689088"/>
              <a:gd name="connsiteY770" fmla="*/ 3908227 h 6689084"/>
              <a:gd name="connsiteX771" fmla="*/ 6010120 w 6689088"/>
              <a:gd name="connsiteY771" fmla="*/ 3920208 h 6689084"/>
              <a:gd name="connsiteX772" fmla="*/ 5998139 w 6689088"/>
              <a:gd name="connsiteY772" fmla="*/ 3932192 h 6689084"/>
              <a:gd name="connsiteX773" fmla="*/ 5986158 w 6689088"/>
              <a:gd name="connsiteY773" fmla="*/ 3920208 h 6689084"/>
              <a:gd name="connsiteX774" fmla="*/ 5998139 w 6689088"/>
              <a:gd name="connsiteY774" fmla="*/ 3908227 h 6689084"/>
              <a:gd name="connsiteX775" fmla="*/ 6152086 w 6689088"/>
              <a:gd name="connsiteY775" fmla="*/ 3906412 h 6689084"/>
              <a:gd name="connsiteX776" fmla="*/ 6165882 w 6689088"/>
              <a:gd name="connsiteY776" fmla="*/ 3920211 h 6689084"/>
              <a:gd name="connsiteX777" fmla="*/ 6152086 w 6689088"/>
              <a:gd name="connsiteY777" fmla="*/ 3934007 h 6689084"/>
              <a:gd name="connsiteX778" fmla="*/ 6138288 w 6689088"/>
              <a:gd name="connsiteY778" fmla="*/ 3920211 h 6689084"/>
              <a:gd name="connsiteX779" fmla="*/ 6152086 w 6689088"/>
              <a:gd name="connsiteY779" fmla="*/ 3906412 h 6689084"/>
              <a:gd name="connsiteX780" fmla="*/ 6305672 w 6689088"/>
              <a:gd name="connsiteY780" fmla="*/ 3904960 h 6689084"/>
              <a:gd name="connsiteX781" fmla="*/ 6320920 w 6689088"/>
              <a:gd name="connsiteY781" fmla="*/ 3920211 h 6689084"/>
              <a:gd name="connsiteX782" fmla="*/ 6305672 w 6689088"/>
              <a:gd name="connsiteY782" fmla="*/ 3935459 h 6689084"/>
              <a:gd name="connsiteX783" fmla="*/ 6290420 w 6689088"/>
              <a:gd name="connsiteY783" fmla="*/ 3920211 h 6689084"/>
              <a:gd name="connsiteX784" fmla="*/ 6305672 w 6689088"/>
              <a:gd name="connsiteY784" fmla="*/ 3904960 h 6689084"/>
              <a:gd name="connsiteX785" fmla="*/ 6459616 w 6689088"/>
              <a:gd name="connsiteY785" fmla="*/ 3903146 h 6689084"/>
              <a:gd name="connsiteX786" fmla="*/ 6476682 w 6689088"/>
              <a:gd name="connsiteY786" fmla="*/ 3920211 h 6689084"/>
              <a:gd name="connsiteX787" fmla="*/ 6459616 w 6689088"/>
              <a:gd name="connsiteY787" fmla="*/ 3937277 h 6689084"/>
              <a:gd name="connsiteX788" fmla="*/ 6442550 w 6689088"/>
              <a:gd name="connsiteY788" fmla="*/ 3920211 h 6689084"/>
              <a:gd name="connsiteX789" fmla="*/ 6459616 w 6689088"/>
              <a:gd name="connsiteY789" fmla="*/ 3903146 h 6689084"/>
              <a:gd name="connsiteX790" fmla="*/ 6613200 w 6689088"/>
              <a:gd name="connsiteY790" fmla="*/ 3900969 h 6689084"/>
              <a:gd name="connsiteX791" fmla="*/ 6632447 w 6689088"/>
              <a:gd name="connsiteY791" fmla="*/ 3920211 h 6689084"/>
              <a:gd name="connsiteX792" fmla="*/ 6613200 w 6689088"/>
              <a:gd name="connsiteY792" fmla="*/ 3939458 h 6689084"/>
              <a:gd name="connsiteX793" fmla="*/ 6593958 w 6689088"/>
              <a:gd name="connsiteY793" fmla="*/ 3920211 h 6689084"/>
              <a:gd name="connsiteX794" fmla="*/ 6613200 w 6689088"/>
              <a:gd name="connsiteY794" fmla="*/ 3900969 h 6689084"/>
              <a:gd name="connsiteX795" fmla="*/ 4460480 w 6689088"/>
              <a:gd name="connsiteY795" fmla="*/ 3766264 h 6689084"/>
              <a:gd name="connsiteX796" fmla="*/ 4460842 w 6689088"/>
              <a:gd name="connsiteY796" fmla="*/ 3766626 h 6689084"/>
              <a:gd name="connsiteX797" fmla="*/ 4460480 w 6689088"/>
              <a:gd name="connsiteY797" fmla="*/ 3766988 h 6689084"/>
              <a:gd name="connsiteX798" fmla="*/ 4460118 w 6689088"/>
              <a:gd name="connsiteY798" fmla="*/ 3766626 h 6689084"/>
              <a:gd name="connsiteX799" fmla="*/ 4460480 w 6689088"/>
              <a:gd name="connsiteY799" fmla="*/ 3766264 h 6689084"/>
              <a:gd name="connsiteX800" fmla="*/ 3999000 w 6689088"/>
              <a:gd name="connsiteY800" fmla="*/ 3766264 h 6689084"/>
              <a:gd name="connsiteX801" fmla="*/ 3999362 w 6689088"/>
              <a:gd name="connsiteY801" fmla="*/ 3766626 h 6689084"/>
              <a:gd name="connsiteX802" fmla="*/ 3999000 w 6689088"/>
              <a:gd name="connsiteY802" fmla="*/ 3766988 h 6689084"/>
              <a:gd name="connsiteX803" fmla="*/ 3998638 w 6689088"/>
              <a:gd name="connsiteY803" fmla="*/ 3766626 h 6689084"/>
              <a:gd name="connsiteX804" fmla="*/ 3999000 w 6689088"/>
              <a:gd name="connsiteY804" fmla="*/ 3766264 h 6689084"/>
              <a:gd name="connsiteX805" fmla="*/ 3845414 w 6689088"/>
              <a:gd name="connsiteY805" fmla="*/ 3766264 h 6689084"/>
              <a:gd name="connsiteX806" fmla="*/ 3845776 w 6689088"/>
              <a:gd name="connsiteY806" fmla="*/ 3766626 h 6689084"/>
              <a:gd name="connsiteX807" fmla="*/ 3845414 w 6689088"/>
              <a:gd name="connsiteY807" fmla="*/ 3766988 h 6689084"/>
              <a:gd name="connsiteX808" fmla="*/ 3845052 w 6689088"/>
              <a:gd name="connsiteY808" fmla="*/ 3766626 h 6689084"/>
              <a:gd name="connsiteX809" fmla="*/ 3845414 w 6689088"/>
              <a:gd name="connsiteY809" fmla="*/ 3766264 h 6689084"/>
              <a:gd name="connsiteX810" fmla="*/ 3691471 w 6689088"/>
              <a:gd name="connsiteY810" fmla="*/ 3765902 h 6689084"/>
              <a:gd name="connsiteX811" fmla="*/ 3692195 w 6689088"/>
              <a:gd name="connsiteY811" fmla="*/ 3766626 h 6689084"/>
              <a:gd name="connsiteX812" fmla="*/ 3691471 w 6689088"/>
              <a:gd name="connsiteY812" fmla="*/ 3767354 h 6689084"/>
              <a:gd name="connsiteX813" fmla="*/ 3690743 w 6689088"/>
              <a:gd name="connsiteY813" fmla="*/ 3766626 h 6689084"/>
              <a:gd name="connsiteX814" fmla="*/ 3691471 w 6689088"/>
              <a:gd name="connsiteY814" fmla="*/ 3765902 h 6689084"/>
              <a:gd name="connsiteX815" fmla="*/ 4614065 w 6689088"/>
              <a:gd name="connsiteY815" fmla="*/ 3764812 h 6689084"/>
              <a:gd name="connsiteX816" fmla="*/ 4615518 w 6689088"/>
              <a:gd name="connsiteY816" fmla="*/ 3766264 h 6689084"/>
              <a:gd name="connsiteX817" fmla="*/ 4614065 w 6689088"/>
              <a:gd name="connsiteY817" fmla="*/ 3767716 h 6689084"/>
              <a:gd name="connsiteX818" fmla="*/ 4612612 w 6689088"/>
              <a:gd name="connsiteY818" fmla="*/ 3766264 h 6689084"/>
              <a:gd name="connsiteX819" fmla="*/ 4614065 w 6689088"/>
              <a:gd name="connsiteY819" fmla="*/ 3764812 h 6689084"/>
              <a:gd name="connsiteX820" fmla="*/ 4768008 w 6689088"/>
              <a:gd name="connsiteY820" fmla="*/ 3764450 h 6689084"/>
              <a:gd name="connsiteX821" fmla="*/ 4770189 w 6689088"/>
              <a:gd name="connsiteY821" fmla="*/ 3766626 h 6689084"/>
              <a:gd name="connsiteX822" fmla="*/ 4768008 w 6689088"/>
              <a:gd name="connsiteY822" fmla="*/ 3768807 h 6689084"/>
              <a:gd name="connsiteX823" fmla="*/ 4765832 w 6689088"/>
              <a:gd name="connsiteY823" fmla="*/ 3766626 h 6689084"/>
              <a:gd name="connsiteX824" fmla="*/ 4768008 w 6689088"/>
              <a:gd name="connsiteY824" fmla="*/ 3764450 h 6689084"/>
              <a:gd name="connsiteX825" fmla="*/ 4921594 w 6689088"/>
              <a:gd name="connsiteY825" fmla="*/ 3763359 h 6689084"/>
              <a:gd name="connsiteX826" fmla="*/ 4924860 w 6689088"/>
              <a:gd name="connsiteY826" fmla="*/ 3766626 h 6689084"/>
              <a:gd name="connsiteX827" fmla="*/ 4921594 w 6689088"/>
              <a:gd name="connsiteY827" fmla="*/ 3769897 h 6689084"/>
              <a:gd name="connsiteX828" fmla="*/ 4918327 w 6689088"/>
              <a:gd name="connsiteY828" fmla="*/ 3766626 h 6689084"/>
              <a:gd name="connsiteX829" fmla="*/ 4921594 w 6689088"/>
              <a:gd name="connsiteY829" fmla="*/ 3763359 h 6689084"/>
              <a:gd name="connsiteX830" fmla="*/ 5075541 w 6689088"/>
              <a:gd name="connsiteY830" fmla="*/ 3762269 h 6689084"/>
              <a:gd name="connsiteX831" fmla="*/ 5079898 w 6689088"/>
              <a:gd name="connsiteY831" fmla="*/ 3766626 h 6689084"/>
              <a:gd name="connsiteX832" fmla="*/ 5075541 w 6689088"/>
              <a:gd name="connsiteY832" fmla="*/ 3770983 h 6689084"/>
              <a:gd name="connsiteX833" fmla="*/ 5071184 w 6689088"/>
              <a:gd name="connsiteY833" fmla="*/ 3766626 h 6689084"/>
              <a:gd name="connsiteX834" fmla="*/ 5075541 w 6689088"/>
              <a:gd name="connsiteY834" fmla="*/ 3762269 h 6689084"/>
              <a:gd name="connsiteX835" fmla="*/ 5229126 w 6689088"/>
              <a:gd name="connsiteY835" fmla="*/ 3760817 h 6689084"/>
              <a:gd name="connsiteX836" fmla="*/ 5234936 w 6689088"/>
              <a:gd name="connsiteY836" fmla="*/ 3766626 h 6689084"/>
              <a:gd name="connsiteX837" fmla="*/ 5229126 w 6689088"/>
              <a:gd name="connsiteY837" fmla="*/ 3772436 h 6689084"/>
              <a:gd name="connsiteX838" fmla="*/ 5223317 w 6689088"/>
              <a:gd name="connsiteY838" fmla="*/ 3766626 h 6689084"/>
              <a:gd name="connsiteX839" fmla="*/ 5229126 w 6689088"/>
              <a:gd name="connsiteY839" fmla="*/ 3760817 h 6689084"/>
              <a:gd name="connsiteX840" fmla="*/ 5383074 w 6689088"/>
              <a:gd name="connsiteY840" fmla="*/ 3759365 h 6689084"/>
              <a:gd name="connsiteX841" fmla="*/ 5390336 w 6689088"/>
              <a:gd name="connsiteY841" fmla="*/ 3766626 h 6689084"/>
              <a:gd name="connsiteX842" fmla="*/ 5383074 w 6689088"/>
              <a:gd name="connsiteY842" fmla="*/ 3773888 h 6689084"/>
              <a:gd name="connsiteX843" fmla="*/ 5375812 w 6689088"/>
              <a:gd name="connsiteY843" fmla="*/ 3766626 h 6689084"/>
              <a:gd name="connsiteX844" fmla="*/ 5383074 w 6689088"/>
              <a:gd name="connsiteY844" fmla="*/ 3759365 h 6689084"/>
              <a:gd name="connsiteX845" fmla="*/ 5536659 w 6689088"/>
              <a:gd name="connsiteY845" fmla="*/ 3757188 h 6689084"/>
              <a:gd name="connsiteX846" fmla="*/ 5545739 w 6689088"/>
              <a:gd name="connsiteY846" fmla="*/ 3766264 h 6689084"/>
              <a:gd name="connsiteX847" fmla="*/ 5536659 w 6689088"/>
              <a:gd name="connsiteY847" fmla="*/ 3775344 h 6689084"/>
              <a:gd name="connsiteX848" fmla="*/ 5527583 w 6689088"/>
              <a:gd name="connsiteY848" fmla="*/ 3766264 h 6689084"/>
              <a:gd name="connsiteX849" fmla="*/ 5536659 w 6689088"/>
              <a:gd name="connsiteY849" fmla="*/ 3757188 h 6689084"/>
              <a:gd name="connsiteX850" fmla="*/ 5690606 w 6689088"/>
              <a:gd name="connsiteY850" fmla="*/ 3756460 h 6689084"/>
              <a:gd name="connsiteX851" fmla="*/ 5700773 w 6689088"/>
              <a:gd name="connsiteY851" fmla="*/ 3766626 h 6689084"/>
              <a:gd name="connsiteX852" fmla="*/ 5690606 w 6689088"/>
              <a:gd name="connsiteY852" fmla="*/ 3776793 h 6689084"/>
              <a:gd name="connsiteX853" fmla="*/ 5680440 w 6689088"/>
              <a:gd name="connsiteY853" fmla="*/ 3766626 h 6689084"/>
              <a:gd name="connsiteX854" fmla="*/ 5690606 w 6689088"/>
              <a:gd name="connsiteY854" fmla="*/ 3756460 h 6689084"/>
              <a:gd name="connsiteX855" fmla="*/ 5844550 w 6689088"/>
              <a:gd name="connsiteY855" fmla="*/ 3754645 h 6689084"/>
              <a:gd name="connsiteX856" fmla="*/ 5856534 w 6689088"/>
              <a:gd name="connsiteY856" fmla="*/ 3766626 h 6689084"/>
              <a:gd name="connsiteX857" fmla="*/ 5844550 w 6689088"/>
              <a:gd name="connsiteY857" fmla="*/ 3778607 h 6689084"/>
              <a:gd name="connsiteX858" fmla="*/ 5832570 w 6689088"/>
              <a:gd name="connsiteY858" fmla="*/ 3766626 h 6689084"/>
              <a:gd name="connsiteX859" fmla="*/ 5844550 w 6689088"/>
              <a:gd name="connsiteY859" fmla="*/ 3754645 h 6689084"/>
              <a:gd name="connsiteX860" fmla="*/ 5998139 w 6689088"/>
              <a:gd name="connsiteY860" fmla="*/ 3752465 h 6689084"/>
              <a:gd name="connsiteX861" fmla="*/ 6011934 w 6689088"/>
              <a:gd name="connsiteY861" fmla="*/ 3766264 h 6689084"/>
              <a:gd name="connsiteX862" fmla="*/ 5998139 w 6689088"/>
              <a:gd name="connsiteY862" fmla="*/ 3780059 h 6689084"/>
              <a:gd name="connsiteX863" fmla="*/ 5984340 w 6689088"/>
              <a:gd name="connsiteY863" fmla="*/ 3766264 h 6689084"/>
              <a:gd name="connsiteX864" fmla="*/ 5998139 w 6689088"/>
              <a:gd name="connsiteY864" fmla="*/ 3752465 h 6689084"/>
              <a:gd name="connsiteX865" fmla="*/ 6152086 w 6689088"/>
              <a:gd name="connsiteY865" fmla="*/ 3751379 h 6689084"/>
              <a:gd name="connsiteX866" fmla="*/ 6167334 w 6689088"/>
              <a:gd name="connsiteY866" fmla="*/ 3766626 h 6689084"/>
              <a:gd name="connsiteX867" fmla="*/ 6152086 w 6689088"/>
              <a:gd name="connsiteY867" fmla="*/ 3781878 h 6689084"/>
              <a:gd name="connsiteX868" fmla="*/ 6136839 w 6689088"/>
              <a:gd name="connsiteY868" fmla="*/ 3766626 h 6689084"/>
              <a:gd name="connsiteX869" fmla="*/ 6152086 w 6689088"/>
              <a:gd name="connsiteY869" fmla="*/ 3751379 h 6689084"/>
              <a:gd name="connsiteX870" fmla="*/ 6305668 w 6689088"/>
              <a:gd name="connsiteY870" fmla="*/ 3749560 h 6689084"/>
              <a:gd name="connsiteX871" fmla="*/ 6322734 w 6689088"/>
              <a:gd name="connsiteY871" fmla="*/ 3766626 h 6689084"/>
              <a:gd name="connsiteX872" fmla="*/ 6305668 w 6689088"/>
              <a:gd name="connsiteY872" fmla="*/ 3783692 h 6689084"/>
              <a:gd name="connsiteX873" fmla="*/ 6288602 w 6689088"/>
              <a:gd name="connsiteY873" fmla="*/ 3766626 h 6689084"/>
              <a:gd name="connsiteX874" fmla="*/ 6305668 w 6689088"/>
              <a:gd name="connsiteY874" fmla="*/ 3749560 h 6689084"/>
              <a:gd name="connsiteX875" fmla="*/ 6459616 w 6689088"/>
              <a:gd name="connsiteY875" fmla="*/ 3747384 h 6689084"/>
              <a:gd name="connsiteX876" fmla="*/ 6478858 w 6689088"/>
              <a:gd name="connsiteY876" fmla="*/ 3766626 h 6689084"/>
              <a:gd name="connsiteX877" fmla="*/ 6459616 w 6689088"/>
              <a:gd name="connsiteY877" fmla="*/ 3785869 h 6689084"/>
              <a:gd name="connsiteX878" fmla="*/ 6440369 w 6689088"/>
              <a:gd name="connsiteY878" fmla="*/ 3766626 h 6689084"/>
              <a:gd name="connsiteX879" fmla="*/ 6459616 w 6689088"/>
              <a:gd name="connsiteY879" fmla="*/ 3747384 h 6689084"/>
              <a:gd name="connsiteX880" fmla="*/ 6613200 w 6689088"/>
              <a:gd name="connsiteY880" fmla="*/ 3745203 h 6689084"/>
              <a:gd name="connsiteX881" fmla="*/ 6634624 w 6689088"/>
              <a:gd name="connsiteY881" fmla="*/ 3766626 h 6689084"/>
              <a:gd name="connsiteX882" fmla="*/ 6613200 w 6689088"/>
              <a:gd name="connsiteY882" fmla="*/ 3788045 h 6689084"/>
              <a:gd name="connsiteX883" fmla="*/ 6591778 w 6689088"/>
              <a:gd name="connsiteY883" fmla="*/ 3766626 h 6689084"/>
              <a:gd name="connsiteX884" fmla="*/ 6613200 w 6689088"/>
              <a:gd name="connsiteY884" fmla="*/ 3745203 h 6689084"/>
              <a:gd name="connsiteX885" fmla="*/ 4306532 w 6689088"/>
              <a:gd name="connsiteY885" fmla="*/ 3612317 h 6689084"/>
              <a:gd name="connsiteX886" fmla="*/ 4306894 w 6689088"/>
              <a:gd name="connsiteY886" fmla="*/ 3612679 h 6689084"/>
              <a:gd name="connsiteX887" fmla="*/ 4306532 w 6689088"/>
              <a:gd name="connsiteY887" fmla="*/ 3613045 h 6689084"/>
              <a:gd name="connsiteX888" fmla="*/ 4306170 w 6689088"/>
              <a:gd name="connsiteY888" fmla="*/ 3612679 h 6689084"/>
              <a:gd name="connsiteX889" fmla="*/ 4306532 w 6689088"/>
              <a:gd name="connsiteY889" fmla="*/ 3612317 h 6689084"/>
              <a:gd name="connsiteX890" fmla="*/ 3845414 w 6689088"/>
              <a:gd name="connsiteY890" fmla="*/ 3612317 h 6689084"/>
              <a:gd name="connsiteX891" fmla="*/ 3845776 w 6689088"/>
              <a:gd name="connsiteY891" fmla="*/ 3612679 h 6689084"/>
              <a:gd name="connsiteX892" fmla="*/ 3845414 w 6689088"/>
              <a:gd name="connsiteY892" fmla="*/ 3613045 h 6689084"/>
              <a:gd name="connsiteX893" fmla="*/ 3845052 w 6689088"/>
              <a:gd name="connsiteY893" fmla="*/ 3612679 h 6689084"/>
              <a:gd name="connsiteX894" fmla="*/ 3845414 w 6689088"/>
              <a:gd name="connsiteY894" fmla="*/ 3612317 h 6689084"/>
              <a:gd name="connsiteX895" fmla="*/ 3691467 w 6689088"/>
              <a:gd name="connsiteY895" fmla="*/ 3612317 h 6689084"/>
              <a:gd name="connsiteX896" fmla="*/ 3691829 w 6689088"/>
              <a:gd name="connsiteY896" fmla="*/ 3612679 h 6689084"/>
              <a:gd name="connsiteX897" fmla="*/ 3691467 w 6689088"/>
              <a:gd name="connsiteY897" fmla="*/ 3613045 h 6689084"/>
              <a:gd name="connsiteX898" fmla="*/ 3691105 w 6689088"/>
              <a:gd name="connsiteY898" fmla="*/ 3612679 h 6689084"/>
              <a:gd name="connsiteX899" fmla="*/ 3691467 w 6689088"/>
              <a:gd name="connsiteY899" fmla="*/ 3612317 h 6689084"/>
              <a:gd name="connsiteX900" fmla="*/ 3537886 w 6689088"/>
              <a:gd name="connsiteY900" fmla="*/ 3611955 h 6689084"/>
              <a:gd name="connsiteX901" fmla="*/ 3538610 w 6689088"/>
              <a:gd name="connsiteY901" fmla="*/ 3612683 h 6689084"/>
              <a:gd name="connsiteX902" fmla="*/ 3537886 w 6689088"/>
              <a:gd name="connsiteY902" fmla="*/ 3613407 h 6689084"/>
              <a:gd name="connsiteX903" fmla="*/ 3537158 w 6689088"/>
              <a:gd name="connsiteY903" fmla="*/ 3612683 h 6689084"/>
              <a:gd name="connsiteX904" fmla="*/ 3537886 w 6689088"/>
              <a:gd name="connsiteY904" fmla="*/ 3611955 h 6689084"/>
              <a:gd name="connsiteX905" fmla="*/ 4460480 w 6689088"/>
              <a:gd name="connsiteY905" fmla="*/ 3611226 h 6689084"/>
              <a:gd name="connsiteX906" fmla="*/ 4461932 w 6689088"/>
              <a:gd name="connsiteY906" fmla="*/ 3612679 h 6689084"/>
              <a:gd name="connsiteX907" fmla="*/ 4460480 w 6689088"/>
              <a:gd name="connsiteY907" fmla="*/ 3614131 h 6689084"/>
              <a:gd name="connsiteX908" fmla="*/ 4459028 w 6689088"/>
              <a:gd name="connsiteY908" fmla="*/ 3612679 h 6689084"/>
              <a:gd name="connsiteX909" fmla="*/ 4460480 w 6689088"/>
              <a:gd name="connsiteY909" fmla="*/ 3611226 h 6689084"/>
              <a:gd name="connsiteX910" fmla="*/ 4614061 w 6689088"/>
              <a:gd name="connsiteY910" fmla="*/ 3610502 h 6689084"/>
              <a:gd name="connsiteX911" fmla="*/ 4616242 w 6689088"/>
              <a:gd name="connsiteY911" fmla="*/ 3612679 h 6689084"/>
              <a:gd name="connsiteX912" fmla="*/ 4614061 w 6689088"/>
              <a:gd name="connsiteY912" fmla="*/ 3614859 h 6689084"/>
              <a:gd name="connsiteX913" fmla="*/ 4611884 w 6689088"/>
              <a:gd name="connsiteY913" fmla="*/ 3612679 h 6689084"/>
              <a:gd name="connsiteX914" fmla="*/ 4614061 w 6689088"/>
              <a:gd name="connsiteY914" fmla="*/ 3610502 h 6689084"/>
              <a:gd name="connsiteX915" fmla="*/ 4768008 w 6689088"/>
              <a:gd name="connsiteY915" fmla="*/ 3609774 h 6689084"/>
              <a:gd name="connsiteX916" fmla="*/ 4771276 w 6689088"/>
              <a:gd name="connsiteY916" fmla="*/ 3613041 h 6689084"/>
              <a:gd name="connsiteX917" fmla="*/ 4768008 w 6689088"/>
              <a:gd name="connsiteY917" fmla="*/ 3616312 h 6689084"/>
              <a:gd name="connsiteX918" fmla="*/ 4764742 w 6689088"/>
              <a:gd name="connsiteY918" fmla="*/ 3613041 h 6689084"/>
              <a:gd name="connsiteX919" fmla="*/ 4768008 w 6689088"/>
              <a:gd name="connsiteY919" fmla="*/ 3609774 h 6689084"/>
              <a:gd name="connsiteX920" fmla="*/ 4921594 w 6689088"/>
              <a:gd name="connsiteY920" fmla="*/ 3608322 h 6689084"/>
              <a:gd name="connsiteX921" fmla="*/ 4925951 w 6689088"/>
              <a:gd name="connsiteY921" fmla="*/ 3612679 h 6689084"/>
              <a:gd name="connsiteX922" fmla="*/ 4921594 w 6689088"/>
              <a:gd name="connsiteY922" fmla="*/ 3617036 h 6689084"/>
              <a:gd name="connsiteX923" fmla="*/ 4917237 w 6689088"/>
              <a:gd name="connsiteY923" fmla="*/ 3612679 h 6689084"/>
              <a:gd name="connsiteX924" fmla="*/ 4921594 w 6689088"/>
              <a:gd name="connsiteY924" fmla="*/ 3608322 h 6689084"/>
              <a:gd name="connsiteX925" fmla="*/ 5075541 w 6689088"/>
              <a:gd name="connsiteY925" fmla="*/ 3607232 h 6689084"/>
              <a:gd name="connsiteX926" fmla="*/ 5081350 w 6689088"/>
              <a:gd name="connsiteY926" fmla="*/ 3613041 h 6689084"/>
              <a:gd name="connsiteX927" fmla="*/ 5075541 w 6689088"/>
              <a:gd name="connsiteY927" fmla="*/ 3618850 h 6689084"/>
              <a:gd name="connsiteX928" fmla="*/ 5069732 w 6689088"/>
              <a:gd name="connsiteY928" fmla="*/ 3613041 h 6689084"/>
              <a:gd name="connsiteX929" fmla="*/ 5075541 w 6689088"/>
              <a:gd name="connsiteY929" fmla="*/ 3607232 h 6689084"/>
              <a:gd name="connsiteX930" fmla="*/ 5229126 w 6689088"/>
              <a:gd name="connsiteY930" fmla="*/ 3605417 h 6689084"/>
              <a:gd name="connsiteX931" fmla="*/ 5236388 w 6689088"/>
              <a:gd name="connsiteY931" fmla="*/ 3612679 h 6689084"/>
              <a:gd name="connsiteX932" fmla="*/ 5229126 w 6689088"/>
              <a:gd name="connsiteY932" fmla="*/ 3619940 h 6689084"/>
              <a:gd name="connsiteX933" fmla="*/ 5221865 w 6689088"/>
              <a:gd name="connsiteY933" fmla="*/ 3612679 h 6689084"/>
              <a:gd name="connsiteX934" fmla="*/ 5229126 w 6689088"/>
              <a:gd name="connsiteY934" fmla="*/ 3605417 h 6689084"/>
              <a:gd name="connsiteX935" fmla="*/ 5383074 w 6689088"/>
              <a:gd name="connsiteY935" fmla="*/ 3603603 h 6689084"/>
              <a:gd name="connsiteX936" fmla="*/ 5392154 w 6689088"/>
              <a:gd name="connsiteY936" fmla="*/ 3612679 h 6689084"/>
              <a:gd name="connsiteX937" fmla="*/ 5383074 w 6689088"/>
              <a:gd name="connsiteY937" fmla="*/ 3621759 h 6689084"/>
              <a:gd name="connsiteX938" fmla="*/ 5373998 w 6689088"/>
              <a:gd name="connsiteY938" fmla="*/ 3612679 h 6689084"/>
              <a:gd name="connsiteX939" fmla="*/ 5383074 w 6689088"/>
              <a:gd name="connsiteY939" fmla="*/ 3603603 h 6689084"/>
              <a:gd name="connsiteX940" fmla="*/ 5536659 w 6689088"/>
              <a:gd name="connsiteY940" fmla="*/ 3602512 h 6689084"/>
              <a:gd name="connsiteX941" fmla="*/ 5546826 w 6689088"/>
              <a:gd name="connsiteY941" fmla="*/ 3612679 h 6689084"/>
              <a:gd name="connsiteX942" fmla="*/ 5536659 w 6689088"/>
              <a:gd name="connsiteY942" fmla="*/ 3622845 h 6689084"/>
              <a:gd name="connsiteX943" fmla="*/ 5526493 w 6689088"/>
              <a:gd name="connsiteY943" fmla="*/ 3612679 h 6689084"/>
              <a:gd name="connsiteX944" fmla="*/ 5536659 w 6689088"/>
              <a:gd name="connsiteY944" fmla="*/ 3602512 h 6689084"/>
              <a:gd name="connsiteX945" fmla="*/ 5690602 w 6689088"/>
              <a:gd name="connsiteY945" fmla="*/ 3600698 h 6689084"/>
              <a:gd name="connsiteX946" fmla="*/ 5702584 w 6689088"/>
              <a:gd name="connsiteY946" fmla="*/ 3612679 h 6689084"/>
              <a:gd name="connsiteX947" fmla="*/ 5690602 w 6689088"/>
              <a:gd name="connsiteY947" fmla="*/ 3624663 h 6689084"/>
              <a:gd name="connsiteX948" fmla="*/ 5678622 w 6689088"/>
              <a:gd name="connsiteY948" fmla="*/ 3612679 h 6689084"/>
              <a:gd name="connsiteX949" fmla="*/ 5690602 w 6689088"/>
              <a:gd name="connsiteY949" fmla="*/ 3600698 h 6689084"/>
              <a:gd name="connsiteX950" fmla="*/ 5844554 w 6689088"/>
              <a:gd name="connsiteY950" fmla="*/ 3598884 h 6689084"/>
              <a:gd name="connsiteX951" fmla="*/ 5858349 w 6689088"/>
              <a:gd name="connsiteY951" fmla="*/ 3612683 h 6689084"/>
              <a:gd name="connsiteX952" fmla="*/ 5844554 w 6689088"/>
              <a:gd name="connsiteY952" fmla="*/ 3626478 h 6689084"/>
              <a:gd name="connsiteX953" fmla="*/ 5830755 w 6689088"/>
              <a:gd name="connsiteY953" fmla="*/ 3612683 h 6689084"/>
              <a:gd name="connsiteX954" fmla="*/ 5844554 w 6689088"/>
              <a:gd name="connsiteY954" fmla="*/ 3598884 h 6689084"/>
              <a:gd name="connsiteX955" fmla="*/ 5998139 w 6689088"/>
              <a:gd name="connsiteY955" fmla="*/ 3597431 h 6689084"/>
              <a:gd name="connsiteX956" fmla="*/ 6013387 w 6689088"/>
              <a:gd name="connsiteY956" fmla="*/ 3612683 h 6689084"/>
              <a:gd name="connsiteX957" fmla="*/ 5998139 w 6689088"/>
              <a:gd name="connsiteY957" fmla="*/ 3627930 h 6689084"/>
              <a:gd name="connsiteX958" fmla="*/ 5982892 w 6689088"/>
              <a:gd name="connsiteY958" fmla="*/ 3612683 h 6689084"/>
              <a:gd name="connsiteX959" fmla="*/ 5998139 w 6689088"/>
              <a:gd name="connsiteY959" fmla="*/ 3597431 h 6689084"/>
              <a:gd name="connsiteX960" fmla="*/ 6152083 w 6689088"/>
              <a:gd name="connsiteY960" fmla="*/ 3595613 h 6689084"/>
              <a:gd name="connsiteX961" fmla="*/ 6169152 w 6689088"/>
              <a:gd name="connsiteY961" fmla="*/ 3612679 h 6689084"/>
              <a:gd name="connsiteX962" fmla="*/ 6152083 w 6689088"/>
              <a:gd name="connsiteY962" fmla="*/ 3629745 h 6689084"/>
              <a:gd name="connsiteX963" fmla="*/ 6135020 w 6689088"/>
              <a:gd name="connsiteY963" fmla="*/ 3612679 h 6689084"/>
              <a:gd name="connsiteX964" fmla="*/ 6152083 w 6689088"/>
              <a:gd name="connsiteY964" fmla="*/ 3595613 h 6689084"/>
              <a:gd name="connsiteX965" fmla="*/ 6305668 w 6689088"/>
              <a:gd name="connsiteY965" fmla="*/ 3593436 h 6689084"/>
              <a:gd name="connsiteX966" fmla="*/ 6324910 w 6689088"/>
              <a:gd name="connsiteY966" fmla="*/ 3612679 h 6689084"/>
              <a:gd name="connsiteX967" fmla="*/ 6305668 w 6689088"/>
              <a:gd name="connsiteY967" fmla="*/ 3631921 h 6689084"/>
              <a:gd name="connsiteX968" fmla="*/ 6286422 w 6689088"/>
              <a:gd name="connsiteY968" fmla="*/ 3612679 h 6689084"/>
              <a:gd name="connsiteX969" fmla="*/ 6305668 w 6689088"/>
              <a:gd name="connsiteY969" fmla="*/ 3593436 h 6689084"/>
              <a:gd name="connsiteX970" fmla="*/ 6459616 w 6689088"/>
              <a:gd name="connsiteY970" fmla="*/ 3591256 h 6689084"/>
              <a:gd name="connsiteX971" fmla="*/ 6481038 w 6689088"/>
              <a:gd name="connsiteY971" fmla="*/ 3612679 h 6689084"/>
              <a:gd name="connsiteX972" fmla="*/ 6459616 w 6689088"/>
              <a:gd name="connsiteY972" fmla="*/ 3634098 h 6689084"/>
              <a:gd name="connsiteX973" fmla="*/ 6438192 w 6689088"/>
              <a:gd name="connsiteY973" fmla="*/ 3612679 h 6689084"/>
              <a:gd name="connsiteX974" fmla="*/ 6459616 w 6689088"/>
              <a:gd name="connsiteY974" fmla="*/ 3591256 h 6689084"/>
              <a:gd name="connsiteX975" fmla="*/ 6613200 w 6689088"/>
              <a:gd name="connsiteY975" fmla="*/ 3589804 h 6689084"/>
              <a:gd name="connsiteX976" fmla="*/ 6636072 w 6689088"/>
              <a:gd name="connsiteY976" fmla="*/ 3612679 h 6689084"/>
              <a:gd name="connsiteX977" fmla="*/ 6613200 w 6689088"/>
              <a:gd name="connsiteY977" fmla="*/ 3635550 h 6689084"/>
              <a:gd name="connsiteX978" fmla="*/ 6590326 w 6689088"/>
              <a:gd name="connsiteY978" fmla="*/ 3612679 h 6689084"/>
              <a:gd name="connsiteX979" fmla="*/ 6613200 w 6689088"/>
              <a:gd name="connsiteY979" fmla="*/ 3589804 h 6689084"/>
              <a:gd name="connsiteX980" fmla="*/ 4152947 w 6689088"/>
              <a:gd name="connsiteY980" fmla="*/ 3458731 h 6689084"/>
              <a:gd name="connsiteX981" fmla="*/ 4153309 w 6689088"/>
              <a:gd name="connsiteY981" fmla="*/ 3459094 h 6689084"/>
              <a:gd name="connsiteX982" fmla="*/ 4152947 w 6689088"/>
              <a:gd name="connsiteY982" fmla="*/ 3459456 h 6689084"/>
              <a:gd name="connsiteX983" fmla="*/ 4152585 w 6689088"/>
              <a:gd name="connsiteY983" fmla="*/ 3459094 h 6689084"/>
              <a:gd name="connsiteX984" fmla="*/ 4152947 w 6689088"/>
              <a:gd name="connsiteY984" fmla="*/ 3458731 h 6689084"/>
              <a:gd name="connsiteX985" fmla="*/ 3691467 w 6689088"/>
              <a:gd name="connsiteY985" fmla="*/ 3458731 h 6689084"/>
              <a:gd name="connsiteX986" fmla="*/ 3691829 w 6689088"/>
              <a:gd name="connsiteY986" fmla="*/ 3459094 h 6689084"/>
              <a:gd name="connsiteX987" fmla="*/ 3691467 w 6689088"/>
              <a:gd name="connsiteY987" fmla="*/ 3459456 h 6689084"/>
              <a:gd name="connsiteX988" fmla="*/ 3691105 w 6689088"/>
              <a:gd name="connsiteY988" fmla="*/ 3459094 h 6689084"/>
              <a:gd name="connsiteX989" fmla="*/ 3691467 w 6689088"/>
              <a:gd name="connsiteY989" fmla="*/ 3458731 h 6689084"/>
              <a:gd name="connsiteX990" fmla="*/ 3537882 w 6689088"/>
              <a:gd name="connsiteY990" fmla="*/ 3458731 h 6689084"/>
              <a:gd name="connsiteX991" fmla="*/ 3538244 w 6689088"/>
              <a:gd name="connsiteY991" fmla="*/ 3459094 h 6689084"/>
              <a:gd name="connsiteX992" fmla="*/ 3537882 w 6689088"/>
              <a:gd name="connsiteY992" fmla="*/ 3459456 h 6689084"/>
              <a:gd name="connsiteX993" fmla="*/ 3537520 w 6689088"/>
              <a:gd name="connsiteY993" fmla="*/ 3459094 h 6689084"/>
              <a:gd name="connsiteX994" fmla="*/ 3537882 w 6689088"/>
              <a:gd name="connsiteY994" fmla="*/ 3458731 h 6689084"/>
              <a:gd name="connsiteX995" fmla="*/ 3383938 w 6689088"/>
              <a:gd name="connsiteY995" fmla="*/ 3458369 h 6689084"/>
              <a:gd name="connsiteX996" fmla="*/ 3384662 w 6689088"/>
              <a:gd name="connsiteY996" fmla="*/ 3459094 h 6689084"/>
              <a:gd name="connsiteX997" fmla="*/ 3383938 w 6689088"/>
              <a:gd name="connsiteY997" fmla="*/ 3459822 h 6689084"/>
              <a:gd name="connsiteX998" fmla="*/ 3383210 w 6689088"/>
              <a:gd name="connsiteY998" fmla="*/ 3459094 h 6689084"/>
              <a:gd name="connsiteX999" fmla="*/ 3383938 w 6689088"/>
              <a:gd name="connsiteY999" fmla="*/ 3458369 h 6689084"/>
              <a:gd name="connsiteX1000" fmla="*/ 4306532 w 6689088"/>
              <a:gd name="connsiteY1000" fmla="*/ 3457279 h 6689084"/>
              <a:gd name="connsiteX1001" fmla="*/ 4307984 w 6689088"/>
              <a:gd name="connsiteY1001" fmla="*/ 3458731 h 6689084"/>
              <a:gd name="connsiteX1002" fmla="*/ 4306532 w 6689088"/>
              <a:gd name="connsiteY1002" fmla="*/ 3460184 h 6689084"/>
              <a:gd name="connsiteX1003" fmla="*/ 4305080 w 6689088"/>
              <a:gd name="connsiteY1003" fmla="*/ 3458731 h 6689084"/>
              <a:gd name="connsiteX1004" fmla="*/ 4306532 w 6689088"/>
              <a:gd name="connsiteY1004" fmla="*/ 3457279 h 6689084"/>
              <a:gd name="connsiteX1005" fmla="*/ 4460480 w 6689088"/>
              <a:gd name="connsiteY1005" fmla="*/ 3456917 h 6689084"/>
              <a:gd name="connsiteX1006" fmla="*/ 4462656 w 6689088"/>
              <a:gd name="connsiteY1006" fmla="*/ 3459094 h 6689084"/>
              <a:gd name="connsiteX1007" fmla="*/ 4460480 w 6689088"/>
              <a:gd name="connsiteY1007" fmla="*/ 3461274 h 6689084"/>
              <a:gd name="connsiteX1008" fmla="*/ 4458300 w 6689088"/>
              <a:gd name="connsiteY1008" fmla="*/ 3459094 h 6689084"/>
              <a:gd name="connsiteX1009" fmla="*/ 4460480 w 6689088"/>
              <a:gd name="connsiteY1009" fmla="*/ 3456917 h 6689084"/>
              <a:gd name="connsiteX1010" fmla="*/ 4614061 w 6689088"/>
              <a:gd name="connsiteY1010" fmla="*/ 3455827 h 6689084"/>
              <a:gd name="connsiteX1011" fmla="*/ 4617328 w 6689088"/>
              <a:gd name="connsiteY1011" fmla="*/ 3459094 h 6689084"/>
              <a:gd name="connsiteX1012" fmla="*/ 4614061 w 6689088"/>
              <a:gd name="connsiteY1012" fmla="*/ 3462364 h 6689084"/>
              <a:gd name="connsiteX1013" fmla="*/ 4610794 w 6689088"/>
              <a:gd name="connsiteY1013" fmla="*/ 3459094 h 6689084"/>
              <a:gd name="connsiteX1014" fmla="*/ 4614061 w 6689088"/>
              <a:gd name="connsiteY1014" fmla="*/ 3455827 h 6689084"/>
              <a:gd name="connsiteX1015" fmla="*/ 4768008 w 6689088"/>
              <a:gd name="connsiteY1015" fmla="*/ 3454374 h 6689084"/>
              <a:gd name="connsiteX1016" fmla="*/ 4772366 w 6689088"/>
              <a:gd name="connsiteY1016" fmla="*/ 3458731 h 6689084"/>
              <a:gd name="connsiteX1017" fmla="*/ 4768008 w 6689088"/>
              <a:gd name="connsiteY1017" fmla="*/ 3463088 h 6689084"/>
              <a:gd name="connsiteX1018" fmla="*/ 4763652 w 6689088"/>
              <a:gd name="connsiteY1018" fmla="*/ 3458731 h 6689084"/>
              <a:gd name="connsiteX1019" fmla="*/ 4768008 w 6689088"/>
              <a:gd name="connsiteY1019" fmla="*/ 3454374 h 6689084"/>
              <a:gd name="connsiteX1020" fmla="*/ 4921594 w 6689088"/>
              <a:gd name="connsiteY1020" fmla="*/ 3453284 h 6689084"/>
              <a:gd name="connsiteX1021" fmla="*/ 4927403 w 6689088"/>
              <a:gd name="connsiteY1021" fmla="*/ 3459094 h 6689084"/>
              <a:gd name="connsiteX1022" fmla="*/ 4921594 w 6689088"/>
              <a:gd name="connsiteY1022" fmla="*/ 3464903 h 6689084"/>
              <a:gd name="connsiteX1023" fmla="*/ 4915784 w 6689088"/>
              <a:gd name="connsiteY1023" fmla="*/ 3459094 h 6689084"/>
              <a:gd name="connsiteX1024" fmla="*/ 4921594 w 6689088"/>
              <a:gd name="connsiteY1024" fmla="*/ 3453284 h 6689084"/>
              <a:gd name="connsiteX1025" fmla="*/ 5075541 w 6689088"/>
              <a:gd name="connsiteY1025" fmla="*/ 3451832 h 6689084"/>
              <a:gd name="connsiteX1026" fmla="*/ 5082803 w 6689088"/>
              <a:gd name="connsiteY1026" fmla="*/ 3459094 h 6689084"/>
              <a:gd name="connsiteX1027" fmla="*/ 5075541 w 6689088"/>
              <a:gd name="connsiteY1027" fmla="*/ 3466355 h 6689084"/>
              <a:gd name="connsiteX1028" fmla="*/ 5068280 w 6689088"/>
              <a:gd name="connsiteY1028" fmla="*/ 3459094 h 6689084"/>
              <a:gd name="connsiteX1029" fmla="*/ 5075541 w 6689088"/>
              <a:gd name="connsiteY1029" fmla="*/ 3451832 h 6689084"/>
              <a:gd name="connsiteX1030" fmla="*/ 5229126 w 6689088"/>
              <a:gd name="connsiteY1030" fmla="*/ 3449655 h 6689084"/>
              <a:gd name="connsiteX1031" fmla="*/ 5238206 w 6689088"/>
              <a:gd name="connsiteY1031" fmla="*/ 3458731 h 6689084"/>
              <a:gd name="connsiteX1032" fmla="*/ 5229126 w 6689088"/>
              <a:gd name="connsiteY1032" fmla="*/ 3467811 h 6689084"/>
              <a:gd name="connsiteX1033" fmla="*/ 5220050 w 6689088"/>
              <a:gd name="connsiteY1033" fmla="*/ 3458731 h 6689084"/>
              <a:gd name="connsiteX1034" fmla="*/ 5229126 w 6689088"/>
              <a:gd name="connsiteY1034" fmla="*/ 3449655 h 6689084"/>
              <a:gd name="connsiteX1035" fmla="*/ 5383074 w 6689088"/>
              <a:gd name="connsiteY1035" fmla="*/ 3448927 h 6689084"/>
              <a:gd name="connsiteX1036" fmla="*/ 5393240 w 6689088"/>
              <a:gd name="connsiteY1036" fmla="*/ 3459094 h 6689084"/>
              <a:gd name="connsiteX1037" fmla="*/ 5383074 w 6689088"/>
              <a:gd name="connsiteY1037" fmla="*/ 3469260 h 6689084"/>
              <a:gd name="connsiteX1038" fmla="*/ 5372908 w 6689088"/>
              <a:gd name="connsiteY1038" fmla="*/ 3459094 h 6689084"/>
              <a:gd name="connsiteX1039" fmla="*/ 5383074 w 6689088"/>
              <a:gd name="connsiteY1039" fmla="*/ 3448927 h 6689084"/>
              <a:gd name="connsiteX1040" fmla="*/ 5536659 w 6689088"/>
              <a:gd name="connsiteY1040" fmla="*/ 3447113 h 6689084"/>
              <a:gd name="connsiteX1041" fmla="*/ 5548640 w 6689088"/>
              <a:gd name="connsiteY1041" fmla="*/ 3459094 h 6689084"/>
              <a:gd name="connsiteX1042" fmla="*/ 5536659 w 6689088"/>
              <a:gd name="connsiteY1042" fmla="*/ 3471074 h 6689084"/>
              <a:gd name="connsiteX1043" fmla="*/ 5524678 w 6689088"/>
              <a:gd name="connsiteY1043" fmla="*/ 3459094 h 6689084"/>
              <a:gd name="connsiteX1044" fmla="*/ 5536659 w 6689088"/>
              <a:gd name="connsiteY1044" fmla="*/ 3447113 h 6689084"/>
              <a:gd name="connsiteX1045" fmla="*/ 5690606 w 6689088"/>
              <a:gd name="connsiteY1045" fmla="*/ 3445298 h 6689084"/>
              <a:gd name="connsiteX1046" fmla="*/ 5704402 w 6689088"/>
              <a:gd name="connsiteY1046" fmla="*/ 3459094 h 6689084"/>
              <a:gd name="connsiteX1047" fmla="*/ 5690606 w 6689088"/>
              <a:gd name="connsiteY1047" fmla="*/ 3472893 h 6689084"/>
              <a:gd name="connsiteX1048" fmla="*/ 5676808 w 6689088"/>
              <a:gd name="connsiteY1048" fmla="*/ 3459094 h 6689084"/>
              <a:gd name="connsiteX1049" fmla="*/ 5690606 w 6689088"/>
              <a:gd name="connsiteY1049" fmla="*/ 3445298 h 6689084"/>
              <a:gd name="connsiteX1050" fmla="*/ 5844554 w 6689088"/>
              <a:gd name="connsiteY1050" fmla="*/ 3443846 h 6689084"/>
              <a:gd name="connsiteX1051" fmla="*/ 5859802 w 6689088"/>
              <a:gd name="connsiteY1051" fmla="*/ 3459094 h 6689084"/>
              <a:gd name="connsiteX1052" fmla="*/ 5844554 w 6689088"/>
              <a:gd name="connsiteY1052" fmla="*/ 3474345 h 6689084"/>
              <a:gd name="connsiteX1053" fmla="*/ 5829302 w 6689088"/>
              <a:gd name="connsiteY1053" fmla="*/ 3459094 h 6689084"/>
              <a:gd name="connsiteX1054" fmla="*/ 5844554 w 6689088"/>
              <a:gd name="connsiteY1054" fmla="*/ 3443846 h 6689084"/>
              <a:gd name="connsiteX1055" fmla="*/ 5998139 w 6689088"/>
              <a:gd name="connsiteY1055" fmla="*/ 3442031 h 6689084"/>
              <a:gd name="connsiteX1056" fmla="*/ 6015205 w 6689088"/>
              <a:gd name="connsiteY1056" fmla="*/ 3459097 h 6689084"/>
              <a:gd name="connsiteX1057" fmla="*/ 5998139 w 6689088"/>
              <a:gd name="connsiteY1057" fmla="*/ 3476159 h 6689084"/>
              <a:gd name="connsiteX1058" fmla="*/ 5981077 w 6689088"/>
              <a:gd name="connsiteY1058" fmla="*/ 3459097 h 6689084"/>
              <a:gd name="connsiteX1059" fmla="*/ 5998139 w 6689088"/>
              <a:gd name="connsiteY1059" fmla="*/ 3442031 h 6689084"/>
              <a:gd name="connsiteX1060" fmla="*/ 6152083 w 6689088"/>
              <a:gd name="connsiteY1060" fmla="*/ 3439851 h 6689084"/>
              <a:gd name="connsiteX1061" fmla="*/ 6171329 w 6689088"/>
              <a:gd name="connsiteY1061" fmla="*/ 3459094 h 6689084"/>
              <a:gd name="connsiteX1062" fmla="*/ 6152083 w 6689088"/>
              <a:gd name="connsiteY1062" fmla="*/ 3478336 h 6689084"/>
              <a:gd name="connsiteX1063" fmla="*/ 6132836 w 6689088"/>
              <a:gd name="connsiteY1063" fmla="*/ 3459094 h 6689084"/>
              <a:gd name="connsiteX1064" fmla="*/ 6152083 w 6689088"/>
              <a:gd name="connsiteY1064" fmla="*/ 3439851 h 6689084"/>
              <a:gd name="connsiteX1065" fmla="*/ 6305668 w 6689088"/>
              <a:gd name="connsiteY1065" fmla="*/ 3437674 h 6689084"/>
              <a:gd name="connsiteX1066" fmla="*/ 6327091 w 6689088"/>
              <a:gd name="connsiteY1066" fmla="*/ 3459097 h 6689084"/>
              <a:gd name="connsiteX1067" fmla="*/ 6305668 w 6689088"/>
              <a:gd name="connsiteY1067" fmla="*/ 3480516 h 6689084"/>
              <a:gd name="connsiteX1068" fmla="*/ 6284245 w 6689088"/>
              <a:gd name="connsiteY1068" fmla="*/ 3459097 h 6689084"/>
              <a:gd name="connsiteX1069" fmla="*/ 6305668 w 6689088"/>
              <a:gd name="connsiteY1069" fmla="*/ 3437674 h 6689084"/>
              <a:gd name="connsiteX1070" fmla="*/ 6459619 w 6689088"/>
              <a:gd name="connsiteY1070" fmla="*/ 3436222 h 6689084"/>
              <a:gd name="connsiteX1071" fmla="*/ 6482494 w 6689088"/>
              <a:gd name="connsiteY1071" fmla="*/ 3459097 h 6689084"/>
              <a:gd name="connsiteX1072" fmla="*/ 6459619 w 6689088"/>
              <a:gd name="connsiteY1072" fmla="*/ 3481969 h 6689084"/>
              <a:gd name="connsiteX1073" fmla="*/ 6436744 w 6689088"/>
              <a:gd name="connsiteY1073" fmla="*/ 3459097 h 6689084"/>
              <a:gd name="connsiteX1074" fmla="*/ 6459619 w 6689088"/>
              <a:gd name="connsiteY1074" fmla="*/ 3436222 h 6689084"/>
              <a:gd name="connsiteX1075" fmla="*/ 6613200 w 6689088"/>
              <a:gd name="connsiteY1075" fmla="*/ 3434042 h 6689084"/>
              <a:gd name="connsiteX1076" fmla="*/ 6638252 w 6689088"/>
              <a:gd name="connsiteY1076" fmla="*/ 3459094 h 6689084"/>
              <a:gd name="connsiteX1077" fmla="*/ 6613200 w 6689088"/>
              <a:gd name="connsiteY1077" fmla="*/ 3484145 h 6689084"/>
              <a:gd name="connsiteX1078" fmla="*/ 6588149 w 6689088"/>
              <a:gd name="connsiteY1078" fmla="*/ 3459094 h 6689084"/>
              <a:gd name="connsiteX1079" fmla="*/ 6613200 w 6689088"/>
              <a:gd name="connsiteY1079" fmla="*/ 3434042 h 6689084"/>
              <a:gd name="connsiteX1080" fmla="*/ 3999000 w 6689088"/>
              <a:gd name="connsiteY1080" fmla="*/ 3304784 h 6689084"/>
              <a:gd name="connsiteX1081" fmla="*/ 3999362 w 6689088"/>
              <a:gd name="connsiteY1081" fmla="*/ 3305146 h 6689084"/>
              <a:gd name="connsiteX1082" fmla="*/ 3999000 w 6689088"/>
              <a:gd name="connsiteY1082" fmla="*/ 3305512 h 6689084"/>
              <a:gd name="connsiteX1083" fmla="*/ 3998638 w 6689088"/>
              <a:gd name="connsiteY1083" fmla="*/ 3305146 h 6689084"/>
              <a:gd name="connsiteX1084" fmla="*/ 3999000 w 6689088"/>
              <a:gd name="connsiteY1084" fmla="*/ 3304784 h 6689084"/>
              <a:gd name="connsiteX1085" fmla="*/ 3537882 w 6689088"/>
              <a:gd name="connsiteY1085" fmla="*/ 3304784 h 6689084"/>
              <a:gd name="connsiteX1086" fmla="*/ 3538244 w 6689088"/>
              <a:gd name="connsiteY1086" fmla="*/ 3305146 h 6689084"/>
              <a:gd name="connsiteX1087" fmla="*/ 3537882 w 6689088"/>
              <a:gd name="connsiteY1087" fmla="*/ 3305512 h 6689084"/>
              <a:gd name="connsiteX1088" fmla="*/ 3537520 w 6689088"/>
              <a:gd name="connsiteY1088" fmla="*/ 3305146 h 6689084"/>
              <a:gd name="connsiteX1089" fmla="*/ 3537882 w 6689088"/>
              <a:gd name="connsiteY1089" fmla="*/ 3304784 h 6689084"/>
              <a:gd name="connsiteX1090" fmla="*/ 3383934 w 6689088"/>
              <a:gd name="connsiteY1090" fmla="*/ 3304784 h 6689084"/>
              <a:gd name="connsiteX1091" fmla="*/ 3384296 w 6689088"/>
              <a:gd name="connsiteY1091" fmla="*/ 3305146 h 6689084"/>
              <a:gd name="connsiteX1092" fmla="*/ 3383934 w 6689088"/>
              <a:gd name="connsiteY1092" fmla="*/ 3305512 h 6689084"/>
              <a:gd name="connsiteX1093" fmla="*/ 3383572 w 6689088"/>
              <a:gd name="connsiteY1093" fmla="*/ 3305146 h 6689084"/>
              <a:gd name="connsiteX1094" fmla="*/ 3383934 w 6689088"/>
              <a:gd name="connsiteY1094" fmla="*/ 3304784 h 6689084"/>
              <a:gd name="connsiteX1095" fmla="*/ 3230353 w 6689088"/>
              <a:gd name="connsiteY1095" fmla="*/ 3304422 h 6689084"/>
              <a:gd name="connsiteX1096" fmla="*/ 3231077 w 6689088"/>
              <a:gd name="connsiteY1096" fmla="*/ 3305146 h 6689084"/>
              <a:gd name="connsiteX1097" fmla="*/ 3230353 w 6689088"/>
              <a:gd name="connsiteY1097" fmla="*/ 3305874 h 6689084"/>
              <a:gd name="connsiteX1098" fmla="*/ 3229625 w 6689088"/>
              <a:gd name="connsiteY1098" fmla="*/ 3305146 h 6689084"/>
              <a:gd name="connsiteX1099" fmla="*/ 3230353 w 6689088"/>
              <a:gd name="connsiteY1099" fmla="*/ 3304422 h 6689084"/>
              <a:gd name="connsiteX1100" fmla="*/ 4152947 w 6689088"/>
              <a:gd name="connsiteY1100" fmla="*/ 3303694 h 6689084"/>
              <a:gd name="connsiteX1101" fmla="*/ 4154400 w 6689088"/>
              <a:gd name="connsiteY1101" fmla="*/ 3305146 h 6689084"/>
              <a:gd name="connsiteX1102" fmla="*/ 4152947 w 6689088"/>
              <a:gd name="connsiteY1102" fmla="*/ 3306598 h 6689084"/>
              <a:gd name="connsiteX1103" fmla="*/ 4151494 w 6689088"/>
              <a:gd name="connsiteY1103" fmla="*/ 3305146 h 6689084"/>
              <a:gd name="connsiteX1104" fmla="*/ 4152947 w 6689088"/>
              <a:gd name="connsiteY1104" fmla="*/ 3303694 h 6689084"/>
              <a:gd name="connsiteX1105" fmla="*/ 4306528 w 6689088"/>
              <a:gd name="connsiteY1105" fmla="*/ 3302970 h 6689084"/>
              <a:gd name="connsiteX1106" fmla="*/ 4308709 w 6689088"/>
              <a:gd name="connsiteY1106" fmla="*/ 3305146 h 6689084"/>
              <a:gd name="connsiteX1107" fmla="*/ 4306528 w 6689088"/>
              <a:gd name="connsiteY1107" fmla="*/ 3307327 h 6689084"/>
              <a:gd name="connsiteX1108" fmla="*/ 4304352 w 6689088"/>
              <a:gd name="connsiteY1108" fmla="*/ 3305146 h 6689084"/>
              <a:gd name="connsiteX1109" fmla="*/ 4306528 w 6689088"/>
              <a:gd name="connsiteY1109" fmla="*/ 3302970 h 6689084"/>
              <a:gd name="connsiteX1110" fmla="*/ 4460480 w 6689088"/>
              <a:gd name="connsiteY1110" fmla="*/ 3302241 h 6689084"/>
              <a:gd name="connsiteX1111" fmla="*/ 4463746 w 6689088"/>
              <a:gd name="connsiteY1111" fmla="*/ 3305508 h 6689084"/>
              <a:gd name="connsiteX1112" fmla="*/ 4460480 w 6689088"/>
              <a:gd name="connsiteY1112" fmla="*/ 3308779 h 6689084"/>
              <a:gd name="connsiteX1113" fmla="*/ 4457213 w 6689088"/>
              <a:gd name="connsiteY1113" fmla="*/ 3305508 h 6689084"/>
              <a:gd name="connsiteX1114" fmla="*/ 4460480 w 6689088"/>
              <a:gd name="connsiteY1114" fmla="*/ 3302241 h 6689084"/>
              <a:gd name="connsiteX1115" fmla="*/ 4614061 w 6689088"/>
              <a:gd name="connsiteY1115" fmla="*/ 3300789 h 6689084"/>
              <a:gd name="connsiteX1116" fmla="*/ 4618418 w 6689088"/>
              <a:gd name="connsiteY1116" fmla="*/ 3305146 h 6689084"/>
              <a:gd name="connsiteX1117" fmla="*/ 4614061 w 6689088"/>
              <a:gd name="connsiteY1117" fmla="*/ 3309503 h 6689084"/>
              <a:gd name="connsiteX1118" fmla="*/ 4609704 w 6689088"/>
              <a:gd name="connsiteY1118" fmla="*/ 3305146 h 6689084"/>
              <a:gd name="connsiteX1119" fmla="*/ 4614061 w 6689088"/>
              <a:gd name="connsiteY1119" fmla="*/ 3300789 h 6689084"/>
              <a:gd name="connsiteX1120" fmla="*/ 4768012 w 6689088"/>
              <a:gd name="connsiteY1120" fmla="*/ 3299699 h 6689084"/>
              <a:gd name="connsiteX1121" fmla="*/ 4773822 w 6689088"/>
              <a:gd name="connsiteY1121" fmla="*/ 3305508 h 6689084"/>
              <a:gd name="connsiteX1122" fmla="*/ 4768012 w 6689088"/>
              <a:gd name="connsiteY1122" fmla="*/ 3311318 h 6689084"/>
              <a:gd name="connsiteX1123" fmla="*/ 4762203 w 6689088"/>
              <a:gd name="connsiteY1123" fmla="*/ 3305508 h 6689084"/>
              <a:gd name="connsiteX1124" fmla="*/ 4768012 w 6689088"/>
              <a:gd name="connsiteY1124" fmla="*/ 3299699 h 6689084"/>
              <a:gd name="connsiteX1125" fmla="*/ 4921594 w 6689088"/>
              <a:gd name="connsiteY1125" fmla="*/ 3297885 h 6689084"/>
              <a:gd name="connsiteX1126" fmla="*/ 4928856 w 6689088"/>
              <a:gd name="connsiteY1126" fmla="*/ 3305146 h 6689084"/>
              <a:gd name="connsiteX1127" fmla="*/ 4921594 w 6689088"/>
              <a:gd name="connsiteY1127" fmla="*/ 3312408 h 6689084"/>
              <a:gd name="connsiteX1128" fmla="*/ 4914332 w 6689088"/>
              <a:gd name="connsiteY1128" fmla="*/ 3305146 h 6689084"/>
              <a:gd name="connsiteX1129" fmla="*/ 4921594 w 6689088"/>
              <a:gd name="connsiteY1129" fmla="*/ 3297885 h 6689084"/>
              <a:gd name="connsiteX1130" fmla="*/ 5075541 w 6689088"/>
              <a:gd name="connsiteY1130" fmla="*/ 3296070 h 6689084"/>
              <a:gd name="connsiteX1131" fmla="*/ 5084621 w 6689088"/>
              <a:gd name="connsiteY1131" fmla="*/ 3305146 h 6689084"/>
              <a:gd name="connsiteX1132" fmla="*/ 5075541 w 6689088"/>
              <a:gd name="connsiteY1132" fmla="*/ 3314226 h 6689084"/>
              <a:gd name="connsiteX1133" fmla="*/ 5066465 w 6689088"/>
              <a:gd name="connsiteY1133" fmla="*/ 3305146 h 6689084"/>
              <a:gd name="connsiteX1134" fmla="*/ 5075541 w 6689088"/>
              <a:gd name="connsiteY1134" fmla="*/ 3296070 h 6689084"/>
              <a:gd name="connsiteX1135" fmla="*/ 5229126 w 6689088"/>
              <a:gd name="connsiteY1135" fmla="*/ 3294980 h 6689084"/>
              <a:gd name="connsiteX1136" fmla="*/ 5239293 w 6689088"/>
              <a:gd name="connsiteY1136" fmla="*/ 3305146 h 6689084"/>
              <a:gd name="connsiteX1137" fmla="*/ 5229126 w 6689088"/>
              <a:gd name="connsiteY1137" fmla="*/ 3315312 h 6689084"/>
              <a:gd name="connsiteX1138" fmla="*/ 5218960 w 6689088"/>
              <a:gd name="connsiteY1138" fmla="*/ 3305146 h 6689084"/>
              <a:gd name="connsiteX1139" fmla="*/ 5229126 w 6689088"/>
              <a:gd name="connsiteY1139" fmla="*/ 3294980 h 6689084"/>
              <a:gd name="connsiteX1140" fmla="*/ 5383074 w 6689088"/>
              <a:gd name="connsiteY1140" fmla="*/ 3293165 h 6689084"/>
              <a:gd name="connsiteX1141" fmla="*/ 5395058 w 6689088"/>
              <a:gd name="connsiteY1141" fmla="*/ 3305146 h 6689084"/>
              <a:gd name="connsiteX1142" fmla="*/ 5383074 w 6689088"/>
              <a:gd name="connsiteY1142" fmla="*/ 3317131 h 6689084"/>
              <a:gd name="connsiteX1143" fmla="*/ 5371093 w 6689088"/>
              <a:gd name="connsiteY1143" fmla="*/ 3305146 h 6689084"/>
              <a:gd name="connsiteX1144" fmla="*/ 5383074 w 6689088"/>
              <a:gd name="connsiteY1144" fmla="*/ 3293165 h 6689084"/>
              <a:gd name="connsiteX1145" fmla="*/ 5537021 w 6689088"/>
              <a:gd name="connsiteY1145" fmla="*/ 3291351 h 6689084"/>
              <a:gd name="connsiteX1146" fmla="*/ 5550820 w 6689088"/>
              <a:gd name="connsiteY1146" fmla="*/ 3305146 h 6689084"/>
              <a:gd name="connsiteX1147" fmla="*/ 5537021 w 6689088"/>
              <a:gd name="connsiteY1147" fmla="*/ 3318945 h 6689084"/>
              <a:gd name="connsiteX1148" fmla="*/ 5523226 w 6689088"/>
              <a:gd name="connsiteY1148" fmla="*/ 3305146 h 6689084"/>
              <a:gd name="connsiteX1149" fmla="*/ 5537021 w 6689088"/>
              <a:gd name="connsiteY1149" fmla="*/ 3291351 h 6689084"/>
              <a:gd name="connsiteX1150" fmla="*/ 5690606 w 6689088"/>
              <a:gd name="connsiteY1150" fmla="*/ 3289899 h 6689084"/>
              <a:gd name="connsiteX1151" fmla="*/ 5705854 w 6689088"/>
              <a:gd name="connsiteY1151" fmla="*/ 3305146 h 6689084"/>
              <a:gd name="connsiteX1152" fmla="*/ 5690606 w 6689088"/>
              <a:gd name="connsiteY1152" fmla="*/ 3320398 h 6689084"/>
              <a:gd name="connsiteX1153" fmla="*/ 5675355 w 6689088"/>
              <a:gd name="connsiteY1153" fmla="*/ 3305146 h 6689084"/>
              <a:gd name="connsiteX1154" fmla="*/ 5690606 w 6689088"/>
              <a:gd name="connsiteY1154" fmla="*/ 3289899 h 6689084"/>
              <a:gd name="connsiteX1155" fmla="*/ 5844554 w 6689088"/>
              <a:gd name="connsiteY1155" fmla="*/ 3288084 h 6689084"/>
              <a:gd name="connsiteX1156" fmla="*/ 5861616 w 6689088"/>
              <a:gd name="connsiteY1156" fmla="*/ 3305150 h 6689084"/>
              <a:gd name="connsiteX1157" fmla="*/ 5844554 w 6689088"/>
              <a:gd name="connsiteY1157" fmla="*/ 3322216 h 6689084"/>
              <a:gd name="connsiteX1158" fmla="*/ 5827488 w 6689088"/>
              <a:gd name="connsiteY1158" fmla="*/ 3305150 h 6689084"/>
              <a:gd name="connsiteX1159" fmla="*/ 5844554 w 6689088"/>
              <a:gd name="connsiteY1159" fmla="*/ 3288084 h 6689084"/>
              <a:gd name="connsiteX1160" fmla="*/ 5998136 w 6689088"/>
              <a:gd name="connsiteY1160" fmla="*/ 3285904 h 6689084"/>
              <a:gd name="connsiteX1161" fmla="*/ 6017382 w 6689088"/>
              <a:gd name="connsiteY1161" fmla="*/ 3305146 h 6689084"/>
              <a:gd name="connsiteX1162" fmla="*/ 5998136 w 6689088"/>
              <a:gd name="connsiteY1162" fmla="*/ 3324389 h 6689084"/>
              <a:gd name="connsiteX1163" fmla="*/ 5978893 w 6689088"/>
              <a:gd name="connsiteY1163" fmla="*/ 3305146 h 6689084"/>
              <a:gd name="connsiteX1164" fmla="*/ 5998136 w 6689088"/>
              <a:gd name="connsiteY1164" fmla="*/ 3285904 h 6689084"/>
              <a:gd name="connsiteX1165" fmla="*/ 6152086 w 6689088"/>
              <a:gd name="connsiteY1165" fmla="*/ 3283727 h 6689084"/>
              <a:gd name="connsiteX1166" fmla="*/ 6173510 w 6689088"/>
              <a:gd name="connsiteY1166" fmla="*/ 3305150 h 6689084"/>
              <a:gd name="connsiteX1167" fmla="*/ 6152086 w 6689088"/>
              <a:gd name="connsiteY1167" fmla="*/ 3326569 h 6689084"/>
              <a:gd name="connsiteX1168" fmla="*/ 6130664 w 6689088"/>
              <a:gd name="connsiteY1168" fmla="*/ 3305150 h 6689084"/>
              <a:gd name="connsiteX1169" fmla="*/ 6152086 w 6689088"/>
              <a:gd name="connsiteY1169" fmla="*/ 3283727 h 6689084"/>
              <a:gd name="connsiteX1170" fmla="*/ 6305672 w 6689088"/>
              <a:gd name="connsiteY1170" fmla="*/ 3282275 h 6689084"/>
              <a:gd name="connsiteX1171" fmla="*/ 6328547 w 6689088"/>
              <a:gd name="connsiteY1171" fmla="*/ 3305150 h 6689084"/>
              <a:gd name="connsiteX1172" fmla="*/ 6305672 w 6689088"/>
              <a:gd name="connsiteY1172" fmla="*/ 3328021 h 6689084"/>
              <a:gd name="connsiteX1173" fmla="*/ 6282796 w 6689088"/>
              <a:gd name="connsiteY1173" fmla="*/ 3305150 h 6689084"/>
              <a:gd name="connsiteX1174" fmla="*/ 6305672 w 6689088"/>
              <a:gd name="connsiteY1174" fmla="*/ 3282275 h 6689084"/>
              <a:gd name="connsiteX1175" fmla="*/ 6459616 w 6689088"/>
              <a:gd name="connsiteY1175" fmla="*/ 3280094 h 6689084"/>
              <a:gd name="connsiteX1176" fmla="*/ 6484671 w 6689088"/>
              <a:gd name="connsiteY1176" fmla="*/ 3305146 h 6689084"/>
              <a:gd name="connsiteX1177" fmla="*/ 6459616 w 6689088"/>
              <a:gd name="connsiteY1177" fmla="*/ 3330202 h 6689084"/>
              <a:gd name="connsiteX1178" fmla="*/ 6434564 w 6689088"/>
              <a:gd name="connsiteY1178" fmla="*/ 3305146 h 6689084"/>
              <a:gd name="connsiteX1179" fmla="*/ 6459616 w 6689088"/>
              <a:gd name="connsiteY1179" fmla="*/ 3280094 h 6689084"/>
              <a:gd name="connsiteX1180" fmla="*/ 6613200 w 6689088"/>
              <a:gd name="connsiteY1180" fmla="*/ 3277914 h 6689084"/>
              <a:gd name="connsiteX1181" fmla="*/ 6640433 w 6689088"/>
              <a:gd name="connsiteY1181" fmla="*/ 3305146 h 6689084"/>
              <a:gd name="connsiteX1182" fmla="*/ 6613200 w 6689088"/>
              <a:gd name="connsiteY1182" fmla="*/ 3332378 h 6689084"/>
              <a:gd name="connsiteX1183" fmla="*/ 6585968 w 6689088"/>
              <a:gd name="connsiteY1183" fmla="*/ 3305146 h 6689084"/>
              <a:gd name="connsiteX1184" fmla="*/ 6613200 w 6689088"/>
              <a:gd name="connsiteY1184" fmla="*/ 3277914 h 6689084"/>
              <a:gd name="connsiteX1185" fmla="*/ 3845414 w 6689088"/>
              <a:gd name="connsiteY1185" fmla="*/ 3151199 h 6689084"/>
              <a:gd name="connsiteX1186" fmla="*/ 3845776 w 6689088"/>
              <a:gd name="connsiteY1186" fmla="*/ 3151561 h 6689084"/>
              <a:gd name="connsiteX1187" fmla="*/ 3845414 w 6689088"/>
              <a:gd name="connsiteY1187" fmla="*/ 3151923 h 6689084"/>
              <a:gd name="connsiteX1188" fmla="*/ 3845052 w 6689088"/>
              <a:gd name="connsiteY1188" fmla="*/ 3151561 h 6689084"/>
              <a:gd name="connsiteX1189" fmla="*/ 3845414 w 6689088"/>
              <a:gd name="connsiteY1189" fmla="*/ 3151199 h 6689084"/>
              <a:gd name="connsiteX1190" fmla="*/ 3383934 w 6689088"/>
              <a:gd name="connsiteY1190" fmla="*/ 3151199 h 6689084"/>
              <a:gd name="connsiteX1191" fmla="*/ 3384296 w 6689088"/>
              <a:gd name="connsiteY1191" fmla="*/ 3151561 h 6689084"/>
              <a:gd name="connsiteX1192" fmla="*/ 3383934 w 6689088"/>
              <a:gd name="connsiteY1192" fmla="*/ 3151923 h 6689084"/>
              <a:gd name="connsiteX1193" fmla="*/ 3383572 w 6689088"/>
              <a:gd name="connsiteY1193" fmla="*/ 3151561 h 6689084"/>
              <a:gd name="connsiteX1194" fmla="*/ 3383934 w 6689088"/>
              <a:gd name="connsiteY1194" fmla="*/ 3151199 h 6689084"/>
              <a:gd name="connsiteX1195" fmla="*/ 3230349 w 6689088"/>
              <a:gd name="connsiteY1195" fmla="*/ 3151199 h 6689084"/>
              <a:gd name="connsiteX1196" fmla="*/ 3230715 w 6689088"/>
              <a:gd name="connsiteY1196" fmla="*/ 3151561 h 6689084"/>
              <a:gd name="connsiteX1197" fmla="*/ 3230349 w 6689088"/>
              <a:gd name="connsiteY1197" fmla="*/ 3151923 h 6689084"/>
              <a:gd name="connsiteX1198" fmla="*/ 3229987 w 6689088"/>
              <a:gd name="connsiteY1198" fmla="*/ 3151561 h 6689084"/>
              <a:gd name="connsiteX1199" fmla="*/ 3230349 w 6689088"/>
              <a:gd name="connsiteY1199" fmla="*/ 3151199 h 6689084"/>
              <a:gd name="connsiteX1200" fmla="*/ 3076406 w 6689088"/>
              <a:gd name="connsiteY1200" fmla="*/ 3150837 h 6689084"/>
              <a:gd name="connsiteX1201" fmla="*/ 3077130 w 6689088"/>
              <a:gd name="connsiteY1201" fmla="*/ 3151565 h 6689084"/>
              <a:gd name="connsiteX1202" fmla="*/ 3076406 w 6689088"/>
              <a:gd name="connsiteY1202" fmla="*/ 3152289 h 6689084"/>
              <a:gd name="connsiteX1203" fmla="*/ 3075677 w 6689088"/>
              <a:gd name="connsiteY1203" fmla="*/ 3151565 h 6689084"/>
              <a:gd name="connsiteX1204" fmla="*/ 3076406 w 6689088"/>
              <a:gd name="connsiteY1204" fmla="*/ 3150837 h 6689084"/>
              <a:gd name="connsiteX1205" fmla="*/ 3999000 w 6689088"/>
              <a:gd name="connsiteY1205" fmla="*/ 3150112 h 6689084"/>
              <a:gd name="connsiteX1206" fmla="*/ 4000452 w 6689088"/>
              <a:gd name="connsiteY1206" fmla="*/ 3151565 h 6689084"/>
              <a:gd name="connsiteX1207" fmla="*/ 3999000 w 6689088"/>
              <a:gd name="connsiteY1207" fmla="*/ 3153017 h 6689084"/>
              <a:gd name="connsiteX1208" fmla="*/ 3997547 w 6689088"/>
              <a:gd name="connsiteY1208" fmla="*/ 3151565 h 6689084"/>
              <a:gd name="connsiteX1209" fmla="*/ 3999000 w 6689088"/>
              <a:gd name="connsiteY1209" fmla="*/ 3150112 h 6689084"/>
              <a:gd name="connsiteX1210" fmla="*/ 4152951 w 6689088"/>
              <a:gd name="connsiteY1210" fmla="*/ 3149384 h 6689084"/>
              <a:gd name="connsiteX1211" fmla="*/ 4155128 w 6689088"/>
              <a:gd name="connsiteY1211" fmla="*/ 3151565 h 6689084"/>
              <a:gd name="connsiteX1212" fmla="*/ 4152951 w 6689088"/>
              <a:gd name="connsiteY1212" fmla="*/ 3153741 h 6689084"/>
              <a:gd name="connsiteX1213" fmla="*/ 4150770 w 6689088"/>
              <a:gd name="connsiteY1213" fmla="*/ 3151565 h 6689084"/>
              <a:gd name="connsiteX1214" fmla="*/ 4152951 w 6689088"/>
              <a:gd name="connsiteY1214" fmla="*/ 3149384 h 6689084"/>
              <a:gd name="connsiteX1215" fmla="*/ 4306528 w 6689088"/>
              <a:gd name="connsiteY1215" fmla="*/ 3148294 h 6689084"/>
              <a:gd name="connsiteX1216" fmla="*/ 4309796 w 6689088"/>
              <a:gd name="connsiteY1216" fmla="*/ 3151561 h 6689084"/>
              <a:gd name="connsiteX1217" fmla="*/ 4306528 w 6689088"/>
              <a:gd name="connsiteY1217" fmla="*/ 3154831 h 6689084"/>
              <a:gd name="connsiteX1218" fmla="*/ 4303262 w 6689088"/>
              <a:gd name="connsiteY1218" fmla="*/ 3151561 h 6689084"/>
              <a:gd name="connsiteX1219" fmla="*/ 4306528 w 6689088"/>
              <a:gd name="connsiteY1219" fmla="*/ 3148294 h 6689084"/>
              <a:gd name="connsiteX1220" fmla="*/ 4460480 w 6689088"/>
              <a:gd name="connsiteY1220" fmla="*/ 3146842 h 6689084"/>
              <a:gd name="connsiteX1221" fmla="*/ 4464836 w 6689088"/>
              <a:gd name="connsiteY1221" fmla="*/ 3151199 h 6689084"/>
              <a:gd name="connsiteX1222" fmla="*/ 4460480 w 6689088"/>
              <a:gd name="connsiteY1222" fmla="*/ 3155556 h 6689084"/>
              <a:gd name="connsiteX1223" fmla="*/ 4456122 w 6689088"/>
              <a:gd name="connsiteY1223" fmla="*/ 3151199 h 6689084"/>
              <a:gd name="connsiteX1224" fmla="*/ 4460480 w 6689088"/>
              <a:gd name="connsiteY1224" fmla="*/ 3146842 h 6689084"/>
              <a:gd name="connsiteX1225" fmla="*/ 4614061 w 6689088"/>
              <a:gd name="connsiteY1225" fmla="*/ 3145752 h 6689084"/>
              <a:gd name="connsiteX1226" fmla="*/ 4619870 w 6689088"/>
              <a:gd name="connsiteY1226" fmla="*/ 3151561 h 6689084"/>
              <a:gd name="connsiteX1227" fmla="*/ 4614061 w 6689088"/>
              <a:gd name="connsiteY1227" fmla="*/ 3157370 h 6689084"/>
              <a:gd name="connsiteX1228" fmla="*/ 4608252 w 6689088"/>
              <a:gd name="connsiteY1228" fmla="*/ 3151561 h 6689084"/>
              <a:gd name="connsiteX1229" fmla="*/ 4614061 w 6689088"/>
              <a:gd name="connsiteY1229" fmla="*/ 3145752 h 6689084"/>
              <a:gd name="connsiteX1230" fmla="*/ 4768008 w 6689088"/>
              <a:gd name="connsiteY1230" fmla="*/ 3144299 h 6689084"/>
              <a:gd name="connsiteX1231" fmla="*/ 4775270 w 6689088"/>
              <a:gd name="connsiteY1231" fmla="*/ 3151561 h 6689084"/>
              <a:gd name="connsiteX1232" fmla="*/ 4768008 w 6689088"/>
              <a:gd name="connsiteY1232" fmla="*/ 3158823 h 6689084"/>
              <a:gd name="connsiteX1233" fmla="*/ 4760747 w 6689088"/>
              <a:gd name="connsiteY1233" fmla="*/ 3151561 h 6689084"/>
              <a:gd name="connsiteX1234" fmla="*/ 4768008 w 6689088"/>
              <a:gd name="connsiteY1234" fmla="*/ 3144299 h 6689084"/>
              <a:gd name="connsiteX1235" fmla="*/ 4921594 w 6689088"/>
              <a:gd name="connsiteY1235" fmla="*/ 3142123 h 6689084"/>
              <a:gd name="connsiteX1236" fmla="*/ 4930674 w 6689088"/>
              <a:gd name="connsiteY1236" fmla="*/ 3151199 h 6689084"/>
              <a:gd name="connsiteX1237" fmla="*/ 4921594 w 6689088"/>
              <a:gd name="connsiteY1237" fmla="*/ 3160279 h 6689084"/>
              <a:gd name="connsiteX1238" fmla="*/ 4912518 w 6689088"/>
              <a:gd name="connsiteY1238" fmla="*/ 3151199 h 6689084"/>
              <a:gd name="connsiteX1239" fmla="*/ 4921594 w 6689088"/>
              <a:gd name="connsiteY1239" fmla="*/ 3142123 h 6689084"/>
              <a:gd name="connsiteX1240" fmla="*/ 5075541 w 6689088"/>
              <a:gd name="connsiteY1240" fmla="*/ 3141395 h 6689084"/>
              <a:gd name="connsiteX1241" fmla="*/ 5085708 w 6689088"/>
              <a:gd name="connsiteY1241" fmla="*/ 3151561 h 6689084"/>
              <a:gd name="connsiteX1242" fmla="*/ 5075541 w 6689088"/>
              <a:gd name="connsiteY1242" fmla="*/ 3161727 h 6689084"/>
              <a:gd name="connsiteX1243" fmla="*/ 5065375 w 6689088"/>
              <a:gd name="connsiteY1243" fmla="*/ 3151561 h 6689084"/>
              <a:gd name="connsiteX1244" fmla="*/ 5075541 w 6689088"/>
              <a:gd name="connsiteY1244" fmla="*/ 3141395 h 6689084"/>
              <a:gd name="connsiteX1245" fmla="*/ 5229126 w 6689088"/>
              <a:gd name="connsiteY1245" fmla="*/ 3139580 h 6689084"/>
              <a:gd name="connsiteX1246" fmla="*/ 5241111 w 6689088"/>
              <a:gd name="connsiteY1246" fmla="*/ 3151561 h 6689084"/>
              <a:gd name="connsiteX1247" fmla="*/ 5229126 w 6689088"/>
              <a:gd name="connsiteY1247" fmla="*/ 3163542 h 6689084"/>
              <a:gd name="connsiteX1248" fmla="*/ 5217146 w 6689088"/>
              <a:gd name="connsiteY1248" fmla="*/ 3151561 h 6689084"/>
              <a:gd name="connsiteX1249" fmla="*/ 5229126 w 6689088"/>
              <a:gd name="connsiteY1249" fmla="*/ 3139580 h 6689084"/>
              <a:gd name="connsiteX1250" fmla="*/ 5383078 w 6689088"/>
              <a:gd name="connsiteY1250" fmla="*/ 3137403 h 6689084"/>
              <a:gd name="connsiteX1251" fmla="*/ 5396873 w 6689088"/>
              <a:gd name="connsiteY1251" fmla="*/ 3151199 h 6689084"/>
              <a:gd name="connsiteX1252" fmla="*/ 5383078 w 6689088"/>
              <a:gd name="connsiteY1252" fmla="*/ 3164998 h 6689084"/>
              <a:gd name="connsiteX1253" fmla="*/ 5369278 w 6689088"/>
              <a:gd name="connsiteY1253" fmla="*/ 3151199 h 6689084"/>
              <a:gd name="connsiteX1254" fmla="*/ 5383078 w 6689088"/>
              <a:gd name="connsiteY1254" fmla="*/ 3137403 h 6689084"/>
              <a:gd name="connsiteX1255" fmla="*/ 5536659 w 6689088"/>
              <a:gd name="connsiteY1255" fmla="*/ 3136313 h 6689084"/>
              <a:gd name="connsiteX1256" fmla="*/ 5551906 w 6689088"/>
              <a:gd name="connsiteY1256" fmla="*/ 3151565 h 6689084"/>
              <a:gd name="connsiteX1257" fmla="*/ 5536659 w 6689088"/>
              <a:gd name="connsiteY1257" fmla="*/ 3166812 h 6689084"/>
              <a:gd name="connsiteX1258" fmla="*/ 5521408 w 6689088"/>
              <a:gd name="connsiteY1258" fmla="*/ 3151565 h 6689084"/>
              <a:gd name="connsiteX1259" fmla="*/ 5536659 w 6689088"/>
              <a:gd name="connsiteY1259" fmla="*/ 3136313 h 6689084"/>
              <a:gd name="connsiteX1260" fmla="*/ 5690606 w 6689088"/>
              <a:gd name="connsiteY1260" fmla="*/ 3134499 h 6689084"/>
              <a:gd name="connsiteX1261" fmla="*/ 5707672 w 6689088"/>
              <a:gd name="connsiteY1261" fmla="*/ 3151565 h 6689084"/>
              <a:gd name="connsiteX1262" fmla="*/ 5690606 w 6689088"/>
              <a:gd name="connsiteY1262" fmla="*/ 3168627 h 6689084"/>
              <a:gd name="connsiteX1263" fmla="*/ 5673540 w 6689088"/>
              <a:gd name="connsiteY1263" fmla="*/ 3151565 h 6689084"/>
              <a:gd name="connsiteX1264" fmla="*/ 5690606 w 6689088"/>
              <a:gd name="connsiteY1264" fmla="*/ 3134499 h 6689084"/>
              <a:gd name="connsiteX1265" fmla="*/ 5844554 w 6689088"/>
              <a:gd name="connsiteY1265" fmla="*/ 3132318 h 6689084"/>
              <a:gd name="connsiteX1266" fmla="*/ 5863796 w 6689088"/>
              <a:gd name="connsiteY1266" fmla="*/ 3151561 h 6689084"/>
              <a:gd name="connsiteX1267" fmla="*/ 5844554 w 6689088"/>
              <a:gd name="connsiteY1267" fmla="*/ 3170807 h 6689084"/>
              <a:gd name="connsiteX1268" fmla="*/ 5825308 w 6689088"/>
              <a:gd name="connsiteY1268" fmla="*/ 3151561 h 6689084"/>
              <a:gd name="connsiteX1269" fmla="*/ 5844554 w 6689088"/>
              <a:gd name="connsiteY1269" fmla="*/ 3132318 h 6689084"/>
              <a:gd name="connsiteX1270" fmla="*/ 5998139 w 6689088"/>
              <a:gd name="connsiteY1270" fmla="*/ 3130142 h 6689084"/>
              <a:gd name="connsiteX1271" fmla="*/ 6019562 w 6689088"/>
              <a:gd name="connsiteY1271" fmla="*/ 3151565 h 6689084"/>
              <a:gd name="connsiteX1272" fmla="*/ 5998139 w 6689088"/>
              <a:gd name="connsiteY1272" fmla="*/ 3172984 h 6689084"/>
              <a:gd name="connsiteX1273" fmla="*/ 5976716 w 6689088"/>
              <a:gd name="connsiteY1273" fmla="*/ 3151565 h 6689084"/>
              <a:gd name="connsiteX1274" fmla="*/ 5998139 w 6689088"/>
              <a:gd name="connsiteY1274" fmla="*/ 3130142 h 6689084"/>
              <a:gd name="connsiteX1275" fmla="*/ 6152086 w 6689088"/>
              <a:gd name="connsiteY1275" fmla="*/ 3128689 h 6689084"/>
              <a:gd name="connsiteX1276" fmla="*/ 6174958 w 6689088"/>
              <a:gd name="connsiteY1276" fmla="*/ 3151565 h 6689084"/>
              <a:gd name="connsiteX1277" fmla="*/ 6152086 w 6689088"/>
              <a:gd name="connsiteY1277" fmla="*/ 3174440 h 6689084"/>
              <a:gd name="connsiteX1278" fmla="*/ 6129212 w 6689088"/>
              <a:gd name="connsiteY1278" fmla="*/ 3151565 h 6689084"/>
              <a:gd name="connsiteX1279" fmla="*/ 6152086 w 6689088"/>
              <a:gd name="connsiteY1279" fmla="*/ 3128689 h 6689084"/>
              <a:gd name="connsiteX1280" fmla="*/ 6305668 w 6689088"/>
              <a:gd name="connsiteY1280" fmla="*/ 3126509 h 6689084"/>
              <a:gd name="connsiteX1281" fmla="*/ 6330724 w 6689088"/>
              <a:gd name="connsiteY1281" fmla="*/ 3151561 h 6689084"/>
              <a:gd name="connsiteX1282" fmla="*/ 6305668 w 6689088"/>
              <a:gd name="connsiteY1282" fmla="*/ 3176616 h 6689084"/>
              <a:gd name="connsiteX1283" fmla="*/ 6280616 w 6689088"/>
              <a:gd name="connsiteY1283" fmla="*/ 3151561 h 6689084"/>
              <a:gd name="connsiteX1284" fmla="*/ 6305668 w 6689088"/>
              <a:gd name="connsiteY1284" fmla="*/ 3126509 h 6689084"/>
              <a:gd name="connsiteX1285" fmla="*/ 6459619 w 6689088"/>
              <a:gd name="connsiteY1285" fmla="*/ 3124332 h 6689084"/>
              <a:gd name="connsiteX1286" fmla="*/ 6486852 w 6689088"/>
              <a:gd name="connsiteY1286" fmla="*/ 3151565 h 6689084"/>
              <a:gd name="connsiteX1287" fmla="*/ 6459619 w 6689088"/>
              <a:gd name="connsiteY1287" fmla="*/ 3178797 h 6689084"/>
              <a:gd name="connsiteX1288" fmla="*/ 6432387 w 6689088"/>
              <a:gd name="connsiteY1288" fmla="*/ 3151565 h 6689084"/>
              <a:gd name="connsiteX1289" fmla="*/ 6459619 w 6689088"/>
              <a:gd name="connsiteY1289" fmla="*/ 3124332 h 6689084"/>
              <a:gd name="connsiteX1290" fmla="*/ 6613197 w 6689088"/>
              <a:gd name="connsiteY1290" fmla="*/ 3121790 h 6689084"/>
              <a:gd name="connsiteX1291" fmla="*/ 6642972 w 6689088"/>
              <a:gd name="connsiteY1291" fmla="*/ 3151565 h 6689084"/>
              <a:gd name="connsiteX1292" fmla="*/ 6613197 w 6689088"/>
              <a:gd name="connsiteY1292" fmla="*/ 3181336 h 6689084"/>
              <a:gd name="connsiteX1293" fmla="*/ 6583426 w 6689088"/>
              <a:gd name="connsiteY1293" fmla="*/ 3151565 h 6689084"/>
              <a:gd name="connsiteX1294" fmla="*/ 6613197 w 6689088"/>
              <a:gd name="connsiteY1294" fmla="*/ 3121790 h 6689084"/>
              <a:gd name="connsiteX1295" fmla="*/ 3691467 w 6689088"/>
              <a:gd name="connsiteY1295" fmla="*/ 2997252 h 6689084"/>
              <a:gd name="connsiteX1296" fmla="*/ 3691829 w 6689088"/>
              <a:gd name="connsiteY1296" fmla="*/ 2997613 h 6689084"/>
              <a:gd name="connsiteX1297" fmla="*/ 3691467 w 6689088"/>
              <a:gd name="connsiteY1297" fmla="*/ 2997976 h 6689084"/>
              <a:gd name="connsiteX1298" fmla="*/ 3691105 w 6689088"/>
              <a:gd name="connsiteY1298" fmla="*/ 2997613 h 6689084"/>
              <a:gd name="connsiteX1299" fmla="*/ 3691467 w 6689088"/>
              <a:gd name="connsiteY1299" fmla="*/ 2997252 h 6689084"/>
              <a:gd name="connsiteX1300" fmla="*/ 3230349 w 6689088"/>
              <a:gd name="connsiteY1300" fmla="*/ 2997252 h 6689084"/>
              <a:gd name="connsiteX1301" fmla="*/ 3230715 w 6689088"/>
              <a:gd name="connsiteY1301" fmla="*/ 2997613 h 6689084"/>
              <a:gd name="connsiteX1302" fmla="*/ 3230349 w 6689088"/>
              <a:gd name="connsiteY1302" fmla="*/ 2997976 h 6689084"/>
              <a:gd name="connsiteX1303" fmla="*/ 3229987 w 6689088"/>
              <a:gd name="connsiteY1303" fmla="*/ 2997613 h 6689084"/>
              <a:gd name="connsiteX1304" fmla="*/ 3230349 w 6689088"/>
              <a:gd name="connsiteY1304" fmla="*/ 2997252 h 6689084"/>
              <a:gd name="connsiteX1305" fmla="*/ 3076406 w 6689088"/>
              <a:gd name="connsiteY1305" fmla="*/ 2997252 h 6689084"/>
              <a:gd name="connsiteX1306" fmla="*/ 3076768 w 6689088"/>
              <a:gd name="connsiteY1306" fmla="*/ 2997613 h 6689084"/>
              <a:gd name="connsiteX1307" fmla="*/ 3076406 w 6689088"/>
              <a:gd name="connsiteY1307" fmla="*/ 2997976 h 6689084"/>
              <a:gd name="connsiteX1308" fmla="*/ 3076043 w 6689088"/>
              <a:gd name="connsiteY1308" fmla="*/ 2997613 h 6689084"/>
              <a:gd name="connsiteX1309" fmla="*/ 3076406 w 6689088"/>
              <a:gd name="connsiteY1309" fmla="*/ 2997252 h 6689084"/>
              <a:gd name="connsiteX1310" fmla="*/ 2922824 w 6689088"/>
              <a:gd name="connsiteY1310" fmla="*/ 2996889 h 6689084"/>
              <a:gd name="connsiteX1311" fmla="*/ 2923548 w 6689088"/>
              <a:gd name="connsiteY1311" fmla="*/ 2997613 h 6689084"/>
              <a:gd name="connsiteX1312" fmla="*/ 2922824 w 6689088"/>
              <a:gd name="connsiteY1312" fmla="*/ 2998342 h 6689084"/>
              <a:gd name="connsiteX1313" fmla="*/ 2922096 w 6689088"/>
              <a:gd name="connsiteY1313" fmla="*/ 2997613 h 6689084"/>
              <a:gd name="connsiteX1314" fmla="*/ 2922824 w 6689088"/>
              <a:gd name="connsiteY1314" fmla="*/ 2996889 h 6689084"/>
              <a:gd name="connsiteX1315" fmla="*/ 3845414 w 6689088"/>
              <a:gd name="connsiteY1315" fmla="*/ 2996165 h 6689084"/>
              <a:gd name="connsiteX1316" fmla="*/ 3846867 w 6689088"/>
              <a:gd name="connsiteY1316" fmla="*/ 2997617 h 6689084"/>
              <a:gd name="connsiteX1317" fmla="*/ 3845414 w 6689088"/>
              <a:gd name="connsiteY1317" fmla="*/ 2999070 h 6689084"/>
              <a:gd name="connsiteX1318" fmla="*/ 3843962 w 6689088"/>
              <a:gd name="connsiteY1318" fmla="*/ 2997617 h 6689084"/>
              <a:gd name="connsiteX1319" fmla="*/ 3845414 w 6689088"/>
              <a:gd name="connsiteY1319" fmla="*/ 2996165 h 6689084"/>
              <a:gd name="connsiteX1320" fmla="*/ 3999000 w 6689088"/>
              <a:gd name="connsiteY1320" fmla="*/ 2995437 h 6689084"/>
              <a:gd name="connsiteX1321" fmla="*/ 4001180 w 6689088"/>
              <a:gd name="connsiteY1321" fmla="*/ 2997613 h 6689084"/>
              <a:gd name="connsiteX1322" fmla="*/ 3999000 w 6689088"/>
              <a:gd name="connsiteY1322" fmla="*/ 2999794 h 6689084"/>
              <a:gd name="connsiteX1323" fmla="*/ 3996823 w 6689088"/>
              <a:gd name="connsiteY1323" fmla="*/ 2997613 h 6689084"/>
              <a:gd name="connsiteX1324" fmla="*/ 3999000 w 6689088"/>
              <a:gd name="connsiteY1324" fmla="*/ 2995437 h 6689084"/>
              <a:gd name="connsiteX1325" fmla="*/ 4152947 w 6689088"/>
              <a:gd name="connsiteY1325" fmla="*/ 2994713 h 6689084"/>
              <a:gd name="connsiteX1326" fmla="*/ 4156214 w 6689088"/>
              <a:gd name="connsiteY1326" fmla="*/ 2997979 h 6689084"/>
              <a:gd name="connsiteX1327" fmla="*/ 4152947 w 6689088"/>
              <a:gd name="connsiteY1327" fmla="*/ 3001250 h 6689084"/>
              <a:gd name="connsiteX1328" fmla="*/ 4149680 w 6689088"/>
              <a:gd name="connsiteY1328" fmla="*/ 2997979 h 6689084"/>
              <a:gd name="connsiteX1329" fmla="*/ 4152947 w 6689088"/>
              <a:gd name="connsiteY1329" fmla="*/ 2994713 h 6689084"/>
              <a:gd name="connsiteX1330" fmla="*/ 4306532 w 6689088"/>
              <a:gd name="connsiteY1330" fmla="*/ 2993261 h 6689084"/>
              <a:gd name="connsiteX1331" fmla="*/ 4310890 w 6689088"/>
              <a:gd name="connsiteY1331" fmla="*/ 2997617 h 6689084"/>
              <a:gd name="connsiteX1332" fmla="*/ 4306532 w 6689088"/>
              <a:gd name="connsiteY1332" fmla="*/ 3001974 h 6689084"/>
              <a:gd name="connsiteX1333" fmla="*/ 4302176 w 6689088"/>
              <a:gd name="connsiteY1333" fmla="*/ 2997617 h 6689084"/>
              <a:gd name="connsiteX1334" fmla="*/ 4306532 w 6689088"/>
              <a:gd name="connsiteY1334" fmla="*/ 2993261 h 6689084"/>
              <a:gd name="connsiteX1335" fmla="*/ 4460480 w 6689088"/>
              <a:gd name="connsiteY1335" fmla="*/ 2991808 h 6689084"/>
              <a:gd name="connsiteX1336" fmla="*/ 4466289 w 6689088"/>
              <a:gd name="connsiteY1336" fmla="*/ 2997617 h 6689084"/>
              <a:gd name="connsiteX1337" fmla="*/ 4460480 w 6689088"/>
              <a:gd name="connsiteY1337" fmla="*/ 3003427 h 6689084"/>
              <a:gd name="connsiteX1338" fmla="*/ 4454670 w 6689088"/>
              <a:gd name="connsiteY1338" fmla="*/ 2997617 h 6689084"/>
              <a:gd name="connsiteX1339" fmla="*/ 4460480 w 6689088"/>
              <a:gd name="connsiteY1339" fmla="*/ 2991808 h 6689084"/>
              <a:gd name="connsiteX1340" fmla="*/ 4614065 w 6689088"/>
              <a:gd name="connsiteY1340" fmla="*/ 2990356 h 6689084"/>
              <a:gd name="connsiteX1341" fmla="*/ 4621326 w 6689088"/>
              <a:gd name="connsiteY1341" fmla="*/ 2997617 h 6689084"/>
              <a:gd name="connsiteX1342" fmla="*/ 4614065 w 6689088"/>
              <a:gd name="connsiteY1342" fmla="*/ 3004879 h 6689084"/>
              <a:gd name="connsiteX1343" fmla="*/ 4606804 w 6689088"/>
              <a:gd name="connsiteY1343" fmla="*/ 2997617 h 6689084"/>
              <a:gd name="connsiteX1344" fmla="*/ 4614065 w 6689088"/>
              <a:gd name="connsiteY1344" fmla="*/ 2990356 h 6689084"/>
              <a:gd name="connsiteX1345" fmla="*/ 4768008 w 6689088"/>
              <a:gd name="connsiteY1345" fmla="*/ 2988537 h 6689084"/>
              <a:gd name="connsiteX1346" fmla="*/ 4777088 w 6689088"/>
              <a:gd name="connsiteY1346" fmla="*/ 2997613 h 6689084"/>
              <a:gd name="connsiteX1347" fmla="*/ 4768008 w 6689088"/>
              <a:gd name="connsiteY1347" fmla="*/ 3006693 h 6689084"/>
              <a:gd name="connsiteX1348" fmla="*/ 4758932 w 6689088"/>
              <a:gd name="connsiteY1348" fmla="*/ 2997613 h 6689084"/>
              <a:gd name="connsiteX1349" fmla="*/ 4768008 w 6689088"/>
              <a:gd name="connsiteY1349" fmla="*/ 2988537 h 6689084"/>
              <a:gd name="connsiteX1350" fmla="*/ 4921594 w 6689088"/>
              <a:gd name="connsiteY1350" fmla="*/ 2987447 h 6689084"/>
              <a:gd name="connsiteX1351" fmla="*/ 4931760 w 6689088"/>
              <a:gd name="connsiteY1351" fmla="*/ 2997613 h 6689084"/>
              <a:gd name="connsiteX1352" fmla="*/ 4921594 w 6689088"/>
              <a:gd name="connsiteY1352" fmla="*/ 3007780 h 6689084"/>
              <a:gd name="connsiteX1353" fmla="*/ 4911428 w 6689088"/>
              <a:gd name="connsiteY1353" fmla="*/ 2997613 h 6689084"/>
              <a:gd name="connsiteX1354" fmla="*/ 4921594 w 6689088"/>
              <a:gd name="connsiteY1354" fmla="*/ 2987447 h 6689084"/>
              <a:gd name="connsiteX1355" fmla="*/ 5075541 w 6689088"/>
              <a:gd name="connsiteY1355" fmla="*/ 2985633 h 6689084"/>
              <a:gd name="connsiteX1356" fmla="*/ 5087526 w 6689088"/>
              <a:gd name="connsiteY1356" fmla="*/ 2997613 h 6689084"/>
              <a:gd name="connsiteX1357" fmla="*/ 5075541 w 6689088"/>
              <a:gd name="connsiteY1357" fmla="*/ 3009594 h 6689084"/>
              <a:gd name="connsiteX1358" fmla="*/ 5063560 w 6689088"/>
              <a:gd name="connsiteY1358" fmla="*/ 2997613 h 6689084"/>
              <a:gd name="connsiteX1359" fmla="*/ 5075541 w 6689088"/>
              <a:gd name="connsiteY1359" fmla="*/ 2985633 h 6689084"/>
              <a:gd name="connsiteX1360" fmla="*/ 5229126 w 6689088"/>
              <a:gd name="connsiteY1360" fmla="*/ 2983818 h 6689084"/>
              <a:gd name="connsiteX1361" fmla="*/ 5242922 w 6689088"/>
              <a:gd name="connsiteY1361" fmla="*/ 2997613 h 6689084"/>
              <a:gd name="connsiteX1362" fmla="*/ 5229126 w 6689088"/>
              <a:gd name="connsiteY1362" fmla="*/ 3011413 h 6689084"/>
              <a:gd name="connsiteX1363" fmla="*/ 5215328 w 6689088"/>
              <a:gd name="connsiteY1363" fmla="*/ 2997613 h 6689084"/>
              <a:gd name="connsiteX1364" fmla="*/ 5229126 w 6689088"/>
              <a:gd name="connsiteY1364" fmla="*/ 2983818 h 6689084"/>
              <a:gd name="connsiteX1365" fmla="*/ 5383074 w 6689088"/>
              <a:gd name="connsiteY1365" fmla="*/ 2982366 h 6689084"/>
              <a:gd name="connsiteX1366" fmla="*/ 5398326 w 6689088"/>
              <a:gd name="connsiteY1366" fmla="*/ 2997613 h 6689084"/>
              <a:gd name="connsiteX1367" fmla="*/ 5383074 w 6689088"/>
              <a:gd name="connsiteY1367" fmla="*/ 3012865 h 6689084"/>
              <a:gd name="connsiteX1368" fmla="*/ 5367826 w 6689088"/>
              <a:gd name="connsiteY1368" fmla="*/ 2997613 h 6689084"/>
              <a:gd name="connsiteX1369" fmla="*/ 5383074 w 6689088"/>
              <a:gd name="connsiteY1369" fmla="*/ 2982366 h 6689084"/>
              <a:gd name="connsiteX1370" fmla="*/ 5536659 w 6689088"/>
              <a:gd name="connsiteY1370" fmla="*/ 2980551 h 6689084"/>
              <a:gd name="connsiteX1371" fmla="*/ 5553725 w 6689088"/>
              <a:gd name="connsiteY1371" fmla="*/ 2997617 h 6689084"/>
              <a:gd name="connsiteX1372" fmla="*/ 5536659 w 6689088"/>
              <a:gd name="connsiteY1372" fmla="*/ 3014683 h 6689084"/>
              <a:gd name="connsiteX1373" fmla="*/ 5519593 w 6689088"/>
              <a:gd name="connsiteY1373" fmla="*/ 2997617 h 6689084"/>
              <a:gd name="connsiteX1374" fmla="*/ 5536659 w 6689088"/>
              <a:gd name="connsiteY1374" fmla="*/ 2980551 h 6689084"/>
              <a:gd name="connsiteX1375" fmla="*/ 5690606 w 6689088"/>
              <a:gd name="connsiteY1375" fmla="*/ 2978371 h 6689084"/>
              <a:gd name="connsiteX1376" fmla="*/ 5709849 w 6689088"/>
              <a:gd name="connsiteY1376" fmla="*/ 2997613 h 6689084"/>
              <a:gd name="connsiteX1377" fmla="*/ 5690606 w 6689088"/>
              <a:gd name="connsiteY1377" fmla="*/ 3016856 h 6689084"/>
              <a:gd name="connsiteX1378" fmla="*/ 5671360 w 6689088"/>
              <a:gd name="connsiteY1378" fmla="*/ 2997613 h 6689084"/>
              <a:gd name="connsiteX1379" fmla="*/ 5690606 w 6689088"/>
              <a:gd name="connsiteY1379" fmla="*/ 2978371 h 6689084"/>
              <a:gd name="connsiteX1380" fmla="*/ 5844550 w 6689088"/>
              <a:gd name="connsiteY1380" fmla="*/ 2976195 h 6689084"/>
              <a:gd name="connsiteX1381" fmla="*/ 5865973 w 6689088"/>
              <a:gd name="connsiteY1381" fmla="*/ 2997617 h 6689084"/>
              <a:gd name="connsiteX1382" fmla="*/ 5844550 w 6689088"/>
              <a:gd name="connsiteY1382" fmla="*/ 3019036 h 6689084"/>
              <a:gd name="connsiteX1383" fmla="*/ 5823127 w 6689088"/>
              <a:gd name="connsiteY1383" fmla="*/ 2997617 h 6689084"/>
              <a:gd name="connsiteX1384" fmla="*/ 5844550 w 6689088"/>
              <a:gd name="connsiteY1384" fmla="*/ 2976195 h 6689084"/>
              <a:gd name="connsiteX1385" fmla="*/ 5998139 w 6689088"/>
              <a:gd name="connsiteY1385" fmla="*/ 2974742 h 6689084"/>
              <a:gd name="connsiteX1386" fmla="*/ 6021010 w 6689088"/>
              <a:gd name="connsiteY1386" fmla="*/ 2997617 h 6689084"/>
              <a:gd name="connsiteX1387" fmla="*/ 5998139 w 6689088"/>
              <a:gd name="connsiteY1387" fmla="*/ 3020489 h 6689084"/>
              <a:gd name="connsiteX1388" fmla="*/ 5975264 w 6689088"/>
              <a:gd name="connsiteY1388" fmla="*/ 2997617 h 6689084"/>
              <a:gd name="connsiteX1389" fmla="*/ 5998139 w 6689088"/>
              <a:gd name="connsiteY1389" fmla="*/ 2974742 h 6689084"/>
              <a:gd name="connsiteX1390" fmla="*/ 6152083 w 6689088"/>
              <a:gd name="connsiteY1390" fmla="*/ 2972562 h 6689084"/>
              <a:gd name="connsiteX1391" fmla="*/ 6177134 w 6689088"/>
              <a:gd name="connsiteY1391" fmla="*/ 2997613 h 6689084"/>
              <a:gd name="connsiteX1392" fmla="*/ 6152083 w 6689088"/>
              <a:gd name="connsiteY1392" fmla="*/ 3022669 h 6689084"/>
              <a:gd name="connsiteX1393" fmla="*/ 6127031 w 6689088"/>
              <a:gd name="connsiteY1393" fmla="*/ 2997613 h 6689084"/>
              <a:gd name="connsiteX1394" fmla="*/ 6152083 w 6689088"/>
              <a:gd name="connsiteY1394" fmla="*/ 2972562 h 6689084"/>
              <a:gd name="connsiteX1395" fmla="*/ 6305672 w 6689088"/>
              <a:gd name="connsiteY1395" fmla="*/ 2970385 h 6689084"/>
              <a:gd name="connsiteX1396" fmla="*/ 6332904 w 6689088"/>
              <a:gd name="connsiteY1396" fmla="*/ 2997617 h 6689084"/>
              <a:gd name="connsiteX1397" fmla="*/ 6305672 w 6689088"/>
              <a:gd name="connsiteY1397" fmla="*/ 3024846 h 6689084"/>
              <a:gd name="connsiteX1398" fmla="*/ 6278440 w 6689088"/>
              <a:gd name="connsiteY1398" fmla="*/ 2997617 h 6689084"/>
              <a:gd name="connsiteX1399" fmla="*/ 6305672 w 6689088"/>
              <a:gd name="connsiteY1399" fmla="*/ 2970385 h 6689084"/>
              <a:gd name="connsiteX1400" fmla="*/ 6459619 w 6689088"/>
              <a:gd name="connsiteY1400" fmla="*/ 2967843 h 6689084"/>
              <a:gd name="connsiteX1401" fmla="*/ 6489390 w 6689088"/>
              <a:gd name="connsiteY1401" fmla="*/ 2997613 h 6689084"/>
              <a:gd name="connsiteX1402" fmla="*/ 6459619 w 6689088"/>
              <a:gd name="connsiteY1402" fmla="*/ 3027388 h 6689084"/>
              <a:gd name="connsiteX1403" fmla="*/ 6429844 w 6689088"/>
              <a:gd name="connsiteY1403" fmla="*/ 2997613 h 6689084"/>
              <a:gd name="connsiteX1404" fmla="*/ 6459619 w 6689088"/>
              <a:gd name="connsiteY1404" fmla="*/ 2967843 h 6689084"/>
              <a:gd name="connsiteX1405" fmla="*/ 6613200 w 6689088"/>
              <a:gd name="connsiteY1405" fmla="*/ 2965666 h 6689084"/>
              <a:gd name="connsiteX1406" fmla="*/ 6645152 w 6689088"/>
              <a:gd name="connsiteY1406" fmla="*/ 2997617 h 6689084"/>
              <a:gd name="connsiteX1407" fmla="*/ 6613200 w 6689088"/>
              <a:gd name="connsiteY1407" fmla="*/ 3029569 h 6689084"/>
              <a:gd name="connsiteX1408" fmla="*/ 6581250 w 6689088"/>
              <a:gd name="connsiteY1408" fmla="*/ 2997617 h 6689084"/>
              <a:gd name="connsiteX1409" fmla="*/ 6613200 w 6689088"/>
              <a:gd name="connsiteY1409" fmla="*/ 2965666 h 6689084"/>
              <a:gd name="connsiteX1410" fmla="*/ 3537882 w 6689088"/>
              <a:gd name="connsiteY1410" fmla="*/ 2843666 h 6689084"/>
              <a:gd name="connsiteX1411" fmla="*/ 3538244 w 6689088"/>
              <a:gd name="connsiteY1411" fmla="*/ 2844028 h 6689084"/>
              <a:gd name="connsiteX1412" fmla="*/ 3537882 w 6689088"/>
              <a:gd name="connsiteY1412" fmla="*/ 2844390 h 6689084"/>
              <a:gd name="connsiteX1413" fmla="*/ 3537520 w 6689088"/>
              <a:gd name="connsiteY1413" fmla="*/ 2844028 h 6689084"/>
              <a:gd name="connsiteX1414" fmla="*/ 3537882 w 6689088"/>
              <a:gd name="connsiteY1414" fmla="*/ 2843666 h 6689084"/>
              <a:gd name="connsiteX1415" fmla="*/ 3076406 w 6689088"/>
              <a:gd name="connsiteY1415" fmla="*/ 2843666 h 6689084"/>
              <a:gd name="connsiteX1416" fmla="*/ 3076768 w 6689088"/>
              <a:gd name="connsiteY1416" fmla="*/ 2844028 h 6689084"/>
              <a:gd name="connsiteX1417" fmla="*/ 3076406 w 6689088"/>
              <a:gd name="connsiteY1417" fmla="*/ 2844390 h 6689084"/>
              <a:gd name="connsiteX1418" fmla="*/ 3076043 w 6689088"/>
              <a:gd name="connsiteY1418" fmla="*/ 2844028 h 6689084"/>
              <a:gd name="connsiteX1419" fmla="*/ 3076406 w 6689088"/>
              <a:gd name="connsiteY1419" fmla="*/ 2843666 h 6689084"/>
              <a:gd name="connsiteX1420" fmla="*/ 2922458 w 6689088"/>
              <a:gd name="connsiteY1420" fmla="*/ 2843666 h 6689084"/>
              <a:gd name="connsiteX1421" fmla="*/ 2922820 w 6689088"/>
              <a:gd name="connsiteY1421" fmla="*/ 2844028 h 6689084"/>
              <a:gd name="connsiteX1422" fmla="*/ 2922458 w 6689088"/>
              <a:gd name="connsiteY1422" fmla="*/ 2844390 h 6689084"/>
              <a:gd name="connsiteX1423" fmla="*/ 2922096 w 6689088"/>
              <a:gd name="connsiteY1423" fmla="*/ 2844028 h 6689084"/>
              <a:gd name="connsiteX1424" fmla="*/ 2922458 w 6689088"/>
              <a:gd name="connsiteY1424" fmla="*/ 2843666 h 6689084"/>
              <a:gd name="connsiteX1425" fmla="*/ 2768877 w 6689088"/>
              <a:gd name="connsiteY1425" fmla="*/ 2843304 h 6689084"/>
              <a:gd name="connsiteX1426" fmla="*/ 2769601 w 6689088"/>
              <a:gd name="connsiteY1426" fmla="*/ 2844032 h 6689084"/>
              <a:gd name="connsiteX1427" fmla="*/ 2768877 w 6689088"/>
              <a:gd name="connsiteY1427" fmla="*/ 2844756 h 6689084"/>
              <a:gd name="connsiteX1428" fmla="*/ 2768149 w 6689088"/>
              <a:gd name="connsiteY1428" fmla="*/ 2844032 h 6689084"/>
              <a:gd name="connsiteX1429" fmla="*/ 2768877 w 6689088"/>
              <a:gd name="connsiteY1429" fmla="*/ 2843304 h 6689084"/>
              <a:gd name="connsiteX1430" fmla="*/ 3691467 w 6689088"/>
              <a:gd name="connsiteY1430" fmla="*/ 2842580 h 6689084"/>
              <a:gd name="connsiteX1431" fmla="*/ 3692919 w 6689088"/>
              <a:gd name="connsiteY1431" fmla="*/ 2844032 h 6689084"/>
              <a:gd name="connsiteX1432" fmla="*/ 3691467 w 6689088"/>
              <a:gd name="connsiteY1432" fmla="*/ 2845485 h 6689084"/>
              <a:gd name="connsiteX1433" fmla="*/ 3690014 w 6689088"/>
              <a:gd name="connsiteY1433" fmla="*/ 2844032 h 6689084"/>
              <a:gd name="connsiteX1434" fmla="*/ 3691467 w 6689088"/>
              <a:gd name="connsiteY1434" fmla="*/ 2842580 h 6689084"/>
              <a:gd name="connsiteX1435" fmla="*/ 3845418 w 6689088"/>
              <a:gd name="connsiteY1435" fmla="*/ 2841852 h 6689084"/>
              <a:gd name="connsiteX1436" fmla="*/ 3847595 w 6689088"/>
              <a:gd name="connsiteY1436" fmla="*/ 2844032 h 6689084"/>
              <a:gd name="connsiteX1437" fmla="*/ 3845418 w 6689088"/>
              <a:gd name="connsiteY1437" fmla="*/ 2846209 h 6689084"/>
              <a:gd name="connsiteX1438" fmla="*/ 3843238 w 6689088"/>
              <a:gd name="connsiteY1438" fmla="*/ 2844032 h 6689084"/>
              <a:gd name="connsiteX1439" fmla="*/ 3845418 w 6689088"/>
              <a:gd name="connsiteY1439" fmla="*/ 2841852 h 6689084"/>
              <a:gd name="connsiteX1440" fmla="*/ 3999000 w 6689088"/>
              <a:gd name="connsiteY1440" fmla="*/ 2840761 h 6689084"/>
              <a:gd name="connsiteX1441" fmla="*/ 4002270 w 6689088"/>
              <a:gd name="connsiteY1441" fmla="*/ 2844028 h 6689084"/>
              <a:gd name="connsiteX1442" fmla="*/ 3999000 w 6689088"/>
              <a:gd name="connsiteY1442" fmla="*/ 2847299 h 6689084"/>
              <a:gd name="connsiteX1443" fmla="*/ 3995733 w 6689088"/>
              <a:gd name="connsiteY1443" fmla="*/ 2844028 h 6689084"/>
              <a:gd name="connsiteX1444" fmla="*/ 3999000 w 6689088"/>
              <a:gd name="connsiteY1444" fmla="*/ 2840761 h 6689084"/>
              <a:gd name="connsiteX1445" fmla="*/ 4152947 w 6689088"/>
              <a:gd name="connsiteY1445" fmla="*/ 2839309 h 6689084"/>
              <a:gd name="connsiteX1446" fmla="*/ 4157304 w 6689088"/>
              <a:gd name="connsiteY1446" fmla="*/ 2843666 h 6689084"/>
              <a:gd name="connsiteX1447" fmla="*/ 4152947 w 6689088"/>
              <a:gd name="connsiteY1447" fmla="*/ 2848023 h 6689084"/>
              <a:gd name="connsiteX1448" fmla="*/ 4148590 w 6689088"/>
              <a:gd name="connsiteY1448" fmla="*/ 2843666 h 6689084"/>
              <a:gd name="connsiteX1449" fmla="*/ 4152947 w 6689088"/>
              <a:gd name="connsiteY1449" fmla="*/ 2839309 h 6689084"/>
              <a:gd name="connsiteX1450" fmla="*/ 4306532 w 6689088"/>
              <a:gd name="connsiteY1450" fmla="*/ 2838223 h 6689084"/>
              <a:gd name="connsiteX1451" fmla="*/ 4312342 w 6689088"/>
              <a:gd name="connsiteY1451" fmla="*/ 2844032 h 6689084"/>
              <a:gd name="connsiteX1452" fmla="*/ 4306532 w 6689088"/>
              <a:gd name="connsiteY1452" fmla="*/ 2849841 h 6689084"/>
              <a:gd name="connsiteX1453" fmla="*/ 4300723 w 6689088"/>
              <a:gd name="connsiteY1453" fmla="*/ 2844032 h 6689084"/>
              <a:gd name="connsiteX1454" fmla="*/ 4306532 w 6689088"/>
              <a:gd name="connsiteY1454" fmla="*/ 2838223 h 6689084"/>
              <a:gd name="connsiteX1455" fmla="*/ 4460480 w 6689088"/>
              <a:gd name="connsiteY1455" fmla="*/ 2836770 h 6689084"/>
              <a:gd name="connsiteX1456" fmla="*/ 4467742 w 6689088"/>
              <a:gd name="connsiteY1456" fmla="*/ 2844032 h 6689084"/>
              <a:gd name="connsiteX1457" fmla="*/ 4460480 w 6689088"/>
              <a:gd name="connsiteY1457" fmla="*/ 2851294 h 6689084"/>
              <a:gd name="connsiteX1458" fmla="*/ 4453218 w 6689088"/>
              <a:gd name="connsiteY1458" fmla="*/ 2844032 h 6689084"/>
              <a:gd name="connsiteX1459" fmla="*/ 4460480 w 6689088"/>
              <a:gd name="connsiteY1459" fmla="*/ 2836770 h 6689084"/>
              <a:gd name="connsiteX1460" fmla="*/ 4614061 w 6689088"/>
              <a:gd name="connsiteY1460" fmla="*/ 2834590 h 6689084"/>
              <a:gd name="connsiteX1461" fmla="*/ 4623141 w 6689088"/>
              <a:gd name="connsiteY1461" fmla="*/ 2843666 h 6689084"/>
              <a:gd name="connsiteX1462" fmla="*/ 4614061 w 6689088"/>
              <a:gd name="connsiteY1462" fmla="*/ 2852746 h 6689084"/>
              <a:gd name="connsiteX1463" fmla="*/ 4604985 w 6689088"/>
              <a:gd name="connsiteY1463" fmla="*/ 2843666 h 6689084"/>
              <a:gd name="connsiteX1464" fmla="*/ 4614061 w 6689088"/>
              <a:gd name="connsiteY1464" fmla="*/ 2834590 h 6689084"/>
              <a:gd name="connsiteX1465" fmla="*/ 4768012 w 6689088"/>
              <a:gd name="connsiteY1465" fmla="*/ 2833866 h 6689084"/>
              <a:gd name="connsiteX1466" fmla="*/ 4778178 w 6689088"/>
              <a:gd name="connsiteY1466" fmla="*/ 2844032 h 6689084"/>
              <a:gd name="connsiteX1467" fmla="*/ 4768012 w 6689088"/>
              <a:gd name="connsiteY1467" fmla="*/ 2854198 h 6689084"/>
              <a:gd name="connsiteX1468" fmla="*/ 4757846 w 6689088"/>
              <a:gd name="connsiteY1468" fmla="*/ 2844032 h 6689084"/>
              <a:gd name="connsiteX1469" fmla="*/ 4768012 w 6689088"/>
              <a:gd name="connsiteY1469" fmla="*/ 2833866 h 6689084"/>
              <a:gd name="connsiteX1470" fmla="*/ 4921594 w 6689088"/>
              <a:gd name="connsiteY1470" fmla="*/ 2831685 h 6689084"/>
              <a:gd name="connsiteX1471" fmla="*/ 4933578 w 6689088"/>
              <a:gd name="connsiteY1471" fmla="*/ 2843666 h 6689084"/>
              <a:gd name="connsiteX1472" fmla="*/ 4921594 w 6689088"/>
              <a:gd name="connsiteY1472" fmla="*/ 2855651 h 6689084"/>
              <a:gd name="connsiteX1473" fmla="*/ 4909613 w 6689088"/>
              <a:gd name="connsiteY1473" fmla="*/ 2843666 h 6689084"/>
              <a:gd name="connsiteX1474" fmla="*/ 4921594 w 6689088"/>
              <a:gd name="connsiteY1474" fmla="*/ 2831685 h 6689084"/>
              <a:gd name="connsiteX1475" fmla="*/ 5075545 w 6689088"/>
              <a:gd name="connsiteY1475" fmla="*/ 2829871 h 6689084"/>
              <a:gd name="connsiteX1476" fmla="*/ 5089340 w 6689088"/>
              <a:gd name="connsiteY1476" fmla="*/ 2843666 h 6689084"/>
              <a:gd name="connsiteX1477" fmla="*/ 5075545 w 6689088"/>
              <a:gd name="connsiteY1477" fmla="*/ 2857465 h 6689084"/>
              <a:gd name="connsiteX1478" fmla="*/ 5061746 w 6689088"/>
              <a:gd name="connsiteY1478" fmla="*/ 2843666 h 6689084"/>
              <a:gd name="connsiteX1479" fmla="*/ 5075545 w 6689088"/>
              <a:gd name="connsiteY1479" fmla="*/ 2829871 h 6689084"/>
              <a:gd name="connsiteX1480" fmla="*/ 5229126 w 6689088"/>
              <a:gd name="connsiteY1480" fmla="*/ 2828781 h 6689084"/>
              <a:gd name="connsiteX1481" fmla="*/ 5244378 w 6689088"/>
              <a:gd name="connsiteY1481" fmla="*/ 2844032 h 6689084"/>
              <a:gd name="connsiteX1482" fmla="*/ 5229126 w 6689088"/>
              <a:gd name="connsiteY1482" fmla="*/ 2859280 h 6689084"/>
              <a:gd name="connsiteX1483" fmla="*/ 5213879 w 6689088"/>
              <a:gd name="connsiteY1483" fmla="*/ 2844032 h 6689084"/>
              <a:gd name="connsiteX1484" fmla="*/ 5229126 w 6689088"/>
              <a:gd name="connsiteY1484" fmla="*/ 2828781 h 6689084"/>
              <a:gd name="connsiteX1485" fmla="*/ 5383074 w 6689088"/>
              <a:gd name="connsiteY1485" fmla="*/ 2826966 h 6689084"/>
              <a:gd name="connsiteX1486" fmla="*/ 5400140 w 6689088"/>
              <a:gd name="connsiteY1486" fmla="*/ 2844032 h 6689084"/>
              <a:gd name="connsiteX1487" fmla="*/ 5383074 w 6689088"/>
              <a:gd name="connsiteY1487" fmla="*/ 2861098 h 6689084"/>
              <a:gd name="connsiteX1488" fmla="*/ 5366008 w 6689088"/>
              <a:gd name="connsiteY1488" fmla="*/ 2844032 h 6689084"/>
              <a:gd name="connsiteX1489" fmla="*/ 5383074 w 6689088"/>
              <a:gd name="connsiteY1489" fmla="*/ 2826966 h 6689084"/>
              <a:gd name="connsiteX1490" fmla="*/ 5536659 w 6689088"/>
              <a:gd name="connsiteY1490" fmla="*/ 2824790 h 6689084"/>
              <a:gd name="connsiteX1491" fmla="*/ 5555902 w 6689088"/>
              <a:gd name="connsiteY1491" fmla="*/ 2844032 h 6689084"/>
              <a:gd name="connsiteX1492" fmla="*/ 5536659 w 6689088"/>
              <a:gd name="connsiteY1492" fmla="*/ 2863279 h 6689084"/>
              <a:gd name="connsiteX1493" fmla="*/ 5517413 w 6689088"/>
              <a:gd name="connsiteY1493" fmla="*/ 2844032 h 6689084"/>
              <a:gd name="connsiteX1494" fmla="*/ 5536659 w 6689088"/>
              <a:gd name="connsiteY1494" fmla="*/ 2824790 h 6689084"/>
              <a:gd name="connsiteX1495" fmla="*/ 5690602 w 6689088"/>
              <a:gd name="connsiteY1495" fmla="*/ 2822609 h 6689084"/>
              <a:gd name="connsiteX1496" fmla="*/ 5712026 w 6689088"/>
              <a:gd name="connsiteY1496" fmla="*/ 2844032 h 6689084"/>
              <a:gd name="connsiteX1497" fmla="*/ 5690602 w 6689088"/>
              <a:gd name="connsiteY1497" fmla="*/ 2865451 h 6689084"/>
              <a:gd name="connsiteX1498" fmla="*/ 5669180 w 6689088"/>
              <a:gd name="connsiteY1498" fmla="*/ 2844032 h 6689084"/>
              <a:gd name="connsiteX1499" fmla="*/ 5690602 w 6689088"/>
              <a:gd name="connsiteY1499" fmla="*/ 2822609 h 6689084"/>
              <a:gd name="connsiteX1500" fmla="*/ 5844554 w 6689088"/>
              <a:gd name="connsiteY1500" fmla="*/ 2821157 h 6689084"/>
              <a:gd name="connsiteX1501" fmla="*/ 5867429 w 6689088"/>
              <a:gd name="connsiteY1501" fmla="*/ 2844032 h 6689084"/>
              <a:gd name="connsiteX1502" fmla="*/ 5844554 w 6689088"/>
              <a:gd name="connsiteY1502" fmla="*/ 2866903 h 6689084"/>
              <a:gd name="connsiteX1503" fmla="*/ 5821678 w 6689088"/>
              <a:gd name="connsiteY1503" fmla="*/ 2844032 h 6689084"/>
              <a:gd name="connsiteX1504" fmla="*/ 5844554 w 6689088"/>
              <a:gd name="connsiteY1504" fmla="*/ 2821157 h 6689084"/>
              <a:gd name="connsiteX1505" fmla="*/ 5998136 w 6689088"/>
              <a:gd name="connsiteY1505" fmla="*/ 2818980 h 6689084"/>
              <a:gd name="connsiteX1506" fmla="*/ 6023187 w 6689088"/>
              <a:gd name="connsiteY1506" fmla="*/ 2844032 h 6689084"/>
              <a:gd name="connsiteX1507" fmla="*/ 5998136 w 6689088"/>
              <a:gd name="connsiteY1507" fmla="*/ 2869088 h 6689084"/>
              <a:gd name="connsiteX1508" fmla="*/ 5973084 w 6689088"/>
              <a:gd name="connsiteY1508" fmla="*/ 2844032 h 6689084"/>
              <a:gd name="connsiteX1509" fmla="*/ 5998136 w 6689088"/>
              <a:gd name="connsiteY1509" fmla="*/ 2818980 h 6689084"/>
              <a:gd name="connsiteX1510" fmla="*/ 6152086 w 6689088"/>
              <a:gd name="connsiteY1510" fmla="*/ 2816800 h 6689084"/>
              <a:gd name="connsiteX1511" fmla="*/ 6179315 w 6689088"/>
              <a:gd name="connsiteY1511" fmla="*/ 2844032 h 6689084"/>
              <a:gd name="connsiteX1512" fmla="*/ 6152086 w 6689088"/>
              <a:gd name="connsiteY1512" fmla="*/ 2871264 h 6689084"/>
              <a:gd name="connsiteX1513" fmla="*/ 6124854 w 6689088"/>
              <a:gd name="connsiteY1513" fmla="*/ 2844032 h 6689084"/>
              <a:gd name="connsiteX1514" fmla="*/ 6152086 w 6689088"/>
              <a:gd name="connsiteY1514" fmla="*/ 2816800 h 6689084"/>
              <a:gd name="connsiteX1515" fmla="*/ 6305672 w 6689088"/>
              <a:gd name="connsiteY1515" fmla="*/ 2814257 h 6689084"/>
              <a:gd name="connsiteX1516" fmla="*/ 6335443 w 6689088"/>
              <a:gd name="connsiteY1516" fmla="*/ 2844032 h 6689084"/>
              <a:gd name="connsiteX1517" fmla="*/ 6305672 w 6689088"/>
              <a:gd name="connsiteY1517" fmla="*/ 2873803 h 6689084"/>
              <a:gd name="connsiteX1518" fmla="*/ 6275897 w 6689088"/>
              <a:gd name="connsiteY1518" fmla="*/ 2844032 h 6689084"/>
              <a:gd name="connsiteX1519" fmla="*/ 6305672 w 6689088"/>
              <a:gd name="connsiteY1519" fmla="*/ 2814257 h 6689084"/>
              <a:gd name="connsiteX1520" fmla="*/ 6459616 w 6689088"/>
              <a:gd name="connsiteY1520" fmla="*/ 2812081 h 6689084"/>
              <a:gd name="connsiteX1521" fmla="*/ 6491567 w 6689088"/>
              <a:gd name="connsiteY1521" fmla="*/ 2844032 h 6689084"/>
              <a:gd name="connsiteX1522" fmla="*/ 6459616 w 6689088"/>
              <a:gd name="connsiteY1522" fmla="*/ 2875983 h 6689084"/>
              <a:gd name="connsiteX1523" fmla="*/ 6427664 w 6689088"/>
              <a:gd name="connsiteY1523" fmla="*/ 2844032 h 6689084"/>
              <a:gd name="connsiteX1524" fmla="*/ 6459616 w 6689088"/>
              <a:gd name="connsiteY1524" fmla="*/ 2812081 h 6689084"/>
              <a:gd name="connsiteX1525" fmla="*/ 6613200 w 6689088"/>
              <a:gd name="connsiteY1525" fmla="*/ 2810266 h 6689084"/>
              <a:gd name="connsiteX1526" fmla="*/ 6646966 w 6689088"/>
              <a:gd name="connsiteY1526" fmla="*/ 2844032 h 6689084"/>
              <a:gd name="connsiteX1527" fmla="*/ 6613200 w 6689088"/>
              <a:gd name="connsiteY1527" fmla="*/ 2877802 h 6689084"/>
              <a:gd name="connsiteX1528" fmla="*/ 6579435 w 6689088"/>
              <a:gd name="connsiteY1528" fmla="*/ 2844032 h 6689084"/>
              <a:gd name="connsiteX1529" fmla="*/ 6613200 w 6689088"/>
              <a:gd name="connsiteY1529" fmla="*/ 2810266 h 6689084"/>
              <a:gd name="connsiteX1530" fmla="*/ 3383934 w 6689088"/>
              <a:gd name="connsiteY1530" fmla="*/ 2689722 h 6689084"/>
              <a:gd name="connsiteX1531" fmla="*/ 3384296 w 6689088"/>
              <a:gd name="connsiteY1531" fmla="*/ 2690085 h 6689084"/>
              <a:gd name="connsiteX1532" fmla="*/ 3383934 w 6689088"/>
              <a:gd name="connsiteY1532" fmla="*/ 2690447 h 6689084"/>
              <a:gd name="connsiteX1533" fmla="*/ 3383572 w 6689088"/>
              <a:gd name="connsiteY1533" fmla="*/ 2690085 h 6689084"/>
              <a:gd name="connsiteX1534" fmla="*/ 3383934 w 6689088"/>
              <a:gd name="connsiteY1534" fmla="*/ 2689722 h 6689084"/>
              <a:gd name="connsiteX1535" fmla="*/ 2922458 w 6689088"/>
              <a:gd name="connsiteY1535" fmla="*/ 2689722 h 6689084"/>
              <a:gd name="connsiteX1536" fmla="*/ 2922820 w 6689088"/>
              <a:gd name="connsiteY1536" fmla="*/ 2690085 h 6689084"/>
              <a:gd name="connsiteX1537" fmla="*/ 2922458 w 6689088"/>
              <a:gd name="connsiteY1537" fmla="*/ 2690447 h 6689084"/>
              <a:gd name="connsiteX1538" fmla="*/ 2922096 w 6689088"/>
              <a:gd name="connsiteY1538" fmla="*/ 2690085 h 6689084"/>
              <a:gd name="connsiteX1539" fmla="*/ 2922458 w 6689088"/>
              <a:gd name="connsiteY1539" fmla="*/ 2689722 h 6689084"/>
              <a:gd name="connsiteX1540" fmla="*/ 2768873 w 6689088"/>
              <a:gd name="connsiteY1540" fmla="*/ 2689722 h 6689084"/>
              <a:gd name="connsiteX1541" fmla="*/ 2769235 w 6689088"/>
              <a:gd name="connsiteY1541" fmla="*/ 2690085 h 6689084"/>
              <a:gd name="connsiteX1542" fmla="*/ 2768873 w 6689088"/>
              <a:gd name="connsiteY1542" fmla="*/ 2690447 h 6689084"/>
              <a:gd name="connsiteX1543" fmla="*/ 2768511 w 6689088"/>
              <a:gd name="connsiteY1543" fmla="*/ 2690085 h 6689084"/>
              <a:gd name="connsiteX1544" fmla="*/ 2768873 w 6689088"/>
              <a:gd name="connsiteY1544" fmla="*/ 2689722 h 6689084"/>
              <a:gd name="connsiteX1545" fmla="*/ 2614925 w 6689088"/>
              <a:gd name="connsiteY1545" fmla="*/ 2689357 h 6689084"/>
              <a:gd name="connsiteX1546" fmla="*/ 2615654 w 6689088"/>
              <a:gd name="connsiteY1546" fmla="*/ 2690081 h 6689084"/>
              <a:gd name="connsiteX1547" fmla="*/ 2614925 w 6689088"/>
              <a:gd name="connsiteY1547" fmla="*/ 2690809 h 6689084"/>
              <a:gd name="connsiteX1548" fmla="*/ 2614201 w 6689088"/>
              <a:gd name="connsiteY1548" fmla="*/ 2690081 h 6689084"/>
              <a:gd name="connsiteX1549" fmla="*/ 2614925 w 6689088"/>
              <a:gd name="connsiteY1549" fmla="*/ 2689357 h 6689084"/>
              <a:gd name="connsiteX1550" fmla="*/ 3537886 w 6689088"/>
              <a:gd name="connsiteY1550" fmla="*/ 2688633 h 6689084"/>
              <a:gd name="connsiteX1551" fmla="*/ 3539338 w 6689088"/>
              <a:gd name="connsiteY1551" fmla="*/ 2690085 h 6689084"/>
              <a:gd name="connsiteX1552" fmla="*/ 3537886 w 6689088"/>
              <a:gd name="connsiteY1552" fmla="*/ 2691537 h 6689084"/>
              <a:gd name="connsiteX1553" fmla="*/ 3536433 w 6689088"/>
              <a:gd name="connsiteY1553" fmla="*/ 2690085 h 6689084"/>
              <a:gd name="connsiteX1554" fmla="*/ 3537886 w 6689088"/>
              <a:gd name="connsiteY1554" fmla="*/ 2688633 h 6689084"/>
              <a:gd name="connsiteX1555" fmla="*/ 3691471 w 6689088"/>
              <a:gd name="connsiteY1555" fmla="*/ 2687904 h 6689084"/>
              <a:gd name="connsiteX1556" fmla="*/ 3693647 w 6689088"/>
              <a:gd name="connsiteY1556" fmla="*/ 2690081 h 6689084"/>
              <a:gd name="connsiteX1557" fmla="*/ 3691471 w 6689088"/>
              <a:gd name="connsiteY1557" fmla="*/ 2692261 h 6689084"/>
              <a:gd name="connsiteX1558" fmla="*/ 3689290 w 6689088"/>
              <a:gd name="connsiteY1558" fmla="*/ 2690081 h 6689084"/>
              <a:gd name="connsiteX1559" fmla="*/ 3691471 w 6689088"/>
              <a:gd name="connsiteY1559" fmla="*/ 2687904 h 6689084"/>
              <a:gd name="connsiteX1560" fmla="*/ 3845414 w 6689088"/>
              <a:gd name="connsiteY1560" fmla="*/ 2686818 h 6689084"/>
              <a:gd name="connsiteX1561" fmla="*/ 3848681 w 6689088"/>
              <a:gd name="connsiteY1561" fmla="*/ 2690085 h 6689084"/>
              <a:gd name="connsiteX1562" fmla="*/ 3845414 w 6689088"/>
              <a:gd name="connsiteY1562" fmla="*/ 2693355 h 6689084"/>
              <a:gd name="connsiteX1563" fmla="*/ 3842148 w 6689088"/>
              <a:gd name="connsiteY1563" fmla="*/ 2690085 h 6689084"/>
              <a:gd name="connsiteX1564" fmla="*/ 3845414 w 6689088"/>
              <a:gd name="connsiteY1564" fmla="*/ 2686818 h 6689084"/>
              <a:gd name="connsiteX1565" fmla="*/ 3999000 w 6689088"/>
              <a:gd name="connsiteY1565" fmla="*/ 2685728 h 6689084"/>
              <a:gd name="connsiteX1566" fmla="*/ 4003356 w 6689088"/>
              <a:gd name="connsiteY1566" fmla="*/ 2690085 h 6689084"/>
              <a:gd name="connsiteX1567" fmla="*/ 3999000 w 6689088"/>
              <a:gd name="connsiteY1567" fmla="*/ 2694442 h 6689084"/>
              <a:gd name="connsiteX1568" fmla="*/ 3994642 w 6689088"/>
              <a:gd name="connsiteY1568" fmla="*/ 2690085 h 6689084"/>
              <a:gd name="connsiteX1569" fmla="*/ 3999000 w 6689088"/>
              <a:gd name="connsiteY1569" fmla="*/ 2685728 h 6689084"/>
              <a:gd name="connsiteX1570" fmla="*/ 4152947 w 6689088"/>
              <a:gd name="connsiteY1570" fmla="*/ 2684275 h 6689084"/>
              <a:gd name="connsiteX1571" fmla="*/ 4158756 w 6689088"/>
              <a:gd name="connsiteY1571" fmla="*/ 2690085 h 6689084"/>
              <a:gd name="connsiteX1572" fmla="*/ 4152947 w 6689088"/>
              <a:gd name="connsiteY1572" fmla="*/ 2695894 h 6689084"/>
              <a:gd name="connsiteX1573" fmla="*/ 4147138 w 6689088"/>
              <a:gd name="connsiteY1573" fmla="*/ 2690085 h 6689084"/>
              <a:gd name="connsiteX1574" fmla="*/ 4152947 w 6689088"/>
              <a:gd name="connsiteY1574" fmla="*/ 2684275 h 6689084"/>
              <a:gd name="connsiteX1575" fmla="*/ 4306532 w 6689088"/>
              <a:gd name="connsiteY1575" fmla="*/ 2682823 h 6689084"/>
              <a:gd name="connsiteX1576" fmla="*/ 4313794 w 6689088"/>
              <a:gd name="connsiteY1576" fmla="*/ 2690085 h 6689084"/>
              <a:gd name="connsiteX1577" fmla="*/ 4306532 w 6689088"/>
              <a:gd name="connsiteY1577" fmla="*/ 2697346 h 6689084"/>
              <a:gd name="connsiteX1578" fmla="*/ 4299270 w 6689088"/>
              <a:gd name="connsiteY1578" fmla="*/ 2690085 h 6689084"/>
              <a:gd name="connsiteX1579" fmla="*/ 4306532 w 6689088"/>
              <a:gd name="connsiteY1579" fmla="*/ 2682823 h 6689084"/>
              <a:gd name="connsiteX1580" fmla="*/ 4460480 w 6689088"/>
              <a:gd name="connsiteY1580" fmla="*/ 2681005 h 6689084"/>
              <a:gd name="connsiteX1581" fmla="*/ 4469560 w 6689088"/>
              <a:gd name="connsiteY1581" fmla="*/ 2690081 h 6689084"/>
              <a:gd name="connsiteX1582" fmla="*/ 4460480 w 6689088"/>
              <a:gd name="connsiteY1582" fmla="*/ 2699161 h 6689084"/>
              <a:gd name="connsiteX1583" fmla="*/ 4451404 w 6689088"/>
              <a:gd name="connsiteY1583" fmla="*/ 2690081 h 6689084"/>
              <a:gd name="connsiteX1584" fmla="*/ 4460480 w 6689088"/>
              <a:gd name="connsiteY1584" fmla="*/ 2681005 h 6689084"/>
              <a:gd name="connsiteX1585" fmla="*/ 4614061 w 6689088"/>
              <a:gd name="connsiteY1585" fmla="*/ 2679918 h 6689084"/>
              <a:gd name="connsiteX1586" fmla="*/ 4624228 w 6689088"/>
              <a:gd name="connsiteY1586" fmla="*/ 2690085 h 6689084"/>
              <a:gd name="connsiteX1587" fmla="*/ 4614061 w 6689088"/>
              <a:gd name="connsiteY1587" fmla="*/ 2700251 h 6689084"/>
              <a:gd name="connsiteX1588" fmla="*/ 4603895 w 6689088"/>
              <a:gd name="connsiteY1588" fmla="*/ 2690085 h 6689084"/>
              <a:gd name="connsiteX1589" fmla="*/ 4614061 w 6689088"/>
              <a:gd name="connsiteY1589" fmla="*/ 2679918 h 6689084"/>
              <a:gd name="connsiteX1590" fmla="*/ 4768008 w 6689088"/>
              <a:gd name="connsiteY1590" fmla="*/ 2678104 h 6689084"/>
              <a:gd name="connsiteX1591" fmla="*/ 4779993 w 6689088"/>
              <a:gd name="connsiteY1591" fmla="*/ 2690085 h 6689084"/>
              <a:gd name="connsiteX1592" fmla="*/ 4768008 w 6689088"/>
              <a:gd name="connsiteY1592" fmla="*/ 2702065 h 6689084"/>
              <a:gd name="connsiteX1593" fmla="*/ 4756028 w 6689088"/>
              <a:gd name="connsiteY1593" fmla="*/ 2690085 h 6689084"/>
              <a:gd name="connsiteX1594" fmla="*/ 4768008 w 6689088"/>
              <a:gd name="connsiteY1594" fmla="*/ 2678104 h 6689084"/>
              <a:gd name="connsiteX1595" fmla="*/ 4921598 w 6689088"/>
              <a:gd name="connsiteY1595" fmla="*/ 2676286 h 6689084"/>
              <a:gd name="connsiteX1596" fmla="*/ 4935393 w 6689088"/>
              <a:gd name="connsiteY1596" fmla="*/ 2690081 h 6689084"/>
              <a:gd name="connsiteX1597" fmla="*/ 4921598 w 6689088"/>
              <a:gd name="connsiteY1597" fmla="*/ 2703880 h 6689084"/>
              <a:gd name="connsiteX1598" fmla="*/ 4907798 w 6689088"/>
              <a:gd name="connsiteY1598" fmla="*/ 2690081 h 6689084"/>
              <a:gd name="connsiteX1599" fmla="*/ 4921598 w 6689088"/>
              <a:gd name="connsiteY1599" fmla="*/ 2676286 h 6689084"/>
              <a:gd name="connsiteX1600" fmla="*/ 5075545 w 6689088"/>
              <a:gd name="connsiteY1600" fmla="*/ 2674833 h 6689084"/>
              <a:gd name="connsiteX1601" fmla="*/ 5090792 w 6689088"/>
              <a:gd name="connsiteY1601" fmla="*/ 2690081 h 6689084"/>
              <a:gd name="connsiteX1602" fmla="*/ 5075545 w 6689088"/>
              <a:gd name="connsiteY1602" fmla="*/ 2705332 h 6689084"/>
              <a:gd name="connsiteX1603" fmla="*/ 5060294 w 6689088"/>
              <a:gd name="connsiteY1603" fmla="*/ 2690081 h 6689084"/>
              <a:gd name="connsiteX1604" fmla="*/ 5075545 w 6689088"/>
              <a:gd name="connsiteY1604" fmla="*/ 2674833 h 6689084"/>
              <a:gd name="connsiteX1605" fmla="*/ 5229126 w 6689088"/>
              <a:gd name="connsiteY1605" fmla="*/ 2673019 h 6689084"/>
              <a:gd name="connsiteX1606" fmla="*/ 5246192 w 6689088"/>
              <a:gd name="connsiteY1606" fmla="*/ 2690085 h 6689084"/>
              <a:gd name="connsiteX1607" fmla="*/ 5229126 w 6689088"/>
              <a:gd name="connsiteY1607" fmla="*/ 2707147 h 6689084"/>
              <a:gd name="connsiteX1608" fmla="*/ 5212060 w 6689088"/>
              <a:gd name="connsiteY1608" fmla="*/ 2690085 h 6689084"/>
              <a:gd name="connsiteX1609" fmla="*/ 5229126 w 6689088"/>
              <a:gd name="connsiteY1609" fmla="*/ 2673019 h 6689084"/>
              <a:gd name="connsiteX1610" fmla="*/ 5383074 w 6689088"/>
              <a:gd name="connsiteY1610" fmla="*/ 2670842 h 6689084"/>
              <a:gd name="connsiteX1611" fmla="*/ 5402320 w 6689088"/>
              <a:gd name="connsiteY1611" fmla="*/ 2690085 h 6689084"/>
              <a:gd name="connsiteX1612" fmla="*/ 5383074 w 6689088"/>
              <a:gd name="connsiteY1612" fmla="*/ 2709327 h 6689084"/>
              <a:gd name="connsiteX1613" fmla="*/ 5363832 w 6689088"/>
              <a:gd name="connsiteY1613" fmla="*/ 2690085 h 6689084"/>
              <a:gd name="connsiteX1614" fmla="*/ 5383074 w 6689088"/>
              <a:gd name="connsiteY1614" fmla="*/ 2670842 h 6689084"/>
              <a:gd name="connsiteX1615" fmla="*/ 5536656 w 6689088"/>
              <a:gd name="connsiteY1615" fmla="*/ 2668662 h 6689084"/>
              <a:gd name="connsiteX1616" fmla="*/ 5558078 w 6689088"/>
              <a:gd name="connsiteY1616" fmla="*/ 2690085 h 6689084"/>
              <a:gd name="connsiteX1617" fmla="*/ 5536656 w 6689088"/>
              <a:gd name="connsiteY1617" fmla="*/ 2711504 h 6689084"/>
              <a:gd name="connsiteX1618" fmla="*/ 5515232 w 6689088"/>
              <a:gd name="connsiteY1618" fmla="*/ 2690085 h 6689084"/>
              <a:gd name="connsiteX1619" fmla="*/ 5536656 w 6689088"/>
              <a:gd name="connsiteY1619" fmla="*/ 2668662 h 6689084"/>
              <a:gd name="connsiteX1620" fmla="*/ 5690606 w 6689088"/>
              <a:gd name="connsiteY1620" fmla="*/ 2667209 h 6689084"/>
              <a:gd name="connsiteX1621" fmla="*/ 5713482 w 6689088"/>
              <a:gd name="connsiteY1621" fmla="*/ 2690085 h 6689084"/>
              <a:gd name="connsiteX1622" fmla="*/ 5690606 w 6689088"/>
              <a:gd name="connsiteY1622" fmla="*/ 2712956 h 6689084"/>
              <a:gd name="connsiteX1623" fmla="*/ 5667732 w 6689088"/>
              <a:gd name="connsiteY1623" fmla="*/ 2690085 h 6689084"/>
              <a:gd name="connsiteX1624" fmla="*/ 5690606 w 6689088"/>
              <a:gd name="connsiteY1624" fmla="*/ 2667209 h 6689084"/>
              <a:gd name="connsiteX1625" fmla="*/ 5844550 w 6689088"/>
              <a:gd name="connsiteY1625" fmla="*/ 2665033 h 6689084"/>
              <a:gd name="connsiteX1626" fmla="*/ 5869606 w 6689088"/>
              <a:gd name="connsiteY1626" fmla="*/ 2690085 h 6689084"/>
              <a:gd name="connsiteX1627" fmla="*/ 5844550 w 6689088"/>
              <a:gd name="connsiteY1627" fmla="*/ 2715136 h 6689084"/>
              <a:gd name="connsiteX1628" fmla="*/ 5819498 w 6689088"/>
              <a:gd name="connsiteY1628" fmla="*/ 2690085 h 6689084"/>
              <a:gd name="connsiteX1629" fmla="*/ 5844550 w 6689088"/>
              <a:gd name="connsiteY1629" fmla="*/ 2665033 h 6689084"/>
              <a:gd name="connsiteX1630" fmla="*/ 5998139 w 6689088"/>
              <a:gd name="connsiteY1630" fmla="*/ 2662852 h 6689084"/>
              <a:gd name="connsiteX1631" fmla="*/ 6025372 w 6689088"/>
              <a:gd name="connsiteY1631" fmla="*/ 2690085 h 6689084"/>
              <a:gd name="connsiteX1632" fmla="*/ 5998139 w 6689088"/>
              <a:gd name="connsiteY1632" fmla="*/ 2717317 h 6689084"/>
              <a:gd name="connsiteX1633" fmla="*/ 5970907 w 6689088"/>
              <a:gd name="connsiteY1633" fmla="*/ 2690085 h 6689084"/>
              <a:gd name="connsiteX1634" fmla="*/ 5998139 w 6689088"/>
              <a:gd name="connsiteY1634" fmla="*/ 2662852 h 6689084"/>
              <a:gd name="connsiteX1635" fmla="*/ 6152083 w 6689088"/>
              <a:gd name="connsiteY1635" fmla="*/ 2660310 h 6689084"/>
              <a:gd name="connsiteX1636" fmla="*/ 6181858 w 6689088"/>
              <a:gd name="connsiteY1636" fmla="*/ 2690081 h 6689084"/>
              <a:gd name="connsiteX1637" fmla="*/ 6152083 w 6689088"/>
              <a:gd name="connsiteY1637" fmla="*/ 2719856 h 6689084"/>
              <a:gd name="connsiteX1638" fmla="*/ 6122312 w 6689088"/>
              <a:gd name="connsiteY1638" fmla="*/ 2690081 h 6689084"/>
              <a:gd name="connsiteX1639" fmla="*/ 6152083 w 6689088"/>
              <a:gd name="connsiteY1639" fmla="*/ 2660310 h 6689084"/>
              <a:gd name="connsiteX1640" fmla="*/ 6305668 w 6689088"/>
              <a:gd name="connsiteY1640" fmla="*/ 2658133 h 6689084"/>
              <a:gd name="connsiteX1641" fmla="*/ 6337620 w 6689088"/>
              <a:gd name="connsiteY1641" fmla="*/ 2690085 h 6689084"/>
              <a:gd name="connsiteX1642" fmla="*/ 6305668 w 6689088"/>
              <a:gd name="connsiteY1642" fmla="*/ 2722036 h 6689084"/>
              <a:gd name="connsiteX1643" fmla="*/ 6273716 w 6689088"/>
              <a:gd name="connsiteY1643" fmla="*/ 2690085 h 6689084"/>
              <a:gd name="connsiteX1644" fmla="*/ 6305668 w 6689088"/>
              <a:gd name="connsiteY1644" fmla="*/ 2658133 h 6689084"/>
              <a:gd name="connsiteX1645" fmla="*/ 6459616 w 6689088"/>
              <a:gd name="connsiteY1645" fmla="*/ 2656319 h 6689084"/>
              <a:gd name="connsiteX1646" fmla="*/ 6493385 w 6689088"/>
              <a:gd name="connsiteY1646" fmla="*/ 2690085 h 6689084"/>
              <a:gd name="connsiteX1647" fmla="*/ 6459616 w 6689088"/>
              <a:gd name="connsiteY1647" fmla="*/ 2723850 h 6689084"/>
              <a:gd name="connsiteX1648" fmla="*/ 6425850 w 6689088"/>
              <a:gd name="connsiteY1648" fmla="*/ 2690085 h 6689084"/>
              <a:gd name="connsiteX1649" fmla="*/ 6459616 w 6689088"/>
              <a:gd name="connsiteY1649" fmla="*/ 2656319 h 6689084"/>
              <a:gd name="connsiteX1650" fmla="*/ 6613200 w 6689088"/>
              <a:gd name="connsiteY1650" fmla="*/ 2653777 h 6689084"/>
              <a:gd name="connsiteX1651" fmla="*/ 6649509 w 6689088"/>
              <a:gd name="connsiteY1651" fmla="*/ 2690085 h 6689084"/>
              <a:gd name="connsiteX1652" fmla="*/ 6613200 w 6689088"/>
              <a:gd name="connsiteY1652" fmla="*/ 2726393 h 6689084"/>
              <a:gd name="connsiteX1653" fmla="*/ 6576892 w 6689088"/>
              <a:gd name="connsiteY1653" fmla="*/ 2690085 h 6689084"/>
              <a:gd name="connsiteX1654" fmla="*/ 6613200 w 6689088"/>
              <a:gd name="connsiteY1654" fmla="*/ 2653777 h 6689084"/>
              <a:gd name="connsiteX1655" fmla="*/ 3230349 w 6689088"/>
              <a:gd name="connsiteY1655" fmla="*/ 2536137 h 6689084"/>
              <a:gd name="connsiteX1656" fmla="*/ 3230715 w 6689088"/>
              <a:gd name="connsiteY1656" fmla="*/ 2536499 h 6689084"/>
              <a:gd name="connsiteX1657" fmla="*/ 3230349 w 6689088"/>
              <a:gd name="connsiteY1657" fmla="*/ 2536866 h 6689084"/>
              <a:gd name="connsiteX1658" fmla="*/ 3229987 w 6689088"/>
              <a:gd name="connsiteY1658" fmla="*/ 2536499 h 6689084"/>
              <a:gd name="connsiteX1659" fmla="*/ 3230349 w 6689088"/>
              <a:gd name="connsiteY1659" fmla="*/ 2536137 h 6689084"/>
              <a:gd name="connsiteX1660" fmla="*/ 2768873 w 6689088"/>
              <a:gd name="connsiteY1660" fmla="*/ 2536137 h 6689084"/>
              <a:gd name="connsiteX1661" fmla="*/ 2769235 w 6689088"/>
              <a:gd name="connsiteY1661" fmla="*/ 2536499 h 6689084"/>
              <a:gd name="connsiteX1662" fmla="*/ 2768873 w 6689088"/>
              <a:gd name="connsiteY1662" fmla="*/ 2536866 h 6689084"/>
              <a:gd name="connsiteX1663" fmla="*/ 2768511 w 6689088"/>
              <a:gd name="connsiteY1663" fmla="*/ 2536499 h 6689084"/>
              <a:gd name="connsiteX1664" fmla="*/ 2768873 w 6689088"/>
              <a:gd name="connsiteY1664" fmla="*/ 2536137 h 6689084"/>
              <a:gd name="connsiteX1665" fmla="*/ 2614925 w 6689088"/>
              <a:gd name="connsiteY1665" fmla="*/ 2536137 h 6689084"/>
              <a:gd name="connsiteX1666" fmla="*/ 2615288 w 6689088"/>
              <a:gd name="connsiteY1666" fmla="*/ 2536499 h 6689084"/>
              <a:gd name="connsiteX1667" fmla="*/ 2614925 w 6689088"/>
              <a:gd name="connsiteY1667" fmla="*/ 2536866 h 6689084"/>
              <a:gd name="connsiteX1668" fmla="*/ 2614563 w 6689088"/>
              <a:gd name="connsiteY1668" fmla="*/ 2536499 h 6689084"/>
              <a:gd name="connsiteX1669" fmla="*/ 2614925 w 6689088"/>
              <a:gd name="connsiteY1669" fmla="*/ 2536137 h 6689084"/>
              <a:gd name="connsiteX1670" fmla="*/ 2461344 w 6689088"/>
              <a:gd name="connsiteY1670" fmla="*/ 2535771 h 6689084"/>
              <a:gd name="connsiteX1671" fmla="*/ 2462068 w 6689088"/>
              <a:gd name="connsiteY1671" fmla="*/ 2536499 h 6689084"/>
              <a:gd name="connsiteX1672" fmla="*/ 2461344 w 6689088"/>
              <a:gd name="connsiteY1672" fmla="*/ 2537224 h 6689084"/>
              <a:gd name="connsiteX1673" fmla="*/ 2460616 w 6689088"/>
              <a:gd name="connsiteY1673" fmla="*/ 2536499 h 6689084"/>
              <a:gd name="connsiteX1674" fmla="*/ 2461344 w 6689088"/>
              <a:gd name="connsiteY1674" fmla="*/ 2535771 h 6689084"/>
              <a:gd name="connsiteX1675" fmla="*/ 3383938 w 6689088"/>
              <a:gd name="connsiteY1675" fmla="*/ 2535047 h 6689084"/>
              <a:gd name="connsiteX1676" fmla="*/ 3385390 w 6689088"/>
              <a:gd name="connsiteY1676" fmla="*/ 2536499 h 6689084"/>
              <a:gd name="connsiteX1677" fmla="*/ 3383938 w 6689088"/>
              <a:gd name="connsiteY1677" fmla="*/ 2537952 h 6689084"/>
              <a:gd name="connsiteX1678" fmla="*/ 3382486 w 6689088"/>
              <a:gd name="connsiteY1678" fmla="*/ 2536499 h 6689084"/>
              <a:gd name="connsiteX1679" fmla="*/ 3383938 w 6689088"/>
              <a:gd name="connsiteY1679" fmla="*/ 2535047 h 6689084"/>
              <a:gd name="connsiteX1680" fmla="*/ 3537886 w 6689088"/>
              <a:gd name="connsiteY1680" fmla="*/ 2534323 h 6689084"/>
              <a:gd name="connsiteX1681" fmla="*/ 3540062 w 6689088"/>
              <a:gd name="connsiteY1681" fmla="*/ 2536503 h 6689084"/>
              <a:gd name="connsiteX1682" fmla="*/ 3537886 w 6689088"/>
              <a:gd name="connsiteY1682" fmla="*/ 2538680 h 6689084"/>
              <a:gd name="connsiteX1683" fmla="*/ 3535705 w 6689088"/>
              <a:gd name="connsiteY1683" fmla="*/ 2536503 h 6689084"/>
              <a:gd name="connsiteX1684" fmla="*/ 3537886 w 6689088"/>
              <a:gd name="connsiteY1684" fmla="*/ 2534323 h 6689084"/>
              <a:gd name="connsiteX1685" fmla="*/ 3691467 w 6689088"/>
              <a:gd name="connsiteY1685" fmla="*/ 2533233 h 6689084"/>
              <a:gd name="connsiteX1686" fmla="*/ 3694738 w 6689088"/>
              <a:gd name="connsiteY1686" fmla="*/ 2536499 h 6689084"/>
              <a:gd name="connsiteX1687" fmla="*/ 3691467 w 6689088"/>
              <a:gd name="connsiteY1687" fmla="*/ 2539770 h 6689084"/>
              <a:gd name="connsiteX1688" fmla="*/ 3688200 w 6689088"/>
              <a:gd name="connsiteY1688" fmla="*/ 2536499 h 6689084"/>
              <a:gd name="connsiteX1689" fmla="*/ 3691467 w 6689088"/>
              <a:gd name="connsiteY1689" fmla="*/ 2533233 h 6689084"/>
              <a:gd name="connsiteX1690" fmla="*/ 3845414 w 6689088"/>
              <a:gd name="connsiteY1690" fmla="*/ 2531780 h 6689084"/>
              <a:gd name="connsiteX1691" fmla="*/ 3849771 w 6689088"/>
              <a:gd name="connsiteY1691" fmla="*/ 2536137 h 6689084"/>
              <a:gd name="connsiteX1692" fmla="*/ 3845414 w 6689088"/>
              <a:gd name="connsiteY1692" fmla="*/ 2540494 h 6689084"/>
              <a:gd name="connsiteX1693" fmla="*/ 3841057 w 6689088"/>
              <a:gd name="connsiteY1693" fmla="*/ 2536137 h 6689084"/>
              <a:gd name="connsiteX1694" fmla="*/ 3845414 w 6689088"/>
              <a:gd name="connsiteY1694" fmla="*/ 2531780 h 6689084"/>
              <a:gd name="connsiteX1695" fmla="*/ 3999000 w 6689088"/>
              <a:gd name="connsiteY1695" fmla="*/ 2530690 h 6689084"/>
              <a:gd name="connsiteX1696" fmla="*/ 4004809 w 6689088"/>
              <a:gd name="connsiteY1696" fmla="*/ 2536499 h 6689084"/>
              <a:gd name="connsiteX1697" fmla="*/ 3999000 w 6689088"/>
              <a:gd name="connsiteY1697" fmla="*/ 2542309 h 6689084"/>
              <a:gd name="connsiteX1698" fmla="*/ 3993190 w 6689088"/>
              <a:gd name="connsiteY1698" fmla="*/ 2536499 h 6689084"/>
              <a:gd name="connsiteX1699" fmla="*/ 3999000 w 6689088"/>
              <a:gd name="connsiteY1699" fmla="*/ 2530690 h 6689084"/>
              <a:gd name="connsiteX1700" fmla="*/ 4152947 w 6689088"/>
              <a:gd name="connsiteY1700" fmla="*/ 2528876 h 6689084"/>
              <a:gd name="connsiteX1701" fmla="*/ 4160208 w 6689088"/>
              <a:gd name="connsiteY1701" fmla="*/ 2536137 h 6689084"/>
              <a:gd name="connsiteX1702" fmla="*/ 4152947 w 6689088"/>
              <a:gd name="connsiteY1702" fmla="*/ 2543399 h 6689084"/>
              <a:gd name="connsiteX1703" fmla="*/ 4145686 w 6689088"/>
              <a:gd name="connsiteY1703" fmla="*/ 2536137 h 6689084"/>
              <a:gd name="connsiteX1704" fmla="*/ 4152947 w 6689088"/>
              <a:gd name="connsiteY1704" fmla="*/ 2528876 h 6689084"/>
              <a:gd name="connsiteX1705" fmla="*/ 4306528 w 6689088"/>
              <a:gd name="connsiteY1705" fmla="*/ 2527058 h 6689084"/>
              <a:gd name="connsiteX1706" fmla="*/ 4315608 w 6689088"/>
              <a:gd name="connsiteY1706" fmla="*/ 2536133 h 6689084"/>
              <a:gd name="connsiteX1707" fmla="*/ 4306528 w 6689088"/>
              <a:gd name="connsiteY1707" fmla="*/ 2545213 h 6689084"/>
              <a:gd name="connsiteX1708" fmla="*/ 4297452 w 6689088"/>
              <a:gd name="connsiteY1708" fmla="*/ 2536133 h 6689084"/>
              <a:gd name="connsiteX1709" fmla="*/ 4306528 w 6689088"/>
              <a:gd name="connsiteY1709" fmla="*/ 2527058 h 6689084"/>
              <a:gd name="connsiteX1710" fmla="*/ 4460480 w 6689088"/>
              <a:gd name="connsiteY1710" fmla="*/ 2526333 h 6689084"/>
              <a:gd name="connsiteX1711" fmla="*/ 4470646 w 6689088"/>
              <a:gd name="connsiteY1711" fmla="*/ 2536499 h 6689084"/>
              <a:gd name="connsiteX1712" fmla="*/ 4460480 w 6689088"/>
              <a:gd name="connsiteY1712" fmla="*/ 2546666 h 6689084"/>
              <a:gd name="connsiteX1713" fmla="*/ 4450314 w 6689088"/>
              <a:gd name="connsiteY1713" fmla="*/ 2536499 h 6689084"/>
              <a:gd name="connsiteX1714" fmla="*/ 4460480 w 6689088"/>
              <a:gd name="connsiteY1714" fmla="*/ 2526333 h 6689084"/>
              <a:gd name="connsiteX1715" fmla="*/ 4614061 w 6689088"/>
              <a:gd name="connsiteY1715" fmla="*/ 2524153 h 6689084"/>
              <a:gd name="connsiteX1716" fmla="*/ 4626046 w 6689088"/>
              <a:gd name="connsiteY1716" fmla="*/ 2536133 h 6689084"/>
              <a:gd name="connsiteX1717" fmla="*/ 4614061 w 6689088"/>
              <a:gd name="connsiteY1717" fmla="*/ 2548118 h 6689084"/>
              <a:gd name="connsiteX1718" fmla="*/ 4602080 w 6689088"/>
              <a:gd name="connsiteY1718" fmla="*/ 2536133 h 6689084"/>
              <a:gd name="connsiteX1719" fmla="*/ 4614061 w 6689088"/>
              <a:gd name="connsiteY1719" fmla="*/ 2524153 h 6689084"/>
              <a:gd name="connsiteX1720" fmla="*/ 4768012 w 6689088"/>
              <a:gd name="connsiteY1720" fmla="*/ 2522338 h 6689084"/>
              <a:gd name="connsiteX1721" fmla="*/ 4781808 w 6689088"/>
              <a:gd name="connsiteY1721" fmla="*/ 2536133 h 6689084"/>
              <a:gd name="connsiteX1722" fmla="*/ 4768012 w 6689088"/>
              <a:gd name="connsiteY1722" fmla="*/ 2549933 h 6689084"/>
              <a:gd name="connsiteX1723" fmla="*/ 4754214 w 6689088"/>
              <a:gd name="connsiteY1723" fmla="*/ 2536133 h 6689084"/>
              <a:gd name="connsiteX1724" fmla="*/ 4768012 w 6689088"/>
              <a:gd name="connsiteY1724" fmla="*/ 2522338 h 6689084"/>
              <a:gd name="connsiteX1725" fmla="*/ 4921594 w 6689088"/>
              <a:gd name="connsiteY1725" fmla="*/ 2521252 h 6689084"/>
              <a:gd name="connsiteX1726" fmla="*/ 4936845 w 6689088"/>
              <a:gd name="connsiteY1726" fmla="*/ 2536503 h 6689084"/>
              <a:gd name="connsiteX1727" fmla="*/ 4921594 w 6689088"/>
              <a:gd name="connsiteY1727" fmla="*/ 2551751 h 6689084"/>
              <a:gd name="connsiteX1728" fmla="*/ 4906346 w 6689088"/>
              <a:gd name="connsiteY1728" fmla="*/ 2536503 h 6689084"/>
              <a:gd name="connsiteX1729" fmla="*/ 4921594 w 6689088"/>
              <a:gd name="connsiteY1729" fmla="*/ 2521252 h 6689084"/>
              <a:gd name="connsiteX1730" fmla="*/ 5075545 w 6689088"/>
              <a:gd name="connsiteY1730" fmla="*/ 2519071 h 6689084"/>
              <a:gd name="connsiteX1731" fmla="*/ 5092611 w 6689088"/>
              <a:gd name="connsiteY1731" fmla="*/ 2536137 h 6689084"/>
              <a:gd name="connsiteX1732" fmla="*/ 5075545 w 6689088"/>
              <a:gd name="connsiteY1732" fmla="*/ 2553203 h 6689084"/>
              <a:gd name="connsiteX1733" fmla="*/ 5058479 w 6689088"/>
              <a:gd name="connsiteY1733" fmla="*/ 2536137 h 6689084"/>
              <a:gd name="connsiteX1734" fmla="*/ 5075545 w 6689088"/>
              <a:gd name="connsiteY1734" fmla="*/ 2519071 h 6689084"/>
              <a:gd name="connsiteX1735" fmla="*/ 5229126 w 6689088"/>
              <a:gd name="connsiteY1735" fmla="*/ 2517257 h 6689084"/>
              <a:gd name="connsiteX1736" fmla="*/ 5248369 w 6689088"/>
              <a:gd name="connsiteY1736" fmla="*/ 2536499 h 6689084"/>
              <a:gd name="connsiteX1737" fmla="*/ 5229126 w 6689088"/>
              <a:gd name="connsiteY1737" fmla="*/ 2555742 h 6689084"/>
              <a:gd name="connsiteX1738" fmla="*/ 5209884 w 6689088"/>
              <a:gd name="connsiteY1738" fmla="*/ 2536499 h 6689084"/>
              <a:gd name="connsiteX1739" fmla="*/ 5229126 w 6689088"/>
              <a:gd name="connsiteY1739" fmla="*/ 2517257 h 6689084"/>
              <a:gd name="connsiteX1740" fmla="*/ 5383074 w 6689088"/>
              <a:gd name="connsiteY1740" fmla="*/ 2514714 h 6689084"/>
              <a:gd name="connsiteX1741" fmla="*/ 5404496 w 6689088"/>
              <a:gd name="connsiteY1741" fmla="*/ 2536137 h 6689084"/>
              <a:gd name="connsiteX1742" fmla="*/ 5383074 w 6689088"/>
              <a:gd name="connsiteY1742" fmla="*/ 2557560 h 6689084"/>
              <a:gd name="connsiteX1743" fmla="*/ 5361651 w 6689088"/>
              <a:gd name="connsiteY1743" fmla="*/ 2536137 h 6689084"/>
              <a:gd name="connsiteX1744" fmla="*/ 5383074 w 6689088"/>
              <a:gd name="connsiteY1744" fmla="*/ 2514714 h 6689084"/>
              <a:gd name="connsiteX1745" fmla="*/ 5536659 w 6689088"/>
              <a:gd name="connsiteY1745" fmla="*/ 2513624 h 6689084"/>
              <a:gd name="connsiteX1746" fmla="*/ 5559534 w 6689088"/>
              <a:gd name="connsiteY1746" fmla="*/ 2536499 h 6689084"/>
              <a:gd name="connsiteX1747" fmla="*/ 5536659 w 6689088"/>
              <a:gd name="connsiteY1747" fmla="*/ 2559371 h 6689084"/>
              <a:gd name="connsiteX1748" fmla="*/ 5513784 w 6689088"/>
              <a:gd name="connsiteY1748" fmla="*/ 2536499 h 6689084"/>
              <a:gd name="connsiteX1749" fmla="*/ 5536659 w 6689088"/>
              <a:gd name="connsiteY1749" fmla="*/ 2513624 h 6689084"/>
              <a:gd name="connsiteX1750" fmla="*/ 5690602 w 6689088"/>
              <a:gd name="connsiteY1750" fmla="*/ 2511448 h 6689084"/>
              <a:gd name="connsiteX1751" fmla="*/ 5715658 w 6689088"/>
              <a:gd name="connsiteY1751" fmla="*/ 2536499 h 6689084"/>
              <a:gd name="connsiteX1752" fmla="*/ 5690602 w 6689088"/>
              <a:gd name="connsiteY1752" fmla="*/ 2561555 h 6689084"/>
              <a:gd name="connsiteX1753" fmla="*/ 5665551 w 6689088"/>
              <a:gd name="connsiteY1753" fmla="*/ 2536499 h 6689084"/>
              <a:gd name="connsiteX1754" fmla="*/ 5690602 w 6689088"/>
              <a:gd name="connsiteY1754" fmla="*/ 2511448 h 6689084"/>
              <a:gd name="connsiteX1755" fmla="*/ 5844554 w 6689088"/>
              <a:gd name="connsiteY1755" fmla="*/ 2509267 h 6689084"/>
              <a:gd name="connsiteX1756" fmla="*/ 5871786 w 6689088"/>
              <a:gd name="connsiteY1756" fmla="*/ 2536499 h 6689084"/>
              <a:gd name="connsiteX1757" fmla="*/ 5844554 w 6689088"/>
              <a:gd name="connsiteY1757" fmla="*/ 2563732 h 6689084"/>
              <a:gd name="connsiteX1758" fmla="*/ 5817322 w 6689088"/>
              <a:gd name="connsiteY1758" fmla="*/ 2536499 h 6689084"/>
              <a:gd name="connsiteX1759" fmla="*/ 5844554 w 6689088"/>
              <a:gd name="connsiteY1759" fmla="*/ 2509267 h 6689084"/>
              <a:gd name="connsiteX1760" fmla="*/ 5998136 w 6689088"/>
              <a:gd name="connsiteY1760" fmla="*/ 2506729 h 6689084"/>
              <a:gd name="connsiteX1761" fmla="*/ 6027910 w 6689088"/>
              <a:gd name="connsiteY1761" fmla="*/ 2536503 h 6689084"/>
              <a:gd name="connsiteX1762" fmla="*/ 5998136 w 6689088"/>
              <a:gd name="connsiteY1762" fmla="*/ 2566274 h 6689084"/>
              <a:gd name="connsiteX1763" fmla="*/ 5968364 w 6689088"/>
              <a:gd name="connsiteY1763" fmla="*/ 2536503 h 6689084"/>
              <a:gd name="connsiteX1764" fmla="*/ 5998136 w 6689088"/>
              <a:gd name="connsiteY1764" fmla="*/ 2506729 h 6689084"/>
              <a:gd name="connsiteX1765" fmla="*/ 6152086 w 6689088"/>
              <a:gd name="connsiteY1765" fmla="*/ 2504548 h 6689084"/>
              <a:gd name="connsiteX1766" fmla="*/ 6184038 w 6689088"/>
              <a:gd name="connsiteY1766" fmla="*/ 2536499 h 6689084"/>
              <a:gd name="connsiteX1767" fmla="*/ 6152086 w 6689088"/>
              <a:gd name="connsiteY1767" fmla="*/ 2568451 h 6689084"/>
              <a:gd name="connsiteX1768" fmla="*/ 6120135 w 6689088"/>
              <a:gd name="connsiteY1768" fmla="*/ 2536499 h 6689084"/>
              <a:gd name="connsiteX1769" fmla="*/ 6152086 w 6689088"/>
              <a:gd name="connsiteY1769" fmla="*/ 2504548 h 6689084"/>
              <a:gd name="connsiteX1770" fmla="*/ 6305668 w 6689088"/>
              <a:gd name="connsiteY1770" fmla="*/ 2502734 h 6689084"/>
              <a:gd name="connsiteX1771" fmla="*/ 6339438 w 6689088"/>
              <a:gd name="connsiteY1771" fmla="*/ 2536499 h 6689084"/>
              <a:gd name="connsiteX1772" fmla="*/ 6305668 w 6689088"/>
              <a:gd name="connsiteY1772" fmla="*/ 2570269 h 6689084"/>
              <a:gd name="connsiteX1773" fmla="*/ 6271902 w 6689088"/>
              <a:gd name="connsiteY1773" fmla="*/ 2536499 h 6689084"/>
              <a:gd name="connsiteX1774" fmla="*/ 6305668 w 6689088"/>
              <a:gd name="connsiteY1774" fmla="*/ 2502734 h 6689084"/>
              <a:gd name="connsiteX1775" fmla="*/ 6459616 w 6689088"/>
              <a:gd name="connsiteY1775" fmla="*/ 2500191 h 6689084"/>
              <a:gd name="connsiteX1776" fmla="*/ 6495924 w 6689088"/>
              <a:gd name="connsiteY1776" fmla="*/ 2536499 h 6689084"/>
              <a:gd name="connsiteX1777" fmla="*/ 6459616 w 6689088"/>
              <a:gd name="connsiteY1777" fmla="*/ 2572808 h 6689084"/>
              <a:gd name="connsiteX1778" fmla="*/ 6423307 w 6689088"/>
              <a:gd name="connsiteY1778" fmla="*/ 2536499 h 6689084"/>
              <a:gd name="connsiteX1779" fmla="*/ 6459616 w 6689088"/>
              <a:gd name="connsiteY1779" fmla="*/ 2500191 h 6689084"/>
              <a:gd name="connsiteX1780" fmla="*/ 6613200 w 6689088"/>
              <a:gd name="connsiteY1780" fmla="*/ 2497648 h 6689084"/>
              <a:gd name="connsiteX1781" fmla="*/ 6652048 w 6689088"/>
              <a:gd name="connsiteY1781" fmla="*/ 2536499 h 6689084"/>
              <a:gd name="connsiteX1782" fmla="*/ 6613200 w 6689088"/>
              <a:gd name="connsiteY1782" fmla="*/ 2575350 h 6689084"/>
              <a:gd name="connsiteX1783" fmla="*/ 6574350 w 6689088"/>
              <a:gd name="connsiteY1783" fmla="*/ 2536499 h 6689084"/>
              <a:gd name="connsiteX1784" fmla="*/ 6613200 w 6689088"/>
              <a:gd name="connsiteY1784" fmla="*/ 2497648 h 6689084"/>
              <a:gd name="connsiteX1785" fmla="*/ 3076406 w 6689088"/>
              <a:gd name="connsiteY1785" fmla="*/ 2382190 h 6689084"/>
              <a:gd name="connsiteX1786" fmla="*/ 3076768 w 6689088"/>
              <a:gd name="connsiteY1786" fmla="*/ 2382552 h 6689084"/>
              <a:gd name="connsiteX1787" fmla="*/ 3076406 w 6689088"/>
              <a:gd name="connsiteY1787" fmla="*/ 2382914 h 6689084"/>
              <a:gd name="connsiteX1788" fmla="*/ 3076043 w 6689088"/>
              <a:gd name="connsiteY1788" fmla="*/ 2382552 h 6689084"/>
              <a:gd name="connsiteX1789" fmla="*/ 3076406 w 6689088"/>
              <a:gd name="connsiteY1789" fmla="*/ 2382190 h 6689084"/>
              <a:gd name="connsiteX1790" fmla="*/ 2614925 w 6689088"/>
              <a:gd name="connsiteY1790" fmla="*/ 2382190 h 6689084"/>
              <a:gd name="connsiteX1791" fmla="*/ 2615288 w 6689088"/>
              <a:gd name="connsiteY1791" fmla="*/ 2382552 h 6689084"/>
              <a:gd name="connsiteX1792" fmla="*/ 2614925 w 6689088"/>
              <a:gd name="connsiteY1792" fmla="*/ 2382914 h 6689084"/>
              <a:gd name="connsiteX1793" fmla="*/ 2614563 w 6689088"/>
              <a:gd name="connsiteY1793" fmla="*/ 2382552 h 6689084"/>
              <a:gd name="connsiteX1794" fmla="*/ 2614925 w 6689088"/>
              <a:gd name="connsiteY1794" fmla="*/ 2382190 h 6689084"/>
              <a:gd name="connsiteX1795" fmla="*/ 2461340 w 6689088"/>
              <a:gd name="connsiteY1795" fmla="*/ 2382190 h 6689084"/>
              <a:gd name="connsiteX1796" fmla="*/ 2461702 w 6689088"/>
              <a:gd name="connsiteY1796" fmla="*/ 2382552 h 6689084"/>
              <a:gd name="connsiteX1797" fmla="*/ 2461340 w 6689088"/>
              <a:gd name="connsiteY1797" fmla="*/ 2382914 h 6689084"/>
              <a:gd name="connsiteX1798" fmla="*/ 2460978 w 6689088"/>
              <a:gd name="connsiteY1798" fmla="*/ 2382552 h 6689084"/>
              <a:gd name="connsiteX1799" fmla="*/ 2461340 w 6689088"/>
              <a:gd name="connsiteY1799" fmla="*/ 2382190 h 6689084"/>
              <a:gd name="connsiteX1800" fmla="*/ 2307393 w 6689088"/>
              <a:gd name="connsiteY1800" fmla="*/ 2381824 h 6689084"/>
              <a:gd name="connsiteX1801" fmla="*/ 2308121 w 6689088"/>
              <a:gd name="connsiteY1801" fmla="*/ 2382552 h 6689084"/>
              <a:gd name="connsiteX1802" fmla="*/ 2307393 w 6689088"/>
              <a:gd name="connsiteY1802" fmla="*/ 2383276 h 6689084"/>
              <a:gd name="connsiteX1803" fmla="*/ 2306669 w 6689088"/>
              <a:gd name="connsiteY1803" fmla="*/ 2382552 h 6689084"/>
              <a:gd name="connsiteX1804" fmla="*/ 2307393 w 6689088"/>
              <a:gd name="connsiteY1804" fmla="*/ 2381824 h 6689084"/>
              <a:gd name="connsiteX1805" fmla="*/ 3230353 w 6689088"/>
              <a:gd name="connsiteY1805" fmla="*/ 2381100 h 6689084"/>
              <a:gd name="connsiteX1806" fmla="*/ 3231805 w 6689088"/>
              <a:gd name="connsiteY1806" fmla="*/ 2382552 h 6689084"/>
              <a:gd name="connsiteX1807" fmla="*/ 3230353 w 6689088"/>
              <a:gd name="connsiteY1807" fmla="*/ 2384005 h 6689084"/>
              <a:gd name="connsiteX1808" fmla="*/ 3228900 w 6689088"/>
              <a:gd name="connsiteY1808" fmla="*/ 2382552 h 6689084"/>
              <a:gd name="connsiteX1809" fmla="*/ 3230353 w 6689088"/>
              <a:gd name="connsiteY1809" fmla="*/ 2381100 h 6689084"/>
              <a:gd name="connsiteX1810" fmla="*/ 3383938 w 6689088"/>
              <a:gd name="connsiteY1810" fmla="*/ 2380375 h 6689084"/>
              <a:gd name="connsiteX1811" fmla="*/ 3386115 w 6689088"/>
              <a:gd name="connsiteY1811" fmla="*/ 2382556 h 6689084"/>
              <a:gd name="connsiteX1812" fmla="*/ 3383938 w 6689088"/>
              <a:gd name="connsiteY1812" fmla="*/ 2384732 h 6689084"/>
              <a:gd name="connsiteX1813" fmla="*/ 3381758 w 6689088"/>
              <a:gd name="connsiteY1813" fmla="*/ 2382556 h 6689084"/>
              <a:gd name="connsiteX1814" fmla="*/ 3383938 w 6689088"/>
              <a:gd name="connsiteY1814" fmla="*/ 2380375 h 6689084"/>
              <a:gd name="connsiteX1815" fmla="*/ 3537882 w 6689088"/>
              <a:gd name="connsiteY1815" fmla="*/ 2379285 h 6689084"/>
              <a:gd name="connsiteX1816" fmla="*/ 3541148 w 6689088"/>
              <a:gd name="connsiteY1816" fmla="*/ 2382552 h 6689084"/>
              <a:gd name="connsiteX1817" fmla="*/ 3537882 w 6689088"/>
              <a:gd name="connsiteY1817" fmla="*/ 2385823 h 6689084"/>
              <a:gd name="connsiteX1818" fmla="*/ 3534615 w 6689088"/>
              <a:gd name="connsiteY1818" fmla="*/ 2382552 h 6689084"/>
              <a:gd name="connsiteX1819" fmla="*/ 3537882 w 6689088"/>
              <a:gd name="connsiteY1819" fmla="*/ 2379285 h 6689084"/>
              <a:gd name="connsiteX1820" fmla="*/ 3691467 w 6689088"/>
              <a:gd name="connsiteY1820" fmla="*/ 2378195 h 6689084"/>
              <a:gd name="connsiteX1821" fmla="*/ 3695824 w 6689088"/>
              <a:gd name="connsiteY1821" fmla="*/ 2382552 h 6689084"/>
              <a:gd name="connsiteX1822" fmla="*/ 3691467 w 6689088"/>
              <a:gd name="connsiteY1822" fmla="*/ 2386909 h 6689084"/>
              <a:gd name="connsiteX1823" fmla="*/ 3687110 w 6689088"/>
              <a:gd name="connsiteY1823" fmla="*/ 2382552 h 6689084"/>
              <a:gd name="connsiteX1824" fmla="*/ 3691467 w 6689088"/>
              <a:gd name="connsiteY1824" fmla="*/ 2378195 h 6689084"/>
              <a:gd name="connsiteX1825" fmla="*/ 3845414 w 6689088"/>
              <a:gd name="connsiteY1825" fmla="*/ 2376743 h 6689084"/>
              <a:gd name="connsiteX1826" fmla="*/ 3851224 w 6689088"/>
              <a:gd name="connsiteY1826" fmla="*/ 2382552 h 6689084"/>
              <a:gd name="connsiteX1827" fmla="*/ 3845414 w 6689088"/>
              <a:gd name="connsiteY1827" fmla="*/ 2388361 h 6689084"/>
              <a:gd name="connsiteX1828" fmla="*/ 3839605 w 6689088"/>
              <a:gd name="connsiteY1828" fmla="*/ 2382552 h 6689084"/>
              <a:gd name="connsiteX1829" fmla="*/ 3845414 w 6689088"/>
              <a:gd name="connsiteY1829" fmla="*/ 2376743 h 6689084"/>
              <a:gd name="connsiteX1830" fmla="*/ 3999000 w 6689088"/>
              <a:gd name="connsiteY1830" fmla="*/ 2375290 h 6689084"/>
              <a:gd name="connsiteX1831" fmla="*/ 4006261 w 6689088"/>
              <a:gd name="connsiteY1831" fmla="*/ 2382552 h 6689084"/>
              <a:gd name="connsiteX1832" fmla="*/ 3999000 w 6689088"/>
              <a:gd name="connsiteY1832" fmla="*/ 2389814 h 6689084"/>
              <a:gd name="connsiteX1833" fmla="*/ 3991738 w 6689088"/>
              <a:gd name="connsiteY1833" fmla="*/ 2382552 h 6689084"/>
              <a:gd name="connsiteX1834" fmla="*/ 3999000 w 6689088"/>
              <a:gd name="connsiteY1834" fmla="*/ 2375290 h 6689084"/>
              <a:gd name="connsiteX1835" fmla="*/ 4152947 w 6689088"/>
              <a:gd name="connsiteY1835" fmla="*/ 2373476 h 6689084"/>
              <a:gd name="connsiteX1836" fmla="*/ 4162027 w 6689088"/>
              <a:gd name="connsiteY1836" fmla="*/ 2382552 h 6689084"/>
              <a:gd name="connsiteX1837" fmla="*/ 4152947 w 6689088"/>
              <a:gd name="connsiteY1837" fmla="*/ 2391632 h 6689084"/>
              <a:gd name="connsiteX1838" fmla="*/ 4143871 w 6689088"/>
              <a:gd name="connsiteY1838" fmla="*/ 2382552 h 6689084"/>
              <a:gd name="connsiteX1839" fmla="*/ 4152947 w 6689088"/>
              <a:gd name="connsiteY1839" fmla="*/ 2373476 h 6689084"/>
              <a:gd name="connsiteX1840" fmla="*/ 4306532 w 6689088"/>
              <a:gd name="connsiteY1840" fmla="*/ 2372386 h 6689084"/>
              <a:gd name="connsiteX1841" fmla="*/ 4316698 w 6689088"/>
              <a:gd name="connsiteY1841" fmla="*/ 2382552 h 6689084"/>
              <a:gd name="connsiteX1842" fmla="*/ 4306532 w 6689088"/>
              <a:gd name="connsiteY1842" fmla="*/ 2392718 h 6689084"/>
              <a:gd name="connsiteX1843" fmla="*/ 4296366 w 6689088"/>
              <a:gd name="connsiteY1843" fmla="*/ 2382552 h 6689084"/>
              <a:gd name="connsiteX1844" fmla="*/ 4306532 w 6689088"/>
              <a:gd name="connsiteY1844" fmla="*/ 2372386 h 6689084"/>
              <a:gd name="connsiteX1845" fmla="*/ 4460476 w 6689088"/>
              <a:gd name="connsiteY1845" fmla="*/ 2370571 h 6689084"/>
              <a:gd name="connsiteX1846" fmla="*/ 4472460 w 6689088"/>
              <a:gd name="connsiteY1846" fmla="*/ 2382552 h 6689084"/>
              <a:gd name="connsiteX1847" fmla="*/ 4460476 w 6689088"/>
              <a:gd name="connsiteY1847" fmla="*/ 2394533 h 6689084"/>
              <a:gd name="connsiteX1848" fmla="*/ 4448495 w 6689088"/>
              <a:gd name="connsiteY1848" fmla="*/ 2382552 h 6689084"/>
              <a:gd name="connsiteX1849" fmla="*/ 4460476 w 6689088"/>
              <a:gd name="connsiteY1849" fmla="*/ 2370571 h 6689084"/>
              <a:gd name="connsiteX1850" fmla="*/ 4614065 w 6689088"/>
              <a:gd name="connsiteY1850" fmla="*/ 2368753 h 6689084"/>
              <a:gd name="connsiteX1851" fmla="*/ 4627860 w 6689088"/>
              <a:gd name="connsiteY1851" fmla="*/ 2382552 h 6689084"/>
              <a:gd name="connsiteX1852" fmla="*/ 4614065 w 6689088"/>
              <a:gd name="connsiteY1852" fmla="*/ 2396347 h 6689084"/>
              <a:gd name="connsiteX1853" fmla="*/ 4600266 w 6689088"/>
              <a:gd name="connsiteY1853" fmla="*/ 2382552 h 6689084"/>
              <a:gd name="connsiteX1854" fmla="*/ 4614065 w 6689088"/>
              <a:gd name="connsiteY1854" fmla="*/ 2368753 h 6689084"/>
              <a:gd name="connsiteX1855" fmla="*/ 4768008 w 6689088"/>
              <a:gd name="connsiteY1855" fmla="*/ 2367304 h 6689084"/>
              <a:gd name="connsiteX1856" fmla="*/ 4783260 w 6689088"/>
              <a:gd name="connsiteY1856" fmla="*/ 2382556 h 6689084"/>
              <a:gd name="connsiteX1857" fmla="*/ 4768008 w 6689088"/>
              <a:gd name="connsiteY1857" fmla="*/ 2397803 h 6689084"/>
              <a:gd name="connsiteX1858" fmla="*/ 4752761 w 6689088"/>
              <a:gd name="connsiteY1858" fmla="*/ 2382556 h 6689084"/>
              <a:gd name="connsiteX1859" fmla="*/ 4768008 w 6689088"/>
              <a:gd name="connsiteY1859" fmla="*/ 2367304 h 6689084"/>
              <a:gd name="connsiteX1860" fmla="*/ 4921594 w 6689088"/>
              <a:gd name="connsiteY1860" fmla="*/ 2365486 h 6689084"/>
              <a:gd name="connsiteX1861" fmla="*/ 4938660 w 6689088"/>
              <a:gd name="connsiteY1861" fmla="*/ 2382552 h 6689084"/>
              <a:gd name="connsiteX1862" fmla="*/ 4921594 w 6689088"/>
              <a:gd name="connsiteY1862" fmla="*/ 2399614 h 6689084"/>
              <a:gd name="connsiteX1863" fmla="*/ 4904528 w 6689088"/>
              <a:gd name="connsiteY1863" fmla="*/ 2382552 h 6689084"/>
              <a:gd name="connsiteX1864" fmla="*/ 4921594 w 6689088"/>
              <a:gd name="connsiteY1864" fmla="*/ 2365486 h 6689084"/>
              <a:gd name="connsiteX1865" fmla="*/ 5075541 w 6689088"/>
              <a:gd name="connsiteY1865" fmla="*/ 2363309 h 6689084"/>
              <a:gd name="connsiteX1866" fmla="*/ 5094784 w 6689088"/>
              <a:gd name="connsiteY1866" fmla="*/ 2382552 h 6689084"/>
              <a:gd name="connsiteX1867" fmla="*/ 5075541 w 6689088"/>
              <a:gd name="connsiteY1867" fmla="*/ 2401799 h 6689084"/>
              <a:gd name="connsiteX1868" fmla="*/ 5056298 w 6689088"/>
              <a:gd name="connsiteY1868" fmla="*/ 2382552 h 6689084"/>
              <a:gd name="connsiteX1869" fmla="*/ 5075541 w 6689088"/>
              <a:gd name="connsiteY1869" fmla="*/ 2363309 h 6689084"/>
              <a:gd name="connsiteX1870" fmla="*/ 5229126 w 6689088"/>
              <a:gd name="connsiteY1870" fmla="*/ 2361129 h 6689084"/>
              <a:gd name="connsiteX1871" fmla="*/ 5250546 w 6689088"/>
              <a:gd name="connsiteY1871" fmla="*/ 2382552 h 6689084"/>
              <a:gd name="connsiteX1872" fmla="*/ 5229126 w 6689088"/>
              <a:gd name="connsiteY1872" fmla="*/ 2403975 h 6689084"/>
              <a:gd name="connsiteX1873" fmla="*/ 5207704 w 6689088"/>
              <a:gd name="connsiteY1873" fmla="*/ 2382552 h 6689084"/>
              <a:gd name="connsiteX1874" fmla="*/ 5229126 w 6689088"/>
              <a:gd name="connsiteY1874" fmla="*/ 2361129 h 6689084"/>
              <a:gd name="connsiteX1875" fmla="*/ 5383074 w 6689088"/>
              <a:gd name="connsiteY1875" fmla="*/ 2359677 h 6689084"/>
              <a:gd name="connsiteX1876" fmla="*/ 5405946 w 6689088"/>
              <a:gd name="connsiteY1876" fmla="*/ 2382552 h 6689084"/>
              <a:gd name="connsiteX1877" fmla="*/ 5383074 w 6689088"/>
              <a:gd name="connsiteY1877" fmla="*/ 2405427 h 6689084"/>
              <a:gd name="connsiteX1878" fmla="*/ 5360198 w 6689088"/>
              <a:gd name="connsiteY1878" fmla="*/ 2382552 h 6689084"/>
              <a:gd name="connsiteX1879" fmla="*/ 5383074 w 6689088"/>
              <a:gd name="connsiteY1879" fmla="*/ 2359677 h 6689084"/>
              <a:gd name="connsiteX1880" fmla="*/ 5536656 w 6689088"/>
              <a:gd name="connsiteY1880" fmla="*/ 2357500 h 6689084"/>
              <a:gd name="connsiteX1881" fmla="*/ 5561711 w 6689088"/>
              <a:gd name="connsiteY1881" fmla="*/ 2382552 h 6689084"/>
              <a:gd name="connsiteX1882" fmla="*/ 5536656 w 6689088"/>
              <a:gd name="connsiteY1882" fmla="*/ 2407608 h 6689084"/>
              <a:gd name="connsiteX1883" fmla="*/ 5511604 w 6689088"/>
              <a:gd name="connsiteY1883" fmla="*/ 2382552 h 6689084"/>
              <a:gd name="connsiteX1884" fmla="*/ 5536656 w 6689088"/>
              <a:gd name="connsiteY1884" fmla="*/ 2357500 h 6689084"/>
              <a:gd name="connsiteX1885" fmla="*/ 5690606 w 6689088"/>
              <a:gd name="connsiteY1885" fmla="*/ 2355320 h 6689084"/>
              <a:gd name="connsiteX1886" fmla="*/ 5717838 w 6689088"/>
              <a:gd name="connsiteY1886" fmla="*/ 2382552 h 6689084"/>
              <a:gd name="connsiteX1887" fmla="*/ 5690606 w 6689088"/>
              <a:gd name="connsiteY1887" fmla="*/ 2409784 h 6689084"/>
              <a:gd name="connsiteX1888" fmla="*/ 5663374 w 6689088"/>
              <a:gd name="connsiteY1888" fmla="*/ 2382552 h 6689084"/>
              <a:gd name="connsiteX1889" fmla="*/ 5690606 w 6689088"/>
              <a:gd name="connsiteY1889" fmla="*/ 2355320 h 6689084"/>
              <a:gd name="connsiteX1890" fmla="*/ 5844554 w 6689088"/>
              <a:gd name="connsiteY1890" fmla="*/ 2352781 h 6689084"/>
              <a:gd name="connsiteX1891" fmla="*/ 5874325 w 6689088"/>
              <a:gd name="connsiteY1891" fmla="*/ 2382556 h 6689084"/>
              <a:gd name="connsiteX1892" fmla="*/ 5844554 w 6689088"/>
              <a:gd name="connsiteY1892" fmla="*/ 2412327 h 6689084"/>
              <a:gd name="connsiteX1893" fmla="*/ 5814779 w 6689088"/>
              <a:gd name="connsiteY1893" fmla="*/ 2382556 h 6689084"/>
              <a:gd name="connsiteX1894" fmla="*/ 5844554 w 6689088"/>
              <a:gd name="connsiteY1894" fmla="*/ 2352781 h 6689084"/>
              <a:gd name="connsiteX1895" fmla="*/ 5998139 w 6689088"/>
              <a:gd name="connsiteY1895" fmla="*/ 2350601 h 6689084"/>
              <a:gd name="connsiteX1896" fmla="*/ 6030090 w 6689088"/>
              <a:gd name="connsiteY1896" fmla="*/ 2382552 h 6689084"/>
              <a:gd name="connsiteX1897" fmla="*/ 5998139 w 6689088"/>
              <a:gd name="connsiteY1897" fmla="*/ 2414503 h 6689084"/>
              <a:gd name="connsiteX1898" fmla="*/ 5966188 w 6689088"/>
              <a:gd name="connsiteY1898" fmla="*/ 2382552 h 6689084"/>
              <a:gd name="connsiteX1899" fmla="*/ 5998139 w 6689088"/>
              <a:gd name="connsiteY1899" fmla="*/ 2350601 h 6689084"/>
              <a:gd name="connsiteX1900" fmla="*/ 6152086 w 6689088"/>
              <a:gd name="connsiteY1900" fmla="*/ 2348786 h 6689084"/>
              <a:gd name="connsiteX1901" fmla="*/ 6185852 w 6689088"/>
              <a:gd name="connsiteY1901" fmla="*/ 2382552 h 6689084"/>
              <a:gd name="connsiteX1902" fmla="*/ 6152086 w 6689088"/>
              <a:gd name="connsiteY1902" fmla="*/ 2416322 h 6689084"/>
              <a:gd name="connsiteX1903" fmla="*/ 6118317 w 6689088"/>
              <a:gd name="connsiteY1903" fmla="*/ 2382552 h 6689084"/>
              <a:gd name="connsiteX1904" fmla="*/ 6152086 w 6689088"/>
              <a:gd name="connsiteY1904" fmla="*/ 2348786 h 6689084"/>
              <a:gd name="connsiteX1905" fmla="*/ 6305668 w 6689088"/>
              <a:gd name="connsiteY1905" fmla="*/ 2346244 h 6689084"/>
              <a:gd name="connsiteX1906" fmla="*/ 6341976 w 6689088"/>
              <a:gd name="connsiteY1906" fmla="*/ 2382552 h 6689084"/>
              <a:gd name="connsiteX1907" fmla="*/ 6305668 w 6689088"/>
              <a:gd name="connsiteY1907" fmla="*/ 2418860 h 6689084"/>
              <a:gd name="connsiteX1908" fmla="*/ 6269360 w 6689088"/>
              <a:gd name="connsiteY1908" fmla="*/ 2382552 h 6689084"/>
              <a:gd name="connsiteX1909" fmla="*/ 6305668 w 6689088"/>
              <a:gd name="connsiteY1909" fmla="*/ 2346244 h 6689084"/>
              <a:gd name="connsiteX1910" fmla="*/ 6459619 w 6689088"/>
              <a:gd name="connsiteY1910" fmla="*/ 2343701 h 6689084"/>
              <a:gd name="connsiteX1911" fmla="*/ 6498470 w 6689088"/>
              <a:gd name="connsiteY1911" fmla="*/ 2382552 h 6689084"/>
              <a:gd name="connsiteX1912" fmla="*/ 6459619 w 6689088"/>
              <a:gd name="connsiteY1912" fmla="*/ 2421399 h 6689084"/>
              <a:gd name="connsiteX1913" fmla="*/ 6420768 w 6689088"/>
              <a:gd name="connsiteY1913" fmla="*/ 2382552 h 6689084"/>
              <a:gd name="connsiteX1914" fmla="*/ 6459619 w 6689088"/>
              <a:gd name="connsiteY1914" fmla="*/ 2343701 h 6689084"/>
              <a:gd name="connsiteX1915" fmla="*/ 6613200 w 6689088"/>
              <a:gd name="connsiteY1915" fmla="*/ 2341524 h 6689084"/>
              <a:gd name="connsiteX1916" fmla="*/ 6654232 w 6689088"/>
              <a:gd name="connsiteY1916" fmla="*/ 2382552 h 6689084"/>
              <a:gd name="connsiteX1917" fmla="*/ 6613200 w 6689088"/>
              <a:gd name="connsiteY1917" fmla="*/ 2423583 h 6689084"/>
              <a:gd name="connsiteX1918" fmla="*/ 6572173 w 6689088"/>
              <a:gd name="connsiteY1918" fmla="*/ 2382552 h 6689084"/>
              <a:gd name="connsiteX1919" fmla="*/ 6613200 w 6689088"/>
              <a:gd name="connsiteY1919" fmla="*/ 2341524 h 6689084"/>
              <a:gd name="connsiteX1920" fmla="*/ 2922458 w 6689088"/>
              <a:gd name="connsiteY1920" fmla="*/ 2228605 h 6689084"/>
              <a:gd name="connsiteX1921" fmla="*/ 2922820 w 6689088"/>
              <a:gd name="connsiteY1921" fmla="*/ 2228967 h 6689084"/>
              <a:gd name="connsiteX1922" fmla="*/ 2922458 w 6689088"/>
              <a:gd name="connsiteY1922" fmla="*/ 2229333 h 6689084"/>
              <a:gd name="connsiteX1923" fmla="*/ 2922096 w 6689088"/>
              <a:gd name="connsiteY1923" fmla="*/ 2228967 h 6689084"/>
              <a:gd name="connsiteX1924" fmla="*/ 2922458 w 6689088"/>
              <a:gd name="connsiteY1924" fmla="*/ 2228605 h 6689084"/>
              <a:gd name="connsiteX1925" fmla="*/ 2461340 w 6689088"/>
              <a:gd name="connsiteY1925" fmla="*/ 2228605 h 6689084"/>
              <a:gd name="connsiteX1926" fmla="*/ 2461702 w 6689088"/>
              <a:gd name="connsiteY1926" fmla="*/ 2228967 h 6689084"/>
              <a:gd name="connsiteX1927" fmla="*/ 2461340 w 6689088"/>
              <a:gd name="connsiteY1927" fmla="*/ 2229333 h 6689084"/>
              <a:gd name="connsiteX1928" fmla="*/ 2460978 w 6689088"/>
              <a:gd name="connsiteY1928" fmla="*/ 2228967 h 6689084"/>
              <a:gd name="connsiteX1929" fmla="*/ 2461340 w 6689088"/>
              <a:gd name="connsiteY1929" fmla="*/ 2228605 h 6689084"/>
              <a:gd name="connsiteX1930" fmla="*/ 2307393 w 6689088"/>
              <a:gd name="connsiteY1930" fmla="*/ 2228605 h 6689084"/>
              <a:gd name="connsiteX1931" fmla="*/ 2307755 w 6689088"/>
              <a:gd name="connsiteY1931" fmla="*/ 2228967 h 6689084"/>
              <a:gd name="connsiteX1932" fmla="*/ 2307393 w 6689088"/>
              <a:gd name="connsiteY1932" fmla="*/ 2229333 h 6689084"/>
              <a:gd name="connsiteX1933" fmla="*/ 2307031 w 6689088"/>
              <a:gd name="connsiteY1933" fmla="*/ 2228967 h 6689084"/>
              <a:gd name="connsiteX1934" fmla="*/ 2307393 w 6689088"/>
              <a:gd name="connsiteY1934" fmla="*/ 2228605 h 6689084"/>
              <a:gd name="connsiteX1935" fmla="*/ 2153811 w 6689088"/>
              <a:gd name="connsiteY1935" fmla="*/ 2228243 h 6689084"/>
              <a:gd name="connsiteX1936" fmla="*/ 2154536 w 6689088"/>
              <a:gd name="connsiteY1936" fmla="*/ 2228971 h 6689084"/>
              <a:gd name="connsiteX1937" fmla="*/ 2153811 w 6689088"/>
              <a:gd name="connsiteY1937" fmla="*/ 2229695 h 6689084"/>
              <a:gd name="connsiteX1938" fmla="*/ 2153083 w 6689088"/>
              <a:gd name="connsiteY1938" fmla="*/ 2228971 h 6689084"/>
              <a:gd name="connsiteX1939" fmla="*/ 2153811 w 6689088"/>
              <a:gd name="connsiteY1939" fmla="*/ 2228243 h 6689084"/>
              <a:gd name="connsiteX1940" fmla="*/ 3076406 w 6689088"/>
              <a:gd name="connsiteY1940" fmla="*/ 2227152 h 6689084"/>
              <a:gd name="connsiteX1941" fmla="*/ 3077858 w 6689088"/>
              <a:gd name="connsiteY1941" fmla="*/ 2228605 h 6689084"/>
              <a:gd name="connsiteX1942" fmla="*/ 3076406 w 6689088"/>
              <a:gd name="connsiteY1942" fmla="*/ 2230057 h 6689084"/>
              <a:gd name="connsiteX1943" fmla="*/ 3074953 w 6689088"/>
              <a:gd name="connsiteY1943" fmla="*/ 2228605 h 6689084"/>
              <a:gd name="connsiteX1944" fmla="*/ 3076406 w 6689088"/>
              <a:gd name="connsiteY1944" fmla="*/ 2227152 h 6689084"/>
              <a:gd name="connsiteX1945" fmla="*/ 3230353 w 6689088"/>
              <a:gd name="connsiteY1945" fmla="*/ 2226428 h 6689084"/>
              <a:gd name="connsiteX1946" fmla="*/ 3232530 w 6689088"/>
              <a:gd name="connsiteY1946" fmla="*/ 2228608 h 6689084"/>
              <a:gd name="connsiteX1947" fmla="*/ 3230353 w 6689088"/>
              <a:gd name="connsiteY1947" fmla="*/ 2230785 h 6689084"/>
              <a:gd name="connsiteX1948" fmla="*/ 3228172 w 6689088"/>
              <a:gd name="connsiteY1948" fmla="*/ 2228608 h 6689084"/>
              <a:gd name="connsiteX1949" fmla="*/ 3230353 w 6689088"/>
              <a:gd name="connsiteY1949" fmla="*/ 2226428 h 6689084"/>
              <a:gd name="connsiteX1950" fmla="*/ 3383934 w 6689088"/>
              <a:gd name="connsiteY1950" fmla="*/ 2225700 h 6689084"/>
              <a:gd name="connsiteX1951" fmla="*/ 3387205 w 6689088"/>
              <a:gd name="connsiteY1951" fmla="*/ 2228967 h 6689084"/>
              <a:gd name="connsiteX1952" fmla="*/ 3383934 w 6689088"/>
              <a:gd name="connsiteY1952" fmla="*/ 2232238 h 6689084"/>
              <a:gd name="connsiteX1953" fmla="*/ 3380668 w 6689088"/>
              <a:gd name="connsiteY1953" fmla="*/ 2228967 h 6689084"/>
              <a:gd name="connsiteX1954" fmla="*/ 3383934 w 6689088"/>
              <a:gd name="connsiteY1954" fmla="*/ 2225700 h 6689084"/>
              <a:gd name="connsiteX1955" fmla="*/ 3537886 w 6689088"/>
              <a:gd name="connsiteY1955" fmla="*/ 2224248 h 6689084"/>
              <a:gd name="connsiteX1956" fmla="*/ 3542242 w 6689088"/>
              <a:gd name="connsiteY1956" fmla="*/ 2228605 h 6689084"/>
              <a:gd name="connsiteX1957" fmla="*/ 3537886 w 6689088"/>
              <a:gd name="connsiteY1957" fmla="*/ 2232962 h 6689084"/>
              <a:gd name="connsiteX1958" fmla="*/ 3533528 w 6689088"/>
              <a:gd name="connsiteY1958" fmla="*/ 2228605 h 6689084"/>
              <a:gd name="connsiteX1959" fmla="*/ 3537886 w 6689088"/>
              <a:gd name="connsiteY1959" fmla="*/ 2224248 h 6689084"/>
              <a:gd name="connsiteX1960" fmla="*/ 3691467 w 6689088"/>
              <a:gd name="connsiteY1960" fmla="*/ 2222795 h 6689084"/>
              <a:gd name="connsiteX1961" fmla="*/ 3697276 w 6689088"/>
              <a:gd name="connsiteY1961" fmla="*/ 2228605 h 6689084"/>
              <a:gd name="connsiteX1962" fmla="*/ 3691467 w 6689088"/>
              <a:gd name="connsiteY1962" fmla="*/ 2234414 h 6689084"/>
              <a:gd name="connsiteX1963" fmla="*/ 3685658 w 6689088"/>
              <a:gd name="connsiteY1963" fmla="*/ 2228605 h 6689084"/>
              <a:gd name="connsiteX1964" fmla="*/ 3691467 w 6689088"/>
              <a:gd name="connsiteY1964" fmla="*/ 2222795 h 6689084"/>
              <a:gd name="connsiteX1965" fmla="*/ 3845414 w 6689088"/>
              <a:gd name="connsiteY1965" fmla="*/ 2221343 h 6689084"/>
              <a:gd name="connsiteX1966" fmla="*/ 3852676 w 6689088"/>
              <a:gd name="connsiteY1966" fmla="*/ 2228605 h 6689084"/>
              <a:gd name="connsiteX1967" fmla="*/ 3845414 w 6689088"/>
              <a:gd name="connsiteY1967" fmla="*/ 2235866 h 6689084"/>
              <a:gd name="connsiteX1968" fmla="*/ 3838153 w 6689088"/>
              <a:gd name="connsiteY1968" fmla="*/ 2228605 h 6689084"/>
              <a:gd name="connsiteX1969" fmla="*/ 3845414 w 6689088"/>
              <a:gd name="connsiteY1969" fmla="*/ 2221343 h 6689084"/>
              <a:gd name="connsiteX1970" fmla="*/ 3999000 w 6689088"/>
              <a:gd name="connsiteY1970" fmla="*/ 2219528 h 6689084"/>
              <a:gd name="connsiteX1971" fmla="*/ 4008080 w 6689088"/>
              <a:gd name="connsiteY1971" fmla="*/ 2228605 h 6689084"/>
              <a:gd name="connsiteX1972" fmla="*/ 3999000 w 6689088"/>
              <a:gd name="connsiteY1972" fmla="*/ 2237685 h 6689084"/>
              <a:gd name="connsiteX1973" fmla="*/ 3989924 w 6689088"/>
              <a:gd name="connsiteY1973" fmla="*/ 2228605 h 6689084"/>
              <a:gd name="connsiteX1974" fmla="*/ 3999000 w 6689088"/>
              <a:gd name="connsiteY1974" fmla="*/ 2219528 h 6689084"/>
              <a:gd name="connsiteX1975" fmla="*/ 4152947 w 6689088"/>
              <a:gd name="connsiteY1975" fmla="*/ 2218800 h 6689084"/>
              <a:gd name="connsiteX1976" fmla="*/ 4163114 w 6689088"/>
              <a:gd name="connsiteY1976" fmla="*/ 2228967 h 6689084"/>
              <a:gd name="connsiteX1977" fmla="*/ 4152947 w 6689088"/>
              <a:gd name="connsiteY1977" fmla="*/ 2239133 h 6689084"/>
              <a:gd name="connsiteX1978" fmla="*/ 4142780 w 6689088"/>
              <a:gd name="connsiteY1978" fmla="*/ 2228967 h 6689084"/>
              <a:gd name="connsiteX1979" fmla="*/ 4152947 w 6689088"/>
              <a:gd name="connsiteY1979" fmla="*/ 2218800 h 6689084"/>
              <a:gd name="connsiteX1980" fmla="*/ 4306532 w 6689088"/>
              <a:gd name="connsiteY1980" fmla="*/ 2216624 h 6689084"/>
              <a:gd name="connsiteX1981" fmla="*/ 4318517 w 6689088"/>
              <a:gd name="connsiteY1981" fmla="*/ 2228605 h 6689084"/>
              <a:gd name="connsiteX1982" fmla="*/ 4306532 w 6689088"/>
              <a:gd name="connsiteY1982" fmla="*/ 2240585 h 6689084"/>
              <a:gd name="connsiteX1983" fmla="*/ 4294552 w 6689088"/>
              <a:gd name="connsiteY1983" fmla="*/ 2228605 h 6689084"/>
              <a:gd name="connsiteX1984" fmla="*/ 4306532 w 6689088"/>
              <a:gd name="connsiteY1984" fmla="*/ 2216624 h 6689084"/>
              <a:gd name="connsiteX1985" fmla="*/ 4460480 w 6689088"/>
              <a:gd name="connsiteY1985" fmla="*/ 2214809 h 6689084"/>
              <a:gd name="connsiteX1986" fmla="*/ 4474275 w 6689088"/>
              <a:gd name="connsiteY1986" fmla="*/ 2228608 h 6689084"/>
              <a:gd name="connsiteX1987" fmla="*/ 4460480 w 6689088"/>
              <a:gd name="connsiteY1987" fmla="*/ 2242404 h 6689084"/>
              <a:gd name="connsiteX1988" fmla="*/ 4446680 w 6689088"/>
              <a:gd name="connsiteY1988" fmla="*/ 2228608 h 6689084"/>
              <a:gd name="connsiteX1989" fmla="*/ 4460480 w 6689088"/>
              <a:gd name="connsiteY1989" fmla="*/ 2214809 h 6689084"/>
              <a:gd name="connsiteX1990" fmla="*/ 4614061 w 6689088"/>
              <a:gd name="connsiteY1990" fmla="*/ 2213357 h 6689084"/>
              <a:gd name="connsiteX1991" fmla="*/ 4629312 w 6689088"/>
              <a:gd name="connsiteY1991" fmla="*/ 2228608 h 6689084"/>
              <a:gd name="connsiteX1992" fmla="*/ 4614061 w 6689088"/>
              <a:gd name="connsiteY1992" fmla="*/ 2243856 h 6689084"/>
              <a:gd name="connsiteX1993" fmla="*/ 4598814 w 6689088"/>
              <a:gd name="connsiteY1993" fmla="*/ 2228608 h 6689084"/>
              <a:gd name="connsiteX1994" fmla="*/ 4614061 w 6689088"/>
              <a:gd name="connsiteY1994" fmla="*/ 2213357 h 6689084"/>
              <a:gd name="connsiteX1995" fmla="*/ 4768012 w 6689088"/>
              <a:gd name="connsiteY1995" fmla="*/ 2211539 h 6689084"/>
              <a:gd name="connsiteX1996" fmla="*/ 4785078 w 6689088"/>
              <a:gd name="connsiteY1996" fmla="*/ 2228605 h 6689084"/>
              <a:gd name="connsiteX1997" fmla="*/ 4768012 w 6689088"/>
              <a:gd name="connsiteY1997" fmla="*/ 2245667 h 6689084"/>
              <a:gd name="connsiteX1998" fmla="*/ 4750946 w 6689088"/>
              <a:gd name="connsiteY1998" fmla="*/ 2228605 h 6689084"/>
              <a:gd name="connsiteX1999" fmla="*/ 4768012 w 6689088"/>
              <a:gd name="connsiteY1999" fmla="*/ 2211539 h 6689084"/>
              <a:gd name="connsiteX2000" fmla="*/ 4921594 w 6689088"/>
              <a:gd name="connsiteY2000" fmla="*/ 2209362 h 6689084"/>
              <a:gd name="connsiteX2001" fmla="*/ 4940836 w 6689088"/>
              <a:gd name="connsiteY2001" fmla="*/ 2228605 h 6689084"/>
              <a:gd name="connsiteX2002" fmla="*/ 4921594 w 6689088"/>
              <a:gd name="connsiteY2002" fmla="*/ 2247851 h 6689084"/>
              <a:gd name="connsiteX2003" fmla="*/ 4902352 w 6689088"/>
              <a:gd name="connsiteY2003" fmla="*/ 2228605 h 6689084"/>
              <a:gd name="connsiteX2004" fmla="*/ 4921594 w 6689088"/>
              <a:gd name="connsiteY2004" fmla="*/ 2209362 h 6689084"/>
              <a:gd name="connsiteX2005" fmla="*/ 5075541 w 6689088"/>
              <a:gd name="connsiteY2005" fmla="*/ 2207182 h 6689084"/>
              <a:gd name="connsiteX2006" fmla="*/ 5096964 w 6689088"/>
              <a:gd name="connsiteY2006" fmla="*/ 2228605 h 6689084"/>
              <a:gd name="connsiteX2007" fmla="*/ 5075541 w 6689088"/>
              <a:gd name="connsiteY2007" fmla="*/ 2250027 h 6689084"/>
              <a:gd name="connsiteX2008" fmla="*/ 5054118 w 6689088"/>
              <a:gd name="connsiteY2008" fmla="*/ 2228605 h 6689084"/>
              <a:gd name="connsiteX2009" fmla="*/ 5075541 w 6689088"/>
              <a:gd name="connsiteY2009" fmla="*/ 2207182 h 6689084"/>
              <a:gd name="connsiteX2010" fmla="*/ 5229126 w 6689088"/>
              <a:gd name="connsiteY2010" fmla="*/ 2205729 h 6689084"/>
              <a:gd name="connsiteX2011" fmla="*/ 5251998 w 6689088"/>
              <a:gd name="connsiteY2011" fmla="*/ 2228605 h 6689084"/>
              <a:gd name="connsiteX2012" fmla="*/ 5229126 w 6689088"/>
              <a:gd name="connsiteY2012" fmla="*/ 2251480 h 6689084"/>
              <a:gd name="connsiteX2013" fmla="*/ 5206251 w 6689088"/>
              <a:gd name="connsiteY2013" fmla="*/ 2228605 h 6689084"/>
              <a:gd name="connsiteX2014" fmla="*/ 5229126 w 6689088"/>
              <a:gd name="connsiteY2014" fmla="*/ 2205729 h 6689084"/>
              <a:gd name="connsiteX2015" fmla="*/ 5383074 w 6689088"/>
              <a:gd name="connsiteY2015" fmla="*/ 2203915 h 6689084"/>
              <a:gd name="connsiteX2016" fmla="*/ 5408126 w 6689088"/>
              <a:gd name="connsiteY2016" fmla="*/ 2228967 h 6689084"/>
              <a:gd name="connsiteX2017" fmla="*/ 5383074 w 6689088"/>
              <a:gd name="connsiteY2017" fmla="*/ 2254023 h 6689084"/>
              <a:gd name="connsiteX2018" fmla="*/ 5358022 w 6689088"/>
              <a:gd name="connsiteY2018" fmla="*/ 2228967 h 6689084"/>
              <a:gd name="connsiteX2019" fmla="*/ 5383074 w 6689088"/>
              <a:gd name="connsiteY2019" fmla="*/ 2203915 h 6689084"/>
              <a:gd name="connsiteX2020" fmla="*/ 5536659 w 6689088"/>
              <a:gd name="connsiteY2020" fmla="*/ 2201734 h 6689084"/>
              <a:gd name="connsiteX2021" fmla="*/ 5563892 w 6689088"/>
              <a:gd name="connsiteY2021" fmla="*/ 2228967 h 6689084"/>
              <a:gd name="connsiteX2022" fmla="*/ 5536659 w 6689088"/>
              <a:gd name="connsiteY2022" fmla="*/ 2256199 h 6689084"/>
              <a:gd name="connsiteX2023" fmla="*/ 5509427 w 6689088"/>
              <a:gd name="connsiteY2023" fmla="*/ 2228967 h 6689084"/>
              <a:gd name="connsiteX2024" fmla="*/ 5536659 w 6689088"/>
              <a:gd name="connsiteY2024" fmla="*/ 2201734 h 6689084"/>
              <a:gd name="connsiteX2025" fmla="*/ 5690606 w 6689088"/>
              <a:gd name="connsiteY2025" fmla="*/ 2198834 h 6689084"/>
              <a:gd name="connsiteX2026" fmla="*/ 5720378 w 6689088"/>
              <a:gd name="connsiteY2026" fmla="*/ 2228608 h 6689084"/>
              <a:gd name="connsiteX2027" fmla="*/ 5690606 w 6689088"/>
              <a:gd name="connsiteY2027" fmla="*/ 2258379 h 6689084"/>
              <a:gd name="connsiteX2028" fmla="*/ 5660832 w 6689088"/>
              <a:gd name="connsiteY2028" fmla="*/ 2228608 h 6689084"/>
              <a:gd name="connsiteX2029" fmla="*/ 5690606 w 6689088"/>
              <a:gd name="connsiteY2029" fmla="*/ 2198834 h 6689084"/>
              <a:gd name="connsiteX2030" fmla="*/ 5844554 w 6689088"/>
              <a:gd name="connsiteY2030" fmla="*/ 2197015 h 6689084"/>
              <a:gd name="connsiteX2031" fmla="*/ 5876506 w 6689088"/>
              <a:gd name="connsiteY2031" fmla="*/ 2228967 h 6689084"/>
              <a:gd name="connsiteX2032" fmla="*/ 5844554 w 6689088"/>
              <a:gd name="connsiteY2032" fmla="*/ 2260918 h 6689084"/>
              <a:gd name="connsiteX2033" fmla="*/ 5812602 w 6689088"/>
              <a:gd name="connsiteY2033" fmla="*/ 2228967 h 6689084"/>
              <a:gd name="connsiteX2034" fmla="*/ 5844554 w 6689088"/>
              <a:gd name="connsiteY2034" fmla="*/ 2197015 h 6689084"/>
              <a:gd name="connsiteX2035" fmla="*/ 5998136 w 6689088"/>
              <a:gd name="connsiteY2035" fmla="*/ 2194839 h 6689084"/>
              <a:gd name="connsiteX2036" fmla="*/ 6031901 w 6689088"/>
              <a:gd name="connsiteY2036" fmla="*/ 2228605 h 6689084"/>
              <a:gd name="connsiteX2037" fmla="*/ 5998136 w 6689088"/>
              <a:gd name="connsiteY2037" fmla="*/ 2262374 h 6689084"/>
              <a:gd name="connsiteX2038" fmla="*/ 5964370 w 6689088"/>
              <a:gd name="connsiteY2038" fmla="*/ 2228605 h 6689084"/>
              <a:gd name="connsiteX2039" fmla="*/ 5998136 w 6689088"/>
              <a:gd name="connsiteY2039" fmla="*/ 2194839 h 6689084"/>
              <a:gd name="connsiteX2040" fmla="*/ 6152083 w 6689088"/>
              <a:gd name="connsiteY2040" fmla="*/ 2192296 h 6689084"/>
              <a:gd name="connsiteX2041" fmla="*/ 6188391 w 6689088"/>
              <a:gd name="connsiteY2041" fmla="*/ 2228605 h 6689084"/>
              <a:gd name="connsiteX2042" fmla="*/ 6152083 w 6689088"/>
              <a:gd name="connsiteY2042" fmla="*/ 2264913 h 6689084"/>
              <a:gd name="connsiteX2043" fmla="*/ 6115774 w 6689088"/>
              <a:gd name="connsiteY2043" fmla="*/ 2228605 h 6689084"/>
              <a:gd name="connsiteX2044" fmla="*/ 6152083 w 6689088"/>
              <a:gd name="connsiteY2044" fmla="*/ 2192296 h 6689084"/>
              <a:gd name="connsiteX2045" fmla="*/ 6305672 w 6689088"/>
              <a:gd name="connsiteY2045" fmla="*/ 2189754 h 6689084"/>
              <a:gd name="connsiteX2046" fmla="*/ 6344522 w 6689088"/>
              <a:gd name="connsiteY2046" fmla="*/ 2228605 h 6689084"/>
              <a:gd name="connsiteX2047" fmla="*/ 6305672 w 6689088"/>
              <a:gd name="connsiteY2047" fmla="*/ 2267452 h 6689084"/>
              <a:gd name="connsiteX2048" fmla="*/ 6266821 w 6689088"/>
              <a:gd name="connsiteY2048" fmla="*/ 2228605 h 6689084"/>
              <a:gd name="connsiteX2049" fmla="*/ 6305672 w 6689088"/>
              <a:gd name="connsiteY2049" fmla="*/ 2189754 h 6689084"/>
              <a:gd name="connsiteX2050" fmla="*/ 6459616 w 6689088"/>
              <a:gd name="connsiteY2050" fmla="*/ 2187577 h 6689084"/>
              <a:gd name="connsiteX2051" fmla="*/ 6500646 w 6689088"/>
              <a:gd name="connsiteY2051" fmla="*/ 2228605 h 6689084"/>
              <a:gd name="connsiteX2052" fmla="*/ 6459616 w 6689088"/>
              <a:gd name="connsiteY2052" fmla="*/ 2269632 h 6689084"/>
              <a:gd name="connsiteX2053" fmla="*/ 6418588 w 6689088"/>
              <a:gd name="connsiteY2053" fmla="*/ 2228605 h 6689084"/>
              <a:gd name="connsiteX2054" fmla="*/ 6459616 w 6689088"/>
              <a:gd name="connsiteY2054" fmla="*/ 2187577 h 6689084"/>
              <a:gd name="connsiteX2055" fmla="*/ 6613200 w 6689088"/>
              <a:gd name="connsiteY2055" fmla="*/ 2185035 h 6689084"/>
              <a:gd name="connsiteX2056" fmla="*/ 6656770 w 6689088"/>
              <a:gd name="connsiteY2056" fmla="*/ 2228605 h 6689084"/>
              <a:gd name="connsiteX2057" fmla="*/ 6613200 w 6689088"/>
              <a:gd name="connsiteY2057" fmla="*/ 2272175 h 6689084"/>
              <a:gd name="connsiteX2058" fmla="*/ 6569630 w 6689088"/>
              <a:gd name="connsiteY2058" fmla="*/ 2228605 h 6689084"/>
              <a:gd name="connsiteX2059" fmla="*/ 6613200 w 6689088"/>
              <a:gd name="connsiteY2059" fmla="*/ 2185035 h 6689084"/>
              <a:gd name="connsiteX2060" fmla="*/ 2768873 w 6689088"/>
              <a:gd name="connsiteY2060" fmla="*/ 2074657 h 6689084"/>
              <a:gd name="connsiteX2061" fmla="*/ 2769235 w 6689088"/>
              <a:gd name="connsiteY2061" fmla="*/ 2075019 h 6689084"/>
              <a:gd name="connsiteX2062" fmla="*/ 2768873 w 6689088"/>
              <a:gd name="connsiteY2062" fmla="*/ 2075385 h 6689084"/>
              <a:gd name="connsiteX2063" fmla="*/ 2768511 w 6689088"/>
              <a:gd name="connsiteY2063" fmla="*/ 2075019 h 6689084"/>
              <a:gd name="connsiteX2064" fmla="*/ 2768873 w 6689088"/>
              <a:gd name="connsiteY2064" fmla="*/ 2074657 h 6689084"/>
              <a:gd name="connsiteX2065" fmla="*/ 2307393 w 6689088"/>
              <a:gd name="connsiteY2065" fmla="*/ 2074657 h 6689084"/>
              <a:gd name="connsiteX2066" fmla="*/ 2307755 w 6689088"/>
              <a:gd name="connsiteY2066" fmla="*/ 2075019 h 6689084"/>
              <a:gd name="connsiteX2067" fmla="*/ 2307393 w 6689088"/>
              <a:gd name="connsiteY2067" fmla="*/ 2075385 h 6689084"/>
              <a:gd name="connsiteX2068" fmla="*/ 2307031 w 6689088"/>
              <a:gd name="connsiteY2068" fmla="*/ 2075019 h 6689084"/>
              <a:gd name="connsiteX2069" fmla="*/ 2307393 w 6689088"/>
              <a:gd name="connsiteY2069" fmla="*/ 2074657 h 6689084"/>
              <a:gd name="connsiteX2070" fmla="*/ 2153808 w 6689088"/>
              <a:gd name="connsiteY2070" fmla="*/ 2074657 h 6689084"/>
              <a:gd name="connsiteX2071" fmla="*/ 2154170 w 6689088"/>
              <a:gd name="connsiteY2071" fmla="*/ 2075019 h 6689084"/>
              <a:gd name="connsiteX2072" fmla="*/ 2153808 w 6689088"/>
              <a:gd name="connsiteY2072" fmla="*/ 2075385 h 6689084"/>
              <a:gd name="connsiteX2073" fmla="*/ 2153445 w 6689088"/>
              <a:gd name="connsiteY2073" fmla="*/ 2075019 h 6689084"/>
              <a:gd name="connsiteX2074" fmla="*/ 2153808 w 6689088"/>
              <a:gd name="connsiteY2074" fmla="*/ 2074657 h 6689084"/>
              <a:gd name="connsiteX2075" fmla="*/ 1999864 w 6689088"/>
              <a:gd name="connsiteY2075" fmla="*/ 2074295 h 6689084"/>
              <a:gd name="connsiteX2076" fmla="*/ 2000588 w 6689088"/>
              <a:gd name="connsiteY2076" fmla="*/ 2075023 h 6689084"/>
              <a:gd name="connsiteX2077" fmla="*/ 1999864 w 6689088"/>
              <a:gd name="connsiteY2077" fmla="*/ 2075747 h 6689084"/>
              <a:gd name="connsiteX2078" fmla="*/ 1999136 w 6689088"/>
              <a:gd name="connsiteY2078" fmla="*/ 2075023 h 6689084"/>
              <a:gd name="connsiteX2079" fmla="*/ 1999864 w 6689088"/>
              <a:gd name="connsiteY2079" fmla="*/ 2074295 h 6689084"/>
              <a:gd name="connsiteX2080" fmla="*/ 2922458 w 6689088"/>
              <a:gd name="connsiteY2080" fmla="*/ 2073205 h 6689084"/>
              <a:gd name="connsiteX2081" fmla="*/ 2923910 w 6689088"/>
              <a:gd name="connsiteY2081" fmla="*/ 2074657 h 6689084"/>
              <a:gd name="connsiteX2082" fmla="*/ 2922458 w 6689088"/>
              <a:gd name="connsiteY2082" fmla="*/ 2076110 h 6689084"/>
              <a:gd name="connsiteX2083" fmla="*/ 2921006 w 6689088"/>
              <a:gd name="connsiteY2083" fmla="*/ 2074657 h 6689084"/>
              <a:gd name="connsiteX2084" fmla="*/ 2922458 w 6689088"/>
              <a:gd name="connsiteY2084" fmla="*/ 2073205 h 6689084"/>
              <a:gd name="connsiteX2085" fmla="*/ 3076406 w 6689088"/>
              <a:gd name="connsiteY2085" fmla="*/ 2072843 h 6689084"/>
              <a:gd name="connsiteX2086" fmla="*/ 3078582 w 6689088"/>
              <a:gd name="connsiteY2086" fmla="*/ 2075023 h 6689084"/>
              <a:gd name="connsiteX2087" fmla="*/ 3076406 w 6689088"/>
              <a:gd name="connsiteY2087" fmla="*/ 2077200 h 6689084"/>
              <a:gd name="connsiteX2088" fmla="*/ 3074225 w 6689088"/>
              <a:gd name="connsiteY2088" fmla="*/ 2075023 h 6689084"/>
              <a:gd name="connsiteX2089" fmla="*/ 3076406 w 6689088"/>
              <a:gd name="connsiteY2089" fmla="*/ 2072843 h 6689084"/>
              <a:gd name="connsiteX2090" fmla="*/ 3230353 w 6689088"/>
              <a:gd name="connsiteY2090" fmla="*/ 2071753 h 6689084"/>
              <a:gd name="connsiteX2091" fmla="*/ 3233620 w 6689088"/>
              <a:gd name="connsiteY2091" fmla="*/ 2075019 h 6689084"/>
              <a:gd name="connsiteX2092" fmla="*/ 3230353 w 6689088"/>
              <a:gd name="connsiteY2092" fmla="*/ 2078290 h 6689084"/>
              <a:gd name="connsiteX2093" fmla="*/ 3227086 w 6689088"/>
              <a:gd name="connsiteY2093" fmla="*/ 2075019 h 6689084"/>
              <a:gd name="connsiteX2094" fmla="*/ 3230353 w 6689088"/>
              <a:gd name="connsiteY2094" fmla="*/ 2071753 h 6689084"/>
              <a:gd name="connsiteX2095" fmla="*/ 3383934 w 6689088"/>
              <a:gd name="connsiteY2095" fmla="*/ 2070662 h 6689084"/>
              <a:gd name="connsiteX2096" fmla="*/ 3388291 w 6689088"/>
              <a:gd name="connsiteY2096" fmla="*/ 2075019 h 6689084"/>
              <a:gd name="connsiteX2097" fmla="*/ 3383934 w 6689088"/>
              <a:gd name="connsiteY2097" fmla="*/ 2079376 h 6689084"/>
              <a:gd name="connsiteX2098" fmla="*/ 3379577 w 6689088"/>
              <a:gd name="connsiteY2098" fmla="*/ 2075019 h 6689084"/>
              <a:gd name="connsiteX2099" fmla="*/ 3383934 w 6689088"/>
              <a:gd name="connsiteY2099" fmla="*/ 2070662 h 6689084"/>
              <a:gd name="connsiteX2100" fmla="*/ 3537886 w 6689088"/>
              <a:gd name="connsiteY2100" fmla="*/ 2069210 h 6689084"/>
              <a:gd name="connsiteX2101" fmla="*/ 3543695 w 6689088"/>
              <a:gd name="connsiteY2101" fmla="*/ 2075019 h 6689084"/>
              <a:gd name="connsiteX2102" fmla="*/ 3537886 w 6689088"/>
              <a:gd name="connsiteY2102" fmla="*/ 2080829 h 6689084"/>
              <a:gd name="connsiteX2103" fmla="*/ 3532076 w 6689088"/>
              <a:gd name="connsiteY2103" fmla="*/ 2075019 h 6689084"/>
              <a:gd name="connsiteX2104" fmla="*/ 3537886 w 6689088"/>
              <a:gd name="connsiteY2104" fmla="*/ 2069210 h 6689084"/>
              <a:gd name="connsiteX2105" fmla="*/ 3691467 w 6689088"/>
              <a:gd name="connsiteY2105" fmla="*/ 2067758 h 6689084"/>
              <a:gd name="connsiteX2106" fmla="*/ 3698728 w 6689088"/>
              <a:gd name="connsiteY2106" fmla="*/ 2075019 h 6689084"/>
              <a:gd name="connsiteX2107" fmla="*/ 3691467 w 6689088"/>
              <a:gd name="connsiteY2107" fmla="*/ 2082281 h 6689084"/>
              <a:gd name="connsiteX2108" fmla="*/ 3684205 w 6689088"/>
              <a:gd name="connsiteY2108" fmla="*/ 2075019 h 6689084"/>
              <a:gd name="connsiteX2109" fmla="*/ 3691467 w 6689088"/>
              <a:gd name="connsiteY2109" fmla="*/ 2067758 h 6689084"/>
              <a:gd name="connsiteX2110" fmla="*/ 3845414 w 6689088"/>
              <a:gd name="connsiteY2110" fmla="*/ 2065943 h 6689084"/>
              <a:gd name="connsiteX2111" fmla="*/ 3854494 w 6689088"/>
              <a:gd name="connsiteY2111" fmla="*/ 2075019 h 6689084"/>
              <a:gd name="connsiteX2112" fmla="*/ 3845414 w 6689088"/>
              <a:gd name="connsiteY2112" fmla="*/ 2084099 h 6689084"/>
              <a:gd name="connsiteX2113" fmla="*/ 3836338 w 6689088"/>
              <a:gd name="connsiteY2113" fmla="*/ 2075019 h 6689084"/>
              <a:gd name="connsiteX2114" fmla="*/ 3845414 w 6689088"/>
              <a:gd name="connsiteY2114" fmla="*/ 2065943 h 6689084"/>
              <a:gd name="connsiteX2115" fmla="*/ 3999000 w 6689088"/>
              <a:gd name="connsiteY2115" fmla="*/ 2064853 h 6689084"/>
              <a:gd name="connsiteX2116" fmla="*/ 4009166 w 6689088"/>
              <a:gd name="connsiteY2116" fmla="*/ 2075019 h 6689084"/>
              <a:gd name="connsiteX2117" fmla="*/ 3999000 w 6689088"/>
              <a:gd name="connsiteY2117" fmla="*/ 2085186 h 6689084"/>
              <a:gd name="connsiteX2118" fmla="*/ 3988833 w 6689088"/>
              <a:gd name="connsiteY2118" fmla="*/ 2075019 h 6689084"/>
              <a:gd name="connsiteX2119" fmla="*/ 3999000 w 6689088"/>
              <a:gd name="connsiteY2119" fmla="*/ 2064853 h 6689084"/>
              <a:gd name="connsiteX2120" fmla="*/ 4152947 w 6689088"/>
              <a:gd name="connsiteY2120" fmla="*/ 2063038 h 6689084"/>
              <a:gd name="connsiteX2121" fmla="*/ 4164932 w 6689088"/>
              <a:gd name="connsiteY2121" fmla="*/ 2075019 h 6689084"/>
              <a:gd name="connsiteX2122" fmla="*/ 4152947 w 6689088"/>
              <a:gd name="connsiteY2122" fmla="*/ 2087000 h 6689084"/>
              <a:gd name="connsiteX2123" fmla="*/ 4140966 w 6689088"/>
              <a:gd name="connsiteY2123" fmla="*/ 2075019 h 6689084"/>
              <a:gd name="connsiteX2124" fmla="*/ 4152947 w 6689088"/>
              <a:gd name="connsiteY2124" fmla="*/ 2063038 h 6689084"/>
              <a:gd name="connsiteX2125" fmla="*/ 4306528 w 6689088"/>
              <a:gd name="connsiteY2125" fmla="*/ 2061224 h 6689084"/>
              <a:gd name="connsiteX2126" fmla="*/ 4320328 w 6689088"/>
              <a:gd name="connsiteY2126" fmla="*/ 2075023 h 6689084"/>
              <a:gd name="connsiteX2127" fmla="*/ 4306528 w 6689088"/>
              <a:gd name="connsiteY2127" fmla="*/ 2088818 h 6689084"/>
              <a:gd name="connsiteX2128" fmla="*/ 4292733 w 6689088"/>
              <a:gd name="connsiteY2128" fmla="*/ 2075023 h 6689084"/>
              <a:gd name="connsiteX2129" fmla="*/ 4306528 w 6689088"/>
              <a:gd name="connsiteY2129" fmla="*/ 2061224 h 6689084"/>
              <a:gd name="connsiteX2130" fmla="*/ 4460476 w 6689088"/>
              <a:gd name="connsiteY2130" fmla="*/ 2059772 h 6689084"/>
              <a:gd name="connsiteX2131" fmla="*/ 4475728 w 6689088"/>
              <a:gd name="connsiteY2131" fmla="*/ 2075023 h 6689084"/>
              <a:gd name="connsiteX2132" fmla="*/ 4460476 w 6689088"/>
              <a:gd name="connsiteY2132" fmla="*/ 2090271 h 6689084"/>
              <a:gd name="connsiteX2133" fmla="*/ 4445228 w 6689088"/>
              <a:gd name="connsiteY2133" fmla="*/ 2075023 h 6689084"/>
              <a:gd name="connsiteX2134" fmla="*/ 4460476 w 6689088"/>
              <a:gd name="connsiteY2134" fmla="*/ 2059772 h 6689084"/>
              <a:gd name="connsiteX2135" fmla="*/ 4614065 w 6689088"/>
              <a:gd name="connsiteY2135" fmla="*/ 2057957 h 6689084"/>
              <a:gd name="connsiteX2136" fmla="*/ 4631131 w 6689088"/>
              <a:gd name="connsiteY2136" fmla="*/ 2075023 h 6689084"/>
              <a:gd name="connsiteX2137" fmla="*/ 4614065 w 6689088"/>
              <a:gd name="connsiteY2137" fmla="*/ 2092085 h 6689084"/>
              <a:gd name="connsiteX2138" fmla="*/ 4596999 w 6689088"/>
              <a:gd name="connsiteY2138" fmla="*/ 2075023 h 6689084"/>
              <a:gd name="connsiteX2139" fmla="*/ 4614065 w 6689088"/>
              <a:gd name="connsiteY2139" fmla="*/ 2057957 h 6689084"/>
              <a:gd name="connsiteX2140" fmla="*/ 4768008 w 6689088"/>
              <a:gd name="connsiteY2140" fmla="*/ 2055777 h 6689084"/>
              <a:gd name="connsiteX2141" fmla="*/ 4787255 w 6689088"/>
              <a:gd name="connsiteY2141" fmla="*/ 2075019 h 6689084"/>
              <a:gd name="connsiteX2142" fmla="*/ 4768008 w 6689088"/>
              <a:gd name="connsiteY2142" fmla="*/ 2094266 h 6689084"/>
              <a:gd name="connsiteX2143" fmla="*/ 4748766 w 6689088"/>
              <a:gd name="connsiteY2143" fmla="*/ 2075019 h 6689084"/>
              <a:gd name="connsiteX2144" fmla="*/ 4768008 w 6689088"/>
              <a:gd name="connsiteY2144" fmla="*/ 2055777 h 6689084"/>
              <a:gd name="connsiteX2145" fmla="*/ 4921594 w 6689088"/>
              <a:gd name="connsiteY2145" fmla="*/ 2053600 h 6689084"/>
              <a:gd name="connsiteX2146" fmla="*/ 4943013 w 6689088"/>
              <a:gd name="connsiteY2146" fmla="*/ 2075023 h 6689084"/>
              <a:gd name="connsiteX2147" fmla="*/ 4921594 w 6689088"/>
              <a:gd name="connsiteY2147" fmla="*/ 2096446 h 6689084"/>
              <a:gd name="connsiteX2148" fmla="*/ 4900171 w 6689088"/>
              <a:gd name="connsiteY2148" fmla="*/ 2075023 h 6689084"/>
              <a:gd name="connsiteX2149" fmla="*/ 4921594 w 6689088"/>
              <a:gd name="connsiteY2149" fmla="*/ 2053600 h 6689084"/>
              <a:gd name="connsiteX2150" fmla="*/ 5075545 w 6689088"/>
              <a:gd name="connsiteY2150" fmla="*/ 2052148 h 6689084"/>
              <a:gd name="connsiteX2151" fmla="*/ 5098416 w 6689088"/>
              <a:gd name="connsiteY2151" fmla="*/ 2075023 h 6689084"/>
              <a:gd name="connsiteX2152" fmla="*/ 5075545 w 6689088"/>
              <a:gd name="connsiteY2152" fmla="*/ 2097895 h 6689084"/>
              <a:gd name="connsiteX2153" fmla="*/ 5052670 w 6689088"/>
              <a:gd name="connsiteY2153" fmla="*/ 2075023 h 6689084"/>
              <a:gd name="connsiteX2154" fmla="*/ 5075545 w 6689088"/>
              <a:gd name="connsiteY2154" fmla="*/ 2052148 h 6689084"/>
              <a:gd name="connsiteX2155" fmla="*/ 5229126 w 6689088"/>
              <a:gd name="connsiteY2155" fmla="*/ 2049968 h 6689084"/>
              <a:gd name="connsiteX2156" fmla="*/ 5254182 w 6689088"/>
              <a:gd name="connsiteY2156" fmla="*/ 2075019 h 6689084"/>
              <a:gd name="connsiteX2157" fmla="*/ 5229126 w 6689088"/>
              <a:gd name="connsiteY2157" fmla="*/ 2100075 h 6689084"/>
              <a:gd name="connsiteX2158" fmla="*/ 5204074 w 6689088"/>
              <a:gd name="connsiteY2158" fmla="*/ 2075019 h 6689084"/>
              <a:gd name="connsiteX2159" fmla="*/ 5229126 w 6689088"/>
              <a:gd name="connsiteY2159" fmla="*/ 2049968 h 6689084"/>
              <a:gd name="connsiteX2160" fmla="*/ 5383074 w 6689088"/>
              <a:gd name="connsiteY2160" fmla="*/ 2047791 h 6689084"/>
              <a:gd name="connsiteX2161" fmla="*/ 5410306 w 6689088"/>
              <a:gd name="connsiteY2161" fmla="*/ 2075023 h 6689084"/>
              <a:gd name="connsiteX2162" fmla="*/ 5383074 w 6689088"/>
              <a:gd name="connsiteY2162" fmla="*/ 2102256 h 6689084"/>
              <a:gd name="connsiteX2163" fmla="*/ 5355842 w 6689088"/>
              <a:gd name="connsiteY2163" fmla="*/ 2075023 h 6689084"/>
              <a:gd name="connsiteX2164" fmla="*/ 5383074 w 6689088"/>
              <a:gd name="connsiteY2164" fmla="*/ 2047791 h 6689084"/>
              <a:gd name="connsiteX2165" fmla="*/ 5537018 w 6689088"/>
              <a:gd name="connsiteY2165" fmla="*/ 2045248 h 6689084"/>
              <a:gd name="connsiteX2166" fmla="*/ 5566792 w 6689088"/>
              <a:gd name="connsiteY2166" fmla="*/ 2075023 h 6689084"/>
              <a:gd name="connsiteX2167" fmla="*/ 5537018 w 6689088"/>
              <a:gd name="connsiteY2167" fmla="*/ 2104794 h 6689084"/>
              <a:gd name="connsiteX2168" fmla="*/ 5507246 w 6689088"/>
              <a:gd name="connsiteY2168" fmla="*/ 2075023 h 6689084"/>
              <a:gd name="connsiteX2169" fmla="*/ 5537018 w 6689088"/>
              <a:gd name="connsiteY2169" fmla="*/ 2045248 h 6689084"/>
              <a:gd name="connsiteX2170" fmla="*/ 5690606 w 6689088"/>
              <a:gd name="connsiteY2170" fmla="*/ 2043068 h 6689084"/>
              <a:gd name="connsiteX2171" fmla="*/ 5722558 w 6689088"/>
              <a:gd name="connsiteY2171" fmla="*/ 2075019 h 6689084"/>
              <a:gd name="connsiteX2172" fmla="*/ 5690606 w 6689088"/>
              <a:gd name="connsiteY2172" fmla="*/ 2106971 h 6689084"/>
              <a:gd name="connsiteX2173" fmla="*/ 5658655 w 6689088"/>
              <a:gd name="connsiteY2173" fmla="*/ 2075019 h 6689084"/>
              <a:gd name="connsiteX2174" fmla="*/ 5690606 w 6689088"/>
              <a:gd name="connsiteY2174" fmla="*/ 2043068 h 6689084"/>
              <a:gd name="connsiteX2175" fmla="*/ 5844554 w 6689088"/>
              <a:gd name="connsiteY2175" fmla="*/ 2041254 h 6689084"/>
              <a:gd name="connsiteX2176" fmla="*/ 5878320 w 6689088"/>
              <a:gd name="connsiteY2176" fmla="*/ 2075019 h 6689084"/>
              <a:gd name="connsiteX2177" fmla="*/ 5844554 w 6689088"/>
              <a:gd name="connsiteY2177" fmla="*/ 2108789 h 6689084"/>
              <a:gd name="connsiteX2178" fmla="*/ 5810788 w 6689088"/>
              <a:gd name="connsiteY2178" fmla="*/ 2075019 h 6689084"/>
              <a:gd name="connsiteX2179" fmla="*/ 5844554 w 6689088"/>
              <a:gd name="connsiteY2179" fmla="*/ 2041254 h 6689084"/>
              <a:gd name="connsiteX2180" fmla="*/ 5998136 w 6689088"/>
              <a:gd name="connsiteY2180" fmla="*/ 2038711 h 6689084"/>
              <a:gd name="connsiteX2181" fmla="*/ 6034444 w 6689088"/>
              <a:gd name="connsiteY2181" fmla="*/ 2075019 h 6689084"/>
              <a:gd name="connsiteX2182" fmla="*/ 5998136 w 6689088"/>
              <a:gd name="connsiteY2182" fmla="*/ 2111328 h 6689084"/>
              <a:gd name="connsiteX2183" fmla="*/ 5961827 w 6689088"/>
              <a:gd name="connsiteY2183" fmla="*/ 2075019 h 6689084"/>
              <a:gd name="connsiteX2184" fmla="*/ 5998136 w 6689088"/>
              <a:gd name="connsiteY2184" fmla="*/ 2038711 h 6689084"/>
              <a:gd name="connsiteX2185" fmla="*/ 6152083 w 6689088"/>
              <a:gd name="connsiteY2185" fmla="*/ 2036172 h 6689084"/>
              <a:gd name="connsiteX2186" fmla="*/ 6190934 w 6689088"/>
              <a:gd name="connsiteY2186" fmla="*/ 2075023 h 6689084"/>
              <a:gd name="connsiteX2187" fmla="*/ 6152083 w 6689088"/>
              <a:gd name="connsiteY2187" fmla="*/ 2113870 h 6689084"/>
              <a:gd name="connsiteX2188" fmla="*/ 6113236 w 6689088"/>
              <a:gd name="connsiteY2188" fmla="*/ 2075023 h 6689084"/>
              <a:gd name="connsiteX2189" fmla="*/ 6152083 w 6689088"/>
              <a:gd name="connsiteY2189" fmla="*/ 2036172 h 6689084"/>
              <a:gd name="connsiteX2190" fmla="*/ 6305668 w 6689088"/>
              <a:gd name="connsiteY2190" fmla="*/ 2033992 h 6689084"/>
              <a:gd name="connsiteX2191" fmla="*/ 6346700 w 6689088"/>
              <a:gd name="connsiteY2191" fmla="*/ 2075019 h 6689084"/>
              <a:gd name="connsiteX2192" fmla="*/ 6305668 w 6689088"/>
              <a:gd name="connsiteY2192" fmla="*/ 2116047 h 6689084"/>
              <a:gd name="connsiteX2193" fmla="*/ 6264640 w 6689088"/>
              <a:gd name="connsiteY2193" fmla="*/ 2075019 h 6689084"/>
              <a:gd name="connsiteX2194" fmla="*/ 6305668 w 6689088"/>
              <a:gd name="connsiteY2194" fmla="*/ 2033992 h 6689084"/>
              <a:gd name="connsiteX2195" fmla="*/ 6459616 w 6689088"/>
              <a:gd name="connsiteY2195" fmla="*/ 2031449 h 6689084"/>
              <a:gd name="connsiteX2196" fmla="*/ 6503186 w 6689088"/>
              <a:gd name="connsiteY2196" fmla="*/ 2075019 h 6689084"/>
              <a:gd name="connsiteX2197" fmla="*/ 6459616 w 6689088"/>
              <a:gd name="connsiteY2197" fmla="*/ 2118590 h 6689084"/>
              <a:gd name="connsiteX2198" fmla="*/ 6416046 w 6689088"/>
              <a:gd name="connsiteY2198" fmla="*/ 2075019 h 6689084"/>
              <a:gd name="connsiteX2199" fmla="*/ 6459616 w 6689088"/>
              <a:gd name="connsiteY2199" fmla="*/ 2031449 h 6689084"/>
              <a:gd name="connsiteX2200" fmla="*/ 6613200 w 6689088"/>
              <a:gd name="connsiteY2200" fmla="*/ 2028911 h 6689084"/>
              <a:gd name="connsiteX2201" fmla="*/ 6659313 w 6689088"/>
              <a:gd name="connsiteY2201" fmla="*/ 2075023 h 6689084"/>
              <a:gd name="connsiteX2202" fmla="*/ 6613200 w 6689088"/>
              <a:gd name="connsiteY2202" fmla="*/ 2121136 h 6689084"/>
              <a:gd name="connsiteX2203" fmla="*/ 6567088 w 6689088"/>
              <a:gd name="connsiteY2203" fmla="*/ 2075023 h 6689084"/>
              <a:gd name="connsiteX2204" fmla="*/ 6613200 w 6689088"/>
              <a:gd name="connsiteY2204" fmla="*/ 2028911 h 6689084"/>
              <a:gd name="connsiteX2205" fmla="*/ 2614925 w 6689088"/>
              <a:gd name="connsiteY2205" fmla="*/ 1921072 h 6689084"/>
              <a:gd name="connsiteX2206" fmla="*/ 2615288 w 6689088"/>
              <a:gd name="connsiteY2206" fmla="*/ 1921434 h 6689084"/>
              <a:gd name="connsiteX2207" fmla="*/ 2614925 w 6689088"/>
              <a:gd name="connsiteY2207" fmla="*/ 1921800 h 6689084"/>
              <a:gd name="connsiteX2208" fmla="*/ 2614563 w 6689088"/>
              <a:gd name="connsiteY2208" fmla="*/ 1921434 h 6689084"/>
              <a:gd name="connsiteX2209" fmla="*/ 2614925 w 6689088"/>
              <a:gd name="connsiteY2209" fmla="*/ 1921072 h 6689084"/>
              <a:gd name="connsiteX2210" fmla="*/ 2153808 w 6689088"/>
              <a:gd name="connsiteY2210" fmla="*/ 1921072 h 6689084"/>
              <a:gd name="connsiteX2211" fmla="*/ 2154170 w 6689088"/>
              <a:gd name="connsiteY2211" fmla="*/ 1921434 h 6689084"/>
              <a:gd name="connsiteX2212" fmla="*/ 2153808 w 6689088"/>
              <a:gd name="connsiteY2212" fmla="*/ 1921800 h 6689084"/>
              <a:gd name="connsiteX2213" fmla="*/ 2153445 w 6689088"/>
              <a:gd name="connsiteY2213" fmla="*/ 1921434 h 6689084"/>
              <a:gd name="connsiteX2214" fmla="*/ 2153808 w 6689088"/>
              <a:gd name="connsiteY2214" fmla="*/ 1921072 h 6689084"/>
              <a:gd name="connsiteX2215" fmla="*/ 1999860 w 6689088"/>
              <a:gd name="connsiteY2215" fmla="*/ 1921072 h 6689084"/>
              <a:gd name="connsiteX2216" fmla="*/ 2000222 w 6689088"/>
              <a:gd name="connsiteY2216" fmla="*/ 1921434 h 6689084"/>
              <a:gd name="connsiteX2217" fmla="*/ 1999860 w 6689088"/>
              <a:gd name="connsiteY2217" fmla="*/ 1921800 h 6689084"/>
              <a:gd name="connsiteX2218" fmla="*/ 1999498 w 6689088"/>
              <a:gd name="connsiteY2218" fmla="*/ 1921434 h 6689084"/>
              <a:gd name="connsiteX2219" fmla="*/ 1999860 w 6689088"/>
              <a:gd name="connsiteY2219" fmla="*/ 1921072 h 6689084"/>
              <a:gd name="connsiteX2220" fmla="*/ 1846279 w 6689088"/>
              <a:gd name="connsiteY2220" fmla="*/ 1920710 h 6689084"/>
              <a:gd name="connsiteX2221" fmla="*/ 1847003 w 6689088"/>
              <a:gd name="connsiteY2221" fmla="*/ 1921434 h 6689084"/>
              <a:gd name="connsiteX2222" fmla="*/ 1846279 w 6689088"/>
              <a:gd name="connsiteY2222" fmla="*/ 1922162 h 6689084"/>
              <a:gd name="connsiteX2223" fmla="*/ 1845551 w 6689088"/>
              <a:gd name="connsiteY2223" fmla="*/ 1921434 h 6689084"/>
              <a:gd name="connsiteX2224" fmla="*/ 1846279 w 6689088"/>
              <a:gd name="connsiteY2224" fmla="*/ 1920710 h 6689084"/>
              <a:gd name="connsiteX2225" fmla="*/ 2768873 w 6689088"/>
              <a:gd name="connsiteY2225" fmla="*/ 1919620 h 6689084"/>
              <a:gd name="connsiteX2226" fmla="*/ 2770325 w 6689088"/>
              <a:gd name="connsiteY2226" fmla="*/ 1921072 h 6689084"/>
              <a:gd name="connsiteX2227" fmla="*/ 2768873 w 6689088"/>
              <a:gd name="connsiteY2227" fmla="*/ 1922524 h 6689084"/>
              <a:gd name="connsiteX2228" fmla="*/ 2767421 w 6689088"/>
              <a:gd name="connsiteY2228" fmla="*/ 1921072 h 6689084"/>
              <a:gd name="connsiteX2229" fmla="*/ 2768873 w 6689088"/>
              <a:gd name="connsiteY2229" fmla="*/ 1919620 h 6689084"/>
              <a:gd name="connsiteX2230" fmla="*/ 2922454 w 6689088"/>
              <a:gd name="connsiteY2230" fmla="*/ 1918895 h 6689084"/>
              <a:gd name="connsiteX2231" fmla="*/ 2924635 w 6689088"/>
              <a:gd name="connsiteY2231" fmla="*/ 1921076 h 6689084"/>
              <a:gd name="connsiteX2232" fmla="*/ 2922454 w 6689088"/>
              <a:gd name="connsiteY2232" fmla="*/ 1923252 h 6689084"/>
              <a:gd name="connsiteX2233" fmla="*/ 2920278 w 6689088"/>
              <a:gd name="connsiteY2233" fmla="*/ 1921076 h 6689084"/>
              <a:gd name="connsiteX2234" fmla="*/ 2922454 w 6689088"/>
              <a:gd name="connsiteY2234" fmla="*/ 1918895 h 6689084"/>
              <a:gd name="connsiteX2235" fmla="*/ 3076406 w 6689088"/>
              <a:gd name="connsiteY2235" fmla="*/ 1918167 h 6689084"/>
              <a:gd name="connsiteX2236" fmla="*/ 3079672 w 6689088"/>
              <a:gd name="connsiteY2236" fmla="*/ 1921434 h 6689084"/>
              <a:gd name="connsiteX2237" fmla="*/ 3076406 w 6689088"/>
              <a:gd name="connsiteY2237" fmla="*/ 1924701 h 6689084"/>
              <a:gd name="connsiteX2238" fmla="*/ 3073135 w 6689088"/>
              <a:gd name="connsiteY2238" fmla="*/ 1921434 h 6689084"/>
              <a:gd name="connsiteX2239" fmla="*/ 3076406 w 6689088"/>
              <a:gd name="connsiteY2239" fmla="*/ 1918167 h 6689084"/>
              <a:gd name="connsiteX2240" fmla="*/ 3230353 w 6689088"/>
              <a:gd name="connsiteY2240" fmla="*/ 1916715 h 6689084"/>
              <a:gd name="connsiteX2241" fmla="*/ 3234710 w 6689088"/>
              <a:gd name="connsiteY2241" fmla="*/ 1921072 h 6689084"/>
              <a:gd name="connsiteX2242" fmla="*/ 3230353 w 6689088"/>
              <a:gd name="connsiteY2242" fmla="*/ 1925429 h 6689084"/>
              <a:gd name="connsiteX2243" fmla="*/ 3225996 w 6689088"/>
              <a:gd name="connsiteY2243" fmla="*/ 1921072 h 6689084"/>
              <a:gd name="connsiteX2244" fmla="*/ 3230353 w 6689088"/>
              <a:gd name="connsiteY2244" fmla="*/ 1916715 h 6689084"/>
              <a:gd name="connsiteX2245" fmla="*/ 3383938 w 6689088"/>
              <a:gd name="connsiteY2245" fmla="*/ 1915625 h 6689084"/>
              <a:gd name="connsiteX2246" fmla="*/ 3389748 w 6689088"/>
              <a:gd name="connsiteY2246" fmla="*/ 1921434 h 6689084"/>
              <a:gd name="connsiteX2247" fmla="*/ 3383938 w 6689088"/>
              <a:gd name="connsiteY2247" fmla="*/ 1927243 h 6689084"/>
              <a:gd name="connsiteX2248" fmla="*/ 3378129 w 6689088"/>
              <a:gd name="connsiteY2248" fmla="*/ 1921434 h 6689084"/>
              <a:gd name="connsiteX2249" fmla="*/ 3383938 w 6689088"/>
              <a:gd name="connsiteY2249" fmla="*/ 1915625 h 6689084"/>
              <a:gd name="connsiteX2250" fmla="*/ 3537882 w 6689088"/>
              <a:gd name="connsiteY2250" fmla="*/ 1913810 h 6689084"/>
              <a:gd name="connsiteX2251" fmla="*/ 3545143 w 6689088"/>
              <a:gd name="connsiteY2251" fmla="*/ 1921072 h 6689084"/>
              <a:gd name="connsiteX2252" fmla="*/ 3537882 w 6689088"/>
              <a:gd name="connsiteY2252" fmla="*/ 1928334 h 6689084"/>
              <a:gd name="connsiteX2253" fmla="*/ 3530620 w 6689088"/>
              <a:gd name="connsiteY2253" fmla="*/ 1921072 h 6689084"/>
              <a:gd name="connsiteX2254" fmla="*/ 3537882 w 6689088"/>
              <a:gd name="connsiteY2254" fmla="*/ 1913810 h 6689084"/>
              <a:gd name="connsiteX2255" fmla="*/ 3691467 w 6689088"/>
              <a:gd name="connsiteY2255" fmla="*/ 1911996 h 6689084"/>
              <a:gd name="connsiteX2256" fmla="*/ 3700547 w 6689088"/>
              <a:gd name="connsiteY2256" fmla="*/ 1921072 h 6689084"/>
              <a:gd name="connsiteX2257" fmla="*/ 3691467 w 6689088"/>
              <a:gd name="connsiteY2257" fmla="*/ 1930152 h 6689084"/>
              <a:gd name="connsiteX2258" fmla="*/ 3682391 w 6689088"/>
              <a:gd name="connsiteY2258" fmla="*/ 1921072 h 6689084"/>
              <a:gd name="connsiteX2259" fmla="*/ 3691467 w 6689088"/>
              <a:gd name="connsiteY2259" fmla="*/ 1911996 h 6689084"/>
              <a:gd name="connsiteX2260" fmla="*/ 3845414 w 6689088"/>
              <a:gd name="connsiteY2260" fmla="*/ 1911268 h 6689084"/>
              <a:gd name="connsiteX2261" fmla="*/ 3855581 w 6689088"/>
              <a:gd name="connsiteY2261" fmla="*/ 1921434 h 6689084"/>
              <a:gd name="connsiteX2262" fmla="*/ 3845414 w 6689088"/>
              <a:gd name="connsiteY2262" fmla="*/ 1931600 h 6689084"/>
              <a:gd name="connsiteX2263" fmla="*/ 3835248 w 6689088"/>
              <a:gd name="connsiteY2263" fmla="*/ 1921434 h 6689084"/>
              <a:gd name="connsiteX2264" fmla="*/ 3845414 w 6689088"/>
              <a:gd name="connsiteY2264" fmla="*/ 1911268 h 6689084"/>
              <a:gd name="connsiteX2265" fmla="*/ 3999000 w 6689088"/>
              <a:gd name="connsiteY2265" fmla="*/ 1909091 h 6689084"/>
              <a:gd name="connsiteX2266" fmla="*/ 4010984 w 6689088"/>
              <a:gd name="connsiteY2266" fmla="*/ 1921072 h 6689084"/>
              <a:gd name="connsiteX2267" fmla="*/ 3999000 w 6689088"/>
              <a:gd name="connsiteY2267" fmla="*/ 1933053 h 6689084"/>
              <a:gd name="connsiteX2268" fmla="*/ 3987019 w 6689088"/>
              <a:gd name="connsiteY2268" fmla="*/ 1921072 h 6689084"/>
              <a:gd name="connsiteX2269" fmla="*/ 3999000 w 6689088"/>
              <a:gd name="connsiteY2269" fmla="*/ 1909091 h 6689084"/>
              <a:gd name="connsiteX2270" fmla="*/ 4152951 w 6689088"/>
              <a:gd name="connsiteY2270" fmla="*/ 1907277 h 6689084"/>
              <a:gd name="connsiteX2271" fmla="*/ 4166746 w 6689088"/>
              <a:gd name="connsiteY2271" fmla="*/ 1921076 h 6689084"/>
              <a:gd name="connsiteX2272" fmla="*/ 4152951 w 6689088"/>
              <a:gd name="connsiteY2272" fmla="*/ 1934871 h 6689084"/>
              <a:gd name="connsiteX2273" fmla="*/ 4139152 w 6689088"/>
              <a:gd name="connsiteY2273" fmla="*/ 1921076 h 6689084"/>
              <a:gd name="connsiteX2274" fmla="*/ 4152951 w 6689088"/>
              <a:gd name="connsiteY2274" fmla="*/ 1907277 h 6689084"/>
              <a:gd name="connsiteX2275" fmla="*/ 4306528 w 6689088"/>
              <a:gd name="connsiteY2275" fmla="*/ 1905824 h 6689084"/>
              <a:gd name="connsiteX2276" fmla="*/ 4321780 w 6689088"/>
              <a:gd name="connsiteY2276" fmla="*/ 1921072 h 6689084"/>
              <a:gd name="connsiteX2277" fmla="*/ 4306528 w 6689088"/>
              <a:gd name="connsiteY2277" fmla="*/ 1936323 h 6689084"/>
              <a:gd name="connsiteX2278" fmla="*/ 4291281 w 6689088"/>
              <a:gd name="connsiteY2278" fmla="*/ 1921072 h 6689084"/>
              <a:gd name="connsiteX2279" fmla="*/ 4306528 w 6689088"/>
              <a:gd name="connsiteY2279" fmla="*/ 1905824 h 6689084"/>
              <a:gd name="connsiteX2280" fmla="*/ 4460480 w 6689088"/>
              <a:gd name="connsiteY2280" fmla="*/ 1904006 h 6689084"/>
              <a:gd name="connsiteX2281" fmla="*/ 4477546 w 6689088"/>
              <a:gd name="connsiteY2281" fmla="*/ 1921072 h 6689084"/>
              <a:gd name="connsiteX2282" fmla="*/ 4460480 w 6689088"/>
              <a:gd name="connsiteY2282" fmla="*/ 1938138 h 6689084"/>
              <a:gd name="connsiteX2283" fmla="*/ 4443414 w 6689088"/>
              <a:gd name="connsiteY2283" fmla="*/ 1921072 h 6689084"/>
              <a:gd name="connsiteX2284" fmla="*/ 4460480 w 6689088"/>
              <a:gd name="connsiteY2284" fmla="*/ 1904006 h 6689084"/>
              <a:gd name="connsiteX2285" fmla="*/ 4614061 w 6689088"/>
              <a:gd name="connsiteY2285" fmla="*/ 1901830 h 6689084"/>
              <a:gd name="connsiteX2286" fmla="*/ 4633304 w 6689088"/>
              <a:gd name="connsiteY2286" fmla="*/ 1921072 h 6689084"/>
              <a:gd name="connsiteX2287" fmla="*/ 4614061 w 6689088"/>
              <a:gd name="connsiteY2287" fmla="*/ 1940314 h 6689084"/>
              <a:gd name="connsiteX2288" fmla="*/ 4594818 w 6689088"/>
              <a:gd name="connsiteY2288" fmla="*/ 1921072 h 6689084"/>
              <a:gd name="connsiteX2289" fmla="*/ 4614061 w 6689088"/>
              <a:gd name="connsiteY2289" fmla="*/ 1901830 h 6689084"/>
              <a:gd name="connsiteX2290" fmla="*/ 4768012 w 6689088"/>
              <a:gd name="connsiteY2290" fmla="*/ 1899649 h 6689084"/>
              <a:gd name="connsiteX2291" fmla="*/ 4789432 w 6689088"/>
              <a:gd name="connsiteY2291" fmla="*/ 1921072 h 6689084"/>
              <a:gd name="connsiteX2292" fmla="*/ 4768012 w 6689088"/>
              <a:gd name="connsiteY2292" fmla="*/ 1942495 h 6689084"/>
              <a:gd name="connsiteX2293" fmla="*/ 4746590 w 6689088"/>
              <a:gd name="connsiteY2293" fmla="*/ 1921072 h 6689084"/>
              <a:gd name="connsiteX2294" fmla="*/ 4768012 w 6689088"/>
              <a:gd name="connsiteY2294" fmla="*/ 1899649 h 6689084"/>
              <a:gd name="connsiteX2295" fmla="*/ 4921594 w 6689088"/>
              <a:gd name="connsiteY2295" fmla="*/ 1898563 h 6689084"/>
              <a:gd name="connsiteX2296" fmla="*/ 4944469 w 6689088"/>
              <a:gd name="connsiteY2296" fmla="*/ 1921438 h 6689084"/>
              <a:gd name="connsiteX2297" fmla="*/ 4921594 w 6689088"/>
              <a:gd name="connsiteY2297" fmla="*/ 1944309 h 6689084"/>
              <a:gd name="connsiteX2298" fmla="*/ 4898718 w 6689088"/>
              <a:gd name="connsiteY2298" fmla="*/ 1921438 h 6689084"/>
              <a:gd name="connsiteX2299" fmla="*/ 4921594 w 6689088"/>
              <a:gd name="connsiteY2299" fmla="*/ 1898563 h 6689084"/>
              <a:gd name="connsiteX2300" fmla="*/ 5075541 w 6689088"/>
              <a:gd name="connsiteY2300" fmla="*/ 1896382 h 6689084"/>
              <a:gd name="connsiteX2301" fmla="*/ 5100597 w 6689088"/>
              <a:gd name="connsiteY2301" fmla="*/ 1921434 h 6689084"/>
              <a:gd name="connsiteX2302" fmla="*/ 5075541 w 6689088"/>
              <a:gd name="connsiteY2302" fmla="*/ 1946490 h 6689084"/>
              <a:gd name="connsiteX2303" fmla="*/ 5050490 w 6689088"/>
              <a:gd name="connsiteY2303" fmla="*/ 1921434 h 6689084"/>
              <a:gd name="connsiteX2304" fmla="*/ 5075541 w 6689088"/>
              <a:gd name="connsiteY2304" fmla="*/ 1896382 h 6689084"/>
              <a:gd name="connsiteX2305" fmla="*/ 5229126 w 6689088"/>
              <a:gd name="connsiteY2305" fmla="*/ 1894206 h 6689084"/>
              <a:gd name="connsiteX2306" fmla="*/ 5256358 w 6689088"/>
              <a:gd name="connsiteY2306" fmla="*/ 1921438 h 6689084"/>
              <a:gd name="connsiteX2307" fmla="*/ 5229126 w 6689088"/>
              <a:gd name="connsiteY2307" fmla="*/ 1948670 h 6689084"/>
              <a:gd name="connsiteX2308" fmla="*/ 5201894 w 6689088"/>
              <a:gd name="connsiteY2308" fmla="*/ 1921438 h 6689084"/>
              <a:gd name="connsiteX2309" fmla="*/ 5229126 w 6689088"/>
              <a:gd name="connsiteY2309" fmla="*/ 1894206 h 6689084"/>
              <a:gd name="connsiteX2310" fmla="*/ 5383074 w 6689088"/>
              <a:gd name="connsiteY2310" fmla="*/ 1891301 h 6689084"/>
              <a:gd name="connsiteX2311" fmla="*/ 5412848 w 6689088"/>
              <a:gd name="connsiteY2311" fmla="*/ 1921072 h 6689084"/>
              <a:gd name="connsiteX2312" fmla="*/ 5383074 w 6689088"/>
              <a:gd name="connsiteY2312" fmla="*/ 1950847 h 6689084"/>
              <a:gd name="connsiteX2313" fmla="*/ 5353303 w 6689088"/>
              <a:gd name="connsiteY2313" fmla="*/ 1921072 h 6689084"/>
              <a:gd name="connsiteX2314" fmla="*/ 5383074 w 6689088"/>
              <a:gd name="connsiteY2314" fmla="*/ 1891301 h 6689084"/>
              <a:gd name="connsiteX2315" fmla="*/ 5536659 w 6689088"/>
              <a:gd name="connsiteY2315" fmla="*/ 1889121 h 6689084"/>
              <a:gd name="connsiteX2316" fmla="*/ 5568610 w 6689088"/>
              <a:gd name="connsiteY2316" fmla="*/ 1921072 h 6689084"/>
              <a:gd name="connsiteX2317" fmla="*/ 5536659 w 6689088"/>
              <a:gd name="connsiteY2317" fmla="*/ 1953023 h 6689084"/>
              <a:gd name="connsiteX2318" fmla="*/ 5504708 w 6689088"/>
              <a:gd name="connsiteY2318" fmla="*/ 1921072 h 6689084"/>
              <a:gd name="connsiteX2319" fmla="*/ 5536659 w 6689088"/>
              <a:gd name="connsiteY2319" fmla="*/ 1889121 h 6689084"/>
              <a:gd name="connsiteX2320" fmla="*/ 5690606 w 6689088"/>
              <a:gd name="connsiteY2320" fmla="*/ 1887306 h 6689084"/>
              <a:gd name="connsiteX2321" fmla="*/ 5724376 w 6689088"/>
              <a:gd name="connsiteY2321" fmla="*/ 1921072 h 6689084"/>
              <a:gd name="connsiteX2322" fmla="*/ 5690606 w 6689088"/>
              <a:gd name="connsiteY2322" fmla="*/ 1954842 h 6689084"/>
              <a:gd name="connsiteX2323" fmla="*/ 5656840 w 6689088"/>
              <a:gd name="connsiteY2323" fmla="*/ 1921072 h 6689084"/>
              <a:gd name="connsiteX2324" fmla="*/ 5690606 w 6689088"/>
              <a:gd name="connsiteY2324" fmla="*/ 1887306 h 6689084"/>
              <a:gd name="connsiteX2325" fmla="*/ 5844554 w 6689088"/>
              <a:gd name="connsiteY2325" fmla="*/ 1884764 h 6689084"/>
              <a:gd name="connsiteX2326" fmla="*/ 5880862 w 6689088"/>
              <a:gd name="connsiteY2326" fmla="*/ 1921072 h 6689084"/>
              <a:gd name="connsiteX2327" fmla="*/ 5844554 w 6689088"/>
              <a:gd name="connsiteY2327" fmla="*/ 1957380 h 6689084"/>
              <a:gd name="connsiteX2328" fmla="*/ 5808246 w 6689088"/>
              <a:gd name="connsiteY2328" fmla="*/ 1921072 h 6689084"/>
              <a:gd name="connsiteX2329" fmla="*/ 5844554 w 6689088"/>
              <a:gd name="connsiteY2329" fmla="*/ 1884764 h 6689084"/>
              <a:gd name="connsiteX2330" fmla="*/ 5998139 w 6689088"/>
              <a:gd name="connsiteY2330" fmla="*/ 1882225 h 6689084"/>
              <a:gd name="connsiteX2331" fmla="*/ 6036990 w 6689088"/>
              <a:gd name="connsiteY2331" fmla="*/ 1921076 h 6689084"/>
              <a:gd name="connsiteX2332" fmla="*/ 5998139 w 6689088"/>
              <a:gd name="connsiteY2332" fmla="*/ 1959923 h 6689084"/>
              <a:gd name="connsiteX2333" fmla="*/ 5959288 w 6689088"/>
              <a:gd name="connsiteY2333" fmla="*/ 1921076 h 6689084"/>
              <a:gd name="connsiteX2334" fmla="*/ 5998139 w 6689088"/>
              <a:gd name="connsiteY2334" fmla="*/ 1882225 h 6689084"/>
              <a:gd name="connsiteX2335" fmla="*/ 6152083 w 6689088"/>
              <a:gd name="connsiteY2335" fmla="*/ 1880045 h 6689084"/>
              <a:gd name="connsiteX2336" fmla="*/ 6193114 w 6689088"/>
              <a:gd name="connsiteY2336" fmla="*/ 1921072 h 6689084"/>
              <a:gd name="connsiteX2337" fmla="*/ 6152083 w 6689088"/>
              <a:gd name="connsiteY2337" fmla="*/ 1962103 h 6689084"/>
              <a:gd name="connsiteX2338" fmla="*/ 6111056 w 6689088"/>
              <a:gd name="connsiteY2338" fmla="*/ 1921072 h 6689084"/>
              <a:gd name="connsiteX2339" fmla="*/ 6152083 w 6689088"/>
              <a:gd name="connsiteY2339" fmla="*/ 1880045 h 6689084"/>
              <a:gd name="connsiteX2340" fmla="*/ 6305668 w 6689088"/>
              <a:gd name="connsiteY2340" fmla="*/ 1877502 h 6689084"/>
              <a:gd name="connsiteX2341" fmla="*/ 6349238 w 6689088"/>
              <a:gd name="connsiteY2341" fmla="*/ 1921072 h 6689084"/>
              <a:gd name="connsiteX2342" fmla="*/ 6305668 w 6689088"/>
              <a:gd name="connsiteY2342" fmla="*/ 1964642 h 6689084"/>
              <a:gd name="connsiteX2343" fmla="*/ 6262098 w 6689088"/>
              <a:gd name="connsiteY2343" fmla="*/ 1921072 h 6689084"/>
              <a:gd name="connsiteX2344" fmla="*/ 6305668 w 6689088"/>
              <a:gd name="connsiteY2344" fmla="*/ 1877502 h 6689084"/>
              <a:gd name="connsiteX2345" fmla="*/ 6459616 w 6689088"/>
              <a:gd name="connsiteY2345" fmla="*/ 1874959 h 6689084"/>
              <a:gd name="connsiteX2346" fmla="*/ 6505728 w 6689088"/>
              <a:gd name="connsiteY2346" fmla="*/ 1921072 h 6689084"/>
              <a:gd name="connsiteX2347" fmla="*/ 6459616 w 6689088"/>
              <a:gd name="connsiteY2347" fmla="*/ 1967184 h 6689084"/>
              <a:gd name="connsiteX2348" fmla="*/ 6413503 w 6689088"/>
              <a:gd name="connsiteY2348" fmla="*/ 1921072 h 6689084"/>
              <a:gd name="connsiteX2349" fmla="*/ 6459616 w 6689088"/>
              <a:gd name="connsiteY2349" fmla="*/ 1874959 h 6689084"/>
              <a:gd name="connsiteX2350" fmla="*/ 6613200 w 6689088"/>
              <a:gd name="connsiteY2350" fmla="*/ 1872421 h 6689084"/>
              <a:gd name="connsiteX2351" fmla="*/ 6661856 w 6689088"/>
              <a:gd name="connsiteY2351" fmla="*/ 1921076 h 6689084"/>
              <a:gd name="connsiteX2352" fmla="*/ 6613200 w 6689088"/>
              <a:gd name="connsiteY2352" fmla="*/ 1969727 h 6689084"/>
              <a:gd name="connsiteX2353" fmla="*/ 6564550 w 6689088"/>
              <a:gd name="connsiteY2353" fmla="*/ 1921076 h 6689084"/>
              <a:gd name="connsiteX2354" fmla="*/ 6613200 w 6689088"/>
              <a:gd name="connsiteY2354" fmla="*/ 1872421 h 6689084"/>
              <a:gd name="connsiteX2355" fmla="*/ 2461340 w 6689088"/>
              <a:gd name="connsiteY2355" fmla="*/ 1767125 h 6689084"/>
              <a:gd name="connsiteX2356" fmla="*/ 2461702 w 6689088"/>
              <a:gd name="connsiteY2356" fmla="*/ 1767487 h 6689084"/>
              <a:gd name="connsiteX2357" fmla="*/ 2461340 w 6689088"/>
              <a:gd name="connsiteY2357" fmla="*/ 1767853 h 6689084"/>
              <a:gd name="connsiteX2358" fmla="*/ 2460978 w 6689088"/>
              <a:gd name="connsiteY2358" fmla="*/ 1767487 h 6689084"/>
              <a:gd name="connsiteX2359" fmla="*/ 2461340 w 6689088"/>
              <a:gd name="connsiteY2359" fmla="*/ 1767125 h 6689084"/>
              <a:gd name="connsiteX2360" fmla="*/ 1999860 w 6689088"/>
              <a:gd name="connsiteY2360" fmla="*/ 1767125 h 6689084"/>
              <a:gd name="connsiteX2361" fmla="*/ 2000222 w 6689088"/>
              <a:gd name="connsiteY2361" fmla="*/ 1767487 h 6689084"/>
              <a:gd name="connsiteX2362" fmla="*/ 1999860 w 6689088"/>
              <a:gd name="connsiteY2362" fmla="*/ 1767853 h 6689084"/>
              <a:gd name="connsiteX2363" fmla="*/ 1999498 w 6689088"/>
              <a:gd name="connsiteY2363" fmla="*/ 1767487 h 6689084"/>
              <a:gd name="connsiteX2364" fmla="*/ 1999860 w 6689088"/>
              <a:gd name="connsiteY2364" fmla="*/ 1767125 h 6689084"/>
              <a:gd name="connsiteX2365" fmla="*/ 1846279 w 6689088"/>
              <a:gd name="connsiteY2365" fmla="*/ 1767125 h 6689084"/>
              <a:gd name="connsiteX2366" fmla="*/ 1846641 w 6689088"/>
              <a:gd name="connsiteY2366" fmla="*/ 1767487 h 6689084"/>
              <a:gd name="connsiteX2367" fmla="*/ 1846279 w 6689088"/>
              <a:gd name="connsiteY2367" fmla="*/ 1767853 h 6689084"/>
              <a:gd name="connsiteX2368" fmla="*/ 1845917 w 6689088"/>
              <a:gd name="connsiteY2368" fmla="*/ 1767487 h 6689084"/>
              <a:gd name="connsiteX2369" fmla="*/ 1846279 w 6689088"/>
              <a:gd name="connsiteY2369" fmla="*/ 1767125 h 6689084"/>
              <a:gd name="connsiteX2370" fmla="*/ 1692328 w 6689088"/>
              <a:gd name="connsiteY2370" fmla="*/ 1766762 h 6689084"/>
              <a:gd name="connsiteX2371" fmla="*/ 1693056 w 6689088"/>
              <a:gd name="connsiteY2371" fmla="*/ 1767491 h 6689084"/>
              <a:gd name="connsiteX2372" fmla="*/ 1692328 w 6689088"/>
              <a:gd name="connsiteY2372" fmla="*/ 1768215 h 6689084"/>
              <a:gd name="connsiteX2373" fmla="*/ 1691603 w 6689088"/>
              <a:gd name="connsiteY2373" fmla="*/ 1767491 h 6689084"/>
              <a:gd name="connsiteX2374" fmla="*/ 1692328 w 6689088"/>
              <a:gd name="connsiteY2374" fmla="*/ 1766762 h 6689084"/>
              <a:gd name="connsiteX2375" fmla="*/ 2614925 w 6689088"/>
              <a:gd name="connsiteY2375" fmla="*/ 1765672 h 6689084"/>
              <a:gd name="connsiteX2376" fmla="*/ 2616378 w 6689088"/>
              <a:gd name="connsiteY2376" fmla="*/ 1767125 h 6689084"/>
              <a:gd name="connsiteX2377" fmla="*/ 2614925 w 6689088"/>
              <a:gd name="connsiteY2377" fmla="*/ 1768577 h 6689084"/>
              <a:gd name="connsiteX2378" fmla="*/ 2613473 w 6689088"/>
              <a:gd name="connsiteY2378" fmla="*/ 1767125 h 6689084"/>
              <a:gd name="connsiteX2379" fmla="*/ 2614925 w 6689088"/>
              <a:gd name="connsiteY2379" fmla="*/ 1765672 h 6689084"/>
              <a:gd name="connsiteX2380" fmla="*/ 2768873 w 6689088"/>
              <a:gd name="connsiteY2380" fmla="*/ 1765310 h 6689084"/>
              <a:gd name="connsiteX2381" fmla="*/ 2771049 w 6689088"/>
              <a:gd name="connsiteY2381" fmla="*/ 1767491 h 6689084"/>
              <a:gd name="connsiteX2382" fmla="*/ 2768873 w 6689088"/>
              <a:gd name="connsiteY2382" fmla="*/ 1769667 h 6689084"/>
              <a:gd name="connsiteX2383" fmla="*/ 2766692 w 6689088"/>
              <a:gd name="connsiteY2383" fmla="*/ 1767491 h 6689084"/>
              <a:gd name="connsiteX2384" fmla="*/ 2768873 w 6689088"/>
              <a:gd name="connsiteY2384" fmla="*/ 1765310 h 6689084"/>
              <a:gd name="connsiteX2385" fmla="*/ 2922454 w 6689088"/>
              <a:gd name="connsiteY2385" fmla="*/ 1764220 h 6689084"/>
              <a:gd name="connsiteX2386" fmla="*/ 2925721 w 6689088"/>
              <a:gd name="connsiteY2386" fmla="*/ 1767487 h 6689084"/>
              <a:gd name="connsiteX2387" fmla="*/ 2922454 w 6689088"/>
              <a:gd name="connsiteY2387" fmla="*/ 1770757 h 6689084"/>
              <a:gd name="connsiteX2388" fmla="*/ 2919188 w 6689088"/>
              <a:gd name="connsiteY2388" fmla="*/ 1767487 h 6689084"/>
              <a:gd name="connsiteX2389" fmla="*/ 2922454 w 6689088"/>
              <a:gd name="connsiteY2389" fmla="*/ 1764220 h 6689084"/>
              <a:gd name="connsiteX2390" fmla="*/ 3076406 w 6689088"/>
              <a:gd name="connsiteY2390" fmla="*/ 1763134 h 6689084"/>
              <a:gd name="connsiteX2391" fmla="*/ 3080762 w 6689088"/>
              <a:gd name="connsiteY2391" fmla="*/ 1767491 h 6689084"/>
              <a:gd name="connsiteX2392" fmla="*/ 3076406 w 6689088"/>
              <a:gd name="connsiteY2392" fmla="*/ 1771848 h 6689084"/>
              <a:gd name="connsiteX2393" fmla="*/ 3072048 w 6689088"/>
              <a:gd name="connsiteY2393" fmla="*/ 1767491 h 6689084"/>
              <a:gd name="connsiteX2394" fmla="*/ 3076406 w 6689088"/>
              <a:gd name="connsiteY2394" fmla="*/ 1763134 h 6689084"/>
              <a:gd name="connsiteX2395" fmla="*/ 3230353 w 6689088"/>
              <a:gd name="connsiteY2395" fmla="*/ 1761681 h 6689084"/>
              <a:gd name="connsiteX2396" fmla="*/ 3236162 w 6689088"/>
              <a:gd name="connsiteY2396" fmla="*/ 1767491 h 6689084"/>
              <a:gd name="connsiteX2397" fmla="*/ 3230353 w 6689088"/>
              <a:gd name="connsiteY2397" fmla="*/ 1773300 h 6689084"/>
              <a:gd name="connsiteX2398" fmla="*/ 3224544 w 6689088"/>
              <a:gd name="connsiteY2398" fmla="*/ 1767491 h 6689084"/>
              <a:gd name="connsiteX2399" fmla="*/ 3230353 w 6689088"/>
              <a:gd name="connsiteY2399" fmla="*/ 1761681 h 6689084"/>
              <a:gd name="connsiteX2400" fmla="*/ 3383938 w 6689088"/>
              <a:gd name="connsiteY2400" fmla="*/ 1760225 h 6689084"/>
              <a:gd name="connsiteX2401" fmla="*/ 3391200 w 6689088"/>
              <a:gd name="connsiteY2401" fmla="*/ 1767487 h 6689084"/>
              <a:gd name="connsiteX2402" fmla="*/ 3383938 w 6689088"/>
              <a:gd name="connsiteY2402" fmla="*/ 1774748 h 6689084"/>
              <a:gd name="connsiteX2403" fmla="*/ 3376676 w 6689088"/>
              <a:gd name="connsiteY2403" fmla="*/ 1767487 h 6689084"/>
              <a:gd name="connsiteX2404" fmla="*/ 3383938 w 6689088"/>
              <a:gd name="connsiteY2404" fmla="*/ 1760225 h 6689084"/>
              <a:gd name="connsiteX2405" fmla="*/ 3537882 w 6689088"/>
              <a:gd name="connsiteY2405" fmla="*/ 1758411 h 6689084"/>
              <a:gd name="connsiteX2406" fmla="*/ 3546962 w 6689088"/>
              <a:gd name="connsiteY2406" fmla="*/ 1767487 h 6689084"/>
              <a:gd name="connsiteX2407" fmla="*/ 3537882 w 6689088"/>
              <a:gd name="connsiteY2407" fmla="*/ 1776567 h 6689084"/>
              <a:gd name="connsiteX2408" fmla="*/ 3528806 w 6689088"/>
              <a:gd name="connsiteY2408" fmla="*/ 1767487 h 6689084"/>
              <a:gd name="connsiteX2409" fmla="*/ 3537882 w 6689088"/>
              <a:gd name="connsiteY2409" fmla="*/ 1758411 h 6689084"/>
              <a:gd name="connsiteX2410" fmla="*/ 3691467 w 6689088"/>
              <a:gd name="connsiteY2410" fmla="*/ 1757324 h 6689084"/>
              <a:gd name="connsiteX2411" fmla="*/ 3701633 w 6689088"/>
              <a:gd name="connsiteY2411" fmla="*/ 1767491 h 6689084"/>
              <a:gd name="connsiteX2412" fmla="*/ 3691467 w 6689088"/>
              <a:gd name="connsiteY2412" fmla="*/ 1777657 h 6689084"/>
              <a:gd name="connsiteX2413" fmla="*/ 3681300 w 6689088"/>
              <a:gd name="connsiteY2413" fmla="*/ 1767491 h 6689084"/>
              <a:gd name="connsiteX2414" fmla="*/ 3691467 w 6689088"/>
              <a:gd name="connsiteY2414" fmla="*/ 1757324 h 6689084"/>
              <a:gd name="connsiteX2415" fmla="*/ 3845414 w 6689088"/>
              <a:gd name="connsiteY2415" fmla="*/ 1755506 h 6689084"/>
              <a:gd name="connsiteX2416" fmla="*/ 3857399 w 6689088"/>
              <a:gd name="connsiteY2416" fmla="*/ 1767487 h 6689084"/>
              <a:gd name="connsiteX2417" fmla="*/ 3845414 w 6689088"/>
              <a:gd name="connsiteY2417" fmla="*/ 1779468 h 6689084"/>
              <a:gd name="connsiteX2418" fmla="*/ 3833434 w 6689088"/>
              <a:gd name="connsiteY2418" fmla="*/ 1767487 h 6689084"/>
              <a:gd name="connsiteX2419" fmla="*/ 3845414 w 6689088"/>
              <a:gd name="connsiteY2419" fmla="*/ 1755506 h 6689084"/>
              <a:gd name="connsiteX2420" fmla="*/ 3999000 w 6689088"/>
              <a:gd name="connsiteY2420" fmla="*/ 1753329 h 6689084"/>
              <a:gd name="connsiteX2421" fmla="*/ 4012799 w 6689088"/>
              <a:gd name="connsiteY2421" fmla="*/ 1767125 h 6689084"/>
              <a:gd name="connsiteX2422" fmla="*/ 3999000 w 6689088"/>
              <a:gd name="connsiteY2422" fmla="*/ 1780924 h 6689084"/>
              <a:gd name="connsiteX2423" fmla="*/ 3985204 w 6689088"/>
              <a:gd name="connsiteY2423" fmla="*/ 1767125 h 6689084"/>
              <a:gd name="connsiteX2424" fmla="*/ 3999000 w 6689088"/>
              <a:gd name="connsiteY2424" fmla="*/ 1753329 h 6689084"/>
              <a:gd name="connsiteX2425" fmla="*/ 4152947 w 6689088"/>
              <a:gd name="connsiteY2425" fmla="*/ 1752239 h 6689084"/>
              <a:gd name="connsiteX2426" fmla="*/ 4168198 w 6689088"/>
              <a:gd name="connsiteY2426" fmla="*/ 1767491 h 6689084"/>
              <a:gd name="connsiteX2427" fmla="*/ 4152947 w 6689088"/>
              <a:gd name="connsiteY2427" fmla="*/ 1782738 h 6689084"/>
              <a:gd name="connsiteX2428" fmla="*/ 4137700 w 6689088"/>
              <a:gd name="connsiteY2428" fmla="*/ 1767491 h 6689084"/>
              <a:gd name="connsiteX2429" fmla="*/ 4152947 w 6689088"/>
              <a:gd name="connsiteY2429" fmla="*/ 1752239 h 6689084"/>
              <a:gd name="connsiteX2430" fmla="*/ 4306532 w 6689088"/>
              <a:gd name="connsiteY2430" fmla="*/ 1750425 h 6689084"/>
              <a:gd name="connsiteX2431" fmla="*/ 4323598 w 6689088"/>
              <a:gd name="connsiteY2431" fmla="*/ 1767491 h 6689084"/>
              <a:gd name="connsiteX2432" fmla="*/ 4306532 w 6689088"/>
              <a:gd name="connsiteY2432" fmla="*/ 1784556 h 6689084"/>
              <a:gd name="connsiteX2433" fmla="*/ 4289466 w 6689088"/>
              <a:gd name="connsiteY2433" fmla="*/ 1767491 h 6689084"/>
              <a:gd name="connsiteX2434" fmla="*/ 4306532 w 6689088"/>
              <a:gd name="connsiteY2434" fmla="*/ 1750425 h 6689084"/>
              <a:gd name="connsiteX2435" fmla="*/ 4460480 w 6689088"/>
              <a:gd name="connsiteY2435" fmla="*/ 1748244 h 6689084"/>
              <a:gd name="connsiteX2436" fmla="*/ 4479726 w 6689088"/>
              <a:gd name="connsiteY2436" fmla="*/ 1767487 h 6689084"/>
              <a:gd name="connsiteX2437" fmla="*/ 4460480 w 6689088"/>
              <a:gd name="connsiteY2437" fmla="*/ 1786729 h 6689084"/>
              <a:gd name="connsiteX2438" fmla="*/ 4441237 w 6689088"/>
              <a:gd name="connsiteY2438" fmla="*/ 1767487 h 6689084"/>
              <a:gd name="connsiteX2439" fmla="*/ 4460480 w 6689088"/>
              <a:gd name="connsiteY2439" fmla="*/ 1748244 h 6689084"/>
              <a:gd name="connsiteX2440" fmla="*/ 4614065 w 6689088"/>
              <a:gd name="connsiteY2440" fmla="*/ 1746068 h 6689084"/>
              <a:gd name="connsiteX2441" fmla="*/ 4635484 w 6689088"/>
              <a:gd name="connsiteY2441" fmla="*/ 1767491 h 6689084"/>
              <a:gd name="connsiteX2442" fmla="*/ 4614065 w 6689088"/>
              <a:gd name="connsiteY2442" fmla="*/ 1788913 h 6689084"/>
              <a:gd name="connsiteX2443" fmla="*/ 4592642 w 6689088"/>
              <a:gd name="connsiteY2443" fmla="*/ 1767491 h 6689084"/>
              <a:gd name="connsiteX2444" fmla="*/ 4614065 w 6689088"/>
              <a:gd name="connsiteY2444" fmla="*/ 1746068 h 6689084"/>
              <a:gd name="connsiteX2445" fmla="*/ 4768012 w 6689088"/>
              <a:gd name="connsiteY2445" fmla="*/ 1744615 h 6689084"/>
              <a:gd name="connsiteX2446" fmla="*/ 4790884 w 6689088"/>
              <a:gd name="connsiteY2446" fmla="*/ 1767491 h 6689084"/>
              <a:gd name="connsiteX2447" fmla="*/ 4768012 w 6689088"/>
              <a:gd name="connsiteY2447" fmla="*/ 1790366 h 6689084"/>
              <a:gd name="connsiteX2448" fmla="*/ 4745137 w 6689088"/>
              <a:gd name="connsiteY2448" fmla="*/ 1767491 h 6689084"/>
              <a:gd name="connsiteX2449" fmla="*/ 4768012 w 6689088"/>
              <a:gd name="connsiteY2449" fmla="*/ 1744615 h 6689084"/>
              <a:gd name="connsiteX2450" fmla="*/ 4921594 w 6689088"/>
              <a:gd name="connsiteY2450" fmla="*/ 1742435 h 6689084"/>
              <a:gd name="connsiteX2451" fmla="*/ 4946650 w 6689088"/>
              <a:gd name="connsiteY2451" fmla="*/ 1767487 h 6689084"/>
              <a:gd name="connsiteX2452" fmla="*/ 4921594 w 6689088"/>
              <a:gd name="connsiteY2452" fmla="*/ 1792538 h 6689084"/>
              <a:gd name="connsiteX2453" fmla="*/ 4896542 w 6689088"/>
              <a:gd name="connsiteY2453" fmla="*/ 1767487 h 6689084"/>
              <a:gd name="connsiteX2454" fmla="*/ 4921594 w 6689088"/>
              <a:gd name="connsiteY2454" fmla="*/ 1742435 h 6689084"/>
              <a:gd name="connsiteX2455" fmla="*/ 5075545 w 6689088"/>
              <a:gd name="connsiteY2455" fmla="*/ 1740258 h 6689084"/>
              <a:gd name="connsiteX2456" fmla="*/ 5102777 w 6689088"/>
              <a:gd name="connsiteY2456" fmla="*/ 1767491 h 6689084"/>
              <a:gd name="connsiteX2457" fmla="*/ 5075545 w 6689088"/>
              <a:gd name="connsiteY2457" fmla="*/ 1794723 h 6689084"/>
              <a:gd name="connsiteX2458" fmla="*/ 5048313 w 6689088"/>
              <a:gd name="connsiteY2458" fmla="*/ 1767491 h 6689084"/>
              <a:gd name="connsiteX2459" fmla="*/ 5075545 w 6689088"/>
              <a:gd name="connsiteY2459" fmla="*/ 1740258 h 6689084"/>
              <a:gd name="connsiteX2460" fmla="*/ 5229126 w 6689088"/>
              <a:gd name="connsiteY2460" fmla="*/ 1737716 h 6689084"/>
              <a:gd name="connsiteX2461" fmla="*/ 5258901 w 6689088"/>
              <a:gd name="connsiteY2461" fmla="*/ 1767491 h 6689084"/>
              <a:gd name="connsiteX2462" fmla="*/ 5229126 w 6689088"/>
              <a:gd name="connsiteY2462" fmla="*/ 1797261 h 6689084"/>
              <a:gd name="connsiteX2463" fmla="*/ 5199356 w 6689088"/>
              <a:gd name="connsiteY2463" fmla="*/ 1767491 h 6689084"/>
              <a:gd name="connsiteX2464" fmla="*/ 5229126 w 6689088"/>
              <a:gd name="connsiteY2464" fmla="*/ 1737716 h 6689084"/>
              <a:gd name="connsiteX2465" fmla="*/ 5383074 w 6689088"/>
              <a:gd name="connsiteY2465" fmla="*/ 1735535 h 6689084"/>
              <a:gd name="connsiteX2466" fmla="*/ 5415025 w 6689088"/>
              <a:gd name="connsiteY2466" fmla="*/ 1767487 h 6689084"/>
              <a:gd name="connsiteX2467" fmla="*/ 5383074 w 6689088"/>
              <a:gd name="connsiteY2467" fmla="*/ 1799438 h 6689084"/>
              <a:gd name="connsiteX2468" fmla="*/ 5351122 w 6689088"/>
              <a:gd name="connsiteY2468" fmla="*/ 1767487 h 6689084"/>
              <a:gd name="connsiteX2469" fmla="*/ 5383074 w 6689088"/>
              <a:gd name="connsiteY2469" fmla="*/ 1735535 h 6689084"/>
              <a:gd name="connsiteX2470" fmla="*/ 5537025 w 6689088"/>
              <a:gd name="connsiteY2470" fmla="*/ 1733721 h 6689084"/>
              <a:gd name="connsiteX2471" fmla="*/ 5570791 w 6689088"/>
              <a:gd name="connsiteY2471" fmla="*/ 1767487 h 6689084"/>
              <a:gd name="connsiteX2472" fmla="*/ 5537025 w 6689088"/>
              <a:gd name="connsiteY2472" fmla="*/ 1801256 h 6689084"/>
              <a:gd name="connsiteX2473" fmla="*/ 5503256 w 6689088"/>
              <a:gd name="connsiteY2473" fmla="*/ 1767487 h 6689084"/>
              <a:gd name="connsiteX2474" fmla="*/ 5537025 w 6689088"/>
              <a:gd name="connsiteY2474" fmla="*/ 1733721 h 6689084"/>
              <a:gd name="connsiteX2475" fmla="*/ 5690606 w 6689088"/>
              <a:gd name="connsiteY2475" fmla="*/ 1731182 h 6689084"/>
              <a:gd name="connsiteX2476" fmla="*/ 5726915 w 6689088"/>
              <a:gd name="connsiteY2476" fmla="*/ 1767491 h 6689084"/>
              <a:gd name="connsiteX2477" fmla="*/ 5690606 w 6689088"/>
              <a:gd name="connsiteY2477" fmla="*/ 1803799 h 6689084"/>
              <a:gd name="connsiteX2478" fmla="*/ 5654298 w 6689088"/>
              <a:gd name="connsiteY2478" fmla="*/ 1767491 h 6689084"/>
              <a:gd name="connsiteX2479" fmla="*/ 5690606 w 6689088"/>
              <a:gd name="connsiteY2479" fmla="*/ 1731182 h 6689084"/>
              <a:gd name="connsiteX2480" fmla="*/ 5844554 w 6689088"/>
              <a:gd name="connsiteY2480" fmla="*/ 1728640 h 6689084"/>
              <a:gd name="connsiteX2481" fmla="*/ 5883405 w 6689088"/>
              <a:gd name="connsiteY2481" fmla="*/ 1767491 h 6689084"/>
              <a:gd name="connsiteX2482" fmla="*/ 5844554 w 6689088"/>
              <a:gd name="connsiteY2482" fmla="*/ 1806338 h 6689084"/>
              <a:gd name="connsiteX2483" fmla="*/ 5805703 w 6689088"/>
              <a:gd name="connsiteY2483" fmla="*/ 1767491 h 6689084"/>
              <a:gd name="connsiteX2484" fmla="*/ 5844554 w 6689088"/>
              <a:gd name="connsiteY2484" fmla="*/ 1728640 h 6689084"/>
              <a:gd name="connsiteX2485" fmla="*/ 5998136 w 6689088"/>
              <a:gd name="connsiteY2485" fmla="*/ 1726459 h 6689084"/>
              <a:gd name="connsiteX2486" fmla="*/ 6039166 w 6689088"/>
              <a:gd name="connsiteY2486" fmla="*/ 1767487 h 6689084"/>
              <a:gd name="connsiteX2487" fmla="*/ 5998136 w 6689088"/>
              <a:gd name="connsiteY2487" fmla="*/ 1808518 h 6689084"/>
              <a:gd name="connsiteX2488" fmla="*/ 5957108 w 6689088"/>
              <a:gd name="connsiteY2488" fmla="*/ 1767487 h 6689084"/>
              <a:gd name="connsiteX2489" fmla="*/ 5998136 w 6689088"/>
              <a:gd name="connsiteY2489" fmla="*/ 1726459 h 6689084"/>
              <a:gd name="connsiteX2490" fmla="*/ 6152086 w 6689088"/>
              <a:gd name="connsiteY2490" fmla="*/ 1723917 h 6689084"/>
              <a:gd name="connsiteX2491" fmla="*/ 6195656 w 6689088"/>
              <a:gd name="connsiteY2491" fmla="*/ 1767487 h 6689084"/>
              <a:gd name="connsiteX2492" fmla="*/ 6152086 w 6689088"/>
              <a:gd name="connsiteY2492" fmla="*/ 1811057 h 6689084"/>
              <a:gd name="connsiteX2493" fmla="*/ 6108516 w 6689088"/>
              <a:gd name="connsiteY2493" fmla="*/ 1767487 h 6689084"/>
              <a:gd name="connsiteX2494" fmla="*/ 6152086 w 6689088"/>
              <a:gd name="connsiteY2494" fmla="*/ 1723917 h 6689084"/>
              <a:gd name="connsiteX2495" fmla="*/ 6305668 w 6689088"/>
              <a:gd name="connsiteY2495" fmla="*/ 1721378 h 6689084"/>
              <a:gd name="connsiteX2496" fmla="*/ 6351777 w 6689088"/>
              <a:gd name="connsiteY2496" fmla="*/ 1767491 h 6689084"/>
              <a:gd name="connsiteX2497" fmla="*/ 6305668 w 6689088"/>
              <a:gd name="connsiteY2497" fmla="*/ 1813603 h 6689084"/>
              <a:gd name="connsiteX2498" fmla="*/ 6259556 w 6689088"/>
              <a:gd name="connsiteY2498" fmla="*/ 1767491 h 6689084"/>
              <a:gd name="connsiteX2499" fmla="*/ 6305668 w 6689088"/>
              <a:gd name="connsiteY2499" fmla="*/ 1721378 h 6689084"/>
              <a:gd name="connsiteX2500" fmla="*/ 6459619 w 6689088"/>
              <a:gd name="connsiteY2500" fmla="*/ 1718835 h 6689084"/>
              <a:gd name="connsiteX2501" fmla="*/ 6508270 w 6689088"/>
              <a:gd name="connsiteY2501" fmla="*/ 1767491 h 6689084"/>
              <a:gd name="connsiteX2502" fmla="*/ 6459619 w 6689088"/>
              <a:gd name="connsiteY2502" fmla="*/ 1816142 h 6689084"/>
              <a:gd name="connsiteX2503" fmla="*/ 6410964 w 6689088"/>
              <a:gd name="connsiteY2503" fmla="*/ 1767491 h 6689084"/>
              <a:gd name="connsiteX2504" fmla="*/ 6459619 w 6689088"/>
              <a:gd name="connsiteY2504" fmla="*/ 1718835 h 6689084"/>
              <a:gd name="connsiteX2505" fmla="*/ 6613200 w 6689088"/>
              <a:gd name="connsiteY2505" fmla="*/ 1716293 h 6689084"/>
              <a:gd name="connsiteX2506" fmla="*/ 6664398 w 6689088"/>
              <a:gd name="connsiteY2506" fmla="*/ 1767487 h 6689084"/>
              <a:gd name="connsiteX2507" fmla="*/ 6613200 w 6689088"/>
              <a:gd name="connsiteY2507" fmla="*/ 1818681 h 6689084"/>
              <a:gd name="connsiteX2508" fmla="*/ 6562007 w 6689088"/>
              <a:gd name="connsiteY2508" fmla="*/ 1767487 h 6689084"/>
              <a:gd name="connsiteX2509" fmla="*/ 6613200 w 6689088"/>
              <a:gd name="connsiteY2509" fmla="*/ 1716293 h 6689084"/>
              <a:gd name="connsiteX2510" fmla="*/ 2307393 w 6689088"/>
              <a:gd name="connsiteY2510" fmla="*/ 1613539 h 6689084"/>
              <a:gd name="connsiteX2511" fmla="*/ 2307755 w 6689088"/>
              <a:gd name="connsiteY2511" fmla="*/ 1613901 h 6689084"/>
              <a:gd name="connsiteX2512" fmla="*/ 2307393 w 6689088"/>
              <a:gd name="connsiteY2512" fmla="*/ 1614267 h 6689084"/>
              <a:gd name="connsiteX2513" fmla="*/ 2307031 w 6689088"/>
              <a:gd name="connsiteY2513" fmla="*/ 1613901 h 6689084"/>
              <a:gd name="connsiteX2514" fmla="*/ 2307393 w 6689088"/>
              <a:gd name="connsiteY2514" fmla="*/ 1613539 h 6689084"/>
              <a:gd name="connsiteX2515" fmla="*/ 1846279 w 6689088"/>
              <a:gd name="connsiteY2515" fmla="*/ 1613539 h 6689084"/>
              <a:gd name="connsiteX2516" fmla="*/ 1846641 w 6689088"/>
              <a:gd name="connsiteY2516" fmla="*/ 1613901 h 6689084"/>
              <a:gd name="connsiteX2517" fmla="*/ 1846279 w 6689088"/>
              <a:gd name="connsiteY2517" fmla="*/ 1614267 h 6689084"/>
              <a:gd name="connsiteX2518" fmla="*/ 1845917 w 6689088"/>
              <a:gd name="connsiteY2518" fmla="*/ 1613901 h 6689084"/>
              <a:gd name="connsiteX2519" fmla="*/ 1846279 w 6689088"/>
              <a:gd name="connsiteY2519" fmla="*/ 1613539 h 6689084"/>
              <a:gd name="connsiteX2520" fmla="*/ 1692331 w 6689088"/>
              <a:gd name="connsiteY2520" fmla="*/ 1613539 h 6689084"/>
              <a:gd name="connsiteX2521" fmla="*/ 1692694 w 6689088"/>
              <a:gd name="connsiteY2521" fmla="*/ 1613901 h 6689084"/>
              <a:gd name="connsiteX2522" fmla="*/ 1692331 w 6689088"/>
              <a:gd name="connsiteY2522" fmla="*/ 1614267 h 6689084"/>
              <a:gd name="connsiteX2523" fmla="*/ 1691969 w 6689088"/>
              <a:gd name="connsiteY2523" fmla="*/ 1613901 h 6689084"/>
              <a:gd name="connsiteX2524" fmla="*/ 1692331 w 6689088"/>
              <a:gd name="connsiteY2524" fmla="*/ 1613539 h 6689084"/>
              <a:gd name="connsiteX2525" fmla="*/ 1538746 w 6689088"/>
              <a:gd name="connsiteY2525" fmla="*/ 1613177 h 6689084"/>
              <a:gd name="connsiteX2526" fmla="*/ 1539470 w 6689088"/>
              <a:gd name="connsiteY2526" fmla="*/ 1613905 h 6689084"/>
              <a:gd name="connsiteX2527" fmla="*/ 1538746 w 6689088"/>
              <a:gd name="connsiteY2527" fmla="*/ 1614630 h 6689084"/>
              <a:gd name="connsiteX2528" fmla="*/ 1538018 w 6689088"/>
              <a:gd name="connsiteY2528" fmla="*/ 1613905 h 6689084"/>
              <a:gd name="connsiteX2529" fmla="*/ 1538746 w 6689088"/>
              <a:gd name="connsiteY2529" fmla="*/ 1613177 h 6689084"/>
              <a:gd name="connsiteX2530" fmla="*/ 2461340 w 6689088"/>
              <a:gd name="connsiteY2530" fmla="*/ 1612091 h 6689084"/>
              <a:gd name="connsiteX2531" fmla="*/ 2462793 w 6689088"/>
              <a:gd name="connsiteY2531" fmla="*/ 1613543 h 6689084"/>
              <a:gd name="connsiteX2532" fmla="*/ 2461340 w 6689088"/>
              <a:gd name="connsiteY2532" fmla="*/ 1614995 h 6689084"/>
              <a:gd name="connsiteX2533" fmla="*/ 2459888 w 6689088"/>
              <a:gd name="connsiteY2533" fmla="*/ 1613543 h 6689084"/>
              <a:gd name="connsiteX2534" fmla="*/ 2461340 w 6689088"/>
              <a:gd name="connsiteY2534" fmla="*/ 1612091 h 6689084"/>
              <a:gd name="connsiteX2535" fmla="*/ 2614922 w 6689088"/>
              <a:gd name="connsiteY2535" fmla="*/ 1611363 h 6689084"/>
              <a:gd name="connsiteX2536" fmla="*/ 2617102 w 6689088"/>
              <a:gd name="connsiteY2536" fmla="*/ 1613539 h 6689084"/>
              <a:gd name="connsiteX2537" fmla="*/ 2614922 w 6689088"/>
              <a:gd name="connsiteY2537" fmla="*/ 1615720 h 6689084"/>
              <a:gd name="connsiteX2538" fmla="*/ 2612745 w 6689088"/>
              <a:gd name="connsiteY2538" fmla="*/ 1613539 h 6689084"/>
              <a:gd name="connsiteX2539" fmla="*/ 2614922 w 6689088"/>
              <a:gd name="connsiteY2539" fmla="*/ 1611363 h 6689084"/>
              <a:gd name="connsiteX2540" fmla="*/ 2768877 w 6689088"/>
              <a:gd name="connsiteY2540" fmla="*/ 1610638 h 6689084"/>
              <a:gd name="connsiteX2541" fmla="*/ 2772144 w 6689088"/>
              <a:gd name="connsiteY2541" fmla="*/ 1613905 h 6689084"/>
              <a:gd name="connsiteX2542" fmla="*/ 2768877 w 6689088"/>
              <a:gd name="connsiteY2542" fmla="*/ 1617176 h 6689084"/>
              <a:gd name="connsiteX2543" fmla="*/ 2765606 w 6689088"/>
              <a:gd name="connsiteY2543" fmla="*/ 1613905 h 6689084"/>
              <a:gd name="connsiteX2544" fmla="*/ 2768877 w 6689088"/>
              <a:gd name="connsiteY2544" fmla="*/ 1610638 h 6689084"/>
              <a:gd name="connsiteX2545" fmla="*/ 2922458 w 6689088"/>
              <a:gd name="connsiteY2545" fmla="*/ 1609182 h 6689084"/>
              <a:gd name="connsiteX2546" fmla="*/ 2926815 w 6689088"/>
              <a:gd name="connsiteY2546" fmla="*/ 1613539 h 6689084"/>
              <a:gd name="connsiteX2547" fmla="*/ 2922458 w 6689088"/>
              <a:gd name="connsiteY2547" fmla="*/ 1617896 h 6689084"/>
              <a:gd name="connsiteX2548" fmla="*/ 2918101 w 6689088"/>
              <a:gd name="connsiteY2548" fmla="*/ 1613539 h 6689084"/>
              <a:gd name="connsiteX2549" fmla="*/ 2922458 w 6689088"/>
              <a:gd name="connsiteY2549" fmla="*/ 1609182 h 6689084"/>
              <a:gd name="connsiteX2550" fmla="*/ 3076406 w 6689088"/>
              <a:gd name="connsiteY2550" fmla="*/ 1608096 h 6689084"/>
              <a:gd name="connsiteX2551" fmla="*/ 3082215 w 6689088"/>
              <a:gd name="connsiteY2551" fmla="*/ 1613905 h 6689084"/>
              <a:gd name="connsiteX2552" fmla="*/ 3076406 w 6689088"/>
              <a:gd name="connsiteY2552" fmla="*/ 1619715 h 6689084"/>
              <a:gd name="connsiteX2553" fmla="*/ 3070596 w 6689088"/>
              <a:gd name="connsiteY2553" fmla="*/ 1613905 h 6689084"/>
              <a:gd name="connsiteX2554" fmla="*/ 3076406 w 6689088"/>
              <a:gd name="connsiteY2554" fmla="*/ 1608096 h 6689084"/>
              <a:gd name="connsiteX2555" fmla="*/ 3230353 w 6689088"/>
              <a:gd name="connsiteY2555" fmla="*/ 1606281 h 6689084"/>
              <a:gd name="connsiteX2556" fmla="*/ 3237614 w 6689088"/>
              <a:gd name="connsiteY2556" fmla="*/ 1613543 h 6689084"/>
              <a:gd name="connsiteX2557" fmla="*/ 3230353 w 6689088"/>
              <a:gd name="connsiteY2557" fmla="*/ 1620805 h 6689084"/>
              <a:gd name="connsiteX2558" fmla="*/ 3223091 w 6689088"/>
              <a:gd name="connsiteY2558" fmla="*/ 1613543 h 6689084"/>
              <a:gd name="connsiteX2559" fmla="*/ 3230353 w 6689088"/>
              <a:gd name="connsiteY2559" fmla="*/ 1606281 h 6689084"/>
              <a:gd name="connsiteX2560" fmla="*/ 3383934 w 6689088"/>
              <a:gd name="connsiteY2560" fmla="*/ 1604463 h 6689084"/>
              <a:gd name="connsiteX2561" fmla="*/ 3393014 w 6689088"/>
              <a:gd name="connsiteY2561" fmla="*/ 1613539 h 6689084"/>
              <a:gd name="connsiteX2562" fmla="*/ 3383934 w 6689088"/>
              <a:gd name="connsiteY2562" fmla="*/ 1622619 h 6689084"/>
              <a:gd name="connsiteX2563" fmla="*/ 3374858 w 6689088"/>
              <a:gd name="connsiteY2563" fmla="*/ 1613539 h 6689084"/>
              <a:gd name="connsiteX2564" fmla="*/ 3383934 w 6689088"/>
              <a:gd name="connsiteY2564" fmla="*/ 1604463 h 6689084"/>
              <a:gd name="connsiteX2565" fmla="*/ 3537886 w 6689088"/>
              <a:gd name="connsiteY2565" fmla="*/ 1603739 h 6689084"/>
              <a:gd name="connsiteX2566" fmla="*/ 3548052 w 6689088"/>
              <a:gd name="connsiteY2566" fmla="*/ 1613905 h 6689084"/>
              <a:gd name="connsiteX2567" fmla="*/ 3537886 w 6689088"/>
              <a:gd name="connsiteY2567" fmla="*/ 1624072 h 6689084"/>
              <a:gd name="connsiteX2568" fmla="*/ 3527719 w 6689088"/>
              <a:gd name="connsiteY2568" fmla="*/ 1613905 h 6689084"/>
              <a:gd name="connsiteX2569" fmla="*/ 3537886 w 6689088"/>
              <a:gd name="connsiteY2569" fmla="*/ 1603739 h 6689084"/>
              <a:gd name="connsiteX2570" fmla="*/ 3691467 w 6689088"/>
              <a:gd name="connsiteY2570" fmla="*/ 1601559 h 6689084"/>
              <a:gd name="connsiteX2571" fmla="*/ 3703452 w 6689088"/>
              <a:gd name="connsiteY2571" fmla="*/ 1613539 h 6689084"/>
              <a:gd name="connsiteX2572" fmla="*/ 3691467 w 6689088"/>
              <a:gd name="connsiteY2572" fmla="*/ 1625520 h 6689084"/>
              <a:gd name="connsiteX2573" fmla="*/ 3679486 w 6689088"/>
              <a:gd name="connsiteY2573" fmla="*/ 1613539 h 6689084"/>
              <a:gd name="connsiteX2574" fmla="*/ 3691467 w 6689088"/>
              <a:gd name="connsiteY2574" fmla="*/ 1601559 h 6689084"/>
              <a:gd name="connsiteX2575" fmla="*/ 3845418 w 6689088"/>
              <a:gd name="connsiteY2575" fmla="*/ 1599744 h 6689084"/>
              <a:gd name="connsiteX2576" fmla="*/ 3859214 w 6689088"/>
              <a:gd name="connsiteY2576" fmla="*/ 1613539 h 6689084"/>
              <a:gd name="connsiteX2577" fmla="*/ 3845418 w 6689088"/>
              <a:gd name="connsiteY2577" fmla="*/ 1627338 h 6689084"/>
              <a:gd name="connsiteX2578" fmla="*/ 3831619 w 6689088"/>
              <a:gd name="connsiteY2578" fmla="*/ 1613539 h 6689084"/>
              <a:gd name="connsiteX2579" fmla="*/ 3845418 w 6689088"/>
              <a:gd name="connsiteY2579" fmla="*/ 1599744 h 6689084"/>
              <a:gd name="connsiteX2580" fmla="*/ 3999000 w 6689088"/>
              <a:gd name="connsiteY2580" fmla="*/ 1598654 h 6689084"/>
              <a:gd name="connsiteX2581" fmla="*/ 4014251 w 6689088"/>
              <a:gd name="connsiteY2581" fmla="*/ 1613905 h 6689084"/>
              <a:gd name="connsiteX2582" fmla="*/ 3999000 w 6689088"/>
              <a:gd name="connsiteY2582" fmla="*/ 1629153 h 6689084"/>
              <a:gd name="connsiteX2583" fmla="*/ 3983752 w 6689088"/>
              <a:gd name="connsiteY2583" fmla="*/ 1613905 h 6689084"/>
              <a:gd name="connsiteX2584" fmla="*/ 3999000 w 6689088"/>
              <a:gd name="connsiteY2584" fmla="*/ 1598654 h 6689084"/>
              <a:gd name="connsiteX2585" fmla="*/ 4152947 w 6689088"/>
              <a:gd name="connsiteY2585" fmla="*/ 1596477 h 6689084"/>
              <a:gd name="connsiteX2586" fmla="*/ 4170013 w 6689088"/>
              <a:gd name="connsiteY2586" fmla="*/ 1613543 h 6689084"/>
              <a:gd name="connsiteX2587" fmla="*/ 4152947 w 6689088"/>
              <a:gd name="connsiteY2587" fmla="*/ 1630605 h 6689084"/>
              <a:gd name="connsiteX2588" fmla="*/ 4135881 w 6689088"/>
              <a:gd name="connsiteY2588" fmla="*/ 1613543 h 6689084"/>
              <a:gd name="connsiteX2589" fmla="*/ 4152947 w 6689088"/>
              <a:gd name="connsiteY2589" fmla="*/ 1596477 h 6689084"/>
              <a:gd name="connsiteX2590" fmla="*/ 4306528 w 6689088"/>
              <a:gd name="connsiteY2590" fmla="*/ 1594297 h 6689084"/>
              <a:gd name="connsiteX2591" fmla="*/ 4325771 w 6689088"/>
              <a:gd name="connsiteY2591" fmla="*/ 1613539 h 6689084"/>
              <a:gd name="connsiteX2592" fmla="*/ 4306528 w 6689088"/>
              <a:gd name="connsiteY2592" fmla="*/ 1632786 h 6689084"/>
              <a:gd name="connsiteX2593" fmla="*/ 4287286 w 6689088"/>
              <a:gd name="connsiteY2593" fmla="*/ 1613539 h 6689084"/>
              <a:gd name="connsiteX2594" fmla="*/ 4306528 w 6689088"/>
              <a:gd name="connsiteY2594" fmla="*/ 1594297 h 6689084"/>
              <a:gd name="connsiteX2595" fmla="*/ 4460480 w 6689088"/>
              <a:gd name="connsiteY2595" fmla="*/ 1592120 h 6689084"/>
              <a:gd name="connsiteX2596" fmla="*/ 4481898 w 6689088"/>
              <a:gd name="connsiteY2596" fmla="*/ 1613543 h 6689084"/>
              <a:gd name="connsiteX2597" fmla="*/ 4460480 w 6689088"/>
              <a:gd name="connsiteY2597" fmla="*/ 1634966 h 6689084"/>
              <a:gd name="connsiteX2598" fmla="*/ 4439057 w 6689088"/>
              <a:gd name="connsiteY2598" fmla="*/ 1613543 h 6689084"/>
              <a:gd name="connsiteX2599" fmla="*/ 4460480 w 6689088"/>
              <a:gd name="connsiteY2599" fmla="*/ 1592120 h 6689084"/>
              <a:gd name="connsiteX2600" fmla="*/ 4614065 w 6689088"/>
              <a:gd name="connsiteY2600" fmla="*/ 1591030 h 6689084"/>
              <a:gd name="connsiteX2601" fmla="*/ 4636940 w 6689088"/>
              <a:gd name="connsiteY2601" fmla="*/ 1613905 h 6689084"/>
              <a:gd name="connsiteX2602" fmla="*/ 4614065 w 6689088"/>
              <a:gd name="connsiteY2602" fmla="*/ 1636780 h 6689084"/>
              <a:gd name="connsiteX2603" fmla="*/ 4591190 w 6689088"/>
              <a:gd name="connsiteY2603" fmla="*/ 1613905 h 6689084"/>
              <a:gd name="connsiteX2604" fmla="*/ 4614065 w 6689088"/>
              <a:gd name="connsiteY2604" fmla="*/ 1591030 h 6689084"/>
              <a:gd name="connsiteX2605" fmla="*/ 4768008 w 6689088"/>
              <a:gd name="connsiteY2605" fmla="*/ 1588850 h 6689084"/>
              <a:gd name="connsiteX2606" fmla="*/ 4793064 w 6689088"/>
              <a:gd name="connsiteY2606" fmla="*/ 1613901 h 6689084"/>
              <a:gd name="connsiteX2607" fmla="*/ 4768008 w 6689088"/>
              <a:gd name="connsiteY2607" fmla="*/ 1638957 h 6689084"/>
              <a:gd name="connsiteX2608" fmla="*/ 4742956 w 6689088"/>
              <a:gd name="connsiteY2608" fmla="*/ 1613901 h 6689084"/>
              <a:gd name="connsiteX2609" fmla="*/ 4768008 w 6689088"/>
              <a:gd name="connsiteY2609" fmla="*/ 1588850 h 6689084"/>
              <a:gd name="connsiteX2610" fmla="*/ 4921594 w 6689088"/>
              <a:gd name="connsiteY2610" fmla="*/ 1586673 h 6689084"/>
              <a:gd name="connsiteX2611" fmla="*/ 4948826 w 6689088"/>
              <a:gd name="connsiteY2611" fmla="*/ 1613905 h 6689084"/>
              <a:gd name="connsiteX2612" fmla="*/ 4921594 w 6689088"/>
              <a:gd name="connsiteY2612" fmla="*/ 1641137 h 6689084"/>
              <a:gd name="connsiteX2613" fmla="*/ 4894362 w 6689088"/>
              <a:gd name="connsiteY2613" fmla="*/ 1613905 h 6689084"/>
              <a:gd name="connsiteX2614" fmla="*/ 4921594 w 6689088"/>
              <a:gd name="connsiteY2614" fmla="*/ 1586673 h 6689084"/>
              <a:gd name="connsiteX2615" fmla="*/ 5075545 w 6689088"/>
              <a:gd name="connsiteY2615" fmla="*/ 1584131 h 6689084"/>
              <a:gd name="connsiteX2616" fmla="*/ 5105316 w 6689088"/>
              <a:gd name="connsiteY2616" fmla="*/ 1613901 h 6689084"/>
              <a:gd name="connsiteX2617" fmla="*/ 5075545 w 6689088"/>
              <a:gd name="connsiteY2617" fmla="*/ 1643676 h 6689084"/>
              <a:gd name="connsiteX2618" fmla="*/ 5045770 w 6689088"/>
              <a:gd name="connsiteY2618" fmla="*/ 1613901 h 6689084"/>
              <a:gd name="connsiteX2619" fmla="*/ 5075545 w 6689088"/>
              <a:gd name="connsiteY2619" fmla="*/ 1584131 h 6689084"/>
              <a:gd name="connsiteX2620" fmla="*/ 5229126 w 6689088"/>
              <a:gd name="connsiteY2620" fmla="*/ 1581592 h 6689084"/>
              <a:gd name="connsiteX2621" fmla="*/ 5261078 w 6689088"/>
              <a:gd name="connsiteY2621" fmla="*/ 1613543 h 6689084"/>
              <a:gd name="connsiteX2622" fmla="*/ 5229126 w 6689088"/>
              <a:gd name="connsiteY2622" fmla="*/ 1645494 h 6689084"/>
              <a:gd name="connsiteX2623" fmla="*/ 5197175 w 6689088"/>
              <a:gd name="connsiteY2623" fmla="*/ 1613543 h 6689084"/>
              <a:gd name="connsiteX2624" fmla="*/ 5229126 w 6689088"/>
              <a:gd name="connsiteY2624" fmla="*/ 1581592 h 6689084"/>
              <a:gd name="connsiteX2625" fmla="*/ 5383074 w 6689088"/>
              <a:gd name="connsiteY2625" fmla="*/ 1579773 h 6689084"/>
              <a:gd name="connsiteX2626" fmla="*/ 5416844 w 6689088"/>
              <a:gd name="connsiteY2626" fmla="*/ 1613539 h 6689084"/>
              <a:gd name="connsiteX2627" fmla="*/ 5383074 w 6689088"/>
              <a:gd name="connsiteY2627" fmla="*/ 1647309 h 6689084"/>
              <a:gd name="connsiteX2628" fmla="*/ 5349308 w 6689088"/>
              <a:gd name="connsiteY2628" fmla="*/ 1613539 h 6689084"/>
              <a:gd name="connsiteX2629" fmla="*/ 5383074 w 6689088"/>
              <a:gd name="connsiteY2629" fmla="*/ 1579773 h 6689084"/>
              <a:gd name="connsiteX2630" fmla="*/ 5536659 w 6689088"/>
              <a:gd name="connsiteY2630" fmla="*/ 1577231 h 6689084"/>
              <a:gd name="connsiteX2631" fmla="*/ 5572968 w 6689088"/>
              <a:gd name="connsiteY2631" fmla="*/ 1613539 h 6689084"/>
              <a:gd name="connsiteX2632" fmla="*/ 5536659 w 6689088"/>
              <a:gd name="connsiteY2632" fmla="*/ 1649848 h 6689084"/>
              <a:gd name="connsiteX2633" fmla="*/ 5500351 w 6689088"/>
              <a:gd name="connsiteY2633" fmla="*/ 1613539 h 6689084"/>
              <a:gd name="connsiteX2634" fmla="*/ 5536659 w 6689088"/>
              <a:gd name="connsiteY2634" fmla="*/ 1577231 h 6689084"/>
              <a:gd name="connsiteX2635" fmla="*/ 5690606 w 6689088"/>
              <a:gd name="connsiteY2635" fmla="*/ 1574692 h 6689084"/>
              <a:gd name="connsiteX2636" fmla="*/ 5729458 w 6689088"/>
              <a:gd name="connsiteY2636" fmla="*/ 1613543 h 6689084"/>
              <a:gd name="connsiteX2637" fmla="*/ 5690606 w 6689088"/>
              <a:gd name="connsiteY2637" fmla="*/ 1652390 h 6689084"/>
              <a:gd name="connsiteX2638" fmla="*/ 5651756 w 6689088"/>
              <a:gd name="connsiteY2638" fmla="*/ 1613543 h 6689084"/>
              <a:gd name="connsiteX2639" fmla="*/ 5690606 w 6689088"/>
              <a:gd name="connsiteY2639" fmla="*/ 1574692 h 6689084"/>
              <a:gd name="connsiteX2640" fmla="*/ 5844554 w 6689088"/>
              <a:gd name="connsiteY2640" fmla="*/ 1572512 h 6689084"/>
              <a:gd name="connsiteX2641" fmla="*/ 5885585 w 6689088"/>
              <a:gd name="connsiteY2641" fmla="*/ 1613539 h 6689084"/>
              <a:gd name="connsiteX2642" fmla="*/ 5844554 w 6689088"/>
              <a:gd name="connsiteY2642" fmla="*/ 1654567 h 6689084"/>
              <a:gd name="connsiteX2643" fmla="*/ 5803526 w 6689088"/>
              <a:gd name="connsiteY2643" fmla="*/ 1613539 h 6689084"/>
              <a:gd name="connsiteX2644" fmla="*/ 5844554 w 6689088"/>
              <a:gd name="connsiteY2644" fmla="*/ 1572512 h 6689084"/>
              <a:gd name="connsiteX2645" fmla="*/ 5998136 w 6689088"/>
              <a:gd name="connsiteY2645" fmla="*/ 1569973 h 6689084"/>
              <a:gd name="connsiteX2646" fmla="*/ 6041706 w 6689088"/>
              <a:gd name="connsiteY2646" fmla="*/ 1613543 h 6689084"/>
              <a:gd name="connsiteX2647" fmla="*/ 5998136 w 6689088"/>
              <a:gd name="connsiteY2647" fmla="*/ 1657113 h 6689084"/>
              <a:gd name="connsiteX2648" fmla="*/ 5954566 w 6689088"/>
              <a:gd name="connsiteY2648" fmla="*/ 1613543 h 6689084"/>
              <a:gd name="connsiteX2649" fmla="*/ 5998136 w 6689088"/>
              <a:gd name="connsiteY2649" fmla="*/ 1569973 h 6689084"/>
              <a:gd name="connsiteX2650" fmla="*/ 6152083 w 6689088"/>
              <a:gd name="connsiteY2650" fmla="*/ 1567431 h 6689084"/>
              <a:gd name="connsiteX2651" fmla="*/ 6198196 w 6689088"/>
              <a:gd name="connsiteY2651" fmla="*/ 1613543 h 6689084"/>
              <a:gd name="connsiteX2652" fmla="*/ 6152083 w 6689088"/>
              <a:gd name="connsiteY2652" fmla="*/ 1659656 h 6689084"/>
              <a:gd name="connsiteX2653" fmla="*/ 6105974 w 6689088"/>
              <a:gd name="connsiteY2653" fmla="*/ 1613543 h 6689084"/>
              <a:gd name="connsiteX2654" fmla="*/ 6152083 w 6689088"/>
              <a:gd name="connsiteY2654" fmla="*/ 1567431 h 6689084"/>
              <a:gd name="connsiteX2655" fmla="*/ 6305672 w 6689088"/>
              <a:gd name="connsiteY2655" fmla="*/ 1564888 h 6689084"/>
              <a:gd name="connsiteX2656" fmla="*/ 6354323 w 6689088"/>
              <a:gd name="connsiteY2656" fmla="*/ 1613543 h 6689084"/>
              <a:gd name="connsiteX2657" fmla="*/ 6305672 w 6689088"/>
              <a:gd name="connsiteY2657" fmla="*/ 1662194 h 6689084"/>
              <a:gd name="connsiteX2658" fmla="*/ 6257016 w 6689088"/>
              <a:gd name="connsiteY2658" fmla="*/ 1613543 h 6689084"/>
              <a:gd name="connsiteX2659" fmla="*/ 6305672 w 6689088"/>
              <a:gd name="connsiteY2659" fmla="*/ 1564888 h 6689084"/>
              <a:gd name="connsiteX2660" fmla="*/ 6459619 w 6689088"/>
              <a:gd name="connsiteY2660" fmla="*/ 1562346 h 6689084"/>
              <a:gd name="connsiteX2661" fmla="*/ 6510813 w 6689088"/>
              <a:gd name="connsiteY2661" fmla="*/ 1613539 h 6689084"/>
              <a:gd name="connsiteX2662" fmla="*/ 6459619 w 6689088"/>
              <a:gd name="connsiteY2662" fmla="*/ 1664733 h 6689084"/>
              <a:gd name="connsiteX2663" fmla="*/ 6408422 w 6689088"/>
              <a:gd name="connsiteY2663" fmla="*/ 1613539 h 6689084"/>
              <a:gd name="connsiteX2664" fmla="*/ 6459619 w 6689088"/>
              <a:gd name="connsiteY2664" fmla="*/ 1562346 h 6689084"/>
              <a:gd name="connsiteX2665" fmla="*/ 6613197 w 6689088"/>
              <a:gd name="connsiteY2665" fmla="*/ 1560169 h 6689084"/>
              <a:gd name="connsiteX2666" fmla="*/ 6666575 w 6689088"/>
              <a:gd name="connsiteY2666" fmla="*/ 1613543 h 6689084"/>
              <a:gd name="connsiteX2667" fmla="*/ 6613197 w 6689088"/>
              <a:gd name="connsiteY2667" fmla="*/ 1666914 h 6689084"/>
              <a:gd name="connsiteX2668" fmla="*/ 6559826 w 6689088"/>
              <a:gd name="connsiteY2668" fmla="*/ 1613543 h 6689084"/>
              <a:gd name="connsiteX2669" fmla="*/ 6613197 w 6689088"/>
              <a:gd name="connsiteY2669" fmla="*/ 1560169 h 6689084"/>
              <a:gd name="connsiteX2670" fmla="*/ 2153808 w 6689088"/>
              <a:gd name="connsiteY2670" fmla="*/ 1459596 h 6689084"/>
              <a:gd name="connsiteX2671" fmla="*/ 2154170 w 6689088"/>
              <a:gd name="connsiteY2671" fmla="*/ 1459958 h 6689084"/>
              <a:gd name="connsiteX2672" fmla="*/ 2153808 w 6689088"/>
              <a:gd name="connsiteY2672" fmla="*/ 1460324 h 6689084"/>
              <a:gd name="connsiteX2673" fmla="*/ 2153445 w 6689088"/>
              <a:gd name="connsiteY2673" fmla="*/ 1459958 h 6689084"/>
              <a:gd name="connsiteX2674" fmla="*/ 2153808 w 6689088"/>
              <a:gd name="connsiteY2674" fmla="*/ 1459596 h 6689084"/>
              <a:gd name="connsiteX2675" fmla="*/ 1692331 w 6689088"/>
              <a:gd name="connsiteY2675" fmla="*/ 1459596 h 6689084"/>
              <a:gd name="connsiteX2676" fmla="*/ 1692694 w 6689088"/>
              <a:gd name="connsiteY2676" fmla="*/ 1459958 h 6689084"/>
              <a:gd name="connsiteX2677" fmla="*/ 1692331 w 6689088"/>
              <a:gd name="connsiteY2677" fmla="*/ 1460324 h 6689084"/>
              <a:gd name="connsiteX2678" fmla="*/ 1691969 w 6689088"/>
              <a:gd name="connsiteY2678" fmla="*/ 1459958 h 6689084"/>
              <a:gd name="connsiteX2679" fmla="*/ 1692331 w 6689088"/>
              <a:gd name="connsiteY2679" fmla="*/ 1459596 h 6689084"/>
              <a:gd name="connsiteX2680" fmla="*/ 1538746 w 6689088"/>
              <a:gd name="connsiteY2680" fmla="*/ 1459596 h 6689084"/>
              <a:gd name="connsiteX2681" fmla="*/ 1539108 w 6689088"/>
              <a:gd name="connsiteY2681" fmla="*/ 1459958 h 6689084"/>
              <a:gd name="connsiteX2682" fmla="*/ 1538746 w 6689088"/>
              <a:gd name="connsiteY2682" fmla="*/ 1460324 h 6689084"/>
              <a:gd name="connsiteX2683" fmla="*/ 1538384 w 6689088"/>
              <a:gd name="connsiteY2683" fmla="*/ 1459958 h 6689084"/>
              <a:gd name="connsiteX2684" fmla="*/ 1538746 w 6689088"/>
              <a:gd name="connsiteY2684" fmla="*/ 1459596 h 6689084"/>
              <a:gd name="connsiteX2685" fmla="*/ 1384795 w 6689088"/>
              <a:gd name="connsiteY2685" fmla="*/ 1459230 h 6689084"/>
              <a:gd name="connsiteX2686" fmla="*/ 1385523 w 6689088"/>
              <a:gd name="connsiteY2686" fmla="*/ 1459958 h 6689084"/>
              <a:gd name="connsiteX2687" fmla="*/ 1384795 w 6689088"/>
              <a:gd name="connsiteY2687" fmla="*/ 1460682 h 6689084"/>
              <a:gd name="connsiteX2688" fmla="*/ 1384071 w 6689088"/>
              <a:gd name="connsiteY2688" fmla="*/ 1459958 h 6689084"/>
              <a:gd name="connsiteX2689" fmla="*/ 1384795 w 6689088"/>
              <a:gd name="connsiteY2689" fmla="*/ 1459230 h 6689084"/>
              <a:gd name="connsiteX2690" fmla="*/ 2307393 w 6689088"/>
              <a:gd name="connsiteY2690" fmla="*/ 1458140 h 6689084"/>
              <a:gd name="connsiteX2691" fmla="*/ 2308845 w 6689088"/>
              <a:gd name="connsiteY2691" fmla="*/ 1459592 h 6689084"/>
              <a:gd name="connsiteX2692" fmla="*/ 2307393 w 6689088"/>
              <a:gd name="connsiteY2692" fmla="*/ 1461044 h 6689084"/>
              <a:gd name="connsiteX2693" fmla="*/ 2305941 w 6689088"/>
              <a:gd name="connsiteY2693" fmla="*/ 1459592 h 6689084"/>
              <a:gd name="connsiteX2694" fmla="*/ 2307393 w 6689088"/>
              <a:gd name="connsiteY2694" fmla="*/ 1458140 h 6689084"/>
              <a:gd name="connsiteX2695" fmla="*/ 2461340 w 6689088"/>
              <a:gd name="connsiteY2695" fmla="*/ 1457777 h 6689084"/>
              <a:gd name="connsiteX2696" fmla="*/ 2463521 w 6689088"/>
              <a:gd name="connsiteY2696" fmla="*/ 1459954 h 6689084"/>
              <a:gd name="connsiteX2697" fmla="*/ 2461340 w 6689088"/>
              <a:gd name="connsiteY2697" fmla="*/ 1462134 h 6689084"/>
              <a:gd name="connsiteX2698" fmla="*/ 2459164 w 6689088"/>
              <a:gd name="connsiteY2698" fmla="*/ 1459954 h 6689084"/>
              <a:gd name="connsiteX2699" fmla="*/ 2461340 w 6689088"/>
              <a:gd name="connsiteY2699" fmla="*/ 1457777 h 6689084"/>
              <a:gd name="connsiteX2700" fmla="*/ 2614925 w 6689088"/>
              <a:gd name="connsiteY2700" fmla="*/ 1456687 h 6689084"/>
              <a:gd name="connsiteX2701" fmla="*/ 2618192 w 6689088"/>
              <a:gd name="connsiteY2701" fmla="*/ 1459954 h 6689084"/>
              <a:gd name="connsiteX2702" fmla="*/ 2614925 w 6689088"/>
              <a:gd name="connsiteY2702" fmla="*/ 1463225 h 6689084"/>
              <a:gd name="connsiteX2703" fmla="*/ 2611659 w 6689088"/>
              <a:gd name="connsiteY2703" fmla="*/ 1459954 h 6689084"/>
              <a:gd name="connsiteX2704" fmla="*/ 2614925 w 6689088"/>
              <a:gd name="connsiteY2704" fmla="*/ 1456687 h 6689084"/>
              <a:gd name="connsiteX2705" fmla="*/ 2768873 w 6689088"/>
              <a:gd name="connsiteY2705" fmla="*/ 1455601 h 6689084"/>
              <a:gd name="connsiteX2706" fmla="*/ 2773230 w 6689088"/>
              <a:gd name="connsiteY2706" fmla="*/ 1459958 h 6689084"/>
              <a:gd name="connsiteX2707" fmla="*/ 2768873 w 6689088"/>
              <a:gd name="connsiteY2707" fmla="*/ 1464315 h 6689084"/>
              <a:gd name="connsiteX2708" fmla="*/ 2764516 w 6689088"/>
              <a:gd name="connsiteY2708" fmla="*/ 1459958 h 6689084"/>
              <a:gd name="connsiteX2709" fmla="*/ 2768873 w 6689088"/>
              <a:gd name="connsiteY2709" fmla="*/ 1455601 h 6689084"/>
              <a:gd name="connsiteX2710" fmla="*/ 2922458 w 6689088"/>
              <a:gd name="connsiteY2710" fmla="*/ 1454149 h 6689084"/>
              <a:gd name="connsiteX2711" fmla="*/ 2928267 w 6689088"/>
              <a:gd name="connsiteY2711" fmla="*/ 1459958 h 6689084"/>
              <a:gd name="connsiteX2712" fmla="*/ 2922458 w 6689088"/>
              <a:gd name="connsiteY2712" fmla="*/ 1465767 h 6689084"/>
              <a:gd name="connsiteX2713" fmla="*/ 2916649 w 6689088"/>
              <a:gd name="connsiteY2713" fmla="*/ 1459958 h 6689084"/>
              <a:gd name="connsiteX2714" fmla="*/ 2922458 w 6689088"/>
              <a:gd name="connsiteY2714" fmla="*/ 1454149 h 6689084"/>
              <a:gd name="connsiteX2715" fmla="*/ 3076406 w 6689088"/>
              <a:gd name="connsiteY2715" fmla="*/ 1452696 h 6689084"/>
              <a:gd name="connsiteX2716" fmla="*/ 3083667 w 6689088"/>
              <a:gd name="connsiteY2716" fmla="*/ 1459958 h 6689084"/>
              <a:gd name="connsiteX2717" fmla="*/ 3076406 w 6689088"/>
              <a:gd name="connsiteY2717" fmla="*/ 1467220 h 6689084"/>
              <a:gd name="connsiteX2718" fmla="*/ 3069144 w 6689088"/>
              <a:gd name="connsiteY2718" fmla="*/ 1459958 h 6689084"/>
              <a:gd name="connsiteX2719" fmla="*/ 3076406 w 6689088"/>
              <a:gd name="connsiteY2719" fmla="*/ 1452696 h 6689084"/>
              <a:gd name="connsiteX2720" fmla="*/ 3230353 w 6689088"/>
              <a:gd name="connsiteY2720" fmla="*/ 1450516 h 6689084"/>
              <a:gd name="connsiteX2721" fmla="*/ 3239433 w 6689088"/>
              <a:gd name="connsiteY2721" fmla="*/ 1459592 h 6689084"/>
              <a:gd name="connsiteX2722" fmla="*/ 3230353 w 6689088"/>
              <a:gd name="connsiteY2722" fmla="*/ 1468672 h 6689084"/>
              <a:gd name="connsiteX2723" fmla="*/ 3221277 w 6689088"/>
              <a:gd name="connsiteY2723" fmla="*/ 1459592 h 6689084"/>
              <a:gd name="connsiteX2724" fmla="*/ 3230353 w 6689088"/>
              <a:gd name="connsiteY2724" fmla="*/ 1450516 h 6689084"/>
              <a:gd name="connsiteX2725" fmla="*/ 3383934 w 6689088"/>
              <a:gd name="connsiteY2725" fmla="*/ 1449791 h 6689084"/>
              <a:gd name="connsiteX2726" fmla="*/ 3394100 w 6689088"/>
              <a:gd name="connsiteY2726" fmla="*/ 1459958 h 6689084"/>
              <a:gd name="connsiteX2727" fmla="*/ 3383934 w 6689088"/>
              <a:gd name="connsiteY2727" fmla="*/ 1470124 h 6689084"/>
              <a:gd name="connsiteX2728" fmla="*/ 3373768 w 6689088"/>
              <a:gd name="connsiteY2728" fmla="*/ 1459958 h 6689084"/>
              <a:gd name="connsiteX2729" fmla="*/ 3383934 w 6689088"/>
              <a:gd name="connsiteY2729" fmla="*/ 1449791 h 6689084"/>
              <a:gd name="connsiteX2730" fmla="*/ 3537882 w 6689088"/>
              <a:gd name="connsiteY2730" fmla="*/ 1447977 h 6689084"/>
              <a:gd name="connsiteX2731" fmla="*/ 3549866 w 6689088"/>
              <a:gd name="connsiteY2731" fmla="*/ 1459958 h 6689084"/>
              <a:gd name="connsiteX2732" fmla="*/ 3537882 w 6689088"/>
              <a:gd name="connsiteY2732" fmla="*/ 1471939 h 6689084"/>
              <a:gd name="connsiteX2733" fmla="*/ 3525901 w 6689088"/>
              <a:gd name="connsiteY2733" fmla="*/ 1459958 h 6689084"/>
              <a:gd name="connsiteX2734" fmla="*/ 3537882 w 6689088"/>
              <a:gd name="connsiteY2734" fmla="*/ 1447977 h 6689084"/>
              <a:gd name="connsiteX2735" fmla="*/ 3691467 w 6689088"/>
              <a:gd name="connsiteY2735" fmla="*/ 1445797 h 6689084"/>
              <a:gd name="connsiteX2736" fmla="*/ 3705266 w 6689088"/>
              <a:gd name="connsiteY2736" fmla="*/ 1459596 h 6689084"/>
              <a:gd name="connsiteX2737" fmla="*/ 3691467 w 6689088"/>
              <a:gd name="connsiteY2737" fmla="*/ 1473391 h 6689084"/>
              <a:gd name="connsiteX2738" fmla="*/ 3677672 w 6689088"/>
              <a:gd name="connsiteY2738" fmla="*/ 1459596 h 6689084"/>
              <a:gd name="connsiteX2739" fmla="*/ 3691467 w 6689088"/>
              <a:gd name="connsiteY2739" fmla="*/ 1445797 h 6689084"/>
              <a:gd name="connsiteX2740" fmla="*/ 3845414 w 6689088"/>
              <a:gd name="connsiteY2740" fmla="*/ 1444706 h 6689084"/>
              <a:gd name="connsiteX2741" fmla="*/ 3860666 w 6689088"/>
              <a:gd name="connsiteY2741" fmla="*/ 1459954 h 6689084"/>
              <a:gd name="connsiteX2742" fmla="*/ 3845414 w 6689088"/>
              <a:gd name="connsiteY2742" fmla="*/ 1475205 h 6689084"/>
              <a:gd name="connsiteX2743" fmla="*/ 3830167 w 6689088"/>
              <a:gd name="connsiteY2743" fmla="*/ 1459954 h 6689084"/>
              <a:gd name="connsiteX2744" fmla="*/ 3845414 w 6689088"/>
              <a:gd name="connsiteY2744" fmla="*/ 1444706 h 6689084"/>
              <a:gd name="connsiteX2745" fmla="*/ 3999000 w 6689088"/>
              <a:gd name="connsiteY2745" fmla="*/ 1442892 h 6689084"/>
              <a:gd name="connsiteX2746" fmla="*/ 4016066 w 6689088"/>
              <a:gd name="connsiteY2746" fmla="*/ 1459958 h 6689084"/>
              <a:gd name="connsiteX2747" fmla="*/ 3999000 w 6689088"/>
              <a:gd name="connsiteY2747" fmla="*/ 1477020 h 6689084"/>
              <a:gd name="connsiteX2748" fmla="*/ 3981934 w 6689088"/>
              <a:gd name="connsiteY2748" fmla="*/ 1459958 h 6689084"/>
              <a:gd name="connsiteX2749" fmla="*/ 3999000 w 6689088"/>
              <a:gd name="connsiteY2749" fmla="*/ 1442892 h 6689084"/>
              <a:gd name="connsiteX2750" fmla="*/ 4152947 w 6689088"/>
              <a:gd name="connsiteY2750" fmla="*/ 1440715 h 6689084"/>
              <a:gd name="connsiteX2751" fmla="*/ 4172194 w 6689088"/>
              <a:gd name="connsiteY2751" fmla="*/ 1459958 h 6689084"/>
              <a:gd name="connsiteX2752" fmla="*/ 4152947 w 6689088"/>
              <a:gd name="connsiteY2752" fmla="*/ 1479200 h 6689084"/>
              <a:gd name="connsiteX2753" fmla="*/ 4133704 w 6689088"/>
              <a:gd name="connsiteY2753" fmla="*/ 1459958 h 6689084"/>
              <a:gd name="connsiteX2754" fmla="*/ 4152947 w 6689088"/>
              <a:gd name="connsiteY2754" fmla="*/ 1440715 h 6689084"/>
              <a:gd name="connsiteX2755" fmla="*/ 4306532 w 6689088"/>
              <a:gd name="connsiteY2755" fmla="*/ 1438535 h 6689084"/>
              <a:gd name="connsiteX2756" fmla="*/ 4327952 w 6689088"/>
              <a:gd name="connsiteY2756" fmla="*/ 1459958 h 6689084"/>
              <a:gd name="connsiteX2757" fmla="*/ 4306532 w 6689088"/>
              <a:gd name="connsiteY2757" fmla="*/ 1481381 h 6689084"/>
              <a:gd name="connsiteX2758" fmla="*/ 4285110 w 6689088"/>
              <a:gd name="connsiteY2758" fmla="*/ 1459958 h 6689084"/>
              <a:gd name="connsiteX2759" fmla="*/ 4306532 w 6689088"/>
              <a:gd name="connsiteY2759" fmla="*/ 1438535 h 6689084"/>
              <a:gd name="connsiteX2760" fmla="*/ 4460480 w 6689088"/>
              <a:gd name="connsiteY2760" fmla="*/ 1437083 h 6689084"/>
              <a:gd name="connsiteX2761" fmla="*/ 4483355 w 6689088"/>
              <a:gd name="connsiteY2761" fmla="*/ 1459958 h 6689084"/>
              <a:gd name="connsiteX2762" fmla="*/ 4460480 w 6689088"/>
              <a:gd name="connsiteY2762" fmla="*/ 1482833 h 6689084"/>
              <a:gd name="connsiteX2763" fmla="*/ 4437604 w 6689088"/>
              <a:gd name="connsiteY2763" fmla="*/ 1459958 h 6689084"/>
              <a:gd name="connsiteX2764" fmla="*/ 4460480 w 6689088"/>
              <a:gd name="connsiteY2764" fmla="*/ 1437083 h 6689084"/>
              <a:gd name="connsiteX2765" fmla="*/ 4614061 w 6689088"/>
              <a:gd name="connsiteY2765" fmla="*/ 1434906 h 6689084"/>
              <a:gd name="connsiteX2766" fmla="*/ 4639116 w 6689088"/>
              <a:gd name="connsiteY2766" fmla="*/ 1459958 h 6689084"/>
              <a:gd name="connsiteX2767" fmla="*/ 4614061 w 6689088"/>
              <a:gd name="connsiteY2767" fmla="*/ 1485013 h 6689084"/>
              <a:gd name="connsiteX2768" fmla="*/ 4589010 w 6689088"/>
              <a:gd name="connsiteY2768" fmla="*/ 1459958 h 6689084"/>
              <a:gd name="connsiteX2769" fmla="*/ 4614061 w 6689088"/>
              <a:gd name="connsiteY2769" fmla="*/ 1434906 h 6689084"/>
              <a:gd name="connsiteX2770" fmla="*/ 4768012 w 6689088"/>
              <a:gd name="connsiteY2770" fmla="*/ 1432726 h 6689084"/>
              <a:gd name="connsiteX2771" fmla="*/ 4795244 w 6689088"/>
              <a:gd name="connsiteY2771" fmla="*/ 1459958 h 6689084"/>
              <a:gd name="connsiteX2772" fmla="*/ 4768012 w 6689088"/>
              <a:gd name="connsiteY2772" fmla="*/ 1487190 h 6689084"/>
              <a:gd name="connsiteX2773" fmla="*/ 4740780 w 6689088"/>
              <a:gd name="connsiteY2773" fmla="*/ 1459958 h 6689084"/>
              <a:gd name="connsiteX2774" fmla="*/ 4768012 w 6689088"/>
              <a:gd name="connsiteY2774" fmla="*/ 1432726 h 6689084"/>
              <a:gd name="connsiteX2775" fmla="*/ 4921594 w 6689088"/>
              <a:gd name="connsiteY2775" fmla="*/ 1430183 h 6689084"/>
              <a:gd name="connsiteX2776" fmla="*/ 4951368 w 6689088"/>
              <a:gd name="connsiteY2776" fmla="*/ 1459954 h 6689084"/>
              <a:gd name="connsiteX2777" fmla="*/ 4921594 w 6689088"/>
              <a:gd name="connsiteY2777" fmla="*/ 1489729 h 6689084"/>
              <a:gd name="connsiteX2778" fmla="*/ 4891823 w 6689088"/>
              <a:gd name="connsiteY2778" fmla="*/ 1459954 h 6689084"/>
              <a:gd name="connsiteX2779" fmla="*/ 4921594 w 6689088"/>
              <a:gd name="connsiteY2779" fmla="*/ 1430183 h 6689084"/>
              <a:gd name="connsiteX2780" fmla="*/ 5075541 w 6689088"/>
              <a:gd name="connsiteY2780" fmla="*/ 1428007 h 6689084"/>
              <a:gd name="connsiteX2781" fmla="*/ 5107492 w 6689088"/>
              <a:gd name="connsiteY2781" fmla="*/ 1459958 h 6689084"/>
              <a:gd name="connsiteX2782" fmla="*/ 5075541 w 6689088"/>
              <a:gd name="connsiteY2782" fmla="*/ 1491909 h 6689084"/>
              <a:gd name="connsiteX2783" fmla="*/ 5043590 w 6689088"/>
              <a:gd name="connsiteY2783" fmla="*/ 1459958 h 6689084"/>
              <a:gd name="connsiteX2784" fmla="*/ 5075541 w 6689088"/>
              <a:gd name="connsiteY2784" fmla="*/ 1428007 h 6689084"/>
              <a:gd name="connsiteX2785" fmla="*/ 5229126 w 6689088"/>
              <a:gd name="connsiteY2785" fmla="*/ 1426192 h 6689084"/>
              <a:gd name="connsiteX2786" fmla="*/ 5262892 w 6689088"/>
              <a:gd name="connsiteY2786" fmla="*/ 1459958 h 6689084"/>
              <a:gd name="connsiteX2787" fmla="*/ 5229126 w 6689088"/>
              <a:gd name="connsiteY2787" fmla="*/ 1493724 h 6689084"/>
              <a:gd name="connsiteX2788" fmla="*/ 5195360 w 6689088"/>
              <a:gd name="connsiteY2788" fmla="*/ 1459958 h 6689084"/>
              <a:gd name="connsiteX2789" fmla="*/ 5229126 w 6689088"/>
              <a:gd name="connsiteY2789" fmla="*/ 1426192 h 6689084"/>
              <a:gd name="connsiteX2790" fmla="*/ 5383074 w 6689088"/>
              <a:gd name="connsiteY2790" fmla="*/ 1423650 h 6689084"/>
              <a:gd name="connsiteX2791" fmla="*/ 5419382 w 6689088"/>
              <a:gd name="connsiteY2791" fmla="*/ 1459958 h 6689084"/>
              <a:gd name="connsiteX2792" fmla="*/ 5383074 w 6689088"/>
              <a:gd name="connsiteY2792" fmla="*/ 1496266 h 6689084"/>
              <a:gd name="connsiteX2793" fmla="*/ 5346766 w 6689088"/>
              <a:gd name="connsiteY2793" fmla="*/ 1459958 h 6689084"/>
              <a:gd name="connsiteX2794" fmla="*/ 5383074 w 6689088"/>
              <a:gd name="connsiteY2794" fmla="*/ 1423650 h 6689084"/>
              <a:gd name="connsiteX2795" fmla="*/ 5536659 w 6689088"/>
              <a:gd name="connsiteY2795" fmla="*/ 1421107 h 6689084"/>
              <a:gd name="connsiteX2796" fmla="*/ 5575506 w 6689088"/>
              <a:gd name="connsiteY2796" fmla="*/ 1459958 h 6689084"/>
              <a:gd name="connsiteX2797" fmla="*/ 5536659 w 6689088"/>
              <a:gd name="connsiteY2797" fmla="*/ 1498805 h 6689084"/>
              <a:gd name="connsiteX2798" fmla="*/ 5497808 w 6689088"/>
              <a:gd name="connsiteY2798" fmla="*/ 1459958 h 6689084"/>
              <a:gd name="connsiteX2799" fmla="*/ 5536659 w 6689088"/>
              <a:gd name="connsiteY2799" fmla="*/ 1421107 h 6689084"/>
              <a:gd name="connsiteX2800" fmla="*/ 5690606 w 6689088"/>
              <a:gd name="connsiteY2800" fmla="*/ 1418930 h 6689084"/>
              <a:gd name="connsiteX2801" fmla="*/ 5731638 w 6689088"/>
              <a:gd name="connsiteY2801" fmla="*/ 1459958 h 6689084"/>
              <a:gd name="connsiteX2802" fmla="*/ 5690606 w 6689088"/>
              <a:gd name="connsiteY2802" fmla="*/ 1500985 h 6689084"/>
              <a:gd name="connsiteX2803" fmla="*/ 5649579 w 6689088"/>
              <a:gd name="connsiteY2803" fmla="*/ 1459958 h 6689084"/>
              <a:gd name="connsiteX2804" fmla="*/ 5690606 w 6689088"/>
              <a:gd name="connsiteY2804" fmla="*/ 1418930 h 6689084"/>
              <a:gd name="connsiteX2805" fmla="*/ 5844554 w 6689088"/>
              <a:gd name="connsiteY2805" fmla="*/ 1416388 h 6689084"/>
              <a:gd name="connsiteX2806" fmla="*/ 5888124 w 6689088"/>
              <a:gd name="connsiteY2806" fmla="*/ 1459958 h 6689084"/>
              <a:gd name="connsiteX2807" fmla="*/ 5844554 w 6689088"/>
              <a:gd name="connsiteY2807" fmla="*/ 1503528 h 6689084"/>
              <a:gd name="connsiteX2808" fmla="*/ 5800984 w 6689088"/>
              <a:gd name="connsiteY2808" fmla="*/ 1459958 h 6689084"/>
              <a:gd name="connsiteX2809" fmla="*/ 5844554 w 6689088"/>
              <a:gd name="connsiteY2809" fmla="*/ 1416388 h 6689084"/>
              <a:gd name="connsiteX2810" fmla="*/ 5998136 w 6689088"/>
              <a:gd name="connsiteY2810" fmla="*/ 1413845 h 6689084"/>
              <a:gd name="connsiteX2811" fmla="*/ 6044248 w 6689088"/>
              <a:gd name="connsiteY2811" fmla="*/ 1459958 h 6689084"/>
              <a:gd name="connsiteX2812" fmla="*/ 5998136 w 6689088"/>
              <a:gd name="connsiteY2812" fmla="*/ 1506070 h 6689084"/>
              <a:gd name="connsiteX2813" fmla="*/ 5952026 w 6689088"/>
              <a:gd name="connsiteY2813" fmla="*/ 1459958 h 6689084"/>
              <a:gd name="connsiteX2814" fmla="*/ 5998136 w 6689088"/>
              <a:gd name="connsiteY2814" fmla="*/ 1413845 h 6689084"/>
              <a:gd name="connsiteX2815" fmla="*/ 6152083 w 6689088"/>
              <a:gd name="connsiteY2815" fmla="*/ 1411303 h 6689084"/>
              <a:gd name="connsiteX2816" fmla="*/ 6200738 w 6689088"/>
              <a:gd name="connsiteY2816" fmla="*/ 1459958 h 6689084"/>
              <a:gd name="connsiteX2817" fmla="*/ 6152083 w 6689088"/>
              <a:gd name="connsiteY2817" fmla="*/ 1508609 h 6689084"/>
              <a:gd name="connsiteX2818" fmla="*/ 6103432 w 6689088"/>
              <a:gd name="connsiteY2818" fmla="*/ 1459958 h 6689084"/>
              <a:gd name="connsiteX2819" fmla="*/ 6152083 w 6689088"/>
              <a:gd name="connsiteY2819" fmla="*/ 1411303 h 6689084"/>
              <a:gd name="connsiteX2820" fmla="*/ 6305672 w 6689088"/>
              <a:gd name="connsiteY2820" fmla="*/ 1408760 h 6689084"/>
              <a:gd name="connsiteX2821" fmla="*/ 6356866 w 6689088"/>
              <a:gd name="connsiteY2821" fmla="*/ 1459954 h 6689084"/>
              <a:gd name="connsiteX2822" fmla="*/ 6305672 w 6689088"/>
              <a:gd name="connsiteY2822" fmla="*/ 1511148 h 6689084"/>
              <a:gd name="connsiteX2823" fmla="*/ 6254474 w 6689088"/>
              <a:gd name="connsiteY2823" fmla="*/ 1459954 h 6689084"/>
              <a:gd name="connsiteX2824" fmla="*/ 6305672 w 6689088"/>
              <a:gd name="connsiteY2824" fmla="*/ 1408760 h 6689084"/>
              <a:gd name="connsiteX2825" fmla="*/ 6459616 w 6689088"/>
              <a:gd name="connsiteY2825" fmla="*/ 1406584 h 6689084"/>
              <a:gd name="connsiteX2826" fmla="*/ 6512990 w 6689088"/>
              <a:gd name="connsiteY2826" fmla="*/ 1459958 h 6689084"/>
              <a:gd name="connsiteX2827" fmla="*/ 6459616 w 6689088"/>
              <a:gd name="connsiteY2827" fmla="*/ 1513328 h 6689084"/>
              <a:gd name="connsiteX2828" fmla="*/ 6406241 w 6689088"/>
              <a:gd name="connsiteY2828" fmla="*/ 1459958 h 6689084"/>
              <a:gd name="connsiteX2829" fmla="*/ 6459616 w 6689088"/>
              <a:gd name="connsiteY2829" fmla="*/ 1406584 h 6689084"/>
              <a:gd name="connsiteX2830" fmla="*/ 6613200 w 6689088"/>
              <a:gd name="connsiteY2830" fmla="*/ 1403679 h 6689084"/>
              <a:gd name="connsiteX2831" fmla="*/ 6669476 w 6689088"/>
              <a:gd name="connsiteY2831" fmla="*/ 1459958 h 6689084"/>
              <a:gd name="connsiteX2832" fmla="*/ 6613200 w 6689088"/>
              <a:gd name="connsiteY2832" fmla="*/ 1516233 h 6689084"/>
              <a:gd name="connsiteX2833" fmla="*/ 6556922 w 6689088"/>
              <a:gd name="connsiteY2833" fmla="*/ 1459958 h 6689084"/>
              <a:gd name="connsiteX2834" fmla="*/ 6613200 w 6689088"/>
              <a:gd name="connsiteY2834" fmla="*/ 1403679 h 6689084"/>
              <a:gd name="connsiteX2835" fmla="*/ 1999860 w 6689088"/>
              <a:gd name="connsiteY2835" fmla="*/ 1305645 h 6689084"/>
              <a:gd name="connsiteX2836" fmla="*/ 2000222 w 6689088"/>
              <a:gd name="connsiteY2836" fmla="*/ 1306007 h 6689084"/>
              <a:gd name="connsiteX2837" fmla="*/ 1999860 w 6689088"/>
              <a:gd name="connsiteY2837" fmla="*/ 1306373 h 6689084"/>
              <a:gd name="connsiteX2838" fmla="*/ 1999498 w 6689088"/>
              <a:gd name="connsiteY2838" fmla="*/ 1306007 h 6689084"/>
              <a:gd name="connsiteX2839" fmla="*/ 1999860 w 6689088"/>
              <a:gd name="connsiteY2839" fmla="*/ 1305645 h 6689084"/>
              <a:gd name="connsiteX2840" fmla="*/ 1538746 w 6689088"/>
              <a:gd name="connsiteY2840" fmla="*/ 1305645 h 6689084"/>
              <a:gd name="connsiteX2841" fmla="*/ 1539108 w 6689088"/>
              <a:gd name="connsiteY2841" fmla="*/ 1306007 h 6689084"/>
              <a:gd name="connsiteX2842" fmla="*/ 1538746 w 6689088"/>
              <a:gd name="connsiteY2842" fmla="*/ 1306373 h 6689084"/>
              <a:gd name="connsiteX2843" fmla="*/ 1538384 w 6689088"/>
              <a:gd name="connsiteY2843" fmla="*/ 1306007 h 6689084"/>
              <a:gd name="connsiteX2844" fmla="*/ 1538746 w 6689088"/>
              <a:gd name="connsiteY2844" fmla="*/ 1305645 h 6689084"/>
              <a:gd name="connsiteX2845" fmla="*/ 1384799 w 6689088"/>
              <a:gd name="connsiteY2845" fmla="*/ 1305645 h 6689084"/>
              <a:gd name="connsiteX2846" fmla="*/ 1385161 w 6689088"/>
              <a:gd name="connsiteY2846" fmla="*/ 1306007 h 6689084"/>
              <a:gd name="connsiteX2847" fmla="*/ 1384799 w 6689088"/>
              <a:gd name="connsiteY2847" fmla="*/ 1306373 h 6689084"/>
              <a:gd name="connsiteX2848" fmla="*/ 1384437 w 6689088"/>
              <a:gd name="connsiteY2848" fmla="*/ 1306007 h 6689084"/>
              <a:gd name="connsiteX2849" fmla="*/ 1384799 w 6689088"/>
              <a:gd name="connsiteY2849" fmla="*/ 1305645 h 6689084"/>
              <a:gd name="connsiteX2850" fmla="*/ 1231217 w 6689088"/>
              <a:gd name="connsiteY2850" fmla="*/ 1305282 h 6689084"/>
              <a:gd name="connsiteX2851" fmla="*/ 1231942 w 6689088"/>
              <a:gd name="connsiteY2851" fmla="*/ 1306010 h 6689084"/>
              <a:gd name="connsiteX2852" fmla="*/ 1231217 w 6689088"/>
              <a:gd name="connsiteY2852" fmla="*/ 1306735 h 6689084"/>
              <a:gd name="connsiteX2853" fmla="*/ 1230489 w 6689088"/>
              <a:gd name="connsiteY2853" fmla="*/ 1306010 h 6689084"/>
              <a:gd name="connsiteX2854" fmla="*/ 1231217 w 6689088"/>
              <a:gd name="connsiteY2854" fmla="*/ 1305282 h 6689084"/>
              <a:gd name="connsiteX2855" fmla="*/ 2153811 w 6689088"/>
              <a:gd name="connsiteY2855" fmla="*/ 1304558 h 6689084"/>
              <a:gd name="connsiteX2856" fmla="*/ 2155264 w 6689088"/>
              <a:gd name="connsiteY2856" fmla="*/ 1306010 h 6689084"/>
              <a:gd name="connsiteX2857" fmla="*/ 2153811 w 6689088"/>
              <a:gd name="connsiteY2857" fmla="*/ 1307463 h 6689084"/>
              <a:gd name="connsiteX2858" fmla="*/ 2152359 w 6689088"/>
              <a:gd name="connsiteY2858" fmla="*/ 1306010 h 6689084"/>
              <a:gd name="connsiteX2859" fmla="*/ 2153811 w 6689088"/>
              <a:gd name="connsiteY2859" fmla="*/ 1304558 h 6689084"/>
              <a:gd name="connsiteX2860" fmla="*/ 2307393 w 6689088"/>
              <a:gd name="connsiteY2860" fmla="*/ 1303830 h 6689084"/>
              <a:gd name="connsiteX2861" fmla="*/ 2309573 w 6689088"/>
              <a:gd name="connsiteY2861" fmla="*/ 1306010 h 6689084"/>
              <a:gd name="connsiteX2862" fmla="*/ 2307393 w 6689088"/>
              <a:gd name="connsiteY2862" fmla="*/ 1308187 h 6689084"/>
              <a:gd name="connsiteX2863" fmla="*/ 2305216 w 6689088"/>
              <a:gd name="connsiteY2863" fmla="*/ 1306010 h 6689084"/>
              <a:gd name="connsiteX2864" fmla="*/ 2307393 w 6689088"/>
              <a:gd name="connsiteY2864" fmla="*/ 1303830 h 6689084"/>
              <a:gd name="connsiteX2865" fmla="*/ 2461344 w 6689088"/>
              <a:gd name="connsiteY2865" fmla="*/ 1303106 h 6689084"/>
              <a:gd name="connsiteX2866" fmla="*/ 2464611 w 6689088"/>
              <a:gd name="connsiteY2866" fmla="*/ 1306373 h 6689084"/>
              <a:gd name="connsiteX2867" fmla="*/ 2461344 w 6689088"/>
              <a:gd name="connsiteY2867" fmla="*/ 1309643 h 6689084"/>
              <a:gd name="connsiteX2868" fmla="*/ 2458073 w 6689088"/>
              <a:gd name="connsiteY2868" fmla="*/ 1306373 h 6689084"/>
              <a:gd name="connsiteX2869" fmla="*/ 2461344 w 6689088"/>
              <a:gd name="connsiteY2869" fmla="*/ 1303106 h 6689084"/>
              <a:gd name="connsiteX2870" fmla="*/ 2614925 w 6689088"/>
              <a:gd name="connsiteY2870" fmla="*/ 1301653 h 6689084"/>
              <a:gd name="connsiteX2871" fmla="*/ 2619283 w 6689088"/>
              <a:gd name="connsiteY2871" fmla="*/ 1306010 h 6689084"/>
              <a:gd name="connsiteX2872" fmla="*/ 2614925 w 6689088"/>
              <a:gd name="connsiteY2872" fmla="*/ 1310367 h 6689084"/>
              <a:gd name="connsiteX2873" fmla="*/ 2610568 w 6689088"/>
              <a:gd name="connsiteY2873" fmla="*/ 1306010 h 6689084"/>
              <a:gd name="connsiteX2874" fmla="*/ 2614925 w 6689088"/>
              <a:gd name="connsiteY2874" fmla="*/ 1301653 h 6689084"/>
              <a:gd name="connsiteX2875" fmla="*/ 2768873 w 6689088"/>
              <a:gd name="connsiteY2875" fmla="*/ 1300563 h 6689084"/>
              <a:gd name="connsiteX2876" fmla="*/ 2774682 w 6689088"/>
              <a:gd name="connsiteY2876" fmla="*/ 1306373 h 6689084"/>
              <a:gd name="connsiteX2877" fmla="*/ 2768873 w 6689088"/>
              <a:gd name="connsiteY2877" fmla="*/ 1312182 h 6689084"/>
              <a:gd name="connsiteX2878" fmla="*/ 2763064 w 6689088"/>
              <a:gd name="connsiteY2878" fmla="*/ 1306373 h 6689084"/>
              <a:gd name="connsiteX2879" fmla="*/ 2768873 w 6689088"/>
              <a:gd name="connsiteY2879" fmla="*/ 1300563 h 6689084"/>
              <a:gd name="connsiteX2880" fmla="*/ 2922458 w 6689088"/>
              <a:gd name="connsiteY2880" fmla="*/ 1298749 h 6689084"/>
              <a:gd name="connsiteX2881" fmla="*/ 2929720 w 6689088"/>
              <a:gd name="connsiteY2881" fmla="*/ 1306010 h 6689084"/>
              <a:gd name="connsiteX2882" fmla="*/ 2922458 w 6689088"/>
              <a:gd name="connsiteY2882" fmla="*/ 1313272 h 6689084"/>
              <a:gd name="connsiteX2883" fmla="*/ 2915196 w 6689088"/>
              <a:gd name="connsiteY2883" fmla="*/ 1306010 h 6689084"/>
              <a:gd name="connsiteX2884" fmla="*/ 2922458 w 6689088"/>
              <a:gd name="connsiteY2884" fmla="*/ 1298749 h 6689084"/>
              <a:gd name="connsiteX2885" fmla="*/ 3076406 w 6689088"/>
              <a:gd name="connsiteY2885" fmla="*/ 1296934 h 6689084"/>
              <a:gd name="connsiteX2886" fmla="*/ 3085486 w 6689088"/>
              <a:gd name="connsiteY2886" fmla="*/ 1306010 h 6689084"/>
              <a:gd name="connsiteX2887" fmla="*/ 3076406 w 6689088"/>
              <a:gd name="connsiteY2887" fmla="*/ 1315090 h 6689084"/>
              <a:gd name="connsiteX2888" fmla="*/ 3067329 w 6689088"/>
              <a:gd name="connsiteY2888" fmla="*/ 1306010 h 6689084"/>
              <a:gd name="connsiteX2889" fmla="*/ 3076406 w 6689088"/>
              <a:gd name="connsiteY2889" fmla="*/ 1296934 h 6689084"/>
              <a:gd name="connsiteX2890" fmla="*/ 3230353 w 6689088"/>
              <a:gd name="connsiteY2890" fmla="*/ 1295844 h 6689084"/>
              <a:gd name="connsiteX2891" fmla="*/ 3240519 w 6689088"/>
              <a:gd name="connsiteY2891" fmla="*/ 1306010 h 6689084"/>
              <a:gd name="connsiteX2892" fmla="*/ 3230353 w 6689088"/>
              <a:gd name="connsiteY2892" fmla="*/ 1316177 h 6689084"/>
              <a:gd name="connsiteX2893" fmla="*/ 3220186 w 6689088"/>
              <a:gd name="connsiteY2893" fmla="*/ 1306010 h 6689084"/>
              <a:gd name="connsiteX2894" fmla="*/ 3230353 w 6689088"/>
              <a:gd name="connsiteY2894" fmla="*/ 1295844 h 6689084"/>
              <a:gd name="connsiteX2895" fmla="*/ 3383934 w 6689088"/>
              <a:gd name="connsiteY2895" fmla="*/ 1294026 h 6689084"/>
              <a:gd name="connsiteX2896" fmla="*/ 3395919 w 6689088"/>
              <a:gd name="connsiteY2896" fmla="*/ 1306007 h 6689084"/>
              <a:gd name="connsiteX2897" fmla="*/ 3383934 w 6689088"/>
              <a:gd name="connsiteY2897" fmla="*/ 1317987 h 6689084"/>
              <a:gd name="connsiteX2898" fmla="*/ 3371954 w 6689088"/>
              <a:gd name="connsiteY2898" fmla="*/ 1306007 h 6689084"/>
              <a:gd name="connsiteX2899" fmla="*/ 3383934 w 6689088"/>
              <a:gd name="connsiteY2899" fmla="*/ 1294026 h 6689084"/>
              <a:gd name="connsiteX2900" fmla="*/ 3537886 w 6689088"/>
              <a:gd name="connsiteY2900" fmla="*/ 1292211 h 6689084"/>
              <a:gd name="connsiteX2901" fmla="*/ 3551681 w 6689088"/>
              <a:gd name="connsiteY2901" fmla="*/ 1306010 h 6689084"/>
              <a:gd name="connsiteX2902" fmla="*/ 3537886 w 6689088"/>
              <a:gd name="connsiteY2902" fmla="*/ 1319806 h 6689084"/>
              <a:gd name="connsiteX2903" fmla="*/ 3524086 w 6689088"/>
              <a:gd name="connsiteY2903" fmla="*/ 1306010 h 6689084"/>
              <a:gd name="connsiteX2904" fmla="*/ 3537886 w 6689088"/>
              <a:gd name="connsiteY2904" fmla="*/ 1292211 h 6689084"/>
              <a:gd name="connsiteX2905" fmla="*/ 3691467 w 6689088"/>
              <a:gd name="connsiteY2905" fmla="*/ 1290759 h 6689084"/>
              <a:gd name="connsiteX2906" fmla="*/ 3706718 w 6689088"/>
              <a:gd name="connsiteY2906" fmla="*/ 1306010 h 6689084"/>
              <a:gd name="connsiteX2907" fmla="*/ 3691467 w 6689088"/>
              <a:gd name="connsiteY2907" fmla="*/ 1321258 h 6689084"/>
              <a:gd name="connsiteX2908" fmla="*/ 3676219 w 6689088"/>
              <a:gd name="connsiteY2908" fmla="*/ 1306010 h 6689084"/>
              <a:gd name="connsiteX2909" fmla="*/ 3691467 w 6689088"/>
              <a:gd name="connsiteY2909" fmla="*/ 1290759 h 6689084"/>
              <a:gd name="connsiteX2910" fmla="*/ 3845418 w 6689088"/>
              <a:gd name="connsiteY2910" fmla="*/ 1288945 h 6689084"/>
              <a:gd name="connsiteX2911" fmla="*/ 3862484 w 6689088"/>
              <a:gd name="connsiteY2911" fmla="*/ 1306010 h 6689084"/>
              <a:gd name="connsiteX2912" fmla="*/ 3845418 w 6689088"/>
              <a:gd name="connsiteY2912" fmla="*/ 1323072 h 6689084"/>
              <a:gd name="connsiteX2913" fmla="*/ 3828352 w 6689088"/>
              <a:gd name="connsiteY2913" fmla="*/ 1306010 h 6689084"/>
              <a:gd name="connsiteX2914" fmla="*/ 3845418 w 6689088"/>
              <a:gd name="connsiteY2914" fmla="*/ 1288945 h 6689084"/>
              <a:gd name="connsiteX2915" fmla="*/ 3999000 w 6689088"/>
              <a:gd name="connsiteY2915" fmla="*/ 1286768 h 6689084"/>
              <a:gd name="connsiteX2916" fmla="*/ 4018242 w 6689088"/>
              <a:gd name="connsiteY2916" fmla="*/ 1306010 h 6689084"/>
              <a:gd name="connsiteX2917" fmla="*/ 3999000 w 6689088"/>
              <a:gd name="connsiteY2917" fmla="*/ 1325257 h 6689084"/>
              <a:gd name="connsiteX2918" fmla="*/ 3979757 w 6689088"/>
              <a:gd name="connsiteY2918" fmla="*/ 1306010 h 6689084"/>
              <a:gd name="connsiteX2919" fmla="*/ 3999000 w 6689088"/>
              <a:gd name="connsiteY2919" fmla="*/ 1286768 h 6689084"/>
              <a:gd name="connsiteX2920" fmla="*/ 4152947 w 6689088"/>
              <a:gd name="connsiteY2920" fmla="*/ 1284588 h 6689084"/>
              <a:gd name="connsiteX2921" fmla="*/ 4174366 w 6689088"/>
              <a:gd name="connsiteY2921" fmla="*/ 1306010 h 6689084"/>
              <a:gd name="connsiteX2922" fmla="*/ 4152947 w 6689088"/>
              <a:gd name="connsiteY2922" fmla="*/ 1327433 h 6689084"/>
              <a:gd name="connsiteX2923" fmla="*/ 4131524 w 6689088"/>
              <a:gd name="connsiteY2923" fmla="*/ 1306010 h 6689084"/>
              <a:gd name="connsiteX2924" fmla="*/ 4152947 w 6689088"/>
              <a:gd name="connsiteY2924" fmla="*/ 1284588 h 6689084"/>
              <a:gd name="connsiteX2925" fmla="*/ 4306532 w 6689088"/>
              <a:gd name="connsiteY2925" fmla="*/ 1283135 h 6689084"/>
              <a:gd name="connsiteX2926" fmla="*/ 4329404 w 6689088"/>
              <a:gd name="connsiteY2926" fmla="*/ 1306010 h 6689084"/>
              <a:gd name="connsiteX2927" fmla="*/ 4306532 w 6689088"/>
              <a:gd name="connsiteY2927" fmla="*/ 1328886 h 6689084"/>
              <a:gd name="connsiteX2928" fmla="*/ 4283657 w 6689088"/>
              <a:gd name="connsiteY2928" fmla="*/ 1306010 h 6689084"/>
              <a:gd name="connsiteX2929" fmla="*/ 4306532 w 6689088"/>
              <a:gd name="connsiteY2929" fmla="*/ 1283135 h 6689084"/>
              <a:gd name="connsiteX2930" fmla="*/ 4460480 w 6689088"/>
              <a:gd name="connsiteY2930" fmla="*/ 1281321 h 6689084"/>
              <a:gd name="connsiteX2931" fmla="*/ 4485536 w 6689088"/>
              <a:gd name="connsiteY2931" fmla="*/ 1306373 h 6689084"/>
              <a:gd name="connsiteX2932" fmla="*/ 4460480 w 6689088"/>
              <a:gd name="connsiteY2932" fmla="*/ 1331424 h 6689084"/>
              <a:gd name="connsiteX2933" fmla="*/ 4435428 w 6689088"/>
              <a:gd name="connsiteY2933" fmla="*/ 1306373 h 6689084"/>
              <a:gd name="connsiteX2934" fmla="*/ 4460480 w 6689088"/>
              <a:gd name="connsiteY2934" fmla="*/ 1281321 h 6689084"/>
              <a:gd name="connsiteX2935" fmla="*/ 4614065 w 6689088"/>
              <a:gd name="connsiteY2935" fmla="*/ 1278778 h 6689084"/>
              <a:gd name="connsiteX2936" fmla="*/ 4641297 w 6689088"/>
              <a:gd name="connsiteY2936" fmla="*/ 1306010 h 6689084"/>
              <a:gd name="connsiteX2937" fmla="*/ 4614065 w 6689088"/>
              <a:gd name="connsiteY2937" fmla="*/ 1333243 h 6689084"/>
              <a:gd name="connsiteX2938" fmla="*/ 4586832 w 6689088"/>
              <a:gd name="connsiteY2938" fmla="*/ 1306010 h 6689084"/>
              <a:gd name="connsiteX2939" fmla="*/ 4614065 w 6689088"/>
              <a:gd name="connsiteY2939" fmla="*/ 1278778 h 6689084"/>
              <a:gd name="connsiteX2940" fmla="*/ 4768008 w 6689088"/>
              <a:gd name="connsiteY2940" fmla="*/ 1276236 h 6689084"/>
              <a:gd name="connsiteX2941" fmla="*/ 4797784 w 6689088"/>
              <a:gd name="connsiteY2941" fmla="*/ 1306010 h 6689084"/>
              <a:gd name="connsiteX2942" fmla="*/ 4768008 w 6689088"/>
              <a:gd name="connsiteY2942" fmla="*/ 1335781 h 6689084"/>
              <a:gd name="connsiteX2943" fmla="*/ 4738238 w 6689088"/>
              <a:gd name="connsiteY2943" fmla="*/ 1306010 h 6689084"/>
              <a:gd name="connsiteX2944" fmla="*/ 4768008 w 6689088"/>
              <a:gd name="connsiteY2944" fmla="*/ 1276236 h 6689084"/>
              <a:gd name="connsiteX2945" fmla="*/ 4921594 w 6689088"/>
              <a:gd name="connsiteY2945" fmla="*/ 1274059 h 6689084"/>
              <a:gd name="connsiteX2946" fmla="*/ 4953545 w 6689088"/>
              <a:gd name="connsiteY2946" fmla="*/ 1306010 h 6689084"/>
              <a:gd name="connsiteX2947" fmla="*/ 4921594 w 6689088"/>
              <a:gd name="connsiteY2947" fmla="*/ 1337962 h 6689084"/>
              <a:gd name="connsiteX2948" fmla="*/ 4889642 w 6689088"/>
              <a:gd name="connsiteY2948" fmla="*/ 1306010 h 6689084"/>
              <a:gd name="connsiteX2949" fmla="*/ 4921594 w 6689088"/>
              <a:gd name="connsiteY2949" fmla="*/ 1274059 h 6689084"/>
              <a:gd name="connsiteX2950" fmla="*/ 5075541 w 6689088"/>
              <a:gd name="connsiteY2950" fmla="*/ 1272245 h 6689084"/>
              <a:gd name="connsiteX2951" fmla="*/ 5109311 w 6689088"/>
              <a:gd name="connsiteY2951" fmla="*/ 1306010 h 6689084"/>
              <a:gd name="connsiteX2952" fmla="*/ 5075541 w 6689088"/>
              <a:gd name="connsiteY2952" fmla="*/ 1339780 h 6689084"/>
              <a:gd name="connsiteX2953" fmla="*/ 5041776 w 6689088"/>
              <a:gd name="connsiteY2953" fmla="*/ 1306010 h 6689084"/>
              <a:gd name="connsiteX2954" fmla="*/ 5075541 w 6689088"/>
              <a:gd name="connsiteY2954" fmla="*/ 1272245 h 6689084"/>
              <a:gd name="connsiteX2955" fmla="*/ 5229126 w 6689088"/>
              <a:gd name="connsiteY2955" fmla="*/ 1269702 h 6689084"/>
              <a:gd name="connsiteX2956" fmla="*/ 5265435 w 6689088"/>
              <a:gd name="connsiteY2956" fmla="*/ 1306010 h 6689084"/>
              <a:gd name="connsiteX2957" fmla="*/ 5229126 w 6689088"/>
              <a:gd name="connsiteY2957" fmla="*/ 1342319 h 6689084"/>
              <a:gd name="connsiteX2958" fmla="*/ 5192818 w 6689088"/>
              <a:gd name="connsiteY2958" fmla="*/ 1306010 h 6689084"/>
              <a:gd name="connsiteX2959" fmla="*/ 5229126 w 6689088"/>
              <a:gd name="connsiteY2959" fmla="*/ 1269702 h 6689084"/>
              <a:gd name="connsiteX2960" fmla="*/ 5383074 w 6689088"/>
              <a:gd name="connsiteY2960" fmla="*/ 1267160 h 6689084"/>
              <a:gd name="connsiteX2961" fmla="*/ 5421921 w 6689088"/>
              <a:gd name="connsiteY2961" fmla="*/ 1306010 h 6689084"/>
              <a:gd name="connsiteX2962" fmla="*/ 5383074 w 6689088"/>
              <a:gd name="connsiteY2962" fmla="*/ 1344858 h 6689084"/>
              <a:gd name="connsiteX2963" fmla="*/ 5344223 w 6689088"/>
              <a:gd name="connsiteY2963" fmla="*/ 1306010 h 6689084"/>
              <a:gd name="connsiteX2964" fmla="*/ 5383074 w 6689088"/>
              <a:gd name="connsiteY2964" fmla="*/ 1267160 h 6689084"/>
              <a:gd name="connsiteX2965" fmla="*/ 5536659 w 6689088"/>
              <a:gd name="connsiteY2965" fmla="*/ 1264983 h 6689084"/>
              <a:gd name="connsiteX2966" fmla="*/ 5577690 w 6689088"/>
              <a:gd name="connsiteY2966" fmla="*/ 1306010 h 6689084"/>
              <a:gd name="connsiteX2967" fmla="*/ 5536659 w 6689088"/>
              <a:gd name="connsiteY2967" fmla="*/ 1347038 h 6689084"/>
              <a:gd name="connsiteX2968" fmla="*/ 5495632 w 6689088"/>
              <a:gd name="connsiteY2968" fmla="*/ 1306010 h 6689084"/>
              <a:gd name="connsiteX2969" fmla="*/ 5536659 w 6689088"/>
              <a:gd name="connsiteY2969" fmla="*/ 1264983 h 6689084"/>
              <a:gd name="connsiteX2970" fmla="*/ 5690606 w 6689088"/>
              <a:gd name="connsiteY2970" fmla="*/ 1262440 h 6689084"/>
              <a:gd name="connsiteX2971" fmla="*/ 5734176 w 6689088"/>
              <a:gd name="connsiteY2971" fmla="*/ 1306010 h 6689084"/>
              <a:gd name="connsiteX2972" fmla="*/ 5690606 w 6689088"/>
              <a:gd name="connsiteY2972" fmla="*/ 1349581 h 6689084"/>
              <a:gd name="connsiteX2973" fmla="*/ 5647036 w 6689088"/>
              <a:gd name="connsiteY2973" fmla="*/ 1306010 h 6689084"/>
              <a:gd name="connsiteX2974" fmla="*/ 5690606 w 6689088"/>
              <a:gd name="connsiteY2974" fmla="*/ 1262440 h 6689084"/>
              <a:gd name="connsiteX2975" fmla="*/ 5844554 w 6689088"/>
              <a:gd name="connsiteY2975" fmla="*/ 1259898 h 6689084"/>
              <a:gd name="connsiteX2976" fmla="*/ 5890666 w 6689088"/>
              <a:gd name="connsiteY2976" fmla="*/ 1306010 h 6689084"/>
              <a:gd name="connsiteX2977" fmla="*/ 5844554 w 6689088"/>
              <a:gd name="connsiteY2977" fmla="*/ 1352123 h 6689084"/>
              <a:gd name="connsiteX2978" fmla="*/ 5798442 w 6689088"/>
              <a:gd name="connsiteY2978" fmla="*/ 1306010 h 6689084"/>
              <a:gd name="connsiteX2979" fmla="*/ 5844554 w 6689088"/>
              <a:gd name="connsiteY2979" fmla="*/ 1259898 h 6689084"/>
              <a:gd name="connsiteX2980" fmla="*/ 5998136 w 6689088"/>
              <a:gd name="connsiteY2980" fmla="*/ 1257355 h 6689084"/>
              <a:gd name="connsiteX2981" fmla="*/ 6046790 w 6689088"/>
              <a:gd name="connsiteY2981" fmla="*/ 1306010 h 6689084"/>
              <a:gd name="connsiteX2982" fmla="*/ 5998136 w 6689088"/>
              <a:gd name="connsiteY2982" fmla="*/ 1354662 h 6689084"/>
              <a:gd name="connsiteX2983" fmla="*/ 5949484 w 6689088"/>
              <a:gd name="connsiteY2983" fmla="*/ 1306010 h 6689084"/>
              <a:gd name="connsiteX2984" fmla="*/ 5998136 w 6689088"/>
              <a:gd name="connsiteY2984" fmla="*/ 1257355 h 6689084"/>
              <a:gd name="connsiteX2985" fmla="*/ 6152083 w 6689088"/>
              <a:gd name="connsiteY2985" fmla="*/ 1254817 h 6689084"/>
              <a:gd name="connsiteX2986" fmla="*/ 6203280 w 6689088"/>
              <a:gd name="connsiteY2986" fmla="*/ 1306010 h 6689084"/>
              <a:gd name="connsiteX2987" fmla="*/ 6152083 w 6689088"/>
              <a:gd name="connsiteY2987" fmla="*/ 1357204 h 6689084"/>
              <a:gd name="connsiteX2988" fmla="*/ 6100889 w 6689088"/>
              <a:gd name="connsiteY2988" fmla="*/ 1306010 h 6689084"/>
              <a:gd name="connsiteX2989" fmla="*/ 6152083 w 6689088"/>
              <a:gd name="connsiteY2989" fmla="*/ 1254817 h 6689084"/>
              <a:gd name="connsiteX2990" fmla="*/ 6305668 w 6689088"/>
              <a:gd name="connsiteY2990" fmla="*/ 1252636 h 6689084"/>
              <a:gd name="connsiteX2991" fmla="*/ 6359042 w 6689088"/>
              <a:gd name="connsiteY2991" fmla="*/ 1306010 h 6689084"/>
              <a:gd name="connsiteX2992" fmla="*/ 6305668 w 6689088"/>
              <a:gd name="connsiteY2992" fmla="*/ 1359381 h 6689084"/>
              <a:gd name="connsiteX2993" fmla="*/ 6252294 w 6689088"/>
              <a:gd name="connsiteY2993" fmla="*/ 1306010 h 6689084"/>
              <a:gd name="connsiteX2994" fmla="*/ 6305668 w 6689088"/>
              <a:gd name="connsiteY2994" fmla="*/ 1252636 h 6689084"/>
              <a:gd name="connsiteX2995" fmla="*/ 6459619 w 6689088"/>
              <a:gd name="connsiteY2995" fmla="*/ 1249732 h 6689084"/>
              <a:gd name="connsiteX2996" fmla="*/ 6515894 w 6689088"/>
              <a:gd name="connsiteY2996" fmla="*/ 1306010 h 6689084"/>
              <a:gd name="connsiteX2997" fmla="*/ 6459619 w 6689088"/>
              <a:gd name="connsiteY2997" fmla="*/ 1362289 h 6689084"/>
              <a:gd name="connsiteX2998" fmla="*/ 6403340 w 6689088"/>
              <a:gd name="connsiteY2998" fmla="*/ 1306010 h 6689084"/>
              <a:gd name="connsiteX2999" fmla="*/ 6459619 w 6689088"/>
              <a:gd name="connsiteY2999" fmla="*/ 1249732 h 6689084"/>
              <a:gd name="connsiteX3000" fmla="*/ 6613197 w 6689088"/>
              <a:gd name="connsiteY3000" fmla="*/ 1247189 h 6689084"/>
              <a:gd name="connsiteX3001" fmla="*/ 6672018 w 6689088"/>
              <a:gd name="connsiteY3001" fmla="*/ 1306010 h 6689084"/>
              <a:gd name="connsiteX3002" fmla="*/ 6613197 w 6689088"/>
              <a:gd name="connsiteY3002" fmla="*/ 1364828 h 6689084"/>
              <a:gd name="connsiteX3003" fmla="*/ 6554380 w 6689088"/>
              <a:gd name="connsiteY3003" fmla="*/ 1306010 h 6689084"/>
              <a:gd name="connsiteX3004" fmla="*/ 6613197 w 6689088"/>
              <a:gd name="connsiteY3004" fmla="*/ 1247189 h 6689084"/>
              <a:gd name="connsiteX3005" fmla="*/ 1846279 w 6689088"/>
              <a:gd name="connsiteY3005" fmla="*/ 1152063 h 6689084"/>
              <a:gd name="connsiteX3006" fmla="*/ 1846641 w 6689088"/>
              <a:gd name="connsiteY3006" fmla="*/ 1152425 h 6689084"/>
              <a:gd name="connsiteX3007" fmla="*/ 1846279 w 6689088"/>
              <a:gd name="connsiteY3007" fmla="*/ 1152791 h 6689084"/>
              <a:gd name="connsiteX3008" fmla="*/ 1845917 w 6689088"/>
              <a:gd name="connsiteY3008" fmla="*/ 1152425 h 6689084"/>
              <a:gd name="connsiteX3009" fmla="*/ 1846279 w 6689088"/>
              <a:gd name="connsiteY3009" fmla="*/ 1152063 h 6689084"/>
              <a:gd name="connsiteX3010" fmla="*/ 1384799 w 6689088"/>
              <a:gd name="connsiteY3010" fmla="*/ 1152063 h 6689084"/>
              <a:gd name="connsiteX3011" fmla="*/ 1385161 w 6689088"/>
              <a:gd name="connsiteY3011" fmla="*/ 1152425 h 6689084"/>
              <a:gd name="connsiteX3012" fmla="*/ 1384799 w 6689088"/>
              <a:gd name="connsiteY3012" fmla="*/ 1152791 h 6689084"/>
              <a:gd name="connsiteX3013" fmla="*/ 1384437 w 6689088"/>
              <a:gd name="connsiteY3013" fmla="*/ 1152425 h 6689084"/>
              <a:gd name="connsiteX3014" fmla="*/ 1384799 w 6689088"/>
              <a:gd name="connsiteY3014" fmla="*/ 1152063 h 6689084"/>
              <a:gd name="connsiteX3015" fmla="*/ 1231213 w 6689088"/>
              <a:gd name="connsiteY3015" fmla="*/ 1152063 h 6689084"/>
              <a:gd name="connsiteX3016" fmla="*/ 1231576 w 6689088"/>
              <a:gd name="connsiteY3016" fmla="*/ 1152425 h 6689084"/>
              <a:gd name="connsiteX3017" fmla="*/ 1231213 w 6689088"/>
              <a:gd name="connsiteY3017" fmla="*/ 1152791 h 6689084"/>
              <a:gd name="connsiteX3018" fmla="*/ 1230851 w 6689088"/>
              <a:gd name="connsiteY3018" fmla="*/ 1152425 h 6689084"/>
              <a:gd name="connsiteX3019" fmla="*/ 1231213 w 6689088"/>
              <a:gd name="connsiteY3019" fmla="*/ 1152063 h 6689084"/>
              <a:gd name="connsiteX3020" fmla="*/ 1077270 w 6689088"/>
              <a:gd name="connsiteY3020" fmla="*/ 1151701 h 6689084"/>
              <a:gd name="connsiteX3021" fmla="*/ 1077994 w 6689088"/>
              <a:gd name="connsiteY3021" fmla="*/ 1152425 h 6689084"/>
              <a:gd name="connsiteX3022" fmla="*/ 1077270 w 6689088"/>
              <a:gd name="connsiteY3022" fmla="*/ 1153153 h 6689084"/>
              <a:gd name="connsiteX3023" fmla="*/ 1076542 w 6689088"/>
              <a:gd name="connsiteY3023" fmla="*/ 1152425 h 6689084"/>
              <a:gd name="connsiteX3024" fmla="*/ 1077270 w 6689088"/>
              <a:gd name="connsiteY3024" fmla="*/ 1151701 h 6689084"/>
              <a:gd name="connsiteX3025" fmla="*/ 1999864 w 6689088"/>
              <a:gd name="connsiteY3025" fmla="*/ 1150611 h 6689084"/>
              <a:gd name="connsiteX3026" fmla="*/ 2001316 w 6689088"/>
              <a:gd name="connsiteY3026" fmla="*/ 1152063 h 6689084"/>
              <a:gd name="connsiteX3027" fmla="*/ 1999864 w 6689088"/>
              <a:gd name="connsiteY3027" fmla="*/ 1153515 h 6689084"/>
              <a:gd name="connsiteX3028" fmla="*/ 1998412 w 6689088"/>
              <a:gd name="connsiteY3028" fmla="*/ 1152063 h 6689084"/>
              <a:gd name="connsiteX3029" fmla="*/ 1999864 w 6689088"/>
              <a:gd name="connsiteY3029" fmla="*/ 1150611 h 6689084"/>
              <a:gd name="connsiteX3030" fmla="*/ 2153808 w 6689088"/>
              <a:gd name="connsiteY3030" fmla="*/ 1150249 h 6689084"/>
              <a:gd name="connsiteX3031" fmla="*/ 2155988 w 6689088"/>
              <a:gd name="connsiteY3031" fmla="*/ 1152425 h 6689084"/>
              <a:gd name="connsiteX3032" fmla="*/ 2153808 w 6689088"/>
              <a:gd name="connsiteY3032" fmla="*/ 1154606 h 6689084"/>
              <a:gd name="connsiteX3033" fmla="*/ 2151631 w 6689088"/>
              <a:gd name="connsiteY3033" fmla="*/ 1152425 h 6689084"/>
              <a:gd name="connsiteX3034" fmla="*/ 2153808 w 6689088"/>
              <a:gd name="connsiteY3034" fmla="*/ 1150249 h 6689084"/>
              <a:gd name="connsiteX3035" fmla="*/ 2307393 w 6689088"/>
              <a:gd name="connsiteY3035" fmla="*/ 1149158 h 6689084"/>
              <a:gd name="connsiteX3036" fmla="*/ 2310660 w 6689088"/>
              <a:gd name="connsiteY3036" fmla="*/ 1152425 h 6689084"/>
              <a:gd name="connsiteX3037" fmla="*/ 2307393 w 6689088"/>
              <a:gd name="connsiteY3037" fmla="*/ 1155696 h 6689084"/>
              <a:gd name="connsiteX3038" fmla="*/ 2304126 w 6689088"/>
              <a:gd name="connsiteY3038" fmla="*/ 1152425 h 6689084"/>
              <a:gd name="connsiteX3039" fmla="*/ 2307393 w 6689088"/>
              <a:gd name="connsiteY3039" fmla="*/ 1149158 h 6689084"/>
              <a:gd name="connsiteX3040" fmla="*/ 2461340 w 6689088"/>
              <a:gd name="connsiteY3040" fmla="*/ 1147706 h 6689084"/>
              <a:gd name="connsiteX3041" fmla="*/ 2465697 w 6689088"/>
              <a:gd name="connsiteY3041" fmla="*/ 1152063 h 6689084"/>
              <a:gd name="connsiteX3042" fmla="*/ 2461340 w 6689088"/>
              <a:gd name="connsiteY3042" fmla="*/ 1156420 h 6689084"/>
              <a:gd name="connsiteX3043" fmla="*/ 2456983 w 6689088"/>
              <a:gd name="connsiteY3043" fmla="*/ 1152063 h 6689084"/>
              <a:gd name="connsiteX3044" fmla="*/ 2461340 w 6689088"/>
              <a:gd name="connsiteY3044" fmla="*/ 1147706 h 6689084"/>
              <a:gd name="connsiteX3045" fmla="*/ 2614925 w 6689088"/>
              <a:gd name="connsiteY3045" fmla="*/ 1146616 h 6689084"/>
              <a:gd name="connsiteX3046" fmla="*/ 2620735 w 6689088"/>
              <a:gd name="connsiteY3046" fmla="*/ 1152425 h 6689084"/>
              <a:gd name="connsiteX3047" fmla="*/ 2614925 w 6689088"/>
              <a:gd name="connsiteY3047" fmla="*/ 1158234 h 6689084"/>
              <a:gd name="connsiteX3048" fmla="*/ 2609116 w 6689088"/>
              <a:gd name="connsiteY3048" fmla="*/ 1152425 h 6689084"/>
              <a:gd name="connsiteX3049" fmla="*/ 2614925 w 6689088"/>
              <a:gd name="connsiteY3049" fmla="*/ 1146616 h 6689084"/>
              <a:gd name="connsiteX3050" fmla="*/ 2768873 w 6689088"/>
              <a:gd name="connsiteY3050" fmla="*/ 1145164 h 6689084"/>
              <a:gd name="connsiteX3051" fmla="*/ 2776135 w 6689088"/>
              <a:gd name="connsiteY3051" fmla="*/ 1152425 h 6689084"/>
              <a:gd name="connsiteX3052" fmla="*/ 2768873 w 6689088"/>
              <a:gd name="connsiteY3052" fmla="*/ 1159687 h 6689084"/>
              <a:gd name="connsiteX3053" fmla="*/ 2761611 w 6689088"/>
              <a:gd name="connsiteY3053" fmla="*/ 1152425 h 6689084"/>
              <a:gd name="connsiteX3054" fmla="*/ 2768873 w 6689088"/>
              <a:gd name="connsiteY3054" fmla="*/ 1145164 h 6689084"/>
              <a:gd name="connsiteX3055" fmla="*/ 2922454 w 6689088"/>
              <a:gd name="connsiteY3055" fmla="*/ 1142983 h 6689084"/>
              <a:gd name="connsiteX3056" fmla="*/ 2931534 w 6689088"/>
              <a:gd name="connsiteY3056" fmla="*/ 1152059 h 6689084"/>
              <a:gd name="connsiteX3057" fmla="*/ 2922454 w 6689088"/>
              <a:gd name="connsiteY3057" fmla="*/ 1161139 h 6689084"/>
              <a:gd name="connsiteX3058" fmla="*/ 2913378 w 6689088"/>
              <a:gd name="connsiteY3058" fmla="*/ 1152059 h 6689084"/>
              <a:gd name="connsiteX3059" fmla="*/ 2922454 w 6689088"/>
              <a:gd name="connsiteY3059" fmla="*/ 1142983 h 6689084"/>
              <a:gd name="connsiteX3060" fmla="*/ 3076406 w 6689088"/>
              <a:gd name="connsiteY3060" fmla="*/ 1142259 h 6689084"/>
              <a:gd name="connsiteX3061" fmla="*/ 3086572 w 6689088"/>
              <a:gd name="connsiteY3061" fmla="*/ 1152425 h 6689084"/>
              <a:gd name="connsiteX3062" fmla="*/ 3076406 w 6689088"/>
              <a:gd name="connsiteY3062" fmla="*/ 1162592 h 6689084"/>
              <a:gd name="connsiteX3063" fmla="*/ 3066239 w 6689088"/>
              <a:gd name="connsiteY3063" fmla="*/ 1152425 h 6689084"/>
              <a:gd name="connsiteX3064" fmla="*/ 3076406 w 6689088"/>
              <a:gd name="connsiteY3064" fmla="*/ 1142259 h 6689084"/>
              <a:gd name="connsiteX3065" fmla="*/ 3230349 w 6689088"/>
              <a:gd name="connsiteY3065" fmla="*/ 1140444 h 6689084"/>
              <a:gd name="connsiteX3066" fmla="*/ 3242334 w 6689088"/>
              <a:gd name="connsiteY3066" fmla="*/ 1152425 h 6689084"/>
              <a:gd name="connsiteX3067" fmla="*/ 3230349 w 6689088"/>
              <a:gd name="connsiteY3067" fmla="*/ 1164406 h 6689084"/>
              <a:gd name="connsiteX3068" fmla="*/ 3218368 w 6689088"/>
              <a:gd name="connsiteY3068" fmla="*/ 1152425 h 6689084"/>
              <a:gd name="connsiteX3069" fmla="*/ 3230349 w 6689088"/>
              <a:gd name="connsiteY3069" fmla="*/ 1140444 h 6689084"/>
              <a:gd name="connsiteX3070" fmla="*/ 3383934 w 6689088"/>
              <a:gd name="connsiteY3070" fmla="*/ 1138264 h 6689084"/>
              <a:gd name="connsiteX3071" fmla="*/ 3397733 w 6689088"/>
              <a:gd name="connsiteY3071" fmla="*/ 1152059 h 6689084"/>
              <a:gd name="connsiteX3072" fmla="*/ 3383934 w 6689088"/>
              <a:gd name="connsiteY3072" fmla="*/ 1165858 h 6689084"/>
              <a:gd name="connsiteX3073" fmla="*/ 3370139 w 6689088"/>
              <a:gd name="connsiteY3073" fmla="*/ 1152059 h 6689084"/>
              <a:gd name="connsiteX3074" fmla="*/ 3383934 w 6689088"/>
              <a:gd name="connsiteY3074" fmla="*/ 1138264 h 6689084"/>
              <a:gd name="connsiteX3075" fmla="*/ 3537882 w 6689088"/>
              <a:gd name="connsiteY3075" fmla="*/ 1137178 h 6689084"/>
              <a:gd name="connsiteX3076" fmla="*/ 3553133 w 6689088"/>
              <a:gd name="connsiteY3076" fmla="*/ 1152425 h 6689084"/>
              <a:gd name="connsiteX3077" fmla="*/ 3537882 w 6689088"/>
              <a:gd name="connsiteY3077" fmla="*/ 1167677 h 6689084"/>
              <a:gd name="connsiteX3078" fmla="*/ 3522634 w 6689088"/>
              <a:gd name="connsiteY3078" fmla="*/ 1152425 h 6689084"/>
              <a:gd name="connsiteX3079" fmla="*/ 3537882 w 6689088"/>
              <a:gd name="connsiteY3079" fmla="*/ 1137178 h 6689084"/>
              <a:gd name="connsiteX3080" fmla="*/ 3691467 w 6689088"/>
              <a:gd name="connsiteY3080" fmla="*/ 1135359 h 6689084"/>
              <a:gd name="connsiteX3081" fmla="*/ 3708533 w 6689088"/>
              <a:gd name="connsiteY3081" fmla="*/ 1152425 h 6689084"/>
              <a:gd name="connsiteX3082" fmla="*/ 3691467 w 6689088"/>
              <a:gd name="connsiteY3082" fmla="*/ 1169487 h 6689084"/>
              <a:gd name="connsiteX3083" fmla="*/ 3674401 w 6689088"/>
              <a:gd name="connsiteY3083" fmla="*/ 1152425 h 6689084"/>
              <a:gd name="connsiteX3084" fmla="*/ 3691467 w 6689088"/>
              <a:gd name="connsiteY3084" fmla="*/ 1135359 h 6689084"/>
              <a:gd name="connsiteX3085" fmla="*/ 3845414 w 6689088"/>
              <a:gd name="connsiteY3085" fmla="*/ 1133183 h 6689084"/>
              <a:gd name="connsiteX3086" fmla="*/ 3864661 w 6689088"/>
              <a:gd name="connsiteY3086" fmla="*/ 1152425 h 6689084"/>
              <a:gd name="connsiteX3087" fmla="*/ 3845414 w 6689088"/>
              <a:gd name="connsiteY3087" fmla="*/ 1171672 h 6689084"/>
              <a:gd name="connsiteX3088" fmla="*/ 3826172 w 6689088"/>
              <a:gd name="connsiteY3088" fmla="*/ 1152425 h 6689084"/>
              <a:gd name="connsiteX3089" fmla="*/ 3845414 w 6689088"/>
              <a:gd name="connsiteY3089" fmla="*/ 1133183 h 6689084"/>
              <a:gd name="connsiteX3090" fmla="*/ 3999000 w 6689088"/>
              <a:gd name="connsiteY3090" fmla="*/ 1131002 h 6689084"/>
              <a:gd name="connsiteX3091" fmla="*/ 4020422 w 6689088"/>
              <a:gd name="connsiteY3091" fmla="*/ 1152425 h 6689084"/>
              <a:gd name="connsiteX3092" fmla="*/ 3999000 w 6689088"/>
              <a:gd name="connsiteY3092" fmla="*/ 1173844 h 6689084"/>
              <a:gd name="connsiteX3093" fmla="*/ 3977577 w 6689088"/>
              <a:gd name="connsiteY3093" fmla="*/ 1152425 h 6689084"/>
              <a:gd name="connsiteX3094" fmla="*/ 3999000 w 6689088"/>
              <a:gd name="connsiteY3094" fmla="*/ 1131002 h 6689084"/>
              <a:gd name="connsiteX3095" fmla="*/ 4152947 w 6689088"/>
              <a:gd name="connsiteY3095" fmla="*/ 1129550 h 6689084"/>
              <a:gd name="connsiteX3096" fmla="*/ 4175822 w 6689088"/>
              <a:gd name="connsiteY3096" fmla="*/ 1152425 h 6689084"/>
              <a:gd name="connsiteX3097" fmla="*/ 4152947 w 6689088"/>
              <a:gd name="connsiteY3097" fmla="*/ 1175297 h 6689084"/>
              <a:gd name="connsiteX3098" fmla="*/ 4130072 w 6689088"/>
              <a:gd name="connsiteY3098" fmla="*/ 1152425 h 6689084"/>
              <a:gd name="connsiteX3099" fmla="*/ 4152947 w 6689088"/>
              <a:gd name="connsiteY3099" fmla="*/ 1129550 h 6689084"/>
              <a:gd name="connsiteX3100" fmla="*/ 4306532 w 6689088"/>
              <a:gd name="connsiteY3100" fmla="*/ 1127373 h 6689084"/>
              <a:gd name="connsiteX3101" fmla="*/ 4331584 w 6689088"/>
              <a:gd name="connsiteY3101" fmla="*/ 1152425 h 6689084"/>
              <a:gd name="connsiteX3102" fmla="*/ 4306532 w 6689088"/>
              <a:gd name="connsiteY3102" fmla="*/ 1177481 h 6689084"/>
              <a:gd name="connsiteX3103" fmla="*/ 4281480 w 6689088"/>
              <a:gd name="connsiteY3103" fmla="*/ 1152425 h 6689084"/>
              <a:gd name="connsiteX3104" fmla="*/ 4306532 w 6689088"/>
              <a:gd name="connsiteY3104" fmla="*/ 1127373 h 6689084"/>
              <a:gd name="connsiteX3105" fmla="*/ 4460480 w 6689088"/>
              <a:gd name="connsiteY3105" fmla="*/ 1125193 h 6689084"/>
              <a:gd name="connsiteX3106" fmla="*/ 4487712 w 6689088"/>
              <a:gd name="connsiteY3106" fmla="*/ 1152425 h 6689084"/>
              <a:gd name="connsiteX3107" fmla="*/ 4460480 w 6689088"/>
              <a:gd name="connsiteY3107" fmla="*/ 1179657 h 6689084"/>
              <a:gd name="connsiteX3108" fmla="*/ 4433248 w 6689088"/>
              <a:gd name="connsiteY3108" fmla="*/ 1152425 h 6689084"/>
              <a:gd name="connsiteX3109" fmla="*/ 4460480 w 6689088"/>
              <a:gd name="connsiteY3109" fmla="*/ 1125193 h 6689084"/>
              <a:gd name="connsiteX3110" fmla="*/ 4614061 w 6689088"/>
              <a:gd name="connsiteY3110" fmla="*/ 1122654 h 6689084"/>
              <a:gd name="connsiteX3111" fmla="*/ 4643836 w 6689088"/>
              <a:gd name="connsiteY3111" fmla="*/ 1152425 h 6689084"/>
              <a:gd name="connsiteX3112" fmla="*/ 4614061 w 6689088"/>
              <a:gd name="connsiteY3112" fmla="*/ 1182200 h 6689084"/>
              <a:gd name="connsiteX3113" fmla="*/ 4584290 w 6689088"/>
              <a:gd name="connsiteY3113" fmla="*/ 1152429 h 6689084"/>
              <a:gd name="connsiteX3114" fmla="*/ 4614061 w 6689088"/>
              <a:gd name="connsiteY3114" fmla="*/ 1122654 h 6689084"/>
              <a:gd name="connsiteX3115" fmla="*/ 4768012 w 6689088"/>
              <a:gd name="connsiteY3115" fmla="*/ 1120474 h 6689084"/>
              <a:gd name="connsiteX3116" fmla="*/ 4799964 w 6689088"/>
              <a:gd name="connsiteY3116" fmla="*/ 1152425 h 6689084"/>
              <a:gd name="connsiteX3117" fmla="*/ 4768012 w 6689088"/>
              <a:gd name="connsiteY3117" fmla="*/ 1184377 h 6689084"/>
              <a:gd name="connsiteX3118" fmla="*/ 4736061 w 6689088"/>
              <a:gd name="connsiteY3118" fmla="*/ 1152425 h 6689084"/>
              <a:gd name="connsiteX3119" fmla="*/ 4768012 w 6689088"/>
              <a:gd name="connsiteY3119" fmla="*/ 1120474 h 6689084"/>
              <a:gd name="connsiteX3120" fmla="*/ 4921594 w 6689088"/>
              <a:gd name="connsiteY3120" fmla="*/ 1118659 h 6689084"/>
              <a:gd name="connsiteX3121" fmla="*/ 4955364 w 6689088"/>
              <a:gd name="connsiteY3121" fmla="*/ 1152425 h 6689084"/>
              <a:gd name="connsiteX3122" fmla="*/ 4921594 w 6689088"/>
              <a:gd name="connsiteY3122" fmla="*/ 1186191 h 6689084"/>
              <a:gd name="connsiteX3123" fmla="*/ 4887828 w 6689088"/>
              <a:gd name="connsiteY3123" fmla="*/ 1152425 h 6689084"/>
              <a:gd name="connsiteX3124" fmla="*/ 4921594 w 6689088"/>
              <a:gd name="connsiteY3124" fmla="*/ 1118659 h 6689084"/>
              <a:gd name="connsiteX3125" fmla="*/ 5075541 w 6689088"/>
              <a:gd name="connsiteY3125" fmla="*/ 1116117 h 6689084"/>
              <a:gd name="connsiteX3126" fmla="*/ 5111850 w 6689088"/>
              <a:gd name="connsiteY3126" fmla="*/ 1152425 h 6689084"/>
              <a:gd name="connsiteX3127" fmla="*/ 5075541 w 6689088"/>
              <a:gd name="connsiteY3127" fmla="*/ 1188734 h 6689084"/>
              <a:gd name="connsiteX3128" fmla="*/ 5039233 w 6689088"/>
              <a:gd name="connsiteY3128" fmla="*/ 1152425 h 6689084"/>
              <a:gd name="connsiteX3129" fmla="*/ 5075541 w 6689088"/>
              <a:gd name="connsiteY3129" fmla="*/ 1116117 h 6689084"/>
              <a:gd name="connsiteX3130" fmla="*/ 5229126 w 6689088"/>
              <a:gd name="connsiteY3130" fmla="*/ 1113574 h 6689084"/>
              <a:gd name="connsiteX3131" fmla="*/ 5267978 w 6689088"/>
              <a:gd name="connsiteY3131" fmla="*/ 1152425 h 6689084"/>
              <a:gd name="connsiteX3132" fmla="*/ 5229126 w 6689088"/>
              <a:gd name="connsiteY3132" fmla="*/ 1191276 h 6689084"/>
              <a:gd name="connsiteX3133" fmla="*/ 5190276 w 6689088"/>
              <a:gd name="connsiteY3133" fmla="*/ 1152425 h 6689084"/>
              <a:gd name="connsiteX3134" fmla="*/ 5229126 w 6689088"/>
              <a:gd name="connsiteY3134" fmla="*/ 1113574 h 6689084"/>
              <a:gd name="connsiteX3135" fmla="*/ 5383074 w 6689088"/>
              <a:gd name="connsiteY3135" fmla="*/ 1111036 h 6689084"/>
              <a:gd name="connsiteX3136" fmla="*/ 5424102 w 6689088"/>
              <a:gd name="connsiteY3136" fmla="*/ 1152063 h 6689084"/>
              <a:gd name="connsiteX3137" fmla="*/ 5383074 w 6689088"/>
              <a:gd name="connsiteY3137" fmla="*/ 1193094 h 6689084"/>
              <a:gd name="connsiteX3138" fmla="*/ 5342046 w 6689088"/>
              <a:gd name="connsiteY3138" fmla="*/ 1152063 h 6689084"/>
              <a:gd name="connsiteX3139" fmla="*/ 5383074 w 6689088"/>
              <a:gd name="connsiteY3139" fmla="*/ 1111036 h 6689084"/>
              <a:gd name="connsiteX3140" fmla="*/ 5536659 w 6689088"/>
              <a:gd name="connsiteY3140" fmla="*/ 1108855 h 6689084"/>
              <a:gd name="connsiteX3141" fmla="*/ 5580229 w 6689088"/>
              <a:gd name="connsiteY3141" fmla="*/ 1152425 h 6689084"/>
              <a:gd name="connsiteX3142" fmla="*/ 5536659 w 6689088"/>
              <a:gd name="connsiteY3142" fmla="*/ 1195995 h 6689084"/>
              <a:gd name="connsiteX3143" fmla="*/ 5493089 w 6689088"/>
              <a:gd name="connsiteY3143" fmla="*/ 1152425 h 6689084"/>
              <a:gd name="connsiteX3144" fmla="*/ 5536659 w 6689088"/>
              <a:gd name="connsiteY3144" fmla="*/ 1108855 h 6689084"/>
              <a:gd name="connsiteX3145" fmla="*/ 5690602 w 6689088"/>
              <a:gd name="connsiteY3145" fmla="*/ 1106313 h 6689084"/>
              <a:gd name="connsiteX3146" fmla="*/ 5736716 w 6689088"/>
              <a:gd name="connsiteY3146" fmla="*/ 1152425 h 6689084"/>
              <a:gd name="connsiteX3147" fmla="*/ 5690602 w 6689088"/>
              <a:gd name="connsiteY3147" fmla="*/ 1198534 h 6689084"/>
              <a:gd name="connsiteX3148" fmla="*/ 5644490 w 6689088"/>
              <a:gd name="connsiteY3148" fmla="*/ 1152425 h 6689084"/>
              <a:gd name="connsiteX3149" fmla="*/ 5690602 w 6689088"/>
              <a:gd name="connsiteY3149" fmla="*/ 1106313 h 6689084"/>
              <a:gd name="connsiteX3150" fmla="*/ 5844554 w 6689088"/>
              <a:gd name="connsiteY3150" fmla="*/ 1103770 h 6689084"/>
              <a:gd name="connsiteX3151" fmla="*/ 5893205 w 6689088"/>
              <a:gd name="connsiteY3151" fmla="*/ 1152425 h 6689084"/>
              <a:gd name="connsiteX3152" fmla="*/ 5844554 w 6689088"/>
              <a:gd name="connsiteY3152" fmla="*/ 1201077 h 6689084"/>
              <a:gd name="connsiteX3153" fmla="*/ 5795899 w 6689088"/>
              <a:gd name="connsiteY3153" fmla="*/ 1152425 h 6689084"/>
              <a:gd name="connsiteX3154" fmla="*/ 5844554 w 6689088"/>
              <a:gd name="connsiteY3154" fmla="*/ 1103770 h 6689084"/>
              <a:gd name="connsiteX3155" fmla="*/ 5998136 w 6689088"/>
              <a:gd name="connsiteY3155" fmla="*/ 1101231 h 6689084"/>
              <a:gd name="connsiteX3156" fmla="*/ 6049333 w 6689088"/>
              <a:gd name="connsiteY3156" fmla="*/ 1152425 h 6689084"/>
              <a:gd name="connsiteX3157" fmla="*/ 5998136 w 6689088"/>
              <a:gd name="connsiteY3157" fmla="*/ 1203623 h 6689084"/>
              <a:gd name="connsiteX3158" fmla="*/ 5946942 w 6689088"/>
              <a:gd name="connsiteY3158" fmla="*/ 1152425 h 6689084"/>
              <a:gd name="connsiteX3159" fmla="*/ 5998136 w 6689088"/>
              <a:gd name="connsiteY3159" fmla="*/ 1101231 h 6689084"/>
              <a:gd name="connsiteX3160" fmla="*/ 6152083 w 6689088"/>
              <a:gd name="connsiteY3160" fmla="*/ 1099051 h 6689084"/>
              <a:gd name="connsiteX3161" fmla="*/ 6205461 w 6689088"/>
              <a:gd name="connsiteY3161" fmla="*/ 1152425 h 6689084"/>
              <a:gd name="connsiteX3162" fmla="*/ 6152083 w 6689088"/>
              <a:gd name="connsiteY3162" fmla="*/ 1205796 h 6689084"/>
              <a:gd name="connsiteX3163" fmla="*/ 6098712 w 6689088"/>
              <a:gd name="connsiteY3163" fmla="*/ 1152425 h 6689084"/>
              <a:gd name="connsiteX3164" fmla="*/ 6152083 w 6689088"/>
              <a:gd name="connsiteY3164" fmla="*/ 1099051 h 6689084"/>
              <a:gd name="connsiteX3165" fmla="*/ 6305672 w 6689088"/>
              <a:gd name="connsiteY3165" fmla="*/ 1096146 h 6689084"/>
              <a:gd name="connsiteX3166" fmla="*/ 6361947 w 6689088"/>
              <a:gd name="connsiteY3166" fmla="*/ 1152425 h 6689084"/>
              <a:gd name="connsiteX3167" fmla="*/ 6305672 w 6689088"/>
              <a:gd name="connsiteY3167" fmla="*/ 1208704 h 6689084"/>
              <a:gd name="connsiteX3168" fmla="*/ 6249393 w 6689088"/>
              <a:gd name="connsiteY3168" fmla="*/ 1152425 h 6689084"/>
              <a:gd name="connsiteX3169" fmla="*/ 6305672 w 6689088"/>
              <a:gd name="connsiteY3169" fmla="*/ 1096146 h 6689084"/>
              <a:gd name="connsiteX3170" fmla="*/ 6459616 w 6689088"/>
              <a:gd name="connsiteY3170" fmla="*/ 1093608 h 6689084"/>
              <a:gd name="connsiteX3171" fmla="*/ 6518437 w 6689088"/>
              <a:gd name="connsiteY3171" fmla="*/ 1152425 h 6689084"/>
              <a:gd name="connsiteX3172" fmla="*/ 6459616 w 6689088"/>
              <a:gd name="connsiteY3172" fmla="*/ 1211247 h 6689084"/>
              <a:gd name="connsiteX3173" fmla="*/ 6400798 w 6689088"/>
              <a:gd name="connsiteY3173" fmla="*/ 1152425 h 6689084"/>
              <a:gd name="connsiteX3174" fmla="*/ 6459616 w 6689088"/>
              <a:gd name="connsiteY3174" fmla="*/ 1093608 h 6689084"/>
              <a:gd name="connsiteX3175" fmla="*/ 6613200 w 6689088"/>
              <a:gd name="connsiteY3175" fmla="*/ 1090703 h 6689084"/>
              <a:gd name="connsiteX3176" fmla="*/ 6674923 w 6689088"/>
              <a:gd name="connsiteY3176" fmla="*/ 1152425 h 6689084"/>
              <a:gd name="connsiteX3177" fmla="*/ 6613200 w 6689088"/>
              <a:gd name="connsiteY3177" fmla="*/ 1214151 h 6689084"/>
              <a:gd name="connsiteX3178" fmla="*/ 6551474 w 6689088"/>
              <a:gd name="connsiteY3178" fmla="*/ 1152425 h 6689084"/>
              <a:gd name="connsiteX3179" fmla="*/ 6613200 w 6689088"/>
              <a:gd name="connsiteY3179" fmla="*/ 1090703 h 6689084"/>
              <a:gd name="connsiteX3180" fmla="*/ 1692331 w 6689088"/>
              <a:gd name="connsiteY3180" fmla="*/ 998116 h 6689084"/>
              <a:gd name="connsiteX3181" fmla="*/ 1692694 w 6689088"/>
              <a:gd name="connsiteY3181" fmla="*/ 998478 h 6689084"/>
              <a:gd name="connsiteX3182" fmla="*/ 1692331 w 6689088"/>
              <a:gd name="connsiteY3182" fmla="*/ 998844 h 6689084"/>
              <a:gd name="connsiteX3183" fmla="*/ 1691969 w 6689088"/>
              <a:gd name="connsiteY3183" fmla="*/ 998478 h 6689084"/>
              <a:gd name="connsiteX3184" fmla="*/ 1692331 w 6689088"/>
              <a:gd name="connsiteY3184" fmla="*/ 998116 h 6689084"/>
              <a:gd name="connsiteX3185" fmla="*/ 1231213 w 6689088"/>
              <a:gd name="connsiteY3185" fmla="*/ 998116 h 6689084"/>
              <a:gd name="connsiteX3186" fmla="*/ 1231576 w 6689088"/>
              <a:gd name="connsiteY3186" fmla="*/ 998478 h 6689084"/>
              <a:gd name="connsiteX3187" fmla="*/ 1231213 w 6689088"/>
              <a:gd name="connsiteY3187" fmla="*/ 998844 h 6689084"/>
              <a:gd name="connsiteX3188" fmla="*/ 1230851 w 6689088"/>
              <a:gd name="connsiteY3188" fmla="*/ 998478 h 6689084"/>
              <a:gd name="connsiteX3189" fmla="*/ 1231213 w 6689088"/>
              <a:gd name="connsiteY3189" fmla="*/ 998116 h 6689084"/>
              <a:gd name="connsiteX3190" fmla="*/ 1077266 w 6689088"/>
              <a:gd name="connsiteY3190" fmla="*/ 998116 h 6689084"/>
              <a:gd name="connsiteX3191" fmla="*/ 1077628 w 6689088"/>
              <a:gd name="connsiteY3191" fmla="*/ 998478 h 6689084"/>
              <a:gd name="connsiteX3192" fmla="*/ 1077266 w 6689088"/>
              <a:gd name="connsiteY3192" fmla="*/ 998844 h 6689084"/>
              <a:gd name="connsiteX3193" fmla="*/ 1076904 w 6689088"/>
              <a:gd name="connsiteY3193" fmla="*/ 998478 h 6689084"/>
              <a:gd name="connsiteX3194" fmla="*/ 1077266 w 6689088"/>
              <a:gd name="connsiteY3194" fmla="*/ 998116 h 6689084"/>
              <a:gd name="connsiteX3195" fmla="*/ 923685 w 6689088"/>
              <a:gd name="connsiteY3195" fmla="*/ 997754 h 6689084"/>
              <a:gd name="connsiteX3196" fmla="*/ 924409 w 6689088"/>
              <a:gd name="connsiteY3196" fmla="*/ 998482 h 6689084"/>
              <a:gd name="connsiteX3197" fmla="*/ 923685 w 6689088"/>
              <a:gd name="connsiteY3197" fmla="*/ 999206 h 6689084"/>
              <a:gd name="connsiteX3198" fmla="*/ 922957 w 6689088"/>
              <a:gd name="connsiteY3198" fmla="*/ 998482 h 6689084"/>
              <a:gd name="connsiteX3199" fmla="*/ 923685 w 6689088"/>
              <a:gd name="connsiteY3199" fmla="*/ 997754 h 6689084"/>
              <a:gd name="connsiteX3200" fmla="*/ 1846279 w 6689088"/>
              <a:gd name="connsiteY3200" fmla="*/ 997025 h 6689084"/>
              <a:gd name="connsiteX3201" fmla="*/ 1847731 w 6689088"/>
              <a:gd name="connsiteY3201" fmla="*/ 998478 h 6689084"/>
              <a:gd name="connsiteX3202" fmla="*/ 1846279 w 6689088"/>
              <a:gd name="connsiteY3202" fmla="*/ 999930 h 6689084"/>
              <a:gd name="connsiteX3203" fmla="*/ 1844826 w 6689088"/>
              <a:gd name="connsiteY3203" fmla="*/ 998478 h 6689084"/>
              <a:gd name="connsiteX3204" fmla="*/ 1846279 w 6689088"/>
              <a:gd name="connsiteY3204" fmla="*/ 997025 h 6689084"/>
              <a:gd name="connsiteX3205" fmla="*/ 1999860 w 6689088"/>
              <a:gd name="connsiteY3205" fmla="*/ 996301 h 6689084"/>
              <a:gd name="connsiteX3206" fmla="*/ 2002041 w 6689088"/>
              <a:gd name="connsiteY3206" fmla="*/ 998478 h 6689084"/>
              <a:gd name="connsiteX3207" fmla="*/ 1999860 w 6689088"/>
              <a:gd name="connsiteY3207" fmla="*/ 1000658 h 6689084"/>
              <a:gd name="connsiteX3208" fmla="*/ 1997684 w 6689088"/>
              <a:gd name="connsiteY3208" fmla="*/ 998478 h 6689084"/>
              <a:gd name="connsiteX3209" fmla="*/ 1999860 w 6689088"/>
              <a:gd name="connsiteY3209" fmla="*/ 996301 h 6689084"/>
              <a:gd name="connsiteX3210" fmla="*/ 2153808 w 6689088"/>
              <a:gd name="connsiteY3210" fmla="*/ 995573 h 6689084"/>
              <a:gd name="connsiteX3211" fmla="*/ 2157074 w 6689088"/>
              <a:gd name="connsiteY3211" fmla="*/ 998840 h 6689084"/>
              <a:gd name="connsiteX3212" fmla="*/ 2153808 w 6689088"/>
              <a:gd name="connsiteY3212" fmla="*/ 1002110 h 6689084"/>
              <a:gd name="connsiteX3213" fmla="*/ 2150541 w 6689088"/>
              <a:gd name="connsiteY3213" fmla="*/ 998840 h 6689084"/>
              <a:gd name="connsiteX3214" fmla="*/ 2153808 w 6689088"/>
              <a:gd name="connsiteY3214" fmla="*/ 995573 h 6689084"/>
              <a:gd name="connsiteX3215" fmla="*/ 2307393 w 6689088"/>
              <a:gd name="connsiteY3215" fmla="*/ 994121 h 6689084"/>
              <a:gd name="connsiteX3216" fmla="*/ 2311750 w 6689088"/>
              <a:gd name="connsiteY3216" fmla="*/ 998478 h 6689084"/>
              <a:gd name="connsiteX3217" fmla="*/ 2307393 w 6689088"/>
              <a:gd name="connsiteY3217" fmla="*/ 1002835 h 6689084"/>
              <a:gd name="connsiteX3218" fmla="*/ 2303036 w 6689088"/>
              <a:gd name="connsiteY3218" fmla="*/ 998478 h 6689084"/>
              <a:gd name="connsiteX3219" fmla="*/ 2307393 w 6689088"/>
              <a:gd name="connsiteY3219" fmla="*/ 994121 h 6689084"/>
              <a:gd name="connsiteX3220" fmla="*/ 2461340 w 6689088"/>
              <a:gd name="connsiteY3220" fmla="*/ 993031 h 6689084"/>
              <a:gd name="connsiteX3221" fmla="*/ 2467150 w 6689088"/>
              <a:gd name="connsiteY3221" fmla="*/ 998840 h 6689084"/>
              <a:gd name="connsiteX3222" fmla="*/ 2461340 w 6689088"/>
              <a:gd name="connsiteY3222" fmla="*/ 1004649 h 6689084"/>
              <a:gd name="connsiteX3223" fmla="*/ 2455531 w 6689088"/>
              <a:gd name="connsiteY3223" fmla="*/ 998840 h 6689084"/>
              <a:gd name="connsiteX3224" fmla="*/ 2461340 w 6689088"/>
              <a:gd name="connsiteY3224" fmla="*/ 993031 h 6689084"/>
              <a:gd name="connsiteX3225" fmla="*/ 2614925 w 6689088"/>
              <a:gd name="connsiteY3225" fmla="*/ 991216 h 6689084"/>
              <a:gd name="connsiteX3226" fmla="*/ 2622187 w 6689088"/>
              <a:gd name="connsiteY3226" fmla="*/ 998478 h 6689084"/>
              <a:gd name="connsiteX3227" fmla="*/ 2614925 w 6689088"/>
              <a:gd name="connsiteY3227" fmla="*/ 1005739 h 6689084"/>
              <a:gd name="connsiteX3228" fmla="*/ 2607664 w 6689088"/>
              <a:gd name="connsiteY3228" fmla="*/ 998478 h 6689084"/>
              <a:gd name="connsiteX3229" fmla="*/ 2614925 w 6689088"/>
              <a:gd name="connsiteY3229" fmla="*/ 991216 h 6689084"/>
              <a:gd name="connsiteX3230" fmla="*/ 2768873 w 6689088"/>
              <a:gd name="connsiteY3230" fmla="*/ 989402 h 6689084"/>
              <a:gd name="connsiteX3231" fmla="*/ 2777953 w 6689088"/>
              <a:gd name="connsiteY3231" fmla="*/ 998478 h 6689084"/>
              <a:gd name="connsiteX3232" fmla="*/ 2768873 w 6689088"/>
              <a:gd name="connsiteY3232" fmla="*/ 1007558 h 6689084"/>
              <a:gd name="connsiteX3233" fmla="*/ 2759797 w 6689088"/>
              <a:gd name="connsiteY3233" fmla="*/ 998478 h 6689084"/>
              <a:gd name="connsiteX3234" fmla="*/ 2768873 w 6689088"/>
              <a:gd name="connsiteY3234" fmla="*/ 989402 h 6689084"/>
              <a:gd name="connsiteX3235" fmla="*/ 2922458 w 6689088"/>
              <a:gd name="connsiteY3235" fmla="*/ 988311 h 6689084"/>
              <a:gd name="connsiteX3236" fmla="*/ 2932624 w 6689088"/>
              <a:gd name="connsiteY3236" fmla="*/ 998478 h 6689084"/>
              <a:gd name="connsiteX3237" fmla="*/ 2922458 w 6689088"/>
              <a:gd name="connsiteY3237" fmla="*/ 1008644 h 6689084"/>
              <a:gd name="connsiteX3238" fmla="*/ 2912292 w 6689088"/>
              <a:gd name="connsiteY3238" fmla="*/ 998478 h 6689084"/>
              <a:gd name="connsiteX3239" fmla="*/ 2922458 w 6689088"/>
              <a:gd name="connsiteY3239" fmla="*/ 988311 h 6689084"/>
              <a:gd name="connsiteX3240" fmla="*/ 3076402 w 6689088"/>
              <a:gd name="connsiteY3240" fmla="*/ 986497 h 6689084"/>
              <a:gd name="connsiteX3241" fmla="*/ 3088386 w 6689088"/>
              <a:gd name="connsiteY3241" fmla="*/ 998478 h 6689084"/>
              <a:gd name="connsiteX3242" fmla="*/ 3076402 w 6689088"/>
              <a:gd name="connsiteY3242" fmla="*/ 1010459 h 6689084"/>
              <a:gd name="connsiteX3243" fmla="*/ 3064421 w 6689088"/>
              <a:gd name="connsiteY3243" fmla="*/ 998478 h 6689084"/>
              <a:gd name="connsiteX3244" fmla="*/ 3076402 w 6689088"/>
              <a:gd name="connsiteY3244" fmla="*/ 986497 h 6689084"/>
              <a:gd name="connsiteX3245" fmla="*/ 3230353 w 6689088"/>
              <a:gd name="connsiteY3245" fmla="*/ 984683 h 6689084"/>
              <a:gd name="connsiteX3246" fmla="*/ 3244148 w 6689088"/>
              <a:gd name="connsiteY3246" fmla="*/ 998482 h 6689084"/>
              <a:gd name="connsiteX3247" fmla="*/ 3230353 w 6689088"/>
              <a:gd name="connsiteY3247" fmla="*/ 1012277 h 6689084"/>
              <a:gd name="connsiteX3248" fmla="*/ 3216554 w 6689088"/>
              <a:gd name="connsiteY3248" fmla="*/ 998482 h 6689084"/>
              <a:gd name="connsiteX3249" fmla="*/ 3230353 w 6689088"/>
              <a:gd name="connsiteY3249" fmla="*/ 984683 h 6689084"/>
              <a:gd name="connsiteX3250" fmla="*/ 3383934 w 6689088"/>
              <a:gd name="connsiteY3250" fmla="*/ 983230 h 6689084"/>
              <a:gd name="connsiteX3251" fmla="*/ 3399186 w 6689088"/>
              <a:gd name="connsiteY3251" fmla="*/ 998482 h 6689084"/>
              <a:gd name="connsiteX3252" fmla="*/ 3383934 w 6689088"/>
              <a:gd name="connsiteY3252" fmla="*/ 1013729 h 6689084"/>
              <a:gd name="connsiteX3253" fmla="*/ 3368687 w 6689088"/>
              <a:gd name="connsiteY3253" fmla="*/ 998482 h 6689084"/>
              <a:gd name="connsiteX3254" fmla="*/ 3383934 w 6689088"/>
              <a:gd name="connsiteY3254" fmla="*/ 983230 h 6689084"/>
              <a:gd name="connsiteX3255" fmla="*/ 3537886 w 6689088"/>
              <a:gd name="connsiteY3255" fmla="*/ 981412 h 6689084"/>
              <a:gd name="connsiteX3256" fmla="*/ 3554951 w 6689088"/>
              <a:gd name="connsiteY3256" fmla="*/ 998478 h 6689084"/>
              <a:gd name="connsiteX3257" fmla="*/ 3537886 w 6689088"/>
              <a:gd name="connsiteY3257" fmla="*/ 1015540 h 6689084"/>
              <a:gd name="connsiteX3258" fmla="*/ 3520820 w 6689088"/>
              <a:gd name="connsiteY3258" fmla="*/ 998478 h 6689084"/>
              <a:gd name="connsiteX3259" fmla="*/ 3537886 w 6689088"/>
              <a:gd name="connsiteY3259" fmla="*/ 981412 h 6689084"/>
              <a:gd name="connsiteX3260" fmla="*/ 3691467 w 6689088"/>
              <a:gd name="connsiteY3260" fmla="*/ 979235 h 6689084"/>
              <a:gd name="connsiteX3261" fmla="*/ 3710710 w 6689088"/>
              <a:gd name="connsiteY3261" fmla="*/ 998478 h 6689084"/>
              <a:gd name="connsiteX3262" fmla="*/ 3691467 w 6689088"/>
              <a:gd name="connsiteY3262" fmla="*/ 1017724 h 6689084"/>
              <a:gd name="connsiteX3263" fmla="*/ 3672224 w 6689088"/>
              <a:gd name="connsiteY3263" fmla="*/ 998478 h 6689084"/>
              <a:gd name="connsiteX3264" fmla="*/ 3691467 w 6689088"/>
              <a:gd name="connsiteY3264" fmla="*/ 979235 h 6689084"/>
              <a:gd name="connsiteX3265" fmla="*/ 3845418 w 6689088"/>
              <a:gd name="connsiteY3265" fmla="*/ 977055 h 6689084"/>
              <a:gd name="connsiteX3266" fmla="*/ 3866841 w 6689088"/>
              <a:gd name="connsiteY3266" fmla="*/ 998478 h 6689084"/>
              <a:gd name="connsiteX3267" fmla="*/ 3845418 w 6689088"/>
              <a:gd name="connsiteY3267" fmla="*/ 1019901 h 6689084"/>
              <a:gd name="connsiteX3268" fmla="*/ 3823995 w 6689088"/>
              <a:gd name="connsiteY3268" fmla="*/ 998478 h 6689084"/>
              <a:gd name="connsiteX3269" fmla="*/ 3845418 w 6689088"/>
              <a:gd name="connsiteY3269" fmla="*/ 977055 h 6689084"/>
              <a:gd name="connsiteX3270" fmla="*/ 3999000 w 6689088"/>
              <a:gd name="connsiteY3270" fmla="*/ 975603 h 6689084"/>
              <a:gd name="connsiteX3271" fmla="*/ 4021871 w 6689088"/>
              <a:gd name="connsiteY3271" fmla="*/ 998478 h 6689084"/>
              <a:gd name="connsiteX3272" fmla="*/ 3999000 w 6689088"/>
              <a:gd name="connsiteY3272" fmla="*/ 1021349 h 6689084"/>
              <a:gd name="connsiteX3273" fmla="*/ 3976124 w 6689088"/>
              <a:gd name="connsiteY3273" fmla="*/ 998478 h 6689084"/>
              <a:gd name="connsiteX3274" fmla="*/ 3999000 w 6689088"/>
              <a:gd name="connsiteY3274" fmla="*/ 975603 h 6689084"/>
              <a:gd name="connsiteX3275" fmla="*/ 4152947 w 6689088"/>
              <a:gd name="connsiteY3275" fmla="*/ 973426 h 6689084"/>
              <a:gd name="connsiteX3276" fmla="*/ 4178002 w 6689088"/>
              <a:gd name="connsiteY3276" fmla="*/ 998478 h 6689084"/>
              <a:gd name="connsiteX3277" fmla="*/ 4152947 w 6689088"/>
              <a:gd name="connsiteY3277" fmla="*/ 1023533 h 6689084"/>
              <a:gd name="connsiteX3278" fmla="*/ 4127895 w 6689088"/>
              <a:gd name="connsiteY3278" fmla="*/ 998478 h 6689084"/>
              <a:gd name="connsiteX3279" fmla="*/ 4152947 w 6689088"/>
              <a:gd name="connsiteY3279" fmla="*/ 973426 h 6689084"/>
              <a:gd name="connsiteX3280" fmla="*/ 4306532 w 6689088"/>
              <a:gd name="connsiteY3280" fmla="*/ 971246 h 6689084"/>
              <a:gd name="connsiteX3281" fmla="*/ 4333764 w 6689088"/>
              <a:gd name="connsiteY3281" fmla="*/ 998478 h 6689084"/>
              <a:gd name="connsiteX3282" fmla="*/ 4306532 w 6689088"/>
              <a:gd name="connsiteY3282" fmla="*/ 1025710 h 6689084"/>
              <a:gd name="connsiteX3283" fmla="*/ 4279300 w 6689088"/>
              <a:gd name="connsiteY3283" fmla="*/ 998478 h 6689084"/>
              <a:gd name="connsiteX3284" fmla="*/ 4306532 w 6689088"/>
              <a:gd name="connsiteY3284" fmla="*/ 971246 h 6689084"/>
              <a:gd name="connsiteX3285" fmla="*/ 4460476 w 6689088"/>
              <a:gd name="connsiteY3285" fmla="*/ 968707 h 6689084"/>
              <a:gd name="connsiteX3286" fmla="*/ 4490250 w 6689088"/>
              <a:gd name="connsiteY3286" fmla="*/ 998482 h 6689084"/>
              <a:gd name="connsiteX3287" fmla="*/ 4460476 w 6689088"/>
              <a:gd name="connsiteY3287" fmla="*/ 1028252 h 6689084"/>
              <a:gd name="connsiteX3288" fmla="*/ 4430705 w 6689088"/>
              <a:gd name="connsiteY3288" fmla="*/ 998482 h 6689084"/>
              <a:gd name="connsiteX3289" fmla="*/ 4460476 w 6689088"/>
              <a:gd name="connsiteY3289" fmla="*/ 968707 h 6689084"/>
              <a:gd name="connsiteX3290" fmla="*/ 4614061 w 6689088"/>
              <a:gd name="connsiteY3290" fmla="*/ 966526 h 6689084"/>
              <a:gd name="connsiteX3291" fmla="*/ 4646012 w 6689088"/>
              <a:gd name="connsiteY3291" fmla="*/ 998478 h 6689084"/>
              <a:gd name="connsiteX3292" fmla="*/ 4614061 w 6689088"/>
              <a:gd name="connsiteY3292" fmla="*/ 1030429 h 6689084"/>
              <a:gd name="connsiteX3293" fmla="*/ 4582110 w 6689088"/>
              <a:gd name="connsiteY3293" fmla="*/ 998478 h 6689084"/>
              <a:gd name="connsiteX3294" fmla="*/ 4614061 w 6689088"/>
              <a:gd name="connsiteY3294" fmla="*/ 966526 h 6689084"/>
              <a:gd name="connsiteX3295" fmla="*/ 4768008 w 6689088"/>
              <a:gd name="connsiteY3295" fmla="*/ 964712 h 6689084"/>
              <a:gd name="connsiteX3296" fmla="*/ 4801778 w 6689088"/>
              <a:gd name="connsiteY3296" fmla="*/ 998478 h 6689084"/>
              <a:gd name="connsiteX3297" fmla="*/ 4768008 w 6689088"/>
              <a:gd name="connsiteY3297" fmla="*/ 1032247 h 6689084"/>
              <a:gd name="connsiteX3298" fmla="*/ 4734242 w 6689088"/>
              <a:gd name="connsiteY3298" fmla="*/ 998478 h 6689084"/>
              <a:gd name="connsiteX3299" fmla="*/ 4768008 w 6689088"/>
              <a:gd name="connsiteY3299" fmla="*/ 964712 h 6689084"/>
              <a:gd name="connsiteX3300" fmla="*/ 4921594 w 6689088"/>
              <a:gd name="connsiteY3300" fmla="*/ 962169 h 6689084"/>
              <a:gd name="connsiteX3301" fmla="*/ 4957902 w 6689088"/>
              <a:gd name="connsiteY3301" fmla="*/ 998478 h 6689084"/>
              <a:gd name="connsiteX3302" fmla="*/ 4921594 w 6689088"/>
              <a:gd name="connsiteY3302" fmla="*/ 1034786 h 6689084"/>
              <a:gd name="connsiteX3303" fmla="*/ 4885286 w 6689088"/>
              <a:gd name="connsiteY3303" fmla="*/ 998478 h 6689084"/>
              <a:gd name="connsiteX3304" fmla="*/ 4921594 w 6689088"/>
              <a:gd name="connsiteY3304" fmla="*/ 962169 h 6689084"/>
              <a:gd name="connsiteX3305" fmla="*/ 5075545 w 6689088"/>
              <a:gd name="connsiteY3305" fmla="*/ 959627 h 6689084"/>
              <a:gd name="connsiteX3306" fmla="*/ 5114392 w 6689088"/>
              <a:gd name="connsiteY3306" fmla="*/ 998478 h 6689084"/>
              <a:gd name="connsiteX3307" fmla="*/ 5075545 w 6689088"/>
              <a:gd name="connsiteY3307" fmla="*/ 1037325 h 6689084"/>
              <a:gd name="connsiteX3308" fmla="*/ 5036694 w 6689088"/>
              <a:gd name="connsiteY3308" fmla="*/ 998478 h 6689084"/>
              <a:gd name="connsiteX3309" fmla="*/ 5075545 w 6689088"/>
              <a:gd name="connsiteY3309" fmla="*/ 959627 h 6689084"/>
              <a:gd name="connsiteX3310" fmla="*/ 5229126 w 6689088"/>
              <a:gd name="connsiteY3310" fmla="*/ 957450 h 6689084"/>
              <a:gd name="connsiteX3311" fmla="*/ 5270158 w 6689088"/>
              <a:gd name="connsiteY3311" fmla="*/ 998478 h 6689084"/>
              <a:gd name="connsiteX3312" fmla="*/ 5229126 w 6689088"/>
              <a:gd name="connsiteY3312" fmla="*/ 1039505 h 6689084"/>
              <a:gd name="connsiteX3313" fmla="*/ 5188099 w 6689088"/>
              <a:gd name="connsiteY3313" fmla="*/ 998478 h 6689084"/>
              <a:gd name="connsiteX3314" fmla="*/ 5229126 w 6689088"/>
              <a:gd name="connsiteY3314" fmla="*/ 957450 h 6689084"/>
              <a:gd name="connsiteX3315" fmla="*/ 5383074 w 6689088"/>
              <a:gd name="connsiteY3315" fmla="*/ 954908 h 6689084"/>
              <a:gd name="connsiteX3316" fmla="*/ 5426644 w 6689088"/>
              <a:gd name="connsiteY3316" fmla="*/ 998478 h 6689084"/>
              <a:gd name="connsiteX3317" fmla="*/ 5383074 w 6689088"/>
              <a:gd name="connsiteY3317" fmla="*/ 1042048 h 6689084"/>
              <a:gd name="connsiteX3318" fmla="*/ 5339504 w 6689088"/>
              <a:gd name="connsiteY3318" fmla="*/ 998478 h 6689084"/>
              <a:gd name="connsiteX3319" fmla="*/ 5383074 w 6689088"/>
              <a:gd name="connsiteY3319" fmla="*/ 954908 h 6689084"/>
              <a:gd name="connsiteX3320" fmla="*/ 5537018 w 6689088"/>
              <a:gd name="connsiteY3320" fmla="*/ 952365 h 6689084"/>
              <a:gd name="connsiteX3321" fmla="*/ 5583130 w 6689088"/>
              <a:gd name="connsiteY3321" fmla="*/ 998478 h 6689084"/>
              <a:gd name="connsiteX3322" fmla="*/ 5537018 w 6689088"/>
              <a:gd name="connsiteY3322" fmla="*/ 1044590 h 6689084"/>
              <a:gd name="connsiteX3323" fmla="*/ 5490908 w 6689088"/>
              <a:gd name="connsiteY3323" fmla="*/ 998478 h 6689084"/>
              <a:gd name="connsiteX3324" fmla="*/ 5537018 w 6689088"/>
              <a:gd name="connsiteY3324" fmla="*/ 952365 h 6689084"/>
              <a:gd name="connsiteX3325" fmla="*/ 5690606 w 6689088"/>
              <a:gd name="connsiteY3325" fmla="*/ 949823 h 6689084"/>
              <a:gd name="connsiteX3326" fmla="*/ 5739258 w 6689088"/>
              <a:gd name="connsiteY3326" fmla="*/ 998478 h 6689084"/>
              <a:gd name="connsiteX3327" fmla="*/ 5690606 w 6689088"/>
              <a:gd name="connsiteY3327" fmla="*/ 1047129 h 6689084"/>
              <a:gd name="connsiteX3328" fmla="*/ 5641952 w 6689088"/>
              <a:gd name="connsiteY3328" fmla="*/ 998478 h 6689084"/>
              <a:gd name="connsiteX3329" fmla="*/ 5690606 w 6689088"/>
              <a:gd name="connsiteY3329" fmla="*/ 949823 h 6689084"/>
              <a:gd name="connsiteX3330" fmla="*/ 5844554 w 6689088"/>
              <a:gd name="connsiteY3330" fmla="*/ 947284 h 6689084"/>
              <a:gd name="connsiteX3331" fmla="*/ 5895748 w 6689088"/>
              <a:gd name="connsiteY3331" fmla="*/ 998478 h 6689084"/>
              <a:gd name="connsiteX3332" fmla="*/ 5844554 w 6689088"/>
              <a:gd name="connsiteY3332" fmla="*/ 1049672 h 6689084"/>
              <a:gd name="connsiteX3333" fmla="*/ 5793360 w 6689088"/>
              <a:gd name="connsiteY3333" fmla="*/ 998478 h 6689084"/>
              <a:gd name="connsiteX3334" fmla="*/ 5844554 w 6689088"/>
              <a:gd name="connsiteY3334" fmla="*/ 947284 h 6689084"/>
              <a:gd name="connsiteX3335" fmla="*/ 5998136 w 6689088"/>
              <a:gd name="connsiteY3335" fmla="*/ 945104 h 6689084"/>
              <a:gd name="connsiteX3336" fmla="*/ 6051514 w 6689088"/>
              <a:gd name="connsiteY3336" fmla="*/ 998478 h 6689084"/>
              <a:gd name="connsiteX3337" fmla="*/ 5998136 w 6689088"/>
              <a:gd name="connsiteY3337" fmla="*/ 1051848 h 6689084"/>
              <a:gd name="connsiteX3338" fmla="*/ 5944765 w 6689088"/>
              <a:gd name="connsiteY3338" fmla="*/ 998478 h 6689084"/>
              <a:gd name="connsiteX3339" fmla="*/ 5998136 w 6689088"/>
              <a:gd name="connsiteY3339" fmla="*/ 945104 h 6689084"/>
              <a:gd name="connsiteX3340" fmla="*/ 6152086 w 6689088"/>
              <a:gd name="connsiteY3340" fmla="*/ 942199 h 6689084"/>
              <a:gd name="connsiteX3341" fmla="*/ 6208366 w 6689088"/>
              <a:gd name="connsiteY3341" fmla="*/ 998478 h 6689084"/>
              <a:gd name="connsiteX3342" fmla="*/ 6152086 w 6689088"/>
              <a:gd name="connsiteY3342" fmla="*/ 1054753 h 6689084"/>
              <a:gd name="connsiteX3343" fmla="*/ 6095808 w 6689088"/>
              <a:gd name="connsiteY3343" fmla="*/ 998478 h 6689084"/>
              <a:gd name="connsiteX3344" fmla="*/ 6152086 w 6689088"/>
              <a:gd name="connsiteY3344" fmla="*/ 942199 h 6689084"/>
              <a:gd name="connsiteX3345" fmla="*/ 6305672 w 6689088"/>
              <a:gd name="connsiteY3345" fmla="*/ 939660 h 6689084"/>
              <a:gd name="connsiteX3346" fmla="*/ 6364490 w 6689088"/>
              <a:gd name="connsiteY3346" fmla="*/ 998482 h 6689084"/>
              <a:gd name="connsiteX3347" fmla="*/ 6305672 w 6689088"/>
              <a:gd name="connsiteY3347" fmla="*/ 1057299 h 6689084"/>
              <a:gd name="connsiteX3348" fmla="*/ 6246850 w 6689088"/>
              <a:gd name="connsiteY3348" fmla="*/ 998482 h 6689084"/>
              <a:gd name="connsiteX3349" fmla="*/ 6305672 w 6689088"/>
              <a:gd name="connsiteY3349" fmla="*/ 939660 h 6689084"/>
              <a:gd name="connsiteX3350" fmla="*/ 6459619 w 6689088"/>
              <a:gd name="connsiteY3350" fmla="*/ 937118 h 6689084"/>
              <a:gd name="connsiteX3351" fmla="*/ 6521342 w 6689088"/>
              <a:gd name="connsiteY3351" fmla="*/ 998844 h 6689084"/>
              <a:gd name="connsiteX3352" fmla="*/ 6459619 w 6689088"/>
              <a:gd name="connsiteY3352" fmla="*/ 1060566 h 6689084"/>
              <a:gd name="connsiteX3353" fmla="*/ 6397893 w 6689088"/>
              <a:gd name="connsiteY3353" fmla="*/ 998844 h 6689084"/>
              <a:gd name="connsiteX3354" fmla="*/ 6459619 w 6689088"/>
              <a:gd name="connsiteY3354" fmla="*/ 937118 h 6689084"/>
              <a:gd name="connsiteX3355" fmla="*/ 6613200 w 6689088"/>
              <a:gd name="connsiteY3355" fmla="*/ 934213 h 6689084"/>
              <a:gd name="connsiteX3356" fmla="*/ 6677470 w 6689088"/>
              <a:gd name="connsiteY3356" fmla="*/ 998478 h 6689084"/>
              <a:gd name="connsiteX3357" fmla="*/ 6613200 w 6689088"/>
              <a:gd name="connsiteY3357" fmla="*/ 1062746 h 6689084"/>
              <a:gd name="connsiteX3358" fmla="*/ 6548936 w 6689088"/>
              <a:gd name="connsiteY3358" fmla="*/ 998478 h 6689084"/>
              <a:gd name="connsiteX3359" fmla="*/ 6613200 w 6689088"/>
              <a:gd name="connsiteY3359" fmla="*/ 934213 h 6689084"/>
              <a:gd name="connsiteX3360" fmla="*/ 1538746 w 6689088"/>
              <a:gd name="connsiteY3360" fmla="*/ 844530 h 6689084"/>
              <a:gd name="connsiteX3361" fmla="*/ 1539108 w 6689088"/>
              <a:gd name="connsiteY3361" fmla="*/ 844893 h 6689084"/>
              <a:gd name="connsiteX3362" fmla="*/ 1538746 w 6689088"/>
              <a:gd name="connsiteY3362" fmla="*/ 845258 h 6689084"/>
              <a:gd name="connsiteX3363" fmla="*/ 1538384 w 6689088"/>
              <a:gd name="connsiteY3363" fmla="*/ 844893 h 6689084"/>
              <a:gd name="connsiteX3364" fmla="*/ 1538746 w 6689088"/>
              <a:gd name="connsiteY3364" fmla="*/ 844530 h 6689084"/>
              <a:gd name="connsiteX3365" fmla="*/ 1077266 w 6689088"/>
              <a:gd name="connsiteY3365" fmla="*/ 844530 h 6689084"/>
              <a:gd name="connsiteX3366" fmla="*/ 1077628 w 6689088"/>
              <a:gd name="connsiteY3366" fmla="*/ 844893 h 6689084"/>
              <a:gd name="connsiteX3367" fmla="*/ 1077266 w 6689088"/>
              <a:gd name="connsiteY3367" fmla="*/ 845258 h 6689084"/>
              <a:gd name="connsiteX3368" fmla="*/ 1076904 w 6689088"/>
              <a:gd name="connsiteY3368" fmla="*/ 844893 h 6689084"/>
              <a:gd name="connsiteX3369" fmla="*/ 1077266 w 6689088"/>
              <a:gd name="connsiteY3369" fmla="*/ 844530 h 6689084"/>
              <a:gd name="connsiteX3370" fmla="*/ 923681 w 6689088"/>
              <a:gd name="connsiteY3370" fmla="*/ 844530 h 6689084"/>
              <a:gd name="connsiteX3371" fmla="*/ 924043 w 6689088"/>
              <a:gd name="connsiteY3371" fmla="*/ 844893 h 6689084"/>
              <a:gd name="connsiteX3372" fmla="*/ 923681 w 6689088"/>
              <a:gd name="connsiteY3372" fmla="*/ 845258 h 6689084"/>
              <a:gd name="connsiteX3373" fmla="*/ 923319 w 6689088"/>
              <a:gd name="connsiteY3373" fmla="*/ 844893 h 6689084"/>
              <a:gd name="connsiteX3374" fmla="*/ 923681 w 6689088"/>
              <a:gd name="connsiteY3374" fmla="*/ 844530 h 6689084"/>
              <a:gd name="connsiteX3375" fmla="*/ 769737 w 6689088"/>
              <a:gd name="connsiteY3375" fmla="*/ 844168 h 6689084"/>
              <a:gd name="connsiteX3376" fmla="*/ 770461 w 6689088"/>
              <a:gd name="connsiteY3376" fmla="*/ 844896 h 6689084"/>
              <a:gd name="connsiteX3377" fmla="*/ 769737 w 6689088"/>
              <a:gd name="connsiteY3377" fmla="*/ 845621 h 6689084"/>
              <a:gd name="connsiteX3378" fmla="*/ 769009 w 6689088"/>
              <a:gd name="connsiteY3378" fmla="*/ 844896 h 6689084"/>
              <a:gd name="connsiteX3379" fmla="*/ 769737 w 6689088"/>
              <a:gd name="connsiteY3379" fmla="*/ 844168 h 6689084"/>
              <a:gd name="connsiteX3380" fmla="*/ 1692331 w 6689088"/>
              <a:gd name="connsiteY3380" fmla="*/ 843078 h 6689084"/>
              <a:gd name="connsiteX3381" fmla="*/ 1693784 w 6689088"/>
              <a:gd name="connsiteY3381" fmla="*/ 844530 h 6689084"/>
              <a:gd name="connsiteX3382" fmla="*/ 1692331 w 6689088"/>
              <a:gd name="connsiteY3382" fmla="*/ 845983 h 6689084"/>
              <a:gd name="connsiteX3383" fmla="*/ 1690879 w 6689088"/>
              <a:gd name="connsiteY3383" fmla="*/ 844530 h 6689084"/>
              <a:gd name="connsiteX3384" fmla="*/ 1692331 w 6689088"/>
              <a:gd name="connsiteY3384" fmla="*/ 843078 h 6689084"/>
              <a:gd name="connsiteX3385" fmla="*/ 1846279 w 6689088"/>
              <a:gd name="connsiteY3385" fmla="*/ 842716 h 6689084"/>
              <a:gd name="connsiteX3386" fmla="*/ 1848455 w 6689088"/>
              <a:gd name="connsiteY3386" fmla="*/ 844896 h 6689084"/>
              <a:gd name="connsiteX3387" fmla="*/ 1846279 w 6689088"/>
              <a:gd name="connsiteY3387" fmla="*/ 847073 h 6689084"/>
              <a:gd name="connsiteX3388" fmla="*/ 1844098 w 6689088"/>
              <a:gd name="connsiteY3388" fmla="*/ 844896 h 6689084"/>
              <a:gd name="connsiteX3389" fmla="*/ 1846279 w 6689088"/>
              <a:gd name="connsiteY3389" fmla="*/ 842716 h 6689084"/>
              <a:gd name="connsiteX3390" fmla="*/ 1999860 w 6689088"/>
              <a:gd name="connsiteY3390" fmla="*/ 841626 h 6689084"/>
              <a:gd name="connsiteX3391" fmla="*/ 2003127 w 6689088"/>
              <a:gd name="connsiteY3391" fmla="*/ 844893 h 6689084"/>
              <a:gd name="connsiteX3392" fmla="*/ 1999860 w 6689088"/>
              <a:gd name="connsiteY3392" fmla="*/ 848163 h 6689084"/>
              <a:gd name="connsiteX3393" fmla="*/ 1996593 w 6689088"/>
              <a:gd name="connsiteY3393" fmla="*/ 844893 h 6689084"/>
              <a:gd name="connsiteX3394" fmla="*/ 1999860 w 6689088"/>
              <a:gd name="connsiteY3394" fmla="*/ 841626 h 6689084"/>
              <a:gd name="connsiteX3395" fmla="*/ 2153808 w 6689088"/>
              <a:gd name="connsiteY3395" fmla="*/ 840173 h 6689084"/>
              <a:gd name="connsiteX3396" fmla="*/ 2158165 w 6689088"/>
              <a:gd name="connsiteY3396" fmla="*/ 844530 h 6689084"/>
              <a:gd name="connsiteX3397" fmla="*/ 2153808 w 6689088"/>
              <a:gd name="connsiteY3397" fmla="*/ 848887 h 6689084"/>
              <a:gd name="connsiteX3398" fmla="*/ 2149451 w 6689088"/>
              <a:gd name="connsiteY3398" fmla="*/ 844530 h 6689084"/>
              <a:gd name="connsiteX3399" fmla="*/ 2153808 w 6689088"/>
              <a:gd name="connsiteY3399" fmla="*/ 840173 h 6689084"/>
              <a:gd name="connsiteX3400" fmla="*/ 2307393 w 6689088"/>
              <a:gd name="connsiteY3400" fmla="*/ 839083 h 6689084"/>
              <a:gd name="connsiteX3401" fmla="*/ 2313202 w 6689088"/>
              <a:gd name="connsiteY3401" fmla="*/ 844893 h 6689084"/>
              <a:gd name="connsiteX3402" fmla="*/ 2307393 w 6689088"/>
              <a:gd name="connsiteY3402" fmla="*/ 850702 h 6689084"/>
              <a:gd name="connsiteX3403" fmla="*/ 2301583 w 6689088"/>
              <a:gd name="connsiteY3403" fmla="*/ 844893 h 6689084"/>
              <a:gd name="connsiteX3404" fmla="*/ 2307393 w 6689088"/>
              <a:gd name="connsiteY3404" fmla="*/ 839083 h 6689084"/>
              <a:gd name="connsiteX3405" fmla="*/ 2461340 w 6689088"/>
              <a:gd name="connsiteY3405" fmla="*/ 837631 h 6689084"/>
              <a:gd name="connsiteX3406" fmla="*/ 2468602 w 6689088"/>
              <a:gd name="connsiteY3406" fmla="*/ 844893 h 6689084"/>
              <a:gd name="connsiteX3407" fmla="*/ 2461340 w 6689088"/>
              <a:gd name="connsiteY3407" fmla="*/ 852154 h 6689084"/>
              <a:gd name="connsiteX3408" fmla="*/ 2454079 w 6689088"/>
              <a:gd name="connsiteY3408" fmla="*/ 844893 h 6689084"/>
              <a:gd name="connsiteX3409" fmla="*/ 2461340 w 6689088"/>
              <a:gd name="connsiteY3409" fmla="*/ 837631 h 6689084"/>
              <a:gd name="connsiteX3410" fmla="*/ 2614925 w 6689088"/>
              <a:gd name="connsiteY3410" fmla="*/ 835454 h 6689084"/>
              <a:gd name="connsiteX3411" fmla="*/ 2624005 w 6689088"/>
              <a:gd name="connsiteY3411" fmla="*/ 844530 h 6689084"/>
              <a:gd name="connsiteX3412" fmla="*/ 2614925 w 6689088"/>
              <a:gd name="connsiteY3412" fmla="*/ 853610 h 6689084"/>
              <a:gd name="connsiteX3413" fmla="*/ 2605849 w 6689088"/>
              <a:gd name="connsiteY3413" fmla="*/ 844530 h 6689084"/>
              <a:gd name="connsiteX3414" fmla="*/ 2614925 w 6689088"/>
              <a:gd name="connsiteY3414" fmla="*/ 835454 h 6689084"/>
              <a:gd name="connsiteX3415" fmla="*/ 2768873 w 6689088"/>
              <a:gd name="connsiteY3415" fmla="*/ 834726 h 6689084"/>
              <a:gd name="connsiteX3416" fmla="*/ 2779039 w 6689088"/>
              <a:gd name="connsiteY3416" fmla="*/ 844893 h 6689084"/>
              <a:gd name="connsiteX3417" fmla="*/ 2768873 w 6689088"/>
              <a:gd name="connsiteY3417" fmla="*/ 855059 h 6689084"/>
              <a:gd name="connsiteX3418" fmla="*/ 2758707 w 6689088"/>
              <a:gd name="connsiteY3418" fmla="*/ 844893 h 6689084"/>
              <a:gd name="connsiteX3419" fmla="*/ 2768873 w 6689088"/>
              <a:gd name="connsiteY3419" fmla="*/ 834726 h 6689084"/>
              <a:gd name="connsiteX3420" fmla="*/ 2922458 w 6689088"/>
              <a:gd name="connsiteY3420" fmla="*/ 832912 h 6689084"/>
              <a:gd name="connsiteX3421" fmla="*/ 2934443 w 6689088"/>
              <a:gd name="connsiteY3421" fmla="*/ 844893 h 6689084"/>
              <a:gd name="connsiteX3422" fmla="*/ 2922458 w 6689088"/>
              <a:gd name="connsiteY3422" fmla="*/ 856873 h 6689084"/>
              <a:gd name="connsiteX3423" fmla="*/ 2910477 w 6689088"/>
              <a:gd name="connsiteY3423" fmla="*/ 844893 h 6689084"/>
              <a:gd name="connsiteX3424" fmla="*/ 2922458 w 6689088"/>
              <a:gd name="connsiteY3424" fmla="*/ 832912 h 6689084"/>
              <a:gd name="connsiteX3425" fmla="*/ 3076402 w 6689088"/>
              <a:gd name="connsiteY3425" fmla="*/ 831097 h 6689084"/>
              <a:gd name="connsiteX3426" fmla="*/ 3090201 w 6689088"/>
              <a:gd name="connsiteY3426" fmla="*/ 844896 h 6689084"/>
              <a:gd name="connsiteX3427" fmla="*/ 3076402 w 6689088"/>
              <a:gd name="connsiteY3427" fmla="*/ 858692 h 6689084"/>
              <a:gd name="connsiteX3428" fmla="*/ 3062606 w 6689088"/>
              <a:gd name="connsiteY3428" fmla="*/ 844896 h 6689084"/>
              <a:gd name="connsiteX3429" fmla="*/ 3076402 w 6689088"/>
              <a:gd name="connsiteY3429" fmla="*/ 831097 h 6689084"/>
              <a:gd name="connsiteX3430" fmla="*/ 3230349 w 6689088"/>
              <a:gd name="connsiteY3430" fmla="*/ 829645 h 6689084"/>
              <a:gd name="connsiteX3431" fmla="*/ 3245600 w 6689088"/>
              <a:gd name="connsiteY3431" fmla="*/ 844896 h 6689084"/>
              <a:gd name="connsiteX3432" fmla="*/ 3230349 w 6689088"/>
              <a:gd name="connsiteY3432" fmla="*/ 860144 h 6689084"/>
              <a:gd name="connsiteX3433" fmla="*/ 3215102 w 6689088"/>
              <a:gd name="connsiteY3433" fmla="*/ 844896 h 6689084"/>
              <a:gd name="connsiteX3434" fmla="*/ 3230349 w 6689088"/>
              <a:gd name="connsiteY3434" fmla="*/ 829645 h 6689084"/>
              <a:gd name="connsiteX3435" fmla="*/ 3383938 w 6689088"/>
              <a:gd name="connsiteY3435" fmla="*/ 827830 h 6689084"/>
              <a:gd name="connsiteX3436" fmla="*/ 3401000 w 6689088"/>
              <a:gd name="connsiteY3436" fmla="*/ 844896 h 6689084"/>
              <a:gd name="connsiteX3437" fmla="*/ 3383938 w 6689088"/>
              <a:gd name="connsiteY3437" fmla="*/ 861958 h 6689084"/>
              <a:gd name="connsiteX3438" fmla="*/ 3366872 w 6689088"/>
              <a:gd name="connsiteY3438" fmla="*/ 844896 h 6689084"/>
              <a:gd name="connsiteX3439" fmla="*/ 3383938 w 6689088"/>
              <a:gd name="connsiteY3439" fmla="*/ 827830 h 6689084"/>
              <a:gd name="connsiteX3440" fmla="*/ 3537882 w 6689088"/>
              <a:gd name="connsiteY3440" fmla="*/ 825650 h 6689084"/>
              <a:gd name="connsiteX3441" fmla="*/ 3557128 w 6689088"/>
              <a:gd name="connsiteY3441" fmla="*/ 844893 h 6689084"/>
              <a:gd name="connsiteX3442" fmla="*/ 3537882 w 6689088"/>
              <a:gd name="connsiteY3442" fmla="*/ 864139 h 6689084"/>
              <a:gd name="connsiteX3443" fmla="*/ 3518639 w 6689088"/>
              <a:gd name="connsiteY3443" fmla="*/ 844893 h 6689084"/>
              <a:gd name="connsiteX3444" fmla="*/ 3537882 w 6689088"/>
              <a:gd name="connsiteY3444" fmla="*/ 825650 h 6689084"/>
              <a:gd name="connsiteX3445" fmla="*/ 3691471 w 6689088"/>
              <a:gd name="connsiteY3445" fmla="*/ 823473 h 6689084"/>
              <a:gd name="connsiteX3446" fmla="*/ 3712894 w 6689088"/>
              <a:gd name="connsiteY3446" fmla="*/ 844896 h 6689084"/>
              <a:gd name="connsiteX3447" fmla="*/ 3691471 w 6689088"/>
              <a:gd name="connsiteY3447" fmla="*/ 866319 h 6689084"/>
              <a:gd name="connsiteX3448" fmla="*/ 3670048 w 6689088"/>
              <a:gd name="connsiteY3448" fmla="*/ 844896 h 6689084"/>
              <a:gd name="connsiteX3449" fmla="*/ 3691471 w 6689088"/>
              <a:gd name="connsiteY3449" fmla="*/ 823473 h 6689084"/>
              <a:gd name="connsiteX3450" fmla="*/ 3845418 w 6689088"/>
              <a:gd name="connsiteY3450" fmla="*/ 822021 h 6689084"/>
              <a:gd name="connsiteX3451" fmla="*/ 3868293 w 6689088"/>
              <a:gd name="connsiteY3451" fmla="*/ 844896 h 6689084"/>
              <a:gd name="connsiteX3452" fmla="*/ 3845418 w 6689088"/>
              <a:gd name="connsiteY3452" fmla="*/ 867768 h 6689084"/>
              <a:gd name="connsiteX3453" fmla="*/ 3822543 w 6689088"/>
              <a:gd name="connsiteY3453" fmla="*/ 844896 h 6689084"/>
              <a:gd name="connsiteX3454" fmla="*/ 3845418 w 6689088"/>
              <a:gd name="connsiteY3454" fmla="*/ 822021 h 6689084"/>
              <a:gd name="connsiteX3455" fmla="*/ 3999000 w 6689088"/>
              <a:gd name="connsiteY3455" fmla="*/ 819841 h 6689084"/>
              <a:gd name="connsiteX3456" fmla="*/ 4024052 w 6689088"/>
              <a:gd name="connsiteY3456" fmla="*/ 844893 h 6689084"/>
              <a:gd name="connsiteX3457" fmla="*/ 3999000 w 6689088"/>
              <a:gd name="connsiteY3457" fmla="*/ 869948 h 6689084"/>
              <a:gd name="connsiteX3458" fmla="*/ 3973948 w 6689088"/>
              <a:gd name="connsiteY3458" fmla="*/ 844893 h 6689084"/>
              <a:gd name="connsiteX3459" fmla="*/ 3999000 w 6689088"/>
              <a:gd name="connsiteY3459" fmla="*/ 819841 h 6689084"/>
              <a:gd name="connsiteX3460" fmla="*/ 4152947 w 6689088"/>
              <a:gd name="connsiteY3460" fmla="*/ 817664 h 6689084"/>
              <a:gd name="connsiteX3461" fmla="*/ 4180179 w 6689088"/>
              <a:gd name="connsiteY3461" fmla="*/ 844896 h 6689084"/>
              <a:gd name="connsiteX3462" fmla="*/ 4152947 w 6689088"/>
              <a:gd name="connsiteY3462" fmla="*/ 872129 h 6689084"/>
              <a:gd name="connsiteX3463" fmla="*/ 4125715 w 6689088"/>
              <a:gd name="connsiteY3463" fmla="*/ 844896 h 6689084"/>
              <a:gd name="connsiteX3464" fmla="*/ 4152947 w 6689088"/>
              <a:gd name="connsiteY3464" fmla="*/ 817664 h 6689084"/>
              <a:gd name="connsiteX3465" fmla="*/ 4306528 w 6689088"/>
              <a:gd name="connsiteY3465" fmla="*/ 815122 h 6689084"/>
              <a:gd name="connsiteX3466" fmla="*/ 4336303 w 6689088"/>
              <a:gd name="connsiteY3466" fmla="*/ 844896 h 6689084"/>
              <a:gd name="connsiteX3467" fmla="*/ 4306528 w 6689088"/>
              <a:gd name="connsiteY3467" fmla="*/ 874667 h 6689084"/>
              <a:gd name="connsiteX3468" fmla="*/ 4276758 w 6689088"/>
              <a:gd name="connsiteY3468" fmla="*/ 844896 h 6689084"/>
              <a:gd name="connsiteX3469" fmla="*/ 4306528 w 6689088"/>
              <a:gd name="connsiteY3469" fmla="*/ 815122 h 6689084"/>
              <a:gd name="connsiteX3470" fmla="*/ 4460480 w 6689088"/>
              <a:gd name="connsiteY3470" fmla="*/ 812941 h 6689084"/>
              <a:gd name="connsiteX3471" fmla="*/ 4492431 w 6689088"/>
              <a:gd name="connsiteY3471" fmla="*/ 844893 h 6689084"/>
              <a:gd name="connsiteX3472" fmla="*/ 4460480 w 6689088"/>
              <a:gd name="connsiteY3472" fmla="*/ 876844 h 6689084"/>
              <a:gd name="connsiteX3473" fmla="*/ 4428528 w 6689088"/>
              <a:gd name="connsiteY3473" fmla="*/ 844893 h 6689084"/>
              <a:gd name="connsiteX3474" fmla="*/ 4460480 w 6689088"/>
              <a:gd name="connsiteY3474" fmla="*/ 812941 h 6689084"/>
              <a:gd name="connsiteX3475" fmla="*/ 4614061 w 6689088"/>
              <a:gd name="connsiteY3475" fmla="*/ 811127 h 6689084"/>
              <a:gd name="connsiteX3476" fmla="*/ 4647831 w 6689088"/>
              <a:gd name="connsiteY3476" fmla="*/ 844893 h 6689084"/>
              <a:gd name="connsiteX3477" fmla="*/ 4614061 w 6689088"/>
              <a:gd name="connsiteY3477" fmla="*/ 878662 h 6689084"/>
              <a:gd name="connsiteX3478" fmla="*/ 4580296 w 6689088"/>
              <a:gd name="connsiteY3478" fmla="*/ 844893 h 6689084"/>
              <a:gd name="connsiteX3479" fmla="*/ 4614061 w 6689088"/>
              <a:gd name="connsiteY3479" fmla="*/ 811127 h 6689084"/>
              <a:gd name="connsiteX3480" fmla="*/ 4768012 w 6689088"/>
              <a:gd name="connsiteY3480" fmla="*/ 808584 h 6689084"/>
              <a:gd name="connsiteX3481" fmla="*/ 4804320 w 6689088"/>
              <a:gd name="connsiteY3481" fmla="*/ 844893 h 6689084"/>
              <a:gd name="connsiteX3482" fmla="*/ 4768012 w 6689088"/>
              <a:gd name="connsiteY3482" fmla="*/ 881201 h 6689084"/>
              <a:gd name="connsiteX3483" fmla="*/ 4731704 w 6689088"/>
              <a:gd name="connsiteY3483" fmla="*/ 844893 h 6689084"/>
              <a:gd name="connsiteX3484" fmla="*/ 4768012 w 6689088"/>
              <a:gd name="connsiteY3484" fmla="*/ 808584 h 6689084"/>
              <a:gd name="connsiteX3485" fmla="*/ 4921598 w 6689088"/>
              <a:gd name="connsiteY3485" fmla="*/ 806045 h 6689084"/>
              <a:gd name="connsiteX3486" fmla="*/ 4960444 w 6689088"/>
              <a:gd name="connsiteY3486" fmla="*/ 844896 h 6689084"/>
              <a:gd name="connsiteX3487" fmla="*/ 4921598 w 6689088"/>
              <a:gd name="connsiteY3487" fmla="*/ 883743 h 6689084"/>
              <a:gd name="connsiteX3488" fmla="*/ 4882746 w 6689088"/>
              <a:gd name="connsiteY3488" fmla="*/ 844896 h 6689084"/>
              <a:gd name="connsiteX3489" fmla="*/ 4921598 w 6689088"/>
              <a:gd name="connsiteY3489" fmla="*/ 806045 h 6689084"/>
              <a:gd name="connsiteX3490" fmla="*/ 5075541 w 6689088"/>
              <a:gd name="connsiteY3490" fmla="*/ 803503 h 6689084"/>
              <a:gd name="connsiteX3491" fmla="*/ 5116568 w 6689088"/>
              <a:gd name="connsiteY3491" fmla="*/ 844530 h 6689084"/>
              <a:gd name="connsiteX3492" fmla="*/ 5075541 w 6689088"/>
              <a:gd name="connsiteY3492" fmla="*/ 885562 h 6689084"/>
              <a:gd name="connsiteX3493" fmla="*/ 5034514 w 6689088"/>
              <a:gd name="connsiteY3493" fmla="*/ 844530 h 6689084"/>
              <a:gd name="connsiteX3494" fmla="*/ 5075541 w 6689088"/>
              <a:gd name="connsiteY3494" fmla="*/ 803503 h 6689084"/>
              <a:gd name="connsiteX3495" fmla="*/ 5229126 w 6689088"/>
              <a:gd name="connsiteY3495" fmla="*/ 800960 h 6689084"/>
              <a:gd name="connsiteX3496" fmla="*/ 5272696 w 6689088"/>
              <a:gd name="connsiteY3496" fmla="*/ 844530 h 6689084"/>
              <a:gd name="connsiteX3497" fmla="*/ 5229126 w 6689088"/>
              <a:gd name="connsiteY3497" fmla="*/ 888100 h 6689084"/>
              <a:gd name="connsiteX3498" fmla="*/ 5185556 w 6689088"/>
              <a:gd name="connsiteY3498" fmla="*/ 844530 h 6689084"/>
              <a:gd name="connsiteX3499" fmla="*/ 5229126 w 6689088"/>
              <a:gd name="connsiteY3499" fmla="*/ 800960 h 6689084"/>
              <a:gd name="connsiteX3500" fmla="*/ 5383074 w 6689088"/>
              <a:gd name="connsiteY3500" fmla="*/ 798784 h 6689084"/>
              <a:gd name="connsiteX3501" fmla="*/ 5429186 w 6689088"/>
              <a:gd name="connsiteY3501" fmla="*/ 844896 h 6689084"/>
              <a:gd name="connsiteX3502" fmla="*/ 5383074 w 6689088"/>
              <a:gd name="connsiteY3502" fmla="*/ 891009 h 6689084"/>
              <a:gd name="connsiteX3503" fmla="*/ 5336962 w 6689088"/>
              <a:gd name="connsiteY3503" fmla="*/ 844896 h 6689084"/>
              <a:gd name="connsiteX3504" fmla="*/ 5383074 w 6689088"/>
              <a:gd name="connsiteY3504" fmla="*/ 798784 h 6689084"/>
              <a:gd name="connsiteX3505" fmla="*/ 5536659 w 6689088"/>
              <a:gd name="connsiteY3505" fmla="*/ 796241 h 6689084"/>
              <a:gd name="connsiteX3506" fmla="*/ 5585310 w 6689088"/>
              <a:gd name="connsiteY3506" fmla="*/ 844896 h 6689084"/>
              <a:gd name="connsiteX3507" fmla="*/ 5536659 w 6689088"/>
              <a:gd name="connsiteY3507" fmla="*/ 893548 h 6689084"/>
              <a:gd name="connsiteX3508" fmla="*/ 5488004 w 6689088"/>
              <a:gd name="connsiteY3508" fmla="*/ 844896 h 6689084"/>
              <a:gd name="connsiteX3509" fmla="*/ 5536659 w 6689088"/>
              <a:gd name="connsiteY3509" fmla="*/ 796241 h 6689084"/>
              <a:gd name="connsiteX3510" fmla="*/ 5690606 w 6689088"/>
              <a:gd name="connsiteY3510" fmla="*/ 793699 h 6689084"/>
              <a:gd name="connsiteX3511" fmla="*/ 5741800 w 6689088"/>
              <a:gd name="connsiteY3511" fmla="*/ 844893 h 6689084"/>
              <a:gd name="connsiteX3512" fmla="*/ 5690606 w 6689088"/>
              <a:gd name="connsiteY3512" fmla="*/ 896090 h 6689084"/>
              <a:gd name="connsiteX3513" fmla="*/ 5639412 w 6689088"/>
              <a:gd name="connsiteY3513" fmla="*/ 844893 h 6689084"/>
              <a:gd name="connsiteX3514" fmla="*/ 5690606 w 6689088"/>
              <a:gd name="connsiteY3514" fmla="*/ 793699 h 6689084"/>
              <a:gd name="connsiteX3515" fmla="*/ 5844554 w 6689088"/>
              <a:gd name="connsiteY3515" fmla="*/ 791156 h 6689084"/>
              <a:gd name="connsiteX3516" fmla="*/ 5897928 w 6689088"/>
              <a:gd name="connsiteY3516" fmla="*/ 844530 h 6689084"/>
              <a:gd name="connsiteX3517" fmla="*/ 5844554 w 6689088"/>
              <a:gd name="connsiteY3517" fmla="*/ 897901 h 6689084"/>
              <a:gd name="connsiteX3518" fmla="*/ 5791180 w 6689088"/>
              <a:gd name="connsiteY3518" fmla="*/ 844530 h 6689084"/>
              <a:gd name="connsiteX3519" fmla="*/ 5844554 w 6689088"/>
              <a:gd name="connsiteY3519" fmla="*/ 791156 h 6689084"/>
              <a:gd name="connsiteX3520" fmla="*/ 5998139 w 6689088"/>
              <a:gd name="connsiteY3520" fmla="*/ 788614 h 6689084"/>
              <a:gd name="connsiteX3521" fmla="*/ 6054414 w 6689088"/>
              <a:gd name="connsiteY3521" fmla="*/ 844893 h 6689084"/>
              <a:gd name="connsiteX3522" fmla="*/ 5998139 w 6689088"/>
              <a:gd name="connsiteY3522" fmla="*/ 901171 h 6689084"/>
              <a:gd name="connsiteX3523" fmla="*/ 5941860 w 6689088"/>
              <a:gd name="connsiteY3523" fmla="*/ 844893 h 6689084"/>
              <a:gd name="connsiteX3524" fmla="*/ 5998139 w 6689088"/>
              <a:gd name="connsiteY3524" fmla="*/ 788614 h 6689084"/>
              <a:gd name="connsiteX3525" fmla="*/ 6152083 w 6689088"/>
              <a:gd name="connsiteY3525" fmla="*/ 786075 h 6689084"/>
              <a:gd name="connsiteX3526" fmla="*/ 6210904 w 6689088"/>
              <a:gd name="connsiteY3526" fmla="*/ 844896 h 6689084"/>
              <a:gd name="connsiteX3527" fmla="*/ 6152083 w 6689088"/>
              <a:gd name="connsiteY3527" fmla="*/ 903714 h 6689084"/>
              <a:gd name="connsiteX3528" fmla="*/ 6093265 w 6689088"/>
              <a:gd name="connsiteY3528" fmla="*/ 844896 h 6689084"/>
              <a:gd name="connsiteX3529" fmla="*/ 6152083 w 6689088"/>
              <a:gd name="connsiteY3529" fmla="*/ 786075 h 6689084"/>
              <a:gd name="connsiteX3530" fmla="*/ 6305672 w 6689088"/>
              <a:gd name="connsiteY3530" fmla="*/ 783170 h 6689084"/>
              <a:gd name="connsiteX3531" fmla="*/ 6367394 w 6689088"/>
              <a:gd name="connsiteY3531" fmla="*/ 844896 h 6689084"/>
              <a:gd name="connsiteX3532" fmla="*/ 6305672 w 6689088"/>
              <a:gd name="connsiteY3532" fmla="*/ 906619 h 6689084"/>
              <a:gd name="connsiteX3533" fmla="*/ 6243946 w 6689088"/>
              <a:gd name="connsiteY3533" fmla="*/ 844896 h 6689084"/>
              <a:gd name="connsiteX3534" fmla="*/ 6305672 w 6689088"/>
              <a:gd name="connsiteY3534" fmla="*/ 783170 h 6689084"/>
              <a:gd name="connsiteX3535" fmla="*/ 6459616 w 6689088"/>
              <a:gd name="connsiteY3535" fmla="*/ 780628 h 6689084"/>
              <a:gd name="connsiteX3536" fmla="*/ 6523884 w 6689088"/>
              <a:gd name="connsiteY3536" fmla="*/ 844893 h 6689084"/>
              <a:gd name="connsiteX3537" fmla="*/ 6459616 w 6689088"/>
              <a:gd name="connsiteY3537" fmla="*/ 909161 h 6689084"/>
              <a:gd name="connsiteX3538" fmla="*/ 6395350 w 6689088"/>
              <a:gd name="connsiteY3538" fmla="*/ 844893 h 6689084"/>
              <a:gd name="connsiteX3539" fmla="*/ 6459616 w 6689088"/>
              <a:gd name="connsiteY3539" fmla="*/ 780628 h 6689084"/>
              <a:gd name="connsiteX3540" fmla="*/ 6613197 w 6689088"/>
              <a:gd name="connsiteY3540" fmla="*/ 777361 h 6689084"/>
              <a:gd name="connsiteX3541" fmla="*/ 6680732 w 6689088"/>
              <a:gd name="connsiteY3541" fmla="*/ 844896 h 6689084"/>
              <a:gd name="connsiteX3542" fmla="*/ 6613197 w 6689088"/>
              <a:gd name="connsiteY3542" fmla="*/ 912428 h 6689084"/>
              <a:gd name="connsiteX3543" fmla="*/ 6545666 w 6689088"/>
              <a:gd name="connsiteY3543" fmla="*/ 844896 h 6689084"/>
              <a:gd name="connsiteX3544" fmla="*/ 6613197 w 6689088"/>
              <a:gd name="connsiteY3544" fmla="*/ 777361 h 6689084"/>
              <a:gd name="connsiteX3545" fmla="*/ 1384799 w 6689088"/>
              <a:gd name="connsiteY3545" fmla="*/ 690583 h 6689084"/>
              <a:gd name="connsiteX3546" fmla="*/ 1385161 w 6689088"/>
              <a:gd name="connsiteY3546" fmla="*/ 690945 h 6689084"/>
              <a:gd name="connsiteX3547" fmla="*/ 1384799 w 6689088"/>
              <a:gd name="connsiteY3547" fmla="*/ 691311 h 6689084"/>
              <a:gd name="connsiteX3548" fmla="*/ 1384437 w 6689088"/>
              <a:gd name="connsiteY3548" fmla="*/ 690945 h 6689084"/>
              <a:gd name="connsiteX3549" fmla="*/ 1384799 w 6689088"/>
              <a:gd name="connsiteY3549" fmla="*/ 690583 h 6689084"/>
              <a:gd name="connsiteX3550" fmla="*/ 923681 w 6689088"/>
              <a:gd name="connsiteY3550" fmla="*/ 690583 h 6689084"/>
              <a:gd name="connsiteX3551" fmla="*/ 924043 w 6689088"/>
              <a:gd name="connsiteY3551" fmla="*/ 690945 h 6689084"/>
              <a:gd name="connsiteX3552" fmla="*/ 923681 w 6689088"/>
              <a:gd name="connsiteY3552" fmla="*/ 691311 h 6689084"/>
              <a:gd name="connsiteX3553" fmla="*/ 923319 w 6689088"/>
              <a:gd name="connsiteY3553" fmla="*/ 690945 h 6689084"/>
              <a:gd name="connsiteX3554" fmla="*/ 923681 w 6689088"/>
              <a:gd name="connsiteY3554" fmla="*/ 690583 h 6689084"/>
              <a:gd name="connsiteX3555" fmla="*/ 769733 w 6689088"/>
              <a:gd name="connsiteY3555" fmla="*/ 690583 h 6689084"/>
              <a:gd name="connsiteX3556" fmla="*/ 770096 w 6689088"/>
              <a:gd name="connsiteY3556" fmla="*/ 690945 h 6689084"/>
              <a:gd name="connsiteX3557" fmla="*/ 769733 w 6689088"/>
              <a:gd name="connsiteY3557" fmla="*/ 691311 h 6689084"/>
              <a:gd name="connsiteX3558" fmla="*/ 769371 w 6689088"/>
              <a:gd name="connsiteY3558" fmla="*/ 690945 h 6689084"/>
              <a:gd name="connsiteX3559" fmla="*/ 769733 w 6689088"/>
              <a:gd name="connsiteY3559" fmla="*/ 690583 h 6689084"/>
              <a:gd name="connsiteX3560" fmla="*/ 616152 w 6689088"/>
              <a:gd name="connsiteY3560" fmla="*/ 690221 h 6689084"/>
              <a:gd name="connsiteX3561" fmla="*/ 616876 w 6689088"/>
              <a:gd name="connsiteY3561" fmla="*/ 690949 h 6689084"/>
              <a:gd name="connsiteX3562" fmla="*/ 616152 w 6689088"/>
              <a:gd name="connsiteY3562" fmla="*/ 691673 h 6689084"/>
              <a:gd name="connsiteX3563" fmla="*/ 615424 w 6689088"/>
              <a:gd name="connsiteY3563" fmla="*/ 690949 h 6689084"/>
              <a:gd name="connsiteX3564" fmla="*/ 616152 w 6689088"/>
              <a:gd name="connsiteY3564" fmla="*/ 690221 h 6689084"/>
              <a:gd name="connsiteX3565" fmla="*/ 1538746 w 6689088"/>
              <a:gd name="connsiteY3565" fmla="*/ 689493 h 6689084"/>
              <a:gd name="connsiteX3566" fmla="*/ 1540198 w 6689088"/>
              <a:gd name="connsiteY3566" fmla="*/ 690945 h 6689084"/>
              <a:gd name="connsiteX3567" fmla="*/ 1538746 w 6689088"/>
              <a:gd name="connsiteY3567" fmla="*/ 692397 h 6689084"/>
              <a:gd name="connsiteX3568" fmla="*/ 1537294 w 6689088"/>
              <a:gd name="connsiteY3568" fmla="*/ 690945 h 6689084"/>
              <a:gd name="connsiteX3569" fmla="*/ 1538746 w 6689088"/>
              <a:gd name="connsiteY3569" fmla="*/ 689493 h 6689084"/>
              <a:gd name="connsiteX3570" fmla="*/ 1692328 w 6689088"/>
              <a:gd name="connsiteY3570" fmla="*/ 688768 h 6689084"/>
              <a:gd name="connsiteX3571" fmla="*/ 1694508 w 6689088"/>
              <a:gd name="connsiteY3571" fmla="*/ 690949 h 6689084"/>
              <a:gd name="connsiteX3572" fmla="*/ 1692328 w 6689088"/>
              <a:gd name="connsiteY3572" fmla="*/ 693126 h 6689084"/>
              <a:gd name="connsiteX3573" fmla="*/ 1690151 w 6689088"/>
              <a:gd name="connsiteY3573" fmla="*/ 690949 h 6689084"/>
              <a:gd name="connsiteX3574" fmla="*/ 1692328 w 6689088"/>
              <a:gd name="connsiteY3574" fmla="*/ 688768 h 6689084"/>
              <a:gd name="connsiteX3575" fmla="*/ 1846279 w 6689088"/>
              <a:gd name="connsiteY3575" fmla="*/ 688040 h 6689084"/>
              <a:gd name="connsiteX3576" fmla="*/ 1849546 w 6689088"/>
              <a:gd name="connsiteY3576" fmla="*/ 691307 h 6689084"/>
              <a:gd name="connsiteX3577" fmla="*/ 1846279 w 6689088"/>
              <a:gd name="connsiteY3577" fmla="*/ 694574 h 6689084"/>
              <a:gd name="connsiteX3578" fmla="*/ 1843012 w 6689088"/>
              <a:gd name="connsiteY3578" fmla="*/ 691307 h 6689084"/>
              <a:gd name="connsiteX3579" fmla="*/ 1846279 w 6689088"/>
              <a:gd name="connsiteY3579" fmla="*/ 688040 h 6689084"/>
              <a:gd name="connsiteX3580" fmla="*/ 1999860 w 6689088"/>
              <a:gd name="connsiteY3580" fmla="*/ 686588 h 6689084"/>
              <a:gd name="connsiteX3581" fmla="*/ 2004217 w 6689088"/>
              <a:gd name="connsiteY3581" fmla="*/ 690945 h 6689084"/>
              <a:gd name="connsiteX3582" fmla="*/ 1999860 w 6689088"/>
              <a:gd name="connsiteY3582" fmla="*/ 695302 h 6689084"/>
              <a:gd name="connsiteX3583" fmla="*/ 1995503 w 6689088"/>
              <a:gd name="connsiteY3583" fmla="*/ 690945 h 6689084"/>
              <a:gd name="connsiteX3584" fmla="*/ 1999860 w 6689088"/>
              <a:gd name="connsiteY3584" fmla="*/ 686588 h 6689084"/>
              <a:gd name="connsiteX3585" fmla="*/ 2153811 w 6689088"/>
              <a:gd name="connsiteY3585" fmla="*/ 685498 h 6689084"/>
              <a:gd name="connsiteX3586" fmla="*/ 2159621 w 6689088"/>
              <a:gd name="connsiteY3586" fmla="*/ 691307 h 6689084"/>
              <a:gd name="connsiteX3587" fmla="*/ 2153811 w 6689088"/>
              <a:gd name="connsiteY3587" fmla="*/ 697117 h 6689084"/>
              <a:gd name="connsiteX3588" fmla="*/ 2148002 w 6689088"/>
              <a:gd name="connsiteY3588" fmla="*/ 691307 h 6689084"/>
              <a:gd name="connsiteX3589" fmla="*/ 2153811 w 6689088"/>
              <a:gd name="connsiteY3589" fmla="*/ 685498 h 6689084"/>
              <a:gd name="connsiteX3590" fmla="*/ 2307393 w 6689088"/>
              <a:gd name="connsiteY3590" fmla="*/ 683683 h 6689084"/>
              <a:gd name="connsiteX3591" fmla="*/ 2314655 w 6689088"/>
              <a:gd name="connsiteY3591" fmla="*/ 690945 h 6689084"/>
              <a:gd name="connsiteX3592" fmla="*/ 2307393 w 6689088"/>
              <a:gd name="connsiteY3592" fmla="*/ 698207 h 6689084"/>
              <a:gd name="connsiteX3593" fmla="*/ 2300131 w 6689088"/>
              <a:gd name="connsiteY3593" fmla="*/ 690945 h 6689084"/>
              <a:gd name="connsiteX3594" fmla="*/ 2307393 w 6689088"/>
              <a:gd name="connsiteY3594" fmla="*/ 683683 h 6689084"/>
              <a:gd name="connsiteX3595" fmla="*/ 2461340 w 6689088"/>
              <a:gd name="connsiteY3595" fmla="*/ 681869 h 6689084"/>
              <a:gd name="connsiteX3596" fmla="*/ 2470420 w 6689088"/>
              <a:gd name="connsiteY3596" fmla="*/ 690945 h 6689084"/>
              <a:gd name="connsiteX3597" fmla="*/ 2461340 w 6689088"/>
              <a:gd name="connsiteY3597" fmla="*/ 700025 h 6689084"/>
              <a:gd name="connsiteX3598" fmla="*/ 2452264 w 6689088"/>
              <a:gd name="connsiteY3598" fmla="*/ 690945 h 6689084"/>
              <a:gd name="connsiteX3599" fmla="*/ 2461340 w 6689088"/>
              <a:gd name="connsiteY3599" fmla="*/ 681869 h 6689084"/>
              <a:gd name="connsiteX3600" fmla="*/ 2614925 w 6689088"/>
              <a:gd name="connsiteY3600" fmla="*/ 680779 h 6689084"/>
              <a:gd name="connsiteX3601" fmla="*/ 2625092 w 6689088"/>
              <a:gd name="connsiteY3601" fmla="*/ 690945 h 6689084"/>
              <a:gd name="connsiteX3602" fmla="*/ 2614925 w 6689088"/>
              <a:gd name="connsiteY3602" fmla="*/ 701111 h 6689084"/>
              <a:gd name="connsiteX3603" fmla="*/ 2604759 w 6689088"/>
              <a:gd name="connsiteY3603" fmla="*/ 690945 h 6689084"/>
              <a:gd name="connsiteX3604" fmla="*/ 2614925 w 6689088"/>
              <a:gd name="connsiteY3604" fmla="*/ 680779 h 6689084"/>
              <a:gd name="connsiteX3605" fmla="*/ 2768873 w 6689088"/>
              <a:gd name="connsiteY3605" fmla="*/ 678964 h 6689084"/>
              <a:gd name="connsiteX3606" fmla="*/ 2780858 w 6689088"/>
              <a:gd name="connsiteY3606" fmla="*/ 690945 h 6689084"/>
              <a:gd name="connsiteX3607" fmla="*/ 2768873 w 6689088"/>
              <a:gd name="connsiteY3607" fmla="*/ 702926 h 6689084"/>
              <a:gd name="connsiteX3608" fmla="*/ 2756892 w 6689088"/>
              <a:gd name="connsiteY3608" fmla="*/ 690945 h 6689084"/>
              <a:gd name="connsiteX3609" fmla="*/ 2768873 w 6689088"/>
              <a:gd name="connsiteY3609" fmla="*/ 678964 h 6689084"/>
              <a:gd name="connsiteX3610" fmla="*/ 2922824 w 6689088"/>
              <a:gd name="connsiteY3610" fmla="*/ 677150 h 6689084"/>
              <a:gd name="connsiteX3611" fmla="*/ 2936619 w 6689088"/>
              <a:gd name="connsiteY3611" fmla="*/ 690949 h 6689084"/>
              <a:gd name="connsiteX3612" fmla="*/ 2922824 w 6689088"/>
              <a:gd name="connsiteY3612" fmla="*/ 704744 h 6689084"/>
              <a:gd name="connsiteX3613" fmla="*/ 2909025 w 6689088"/>
              <a:gd name="connsiteY3613" fmla="*/ 690949 h 6689084"/>
              <a:gd name="connsiteX3614" fmla="*/ 2922824 w 6689088"/>
              <a:gd name="connsiteY3614" fmla="*/ 677150 h 6689084"/>
              <a:gd name="connsiteX3615" fmla="*/ 3076402 w 6689088"/>
              <a:gd name="connsiteY3615" fmla="*/ 675697 h 6689084"/>
              <a:gd name="connsiteX3616" fmla="*/ 3091653 w 6689088"/>
              <a:gd name="connsiteY3616" fmla="*/ 690949 h 6689084"/>
              <a:gd name="connsiteX3617" fmla="*/ 3076402 w 6689088"/>
              <a:gd name="connsiteY3617" fmla="*/ 706197 h 6689084"/>
              <a:gd name="connsiteX3618" fmla="*/ 3061154 w 6689088"/>
              <a:gd name="connsiteY3618" fmla="*/ 690949 h 6689084"/>
              <a:gd name="connsiteX3619" fmla="*/ 3076402 w 6689088"/>
              <a:gd name="connsiteY3619" fmla="*/ 675697 h 6689084"/>
              <a:gd name="connsiteX3620" fmla="*/ 3230353 w 6689088"/>
              <a:gd name="connsiteY3620" fmla="*/ 673883 h 6689084"/>
              <a:gd name="connsiteX3621" fmla="*/ 3247419 w 6689088"/>
              <a:gd name="connsiteY3621" fmla="*/ 690949 h 6689084"/>
              <a:gd name="connsiteX3622" fmla="*/ 3230353 w 6689088"/>
              <a:gd name="connsiteY3622" fmla="*/ 708015 h 6689084"/>
              <a:gd name="connsiteX3623" fmla="*/ 3213287 w 6689088"/>
              <a:gd name="connsiteY3623" fmla="*/ 690949 h 6689084"/>
              <a:gd name="connsiteX3624" fmla="*/ 3230353 w 6689088"/>
              <a:gd name="connsiteY3624" fmla="*/ 673883 h 6689084"/>
              <a:gd name="connsiteX3625" fmla="*/ 3383934 w 6689088"/>
              <a:gd name="connsiteY3625" fmla="*/ 671703 h 6689084"/>
              <a:gd name="connsiteX3626" fmla="*/ 3403180 w 6689088"/>
              <a:gd name="connsiteY3626" fmla="*/ 690945 h 6689084"/>
              <a:gd name="connsiteX3627" fmla="*/ 3383934 w 6689088"/>
              <a:gd name="connsiteY3627" fmla="*/ 710191 h 6689084"/>
              <a:gd name="connsiteX3628" fmla="*/ 3364692 w 6689088"/>
              <a:gd name="connsiteY3628" fmla="*/ 690945 h 6689084"/>
              <a:gd name="connsiteX3629" fmla="*/ 3383934 w 6689088"/>
              <a:gd name="connsiteY3629" fmla="*/ 671703 h 6689084"/>
              <a:gd name="connsiteX3630" fmla="*/ 3537886 w 6689088"/>
              <a:gd name="connsiteY3630" fmla="*/ 669526 h 6689084"/>
              <a:gd name="connsiteX3631" fmla="*/ 3559308 w 6689088"/>
              <a:gd name="connsiteY3631" fmla="*/ 690949 h 6689084"/>
              <a:gd name="connsiteX3632" fmla="*/ 3537886 w 6689088"/>
              <a:gd name="connsiteY3632" fmla="*/ 712372 h 6689084"/>
              <a:gd name="connsiteX3633" fmla="*/ 3516462 w 6689088"/>
              <a:gd name="connsiteY3633" fmla="*/ 690949 h 6689084"/>
              <a:gd name="connsiteX3634" fmla="*/ 3537886 w 6689088"/>
              <a:gd name="connsiteY3634" fmla="*/ 669526 h 6689084"/>
              <a:gd name="connsiteX3635" fmla="*/ 3691471 w 6689088"/>
              <a:gd name="connsiteY3635" fmla="*/ 668074 h 6689084"/>
              <a:gd name="connsiteX3636" fmla="*/ 3714342 w 6689088"/>
              <a:gd name="connsiteY3636" fmla="*/ 690949 h 6689084"/>
              <a:gd name="connsiteX3637" fmla="*/ 3691471 w 6689088"/>
              <a:gd name="connsiteY3637" fmla="*/ 713820 h 6689084"/>
              <a:gd name="connsiteX3638" fmla="*/ 3668596 w 6689088"/>
              <a:gd name="connsiteY3638" fmla="*/ 690949 h 6689084"/>
              <a:gd name="connsiteX3639" fmla="*/ 3691471 w 6689088"/>
              <a:gd name="connsiteY3639" fmla="*/ 668074 h 6689084"/>
              <a:gd name="connsiteX3640" fmla="*/ 3845414 w 6689088"/>
              <a:gd name="connsiteY3640" fmla="*/ 665893 h 6689084"/>
              <a:gd name="connsiteX3641" fmla="*/ 3870470 w 6689088"/>
              <a:gd name="connsiteY3641" fmla="*/ 690945 h 6689084"/>
              <a:gd name="connsiteX3642" fmla="*/ 3845414 w 6689088"/>
              <a:gd name="connsiteY3642" fmla="*/ 716001 h 6689084"/>
              <a:gd name="connsiteX3643" fmla="*/ 3820362 w 6689088"/>
              <a:gd name="connsiteY3643" fmla="*/ 690945 h 6689084"/>
              <a:gd name="connsiteX3644" fmla="*/ 3845414 w 6689088"/>
              <a:gd name="connsiteY3644" fmla="*/ 665893 h 6689084"/>
              <a:gd name="connsiteX3645" fmla="*/ 3999000 w 6689088"/>
              <a:gd name="connsiteY3645" fmla="*/ 663717 h 6689084"/>
              <a:gd name="connsiteX3646" fmla="*/ 4026232 w 6689088"/>
              <a:gd name="connsiteY3646" fmla="*/ 690949 h 6689084"/>
              <a:gd name="connsiteX3647" fmla="*/ 3999000 w 6689088"/>
              <a:gd name="connsiteY3647" fmla="*/ 718181 h 6689084"/>
              <a:gd name="connsiteX3648" fmla="*/ 3971768 w 6689088"/>
              <a:gd name="connsiteY3648" fmla="*/ 690949 h 6689084"/>
              <a:gd name="connsiteX3649" fmla="*/ 3999000 w 6689088"/>
              <a:gd name="connsiteY3649" fmla="*/ 663717 h 6689084"/>
              <a:gd name="connsiteX3650" fmla="*/ 4152947 w 6689088"/>
              <a:gd name="connsiteY3650" fmla="*/ 661174 h 6689084"/>
              <a:gd name="connsiteX3651" fmla="*/ 4182722 w 6689088"/>
              <a:gd name="connsiteY3651" fmla="*/ 690949 h 6689084"/>
              <a:gd name="connsiteX3652" fmla="*/ 4152947 w 6689088"/>
              <a:gd name="connsiteY3652" fmla="*/ 720720 h 6689084"/>
              <a:gd name="connsiteX3653" fmla="*/ 4123176 w 6689088"/>
              <a:gd name="connsiteY3653" fmla="*/ 690949 h 6689084"/>
              <a:gd name="connsiteX3654" fmla="*/ 4152947 w 6689088"/>
              <a:gd name="connsiteY3654" fmla="*/ 661174 h 6689084"/>
              <a:gd name="connsiteX3655" fmla="*/ 4306532 w 6689088"/>
              <a:gd name="connsiteY3655" fmla="*/ 658994 h 6689084"/>
              <a:gd name="connsiteX3656" fmla="*/ 4338484 w 6689088"/>
              <a:gd name="connsiteY3656" fmla="*/ 690945 h 6689084"/>
              <a:gd name="connsiteX3657" fmla="*/ 4306532 w 6689088"/>
              <a:gd name="connsiteY3657" fmla="*/ 722896 h 6689084"/>
              <a:gd name="connsiteX3658" fmla="*/ 4274581 w 6689088"/>
              <a:gd name="connsiteY3658" fmla="*/ 690945 h 6689084"/>
              <a:gd name="connsiteX3659" fmla="*/ 4306532 w 6689088"/>
              <a:gd name="connsiteY3659" fmla="*/ 658994 h 6689084"/>
              <a:gd name="connsiteX3660" fmla="*/ 4460480 w 6689088"/>
              <a:gd name="connsiteY3660" fmla="*/ 657179 h 6689084"/>
              <a:gd name="connsiteX3661" fmla="*/ 4494250 w 6689088"/>
              <a:gd name="connsiteY3661" fmla="*/ 690945 h 6689084"/>
              <a:gd name="connsiteX3662" fmla="*/ 4460480 w 6689088"/>
              <a:gd name="connsiteY3662" fmla="*/ 724715 h 6689084"/>
              <a:gd name="connsiteX3663" fmla="*/ 4426714 w 6689088"/>
              <a:gd name="connsiteY3663" fmla="*/ 690945 h 6689084"/>
              <a:gd name="connsiteX3664" fmla="*/ 4460480 w 6689088"/>
              <a:gd name="connsiteY3664" fmla="*/ 657179 h 6689084"/>
              <a:gd name="connsiteX3665" fmla="*/ 4614061 w 6689088"/>
              <a:gd name="connsiteY3665" fmla="*/ 654637 h 6689084"/>
              <a:gd name="connsiteX3666" fmla="*/ 4650370 w 6689088"/>
              <a:gd name="connsiteY3666" fmla="*/ 690945 h 6689084"/>
              <a:gd name="connsiteX3667" fmla="*/ 4614061 w 6689088"/>
              <a:gd name="connsiteY3667" fmla="*/ 727253 h 6689084"/>
              <a:gd name="connsiteX3668" fmla="*/ 4577753 w 6689088"/>
              <a:gd name="connsiteY3668" fmla="*/ 690945 h 6689084"/>
              <a:gd name="connsiteX3669" fmla="*/ 4614061 w 6689088"/>
              <a:gd name="connsiteY3669" fmla="*/ 654637 h 6689084"/>
              <a:gd name="connsiteX3670" fmla="*/ 4768012 w 6689088"/>
              <a:gd name="connsiteY3670" fmla="*/ 652094 h 6689084"/>
              <a:gd name="connsiteX3671" fmla="*/ 4806860 w 6689088"/>
              <a:gd name="connsiteY3671" fmla="*/ 690945 h 6689084"/>
              <a:gd name="connsiteX3672" fmla="*/ 4768012 w 6689088"/>
              <a:gd name="connsiteY3672" fmla="*/ 729796 h 6689084"/>
              <a:gd name="connsiteX3673" fmla="*/ 4729162 w 6689088"/>
              <a:gd name="connsiteY3673" fmla="*/ 690945 h 6689084"/>
              <a:gd name="connsiteX3674" fmla="*/ 4768012 w 6689088"/>
              <a:gd name="connsiteY3674" fmla="*/ 652094 h 6689084"/>
              <a:gd name="connsiteX3675" fmla="*/ 4921594 w 6689088"/>
              <a:gd name="connsiteY3675" fmla="*/ 649918 h 6689084"/>
              <a:gd name="connsiteX3676" fmla="*/ 4962625 w 6689088"/>
              <a:gd name="connsiteY3676" fmla="*/ 690945 h 6689084"/>
              <a:gd name="connsiteX3677" fmla="*/ 4921594 w 6689088"/>
              <a:gd name="connsiteY3677" fmla="*/ 731976 h 6689084"/>
              <a:gd name="connsiteX3678" fmla="*/ 4880566 w 6689088"/>
              <a:gd name="connsiteY3678" fmla="*/ 690945 h 6689084"/>
              <a:gd name="connsiteX3679" fmla="*/ 4921594 w 6689088"/>
              <a:gd name="connsiteY3679" fmla="*/ 649918 h 6689084"/>
              <a:gd name="connsiteX3680" fmla="*/ 5075541 w 6689088"/>
              <a:gd name="connsiteY3680" fmla="*/ 647375 h 6689084"/>
              <a:gd name="connsiteX3681" fmla="*/ 5119111 w 6689088"/>
              <a:gd name="connsiteY3681" fmla="*/ 690945 h 6689084"/>
              <a:gd name="connsiteX3682" fmla="*/ 5075541 w 6689088"/>
              <a:gd name="connsiteY3682" fmla="*/ 734515 h 6689084"/>
              <a:gd name="connsiteX3683" fmla="*/ 5031971 w 6689088"/>
              <a:gd name="connsiteY3683" fmla="*/ 690945 h 6689084"/>
              <a:gd name="connsiteX3684" fmla="*/ 5075541 w 6689088"/>
              <a:gd name="connsiteY3684" fmla="*/ 647375 h 6689084"/>
              <a:gd name="connsiteX3685" fmla="*/ 5229126 w 6689088"/>
              <a:gd name="connsiteY3685" fmla="*/ 644836 h 6689084"/>
              <a:gd name="connsiteX3686" fmla="*/ 5275239 w 6689088"/>
              <a:gd name="connsiteY3686" fmla="*/ 690949 h 6689084"/>
              <a:gd name="connsiteX3687" fmla="*/ 5229126 w 6689088"/>
              <a:gd name="connsiteY3687" fmla="*/ 737058 h 6689084"/>
              <a:gd name="connsiteX3688" fmla="*/ 5183014 w 6689088"/>
              <a:gd name="connsiteY3688" fmla="*/ 690949 h 6689084"/>
              <a:gd name="connsiteX3689" fmla="*/ 5229126 w 6689088"/>
              <a:gd name="connsiteY3689" fmla="*/ 644836 h 6689084"/>
              <a:gd name="connsiteX3690" fmla="*/ 5383074 w 6689088"/>
              <a:gd name="connsiteY3690" fmla="*/ 642294 h 6689084"/>
              <a:gd name="connsiteX3691" fmla="*/ 5431725 w 6689088"/>
              <a:gd name="connsiteY3691" fmla="*/ 690949 h 6689084"/>
              <a:gd name="connsiteX3692" fmla="*/ 5383074 w 6689088"/>
              <a:gd name="connsiteY3692" fmla="*/ 739600 h 6689084"/>
              <a:gd name="connsiteX3693" fmla="*/ 5334419 w 6689088"/>
              <a:gd name="connsiteY3693" fmla="*/ 690949 h 6689084"/>
              <a:gd name="connsiteX3694" fmla="*/ 5383074 w 6689088"/>
              <a:gd name="connsiteY3694" fmla="*/ 642294 h 6689084"/>
              <a:gd name="connsiteX3695" fmla="*/ 5536659 w 6689088"/>
              <a:gd name="connsiteY3695" fmla="*/ 639751 h 6689084"/>
              <a:gd name="connsiteX3696" fmla="*/ 5587853 w 6689088"/>
              <a:gd name="connsiteY3696" fmla="*/ 690945 h 6689084"/>
              <a:gd name="connsiteX3697" fmla="*/ 5536659 w 6689088"/>
              <a:gd name="connsiteY3697" fmla="*/ 742139 h 6689084"/>
              <a:gd name="connsiteX3698" fmla="*/ 5485462 w 6689088"/>
              <a:gd name="connsiteY3698" fmla="*/ 690945 h 6689084"/>
              <a:gd name="connsiteX3699" fmla="*/ 5536659 w 6689088"/>
              <a:gd name="connsiteY3699" fmla="*/ 639751 h 6689084"/>
              <a:gd name="connsiteX3700" fmla="*/ 5690606 w 6689088"/>
              <a:gd name="connsiteY3700" fmla="*/ 637571 h 6689084"/>
              <a:gd name="connsiteX3701" fmla="*/ 5743980 w 6689088"/>
              <a:gd name="connsiteY3701" fmla="*/ 690945 h 6689084"/>
              <a:gd name="connsiteX3702" fmla="*/ 5690606 w 6689088"/>
              <a:gd name="connsiteY3702" fmla="*/ 744319 h 6689084"/>
              <a:gd name="connsiteX3703" fmla="*/ 5637232 w 6689088"/>
              <a:gd name="connsiteY3703" fmla="*/ 690945 h 6689084"/>
              <a:gd name="connsiteX3704" fmla="*/ 5690606 w 6689088"/>
              <a:gd name="connsiteY3704" fmla="*/ 637571 h 6689084"/>
              <a:gd name="connsiteX3705" fmla="*/ 5844554 w 6689088"/>
              <a:gd name="connsiteY3705" fmla="*/ 634666 h 6689084"/>
              <a:gd name="connsiteX3706" fmla="*/ 5900829 w 6689088"/>
              <a:gd name="connsiteY3706" fmla="*/ 690945 h 6689084"/>
              <a:gd name="connsiteX3707" fmla="*/ 5844554 w 6689088"/>
              <a:gd name="connsiteY3707" fmla="*/ 747224 h 6689084"/>
              <a:gd name="connsiteX3708" fmla="*/ 5788275 w 6689088"/>
              <a:gd name="connsiteY3708" fmla="*/ 690945 h 6689084"/>
              <a:gd name="connsiteX3709" fmla="*/ 5844554 w 6689088"/>
              <a:gd name="connsiteY3709" fmla="*/ 634666 h 6689084"/>
              <a:gd name="connsiteX3710" fmla="*/ 5998136 w 6689088"/>
              <a:gd name="connsiteY3710" fmla="*/ 632128 h 6689084"/>
              <a:gd name="connsiteX3711" fmla="*/ 6056957 w 6689088"/>
              <a:gd name="connsiteY3711" fmla="*/ 690949 h 6689084"/>
              <a:gd name="connsiteX3712" fmla="*/ 5998136 w 6689088"/>
              <a:gd name="connsiteY3712" fmla="*/ 749767 h 6689084"/>
              <a:gd name="connsiteX3713" fmla="*/ 5939318 w 6689088"/>
              <a:gd name="connsiteY3713" fmla="*/ 690949 h 6689084"/>
              <a:gd name="connsiteX3714" fmla="*/ 5998136 w 6689088"/>
              <a:gd name="connsiteY3714" fmla="*/ 632128 h 6689084"/>
              <a:gd name="connsiteX3715" fmla="*/ 6152083 w 6689088"/>
              <a:gd name="connsiteY3715" fmla="*/ 629223 h 6689084"/>
              <a:gd name="connsiteX3716" fmla="*/ 6213809 w 6689088"/>
              <a:gd name="connsiteY3716" fmla="*/ 690949 h 6689084"/>
              <a:gd name="connsiteX3717" fmla="*/ 6152083 w 6689088"/>
              <a:gd name="connsiteY3717" fmla="*/ 752671 h 6689084"/>
              <a:gd name="connsiteX3718" fmla="*/ 6090360 w 6689088"/>
              <a:gd name="connsiteY3718" fmla="*/ 690949 h 6689084"/>
              <a:gd name="connsiteX3719" fmla="*/ 6152083 w 6689088"/>
              <a:gd name="connsiteY3719" fmla="*/ 629223 h 6689084"/>
              <a:gd name="connsiteX3720" fmla="*/ 6305668 w 6689088"/>
              <a:gd name="connsiteY3720" fmla="*/ 626680 h 6689084"/>
              <a:gd name="connsiteX3721" fmla="*/ 6369933 w 6689088"/>
              <a:gd name="connsiteY3721" fmla="*/ 690945 h 6689084"/>
              <a:gd name="connsiteX3722" fmla="*/ 6305668 w 6689088"/>
              <a:gd name="connsiteY3722" fmla="*/ 755214 h 6689084"/>
              <a:gd name="connsiteX3723" fmla="*/ 6241400 w 6689088"/>
              <a:gd name="connsiteY3723" fmla="*/ 690945 h 6689084"/>
              <a:gd name="connsiteX3724" fmla="*/ 6305668 w 6689088"/>
              <a:gd name="connsiteY3724" fmla="*/ 626680 h 6689084"/>
              <a:gd name="connsiteX3725" fmla="*/ 6459619 w 6689088"/>
              <a:gd name="connsiteY3725" fmla="*/ 623414 h 6689084"/>
              <a:gd name="connsiteX3726" fmla="*/ 6527151 w 6689088"/>
              <a:gd name="connsiteY3726" fmla="*/ 690949 h 6689084"/>
              <a:gd name="connsiteX3727" fmla="*/ 6459619 w 6689088"/>
              <a:gd name="connsiteY3727" fmla="*/ 758481 h 6689084"/>
              <a:gd name="connsiteX3728" fmla="*/ 6392084 w 6689088"/>
              <a:gd name="connsiteY3728" fmla="*/ 690949 h 6689084"/>
              <a:gd name="connsiteX3729" fmla="*/ 6459619 w 6689088"/>
              <a:gd name="connsiteY3729" fmla="*/ 623414 h 6689084"/>
              <a:gd name="connsiteX3730" fmla="*/ 6613200 w 6689088"/>
              <a:gd name="connsiteY3730" fmla="*/ 620871 h 6689084"/>
              <a:gd name="connsiteX3731" fmla="*/ 6683275 w 6689088"/>
              <a:gd name="connsiteY3731" fmla="*/ 690945 h 6689084"/>
              <a:gd name="connsiteX3732" fmla="*/ 6613200 w 6689088"/>
              <a:gd name="connsiteY3732" fmla="*/ 761023 h 6689084"/>
              <a:gd name="connsiteX3733" fmla="*/ 6543126 w 6689088"/>
              <a:gd name="connsiteY3733" fmla="*/ 690945 h 6689084"/>
              <a:gd name="connsiteX3734" fmla="*/ 6613200 w 6689088"/>
              <a:gd name="connsiteY3734" fmla="*/ 620871 h 6689084"/>
              <a:gd name="connsiteX3735" fmla="*/ 1231213 w 6689088"/>
              <a:gd name="connsiteY3735" fmla="*/ 536998 h 6689084"/>
              <a:gd name="connsiteX3736" fmla="*/ 1231576 w 6689088"/>
              <a:gd name="connsiteY3736" fmla="*/ 537360 h 6689084"/>
              <a:gd name="connsiteX3737" fmla="*/ 1231213 w 6689088"/>
              <a:gd name="connsiteY3737" fmla="*/ 537726 h 6689084"/>
              <a:gd name="connsiteX3738" fmla="*/ 1230851 w 6689088"/>
              <a:gd name="connsiteY3738" fmla="*/ 537360 h 6689084"/>
              <a:gd name="connsiteX3739" fmla="*/ 1231213 w 6689088"/>
              <a:gd name="connsiteY3739" fmla="*/ 536998 h 6689084"/>
              <a:gd name="connsiteX3740" fmla="*/ 769733 w 6689088"/>
              <a:gd name="connsiteY3740" fmla="*/ 536998 h 6689084"/>
              <a:gd name="connsiteX3741" fmla="*/ 770096 w 6689088"/>
              <a:gd name="connsiteY3741" fmla="*/ 537360 h 6689084"/>
              <a:gd name="connsiteX3742" fmla="*/ 769733 w 6689088"/>
              <a:gd name="connsiteY3742" fmla="*/ 537726 h 6689084"/>
              <a:gd name="connsiteX3743" fmla="*/ 769371 w 6689088"/>
              <a:gd name="connsiteY3743" fmla="*/ 537360 h 6689084"/>
              <a:gd name="connsiteX3744" fmla="*/ 769733 w 6689088"/>
              <a:gd name="connsiteY3744" fmla="*/ 536998 h 6689084"/>
              <a:gd name="connsiteX3745" fmla="*/ 616148 w 6689088"/>
              <a:gd name="connsiteY3745" fmla="*/ 536998 h 6689084"/>
              <a:gd name="connsiteX3746" fmla="*/ 616514 w 6689088"/>
              <a:gd name="connsiteY3746" fmla="*/ 537360 h 6689084"/>
              <a:gd name="connsiteX3747" fmla="*/ 616148 w 6689088"/>
              <a:gd name="connsiteY3747" fmla="*/ 537726 h 6689084"/>
              <a:gd name="connsiteX3748" fmla="*/ 615786 w 6689088"/>
              <a:gd name="connsiteY3748" fmla="*/ 537360 h 6689084"/>
              <a:gd name="connsiteX3749" fmla="*/ 616148 w 6689088"/>
              <a:gd name="connsiteY3749" fmla="*/ 536998 h 6689084"/>
              <a:gd name="connsiteX3750" fmla="*/ 462205 w 6689088"/>
              <a:gd name="connsiteY3750" fmla="*/ 536636 h 6689084"/>
              <a:gd name="connsiteX3751" fmla="*/ 462929 w 6689088"/>
              <a:gd name="connsiteY3751" fmla="*/ 537364 h 6689084"/>
              <a:gd name="connsiteX3752" fmla="*/ 462205 w 6689088"/>
              <a:gd name="connsiteY3752" fmla="*/ 538088 h 6689084"/>
              <a:gd name="connsiteX3753" fmla="*/ 461476 w 6689088"/>
              <a:gd name="connsiteY3753" fmla="*/ 537364 h 6689084"/>
              <a:gd name="connsiteX3754" fmla="*/ 462205 w 6689088"/>
              <a:gd name="connsiteY3754" fmla="*/ 536636 h 6689084"/>
              <a:gd name="connsiteX3755" fmla="*/ 1384799 w 6689088"/>
              <a:gd name="connsiteY3755" fmla="*/ 535911 h 6689084"/>
              <a:gd name="connsiteX3756" fmla="*/ 1386251 w 6689088"/>
              <a:gd name="connsiteY3756" fmla="*/ 537364 h 6689084"/>
              <a:gd name="connsiteX3757" fmla="*/ 1384799 w 6689088"/>
              <a:gd name="connsiteY3757" fmla="*/ 538816 h 6689084"/>
              <a:gd name="connsiteX3758" fmla="*/ 1383346 w 6689088"/>
              <a:gd name="connsiteY3758" fmla="*/ 537364 h 6689084"/>
              <a:gd name="connsiteX3759" fmla="*/ 1384799 w 6689088"/>
              <a:gd name="connsiteY3759" fmla="*/ 535911 h 6689084"/>
              <a:gd name="connsiteX3760" fmla="*/ 308257 w 6689088"/>
              <a:gd name="connsiteY3760" fmla="*/ 535545 h 6689084"/>
              <a:gd name="connsiteX3761" fmla="*/ 309710 w 6689088"/>
              <a:gd name="connsiteY3761" fmla="*/ 536998 h 6689084"/>
              <a:gd name="connsiteX3762" fmla="*/ 309634 w 6689088"/>
              <a:gd name="connsiteY3762" fmla="*/ 537073 h 6689084"/>
              <a:gd name="connsiteX3763" fmla="*/ 308175 w 6689088"/>
              <a:gd name="connsiteY3763" fmla="*/ 535627 h 6689084"/>
              <a:gd name="connsiteX3764" fmla="*/ 1538750 w 6689088"/>
              <a:gd name="connsiteY3764" fmla="*/ 535183 h 6689084"/>
              <a:gd name="connsiteX3765" fmla="*/ 1540927 w 6689088"/>
              <a:gd name="connsiteY3765" fmla="*/ 537364 h 6689084"/>
              <a:gd name="connsiteX3766" fmla="*/ 1538750 w 6689088"/>
              <a:gd name="connsiteY3766" fmla="*/ 539540 h 6689084"/>
              <a:gd name="connsiteX3767" fmla="*/ 1536570 w 6689088"/>
              <a:gd name="connsiteY3767" fmla="*/ 537364 h 6689084"/>
              <a:gd name="connsiteX3768" fmla="*/ 1538750 w 6689088"/>
              <a:gd name="connsiteY3768" fmla="*/ 535183 h 6689084"/>
              <a:gd name="connsiteX3769" fmla="*/ 1692328 w 6689088"/>
              <a:gd name="connsiteY3769" fmla="*/ 534093 h 6689084"/>
              <a:gd name="connsiteX3770" fmla="*/ 1695594 w 6689088"/>
              <a:gd name="connsiteY3770" fmla="*/ 537360 h 6689084"/>
              <a:gd name="connsiteX3771" fmla="*/ 1692328 w 6689088"/>
              <a:gd name="connsiteY3771" fmla="*/ 540630 h 6689084"/>
              <a:gd name="connsiteX3772" fmla="*/ 1689061 w 6689088"/>
              <a:gd name="connsiteY3772" fmla="*/ 537360 h 6689084"/>
              <a:gd name="connsiteX3773" fmla="*/ 1692328 w 6689088"/>
              <a:gd name="connsiteY3773" fmla="*/ 534093 h 6689084"/>
              <a:gd name="connsiteX3774" fmla="*/ 1846279 w 6689088"/>
              <a:gd name="connsiteY3774" fmla="*/ 532641 h 6689084"/>
              <a:gd name="connsiteX3775" fmla="*/ 1850636 w 6689088"/>
              <a:gd name="connsiteY3775" fmla="*/ 536998 h 6689084"/>
              <a:gd name="connsiteX3776" fmla="*/ 1846279 w 6689088"/>
              <a:gd name="connsiteY3776" fmla="*/ 541355 h 6689084"/>
              <a:gd name="connsiteX3777" fmla="*/ 1841922 w 6689088"/>
              <a:gd name="connsiteY3777" fmla="*/ 536998 h 6689084"/>
              <a:gd name="connsiteX3778" fmla="*/ 1846279 w 6689088"/>
              <a:gd name="connsiteY3778" fmla="*/ 532641 h 6689084"/>
              <a:gd name="connsiteX3779" fmla="*/ 1999860 w 6689088"/>
              <a:gd name="connsiteY3779" fmla="*/ 531554 h 6689084"/>
              <a:gd name="connsiteX3780" fmla="*/ 2005670 w 6689088"/>
              <a:gd name="connsiteY3780" fmla="*/ 537364 h 6689084"/>
              <a:gd name="connsiteX3781" fmla="*/ 1999860 w 6689088"/>
              <a:gd name="connsiteY3781" fmla="*/ 543173 h 6689084"/>
              <a:gd name="connsiteX3782" fmla="*/ 1994051 w 6689088"/>
              <a:gd name="connsiteY3782" fmla="*/ 537364 h 6689084"/>
              <a:gd name="connsiteX3783" fmla="*/ 1999860 w 6689088"/>
              <a:gd name="connsiteY3783" fmla="*/ 531554 h 6689084"/>
              <a:gd name="connsiteX3784" fmla="*/ 2153808 w 6689088"/>
              <a:gd name="connsiteY3784" fmla="*/ 530102 h 6689084"/>
              <a:gd name="connsiteX3785" fmla="*/ 2161069 w 6689088"/>
              <a:gd name="connsiteY3785" fmla="*/ 537364 h 6689084"/>
              <a:gd name="connsiteX3786" fmla="*/ 2153808 w 6689088"/>
              <a:gd name="connsiteY3786" fmla="*/ 544625 h 6689084"/>
              <a:gd name="connsiteX3787" fmla="*/ 2146546 w 6689088"/>
              <a:gd name="connsiteY3787" fmla="*/ 537364 h 6689084"/>
              <a:gd name="connsiteX3788" fmla="*/ 2153808 w 6689088"/>
              <a:gd name="connsiteY3788" fmla="*/ 530102 h 6689084"/>
              <a:gd name="connsiteX3789" fmla="*/ 2307393 w 6689088"/>
              <a:gd name="connsiteY3789" fmla="*/ 527922 h 6689084"/>
              <a:gd name="connsiteX3790" fmla="*/ 2316473 w 6689088"/>
              <a:gd name="connsiteY3790" fmla="*/ 536998 h 6689084"/>
              <a:gd name="connsiteX3791" fmla="*/ 2307393 w 6689088"/>
              <a:gd name="connsiteY3791" fmla="*/ 546078 h 6689084"/>
              <a:gd name="connsiteX3792" fmla="*/ 2298317 w 6689088"/>
              <a:gd name="connsiteY3792" fmla="*/ 536998 h 6689084"/>
              <a:gd name="connsiteX3793" fmla="*/ 2307393 w 6689088"/>
              <a:gd name="connsiteY3793" fmla="*/ 527922 h 6689084"/>
              <a:gd name="connsiteX3794" fmla="*/ 2461340 w 6689088"/>
              <a:gd name="connsiteY3794" fmla="*/ 527197 h 6689084"/>
              <a:gd name="connsiteX3795" fmla="*/ 2471507 w 6689088"/>
              <a:gd name="connsiteY3795" fmla="*/ 537364 h 6689084"/>
              <a:gd name="connsiteX3796" fmla="*/ 2461340 w 6689088"/>
              <a:gd name="connsiteY3796" fmla="*/ 547530 h 6689084"/>
              <a:gd name="connsiteX3797" fmla="*/ 2451174 w 6689088"/>
              <a:gd name="connsiteY3797" fmla="*/ 537364 h 6689084"/>
              <a:gd name="connsiteX3798" fmla="*/ 2461340 w 6689088"/>
              <a:gd name="connsiteY3798" fmla="*/ 527197 h 6689084"/>
              <a:gd name="connsiteX3799" fmla="*/ 2614925 w 6689088"/>
              <a:gd name="connsiteY3799" fmla="*/ 525379 h 6689084"/>
              <a:gd name="connsiteX3800" fmla="*/ 2626910 w 6689088"/>
              <a:gd name="connsiteY3800" fmla="*/ 537360 h 6689084"/>
              <a:gd name="connsiteX3801" fmla="*/ 2614925 w 6689088"/>
              <a:gd name="connsiteY3801" fmla="*/ 549341 h 6689084"/>
              <a:gd name="connsiteX3802" fmla="*/ 2602945 w 6689088"/>
              <a:gd name="connsiteY3802" fmla="*/ 537360 h 6689084"/>
              <a:gd name="connsiteX3803" fmla="*/ 2614925 w 6689088"/>
              <a:gd name="connsiteY3803" fmla="*/ 525379 h 6689084"/>
              <a:gd name="connsiteX3804" fmla="*/ 2768877 w 6689088"/>
              <a:gd name="connsiteY3804" fmla="*/ 523202 h 6689084"/>
              <a:gd name="connsiteX3805" fmla="*/ 2782672 w 6689088"/>
              <a:gd name="connsiteY3805" fmla="*/ 537002 h 6689084"/>
              <a:gd name="connsiteX3806" fmla="*/ 2768877 w 6689088"/>
              <a:gd name="connsiteY3806" fmla="*/ 550797 h 6689084"/>
              <a:gd name="connsiteX3807" fmla="*/ 2755078 w 6689088"/>
              <a:gd name="connsiteY3807" fmla="*/ 537002 h 6689084"/>
              <a:gd name="connsiteX3808" fmla="*/ 2768877 w 6689088"/>
              <a:gd name="connsiteY3808" fmla="*/ 523202 h 6689084"/>
              <a:gd name="connsiteX3809" fmla="*/ 2922454 w 6689088"/>
              <a:gd name="connsiteY3809" fmla="*/ 522112 h 6689084"/>
              <a:gd name="connsiteX3810" fmla="*/ 2937706 w 6689088"/>
              <a:gd name="connsiteY3810" fmla="*/ 537364 h 6689084"/>
              <a:gd name="connsiteX3811" fmla="*/ 2922454 w 6689088"/>
              <a:gd name="connsiteY3811" fmla="*/ 552611 h 6689084"/>
              <a:gd name="connsiteX3812" fmla="*/ 2907207 w 6689088"/>
              <a:gd name="connsiteY3812" fmla="*/ 537364 h 6689084"/>
              <a:gd name="connsiteX3813" fmla="*/ 2922454 w 6689088"/>
              <a:gd name="connsiteY3813" fmla="*/ 522112 h 6689084"/>
              <a:gd name="connsiteX3814" fmla="*/ 3076406 w 6689088"/>
              <a:gd name="connsiteY3814" fmla="*/ 520298 h 6689084"/>
              <a:gd name="connsiteX3815" fmla="*/ 3093468 w 6689088"/>
              <a:gd name="connsiteY3815" fmla="*/ 537364 h 6689084"/>
              <a:gd name="connsiteX3816" fmla="*/ 3076406 w 6689088"/>
              <a:gd name="connsiteY3816" fmla="*/ 554430 h 6689084"/>
              <a:gd name="connsiteX3817" fmla="*/ 3059340 w 6689088"/>
              <a:gd name="connsiteY3817" fmla="*/ 537364 h 6689084"/>
              <a:gd name="connsiteX3818" fmla="*/ 3076406 w 6689088"/>
              <a:gd name="connsiteY3818" fmla="*/ 520298 h 6689084"/>
              <a:gd name="connsiteX3819" fmla="*/ 3230353 w 6689088"/>
              <a:gd name="connsiteY3819" fmla="*/ 518117 h 6689084"/>
              <a:gd name="connsiteX3820" fmla="*/ 3249599 w 6689088"/>
              <a:gd name="connsiteY3820" fmla="*/ 537360 h 6689084"/>
              <a:gd name="connsiteX3821" fmla="*/ 3230353 w 6689088"/>
              <a:gd name="connsiteY3821" fmla="*/ 556602 h 6689084"/>
              <a:gd name="connsiteX3822" fmla="*/ 3211110 w 6689088"/>
              <a:gd name="connsiteY3822" fmla="*/ 537360 h 6689084"/>
              <a:gd name="connsiteX3823" fmla="*/ 3230353 w 6689088"/>
              <a:gd name="connsiteY3823" fmla="*/ 518117 h 6689084"/>
              <a:gd name="connsiteX3824" fmla="*/ 3383938 w 6689088"/>
              <a:gd name="connsiteY3824" fmla="*/ 515941 h 6689084"/>
              <a:gd name="connsiteX3825" fmla="*/ 3405361 w 6689088"/>
              <a:gd name="connsiteY3825" fmla="*/ 537364 h 6689084"/>
              <a:gd name="connsiteX3826" fmla="*/ 3383938 w 6689088"/>
              <a:gd name="connsiteY3826" fmla="*/ 558787 h 6689084"/>
              <a:gd name="connsiteX3827" fmla="*/ 3362515 w 6689088"/>
              <a:gd name="connsiteY3827" fmla="*/ 537364 h 6689084"/>
              <a:gd name="connsiteX3828" fmla="*/ 3383938 w 6689088"/>
              <a:gd name="connsiteY3828" fmla="*/ 515941 h 6689084"/>
              <a:gd name="connsiteX3829" fmla="*/ 3537886 w 6689088"/>
              <a:gd name="connsiteY3829" fmla="*/ 514489 h 6689084"/>
              <a:gd name="connsiteX3830" fmla="*/ 3560761 w 6689088"/>
              <a:gd name="connsiteY3830" fmla="*/ 537364 h 6689084"/>
              <a:gd name="connsiteX3831" fmla="*/ 3537886 w 6689088"/>
              <a:gd name="connsiteY3831" fmla="*/ 560239 h 6689084"/>
              <a:gd name="connsiteX3832" fmla="*/ 3515010 w 6689088"/>
              <a:gd name="connsiteY3832" fmla="*/ 537364 h 6689084"/>
              <a:gd name="connsiteX3833" fmla="*/ 3537886 w 6689088"/>
              <a:gd name="connsiteY3833" fmla="*/ 514489 h 6689084"/>
              <a:gd name="connsiteX3834" fmla="*/ 3691467 w 6689088"/>
              <a:gd name="connsiteY3834" fmla="*/ 512308 h 6689084"/>
              <a:gd name="connsiteX3835" fmla="*/ 3716519 w 6689088"/>
              <a:gd name="connsiteY3835" fmla="*/ 537360 h 6689084"/>
              <a:gd name="connsiteX3836" fmla="*/ 3691467 w 6689088"/>
              <a:gd name="connsiteY3836" fmla="*/ 562412 h 6689084"/>
              <a:gd name="connsiteX3837" fmla="*/ 3666415 w 6689088"/>
              <a:gd name="connsiteY3837" fmla="*/ 537360 h 6689084"/>
              <a:gd name="connsiteX3838" fmla="*/ 3691467 w 6689088"/>
              <a:gd name="connsiteY3838" fmla="*/ 512308 h 6689084"/>
              <a:gd name="connsiteX3839" fmla="*/ 3845418 w 6689088"/>
              <a:gd name="connsiteY3839" fmla="*/ 510131 h 6689084"/>
              <a:gd name="connsiteX3840" fmla="*/ 3872650 w 6689088"/>
              <a:gd name="connsiteY3840" fmla="*/ 537364 h 6689084"/>
              <a:gd name="connsiteX3841" fmla="*/ 3845418 w 6689088"/>
              <a:gd name="connsiteY3841" fmla="*/ 564596 h 6689084"/>
              <a:gd name="connsiteX3842" fmla="*/ 3818186 w 6689088"/>
              <a:gd name="connsiteY3842" fmla="*/ 537364 h 6689084"/>
              <a:gd name="connsiteX3843" fmla="*/ 3845418 w 6689088"/>
              <a:gd name="connsiteY3843" fmla="*/ 510131 h 6689084"/>
              <a:gd name="connsiteX3844" fmla="*/ 3999000 w 6689088"/>
              <a:gd name="connsiteY3844" fmla="*/ 507589 h 6689084"/>
              <a:gd name="connsiteX3845" fmla="*/ 4028774 w 6689088"/>
              <a:gd name="connsiteY3845" fmla="*/ 537364 h 6689084"/>
              <a:gd name="connsiteX3846" fmla="*/ 3999000 w 6689088"/>
              <a:gd name="connsiteY3846" fmla="*/ 567135 h 6689084"/>
              <a:gd name="connsiteX3847" fmla="*/ 3969229 w 6689088"/>
              <a:gd name="connsiteY3847" fmla="*/ 537364 h 6689084"/>
              <a:gd name="connsiteX3848" fmla="*/ 3999000 w 6689088"/>
              <a:gd name="connsiteY3848" fmla="*/ 507589 h 6689084"/>
              <a:gd name="connsiteX3849" fmla="*/ 4152947 w 6689088"/>
              <a:gd name="connsiteY3849" fmla="*/ 505412 h 6689084"/>
              <a:gd name="connsiteX3850" fmla="*/ 4184898 w 6689088"/>
              <a:gd name="connsiteY3850" fmla="*/ 537364 h 6689084"/>
              <a:gd name="connsiteX3851" fmla="*/ 4152947 w 6689088"/>
              <a:gd name="connsiteY3851" fmla="*/ 569315 h 6689084"/>
              <a:gd name="connsiteX3852" fmla="*/ 4120996 w 6689088"/>
              <a:gd name="connsiteY3852" fmla="*/ 537364 h 6689084"/>
              <a:gd name="connsiteX3853" fmla="*/ 4152947 w 6689088"/>
              <a:gd name="connsiteY3853" fmla="*/ 505412 h 6689084"/>
              <a:gd name="connsiteX3854" fmla="*/ 4306532 w 6689088"/>
              <a:gd name="connsiteY3854" fmla="*/ 503594 h 6689084"/>
              <a:gd name="connsiteX3855" fmla="*/ 4340302 w 6689088"/>
              <a:gd name="connsiteY3855" fmla="*/ 537360 h 6689084"/>
              <a:gd name="connsiteX3856" fmla="*/ 4306532 w 6689088"/>
              <a:gd name="connsiteY3856" fmla="*/ 571130 h 6689084"/>
              <a:gd name="connsiteX3857" fmla="*/ 4272766 w 6689088"/>
              <a:gd name="connsiteY3857" fmla="*/ 537360 h 6689084"/>
              <a:gd name="connsiteX3858" fmla="*/ 4306532 w 6689088"/>
              <a:gd name="connsiteY3858" fmla="*/ 503594 h 6689084"/>
              <a:gd name="connsiteX3859" fmla="*/ 4460480 w 6689088"/>
              <a:gd name="connsiteY3859" fmla="*/ 500689 h 6689084"/>
              <a:gd name="connsiteX3860" fmla="*/ 4496788 w 6689088"/>
              <a:gd name="connsiteY3860" fmla="*/ 536998 h 6689084"/>
              <a:gd name="connsiteX3861" fmla="*/ 4460480 w 6689088"/>
              <a:gd name="connsiteY3861" fmla="*/ 573306 h 6689084"/>
              <a:gd name="connsiteX3862" fmla="*/ 4424172 w 6689088"/>
              <a:gd name="connsiteY3862" fmla="*/ 536998 h 6689084"/>
              <a:gd name="connsiteX3863" fmla="*/ 4460480 w 6689088"/>
              <a:gd name="connsiteY3863" fmla="*/ 500689 h 6689084"/>
              <a:gd name="connsiteX3864" fmla="*/ 4614065 w 6689088"/>
              <a:gd name="connsiteY3864" fmla="*/ 498513 h 6689084"/>
              <a:gd name="connsiteX3865" fmla="*/ 4652912 w 6689088"/>
              <a:gd name="connsiteY3865" fmla="*/ 537364 h 6689084"/>
              <a:gd name="connsiteX3866" fmla="*/ 4614065 w 6689088"/>
              <a:gd name="connsiteY3866" fmla="*/ 576215 h 6689084"/>
              <a:gd name="connsiteX3867" fmla="*/ 4575214 w 6689088"/>
              <a:gd name="connsiteY3867" fmla="*/ 537364 h 6689084"/>
              <a:gd name="connsiteX3868" fmla="*/ 4614065 w 6689088"/>
              <a:gd name="connsiteY3868" fmla="*/ 498513 h 6689084"/>
              <a:gd name="connsiteX3869" fmla="*/ 4768008 w 6689088"/>
              <a:gd name="connsiteY3869" fmla="*/ 495970 h 6689084"/>
              <a:gd name="connsiteX3870" fmla="*/ 4809036 w 6689088"/>
              <a:gd name="connsiteY3870" fmla="*/ 536998 h 6689084"/>
              <a:gd name="connsiteX3871" fmla="*/ 4768008 w 6689088"/>
              <a:gd name="connsiteY3871" fmla="*/ 578029 h 6689084"/>
              <a:gd name="connsiteX3872" fmla="*/ 4726981 w 6689088"/>
              <a:gd name="connsiteY3872" fmla="*/ 536998 h 6689084"/>
              <a:gd name="connsiteX3873" fmla="*/ 4768008 w 6689088"/>
              <a:gd name="connsiteY3873" fmla="*/ 495970 h 6689084"/>
              <a:gd name="connsiteX3874" fmla="*/ 4921594 w 6689088"/>
              <a:gd name="connsiteY3874" fmla="*/ 493428 h 6689084"/>
              <a:gd name="connsiteX3875" fmla="*/ 4965164 w 6689088"/>
              <a:gd name="connsiteY3875" fmla="*/ 536998 h 6689084"/>
              <a:gd name="connsiteX3876" fmla="*/ 4921594 w 6689088"/>
              <a:gd name="connsiteY3876" fmla="*/ 580568 h 6689084"/>
              <a:gd name="connsiteX3877" fmla="*/ 4878024 w 6689088"/>
              <a:gd name="connsiteY3877" fmla="*/ 536998 h 6689084"/>
              <a:gd name="connsiteX3878" fmla="*/ 4921594 w 6689088"/>
              <a:gd name="connsiteY3878" fmla="*/ 493428 h 6689084"/>
              <a:gd name="connsiteX3879" fmla="*/ 5075541 w 6689088"/>
              <a:gd name="connsiteY3879" fmla="*/ 490889 h 6689084"/>
              <a:gd name="connsiteX3880" fmla="*/ 5121654 w 6689088"/>
              <a:gd name="connsiteY3880" fmla="*/ 537002 h 6689084"/>
              <a:gd name="connsiteX3881" fmla="*/ 5075541 w 6689088"/>
              <a:gd name="connsiteY3881" fmla="*/ 583110 h 6689084"/>
              <a:gd name="connsiteX3882" fmla="*/ 5029428 w 6689088"/>
              <a:gd name="connsiteY3882" fmla="*/ 537002 h 6689084"/>
              <a:gd name="connsiteX3883" fmla="*/ 5075541 w 6689088"/>
              <a:gd name="connsiteY3883" fmla="*/ 490889 h 6689084"/>
              <a:gd name="connsiteX3884" fmla="*/ 5229122 w 6689088"/>
              <a:gd name="connsiteY3884" fmla="*/ 488709 h 6689084"/>
              <a:gd name="connsiteX3885" fmla="*/ 5277778 w 6689088"/>
              <a:gd name="connsiteY3885" fmla="*/ 537364 h 6689084"/>
              <a:gd name="connsiteX3886" fmla="*/ 5229122 w 6689088"/>
              <a:gd name="connsiteY3886" fmla="*/ 586015 h 6689084"/>
              <a:gd name="connsiteX3887" fmla="*/ 5180472 w 6689088"/>
              <a:gd name="connsiteY3887" fmla="*/ 537364 h 6689084"/>
              <a:gd name="connsiteX3888" fmla="*/ 5229122 w 6689088"/>
              <a:gd name="connsiteY3888" fmla="*/ 488709 h 6689084"/>
              <a:gd name="connsiteX3889" fmla="*/ 5383074 w 6689088"/>
              <a:gd name="connsiteY3889" fmla="*/ 486166 h 6689084"/>
              <a:gd name="connsiteX3890" fmla="*/ 5434268 w 6689088"/>
              <a:gd name="connsiteY3890" fmla="*/ 537360 h 6689084"/>
              <a:gd name="connsiteX3891" fmla="*/ 5383074 w 6689088"/>
              <a:gd name="connsiteY3891" fmla="*/ 588554 h 6689084"/>
              <a:gd name="connsiteX3892" fmla="*/ 5331880 w 6689088"/>
              <a:gd name="connsiteY3892" fmla="*/ 537360 h 6689084"/>
              <a:gd name="connsiteX3893" fmla="*/ 5383074 w 6689088"/>
              <a:gd name="connsiteY3893" fmla="*/ 486166 h 6689084"/>
              <a:gd name="connsiteX3894" fmla="*/ 5536659 w 6689088"/>
              <a:gd name="connsiteY3894" fmla="*/ 483624 h 6689084"/>
              <a:gd name="connsiteX3895" fmla="*/ 5590034 w 6689088"/>
              <a:gd name="connsiteY3895" fmla="*/ 536998 h 6689084"/>
              <a:gd name="connsiteX3896" fmla="*/ 5536659 w 6689088"/>
              <a:gd name="connsiteY3896" fmla="*/ 590372 h 6689084"/>
              <a:gd name="connsiteX3897" fmla="*/ 5483285 w 6689088"/>
              <a:gd name="connsiteY3897" fmla="*/ 536998 h 6689084"/>
              <a:gd name="connsiteX3898" fmla="*/ 5536659 w 6689088"/>
              <a:gd name="connsiteY3898" fmla="*/ 483624 h 6689084"/>
              <a:gd name="connsiteX3899" fmla="*/ 5690606 w 6689088"/>
              <a:gd name="connsiteY3899" fmla="*/ 481085 h 6689084"/>
              <a:gd name="connsiteX3900" fmla="*/ 5746882 w 6689088"/>
              <a:gd name="connsiteY3900" fmla="*/ 537364 h 6689084"/>
              <a:gd name="connsiteX3901" fmla="*/ 5690606 w 6689088"/>
              <a:gd name="connsiteY3901" fmla="*/ 593643 h 6689084"/>
              <a:gd name="connsiteX3902" fmla="*/ 5634328 w 6689088"/>
              <a:gd name="connsiteY3902" fmla="*/ 537364 h 6689084"/>
              <a:gd name="connsiteX3903" fmla="*/ 5690606 w 6689088"/>
              <a:gd name="connsiteY3903" fmla="*/ 481085 h 6689084"/>
              <a:gd name="connsiteX3904" fmla="*/ 5844554 w 6689088"/>
              <a:gd name="connsiteY3904" fmla="*/ 478542 h 6689084"/>
              <a:gd name="connsiteX3905" fmla="*/ 5903372 w 6689088"/>
              <a:gd name="connsiteY3905" fmla="*/ 537364 h 6689084"/>
              <a:gd name="connsiteX3906" fmla="*/ 5844554 w 6689088"/>
              <a:gd name="connsiteY3906" fmla="*/ 596181 h 6689084"/>
              <a:gd name="connsiteX3907" fmla="*/ 5785732 w 6689088"/>
              <a:gd name="connsiteY3907" fmla="*/ 537364 h 6689084"/>
              <a:gd name="connsiteX3908" fmla="*/ 5844554 w 6689088"/>
              <a:gd name="connsiteY3908" fmla="*/ 478542 h 6689084"/>
              <a:gd name="connsiteX3909" fmla="*/ 5998136 w 6689088"/>
              <a:gd name="connsiteY3909" fmla="*/ 475638 h 6689084"/>
              <a:gd name="connsiteX3910" fmla="*/ 6059862 w 6689088"/>
              <a:gd name="connsiteY3910" fmla="*/ 537364 h 6689084"/>
              <a:gd name="connsiteX3911" fmla="*/ 5998136 w 6689088"/>
              <a:gd name="connsiteY3911" fmla="*/ 599086 h 6689084"/>
              <a:gd name="connsiteX3912" fmla="*/ 5936413 w 6689088"/>
              <a:gd name="connsiteY3912" fmla="*/ 537364 h 6689084"/>
              <a:gd name="connsiteX3913" fmla="*/ 5998136 w 6689088"/>
              <a:gd name="connsiteY3913" fmla="*/ 475638 h 6689084"/>
              <a:gd name="connsiteX3914" fmla="*/ 6152083 w 6689088"/>
              <a:gd name="connsiteY3914" fmla="*/ 473095 h 6689084"/>
              <a:gd name="connsiteX3915" fmla="*/ 6216348 w 6689088"/>
              <a:gd name="connsiteY3915" fmla="*/ 537360 h 6689084"/>
              <a:gd name="connsiteX3916" fmla="*/ 6152083 w 6689088"/>
              <a:gd name="connsiteY3916" fmla="*/ 601625 h 6689084"/>
              <a:gd name="connsiteX3917" fmla="*/ 6087818 w 6689088"/>
              <a:gd name="connsiteY3917" fmla="*/ 537360 h 6689084"/>
              <a:gd name="connsiteX3918" fmla="*/ 6152083 w 6689088"/>
              <a:gd name="connsiteY3918" fmla="*/ 473095 h 6689084"/>
              <a:gd name="connsiteX3919" fmla="*/ 6305672 w 6689088"/>
              <a:gd name="connsiteY3919" fmla="*/ 469828 h 6689084"/>
              <a:gd name="connsiteX3920" fmla="*/ 6373204 w 6689088"/>
              <a:gd name="connsiteY3920" fmla="*/ 537364 h 6689084"/>
              <a:gd name="connsiteX3921" fmla="*/ 6305672 w 6689088"/>
              <a:gd name="connsiteY3921" fmla="*/ 604895 h 6689084"/>
              <a:gd name="connsiteX3922" fmla="*/ 6238136 w 6689088"/>
              <a:gd name="connsiteY3922" fmla="*/ 537364 h 6689084"/>
              <a:gd name="connsiteX3923" fmla="*/ 6305672 w 6689088"/>
              <a:gd name="connsiteY3923" fmla="*/ 469828 h 6689084"/>
              <a:gd name="connsiteX3924" fmla="*/ 6459616 w 6689088"/>
              <a:gd name="connsiteY3924" fmla="*/ 467286 h 6689084"/>
              <a:gd name="connsiteX3925" fmla="*/ 6529694 w 6689088"/>
              <a:gd name="connsiteY3925" fmla="*/ 537360 h 6689084"/>
              <a:gd name="connsiteX3926" fmla="*/ 6459616 w 6689088"/>
              <a:gd name="connsiteY3926" fmla="*/ 607434 h 6689084"/>
              <a:gd name="connsiteX3927" fmla="*/ 6389542 w 6689088"/>
              <a:gd name="connsiteY3927" fmla="*/ 537360 h 6689084"/>
              <a:gd name="connsiteX3928" fmla="*/ 6459616 w 6689088"/>
              <a:gd name="connsiteY3928" fmla="*/ 467286 h 6689084"/>
              <a:gd name="connsiteX3929" fmla="*/ 6613200 w 6689088"/>
              <a:gd name="connsiteY3929" fmla="*/ 464381 h 6689084"/>
              <a:gd name="connsiteX3930" fmla="*/ 6686180 w 6689088"/>
              <a:gd name="connsiteY3930" fmla="*/ 537360 h 6689084"/>
              <a:gd name="connsiteX3931" fmla="*/ 6613200 w 6689088"/>
              <a:gd name="connsiteY3931" fmla="*/ 610339 h 6689084"/>
              <a:gd name="connsiteX3932" fmla="*/ 6540222 w 6689088"/>
              <a:gd name="connsiteY3932" fmla="*/ 537360 h 6689084"/>
              <a:gd name="connsiteX3933" fmla="*/ 6613200 w 6689088"/>
              <a:gd name="connsiteY3933" fmla="*/ 464381 h 6689084"/>
              <a:gd name="connsiteX3934" fmla="*/ 1077266 w 6689088"/>
              <a:gd name="connsiteY3934" fmla="*/ 383050 h 6689084"/>
              <a:gd name="connsiteX3935" fmla="*/ 1077628 w 6689088"/>
              <a:gd name="connsiteY3935" fmla="*/ 383412 h 6689084"/>
              <a:gd name="connsiteX3936" fmla="*/ 1077266 w 6689088"/>
              <a:gd name="connsiteY3936" fmla="*/ 383778 h 6689084"/>
              <a:gd name="connsiteX3937" fmla="*/ 1076904 w 6689088"/>
              <a:gd name="connsiteY3937" fmla="*/ 383412 h 6689084"/>
              <a:gd name="connsiteX3938" fmla="*/ 1077266 w 6689088"/>
              <a:gd name="connsiteY3938" fmla="*/ 383050 h 6689084"/>
              <a:gd name="connsiteX3939" fmla="*/ 616148 w 6689088"/>
              <a:gd name="connsiteY3939" fmla="*/ 383050 h 6689084"/>
              <a:gd name="connsiteX3940" fmla="*/ 616514 w 6689088"/>
              <a:gd name="connsiteY3940" fmla="*/ 383412 h 6689084"/>
              <a:gd name="connsiteX3941" fmla="*/ 616148 w 6689088"/>
              <a:gd name="connsiteY3941" fmla="*/ 383775 h 6689084"/>
              <a:gd name="connsiteX3942" fmla="*/ 615786 w 6689088"/>
              <a:gd name="connsiteY3942" fmla="*/ 383412 h 6689084"/>
              <a:gd name="connsiteX3943" fmla="*/ 616148 w 6689088"/>
              <a:gd name="connsiteY3943" fmla="*/ 383050 h 6689084"/>
              <a:gd name="connsiteX3944" fmla="*/ 462205 w 6689088"/>
              <a:gd name="connsiteY3944" fmla="*/ 383050 h 6689084"/>
              <a:gd name="connsiteX3945" fmla="*/ 462567 w 6689088"/>
              <a:gd name="connsiteY3945" fmla="*/ 383412 h 6689084"/>
              <a:gd name="connsiteX3946" fmla="*/ 462205 w 6689088"/>
              <a:gd name="connsiteY3946" fmla="*/ 383775 h 6689084"/>
              <a:gd name="connsiteX3947" fmla="*/ 461842 w 6689088"/>
              <a:gd name="connsiteY3947" fmla="*/ 383412 h 6689084"/>
              <a:gd name="connsiteX3948" fmla="*/ 462205 w 6689088"/>
              <a:gd name="connsiteY3948" fmla="*/ 383050 h 6689084"/>
              <a:gd name="connsiteX3949" fmla="*/ 308623 w 6689088"/>
              <a:gd name="connsiteY3949" fmla="*/ 382688 h 6689084"/>
              <a:gd name="connsiteX3950" fmla="*/ 309347 w 6689088"/>
              <a:gd name="connsiteY3950" fmla="*/ 383416 h 6689084"/>
              <a:gd name="connsiteX3951" fmla="*/ 308623 w 6689088"/>
              <a:gd name="connsiteY3951" fmla="*/ 384141 h 6689084"/>
              <a:gd name="connsiteX3952" fmla="*/ 307895 w 6689088"/>
              <a:gd name="connsiteY3952" fmla="*/ 383416 h 6689084"/>
              <a:gd name="connsiteX3953" fmla="*/ 308623 w 6689088"/>
              <a:gd name="connsiteY3953" fmla="*/ 382688 h 6689084"/>
              <a:gd name="connsiteX3954" fmla="*/ 1231213 w 6689088"/>
              <a:gd name="connsiteY3954" fmla="*/ 381964 h 6689084"/>
              <a:gd name="connsiteX3955" fmla="*/ 1232666 w 6689088"/>
              <a:gd name="connsiteY3955" fmla="*/ 383416 h 6689084"/>
              <a:gd name="connsiteX3956" fmla="*/ 1231213 w 6689088"/>
              <a:gd name="connsiteY3956" fmla="*/ 384869 h 6689084"/>
              <a:gd name="connsiteX3957" fmla="*/ 1229761 w 6689088"/>
              <a:gd name="connsiteY3957" fmla="*/ 383416 h 6689084"/>
              <a:gd name="connsiteX3958" fmla="*/ 1231213 w 6689088"/>
              <a:gd name="connsiteY3958" fmla="*/ 381964 h 6689084"/>
              <a:gd name="connsiteX3959" fmla="*/ 154672 w 6689088"/>
              <a:gd name="connsiteY3959" fmla="*/ 381964 h 6689084"/>
              <a:gd name="connsiteX3960" fmla="*/ 156124 w 6689088"/>
              <a:gd name="connsiteY3960" fmla="*/ 383416 h 6689084"/>
              <a:gd name="connsiteX3961" fmla="*/ 155343 w 6689088"/>
              <a:gd name="connsiteY3961" fmla="*/ 384197 h 6689084"/>
              <a:gd name="connsiteX3962" fmla="*/ 153884 w 6689088"/>
              <a:gd name="connsiteY3962" fmla="*/ 382752 h 6689084"/>
              <a:gd name="connsiteX3963" fmla="*/ 1384799 w 6689088"/>
              <a:gd name="connsiteY3963" fmla="*/ 381236 h 6689084"/>
              <a:gd name="connsiteX3964" fmla="*/ 1386979 w 6689088"/>
              <a:gd name="connsiteY3964" fmla="*/ 383416 h 6689084"/>
              <a:gd name="connsiteX3965" fmla="*/ 1384799 w 6689088"/>
              <a:gd name="connsiteY3965" fmla="*/ 385593 h 6689084"/>
              <a:gd name="connsiteX3966" fmla="*/ 1382622 w 6689088"/>
              <a:gd name="connsiteY3966" fmla="*/ 383416 h 6689084"/>
              <a:gd name="connsiteX3967" fmla="*/ 1384799 w 6689088"/>
              <a:gd name="connsiteY3967" fmla="*/ 381236 h 6689084"/>
              <a:gd name="connsiteX3968" fmla="*/ 1538746 w 6689088"/>
              <a:gd name="connsiteY3968" fmla="*/ 380508 h 6689084"/>
              <a:gd name="connsiteX3969" fmla="*/ 1542013 w 6689088"/>
              <a:gd name="connsiteY3969" fmla="*/ 383775 h 6689084"/>
              <a:gd name="connsiteX3970" fmla="*/ 1538746 w 6689088"/>
              <a:gd name="connsiteY3970" fmla="*/ 387045 h 6689084"/>
              <a:gd name="connsiteX3971" fmla="*/ 1535479 w 6689088"/>
              <a:gd name="connsiteY3971" fmla="*/ 383775 h 6689084"/>
              <a:gd name="connsiteX3972" fmla="*/ 1538746 w 6689088"/>
              <a:gd name="connsiteY3972" fmla="*/ 380508 h 6689084"/>
              <a:gd name="connsiteX3973" fmla="*/ 1692331 w 6689088"/>
              <a:gd name="connsiteY3973" fmla="*/ 379055 h 6689084"/>
              <a:gd name="connsiteX3974" fmla="*/ 1696688 w 6689088"/>
              <a:gd name="connsiteY3974" fmla="*/ 383412 h 6689084"/>
              <a:gd name="connsiteX3975" fmla="*/ 1692331 w 6689088"/>
              <a:gd name="connsiteY3975" fmla="*/ 387770 h 6689084"/>
              <a:gd name="connsiteX3976" fmla="*/ 1687974 w 6689088"/>
              <a:gd name="connsiteY3976" fmla="*/ 383412 h 6689084"/>
              <a:gd name="connsiteX3977" fmla="*/ 1692331 w 6689088"/>
              <a:gd name="connsiteY3977" fmla="*/ 379055 h 6689084"/>
              <a:gd name="connsiteX3978" fmla="*/ 1846279 w 6689088"/>
              <a:gd name="connsiteY3978" fmla="*/ 377607 h 6689084"/>
              <a:gd name="connsiteX3979" fmla="*/ 1852088 w 6689088"/>
              <a:gd name="connsiteY3979" fmla="*/ 383416 h 6689084"/>
              <a:gd name="connsiteX3980" fmla="*/ 1846279 w 6689088"/>
              <a:gd name="connsiteY3980" fmla="*/ 389226 h 6689084"/>
              <a:gd name="connsiteX3981" fmla="*/ 1840469 w 6689088"/>
              <a:gd name="connsiteY3981" fmla="*/ 383416 h 6689084"/>
              <a:gd name="connsiteX3982" fmla="*/ 1846279 w 6689088"/>
              <a:gd name="connsiteY3982" fmla="*/ 377607 h 6689084"/>
              <a:gd name="connsiteX3983" fmla="*/ 1999864 w 6689088"/>
              <a:gd name="connsiteY3983" fmla="*/ 376151 h 6689084"/>
              <a:gd name="connsiteX3984" fmla="*/ 2007126 w 6689088"/>
              <a:gd name="connsiteY3984" fmla="*/ 383412 h 6689084"/>
              <a:gd name="connsiteX3985" fmla="*/ 1999864 w 6689088"/>
              <a:gd name="connsiteY3985" fmla="*/ 390674 h 6689084"/>
              <a:gd name="connsiteX3986" fmla="*/ 1992602 w 6689088"/>
              <a:gd name="connsiteY3986" fmla="*/ 383412 h 6689084"/>
              <a:gd name="connsiteX3987" fmla="*/ 1999864 w 6689088"/>
              <a:gd name="connsiteY3987" fmla="*/ 376151 h 6689084"/>
              <a:gd name="connsiteX3988" fmla="*/ 2153808 w 6689088"/>
              <a:gd name="connsiteY3988" fmla="*/ 374336 h 6689084"/>
              <a:gd name="connsiteX3989" fmla="*/ 2162888 w 6689088"/>
              <a:gd name="connsiteY3989" fmla="*/ 383412 h 6689084"/>
              <a:gd name="connsiteX3990" fmla="*/ 2153808 w 6689088"/>
              <a:gd name="connsiteY3990" fmla="*/ 392492 h 6689084"/>
              <a:gd name="connsiteX3991" fmla="*/ 2144731 w 6689088"/>
              <a:gd name="connsiteY3991" fmla="*/ 383412 h 6689084"/>
              <a:gd name="connsiteX3992" fmla="*/ 2153808 w 6689088"/>
              <a:gd name="connsiteY3992" fmla="*/ 374336 h 6689084"/>
              <a:gd name="connsiteX3993" fmla="*/ 2307393 w 6689088"/>
              <a:gd name="connsiteY3993" fmla="*/ 373246 h 6689084"/>
              <a:gd name="connsiteX3994" fmla="*/ 2317559 w 6689088"/>
              <a:gd name="connsiteY3994" fmla="*/ 383412 h 6689084"/>
              <a:gd name="connsiteX3995" fmla="*/ 2307393 w 6689088"/>
              <a:gd name="connsiteY3995" fmla="*/ 393579 h 6689084"/>
              <a:gd name="connsiteX3996" fmla="*/ 2297226 w 6689088"/>
              <a:gd name="connsiteY3996" fmla="*/ 383412 h 6689084"/>
              <a:gd name="connsiteX3997" fmla="*/ 2307393 w 6689088"/>
              <a:gd name="connsiteY3997" fmla="*/ 373246 h 6689084"/>
              <a:gd name="connsiteX3998" fmla="*/ 2461340 w 6689088"/>
              <a:gd name="connsiteY3998" fmla="*/ 371432 h 6689084"/>
              <a:gd name="connsiteX3999" fmla="*/ 2473325 w 6689088"/>
              <a:gd name="connsiteY3999" fmla="*/ 383412 h 6689084"/>
              <a:gd name="connsiteX4000" fmla="*/ 2461340 w 6689088"/>
              <a:gd name="connsiteY4000" fmla="*/ 395397 h 6689084"/>
              <a:gd name="connsiteX4001" fmla="*/ 2449359 w 6689088"/>
              <a:gd name="connsiteY4001" fmla="*/ 383412 h 6689084"/>
              <a:gd name="connsiteX4002" fmla="*/ 2461340 w 6689088"/>
              <a:gd name="connsiteY4002" fmla="*/ 371432 h 6689084"/>
              <a:gd name="connsiteX4003" fmla="*/ 2614925 w 6689088"/>
              <a:gd name="connsiteY4003" fmla="*/ 369617 h 6689084"/>
              <a:gd name="connsiteX4004" fmla="*/ 2628721 w 6689088"/>
              <a:gd name="connsiteY4004" fmla="*/ 383416 h 6689084"/>
              <a:gd name="connsiteX4005" fmla="*/ 2614925 w 6689088"/>
              <a:gd name="connsiteY4005" fmla="*/ 397212 h 6689084"/>
              <a:gd name="connsiteX4006" fmla="*/ 2601126 w 6689088"/>
              <a:gd name="connsiteY4006" fmla="*/ 383416 h 6689084"/>
              <a:gd name="connsiteX4007" fmla="*/ 2614925 w 6689088"/>
              <a:gd name="connsiteY4007" fmla="*/ 369617 h 6689084"/>
              <a:gd name="connsiteX4008" fmla="*/ 2768873 w 6689088"/>
              <a:gd name="connsiteY4008" fmla="*/ 368165 h 6689084"/>
              <a:gd name="connsiteX4009" fmla="*/ 2784124 w 6689088"/>
              <a:gd name="connsiteY4009" fmla="*/ 383416 h 6689084"/>
              <a:gd name="connsiteX4010" fmla="*/ 2768873 w 6689088"/>
              <a:gd name="connsiteY4010" fmla="*/ 398664 h 6689084"/>
              <a:gd name="connsiteX4011" fmla="*/ 2753625 w 6689088"/>
              <a:gd name="connsiteY4011" fmla="*/ 383416 h 6689084"/>
              <a:gd name="connsiteX4012" fmla="*/ 2768873 w 6689088"/>
              <a:gd name="connsiteY4012" fmla="*/ 368165 h 6689084"/>
              <a:gd name="connsiteX4013" fmla="*/ 2922458 w 6689088"/>
              <a:gd name="connsiteY4013" fmla="*/ 366350 h 6689084"/>
              <a:gd name="connsiteX4014" fmla="*/ 2939524 w 6689088"/>
              <a:gd name="connsiteY4014" fmla="*/ 383416 h 6689084"/>
              <a:gd name="connsiteX4015" fmla="*/ 2922458 w 6689088"/>
              <a:gd name="connsiteY4015" fmla="*/ 400478 h 6689084"/>
              <a:gd name="connsiteX4016" fmla="*/ 2905392 w 6689088"/>
              <a:gd name="connsiteY4016" fmla="*/ 383416 h 6689084"/>
              <a:gd name="connsiteX4017" fmla="*/ 2922458 w 6689088"/>
              <a:gd name="connsiteY4017" fmla="*/ 366350 h 6689084"/>
              <a:gd name="connsiteX4018" fmla="*/ 3076406 w 6689088"/>
              <a:gd name="connsiteY4018" fmla="*/ 364170 h 6689084"/>
              <a:gd name="connsiteX4019" fmla="*/ 3095652 w 6689088"/>
              <a:gd name="connsiteY4019" fmla="*/ 383412 h 6689084"/>
              <a:gd name="connsiteX4020" fmla="*/ 3076406 w 6689088"/>
              <a:gd name="connsiteY4020" fmla="*/ 402659 h 6689084"/>
              <a:gd name="connsiteX4021" fmla="*/ 3057163 w 6689088"/>
              <a:gd name="connsiteY4021" fmla="*/ 383412 h 6689084"/>
              <a:gd name="connsiteX4022" fmla="*/ 3076406 w 6689088"/>
              <a:gd name="connsiteY4022" fmla="*/ 364170 h 6689084"/>
              <a:gd name="connsiteX4023" fmla="*/ 3230353 w 6689088"/>
              <a:gd name="connsiteY4023" fmla="*/ 361993 h 6689084"/>
              <a:gd name="connsiteX4024" fmla="*/ 3251776 w 6689088"/>
              <a:gd name="connsiteY4024" fmla="*/ 383416 h 6689084"/>
              <a:gd name="connsiteX4025" fmla="*/ 3230353 w 6689088"/>
              <a:gd name="connsiteY4025" fmla="*/ 404839 h 6689084"/>
              <a:gd name="connsiteX4026" fmla="*/ 3208930 w 6689088"/>
              <a:gd name="connsiteY4026" fmla="*/ 383416 h 6689084"/>
              <a:gd name="connsiteX4027" fmla="*/ 3230353 w 6689088"/>
              <a:gd name="connsiteY4027" fmla="*/ 361993 h 6689084"/>
              <a:gd name="connsiteX4028" fmla="*/ 3383938 w 6689088"/>
              <a:gd name="connsiteY4028" fmla="*/ 360541 h 6689084"/>
              <a:gd name="connsiteX4029" fmla="*/ 3406810 w 6689088"/>
              <a:gd name="connsiteY4029" fmla="*/ 383416 h 6689084"/>
              <a:gd name="connsiteX4030" fmla="*/ 3383938 w 6689088"/>
              <a:gd name="connsiteY4030" fmla="*/ 406292 h 6689084"/>
              <a:gd name="connsiteX4031" fmla="*/ 3361063 w 6689088"/>
              <a:gd name="connsiteY4031" fmla="*/ 383416 h 6689084"/>
              <a:gd name="connsiteX4032" fmla="*/ 3383938 w 6689088"/>
              <a:gd name="connsiteY4032" fmla="*/ 360541 h 6689084"/>
              <a:gd name="connsiteX4033" fmla="*/ 3537882 w 6689088"/>
              <a:gd name="connsiteY4033" fmla="*/ 358361 h 6689084"/>
              <a:gd name="connsiteX4034" fmla="*/ 3562937 w 6689088"/>
              <a:gd name="connsiteY4034" fmla="*/ 383412 h 6689084"/>
              <a:gd name="connsiteX4035" fmla="*/ 3537882 w 6689088"/>
              <a:gd name="connsiteY4035" fmla="*/ 408468 h 6689084"/>
              <a:gd name="connsiteX4036" fmla="*/ 3512830 w 6689088"/>
              <a:gd name="connsiteY4036" fmla="*/ 383412 h 6689084"/>
              <a:gd name="connsiteX4037" fmla="*/ 3537882 w 6689088"/>
              <a:gd name="connsiteY4037" fmla="*/ 358361 h 6689084"/>
              <a:gd name="connsiteX4038" fmla="*/ 3691471 w 6689088"/>
              <a:gd name="connsiteY4038" fmla="*/ 356184 h 6689084"/>
              <a:gd name="connsiteX4039" fmla="*/ 3718699 w 6689088"/>
              <a:gd name="connsiteY4039" fmla="*/ 383416 h 6689084"/>
              <a:gd name="connsiteX4040" fmla="*/ 3691471 w 6689088"/>
              <a:gd name="connsiteY4040" fmla="*/ 410648 h 6689084"/>
              <a:gd name="connsiteX4041" fmla="*/ 3664238 w 6689088"/>
              <a:gd name="connsiteY4041" fmla="*/ 383416 h 6689084"/>
              <a:gd name="connsiteX4042" fmla="*/ 3691471 w 6689088"/>
              <a:gd name="connsiteY4042" fmla="*/ 356184 h 6689084"/>
              <a:gd name="connsiteX4043" fmla="*/ 3845418 w 6689088"/>
              <a:gd name="connsiteY4043" fmla="*/ 353642 h 6689084"/>
              <a:gd name="connsiteX4044" fmla="*/ 3875189 w 6689088"/>
              <a:gd name="connsiteY4044" fmla="*/ 383416 h 6689084"/>
              <a:gd name="connsiteX4045" fmla="*/ 3845418 w 6689088"/>
              <a:gd name="connsiteY4045" fmla="*/ 413187 h 6689084"/>
              <a:gd name="connsiteX4046" fmla="*/ 3815644 w 6689088"/>
              <a:gd name="connsiteY4046" fmla="*/ 383416 h 6689084"/>
              <a:gd name="connsiteX4047" fmla="*/ 3845418 w 6689088"/>
              <a:gd name="connsiteY4047" fmla="*/ 353642 h 6689084"/>
              <a:gd name="connsiteX4048" fmla="*/ 3999000 w 6689088"/>
              <a:gd name="connsiteY4048" fmla="*/ 351465 h 6689084"/>
              <a:gd name="connsiteX4049" fmla="*/ 4030951 w 6689088"/>
              <a:gd name="connsiteY4049" fmla="*/ 383416 h 6689084"/>
              <a:gd name="connsiteX4050" fmla="*/ 3999000 w 6689088"/>
              <a:gd name="connsiteY4050" fmla="*/ 415368 h 6689084"/>
              <a:gd name="connsiteX4051" fmla="*/ 3967048 w 6689088"/>
              <a:gd name="connsiteY4051" fmla="*/ 383416 h 6689084"/>
              <a:gd name="connsiteX4052" fmla="*/ 3999000 w 6689088"/>
              <a:gd name="connsiteY4052" fmla="*/ 351465 h 6689084"/>
              <a:gd name="connsiteX4053" fmla="*/ 4152947 w 6689088"/>
              <a:gd name="connsiteY4053" fmla="*/ 349647 h 6689084"/>
              <a:gd name="connsiteX4054" fmla="*/ 4186716 w 6689088"/>
              <a:gd name="connsiteY4054" fmla="*/ 383412 h 6689084"/>
              <a:gd name="connsiteX4055" fmla="*/ 4152947 w 6689088"/>
              <a:gd name="connsiteY4055" fmla="*/ 417182 h 6689084"/>
              <a:gd name="connsiteX4056" fmla="*/ 4119181 w 6689088"/>
              <a:gd name="connsiteY4056" fmla="*/ 383412 h 6689084"/>
              <a:gd name="connsiteX4057" fmla="*/ 4152947 w 6689088"/>
              <a:gd name="connsiteY4057" fmla="*/ 349647 h 6689084"/>
              <a:gd name="connsiteX4058" fmla="*/ 4306532 w 6689088"/>
              <a:gd name="connsiteY4058" fmla="*/ 347108 h 6689084"/>
              <a:gd name="connsiteX4059" fmla="*/ 4342840 w 6689088"/>
              <a:gd name="connsiteY4059" fmla="*/ 383416 h 6689084"/>
              <a:gd name="connsiteX4060" fmla="*/ 4306532 w 6689088"/>
              <a:gd name="connsiteY4060" fmla="*/ 419725 h 6689084"/>
              <a:gd name="connsiteX4061" fmla="*/ 4270224 w 6689088"/>
              <a:gd name="connsiteY4061" fmla="*/ 383416 h 6689084"/>
              <a:gd name="connsiteX4062" fmla="*/ 4306532 w 6689088"/>
              <a:gd name="connsiteY4062" fmla="*/ 347108 h 6689084"/>
              <a:gd name="connsiteX4063" fmla="*/ 4460480 w 6689088"/>
              <a:gd name="connsiteY4063" fmla="*/ 344565 h 6689084"/>
              <a:gd name="connsiteX4064" fmla="*/ 4499326 w 6689088"/>
              <a:gd name="connsiteY4064" fmla="*/ 383416 h 6689084"/>
              <a:gd name="connsiteX4065" fmla="*/ 4460480 w 6689088"/>
              <a:gd name="connsiteY4065" fmla="*/ 422267 h 6689084"/>
              <a:gd name="connsiteX4066" fmla="*/ 4421629 w 6689088"/>
              <a:gd name="connsiteY4066" fmla="*/ 383416 h 6689084"/>
              <a:gd name="connsiteX4067" fmla="*/ 4460480 w 6689088"/>
              <a:gd name="connsiteY4067" fmla="*/ 344565 h 6689084"/>
              <a:gd name="connsiteX4068" fmla="*/ 4614061 w 6689088"/>
              <a:gd name="connsiteY4068" fmla="*/ 342385 h 6689084"/>
              <a:gd name="connsiteX4069" fmla="*/ 4655092 w 6689088"/>
              <a:gd name="connsiteY4069" fmla="*/ 383412 h 6689084"/>
              <a:gd name="connsiteX4070" fmla="*/ 4614061 w 6689088"/>
              <a:gd name="connsiteY4070" fmla="*/ 424440 h 6689084"/>
              <a:gd name="connsiteX4071" fmla="*/ 4573034 w 6689088"/>
              <a:gd name="connsiteY4071" fmla="*/ 383412 h 6689084"/>
              <a:gd name="connsiteX4072" fmla="*/ 4614061 w 6689088"/>
              <a:gd name="connsiteY4072" fmla="*/ 342385 h 6689084"/>
              <a:gd name="connsiteX4073" fmla="*/ 4768008 w 6689088"/>
              <a:gd name="connsiteY4073" fmla="*/ 339842 h 6689084"/>
              <a:gd name="connsiteX4074" fmla="*/ 4811578 w 6689088"/>
              <a:gd name="connsiteY4074" fmla="*/ 383412 h 6689084"/>
              <a:gd name="connsiteX4075" fmla="*/ 4768008 w 6689088"/>
              <a:gd name="connsiteY4075" fmla="*/ 426982 h 6689084"/>
              <a:gd name="connsiteX4076" fmla="*/ 4724438 w 6689088"/>
              <a:gd name="connsiteY4076" fmla="*/ 383412 h 6689084"/>
              <a:gd name="connsiteX4077" fmla="*/ 4768008 w 6689088"/>
              <a:gd name="connsiteY4077" fmla="*/ 339842 h 6689084"/>
              <a:gd name="connsiteX4078" fmla="*/ 4921598 w 6689088"/>
              <a:gd name="connsiteY4078" fmla="*/ 337304 h 6689084"/>
              <a:gd name="connsiteX4079" fmla="*/ 4967710 w 6689088"/>
              <a:gd name="connsiteY4079" fmla="*/ 383416 h 6689084"/>
              <a:gd name="connsiteX4080" fmla="*/ 4921598 w 6689088"/>
              <a:gd name="connsiteY4080" fmla="*/ 429529 h 6689084"/>
              <a:gd name="connsiteX4081" fmla="*/ 4875485 w 6689088"/>
              <a:gd name="connsiteY4081" fmla="*/ 383416 h 6689084"/>
              <a:gd name="connsiteX4082" fmla="*/ 4921598 w 6689088"/>
              <a:gd name="connsiteY4082" fmla="*/ 337304 h 6689084"/>
              <a:gd name="connsiteX4083" fmla="*/ 5075545 w 6689088"/>
              <a:gd name="connsiteY4083" fmla="*/ 334761 h 6689084"/>
              <a:gd name="connsiteX4084" fmla="*/ 5124196 w 6689088"/>
              <a:gd name="connsiteY4084" fmla="*/ 383416 h 6689084"/>
              <a:gd name="connsiteX4085" fmla="*/ 5075545 w 6689088"/>
              <a:gd name="connsiteY4085" fmla="*/ 432068 h 6689084"/>
              <a:gd name="connsiteX4086" fmla="*/ 5026890 w 6689088"/>
              <a:gd name="connsiteY4086" fmla="*/ 383416 h 6689084"/>
              <a:gd name="connsiteX4087" fmla="*/ 5075545 w 6689088"/>
              <a:gd name="connsiteY4087" fmla="*/ 334761 h 6689084"/>
              <a:gd name="connsiteX4088" fmla="*/ 5229126 w 6689088"/>
              <a:gd name="connsiteY4088" fmla="*/ 332219 h 6689084"/>
              <a:gd name="connsiteX4089" fmla="*/ 5280324 w 6689088"/>
              <a:gd name="connsiteY4089" fmla="*/ 383412 h 6689084"/>
              <a:gd name="connsiteX4090" fmla="*/ 5229126 w 6689088"/>
              <a:gd name="connsiteY4090" fmla="*/ 434610 h 6689084"/>
              <a:gd name="connsiteX4091" fmla="*/ 5177932 w 6689088"/>
              <a:gd name="connsiteY4091" fmla="*/ 383412 h 6689084"/>
              <a:gd name="connsiteX4092" fmla="*/ 5229126 w 6689088"/>
              <a:gd name="connsiteY4092" fmla="*/ 332219 h 6689084"/>
              <a:gd name="connsiteX4093" fmla="*/ 5383074 w 6689088"/>
              <a:gd name="connsiteY4093" fmla="*/ 330042 h 6689084"/>
              <a:gd name="connsiteX4094" fmla="*/ 5436448 w 6689088"/>
              <a:gd name="connsiteY4094" fmla="*/ 383416 h 6689084"/>
              <a:gd name="connsiteX4095" fmla="*/ 5383074 w 6689088"/>
              <a:gd name="connsiteY4095" fmla="*/ 436787 h 6689084"/>
              <a:gd name="connsiteX4096" fmla="*/ 5329700 w 6689088"/>
              <a:gd name="connsiteY4096" fmla="*/ 383416 h 6689084"/>
              <a:gd name="connsiteX4097" fmla="*/ 5383074 w 6689088"/>
              <a:gd name="connsiteY4097" fmla="*/ 330042 h 6689084"/>
              <a:gd name="connsiteX4098" fmla="*/ 5536659 w 6689088"/>
              <a:gd name="connsiteY4098" fmla="*/ 327137 h 6689084"/>
              <a:gd name="connsiteX4099" fmla="*/ 5592938 w 6689088"/>
              <a:gd name="connsiteY4099" fmla="*/ 383416 h 6689084"/>
              <a:gd name="connsiteX4100" fmla="*/ 5536659 w 6689088"/>
              <a:gd name="connsiteY4100" fmla="*/ 439691 h 6689084"/>
              <a:gd name="connsiteX4101" fmla="*/ 5480380 w 6689088"/>
              <a:gd name="connsiteY4101" fmla="*/ 383416 h 6689084"/>
              <a:gd name="connsiteX4102" fmla="*/ 5536659 w 6689088"/>
              <a:gd name="connsiteY4102" fmla="*/ 327137 h 6689084"/>
              <a:gd name="connsiteX4103" fmla="*/ 5690606 w 6689088"/>
              <a:gd name="connsiteY4103" fmla="*/ 324595 h 6689084"/>
              <a:gd name="connsiteX4104" fmla="*/ 5749424 w 6689088"/>
              <a:gd name="connsiteY4104" fmla="*/ 383416 h 6689084"/>
              <a:gd name="connsiteX4105" fmla="*/ 5690606 w 6689088"/>
              <a:gd name="connsiteY4105" fmla="*/ 442234 h 6689084"/>
              <a:gd name="connsiteX4106" fmla="*/ 5631785 w 6689088"/>
              <a:gd name="connsiteY4106" fmla="*/ 383416 h 6689084"/>
              <a:gd name="connsiteX4107" fmla="*/ 5690606 w 6689088"/>
              <a:gd name="connsiteY4107" fmla="*/ 324595 h 6689084"/>
              <a:gd name="connsiteX4108" fmla="*/ 5844554 w 6689088"/>
              <a:gd name="connsiteY4108" fmla="*/ 321690 h 6689084"/>
              <a:gd name="connsiteX4109" fmla="*/ 5906276 w 6689088"/>
              <a:gd name="connsiteY4109" fmla="*/ 383416 h 6689084"/>
              <a:gd name="connsiteX4110" fmla="*/ 5844554 w 6689088"/>
              <a:gd name="connsiteY4110" fmla="*/ 445139 h 6689084"/>
              <a:gd name="connsiteX4111" fmla="*/ 5782828 w 6689088"/>
              <a:gd name="connsiteY4111" fmla="*/ 383416 h 6689084"/>
              <a:gd name="connsiteX4112" fmla="*/ 5844554 w 6689088"/>
              <a:gd name="connsiteY4112" fmla="*/ 321690 h 6689084"/>
              <a:gd name="connsiteX4113" fmla="*/ 5998136 w 6689088"/>
              <a:gd name="connsiteY4113" fmla="*/ 319148 h 6689084"/>
              <a:gd name="connsiteX4114" fmla="*/ 6062404 w 6689088"/>
              <a:gd name="connsiteY4114" fmla="*/ 383412 h 6689084"/>
              <a:gd name="connsiteX4115" fmla="*/ 5998136 w 6689088"/>
              <a:gd name="connsiteY4115" fmla="*/ 447681 h 6689084"/>
              <a:gd name="connsiteX4116" fmla="*/ 5933870 w 6689088"/>
              <a:gd name="connsiteY4116" fmla="*/ 383412 h 6689084"/>
              <a:gd name="connsiteX4117" fmla="*/ 5998136 w 6689088"/>
              <a:gd name="connsiteY4117" fmla="*/ 319148 h 6689084"/>
              <a:gd name="connsiteX4118" fmla="*/ 6152086 w 6689088"/>
              <a:gd name="connsiteY4118" fmla="*/ 315881 h 6689084"/>
              <a:gd name="connsiteX4119" fmla="*/ 6219618 w 6689088"/>
              <a:gd name="connsiteY4119" fmla="*/ 383416 h 6689084"/>
              <a:gd name="connsiteX4120" fmla="*/ 6152086 w 6689088"/>
              <a:gd name="connsiteY4120" fmla="*/ 450948 h 6689084"/>
              <a:gd name="connsiteX4121" fmla="*/ 6084551 w 6689088"/>
              <a:gd name="connsiteY4121" fmla="*/ 383416 h 6689084"/>
              <a:gd name="connsiteX4122" fmla="*/ 6152086 w 6689088"/>
              <a:gd name="connsiteY4122" fmla="*/ 315881 h 6689084"/>
              <a:gd name="connsiteX4123" fmla="*/ 6305668 w 6689088"/>
              <a:gd name="connsiteY4123" fmla="*/ 313338 h 6689084"/>
              <a:gd name="connsiteX4124" fmla="*/ 6375746 w 6689088"/>
              <a:gd name="connsiteY4124" fmla="*/ 383412 h 6689084"/>
              <a:gd name="connsiteX4125" fmla="*/ 6305668 w 6689088"/>
              <a:gd name="connsiteY4125" fmla="*/ 453490 h 6689084"/>
              <a:gd name="connsiteX4126" fmla="*/ 6235594 w 6689088"/>
              <a:gd name="connsiteY4126" fmla="*/ 383412 h 6689084"/>
              <a:gd name="connsiteX4127" fmla="*/ 6305668 w 6689088"/>
              <a:gd name="connsiteY4127" fmla="*/ 313338 h 6689084"/>
              <a:gd name="connsiteX4128" fmla="*/ 6459616 w 6689088"/>
              <a:gd name="connsiteY4128" fmla="*/ 310434 h 6689084"/>
              <a:gd name="connsiteX4129" fmla="*/ 6532598 w 6689088"/>
              <a:gd name="connsiteY4129" fmla="*/ 383412 h 6689084"/>
              <a:gd name="connsiteX4130" fmla="*/ 6459616 w 6689088"/>
              <a:gd name="connsiteY4130" fmla="*/ 456395 h 6689084"/>
              <a:gd name="connsiteX4131" fmla="*/ 6386636 w 6689088"/>
              <a:gd name="connsiteY4131" fmla="*/ 383412 h 6689084"/>
              <a:gd name="connsiteX4132" fmla="*/ 6459616 w 6689088"/>
              <a:gd name="connsiteY4132" fmla="*/ 310434 h 6689084"/>
              <a:gd name="connsiteX4133" fmla="*/ 6613200 w 6689088"/>
              <a:gd name="connsiteY4133" fmla="*/ 307891 h 6689084"/>
              <a:gd name="connsiteX4134" fmla="*/ 6688722 w 6689088"/>
              <a:gd name="connsiteY4134" fmla="*/ 383412 h 6689084"/>
              <a:gd name="connsiteX4135" fmla="*/ 6613200 w 6689088"/>
              <a:gd name="connsiteY4135" fmla="*/ 458934 h 6689084"/>
              <a:gd name="connsiteX4136" fmla="*/ 6537680 w 6689088"/>
              <a:gd name="connsiteY4136" fmla="*/ 383412 h 6689084"/>
              <a:gd name="connsiteX4137" fmla="*/ 6613200 w 6689088"/>
              <a:gd name="connsiteY4137" fmla="*/ 307891 h 6689084"/>
              <a:gd name="connsiteX4138" fmla="*/ 923681 w 6689088"/>
              <a:gd name="connsiteY4138" fmla="*/ 229469 h 6689084"/>
              <a:gd name="connsiteX4139" fmla="*/ 924043 w 6689088"/>
              <a:gd name="connsiteY4139" fmla="*/ 229831 h 6689084"/>
              <a:gd name="connsiteX4140" fmla="*/ 923681 w 6689088"/>
              <a:gd name="connsiteY4140" fmla="*/ 230193 h 6689084"/>
              <a:gd name="connsiteX4141" fmla="*/ 923319 w 6689088"/>
              <a:gd name="connsiteY4141" fmla="*/ 229831 h 6689084"/>
              <a:gd name="connsiteX4142" fmla="*/ 923681 w 6689088"/>
              <a:gd name="connsiteY4142" fmla="*/ 229469 h 6689084"/>
              <a:gd name="connsiteX4143" fmla="*/ 462205 w 6689088"/>
              <a:gd name="connsiteY4143" fmla="*/ 229469 h 6689084"/>
              <a:gd name="connsiteX4144" fmla="*/ 462567 w 6689088"/>
              <a:gd name="connsiteY4144" fmla="*/ 229831 h 6689084"/>
              <a:gd name="connsiteX4145" fmla="*/ 462205 w 6689088"/>
              <a:gd name="connsiteY4145" fmla="*/ 230193 h 6689084"/>
              <a:gd name="connsiteX4146" fmla="*/ 461842 w 6689088"/>
              <a:gd name="connsiteY4146" fmla="*/ 229831 h 6689084"/>
              <a:gd name="connsiteX4147" fmla="*/ 462205 w 6689088"/>
              <a:gd name="connsiteY4147" fmla="*/ 229469 h 6689084"/>
              <a:gd name="connsiteX4148" fmla="*/ 308257 w 6689088"/>
              <a:gd name="connsiteY4148" fmla="*/ 229469 h 6689084"/>
              <a:gd name="connsiteX4149" fmla="*/ 308619 w 6689088"/>
              <a:gd name="connsiteY4149" fmla="*/ 229831 h 6689084"/>
              <a:gd name="connsiteX4150" fmla="*/ 308257 w 6689088"/>
              <a:gd name="connsiteY4150" fmla="*/ 230193 h 6689084"/>
              <a:gd name="connsiteX4151" fmla="*/ 307895 w 6689088"/>
              <a:gd name="connsiteY4151" fmla="*/ 229831 h 6689084"/>
              <a:gd name="connsiteX4152" fmla="*/ 308257 w 6689088"/>
              <a:gd name="connsiteY4152" fmla="*/ 229469 h 6689084"/>
              <a:gd name="connsiteX4153" fmla="*/ 154676 w 6689088"/>
              <a:gd name="connsiteY4153" fmla="*/ 229103 h 6689084"/>
              <a:gd name="connsiteX4154" fmla="*/ 155400 w 6689088"/>
              <a:gd name="connsiteY4154" fmla="*/ 229827 h 6689084"/>
              <a:gd name="connsiteX4155" fmla="*/ 154676 w 6689088"/>
              <a:gd name="connsiteY4155" fmla="*/ 230555 h 6689084"/>
              <a:gd name="connsiteX4156" fmla="*/ 153948 w 6689088"/>
              <a:gd name="connsiteY4156" fmla="*/ 229827 h 6689084"/>
              <a:gd name="connsiteX4157" fmla="*/ 154676 w 6689088"/>
              <a:gd name="connsiteY4157" fmla="*/ 229103 h 6689084"/>
              <a:gd name="connsiteX4158" fmla="*/ 725 w 6689088"/>
              <a:gd name="connsiteY4158" fmla="*/ 229103 h 6689084"/>
              <a:gd name="connsiteX4159" fmla="*/ 1453 w 6689088"/>
              <a:gd name="connsiteY4159" fmla="*/ 229827 h 6689084"/>
              <a:gd name="connsiteX4160" fmla="*/ 725 w 6689088"/>
              <a:gd name="connsiteY4160" fmla="*/ 230555 h 6689084"/>
              <a:gd name="connsiteX4161" fmla="*/ 0 w 6689088"/>
              <a:gd name="connsiteY4161" fmla="*/ 229827 h 6689084"/>
              <a:gd name="connsiteX4162" fmla="*/ 725 w 6689088"/>
              <a:gd name="connsiteY4162" fmla="*/ 229103 h 6689084"/>
              <a:gd name="connsiteX4163" fmla="*/ 1077266 w 6689088"/>
              <a:gd name="connsiteY4163" fmla="*/ 228379 h 6689084"/>
              <a:gd name="connsiteX4164" fmla="*/ 1078718 w 6689088"/>
              <a:gd name="connsiteY4164" fmla="*/ 229831 h 6689084"/>
              <a:gd name="connsiteX4165" fmla="*/ 1077266 w 6689088"/>
              <a:gd name="connsiteY4165" fmla="*/ 231283 h 6689084"/>
              <a:gd name="connsiteX4166" fmla="*/ 1075814 w 6689088"/>
              <a:gd name="connsiteY4166" fmla="*/ 229831 h 6689084"/>
              <a:gd name="connsiteX4167" fmla="*/ 1077266 w 6689088"/>
              <a:gd name="connsiteY4167" fmla="*/ 228379 h 6689084"/>
              <a:gd name="connsiteX4168" fmla="*/ 1231217 w 6689088"/>
              <a:gd name="connsiteY4168" fmla="*/ 227651 h 6689084"/>
              <a:gd name="connsiteX4169" fmla="*/ 1233394 w 6689088"/>
              <a:gd name="connsiteY4169" fmla="*/ 229827 h 6689084"/>
              <a:gd name="connsiteX4170" fmla="*/ 1231217 w 6689088"/>
              <a:gd name="connsiteY4170" fmla="*/ 232008 h 6689084"/>
              <a:gd name="connsiteX4171" fmla="*/ 1229037 w 6689088"/>
              <a:gd name="connsiteY4171" fmla="*/ 229827 h 6689084"/>
              <a:gd name="connsiteX4172" fmla="*/ 1231217 w 6689088"/>
              <a:gd name="connsiteY4172" fmla="*/ 227651 h 6689084"/>
              <a:gd name="connsiteX4173" fmla="*/ 1384799 w 6689088"/>
              <a:gd name="connsiteY4173" fmla="*/ 226560 h 6689084"/>
              <a:gd name="connsiteX4174" fmla="*/ 1388069 w 6689088"/>
              <a:gd name="connsiteY4174" fmla="*/ 229827 h 6689084"/>
              <a:gd name="connsiteX4175" fmla="*/ 1384799 w 6689088"/>
              <a:gd name="connsiteY4175" fmla="*/ 233098 h 6689084"/>
              <a:gd name="connsiteX4176" fmla="*/ 1381532 w 6689088"/>
              <a:gd name="connsiteY4176" fmla="*/ 229827 h 6689084"/>
              <a:gd name="connsiteX4177" fmla="*/ 1384799 w 6689088"/>
              <a:gd name="connsiteY4177" fmla="*/ 226560 h 6689084"/>
              <a:gd name="connsiteX4178" fmla="*/ 1538746 w 6689088"/>
              <a:gd name="connsiteY4178" fmla="*/ 225108 h 6689084"/>
              <a:gd name="connsiteX4179" fmla="*/ 1543103 w 6689088"/>
              <a:gd name="connsiteY4179" fmla="*/ 229465 h 6689084"/>
              <a:gd name="connsiteX4180" fmla="*/ 1538746 w 6689088"/>
              <a:gd name="connsiteY4180" fmla="*/ 233822 h 6689084"/>
              <a:gd name="connsiteX4181" fmla="*/ 1534389 w 6689088"/>
              <a:gd name="connsiteY4181" fmla="*/ 229465 h 6689084"/>
              <a:gd name="connsiteX4182" fmla="*/ 1538746 w 6689088"/>
              <a:gd name="connsiteY4182" fmla="*/ 225108 h 6689084"/>
              <a:gd name="connsiteX4183" fmla="*/ 1692331 w 6689088"/>
              <a:gd name="connsiteY4183" fmla="*/ 224022 h 6689084"/>
              <a:gd name="connsiteX4184" fmla="*/ 1698141 w 6689088"/>
              <a:gd name="connsiteY4184" fmla="*/ 229831 h 6689084"/>
              <a:gd name="connsiteX4185" fmla="*/ 1692331 w 6689088"/>
              <a:gd name="connsiteY4185" fmla="*/ 235640 h 6689084"/>
              <a:gd name="connsiteX4186" fmla="*/ 1686522 w 6689088"/>
              <a:gd name="connsiteY4186" fmla="*/ 229831 h 6689084"/>
              <a:gd name="connsiteX4187" fmla="*/ 1692331 w 6689088"/>
              <a:gd name="connsiteY4187" fmla="*/ 224022 h 6689084"/>
              <a:gd name="connsiteX4188" fmla="*/ 1846279 w 6689088"/>
              <a:gd name="connsiteY4188" fmla="*/ 222569 h 6689084"/>
              <a:gd name="connsiteX4189" fmla="*/ 1853540 w 6689088"/>
              <a:gd name="connsiteY4189" fmla="*/ 229831 h 6689084"/>
              <a:gd name="connsiteX4190" fmla="*/ 1846279 w 6689088"/>
              <a:gd name="connsiteY4190" fmla="*/ 237093 h 6689084"/>
              <a:gd name="connsiteX4191" fmla="*/ 1839017 w 6689088"/>
              <a:gd name="connsiteY4191" fmla="*/ 229831 h 6689084"/>
              <a:gd name="connsiteX4192" fmla="*/ 1846279 w 6689088"/>
              <a:gd name="connsiteY4192" fmla="*/ 222569 h 6689084"/>
              <a:gd name="connsiteX4193" fmla="*/ 1999860 w 6689088"/>
              <a:gd name="connsiteY4193" fmla="*/ 220389 h 6689084"/>
              <a:gd name="connsiteX4194" fmla="*/ 2008940 w 6689088"/>
              <a:gd name="connsiteY4194" fmla="*/ 229465 h 6689084"/>
              <a:gd name="connsiteX4195" fmla="*/ 1999860 w 6689088"/>
              <a:gd name="connsiteY4195" fmla="*/ 238545 h 6689084"/>
              <a:gd name="connsiteX4196" fmla="*/ 1990784 w 6689088"/>
              <a:gd name="connsiteY4196" fmla="*/ 229465 h 6689084"/>
              <a:gd name="connsiteX4197" fmla="*/ 1999860 w 6689088"/>
              <a:gd name="connsiteY4197" fmla="*/ 220389 h 6689084"/>
              <a:gd name="connsiteX4198" fmla="*/ 2153811 w 6689088"/>
              <a:gd name="connsiteY4198" fmla="*/ 219665 h 6689084"/>
              <a:gd name="connsiteX4199" fmla="*/ 2163978 w 6689088"/>
              <a:gd name="connsiteY4199" fmla="*/ 229831 h 6689084"/>
              <a:gd name="connsiteX4200" fmla="*/ 2153811 w 6689088"/>
              <a:gd name="connsiteY4200" fmla="*/ 239997 h 6689084"/>
              <a:gd name="connsiteX4201" fmla="*/ 2143645 w 6689088"/>
              <a:gd name="connsiteY4201" fmla="*/ 229831 h 6689084"/>
              <a:gd name="connsiteX4202" fmla="*/ 2153811 w 6689088"/>
              <a:gd name="connsiteY4202" fmla="*/ 219665 h 6689084"/>
              <a:gd name="connsiteX4203" fmla="*/ 2307393 w 6689088"/>
              <a:gd name="connsiteY4203" fmla="*/ 217484 h 6689084"/>
              <a:gd name="connsiteX4204" fmla="*/ 2319377 w 6689088"/>
              <a:gd name="connsiteY4204" fmla="*/ 229465 h 6689084"/>
              <a:gd name="connsiteX4205" fmla="*/ 2307393 w 6689088"/>
              <a:gd name="connsiteY4205" fmla="*/ 241450 h 6689084"/>
              <a:gd name="connsiteX4206" fmla="*/ 2295412 w 6689088"/>
              <a:gd name="connsiteY4206" fmla="*/ 229465 h 6689084"/>
              <a:gd name="connsiteX4207" fmla="*/ 2307393 w 6689088"/>
              <a:gd name="connsiteY4207" fmla="*/ 217484 h 6689084"/>
              <a:gd name="connsiteX4208" fmla="*/ 2461344 w 6689088"/>
              <a:gd name="connsiteY4208" fmla="*/ 215670 h 6689084"/>
              <a:gd name="connsiteX4209" fmla="*/ 2475139 w 6689088"/>
              <a:gd name="connsiteY4209" fmla="*/ 229469 h 6689084"/>
              <a:gd name="connsiteX4210" fmla="*/ 2461344 w 6689088"/>
              <a:gd name="connsiteY4210" fmla="*/ 243264 h 6689084"/>
              <a:gd name="connsiteX4211" fmla="*/ 2447545 w 6689088"/>
              <a:gd name="connsiteY4211" fmla="*/ 229469 h 6689084"/>
              <a:gd name="connsiteX4212" fmla="*/ 2461344 w 6689088"/>
              <a:gd name="connsiteY4212" fmla="*/ 215670 h 6689084"/>
              <a:gd name="connsiteX4213" fmla="*/ 2614925 w 6689088"/>
              <a:gd name="connsiteY4213" fmla="*/ 214580 h 6689084"/>
              <a:gd name="connsiteX4214" fmla="*/ 2630177 w 6689088"/>
              <a:gd name="connsiteY4214" fmla="*/ 229827 h 6689084"/>
              <a:gd name="connsiteX4215" fmla="*/ 2614925 w 6689088"/>
              <a:gd name="connsiteY4215" fmla="*/ 245079 h 6689084"/>
              <a:gd name="connsiteX4216" fmla="*/ 2599678 w 6689088"/>
              <a:gd name="connsiteY4216" fmla="*/ 229827 h 6689084"/>
              <a:gd name="connsiteX4217" fmla="*/ 2614925 w 6689088"/>
              <a:gd name="connsiteY4217" fmla="*/ 214580 h 6689084"/>
              <a:gd name="connsiteX4218" fmla="*/ 2768873 w 6689088"/>
              <a:gd name="connsiteY4218" fmla="*/ 212765 h 6689084"/>
              <a:gd name="connsiteX4219" fmla="*/ 2785939 w 6689088"/>
              <a:gd name="connsiteY4219" fmla="*/ 229831 h 6689084"/>
              <a:gd name="connsiteX4220" fmla="*/ 2768873 w 6689088"/>
              <a:gd name="connsiteY4220" fmla="*/ 246897 h 6689084"/>
              <a:gd name="connsiteX4221" fmla="*/ 2751807 w 6689088"/>
              <a:gd name="connsiteY4221" fmla="*/ 229831 h 6689084"/>
              <a:gd name="connsiteX4222" fmla="*/ 2768873 w 6689088"/>
              <a:gd name="connsiteY4222" fmla="*/ 212765 h 6689084"/>
              <a:gd name="connsiteX4223" fmla="*/ 2922458 w 6689088"/>
              <a:gd name="connsiteY4223" fmla="*/ 210589 h 6689084"/>
              <a:gd name="connsiteX4224" fmla="*/ 2941700 w 6689088"/>
              <a:gd name="connsiteY4224" fmla="*/ 229831 h 6689084"/>
              <a:gd name="connsiteX4225" fmla="*/ 2922458 w 6689088"/>
              <a:gd name="connsiteY4225" fmla="*/ 249077 h 6689084"/>
              <a:gd name="connsiteX4226" fmla="*/ 2903216 w 6689088"/>
              <a:gd name="connsiteY4226" fmla="*/ 229831 h 6689084"/>
              <a:gd name="connsiteX4227" fmla="*/ 2922458 w 6689088"/>
              <a:gd name="connsiteY4227" fmla="*/ 210589 h 6689084"/>
              <a:gd name="connsiteX4228" fmla="*/ 3076406 w 6689088"/>
              <a:gd name="connsiteY4228" fmla="*/ 208408 h 6689084"/>
              <a:gd name="connsiteX4229" fmla="*/ 3097828 w 6689088"/>
              <a:gd name="connsiteY4229" fmla="*/ 229831 h 6689084"/>
              <a:gd name="connsiteX4230" fmla="*/ 3076406 w 6689088"/>
              <a:gd name="connsiteY4230" fmla="*/ 251254 h 6689084"/>
              <a:gd name="connsiteX4231" fmla="*/ 3054982 w 6689088"/>
              <a:gd name="connsiteY4231" fmla="*/ 229831 h 6689084"/>
              <a:gd name="connsiteX4232" fmla="*/ 3076406 w 6689088"/>
              <a:gd name="connsiteY4232" fmla="*/ 208408 h 6689084"/>
              <a:gd name="connsiteX4233" fmla="*/ 3230353 w 6689088"/>
              <a:gd name="connsiteY4233" fmla="*/ 206956 h 6689084"/>
              <a:gd name="connsiteX4234" fmla="*/ 3253228 w 6689088"/>
              <a:gd name="connsiteY4234" fmla="*/ 229831 h 6689084"/>
              <a:gd name="connsiteX4235" fmla="*/ 3230353 w 6689088"/>
              <a:gd name="connsiteY4235" fmla="*/ 252706 h 6689084"/>
              <a:gd name="connsiteX4236" fmla="*/ 3207478 w 6689088"/>
              <a:gd name="connsiteY4236" fmla="*/ 229831 h 6689084"/>
              <a:gd name="connsiteX4237" fmla="*/ 3230353 w 6689088"/>
              <a:gd name="connsiteY4237" fmla="*/ 206956 h 6689084"/>
              <a:gd name="connsiteX4238" fmla="*/ 3383934 w 6689088"/>
              <a:gd name="connsiteY4238" fmla="*/ 204779 h 6689084"/>
              <a:gd name="connsiteX4239" fmla="*/ 3408986 w 6689088"/>
              <a:gd name="connsiteY4239" fmla="*/ 229831 h 6689084"/>
              <a:gd name="connsiteX4240" fmla="*/ 3383934 w 6689088"/>
              <a:gd name="connsiteY4240" fmla="*/ 254887 h 6689084"/>
              <a:gd name="connsiteX4241" fmla="*/ 3358882 w 6689088"/>
              <a:gd name="connsiteY4241" fmla="*/ 229831 h 6689084"/>
              <a:gd name="connsiteX4242" fmla="*/ 3383934 w 6689088"/>
              <a:gd name="connsiteY4242" fmla="*/ 204779 h 6689084"/>
              <a:gd name="connsiteX4243" fmla="*/ 3537886 w 6689088"/>
              <a:gd name="connsiteY4243" fmla="*/ 202599 h 6689084"/>
              <a:gd name="connsiteX4244" fmla="*/ 3565118 w 6689088"/>
              <a:gd name="connsiteY4244" fmla="*/ 229831 h 6689084"/>
              <a:gd name="connsiteX4245" fmla="*/ 3537886 w 6689088"/>
              <a:gd name="connsiteY4245" fmla="*/ 257059 h 6689084"/>
              <a:gd name="connsiteX4246" fmla="*/ 3510653 w 6689088"/>
              <a:gd name="connsiteY4246" fmla="*/ 229831 h 6689084"/>
              <a:gd name="connsiteX4247" fmla="*/ 3537886 w 6689088"/>
              <a:gd name="connsiteY4247" fmla="*/ 202599 h 6689084"/>
              <a:gd name="connsiteX4248" fmla="*/ 3691467 w 6689088"/>
              <a:gd name="connsiteY4248" fmla="*/ 200056 h 6689084"/>
              <a:gd name="connsiteX4249" fmla="*/ 3721242 w 6689088"/>
              <a:gd name="connsiteY4249" fmla="*/ 229827 h 6689084"/>
              <a:gd name="connsiteX4250" fmla="*/ 3691467 w 6689088"/>
              <a:gd name="connsiteY4250" fmla="*/ 259602 h 6689084"/>
              <a:gd name="connsiteX4251" fmla="*/ 3661696 w 6689088"/>
              <a:gd name="connsiteY4251" fmla="*/ 229827 h 6689084"/>
              <a:gd name="connsiteX4252" fmla="*/ 3691467 w 6689088"/>
              <a:gd name="connsiteY4252" fmla="*/ 200056 h 6689084"/>
              <a:gd name="connsiteX4253" fmla="*/ 3845414 w 6689088"/>
              <a:gd name="connsiteY4253" fmla="*/ 197880 h 6689084"/>
              <a:gd name="connsiteX4254" fmla="*/ 3877366 w 6689088"/>
              <a:gd name="connsiteY4254" fmla="*/ 229831 h 6689084"/>
              <a:gd name="connsiteX4255" fmla="*/ 3845414 w 6689088"/>
              <a:gd name="connsiteY4255" fmla="*/ 261782 h 6689084"/>
              <a:gd name="connsiteX4256" fmla="*/ 3813463 w 6689088"/>
              <a:gd name="connsiteY4256" fmla="*/ 229831 h 6689084"/>
              <a:gd name="connsiteX4257" fmla="*/ 3845414 w 6689088"/>
              <a:gd name="connsiteY4257" fmla="*/ 197880 h 6689084"/>
              <a:gd name="connsiteX4258" fmla="*/ 3999000 w 6689088"/>
              <a:gd name="connsiteY4258" fmla="*/ 196065 h 6689084"/>
              <a:gd name="connsiteX4259" fmla="*/ 4032769 w 6689088"/>
              <a:gd name="connsiteY4259" fmla="*/ 229831 h 6689084"/>
              <a:gd name="connsiteX4260" fmla="*/ 3999000 w 6689088"/>
              <a:gd name="connsiteY4260" fmla="*/ 263597 h 6689084"/>
              <a:gd name="connsiteX4261" fmla="*/ 3965234 w 6689088"/>
              <a:gd name="connsiteY4261" fmla="*/ 229831 h 6689084"/>
              <a:gd name="connsiteX4262" fmla="*/ 3999000 w 6689088"/>
              <a:gd name="connsiteY4262" fmla="*/ 196065 h 6689084"/>
              <a:gd name="connsiteX4263" fmla="*/ 4152947 w 6689088"/>
              <a:gd name="connsiteY4263" fmla="*/ 193523 h 6689084"/>
              <a:gd name="connsiteX4264" fmla="*/ 4189256 w 6689088"/>
              <a:gd name="connsiteY4264" fmla="*/ 229831 h 6689084"/>
              <a:gd name="connsiteX4265" fmla="*/ 4152947 w 6689088"/>
              <a:gd name="connsiteY4265" fmla="*/ 266139 h 6689084"/>
              <a:gd name="connsiteX4266" fmla="*/ 4116638 w 6689088"/>
              <a:gd name="connsiteY4266" fmla="*/ 229831 h 6689084"/>
              <a:gd name="connsiteX4267" fmla="*/ 4152947 w 6689088"/>
              <a:gd name="connsiteY4267" fmla="*/ 193523 h 6689084"/>
              <a:gd name="connsiteX4268" fmla="*/ 4306532 w 6689088"/>
              <a:gd name="connsiteY4268" fmla="*/ 190618 h 6689084"/>
              <a:gd name="connsiteX4269" fmla="*/ 4345380 w 6689088"/>
              <a:gd name="connsiteY4269" fmla="*/ 229469 h 6689084"/>
              <a:gd name="connsiteX4270" fmla="*/ 4306532 w 6689088"/>
              <a:gd name="connsiteY4270" fmla="*/ 268316 h 6689084"/>
              <a:gd name="connsiteX4271" fmla="*/ 4267682 w 6689088"/>
              <a:gd name="connsiteY4271" fmla="*/ 229469 h 6689084"/>
              <a:gd name="connsiteX4272" fmla="*/ 4306532 w 6689088"/>
              <a:gd name="connsiteY4272" fmla="*/ 190618 h 6689084"/>
              <a:gd name="connsiteX4273" fmla="*/ 4460480 w 6689088"/>
              <a:gd name="connsiteY4273" fmla="*/ 188438 h 6689084"/>
              <a:gd name="connsiteX4274" fmla="*/ 4501511 w 6689088"/>
              <a:gd name="connsiteY4274" fmla="*/ 229465 h 6689084"/>
              <a:gd name="connsiteX4275" fmla="*/ 4460480 w 6689088"/>
              <a:gd name="connsiteY4275" fmla="*/ 270493 h 6689084"/>
              <a:gd name="connsiteX4276" fmla="*/ 4419452 w 6689088"/>
              <a:gd name="connsiteY4276" fmla="*/ 229465 h 6689084"/>
              <a:gd name="connsiteX4277" fmla="*/ 4460480 w 6689088"/>
              <a:gd name="connsiteY4277" fmla="*/ 188438 h 6689084"/>
              <a:gd name="connsiteX4278" fmla="*/ 4614065 w 6689088"/>
              <a:gd name="connsiteY4278" fmla="*/ 185895 h 6689084"/>
              <a:gd name="connsiteX4279" fmla="*/ 4657635 w 6689088"/>
              <a:gd name="connsiteY4279" fmla="*/ 229465 h 6689084"/>
              <a:gd name="connsiteX4280" fmla="*/ 4614065 w 6689088"/>
              <a:gd name="connsiteY4280" fmla="*/ 273035 h 6689084"/>
              <a:gd name="connsiteX4281" fmla="*/ 4570495 w 6689088"/>
              <a:gd name="connsiteY4281" fmla="*/ 229465 h 6689084"/>
              <a:gd name="connsiteX4282" fmla="*/ 4614065 w 6689088"/>
              <a:gd name="connsiteY4282" fmla="*/ 185895 h 6689084"/>
              <a:gd name="connsiteX4283" fmla="*/ 4768012 w 6689088"/>
              <a:gd name="connsiteY4283" fmla="*/ 183356 h 6689084"/>
              <a:gd name="connsiteX4284" fmla="*/ 4814125 w 6689088"/>
              <a:gd name="connsiteY4284" fmla="*/ 229469 h 6689084"/>
              <a:gd name="connsiteX4285" fmla="*/ 4768012 w 6689088"/>
              <a:gd name="connsiteY4285" fmla="*/ 275581 h 6689084"/>
              <a:gd name="connsiteX4286" fmla="*/ 4721900 w 6689088"/>
              <a:gd name="connsiteY4286" fmla="*/ 229469 h 6689084"/>
              <a:gd name="connsiteX4287" fmla="*/ 4768012 w 6689088"/>
              <a:gd name="connsiteY4287" fmla="*/ 183356 h 6689084"/>
              <a:gd name="connsiteX4288" fmla="*/ 4921594 w 6689088"/>
              <a:gd name="connsiteY4288" fmla="*/ 180814 h 6689084"/>
              <a:gd name="connsiteX4289" fmla="*/ 4970249 w 6689088"/>
              <a:gd name="connsiteY4289" fmla="*/ 229469 h 6689084"/>
              <a:gd name="connsiteX4290" fmla="*/ 4921594 w 6689088"/>
              <a:gd name="connsiteY4290" fmla="*/ 278120 h 6689084"/>
              <a:gd name="connsiteX4291" fmla="*/ 4872942 w 6689088"/>
              <a:gd name="connsiteY4291" fmla="*/ 229469 h 6689084"/>
              <a:gd name="connsiteX4292" fmla="*/ 4921594 w 6689088"/>
              <a:gd name="connsiteY4292" fmla="*/ 180814 h 6689084"/>
              <a:gd name="connsiteX4293" fmla="*/ 5075541 w 6689088"/>
              <a:gd name="connsiteY4293" fmla="*/ 178637 h 6689084"/>
              <a:gd name="connsiteX4294" fmla="*/ 5126735 w 6689088"/>
              <a:gd name="connsiteY4294" fmla="*/ 229831 h 6689084"/>
              <a:gd name="connsiteX4295" fmla="*/ 5075541 w 6689088"/>
              <a:gd name="connsiteY4295" fmla="*/ 281025 h 6689084"/>
              <a:gd name="connsiteX4296" fmla="*/ 5024348 w 6689088"/>
              <a:gd name="connsiteY4296" fmla="*/ 229831 h 6689084"/>
              <a:gd name="connsiteX4297" fmla="*/ 5075541 w 6689088"/>
              <a:gd name="connsiteY4297" fmla="*/ 178637 h 6689084"/>
              <a:gd name="connsiteX4298" fmla="*/ 5229126 w 6689088"/>
              <a:gd name="connsiteY4298" fmla="*/ 176095 h 6689084"/>
              <a:gd name="connsiteX4299" fmla="*/ 5282500 w 6689088"/>
              <a:gd name="connsiteY4299" fmla="*/ 229469 h 6689084"/>
              <a:gd name="connsiteX4300" fmla="*/ 5229126 w 6689088"/>
              <a:gd name="connsiteY4300" fmla="*/ 282843 h 6689084"/>
              <a:gd name="connsiteX4301" fmla="*/ 5175752 w 6689088"/>
              <a:gd name="connsiteY4301" fmla="*/ 229469 h 6689084"/>
              <a:gd name="connsiteX4302" fmla="*/ 5229126 w 6689088"/>
              <a:gd name="connsiteY4302" fmla="*/ 176095 h 6689084"/>
              <a:gd name="connsiteX4303" fmla="*/ 5383074 w 6689088"/>
              <a:gd name="connsiteY4303" fmla="*/ 173552 h 6689084"/>
              <a:gd name="connsiteX4304" fmla="*/ 5439352 w 6689088"/>
              <a:gd name="connsiteY4304" fmla="*/ 229831 h 6689084"/>
              <a:gd name="connsiteX4305" fmla="*/ 5383074 w 6689088"/>
              <a:gd name="connsiteY4305" fmla="*/ 286110 h 6689084"/>
              <a:gd name="connsiteX4306" fmla="*/ 5326795 w 6689088"/>
              <a:gd name="connsiteY4306" fmla="*/ 229831 h 6689084"/>
              <a:gd name="connsiteX4307" fmla="*/ 5383074 w 6689088"/>
              <a:gd name="connsiteY4307" fmla="*/ 173552 h 6689084"/>
              <a:gd name="connsiteX4308" fmla="*/ 5536659 w 6689088"/>
              <a:gd name="connsiteY4308" fmla="*/ 171010 h 6689084"/>
              <a:gd name="connsiteX4309" fmla="*/ 5595476 w 6689088"/>
              <a:gd name="connsiteY4309" fmla="*/ 229827 h 6689084"/>
              <a:gd name="connsiteX4310" fmla="*/ 5536659 w 6689088"/>
              <a:gd name="connsiteY4310" fmla="*/ 288649 h 6689084"/>
              <a:gd name="connsiteX4311" fmla="*/ 5477838 w 6689088"/>
              <a:gd name="connsiteY4311" fmla="*/ 229827 h 6689084"/>
              <a:gd name="connsiteX4312" fmla="*/ 5536659 w 6689088"/>
              <a:gd name="connsiteY4312" fmla="*/ 171010 h 6689084"/>
              <a:gd name="connsiteX4313" fmla="*/ 5690606 w 6689088"/>
              <a:gd name="connsiteY4313" fmla="*/ 168105 h 6689084"/>
              <a:gd name="connsiteX4314" fmla="*/ 5752329 w 6689088"/>
              <a:gd name="connsiteY4314" fmla="*/ 229827 h 6689084"/>
              <a:gd name="connsiteX4315" fmla="*/ 5690606 w 6689088"/>
              <a:gd name="connsiteY4315" fmla="*/ 291553 h 6689084"/>
              <a:gd name="connsiteX4316" fmla="*/ 5628880 w 6689088"/>
              <a:gd name="connsiteY4316" fmla="*/ 229827 h 6689084"/>
              <a:gd name="connsiteX4317" fmla="*/ 5690606 w 6689088"/>
              <a:gd name="connsiteY4317" fmla="*/ 168105 h 6689084"/>
              <a:gd name="connsiteX4318" fmla="*/ 5844554 w 6689088"/>
              <a:gd name="connsiteY4318" fmla="*/ 165566 h 6689084"/>
              <a:gd name="connsiteX4319" fmla="*/ 5908822 w 6689088"/>
              <a:gd name="connsiteY4319" fmla="*/ 229831 h 6689084"/>
              <a:gd name="connsiteX4320" fmla="*/ 5844554 w 6689088"/>
              <a:gd name="connsiteY4320" fmla="*/ 294100 h 6689084"/>
              <a:gd name="connsiteX4321" fmla="*/ 5780289 w 6689088"/>
              <a:gd name="connsiteY4321" fmla="*/ 229831 h 6689084"/>
              <a:gd name="connsiteX4322" fmla="*/ 5844554 w 6689088"/>
              <a:gd name="connsiteY4322" fmla="*/ 165566 h 6689084"/>
              <a:gd name="connsiteX4323" fmla="*/ 5998136 w 6689088"/>
              <a:gd name="connsiteY4323" fmla="*/ 162296 h 6689084"/>
              <a:gd name="connsiteX4324" fmla="*/ 6065671 w 6689088"/>
              <a:gd name="connsiteY4324" fmla="*/ 229831 h 6689084"/>
              <a:gd name="connsiteX4325" fmla="*/ 5998136 w 6689088"/>
              <a:gd name="connsiteY4325" fmla="*/ 297363 h 6689084"/>
              <a:gd name="connsiteX4326" fmla="*/ 5930604 w 6689088"/>
              <a:gd name="connsiteY4326" fmla="*/ 229827 h 6689084"/>
              <a:gd name="connsiteX4327" fmla="*/ 5998136 w 6689088"/>
              <a:gd name="connsiteY4327" fmla="*/ 162296 h 6689084"/>
              <a:gd name="connsiteX4328" fmla="*/ 6152086 w 6689088"/>
              <a:gd name="connsiteY4328" fmla="*/ 159757 h 6689084"/>
              <a:gd name="connsiteX4329" fmla="*/ 6222160 w 6689088"/>
              <a:gd name="connsiteY4329" fmla="*/ 229831 h 6689084"/>
              <a:gd name="connsiteX4330" fmla="*/ 6152086 w 6689088"/>
              <a:gd name="connsiteY4330" fmla="*/ 299909 h 6689084"/>
              <a:gd name="connsiteX4331" fmla="*/ 6082008 w 6689088"/>
              <a:gd name="connsiteY4331" fmla="*/ 229831 h 6689084"/>
              <a:gd name="connsiteX4332" fmla="*/ 6152086 w 6689088"/>
              <a:gd name="connsiteY4332" fmla="*/ 159757 h 6689084"/>
              <a:gd name="connsiteX4333" fmla="*/ 6305668 w 6689088"/>
              <a:gd name="connsiteY4333" fmla="*/ 156852 h 6689084"/>
              <a:gd name="connsiteX4334" fmla="*/ 6378650 w 6689088"/>
              <a:gd name="connsiteY4334" fmla="*/ 229831 h 6689084"/>
              <a:gd name="connsiteX4335" fmla="*/ 6305668 w 6689088"/>
              <a:gd name="connsiteY4335" fmla="*/ 302814 h 6689084"/>
              <a:gd name="connsiteX4336" fmla="*/ 6232689 w 6689088"/>
              <a:gd name="connsiteY4336" fmla="*/ 229831 h 6689084"/>
              <a:gd name="connsiteX4337" fmla="*/ 6305668 w 6689088"/>
              <a:gd name="connsiteY4337" fmla="*/ 156852 h 6689084"/>
              <a:gd name="connsiteX4338" fmla="*/ 6613200 w 6689088"/>
              <a:gd name="connsiteY4338" fmla="*/ 153947 h 6689084"/>
              <a:gd name="connsiteX4339" fmla="*/ 6689088 w 6689088"/>
              <a:gd name="connsiteY4339" fmla="*/ 229831 h 6689084"/>
              <a:gd name="connsiteX4340" fmla="*/ 6613200 w 6689088"/>
              <a:gd name="connsiteY4340" fmla="*/ 305718 h 6689084"/>
              <a:gd name="connsiteX4341" fmla="*/ 6537317 w 6689088"/>
              <a:gd name="connsiteY4341" fmla="*/ 229831 h 6689084"/>
              <a:gd name="connsiteX4342" fmla="*/ 6613200 w 6689088"/>
              <a:gd name="connsiteY4342" fmla="*/ 153947 h 6689084"/>
              <a:gd name="connsiteX4343" fmla="*/ 6459616 w 6689088"/>
              <a:gd name="connsiteY4343" fmla="*/ 153944 h 6689084"/>
              <a:gd name="connsiteX4344" fmla="*/ 6535137 w 6689088"/>
              <a:gd name="connsiteY4344" fmla="*/ 229465 h 6689084"/>
              <a:gd name="connsiteX4345" fmla="*/ 6459616 w 6689088"/>
              <a:gd name="connsiteY4345" fmla="*/ 304986 h 6689084"/>
              <a:gd name="connsiteX4346" fmla="*/ 6384094 w 6689088"/>
              <a:gd name="connsiteY4346" fmla="*/ 229465 h 6689084"/>
              <a:gd name="connsiteX4347" fmla="*/ 6459616 w 6689088"/>
              <a:gd name="connsiteY4347" fmla="*/ 153944 h 6689084"/>
              <a:gd name="connsiteX4348" fmla="*/ 923681 w 6689088"/>
              <a:gd name="connsiteY4348" fmla="*/ 75518 h 6689084"/>
              <a:gd name="connsiteX4349" fmla="*/ 924043 w 6689088"/>
              <a:gd name="connsiteY4349" fmla="*/ 75880 h 6689084"/>
              <a:gd name="connsiteX4350" fmla="*/ 923681 w 6689088"/>
              <a:gd name="connsiteY4350" fmla="*/ 76242 h 6689084"/>
              <a:gd name="connsiteX4351" fmla="*/ 923319 w 6689088"/>
              <a:gd name="connsiteY4351" fmla="*/ 75880 h 6689084"/>
              <a:gd name="connsiteX4352" fmla="*/ 923681 w 6689088"/>
              <a:gd name="connsiteY4352" fmla="*/ 75518 h 6689084"/>
              <a:gd name="connsiteX4353" fmla="*/ 462205 w 6689088"/>
              <a:gd name="connsiteY4353" fmla="*/ 75518 h 6689084"/>
              <a:gd name="connsiteX4354" fmla="*/ 462567 w 6689088"/>
              <a:gd name="connsiteY4354" fmla="*/ 75880 h 6689084"/>
              <a:gd name="connsiteX4355" fmla="*/ 462205 w 6689088"/>
              <a:gd name="connsiteY4355" fmla="*/ 76242 h 6689084"/>
              <a:gd name="connsiteX4356" fmla="*/ 461842 w 6689088"/>
              <a:gd name="connsiteY4356" fmla="*/ 75880 h 6689084"/>
              <a:gd name="connsiteX4357" fmla="*/ 462205 w 6689088"/>
              <a:gd name="connsiteY4357" fmla="*/ 75518 h 6689084"/>
              <a:gd name="connsiteX4358" fmla="*/ 308257 w 6689088"/>
              <a:gd name="connsiteY4358" fmla="*/ 75518 h 6689084"/>
              <a:gd name="connsiteX4359" fmla="*/ 308619 w 6689088"/>
              <a:gd name="connsiteY4359" fmla="*/ 75880 h 6689084"/>
              <a:gd name="connsiteX4360" fmla="*/ 308257 w 6689088"/>
              <a:gd name="connsiteY4360" fmla="*/ 76242 h 6689084"/>
              <a:gd name="connsiteX4361" fmla="*/ 307895 w 6689088"/>
              <a:gd name="connsiteY4361" fmla="*/ 75880 h 6689084"/>
              <a:gd name="connsiteX4362" fmla="*/ 308257 w 6689088"/>
              <a:gd name="connsiteY4362" fmla="*/ 75518 h 6689084"/>
              <a:gd name="connsiteX4363" fmla="*/ 154676 w 6689088"/>
              <a:gd name="connsiteY4363" fmla="*/ 75155 h 6689084"/>
              <a:gd name="connsiteX4364" fmla="*/ 155400 w 6689088"/>
              <a:gd name="connsiteY4364" fmla="*/ 75880 h 6689084"/>
              <a:gd name="connsiteX4365" fmla="*/ 154676 w 6689088"/>
              <a:gd name="connsiteY4365" fmla="*/ 76608 h 6689084"/>
              <a:gd name="connsiteX4366" fmla="*/ 153948 w 6689088"/>
              <a:gd name="connsiteY4366" fmla="*/ 75880 h 6689084"/>
              <a:gd name="connsiteX4367" fmla="*/ 154676 w 6689088"/>
              <a:gd name="connsiteY4367" fmla="*/ 75155 h 6689084"/>
              <a:gd name="connsiteX4368" fmla="*/ 725 w 6689088"/>
              <a:gd name="connsiteY4368" fmla="*/ 75155 h 6689084"/>
              <a:gd name="connsiteX4369" fmla="*/ 1453 w 6689088"/>
              <a:gd name="connsiteY4369" fmla="*/ 75880 h 6689084"/>
              <a:gd name="connsiteX4370" fmla="*/ 725 w 6689088"/>
              <a:gd name="connsiteY4370" fmla="*/ 76608 h 6689084"/>
              <a:gd name="connsiteX4371" fmla="*/ 0 w 6689088"/>
              <a:gd name="connsiteY4371" fmla="*/ 75880 h 6689084"/>
              <a:gd name="connsiteX4372" fmla="*/ 725 w 6689088"/>
              <a:gd name="connsiteY4372" fmla="*/ 75155 h 6689084"/>
              <a:gd name="connsiteX4373" fmla="*/ 1077266 w 6689088"/>
              <a:gd name="connsiteY4373" fmla="*/ 74431 h 6689084"/>
              <a:gd name="connsiteX4374" fmla="*/ 1078718 w 6689088"/>
              <a:gd name="connsiteY4374" fmla="*/ 75884 h 6689084"/>
              <a:gd name="connsiteX4375" fmla="*/ 1077266 w 6689088"/>
              <a:gd name="connsiteY4375" fmla="*/ 77336 h 6689084"/>
              <a:gd name="connsiteX4376" fmla="*/ 1075814 w 6689088"/>
              <a:gd name="connsiteY4376" fmla="*/ 75884 h 6689084"/>
              <a:gd name="connsiteX4377" fmla="*/ 1077266 w 6689088"/>
              <a:gd name="connsiteY4377" fmla="*/ 74431 h 6689084"/>
              <a:gd name="connsiteX4378" fmla="*/ 1231217 w 6689088"/>
              <a:gd name="connsiteY4378" fmla="*/ 73703 h 6689084"/>
              <a:gd name="connsiteX4379" fmla="*/ 1233394 w 6689088"/>
              <a:gd name="connsiteY4379" fmla="*/ 75880 h 6689084"/>
              <a:gd name="connsiteX4380" fmla="*/ 1231217 w 6689088"/>
              <a:gd name="connsiteY4380" fmla="*/ 78060 h 6689084"/>
              <a:gd name="connsiteX4381" fmla="*/ 1229037 w 6689088"/>
              <a:gd name="connsiteY4381" fmla="*/ 75880 h 6689084"/>
              <a:gd name="connsiteX4382" fmla="*/ 1231217 w 6689088"/>
              <a:gd name="connsiteY4382" fmla="*/ 73703 h 6689084"/>
              <a:gd name="connsiteX4383" fmla="*/ 1384799 w 6689088"/>
              <a:gd name="connsiteY4383" fmla="*/ 72617 h 6689084"/>
              <a:gd name="connsiteX4384" fmla="*/ 1388069 w 6689088"/>
              <a:gd name="connsiteY4384" fmla="*/ 75884 h 6689084"/>
              <a:gd name="connsiteX4385" fmla="*/ 1384799 w 6689088"/>
              <a:gd name="connsiteY4385" fmla="*/ 79154 h 6689084"/>
              <a:gd name="connsiteX4386" fmla="*/ 1381532 w 6689088"/>
              <a:gd name="connsiteY4386" fmla="*/ 75884 h 6689084"/>
              <a:gd name="connsiteX4387" fmla="*/ 1384799 w 6689088"/>
              <a:gd name="connsiteY4387" fmla="*/ 72617 h 6689084"/>
              <a:gd name="connsiteX4388" fmla="*/ 1538746 w 6689088"/>
              <a:gd name="connsiteY4388" fmla="*/ 71527 h 6689084"/>
              <a:gd name="connsiteX4389" fmla="*/ 1543103 w 6689088"/>
              <a:gd name="connsiteY4389" fmla="*/ 75884 h 6689084"/>
              <a:gd name="connsiteX4390" fmla="*/ 1538746 w 6689088"/>
              <a:gd name="connsiteY4390" fmla="*/ 80241 h 6689084"/>
              <a:gd name="connsiteX4391" fmla="*/ 1534389 w 6689088"/>
              <a:gd name="connsiteY4391" fmla="*/ 75884 h 6689084"/>
              <a:gd name="connsiteX4392" fmla="*/ 1538746 w 6689088"/>
              <a:gd name="connsiteY4392" fmla="*/ 71527 h 6689084"/>
              <a:gd name="connsiteX4393" fmla="*/ 1692331 w 6689088"/>
              <a:gd name="connsiteY4393" fmla="*/ 70074 h 6689084"/>
              <a:gd name="connsiteX4394" fmla="*/ 1698141 w 6689088"/>
              <a:gd name="connsiteY4394" fmla="*/ 75884 h 6689084"/>
              <a:gd name="connsiteX4395" fmla="*/ 1692331 w 6689088"/>
              <a:gd name="connsiteY4395" fmla="*/ 81693 h 6689084"/>
              <a:gd name="connsiteX4396" fmla="*/ 1686522 w 6689088"/>
              <a:gd name="connsiteY4396" fmla="*/ 75884 h 6689084"/>
              <a:gd name="connsiteX4397" fmla="*/ 1692331 w 6689088"/>
              <a:gd name="connsiteY4397" fmla="*/ 70074 h 6689084"/>
              <a:gd name="connsiteX4398" fmla="*/ 1846279 w 6689088"/>
              <a:gd name="connsiteY4398" fmla="*/ 68622 h 6689084"/>
              <a:gd name="connsiteX4399" fmla="*/ 1853540 w 6689088"/>
              <a:gd name="connsiteY4399" fmla="*/ 75884 h 6689084"/>
              <a:gd name="connsiteX4400" fmla="*/ 1846279 w 6689088"/>
              <a:gd name="connsiteY4400" fmla="*/ 83145 h 6689084"/>
              <a:gd name="connsiteX4401" fmla="*/ 1839017 w 6689088"/>
              <a:gd name="connsiteY4401" fmla="*/ 75884 h 6689084"/>
              <a:gd name="connsiteX4402" fmla="*/ 1846279 w 6689088"/>
              <a:gd name="connsiteY4402" fmla="*/ 68622 h 6689084"/>
              <a:gd name="connsiteX4403" fmla="*/ 1999860 w 6689088"/>
              <a:gd name="connsiteY4403" fmla="*/ 66807 h 6689084"/>
              <a:gd name="connsiteX4404" fmla="*/ 2008940 w 6689088"/>
              <a:gd name="connsiteY4404" fmla="*/ 75884 h 6689084"/>
              <a:gd name="connsiteX4405" fmla="*/ 1999860 w 6689088"/>
              <a:gd name="connsiteY4405" fmla="*/ 84960 h 6689084"/>
              <a:gd name="connsiteX4406" fmla="*/ 1990784 w 6689088"/>
              <a:gd name="connsiteY4406" fmla="*/ 75884 h 6689084"/>
              <a:gd name="connsiteX4407" fmla="*/ 1999860 w 6689088"/>
              <a:gd name="connsiteY4407" fmla="*/ 66807 h 6689084"/>
              <a:gd name="connsiteX4408" fmla="*/ 2153811 w 6689088"/>
              <a:gd name="connsiteY4408" fmla="*/ 65717 h 6689084"/>
              <a:gd name="connsiteX4409" fmla="*/ 2163978 w 6689088"/>
              <a:gd name="connsiteY4409" fmla="*/ 75884 h 6689084"/>
              <a:gd name="connsiteX4410" fmla="*/ 2153811 w 6689088"/>
              <a:gd name="connsiteY4410" fmla="*/ 86050 h 6689084"/>
              <a:gd name="connsiteX4411" fmla="*/ 2143645 w 6689088"/>
              <a:gd name="connsiteY4411" fmla="*/ 75884 h 6689084"/>
              <a:gd name="connsiteX4412" fmla="*/ 2153811 w 6689088"/>
              <a:gd name="connsiteY4412" fmla="*/ 65717 h 6689084"/>
              <a:gd name="connsiteX4413" fmla="*/ 2307393 w 6689088"/>
              <a:gd name="connsiteY4413" fmla="*/ 63899 h 6689084"/>
              <a:gd name="connsiteX4414" fmla="*/ 2319377 w 6689088"/>
              <a:gd name="connsiteY4414" fmla="*/ 75880 h 6689084"/>
              <a:gd name="connsiteX4415" fmla="*/ 2307393 w 6689088"/>
              <a:gd name="connsiteY4415" fmla="*/ 87864 h 6689084"/>
              <a:gd name="connsiteX4416" fmla="*/ 2295412 w 6689088"/>
              <a:gd name="connsiteY4416" fmla="*/ 75880 h 6689084"/>
              <a:gd name="connsiteX4417" fmla="*/ 2307393 w 6689088"/>
              <a:gd name="connsiteY4417" fmla="*/ 63899 h 6689084"/>
              <a:gd name="connsiteX4418" fmla="*/ 2461344 w 6689088"/>
              <a:gd name="connsiteY4418" fmla="*/ 62085 h 6689084"/>
              <a:gd name="connsiteX4419" fmla="*/ 2475139 w 6689088"/>
              <a:gd name="connsiteY4419" fmla="*/ 75880 h 6689084"/>
              <a:gd name="connsiteX4420" fmla="*/ 2461344 w 6689088"/>
              <a:gd name="connsiteY4420" fmla="*/ 89679 h 6689084"/>
              <a:gd name="connsiteX4421" fmla="*/ 2447545 w 6689088"/>
              <a:gd name="connsiteY4421" fmla="*/ 75880 h 6689084"/>
              <a:gd name="connsiteX4422" fmla="*/ 2461344 w 6689088"/>
              <a:gd name="connsiteY4422" fmla="*/ 62085 h 6689084"/>
              <a:gd name="connsiteX4423" fmla="*/ 2614925 w 6689088"/>
              <a:gd name="connsiteY4423" fmla="*/ 60632 h 6689084"/>
              <a:gd name="connsiteX4424" fmla="*/ 2630177 w 6689088"/>
              <a:gd name="connsiteY4424" fmla="*/ 75880 h 6689084"/>
              <a:gd name="connsiteX4425" fmla="*/ 2614925 w 6689088"/>
              <a:gd name="connsiteY4425" fmla="*/ 91131 h 6689084"/>
              <a:gd name="connsiteX4426" fmla="*/ 2599678 w 6689088"/>
              <a:gd name="connsiteY4426" fmla="*/ 75880 h 6689084"/>
              <a:gd name="connsiteX4427" fmla="*/ 2614925 w 6689088"/>
              <a:gd name="connsiteY4427" fmla="*/ 60632 h 6689084"/>
              <a:gd name="connsiteX4428" fmla="*/ 2768873 w 6689088"/>
              <a:gd name="connsiteY4428" fmla="*/ 58818 h 6689084"/>
              <a:gd name="connsiteX4429" fmla="*/ 2785939 w 6689088"/>
              <a:gd name="connsiteY4429" fmla="*/ 75884 h 6689084"/>
              <a:gd name="connsiteX4430" fmla="*/ 2768873 w 6689088"/>
              <a:gd name="connsiteY4430" fmla="*/ 92946 h 6689084"/>
              <a:gd name="connsiteX4431" fmla="*/ 2751807 w 6689088"/>
              <a:gd name="connsiteY4431" fmla="*/ 75884 h 6689084"/>
              <a:gd name="connsiteX4432" fmla="*/ 2768873 w 6689088"/>
              <a:gd name="connsiteY4432" fmla="*/ 58818 h 6689084"/>
              <a:gd name="connsiteX4433" fmla="*/ 2922458 w 6689088"/>
              <a:gd name="connsiteY4433" fmla="*/ 56641 h 6689084"/>
              <a:gd name="connsiteX4434" fmla="*/ 2941700 w 6689088"/>
              <a:gd name="connsiteY4434" fmla="*/ 75884 h 6689084"/>
              <a:gd name="connsiteX4435" fmla="*/ 2922458 w 6689088"/>
              <a:gd name="connsiteY4435" fmla="*/ 95126 h 6689084"/>
              <a:gd name="connsiteX4436" fmla="*/ 2903216 w 6689088"/>
              <a:gd name="connsiteY4436" fmla="*/ 75884 h 6689084"/>
              <a:gd name="connsiteX4437" fmla="*/ 2922458 w 6689088"/>
              <a:gd name="connsiteY4437" fmla="*/ 56641 h 6689084"/>
              <a:gd name="connsiteX4438" fmla="*/ 3076406 w 6689088"/>
              <a:gd name="connsiteY4438" fmla="*/ 54461 h 6689084"/>
              <a:gd name="connsiteX4439" fmla="*/ 3097828 w 6689088"/>
              <a:gd name="connsiteY4439" fmla="*/ 75884 h 6689084"/>
              <a:gd name="connsiteX4440" fmla="*/ 3076406 w 6689088"/>
              <a:gd name="connsiteY4440" fmla="*/ 97303 h 6689084"/>
              <a:gd name="connsiteX4441" fmla="*/ 3054982 w 6689088"/>
              <a:gd name="connsiteY4441" fmla="*/ 75884 h 6689084"/>
              <a:gd name="connsiteX4442" fmla="*/ 3076406 w 6689088"/>
              <a:gd name="connsiteY4442" fmla="*/ 54461 h 6689084"/>
              <a:gd name="connsiteX4443" fmla="*/ 3230353 w 6689088"/>
              <a:gd name="connsiteY4443" fmla="*/ 53008 h 6689084"/>
              <a:gd name="connsiteX4444" fmla="*/ 3253228 w 6689088"/>
              <a:gd name="connsiteY4444" fmla="*/ 75884 h 6689084"/>
              <a:gd name="connsiteX4445" fmla="*/ 3230353 w 6689088"/>
              <a:gd name="connsiteY4445" fmla="*/ 98759 h 6689084"/>
              <a:gd name="connsiteX4446" fmla="*/ 3207478 w 6689088"/>
              <a:gd name="connsiteY4446" fmla="*/ 75884 h 6689084"/>
              <a:gd name="connsiteX4447" fmla="*/ 3230353 w 6689088"/>
              <a:gd name="connsiteY4447" fmla="*/ 53008 h 6689084"/>
              <a:gd name="connsiteX4448" fmla="*/ 3383934 w 6689088"/>
              <a:gd name="connsiteY4448" fmla="*/ 50832 h 6689084"/>
              <a:gd name="connsiteX4449" fmla="*/ 3408986 w 6689088"/>
              <a:gd name="connsiteY4449" fmla="*/ 75884 h 6689084"/>
              <a:gd name="connsiteX4450" fmla="*/ 3383934 w 6689088"/>
              <a:gd name="connsiteY4450" fmla="*/ 100939 h 6689084"/>
              <a:gd name="connsiteX4451" fmla="*/ 3358882 w 6689088"/>
              <a:gd name="connsiteY4451" fmla="*/ 75884 h 6689084"/>
              <a:gd name="connsiteX4452" fmla="*/ 3383934 w 6689088"/>
              <a:gd name="connsiteY4452" fmla="*/ 50832 h 6689084"/>
              <a:gd name="connsiteX4453" fmla="*/ 3537886 w 6689088"/>
              <a:gd name="connsiteY4453" fmla="*/ 48651 h 6689084"/>
              <a:gd name="connsiteX4454" fmla="*/ 3565118 w 6689088"/>
              <a:gd name="connsiteY4454" fmla="*/ 75884 h 6689084"/>
              <a:gd name="connsiteX4455" fmla="*/ 3537886 w 6689088"/>
              <a:gd name="connsiteY4455" fmla="*/ 103112 h 6689084"/>
              <a:gd name="connsiteX4456" fmla="*/ 3510653 w 6689088"/>
              <a:gd name="connsiteY4456" fmla="*/ 75884 h 6689084"/>
              <a:gd name="connsiteX4457" fmla="*/ 3537886 w 6689088"/>
              <a:gd name="connsiteY4457" fmla="*/ 48651 h 6689084"/>
              <a:gd name="connsiteX4458" fmla="*/ 3691467 w 6689088"/>
              <a:gd name="connsiteY4458" fmla="*/ 46109 h 6689084"/>
              <a:gd name="connsiteX4459" fmla="*/ 3721242 w 6689088"/>
              <a:gd name="connsiteY4459" fmla="*/ 75880 h 6689084"/>
              <a:gd name="connsiteX4460" fmla="*/ 3691467 w 6689088"/>
              <a:gd name="connsiteY4460" fmla="*/ 105655 h 6689084"/>
              <a:gd name="connsiteX4461" fmla="*/ 3661696 w 6689088"/>
              <a:gd name="connsiteY4461" fmla="*/ 75880 h 6689084"/>
              <a:gd name="connsiteX4462" fmla="*/ 3691467 w 6689088"/>
              <a:gd name="connsiteY4462" fmla="*/ 46109 h 6689084"/>
              <a:gd name="connsiteX4463" fmla="*/ 3845414 w 6689088"/>
              <a:gd name="connsiteY4463" fmla="*/ 43932 h 6689084"/>
              <a:gd name="connsiteX4464" fmla="*/ 3877366 w 6689088"/>
              <a:gd name="connsiteY4464" fmla="*/ 75884 h 6689084"/>
              <a:gd name="connsiteX4465" fmla="*/ 3845414 w 6689088"/>
              <a:gd name="connsiteY4465" fmla="*/ 107835 h 6689084"/>
              <a:gd name="connsiteX4466" fmla="*/ 3813463 w 6689088"/>
              <a:gd name="connsiteY4466" fmla="*/ 75884 h 6689084"/>
              <a:gd name="connsiteX4467" fmla="*/ 3845414 w 6689088"/>
              <a:gd name="connsiteY4467" fmla="*/ 43932 h 6689084"/>
              <a:gd name="connsiteX4468" fmla="*/ 3999000 w 6689088"/>
              <a:gd name="connsiteY4468" fmla="*/ 42118 h 6689084"/>
              <a:gd name="connsiteX4469" fmla="*/ 4032769 w 6689088"/>
              <a:gd name="connsiteY4469" fmla="*/ 75884 h 6689084"/>
              <a:gd name="connsiteX4470" fmla="*/ 3999000 w 6689088"/>
              <a:gd name="connsiteY4470" fmla="*/ 109653 h 6689084"/>
              <a:gd name="connsiteX4471" fmla="*/ 3965234 w 6689088"/>
              <a:gd name="connsiteY4471" fmla="*/ 75884 h 6689084"/>
              <a:gd name="connsiteX4472" fmla="*/ 3999000 w 6689088"/>
              <a:gd name="connsiteY4472" fmla="*/ 42118 h 6689084"/>
              <a:gd name="connsiteX4473" fmla="*/ 4152947 w 6689088"/>
              <a:gd name="connsiteY4473" fmla="*/ 39575 h 6689084"/>
              <a:gd name="connsiteX4474" fmla="*/ 4189256 w 6689088"/>
              <a:gd name="connsiteY4474" fmla="*/ 75884 h 6689084"/>
              <a:gd name="connsiteX4475" fmla="*/ 4152947 w 6689088"/>
              <a:gd name="connsiteY4475" fmla="*/ 112192 h 6689084"/>
              <a:gd name="connsiteX4476" fmla="*/ 4116638 w 6689088"/>
              <a:gd name="connsiteY4476" fmla="*/ 75884 h 6689084"/>
              <a:gd name="connsiteX4477" fmla="*/ 4152947 w 6689088"/>
              <a:gd name="connsiteY4477" fmla="*/ 39575 h 6689084"/>
              <a:gd name="connsiteX4478" fmla="*/ 4306532 w 6689088"/>
              <a:gd name="connsiteY4478" fmla="*/ 37033 h 6689084"/>
              <a:gd name="connsiteX4479" fmla="*/ 4345380 w 6689088"/>
              <a:gd name="connsiteY4479" fmla="*/ 75884 h 6689084"/>
              <a:gd name="connsiteX4480" fmla="*/ 4306532 w 6689088"/>
              <a:gd name="connsiteY4480" fmla="*/ 114735 h 6689084"/>
              <a:gd name="connsiteX4481" fmla="*/ 4267682 w 6689088"/>
              <a:gd name="connsiteY4481" fmla="*/ 75884 h 6689084"/>
              <a:gd name="connsiteX4482" fmla="*/ 4306532 w 6689088"/>
              <a:gd name="connsiteY4482" fmla="*/ 37033 h 6689084"/>
              <a:gd name="connsiteX4483" fmla="*/ 4460480 w 6689088"/>
              <a:gd name="connsiteY4483" fmla="*/ 34852 h 6689084"/>
              <a:gd name="connsiteX4484" fmla="*/ 4501511 w 6689088"/>
              <a:gd name="connsiteY4484" fmla="*/ 75880 h 6689084"/>
              <a:gd name="connsiteX4485" fmla="*/ 4460480 w 6689088"/>
              <a:gd name="connsiteY4485" fmla="*/ 116911 h 6689084"/>
              <a:gd name="connsiteX4486" fmla="*/ 4419452 w 6689088"/>
              <a:gd name="connsiteY4486" fmla="*/ 75880 h 6689084"/>
              <a:gd name="connsiteX4487" fmla="*/ 4460480 w 6689088"/>
              <a:gd name="connsiteY4487" fmla="*/ 34852 h 6689084"/>
              <a:gd name="connsiteX4488" fmla="*/ 4614065 w 6689088"/>
              <a:gd name="connsiteY4488" fmla="*/ 32314 h 6689084"/>
              <a:gd name="connsiteX4489" fmla="*/ 4657635 w 6689088"/>
              <a:gd name="connsiteY4489" fmla="*/ 75884 h 6689084"/>
              <a:gd name="connsiteX4490" fmla="*/ 4614065 w 6689088"/>
              <a:gd name="connsiteY4490" fmla="*/ 119454 h 6689084"/>
              <a:gd name="connsiteX4491" fmla="*/ 4570495 w 6689088"/>
              <a:gd name="connsiteY4491" fmla="*/ 75884 h 6689084"/>
              <a:gd name="connsiteX4492" fmla="*/ 4614065 w 6689088"/>
              <a:gd name="connsiteY4492" fmla="*/ 32314 h 6689084"/>
              <a:gd name="connsiteX4493" fmla="*/ 4768012 w 6689088"/>
              <a:gd name="connsiteY4493" fmla="*/ 29771 h 6689084"/>
              <a:gd name="connsiteX4494" fmla="*/ 4814125 w 6689088"/>
              <a:gd name="connsiteY4494" fmla="*/ 75884 h 6689084"/>
              <a:gd name="connsiteX4495" fmla="*/ 4768012 w 6689088"/>
              <a:gd name="connsiteY4495" fmla="*/ 121996 h 6689084"/>
              <a:gd name="connsiteX4496" fmla="*/ 4721900 w 6689088"/>
              <a:gd name="connsiteY4496" fmla="*/ 75884 h 6689084"/>
              <a:gd name="connsiteX4497" fmla="*/ 4768012 w 6689088"/>
              <a:gd name="connsiteY4497" fmla="*/ 29771 h 6689084"/>
              <a:gd name="connsiteX4498" fmla="*/ 4921594 w 6689088"/>
              <a:gd name="connsiteY4498" fmla="*/ 27228 h 6689084"/>
              <a:gd name="connsiteX4499" fmla="*/ 4970249 w 6689088"/>
              <a:gd name="connsiteY4499" fmla="*/ 75880 h 6689084"/>
              <a:gd name="connsiteX4500" fmla="*/ 4921594 w 6689088"/>
              <a:gd name="connsiteY4500" fmla="*/ 124535 h 6689084"/>
              <a:gd name="connsiteX4501" fmla="*/ 4872942 w 6689088"/>
              <a:gd name="connsiteY4501" fmla="*/ 75880 h 6689084"/>
              <a:gd name="connsiteX4502" fmla="*/ 4921594 w 6689088"/>
              <a:gd name="connsiteY4502" fmla="*/ 27228 h 6689084"/>
              <a:gd name="connsiteX4503" fmla="*/ 5075541 w 6689088"/>
              <a:gd name="connsiteY4503" fmla="*/ 24690 h 6689084"/>
              <a:gd name="connsiteX4504" fmla="*/ 5126735 w 6689088"/>
              <a:gd name="connsiteY4504" fmla="*/ 75884 h 6689084"/>
              <a:gd name="connsiteX4505" fmla="*/ 5075541 w 6689088"/>
              <a:gd name="connsiteY4505" fmla="*/ 127081 h 6689084"/>
              <a:gd name="connsiteX4506" fmla="*/ 5024348 w 6689088"/>
              <a:gd name="connsiteY4506" fmla="*/ 75884 h 6689084"/>
              <a:gd name="connsiteX4507" fmla="*/ 5075541 w 6689088"/>
              <a:gd name="connsiteY4507" fmla="*/ 24690 h 6689084"/>
              <a:gd name="connsiteX4508" fmla="*/ 5229126 w 6689088"/>
              <a:gd name="connsiteY4508" fmla="*/ 22509 h 6689084"/>
              <a:gd name="connsiteX4509" fmla="*/ 5282500 w 6689088"/>
              <a:gd name="connsiteY4509" fmla="*/ 75884 h 6689084"/>
              <a:gd name="connsiteX4510" fmla="*/ 5229126 w 6689088"/>
              <a:gd name="connsiteY4510" fmla="*/ 129258 h 6689084"/>
              <a:gd name="connsiteX4511" fmla="*/ 5175752 w 6689088"/>
              <a:gd name="connsiteY4511" fmla="*/ 75884 h 6689084"/>
              <a:gd name="connsiteX4512" fmla="*/ 5229126 w 6689088"/>
              <a:gd name="connsiteY4512" fmla="*/ 22509 h 6689084"/>
              <a:gd name="connsiteX4513" fmla="*/ 5383074 w 6689088"/>
              <a:gd name="connsiteY4513" fmla="*/ 19605 h 6689084"/>
              <a:gd name="connsiteX4514" fmla="*/ 5439352 w 6689088"/>
              <a:gd name="connsiteY4514" fmla="*/ 75884 h 6689084"/>
              <a:gd name="connsiteX4515" fmla="*/ 5383074 w 6689088"/>
              <a:gd name="connsiteY4515" fmla="*/ 132162 h 6689084"/>
              <a:gd name="connsiteX4516" fmla="*/ 5326795 w 6689088"/>
              <a:gd name="connsiteY4516" fmla="*/ 75884 h 6689084"/>
              <a:gd name="connsiteX4517" fmla="*/ 5383074 w 6689088"/>
              <a:gd name="connsiteY4517" fmla="*/ 19605 h 6689084"/>
              <a:gd name="connsiteX4518" fmla="*/ 5536659 w 6689088"/>
              <a:gd name="connsiteY4518" fmla="*/ 17062 h 6689084"/>
              <a:gd name="connsiteX4519" fmla="*/ 5595476 w 6689088"/>
              <a:gd name="connsiteY4519" fmla="*/ 75880 h 6689084"/>
              <a:gd name="connsiteX4520" fmla="*/ 5536659 w 6689088"/>
              <a:gd name="connsiteY4520" fmla="*/ 134701 h 6689084"/>
              <a:gd name="connsiteX4521" fmla="*/ 5477838 w 6689088"/>
              <a:gd name="connsiteY4521" fmla="*/ 75880 h 6689084"/>
              <a:gd name="connsiteX4522" fmla="*/ 5536659 w 6689088"/>
              <a:gd name="connsiteY4522" fmla="*/ 17062 h 6689084"/>
              <a:gd name="connsiteX4523" fmla="*/ 5690606 w 6689088"/>
              <a:gd name="connsiteY4523" fmla="*/ 14157 h 6689084"/>
              <a:gd name="connsiteX4524" fmla="*/ 5752329 w 6689088"/>
              <a:gd name="connsiteY4524" fmla="*/ 75880 h 6689084"/>
              <a:gd name="connsiteX4525" fmla="*/ 5690606 w 6689088"/>
              <a:gd name="connsiteY4525" fmla="*/ 137606 h 6689084"/>
              <a:gd name="connsiteX4526" fmla="*/ 5628880 w 6689088"/>
              <a:gd name="connsiteY4526" fmla="*/ 75880 h 6689084"/>
              <a:gd name="connsiteX4527" fmla="*/ 5690606 w 6689088"/>
              <a:gd name="connsiteY4527" fmla="*/ 14157 h 6689084"/>
              <a:gd name="connsiteX4528" fmla="*/ 5844554 w 6689088"/>
              <a:gd name="connsiteY4528" fmla="*/ 11619 h 6689084"/>
              <a:gd name="connsiteX4529" fmla="*/ 5908822 w 6689088"/>
              <a:gd name="connsiteY4529" fmla="*/ 75884 h 6689084"/>
              <a:gd name="connsiteX4530" fmla="*/ 5844554 w 6689088"/>
              <a:gd name="connsiteY4530" fmla="*/ 140152 h 6689084"/>
              <a:gd name="connsiteX4531" fmla="*/ 5780289 w 6689088"/>
              <a:gd name="connsiteY4531" fmla="*/ 75884 h 6689084"/>
              <a:gd name="connsiteX4532" fmla="*/ 5844554 w 6689088"/>
              <a:gd name="connsiteY4532" fmla="*/ 11619 h 6689084"/>
              <a:gd name="connsiteX4533" fmla="*/ 5998136 w 6689088"/>
              <a:gd name="connsiteY4533" fmla="*/ 8348 h 6689084"/>
              <a:gd name="connsiteX4534" fmla="*/ 6065671 w 6689088"/>
              <a:gd name="connsiteY4534" fmla="*/ 75884 h 6689084"/>
              <a:gd name="connsiteX4535" fmla="*/ 5998136 w 6689088"/>
              <a:gd name="connsiteY4535" fmla="*/ 143415 h 6689084"/>
              <a:gd name="connsiteX4536" fmla="*/ 5930604 w 6689088"/>
              <a:gd name="connsiteY4536" fmla="*/ 75884 h 6689084"/>
              <a:gd name="connsiteX4537" fmla="*/ 5998136 w 6689088"/>
              <a:gd name="connsiteY4537" fmla="*/ 8348 h 6689084"/>
              <a:gd name="connsiteX4538" fmla="*/ 6152086 w 6689088"/>
              <a:gd name="connsiteY4538" fmla="*/ 5809 h 6689084"/>
              <a:gd name="connsiteX4539" fmla="*/ 6222160 w 6689088"/>
              <a:gd name="connsiteY4539" fmla="*/ 75884 h 6689084"/>
              <a:gd name="connsiteX4540" fmla="*/ 6152086 w 6689088"/>
              <a:gd name="connsiteY4540" fmla="*/ 145962 h 6689084"/>
              <a:gd name="connsiteX4541" fmla="*/ 6082008 w 6689088"/>
              <a:gd name="connsiteY4541" fmla="*/ 75884 h 6689084"/>
              <a:gd name="connsiteX4542" fmla="*/ 6152086 w 6689088"/>
              <a:gd name="connsiteY4542" fmla="*/ 5809 h 6689084"/>
              <a:gd name="connsiteX4543" fmla="*/ 6305668 w 6689088"/>
              <a:gd name="connsiteY4543" fmla="*/ 2905 h 6689084"/>
              <a:gd name="connsiteX4544" fmla="*/ 6378650 w 6689088"/>
              <a:gd name="connsiteY4544" fmla="*/ 75884 h 6689084"/>
              <a:gd name="connsiteX4545" fmla="*/ 6305668 w 6689088"/>
              <a:gd name="connsiteY4545" fmla="*/ 148866 h 6689084"/>
              <a:gd name="connsiteX4546" fmla="*/ 6232689 w 6689088"/>
              <a:gd name="connsiteY4546" fmla="*/ 75884 h 6689084"/>
              <a:gd name="connsiteX4547" fmla="*/ 6305668 w 6689088"/>
              <a:gd name="connsiteY4547" fmla="*/ 2905 h 6689084"/>
              <a:gd name="connsiteX4548" fmla="*/ 6459616 w 6689088"/>
              <a:gd name="connsiteY4548" fmla="*/ 362 h 6689084"/>
              <a:gd name="connsiteX4549" fmla="*/ 6535137 w 6689088"/>
              <a:gd name="connsiteY4549" fmla="*/ 75884 h 6689084"/>
              <a:gd name="connsiteX4550" fmla="*/ 6459616 w 6689088"/>
              <a:gd name="connsiteY4550" fmla="*/ 151405 h 6689084"/>
              <a:gd name="connsiteX4551" fmla="*/ 6384094 w 6689088"/>
              <a:gd name="connsiteY4551" fmla="*/ 75884 h 6689084"/>
              <a:gd name="connsiteX4552" fmla="*/ 6459616 w 6689088"/>
              <a:gd name="connsiteY4552" fmla="*/ 362 h 6689084"/>
              <a:gd name="connsiteX4553" fmla="*/ 6613200 w 6689088"/>
              <a:gd name="connsiteY4553" fmla="*/ 0 h 6689084"/>
              <a:gd name="connsiteX4554" fmla="*/ 6689088 w 6689088"/>
              <a:gd name="connsiteY4554" fmla="*/ 75884 h 6689084"/>
              <a:gd name="connsiteX4555" fmla="*/ 6613200 w 6689088"/>
              <a:gd name="connsiteY4555" fmla="*/ 151771 h 6689084"/>
              <a:gd name="connsiteX4556" fmla="*/ 6537317 w 6689088"/>
              <a:gd name="connsiteY4556" fmla="*/ 75884 h 6689084"/>
              <a:gd name="connsiteX4557" fmla="*/ 6613200 w 6689088"/>
              <a:gd name="connsiteY4557" fmla="*/ 0 h 6689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Lst>
            <a:rect l="l" t="t" r="r" b="b"/>
            <a:pathLst>
              <a:path w="6689088" h="6689084">
                <a:moveTo>
                  <a:pt x="6613200" y="6687632"/>
                </a:moveTo>
                <a:cubicBezTo>
                  <a:pt x="6613563" y="6687632"/>
                  <a:pt x="6613929" y="6687994"/>
                  <a:pt x="6613929" y="6688360"/>
                </a:cubicBezTo>
                <a:cubicBezTo>
                  <a:pt x="6613929" y="6688722"/>
                  <a:pt x="6613200" y="6689084"/>
                  <a:pt x="6613200" y="6689084"/>
                </a:cubicBezTo>
                <a:cubicBezTo>
                  <a:pt x="6612838" y="6689084"/>
                  <a:pt x="6612476" y="6688722"/>
                  <a:pt x="6612476" y="6688360"/>
                </a:cubicBezTo>
                <a:cubicBezTo>
                  <a:pt x="6612476" y="6687994"/>
                  <a:pt x="6612838" y="6687632"/>
                  <a:pt x="6613200" y="6687632"/>
                </a:cubicBezTo>
                <a:close/>
                <a:moveTo>
                  <a:pt x="6613200" y="6534050"/>
                </a:moveTo>
                <a:cubicBezTo>
                  <a:pt x="6613566" y="6534050"/>
                  <a:pt x="6613566" y="6534050"/>
                  <a:pt x="6613566" y="6534413"/>
                </a:cubicBezTo>
                <a:cubicBezTo>
                  <a:pt x="6613566" y="6534775"/>
                  <a:pt x="6613200" y="6534775"/>
                  <a:pt x="6613200" y="6534775"/>
                </a:cubicBezTo>
                <a:cubicBezTo>
                  <a:pt x="6612838" y="6534775"/>
                  <a:pt x="6612838" y="6534775"/>
                  <a:pt x="6612838" y="6534413"/>
                </a:cubicBezTo>
                <a:cubicBezTo>
                  <a:pt x="6612838" y="6534050"/>
                  <a:pt x="6612838" y="6534050"/>
                  <a:pt x="6613200" y="6534050"/>
                </a:cubicBezTo>
                <a:close/>
                <a:moveTo>
                  <a:pt x="6459619" y="6533684"/>
                </a:moveTo>
                <a:cubicBezTo>
                  <a:pt x="6460020" y="6533684"/>
                  <a:pt x="6460344" y="6534009"/>
                  <a:pt x="6460344" y="6534413"/>
                </a:cubicBezTo>
                <a:cubicBezTo>
                  <a:pt x="6460344" y="6534813"/>
                  <a:pt x="6460020" y="6535137"/>
                  <a:pt x="6459619" y="6535137"/>
                </a:cubicBezTo>
                <a:cubicBezTo>
                  <a:pt x="6459215" y="6535137"/>
                  <a:pt x="6458891" y="6534813"/>
                  <a:pt x="6458891" y="6534413"/>
                </a:cubicBezTo>
                <a:cubicBezTo>
                  <a:pt x="6458891" y="6534009"/>
                  <a:pt x="6459215" y="6533684"/>
                  <a:pt x="6459619" y="6533684"/>
                </a:cubicBezTo>
                <a:close/>
                <a:moveTo>
                  <a:pt x="6613200" y="6380465"/>
                </a:moveTo>
                <a:cubicBezTo>
                  <a:pt x="6613566" y="6380465"/>
                  <a:pt x="6613566" y="6380465"/>
                  <a:pt x="6613566" y="6380827"/>
                </a:cubicBezTo>
                <a:cubicBezTo>
                  <a:pt x="6613566" y="6381193"/>
                  <a:pt x="6613200" y="6381193"/>
                  <a:pt x="6613200" y="6381193"/>
                </a:cubicBezTo>
                <a:cubicBezTo>
                  <a:pt x="6612838" y="6381193"/>
                  <a:pt x="6612838" y="6381193"/>
                  <a:pt x="6612838" y="6380827"/>
                </a:cubicBezTo>
                <a:cubicBezTo>
                  <a:pt x="6612838" y="6380465"/>
                  <a:pt x="6612838" y="6380465"/>
                  <a:pt x="6613200" y="6380465"/>
                </a:cubicBezTo>
                <a:close/>
                <a:moveTo>
                  <a:pt x="6459616" y="6380465"/>
                </a:moveTo>
                <a:cubicBezTo>
                  <a:pt x="6459982" y="6380465"/>
                  <a:pt x="6459982" y="6380465"/>
                  <a:pt x="6459982" y="6380827"/>
                </a:cubicBezTo>
                <a:cubicBezTo>
                  <a:pt x="6459982" y="6381193"/>
                  <a:pt x="6459616" y="6381193"/>
                  <a:pt x="6459616" y="6381193"/>
                </a:cubicBezTo>
                <a:cubicBezTo>
                  <a:pt x="6459254" y="6381193"/>
                  <a:pt x="6459254" y="6381193"/>
                  <a:pt x="6459254" y="6380827"/>
                </a:cubicBezTo>
                <a:cubicBezTo>
                  <a:pt x="6459254" y="6380465"/>
                  <a:pt x="6459254" y="6380465"/>
                  <a:pt x="6459616" y="6380465"/>
                </a:cubicBezTo>
                <a:close/>
                <a:moveTo>
                  <a:pt x="6305668" y="6380103"/>
                </a:moveTo>
                <a:cubicBezTo>
                  <a:pt x="6306068" y="6380103"/>
                  <a:pt x="6306396" y="6380427"/>
                  <a:pt x="6306396" y="6380831"/>
                </a:cubicBezTo>
                <a:cubicBezTo>
                  <a:pt x="6306396" y="6381231"/>
                  <a:pt x="6306068" y="6381555"/>
                  <a:pt x="6305668" y="6381555"/>
                </a:cubicBezTo>
                <a:cubicBezTo>
                  <a:pt x="6305268" y="6381555"/>
                  <a:pt x="6304940" y="6381231"/>
                  <a:pt x="6304940" y="6380831"/>
                </a:cubicBezTo>
                <a:cubicBezTo>
                  <a:pt x="6304940" y="6380427"/>
                  <a:pt x="6305268" y="6380103"/>
                  <a:pt x="6305668" y="6380103"/>
                </a:cubicBezTo>
                <a:close/>
                <a:moveTo>
                  <a:pt x="6459616" y="6226518"/>
                </a:moveTo>
                <a:cubicBezTo>
                  <a:pt x="6459982" y="6226518"/>
                  <a:pt x="6459982" y="6226518"/>
                  <a:pt x="6459982" y="6226880"/>
                </a:cubicBezTo>
                <a:cubicBezTo>
                  <a:pt x="6459982" y="6227242"/>
                  <a:pt x="6459616" y="6227242"/>
                  <a:pt x="6459616" y="6227242"/>
                </a:cubicBezTo>
                <a:cubicBezTo>
                  <a:pt x="6459254" y="6227242"/>
                  <a:pt x="6459254" y="6227242"/>
                  <a:pt x="6459254" y="6226880"/>
                </a:cubicBezTo>
                <a:cubicBezTo>
                  <a:pt x="6459254" y="6226518"/>
                  <a:pt x="6459254" y="6226518"/>
                  <a:pt x="6459616" y="6226518"/>
                </a:cubicBezTo>
                <a:close/>
                <a:moveTo>
                  <a:pt x="6305668" y="6226518"/>
                </a:moveTo>
                <a:cubicBezTo>
                  <a:pt x="6306034" y="6226518"/>
                  <a:pt x="6306034" y="6226518"/>
                  <a:pt x="6306034" y="6226880"/>
                </a:cubicBezTo>
                <a:cubicBezTo>
                  <a:pt x="6306034" y="6227242"/>
                  <a:pt x="6305668" y="6227242"/>
                  <a:pt x="6305668" y="6227242"/>
                </a:cubicBezTo>
                <a:cubicBezTo>
                  <a:pt x="6305306" y="6227242"/>
                  <a:pt x="6305306" y="6227242"/>
                  <a:pt x="6305306" y="6226880"/>
                </a:cubicBezTo>
                <a:cubicBezTo>
                  <a:pt x="6305306" y="6226518"/>
                  <a:pt x="6305306" y="6226518"/>
                  <a:pt x="6305668" y="6226518"/>
                </a:cubicBezTo>
                <a:close/>
                <a:moveTo>
                  <a:pt x="6152083" y="6226156"/>
                </a:moveTo>
                <a:cubicBezTo>
                  <a:pt x="6152483" y="6226156"/>
                  <a:pt x="6152811" y="6226480"/>
                  <a:pt x="6152811" y="6226884"/>
                </a:cubicBezTo>
                <a:cubicBezTo>
                  <a:pt x="6152811" y="6227284"/>
                  <a:pt x="6152483" y="6227608"/>
                  <a:pt x="6152083" y="6227608"/>
                </a:cubicBezTo>
                <a:cubicBezTo>
                  <a:pt x="6151682" y="6227608"/>
                  <a:pt x="6151358" y="6227284"/>
                  <a:pt x="6151358" y="6226884"/>
                </a:cubicBezTo>
                <a:cubicBezTo>
                  <a:pt x="6151358" y="6226480"/>
                  <a:pt x="6151682" y="6226156"/>
                  <a:pt x="6152083" y="6226156"/>
                </a:cubicBezTo>
                <a:close/>
                <a:moveTo>
                  <a:pt x="6305668" y="6072933"/>
                </a:moveTo>
                <a:cubicBezTo>
                  <a:pt x="6306034" y="6072933"/>
                  <a:pt x="6306034" y="6072933"/>
                  <a:pt x="6306034" y="6073295"/>
                </a:cubicBezTo>
                <a:cubicBezTo>
                  <a:pt x="6306034" y="6073661"/>
                  <a:pt x="6305668" y="6073661"/>
                  <a:pt x="6305668" y="6073661"/>
                </a:cubicBezTo>
                <a:cubicBezTo>
                  <a:pt x="6305306" y="6073661"/>
                  <a:pt x="6305306" y="6073661"/>
                  <a:pt x="6305306" y="6073295"/>
                </a:cubicBezTo>
                <a:cubicBezTo>
                  <a:pt x="6305306" y="6072933"/>
                  <a:pt x="6305306" y="6072933"/>
                  <a:pt x="6305668" y="6072933"/>
                </a:cubicBezTo>
                <a:close/>
                <a:moveTo>
                  <a:pt x="6152086" y="6072933"/>
                </a:moveTo>
                <a:cubicBezTo>
                  <a:pt x="6152448" y="6072933"/>
                  <a:pt x="6152448" y="6072933"/>
                  <a:pt x="6152448" y="6073295"/>
                </a:cubicBezTo>
                <a:cubicBezTo>
                  <a:pt x="6152448" y="6073661"/>
                  <a:pt x="6152086" y="6073661"/>
                  <a:pt x="6152086" y="6073661"/>
                </a:cubicBezTo>
                <a:cubicBezTo>
                  <a:pt x="6151724" y="6073661"/>
                  <a:pt x="6151724" y="6073661"/>
                  <a:pt x="6151724" y="6073295"/>
                </a:cubicBezTo>
                <a:cubicBezTo>
                  <a:pt x="6151724" y="6072933"/>
                  <a:pt x="6151724" y="6072933"/>
                  <a:pt x="6152086" y="6072933"/>
                </a:cubicBezTo>
                <a:close/>
                <a:moveTo>
                  <a:pt x="5998136" y="6072570"/>
                </a:moveTo>
                <a:cubicBezTo>
                  <a:pt x="5998540" y="6072570"/>
                  <a:pt x="5998864" y="6072894"/>
                  <a:pt x="5998864" y="6073298"/>
                </a:cubicBezTo>
                <a:cubicBezTo>
                  <a:pt x="5998864" y="6073699"/>
                  <a:pt x="5998540" y="6074023"/>
                  <a:pt x="5998136" y="6074023"/>
                </a:cubicBezTo>
                <a:cubicBezTo>
                  <a:pt x="5997735" y="6074023"/>
                  <a:pt x="5997411" y="6073699"/>
                  <a:pt x="5997411" y="6073298"/>
                </a:cubicBezTo>
                <a:cubicBezTo>
                  <a:pt x="5997411" y="6072894"/>
                  <a:pt x="5997735" y="6072570"/>
                  <a:pt x="5998136" y="6072570"/>
                </a:cubicBezTo>
                <a:close/>
                <a:moveTo>
                  <a:pt x="6613200" y="5918985"/>
                </a:moveTo>
                <a:cubicBezTo>
                  <a:pt x="6613566" y="5918985"/>
                  <a:pt x="6613566" y="5918985"/>
                  <a:pt x="6613566" y="5919347"/>
                </a:cubicBezTo>
                <a:cubicBezTo>
                  <a:pt x="6613566" y="5919709"/>
                  <a:pt x="6613200" y="5919709"/>
                  <a:pt x="6613200" y="5919709"/>
                </a:cubicBezTo>
                <a:cubicBezTo>
                  <a:pt x="6612838" y="5919709"/>
                  <a:pt x="6612838" y="5919709"/>
                  <a:pt x="6612838" y="5919347"/>
                </a:cubicBezTo>
                <a:cubicBezTo>
                  <a:pt x="6612838" y="5918985"/>
                  <a:pt x="6612838" y="5918985"/>
                  <a:pt x="6613200" y="5918985"/>
                </a:cubicBezTo>
                <a:close/>
                <a:moveTo>
                  <a:pt x="6152086" y="5918985"/>
                </a:moveTo>
                <a:cubicBezTo>
                  <a:pt x="6152448" y="5918985"/>
                  <a:pt x="6152448" y="5918985"/>
                  <a:pt x="6152448" y="5919347"/>
                </a:cubicBezTo>
                <a:cubicBezTo>
                  <a:pt x="6152448" y="5919709"/>
                  <a:pt x="6152086" y="5919709"/>
                  <a:pt x="6152086" y="5919709"/>
                </a:cubicBezTo>
                <a:cubicBezTo>
                  <a:pt x="6151724" y="5919709"/>
                  <a:pt x="6151724" y="5919709"/>
                  <a:pt x="6151724" y="5919347"/>
                </a:cubicBezTo>
                <a:cubicBezTo>
                  <a:pt x="6151724" y="5918985"/>
                  <a:pt x="6151724" y="5918985"/>
                  <a:pt x="6152086" y="5918985"/>
                </a:cubicBezTo>
                <a:close/>
                <a:moveTo>
                  <a:pt x="5998136" y="5918985"/>
                </a:moveTo>
                <a:cubicBezTo>
                  <a:pt x="5998502" y="5918985"/>
                  <a:pt x="5998502" y="5918985"/>
                  <a:pt x="5998502" y="5919347"/>
                </a:cubicBezTo>
                <a:cubicBezTo>
                  <a:pt x="5998502" y="5919709"/>
                  <a:pt x="5998136" y="5919709"/>
                  <a:pt x="5998136" y="5919709"/>
                </a:cubicBezTo>
                <a:cubicBezTo>
                  <a:pt x="5997773" y="5919709"/>
                  <a:pt x="5997773" y="5919709"/>
                  <a:pt x="5997773" y="5919347"/>
                </a:cubicBezTo>
                <a:cubicBezTo>
                  <a:pt x="5997773" y="5918985"/>
                  <a:pt x="5997773" y="5918985"/>
                  <a:pt x="5998136" y="5918985"/>
                </a:cubicBezTo>
                <a:close/>
                <a:moveTo>
                  <a:pt x="5844554" y="5918623"/>
                </a:moveTo>
                <a:cubicBezTo>
                  <a:pt x="5844954" y="5918623"/>
                  <a:pt x="5845278" y="5918947"/>
                  <a:pt x="5845278" y="5919347"/>
                </a:cubicBezTo>
                <a:cubicBezTo>
                  <a:pt x="5845278" y="5919751"/>
                  <a:pt x="5844954" y="5920075"/>
                  <a:pt x="5844554" y="5920075"/>
                </a:cubicBezTo>
                <a:cubicBezTo>
                  <a:pt x="5844150" y="5920075"/>
                  <a:pt x="5843826" y="5919751"/>
                  <a:pt x="5843826" y="5919347"/>
                </a:cubicBezTo>
                <a:cubicBezTo>
                  <a:pt x="5843826" y="5918947"/>
                  <a:pt x="5844150" y="5918623"/>
                  <a:pt x="5844554" y="5918623"/>
                </a:cubicBezTo>
                <a:close/>
                <a:moveTo>
                  <a:pt x="6459616" y="5765400"/>
                </a:moveTo>
                <a:cubicBezTo>
                  <a:pt x="6459982" y="5765400"/>
                  <a:pt x="6459982" y="5765400"/>
                  <a:pt x="6459982" y="5765762"/>
                </a:cubicBezTo>
                <a:cubicBezTo>
                  <a:pt x="6459982" y="5766128"/>
                  <a:pt x="6459616" y="5766128"/>
                  <a:pt x="6459616" y="5766128"/>
                </a:cubicBezTo>
                <a:cubicBezTo>
                  <a:pt x="6459254" y="5766128"/>
                  <a:pt x="6459254" y="5766128"/>
                  <a:pt x="6459254" y="5765762"/>
                </a:cubicBezTo>
                <a:cubicBezTo>
                  <a:pt x="6459254" y="5765400"/>
                  <a:pt x="6459254" y="5765400"/>
                  <a:pt x="6459616" y="5765400"/>
                </a:cubicBezTo>
                <a:close/>
                <a:moveTo>
                  <a:pt x="5998136" y="5765400"/>
                </a:moveTo>
                <a:cubicBezTo>
                  <a:pt x="5998502" y="5765400"/>
                  <a:pt x="5998502" y="5765400"/>
                  <a:pt x="5998502" y="5765762"/>
                </a:cubicBezTo>
                <a:cubicBezTo>
                  <a:pt x="5998502" y="5766128"/>
                  <a:pt x="5998136" y="5766128"/>
                  <a:pt x="5998136" y="5766128"/>
                </a:cubicBezTo>
                <a:cubicBezTo>
                  <a:pt x="5997773" y="5766128"/>
                  <a:pt x="5997773" y="5766128"/>
                  <a:pt x="5997773" y="5765762"/>
                </a:cubicBezTo>
                <a:cubicBezTo>
                  <a:pt x="5997773" y="5765400"/>
                  <a:pt x="5997773" y="5765400"/>
                  <a:pt x="5998136" y="5765400"/>
                </a:cubicBezTo>
                <a:close/>
                <a:moveTo>
                  <a:pt x="5844550" y="5765400"/>
                </a:moveTo>
                <a:cubicBezTo>
                  <a:pt x="5844916" y="5765400"/>
                  <a:pt x="5844916" y="5765400"/>
                  <a:pt x="5844916" y="5765762"/>
                </a:cubicBezTo>
                <a:cubicBezTo>
                  <a:pt x="5844916" y="5766128"/>
                  <a:pt x="5844550" y="5766128"/>
                  <a:pt x="5844550" y="5766128"/>
                </a:cubicBezTo>
                <a:cubicBezTo>
                  <a:pt x="5844188" y="5766128"/>
                  <a:pt x="5844188" y="5766128"/>
                  <a:pt x="5844188" y="5765762"/>
                </a:cubicBezTo>
                <a:cubicBezTo>
                  <a:pt x="5844188" y="5765400"/>
                  <a:pt x="5844188" y="5765400"/>
                  <a:pt x="5844550" y="5765400"/>
                </a:cubicBezTo>
                <a:close/>
                <a:moveTo>
                  <a:pt x="5690602" y="5765038"/>
                </a:moveTo>
                <a:cubicBezTo>
                  <a:pt x="5691003" y="5765038"/>
                  <a:pt x="5691331" y="5765362"/>
                  <a:pt x="5691331" y="5765766"/>
                </a:cubicBezTo>
                <a:cubicBezTo>
                  <a:pt x="5691331" y="5766166"/>
                  <a:pt x="5691003" y="5766490"/>
                  <a:pt x="5690602" y="5766490"/>
                </a:cubicBezTo>
                <a:cubicBezTo>
                  <a:pt x="5690202" y="5766490"/>
                  <a:pt x="5689874" y="5766166"/>
                  <a:pt x="5689874" y="5765766"/>
                </a:cubicBezTo>
                <a:cubicBezTo>
                  <a:pt x="5689874" y="5765362"/>
                  <a:pt x="5690202" y="5765038"/>
                  <a:pt x="5690602" y="5765038"/>
                </a:cubicBezTo>
                <a:close/>
                <a:moveTo>
                  <a:pt x="6613200" y="5764313"/>
                </a:moveTo>
                <a:cubicBezTo>
                  <a:pt x="6614005" y="5764313"/>
                  <a:pt x="6614653" y="5764965"/>
                  <a:pt x="6614653" y="5765766"/>
                </a:cubicBezTo>
                <a:cubicBezTo>
                  <a:pt x="6614653" y="5766566"/>
                  <a:pt x="6614005" y="5767218"/>
                  <a:pt x="6613200" y="5767218"/>
                </a:cubicBezTo>
                <a:cubicBezTo>
                  <a:pt x="6612400" y="5767218"/>
                  <a:pt x="6611752" y="5766566"/>
                  <a:pt x="6611752" y="5765766"/>
                </a:cubicBezTo>
                <a:cubicBezTo>
                  <a:pt x="6611752" y="5764965"/>
                  <a:pt x="6612400" y="5764313"/>
                  <a:pt x="6613200" y="5764313"/>
                </a:cubicBezTo>
                <a:close/>
                <a:moveTo>
                  <a:pt x="6305668" y="5611452"/>
                </a:moveTo>
                <a:cubicBezTo>
                  <a:pt x="6305870" y="5611452"/>
                  <a:pt x="6306034" y="5611616"/>
                  <a:pt x="6306034" y="5611815"/>
                </a:cubicBezTo>
                <a:cubicBezTo>
                  <a:pt x="6306034" y="5612017"/>
                  <a:pt x="6305870" y="5612177"/>
                  <a:pt x="6305668" y="5612177"/>
                </a:cubicBezTo>
                <a:cubicBezTo>
                  <a:pt x="6305470" y="5612177"/>
                  <a:pt x="6305306" y="5612017"/>
                  <a:pt x="6305306" y="5611815"/>
                </a:cubicBezTo>
                <a:cubicBezTo>
                  <a:pt x="6305306" y="5611616"/>
                  <a:pt x="6305470" y="5611452"/>
                  <a:pt x="6305668" y="5611452"/>
                </a:cubicBezTo>
                <a:close/>
                <a:moveTo>
                  <a:pt x="5844550" y="5611452"/>
                </a:moveTo>
                <a:cubicBezTo>
                  <a:pt x="5844916" y="5611452"/>
                  <a:pt x="5844916" y="5611452"/>
                  <a:pt x="5844916" y="5611815"/>
                </a:cubicBezTo>
                <a:cubicBezTo>
                  <a:pt x="5844916" y="5612181"/>
                  <a:pt x="5844550" y="5612181"/>
                  <a:pt x="5844550" y="5612181"/>
                </a:cubicBezTo>
                <a:cubicBezTo>
                  <a:pt x="5844188" y="5612181"/>
                  <a:pt x="5844188" y="5612181"/>
                  <a:pt x="5844188" y="5611815"/>
                </a:cubicBezTo>
                <a:cubicBezTo>
                  <a:pt x="5844188" y="5611452"/>
                  <a:pt x="5844188" y="5611452"/>
                  <a:pt x="5844550" y="5611452"/>
                </a:cubicBezTo>
                <a:close/>
                <a:moveTo>
                  <a:pt x="5690606" y="5611452"/>
                </a:moveTo>
                <a:cubicBezTo>
                  <a:pt x="5690972" y="5611452"/>
                  <a:pt x="5690972" y="5611452"/>
                  <a:pt x="5690972" y="5611815"/>
                </a:cubicBezTo>
                <a:cubicBezTo>
                  <a:pt x="5690972" y="5612181"/>
                  <a:pt x="5690606" y="5612181"/>
                  <a:pt x="5690606" y="5612181"/>
                </a:cubicBezTo>
                <a:cubicBezTo>
                  <a:pt x="5690244" y="5612181"/>
                  <a:pt x="5690244" y="5612181"/>
                  <a:pt x="5690244" y="5611815"/>
                </a:cubicBezTo>
                <a:cubicBezTo>
                  <a:pt x="5690244" y="5611452"/>
                  <a:pt x="5690244" y="5611452"/>
                  <a:pt x="5690606" y="5611452"/>
                </a:cubicBezTo>
                <a:close/>
                <a:moveTo>
                  <a:pt x="5537021" y="5611090"/>
                </a:moveTo>
                <a:cubicBezTo>
                  <a:pt x="5537422" y="5611090"/>
                  <a:pt x="5537750" y="5611414"/>
                  <a:pt x="5537750" y="5611815"/>
                </a:cubicBezTo>
                <a:cubicBezTo>
                  <a:pt x="5537750" y="5612219"/>
                  <a:pt x="5537422" y="5612543"/>
                  <a:pt x="5537021" y="5612543"/>
                </a:cubicBezTo>
                <a:cubicBezTo>
                  <a:pt x="5536621" y="5612543"/>
                  <a:pt x="5536297" y="5612219"/>
                  <a:pt x="5536297" y="5611815"/>
                </a:cubicBezTo>
                <a:cubicBezTo>
                  <a:pt x="5536297" y="5611414"/>
                  <a:pt x="5536621" y="5611090"/>
                  <a:pt x="5537021" y="5611090"/>
                </a:cubicBezTo>
                <a:close/>
                <a:moveTo>
                  <a:pt x="6459616" y="5610366"/>
                </a:moveTo>
                <a:cubicBezTo>
                  <a:pt x="6460420" y="5610366"/>
                  <a:pt x="6461068" y="5611018"/>
                  <a:pt x="6461068" y="5611818"/>
                </a:cubicBezTo>
                <a:cubicBezTo>
                  <a:pt x="6461068" y="5612619"/>
                  <a:pt x="6460420" y="5613271"/>
                  <a:pt x="6459616" y="5613271"/>
                </a:cubicBezTo>
                <a:cubicBezTo>
                  <a:pt x="6458815" y="5613271"/>
                  <a:pt x="6458163" y="5612619"/>
                  <a:pt x="6458163" y="5611818"/>
                </a:cubicBezTo>
                <a:cubicBezTo>
                  <a:pt x="6458163" y="5611018"/>
                  <a:pt x="6458815" y="5610366"/>
                  <a:pt x="6459616" y="5610366"/>
                </a:cubicBezTo>
                <a:close/>
                <a:moveTo>
                  <a:pt x="6613200" y="5609638"/>
                </a:moveTo>
                <a:cubicBezTo>
                  <a:pt x="6614406" y="5609638"/>
                  <a:pt x="6615381" y="5610614"/>
                  <a:pt x="6615381" y="5611815"/>
                </a:cubicBezTo>
                <a:cubicBezTo>
                  <a:pt x="6615381" y="5613019"/>
                  <a:pt x="6614406" y="5613995"/>
                  <a:pt x="6613200" y="5613995"/>
                </a:cubicBezTo>
                <a:cubicBezTo>
                  <a:pt x="6612000" y="5613995"/>
                  <a:pt x="6611024" y="5613019"/>
                  <a:pt x="6611024" y="5611815"/>
                </a:cubicBezTo>
                <a:cubicBezTo>
                  <a:pt x="6611024" y="5610614"/>
                  <a:pt x="6612000" y="5609638"/>
                  <a:pt x="6613200" y="5609638"/>
                </a:cubicBezTo>
                <a:close/>
                <a:moveTo>
                  <a:pt x="6152086" y="5457871"/>
                </a:moveTo>
                <a:cubicBezTo>
                  <a:pt x="6152448" y="5457871"/>
                  <a:pt x="6152448" y="5457871"/>
                  <a:pt x="6152448" y="5458233"/>
                </a:cubicBezTo>
                <a:cubicBezTo>
                  <a:pt x="6152448" y="5458595"/>
                  <a:pt x="6152086" y="5458595"/>
                  <a:pt x="6152086" y="5458595"/>
                </a:cubicBezTo>
                <a:cubicBezTo>
                  <a:pt x="6151724" y="5458595"/>
                  <a:pt x="6151724" y="5458595"/>
                  <a:pt x="6151724" y="5458233"/>
                </a:cubicBezTo>
                <a:cubicBezTo>
                  <a:pt x="6151724" y="5457871"/>
                  <a:pt x="6151724" y="5457871"/>
                  <a:pt x="6152086" y="5457871"/>
                </a:cubicBezTo>
                <a:close/>
                <a:moveTo>
                  <a:pt x="5690606" y="5457871"/>
                </a:moveTo>
                <a:cubicBezTo>
                  <a:pt x="5690972" y="5457871"/>
                  <a:pt x="5690972" y="5457871"/>
                  <a:pt x="5690972" y="5458233"/>
                </a:cubicBezTo>
                <a:cubicBezTo>
                  <a:pt x="5690972" y="5458595"/>
                  <a:pt x="5690606" y="5458595"/>
                  <a:pt x="5690606" y="5458595"/>
                </a:cubicBezTo>
                <a:cubicBezTo>
                  <a:pt x="5690244" y="5458595"/>
                  <a:pt x="5690244" y="5458595"/>
                  <a:pt x="5690244" y="5458233"/>
                </a:cubicBezTo>
                <a:cubicBezTo>
                  <a:pt x="5690244" y="5457871"/>
                  <a:pt x="5690244" y="5457871"/>
                  <a:pt x="5690606" y="5457871"/>
                </a:cubicBezTo>
                <a:close/>
                <a:moveTo>
                  <a:pt x="5536659" y="5457871"/>
                </a:moveTo>
                <a:cubicBezTo>
                  <a:pt x="5537021" y="5457871"/>
                  <a:pt x="5537021" y="5457871"/>
                  <a:pt x="5537021" y="5458233"/>
                </a:cubicBezTo>
                <a:cubicBezTo>
                  <a:pt x="5537021" y="5458595"/>
                  <a:pt x="5536659" y="5458595"/>
                  <a:pt x="5536659" y="5458595"/>
                </a:cubicBezTo>
                <a:cubicBezTo>
                  <a:pt x="5536297" y="5458595"/>
                  <a:pt x="5536297" y="5458595"/>
                  <a:pt x="5536297" y="5458233"/>
                </a:cubicBezTo>
                <a:cubicBezTo>
                  <a:pt x="5536297" y="5457871"/>
                  <a:pt x="5536297" y="5457871"/>
                  <a:pt x="5536659" y="5457871"/>
                </a:cubicBezTo>
                <a:close/>
                <a:moveTo>
                  <a:pt x="5383078" y="5457505"/>
                </a:moveTo>
                <a:cubicBezTo>
                  <a:pt x="5383478" y="5457505"/>
                  <a:pt x="5383802" y="5457829"/>
                  <a:pt x="5383802" y="5458233"/>
                </a:cubicBezTo>
                <a:cubicBezTo>
                  <a:pt x="5383802" y="5458633"/>
                  <a:pt x="5383478" y="5458957"/>
                  <a:pt x="5383078" y="5458957"/>
                </a:cubicBezTo>
                <a:cubicBezTo>
                  <a:pt x="5382674" y="5458957"/>
                  <a:pt x="5382350" y="5458633"/>
                  <a:pt x="5382350" y="5458233"/>
                </a:cubicBezTo>
                <a:cubicBezTo>
                  <a:pt x="5382350" y="5457829"/>
                  <a:pt x="5382674" y="5457505"/>
                  <a:pt x="5383078" y="5457505"/>
                </a:cubicBezTo>
                <a:close/>
                <a:moveTo>
                  <a:pt x="6305668" y="5456781"/>
                </a:moveTo>
                <a:cubicBezTo>
                  <a:pt x="6306472" y="5456781"/>
                  <a:pt x="6307120" y="5457433"/>
                  <a:pt x="6307120" y="5458233"/>
                </a:cubicBezTo>
                <a:cubicBezTo>
                  <a:pt x="6307120" y="5459034"/>
                  <a:pt x="6306472" y="5459685"/>
                  <a:pt x="6305668" y="5459685"/>
                </a:cubicBezTo>
                <a:cubicBezTo>
                  <a:pt x="6304868" y="5459685"/>
                  <a:pt x="6304216" y="5459034"/>
                  <a:pt x="6304216" y="5458233"/>
                </a:cubicBezTo>
                <a:cubicBezTo>
                  <a:pt x="6304216" y="5457433"/>
                  <a:pt x="6304868" y="5456781"/>
                  <a:pt x="6305668" y="5456781"/>
                </a:cubicBezTo>
                <a:close/>
                <a:moveTo>
                  <a:pt x="6459619" y="5456053"/>
                </a:moveTo>
                <a:cubicBezTo>
                  <a:pt x="6460820" y="5456053"/>
                  <a:pt x="6461796" y="5457029"/>
                  <a:pt x="6461796" y="5458233"/>
                </a:cubicBezTo>
                <a:cubicBezTo>
                  <a:pt x="6461796" y="5459434"/>
                  <a:pt x="6460820" y="5460410"/>
                  <a:pt x="6459619" y="5460410"/>
                </a:cubicBezTo>
                <a:cubicBezTo>
                  <a:pt x="6458414" y="5460410"/>
                  <a:pt x="6457439" y="5459434"/>
                  <a:pt x="6457439" y="5458233"/>
                </a:cubicBezTo>
                <a:cubicBezTo>
                  <a:pt x="6457439" y="5457029"/>
                  <a:pt x="6458414" y="5456053"/>
                  <a:pt x="6459619" y="5456053"/>
                </a:cubicBezTo>
                <a:close/>
                <a:moveTo>
                  <a:pt x="6613200" y="5454966"/>
                </a:moveTo>
                <a:cubicBezTo>
                  <a:pt x="6615015" y="5454966"/>
                  <a:pt x="6616468" y="5456419"/>
                  <a:pt x="6616468" y="5458233"/>
                </a:cubicBezTo>
                <a:cubicBezTo>
                  <a:pt x="6616468" y="5460048"/>
                  <a:pt x="6615015" y="5461500"/>
                  <a:pt x="6613200" y="5461500"/>
                </a:cubicBezTo>
                <a:cubicBezTo>
                  <a:pt x="6611386" y="5461500"/>
                  <a:pt x="6609934" y="5460048"/>
                  <a:pt x="6609934" y="5458233"/>
                </a:cubicBezTo>
                <a:cubicBezTo>
                  <a:pt x="6609934" y="5456419"/>
                  <a:pt x="6611386" y="5454966"/>
                  <a:pt x="6613200" y="5454966"/>
                </a:cubicBezTo>
                <a:close/>
                <a:moveTo>
                  <a:pt x="5998136" y="5303924"/>
                </a:moveTo>
                <a:cubicBezTo>
                  <a:pt x="5998502" y="5303924"/>
                  <a:pt x="5998502" y="5303924"/>
                  <a:pt x="5998502" y="5304286"/>
                </a:cubicBezTo>
                <a:cubicBezTo>
                  <a:pt x="5998502" y="5304652"/>
                  <a:pt x="5998136" y="5304652"/>
                  <a:pt x="5998136" y="5304652"/>
                </a:cubicBezTo>
                <a:cubicBezTo>
                  <a:pt x="5997773" y="5304652"/>
                  <a:pt x="5997773" y="5304652"/>
                  <a:pt x="5997773" y="5304286"/>
                </a:cubicBezTo>
                <a:cubicBezTo>
                  <a:pt x="5997773" y="5303924"/>
                  <a:pt x="5997773" y="5303924"/>
                  <a:pt x="5998136" y="5303924"/>
                </a:cubicBezTo>
                <a:close/>
                <a:moveTo>
                  <a:pt x="5536659" y="5303924"/>
                </a:moveTo>
                <a:cubicBezTo>
                  <a:pt x="5537021" y="5303924"/>
                  <a:pt x="5537021" y="5303924"/>
                  <a:pt x="5537021" y="5304286"/>
                </a:cubicBezTo>
                <a:cubicBezTo>
                  <a:pt x="5537021" y="5304652"/>
                  <a:pt x="5536659" y="5304652"/>
                  <a:pt x="5536659" y="5304652"/>
                </a:cubicBezTo>
                <a:cubicBezTo>
                  <a:pt x="5536297" y="5304652"/>
                  <a:pt x="5536297" y="5304652"/>
                  <a:pt x="5536297" y="5304286"/>
                </a:cubicBezTo>
                <a:cubicBezTo>
                  <a:pt x="5536297" y="5303924"/>
                  <a:pt x="5536297" y="5303924"/>
                  <a:pt x="5536659" y="5303924"/>
                </a:cubicBezTo>
                <a:close/>
                <a:moveTo>
                  <a:pt x="5383074" y="5303924"/>
                </a:moveTo>
                <a:cubicBezTo>
                  <a:pt x="5383436" y="5303924"/>
                  <a:pt x="5383436" y="5303924"/>
                  <a:pt x="5383436" y="5304286"/>
                </a:cubicBezTo>
                <a:cubicBezTo>
                  <a:pt x="5383436" y="5304652"/>
                  <a:pt x="5383074" y="5304652"/>
                  <a:pt x="5383074" y="5304652"/>
                </a:cubicBezTo>
                <a:cubicBezTo>
                  <a:pt x="5382712" y="5304652"/>
                  <a:pt x="5382712" y="5304652"/>
                  <a:pt x="5382712" y="5304286"/>
                </a:cubicBezTo>
                <a:cubicBezTo>
                  <a:pt x="5382712" y="5303924"/>
                  <a:pt x="5382712" y="5303924"/>
                  <a:pt x="5383074" y="5303924"/>
                </a:cubicBezTo>
                <a:close/>
                <a:moveTo>
                  <a:pt x="5229126" y="5303558"/>
                </a:moveTo>
                <a:cubicBezTo>
                  <a:pt x="5229492" y="5303558"/>
                  <a:pt x="5229854" y="5303920"/>
                  <a:pt x="5229854" y="5304282"/>
                </a:cubicBezTo>
                <a:cubicBezTo>
                  <a:pt x="5229854" y="5304648"/>
                  <a:pt x="5229126" y="5305010"/>
                  <a:pt x="5229126" y="5305010"/>
                </a:cubicBezTo>
                <a:cubicBezTo>
                  <a:pt x="5228764" y="5305010"/>
                  <a:pt x="5228402" y="5304648"/>
                  <a:pt x="5228402" y="5304282"/>
                </a:cubicBezTo>
                <a:cubicBezTo>
                  <a:pt x="5228402" y="5303920"/>
                  <a:pt x="5228764" y="5303558"/>
                  <a:pt x="5229126" y="5303558"/>
                </a:cubicBezTo>
                <a:close/>
                <a:moveTo>
                  <a:pt x="6152086" y="5302833"/>
                </a:moveTo>
                <a:cubicBezTo>
                  <a:pt x="6152891" y="5302833"/>
                  <a:pt x="6153539" y="5303485"/>
                  <a:pt x="6153539" y="5304286"/>
                </a:cubicBezTo>
                <a:cubicBezTo>
                  <a:pt x="6153539" y="5305086"/>
                  <a:pt x="6152891" y="5305738"/>
                  <a:pt x="6152086" y="5305738"/>
                </a:cubicBezTo>
                <a:cubicBezTo>
                  <a:pt x="6151286" y="5305738"/>
                  <a:pt x="6150638" y="5305086"/>
                  <a:pt x="6150638" y="5304286"/>
                </a:cubicBezTo>
                <a:cubicBezTo>
                  <a:pt x="6150638" y="5303485"/>
                  <a:pt x="6151286" y="5302833"/>
                  <a:pt x="6152086" y="5302833"/>
                </a:cubicBezTo>
                <a:close/>
                <a:moveTo>
                  <a:pt x="6305672" y="5302105"/>
                </a:moveTo>
                <a:cubicBezTo>
                  <a:pt x="6306872" y="5302105"/>
                  <a:pt x="6307848" y="5303081"/>
                  <a:pt x="6307848" y="5304282"/>
                </a:cubicBezTo>
                <a:cubicBezTo>
                  <a:pt x="6307848" y="5305487"/>
                  <a:pt x="6306872" y="5306462"/>
                  <a:pt x="6305672" y="5306462"/>
                </a:cubicBezTo>
                <a:cubicBezTo>
                  <a:pt x="6304468" y="5306462"/>
                  <a:pt x="6303492" y="5305487"/>
                  <a:pt x="6303492" y="5304282"/>
                </a:cubicBezTo>
                <a:cubicBezTo>
                  <a:pt x="6303492" y="5303081"/>
                  <a:pt x="6304468" y="5302105"/>
                  <a:pt x="6305672" y="5302105"/>
                </a:cubicBezTo>
                <a:close/>
                <a:moveTo>
                  <a:pt x="6459619" y="5301019"/>
                </a:moveTo>
                <a:cubicBezTo>
                  <a:pt x="6461434" y="5301019"/>
                  <a:pt x="6462882" y="5302471"/>
                  <a:pt x="6462882" y="5304286"/>
                </a:cubicBezTo>
                <a:cubicBezTo>
                  <a:pt x="6462882" y="5306100"/>
                  <a:pt x="6461434" y="5307553"/>
                  <a:pt x="6459619" y="5307553"/>
                </a:cubicBezTo>
                <a:cubicBezTo>
                  <a:pt x="6457801" y="5307553"/>
                  <a:pt x="6456348" y="5306100"/>
                  <a:pt x="6456348" y="5304286"/>
                </a:cubicBezTo>
                <a:cubicBezTo>
                  <a:pt x="6456348" y="5302471"/>
                  <a:pt x="6457801" y="5301019"/>
                  <a:pt x="6459619" y="5301019"/>
                </a:cubicBezTo>
                <a:close/>
                <a:moveTo>
                  <a:pt x="6613200" y="5299929"/>
                </a:moveTo>
                <a:cubicBezTo>
                  <a:pt x="6615743" y="5299929"/>
                  <a:pt x="6617558" y="5301743"/>
                  <a:pt x="6617558" y="5304286"/>
                </a:cubicBezTo>
                <a:cubicBezTo>
                  <a:pt x="6617558" y="5306828"/>
                  <a:pt x="6615378" y="5308643"/>
                  <a:pt x="6613200" y="5308643"/>
                </a:cubicBezTo>
                <a:cubicBezTo>
                  <a:pt x="6610658" y="5308643"/>
                  <a:pt x="6608844" y="5306828"/>
                  <a:pt x="6608844" y="5304286"/>
                </a:cubicBezTo>
                <a:cubicBezTo>
                  <a:pt x="6608844" y="5301743"/>
                  <a:pt x="6610658" y="5299929"/>
                  <a:pt x="6613200" y="5299929"/>
                </a:cubicBezTo>
                <a:close/>
                <a:moveTo>
                  <a:pt x="5844550" y="5150338"/>
                </a:moveTo>
                <a:cubicBezTo>
                  <a:pt x="5844916" y="5150338"/>
                  <a:pt x="5844916" y="5150338"/>
                  <a:pt x="5844916" y="5150700"/>
                </a:cubicBezTo>
                <a:cubicBezTo>
                  <a:pt x="5844916" y="5151063"/>
                  <a:pt x="5844550" y="5151063"/>
                  <a:pt x="5844550" y="5151063"/>
                </a:cubicBezTo>
                <a:cubicBezTo>
                  <a:pt x="5844188" y="5151063"/>
                  <a:pt x="5844188" y="5151063"/>
                  <a:pt x="5844188" y="5150700"/>
                </a:cubicBezTo>
                <a:cubicBezTo>
                  <a:pt x="5844188" y="5150338"/>
                  <a:pt x="5844188" y="5150338"/>
                  <a:pt x="5844550" y="5150338"/>
                </a:cubicBezTo>
                <a:close/>
                <a:moveTo>
                  <a:pt x="5383074" y="5150338"/>
                </a:moveTo>
                <a:cubicBezTo>
                  <a:pt x="5383436" y="5150338"/>
                  <a:pt x="5383436" y="5150338"/>
                  <a:pt x="5383436" y="5150700"/>
                </a:cubicBezTo>
                <a:cubicBezTo>
                  <a:pt x="5383436" y="5151063"/>
                  <a:pt x="5383074" y="5151063"/>
                  <a:pt x="5383074" y="5151063"/>
                </a:cubicBezTo>
                <a:cubicBezTo>
                  <a:pt x="5382712" y="5151063"/>
                  <a:pt x="5382712" y="5151063"/>
                  <a:pt x="5382712" y="5150700"/>
                </a:cubicBezTo>
                <a:cubicBezTo>
                  <a:pt x="5382712" y="5150338"/>
                  <a:pt x="5382712" y="5150338"/>
                  <a:pt x="5383074" y="5150338"/>
                </a:cubicBezTo>
                <a:close/>
                <a:moveTo>
                  <a:pt x="5229126" y="5150338"/>
                </a:moveTo>
                <a:cubicBezTo>
                  <a:pt x="5229488" y="5150338"/>
                  <a:pt x="5229488" y="5150338"/>
                  <a:pt x="5229488" y="5150700"/>
                </a:cubicBezTo>
                <a:cubicBezTo>
                  <a:pt x="5229488" y="5151063"/>
                  <a:pt x="5229126" y="5151063"/>
                  <a:pt x="5229126" y="5151063"/>
                </a:cubicBezTo>
                <a:cubicBezTo>
                  <a:pt x="5228764" y="5151063"/>
                  <a:pt x="5228764" y="5151063"/>
                  <a:pt x="5228764" y="5150700"/>
                </a:cubicBezTo>
                <a:cubicBezTo>
                  <a:pt x="5228764" y="5150338"/>
                  <a:pt x="5228764" y="5150338"/>
                  <a:pt x="5229126" y="5150338"/>
                </a:cubicBezTo>
                <a:close/>
                <a:moveTo>
                  <a:pt x="5075545" y="5149972"/>
                </a:moveTo>
                <a:cubicBezTo>
                  <a:pt x="5075907" y="5149972"/>
                  <a:pt x="5076270" y="5150335"/>
                  <a:pt x="5076270" y="5150700"/>
                </a:cubicBezTo>
                <a:cubicBezTo>
                  <a:pt x="5076270" y="5151063"/>
                  <a:pt x="5075545" y="5151425"/>
                  <a:pt x="5075545" y="5151425"/>
                </a:cubicBezTo>
                <a:cubicBezTo>
                  <a:pt x="5075179" y="5151425"/>
                  <a:pt x="5074817" y="5151063"/>
                  <a:pt x="5074817" y="5150700"/>
                </a:cubicBezTo>
                <a:cubicBezTo>
                  <a:pt x="5074817" y="5150335"/>
                  <a:pt x="5075179" y="5149972"/>
                  <a:pt x="5075545" y="5149972"/>
                </a:cubicBezTo>
                <a:close/>
                <a:moveTo>
                  <a:pt x="5998139" y="5149248"/>
                </a:moveTo>
                <a:cubicBezTo>
                  <a:pt x="5998944" y="5149248"/>
                  <a:pt x="5999592" y="5149900"/>
                  <a:pt x="5999592" y="5150700"/>
                </a:cubicBezTo>
                <a:cubicBezTo>
                  <a:pt x="5999592" y="5151501"/>
                  <a:pt x="5998944" y="5152153"/>
                  <a:pt x="5998139" y="5152153"/>
                </a:cubicBezTo>
                <a:cubicBezTo>
                  <a:pt x="5997338" y="5152153"/>
                  <a:pt x="5996690" y="5151501"/>
                  <a:pt x="5996690" y="5150700"/>
                </a:cubicBezTo>
                <a:cubicBezTo>
                  <a:pt x="5996690" y="5149900"/>
                  <a:pt x="5997338" y="5149248"/>
                  <a:pt x="5998139" y="5149248"/>
                </a:cubicBezTo>
                <a:close/>
                <a:moveTo>
                  <a:pt x="6152083" y="5148524"/>
                </a:moveTo>
                <a:cubicBezTo>
                  <a:pt x="6153288" y="5148524"/>
                  <a:pt x="6154263" y="5149500"/>
                  <a:pt x="6154263" y="5150704"/>
                </a:cubicBezTo>
                <a:cubicBezTo>
                  <a:pt x="6154263" y="5151905"/>
                  <a:pt x="6153288" y="5152881"/>
                  <a:pt x="6152083" y="5152881"/>
                </a:cubicBezTo>
                <a:cubicBezTo>
                  <a:pt x="6150882" y="5152881"/>
                  <a:pt x="6149906" y="5151905"/>
                  <a:pt x="6149906" y="5150704"/>
                </a:cubicBezTo>
                <a:cubicBezTo>
                  <a:pt x="6149906" y="5149500"/>
                  <a:pt x="6150882" y="5148524"/>
                  <a:pt x="6152083" y="5148524"/>
                </a:cubicBezTo>
                <a:close/>
                <a:moveTo>
                  <a:pt x="6305672" y="5147434"/>
                </a:moveTo>
                <a:cubicBezTo>
                  <a:pt x="6307486" y="5147434"/>
                  <a:pt x="6308935" y="5148886"/>
                  <a:pt x="6308935" y="5150700"/>
                </a:cubicBezTo>
                <a:cubicBezTo>
                  <a:pt x="6308935" y="5152515"/>
                  <a:pt x="6307486" y="5153967"/>
                  <a:pt x="6305672" y="5153967"/>
                </a:cubicBezTo>
                <a:cubicBezTo>
                  <a:pt x="6303854" y="5153967"/>
                  <a:pt x="6302401" y="5152515"/>
                  <a:pt x="6302401" y="5150700"/>
                </a:cubicBezTo>
                <a:cubicBezTo>
                  <a:pt x="6302401" y="5148886"/>
                  <a:pt x="6303854" y="5147434"/>
                  <a:pt x="6305672" y="5147434"/>
                </a:cubicBezTo>
                <a:close/>
                <a:moveTo>
                  <a:pt x="6459616" y="5145981"/>
                </a:moveTo>
                <a:cubicBezTo>
                  <a:pt x="6462158" y="5145981"/>
                  <a:pt x="6463972" y="5147796"/>
                  <a:pt x="6463972" y="5150338"/>
                </a:cubicBezTo>
                <a:cubicBezTo>
                  <a:pt x="6463972" y="5152881"/>
                  <a:pt x="6461792" y="5154695"/>
                  <a:pt x="6459616" y="5154695"/>
                </a:cubicBezTo>
                <a:cubicBezTo>
                  <a:pt x="6457073" y="5154695"/>
                  <a:pt x="6455258" y="5152881"/>
                  <a:pt x="6455258" y="5150338"/>
                </a:cubicBezTo>
                <a:cubicBezTo>
                  <a:pt x="6455258" y="5147796"/>
                  <a:pt x="6457073" y="5145981"/>
                  <a:pt x="6459616" y="5145981"/>
                </a:cubicBezTo>
                <a:close/>
                <a:moveTo>
                  <a:pt x="6613200" y="5144891"/>
                </a:moveTo>
                <a:cubicBezTo>
                  <a:pt x="6616410" y="5144891"/>
                  <a:pt x="6619010" y="5147491"/>
                  <a:pt x="6619010" y="5150700"/>
                </a:cubicBezTo>
                <a:cubicBezTo>
                  <a:pt x="6619010" y="5153910"/>
                  <a:pt x="6616410" y="5156510"/>
                  <a:pt x="6613200" y="5156510"/>
                </a:cubicBezTo>
                <a:cubicBezTo>
                  <a:pt x="6609995" y="5156510"/>
                  <a:pt x="6607395" y="5153910"/>
                  <a:pt x="6607395" y="5150700"/>
                </a:cubicBezTo>
                <a:cubicBezTo>
                  <a:pt x="6607395" y="5147491"/>
                  <a:pt x="6609995" y="5144891"/>
                  <a:pt x="6613200" y="5144891"/>
                </a:cubicBezTo>
                <a:close/>
                <a:moveTo>
                  <a:pt x="5690606" y="4996391"/>
                </a:moveTo>
                <a:cubicBezTo>
                  <a:pt x="5690972" y="4996391"/>
                  <a:pt x="5690972" y="4996391"/>
                  <a:pt x="5690972" y="4996753"/>
                </a:cubicBezTo>
                <a:cubicBezTo>
                  <a:pt x="5690972" y="4997119"/>
                  <a:pt x="5690606" y="4997119"/>
                  <a:pt x="5690606" y="4997119"/>
                </a:cubicBezTo>
                <a:cubicBezTo>
                  <a:pt x="5690244" y="4997119"/>
                  <a:pt x="5690244" y="4997119"/>
                  <a:pt x="5690244" y="4996753"/>
                </a:cubicBezTo>
                <a:cubicBezTo>
                  <a:pt x="5690244" y="4996391"/>
                  <a:pt x="5690244" y="4996391"/>
                  <a:pt x="5690606" y="4996391"/>
                </a:cubicBezTo>
                <a:close/>
                <a:moveTo>
                  <a:pt x="5229126" y="4996391"/>
                </a:moveTo>
                <a:cubicBezTo>
                  <a:pt x="5229488" y="4996391"/>
                  <a:pt x="5229488" y="4996391"/>
                  <a:pt x="5229488" y="4996753"/>
                </a:cubicBezTo>
                <a:cubicBezTo>
                  <a:pt x="5229488" y="4997119"/>
                  <a:pt x="5229126" y="4997119"/>
                  <a:pt x="5229126" y="4997119"/>
                </a:cubicBezTo>
                <a:cubicBezTo>
                  <a:pt x="5228764" y="4997119"/>
                  <a:pt x="5228764" y="4997119"/>
                  <a:pt x="5228764" y="4996753"/>
                </a:cubicBezTo>
                <a:cubicBezTo>
                  <a:pt x="5228764" y="4996391"/>
                  <a:pt x="5228764" y="4996391"/>
                  <a:pt x="5229126" y="4996391"/>
                </a:cubicBezTo>
                <a:close/>
                <a:moveTo>
                  <a:pt x="5075541" y="4996391"/>
                </a:moveTo>
                <a:cubicBezTo>
                  <a:pt x="5075904" y="4996391"/>
                  <a:pt x="5075904" y="4996391"/>
                  <a:pt x="5075904" y="4996753"/>
                </a:cubicBezTo>
                <a:cubicBezTo>
                  <a:pt x="5075904" y="4997119"/>
                  <a:pt x="5075541" y="4997119"/>
                  <a:pt x="5075541" y="4997119"/>
                </a:cubicBezTo>
                <a:cubicBezTo>
                  <a:pt x="5075179" y="4997119"/>
                  <a:pt x="5075179" y="4997119"/>
                  <a:pt x="5075179" y="4996753"/>
                </a:cubicBezTo>
                <a:cubicBezTo>
                  <a:pt x="5075179" y="4996391"/>
                  <a:pt x="5075179" y="4996391"/>
                  <a:pt x="5075541" y="4996391"/>
                </a:cubicBezTo>
                <a:close/>
                <a:moveTo>
                  <a:pt x="4921594" y="4996029"/>
                </a:moveTo>
                <a:cubicBezTo>
                  <a:pt x="4921960" y="4996029"/>
                  <a:pt x="4922322" y="4996391"/>
                  <a:pt x="4922322" y="4996753"/>
                </a:cubicBezTo>
                <a:cubicBezTo>
                  <a:pt x="4922322" y="4997119"/>
                  <a:pt x="4921594" y="4997481"/>
                  <a:pt x="4921594" y="4997481"/>
                </a:cubicBezTo>
                <a:cubicBezTo>
                  <a:pt x="4921232" y="4997481"/>
                  <a:pt x="4920870" y="4997119"/>
                  <a:pt x="4920870" y="4996753"/>
                </a:cubicBezTo>
                <a:cubicBezTo>
                  <a:pt x="4920870" y="4996391"/>
                  <a:pt x="4921232" y="4996029"/>
                  <a:pt x="4921594" y="4996029"/>
                </a:cubicBezTo>
                <a:close/>
                <a:moveTo>
                  <a:pt x="5844554" y="4995301"/>
                </a:moveTo>
                <a:cubicBezTo>
                  <a:pt x="5845278" y="4995301"/>
                  <a:pt x="5846006" y="4996029"/>
                  <a:pt x="5846006" y="4996753"/>
                </a:cubicBezTo>
                <a:cubicBezTo>
                  <a:pt x="5846006" y="4997477"/>
                  <a:pt x="5844554" y="4998205"/>
                  <a:pt x="5844554" y="4998205"/>
                </a:cubicBezTo>
                <a:cubicBezTo>
                  <a:pt x="5843826" y="4998205"/>
                  <a:pt x="5843102" y="4997477"/>
                  <a:pt x="5843102" y="4996753"/>
                </a:cubicBezTo>
                <a:cubicBezTo>
                  <a:pt x="5843102" y="4996029"/>
                  <a:pt x="5843826" y="4995301"/>
                  <a:pt x="5844554" y="4995301"/>
                </a:cubicBezTo>
                <a:close/>
                <a:moveTo>
                  <a:pt x="5998136" y="4994577"/>
                </a:moveTo>
                <a:cubicBezTo>
                  <a:pt x="5999340" y="4994577"/>
                  <a:pt x="6000316" y="4995552"/>
                  <a:pt x="6000316" y="4996753"/>
                </a:cubicBezTo>
                <a:cubicBezTo>
                  <a:pt x="6000316" y="4997958"/>
                  <a:pt x="5999340" y="4998934"/>
                  <a:pt x="5998136" y="4998934"/>
                </a:cubicBezTo>
                <a:cubicBezTo>
                  <a:pt x="5996934" y="4998934"/>
                  <a:pt x="5995959" y="4997958"/>
                  <a:pt x="5995959" y="4996753"/>
                </a:cubicBezTo>
                <a:cubicBezTo>
                  <a:pt x="5995959" y="4995552"/>
                  <a:pt x="5996934" y="4994577"/>
                  <a:pt x="5998136" y="4994577"/>
                </a:cubicBezTo>
                <a:close/>
                <a:moveTo>
                  <a:pt x="6152083" y="4993486"/>
                </a:moveTo>
                <a:cubicBezTo>
                  <a:pt x="6153901" y="4993486"/>
                  <a:pt x="6155350" y="4994939"/>
                  <a:pt x="6155350" y="4996753"/>
                </a:cubicBezTo>
                <a:cubicBezTo>
                  <a:pt x="6155350" y="4998568"/>
                  <a:pt x="6153901" y="5000024"/>
                  <a:pt x="6152083" y="5000024"/>
                </a:cubicBezTo>
                <a:cubicBezTo>
                  <a:pt x="6150268" y="5000024"/>
                  <a:pt x="6148816" y="4998568"/>
                  <a:pt x="6148816" y="4996753"/>
                </a:cubicBezTo>
                <a:cubicBezTo>
                  <a:pt x="6148816" y="4994939"/>
                  <a:pt x="6150268" y="4993486"/>
                  <a:pt x="6152083" y="4993486"/>
                </a:cubicBezTo>
                <a:close/>
                <a:moveTo>
                  <a:pt x="6305668" y="4992396"/>
                </a:moveTo>
                <a:cubicBezTo>
                  <a:pt x="6308210" y="4992396"/>
                  <a:pt x="6310025" y="4994211"/>
                  <a:pt x="6310025" y="4996753"/>
                </a:cubicBezTo>
                <a:cubicBezTo>
                  <a:pt x="6310025" y="4999296"/>
                  <a:pt x="6307844" y="5001110"/>
                  <a:pt x="6305668" y="5001110"/>
                </a:cubicBezTo>
                <a:cubicBezTo>
                  <a:pt x="6303126" y="5001110"/>
                  <a:pt x="6301311" y="4999296"/>
                  <a:pt x="6301311" y="4996753"/>
                </a:cubicBezTo>
                <a:cubicBezTo>
                  <a:pt x="6301311" y="4994211"/>
                  <a:pt x="6303126" y="4992396"/>
                  <a:pt x="6305668" y="4992396"/>
                </a:cubicBezTo>
                <a:close/>
                <a:moveTo>
                  <a:pt x="6459616" y="4990944"/>
                </a:moveTo>
                <a:cubicBezTo>
                  <a:pt x="6462825" y="4990944"/>
                  <a:pt x="6465425" y="4993543"/>
                  <a:pt x="6465425" y="4996753"/>
                </a:cubicBezTo>
                <a:cubicBezTo>
                  <a:pt x="6465425" y="4999963"/>
                  <a:pt x="6462821" y="5002562"/>
                  <a:pt x="6459616" y="5002562"/>
                </a:cubicBezTo>
                <a:cubicBezTo>
                  <a:pt x="6456406" y="5002562"/>
                  <a:pt x="6453806" y="4999963"/>
                  <a:pt x="6453806" y="4996753"/>
                </a:cubicBezTo>
                <a:cubicBezTo>
                  <a:pt x="6453806" y="4993543"/>
                  <a:pt x="6456410" y="4990944"/>
                  <a:pt x="6459616" y="4990944"/>
                </a:cubicBezTo>
                <a:close/>
                <a:moveTo>
                  <a:pt x="6613200" y="4989491"/>
                </a:moveTo>
                <a:cubicBezTo>
                  <a:pt x="6617196" y="4989491"/>
                  <a:pt x="6620462" y="4992758"/>
                  <a:pt x="6620462" y="4996753"/>
                </a:cubicBezTo>
                <a:cubicBezTo>
                  <a:pt x="6620462" y="5000748"/>
                  <a:pt x="6617196" y="5004015"/>
                  <a:pt x="6613200" y="5004015"/>
                </a:cubicBezTo>
                <a:cubicBezTo>
                  <a:pt x="6609210" y="5004015"/>
                  <a:pt x="6605939" y="5000748"/>
                  <a:pt x="6605939" y="4996753"/>
                </a:cubicBezTo>
                <a:cubicBezTo>
                  <a:pt x="6605939" y="4992758"/>
                  <a:pt x="6609210" y="4989491"/>
                  <a:pt x="6613200" y="4989491"/>
                </a:cubicBezTo>
                <a:close/>
                <a:moveTo>
                  <a:pt x="5536659" y="4842806"/>
                </a:moveTo>
                <a:cubicBezTo>
                  <a:pt x="5537021" y="4842806"/>
                  <a:pt x="5537021" y="4842806"/>
                  <a:pt x="5537021" y="4843168"/>
                </a:cubicBezTo>
                <a:cubicBezTo>
                  <a:pt x="5537021" y="4843530"/>
                  <a:pt x="5536659" y="4843530"/>
                  <a:pt x="5536659" y="4843530"/>
                </a:cubicBezTo>
                <a:cubicBezTo>
                  <a:pt x="5536297" y="4843530"/>
                  <a:pt x="5536297" y="4843530"/>
                  <a:pt x="5536297" y="4843168"/>
                </a:cubicBezTo>
                <a:cubicBezTo>
                  <a:pt x="5536297" y="4842806"/>
                  <a:pt x="5536297" y="4842806"/>
                  <a:pt x="5536659" y="4842806"/>
                </a:cubicBezTo>
                <a:close/>
                <a:moveTo>
                  <a:pt x="5075541" y="4842806"/>
                </a:moveTo>
                <a:cubicBezTo>
                  <a:pt x="5075904" y="4842806"/>
                  <a:pt x="5075904" y="4842806"/>
                  <a:pt x="5075904" y="4843168"/>
                </a:cubicBezTo>
                <a:cubicBezTo>
                  <a:pt x="5075904" y="4843530"/>
                  <a:pt x="5075541" y="4843530"/>
                  <a:pt x="5075541" y="4843530"/>
                </a:cubicBezTo>
                <a:cubicBezTo>
                  <a:pt x="5075179" y="4843530"/>
                  <a:pt x="5075179" y="4843530"/>
                  <a:pt x="5075179" y="4843168"/>
                </a:cubicBezTo>
                <a:cubicBezTo>
                  <a:pt x="5075179" y="4842806"/>
                  <a:pt x="5075179" y="4842806"/>
                  <a:pt x="5075541" y="4842806"/>
                </a:cubicBezTo>
                <a:close/>
                <a:moveTo>
                  <a:pt x="4921594" y="4842806"/>
                </a:moveTo>
                <a:cubicBezTo>
                  <a:pt x="4921956" y="4842806"/>
                  <a:pt x="4921956" y="4842806"/>
                  <a:pt x="4921956" y="4843168"/>
                </a:cubicBezTo>
                <a:cubicBezTo>
                  <a:pt x="4921956" y="4843530"/>
                  <a:pt x="4921594" y="4843530"/>
                  <a:pt x="4921594" y="4843530"/>
                </a:cubicBezTo>
                <a:cubicBezTo>
                  <a:pt x="4921232" y="4843530"/>
                  <a:pt x="4921232" y="4843530"/>
                  <a:pt x="4921232" y="4843168"/>
                </a:cubicBezTo>
                <a:cubicBezTo>
                  <a:pt x="4921232" y="4842806"/>
                  <a:pt x="4921232" y="4842806"/>
                  <a:pt x="4921594" y="4842806"/>
                </a:cubicBezTo>
                <a:close/>
                <a:moveTo>
                  <a:pt x="4768012" y="4842444"/>
                </a:moveTo>
                <a:cubicBezTo>
                  <a:pt x="4768374" y="4842444"/>
                  <a:pt x="4768736" y="4842806"/>
                  <a:pt x="4768736" y="4843172"/>
                </a:cubicBezTo>
                <a:cubicBezTo>
                  <a:pt x="4768736" y="4843534"/>
                  <a:pt x="4768012" y="4843896"/>
                  <a:pt x="4768012" y="4843896"/>
                </a:cubicBezTo>
                <a:cubicBezTo>
                  <a:pt x="4767646" y="4843896"/>
                  <a:pt x="4767284" y="4843534"/>
                  <a:pt x="4767284" y="4843172"/>
                </a:cubicBezTo>
                <a:cubicBezTo>
                  <a:pt x="4767284" y="4842806"/>
                  <a:pt x="4767646" y="4842444"/>
                  <a:pt x="4768012" y="4842444"/>
                </a:cubicBezTo>
                <a:close/>
                <a:moveTo>
                  <a:pt x="5690606" y="4841353"/>
                </a:moveTo>
                <a:cubicBezTo>
                  <a:pt x="5691331" y="4841353"/>
                  <a:pt x="5692059" y="4842081"/>
                  <a:pt x="5692059" y="4842806"/>
                </a:cubicBezTo>
                <a:cubicBezTo>
                  <a:pt x="5692059" y="4843530"/>
                  <a:pt x="5690606" y="4844258"/>
                  <a:pt x="5690606" y="4844258"/>
                </a:cubicBezTo>
                <a:cubicBezTo>
                  <a:pt x="5689882" y="4844258"/>
                  <a:pt x="5689154" y="4843530"/>
                  <a:pt x="5689154" y="4842806"/>
                </a:cubicBezTo>
                <a:cubicBezTo>
                  <a:pt x="5689154" y="4842081"/>
                  <a:pt x="5689882" y="4841353"/>
                  <a:pt x="5690606" y="4841353"/>
                </a:cubicBezTo>
                <a:close/>
                <a:moveTo>
                  <a:pt x="5844554" y="4840629"/>
                </a:moveTo>
                <a:cubicBezTo>
                  <a:pt x="5845754" y="4840629"/>
                  <a:pt x="5846730" y="4841605"/>
                  <a:pt x="5846730" y="4842810"/>
                </a:cubicBezTo>
                <a:cubicBezTo>
                  <a:pt x="5846730" y="4844010"/>
                  <a:pt x="5845754" y="4844986"/>
                  <a:pt x="5844554" y="4844986"/>
                </a:cubicBezTo>
                <a:cubicBezTo>
                  <a:pt x="5843350" y="4844986"/>
                  <a:pt x="5842374" y="4844010"/>
                  <a:pt x="5842374" y="4842810"/>
                </a:cubicBezTo>
                <a:cubicBezTo>
                  <a:pt x="5842374" y="4841605"/>
                  <a:pt x="5843350" y="4840629"/>
                  <a:pt x="5844554" y="4840629"/>
                </a:cubicBezTo>
                <a:close/>
                <a:moveTo>
                  <a:pt x="5998136" y="4839901"/>
                </a:moveTo>
                <a:cubicBezTo>
                  <a:pt x="5999950" y="4839901"/>
                  <a:pt x="6001402" y="4841353"/>
                  <a:pt x="6001402" y="4843168"/>
                </a:cubicBezTo>
                <a:cubicBezTo>
                  <a:pt x="6001402" y="4844982"/>
                  <a:pt x="5999950" y="4846435"/>
                  <a:pt x="5998136" y="4846435"/>
                </a:cubicBezTo>
                <a:cubicBezTo>
                  <a:pt x="5996321" y="4846435"/>
                  <a:pt x="5994868" y="4844982"/>
                  <a:pt x="5994868" y="4843168"/>
                </a:cubicBezTo>
                <a:cubicBezTo>
                  <a:pt x="5994868" y="4841353"/>
                  <a:pt x="5996321" y="4839901"/>
                  <a:pt x="5998136" y="4839901"/>
                </a:cubicBezTo>
                <a:close/>
                <a:moveTo>
                  <a:pt x="6152083" y="4838449"/>
                </a:moveTo>
                <a:cubicBezTo>
                  <a:pt x="6154626" y="4838449"/>
                  <a:pt x="6156440" y="4840263"/>
                  <a:pt x="6156440" y="4842806"/>
                </a:cubicBezTo>
                <a:cubicBezTo>
                  <a:pt x="6156440" y="4845348"/>
                  <a:pt x="6154260" y="4847163"/>
                  <a:pt x="6152083" y="4847163"/>
                </a:cubicBezTo>
                <a:cubicBezTo>
                  <a:pt x="6149544" y="4847163"/>
                  <a:pt x="6147726" y="4845348"/>
                  <a:pt x="6147726" y="4842806"/>
                </a:cubicBezTo>
                <a:cubicBezTo>
                  <a:pt x="6147726" y="4840263"/>
                  <a:pt x="6149544" y="4838449"/>
                  <a:pt x="6152083" y="4838449"/>
                </a:cubicBezTo>
                <a:close/>
                <a:moveTo>
                  <a:pt x="6305668" y="4836996"/>
                </a:moveTo>
                <a:cubicBezTo>
                  <a:pt x="6308878" y="4836996"/>
                  <a:pt x="6311478" y="4839596"/>
                  <a:pt x="6311478" y="4842806"/>
                </a:cubicBezTo>
                <a:cubicBezTo>
                  <a:pt x="6311478" y="4846015"/>
                  <a:pt x="6308874" y="4848615"/>
                  <a:pt x="6305668" y="4848615"/>
                </a:cubicBezTo>
                <a:cubicBezTo>
                  <a:pt x="6302458" y="4848615"/>
                  <a:pt x="6299858" y="4846015"/>
                  <a:pt x="6299858" y="4842806"/>
                </a:cubicBezTo>
                <a:cubicBezTo>
                  <a:pt x="6299858" y="4839596"/>
                  <a:pt x="6302462" y="4836996"/>
                  <a:pt x="6305668" y="4836996"/>
                </a:cubicBezTo>
                <a:close/>
                <a:moveTo>
                  <a:pt x="6459616" y="4835544"/>
                </a:moveTo>
                <a:cubicBezTo>
                  <a:pt x="6463610" y="4835544"/>
                  <a:pt x="6466877" y="4838811"/>
                  <a:pt x="6466877" y="4842806"/>
                </a:cubicBezTo>
                <a:cubicBezTo>
                  <a:pt x="6466877" y="4846801"/>
                  <a:pt x="6463610" y="4850067"/>
                  <a:pt x="6459616" y="4850067"/>
                </a:cubicBezTo>
                <a:cubicBezTo>
                  <a:pt x="6455624" y="4850067"/>
                  <a:pt x="6452354" y="4846801"/>
                  <a:pt x="6452354" y="4842806"/>
                </a:cubicBezTo>
                <a:cubicBezTo>
                  <a:pt x="6452354" y="4838811"/>
                  <a:pt x="6455624" y="4835544"/>
                  <a:pt x="6459616" y="4835544"/>
                </a:cubicBezTo>
                <a:close/>
                <a:moveTo>
                  <a:pt x="6613200" y="4833730"/>
                </a:moveTo>
                <a:cubicBezTo>
                  <a:pt x="6618286" y="4833730"/>
                  <a:pt x="6622280" y="4837724"/>
                  <a:pt x="6622280" y="4842806"/>
                </a:cubicBezTo>
                <a:cubicBezTo>
                  <a:pt x="6622280" y="4847891"/>
                  <a:pt x="6618286" y="4851886"/>
                  <a:pt x="6613200" y="4851886"/>
                </a:cubicBezTo>
                <a:cubicBezTo>
                  <a:pt x="6608120" y="4851886"/>
                  <a:pt x="6604124" y="4847891"/>
                  <a:pt x="6604124" y="4842806"/>
                </a:cubicBezTo>
                <a:cubicBezTo>
                  <a:pt x="6604124" y="4837724"/>
                  <a:pt x="6608120" y="4833730"/>
                  <a:pt x="6613200" y="4833730"/>
                </a:cubicBezTo>
                <a:close/>
                <a:moveTo>
                  <a:pt x="5383074" y="4688858"/>
                </a:moveTo>
                <a:cubicBezTo>
                  <a:pt x="5383436" y="4688858"/>
                  <a:pt x="5383436" y="4688858"/>
                  <a:pt x="5383436" y="4689220"/>
                </a:cubicBezTo>
                <a:cubicBezTo>
                  <a:pt x="5383436" y="4689586"/>
                  <a:pt x="5383074" y="4689586"/>
                  <a:pt x="5383074" y="4689586"/>
                </a:cubicBezTo>
                <a:cubicBezTo>
                  <a:pt x="5382712" y="4689586"/>
                  <a:pt x="5382712" y="4689586"/>
                  <a:pt x="5382712" y="4689220"/>
                </a:cubicBezTo>
                <a:cubicBezTo>
                  <a:pt x="5382712" y="4688858"/>
                  <a:pt x="5382712" y="4688858"/>
                  <a:pt x="5383074" y="4688858"/>
                </a:cubicBezTo>
                <a:close/>
                <a:moveTo>
                  <a:pt x="4921594" y="4688858"/>
                </a:moveTo>
                <a:cubicBezTo>
                  <a:pt x="4921956" y="4688858"/>
                  <a:pt x="4921956" y="4688858"/>
                  <a:pt x="4921956" y="4689220"/>
                </a:cubicBezTo>
                <a:cubicBezTo>
                  <a:pt x="4921956" y="4689586"/>
                  <a:pt x="4921594" y="4689586"/>
                  <a:pt x="4921594" y="4689586"/>
                </a:cubicBezTo>
                <a:cubicBezTo>
                  <a:pt x="4921232" y="4689586"/>
                  <a:pt x="4921232" y="4689586"/>
                  <a:pt x="4921232" y="4689220"/>
                </a:cubicBezTo>
                <a:cubicBezTo>
                  <a:pt x="4921232" y="4688858"/>
                  <a:pt x="4921232" y="4688858"/>
                  <a:pt x="4921594" y="4688858"/>
                </a:cubicBezTo>
                <a:close/>
                <a:moveTo>
                  <a:pt x="4768008" y="4688858"/>
                </a:moveTo>
                <a:cubicBezTo>
                  <a:pt x="4768370" y="4688858"/>
                  <a:pt x="4768370" y="4688858"/>
                  <a:pt x="4768370" y="4689220"/>
                </a:cubicBezTo>
                <a:cubicBezTo>
                  <a:pt x="4768370" y="4689586"/>
                  <a:pt x="4768008" y="4689586"/>
                  <a:pt x="4768008" y="4689586"/>
                </a:cubicBezTo>
                <a:cubicBezTo>
                  <a:pt x="4767646" y="4689586"/>
                  <a:pt x="4767646" y="4689586"/>
                  <a:pt x="4767646" y="4689220"/>
                </a:cubicBezTo>
                <a:cubicBezTo>
                  <a:pt x="4767646" y="4688858"/>
                  <a:pt x="4767646" y="4688858"/>
                  <a:pt x="4768008" y="4688858"/>
                </a:cubicBezTo>
                <a:close/>
                <a:moveTo>
                  <a:pt x="4614065" y="4688496"/>
                </a:moveTo>
                <a:cubicBezTo>
                  <a:pt x="4614465" y="4688496"/>
                  <a:pt x="4614789" y="4688820"/>
                  <a:pt x="4614789" y="4689220"/>
                </a:cubicBezTo>
                <a:cubicBezTo>
                  <a:pt x="4614789" y="4689625"/>
                  <a:pt x="4614465" y="4689949"/>
                  <a:pt x="4614065" y="4689949"/>
                </a:cubicBezTo>
                <a:cubicBezTo>
                  <a:pt x="4613661" y="4689949"/>
                  <a:pt x="4613337" y="4689625"/>
                  <a:pt x="4613337" y="4689220"/>
                </a:cubicBezTo>
                <a:cubicBezTo>
                  <a:pt x="4613337" y="4688820"/>
                  <a:pt x="4613661" y="4688496"/>
                  <a:pt x="4614065" y="4688496"/>
                </a:cubicBezTo>
                <a:close/>
                <a:moveTo>
                  <a:pt x="5536659" y="4687406"/>
                </a:moveTo>
                <a:cubicBezTo>
                  <a:pt x="5537384" y="4687406"/>
                  <a:pt x="5538112" y="4688130"/>
                  <a:pt x="5538112" y="4688858"/>
                </a:cubicBezTo>
                <a:cubicBezTo>
                  <a:pt x="5538112" y="4689583"/>
                  <a:pt x="5536659" y="4690311"/>
                  <a:pt x="5536659" y="4690311"/>
                </a:cubicBezTo>
                <a:cubicBezTo>
                  <a:pt x="5535935" y="4690311"/>
                  <a:pt x="5535207" y="4689583"/>
                  <a:pt x="5535207" y="4688858"/>
                </a:cubicBezTo>
                <a:cubicBezTo>
                  <a:pt x="5535207" y="4688130"/>
                  <a:pt x="5535935" y="4687406"/>
                  <a:pt x="5536659" y="4687406"/>
                </a:cubicBezTo>
                <a:close/>
                <a:moveTo>
                  <a:pt x="5690602" y="4687044"/>
                </a:moveTo>
                <a:cubicBezTo>
                  <a:pt x="5691693" y="4687044"/>
                  <a:pt x="5692783" y="4688134"/>
                  <a:pt x="5692783" y="4689220"/>
                </a:cubicBezTo>
                <a:cubicBezTo>
                  <a:pt x="5692783" y="4690311"/>
                  <a:pt x="5690602" y="4691401"/>
                  <a:pt x="5690602" y="4691401"/>
                </a:cubicBezTo>
                <a:cubicBezTo>
                  <a:pt x="5689512" y="4691401"/>
                  <a:pt x="5688426" y="4690311"/>
                  <a:pt x="5688426" y="4689220"/>
                </a:cubicBezTo>
                <a:cubicBezTo>
                  <a:pt x="5688426" y="4688134"/>
                  <a:pt x="5689512" y="4687044"/>
                  <a:pt x="5690602" y="4687044"/>
                </a:cubicBezTo>
                <a:close/>
                <a:moveTo>
                  <a:pt x="5844554" y="4685954"/>
                </a:moveTo>
                <a:cubicBezTo>
                  <a:pt x="5846368" y="4685954"/>
                  <a:pt x="5847817" y="4687406"/>
                  <a:pt x="5847817" y="4689220"/>
                </a:cubicBezTo>
                <a:cubicBezTo>
                  <a:pt x="5847817" y="4691035"/>
                  <a:pt x="5846368" y="4692491"/>
                  <a:pt x="5844554" y="4692491"/>
                </a:cubicBezTo>
                <a:cubicBezTo>
                  <a:pt x="5842736" y="4692491"/>
                  <a:pt x="5841284" y="4691035"/>
                  <a:pt x="5841284" y="4689220"/>
                </a:cubicBezTo>
                <a:cubicBezTo>
                  <a:pt x="5841284" y="4687406"/>
                  <a:pt x="5842736" y="4685954"/>
                  <a:pt x="5844554" y="4685954"/>
                </a:cubicBezTo>
                <a:close/>
                <a:moveTo>
                  <a:pt x="5998136" y="4684863"/>
                </a:moveTo>
                <a:cubicBezTo>
                  <a:pt x="6000678" y="4684863"/>
                  <a:pt x="6002492" y="4686678"/>
                  <a:pt x="6002492" y="4689220"/>
                </a:cubicBezTo>
                <a:cubicBezTo>
                  <a:pt x="6002492" y="4691763"/>
                  <a:pt x="6000312" y="4693577"/>
                  <a:pt x="5998136" y="4693577"/>
                </a:cubicBezTo>
                <a:cubicBezTo>
                  <a:pt x="5995593" y="4693577"/>
                  <a:pt x="5993778" y="4691763"/>
                  <a:pt x="5993778" y="4689220"/>
                </a:cubicBezTo>
                <a:cubicBezTo>
                  <a:pt x="5993778" y="4686678"/>
                  <a:pt x="5995593" y="4684863"/>
                  <a:pt x="5998136" y="4684863"/>
                </a:cubicBezTo>
                <a:close/>
                <a:moveTo>
                  <a:pt x="6152086" y="4683411"/>
                </a:moveTo>
                <a:cubicBezTo>
                  <a:pt x="6155354" y="4683411"/>
                  <a:pt x="6157896" y="4685954"/>
                  <a:pt x="6157896" y="4689220"/>
                </a:cubicBezTo>
                <a:cubicBezTo>
                  <a:pt x="6157896" y="4692487"/>
                  <a:pt x="6155354" y="4695030"/>
                  <a:pt x="6152086" y="4695030"/>
                </a:cubicBezTo>
                <a:cubicBezTo>
                  <a:pt x="6148820" y="4695030"/>
                  <a:pt x="6146277" y="4692487"/>
                  <a:pt x="6146277" y="4689220"/>
                </a:cubicBezTo>
                <a:cubicBezTo>
                  <a:pt x="6146277" y="4685954"/>
                  <a:pt x="6148820" y="4683411"/>
                  <a:pt x="6152086" y="4683411"/>
                </a:cubicBezTo>
                <a:close/>
                <a:moveTo>
                  <a:pt x="6305668" y="4681959"/>
                </a:moveTo>
                <a:cubicBezTo>
                  <a:pt x="6309663" y="4681959"/>
                  <a:pt x="6312930" y="4685226"/>
                  <a:pt x="6312930" y="4689220"/>
                </a:cubicBezTo>
                <a:cubicBezTo>
                  <a:pt x="6312930" y="4693215"/>
                  <a:pt x="6309663" y="4696482"/>
                  <a:pt x="6305668" y="4696482"/>
                </a:cubicBezTo>
                <a:cubicBezTo>
                  <a:pt x="6301673" y="4696482"/>
                  <a:pt x="6298406" y="4693215"/>
                  <a:pt x="6298406" y="4689220"/>
                </a:cubicBezTo>
                <a:cubicBezTo>
                  <a:pt x="6298406" y="4685226"/>
                  <a:pt x="6301673" y="4681959"/>
                  <a:pt x="6305668" y="4681959"/>
                </a:cubicBezTo>
                <a:close/>
                <a:moveTo>
                  <a:pt x="6459616" y="4680144"/>
                </a:moveTo>
                <a:cubicBezTo>
                  <a:pt x="6464700" y="4680144"/>
                  <a:pt x="6468696" y="4684139"/>
                  <a:pt x="6468696" y="4689220"/>
                </a:cubicBezTo>
                <a:cubicBezTo>
                  <a:pt x="6468696" y="4694306"/>
                  <a:pt x="6464700" y="4698300"/>
                  <a:pt x="6459616" y="4698300"/>
                </a:cubicBezTo>
                <a:cubicBezTo>
                  <a:pt x="6454534" y="4698300"/>
                  <a:pt x="6450540" y="4694306"/>
                  <a:pt x="6450540" y="4689220"/>
                </a:cubicBezTo>
                <a:cubicBezTo>
                  <a:pt x="6450540" y="4684139"/>
                  <a:pt x="6454534" y="4680144"/>
                  <a:pt x="6459616" y="4680144"/>
                </a:cubicBezTo>
                <a:close/>
                <a:moveTo>
                  <a:pt x="6613200" y="4679054"/>
                </a:moveTo>
                <a:cubicBezTo>
                  <a:pt x="6618648" y="4679054"/>
                  <a:pt x="6623367" y="4683773"/>
                  <a:pt x="6623367" y="4689220"/>
                </a:cubicBezTo>
                <a:cubicBezTo>
                  <a:pt x="6623367" y="4694668"/>
                  <a:pt x="6619010" y="4699387"/>
                  <a:pt x="6613200" y="4699387"/>
                </a:cubicBezTo>
                <a:cubicBezTo>
                  <a:pt x="6607754" y="4699387"/>
                  <a:pt x="6603034" y="4694668"/>
                  <a:pt x="6603034" y="4689220"/>
                </a:cubicBezTo>
                <a:cubicBezTo>
                  <a:pt x="6603034" y="4683773"/>
                  <a:pt x="6607754" y="4679054"/>
                  <a:pt x="6613200" y="4679054"/>
                </a:cubicBezTo>
                <a:close/>
                <a:moveTo>
                  <a:pt x="5229126" y="4535273"/>
                </a:moveTo>
                <a:cubicBezTo>
                  <a:pt x="5229488" y="4535273"/>
                  <a:pt x="5229488" y="4535273"/>
                  <a:pt x="5229488" y="4535635"/>
                </a:cubicBezTo>
                <a:cubicBezTo>
                  <a:pt x="5229488" y="4535997"/>
                  <a:pt x="5229126" y="4535997"/>
                  <a:pt x="5229126" y="4535997"/>
                </a:cubicBezTo>
                <a:cubicBezTo>
                  <a:pt x="5228764" y="4535997"/>
                  <a:pt x="5228764" y="4535997"/>
                  <a:pt x="5228764" y="4535635"/>
                </a:cubicBezTo>
                <a:cubicBezTo>
                  <a:pt x="5228764" y="4535273"/>
                  <a:pt x="5228764" y="4535273"/>
                  <a:pt x="5229126" y="4535273"/>
                </a:cubicBezTo>
                <a:close/>
                <a:moveTo>
                  <a:pt x="4768008" y="4535273"/>
                </a:moveTo>
                <a:cubicBezTo>
                  <a:pt x="4768370" y="4535273"/>
                  <a:pt x="4768370" y="4535273"/>
                  <a:pt x="4768370" y="4535635"/>
                </a:cubicBezTo>
                <a:cubicBezTo>
                  <a:pt x="4768370" y="4535997"/>
                  <a:pt x="4768008" y="4535997"/>
                  <a:pt x="4768008" y="4535997"/>
                </a:cubicBezTo>
                <a:cubicBezTo>
                  <a:pt x="4767646" y="4535997"/>
                  <a:pt x="4767646" y="4535997"/>
                  <a:pt x="4767646" y="4535635"/>
                </a:cubicBezTo>
                <a:cubicBezTo>
                  <a:pt x="4767646" y="4535273"/>
                  <a:pt x="4767646" y="4535273"/>
                  <a:pt x="4768008" y="4535273"/>
                </a:cubicBezTo>
                <a:close/>
                <a:moveTo>
                  <a:pt x="4614061" y="4535273"/>
                </a:moveTo>
                <a:cubicBezTo>
                  <a:pt x="4614424" y="4535273"/>
                  <a:pt x="4614424" y="4535273"/>
                  <a:pt x="4614424" y="4535635"/>
                </a:cubicBezTo>
                <a:cubicBezTo>
                  <a:pt x="4614424" y="4535997"/>
                  <a:pt x="4614061" y="4535997"/>
                  <a:pt x="4614061" y="4535997"/>
                </a:cubicBezTo>
                <a:cubicBezTo>
                  <a:pt x="4613699" y="4535997"/>
                  <a:pt x="4613699" y="4535997"/>
                  <a:pt x="4613699" y="4535635"/>
                </a:cubicBezTo>
                <a:cubicBezTo>
                  <a:pt x="4613699" y="4535273"/>
                  <a:pt x="4613699" y="4535273"/>
                  <a:pt x="4614061" y="4535273"/>
                </a:cubicBezTo>
                <a:close/>
                <a:moveTo>
                  <a:pt x="4460480" y="4534911"/>
                </a:moveTo>
                <a:cubicBezTo>
                  <a:pt x="4460842" y="4534911"/>
                  <a:pt x="4461204" y="4535273"/>
                  <a:pt x="4461204" y="4535635"/>
                </a:cubicBezTo>
                <a:cubicBezTo>
                  <a:pt x="4461204" y="4536001"/>
                  <a:pt x="4460480" y="4536363"/>
                  <a:pt x="4460480" y="4536363"/>
                </a:cubicBezTo>
                <a:cubicBezTo>
                  <a:pt x="4460114" y="4536363"/>
                  <a:pt x="4459752" y="4536001"/>
                  <a:pt x="4459752" y="4535635"/>
                </a:cubicBezTo>
                <a:cubicBezTo>
                  <a:pt x="4459752" y="4535273"/>
                  <a:pt x="4460114" y="4534911"/>
                  <a:pt x="4460480" y="4534911"/>
                </a:cubicBezTo>
                <a:close/>
                <a:moveTo>
                  <a:pt x="5383074" y="4533821"/>
                </a:moveTo>
                <a:cubicBezTo>
                  <a:pt x="5383798" y="4533821"/>
                  <a:pt x="5384526" y="4534545"/>
                  <a:pt x="5384526" y="4535273"/>
                </a:cubicBezTo>
                <a:cubicBezTo>
                  <a:pt x="5384526" y="4535997"/>
                  <a:pt x="5383074" y="4536725"/>
                  <a:pt x="5383074" y="4536725"/>
                </a:cubicBezTo>
                <a:cubicBezTo>
                  <a:pt x="5382346" y="4536725"/>
                  <a:pt x="5381622" y="4535997"/>
                  <a:pt x="5381622" y="4535273"/>
                </a:cubicBezTo>
                <a:cubicBezTo>
                  <a:pt x="5381622" y="4534545"/>
                  <a:pt x="5382346" y="4533821"/>
                  <a:pt x="5383074" y="4533821"/>
                </a:cubicBezTo>
                <a:close/>
                <a:moveTo>
                  <a:pt x="5536659" y="4533096"/>
                </a:moveTo>
                <a:cubicBezTo>
                  <a:pt x="5537750" y="4533096"/>
                  <a:pt x="5538840" y="4534187"/>
                  <a:pt x="5538840" y="4535277"/>
                </a:cubicBezTo>
                <a:cubicBezTo>
                  <a:pt x="5538840" y="4536363"/>
                  <a:pt x="5536659" y="4537453"/>
                  <a:pt x="5536659" y="4537453"/>
                </a:cubicBezTo>
                <a:cubicBezTo>
                  <a:pt x="5535569" y="4537453"/>
                  <a:pt x="5534482" y="4536363"/>
                  <a:pt x="5534482" y="4535277"/>
                </a:cubicBezTo>
                <a:cubicBezTo>
                  <a:pt x="5534482" y="4534187"/>
                  <a:pt x="5535569" y="4533096"/>
                  <a:pt x="5536659" y="4533096"/>
                </a:cubicBezTo>
                <a:close/>
                <a:moveTo>
                  <a:pt x="5690606" y="4532368"/>
                </a:moveTo>
                <a:cubicBezTo>
                  <a:pt x="5692421" y="4532368"/>
                  <a:pt x="5693870" y="4533821"/>
                  <a:pt x="5693870" y="4535635"/>
                </a:cubicBezTo>
                <a:cubicBezTo>
                  <a:pt x="5693870" y="4537450"/>
                  <a:pt x="5692421" y="4538906"/>
                  <a:pt x="5690606" y="4538906"/>
                </a:cubicBezTo>
                <a:cubicBezTo>
                  <a:pt x="5688788" y="4538906"/>
                  <a:pt x="5687336" y="4537450"/>
                  <a:pt x="5687336" y="4535635"/>
                </a:cubicBezTo>
                <a:cubicBezTo>
                  <a:pt x="5687336" y="4533821"/>
                  <a:pt x="5688788" y="4532368"/>
                  <a:pt x="5690606" y="4532368"/>
                </a:cubicBezTo>
                <a:close/>
                <a:moveTo>
                  <a:pt x="5844554" y="4530916"/>
                </a:moveTo>
                <a:cubicBezTo>
                  <a:pt x="5847096" y="4530916"/>
                  <a:pt x="5848911" y="4532731"/>
                  <a:pt x="5848911" y="4535273"/>
                </a:cubicBezTo>
                <a:cubicBezTo>
                  <a:pt x="5848911" y="4537816"/>
                  <a:pt x="5846730" y="4539630"/>
                  <a:pt x="5844554" y="4539630"/>
                </a:cubicBezTo>
                <a:cubicBezTo>
                  <a:pt x="5842012" y="4539630"/>
                  <a:pt x="5840197" y="4537816"/>
                  <a:pt x="5840197" y="4535273"/>
                </a:cubicBezTo>
                <a:cubicBezTo>
                  <a:pt x="5840197" y="4532731"/>
                  <a:pt x="5842012" y="4530916"/>
                  <a:pt x="5844554" y="4530916"/>
                </a:cubicBezTo>
                <a:close/>
                <a:moveTo>
                  <a:pt x="5998139" y="4529830"/>
                </a:moveTo>
                <a:cubicBezTo>
                  <a:pt x="6001406" y="4529830"/>
                  <a:pt x="6003948" y="4532372"/>
                  <a:pt x="6003948" y="4535639"/>
                </a:cubicBezTo>
                <a:cubicBezTo>
                  <a:pt x="6003948" y="4538906"/>
                  <a:pt x="6001406" y="4541448"/>
                  <a:pt x="5998139" y="4541448"/>
                </a:cubicBezTo>
                <a:cubicBezTo>
                  <a:pt x="5994872" y="4541448"/>
                  <a:pt x="5992330" y="4538906"/>
                  <a:pt x="5992330" y="4535639"/>
                </a:cubicBezTo>
                <a:cubicBezTo>
                  <a:pt x="5992330" y="4532372"/>
                  <a:pt x="5994872" y="4529830"/>
                  <a:pt x="5998139" y="4529830"/>
                </a:cubicBezTo>
                <a:close/>
                <a:moveTo>
                  <a:pt x="6152086" y="4528011"/>
                </a:moveTo>
                <a:cubicBezTo>
                  <a:pt x="6156082" y="4528011"/>
                  <a:pt x="6159348" y="4531278"/>
                  <a:pt x="6159348" y="4535273"/>
                </a:cubicBezTo>
                <a:cubicBezTo>
                  <a:pt x="6159348" y="4539268"/>
                  <a:pt x="6156082" y="4542535"/>
                  <a:pt x="6152086" y="4542535"/>
                </a:cubicBezTo>
                <a:cubicBezTo>
                  <a:pt x="6148092" y="4542535"/>
                  <a:pt x="6144825" y="4539268"/>
                  <a:pt x="6144825" y="4535273"/>
                </a:cubicBezTo>
                <a:cubicBezTo>
                  <a:pt x="6144825" y="4531278"/>
                  <a:pt x="6148092" y="4528011"/>
                  <a:pt x="6152086" y="4528011"/>
                </a:cubicBezTo>
                <a:close/>
                <a:moveTo>
                  <a:pt x="6305668" y="4526197"/>
                </a:moveTo>
                <a:cubicBezTo>
                  <a:pt x="6310750" y="4526197"/>
                  <a:pt x="6314748" y="4530192"/>
                  <a:pt x="6314748" y="4535273"/>
                </a:cubicBezTo>
                <a:cubicBezTo>
                  <a:pt x="6314748" y="4540358"/>
                  <a:pt x="6310750" y="4544353"/>
                  <a:pt x="6305668" y="4544353"/>
                </a:cubicBezTo>
                <a:cubicBezTo>
                  <a:pt x="6300587" y="4544353"/>
                  <a:pt x="6296592" y="4540358"/>
                  <a:pt x="6296592" y="4535273"/>
                </a:cubicBezTo>
                <a:cubicBezTo>
                  <a:pt x="6296592" y="4530192"/>
                  <a:pt x="6300587" y="4526197"/>
                  <a:pt x="6305668" y="4526197"/>
                </a:cubicBezTo>
                <a:close/>
                <a:moveTo>
                  <a:pt x="6459616" y="4525469"/>
                </a:moveTo>
                <a:cubicBezTo>
                  <a:pt x="6465062" y="4525469"/>
                  <a:pt x="6469782" y="4530188"/>
                  <a:pt x="6469782" y="4535635"/>
                </a:cubicBezTo>
                <a:cubicBezTo>
                  <a:pt x="6469782" y="4541082"/>
                  <a:pt x="6465425" y="4545802"/>
                  <a:pt x="6459616" y="4545802"/>
                </a:cubicBezTo>
                <a:cubicBezTo>
                  <a:pt x="6454168" y="4545802"/>
                  <a:pt x="6449449" y="4541082"/>
                  <a:pt x="6449449" y="4535635"/>
                </a:cubicBezTo>
                <a:cubicBezTo>
                  <a:pt x="6449449" y="4530188"/>
                  <a:pt x="6454168" y="4525469"/>
                  <a:pt x="6459616" y="4525469"/>
                </a:cubicBezTo>
                <a:close/>
                <a:moveTo>
                  <a:pt x="6613197" y="4523292"/>
                </a:moveTo>
                <a:cubicBezTo>
                  <a:pt x="6619734" y="4523292"/>
                  <a:pt x="6625182" y="4528739"/>
                  <a:pt x="6625182" y="4535273"/>
                </a:cubicBezTo>
                <a:cubicBezTo>
                  <a:pt x="6625182" y="4541810"/>
                  <a:pt x="6619734" y="4547254"/>
                  <a:pt x="6613197" y="4547254"/>
                </a:cubicBezTo>
                <a:cubicBezTo>
                  <a:pt x="6606664" y="4547254"/>
                  <a:pt x="6601216" y="4541810"/>
                  <a:pt x="6601216" y="4535273"/>
                </a:cubicBezTo>
                <a:cubicBezTo>
                  <a:pt x="6601216" y="4528739"/>
                  <a:pt x="6606664" y="4523292"/>
                  <a:pt x="6613197" y="4523292"/>
                </a:cubicBezTo>
                <a:close/>
                <a:moveTo>
                  <a:pt x="5075541" y="4381326"/>
                </a:moveTo>
                <a:cubicBezTo>
                  <a:pt x="5075904" y="4381326"/>
                  <a:pt x="5075904" y="4381326"/>
                  <a:pt x="5075904" y="4381688"/>
                </a:cubicBezTo>
                <a:cubicBezTo>
                  <a:pt x="5075904" y="4382054"/>
                  <a:pt x="5075541" y="4382054"/>
                  <a:pt x="5075541" y="4382054"/>
                </a:cubicBezTo>
                <a:cubicBezTo>
                  <a:pt x="5075179" y="4382054"/>
                  <a:pt x="5075179" y="4382054"/>
                  <a:pt x="5075179" y="4381688"/>
                </a:cubicBezTo>
                <a:cubicBezTo>
                  <a:pt x="5075179" y="4381326"/>
                  <a:pt x="5075179" y="4381326"/>
                  <a:pt x="5075541" y="4381326"/>
                </a:cubicBezTo>
                <a:close/>
                <a:moveTo>
                  <a:pt x="4614061" y="4381326"/>
                </a:moveTo>
                <a:cubicBezTo>
                  <a:pt x="4614424" y="4381326"/>
                  <a:pt x="4614424" y="4381326"/>
                  <a:pt x="4614424" y="4381688"/>
                </a:cubicBezTo>
                <a:cubicBezTo>
                  <a:pt x="4614424" y="4382054"/>
                  <a:pt x="4614061" y="4382054"/>
                  <a:pt x="4614061" y="4382054"/>
                </a:cubicBezTo>
                <a:cubicBezTo>
                  <a:pt x="4613699" y="4382054"/>
                  <a:pt x="4613699" y="4382054"/>
                  <a:pt x="4613699" y="4381688"/>
                </a:cubicBezTo>
                <a:cubicBezTo>
                  <a:pt x="4613699" y="4381326"/>
                  <a:pt x="4613699" y="4381326"/>
                  <a:pt x="4614061" y="4381326"/>
                </a:cubicBezTo>
                <a:close/>
                <a:moveTo>
                  <a:pt x="4460480" y="4381326"/>
                </a:moveTo>
                <a:cubicBezTo>
                  <a:pt x="4460842" y="4381326"/>
                  <a:pt x="4460842" y="4381326"/>
                  <a:pt x="4460842" y="4381688"/>
                </a:cubicBezTo>
                <a:cubicBezTo>
                  <a:pt x="4460842" y="4382054"/>
                  <a:pt x="4460480" y="4382054"/>
                  <a:pt x="4460480" y="4382054"/>
                </a:cubicBezTo>
                <a:cubicBezTo>
                  <a:pt x="4460118" y="4382054"/>
                  <a:pt x="4460118" y="4382054"/>
                  <a:pt x="4460118" y="4381688"/>
                </a:cubicBezTo>
                <a:cubicBezTo>
                  <a:pt x="4460118" y="4381326"/>
                  <a:pt x="4460118" y="4381326"/>
                  <a:pt x="4460480" y="4381326"/>
                </a:cubicBezTo>
                <a:close/>
                <a:moveTo>
                  <a:pt x="4306528" y="4380964"/>
                </a:moveTo>
                <a:cubicBezTo>
                  <a:pt x="4306894" y="4380964"/>
                  <a:pt x="4307256" y="4381326"/>
                  <a:pt x="4307256" y="4381688"/>
                </a:cubicBezTo>
                <a:cubicBezTo>
                  <a:pt x="4307256" y="4382054"/>
                  <a:pt x="4306528" y="4382416"/>
                  <a:pt x="4306528" y="4382416"/>
                </a:cubicBezTo>
                <a:cubicBezTo>
                  <a:pt x="4306166" y="4382416"/>
                  <a:pt x="4305804" y="4382054"/>
                  <a:pt x="4305804" y="4381688"/>
                </a:cubicBezTo>
                <a:cubicBezTo>
                  <a:pt x="4305804" y="4381326"/>
                  <a:pt x="4306166" y="4380964"/>
                  <a:pt x="4306528" y="4380964"/>
                </a:cubicBezTo>
                <a:close/>
                <a:moveTo>
                  <a:pt x="5229126" y="4379873"/>
                </a:moveTo>
                <a:cubicBezTo>
                  <a:pt x="5229850" y="4379873"/>
                  <a:pt x="5230579" y="4380601"/>
                  <a:pt x="5230579" y="4381326"/>
                </a:cubicBezTo>
                <a:cubicBezTo>
                  <a:pt x="5230579" y="4382054"/>
                  <a:pt x="5229126" y="4382778"/>
                  <a:pt x="5229126" y="4382778"/>
                </a:cubicBezTo>
                <a:cubicBezTo>
                  <a:pt x="5228398" y="4382778"/>
                  <a:pt x="5227674" y="4382054"/>
                  <a:pt x="5227674" y="4381326"/>
                </a:cubicBezTo>
                <a:cubicBezTo>
                  <a:pt x="5227674" y="4380601"/>
                  <a:pt x="5228398" y="4379873"/>
                  <a:pt x="5229126" y="4379873"/>
                </a:cubicBezTo>
                <a:close/>
                <a:moveTo>
                  <a:pt x="5383074" y="4379511"/>
                </a:moveTo>
                <a:cubicBezTo>
                  <a:pt x="5384164" y="4379511"/>
                  <a:pt x="5385250" y="4380601"/>
                  <a:pt x="5385250" y="4381688"/>
                </a:cubicBezTo>
                <a:cubicBezTo>
                  <a:pt x="5385250" y="4382778"/>
                  <a:pt x="5383074" y="4383868"/>
                  <a:pt x="5383074" y="4383868"/>
                </a:cubicBezTo>
                <a:cubicBezTo>
                  <a:pt x="5381984" y="4383868"/>
                  <a:pt x="5380894" y="4382778"/>
                  <a:pt x="5380894" y="4381688"/>
                </a:cubicBezTo>
                <a:cubicBezTo>
                  <a:pt x="5380894" y="4380601"/>
                  <a:pt x="5381984" y="4379511"/>
                  <a:pt x="5383074" y="4379511"/>
                </a:cubicBezTo>
                <a:close/>
                <a:moveTo>
                  <a:pt x="5536659" y="4378421"/>
                </a:moveTo>
                <a:cubicBezTo>
                  <a:pt x="5538474" y="4378421"/>
                  <a:pt x="5539922" y="4379873"/>
                  <a:pt x="5539922" y="4381688"/>
                </a:cubicBezTo>
                <a:cubicBezTo>
                  <a:pt x="5539922" y="4383506"/>
                  <a:pt x="5538474" y="4384958"/>
                  <a:pt x="5536659" y="4384958"/>
                </a:cubicBezTo>
                <a:cubicBezTo>
                  <a:pt x="5534841" y="4384958"/>
                  <a:pt x="5533388" y="4383506"/>
                  <a:pt x="5533388" y="4381688"/>
                </a:cubicBezTo>
                <a:cubicBezTo>
                  <a:pt x="5533388" y="4379873"/>
                  <a:pt x="5534841" y="4378421"/>
                  <a:pt x="5536659" y="4378421"/>
                </a:cubicBezTo>
                <a:close/>
                <a:moveTo>
                  <a:pt x="5690606" y="4377331"/>
                </a:moveTo>
                <a:cubicBezTo>
                  <a:pt x="5693149" y="4377331"/>
                  <a:pt x="5694964" y="4379145"/>
                  <a:pt x="5694964" y="4381688"/>
                </a:cubicBezTo>
                <a:cubicBezTo>
                  <a:pt x="5694964" y="4384230"/>
                  <a:pt x="5692783" y="4386045"/>
                  <a:pt x="5690606" y="4386045"/>
                </a:cubicBezTo>
                <a:cubicBezTo>
                  <a:pt x="5688064" y="4386045"/>
                  <a:pt x="5686250" y="4384230"/>
                  <a:pt x="5686250" y="4381688"/>
                </a:cubicBezTo>
                <a:cubicBezTo>
                  <a:pt x="5686250" y="4379145"/>
                  <a:pt x="5688064" y="4377331"/>
                  <a:pt x="5690606" y="4377331"/>
                </a:cubicBezTo>
                <a:close/>
                <a:moveTo>
                  <a:pt x="5844550" y="4375878"/>
                </a:moveTo>
                <a:cubicBezTo>
                  <a:pt x="5847817" y="4375878"/>
                  <a:pt x="5850360" y="4378421"/>
                  <a:pt x="5850360" y="4381688"/>
                </a:cubicBezTo>
                <a:cubicBezTo>
                  <a:pt x="5850360" y="4384955"/>
                  <a:pt x="5847817" y="4387497"/>
                  <a:pt x="5844550" y="4387497"/>
                </a:cubicBezTo>
                <a:cubicBezTo>
                  <a:pt x="5841284" y="4387497"/>
                  <a:pt x="5838741" y="4384955"/>
                  <a:pt x="5838741" y="4381688"/>
                </a:cubicBezTo>
                <a:cubicBezTo>
                  <a:pt x="5838741" y="4378421"/>
                  <a:pt x="5841284" y="4375878"/>
                  <a:pt x="5844550" y="4375878"/>
                </a:cubicBezTo>
                <a:close/>
                <a:moveTo>
                  <a:pt x="5998136" y="4374430"/>
                </a:moveTo>
                <a:cubicBezTo>
                  <a:pt x="6002130" y="4374430"/>
                  <a:pt x="6005397" y="4377697"/>
                  <a:pt x="6005397" y="4381692"/>
                </a:cubicBezTo>
                <a:cubicBezTo>
                  <a:pt x="6005397" y="4385686"/>
                  <a:pt x="6002130" y="4388953"/>
                  <a:pt x="5998136" y="4388953"/>
                </a:cubicBezTo>
                <a:cubicBezTo>
                  <a:pt x="5994144" y="4388953"/>
                  <a:pt x="5990874" y="4385686"/>
                  <a:pt x="5990874" y="4381692"/>
                </a:cubicBezTo>
                <a:cubicBezTo>
                  <a:pt x="5990874" y="4377697"/>
                  <a:pt x="5994144" y="4374430"/>
                  <a:pt x="5998136" y="4374430"/>
                </a:cubicBezTo>
                <a:close/>
                <a:moveTo>
                  <a:pt x="6152083" y="4372612"/>
                </a:moveTo>
                <a:cubicBezTo>
                  <a:pt x="6157168" y="4372612"/>
                  <a:pt x="6161162" y="4376607"/>
                  <a:pt x="6161162" y="4381688"/>
                </a:cubicBezTo>
                <a:cubicBezTo>
                  <a:pt x="6161162" y="4386773"/>
                  <a:pt x="6157168" y="4390768"/>
                  <a:pt x="6152083" y="4390768"/>
                </a:cubicBezTo>
                <a:cubicBezTo>
                  <a:pt x="6147002" y="4390768"/>
                  <a:pt x="6143006" y="4386773"/>
                  <a:pt x="6143006" y="4381688"/>
                </a:cubicBezTo>
                <a:cubicBezTo>
                  <a:pt x="6143006" y="4376607"/>
                  <a:pt x="6147002" y="4372612"/>
                  <a:pt x="6152083" y="4372612"/>
                </a:cubicBezTo>
                <a:close/>
                <a:moveTo>
                  <a:pt x="6305668" y="4371525"/>
                </a:moveTo>
                <a:cubicBezTo>
                  <a:pt x="6311115" y="4371525"/>
                  <a:pt x="6315834" y="4376244"/>
                  <a:pt x="6315834" y="4381692"/>
                </a:cubicBezTo>
                <a:cubicBezTo>
                  <a:pt x="6315834" y="4387139"/>
                  <a:pt x="6311478" y="4391858"/>
                  <a:pt x="6305668" y="4391858"/>
                </a:cubicBezTo>
                <a:cubicBezTo>
                  <a:pt x="6300221" y="4391858"/>
                  <a:pt x="6295502" y="4387139"/>
                  <a:pt x="6295502" y="4381692"/>
                </a:cubicBezTo>
                <a:cubicBezTo>
                  <a:pt x="6295502" y="4376244"/>
                  <a:pt x="6300221" y="4371525"/>
                  <a:pt x="6305668" y="4371525"/>
                </a:cubicBezTo>
                <a:close/>
                <a:moveTo>
                  <a:pt x="6459616" y="4369707"/>
                </a:moveTo>
                <a:cubicBezTo>
                  <a:pt x="6466153" y="4369707"/>
                  <a:pt x="6471600" y="4375154"/>
                  <a:pt x="6471600" y="4381688"/>
                </a:cubicBezTo>
                <a:cubicBezTo>
                  <a:pt x="6471600" y="4388225"/>
                  <a:pt x="6466153" y="4393672"/>
                  <a:pt x="6459616" y="4393672"/>
                </a:cubicBezTo>
                <a:cubicBezTo>
                  <a:pt x="6453082" y="4393672"/>
                  <a:pt x="6447634" y="4388225"/>
                  <a:pt x="6447634" y="4381688"/>
                </a:cubicBezTo>
                <a:cubicBezTo>
                  <a:pt x="6447634" y="4375154"/>
                  <a:pt x="6453082" y="4369707"/>
                  <a:pt x="6459616" y="4369707"/>
                </a:cubicBezTo>
                <a:close/>
                <a:moveTo>
                  <a:pt x="6613200" y="4367530"/>
                </a:moveTo>
                <a:cubicBezTo>
                  <a:pt x="6620824" y="4367530"/>
                  <a:pt x="6626996" y="4373702"/>
                  <a:pt x="6626996" y="4381326"/>
                </a:cubicBezTo>
                <a:cubicBezTo>
                  <a:pt x="6626996" y="4388953"/>
                  <a:pt x="6620824" y="4395125"/>
                  <a:pt x="6613200" y="4395125"/>
                </a:cubicBezTo>
                <a:cubicBezTo>
                  <a:pt x="6605577" y="4395125"/>
                  <a:pt x="6599402" y="4388953"/>
                  <a:pt x="6599402" y="4381326"/>
                </a:cubicBezTo>
                <a:cubicBezTo>
                  <a:pt x="6599402" y="4373702"/>
                  <a:pt x="6605577" y="4367530"/>
                  <a:pt x="6613200" y="4367530"/>
                </a:cubicBezTo>
                <a:close/>
                <a:moveTo>
                  <a:pt x="4921594" y="4227744"/>
                </a:moveTo>
                <a:cubicBezTo>
                  <a:pt x="4921956" y="4227744"/>
                  <a:pt x="4921956" y="4227744"/>
                  <a:pt x="4921956" y="4228106"/>
                </a:cubicBezTo>
                <a:cubicBezTo>
                  <a:pt x="4921956" y="4228468"/>
                  <a:pt x="4921594" y="4228468"/>
                  <a:pt x="4921594" y="4228468"/>
                </a:cubicBezTo>
                <a:cubicBezTo>
                  <a:pt x="4921232" y="4228468"/>
                  <a:pt x="4921232" y="4228468"/>
                  <a:pt x="4921232" y="4228106"/>
                </a:cubicBezTo>
                <a:cubicBezTo>
                  <a:pt x="4921232" y="4227744"/>
                  <a:pt x="4921232" y="4227744"/>
                  <a:pt x="4921594" y="4227744"/>
                </a:cubicBezTo>
                <a:close/>
                <a:moveTo>
                  <a:pt x="4460480" y="4227744"/>
                </a:moveTo>
                <a:cubicBezTo>
                  <a:pt x="4460842" y="4227744"/>
                  <a:pt x="4460842" y="4227744"/>
                  <a:pt x="4460842" y="4228106"/>
                </a:cubicBezTo>
                <a:cubicBezTo>
                  <a:pt x="4460842" y="4228468"/>
                  <a:pt x="4460480" y="4228468"/>
                  <a:pt x="4460480" y="4228468"/>
                </a:cubicBezTo>
                <a:cubicBezTo>
                  <a:pt x="4460118" y="4228468"/>
                  <a:pt x="4460118" y="4228468"/>
                  <a:pt x="4460118" y="4228106"/>
                </a:cubicBezTo>
                <a:cubicBezTo>
                  <a:pt x="4460118" y="4227744"/>
                  <a:pt x="4460118" y="4227744"/>
                  <a:pt x="4460480" y="4227744"/>
                </a:cubicBezTo>
                <a:close/>
                <a:moveTo>
                  <a:pt x="4306532" y="4227744"/>
                </a:moveTo>
                <a:cubicBezTo>
                  <a:pt x="4306894" y="4227744"/>
                  <a:pt x="4306894" y="4227744"/>
                  <a:pt x="4306894" y="4228106"/>
                </a:cubicBezTo>
                <a:cubicBezTo>
                  <a:pt x="4306894" y="4228468"/>
                  <a:pt x="4306532" y="4228468"/>
                  <a:pt x="4306532" y="4228468"/>
                </a:cubicBezTo>
                <a:cubicBezTo>
                  <a:pt x="4306170" y="4228468"/>
                  <a:pt x="4306170" y="4228468"/>
                  <a:pt x="4306170" y="4228106"/>
                </a:cubicBezTo>
                <a:cubicBezTo>
                  <a:pt x="4306170" y="4227744"/>
                  <a:pt x="4306170" y="4227744"/>
                  <a:pt x="4306532" y="4227744"/>
                </a:cubicBezTo>
                <a:close/>
                <a:moveTo>
                  <a:pt x="4152947" y="4227378"/>
                </a:moveTo>
                <a:cubicBezTo>
                  <a:pt x="4153309" y="4227378"/>
                  <a:pt x="4153672" y="4227740"/>
                  <a:pt x="4153672" y="4228103"/>
                </a:cubicBezTo>
                <a:cubicBezTo>
                  <a:pt x="4153672" y="4228468"/>
                  <a:pt x="4152947" y="4228831"/>
                  <a:pt x="4152947" y="4228831"/>
                </a:cubicBezTo>
                <a:cubicBezTo>
                  <a:pt x="4152581" y="4228831"/>
                  <a:pt x="4152219" y="4228468"/>
                  <a:pt x="4152219" y="4228103"/>
                </a:cubicBezTo>
                <a:cubicBezTo>
                  <a:pt x="4152219" y="4227740"/>
                  <a:pt x="4152581" y="4227378"/>
                  <a:pt x="4152947" y="4227378"/>
                </a:cubicBezTo>
                <a:close/>
                <a:moveTo>
                  <a:pt x="5075541" y="4226292"/>
                </a:moveTo>
                <a:cubicBezTo>
                  <a:pt x="5076266" y="4226292"/>
                  <a:pt x="5076994" y="4227016"/>
                  <a:pt x="5076994" y="4227744"/>
                </a:cubicBezTo>
                <a:cubicBezTo>
                  <a:pt x="5076994" y="4228468"/>
                  <a:pt x="5075541" y="4229197"/>
                  <a:pt x="5075541" y="4229197"/>
                </a:cubicBezTo>
                <a:cubicBezTo>
                  <a:pt x="5074813" y="4229197"/>
                  <a:pt x="5074089" y="4228468"/>
                  <a:pt x="5074089" y="4227744"/>
                </a:cubicBezTo>
                <a:cubicBezTo>
                  <a:pt x="5074089" y="4227016"/>
                  <a:pt x="5074813" y="4226292"/>
                  <a:pt x="5075541" y="4226292"/>
                </a:cubicBezTo>
                <a:close/>
                <a:moveTo>
                  <a:pt x="5229122" y="4225564"/>
                </a:moveTo>
                <a:cubicBezTo>
                  <a:pt x="5230213" y="4225564"/>
                  <a:pt x="5231303" y="4226654"/>
                  <a:pt x="5231303" y="4227744"/>
                </a:cubicBezTo>
                <a:cubicBezTo>
                  <a:pt x="5231303" y="4228831"/>
                  <a:pt x="5229122" y="4229921"/>
                  <a:pt x="5229122" y="4229921"/>
                </a:cubicBezTo>
                <a:cubicBezTo>
                  <a:pt x="5228036" y="4229921"/>
                  <a:pt x="5226946" y="4228831"/>
                  <a:pt x="5226946" y="4227744"/>
                </a:cubicBezTo>
                <a:cubicBezTo>
                  <a:pt x="5226946" y="4226654"/>
                  <a:pt x="5228036" y="4225564"/>
                  <a:pt x="5229122" y="4225564"/>
                </a:cubicBezTo>
                <a:close/>
                <a:moveTo>
                  <a:pt x="5383078" y="4224840"/>
                </a:moveTo>
                <a:cubicBezTo>
                  <a:pt x="5384892" y="4224840"/>
                  <a:pt x="5386344" y="4226292"/>
                  <a:pt x="5386344" y="4228106"/>
                </a:cubicBezTo>
                <a:cubicBezTo>
                  <a:pt x="5386344" y="4229921"/>
                  <a:pt x="5384892" y="4231377"/>
                  <a:pt x="5383078" y="4231377"/>
                </a:cubicBezTo>
                <a:cubicBezTo>
                  <a:pt x="5381260" y="4231377"/>
                  <a:pt x="5379807" y="4229921"/>
                  <a:pt x="5379807" y="4228106"/>
                </a:cubicBezTo>
                <a:cubicBezTo>
                  <a:pt x="5379807" y="4226292"/>
                  <a:pt x="5381260" y="4224840"/>
                  <a:pt x="5383078" y="4224840"/>
                </a:cubicBezTo>
                <a:close/>
                <a:moveTo>
                  <a:pt x="5536659" y="4223383"/>
                </a:moveTo>
                <a:cubicBezTo>
                  <a:pt x="5539198" y="4223383"/>
                  <a:pt x="5541016" y="4225198"/>
                  <a:pt x="5541016" y="4227740"/>
                </a:cubicBezTo>
                <a:cubicBezTo>
                  <a:pt x="5541016" y="4230283"/>
                  <a:pt x="5538836" y="4232097"/>
                  <a:pt x="5536659" y="4232097"/>
                </a:cubicBezTo>
                <a:cubicBezTo>
                  <a:pt x="5534116" y="4232097"/>
                  <a:pt x="5532302" y="4230283"/>
                  <a:pt x="5532302" y="4227740"/>
                </a:cubicBezTo>
                <a:cubicBezTo>
                  <a:pt x="5532302" y="4225198"/>
                  <a:pt x="5534116" y="4223383"/>
                  <a:pt x="5536659" y="4223383"/>
                </a:cubicBezTo>
                <a:close/>
                <a:moveTo>
                  <a:pt x="5690606" y="4222297"/>
                </a:moveTo>
                <a:cubicBezTo>
                  <a:pt x="5693874" y="4222297"/>
                  <a:pt x="5696416" y="4224840"/>
                  <a:pt x="5696416" y="4228106"/>
                </a:cubicBezTo>
                <a:cubicBezTo>
                  <a:pt x="5696416" y="4231373"/>
                  <a:pt x="5693874" y="4233916"/>
                  <a:pt x="5690606" y="4233916"/>
                </a:cubicBezTo>
                <a:cubicBezTo>
                  <a:pt x="5687340" y="4233916"/>
                  <a:pt x="5684797" y="4231373"/>
                  <a:pt x="5684797" y="4228106"/>
                </a:cubicBezTo>
                <a:cubicBezTo>
                  <a:pt x="5684797" y="4224840"/>
                  <a:pt x="5687340" y="4222297"/>
                  <a:pt x="5690606" y="4222297"/>
                </a:cubicBezTo>
                <a:close/>
                <a:moveTo>
                  <a:pt x="5844554" y="4220479"/>
                </a:moveTo>
                <a:cubicBezTo>
                  <a:pt x="5848549" y="4220479"/>
                  <a:pt x="5851816" y="4223746"/>
                  <a:pt x="5851816" y="4227740"/>
                </a:cubicBezTo>
                <a:cubicBezTo>
                  <a:pt x="5851816" y="4231735"/>
                  <a:pt x="5848549" y="4235002"/>
                  <a:pt x="5844554" y="4235002"/>
                </a:cubicBezTo>
                <a:cubicBezTo>
                  <a:pt x="5840563" y="4235002"/>
                  <a:pt x="5837292" y="4231735"/>
                  <a:pt x="5837292" y="4227740"/>
                </a:cubicBezTo>
                <a:cubicBezTo>
                  <a:pt x="5837292" y="4223746"/>
                  <a:pt x="5840563" y="4220479"/>
                  <a:pt x="5844554" y="4220479"/>
                </a:cubicBezTo>
                <a:close/>
                <a:moveTo>
                  <a:pt x="5998136" y="4218664"/>
                </a:moveTo>
                <a:cubicBezTo>
                  <a:pt x="6003220" y="4218664"/>
                  <a:pt x="6007216" y="4222659"/>
                  <a:pt x="6007216" y="4227740"/>
                </a:cubicBezTo>
                <a:cubicBezTo>
                  <a:pt x="6007216" y="4232825"/>
                  <a:pt x="6003220" y="4236820"/>
                  <a:pt x="5998136" y="4236820"/>
                </a:cubicBezTo>
                <a:cubicBezTo>
                  <a:pt x="5993054" y="4236820"/>
                  <a:pt x="5989059" y="4232825"/>
                  <a:pt x="5989059" y="4227740"/>
                </a:cubicBezTo>
                <a:cubicBezTo>
                  <a:pt x="5989059" y="4222659"/>
                  <a:pt x="5993054" y="4218664"/>
                  <a:pt x="5998136" y="4218664"/>
                </a:cubicBezTo>
                <a:close/>
                <a:moveTo>
                  <a:pt x="6152086" y="4217940"/>
                </a:moveTo>
                <a:cubicBezTo>
                  <a:pt x="6157534" y="4217940"/>
                  <a:pt x="6162253" y="4222659"/>
                  <a:pt x="6162253" y="4228106"/>
                </a:cubicBezTo>
                <a:cubicBezTo>
                  <a:pt x="6162253" y="4233554"/>
                  <a:pt x="6157896" y="4238273"/>
                  <a:pt x="6152086" y="4238273"/>
                </a:cubicBezTo>
                <a:cubicBezTo>
                  <a:pt x="6146640" y="4238273"/>
                  <a:pt x="6141920" y="4233554"/>
                  <a:pt x="6141920" y="4228106"/>
                </a:cubicBezTo>
                <a:cubicBezTo>
                  <a:pt x="6141920" y="4222659"/>
                  <a:pt x="6146640" y="4217940"/>
                  <a:pt x="6152086" y="4217940"/>
                </a:cubicBezTo>
                <a:close/>
                <a:moveTo>
                  <a:pt x="6305668" y="4215760"/>
                </a:moveTo>
                <a:cubicBezTo>
                  <a:pt x="6312206" y="4215760"/>
                  <a:pt x="6317649" y="4221207"/>
                  <a:pt x="6317649" y="4227740"/>
                </a:cubicBezTo>
                <a:cubicBezTo>
                  <a:pt x="6317649" y="4234278"/>
                  <a:pt x="6312206" y="4239721"/>
                  <a:pt x="6305668" y="4239721"/>
                </a:cubicBezTo>
                <a:cubicBezTo>
                  <a:pt x="6299134" y="4239721"/>
                  <a:pt x="6293687" y="4234278"/>
                  <a:pt x="6293687" y="4227740"/>
                </a:cubicBezTo>
                <a:cubicBezTo>
                  <a:pt x="6293687" y="4221207"/>
                  <a:pt x="6299134" y="4215760"/>
                  <a:pt x="6305668" y="4215760"/>
                </a:cubicBezTo>
                <a:close/>
                <a:moveTo>
                  <a:pt x="6459619" y="4213945"/>
                </a:moveTo>
                <a:cubicBezTo>
                  <a:pt x="6467243" y="4213945"/>
                  <a:pt x="6473414" y="4220117"/>
                  <a:pt x="6473414" y="4227744"/>
                </a:cubicBezTo>
                <a:cubicBezTo>
                  <a:pt x="6473414" y="4235368"/>
                  <a:pt x="6467243" y="4241539"/>
                  <a:pt x="6459619" y="4241539"/>
                </a:cubicBezTo>
                <a:cubicBezTo>
                  <a:pt x="6451992" y="4241539"/>
                  <a:pt x="6445820" y="4235368"/>
                  <a:pt x="6445820" y="4227744"/>
                </a:cubicBezTo>
                <a:cubicBezTo>
                  <a:pt x="6445820" y="4220117"/>
                  <a:pt x="6451992" y="4213945"/>
                  <a:pt x="6459619" y="4213945"/>
                </a:cubicBezTo>
                <a:close/>
                <a:moveTo>
                  <a:pt x="6613200" y="4212855"/>
                </a:moveTo>
                <a:cubicBezTo>
                  <a:pt x="6621552" y="4212855"/>
                  <a:pt x="6628452" y="4219754"/>
                  <a:pt x="6628452" y="4228103"/>
                </a:cubicBezTo>
                <a:cubicBezTo>
                  <a:pt x="6628452" y="4236454"/>
                  <a:pt x="6621552" y="4243354"/>
                  <a:pt x="6613200" y="4243354"/>
                </a:cubicBezTo>
                <a:cubicBezTo>
                  <a:pt x="6604852" y="4243354"/>
                  <a:pt x="6597953" y="4236454"/>
                  <a:pt x="6597953" y="4228103"/>
                </a:cubicBezTo>
                <a:cubicBezTo>
                  <a:pt x="6597953" y="4219754"/>
                  <a:pt x="6604852" y="4212855"/>
                  <a:pt x="6613200" y="4212855"/>
                </a:cubicBezTo>
                <a:close/>
                <a:moveTo>
                  <a:pt x="4768008" y="4073793"/>
                </a:moveTo>
                <a:cubicBezTo>
                  <a:pt x="4768370" y="4073793"/>
                  <a:pt x="4768370" y="4073793"/>
                  <a:pt x="4768370" y="4074155"/>
                </a:cubicBezTo>
                <a:cubicBezTo>
                  <a:pt x="4768370" y="4074521"/>
                  <a:pt x="4768008" y="4074521"/>
                  <a:pt x="4768008" y="4074521"/>
                </a:cubicBezTo>
                <a:cubicBezTo>
                  <a:pt x="4767646" y="4074521"/>
                  <a:pt x="4767646" y="4074521"/>
                  <a:pt x="4767646" y="4074155"/>
                </a:cubicBezTo>
                <a:cubicBezTo>
                  <a:pt x="4767646" y="4073793"/>
                  <a:pt x="4767646" y="4073793"/>
                  <a:pt x="4768008" y="4073793"/>
                </a:cubicBezTo>
                <a:close/>
                <a:moveTo>
                  <a:pt x="4306532" y="4073793"/>
                </a:moveTo>
                <a:cubicBezTo>
                  <a:pt x="4306894" y="4073793"/>
                  <a:pt x="4306894" y="4073793"/>
                  <a:pt x="4306894" y="4074155"/>
                </a:cubicBezTo>
                <a:cubicBezTo>
                  <a:pt x="4306894" y="4074521"/>
                  <a:pt x="4306532" y="4074521"/>
                  <a:pt x="4306532" y="4074521"/>
                </a:cubicBezTo>
                <a:cubicBezTo>
                  <a:pt x="4306170" y="4074521"/>
                  <a:pt x="4306170" y="4074521"/>
                  <a:pt x="4306170" y="4074155"/>
                </a:cubicBezTo>
                <a:cubicBezTo>
                  <a:pt x="4306170" y="4073793"/>
                  <a:pt x="4306170" y="4073793"/>
                  <a:pt x="4306532" y="4073793"/>
                </a:cubicBezTo>
                <a:close/>
                <a:moveTo>
                  <a:pt x="4152947" y="4073793"/>
                </a:moveTo>
                <a:cubicBezTo>
                  <a:pt x="4153309" y="4073793"/>
                  <a:pt x="4153309" y="4073793"/>
                  <a:pt x="4153309" y="4074155"/>
                </a:cubicBezTo>
                <a:cubicBezTo>
                  <a:pt x="4153309" y="4074521"/>
                  <a:pt x="4152947" y="4074521"/>
                  <a:pt x="4152947" y="4074521"/>
                </a:cubicBezTo>
                <a:cubicBezTo>
                  <a:pt x="4152585" y="4074521"/>
                  <a:pt x="4152585" y="4074521"/>
                  <a:pt x="4152585" y="4074155"/>
                </a:cubicBezTo>
                <a:cubicBezTo>
                  <a:pt x="4152585" y="4073793"/>
                  <a:pt x="4152585" y="4073793"/>
                  <a:pt x="4152947" y="4073793"/>
                </a:cubicBezTo>
                <a:close/>
                <a:moveTo>
                  <a:pt x="3998996" y="4073431"/>
                </a:moveTo>
                <a:cubicBezTo>
                  <a:pt x="3999362" y="4073431"/>
                  <a:pt x="3999724" y="4073793"/>
                  <a:pt x="3999724" y="4074155"/>
                </a:cubicBezTo>
                <a:cubicBezTo>
                  <a:pt x="3999724" y="4074521"/>
                  <a:pt x="3998996" y="4074883"/>
                  <a:pt x="3998996" y="4074883"/>
                </a:cubicBezTo>
                <a:cubicBezTo>
                  <a:pt x="3998634" y="4074883"/>
                  <a:pt x="3998272" y="4074521"/>
                  <a:pt x="3998272" y="4074155"/>
                </a:cubicBezTo>
                <a:cubicBezTo>
                  <a:pt x="3998272" y="4073793"/>
                  <a:pt x="3998634" y="4073431"/>
                  <a:pt x="3998996" y="4073431"/>
                </a:cubicBezTo>
                <a:close/>
                <a:moveTo>
                  <a:pt x="4921594" y="4072344"/>
                </a:moveTo>
                <a:cubicBezTo>
                  <a:pt x="4922318" y="4072344"/>
                  <a:pt x="4923046" y="4073069"/>
                  <a:pt x="4923046" y="4073797"/>
                </a:cubicBezTo>
                <a:cubicBezTo>
                  <a:pt x="4923046" y="4074521"/>
                  <a:pt x="4921594" y="4075249"/>
                  <a:pt x="4921594" y="4075249"/>
                </a:cubicBezTo>
                <a:cubicBezTo>
                  <a:pt x="4920866" y="4075249"/>
                  <a:pt x="4920142" y="4074521"/>
                  <a:pt x="4920142" y="4073797"/>
                </a:cubicBezTo>
                <a:cubicBezTo>
                  <a:pt x="4920142" y="4073069"/>
                  <a:pt x="4920866" y="4072344"/>
                  <a:pt x="4921594" y="4072344"/>
                </a:cubicBezTo>
                <a:close/>
                <a:moveTo>
                  <a:pt x="5075541" y="4071978"/>
                </a:moveTo>
                <a:cubicBezTo>
                  <a:pt x="5076632" y="4071978"/>
                  <a:pt x="5077722" y="4073069"/>
                  <a:pt x="5077722" y="4074155"/>
                </a:cubicBezTo>
                <a:cubicBezTo>
                  <a:pt x="5077722" y="4075245"/>
                  <a:pt x="5075541" y="4076335"/>
                  <a:pt x="5075541" y="4076335"/>
                </a:cubicBezTo>
                <a:cubicBezTo>
                  <a:pt x="5074455" y="4076335"/>
                  <a:pt x="5073364" y="4075245"/>
                  <a:pt x="5073364" y="4074155"/>
                </a:cubicBezTo>
                <a:cubicBezTo>
                  <a:pt x="5073364" y="4073069"/>
                  <a:pt x="5074455" y="4071978"/>
                  <a:pt x="5075541" y="4071978"/>
                </a:cubicBezTo>
                <a:close/>
                <a:moveTo>
                  <a:pt x="5229126" y="4070892"/>
                </a:moveTo>
                <a:cubicBezTo>
                  <a:pt x="5230944" y="4070892"/>
                  <a:pt x="5232394" y="4072344"/>
                  <a:pt x="5232394" y="4074159"/>
                </a:cubicBezTo>
                <a:cubicBezTo>
                  <a:pt x="5232394" y="4075973"/>
                  <a:pt x="5230944" y="4077429"/>
                  <a:pt x="5229126" y="4077429"/>
                </a:cubicBezTo>
                <a:cubicBezTo>
                  <a:pt x="5227312" y="4077429"/>
                  <a:pt x="5225860" y="4075973"/>
                  <a:pt x="5225860" y="4074159"/>
                </a:cubicBezTo>
                <a:cubicBezTo>
                  <a:pt x="5225860" y="4072344"/>
                  <a:pt x="5227312" y="4070892"/>
                  <a:pt x="5229126" y="4070892"/>
                </a:cubicBezTo>
                <a:close/>
                <a:moveTo>
                  <a:pt x="5383074" y="4069802"/>
                </a:moveTo>
                <a:cubicBezTo>
                  <a:pt x="5385616" y="4069802"/>
                  <a:pt x="5387431" y="4071616"/>
                  <a:pt x="5387431" y="4074159"/>
                </a:cubicBezTo>
                <a:cubicBezTo>
                  <a:pt x="5387431" y="4076701"/>
                  <a:pt x="5385254" y="4078516"/>
                  <a:pt x="5383074" y="4078516"/>
                </a:cubicBezTo>
                <a:cubicBezTo>
                  <a:pt x="5380532" y="4078516"/>
                  <a:pt x="5378717" y="4076701"/>
                  <a:pt x="5378717" y="4074159"/>
                </a:cubicBezTo>
                <a:cubicBezTo>
                  <a:pt x="5378717" y="4071616"/>
                  <a:pt x="5380532" y="4069802"/>
                  <a:pt x="5383074" y="4069802"/>
                </a:cubicBezTo>
                <a:close/>
                <a:moveTo>
                  <a:pt x="5536659" y="4068349"/>
                </a:moveTo>
                <a:cubicBezTo>
                  <a:pt x="5539926" y="4068349"/>
                  <a:pt x="5542468" y="4070892"/>
                  <a:pt x="5542468" y="4074159"/>
                </a:cubicBezTo>
                <a:cubicBezTo>
                  <a:pt x="5542468" y="4077426"/>
                  <a:pt x="5539926" y="4079968"/>
                  <a:pt x="5536659" y="4079968"/>
                </a:cubicBezTo>
                <a:cubicBezTo>
                  <a:pt x="5533392" y="4079968"/>
                  <a:pt x="5530850" y="4077426"/>
                  <a:pt x="5530850" y="4074159"/>
                </a:cubicBezTo>
                <a:cubicBezTo>
                  <a:pt x="5530850" y="4070892"/>
                  <a:pt x="5533392" y="4068349"/>
                  <a:pt x="5536659" y="4068349"/>
                </a:cubicBezTo>
                <a:close/>
                <a:moveTo>
                  <a:pt x="5690606" y="4066897"/>
                </a:moveTo>
                <a:cubicBezTo>
                  <a:pt x="5694602" y="4066897"/>
                  <a:pt x="5697868" y="4070164"/>
                  <a:pt x="5697868" y="4074159"/>
                </a:cubicBezTo>
                <a:cubicBezTo>
                  <a:pt x="5697868" y="4078154"/>
                  <a:pt x="5694602" y="4081420"/>
                  <a:pt x="5690606" y="4081420"/>
                </a:cubicBezTo>
                <a:cubicBezTo>
                  <a:pt x="5686616" y="4081420"/>
                  <a:pt x="5683345" y="4078154"/>
                  <a:pt x="5683345" y="4074159"/>
                </a:cubicBezTo>
                <a:cubicBezTo>
                  <a:pt x="5683345" y="4070164"/>
                  <a:pt x="5686616" y="4066897"/>
                  <a:pt x="5690606" y="4066897"/>
                </a:cubicBezTo>
                <a:close/>
                <a:moveTo>
                  <a:pt x="5844554" y="4064717"/>
                </a:moveTo>
                <a:cubicBezTo>
                  <a:pt x="5849639" y="4064717"/>
                  <a:pt x="5853634" y="4068712"/>
                  <a:pt x="5853634" y="4073793"/>
                </a:cubicBezTo>
                <a:cubicBezTo>
                  <a:pt x="5853634" y="4078878"/>
                  <a:pt x="5849639" y="4082873"/>
                  <a:pt x="5844554" y="4082873"/>
                </a:cubicBezTo>
                <a:cubicBezTo>
                  <a:pt x="5839472" y="4082873"/>
                  <a:pt x="5835478" y="4078878"/>
                  <a:pt x="5835478" y="4073793"/>
                </a:cubicBezTo>
                <a:cubicBezTo>
                  <a:pt x="5835478" y="4068712"/>
                  <a:pt x="5839472" y="4064717"/>
                  <a:pt x="5844554" y="4064717"/>
                </a:cubicBezTo>
                <a:close/>
                <a:moveTo>
                  <a:pt x="5998139" y="4063992"/>
                </a:moveTo>
                <a:cubicBezTo>
                  <a:pt x="6003586" y="4063992"/>
                  <a:pt x="6008306" y="4068712"/>
                  <a:pt x="6008306" y="4074159"/>
                </a:cubicBezTo>
                <a:cubicBezTo>
                  <a:pt x="6008306" y="4079606"/>
                  <a:pt x="6003948" y="4084325"/>
                  <a:pt x="5998139" y="4084325"/>
                </a:cubicBezTo>
                <a:cubicBezTo>
                  <a:pt x="5992692" y="4084325"/>
                  <a:pt x="5987973" y="4079606"/>
                  <a:pt x="5987973" y="4074159"/>
                </a:cubicBezTo>
                <a:cubicBezTo>
                  <a:pt x="5987973" y="4068712"/>
                  <a:pt x="5992692" y="4063992"/>
                  <a:pt x="5998139" y="4063992"/>
                </a:cubicBezTo>
                <a:close/>
                <a:moveTo>
                  <a:pt x="6152083" y="4062174"/>
                </a:moveTo>
                <a:cubicBezTo>
                  <a:pt x="6158620" y="4062174"/>
                  <a:pt x="6164064" y="4067621"/>
                  <a:pt x="6164064" y="4074155"/>
                </a:cubicBezTo>
                <a:cubicBezTo>
                  <a:pt x="6164064" y="4080692"/>
                  <a:pt x="6158620" y="4086140"/>
                  <a:pt x="6152083" y="4086140"/>
                </a:cubicBezTo>
                <a:cubicBezTo>
                  <a:pt x="6145546" y="4086140"/>
                  <a:pt x="6140102" y="4080692"/>
                  <a:pt x="6140102" y="4074155"/>
                </a:cubicBezTo>
                <a:cubicBezTo>
                  <a:pt x="6140102" y="4067621"/>
                  <a:pt x="6145546" y="4062174"/>
                  <a:pt x="6152083" y="4062174"/>
                </a:cubicBezTo>
                <a:close/>
                <a:moveTo>
                  <a:pt x="6305672" y="4059998"/>
                </a:moveTo>
                <a:cubicBezTo>
                  <a:pt x="6313292" y="4059998"/>
                  <a:pt x="6319467" y="4066169"/>
                  <a:pt x="6319467" y="4073793"/>
                </a:cubicBezTo>
                <a:cubicBezTo>
                  <a:pt x="6319467" y="4081420"/>
                  <a:pt x="6313292" y="4087592"/>
                  <a:pt x="6305672" y="4087592"/>
                </a:cubicBezTo>
                <a:cubicBezTo>
                  <a:pt x="6298044" y="4087592"/>
                  <a:pt x="6291873" y="4081420"/>
                  <a:pt x="6291873" y="4073793"/>
                </a:cubicBezTo>
                <a:cubicBezTo>
                  <a:pt x="6291873" y="4066169"/>
                  <a:pt x="6298044" y="4059998"/>
                  <a:pt x="6305672" y="4059998"/>
                </a:cubicBezTo>
                <a:close/>
                <a:moveTo>
                  <a:pt x="6459619" y="4058907"/>
                </a:moveTo>
                <a:cubicBezTo>
                  <a:pt x="6468040" y="4058907"/>
                  <a:pt x="6474867" y="4065735"/>
                  <a:pt x="6474867" y="4074155"/>
                </a:cubicBezTo>
                <a:cubicBezTo>
                  <a:pt x="6474867" y="4082579"/>
                  <a:pt x="6468040" y="4089406"/>
                  <a:pt x="6459619" y="4089406"/>
                </a:cubicBezTo>
                <a:cubicBezTo>
                  <a:pt x="6451195" y="4089406"/>
                  <a:pt x="6444368" y="4082579"/>
                  <a:pt x="6444368" y="4074155"/>
                </a:cubicBezTo>
                <a:cubicBezTo>
                  <a:pt x="6444368" y="4065735"/>
                  <a:pt x="6451195" y="4058907"/>
                  <a:pt x="6459619" y="4058907"/>
                </a:cubicBezTo>
                <a:close/>
                <a:moveTo>
                  <a:pt x="6613197" y="4057093"/>
                </a:moveTo>
                <a:cubicBezTo>
                  <a:pt x="6622639" y="4057093"/>
                  <a:pt x="6630266" y="4064717"/>
                  <a:pt x="6630266" y="4074159"/>
                </a:cubicBezTo>
                <a:cubicBezTo>
                  <a:pt x="6630266" y="4083597"/>
                  <a:pt x="6622639" y="4091225"/>
                  <a:pt x="6613197" y="4091225"/>
                </a:cubicBezTo>
                <a:cubicBezTo>
                  <a:pt x="6603758" y="4091225"/>
                  <a:pt x="6596135" y="4083597"/>
                  <a:pt x="6596135" y="4074159"/>
                </a:cubicBezTo>
                <a:cubicBezTo>
                  <a:pt x="6596135" y="4064717"/>
                  <a:pt x="6603758" y="4057093"/>
                  <a:pt x="6613197" y="4057093"/>
                </a:cubicBezTo>
                <a:close/>
                <a:moveTo>
                  <a:pt x="4614061" y="3919845"/>
                </a:moveTo>
                <a:cubicBezTo>
                  <a:pt x="4614424" y="3919845"/>
                  <a:pt x="4614424" y="3919845"/>
                  <a:pt x="4614424" y="3920208"/>
                </a:cubicBezTo>
                <a:cubicBezTo>
                  <a:pt x="4614424" y="3920574"/>
                  <a:pt x="4614061" y="3920574"/>
                  <a:pt x="4614061" y="3920574"/>
                </a:cubicBezTo>
                <a:cubicBezTo>
                  <a:pt x="4613699" y="3920574"/>
                  <a:pt x="4613699" y="3920574"/>
                  <a:pt x="4613699" y="3920208"/>
                </a:cubicBezTo>
                <a:cubicBezTo>
                  <a:pt x="4613699" y="3919845"/>
                  <a:pt x="4613699" y="3919845"/>
                  <a:pt x="4614061" y="3919845"/>
                </a:cubicBezTo>
                <a:close/>
                <a:moveTo>
                  <a:pt x="4152947" y="3919845"/>
                </a:moveTo>
                <a:cubicBezTo>
                  <a:pt x="4153309" y="3919845"/>
                  <a:pt x="4153309" y="3919845"/>
                  <a:pt x="4153309" y="3920208"/>
                </a:cubicBezTo>
                <a:cubicBezTo>
                  <a:pt x="4153309" y="3920574"/>
                  <a:pt x="4152947" y="3920574"/>
                  <a:pt x="4152947" y="3920574"/>
                </a:cubicBezTo>
                <a:cubicBezTo>
                  <a:pt x="4152585" y="3920574"/>
                  <a:pt x="4152585" y="3920574"/>
                  <a:pt x="4152585" y="3920208"/>
                </a:cubicBezTo>
                <a:cubicBezTo>
                  <a:pt x="4152585" y="3919845"/>
                  <a:pt x="4152585" y="3919845"/>
                  <a:pt x="4152947" y="3919845"/>
                </a:cubicBezTo>
                <a:close/>
                <a:moveTo>
                  <a:pt x="3999000" y="3919845"/>
                </a:moveTo>
                <a:cubicBezTo>
                  <a:pt x="3999362" y="3919845"/>
                  <a:pt x="3999362" y="3919845"/>
                  <a:pt x="3999362" y="3920208"/>
                </a:cubicBezTo>
                <a:cubicBezTo>
                  <a:pt x="3999362" y="3920574"/>
                  <a:pt x="3999000" y="3920574"/>
                  <a:pt x="3999000" y="3920574"/>
                </a:cubicBezTo>
                <a:cubicBezTo>
                  <a:pt x="3998638" y="3920574"/>
                  <a:pt x="3998638" y="3920574"/>
                  <a:pt x="3998638" y="3920208"/>
                </a:cubicBezTo>
                <a:cubicBezTo>
                  <a:pt x="3998638" y="3919845"/>
                  <a:pt x="3998638" y="3919845"/>
                  <a:pt x="3999000" y="3919845"/>
                </a:cubicBezTo>
                <a:close/>
                <a:moveTo>
                  <a:pt x="3845418" y="3919483"/>
                </a:moveTo>
                <a:cubicBezTo>
                  <a:pt x="3845818" y="3919483"/>
                  <a:pt x="3846142" y="3919807"/>
                  <a:pt x="3846142" y="3920211"/>
                </a:cubicBezTo>
                <a:cubicBezTo>
                  <a:pt x="3846142" y="3920612"/>
                  <a:pt x="3845818" y="3920936"/>
                  <a:pt x="3845418" y="3920936"/>
                </a:cubicBezTo>
                <a:cubicBezTo>
                  <a:pt x="3845014" y="3920936"/>
                  <a:pt x="3844690" y="3920612"/>
                  <a:pt x="3844690" y="3920211"/>
                </a:cubicBezTo>
                <a:cubicBezTo>
                  <a:pt x="3844690" y="3919807"/>
                  <a:pt x="3845014" y="3919483"/>
                  <a:pt x="3845418" y="3919483"/>
                </a:cubicBezTo>
                <a:close/>
                <a:moveTo>
                  <a:pt x="4768012" y="3918759"/>
                </a:moveTo>
                <a:cubicBezTo>
                  <a:pt x="4768736" y="3918759"/>
                  <a:pt x="4769464" y="3919483"/>
                  <a:pt x="4769464" y="3920211"/>
                </a:cubicBezTo>
                <a:cubicBezTo>
                  <a:pt x="4769464" y="3920936"/>
                  <a:pt x="4768012" y="3921664"/>
                  <a:pt x="4768012" y="3921664"/>
                </a:cubicBezTo>
                <a:cubicBezTo>
                  <a:pt x="4767284" y="3921664"/>
                  <a:pt x="4766560" y="3920936"/>
                  <a:pt x="4766560" y="3920211"/>
                </a:cubicBezTo>
                <a:cubicBezTo>
                  <a:pt x="4766560" y="3919483"/>
                  <a:pt x="4767284" y="3918759"/>
                  <a:pt x="4768012" y="3918759"/>
                </a:cubicBezTo>
                <a:close/>
                <a:moveTo>
                  <a:pt x="4921594" y="3918031"/>
                </a:moveTo>
                <a:cubicBezTo>
                  <a:pt x="4922684" y="3918031"/>
                  <a:pt x="4923774" y="3919121"/>
                  <a:pt x="4923774" y="3920208"/>
                </a:cubicBezTo>
                <a:cubicBezTo>
                  <a:pt x="4923774" y="3921298"/>
                  <a:pt x="4921594" y="3922388"/>
                  <a:pt x="4921594" y="3922388"/>
                </a:cubicBezTo>
                <a:cubicBezTo>
                  <a:pt x="4920508" y="3922388"/>
                  <a:pt x="4919417" y="3921298"/>
                  <a:pt x="4919417" y="3920208"/>
                </a:cubicBezTo>
                <a:cubicBezTo>
                  <a:pt x="4919417" y="3919121"/>
                  <a:pt x="4920508" y="3918031"/>
                  <a:pt x="4921594" y="3918031"/>
                </a:cubicBezTo>
                <a:close/>
                <a:moveTo>
                  <a:pt x="5075545" y="3917307"/>
                </a:moveTo>
                <a:cubicBezTo>
                  <a:pt x="5077360" y="3917307"/>
                  <a:pt x="5078812" y="3918759"/>
                  <a:pt x="5078812" y="3920574"/>
                </a:cubicBezTo>
                <a:cubicBezTo>
                  <a:pt x="5078812" y="3922388"/>
                  <a:pt x="5077360" y="3923844"/>
                  <a:pt x="5075545" y="3923844"/>
                </a:cubicBezTo>
                <a:cubicBezTo>
                  <a:pt x="5073726" y="3923844"/>
                  <a:pt x="5072274" y="3922388"/>
                  <a:pt x="5072274" y="3920574"/>
                </a:cubicBezTo>
                <a:cubicBezTo>
                  <a:pt x="5072274" y="3918759"/>
                  <a:pt x="5073726" y="3917307"/>
                  <a:pt x="5075545" y="3917307"/>
                </a:cubicBezTo>
                <a:close/>
                <a:moveTo>
                  <a:pt x="5229126" y="3915854"/>
                </a:moveTo>
                <a:cubicBezTo>
                  <a:pt x="5231669" y="3915854"/>
                  <a:pt x="5233484" y="3917669"/>
                  <a:pt x="5233484" y="3920211"/>
                </a:cubicBezTo>
                <a:cubicBezTo>
                  <a:pt x="5233484" y="3922754"/>
                  <a:pt x="5231303" y="3924568"/>
                  <a:pt x="5229126" y="3924568"/>
                </a:cubicBezTo>
                <a:cubicBezTo>
                  <a:pt x="5226584" y="3924568"/>
                  <a:pt x="5224770" y="3922754"/>
                  <a:pt x="5224770" y="3920211"/>
                </a:cubicBezTo>
                <a:cubicBezTo>
                  <a:pt x="5224770" y="3917669"/>
                  <a:pt x="5226584" y="3915854"/>
                  <a:pt x="5229126" y="3915854"/>
                </a:cubicBezTo>
                <a:close/>
                <a:moveTo>
                  <a:pt x="5383074" y="3914764"/>
                </a:moveTo>
                <a:cubicBezTo>
                  <a:pt x="5386340" y="3914764"/>
                  <a:pt x="5388883" y="3917307"/>
                  <a:pt x="5388883" y="3920574"/>
                </a:cubicBezTo>
                <a:cubicBezTo>
                  <a:pt x="5388883" y="3923840"/>
                  <a:pt x="5386340" y="3926383"/>
                  <a:pt x="5383074" y="3926383"/>
                </a:cubicBezTo>
                <a:cubicBezTo>
                  <a:pt x="5379807" y="3926383"/>
                  <a:pt x="5377264" y="3923840"/>
                  <a:pt x="5377264" y="3920574"/>
                </a:cubicBezTo>
                <a:cubicBezTo>
                  <a:pt x="5377264" y="3917307"/>
                  <a:pt x="5379807" y="3914764"/>
                  <a:pt x="5383074" y="3914764"/>
                </a:cubicBezTo>
                <a:close/>
                <a:moveTo>
                  <a:pt x="5536659" y="3912950"/>
                </a:moveTo>
                <a:cubicBezTo>
                  <a:pt x="5540654" y="3912950"/>
                  <a:pt x="5543921" y="3916217"/>
                  <a:pt x="5543921" y="3920211"/>
                </a:cubicBezTo>
                <a:cubicBezTo>
                  <a:pt x="5543921" y="3924206"/>
                  <a:pt x="5540654" y="3927473"/>
                  <a:pt x="5536659" y="3927473"/>
                </a:cubicBezTo>
                <a:cubicBezTo>
                  <a:pt x="5532664" y="3927473"/>
                  <a:pt x="5529398" y="3924206"/>
                  <a:pt x="5529398" y="3920211"/>
                </a:cubicBezTo>
                <a:cubicBezTo>
                  <a:pt x="5529398" y="3916217"/>
                  <a:pt x="5532664" y="3912950"/>
                  <a:pt x="5536659" y="3912950"/>
                </a:cubicBezTo>
                <a:close/>
                <a:moveTo>
                  <a:pt x="5690606" y="3911135"/>
                </a:moveTo>
                <a:cubicBezTo>
                  <a:pt x="5695692" y="3911135"/>
                  <a:pt x="5699686" y="3915130"/>
                  <a:pt x="5699686" y="3920211"/>
                </a:cubicBezTo>
                <a:cubicBezTo>
                  <a:pt x="5699686" y="3925297"/>
                  <a:pt x="5695692" y="3929291"/>
                  <a:pt x="5690606" y="3929291"/>
                </a:cubicBezTo>
                <a:cubicBezTo>
                  <a:pt x="5685526" y="3929291"/>
                  <a:pt x="5681530" y="3925297"/>
                  <a:pt x="5681530" y="3920211"/>
                </a:cubicBezTo>
                <a:cubicBezTo>
                  <a:pt x="5681530" y="3915130"/>
                  <a:pt x="5685526" y="3911135"/>
                  <a:pt x="5690606" y="3911135"/>
                </a:cubicBezTo>
                <a:close/>
                <a:moveTo>
                  <a:pt x="5844554" y="3910045"/>
                </a:moveTo>
                <a:cubicBezTo>
                  <a:pt x="5850001" y="3910045"/>
                  <a:pt x="5854720" y="3914764"/>
                  <a:pt x="5854720" y="3920211"/>
                </a:cubicBezTo>
                <a:cubicBezTo>
                  <a:pt x="5854720" y="3925659"/>
                  <a:pt x="5850363" y="3930378"/>
                  <a:pt x="5844554" y="3930378"/>
                </a:cubicBezTo>
                <a:cubicBezTo>
                  <a:pt x="5839106" y="3930378"/>
                  <a:pt x="5834388" y="3925659"/>
                  <a:pt x="5834388" y="3920211"/>
                </a:cubicBezTo>
                <a:cubicBezTo>
                  <a:pt x="5834388" y="3914764"/>
                  <a:pt x="5839106" y="3910045"/>
                  <a:pt x="5844554" y="3910045"/>
                </a:cubicBezTo>
                <a:close/>
                <a:moveTo>
                  <a:pt x="5998139" y="3908227"/>
                </a:moveTo>
                <a:cubicBezTo>
                  <a:pt x="6004673" y="3908227"/>
                  <a:pt x="6010120" y="3913674"/>
                  <a:pt x="6010120" y="3920208"/>
                </a:cubicBezTo>
                <a:cubicBezTo>
                  <a:pt x="6010120" y="3926745"/>
                  <a:pt x="6004673" y="3932192"/>
                  <a:pt x="5998139" y="3932192"/>
                </a:cubicBezTo>
                <a:cubicBezTo>
                  <a:pt x="5991602" y="3932192"/>
                  <a:pt x="5986158" y="3926745"/>
                  <a:pt x="5986158" y="3920208"/>
                </a:cubicBezTo>
                <a:cubicBezTo>
                  <a:pt x="5986158" y="3913674"/>
                  <a:pt x="5991602" y="3908227"/>
                  <a:pt x="5998139" y="3908227"/>
                </a:cubicBezTo>
                <a:close/>
                <a:moveTo>
                  <a:pt x="6152086" y="3906412"/>
                </a:moveTo>
                <a:cubicBezTo>
                  <a:pt x="6159710" y="3906412"/>
                  <a:pt x="6165882" y="3912584"/>
                  <a:pt x="6165882" y="3920211"/>
                </a:cubicBezTo>
                <a:cubicBezTo>
                  <a:pt x="6165882" y="3927835"/>
                  <a:pt x="6159710" y="3934007"/>
                  <a:pt x="6152086" y="3934007"/>
                </a:cubicBezTo>
                <a:cubicBezTo>
                  <a:pt x="6144463" y="3934007"/>
                  <a:pt x="6138288" y="3927835"/>
                  <a:pt x="6138288" y="3920211"/>
                </a:cubicBezTo>
                <a:cubicBezTo>
                  <a:pt x="6138288" y="3912584"/>
                  <a:pt x="6144463" y="3906412"/>
                  <a:pt x="6152086" y="3906412"/>
                </a:cubicBezTo>
                <a:close/>
                <a:moveTo>
                  <a:pt x="6305672" y="3904960"/>
                </a:moveTo>
                <a:cubicBezTo>
                  <a:pt x="6314092" y="3904960"/>
                  <a:pt x="6320920" y="3911787"/>
                  <a:pt x="6320920" y="3920211"/>
                </a:cubicBezTo>
                <a:cubicBezTo>
                  <a:pt x="6320920" y="3928632"/>
                  <a:pt x="6314092" y="3935459"/>
                  <a:pt x="6305672" y="3935459"/>
                </a:cubicBezTo>
                <a:cubicBezTo>
                  <a:pt x="6297248" y="3935459"/>
                  <a:pt x="6290420" y="3928632"/>
                  <a:pt x="6290420" y="3920211"/>
                </a:cubicBezTo>
                <a:cubicBezTo>
                  <a:pt x="6290420" y="3911787"/>
                  <a:pt x="6297248" y="3904960"/>
                  <a:pt x="6305672" y="3904960"/>
                </a:cubicBezTo>
                <a:close/>
                <a:moveTo>
                  <a:pt x="6459616" y="3903146"/>
                </a:moveTo>
                <a:cubicBezTo>
                  <a:pt x="6469058" y="3903146"/>
                  <a:pt x="6476682" y="3910769"/>
                  <a:pt x="6476682" y="3920211"/>
                </a:cubicBezTo>
                <a:cubicBezTo>
                  <a:pt x="6476682" y="3929650"/>
                  <a:pt x="6469058" y="3937277"/>
                  <a:pt x="6459616" y="3937277"/>
                </a:cubicBezTo>
                <a:cubicBezTo>
                  <a:pt x="6450174" y="3937277"/>
                  <a:pt x="6442550" y="3929650"/>
                  <a:pt x="6442550" y="3920211"/>
                </a:cubicBezTo>
                <a:cubicBezTo>
                  <a:pt x="6442550" y="3910769"/>
                  <a:pt x="6450174" y="3903146"/>
                  <a:pt x="6459616" y="3903146"/>
                </a:cubicBezTo>
                <a:close/>
                <a:moveTo>
                  <a:pt x="6613200" y="3900969"/>
                </a:moveTo>
                <a:cubicBezTo>
                  <a:pt x="6623828" y="3900969"/>
                  <a:pt x="6632447" y="3909584"/>
                  <a:pt x="6632447" y="3920211"/>
                </a:cubicBezTo>
                <a:cubicBezTo>
                  <a:pt x="6632447" y="3930839"/>
                  <a:pt x="6623828" y="3939458"/>
                  <a:pt x="6613200" y="3939458"/>
                </a:cubicBezTo>
                <a:cubicBezTo>
                  <a:pt x="6602573" y="3939458"/>
                  <a:pt x="6593958" y="3930839"/>
                  <a:pt x="6593958" y="3920211"/>
                </a:cubicBezTo>
                <a:cubicBezTo>
                  <a:pt x="6593958" y="3909584"/>
                  <a:pt x="6602573" y="3900969"/>
                  <a:pt x="6613200" y="3900969"/>
                </a:cubicBezTo>
                <a:close/>
                <a:moveTo>
                  <a:pt x="4460480" y="3766264"/>
                </a:moveTo>
                <a:cubicBezTo>
                  <a:pt x="4460842" y="3766264"/>
                  <a:pt x="4460842" y="3766264"/>
                  <a:pt x="4460842" y="3766626"/>
                </a:cubicBezTo>
                <a:cubicBezTo>
                  <a:pt x="4460842" y="3766988"/>
                  <a:pt x="4460480" y="3766988"/>
                  <a:pt x="4460480" y="3766988"/>
                </a:cubicBezTo>
                <a:cubicBezTo>
                  <a:pt x="4460118" y="3766988"/>
                  <a:pt x="4460118" y="3766988"/>
                  <a:pt x="4460118" y="3766626"/>
                </a:cubicBezTo>
                <a:cubicBezTo>
                  <a:pt x="4460118" y="3766264"/>
                  <a:pt x="4460118" y="3766264"/>
                  <a:pt x="4460480" y="3766264"/>
                </a:cubicBezTo>
                <a:close/>
                <a:moveTo>
                  <a:pt x="3999000" y="3766264"/>
                </a:moveTo>
                <a:cubicBezTo>
                  <a:pt x="3999362" y="3766264"/>
                  <a:pt x="3999362" y="3766264"/>
                  <a:pt x="3999362" y="3766626"/>
                </a:cubicBezTo>
                <a:cubicBezTo>
                  <a:pt x="3999362" y="3766988"/>
                  <a:pt x="3999000" y="3766988"/>
                  <a:pt x="3999000" y="3766988"/>
                </a:cubicBezTo>
                <a:cubicBezTo>
                  <a:pt x="3998638" y="3766988"/>
                  <a:pt x="3998638" y="3766988"/>
                  <a:pt x="3998638" y="3766626"/>
                </a:cubicBezTo>
                <a:cubicBezTo>
                  <a:pt x="3998638" y="3766264"/>
                  <a:pt x="3998638" y="3766264"/>
                  <a:pt x="3999000" y="3766264"/>
                </a:cubicBezTo>
                <a:close/>
                <a:moveTo>
                  <a:pt x="3845414" y="3766264"/>
                </a:moveTo>
                <a:cubicBezTo>
                  <a:pt x="3845776" y="3766264"/>
                  <a:pt x="3845776" y="3766264"/>
                  <a:pt x="3845776" y="3766626"/>
                </a:cubicBezTo>
                <a:cubicBezTo>
                  <a:pt x="3845776" y="3766988"/>
                  <a:pt x="3845414" y="3766988"/>
                  <a:pt x="3845414" y="3766988"/>
                </a:cubicBezTo>
                <a:cubicBezTo>
                  <a:pt x="3845052" y="3766988"/>
                  <a:pt x="3845052" y="3766988"/>
                  <a:pt x="3845052" y="3766626"/>
                </a:cubicBezTo>
                <a:cubicBezTo>
                  <a:pt x="3845052" y="3766264"/>
                  <a:pt x="3845052" y="3766264"/>
                  <a:pt x="3845414" y="3766264"/>
                </a:cubicBezTo>
                <a:close/>
                <a:moveTo>
                  <a:pt x="3691471" y="3765902"/>
                </a:moveTo>
                <a:cubicBezTo>
                  <a:pt x="3691871" y="3765902"/>
                  <a:pt x="3692195" y="3766226"/>
                  <a:pt x="3692195" y="3766626"/>
                </a:cubicBezTo>
                <a:cubicBezTo>
                  <a:pt x="3692195" y="3767030"/>
                  <a:pt x="3691871" y="3767354"/>
                  <a:pt x="3691471" y="3767354"/>
                </a:cubicBezTo>
                <a:cubicBezTo>
                  <a:pt x="3691067" y="3767354"/>
                  <a:pt x="3690743" y="3767030"/>
                  <a:pt x="3690743" y="3766626"/>
                </a:cubicBezTo>
                <a:cubicBezTo>
                  <a:pt x="3690743" y="3766226"/>
                  <a:pt x="3691067" y="3765902"/>
                  <a:pt x="3691471" y="3765902"/>
                </a:cubicBezTo>
                <a:close/>
                <a:moveTo>
                  <a:pt x="4614065" y="3764812"/>
                </a:moveTo>
                <a:cubicBezTo>
                  <a:pt x="4614789" y="3764812"/>
                  <a:pt x="4615518" y="3765536"/>
                  <a:pt x="4615518" y="3766264"/>
                </a:cubicBezTo>
                <a:cubicBezTo>
                  <a:pt x="4615518" y="3766988"/>
                  <a:pt x="4614065" y="3767716"/>
                  <a:pt x="4614065" y="3767716"/>
                </a:cubicBezTo>
                <a:cubicBezTo>
                  <a:pt x="4613337" y="3767716"/>
                  <a:pt x="4612612" y="3766988"/>
                  <a:pt x="4612612" y="3766264"/>
                </a:cubicBezTo>
                <a:cubicBezTo>
                  <a:pt x="4612612" y="3765536"/>
                  <a:pt x="4613337" y="3764812"/>
                  <a:pt x="4614065" y="3764812"/>
                </a:cubicBezTo>
                <a:close/>
                <a:moveTo>
                  <a:pt x="4768008" y="3764450"/>
                </a:moveTo>
                <a:cubicBezTo>
                  <a:pt x="4769098" y="3764450"/>
                  <a:pt x="4770189" y="3765540"/>
                  <a:pt x="4770189" y="3766626"/>
                </a:cubicBezTo>
                <a:cubicBezTo>
                  <a:pt x="4770189" y="3767716"/>
                  <a:pt x="4768008" y="3768807"/>
                  <a:pt x="4768008" y="3768807"/>
                </a:cubicBezTo>
                <a:cubicBezTo>
                  <a:pt x="4766922" y="3768807"/>
                  <a:pt x="4765832" y="3767716"/>
                  <a:pt x="4765832" y="3766626"/>
                </a:cubicBezTo>
                <a:cubicBezTo>
                  <a:pt x="4765832" y="3765540"/>
                  <a:pt x="4766922" y="3764450"/>
                  <a:pt x="4768008" y="3764450"/>
                </a:cubicBezTo>
                <a:close/>
                <a:moveTo>
                  <a:pt x="4921594" y="3763359"/>
                </a:moveTo>
                <a:cubicBezTo>
                  <a:pt x="4923412" y="3763359"/>
                  <a:pt x="4924860" y="3764812"/>
                  <a:pt x="4924860" y="3766626"/>
                </a:cubicBezTo>
                <a:cubicBezTo>
                  <a:pt x="4924860" y="3768441"/>
                  <a:pt x="4923412" y="3769897"/>
                  <a:pt x="4921594" y="3769897"/>
                </a:cubicBezTo>
                <a:cubicBezTo>
                  <a:pt x="4919780" y="3769897"/>
                  <a:pt x="4918327" y="3768441"/>
                  <a:pt x="4918327" y="3766626"/>
                </a:cubicBezTo>
                <a:cubicBezTo>
                  <a:pt x="4918327" y="3764812"/>
                  <a:pt x="4919780" y="3763359"/>
                  <a:pt x="4921594" y="3763359"/>
                </a:cubicBezTo>
                <a:close/>
                <a:moveTo>
                  <a:pt x="5075541" y="3762269"/>
                </a:moveTo>
                <a:cubicBezTo>
                  <a:pt x="5078084" y="3762269"/>
                  <a:pt x="5079898" y="3764084"/>
                  <a:pt x="5079898" y="3766626"/>
                </a:cubicBezTo>
                <a:cubicBezTo>
                  <a:pt x="5079898" y="3769169"/>
                  <a:pt x="5077722" y="3770983"/>
                  <a:pt x="5075541" y="3770983"/>
                </a:cubicBezTo>
                <a:cubicBezTo>
                  <a:pt x="5072998" y="3770983"/>
                  <a:pt x="5071184" y="3769169"/>
                  <a:pt x="5071184" y="3766626"/>
                </a:cubicBezTo>
                <a:cubicBezTo>
                  <a:pt x="5071184" y="3764084"/>
                  <a:pt x="5072998" y="3762269"/>
                  <a:pt x="5075541" y="3762269"/>
                </a:cubicBezTo>
                <a:close/>
                <a:moveTo>
                  <a:pt x="5229126" y="3760817"/>
                </a:moveTo>
                <a:cubicBezTo>
                  <a:pt x="5232394" y="3760817"/>
                  <a:pt x="5234936" y="3763359"/>
                  <a:pt x="5234936" y="3766626"/>
                </a:cubicBezTo>
                <a:cubicBezTo>
                  <a:pt x="5234936" y="3769893"/>
                  <a:pt x="5232394" y="3772436"/>
                  <a:pt x="5229126" y="3772436"/>
                </a:cubicBezTo>
                <a:cubicBezTo>
                  <a:pt x="5225860" y="3772436"/>
                  <a:pt x="5223317" y="3769893"/>
                  <a:pt x="5223317" y="3766626"/>
                </a:cubicBezTo>
                <a:cubicBezTo>
                  <a:pt x="5223317" y="3763359"/>
                  <a:pt x="5225860" y="3760817"/>
                  <a:pt x="5229126" y="3760817"/>
                </a:cubicBezTo>
                <a:close/>
                <a:moveTo>
                  <a:pt x="5383074" y="3759365"/>
                </a:moveTo>
                <a:cubicBezTo>
                  <a:pt x="5387068" y="3759365"/>
                  <a:pt x="5390336" y="3762631"/>
                  <a:pt x="5390336" y="3766626"/>
                </a:cubicBezTo>
                <a:cubicBezTo>
                  <a:pt x="5390336" y="3770621"/>
                  <a:pt x="5387068" y="3773888"/>
                  <a:pt x="5383074" y="3773888"/>
                </a:cubicBezTo>
                <a:cubicBezTo>
                  <a:pt x="5379079" y="3773888"/>
                  <a:pt x="5375812" y="3770621"/>
                  <a:pt x="5375812" y="3766626"/>
                </a:cubicBezTo>
                <a:cubicBezTo>
                  <a:pt x="5375812" y="3762631"/>
                  <a:pt x="5379079" y="3759365"/>
                  <a:pt x="5383074" y="3759365"/>
                </a:cubicBezTo>
                <a:close/>
                <a:moveTo>
                  <a:pt x="5536659" y="3757188"/>
                </a:moveTo>
                <a:cubicBezTo>
                  <a:pt x="5541740" y="3757188"/>
                  <a:pt x="5545739" y="3761183"/>
                  <a:pt x="5545739" y="3766264"/>
                </a:cubicBezTo>
                <a:cubicBezTo>
                  <a:pt x="5545739" y="3771349"/>
                  <a:pt x="5541740" y="3775344"/>
                  <a:pt x="5536659" y="3775344"/>
                </a:cubicBezTo>
                <a:cubicBezTo>
                  <a:pt x="5531578" y="3775344"/>
                  <a:pt x="5527583" y="3771349"/>
                  <a:pt x="5527583" y="3766264"/>
                </a:cubicBezTo>
                <a:cubicBezTo>
                  <a:pt x="5527583" y="3761183"/>
                  <a:pt x="5531578" y="3757188"/>
                  <a:pt x="5536659" y="3757188"/>
                </a:cubicBezTo>
                <a:close/>
                <a:moveTo>
                  <a:pt x="5690606" y="3756460"/>
                </a:moveTo>
                <a:cubicBezTo>
                  <a:pt x="5696054" y="3756460"/>
                  <a:pt x="5700773" y="3761179"/>
                  <a:pt x="5700773" y="3766626"/>
                </a:cubicBezTo>
                <a:cubicBezTo>
                  <a:pt x="5700773" y="3772073"/>
                  <a:pt x="5696416" y="3776793"/>
                  <a:pt x="5690606" y="3776793"/>
                </a:cubicBezTo>
                <a:cubicBezTo>
                  <a:pt x="5685160" y="3776793"/>
                  <a:pt x="5680440" y="3772073"/>
                  <a:pt x="5680440" y="3766626"/>
                </a:cubicBezTo>
                <a:cubicBezTo>
                  <a:pt x="5680440" y="3761179"/>
                  <a:pt x="5685160" y="3756460"/>
                  <a:pt x="5690606" y="3756460"/>
                </a:cubicBezTo>
                <a:close/>
                <a:moveTo>
                  <a:pt x="5844550" y="3754645"/>
                </a:moveTo>
                <a:cubicBezTo>
                  <a:pt x="5851088" y="3754645"/>
                  <a:pt x="5856534" y="3760093"/>
                  <a:pt x="5856534" y="3766626"/>
                </a:cubicBezTo>
                <a:cubicBezTo>
                  <a:pt x="5856534" y="3773164"/>
                  <a:pt x="5851088" y="3778607"/>
                  <a:pt x="5844550" y="3778607"/>
                </a:cubicBezTo>
                <a:cubicBezTo>
                  <a:pt x="5838016" y="3778607"/>
                  <a:pt x="5832570" y="3773164"/>
                  <a:pt x="5832570" y="3766626"/>
                </a:cubicBezTo>
                <a:cubicBezTo>
                  <a:pt x="5832570" y="3760093"/>
                  <a:pt x="5838016" y="3754645"/>
                  <a:pt x="5844550" y="3754645"/>
                </a:cubicBezTo>
                <a:close/>
                <a:moveTo>
                  <a:pt x="5998139" y="3752465"/>
                </a:moveTo>
                <a:cubicBezTo>
                  <a:pt x="6005763" y="3752465"/>
                  <a:pt x="6011934" y="3758636"/>
                  <a:pt x="6011934" y="3766264"/>
                </a:cubicBezTo>
                <a:cubicBezTo>
                  <a:pt x="6011934" y="3773888"/>
                  <a:pt x="6005763" y="3780059"/>
                  <a:pt x="5998139" y="3780059"/>
                </a:cubicBezTo>
                <a:cubicBezTo>
                  <a:pt x="5990516" y="3780059"/>
                  <a:pt x="5984340" y="3773888"/>
                  <a:pt x="5984340" y="3766264"/>
                </a:cubicBezTo>
                <a:cubicBezTo>
                  <a:pt x="5984340" y="3758636"/>
                  <a:pt x="5990516" y="3752465"/>
                  <a:pt x="5998139" y="3752465"/>
                </a:cubicBezTo>
                <a:close/>
                <a:moveTo>
                  <a:pt x="6152086" y="3751379"/>
                </a:moveTo>
                <a:cubicBezTo>
                  <a:pt x="6160507" y="3751379"/>
                  <a:pt x="6167334" y="3758206"/>
                  <a:pt x="6167334" y="3766626"/>
                </a:cubicBezTo>
                <a:cubicBezTo>
                  <a:pt x="6167334" y="3775050"/>
                  <a:pt x="6160507" y="3781878"/>
                  <a:pt x="6152086" y="3781878"/>
                </a:cubicBezTo>
                <a:cubicBezTo>
                  <a:pt x="6143666" y="3781878"/>
                  <a:pt x="6136839" y="3775050"/>
                  <a:pt x="6136839" y="3766626"/>
                </a:cubicBezTo>
                <a:cubicBezTo>
                  <a:pt x="6136839" y="3758206"/>
                  <a:pt x="6143666" y="3751379"/>
                  <a:pt x="6152086" y="3751379"/>
                </a:cubicBezTo>
                <a:close/>
                <a:moveTo>
                  <a:pt x="6305668" y="3749560"/>
                </a:moveTo>
                <a:cubicBezTo>
                  <a:pt x="6315110" y="3749560"/>
                  <a:pt x="6322734" y="3757184"/>
                  <a:pt x="6322734" y="3766626"/>
                </a:cubicBezTo>
                <a:cubicBezTo>
                  <a:pt x="6322734" y="3776064"/>
                  <a:pt x="6315110" y="3783692"/>
                  <a:pt x="6305668" y="3783692"/>
                </a:cubicBezTo>
                <a:cubicBezTo>
                  <a:pt x="6296226" y="3783692"/>
                  <a:pt x="6288602" y="3776064"/>
                  <a:pt x="6288602" y="3766626"/>
                </a:cubicBezTo>
                <a:cubicBezTo>
                  <a:pt x="6288602" y="3757184"/>
                  <a:pt x="6296226" y="3749560"/>
                  <a:pt x="6305668" y="3749560"/>
                </a:cubicBezTo>
                <a:close/>
                <a:moveTo>
                  <a:pt x="6459616" y="3747384"/>
                </a:moveTo>
                <a:cubicBezTo>
                  <a:pt x="6470243" y="3747384"/>
                  <a:pt x="6478858" y="3755999"/>
                  <a:pt x="6478858" y="3766626"/>
                </a:cubicBezTo>
                <a:cubicBezTo>
                  <a:pt x="6478858" y="3777254"/>
                  <a:pt x="6470243" y="3785869"/>
                  <a:pt x="6459616" y="3785869"/>
                </a:cubicBezTo>
                <a:cubicBezTo>
                  <a:pt x="6448988" y="3785869"/>
                  <a:pt x="6440369" y="3777254"/>
                  <a:pt x="6440369" y="3766626"/>
                </a:cubicBezTo>
                <a:cubicBezTo>
                  <a:pt x="6440369" y="3755999"/>
                  <a:pt x="6448988" y="3747384"/>
                  <a:pt x="6459616" y="3747384"/>
                </a:cubicBezTo>
                <a:close/>
                <a:moveTo>
                  <a:pt x="6613200" y="3745203"/>
                </a:moveTo>
                <a:cubicBezTo>
                  <a:pt x="6625033" y="3745203"/>
                  <a:pt x="6634624" y="3754794"/>
                  <a:pt x="6634624" y="3766626"/>
                </a:cubicBezTo>
                <a:cubicBezTo>
                  <a:pt x="6634624" y="3778454"/>
                  <a:pt x="6625033" y="3788045"/>
                  <a:pt x="6613200" y="3788045"/>
                </a:cubicBezTo>
                <a:cubicBezTo>
                  <a:pt x="6601368" y="3788045"/>
                  <a:pt x="6591778" y="3778454"/>
                  <a:pt x="6591778" y="3766626"/>
                </a:cubicBezTo>
                <a:cubicBezTo>
                  <a:pt x="6591778" y="3754794"/>
                  <a:pt x="6601368" y="3745203"/>
                  <a:pt x="6613200" y="3745203"/>
                </a:cubicBezTo>
                <a:close/>
                <a:moveTo>
                  <a:pt x="4306532" y="3612317"/>
                </a:moveTo>
                <a:cubicBezTo>
                  <a:pt x="4306894" y="3612317"/>
                  <a:pt x="4306894" y="3612317"/>
                  <a:pt x="4306894" y="3612679"/>
                </a:cubicBezTo>
                <a:cubicBezTo>
                  <a:pt x="4306894" y="3613045"/>
                  <a:pt x="4306532" y="3613045"/>
                  <a:pt x="4306532" y="3613045"/>
                </a:cubicBezTo>
                <a:cubicBezTo>
                  <a:pt x="4306170" y="3613045"/>
                  <a:pt x="4306170" y="3613045"/>
                  <a:pt x="4306170" y="3612679"/>
                </a:cubicBezTo>
                <a:cubicBezTo>
                  <a:pt x="4306170" y="3612317"/>
                  <a:pt x="4306170" y="3612317"/>
                  <a:pt x="4306532" y="3612317"/>
                </a:cubicBezTo>
                <a:close/>
                <a:moveTo>
                  <a:pt x="3845414" y="3612317"/>
                </a:moveTo>
                <a:cubicBezTo>
                  <a:pt x="3845776" y="3612317"/>
                  <a:pt x="3845776" y="3612317"/>
                  <a:pt x="3845776" y="3612679"/>
                </a:cubicBezTo>
                <a:cubicBezTo>
                  <a:pt x="3845776" y="3613045"/>
                  <a:pt x="3845414" y="3613045"/>
                  <a:pt x="3845414" y="3613045"/>
                </a:cubicBezTo>
                <a:cubicBezTo>
                  <a:pt x="3845052" y="3613045"/>
                  <a:pt x="3845052" y="3613045"/>
                  <a:pt x="3845052" y="3612679"/>
                </a:cubicBezTo>
                <a:cubicBezTo>
                  <a:pt x="3845052" y="3612317"/>
                  <a:pt x="3845052" y="3612317"/>
                  <a:pt x="3845414" y="3612317"/>
                </a:cubicBezTo>
                <a:close/>
                <a:moveTo>
                  <a:pt x="3691467" y="3612317"/>
                </a:moveTo>
                <a:cubicBezTo>
                  <a:pt x="3691829" y="3612317"/>
                  <a:pt x="3691829" y="3612317"/>
                  <a:pt x="3691829" y="3612679"/>
                </a:cubicBezTo>
                <a:cubicBezTo>
                  <a:pt x="3691829" y="3613045"/>
                  <a:pt x="3691467" y="3613045"/>
                  <a:pt x="3691467" y="3613045"/>
                </a:cubicBezTo>
                <a:cubicBezTo>
                  <a:pt x="3691105" y="3613045"/>
                  <a:pt x="3691105" y="3613045"/>
                  <a:pt x="3691105" y="3612679"/>
                </a:cubicBezTo>
                <a:cubicBezTo>
                  <a:pt x="3691105" y="3612317"/>
                  <a:pt x="3691105" y="3612317"/>
                  <a:pt x="3691467" y="3612317"/>
                </a:cubicBezTo>
                <a:close/>
                <a:moveTo>
                  <a:pt x="3537886" y="3611955"/>
                </a:moveTo>
                <a:cubicBezTo>
                  <a:pt x="3538286" y="3611955"/>
                  <a:pt x="3538610" y="3612279"/>
                  <a:pt x="3538610" y="3612683"/>
                </a:cubicBezTo>
                <a:cubicBezTo>
                  <a:pt x="3538610" y="3613083"/>
                  <a:pt x="3538286" y="3613407"/>
                  <a:pt x="3537886" y="3613407"/>
                </a:cubicBezTo>
                <a:cubicBezTo>
                  <a:pt x="3537482" y="3613407"/>
                  <a:pt x="3537158" y="3613083"/>
                  <a:pt x="3537158" y="3612683"/>
                </a:cubicBezTo>
                <a:cubicBezTo>
                  <a:pt x="3537158" y="3612279"/>
                  <a:pt x="3537482" y="3611955"/>
                  <a:pt x="3537886" y="3611955"/>
                </a:cubicBezTo>
                <a:close/>
                <a:moveTo>
                  <a:pt x="4460480" y="3611226"/>
                </a:moveTo>
                <a:cubicBezTo>
                  <a:pt x="4461204" y="3611226"/>
                  <a:pt x="4461932" y="3611955"/>
                  <a:pt x="4461932" y="3612679"/>
                </a:cubicBezTo>
                <a:cubicBezTo>
                  <a:pt x="4461932" y="3613403"/>
                  <a:pt x="4460480" y="3614131"/>
                  <a:pt x="4460480" y="3614131"/>
                </a:cubicBezTo>
                <a:cubicBezTo>
                  <a:pt x="4459752" y="3614131"/>
                  <a:pt x="4459028" y="3613403"/>
                  <a:pt x="4459028" y="3612679"/>
                </a:cubicBezTo>
                <a:cubicBezTo>
                  <a:pt x="4459028" y="3611955"/>
                  <a:pt x="4459752" y="3611226"/>
                  <a:pt x="4460480" y="3611226"/>
                </a:cubicBezTo>
                <a:close/>
                <a:moveTo>
                  <a:pt x="4614061" y="3610502"/>
                </a:moveTo>
                <a:cubicBezTo>
                  <a:pt x="4615152" y="3610502"/>
                  <a:pt x="4616242" y="3611592"/>
                  <a:pt x="4616242" y="3612679"/>
                </a:cubicBezTo>
                <a:cubicBezTo>
                  <a:pt x="4616242" y="3613769"/>
                  <a:pt x="4614061" y="3614859"/>
                  <a:pt x="4614061" y="3614859"/>
                </a:cubicBezTo>
                <a:cubicBezTo>
                  <a:pt x="4612974" y="3614859"/>
                  <a:pt x="4611884" y="3613769"/>
                  <a:pt x="4611884" y="3612679"/>
                </a:cubicBezTo>
                <a:cubicBezTo>
                  <a:pt x="4611884" y="3611592"/>
                  <a:pt x="4612974" y="3610502"/>
                  <a:pt x="4614061" y="3610502"/>
                </a:cubicBezTo>
                <a:close/>
                <a:moveTo>
                  <a:pt x="4768008" y="3609774"/>
                </a:moveTo>
                <a:cubicBezTo>
                  <a:pt x="4769823" y="3609774"/>
                  <a:pt x="4771276" y="3611226"/>
                  <a:pt x="4771276" y="3613041"/>
                </a:cubicBezTo>
                <a:cubicBezTo>
                  <a:pt x="4771276" y="3614855"/>
                  <a:pt x="4769823" y="3616312"/>
                  <a:pt x="4768008" y="3616312"/>
                </a:cubicBezTo>
                <a:cubicBezTo>
                  <a:pt x="4766194" y="3616312"/>
                  <a:pt x="4764742" y="3614855"/>
                  <a:pt x="4764742" y="3613041"/>
                </a:cubicBezTo>
                <a:cubicBezTo>
                  <a:pt x="4764742" y="3611226"/>
                  <a:pt x="4766194" y="3609774"/>
                  <a:pt x="4768008" y="3609774"/>
                </a:cubicBezTo>
                <a:close/>
                <a:moveTo>
                  <a:pt x="4921594" y="3608322"/>
                </a:moveTo>
                <a:cubicBezTo>
                  <a:pt x="4924136" y="3608322"/>
                  <a:pt x="4925951" y="3610136"/>
                  <a:pt x="4925951" y="3612679"/>
                </a:cubicBezTo>
                <a:cubicBezTo>
                  <a:pt x="4925951" y="3615221"/>
                  <a:pt x="4923770" y="3617036"/>
                  <a:pt x="4921594" y="3617036"/>
                </a:cubicBezTo>
                <a:cubicBezTo>
                  <a:pt x="4919052" y="3617036"/>
                  <a:pt x="4917237" y="3615221"/>
                  <a:pt x="4917237" y="3612679"/>
                </a:cubicBezTo>
                <a:cubicBezTo>
                  <a:pt x="4917237" y="3610136"/>
                  <a:pt x="4919052" y="3608322"/>
                  <a:pt x="4921594" y="3608322"/>
                </a:cubicBezTo>
                <a:close/>
                <a:moveTo>
                  <a:pt x="5075541" y="3607232"/>
                </a:moveTo>
                <a:cubicBezTo>
                  <a:pt x="5078808" y="3607232"/>
                  <a:pt x="5081350" y="3609774"/>
                  <a:pt x="5081350" y="3613041"/>
                </a:cubicBezTo>
                <a:cubicBezTo>
                  <a:pt x="5081350" y="3616308"/>
                  <a:pt x="5078808" y="3618850"/>
                  <a:pt x="5075541" y="3618850"/>
                </a:cubicBezTo>
                <a:cubicBezTo>
                  <a:pt x="5072274" y="3618850"/>
                  <a:pt x="5069732" y="3616308"/>
                  <a:pt x="5069732" y="3613041"/>
                </a:cubicBezTo>
                <a:cubicBezTo>
                  <a:pt x="5069732" y="3609774"/>
                  <a:pt x="5072274" y="3607232"/>
                  <a:pt x="5075541" y="3607232"/>
                </a:cubicBezTo>
                <a:close/>
                <a:moveTo>
                  <a:pt x="5229126" y="3605417"/>
                </a:moveTo>
                <a:cubicBezTo>
                  <a:pt x="5233122" y="3605417"/>
                  <a:pt x="5236388" y="3608684"/>
                  <a:pt x="5236388" y="3612679"/>
                </a:cubicBezTo>
                <a:cubicBezTo>
                  <a:pt x="5236388" y="3616674"/>
                  <a:pt x="5233122" y="3619940"/>
                  <a:pt x="5229126" y="3619940"/>
                </a:cubicBezTo>
                <a:cubicBezTo>
                  <a:pt x="5225132" y="3619940"/>
                  <a:pt x="5221865" y="3616674"/>
                  <a:pt x="5221865" y="3612679"/>
                </a:cubicBezTo>
                <a:cubicBezTo>
                  <a:pt x="5221865" y="3608684"/>
                  <a:pt x="5225132" y="3605417"/>
                  <a:pt x="5229126" y="3605417"/>
                </a:cubicBezTo>
                <a:close/>
                <a:moveTo>
                  <a:pt x="5383074" y="3603603"/>
                </a:moveTo>
                <a:cubicBezTo>
                  <a:pt x="5388159" y="3603603"/>
                  <a:pt x="5392154" y="3607598"/>
                  <a:pt x="5392154" y="3612679"/>
                </a:cubicBezTo>
                <a:cubicBezTo>
                  <a:pt x="5392154" y="3617764"/>
                  <a:pt x="5388159" y="3621759"/>
                  <a:pt x="5383074" y="3621759"/>
                </a:cubicBezTo>
                <a:cubicBezTo>
                  <a:pt x="5377992" y="3621759"/>
                  <a:pt x="5373998" y="3617764"/>
                  <a:pt x="5373998" y="3612679"/>
                </a:cubicBezTo>
                <a:cubicBezTo>
                  <a:pt x="5373998" y="3607598"/>
                  <a:pt x="5377992" y="3603603"/>
                  <a:pt x="5383074" y="3603603"/>
                </a:cubicBezTo>
                <a:close/>
                <a:moveTo>
                  <a:pt x="5536659" y="3602512"/>
                </a:moveTo>
                <a:cubicBezTo>
                  <a:pt x="5542106" y="3602512"/>
                  <a:pt x="5546826" y="3607232"/>
                  <a:pt x="5546826" y="3612679"/>
                </a:cubicBezTo>
                <a:cubicBezTo>
                  <a:pt x="5546826" y="3618126"/>
                  <a:pt x="5542468" y="3622845"/>
                  <a:pt x="5536659" y="3622845"/>
                </a:cubicBezTo>
                <a:cubicBezTo>
                  <a:pt x="5531212" y="3622845"/>
                  <a:pt x="5526493" y="3618126"/>
                  <a:pt x="5526493" y="3612679"/>
                </a:cubicBezTo>
                <a:cubicBezTo>
                  <a:pt x="5526493" y="3607232"/>
                  <a:pt x="5531212" y="3602512"/>
                  <a:pt x="5536659" y="3602512"/>
                </a:cubicBezTo>
                <a:close/>
                <a:moveTo>
                  <a:pt x="5690602" y="3600698"/>
                </a:moveTo>
                <a:cubicBezTo>
                  <a:pt x="5697140" y="3600698"/>
                  <a:pt x="5702584" y="3606145"/>
                  <a:pt x="5702584" y="3612679"/>
                </a:cubicBezTo>
                <a:cubicBezTo>
                  <a:pt x="5702584" y="3619216"/>
                  <a:pt x="5697140" y="3624663"/>
                  <a:pt x="5690602" y="3624663"/>
                </a:cubicBezTo>
                <a:cubicBezTo>
                  <a:pt x="5684069" y="3624663"/>
                  <a:pt x="5678622" y="3619216"/>
                  <a:pt x="5678622" y="3612679"/>
                </a:cubicBezTo>
                <a:cubicBezTo>
                  <a:pt x="5678622" y="3606145"/>
                  <a:pt x="5684069" y="3600698"/>
                  <a:pt x="5690602" y="3600698"/>
                </a:cubicBezTo>
                <a:close/>
                <a:moveTo>
                  <a:pt x="5844554" y="3598884"/>
                </a:moveTo>
                <a:cubicBezTo>
                  <a:pt x="5852170" y="3598884"/>
                  <a:pt x="5858349" y="3605063"/>
                  <a:pt x="5858349" y="3612683"/>
                </a:cubicBezTo>
                <a:cubicBezTo>
                  <a:pt x="5858349" y="3620303"/>
                  <a:pt x="5852174" y="3626478"/>
                  <a:pt x="5844554" y="3626478"/>
                </a:cubicBezTo>
                <a:cubicBezTo>
                  <a:pt x="5836934" y="3626478"/>
                  <a:pt x="5830755" y="3620299"/>
                  <a:pt x="5830755" y="3612683"/>
                </a:cubicBezTo>
                <a:cubicBezTo>
                  <a:pt x="5830755" y="3605059"/>
                  <a:pt x="5836930" y="3598884"/>
                  <a:pt x="5844554" y="3598884"/>
                </a:cubicBezTo>
                <a:close/>
                <a:moveTo>
                  <a:pt x="5998139" y="3597431"/>
                </a:moveTo>
                <a:cubicBezTo>
                  <a:pt x="6006560" y="3597431"/>
                  <a:pt x="6013387" y="3604258"/>
                  <a:pt x="6013387" y="3612683"/>
                </a:cubicBezTo>
                <a:cubicBezTo>
                  <a:pt x="6013387" y="3621103"/>
                  <a:pt x="6006560" y="3627930"/>
                  <a:pt x="5998139" y="3627930"/>
                </a:cubicBezTo>
                <a:cubicBezTo>
                  <a:pt x="5989718" y="3627930"/>
                  <a:pt x="5982892" y="3621103"/>
                  <a:pt x="5982892" y="3612683"/>
                </a:cubicBezTo>
                <a:cubicBezTo>
                  <a:pt x="5982892" y="3604258"/>
                  <a:pt x="5989718" y="3597431"/>
                  <a:pt x="5998139" y="3597431"/>
                </a:cubicBezTo>
                <a:close/>
                <a:moveTo>
                  <a:pt x="6152083" y="3595613"/>
                </a:moveTo>
                <a:cubicBezTo>
                  <a:pt x="6161525" y="3595613"/>
                  <a:pt x="6169152" y="3603237"/>
                  <a:pt x="6169152" y="3612679"/>
                </a:cubicBezTo>
                <a:cubicBezTo>
                  <a:pt x="6169152" y="3622117"/>
                  <a:pt x="6161525" y="3629745"/>
                  <a:pt x="6152083" y="3629745"/>
                </a:cubicBezTo>
                <a:cubicBezTo>
                  <a:pt x="6142644" y="3629745"/>
                  <a:pt x="6135020" y="3622117"/>
                  <a:pt x="6135020" y="3612679"/>
                </a:cubicBezTo>
                <a:cubicBezTo>
                  <a:pt x="6135020" y="3603237"/>
                  <a:pt x="6142644" y="3595613"/>
                  <a:pt x="6152083" y="3595613"/>
                </a:cubicBezTo>
                <a:close/>
                <a:moveTo>
                  <a:pt x="6305668" y="3593436"/>
                </a:moveTo>
                <a:cubicBezTo>
                  <a:pt x="6316296" y="3593436"/>
                  <a:pt x="6324910" y="3602051"/>
                  <a:pt x="6324910" y="3612679"/>
                </a:cubicBezTo>
                <a:cubicBezTo>
                  <a:pt x="6324910" y="3623306"/>
                  <a:pt x="6316296" y="3631921"/>
                  <a:pt x="6305668" y="3631921"/>
                </a:cubicBezTo>
                <a:cubicBezTo>
                  <a:pt x="6295040" y="3631921"/>
                  <a:pt x="6286422" y="3623306"/>
                  <a:pt x="6286422" y="3612679"/>
                </a:cubicBezTo>
                <a:cubicBezTo>
                  <a:pt x="6286422" y="3602051"/>
                  <a:pt x="6295040" y="3593436"/>
                  <a:pt x="6305668" y="3593436"/>
                </a:cubicBezTo>
                <a:close/>
                <a:moveTo>
                  <a:pt x="6459616" y="3591256"/>
                </a:moveTo>
                <a:cubicBezTo>
                  <a:pt x="6471448" y="3591256"/>
                  <a:pt x="6481038" y="3600847"/>
                  <a:pt x="6481038" y="3612679"/>
                </a:cubicBezTo>
                <a:cubicBezTo>
                  <a:pt x="6481038" y="3624507"/>
                  <a:pt x="6471448" y="3634098"/>
                  <a:pt x="6459616" y="3634098"/>
                </a:cubicBezTo>
                <a:cubicBezTo>
                  <a:pt x="6447784" y="3634098"/>
                  <a:pt x="6438192" y="3624507"/>
                  <a:pt x="6438192" y="3612679"/>
                </a:cubicBezTo>
                <a:cubicBezTo>
                  <a:pt x="6438192" y="3600847"/>
                  <a:pt x="6447784" y="3591256"/>
                  <a:pt x="6459616" y="3591256"/>
                </a:cubicBezTo>
                <a:close/>
                <a:moveTo>
                  <a:pt x="6613200" y="3589804"/>
                </a:moveTo>
                <a:cubicBezTo>
                  <a:pt x="6625834" y="3589804"/>
                  <a:pt x="6636072" y="3600046"/>
                  <a:pt x="6636072" y="3612679"/>
                </a:cubicBezTo>
                <a:cubicBezTo>
                  <a:pt x="6636072" y="3625311"/>
                  <a:pt x="6625834" y="3635550"/>
                  <a:pt x="6613200" y="3635550"/>
                </a:cubicBezTo>
                <a:cubicBezTo>
                  <a:pt x="6600564" y="3635550"/>
                  <a:pt x="6590326" y="3625311"/>
                  <a:pt x="6590326" y="3612679"/>
                </a:cubicBezTo>
                <a:cubicBezTo>
                  <a:pt x="6590326" y="3600046"/>
                  <a:pt x="6600564" y="3589804"/>
                  <a:pt x="6613200" y="3589804"/>
                </a:cubicBezTo>
                <a:close/>
                <a:moveTo>
                  <a:pt x="4152947" y="3458731"/>
                </a:moveTo>
                <a:cubicBezTo>
                  <a:pt x="4153309" y="3458731"/>
                  <a:pt x="4153309" y="3458731"/>
                  <a:pt x="4153309" y="3459094"/>
                </a:cubicBezTo>
                <a:cubicBezTo>
                  <a:pt x="4153309" y="3459456"/>
                  <a:pt x="4152947" y="3459456"/>
                  <a:pt x="4152947" y="3459456"/>
                </a:cubicBezTo>
                <a:cubicBezTo>
                  <a:pt x="4152585" y="3459456"/>
                  <a:pt x="4152585" y="3459456"/>
                  <a:pt x="4152585" y="3459094"/>
                </a:cubicBezTo>
                <a:cubicBezTo>
                  <a:pt x="4152585" y="3458731"/>
                  <a:pt x="4152585" y="3458731"/>
                  <a:pt x="4152947" y="3458731"/>
                </a:cubicBezTo>
                <a:close/>
                <a:moveTo>
                  <a:pt x="3691467" y="3458731"/>
                </a:moveTo>
                <a:cubicBezTo>
                  <a:pt x="3691829" y="3458731"/>
                  <a:pt x="3691829" y="3458731"/>
                  <a:pt x="3691829" y="3459094"/>
                </a:cubicBezTo>
                <a:cubicBezTo>
                  <a:pt x="3691829" y="3459456"/>
                  <a:pt x="3691467" y="3459456"/>
                  <a:pt x="3691467" y="3459456"/>
                </a:cubicBezTo>
                <a:cubicBezTo>
                  <a:pt x="3691105" y="3459456"/>
                  <a:pt x="3691105" y="3459456"/>
                  <a:pt x="3691105" y="3459094"/>
                </a:cubicBezTo>
                <a:cubicBezTo>
                  <a:pt x="3691105" y="3458731"/>
                  <a:pt x="3691105" y="3458731"/>
                  <a:pt x="3691467" y="3458731"/>
                </a:cubicBezTo>
                <a:close/>
                <a:moveTo>
                  <a:pt x="3537882" y="3458731"/>
                </a:moveTo>
                <a:cubicBezTo>
                  <a:pt x="3538244" y="3458731"/>
                  <a:pt x="3538244" y="3458731"/>
                  <a:pt x="3538244" y="3459094"/>
                </a:cubicBezTo>
                <a:cubicBezTo>
                  <a:pt x="3538244" y="3459456"/>
                  <a:pt x="3537882" y="3459456"/>
                  <a:pt x="3537882" y="3459456"/>
                </a:cubicBezTo>
                <a:cubicBezTo>
                  <a:pt x="3537520" y="3459456"/>
                  <a:pt x="3537520" y="3459456"/>
                  <a:pt x="3537520" y="3459094"/>
                </a:cubicBezTo>
                <a:cubicBezTo>
                  <a:pt x="3537520" y="3458731"/>
                  <a:pt x="3537520" y="3458731"/>
                  <a:pt x="3537882" y="3458731"/>
                </a:cubicBezTo>
                <a:close/>
                <a:moveTo>
                  <a:pt x="3383938" y="3458369"/>
                </a:moveTo>
                <a:cubicBezTo>
                  <a:pt x="3384338" y="3458369"/>
                  <a:pt x="3384662" y="3458693"/>
                  <a:pt x="3384662" y="3459094"/>
                </a:cubicBezTo>
                <a:cubicBezTo>
                  <a:pt x="3384662" y="3459498"/>
                  <a:pt x="3384338" y="3459822"/>
                  <a:pt x="3383938" y="3459822"/>
                </a:cubicBezTo>
                <a:cubicBezTo>
                  <a:pt x="3383534" y="3459822"/>
                  <a:pt x="3383210" y="3459498"/>
                  <a:pt x="3383210" y="3459094"/>
                </a:cubicBezTo>
                <a:cubicBezTo>
                  <a:pt x="3383210" y="3458693"/>
                  <a:pt x="3383534" y="3458369"/>
                  <a:pt x="3383938" y="3458369"/>
                </a:cubicBezTo>
                <a:close/>
                <a:moveTo>
                  <a:pt x="4306532" y="3457279"/>
                </a:moveTo>
                <a:cubicBezTo>
                  <a:pt x="4307256" y="3457279"/>
                  <a:pt x="4307984" y="3458003"/>
                  <a:pt x="4307984" y="3458731"/>
                </a:cubicBezTo>
                <a:cubicBezTo>
                  <a:pt x="4307984" y="3459456"/>
                  <a:pt x="4306532" y="3460184"/>
                  <a:pt x="4306532" y="3460184"/>
                </a:cubicBezTo>
                <a:cubicBezTo>
                  <a:pt x="4305804" y="3460184"/>
                  <a:pt x="4305080" y="3459456"/>
                  <a:pt x="4305080" y="3458731"/>
                </a:cubicBezTo>
                <a:cubicBezTo>
                  <a:pt x="4305080" y="3458003"/>
                  <a:pt x="4305804" y="3457279"/>
                  <a:pt x="4306532" y="3457279"/>
                </a:cubicBezTo>
                <a:close/>
                <a:moveTo>
                  <a:pt x="4460480" y="3456917"/>
                </a:moveTo>
                <a:cubicBezTo>
                  <a:pt x="4461680" y="3456917"/>
                  <a:pt x="4462656" y="3457893"/>
                  <a:pt x="4462656" y="3459094"/>
                </a:cubicBezTo>
                <a:cubicBezTo>
                  <a:pt x="4462656" y="3460298"/>
                  <a:pt x="4461680" y="3461274"/>
                  <a:pt x="4460480" y="3461274"/>
                </a:cubicBezTo>
                <a:cubicBezTo>
                  <a:pt x="4459275" y="3461274"/>
                  <a:pt x="4458300" y="3460298"/>
                  <a:pt x="4458300" y="3459094"/>
                </a:cubicBezTo>
                <a:cubicBezTo>
                  <a:pt x="4458300" y="3457893"/>
                  <a:pt x="4459275" y="3456917"/>
                  <a:pt x="4460480" y="3456917"/>
                </a:cubicBezTo>
                <a:close/>
                <a:moveTo>
                  <a:pt x="4614061" y="3455827"/>
                </a:moveTo>
                <a:cubicBezTo>
                  <a:pt x="4615880" y="3455827"/>
                  <a:pt x="4617328" y="3457279"/>
                  <a:pt x="4617328" y="3459094"/>
                </a:cubicBezTo>
                <a:cubicBezTo>
                  <a:pt x="4617328" y="3460908"/>
                  <a:pt x="4615880" y="3462364"/>
                  <a:pt x="4614061" y="3462364"/>
                </a:cubicBezTo>
                <a:cubicBezTo>
                  <a:pt x="4612246" y="3462364"/>
                  <a:pt x="4610794" y="3460908"/>
                  <a:pt x="4610794" y="3459094"/>
                </a:cubicBezTo>
                <a:cubicBezTo>
                  <a:pt x="4610794" y="3457279"/>
                  <a:pt x="4612246" y="3455827"/>
                  <a:pt x="4614061" y="3455827"/>
                </a:cubicBezTo>
                <a:close/>
                <a:moveTo>
                  <a:pt x="4768008" y="3454374"/>
                </a:moveTo>
                <a:cubicBezTo>
                  <a:pt x="4770551" y="3454374"/>
                  <a:pt x="4772366" y="3456189"/>
                  <a:pt x="4772366" y="3458731"/>
                </a:cubicBezTo>
                <a:cubicBezTo>
                  <a:pt x="4772366" y="3461274"/>
                  <a:pt x="4770189" y="3463088"/>
                  <a:pt x="4768008" y="3463088"/>
                </a:cubicBezTo>
                <a:cubicBezTo>
                  <a:pt x="4765466" y="3463088"/>
                  <a:pt x="4763652" y="3461274"/>
                  <a:pt x="4763652" y="3458731"/>
                </a:cubicBezTo>
                <a:cubicBezTo>
                  <a:pt x="4763652" y="3456189"/>
                  <a:pt x="4765466" y="3454374"/>
                  <a:pt x="4768008" y="3454374"/>
                </a:cubicBezTo>
                <a:close/>
                <a:moveTo>
                  <a:pt x="4921594" y="3453284"/>
                </a:moveTo>
                <a:cubicBezTo>
                  <a:pt x="4924860" y="3453284"/>
                  <a:pt x="4927403" y="3455827"/>
                  <a:pt x="4927403" y="3459094"/>
                </a:cubicBezTo>
                <a:cubicBezTo>
                  <a:pt x="4927403" y="3462360"/>
                  <a:pt x="4924860" y="3464903"/>
                  <a:pt x="4921594" y="3464903"/>
                </a:cubicBezTo>
                <a:cubicBezTo>
                  <a:pt x="4918327" y="3464903"/>
                  <a:pt x="4915784" y="3462360"/>
                  <a:pt x="4915784" y="3459094"/>
                </a:cubicBezTo>
                <a:cubicBezTo>
                  <a:pt x="4915784" y="3455827"/>
                  <a:pt x="4918327" y="3453284"/>
                  <a:pt x="4921594" y="3453284"/>
                </a:cubicBezTo>
                <a:close/>
                <a:moveTo>
                  <a:pt x="5075541" y="3451832"/>
                </a:moveTo>
                <a:cubicBezTo>
                  <a:pt x="5079536" y="3451832"/>
                  <a:pt x="5082803" y="3455099"/>
                  <a:pt x="5082803" y="3459094"/>
                </a:cubicBezTo>
                <a:cubicBezTo>
                  <a:pt x="5082803" y="3463088"/>
                  <a:pt x="5079536" y="3466355"/>
                  <a:pt x="5075541" y="3466355"/>
                </a:cubicBezTo>
                <a:cubicBezTo>
                  <a:pt x="5071546" y="3466355"/>
                  <a:pt x="5068280" y="3463088"/>
                  <a:pt x="5068280" y="3459094"/>
                </a:cubicBezTo>
                <a:cubicBezTo>
                  <a:pt x="5068280" y="3455099"/>
                  <a:pt x="5071546" y="3451832"/>
                  <a:pt x="5075541" y="3451832"/>
                </a:cubicBezTo>
                <a:close/>
                <a:moveTo>
                  <a:pt x="5229126" y="3449655"/>
                </a:moveTo>
                <a:cubicBezTo>
                  <a:pt x="5234212" y="3449655"/>
                  <a:pt x="5238206" y="3453650"/>
                  <a:pt x="5238206" y="3458731"/>
                </a:cubicBezTo>
                <a:cubicBezTo>
                  <a:pt x="5238206" y="3463816"/>
                  <a:pt x="5234212" y="3467811"/>
                  <a:pt x="5229126" y="3467811"/>
                </a:cubicBezTo>
                <a:cubicBezTo>
                  <a:pt x="5224045" y="3467811"/>
                  <a:pt x="5220050" y="3463816"/>
                  <a:pt x="5220050" y="3458731"/>
                </a:cubicBezTo>
                <a:cubicBezTo>
                  <a:pt x="5220050" y="3453650"/>
                  <a:pt x="5224045" y="3449655"/>
                  <a:pt x="5229126" y="3449655"/>
                </a:cubicBezTo>
                <a:close/>
                <a:moveTo>
                  <a:pt x="5383074" y="3448927"/>
                </a:moveTo>
                <a:cubicBezTo>
                  <a:pt x="5388521" y="3448927"/>
                  <a:pt x="5393240" y="3453646"/>
                  <a:pt x="5393240" y="3459094"/>
                </a:cubicBezTo>
                <a:cubicBezTo>
                  <a:pt x="5393240" y="3464541"/>
                  <a:pt x="5388883" y="3469260"/>
                  <a:pt x="5383074" y="3469260"/>
                </a:cubicBezTo>
                <a:cubicBezTo>
                  <a:pt x="5377626" y="3469260"/>
                  <a:pt x="5372908" y="3464541"/>
                  <a:pt x="5372908" y="3459094"/>
                </a:cubicBezTo>
                <a:cubicBezTo>
                  <a:pt x="5372908" y="3453646"/>
                  <a:pt x="5377626" y="3448927"/>
                  <a:pt x="5383074" y="3448927"/>
                </a:cubicBezTo>
                <a:close/>
                <a:moveTo>
                  <a:pt x="5536659" y="3447113"/>
                </a:moveTo>
                <a:cubicBezTo>
                  <a:pt x="5543196" y="3447113"/>
                  <a:pt x="5548640" y="3452560"/>
                  <a:pt x="5548640" y="3459094"/>
                </a:cubicBezTo>
                <a:cubicBezTo>
                  <a:pt x="5548640" y="3465631"/>
                  <a:pt x="5543196" y="3471074"/>
                  <a:pt x="5536659" y="3471074"/>
                </a:cubicBezTo>
                <a:cubicBezTo>
                  <a:pt x="5530122" y="3471074"/>
                  <a:pt x="5524678" y="3465631"/>
                  <a:pt x="5524678" y="3459094"/>
                </a:cubicBezTo>
                <a:cubicBezTo>
                  <a:pt x="5524678" y="3452560"/>
                  <a:pt x="5530122" y="3447113"/>
                  <a:pt x="5536659" y="3447113"/>
                </a:cubicBezTo>
                <a:close/>
                <a:moveTo>
                  <a:pt x="5690606" y="3445298"/>
                </a:moveTo>
                <a:cubicBezTo>
                  <a:pt x="5698222" y="3445298"/>
                  <a:pt x="5704402" y="3451477"/>
                  <a:pt x="5704402" y="3459094"/>
                </a:cubicBezTo>
                <a:cubicBezTo>
                  <a:pt x="5704402" y="3466714"/>
                  <a:pt x="5698226" y="3472893"/>
                  <a:pt x="5690606" y="3472893"/>
                </a:cubicBezTo>
                <a:cubicBezTo>
                  <a:pt x="5682986" y="3472893"/>
                  <a:pt x="5676808" y="3466714"/>
                  <a:pt x="5676808" y="3459094"/>
                </a:cubicBezTo>
                <a:cubicBezTo>
                  <a:pt x="5676808" y="3451474"/>
                  <a:pt x="5682982" y="3445298"/>
                  <a:pt x="5690606" y="3445298"/>
                </a:cubicBezTo>
                <a:close/>
                <a:moveTo>
                  <a:pt x="5844554" y="3443846"/>
                </a:moveTo>
                <a:cubicBezTo>
                  <a:pt x="5852974" y="3443846"/>
                  <a:pt x="5859802" y="3450673"/>
                  <a:pt x="5859802" y="3459094"/>
                </a:cubicBezTo>
                <a:cubicBezTo>
                  <a:pt x="5859802" y="3467518"/>
                  <a:pt x="5852974" y="3474345"/>
                  <a:pt x="5844554" y="3474345"/>
                </a:cubicBezTo>
                <a:cubicBezTo>
                  <a:pt x="5836130" y="3474345"/>
                  <a:pt x="5829302" y="3467518"/>
                  <a:pt x="5829302" y="3459094"/>
                </a:cubicBezTo>
                <a:cubicBezTo>
                  <a:pt x="5829302" y="3450673"/>
                  <a:pt x="5836130" y="3443846"/>
                  <a:pt x="5844554" y="3443846"/>
                </a:cubicBezTo>
                <a:close/>
                <a:moveTo>
                  <a:pt x="5998139" y="3442031"/>
                </a:moveTo>
                <a:cubicBezTo>
                  <a:pt x="6007566" y="3442031"/>
                  <a:pt x="6015205" y="3449670"/>
                  <a:pt x="6015205" y="3459097"/>
                </a:cubicBezTo>
                <a:cubicBezTo>
                  <a:pt x="6015205" y="3468520"/>
                  <a:pt x="6007562" y="3476159"/>
                  <a:pt x="5998139" y="3476159"/>
                </a:cubicBezTo>
                <a:cubicBezTo>
                  <a:pt x="5988716" y="3476159"/>
                  <a:pt x="5981077" y="3468520"/>
                  <a:pt x="5981077" y="3459097"/>
                </a:cubicBezTo>
                <a:cubicBezTo>
                  <a:pt x="5981077" y="3449670"/>
                  <a:pt x="5988716" y="3442031"/>
                  <a:pt x="5998139" y="3442031"/>
                </a:cubicBezTo>
                <a:close/>
                <a:moveTo>
                  <a:pt x="6152083" y="3439851"/>
                </a:moveTo>
                <a:cubicBezTo>
                  <a:pt x="6162710" y="3439851"/>
                  <a:pt x="6171329" y="3448466"/>
                  <a:pt x="6171329" y="3459094"/>
                </a:cubicBezTo>
                <a:cubicBezTo>
                  <a:pt x="6171329" y="3469721"/>
                  <a:pt x="6162710" y="3478336"/>
                  <a:pt x="6152083" y="3478336"/>
                </a:cubicBezTo>
                <a:cubicBezTo>
                  <a:pt x="6141455" y="3478336"/>
                  <a:pt x="6132836" y="3469721"/>
                  <a:pt x="6132836" y="3459094"/>
                </a:cubicBezTo>
                <a:cubicBezTo>
                  <a:pt x="6132836" y="3448466"/>
                  <a:pt x="6141455" y="3439851"/>
                  <a:pt x="6152083" y="3439851"/>
                </a:cubicBezTo>
                <a:close/>
                <a:moveTo>
                  <a:pt x="6305668" y="3437674"/>
                </a:moveTo>
                <a:cubicBezTo>
                  <a:pt x="6317500" y="3437674"/>
                  <a:pt x="6327091" y="3447265"/>
                  <a:pt x="6327091" y="3459097"/>
                </a:cubicBezTo>
                <a:cubicBezTo>
                  <a:pt x="6327091" y="3470926"/>
                  <a:pt x="6317500" y="3480516"/>
                  <a:pt x="6305668" y="3480516"/>
                </a:cubicBezTo>
                <a:cubicBezTo>
                  <a:pt x="6293836" y="3480516"/>
                  <a:pt x="6284245" y="3470926"/>
                  <a:pt x="6284245" y="3459097"/>
                </a:cubicBezTo>
                <a:cubicBezTo>
                  <a:pt x="6284245" y="3447265"/>
                  <a:pt x="6293836" y="3437674"/>
                  <a:pt x="6305668" y="3437674"/>
                </a:cubicBezTo>
                <a:close/>
                <a:moveTo>
                  <a:pt x="6459619" y="3436222"/>
                </a:moveTo>
                <a:cubicBezTo>
                  <a:pt x="6472252" y="3436222"/>
                  <a:pt x="6482494" y="3446465"/>
                  <a:pt x="6482494" y="3459097"/>
                </a:cubicBezTo>
                <a:cubicBezTo>
                  <a:pt x="6482494" y="3471730"/>
                  <a:pt x="6472252" y="3481969"/>
                  <a:pt x="6459619" y="3481969"/>
                </a:cubicBezTo>
                <a:cubicBezTo>
                  <a:pt x="6446983" y="3481969"/>
                  <a:pt x="6436744" y="3471730"/>
                  <a:pt x="6436744" y="3459097"/>
                </a:cubicBezTo>
                <a:cubicBezTo>
                  <a:pt x="6436744" y="3446465"/>
                  <a:pt x="6446983" y="3436222"/>
                  <a:pt x="6459619" y="3436222"/>
                </a:cubicBezTo>
                <a:close/>
                <a:moveTo>
                  <a:pt x="6613200" y="3434042"/>
                </a:moveTo>
                <a:cubicBezTo>
                  <a:pt x="6627038" y="3434042"/>
                  <a:pt x="6638252" y="3445256"/>
                  <a:pt x="6638252" y="3459094"/>
                </a:cubicBezTo>
                <a:cubicBezTo>
                  <a:pt x="6638252" y="3472931"/>
                  <a:pt x="6627038" y="3484145"/>
                  <a:pt x="6613200" y="3484145"/>
                </a:cubicBezTo>
                <a:cubicBezTo>
                  <a:pt x="6599364" y="3484145"/>
                  <a:pt x="6588149" y="3472931"/>
                  <a:pt x="6588149" y="3459094"/>
                </a:cubicBezTo>
                <a:cubicBezTo>
                  <a:pt x="6588149" y="3445256"/>
                  <a:pt x="6599364" y="3434042"/>
                  <a:pt x="6613200" y="3434042"/>
                </a:cubicBezTo>
                <a:close/>
                <a:moveTo>
                  <a:pt x="3999000" y="3304784"/>
                </a:moveTo>
                <a:cubicBezTo>
                  <a:pt x="3999362" y="3304784"/>
                  <a:pt x="3999362" y="3304784"/>
                  <a:pt x="3999362" y="3305146"/>
                </a:cubicBezTo>
                <a:cubicBezTo>
                  <a:pt x="3999362" y="3305512"/>
                  <a:pt x="3999000" y="3305512"/>
                  <a:pt x="3999000" y="3305512"/>
                </a:cubicBezTo>
                <a:cubicBezTo>
                  <a:pt x="3998638" y="3305512"/>
                  <a:pt x="3998638" y="3305512"/>
                  <a:pt x="3998638" y="3305146"/>
                </a:cubicBezTo>
                <a:cubicBezTo>
                  <a:pt x="3998638" y="3304784"/>
                  <a:pt x="3998638" y="3304784"/>
                  <a:pt x="3999000" y="3304784"/>
                </a:cubicBezTo>
                <a:close/>
                <a:moveTo>
                  <a:pt x="3537882" y="3304784"/>
                </a:moveTo>
                <a:cubicBezTo>
                  <a:pt x="3538244" y="3304784"/>
                  <a:pt x="3538244" y="3304784"/>
                  <a:pt x="3538244" y="3305146"/>
                </a:cubicBezTo>
                <a:cubicBezTo>
                  <a:pt x="3538244" y="3305512"/>
                  <a:pt x="3537882" y="3305512"/>
                  <a:pt x="3537882" y="3305512"/>
                </a:cubicBezTo>
                <a:cubicBezTo>
                  <a:pt x="3537520" y="3305512"/>
                  <a:pt x="3537520" y="3305512"/>
                  <a:pt x="3537520" y="3305146"/>
                </a:cubicBezTo>
                <a:cubicBezTo>
                  <a:pt x="3537520" y="3304784"/>
                  <a:pt x="3537520" y="3304784"/>
                  <a:pt x="3537882" y="3304784"/>
                </a:cubicBezTo>
                <a:close/>
                <a:moveTo>
                  <a:pt x="3383934" y="3304784"/>
                </a:moveTo>
                <a:cubicBezTo>
                  <a:pt x="3384296" y="3304784"/>
                  <a:pt x="3384296" y="3304784"/>
                  <a:pt x="3384296" y="3305146"/>
                </a:cubicBezTo>
                <a:cubicBezTo>
                  <a:pt x="3384296" y="3305512"/>
                  <a:pt x="3383934" y="3305512"/>
                  <a:pt x="3383934" y="3305512"/>
                </a:cubicBezTo>
                <a:cubicBezTo>
                  <a:pt x="3383572" y="3305512"/>
                  <a:pt x="3383572" y="3305512"/>
                  <a:pt x="3383572" y="3305146"/>
                </a:cubicBezTo>
                <a:cubicBezTo>
                  <a:pt x="3383572" y="3304784"/>
                  <a:pt x="3383572" y="3304784"/>
                  <a:pt x="3383934" y="3304784"/>
                </a:cubicBezTo>
                <a:close/>
                <a:moveTo>
                  <a:pt x="3230353" y="3304422"/>
                </a:moveTo>
                <a:cubicBezTo>
                  <a:pt x="3230753" y="3304422"/>
                  <a:pt x="3231077" y="3304746"/>
                  <a:pt x="3231077" y="3305146"/>
                </a:cubicBezTo>
                <a:cubicBezTo>
                  <a:pt x="3231077" y="3305550"/>
                  <a:pt x="3230753" y="3305874"/>
                  <a:pt x="3230353" y="3305874"/>
                </a:cubicBezTo>
                <a:cubicBezTo>
                  <a:pt x="3229949" y="3305874"/>
                  <a:pt x="3229625" y="3305550"/>
                  <a:pt x="3229625" y="3305146"/>
                </a:cubicBezTo>
                <a:cubicBezTo>
                  <a:pt x="3229625" y="3304746"/>
                  <a:pt x="3229949" y="3304422"/>
                  <a:pt x="3230353" y="3304422"/>
                </a:cubicBezTo>
                <a:close/>
                <a:moveTo>
                  <a:pt x="4152947" y="3303694"/>
                </a:moveTo>
                <a:cubicBezTo>
                  <a:pt x="4153748" y="3303694"/>
                  <a:pt x="4154400" y="3304346"/>
                  <a:pt x="4154400" y="3305146"/>
                </a:cubicBezTo>
                <a:cubicBezTo>
                  <a:pt x="4154400" y="3305947"/>
                  <a:pt x="4153748" y="3306598"/>
                  <a:pt x="4152947" y="3306598"/>
                </a:cubicBezTo>
                <a:cubicBezTo>
                  <a:pt x="4152142" y="3306598"/>
                  <a:pt x="4151494" y="3305947"/>
                  <a:pt x="4151494" y="3305146"/>
                </a:cubicBezTo>
                <a:cubicBezTo>
                  <a:pt x="4151494" y="3304346"/>
                  <a:pt x="4152142" y="3303694"/>
                  <a:pt x="4152947" y="3303694"/>
                </a:cubicBezTo>
                <a:close/>
                <a:moveTo>
                  <a:pt x="4306528" y="3302970"/>
                </a:moveTo>
                <a:cubicBezTo>
                  <a:pt x="4307733" y="3302970"/>
                  <a:pt x="4308709" y="3303945"/>
                  <a:pt x="4308709" y="3305146"/>
                </a:cubicBezTo>
                <a:cubicBezTo>
                  <a:pt x="4308709" y="3306351"/>
                  <a:pt x="4307733" y="3307327"/>
                  <a:pt x="4306528" y="3307327"/>
                </a:cubicBezTo>
                <a:cubicBezTo>
                  <a:pt x="4305328" y="3307327"/>
                  <a:pt x="4304352" y="3306351"/>
                  <a:pt x="4304352" y="3305146"/>
                </a:cubicBezTo>
                <a:cubicBezTo>
                  <a:pt x="4304352" y="3303945"/>
                  <a:pt x="4305328" y="3302970"/>
                  <a:pt x="4306528" y="3302970"/>
                </a:cubicBezTo>
                <a:close/>
                <a:moveTo>
                  <a:pt x="4460480" y="3302241"/>
                </a:moveTo>
                <a:cubicBezTo>
                  <a:pt x="4462294" y="3302241"/>
                  <a:pt x="4463746" y="3303694"/>
                  <a:pt x="4463746" y="3305508"/>
                </a:cubicBezTo>
                <a:cubicBezTo>
                  <a:pt x="4463746" y="3307323"/>
                  <a:pt x="4462294" y="3308779"/>
                  <a:pt x="4460480" y="3308779"/>
                </a:cubicBezTo>
                <a:cubicBezTo>
                  <a:pt x="4458665" y="3308779"/>
                  <a:pt x="4457213" y="3307323"/>
                  <a:pt x="4457213" y="3305508"/>
                </a:cubicBezTo>
                <a:cubicBezTo>
                  <a:pt x="4457213" y="3303694"/>
                  <a:pt x="4458665" y="3302241"/>
                  <a:pt x="4460480" y="3302241"/>
                </a:cubicBezTo>
                <a:close/>
                <a:moveTo>
                  <a:pt x="4614061" y="3300789"/>
                </a:moveTo>
                <a:cubicBezTo>
                  <a:pt x="4616604" y="3300789"/>
                  <a:pt x="4618418" y="3302604"/>
                  <a:pt x="4618418" y="3305146"/>
                </a:cubicBezTo>
                <a:cubicBezTo>
                  <a:pt x="4618418" y="3307689"/>
                  <a:pt x="4616238" y="3309503"/>
                  <a:pt x="4614061" y="3309503"/>
                </a:cubicBezTo>
                <a:cubicBezTo>
                  <a:pt x="4611518" y="3309503"/>
                  <a:pt x="4609704" y="3307689"/>
                  <a:pt x="4609704" y="3305146"/>
                </a:cubicBezTo>
                <a:cubicBezTo>
                  <a:pt x="4609704" y="3302604"/>
                  <a:pt x="4611518" y="3300789"/>
                  <a:pt x="4614061" y="3300789"/>
                </a:cubicBezTo>
                <a:close/>
                <a:moveTo>
                  <a:pt x="4768012" y="3299699"/>
                </a:moveTo>
                <a:cubicBezTo>
                  <a:pt x="4771279" y="3299699"/>
                  <a:pt x="4773822" y="3302241"/>
                  <a:pt x="4773822" y="3305508"/>
                </a:cubicBezTo>
                <a:cubicBezTo>
                  <a:pt x="4773822" y="3308775"/>
                  <a:pt x="4771279" y="3311318"/>
                  <a:pt x="4768012" y="3311318"/>
                </a:cubicBezTo>
                <a:cubicBezTo>
                  <a:pt x="4764746" y="3311318"/>
                  <a:pt x="4762203" y="3308775"/>
                  <a:pt x="4762203" y="3305508"/>
                </a:cubicBezTo>
                <a:cubicBezTo>
                  <a:pt x="4762203" y="3302241"/>
                  <a:pt x="4764746" y="3299699"/>
                  <a:pt x="4768012" y="3299699"/>
                </a:cubicBezTo>
                <a:close/>
                <a:moveTo>
                  <a:pt x="4921594" y="3297885"/>
                </a:moveTo>
                <a:cubicBezTo>
                  <a:pt x="4925588" y="3297885"/>
                  <a:pt x="4928856" y="3301151"/>
                  <a:pt x="4928856" y="3305146"/>
                </a:cubicBezTo>
                <a:cubicBezTo>
                  <a:pt x="4928856" y="3309141"/>
                  <a:pt x="4925588" y="3312408"/>
                  <a:pt x="4921594" y="3312408"/>
                </a:cubicBezTo>
                <a:cubicBezTo>
                  <a:pt x="4917599" y="3312408"/>
                  <a:pt x="4914332" y="3309141"/>
                  <a:pt x="4914332" y="3305146"/>
                </a:cubicBezTo>
                <a:cubicBezTo>
                  <a:pt x="4914332" y="3301151"/>
                  <a:pt x="4917599" y="3297885"/>
                  <a:pt x="4921594" y="3297885"/>
                </a:cubicBezTo>
                <a:close/>
                <a:moveTo>
                  <a:pt x="5075541" y="3296070"/>
                </a:moveTo>
                <a:cubicBezTo>
                  <a:pt x="5080626" y="3296070"/>
                  <a:pt x="5084621" y="3300065"/>
                  <a:pt x="5084621" y="3305146"/>
                </a:cubicBezTo>
                <a:cubicBezTo>
                  <a:pt x="5084621" y="3310231"/>
                  <a:pt x="5080626" y="3314226"/>
                  <a:pt x="5075541" y="3314226"/>
                </a:cubicBezTo>
                <a:cubicBezTo>
                  <a:pt x="5070460" y="3314226"/>
                  <a:pt x="5066465" y="3310231"/>
                  <a:pt x="5066465" y="3305146"/>
                </a:cubicBezTo>
                <a:cubicBezTo>
                  <a:pt x="5066465" y="3300065"/>
                  <a:pt x="5070460" y="3296070"/>
                  <a:pt x="5075541" y="3296070"/>
                </a:cubicBezTo>
                <a:close/>
                <a:moveTo>
                  <a:pt x="5229126" y="3294980"/>
                </a:moveTo>
                <a:cubicBezTo>
                  <a:pt x="5234574" y="3294980"/>
                  <a:pt x="5239293" y="3299699"/>
                  <a:pt x="5239293" y="3305146"/>
                </a:cubicBezTo>
                <a:cubicBezTo>
                  <a:pt x="5239293" y="3310593"/>
                  <a:pt x="5234936" y="3315312"/>
                  <a:pt x="5229126" y="3315312"/>
                </a:cubicBezTo>
                <a:cubicBezTo>
                  <a:pt x="5223679" y="3315312"/>
                  <a:pt x="5218960" y="3310593"/>
                  <a:pt x="5218960" y="3305146"/>
                </a:cubicBezTo>
                <a:cubicBezTo>
                  <a:pt x="5218960" y="3299699"/>
                  <a:pt x="5223679" y="3294980"/>
                  <a:pt x="5229126" y="3294980"/>
                </a:cubicBezTo>
                <a:close/>
                <a:moveTo>
                  <a:pt x="5383074" y="3293165"/>
                </a:moveTo>
                <a:cubicBezTo>
                  <a:pt x="5389612" y="3293165"/>
                  <a:pt x="5395058" y="3298613"/>
                  <a:pt x="5395058" y="3305146"/>
                </a:cubicBezTo>
                <a:cubicBezTo>
                  <a:pt x="5395058" y="3311684"/>
                  <a:pt x="5389612" y="3317131"/>
                  <a:pt x="5383074" y="3317131"/>
                </a:cubicBezTo>
                <a:cubicBezTo>
                  <a:pt x="5376540" y="3317131"/>
                  <a:pt x="5371093" y="3311684"/>
                  <a:pt x="5371093" y="3305146"/>
                </a:cubicBezTo>
                <a:cubicBezTo>
                  <a:pt x="5371093" y="3298613"/>
                  <a:pt x="5376540" y="3293165"/>
                  <a:pt x="5383074" y="3293165"/>
                </a:cubicBezTo>
                <a:close/>
                <a:moveTo>
                  <a:pt x="5537021" y="3291351"/>
                </a:moveTo>
                <a:cubicBezTo>
                  <a:pt x="5544641" y="3291351"/>
                  <a:pt x="5550820" y="3297530"/>
                  <a:pt x="5550820" y="3305146"/>
                </a:cubicBezTo>
                <a:cubicBezTo>
                  <a:pt x="5550820" y="3312766"/>
                  <a:pt x="5544645" y="3318945"/>
                  <a:pt x="5537021" y="3318945"/>
                </a:cubicBezTo>
                <a:cubicBezTo>
                  <a:pt x="5529405" y="3318945"/>
                  <a:pt x="5523226" y="3312766"/>
                  <a:pt x="5523226" y="3305146"/>
                </a:cubicBezTo>
                <a:cubicBezTo>
                  <a:pt x="5523226" y="3297526"/>
                  <a:pt x="5529402" y="3291351"/>
                  <a:pt x="5537021" y="3291351"/>
                </a:cubicBezTo>
                <a:close/>
                <a:moveTo>
                  <a:pt x="5690606" y="3289899"/>
                </a:moveTo>
                <a:cubicBezTo>
                  <a:pt x="5699027" y="3289899"/>
                  <a:pt x="5705854" y="3296726"/>
                  <a:pt x="5705854" y="3305146"/>
                </a:cubicBezTo>
                <a:cubicBezTo>
                  <a:pt x="5705854" y="3313570"/>
                  <a:pt x="5699027" y="3320398"/>
                  <a:pt x="5690606" y="3320398"/>
                </a:cubicBezTo>
                <a:cubicBezTo>
                  <a:pt x="5682182" y="3320398"/>
                  <a:pt x="5675355" y="3313570"/>
                  <a:pt x="5675355" y="3305146"/>
                </a:cubicBezTo>
                <a:cubicBezTo>
                  <a:pt x="5675355" y="3296726"/>
                  <a:pt x="5682182" y="3289899"/>
                  <a:pt x="5690606" y="3289899"/>
                </a:cubicBezTo>
                <a:close/>
                <a:moveTo>
                  <a:pt x="5844554" y="3288084"/>
                </a:moveTo>
                <a:cubicBezTo>
                  <a:pt x="5853977" y="3288084"/>
                  <a:pt x="5861616" y="3295723"/>
                  <a:pt x="5861616" y="3305150"/>
                </a:cubicBezTo>
                <a:cubicBezTo>
                  <a:pt x="5861616" y="3314573"/>
                  <a:pt x="5853977" y="3322216"/>
                  <a:pt x="5844554" y="3322216"/>
                </a:cubicBezTo>
                <a:cubicBezTo>
                  <a:pt x="5835127" y="3322216"/>
                  <a:pt x="5827488" y="3314573"/>
                  <a:pt x="5827488" y="3305150"/>
                </a:cubicBezTo>
                <a:cubicBezTo>
                  <a:pt x="5827488" y="3295723"/>
                  <a:pt x="5835131" y="3288084"/>
                  <a:pt x="5844554" y="3288084"/>
                </a:cubicBezTo>
                <a:close/>
                <a:moveTo>
                  <a:pt x="5998136" y="3285904"/>
                </a:moveTo>
                <a:cubicBezTo>
                  <a:pt x="6008763" y="3285904"/>
                  <a:pt x="6017382" y="3294519"/>
                  <a:pt x="6017382" y="3305146"/>
                </a:cubicBezTo>
                <a:cubicBezTo>
                  <a:pt x="6017382" y="3315774"/>
                  <a:pt x="6008763" y="3324389"/>
                  <a:pt x="5998136" y="3324389"/>
                </a:cubicBezTo>
                <a:cubicBezTo>
                  <a:pt x="5987508" y="3324389"/>
                  <a:pt x="5978893" y="3315774"/>
                  <a:pt x="5978893" y="3305146"/>
                </a:cubicBezTo>
                <a:cubicBezTo>
                  <a:pt x="5978893" y="3294519"/>
                  <a:pt x="5987508" y="3285904"/>
                  <a:pt x="5998136" y="3285904"/>
                </a:cubicBezTo>
                <a:close/>
                <a:moveTo>
                  <a:pt x="6152086" y="3283727"/>
                </a:moveTo>
                <a:cubicBezTo>
                  <a:pt x="6163915" y="3283727"/>
                  <a:pt x="6173510" y="3293318"/>
                  <a:pt x="6173510" y="3305150"/>
                </a:cubicBezTo>
                <a:cubicBezTo>
                  <a:pt x="6173510" y="3316979"/>
                  <a:pt x="6163915" y="3326569"/>
                  <a:pt x="6152086" y="3326569"/>
                </a:cubicBezTo>
                <a:cubicBezTo>
                  <a:pt x="6140254" y="3326569"/>
                  <a:pt x="6130664" y="3316979"/>
                  <a:pt x="6130664" y="3305150"/>
                </a:cubicBezTo>
                <a:cubicBezTo>
                  <a:pt x="6130664" y="3293318"/>
                  <a:pt x="6140254" y="3283727"/>
                  <a:pt x="6152086" y="3283727"/>
                </a:cubicBezTo>
                <a:close/>
                <a:moveTo>
                  <a:pt x="6305672" y="3282275"/>
                </a:moveTo>
                <a:cubicBezTo>
                  <a:pt x="6318304" y="3282275"/>
                  <a:pt x="6328547" y="3292517"/>
                  <a:pt x="6328547" y="3305150"/>
                </a:cubicBezTo>
                <a:cubicBezTo>
                  <a:pt x="6328547" y="3317783"/>
                  <a:pt x="6318304" y="3328021"/>
                  <a:pt x="6305672" y="3328021"/>
                </a:cubicBezTo>
                <a:cubicBezTo>
                  <a:pt x="6293039" y="3328021"/>
                  <a:pt x="6282796" y="3317783"/>
                  <a:pt x="6282796" y="3305150"/>
                </a:cubicBezTo>
                <a:cubicBezTo>
                  <a:pt x="6282796" y="3292517"/>
                  <a:pt x="6293039" y="3282275"/>
                  <a:pt x="6305672" y="3282275"/>
                </a:cubicBezTo>
                <a:close/>
                <a:moveTo>
                  <a:pt x="6459616" y="3280094"/>
                </a:moveTo>
                <a:cubicBezTo>
                  <a:pt x="6473452" y="3280094"/>
                  <a:pt x="6484671" y="3291309"/>
                  <a:pt x="6484671" y="3305146"/>
                </a:cubicBezTo>
                <a:cubicBezTo>
                  <a:pt x="6484671" y="3318984"/>
                  <a:pt x="6473452" y="3330202"/>
                  <a:pt x="6459616" y="3330202"/>
                </a:cubicBezTo>
                <a:cubicBezTo>
                  <a:pt x="6445778" y="3330202"/>
                  <a:pt x="6434564" y="3318984"/>
                  <a:pt x="6434564" y="3305146"/>
                </a:cubicBezTo>
                <a:cubicBezTo>
                  <a:pt x="6434564" y="3291313"/>
                  <a:pt x="6445778" y="3280094"/>
                  <a:pt x="6459616" y="3280094"/>
                </a:cubicBezTo>
                <a:close/>
                <a:moveTo>
                  <a:pt x="6613200" y="3277914"/>
                </a:moveTo>
                <a:cubicBezTo>
                  <a:pt x="6628086" y="3277914"/>
                  <a:pt x="6640433" y="3290261"/>
                  <a:pt x="6640433" y="3305146"/>
                </a:cubicBezTo>
                <a:cubicBezTo>
                  <a:pt x="6640433" y="3320032"/>
                  <a:pt x="6628448" y="3332378"/>
                  <a:pt x="6613200" y="3332378"/>
                </a:cubicBezTo>
                <a:cubicBezTo>
                  <a:pt x="6598315" y="3332378"/>
                  <a:pt x="6585968" y="3320032"/>
                  <a:pt x="6585968" y="3305146"/>
                </a:cubicBezTo>
                <a:cubicBezTo>
                  <a:pt x="6585968" y="3290261"/>
                  <a:pt x="6598315" y="3277914"/>
                  <a:pt x="6613200" y="3277914"/>
                </a:cubicBezTo>
                <a:close/>
                <a:moveTo>
                  <a:pt x="3845414" y="3151199"/>
                </a:moveTo>
                <a:cubicBezTo>
                  <a:pt x="3845776" y="3151199"/>
                  <a:pt x="3845776" y="3151199"/>
                  <a:pt x="3845776" y="3151561"/>
                </a:cubicBezTo>
                <a:cubicBezTo>
                  <a:pt x="3845776" y="3151923"/>
                  <a:pt x="3845414" y="3151923"/>
                  <a:pt x="3845414" y="3151923"/>
                </a:cubicBezTo>
                <a:cubicBezTo>
                  <a:pt x="3845052" y="3151923"/>
                  <a:pt x="3845052" y="3151923"/>
                  <a:pt x="3845052" y="3151561"/>
                </a:cubicBezTo>
                <a:cubicBezTo>
                  <a:pt x="3845052" y="3151199"/>
                  <a:pt x="3845052" y="3151199"/>
                  <a:pt x="3845414" y="3151199"/>
                </a:cubicBezTo>
                <a:close/>
                <a:moveTo>
                  <a:pt x="3383934" y="3151199"/>
                </a:moveTo>
                <a:cubicBezTo>
                  <a:pt x="3384296" y="3151199"/>
                  <a:pt x="3384296" y="3151199"/>
                  <a:pt x="3384296" y="3151561"/>
                </a:cubicBezTo>
                <a:cubicBezTo>
                  <a:pt x="3384296" y="3151923"/>
                  <a:pt x="3383934" y="3151923"/>
                  <a:pt x="3383934" y="3151923"/>
                </a:cubicBezTo>
                <a:cubicBezTo>
                  <a:pt x="3383572" y="3151923"/>
                  <a:pt x="3383572" y="3151923"/>
                  <a:pt x="3383572" y="3151561"/>
                </a:cubicBezTo>
                <a:cubicBezTo>
                  <a:pt x="3383572" y="3151199"/>
                  <a:pt x="3383572" y="3151199"/>
                  <a:pt x="3383934" y="3151199"/>
                </a:cubicBezTo>
                <a:close/>
                <a:moveTo>
                  <a:pt x="3230349" y="3151199"/>
                </a:moveTo>
                <a:cubicBezTo>
                  <a:pt x="3230715" y="3151199"/>
                  <a:pt x="3230715" y="3151199"/>
                  <a:pt x="3230715" y="3151561"/>
                </a:cubicBezTo>
                <a:cubicBezTo>
                  <a:pt x="3230715" y="3151923"/>
                  <a:pt x="3230349" y="3151923"/>
                  <a:pt x="3230349" y="3151923"/>
                </a:cubicBezTo>
                <a:cubicBezTo>
                  <a:pt x="3229987" y="3151923"/>
                  <a:pt x="3229987" y="3151923"/>
                  <a:pt x="3229987" y="3151561"/>
                </a:cubicBezTo>
                <a:cubicBezTo>
                  <a:pt x="3229987" y="3151199"/>
                  <a:pt x="3229987" y="3151199"/>
                  <a:pt x="3230349" y="3151199"/>
                </a:cubicBezTo>
                <a:close/>
                <a:moveTo>
                  <a:pt x="3076406" y="3150837"/>
                </a:moveTo>
                <a:cubicBezTo>
                  <a:pt x="3076806" y="3150837"/>
                  <a:pt x="3077130" y="3151161"/>
                  <a:pt x="3077130" y="3151565"/>
                </a:cubicBezTo>
                <a:cubicBezTo>
                  <a:pt x="3077130" y="3151965"/>
                  <a:pt x="3076806" y="3152289"/>
                  <a:pt x="3076406" y="3152289"/>
                </a:cubicBezTo>
                <a:cubicBezTo>
                  <a:pt x="3076001" y="3152289"/>
                  <a:pt x="3075677" y="3151965"/>
                  <a:pt x="3075677" y="3151565"/>
                </a:cubicBezTo>
                <a:cubicBezTo>
                  <a:pt x="3075677" y="3151161"/>
                  <a:pt x="3076001" y="3150837"/>
                  <a:pt x="3076406" y="3150837"/>
                </a:cubicBezTo>
                <a:close/>
                <a:moveTo>
                  <a:pt x="3999000" y="3150112"/>
                </a:moveTo>
                <a:cubicBezTo>
                  <a:pt x="3999800" y="3150112"/>
                  <a:pt x="4000452" y="3150764"/>
                  <a:pt x="4000452" y="3151565"/>
                </a:cubicBezTo>
                <a:cubicBezTo>
                  <a:pt x="4000452" y="3152365"/>
                  <a:pt x="3999800" y="3153017"/>
                  <a:pt x="3999000" y="3153017"/>
                </a:cubicBezTo>
                <a:cubicBezTo>
                  <a:pt x="3998195" y="3153017"/>
                  <a:pt x="3997547" y="3152365"/>
                  <a:pt x="3997547" y="3151565"/>
                </a:cubicBezTo>
                <a:cubicBezTo>
                  <a:pt x="3997547" y="3150764"/>
                  <a:pt x="3998195" y="3150112"/>
                  <a:pt x="3999000" y="3150112"/>
                </a:cubicBezTo>
                <a:close/>
                <a:moveTo>
                  <a:pt x="4152951" y="3149384"/>
                </a:moveTo>
                <a:cubicBezTo>
                  <a:pt x="4154152" y="3149384"/>
                  <a:pt x="4155128" y="3150360"/>
                  <a:pt x="4155128" y="3151565"/>
                </a:cubicBezTo>
                <a:cubicBezTo>
                  <a:pt x="4155128" y="3152766"/>
                  <a:pt x="4154152" y="3153741"/>
                  <a:pt x="4152951" y="3153741"/>
                </a:cubicBezTo>
                <a:cubicBezTo>
                  <a:pt x="4151746" y="3153741"/>
                  <a:pt x="4150770" y="3152766"/>
                  <a:pt x="4150770" y="3151565"/>
                </a:cubicBezTo>
                <a:cubicBezTo>
                  <a:pt x="4150770" y="3150360"/>
                  <a:pt x="4151746" y="3149384"/>
                  <a:pt x="4152951" y="3149384"/>
                </a:cubicBezTo>
                <a:close/>
                <a:moveTo>
                  <a:pt x="4306528" y="3148294"/>
                </a:moveTo>
                <a:cubicBezTo>
                  <a:pt x="4308346" y="3148294"/>
                  <a:pt x="4309796" y="3149746"/>
                  <a:pt x="4309796" y="3151561"/>
                </a:cubicBezTo>
                <a:cubicBezTo>
                  <a:pt x="4309796" y="3153375"/>
                  <a:pt x="4308346" y="3154831"/>
                  <a:pt x="4306528" y="3154831"/>
                </a:cubicBezTo>
                <a:cubicBezTo>
                  <a:pt x="4304714" y="3154831"/>
                  <a:pt x="4303262" y="3153375"/>
                  <a:pt x="4303262" y="3151561"/>
                </a:cubicBezTo>
                <a:cubicBezTo>
                  <a:pt x="4303262" y="3149746"/>
                  <a:pt x="4304714" y="3148294"/>
                  <a:pt x="4306528" y="3148294"/>
                </a:cubicBezTo>
                <a:close/>
                <a:moveTo>
                  <a:pt x="4460480" y="3146842"/>
                </a:moveTo>
                <a:cubicBezTo>
                  <a:pt x="4463018" y="3146842"/>
                  <a:pt x="4464836" y="3148656"/>
                  <a:pt x="4464836" y="3151199"/>
                </a:cubicBezTo>
                <a:cubicBezTo>
                  <a:pt x="4464836" y="3153741"/>
                  <a:pt x="4462656" y="3155556"/>
                  <a:pt x="4460480" y="3155556"/>
                </a:cubicBezTo>
                <a:cubicBezTo>
                  <a:pt x="4457937" y="3155556"/>
                  <a:pt x="4456122" y="3153741"/>
                  <a:pt x="4456122" y="3151199"/>
                </a:cubicBezTo>
                <a:cubicBezTo>
                  <a:pt x="4456122" y="3148656"/>
                  <a:pt x="4457937" y="3146842"/>
                  <a:pt x="4460480" y="3146842"/>
                </a:cubicBezTo>
                <a:close/>
                <a:moveTo>
                  <a:pt x="4614061" y="3145752"/>
                </a:moveTo>
                <a:cubicBezTo>
                  <a:pt x="4617328" y="3145752"/>
                  <a:pt x="4619870" y="3148294"/>
                  <a:pt x="4619870" y="3151561"/>
                </a:cubicBezTo>
                <a:cubicBezTo>
                  <a:pt x="4619870" y="3154828"/>
                  <a:pt x="4617328" y="3157370"/>
                  <a:pt x="4614061" y="3157370"/>
                </a:cubicBezTo>
                <a:cubicBezTo>
                  <a:pt x="4610794" y="3157370"/>
                  <a:pt x="4608252" y="3154828"/>
                  <a:pt x="4608252" y="3151561"/>
                </a:cubicBezTo>
                <a:cubicBezTo>
                  <a:pt x="4608252" y="3148294"/>
                  <a:pt x="4610794" y="3145752"/>
                  <a:pt x="4614061" y="3145752"/>
                </a:cubicBezTo>
                <a:close/>
                <a:moveTo>
                  <a:pt x="4768008" y="3144299"/>
                </a:moveTo>
                <a:cubicBezTo>
                  <a:pt x="4772004" y="3144299"/>
                  <a:pt x="4775270" y="3147566"/>
                  <a:pt x="4775270" y="3151561"/>
                </a:cubicBezTo>
                <a:cubicBezTo>
                  <a:pt x="4775270" y="3155556"/>
                  <a:pt x="4772004" y="3158823"/>
                  <a:pt x="4768008" y="3158823"/>
                </a:cubicBezTo>
                <a:cubicBezTo>
                  <a:pt x="4764014" y="3158823"/>
                  <a:pt x="4760747" y="3155556"/>
                  <a:pt x="4760747" y="3151561"/>
                </a:cubicBezTo>
                <a:cubicBezTo>
                  <a:pt x="4760747" y="3147566"/>
                  <a:pt x="4764014" y="3144299"/>
                  <a:pt x="4768008" y="3144299"/>
                </a:cubicBezTo>
                <a:close/>
                <a:moveTo>
                  <a:pt x="4921594" y="3142123"/>
                </a:moveTo>
                <a:cubicBezTo>
                  <a:pt x="4926679" y="3142123"/>
                  <a:pt x="4930674" y="3146118"/>
                  <a:pt x="4930674" y="3151199"/>
                </a:cubicBezTo>
                <a:cubicBezTo>
                  <a:pt x="4930674" y="3156284"/>
                  <a:pt x="4926679" y="3160279"/>
                  <a:pt x="4921594" y="3160279"/>
                </a:cubicBezTo>
                <a:cubicBezTo>
                  <a:pt x="4916512" y="3160279"/>
                  <a:pt x="4912518" y="3156284"/>
                  <a:pt x="4912518" y="3151199"/>
                </a:cubicBezTo>
                <a:cubicBezTo>
                  <a:pt x="4912518" y="3146118"/>
                  <a:pt x="4916512" y="3142123"/>
                  <a:pt x="4921594" y="3142123"/>
                </a:cubicBezTo>
                <a:close/>
                <a:moveTo>
                  <a:pt x="5075541" y="3141395"/>
                </a:moveTo>
                <a:cubicBezTo>
                  <a:pt x="5080988" y="3141395"/>
                  <a:pt x="5085708" y="3146114"/>
                  <a:pt x="5085708" y="3151561"/>
                </a:cubicBezTo>
                <a:cubicBezTo>
                  <a:pt x="5085708" y="3157008"/>
                  <a:pt x="5081350" y="3161727"/>
                  <a:pt x="5075541" y="3161727"/>
                </a:cubicBezTo>
                <a:cubicBezTo>
                  <a:pt x="5070094" y="3161727"/>
                  <a:pt x="5065375" y="3157008"/>
                  <a:pt x="5065375" y="3151561"/>
                </a:cubicBezTo>
                <a:cubicBezTo>
                  <a:pt x="5065375" y="3146114"/>
                  <a:pt x="5070094" y="3141395"/>
                  <a:pt x="5075541" y="3141395"/>
                </a:cubicBezTo>
                <a:close/>
                <a:moveTo>
                  <a:pt x="5229126" y="3139580"/>
                </a:moveTo>
                <a:cubicBezTo>
                  <a:pt x="5235664" y="3139580"/>
                  <a:pt x="5241111" y="3145028"/>
                  <a:pt x="5241111" y="3151561"/>
                </a:cubicBezTo>
                <a:cubicBezTo>
                  <a:pt x="5241111" y="3158099"/>
                  <a:pt x="5235664" y="3163542"/>
                  <a:pt x="5229126" y="3163542"/>
                </a:cubicBezTo>
                <a:cubicBezTo>
                  <a:pt x="5222593" y="3163542"/>
                  <a:pt x="5217146" y="3158099"/>
                  <a:pt x="5217146" y="3151561"/>
                </a:cubicBezTo>
                <a:cubicBezTo>
                  <a:pt x="5217146" y="3145028"/>
                  <a:pt x="5222593" y="3139580"/>
                  <a:pt x="5229126" y="3139580"/>
                </a:cubicBezTo>
                <a:close/>
                <a:moveTo>
                  <a:pt x="5383078" y="3137403"/>
                </a:moveTo>
                <a:cubicBezTo>
                  <a:pt x="5390702" y="3137403"/>
                  <a:pt x="5396873" y="3143575"/>
                  <a:pt x="5396873" y="3151199"/>
                </a:cubicBezTo>
                <a:cubicBezTo>
                  <a:pt x="5396873" y="3158827"/>
                  <a:pt x="5390702" y="3164998"/>
                  <a:pt x="5383078" y="3164998"/>
                </a:cubicBezTo>
                <a:cubicBezTo>
                  <a:pt x="5375450" y="3164998"/>
                  <a:pt x="5369278" y="3158827"/>
                  <a:pt x="5369278" y="3151199"/>
                </a:cubicBezTo>
                <a:cubicBezTo>
                  <a:pt x="5369278" y="3143575"/>
                  <a:pt x="5375450" y="3137403"/>
                  <a:pt x="5383078" y="3137403"/>
                </a:cubicBezTo>
                <a:close/>
                <a:moveTo>
                  <a:pt x="5536659" y="3136313"/>
                </a:moveTo>
                <a:cubicBezTo>
                  <a:pt x="5545080" y="3136313"/>
                  <a:pt x="5551906" y="3143140"/>
                  <a:pt x="5551906" y="3151565"/>
                </a:cubicBezTo>
                <a:cubicBezTo>
                  <a:pt x="5551906" y="3159985"/>
                  <a:pt x="5545080" y="3166812"/>
                  <a:pt x="5536659" y="3166812"/>
                </a:cubicBezTo>
                <a:cubicBezTo>
                  <a:pt x="5528238" y="3166812"/>
                  <a:pt x="5521408" y="3159985"/>
                  <a:pt x="5521408" y="3151565"/>
                </a:cubicBezTo>
                <a:cubicBezTo>
                  <a:pt x="5521408" y="3143140"/>
                  <a:pt x="5528238" y="3136313"/>
                  <a:pt x="5536659" y="3136313"/>
                </a:cubicBezTo>
                <a:close/>
                <a:moveTo>
                  <a:pt x="5690606" y="3134499"/>
                </a:moveTo>
                <a:cubicBezTo>
                  <a:pt x="5700048" y="3134499"/>
                  <a:pt x="5707672" y="3142123"/>
                  <a:pt x="5707672" y="3151565"/>
                </a:cubicBezTo>
                <a:cubicBezTo>
                  <a:pt x="5707672" y="3161003"/>
                  <a:pt x="5700048" y="3168627"/>
                  <a:pt x="5690606" y="3168627"/>
                </a:cubicBezTo>
                <a:cubicBezTo>
                  <a:pt x="5681164" y="3168627"/>
                  <a:pt x="5673540" y="3161003"/>
                  <a:pt x="5673540" y="3151565"/>
                </a:cubicBezTo>
                <a:cubicBezTo>
                  <a:pt x="5673540" y="3142123"/>
                  <a:pt x="5681164" y="3134499"/>
                  <a:pt x="5690606" y="3134499"/>
                </a:cubicBezTo>
                <a:close/>
                <a:moveTo>
                  <a:pt x="5844554" y="3132318"/>
                </a:moveTo>
                <a:cubicBezTo>
                  <a:pt x="5855182" y="3132318"/>
                  <a:pt x="5863796" y="3140933"/>
                  <a:pt x="5863796" y="3151561"/>
                </a:cubicBezTo>
                <a:cubicBezTo>
                  <a:pt x="5863796" y="3162188"/>
                  <a:pt x="5855182" y="3170807"/>
                  <a:pt x="5844554" y="3170807"/>
                </a:cubicBezTo>
                <a:cubicBezTo>
                  <a:pt x="5833926" y="3170807"/>
                  <a:pt x="5825308" y="3162188"/>
                  <a:pt x="5825308" y="3151561"/>
                </a:cubicBezTo>
                <a:cubicBezTo>
                  <a:pt x="5825308" y="3140933"/>
                  <a:pt x="5833926" y="3132318"/>
                  <a:pt x="5844554" y="3132318"/>
                </a:cubicBezTo>
                <a:close/>
                <a:moveTo>
                  <a:pt x="5998139" y="3130142"/>
                </a:moveTo>
                <a:cubicBezTo>
                  <a:pt x="6009968" y="3130142"/>
                  <a:pt x="6019562" y="3139733"/>
                  <a:pt x="6019562" y="3151565"/>
                </a:cubicBezTo>
                <a:cubicBezTo>
                  <a:pt x="6019562" y="3163397"/>
                  <a:pt x="6009968" y="3172984"/>
                  <a:pt x="5998139" y="3172984"/>
                </a:cubicBezTo>
                <a:cubicBezTo>
                  <a:pt x="5986307" y="3172984"/>
                  <a:pt x="5976716" y="3163393"/>
                  <a:pt x="5976716" y="3151565"/>
                </a:cubicBezTo>
                <a:cubicBezTo>
                  <a:pt x="5976716" y="3139733"/>
                  <a:pt x="5986307" y="3130142"/>
                  <a:pt x="5998139" y="3130142"/>
                </a:cubicBezTo>
                <a:close/>
                <a:moveTo>
                  <a:pt x="6152086" y="3128689"/>
                </a:moveTo>
                <a:cubicBezTo>
                  <a:pt x="6164719" y="3128689"/>
                  <a:pt x="6174958" y="3138932"/>
                  <a:pt x="6174958" y="3151565"/>
                </a:cubicBezTo>
                <a:cubicBezTo>
                  <a:pt x="6174958" y="3164197"/>
                  <a:pt x="6164719" y="3174440"/>
                  <a:pt x="6152086" y="3174440"/>
                </a:cubicBezTo>
                <a:cubicBezTo>
                  <a:pt x="6139450" y="3174440"/>
                  <a:pt x="6129212" y="3164197"/>
                  <a:pt x="6129212" y="3151565"/>
                </a:cubicBezTo>
                <a:cubicBezTo>
                  <a:pt x="6129212" y="3138932"/>
                  <a:pt x="6139450" y="3128689"/>
                  <a:pt x="6152086" y="3128689"/>
                </a:cubicBezTo>
                <a:close/>
                <a:moveTo>
                  <a:pt x="6305668" y="3126509"/>
                </a:moveTo>
                <a:cubicBezTo>
                  <a:pt x="6319505" y="3126509"/>
                  <a:pt x="6330724" y="3137724"/>
                  <a:pt x="6330724" y="3151561"/>
                </a:cubicBezTo>
                <a:cubicBezTo>
                  <a:pt x="6330724" y="3165398"/>
                  <a:pt x="6319505" y="3176616"/>
                  <a:pt x="6305668" y="3176616"/>
                </a:cubicBezTo>
                <a:cubicBezTo>
                  <a:pt x="6291831" y="3176616"/>
                  <a:pt x="6280616" y="3165398"/>
                  <a:pt x="6280616" y="3151561"/>
                </a:cubicBezTo>
                <a:cubicBezTo>
                  <a:pt x="6280616" y="3137728"/>
                  <a:pt x="6291831" y="3126509"/>
                  <a:pt x="6305668" y="3126509"/>
                </a:cubicBezTo>
                <a:close/>
                <a:moveTo>
                  <a:pt x="6459619" y="3124332"/>
                </a:moveTo>
                <a:cubicBezTo>
                  <a:pt x="6474657" y="3124332"/>
                  <a:pt x="6486852" y="3136523"/>
                  <a:pt x="6486852" y="3151565"/>
                </a:cubicBezTo>
                <a:cubicBezTo>
                  <a:pt x="6486852" y="3166603"/>
                  <a:pt x="6474657" y="3178797"/>
                  <a:pt x="6459619" y="3178797"/>
                </a:cubicBezTo>
                <a:cubicBezTo>
                  <a:pt x="6444582" y="3178797"/>
                  <a:pt x="6432387" y="3166603"/>
                  <a:pt x="6432387" y="3151565"/>
                </a:cubicBezTo>
                <a:cubicBezTo>
                  <a:pt x="6432387" y="3136523"/>
                  <a:pt x="6444582" y="3124332"/>
                  <a:pt x="6459619" y="3124332"/>
                </a:cubicBezTo>
                <a:close/>
                <a:moveTo>
                  <a:pt x="6613197" y="3121790"/>
                </a:moveTo>
                <a:cubicBezTo>
                  <a:pt x="6629642" y="3121790"/>
                  <a:pt x="6642972" y="3135120"/>
                  <a:pt x="6642972" y="3151565"/>
                </a:cubicBezTo>
                <a:cubicBezTo>
                  <a:pt x="6642972" y="3168005"/>
                  <a:pt x="6629642" y="3181336"/>
                  <a:pt x="6613197" y="3181336"/>
                </a:cubicBezTo>
                <a:cubicBezTo>
                  <a:pt x="6596756" y="3181336"/>
                  <a:pt x="6583426" y="3168005"/>
                  <a:pt x="6583426" y="3151565"/>
                </a:cubicBezTo>
                <a:cubicBezTo>
                  <a:pt x="6583426" y="3135120"/>
                  <a:pt x="6596756" y="3121790"/>
                  <a:pt x="6613197" y="3121790"/>
                </a:cubicBezTo>
                <a:close/>
                <a:moveTo>
                  <a:pt x="3691467" y="2997252"/>
                </a:moveTo>
                <a:cubicBezTo>
                  <a:pt x="3691669" y="2997252"/>
                  <a:pt x="3691829" y="2997415"/>
                  <a:pt x="3691829" y="2997613"/>
                </a:cubicBezTo>
                <a:cubicBezTo>
                  <a:pt x="3691829" y="2997816"/>
                  <a:pt x="3691669" y="2997976"/>
                  <a:pt x="3691467" y="2997976"/>
                </a:cubicBezTo>
                <a:cubicBezTo>
                  <a:pt x="3691269" y="2997976"/>
                  <a:pt x="3691105" y="2997816"/>
                  <a:pt x="3691105" y="2997613"/>
                </a:cubicBezTo>
                <a:cubicBezTo>
                  <a:pt x="3691105" y="2997415"/>
                  <a:pt x="3691269" y="2997252"/>
                  <a:pt x="3691467" y="2997252"/>
                </a:cubicBezTo>
                <a:close/>
                <a:moveTo>
                  <a:pt x="3230349" y="2997252"/>
                </a:moveTo>
                <a:cubicBezTo>
                  <a:pt x="3230715" y="2997252"/>
                  <a:pt x="3230715" y="2997252"/>
                  <a:pt x="3230715" y="2997613"/>
                </a:cubicBezTo>
                <a:cubicBezTo>
                  <a:pt x="3230715" y="2997976"/>
                  <a:pt x="3230349" y="2997976"/>
                  <a:pt x="3230349" y="2997976"/>
                </a:cubicBezTo>
                <a:cubicBezTo>
                  <a:pt x="3229987" y="2997976"/>
                  <a:pt x="3229987" y="2997976"/>
                  <a:pt x="3229987" y="2997613"/>
                </a:cubicBezTo>
                <a:cubicBezTo>
                  <a:pt x="3229987" y="2997252"/>
                  <a:pt x="3229987" y="2997252"/>
                  <a:pt x="3230349" y="2997252"/>
                </a:cubicBezTo>
                <a:close/>
                <a:moveTo>
                  <a:pt x="3076406" y="2997252"/>
                </a:moveTo>
                <a:cubicBezTo>
                  <a:pt x="3076768" y="2997252"/>
                  <a:pt x="3076768" y="2997252"/>
                  <a:pt x="3076768" y="2997613"/>
                </a:cubicBezTo>
                <a:cubicBezTo>
                  <a:pt x="3076768" y="2997976"/>
                  <a:pt x="3076406" y="2997976"/>
                  <a:pt x="3076406" y="2997976"/>
                </a:cubicBezTo>
                <a:cubicBezTo>
                  <a:pt x="3076043" y="2997976"/>
                  <a:pt x="3076043" y="2997976"/>
                  <a:pt x="3076043" y="2997613"/>
                </a:cubicBezTo>
                <a:cubicBezTo>
                  <a:pt x="3076043" y="2997252"/>
                  <a:pt x="3076043" y="2997252"/>
                  <a:pt x="3076406" y="2997252"/>
                </a:cubicBezTo>
                <a:close/>
                <a:moveTo>
                  <a:pt x="2922824" y="2996889"/>
                </a:moveTo>
                <a:cubicBezTo>
                  <a:pt x="2923224" y="2996889"/>
                  <a:pt x="2923548" y="2997213"/>
                  <a:pt x="2923548" y="2997613"/>
                </a:cubicBezTo>
                <a:cubicBezTo>
                  <a:pt x="2923548" y="2998018"/>
                  <a:pt x="2923224" y="2998342"/>
                  <a:pt x="2922824" y="2998342"/>
                </a:cubicBezTo>
                <a:cubicBezTo>
                  <a:pt x="2922420" y="2998342"/>
                  <a:pt x="2922096" y="2998018"/>
                  <a:pt x="2922096" y="2997613"/>
                </a:cubicBezTo>
                <a:cubicBezTo>
                  <a:pt x="2922096" y="2997213"/>
                  <a:pt x="2922420" y="2996889"/>
                  <a:pt x="2922824" y="2996889"/>
                </a:cubicBezTo>
                <a:close/>
                <a:moveTo>
                  <a:pt x="3845414" y="2996165"/>
                </a:moveTo>
                <a:cubicBezTo>
                  <a:pt x="3846215" y="2996165"/>
                  <a:pt x="3846867" y="2996817"/>
                  <a:pt x="3846867" y="2997617"/>
                </a:cubicBezTo>
                <a:cubicBezTo>
                  <a:pt x="3846867" y="2998418"/>
                  <a:pt x="3846215" y="2999070"/>
                  <a:pt x="3845414" y="2999070"/>
                </a:cubicBezTo>
                <a:cubicBezTo>
                  <a:pt x="3844610" y="2999070"/>
                  <a:pt x="3843962" y="2998418"/>
                  <a:pt x="3843962" y="2997617"/>
                </a:cubicBezTo>
                <a:cubicBezTo>
                  <a:pt x="3843962" y="2996817"/>
                  <a:pt x="3844610" y="2996165"/>
                  <a:pt x="3845414" y="2996165"/>
                </a:cubicBezTo>
                <a:close/>
                <a:moveTo>
                  <a:pt x="3999000" y="2995437"/>
                </a:moveTo>
                <a:cubicBezTo>
                  <a:pt x="4000204" y="2995437"/>
                  <a:pt x="4001180" y="2996413"/>
                  <a:pt x="4001180" y="2997613"/>
                </a:cubicBezTo>
                <a:cubicBezTo>
                  <a:pt x="4001180" y="2998818"/>
                  <a:pt x="4000204" y="2999794"/>
                  <a:pt x="3999000" y="2999794"/>
                </a:cubicBezTo>
                <a:cubicBezTo>
                  <a:pt x="3997799" y="2999794"/>
                  <a:pt x="3996823" y="2998818"/>
                  <a:pt x="3996823" y="2997613"/>
                </a:cubicBezTo>
                <a:cubicBezTo>
                  <a:pt x="3996823" y="2996413"/>
                  <a:pt x="3997799" y="2995437"/>
                  <a:pt x="3999000" y="2995437"/>
                </a:cubicBezTo>
                <a:close/>
                <a:moveTo>
                  <a:pt x="4152947" y="2994713"/>
                </a:moveTo>
                <a:cubicBezTo>
                  <a:pt x="4154762" y="2994713"/>
                  <a:pt x="4156214" y="2996165"/>
                  <a:pt x="4156214" y="2997979"/>
                </a:cubicBezTo>
                <a:cubicBezTo>
                  <a:pt x="4156214" y="2999794"/>
                  <a:pt x="4154762" y="3001250"/>
                  <a:pt x="4152947" y="3001250"/>
                </a:cubicBezTo>
                <a:cubicBezTo>
                  <a:pt x="4151132" y="3001250"/>
                  <a:pt x="4149680" y="2999794"/>
                  <a:pt x="4149680" y="2997979"/>
                </a:cubicBezTo>
                <a:cubicBezTo>
                  <a:pt x="4149680" y="2996165"/>
                  <a:pt x="4151132" y="2994713"/>
                  <a:pt x="4152947" y="2994713"/>
                </a:cubicBezTo>
                <a:close/>
                <a:moveTo>
                  <a:pt x="4306532" y="2993261"/>
                </a:moveTo>
                <a:cubicBezTo>
                  <a:pt x="4309075" y="2993261"/>
                  <a:pt x="4310890" y="2995075"/>
                  <a:pt x="4310890" y="2997617"/>
                </a:cubicBezTo>
                <a:cubicBezTo>
                  <a:pt x="4310890" y="3000160"/>
                  <a:pt x="4308709" y="3001974"/>
                  <a:pt x="4306532" y="3001974"/>
                </a:cubicBezTo>
                <a:cubicBezTo>
                  <a:pt x="4303990" y="3001974"/>
                  <a:pt x="4302176" y="3000160"/>
                  <a:pt x="4302176" y="2997617"/>
                </a:cubicBezTo>
                <a:cubicBezTo>
                  <a:pt x="4302176" y="2995075"/>
                  <a:pt x="4303990" y="2993261"/>
                  <a:pt x="4306532" y="2993261"/>
                </a:cubicBezTo>
                <a:close/>
                <a:moveTo>
                  <a:pt x="4460480" y="2991808"/>
                </a:moveTo>
                <a:cubicBezTo>
                  <a:pt x="4463690" y="2991808"/>
                  <a:pt x="4466289" y="2994408"/>
                  <a:pt x="4466289" y="2997617"/>
                </a:cubicBezTo>
                <a:cubicBezTo>
                  <a:pt x="4466289" y="3000827"/>
                  <a:pt x="4463690" y="3003427"/>
                  <a:pt x="4460480" y="3003427"/>
                </a:cubicBezTo>
                <a:cubicBezTo>
                  <a:pt x="4457270" y="3003427"/>
                  <a:pt x="4454670" y="3000827"/>
                  <a:pt x="4454670" y="2997617"/>
                </a:cubicBezTo>
                <a:cubicBezTo>
                  <a:pt x="4454670" y="2994408"/>
                  <a:pt x="4457270" y="2991808"/>
                  <a:pt x="4460480" y="2991808"/>
                </a:cubicBezTo>
                <a:close/>
                <a:moveTo>
                  <a:pt x="4614065" y="2990356"/>
                </a:moveTo>
                <a:cubicBezTo>
                  <a:pt x="4618060" y="2990356"/>
                  <a:pt x="4621326" y="2993622"/>
                  <a:pt x="4621326" y="2997617"/>
                </a:cubicBezTo>
                <a:cubicBezTo>
                  <a:pt x="4621326" y="3001612"/>
                  <a:pt x="4618060" y="3004879"/>
                  <a:pt x="4614065" y="3004879"/>
                </a:cubicBezTo>
                <a:cubicBezTo>
                  <a:pt x="4610070" y="3004879"/>
                  <a:pt x="4606804" y="3001612"/>
                  <a:pt x="4606804" y="2997617"/>
                </a:cubicBezTo>
                <a:cubicBezTo>
                  <a:pt x="4606804" y="2993622"/>
                  <a:pt x="4610070" y="2990356"/>
                  <a:pt x="4614065" y="2990356"/>
                </a:cubicBezTo>
                <a:close/>
                <a:moveTo>
                  <a:pt x="4768008" y="2988537"/>
                </a:moveTo>
                <a:cubicBezTo>
                  <a:pt x="4773094" y="2988537"/>
                  <a:pt x="4777088" y="2992532"/>
                  <a:pt x="4777088" y="2997613"/>
                </a:cubicBezTo>
                <a:cubicBezTo>
                  <a:pt x="4777088" y="3002699"/>
                  <a:pt x="4773094" y="3006693"/>
                  <a:pt x="4768008" y="3006693"/>
                </a:cubicBezTo>
                <a:cubicBezTo>
                  <a:pt x="4762928" y="3006693"/>
                  <a:pt x="4758932" y="3002699"/>
                  <a:pt x="4758932" y="2997613"/>
                </a:cubicBezTo>
                <a:cubicBezTo>
                  <a:pt x="4758932" y="2992532"/>
                  <a:pt x="4762928" y="2988537"/>
                  <a:pt x="4768008" y="2988537"/>
                </a:cubicBezTo>
                <a:close/>
                <a:moveTo>
                  <a:pt x="4921594" y="2987447"/>
                </a:moveTo>
                <a:cubicBezTo>
                  <a:pt x="4927041" y="2987447"/>
                  <a:pt x="4931760" y="2992166"/>
                  <a:pt x="4931760" y="2997613"/>
                </a:cubicBezTo>
                <a:cubicBezTo>
                  <a:pt x="4931760" y="3003061"/>
                  <a:pt x="4927403" y="3007780"/>
                  <a:pt x="4921594" y="3007780"/>
                </a:cubicBezTo>
                <a:cubicBezTo>
                  <a:pt x="4916146" y="3007780"/>
                  <a:pt x="4911428" y="3003061"/>
                  <a:pt x="4911428" y="2997613"/>
                </a:cubicBezTo>
                <a:cubicBezTo>
                  <a:pt x="4911428" y="2992166"/>
                  <a:pt x="4916146" y="2987447"/>
                  <a:pt x="4921594" y="2987447"/>
                </a:cubicBezTo>
                <a:close/>
                <a:moveTo>
                  <a:pt x="5075541" y="2985633"/>
                </a:moveTo>
                <a:cubicBezTo>
                  <a:pt x="5082078" y="2985633"/>
                  <a:pt x="5087526" y="2991080"/>
                  <a:pt x="5087526" y="2997613"/>
                </a:cubicBezTo>
                <a:cubicBezTo>
                  <a:pt x="5087526" y="3004151"/>
                  <a:pt x="5082078" y="3009594"/>
                  <a:pt x="5075541" y="3009594"/>
                </a:cubicBezTo>
                <a:cubicBezTo>
                  <a:pt x="5069008" y="3009594"/>
                  <a:pt x="5063560" y="3004151"/>
                  <a:pt x="5063560" y="2997613"/>
                </a:cubicBezTo>
                <a:cubicBezTo>
                  <a:pt x="5063560" y="2991080"/>
                  <a:pt x="5069008" y="2985633"/>
                  <a:pt x="5075541" y="2985633"/>
                </a:cubicBezTo>
                <a:close/>
                <a:moveTo>
                  <a:pt x="5229126" y="2983818"/>
                </a:moveTo>
                <a:cubicBezTo>
                  <a:pt x="5236750" y="2983818"/>
                  <a:pt x="5242922" y="2989990"/>
                  <a:pt x="5242922" y="2997613"/>
                </a:cubicBezTo>
                <a:cubicBezTo>
                  <a:pt x="5242922" y="3005241"/>
                  <a:pt x="5236750" y="3011413"/>
                  <a:pt x="5229126" y="3011413"/>
                </a:cubicBezTo>
                <a:cubicBezTo>
                  <a:pt x="5221499" y="3011413"/>
                  <a:pt x="5215328" y="3005241"/>
                  <a:pt x="5215328" y="2997613"/>
                </a:cubicBezTo>
                <a:cubicBezTo>
                  <a:pt x="5215328" y="2989990"/>
                  <a:pt x="5221499" y="2983818"/>
                  <a:pt x="5229126" y="2983818"/>
                </a:cubicBezTo>
                <a:close/>
                <a:moveTo>
                  <a:pt x="5383074" y="2982366"/>
                </a:moveTo>
                <a:cubicBezTo>
                  <a:pt x="5391498" y="2982366"/>
                  <a:pt x="5398326" y="2989193"/>
                  <a:pt x="5398326" y="2997613"/>
                </a:cubicBezTo>
                <a:cubicBezTo>
                  <a:pt x="5398326" y="3006038"/>
                  <a:pt x="5391498" y="3012865"/>
                  <a:pt x="5383074" y="3012865"/>
                </a:cubicBezTo>
                <a:cubicBezTo>
                  <a:pt x="5374654" y="3012865"/>
                  <a:pt x="5367826" y="3006038"/>
                  <a:pt x="5367826" y="2997613"/>
                </a:cubicBezTo>
                <a:cubicBezTo>
                  <a:pt x="5367826" y="2989193"/>
                  <a:pt x="5374654" y="2982366"/>
                  <a:pt x="5383074" y="2982366"/>
                </a:cubicBezTo>
                <a:close/>
                <a:moveTo>
                  <a:pt x="5536659" y="2980551"/>
                </a:moveTo>
                <a:cubicBezTo>
                  <a:pt x="5546098" y="2980551"/>
                  <a:pt x="5553725" y="2988175"/>
                  <a:pt x="5553725" y="2997617"/>
                </a:cubicBezTo>
                <a:cubicBezTo>
                  <a:pt x="5553725" y="3007056"/>
                  <a:pt x="5546098" y="3014683"/>
                  <a:pt x="5536659" y="3014683"/>
                </a:cubicBezTo>
                <a:cubicBezTo>
                  <a:pt x="5527217" y="3014683"/>
                  <a:pt x="5519593" y="3007056"/>
                  <a:pt x="5519593" y="2997617"/>
                </a:cubicBezTo>
                <a:cubicBezTo>
                  <a:pt x="5519593" y="2988175"/>
                  <a:pt x="5527217" y="2980551"/>
                  <a:pt x="5536659" y="2980551"/>
                </a:cubicBezTo>
                <a:close/>
                <a:moveTo>
                  <a:pt x="5690606" y="2978371"/>
                </a:moveTo>
                <a:cubicBezTo>
                  <a:pt x="5701234" y="2978371"/>
                  <a:pt x="5709849" y="2986986"/>
                  <a:pt x="5709849" y="2997613"/>
                </a:cubicBezTo>
                <a:cubicBezTo>
                  <a:pt x="5709849" y="3008241"/>
                  <a:pt x="5701234" y="3016856"/>
                  <a:pt x="5690606" y="3016856"/>
                </a:cubicBezTo>
                <a:cubicBezTo>
                  <a:pt x="5679979" y="3016856"/>
                  <a:pt x="5671360" y="3008241"/>
                  <a:pt x="5671360" y="2997613"/>
                </a:cubicBezTo>
                <a:cubicBezTo>
                  <a:pt x="5671360" y="2986986"/>
                  <a:pt x="5679979" y="2978371"/>
                  <a:pt x="5690606" y="2978371"/>
                </a:cubicBezTo>
                <a:close/>
                <a:moveTo>
                  <a:pt x="5844550" y="2976195"/>
                </a:moveTo>
                <a:cubicBezTo>
                  <a:pt x="5856382" y="2976195"/>
                  <a:pt x="5865973" y="2985785"/>
                  <a:pt x="5865973" y="2997617"/>
                </a:cubicBezTo>
                <a:cubicBezTo>
                  <a:pt x="5865973" y="3009446"/>
                  <a:pt x="5856382" y="3019036"/>
                  <a:pt x="5844550" y="3019036"/>
                </a:cubicBezTo>
                <a:cubicBezTo>
                  <a:pt x="5832718" y="3019036"/>
                  <a:pt x="5823127" y="3009446"/>
                  <a:pt x="5823127" y="2997617"/>
                </a:cubicBezTo>
                <a:cubicBezTo>
                  <a:pt x="5823127" y="2985785"/>
                  <a:pt x="5832718" y="2976195"/>
                  <a:pt x="5844550" y="2976195"/>
                </a:cubicBezTo>
                <a:close/>
                <a:moveTo>
                  <a:pt x="5998139" y="2974742"/>
                </a:moveTo>
                <a:cubicBezTo>
                  <a:pt x="6010772" y="2974742"/>
                  <a:pt x="6021010" y="2984985"/>
                  <a:pt x="6021010" y="2997617"/>
                </a:cubicBezTo>
                <a:cubicBezTo>
                  <a:pt x="6021010" y="3010250"/>
                  <a:pt x="6010772" y="3020489"/>
                  <a:pt x="5998139" y="3020489"/>
                </a:cubicBezTo>
                <a:cubicBezTo>
                  <a:pt x="5985502" y="3020489"/>
                  <a:pt x="5975264" y="3010250"/>
                  <a:pt x="5975264" y="2997617"/>
                </a:cubicBezTo>
                <a:cubicBezTo>
                  <a:pt x="5975264" y="2984985"/>
                  <a:pt x="5985502" y="2974742"/>
                  <a:pt x="5998139" y="2974742"/>
                </a:cubicBezTo>
                <a:close/>
                <a:moveTo>
                  <a:pt x="6152083" y="2972562"/>
                </a:moveTo>
                <a:cubicBezTo>
                  <a:pt x="6165920" y="2972562"/>
                  <a:pt x="6177134" y="2983776"/>
                  <a:pt x="6177134" y="2997613"/>
                </a:cubicBezTo>
                <a:cubicBezTo>
                  <a:pt x="6177134" y="3011451"/>
                  <a:pt x="6165920" y="3022669"/>
                  <a:pt x="6152083" y="3022669"/>
                </a:cubicBezTo>
                <a:cubicBezTo>
                  <a:pt x="6138246" y="3022669"/>
                  <a:pt x="6127031" y="3011451"/>
                  <a:pt x="6127031" y="2997613"/>
                </a:cubicBezTo>
                <a:cubicBezTo>
                  <a:pt x="6127031" y="2983780"/>
                  <a:pt x="6138246" y="2972562"/>
                  <a:pt x="6152083" y="2972562"/>
                </a:cubicBezTo>
                <a:close/>
                <a:moveTo>
                  <a:pt x="6305672" y="2970385"/>
                </a:moveTo>
                <a:cubicBezTo>
                  <a:pt x="6320710" y="2970385"/>
                  <a:pt x="6332904" y="2982576"/>
                  <a:pt x="6332904" y="2997617"/>
                </a:cubicBezTo>
                <a:cubicBezTo>
                  <a:pt x="6332904" y="3012655"/>
                  <a:pt x="6320710" y="3024846"/>
                  <a:pt x="6305672" y="3024846"/>
                </a:cubicBezTo>
                <a:cubicBezTo>
                  <a:pt x="6290634" y="3024846"/>
                  <a:pt x="6278440" y="3012655"/>
                  <a:pt x="6278440" y="2997617"/>
                </a:cubicBezTo>
                <a:cubicBezTo>
                  <a:pt x="6278440" y="2982576"/>
                  <a:pt x="6290634" y="2970385"/>
                  <a:pt x="6305672" y="2970385"/>
                </a:cubicBezTo>
                <a:close/>
                <a:moveTo>
                  <a:pt x="6459619" y="2967843"/>
                </a:moveTo>
                <a:cubicBezTo>
                  <a:pt x="6476060" y="2967843"/>
                  <a:pt x="6489390" y="2981173"/>
                  <a:pt x="6489390" y="2997613"/>
                </a:cubicBezTo>
                <a:cubicBezTo>
                  <a:pt x="6489390" y="3014058"/>
                  <a:pt x="6476060" y="3027388"/>
                  <a:pt x="6459619" y="3027388"/>
                </a:cubicBezTo>
                <a:cubicBezTo>
                  <a:pt x="6443174" y="3027388"/>
                  <a:pt x="6429844" y="3014058"/>
                  <a:pt x="6429844" y="2997613"/>
                </a:cubicBezTo>
                <a:cubicBezTo>
                  <a:pt x="6429844" y="2981173"/>
                  <a:pt x="6443174" y="2967843"/>
                  <a:pt x="6459619" y="2967843"/>
                </a:cubicBezTo>
                <a:close/>
                <a:moveTo>
                  <a:pt x="6613200" y="2965666"/>
                </a:moveTo>
                <a:cubicBezTo>
                  <a:pt x="6630846" y="2965666"/>
                  <a:pt x="6645152" y="2979972"/>
                  <a:pt x="6645152" y="2997617"/>
                </a:cubicBezTo>
                <a:cubicBezTo>
                  <a:pt x="6645152" y="3015263"/>
                  <a:pt x="6630846" y="3029569"/>
                  <a:pt x="6613200" y="3029569"/>
                </a:cubicBezTo>
                <a:cubicBezTo>
                  <a:pt x="6595556" y="3029569"/>
                  <a:pt x="6581250" y="3015263"/>
                  <a:pt x="6581250" y="2997617"/>
                </a:cubicBezTo>
                <a:cubicBezTo>
                  <a:pt x="6581250" y="2979972"/>
                  <a:pt x="6595556" y="2965666"/>
                  <a:pt x="6613200" y="2965666"/>
                </a:cubicBezTo>
                <a:close/>
                <a:moveTo>
                  <a:pt x="3537882" y="2843666"/>
                </a:moveTo>
                <a:cubicBezTo>
                  <a:pt x="3538244" y="2843666"/>
                  <a:pt x="3538244" y="2843666"/>
                  <a:pt x="3538244" y="2844028"/>
                </a:cubicBezTo>
                <a:cubicBezTo>
                  <a:pt x="3538244" y="2844390"/>
                  <a:pt x="3537882" y="2844390"/>
                  <a:pt x="3537882" y="2844390"/>
                </a:cubicBezTo>
                <a:cubicBezTo>
                  <a:pt x="3537520" y="2844390"/>
                  <a:pt x="3537520" y="2844390"/>
                  <a:pt x="3537520" y="2844028"/>
                </a:cubicBezTo>
                <a:cubicBezTo>
                  <a:pt x="3537520" y="2843666"/>
                  <a:pt x="3537520" y="2843666"/>
                  <a:pt x="3537882" y="2843666"/>
                </a:cubicBezTo>
                <a:close/>
                <a:moveTo>
                  <a:pt x="3076406" y="2843666"/>
                </a:moveTo>
                <a:cubicBezTo>
                  <a:pt x="3076768" y="2843666"/>
                  <a:pt x="3076768" y="2843666"/>
                  <a:pt x="3076768" y="2844028"/>
                </a:cubicBezTo>
                <a:cubicBezTo>
                  <a:pt x="3076768" y="2844390"/>
                  <a:pt x="3076406" y="2844390"/>
                  <a:pt x="3076406" y="2844390"/>
                </a:cubicBezTo>
                <a:cubicBezTo>
                  <a:pt x="3076043" y="2844390"/>
                  <a:pt x="3076043" y="2844390"/>
                  <a:pt x="3076043" y="2844028"/>
                </a:cubicBezTo>
                <a:cubicBezTo>
                  <a:pt x="3076043" y="2843666"/>
                  <a:pt x="3076043" y="2843666"/>
                  <a:pt x="3076406" y="2843666"/>
                </a:cubicBezTo>
                <a:close/>
                <a:moveTo>
                  <a:pt x="2922458" y="2843666"/>
                </a:moveTo>
                <a:cubicBezTo>
                  <a:pt x="2922820" y="2843666"/>
                  <a:pt x="2922820" y="2843666"/>
                  <a:pt x="2922820" y="2844028"/>
                </a:cubicBezTo>
                <a:cubicBezTo>
                  <a:pt x="2922820" y="2844390"/>
                  <a:pt x="2922458" y="2844390"/>
                  <a:pt x="2922458" y="2844390"/>
                </a:cubicBezTo>
                <a:cubicBezTo>
                  <a:pt x="2922096" y="2844390"/>
                  <a:pt x="2922096" y="2844390"/>
                  <a:pt x="2922096" y="2844028"/>
                </a:cubicBezTo>
                <a:cubicBezTo>
                  <a:pt x="2922096" y="2843666"/>
                  <a:pt x="2922096" y="2843666"/>
                  <a:pt x="2922458" y="2843666"/>
                </a:cubicBezTo>
                <a:close/>
                <a:moveTo>
                  <a:pt x="2768877" y="2843304"/>
                </a:moveTo>
                <a:cubicBezTo>
                  <a:pt x="2769277" y="2843304"/>
                  <a:pt x="2769601" y="2843628"/>
                  <a:pt x="2769601" y="2844032"/>
                </a:cubicBezTo>
                <a:cubicBezTo>
                  <a:pt x="2769601" y="2844432"/>
                  <a:pt x="2769277" y="2844756"/>
                  <a:pt x="2768877" y="2844756"/>
                </a:cubicBezTo>
                <a:cubicBezTo>
                  <a:pt x="2768473" y="2844756"/>
                  <a:pt x="2768149" y="2844432"/>
                  <a:pt x="2768149" y="2844032"/>
                </a:cubicBezTo>
                <a:cubicBezTo>
                  <a:pt x="2768149" y="2843628"/>
                  <a:pt x="2768473" y="2843304"/>
                  <a:pt x="2768877" y="2843304"/>
                </a:cubicBezTo>
                <a:close/>
                <a:moveTo>
                  <a:pt x="3691467" y="2842580"/>
                </a:moveTo>
                <a:cubicBezTo>
                  <a:pt x="3692268" y="2842580"/>
                  <a:pt x="3692919" y="2843232"/>
                  <a:pt x="3692919" y="2844032"/>
                </a:cubicBezTo>
                <a:cubicBezTo>
                  <a:pt x="3692919" y="2844833"/>
                  <a:pt x="3692268" y="2845485"/>
                  <a:pt x="3691467" y="2845485"/>
                </a:cubicBezTo>
                <a:cubicBezTo>
                  <a:pt x="3690663" y="2845485"/>
                  <a:pt x="3690014" y="2844833"/>
                  <a:pt x="3690014" y="2844032"/>
                </a:cubicBezTo>
                <a:cubicBezTo>
                  <a:pt x="3690014" y="2843232"/>
                  <a:pt x="3690663" y="2842580"/>
                  <a:pt x="3691467" y="2842580"/>
                </a:cubicBezTo>
                <a:close/>
                <a:moveTo>
                  <a:pt x="3845418" y="2841852"/>
                </a:moveTo>
                <a:cubicBezTo>
                  <a:pt x="3846619" y="2841852"/>
                  <a:pt x="3847595" y="2842828"/>
                  <a:pt x="3847595" y="2844032"/>
                </a:cubicBezTo>
                <a:cubicBezTo>
                  <a:pt x="3847595" y="2845233"/>
                  <a:pt x="3846619" y="2846209"/>
                  <a:pt x="3845418" y="2846209"/>
                </a:cubicBezTo>
                <a:cubicBezTo>
                  <a:pt x="3844214" y="2846209"/>
                  <a:pt x="3843238" y="2845233"/>
                  <a:pt x="3843238" y="2844032"/>
                </a:cubicBezTo>
                <a:cubicBezTo>
                  <a:pt x="3843238" y="2842828"/>
                  <a:pt x="3844214" y="2841852"/>
                  <a:pt x="3845418" y="2841852"/>
                </a:cubicBezTo>
                <a:close/>
                <a:moveTo>
                  <a:pt x="3999000" y="2840761"/>
                </a:moveTo>
                <a:cubicBezTo>
                  <a:pt x="4000818" y="2840761"/>
                  <a:pt x="4002270" y="2842214"/>
                  <a:pt x="4002270" y="2844028"/>
                </a:cubicBezTo>
                <a:cubicBezTo>
                  <a:pt x="4002270" y="2845843"/>
                  <a:pt x="4000818" y="2847299"/>
                  <a:pt x="3999000" y="2847299"/>
                </a:cubicBezTo>
                <a:cubicBezTo>
                  <a:pt x="3997185" y="2847299"/>
                  <a:pt x="3995733" y="2845843"/>
                  <a:pt x="3995733" y="2844028"/>
                </a:cubicBezTo>
                <a:cubicBezTo>
                  <a:pt x="3995733" y="2842214"/>
                  <a:pt x="3997185" y="2840761"/>
                  <a:pt x="3999000" y="2840761"/>
                </a:cubicBezTo>
                <a:close/>
                <a:moveTo>
                  <a:pt x="4152947" y="2839309"/>
                </a:moveTo>
                <a:cubicBezTo>
                  <a:pt x="4155486" y="2839309"/>
                  <a:pt x="4157304" y="2841124"/>
                  <a:pt x="4157304" y="2843666"/>
                </a:cubicBezTo>
                <a:cubicBezTo>
                  <a:pt x="4157304" y="2846209"/>
                  <a:pt x="4155124" y="2848023"/>
                  <a:pt x="4152947" y="2848023"/>
                </a:cubicBezTo>
                <a:cubicBezTo>
                  <a:pt x="4150404" y="2848023"/>
                  <a:pt x="4148590" y="2846209"/>
                  <a:pt x="4148590" y="2843666"/>
                </a:cubicBezTo>
                <a:cubicBezTo>
                  <a:pt x="4148590" y="2841124"/>
                  <a:pt x="4150404" y="2839309"/>
                  <a:pt x="4152947" y="2839309"/>
                </a:cubicBezTo>
                <a:close/>
                <a:moveTo>
                  <a:pt x="4306532" y="2838223"/>
                </a:moveTo>
                <a:cubicBezTo>
                  <a:pt x="4309742" y="2838223"/>
                  <a:pt x="4312342" y="2840823"/>
                  <a:pt x="4312342" y="2844032"/>
                </a:cubicBezTo>
                <a:cubicBezTo>
                  <a:pt x="4312342" y="2847242"/>
                  <a:pt x="4309742" y="2849841"/>
                  <a:pt x="4306532" y="2849841"/>
                </a:cubicBezTo>
                <a:cubicBezTo>
                  <a:pt x="4303322" y="2849841"/>
                  <a:pt x="4300723" y="2847242"/>
                  <a:pt x="4300723" y="2844032"/>
                </a:cubicBezTo>
                <a:cubicBezTo>
                  <a:pt x="4300723" y="2840823"/>
                  <a:pt x="4303322" y="2838223"/>
                  <a:pt x="4306532" y="2838223"/>
                </a:cubicBezTo>
                <a:close/>
                <a:moveTo>
                  <a:pt x="4460480" y="2836770"/>
                </a:moveTo>
                <a:cubicBezTo>
                  <a:pt x="4464474" y="2836770"/>
                  <a:pt x="4467742" y="2840037"/>
                  <a:pt x="4467742" y="2844032"/>
                </a:cubicBezTo>
                <a:cubicBezTo>
                  <a:pt x="4467742" y="2848027"/>
                  <a:pt x="4464474" y="2851294"/>
                  <a:pt x="4460480" y="2851294"/>
                </a:cubicBezTo>
                <a:cubicBezTo>
                  <a:pt x="4456485" y="2851294"/>
                  <a:pt x="4453218" y="2848027"/>
                  <a:pt x="4453218" y="2844032"/>
                </a:cubicBezTo>
                <a:cubicBezTo>
                  <a:pt x="4453218" y="2840037"/>
                  <a:pt x="4456485" y="2836770"/>
                  <a:pt x="4460480" y="2836770"/>
                </a:cubicBezTo>
                <a:close/>
                <a:moveTo>
                  <a:pt x="4614061" y="2834590"/>
                </a:moveTo>
                <a:cubicBezTo>
                  <a:pt x="4619146" y="2834590"/>
                  <a:pt x="4623141" y="2838585"/>
                  <a:pt x="4623141" y="2843666"/>
                </a:cubicBezTo>
                <a:cubicBezTo>
                  <a:pt x="4623141" y="2848751"/>
                  <a:pt x="4619146" y="2852746"/>
                  <a:pt x="4614061" y="2852746"/>
                </a:cubicBezTo>
                <a:cubicBezTo>
                  <a:pt x="4608980" y="2852746"/>
                  <a:pt x="4604985" y="2848751"/>
                  <a:pt x="4604985" y="2843666"/>
                </a:cubicBezTo>
                <a:cubicBezTo>
                  <a:pt x="4604985" y="2838585"/>
                  <a:pt x="4608980" y="2834590"/>
                  <a:pt x="4614061" y="2834590"/>
                </a:cubicBezTo>
                <a:close/>
                <a:moveTo>
                  <a:pt x="4768012" y="2833866"/>
                </a:moveTo>
                <a:cubicBezTo>
                  <a:pt x="4773460" y="2833866"/>
                  <a:pt x="4778178" y="2838585"/>
                  <a:pt x="4778178" y="2844032"/>
                </a:cubicBezTo>
                <a:cubicBezTo>
                  <a:pt x="4778178" y="2849479"/>
                  <a:pt x="4773822" y="2854198"/>
                  <a:pt x="4768012" y="2854198"/>
                </a:cubicBezTo>
                <a:cubicBezTo>
                  <a:pt x="4762565" y="2854198"/>
                  <a:pt x="4757846" y="2849479"/>
                  <a:pt x="4757846" y="2844032"/>
                </a:cubicBezTo>
                <a:cubicBezTo>
                  <a:pt x="4757846" y="2838585"/>
                  <a:pt x="4762565" y="2833866"/>
                  <a:pt x="4768012" y="2833866"/>
                </a:cubicBezTo>
                <a:close/>
                <a:moveTo>
                  <a:pt x="4921594" y="2831685"/>
                </a:moveTo>
                <a:cubicBezTo>
                  <a:pt x="4928131" y="2831685"/>
                  <a:pt x="4933578" y="2837132"/>
                  <a:pt x="4933578" y="2843666"/>
                </a:cubicBezTo>
                <a:cubicBezTo>
                  <a:pt x="4933578" y="2850203"/>
                  <a:pt x="4928131" y="2855651"/>
                  <a:pt x="4921594" y="2855651"/>
                </a:cubicBezTo>
                <a:cubicBezTo>
                  <a:pt x="4915060" y="2855651"/>
                  <a:pt x="4909613" y="2850203"/>
                  <a:pt x="4909613" y="2843666"/>
                </a:cubicBezTo>
                <a:cubicBezTo>
                  <a:pt x="4909613" y="2837132"/>
                  <a:pt x="4915060" y="2831685"/>
                  <a:pt x="4921594" y="2831685"/>
                </a:cubicBezTo>
                <a:close/>
                <a:moveTo>
                  <a:pt x="5075545" y="2829871"/>
                </a:moveTo>
                <a:cubicBezTo>
                  <a:pt x="5083169" y="2829871"/>
                  <a:pt x="5089340" y="2836042"/>
                  <a:pt x="5089340" y="2843666"/>
                </a:cubicBezTo>
                <a:cubicBezTo>
                  <a:pt x="5089340" y="2851294"/>
                  <a:pt x="5083169" y="2857465"/>
                  <a:pt x="5075545" y="2857465"/>
                </a:cubicBezTo>
                <a:cubicBezTo>
                  <a:pt x="5067918" y="2857465"/>
                  <a:pt x="5061746" y="2851294"/>
                  <a:pt x="5061746" y="2843666"/>
                </a:cubicBezTo>
                <a:cubicBezTo>
                  <a:pt x="5061746" y="2836042"/>
                  <a:pt x="5067918" y="2829871"/>
                  <a:pt x="5075545" y="2829871"/>
                </a:cubicBezTo>
                <a:close/>
                <a:moveTo>
                  <a:pt x="5229126" y="2828781"/>
                </a:moveTo>
                <a:cubicBezTo>
                  <a:pt x="5237551" y="2828781"/>
                  <a:pt x="5244378" y="2835608"/>
                  <a:pt x="5244378" y="2844032"/>
                </a:cubicBezTo>
                <a:cubicBezTo>
                  <a:pt x="5244378" y="2852453"/>
                  <a:pt x="5237551" y="2859280"/>
                  <a:pt x="5229126" y="2859280"/>
                </a:cubicBezTo>
                <a:cubicBezTo>
                  <a:pt x="5220706" y="2859280"/>
                  <a:pt x="5213879" y="2852453"/>
                  <a:pt x="5213879" y="2844032"/>
                </a:cubicBezTo>
                <a:cubicBezTo>
                  <a:pt x="5213879" y="2835608"/>
                  <a:pt x="5220706" y="2828781"/>
                  <a:pt x="5229126" y="2828781"/>
                </a:cubicBezTo>
                <a:close/>
                <a:moveTo>
                  <a:pt x="5383074" y="2826966"/>
                </a:moveTo>
                <a:cubicBezTo>
                  <a:pt x="5392512" y="2826966"/>
                  <a:pt x="5400140" y="2834590"/>
                  <a:pt x="5400140" y="2844032"/>
                </a:cubicBezTo>
                <a:cubicBezTo>
                  <a:pt x="5400140" y="2853471"/>
                  <a:pt x="5392512" y="2861098"/>
                  <a:pt x="5383074" y="2861098"/>
                </a:cubicBezTo>
                <a:cubicBezTo>
                  <a:pt x="5373632" y="2861098"/>
                  <a:pt x="5366008" y="2853471"/>
                  <a:pt x="5366008" y="2844032"/>
                </a:cubicBezTo>
                <a:cubicBezTo>
                  <a:pt x="5366008" y="2834590"/>
                  <a:pt x="5373632" y="2826966"/>
                  <a:pt x="5383074" y="2826966"/>
                </a:cubicBezTo>
                <a:close/>
                <a:moveTo>
                  <a:pt x="5536659" y="2824790"/>
                </a:moveTo>
                <a:cubicBezTo>
                  <a:pt x="5547286" y="2824790"/>
                  <a:pt x="5555902" y="2833404"/>
                  <a:pt x="5555902" y="2844032"/>
                </a:cubicBezTo>
                <a:cubicBezTo>
                  <a:pt x="5555902" y="2854660"/>
                  <a:pt x="5547286" y="2863279"/>
                  <a:pt x="5536659" y="2863279"/>
                </a:cubicBezTo>
                <a:cubicBezTo>
                  <a:pt x="5526032" y="2863279"/>
                  <a:pt x="5517413" y="2854660"/>
                  <a:pt x="5517413" y="2844032"/>
                </a:cubicBezTo>
                <a:cubicBezTo>
                  <a:pt x="5517413" y="2833404"/>
                  <a:pt x="5526032" y="2824790"/>
                  <a:pt x="5536659" y="2824790"/>
                </a:cubicBezTo>
                <a:close/>
                <a:moveTo>
                  <a:pt x="5690602" y="2822609"/>
                </a:moveTo>
                <a:cubicBezTo>
                  <a:pt x="5702435" y="2822609"/>
                  <a:pt x="5712026" y="2832200"/>
                  <a:pt x="5712026" y="2844032"/>
                </a:cubicBezTo>
                <a:cubicBezTo>
                  <a:pt x="5712026" y="2855864"/>
                  <a:pt x="5702435" y="2865451"/>
                  <a:pt x="5690602" y="2865451"/>
                </a:cubicBezTo>
                <a:cubicBezTo>
                  <a:pt x="5678770" y="2865451"/>
                  <a:pt x="5669180" y="2855860"/>
                  <a:pt x="5669180" y="2844032"/>
                </a:cubicBezTo>
                <a:cubicBezTo>
                  <a:pt x="5669180" y="2832200"/>
                  <a:pt x="5678770" y="2822609"/>
                  <a:pt x="5690602" y="2822609"/>
                </a:cubicBezTo>
                <a:close/>
                <a:moveTo>
                  <a:pt x="5844554" y="2821157"/>
                </a:moveTo>
                <a:cubicBezTo>
                  <a:pt x="5857186" y="2821157"/>
                  <a:pt x="5867429" y="2831399"/>
                  <a:pt x="5867429" y="2844032"/>
                </a:cubicBezTo>
                <a:cubicBezTo>
                  <a:pt x="5867429" y="2856665"/>
                  <a:pt x="5857186" y="2866903"/>
                  <a:pt x="5844554" y="2866903"/>
                </a:cubicBezTo>
                <a:cubicBezTo>
                  <a:pt x="5831918" y="2866903"/>
                  <a:pt x="5821678" y="2856665"/>
                  <a:pt x="5821678" y="2844032"/>
                </a:cubicBezTo>
                <a:cubicBezTo>
                  <a:pt x="5821678" y="2831399"/>
                  <a:pt x="5831918" y="2821157"/>
                  <a:pt x="5844554" y="2821157"/>
                </a:cubicBezTo>
                <a:close/>
                <a:moveTo>
                  <a:pt x="5998136" y="2818980"/>
                </a:moveTo>
                <a:cubicBezTo>
                  <a:pt x="6011972" y="2818980"/>
                  <a:pt x="6023187" y="2830195"/>
                  <a:pt x="6023187" y="2844032"/>
                </a:cubicBezTo>
                <a:cubicBezTo>
                  <a:pt x="6023187" y="2857869"/>
                  <a:pt x="6011972" y="2869088"/>
                  <a:pt x="5998136" y="2869088"/>
                </a:cubicBezTo>
                <a:cubicBezTo>
                  <a:pt x="5984298" y="2869088"/>
                  <a:pt x="5973084" y="2857869"/>
                  <a:pt x="5973084" y="2844032"/>
                </a:cubicBezTo>
                <a:cubicBezTo>
                  <a:pt x="5973084" y="2830199"/>
                  <a:pt x="5984298" y="2818980"/>
                  <a:pt x="5998136" y="2818980"/>
                </a:cubicBezTo>
                <a:close/>
                <a:moveTo>
                  <a:pt x="6152086" y="2816800"/>
                </a:moveTo>
                <a:cubicBezTo>
                  <a:pt x="6167124" y="2816800"/>
                  <a:pt x="6179315" y="2828990"/>
                  <a:pt x="6179315" y="2844032"/>
                </a:cubicBezTo>
                <a:cubicBezTo>
                  <a:pt x="6179315" y="2859070"/>
                  <a:pt x="6167124" y="2871264"/>
                  <a:pt x="6152086" y="2871264"/>
                </a:cubicBezTo>
                <a:cubicBezTo>
                  <a:pt x="6137045" y="2871264"/>
                  <a:pt x="6124854" y="2859070"/>
                  <a:pt x="6124854" y="2844032"/>
                </a:cubicBezTo>
                <a:cubicBezTo>
                  <a:pt x="6124854" y="2828990"/>
                  <a:pt x="6137045" y="2816800"/>
                  <a:pt x="6152086" y="2816800"/>
                </a:cubicBezTo>
                <a:close/>
                <a:moveTo>
                  <a:pt x="6305672" y="2814257"/>
                </a:moveTo>
                <a:cubicBezTo>
                  <a:pt x="6322112" y="2814257"/>
                  <a:pt x="6335443" y="2827587"/>
                  <a:pt x="6335443" y="2844032"/>
                </a:cubicBezTo>
                <a:cubicBezTo>
                  <a:pt x="6335443" y="2860473"/>
                  <a:pt x="6322112" y="2873803"/>
                  <a:pt x="6305672" y="2873803"/>
                </a:cubicBezTo>
                <a:cubicBezTo>
                  <a:pt x="6289228" y="2873803"/>
                  <a:pt x="6275897" y="2860473"/>
                  <a:pt x="6275897" y="2844032"/>
                </a:cubicBezTo>
                <a:cubicBezTo>
                  <a:pt x="6275897" y="2827587"/>
                  <a:pt x="6289228" y="2814257"/>
                  <a:pt x="6305672" y="2814257"/>
                </a:cubicBezTo>
                <a:close/>
                <a:moveTo>
                  <a:pt x="6459616" y="2812081"/>
                </a:moveTo>
                <a:cubicBezTo>
                  <a:pt x="6477260" y="2812081"/>
                  <a:pt x="6491567" y="2826387"/>
                  <a:pt x="6491567" y="2844032"/>
                </a:cubicBezTo>
                <a:cubicBezTo>
                  <a:pt x="6491567" y="2861677"/>
                  <a:pt x="6477260" y="2875983"/>
                  <a:pt x="6459616" y="2875983"/>
                </a:cubicBezTo>
                <a:cubicBezTo>
                  <a:pt x="6441970" y="2875983"/>
                  <a:pt x="6427664" y="2861677"/>
                  <a:pt x="6427664" y="2844032"/>
                </a:cubicBezTo>
                <a:cubicBezTo>
                  <a:pt x="6427664" y="2826387"/>
                  <a:pt x="6441970" y="2812081"/>
                  <a:pt x="6459616" y="2812081"/>
                </a:cubicBezTo>
                <a:close/>
                <a:moveTo>
                  <a:pt x="6613200" y="2810266"/>
                </a:moveTo>
                <a:cubicBezTo>
                  <a:pt x="6631848" y="2810266"/>
                  <a:pt x="6646966" y="2825384"/>
                  <a:pt x="6646966" y="2844032"/>
                </a:cubicBezTo>
                <a:cubicBezTo>
                  <a:pt x="6646966" y="2862684"/>
                  <a:pt x="6631848" y="2877802"/>
                  <a:pt x="6613200" y="2877802"/>
                </a:cubicBezTo>
                <a:cubicBezTo>
                  <a:pt x="6594553" y="2877802"/>
                  <a:pt x="6579435" y="2862684"/>
                  <a:pt x="6579435" y="2844032"/>
                </a:cubicBezTo>
                <a:cubicBezTo>
                  <a:pt x="6579435" y="2825384"/>
                  <a:pt x="6594553" y="2810266"/>
                  <a:pt x="6613200" y="2810266"/>
                </a:cubicBezTo>
                <a:close/>
                <a:moveTo>
                  <a:pt x="3383934" y="2689722"/>
                </a:moveTo>
                <a:cubicBezTo>
                  <a:pt x="3384296" y="2689722"/>
                  <a:pt x="3384296" y="2689722"/>
                  <a:pt x="3384296" y="2690085"/>
                </a:cubicBezTo>
                <a:cubicBezTo>
                  <a:pt x="3384296" y="2690447"/>
                  <a:pt x="3383934" y="2690447"/>
                  <a:pt x="3383934" y="2690447"/>
                </a:cubicBezTo>
                <a:cubicBezTo>
                  <a:pt x="3383572" y="2690447"/>
                  <a:pt x="3383572" y="2690447"/>
                  <a:pt x="3383572" y="2690085"/>
                </a:cubicBezTo>
                <a:cubicBezTo>
                  <a:pt x="3383572" y="2689722"/>
                  <a:pt x="3383572" y="2689722"/>
                  <a:pt x="3383934" y="2689722"/>
                </a:cubicBezTo>
                <a:close/>
                <a:moveTo>
                  <a:pt x="2922458" y="2689722"/>
                </a:moveTo>
                <a:cubicBezTo>
                  <a:pt x="2922820" y="2689722"/>
                  <a:pt x="2922820" y="2689722"/>
                  <a:pt x="2922820" y="2690085"/>
                </a:cubicBezTo>
                <a:cubicBezTo>
                  <a:pt x="2922820" y="2690447"/>
                  <a:pt x="2922458" y="2690447"/>
                  <a:pt x="2922458" y="2690447"/>
                </a:cubicBezTo>
                <a:cubicBezTo>
                  <a:pt x="2922096" y="2690447"/>
                  <a:pt x="2922096" y="2690447"/>
                  <a:pt x="2922096" y="2690085"/>
                </a:cubicBezTo>
                <a:cubicBezTo>
                  <a:pt x="2922096" y="2689722"/>
                  <a:pt x="2922096" y="2689722"/>
                  <a:pt x="2922458" y="2689722"/>
                </a:cubicBezTo>
                <a:close/>
                <a:moveTo>
                  <a:pt x="2768873" y="2689722"/>
                </a:moveTo>
                <a:cubicBezTo>
                  <a:pt x="2769235" y="2689722"/>
                  <a:pt x="2769235" y="2689722"/>
                  <a:pt x="2769235" y="2690085"/>
                </a:cubicBezTo>
                <a:cubicBezTo>
                  <a:pt x="2769235" y="2690447"/>
                  <a:pt x="2768873" y="2690447"/>
                  <a:pt x="2768873" y="2690447"/>
                </a:cubicBezTo>
                <a:cubicBezTo>
                  <a:pt x="2768511" y="2690447"/>
                  <a:pt x="2768511" y="2690447"/>
                  <a:pt x="2768511" y="2690085"/>
                </a:cubicBezTo>
                <a:cubicBezTo>
                  <a:pt x="2768511" y="2689722"/>
                  <a:pt x="2768511" y="2689722"/>
                  <a:pt x="2768873" y="2689722"/>
                </a:cubicBezTo>
                <a:close/>
                <a:moveTo>
                  <a:pt x="2614925" y="2689357"/>
                </a:moveTo>
                <a:cubicBezTo>
                  <a:pt x="2615291" y="2689357"/>
                  <a:pt x="2615654" y="2689719"/>
                  <a:pt x="2615654" y="2690081"/>
                </a:cubicBezTo>
                <a:cubicBezTo>
                  <a:pt x="2615654" y="2690447"/>
                  <a:pt x="2614925" y="2690809"/>
                  <a:pt x="2614925" y="2690809"/>
                </a:cubicBezTo>
                <a:cubicBezTo>
                  <a:pt x="2614563" y="2690809"/>
                  <a:pt x="2614201" y="2690447"/>
                  <a:pt x="2614201" y="2690081"/>
                </a:cubicBezTo>
                <a:cubicBezTo>
                  <a:pt x="2614201" y="2689719"/>
                  <a:pt x="2614563" y="2689357"/>
                  <a:pt x="2614925" y="2689357"/>
                </a:cubicBezTo>
                <a:close/>
                <a:moveTo>
                  <a:pt x="3537886" y="2688633"/>
                </a:moveTo>
                <a:cubicBezTo>
                  <a:pt x="3538690" y="2688633"/>
                  <a:pt x="3539338" y="2689284"/>
                  <a:pt x="3539338" y="2690085"/>
                </a:cubicBezTo>
                <a:cubicBezTo>
                  <a:pt x="3539338" y="2690885"/>
                  <a:pt x="3538690" y="2691537"/>
                  <a:pt x="3537886" y="2691537"/>
                </a:cubicBezTo>
                <a:cubicBezTo>
                  <a:pt x="3537085" y="2691537"/>
                  <a:pt x="3536433" y="2690885"/>
                  <a:pt x="3536433" y="2690085"/>
                </a:cubicBezTo>
                <a:cubicBezTo>
                  <a:pt x="3536433" y="2689284"/>
                  <a:pt x="3537085" y="2688633"/>
                  <a:pt x="3537886" y="2688633"/>
                </a:cubicBezTo>
                <a:close/>
                <a:moveTo>
                  <a:pt x="3691471" y="2687904"/>
                </a:moveTo>
                <a:cubicBezTo>
                  <a:pt x="3692672" y="2687904"/>
                  <a:pt x="3693647" y="2688880"/>
                  <a:pt x="3693647" y="2690081"/>
                </a:cubicBezTo>
                <a:cubicBezTo>
                  <a:pt x="3693647" y="2691286"/>
                  <a:pt x="3692672" y="2692261"/>
                  <a:pt x="3691471" y="2692261"/>
                </a:cubicBezTo>
                <a:cubicBezTo>
                  <a:pt x="3690266" y="2692261"/>
                  <a:pt x="3689290" y="2691286"/>
                  <a:pt x="3689290" y="2690081"/>
                </a:cubicBezTo>
                <a:cubicBezTo>
                  <a:pt x="3689290" y="2688880"/>
                  <a:pt x="3690266" y="2687904"/>
                  <a:pt x="3691471" y="2687904"/>
                </a:cubicBezTo>
                <a:close/>
                <a:moveTo>
                  <a:pt x="3845414" y="2686818"/>
                </a:moveTo>
                <a:cubicBezTo>
                  <a:pt x="3847229" y="2686818"/>
                  <a:pt x="3848681" y="2688270"/>
                  <a:pt x="3848681" y="2690085"/>
                </a:cubicBezTo>
                <a:cubicBezTo>
                  <a:pt x="3848681" y="2691899"/>
                  <a:pt x="3847229" y="2693355"/>
                  <a:pt x="3845414" y="2693355"/>
                </a:cubicBezTo>
                <a:cubicBezTo>
                  <a:pt x="3843600" y="2693355"/>
                  <a:pt x="3842148" y="2691899"/>
                  <a:pt x="3842148" y="2690085"/>
                </a:cubicBezTo>
                <a:cubicBezTo>
                  <a:pt x="3842148" y="2688270"/>
                  <a:pt x="3843600" y="2686818"/>
                  <a:pt x="3845414" y="2686818"/>
                </a:cubicBezTo>
                <a:close/>
                <a:moveTo>
                  <a:pt x="3999000" y="2685728"/>
                </a:moveTo>
                <a:cubicBezTo>
                  <a:pt x="4001542" y="2685728"/>
                  <a:pt x="4003356" y="2687542"/>
                  <a:pt x="4003356" y="2690085"/>
                </a:cubicBezTo>
                <a:cubicBezTo>
                  <a:pt x="4003356" y="2692627"/>
                  <a:pt x="4001176" y="2694442"/>
                  <a:pt x="3999000" y="2694442"/>
                </a:cubicBezTo>
                <a:cubicBezTo>
                  <a:pt x="3996457" y="2694442"/>
                  <a:pt x="3994642" y="2692627"/>
                  <a:pt x="3994642" y="2690085"/>
                </a:cubicBezTo>
                <a:cubicBezTo>
                  <a:pt x="3994642" y="2687542"/>
                  <a:pt x="3996457" y="2685728"/>
                  <a:pt x="3999000" y="2685728"/>
                </a:cubicBezTo>
                <a:close/>
                <a:moveTo>
                  <a:pt x="4152947" y="2684275"/>
                </a:moveTo>
                <a:cubicBezTo>
                  <a:pt x="4156156" y="2684275"/>
                  <a:pt x="4158756" y="2686875"/>
                  <a:pt x="4158756" y="2690085"/>
                </a:cubicBezTo>
                <a:cubicBezTo>
                  <a:pt x="4158756" y="2693294"/>
                  <a:pt x="4156156" y="2695894"/>
                  <a:pt x="4152947" y="2695894"/>
                </a:cubicBezTo>
                <a:cubicBezTo>
                  <a:pt x="4149738" y="2695894"/>
                  <a:pt x="4147138" y="2693294"/>
                  <a:pt x="4147138" y="2690085"/>
                </a:cubicBezTo>
                <a:cubicBezTo>
                  <a:pt x="4147138" y="2686875"/>
                  <a:pt x="4149738" y="2684275"/>
                  <a:pt x="4152947" y="2684275"/>
                </a:cubicBezTo>
                <a:close/>
                <a:moveTo>
                  <a:pt x="4306532" y="2682823"/>
                </a:moveTo>
                <a:cubicBezTo>
                  <a:pt x="4310527" y="2682823"/>
                  <a:pt x="4313794" y="2686090"/>
                  <a:pt x="4313794" y="2690085"/>
                </a:cubicBezTo>
                <a:cubicBezTo>
                  <a:pt x="4313794" y="2694079"/>
                  <a:pt x="4310527" y="2697346"/>
                  <a:pt x="4306532" y="2697346"/>
                </a:cubicBezTo>
                <a:cubicBezTo>
                  <a:pt x="4302538" y="2697346"/>
                  <a:pt x="4299270" y="2694079"/>
                  <a:pt x="4299270" y="2690085"/>
                </a:cubicBezTo>
                <a:cubicBezTo>
                  <a:pt x="4299270" y="2686090"/>
                  <a:pt x="4302538" y="2682823"/>
                  <a:pt x="4306532" y="2682823"/>
                </a:cubicBezTo>
                <a:close/>
                <a:moveTo>
                  <a:pt x="4460480" y="2681005"/>
                </a:moveTo>
                <a:cubicBezTo>
                  <a:pt x="4465564" y="2681005"/>
                  <a:pt x="4469560" y="2685000"/>
                  <a:pt x="4469560" y="2690081"/>
                </a:cubicBezTo>
                <a:cubicBezTo>
                  <a:pt x="4469560" y="2695166"/>
                  <a:pt x="4465564" y="2699161"/>
                  <a:pt x="4460480" y="2699161"/>
                </a:cubicBezTo>
                <a:cubicBezTo>
                  <a:pt x="4455398" y="2699161"/>
                  <a:pt x="4451404" y="2695166"/>
                  <a:pt x="4451404" y="2690081"/>
                </a:cubicBezTo>
                <a:cubicBezTo>
                  <a:pt x="4451404" y="2685000"/>
                  <a:pt x="4455398" y="2681005"/>
                  <a:pt x="4460480" y="2681005"/>
                </a:cubicBezTo>
                <a:close/>
                <a:moveTo>
                  <a:pt x="4614061" y="2679918"/>
                </a:moveTo>
                <a:cubicBezTo>
                  <a:pt x="4619508" y="2679918"/>
                  <a:pt x="4624228" y="2684638"/>
                  <a:pt x="4624228" y="2690085"/>
                </a:cubicBezTo>
                <a:cubicBezTo>
                  <a:pt x="4624228" y="2695532"/>
                  <a:pt x="4619870" y="2700251"/>
                  <a:pt x="4614061" y="2700251"/>
                </a:cubicBezTo>
                <a:cubicBezTo>
                  <a:pt x="4608614" y="2700251"/>
                  <a:pt x="4603895" y="2695532"/>
                  <a:pt x="4603895" y="2690085"/>
                </a:cubicBezTo>
                <a:cubicBezTo>
                  <a:pt x="4603895" y="2684638"/>
                  <a:pt x="4608614" y="2679918"/>
                  <a:pt x="4614061" y="2679918"/>
                </a:cubicBezTo>
                <a:close/>
                <a:moveTo>
                  <a:pt x="4768008" y="2678104"/>
                </a:moveTo>
                <a:cubicBezTo>
                  <a:pt x="4774546" y="2678104"/>
                  <a:pt x="4779993" y="2683551"/>
                  <a:pt x="4779993" y="2690085"/>
                </a:cubicBezTo>
                <a:cubicBezTo>
                  <a:pt x="4779993" y="2696622"/>
                  <a:pt x="4774546" y="2702065"/>
                  <a:pt x="4768008" y="2702065"/>
                </a:cubicBezTo>
                <a:cubicBezTo>
                  <a:pt x="4761475" y="2702065"/>
                  <a:pt x="4756028" y="2696622"/>
                  <a:pt x="4756028" y="2690085"/>
                </a:cubicBezTo>
                <a:cubicBezTo>
                  <a:pt x="4756028" y="2683551"/>
                  <a:pt x="4761475" y="2678104"/>
                  <a:pt x="4768008" y="2678104"/>
                </a:cubicBezTo>
                <a:close/>
                <a:moveTo>
                  <a:pt x="4921598" y="2676286"/>
                </a:moveTo>
                <a:cubicBezTo>
                  <a:pt x="4929222" y="2676286"/>
                  <a:pt x="4935393" y="2682457"/>
                  <a:pt x="4935393" y="2690081"/>
                </a:cubicBezTo>
                <a:cubicBezTo>
                  <a:pt x="4935393" y="2697709"/>
                  <a:pt x="4929222" y="2703880"/>
                  <a:pt x="4921598" y="2703880"/>
                </a:cubicBezTo>
                <a:cubicBezTo>
                  <a:pt x="4913970" y="2703880"/>
                  <a:pt x="4907798" y="2697709"/>
                  <a:pt x="4907798" y="2690081"/>
                </a:cubicBezTo>
                <a:cubicBezTo>
                  <a:pt x="4907798" y="2682457"/>
                  <a:pt x="4913970" y="2676286"/>
                  <a:pt x="4921598" y="2676286"/>
                </a:cubicBezTo>
                <a:close/>
                <a:moveTo>
                  <a:pt x="5075545" y="2674833"/>
                </a:moveTo>
                <a:cubicBezTo>
                  <a:pt x="5083893" y="2674833"/>
                  <a:pt x="5090792" y="2681733"/>
                  <a:pt x="5090792" y="2690081"/>
                </a:cubicBezTo>
                <a:cubicBezTo>
                  <a:pt x="5090792" y="2698433"/>
                  <a:pt x="5083893" y="2705332"/>
                  <a:pt x="5075545" y="2705332"/>
                </a:cubicBezTo>
                <a:cubicBezTo>
                  <a:pt x="5067193" y="2705332"/>
                  <a:pt x="5060294" y="2698433"/>
                  <a:pt x="5060294" y="2690081"/>
                </a:cubicBezTo>
                <a:cubicBezTo>
                  <a:pt x="5060294" y="2681733"/>
                  <a:pt x="5067193" y="2674833"/>
                  <a:pt x="5075545" y="2674833"/>
                </a:cubicBezTo>
                <a:close/>
                <a:moveTo>
                  <a:pt x="5229126" y="2673019"/>
                </a:moveTo>
                <a:cubicBezTo>
                  <a:pt x="5238564" y="2673019"/>
                  <a:pt x="5246192" y="2680643"/>
                  <a:pt x="5246192" y="2690085"/>
                </a:cubicBezTo>
                <a:cubicBezTo>
                  <a:pt x="5246192" y="2699523"/>
                  <a:pt x="5238564" y="2707147"/>
                  <a:pt x="5229126" y="2707147"/>
                </a:cubicBezTo>
                <a:cubicBezTo>
                  <a:pt x="5219684" y="2707147"/>
                  <a:pt x="5212060" y="2699523"/>
                  <a:pt x="5212060" y="2690085"/>
                </a:cubicBezTo>
                <a:cubicBezTo>
                  <a:pt x="5212060" y="2680643"/>
                  <a:pt x="5219684" y="2673019"/>
                  <a:pt x="5229126" y="2673019"/>
                </a:cubicBezTo>
                <a:close/>
                <a:moveTo>
                  <a:pt x="5383074" y="2670842"/>
                </a:moveTo>
                <a:cubicBezTo>
                  <a:pt x="5393705" y="2670842"/>
                  <a:pt x="5402320" y="2679457"/>
                  <a:pt x="5402320" y="2690085"/>
                </a:cubicBezTo>
                <a:cubicBezTo>
                  <a:pt x="5402320" y="2700712"/>
                  <a:pt x="5393705" y="2709327"/>
                  <a:pt x="5383074" y="2709327"/>
                </a:cubicBezTo>
                <a:cubicBezTo>
                  <a:pt x="5372446" y="2709327"/>
                  <a:pt x="5363832" y="2700712"/>
                  <a:pt x="5363832" y="2690085"/>
                </a:cubicBezTo>
                <a:cubicBezTo>
                  <a:pt x="5363832" y="2679457"/>
                  <a:pt x="5372446" y="2670842"/>
                  <a:pt x="5383074" y="2670842"/>
                </a:cubicBezTo>
                <a:close/>
                <a:moveTo>
                  <a:pt x="5536656" y="2668662"/>
                </a:moveTo>
                <a:cubicBezTo>
                  <a:pt x="5548488" y="2668662"/>
                  <a:pt x="5558078" y="2678252"/>
                  <a:pt x="5558078" y="2690085"/>
                </a:cubicBezTo>
                <a:cubicBezTo>
                  <a:pt x="5558078" y="2701913"/>
                  <a:pt x="5548488" y="2711504"/>
                  <a:pt x="5536656" y="2711504"/>
                </a:cubicBezTo>
                <a:cubicBezTo>
                  <a:pt x="5524827" y="2711504"/>
                  <a:pt x="5515232" y="2701913"/>
                  <a:pt x="5515232" y="2690085"/>
                </a:cubicBezTo>
                <a:cubicBezTo>
                  <a:pt x="5515232" y="2678252"/>
                  <a:pt x="5524827" y="2668662"/>
                  <a:pt x="5536656" y="2668662"/>
                </a:cubicBezTo>
                <a:close/>
                <a:moveTo>
                  <a:pt x="5690606" y="2667209"/>
                </a:moveTo>
                <a:cubicBezTo>
                  <a:pt x="5703239" y="2667209"/>
                  <a:pt x="5713482" y="2677452"/>
                  <a:pt x="5713482" y="2690085"/>
                </a:cubicBezTo>
                <a:cubicBezTo>
                  <a:pt x="5713482" y="2702717"/>
                  <a:pt x="5703239" y="2712956"/>
                  <a:pt x="5690606" y="2712956"/>
                </a:cubicBezTo>
                <a:cubicBezTo>
                  <a:pt x="5677974" y="2712956"/>
                  <a:pt x="5667732" y="2702717"/>
                  <a:pt x="5667732" y="2690085"/>
                </a:cubicBezTo>
                <a:cubicBezTo>
                  <a:pt x="5667732" y="2677452"/>
                  <a:pt x="5677974" y="2667209"/>
                  <a:pt x="5690606" y="2667209"/>
                </a:cubicBezTo>
                <a:close/>
                <a:moveTo>
                  <a:pt x="5844550" y="2665033"/>
                </a:moveTo>
                <a:cubicBezTo>
                  <a:pt x="5858388" y="2665033"/>
                  <a:pt x="5869606" y="2676247"/>
                  <a:pt x="5869606" y="2690085"/>
                </a:cubicBezTo>
                <a:cubicBezTo>
                  <a:pt x="5869606" y="2703922"/>
                  <a:pt x="5858388" y="2715136"/>
                  <a:pt x="5844550" y="2715136"/>
                </a:cubicBezTo>
                <a:cubicBezTo>
                  <a:pt x="5830713" y="2715136"/>
                  <a:pt x="5819498" y="2703922"/>
                  <a:pt x="5819498" y="2690085"/>
                </a:cubicBezTo>
                <a:cubicBezTo>
                  <a:pt x="5819498" y="2676247"/>
                  <a:pt x="5830713" y="2665033"/>
                  <a:pt x="5844550" y="2665033"/>
                </a:cubicBezTo>
                <a:close/>
                <a:moveTo>
                  <a:pt x="5998139" y="2662852"/>
                </a:moveTo>
                <a:cubicBezTo>
                  <a:pt x="6013024" y="2662852"/>
                  <a:pt x="6025372" y="2675199"/>
                  <a:pt x="6025372" y="2690085"/>
                </a:cubicBezTo>
                <a:cubicBezTo>
                  <a:pt x="6025372" y="2704970"/>
                  <a:pt x="6013390" y="2717317"/>
                  <a:pt x="5998139" y="2717317"/>
                </a:cubicBezTo>
                <a:cubicBezTo>
                  <a:pt x="5983254" y="2717317"/>
                  <a:pt x="5970907" y="2704970"/>
                  <a:pt x="5970907" y="2690085"/>
                </a:cubicBezTo>
                <a:cubicBezTo>
                  <a:pt x="5970907" y="2675199"/>
                  <a:pt x="5983254" y="2662852"/>
                  <a:pt x="5998139" y="2662852"/>
                </a:cubicBezTo>
                <a:close/>
                <a:moveTo>
                  <a:pt x="6152083" y="2660310"/>
                </a:moveTo>
                <a:cubicBezTo>
                  <a:pt x="6168528" y="2660310"/>
                  <a:pt x="6181858" y="2673640"/>
                  <a:pt x="6181858" y="2690081"/>
                </a:cubicBezTo>
                <a:cubicBezTo>
                  <a:pt x="6181858" y="2706525"/>
                  <a:pt x="6168528" y="2719856"/>
                  <a:pt x="6152083" y="2719856"/>
                </a:cubicBezTo>
                <a:cubicBezTo>
                  <a:pt x="6135642" y="2719856"/>
                  <a:pt x="6122312" y="2706525"/>
                  <a:pt x="6122312" y="2690081"/>
                </a:cubicBezTo>
                <a:cubicBezTo>
                  <a:pt x="6122312" y="2673640"/>
                  <a:pt x="6135642" y="2660310"/>
                  <a:pt x="6152083" y="2660310"/>
                </a:cubicBezTo>
                <a:close/>
                <a:moveTo>
                  <a:pt x="6305668" y="2658133"/>
                </a:moveTo>
                <a:cubicBezTo>
                  <a:pt x="6323317" y="2658133"/>
                  <a:pt x="6337620" y="2672439"/>
                  <a:pt x="6337620" y="2690085"/>
                </a:cubicBezTo>
                <a:cubicBezTo>
                  <a:pt x="6337620" y="2707730"/>
                  <a:pt x="6323317" y="2722036"/>
                  <a:pt x="6305668" y="2722036"/>
                </a:cubicBezTo>
                <a:cubicBezTo>
                  <a:pt x="6288022" y="2722036"/>
                  <a:pt x="6273716" y="2707730"/>
                  <a:pt x="6273716" y="2690085"/>
                </a:cubicBezTo>
                <a:cubicBezTo>
                  <a:pt x="6273716" y="2672439"/>
                  <a:pt x="6288022" y="2658133"/>
                  <a:pt x="6305668" y="2658133"/>
                </a:cubicBezTo>
                <a:close/>
                <a:moveTo>
                  <a:pt x="6459616" y="2656319"/>
                </a:moveTo>
                <a:cubicBezTo>
                  <a:pt x="6478263" y="2656319"/>
                  <a:pt x="6493385" y="2671437"/>
                  <a:pt x="6493385" y="2690085"/>
                </a:cubicBezTo>
                <a:cubicBezTo>
                  <a:pt x="6493385" y="2708736"/>
                  <a:pt x="6478263" y="2723850"/>
                  <a:pt x="6459616" y="2723850"/>
                </a:cubicBezTo>
                <a:cubicBezTo>
                  <a:pt x="6440968" y="2723850"/>
                  <a:pt x="6425850" y="2708736"/>
                  <a:pt x="6425850" y="2690085"/>
                </a:cubicBezTo>
                <a:cubicBezTo>
                  <a:pt x="6425850" y="2671437"/>
                  <a:pt x="6440968" y="2656319"/>
                  <a:pt x="6459616" y="2656319"/>
                </a:cubicBezTo>
                <a:close/>
                <a:moveTo>
                  <a:pt x="6613200" y="2653777"/>
                </a:moveTo>
                <a:cubicBezTo>
                  <a:pt x="6633255" y="2653777"/>
                  <a:pt x="6649509" y="2670030"/>
                  <a:pt x="6649509" y="2690085"/>
                </a:cubicBezTo>
                <a:cubicBezTo>
                  <a:pt x="6649509" y="2710135"/>
                  <a:pt x="6633255" y="2726393"/>
                  <a:pt x="6613200" y="2726393"/>
                </a:cubicBezTo>
                <a:cubicBezTo>
                  <a:pt x="6593146" y="2726393"/>
                  <a:pt x="6576892" y="2710135"/>
                  <a:pt x="6576892" y="2690085"/>
                </a:cubicBezTo>
                <a:cubicBezTo>
                  <a:pt x="6576892" y="2670030"/>
                  <a:pt x="6593146" y="2653777"/>
                  <a:pt x="6613200" y="2653777"/>
                </a:cubicBezTo>
                <a:close/>
                <a:moveTo>
                  <a:pt x="3230349" y="2536137"/>
                </a:moveTo>
                <a:cubicBezTo>
                  <a:pt x="3230715" y="2536137"/>
                  <a:pt x="3230715" y="2536137"/>
                  <a:pt x="3230715" y="2536499"/>
                </a:cubicBezTo>
                <a:cubicBezTo>
                  <a:pt x="3230715" y="2536866"/>
                  <a:pt x="3230349" y="2536866"/>
                  <a:pt x="3230349" y="2536866"/>
                </a:cubicBezTo>
                <a:cubicBezTo>
                  <a:pt x="3229987" y="2536866"/>
                  <a:pt x="3229987" y="2536866"/>
                  <a:pt x="3229987" y="2536499"/>
                </a:cubicBezTo>
                <a:cubicBezTo>
                  <a:pt x="3229987" y="2536137"/>
                  <a:pt x="3229987" y="2536137"/>
                  <a:pt x="3230349" y="2536137"/>
                </a:cubicBezTo>
                <a:close/>
                <a:moveTo>
                  <a:pt x="2768873" y="2536137"/>
                </a:moveTo>
                <a:cubicBezTo>
                  <a:pt x="2769235" y="2536137"/>
                  <a:pt x="2769235" y="2536137"/>
                  <a:pt x="2769235" y="2536499"/>
                </a:cubicBezTo>
                <a:cubicBezTo>
                  <a:pt x="2769235" y="2536866"/>
                  <a:pt x="2768873" y="2536866"/>
                  <a:pt x="2768873" y="2536866"/>
                </a:cubicBezTo>
                <a:cubicBezTo>
                  <a:pt x="2768511" y="2536866"/>
                  <a:pt x="2768511" y="2536866"/>
                  <a:pt x="2768511" y="2536499"/>
                </a:cubicBezTo>
                <a:cubicBezTo>
                  <a:pt x="2768511" y="2536137"/>
                  <a:pt x="2768511" y="2536137"/>
                  <a:pt x="2768873" y="2536137"/>
                </a:cubicBezTo>
                <a:close/>
                <a:moveTo>
                  <a:pt x="2614925" y="2536137"/>
                </a:moveTo>
                <a:cubicBezTo>
                  <a:pt x="2615288" y="2536137"/>
                  <a:pt x="2615288" y="2536137"/>
                  <a:pt x="2615288" y="2536499"/>
                </a:cubicBezTo>
                <a:cubicBezTo>
                  <a:pt x="2615288" y="2536866"/>
                  <a:pt x="2614925" y="2536866"/>
                  <a:pt x="2614925" y="2536866"/>
                </a:cubicBezTo>
                <a:cubicBezTo>
                  <a:pt x="2614563" y="2536866"/>
                  <a:pt x="2614563" y="2536866"/>
                  <a:pt x="2614563" y="2536499"/>
                </a:cubicBezTo>
                <a:cubicBezTo>
                  <a:pt x="2614563" y="2536137"/>
                  <a:pt x="2614563" y="2536137"/>
                  <a:pt x="2614925" y="2536137"/>
                </a:cubicBezTo>
                <a:close/>
                <a:moveTo>
                  <a:pt x="2461344" y="2535771"/>
                </a:moveTo>
                <a:cubicBezTo>
                  <a:pt x="2461706" y="2535771"/>
                  <a:pt x="2462068" y="2536133"/>
                  <a:pt x="2462068" y="2536499"/>
                </a:cubicBezTo>
                <a:cubicBezTo>
                  <a:pt x="2462068" y="2536862"/>
                  <a:pt x="2461344" y="2537224"/>
                  <a:pt x="2461344" y="2537224"/>
                </a:cubicBezTo>
                <a:cubicBezTo>
                  <a:pt x="2460978" y="2537224"/>
                  <a:pt x="2460616" y="2536862"/>
                  <a:pt x="2460616" y="2536499"/>
                </a:cubicBezTo>
                <a:cubicBezTo>
                  <a:pt x="2460616" y="2536133"/>
                  <a:pt x="2460978" y="2535771"/>
                  <a:pt x="2461344" y="2535771"/>
                </a:cubicBezTo>
                <a:close/>
                <a:moveTo>
                  <a:pt x="3383938" y="2535047"/>
                </a:moveTo>
                <a:cubicBezTo>
                  <a:pt x="3384738" y="2535047"/>
                  <a:pt x="3385390" y="2535699"/>
                  <a:pt x="3385390" y="2536499"/>
                </a:cubicBezTo>
                <a:cubicBezTo>
                  <a:pt x="3385390" y="2537300"/>
                  <a:pt x="3384738" y="2537952"/>
                  <a:pt x="3383938" y="2537952"/>
                </a:cubicBezTo>
                <a:cubicBezTo>
                  <a:pt x="3383134" y="2537952"/>
                  <a:pt x="3382486" y="2537300"/>
                  <a:pt x="3382486" y="2536499"/>
                </a:cubicBezTo>
                <a:cubicBezTo>
                  <a:pt x="3382486" y="2535699"/>
                  <a:pt x="3383134" y="2535047"/>
                  <a:pt x="3383938" y="2535047"/>
                </a:cubicBezTo>
                <a:close/>
                <a:moveTo>
                  <a:pt x="3537886" y="2534323"/>
                </a:moveTo>
                <a:cubicBezTo>
                  <a:pt x="3539086" y="2534323"/>
                  <a:pt x="3540062" y="2535299"/>
                  <a:pt x="3540062" y="2536503"/>
                </a:cubicBezTo>
                <a:cubicBezTo>
                  <a:pt x="3540062" y="2537704"/>
                  <a:pt x="3539086" y="2538680"/>
                  <a:pt x="3537886" y="2538680"/>
                </a:cubicBezTo>
                <a:cubicBezTo>
                  <a:pt x="3536681" y="2538680"/>
                  <a:pt x="3535705" y="2537704"/>
                  <a:pt x="3535705" y="2536503"/>
                </a:cubicBezTo>
                <a:cubicBezTo>
                  <a:pt x="3535705" y="2535299"/>
                  <a:pt x="3536681" y="2534323"/>
                  <a:pt x="3537886" y="2534323"/>
                </a:cubicBezTo>
                <a:close/>
                <a:moveTo>
                  <a:pt x="3691467" y="2533233"/>
                </a:moveTo>
                <a:cubicBezTo>
                  <a:pt x="3693285" y="2533233"/>
                  <a:pt x="3694738" y="2534685"/>
                  <a:pt x="3694738" y="2536499"/>
                </a:cubicBezTo>
                <a:cubicBezTo>
                  <a:pt x="3694738" y="2538318"/>
                  <a:pt x="3693285" y="2539770"/>
                  <a:pt x="3691467" y="2539770"/>
                </a:cubicBezTo>
                <a:cubicBezTo>
                  <a:pt x="3689652" y="2539770"/>
                  <a:pt x="3688200" y="2538318"/>
                  <a:pt x="3688200" y="2536499"/>
                </a:cubicBezTo>
                <a:cubicBezTo>
                  <a:pt x="3688200" y="2534685"/>
                  <a:pt x="3689652" y="2533233"/>
                  <a:pt x="3691467" y="2533233"/>
                </a:cubicBezTo>
                <a:close/>
                <a:moveTo>
                  <a:pt x="3845414" y="2531780"/>
                </a:moveTo>
                <a:cubicBezTo>
                  <a:pt x="3847957" y="2531780"/>
                  <a:pt x="3849771" y="2533595"/>
                  <a:pt x="3849771" y="2536137"/>
                </a:cubicBezTo>
                <a:cubicBezTo>
                  <a:pt x="3849771" y="2538680"/>
                  <a:pt x="3847591" y="2540494"/>
                  <a:pt x="3845414" y="2540494"/>
                </a:cubicBezTo>
                <a:cubicBezTo>
                  <a:pt x="3842872" y="2540494"/>
                  <a:pt x="3841057" y="2538680"/>
                  <a:pt x="3841057" y="2536137"/>
                </a:cubicBezTo>
                <a:cubicBezTo>
                  <a:pt x="3841057" y="2533595"/>
                  <a:pt x="3842872" y="2531780"/>
                  <a:pt x="3845414" y="2531780"/>
                </a:cubicBezTo>
                <a:close/>
                <a:moveTo>
                  <a:pt x="3999000" y="2530690"/>
                </a:moveTo>
                <a:cubicBezTo>
                  <a:pt x="4002209" y="2530690"/>
                  <a:pt x="4004809" y="2533290"/>
                  <a:pt x="4004809" y="2536499"/>
                </a:cubicBezTo>
                <a:cubicBezTo>
                  <a:pt x="4004809" y="2539709"/>
                  <a:pt x="4002209" y="2542309"/>
                  <a:pt x="3999000" y="2542309"/>
                </a:cubicBezTo>
                <a:cubicBezTo>
                  <a:pt x="3995790" y="2542309"/>
                  <a:pt x="3993190" y="2539709"/>
                  <a:pt x="3993190" y="2536499"/>
                </a:cubicBezTo>
                <a:cubicBezTo>
                  <a:pt x="3993190" y="2533290"/>
                  <a:pt x="3995790" y="2530690"/>
                  <a:pt x="3999000" y="2530690"/>
                </a:cubicBezTo>
                <a:close/>
                <a:moveTo>
                  <a:pt x="4152947" y="2528876"/>
                </a:moveTo>
                <a:cubicBezTo>
                  <a:pt x="4156942" y="2528876"/>
                  <a:pt x="4160208" y="2532142"/>
                  <a:pt x="4160208" y="2536137"/>
                </a:cubicBezTo>
                <a:cubicBezTo>
                  <a:pt x="4160208" y="2540132"/>
                  <a:pt x="4156942" y="2543399"/>
                  <a:pt x="4152947" y="2543399"/>
                </a:cubicBezTo>
                <a:cubicBezTo>
                  <a:pt x="4148952" y="2543399"/>
                  <a:pt x="4145686" y="2540132"/>
                  <a:pt x="4145686" y="2536137"/>
                </a:cubicBezTo>
                <a:cubicBezTo>
                  <a:pt x="4145686" y="2532142"/>
                  <a:pt x="4148952" y="2528876"/>
                  <a:pt x="4152947" y="2528876"/>
                </a:cubicBezTo>
                <a:close/>
                <a:moveTo>
                  <a:pt x="4306528" y="2527058"/>
                </a:moveTo>
                <a:cubicBezTo>
                  <a:pt x="4311614" y="2527058"/>
                  <a:pt x="4315608" y="2531052"/>
                  <a:pt x="4315608" y="2536133"/>
                </a:cubicBezTo>
                <a:cubicBezTo>
                  <a:pt x="4315608" y="2541218"/>
                  <a:pt x="4311614" y="2545213"/>
                  <a:pt x="4306528" y="2545213"/>
                </a:cubicBezTo>
                <a:cubicBezTo>
                  <a:pt x="4301447" y="2545213"/>
                  <a:pt x="4297452" y="2541218"/>
                  <a:pt x="4297452" y="2536133"/>
                </a:cubicBezTo>
                <a:cubicBezTo>
                  <a:pt x="4297452" y="2531052"/>
                  <a:pt x="4301447" y="2527058"/>
                  <a:pt x="4306528" y="2527058"/>
                </a:cubicBezTo>
                <a:close/>
                <a:moveTo>
                  <a:pt x="4460480" y="2526333"/>
                </a:moveTo>
                <a:cubicBezTo>
                  <a:pt x="4465927" y="2526333"/>
                  <a:pt x="4470646" y="2531052"/>
                  <a:pt x="4470646" y="2536499"/>
                </a:cubicBezTo>
                <a:cubicBezTo>
                  <a:pt x="4470646" y="2541947"/>
                  <a:pt x="4466289" y="2546666"/>
                  <a:pt x="4460480" y="2546666"/>
                </a:cubicBezTo>
                <a:cubicBezTo>
                  <a:pt x="4455032" y="2546666"/>
                  <a:pt x="4450314" y="2541947"/>
                  <a:pt x="4450314" y="2536499"/>
                </a:cubicBezTo>
                <a:cubicBezTo>
                  <a:pt x="4450314" y="2531052"/>
                  <a:pt x="4455032" y="2526333"/>
                  <a:pt x="4460480" y="2526333"/>
                </a:cubicBezTo>
                <a:close/>
                <a:moveTo>
                  <a:pt x="4614061" y="2524153"/>
                </a:moveTo>
                <a:cubicBezTo>
                  <a:pt x="4620598" y="2524153"/>
                  <a:pt x="4626046" y="2529600"/>
                  <a:pt x="4626046" y="2536133"/>
                </a:cubicBezTo>
                <a:cubicBezTo>
                  <a:pt x="4626046" y="2542671"/>
                  <a:pt x="4620598" y="2548118"/>
                  <a:pt x="4614061" y="2548118"/>
                </a:cubicBezTo>
                <a:cubicBezTo>
                  <a:pt x="4607528" y="2548118"/>
                  <a:pt x="4602080" y="2542671"/>
                  <a:pt x="4602080" y="2536133"/>
                </a:cubicBezTo>
                <a:cubicBezTo>
                  <a:pt x="4602080" y="2529600"/>
                  <a:pt x="4607528" y="2524153"/>
                  <a:pt x="4614061" y="2524153"/>
                </a:cubicBezTo>
                <a:close/>
                <a:moveTo>
                  <a:pt x="4768012" y="2522338"/>
                </a:moveTo>
                <a:cubicBezTo>
                  <a:pt x="4775636" y="2522338"/>
                  <a:pt x="4781808" y="2528510"/>
                  <a:pt x="4781808" y="2536133"/>
                </a:cubicBezTo>
                <a:cubicBezTo>
                  <a:pt x="4781808" y="2543761"/>
                  <a:pt x="4775636" y="2549933"/>
                  <a:pt x="4768012" y="2549933"/>
                </a:cubicBezTo>
                <a:cubicBezTo>
                  <a:pt x="4760384" y="2549933"/>
                  <a:pt x="4754214" y="2543761"/>
                  <a:pt x="4754214" y="2536133"/>
                </a:cubicBezTo>
                <a:cubicBezTo>
                  <a:pt x="4754214" y="2528510"/>
                  <a:pt x="4760384" y="2522338"/>
                  <a:pt x="4768012" y="2522338"/>
                </a:cubicBezTo>
                <a:close/>
                <a:moveTo>
                  <a:pt x="4921594" y="2521252"/>
                </a:moveTo>
                <a:cubicBezTo>
                  <a:pt x="4930018" y="2521252"/>
                  <a:pt x="4936845" y="2528079"/>
                  <a:pt x="4936845" y="2536503"/>
                </a:cubicBezTo>
                <a:cubicBezTo>
                  <a:pt x="4936845" y="2544924"/>
                  <a:pt x="4930018" y="2551751"/>
                  <a:pt x="4921594" y="2551751"/>
                </a:cubicBezTo>
                <a:cubicBezTo>
                  <a:pt x="4913174" y="2551751"/>
                  <a:pt x="4906346" y="2544924"/>
                  <a:pt x="4906346" y="2536503"/>
                </a:cubicBezTo>
                <a:cubicBezTo>
                  <a:pt x="4906346" y="2528079"/>
                  <a:pt x="4913174" y="2521252"/>
                  <a:pt x="4921594" y="2521252"/>
                </a:cubicBezTo>
                <a:close/>
                <a:moveTo>
                  <a:pt x="5075545" y="2519071"/>
                </a:moveTo>
                <a:cubicBezTo>
                  <a:pt x="5084984" y="2519071"/>
                  <a:pt x="5092611" y="2526695"/>
                  <a:pt x="5092611" y="2536137"/>
                </a:cubicBezTo>
                <a:cubicBezTo>
                  <a:pt x="5092611" y="2545575"/>
                  <a:pt x="5084984" y="2553203"/>
                  <a:pt x="5075545" y="2553203"/>
                </a:cubicBezTo>
                <a:cubicBezTo>
                  <a:pt x="5066103" y="2553203"/>
                  <a:pt x="5058479" y="2545575"/>
                  <a:pt x="5058479" y="2536137"/>
                </a:cubicBezTo>
                <a:cubicBezTo>
                  <a:pt x="5058479" y="2526695"/>
                  <a:pt x="5066103" y="2519071"/>
                  <a:pt x="5075545" y="2519071"/>
                </a:cubicBezTo>
                <a:close/>
                <a:moveTo>
                  <a:pt x="5229126" y="2517257"/>
                </a:moveTo>
                <a:cubicBezTo>
                  <a:pt x="5239754" y="2517257"/>
                  <a:pt x="5248369" y="2525872"/>
                  <a:pt x="5248369" y="2536499"/>
                </a:cubicBezTo>
                <a:cubicBezTo>
                  <a:pt x="5248369" y="2547127"/>
                  <a:pt x="5239754" y="2555742"/>
                  <a:pt x="5229126" y="2555742"/>
                </a:cubicBezTo>
                <a:cubicBezTo>
                  <a:pt x="5218499" y="2555742"/>
                  <a:pt x="5209884" y="2547127"/>
                  <a:pt x="5209884" y="2536499"/>
                </a:cubicBezTo>
                <a:cubicBezTo>
                  <a:pt x="5209884" y="2525872"/>
                  <a:pt x="5218499" y="2517257"/>
                  <a:pt x="5229126" y="2517257"/>
                </a:cubicBezTo>
                <a:close/>
                <a:moveTo>
                  <a:pt x="5383074" y="2514714"/>
                </a:moveTo>
                <a:cubicBezTo>
                  <a:pt x="5395054" y="2514714"/>
                  <a:pt x="5404496" y="2524153"/>
                  <a:pt x="5404496" y="2536137"/>
                </a:cubicBezTo>
                <a:cubicBezTo>
                  <a:pt x="5404496" y="2548118"/>
                  <a:pt x="5394692" y="2557560"/>
                  <a:pt x="5383074" y="2557560"/>
                </a:cubicBezTo>
                <a:cubicBezTo>
                  <a:pt x="5371093" y="2557560"/>
                  <a:pt x="5361651" y="2548118"/>
                  <a:pt x="5361651" y="2536137"/>
                </a:cubicBezTo>
                <a:cubicBezTo>
                  <a:pt x="5361651" y="2524153"/>
                  <a:pt x="5371093" y="2514714"/>
                  <a:pt x="5383074" y="2514714"/>
                </a:cubicBezTo>
                <a:close/>
                <a:moveTo>
                  <a:pt x="5536659" y="2513624"/>
                </a:moveTo>
                <a:cubicBezTo>
                  <a:pt x="5549292" y="2513624"/>
                  <a:pt x="5559534" y="2523867"/>
                  <a:pt x="5559534" y="2536499"/>
                </a:cubicBezTo>
                <a:cubicBezTo>
                  <a:pt x="5559534" y="2549132"/>
                  <a:pt x="5549292" y="2559371"/>
                  <a:pt x="5536659" y="2559371"/>
                </a:cubicBezTo>
                <a:cubicBezTo>
                  <a:pt x="5524026" y="2559371"/>
                  <a:pt x="5513784" y="2549132"/>
                  <a:pt x="5513784" y="2536499"/>
                </a:cubicBezTo>
                <a:cubicBezTo>
                  <a:pt x="5513784" y="2523867"/>
                  <a:pt x="5524026" y="2513624"/>
                  <a:pt x="5536659" y="2513624"/>
                </a:cubicBezTo>
                <a:close/>
                <a:moveTo>
                  <a:pt x="5690602" y="2511448"/>
                </a:moveTo>
                <a:cubicBezTo>
                  <a:pt x="5704440" y="2511448"/>
                  <a:pt x="5715658" y="2522662"/>
                  <a:pt x="5715658" y="2536499"/>
                </a:cubicBezTo>
                <a:cubicBezTo>
                  <a:pt x="5715658" y="2550337"/>
                  <a:pt x="5704440" y="2561555"/>
                  <a:pt x="5690602" y="2561555"/>
                </a:cubicBezTo>
                <a:cubicBezTo>
                  <a:pt x="5676766" y="2561555"/>
                  <a:pt x="5665551" y="2550337"/>
                  <a:pt x="5665551" y="2536499"/>
                </a:cubicBezTo>
                <a:cubicBezTo>
                  <a:pt x="5665551" y="2522666"/>
                  <a:pt x="5676766" y="2511448"/>
                  <a:pt x="5690602" y="2511448"/>
                </a:cubicBezTo>
                <a:close/>
                <a:moveTo>
                  <a:pt x="5844554" y="2509267"/>
                </a:moveTo>
                <a:cubicBezTo>
                  <a:pt x="5859440" y="2509267"/>
                  <a:pt x="5871786" y="2521610"/>
                  <a:pt x="5871786" y="2536499"/>
                </a:cubicBezTo>
                <a:cubicBezTo>
                  <a:pt x="5871786" y="2551385"/>
                  <a:pt x="5859802" y="2563732"/>
                  <a:pt x="5844554" y="2563732"/>
                </a:cubicBezTo>
                <a:cubicBezTo>
                  <a:pt x="5829664" y="2563732"/>
                  <a:pt x="5817322" y="2551385"/>
                  <a:pt x="5817322" y="2536499"/>
                </a:cubicBezTo>
                <a:cubicBezTo>
                  <a:pt x="5817322" y="2521610"/>
                  <a:pt x="5829664" y="2509267"/>
                  <a:pt x="5844554" y="2509267"/>
                </a:cubicBezTo>
                <a:close/>
                <a:moveTo>
                  <a:pt x="5998136" y="2506729"/>
                </a:moveTo>
                <a:cubicBezTo>
                  <a:pt x="6014580" y="2506729"/>
                  <a:pt x="6027910" y="2520059"/>
                  <a:pt x="6027910" y="2536503"/>
                </a:cubicBezTo>
                <a:cubicBezTo>
                  <a:pt x="6027910" y="2552944"/>
                  <a:pt x="6014580" y="2566274"/>
                  <a:pt x="5998136" y="2566274"/>
                </a:cubicBezTo>
                <a:cubicBezTo>
                  <a:pt x="5981694" y="2566274"/>
                  <a:pt x="5968364" y="2552944"/>
                  <a:pt x="5968364" y="2536503"/>
                </a:cubicBezTo>
                <a:cubicBezTo>
                  <a:pt x="5968364" y="2520059"/>
                  <a:pt x="5981694" y="2506729"/>
                  <a:pt x="5998136" y="2506729"/>
                </a:cubicBezTo>
                <a:close/>
                <a:moveTo>
                  <a:pt x="6152086" y="2504548"/>
                </a:moveTo>
                <a:cubicBezTo>
                  <a:pt x="6169732" y="2504548"/>
                  <a:pt x="6184038" y="2518854"/>
                  <a:pt x="6184038" y="2536499"/>
                </a:cubicBezTo>
                <a:cubicBezTo>
                  <a:pt x="6184038" y="2554145"/>
                  <a:pt x="6169732" y="2568451"/>
                  <a:pt x="6152086" y="2568451"/>
                </a:cubicBezTo>
                <a:cubicBezTo>
                  <a:pt x="6134438" y="2568451"/>
                  <a:pt x="6120135" y="2554145"/>
                  <a:pt x="6120135" y="2536499"/>
                </a:cubicBezTo>
                <a:cubicBezTo>
                  <a:pt x="6120135" y="2518854"/>
                  <a:pt x="6134438" y="2504548"/>
                  <a:pt x="6152086" y="2504548"/>
                </a:cubicBezTo>
                <a:close/>
                <a:moveTo>
                  <a:pt x="6305668" y="2502734"/>
                </a:moveTo>
                <a:cubicBezTo>
                  <a:pt x="6324320" y="2502734"/>
                  <a:pt x="6339438" y="2517852"/>
                  <a:pt x="6339438" y="2536499"/>
                </a:cubicBezTo>
                <a:cubicBezTo>
                  <a:pt x="6339438" y="2555151"/>
                  <a:pt x="6324320" y="2570269"/>
                  <a:pt x="6305668" y="2570269"/>
                </a:cubicBezTo>
                <a:cubicBezTo>
                  <a:pt x="6287020" y="2570269"/>
                  <a:pt x="6271902" y="2555151"/>
                  <a:pt x="6271902" y="2536499"/>
                </a:cubicBezTo>
                <a:cubicBezTo>
                  <a:pt x="6271902" y="2517852"/>
                  <a:pt x="6287020" y="2502734"/>
                  <a:pt x="6305668" y="2502734"/>
                </a:cubicBezTo>
                <a:close/>
                <a:moveTo>
                  <a:pt x="6459616" y="2500191"/>
                </a:moveTo>
                <a:cubicBezTo>
                  <a:pt x="6479670" y="2500191"/>
                  <a:pt x="6495924" y="2516445"/>
                  <a:pt x="6495924" y="2536499"/>
                </a:cubicBezTo>
                <a:cubicBezTo>
                  <a:pt x="6495924" y="2556554"/>
                  <a:pt x="6479670" y="2572808"/>
                  <a:pt x="6459616" y="2572808"/>
                </a:cubicBezTo>
                <a:cubicBezTo>
                  <a:pt x="6439561" y="2572808"/>
                  <a:pt x="6423307" y="2556554"/>
                  <a:pt x="6423307" y="2536499"/>
                </a:cubicBezTo>
                <a:cubicBezTo>
                  <a:pt x="6423307" y="2516445"/>
                  <a:pt x="6439561" y="2500191"/>
                  <a:pt x="6459616" y="2500191"/>
                </a:cubicBezTo>
                <a:close/>
                <a:moveTo>
                  <a:pt x="6613200" y="2497648"/>
                </a:moveTo>
                <a:cubicBezTo>
                  <a:pt x="6634654" y="2497648"/>
                  <a:pt x="6652048" y="2515042"/>
                  <a:pt x="6652048" y="2536499"/>
                </a:cubicBezTo>
                <a:cubicBezTo>
                  <a:pt x="6652048" y="2557953"/>
                  <a:pt x="6634654" y="2575350"/>
                  <a:pt x="6613200" y="2575350"/>
                </a:cubicBezTo>
                <a:cubicBezTo>
                  <a:pt x="6591744" y="2575350"/>
                  <a:pt x="6574350" y="2557953"/>
                  <a:pt x="6574350" y="2536499"/>
                </a:cubicBezTo>
                <a:cubicBezTo>
                  <a:pt x="6574350" y="2515042"/>
                  <a:pt x="6591744" y="2497648"/>
                  <a:pt x="6613200" y="2497648"/>
                </a:cubicBezTo>
                <a:close/>
                <a:moveTo>
                  <a:pt x="3076406" y="2382190"/>
                </a:moveTo>
                <a:cubicBezTo>
                  <a:pt x="3076768" y="2382190"/>
                  <a:pt x="3076768" y="2382190"/>
                  <a:pt x="3076768" y="2382552"/>
                </a:cubicBezTo>
                <a:cubicBezTo>
                  <a:pt x="3076768" y="2382914"/>
                  <a:pt x="3076406" y="2382914"/>
                  <a:pt x="3076406" y="2382914"/>
                </a:cubicBezTo>
                <a:cubicBezTo>
                  <a:pt x="3076043" y="2382914"/>
                  <a:pt x="3076043" y="2382914"/>
                  <a:pt x="3076043" y="2382552"/>
                </a:cubicBezTo>
                <a:cubicBezTo>
                  <a:pt x="3076043" y="2382190"/>
                  <a:pt x="3076043" y="2382190"/>
                  <a:pt x="3076406" y="2382190"/>
                </a:cubicBezTo>
                <a:close/>
                <a:moveTo>
                  <a:pt x="2614925" y="2382190"/>
                </a:moveTo>
                <a:cubicBezTo>
                  <a:pt x="2615288" y="2382190"/>
                  <a:pt x="2615288" y="2382190"/>
                  <a:pt x="2615288" y="2382552"/>
                </a:cubicBezTo>
                <a:cubicBezTo>
                  <a:pt x="2615288" y="2382914"/>
                  <a:pt x="2614925" y="2382914"/>
                  <a:pt x="2614925" y="2382914"/>
                </a:cubicBezTo>
                <a:cubicBezTo>
                  <a:pt x="2614563" y="2382914"/>
                  <a:pt x="2614563" y="2382914"/>
                  <a:pt x="2614563" y="2382552"/>
                </a:cubicBezTo>
                <a:cubicBezTo>
                  <a:pt x="2614563" y="2382190"/>
                  <a:pt x="2614563" y="2382190"/>
                  <a:pt x="2614925" y="2382190"/>
                </a:cubicBezTo>
                <a:close/>
                <a:moveTo>
                  <a:pt x="2461340" y="2382190"/>
                </a:moveTo>
                <a:cubicBezTo>
                  <a:pt x="2461702" y="2382190"/>
                  <a:pt x="2461702" y="2382190"/>
                  <a:pt x="2461702" y="2382552"/>
                </a:cubicBezTo>
                <a:cubicBezTo>
                  <a:pt x="2461702" y="2382914"/>
                  <a:pt x="2461340" y="2382914"/>
                  <a:pt x="2461340" y="2382914"/>
                </a:cubicBezTo>
                <a:cubicBezTo>
                  <a:pt x="2460978" y="2382914"/>
                  <a:pt x="2460978" y="2382914"/>
                  <a:pt x="2460978" y="2382552"/>
                </a:cubicBezTo>
                <a:cubicBezTo>
                  <a:pt x="2460978" y="2382190"/>
                  <a:pt x="2460978" y="2382190"/>
                  <a:pt x="2461340" y="2382190"/>
                </a:cubicBezTo>
                <a:close/>
                <a:moveTo>
                  <a:pt x="2307393" y="2381824"/>
                </a:moveTo>
                <a:cubicBezTo>
                  <a:pt x="2307759" y="2381824"/>
                  <a:pt x="2308121" y="2382186"/>
                  <a:pt x="2308121" y="2382552"/>
                </a:cubicBezTo>
                <a:cubicBezTo>
                  <a:pt x="2308121" y="2382914"/>
                  <a:pt x="2307393" y="2383276"/>
                  <a:pt x="2307393" y="2383276"/>
                </a:cubicBezTo>
                <a:cubicBezTo>
                  <a:pt x="2307031" y="2383276"/>
                  <a:pt x="2306669" y="2382914"/>
                  <a:pt x="2306669" y="2382552"/>
                </a:cubicBezTo>
                <a:cubicBezTo>
                  <a:pt x="2306669" y="2382186"/>
                  <a:pt x="2307031" y="2381824"/>
                  <a:pt x="2307393" y="2381824"/>
                </a:cubicBezTo>
                <a:close/>
                <a:moveTo>
                  <a:pt x="3230353" y="2381100"/>
                </a:moveTo>
                <a:cubicBezTo>
                  <a:pt x="3231077" y="2381100"/>
                  <a:pt x="3231805" y="2381824"/>
                  <a:pt x="3231805" y="2382552"/>
                </a:cubicBezTo>
                <a:cubicBezTo>
                  <a:pt x="3231805" y="2383276"/>
                  <a:pt x="3230353" y="2384005"/>
                  <a:pt x="3230353" y="2384005"/>
                </a:cubicBezTo>
                <a:cubicBezTo>
                  <a:pt x="3229625" y="2384005"/>
                  <a:pt x="3228900" y="2383276"/>
                  <a:pt x="3228900" y="2382552"/>
                </a:cubicBezTo>
                <a:cubicBezTo>
                  <a:pt x="3228900" y="2381824"/>
                  <a:pt x="3229625" y="2381100"/>
                  <a:pt x="3230353" y="2381100"/>
                </a:cubicBezTo>
                <a:close/>
                <a:moveTo>
                  <a:pt x="3383938" y="2380375"/>
                </a:moveTo>
                <a:cubicBezTo>
                  <a:pt x="3385139" y="2380375"/>
                  <a:pt x="3386115" y="2381351"/>
                  <a:pt x="3386115" y="2382556"/>
                </a:cubicBezTo>
                <a:cubicBezTo>
                  <a:pt x="3386115" y="2383757"/>
                  <a:pt x="3385139" y="2384732"/>
                  <a:pt x="3383938" y="2384732"/>
                </a:cubicBezTo>
                <a:cubicBezTo>
                  <a:pt x="3382734" y="2384732"/>
                  <a:pt x="3381758" y="2383757"/>
                  <a:pt x="3381758" y="2382556"/>
                </a:cubicBezTo>
                <a:cubicBezTo>
                  <a:pt x="3381758" y="2381351"/>
                  <a:pt x="3382734" y="2380375"/>
                  <a:pt x="3383938" y="2380375"/>
                </a:cubicBezTo>
                <a:close/>
                <a:moveTo>
                  <a:pt x="3537882" y="2379285"/>
                </a:moveTo>
                <a:cubicBezTo>
                  <a:pt x="3539696" y="2379285"/>
                  <a:pt x="3541148" y="2380738"/>
                  <a:pt x="3541148" y="2382552"/>
                </a:cubicBezTo>
                <a:cubicBezTo>
                  <a:pt x="3541148" y="2384366"/>
                  <a:pt x="3539696" y="2385823"/>
                  <a:pt x="3537882" y="2385823"/>
                </a:cubicBezTo>
                <a:cubicBezTo>
                  <a:pt x="3536067" y="2385823"/>
                  <a:pt x="3534615" y="2384366"/>
                  <a:pt x="3534615" y="2382552"/>
                </a:cubicBezTo>
                <a:cubicBezTo>
                  <a:pt x="3534615" y="2380738"/>
                  <a:pt x="3536067" y="2379285"/>
                  <a:pt x="3537882" y="2379285"/>
                </a:cubicBezTo>
                <a:close/>
                <a:moveTo>
                  <a:pt x="3691467" y="2378195"/>
                </a:moveTo>
                <a:cubicBezTo>
                  <a:pt x="3694010" y="2378195"/>
                  <a:pt x="3695824" y="2380010"/>
                  <a:pt x="3695824" y="2382552"/>
                </a:cubicBezTo>
                <a:cubicBezTo>
                  <a:pt x="3695824" y="2385095"/>
                  <a:pt x="3693647" y="2386909"/>
                  <a:pt x="3691467" y="2386909"/>
                </a:cubicBezTo>
                <a:cubicBezTo>
                  <a:pt x="3688924" y="2386909"/>
                  <a:pt x="3687110" y="2385095"/>
                  <a:pt x="3687110" y="2382552"/>
                </a:cubicBezTo>
                <a:cubicBezTo>
                  <a:pt x="3687110" y="2380010"/>
                  <a:pt x="3688924" y="2378195"/>
                  <a:pt x="3691467" y="2378195"/>
                </a:cubicBezTo>
                <a:close/>
                <a:moveTo>
                  <a:pt x="3845414" y="2376743"/>
                </a:moveTo>
                <a:cubicBezTo>
                  <a:pt x="3848624" y="2376743"/>
                  <a:pt x="3851224" y="2379343"/>
                  <a:pt x="3851224" y="2382552"/>
                </a:cubicBezTo>
                <a:cubicBezTo>
                  <a:pt x="3851224" y="2385762"/>
                  <a:pt x="3848624" y="2388361"/>
                  <a:pt x="3845414" y="2388361"/>
                </a:cubicBezTo>
                <a:cubicBezTo>
                  <a:pt x="3842205" y="2388361"/>
                  <a:pt x="3839605" y="2385762"/>
                  <a:pt x="3839605" y="2382552"/>
                </a:cubicBezTo>
                <a:cubicBezTo>
                  <a:pt x="3839605" y="2379343"/>
                  <a:pt x="3842205" y="2376743"/>
                  <a:pt x="3845414" y="2376743"/>
                </a:cubicBezTo>
                <a:close/>
                <a:moveTo>
                  <a:pt x="3999000" y="2375290"/>
                </a:moveTo>
                <a:cubicBezTo>
                  <a:pt x="4002994" y="2375290"/>
                  <a:pt x="4006261" y="2378557"/>
                  <a:pt x="4006261" y="2382552"/>
                </a:cubicBezTo>
                <a:cubicBezTo>
                  <a:pt x="4006261" y="2386547"/>
                  <a:pt x="4002994" y="2389814"/>
                  <a:pt x="3999000" y="2389814"/>
                </a:cubicBezTo>
                <a:cubicBezTo>
                  <a:pt x="3995005" y="2389814"/>
                  <a:pt x="3991738" y="2386547"/>
                  <a:pt x="3991738" y="2382552"/>
                </a:cubicBezTo>
                <a:cubicBezTo>
                  <a:pt x="3991738" y="2378557"/>
                  <a:pt x="3995005" y="2375290"/>
                  <a:pt x="3999000" y="2375290"/>
                </a:cubicBezTo>
                <a:close/>
                <a:moveTo>
                  <a:pt x="4152947" y="2373476"/>
                </a:moveTo>
                <a:cubicBezTo>
                  <a:pt x="4158032" y="2373476"/>
                  <a:pt x="4162027" y="2377471"/>
                  <a:pt x="4162027" y="2382552"/>
                </a:cubicBezTo>
                <a:cubicBezTo>
                  <a:pt x="4162027" y="2387637"/>
                  <a:pt x="4158032" y="2391632"/>
                  <a:pt x="4152947" y="2391632"/>
                </a:cubicBezTo>
                <a:cubicBezTo>
                  <a:pt x="4147866" y="2391632"/>
                  <a:pt x="4143871" y="2387637"/>
                  <a:pt x="4143871" y="2382552"/>
                </a:cubicBezTo>
                <a:cubicBezTo>
                  <a:pt x="4143871" y="2377471"/>
                  <a:pt x="4147866" y="2373476"/>
                  <a:pt x="4152947" y="2373476"/>
                </a:cubicBezTo>
                <a:close/>
                <a:moveTo>
                  <a:pt x="4306532" y="2372386"/>
                </a:moveTo>
                <a:cubicBezTo>
                  <a:pt x="4311980" y="2372386"/>
                  <a:pt x="4316698" y="2377105"/>
                  <a:pt x="4316698" y="2382552"/>
                </a:cubicBezTo>
                <a:cubicBezTo>
                  <a:pt x="4316698" y="2387999"/>
                  <a:pt x="4312342" y="2392718"/>
                  <a:pt x="4306532" y="2392718"/>
                </a:cubicBezTo>
                <a:cubicBezTo>
                  <a:pt x="4301085" y="2392718"/>
                  <a:pt x="4296366" y="2387999"/>
                  <a:pt x="4296366" y="2382552"/>
                </a:cubicBezTo>
                <a:cubicBezTo>
                  <a:pt x="4296366" y="2377105"/>
                  <a:pt x="4301085" y="2372386"/>
                  <a:pt x="4306532" y="2372386"/>
                </a:cubicBezTo>
                <a:close/>
                <a:moveTo>
                  <a:pt x="4460476" y="2370571"/>
                </a:moveTo>
                <a:cubicBezTo>
                  <a:pt x="4467014" y="2370571"/>
                  <a:pt x="4472460" y="2376019"/>
                  <a:pt x="4472460" y="2382552"/>
                </a:cubicBezTo>
                <a:cubicBezTo>
                  <a:pt x="4472460" y="2389090"/>
                  <a:pt x="4467014" y="2394533"/>
                  <a:pt x="4460476" y="2394533"/>
                </a:cubicBezTo>
                <a:cubicBezTo>
                  <a:pt x="4453942" y="2394533"/>
                  <a:pt x="4448495" y="2389090"/>
                  <a:pt x="4448495" y="2382552"/>
                </a:cubicBezTo>
                <a:cubicBezTo>
                  <a:pt x="4448495" y="2376019"/>
                  <a:pt x="4453942" y="2370571"/>
                  <a:pt x="4460476" y="2370571"/>
                </a:cubicBezTo>
                <a:close/>
                <a:moveTo>
                  <a:pt x="4614065" y="2368753"/>
                </a:moveTo>
                <a:cubicBezTo>
                  <a:pt x="4621688" y="2368753"/>
                  <a:pt x="4627860" y="2374924"/>
                  <a:pt x="4627860" y="2382552"/>
                </a:cubicBezTo>
                <a:cubicBezTo>
                  <a:pt x="4627860" y="2390176"/>
                  <a:pt x="4621688" y="2396347"/>
                  <a:pt x="4614065" y="2396347"/>
                </a:cubicBezTo>
                <a:cubicBezTo>
                  <a:pt x="4606438" y="2396347"/>
                  <a:pt x="4600266" y="2390176"/>
                  <a:pt x="4600266" y="2382552"/>
                </a:cubicBezTo>
                <a:cubicBezTo>
                  <a:pt x="4600266" y="2374924"/>
                  <a:pt x="4606438" y="2368753"/>
                  <a:pt x="4614065" y="2368753"/>
                </a:cubicBezTo>
                <a:close/>
                <a:moveTo>
                  <a:pt x="4768008" y="2367304"/>
                </a:moveTo>
                <a:cubicBezTo>
                  <a:pt x="4776433" y="2367304"/>
                  <a:pt x="4783260" y="2374131"/>
                  <a:pt x="4783260" y="2382556"/>
                </a:cubicBezTo>
                <a:cubicBezTo>
                  <a:pt x="4783260" y="2390976"/>
                  <a:pt x="4776433" y="2397803"/>
                  <a:pt x="4768008" y="2397803"/>
                </a:cubicBezTo>
                <a:cubicBezTo>
                  <a:pt x="4759588" y="2397803"/>
                  <a:pt x="4752761" y="2390976"/>
                  <a:pt x="4752761" y="2382556"/>
                </a:cubicBezTo>
                <a:cubicBezTo>
                  <a:pt x="4752761" y="2374131"/>
                  <a:pt x="4759588" y="2367304"/>
                  <a:pt x="4768008" y="2367304"/>
                </a:cubicBezTo>
                <a:close/>
                <a:moveTo>
                  <a:pt x="4921594" y="2365486"/>
                </a:moveTo>
                <a:cubicBezTo>
                  <a:pt x="4931032" y="2365486"/>
                  <a:pt x="4938660" y="2373110"/>
                  <a:pt x="4938660" y="2382552"/>
                </a:cubicBezTo>
                <a:cubicBezTo>
                  <a:pt x="4938660" y="2391990"/>
                  <a:pt x="4931032" y="2399614"/>
                  <a:pt x="4921594" y="2399614"/>
                </a:cubicBezTo>
                <a:cubicBezTo>
                  <a:pt x="4912152" y="2399614"/>
                  <a:pt x="4904528" y="2391990"/>
                  <a:pt x="4904528" y="2382552"/>
                </a:cubicBezTo>
                <a:cubicBezTo>
                  <a:pt x="4904528" y="2373110"/>
                  <a:pt x="4912152" y="2365486"/>
                  <a:pt x="4921594" y="2365486"/>
                </a:cubicBezTo>
                <a:close/>
                <a:moveTo>
                  <a:pt x="5075541" y="2363309"/>
                </a:moveTo>
                <a:cubicBezTo>
                  <a:pt x="5086070" y="2363309"/>
                  <a:pt x="5094784" y="2372024"/>
                  <a:pt x="5094784" y="2382552"/>
                </a:cubicBezTo>
                <a:cubicBezTo>
                  <a:pt x="5094784" y="2393084"/>
                  <a:pt x="5086070" y="2401799"/>
                  <a:pt x="5075541" y="2401799"/>
                </a:cubicBezTo>
                <a:cubicBezTo>
                  <a:pt x="5065012" y="2401799"/>
                  <a:pt x="5056298" y="2393084"/>
                  <a:pt x="5056298" y="2382552"/>
                </a:cubicBezTo>
                <a:cubicBezTo>
                  <a:pt x="5056298" y="2372024"/>
                  <a:pt x="5065012" y="2363309"/>
                  <a:pt x="5075541" y="2363309"/>
                </a:cubicBezTo>
                <a:close/>
                <a:moveTo>
                  <a:pt x="5229126" y="2361129"/>
                </a:moveTo>
                <a:cubicBezTo>
                  <a:pt x="5241108" y="2361129"/>
                  <a:pt x="5250546" y="2370571"/>
                  <a:pt x="5250546" y="2382552"/>
                </a:cubicBezTo>
                <a:cubicBezTo>
                  <a:pt x="5250546" y="2394533"/>
                  <a:pt x="5240745" y="2403975"/>
                  <a:pt x="5229126" y="2403975"/>
                </a:cubicBezTo>
                <a:cubicBezTo>
                  <a:pt x="5217146" y="2403975"/>
                  <a:pt x="5207704" y="2394533"/>
                  <a:pt x="5207704" y="2382552"/>
                </a:cubicBezTo>
                <a:cubicBezTo>
                  <a:pt x="5207704" y="2370571"/>
                  <a:pt x="5217146" y="2361129"/>
                  <a:pt x="5229126" y="2361129"/>
                </a:cubicBezTo>
                <a:close/>
                <a:moveTo>
                  <a:pt x="5383074" y="2359677"/>
                </a:moveTo>
                <a:cubicBezTo>
                  <a:pt x="5395706" y="2359677"/>
                  <a:pt x="5405946" y="2369919"/>
                  <a:pt x="5405946" y="2382552"/>
                </a:cubicBezTo>
                <a:cubicBezTo>
                  <a:pt x="5405946" y="2395185"/>
                  <a:pt x="5395706" y="2405427"/>
                  <a:pt x="5383074" y="2405427"/>
                </a:cubicBezTo>
                <a:cubicBezTo>
                  <a:pt x="5370441" y="2405427"/>
                  <a:pt x="5360198" y="2395185"/>
                  <a:pt x="5360198" y="2382552"/>
                </a:cubicBezTo>
                <a:cubicBezTo>
                  <a:pt x="5360198" y="2369919"/>
                  <a:pt x="5370441" y="2359677"/>
                  <a:pt x="5383074" y="2359677"/>
                </a:cubicBezTo>
                <a:close/>
                <a:moveTo>
                  <a:pt x="5536656" y="2357500"/>
                </a:moveTo>
                <a:cubicBezTo>
                  <a:pt x="5550492" y="2357500"/>
                  <a:pt x="5561711" y="2368715"/>
                  <a:pt x="5561711" y="2382552"/>
                </a:cubicBezTo>
                <a:cubicBezTo>
                  <a:pt x="5561711" y="2396389"/>
                  <a:pt x="5550492" y="2407608"/>
                  <a:pt x="5536656" y="2407608"/>
                </a:cubicBezTo>
                <a:cubicBezTo>
                  <a:pt x="5522818" y="2407608"/>
                  <a:pt x="5511604" y="2396389"/>
                  <a:pt x="5511604" y="2382552"/>
                </a:cubicBezTo>
                <a:cubicBezTo>
                  <a:pt x="5511604" y="2368719"/>
                  <a:pt x="5522818" y="2357500"/>
                  <a:pt x="5536656" y="2357500"/>
                </a:cubicBezTo>
                <a:close/>
                <a:moveTo>
                  <a:pt x="5690606" y="2355320"/>
                </a:moveTo>
                <a:cubicBezTo>
                  <a:pt x="5705492" y="2355320"/>
                  <a:pt x="5717838" y="2367663"/>
                  <a:pt x="5717838" y="2382552"/>
                </a:cubicBezTo>
                <a:cubicBezTo>
                  <a:pt x="5717838" y="2397437"/>
                  <a:pt x="5705854" y="2409784"/>
                  <a:pt x="5690606" y="2409784"/>
                </a:cubicBezTo>
                <a:cubicBezTo>
                  <a:pt x="5675717" y="2409784"/>
                  <a:pt x="5663374" y="2397437"/>
                  <a:pt x="5663374" y="2382552"/>
                </a:cubicBezTo>
                <a:cubicBezTo>
                  <a:pt x="5663374" y="2367663"/>
                  <a:pt x="5675717" y="2355320"/>
                  <a:pt x="5690606" y="2355320"/>
                </a:cubicBezTo>
                <a:close/>
                <a:moveTo>
                  <a:pt x="5844554" y="2352781"/>
                </a:moveTo>
                <a:cubicBezTo>
                  <a:pt x="5860994" y="2352781"/>
                  <a:pt x="5874325" y="2366111"/>
                  <a:pt x="5874325" y="2382556"/>
                </a:cubicBezTo>
                <a:cubicBezTo>
                  <a:pt x="5874325" y="2398997"/>
                  <a:pt x="5860994" y="2412327"/>
                  <a:pt x="5844554" y="2412327"/>
                </a:cubicBezTo>
                <a:cubicBezTo>
                  <a:pt x="5828110" y="2412327"/>
                  <a:pt x="5814779" y="2398997"/>
                  <a:pt x="5814779" y="2382556"/>
                </a:cubicBezTo>
                <a:cubicBezTo>
                  <a:pt x="5814779" y="2366111"/>
                  <a:pt x="5828110" y="2352781"/>
                  <a:pt x="5844554" y="2352781"/>
                </a:cubicBezTo>
                <a:close/>
                <a:moveTo>
                  <a:pt x="5998139" y="2350601"/>
                </a:moveTo>
                <a:cubicBezTo>
                  <a:pt x="6015784" y="2350601"/>
                  <a:pt x="6030090" y="2364907"/>
                  <a:pt x="6030090" y="2382552"/>
                </a:cubicBezTo>
                <a:cubicBezTo>
                  <a:pt x="6030090" y="2400197"/>
                  <a:pt x="6015784" y="2414503"/>
                  <a:pt x="5998139" y="2414503"/>
                </a:cubicBezTo>
                <a:cubicBezTo>
                  <a:pt x="5980490" y="2414503"/>
                  <a:pt x="5966188" y="2400197"/>
                  <a:pt x="5966188" y="2382552"/>
                </a:cubicBezTo>
                <a:cubicBezTo>
                  <a:pt x="5966188" y="2364907"/>
                  <a:pt x="5980490" y="2350601"/>
                  <a:pt x="5998139" y="2350601"/>
                </a:cubicBezTo>
                <a:close/>
                <a:moveTo>
                  <a:pt x="6152086" y="2348786"/>
                </a:moveTo>
                <a:cubicBezTo>
                  <a:pt x="6170734" y="2348786"/>
                  <a:pt x="6185852" y="2363904"/>
                  <a:pt x="6185852" y="2382552"/>
                </a:cubicBezTo>
                <a:cubicBezTo>
                  <a:pt x="6185852" y="2401204"/>
                  <a:pt x="6170734" y="2416322"/>
                  <a:pt x="6152086" y="2416322"/>
                </a:cubicBezTo>
                <a:cubicBezTo>
                  <a:pt x="6133435" y="2416322"/>
                  <a:pt x="6118317" y="2401204"/>
                  <a:pt x="6118317" y="2382552"/>
                </a:cubicBezTo>
                <a:cubicBezTo>
                  <a:pt x="6118317" y="2363904"/>
                  <a:pt x="6133435" y="2348786"/>
                  <a:pt x="6152086" y="2348786"/>
                </a:cubicBezTo>
                <a:close/>
                <a:moveTo>
                  <a:pt x="6305668" y="2346244"/>
                </a:moveTo>
                <a:cubicBezTo>
                  <a:pt x="6325638" y="2346244"/>
                  <a:pt x="6341976" y="2362581"/>
                  <a:pt x="6341976" y="2382552"/>
                </a:cubicBezTo>
                <a:cubicBezTo>
                  <a:pt x="6341976" y="2402523"/>
                  <a:pt x="6325638" y="2418860"/>
                  <a:pt x="6305668" y="2418860"/>
                </a:cubicBezTo>
                <a:cubicBezTo>
                  <a:pt x="6285698" y="2418860"/>
                  <a:pt x="6269360" y="2402523"/>
                  <a:pt x="6269360" y="2382552"/>
                </a:cubicBezTo>
                <a:cubicBezTo>
                  <a:pt x="6269360" y="2362581"/>
                  <a:pt x="6285698" y="2346244"/>
                  <a:pt x="6305668" y="2346244"/>
                </a:cubicBezTo>
                <a:close/>
                <a:moveTo>
                  <a:pt x="6459619" y="2343701"/>
                </a:moveTo>
                <a:cubicBezTo>
                  <a:pt x="6481038" y="2343701"/>
                  <a:pt x="6498470" y="2361129"/>
                  <a:pt x="6498470" y="2382552"/>
                </a:cubicBezTo>
                <a:cubicBezTo>
                  <a:pt x="6498470" y="2403971"/>
                  <a:pt x="6481038" y="2421399"/>
                  <a:pt x="6459619" y="2421399"/>
                </a:cubicBezTo>
                <a:cubicBezTo>
                  <a:pt x="6438196" y="2421399"/>
                  <a:pt x="6420768" y="2403971"/>
                  <a:pt x="6420768" y="2382552"/>
                </a:cubicBezTo>
                <a:cubicBezTo>
                  <a:pt x="6420768" y="2361129"/>
                  <a:pt x="6438196" y="2343701"/>
                  <a:pt x="6459619" y="2343701"/>
                </a:cubicBezTo>
                <a:close/>
                <a:moveTo>
                  <a:pt x="6613200" y="2341524"/>
                </a:moveTo>
                <a:cubicBezTo>
                  <a:pt x="6636076" y="2341524"/>
                  <a:pt x="6654232" y="2359681"/>
                  <a:pt x="6654232" y="2382552"/>
                </a:cubicBezTo>
                <a:cubicBezTo>
                  <a:pt x="6654232" y="2405427"/>
                  <a:pt x="6635714" y="2423583"/>
                  <a:pt x="6613200" y="2423583"/>
                </a:cubicBezTo>
                <a:cubicBezTo>
                  <a:pt x="6590330" y="2423583"/>
                  <a:pt x="6572173" y="2405427"/>
                  <a:pt x="6572173" y="2382552"/>
                </a:cubicBezTo>
                <a:cubicBezTo>
                  <a:pt x="6572173" y="2359681"/>
                  <a:pt x="6590330" y="2341524"/>
                  <a:pt x="6613200" y="2341524"/>
                </a:cubicBezTo>
                <a:close/>
                <a:moveTo>
                  <a:pt x="2922458" y="2228605"/>
                </a:moveTo>
                <a:cubicBezTo>
                  <a:pt x="2922820" y="2228605"/>
                  <a:pt x="2922820" y="2228605"/>
                  <a:pt x="2922820" y="2228967"/>
                </a:cubicBezTo>
                <a:cubicBezTo>
                  <a:pt x="2922820" y="2229333"/>
                  <a:pt x="2922458" y="2229333"/>
                  <a:pt x="2922458" y="2229333"/>
                </a:cubicBezTo>
                <a:cubicBezTo>
                  <a:pt x="2922096" y="2229333"/>
                  <a:pt x="2922096" y="2229333"/>
                  <a:pt x="2922096" y="2228967"/>
                </a:cubicBezTo>
                <a:cubicBezTo>
                  <a:pt x="2922096" y="2228605"/>
                  <a:pt x="2922096" y="2228605"/>
                  <a:pt x="2922458" y="2228605"/>
                </a:cubicBezTo>
                <a:close/>
                <a:moveTo>
                  <a:pt x="2461340" y="2228605"/>
                </a:moveTo>
                <a:cubicBezTo>
                  <a:pt x="2461702" y="2228605"/>
                  <a:pt x="2461702" y="2228605"/>
                  <a:pt x="2461702" y="2228967"/>
                </a:cubicBezTo>
                <a:cubicBezTo>
                  <a:pt x="2461702" y="2229333"/>
                  <a:pt x="2461340" y="2229333"/>
                  <a:pt x="2461340" y="2229333"/>
                </a:cubicBezTo>
                <a:cubicBezTo>
                  <a:pt x="2460978" y="2229333"/>
                  <a:pt x="2460978" y="2229333"/>
                  <a:pt x="2460978" y="2228967"/>
                </a:cubicBezTo>
                <a:cubicBezTo>
                  <a:pt x="2460978" y="2228605"/>
                  <a:pt x="2460978" y="2228605"/>
                  <a:pt x="2461340" y="2228605"/>
                </a:cubicBezTo>
                <a:close/>
                <a:moveTo>
                  <a:pt x="2307393" y="2228605"/>
                </a:moveTo>
                <a:cubicBezTo>
                  <a:pt x="2307755" y="2228605"/>
                  <a:pt x="2307755" y="2228605"/>
                  <a:pt x="2307755" y="2228967"/>
                </a:cubicBezTo>
                <a:cubicBezTo>
                  <a:pt x="2307755" y="2229333"/>
                  <a:pt x="2307393" y="2229333"/>
                  <a:pt x="2307393" y="2229333"/>
                </a:cubicBezTo>
                <a:cubicBezTo>
                  <a:pt x="2307031" y="2229333"/>
                  <a:pt x="2307031" y="2229333"/>
                  <a:pt x="2307031" y="2228967"/>
                </a:cubicBezTo>
                <a:cubicBezTo>
                  <a:pt x="2307031" y="2228605"/>
                  <a:pt x="2307031" y="2228605"/>
                  <a:pt x="2307393" y="2228605"/>
                </a:cubicBezTo>
                <a:close/>
                <a:moveTo>
                  <a:pt x="2153811" y="2228243"/>
                </a:moveTo>
                <a:cubicBezTo>
                  <a:pt x="2154174" y="2228243"/>
                  <a:pt x="2154536" y="2228605"/>
                  <a:pt x="2154536" y="2228971"/>
                </a:cubicBezTo>
                <a:cubicBezTo>
                  <a:pt x="2154536" y="2229333"/>
                  <a:pt x="2153811" y="2229695"/>
                  <a:pt x="2153811" y="2229695"/>
                </a:cubicBezTo>
                <a:cubicBezTo>
                  <a:pt x="2153445" y="2229695"/>
                  <a:pt x="2153083" y="2229333"/>
                  <a:pt x="2153083" y="2228971"/>
                </a:cubicBezTo>
                <a:cubicBezTo>
                  <a:pt x="2153083" y="2228605"/>
                  <a:pt x="2153445" y="2228243"/>
                  <a:pt x="2153811" y="2228243"/>
                </a:cubicBezTo>
                <a:close/>
                <a:moveTo>
                  <a:pt x="3076406" y="2227152"/>
                </a:moveTo>
                <a:cubicBezTo>
                  <a:pt x="3077130" y="2227152"/>
                  <a:pt x="3077858" y="2227880"/>
                  <a:pt x="3077858" y="2228605"/>
                </a:cubicBezTo>
                <a:cubicBezTo>
                  <a:pt x="3077858" y="2229333"/>
                  <a:pt x="3076406" y="2230057"/>
                  <a:pt x="3076406" y="2230057"/>
                </a:cubicBezTo>
                <a:cubicBezTo>
                  <a:pt x="3075677" y="2230057"/>
                  <a:pt x="3074953" y="2229333"/>
                  <a:pt x="3074953" y="2228605"/>
                </a:cubicBezTo>
                <a:cubicBezTo>
                  <a:pt x="3074953" y="2227880"/>
                  <a:pt x="3075677" y="2227152"/>
                  <a:pt x="3076406" y="2227152"/>
                </a:cubicBezTo>
                <a:close/>
                <a:moveTo>
                  <a:pt x="3230353" y="2226428"/>
                </a:moveTo>
                <a:cubicBezTo>
                  <a:pt x="3231554" y="2226428"/>
                  <a:pt x="3232530" y="2227404"/>
                  <a:pt x="3232530" y="2228608"/>
                </a:cubicBezTo>
                <a:cubicBezTo>
                  <a:pt x="3232530" y="2229809"/>
                  <a:pt x="3231554" y="2230785"/>
                  <a:pt x="3230353" y="2230785"/>
                </a:cubicBezTo>
                <a:cubicBezTo>
                  <a:pt x="3229148" y="2230785"/>
                  <a:pt x="3228172" y="2229809"/>
                  <a:pt x="3228172" y="2228608"/>
                </a:cubicBezTo>
                <a:cubicBezTo>
                  <a:pt x="3228172" y="2227404"/>
                  <a:pt x="3229148" y="2226428"/>
                  <a:pt x="3230353" y="2226428"/>
                </a:cubicBezTo>
                <a:close/>
                <a:moveTo>
                  <a:pt x="3383934" y="2225700"/>
                </a:moveTo>
                <a:cubicBezTo>
                  <a:pt x="3385752" y="2225700"/>
                  <a:pt x="3387205" y="2227152"/>
                  <a:pt x="3387205" y="2228967"/>
                </a:cubicBezTo>
                <a:cubicBezTo>
                  <a:pt x="3387205" y="2230781"/>
                  <a:pt x="3385752" y="2232238"/>
                  <a:pt x="3383934" y="2232238"/>
                </a:cubicBezTo>
                <a:cubicBezTo>
                  <a:pt x="3382120" y="2232238"/>
                  <a:pt x="3380668" y="2230781"/>
                  <a:pt x="3380668" y="2228967"/>
                </a:cubicBezTo>
                <a:cubicBezTo>
                  <a:pt x="3380668" y="2227152"/>
                  <a:pt x="3382120" y="2225700"/>
                  <a:pt x="3383934" y="2225700"/>
                </a:cubicBezTo>
                <a:close/>
                <a:moveTo>
                  <a:pt x="3537886" y="2224248"/>
                </a:moveTo>
                <a:cubicBezTo>
                  <a:pt x="3540428" y="2224248"/>
                  <a:pt x="3542242" y="2226062"/>
                  <a:pt x="3542242" y="2228605"/>
                </a:cubicBezTo>
                <a:cubicBezTo>
                  <a:pt x="3542242" y="2231147"/>
                  <a:pt x="3540062" y="2232962"/>
                  <a:pt x="3537886" y="2232962"/>
                </a:cubicBezTo>
                <a:cubicBezTo>
                  <a:pt x="3535343" y="2232962"/>
                  <a:pt x="3533528" y="2231147"/>
                  <a:pt x="3533528" y="2228605"/>
                </a:cubicBezTo>
                <a:cubicBezTo>
                  <a:pt x="3533528" y="2226062"/>
                  <a:pt x="3535343" y="2224248"/>
                  <a:pt x="3537886" y="2224248"/>
                </a:cubicBezTo>
                <a:close/>
                <a:moveTo>
                  <a:pt x="3691467" y="2222795"/>
                </a:moveTo>
                <a:cubicBezTo>
                  <a:pt x="3694676" y="2222795"/>
                  <a:pt x="3697276" y="2225395"/>
                  <a:pt x="3697276" y="2228605"/>
                </a:cubicBezTo>
                <a:cubicBezTo>
                  <a:pt x="3697276" y="2231814"/>
                  <a:pt x="3694676" y="2234414"/>
                  <a:pt x="3691467" y="2234414"/>
                </a:cubicBezTo>
                <a:cubicBezTo>
                  <a:pt x="3688257" y="2234414"/>
                  <a:pt x="3685658" y="2231814"/>
                  <a:pt x="3685658" y="2228605"/>
                </a:cubicBezTo>
                <a:cubicBezTo>
                  <a:pt x="3685658" y="2225395"/>
                  <a:pt x="3688257" y="2222795"/>
                  <a:pt x="3691467" y="2222795"/>
                </a:cubicBezTo>
                <a:close/>
                <a:moveTo>
                  <a:pt x="3845414" y="2221343"/>
                </a:moveTo>
                <a:cubicBezTo>
                  <a:pt x="3849409" y="2221343"/>
                  <a:pt x="3852676" y="2224610"/>
                  <a:pt x="3852676" y="2228605"/>
                </a:cubicBezTo>
                <a:cubicBezTo>
                  <a:pt x="3852676" y="2232599"/>
                  <a:pt x="3849409" y="2235866"/>
                  <a:pt x="3845414" y="2235866"/>
                </a:cubicBezTo>
                <a:cubicBezTo>
                  <a:pt x="3841420" y="2235866"/>
                  <a:pt x="3838153" y="2232599"/>
                  <a:pt x="3838153" y="2228605"/>
                </a:cubicBezTo>
                <a:cubicBezTo>
                  <a:pt x="3838153" y="2224610"/>
                  <a:pt x="3841420" y="2221343"/>
                  <a:pt x="3845414" y="2221343"/>
                </a:cubicBezTo>
                <a:close/>
                <a:moveTo>
                  <a:pt x="3999000" y="2219528"/>
                </a:moveTo>
                <a:cubicBezTo>
                  <a:pt x="4004085" y="2219528"/>
                  <a:pt x="4008080" y="2223523"/>
                  <a:pt x="4008080" y="2228605"/>
                </a:cubicBezTo>
                <a:cubicBezTo>
                  <a:pt x="4008080" y="2233690"/>
                  <a:pt x="4004085" y="2237685"/>
                  <a:pt x="3999000" y="2237685"/>
                </a:cubicBezTo>
                <a:cubicBezTo>
                  <a:pt x="3993918" y="2237685"/>
                  <a:pt x="3989924" y="2233690"/>
                  <a:pt x="3989924" y="2228605"/>
                </a:cubicBezTo>
                <a:cubicBezTo>
                  <a:pt x="3989924" y="2223523"/>
                  <a:pt x="3993918" y="2219528"/>
                  <a:pt x="3999000" y="2219528"/>
                </a:cubicBezTo>
                <a:close/>
                <a:moveTo>
                  <a:pt x="4152947" y="2218800"/>
                </a:moveTo>
                <a:cubicBezTo>
                  <a:pt x="4158394" y="2218800"/>
                  <a:pt x="4163114" y="2223520"/>
                  <a:pt x="4163114" y="2228967"/>
                </a:cubicBezTo>
                <a:cubicBezTo>
                  <a:pt x="4163114" y="2234414"/>
                  <a:pt x="4158756" y="2239133"/>
                  <a:pt x="4152947" y="2239133"/>
                </a:cubicBezTo>
                <a:cubicBezTo>
                  <a:pt x="4147500" y="2239133"/>
                  <a:pt x="4142780" y="2234414"/>
                  <a:pt x="4142780" y="2228967"/>
                </a:cubicBezTo>
                <a:cubicBezTo>
                  <a:pt x="4142780" y="2223520"/>
                  <a:pt x="4147500" y="2218800"/>
                  <a:pt x="4152947" y="2218800"/>
                </a:cubicBezTo>
                <a:close/>
                <a:moveTo>
                  <a:pt x="4306532" y="2216624"/>
                </a:moveTo>
                <a:cubicBezTo>
                  <a:pt x="4313070" y="2216624"/>
                  <a:pt x="4318517" y="2222071"/>
                  <a:pt x="4318517" y="2228605"/>
                </a:cubicBezTo>
                <a:cubicBezTo>
                  <a:pt x="4318517" y="2235142"/>
                  <a:pt x="4313070" y="2240585"/>
                  <a:pt x="4306532" y="2240585"/>
                </a:cubicBezTo>
                <a:cubicBezTo>
                  <a:pt x="4299998" y="2240585"/>
                  <a:pt x="4294552" y="2235142"/>
                  <a:pt x="4294552" y="2228605"/>
                </a:cubicBezTo>
                <a:cubicBezTo>
                  <a:pt x="4294552" y="2222071"/>
                  <a:pt x="4299998" y="2216624"/>
                  <a:pt x="4306532" y="2216624"/>
                </a:cubicBezTo>
                <a:close/>
                <a:moveTo>
                  <a:pt x="4460480" y="2214809"/>
                </a:moveTo>
                <a:cubicBezTo>
                  <a:pt x="4468100" y="2214809"/>
                  <a:pt x="4474275" y="2220989"/>
                  <a:pt x="4474275" y="2228608"/>
                </a:cubicBezTo>
                <a:cubicBezTo>
                  <a:pt x="4474275" y="2236229"/>
                  <a:pt x="4468100" y="2242404"/>
                  <a:pt x="4460480" y="2242404"/>
                </a:cubicBezTo>
                <a:cubicBezTo>
                  <a:pt x="4452860" y="2242404"/>
                  <a:pt x="4446680" y="2236229"/>
                  <a:pt x="4446680" y="2228608"/>
                </a:cubicBezTo>
                <a:cubicBezTo>
                  <a:pt x="4446680" y="2220989"/>
                  <a:pt x="4452860" y="2214809"/>
                  <a:pt x="4460480" y="2214809"/>
                </a:cubicBezTo>
                <a:close/>
                <a:moveTo>
                  <a:pt x="4614061" y="2213357"/>
                </a:moveTo>
                <a:cubicBezTo>
                  <a:pt x="4622486" y="2213357"/>
                  <a:pt x="4629312" y="2220184"/>
                  <a:pt x="4629312" y="2228608"/>
                </a:cubicBezTo>
                <a:cubicBezTo>
                  <a:pt x="4629312" y="2237029"/>
                  <a:pt x="4622486" y="2243856"/>
                  <a:pt x="4614061" y="2243856"/>
                </a:cubicBezTo>
                <a:cubicBezTo>
                  <a:pt x="4605640" y="2243856"/>
                  <a:pt x="4598814" y="2237029"/>
                  <a:pt x="4598814" y="2228608"/>
                </a:cubicBezTo>
                <a:cubicBezTo>
                  <a:pt x="4598814" y="2220184"/>
                  <a:pt x="4605640" y="2213357"/>
                  <a:pt x="4614061" y="2213357"/>
                </a:cubicBezTo>
                <a:close/>
                <a:moveTo>
                  <a:pt x="4768012" y="2211539"/>
                </a:moveTo>
                <a:cubicBezTo>
                  <a:pt x="4777450" y="2211539"/>
                  <a:pt x="4785078" y="2219163"/>
                  <a:pt x="4785078" y="2228605"/>
                </a:cubicBezTo>
                <a:cubicBezTo>
                  <a:pt x="4785078" y="2238043"/>
                  <a:pt x="4777450" y="2245667"/>
                  <a:pt x="4768012" y="2245667"/>
                </a:cubicBezTo>
                <a:cubicBezTo>
                  <a:pt x="4758570" y="2245667"/>
                  <a:pt x="4750946" y="2238043"/>
                  <a:pt x="4750946" y="2228605"/>
                </a:cubicBezTo>
                <a:cubicBezTo>
                  <a:pt x="4750946" y="2219163"/>
                  <a:pt x="4758570" y="2211539"/>
                  <a:pt x="4768012" y="2211539"/>
                </a:cubicBezTo>
                <a:close/>
                <a:moveTo>
                  <a:pt x="4921594" y="2209362"/>
                </a:moveTo>
                <a:cubicBezTo>
                  <a:pt x="4932126" y="2209362"/>
                  <a:pt x="4940836" y="2218076"/>
                  <a:pt x="4940836" y="2228605"/>
                </a:cubicBezTo>
                <a:cubicBezTo>
                  <a:pt x="4940836" y="2239133"/>
                  <a:pt x="4932126" y="2247851"/>
                  <a:pt x="4921594" y="2247851"/>
                </a:cubicBezTo>
                <a:cubicBezTo>
                  <a:pt x="4911066" y="2247851"/>
                  <a:pt x="4902352" y="2239133"/>
                  <a:pt x="4902352" y="2228605"/>
                </a:cubicBezTo>
                <a:cubicBezTo>
                  <a:pt x="4902352" y="2218076"/>
                  <a:pt x="4911066" y="2209362"/>
                  <a:pt x="4921594" y="2209362"/>
                </a:cubicBezTo>
                <a:close/>
                <a:moveTo>
                  <a:pt x="5075541" y="2207182"/>
                </a:moveTo>
                <a:cubicBezTo>
                  <a:pt x="5087522" y="2207182"/>
                  <a:pt x="5096964" y="2216620"/>
                  <a:pt x="5096964" y="2228605"/>
                </a:cubicBezTo>
                <a:cubicBezTo>
                  <a:pt x="5096964" y="2240585"/>
                  <a:pt x="5087160" y="2250027"/>
                  <a:pt x="5075541" y="2250027"/>
                </a:cubicBezTo>
                <a:cubicBezTo>
                  <a:pt x="5063560" y="2250027"/>
                  <a:pt x="5054118" y="2240585"/>
                  <a:pt x="5054118" y="2228605"/>
                </a:cubicBezTo>
                <a:cubicBezTo>
                  <a:pt x="5054118" y="2216620"/>
                  <a:pt x="5063560" y="2207182"/>
                  <a:pt x="5075541" y="2207182"/>
                </a:cubicBezTo>
                <a:close/>
                <a:moveTo>
                  <a:pt x="5229126" y="2205729"/>
                </a:moveTo>
                <a:cubicBezTo>
                  <a:pt x="5241759" y="2205729"/>
                  <a:pt x="5251998" y="2215972"/>
                  <a:pt x="5251998" y="2228605"/>
                </a:cubicBezTo>
                <a:cubicBezTo>
                  <a:pt x="5251998" y="2241237"/>
                  <a:pt x="5241759" y="2251480"/>
                  <a:pt x="5229126" y="2251480"/>
                </a:cubicBezTo>
                <a:cubicBezTo>
                  <a:pt x="5216494" y="2251480"/>
                  <a:pt x="5206251" y="2241237"/>
                  <a:pt x="5206251" y="2228605"/>
                </a:cubicBezTo>
                <a:cubicBezTo>
                  <a:pt x="5206251" y="2215972"/>
                  <a:pt x="5216494" y="2205729"/>
                  <a:pt x="5229126" y="2205729"/>
                </a:cubicBezTo>
                <a:close/>
                <a:moveTo>
                  <a:pt x="5383074" y="2203915"/>
                </a:moveTo>
                <a:cubicBezTo>
                  <a:pt x="5396873" y="2203915"/>
                  <a:pt x="5408126" y="2215172"/>
                  <a:pt x="5408126" y="2228967"/>
                </a:cubicBezTo>
                <a:cubicBezTo>
                  <a:pt x="5408126" y="2242766"/>
                  <a:pt x="5396873" y="2254023"/>
                  <a:pt x="5383074" y="2254023"/>
                </a:cubicBezTo>
                <a:cubicBezTo>
                  <a:pt x="5369278" y="2254023"/>
                  <a:pt x="5358022" y="2242766"/>
                  <a:pt x="5358022" y="2228967"/>
                </a:cubicBezTo>
                <a:cubicBezTo>
                  <a:pt x="5358022" y="2215172"/>
                  <a:pt x="5369278" y="2203915"/>
                  <a:pt x="5383074" y="2203915"/>
                </a:cubicBezTo>
                <a:close/>
                <a:moveTo>
                  <a:pt x="5536659" y="2201734"/>
                </a:moveTo>
                <a:cubicBezTo>
                  <a:pt x="5551544" y="2201734"/>
                  <a:pt x="5563892" y="2214081"/>
                  <a:pt x="5563892" y="2228967"/>
                </a:cubicBezTo>
                <a:cubicBezTo>
                  <a:pt x="5563892" y="2243852"/>
                  <a:pt x="5551906" y="2256199"/>
                  <a:pt x="5536659" y="2256199"/>
                </a:cubicBezTo>
                <a:cubicBezTo>
                  <a:pt x="5521770" y="2256199"/>
                  <a:pt x="5509427" y="2243852"/>
                  <a:pt x="5509427" y="2228967"/>
                </a:cubicBezTo>
                <a:cubicBezTo>
                  <a:pt x="5509427" y="2214081"/>
                  <a:pt x="5521770" y="2201734"/>
                  <a:pt x="5536659" y="2201734"/>
                </a:cubicBezTo>
                <a:close/>
                <a:moveTo>
                  <a:pt x="5690606" y="2198834"/>
                </a:moveTo>
                <a:cubicBezTo>
                  <a:pt x="5707047" y="2198834"/>
                  <a:pt x="5720378" y="2212164"/>
                  <a:pt x="5720378" y="2228608"/>
                </a:cubicBezTo>
                <a:cubicBezTo>
                  <a:pt x="5720378" y="2245049"/>
                  <a:pt x="5707047" y="2258379"/>
                  <a:pt x="5690606" y="2258379"/>
                </a:cubicBezTo>
                <a:cubicBezTo>
                  <a:pt x="5674162" y="2258379"/>
                  <a:pt x="5660832" y="2245049"/>
                  <a:pt x="5660832" y="2228608"/>
                </a:cubicBezTo>
                <a:cubicBezTo>
                  <a:pt x="5660832" y="2212164"/>
                  <a:pt x="5674162" y="2198834"/>
                  <a:pt x="5690606" y="2198834"/>
                </a:cubicBezTo>
                <a:close/>
                <a:moveTo>
                  <a:pt x="5844554" y="2197015"/>
                </a:moveTo>
                <a:cubicBezTo>
                  <a:pt x="5862344" y="2197015"/>
                  <a:pt x="5876506" y="2211177"/>
                  <a:pt x="5876506" y="2228967"/>
                </a:cubicBezTo>
                <a:cubicBezTo>
                  <a:pt x="5876506" y="2246757"/>
                  <a:pt x="5862344" y="2260918"/>
                  <a:pt x="5844554" y="2260918"/>
                </a:cubicBezTo>
                <a:cubicBezTo>
                  <a:pt x="5826764" y="2260918"/>
                  <a:pt x="5812602" y="2246757"/>
                  <a:pt x="5812602" y="2228967"/>
                </a:cubicBezTo>
                <a:cubicBezTo>
                  <a:pt x="5812602" y="2211177"/>
                  <a:pt x="5826764" y="2197015"/>
                  <a:pt x="5844554" y="2197015"/>
                </a:cubicBezTo>
                <a:close/>
                <a:moveTo>
                  <a:pt x="5998136" y="2194839"/>
                </a:moveTo>
                <a:cubicBezTo>
                  <a:pt x="6016783" y="2194839"/>
                  <a:pt x="6031901" y="2209957"/>
                  <a:pt x="6031901" y="2228605"/>
                </a:cubicBezTo>
                <a:cubicBezTo>
                  <a:pt x="6031901" y="2247256"/>
                  <a:pt x="6016783" y="2262374"/>
                  <a:pt x="5998136" y="2262374"/>
                </a:cubicBezTo>
                <a:cubicBezTo>
                  <a:pt x="5979488" y="2262374"/>
                  <a:pt x="5964370" y="2247256"/>
                  <a:pt x="5964370" y="2228605"/>
                </a:cubicBezTo>
                <a:cubicBezTo>
                  <a:pt x="5964370" y="2209957"/>
                  <a:pt x="5979488" y="2194839"/>
                  <a:pt x="5998136" y="2194839"/>
                </a:cubicBezTo>
                <a:close/>
                <a:moveTo>
                  <a:pt x="6152083" y="2192296"/>
                </a:moveTo>
                <a:cubicBezTo>
                  <a:pt x="6172054" y="2192296"/>
                  <a:pt x="6188391" y="2208634"/>
                  <a:pt x="6188391" y="2228605"/>
                </a:cubicBezTo>
                <a:cubicBezTo>
                  <a:pt x="6188391" y="2248575"/>
                  <a:pt x="6172054" y="2264913"/>
                  <a:pt x="6152083" y="2264913"/>
                </a:cubicBezTo>
                <a:cubicBezTo>
                  <a:pt x="6132112" y="2264913"/>
                  <a:pt x="6115774" y="2248575"/>
                  <a:pt x="6115774" y="2228605"/>
                </a:cubicBezTo>
                <a:cubicBezTo>
                  <a:pt x="6115774" y="2208634"/>
                  <a:pt x="6132112" y="2192296"/>
                  <a:pt x="6152083" y="2192296"/>
                </a:cubicBezTo>
                <a:close/>
                <a:moveTo>
                  <a:pt x="6305672" y="2189754"/>
                </a:moveTo>
                <a:cubicBezTo>
                  <a:pt x="6327091" y="2189754"/>
                  <a:pt x="6344522" y="2207182"/>
                  <a:pt x="6344522" y="2228605"/>
                </a:cubicBezTo>
                <a:cubicBezTo>
                  <a:pt x="6344522" y="2250024"/>
                  <a:pt x="6327091" y="2267452"/>
                  <a:pt x="6305672" y="2267452"/>
                </a:cubicBezTo>
                <a:cubicBezTo>
                  <a:pt x="6284249" y="2267452"/>
                  <a:pt x="6266821" y="2250024"/>
                  <a:pt x="6266821" y="2228605"/>
                </a:cubicBezTo>
                <a:cubicBezTo>
                  <a:pt x="6266821" y="2207182"/>
                  <a:pt x="6284249" y="2189754"/>
                  <a:pt x="6305672" y="2189754"/>
                </a:cubicBezTo>
                <a:close/>
                <a:moveTo>
                  <a:pt x="6459616" y="2187577"/>
                </a:moveTo>
                <a:cubicBezTo>
                  <a:pt x="6482490" y="2187577"/>
                  <a:pt x="6500646" y="2205733"/>
                  <a:pt x="6500646" y="2228605"/>
                </a:cubicBezTo>
                <a:cubicBezTo>
                  <a:pt x="6500646" y="2251480"/>
                  <a:pt x="6482128" y="2269632"/>
                  <a:pt x="6459616" y="2269632"/>
                </a:cubicBezTo>
                <a:cubicBezTo>
                  <a:pt x="6436744" y="2269632"/>
                  <a:pt x="6418588" y="2251480"/>
                  <a:pt x="6418588" y="2228605"/>
                </a:cubicBezTo>
                <a:cubicBezTo>
                  <a:pt x="6418588" y="2205733"/>
                  <a:pt x="6436744" y="2187577"/>
                  <a:pt x="6459616" y="2187577"/>
                </a:cubicBezTo>
                <a:close/>
                <a:moveTo>
                  <a:pt x="6613200" y="2185035"/>
                </a:moveTo>
                <a:cubicBezTo>
                  <a:pt x="6637262" y="2185035"/>
                  <a:pt x="6656770" y="2204540"/>
                  <a:pt x="6656770" y="2228605"/>
                </a:cubicBezTo>
                <a:cubicBezTo>
                  <a:pt x="6656770" y="2252669"/>
                  <a:pt x="6637265" y="2272175"/>
                  <a:pt x="6613200" y="2272175"/>
                </a:cubicBezTo>
                <a:cubicBezTo>
                  <a:pt x="6589136" y="2272175"/>
                  <a:pt x="6569630" y="2252669"/>
                  <a:pt x="6569630" y="2228605"/>
                </a:cubicBezTo>
                <a:cubicBezTo>
                  <a:pt x="6569630" y="2204540"/>
                  <a:pt x="6589136" y="2185035"/>
                  <a:pt x="6613200" y="2185035"/>
                </a:cubicBezTo>
                <a:close/>
                <a:moveTo>
                  <a:pt x="2768873" y="2074657"/>
                </a:moveTo>
                <a:cubicBezTo>
                  <a:pt x="2769235" y="2074657"/>
                  <a:pt x="2769235" y="2074657"/>
                  <a:pt x="2769235" y="2075019"/>
                </a:cubicBezTo>
                <a:cubicBezTo>
                  <a:pt x="2769235" y="2075385"/>
                  <a:pt x="2768873" y="2075385"/>
                  <a:pt x="2768873" y="2075385"/>
                </a:cubicBezTo>
                <a:cubicBezTo>
                  <a:pt x="2768511" y="2075385"/>
                  <a:pt x="2768511" y="2075385"/>
                  <a:pt x="2768511" y="2075019"/>
                </a:cubicBezTo>
                <a:cubicBezTo>
                  <a:pt x="2768511" y="2074657"/>
                  <a:pt x="2768511" y="2074657"/>
                  <a:pt x="2768873" y="2074657"/>
                </a:cubicBezTo>
                <a:close/>
                <a:moveTo>
                  <a:pt x="2307393" y="2074657"/>
                </a:moveTo>
                <a:cubicBezTo>
                  <a:pt x="2307755" y="2074657"/>
                  <a:pt x="2307755" y="2074657"/>
                  <a:pt x="2307755" y="2075019"/>
                </a:cubicBezTo>
                <a:cubicBezTo>
                  <a:pt x="2307755" y="2075385"/>
                  <a:pt x="2307393" y="2075385"/>
                  <a:pt x="2307393" y="2075385"/>
                </a:cubicBezTo>
                <a:cubicBezTo>
                  <a:pt x="2307031" y="2075385"/>
                  <a:pt x="2307031" y="2075385"/>
                  <a:pt x="2307031" y="2075019"/>
                </a:cubicBezTo>
                <a:cubicBezTo>
                  <a:pt x="2307031" y="2074657"/>
                  <a:pt x="2307031" y="2074657"/>
                  <a:pt x="2307393" y="2074657"/>
                </a:cubicBezTo>
                <a:close/>
                <a:moveTo>
                  <a:pt x="2153808" y="2074657"/>
                </a:moveTo>
                <a:cubicBezTo>
                  <a:pt x="2154170" y="2074657"/>
                  <a:pt x="2154170" y="2074657"/>
                  <a:pt x="2154170" y="2075019"/>
                </a:cubicBezTo>
                <a:cubicBezTo>
                  <a:pt x="2154170" y="2075385"/>
                  <a:pt x="2153808" y="2075385"/>
                  <a:pt x="2153808" y="2075385"/>
                </a:cubicBezTo>
                <a:cubicBezTo>
                  <a:pt x="2153445" y="2075385"/>
                  <a:pt x="2153445" y="2075385"/>
                  <a:pt x="2153445" y="2075019"/>
                </a:cubicBezTo>
                <a:cubicBezTo>
                  <a:pt x="2153445" y="2074657"/>
                  <a:pt x="2153445" y="2074657"/>
                  <a:pt x="2153808" y="2074657"/>
                </a:cubicBezTo>
                <a:close/>
                <a:moveTo>
                  <a:pt x="1999864" y="2074295"/>
                </a:moveTo>
                <a:cubicBezTo>
                  <a:pt x="2000264" y="2074295"/>
                  <a:pt x="2000588" y="2074619"/>
                  <a:pt x="2000588" y="2075023"/>
                </a:cubicBezTo>
                <a:cubicBezTo>
                  <a:pt x="2000588" y="2075423"/>
                  <a:pt x="2000264" y="2075747"/>
                  <a:pt x="1999864" y="2075747"/>
                </a:cubicBezTo>
                <a:cubicBezTo>
                  <a:pt x="1999460" y="2075747"/>
                  <a:pt x="1999136" y="2075423"/>
                  <a:pt x="1999136" y="2075023"/>
                </a:cubicBezTo>
                <a:cubicBezTo>
                  <a:pt x="1999136" y="2074619"/>
                  <a:pt x="1999460" y="2074295"/>
                  <a:pt x="1999864" y="2074295"/>
                </a:cubicBezTo>
                <a:close/>
                <a:moveTo>
                  <a:pt x="2922458" y="2073205"/>
                </a:moveTo>
                <a:cubicBezTo>
                  <a:pt x="2923186" y="2073205"/>
                  <a:pt x="2923910" y="2073933"/>
                  <a:pt x="2923910" y="2074657"/>
                </a:cubicBezTo>
                <a:cubicBezTo>
                  <a:pt x="2923910" y="2075385"/>
                  <a:pt x="2922458" y="2076110"/>
                  <a:pt x="2922458" y="2076110"/>
                </a:cubicBezTo>
                <a:cubicBezTo>
                  <a:pt x="2921734" y="2076110"/>
                  <a:pt x="2921006" y="2075385"/>
                  <a:pt x="2921006" y="2074657"/>
                </a:cubicBezTo>
                <a:cubicBezTo>
                  <a:pt x="2921006" y="2073933"/>
                  <a:pt x="2921734" y="2073205"/>
                  <a:pt x="2922458" y="2073205"/>
                </a:cubicBezTo>
                <a:close/>
                <a:moveTo>
                  <a:pt x="3076406" y="2072843"/>
                </a:moveTo>
                <a:cubicBezTo>
                  <a:pt x="3077496" y="2072843"/>
                  <a:pt x="3078582" y="2073933"/>
                  <a:pt x="3078582" y="2075023"/>
                </a:cubicBezTo>
                <a:cubicBezTo>
                  <a:pt x="3078582" y="2076110"/>
                  <a:pt x="3076406" y="2077200"/>
                  <a:pt x="3076406" y="2077200"/>
                </a:cubicBezTo>
                <a:cubicBezTo>
                  <a:pt x="3075315" y="2077200"/>
                  <a:pt x="3074225" y="2076110"/>
                  <a:pt x="3074225" y="2075023"/>
                </a:cubicBezTo>
                <a:cubicBezTo>
                  <a:pt x="3074225" y="2073933"/>
                  <a:pt x="3075315" y="2072843"/>
                  <a:pt x="3076406" y="2072843"/>
                </a:cubicBezTo>
                <a:close/>
                <a:moveTo>
                  <a:pt x="3230353" y="2071753"/>
                </a:moveTo>
                <a:cubicBezTo>
                  <a:pt x="3232167" y="2071753"/>
                  <a:pt x="3233620" y="2073205"/>
                  <a:pt x="3233620" y="2075019"/>
                </a:cubicBezTo>
                <a:cubicBezTo>
                  <a:pt x="3233620" y="2076834"/>
                  <a:pt x="3232167" y="2078290"/>
                  <a:pt x="3230353" y="2078290"/>
                </a:cubicBezTo>
                <a:cubicBezTo>
                  <a:pt x="3228538" y="2078290"/>
                  <a:pt x="3227086" y="2076834"/>
                  <a:pt x="3227086" y="2075019"/>
                </a:cubicBezTo>
                <a:cubicBezTo>
                  <a:pt x="3227086" y="2073205"/>
                  <a:pt x="3228538" y="2071753"/>
                  <a:pt x="3230353" y="2071753"/>
                </a:cubicBezTo>
                <a:close/>
                <a:moveTo>
                  <a:pt x="3383934" y="2070662"/>
                </a:moveTo>
                <a:cubicBezTo>
                  <a:pt x="3386477" y="2070662"/>
                  <a:pt x="3388291" y="2072477"/>
                  <a:pt x="3388291" y="2075019"/>
                </a:cubicBezTo>
                <a:cubicBezTo>
                  <a:pt x="3388291" y="2077562"/>
                  <a:pt x="3386115" y="2079376"/>
                  <a:pt x="3383934" y="2079376"/>
                </a:cubicBezTo>
                <a:cubicBezTo>
                  <a:pt x="3381392" y="2079376"/>
                  <a:pt x="3379577" y="2077562"/>
                  <a:pt x="3379577" y="2075019"/>
                </a:cubicBezTo>
                <a:cubicBezTo>
                  <a:pt x="3379577" y="2072477"/>
                  <a:pt x="3381392" y="2070662"/>
                  <a:pt x="3383934" y="2070662"/>
                </a:cubicBezTo>
                <a:close/>
                <a:moveTo>
                  <a:pt x="3537886" y="2069210"/>
                </a:moveTo>
                <a:cubicBezTo>
                  <a:pt x="3541152" y="2069210"/>
                  <a:pt x="3543695" y="2071753"/>
                  <a:pt x="3543695" y="2075019"/>
                </a:cubicBezTo>
                <a:cubicBezTo>
                  <a:pt x="3543695" y="2078286"/>
                  <a:pt x="3541152" y="2080829"/>
                  <a:pt x="3537886" y="2080829"/>
                </a:cubicBezTo>
                <a:cubicBezTo>
                  <a:pt x="3534619" y="2080829"/>
                  <a:pt x="3532076" y="2078286"/>
                  <a:pt x="3532076" y="2075019"/>
                </a:cubicBezTo>
                <a:cubicBezTo>
                  <a:pt x="3532076" y="2071753"/>
                  <a:pt x="3534619" y="2069210"/>
                  <a:pt x="3537886" y="2069210"/>
                </a:cubicBezTo>
                <a:close/>
                <a:moveTo>
                  <a:pt x="3691467" y="2067758"/>
                </a:moveTo>
                <a:cubicBezTo>
                  <a:pt x="3695462" y="2067758"/>
                  <a:pt x="3698728" y="2071025"/>
                  <a:pt x="3698728" y="2075019"/>
                </a:cubicBezTo>
                <a:cubicBezTo>
                  <a:pt x="3698728" y="2079014"/>
                  <a:pt x="3695462" y="2082281"/>
                  <a:pt x="3691467" y="2082281"/>
                </a:cubicBezTo>
                <a:cubicBezTo>
                  <a:pt x="3687472" y="2082281"/>
                  <a:pt x="3684205" y="2079014"/>
                  <a:pt x="3684205" y="2075019"/>
                </a:cubicBezTo>
                <a:cubicBezTo>
                  <a:pt x="3684205" y="2071025"/>
                  <a:pt x="3687472" y="2067758"/>
                  <a:pt x="3691467" y="2067758"/>
                </a:cubicBezTo>
                <a:close/>
                <a:moveTo>
                  <a:pt x="3845414" y="2065943"/>
                </a:moveTo>
                <a:cubicBezTo>
                  <a:pt x="3850500" y="2065943"/>
                  <a:pt x="3854494" y="2069938"/>
                  <a:pt x="3854494" y="2075019"/>
                </a:cubicBezTo>
                <a:cubicBezTo>
                  <a:pt x="3854494" y="2080104"/>
                  <a:pt x="3850500" y="2084099"/>
                  <a:pt x="3845414" y="2084099"/>
                </a:cubicBezTo>
                <a:cubicBezTo>
                  <a:pt x="3840333" y="2084099"/>
                  <a:pt x="3836338" y="2080104"/>
                  <a:pt x="3836338" y="2075019"/>
                </a:cubicBezTo>
                <a:cubicBezTo>
                  <a:pt x="3836338" y="2069938"/>
                  <a:pt x="3840333" y="2065943"/>
                  <a:pt x="3845414" y="2065943"/>
                </a:cubicBezTo>
                <a:close/>
                <a:moveTo>
                  <a:pt x="3999000" y="2064853"/>
                </a:moveTo>
                <a:cubicBezTo>
                  <a:pt x="4004447" y="2064853"/>
                  <a:pt x="4009166" y="2069572"/>
                  <a:pt x="4009166" y="2075019"/>
                </a:cubicBezTo>
                <a:cubicBezTo>
                  <a:pt x="4009166" y="2080467"/>
                  <a:pt x="4004809" y="2085186"/>
                  <a:pt x="3999000" y="2085186"/>
                </a:cubicBezTo>
                <a:cubicBezTo>
                  <a:pt x="3993552" y="2085186"/>
                  <a:pt x="3988833" y="2080467"/>
                  <a:pt x="3988833" y="2075019"/>
                </a:cubicBezTo>
                <a:cubicBezTo>
                  <a:pt x="3988833" y="2069572"/>
                  <a:pt x="3993552" y="2064853"/>
                  <a:pt x="3999000" y="2064853"/>
                </a:cubicBezTo>
                <a:close/>
                <a:moveTo>
                  <a:pt x="4152947" y="2063038"/>
                </a:moveTo>
                <a:cubicBezTo>
                  <a:pt x="4159484" y="2063038"/>
                  <a:pt x="4164932" y="2068486"/>
                  <a:pt x="4164932" y="2075019"/>
                </a:cubicBezTo>
                <a:cubicBezTo>
                  <a:pt x="4164932" y="2081557"/>
                  <a:pt x="4159484" y="2087000"/>
                  <a:pt x="4152947" y="2087000"/>
                </a:cubicBezTo>
                <a:cubicBezTo>
                  <a:pt x="4146414" y="2087000"/>
                  <a:pt x="4140966" y="2081557"/>
                  <a:pt x="4140966" y="2075019"/>
                </a:cubicBezTo>
                <a:cubicBezTo>
                  <a:pt x="4140966" y="2068486"/>
                  <a:pt x="4146414" y="2063038"/>
                  <a:pt x="4152947" y="2063038"/>
                </a:cubicBezTo>
                <a:close/>
                <a:moveTo>
                  <a:pt x="4306528" y="2061224"/>
                </a:moveTo>
                <a:cubicBezTo>
                  <a:pt x="4314156" y="2061224"/>
                  <a:pt x="4320328" y="2067396"/>
                  <a:pt x="4320328" y="2075023"/>
                </a:cubicBezTo>
                <a:cubicBezTo>
                  <a:pt x="4320328" y="2082647"/>
                  <a:pt x="4314156" y="2088818"/>
                  <a:pt x="4306528" y="2088818"/>
                </a:cubicBezTo>
                <a:cubicBezTo>
                  <a:pt x="4298904" y="2088818"/>
                  <a:pt x="4292733" y="2082647"/>
                  <a:pt x="4292733" y="2075023"/>
                </a:cubicBezTo>
                <a:cubicBezTo>
                  <a:pt x="4292733" y="2067396"/>
                  <a:pt x="4298904" y="2061224"/>
                  <a:pt x="4306528" y="2061224"/>
                </a:cubicBezTo>
                <a:close/>
                <a:moveTo>
                  <a:pt x="4460476" y="2059772"/>
                </a:moveTo>
                <a:cubicBezTo>
                  <a:pt x="4468900" y="2059772"/>
                  <a:pt x="4475728" y="2066599"/>
                  <a:pt x="4475728" y="2075023"/>
                </a:cubicBezTo>
                <a:cubicBezTo>
                  <a:pt x="4475728" y="2083444"/>
                  <a:pt x="4468900" y="2090271"/>
                  <a:pt x="4460476" y="2090271"/>
                </a:cubicBezTo>
                <a:cubicBezTo>
                  <a:pt x="4452056" y="2090271"/>
                  <a:pt x="4445228" y="2083444"/>
                  <a:pt x="4445228" y="2075023"/>
                </a:cubicBezTo>
                <a:cubicBezTo>
                  <a:pt x="4445228" y="2066599"/>
                  <a:pt x="4452056" y="2059772"/>
                  <a:pt x="4460476" y="2059772"/>
                </a:cubicBezTo>
                <a:close/>
                <a:moveTo>
                  <a:pt x="4614065" y="2057957"/>
                </a:moveTo>
                <a:cubicBezTo>
                  <a:pt x="4623503" y="2057957"/>
                  <a:pt x="4631131" y="2065581"/>
                  <a:pt x="4631131" y="2075023"/>
                </a:cubicBezTo>
                <a:cubicBezTo>
                  <a:pt x="4631131" y="2084461"/>
                  <a:pt x="4623503" y="2092085"/>
                  <a:pt x="4614065" y="2092085"/>
                </a:cubicBezTo>
                <a:cubicBezTo>
                  <a:pt x="4604623" y="2092085"/>
                  <a:pt x="4596999" y="2084461"/>
                  <a:pt x="4596999" y="2075023"/>
                </a:cubicBezTo>
                <a:cubicBezTo>
                  <a:pt x="4596999" y="2065581"/>
                  <a:pt x="4604623" y="2057957"/>
                  <a:pt x="4614065" y="2057957"/>
                </a:cubicBezTo>
                <a:close/>
                <a:moveTo>
                  <a:pt x="4768008" y="2055777"/>
                </a:moveTo>
                <a:cubicBezTo>
                  <a:pt x="4778640" y="2055777"/>
                  <a:pt x="4787255" y="2064392"/>
                  <a:pt x="4787255" y="2075019"/>
                </a:cubicBezTo>
                <a:cubicBezTo>
                  <a:pt x="4787255" y="2085647"/>
                  <a:pt x="4778640" y="2094266"/>
                  <a:pt x="4768008" y="2094266"/>
                </a:cubicBezTo>
                <a:cubicBezTo>
                  <a:pt x="4757381" y="2094266"/>
                  <a:pt x="4748766" y="2085647"/>
                  <a:pt x="4748766" y="2075019"/>
                </a:cubicBezTo>
                <a:cubicBezTo>
                  <a:pt x="4748766" y="2064392"/>
                  <a:pt x="4757381" y="2055777"/>
                  <a:pt x="4768008" y="2055777"/>
                </a:cubicBezTo>
                <a:close/>
                <a:moveTo>
                  <a:pt x="4921594" y="2053600"/>
                </a:moveTo>
                <a:cubicBezTo>
                  <a:pt x="4933574" y="2053600"/>
                  <a:pt x="4943013" y="2063038"/>
                  <a:pt x="4943013" y="2075023"/>
                </a:cubicBezTo>
                <a:cubicBezTo>
                  <a:pt x="4943013" y="2087004"/>
                  <a:pt x="4933212" y="2096446"/>
                  <a:pt x="4921594" y="2096446"/>
                </a:cubicBezTo>
                <a:cubicBezTo>
                  <a:pt x="4909613" y="2096446"/>
                  <a:pt x="4900171" y="2087004"/>
                  <a:pt x="4900171" y="2075023"/>
                </a:cubicBezTo>
                <a:cubicBezTo>
                  <a:pt x="4900171" y="2063038"/>
                  <a:pt x="4909613" y="2053600"/>
                  <a:pt x="4921594" y="2053600"/>
                </a:cubicBezTo>
                <a:close/>
                <a:moveTo>
                  <a:pt x="5075545" y="2052148"/>
                </a:moveTo>
                <a:cubicBezTo>
                  <a:pt x="5088250" y="2052148"/>
                  <a:pt x="5098416" y="2062314"/>
                  <a:pt x="5098416" y="2075023"/>
                </a:cubicBezTo>
                <a:cubicBezTo>
                  <a:pt x="5098416" y="2087728"/>
                  <a:pt x="5088250" y="2097895"/>
                  <a:pt x="5075545" y="2097895"/>
                </a:cubicBezTo>
                <a:cubicBezTo>
                  <a:pt x="5062836" y="2097895"/>
                  <a:pt x="5052670" y="2087728"/>
                  <a:pt x="5052670" y="2075023"/>
                </a:cubicBezTo>
                <a:cubicBezTo>
                  <a:pt x="5052670" y="2062314"/>
                  <a:pt x="5062836" y="2052148"/>
                  <a:pt x="5075545" y="2052148"/>
                </a:cubicBezTo>
                <a:close/>
                <a:moveTo>
                  <a:pt x="5229126" y="2049968"/>
                </a:moveTo>
                <a:cubicBezTo>
                  <a:pt x="5242926" y="2049968"/>
                  <a:pt x="5254182" y="2061224"/>
                  <a:pt x="5254182" y="2075019"/>
                </a:cubicBezTo>
                <a:cubicBezTo>
                  <a:pt x="5254182" y="2088818"/>
                  <a:pt x="5242926" y="2100075"/>
                  <a:pt x="5229126" y="2100075"/>
                </a:cubicBezTo>
                <a:cubicBezTo>
                  <a:pt x="5215331" y="2100075"/>
                  <a:pt x="5204074" y="2088818"/>
                  <a:pt x="5204074" y="2075019"/>
                </a:cubicBezTo>
                <a:cubicBezTo>
                  <a:pt x="5204074" y="2061224"/>
                  <a:pt x="5215331" y="2049968"/>
                  <a:pt x="5229126" y="2049968"/>
                </a:cubicBezTo>
                <a:close/>
                <a:moveTo>
                  <a:pt x="5383074" y="2047791"/>
                </a:moveTo>
                <a:cubicBezTo>
                  <a:pt x="5397960" y="2047791"/>
                  <a:pt x="5410306" y="2060138"/>
                  <a:pt x="5410306" y="2075023"/>
                </a:cubicBezTo>
                <a:cubicBezTo>
                  <a:pt x="5410306" y="2089909"/>
                  <a:pt x="5398322" y="2102256"/>
                  <a:pt x="5383074" y="2102256"/>
                </a:cubicBezTo>
                <a:cubicBezTo>
                  <a:pt x="5368184" y="2102256"/>
                  <a:pt x="5355842" y="2089909"/>
                  <a:pt x="5355842" y="2075023"/>
                </a:cubicBezTo>
                <a:cubicBezTo>
                  <a:pt x="5355842" y="2060138"/>
                  <a:pt x="5368184" y="2047791"/>
                  <a:pt x="5383074" y="2047791"/>
                </a:cubicBezTo>
                <a:close/>
                <a:moveTo>
                  <a:pt x="5537018" y="2045248"/>
                </a:moveTo>
                <a:cubicBezTo>
                  <a:pt x="5553462" y="2045248"/>
                  <a:pt x="5566792" y="2058579"/>
                  <a:pt x="5566792" y="2075023"/>
                </a:cubicBezTo>
                <a:cubicBezTo>
                  <a:pt x="5566792" y="2091464"/>
                  <a:pt x="5553462" y="2104794"/>
                  <a:pt x="5537018" y="2104794"/>
                </a:cubicBezTo>
                <a:cubicBezTo>
                  <a:pt x="5520576" y="2104794"/>
                  <a:pt x="5507246" y="2091464"/>
                  <a:pt x="5507246" y="2075023"/>
                </a:cubicBezTo>
                <a:cubicBezTo>
                  <a:pt x="5507246" y="2058579"/>
                  <a:pt x="5520576" y="2045248"/>
                  <a:pt x="5537018" y="2045248"/>
                </a:cubicBezTo>
                <a:close/>
                <a:moveTo>
                  <a:pt x="5690606" y="2043068"/>
                </a:moveTo>
                <a:cubicBezTo>
                  <a:pt x="5708396" y="2043068"/>
                  <a:pt x="5722558" y="2057229"/>
                  <a:pt x="5722558" y="2075019"/>
                </a:cubicBezTo>
                <a:cubicBezTo>
                  <a:pt x="5722558" y="2092810"/>
                  <a:pt x="5708396" y="2106971"/>
                  <a:pt x="5690606" y="2106971"/>
                </a:cubicBezTo>
                <a:cubicBezTo>
                  <a:pt x="5672816" y="2106971"/>
                  <a:pt x="5658655" y="2092810"/>
                  <a:pt x="5658655" y="2075019"/>
                </a:cubicBezTo>
                <a:cubicBezTo>
                  <a:pt x="5658655" y="2057229"/>
                  <a:pt x="5672816" y="2043068"/>
                  <a:pt x="5690606" y="2043068"/>
                </a:cubicBezTo>
                <a:close/>
                <a:moveTo>
                  <a:pt x="5844554" y="2041254"/>
                </a:moveTo>
                <a:cubicBezTo>
                  <a:pt x="5863202" y="2041254"/>
                  <a:pt x="5878320" y="2056372"/>
                  <a:pt x="5878320" y="2075019"/>
                </a:cubicBezTo>
                <a:cubicBezTo>
                  <a:pt x="5878320" y="2093671"/>
                  <a:pt x="5863202" y="2108789"/>
                  <a:pt x="5844554" y="2108789"/>
                </a:cubicBezTo>
                <a:cubicBezTo>
                  <a:pt x="5825906" y="2108789"/>
                  <a:pt x="5810788" y="2093671"/>
                  <a:pt x="5810788" y="2075019"/>
                </a:cubicBezTo>
                <a:cubicBezTo>
                  <a:pt x="5810788" y="2056372"/>
                  <a:pt x="5825906" y="2041254"/>
                  <a:pt x="5844554" y="2041254"/>
                </a:cubicBezTo>
                <a:close/>
                <a:moveTo>
                  <a:pt x="5998136" y="2038711"/>
                </a:moveTo>
                <a:cubicBezTo>
                  <a:pt x="6018106" y="2038711"/>
                  <a:pt x="6034444" y="2055049"/>
                  <a:pt x="6034444" y="2075019"/>
                </a:cubicBezTo>
                <a:cubicBezTo>
                  <a:pt x="6034444" y="2094990"/>
                  <a:pt x="6018106" y="2111328"/>
                  <a:pt x="5998136" y="2111328"/>
                </a:cubicBezTo>
                <a:cubicBezTo>
                  <a:pt x="5978165" y="2111328"/>
                  <a:pt x="5961827" y="2094990"/>
                  <a:pt x="5961827" y="2075019"/>
                </a:cubicBezTo>
                <a:cubicBezTo>
                  <a:pt x="5961827" y="2055049"/>
                  <a:pt x="5978165" y="2038711"/>
                  <a:pt x="5998136" y="2038711"/>
                </a:cubicBezTo>
                <a:close/>
                <a:moveTo>
                  <a:pt x="6152083" y="2036172"/>
                </a:moveTo>
                <a:cubicBezTo>
                  <a:pt x="6173506" y="2036172"/>
                  <a:pt x="6190934" y="2053600"/>
                  <a:pt x="6190934" y="2075023"/>
                </a:cubicBezTo>
                <a:cubicBezTo>
                  <a:pt x="6190934" y="2096442"/>
                  <a:pt x="6173506" y="2113870"/>
                  <a:pt x="6152083" y="2113870"/>
                </a:cubicBezTo>
                <a:cubicBezTo>
                  <a:pt x="6130664" y="2113870"/>
                  <a:pt x="6113236" y="2096442"/>
                  <a:pt x="6113236" y="2075023"/>
                </a:cubicBezTo>
                <a:cubicBezTo>
                  <a:pt x="6113236" y="2053600"/>
                  <a:pt x="6130664" y="2036172"/>
                  <a:pt x="6152083" y="2036172"/>
                </a:cubicBezTo>
                <a:close/>
                <a:moveTo>
                  <a:pt x="6305668" y="2033992"/>
                </a:moveTo>
                <a:cubicBezTo>
                  <a:pt x="6328543" y="2033992"/>
                  <a:pt x="6346700" y="2052148"/>
                  <a:pt x="6346700" y="2075019"/>
                </a:cubicBezTo>
                <a:cubicBezTo>
                  <a:pt x="6346700" y="2097895"/>
                  <a:pt x="6328181" y="2116047"/>
                  <a:pt x="6305668" y="2116047"/>
                </a:cubicBezTo>
                <a:cubicBezTo>
                  <a:pt x="6282796" y="2116047"/>
                  <a:pt x="6264640" y="2097895"/>
                  <a:pt x="6264640" y="2075019"/>
                </a:cubicBezTo>
                <a:cubicBezTo>
                  <a:pt x="6264640" y="2052148"/>
                  <a:pt x="6282796" y="2033992"/>
                  <a:pt x="6305668" y="2033992"/>
                </a:cubicBezTo>
                <a:close/>
                <a:moveTo>
                  <a:pt x="6459616" y="2031449"/>
                </a:moveTo>
                <a:cubicBezTo>
                  <a:pt x="6483577" y="2031449"/>
                  <a:pt x="6503186" y="2051058"/>
                  <a:pt x="6503186" y="2075019"/>
                </a:cubicBezTo>
                <a:cubicBezTo>
                  <a:pt x="6503186" y="2098985"/>
                  <a:pt x="6483577" y="2118590"/>
                  <a:pt x="6459616" y="2118590"/>
                </a:cubicBezTo>
                <a:cubicBezTo>
                  <a:pt x="6435650" y="2118590"/>
                  <a:pt x="6416046" y="2098985"/>
                  <a:pt x="6416046" y="2075019"/>
                </a:cubicBezTo>
                <a:cubicBezTo>
                  <a:pt x="6416046" y="2051058"/>
                  <a:pt x="6435650" y="2031449"/>
                  <a:pt x="6459616" y="2031449"/>
                </a:cubicBezTo>
                <a:close/>
                <a:moveTo>
                  <a:pt x="6613200" y="2028911"/>
                </a:moveTo>
                <a:cubicBezTo>
                  <a:pt x="6638668" y="2028911"/>
                  <a:pt x="6659313" y="2049556"/>
                  <a:pt x="6659313" y="2075023"/>
                </a:cubicBezTo>
                <a:cubicBezTo>
                  <a:pt x="6659313" y="2100490"/>
                  <a:pt x="6638668" y="2121136"/>
                  <a:pt x="6613200" y="2121136"/>
                </a:cubicBezTo>
                <a:cubicBezTo>
                  <a:pt x="6587734" y="2121136"/>
                  <a:pt x="6567088" y="2100490"/>
                  <a:pt x="6567088" y="2075023"/>
                </a:cubicBezTo>
                <a:cubicBezTo>
                  <a:pt x="6567088" y="2049556"/>
                  <a:pt x="6587734" y="2028911"/>
                  <a:pt x="6613200" y="2028911"/>
                </a:cubicBezTo>
                <a:close/>
                <a:moveTo>
                  <a:pt x="2614925" y="1921072"/>
                </a:moveTo>
                <a:cubicBezTo>
                  <a:pt x="2615288" y="1921072"/>
                  <a:pt x="2615288" y="1921072"/>
                  <a:pt x="2615288" y="1921434"/>
                </a:cubicBezTo>
                <a:cubicBezTo>
                  <a:pt x="2615288" y="1921800"/>
                  <a:pt x="2614925" y="1921800"/>
                  <a:pt x="2614925" y="1921800"/>
                </a:cubicBezTo>
                <a:cubicBezTo>
                  <a:pt x="2614563" y="1921800"/>
                  <a:pt x="2614563" y="1921800"/>
                  <a:pt x="2614563" y="1921434"/>
                </a:cubicBezTo>
                <a:cubicBezTo>
                  <a:pt x="2614563" y="1921072"/>
                  <a:pt x="2614563" y="1921072"/>
                  <a:pt x="2614925" y="1921072"/>
                </a:cubicBezTo>
                <a:close/>
                <a:moveTo>
                  <a:pt x="2153808" y="1921072"/>
                </a:moveTo>
                <a:cubicBezTo>
                  <a:pt x="2154170" y="1921072"/>
                  <a:pt x="2154170" y="1921072"/>
                  <a:pt x="2154170" y="1921434"/>
                </a:cubicBezTo>
                <a:cubicBezTo>
                  <a:pt x="2154170" y="1921800"/>
                  <a:pt x="2153808" y="1921800"/>
                  <a:pt x="2153808" y="1921800"/>
                </a:cubicBezTo>
                <a:cubicBezTo>
                  <a:pt x="2153445" y="1921800"/>
                  <a:pt x="2153445" y="1921800"/>
                  <a:pt x="2153445" y="1921434"/>
                </a:cubicBezTo>
                <a:cubicBezTo>
                  <a:pt x="2153445" y="1921072"/>
                  <a:pt x="2153445" y="1921072"/>
                  <a:pt x="2153808" y="1921072"/>
                </a:cubicBezTo>
                <a:close/>
                <a:moveTo>
                  <a:pt x="1999860" y="1921072"/>
                </a:moveTo>
                <a:cubicBezTo>
                  <a:pt x="2000222" y="1921072"/>
                  <a:pt x="2000222" y="1921072"/>
                  <a:pt x="2000222" y="1921434"/>
                </a:cubicBezTo>
                <a:cubicBezTo>
                  <a:pt x="2000222" y="1921800"/>
                  <a:pt x="1999860" y="1921800"/>
                  <a:pt x="1999860" y="1921800"/>
                </a:cubicBezTo>
                <a:cubicBezTo>
                  <a:pt x="1999498" y="1921800"/>
                  <a:pt x="1999498" y="1921800"/>
                  <a:pt x="1999498" y="1921434"/>
                </a:cubicBezTo>
                <a:cubicBezTo>
                  <a:pt x="1999498" y="1921072"/>
                  <a:pt x="1999498" y="1921072"/>
                  <a:pt x="1999860" y="1921072"/>
                </a:cubicBezTo>
                <a:close/>
                <a:moveTo>
                  <a:pt x="1846279" y="1920710"/>
                </a:moveTo>
                <a:cubicBezTo>
                  <a:pt x="1846641" y="1920710"/>
                  <a:pt x="1847003" y="1921072"/>
                  <a:pt x="1847003" y="1921434"/>
                </a:cubicBezTo>
                <a:cubicBezTo>
                  <a:pt x="1847003" y="1921800"/>
                  <a:pt x="1846279" y="1922162"/>
                  <a:pt x="1846279" y="1922162"/>
                </a:cubicBezTo>
                <a:cubicBezTo>
                  <a:pt x="1845913" y="1922162"/>
                  <a:pt x="1845551" y="1921800"/>
                  <a:pt x="1845551" y="1921434"/>
                </a:cubicBezTo>
                <a:cubicBezTo>
                  <a:pt x="1845551" y="1921072"/>
                  <a:pt x="1845913" y="1920710"/>
                  <a:pt x="1846279" y="1920710"/>
                </a:cubicBezTo>
                <a:close/>
                <a:moveTo>
                  <a:pt x="2768873" y="1919620"/>
                </a:moveTo>
                <a:cubicBezTo>
                  <a:pt x="2769597" y="1919620"/>
                  <a:pt x="2770325" y="1920348"/>
                  <a:pt x="2770325" y="1921072"/>
                </a:cubicBezTo>
                <a:cubicBezTo>
                  <a:pt x="2770325" y="1921800"/>
                  <a:pt x="2768873" y="1922524"/>
                  <a:pt x="2768873" y="1922524"/>
                </a:cubicBezTo>
                <a:cubicBezTo>
                  <a:pt x="2768145" y="1922524"/>
                  <a:pt x="2767421" y="1921800"/>
                  <a:pt x="2767421" y="1921072"/>
                </a:cubicBezTo>
                <a:cubicBezTo>
                  <a:pt x="2767421" y="1920348"/>
                  <a:pt x="2768145" y="1919620"/>
                  <a:pt x="2768873" y="1919620"/>
                </a:cubicBezTo>
                <a:close/>
                <a:moveTo>
                  <a:pt x="2922454" y="1918895"/>
                </a:moveTo>
                <a:cubicBezTo>
                  <a:pt x="2923544" y="1918895"/>
                  <a:pt x="2924635" y="1919986"/>
                  <a:pt x="2924635" y="1921076"/>
                </a:cubicBezTo>
                <a:cubicBezTo>
                  <a:pt x="2924635" y="1922162"/>
                  <a:pt x="2922454" y="1923252"/>
                  <a:pt x="2922454" y="1923252"/>
                </a:cubicBezTo>
                <a:cubicBezTo>
                  <a:pt x="2921368" y="1923252"/>
                  <a:pt x="2920278" y="1922162"/>
                  <a:pt x="2920278" y="1921076"/>
                </a:cubicBezTo>
                <a:cubicBezTo>
                  <a:pt x="2920278" y="1919986"/>
                  <a:pt x="2921368" y="1918895"/>
                  <a:pt x="2922454" y="1918895"/>
                </a:cubicBezTo>
                <a:close/>
                <a:moveTo>
                  <a:pt x="3076406" y="1918167"/>
                </a:moveTo>
                <a:cubicBezTo>
                  <a:pt x="3078220" y="1918167"/>
                  <a:pt x="3079672" y="1919620"/>
                  <a:pt x="3079672" y="1921434"/>
                </a:cubicBezTo>
                <a:cubicBezTo>
                  <a:pt x="3079672" y="1923249"/>
                  <a:pt x="3078220" y="1924701"/>
                  <a:pt x="3076406" y="1924701"/>
                </a:cubicBezTo>
                <a:cubicBezTo>
                  <a:pt x="3074587" y="1924701"/>
                  <a:pt x="3073135" y="1923249"/>
                  <a:pt x="3073135" y="1921434"/>
                </a:cubicBezTo>
                <a:cubicBezTo>
                  <a:pt x="3073135" y="1919620"/>
                  <a:pt x="3074587" y="1918167"/>
                  <a:pt x="3076406" y="1918167"/>
                </a:cubicBezTo>
                <a:close/>
                <a:moveTo>
                  <a:pt x="3230353" y="1916715"/>
                </a:moveTo>
                <a:cubicBezTo>
                  <a:pt x="3232895" y="1916715"/>
                  <a:pt x="3234710" y="1918529"/>
                  <a:pt x="3234710" y="1921072"/>
                </a:cubicBezTo>
                <a:cubicBezTo>
                  <a:pt x="3234710" y="1923615"/>
                  <a:pt x="3232530" y="1925429"/>
                  <a:pt x="3230353" y="1925429"/>
                </a:cubicBezTo>
                <a:cubicBezTo>
                  <a:pt x="3227810" y="1925429"/>
                  <a:pt x="3225996" y="1923615"/>
                  <a:pt x="3225996" y="1921072"/>
                </a:cubicBezTo>
                <a:cubicBezTo>
                  <a:pt x="3225996" y="1918529"/>
                  <a:pt x="3227810" y="1916715"/>
                  <a:pt x="3230353" y="1916715"/>
                </a:cubicBezTo>
                <a:close/>
                <a:moveTo>
                  <a:pt x="3383938" y="1915625"/>
                </a:moveTo>
                <a:cubicBezTo>
                  <a:pt x="3387205" y="1915625"/>
                  <a:pt x="3389748" y="1918167"/>
                  <a:pt x="3389748" y="1921434"/>
                </a:cubicBezTo>
                <a:cubicBezTo>
                  <a:pt x="3389748" y="1924701"/>
                  <a:pt x="3387205" y="1927243"/>
                  <a:pt x="3383938" y="1927243"/>
                </a:cubicBezTo>
                <a:cubicBezTo>
                  <a:pt x="3380671" y="1927243"/>
                  <a:pt x="3378129" y="1924701"/>
                  <a:pt x="3378129" y="1921434"/>
                </a:cubicBezTo>
                <a:cubicBezTo>
                  <a:pt x="3378129" y="1918167"/>
                  <a:pt x="3380671" y="1915625"/>
                  <a:pt x="3383938" y="1915625"/>
                </a:cubicBezTo>
                <a:close/>
                <a:moveTo>
                  <a:pt x="3537882" y="1913810"/>
                </a:moveTo>
                <a:cubicBezTo>
                  <a:pt x="3541876" y="1913810"/>
                  <a:pt x="3545143" y="1917077"/>
                  <a:pt x="3545143" y="1921072"/>
                </a:cubicBezTo>
                <a:cubicBezTo>
                  <a:pt x="3545143" y="1925067"/>
                  <a:pt x="3541876" y="1928334"/>
                  <a:pt x="3537882" y="1928334"/>
                </a:cubicBezTo>
                <a:cubicBezTo>
                  <a:pt x="3533887" y="1928334"/>
                  <a:pt x="3530620" y="1925067"/>
                  <a:pt x="3530620" y="1921072"/>
                </a:cubicBezTo>
                <a:cubicBezTo>
                  <a:pt x="3530620" y="1917077"/>
                  <a:pt x="3533887" y="1913810"/>
                  <a:pt x="3537882" y="1913810"/>
                </a:cubicBezTo>
                <a:close/>
                <a:moveTo>
                  <a:pt x="3691467" y="1911996"/>
                </a:moveTo>
                <a:cubicBezTo>
                  <a:pt x="3696552" y="1911996"/>
                  <a:pt x="3700547" y="1915991"/>
                  <a:pt x="3700547" y="1921072"/>
                </a:cubicBezTo>
                <a:cubicBezTo>
                  <a:pt x="3700547" y="1926157"/>
                  <a:pt x="3696552" y="1930152"/>
                  <a:pt x="3691467" y="1930152"/>
                </a:cubicBezTo>
                <a:cubicBezTo>
                  <a:pt x="3686386" y="1930152"/>
                  <a:pt x="3682391" y="1926157"/>
                  <a:pt x="3682391" y="1921072"/>
                </a:cubicBezTo>
                <a:cubicBezTo>
                  <a:pt x="3682391" y="1915991"/>
                  <a:pt x="3686386" y="1911996"/>
                  <a:pt x="3691467" y="1911996"/>
                </a:cubicBezTo>
                <a:close/>
                <a:moveTo>
                  <a:pt x="3845414" y="1911268"/>
                </a:moveTo>
                <a:cubicBezTo>
                  <a:pt x="3850862" y="1911268"/>
                  <a:pt x="3855581" y="1915987"/>
                  <a:pt x="3855581" y="1921434"/>
                </a:cubicBezTo>
                <a:cubicBezTo>
                  <a:pt x="3855581" y="1926881"/>
                  <a:pt x="3851224" y="1931600"/>
                  <a:pt x="3845414" y="1931600"/>
                </a:cubicBezTo>
                <a:cubicBezTo>
                  <a:pt x="3839967" y="1931600"/>
                  <a:pt x="3835248" y="1926881"/>
                  <a:pt x="3835248" y="1921434"/>
                </a:cubicBezTo>
                <a:cubicBezTo>
                  <a:pt x="3835248" y="1915987"/>
                  <a:pt x="3839967" y="1911268"/>
                  <a:pt x="3845414" y="1911268"/>
                </a:cubicBezTo>
                <a:close/>
                <a:moveTo>
                  <a:pt x="3999000" y="1909091"/>
                </a:moveTo>
                <a:cubicBezTo>
                  <a:pt x="4005537" y="1909091"/>
                  <a:pt x="4010984" y="1914538"/>
                  <a:pt x="4010984" y="1921072"/>
                </a:cubicBezTo>
                <a:cubicBezTo>
                  <a:pt x="4010984" y="1927609"/>
                  <a:pt x="4005537" y="1933053"/>
                  <a:pt x="3999000" y="1933053"/>
                </a:cubicBezTo>
                <a:cubicBezTo>
                  <a:pt x="3992466" y="1933053"/>
                  <a:pt x="3987019" y="1927609"/>
                  <a:pt x="3987019" y="1921072"/>
                </a:cubicBezTo>
                <a:cubicBezTo>
                  <a:pt x="3987019" y="1914538"/>
                  <a:pt x="3992466" y="1909091"/>
                  <a:pt x="3999000" y="1909091"/>
                </a:cubicBezTo>
                <a:close/>
                <a:moveTo>
                  <a:pt x="4152951" y="1907277"/>
                </a:moveTo>
                <a:cubicBezTo>
                  <a:pt x="4160574" y="1907277"/>
                  <a:pt x="4166746" y="1913448"/>
                  <a:pt x="4166746" y="1921076"/>
                </a:cubicBezTo>
                <a:cubicBezTo>
                  <a:pt x="4166746" y="1928700"/>
                  <a:pt x="4160574" y="1934871"/>
                  <a:pt x="4152951" y="1934871"/>
                </a:cubicBezTo>
                <a:cubicBezTo>
                  <a:pt x="4145323" y="1934871"/>
                  <a:pt x="4139152" y="1928700"/>
                  <a:pt x="4139152" y="1921076"/>
                </a:cubicBezTo>
                <a:cubicBezTo>
                  <a:pt x="4139152" y="1913448"/>
                  <a:pt x="4145323" y="1907277"/>
                  <a:pt x="4152951" y="1907277"/>
                </a:cubicBezTo>
                <a:close/>
                <a:moveTo>
                  <a:pt x="4306528" y="1905824"/>
                </a:moveTo>
                <a:cubicBezTo>
                  <a:pt x="4314953" y="1905824"/>
                  <a:pt x="4321780" y="1912651"/>
                  <a:pt x="4321780" y="1921072"/>
                </a:cubicBezTo>
                <a:cubicBezTo>
                  <a:pt x="4321780" y="1929496"/>
                  <a:pt x="4314953" y="1936323"/>
                  <a:pt x="4306528" y="1936323"/>
                </a:cubicBezTo>
                <a:cubicBezTo>
                  <a:pt x="4298108" y="1936323"/>
                  <a:pt x="4291281" y="1929496"/>
                  <a:pt x="4291281" y="1921072"/>
                </a:cubicBezTo>
                <a:cubicBezTo>
                  <a:pt x="4291281" y="1912651"/>
                  <a:pt x="4298108" y="1905824"/>
                  <a:pt x="4306528" y="1905824"/>
                </a:cubicBezTo>
                <a:close/>
                <a:moveTo>
                  <a:pt x="4460480" y="1904006"/>
                </a:moveTo>
                <a:cubicBezTo>
                  <a:pt x="4469918" y="1904006"/>
                  <a:pt x="4477546" y="1911630"/>
                  <a:pt x="4477546" y="1921072"/>
                </a:cubicBezTo>
                <a:cubicBezTo>
                  <a:pt x="4477546" y="1930510"/>
                  <a:pt x="4469918" y="1938138"/>
                  <a:pt x="4460480" y="1938138"/>
                </a:cubicBezTo>
                <a:cubicBezTo>
                  <a:pt x="4451038" y="1938138"/>
                  <a:pt x="4443414" y="1930510"/>
                  <a:pt x="4443414" y="1921072"/>
                </a:cubicBezTo>
                <a:cubicBezTo>
                  <a:pt x="4443414" y="1911630"/>
                  <a:pt x="4451038" y="1904006"/>
                  <a:pt x="4460480" y="1904006"/>
                </a:cubicBezTo>
                <a:close/>
                <a:moveTo>
                  <a:pt x="4614061" y="1901830"/>
                </a:moveTo>
                <a:cubicBezTo>
                  <a:pt x="4624688" y="1901830"/>
                  <a:pt x="4633304" y="1910444"/>
                  <a:pt x="4633304" y="1921072"/>
                </a:cubicBezTo>
                <a:cubicBezTo>
                  <a:pt x="4633304" y="1931699"/>
                  <a:pt x="4624688" y="1940314"/>
                  <a:pt x="4614061" y="1940314"/>
                </a:cubicBezTo>
                <a:cubicBezTo>
                  <a:pt x="4603434" y="1940314"/>
                  <a:pt x="4594818" y="1931699"/>
                  <a:pt x="4594818" y="1921072"/>
                </a:cubicBezTo>
                <a:cubicBezTo>
                  <a:pt x="4594818" y="1910444"/>
                  <a:pt x="4603434" y="1901830"/>
                  <a:pt x="4614061" y="1901830"/>
                </a:cubicBezTo>
                <a:close/>
                <a:moveTo>
                  <a:pt x="4768012" y="1899649"/>
                </a:moveTo>
                <a:cubicBezTo>
                  <a:pt x="4779993" y="1899649"/>
                  <a:pt x="4789432" y="1909091"/>
                  <a:pt x="4789432" y="1921072"/>
                </a:cubicBezTo>
                <a:cubicBezTo>
                  <a:pt x="4789432" y="1933053"/>
                  <a:pt x="4779627" y="1942495"/>
                  <a:pt x="4768012" y="1942495"/>
                </a:cubicBezTo>
                <a:cubicBezTo>
                  <a:pt x="4756028" y="1942495"/>
                  <a:pt x="4746590" y="1933053"/>
                  <a:pt x="4746590" y="1921072"/>
                </a:cubicBezTo>
                <a:cubicBezTo>
                  <a:pt x="4746590" y="1909091"/>
                  <a:pt x="4756028" y="1899649"/>
                  <a:pt x="4768012" y="1899649"/>
                </a:cubicBezTo>
                <a:close/>
                <a:moveTo>
                  <a:pt x="4921594" y="1898563"/>
                </a:moveTo>
                <a:cubicBezTo>
                  <a:pt x="4934302" y="1898563"/>
                  <a:pt x="4944469" y="1908729"/>
                  <a:pt x="4944469" y="1921438"/>
                </a:cubicBezTo>
                <a:cubicBezTo>
                  <a:pt x="4944469" y="1934143"/>
                  <a:pt x="4934302" y="1944309"/>
                  <a:pt x="4921594" y="1944309"/>
                </a:cubicBezTo>
                <a:cubicBezTo>
                  <a:pt x="4908885" y="1944309"/>
                  <a:pt x="4898718" y="1934143"/>
                  <a:pt x="4898718" y="1921438"/>
                </a:cubicBezTo>
                <a:cubicBezTo>
                  <a:pt x="4898718" y="1908729"/>
                  <a:pt x="4908885" y="1898563"/>
                  <a:pt x="4921594" y="1898563"/>
                </a:cubicBezTo>
                <a:close/>
                <a:moveTo>
                  <a:pt x="5075541" y="1896382"/>
                </a:moveTo>
                <a:cubicBezTo>
                  <a:pt x="5089340" y="1896382"/>
                  <a:pt x="5100597" y="1907639"/>
                  <a:pt x="5100597" y="1921434"/>
                </a:cubicBezTo>
                <a:cubicBezTo>
                  <a:pt x="5100597" y="1935233"/>
                  <a:pt x="5089340" y="1946490"/>
                  <a:pt x="5075541" y="1946490"/>
                </a:cubicBezTo>
                <a:cubicBezTo>
                  <a:pt x="5061746" y="1946490"/>
                  <a:pt x="5050490" y="1935233"/>
                  <a:pt x="5050490" y="1921434"/>
                </a:cubicBezTo>
                <a:cubicBezTo>
                  <a:pt x="5050490" y="1907639"/>
                  <a:pt x="5061746" y="1896382"/>
                  <a:pt x="5075541" y="1896382"/>
                </a:cubicBezTo>
                <a:close/>
                <a:moveTo>
                  <a:pt x="5229126" y="1894206"/>
                </a:moveTo>
                <a:cubicBezTo>
                  <a:pt x="5244012" y="1894206"/>
                  <a:pt x="5256358" y="1906552"/>
                  <a:pt x="5256358" y="1921438"/>
                </a:cubicBezTo>
                <a:cubicBezTo>
                  <a:pt x="5256358" y="1936323"/>
                  <a:pt x="5244374" y="1948670"/>
                  <a:pt x="5229126" y="1948670"/>
                </a:cubicBezTo>
                <a:cubicBezTo>
                  <a:pt x="5214237" y="1948670"/>
                  <a:pt x="5201894" y="1936323"/>
                  <a:pt x="5201894" y="1921438"/>
                </a:cubicBezTo>
                <a:cubicBezTo>
                  <a:pt x="5201894" y="1906552"/>
                  <a:pt x="5214237" y="1894206"/>
                  <a:pt x="5229126" y="1894206"/>
                </a:cubicBezTo>
                <a:close/>
                <a:moveTo>
                  <a:pt x="5383074" y="1891301"/>
                </a:moveTo>
                <a:cubicBezTo>
                  <a:pt x="5399518" y="1891301"/>
                  <a:pt x="5412848" y="1904631"/>
                  <a:pt x="5412848" y="1921072"/>
                </a:cubicBezTo>
                <a:cubicBezTo>
                  <a:pt x="5412848" y="1937517"/>
                  <a:pt x="5399518" y="1950847"/>
                  <a:pt x="5383074" y="1950847"/>
                </a:cubicBezTo>
                <a:cubicBezTo>
                  <a:pt x="5366633" y="1950847"/>
                  <a:pt x="5353303" y="1937517"/>
                  <a:pt x="5353303" y="1921072"/>
                </a:cubicBezTo>
                <a:cubicBezTo>
                  <a:pt x="5353303" y="1904631"/>
                  <a:pt x="5366633" y="1891301"/>
                  <a:pt x="5383074" y="1891301"/>
                </a:cubicBezTo>
                <a:close/>
                <a:moveTo>
                  <a:pt x="5536659" y="1889121"/>
                </a:moveTo>
                <a:cubicBezTo>
                  <a:pt x="5554450" y="1889121"/>
                  <a:pt x="5568610" y="1903282"/>
                  <a:pt x="5568610" y="1921072"/>
                </a:cubicBezTo>
                <a:cubicBezTo>
                  <a:pt x="5568610" y="1938862"/>
                  <a:pt x="5554450" y="1953023"/>
                  <a:pt x="5536659" y="1953023"/>
                </a:cubicBezTo>
                <a:cubicBezTo>
                  <a:pt x="5518865" y="1953023"/>
                  <a:pt x="5504708" y="1938862"/>
                  <a:pt x="5504708" y="1921072"/>
                </a:cubicBezTo>
                <a:cubicBezTo>
                  <a:pt x="5504708" y="1903282"/>
                  <a:pt x="5518865" y="1889121"/>
                  <a:pt x="5536659" y="1889121"/>
                </a:cubicBezTo>
                <a:close/>
                <a:moveTo>
                  <a:pt x="5690606" y="1887306"/>
                </a:moveTo>
                <a:cubicBezTo>
                  <a:pt x="5709258" y="1887306"/>
                  <a:pt x="5724376" y="1902424"/>
                  <a:pt x="5724376" y="1921072"/>
                </a:cubicBezTo>
                <a:cubicBezTo>
                  <a:pt x="5724376" y="1939724"/>
                  <a:pt x="5709258" y="1954842"/>
                  <a:pt x="5690606" y="1954842"/>
                </a:cubicBezTo>
                <a:cubicBezTo>
                  <a:pt x="5671958" y="1954842"/>
                  <a:pt x="5656840" y="1939724"/>
                  <a:pt x="5656840" y="1921072"/>
                </a:cubicBezTo>
                <a:cubicBezTo>
                  <a:pt x="5656840" y="1902424"/>
                  <a:pt x="5671958" y="1887306"/>
                  <a:pt x="5690606" y="1887306"/>
                </a:cubicBezTo>
                <a:close/>
                <a:moveTo>
                  <a:pt x="5844554" y="1884764"/>
                </a:moveTo>
                <a:cubicBezTo>
                  <a:pt x="5864524" y="1884764"/>
                  <a:pt x="5880862" y="1901101"/>
                  <a:pt x="5880862" y="1921072"/>
                </a:cubicBezTo>
                <a:cubicBezTo>
                  <a:pt x="5880862" y="1941043"/>
                  <a:pt x="5864524" y="1957380"/>
                  <a:pt x="5844554" y="1957380"/>
                </a:cubicBezTo>
                <a:cubicBezTo>
                  <a:pt x="5824584" y="1957380"/>
                  <a:pt x="5808246" y="1941043"/>
                  <a:pt x="5808246" y="1921072"/>
                </a:cubicBezTo>
                <a:cubicBezTo>
                  <a:pt x="5808246" y="1901101"/>
                  <a:pt x="5824584" y="1884764"/>
                  <a:pt x="5844554" y="1884764"/>
                </a:cubicBezTo>
                <a:close/>
                <a:moveTo>
                  <a:pt x="5998139" y="1882225"/>
                </a:moveTo>
                <a:cubicBezTo>
                  <a:pt x="6019562" y="1882225"/>
                  <a:pt x="6036990" y="1899653"/>
                  <a:pt x="6036990" y="1921076"/>
                </a:cubicBezTo>
                <a:cubicBezTo>
                  <a:pt x="6036990" y="1942495"/>
                  <a:pt x="6019562" y="1959923"/>
                  <a:pt x="5998139" y="1959923"/>
                </a:cubicBezTo>
                <a:cubicBezTo>
                  <a:pt x="5976716" y="1959923"/>
                  <a:pt x="5959288" y="1942495"/>
                  <a:pt x="5959288" y="1921076"/>
                </a:cubicBezTo>
                <a:cubicBezTo>
                  <a:pt x="5959288" y="1899653"/>
                  <a:pt x="5976716" y="1882225"/>
                  <a:pt x="5998139" y="1882225"/>
                </a:cubicBezTo>
                <a:close/>
                <a:moveTo>
                  <a:pt x="6152083" y="1880045"/>
                </a:moveTo>
                <a:cubicBezTo>
                  <a:pt x="6174958" y="1880045"/>
                  <a:pt x="6193114" y="1898200"/>
                  <a:pt x="6193114" y="1921072"/>
                </a:cubicBezTo>
                <a:cubicBezTo>
                  <a:pt x="6193114" y="1943947"/>
                  <a:pt x="6174596" y="1962103"/>
                  <a:pt x="6152083" y="1962103"/>
                </a:cubicBezTo>
                <a:cubicBezTo>
                  <a:pt x="6129212" y="1962103"/>
                  <a:pt x="6111056" y="1943947"/>
                  <a:pt x="6111056" y="1921072"/>
                </a:cubicBezTo>
                <a:cubicBezTo>
                  <a:pt x="6111056" y="1898200"/>
                  <a:pt x="6129212" y="1880045"/>
                  <a:pt x="6152083" y="1880045"/>
                </a:cubicBezTo>
                <a:close/>
                <a:moveTo>
                  <a:pt x="6305668" y="1877502"/>
                </a:moveTo>
                <a:cubicBezTo>
                  <a:pt x="6329630" y="1877502"/>
                  <a:pt x="6349238" y="1897110"/>
                  <a:pt x="6349238" y="1921072"/>
                </a:cubicBezTo>
                <a:cubicBezTo>
                  <a:pt x="6349238" y="1945037"/>
                  <a:pt x="6329630" y="1964642"/>
                  <a:pt x="6305668" y="1964642"/>
                </a:cubicBezTo>
                <a:cubicBezTo>
                  <a:pt x="6281702" y="1964642"/>
                  <a:pt x="6262098" y="1945037"/>
                  <a:pt x="6262098" y="1921072"/>
                </a:cubicBezTo>
                <a:cubicBezTo>
                  <a:pt x="6262098" y="1897110"/>
                  <a:pt x="6281702" y="1877502"/>
                  <a:pt x="6305668" y="1877502"/>
                </a:cubicBezTo>
                <a:close/>
                <a:moveTo>
                  <a:pt x="6459616" y="1874959"/>
                </a:moveTo>
                <a:cubicBezTo>
                  <a:pt x="6485033" y="1874959"/>
                  <a:pt x="6505728" y="1895654"/>
                  <a:pt x="6505728" y="1921072"/>
                </a:cubicBezTo>
                <a:cubicBezTo>
                  <a:pt x="6505728" y="1946486"/>
                  <a:pt x="6485033" y="1967184"/>
                  <a:pt x="6459616" y="1967184"/>
                </a:cubicBezTo>
                <a:cubicBezTo>
                  <a:pt x="6434198" y="1967184"/>
                  <a:pt x="6413503" y="1946486"/>
                  <a:pt x="6413503" y="1921072"/>
                </a:cubicBezTo>
                <a:cubicBezTo>
                  <a:pt x="6413503" y="1895654"/>
                  <a:pt x="6434198" y="1874959"/>
                  <a:pt x="6459616" y="1874959"/>
                </a:cubicBezTo>
                <a:close/>
                <a:moveTo>
                  <a:pt x="6613200" y="1872421"/>
                </a:moveTo>
                <a:cubicBezTo>
                  <a:pt x="6640071" y="1872421"/>
                  <a:pt x="6661856" y="1894206"/>
                  <a:pt x="6661856" y="1921076"/>
                </a:cubicBezTo>
                <a:cubicBezTo>
                  <a:pt x="6661856" y="1947942"/>
                  <a:pt x="6640071" y="1969727"/>
                  <a:pt x="6613200" y="1969727"/>
                </a:cubicBezTo>
                <a:cubicBezTo>
                  <a:pt x="6586334" y="1969727"/>
                  <a:pt x="6564550" y="1947942"/>
                  <a:pt x="6564550" y="1921076"/>
                </a:cubicBezTo>
                <a:cubicBezTo>
                  <a:pt x="6564550" y="1894206"/>
                  <a:pt x="6586334" y="1872421"/>
                  <a:pt x="6613200" y="1872421"/>
                </a:cubicBezTo>
                <a:close/>
                <a:moveTo>
                  <a:pt x="2461340" y="1767125"/>
                </a:moveTo>
                <a:cubicBezTo>
                  <a:pt x="2461702" y="1767125"/>
                  <a:pt x="2461702" y="1767125"/>
                  <a:pt x="2461702" y="1767487"/>
                </a:cubicBezTo>
                <a:cubicBezTo>
                  <a:pt x="2461702" y="1767853"/>
                  <a:pt x="2461340" y="1767853"/>
                  <a:pt x="2461340" y="1767853"/>
                </a:cubicBezTo>
                <a:cubicBezTo>
                  <a:pt x="2460978" y="1767853"/>
                  <a:pt x="2460978" y="1767853"/>
                  <a:pt x="2460978" y="1767487"/>
                </a:cubicBezTo>
                <a:cubicBezTo>
                  <a:pt x="2460978" y="1767125"/>
                  <a:pt x="2460978" y="1767125"/>
                  <a:pt x="2461340" y="1767125"/>
                </a:cubicBezTo>
                <a:close/>
                <a:moveTo>
                  <a:pt x="1999860" y="1767125"/>
                </a:moveTo>
                <a:cubicBezTo>
                  <a:pt x="2000222" y="1767125"/>
                  <a:pt x="2000222" y="1767125"/>
                  <a:pt x="2000222" y="1767487"/>
                </a:cubicBezTo>
                <a:cubicBezTo>
                  <a:pt x="2000222" y="1767853"/>
                  <a:pt x="1999860" y="1767853"/>
                  <a:pt x="1999860" y="1767853"/>
                </a:cubicBezTo>
                <a:cubicBezTo>
                  <a:pt x="1999498" y="1767853"/>
                  <a:pt x="1999498" y="1767853"/>
                  <a:pt x="1999498" y="1767487"/>
                </a:cubicBezTo>
                <a:cubicBezTo>
                  <a:pt x="1999498" y="1767125"/>
                  <a:pt x="1999498" y="1767125"/>
                  <a:pt x="1999860" y="1767125"/>
                </a:cubicBezTo>
                <a:close/>
                <a:moveTo>
                  <a:pt x="1846279" y="1767125"/>
                </a:moveTo>
                <a:cubicBezTo>
                  <a:pt x="1846641" y="1767125"/>
                  <a:pt x="1846641" y="1767125"/>
                  <a:pt x="1846641" y="1767487"/>
                </a:cubicBezTo>
                <a:cubicBezTo>
                  <a:pt x="1846641" y="1767853"/>
                  <a:pt x="1846279" y="1767853"/>
                  <a:pt x="1846279" y="1767853"/>
                </a:cubicBezTo>
                <a:cubicBezTo>
                  <a:pt x="1845917" y="1767853"/>
                  <a:pt x="1845917" y="1767853"/>
                  <a:pt x="1845917" y="1767487"/>
                </a:cubicBezTo>
                <a:cubicBezTo>
                  <a:pt x="1845917" y="1767125"/>
                  <a:pt x="1845917" y="1767125"/>
                  <a:pt x="1846279" y="1767125"/>
                </a:cubicBezTo>
                <a:close/>
                <a:moveTo>
                  <a:pt x="1692328" y="1766762"/>
                </a:moveTo>
                <a:cubicBezTo>
                  <a:pt x="1692694" y="1766762"/>
                  <a:pt x="1693056" y="1767125"/>
                  <a:pt x="1693056" y="1767491"/>
                </a:cubicBezTo>
                <a:cubicBezTo>
                  <a:pt x="1693056" y="1767853"/>
                  <a:pt x="1692328" y="1768215"/>
                  <a:pt x="1692328" y="1768215"/>
                </a:cubicBezTo>
                <a:cubicBezTo>
                  <a:pt x="1691965" y="1768215"/>
                  <a:pt x="1691603" y="1767853"/>
                  <a:pt x="1691603" y="1767491"/>
                </a:cubicBezTo>
                <a:cubicBezTo>
                  <a:pt x="1691603" y="1767125"/>
                  <a:pt x="1691965" y="1766762"/>
                  <a:pt x="1692328" y="1766762"/>
                </a:cubicBezTo>
                <a:close/>
                <a:moveTo>
                  <a:pt x="2614925" y="1765672"/>
                </a:moveTo>
                <a:cubicBezTo>
                  <a:pt x="2615650" y="1765672"/>
                  <a:pt x="2616378" y="1766400"/>
                  <a:pt x="2616378" y="1767125"/>
                </a:cubicBezTo>
                <a:cubicBezTo>
                  <a:pt x="2616378" y="1767849"/>
                  <a:pt x="2614925" y="1768577"/>
                  <a:pt x="2614925" y="1768577"/>
                </a:cubicBezTo>
                <a:cubicBezTo>
                  <a:pt x="2614197" y="1768577"/>
                  <a:pt x="2613473" y="1767849"/>
                  <a:pt x="2613473" y="1767125"/>
                </a:cubicBezTo>
                <a:cubicBezTo>
                  <a:pt x="2613473" y="1766400"/>
                  <a:pt x="2614197" y="1765672"/>
                  <a:pt x="2614925" y="1765672"/>
                </a:cubicBezTo>
                <a:close/>
                <a:moveTo>
                  <a:pt x="2768873" y="1765310"/>
                </a:moveTo>
                <a:cubicBezTo>
                  <a:pt x="2769963" y="1765310"/>
                  <a:pt x="2771049" y="1766400"/>
                  <a:pt x="2771049" y="1767491"/>
                </a:cubicBezTo>
                <a:cubicBezTo>
                  <a:pt x="2771049" y="1768577"/>
                  <a:pt x="2768873" y="1769667"/>
                  <a:pt x="2768873" y="1769667"/>
                </a:cubicBezTo>
                <a:cubicBezTo>
                  <a:pt x="2767783" y="1769667"/>
                  <a:pt x="2766692" y="1768577"/>
                  <a:pt x="2766692" y="1767491"/>
                </a:cubicBezTo>
                <a:cubicBezTo>
                  <a:pt x="2766692" y="1766400"/>
                  <a:pt x="2767783" y="1765310"/>
                  <a:pt x="2768873" y="1765310"/>
                </a:cubicBezTo>
                <a:close/>
                <a:moveTo>
                  <a:pt x="2922454" y="1764220"/>
                </a:moveTo>
                <a:cubicBezTo>
                  <a:pt x="2924272" y="1764220"/>
                  <a:pt x="2925721" y="1765672"/>
                  <a:pt x="2925721" y="1767487"/>
                </a:cubicBezTo>
                <a:cubicBezTo>
                  <a:pt x="2925721" y="1769301"/>
                  <a:pt x="2924272" y="1770757"/>
                  <a:pt x="2922454" y="1770757"/>
                </a:cubicBezTo>
                <a:cubicBezTo>
                  <a:pt x="2920640" y="1770757"/>
                  <a:pt x="2919188" y="1769301"/>
                  <a:pt x="2919188" y="1767487"/>
                </a:cubicBezTo>
                <a:cubicBezTo>
                  <a:pt x="2919188" y="1765672"/>
                  <a:pt x="2920640" y="1764220"/>
                  <a:pt x="2922454" y="1764220"/>
                </a:cubicBezTo>
                <a:close/>
                <a:moveTo>
                  <a:pt x="3076406" y="1763134"/>
                </a:moveTo>
                <a:cubicBezTo>
                  <a:pt x="3078948" y="1763134"/>
                  <a:pt x="3080762" y="1764948"/>
                  <a:pt x="3080762" y="1767491"/>
                </a:cubicBezTo>
                <a:cubicBezTo>
                  <a:pt x="3080762" y="1770033"/>
                  <a:pt x="3078586" y="1771848"/>
                  <a:pt x="3076406" y="1771848"/>
                </a:cubicBezTo>
                <a:cubicBezTo>
                  <a:pt x="3073863" y="1771848"/>
                  <a:pt x="3072048" y="1770033"/>
                  <a:pt x="3072048" y="1767491"/>
                </a:cubicBezTo>
                <a:cubicBezTo>
                  <a:pt x="3072048" y="1764948"/>
                  <a:pt x="3073863" y="1763134"/>
                  <a:pt x="3076406" y="1763134"/>
                </a:cubicBezTo>
                <a:close/>
                <a:moveTo>
                  <a:pt x="3230353" y="1761681"/>
                </a:moveTo>
                <a:cubicBezTo>
                  <a:pt x="3233620" y="1761681"/>
                  <a:pt x="3236162" y="1764224"/>
                  <a:pt x="3236162" y="1767491"/>
                </a:cubicBezTo>
                <a:cubicBezTo>
                  <a:pt x="3236162" y="1770757"/>
                  <a:pt x="3233620" y="1773300"/>
                  <a:pt x="3230353" y="1773300"/>
                </a:cubicBezTo>
                <a:cubicBezTo>
                  <a:pt x="3227086" y="1773300"/>
                  <a:pt x="3224544" y="1770757"/>
                  <a:pt x="3224544" y="1767491"/>
                </a:cubicBezTo>
                <a:cubicBezTo>
                  <a:pt x="3224544" y="1764224"/>
                  <a:pt x="3227086" y="1761681"/>
                  <a:pt x="3230353" y="1761681"/>
                </a:cubicBezTo>
                <a:close/>
                <a:moveTo>
                  <a:pt x="3383938" y="1760225"/>
                </a:moveTo>
                <a:cubicBezTo>
                  <a:pt x="3387933" y="1760225"/>
                  <a:pt x="3391200" y="1763492"/>
                  <a:pt x="3391200" y="1767487"/>
                </a:cubicBezTo>
                <a:cubicBezTo>
                  <a:pt x="3391200" y="1771481"/>
                  <a:pt x="3387933" y="1774748"/>
                  <a:pt x="3383938" y="1774748"/>
                </a:cubicBezTo>
                <a:cubicBezTo>
                  <a:pt x="3379943" y="1774748"/>
                  <a:pt x="3376676" y="1771481"/>
                  <a:pt x="3376676" y="1767487"/>
                </a:cubicBezTo>
                <a:cubicBezTo>
                  <a:pt x="3376676" y="1763492"/>
                  <a:pt x="3379943" y="1760225"/>
                  <a:pt x="3383938" y="1760225"/>
                </a:cubicBezTo>
                <a:close/>
                <a:moveTo>
                  <a:pt x="3537882" y="1758411"/>
                </a:moveTo>
                <a:cubicBezTo>
                  <a:pt x="3542967" y="1758411"/>
                  <a:pt x="3546962" y="1762405"/>
                  <a:pt x="3546962" y="1767487"/>
                </a:cubicBezTo>
                <a:cubicBezTo>
                  <a:pt x="3546962" y="1772572"/>
                  <a:pt x="3542967" y="1776567"/>
                  <a:pt x="3537882" y="1776567"/>
                </a:cubicBezTo>
                <a:cubicBezTo>
                  <a:pt x="3532800" y="1776567"/>
                  <a:pt x="3528806" y="1772572"/>
                  <a:pt x="3528806" y="1767487"/>
                </a:cubicBezTo>
                <a:cubicBezTo>
                  <a:pt x="3528806" y="1762405"/>
                  <a:pt x="3532800" y="1758411"/>
                  <a:pt x="3537882" y="1758411"/>
                </a:cubicBezTo>
                <a:close/>
                <a:moveTo>
                  <a:pt x="3691467" y="1757324"/>
                </a:moveTo>
                <a:cubicBezTo>
                  <a:pt x="3696914" y="1757324"/>
                  <a:pt x="3701633" y="1762043"/>
                  <a:pt x="3701633" y="1767491"/>
                </a:cubicBezTo>
                <a:cubicBezTo>
                  <a:pt x="3701633" y="1772938"/>
                  <a:pt x="3697276" y="1777657"/>
                  <a:pt x="3691467" y="1777657"/>
                </a:cubicBezTo>
                <a:cubicBezTo>
                  <a:pt x="3686020" y="1777657"/>
                  <a:pt x="3681300" y="1772938"/>
                  <a:pt x="3681300" y="1767491"/>
                </a:cubicBezTo>
                <a:cubicBezTo>
                  <a:pt x="3681300" y="1762043"/>
                  <a:pt x="3686020" y="1757324"/>
                  <a:pt x="3691467" y="1757324"/>
                </a:cubicBezTo>
                <a:close/>
                <a:moveTo>
                  <a:pt x="3845414" y="1755506"/>
                </a:moveTo>
                <a:cubicBezTo>
                  <a:pt x="3851952" y="1755506"/>
                  <a:pt x="3857399" y="1760953"/>
                  <a:pt x="3857399" y="1767487"/>
                </a:cubicBezTo>
                <a:cubicBezTo>
                  <a:pt x="3857399" y="1774024"/>
                  <a:pt x="3851952" y="1779468"/>
                  <a:pt x="3845414" y="1779468"/>
                </a:cubicBezTo>
                <a:cubicBezTo>
                  <a:pt x="3838881" y="1779468"/>
                  <a:pt x="3833434" y="1774024"/>
                  <a:pt x="3833434" y="1767487"/>
                </a:cubicBezTo>
                <a:cubicBezTo>
                  <a:pt x="3833434" y="1760953"/>
                  <a:pt x="3838881" y="1755506"/>
                  <a:pt x="3845414" y="1755506"/>
                </a:cubicBezTo>
                <a:close/>
                <a:moveTo>
                  <a:pt x="3999000" y="1753329"/>
                </a:moveTo>
                <a:cubicBezTo>
                  <a:pt x="4006627" y="1753329"/>
                  <a:pt x="4012799" y="1759501"/>
                  <a:pt x="4012799" y="1767125"/>
                </a:cubicBezTo>
                <a:cubicBezTo>
                  <a:pt x="4012799" y="1774752"/>
                  <a:pt x="4006627" y="1780924"/>
                  <a:pt x="3999000" y="1780924"/>
                </a:cubicBezTo>
                <a:cubicBezTo>
                  <a:pt x="3991376" y="1780924"/>
                  <a:pt x="3985204" y="1774752"/>
                  <a:pt x="3985204" y="1767125"/>
                </a:cubicBezTo>
                <a:cubicBezTo>
                  <a:pt x="3985204" y="1759501"/>
                  <a:pt x="3991376" y="1753329"/>
                  <a:pt x="3999000" y="1753329"/>
                </a:cubicBezTo>
                <a:close/>
                <a:moveTo>
                  <a:pt x="4152947" y="1752239"/>
                </a:moveTo>
                <a:cubicBezTo>
                  <a:pt x="4161372" y="1752239"/>
                  <a:pt x="4168198" y="1759066"/>
                  <a:pt x="4168198" y="1767491"/>
                </a:cubicBezTo>
                <a:cubicBezTo>
                  <a:pt x="4168198" y="1775911"/>
                  <a:pt x="4161372" y="1782738"/>
                  <a:pt x="4152947" y="1782738"/>
                </a:cubicBezTo>
                <a:cubicBezTo>
                  <a:pt x="4144526" y="1782738"/>
                  <a:pt x="4137700" y="1775911"/>
                  <a:pt x="4137700" y="1767491"/>
                </a:cubicBezTo>
                <a:cubicBezTo>
                  <a:pt x="4137700" y="1759066"/>
                  <a:pt x="4144526" y="1752239"/>
                  <a:pt x="4152947" y="1752239"/>
                </a:cubicBezTo>
                <a:close/>
                <a:moveTo>
                  <a:pt x="4306532" y="1750425"/>
                </a:moveTo>
                <a:cubicBezTo>
                  <a:pt x="4315970" y="1750425"/>
                  <a:pt x="4323598" y="1758048"/>
                  <a:pt x="4323598" y="1767491"/>
                </a:cubicBezTo>
                <a:cubicBezTo>
                  <a:pt x="4323598" y="1776929"/>
                  <a:pt x="4315970" y="1784556"/>
                  <a:pt x="4306532" y="1784556"/>
                </a:cubicBezTo>
                <a:cubicBezTo>
                  <a:pt x="4297090" y="1784556"/>
                  <a:pt x="4289466" y="1776929"/>
                  <a:pt x="4289466" y="1767491"/>
                </a:cubicBezTo>
                <a:cubicBezTo>
                  <a:pt x="4289466" y="1758048"/>
                  <a:pt x="4297090" y="1750425"/>
                  <a:pt x="4306532" y="1750425"/>
                </a:cubicBezTo>
                <a:close/>
                <a:moveTo>
                  <a:pt x="4460480" y="1748244"/>
                </a:moveTo>
                <a:cubicBezTo>
                  <a:pt x="4471111" y="1748244"/>
                  <a:pt x="4479726" y="1756859"/>
                  <a:pt x="4479726" y="1767487"/>
                </a:cubicBezTo>
                <a:cubicBezTo>
                  <a:pt x="4479726" y="1778114"/>
                  <a:pt x="4471111" y="1786729"/>
                  <a:pt x="4460480" y="1786729"/>
                </a:cubicBezTo>
                <a:cubicBezTo>
                  <a:pt x="4449852" y="1786729"/>
                  <a:pt x="4441237" y="1778114"/>
                  <a:pt x="4441237" y="1767487"/>
                </a:cubicBezTo>
                <a:cubicBezTo>
                  <a:pt x="4441237" y="1756859"/>
                  <a:pt x="4449852" y="1748244"/>
                  <a:pt x="4460480" y="1748244"/>
                </a:cubicBezTo>
                <a:close/>
                <a:moveTo>
                  <a:pt x="4614065" y="1746068"/>
                </a:moveTo>
                <a:cubicBezTo>
                  <a:pt x="4626046" y="1746068"/>
                  <a:pt x="4635484" y="1755506"/>
                  <a:pt x="4635484" y="1767491"/>
                </a:cubicBezTo>
                <a:cubicBezTo>
                  <a:pt x="4635484" y="1779471"/>
                  <a:pt x="4625684" y="1788913"/>
                  <a:pt x="4614065" y="1788913"/>
                </a:cubicBezTo>
                <a:cubicBezTo>
                  <a:pt x="4602084" y="1788913"/>
                  <a:pt x="4592642" y="1779471"/>
                  <a:pt x="4592642" y="1767491"/>
                </a:cubicBezTo>
                <a:cubicBezTo>
                  <a:pt x="4592642" y="1755506"/>
                  <a:pt x="4602084" y="1746068"/>
                  <a:pt x="4614065" y="1746068"/>
                </a:cubicBezTo>
                <a:close/>
                <a:moveTo>
                  <a:pt x="4768012" y="1744615"/>
                </a:moveTo>
                <a:cubicBezTo>
                  <a:pt x="4780718" y="1744615"/>
                  <a:pt x="4790884" y="1754782"/>
                  <a:pt x="4790884" y="1767491"/>
                </a:cubicBezTo>
                <a:cubicBezTo>
                  <a:pt x="4790884" y="1780196"/>
                  <a:pt x="4780718" y="1790366"/>
                  <a:pt x="4768012" y="1790366"/>
                </a:cubicBezTo>
                <a:cubicBezTo>
                  <a:pt x="4755304" y="1790366"/>
                  <a:pt x="4745137" y="1780196"/>
                  <a:pt x="4745137" y="1767491"/>
                </a:cubicBezTo>
                <a:cubicBezTo>
                  <a:pt x="4745137" y="1754782"/>
                  <a:pt x="4755304" y="1744615"/>
                  <a:pt x="4768012" y="1744615"/>
                </a:cubicBezTo>
                <a:close/>
                <a:moveTo>
                  <a:pt x="4921594" y="1742435"/>
                </a:moveTo>
                <a:cubicBezTo>
                  <a:pt x="4935393" y="1742435"/>
                  <a:pt x="4946650" y="1753691"/>
                  <a:pt x="4946650" y="1767487"/>
                </a:cubicBezTo>
                <a:cubicBezTo>
                  <a:pt x="4946650" y="1781286"/>
                  <a:pt x="4935393" y="1792538"/>
                  <a:pt x="4921594" y="1792538"/>
                </a:cubicBezTo>
                <a:cubicBezTo>
                  <a:pt x="4907798" y="1792538"/>
                  <a:pt x="4896542" y="1781286"/>
                  <a:pt x="4896542" y="1767487"/>
                </a:cubicBezTo>
                <a:cubicBezTo>
                  <a:pt x="4896542" y="1753691"/>
                  <a:pt x="4907798" y="1742435"/>
                  <a:pt x="4921594" y="1742435"/>
                </a:cubicBezTo>
                <a:close/>
                <a:moveTo>
                  <a:pt x="5075545" y="1740258"/>
                </a:moveTo>
                <a:cubicBezTo>
                  <a:pt x="5090430" y="1740258"/>
                  <a:pt x="5102777" y="1752605"/>
                  <a:pt x="5102777" y="1767491"/>
                </a:cubicBezTo>
                <a:cubicBezTo>
                  <a:pt x="5102777" y="1782376"/>
                  <a:pt x="5090792" y="1794723"/>
                  <a:pt x="5075545" y="1794723"/>
                </a:cubicBezTo>
                <a:cubicBezTo>
                  <a:pt x="5060656" y="1794723"/>
                  <a:pt x="5048313" y="1782376"/>
                  <a:pt x="5048313" y="1767491"/>
                </a:cubicBezTo>
                <a:cubicBezTo>
                  <a:pt x="5048313" y="1752605"/>
                  <a:pt x="5060656" y="1740258"/>
                  <a:pt x="5075545" y="1740258"/>
                </a:cubicBezTo>
                <a:close/>
                <a:moveTo>
                  <a:pt x="5229126" y="1737716"/>
                </a:moveTo>
                <a:cubicBezTo>
                  <a:pt x="5245571" y="1737716"/>
                  <a:pt x="5258901" y="1751046"/>
                  <a:pt x="5258901" y="1767491"/>
                </a:cubicBezTo>
                <a:cubicBezTo>
                  <a:pt x="5258901" y="1783931"/>
                  <a:pt x="5245571" y="1797261"/>
                  <a:pt x="5229126" y="1797261"/>
                </a:cubicBezTo>
                <a:cubicBezTo>
                  <a:pt x="5212686" y="1797261"/>
                  <a:pt x="5199356" y="1783931"/>
                  <a:pt x="5199356" y="1767491"/>
                </a:cubicBezTo>
                <a:cubicBezTo>
                  <a:pt x="5199356" y="1751046"/>
                  <a:pt x="5212686" y="1737716"/>
                  <a:pt x="5229126" y="1737716"/>
                </a:cubicBezTo>
                <a:close/>
                <a:moveTo>
                  <a:pt x="5383074" y="1735535"/>
                </a:moveTo>
                <a:cubicBezTo>
                  <a:pt x="5400864" y="1735535"/>
                  <a:pt x="5415025" y="1749697"/>
                  <a:pt x="5415025" y="1767487"/>
                </a:cubicBezTo>
                <a:cubicBezTo>
                  <a:pt x="5415025" y="1785277"/>
                  <a:pt x="5400864" y="1799438"/>
                  <a:pt x="5383074" y="1799438"/>
                </a:cubicBezTo>
                <a:cubicBezTo>
                  <a:pt x="5365284" y="1799438"/>
                  <a:pt x="5351122" y="1785277"/>
                  <a:pt x="5351122" y="1767487"/>
                </a:cubicBezTo>
                <a:cubicBezTo>
                  <a:pt x="5351122" y="1749697"/>
                  <a:pt x="5365284" y="1735535"/>
                  <a:pt x="5383074" y="1735535"/>
                </a:cubicBezTo>
                <a:close/>
                <a:moveTo>
                  <a:pt x="5537025" y="1733721"/>
                </a:moveTo>
                <a:cubicBezTo>
                  <a:pt x="5555673" y="1733721"/>
                  <a:pt x="5570791" y="1748839"/>
                  <a:pt x="5570791" y="1767487"/>
                </a:cubicBezTo>
                <a:cubicBezTo>
                  <a:pt x="5570791" y="1786138"/>
                  <a:pt x="5555673" y="1801256"/>
                  <a:pt x="5537025" y="1801256"/>
                </a:cubicBezTo>
                <a:cubicBezTo>
                  <a:pt x="5518374" y="1801256"/>
                  <a:pt x="5503256" y="1786138"/>
                  <a:pt x="5503256" y="1767487"/>
                </a:cubicBezTo>
                <a:cubicBezTo>
                  <a:pt x="5503256" y="1748839"/>
                  <a:pt x="5518374" y="1733721"/>
                  <a:pt x="5537025" y="1733721"/>
                </a:cubicBezTo>
                <a:close/>
                <a:moveTo>
                  <a:pt x="5690606" y="1731182"/>
                </a:moveTo>
                <a:cubicBezTo>
                  <a:pt x="5710577" y="1731182"/>
                  <a:pt x="5726915" y="1747520"/>
                  <a:pt x="5726915" y="1767491"/>
                </a:cubicBezTo>
                <a:cubicBezTo>
                  <a:pt x="5726915" y="1787461"/>
                  <a:pt x="5710577" y="1803799"/>
                  <a:pt x="5690606" y="1803799"/>
                </a:cubicBezTo>
                <a:cubicBezTo>
                  <a:pt x="5670636" y="1803799"/>
                  <a:pt x="5654298" y="1787461"/>
                  <a:pt x="5654298" y="1767491"/>
                </a:cubicBezTo>
                <a:cubicBezTo>
                  <a:pt x="5654298" y="1747520"/>
                  <a:pt x="5670636" y="1731182"/>
                  <a:pt x="5690606" y="1731182"/>
                </a:cubicBezTo>
                <a:close/>
                <a:moveTo>
                  <a:pt x="5844554" y="1728640"/>
                </a:moveTo>
                <a:cubicBezTo>
                  <a:pt x="5865973" y="1728640"/>
                  <a:pt x="5883405" y="1746068"/>
                  <a:pt x="5883405" y="1767491"/>
                </a:cubicBezTo>
                <a:cubicBezTo>
                  <a:pt x="5883405" y="1788910"/>
                  <a:pt x="5865973" y="1806338"/>
                  <a:pt x="5844554" y="1806338"/>
                </a:cubicBezTo>
                <a:cubicBezTo>
                  <a:pt x="5823131" y="1806338"/>
                  <a:pt x="5805703" y="1788910"/>
                  <a:pt x="5805703" y="1767491"/>
                </a:cubicBezTo>
                <a:cubicBezTo>
                  <a:pt x="5805703" y="1746068"/>
                  <a:pt x="5823131" y="1728640"/>
                  <a:pt x="5844554" y="1728640"/>
                </a:cubicBezTo>
                <a:close/>
                <a:moveTo>
                  <a:pt x="5998136" y="1726459"/>
                </a:moveTo>
                <a:cubicBezTo>
                  <a:pt x="6021010" y="1726459"/>
                  <a:pt x="6039166" y="1744615"/>
                  <a:pt x="6039166" y="1767487"/>
                </a:cubicBezTo>
                <a:cubicBezTo>
                  <a:pt x="6039166" y="1790362"/>
                  <a:pt x="6020648" y="1808518"/>
                  <a:pt x="5998136" y="1808518"/>
                </a:cubicBezTo>
                <a:cubicBezTo>
                  <a:pt x="5975264" y="1808518"/>
                  <a:pt x="5957108" y="1790362"/>
                  <a:pt x="5957108" y="1767487"/>
                </a:cubicBezTo>
                <a:cubicBezTo>
                  <a:pt x="5957108" y="1744615"/>
                  <a:pt x="5975264" y="1726459"/>
                  <a:pt x="5998136" y="1726459"/>
                </a:cubicBezTo>
                <a:close/>
                <a:moveTo>
                  <a:pt x="6152086" y="1723917"/>
                </a:moveTo>
                <a:cubicBezTo>
                  <a:pt x="6176048" y="1723917"/>
                  <a:pt x="6195656" y="1743525"/>
                  <a:pt x="6195656" y="1767487"/>
                </a:cubicBezTo>
                <a:cubicBezTo>
                  <a:pt x="6195656" y="1791452"/>
                  <a:pt x="6176048" y="1811057"/>
                  <a:pt x="6152086" y="1811057"/>
                </a:cubicBezTo>
                <a:cubicBezTo>
                  <a:pt x="6128121" y="1811057"/>
                  <a:pt x="6108516" y="1791452"/>
                  <a:pt x="6108516" y="1767487"/>
                </a:cubicBezTo>
                <a:cubicBezTo>
                  <a:pt x="6108516" y="1743525"/>
                  <a:pt x="6128121" y="1723917"/>
                  <a:pt x="6152086" y="1723917"/>
                </a:cubicBezTo>
                <a:close/>
                <a:moveTo>
                  <a:pt x="6305668" y="1721378"/>
                </a:moveTo>
                <a:cubicBezTo>
                  <a:pt x="6331086" y="1721378"/>
                  <a:pt x="6351777" y="1742073"/>
                  <a:pt x="6351777" y="1767491"/>
                </a:cubicBezTo>
                <a:cubicBezTo>
                  <a:pt x="6351777" y="1792904"/>
                  <a:pt x="6331086" y="1813603"/>
                  <a:pt x="6305668" y="1813603"/>
                </a:cubicBezTo>
                <a:cubicBezTo>
                  <a:pt x="6280250" y="1813603"/>
                  <a:pt x="6259556" y="1792904"/>
                  <a:pt x="6259556" y="1767491"/>
                </a:cubicBezTo>
                <a:cubicBezTo>
                  <a:pt x="6259556" y="1742073"/>
                  <a:pt x="6280250" y="1721378"/>
                  <a:pt x="6305668" y="1721378"/>
                </a:cubicBezTo>
                <a:close/>
                <a:moveTo>
                  <a:pt x="6459619" y="1718835"/>
                </a:moveTo>
                <a:cubicBezTo>
                  <a:pt x="6486486" y="1718835"/>
                  <a:pt x="6508270" y="1740620"/>
                  <a:pt x="6508270" y="1767491"/>
                </a:cubicBezTo>
                <a:cubicBezTo>
                  <a:pt x="6508270" y="1794357"/>
                  <a:pt x="6486486" y="1816142"/>
                  <a:pt x="6459619" y="1816142"/>
                </a:cubicBezTo>
                <a:cubicBezTo>
                  <a:pt x="6432749" y="1816142"/>
                  <a:pt x="6410964" y="1794357"/>
                  <a:pt x="6410964" y="1767491"/>
                </a:cubicBezTo>
                <a:cubicBezTo>
                  <a:pt x="6410964" y="1740620"/>
                  <a:pt x="6432749" y="1718835"/>
                  <a:pt x="6459619" y="1718835"/>
                </a:cubicBezTo>
                <a:close/>
                <a:moveTo>
                  <a:pt x="6613200" y="1716293"/>
                </a:moveTo>
                <a:cubicBezTo>
                  <a:pt x="6641523" y="1716293"/>
                  <a:pt x="6664398" y="1739168"/>
                  <a:pt x="6664398" y="1767487"/>
                </a:cubicBezTo>
                <a:cubicBezTo>
                  <a:pt x="6664398" y="1795809"/>
                  <a:pt x="6641523" y="1818681"/>
                  <a:pt x="6613200" y="1818681"/>
                </a:cubicBezTo>
                <a:cubicBezTo>
                  <a:pt x="6584882" y="1818681"/>
                  <a:pt x="6562007" y="1795809"/>
                  <a:pt x="6562007" y="1767487"/>
                </a:cubicBezTo>
                <a:cubicBezTo>
                  <a:pt x="6562007" y="1739168"/>
                  <a:pt x="6584882" y="1716293"/>
                  <a:pt x="6613200" y="1716293"/>
                </a:cubicBezTo>
                <a:close/>
                <a:moveTo>
                  <a:pt x="2307393" y="1613539"/>
                </a:moveTo>
                <a:cubicBezTo>
                  <a:pt x="2307755" y="1613539"/>
                  <a:pt x="2307755" y="1613539"/>
                  <a:pt x="2307755" y="1613901"/>
                </a:cubicBezTo>
                <a:cubicBezTo>
                  <a:pt x="2307755" y="1614267"/>
                  <a:pt x="2307393" y="1614267"/>
                  <a:pt x="2307393" y="1614267"/>
                </a:cubicBezTo>
                <a:cubicBezTo>
                  <a:pt x="2307031" y="1614267"/>
                  <a:pt x="2307031" y="1614267"/>
                  <a:pt x="2307031" y="1613901"/>
                </a:cubicBezTo>
                <a:cubicBezTo>
                  <a:pt x="2307031" y="1613539"/>
                  <a:pt x="2307031" y="1613539"/>
                  <a:pt x="2307393" y="1613539"/>
                </a:cubicBezTo>
                <a:close/>
                <a:moveTo>
                  <a:pt x="1846279" y="1613539"/>
                </a:moveTo>
                <a:cubicBezTo>
                  <a:pt x="1846641" y="1613539"/>
                  <a:pt x="1846641" y="1613539"/>
                  <a:pt x="1846641" y="1613901"/>
                </a:cubicBezTo>
                <a:cubicBezTo>
                  <a:pt x="1846641" y="1614267"/>
                  <a:pt x="1846279" y="1614267"/>
                  <a:pt x="1846279" y="1614267"/>
                </a:cubicBezTo>
                <a:cubicBezTo>
                  <a:pt x="1845917" y="1614267"/>
                  <a:pt x="1845917" y="1614267"/>
                  <a:pt x="1845917" y="1613901"/>
                </a:cubicBezTo>
                <a:cubicBezTo>
                  <a:pt x="1845917" y="1613539"/>
                  <a:pt x="1845917" y="1613539"/>
                  <a:pt x="1846279" y="1613539"/>
                </a:cubicBezTo>
                <a:close/>
                <a:moveTo>
                  <a:pt x="1692331" y="1613539"/>
                </a:moveTo>
                <a:cubicBezTo>
                  <a:pt x="1692694" y="1613539"/>
                  <a:pt x="1692694" y="1613539"/>
                  <a:pt x="1692694" y="1613901"/>
                </a:cubicBezTo>
                <a:cubicBezTo>
                  <a:pt x="1692694" y="1614267"/>
                  <a:pt x="1692331" y="1614267"/>
                  <a:pt x="1692331" y="1614267"/>
                </a:cubicBezTo>
                <a:cubicBezTo>
                  <a:pt x="1691969" y="1614267"/>
                  <a:pt x="1691969" y="1614267"/>
                  <a:pt x="1691969" y="1613901"/>
                </a:cubicBezTo>
                <a:cubicBezTo>
                  <a:pt x="1691969" y="1613539"/>
                  <a:pt x="1691969" y="1613539"/>
                  <a:pt x="1692331" y="1613539"/>
                </a:cubicBezTo>
                <a:close/>
                <a:moveTo>
                  <a:pt x="1538746" y="1613177"/>
                </a:moveTo>
                <a:cubicBezTo>
                  <a:pt x="1539108" y="1613177"/>
                  <a:pt x="1539470" y="1613539"/>
                  <a:pt x="1539470" y="1613905"/>
                </a:cubicBezTo>
                <a:cubicBezTo>
                  <a:pt x="1539470" y="1614267"/>
                  <a:pt x="1538746" y="1614630"/>
                  <a:pt x="1538746" y="1614630"/>
                </a:cubicBezTo>
                <a:cubicBezTo>
                  <a:pt x="1538380" y="1614630"/>
                  <a:pt x="1538018" y="1614267"/>
                  <a:pt x="1538018" y="1613905"/>
                </a:cubicBezTo>
                <a:cubicBezTo>
                  <a:pt x="1538018" y="1613539"/>
                  <a:pt x="1538380" y="1613177"/>
                  <a:pt x="1538746" y="1613177"/>
                </a:cubicBezTo>
                <a:close/>
                <a:moveTo>
                  <a:pt x="2461340" y="1612091"/>
                </a:moveTo>
                <a:cubicBezTo>
                  <a:pt x="2462064" y="1612091"/>
                  <a:pt x="2462793" y="1612815"/>
                  <a:pt x="2462793" y="1613543"/>
                </a:cubicBezTo>
                <a:cubicBezTo>
                  <a:pt x="2462793" y="1614267"/>
                  <a:pt x="2461340" y="1614995"/>
                  <a:pt x="2461340" y="1614995"/>
                </a:cubicBezTo>
                <a:cubicBezTo>
                  <a:pt x="2460612" y="1614995"/>
                  <a:pt x="2459888" y="1614267"/>
                  <a:pt x="2459888" y="1613543"/>
                </a:cubicBezTo>
                <a:cubicBezTo>
                  <a:pt x="2459888" y="1612815"/>
                  <a:pt x="2460612" y="1612091"/>
                  <a:pt x="2461340" y="1612091"/>
                </a:cubicBezTo>
                <a:close/>
                <a:moveTo>
                  <a:pt x="2614922" y="1611363"/>
                </a:moveTo>
                <a:cubicBezTo>
                  <a:pt x="2616012" y="1611363"/>
                  <a:pt x="2617102" y="1612453"/>
                  <a:pt x="2617102" y="1613539"/>
                </a:cubicBezTo>
                <a:cubicBezTo>
                  <a:pt x="2617102" y="1614630"/>
                  <a:pt x="2614922" y="1615720"/>
                  <a:pt x="2614922" y="1615720"/>
                </a:cubicBezTo>
                <a:cubicBezTo>
                  <a:pt x="2613835" y="1615720"/>
                  <a:pt x="2612745" y="1614630"/>
                  <a:pt x="2612745" y="1613539"/>
                </a:cubicBezTo>
                <a:cubicBezTo>
                  <a:pt x="2612745" y="1612453"/>
                  <a:pt x="2613835" y="1611363"/>
                  <a:pt x="2614922" y="1611363"/>
                </a:cubicBezTo>
                <a:close/>
                <a:moveTo>
                  <a:pt x="2768877" y="1610638"/>
                </a:moveTo>
                <a:cubicBezTo>
                  <a:pt x="2770691" y="1610638"/>
                  <a:pt x="2772144" y="1612091"/>
                  <a:pt x="2772144" y="1613905"/>
                </a:cubicBezTo>
                <a:cubicBezTo>
                  <a:pt x="2772144" y="1615720"/>
                  <a:pt x="2770691" y="1617176"/>
                  <a:pt x="2768877" y="1617176"/>
                </a:cubicBezTo>
                <a:cubicBezTo>
                  <a:pt x="2767058" y="1617176"/>
                  <a:pt x="2765606" y="1615720"/>
                  <a:pt x="2765606" y="1613905"/>
                </a:cubicBezTo>
                <a:cubicBezTo>
                  <a:pt x="2765606" y="1612091"/>
                  <a:pt x="2767058" y="1610638"/>
                  <a:pt x="2768877" y="1610638"/>
                </a:cubicBezTo>
                <a:close/>
                <a:moveTo>
                  <a:pt x="2922458" y="1609182"/>
                </a:moveTo>
                <a:cubicBezTo>
                  <a:pt x="2925000" y="1609182"/>
                  <a:pt x="2926815" y="1610997"/>
                  <a:pt x="2926815" y="1613539"/>
                </a:cubicBezTo>
                <a:cubicBezTo>
                  <a:pt x="2926815" y="1616082"/>
                  <a:pt x="2924635" y="1617896"/>
                  <a:pt x="2922458" y="1617896"/>
                </a:cubicBezTo>
                <a:cubicBezTo>
                  <a:pt x="2919916" y="1617896"/>
                  <a:pt x="2918101" y="1616082"/>
                  <a:pt x="2918101" y="1613539"/>
                </a:cubicBezTo>
                <a:cubicBezTo>
                  <a:pt x="2918101" y="1610997"/>
                  <a:pt x="2919916" y="1609182"/>
                  <a:pt x="2922458" y="1609182"/>
                </a:cubicBezTo>
                <a:close/>
                <a:moveTo>
                  <a:pt x="3076406" y="1608096"/>
                </a:moveTo>
                <a:cubicBezTo>
                  <a:pt x="3079672" y="1608096"/>
                  <a:pt x="3082215" y="1610638"/>
                  <a:pt x="3082215" y="1613905"/>
                </a:cubicBezTo>
                <a:cubicBezTo>
                  <a:pt x="3082215" y="1617172"/>
                  <a:pt x="3079672" y="1619715"/>
                  <a:pt x="3076406" y="1619715"/>
                </a:cubicBezTo>
                <a:cubicBezTo>
                  <a:pt x="3073139" y="1619715"/>
                  <a:pt x="3070596" y="1617172"/>
                  <a:pt x="3070596" y="1613905"/>
                </a:cubicBezTo>
                <a:cubicBezTo>
                  <a:pt x="3070596" y="1610638"/>
                  <a:pt x="3073139" y="1608096"/>
                  <a:pt x="3076406" y="1608096"/>
                </a:cubicBezTo>
                <a:close/>
                <a:moveTo>
                  <a:pt x="3230353" y="1606281"/>
                </a:moveTo>
                <a:cubicBezTo>
                  <a:pt x="3234348" y="1606281"/>
                  <a:pt x="3237614" y="1609548"/>
                  <a:pt x="3237614" y="1613543"/>
                </a:cubicBezTo>
                <a:cubicBezTo>
                  <a:pt x="3237614" y="1617538"/>
                  <a:pt x="3234348" y="1620805"/>
                  <a:pt x="3230353" y="1620805"/>
                </a:cubicBezTo>
                <a:cubicBezTo>
                  <a:pt x="3226358" y="1620805"/>
                  <a:pt x="3223091" y="1617538"/>
                  <a:pt x="3223091" y="1613543"/>
                </a:cubicBezTo>
                <a:cubicBezTo>
                  <a:pt x="3223091" y="1609548"/>
                  <a:pt x="3226358" y="1606281"/>
                  <a:pt x="3230353" y="1606281"/>
                </a:cubicBezTo>
                <a:close/>
                <a:moveTo>
                  <a:pt x="3383934" y="1604463"/>
                </a:moveTo>
                <a:cubicBezTo>
                  <a:pt x="3389019" y="1604463"/>
                  <a:pt x="3393014" y="1608458"/>
                  <a:pt x="3393014" y="1613539"/>
                </a:cubicBezTo>
                <a:cubicBezTo>
                  <a:pt x="3393014" y="1618624"/>
                  <a:pt x="3389019" y="1622619"/>
                  <a:pt x="3383934" y="1622619"/>
                </a:cubicBezTo>
                <a:cubicBezTo>
                  <a:pt x="3378853" y="1622619"/>
                  <a:pt x="3374858" y="1618624"/>
                  <a:pt x="3374858" y="1613539"/>
                </a:cubicBezTo>
                <a:cubicBezTo>
                  <a:pt x="3374858" y="1608458"/>
                  <a:pt x="3378853" y="1604463"/>
                  <a:pt x="3383934" y="1604463"/>
                </a:cubicBezTo>
                <a:close/>
                <a:moveTo>
                  <a:pt x="3537886" y="1603739"/>
                </a:moveTo>
                <a:cubicBezTo>
                  <a:pt x="3543333" y="1603739"/>
                  <a:pt x="3548052" y="1608458"/>
                  <a:pt x="3548052" y="1613905"/>
                </a:cubicBezTo>
                <a:cubicBezTo>
                  <a:pt x="3548052" y="1619352"/>
                  <a:pt x="3543695" y="1624072"/>
                  <a:pt x="3537886" y="1624072"/>
                </a:cubicBezTo>
                <a:cubicBezTo>
                  <a:pt x="3532438" y="1624072"/>
                  <a:pt x="3527719" y="1619352"/>
                  <a:pt x="3527719" y="1613905"/>
                </a:cubicBezTo>
                <a:cubicBezTo>
                  <a:pt x="3527719" y="1608458"/>
                  <a:pt x="3532438" y="1603739"/>
                  <a:pt x="3537886" y="1603739"/>
                </a:cubicBezTo>
                <a:close/>
                <a:moveTo>
                  <a:pt x="3691467" y="1601559"/>
                </a:moveTo>
                <a:cubicBezTo>
                  <a:pt x="3698004" y="1601559"/>
                  <a:pt x="3703452" y="1607006"/>
                  <a:pt x="3703452" y="1613539"/>
                </a:cubicBezTo>
                <a:cubicBezTo>
                  <a:pt x="3703452" y="1620077"/>
                  <a:pt x="3698004" y="1625520"/>
                  <a:pt x="3691467" y="1625520"/>
                </a:cubicBezTo>
                <a:cubicBezTo>
                  <a:pt x="3684933" y="1625520"/>
                  <a:pt x="3679486" y="1620077"/>
                  <a:pt x="3679486" y="1613539"/>
                </a:cubicBezTo>
                <a:cubicBezTo>
                  <a:pt x="3679486" y="1607006"/>
                  <a:pt x="3684933" y="1601559"/>
                  <a:pt x="3691467" y="1601559"/>
                </a:cubicBezTo>
                <a:close/>
                <a:moveTo>
                  <a:pt x="3845418" y="1599744"/>
                </a:moveTo>
                <a:cubicBezTo>
                  <a:pt x="3853042" y="1599744"/>
                  <a:pt x="3859214" y="1605916"/>
                  <a:pt x="3859214" y="1613539"/>
                </a:cubicBezTo>
                <a:cubicBezTo>
                  <a:pt x="3859214" y="1621167"/>
                  <a:pt x="3853042" y="1627338"/>
                  <a:pt x="3845418" y="1627338"/>
                </a:cubicBezTo>
                <a:cubicBezTo>
                  <a:pt x="3837790" y="1627338"/>
                  <a:pt x="3831619" y="1621167"/>
                  <a:pt x="3831619" y="1613539"/>
                </a:cubicBezTo>
                <a:cubicBezTo>
                  <a:pt x="3831619" y="1605916"/>
                  <a:pt x="3837790" y="1599744"/>
                  <a:pt x="3845418" y="1599744"/>
                </a:cubicBezTo>
                <a:close/>
                <a:moveTo>
                  <a:pt x="3999000" y="1598654"/>
                </a:moveTo>
                <a:cubicBezTo>
                  <a:pt x="4007352" y="1598654"/>
                  <a:pt x="4014251" y="1605553"/>
                  <a:pt x="4014251" y="1613905"/>
                </a:cubicBezTo>
                <a:cubicBezTo>
                  <a:pt x="4014251" y="1622253"/>
                  <a:pt x="4007352" y="1629153"/>
                  <a:pt x="3999000" y="1629153"/>
                </a:cubicBezTo>
                <a:cubicBezTo>
                  <a:pt x="3990652" y="1629153"/>
                  <a:pt x="3983752" y="1622253"/>
                  <a:pt x="3983752" y="1613905"/>
                </a:cubicBezTo>
                <a:cubicBezTo>
                  <a:pt x="3983752" y="1605553"/>
                  <a:pt x="3990652" y="1598654"/>
                  <a:pt x="3999000" y="1598654"/>
                </a:cubicBezTo>
                <a:close/>
                <a:moveTo>
                  <a:pt x="4152947" y="1596477"/>
                </a:moveTo>
                <a:cubicBezTo>
                  <a:pt x="4162386" y="1596477"/>
                  <a:pt x="4170013" y="1604101"/>
                  <a:pt x="4170013" y="1613543"/>
                </a:cubicBezTo>
                <a:cubicBezTo>
                  <a:pt x="4170013" y="1622981"/>
                  <a:pt x="4162386" y="1630605"/>
                  <a:pt x="4152947" y="1630605"/>
                </a:cubicBezTo>
                <a:cubicBezTo>
                  <a:pt x="4143505" y="1630605"/>
                  <a:pt x="4135881" y="1622981"/>
                  <a:pt x="4135881" y="1613543"/>
                </a:cubicBezTo>
                <a:cubicBezTo>
                  <a:pt x="4135881" y="1604101"/>
                  <a:pt x="4143505" y="1596477"/>
                  <a:pt x="4152947" y="1596477"/>
                </a:cubicBezTo>
                <a:close/>
                <a:moveTo>
                  <a:pt x="4306528" y="1594297"/>
                </a:moveTo>
                <a:cubicBezTo>
                  <a:pt x="4317060" y="1594297"/>
                  <a:pt x="4325771" y="1603011"/>
                  <a:pt x="4325771" y="1613539"/>
                </a:cubicBezTo>
                <a:cubicBezTo>
                  <a:pt x="4325771" y="1624068"/>
                  <a:pt x="4317060" y="1632786"/>
                  <a:pt x="4306528" y="1632786"/>
                </a:cubicBezTo>
                <a:cubicBezTo>
                  <a:pt x="4296000" y="1632786"/>
                  <a:pt x="4287286" y="1624068"/>
                  <a:pt x="4287286" y="1613539"/>
                </a:cubicBezTo>
                <a:cubicBezTo>
                  <a:pt x="4287286" y="1603011"/>
                  <a:pt x="4296000" y="1594297"/>
                  <a:pt x="4306528" y="1594297"/>
                </a:cubicBezTo>
                <a:close/>
                <a:moveTo>
                  <a:pt x="4460480" y="1592120"/>
                </a:moveTo>
                <a:cubicBezTo>
                  <a:pt x="4472460" y="1592120"/>
                  <a:pt x="4481898" y="1601562"/>
                  <a:pt x="4481898" y="1613543"/>
                </a:cubicBezTo>
                <a:cubicBezTo>
                  <a:pt x="4481898" y="1625524"/>
                  <a:pt x="4472094" y="1634966"/>
                  <a:pt x="4460480" y="1634966"/>
                </a:cubicBezTo>
                <a:cubicBezTo>
                  <a:pt x="4448495" y="1634966"/>
                  <a:pt x="4439057" y="1625524"/>
                  <a:pt x="4439057" y="1613543"/>
                </a:cubicBezTo>
                <a:cubicBezTo>
                  <a:pt x="4439057" y="1601562"/>
                  <a:pt x="4448495" y="1592120"/>
                  <a:pt x="4460480" y="1592120"/>
                </a:cubicBezTo>
                <a:close/>
                <a:moveTo>
                  <a:pt x="4614065" y="1591030"/>
                </a:moveTo>
                <a:cubicBezTo>
                  <a:pt x="4626774" y="1591030"/>
                  <a:pt x="4636940" y="1601196"/>
                  <a:pt x="4636940" y="1613905"/>
                </a:cubicBezTo>
                <a:cubicBezTo>
                  <a:pt x="4636940" y="1626610"/>
                  <a:pt x="4626774" y="1636780"/>
                  <a:pt x="4614065" y="1636780"/>
                </a:cubicBezTo>
                <a:cubicBezTo>
                  <a:pt x="4601356" y="1636780"/>
                  <a:pt x="4591190" y="1626610"/>
                  <a:pt x="4591190" y="1613905"/>
                </a:cubicBezTo>
                <a:cubicBezTo>
                  <a:pt x="4591190" y="1601196"/>
                  <a:pt x="4601356" y="1591030"/>
                  <a:pt x="4614065" y="1591030"/>
                </a:cubicBezTo>
                <a:close/>
                <a:moveTo>
                  <a:pt x="4768008" y="1588850"/>
                </a:moveTo>
                <a:cubicBezTo>
                  <a:pt x="4781808" y="1588850"/>
                  <a:pt x="4793064" y="1600106"/>
                  <a:pt x="4793064" y="1613901"/>
                </a:cubicBezTo>
                <a:cubicBezTo>
                  <a:pt x="4793064" y="1627700"/>
                  <a:pt x="4781808" y="1638957"/>
                  <a:pt x="4768008" y="1638957"/>
                </a:cubicBezTo>
                <a:cubicBezTo>
                  <a:pt x="4754214" y="1638957"/>
                  <a:pt x="4742956" y="1627700"/>
                  <a:pt x="4742956" y="1613901"/>
                </a:cubicBezTo>
                <a:cubicBezTo>
                  <a:pt x="4742956" y="1600106"/>
                  <a:pt x="4754214" y="1588850"/>
                  <a:pt x="4768008" y="1588850"/>
                </a:cubicBezTo>
                <a:close/>
                <a:moveTo>
                  <a:pt x="4921594" y="1586673"/>
                </a:moveTo>
                <a:cubicBezTo>
                  <a:pt x="4936480" y="1586673"/>
                  <a:pt x="4948826" y="1599020"/>
                  <a:pt x="4948826" y="1613905"/>
                </a:cubicBezTo>
                <a:cubicBezTo>
                  <a:pt x="4948826" y="1628791"/>
                  <a:pt x="4936842" y="1641137"/>
                  <a:pt x="4921594" y="1641137"/>
                </a:cubicBezTo>
                <a:cubicBezTo>
                  <a:pt x="4906704" y="1641137"/>
                  <a:pt x="4894362" y="1628791"/>
                  <a:pt x="4894362" y="1613905"/>
                </a:cubicBezTo>
                <a:cubicBezTo>
                  <a:pt x="4894362" y="1599020"/>
                  <a:pt x="4906704" y="1586673"/>
                  <a:pt x="4921594" y="1586673"/>
                </a:cubicBezTo>
                <a:close/>
                <a:moveTo>
                  <a:pt x="5075545" y="1584131"/>
                </a:moveTo>
                <a:cubicBezTo>
                  <a:pt x="5091883" y="1584131"/>
                  <a:pt x="5105316" y="1597564"/>
                  <a:pt x="5105316" y="1613901"/>
                </a:cubicBezTo>
                <a:cubicBezTo>
                  <a:pt x="5105316" y="1630243"/>
                  <a:pt x="5091883" y="1643676"/>
                  <a:pt x="5075545" y="1643676"/>
                </a:cubicBezTo>
                <a:cubicBezTo>
                  <a:pt x="5059204" y="1643676"/>
                  <a:pt x="5045770" y="1630243"/>
                  <a:pt x="5045770" y="1613901"/>
                </a:cubicBezTo>
                <a:cubicBezTo>
                  <a:pt x="5045770" y="1597564"/>
                  <a:pt x="5059204" y="1584131"/>
                  <a:pt x="5075545" y="1584131"/>
                </a:cubicBezTo>
                <a:close/>
                <a:moveTo>
                  <a:pt x="5229126" y="1581592"/>
                </a:moveTo>
                <a:cubicBezTo>
                  <a:pt x="5246916" y="1581592"/>
                  <a:pt x="5261078" y="1595753"/>
                  <a:pt x="5261078" y="1613543"/>
                </a:cubicBezTo>
                <a:cubicBezTo>
                  <a:pt x="5261078" y="1631333"/>
                  <a:pt x="5246916" y="1645494"/>
                  <a:pt x="5229126" y="1645494"/>
                </a:cubicBezTo>
                <a:cubicBezTo>
                  <a:pt x="5211336" y="1645494"/>
                  <a:pt x="5197175" y="1631333"/>
                  <a:pt x="5197175" y="1613543"/>
                </a:cubicBezTo>
                <a:cubicBezTo>
                  <a:pt x="5197175" y="1595753"/>
                  <a:pt x="5211336" y="1581592"/>
                  <a:pt x="5229126" y="1581592"/>
                </a:cubicBezTo>
                <a:close/>
                <a:moveTo>
                  <a:pt x="5383074" y="1579773"/>
                </a:moveTo>
                <a:cubicBezTo>
                  <a:pt x="5401592" y="1579773"/>
                  <a:pt x="5416844" y="1595025"/>
                  <a:pt x="5416844" y="1613539"/>
                </a:cubicBezTo>
                <a:cubicBezTo>
                  <a:pt x="5416844" y="1632058"/>
                  <a:pt x="5401592" y="1647309"/>
                  <a:pt x="5383074" y="1647309"/>
                </a:cubicBezTo>
                <a:cubicBezTo>
                  <a:pt x="5364560" y="1647309"/>
                  <a:pt x="5349308" y="1632058"/>
                  <a:pt x="5349308" y="1613539"/>
                </a:cubicBezTo>
                <a:cubicBezTo>
                  <a:pt x="5349308" y="1595025"/>
                  <a:pt x="5364560" y="1579773"/>
                  <a:pt x="5383074" y="1579773"/>
                </a:cubicBezTo>
                <a:close/>
                <a:moveTo>
                  <a:pt x="5536659" y="1577231"/>
                </a:moveTo>
                <a:cubicBezTo>
                  <a:pt x="5556630" y="1577231"/>
                  <a:pt x="5572968" y="1593569"/>
                  <a:pt x="5572968" y="1613539"/>
                </a:cubicBezTo>
                <a:cubicBezTo>
                  <a:pt x="5572968" y="1633510"/>
                  <a:pt x="5556630" y="1649848"/>
                  <a:pt x="5536659" y="1649848"/>
                </a:cubicBezTo>
                <a:cubicBezTo>
                  <a:pt x="5516688" y="1649848"/>
                  <a:pt x="5500351" y="1633510"/>
                  <a:pt x="5500351" y="1613539"/>
                </a:cubicBezTo>
                <a:cubicBezTo>
                  <a:pt x="5500351" y="1593569"/>
                  <a:pt x="5516688" y="1577231"/>
                  <a:pt x="5536659" y="1577231"/>
                </a:cubicBezTo>
                <a:close/>
                <a:moveTo>
                  <a:pt x="5690606" y="1574692"/>
                </a:moveTo>
                <a:cubicBezTo>
                  <a:pt x="5712026" y="1574692"/>
                  <a:pt x="5729458" y="1592120"/>
                  <a:pt x="5729458" y="1613543"/>
                </a:cubicBezTo>
                <a:cubicBezTo>
                  <a:pt x="5729458" y="1634962"/>
                  <a:pt x="5712026" y="1652390"/>
                  <a:pt x="5690606" y="1652390"/>
                </a:cubicBezTo>
                <a:cubicBezTo>
                  <a:pt x="5669184" y="1652390"/>
                  <a:pt x="5651756" y="1634962"/>
                  <a:pt x="5651756" y="1613543"/>
                </a:cubicBezTo>
                <a:cubicBezTo>
                  <a:pt x="5651756" y="1592120"/>
                  <a:pt x="5669184" y="1574692"/>
                  <a:pt x="5690606" y="1574692"/>
                </a:cubicBezTo>
                <a:close/>
                <a:moveTo>
                  <a:pt x="5844554" y="1572512"/>
                </a:moveTo>
                <a:cubicBezTo>
                  <a:pt x="5867429" y="1572512"/>
                  <a:pt x="5885585" y="1590668"/>
                  <a:pt x="5885585" y="1613539"/>
                </a:cubicBezTo>
                <a:cubicBezTo>
                  <a:pt x="5885585" y="1636415"/>
                  <a:pt x="5867067" y="1654567"/>
                  <a:pt x="5844554" y="1654567"/>
                </a:cubicBezTo>
                <a:cubicBezTo>
                  <a:pt x="5821682" y="1654567"/>
                  <a:pt x="5803526" y="1636415"/>
                  <a:pt x="5803526" y="1613539"/>
                </a:cubicBezTo>
                <a:cubicBezTo>
                  <a:pt x="5803526" y="1590668"/>
                  <a:pt x="5821682" y="1572512"/>
                  <a:pt x="5844554" y="1572512"/>
                </a:cubicBezTo>
                <a:close/>
                <a:moveTo>
                  <a:pt x="5998136" y="1569973"/>
                </a:moveTo>
                <a:cubicBezTo>
                  <a:pt x="6022101" y="1569973"/>
                  <a:pt x="6041706" y="1589578"/>
                  <a:pt x="6041706" y="1613543"/>
                </a:cubicBezTo>
                <a:cubicBezTo>
                  <a:pt x="6041706" y="1637505"/>
                  <a:pt x="6022101" y="1657113"/>
                  <a:pt x="5998136" y="1657113"/>
                </a:cubicBezTo>
                <a:cubicBezTo>
                  <a:pt x="5974174" y="1657113"/>
                  <a:pt x="5954566" y="1637505"/>
                  <a:pt x="5954566" y="1613543"/>
                </a:cubicBezTo>
                <a:cubicBezTo>
                  <a:pt x="5954566" y="1589578"/>
                  <a:pt x="5974174" y="1569973"/>
                  <a:pt x="5998136" y="1569973"/>
                </a:cubicBezTo>
                <a:close/>
                <a:moveTo>
                  <a:pt x="6152083" y="1567431"/>
                </a:moveTo>
                <a:cubicBezTo>
                  <a:pt x="6177500" y="1567431"/>
                  <a:pt x="6198196" y="1588125"/>
                  <a:pt x="6198196" y="1613543"/>
                </a:cubicBezTo>
                <a:cubicBezTo>
                  <a:pt x="6198196" y="1638957"/>
                  <a:pt x="6177500" y="1659656"/>
                  <a:pt x="6152083" y="1659656"/>
                </a:cubicBezTo>
                <a:cubicBezTo>
                  <a:pt x="6126669" y="1659656"/>
                  <a:pt x="6105974" y="1638957"/>
                  <a:pt x="6105974" y="1613543"/>
                </a:cubicBezTo>
                <a:cubicBezTo>
                  <a:pt x="6105974" y="1588125"/>
                  <a:pt x="6126669" y="1567431"/>
                  <a:pt x="6152083" y="1567431"/>
                </a:cubicBezTo>
                <a:close/>
                <a:moveTo>
                  <a:pt x="6305672" y="1564888"/>
                </a:moveTo>
                <a:cubicBezTo>
                  <a:pt x="6332538" y="1564888"/>
                  <a:pt x="6354323" y="1586673"/>
                  <a:pt x="6354323" y="1613543"/>
                </a:cubicBezTo>
                <a:cubicBezTo>
                  <a:pt x="6354323" y="1640409"/>
                  <a:pt x="6332538" y="1662194"/>
                  <a:pt x="6305672" y="1662194"/>
                </a:cubicBezTo>
                <a:cubicBezTo>
                  <a:pt x="6278802" y="1662194"/>
                  <a:pt x="6257016" y="1640409"/>
                  <a:pt x="6257016" y="1613543"/>
                </a:cubicBezTo>
                <a:cubicBezTo>
                  <a:pt x="6257016" y="1586673"/>
                  <a:pt x="6278802" y="1564888"/>
                  <a:pt x="6305672" y="1564888"/>
                </a:cubicBezTo>
                <a:close/>
                <a:moveTo>
                  <a:pt x="6459619" y="1562346"/>
                </a:moveTo>
                <a:cubicBezTo>
                  <a:pt x="6487938" y="1562346"/>
                  <a:pt x="6510813" y="1585221"/>
                  <a:pt x="6510813" y="1613539"/>
                </a:cubicBezTo>
                <a:cubicBezTo>
                  <a:pt x="6510813" y="1641862"/>
                  <a:pt x="6487938" y="1664733"/>
                  <a:pt x="6459619" y="1664733"/>
                </a:cubicBezTo>
                <a:cubicBezTo>
                  <a:pt x="6431297" y="1664733"/>
                  <a:pt x="6408422" y="1641862"/>
                  <a:pt x="6408422" y="1613539"/>
                </a:cubicBezTo>
                <a:cubicBezTo>
                  <a:pt x="6408422" y="1585221"/>
                  <a:pt x="6431297" y="1562346"/>
                  <a:pt x="6459619" y="1562346"/>
                </a:cubicBezTo>
                <a:close/>
                <a:moveTo>
                  <a:pt x="6613197" y="1560169"/>
                </a:moveTo>
                <a:cubicBezTo>
                  <a:pt x="6642610" y="1560169"/>
                  <a:pt x="6666575" y="1584131"/>
                  <a:pt x="6666575" y="1613543"/>
                </a:cubicBezTo>
                <a:cubicBezTo>
                  <a:pt x="6666575" y="1642952"/>
                  <a:pt x="6642610" y="1666914"/>
                  <a:pt x="6613197" y="1666914"/>
                </a:cubicBezTo>
                <a:cubicBezTo>
                  <a:pt x="6583788" y="1666914"/>
                  <a:pt x="6559826" y="1642952"/>
                  <a:pt x="6559826" y="1613543"/>
                </a:cubicBezTo>
                <a:cubicBezTo>
                  <a:pt x="6559826" y="1584131"/>
                  <a:pt x="6583788" y="1560169"/>
                  <a:pt x="6613197" y="1560169"/>
                </a:cubicBezTo>
                <a:close/>
                <a:moveTo>
                  <a:pt x="2153808" y="1459596"/>
                </a:moveTo>
                <a:cubicBezTo>
                  <a:pt x="2154170" y="1459596"/>
                  <a:pt x="2154170" y="1459596"/>
                  <a:pt x="2154170" y="1459958"/>
                </a:cubicBezTo>
                <a:cubicBezTo>
                  <a:pt x="2154170" y="1460324"/>
                  <a:pt x="2153808" y="1460324"/>
                  <a:pt x="2153808" y="1460324"/>
                </a:cubicBezTo>
                <a:cubicBezTo>
                  <a:pt x="2153445" y="1460324"/>
                  <a:pt x="2153445" y="1460324"/>
                  <a:pt x="2153445" y="1459958"/>
                </a:cubicBezTo>
                <a:cubicBezTo>
                  <a:pt x="2153445" y="1459596"/>
                  <a:pt x="2153445" y="1459596"/>
                  <a:pt x="2153808" y="1459596"/>
                </a:cubicBezTo>
                <a:close/>
                <a:moveTo>
                  <a:pt x="1692331" y="1459596"/>
                </a:moveTo>
                <a:cubicBezTo>
                  <a:pt x="1692694" y="1459596"/>
                  <a:pt x="1692694" y="1459596"/>
                  <a:pt x="1692694" y="1459958"/>
                </a:cubicBezTo>
                <a:cubicBezTo>
                  <a:pt x="1692694" y="1460324"/>
                  <a:pt x="1692331" y="1460324"/>
                  <a:pt x="1692331" y="1460324"/>
                </a:cubicBezTo>
                <a:cubicBezTo>
                  <a:pt x="1691969" y="1460324"/>
                  <a:pt x="1691969" y="1460324"/>
                  <a:pt x="1691969" y="1459958"/>
                </a:cubicBezTo>
                <a:cubicBezTo>
                  <a:pt x="1691969" y="1459596"/>
                  <a:pt x="1691969" y="1459596"/>
                  <a:pt x="1692331" y="1459596"/>
                </a:cubicBezTo>
                <a:close/>
                <a:moveTo>
                  <a:pt x="1538746" y="1459596"/>
                </a:moveTo>
                <a:cubicBezTo>
                  <a:pt x="1539108" y="1459596"/>
                  <a:pt x="1539108" y="1459596"/>
                  <a:pt x="1539108" y="1459958"/>
                </a:cubicBezTo>
                <a:cubicBezTo>
                  <a:pt x="1539108" y="1460324"/>
                  <a:pt x="1538746" y="1460324"/>
                  <a:pt x="1538746" y="1460324"/>
                </a:cubicBezTo>
                <a:cubicBezTo>
                  <a:pt x="1538384" y="1460324"/>
                  <a:pt x="1538384" y="1460324"/>
                  <a:pt x="1538384" y="1459958"/>
                </a:cubicBezTo>
                <a:cubicBezTo>
                  <a:pt x="1538384" y="1459596"/>
                  <a:pt x="1538384" y="1459596"/>
                  <a:pt x="1538746" y="1459596"/>
                </a:cubicBezTo>
                <a:close/>
                <a:moveTo>
                  <a:pt x="1384795" y="1459230"/>
                </a:moveTo>
                <a:cubicBezTo>
                  <a:pt x="1385161" y="1459230"/>
                  <a:pt x="1385523" y="1459592"/>
                  <a:pt x="1385523" y="1459958"/>
                </a:cubicBezTo>
                <a:cubicBezTo>
                  <a:pt x="1385523" y="1460320"/>
                  <a:pt x="1384795" y="1460682"/>
                  <a:pt x="1384795" y="1460682"/>
                </a:cubicBezTo>
                <a:cubicBezTo>
                  <a:pt x="1384433" y="1460682"/>
                  <a:pt x="1384071" y="1460320"/>
                  <a:pt x="1384071" y="1459958"/>
                </a:cubicBezTo>
                <a:cubicBezTo>
                  <a:pt x="1384071" y="1459592"/>
                  <a:pt x="1384433" y="1459230"/>
                  <a:pt x="1384795" y="1459230"/>
                </a:cubicBezTo>
                <a:close/>
                <a:moveTo>
                  <a:pt x="2307393" y="1458140"/>
                </a:moveTo>
                <a:cubicBezTo>
                  <a:pt x="2308117" y="1458140"/>
                  <a:pt x="2308845" y="1458868"/>
                  <a:pt x="2308845" y="1459592"/>
                </a:cubicBezTo>
                <a:cubicBezTo>
                  <a:pt x="2308845" y="1460320"/>
                  <a:pt x="2307393" y="1461044"/>
                  <a:pt x="2307393" y="1461044"/>
                </a:cubicBezTo>
                <a:cubicBezTo>
                  <a:pt x="2306665" y="1461044"/>
                  <a:pt x="2305941" y="1460320"/>
                  <a:pt x="2305941" y="1459592"/>
                </a:cubicBezTo>
                <a:cubicBezTo>
                  <a:pt x="2305941" y="1458868"/>
                  <a:pt x="2306665" y="1458140"/>
                  <a:pt x="2307393" y="1458140"/>
                </a:cubicBezTo>
                <a:close/>
                <a:moveTo>
                  <a:pt x="2461340" y="1457777"/>
                </a:moveTo>
                <a:cubicBezTo>
                  <a:pt x="2462430" y="1457777"/>
                  <a:pt x="2463521" y="1458868"/>
                  <a:pt x="2463521" y="1459954"/>
                </a:cubicBezTo>
                <a:cubicBezTo>
                  <a:pt x="2463521" y="1461044"/>
                  <a:pt x="2461340" y="1462134"/>
                  <a:pt x="2461340" y="1462134"/>
                </a:cubicBezTo>
                <a:cubicBezTo>
                  <a:pt x="2460254" y="1462134"/>
                  <a:pt x="2459164" y="1461044"/>
                  <a:pt x="2459164" y="1459954"/>
                </a:cubicBezTo>
                <a:cubicBezTo>
                  <a:pt x="2459164" y="1458868"/>
                  <a:pt x="2460254" y="1457777"/>
                  <a:pt x="2461340" y="1457777"/>
                </a:cubicBezTo>
                <a:close/>
                <a:moveTo>
                  <a:pt x="2614925" y="1456687"/>
                </a:moveTo>
                <a:cubicBezTo>
                  <a:pt x="2616744" y="1456687"/>
                  <a:pt x="2618192" y="1458140"/>
                  <a:pt x="2618192" y="1459954"/>
                </a:cubicBezTo>
                <a:cubicBezTo>
                  <a:pt x="2618192" y="1461769"/>
                  <a:pt x="2616744" y="1463225"/>
                  <a:pt x="2614925" y="1463225"/>
                </a:cubicBezTo>
                <a:cubicBezTo>
                  <a:pt x="2613111" y="1463225"/>
                  <a:pt x="2611659" y="1461769"/>
                  <a:pt x="2611659" y="1459954"/>
                </a:cubicBezTo>
                <a:cubicBezTo>
                  <a:pt x="2611659" y="1458140"/>
                  <a:pt x="2613111" y="1456687"/>
                  <a:pt x="2614925" y="1456687"/>
                </a:cubicBezTo>
                <a:close/>
                <a:moveTo>
                  <a:pt x="2768873" y="1455601"/>
                </a:moveTo>
                <a:cubicBezTo>
                  <a:pt x="2771415" y="1455601"/>
                  <a:pt x="2773230" y="1457415"/>
                  <a:pt x="2773230" y="1459958"/>
                </a:cubicBezTo>
                <a:cubicBezTo>
                  <a:pt x="2773230" y="1462500"/>
                  <a:pt x="2771053" y="1464315"/>
                  <a:pt x="2768873" y="1464315"/>
                </a:cubicBezTo>
                <a:cubicBezTo>
                  <a:pt x="2766330" y="1464315"/>
                  <a:pt x="2764516" y="1462500"/>
                  <a:pt x="2764516" y="1459958"/>
                </a:cubicBezTo>
                <a:cubicBezTo>
                  <a:pt x="2764516" y="1457415"/>
                  <a:pt x="2766330" y="1455601"/>
                  <a:pt x="2768873" y="1455601"/>
                </a:cubicBezTo>
                <a:close/>
                <a:moveTo>
                  <a:pt x="2922458" y="1454149"/>
                </a:moveTo>
                <a:cubicBezTo>
                  <a:pt x="2925725" y="1454149"/>
                  <a:pt x="2928267" y="1456691"/>
                  <a:pt x="2928267" y="1459958"/>
                </a:cubicBezTo>
                <a:cubicBezTo>
                  <a:pt x="2928267" y="1463225"/>
                  <a:pt x="2925725" y="1465767"/>
                  <a:pt x="2922458" y="1465767"/>
                </a:cubicBezTo>
                <a:cubicBezTo>
                  <a:pt x="2919191" y="1465767"/>
                  <a:pt x="2916649" y="1463225"/>
                  <a:pt x="2916649" y="1459958"/>
                </a:cubicBezTo>
                <a:cubicBezTo>
                  <a:pt x="2916649" y="1456691"/>
                  <a:pt x="2919191" y="1454149"/>
                  <a:pt x="2922458" y="1454149"/>
                </a:cubicBezTo>
                <a:close/>
                <a:moveTo>
                  <a:pt x="3076406" y="1452696"/>
                </a:moveTo>
                <a:cubicBezTo>
                  <a:pt x="3080400" y="1452696"/>
                  <a:pt x="3083667" y="1455963"/>
                  <a:pt x="3083667" y="1459958"/>
                </a:cubicBezTo>
                <a:cubicBezTo>
                  <a:pt x="3083667" y="1463953"/>
                  <a:pt x="3080400" y="1467220"/>
                  <a:pt x="3076406" y="1467220"/>
                </a:cubicBezTo>
                <a:cubicBezTo>
                  <a:pt x="3072410" y="1467220"/>
                  <a:pt x="3069144" y="1463953"/>
                  <a:pt x="3069144" y="1459958"/>
                </a:cubicBezTo>
                <a:cubicBezTo>
                  <a:pt x="3069144" y="1455963"/>
                  <a:pt x="3072410" y="1452696"/>
                  <a:pt x="3076406" y="1452696"/>
                </a:cubicBezTo>
                <a:close/>
                <a:moveTo>
                  <a:pt x="3230353" y="1450516"/>
                </a:moveTo>
                <a:cubicBezTo>
                  <a:pt x="3235438" y="1450516"/>
                  <a:pt x="3239433" y="1454511"/>
                  <a:pt x="3239433" y="1459592"/>
                </a:cubicBezTo>
                <a:cubicBezTo>
                  <a:pt x="3239433" y="1464677"/>
                  <a:pt x="3235438" y="1468672"/>
                  <a:pt x="3230353" y="1468672"/>
                </a:cubicBezTo>
                <a:cubicBezTo>
                  <a:pt x="3225272" y="1468672"/>
                  <a:pt x="3221277" y="1464677"/>
                  <a:pt x="3221277" y="1459592"/>
                </a:cubicBezTo>
                <a:cubicBezTo>
                  <a:pt x="3221277" y="1454511"/>
                  <a:pt x="3225272" y="1450516"/>
                  <a:pt x="3230353" y="1450516"/>
                </a:cubicBezTo>
                <a:close/>
                <a:moveTo>
                  <a:pt x="3383934" y="1449791"/>
                </a:moveTo>
                <a:cubicBezTo>
                  <a:pt x="3389382" y="1449791"/>
                  <a:pt x="3394100" y="1454511"/>
                  <a:pt x="3394100" y="1459958"/>
                </a:cubicBezTo>
                <a:cubicBezTo>
                  <a:pt x="3394100" y="1465405"/>
                  <a:pt x="3389744" y="1470124"/>
                  <a:pt x="3383934" y="1470124"/>
                </a:cubicBezTo>
                <a:cubicBezTo>
                  <a:pt x="3378487" y="1470124"/>
                  <a:pt x="3373768" y="1465405"/>
                  <a:pt x="3373768" y="1459958"/>
                </a:cubicBezTo>
                <a:cubicBezTo>
                  <a:pt x="3373768" y="1454511"/>
                  <a:pt x="3378487" y="1449791"/>
                  <a:pt x="3383934" y="1449791"/>
                </a:cubicBezTo>
                <a:close/>
                <a:moveTo>
                  <a:pt x="3537882" y="1447977"/>
                </a:moveTo>
                <a:cubicBezTo>
                  <a:pt x="3544419" y="1447977"/>
                  <a:pt x="3549866" y="1453424"/>
                  <a:pt x="3549866" y="1459958"/>
                </a:cubicBezTo>
                <a:cubicBezTo>
                  <a:pt x="3549866" y="1466495"/>
                  <a:pt x="3544419" y="1471939"/>
                  <a:pt x="3537882" y="1471939"/>
                </a:cubicBezTo>
                <a:cubicBezTo>
                  <a:pt x="3531348" y="1471939"/>
                  <a:pt x="3525901" y="1466495"/>
                  <a:pt x="3525901" y="1459958"/>
                </a:cubicBezTo>
                <a:cubicBezTo>
                  <a:pt x="3525901" y="1453424"/>
                  <a:pt x="3531348" y="1447977"/>
                  <a:pt x="3537882" y="1447977"/>
                </a:cubicBezTo>
                <a:close/>
                <a:moveTo>
                  <a:pt x="3691467" y="1445797"/>
                </a:moveTo>
                <a:cubicBezTo>
                  <a:pt x="3699094" y="1445797"/>
                  <a:pt x="3705266" y="1451968"/>
                  <a:pt x="3705266" y="1459596"/>
                </a:cubicBezTo>
                <a:cubicBezTo>
                  <a:pt x="3705266" y="1467220"/>
                  <a:pt x="3699094" y="1473391"/>
                  <a:pt x="3691467" y="1473391"/>
                </a:cubicBezTo>
                <a:cubicBezTo>
                  <a:pt x="3683843" y="1473391"/>
                  <a:pt x="3677672" y="1467220"/>
                  <a:pt x="3677672" y="1459596"/>
                </a:cubicBezTo>
                <a:cubicBezTo>
                  <a:pt x="3677672" y="1451968"/>
                  <a:pt x="3683843" y="1445797"/>
                  <a:pt x="3691467" y="1445797"/>
                </a:cubicBezTo>
                <a:close/>
                <a:moveTo>
                  <a:pt x="3845414" y="1444706"/>
                </a:moveTo>
                <a:cubicBezTo>
                  <a:pt x="3853839" y="1444706"/>
                  <a:pt x="3860666" y="1451534"/>
                  <a:pt x="3860666" y="1459954"/>
                </a:cubicBezTo>
                <a:cubicBezTo>
                  <a:pt x="3860666" y="1468378"/>
                  <a:pt x="3853839" y="1475205"/>
                  <a:pt x="3845414" y="1475205"/>
                </a:cubicBezTo>
                <a:cubicBezTo>
                  <a:pt x="3836994" y="1475205"/>
                  <a:pt x="3830167" y="1468378"/>
                  <a:pt x="3830167" y="1459954"/>
                </a:cubicBezTo>
                <a:cubicBezTo>
                  <a:pt x="3830167" y="1451534"/>
                  <a:pt x="3836994" y="1444706"/>
                  <a:pt x="3845414" y="1444706"/>
                </a:cubicBezTo>
                <a:close/>
                <a:moveTo>
                  <a:pt x="3999000" y="1442892"/>
                </a:moveTo>
                <a:cubicBezTo>
                  <a:pt x="4008438" y="1442892"/>
                  <a:pt x="4016066" y="1450516"/>
                  <a:pt x="4016066" y="1459958"/>
                </a:cubicBezTo>
                <a:cubicBezTo>
                  <a:pt x="4016066" y="1469396"/>
                  <a:pt x="4008438" y="1477020"/>
                  <a:pt x="3999000" y="1477020"/>
                </a:cubicBezTo>
                <a:cubicBezTo>
                  <a:pt x="3989558" y="1477020"/>
                  <a:pt x="3981934" y="1469396"/>
                  <a:pt x="3981934" y="1459958"/>
                </a:cubicBezTo>
                <a:cubicBezTo>
                  <a:pt x="3981934" y="1450516"/>
                  <a:pt x="3989558" y="1442892"/>
                  <a:pt x="3999000" y="1442892"/>
                </a:cubicBezTo>
                <a:close/>
                <a:moveTo>
                  <a:pt x="4152947" y="1440715"/>
                </a:moveTo>
                <a:cubicBezTo>
                  <a:pt x="4163578" y="1440715"/>
                  <a:pt x="4172194" y="1449330"/>
                  <a:pt x="4172194" y="1459958"/>
                </a:cubicBezTo>
                <a:cubicBezTo>
                  <a:pt x="4172194" y="1470585"/>
                  <a:pt x="4163578" y="1479200"/>
                  <a:pt x="4152947" y="1479200"/>
                </a:cubicBezTo>
                <a:cubicBezTo>
                  <a:pt x="4142320" y="1479200"/>
                  <a:pt x="4133704" y="1470585"/>
                  <a:pt x="4133704" y="1459958"/>
                </a:cubicBezTo>
                <a:cubicBezTo>
                  <a:pt x="4133704" y="1449330"/>
                  <a:pt x="4142320" y="1440715"/>
                  <a:pt x="4152947" y="1440715"/>
                </a:cubicBezTo>
                <a:close/>
                <a:moveTo>
                  <a:pt x="4306532" y="1438535"/>
                </a:moveTo>
                <a:cubicBezTo>
                  <a:pt x="4318513" y="1438535"/>
                  <a:pt x="4327952" y="1447977"/>
                  <a:pt x="4327952" y="1459958"/>
                </a:cubicBezTo>
                <a:cubicBezTo>
                  <a:pt x="4327952" y="1471939"/>
                  <a:pt x="4318151" y="1481381"/>
                  <a:pt x="4306532" y="1481381"/>
                </a:cubicBezTo>
                <a:cubicBezTo>
                  <a:pt x="4294552" y="1481381"/>
                  <a:pt x="4285110" y="1471939"/>
                  <a:pt x="4285110" y="1459958"/>
                </a:cubicBezTo>
                <a:cubicBezTo>
                  <a:pt x="4285110" y="1447977"/>
                  <a:pt x="4294552" y="1438535"/>
                  <a:pt x="4306532" y="1438535"/>
                </a:cubicBezTo>
                <a:close/>
                <a:moveTo>
                  <a:pt x="4460480" y="1437083"/>
                </a:moveTo>
                <a:cubicBezTo>
                  <a:pt x="4473112" y="1437083"/>
                  <a:pt x="4483355" y="1447325"/>
                  <a:pt x="4483355" y="1459958"/>
                </a:cubicBezTo>
                <a:cubicBezTo>
                  <a:pt x="4483355" y="1472591"/>
                  <a:pt x="4473112" y="1482833"/>
                  <a:pt x="4460480" y="1482833"/>
                </a:cubicBezTo>
                <a:cubicBezTo>
                  <a:pt x="4447847" y="1482833"/>
                  <a:pt x="4437604" y="1472591"/>
                  <a:pt x="4437604" y="1459958"/>
                </a:cubicBezTo>
                <a:cubicBezTo>
                  <a:pt x="4437604" y="1447325"/>
                  <a:pt x="4447847" y="1437083"/>
                  <a:pt x="4460480" y="1437083"/>
                </a:cubicBezTo>
                <a:close/>
                <a:moveTo>
                  <a:pt x="4614061" y="1434906"/>
                </a:moveTo>
                <a:cubicBezTo>
                  <a:pt x="4627860" y="1434906"/>
                  <a:pt x="4639116" y="1446163"/>
                  <a:pt x="4639116" y="1459958"/>
                </a:cubicBezTo>
                <a:cubicBezTo>
                  <a:pt x="4639116" y="1473757"/>
                  <a:pt x="4627860" y="1485013"/>
                  <a:pt x="4614061" y="1485013"/>
                </a:cubicBezTo>
                <a:cubicBezTo>
                  <a:pt x="4600266" y="1485013"/>
                  <a:pt x="4589010" y="1473757"/>
                  <a:pt x="4589010" y="1459958"/>
                </a:cubicBezTo>
                <a:cubicBezTo>
                  <a:pt x="4589010" y="1446163"/>
                  <a:pt x="4600266" y="1434906"/>
                  <a:pt x="4614061" y="1434906"/>
                </a:cubicBezTo>
                <a:close/>
                <a:moveTo>
                  <a:pt x="4768012" y="1432726"/>
                </a:moveTo>
                <a:cubicBezTo>
                  <a:pt x="4782898" y="1432726"/>
                  <a:pt x="4795244" y="1445072"/>
                  <a:pt x="4795244" y="1459958"/>
                </a:cubicBezTo>
                <a:cubicBezTo>
                  <a:pt x="4795244" y="1474843"/>
                  <a:pt x="4783260" y="1487190"/>
                  <a:pt x="4768012" y="1487190"/>
                </a:cubicBezTo>
                <a:cubicBezTo>
                  <a:pt x="4753123" y="1487190"/>
                  <a:pt x="4740780" y="1474843"/>
                  <a:pt x="4740780" y="1459958"/>
                </a:cubicBezTo>
                <a:cubicBezTo>
                  <a:pt x="4740780" y="1445072"/>
                  <a:pt x="4753123" y="1432726"/>
                  <a:pt x="4768012" y="1432726"/>
                </a:cubicBezTo>
                <a:close/>
                <a:moveTo>
                  <a:pt x="4921594" y="1430183"/>
                </a:moveTo>
                <a:cubicBezTo>
                  <a:pt x="4938038" y="1430183"/>
                  <a:pt x="4951368" y="1443513"/>
                  <a:pt x="4951368" y="1459954"/>
                </a:cubicBezTo>
                <a:cubicBezTo>
                  <a:pt x="4951368" y="1476399"/>
                  <a:pt x="4938038" y="1489729"/>
                  <a:pt x="4921594" y="1489729"/>
                </a:cubicBezTo>
                <a:cubicBezTo>
                  <a:pt x="4905153" y="1489729"/>
                  <a:pt x="4891823" y="1476399"/>
                  <a:pt x="4891823" y="1459954"/>
                </a:cubicBezTo>
                <a:cubicBezTo>
                  <a:pt x="4891823" y="1443513"/>
                  <a:pt x="4905153" y="1430183"/>
                  <a:pt x="4921594" y="1430183"/>
                </a:cubicBezTo>
                <a:close/>
                <a:moveTo>
                  <a:pt x="5075541" y="1428007"/>
                </a:moveTo>
                <a:cubicBezTo>
                  <a:pt x="5093332" y="1428007"/>
                  <a:pt x="5107492" y="1442168"/>
                  <a:pt x="5107492" y="1459958"/>
                </a:cubicBezTo>
                <a:cubicBezTo>
                  <a:pt x="5107492" y="1477748"/>
                  <a:pt x="5093332" y="1491909"/>
                  <a:pt x="5075541" y="1491909"/>
                </a:cubicBezTo>
                <a:cubicBezTo>
                  <a:pt x="5057751" y="1491909"/>
                  <a:pt x="5043590" y="1477748"/>
                  <a:pt x="5043590" y="1459958"/>
                </a:cubicBezTo>
                <a:cubicBezTo>
                  <a:pt x="5043590" y="1442168"/>
                  <a:pt x="5057751" y="1428007"/>
                  <a:pt x="5075541" y="1428007"/>
                </a:cubicBezTo>
                <a:close/>
                <a:moveTo>
                  <a:pt x="5229126" y="1426192"/>
                </a:moveTo>
                <a:cubicBezTo>
                  <a:pt x="5247774" y="1426192"/>
                  <a:pt x="5262892" y="1441310"/>
                  <a:pt x="5262892" y="1459958"/>
                </a:cubicBezTo>
                <a:cubicBezTo>
                  <a:pt x="5262892" y="1478610"/>
                  <a:pt x="5247774" y="1493724"/>
                  <a:pt x="5229126" y="1493724"/>
                </a:cubicBezTo>
                <a:cubicBezTo>
                  <a:pt x="5210478" y="1493724"/>
                  <a:pt x="5195360" y="1478610"/>
                  <a:pt x="5195360" y="1459958"/>
                </a:cubicBezTo>
                <a:cubicBezTo>
                  <a:pt x="5195360" y="1441310"/>
                  <a:pt x="5210478" y="1426192"/>
                  <a:pt x="5229126" y="1426192"/>
                </a:cubicBezTo>
                <a:close/>
                <a:moveTo>
                  <a:pt x="5383074" y="1423650"/>
                </a:moveTo>
                <a:cubicBezTo>
                  <a:pt x="5403044" y="1423650"/>
                  <a:pt x="5419382" y="1439987"/>
                  <a:pt x="5419382" y="1459958"/>
                </a:cubicBezTo>
                <a:cubicBezTo>
                  <a:pt x="5419382" y="1479928"/>
                  <a:pt x="5403044" y="1496266"/>
                  <a:pt x="5383074" y="1496266"/>
                </a:cubicBezTo>
                <a:cubicBezTo>
                  <a:pt x="5363104" y="1496266"/>
                  <a:pt x="5346766" y="1479928"/>
                  <a:pt x="5346766" y="1459958"/>
                </a:cubicBezTo>
                <a:cubicBezTo>
                  <a:pt x="5346766" y="1439987"/>
                  <a:pt x="5363104" y="1423650"/>
                  <a:pt x="5383074" y="1423650"/>
                </a:cubicBezTo>
                <a:close/>
                <a:moveTo>
                  <a:pt x="5536659" y="1421107"/>
                </a:moveTo>
                <a:cubicBezTo>
                  <a:pt x="5558078" y="1421107"/>
                  <a:pt x="5575506" y="1438535"/>
                  <a:pt x="5575506" y="1459958"/>
                </a:cubicBezTo>
                <a:cubicBezTo>
                  <a:pt x="5575506" y="1481377"/>
                  <a:pt x="5558078" y="1498805"/>
                  <a:pt x="5536659" y="1498805"/>
                </a:cubicBezTo>
                <a:cubicBezTo>
                  <a:pt x="5515236" y="1498805"/>
                  <a:pt x="5497808" y="1481377"/>
                  <a:pt x="5497808" y="1459958"/>
                </a:cubicBezTo>
                <a:cubicBezTo>
                  <a:pt x="5497808" y="1438535"/>
                  <a:pt x="5515236" y="1421107"/>
                  <a:pt x="5536659" y="1421107"/>
                </a:cubicBezTo>
                <a:close/>
                <a:moveTo>
                  <a:pt x="5690606" y="1418930"/>
                </a:moveTo>
                <a:cubicBezTo>
                  <a:pt x="5713482" y="1418930"/>
                  <a:pt x="5731638" y="1437086"/>
                  <a:pt x="5731638" y="1459958"/>
                </a:cubicBezTo>
                <a:cubicBezTo>
                  <a:pt x="5731638" y="1482833"/>
                  <a:pt x="5713120" y="1500985"/>
                  <a:pt x="5690606" y="1500985"/>
                </a:cubicBezTo>
                <a:cubicBezTo>
                  <a:pt x="5667735" y="1500985"/>
                  <a:pt x="5649579" y="1482833"/>
                  <a:pt x="5649579" y="1459958"/>
                </a:cubicBezTo>
                <a:cubicBezTo>
                  <a:pt x="5649579" y="1437086"/>
                  <a:pt x="5667735" y="1418930"/>
                  <a:pt x="5690606" y="1418930"/>
                </a:cubicBezTo>
                <a:close/>
                <a:moveTo>
                  <a:pt x="5844554" y="1416388"/>
                </a:moveTo>
                <a:cubicBezTo>
                  <a:pt x="5868516" y="1416388"/>
                  <a:pt x="5888124" y="1435996"/>
                  <a:pt x="5888124" y="1459958"/>
                </a:cubicBezTo>
                <a:cubicBezTo>
                  <a:pt x="5888124" y="1483923"/>
                  <a:pt x="5868516" y="1503528"/>
                  <a:pt x="5844554" y="1503528"/>
                </a:cubicBezTo>
                <a:cubicBezTo>
                  <a:pt x="5820588" y="1503528"/>
                  <a:pt x="5800984" y="1483923"/>
                  <a:pt x="5800984" y="1459958"/>
                </a:cubicBezTo>
                <a:cubicBezTo>
                  <a:pt x="5800984" y="1435996"/>
                  <a:pt x="5820588" y="1416388"/>
                  <a:pt x="5844554" y="1416388"/>
                </a:cubicBezTo>
                <a:close/>
                <a:moveTo>
                  <a:pt x="5998136" y="1413845"/>
                </a:moveTo>
                <a:cubicBezTo>
                  <a:pt x="6023553" y="1413845"/>
                  <a:pt x="6044248" y="1434540"/>
                  <a:pt x="6044248" y="1459958"/>
                </a:cubicBezTo>
                <a:cubicBezTo>
                  <a:pt x="6044248" y="1485372"/>
                  <a:pt x="6023553" y="1506070"/>
                  <a:pt x="5998136" y="1506070"/>
                </a:cubicBezTo>
                <a:cubicBezTo>
                  <a:pt x="5972722" y="1506070"/>
                  <a:pt x="5952026" y="1485372"/>
                  <a:pt x="5952026" y="1459958"/>
                </a:cubicBezTo>
                <a:cubicBezTo>
                  <a:pt x="5952026" y="1434540"/>
                  <a:pt x="5972722" y="1413845"/>
                  <a:pt x="5998136" y="1413845"/>
                </a:cubicBezTo>
                <a:close/>
                <a:moveTo>
                  <a:pt x="6152083" y="1411303"/>
                </a:moveTo>
                <a:cubicBezTo>
                  <a:pt x="6178953" y="1411303"/>
                  <a:pt x="6200738" y="1433088"/>
                  <a:pt x="6200738" y="1459958"/>
                </a:cubicBezTo>
                <a:cubicBezTo>
                  <a:pt x="6200738" y="1486824"/>
                  <a:pt x="6178953" y="1508609"/>
                  <a:pt x="6152083" y="1508609"/>
                </a:cubicBezTo>
                <a:cubicBezTo>
                  <a:pt x="6125216" y="1508609"/>
                  <a:pt x="6103432" y="1486824"/>
                  <a:pt x="6103432" y="1459958"/>
                </a:cubicBezTo>
                <a:cubicBezTo>
                  <a:pt x="6103432" y="1433088"/>
                  <a:pt x="6125216" y="1411303"/>
                  <a:pt x="6152083" y="1411303"/>
                </a:cubicBezTo>
                <a:close/>
                <a:moveTo>
                  <a:pt x="6305672" y="1408760"/>
                </a:moveTo>
                <a:cubicBezTo>
                  <a:pt x="6333990" y="1408760"/>
                  <a:pt x="6356866" y="1431635"/>
                  <a:pt x="6356866" y="1459954"/>
                </a:cubicBezTo>
                <a:cubicBezTo>
                  <a:pt x="6356866" y="1488276"/>
                  <a:pt x="6333990" y="1511148"/>
                  <a:pt x="6305672" y="1511148"/>
                </a:cubicBezTo>
                <a:cubicBezTo>
                  <a:pt x="6277350" y="1511148"/>
                  <a:pt x="6254474" y="1488276"/>
                  <a:pt x="6254474" y="1459954"/>
                </a:cubicBezTo>
                <a:cubicBezTo>
                  <a:pt x="6254474" y="1431635"/>
                  <a:pt x="6277350" y="1408760"/>
                  <a:pt x="6305672" y="1408760"/>
                </a:cubicBezTo>
                <a:close/>
                <a:moveTo>
                  <a:pt x="6459616" y="1406584"/>
                </a:moveTo>
                <a:cubicBezTo>
                  <a:pt x="6489024" y="1406584"/>
                  <a:pt x="6512990" y="1430545"/>
                  <a:pt x="6512990" y="1459958"/>
                </a:cubicBezTo>
                <a:cubicBezTo>
                  <a:pt x="6512990" y="1489367"/>
                  <a:pt x="6489024" y="1513328"/>
                  <a:pt x="6459616" y="1513328"/>
                </a:cubicBezTo>
                <a:cubicBezTo>
                  <a:pt x="6430206" y="1513328"/>
                  <a:pt x="6406241" y="1489367"/>
                  <a:pt x="6406241" y="1459958"/>
                </a:cubicBezTo>
                <a:cubicBezTo>
                  <a:pt x="6406241" y="1430545"/>
                  <a:pt x="6430206" y="1406584"/>
                  <a:pt x="6459616" y="1406584"/>
                </a:cubicBezTo>
                <a:close/>
                <a:moveTo>
                  <a:pt x="6613200" y="1403679"/>
                </a:moveTo>
                <a:cubicBezTo>
                  <a:pt x="6644424" y="1403679"/>
                  <a:pt x="6669476" y="1428731"/>
                  <a:pt x="6669476" y="1459958"/>
                </a:cubicBezTo>
                <a:cubicBezTo>
                  <a:pt x="6669476" y="1491181"/>
                  <a:pt x="6644424" y="1516233"/>
                  <a:pt x="6613200" y="1516233"/>
                </a:cubicBezTo>
                <a:cubicBezTo>
                  <a:pt x="6581974" y="1516233"/>
                  <a:pt x="6556922" y="1491181"/>
                  <a:pt x="6556922" y="1459958"/>
                </a:cubicBezTo>
                <a:cubicBezTo>
                  <a:pt x="6556922" y="1428731"/>
                  <a:pt x="6581974" y="1403679"/>
                  <a:pt x="6613200" y="1403679"/>
                </a:cubicBezTo>
                <a:close/>
                <a:moveTo>
                  <a:pt x="1999860" y="1305645"/>
                </a:moveTo>
                <a:cubicBezTo>
                  <a:pt x="2000222" y="1305645"/>
                  <a:pt x="2000222" y="1305645"/>
                  <a:pt x="2000222" y="1306007"/>
                </a:cubicBezTo>
                <a:cubicBezTo>
                  <a:pt x="2000222" y="1306373"/>
                  <a:pt x="1999860" y="1306373"/>
                  <a:pt x="1999860" y="1306373"/>
                </a:cubicBezTo>
                <a:cubicBezTo>
                  <a:pt x="1999498" y="1306373"/>
                  <a:pt x="1999498" y="1306373"/>
                  <a:pt x="1999498" y="1306007"/>
                </a:cubicBezTo>
                <a:cubicBezTo>
                  <a:pt x="1999498" y="1305645"/>
                  <a:pt x="1999498" y="1305645"/>
                  <a:pt x="1999860" y="1305645"/>
                </a:cubicBezTo>
                <a:close/>
                <a:moveTo>
                  <a:pt x="1538746" y="1305645"/>
                </a:moveTo>
                <a:cubicBezTo>
                  <a:pt x="1539108" y="1305645"/>
                  <a:pt x="1539108" y="1305645"/>
                  <a:pt x="1539108" y="1306007"/>
                </a:cubicBezTo>
                <a:cubicBezTo>
                  <a:pt x="1539108" y="1306373"/>
                  <a:pt x="1538746" y="1306373"/>
                  <a:pt x="1538746" y="1306373"/>
                </a:cubicBezTo>
                <a:cubicBezTo>
                  <a:pt x="1538384" y="1306373"/>
                  <a:pt x="1538384" y="1306373"/>
                  <a:pt x="1538384" y="1306007"/>
                </a:cubicBezTo>
                <a:cubicBezTo>
                  <a:pt x="1538384" y="1305645"/>
                  <a:pt x="1538384" y="1305645"/>
                  <a:pt x="1538746" y="1305645"/>
                </a:cubicBezTo>
                <a:close/>
                <a:moveTo>
                  <a:pt x="1384799" y="1305645"/>
                </a:moveTo>
                <a:cubicBezTo>
                  <a:pt x="1385161" y="1305645"/>
                  <a:pt x="1385161" y="1305645"/>
                  <a:pt x="1385161" y="1306007"/>
                </a:cubicBezTo>
                <a:cubicBezTo>
                  <a:pt x="1385161" y="1306373"/>
                  <a:pt x="1384799" y="1306373"/>
                  <a:pt x="1384799" y="1306373"/>
                </a:cubicBezTo>
                <a:cubicBezTo>
                  <a:pt x="1384437" y="1306373"/>
                  <a:pt x="1384437" y="1306373"/>
                  <a:pt x="1384437" y="1306007"/>
                </a:cubicBezTo>
                <a:cubicBezTo>
                  <a:pt x="1384437" y="1305645"/>
                  <a:pt x="1384437" y="1305645"/>
                  <a:pt x="1384799" y="1305645"/>
                </a:cubicBezTo>
                <a:close/>
                <a:moveTo>
                  <a:pt x="1231217" y="1305282"/>
                </a:moveTo>
                <a:cubicBezTo>
                  <a:pt x="1231618" y="1305282"/>
                  <a:pt x="1231942" y="1305606"/>
                  <a:pt x="1231942" y="1306010"/>
                </a:cubicBezTo>
                <a:cubicBezTo>
                  <a:pt x="1231942" y="1306411"/>
                  <a:pt x="1231618" y="1306735"/>
                  <a:pt x="1231217" y="1306735"/>
                </a:cubicBezTo>
                <a:cubicBezTo>
                  <a:pt x="1230813" y="1306735"/>
                  <a:pt x="1230489" y="1306411"/>
                  <a:pt x="1230489" y="1306010"/>
                </a:cubicBezTo>
                <a:cubicBezTo>
                  <a:pt x="1230489" y="1305606"/>
                  <a:pt x="1230813" y="1305282"/>
                  <a:pt x="1231217" y="1305282"/>
                </a:cubicBezTo>
                <a:close/>
                <a:moveTo>
                  <a:pt x="2153811" y="1304558"/>
                </a:moveTo>
                <a:cubicBezTo>
                  <a:pt x="2154536" y="1304558"/>
                  <a:pt x="2155264" y="1305286"/>
                  <a:pt x="2155264" y="1306010"/>
                </a:cubicBezTo>
                <a:cubicBezTo>
                  <a:pt x="2155264" y="1306739"/>
                  <a:pt x="2153811" y="1307463"/>
                  <a:pt x="2153811" y="1307463"/>
                </a:cubicBezTo>
                <a:cubicBezTo>
                  <a:pt x="2153083" y="1307463"/>
                  <a:pt x="2152359" y="1306739"/>
                  <a:pt x="2152359" y="1306010"/>
                </a:cubicBezTo>
                <a:cubicBezTo>
                  <a:pt x="2152359" y="1305286"/>
                  <a:pt x="2153083" y="1304558"/>
                  <a:pt x="2153811" y="1304558"/>
                </a:cubicBezTo>
                <a:close/>
                <a:moveTo>
                  <a:pt x="2307393" y="1303830"/>
                </a:moveTo>
                <a:cubicBezTo>
                  <a:pt x="2308483" y="1303830"/>
                  <a:pt x="2309573" y="1304920"/>
                  <a:pt x="2309573" y="1306010"/>
                </a:cubicBezTo>
                <a:cubicBezTo>
                  <a:pt x="2309573" y="1307097"/>
                  <a:pt x="2307393" y="1308187"/>
                  <a:pt x="2307393" y="1308187"/>
                </a:cubicBezTo>
                <a:cubicBezTo>
                  <a:pt x="2306306" y="1308187"/>
                  <a:pt x="2305216" y="1307097"/>
                  <a:pt x="2305216" y="1306010"/>
                </a:cubicBezTo>
                <a:cubicBezTo>
                  <a:pt x="2305216" y="1304920"/>
                  <a:pt x="2306306" y="1303830"/>
                  <a:pt x="2307393" y="1303830"/>
                </a:cubicBezTo>
                <a:close/>
                <a:moveTo>
                  <a:pt x="2461344" y="1303106"/>
                </a:moveTo>
                <a:cubicBezTo>
                  <a:pt x="2463159" y="1303106"/>
                  <a:pt x="2464611" y="1304558"/>
                  <a:pt x="2464611" y="1306373"/>
                </a:cubicBezTo>
                <a:cubicBezTo>
                  <a:pt x="2464611" y="1308187"/>
                  <a:pt x="2463159" y="1309643"/>
                  <a:pt x="2461344" y="1309643"/>
                </a:cubicBezTo>
                <a:cubicBezTo>
                  <a:pt x="2459526" y="1309643"/>
                  <a:pt x="2458073" y="1308187"/>
                  <a:pt x="2458073" y="1306373"/>
                </a:cubicBezTo>
                <a:cubicBezTo>
                  <a:pt x="2458073" y="1304558"/>
                  <a:pt x="2459526" y="1303106"/>
                  <a:pt x="2461344" y="1303106"/>
                </a:cubicBezTo>
                <a:close/>
                <a:moveTo>
                  <a:pt x="2614925" y="1301653"/>
                </a:moveTo>
                <a:cubicBezTo>
                  <a:pt x="2617468" y="1301653"/>
                  <a:pt x="2619283" y="1303468"/>
                  <a:pt x="2619283" y="1306010"/>
                </a:cubicBezTo>
                <a:cubicBezTo>
                  <a:pt x="2619283" y="1308553"/>
                  <a:pt x="2617102" y="1310367"/>
                  <a:pt x="2614925" y="1310367"/>
                </a:cubicBezTo>
                <a:cubicBezTo>
                  <a:pt x="2612383" y="1310367"/>
                  <a:pt x="2610568" y="1308553"/>
                  <a:pt x="2610568" y="1306010"/>
                </a:cubicBezTo>
                <a:cubicBezTo>
                  <a:pt x="2610568" y="1303468"/>
                  <a:pt x="2612383" y="1301653"/>
                  <a:pt x="2614925" y="1301653"/>
                </a:cubicBezTo>
                <a:close/>
                <a:moveTo>
                  <a:pt x="2768873" y="1300563"/>
                </a:moveTo>
                <a:cubicBezTo>
                  <a:pt x="2772140" y="1300563"/>
                  <a:pt x="2774682" y="1303106"/>
                  <a:pt x="2774682" y="1306373"/>
                </a:cubicBezTo>
                <a:cubicBezTo>
                  <a:pt x="2774682" y="1309639"/>
                  <a:pt x="2772140" y="1312182"/>
                  <a:pt x="2768873" y="1312182"/>
                </a:cubicBezTo>
                <a:cubicBezTo>
                  <a:pt x="2765606" y="1312182"/>
                  <a:pt x="2763064" y="1309639"/>
                  <a:pt x="2763064" y="1306373"/>
                </a:cubicBezTo>
                <a:cubicBezTo>
                  <a:pt x="2763064" y="1303106"/>
                  <a:pt x="2765606" y="1300563"/>
                  <a:pt x="2768873" y="1300563"/>
                </a:cubicBezTo>
                <a:close/>
                <a:moveTo>
                  <a:pt x="2922458" y="1298749"/>
                </a:moveTo>
                <a:cubicBezTo>
                  <a:pt x="2926453" y="1298749"/>
                  <a:pt x="2929720" y="1302015"/>
                  <a:pt x="2929720" y="1306010"/>
                </a:cubicBezTo>
                <a:cubicBezTo>
                  <a:pt x="2929720" y="1310005"/>
                  <a:pt x="2926453" y="1313272"/>
                  <a:pt x="2922458" y="1313272"/>
                </a:cubicBezTo>
                <a:cubicBezTo>
                  <a:pt x="2918463" y="1313272"/>
                  <a:pt x="2915196" y="1310005"/>
                  <a:pt x="2915196" y="1306010"/>
                </a:cubicBezTo>
                <a:cubicBezTo>
                  <a:pt x="2915196" y="1302015"/>
                  <a:pt x="2918463" y="1298749"/>
                  <a:pt x="2922458" y="1298749"/>
                </a:cubicBezTo>
                <a:close/>
                <a:moveTo>
                  <a:pt x="3076406" y="1296934"/>
                </a:moveTo>
                <a:cubicBezTo>
                  <a:pt x="3081490" y="1296934"/>
                  <a:pt x="3085486" y="1300929"/>
                  <a:pt x="3085486" y="1306010"/>
                </a:cubicBezTo>
                <a:cubicBezTo>
                  <a:pt x="3085486" y="1311096"/>
                  <a:pt x="3081490" y="1315090"/>
                  <a:pt x="3076406" y="1315090"/>
                </a:cubicBezTo>
                <a:cubicBezTo>
                  <a:pt x="3071324" y="1315090"/>
                  <a:pt x="3067329" y="1311096"/>
                  <a:pt x="3067329" y="1306010"/>
                </a:cubicBezTo>
                <a:cubicBezTo>
                  <a:pt x="3067329" y="1300929"/>
                  <a:pt x="3071324" y="1296934"/>
                  <a:pt x="3076406" y="1296934"/>
                </a:cubicBezTo>
                <a:close/>
                <a:moveTo>
                  <a:pt x="3230353" y="1295844"/>
                </a:moveTo>
                <a:cubicBezTo>
                  <a:pt x="3235800" y="1295844"/>
                  <a:pt x="3240519" y="1300563"/>
                  <a:pt x="3240519" y="1306010"/>
                </a:cubicBezTo>
                <a:cubicBezTo>
                  <a:pt x="3240519" y="1311458"/>
                  <a:pt x="3236162" y="1316177"/>
                  <a:pt x="3230353" y="1316177"/>
                </a:cubicBezTo>
                <a:cubicBezTo>
                  <a:pt x="3224906" y="1316177"/>
                  <a:pt x="3220186" y="1311458"/>
                  <a:pt x="3220186" y="1306010"/>
                </a:cubicBezTo>
                <a:cubicBezTo>
                  <a:pt x="3220186" y="1300563"/>
                  <a:pt x="3224906" y="1295844"/>
                  <a:pt x="3230353" y="1295844"/>
                </a:cubicBezTo>
                <a:close/>
                <a:moveTo>
                  <a:pt x="3383934" y="1294026"/>
                </a:moveTo>
                <a:cubicBezTo>
                  <a:pt x="3390472" y="1294026"/>
                  <a:pt x="3395919" y="1299473"/>
                  <a:pt x="3395919" y="1306007"/>
                </a:cubicBezTo>
                <a:cubicBezTo>
                  <a:pt x="3395919" y="1312544"/>
                  <a:pt x="3390472" y="1317987"/>
                  <a:pt x="3383934" y="1317987"/>
                </a:cubicBezTo>
                <a:cubicBezTo>
                  <a:pt x="3377401" y="1317987"/>
                  <a:pt x="3371954" y="1312544"/>
                  <a:pt x="3371954" y="1306007"/>
                </a:cubicBezTo>
                <a:cubicBezTo>
                  <a:pt x="3371954" y="1299473"/>
                  <a:pt x="3377401" y="1294026"/>
                  <a:pt x="3383934" y="1294026"/>
                </a:cubicBezTo>
                <a:close/>
                <a:moveTo>
                  <a:pt x="3537886" y="1292211"/>
                </a:moveTo>
                <a:cubicBezTo>
                  <a:pt x="3545509" y="1292211"/>
                  <a:pt x="3551681" y="1298383"/>
                  <a:pt x="3551681" y="1306010"/>
                </a:cubicBezTo>
                <a:cubicBezTo>
                  <a:pt x="3551681" y="1313634"/>
                  <a:pt x="3545509" y="1319806"/>
                  <a:pt x="3537886" y="1319806"/>
                </a:cubicBezTo>
                <a:cubicBezTo>
                  <a:pt x="3530258" y="1319806"/>
                  <a:pt x="3524086" y="1313634"/>
                  <a:pt x="3524086" y="1306010"/>
                </a:cubicBezTo>
                <a:cubicBezTo>
                  <a:pt x="3524086" y="1298383"/>
                  <a:pt x="3530258" y="1292211"/>
                  <a:pt x="3537886" y="1292211"/>
                </a:cubicBezTo>
                <a:close/>
                <a:moveTo>
                  <a:pt x="3691467" y="1290759"/>
                </a:moveTo>
                <a:cubicBezTo>
                  <a:pt x="3699891" y="1290759"/>
                  <a:pt x="3706718" y="1297586"/>
                  <a:pt x="3706718" y="1306010"/>
                </a:cubicBezTo>
                <a:cubicBezTo>
                  <a:pt x="3706718" y="1314431"/>
                  <a:pt x="3699891" y="1321258"/>
                  <a:pt x="3691467" y="1321258"/>
                </a:cubicBezTo>
                <a:cubicBezTo>
                  <a:pt x="3683046" y="1321258"/>
                  <a:pt x="3676219" y="1314431"/>
                  <a:pt x="3676219" y="1306010"/>
                </a:cubicBezTo>
                <a:cubicBezTo>
                  <a:pt x="3676219" y="1297586"/>
                  <a:pt x="3683046" y="1290759"/>
                  <a:pt x="3691467" y="1290759"/>
                </a:cubicBezTo>
                <a:close/>
                <a:moveTo>
                  <a:pt x="3845418" y="1288945"/>
                </a:moveTo>
                <a:cubicBezTo>
                  <a:pt x="3854856" y="1288945"/>
                  <a:pt x="3862484" y="1296568"/>
                  <a:pt x="3862484" y="1306010"/>
                </a:cubicBezTo>
                <a:cubicBezTo>
                  <a:pt x="3862484" y="1315449"/>
                  <a:pt x="3854856" y="1323072"/>
                  <a:pt x="3845418" y="1323072"/>
                </a:cubicBezTo>
                <a:cubicBezTo>
                  <a:pt x="3835976" y="1323072"/>
                  <a:pt x="3828352" y="1315449"/>
                  <a:pt x="3828352" y="1306010"/>
                </a:cubicBezTo>
                <a:cubicBezTo>
                  <a:pt x="3828352" y="1296568"/>
                  <a:pt x="3835976" y="1288945"/>
                  <a:pt x="3845418" y="1288945"/>
                </a:cubicBezTo>
                <a:close/>
                <a:moveTo>
                  <a:pt x="3999000" y="1286768"/>
                </a:moveTo>
                <a:cubicBezTo>
                  <a:pt x="4009627" y="1286768"/>
                  <a:pt x="4018242" y="1295383"/>
                  <a:pt x="4018242" y="1306010"/>
                </a:cubicBezTo>
                <a:cubicBezTo>
                  <a:pt x="4018242" y="1316638"/>
                  <a:pt x="4009627" y="1325257"/>
                  <a:pt x="3999000" y="1325257"/>
                </a:cubicBezTo>
                <a:cubicBezTo>
                  <a:pt x="3988372" y="1325257"/>
                  <a:pt x="3979757" y="1316638"/>
                  <a:pt x="3979757" y="1306010"/>
                </a:cubicBezTo>
                <a:cubicBezTo>
                  <a:pt x="3979757" y="1295383"/>
                  <a:pt x="3988372" y="1286768"/>
                  <a:pt x="3999000" y="1286768"/>
                </a:cubicBezTo>
                <a:close/>
                <a:moveTo>
                  <a:pt x="4152947" y="1284588"/>
                </a:moveTo>
                <a:cubicBezTo>
                  <a:pt x="4164928" y="1284588"/>
                  <a:pt x="4174366" y="1294026"/>
                  <a:pt x="4174366" y="1306010"/>
                </a:cubicBezTo>
                <a:cubicBezTo>
                  <a:pt x="4174366" y="1317991"/>
                  <a:pt x="4164562" y="1327433"/>
                  <a:pt x="4152947" y="1327433"/>
                </a:cubicBezTo>
                <a:cubicBezTo>
                  <a:pt x="4140962" y="1327433"/>
                  <a:pt x="4131524" y="1317991"/>
                  <a:pt x="4131524" y="1306010"/>
                </a:cubicBezTo>
                <a:cubicBezTo>
                  <a:pt x="4131524" y="1294026"/>
                  <a:pt x="4140962" y="1284588"/>
                  <a:pt x="4152947" y="1284588"/>
                </a:cubicBezTo>
                <a:close/>
                <a:moveTo>
                  <a:pt x="4306532" y="1283135"/>
                </a:moveTo>
                <a:cubicBezTo>
                  <a:pt x="4319165" y="1283135"/>
                  <a:pt x="4329404" y="1293378"/>
                  <a:pt x="4329404" y="1306010"/>
                </a:cubicBezTo>
                <a:cubicBezTo>
                  <a:pt x="4329404" y="1318643"/>
                  <a:pt x="4319165" y="1328886"/>
                  <a:pt x="4306532" y="1328886"/>
                </a:cubicBezTo>
                <a:cubicBezTo>
                  <a:pt x="4293900" y="1328886"/>
                  <a:pt x="4283657" y="1318643"/>
                  <a:pt x="4283657" y="1306010"/>
                </a:cubicBezTo>
                <a:cubicBezTo>
                  <a:pt x="4283657" y="1293378"/>
                  <a:pt x="4293900" y="1283135"/>
                  <a:pt x="4306532" y="1283135"/>
                </a:cubicBezTo>
                <a:close/>
                <a:moveTo>
                  <a:pt x="4460480" y="1281321"/>
                </a:moveTo>
                <a:cubicBezTo>
                  <a:pt x="4474279" y="1281321"/>
                  <a:pt x="4485536" y="1292577"/>
                  <a:pt x="4485536" y="1306373"/>
                </a:cubicBezTo>
                <a:cubicBezTo>
                  <a:pt x="4485536" y="1320172"/>
                  <a:pt x="4474279" y="1331424"/>
                  <a:pt x="4460480" y="1331424"/>
                </a:cubicBezTo>
                <a:cubicBezTo>
                  <a:pt x="4446684" y="1331424"/>
                  <a:pt x="4435428" y="1320172"/>
                  <a:pt x="4435428" y="1306373"/>
                </a:cubicBezTo>
                <a:cubicBezTo>
                  <a:pt x="4435428" y="1292577"/>
                  <a:pt x="4446684" y="1281321"/>
                  <a:pt x="4460480" y="1281321"/>
                </a:cubicBezTo>
                <a:close/>
                <a:moveTo>
                  <a:pt x="4614065" y="1278778"/>
                </a:moveTo>
                <a:cubicBezTo>
                  <a:pt x="4628950" y="1278778"/>
                  <a:pt x="4641297" y="1291125"/>
                  <a:pt x="4641297" y="1306010"/>
                </a:cubicBezTo>
                <a:cubicBezTo>
                  <a:pt x="4641297" y="1320896"/>
                  <a:pt x="4629312" y="1333243"/>
                  <a:pt x="4614065" y="1333243"/>
                </a:cubicBezTo>
                <a:cubicBezTo>
                  <a:pt x="4599176" y="1333243"/>
                  <a:pt x="4586832" y="1320896"/>
                  <a:pt x="4586832" y="1306010"/>
                </a:cubicBezTo>
                <a:cubicBezTo>
                  <a:pt x="4586832" y="1291125"/>
                  <a:pt x="4599176" y="1278778"/>
                  <a:pt x="4614065" y="1278778"/>
                </a:cubicBezTo>
                <a:close/>
                <a:moveTo>
                  <a:pt x="4768008" y="1276236"/>
                </a:moveTo>
                <a:cubicBezTo>
                  <a:pt x="4784453" y="1276236"/>
                  <a:pt x="4797784" y="1289566"/>
                  <a:pt x="4797784" y="1306010"/>
                </a:cubicBezTo>
                <a:cubicBezTo>
                  <a:pt x="4797784" y="1322451"/>
                  <a:pt x="4784453" y="1335781"/>
                  <a:pt x="4768008" y="1335781"/>
                </a:cubicBezTo>
                <a:cubicBezTo>
                  <a:pt x="4751568" y="1335781"/>
                  <a:pt x="4738238" y="1322451"/>
                  <a:pt x="4738238" y="1306010"/>
                </a:cubicBezTo>
                <a:cubicBezTo>
                  <a:pt x="4738238" y="1289566"/>
                  <a:pt x="4751568" y="1276236"/>
                  <a:pt x="4768008" y="1276236"/>
                </a:cubicBezTo>
                <a:close/>
                <a:moveTo>
                  <a:pt x="4921594" y="1274059"/>
                </a:moveTo>
                <a:cubicBezTo>
                  <a:pt x="4939384" y="1274059"/>
                  <a:pt x="4953545" y="1288220"/>
                  <a:pt x="4953545" y="1306010"/>
                </a:cubicBezTo>
                <a:cubicBezTo>
                  <a:pt x="4953545" y="1323801"/>
                  <a:pt x="4939384" y="1337962"/>
                  <a:pt x="4921594" y="1337962"/>
                </a:cubicBezTo>
                <a:cubicBezTo>
                  <a:pt x="4903804" y="1337962"/>
                  <a:pt x="4889642" y="1323801"/>
                  <a:pt x="4889642" y="1306010"/>
                </a:cubicBezTo>
                <a:cubicBezTo>
                  <a:pt x="4889642" y="1288220"/>
                  <a:pt x="4903804" y="1274059"/>
                  <a:pt x="4921594" y="1274059"/>
                </a:cubicBezTo>
                <a:close/>
                <a:moveTo>
                  <a:pt x="5075541" y="1272245"/>
                </a:moveTo>
                <a:cubicBezTo>
                  <a:pt x="5094060" y="1272245"/>
                  <a:pt x="5109311" y="1287492"/>
                  <a:pt x="5109311" y="1306010"/>
                </a:cubicBezTo>
                <a:cubicBezTo>
                  <a:pt x="5109311" y="1324529"/>
                  <a:pt x="5094060" y="1339780"/>
                  <a:pt x="5075541" y="1339780"/>
                </a:cubicBezTo>
                <a:cubicBezTo>
                  <a:pt x="5057027" y="1339780"/>
                  <a:pt x="5041776" y="1324529"/>
                  <a:pt x="5041776" y="1306010"/>
                </a:cubicBezTo>
                <a:cubicBezTo>
                  <a:pt x="5041776" y="1287492"/>
                  <a:pt x="5057027" y="1272245"/>
                  <a:pt x="5075541" y="1272245"/>
                </a:cubicBezTo>
                <a:close/>
                <a:moveTo>
                  <a:pt x="5229126" y="1269702"/>
                </a:moveTo>
                <a:cubicBezTo>
                  <a:pt x="5249097" y="1269702"/>
                  <a:pt x="5265435" y="1286040"/>
                  <a:pt x="5265435" y="1306010"/>
                </a:cubicBezTo>
                <a:cubicBezTo>
                  <a:pt x="5265435" y="1325981"/>
                  <a:pt x="5249097" y="1342319"/>
                  <a:pt x="5229126" y="1342319"/>
                </a:cubicBezTo>
                <a:cubicBezTo>
                  <a:pt x="5209156" y="1342319"/>
                  <a:pt x="5192818" y="1325981"/>
                  <a:pt x="5192818" y="1306010"/>
                </a:cubicBezTo>
                <a:cubicBezTo>
                  <a:pt x="5192818" y="1286040"/>
                  <a:pt x="5209156" y="1269702"/>
                  <a:pt x="5229126" y="1269702"/>
                </a:cubicBezTo>
                <a:close/>
                <a:moveTo>
                  <a:pt x="5383074" y="1267160"/>
                </a:moveTo>
                <a:cubicBezTo>
                  <a:pt x="5404496" y="1267160"/>
                  <a:pt x="5421921" y="1284588"/>
                  <a:pt x="5421921" y="1306010"/>
                </a:cubicBezTo>
                <a:cubicBezTo>
                  <a:pt x="5421921" y="1327430"/>
                  <a:pt x="5404496" y="1344858"/>
                  <a:pt x="5383074" y="1344858"/>
                </a:cubicBezTo>
                <a:cubicBezTo>
                  <a:pt x="5361651" y="1344858"/>
                  <a:pt x="5344223" y="1327430"/>
                  <a:pt x="5344223" y="1306010"/>
                </a:cubicBezTo>
                <a:cubicBezTo>
                  <a:pt x="5344223" y="1284588"/>
                  <a:pt x="5361651" y="1267160"/>
                  <a:pt x="5383074" y="1267160"/>
                </a:cubicBezTo>
                <a:close/>
                <a:moveTo>
                  <a:pt x="5536659" y="1264983"/>
                </a:moveTo>
                <a:cubicBezTo>
                  <a:pt x="5559534" y="1264983"/>
                  <a:pt x="5577690" y="1283139"/>
                  <a:pt x="5577690" y="1306010"/>
                </a:cubicBezTo>
                <a:cubicBezTo>
                  <a:pt x="5577690" y="1328886"/>
                  <a:pt x="5559172" y="1347038"/>
                  <a:pt x="5536659" y="1347038"/>
                </a:cubicBezTo>
                <a:cubicBezTo>
                  <a:pt x="5513788" y="1347038"/>
                  <a:pt x="5495632" y="1328886"/>
                  <a:pt x="5495632" y="1306010"/>
                </a:cubicBezTo>
                <a:cubicBezTo>
                  <a:pt x="5495632" y="1283139"/>
                  <a:pt x="5513788" y="1264983"/>
                  <a:pt x="5536659" y="1264983"/>
                </a:cubicBezTo>
                <a:close/>
                <a:moveTo>
                  <a:pt x="5690606" y="1262440"/>
                </a:moveTo>
                <a:cubicBezTo>
                  <a:pt x="5714568" y="1262440"/>
                  <a:pt x="5734176" y="1282049"/>
                  <a:pt x="5734176" y="1306010"/>
                </a:cubicBezTo>
                <a:cubicBezTo>
                  <a:pt x="5734176" y="1329976"/>
                  <a:pt x="5714568" y="1349581"/>
                  <a:pt x="5690606" y="1349581"/>
                </a:cubicBezTo>
                <a:cubicBezTo>
                  <a:pt x="5666641" y="1349581"/>
                  <a:pt x="5647036" y="1329976"/>
                  <a:pt x="5647036" y="1306010"/>
                </a:cubicBezTo>
                <a:cubicBezTo>
                  <a:pt x="5647036" y="1282049"/>
                  <a:pt x="5666641" y="1262440"/>
                  <a:pt x="5690606" y="1262440"/>
                </a:cubicBezTo>
                <a:close/>
                <a:moveTo>
                  <a:pt x="5844554" y="1259898"/>
                </a:moveTo>
                <a:cubicBezTo>
                  <a:pt x="5870021" y="1259898"/>
                  <a:pt x="5890666" y="1280543"/>
                  <a:pt x="5890666" y="1306010"/>
                </a:cubicBezTo>
                <a:cubicBezTo>
                  <a:pt x="5890666" y="1331478"/>
                  <a:pt x="5870021" y="1352123"/>
                  <a:pt x="5844554" y="1352123"/>
                </a:cubicBezTo>
                <a:cubicBezTo>
                  <a:pt x="5819086" y="1352123"/>
                  <a:pt x="5798442" y="1331478"/>
                  <a:pt x="5798442" y="1306010"/>
                </a:cubicBezTo>
                <a:cubicBezTo>
                  <a:pt x="5798442" y="1280543"/>
                  <a:pt x="5819086" y="1259898"/>
                  <a:pt x="5844554" y="1259898"/>
                </a:cubicBezTo>
                <a:close/>
                <a:moveTo>
                  <a:pt x="5998136" y="1257355"/>
                </a:moveTo>
                <a:cubicBezTo>
                  <a:pt x="6025006" y="1257355"/>
                  <a:pt x="6046790" y="1279140"/>
                  <a:pt x="6046790" y="1306010"/>
                </a:cubicBezTo>
                <a:cubicBezTo>
                  <a:pt x="6046790" y="1332877"/>
                  <a:pt x="6025006" y="1354662"/>
                  <a:pt x="5998136" y="1354662"/>
                </a:cubicBezTo>
                <a:cubicBezTo>
                  <a:pt x="5971269" y="1354662"/>
                  <a:pt x="5949484" y="1332877"/>
                  <a:pt x="5949484" y="1306010"/>
                </a:cubicBezTo>
                <a:cubicBezTo>
                  <a:pt x="5949484" y="1279140"/>
                  <a:pt x="5971269" y="1257355"/>
                  <a:pt x="5998136" y="1257355"/>
                </a:cubicBezTo>
                <a:close/>
                <a:moveTo>
                  <a:pt x="6152083" y="1254817"/>
                </a:moveTo>
                <a:cubicBezTo>
                  <a:pt x="6180405" y="1254817"/>
                  <a:pt x="6203280" y="1277692"/>
                  <a:pt x="6203280" y="1306010"/>
                </a:cubicBezTo>
                <a:cubicBezTo>
                  <a:pt x="6203280" y="1334333"/>
                  <a:pt x="6180405" y="1357204"/>
                  <a:pt x="6152083" y="1357204"/>
                </a:cubicBezTo>
                <a:cubicBezTo>
                  <a:pt x="6123764" y="1357204"/>
                  <a:pt x="6100889" y="1334333"/>
                  <a:pt x="6100889" y="1306010"/>
                </a:cubicBezTo>
                <a:cubicBezTo>
                  <a:pt x="6100889" y="1277692"/>
                  <a:pt x="6123764" y="1254817"/>
                  <a:pt x="6152083" y="1254817"/>
                </a:cubicBezTo>
                <a:close/>
                <a:moveTo>
                  <a:pt x="6305668" y="1252636"/>
                </a:moveTo>
                <a:cubicBezTo>
                  <a:pt x="6335077" y="1252636"/>
                  <a:pt x="6359042" y="1276598"/>
                  <a:pt x="6359042" y="1306010"/>
                </a:cubicBezTo>
                <a:cubicBezTo>
                  <a:pt x="6359042" y="1335419"/>
                  <a:pt x="6335077" y="1359381"/>
                  <a:pt x="6305668" y="1359381"/>
                </a:cubicBezTo>
                <a:cubicBezTo>
                  <a:pt x="6276259" y="1359381"/>
                  <a:pt x="6252294" y="1335419"/>
                  <a:pt x="6252294" y="1306010"/>
                </a:cubicBezTo>
                <a:cubicBezTo>
                  <a:pt x="6252294" y="1276598"/>
                  <a:pt x="6276259" y="1252636"/>
                  <a:pt x="6305668" y="1252636"/>
                </a:cubicBezTo>
                <a:close/>
                <a:moveTo>
                  <a:pt x="6459619" y="1249732"/>
                </a:moveTo>
                <a:cubicBezTo>
                  <a:pt x="6490842" y="1249732"/>
                  <a:pt x="6515894" y="1274783"/>
                  <a:pt x="6515894" y="1306010"/>
                </a:cubicBezTo>
                <a:cubicBezTo>
                  <a:pt x="6515894" y="1337234"/>
                  <a:pt x="6490842" y="1362289"/>
                  <a:pt x="6459619" y="1362289"/>
                </a:cubicBezTo>
                <a:cubicBezTo>
                  <a:pt x="6428392" y="1362289"/>
                  <a:pt x="6403340" y="1337234"/>
                  <a:pt x="6403340" y="1306010"/>
                </a:cubicBezTo>
                <a:cubicBezTo>
                  <a:pt x="6403340" y="1274783"/>
                  <a:pt x="6428392" y="1249732"/>
                  <a:pt x="6459619" y="1249732"/>
                </a:cubicBezTo>
                <a:close/>
                <a:moveTo>
                  <a:pt x="6613197" y="1247189"/>
                </a:moveTo>
                <a:cubicBezTo>
                  <a:pt x="6645514" y="1247189"/>
                  <a:pt x="6672018" y="1273693"/>
                  <a:pt x="6672018" y="1306010"/>
                </a:cubicBezTo>
                <a:cubicBezTo>
                  <a:pt x="6672018" y="1338324"/>
                  <a:pt x="6645876" y="1364828"/>
                  <a:pt x="6613197" y="1364828"/>
                </a:cubicBezTo>
                <a:cubicBezTo>
                  <a:pt x="6580884" y="1364828"/>
                  <a:pt x="6554380" y="1338324"/>
                  <a:pt x="6554380" y="1306010"/>
                </a:cubicBezTo>
                <a:cubicBezTo>
                  <a:pt x="6554380" y="1273693"/>
                  <a:pt x="6580884" y="1247189"/>
                  <a:pt x="6613197" y="1247189"/>
                </a:cubicBezTo>
                <a:close/>
                <a:moveTo>
                  <a:pt x="1846279" y="1152063"/>
                </a:moveTo>
                <a:cubicBezTo>
                  <a:pt x="1846641" y="1152063"/>
                  <a:pt x="1846641" y="1152063"/>
                  <a:pt x="1846641" y="1152425"/>
                </a:cubicBezTo>
                <a:cubicBezTo>
                  <a:pt x="1846641" y="1152791"/>
                  <a:pt x="1846279" y="1152791"/>
                  <a:pt x="1846279" y="1152791"/>
                </a:cubicBezTo>
                <a:cubicBezTo>
                  <a:pt x="1845917" y="1152791"/>
                  <a:pt x="1845917" y="1152791"/>
                  <a:pt x="1845917" y="1152425"/>
                </a:cubicBezTo>
                <a:cubicBezTo>
                  <a:pt x="1845917" y="1152063"/>
                  <a:pt x="1845917" y="1152063"/>
                  <a:pt x="1846279" y="1152063"/>
                </a:cubicBezTo>
                <a:close/>
                <a:moveTo>
                  <a:pt x="1384799" y="1152063"/>
                </a:moveTo>
                <a:cubicBezTo>
                  <a:pt x="1385161" y="1152063"/>
                  <a:pt x="1385161" y="1152063"/>
                  <a:pt x="1385161" y="1152425"/>
                </a:cubicBezTo>
                <a:cubicBezTo>
                  <a:pt x="1385161" y="1152791"/>
                  <a:pt x="1384799" y="1152791"/>
                  <a:pt x="1384799" y="1152791"/>
                </a:cubicBezTo>
                <a:cubicBezTo>
                  <a:pt x="1384437" y="1152791"/>
                  <a:pt x="1384437" y="1152791"/>
                  <a:pt x="1384437" y="1152425"/>
                </a:cubicBezTo>
                <a:cubicBezTo>
                  <a:pt x="1384437" y="1152063"/>
                  <a:pt x="1384437" y="1152063"/>
                  <a:pt x="1384799" y="1152063"/>
                </a:cubicBezTo>
                <a:close/>
                <a:moveTo>
                  <a:pt x="1231213" y="1152063"/>
                </a:moveTo>
                <a:cubicBezTo>
                  <a:pt x="1231576" y="1152063"/>
                  <a:pt x="1231576" y="1152063"/>
                  <a:pt x="1231576" y="1152425"/>
                </a:cubicBezTo>
                <a:cubicBezTo>
                  <a:pt x="1231576" y="1152791"/>
                  <a:pt x="1231213" y="1152791"/>
                  <a:pt x="1231213" y="1152791"/>
                </a:cubicBezTo>
                <a:cubicBezTo>
                  <a:pt x="1230851" y="1152791"/>
                  <a:pt x="1230851" y="1152791"/>
                  <a:pt x="1230851" y="1152425"/>
                </a:cubicBezTo>
                <a:cubicBezTo>
                  <a:pt x="1230851" y="1152063"/>
                  <a:pt x="1230851" y="1152063"/>
                  <a:pt x="1231213" y="1152063"/>
                </a:cubicBezTo>
                <a:close/>
                <a:moveTo>
                  <a:pt x="1077270" y="1151701"/>
                </a:moveTo>
                <a:cubicBezTo>
                  <a:pt x="1077670" y="1151701"/>
                  <a:pt x="1077994" y="1152025"/>
                  <a:pt x="1077994" y="1152425"/>
                </a:cubicBezTo>
                <a:cubicBezTo>
                  <a:pt x="1077994" y="1152829"/>
                  <a:pt x="1077670" y="1153153"/>
                  <a:pt x="1077270" y="1153153"/>
                </a:cubicBezTo>
                <a:cubicBezTo>
                  <a:pt x="1076866" y="1153153"/>
                  <a:pt x="1076542" y="1152829"/>
                  <a:pt x="1076542" y="1152425"/>
                </a:cubicBezTo>
                <a:cubicBezTo>
                  <a:pt x="1076542" y="1152025"/>
                  <a:pt x="1076866" y="1151701"/>
                  <a:pt x="1077270" y="1151701"/>
                </a:cubicBezTo>
                <a:close/>
                <a:moveTo>
                  <a:pt x="1999864" y="1150611"/>
                </a:moveTo>
                <a:cubicBezTo>
                  <a:pt x="2000588" y="1150611"/>
                  <a:pt x="2001316" y="1151335"/>
                  <a:pt x="2001316" y="1152063"/>
                </a:cubicBezTo>
                <a:cubicBezTo>
                  <a:pt x="2001316" y="1152787"/>
                  <a:pt x="1999864" y="1153515"/>
                  <a:pt x="1999864" y="1153515"/>
                </a:cubicBezTo>
                <a:cubicBezTo>
                  <a:pt x="1999136" y="1153515"/>
                  <a:pt x="1998412" y="1152787"/>
                  <a:pt x="1998412" y="1152063"/>
                </a:cubicBezTo>
                <a:cubicBezTo>
                  <a:pt x="1998412" y="1151335"/>
                  <a:pt x="1999136" y="1150611"/>
                  <a:pt x="1999864" y="1150611"/>
                </a:cubicBezTo>
                <a:close/>
                <a:moveTo>
                  <a:pt x="2153808" y="1150249"/>
                </a:moveTo>
                <a:cubicBezTo>
                  <a:pt x="2154898" y="1150249"/>
                  <a:pt x="2155988" y="1151339"/>
                  <a:pt x="2155988" y="1152425"/>
                </a:cubicBezTo>
                <a:cubicBezTo>
                  <a:pt x="2155988" y="1153515"/>
                  <a:pt x="2153808" y="1154606"/>
                  <a:pt x="2153808" y="1154606"/>
                </a:cubicBezTo>
                <a:cubicBezTo>
                  <a:pt x="2152721" y="1154606"/>
                  <a:pt x="2151631" y="1153515"/>
                  <a:pt x="2151631" y="1152425"/>
                </a:cubicBezTo>
                <a:cubicBezTo>
                  <a:pt x="2151631" y="1151339"/>
                  <a:pt x="2152721" y="1150249"/>
                  <a:pt x="2153808" y="1150249"/>
                </a:cubicBezTo>
                <a:close/>
                <a:moveTo>
                  <a:pt x="2307393" y="1149158"/>
                </a:moveTo>
                <a:cubicBezTo>
                  <a:pt x="2309211" y="1149158"/>
                  <a:pt x="2310660" y="1150611"/>
                  <a:pt x="2310660" y="1152425"/>
                </a:cubicBezTo>
                <a:cubicBezTo>
                  <a:pt x="2310660" y="1154244"/>
                  <a:pt x="2309211" y="1155696"/>
                  <a:pt x="2307393" y="1155696"/>
                </a:cubicBezTo>
                <a:cubicBezTo>
                  <a:pt x="2305578" y="1155696"/>
                  <a:pt x="2304126" y="1154244"/>
                  <a:pt x="2304126" y="1152425"/>
                </a:cubicBezTo>
                <a:cubicBezTo>
                  <a:pt x="2304126" y="1150611"/>
                  <a:pt x="2305578" y="1149158"/>
                  <a:pt x="2307393" y="1149158"/>
                </a:cubicBezTo>
                <a:close/>
                <a:moveTo>
                  <a:pt x="2461340" y="1147706"/>
                </a:moveTo>
                <a:cubicBezTo>
                  <a:pt x="2463883" y="1147706"/>
                  <a:pt x="2465697" y="1149521"/>
                  <a:pt x="2465697" y="1152063"/>
                </a:cubicBezTo>
                <a:cubicBezTo>
                  <a:pt x="2465697" y="1154606"/>
                  <a:pt x="2463521" y="1156420"/>
                  <a:pt x="2461340" y="1156420"/>
                </a:cubicBezTo>
                <a:cubicBezTo>
                  <a:pt x="2458798" y="1156420"/>
                  <a:pt x="2456983" y="1154606"/>
                  <a:pt x="2456983" y="1152063"/>
                </a:cubicBezTo>
                <a:cubicBezTo>
                  <a:pt x="2456983" y="1149521"/>
                  <a:pt x="2458798" y="1147706"/>
                  <a:pt x="2461340" y="1147706"/>
                </a:cubicBezTo>
                <a:close/>
                <a:moveTo>
                  <a:pt x="2614925" y="1146616"/>
                </a:moveTo>
                <a:cubicBezTo>
                  <a:pt x="2618192" y="1146616"/>
                  <a:pt x="2620735" y="1149158"/>
                  <a:pt x="2620735" y="1152425"/>
                </a:cubicBezTo>
                <a:cubicBezTo>
                  <a:pt x="2620735" y="1155692"/>
                  <a:pt x="2618192" y="1158234"/>
                  <a:pt x="2614925" y="1158234"/>
                </a:cubicBezTo>
                <a:cubicBezTo>
                  <a:pt x="2611659" y="1158234"/>
                  <a:pt x="2609116" y="1155692"/>
                  <a:pt x="2609116" y="1152425"/>
                </a:cubicBezTo>
                <a:cubicBezTo>
                  <a:pt x="2609116" y="1149158"/>
                  <a:pt x="2611659" y="1146616"/>
                  <a:pt x="2614925" y="1146616"/>
                </a:cubicBezTo>
                <a:close/>
                <a:moveTo>
                  <a:pt x="2768873" y="1145164"/>
                </a:moveTo>
                <a:cubicBezTo>
                  <a:pt x="2772868" y="1145164"/>
                  <a:pt x="2776135" y="1148430"/>
                  <a:pt x="2776135" y="1152425"/>
                </a:cubicBezTo>
                <a:cubicBezTo>
                  <a:pt x="2776135" y="1156420"/>
                  <a:pt x="2772868" y="1159687"/>
                  <a:pt x="2768873" y="1159687"/>
                </a:cubicBezTo>
                <a:cubicBezTo>
                  <a:pt x="2764878" y="1159687"/>
                  <a:pt x="2761611" y="1156420"/>
                  <a:pt x="2761611" y="1152425"/>
                </a:cubicBezTo>
                <a:cubicBezTo>
                  <a:pt x="2761611" y="1148430"/>
                  <a:pt x="2764878" y="1145164"/>
                  <a:pt x="2768873" y="1145164"/>
                </a:cubicBezTo>
                <a:close/>
                <a:moveTo>
                  <a:pt x="2922454" y="1142983"/>
                </a:moveTo>
                <a:cubicBezTo>
                  <a:pt x="2927539" y="1142983"/>
                  <a:pt x="2931534" y="1146978"/>
                  <a:pt x="2931534" y="1152059"/>
                </a:cubicBezTo>
                <a:cubicBezTo>
                  <a:pt x="2931534" y="1157144"/>
                  <a:pt x="2927539" y="1161139"/>
                  <a:pt x="2922454" y="1161139"/>
                </a:cubicBezTo>
                <a:cubicBezTo>
                  <a:pt x="2917373" y="1161139"/>
                  <a:pt x="2913378" y="1157144"/>
                  <a:pt x="2913378" y="1152059"/>
                </a:cubicBezTo>
                <a:cubicBezTo>
                  <a:pt x="2913378" y="1146978"/>
                  <a:pt x="2917373" y="1142983"/>
                  <a:pt x="2922454" y="1142983"/>
                </a:cubicBezTo>
                <a:close/>
                <a:moveTo>
                  <a:pt x="3076406" y="1142259"/>
                </a:moveTo>
                <a:cubicBezTo>
                  <a:pt x="3081853" y="1142259"/>
                  <a:pt x="3086572" y="1146978"/>
                  <a:pt x="3086572" y="1152425"/>
                </a:cubicBezTo>
                <a:cubicBezTo>
                  <a:pt x="3086572" y="1157872"/>
                  <a:pt x="3082215" y="1162592"/>
                  <a:pt x="3076406" y="1162592"/>
                </a:cubicBezTo>
                <a:cubicBezTo>
                  <a:pt x="3070958" y="1162592"/>
                  <a:pt x="3066239" y="1157872"/>
                  <a:pt x="3066239" y="1152425"/>
                </a:cubicBezTo>
                <a:cubicBezTo>
                  <a:pt x="3066239" y="1146978"/>
                  <a:pt x="3070958" y="1142259"/>
                  <a:pt x="3076406" y="1142259"/>
                </a:cubicBezTo>
                <a:close/>
                <a:moveTo>
                  <a:pt x="3230349" y="1140444"/>
                </a:moveTo>
                <a:cubicBezTo>
                  <a:pt x="3236886" y="1140444"/>
                  <a:pt x="3242334" y="1145892"/>
                  <a:pt x="3242334" y="1152425"/>
                </a:cubicBezTo>
                <a:cubicBezTo>
                  <a:pt x="3242334" y="1158963"/>
                  <a:pt x="3236886" y="1164406"/>
                  <a:pt x="3230349" y="1164406"/>
                </a:cubicBezTo>
                <a:cubicBezTo>
                  <a:pt x="3223816" y="1164406"/>
                  <a:pt x="3218368" y="1158963"/>
                  <a:pt x="3218368" y="1152425"/>
                </a:cubicBezTo>
                <a:cubicBezTo>
                  <a:pt x="3218368" y="1145892"/>
                  <a:pt x="3223816" y="1140444"/>
                  <a:pt x="3230349" y="1140444"/>
                </a:cubicBezTo>
                <a:close/>
                <a:moveTo>
                  <a:pt x="3383934" y="1138264"/>
                </a:moveTo>
                <a:cubicBezTo>
                  <a:pt x="3391562" y="1138264"/>
                  <a:pt x="3397733" y="1144435"/>
                  <a:pt x="3397733" y="1152059"/>
                </a:cubicBezTo>
                <a:cubicBezTo>
                  <a:pt x="3397733" y="1159687"/>
                  <a:pt x="3391562" y="1165858"/>
                  <a:pt x="3383934" y="1165858"/>
                </a:cubicBezTo>
                <a:cubicBezTo>
                  <a:pt x="3376310" y="1165858"/>
                  <a:pt x="3370139" y="1159687"/>
                  <a:pt x="3370139" y="1152059"/>
                </a:cubicBezTo>
                <a:cubicBezTo>
                  <a:pt x="3370139" y="1144435"/>
                  <a:pt x="3376310" y="1138264"/>
                  <a:pt x="3383934" y="1138264"/>
                </a:cubicBezTo>
                <a:close/>
                <a:moveTo>
                  <a:pt x="3537882" y="1137178"/>
                </a:moveTo>
                <a:cubicBezTo>
                  <a:pt x="3546306" y="1137178"/>
                  <a:pt x="3553133" y="1144005"/>
                  <a:pt x="3553133" y="1152425"/>
                </a:cubicBezTo>
                <a:cubicBezTo>
                  <a:pt x="3553133" y="1160849"/>
                  <a:pt x="3546306" y="1167677"/>
                  <a:pt x="3537882" y="1167677"/>
                </a:cubicBezTo>
                <a:cubicBezTo>
                  <a:pt x="3529461" y="1167677"/>
                  <a:pt x="3522634" y="1160849"/>
                  <a:pt x="3522634" y="1152425"/>
                </a:cubicBezTo>
                <a:cubicBezTo>
                  <a:pt x="3522634" y="1144005"/>
                  <a:pt x="3529461" y="1137178"/>
                  <a:pt x="3537882" y="1137178"/>
                </a:cubicBezTo>
                <a:close/>
                <a:moveTo>
                  <a:pt x="3691467" y="1135359"/>
                </a:moveTo>
                <a:cubicBezTo>
                  <a:pt x="3700905" y="1135359"/>
                  <a:pt x="3708533" y="1142983"/>
                  <a:pt x="3708533" y="1152425"/>
                </a:cubicBezTo>
                <a:cubicBezTo>
                  <a:pt x="3708533" y="1161863"/>
                  <a:pt x="3700905" y="1169487"/>
                  <a:pt x="3691467" y="1169487"/>
                </a:cubicBezTo>
                <a:cubicBezTo>
                  <a:pt x="3682025" y="1169487"/>
                  <a:pt x="3674401" y="1161863"/>
                  <a:pt x="3674401" y="1152425"/>
                </a:cubicBezTo>
                <a:cubicBezTo>
                  <a:pt x="3674401" y="1142983"/>
                  <a:pt x="3682025" y="1135359"/>
                  <a:pt x="3691467" y="1135359"/>
                </a:cubicBezTo>
                <a:close/>
                <a:moveTo>
                  <a:pt x="3845414" y="1133183"/>
                </a:moveTo>
                <a:cubicBezTo>
                  <a:pt x="3856046" y="1133183"/>
                  <a:pt x="3864661" y="1141798"/>
                  <a:pt x="3864661" y="1152425"/>
                </a:cubicBezTo>
                <a:cubicBezTo>
                  <a:pt x="3864661" y="1163053"/>
                  <a:pt x="3856046" y="1171672"/>
                  <a:pt x="3845414" y="1171672"/>
                </a:cubicBezTo>
                <a:cubicBezTo>
                  <a:pt x="3834787" y="1171672"/>
                  <a:pt x="3826172" y="1163053"/>
                  <a:pt x="3826172" y="1152425"/>
                </a:cubicBezTo>
                <a:cubicBezTo>
                  <a:pt x="3826172" y="1141798"/>
                  <a:pt x="3834787" y="1133183"/>
                  <a:pt x="3845414" y="1133183"/>
                </a:cubicBezTo>
                <a:close/>
                <a:moveTo>
                  <a:pt x="3999000" y="1131002"/>
                </a:moveTo>
                <a:cubicBezTo>
                  <a:pt x="4010832" y="1131002"/>
                  <a:pt x="4020422" y="1140593"/>
                  <a:pt x="4020422" y="1152425"/>
                </a:cubicBezTo>
                <a:cubicBezTo>
                  <a:pt x="4020422" y="1164254"/>
                  <a:pt x="4010832" y="1173844"/>
                  <a:pt x="3999000" y="1173844"/>
                </a:cubicBezTo>
                <a:cubicBezTo>
                  <a:pt x="3987168" y="1173844"/>
                  <a:pt x="3977577" y="1164254"/>
                  <a:pt x="3977577" y="1152425"/>
                </a:cubicBezTo>
                <a:cubicBezTo>
                  <a:pt x="3977577" y="1140593"/>
                  <a:pt x="3987168" y="1131002"/>
                  <a:pt x="3999000" y="1131002"/>
                </a:cubicBezTo>
                <a:close/>
                <a:moveTo>
                  <a:pt x="4152947" y="1129550"/>
                </a:moveTo>
                <a:cubicBezTo>
                  <a:pt x="4165580" y="1129550"/>
                  <a:pt x="4175822" y="1139792"/>
                  <a:pt x="4175822" y="1152425"/>
                </a:cubicBezTo>
                <a:cubicBezTo>
                  <a:pt x="4175822" y="1165058"/>
                  <a:pt x="4165580" y="1175297"/>
                  <a:pt x="4152947" y="1175297"/>
                </a:cubicBezTo>
                <a:cubicBezTo>
                  <a:pt x="4140314" y="1175297"/>
                  <a:pt x="4130072" y="1165058"/>
                  <a:pt x="4130072" y="1152425"/>
                </a:cubicBezTo>
                <a:cubicBezTo>
                  <a:pt x="4130072" y="1139792"/>
                  <a:pt x="4140314" y="1129550"/>
                  <a:pt x="4152947" y="1129550"/>
                </a:cubicBezTo>
                <a:close/>
                <a:moveTo>
                  <a:pt x="4306532" y="1127373"/>
                </a:moveTo>
                <a:cubicBezTo>
                  <a:pt x="4320370" y="1127373"/>
                  <a:pt x="4331584" y="1138588"/>
                  <a:pt x="4331584" y="1152425"/>
                </a:cubicBezTo>
                <a:cubicBezTo>
                  <a:pt x="4331584" y="1166262"/>
                  <a:pt x="4320370" y="1177481"/>
                  <a:pt x="4306532" y="1177481"/>
                </a:cubicBezTo>
                <a:cubicBezTo>
                  <a:pt x="4292695" y="1177481"/>
                  <a:pt x="4281480" y="1166262"/>
                  <a:pt x="4281480" y="1152425"/>
                </a:cubicBezTo>
                <a:cubicBezTo>
                  <a:pt x="4281480" y="1138588"/>
                  <a:pt x="4292695" y="1127373"/>
                  <a:pt x="4306532" y="1127373"/>
                </a:cubicBezTo>
                <a:close/>
                <a:moveTo>
                  <a:pt x="4460480" y="1125193"/>
                </a:moveTo>
                <a:cubicBezTo>
                  <a:pt x="4475365" y="1125193"/>
                  <a:pt x="4487712" y="1137540"/>
                  <a:pt x="4487712" y="1152425"/>
                </a:cubicBezTo>
                <a:cubicBezTo>
                  <a:pt x="4487712" y="1167311"/>
                  <a:pt x="4475728" y="1179657"/>
                  <a:pt x="4460480" y="1179657"/>
                </a:cubicBezTo>
                <a:cubicBezTo>
                  <a:pt x="4445590" y="1179657"/>
                  <a:pt x="4433248" y="1167311"/>
                  <a:pt x="4433248" y="1152425"/>
                </a:cubicBezTo>
                <a:cubicBezTo>
                  <a:pt x="4433248" y="1137540"/>
                  <a:pt x="4445590" y="1125193"/>
                  <a:pt x="4460480" y="1125193"/>
                </a:cubicBezTo>
                <a:close/>
                <a:moveTo>
                  <a:pt x="4614061" y="1122654"/>
                </a:moveTo>
                <a:cubicBezTo>
                  <a:pt x="4630506" y="1122654"/>
                  <a:pt x="4643836" y="1135985"/>
                  <a:pt x="4643836" y="1152425"/>
                </a:cubicBezTo>
                <a:cubicBezTo>
                  <a:pt x="4643836" y="1168870"/>
                  <a:pt x="4630506" y="1182200"/>
                  <a:pt x="4614061" y="1182200"/>
                </a:cubicBezTo>
                <a:cubicBezTo>
                  <a:pt x="4597620" y="1182200"/>
                  <a:pt x="4584290" y="1168870"/>
                  <a:pt x="4584290" y="1152429"/>
                </a:cubicBezTo>
                <a:cubicBezTo>
                  <a:pt x="4584290" y="1135985"/>
                  <a:pt x="4597620" y="1122654"/>
                  <a:pt x="4614061" y="1122654"/>
                </a:cubicBezTo>
                <a:close/>
                <a:moveTo>
                  <a:pt x="4768012" y="1120474"/>
                </a:moveTo>
                <a:cubicBezTo>
                  <a:pt x="4785802" y="1120474"/>
                  <a:pt x="4799964" y="1134635"/>
                  <a:pt x="4799964" y="1152425"/>
                </a:cubicBezTo>
                <a:cubicBezTo>
                  <a:pt x="4799964" y="1170215"/>
                  <a:pt x="4785802" y="1184377"/>
                  <a:pt x="4768012" y="1184377"/>
                </a:cubicBezTo>
                <a:cubicBezTo>
                  <a:pt x="4750222" y="1184377"/>
                  <a:pt x="4736061" y="1170215"/>
                  <a:pt x="4736061" y="1152425"/>
                </a:cubicBezTo>
                <a:cubicBezTo>
                  <a:pt x="4736061" y="1134635"/>
                  <a:pt x="4750222" y="1120474"/>
                  <a:pt x="4768012" y="1120474"/>
                </a:cubicBezTo>
                <a:close/>
                <a:moveTo>
                  <a:pt x="4921594" y="1118659"/>
                </a:moveTo>
                <a:cubicBezTo>
                  <a:pt x="4940246" y="1118659"/>
                  <a:pt x="4955364" y="1133777"/>
                  <a:pt x="4955364" y="1152425"/>
                </a:cubicBezTo>
                <a:cubicBezTo>
                  <a:pt x="4955364" y="1171077"/>
                  <a:pt x="4940246" y="1186191"/>
                  <a:pt x="4921594" y="1186191"/>
                </a:cubicBezTo>
                <a:cubicBezTo>
                  <a:pt x="4902946" y="1186191"/>
                  <a:pt x="4887828" y="1171077"/>
                  <a:pt x="4887828" y="1152425"/>
                </a:cubicBezTo>
                <a:cubicBezTo>
                  <a:pt x="4887828" y="1133777"/>
                  <a:pt x="4902946" y="1118659"/>
                  <a:pt x="4921594" y="1118659"/>
                </a:cubicBezTo>
                <a:close/>
                <a:moveTo>
                  <a:pt x="5075541" y="1116117"/>
                </a:moveTo>
                <a:cubicBezTo>
                  <a:pt x="5095512" y="1116117"/>
                  <a:pt x="5111850" y="1132455"/>
                  <a:pt x="5111850" y="1152425"/>
                </a:cubicBezTo>
                <a:cubicBezTo>
                  <a:pt x="5111850" y="1172396"/>
                  <a:pt x="5095512" y="1188734"/>
                  <a:pt x="5075541" y="1188734"/>
                </a:cubicBezTo>
                <a:cubicBezTo>
                  <a:pt x="5055570" y="1188734"/>
                  <a:pt x="5039233" y="1172396"/>
                  <a:pt x="5039233" y="1152425"/>
                </a:cubicBezTo>
                <a:cubicBezTo>
                  <a:pt x="5039233" y="1132455"/>
                  <a:pt x="5055570" y="1116117"/>
                  <a:pt x="5075541" y="1116117"/>
                </a:cubicBezTo>
                <a:close/>
                <a:moveTo>
                  <a:pt x="5229126" y="1113574"/>
                </a:moveTo>
                <a:cubicBezTo>
                  <a:pt x="5250550" y="1113574"/>
                  <a:pt x="5267978" y="1131002"/>
                  <a:pt x="5267978" y="1152425"/>
                </a:cubicBezTo>
                <a:cubicBezTo>
                  <a:pt x="5267978" y="1173848"/>
                  <a:pt x="5250550" y="1191276"/>
                  <a:pt x="5229126" y="1191276"/>
                </a:cubicBezTo>
                <a:cubicBezTo>
                  <a:pt x="5207704" y="1191276"/>
                  <a:pt x="5190276" y="1173848"/>
                  <a:pt x="5190276" y="1152425"/>
                </a:cubicBezTo>
                <a:cubicBezTo>
                  <a:pt x="5190276" y="1131002"/>
                  <a:pt x="5207704" y="1113574"/>
                  <a:pt x="5229126" y="1113574"/>
                </a:cubicBezTo>
                <a:close/>
                <a:moveTo>
                  <a:pt x="5383074" y="1111036"/>
                </a:moveTo>
                <a:cubicBezTo>
                  <a:pt x="5405949" y="1111036"/>
                  <a:pt x="5424102" y="1129192"/>
                  <a:pt x="5424102" y="1152063"/>
                </a:cubicBezTo>
                <a:cubicBezTo>
                  <a:pt x="5424102" y="1174938"/>
                  <a:pt x="5405587" y="1193094"/>
                  <a:pt x="5383074" y="1193094"/>
                </a:cubicBezTo>
                <a:cubicBezTo>
                  <a:pt x="5360202" y="1193094"/>
                  <a:pt x="5342046" y="1174938"/>
                  <a:pt x="5342046" y="1152063"/>
                </a:cubicBezTo>
                <a:cubicBezTo>
                  <a:pt x="5342046" y="1129192"/>
                  <a:pt x="5360202" y="1111036"/>
                  <a:pt x="5383074" y="1111036"/>
                </a:cubicBezTo>
                <a:close/>
                <a:moveTo>
                  <a:pt x="5536659" y="1108855"/>
                </a:moveTo>
                <a:cubicBezTo>
                  <a:pt x="5560620" y="1108855"/>
                  <a:pt x="5580229" y="1128460"/>
                  <a:pt x="5580229" y="1152425"/>
                </a:cubicBezTo>
                <a:cubicBezTo>
                  <a:pt x="5580229" y="1176391"/>
                  <a:pt x="5560620" y="1195995"/>
                  <a:pt x="5536659" y="1195995"/>
                </a:cubicBezTo>
                <a:cubicBezTo>
                  <a:pt x="5512694" y="1195995"/>
                  <a:pt x="5493089" y="1176391"/>
                  <a:pt x="5493089" y="1152425"/>
                </a:cubicBezTo>
                <a:cubicBezTo>
                  <a:pt x="5493089" y="1128460"/>
                  <a:pt x="5512694" y="1108855"/>
                  <a:pt x="5536659" y="1108855"/>
                </a:cubicBezTo>
                <a:close/>
                <a:moveTo>
                  <a:pt x="5690602" y="1106313"/>
                </a:moveTo>
                <a:cubicBezTo>
                  <a:pt x="5716070" y="1106313"/>
                  <a:pt x="5736716" y="1126958"/>
                  <a:pt x="5736716" y="1152425"/>
                </a:cubicBezTo>
                <a:cubicBezTo>
                  <a:pt x="5736716" y="1177893"/>
                  <a:pt x="5716070" y="1198534"/>
                  <a:pt x="5690602" y="1198534"/>
                </a:cubicBezTo>
                <a:cubicBezTo>
                  <a:pt x="5665136" y="1198534"/>
                  <a:pt x="5644490" y="1177893"/>
                  <a:pt x="5644490" y="1152425"/>
                </a:cubicBezTo>
                <a:cubicBezTo>
                  <a:pt x="5644490" y="1126958"/>
                  <a:pt x="5665136" y="1106313"/>
                  <a:pt x="5690602" y="1106313"/>
                </a:cubicBezTo>
                <a:close/>
                <a:moveTo>
                  <a:pt x="5844554" y="1103770"/>
                </a:moveTo>
                <a:cubicBezTo>
                  <a:pt x="5871420" y="1103770"/>
                  <a:pt x="5893205" y="1125555"/>
                  <a:pt x="5893205" y="1152425"/>
                </a:cubicBezTo>
                <a:cubicBezTo>
                  <a:pt x="5893205" y="1179291"/>
                  <a:pt x="5871420" y="1201077"/>
                  <a:pt x="5844554" y="1201077"/>
                </a:cubicBezTo>
                <a:cubicBezTo>
                  <a:pt x="5817684" y="1201077"/>
                  <a:pt x="5795899" y="1179291"/>
                  <a:pt x="5795899" y="1152425"/>
                </a:cubicBezTo>
                <a:cubicBezTo>
                  <a:pt x="5795899" y="1125555"/>
                  <a:pt x="5817684" y="1103770"/>
                  <a:pt x="5844554" y="1103770"/>
                </a:cubicBezTo>
                <a:close/>
                <a:moveTo>
                  <a:pt x="5998136" y="1101231"/>
                </a:moveTo>
                <a:cubicBezTo>
                  <a:pt x="6026458" y="1101231"/>
                  <a:pt x="6049333" y="1124107"/>
                  <a:pt x="6049333" y="1152425"/>
                </a:cubicBezTo>
                <a:cubicBezTo>
                  <a:pt x="6049333" y="1180748"/>
                  <a:pt x="6026458" y="1203623"/>
                  <a:pt x="5998136" y="1203623"/>
                </a:cubicBezTo>
                <a:cubicBezTo>
                  <a:pt x="5969817" y="1203623"/>
                  <a:pt x="5946942" y="1180748"/>
                  <a:pt x="5946942" y="1152425"/>
                </a:cubicBezTo>
                <a:cubicBezTo>
                  <a:pt x="5946942" y="1124107"/>
                  <a:pt x="5969817" y="1101231"/>
                  <a:pt x="5998136" y="1101231"/>
                </a:cubicBezTo>
                <a:close/>
                <a:moveTo>
                  <a:pt x="6152083" y="1099051"/>
                </a:moveTo>
                <a:cubicBezTo>
                  <a:pt x="6181496" y="1099051"/>
                  <a:pt x="6205461" y="1123013"/>
                  <a:pt x="6205461" y="1152425"/>
                </a:cubicBezTo>
                <a:cubicBezTo>
                  <a:pt x="6205461" y="1181834"/>
                  <a:pt x="6181496" y="1205796"/>
                  <a:pt x="6152083" y="1205796"/>
                </a:cubicBezTo>
                <a:cubicBezTo>
                  <a:pt x="6122674" y="1205796"/>
                  <a:pt x="6098712" y="1181834"/>
                  <a:pt x="6098712" y="1152425"/>
                </a:cubicBezTo>
                <a:cubicBezTo>
                  <a:pt x="6098712" y="1123013"/>
                  <a:pt x="6122674" y="1099051"/>
                  <a:pt x="6152083" y="1099051"/>
                </a:cubicBezTo>
                <a:close/>
                <a:moveTo>
                  <a:pt x="6305672" y="1096146"/>
                </a:moveTo>
                <a:cubicBezTo>
                  <a:pt x="6336895" y="1096146"/>
                  <a:pt x="6361947" y="1121198"/>
                  <a:pt x="6361947" y="1152425"/>
                </a:cubicBezTo>
                <a:cubicBezTo>
                  <a:pt x="6361947" y="1183648"/>
                  <a:pt x="6336895" y="1208704"/>
                  <a:pt x="6305672" y="1208704"/>
                </a:cubicBezTo>
                <a:cubicBezTo>
                  <a:pt x="6274445" y="1208704"/>
                  <a:pt x="6249393" y="1183648"/>
                  <a:pt x="6249393" y="1152425"/>
                </a:cubicBezTo>
                <a:cubicBezTo>
                  <a:pt x="6249393" y="1121198"/>
                  <a:pt x="6274445" y="1096146"/>
                  <a:pt x="6305672" y="1096146"/>
                </a:cubicBezTo>
                <a:close/>
                <a:moveTo>
                  <a:pt x="6459616" y="1093608"/>
                </a:moveTo>
                <a:cubicBezTo>
                  <a:pt x="6491932" y="1093608"/>
                  <a:pt x="6518437" y="1120112"/>
                  <a:pt x="6518437" y="1152425"/>
                </a:cubicBezTo>
                <a:cubicBezTo>
                  <a:pt x="6518437" y="1184743"/>
                  <a:pt x="6492295" y="1211247"/>
                  <a:pt x="6459616" y="1211247"/>
                </a:cubicBezTo>
                <a:cubicBezTo>
                  <a:pt x="6427302" y="1211247"/>
                  <a:pt x="6400798" y="1184743"/>
                  <a:pt x="6400798" y="1152425"/>
                </a:cubicBezTo>
                <a:cubicBezTo>
                  <a:pt x="6400798" y="1120112"/>
                  <a:pt x="6427302" y="1093608"/>
                  <a:pt x="6459616" y="1093608"/>
                </a:cubicBezTo>
                <a:close/>
                <a:moveTo>
                  <a:pt x="6613200" y="1090703"/>
                </a:moveTo>
                <a:cubicBezTo>
                  <a:pt x="6647328" y="1090703"/>
                  <a:pt x="6674923" y="1118297"/>
                  <a:pt x="6674923" y="1152425"/>
                </a:cubicBezTo>
                <a:cubicBezTo>
                  <a:pt x="6674923" y="1186557"/>
                  <a:pt x="6647328" y="1214151"/>
                  <a:pt x="6613200" y="1214151"/>
                </a:cubicBezTo>
                <a:cubicBezTo>
                  <a:pt x="6579069" y="1214151"/>
                  <a:pt x="6551474" y="1186557"/>
                  <a:pt x="6551474" y="1152425"/>
                </a:cubicBezTo>
                <a:cubicBezTo>
                  <a:pt x="6551474" y="1118297"/>
                  <a:pt x="6579069" y="1090703"/>
                  <a:pt x="6613200" y="1090703"/>
                </a:cubicBezTo>
                <a:close/>
                <a:moveTo>
                  <a:pt x="1692331" y="998116"/>
                </a:moveTo>
                <a:cubicBezTo>
                  <a:pt x="1692694" y="998116"/>
                  <a:pt x="1692694" y="998116"/>
                  <a:pt x="1692694" y="998478"/>
                </a:cubicBezTo>
                <a:cubicBezTo>
                  <a:pt x="1692694" y="998844"/>
                  <a:pt x="1692331" y="998844"/>
                  <a:pt x="1692331" y="998844"/>
                </a:cubicBezTo>
                <a:cubicBezTo>
                  <a:pt x="1691969" y="998844"/>
                  <a:pt x="1691969" y="998844"/>
                  <a:pt x="1691969" y="998478"/>
                </a:cubicBezTo>
                <a:cubicBezTo>
                  <a:pt x="1691969" y="998116"/>
                  <a:pt x="1691969" y="998116"/>
                  <a:pt x="1692331" y="998116"/>
                </a:cubicBezTo>
                <a:close/>
                <a:moveTo>
                  <a:pt x="1231213" y="998116"/>
                </a:moveTo>
                <a:cubicBezTo>
                  <a:pt x="1231576" y="998116"/>
                  <a:pt x="1231576" y="998116"/>
                  <a:pt x="1231576" y="998478"/>
                </a:cubicBezTo>
                <a:cubicBezTo>
                  <a:pt x="1231576" y="998844"/>
                  <a:pt x="1231213" y="998844"/>
                  <a:pt x="1231213" y="998844"/>
                </a:cubicBezTo>
                <a:cubicBezTo>
                  <a:pt x="1230851" y="998844"/>
                  <a:pt x="1230851" y="998844"/>
                  <a:pt x="1230851" y="998478"/>
                </a:cubicBezTo>
                <a:cubicBezTo>
                  <a:pt x="1230851" y="998116"/>
                  <a:pt x="1230851" y="998116"/>
                  <a:pt x="1231213" y="998116"/>
                </a:cubicBezTo>
                <a:close/>
                <a:moveTo>
                  <a:pt x="1077266" y="998116"/>
                </a:moveTo>
                <a:cubicBezTo>
                  <a:pt x="1077628" y="998116"/>
                  <a:pt x="1077628" y="998116"/>
                  <a:pt x="1077628" y="998478"/>
                </a:cubicBezTo>
                <a:cubicBezTo>
                  <a:pt x="1077628" y="998844"/>
                  <a:pt x="1077266" y="998844"/>
                  <a:pt x="1077266" y="998844"/>
                </a:cubicBezTo>
                <a:cubicBezTo>
                  <a:pt x="1076904" y="998844"/>
                  <a:pt x="1076904" y="998844"/>
                  <a:pt x="1076904" y="998478"/>
                </a:cubicBezTo>
                <a:cubicBezTo>
                  <a:pt x="1076904" y="998116"/>
                  <a:pt x="1076904" y="998116"/>
                  <a:pt x="1077266" y="998116"/>
                </a:cubicBezTo>
                <a:close/>
                <a:moveTo>
                  <a:pt x="923685" y="997754"/>
                </a:moveTo>
                <a:cubicBezTo>
                  <a:pt x="924085" y="997754"/>
                  <a:pt x="924409" y="998077"/>
                  <a:pt x="924409" y="998482"/>
                </a:cubicBezTo>
                <a:cubicBezTo>
                  <a:pt x="924409" y="998882"/>
                  <a:pt x="924085" y="999206"/>
                  <a:pt x="923685" y="999206"/>
                </a:cubicBezTo>
                <a:cubicBezTo>
                  <a:pt x="923281" y="999206"/>
                  <a:pt x="922957" y="998882"/>
                  <a:pt x="922957" y="998482"/>
                </a:cubicBezTo>
                <a:cubicBezTo>
                  <a:pt x="922957" y="998077"/>
                  <a:pt x="923281" y="997754"/>
                  <a:pt x="923685" y="997754"/>
                </a:cubicBezTo>
                <a:close/>
                <a:moveTo>
                  <a:pt x="1846279" y="997025"/>
                </a:moveTo>
                <a:cubicBezTo>
                  <a:pt x="1847003" y="997025"/>
                  <a:pt x="1847731" y="997754"/>
                  <a:pt x="1847731" y="998478"/>
                </a:cubicBezTo>
                <a:cubicBezTo>
                  <a:pt x="1847731" y="999206"/>
                  <a:pt x="1846279" y="999930"/>
                  <a:pt x="1846279" y="999930"/>
                </a:cubicBezTo>
                <a:cubicBezTo>
                  <a:pt x="1845551" y="999930"/>
                  <a:pt x="1844826" y="999206"/>
                  <a:pt x="1844826" y="998478"/>
                </a:cubicBezTo>
                <a:cubicBezTo>
                  <a:pt x="1844826" y="997754"/>
                  <a:pt x="1845551" y="997025"/>
                  <a:pt x="1846279" y="997025"/>
                </a:cubicBezTo>
                <a:close/>
                <a:moveTo>
                  <a:pt x="1999860" y="996301"/>
                </a:moveTo>
                <a:cubicBezTo>
                  <a:pt x="2000950" y="996301"/>
                  <a:pt x="2002041" y="997391"/>
                  <a:pt x="2002041" y="998478"/>
                </a:cubicBezTo>
                <a:cubicBezTo>
                  <a:pt x="2002041" y="999568"/>
                  <a:pt x="1999860" y="1000658"/>
                  <a:pt x="1999860" y="1000658"/>
                </a:cubicBezTo>
                <a:cubicBezTo>
                  <a:pt x="1998774" y="1000658"/>
                  <a:pt x="1997684" y="999568"/>
                  <a:pt x="1997684" y="998478"/>
                </a:cubicBezTo>
                <a:cubicBezTo>
                  <a:pt x="1997684" y="997391"/>
                  <a:pt x="1998774" y="996301"/>
                  <a:pt x="1999860" y="996301"/>
                </a:cubicBezTo>
                <a:close/>
                <a:moveTo>
                  <a:pt x="2153808" y="995573"/>
                </a:moveTo>
                <a:cubicBezTo>
                  <a:pt x="2155622" y="995573"/>
                  <a:pt x="2157074" y="997025"/>
                  <a:pt x="2157074" y="998840"/>
                </a:cubicBezTo>
                <a:cubicBezTo>
                  <a:pt x="2157074" y="1000654"/>
                  <a:pt x="2155622" y="1002110"/>
                  <a:pt x="2153808" y="1002110"/>
                </a:cubicBezTo>
                <a:cubicBezTo>
                  <a:pt x="2151993" y="1002110"/>
                  <a:pt x="2150541" y="1000654"/>
                  <a:pt x="2150541" y="998840"/>
                </a:cubicBezTo>
                <a:cubicBezTo>
                  <a:pt x="2150541" y="997025"/>
                  <a:pt x="2151993" y="995573"/>
                  <a:pt x="2153808" y="995573"/>
                </a:cubicBezTo>
                <a:close/>
                <a:moveTo>
                  <a:pt x="2307393" y="994121"/>
                </a:moveTo>
                <a:cubicBezTo>
                  <a:pt x="2309935" y="994121"/>
                  <a:pt x="2311750" y="995935"/>
                  <a:pt x="2311750" y="998478"/>
                </a:cubicBezTo>
                <a:cubicBezTo>
                  <a:pt x="2311750" y="1001020"/>
                  <a:pt x="2309569" y="1002835"/>
                  <a:pt x="2307393" y="1002835"/>
                </a:cubicBezTo>
                <a:cubicBezTo>
                  <a:pt x="2304850" y="1002835"/>
                  <a:pt x="2303036" y="1001020"/>
                  <a:pt x="2303036" y="998478"/>
                </a:cubicBezTo>
                <a:cubicBezTo>
                  <a:pt x="2303036" y="995935"/>
                  <a:pt x="2304850" y="994121"/>
                  <a:pt x="2307393" y="994121"/>
                </a:cubicBezTo>
                <a:close/>
                <a:moveTo>
                  <a:pt x="2461340" y="993031"/>
                </a:moveTo>
                <a:cubicBezTo>
                  <a:pt x="2464607" y="993031"/>
                  <a:pt x="2467150" y="995573"/>
                  <a:pt x="2467150" y="998840"/>
                </a:cubicBezTo>
                <a:cubicBezTo>
                  <a:pt x="2467150" y="1002107"/>
                  <a:pt x="2464607" y="1004649"/>
                  <a:pt x="2461340" y="1004649"/>
                </a:cubicBezTo>
                <a:cubicBezTo>
                  <a:pt x="2458073" y="1004649"/>
                  <a:pt x="2455531" y="1002107"/>
                  <a:pt x="2455531" y="998840"/>
                </a:cubicBezTo>
                <a:cubicBezTo>
                  <a:pt x="2455531" y="995573"/>
                  <a:pt x="2458073" y="993031"/>
                  <a:pt x="2461340" y="993031"/>
                </a:cubicBezTo>
                <a:close/>
                <a:moveTo>
                  <a:pt x="2614925" y="991216"/>
                </a:moveTo>
                <a:cubicBezTo>
                  <a:pt x="2618920" y="991216"/>
                  <a:pt x="2622187" y="994483"/>
                  <a:pt x="2622187" y="998478"/>
                </a:cubicBezTo>
                <a:cubicBezTo>
                  <a:pt x="2622187" y="1002473"/>
                  <a:pt x="2618920" y="1005739"/>
                  <a:pt x="2614925" y="1005739"/>
                </a:cubicBezTo>
                <a:cubicBezTo>
                  <a:pt x="2610931" y="1005739"/>
                  <a:pt x="2607664" y="1002473"/>
                  <a:pt x="2607664" y="998478"/>
                </a:cubicBezTo>
                <a:cubicBezTo>
                  <a:pt x="2607664" y="994483"/>
                  <a:pt x="2610931" y="991216"/>
                  <a:pt x="2614925" y="991216"/>
                </a:cubicBezTo>
                <a:close/>
                <a:moveTo>
                  <a:pt x="2768873" y="989402"/>
                </a:moveTo>
                <a:cubicBezTo>
                  <a:pt x="2773958" y="989402"/>
                  <a:pt x="2777953" y="993396"/>
                  <a:pt x="2777953" y="998478"/>
                </a:cubicBezTo>
                <a:cubicBezTo>
                  <a:pt x="2777953" y="1003563"/>
                  <a:pt x="2773958" y="1007558"/>
                  <a:pt x="2768873" y="1007558"/>
                </a:cubicBezTo>
                <a:cubicBezTo>
                  <a:pt x="2763792" y="1007558"/>
                  <a:pt x="2759797" y="1003563"/>
                  <a:pt x="2759797" y="998478"/>
                </a:cubicBezTo>
                <a:cubicBezTo>
                  <a:pt x="2759797" y="993396"/>
                  <a:pt x="2763792" y="989402"/>
                  <a:pt x="2768873" y="989402"/>
                </a:cubicBezTo>
                <a:close/>
                <a:moveTo>
                  <a:pt x="2922458" y="988311"/>
                </a:moveTo>
                <a:cubicBezTo>
                  <a:pt x="2927905" y="988311"/>
                  <a:pt x="2932624" y="993031"/>
                  <a:pt x="2932624" y="998478"/>
                </a:cubicBezTo>
                <a:cubicBezTo>
                  <a:pt x="2932624" y="1003925"/>
                  <a:pt x="2928267" y="1008644"/>
                  <a:pt x="2922458" y="1008644"/>
                </a:cubicBezTo>
                <a:cubicBezTo>
                  <a:pt x="2917011" y="1008644"/>
                  <a:pt x="2912292" y="1003925"/>
                  <a:pt x="2912292" y="998478"/>
                </a:cubicBezTo>
                <a:cubicBezTo>
                  <a:pt x="2912292" y="993031"/>
                  <a:pt x="2917011" y="988311"/>
                  <a:pt x="2922458" y="988311"/>
                </a:cubicBezTo>
                <a:close/>
                <a:moveTo>
                  <a:pt x="3076402" y="986497"/>
                </a:moveTo>
                <a:cubicBezTo>
                  <a:pt x="3082939" y="986497"/>
                  <a:pt x="3088386" y="991944"/>
                  <a:pt x="3088386" y="998478"/>
                </a:cubicBezTo>
                <a:cubicBezTo>
                  <a:pt x="3088386" y="1005015"/>
                  <a:pt x="3082939" y="1010459"/>
                  <a:pt x="3076402" y="1010459"/>
                </a:cubicBezTo>
                <a:cubicBezTo>
                  <a:pt x="3069868" y="1010459"/>
                  <a:pt x="3064421" y="1005015"/>
                  <a:pt x="3064421" y="998478"/>
                </a:cubicBezTo>
                <a:cubicBezTo>
                  <a:pt x="3064421" y="991944"/>
                  <a:pt x="3069868" y="986497"/>
                  <a:pt x="3076402" y="986497"/>
                </a:cubicBezTo>
                <a:close/>
                <a:moveTo>
                  <a:pt x="3230353" y="984683"/>
                </a:moveTo>
                <a:cubicBezTo>
                  <a:pt x="3237973" y="984683"/>
                  <a:pt x="3244148" y="990862"/>
                  <a:pt x="3244148" y="998482"/>
                </a:cubicBezTo>
                <a:cubicBezTo>
                  <a:pt x="3244148" y="1006098"/>
                  <a:pt x="3237973" y="1012277"/>
                  <a:pt x="3230353" y="1012277"/>
                </a:cubicBezTo>
                <a:cubicBezTo>
                  <a:pt x="3222733" y="1012277"/>
                  <a:pt x="3216554" y="1006098"/>
                  <a:pt x="3216554" y="998482"/>
                </a:cubicBezTo>
                <a:cubicBezTo>
                  <a:pt x="3216554" y="990862"/>
                  <a:pt x="3222733" y="984683"/>
                  <a:pt x="3230353" y="984683"/>
                </a:cubicBezTo>
                <a:close/>
                <a:moveTo>
                  <a:pt x="3383934" y="983230"/>
                </a:moveTo>
                <a:cubicBezTo>
                  <a:pt x="3392358" y="983230"/>
                  <a:pt x="3399186" y="990057"/>
                  <a:pt x="3399186" y="998482"/>
                </a:cubicBezTo>
                <a:cubicBezTo>
                  <a:pt x="3399186" y="1006902"/>
                  <a:pt x="3392358" y="1013729"/>
                  <a:pt x="3383934" y="1013729"/>
                </a:cubicBezTo>
                <a:cubicBezTo>
                  <a:pt x="3375514" y="1013729"/>
                  <a:pt x="3368687" y="1006902"/>
                  <a:pt x="3368687" y="998482"/>
                </a:cubicBezTo>
                <a:cubicBezTo>
                  <a:pt x="3368687" y="990057"/>
                  <a:pt x="3375514" y="983230"/>
                  <a:pt x="3383934" y="983230"/>
                </a:cubicBezTo>
                <a:close/>
                <a:moveTo>
                  <a:pt x="3537886" y="981412"/>
                </a:moveTo>
                <a:cubicBezTo>
                  <a:pt x="3547324" y="981412"/>
                  <a:pt x="3554951" y="989036"/>
                  <a:pt x="3554951" y="998478"/>
                </a:cubicBezTo>
                <a:cubicBezTo>
                  <a:pt x="3554951" y="1007916"/>
                  <a:pt x="3547324" y="1015540"/>
                  <a:pt x="3537886" y="1015540"/>
                </a:cubicBezTo>
                <a:cubicBezTo>
                  <a:pt x="3528444" y="1015540"/>
                  <a:pt x="3520820" y="1007916"/>
                  <a:pt x="3520820" y="998478"/>
                </a:cubicBezTo>
                <a:cubicBezTo>
                  <a:pt x="3520820" y="989036"/>
                  <a:pt x="3528444" y="981412"/>
                  <a:pt x="3537886" y="981412"/>
                </a:cubicBezTo>
                <a:close/>
                <a:moveTo>
                  <a:pt x="3691467" y="979235"/>
                </a:moveTo>
                <a:cubicBezTo>
                  <a:pt x="3702094" y="979235"/>
                  <a:pt x="3710710" y="987850"/>
                  <a:pt x="3710710" y="998478"/>
                </a:cubicBezTo>
                <a:cubicBezTo>
                  <a:pt x="3710710" y="1009105"/>
                  <a:pt x="3702094" y="1017724"/>
                  <a:pt x="3691467" y="1017724"/>
                </a:cubicBezTo>
                <a:cubicBezTo>
                  <a:pt x="3680839" y="1017724"/>
                  <a:pt x="3672224" y="1009105"/>
                  <a:pt x="3672224" y="998478"/>
                </a:cubicBezTo>
                <a:cubicBezTo>
                  <a:pt x="3672224" y="987850"/>
                  <a:pt x="3680839" y="979235"/>
                  <a:pt x="3691467" y="979235"/>
                </a:cubicBezTo>
                <a:close/>
                <a:moveTo>
                  <a:pt x="3845418" y="977055"/>
                </a:moveTo>
                <a:cubicBezTo>
                  <a:pt x="3857246" y="977055"/>
                  <a:pt x="3866841" y="986646"/>
                  <a:pt x="3866841" y="998478"/>
                </a:cubicBezTo>
                <a:cubicBezTo>
                  <a:pt x="3866841" y="1010306"/>
                  <a:pt x="3857246" y="1019901"/>
                  <a:pt x="3845418" y="1019901"/>
                </a:cubicBezTo>
                <a:cubicBezTo>
                  <a:pt x="3833586" y="1019901"/>
                  <a:pt x="3823995" y="1010306"/>
                  <a:pt x="3823995" y="998478"/>
                </a:cubicBezTo>
                <a:cubicBezTo>
                  <a:pt x="3823995" y="986646"/>
                  <a:pt x="3833586" y="977055"/>
                  <a:pt x="3845418" y="977055"/>
                </a:cubicBezTo>
                <a:close/>
                <a:moveTo>
                  <a:pt x="3999000" y="975603"/>
                </a:moveTo>
                <a:cubicBezTo>
                  <a:pt x="4011632" y="975603"/>
                  <a:pt x="4021871" y="985845"/>
                  <a:pt x="4021871" y="998478"/>
                </a:cubicBezTo>
                <a:cubicBezTo>
                  <a:pt x="4021871" y="1011110"/>
                  <a:pt x="4011632" y="1021349"/>
                  <a:pt x="3999000" y="1021349"/>
                </a:cubicBezTo>
                <a:cubicBezTo>
                  <a:pt x="3986367" y="1021349"/>
                  <a:pt x="3976124" y="1011110"/>
                  <a:pt x="3976124" y="998478"/>
                </a:cubicBezTo>
                <a:cubicBezTo>
                  <a:pt x="3976124" y="985845"/>
                  <a:pt x="3986367" y="975603"/>
                  <a:pt x="3999000" y="975603"/>
                </a:cubicBezTo>
                <a:close/>
                <a:moveTo>
                  <a:pt x="4152947" y="973426"/>
                </a:moveTo>
                <a:cubicBezTo>
                  <a:pt x="4166784" y="973426"/>
                  <a:pt x="4178002" y="984641"/>
                  <a:pt x="4178002" y="998478"/>
                </a:cubicBezTo>
                <a:cubicBezTo>
                  <a:pt x="4178002" y="1012315"/>
                  <a:pt x="4166784" y="1023533"/>
                  <a:pt x="4152947" y="1023533"/>
                </a:cubicBezTo>
                <a:cubicBezTo>
                  <a:pt x="4139114" y="1023533"/>
                  <a:pt x="4127895" y="1012315"/>
                  <a:pt x="4127895" y="998478"/>
                </a:cubicBezTo>
                <a:cubicBezTo>
                  <a:pt x="4127895" y="984641"/>
                  <a:pt x="4139114" y="973426"/>
                  <a:pt x="4152947" y="973426"/>
                </a:cubicBezTo>
                <a:close/>
                <a:moveTo>
                  <a:pt x="4306532" y="971246"/>
                </a:moveTo>
                <a:cubicBezTo>
                  <a:pt x="4321418" y="971246"/>
                  <a:pt x="4333764" y="983592"/>
                  <a:pt x="4333764" y="998478"/>
                </a:cubicBezTo>
                <a:cubicBezTo>
                  <a:pt x="4333764" y="1013363"/>
                  <a:pt x="4321780" y="1025710"/>
                  <a:pt x="4306532" y="1025710"/>
                </a:cubicBezTo>
                <a:cubicBezTo>
                  <a:pt x="4291643" y="1025710"/>
                  <a:pt x="4279300" y="1013363"/>
                  <a:pt x="4279300" y="998478"/>
                </a:cubicBezTo>
                <a:cubicBezTo>
                  <a:pt x="4279300" y="983592"/>
                  <a:pt x="4291643" y="971246"/>
                  <a:pt x="4306532" y="971246"/>
                </a:cubicBezTo>
                <a:close/>
                <a:moveTo>
                  <a:pt x="4460476" y="968707"/>
                </a:moveTo>
                <a:cubicBezTo>
                  <a:pt x="4476920" y="968707"/>
                  <a:pt x="4490250" y="982037"/>
                  <a:pt x="4490250" y="998482"/>
                </a:cubicBezTo>
                <a:cubicBezTo>
                  <a:pt x="4490250" y="1014922"/>
                  <a:pt x="4476920" y="1028252"/>
                  <a:pt x="4460476" y="1028252"/>
                </a:cubicBezTo>
                <a:cubicBezTo>
                  <a:pt x="4444035" y="1028252"/>
                  <a:pt x="4430705" y="1014922"/>
                  <a:pt x="4430705" y="998482"/>
                </a:cubicBezTo>
                <a:cubicBezTo>
                  <a:pt x="4430705" y="982037"/>
                  <a:pt x="4444035" y="968707"/>
                  <a:pt x="4460476" y="968707"/>
                </a:cubicBezTo>
                <a:close/>
                <a:moveTo>
                  <a:pt x="4614061" y="966526"/>
                </a:moveTo>
                <a:cubicBezTo>
                  <a:pt x="4631852" y="966526"/>
                  <a:pt x="4646012" y="980688"/>
                  <a:pt x="4646012" y="998478"/>
                </a:cubicBezTo>
                <a:cubicBezTo>
                  <a:pt x="4646012" y="1016268"/>
                  <a:pt x="4631852" y="1030429"/>
                  <a:pt x="4614061" y="1030429"/>
                </a:cubicBezTo>
                <a:cubicBezTo>
                  <a:pt x="4596271" y="1030429"/>
                  <a:pt x="4582110" y="1016268"/>
                  <a:pt x="4582110" y="998478"/>
                </a:cubicBezTo>
                <a:cubicBezTo>
                  <a:pt x="4582110" y="980688"/>
                  <a:pt x="4596271" y="966526"/>
                  <a:pt x="4614061" y="966526"/>
                </a:cubicBezTo>
                <a:close/>
                <a:moveTo>
                  <a:pt x="4768008" y="964712"/>
                </a:moveTo>
                <a:cubicBezTo>
                  <a:pt x="4786656" y="964712"/>
                  <a:pt x="4801778" y="979830"/>
                  <a:pt x="4801778" y="998478"/>
                </a:cubicBezTo>
                <a:cubicBezTo>
                  <a:pt x="4801778" y="1017129"/>
                  <a:pt x="4786656" y="1032247"/>
                  <a:pt x="4768008" y="1032247"/>
                </a:cubicBezTo>
                <a:cubicBezTo>
                  <a:pt x="4749360" y="1032247"/>
                  <a:pt x="4734242" y="1017129"/>
                  <a:pt x="4734242" y="998478"/>
                </a:cubicBezTo>
                <a:cubicBezTo>
                  <a:pt x="4734242" y="979830"/>
                  <a:pt x="4749360" y="964712"/>
                  <a:pt x="4768008" y="964712"/>
                </a:cubicBezTo>
                <a:close/>
                <a:moveTo>
                  <a:pt x="4921594" y="962169"/>
                </a:moveTo>
                <a:cubicBezTo>
                  <a:pt x="4941564" y="962169"/>
                  <a:pt x="4957902" y="978507"/>
                  <a:pt x="4957902" y="998478"/>
                </a:cubicBezTo>
                <a:cubicBezTo>
                  <a:pt x="4957902" y="1018448"/>
                  <a:pt x="4941564" y="1034786"/>
                  <a:pt x="4921594" y="1034786"/>
                </a:cubicBezTo>
                <a:cubicBezTo>
                  <a:pt x="4901623" y="1034786"/>
                  <a:pt x="4885286" y="1018448"/>
                  <a:pt x="4885286" y="998478"/>
                </a:cubicBezTo>
                <a:cubicBezTo>
                  <a:pt x="4885286" y="978507"/>
                  <a:pt x="4901623" y="962169"/>
                  <a:pt x="4921594" y="962169"/>
                </a:cubicBezTo>
                <a:close/>
                <a:moveTo>
                  <a:pt x="5075545" y="959627"/>
                </a:moveTo>
                <a:cubicBezTo>
                  <a:pt x="5096968" y="959627"/>
                  <a:pt x="5114392" y="977055"/>
                  <a:pt x="5114392" y="998478"/>
                </a:cubicBezTo>
                <a:cubicBezTo>
                  <a:pt x="5114392" y="1019897"/>
                  <a:pt x="5096968" y="1037325"/>
                  <a:pt x="5075545" y="1037325"/>
                </a:cubicBezTo>
                <a:cubicBezTo>
                  <a:pt x="5054122" y="1037325"/>
                  <a:pt x="5036694" y="1019897"/>
                  <a:pt x="5036694" y="998478"/>
                </a:cubicBezTo>
                <a:cubicBezTo>
                  <a:pt x="5036694" y="977055"/>
                  <a:pt x="5054122" y="959627"/>
                  <a:pt x="5075545" y="959627"/>
                </a:cubicBezTo>
                <a:close/>
                <a:moveTo>
                  <a:pt x="5229126" y="957450"/>
                </a:moveTo>
                <a:cubicBezTo>
                  <a:pt x="5252002" y="957450"/>
                  <a:pt x="5270158" y="975606"/>
                  <a:pt x="5270158" y="998478"/>
                </a:cubicBezTo>
                <a:cubicBezTo>
                  <a:pt x="5270158" y="1021353"/>
                  <a:pt x="5251640" y="1039505"/>
                  <a:pt x="5229126" y="1039505"/>
                </a:cubicBezTo>
                <a:cubicBezTo>
                  <a:pt x="5206255" y="1039505"/>
                  <a:pt x="5188099" y="1021353"/>
                  <a:pt x="5188099" y="998478"/>
                </a:cubicBezTo>
                <a:cubicBezTo>
                  <a:pt x="5188099" y="975606"/>
                  <a:pt x="5206255" y="957450"/>
                  <a:pt x="5229126" y="957450"/>
                </a:cubicBezTo>
                <a:close/>
                <a:moveTo>
                  <a:pt x="5383074" y="954908"/>
                </a:moveTo>
                <a:cubicBezTo>
                  <a:pt x="5407036" y="954908"/>
                  <a:pt x="5426644" y="974516"/>
                  <a:pt x="5426644" y="998478"/>
                </a:cubicBezTo>
                <a:cubicBezTo>
                  <a:pt x="5426644" y="1022443"/>
                  <a:pt x="5407036" y="1042048"/>
                  <a:pt x="5383074" y="1042048"/>
                </a:cubicBezTo>
                <a:cubicBezTo>
                  <a:pt x="5359112" y="1042048"/>
                  <a:pt x="5339504" y="1022443"/>
                  <a:pt x="5339504" y="998478"/>
                </a:cubicBezTo>
                <a:cubicBezTo>
                  <a:pt x="5339504" y="974516"/>
                  <a:pt x="5359112" y="954908"/>
                  <a:pt x="5383074" y="954908"/>
                </a:cubicBezTo>
                <a:close/>
                <a:moveTo>
                  <a:pt x="5537018" y="952365"/>
                </a:moveTo>
                <a:cubicBezTo>
                  <a:pt x="5562484" y="952365"/>
                  <a:pt x="5583130" y="973010"/>
                  <a:pt x="5583130" y="998478"/>
                </a:cubicBezTo>
                <a:cubicBezTo>
                  <a:pt x="5583130" y="1023945"/>
                  <a:pt x="5562484" y="1044590"/>
                  <a:pt x="5537018" y="1044590"/>
                </a:cubicBezTo>
                <a:cubicBezTo>
                  <a:pt x="5511554" y="1044590"/>
                  <a:pt x="5490908" y="1023945"/>
                  <a:pt x="5490908" y="998478"/>
                </a:cubicBezTo>
                <a:cubicBezTo>
                  <a:pt x="5490908" y="973010"/>
                  <a:pt x="5511554" y="952365"/>
                  <a:pt x="5537018" y="952365"/>
                </a:cubicBezTo>
                <a:close/>
                <a:moveTo>
                  <a:pt x="5690606" y="949823"/>
                </a:moveTo>
                <a:cubicBezTo>
                  <a:pt x="5717473" y="949823"/>
                  <a:pt x="5739258" y="971608"/>
                  <a:pt x="5739258" y="998478"/>
                </a:cubicBezTo>
                <a:cubicBezTo>
                  <a:pt x="5739258" y="1025344"/>
                  <a:pt x="5717473" y="1047129"/>
                  <a:pt x="5690606" y="1047129"/>
                </a:cubicBezTo>
                <a:cubicBezTo>
                  <a:pt x="5663736" y="1047129"/>
                  <a:pt x="5641952" y="1025344"/>
                  <a:pt x="5641952" y="998478"/>
                </a:cubicBezTo>
                <a:cubicBezTo>
                  <a:pt x="5641952" y="971608"/>
                  <a:pt x="5663736" y="949823"/>
                  <a:pt x="5690606" y="949823"/>
                </a:cubicBezTo>
                <a:close/>
                <a:moveTo>
                  <a:pt x="5844554" y="947284"/>
                </a:moveTo>
                <a:cubicBezTo>
                  <a:pt x="5872830" y="947284"/>
                  <a:pt x="5895748" y="970205"/>
                  <a:pt x="5895748" y="998478"/>
                </a:cubicBezTo>
                <a:cubicBezTo>
                  <a:pt x="5895748" y="1026754"/>
                  <a:pt x="5872827" y="1049672"/>
                  <a:pt x="5844554" y="1049672"/>
                </a:cubicBezTo>
                <a:cubicBezTo>
                  <a:pt x="5816281" y="1049672"/>
                  <a:pt x="5793360" y="1026754"/>
                  <a:pt x="5793360" y="998478"/>
                </a:cubicBezTo>
                <a:cubicBezTo>
                  <a:pt x="5793360" y="970205"/>
                  <a:pt x="5816281" y="947284"/>
                  <a:pt x="5844554" y="947284"/>
                </a:cubicBezTo>
                <a:close/>
                <a:moveTo>
                  <a:pt x="5998136" y="945104"/>
                </a:moveTo>
                <a:cubicBezTo>
                  <a:pt x="6027548" y="945104"/>
                  <a:pt x="6051514" y="969065"/>
                  <a:pt x="6051514" y="998478"/>
                </a:cubicBezTo>
                <a:cubicBezTo>
                  <a:pt x="6051514" y="1027887"/>
                  <a:pt x="6027548" y="1051848"/>
                  <a:pt x="5998136" y="1051848"/>
                </a:cubicBezTo>
                <a:cubicBezTo>
                  <a:pt x="5968726" y="1051848"/>
                  <a:pt x="5944765" y="1027887"/>
                  <a:pt x="5944765" y="998478"/>
                </a:cubicBezTo>
                <a:cubicBezTo>
                  <a:pt x="5944765" y="969065"/>
                  <a:pt x="5968726" y="945104"/>
                  <a:pt x="5998136" y="945104"/>
                </a:cubicBezTo>
                <a:close/>
                <a:moveTo>
                  <a:pt x="6152086" y="942199"/>
                </a:moveTo>
                <a:cubicBezTo>
                  <a:pt x="6183314" y="942199"/>
                  <a:pt x="6208366" y="967251"/>
                  <a:pt x="6208366" y="998478"/>
                </a:cubicBezTo>
                <a:cubicBezTo>
                  <a:pt x="6208366" y="1029701"/>
                  <a:pt x="6183314" y="1054753"/>
                  <a:pt x="6152086" y="1054753"/>
                </a:cubicBezTo>
                <a:cubicBezTo>
                  <a:pt x="6120860" y="1054753"/>
                  <a:pt x="6095808" y="1029701"/>
                  <a:pt x="6095808" y="998478"/>
                </a:cubicBezTo>
                <a:cubicBezTo>
                  <a:pt x="6095808" y="967251"/>
                  <a:pt x="6120860" y="942199"/>
                  <a:pt x="6152086" y="942199"/>
                </a:cubicBezTo>
                <a:close/>
                <a:moveTo>
                  <a:pt x="6305672" y="939660"/>
                </a:moveTo>
                <a:cubicBezTo>
                  <a:pt x="6338157" y="939660"/>
                  <a:pt x="6364490" y="965993"/>
                  <a:pt x="6364490" y="998482"/>
                </a:cubicBezTo>
                <a:cubicBezTo>
                  <a:pt x="6364490" y="1030967"/>
                  <a:pt x="6338157" y="1057299"/>
                  <a:pt x="6305672" y="1057299"/>
                </a:cubicBezTo>
                <a:cubicBezTo>
                  <a:pt x="6273187" y="1057299"/>
                  <a:pt x="6246850" y="1030967"/>
                  <a:pt x="6246850" y="998482"/>
                </a:cubicBezTo>
                <a:cubicBezTo>
                  <a:pt x="6246850" y="965993"/>
                  <a:pt x="6273187" y="939660"/>
                  <a:pt x="6305672" y="939660"/>
                </a:cubicBezTo>
                <a:close/>
                <a:moveTo>
                  <a:pt x="6459619" y="937118"/>
                </a:moveTo>
                <a:cubicBezTo>
                  <a:pt x="6493747" y="937118"/>
                  <a:pt x="6521342" y="964712"/>
                  <a:pt x="6521342" y="998844"/>
                </a:cubicBezTo>
                <a:cubicBezTo>
                  <a:pt x="6521342" y="1032972"/>
                  <a:pt x="6493747" y="1060566"/>
                  <a:pt x="6459619" y="1060566"/>
                </a:cubicBezTo>
                <a:cubicBezTo>
                  <a:pt x="6425488" y="1060566"/>
                  <a:pt x="6397893" y="1032972"/>
                  <a:pt x="6397893" y="998844"/>
                </a:cubicBezTo>
                <a:cubicBezTo>
                  <a:pt x="6397893" y="964712"/>
                  <a:pt x="6425488" y="937118"/>
                  <a:pt x="6459619" y="937118"/>
                </a:cubicBezTo>
                <a:close/>
                <a:moveTo>
                  <a:pt x="6613200" y="934213"/>
                </a:moveTo>
                <a:cubicBezTo>
                  <a:pt x="6648694" y="934213"/>
                  <a:pt x="6677470" y="962985"/>
                  <a:pt x="6677470" y="998478"/>
                </a:cubicBezTo>
                <a:cubicBezTo>
                  <a:pt x="6677470" y="1033970"/>
                  <a:pt x="6648694" y="1062746"/>
                  <a:pt x="6613200" y="1062746"/>
                </a:cubicBezTo>
                <a:cubicBezTo>
                  <a:pt x="6577708" y="1062746"/>
                  <a:pt x="6548936" y="1033970"/>
                  <a:pt x="6548936" y="998478"/>
                </a:cubicBezTo>
                <a:cubicBezTo>
                  <a:pt x="6548936" y="962985"/>
                  <a:pt x="6577708" y="934213"/>
                  <a:pt x="6613200" y="934213"/>
                </a:cubicBezTo>
                <a:close/>
                <a:moveTo>
                  <a:pt x="1538746" y="844530"/>
                </a:moveTo>
                <a:cubicBezTo>
                  <a:pt x="1539108" y="844530"/>
                  <a:pt x="1539108" y="844530"/>
                  <a:pt x="1539108" y="844893"/>
                </a:cubicBezTo>
                <a:cubicBezTo>
                  <a:pt x="1539108" y="845258"/>
                  <a:pt x="1538746" y="845258"/>
                  <a:pt x="1538746" y="845258"/>
                </a:cubicBezTo>
                <a:cubicBezTo>
                  <a:pt x="1538384" y="845258"/>
                  <a:pt x="1538384" y="845258"/>
                  <a:pt x="1538384" y="844893"/>
                </a:cubicBezTo>
                <a:cubicBezTo>
                  <a:pt x="1538384" y="844530"/>
                  <a:pt x="1538384" y="844530"/>
                  <a:pt x="1538746" y="844530"/>
                </a:cubicBezTo>
                <a:close/>
                <a:moveTo>
                  <a:pt x="1077266" y="844530"/>
                </a:moveTo>
                <a:cubicBezTo>
                  <a:pt x="1077628" y="844530"/>
                  <a:pt x="1077628" y="844530"/>
                  <a:pt x="1077628" y="844893"/>
                </a:cubicBezTo>
                <a:cubicBezTo>
                  <a:pt x="1077628" y="845258"/>
                  <a:pt x="1077266" y="845258"/>
                  <a:pt x="1077266" y="845258"/>
                </a:cubicBezTo>
                <a:cubicBezTo>
                  <a:pt x="1076904" y="845258"/>
                  <a:pt x="1076904" y="845258"/>
                  <a:pt x="1076904" y="844893"/>
                </a:cubicBezTo>
                <a:cubicBezTo>
                  <a:pt x="1076904" y="844530"/>
                  <a:pt x="1076904" y="844530"/>
                  <a:pt x="1077266" y="844530"/>
                </a:cubicBezTo>
                <a:close/>
                <a:moveTo>
                  <a:pt x="923681" y="844530"/>
                </a:moveTo>
                <a:cubicBezTo>
                  <a:pt x="924043" y="844530"/>
                  <a:pt x="924043" y="844530"/>
                  <a:pt x="924043" y="844893"/>
                </a:cubicBezTo>
                <a:cubicBezTo>
                  <a:pt x="924043" y="845258"/>
                  <a:pt x="923681" y="845258"/>
                  <a:pt x="923681" y="845258"/>
                </a:cubicBezTo>
                <a:cubicBezTo>
                  <a:pt x="923319" y="845258"/>
                  <a:pt x="923319" y="845258"/>
                  <a:pt x="923319" y="844893"/>
                </a:cubicBezTo>
                <a:cubicBezTo>
                  <a:pt x="923319" y="844530"/>
                  <a:pt x="923319" y="844530"/>
                  <a:pt x="923681" y="844530"/>
                </a:cubicBezTo>
                <a:close/>
                <a:moveTo>
                  <a:pt x="769737" y="844168"/>
                </a:moveTo>
                <a:cubicBezTo>
                  <a:pt x="770137" y="844168"/>
                  <a:pt x="770461" y="844492"/>
                  <a:pt x="770461" y="844896"/>
                </a:cubicBezTo>
                <a:cubicBezTo>
                  <a:pt x="770461" y="845297"/>
                  <a:pt x="770137" y="845621"/>
                  <a:pt x="769737" y="845621"/>
                </a:cubicBezTo>
                <a:cubicBezTo>
                  <a:pt x="769333" y="845621"/>
                  <a:pt x="769009" y="845297"/>
                  <a:pt x="769009" y="844896"/>
                </a:cubicBezTo>
                <a:cubicBezTo>
                  <a:pt x="769009" y="844492"/>
                  <a:pt x="769333" y="844168"/>
                  <a:pt x="769737" y="844168"/>
                </a:cubicBezTo>
                <a:close/>
                <a:moveTo>
                  <a:pt x="1692331" y="843078"/>
                </a:moveTo>
                <a:cubicBezTo>
                  <a:pt x="1693056" y="843078"/>
                  <a:pt x="1693784" y="843806"/>
                  <a:pt x="1693784" y="844530"/>
                </a:cubicBezTo>
                <a:cubicBezTo>
                  <a:pt x="1693784" y="845258"/>
                  <a:pt x="1692331" y="845983"/>
                  <a:pt x="1692331" y="845983"/>
                </a:cubicBezTo>
                <a:cubicBezTo>
                  <a:pt x="1691603" y="845983"/>
                  <a:pt x="1690879" y="845258"/>
                  <a:pt x="1690879" y="844530"/>
                </a:cubicBezTo>
                <a:cubicBezTo>
                  <a:pt x="1690879" y="843806"/>
                  <a:pt x="1691603" y="843078"/>
                  <a:pt x="1692331" y="843078"/>
                </a:cubicBezTo>
                <a:close/>
                <a:moveTo>
                  <a:pt x="1846279" y="842716"/>
                </a:moveTo>
                <a:cubicBezTo>
                  <a:pt x="1847480" y="842716"/>
                  <a:pt x="1848455" y="843692"/>
                  <a:pt x="1848455" y="844896"/>
                </a:cubicBezTo>
                <a:cubicBezTo>
                  <a:pt x="1848455" y="846097"/>
                  <a:pt x="1847480" y="847073"/>
                  <a:pt x="1846279" y="847073"/>
                </a:cubicBezTo>
                <a:cubicBezTo>
                  <a:pt x="1845074" y="847073"/>
                  <a:pt x="1844098" y="846097"/>
                  <a:pt x="1844098" y="844896"/>
                </a:cubicBezTo>
                <a:cubicBezTo>
                  <a:pt x="1844098" y="843692"/>
                  <a:pt x="1845074" y="842716"/>
                  <a:pt x="1846279" y="842716"/>
                </a:cubicBezTo>
                <a:close/>
                <a:moveTo>
                  <a:pt x="1999860" y="841626"/>
                </a:moveTo>
                <a:cubicBezTo>
                  <a:pt x="2001679" y="841626"/>
                  <a:pt x="2003127" y="843078"/>
                  <a:pt x="2003127" y="844893"/>
                </a:cubicBezTo>
                <a:cubicBezTo>
                  <a:pt x="2003127" y="846707"/>
                  <a:pt x="2001679" y="848163"/>
                  <a:pt x="1999860" y="848163"/>
                </a:cubicBezTo>
                <a:cubicBezTo>
                  <a:pt x="1998046" y="848163"/>
                  <a:pt x="1996593" y="846707"/>
                  <a:pt x="1996593" y="844893"/>
                </a:cubicBezTo>
                <a:cubicBezTo>
                  <a:pt x="1996593" y="843078"/>
                  <a:pt x="1998046" y="841626"/>
                  <a:pt x="1999860" y="841626"/>
                </a:cubicBezTo>
                <a:close/>
                <a:moveTo>
                  <a:pt x="2153808" y="840173"/>
                </a:moveTo>
                <a:cubicBezTo>
                  <a:pt x="2156350" y="840173"/>
                  <a:pt x="2158165" y="841988"/>
                  <a:pt x="2158165" y="844530"/>
                </a:cubicBezTo>
                <a:cubicBezTo>
                  <a:pt x="2158165" y="847073"/>
                  <a:pt x="2155988" y="848887"/>
                  <a:pt x="2153808" y="848887"/>
                </a:cubicBezTo>
                <a:cubicBezTo>
                  <a:pt x="2151265" y="848887"/>
                  <a:pt x="2149451" y="847073"/>
                  <a:pt x="2149451" y="844530"/>
                </a:cubicBezTo>
                <a:cubicBezTo>
                  <a:pt x="2149451" y="841988"/>
                  <a:pt x="2151265" y="840173"/>
                  <a:pt x="2153808" y="840173"/>
                </a:cubicBezTo>
                <a:close/>
                <a:moveTo>
                  <a:pt x="2307393" y="839083"/>
                </a:moveTo>
                <a:cubicBezTo>
                  <a:pt x="2310660" y="839083"/>
                  <a:pt x="2313202" y="841626"/>
                  <a:pt x="2313202" y="844893"/>
                </a:cubicBezTo>
                <a:cubicBezTo>
                  <a:pt x="2313202" y="848159"/>
                  <a:pt x="2310660" y="850702"/>
                  <a:pt x="2307393" y="850702"/>
                </a:cubicBezTo>
                <a:cubicBezTo>
                  <a:pt x="2304126" y="850702"/>
                  <a:pt x="2301583" y="848159"/>
                  <a:pt x="2301583" y="844893"/>
                </a:cubicBezTo>
                <a:cubicBezTo>
                  <a:pt x="2301583" y="841626"/>
                  <a:pt x="2304126" y="839083"/>
                  <a:pt x="2307393" y="839083"/>
                </a:cubicBezTo>
                <a:close/>
                <a:moveTo>
                  <a:pt x="2461340" y="837631"/>
                </a:moveTo>
                <a:cubicBezTo>
                  <a:pt x="2465335" y="837631"/>
                  <a:pt x="2468602" y="840898"/>
                  <a:pt x="2468602" y="844893"/>
                </a:cubicBezTo>
                <a:cubicBezTo>
                  <a:pt x="2468602" y="848887"/>
                  <a:pt x="2465335" y="852154"/>
                  <a:pt x="2461340" y="852154"/>
                </a:cubicBezTo>
                <a:cubicBezTo>
                  <a:pt x="2457345" y="852154"/>
                  <a:pt x="2454079" y="848887"/>
                  <a:pt x="2454079" y="844893"/>
                </a:cubicBezTo>
                <a:cubicBezTo>
                  <a:pt x="2454079" y="840898"/>
                  <a:pt x="2457345" y="837631"/>
                  <a:pt x="2461340" y="837631"/>
                </a:cubicBezTo>
                <a:close/>
                <a:moveTo>
                  <a:pt x="2614925" y="835454"/>
                </a:moveTo>
                <a:cubicBezTo>
                  <a:pt x="2620011" y="835454"/>
                  <a:pt x="2624005" y="839449"/>
                  <a:pt x="2624005" y="844530"/>
                </a:cubicBezTo>
                <a:cubicBezTo>
                  <a:pt x="2624005" y="849615"/>
                  <a:pt x="2620011" y="853610"/>
                  <a:pt x="2614925" y="853610"/>
                </a:cubicBezTo>
                <a:cubicBezTo>
                  <a:pt x="2609844" y="853610"/>
                  <a:pt x="2605849" y="849615"/>
                  <a:pt x="2605849" y="844530"/>
                </a:cubicBezTo>
                <a:cubicBezTo>
                  <a:pt x="2605849" y="839449"/>
                  <a:pt x="2609844" y="835454"/>
                  <a:pt x="2614925" y="835454"/>
                </a:cubicBezTo>
                <a:close/>
                <a:moveTo>
                  <a:pt x="2768873" y="834726"/>
                </a:moveTo>
                <a:cubicBezTo>
                  <a:pt x="2774320" y="834726"/>
                  <a:pt x="2779039" y="839445"/>
                  <a:pt x="2779039" y="844893"/>
                </a:cubicBezTo>
                <a:cubicBezTo>
                  <a:pt x="2779039" y="850340"/>
                  <a:pt x="2774682" y="855059"/>
                  <a:pt x="2768873" y="855059"/>
                </a:cubicBezTo>
                <a:cubicBezTo>
                  <a:pt x="2763426" y="855059"/>
                  <a:pt x="2758707" y="850340"/>
                  <a:pt x="2758707" y="844893"/>
                </a:cubicBezTo>
                <a:cubicBezTo>
                  <a:pt x="2758707" y="839445"/>
                  <a:pt x="2763426" y="834726"/>
                  <a:pt x="2768873" y="834726"/>
                </a:cubicBezTo>
                <a:close/>
                <a:moveTo>
                  <a:pt x="2922458" y="832912"/>
                </a:moveTo>
                <a:cubicBezTo>
                  <a:pt x="2928996" y="832912"/>
                  <a:pt x="2934443" y="838359"/>
                  <a:pt x="2934443" y="844893"/>
                </a:cubicBezTo>
                <a:cubicBezTo>
                  <a:pt x="2934443" y="851430"/>
                  <a:pt x="2928996" y="856873"/>
                  <a:pt x="2922458" y="856873"/>
                </a:cubicBezTo>
                <a:cubicBezTo>
                  <a:pt x="2915924" y="856873"/>
                  <a:pt x="2910477" y="851430"/>
                  <a:pt x="2910477" y="844893"/>
                </a:cubicBezTo>
                <a:cubicBezTo>
                  <a:pt x="2910477" y="838359"/>
                  <a:pt x="2915924" y="832912"/>
                  <a:pt x="2922458" y="832912"/>
                </a:cubicBezTo>
                <a:close/>
                <a:moveTo>
                  <a:pt x="3076402" y="831097"/>
                </a:moveTo>
                <a:cubicBezTo>
                  <a:pt x="3084022" y="831097"/>
                  <a:pt x="3090201" y="837276"/>
                  <a:pt x="3090201" y="844896"/>
                </a:cubicBezTo>
                <a:cubicBezTo>
                  <a:pt x="3090201" y="852513"/>
                  <a:pt x="3084022" y="858692"/>
                  <a:pt x="3076402" y="858692"/>
                </a:cubicBezTo>
                <a:cubicBezTo>
                  <a:pt x="3068782" y="858692"/>
                  <a:pt x="3062606" y="852513"/>
                  <a:pt x="3062606" y="844896"/>
                </a:cubicBezTo>
                <a:cubicBezTo>
                  <a:pt x="3062606" y="837276"/>
                  <a:pt x="3068782" y="831097"/>
                  <a:pt x="3076402" y="831097"/>
                </a:cubicBezTo>
                <a:close/>
                <a:moveTo>
                  <a:pt x="3230349" y="829645"/>
                </a:moveTo>
                <a:cubicBezTo>
                  <a:pt x="3238773" y="829645"/>
                  <a:pt x="3245600" y="836472"/>
                  <a:pt x="3245600" y="844896"/>
                </a:cubicBezTo>
                <a:cubicBezTo>
                  <a:pt x="3245600" y="853317"/>
                  <a:pt x="3238773" y="860144"/>
                  <a:pt x="3230349" y="860144"/>
                </a:cubicBezTo>
                <a:cubicBezTo>
                  <a:pt x="3221928" y="860144"/>
                  <a:pt x="3215102" y="853317"/>
                  <a:pt x="3215102" y="844896"/>
                </a:cubicBezTo>
                <a:cubicBezTo>
                  <a:pt x="3215102" y="836472"/>
                  <a:pt x="3221928" y="829645"/>
                  <a:pt x="3230349" y="829645"/>
                </a:cubicBezTo>
                <a:close/>
                <a:moveTo>
                  <a:pt x="3383938" y="827830"/>
                </a:moveTo>
                <a:cubicBezTo>
                  <a:pt x="3393361" y="827830"/>
                  <a:pt x="3401000" y="835470"/>
                  <a:pt x="3401000" y="844896"/>
                </a:cubicBezTo>
                <a:cubicBezTo>
                  <a:pt x="3401000" y="854319"/>
                  <a:pt x="3393361" y="861958"/>
                  <a:pt x="3383938" y="861958"/>
                </a:cubicBezTo>
                <a:cubicBezTo>
                  <a:pt x="3374511" y="861958"/>
                  <a:pt x="3366872" y="854319"/>
                  <a:pt x="3366872" y="844896"/>
                </a:cubicBezTo>
                <a:cubicBezTo>
                  <a:pt x="3366872" y="835470"/>
                  <a:pt x="3374511" y="827830"/>
                  <a:pt x="3383938" y="827830"/>
                </a:cubicBezTo>
                <a:close/>
                <a:moveTo>
                  <a:pt x="3537882" y="825650"/>
                </a:moveTo>
                <a:cubicBezTo>
                  <a:pt x="3548513" y="825650"/>
                  <a:pt x="3557128" y="834265"/>
                  <a:pt x="3557128" y="844893"/>
                </a:cubicBezTo>
                <a:cubicBezTo>
                  <a:pt x="3557128" y="855520"/>
                  <a:pt x="3548513" y="864139"/>
                  <a:pt x="3537882" y="864139"/>
                </a:cubicBezTo>
                <a:cubicBezTo>
                  <a:pt x="3527254" y="864139"/>
                  <a:pt x="3518639" y="855520"/>
                  <a:pt x="3518639" y="844893"/>
                </a:cubicBezTo>
                <a:cubicBezTo>
                  <a:pt x="3518639" y="834265"/>
                  <a:pt x="3527254" y="825650"/>
                  <a:pt x="3537882" y="825650"/>
                </a:cubicBezTo>
                <a:close/>
                <a:moveTo>
                  <a:pt x="3691471" y="823473"/>
                </a:moveTo>
                <a:cubicBezTo>
                  <a:pt x="3703303" y="823473"/>
                  <a:pt x="3712894" y="833064"/>
                  <a:pt x="3712894" y="844896"/>
                </a:cubicBezTo>
                <a:cubicBezTo>
                  <a:pt x="3712894" y="856725"/>
                  <a:pt x="3703303" y="866319"/>
                  <a:pt x="3691471" y="866319"/>
                </a:cubicBezTo>
                <a:cubicBezTo>
                  <a:pt x="3679638" y="866319"/>
                  <a:pt x="3670048" y="856725"/>
                  <a:pt x="3670048" y="844896"/>
                </a:cubicBezTo>
                <a:cubicBezTo>
                  <a:pt x="3670048" y="833064"/>
                  <a:pt x="3679638" y="823473"/>
                  <a:pt x="3691471" y="823473"/>
                </a:cubicBezTo>
                <a:close/>
                <a:moveTo>
                  <a:pt x="3845418" y="822021"/>
                </a:moveTo>
                <a:cubicBezTo>
                  <a:pt x="3858051" y="822021"/>
                  <a:pt x="3868293" y="832264"/>
                  <a:pt x="3868293" y="844896"/>
                </a:cubicBezTo>
                <a:cubicBezTo>
                  <a:pt x="3868293" y="857529"/>
                  <a:pt x="3858051" y="867768"/>
                  <a:pt x="3845418" y="867768"/>
                </a:cubicBezTo>
                <a:cubicBezTo>
                  <a:pt x="3832786" y="867768"/>
                  <a:pt x="3822543" y="857529"/>
                  <a:pt x="3822543" y="844896"/>
                </a:cubicBezTo>
                <a:cubicBezTo>
                  <a:pt x="3822543" y="832264"/>
                  <a:pt x="3832786" y="822021"/>
                  <a:pt x="3845418" y="822021"/>
                </a:cubicBezTo>
                <a:close/>
                <a:moveTo>
                  <a:pt x="3999000" y="819841"/>
                </a:moveTo>
                <a:cubicBezTo>
                  <a:pt x="4012837" y="819841"/>
                  <a:pt x="4024052" y="831055"/>
                  <a:pt x="4024052" y="844893"/>
                </a:cubicBezTo>
                <a:cubicBezTo>
                  <a:pt x="4024052" y="858730"/>
                  <a:pt x="4012837" y="869948"/>
                  <a:pt x="3999000" y="869948"/>
                </a:cubicBezTo>
                <a:cubicBezTo>
                  <a:pt x="3985162" y="869948"/>
                  <a:pt x="3973948" y="858730"/>
                  <a:pt x="3973948" y="844893"/>
                </a:cubicBezTo>
                <a:cubicBezTo>
                  <a:pt x="3973948" y="831055"/>
                  <a:pt x="3985162" y="819841"/>
                  <a:pt x="3999000" y="819841"/>
                </a:cubicBezTo>
                <a:close/>
                <a:moveTo>
                  <a:pt x="4152947" y="817664"/>
                </a:moveTo>
                <a:cubicBezTo>
                  <a:pt x="4167832" y="817664"/>
                  <a:pt x="4180179" y="830011"/>
                  <a:pt x="4180179" y="844896"/>
                </a:cubicBezTo>
                <a:cubicBezTo>
                  <a:pt x="4180179" y="859782"/>
                  <a:pt x="4168194" y="872129"/>
                  <a:pt x="4152947" y="872129"/>
                </a:cubicBezTo>
                <a:cubicBezTo>
                  <a:pt x="4138058" y="872129"/>
                  <a:pt x="4125715" y="859782"/>
                  <a:pt x="4125715" y="844896"/>
                </a:cubicBezTo>
                <a:cubicBezTo>
                  <a:pt x="4125715" y="830011"/>
                  <a:pt x="4138058" y="817664"/>
                  <a:pt x="4152947" y="817664"/>
                </a:cubicBezTo>
                <a:close/>
                <a:moveTo>
                  <a:pt x="4306528" y="815122"/>
                </a:moveTo>
                <a:cubicBezTo>
                  <a:pt x="4322973" y="815122"/>
                  <a:pt x="4336303" y="828452"/>
                  <a:pt x="4336303" y="844896"/>
                </a:cubicBezTo>
                <a:cubicBezTo>
                  <a:pt x="4336303" y="861337"/>
                  <a:pt x="4322973" y="874667"/>
                  <a:pt x="4306528" y="874667"/>
                </a:cubicBezTo>
                <a:cubicBezTo>
                  <a:pt x="4290088" y="874667"/>
                  <a:pt x="4276758" y="861337"/>
                  <a:pt x="4276758" y="844896"/>
                </a:cubicBezTo>
                <a:cubicBezTo>
                  <a:pt x="4276758" y="828452"/>
                  <a:pt x="4290088" y="815122"/>
                  <a:pt x="4306528" y="815122"/>
                </a:cubicBezTo>
                <a:close/>
                <a:moveTo>
                  <a:pt x="4460480" y="812941"/>
                </a:moveTo>
                <a:cubicBezTo>
                  <a:pt x="4478270" y="812941"/>
                  <a:pt x="4492431" y="827102"/>
                  <a:pt x="4492431" y="844893"/>
                </a:cubicBezTo>
                <a:cubicBezTo>
                  <a:pt x="4492431" y="862683"/>
                  <a:pt x="4478270" y="876844"/>
                  <a:pt x="4460480" y="876844"/>
                </a:cubicBezTo>
                <a:cubicBezTo>
                  <a:pt x="4442690" y="876844"/>
                  <a:pt x="4428528" y="862683"/>
                  <a:pt x="4428528" y="844893"/>
                </a:cubicBezTo>
                <a:cubicBezTo>
                  <a:pt x="4428528" y="827102"/>
                  <a:pt x="4442690" y="812941"/>
                  <a:pt x="4460480" y="812941"/>
                </a:cubicBezTo>
                <a:close/>
                <a:moveTo>
                  <a:pt x="4614061" y="811127"/>
                </a:moveTo>
                <a:cubicBezTo>
                  <a:pt x="4632713" y="811127"/>
                  <a:pt x="4647831" y="826245"/>
                  <a:pt x="4647831" y="844893"/>
                </a:cubicBezTo>
                <a:cubicBezTo>
                  <a:pt x="4647831" y="863544"/>
                  <a:pt x="4632713" y="878662"/>
                  <a:pt x="4614061" y="878662"/>
                </a:cubicBezTo>
                <a:cubicBezTo>
                  <a:pt x="4595414" y="878662"/>
                  <a:pt x="4580296" y="863544"/>
                  <a:pt x="4580296" y="844893"/>
                </a:cubicBezTo>
                <a:cubicBezTo>
                  <a:pt x="4580296" y="826245"/>
                  <a:pt x="4595414" y="811127"/>
                  <a:pt x="4614061" y="811127"/>
                </a:cubicBezTo>
                <a:close/>
                <a:moveTo>
                  <a:pt x="4768012" y="808584"/>
                </a:moveTo>
                <a:cubicBezTo>
                  <a:pt x="4787983" y="808584"/>
                  <a:pt x="4804320" y="824922"/>
                  <a:pt x="4804320" y="844893"/>
                </a:cubicBezTo>
                <a:cubicBezTo>
                  <a:pt x="4804320" y="864863"/>
                  <a:pt x="4787983" y="881201"/>
                  <a:pt x="4768012" y="881201"/>
                </a:cubicBezTo>
                <a:cubicBezTo>
                  <a:pt x="4748042" y="881201"/>
                  <a:pt x="4731704" y="864863"/>
                  <a:pt x="4731704" y="844893"/>
                </a:cubicBezTo>
                <a:cubicBezTo>
                  <a:pt x="4731704" y="824922"/>
                  <a:pt x="4748042" y="808584"/>
                  <a:pt x="4768012" y="808584"/>
                </a:cubicBezTo>
                <a:close/>
                <a:moveTo>
                  <a:pt x="4921598" y="806045"/>
                </a:moveTo>
                <a:cubicBezTo>
                  <a:pt x="4943016" y="806045"/>
                  <a:pt x="4960444" y="823473"/>
                  <a:pt x="4960444" y="844896"/>
                </a:cubicBezTo>
                <a:cubicBezTo>
                  <a:pt x="4960444" y="866315"/>
                  <a:pt x="4943016" y="883743"/>
                  <a:pt x="4921598" y="883743"/>
                </a:cubicBezTo>
                <a:cubicBezTo>
                  <a:pt x="4900174" y="883743"/>
                  <a:pt x="4882746" y="866315"/>
                  <a:pt x="4882746" y="844896"/>
                </a:cubicBezTo>
                <a:cubicBezTo>
                  <a:pt x="4882746" y="823473"/>
                  <a:pt x="4900174" y="806045"/>
                  <a:pt x="4921598" y="806045"/>
                </a:cubicBezTo>
                <a:close/>
                <a:moveTo>
                  <a:pt x="5075541" y="803503"/>
                </a:moveTo>
                <a:cubicBezTo>
                  <a:pt x="5098416" y="803503"/>
                  <a:pt x="5116568" y="821659"/>
                  <a:pt x="5116568" y="844530"/>
                </a:cubicBezTo>
                <a:cubicBezTo>
                  <a:pt x="5116568" y="867406"/>
                  <a:pt x="5098054" y="885562"/>
                  <a:pt x="5075541" y="885562"/>
                </a:cubicBezTo>
                <a:cubicBezTo>
                  <a:pt x="5052670" y="885562"/>
                  <a:pt x="5034514" y="867406"/>
                  <a:pt x="5034514" y="844530"/>
                </a:cubicBezTo>
                <a:cubicBezTo>
                  <a:pt x="5034514" y="821659"/>
                  <a:pt x="5052670" y="803503"/>
                  <a:pt x="5075541" y="803503"/>
                </a:cubicBezTo>
                <a:close/>
                <a:moveTo>
                  <a:pt x="5229126" y="800960"/>
                </a:moveTo>
                <a:cubicBezTo>
                  <a:pt x="5253088" y="800960"/>
                  <a:pt x="5272696" y="820569"/>
                  <a:pt x="5272696" y="844530"/>
                </a:cubicBezTo>
                <a:cubicBezTo>
                  <a:pt x="5272696" y="868496"/>
                  <a:pt x="5253088" y="888100"/>
                  <a:pt x="5229126" y="888100"/>
                </a:cubicBezTo>
                <a:cubicBezTo>
                  <a:pt x="5205161" y="888100"/>
                  <a:pt x="5185556" y="868496"/>
                  <a:pt x="5185556" y="844530"/>
                </a:cubicBezTo>
                <a:cubicBezTo>
                  <a:pt x="5185556" y="820569"/>
                  <a:pt x="5205161" y="800960"/>
                  <a:pt x="5229126" y="800960"/>
                </a:cubicBezTo>
                <a:close/>
                <a:moveTo>
                  <a:pt x="5383074" y="798784"/>
                </a:moveTo>
                <a:cubicBezTo>
                  <a:pt x="5408541" y="798784"/>
                  <a:pt x="5429186" y="819429"/>
                  <a:pt x="5429186" y="844896"/>
                </a:cubicBezTo>
                <a:cubicBezTo>
                  <a:pt x="5429186" y="870364"/>
                  <a:pt x="5408541" y="891009"/>
                  <a:pt x="5383074" y="891009"/>
                </a:cubicBezTo>
                <a:cubicBezTo>
                  <a:pt x="5357606" y="891009"/>
                  <a:pt x="5336962" y="870364"/>
                  <a:pt x="5336962" y="844896"/>
                </a:cubicBezTo>
                <a:cubicBezTo>
                  <a:pt x="5336962" y="819429"/>
                  <a:pt x="5357606" y="798784"/>
                  <a:pt x="5383074" y="798784"/>
                </a:cubicBezTo>
                <a:close/>
                <a:moveTo>
                  <a:pt x="5536659" y="796241"/>
                </a:moveTo>
                <a:cubicBezTo>
                  <a:pt x="5563526" y="796241"/>
                  <a:pt x="5585310" y="818026"/>
                  <a:pt x="5585310" y="844896"/>
                </a:cubicBezTo>
                <a:cubicBezTo>
                  <a:pt x="5585310" y="871763"/>
                  <a:pt x="5563526" y="893548"/>
                  <a:pt x="5536659" y="893548"/>
                </a:cubicBezTo>
                <a:cubicBezTo>
                  <a:pt x="5509789" y="893548"/>
                  <a:pt x="5488004" y="871763"/>
                  <a:pt x="5488004" y="844896"/>
                </a:cubicBezTo>
                <a:cubicBezTo>
                  <a:pt x="5488004" y="818026"/>
                  <a:pt x="5509789" y="796241"/>
                  <a:pt x="5536659" y="796241"/>
                </a:cubicBezTo>
                <a:close/>
                <a:moveTo>
                  <a:pt x="5690606" y="793699"/>
                </a:moveTo>
                <a:cubicBezTo>
                  <a:pt x="5718883" y="793699"/>
                  <a:pt x="5741800" y="816620"/>
                  <a:pt x="5741800" y="844893"/>
                </a:cubicBezTo>
                <a:cubicBezTo>
                  <a:pt x="5741800" y="873169"/>
                  <a:pt x="5718880" y="896090"/>
                  <a:pt x="5690606" y="896090"/>
                </a:cubicBezTo>
                <a:cubicBezTo>
                  <a:pt x="5662334" y="896090"/>
                  <a:pt x="5639412" y="873169"/>
                  <a:pt x="5639412" y="844893"/>
                </a:cubicBezTo>
                <a:cubicBezTo>
                  <a:pt x="5639412" y="816620"/>
                  <a:pt x="5662334" y="793699"/>
                  <a:pt x="5690606" y="793699"/>
                </a:cubicBezTo>
                <a:close/>
                <a:moveTo>
                  <a:pt x="5844554" y="791156"/>
                </a:moveTo>
                <a:cubicBezTo>
                  <a:pt x="5873962" y="791156"/>
                  <a:pt x="5897928" y="815118"/>
                  <a:pt x="5897928" y="844530"/>
                </a:cubicBezTo>
                <a:cubicBezTo>
                  <a:pt x="5897928" y="873939"/>
                  <a:pt x="5873962" y="897901"/>
                  <a:pt x="5844554" y="897901"/>
                </a:cubicBezTo>
                <a:cubicBezTo>
                  <a:pt x="5815145" y="897901"/>
                  <a:pt x="5791180" y="873939"/>
                  <a:pt x="5791180" y="844530"/>
                </a:cubicBezTo>
                <a:cubicBezTo>
                  <a:pt x="5791180" y="815118"/>
                  <a:pt x="5815145" y="791156"/>
                  <a:pt x="5844554" y="791156"/>
                </a:cubicBezTo>
                <a:close/>
                <a:moveTo>
                  <a:pt x="5998139" y="788614"/>
                </a:moveTo>
                <a:cubicBezTo>
                  <a:pt x="6029362" y="788614"/>
                  <a:pt x="6054414" y="813665"/>
                  <a:pt x="6054414" y="844893"/>
                </a:cubicBezTo>
                <a:cubicBezTo>
                  <a:pt x="6054414" y="876116"/>
                  <a:pt x="6029362" y="901171"/>
                  <a:pt x="5998139" y="901171"/>
                </a:cubicBezTo>
                <a:cubicBezTo>
                  <a:pt x="5966912" y="901171"/>
                  <a:pt x="5941860" y="876116"/>
                  <a:pt x="5941860" y="844893"/>
                </a:cubicBezTo>
                <a:cubicBezTo>
                  <a:pt x="5941860" y="813665"/>
                  <a:pt x="5966912" y="788614"/>
                  <a:pt x="5998139" y="788614"/>
                </a:cubicBezTo>
                <a:close/>
                <a:moveTo>
                  <a:pt x="6152083" y="786075"/>
                </a:moveTo>
                <a:cubicBezTo>
                  <a:pt x="6184568" y="786075"/>
                  <a:pt x="6210904" y="812407"/>
                  <a:pt x="6210904" y="844896"/>
                </a:cubicBezTo>
                <a:cubicBezTo>
                  <a:pt x="6210904" y="877381"/>
                  <a:pt x="6184568" y="903714"/>
                  <a:pt x="6152083" y="903714"/>
                </a:cubicBezTo>
                <a:cubicBezTo>
                  <a:pt x="6119598" y="903714"/>
                  <a:pt x="6093265" y="877381"/>
                  <a:pt x="6093265" y="844896"/>
                </a:cubicBezTo>
                <a:cubicBezTo>
                  <a:pt x="6093265" y="812407"/>
                  <a:pt x="6119598" y="786075"/>
                  <a:pt x="6152083" y="786075"/>
                </a:cubicBezTo>
                <a:close/>
                <a:moveTo>
                  <a:pt x="6305672" y="783170"/>
                </a:moveTo>
                <a:cubicBezTo>
                  <a:pt x="6339762" y="783170"/>
                  <a:pt x="6367394" y="810807"/>
                  <a:pt x="6367394" y="844896"/>
                </a:cubicBezTo>
                <a:cubicBezTo>
                  <a:pt x="6367394" y="878982"/>
                  <a:pt x="6339762" y="906619"/>
                  <a:pt x="6305672" y="906619"/>
                </a:cubicBezTo>
                <a:cubicBezTo>
                  <a:pt x="6271582" y="906619"/>
                  <a:pt x="6243946" y="878982"/>
                  <a:pt x="6243946" y="844896"/>
                </a:cubicBezTo>
                <a:cubicBezTo>
                  <a:pt x="6243946" y="810807"/>
                  <a:pt x="6271582" y="783170"/>
                  <a:pt x="6305672" y="783170"/>
                </a:cubicBezTo>
                <a:close/>
                <a:moveTo>
                  <a:pt x="6459616" y="780628"/>
                </a:moveTo>
                <a:cubicBezTo>
                  <a:pt x="6495108" y="780628"/>
                  <a:pt x="6523884" y="809400"/>
                  <a:pt x="6523884" y="844893"/>
                </a:cubicBezTo>
                <a:cubicBezTo>
                  <a:pt x="6523884" y="880385"/>
                  <a:pt x="6495108" y="909161"/>
                  <a:pt x="6459616" y="909161"/>
                </a:cubicBezTo>
                <a:cubicBezTo>
                  <a:pt x="6424123" y="909161"/>
                  <a:pt x="6395350" y="880385"/>
                  <a:pt x="6395350" y="844893"/>
                </a:cubicBezTo>
                <a:cubicBezTo>
                  <a:pt x="6395350" y="809400"/>
                  <a:pt x="6424123" y="780628"/>
                  <a:pt x="6459616" y="780628"/>
                </a:cubicBezTo>
                <a:close/>
                <a:moveTo>
                  <a:pt x="6613197" y="777361"/>
                </a:moveTo>
                <a:cubicBezTo>
                  <a:pt x="6650496" y="777361"/>
                  <a:pt x="6680732" y="807597"/>
                  <a:pt x="6680732" y="844896"/>
                </a:cubicBezTo>
                <a:cubicBezTo>
                  <a:pt x="6680732" y="882192"/>
                  <a:pt x="6650496" y="912428"/>
                  <a:pt x="6613197" y="912428"/>
                </a:cubicBezTo>
                <a:cubicBezTo>
                  <a:pt x="6575902" y="912428"/>
                  <a:pt x="6545666" y="882192"/>
                  <a:pt x="6545666" y="844896"/>
                </a:cubicBezTo>
                <a:cubicBezTo>
                  <a:pt x="6545666" y="807597"/>
                  <a:pt x="6575902" y="777361"/>
                  <a:pt x="6613197" y="777361"/>
                </a:cubicBezTo>
                <a:close/>
                <a:moveTo>
                  <a:pt x="1384799" y="690583"/>
                </a:moveTo>
                <a:cubicBezTo>
                  <a:pt x="1385161" y="690583"/>
                  <a:pt x="1385161" y="690583"/>
                  <a:pt x="1385161" y="690945"/>
                </a:cubicBezTo>
                <a:cubicBezTo>
                  <a:pt x="1385161" y="691311"/>
                  <a:pt x="1384799" y="691311"/>
                  <a:pt x="1384799" y="691311"/>
                </a:cubicBezTo>
                <a:cubicBezTo>
                  <a:pt x="1384437" y="691311"/>
                  <a:pt x="1384437" y="691311"/>
                  <a:pt x="1384437" y="690945"/>
                </a:cubicBezTo>
                <a:cubicBezTo>
                  <a:pt x="1384437" y="690583"/>
                  <a:pt x="1384437" y="690583"/>
                  <a:pt x="1384799" y="690583"/>
                </a:cubicBezTo>
                <a:close/>
                <a:moveTo>
                  <a:pt x="923681" y="690583"/>
                </a:moveTo>
                <a:cubicBezTo>
                  <a:pt x="924043" y="690583"/>
                  <a:pt x="924043" y="690583"/>
                  <a:pt x="924043" y="690945"/>
                </a:cubicBezTo>
                <a:cubicBezTo>
                  <a:pt x="924043" y="691311"/>
                  <a:pt x="923681" y="691311"/>
                  <a:pt x="923681" y="691311"/>
                </a:cubicBezTo>
                <a:cubicBezTo>
                  <a:pt x="923319" y="691311"/>
                  <a:pt x="923319" y="691311"/>
                  <a:pt x="923319" y="690945"/>
                </a:cubicBezTo>
                <a:cubicBezTo>
                  <a:pt x="923319" y="690583"/>
                  <a:pt x="923319" y="690583"/>
                  <a:pt x="923681" y="690583"/>
                </a:cubicBezTo>
                <a:close/>
                <a:moveTo>
                  <a:pt x="769733" y="690583"/>
                </a:moveTo>
                <a:cubicBezTo>
                  <a:pt x="770096" y="690583"/>
                  <a:pt x="770096" y="690583"/>
                  <a:pt x="770096" y="690945"/>
                </a:cubicBezTo>
                <a:cubicBezTo>
                  <a:pt x="770096" y="691311"/>
                  <a:pt x="769733" y="691311"/>
                  <a:pt x="769733" y="691311"/>
                </a:cubicBezTo>
                <a:cubicBezTo>
                  <a:pt x="769371" y="691311"/>
                  <a:pt x="769371" y="691311"/>
                  <a:pt x="769371" y="690945"/>
                </a:cubicBezTo>
                <a:cubicBezTo>
                  <a:pt x="769371" y="690583"/>
                  <a:pt x="769371" y="690583"/>
                  <a:pt x="769733" y="690583"/>
                </a:cubicBezTo>
                <a:close/>
                <a:moveTo>
                  <a:pt x="616152" y="690221"/>
                </a:moveTo>
                <a:cubicBezTo>
                  <a:pt x="616552" y="690221"/>
                  <a:pt x="616876" y="690545"/>
                  <a:pt x="616876" y="690949"/>
                </a:cubicBezTo>
                <a:cubicBezTo>
                  <a:pt x="616876" y="691349"/>
                  <a:pt x="616552" y="691673"/>
                  <a:pt x="616152" y="691673"/>
                </a:cubicBezTo>
                <a:cubicBezTo>
                  <a:pt x="615748" y="691673"/>
                  <a:pt x="615424" y="691349"/>
                  <a:pt x="615424" y="690949"/>
                </a:cubicBezTo>
                <a:cubicBezTo>
                  <a:pt x="615424" y="690545"/>
                  <a:pt x="615748" y="690221"/>
                  <a:pt x="616152" y="690221"/>
                </a:cubicBezTo>
                <a:close/>
                <a:moveTo>
                  <a:pt x="1538746" y="689493"/>
                </a:moveTo>
                <a:cubicBezTo>
                  <a:pt x="1539547" y="689493"/>
                  <a:pt x="1540198" y="690145"/>
                  <a:pt x="1540198" y="690945"/>
                </a:cubicBezTo>
                <a:cubicBezTo>
                  <a:pt x="1540198" y="691746"/>
                  <a:pt x="1539547" y="692397"/>
                  <a:pt x="1538746" y="692397"/>
                </a:cubicBezTo>
                <a:cubicBezTo>
                  <a:pt x="1537942" y="692397"/>
                  <a:pt x="1537294" y="691746"/>
                  <a:pt x="1537294" y="690945"/>
                </a:cubicBezTo>
                <a:cubicBezTo>
                  <a:pt x="1537294" y="690145"/>
                  <a:pt x="1537942" y="689493"/>
                  <a:pt x="1538746" y="689493"/>
                </a:cubicBezTo>
                <a:close/>
                <a:moveTo>
                  <a:pt x="1692328" y="688768"/>
                </a:moveTo>
                <a:cubicBezTo>
                  <a:pt x="1693532" y="688768"/>
                  <a:pt x="1694508" y="689744"/>
                  <a:pt x="1694508" y="690949"/>
                </a:cubicBezTo>
                <a:cubicBezTo>
                  <a:pt x="1694508" y="692150"/>
                  <a:pt x="1693532" y="693126"/>
                  <a:pt x="1692328" y="693126"/>
                </a:cubicBezTo>
                <a:cubicBezTo>
                  <a:pt x="1691127" y="693126"/>
                  <a:pt x="1690151" y="692150"/>
                  <a:pt x="1690151" y="690949"/>
                </a:cubicBezTo>
                <a:cubicBezTo>
                  <a:pt x="1690151" y="689744"/>
                  <a:pt x="1691127" y="688768"/>
                  <a:pt x="1692328" y="688768"/>
                </a:cubicBezTo>
                <a:close/>
                <a:moveTo>
                  <a:pt x="1846279" y="688040"/>
                </a:moveTo>
                <a:cubicBezTo>
                  <a:pt x="1848093" y="688040"/>
                  <a:pt x="1849546" y="689493"/>
                  <a:pt x="1849546" y="691307"/>
                </a:cubicBezTo>
                <a:cubicBezTo>
                  <a:pt x="1849546" y="693122"/>
                  <a:pt x="1848093" y="694574"/>
                  <a:pt x="1846279" y="694574"/>
                </a:cubicBezTo>
                <a:cubicBezTo>
                  <a:pt x="1844464" y="694574"/>
                  <a:pt x="1843012" y="693122"/>
                  <a:pt x="1843012" y="691307"/>
                </a:cubicBezTo>
                <a:cubicBezTo>
                  <a:pt x="1843012" y="689493"/>
                  <a:pt x="1844464" y="688040"/>
                  <a:pt x="1846279" y="688040"/>
                </a:cubicBezTo>
                <a:close/>
                <a:moveTo>
                  <a:pt x="1999860" y="686588"/>
                </a:moveTo>
                <a:cubicBezTo>
                  <a:pt x="2002403" y="686588"/>
                  <a:pt x="2004217" y="688403"/>
                  <a:pt x="2004217" y="690945"/>
                </a:cubicBezTo>
                <a:cubicBezTo>
                  <a:pt x="2004217" y="693488"/>
                  <a:pt x="2002037" y="695302"/>
                  <a:pt x="1999860" y="695302"/>
                </a:cubicBezTo>
                <a:cubicBezTo>
                  <a:pt x="1997318" y="695302"/>
                  <a:pt x="1995503" y="693488"/>
                  <a:pt x="1995503" y="690945"/>
                </a:cubicBezTo>
                <a:cubicBezTo>
                  <a:pt x="1995503" y="688403"/>
                  <a:pt x="1997318" y="686588"/>
                  <a:pt x="1999860" y="686588"/>
                </a:cubicBezTo>
                <a:close/>
                <a:moveTo>
                  <a:pt x="2153811" y="685498"/>
                </a:moveTo>
                <a:cubicBezTo>
                  <a:pt x="2157078" y="685498"/>
                  <a:pt x="2159621" y="688040"/>
                  <a:pt x="2159621" y="691307"/>
                </a:cubicBezTo>
                <a:cubicBezTo>
                  <a:pt x="2159621" y="694574"/>
                  <a:pt x="2157078" y="697117"/>
                  <a:pt x="2153811" y="697117"/>
                </a:cubicBezTo>
                <a:cubicBezTo>
                  <a:pt x="2150545" y="697117"/>
                  <a:pt x="2148002" y="694574"/>
                  <a:pt x="2148002" y="691307"/>
                </a:cubicBezTo>
                <a:cubicBezTo>
                  <a:pt x="2148002" y="688040"/>
                  <a:pt x="2150545" y="685498"/>
                  <a:pt x="2153811" y="685498"/>
                </a:cubicBezTo>
                <a:close/>
                <a:moveTo>
                  <a:pt x="2307393" y="683683"/>
                </a:moveTo>
                <a:cubicBezTo>
                  <a:pt x="2311388" y="683683"/>
                  <a:pt x="2314655" y="686950"/>
                  <a:pt x="2314655" y="690945"/>
                </a:cubicBezTo>
                <a:cubicBezTo>
                  <a:pt x="2314655" y="694940"/>
                  <a:pt x="2311388" y="698207"/>
                  <a:pt x="2307393" y="698207"/>
                </a:cubicBezTo>
                <a:cubicBezTo>
                  <a:pt x="2303398" y="698207"/>
                  <a:pt x="2300131" y="694940"/>
                  <a:pt x="2300131" y="690945"/>
                </a:cubicBezTo>
                <a:cubicBezTo>
                  <a:pt x="2300131" y="686950"/>
                  <a:pt x="2303398" y="683683"/>
                  <a:pt x="2307393" y="683683"/>
                </a:cubicBezTo>
                <a:close/>
                <a:moveTo>
                  <a:pt x="2461340" y="681869"/>
                </a:moveTo>
                <a:cubicBezTo>
                  <a:pt x="2466425" y="681869"/>
                  <a:pt x="2470420" y="685864"/>
                  <a:pt x="2470420" y="690945"/>
                </a:cubicBezTo>
                <a:cubicBezTo>
                  <a:pt x="2470420" y="696030"/>
                  <a:pt x="2466425" y="700025"/>
                  <a:pt x="2461340" y="700025"/>
                </a:cubicBezTo>
                <a:cubicBezTo>
                  <a:pt x="2456259" y="700025"/>
                  <a:pt x="2452264" y="696030"/>
                  <a:pt x="2452264" y="690945"/>
                </a:cubicBezTo>
                <a:cubicBezTo>
                  <a:pt x="2452264" y="685864"/>
                  <a:pt x="2456259" y="681869"/>
                  <a:pt x="2461340" y="681869"/>
                </a:cubicBezTo>
                <a:close/>
                <a:moveTo>
                  <a:pt x="2614925" y="680779"/>
                </a:moveTo>
                <a:cubicBezTo>
                  <a:pt x="2620373" y="680779"/>
                  <a:pt x="2625092" y="685498"/>
                  <a:pt x="2625092" y="690945"/>
                </a:cubicBezTo>
                <a:cubicBezTo>
                  <a:pt x="2625092" y="696392"/>
                  <a:pt x="2620735" y="701111"/>
                  <a:pt x="2614925" y="701111"/>
                </a:cubicBezTo>
                <a:cubicBezTo>
                  <a:pt x="2609478" y="701111"/>
                  <a:pt x="2604759" y="696392"/>
                  <a:pt x="2604759" y="690945"/>
                </a:cubicBezTo>
                <a:cubicBezTo>
                  <a:pt x="2604759" y="685498"/>
                  <a:pt x="2609478" y="680779"/>
                  <a:pt x="2614925" y="680779"/>
                </a:cubicBezTo>
                <a:close/>
                <a:moveTo>
                  <a:pt x="2768873" y="678964"/>
                </a:moveTo>
                <a:cubicBezTo>
                  <a:pt x="2775410" y="678964"/>
                  <a:pt x="2780858" y="684412"/>
                  <a:pt x="2780858" y="690945"/>
                </a:cubicBezTo>
                <a:cubicBezTo>
                  <a:pt x="2780858" y="697482"/>
                  <a:pt x="2775410" y="702926"/>
                  <a:pt x="2768873" y="702926"/>
                </a:cubicBezTo>
                <a:cubicBezTo>
                  <a:pt x="2762339" y="702926"/>
                  <a:pt x="2756892" y="697482"/>
                  <a:pt x="2756892" y="690945"/>
                </a:cubicBezTo>
                <a:cubicBezTo>
                  <a:pt x="2756892" y="684412"/>
                  <a:pt x="2762339" y="678964"/>
                  <a:pt x="2768873" y="678964"/>
                </a:cubicBezTo>
                <a:close/>
                <a:moveTo>
                  <a:pt x="2922824" y="677150"/>
                </a:moveTo>
                <a:cubicBezTo>
                  <a:pt x="2930444" y="677150"/>
                  <a:pt x="2936619" y="683329"/>
                  <a:pt x="2936619" y="690949"/>
                </a:cubicBezTo>
                <a:cubicBezTo>
                  <a:pt x="2936619" y="698565"/>
                  <a:pt x="2930444" y="704744"/>
                  <a:pt x="2922824" y="704744"/>
                </a:cubicBezTo>
                <a:cubicBezTo>
                  <a:pt x="2915204" y="704744"/>
                  <a:pt x="2909025" y="698565"/>
                  <a:pt x="2909025" y="690949"/>
                </a:cubicBezTo>
                <a:cubicBezTo>
                  <a:pt x="2909025" y="683329"/>
                  <a:pt x="2915204" y="677150"/>
                  <a:pt x="2922824" y="677150"/>
                </a:cubicBezTo>
                <a:close/>
                <a:moveTo>
                  <a:pt x="3076402" y="675697"/>
                </a:moveTo>
                <a:cubicBezTo>
                  <a:pt x="3084826" y="675697"/>
                  <a:pt x="3091653" y="682525"/>
                  <a:pt x="3091653" y="690949"/>
                </a:cubicBezTo>
                <a:cubicBezTo>
                  <a:pt x="3091653" y="699369"/>
                  <a:pt x="3084826" y="706197"/>
                  <a:pt x="3076402" y="706197"/>
                </a:cubicBezTo>
                <a:cubicBezTo>
                  <a:pt x="3067981" y="706197"/>
                  <a:pt x="3061154" y="699369"/>
                  <a:pt x="3061154" y="690949"/>
                </a:cubicBezTo>
                <a:cubicBezTo>
                  <a:pt x="3061154" y="682525"/>
                  <a:pt x="3067981" y="675697"/>
                  <a:pt x="3076402" y="675697"/>
                </a:cubicBezTo>
                <a:close/>
                <a:moveTo>
                  <a:pt x="3230353" y="673883"/>
                </a:moveTo>
                <a:cubicBezTo>
                  <a:pt x="3239776" y="673883"/>
                  <a:pt x="3247419" y="681522"/>
                  <a:pt x="3247419" y="690949"/>
                </a:cubicBezTo>
                <a:cubicBezTo>
                  <a:pt x="3247419" y="700372"/>
                  <a:pt x="3239776" y="708015"/>
                  <a:pt x="3230353" y="708015"/>
                </a:cubicBezTo>
                <a:cubicBezTo>
                  <a:pt x="3220926" y="708015"/>
                  <a:pt x="3213287" y="700372"/>
                  <a:pt x="3213287" y="690949"/>
                </a:cubicBezTo>
                <a:cubicBezTo>
                  <a:pt x="3213287" y="681522"/>
                  <a:pt x="3220926" y="673883"/>
                  <a:pt x="3230353" y="673883"/>
                </a:cubicBezTo>
                <a:close/>
                <a:moveTo>
                  <a:pt x="3383934" y="671703"/>
                </a:moveTo>
                <a:cubicBezTo>
                  <a:pt x="3394566" y="671703"/>
                  <a:pt x="3403180" y="680318"/>
                  <a:pt x="3403180" y="690945"/>
                </a:cubicBezTo>
                <a:cubicBezTo>
                  <a:pt x="3403180" y="701573"/>
                  <a:pt x="3394566" y="710191"/>
                  <a:pt x="3383934" y="710191"/>
                </a:cubicBezTo>
                <a:cubicBezTo>
                  <a:pt x="3373307" y="710191"/>
                  <a:pt x="3364692" y="701573"/>
                  <a:pt x="3364692" y="690945"/>
                </a:cubicBezTo>
                <a:cubicBezTo>
                  <a:pt x="3364692" y="680318"/>
                  <a:pt x="3373307" y="671703"/>
                  <a:pt x="3383934" y="671703"/>
                </a:cubicBezTo>
                <a:close/>
                <a:moveTo>
                  <a:pt x="3537886" y="669526"/>
                </a:moveTo>
                <a:cubicBezTo>
                  <a:pt x="3549714" y="669526"/>
                  <a:pt x="3559308" y="679117"/>
                  <a:pt x="3559308" y="690949"/>
                </a:cubicBezTo>
                <a:cubicBezTo>
                  <a:pt x="3559308" y="702777"/>
                  <a:pt x="3549714" y="712372"/>
                  <a:pt x="3537886" y="712372"/>
                </a:cubicBezTo>
                <a:cubicBezTo>
                  <a:pt x="3526053" y="712372"/>
                  <a:pt x="3516462" y="702777"/>
                  <a:pt x="3516462" y="690949"/>
                </a:cubicBezTo>
                <a:cubicBezTo>
                  <a:pt x="3516462" y="679117"/>
                  <a:pt x="3526053" y="669526"/>
                  <a:pt x="3537886" y="669526"/>
                </a:cubicBezTo>
                <a:close/>
                <a:moveTo>
                  <a:pt x="3691471" y="668074"/>
                </a:moveTo>
                <a:cubicBezTo>
                  <a:pt x="3704104" y="668074"/>
                  <a:pt x="3714342" y="678316"/>
                  <a:pt x="3714342" y="690949"/>
                </a:cubicBezTo>
                <a:cubicBezTo>
                  <a:pt x="3714342" y="703582"/>
                  <a:pt x="3704104" y="713820"/>
                  <a:pt x="3691471" y="713820"/>
                </a:cubicBezTo>
                <a:cubicBezTo>
                  <a:pt x="3678838" y="713820"/>
                  <a:pt x="3668596" y="703582"/>
                  <a:pt x="3668596" y="690949"/>
                </a:cubicBezTo>
                <a:cubicBezTo>
                  <a:pt x="3668596" y="678316"/>
                  <a:pt x="3678838" y="668074"/>
                  <a:pt x="3691471" y="668074"/>
                </a:cubicBezTo>
                <a:close/>
                <a:moveTo>
                  <a:pt x="3845414" y="665893"/>
                </a:moveTo>
                <a:cubicBezTo>
                  <a:pt x="3859252" y="665893"/>
                  <a:pt x="3870470" y="677112"/>
                  <a:pt x="3870470" y="690945"/>
                </a:cubicBezTo>
                <a:cubicBezTo>
                  <a:pt x="3870470" y="704782"/>
                  <a:pt x="3859252" y="716001"/>
                  <a:pt x="3845414" y="716001"/>
                </a:cubicBezTo>
                <a:cubicBezTo>
                  <a:pt x="3831581" y="716001"/>
                  <a:pt x="3820362" y="704782"/>
                  <a:pt x="3820362" y="690945"/>
                </a:cubicBezTo>
                <a:cubicBezTo>
                  <a:pt x="3820362" y="677112"/>
                  <a:pt x="3831581" y="665893"/>
                  <a:pt x="3845414" y="665893"/>
                </a:cubicBezTo>
                <a:close/>
                <a:moveTo>
                  <a:pt x="3999000" y="663717"/>
                </a:moveTo>
                <a:cubicBezTo>
                  <a:pt x="4013885" y="663717"/>
                  <a:pt x="4026232" y="676063"/>
                  <a:pt x="4026232" y="690949"/>
                </a:cubicBezTo>
                <a:cubicBezTo>
                  <a:pt x="4026232" y="705834"/>
                  <a:pt x="4014247" y="718181"/>
                  <a:pt x="3999000" y="718181"/>
                </a:cubicBezTo>
                <a:cubicBezTo>
                  <a:pt x="3984114" y="718181"/>
                  <a:pt x="3971768" y="705834"/>
                  <a:pt x="3971768" y="690949"/>
                </a:cubicBezTo>
                <a:cubicBezTo>
                  <a:pt x="3971768" y="676063"/>
                  <a:pt x="3984114" y="663717"/>
                  <a:pt x="3999000" y="663717"/>
                </a:cubicBezTo>
                <a:close/>
                <a:moveTo>
                  <a:pt x="4152947" y="661174"/>
                </a:moveTo>
                <a:cubicBezTo>
                  <a:pt x="4169392" y="661174"/>
                  <a:pt x="4182722" y="674504"/>
                  <a:pt x="4182722" y="690949"/>
                </a:cubicBezTo>
                <a:cubicBezTo>
                  <a:pt x="4182722" y="707390"/>
                  <a:pt x="4169392" y="720720"/>
                  <a:pt x="4152947" y="720720"/>
                </a:cubicBezTo>
                <a:cubicBezTo>
                  <a:pt x="4136506" y="720720"/>
                  <a:pt x="4123176" y="707390"/>
                  <a:pt x="4123176" y="690949"/>
                </a:cubicBezTo>
                <a:cubicBezTo>
                  <a:pt x="4123176" y="674504"/>
                  <a:pt x="4136506" y="661174"/>
                  <a:pt x="4152947" y="661174"/>
                </a:cubicBezTo>
                <a:close/>
                <a:moveTo>
                  <a:pt x="4306532" y="658994"/>
                </a:moveTo>
                <a:cubicBezTo>
                  <a:pt x="4324178" y="658994"/>
                  <a:pt x="4338484" y="673300"/>
                  <a:pt x="4338484" y="690945"/>
                </a:cubicBezTo>
                <a:cubicBezTo>
                  <a:pt x="4338484" y="708590"/>
                  <a:pt x="4324178" y="722896"/>
                  <a:pt x="4306532" y="722896"/>
                </a:cubicBezTo>
                <a:cubicBezTo>
                  <a:pt x="4288887" y="722896"/>
                  <a:pt x="4274581" y="708590"/>
                  <a:pt x="4274581" y="690945"/>
                </a:cubicBezTo>
                <a:cubicBezTo>
                  <a:pt x="4274581" y="673300"/>
                  <a:pt x="4288887" y="658994"/>
                  <a:pt x="4306532" y="658994"/>
                </a:cubicBezTo>
                <a:close/>
                <a:moveTo>
                  <a:pt x="4460480" y="657179"/>
                </a:moveTo>
                <a:cubicBezTo>
                  <a:pt x="4479128" y="657179"/>
                  <a:pt x="4494250" y="672297"/>
                  <a:pt x="4494250" y="690945"/>
                </a:cubicBezTo>
                <a:cubicBezTo>
                  <a:pt x="4494250" y="709597"/>
                  <a:pt x="4479128" y="724715"/>
                  <a:pt x="4460480" y="724715"/>
                </a:cubicBezTo>
                <a:cubicBezTo>
                  <a:pt x="4441832" y="724715"/>
                  <a:pt x="4426714" y="709597"/>
                  <a:pt x="4426714" y="690945"/>
                </a:cubicBezTo>
                <a:cubicBezTo>
                  <a:pt x="4426714" y="672297"/>
                  <a:pt x="4441832" y="657179"/>
                  <a:pt x="4460480" y="657179"/>
                </a:cubicBezTo>
                <a:close/>
                <a:moveTo>
                  <a:pt x="4614061" y="654637"/>
                </a:moveTo>
                <a:cubicBezTo>
                  <a:pt x="4634032" y="654637"/>
                  <a:pt x="4650370" y="670975"/>
                  <a:pt x="4650370" y="690945"/>
                </a:cubicBezTo>
                <a:cubicBezTo>
                  <a:pt x="4650370" y="710916"/>
                  <a:pt x="4634032" y="727253"/>
                  <a:pt x="4614061" y="727253"/>
                </a:cubicBezTo>
                <a:cubicBezTo>
                  <a:pt x="4594090" y="727253"/>
                  <a:pt x="4577753" y="710916"/>
                  <a:pt x="4577753" y="690945"/>
                </a:cubicBezTo>
                <a:cubicBezTo>
                  <a:pt x="4577753" y="670975"/>
                  <a:pt x="4594090" y="654637"/>
                  <a:pt x="4614061" y="654637"/>
                </a:cubicBezTo>
                <a:close/>
                <a:moveTo>
                  <a:pt x="4768012" y="652094"/>
                </a:moveTo>
                <a:cubicBezTo>
                  <a:pt x="4789435" y="652094"/>
                  <a:pt x="4806860" y="669522"/>
                  <a:pt x="4806860" y="690945"/>
                </a:cubicBezTo>
                <a:cubicBezTo>
                  <a:pt x="4806860" y="712368"/>
                  <a:pt x="4789435" y="729796"/>
                  <a:pt x="4768012" y="729796"/>
                </a:cubicBezTo>
                <a:cubicBezTo>
                  <a:pt x="4746590" y="729796"/>
                  <a:pt x="4729162" y="712368"/>
                  <a:pt x="4729162" y="690945"/>
                </a:cubicBezTo>
                <a:cubicBezTo>
                  <a:pt x="4729162" y="669522"/>
                  <a:pt x="4746590" y="652094"/>
                  <a:pt x="4768012" y="652094"/>
                </a:cubicBezTo>
                <a:close/>
                <a:moveTo>
                  <a:pt x="4921594" y="649918"/>
                </a:moveTo>
                <a:cubicBezTo>
                  <a:pt x="4944469" y="649918"/>
                  <a:pt x="4962625" y="668074"/>
                  <a:pt x="4962625" y="690945"/>
                </a:cubicBezTo>
                <a:cubicBezTo>
                  <a:pt x="4962625" y="713820"/>
                  <a:pt x="4944107" y="731976"/>
                  <a:pt x="4921594" y="731976"/>
                </a:cubicBezTo>
                <a:cubicBezTo>
                  <a:pt x="4898722" y="731976"/>
                  <a:pt x="4880566" y="713820"/>
                  <a:pt x="4880566" y="690945"/>
                </a:cubicBezTo>
                <a:cubicBezTo>
                  <a:pt x="4880566" y="668074"/>
                  <a:pt x="4898722" y="649918"/>
                  <a:pt x="4921594" y="649918"/>
                </a:cubicBezTo>
                <a:close/>
                <a:moveTo>
                  <a:pt x="5075541" y="647375"/>
                </a:moveTo>
                <a:cubicBezTo>
                  <a:pt x="5099503" y="647375"/>
                  <a:pt x="5119111" y="666984"/>
                  <a:pt x="5119111" y="690945"/>
                </a:cubicBezTo>
                <a:cubicBezTo>
                  <a:pt x="5119111" y="714911"/>
                  <a:pt x="5099503" y="734515"/>
                  <a:pt x="5075541" y="734515"/>
                </a:cubicBezTo>
                <a:cubicBezTo>
                  <a:pt x="5051580" y="734515"/>
                  <a:pt x="5031971" y="714911"/>
                  <a:pt x="5031971" y="690945"/>
                </a:cubicBezTo>
                <a:cubicBezTo>
                  <a:pt x="5031971" y="666984"/>
                  <a:pt x="5051580" y="647375"/>
                  <a:pt x="5075541" y="647375"/>
                </a:cubicBezTo>
                <a:close/>
                <a:moveTo>
                  <a:pt x="5229126" y="644836"/>
                </a:moveTo>
                <a:cubicBezTo>
                  <a:pt x="5254540" y="644836"/>
                  <a:pt x="5275239" y="665531"/>
                  <a:pt x="5275239" y="690949"/>
                </a:cubicBezTo>
                <a:cubicBezTo>
                  <a:pt x="5275239" y="716363"/>
                  <a:pt x="5254540" y="737058"/>
                  <a:pt x="5229126" y="737058"/>
                </a:cubicBezTo>
                <a:cubicBezTo>
                  <a:pt x="5203708" y="737058"/>
                  <a:pt x="5183014" y="716363"/>
                  <a:pt x="5183014" y="690949"/>
                </a:cubicBezTo>
                <a:cubicBezTo>
                  <a:pt x="5183014" y="665531"/>
                  <a:pt x="5203708" y="644836"/>
                  <a:pt x="5229126" y="644836"/>
                </a:cubicBezTo>
                <a:close/>
                <a:moveTo>
                  <a:pt x="5383074" y="642294"/>
                </a:moveTo>
                <a:cubicBezTo>
                  <a:pt x="5409940" y="642294"/>
                  <a:pt x="5431725" y="664079"/>
                  <a:pt x="5431725" y="690949"/>
                </a:cubicBezTo>
                <a:cubicBezTo>
                  <a:pt x="5431725" y="717815"/>
                  <a:pt x="5409940" y="739600"/>
                  <a:pt x="5383074" y="739600"/>
                </a:cubicBezTo>
                <a:cubicBezTo>
                  <a:pt x="5356204" y="739600"/>
                  <a:pt x="5334419" y="717815"/>
                  <a:pt x="5334419" y="690949"/>
                </a:cubicBezTo>
                <a:cubicBezTo>
                  <a:pt x="5334419" y="664079"/>
                  <a:pt x="5356204" y="642294"/>
                  <a:pt x="5383074" y="642294"/>
                </a:cubicBezTo>
                <a:close/>
                <a:moveTo>
                  <a:pt x="5536659" y="639751"/>
                </a:moveTo>
                <a:cubicBezTo>
                  <a:pt x="5564978" y="639751"/>
                  <a:pt x="5587853" y="662626"/>
                  <a:pt x="5587853" y="690945"/>
                </a:cubicBezTo>
                <a:cubicBezTo>
                  <a:pt x="5587853" y="719268"/>
                  <a:pt x="5564978" y="742139"/>
                  <a:pt x="5536659" y="742139"/>
                </a:cubicBezTo>
                <a:cubicBezTo>
                  <a:pt x="5508336" y="742139"/>
                  <a:pt x="5485462" y="719268"/>
                  <a:pt x="5485462" y="690945"/>
                </a:cubicBezTo>
                <a:cubicBezTo>
                  <a:pt x="5485462" y="662626"/>
                  <a:pt x="5508336" y="639751"/>
                  <a:pt x="5536659" y="639751"/>
                </a:cubicBezTo>
                <a:close/>
                <a:moveTo>
                  <a:pt x="5690606" y="637571"/>
                </a:moveTo>
                <a:cubicBezTo>
                  <a:pt x="5720016" y="637571"/>
                  <a:pt x="5743980" y="661533"/>
                  <a:pt x="5743980" y="690945"/>
                </a:cubicBezTo>
                <a:cubicBezTo>
                  <a:pt x="5743980" y="720354"/>
                  <a:pt x="5720016" y="744319"/>
                  <a:pt x="5690606" y="744319"/>
                </a:cubicBezTo>
                <a:cubicBezTo>
                  <a:pt x="5661198" y="744319"/>
                  <a:pt x="5637232" y="720354"/>
                  <a:pt x="5637232" y="690945"/>
                </a:cubicBezTo>
                <a:cubicBezTo>
                  <a:pt x="5637232" y="661533"/>
                  <a:pt x="5661198" y="637571"/>
                  <a:pt x="5690606" y="637571"/>
                </a:cubicBezTo>
                <a:close/>
                <a:moveTo>
                  <a:pt x="5844554" y="634666"/>
                </a:moveTo>
                <a:cubicBezTo>
                  <a:pt x="5875777" y="634666"/>
                  <a:pt x="5900829" y="659718"/>
                  <a:pt x="5900829" y="690945"/>
                </a:cubicBezTo>
                <a:cubicBezTo>
                  <a:pt x="5900829" y="722168"/>
                  <a:pt x="5875777" y="747224"/>
                  <a:pt x="5844554" y="747224"/>
                </a:cubicBezTo>
                <a:cubicBezTo>
                  <a:pt x="5813327" y="747224"/>
                  <a:pt x="5788275" y="722168"/>
                  <a:pt x="5788275" y="690945"/>
                </a:cubicBezTo>
                <a:cubicBezTo>
                  <a:pt x="5788275" y="659718"/>
                  <a:pt x="5813327" y="634666"/>
                  <a:pt x="5844554" y="634666"/>
                </a:cubicBezTo>
                <a:close/>
                <a:moveTo>
                  <a:pt x="5998136" y="632128"/>
                </a:moveTo>
                <a:cubicBezTo>
                  <a:pt x="6030624" y="632128"/>
                  <a:pt x="6056957" y="658460"/>
                  <a:pt x="6056957" y="690949"/>
                </a:cubicBezTo>
                <a:cubicBezTo>
                  <a:pt x="6056957" y="723434"/>
                  <a:pt x="6030624" y="749767"/>
                  <a:pt x="5998136" y="749767"/>
                </a:cubicBezTo>
                <a:cubicBezTo>
                  <a:pt x="5965650" y="749767"/>
                  <a:pt x="5939318" y="723434"/>
                  <a:pt x="5939318" y="690949"/>
                </a:cubicBezTo>
                <a:cubicBezTo>
                  <a:pt x="5939318" y="658460"/>
                  <a:pt x="5965650" y="632128"/>
                  <a:pt x="5998136" y="632128"/>
                </a:cubicBezTo>
                <a:close/>
                <a:moveTo>
                  <a:pt x="6152083" y="629223"/>
                </a:moveTo>
                <a:cubicBezTo>
                  <a:pt x="6186172" y="629223"/>
                  <a:pt x="6213809" y="656859"/>
                  <a:pt x="6213809" y="690949"/>
                </a:cubicBezTo>
                <a:cubicBezTo>
                  <a:pt x="6213809" y="725035"/>
                  <a:pt x="6186172" y="752671"/>
                  <a:pt x="6152083" y="752671"/>
                </a:cubicBezTo>
                <a:cubicBezTo>
                  <a:pt x="6117993" y="752671"/>
                  <a:pt x="6090360" y="725035"/>
                  <a:pt x="6090360" y="690949"/>
                </a:cubicBezTo>
                <a:cubicBezTo>
                  <a:pt x="6090360" y="656859"/>
                  <a:pt x="6117993" y="629223"/>
                  <a:pt x="6152083" y="629223"/>
                </a:cubicBezTo>
                <a:close/>
                <a:moveTo>
                  <a:pt x="6305668" y="626680"/>
                </a:moveTo>
                <a:cubicBezTo>
                  <a:pt x="6341160" y="626680"/>
                  <a:pt x="6369933" y="655452"/>
                  <a:pt x="6369933" y="690945"/>
                </a:cubicBezTo>
                <a:cubicBezTo>
                  <a:pt x="6369933" y="726438"/>
                  <a:pt x="6341160" y="755214"/>
                  <a:pt x="6305668" y="755214"/>
                </a:cubicBezTo>
                <a:cubicBezTo>
                  <a:pt x="6270176" y="755214"/>
                  <a:pt x="6241400" y="726438"/>
                  <a:pt x="6241400" y="690945"/>
                </a:cubicBezTo>
                <a:cubicBezTo>
                  <a:pt x="6241400" y="655452"/>
                  <a:pt x="6270176" y="626680"/>
                  <a:pt x="6305668" y="626680"/>
                </a:cubicBezTo>
                <a:close/>
                <a:moveTo>
                  <a:pt x="6459619" y="623414"/>
                </a:moveTo>
                <a:cubicBezTo>
                  <a:pt x="6496915" y="623414"/>
                  <a:pt x="6527151" y="653650"/>
                  <a:pt x="6527151" y="690949"/>
                </a:cubicBezTo>
                <a:cubicBezTo>
                  <a:pt x="6527151" y="728245"/>
                  <a:pt x="6496915" y="758481"/>
                  <a:pt x="6459619" y="758481"/>
                </a:cubicBezTo>
                <a:cubicBezTo>
                  <a:pt x="6422320" y="758481"/>
                  <a:pt x="6392084" y="728245"/>
                  <a:pt x="6392084" y="690949"/>
                </a:cubicBezTo>
                <a:cubicBezTo>
                  <a:pt x="6392084" y="653650"/>
                  <a:pt x="6422320" y="623414"/>
                  <a:pt x="6459619" y="623414"/>
                </a:cubicBezTo>
                <a:close/>
                <a:moveTo>
                  <a:pt x="6613200" y="620871"/>
                </a:moveTo>
                <a:cubicBezTo>
                  <a:pt x="6651903" y="620871"/>
                  <a:pt x="6683275" y="652243"/>
                  <a:pt x="6683275" y="690945"/>
                </a:cubicBezTo>
                <a:cubicBezTo>
                  <a:pt x="6683275" y="729647"/>
                  <a:pt x="6651903" y="761023"/>
                  <a:pt x="6613200" y="761023"/>
                </a:cubicBezTo>
                <a:cubicBezTo>
                  <a:pt x="6574498" y="761023"/>
                  <a:pt x="6543126" y="729647"/>
                  <a:pt x="6543126" y="690945"/>
                </a:cubicBezTo>
                <a:cubicBezTo>
                  <a:pt x="6543126" y="652243"/>
                  <a:pt x="6574498" y="620871"/>
                  <a:pt x="6613200" y="620871"/>
                </a:cubicBezTo>
                <a:close/>
                <a:moveTo>
                  <a:pt x="1231213" y="536998"/>
                </a:moveTo>
                <a:cubicBezTo>
                  <a:pt x="1231576" y="536998"/>
                  <a:pt x="1231576" y="536998"/>
                  <a:pt x="1231576" y="537360"/>
                </a:cubicBezTo>
                <a:cubicBezTo>
                  <a:pt x="1231576" y="537726"/>
                  <a:pt x="1231213" y="537726"/>
                  <a:pt x="1231213" y="537726"/>
                </a:cubicBezTo>
                <a:cubicBezTo>
                  <a:pt x="1230851" y="537726"/>
                  <a:pt x="1230851" y="537726"/>
                  <a:pt x="1230851" y="537360"/>
                </a:cubicBezTo>
                <a:cubicBezTo>
                  <a:pt x="1230851" y="536998"/>
                  <a:pt x="1230851" y="536998"/>
                  <a:pt x="1231213" y="536998"/>
                </a:cubicBezTo>
                <a:close/>
                <a:moveTo>
                  <a:pt x="769733" y="536998"/>
                </a:moveTo>
                <a:cubicBezTo>
                  <a:pt x="770096" y="536998"/>
                  <a:pt x="770096" y="536998"/>
                  <a:pt x="770096" y="537360"/>
                </a:cubicBezTo>
                <a:cubicBezTo>
                  <a:pt x="770096" y="537726"/>
                  <a:pt x="769733" y="537726"/>
                  <a:pt x="769733" y="537726"/>
                </a:cubicBezTo>
                <a:cubicBezTo>
                  <a:pt x="769371" y="537726"/>
                  <a:pt x="769371" y="537726"/>
                  <a:pt x="769371" y="537360"/>
                </a:cubicBezTo>
                <a:cubicBezTo>
                  <a:pt x="769371" y="536998"/>
                  <a:pt x="769371" y="536998"/>
                  <a:pt x="769733" y="536998"/>
                </a:cubicBezTo>
                <a:close/>
                <a:moveTo>
                  <a:pt x="616148" y="536998"/>
                </a:moveTo>
                <a:cubicBezTo>
                  <a:pt x="616514" y="536998"/>
                  <a:pt x="616514" y="536998"/>
                  <a:pt x="616514" y="537360"/>
                </a:cubicBezTo>
                <a:cubicBezTo>
                  <a:pt x="616514" y="537726"/>
                  <a:pt x="616148" y="537726"/>
                  <a:pt x="616148" y="537726"/>
                </a:cubicBezTo>
                <a:cubicBezTo>
                  <a:pt x="615786" y="537726"/>
                  <a:pt x="615786" y="537726"/>
                  <a:pt x="615786" y="537360"/>
                </a:cubicBezTo>
                <a:cubicBezTo>
                  <a:pt x="615786" y="536998"/>
                  <a:pt x="615786" y="536998"/>
                  <a:pt x="616148" y="536998"/>
                </a:cubicBezTo>
                <a:close/>
                <a:moveTo>
                  <a:pt x="462205" y="536636"/>
                </a:moveTo>
                <a:cubicBezTo>
                  <a:pt x="462605" y="536636"/>
                  <a:pt x="462929" y="536960"/>
                  <a:pt x="462929" y="537364"/>
                </a:cubicBezTo>
                <a:cubicBezTo>
                  <a:pt x="462929" y="537764"/>
                  <a:pt x="462605" y="538088"/>
                  <a:pt x="462205" y="538088"/>
                </a:cubicBezTo>
                <a:cubicBezTo>
                  <a:pt x="461801" y="538088"/>
                  <a:pt x="461476" y="537764"/>
                  <a:pt x="461476" y="537364"/>
                </a:cubicBezTo>
                <a:cubicBezTo>
                  <a:pt x="461476" y="536960"/>
                  <a:pt x="461801" y="536636"/>
                  <a:pt x="462205" y="536636"/>
                </a:cubicBezTo>
                <a:close/>
                <a:moveTo>
                  <a:pt x="1384799" y="535911"/>
                </a:moveTo>
                <a:cubicBezTo>
                  <a:pt x="1385599" y="535911"/>
                  <a:pt x="1386251" y="536563"/>
                  <a:pt x="1386251" y="537364"/>
                </a:cubicBezTo>
                <a:cubicBezTo>
                  <a:pt x="1386251" y="538164"/>
                  <a:pt x="1385599" y="538816"/>
                  <a:pt x="1384799" y="538816"/>
                </a:cubicBezTo>
                <a:cubicBezTo>
                  <a:pt x="1383994" y="538816"/>
                  <a:pt x="1383346" y="538164"/>
                  <a:pt x="1383346" y="537364"/>
                </a:cubicBezTo>
                <a:cubicBezTo>
                  <a:pt x="1383346" y="536563"/>
                  <a:pt x="1383994" y="535911"/>
                  <a:pt x="1384799" y="535911"/>
                </a:cubicBezTo>
                <a:close/>
                <a:moveTo>
                  <a:pt x="308257" y="535545"/>
                </a:moveTo>
                <a:cubicBezTo>
                  <a:pt x="308985" y="535545"/>
                  <a:pt x="309710" y="536273"/>
                  <a:pt x="309710" y="536998"/>
                </a:cubicBezTo>
                <a:lnTo>
                  <a:pt x="309634" y="537073"/>
                </a:lnTo>
                <a:lnTo>
                  <a:pt x="308175" y="535627"/>
                </a:lnTo>
                <a:close/>
                <a:moveTo>
                  <a:pt x="1538750" y="535183"/>
                </a:moveTo>
                <a:cubicBezTo>
                  <a:pt x="1539951" y="535183"/>
                  <a:pt x="1540927" y="536159"/>
                  <a:pt x="1540927" y="537364"/>
                </a:cubicBezTo>
                <a:cubicBezTo>
                  <a:pt x="1540927" y="538564"/>
                  <a:pt x="1539951" y="539540"/>
                  <a:pt x="1538750" y="539540"/>
                </a:cubicBezTo>
                <a:cubicBezTo>
                  <a:pt x="1537545" y="539540"/>
                  <a:pt x="1536570" y="538564"/>
                  <a:pt x="1536570" y="537364"/>
                </a:cubicBezTo>
                <a:cubicBezTo>
                  <a:pt x="1536570" y="536159"/>
                  <a:pt x="1537545" y="535183"/>
                  <a:pt x="1538750" y="535183"/>
                </a:cubicBezTo>
                <a:close/>
                <a:moveTo>
                  <a:pt x="1692328" y="534093"/>
                </a:moveTo>
                <a:cubicBezTo>
                  <a:pt x="1694146" y="534093"/>
                  <a:pt x="1695594" y="535545"/>
                  <a:pt x="1695594" y="537360"/>
                </a:cubicBezTo>
                <a:cubicBezTo>
                  <a:pt x="1695594" y="539178"/>
                  <a:pt x="1694146" y="540630"/>
                  <a:pt x="1692328" y="540630"/>
                </a:cubicBezTo>
                <a:cubicBezTo>
                  <a:pt x="1690513" y="540630"/>
                  <a:pt x="1689061" y="539178"/>
                  <a:pt x="1689061" y="537360"/>
                </a:cubicBezTo>
                <a:cubicBezTo>
                  <a:pt x="1689061" y="535545"/>
                  <a:pt x="1690513" y="534093"/>
                  <a:pt x="1692328" y="534093"/>
                </a:cubicBezTo>
                <a:close/>
                <a:moveTo>
                  <a:pt x="1846279" y="532641"/>
                </a:moveTo>
                <a:cubicBezTo>
                  <a:pt x="1848818" y="532641"/>
                  <a:pt x="1850636" y="534455"/>
                  <a:pt x="1850636" y="536998"/>
                </a:cubicBezTo>
                <a:cubicBezTo>
                  <a:pt x="1850636" y="539540"/>
                  <a:pt x="1848455" y="541355"/>
                  <a:pt x="1846279" y="541355"/>
                </a:cubicBezTo>
                <a:cubicBezTo>
                  <a:pt x="1843736" y="541355"/>
                  <a:pt x="1841922" y="539540"/>
                  <a:pt x="1841922" y="536998"/>
                </a:cubicBezTo>
                <a:cubicBezTo>
                  <a:pt x="1841922" y="534455"/>
                  <a:pt x="1843736" y="532641"/>
                  <a:pt x="1846279" y="532641"/>
                </a:cubicBezTo>
                <a:close/>
                <a:moveTo>
                  <a:pt x="1999860" y="531554"/>
                </a:moveTo>
                <a:cubicBezTo>
                  <a:pt x="2003127" y="531554"/>
                  <a:pt x="2005670" y="534097"/>
                  <a:pt x="2005670" y="537364"/>
                </a:cubicBezTo>
                <a:cubicBezTo>
                  <a:pt x="2005670" y="540630"/>
                  <a:pt x="2003127" y="543173"/>
                  <a:pt x="1999860" y="543173"/>
                </a:cubicBezTo>
                <a:cubicBezTo>
                  <a:pt x="1996593" y="543173"/>
                  <a:pt x="1994051" y="540630"/>
                  <a:pt x="1994051" y="537364"/>
                </a:cubicBezTo>
                <a:cubicBezTo>
                  <a:pt x="1994051" y="534097"/>
                  <a:pt x="1996593" y="531554"/>
                  <a:pt x="1999860" y="531554"/>
                </a:cubicBezTo>
                <a:close/>
                <a:moveTo>
                  <a:pt x="2153808" y="530102"/>
                </a:moveTo>
                <a:cubicBezTo>
                  <a:pt x="2157802" y="530102"/>
                  <a:pt x="2161069" y="533369"/>
                  <a:pt x="2161069" y="537364"/>
                </a:cubicBezTo>
                <a:cubicBezTo>
                  <a:pt x="2161069" y="541359"/>
                  <a:pt x="2157802" y="544625"/>
                  <a:pt x="2153808" y="544625"/>
                </a:cubicBezTo>
                <a:cubicBezTo>
                  <a:pt x="2149813" y="544625"/>
                  <a:pt x="2146546" y="541359"/>
                  <a:pt x="2146546" y="537364"/>
                </a:cubicBezTo>
                <a:cubicBezTo>
                  <a:pt x="2146546" y="533369"/>
                  <a:pt x="2149813" y="530102"/>
                  <a:pt x="2153808" y="530102"/>
                </a:cubicBezTo>
                <a:close/>
                <a:moveTo>
                  <a:pt x="2307393" y="527922"/>
                </a:moveTo>
                <a:cubicBezTo>
                  <a:pt x="2312478" y="527922"/>
                  <a:pt x="2316473" y="531916"/>
                  <a:pt x="2316473" y="536998"/>
                </a:cubicBezTo>
                <a:cubicBezTo>
                  <a:pt x="2316473" y="542083"/>
                  <a:pt x="2312478" y="546078"/>
                  <a:pt x="2307393" y="546078"/>
                </a:cubicBezTo>
                <a:cubicBezTo>
                  <a:pt x="2302312" y="546078"/>
                  <a:pt x="2298317" y="542083"/>
                  <a:pt x="2298317" y="536998"/>
                </a:cubicBezTo>
                <a:cubicBezTo>
                  <a:pt x="2298317" y="531916"/>
                  <a:pt x="2302312" y="527922"/>
                  <a:pt x="2307393" y="527922"/>
                </a:cubicBezTo>
                <a:close/>
                <a:moveTo>
                  <a:pt x="2461340" y="527197"/>
                </a:moveTo>
                <a:cubicBezTo>
                  <a:pt x="2466787" y="527197"/>
                  <a:pt x="2471507" y="531916"/>
                  <a:pt x="2471507" y="537364"/>
                </a:cubicBezTo>
                <a:cubicBezTo>
                  <a:pt x="2471507" y="542811"/>
                  <a:pt x="2467150" y="547530"/>
                  <a:pt x="2461340" y="547530"/>
                </a:cubicBezTo>
                <a:cubicBezTo>
                  <a:pt x="2455893" y="547530"/>
                  <a:pt x="2451174" y="542811"/>
                  <a:pt x="2451174" y="537364"/>
                </a:cubicBezTo>
                <a:cubicBezTo>
                  <a:pt x="2451174" y="531916"/>
                  <a:pt x="2455893" y="527197"/>
                  <a:pt x="2461340" y="527197"/>
                </a:cubicBezTo>
                <a:close/>
                <a:moveTo>
                  <a:pt x="2614925" y="525379"/>
                </a:moveTo>
                <a:cubicBezTo>
                  <a:pt x="2621463" y="525379"/>
                  <a:pt x="2626910" y="530826"/>
                  <a:pt x="2626910" y="537360"/>
                </a:cubicBezTo>
                <a:cubicBezTo>
                  <a:pt x="2626910" y="543897"/>
                  <a:pt x="2621463" y="549341"/>
                  <a:pt x="2614925" y="549341"/>
                </a:cubicBezTo>
                <a:cubicBezTo>
                  <a:pt x="2608392" y="549341"/>
                  <a:pt x="2602945" y="543897"/>
                  <a:pt x="2602945" y="537360"/>
                </a:cubicBezTo>
                <a:cubicBezTo>
                  <a:pt x="2602945" y="530826"/>
                  <a:pt x="2608392" y="525379"/>
                  <a:pt x="2614925" y="525379"/>
                </a:cubicBezTo>
                <a:close/>
                <a:moveTo>
                  <a:pt x="2768877" y="523202"/>
                </a:moveTo>
                <a:cubicBezTo>
                  <a:pt x="2776501" y="523202"/>
                  <a:pt x="2782672" y="529374"/>
                  <a:pt x="2782672" y="537002"/>
                </a:cubicBezTo>
                <a:cubicBezTo>
                  <a:pt x="2782672" y="544625"/>
                  <a:pt x="2776501" y="550797"/>
                  <a:pt x="2768877" y="550797"/>
                </a:cubicBezTo>
                <a:cubicBezTo>
                  <a:pt x="2761249" y="550797"/>
                  <a:pt x="2755078" y="544625"/>
                  <a:pt x="2755078" y="537002"/>
                </a:cubicBezTo>
                <a:cubicBezTo>
                  <a:pt x="2755078" y="529374"/>
                  <a:pt x="2761249" y="523202"/>
                  <a:pt x="2768877" y="523202"/>
                </a:cubicBezTo>
                <a:close/>
                <a:moveTo>
                  <a:pt x="2922454" y="522112"/>
                </a:moveTo>
                <a:cubicBezTo>
                  <a:pt x="2930878" y="522112"/>
                  <a:pt x="2937706" y="528939"/>
                  <a:pt x="2937706" y="537364"/>
                </a:cubicBezTo>
                <a:cubicBezTo>
                  <a:pt x="2937706" y="545784"/>
                  <a:pt x="2930878" y="552611"/>
                  <a:pt x="2922454" y="552611"/>
                </a:cubicBezTo>
                <a:cubicBezTo>
                  <a:pt x="2914034" y="552611"/>
                  <a:pt x="2907207" y="545784"/>
                  <a:pt x="2907207" y="537364"/>
                </a:cubicBezTo>
                <a:cubicBezTo>
                  <a:pt x="2907207" y="528939"/>
                  <a:pt x="2914034" y="522112"/>
                  <a:pt x="2922454" y="522112"/>
                </a:cubicBezTo>
                <a:close/>
                <a:moveTo>
                  <a:pt x="3076406" y="520298"/>
                </a:moveTo>
                <a:cubicBezTo>
                  <a:pt x="3085844" y="520298"/>
                  <a:pt x="3093468" y="527922"/>
                  <a:pt x="3093468" y="537364"/>
                </a:cubicBezTo>
                <a:cubicBezTo>
                  <a:pt x="3093468" y="546802"/>
                  <a:pt x="3085844" y="554430"/>
                  <a:pt x="3076406" y="554430"/>
                </a:cubicBezTo>
                <a:cubicBezTo>
                  <a:pt x="3066963" y="554430"/>
                  <a:pt x="3059340" y="546802"/>
                  <a:pt x="3059340" y="537364"/>
                </a:cubicBezTo>
                <a:cubicBezTo>
                  <a:pt x="3059340" y="527922"/>
                  <a:pt x="3066963" y="520298"/>
                  <a:pt x="3076406" y="520298"/>
                </a:cubicBezTo>
                <a:close/>
                <a:moveTo>
                  <a:pt x="3230353" y="518117"/>
                </a:moveTo>
                <a:cubicBezTo>
                  <a:pt x="3240980" y="518117"/>
                  <a:pt x="3249599" y="526732"/>
                  <a:pt x="3249599" y="537360"/>
                </a:cubicBezTo>
                <a:cubicBezTo>
                  <a:pt x="3249599" y="547987"/>
                  <a:pt x="3240980" y="556602"/>
                  <a:pt x="3230353" y="556602"/>
                </a:cubicBezTo>
                <a:cubicBezTo>
                  <a:pt x="3219725" y="556602"/>
                  <a:pt x="3211110" y="547987"/>
                  <a:pt x="3211110" y="537360"/>
                </a:cubicBezTo>
                <a:cubicBezTo>
                  <a:pt x="3211110" y="526732"/>
                  <a:pt x="3219725" y="518117"/>
                  <a:pt x="3230353" y="518117"/>
                </a:cubicBezTo>
                <a:close/>
                <a:moveTo>
                  <a:pt x="3383938" y="515941"/>
                </a:moveTo>
                <a:cubicBezTo>
                  <a:pt x="3395766" y="515941"/>
                  <a:pt x="3405361" y="525532"/>
                  <a:pt x="3405361" y="537364"/>
                </a:cubicBezTo>
                <a:cubicBezTo>
                  <a:pt x="3405361" y="549192"/>
                  <a:pt x="3395766" y="558787"/>
                  <a:pt x="3383938" y="558787"/>
                </a:cubicBezTo>
                <a:cubicBezTo>
                  <a:pt x="3372106" y="558787"/>
                  <a:pt x="3362515" y="549192"/>
                  <a:pt x="3362515" y="537364"/>
                </a:cubicBezTo>
                <a:cubicBezTo>
                  <a:pt x="3362515" y="525532"/>
                  <a:pt x="3372106" y="515941"/>
                  <a:pt x="3383938" y="515941"/>
                </a:cubicBezTo>
                <a:close/>
                <a:moveTo>
                  <a:pt x="3537886" y="514489"/>
                </a:moveTo>
                <a:cubicBezTo>
                  <a:pt x="3550518" y="514489"/>
                  <a:pt x="3560761" y="524731"/>
                  <a:pt x="3560761" y="537364"/>
                </a:cubicBezTo>
                <a:cubicBezTo>
                  <a:pt x="3560761" y="549996"/>
                  <a:pt x="3550518" y="560239"/>
                  <a:pt x="3537886" y="560239"/>
                </a:cubicBezTo>
                <a:cubicBezTo>
                  <a:pt x="3525253" y="560239"/>
                  <a:pt x="3515010" y="549996"/>
                  <a:pt x="3515010" y="537364"/>
                </a:cubicBezTo>
                <a:cubicBezTo>
                  <a:pt x="3515010" y="524731"/>
                  <a:pt x="3525253" y="514489"/>
                  <a:pt x="3537886" y="514489"/>
                </a:cubicBezTo>
                <a:close/>
                <a:moveTo>
                  <a:pt x="3691467" y="512308"/>
                </a:moveTo>
                <a:cubicBezTo>
                  <a:pt x="3705304" y="512308"/>
                  <a:pt x="3716519" y="523526"/>
                  <a:pt x="3716519" y="537360"/>
                </a:cubicBezTo>
                <a:cubicBezTo>
                  <a:pt x="3716519" y="551197"/>
                  <a:pt x="3705304" y="562412"/>
                  <a:pt x="3691467" y="562412"/>
                </a:cubicBezTo>
                <a:cubicBezTo>
                  <a:pt x="3677630" y="562412"/>
                  <a:pt x="3666415" y="551197"/>
                  <a:pt x="3666415" y="537360"/>
                </a:cubicBezTo>
                <a:cubicBezTo>
                  <a:pt x="3666415" y="523523"/>
                  <a:pt x="3677630" y="512308"/>
                  <a:pt x="3691467" y="512308"/>
                </a:cubicBezTo>
                <a:close/>
                <a:moveTo>
                  <a:pt x="3845418" y="510131"/>
                </a:moveTo>
                <a:cubicBezTo>
                  <a:pt x="3860456" y="510131"/>
                  <a:pt x="3872650" y="522322"/>
                  <a:pt x="3872650" y="537364"/>
                </a:cubicBezTo>
                <a:cubicBezTo>
                  <a:pt x="3872650" y="552402"/>
                  <a:pt x="3860456" y="564596"/>
                  <a:pt x="3845418" y="564596"/>
                </a:cubicBezTo>
                <a:cubicBezTo>
                  <a:pt x="3830376" y="564596"/>
                  <a:pt x="3818186" y="552402"/>
                  <a:pt x="3818186" y="537364"/>
                </a:cubicBezTo>
                <a:cubicBezTo>
                  <a:pt x="3818186" y="522322"/>
                  <a:pt x="3830376" y="510131"/>
                  <a:pt x="3845418" y="510131"/>
                </a:cubicBezTo>
                <a:close/>
                <a:moveTo>
                  <a:pt x="3999000" y="507589"/>
                </a:moveTo>
                <a:cubicBezTo>
                  <a:pt x="4015444" y="507589"/>
                  <a:pt x="4028774" y="520919"/>
                  <a:pt x="4028774" y="537364"/>
                </a:cubicBezTo>
                <a:cubicBezTo>
                  <a:pt x="4028774" y="553804"/>
                  <a:pt x="4015444" y="567135"/>
                  <a:pt x="3999000" y="567135"/>
                </a:cubicBezTo>
                <a:cubicBezTo>
                  <a:pt x="3982559" y="567135"/>
                  <a:pt x="3969229" y="553804"/>
                  <a:pt x="3969229" y="537364"/>
                </a:cubicBezTo>
                <a:cubicBezTo>
                  <a:pt x="3969229" y="520919"/>
                  <a:pt x="3982559" y="507589"/>
                  <a:pt x="3999000" y="507589"/>
                </a:cubicBezTo>
                <a:close/>
                <a:moveTo>
                  <a:pt x="4152947" y="505412"/>
                </a:moveTo>
                <a:cubicBezTo>
                  <a:pt x="4170592" y="505412"/>
                  <a:pt x="4184898" y="519718"/>
                  <a:pt x="4184898" y="537364"/>
                </a:cubicBezTo>
                <a:cubicBezTo>
                  <a:pt x="4184898" y="555009"/>
                  <a:pt x="4170592" y="569315"/>
                  <a:pt x="4152947" y="569315"/>
                </a:cubicBezTo>
                <a:cubicBezTo>
                  <a:pt x="4135302" y="569315"/>
                  <a:pt x="4120996" y="555009"/>
                  <a:pt x="4120996" y="537364"/>
                </a:cubicBezTo>
                <a:cubicBezTo>
                  <a:pt x="4120996" y="519718"/>
                  <a:pt x="4135302" y="505412"/>
                  <a:pt x="4152947" y="505412"/>
                </a:cubicBezTo>
                <a:close/>
                <a:moveTo>
                  <a:pt x="4306532" y="503594"/>
                </a:moveTo>
                <a:cubicBezTo>
                  <a:pt x="4325184" y="503594"/>
                  <a:pt x="4340302" y="518712"/>
                  <a:pt x="4340302" y="537360"/>
                </a:cubicBezTo>
                <a:cubicBezTo>
                  <a:pt x="4340302" y="556012"/>
                  <a:pt x="4325184" y="571130"/>
                  <a:pt x="4306532" y="571130"/>
                </a:cubicBezTo>
                <a:cubicBezTo>
                  <a:pt x="4287884" y="571130"/>
                  <a:pt x="4272766" y="556012"/>
                  <a:pt x="4272766" y="537360"/>
                </a:cubicBezTo>
                <a:cubicBezTo>
                  <a:pt x="4272766" y="518712"/>
                  <a:pt x="4287884" y="503594"/>
                  <a:pt x="4306532" y="503594"/>
                </a:cubicBezTo>
                <a:close/>
                <a:moveTo>
                  <a:pt x="4460480" y="500689"/>
                </a:moveTo>
                <a:cubicBezTo>
                  <a:pt x="4480450" y="500689"/>
                  <a:pt x="4496788" y="517027"/>
                  <a:pt x="4496788" y="536998"/>
                </a:cubicBezTo>
                <a:cubicBezTo>
                  <a:pt x="4496788" y="556968"/>
                  <a:pt x="4480450" y="573306"/>
                  <a:pt x="4460480" y="573306"/>
                </a:cubicBezTo>
                <a:cubicBezTo>
                  <a:pt x="4440509" y="573306"/>
                  <a:pt x="4424172" y="556968"/>
                  <a:pt x="4424172" y="536998"/>
                </a:cubicBezTo>
                <a:cubicBezTo>
                  <a:pt x="4424172" y="517027"/>
                  <a:pt x="4440509" y="500689"/>
                  <a:pt x="4460480" y="500689"/>
                </a:cubicBezTo>
                <a:close/>
                <a:moveTo>
                  <a:pt x="4614065" y="498513"/>
                </a:moveTo>
                <a:cubicBezTo>
                  <a:pt x="4635484" y="498513"/>
                  <a:pt x="4652912" y="515941"/>
                  <a:pt x="4652912" y="537364"/>
                </a:cubicBezTo>
                <a:cubicBezTo>
                  <a:pt x="4652912" y="558787"/>
                  <a:pt x="4635484" y="576215"/>
                  <a:pt x="4614065" y="576215"/>
                </a:cubicBezTo>
                <a:cubicBezTo>
                  <a:pt x="4592642" y="576215"/>
                  <a:pt x="4575214" y="558787"/>
                  <a:pt x="4575214" y="537364"/>
                </a:cubicBezTo>
                <a:cubicBezTo>
                  <a:pt x="4575214" y="515941"/>
                  <a:pt x="4592642" y="498513"/>
                  <a:pt x="4614065" y="498513"/>
                </a:cubicBezTo>
                <a:close/>
                <a:moveTo>
                  <a:pt x="4768008" y="495970"/>
                </a:moveTo>
                <a:cubicBezTo>
                  <a:pt x="4790884" y="495970"/>
                  <a:pt x="4809036" y="514126"/>
                  <a:pt x="4809036" y="536998"/>
                </a:cubicBezTo>
                <a:cubicBezTo>
                  <a:pt x="4809036" y="559873"/>
                  <a:pt x="4790522" y="578029"/>
                  <a:pt x="4768008" y="578029"/>
                </a:cubicBezTo>
                <a:cubicBezTo>
                  <a:pt x="4745137" y="578029"/>
                  <a:pt x="4726981" y="559873"/>
                  <a:pt x="4726981" y="536998"/>
                </a:cubicBezTo>
                <a:cubicBezTo>
                  <a:pt x="4726981" y="514126"/>
                  <a:pt x="4745137" y="495970"/>
                  <a:pt x="4768008" y="495970"/>
                </a:cubicBezTo>
                <a:close/>
                <a:moveTo>
                  <a:pt x="4921594" y="493428"/>
                </a:moveTo>
                <a:cubicBezTo>
                  <a:pt x="4945556" y="493428"/>
                  <a:pt x="4965164" y="513032"/>
                  <a:pt x="4965164" y="536998"/>
                </a:cubicBezTo>
                <a:cubicBezTo>
                  <a:pt x="4965164" y="560959"/>
                  <a:pt x="4945556" y="580568"/>
                  <a:pt x="4921594" y="580568"/>
                </a:cubicBezTo>
                <a:cubicBezTo>
                  <a:pt x="4897628" y="580568"/>
                  <a:pt x="4878024" y="560959"/>
                  <a:pt x="4878024" y="536998"/>
                </a:cubicBezTo>
                <a:cubicBezTo>
                  <a:pt x="4878024" y="513032"/>
                  <a:pt x="4897628" y="493428"/>
                  <a:pt x="4921594" y="493428"/>
                </a:cubicBezTo>
                <a:close/>
                <a:moveTo>
                  <a:pt x="5075541" y="490889"/>
                </a:moveTo>
                <a:cubicBezTo>
                  <a:pt x="5100955" y="490889"/>
                  <a:pt x="5121654" y="511584"/>
                  <a:pt x="5121654" y="537002"/>
                </a:cubicBezTo>
                <a:cubicBezTo>
                  <a:pt x="5121654" y="562416"/>
                  <a:pt x="5100955" y="583110"/>
                  <a:pt x="5075541" y="583110"/>
                </a:cubicBezTo>
                <a:cubicBezTo>
                  <a:pt x="5050124" y="583110"/>
                  <a:pt x="5029428" y="562416"/>
                  <a:pt x="5029428" y="537002"/>
                </a:cubicBezTo>
                <a:cubicBezTo>
                  <a:pt x="5029428" y="511584"/>
                  <a:pt x="5050124" y="490889"/>
                  <a:pt x="5075541" y="490889"/>
                </a:cubicBezTo>
                <a:close/>
                <a:moveTo>
                  <a:pt x="5229122" y="488709"/>
                </a:moveTo>
                <a:cubicBezTo>
                  <a:pt x="5255992" y="488709"/>
                  <a:pt x="5277778" y="510494"/>
                  <a:pt x="5277778" y="537364"/>
                </a:cubicBezTo>
                <a:cubicBezTo>
                  <a:pt x="5277778" y="564230"/>
                  <a:pt x="5255992" y="586015"/>
                  <a:pt x="5229122" y="586015"/>
                </a:cubicBezTo>
                <a:cubicBezTo>
                  <a:pt x="5202256" y="586015"/>
                  <a:pt x="5180472" y="564230"/>
                  <a:pt x="5180472" y="537364"/>
                </a:cubicBezTo>
                <a:cubicBezTo>
                  <a:pt x="5180472" y="510494"/>
                  <a:pt x="5202256" y="488709"/>
                  <a:pt x="5229122" y="488709"/>
                </a:cubicBezTo>
                <a:close/>
                <a:moveTo>
                  <a:pt x="5383074" y="486166"/>
                </a:moveTo>
                <a:cubicBezTo>
                  <a:pt x="5411396" y="486166"/>
                  <a:pt x="5434268" y="509041"/>
                  <a:pt x="5434268" y="537360"/>
                </a:cubicBezTo>
                <a:cubicBezTo>
                  <a:pt x="5434268" y="565682"/>
                  <a:pt x="5411396" y="588554"/>
                  <a:pt x="5383074" y="588554"/>
                </a:cubicBezTo>
                <a:cubicBezTo>
                  <a:pt x="5354755" y="588554"/>
                  <a:pt x="5331880" y="565682"/>
                  <a:pt x="5331880" y="537360"/>
                </a:cubicBezTo>
                <a:cubicBezTo>
                  <a:pt x="5331880" y="509041"/>
                  <a:pt x="5354755" y="486166"/>
                  <a:pt x="5383074" y="486166"/>
                </a:cubicBezTo>
                <a:close/>
                <a:moveTo>
                  <a:pt x="5536659" y="483624"/>
                </a:moveTo>
                <a:cubicBezTo>
                  <a:pt x="5566068" y="483624"/>
                  <a:pt x="5590034" y="507585"/>
                  <a:pt x="5590034" y="536998"/>
                </a:cubicBezTo>
                <a:cubicBezTo>
                  <a:pt x="5590034" y="566407"/>
                  <a:pt x="5566068" y="590372"/>
                  <a:pt x="5536659" y="590372"/>
                </a:cubicBezTo>
                <a:cubicBezTo>
                  <a:pt x="5507250" y="590372"/>
                  <a:pt x="5483285" y="566407"/>
                  <a:pt x="5483285" y="536998"/>
                </a:cubicBezTo>
                <a:cubicBezTo>
                  <a:pt x="5483285" y="507585"/>
                  <a:pt x="5507250" y="483624"/>
                  <a:pt x="5536659" y="483624"/>
                </a:cubicBezTo>
                <a:close/>
                <a:moveTo>
                  <a:pt x="5690606" y="481085"/>
                </a:moveTo>
                <a:cubicBezTo>
                  <a:pt x="5721830" y="481085"/>
                  <a:pt x="5746882" y="506137"/>
                  <a:pt x="5746882" y="537364"/>
                </a:cubicBezTo>
                <a:cubicBezTo>
                  <a:pt x="5746882" y="568587"/>
                  <a:pt x="5721830" y="593643"/>
                  <a:pt x="5690606" y="593643"/>
                </a:cubicBezTo>
                <a:cubicBezTo>
                  <a:pt x="5659380" y="593643"/>
                  <a:pt x="5634328" y="568587"/>
                  <a:pt x="5634328" y="537364"/>
                </a:cubicBezTo>
                <a:cubicBezTo>
                  <a:pt x="5634328" y="506137"/>
                  <a:pt x="5659380" y="481085"/>
                  <a:pt x="5690606" y="481085"/>
                </a:cubicBezTo>
                <a:close/>
                <a:moveTo>
                  <a:pt x="5844554" y="478542"/>
                </a:moveTo>
                <a:cubicBezTo>
                  <a:pt x="5877039" y="478542"/>
                  <a:pt x="5903372" y="504875"/>
                  <a:pt x="5903372" y="537364"/>
                </a:cubicBezTo>
                <a:cubicBezTo>
                  <a:pt x="5903372" y="569849"/>
                  <a:pt x="5877039" y="596181"/>
                  <a:pt x="5844554" y="596181"/>
                </a:cubicBezTo>
                <a:cubicBezTo>
                  <a:pt x="5812065" y="596181"/>
                  <a:pt x="5785732" y="569849"/>
                  <a:pt x="5785732" y="537364"/>
                </a:cubicBezTo>
                <a:cubicBezTo>
                  <a:pt x="5785732" y="504875"/>
                  <a:pt x="5812065" y="478542"/>
                  <a:pt x="5844554" y="478542"/>
                </a:cubicBezTo>
                <a:close/>
                <a:moveTo>
                  <a:pt x="5998136" y="475638"/>
                </a:moveTo>
                <a:cubicBezTo>
                  <a:pt x="6032225" y="475638"/>
                  <a:pt x="6059862" y="503274"/>
                  <a:pt x="6059862" y="537364"/>
                </a:cubicBezTo>
                <a:cubicBezTo>
                  <a:pt x="6059862" y="571450"/>
                  <a:pt x="6032225" y="599086"/>
                  <a:pt x="5998136" y="599086"/>
                </a:cubicBezTo>
                <a:cubicBezTo>
                  <a:pt x="5964046" y="599086"/>
                  <a:pt x="5936413" y="571450"/>
                  <a:pt x="5936413" y="537364"/>
                </a:cubicBezTo>
                <a:cubicBezTo>
                  <a:pt x="5936413" y="503274"/>
                  <a:pt x="5964046" y="475638"/>
                  <a:pt x="5998136" y="475638"/>
                </a:cubicBezTo>
                <a:close/>
                <a:moveTo>
                  <a:pt x="6152083" y="473095"/>
                </a:moveTo>
                <a:cubicBezTo>
                  <a:pt x="6187576" y="473095"/>
                  <a:pt x="6216348" y="501867"/>
                  <a:pt x="6216348" y="537360"/>
                </a:cubicBezTo>
                <a:cubicBezTo>
                  <a:pt x="6216348" y="572852"/>
                  <a:pt x="6187576" y="601625"/>
                  <a:pt x="6152083" y="601625"/>
                </a:cubicBezTo>
                <a:cubicBezTo>
                  <a:pt x="6116590" y="601625"/>
                  <a:pt x="6087818" y="572852"/>
                  <a:pt x="6087818" y="537360"/>
                </a:cubicBezTo>
                <a:cubicBezTo>
                  <a:pt x="6087818" y="501867"/>
                  <a:pt x="6116590" y="473095"/>
                  <a:pt x="6152083" y="473095"/>
                </a:cubicBezTo>
                <a:close/>
                <a:moveTo>
                  <a:pt x="6305672" y="469828"/>
                </a:moveTo>
                <a:cubicBezTo>
                  <a:pt x="6342968" y="469828"/>
                  <a:pt x="6373204" y="500064"/>
                  <a:pt x="6373204" y="537364"/>
                </a:cubicBezTo>
                <a:cubicBezTo>
                  <a:pt x="6373204" y="574659"/>
                  <a:pt x="6342968" y="604895"/>
                  <a:pt x="6305672" y="604895"/>
                </a:cubicBezTo>
                <a:cubicBezTo>
                  <a:pt x="6268372" y="604895"/>
                  <a:pt x="6238136" y="574659"/>
                  <a:pt x="6238136" y="537364"/>
                </a:cubicBezTo>
                <a:cubicBezTo>
                  <a:pt x="6238136" y="500064"/>
                  <a:pt x="6268372" y="469828"/>
                  <a:pt x="6305672" y="469828"/>
                </a:cubicBezTo>
                <a:close/>
                <a:moveTo>
                  <a:pt x="6459616" y="467286"/>
                </a:moveTo>
                <a:cubicBezTo>
                  <a:pt x="6498318" y="467286"/>
                  <a:pt x="6529694" y="498658"/>
                  <a:pt x="6529694" y="537360"/>
                </a:cubicBezTo>
                <a:cubicBezTo>
                  <a:pt x="6529694" y="576062"/>
                  <a:pt x="6498318" y="607434"/>
                  <a:pt x="6459616" y="607434"/>
                </a:cubicBezTo>
                <a:cubicBezTo>
                  <a:pt x="6420913" y="607434"/>
                  <a:pt x="6389542" y="576062"/>
                  <a:pt x="6389542" y="537360"/>
                </a:cubicBezTo>
                <a:cubicBezTo>
                  <a:pt x="6389542" y="498658"/>
                  <a:pt x="6420913" y="467286"/>
                  <a:pt x="6459616" y="467286"/>
                </a:cubicBezTo>
                <a:close/>
                <a:moveTo>
                  <a:pt x="6613200" y="464381"/>
                </a:moveTo>
                <a:cubicBezTo>
                  <a:pt x="6653508" y="464381"/>
                  <a:pt x="6686180" y="497057"/>
                  <a:pt x="6686180" y="537360"/>
                </a:cubicBezTo>
                <a:cubicBezTo>
                  <a:pt x="6686180" y="577667"/>
                  <a:pt x="6653508" y="610339"/>
                  <a:pt x="6613200" y="610339"/>
                </a:cubicBezTo>
                <a:cubicBezTo>
                  <a:pt x="6572894" y="610339"/>
                  <a:pt x="6540222" y="577667"/>
                  <a:pt x="6540222" y="537360"/>
                </a:cubicBezTo>
                <a:cubicBezTo>
                  <a:pt x="6540222" y="497057"/>
                  <a:pt x="6572894" y="464381"/>
                  <a:pt x="6613200" y="464381"/>
                </a:cubicBezTo>
                <a:close/>
                <a:moveTo>
                  <a:pt x="1077266" y="383050"/>
                </a:moveTo>
                <a:cubicBezTo>
                  <a:pt x="1077468" y="383050"/>
                  <a:pt x="1077628" y="383214"/>
                  <a:pt x="1077628" y="383412"/>
                </a:cubicBezTo>
                <a:cubicBezTo>
                  <a:pt x="1077628" y="383614"/>
                  <a:pt x="1077468" y="383778"/>
                  <a:pt x="1077266" y="383778"/>
                </a:cubicBezTo>
                <a:cubicBezTo>
                  <a:pt x="1077068" y="383778"/>
                  <a:pt x="1076904" y="383614"/>
                  <a:pt x="1076904" y="383412"/>
                </a:cubicBezTo>
                <a:cubicBezTo>
                  <a:pt x="1076904" y="383214"/>
                  <a:pt x="1077068" y="383050"/>
                  <a:pt x="1077266" y="383050"/>
                </a:cubicBezTo>
                <a:close/>
                <a:moveTo>
                  <a:pt x="616148" y="383050"/>
                </a:moveTo>
                <a:cubicBezTo>
                  <a:pt x="616514" y="383050"/>
                  <a:pt x="616514" y="383050"/>
                  <a:pt x="616514" y="383412"/>
                </a:cubicBezTo>
                <a:cubicBezTo>
                  <a:pt x="616514" y="383775"/>
                  <a:pt x="616148" y="383775"/>
                  <a:pt x="616148" y="383775"/>
                </a:cubicBezTo>
                <a:cubicBezTo>
                  <a:pt x="615786" y="383775"/>
                  <a:pt x="615786" y="383775"/>
                  <a:pt x="615786" y="383412"/>
                </a:cubicBezTo>
                <a:cubicBezTo>
                  <a:pt x="615786" y="383050"/>
                  <a:pt x="615786" y="383050"/>
                  <a:pt x="616148" y="383050"/>
                </a:cubicBezTo>
                <a:close/>
                <a:moveTo>
                  <a:pt x="462205" y="383050"/>
                </a:moveTo>
                <a:cubicBezTo>
                  <a:pt x="462567" y="383050"/>
                  <a:pt x="462567" y="383050"/>
                  <a:pt x="462567" y="383412"/>
                </a:cubicBezTo>
                <a:cubicBezTo>
                  <a:pt x="462567" y="383775"/>
                  <a:pt x="462205" y="383775"/>
                  <a:pt x="462205" y="383775"/>
                </a:cubicBezTo>
                <a:cubicBezTo>
                  <a:pt x="461842" y="383775"/>
                  <a:pt x="461842" y="383775"/>
                  <a:pt x="461842" y="383412"/>
                </a:cubicBezTo>
                <a:cubicBezTo>
                  <a:pt x="461842" y="383050"/>
                  <a:pt x="461842" y="383050"/>
                  <a:pt x="462205" y="383050"/>
                </a:cubicBezTo>
                <a:close/>
                <a:moveTo>
                  <a:pt x="308623" y="382688"/>
                </a:moveTo>
                <a:cubicBezTo>
                  <a:pt x="309023" y="382688"/>
                  <a:pt x="309347" y="383012"/>
                  <a:pt x="309347" y="383416"/>
                </a:cubicBezTo>
                <a:cubicBezTo>
                  <a:pt x="309347" y="383817"/>
                  <a:pt x="309023" y="384141"/>
                  <a:pt x="308623" y="384141"/>
                </a:cubicBezTo>
                <a:cubicBezTo>
                  <a:pt x="308219" y="384141"/>
                  <a:pt x="307895" y="383817"/>
                  <a:pt x="307895" y="383416"/>
                </a:cubicBezTo>
                <a:cubicBezTo>
                  <a:pt x="307895" y="383012"/>
                  <a:pt x="308219" y="382688"/>
                  <a:pt x="308623" y="382688"/>
                </a:cubicBezTo>
                <a:close/>
                <a:moveTo>
                  <a:pt x="1231213" y="381964"/>
                </a:moveTo>
                <a:cubicBezTo>
                  <a:pt x="1232014" y="381964"/>
                  <a:pt x="1232666" y="382616"/>
                  <a:pt x="1232666" y="383416"/>
                </a:cubicBezTo>
                <a:cubicBezTo>
                  <a:pt x="1232666" y="384217"/>
                  <a:pt x="1232014" y="384869"/>
                  <a:pt x="1231213" y="384869"/>
                </a:cubicBezTo>
                <a:cubicBezTo>
                  <a:pt x="1230409" y="384869"/>
                  <a:pt x="1229761" y="384217"/>
                  <a:pt x="1229761" y="383416"/>
                </a:cubicBezTo>
                <a:cubicBezTo>
                  <a:pt x="1229761" y="382616"/>
                  <a:pt x="1230409" y="381964"/>
                  <a:pt x="1231213" y="381964"/>
                </a:cubicBezTo>
                <a:close/>
                <a:moveTo>
                  <a:pt x="154672" y="381964"/>
                </a:moveTo>
                <a:cubicBezTo>
                  <a:pt x="155396" y="381964"/>
                  <a:pt x="156124" y="382688"/>
                  <a:pt x="156124" y="383416"/>
                </a:cubicBezTo>
                <a:lnTo>
                  <a:pt x="155343" y="384197"/>
                </a:lnTo>
                <a:lnTo>
                  <a:pt x="153884" y="382752"/>
                </a:lnTo>
                <a:close/>
                <a:moveTo>
                  <a:pt x="1384799" y="381236"/>
                </a:moveTo>
                <a:cubicBezTo>
                  <a:pt x="1386003" y="381236"/>
                  <a:pt x="1386979" y="382212"/>
                  <a:pt x="1386979" y="383416"/>
                </a:cubicBezTo>
                <a:cubicBezTo>
                  <a:pt x="1386979" y="384617"/>
                  <a:pt x="1386003" y="385593"/>
                  <a:pt x="1384799" y="385593"/>
                </a:cubicBezTo>
                <a:cubicBezTo>
                  <a:pt x="1383598" y="385593"/>
                  <a:pt x="1382622" y="384617"/>
                  <a:pt x="1382622" y="383416"/>
                </a:cubicBezTo>
                <a:cubicBezTo>
                  <a:pt x="1382622" y="382212"/>
                  <a:pt x="1383598" y="381236"/>
                  <a:pt x="1384799" y="381236"/>
                </a:cubicBezTo>
                <a:close/>
                <a:moveTo>
                  <a:pt x="1538746" y="380508"/>
                </a:moveTo>
                <a:cubicBezTo>
                  <a:pt x="1540561" y="380508"/>
                  <a:pt x="1542013" y="381960"/>
                  <a:pt x="1542013" y="383775"/>
                </a:cubicBezTo>
                <a:cubicBezTo>
                  <a:pt x="1542013" y="385593"/>
                  <a:pt x="1540561" y="387045"/>
                  <a:pt x="1538746" y="387045"/>
                </a:cubicBezTo>
                <a:cubicBezTo>
                  <a:pt x="1536932" y="387045"/>
                  <a:pt x="1535479" y="385593"/>
                  <a:pt x="1535479" y="383775"/>
                </a:cubicBezTo>
                <a:cubicBezTo>
                  <a:pt x="1535479" y="381960"/>
                  <a:pt x="1536932" y="380508"/>
                  <a:pt x="1538746" y="380508"/>
                </a:cubicBezTo>
                <a:close/>
                <a:moveTo>
                  <a:pt x="1692331" y="379055"/>
                </a:moveTo>
                <a:cubicBezTo>
                  <a:pt x="1694874" y="379055"/>
                  <a:pt x="1696688" y="380870"/>
                  <a:pt x="1696688" y="383412"/>
                </a:cubicBezTo>
                <a:cubicBezTo>
                  <a:pt x="1696688" y="385955"/>
                  <a:pt x="1694508" y="387770"/>
                  <a:pt x="1692331" y="387770"/>
                </a:cubicBezTo>
                <a:cubicBezTo>
                  <a:pt x="1689789" y="387770"/>
                  <a:pt x="1687974" y="385955"/>
                  <a:pt x="1687974" y="383412"/>
                </a:cubicBezTo>
                <a:cubicBezTo>
                  <a:pt x="1687974" y="380870"/>
                  <a:pt x="1689789" y="379055"/>
                  <a:pt x="1692331" y="379055"/>
                </a:cubicBezTo>
                <a:close/>
                <a:moveTo>
                  <a:pt x="1846279" y="377607"/>
                </a:moveTo>
                <a:cubicBezTo>
                  <a:pt x="1849488" y="377607"/>
                  <a:pt x="1852088" y="380207"/>
                  <a:pt x="1852088" y="383416"/>
                </a:cubicBezTo>
                <a:cubicBezTo>
                  <a:pt x="1852088" y="386626"/>
                  <a:pt x="1849488" y="389226"/>
                  <a:pt x="1846279" y="389226"/>
                </a:cubicBezTo>
                <a:cubicBezTo>
                  <a:pt x="1843069" y="389226"/>
                  <a:pt x="1840469" y="386626"/>
                  <a:pt x="1840469" y="383416"/>
                </a:cubicBezTo>
                <a:cubicBezTo>
                  <a:pt x="1840469" y="380207"/>
                  <a:pt x="1843069" y="377607"/>
                  <a:pt x="1846279" y="377607"/>
                </a:cubicBezTo>
                <a:close/>
                <a:moveTo>
                  <a:pt x="1999864" y="376151"/>
                </a:moveTo>
                <a:cubicBezTo>
                  <a:pt x="2003859" y="376151"/>
                  <a:pt x="2007126" y="379418"/>
                  <a:pt x="2007126" y="383412"/>
                </a:cubicBezTo>
                <a:cubicBezTo>
                  <a:pt x="2007126" y="387407"/>
                  <a:pt x="2003859" y="390674"/>
                  <a:pt x="1999864" y="390674"/>
                </a:cubicBezTo>
                <a:cubicBezTo>
                  <a:pt x="1995869" y="390674"/>
                  <a:pt x="1992602" y="387407"/>
                  <a:pt x="1992602" y="383412"/>
                </a:cubicBezTo>
                <a:cubicBezTo>
                  <a:pt x="1992602" y="379418"/>
                  <a:pt x="1995869" y="376151"/>
                  <a:pt x="1999864" y="376151"/>
                </a:cubicBezTo>
                <a:close/>
                <a:moveTo>
                  <a:pt x="2153808" y="374336"/>
                </a:moveTo>
                <a:cubicBezTo>
                  <a:pt x="2158893" y="374336"/>
                  <a:pt x="2162888" y="378331"/>
                  <a:pt x="2162888" y="383412"/>
                </a:cubicBezTo>
                <a:cubicBezTo>
                  <a:pt x="2162888" y="388498"/>
                  <a:pt x="2158893" y="392492"/>
                  <a:pt x="2153808" y="392492"/>
                </a:cubicBezTo>
                <a:cubicBezTo>
                  <a:pt x="2148726" y="392492"/>
                  <a:pt x="2144731" y="388498"/>
                  <a:pt x="2144731" y="383412"/>
                </a:cubicBezTo>
                <a:cubicBezTo>
                  <a:pt x="2144731" y="378331"/>
                  <a:pt x="2148726" y="374336"/>
                  <a:pt x="2153808" y="374336"/>
                </a:cubicBezTo>
                <a:close/>
                <a:moveTo>
                  <a:pt x="2307393" y="373246"/>
                </a:moveTo>
                <a:cubicBezTo>
                  <a:pt x="2312840" y="373246"/>
                  <a:pt x="2317559" y="377965"/>
                  <a:pt x="2317559" y="383412"/>
                </a:cubicBezTo>
                <a:cubicBezTo>
                  <a:pt x="2317559" y="388860"/>
                  <a:pt x="2313202" y="393579"/>
                  <a:pt x="2307393" y="393579"/>
                </a:cubicBezTo>
                <a:cubicBezTo>
                  <a:pt x="2301946" y="393579"/>
                  <a:pt x="2297226" y="388860"/>
                  <a:pt x="2297226" y="383412"/>
                </a:cubicBezTo>
                <a:cubicBezTo>
                  <a:pt x="2297226" y="377965"/>
                  <a:pt x="2301946" y="373246"/>
                  <a:pt x="2307393" y="373246"/>
                </a:cubicBezTo>
                <a:close/>
                <a:moveTo>
                  <a:pt x="2461340" y="371432"/>
                </a:moveTo>
                <a:cubicBezTo>
                  <a:pt x="2467878" y="371432"/>
                  <a:pt x="2473325" y="376879"/>
                  <a:pt x="2473325" y="383412"/>
                </a:cubicBezTo>
                <a:cubicBezTo>
                  <a:pt x="2473325" y="389950"/>
                  <a:pt x="2467878" y="395397"/>
                  <a:pt x="2461340" y="395397"/>
                </a:cubicBezTo>
                <a:cubicBezTo>
                  <a:pt x="2454807" y="395397"/>
                  <a:pt x="2449359" y="389950"/>
                  <a:pt x="2449359" y="383412"/>
                </a:cubicBezTo>
                <a:cubicBezTo>
                  <a:pt x="2449359" y="376879"/>
                  <a:pt x="2454807" y="371432"/>
                  <a:pt x="2461340" y="371432"/>
                </a:cubicBezTo>
                <a:close/>
                <a:moveTo>
                  <a:pt x="2614925" y="369617"/>
                </a:moveTo>
                <a:cubicBezTo>
                  <a:pt x="2622549" y="369617"/>
                  <a:pt x="2628721" y="375789"/>
                  <a:pt x="2628721" y="383416"/>
                </a:cubicBezTo>
                <a:cubicBezTo>
                  <a:pt x="2628721" y="391040"/>
                  <a:pt x="2622549" y="397212"/>
                  <a:pt x="2614925" y="397212"/>
                </a:cubicBezTo>
                <a:cubicBezTo>
                  <a:pt x="2607298" y="397212"/>
                  <a:pt x="2601126" y="391040"/>
                  <a:pt x="2601126" y="383416"/>
                </a:cubicBezTo>
                <a:cubicBezTo>
                  <a:pt x="2601126" y="375789"/>
                  <a:pt x="2607298" y="369617"/>
                  <a:pt x="2614925" y="369617"/>
                </a:cubicBezTo>
                <a:close/>
                <a:moveTo>
                  <a:pt x="2768873" y="368165"/>
                </a:moveTo>
                <a:cubicBezTo>
                  <a:pt x="2777297" y="368165"/>
                  <a:pt x="2784124" y="374992"/>
                  <a:pt x="2784124" y="383416"/>
                </a:cubicBezTo>
                <a:cubicBezTo>
                  <a:pt x="2784124" y="391837"/>
                  <a:pt x="2777297" y="398664"/>
                  <a:pt x="2768873" y="398664"/>
                </a:cubicBezTo>
                <a:cubicBezTo>
                  <a:pt x="2760452" y="398664"/>
                  <a:pt x="2753625" y="391837"/>
                  <a:pt x="2753625" y="383416"/>
                </a:cubicBezTo>
                <a:cubicBezTo>
                  <a:pt x="2753625" y="374992"/>
                  <a:pt x="2760452" y="368165"/>
                  <a:pt x="2768873" y="368165"/>
                </a:cubicBezTo>
                <a:close/>
                <a:moveTo>
                  <a:pt x="2922458" y="366350"/>
                </a:moveTo>
                <a:cubicBezTo>
                  <a:pt x="2931896" y="366350"/>
                  <a:pt x="2939524" y="373974"/>
                  <a:pt x="2939524" y="383416"/>
                </a:cubicBezTo>
                <a:cubicBezTo>
                  <a:pt x="2939524" y="392854"/>
                  <a:pt x="2931896" y="400478"/>
                  <a:pt x="2922458" y="400478"/>
                </a:cubicBezTo>
                <a:cubicBezTo>
                  <a:pt x="2913016" y="400478"/>
                  <a:pt x="2905392" y="392854"/>
                  <a:pt x="2905392" y="383416"/>
                </a:cubicBezTo>
                <a:cubicBezTo>
                  <a:pt x="2905392" y="373974"/>
                  <a:pt x="2913016" y="366350"/>
                  <a:pt x="2922458" y="366350"/>
                </a:cubicBezTo>
                <a:close/>
                <a:moveTo>
                  <a:pt x="3076406" y="364170"/>
                </a:moveTo>
                <a:cubicBezTo>
                  <a:pt x="3087037" y="364170"/>
                  <a:pt x="3095652" y="372785"/>
                  <a:pt x="3095652" y="383412"/>
                </a:cubicBezTo>
                <a:cubicBezTo>
                  <a:pt x="3095652" y="394040"/>
                  <a:pt x="3087037" y="402659"/>
                  <a:pt x="3076406" y="402659"/>
                </a:cubicBezTo>
                <a:cubicBezTo>
                  <a:pt x="3065778" y="402659"/>
                  <a:pt x="3057163" y="394040"/>
                  <a:pt x="3057163" y="383412"/>
                </a:cubicBezTo>
                <a:cubicBezTo>
                  <a:pt x="3057163" y="372785"/>
                  <a:pt x="3065778" y="364170"/>
                  <a:pt x="3076406" y="364170"/>
                </a:cubicBezTo>
                <a:close/>
                <a:moveTo>
                  <a:pt x="3230353" y="361993"/>
                </a:moveTo>
                <a:cubicBezTo>
                  <a:pt x="3242181" y="361993"/>
                  <a:pt x="3251776" y="371584"/>
                  <a:pt x="3251776" y="383416"/>
                </a:cubicBezTo>
                <a:cubicBezTo>
                  <a:pt x="3251776" y="395245"/>
                  <a:pt x="3242181" y="404839"/>
                  <a:pt x="3230353" y="404839"/>
                </a:cubicBezTo>
                <a:cubicBezTo>
                  <a:pt x="3218521" y="404839"/>
                  <a:pt x="3208930" y="395245"/>
                  <a:pt x="3208930" y="383416"/>
                </a:cubicBezTo>
                <a:cubicBezTo>
                  <a:pt x="3208930" y="371584"/>
                  <a:pt x="3218521" y="361993"/>
                  <a:pt x="3230353" y="361993"/>
                </a:cubicBezTo>
                <a:close/>
                <a:moveTo>
                  <a:pt x="3383938" y="360541"/>
                </a:moveTo>
                <a:cubicBezTo>
                  <a:pt x="3396571" y="360541"/>
                  <a:pt x="3406810" y="370784"/>
                  <a:pt x="3406810" y="383416"/>
                </a:cubicBezTo>
                <a:cubicBezTo>
                  <a:pt x="3406810" y="396049"/>
                  <a:pt x="3396571" y="406292"/>
                  <a:pt x="3383938" y="406292"/>
                </a:cubicBezTo>
                <a:cubicBezTo>
                  <a:pt x="3371306" y="406292"/>
                  <a:pt x="3361063" y="396049"/>
                  <a:pt x="3361063" y="383416"/>
                </a:cubicBezTo>
                <a:cubicBezTo>
                  <a:pt x="3361063" y="370784"/>
                  <a:pt x="3371306" y="360541"/>
                  <a:pt x="3383938" y="360541"/>
                </a:cubicBezTo>
                <a:close/>
                <a:moveTo>
                  <a:pt x="3537882" y="358361"/>
                </a:moveTo>
                <a:cubicBezTo>
                  <a:pt x="3551719" y="358361"/>
                  <a:pt x="3562937" y="369579"/>
                  <a:pt x="3562937" y="383412"/>
                </a:cubicBezTo>
                <a:cubicBezTo>
                  <a:pt x="3562937" y="397250"/>
                  <a:pt x="3551719" y="408468"/>
                  <a:pt x="3537882" y="408468"/>
                </a:cubicBezTo>
                <a:cubicBezTo>
                  <a:pt x="3524048" y="408468"/>
                  <a:pt x="3512830" y="397250"/>
                  <a:pt x="3512830" y="383412"/>
                </a:cubicBezTo>
                <a:cubicBezTo>
                  <a:pt x="3512830" y="369575"/>
                  <a:pt x="3524048" y="358361"/>
                  <a:pt x="3537882" y="358361"/>
                </a:cubicBezTo>
                <a:close/>
                <a:moveTo>
                  <a:pt x="3691471" y="356184"/>
                </a:moveTo>
                <a:cubicBezTo>
                  <a:pt x="3706509" y="356184"/>
                  <a:pt x="3718699" y="368374"/>
                  <a:pt x="3718699" y="383416"/>
                </a:cubicBezTo>
                <a:cubicBezTo>
                  <a:pt x="3718699" y="398454"/>
                  <a:pt x="3706509" y="410648"/>
                  <a:pt x="3691471" y="410648"/>
                </a:cubicBezTo>
                <a:cubicBezTo>
                  <a:pt x="3676429" y="410648"/>
                  <a:pt x="3664238" y="398454"/>
                  <a:pt x="3664238" y="383416"/>
                </a:cubicBezTo>
                <a:cubicBezTo>
                  <a:pt x="3664238" y="368374"/>
                  <a:pt x="3676429" y="356184"/>
                  <a:pt x="3691471" y="356184"/>
                </a:cubicBezTo>
                <a:close/>
                <a:moveTo>
                  <a:pt x="3845418" y="353642"/>
                </a:moveTo>
                <a:cubicBezTo>
                  <a:pt x="3861859" y="353642"/>
                  <a:pt x="3875189" y="366972"/>
                  <a:pt x="3875189" y="383416"/>
                </a:cubicBezTo>
                <a:cubicBezTo>
                  <a:pt x="3875189" y="399857"/>
                  <a:pt x="3861859" y="413187"/>
                  <a:pt x="3845418" y="413187"/>
                </a:cubicBezTo>
                <a:cubicBezTo>
                  <a:pt x="3828974" y="413187"/>
                  <a:pt x="3815644" y="399857"/>
                  <a:pt x="3815644" y="383416"/>
                </a:cubicBezTo>
                <a:cubicBezTo>
                  <a:pt x="3815644" y="366972"/>
                  <a:pt x="3828974" y="353642"/>
                  <a:pt x="3845418" y="353642"/>
                </a:cubicBezTo>
                <a:close/>
                <a:moveTo>
                  <a:pt x="3999000" y="351465"/>
                </a:moveTo>
                <a:cubicBezTo>
                  <a:pt x="4016645" y="351465"/>
                  <a:pt x="4030951" y="365771"/>
                  <a:pt x="4030951" y="383416"/>
                </a:cubicBezTo>
                <a:cubicBezTo>
                  <a:pt x="4030951" y="401062"/>
                  <a:pt x="4016645" y="415368"/>
                  <a:pt x="3999000" y="415368"/>
                </a:cubicBezTo>
                <a:cubicBezTo>
                  <a:pt x="3981354" y="415368"/>
                  <a:pt x="3967048" y="401062"/>
                  <a:pt x="3967048" y="383416"/>
                </a:cubicBezTo>
                <a:cubicBezTo>
                  <a:pt x="3967048" y="365771"/>
                  <a:pt x="3981354" y="351465"/>
                  <a:pt x="3999000" y="351465"/>
                </a:cubicBezTo>
                <a:close/>
                <a:moveTo>
                  <a:pt x="4152947" y="349647"/>
                </a:moveTo>
                <a:cubicBezTo>
                  <a:pt x="4171595" y="349647"/>
                  <a:pt x="4186716" y="364765"/>
                  <a:pt x="4186716" y="383412"/>
                </a:cubicBezTo>
                <a:cubicBezTo>
                  <a:pt x="4186716" y="402064"/>
                  <a:pt x="4171595" y="417182"/>
                  <a:pt x="4152947" y="417182"/>
                </a:cubicBezTo>
                <a:cubicBezTo>
                  <a:pt x="4134299" y="417182"/>
                  <a:pt x="4119181" y="402064"/>
                  <a:pt x="4119181" y="383412"/>
                </a:cubicBezTo>
                <a:cubicBezTo>
                  <a:pt x="4119181" y="364765"/>
                  <a:pt x="4134299" y="349647"/>
                  <a:pt x="4152947" y="349647"/>
                </a:cubicBezTo>
                <a:close/>
                <a:moveTo>
                  <a:pt x="4306532" y="347108"/>
                </a:moveTo>
                <a:cubicBezTo>
                  <a:pt x="4326503" y="347108"/>
                  <a:pt x="4342840" y="363446"/>
                  <a:pt x="4342840" y="383416"/>
                </a:cubicBezTo>
                <a:cubicBezTo>
                  <a:pt x="4342840" y="403387"/>
                  <a:pt x="4326503" y="419725"/>
                  <a:pt x="4306532" y="419725"/>
                </a:cubicBezTo>
                <a:cubicBezTo>
                  <a:pt x="4286562" y="419725"/>
                  <a:pt x="4270224" y="403387"/>
                  <a:pt x="4270224" y="383416"/>
                </a:cubicBezTo>
                <a:cubicBezTo>
                  <a:pt x="4270224" y="363446"/>
                  <a:pt x="4286562" y="347108"/>
                  <a:pt x="4306532" y="347108"/>
                </a:cubicBezTo>
                <a:close/>
                <a:moveTo>
                  <a:pt x="4460480" y="344565"/>
                </a:moveTo>
                <a:cubicBezTo>
                  <a:pt x="4481902" y="344565"/>
                  <a:pt x="4499326" y="361993"/>
                  <a:pt x="4499326" y="383416"/>
                </a:cubicBezTo>
                <a:cubicBezTo>
                  <a:pt x="4499326" y="404835"/>
                  <a:pt x="4481902" y="422267"/>
                  <a:pt x="4460480" y="422267"/>
                </a:cubicBezTo>
                <a:cubicBezTo>
                  <a:pt x="4439057" y="422267"/>
                  <a:pt x="4421629" y="404835"/>
                  <a:pt x="4421629" y="383416"/>
                </a:cubicBezTo>
                <a:cubicBezTo>
                  <a:pt x="4421629" y="361993"/>
                  <a:pt x="4439057" y="344565"/>
                  <a:pt x="4460480" y="344565"/>
                </a:cubicBezTo>
                <a:close/>
                <a:moveTo>
                  <a:pt x="4614061" y="342385"/>
                </a:moveTo>
                <a:cubicBezTo>
                  <a:pt x="4636936" y="342385"/>
                  <a:pt x="4655092" y="360541"/>
                  <a:pt x="4655092" y="383412"/>
                </a:cubicBezTo>
                <a:cubicBezTo>
                  <a:pt x="4655092" y="406288"/>
                  <a:pt x="4636574" y="424440"/>
                  <a:pt x="4614061" y="424440"/>
                </a:cubicBezTo>
                <a:cubicBezTo>
                  <a:pt x="4591190" y="424440"/>
                  <a:pt x="4573034" y="406288"/>
                  <a:pt x="4573034" y="383412"/>
                </a:cubicBezTo>
                <a:cubicBezTo>
                  <a:pt x="4573034" y="360541"/>
                  <a:pt x="4591190" y="342385"/>
                  <a:pt x="4614061" y="342385"/>
                </a:cubicBezTo>
                <a:close/>
                <a:moveTo>
                  <a:pt x="4768008" y="339842"/>
                </a:moveTo>
                <a:cubicBezTo>
                  <a:pt x="4791974" y="339842"/>
                  <a:pt x="4811578" y="359447"/>
                  <a:pt x="4811578" y="383412"/>
                </a:cubicBezTo>
                <a:cubicBezTo>
                  <a:pt x="4811578" y="407378"/>
                  <a:pt x="4791974" y="426982"/>
                  <a:pt x="4768008" y="426982"/>
                </a:cubicBezTo>
                <a:cubicBezTo>
                  <a:pt x="4744047" y="426982"/>
                  <a:pt x="4724438" y="407378"/>
                  <a:pt x="4724438" y="383412"/>
                </a:cubicBezTo>
                <a:cubicBezTo>
                  <a:pt x="4724438" y="359447"/>
                  <a:pt x="4744047" y="339842"/>
                  <a:pt x="4768008" y="339842"/>
                </a:cubicBezTo>
                <a:close/>
                <a:moveTo>
                  <a:pt x="4921598" y="337304"/>
                </a:moveTo>
                <a:cubicBezTo>
                  <a:pt x="4947012" y="337304"/>
                  <a:pt x="4967710" y="357998"/>
                  <a:pt x="4967710" y="383416"/>
                </a:cubicBezTo>
                <a:cubicBezTo>
                  <a:pt x="4967710" y="408830"/>
                  <a:pt x="4947012" y="429529"/>
                  <a:pt x="4921598" y="429529"/>
                </a:cubicBezTo>
                <a:cubicBezTo>
                  <a:pt x="4896180" y="429529"/>
                  <a:pt x="4875485" y="408830"/>
                  <a:pt x="4875485" y="383416"/>
                </a:cubicBezTo>
                <a:cubicBezTo>
                  <a:pt x="4875485" y="357998"/>
                  <a:pt x="4896180" y="337304"/>
                  <a:pt x="4921598" y="337304"/>
                </a:cubicBezTo>
                <a:close/>
                <a:moveTo>
                  <a:pt x="5075545" y="334761"/>
                </a:moveTo>
                <a:cubicBezTo>
                  <a:pt x="5102412" y="334761"/>
                  <a:pt x="5124196" y="356546"/>
                  <a:pt x="5124196" y="383416"/>
                </a:cubicBezTo>
                <a:cubicBezTo>
                  <a:pt x="5124196" y="410283"/>
                  <a:pt x="5102412" y="432068"/>
                  <a:pt x="5075545" y="432068"/>
                </a:cubicBezTo>
                <a:cubicBezTo>
                  <a:pt x="5048675" y="432068"/>
                  <a:pt x="5026890" y="410283"/>
                  <a:pt x="5026890" y="383416"/>
                </a:cubicBezTo>
                <a:cubicBezTo>
                  <a:pt x="5026890" y="356546"/>
                  <a:pt x="5048675" y="334761"/>
                  <a:pt x="5075545" y="334761"/>
                </a:cubicBezTo>
                <a:close/>
                <a:moveTo>
                  <a:pt x="5229126" y="332219"/>
                </a:moveTo>
                <a:cubicBezTo>
                  <a:pt x="5257449" y="332219"/>
                  <a:pt x="5280324" y="355094"/>
                  <a:pt x="5280324" y="383412"/>
                </a:cubicBezTo>
                <a:cubicBezTo>
                  <a:pt x="5280324" y="411735"/>
                  <a:pt x="5257449" y="434610"/>
                  <a:pt x="5229126" y="434610"/>
                </a:cubicBezTo>
                <a:cubicBezTo>
                  <a:pt x="5200808" y="434610"/>
                  <a:pt x="5177932" y="411735"/>
                  <a:pt x="5177932" y="383412"/>
                </a:cubicBezTo>
                <a:cubicBezTo>
                  <a:pt x="5177932" y="355094"/>
                  <a:pt x="5200808" y="332219"/>
                  <a:pt x="5229126" y="332219"/>
                </a:cubicBezTo>
                <a:close/>
                <a:moveTo>
                  <a:pt x="5383074" y="330042"/>
                </a:moveTo>
                <a:cubicBezTo>
                  <a:pt x="5412482" y="330042"/>
                  <a:pt x="5436448" y="354004"/>
                  <a:pt x="5436448" y="383416"/>
                </a:cubicBezTo>
                <a:cubicBezTo>
                  <a:pt x="5436448" y="412825"/>
                  <a:pt x="5412482" y="436787"/>
                  <a:pt x="5383074" y="436787"/>
                </a:cubicBezTo>
                <a:cubicBezTo>
                  <a:pt x="5353661" y="436787"/>
                  <a:pt x="5329700" y="412825"/>
                  <a:pt x="5329700" y="383416"/>
                </a:cubicBezTo>
                <a:cubicBezTo>
                  <a:pt x="5329700" y="354004"/>
                  <a:pt x="5353661" y="330042"/>
                  <a:pt x="5383074" y="330042"/>
                </a:cubicBezTo>
                <a:close/>
                <a:moveTo>
                  <a:pt x="5536659" y="327137"/>
                </a:moveTo>
                <a:cubicBezTo>
                  <a:pt x="5567886" y="327137"/>
                  <a:pt x="5592938" y="352189"/>
                  <a:pt x="5592938" y="383416"/>
                </a:cubicBezTo>
                <a:cubicBezTo>
                  <a:pt x="5592938" y="414640"/>
                  <a:pt x="5567886" y="439691"/>
                  <a:pt x="5536659" y="439691"/>
                </a:cubicBezTo>
                <a:cubicBezTo>
                  <a:pt x="5505432" y="439691"/>
                  <a:pt x="5480380" y="414640"/>
                  <a:pt x="5480380" y="383416"/>
                </a:cubicBezTo>
                <a:cubicBezTo>
                  <a:pt x="5480380" y="352189"/>
                  <a:pt x="5505432" y="327137"/>
                  <a:pt x="5536659" y="327137"/>
                </a:cubicBezTo>
                <a:close/>
                <a:moveTo>
                  <a:pt x="5690606" y="324595"/>
                </a:moveTo>
                <a:cubicBezTo>
                  <a:pt x="5723092" y="324595"/>
                  <a:pt x="5749424" y="350927"/>
                  <a:pt x="5749424" y="383416"/>
                </a:cubicBezTo>
                <a:cubicBezTo>
                  <a:pt x="5749424" y="415901"/>
                  <a:pt x="5723092" y="442234"/>
                  <a:pt x="5690606" y="442234"/>
                </a:cubicBezTo>
                <a:cubicBezTo>
                  <a:pt x="5658118" y="442234"/>
                  <a:pt x="5631785" y="415901"/>
                  <a:pt x="5631785" y="383416"/>
                </a:cubicBezTo>
                <a:cubicBezTo>
                  <a:pt x="5631785" y="350927"/>
                  <a:pt x="5658118" y="324595"/>
                  <a:pt x="5690606" y="324595"/>
                </a:cubicBezTo>
                <a:close/>
                <a:moveTo>
                  <a:pt x="5844554" y="321690"/>
                </a:moveTo>
                <a:cubicBezTo>
                  <a:pt x="5878644" y="321690"/>
                  <a:pt x="5906276" y="349326"/>
                  <a:pt x="5906276" y="383416"/>
                </a:cubicBezTo>
                <a:cubicBezTo>
                  <a:pt x="5906276" y="417502"/>
                  <a:pt x="5878644" y="445139"/>
                  <a:pt x="5844554" y="445139"/>
                </a:cubicBezTo>
                <a:cubicBezTo>
                  <a:pt x="5810460" y="445139"/>
                  <a:pt x="5782828" y="417502"/>
                  <a:pt x="5782828" y="383416"/>
                </a:cubicBezTo>
                <a:cubicBezTo>
                  <a:pt x="5782828" y="349326"/>
                  <a:pt x="5810460" y="321690"/>
                  <a:pt x="5844554" y="321690"/>
                </a:cubicBezTo>
                <a:close/>
                <a:moveTo>
                  <a:pt x="5998136" y="319148"/>
                </a:moveTo>
                <a:cubicBezTo>
                  <a:pt x="6033628" y="319148"/>
                  <a:pt x="6062404" y="347920"/>
                  <a:pt x="6062404" y="383412"/>
                </a:cubicBezTo>
                <a:cubicBezTo>
                  <a:pt x="6062404" y="418905"/>
                  <a:pt x="6033628" y="447681"/>
                  <a:pt x="5998136" y="447681"/>
                </a:cubicBezTo>
                <a:cubicBezTo>
                  <a:pt x="5962643" y="447681"/>
                  <a:pt x="5933870" y="418905"/>
                  <a:pt x="5933870" y="383412"/>
                </a:cubicBezTo>
                <a:cubicBezTo>
                  <a:pt x="5933870" y="347920"/>
                  <a:pt x="5962643" y="319148"/>
                  <a:pt x="5998136" y="319148"/>
                </a:cubicBezTo>
                <a:close/>
                <a:moveTo>
                  <a:pt x="6152086" y="315881"/>
                </a:moveTo>
                <a:cubicBezTo>
                  <a:pt x="6189382" y="315881"/>
                  <a:pt x="6219618" y="346117"/>
                  <a:pt x="6219618" y="383416"/>
                </a:cubicBezTo>
                <a:cubicBezTo>
                  <a:pt x="6219618" y="420712"/>
                  <a:pt x="6189382" y="450948"/>
                  <a:pt x="6152086" y="450948"/>
                </a:cubicBezTo>
                <a:cubicBezTo>
                  <a:pt x="6114791" y="450948"/>
                  <a:pt x="6084551" y="420712"/>
                  <a:pt x="6084551" y="383416"/>
                </a:cubicBezTo>
                <a:cubicBezTo>
                  <a:pt x="6084551" y="346117"/>
                  <a:pt x="6114791" y="315881"/>
                  <a:pt x="6152086" y="315881"/>
                </a:cubicBezTo>
                <a:close/>
                <a:moveTo>
                  <a:pt x="6305668" y="313338"/>
                </a:moveTo>
                <a:cubicBezTo>
                  <a:pt x="6344370" y="313338"/>
                  <a:pt x="6375746" y="344710"/>
                  <a:pt x="6375746" y="383412"/>
                </a:cubicBezTo>
                <a:cubicBezTo>
                  <a:pt x="6375746" y="422115"/>
                  <a:pt x="6344370" y="453490"/>
                  <a:pt x="6305668" y="453490"/>
                </a:cubicBezTo>
                <a:cubicBezTo>
                  <a:pt x="6266970" y="453490"/>
                  <a:pt x="6235594" y="422115"/>
                  <a:pt x="6235594" y="383412"/>
                </a:cubicBezTo>
                <a:cubicBezTo>
                  <a:pt x="6235594" y="344710"/>
                  <a:pt x="6266970" y="313338"/>
                  <a:pt x="6305668" y="313338"/>
                </a:cubicBezTo>
                <a:close/>
                <a:moveTo>
                  <a:pt x="6459616" y="310434"/>
                </a:moveTo>
                <a:cubicBezTo>
                  <a:pt x="6499922" y="310434"/>
                  <a:pt x="6532598" y="343109"/>
                  <a:pt x="6532598" y="383412"/>
                </a:cubicBezTo>
                <a:cubicBezTo>
                  <a:pt x="6532598" y="423719"/>
                  <a:pt x="6499922" y="456395"/>
                  <a:pt x="6459616" y="456395"/>
                </a:cubicBezTo>
                <a:cubicBezTo>
                  <a:pt x="6419312" y="456395"/>
                  <a:pt x="6386636" y="423719"/>
                  <a:pt x="6386636" y="383412"/>
                </a:cubicBezTo>
                <a:cubicBezTo>
                  <a:pt x="6386636" y="343109"/>
                  <a:pt x="6419312" y="310434"/>
                  <a:pt x="6459616" y="310434"/>
                </a:cubicBezTo>
                <a:close/>
                <a:moveTo>
                  <a:pt x="6613200" y="307891"/>
                </a:moveTo>
                <a:cubicBezTo>
                  <a:pt x="6654956" y="307891"/>
                  <a:pt x="6688722" y="341657"/>
                  <a:pt x="6688722" y="383412"/>
                </a:cubicBezTo>
                <a:cubicBezTo>
                  <a:pt x="6688722" y="425168"/>
                  <a:pt x="6654956" y="458934"/>
                  <a:pt x="6613200" y="458934"/>
                </a:cubicBezTo>
                <a:cubicBezTo>
                  <a:pt x="6571449" y="458934"/>
                  <a:pt x="6537680" y="425168"/>
                  <a:pt x="6537680" y="383412"/>
                </a:cubicBezTo>
                <a:cubicBezTo>
                  <a:pt x="6537680" y="341657"/>
                  <a:pt x="6571449" y="307891"/>
                  <a:pt x="6613200" y="307891"/>
                </a:cubicBezTo>
                <a:close/>
                <a:moveTo>
                  <a:pt x="923681" y="229469"/>
                </a:moveTo>
                <a:cubicBezTo>
                  <a:pt x="924043" y="229469"/>
                  <a:pt x="924043" y="229469"/>
                  <a:pt x="924043" y="229831"/>
                </a:cubicBezTo>
                <a:cubicBezTo>
                  <a:pt x="924043" y="230193"/>
                  <a:pt x="923681" y="230193"/>
                  <a:pt x="923681" y="230193"/>
                </a:cubicBezTo>
                <a:cubicBezTo>
                  <a:pt x="923319" y="230193"/>
                  <a:pt x="923319" y="230193"/>
                  <a:pt x="923319" y="229831"/>
                </a:cubicBezTo>
                <a:cubicBezTo>
                  <a:pt x="923319" y="229469"/>
                  <a:pt x="923319" y="229469"/>
                  <a:pt x="923681" y="229469"/>
                </a:cubicBezTo>
                <a:close/>
                <a:moveTo>
                  <a:pt x="462205" y="229469"/>
                </a:moveTo>
                <a:cubicBezTo>
                  <a:pt x="462567" y="229469"/>
                  <a:pt x="462567" y="229469"/>
                  <a:pt x="462567" y="229831"/>
                </a:cubicBezTo>
                <a:cubicBezTo>
                  <a:pt x="462567" y="230193"/>
                  <a:pt x="462205" y="230193"/>
                  <a:pt x="462205" y="230193"/>
                </a:cubicBezTo>
                <a:cubicBezTo>
                  <a:pt x="461842" y="230193"/>
                  <a:pt x="461842" y="230193"/>
                  <a:pt x="461842" y="229831"/>
                </a:cubicBezTo>
                <a:cubicBezTo>
                  <a:pt x="461842" y="229469"/>
                  <a:pt x="461842" y="229469"/>
                  <a:pt x="462205" y="229469"/>
                </a:cubicBezTo>
                <a:close/>
                <a:moveTo>
                  <a:pt x="308257" y="229469"/>
                </a:moveTo>
                <a:cubicBezTo>
                  <a:pt x="308619" y="229469"/>
                  <a:pt x="308619" y="229469"/>
                  <a:pt x="308619" y="229831"/>
                </a:cubicBezTo>
                <a:cubicBezTo>
                  <a:pt x="308619" y="230193"/>
                  <a:pt x="308257" y="230193"/>
                  <a:pt x="308257" y="230193"/>
                </a:cubicBezTo>
                <a:cubicBezTo>
                  <a:pt x="307895" y="230193"/>
                  <a:pt x="307895" y="230193"/>
                  <a:pt x="307895" y="229831"/>
                </a:cubicBezTo>
                <a:cubicBezTo>
                  <a:pt x="307895" y="229469"/>
                  <a:pt x="307895" y="229469"/>
                  <a:pt x="308257" y="229469"/>
                </a:cubicBezTo>
                <a:close/>
                <a:moveTo>
                  <a:pt x="154676" y="229103"/>
                </a:moveTo>
                <a:cubicBezTo>
                  <a:pt x="155076" y="229103"/>
                  <a:pt x="155400" y="229427"/>
                  <a:pt x="155400" y="229827"/>
                </a:cubicBezTo>
                <a:cubicBezTo>
                  <a:pt x="155400" y="230231"/>
                  <a:pt x="155076" y="230555"/>
                  <a:pt x="154676" y="230555"/>
                </a:cubicBezTo>
                <a:cubicBezTo>
                  <a:pt x="154272" y="230555"/>
                  <a:pt x="153948" y="230231"/>
                  <a:pt x="153948" y="229827"/>
                </a:cubicBezTo>
                <a:cubicBezTo>
                  <a:pt x="153948" y="229427"/>
                  <a:pt x="154272" y="229103"/>
                  <a:pt x="154676" y="229103"/>
                </a:cubicBezTo>
                <a:close/>
                <a:moveTo>
                  <a:pt x="725" y="229103"/>
                </a:moveTo>
                <a:cubicBezTo>
                  <a:pt x="1090" y="229103"/>
                  <a:pt x="1453" y="229465"/>
                  <a:pt x="1453" y="229827"/>
                </a:cubicBezTo>
                <a:cubicBezTo>
                  <a:pt x="1453" y="230193"/>
                  <a:pt x="725" y="230555"/>
                  <a:pt x="725" y="230555"/>
                </a:cubicBezTo>
                <a:cubicBezTo>
                  <a:pt x="362" y="230555"/>
                  <a:pt x="0" y="230193"/>
                  <a:pt x="0" y="229827"/>
                </a:cubicBezTo>
                <a:cubicBezTo>
                  <a:pt x="0" y="229465"/>
                  <a:pt x="362" y="229103"/>
                  <a:pt x="725" y="229103"/>
                </a:cubicBezTo>
                <a:close/>
                <a:moveTo>
                  <a:pt x="1077266" y="228379"/>
                </a:moveTo>
                <a:cubicBezTo>
                  <a:pt x="1078067" y="228379"/>
                  <a:pt x="1078718" y="229031"/>
                  <a:pt x="1078718" y="229831"/>
                </a:cubicBezTo>
                <a:cubicBezTo>
                  <a:pt x="1078718" y="230631"/>
                  <a:pt x="1078067" y="231283"/>
                  <a:pt x="1077266" y="231283"/>
                </a:cubicBezTo>
                <a:cubicBezTo>
                  <a:pt x="1076462" y="231283"/>
                  <a:pt x="1075814" y="230631"/>
                  <a:pt x="1075814" y="229831"/>
                </a:cubicBezTo>
                <a:cubicBezTo>
                  <a:pt x="1075814" y="229031"/>
                  <a:pt x="1076462" y="228379"/>
                  <a:pt x="1077266" y="228379"/>
                </a:cubicBezTo>
                <a:close/>
                <a:moveTo>
                  <a:pt x="1231217" y="227651"/>
                </a:moveTo>
                <a:cubicBezTo>
                  <a:pt x="1232418" y="227651"/>
                  <a:pt x="1233394" y="228626"/>
                  <a:pt x="1233394" y="229827"/>
                </a:cubicBezTo>
                <a:cubicBezTo>
                  <a:pt x="1233394" y="231032"/>
                  <a:pt x="1232418" y="232008"/>
                  <a:pt x="1231217" y="232008"/>
                </a:cubicBezTo>
                <a:cubicBezTo>
                  <a:pt x="1230013" y="232008"/>
                  <a:pt x="1229037" y="231032"/>
                  <a:pt x="1229037" y="229827"/>
                </a:cubicBezTo>
                <a:cubicBezTo>
                  <a:pt x="1229037" y="228626"/>
                  <a:pt x="1230013" y="227651"/>
                  <a:pt x="1231217" y="227651"/>
                </a:cubicBezTo>
                <a:close/>
                <a:moveTo>
                  <a:pt x="1384799" y="226560"/>
                </a:moveTo>
                <a:cubicBezTo>
                  <a:pt x="1386617" y="226560"/>
                  <a:pt x="1388069" y="228013"/>
                  <a:pt x="1388069" y="229827"/>
                </a:cubicBezTo>
                <a:cubicBezTo>
                  <a:pt x="1388069" y="231645"/>
                  <a:pt x="1386617" y="233098"/>
                  <a:pt x="1384799" y="233098"/>
                </a:cubicBezTo>
                <a:cubicBezTo>
                  <a:pt x="1382984" y="233098"/>
                  <a:pt x="1381532" y="231645"/>
                  <a:pt x="1381532" y="229827"/>
                </a:cubicBezTo>
                <a:cubicBezTo>
                  <a:pt x="1381532" y="228013"/>
                  <a:pt x="1382984" y="226560"/>
                  <a:pt x="1384799" y="226560"/>
                </a:cubicBezTo>
                <a:close/>
                <a:moveTo>
                  <a:pt x="1538746" y="225108"/>
                </a:moveTo>
                <a:cubicBezTo>
                  <a:pt x="1541285" y="225108"/>
                  <a:pt x="1543103" y="226923"/>
                  <a:pt x="1543103" y="229465"/>
                </a:cubicBezTo>
                <a:cubicBezTo>
                  <a:pt x="1543103" y="232008"/>
                  <a:pt x="1540923" y="233822"/>
                  <a:pt x="1538746" y="233822"/>
                </a:cubicBezTo>
                <a:cubicBezTo>
                  <a:pt x="1536204" y="233822"/>
                  <a:pt x="1534389" y="232008"/>
                  <a:pt x="1534389" y="229465"/>
                </a:cubicBezTo>
                <a:cubicBezTo>
                  <a:pt x="1534389" y="226923"/>
                  <a:pt x="1536204" y="225108"/>
                  <a:pt x="1538746" y="225108"/>
                </a:cubicBezTo>
                <a:close/>
                <a:moveTo>
                  <a:pt x="1692331" y="224022"/>
                </a:moveTo>
                <a:cubicBezTo>
                  <a:pt x="1695541" y="224022"/>
                  <a:pt x="1698141" y="226621"/>
                  <a:pt x="1698141" y="229831"/>
                </a:cubicBezTo>
                <a:cubicBezTo>
                  <a:pt x="1698141" y="233041"/>
                  <a:pt x="1695541" y="235640"/>
                  <a:pt x="1692331" y="235640"/>
                </a:cubicBezTo>
                <a:cubicBezTo>
                  <a:pt x="1689122" y="235640"/>
                  <a:pt x="1686522" y="233041"/>
                  <a:pt x="1686522" y="229831"/>
                </a:cubicBezTo>
                <a:cubicBezTo>
                  <a:pt x="1686522" y="226621"/>
                  <a:pt x="1689122" y="224022"/>
                  <a:pt x="1692331" y="224022"/>
                </a:cubicBezTo>
                <a:close/>
                <a:moveTo>
                  <a:pt x="1846279" y="222569"/>
                </a:moveTo>
                <a:cubicBezTo>
                  <a:pt x="1850274" y="222569"/>
                  <a:pt x="1853540" y="225836"/>
                  <a:pt x="1853540" y="229831"/>
                </a:cubicBezTo>
                <a:cubicBezTo>
                  <a:pt x="1853540" y="233826"/>
                  <a:pt x="1850274" y="237093"/>
                  <a:pt x="1846279" y="237093"/>
                </a:cubicBezTo>
                <a:cubicBezTo>
                  <a:pt x="1842284" y="237093"/>
                  <a:pt x="1839017" y="233826"/>
                  <a:pt x="1839017" y="229831"/>
                </a:cubicBezTo>
                <a:cubicBezTo>
                  <a:pt x="1839017" y="225836"/>
                  <a:pt x="1842284" y="222569"/>
                  <a:pt x="1846279" y="222569"/>
                </a:cubicBezTo>
                <a:close/>
                <a:moveTo>
                  <a:pt x="1999860" y="220389"/>
                </a:moveTo>
                <a:cubicBezTo>
                  <a:pt x="2004945" y="220389"/>
                  <a:pt x="2008940" y="224384"/>
                  <a:pt x="2008940" y="229465"/>
                </a:cubicBezTo>
                <a:cubicBezTo>
                  <a:pt x="2008940" y="234550"/>
                  <a:pt x="2004945" y="238545"/>
                  <a:pt x="1999860" y="238545"/>
                </a:cubicBezTo>
                <a:cubicBezTo>
                  <a:pt x="1994779" y="238545"/>
                  <a:pt x="1990784" y="234550"/>
                  <a:pt x="1990784" y="229465"/>
                </a:cubicBezTo>
                <a:cubicBezTo>
                  <a:pt x="1990784" y="224384"/>
                  <a:pt x="1994779" y="220389"/>
                  <a:pt x="1999860" y="220389"/>
                </a:cubicBezTo>
                <a:close/>
                <a:moveTo>
                  <a:pt x="2153811" y="219665"/>
                </a:moveTo>
                <a:cubicBezTo>
                  <a:pt x="2159259" y="219665"/>
                  <a:pt x="2163978" y="224384"/>
                  <a:pt x="2163978" y="229831"/>
                </a:cubicBezTo>
                <a:cubicBezTo>
                  <a:pt x="2163978" y="235278"/>
                  <a:pt x="2159621" y="239997"/>
                  <a:pt x="2153811" y="239997"/>
                </a:cubicBezTo>
                <a:cubicBezTo>
                  <a:pt x="2148364" y="239997"/>
                  <a:pt x="2143645" y="235278"/>
                  <a:pt x="2143645" y="229831"/>
                </a:cubicBezTo>
                <a:cubicBezTo>
                  <a:pt x="2143645" y="224384"/>
                  <a:pt x="2148364" y="219665"/>
                  <a:pt x="2153811" y="219665"/>
                </a:cubicBezTo>
                <a:close/>
                <a:moveTo>
                  <a:pt x="2307393" y="217484"/>
                </a:moveTo>
                <a:cubicBezTo>
                  <a:pt x="2313930" y="217484"/>
                  <a:pt x="2319377" y="222931"/>
                  <a:pt x="2319377" y="229465"/>
                </a:cubicBezTo>
                <a:cubicBezTo>
                  <a:pt x="2319377" y="236002"/>
                  <a:pt x="2313930" y="241450"/>
                  <a:pt x="2307393" y="241450"/>
                </a:cubicBezTo>
                <a:cubicBezTo>
                  <a:pt x="2300859" y="241450"/>
                  <a:pt x="2295412" y="236002"/>
                  <a:pt x="2295412" y="229465"/>
                </a:cubicBezTo>
                <a:cubicBezTo>
                  <a:pt x="2295412" y="222931"/>
                  <a:pt x="2300859" y="217484"/>
                  <a:pt x="2307393" y="217484"/>
                </a:cubicBezTo>
                <a:close/>
                <a:moveTo>
                  <a:pt x="2461344" y="215670"/>
                </a:moveTo>
                <a:cubicBezTo>
                  <a:pt x="2468968" y="215670"/>
                  <a:pt x="2475139" y="221841"/>
                  <a:pt x="2475139" y="229469"/>
                </a:cubicBezTo>
                <a:cubicBezTo>
                  <a:pt x="2475139" y="237093"/>
                  <a:pt x="2468968" y="243264"/>
                  <a:pt x="2461344" y="243264"/>
                </a:cubicBezTo>
                <a:cubicBezTo>
                  <a:pt x="2453716" y="243264"/>
                  <a:pt x="2447545" y="237093"/>
                  <a:pt x="2447545" y="229469"/>
                </a:cubicBezTo>
                <a:cubicBezTo>
                  <a:pt x="2447545" y="221841"/>
                  <a:pt x="2453716" y="215670"/>
                  <a:pt x="2461344" y="215670"/>
                </a:cubicBezTo>
                <a:close/>
                <a:moveTo>
                  <a:pt x="2614925" y="214580"/>
                </a:moveTo>
                <a:cubicBezTo>
                  <a:pt x="2623350" y="214580"/>
                  <a:pt x="2630177" y="221407"/>
                  <a:pt x="2630177" y="229827"/>
                </a:cubicBezTo>
                <a:cubicBezTo>
                  <a:pt x="2630177" y="238252"/>
                  <a:pt x="2623350" y="245079"/>
                  <a:pt x="2614925" y="245079"/>
                </a:cubicBezTo>
                <a:cubicBezTo>
                  <a:pt x="2606505" y="245079"/>
                  <a:pt x="2599678" y="238252"/>
                  <a:pt x="2599678" y="229827"/>
                </a:cubicBezTo>
                <a:cubicBezTo>
                  <a:pt x="2599678" y="221407"/>
                  <a:pt x="2606505" y="214580"/>
                  <a:pt x="2614925" y="214580"/>
                </a:cubicBezTo>
                <a:close/>
                <a:moveTo>
                  <a:pt x="2768873" y="212765"/>
                </a:moveTo>
                <a:cubicBezTo>
                  <a:pt x="2778311" y="212765"/>
                  <a:pt x="2785939" y="220389"/>
                  <a:pt x="2785939" y="229831"/>
                </a:cubicBezTo>
                <a:cubicBezTo>
                  <a:pt x="2785939" y="239269"/>
                  <a:pt x="2778311" y="246897"/>
                  <a:pt x="2768873" y="246897"/>
                </a:cubicBezTo>
                <a:cubicBezTo>
                  <a:pt x="2759431" y="246897"/>
                  <a:pt x="2751807" y="239269"/>
                  <a:pt x="2751807" y="229831"/>
                </a:cubicBezTo>
                <a:cubicBezTo>
                  <a:pt x="2751807" y="220389"/>
                  <a:pt x="2759431" y="212765"/>
                  <a:pt x="2768873" y="212765"/>
                </a:cubicBezTo>
                <a:close/>
                <a:moveTo>
                  <a:pt x="2922458" y="210589"/>
                </a:moveTo>
                <a:cubicBezTo>
                  <a:pt x="2933086" y="210589"/>
                  <a:pt x="2941700" y="219203"/>
                  <a:pt x="2941700" y="229831"/>
                </a:cubicBezTo>
                <a:cubicBezTo>
                  <a:pt x="2941700" y="240459"/>
                  <a:pt x="2933086" y="249077"/>
                  <a:pt x="2922458" y="249077"/>
                </a:cubicBezTo>
                <a:cubicBezTo>
                  <a:pt x="2911830" y="249077"/>
                  <a:pt x="2903216" y="240459"/>
                  <a:pt x="2903216" y="229831"/>
                </a:cubicBezTo>
                <a:cubicBezTo>
                  <a:pt x="2903216" y="219203"/>
                  <a:pt x="2911830" y="210589"/>
                  <a:pt x="2922458" y="210589"/>
                </a:cubicBezTo>
                <a:close/>
                <a:moveTo>
                  <a:pt x="3076406" y="208408"/>
                </a:moveTo>
                <a:cubicBezTo>
                  <a:pt x="3088234" y="208408"/>
                  <a:pt x="3097828" y="217999"/>
                  <a:pt x="3097828" y="229831"/>
                </a:cubicBezTo>
                <a:cubicBezTo>
                  <a:pt x="3097828" y="241659"/>
                  <a:pt x="3088234" y="251254"/>
                  <a:pt x="3076406" y="251254"/>
                </a:cubicBezTo>
                <a:cubicBezTo>
                  <a:pt x="3064573" y="251254"/>
                  <a:pt x="3054982" y="241659"/>
                  <a:pt x="3054982" y="229831"/>
                </a:cubicBezTo>
                <a:cubicBezTo>
                  <a:pt x="3054982" y="217999"/>
                  <a:pt x="3064573" y="208408"/>
                  <a:pt x="3076406" y="208408"/>
                </a:cubicBezTo>
                <a:close/>
                <a:moveTo>
                  <a:pt x="3230353" y="206956"/>
                </a:moveTo>
                <a:cubicBezTo>
                  <a:pt x="3242986" y="206956"/>
                  <a:pt x="3253228" y="217198"/>
                  <a:pt x="3253228" y="229831"/>
                </a:cubicBezTo>
                <a:cubicBezTo>
                  <a:pt x="3253228" y="242464"/>
                  <a:pt x="3242986" y="252706"/>
                  <a:pt x="3230353" y="252706"/>
                </a:cubicBezTo>
                <a:cubicBezTo>
                  <a:pt x="3217720" y="252706"/>
                  <a:pt x="3207478" y="242464"/>
                  <a:pt x="3207478" y="229831"/>
                </a:cubicBezTo>
                <a:cubicBezTo>
                  <a:pt x="3207478" y="217198"/>
                  <a:pt x="3217720" y="206956"/>
                  <a:pt x="3230353" y="206956"/>
                </a:cubicBezTo>
                <a:close/>
                <a:moveTo>
                  <a:pt x="3383934" y="204779"/>
                </a:moveTo>
                <a:cubicBezTo>
                  <a:pt x="3397772" y="204779"/>
                  <a:pt x="3408986" y="215994"/>
                  <a:pt x="3408986" y="229831"/>
                </a:cubicBezTo>
                <a:cubicBezTo>
                  <a:pt x="3408986" y="243668"/>
                  <a:pt x="3397772" y="254887"/>
                  <a:pt x="3383934" y="254887"/>
                </a:cubicBezTo>
                <a:cubicBezTo>
                  <a:pt x="3370097" y="254887"/>
                  <a:pt x="3358882" y="243668"/>
                  <a:pt x="3358882" y="229831"/>
                </a:cubicBezTo>
                <a:cubicBezTo>
                  <a:pt x="3358882" y="215994"/>
                  <a:pt x="3370097" y="204779"/>
                  <a:pt x="3383934" y="204779"/>
                </a:cubicBezTo>
                <a:close/>
                <a:moveTo>
                  <a:pt x="3537886" y="202599"/>
                </a:moveTo>
                <a:cubicBezTo>
                  <a:pt x="3552924" y="202599"/>
                  <a:pt x="3565118" y="214789"/>
                  <a:pt x="3565118" y="229831"/>
                </a:cubicBezTo>
                <a:cubicBezTo>
                  <a:pt x="3565118" y="244869"/>
                  <a:pt x="3552924" y="257059"/>
                  <a:pt x="3537886" y="257059"/>
                </a:cubicBezTo>
                <a:cubicBezTo>
                  <a:pt x="3522844" y="257059"/>
                  <a:pt x="3510653" y="244869"/>
                  <a:pt x="3510653" y="229831"/>
                </a:cubicBezTo>
                <a:cubicBezTo>
                  <a:pt x="3510653" y="214789"/>
                  <a:pt x="3522844" y="202599"/>
                  <a:pt x="3537886" y="202599"/>
                </a:cubicBezTo>
                <a:close/>
                <a:moveTo>
                  <a:pt x="3691467" y="200056"/>
                </a:moveTo>
                <a:cubicBezTo>
                  <a:pt x="3707912" y="200056"/>
                  <a:pt x="3721242" y="213386"/>
                  <a:pt x="3721242" y="229827"/>
                </a:cubicBezTo>
                <a:cubicBezTo>
                  <a:pt x="3721242" y="246272"/>
                  <a:pt x="3707912" y="259602"/>
                  <a:pt x="3691467" y="259602"/>
                </a:cubicBezTo>
                <a:cubicBezTo>
                  <a:pt x="3675026" y="259602"/>
                  <a:pt x="3661696" y="246272"/>
                  <a:pt x="3661696" y="229827"/>
                </a:cubicBezTo>
                <a:cubicBezTo>
                  <a:pt x="3661696" y="213386"/>
                  <a:pt x="3675026" y="200056"/>
                  <a:pt x="3691467" y="200056"/>
                </a:cubicBezTo>
                <a:close/>
                <a:moveTo>
                  <a:pt x="3845414" y="197880"/>
                </a:moveTo>
                <a:cubicBezTo>
                  <a:pt x="3863060" y="197880"/>
                  <a:pt x="3877366" y="212186"/>
                  <a:pt x="3877366" y="229831"/>
                </a:cubicBezTo>
                <a:cubicBezTo>
                  <a:pt x="3877366" y="247476"/>
                  <a:pt x="3863060" y="261782"/>
                  <a:pt x="3845414" y="261782"/>
                </a:cubicBezTo>
                <a:cubicBezTo>
                  <a:pt x="3827769" y="261782"/>
                  <a:pt x="3813463" y="247476"/>
                  <a:pt x="3813463" y="229831"/>
                </a:cubicBezTo>
                <a:cubicBezTo>
                  <a:pt x="3813463" y="212186"/>
                  <a:pt x="3827769" y="197880"/>
                  <a:pt x="3845414" y="197880"/>
                </a:cubicBezTo>
                <a:close/>
                <a:moveTo>
                  <a:pt x="3999000" y="196065"/>
                </a:moveTo>
                <a:cubicBezTo>
                  <a:pt x="4017651" y="196065"/>
                  <a:pt x="4032769" y="211183"/>
                  <a:pt x="4032769" y="229831"/>
                </a:cubicBezTo>
                <a:cubicBezTo>
                  <a:pt x="4032769" y="248483"/>
                  <a:pt x="4017651" y="263597"/>
                  <a:pt x="3999000" y="263597"/>
                </a:cubicBezTo>
                <a:cubicBezTo>
                  <a:pt x="3980352" y="263597"/>
                  <a:pt x="3965234" y="248483"/>
                  <a:pt x="3965234" y="229831"/>
                </a:cubicBezTo>
                <a:cubicBezTo>
                  <a:pt x="3965234" y="211183"/>
                  <a:pt x="3980352" y="196065"/>
                  <a:pt x="3999000" y="196065"/>
                </a:cubicBezTo>
                <a:close/>
                <a:moveTo>
                  <a:pt x="4152947" y="193523"/>
                </a:moveTo>
                <a:cubicBezTo>
                  <a:pt x="4173002" y="193523"/>
                  <a:pt x="4189256" y="209777"/>
                  <a:pt x="4189256" y="229831"/>
                </a:cubicBezTo>
                <a:cubicBezTo>
                  <a:pt x="4189256" y="249885"/>
                  <a:pt x="4173002" y="266139"/>
                  <a:pt x="4152947" y="266139"/>
                </a:cubicBezTo>
                <a:cubicBezTo>
                  <a:pt x="4132896" y="266139"/>
                  <a:pt x="4116638" y="249885"/>
                  <a:pt x="4116638" y="229831"/>
                </a:cubicBezTo>
                <a:cubicBezTo>
                  <a:pt x="4116638" y="209777"/>
                  <a:pt x="4132896" y="193523"/>
                  <a:pt x="4152947" y="193523"/>
                </a:cubicBezTo>
                <a:close/>
                <a:moveTo>
                  <a:pt x="4306532" y="190618"/>
                </a:moveTo>
                <a:cubicBezTo>
                  <a:pt x="4327952" y="190618"/>
                  <a:pt x="4345380" y="208046"/>
                  <a:pt x="4345380" y="229469"/>
                </a:cubicBezTo>
                <a:cubicBezTo>
                  <a:pt x="4345380" y="250888"/>
                  <a:pt x="4327952" y="268316"/>
                  <a:pt x="4306532" y="268316"/>
                </a:cubicBezTo>
                <a:cubicBezTo>
                  <a:pt x="4285110" y="268316"/>
                  <a:pt x="4267682" y="250888"/>
                  <a:pt x="4267682" y="229469"/>
                </a:cubicBezTo>
                <a:cubicBezTo>
                  <a:pt x="4267682" y="208046"/>
                  <a:pt x="4285110" y="190618"/>
                  <a:pt x="4306532" y="190618"/>
                </a:cubicBezTo>
                <a:close/>
                <a:moveTo>
                  <a:pt x="4460480" y="188438"/>
                </a:moveTo>
                <a:cubicBezTo>
                  <a:pt x="4483355" y="188438"/>
                  <a:pt x="4501511" y="206594"/>
                  <a:pt x="4501511" y="229465"/>
                </a:cubicBezTo>
                <a:cubicBezTo>
                  <a:pt x="4501511" y="252340"/>
                  <a:pt x="4482993" y="270493"/>
                  <a:pt x="4460480" y="270493"/>
                </a:cubicBezTo>
                <a:cubicBezTo>
                  <a:pt x="4437608" y="270493"/>
                  <a:pt x="4419452" y="252340"/>
                  <a:pt x="4419452" y="229465"/>
                </a:cubicBezTo>
                <a:cubicBezTo>
                  <a:pt x="4419452" y="206594"/>
                  <a:pt x="4437608" y="188438"/>
                  <a:pt x="4460480" y="188438"/>
                </a:cubicBezTo>
                <a:close/>
                <a:moveTo>
                  <a:pt x="4614065" y="185895"/>
                </a:moveTo>
                <a:cubicBezTo>
                  <a:pt x="4638026" y="185895"/>
                  <a:pt x="4657635" y="205500"/>
                  <a:pt x="4657635" y="229465"/>
                </a:cubicBezTo>
                <a:cubicBezTo>
                  <a:pt x="4657635" y="253430"/>
                  <a:pt x="4638026" y="273035"/>
                  <a:pt x="4614065" y="273035"/>
                </a:cubicBezTo>
                <a:cubicBezTo>
                  <a:pt x="4590100" y="273035"/>
                  <a:pt x="4570495" y="253430"/>
                  <a:pt x="4570495" y="229465"/>
                </a:cubicBezTo>
                <a:cubicBezTo>
                  <a:pt x="4570495" y="205500"/>
                  <a:pt x="4590100" y="185895"/>
                  <a:pt x="4614065" y="185895"/>
                </a:cubicBezTo>
                <a:close/>
                <a:moveTo>
                  <a:pt x="4768012" y="183356"/>
                </a:moveTo>
                <a:cubicBezTo>
                  <a:pt x="4793426" y="183356"/>
                  <a:pt x="4814125" y="204051"/>
                  <a:pt x="4814125" y="229469"/>
                </a:cubicBezTo>
                <a:cubicBezTo>
                  <a:pt x="4814125" y="254883"/>
                  <a:pt x="4793426" y="275581"/>
                  <a:pt x="4768012" y="275581"/>
                </a:cubicBezTo>
                <a:cubicBezTo>
                  <a:pt x="4742594" y="275581"/>
                  <a:pt x="4721900" y="254883"/>
                  <a:pt x="4721900" y="229469"/>
                </a:cubicBezTo>
                <a:cubicBezTo>
                  <a:pt x="4721900" y="204051"/>
                  <a:pt x="4742594" y="183356"/>
                  <a:pt x="4768012" y="183356"/>
                </a:cubicBezTo>
                <a:close/>
                <a:moveTo>
                  <a:pt x="4921594" y="180814"/>
                </a:moveTo>
                <a:cubicBezTo>
                  <a:pt x="4948464" y="180814"/>
                  <a:pt x="4970249" y="202599"/>
                  <a:pt x="4970249" y="229469"/>
                </a:cubicBezTo>
                <a:cubicBezTo>
                  <a:pt x="4970249" y="256335"/>
                  <a:pt x="4948464" y="278120"/>
                  <a:pt x="4921594" y="278120"/>
                </a:cubicBezTo>
                <a:cubicBezTo>
                  <a:pt x="4894728" y="278120"/>
                  <a:pt x="4872942" y="256335"/>
                  <a:pt x="4872942" y="229469"/>
                </a:cubicBezTo>
                <a:cubicBezTo>
                  <a:pt x="4872942" y="202599"/>
                  <a:pt x="4894728" y="180814"/>
                  <a:pt x="4921594" y="180814"/>
                </a:cubicBezTo>
                <a:close/>
                <a:moveTo>
                  <a:pt x="5075541" y="178637"/>
                </a:moveTo>
                <a:cubicBezTo>
                  <a:pt x="5103864" y="178637"/>
                  <a:pt x="5126735" y="201512"/>
                  <a:pt x="5126735" y="229831"/>
                </a:cubicBezTo>
                <a:cubicBezTo>
                  <a:pt x="5126735" y="258153"/>
                  <a:pt x="5103864" y="281025"/>
                  <a:pt x="5075541" y="281025"/>
                </a:cubicBezTo>
                <a:cubicBezTo>
                  <a:pt x="5047222" y="281025"/>
                  <a:pt x="5024348" y="258153"/>
                  <a:pt x="5024348" y="229831"/>
                </a:cubicBezTo>
                <a:cubicBezTo>
                  <a:pt x="5024348" y="201512"/>
                  <a:pt x="5047222" y="178637"/>
                  <a:pt x="5075541" y="178637"/>
                </a:cubicBezTo>
                <a:close/>
                <a:moveTo>
                  <a:pt x="5229126" y="176095"/>
                </a:moveTo>
                <a:cubicBezTo>
                  <a:pt x="5258536" y="176095"/>
                  <a:pt x="5282500" y="200060"/>
                  <a:pt x="5282500" y="229469"/>
                </a:cubicBezTo>
                <a:cubicBezTo>
                  <a:pt x="5282500" y="258878"/>
                  <a:pt x="5258536" y="282843"/>
                  <a:pt x="5229126" y="282843"/>
                </a:cubicBezTo>
                <a:cubicBezTo>
                  <a:pt x="5199718" y="282843"/>
                  <a:pt x="5175752" y="258878"/>
                  <a:pt x="5175752" y="229469"/>
                </a:cubicBezTo>
                <a:cubicBezTo>
                  <a:pt x="5175752" y="200060"/>
                  <a:pt x="5199718" y="176095"/>
                  <a:pt x="5229126" y="176095"/>
                </a:cubicBezTo>
                <a:close/>
                <a:moveTo>
                  <a:pt x="5383074" y="173552"/>
                </a:moveTo>
                <a:cubicBezTo>
                  <a:pt x="5414297" y="173552"/>
                  <a:pt x="5439352" y="198604"/>
                  <a:pt x="5439352" y="229831"/>
                </a:cubicBezTo>
                <a:cubicBezTo>
                  <a:pt x="5439352" y="261054"/>
                  <a:pt x="5414297" y="286110"/>
                  <a:pt x="5383074" y="286110"/>
                </a:cubicBezTo>
                <a:cubicBezTo>
                  <a:pt x="5351847" y="286110"/>
                  <a:pt x="5326795" y="261054"/>
                  <a:pt x="5326795" y="229831"/>
                </a:cubicBezTo>
                <a:cubicBezTo>
                  <a:pt x="5326795" y="198604"/>
                  <a:pt x="5351847" y="173552"/>
                  <a:pt x="5383074" y="173552"/>
                </a:cubicBezTo>
                <a:close/>
                <a:moveTo>
                  <a:pt x="5536659" y="171010"/>
                </a:moveTo>
                <a:cubicBezTo>
                  <a:pt x="5569144" y="171010"/>
                  <a:pt x="5595476" y="197342"/>
                  <a:pt x="5595476" y="229827"/>
                </a:cubicBezTo>
                <a:cubicBezTo>
                  <a:pt x="5595476" y="262316"/>
                  <a:pt x="5569144" y="288649"/>
                  <a:pt x="5536659" y="288649"/>
                </a:cubicBezTo>
                <a:cubicBezTo>
                  <a:pt x="5504174" y="288649"/>
                  <a:pt x="5477838" y="262316"/>
                  <a:pt x="5477838" y="229827"/>
                </a:cubicBezTo>
                <a:cubicBezTo>
                  <a:pt x="5477838" y="197342"/>
                  <a:pt x="5504174" y="171010"/>
                  <a:pt x="5536659" y="171010"/>
                </a:cubicBezTo>
                <a:close/>
                <a:moveTo>
                  <a:pt x="5690606" y="168105"/>
                </a:moveTo>
                <a:cubicBezTo>
                  <a:pt x="5724734" y="168105"/>
                  <a:pt x="5752329" y="195699"/>
                  <a:pt x="5752329" y="229827"/>
                </a:cubicBezTo>
                <a:cubicBezTo>
                  <a:pt x="5752329" y="263959"/>
                  <a:pt x="5724734" y="291553"/>
                  <a:pt x="5690606" y="291553"/>
                </a:cubicBezTo>
                <a:cubicBezTo>
                  <a:pt x="5656475" y="291553"/>
                  <a:pt x="5628880" y="263959"/>
                  <a:pt x="5628880" y="229827"/>
                </a:cubicBezTo>
                <a:cubicBezTo>
                  <a:pt x="5628880" y="195699"/>
                  <a:pt x="5656475" y="168105"/>
                  <a:pt x="5690606" y="168105"/>
                </a:cubicBezTo>
                <a:close/>
                <a:moveTo>
                  <a:pt x="5844554" y="165566"/>
                </a:moveTo>
                <a:cubicBezTo>
                  <a:pt x="5880046" y="165566"/>
                  <a:pt x="5908822" y="194338"/>
                  <a:pt x="5908822" y="229831"/>
                </a:cubicBezTo>
                <a:cubicBezTo>
                  <a:pt x="5908822" y="265324"/>
                  <a:pt x="5880046" y="294100"/>
                  <a:pt x="5844554" y="294100"/>
                </a:cubicBezTo>
                <a:cubicBezTo>
                  <a:pt x="5809062" y="294100"/>
                  <a:pt x="5780289" y="265324"/>
                  <a:pt x="5780289" y="229831"/>
                </a:cubicBezTo>
                <a:cubicBezTo>
                  <a:pt x="5780289" y="194338"/>
                  <a:pt x="5809062" y="165566"/>
                  <a:pt x="5844554" y="165566"/>
                </a:cubicBezTo>
                <a:close/>
                <a:moveTo>
                  <a:pt x="5998136" y="162296"/>
                </a:moveTo>
                <a:cubicBezTo>
                  <a:pt x="6035435" y="162296"/>
                  <a:pt x="6065671" y="192532"/>
                  <a:pt x="6065671" y="229831"/>
                </a:cubicBezTo>
                <a:cubicBezTo>
                  <a:pt x="6065671" y="267127"/>
                  <a:pt x="6035435" y="297363"/>
                  <a:pt x="5998136" y="297363"/>
                </a:cubicBezTo>
                <a:cubicBezTo>
                  <a:pt x="5960840" y="297363"/>
                  <a:pt x="5930604" y="267127"/>
                  <a:pt x="5930604" y="229827"/>
                </a:cubicBezTo>
                <a:cubicBezTo>
                  <a:pt x="5930604" y="192532"/>
                  <a:pt x="5960840" y="162296"/>
                  <a:pt x="5998136" y="162296"/>
                </a:cubicBezTo>
                <a:close/>
                <a:moveTo>
                  <a:pt x="6152086" y="159757"/>
                </a:moveTo>
                <a:cubicBezTo>
                  <a:pt x="6190785" y="159757"/>
                  <a:pt x="6222160" y="191129"/>
                  <a:pt x="6222160" y="229831"/>
                </a:cubicBezTo>
                <a:cubicBezTo>
                  <a:pt x="6222160" y="268533"/>
                  <a:pt x="6190785" y="299909"/>
                  <a:pt x="6152086" y="299909"/>
                </a:cubicBezTo>
                <a:cubicBezTo>
                  <a:pt x="6113384" y="299909"/>
                  <a:pt x="6082008" y="268533"/>
                  <a:pt x="6082008" y="229831"/>
                </a:cubicBezTo>
                <a:cubicBezTo>
                  <a:pt x="6082008" y="191129"/>
                  <a:pt x="6113384" y="159757"/>
                  <a:pt x="6152086" y="159757"/>
                </a:cubicBezTo>
                <a:close/>
                <a:moveTo>
                  <a:pt x="6305668" y="156852"/>
                </a:moveTo>
                <a:cubicBezTo>
                  <a:pt x="6345975" y="156852"/>
                  <a:pt x="6378650" y="189528"/>
                  <a:pt x="6378650" y="229831"/>
                </a:cubicBezTo>
                <a:cubicBezTo>
                  <a:pt x="6378650" y="270138"/>
                  <a:pt x="6345975" y="302814"/>
                  <a:pt x="6305668" y="302814"/>
                </a:cubicBezTo>
                <a:cubicBezTo>
                  <a:pt x="6265365" y="302814"/>
                  <a:pt x="6232689" y="270138"/>
                  <a:pt x="6232689" y="229831"/>
                </a:cubicBezTo>
                <a:cubicBezTo>
                  <a:pt x="6232689" y="189528"/>
                  <a:pt x="6265365" y="156852"/>
                  <a:pt x="6305668" y="156852"/>
                </a:cubicBezTo>
                <a:close/>
                <a:moveTo>
                  <a:pt x="6613200" y="153947"/>
                </a:moveTo>
                <a:cubicBezTo>
                  <a:pt x="6655112" y="153947"/>
                  <a:pt x="6689088" y="187923"/>
                  <a:pt x="6689088" y="229831"/>
                </a:cubicBezTo>
                <a:cubicBezTo>
                  <a:pt x="6689088" y="271743"/>
                  <a:pt x="6655112" y="305718"/>
                  <a:pt x="6613200" y="305718"/>
                </a:cubicBezTo>
                <a:cubicBezTo>
                  <a:pt x="6571289" y="305718"/>
                  <a:pt x="6537317" y="271743"/>
                  <a:pt x="6537317" y="229831"/>
                </a:cubicBezTo>
                <a:cubicBezTo>
                  <a:pt x="6537317" y="187923"/>
                  <a:pt x="6571289" y="153947"/>
                  <a:pt x="6613200" y="153947"/>
                </a:cubicBezTo>
                <a:close/>
                <a:moveTo>
                  <a:pt x="6459616" y="153944"/>
                </a:moveTo>
                <a:cubicBezTo>
                  <a:pt x="6501371" y="153944"/>
                  <a:pt x="6535137" y="187710"/>
                  <a:pt x="6535137" y="229465"/>
                </a:cubicBezTo>
                <a:cubicBezTo>
                  <a:pt x="6535137" y="271221"/>
                  <a:pt x="6501371" y="304986"/>
                  <a:pt x="6459616" y="304986"/>
                </a:cubicBezTo>
                <a:cubicBezTo>
                  <a:pt x="6417860" y="304986"/>
                  <a:pt x="6384094" y="271221"/>
                  <a:pt x="6384094" y="229465"/>
                </a:cubicBezTo>
                <a:cubicBezTo>
                  <a:pt x="6384094" y="187710"/>
                  <a:pt x="6417860" y="153944"/>
                  <a:pt x="6459616" y="153944"/>
                </a:cubicBezTo>
                <a:close/>
                <a:moveTo>
                  <a:pt x="923681" y="75518"/>
                </a:moveTo>
                <a:cubicBezTo>
                  <a:pt x="924043" y="75518"/>
                  <a:pt x="924043" y="75518"/>
                  <a:pt x="924043" y="75880"/>
                </a:cubicBezTo>
                <a:cubicBezTo>
                  <a:pt x="924043" y="76242"/>
                  <a:pt x="923681" y="76242"/>
                  <a:pt x="923681" y="76242"/>
                </a:cubicBezTo>
                <a:cubicBezTo>
                  <a:pt x="923319" y="76242"/>
                  <a:pt x="923319" y="76242"/>
                  <a:pt x="923319" y="75880"/>
                </a:cubicBezTo>
                <a:cubicBezTo>
                  <a:pt x="923319" y="75518"/>
                  <a:pt x="923319" y="75518"/>
                  <a:pt x="923681" y="75518"/>
                </a:cubicBezTo>
                <a:close/>
                <a:moveTo>
                  <a:pt x="462205" y="75518"/>
                </a:moveTo>
                <a:cubicBezTo>
                  <a:pt x="462567" y="75518"/>
                  <a:pt x="462567" y="75518"/>
                  <a:pt x="462567" y="75880"/>
                </a:cubicBezTo>
                <a:cubicBezTo>
                  <a:pt x="462567" y="76242"/>
                  <a:pt x="462205" y="76242"/>
                  <a:pt x="462205" y="76242"/>
                </a:cubicBezTo>
                <a:cubicBezTo>
                  <a:pt x="461842" y="76242"/>
                  <a:pt x="461842" y="76242"/>
                  <a:pt x="461842" y="75880"/>
                </a:cubicBezTo>
                <a:cubicBezTo>
                  <a:pt x="461842" y="75518"/>
                  <a:pt x="461842" y="75518"/>
                  <a:pt x="462205" y="75518"/>
                </a:cubicBezTo>
                <a:close/>
                <a:moveTo>
                  <a:pt x="308257" y="75518"/>
                </a:moveTo>
                <a:cubicBezTo>
                  <a:pt x="308619" y="75518"/>
                  <a:pt x="308619" y="75518"/>
                  <a:pt x="308619" y="75880"/>
                </a:cubicBezTo>
                <a:cubicBezTo>
                  <a:pt x="308619" y="76242"/>
                  <a:pt x="308257" y="76242"/>
                  <a:pt x="308257" y="76242"/>
                </a:cubicBezTo>
                <a:cubicBezTo>
                  <a:pt x="307895" y="76242"/>
                  <a:pt x="307895" y="76242"/>
                  <a:pt x="307895" y="75880"/>
                </a:cubicBezTo>
                <a:cubicBezTo>
                  <a:pt x="307895" y="75518"/>
                  <a:pt x="307895" y="75518"/>
                  <a:pt x="308257" y="75518"/>
                </a:cubicBezTo>
                <a:close/>
                <a:moveTo>
                  <a:pt x="154676" y="75155"/>
                </a:moveTo>
                <a:cubicBezTo>
                  <a:pt x="155076" y="75155"/>
                  <a:pt x="155400" y="75480"/>
                  <a:pt x="155400" y="75880"/>
                </a:cubicBezTo>
                <a:cubicBezTo>
                  <a:pt x="155400" y="76284"/>
                  <a:pt x="155076" y="76608"/>
                  <a:pt x="154676" y="76608"/>
                </a:cubicBezTo>
                <a:cubicBezTo>
                  <a:pt x="154272" y="76608"/>
                  <a:pt x="153948" y="76284"/>
                  <a:pt x="153948" y="75880"/>
                </a:cubicBezTo>
                <a:cubicBezTo>
                  <a:pt x="153948" y="75480"/>
                  <a:pt x="154272" y="75155"/>
                  <a:pt x="154676" y="75155"/>
                </a:cubicBezTo>
                <a:close/>
                <a:moveTo>
                  <a:pt x="725" y="75155"/>
                </a:moveTo>
                <a:cubicBezTo>
                  <a:pt x="1090" y="75155"/>
                  <a:pt x="1453" y="75518"/>
                  <a:pt x="1453" y="75880"/>
                </a:cubicBezTo>
                <a:cubicBezTo>
                  <a:pt x="1453" y="76246"/>
                  <a:pt x="725" y="76608"/>
                  <a:pt x="725" y="76608"/>
                </a:cubicBezTo>
                <a:cubicBezTo>
                  <a:pt x="362" y="76608"/>
                  <a:pt x="0" y="76246"/>
                  <a:pt x="0" y="75880"/>
                </a:cubicBezTo>
                <a:cubicBezTo>
                  <a:pt x="0" y="75518"/>
                  <a:pt x="362" y="75155"/>
                  <a:pt x="725" y="75155"/>
                </a:cubicBezTo>
                <a:close/>
                <a:moveTo>
                  <a:pt x="1077266" y="74431"/>
                </a:moveTo>
                <a:cubicBezTo>
                  <a:pt x="1078067" y="74431"/>
                  <a:pt x="1078718" y="75083"/>
                  <a:pt x="1078718" y="75884"/>
                </a:cubicBezTo>
                <a:cubicBezTo>
                  <a:pt x="1078718" y="76684"/>
                  <a:pt x="1078067" y="77336"/>
                  <a:pt x="1077266" y="77336"/>
                </a:cubicBezTo>
                <a:cubicBezTo>
                  <a:pt x="1076462" y="77336"/>
                  <a:pt x="1075814" y="76684"/>
                  <a:pt x="1075814" y="75884"/>
                </a:cubicBezTo>
                <a:cubicBezTo>
                  <a:pt x="1075814" y="75083"/>
                  <a:pt x="1076462" y="74431"/>
                  <a:pt x="1077266" y="74431"/>
                </a:cubicBezTo>
                <a:close/>
                <a:moveTo>
                  <a:pt x="1231217" y="73703"/>
                </a:moveTo>
                <a:cubicBezTo>
                  <a:pt x="1232418" y="73703"/>
                  <a:pt x="1233394" y="74679"/>
                  <a:pt x="1233394" y="75880"/>
                </a:cubicBezTo>
                <a:cubicBezTo>
                  <a:pt x="1233394" y="77084"/>
                  <a:pt x="1232418" y="78060"/>
                  <a:pt x="1231217" y="78060"/>
                </a:cubicBezTo>
                <a:cubicBezTo>
                  <a:pt x="1230013" y="78060"/>
                  <a:pt x="1229037" y="77084"/>
                  <a:pt x="1229037" y="75880"/>
                </a:cubicBezTo>
                <a:cubicBezTo>
                  <a:pt x="1229037" y="74679"/>
                  <a:pt x="1230013" y="73703"/>
                  <a:pt x="1231217" y="73703"/>
                </a:cubicBezTo>
                <a:close/>
                <a:moveTo>
                  <a:pt x="1384799" y="72617"/>
                </a:moveTo>
                <a:cubicBezTo>
                  <a:pt x="1386617" y="72617"/>
                  <a:pt x="1388069" y="74069"/>
                  <a:pt x="1388069" y="75884"/>
                </a:cubicBezTo>
                <a:cubicBezTo>
                  <a:pt x="1388069" y="77702"/>
                  <a:pt x="1386617" y="79154"/>
                  <a:pt x="1384799" y="79154"/>
                </a:cubicBezTo>
                <a:cubicBezTo>
                  <a:pt x="1382984" y="79154"/>
                  <a:pt x="1381532" y="77702"/>
                  <a:pt x="1381532" y="75884"/>
                </a:cubicBezTo>
                <a:cubicBezTo>
                  <a:pt x="1381532" y="74069"/>
                  <a:pt x="1382984" y="72617"/>
                  <a:pt x="1384799" y="72617"/>
                </a:cubicBezTo>
                <a:close/>
                <a:moveTo>
                  <a:pt x="1538746" y="71527"/>
                </a:moveTo>
                <a:cubicBezTo>
                  <a:pt x="1541285" y="71527"/>
                  <a:pt x="1543103" y="73341"/>
                  <a:pt x="1543103" y="75884"/>
                </a:cubicBezTo>
                <a:cubicBezTo>
                  <a:pt x="1543103" y="78426"/>
                  <a:pt x="1540923" y="80241"/>
                  <a:pt x="1538746" y="80241"/>
                </a:cubicBezTo>
                <a:cubicBezTo>
                  <a:pt x="1536204" y="80241"/>
                  <a:pt x="1534389" y="78426"/>
                  <a:pt x="1534389" y="75884"/>
                </a:cubicBezTo>
                <a:cubicBezTo>
                  <a:pt x="1534389" y="73341"/>
                  <a:pt x="1536204" y="71527"/>
                  <a:pt x="1538746" y="71527"/>
                </a:cubicBezTo>
                <a:close/>
                <a:moveTo>
                  <a:pt x="1692331" y="70074"/>
                </a:moveTo>
                <a:cubicBezTo>
                  <a:pt x="1695541" y="70074"/>
                  <a:pt x="1698141" y="72674"/>
                  <a:pt x="1698141" y="75884"/>
                </a:cubicBezTo>
                <a:cubicBezTo>
                  <a:pt x="1698141" y="79093"/>
                  <a:pt x="1695541" y="81693"/>
                  <a:pt x="1692331" y="81693"/>
                </a:cubicBezTo>
                <a:cubicBezTo>
                  <a:pt x="1689122" y="81693"/>
                  <a:pt x="1686522" y="79093"/>
                  <a:pt x="1686522" y="75884"/>
                </a:cubicBezTo>
                <a:cubicBezTo>
                  <a:pt x="1686522" y="72674"/>
                  <a:pt x="1689122" y="70074"/>
                  <a:pt x="1692331" y="70074"/>
                </a:cubicBezTo>
                <a:close/>
                <a:moveTo>
                  <a:pt x="1846279" y="68622"/>
                </a:moveTo>
                <a:cubicBezTo>
                  <a:pt x="1850274" y="68622"/>
                  <a:pt x="1853540" y="71889"/>
                  <a:pt x="1853540" y="75884"/>
                </a:cubicBezTo>
                <a:cubicBezTo>
                  <a:pt x="1853540" y="79879"/>
                  <a:pt x="1850274" y="83145"/>
                  <a:pt x="1846279" y="83145"/>
                </a:cubicBezTo>
                <a:cubicBezTo>
                  <a:pt x="1842284" y="83145"/>
                  <a:pt x="1839017" y="79879"/>
                  <a:pt x="1839017" y="75884"/>
                </a:cubicBezTo>
                <a:cubicBezTo>
                  <a:pt x="1839017" y="71889"/>
                  <a:pt x="1842284" y="68622"/>
                  <a:pt x="1846279" y="68622"/>
                </a:cubicBezTo>
                <a:close/>
                <a:moveTo>
                  <a:pt x="1999860" y="66807"/>
                </a:moveTo>
                <a:cubicBezTo>
                  <a:pt x="2004945" y="66807"/>
                  <a:pt x="2008940" y="70802"/>
                  <a:pt x="2008940" y="75884"/>
                </a:cubicBezTo>
                <a:cubicBezTo>
                  <a:pt x="2008940" y="80969"/>
                  <a:pt x="2004945" y="84960"/>
                  <a:pt x="1999860" y="84960"/>
                </a:cubicBezTo>
                <a:cubicBezTo>
                  <a:pt x="1994779" y="84960"/>
                  <a:pt x="1990784" y="80969"/>
                  <a:pt x="1990784" y="75884"/>
                </a:cubicBezTo>
                <a:cubicBezTo>
                  <a:pt x="1990784" y="70802"/>
                  <a:pt x="1994779" y="66807"/>
                  <a:pt x="1999860" y="66807"/>
                </a:cubicBezTo>
                <a:close/>
                <a:moveTo>
                  <a:pt x="2153811" y="65717"/>
                </a:moveTo>
                <a:cubicBezTo>
                  <a:pt x="2159259" y="65717"/>
                  <a:pt x="2163978" y="70436"/>
                  <a:pt x="2163978" y="75884"/>
                </a:cubicBezTo>
                <a:cubicBezTo>
                  <a:pt x="2163978" y="81331"/>
                  <a:pt x="2159621" y="86050"/>
                  <a:pt x="2153811" y="86050"/>
                </a:cubicBezTo>
                <a:cubicBezTo>
                  <a:pt x="2148364" y="86050"/>
                  <a:pt x="2143645" y="81331"/>
                  <a:pt x="2143645" y="75884"/>
                </a:cubicBezTo>
                <a:cubicBezTo>
                  <a:pt x="2143645" y="70436"/>
                  <a:pt x="2148364" y="65717"/>
                  <a:pt x="2153811" y="65717"/>
                </a:cubicBezTo>
                <a:close/>
                <a:moveTo>
                  <a:pt x="2307393" y="63899"/>
                </a:moveTo>
                <a:cubicBezTo>
                  <a:pt x="2313930" y="63899"/>
                  <a:pt x="2319377" y="69346"/>
                  <a:pt x="2319377" y="75880"/>
                </a:cubicBezTo>
                <a:cubicBezTo>
                  <a:pt x="2319377" y="82417"/>
                  <a:pt x="2313930" y="87864"/>
                  <a:pt x="2307393" y="87864"/>
                </a:cubicBezTo>
                <a:cubicBezTo>
                  <a:pt x="2300859" y="87864"/>
                  <a:pt x="2295412" y="82417"/>
                  <a:pt x="2295412" y="75880"/>
                </a:cubicBezTo>
                <a:cubicBezTo>
                  <a:pt x="2295412" y="69346"/>
                  <a:pt x="2300859" y="63899"/>
                  <a:pt x="2307393" y="63899"/>
                </a:cubicBezTo>
                <a:close/>
                <a:moveTo>
                  <a:pt x="2461344" y="62085"/>
                </a:moveTo>
                <a:cubicBezTo>
                  <a:pt x="2468968" y="62085"/>
                  <a:pt x="2475139" y="68256"/>
                  <a:pt x="2475139" y="75880"/>
                </a:cubicBezTo>
                <a:cubicBezTo>
                  <a:pt x="2475139" y="83507"/>
                  <a:pt x="2468968" y="89679"/>
                  <a:pt x="2461344" y="89679"/>
                </a:cubicBezTo>
                <a:cubicBezTo>
                  <a:pt x="2453716" y="89679"/>
                  <a:pt x="2447545" y="83507"/>
                  <a:pt x="2447545" y="75880"/>
                </a:cubicBezTo>
                <a:cubicBezTo>
                  <a:pt x="2447545" y="68256"/>
                  <a:pt x="2453716" y="62085"/>
                  <a:pt x="2461344" y="62085"/>
                </a:cubicBezTo>
                <a:close/>
                <a:moveTo>
                  <a:pt x="2614925" y="60632"/>
                </a:moveTo>
                <a:cubicBezTo>
                  <a:pt x="2623350" y="60632"/>
                  <a:pt x="2630177" y="67459"/>
                  <a:pt x="2630177" y="75880"/>
                </a:cubicBezTo>
                <a:cubicBezTo>
                  <a:pt x="2630177" y="84304"/>
                  <a:pt x="2623350" y="91131"/>
                  <a:pt x="2614925" y="91131"/>
                </a:cubicBezTo>
                <a:cubicBezTo>
                  <a:pt x="2606505" y="91131"/>
                  <a:pt x="2599678" y="84304"/>
                  <a:pt x="2599678" y="75880"/>
                </a:cubicBezTo>
                <a:cubicBezTo>
                  <a:pt x="2599678" y="67459"/>
                  <a:pt x="2606505" y="60632"/>
                  <a:pt x="2614925" y="60632"/>
                </a:cubicBezTo>
                <a:close/>
                <a:moveTo>
                  <a:pt x="2768873" y="58818"/>
                </a:moveTo>
                <a:cubicBezTo>
                  <a:pt x="2778311" y="58818"/>
                  <a:pt x="2785939" y="66442"/>
                  <a:pt x="2785939" y="75884"/>
                </a:cubicBezTo>
                <a:cubicBezTo>
                  <a:pt x="2785939" y="85322"/>
                  <a:pt x="2778311" y="92946"/>
                  <a:pt x="2768873" y="92946"/>
                </a:cubicBezTo>
                <a:cubicBezTo>
                  <a:pt x="2759431" y="92946"/>
                  <a:pt x="2751807" y="85322"/>
                  <a:pt x="2751807" y="75884"/>
                </a:cubicBezTo>
                <a:cubicBezTo>
                  <a:pt x="2751807" y="66442"/>
                  <a:pt x="2759431" y="58818"/>
                  <a:pt x="2768873" y="58818"/>
                </a:cubicBezTo>
                <a:close/>
                <a:moveTo>
                  <a:pt x="2922458" y="56641"/>
                </a:moveTo>
                <a:cubicBezTo>
                  <a:pt x="2933086" y="56641"/>
                  <a:pt x="2941700" y="65256"/>
                  <a:pt x="2941700" y="75884"/>
                </a:cubicBezTo>
                <a:cubicBezTo>
                  <a:pt x="2941700" y="86511"/>
                  <a:pt x="2933086" y="95126"/>
                  <a:pt x="2922458" y="95126"/>
                </a:cubicBezTo>
                <a:cubicBezTo>
                  <a:pt x="2911830" y="95126"/>
                  <a:pt x="2903216" y="86511"/>
                  <a:pt x="2903216" y="75884"/>
                </a:cubicBezTo>
                <a:cubicBezTo>
                  <a:pt x="2903216" y="65256"/>
                  <a:pt x="2911830" y="56641"/>
                  <a:pt x="2922458" y="56641"/>
                </a:cubicBezTo>
                <a:close/>
                <a:moveTo>
                  <a:pt x="3076406" y="54461"/>
                </a:moveTo>
                <a:cubicBezTo>
                  <a:pt x="3088234" y="54461"/>
                  <a:pt x="3097828" y="64051"/>
                  <a:pt x="3097828" y="75884"/>
                </a:cubicBezTo>
                <a:cubicBezTo>
                  <a:pt x="3097828" y="87712"/>
                  <a:pt x="3088234" y="97303"/>
                  <a:pt x="3076406" y="97303"/>
                </a:cubicBezTo>
                <a:cubicBezTo>
                  <a:pt x="3064573" y="97303"/>
                  <a:pt x="3054982" y="87712"/>
                  <a:pt x="3054982" y="75884"/>
                </a:cubicBezTo>
                <a:cubicBezTo>
                  <a:pt x="3054982" y="64051"/>
                  <a:pt x="3064573" y="54461"/>
                  <a:pt x="3076406" y="54461"/>
                </a:cubicBezTo>
                <a:close/>
                <a:moveTo>
                  <a:pt x="3230353" y="53008"/>
                </a:moveTo>
                <a:cubicBezTo>
                  <a:pt x="3242986" y="53008"/>
                  <a:pt x="3253228" y="63251"/>
                  <a:pt x="3253228" y="75884"/>
                </a:cubicBezTo>
                <a:cubicBezTo>
                  <a:pt x="3253228" y="88516"/>
                  <a:pt x="3242986" y="98759"/>
                  <a:pt x="3230353" y="98759"/>
                </a:cubicBezTo>
                <a:cubicBezTo>
                  <a:pt x="3217720" y="98759"/>
                  <a:pt x="3207478" y="88516"/>
                  <a:pt x="3207478" y="75884"/>
                </a:cubicBezTo>
                <a:cubicBezTo>
                  <a:pt x="3207478" y="63251"/>
                  <a:pt x="3217720" y="53008"/>
                  <a:pt x="3230353" y="53008"/>
                </a:cubicBezTo>
                <a:close/>
                <a:moveTo>
                  <a:pt x="3383934" y="50832"/>
                </a:moveTo>
                <a:cubicBezTo>
                  <a:pt x="3397772" y="50832"/>
                  <a:pt x="3408986" y="62046"/>
                  <a:pt x="3408986" y="75884"/>
                </a:cubicBezTo>
                <a:cubicBezTo>
                  <a:pt x="3408986" y="89721"/>
                  <a:pt x="3397772" y="100939"/>
                  <a:pt x="3383934" y="100939"/>
                </a:cubicBezTo>
                <a:cubicBezTo>
                  <a:pt x="3370097" y="100939"/>
                  <a:pt x="3358882" y="89721"/>
                  <a:pt x="3358882" y="75884"/>
                </a:cubicBezTo>
                <a:cubicBezTo>
                  <a:pt x="3358882" y="62046"/>
                  <a:pt x="3370097" y="50832"/>
                  <a:pt x="3383934" y="50832"/>
                </a:cubicBezTo>
                <a:close/>
                <a:moveTo>
                  <a:pt x="3537886" y="48651"/>
                </a:moveTo>
                <a:cubicBezTo>
                  <a:pt x="3552924" y="48651"/>
                  <a:pt x="3565118" y="60842"/>
                  <a:pt x="3565118" y="75884"/>
                </a:cubicBezTo>
                <a:cubicBezTo>
                  <a:pt x="3565118" y="90921"/>
                  <a:pt x="3552924" y="103112"/>
                  <a:pt x="3537886" y="103112"/>
                </a:cubicBezTo>
                <a:cubicBezTo>
                  <a:pt x="3522844" y="103112"/>
                  <a:pt x="3510653" y="90921"/>
                  <a:pt x="3510653" y="75884"/>
                </a:cubicBezTo>
                <a:cubicBezTo>
                  <a:pt x="3510653" y="60842"/>
                  <a:pt x="3522844" y="48651"/>
                  <a:pt x="3537886" y="48651"/>
                </a:cubicBezTo>
                <a:close/>
                <a:moveTo>
                  <a:pt x="3691467" y="46109"/>
                </a:moveTo>
                <a:cubicBezTo>
                  <a:pt x="3707912" y="46109"/>
                  <a:pt x="3721242" y="59439"/>
                  <a:pt x="3721242" y="75880"/>
                </a:cubicBezTo>
                <a:cubicBezTo>
                  <a:pt x="3721242" y="92324"/>
                  <a:pt x="3707912" y="105655"/>
                  <a:pt x="3691467" y="105655"/>
                </a:cubicBezTo>
                <a:cubicBezTo>
                  <a:pt x="3675026" y="105655"/>
                  <a:pt x="3661696" y="92324"/>
                  <a:pt x="3661696" y="75880"/>
                </a:cubicBezTo>
                <a:cubicBezTo>
                  <a:pt x="3661696" y="59439"/>
                  <a:pt x="3675026" y="46109"/>
                  <a:pt x="3691467" y="46109"/>
                </a:cubicBezTo>
                <a:close/>
                <a:moveTo>
                  <a:pt x="3845414" y="43932"/>
                </a:moveTo>
                <a:cubicBezTo>
                  <a:pt x="3863060" y="43932"/>
                  <a:pt x="3877366" y="58238"/>
                  <a:pt x="3877366" y="75884"/>
                </a:cubicBezTo>
                <a:cubicBezTo>
                  <a:pt x="3877366" y="93529"/>
                  <a:pt x="3863060" y="107835"/>
                  <a:pt x="3845414" y="107835"/>
                </a:cubicBezTo>
                <a:cubicBezTo>
                  <a:pt x="3827769" y="107835"/>
                  <a:pt x="3813463" y="93529"/>
                  <a:pt x="3813463" y="75884"/>
                </a:cubicBezTo>
                <a:cubicBezTo>
                  <a:pt x="3813463" y="58238"/>
                  <a:pt x="3827769" y="43932"/>
                  <a:pt x="3845414" y="43932"/>
                </a:cubicBezTo>
                <a:close/>
                <a:moveTo>
                  <a:pt x="3999000" y="42118"/>
                </a:moveTo>
                <a:cubicBezTo>
                  <a:pt x="4017651" y="42118"/>
                  <a:pt x="4032769" y="57236"/>
                  <a:pt x="4032769" y="75884"/>
                </a:cubicBezTo>
                <a:cubicBezTo>
                  <a:pt x="4032769" y="94535"/>
                  <a:pt x="4017651" y="109653"/>
                  <a:pt x="3999000" y="109653"/>
                </a:cubicBezTo>
                <a:cubicBezTo>
                  <a:pt x="3980352" y="109653"/>
                  <a:pt x="3965234" y="94535"/>
                  <a:pt x="3965234" y="75884"/>
                </a:cubicBezTo>
                <a:cubicBezTo>
                  <a:pt x="3965234" y="57236"/>
                  <a:pt x="3980352" y="42118"/>
                  <a:pt x="3999000" y="42118"/>
                </a:cubicBezTo>
                <a:close/>
                <a:moveTo>
                  <a:pt x="4152947" y="39575"/>
                </a:moveTo>
                <a:cubicBezTo>
                  <a:pt x="4173002" y="39575"/>
                  <a:pt x="4189256" y="55829"/>
                  <a:pt x="4189256" y="75884"/>
                </a:cubicBezTo>
                <a:cubicBezTo>
                  <a:pt x="4189256" y="95938"/>
                  <a:pt x="4173002" y="112192"/>
                  <a:pt x="4152947" y="112192"/>
                </a:cubicBezTo>
                <a:cubicBezTo>
                  <a:pt x="4132896" y="112192"/>
                  <a:pt x="4116638" y="95938"/>
                  <a:pt x="4116638" y="75884"/>
                </a:cubicBezTo>
                <a:cubicBezTo>
                  <a:pt x="4116638" y="55829"/>
                  <a:pt x="4132896" y="39575"/>
                  <a:pt x="4152947" y="39575"/>
                </a:cubicBezTo>
                <a:close/>
                <a:moveTo>
                  <a:pt x="4306532" y="37033"/>
                </a:moveTo>
                <a:cubicBezTo>
                  <a:pt x="4327952" y="37033"/>
                  <a:pt x="4345380" y="54461"/>
                  <a:pt x="4345380" y="75884"/>
                </a:cubicBezTo>
                <a:cubicBezTo>
                  <a:pt x="4345380" y="97306"/>
                  <a:pt x="4327952" y="114735"/>
                  <a:pt x="4306532" y="114735"/>
                </a:cubicBezTo>
                <a:cubicBezTo>
                  <a:pt x="4285110" y="114735"/>
                  <a:pt x="4267682" y="97306"/>
                  <a:pt x="4267682" y="75884"/>
                </a:cubicBezTo>
                <a:cubicBezTo>
                  <a:pt x="4267682" y="54461"/>
                  <a:pt x="4285110" y="37033"/>
                  <a:pt x="4306532" y="37033"/>
                </a:cubicBezTo>
                <a:close/>
                <a:moveTo>
                  <a:pt x="4460480" y="34852"/>
                </a:moveTo>
                <a:cubicBezTo>
                  <a:pt x="4483355" y="34852"/>
                  <a:pt x="4501511" y="53008"/>
                  <a:pt x="4501511" y="75880"/>
                </a:cubicBezTo>
                <a:cubicBezTo>
                  <a:pt x="4501511" y="98755"/>
                  <a:pt x="4482993" y="116911"/>
                  <a:pt x="4460480" y="116911"/>
                </a:cubicBezTo>
                <a:cubicBezTo>
                  <a:pt x="4437608" y="116911"/>
                  <a:pt x="4419452" y="98755"/>
                  <a:pt x="4419452" y="75880"/>
                </a:cubicBezTo>
                <a:cubicBezTo>
                  <a:pt x="4419452" y="53008"/>
                  <a:pt x="4437608" y="34852"/>
                  <a:pt x="4460480" y="34852"/>
                </a:cubicBezTo>
                <a:close/>
                <a:moveTo>
                  <a:pt x="4614065" y="32314"/>
                </a:moveTo>
                <a:cubicBezTo>
                  <a:pt x="4638026" y="32314"/>
                  <a:pt x="4657635" y="51918"/>
                  <a:pt x="4657635" y="75884"/>
                </a:cubicBezTo>
                <a:cubicBezTo>
                  <a:pt x="4657635" y="99849"/>
                  <a:pt x="4638026" y="119454"/>
                  <a:pt x="4614065" y="119454"/>
                </a:cubicBezTo>
                <a:cubicBezTo>
                  <a:pt x="4590100" y="119454"/>
                  <a:pt x="4570495" y="99849"/>
                  <a:pt x="4570495" y="75884"/>
                </a:cubicBezTo>
                <a:cubicBezTo>
                  <a:pt x="4570495" y="51918"/>
                  <a:pt x="4590100" y="32314"/>
                  <a:pt x="4614065" y="32314"/>
                </a:cubicBezTo>
                <a:close/>
                <a:moveTo>
                  <a:pt x="4768012" y="29771"/>
                </a:moveTo>
                <a:cubicBezTo>
                  <a:pt x="4793426" y="29771"/>
                  <a:pt x="4814125" y="50466"/>
                  <a:pt x="4814125" y="75884"/>
                </a:cubicBezTo>
                <a:cubicBezTo>
                  <a:pt x="4814125" y="101298"/>
                  <a:pt x="4793426" y="121996"/>
                  <a:pt x="4768012" y="121996"/>
                </a:cubicBezTo>
                <a:cubicBezTo>
                  <a:pt x="4742594" y="121996"/>
                  <a:pt x="4721900" y="101298"/>
                  <a:pt x="4721900" y="75884"/>
                </a:cubicBezTo>
                <a:cubicBezTo>
                  <a:pt x="4721900" y="50466"/>
                  <a:pt x="4742594" y="29771"/>
                  <a:pt x="4768012" y="29771"/>
                </a:cubicBezTo>
                <a:close/>
                <a:moveTo>
                  <a:pt x="4921594" y="27228"/>
                </a:moveTo>
                <a:cubicBezTo>
                  <a:pt x="4948464" y="27228"/>
                  <a:pt x="4970249" y="49014"/>
                  <a:pt x="4970249" y="75880"/>
                </a:cubicBezTo>
                <a:cubicBezTo>
                  <a:pt x="4970249" y="102750"/>
                  <a:pt x="4948464" y="124535"/>
                  <a:pt x="4921594" y="124535"/>
                </a:cubicBezTo>
                <a:cubicBezTo>
                  <a:pt x="4894728" y="124535"/>
                  <a:pt x="4872942" y="102750"/>
                  <a:pt x="4872942" y="75880"/>
                </a:cubicBezTo>
                <a:cubicBezTo>
                  <a:pt x="4872942" y="49014"/>
                  <a:pt x="4894728" y="27228"/>
                  <a:pt x="4921594" y="27228"/>
                </a:cubicBezTo>
                <a:close/>
                <a:moveTo>
                  <a:pt x="5075541" y="24690"/>
                </a:moveTo>
                <a:cubicBezTo>
                  <a:pt x="5103864" y="24690"/>
                  <a:pt x="5126735" y="47565"/>
                  <a:pt x="5126735" y="75884"/>
                </a:cubicBezTo>
                <a:cubicBezTo>
                  <a:pt x="5126735" y="104206"/>
                  <a:pt x="5103864" y="127081"/>
                  <a:pt x="5075541" y="127081"/>
                </a:cubicBezTo>
                <a:cubicBezTo>
                  <a:pt x="5047222" y="127081"/>
                  <a:pt x="5024348" y="104206"/>
                  <a:pt x="5024348" y="75884"/>
                </a:cubicBezTo>
                <a:cubicBezTo>
                  <a:pt x="5024348" y="47565"/>
                  <a:pt x="5047222" y="24690"/>
                  <a:pt x="5075541" y="24690"/>
                </a:cubicBezTo>
                <a:close/>
                <a:moveTo>
                  <a:pt x="5229126" y="22509"/>
                </a:moveTo>
                <a:cubicBezTo>
                  <a:pt x="5258536" y="22509"/>
                  <a:pt x="5282500" y="46471"/>
                  <a:pt x="5282500" y="75884"/>
                </a:cubicBezTo>
                <a:cubicBezTo>
                  <a:pt x="5282500" y="105292"/>
                  <a:pt x="5258536" y="129258"/>
                  <a:pt x="5229126" y="129258"/>
                </a:cubicBezTo>
                <a:cubicBezTo>
                  <a:pt x="5199718" y="129258"/>
                  <a:pt x="5175752" y="105292"/>
                  <a:pt x="5175752" y="75884"/>
                </a:cubicBezTo>
                <a:cubicBezTo>
                  <a:pt x="5175752" y="46471"/>
                  <a:pt x="5199718" y="22509"/>
                  <a:pt x="5229126" y="22509"/>
                </a:cubicBezTo>
                <a:close/>
                <a:moveTo>
                  <a:pt x="5383074" y="19605"/>
                </a:moveTo>
                <a:cubicBezTo>
                  <a:pt x="5414297" y="19605"/>
                  <a:pt x="5439352" y="44657"/>
                  <a:pt x="5439352" y="75884"/>
                </a:cubicBezTo>
                <a:cubicBezTo>
                  <a:pt x="5439352" y="107107"/>
                  <a:pt x="5414297" y="132162"/>
                  <a:pt x="5383074" y="132162"/>
                </a:cubicBezTo>
                <a:cubicBezTo>
                  <a:pt x="5351847" y="132162"/>
                  <a:pt x="5326795" y="107107"/>
                  <a:pt x="5326795" y="75884"/>
                </a:cubicBezTo>
                <a:cubicBezTo>
                  <a:pt x="5326795" y="44657"/>
                  <a:pt x="5351847" y="19605"/>
                  <a:pt x="5383074" y="19605"/>
                </a:cubicBezTo>
                <a:close/>
                <a:moveTo>
                  <a:pt x="5536659" y="17062"/>
                </a:moveTo>
                <a:cubicBezTo>
                  <a:pt x="5569144" y="17062"/>
                  <a:pt x="5595476" y="43395"/>
                  <a:pt x="5595476" y="75880"/>
                </a:cubicBezTo>
                <a:cubicBezTo>
                  <a:pt x="5595476" y="108369"/>
                  <a:pt x="5569144" y="134701"/>
                  <a:pt x="5536659" y="134701"/>
                </a:cubicBezTo>
                <a:cubicBezTo>
                  <a:pt x="5504174" y="134701"/>
                  <a:pt x="5477838" y="108369"/>
                  <a:pt x="5477838" y="75880"/>
                </a:cubicBezTo>
                <a:cubicBezTo>
                  <a:pt x="5477838" y="43395"/>
                  <a:pt x="5504174" y="17062"/>
                  <a:pt x="5536659" y="17062"/>
                </a:cubicBezTo>
                <a:close/>
                <a:moveTo>
                  <a:pt x="5690606" y="14157"/>
                </a:moveTo>
                <a:cubicBezTo>
                  <a:pt x="5724734" y="14157"/>
                  <a:pt x="5752329" y="41752"/>
                  <a:pt x="5752329" y="75880"/>
                </a:cubicBezTo>
                <a:cubicBezTo>
                  <a:pt x="5752329" y="110012"/>
                  <a:pt x="5724734" y="137606"/>
                  <a:pt x="5690606" y="137606"/>
                </a:cubicBezTo>
                <a:cubicBezTo>
                  <a:pt x="5656475" y="137606"/>
                  <a:pt x="5628880" y="110012"/>
                  <a:pt x="5628880" y="75880"/>
                </a:cubicBezTo>
                <a:cubicBezTo>
                  <a:pt x="5628880" y="41752"/>
                  <a:pt x="5656475" y="14157"/>
                  <a:pt x="5690606" y="14157"/>
                </a:cubicBezTo>
                <a:close/>
                <a:moveTo>
                  <a:pt x="5844554" y="11619"/>
                </a:moveTo>
                <a:cubicBezTo>
                  <a:pt x="5880046" y="11619"/>
                  <a:pt x="5908822" y="40391"/>
                  <a:pt x="5908822" y="75884"/>
                </a:cubicBezTo>
                <a:cubicBezTo>
                  <a:pt x="5908822" y="111376"/>
                  <a:pt x="5880046" y="140152"/>
                  <a:pt x="5844554" y="140152"/>
                </a:cubicBezTo>
                <a:cubicBezTo>
                  <a:pt x="5809062" y="140152"/>
                  <a:pt x="5780289" y="111376"/>
                  <a:pt x="5780289" y="75884"/>
                </a:cubicBezTo>
                <a:cubicBezTo>
                  <a:pt x="5780289" y="40391"/>
                  <a:pt x="5809062" y="11619"/>
                  <a:pt x="5844554" y="11619"/>
                </a:cubicBezTo>
                <a:close/>
                <a:moveTo>
                  <a:pt x="5998136" y="8348"/>
                </a:moveTo>
                <a:cubicBezTo>
                  <a:pt x="6035435" y="8348"/>
                  <a:pt x="6065671" y="38584"/>
                  <a:pt x="6065671" y="75884"/>
                </a:cubicBezTo>
                <a:cubicBezTo>
                  <a:pt x="6065671" y="113179"/>
                  <a:pt x="6035435" y="143415"/>
                  <a:pt x="5998136" y="143415"/>
                </a:cubicBezTo>
                <a:cubicBezTo>
                  <a:pt x="5960840" y="143415"/>
                  <a:pt x="5930604" y="113179"/>
                  <a:pt x="5930604" y="75884"/>
                </a:cubicBezTo>
                <a:cubicBezTo>
                  <a:pt x="5930604" y="38584"/>
                  <a:pt x="5960840" y="8348"/>
                  <a:pt x="5998136" y="8348"/>
                </a:cubicBezTo>
                <a:close/>
                <a:moveTo>
                  <a:pt x="6152086" y="5809"/>
                </a:moveTo>
                <a:cubicBezTo>
                  <a:pt x="6190785" y="5809"/>
                  <a:pt x="6222160" y="37181"/>
                  <a:pt x="6222160" y="75884"/>
                </a:cubicBezTo>
                <a:cubicBezTo>
                  <a:pt x="6222160" y="114586"/>
                  <a:pt x="6190785" y="145962"/>
                  <a:pt x="6152086" y="145962"/>
                </a:cubicBezTo>
                <a:cubicBezTo>
                  <a:pt x="6113384" y="145962"/>
                  <a:pt x="6082008" y="114586"/>
                  <a:pt x="6082008" y="75884"/>
                </a:cubicBezTo>
                <a:cubicBezTo>
                  <a:pt x="6082008" y="37181"/>
                  <a:pt x="6113384" y="5809"/>
                  <a:pt x="6152086" y="5809"/>
                </a:cubicBezTo>
                <a:close/>
                <a:moveTo>
                  <a:pt x="6305668" y="2905"/>
                </a:moveTo>
                <a:cubicBezTo>
                  <a:pt x="6345975" y="2905"/>
                  <a:pt x="6378650" y="35580"/>
                  <a:pt x="6378650" y="75884"/>
                </a:cubicBezTo>
                <a:cubicBezTo>
                  <a:pt x="6378650" y="116191"/>
                  <a:pt x="6345975" y="148866"/>
                  <a:pt x="6305668" y="148866"/>
                </a:cubicBezTo>
                <a:cubicBezTo>
                  <a:pt x="6265365" y="148866"/>
                  <a:pt x="6232689" y="116191"/>
                  <a:pt x="6232689" y="75884"/>
                </a:cubicBezTo>
                <a:cubicBezTo>
                  <a:pt x="6232689" y="35580"/>
                  <a:pt x="6265365" y="2905"/>
                  <a:pt x="6305668" y="2905"/>
                </a:cubicBezTo>
                <a:close/>
                <a:moveTo>
                  <a:pt x="6459616" y="362"/>
                </a:moveTo>
                <a:cubicBezTo>
                  <a:pt x="6501371" y="362"/>
                  <a:pt x="6535137" y="34128"/>
                  <a:pt x="6535137" y="75884"/>
                </a:cubicBezTo>
                <a:cubicBezTo>
                  <a:pt x="6535137" y="117639"/>
                  <a:pt x="6501371" y="151405"/>
                  <a:pt x="6459616" y="151405"/>
                </a:cubicBezTo>
                <a:cubicBezTo>
                  <a:pt x="6417860" y="151405"/>
                  <a:pt x="6384094" y="117639"/>
                  <a:pt x="6384094" y="75884"/>
                </a:cubicBezTo>
                <a:cubicBezTo>
                  <a:pt x="6384094" y="34128"/>
                  <a:pt x="6417860" y="362"/>
                  <a:pt x="6459616" y="362"/>
                </a:cubicBezTo>
                <a:close/>
                <a:moveTo>
                  <a:pt x="6613200" y="0"/>
                </a:moveTo>
                <a:cubicBezTo>
                  <a:pt x="6655112" y="0"/>
                  <a:pt x="6689088" y="33976"/>
                  <a:pt x="6689088" y="75884"/>
                </a:cubicBezTo>
                <a:cubicBezTo>
                  <a:pt x="6689088" y="117795"/>
                  <a:pt x="6655112" y="151771"/>
                  <a:pt x="6613200" y="151771"/>
                </a:cubicBezTo>
                <a:cubicBezTo>
                  <a:pt x="6571289" y="151771"/>
                  <a:pt x="6537317" y="117795"/>
                  <a:pt x="6537317" y="75884"/>
                </a:cubicBezTo>
                <a:cubicBezTo>
                  <a:pt x="6537317" y="33976"/>
                  <a:pt x="6571289" y="0"/>
                  <a:pt x="6613200" y="0"/>
                </a:cubicBezTo>
                <a:close/>
              </a:path>
            </a:pathLst>
          </a:custGeom>
          <a:gradFill>
            <a:gsLst>
              <a:gs pos="14000">
                <a:srgbClr val="243A5E">
                  <a:lumMod val="75000"/>
                </a:srgbClr>
              </a:gs>
              <a:gs pos="100000">
                <a:srgbClr val="0078D4"/>
              </a:gs>
            </a:gsLst>
            <a:lin ang="8100000" scaled="1"/>
          </a:gra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000000"/>
              </a:solidFill>
              <a:effectLst/>
              <a:uLnTx/>
              <a:uFillTx/>
            </a:endParaRPr>
          </a:p>
        </p:txBody>
      </p:sp>
      <p:sp>
        <p:nvSpPr>
          <p:cNvPr id="18" name="Freeform: Shape 17">
            <a:extLst>
              <a:ext uri="{FF2B5EF4-FFF2-40B4-BE49-F238E27FC236}">
                <a16:creationId xmlns:a16="http://schemas.microsoft.com/office/drawing/2014/main" id="{2C951B20-2582-DB63-B1EC-7580203281A1}"/>
              </a:ext>
            </a:extLst>
          </p:cNvPr>
          <p:cNvSpPr/>
          <p:nvPr/>
        </p:nvSpPr>
        <p:spPr>
          <a:xfrm flipV="1">
            <a:off x="4543119" y="4585354"/>
            <a:ext cx="7648881" cy="2272646"/>
          </a:xfrm>
          <a:custGeom>
            <a:avLst/>
            <a:gdLst>
              <a:gd name="connsiteX0" fmla="*/ 6317320 w 6805716"/>
              <a:gd name="connsiteY0" fmla="*/ 2022124 h 2022124"/>
              <a:gd name="connsiteX1" fmla="*/ 6235217 w 6805716"/>
              <a:gd name="connsiteY1" fmla="*/ 2019188 h 2022124"/>
              <a:gd name="connsiteX2" fmla="*/ 5644658 w 6805716"/>
              <a:gd name="connsiteY2" fmla="*/ 1846774 h 2022124"/>
              <a:gd name="connsiteX3" fmla="*/ 5175292 w 6805716"/>
              <a:gd name="connsiteY3" fmla="*/ 1561331 h 2022124"/>
              <a:gd name="connsiteX4" fmla="*/ 4599584 w 6805716"/>
              <a:gd name="connsiteY4" fmla="*/ 1225632 h 2022124"/>
              <a:gd name="connsiteX5" fmla="*/ 2890421 w 6805716"/>
              <a:gd name="connsiteY5" fmla="*/ 1055789 h 2022124"/>
              <a:gd name="connsiteX6" fmla="*/ 2629967 w 6805716"/>
              <a:gd name="connsiteY6" fmla="*/ 1080114 h 2022124"/>
              <a:gd name="connsiteX7" fmla="*/ 1157832 w 6805716"/>
              <a:gd name="connsiteY7" fmla="*/ 1087229 h 2022124"/>
              <a:gd name="connsiteX8" fmla="*/ 371584 w 6805716"/>
              <a:gd name="connsiteY8" fmla="*/ 750351 h 2022124"/>
              <a:gd name="connsiteX9" fmla="*/ 180 w 6805716"/>
              <a:gd name="connsiteY9" fmla="*/ 0 h 2022124"/>
              <a:gd name="connsiteX10" fmla="*/ 6138 w 6805716"/>
              <a:gd name="connsiteY10" fmla="*/ 129 h 2022124"/>
              <a:gd name="connsiteX11" fmla="*/ 375399 w 6805716"/>
              <a:gd name="connsiteY11" fmla="*/ 745765 h 2022124"/>
              <a:gd name="connsiteX12" fmla="*/ 1158904 w 6805716"/>
              <a:gd name="connsiteY12" fmla="*/ 1081357 h 2022124"/>
              <a:gd name="connsiteX13" fmla="*/ 2629388 w 6805716"/>
              <a:gd name="connsiteY13" fmla="*/ 1074156 h 2022124"/>
              <a:gd name="connsiteX14" fmla="*/ 2889906 w 6805716"/>
              <a:gd name="connsiteY14" fmla="*/ 1049831 h 2022124"/>
              <a:gd name="connsiteX15" fmla="*/ 4601984 w 6805716"/>
              <a:gd name="connsiteY15" fmla="*/ 1220167 h 2022124"/>
              <a:gd name="connsiteX16" fmla="*/ 5178571 w 6805716"/>
              <a:gd name="connsiteY16" fmla="*/ 1556337 h 2022124"/>
              <a:gd name="connsiteX17" fmla="*/ 5647358 w 6805716"/>
              <a:gd name="connsiteY17" fmla="*/ 1841437 h 2022124"/>
              <a:gd name="connsiteX18" fmla="*/ 6802331 w 6805716"/>
              <a:gd name="connsiteY18" fmla="*/ 1875256 h 2022124"/>
              <a:gd name="connsiteX19" fmla="*/ 6805717 w 6805716"/>
              <a:gd name="connsiteY19" fmla="*/ 1880163 h 2022124"/>
              <a:gd name="connsiteX20" fmla="*/ 6317342 w 6805716"/>
              <a:gd name="connsiteY20" fmla="*/ 2022103 h 2022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805716" h="2022124">
                <a:moveTo>
                  <a:pt x="6317320" y="2022124"/>
                </a:moveTo>
                <a:cubicBezTo>
                  <a:pt x="6290424" y="2022124"/>
                  <a:pt x="6263057" y="2021138"/>
                  <a:pt x="6235217" y="2019188"/>
                </a:cubicBezTo>
                <a:cubicBezTo>
                  <a:pt x="6044565" y="2005794"/>
                  <a:pt x="5840347" y="1946172"/>
                  <a:pt x="5644658" y="1846774"/>
                </a:cubicBezTo>
                <a:cubicBezTo>
                  <a:pt x="5481395" y="1763835"/>
                  <a:pt x="5325761" y="1660879"/>
                  <a:pt x="5175292" y="1561331"/>
                </a:cubicBezTo>
                <a:cubicBezTo>
                  <a:pt x="4992397" y="1440330"/>
                  <a:pt x="4803267" y="1315193"/>
                  <a:pt x="4599584" y="1225632"/>
                </a:cubicBezTo>
                <a:cubicBezTo>
                  <a:pt x="4066868" y="991388"/>
                  <a:pt x="3463278" y="1005576"/>
                  <a:pt x="2890421" y="1055789"/>
                </a:cubicBezTo>
                <a:cubicBezTo>
                  <a:pt x="2803752" y="1063397"/>
                  <a:pt x="2715391" y="1071884"/>
                  <a:pt x="2629967" y="1080114"/>
                </a:cubicBezTo>
                <a:cubicBezTo>
                  <a:pt x="2144548" y="1126812"/>
                  <a:pt x="1642650" y="1175118"/>
                  <a:pt x="1157832" y="1087229"/>
                </a:cubicBezTo>
                <a:cubicBezTo>
                  <a:pt x="834113" y="1028550"/>
                  <a:pt x="569566" y="915200"/>
                  <a:pt x="371584" y="750351"/>
                </a:cubicBezTo>
                <a:cubicBezTo>
                  <a:pt x="133119" y="551790"/>
                  <a:pt x="-5713" y="271298"/>
                  <a:pt x="180" y="0"/>
                </a:cubicBezTo>
                <a:lnTo>
                  <a:pt x="6138" y="129"/>
                </a:lnTo>
                <a:cubicBezTo>
                  <a:pt x="288" y="269627"/>
                  <a:pt x="138326" y="548361"/>
                  <a:pt x="375399" y="745765"/>
                </a:cubicBezTo>
                <a:cubicBezTo>
                  <a:pt x="572588" y="909949"/>
                  <a:pt x="836192" y="1022871"/>
                  <a:pt x="1158904" y="1081357"/>
                </a:cubicBezTo>
                <a:cubicBezTo>
                  <a:pt x="1642864" y="1169075"/>
                  <a:pt x="2144377" y="1120833"/>
                  <a:pt x="2629388" y="1074156"/>
                </a:cubicBezTo>
                <a:cubicBezTo>
                  <a:pt x="2714834" y="1065926"/>
                  <a:pt x="2803195" y="1057439"/>
                  <a:pt x="2889906" y="1049831"/>
                </a:cubicBezTo>
                <a:cubicBezTo>
                  <a:pt x="3463556" y="999554"/>
                  <a:pt x="4068046" y="985366"/>
                  <a:pt x="4601984" y="1220167"/>
                </a:cubicBezTo>
                <a:cubicBezTo>
                  <a:pt x="4806117" y="1309921"/>
                  <a:pt x="4995462" y="1435208"/>
                  <a:pt x="5178571" y="1556337"/>
                </a:cubicBezTo>
                <a:cubicBezTo>
                  <a:pt x="5328911" y="1655821"/>
                  <a:pt x="5484395" y="1758670"/>
                  <a:pt x="5647358" y="1841437"/>
                </a:cubicBezTo>
                <a:cubicBezTo>
                  <a:pt x="6081576" y="2061965"/>
                  <a:pt x="6513352" y="2074609"/>
                  <a:pt x="6802331" y="1875256"/>
                </a:cubicBezTo>
                <a:lnTo>
                  <a:pt x="6805717" y="1880163"/>
                </a:lnTo>
                <a:cubicBezTo>
                  <a:pt x="6668986" y="1974504"/>
                  <a:pt x="6504994" y="2022103"/>
                  <a:pt x="6317342" y="2022103"/>
                </a:cubicBezTo>
                <a:close/>
              </a:path>
            </a:pathLst>
          </a:custGeom>
          <a:solidFill>
            <a:srgbClr val="0078D4"/>
          </a:solidFill>
          <a:ln w="3175" cap="flat">
            <a:solidFill>
              <a:srgbClr val="0078D4"/>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000000"/>
              </a:solidFill>
              <a:effectLst/>
              <a:uLnTx/>
              <a:uFillTx/>
            </a:endParaRPr>
          </a:p>
        </p:txBody>
      </p:sp>
      <p:sp>
        <p:nvSpPr>
          <p:cNvPr id="22" name="Freeform: Shape 21">
            <a:extLst>
              <a:ext uri="{FF2B5EF4-FFF2-40B4-BE49-F238E27FC236}">
                <a16:creationId xmlns:a16="http://schemas.microsoft.com/office/drawing/2014/main" id="{189D0F53-9ACD-2081-631F-58D775B13E23}"/>
              </a:ext>
            </a:extLst>
          </p:cNvPr>
          <p:cNvSpPr/>
          <p:nvPr/>
        </p:nvSpPr>
        <p:spPr>
          <a:xfrm>
            <a:off x="9449090" y="0"/>
            <a:ext cx="2742910" cy="2794000"/>
          </a:xfrm>
          <a:custGeom>
            <a:avLst/>
            <a:gdLst>
              <a:gd name="connsiteX0" fmla="*/ 1499186 w 2742910"/>
              <a:gd name="connsiteY0" fmla="*/ 550925 h 2794000"/>
              <a:gd name="connsiteX1" fmla="*/ 755297 w 2742910"/>
              <a:gd name="connsiteY1" fmla="*/ 1294842 h 2794000"/>
              <a:gd name="connsiteX2" fmla="*/ 1499186 w 2742910"/>
              <a:gd name="connsiteY2" fmla="*/ 2038730 h 2794000"/>
              <a:gd name="connsiteX3" fmla="*/ 2243102 w 2742910"/>
              <a:gd name="connsiteY3" fmla="*/ 1294842 h 2794000"/>
              <a:gd name="connsiteX4" fmla="*/ 1499186 w 2742910"/>
              <a:gd name="connsiteY4" fmla="*/ 550925 h 2794000"/>
              <a:gd name="connsiteX5" fmla="*/ 1499186 w 2742910"/>
              <a:gd name="connsiteY5" fmla="*/ 543329 h 2794000"/>
              <a:gd name="connsiteX6" fmla="*/ 2250671 w 2742910"/>
              <a:gd name="connsiteY6" fmla="*/ 1294814 h 2794000"/>
              <a:gd name="connsiteX7" fmla="*/ 1499186 w 2742910"/>
              <a:gd name="connsiteY7" fmla="*/ 2046299 h 2794000"/>
              <a:gd name="connsiteX8" fmla="*/ 747701 w 2742910"/>
              <a:gd name="connsiteY8" fmla="*/ 1294814 h 2794000"/>
              <a:gd name="connsiteX9" fmla="*/ 1499186 w 2742910"/>
              <a:gd name="connsiteY9" fmla="*/ 543329 h 2794000"/>
              <a:gd name="connsiteX10" fmla="*/ 1499186 w 2742910"/>
              <a:gd name="connsiteY10" fmla="*/ 363993 h 2794000"/>
              <a:gd name="connsiteX11" fmla="*/ 568365 w 2742910"/>
              <a:gd name="connsiteY11" fmla="*/ 1294814 h 2794000"/>
              <a:gd name="connsiteX12" fmla="*/ 1499186 w 2742910"/>
              <a:gd name="connsiteY12" fmla="*/ 2225636 h 2794000"/>
              <a:gd name="connsiteX13" fmla="*/ 2430007 w 2742910"/>
              <a:gd name="connsiteY13" fmla="*/ 1294814 h 2794000"/>
              <a:gd name="connsiteX14" fmla="*/ 1499186 w 2742910"/>
              <a:gd name="connsiteY14" fmla="*/ 363993 h 2794000"/>
              <a:gd name="connsiteX15" fmla="*/ 1499186 w 2742910"/>
              <a:gd name="connsiteY15" fmla="*/ 356424 h 2794000"/>
              <a:gd name="connsiteX16" fmla="*/ 2437576 w 2742910"/>
              <a:gd name="connsiteY16" fmla="*/ 1294841 h 2794000"/>
              <a:gd name="connsiteX17" fmla="*/ 1499186 w 2742910"/>
              <a:gd name="connsiteY17" fmla="*/ 2233231 h 2794000"/>
              <a:gd name="connsiteX18" fmla="*/ 560796 w 2742910"/>
              <a:gd name="connsiteY18" fmla="*/ 1294841 h 2794000"/>
              <a:gd name="connsiteX19" fmla="*/ 1499186 w 2742910"/>
              <a:gd name="connsiteY19" fmla="*/ 356424 h 2794000"/>
              <a:gd name="connsiteX20" fmla="*/ 1499186 w 2742910"/>
              <a:gd name="connsiteY20" fmla="*/ 177061 h 2794000"/>
              <a:gd name="connsiteX21" fmla="*/ 381433 w 2742910"/>
              <a:gd name="connsiteY21" fmla="*/ 1294814 h 2794000"/>
              <a:gd name="connsiteX22" fmla="*/ 1499186 w 2742910"/>
              <a:gd name="connsiteY22" fmla="*/ 2412567 h 2794000"/>
              <a:gd name="connsiteX23" fmla="*/ 2616939 w 2742910"/>
              <a:gd name="connsiteY23" fmla="*/ 1294814 h 2794000"/>
              <a:gd name="connsiteX24" fmla="*/ 1499186 w 2742910"/>
              <a:gd name="connsiteY24" fmla="*/ 177061 h 2794000"/>
              <a:gd name="connsiteX25" fmla="*/ 1499186 w 2742910"/>
              <a:gd name="connsiteY25" fmla="*/ 169492 h 2794000"/>
              <a:gd name="connsiteX26" fmla="*/ 2624508 w 2742910"/>
              <a:gd name="connsiteY26" fmla="*/ 1294814 h 2794000"/>
              <a:gd name="connsiteX27" fmla="*/ 1499186 w 2742910"/>
              <a:gd name="connsiteY27" fmla="*/ 2420136 h 2794000"/>
              <a:gd name="connsiteX28" fmla="*/ 373864 w 2742910"/>
              <a:gd name="connsiteY28" fmla="*/ 1294814 h 2794000"/>
              <a:gd name="connsiteX29" fmla="*/ 1499186 w 2742910"/>
              <a:gd name="connsiteY29" fmla="*/ 169492 h 2794000"/>
              <a:gd name="connsiteX30" fmla="*/ 2231234 w 2742910"/>
              <a:gd name="connsiteY30" fmla="*/ 0 h 2794000"/>
              <a:gd name="connsiteX31" fmla="*/ 2253259 w 2742910"/>
              <a:gd name="connsiteY31" fmla="*/ 0 h 2794000"/>
              <a:gd name="connsiteX32" fmla="*/ 2330809 w 2742910"/>
              <a:gd name="connsiteY32" fmla="*/ 46514 h 2794000"/>
              <a:gd name="connsiteX33" fmla="*/ 2559521 w 2742910"/>
              <a:gd name="connsiteY33" fmla="*/ 234480 h 2794000"/>
              <a:gd name="connsiteX34" fmla="*/ 2659625 w 2742910"/>
              <a:gd name="connsiteY34" fmla="*/ 344852 h 2794000"/>
              <a:gd name="connsiteX35" fmla="*/ 2742910 w 2742910"/>
              <a:gd name="connsiteY35" fmla="*/ 457035 h 2794000"/>
              <a:gd name="connsiteX36" fmla="*/ 2742910 w 2742910"/>
              <a:gd name="connsiteY36" fmla="*/ 477520 h 2794000"/>
              <a:gd name="connsiteX37" fmla="*/ 2649743 w 2742910"/>
              <a:gd name="connsiteY37" fmla="*/ 346573 h 2794000"/>
              <a:gd name="connsiteX38" fmla="*/ 2332568 w 2742910"/>
              <a:gd name="connsiteY38" fmla="*/ 58312 h 2794000"/>
              <a:gd name="connsiteX39" fmla="*/ 1652616 w 2742910"/>
              <a:gd name="connsiteY39" fmla="*/ 0 h 2794000"/>
              <a:gd name="connsiteX40" fmla="*/ 1702764 w 2742910"/>
              <a:gd name="connsiteY40" fmla="*/ 0 h 2794000"/>
              <a:gd name="connsiteX41" fmla="*/ 1763318 w 2742910"/>
              <a:gd name="connsiteY41" fmla="*/ 9268 h 2794000"/>
              <a:gd name="connsiteX42" fmla="*/ 2731683 w 2742910"/>
              <a:gd name="connsiteY42" fmla="*/ 844082 h 2794000"/>
              <a:gd name="connsiteX43" fmla="*/ 2742910 w 2742910"/>
              <a:gd name="connsiteY43" fmla="*/ 879343 h 2794000"/>
              <a:gd name="connsiteX44" fmla="*/ 2742910 w 2742910"/>
              <a:gd name="connsiteY44" fmla="*/ 904302 h 2794000"/>
              <a:gd name="connsiteX45" fmla="*/ 2724575 w 2742910"/>
              <a:gd name="connsiteY45" fmla="*/ 846716 h 2794000"/>
              <a:gd name="connsiteX46" fmla="*/ 1761797 w 2742910"/>
              <a:gd name="connsiteY46" fmla="*/ 16711 h 2794000"/>
              <a:gd name="connsiteX47" fmla="*/ 1295608 w 2742910"/>
              <a:gd name="connsiteY47" fmla="*/ 0 h 2794000"/>
              <a:gd name="connsiteX48" fmla="*/ 1345758 w 2742910"/>
              <a:gd name="connsiteY48" fmla="*/ 0 h 2794000"/>
              <a:gd name="connsiteX49" fmla="*/ 1236584 w 2742910"/>
              <a:gd name="connsiteY49" fmla="*/ 16710 h 2794000"/>
              <a:gd name="connsiteX50" fmla="*/ 194528 w 2742910"/>
              <a:gd name="connsiteY50" fmla="*/ 1294841 h 2794000"/>
              <a:gd name="connsiteX51" fmla="*/ 1499186 w 2742910"/>
              <a:gd name="connsiteY51" fmla="*/ 2599499 h 2794000"/>
              <a:gd name="connsiteX52" fmla="*/ 2701178 w 2742910"/>
              <a:gd name="connsiteY52" fmla="*/ 1802185 h 2794000"/>
              <a:gd name="connsiteX53" fmla="*/ 2742910 w 2742910"/>
              <a:gd name="connsiteY53" fmla="*/ 1688388 h 2794000"/>
              <a:gd name="connsiteX54" fmla="*/ 2742910 w 2742910"/>
              <a:gd name="connsiteY54" fmla="*/ 1710335 h 2794000"/>
              <a:gd name="connsiteX55" fmla="*/ 2708153 w 2742910"/>
              <a:gd name="connsiteY55" fmla="*/ 1805114 h 2794000"/>
              <a:gd name="connsiteX56" fmla="*/ 1499186 w 2742910"/>
              <a:gd name="connsiteY56" fmla="*/ 2607068 h 2794000"/>
              <a:gd name="connsiteX57" fmla="*/ 186932 w 2742910"/>
              <a:gd name="connsiteY57" fmla="*/ 1294814 h 2794000"/>
              <a:gd name="connsiteX58" fmla="*/ 1235054 w 2742910"/>
              <a:gd name="connsiteY58" fmla="*/ 9268 h 2794000"/>
              <a:gd name="connsiteX59" fmla="*/ 745123 w 2742910"/>
              <a:gd name="connsiteY59" fmla="*/ 0 h 2794000"/>
              <a:gd name="connsiteX60" fmla="*/ 761686 w 2742910"/>
              <a:gd name="connsiteY60" fmla="*/ 0 h 2794000"/>
              <a:gd name="connsiteX61" fmla="*/ 665804 w 2742910"/>
              <a:gd name="connsiteY61" fmla="*/ 58312 h 2794000"/>
              <a:gd name="connsiteX62" fmla="*/ 7596 w 2742910"/>
              <a:gd name="connsiteY62" fmla="*/ 1294814 h 2794000"/>
              <a:gd name="connsiteX63" fmla="*/ 1499186 w 2742910"/>
              <a:gd name="connsiteY63" fmla="*/ 2786404 h 2794000"/>
              <a:gd name="connsiteX64" fmla="*/ 2649743 w 2742910"/>
              <a:gd name="connsiteY64" fmla="*/ 2243056 h 2794000"/>
              <a:gd name="connsiteX65" fmla="*/ 2742910 w 2742910"/>
              <a:gd name="connsiteY65" fmla="*/ 2112109 h 2794000"/>
              <a:gd name="connsiteX66" fmla="*/ 2742910 w 2742910"/>
              <a:gd name="connsiteY66" fmla="*/ 2132583 h 2794000"/>
              <a:gd name="connsiteX67" fmla="*/ 2659625 w 2742910"/>
              <a:gd name="connsiteY67" fmla="*/ 2244770 h 2794000"/>
              <a:gd name="connsiteX68" fmla="*/ 2559521 w 2742910"/>
              <a:gd name="connsiteY68" fmla="*/ 2355148 h 2794000"/>
              <a:gd name="connsiteX69" fmla="*/ 1499186 w 2742910"/>
              <a:gd name="connsiteY69" fmla="*/ 2794000 h 2794000"/>
              <a:gd name="connsiteX70" fmla="*/ 438853 w 2742910"/>
              <a:gd name="connsiteY70" fmla="*/ 2355148 h 2794000"/>
              <a:gd name="connsiteX71" fmla="*/ 0 w 2742910"/>
              <a:gd name="connsiteY71" fmla="*/ 1294814 h 2794000"/>
              <a:gd name="connsiteX72" fmla="*/ 438853 w 2742910"/>
              <a:gd name="connsiteY72" fmla="*/ 234480 h 2794000"/>
              <a:gd name="connsiteX73" fmla="*/ 667553 w 2742910"/>
              <a:gd name="connsiteY73" fmla="*/ 46526 h 279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2742910" h="2794000">
                <a:moveTo>
                  <a:pt x="1499186" y="550925"/>
                </a:moveTo>
                <a:cubicBezTo>
                  <a:pt x="1089003" y="550925"/>
                  <a:pt x="755297" y="884631"/>
                  <a:pt x="755297" y="1294842"/>
                </a:cubicBezTo>
                <a:cubicBezTo>
                  <a:pt x="755297" y="1705051"/>
                  <a:pt x="1089003" y="2038730"/>
                  <a:pt x="1499186" y="2038730"/>
                </a:cubicBezTo>
                <a:cubicBezTo>
                  <a:pt x="1909368" y="2038730"/>
                  <a:pt x="2243102" y="1705024"/>
                  <a:pt x="2243102" y="1294842"/>
                </a:cubicBezTo>
                <a:cubicBezTo>
                  <a:pt x="2243102" y="884659"/>
                  <a:pt x="1909368" y="550925"/>
                  <a:pt x="1499186" y="550925"/>
                </a:cubicBezTo>
                <a:close/>
                <a:moveTo>
                  <a:pt x="1499186" y="543329"/>
                </a:moveTo>
                <a:cubicBezTo>
                  <a:pt x="1913562" y="543329"/>
                  <a:pt x="2250671" y="880439"/>
                  <a:pt x="2250671" y="1294814"/>
                </a:cubicBezTo>
                <a:cubicBezTo>
                  <a:pt x="2250671" y="1709190"/>
                  <a:pt x="1913562" y="2046299"/>
                  <a:pt x="1499186" y="2046299"/>
                </a:cubicBezTo>
                <a:cubicBezTo>
                  <a:pt x="1084837" y="2046299"/>
                  <a:pt x="747701" y="1709190"/>
                  <a:pt x="747701" y="1294814"/>
                </a:cubicBezTo>
                <a:cubicBezTo>
                  <a:pt x="747701" y="880439"/>
                  <a:pt x="1084810" y="543329"/>
                  <a:pt x="1499186" y="543329"/>
                </a:cubicBezTo>
                <a:close/>
                <a:moveTo>
                  <a:pt x="1499186" y="363993"/>
                </a:moveTo>
                <a:cubicBezTo>
                  <a:pt x="985926" y="363993"/>
                  <a:pt x="568365" y="781554"/>
                  <a:pt x="568365" y="1294814"/>
                </a:cubicBezTo>
                <a:cubicBezTo>
                  <a:pt x="568365" y="1808074"/>
                  <a:pt x="985926" y="2225636"/>
                  <a:pt x="1499186" y="2225636"/>
                </a:cubicBezTo>
                <a:cubicBezTo>
                  <a:pt x="2012446" y="2225636"/>
                  <a:pt x="2430007" y="1808074"/>
                  <a:pt x="2430007" y="1294814"/>
                </a:cubicBezTo>
                <a:cubicBezTo>
                  <a:pt x="2430007" y="781554"/>
                  <a:pt x="2012446" y="363993"/>
                  <a:pt x="1499186" y="363993"/>
                </a:cubicBezTo>
                <a:close/>
                <a:moveTo>
                  <a:pt x="1499186" y="356424"/>
                </a:moveTo>
                <a:cubicBezTo>
                  <a:pt x="2016612" y="356424"/>
                  <a:pt x="2437576" y="777389"/>
                  <a:pt x="2437576" y="1294841"/>
                </a:cubicBezTo>
                <a:cubicBezTo>
                  <a:pt x="2437576" y="1812294"/>
                  <a:pt x="2016612" y="2233231"/>
                  <a:pt x="1499186" y="2233231"/>
                </a:cubicBezTo>
                <a:cubicBezTo>
                  <a:pt x="981734" y="2233231"/>
                  <a:pt x="560796" y="1812266"/>
                  <a:pt x="560796" y="1294841"/>
                </a:cubicBezTo>
                <a:cubicBezTo>
                  <a:pt x="560796" y="777415"/>
                  <a:pt x="981761" y="356424"/>
                  <a:pt x="1499186" y="356424"/>
                </a:cubicBezTo>
                <a:close/>
                <a:moveTo>
                  <a:pt x="1499186" y="177061"/>
                </a:moveTo>
                <a:cubicBezTo>
                  <a:pt x="882849" y="177061"/>
                  <a:pt x="381433" y="678477"/>
                  <a:pt x="381433" y="1294814"/>
                </a:cubicBezTo>
                <a:cubicBezTo>
                  <a:pt x="381433" y="1911151"/>
                  <a:pt x="882849" y="2412567"/>
                  <a:pt x="1499186" y="2412567"/>
                </a:cubicBezTo>
                <a:cubicBezTo>
                  <a:pt x="2115523" y="2412567"/>
                  <a:pt x="2616939" y="1911151"/>
                  <a:pt x="2616939" y="1294814"/>
                </a:cubicBezTo>
                <a:cubicBezTo>
                  <a:pt x="2616939" y="678477"/>
                  <a:pt x="2115523" y="177061"/>
                  <a:pt x="1499186" y="177061"/>
                </a:cubicBezTo>
                <a:close/>
                <a:moveTo>
                  <a:pt x="1499186" y="169492"/>
                </a:moveTo>
                <a:cubicBezTo>
                  <a:pt x="2119689" y="169492"/>
                  <a:pt x="2624508" y="674312"/>
                  <a:pt x="2624508" y="1294814"/>
                </a:cubicBezTo>
                <a:cubicBezTo>
                  <a:pt x="2624508" y="1915315"/>
                  <a:pt x="2119689" y="2420136"/>
                  <a:pt x="1499186" y="2420136"/>
                </a:cubicBezTo>
                <a:cubicBezTo>
                  <a:pt x="878684" y="2420136"/>
                  <a:pt x="373864" y="1915315"/>
                  <a:pt x="373864" y="1294814"/>
                </a:cubicBezTo>
                <a:cubicBezTo>
                  <a:pt x="373864" y="674312"/>
                  <a:pt x="878684" y="169492"/>
                  <a:pt x="1499186" y="169492"/>
                </a:cubicBezTo>
                <a:close/>
                <a:moveTo>
                  <a:pt x="2231234" y="0"/>
                </a:moveTo>
                <a:lnTo>
                  <a:pt x="2253259" y="0"/>
                </a:lnTo>
                <a:lnTo>
                  <a:pt x="2330809" y="46514"/>
                </a:lnTo>
                <a:cubicBezTo>
                  <a:pt x="2412170" y="100922"/>
                  <a:pt x="2488768" y="163727"/>
                  <a:pt x="2559521" y="234480"/>
                </a:cubicBezTo>
                <a:cubicBezTo>
                  <a:pt x="2594894" y="269853"/>
                  <a:pt x="2628281" y="306689"/>
                  <a:pt x="2659625" y="344852"/>
                </a:cubicBezTo>
                <a:lnTo>
                  <a:pt x="2742910" y="457035"/>
                </a:lnTo>
                <a:lnTo>
                  <a:pt x="2742910" y="477520"/>
                </a:lnTo>
                <a:lnTo>
                  <a:pt x="2649743" y="346573"/>
                </a:lnTo>
                <a:cubicBezTo>
                  <a:pt x="2558475" y="236028"/>
                  <a:pt x="2451617" y="138808"/>
                  <a:pt x="2332568" y="58312"/>
                </a:cubicBezTo>
                <a:close/>
                <a:moveTo>
                  <a:pt x="1652616" y="0"/>
                </a:moveTo>
                <a:lnTo>
                  <a:pt x="1702764" y="0"/>
                </a:lnTo>
                <a:lnTo>
                  <a:pt x="1763318" y="9268"/>
                </a:lnTo>
                <a:cubicBezTo>
                  <a:pt x="2211381" y="101195"/>
                  <a:pt x="2576918" y="422215"/>
                  <a:pt x="2731683" y="844082"/>
                </a:cubicBezTo>
                <a:lnTo>
                  <a:pt x="2742910" y="879343"/>
                </a:lnTo>
                <a:lnTo>
                  <a:pt x="2742910" y="904302"/>
                </a:lnTo>
                <a:lnTo>
                  <a:pt x="2724575" y="846716"/>
                </a:lnTo>
                <a:cubicBezTo>
                  <a:pt x="2570704" y="427286"/>
                  <a:pt x="2207278" y="108110"/>
                  <a:pt x="1761797" y="16711"/>
                </a:cubicBezTo>
                <a:close/>
                <a:moveTo>
                  <a:pt x="1295608" y="0"/>
                </a:moveTo>
                <a:lnTo>
                  <a:pt x="1345758" y="0"/>
                </a:lnTo>
                <a:lnTo>
                  <a:pt x="1236584" y="16710"/>
                </a:lnTo>
                <a:cubicBezTo>
                  <a:pt x="642627" y="138570"/>
                  <a:pt x="194528" y="665355"/>
                  <a:pt x="194528" y="1294841"/>
                </a:cubicBezTo>
                <a:cubicBezTo>
                  <a:pt x="194528" y="2014255"/>
                  <a:pt x="779800" y="2599499"/>
                  <a:pt x="1499186" y="2599499"/>
                </a:cubicBezTo>
                <a:cubicBezTo>
                  <a:pt x="2038725" y="2599499"/>
                  <a:pt x="2502841" y="2270284"/>
                  <a:pt x="2701178" y="1802185"/>
                </a:cubicBezTo>
                <a:lnTo>
                  <a:pt x="2742910" y="1688388"/>
                </a:lnTo>
                <a:lnTo>
                  <a:pt x="2742910" y="1710335"/>
                </a:lnTo>
                <a:lnTo>
                  <a:pt x="2708153" y="1805114"/>
                </a:lnTo>
                <a:cubicBezTo>
                  <a:pt x="2508671" y="2275938"/>
                  <a:pt x="2041870" y="2607068"/>
                  <a:pt x="1499186" y="2607068"/>
                </a:cubicBezTo>
                <a:cubicBezTo>
                  <a:pt x="775607" y="2607068"/>
                  <a:pt x="186932" y="2018393"/>
                  <a:pt x="186932" y="1294814"/>
                </a:cubicBezTo>
                <a:cubicBezTo>
                  <a:pt x="186932" y="661683"/>
                  <a:pt x="637636" y="131837"/>
                  <a:pt x="1235054" y="9268"/>
                </a:cubicBezTo>
                <a:close/>
                <a:moveTo>
                  <a:pt x="745123" y="0"/>
                </a:moveTo>
                <a:lnTo>
                  <a:pt x="761686" y="0"/>
                </a:lnTo>
                <a:lnTo>
                  <a:pt x="665804" y="58312"/>
                </a:lnTo>
                <a:cubicBezTo>
                  <a:pt x="268974" y="326632"/>
                  <a:pt x="7596" y="780775"/>
                  <a:pt x="7596" y="1294814"/>
                </a:cubicBezTo>
                <a:cubicBezTo>
                  <a:pt x="7596" y="2117276"/>
                  <a:pt x="676723" y="2786404"/>
                  <a:pt x="1499186" y="2786404"/>
                </a:cubicBezTo>
                <a:cubicBezTo>
                  <a:pt x="1961821" y="2786404"/>
                  <a:pt x="2375940" y="2574688"/>
                  <a:pt x="2649743" y="2243056"/>
                </a:cubicBezTo>
                <a:lnTo>
                  <a:pt x="2742910" y="2112109"/>
                </a:lnTo>
                <a:lnTo>
                  <a:pt x="2742910" y="2132583"/>
                </a:lnTo>
                <a:lnTo>
                  <a:pt x="2659625" y="2244770"/>
                </a:lnTo>
                <a:cubicBezTo>
                  <a:pt x="2628281" y="2282934"/>
                  <a:pt x="2594894" y="2319772"/>
                  <a:pt x="2559521" y="2355148"/>
                </a:cubicBezTo>
                <a:cubicBezTo>
                  <a:pt x="2276536" y="2638133"/>
                  <a:pt x="1899977" y="2794000"/>
                  <a:pt x="1499186" y="2794000"/>
                </a:cubicBezTo>
                <a:cubicBezTo>
                  <a:pt x="1098423" y="2794000"/>
                  <a:pt x="721837" y="2638160"/>
                  <a:pt x="438853" y="2355148"/>
                </a:cubicBezTo>
                <a:cubicBezTo>
                  <a:pt x="155868" y="2072164"/>
                  <a:pt x="0" y="1695577"/>
                  <a:pt x="0" y="1294814"/>
                </a:cubicBezTo>
                <a:cubicBezTo>
                  <a:pt x="0" y="894051"/>
                  <a:pt x="155868" y="517491"/>
                  <a:pt x="438853" y="234480"/>
                </a:cubicBezTo>
                <a:cubicBezTo>
                  <a:pt x="509599" y="163734"/>
                  <a:pt x="586193" y="100933"/>
                  <a:pt x="667553" y="46526"/>
                </a:cubicBezTo>
                <a:close/>
              </a:path>
            </a:pathLst>
          </a:custGeom>
          <a:solidFill>
            <a:schemeClr val="bg2">
              <a:lumMod val="75000"/>
            </a:schemeClr>
          </a:solidFill>
          <a:ln w="2142" cap="flat">
            <a:noFill/>
            <a:prstDash val="solid"/>
            <a:miter/>
          </a:ln>
        </p:spPr>
        <p:txBody>
          <a:bodyPr wrap="square"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000000"/>
              </a:solidFill>
              <a:effectLst/>
              <a:uLnTx/>
              <a:uFillTx/>
            </a:endParaRPr>
          </a:p>
        </p:txBody>
      </p:sp>
    </p:spTree>
    <p:extLst>
      <p:ext uri="{BB962C8B-B14F-4D97-AF65-F5344CB8AC3E}">
        <p14:creationId xmlns:p14="http://schemas.microsoft.com/office/powerpoint/2010/main" val="9481718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Section Title 3">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 with no subtitle</a:t>
            </a:r>
          </a:p>
        </p:txBody>
      </p:sp>
    </p:spTree>
    <p:extLst>
      <p:ext uri="{BB962C8B-B14F-4D97-AF65-F5344CB8AC3E}">
        <p14:creationId xmlns:p14="http://schemas.microsoft.com/office/powerpoint/2010/main" val="29583391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Blank slide with graphics">
    <p:spTree>
      <p:nvGrpSpPr>
        <p:cNvPr id="1" name=""/>
        <p:cNvGrpSpPr/>
        <p:nvPr/>
      </p:nvGrpSpPr>
      <p:grpSpPr>
        <a:xfrm>
          <a:off x="0" y="0"/>
          <a:ext cx="0" cy="0"/>
          <a:chOff x="0" y="0"/>
          <a:chExt cx="0" cy="0"/>
        </a:xfrm>
      </p:grpSpPr>
      <p:sp>
        <p:nvSpPr>
          <p:cNvPr id="2" name="Freeform: Shape 1">
            <a:extLst>
              <a:ext uri="{FF2B5EF4-FFF2-40B4-BE49-F238E27FC236}">
                <a16:creationId xmlns:a16="http://schemas.microsoft.com/office/drawing/2014/main" id="{192C81F1-D9CE-0FDF-B03C-9623C2422B1A}"/>
              </a:ext>
            </a:extLst>
          </p:cNvPr>
          <p:cNvSpPr/>
          <p:nvPr userDrawn="1"/>
        </p:nvSpPr>
        <p:spPr>
          <a:xfrm flipH="1">
            <a:off x="0" y="4787899"/>
            <a:ext cx="12191996" cy="2070099"/>
          </a:xfrm>
          <a:custGeom>
            <a:avLst/>
            <a:gdLst>
              <a:gd name="connsiteX0" fmla="*/ 795455 w 10215358"/>
              <a:gd name="connsiteY0" fmla="*/ 462 h 2727805"/>
              <a:gd name="connsiteX1" fmla="*/ 499463 w 10215358"/>
              <a:gd name="connsiteY1" fmla="*/ 24353 h 2727805"/>
              <a:gd name="connsiteX2" fmla="*/ 95236 w 10215358"/>
              <a:gd name="connsiteY2" fmla="*/ 119650 h 2727805"/>
              <a:gd name="connsiteX3" fmla="*/ 0 w 10215358"/>
              <a:gd name="connsiteY3" fmla="*/ 157430 h 2727805"/>
              <a:gd name="connsiteX4" fmla="*/ 0 w 10215358"/>
              <a:gd name="connsiteY4" fmla="*/ 2727805 h 2727805"/>
              <a:gd name="connsiteX5" fmla="*/ 10215358 w 10215358"/>
              <a:gd name="connsiteY5" fmla="*/ 2727805 h 2727805"/>
              <a:gd name="connsiteX6" fmla="*/ 10144639 w 10215358"/>
              <a:gd name="connsiteY6" fmla="*/ 2558390 h 2727805"/>
              <a:gd name="connsiteX7" fmla="*/ 7779224 w 10215358"/>
              <a:gd name="connsiteY7" fmla="*/ 1469756 h 2727805"/>
              <a:gd name="connsiteX8" fmla="*/ 4355227 w 10215358"/>
              <a:gd name="connsiteY8" fmla="*/ 2122885 h 2727805"/>
              <a:gd name="connsiteX9" fmla="*/ 795455 w 10215358"/>
              <a:gd name="connsiteY9" fmla="*/ 462 h 2727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215358" h="2727805">
                <a:moveTo>
                  <a:pt x="795455" y="462"/>
                </a:moveTo>
                <a:cubicBezTo>
                  <a:pt x="698656" y="2360"/>
                  <a:pt x="600035" y="10149"/>
                  <a:pt x="499463" y="24353"/>
                </a:cubicBezTo>
                <a:cubicBezTo>
                  <a:pt x="355761" y="44646"/>
                  <a:pt x="220974" y="76809"/>
                  <a:pt x="95236" y="119650"/>
                </a:cubicBezTo>
                <a:lnTo>
                  <a:pt x="0" y="157430"/>
                </a:lnTo>
                <a:lnTo>
                  <a:pt x="0" y="2727805"/>
                </a:lnTo>
                <a:lnTo>
                  <a:pt x="10215358" y="2727805"/>
                </a:lnTo>
                <a:lnTo>
                  <a:pt x="10144639" y="2558390"/>
                </a:lnTo>
                <a:cubicBezTo>
                  <a:pt x="9781843" y="1762373"/>
                  <a:pt x="8946083" y="1086740"/>
                  <a:pt x="7779224" y="1469756"/>
                </a:cubicBezTo>
                <a:cubicBezTo>
                  <a:pt x="6647424" y="1841299"/>
                  <a:pt x="5731723" y="3225843"/>
                  <a:pt x="4355227" y="2122885"/>
                </a:cubicBezTo>
                <a:cubicBezTo>
                  <a:pt x="3289527" y="1268936"/>
                  <a:pt x="2247448" y="-28013"/>
                  <a:pt x="795455" y="462"/>
                </a:cubicBezTo>
                <a:close/>
              </a:path>
            </a:pathLst>
          </a:custGeom>
          <a:gradFill flip="none" rotWithShape="1">
            <a:gsLst>
              <a:gs pos="29000">
                <a:srgbClr val="E1F2FF">
                  <a:alpha val="21000"/>
                </a:srgbClr>
              </a:gs>
              <a:gs pos="0">
                <a:schemeClr val="bg1">
                  <a:alpha val="8000"/>
                </a:schemeClr>
              </a:gs>
              <a:gs pos="54000">
                <a:schemeClr val="accent1">
                  <a:lumMod val="40000"/>
                  <a:lumOff val="60000"/>
                  <a:alpha val="0"/>
                </a:schemeClr>
              </a:gs>
              <a:gs pos="100000">
                <a:schemeClr val="bg1">
                  <a:alpha val="50000"/>
                </a:schemeClr>
              </a:gs>
            </a:gsLst>
            <a:lin ang="10800000" scaled="1"/>
            <a:tileRect/>
          </a:gradFill>
          <a:ln w="214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sp>
        <p:nvSpPr>
          <p:cNvPr id="3" name="Freeform: Shape 2">
            <a:extLst>
              <a:ext uri="{FF2B5EF4-FFF2-40B4-BE49-F238E27FC236}">
                <a16:creationId xmlns:a16="http://schemas.microsoft.com/office/drawing/2014/main" id="{49EB848D-CE23-78AA-C447-C51389447531}"/>
              </a:ext>
            </a:extLst>
          </p:cNvPr>
          <p:cNvSpPr/>
          <p:nvPr userDrawn="1"/>
        </p:nvSpPr>
        <p:spPr>
          <a:xfrm flipH="1" flipV="1">
            <a:off x="0" y="5378450"/>
            <a:ext cx="2676829" cy="1479550"/>
          </a:xfrm>
          <a:custGeom>
            <a:avLst/>
            <a:gdLst>
              <a:gd name="connsiteX0" fmla="*/ 1728128 w 2676829"/>
              <a:gd name="connsiteY0" fmla="*/ 606282 h 1479550"/>
              <a:gd name="connsiteX1" fmla="*/ 919525 w 2676829"/>
              <a:gd name="connsiteY1" fmla="*/ 69905 h 1479550"/>
              <a:gd name="connsiteX2" fmla="*/ 893889 w 2676829"/>
              <a:gd name="connsiteY2" fmla="*/ 0 h 1479550"/>
              <a:gd name="connsiteX3" fmla="*/ 903310 w 2676829"/>
              <a:gd name="connsiteY3" fmla="*/ 0 h 1479550"/>
              <a:gd name="connsiteX4" fmla="*/ 927695 w 2676829"/>
              <a:gd name="connsiteY4" fmla="*/ 66498 h 1479550"/>
              <a:gd name="connsiteX5" fmla="*/ 1728128 w 2676829"/>
              <a:gd name="connsiteY5" fmla="*/ 597442 h 1479550"/>
              <a:gd name="connsiteX6" fmla="*/ 2528587 w 2676829"/>
              <a:gd name="connsiteY6" fmla="*/ 66485 h 1479550"/>
              <a:gd name="connsiteX7" fmla="*/ 2552969 w 2676829"/>
              <a:gd name="connsiteY7" fmla="*/ 0 h 1479550"/>
              <a:gd name="connsiteX8" fmla="*/ 2562369 w 2676829"/>
              <a:gd name="connsiteY8" fmla="*/ 0 h 1479550"/>
              <a:gd name="connsiteX9" fmla="*/ 2536735 w 2676829"/>
              <a:gd name="connsiteY9" fmla="*/ 69905 h 1479550"/>
              <a:gd name="connsiteX10" fmla="*/ 1728128 w 2676829"/>
              <a:gd name="connsiteY10" fmla="*/ 606282 h 1479550"/>
              <a:gd name="connsiteX11" fmla="*/ 1728128 w 2676829"/>
              <a:gd name="connsiteY11" fmla="*/ 824607 h 1479550"/>
              <a:gd name="connsiteX12" fmla="*/ 681500 w 2676829"/>
              <a:gd name="connsiteY12" fmla="*/ 54175 h 1479550"/>
              <a:gd name="connsiteX13" fmla="*/ 667538 w 2676829"/>
              <a:gd name="connsiteY13" fmla="*/ 0 h 1479550"/>
              <a:gd name="connsiteX14" fmla="*/ 676665 w 2676829"/>
              <a:gd name="connsiteY14" fmla="*/ 0 h 1479550"/>
              <a:gd name="connsiteX15" fmla="*/ 689944 w 2676829"/>
              <a:gd name="connsiteY15" fmla="*/ 51521 h 1479550"/>
              <a:gd name="connsiteX16" fmla="*/ 1728128 w 2676829"/>
              <a:gd name="connsiteY16" fmla="*/ 815736 h 1479550"/>
              <a:gd name="connsiteX17" fmla="*/ 2614431 w 2676829"/>
              <a:gd name="connsiteY17" fmla="*/ 357511 h 1479550"/>
              <a:gd name="connsiteX18" fmla="*/ 2676829 w 2676829"/>
              <a:gd name="connsiteY18" fmla="*/ 253473 h 1479550"/>
              <a:gd name="connsiteX19" fmla="*/ 2676829 w 2676829"/>
              <a:gd name="connsiteY19" fmla="*/ 270641 h 1479550"/>
              <a:gd name="connsiteX20" fmla="*/ 2621635 w 2676829"/>
              <a:gd name="connsiteY20" fmla="*/ 362666 h 1479550"/>
              <a:gd name="connsiteX21" fmla="*/ 1728128 w 2676829"/>
              <a:gd name="connsiteY21" fmla="*/ 824607 h 1479550"/>
              <a:gd name="connsiteX22" fmla="*/ 1728128 w 2676829"/>
              <a:gd name="connsiteY22" fmla="*/ 1042900 h 1479550"/>
              <a:gd name="connsiteX23" fmla="*/ 473009 w 2676829"/>
              <a:gd name="connsiteY23" fmla="*/ 118996 h 1479550"/>
              <a:gd name="connsiteX24" fmla="*/ 442340 w 2676829"/>
              <a:gd name="connsiteY24" fmla="*/ 0 h 1479550"/>
              <a:gd name="connsiteX25" fmla="*/ 451457 w 2676829"/>
              <a:gd name="connsiteY25" fmla="*/ 0 h 1479550"/>
              <a:gd name="connsiteX26" fmla="*/ 481451 w 2676829"/>
              <a:gd name="connsiteY26" fmla="*/ 116374 h 1479550"/>
              <a:gd name="connsiteX27" fmla="*/ 1728128 w 2676829"/>
              <a:gd name="connsiteY27" fmla="*/ 1034060 h 1479550"/>
              <a:gd name="connsiteX28" fmla="*/ 2661817 w 2676829"/>
              <a:gd name="connsiteY28" fmla="*/ 640122 h 1479550"/>
              <a:gd name="connsiteX29" fmla="*/ 2676829 w 2676829"/>
              <a:gd name="connsiteY29" fmla="*/ 622156 h 1479550"/>
              <a:gd name="connsiteX30" fmla="*/ 2676829 w 2676829"/>
              <a:gd name="connsiteY30" fmla="*/ 635887 h 1479550"/>
              <a:gd name="connsiteX31" fmla="*/ 2668136 w 2676829"/>
              <a:gd name="connsiteY31" fmla="*/ 646290 h 1479550"/>
              <a:gd name="connsiteX32" fmla="*/ 1728128 w 2676829"/>
              <a:gd name="connsiteY32" fmla="*/ 1042900 h 1479550"/>
              <a:gd name="connsiteX33" fmla="*/ 1728128 w 2676829"/>
              <a:gd name="connsiteY33" fmla="*/ 1261225 h 1479550"/>
              <a:gd name="connsiteX34" fmla="*/ 226689 w 2676829"/>
              <a:gd name="connsiteY34" fmla="*/ 37084 h 1479550"/>
              <a:gd name="connsiteX35" fmla="*/ 221014 w 2676829"/>
              <a:gd name="connsiteY35" fmla="*/ 0 h 1479550"/>
              <a:gd name="connsiteX36" fmla="*/ 229972 w 2676829"/>
              <a:gd name="connsiteY36" fmla="*/ 0 h 1479550"/>
              <a:gd name="connsiteX37" fmla="*/ 235381 w 2676829"/>
              <a:gd name="connsiteY37" fmla="*/ 35337 h 1479550"/>
              <a:gd name="connsiteX38" fmla="*/ 1728128 w 2676829"/>
              <a:gd name="connsiteY38" fmla="*/ 1252385 h 1479550"/>
              <a:gd name="connsiteX39" fmla="*/ 2485997 w 2676829"/>
              <a:gd name="connsiteY39" fmla="*/ 1050211 h 1479550"/>
              <a:gd name="connsiteX40" fmla="*/ 2676829 w 2676829"/>
              <a:gd name="connsiteY40" fmla="*/ 917868 h 1479550"/>
              <a:gd name="connsiteX41" fmla="*/ 2676829 w 2676829"/>
              <a:gd name="connsiteY41" fmla="*/ 928586 h 1479550"/>
              <a:gd name="connsiteX42" fmla="*/ 2490404 w 2676829"/>
              <a:gd name="connsiteY42" fmla="*/ 1057875 h 1479550"/>
              <a:gd name="connsiteX43" fmla="*/ 1728128 w 2676829"/>
              <a:gd name="connsiteY43" fmla="*/ 1261225 h 1479550"/>
              <a:gd name="connsiteX44" fmla="*/ 1728128 w 2676829"/>
              <a:gd name="connsiteY44" fmla="*/ 1479550 h 1479550"/>
              <a:gd name="connsiteX45" fmla="*/ 489724 w 2676829"/>
              <a:gd name="connsiteY45" fmla="*/ 966998 h 1479550"/>
              <a:gd name="connsiteX46" fmla="*/ 10780 w 2676829"/>
              <a:gd name="connsiteY46" fmla="*/ 73082 h 1479550"/>
              <a:gd name="connsiteX47" fmla="*/ 0 w 2676829"/>
              <a:gd name="connsiteY47" fmla="*/ 0 h 1479550"/>
              <a:gd name="connsiteX48" fmla="*/ 9371 w 2676829"/>
              <a:gd name="connsiteY48" fmla="*/ 0 h 1479550"/>
              <a:gd name="connsiteX49" fmla="*/ 21499 w 2676829"/>
              <a:gd name="connsiteY49" fmla="*/ 79242 h 1479550"/>
              <a:gd name="connsiteX50" fmla="*/ 1728128 w 2676829"/>
              <a:gd name="connsiteY50" fmla="*/ 1470678 h 1479550"/>
              <a:gd name="connsiteX51" fmla="*/ 2482722 w 2676829"/>
              <a:gd name="connsiteY51" fmla="*/ 1298627 h 1479550"/>
              <a:gd name="connsiteX52" fmla="*/ 2676829 w 2676829"/>
              <a:gd name="connsiteY52" fmla="*/ 1186929 h 1479550"/>
              <a:gd name="connsiteX53" fmla="*/ 2676829 w 2676829"/>
              <a:gd name="connsiteY53" fmla="*/ 1200071 h 1479550"/>
              <a:gd name="connsiteX54" fmla="*/ 2552876 w 2676829"/>
              <a:gd name="connsiteY54" fmla="*/ 1274416 h 1479550"/>
              <a:gd name="connsiteX55" fmla="*/ 1728128 w 2676829"/>
              <a:gd name="connsiteY55" fmla="*/ 1479550 h 1479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2676829" h="1479550">
                <a:moveTo>
                  <a:pt x="1728128" y="606282"/>
                </a:moveTo>
                <a:cubicBezTo>
                  <a:pt x="1365177" y="606282"/>
                  <a:pt x="1052953" y="384813"/>
                  <a:pt x="919525" y="69905"/>
                </a:cubicBezTo>
                <a:lnTo>
                  <a:pt x="893889" y="0"/>
                </a:lnTo>
                <a:lnTo>
                  <a:pt x="903310" y="0"/>
                </a:lnTo>
                <a:lnTo>
                  <a:pt x="927695" y="66498"/>
                </a:lnTo>
                <a:cubicBezTo>
                  <a:pt x="1059768" y="378226"/>
                  <a:pt x="1368827" y="597442"/>
                  <a:pt x="1728128" y="597442"/>
                </a:cubicBezTo>
                <a:cubicBezTo>
                  <a:pt x="2087428" y="597442"/>
                  <a:pt x="2396505" y="378208"/>
                  <a:pt x="2528587" y="66485"/>
                </a:cubicBezTo>
                <a:lnTo>
                  <a:pt x="2552969" y="0"/>
                </a:lnTo>
                <a:lnTo>
                  <a:pt x="2562369" y="0"/>
                </a:lnTo>
                <a:lnTo>
                  <a:pt x="2536735" y="69905"/>
                </a:lnTo>
                <a:cubicBezTo>
                  <a:pt x="2403314" y="384813"/>
                  <a:pt x="2091102" y="606282"/>
                  <a:pt x="1728128" y="606282"/>
                </a:cubicBezTo>
                <a:close/>
                <a:moveTo>
                  <a:pt x="1728128" y="824607"/>
                </a:moveTo>
                <a:cubicBezTo>
                  <a:pt x="1237092" y="824607"/>
                  <a:pt x="820470" y="500034"/>
                  <a:pt x="681500" y="54175"/>
                </a:cubicBezTo>
                <a:lnTo>
                  <a:pt x="667538" y="0"/>
                </a:lnTo>
                <a:lnTo>
                  <a:pt x="676665" y="0"/>
                </a:lnTo>
                <a:lnTo>
                  <a:pt x="689944" y="51521"/>
                </a:lnTo>
                <a:cubicBezTo>
                  <a:pt x="827798" y="493787"/>
                  <a:pt x="1241070" y="815736"/>
                  <a:pt x="1728128" y="815736"/>
                </a:cubicBezTo>
                <a:cubicBezTo>
                  <a:pt x="2093422" y="815736"/>
                  <a:pt x="2417210" y="634640"/>
                  <a:pt x="2614431" y="357511"/>
                </a:cubicBezTo>
                <a:lnTo>
                  <a:pt x="2676829" y="253473"/>
                </a:lnTo>
                <a:lnTo>
                  <a:pt x="2676829" y="270641"/>
                </a:lnTo>
                <a:lnTo>
                  <a:pt x="2621635" y="362666"/>
                </a:lnTo>
                <a:cubicBezTo>
                  <a:pt x="2422809" y="642047"/>
                  <a:pt x="2096386" y="824607"/>
                  <a:pt x="1728128" y="824607"/>
                </a:cubicBezTo>
                <a:close/>
                <a:moveTo>
                  <a:pt x="1728128" y="1042900"/>
                </a:moveTo>
                <a:cubicBezTo>
                  <a:pt x="1139303" y="1042900"/>
                  <a:pt x="639671" y="653672"/>
                  <a:pt x="473009" y="118996"/>
                </a:cubicBezTo>
                <a:lnTo>
                  <a:pt x="442340" y="0"/>
                </a:lnTo>
                <a:lnTo>
                  <a:pt x="451457" y="0"/>
                </a:lnTo>
                <a:lnTo>
                  <a:pt x="481451" y="116374"/>
                </a:lnTo>
                <a:cubicBezTo>
                  <a:pt x="646989" y="647457"/>
                  <a:pt x="1143255" y="1034060"/>
                  <a:pt x="1728128" y="1034060"/>
                </a:cubicBezTo>
                <a:cubicBezTo>
                  <a:pt x="2093674" y="1034060"/>
                  <a:pt x="2424607" y="883043"/>
                  <a:pt x="2661817" y="640122"/>
                </a:cubicBezTo>
                <a:lnTo>
                  <a:pt x="2676829" y="622156"/>
                </a:lnTo>
                <a:lnTo>
                  <a:pt x="2676829" y="635887"/>
                </a:lnTo>
                <a:lnTo>
                  <a:pt x="2668136" y="646290"/>
                </a:lnTo>
                <a:cubicBezTo>
                  <a:pt x="2429319" y="890858"/>
                  <a:pt x="2096144" y="1042900"/>
                  <a:pt x="1728128" y="1042900"/>
                </a:cubicBezTo>
                <a:close/>
                <a:moveTo>
                  <a:pt x="1728128" y="1261225"/>
                </a:moveTo>
                <a:cubicBezTo>
                  <a:pt x="988669" y="1261225"/>
                  <a:pt x="369842" y="734830"/>
                  <a:pt x="226689" y="37084"/>
                </a:cubicBezTo>
                <a:lnTo>
                  <a:pt x="221014" y="0"/>
                </a:lnTo>
                <a:lnTo>
                  <a:pt x="229972" y="0"/>
                </a:lnTo>
                <a:lnTo>
                  <a:pt x="235381" y="35337"/>
                </a:lnTo>
                <a:cubicBezTo>
                  <a:pt x="377706" y="729058"/>
                  <a:pt x="992954" y="1252385"/>
                  <a:pt x="1728128" y="1252385"/>
                </a:cubicBezTo>
                <a:cubicBezTo>
                  <a:pt x="2003818" y="1252385"/>
                  <a:pt x="2262647" y="1178789"/>
                  <a:pt x="2485997" y="1050211"/>
                </a:cubicBezTo>
                <a:lnTo>
                  <a:pt x="2676829" y="917868"/>
                </a:lnTo>
                <a:lnTo>
                  <a:pt x="2676829" y="928586"/>
                </a:lnTo>
                <a:lnTo>
                  <a:pt x="2490404" y="1057875"/>
                </a:lnTo>
                <a:cubicBezTo>
                  <a:pt x="2265757" y="1187201"/>
                  <a:pt x="2005424" y="1261225"/>
                  <a:pt x="1728128" y="1261225"/>
                </a:cubicBezTo>
                <a:close/>
                <a:moveTo>
                  <a:pt x="1728128" y="1479550"/>
                </a:moveTo>
                <a:cubicBezTo>
                  <a:pt x="1260061" y="1479550"/>
                  <a:pt x="820232" y="1297539"/>
                  <a:pt x="489724" y="966998"/>
                </a:cubicBezTo>
                <a:cubicBezTo>
                  <a:pt x="241843" y="719117"/>
                  <a:pt x="77472" y="409743"/>
                  <a:pt x="10780" y="73082"/>
                </a:cubicBezTo>
                <a:lnTo>
                  <a:pt x="0" y="0"/>
                </a:lnTo>
                <a:lnTo>
                  <a:pt x="9371" y="0"/>
                </a:lnTo>
                <a:lnTo>
                  <a:pt x="21499" y="79242"/>
                </a:lnTo>
                <a:cubicBezTo>
                  <a:pt x="184216" y="872342"/>
                  <a:pt x="887615" y="1470678"/>
                  <a:pt x="1728128" y="1470678"/>
                </a:cubicBezTo>
                <a:cubicBezTo>
                  <a:pt x="1998293" y="1470678"/>
                  <a:pt x="2254291" y="1408860"/>
                  <a:pt x="2482722" y="1298627"/>
                </a:cubicBezTo>
                <a:lnTo>
                  <a:pt x="2676829" y="1186929"/>
                </a:lnTo>
                <a:lnTo>
                  <a:pt x="2676829" y="1200071"/>
                </a:lnTo>
                <a:lnTo>
                  <a:pt x="2552876" y="1274416"/>
                </a:lnTo>
                <a:cubicBezTo>
                  <a:pt x="2302197" y="1408440"/>
                  <a:pt x="2020690" y="1479550"/>
                  <a:pt x="1728128" y="1479550"/>
                </a:cubicBezTo>
                <a:close/>
              </a:path>
            </a:pathLst>
          </a:custGeom>
          <a:solidFill>
            <a:schemeClr val="accent1">
              <a:lumMod val="40000"/>
              <a:lumOff val="60000"/>
              <a:alpha val="48000"/>
            </a:schemeClr>
          </a:solidFill>
          <a:ln w="2142" cap="flat">
            <a:noFill/>
            <a:prstDash val="solid"/>
            <a:miter/>
          </a:ln>
        </p:spPr>
        <p:txBody>
          <a:bodyPr wrap="square"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000000"/>
              </a:solidFill>
              <a:effectLst/>
              <a:uLnTx/>
              <a:uFillTx/>
            </a:endParaRPr>
          </a:p>
        </p:txBody>
      </p:sp>
    </p:spTree>
    <p:extLst>
      <p:ext uri="{BB962C8B-B14F-4D97-AF65-F5344CB8AC3E}">
        <p14:creationId xmlns:p14="http://schemas.microsoft.com/office/powerpoint/2010/main" val="81004722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Blank 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980716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Blank 12 Column Dark Bkg">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8860051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mall title - half page - gradient">
    <p:bg>
      <p:bgPr>
        <a:gradFill>
          <a:gsLst>
            <a:gs pos="0">
              <a:schemeClr val="bg1"/>
            </a:gs>
            <a:gs pos="100000">
              <a:schemeClr val="bg1">
                <a:lumMod val="85000"/>
                <a:alpha val="50000"/>
              </a:schemeClr>
            </a:gs>
          </a:gsLst>
          <a:lin ang="18900000" scaled="1"/>
        </a:gra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33033344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Closing logo slide">
    <p:bg>
      <p:bgPr>
        <a:gradFill>
          <a:gsLst>
            <a:gs pos="100000">
              <a:srgbClr val="035CAA"/>
            </a:gs>
            <a:gs pos="12000">
              <a:srgbClr val="042B61"/>
            </a:gs>
          </a:gsLst>
          <a:lin ang="0" scaled="1"/>
        </a:gra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F3B0964-EC1F-FBA3-E24B-B860CE11BE80}"/>
              </a:ext>
            </a:extLst>
          </p:cNvPr>
          <p:cNvSpPr/>
          <p:nvPr userDrawn="1"/>
        </p:nvSpPr>
        <p:spPr bwMode="auto">
          <a:xfrm>
            <a:off x="0" y="0"/>
            <a:ext cx="12192000" cy="6858000"/>
          </a:xfrm>
          <a:prstGeom prst="rect">
            <a:avLst/>
          </a:prstGeom>
          <a:gradFill>
            <a:gsLst>
              <a:gs pos="0">
                <a:srgbClr val="243A5E">
                  <a:lumMod val="75000"/>
                </a:srgbClr>
              </a:gs>
              <a:gs pos="85000">
                <a:srgbClr val="243A5E">
                  <a:lumMod val="50000"/>
                </a:srgbClr>
              </a:gs>
            </a:gsLst>
            <a:lin ang="0" scaled="1"/>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926902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Signoff/End slide">
    <p:bg>
      <p:bgPr>
        <a:solidFill>
          <a:schemeClr val="tx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3990934-E154-7C75-F1E7-3A1390B11CD5}"/>
              </a:ext>
            </a:extLst>
          </p:cNvPr>
          <p:cNvSpPr/>
          <p:nvPr userDrawn="1"/>
        </p:nvSpPr>
        <p:spPr bwMode="auto">
          <a:xfrm>
            <a:off x="0" y="0"/>
            <a:ext cx="12192000" cy="6858000"/>
          </a:xfrm>
          <a:prstGeom prst="rect">
            <a:avLst/>
          </a:prstGeom>
          <a:gradFill>
            <a:gsLst>
              <a:gs pos="0">
                <a:srgbClr val="243A5E">
                  <a:lumMod val="75000"/>
                </a:srgbClr>
              </a:gs>
              <a:gs pos="85000">
                <a:srgbClr val="243A5E">
                  <a:lumMod val="50000"/>
                </a:srgbClr>
              </a:gs>
            </a:gsLst>
            <a:lin ang="0" scaled="1"/>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 name="object 5" descr="Yellow-Teal MIS Identity bar">
            <a:extLst>
              <a:ext uri="{FF2B5EF4-FFF2-40B4-BE49-F238E27FC236}">
                <a16:creationId xmlns:a16="http://schemas.microsoft.com/office/drawing/2014/main" id="{6A378EBD-E5B4-A144-B609-1817629B412F}"/>
              </a:ext>
            </a:extLst>
          </p:cNvPr>
          <p:cNvSpPr/>
          <p:nvPr userDrawn="1"/>
        </p:nvSpPr>
        <p:spPr>
          <a:xfrm>
            <a:off x="0" y="3315973"/>
            <a:ext cx="3106264" cy="228600"/>
          </a:xfrm>
          <a:custGeom>
            <a:avLst/>
            <a:gdLst/>
            <a:ahLst/>
            <a:cxnLst/>
            <a:rect l="l" t="t" r="r" b="b"/>
            <a:pathLst>
              <a:path w="1993900" h="228600">
                <a:moveTo>
                  <a:pt x="1993900" y="0"/>
                </a:moveTo>
                <a:lnTo>
                  <a:pt x="0" y="0"/>
                </a:lnTo>
                <a:lnTo>
                  <a:pt x="0" y="228600"/>
                </a:lnTo>
                <a:lnTo>
                  <a:pt x="1993900" y="228600"/>
                </a:lnTo>
                <a:lnTo>
                  <a:pt x="1993900" y="0"/>
                </a:lnTo>
                <a:close/>
              </a:path>
            </a:pathLst>
          </a:custGeom>
          <a:gradFill>
            <a:gsLst>
              <a:gs pos="12000">
                <a:schemeClr val="tx2"/>
              </a:gs>
              <a:gs pos="100000">
                <a:schemeClr val="accent1"/>
              </a:gs>
            </a:gsLst>
            <a:lin ang="0" scaled="1"/>
          </a:gradFill>
          <a:ln w="2142" cap="flat">
            <a:noFill/>
            <a:prstDash val="solid"/>
            <a:miter/>
          </a:ln>
          <a:effectLst/>
        </p:spPr>
        <p:txBody>
          <a:bodyPr wrap="square" rtlCol="0" anchor="ctr">
            <a:noAutofit/>
          </a:bodyPr>
          <a:lstStyle/>
          <a:p>
            <a:pPr marR="0" lvl="0" indent="0" fontAlgn="auto">
              <a:lnSpc>
                <a:spcPct val="100000"/>
              </a:lnSpc>
              <a:spcBef>
                <a:spcPts val="0"/>
              </a:spcBef>
              <a:spcAft>
                <a:spcPts val="0"/>
              </a:spcAft>
              <a:buClrTx/>
              <a:buSzTx/>
              <a:buFontTx/>
              <a:buNone/>
              <a:tabLst/>
            </a:pPr>
            <a:endParaRPr kumimoji="0" b="0" i="0" u="none" strike="noStrike" cap="none" spc="0" normalizeH="0" baseline="0">
              <a:ln>
                <a:noFill/>
              </a:ln>
              <a:solidFill>
                <a:srgbClr val="000000"/>
              </a:solidFill>
              <a:effectLst/>
              <a:uLnTx/>
              <a:uFillTx/>
              <a:latin typeface="Segoe UI"/>
            </a:endParaRPr>
          </a:p>
        </p:txBody>
      </p:sp>
      <p:pic>
        <p:nvPicPr>
          <p:cNvPr id="8" name="object 4" descr="Microsoft logo white text version">
            <a:extLst>
              <a:ext uri="{FF2B5EF4-FFF2-40B4-BE49-F238E27FC236}">
                <a16:creationId xmlns:a16="http://schemas.microsoft.com/office/drawing/2014/main" id="{81433FD3-DE6E-8E46-A694-7E52D07A1AA7}"/>
              </a:ext>
            </a:extLst>
          </p:cNvPr>
          <p:cNvPicPr/>
          <p:nvPr userDrawn="1"/>
        </p:nvPicPr>
        <p:blipFill>
          <a:blip r:embed="rId2" cstate="print"/>
          <a:stretch>
            <a:fillRect/>
          </a:stretch>
        </p:blipFill>
        <p:spPr>
          <a:xfrm>
            <a:off x="8831988" y="2710383"/>
            <a:ext cx="2979012" cy="1439780"/>
          </a:xfrm>
          <a:prstGeom prst="rect">
            <a:avLst/>
          </a:prstGeom>
        </p:spPr>
      </p:pic>
      <p:sp>
        <p:nvSpPr>
          <p:cNvPr id="4" name="Text Box 3" descr="This is a copyright notice that should be included on the final slide.">
            <a:extLst>
              <a:ext uri="{FF2B5EF4-FFF2-40B4-BE49-F238E27FC236}">
                <a16:creationId xmlns:a16="http://schemas.microsoft.com/office/drawing/2014/main" id="{D1156495-1617-F4A6-EEEC-91CF503147E4}"/>
              </a:ext>
            </a:extLst>
          </p:cNvPr>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3" name="Picture 12" descr="Text, logo&#10;&#10;Description automatically generated with medium confidence">
            <a:extLst>
              <a:ext uri="{FF2B5EF4-FFF2-40B4-BE49-F238E27FC236}">
                <a16:creationId xmlns:a16="http://schemas.microsoft.com/office/drawing/2014/main" id="{D5D95C0C-527A-9CB2-E407-3816DE365A2E}"/>
              </a:ext>
            </a:extLst>
          </p:cNvPr>
          <p:cNvPicPr>
            <a:picLocks noChangeAspect="1"/>
          </p:cNvPicPr>
          <p:nvPr userDrawn="1"/>
        </p:nvPicPr>
        <p:blipFill>
          <a:blip r:embed="rId3"/>
          <a:stretch>
            <a:fillRect/>
          </a:stretch>
        </p:blipFill>
        <p:spPr>
          <a:xfrm>
            <a:off x="3203427" y="2935599"/>
            <a:ext cx="2425135" cy="986802"/>
          </a:xfrm>
          <a:prstGeom prst="rect">
            <a:avLst/>
          </a:prstGeom>
        </p:spPr>
      </p:pic>
    </p:spTree>
    <p:extLst>
      <p:ext uri="{BB962C8B-B14F-4D97-AF65-F5344CB8AC3E}">
        <p14:creationId xmlns:p14="http://schemas.microsoft.com/office/powerpoint/2010/main" val="153576393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2088">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18883529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58FF18-9BD3-49EC-8393-12EF9F3B421A}"/>
              </a:ext>
            </a:extLst>
          </p:cNvPr>
          <p:cNvSpPr>
            <a:spLocks noGrp="1"/>
          </p:cNvSpPr>
          <p:nvPr>
            <p:ph type="title"/>
          </p:nvPr>
        </p:nvSpPr>
        <p:spPr>
          <a:xfrm>
            <a:off x="588263" y="2484468"/>
            <a:ext cx="4644137" cy="870272"/>
          </a:xfrm>
        </p:spPr>
        <p:txBody>
          <a:bodyPr anchor="b"/>
          <a:lstStyle>
            <a:lvl1pPr algn="l">
              <a:defRPr>
                <a:solidFill>
                  <a:schemeClr val="tx2"/>
                </a:solidFill>
              </a:defRPr>
            </a:lvl1pPr>
          </a:lstStyle>
          <a:p>
            <a:r>
              <a:rPr lang="en-US"/>
              <a:t>Click to edit Master</a:t>
            </a:r>
          </a:p>
        </p:txBody>
      </p:sp>
    </p:spTree>
    <p:extLst>
      <p:ext uri="{BB962C8B-B14F-4D97-AF65-F5344CB8AC3E}">
        <p14:creationId xmlns:p14="http://schemas.microsoft.com/office/powerpoint/2010/main" val="261117327"/>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Blank - Blac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295885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1_Title Slide 2">
    <p:bg>
      <p:bgPr>
        <a:gradFill>
          <a:gsLst>
            <a:gs pos="0">
              <a:schemeClr val="tx2">
                <a:lumMod val="75000"/>
              </a:schemeClr>
            </a:gs>
            <a:gs pos="85000">
              <a:schemeClr val="tx2">
                <a:lumMod val="50000"/>
              </a:schemeClr>
            </a:gs>
          </a:gsLst>
          <a:lin ang="0" scaled="1"/>
        </a:gra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179559"/>
            <a:ext cx="5511800" cy="1354217"/>
          </a:xfrm>
          <a:noFill/>
        </p:spPr>
        <p:txBody>
          <a:bodyPr wrap="square" lIns="0" tIns="0" rIns="0" bIns="0" anchor="b" anchorCtr="0">
            <a:spAutoFit/>
          </a:bodyPr>
          <a:lstStyle>
            <a:lvl1pPr algn="l" defTabSz="932742" rtl="0" eaLnBrk="1" latinLnBrk="0" hangingPunct="1">
              <a:lnSpc>
                <a:spcPct val="100000"/>
              </a:lnSpc>
              <a:spcBef>
                <a:spcPct val="0"/>
              </a:spcBef>
              <a:buNone/>
              <a:defRPr kumimoji="0" lang="en-US" sz="4400" b="0" i="0" u="none" strike="noStrike" kern="1200" cap="none" spc="300" normalizeH="0" baseline="0" dirty="0">
                <a:ln w="3175">
                  <a:noFill/>
                </a:ln>
                <a:solidFill>
                  <a:schemeClr val="accent3"/>
                </a:solidFill>
                <a:effectLst/>
                <a:uLnTx/>
                <a:uFillTx/>
                <a:latin typeface="Segoe UI Semibold"/>
                <a:ea typeface="+mn-ea"/>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 text</a:t>
            </a:r>
          </a:p>
        </p:txBody>
      </p:sp>
      <p:grpSp>
        <p:nvGrpSpPr>
          <p:cNvPr id="27" name="Group 26">
            <a:extLst>
              <a:ext uri="{FF2B5EF4-FFF2-40B4-BE49-F238E27FC236}">
                <a16:creationId xmlns:a16="http://schemas.microsoft.com/office/drawing/2014/main" id="{05426580-BB4D-F381-5420-A6B4EA195E04}"/>
              </a:ext>
            </a:extLst>
          </p:cNvPr>
          <p:cNvGrpSpPr/>
          <p:nvPr userDrawn="1"/>
        </p:nvGrpSpPr>
        <p:grpSpPr>
          <a:xfrm>
            <a:off x="0" y="0"/>
            <a:ext cx="12192000" cy="6858000"/>
            <a:chOff x="0" y="0"/>
            <a:chExt cx="12192000" cy="6858000"/>
          </a:xfrm>
        </p:grpSpPr>
        <p:sp>
          <p:nvSpPr>
            <p:cNvPr id="4" name="Freeform: Shape 3">
              <a:extLst>
                <a:ext uri="{FF2B5EF4-FFF2-40B4-BE49-F238E27FC236}">
                  <a16:creationId xmlns:a16="http://schemas.microsoft.com/office/drawing/2014/main" id="{6E0C7132-21CD-945F-41E4-EA39CEB43467}"/>
                </a:ext>
              </a:extLst>
            </p:cNvPr>
            <p:cNvSpPr/>
            <p:nvPr/>
          </p:nvSpPr>
          <p:spPr>
            <a:xfrm>
              <a:off x="6315753" y="0"/>
              <a:ext cx="5876245" cy="6068780"/>
            </a:xfrm>
            <a:custGeom>
              <a:avLst/>
              <a:gdLst>
                <a:gd name="connsiteX0" fmla="*/ 95928 w 5876245"/>
                <a:gd name="connsiteY0" fmla="*/ 0 h 6068780"/>
                <a:gd name="connsiteX1" fmla="*/ 5876245 w 5876245"/>
                <a:gd name="connsiteY1" fmla="*/ 0 h 6068780"/>
                <a:gd name="connsiteX2" fmla="*/ 5876245 w 5876245"/>
                <a:gd name="connsiteY2" fmla="*/ 5882128 h 6068780"/>
                <a:gd name="connsiteX3" fmla="*/ 5809084 w 5876245"/>
                <a:gd name="connsiteY3" fmla="*/ 5913694 h 6068780"/>
                <a:gd name="connsiteX4" fmla="*/ 3664207 w 5876245"/>
                <a:gd name="connsiteY4" fmla="*/ 5274514 h 6068780"/>
                <a:gd name="connsiteX5" fmla="*/ 2915605 w 5876245"/>
                <a:gd name="connsiteY5" fmla="*/ 4002342 h 6068780"/>
                <a:gd name="connsiteX6" fmla="*/ 595032 w 5876245"/>
                <a:gd name="connsiteY6" fmla="*/ 2143479 h 6068780"/>
                <a:gd name="connsiteX7" fmla="*/ 67618 w 5876245"/>
                <a:gd name="connsiteY7" fmla="*/ 95578 h 6068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76245" h="6068780">
                  <a:moveTo>
                    <a:pt x="95928" y="0"/>
                  </a:moveTo>
                  <a:lnTo>
                    <a:pt x="5876245" y="0"/>
                  </a:lnTo>
                  <a:lnTo>
                    <a:pt x="5876245" y="5882128"/>
                  </a:lnTo>
                  <a:lnTo>
                    <a:pt x="5809084" y="5913694"/>
                  </a:lnTo>
                  <a:cubicBezTo>
                    <a:pt x="5033168" y="6236286"/>
                    <a:pt x="4221134" y="6070728"/>
                    <a:pt x="3664207" y="5274514"/>
                  </a:cubicBezTo>
                  <a:cubicBezTo>
                    <a:pt x="3309481" y="4767224"/>
                    <a:pt x="3028875" y="4209830"/>
                    <a:pt x="2915605" y="4002342"/>
                  </a:cubicBezTo>
                  <a:cubicBezTo>
                    <a:pt x="2293189" y="2862231"/>
                    <a:pt x="1362125" y="2823486"/>
                    <a:pt x="595032" y="2143479"/>
                  </a:cubicBezTo>
                  <a:cubicBezTo>
                    <a:pt x="93083" y="1698534"/>
                    <a:pt x="-120532" y="862688"/>
                    <a:pt x="67618" y="95578"/>
                  </a:cubicBezTo>
                  <a:close/>
                </a:path>
              </a:pathLst>
            </a:custGeom>
            <a:gradFill flip="none" rotWithShape="1">
              <a:gsLst>
                <a:gs pos="0">
                  <a:schemeClr val="tx2">
                    <a:lumMod val="50000"/>
                  </a:schemeClr>
                </a:gs>
                <a:gs pos="99000">
                  <a:schemeClr val="accent1">
                    <a:alpha val="78000"/>
                  </a:schemeClr>
                </a:gs>
              </a:gsLst>
              <a:lin ang="16200000" scaled="1"/>
              <a:tileRect/>
            </a:gradFill>
            <a:ln w="214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sp>
          <p:nvSpPr>
            <p:cNvPr id="7" name="Freeform: Shape 6">
              <a:extLst>
                <a:ext uri="{FF2B5EF4-FFF2-40B4-BE49-F238E27FC236}">
                  <a16:creationId xmlns:a16="http://schemas.microsoft.com/office/drawing/2014/main" id="{2EF614AB-2712-0AD7-915A-5ECCC545BCF7}"/>
                </a:ext>
              </a:extLst>
            </p:cNvPr>
            <p:cNvSpPr/>
            <p:nvPr/>
          </p:nvSpPr>
          <p:spPr>
            <a:xfrm>
              <a:off x="5302306" y="1"/>
              <a:ext cx="6889692" cy="3651191"/>
            </a:xfrm>
            <a:custGeom>
              <a:avLst/>
              <a:gdLst>
                <a:gd name="connsiteX0" fmla="*/ 0 w 6889692"/>
                <a:gd name="connsiteY0" fmla="*/ 0 h 3651191"/>
                <a:gd name="connsiteX1" fmla="*/ 6889692 w 6889692"/>
                <a:gd name="connsiteY1" fmla="*/ 0 h 3651191"/>
                <a:gd name="connsiteX2" fmla="*/ 6889692 w 6889692"/>
                <a:gd name="connsiteY2" fmla="*/ 3651191 h 3651191"/>
                <a:gd name="connsiteX3" fmla="*/ 6864916 w 6889692"/>
                <a:gd name="connsiteY3" fmla="*/ 3622079 h 3651191"/>
                <a:gd name="connsiteX4" fmla="*/ 6346554 w 6889692"/>
                <a:gd name="connsiteY4" fmla="*/ 3338289 h 3651191"/>
                <a:gd name="connsiteX5" fmla="*/ 3294832 w 6889692"/>
                <a:gd name="connsiteY5" fmla="*/ 2501988 h 3651191"/>
                <a:gd name="connsiteX6" fmla="*/ 431501 w 6889692"/>
                <a:gd name="connsiteY6" fmla="*/ 250284 h 3651191"/>
                <a:gd name="connsiteX7" fmla="*/ 431559 w 6889692"/>
                <a:gd name="connsiteY7" fmla="*/ 250284 h 3651191"/>
                <a:gd name="connsiteX8" fmla="*/ 24892 w 6889692"/>
                <a:gd name="connsiteY8" fmla="*/ 18948 h 3651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89692" h="3651191">
                  <a:moveTo>
                    <a:pt x="0" y="0"/>
                  </a:moveTo>
                  <a:lnTo>
                    <a:pt x="6889692" y="0"/>
                  </a:lnTo>
                  <a:lnTo>
                    <a:pt x="6889692" y="3651191"/>
                  </a:lnTo>
                  <a:lnTo>
                    <a:pt x="6864916" y="3622079"/>
                  </a:lnTo>
                  <a:cubicBezTo>
                    <a:pt x="6741099" y="3492174"/>
                    <a:pt x="6574262" y="3392139"/>
                    <a:pt x="6346554" y="3338289"/>
                  </a:cubicBezTo>
                  <a:cubicBezTo>
                    <a:pt x="5167714" y="3059467"/>
                    <a:pt x="4531806" y="3796263"/>
                    <a:pt x="3294832" y="2501988"/>
                  </a:cubicBezTo>
                  <a:cubicBezTo>
                    <a:pt x="2099512" y="1251301"/>
                    <a:pt x="2610418" y="1274588"/>
                    <a:pt x="431501" y="250284"/>
                  </a:cubicBezTo>
                  <a:lnTo>
                    <a:pt x="431559" y="250284"/>
                  </a:lnTo>
                  <a:cubicBezTo>
                    <a:pt x="287818" y="182709"/>
                    <a:pt x="151204" y="105869"/>
                    <a:pt x="24892" y="18948"/>
                  </a:cubicBezTo>
                  <a:close/>
                </a:path>
              </a:pathLst>
            </a:custGeom>
            <a:solidFill>
              <a:schemeClr val="tx2">
                <a:lumMod val="50000"/>
              </a:schemeClr>
            </a:solidFill>
            <a:ln w="2142" cap="flat">
              <a:noFill/>
              <a:prstDash val="solid"/>
              <a:miter/>
            </a:ln>
            <a:effectLst>
              <a:outerShdw blurRad="25400" dist="25400" dir="8100000" algn="tr" rotWithShape="0">
                <a:prstClr val="black">
                  <a:alpha val="58000"/>
                </a:prstClr>
              </a:outerShdw>
            </a:effectLst>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Shape 9">
              <a:extLst>
                <a:ext uri="{FF2B5EF4-FFF2-40B4-BE49-F238E27FC236}">
                  <a16:creationId xmlns:a16="http://schemas.microsoft.com/office/drawing/2014/main" id="{F31B3A35-CBD4-D8F4-E297-CC761DF04D17}"/>
                </a:ext>
              </a:extLst>
            </p:cNvPr>
            <p:cNvSpPr/>
            <p:nvPr/>
          </p:nvSpPr>
          <p:spPr>
            <a:xfrm flipH="1">
              <a:off x="1976638" y="4130193"/>
              <a:ext cx="10215358" cy="2727805"/>
            </a:xfrm>
            <a:custGeom>
              <a:avLst/>
              <a:gdLst>
                <a:gd name="connsiteX0" fmla="*/ 795455 w 10215358"/>
                <a:gd name="connsiteY0" fmla="*/ 462 h 2727805"/>
                <a:gd name="connsiteX1" fmla="*/ 499463 w 10215358"/>
                <a:gd name="connsiteY1" fmla="*/ 24353 h 2727805"/>
                <a:gd name="connsiteX2" fmla="*/ 95236 w 10215358"/>
                <a:gd name="connsiteY2" fmla="*/ 119650 h 2727805"/>
                <a:gd name="connsiteX3" fmla="*/ 0 w 10215358"/>
                <a:gd name="connsiteY3" fmla="*/ 157430 h 2727805"/>
                <a:gd name="connsiteX4" fmla="*/ 0 w 10215358"/>
                <a:gd name="connsiteY4" fmla="*/ 2727805 h 2727805"/>
                <a:gd name="connsiteX5" fmla="*/ 10215358 w 10215358"/>
                <a:gd name="connsiteY5" fmla="*/ 2727805 h 2727805"/>
                <a:gd name="connsiteX6" fmla="*/ 10144639 w 10215358"/>
                <a:gd name="connsiteY6" fmla="*/ 2558390 h 2727805"/>
                <a:gd name="connsiteX7" fmla="*/ 7779224 w 10215358"/>
                <a:gd name="connsiteY7" fmla="*/ 1469756 h 2727805"/>
                <a:gd name="connsiteX8" fmla="*/ 4355227 w 10215358"/>
                <a:gd name="connsiteY8" fmla="*/ 2122885 h 2727805"/>
                <a:gd name="connsiteX9" fmla="*/ 795455 w 10215358"/>
                <a:gd name="connsiteY9" fmla="*/ 462 h 2727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215358" h="2727805">
                  <a:moveTo>
                    <a:pt x="795455" y="462"/>
                  </a:moveTo>
                  <a:cubicBezTo>
                    <a:pt x="698656" y="2360"/>
                    <a:pt x="600035" y="10149"/>
                    <a:pt x="499463" y="24353"/>
                  </a:cubicBezTo>
                  <a:cubicBezTo>
                    <a:pt x="355761" y="44646"/>
                    <a:pt x="220974" y="76809"/>
                    <a:pt x="95236" y="119650"/>
                  </a:cubicBezTo>
                  <a:lnTo>
                    <a:pt x="0" y="157430"/>
                  </a:lnTo>
                  <a:lnTo>
                    <a:pt x="0" y="2727805"/>
                  </a:lnTo>
                  <a:lnTo>
                    <a:pt x="10215358" y="2727805"/>
                  </a:lnTo>
                  <a:lnTo>
                    <a:pt x="10144639" y="2558390"/>
                  </a:lnTo>
                  <a:cubicBezTo>
                    <a:pt x="9781843" y="1762373"/>
                    <a:pt x="8946083" y="1086740"/>
                    <a:pt x="7779224" y="1469756"/>
                  </a:cubicBezTo>
                  <a:cubicBezTo>
                    <a:pt x="6647424" y="1841299"/>
                    <a:pt x="5731723" y="3225843"/>
                    <a:pt x="4355227" y="2122885"/>
                  </a:cubicBezTo>
                  <a:cubicBezTo>
                    <a:pt x="3289527" y="1268936"/>
                    <a:pt x="2247448" y="-28013"/>
                    <a:pt x="795455" y="462"/>
                  </a:cubicBezTo>
                  <a:close/>
                </a:path>
              </a:pathLst>
            </a:custGeom>
            <a:gradFill flip="none" rotWithShape="1">
              <a:gsLst>
                <a:gs pos="10000">
                  <a:schemeClr val="accent1">
                    <a:alpha val="0"/>
                  </a:schemeClr>
                </a:gs>
                <a:gs pos="100000">
                  <a:schemeClr val="tx2">
                    <a:lumMod val="50000"/>
                  </a:schemeClr>
                </a:gs>
              </a:gsLst>
              <a:lin ang="10800000" scaled="1"/>
              <a:tileRect/>
            </a:gradFill>
            <a:ln w="214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Freeform: Shape 10">
              <a:extLst>
                <a:ext uri="{FF2B5EF4-FFF2-40B4-BE49-F238E27FC236}">
                  <a16:creationId xmlns:a16="http://schemas.microsoft.com/office/drawing/2014/main" id="{89B939AD-4AF7-2AB0-C517-847E0C9947CB}"/>
                </a:ext>
              </a:extLst>
            </p:cNvPr>
            <p:cNvSpPr/>
            <p:nvPr/>
          </p:nvSpPr>
          <p:spPr>
            <a:xfrm flipH="1" flipV="1">
              <a:off x="0" y="2735943"/>
              <a:ext cx="4122057" cy="4122055"/>
            </a:xfrm>
            <a:custGeom>
              <a:avLst/>
              <a:gdLst>
                <a:gd name="connsiteX0" fmla="*/ 6613200 w 6689088"/>
                <a:gd name="connsiteY0" fmla="*/ 6687632 h 6689084"/>
                <a:gd name="connsiteX1" fmla="*/ 6613929 w 6689088"/>
                <a:gd name="connsiteY1" fmla="*/ 6688360 h 6689084"/>
                <a:gd name="connsiteX2" fmla="*/ 6613200 w 6689088"/>
                <a:gd name="connsiteY2" fmla="*/ 6689084 h 6689084"/>
                <a:gd name="connsiteX3" fmla="*/ 6612476 w 6689088"/>
                <a:gd name="connsiteY3" fmla="*/ 6688360 h 6689084"/>
                <a:gd name="connsiteX4" fmla="*/ 6613200 w 6689088"/>
                <a:gd name="connsiteY4" fmla="*/ 6687632 h 6689084"/>
                <a:gd name="connsiteX5" fmla="*/ 6613200 w 6689088"/>
                <a:gd name="connsiteY5" fmla="*/ 6534050 h 6689084"/>
                <a:gd name="connsiteX6" fmla="*/ 6613566 w 6689088"/>
                <a:gd name="connsiteY6" fmla="*/ 6534413 h 6689084"/>
                <a:gd name="connsiteX7" fmla="*/ 6613200 w 6689088"/>
                <a:gd name="connsiteY7" fmla="*/ 6534775 h 6689084"/>
                <a:gd name="connsiteX8" fmla="*/ 6612838 w 6689088"/>
                <a:gd name="connsiteY8" fmla="*/ 6534413 h 6689084"/>
                <a:gd name="connsiteX9" fmla="*/ 6613200 w 6689088"/>
                <a:gd name="connsiteY9" fmla="*/ 6534050 h 6689084"/>
                <a:gd name="connsiteX10" fmla="*/ 6459619 w 6689088"/>
                <a:gd name="connsiteY10" fmla="*/ 6533684 h 6689084"/>
                <a:gd name="connsiteX11" fmla="*/ 6460344 w 6689088"/>
                <a:gd name="connsiteY11" fmla="*/ 6534413 h 6689084"/>
                <a:gd name="connsiteX12" fmla="*/ 6459619 w 6689088"/>
                <a:gd name="connsiteY12" fmla="*/ 6535137 h 6689084"/>
                <a:gd name="connsiteX13" fmla="*/ 6458891 w 6689088"/>
                <a:gd name="connsiteY13" fmla="*/ 6534413 h 6689084"/>
                <a:gd name="connsiteX14" fmla="*/ 6459619 w 6689088"/>
                <a:gd name="connsiteY14" fmla="*/ 6533684 h 6689084"/>
                <a:gd name="connsiteX15" fmla="*/ 6613200 w 6689088"/>
                <a:gd name="connsiteY15" fmla="*/ 6380465 h 6689084"/>
                <a:gd name="connsiteX16" fmla="*/ 6613566 w 6689088"/>
                <a:gd name="connsiteY16" fmla="*/ 6380827 h 6689084"/>
                <a:gd name="connsiteX17" fmla="*/ 6613200 w 6689088"/>
                <a:gd name="connsiteY17" fmla="*/ 6381193 h 6689084"/>
                <a:gd name="connsiteX18" fmla="*/ 6612838 w 6689088"/>
                <a:gd name="connsiteY18" fmla="*/ 6380827 h 6689084"/>
                <a:gd name="connsiteX19" fmla="*/ 6613200 w 6689088"/>
                <a:gd name="connsiteY19" fmla="*/ 6380465 h 6689084"/>
                <a:gd name="connsiteX20" fmla="*/ 6459616 w 6689088"/>
                <a:gd name="connsiteY20" fmla="*/ 6380465 h 6689084"/>
                <a:gd name="connsiteX21" fmla="*/ 6459982 w 6689088"/>
                <a:gd name="connsiteY21" fmla="*/ 6380827 h 6689084"/>
                <a:gd name="connsiteX22" fmla="*/ 6459616 w 6689088"/>
                <a:gd name="connsiteY22" fmla="*/ 6381193 h 6689084"/>
                <a:gd name="connsiteX23" fmla="*/ 6459254 w 6689088"/>
                <a:gd name="connsiteY23" fmla="*/ 6380827 h 6689084"/>
                <a:gd name="connsiteX24" fmla="*/ 6459616 w 6689088"/>
                <a:gd name="connsiteY24" fmla="*/ 6380465 h 6689084"/>
                <a:gd name="connsiteX25" fmla="*/ 6305668 w 6689088"/>
                <a:gd name="connsiteY25" fmla="*/ 6380103 h 6689084"/>
                <a:gd name="connsiteX26" fmla="*/ 6306396 w 6689088"/>
                <a:gd name="connsiteY26" fmla="*/ 6380831 h 6689084"/>
                <a:gd name="connsiteX27" fmla="*/ 6305668 w 6689088"/>
                <a:gd name="connsiteY27" fmla="*/ 6381555 h 6689084"/>
                <a:gd name="connsiteX28" fmla="*/ 6304940 w 6689088"/>
                <a:gd name="connsiteY28" fmla="*/ 6380831 h 6689084"/>
                <a:gd name="connsiteX29" fmla="*/ 6305668 w 6689088"/>
                <a:gd name="connsiteY29" fmla="*/ 6380103 h 6689084"/>
                <a:gd name="connsiteX30" fmla="*/ 6459616 w 6689088"/>
                <a:gd name="connsiteY30" fmla="*/ 6226518 h 6689084"/>
                <a:gd name="connsiteX31" fmla="*/ 6459982 w 6689088"/>
                <a:gd name="connsiteY31" fmla="*/ 6226880 h 6689084"/>
                <a:gd name="connsiteX32" fmla="*/ 6459616 w 6689088"/>
                <a:gd name="connsiteY32" fmla="*/ 6227242 h 6689084"/>
                <a:gd name="connsiteX33" fmla="*/ 6459254 w 6689088"/>
                <a:gd name="connsiteY33" fmla="*/ 6226880 h 6689084"/>
                <a:gd name="connsiteX34" fmla="*/ 6459616 w 6689088"/>
                <a:gd name="connsiteY34" fmla="*/ 6226518 h 6689084"/>
                <a:gd name="connsiteX35" fmla="*/ 6305668 w 6689088"/>
                <a:gd name="connsiteY35" fmla="*/ 6226518 h 6689084"/>
                <a:gd name="connsiteX36" fmla="*/ 6306034 w 6689088"/>
                <a:gd name="connsiteY36" fmla="*/ 6226880 h 6689084"/>
                <a:gd name="connsiteX37" fmla="*/ 6305668 w 6689088"/>
                <a:gd name="connsiteY37" fmla="*/ 6227242 h 6689084"/>
                <a:gd name="connsiteX38" fmla="*/ 6305306 w 6689088"/>
                <a:gd name="connsiteY38" fmla="*/ 6226880 h 6689084"/>
                <a:gd name="connsiteX39" fmla="*/ 6305668 w 6689088"/>
                <a:gd name="connsiteY39" fmla="*/ 6226518 h 6689084"/>
                <a:gd name="connsiteX40" fmla="*/ 6152083 w 6689088"/>
                <a:gd name="connsiteY40" fmla="*/ 6226156 h 6689084"/>
                <a:gd name="connsiteX41" fmla="*/ 6152811 w 6689088"/>
                <a:gd name="connsiteY41" fmla="*/ 6226884 h 6689084"/>
                <a:gd name="connsiteX42" fmla="*/ 6152083 w 6689088"/>
                <a:gd name="connsiteY42" fmla="*/ 6227608 h 6689084"/>
                <a:gd name="connsiteX43" fmla="*/ 6151358 w 6689088"/>
                <a:gd name="connsiteY43" fmla="*/ 6226884 h 6689084"/>
                <a:gd name="connsiteX44" fmla="*/ 6152083 w 6689088"/>
                <a:gd name="connsiteY44" fmla="*/ 6226156 h 6689084"/>
                <a:gd name="connsiteX45" fmla="*/ 6305668 w 6689088"/>
                <a:gd name="connsiteY45" fmla="*/ 6072933 h 6689084"/>
                <a:gd name="connsiteX46" fmla="*/ 6306034 w 6689088"/>
                <a:gd name="connsiteY46" fmla="*/ 6073295 h 6689084"/>
                <a:gd name="connsiteX47" fmla="*/ 6305668 w 6689088"/>
                <a:gd name="connsiteY47" fmla="*/ 6073661 h 6689084"/>
                <a:gd name="connsiteX48" fmla="*/ 6305306 w 6689088"/>
                <a:gd name="connsiteY48" fmla="*/ 6073295 h 6689084"/>
                <a:gd name="connsiteX49" fmla="*/ 6305668 w 6689088"/>
                <a:gd name="connsiteY49" fmla="*/ 6072933 h 6689084"/>
                <a:gd name="connsiteX50" fmla="*/ 6152086 w 6689088"/>
                <a:gd name="connsiteY50" fmla="*/ 6072933 h 6689084"/>
                <a:gd name="connsiteX51" fmla="*/ 6152448 w 6689088"/>
                <a:gd name="connsiteY51" fmla="*/ 6073295 h 6689084"/>
                <a:gd name="connsiteX52" fmla="*/ 6152086 w 6689088"/>
                <a:gd name="connsiteY52" fmla="*/ 6073661 h 6689084"/>
                <a:gd name="connsiteX53" fmla="*/ 6151724 w 6689088"/>
                <a:gd name="connsiteY53" fmla="*/ 6073295 h 6689084"/>
                <a:gd name="connsiteX54" fmla="*/ 6152086 w 6689088"/>
                <a:gd name="connsiteY54" fmla="*/ 6072933 h 6689084"/>
                <a:gd name="connsiteX55" fmla="*/ 5998136 w 6689088"/>
                <a:gd name="connsiteY55" fmla="*/ 6072570 h 6689084"/>
                <a:gd name="connsiteX56" fmla="*/ 5998864 w 6689088"/>
                <a:gd name="connsiteY56" fmla="*/ 6073298 h 6689084"/>
                <a:gd name="connsiteX57" fmla="*/ 5998136 w 6689088"/>
                <a:gd name="connsiteY57" fmla="*/ 6074023 h 6689084"/>
                <a:gd name="connsiteX58" fmla="*/ 5997411 w 6689088"/>
                <a:gd name="connsiteY58" fmla="*/ 6073298 h 6689084"/>
                <a:gd name="connsiteX59" fmla="*/ 5998136 w 6689088"/>
                <a:gd name="connsiteY59" fmla="*/ 6072570 h 6689084"/>
                <a:gd name="connsiteX60" fmla="*/ 6613200 w 6689088"/>
                <a:gd name="connsiteY60" fmla="*/ 5918985 h 6689084"/>
                <a:gd name="connsiteX61" fmla="*/ 6613566 w 6689088"/>
                <a:gd name="connsiteY61" fmla="*/ 5919347 h 6689084"/>
                <a:gd name="connsiteX62" fmla="*/ 6613200 w 6689088"/>
                <a:gd name="connsiteY62" fmla="*/ 5919709 h 6689084"/>
                <a:gd name="connsiteX63" fmla="*/ 6612838 w 6689088"/>
                <a:gd name="connsiteY63" fmla="*/ 5919347 h 6689084"/>
                <a:gd name="connsiteX64" fmla="*/ 6613200 w 6689088"/>
                <a:gd name="connsiteY64" fmla="*/ 5918985 h 6689084"/>
                <a:gd name="connsiteX65" fmla="*/ 6152086 w 6689088"/>
                <a:gd name="connsiteY65" fmla="*/ 5918985 h 6689084"/>
                <a:gd name="connsiteX66" fmla="*/ 6152448 w 6689088"/>
                <a:gd name="connsiteY66" fmla="*/ 5919347 h 6689084"/>
                <a:gd name="connsiteX67" fmla="*/ 6152086 w 6689088"/>
                <a:gd name="connsiteY67" fmla="*/ 5919709 h 6689084"/>
                <a:gd name="connsiteX68" fmla="*/ 6151724 w 6689088"/>
                <a:gd name="connsiteY68" fmla="*/ 5919347 h 6689084"/>
                <a:gd name="connsiteX69" fmla="*/ 6152086 w 6689088"/>
                <a:gd name="connsiteY69" fmla="*/ 5918985 h 6689084"/>
                <a:gd name="connsiteX70" fmla="*/ 5998136 w 6689088"/>
                <a:gd name="connsiteY70" fmla="*/ 5918985 h 6689084"/>
                <a:gd name="connsiteX71" fmla="*/ 5998502 w 6689088"/>
                <a:gd name="connsiteY71" fmla="*/ 5919347 h 6689084"/>
                <a:gd name="connsiteX72" fmla="*/ 5998136 w 6689088"/>
                <a:gd name="connsiteY72" fmla="*/ 5919709 h 6689084"/>
                <a:gd name="connsiteX73" fmla="*/ 5997773 w 6689088"/>
                <a:gd name="connsiteY73" fmla="*/ 5919347 h 6689084"/>
                <a:gd name="connsiteX74" fmla="*/ 5998136 w 6689088"/>
                <a:gd name="connsiteY74" fmla="*/ 5918985 h 6689084"/>
                <a:gd name="connsiteX75" fmla="*/ 5844554 w 6689088"/>
                <a:gd name="connsiteY75" fmla="*/ 5918623 h 6689084"/>
                <a:gd name="connsiteX76" fmla="*/ 5845278 w 6689088"/>
                <a:gd name="connsiteY76" fmla="*/ 5919347 h 6689084"/>
                <a:gd name="connsiteX77" fmla="*/ 5844554 w 6689088"/>
                <a:gd name="connsiteY77" fmla="*/ 5920075 h 6689084"/>
                <a:gd name="connsiteX78" fmla="*/ 5843826 w 6689088"/>
                <a:gd name="connsiteY78" fmla="*/ 5919347 h 6689084"/>
                <a:gd name="connsiteX79" fmla="*/ 5844554 w 6689088"/>
                <a:gd name="connsiteY79" fmla="*/ 5918623 h 6689084"/>
                <a:gd name="connsiteX80" fmla="*/ 6459616 w 6689088"/>
                <a:gd name="connsiteY80" fmla="*/ 5765400 h 6689084"/>
                <a:gd name="connsiteX81" fmla="*/ 6459982 w 6689088"/>
                <a:gd name="connsiteY81" fmla="*/ 5765762 h 6689084"/>
                <a:gd name="connsiteX82" fmla="*/ 6459616 w 6689088"/>
                <a:gd name="connsiteY82" fmla="*/ 5766128 h 6689084"/>
                <a:gd name="connsiteX83" fmla="*/ 6459254 w 6689088"/>
                <a:gd name="connsiteY83" fmla="*/ 5765762 h 6689084"/>
                <a:gd name="connsiteX84" fmla="*/ 6459616 w 6689088"/>
                <a:gd name="connsiteY84" fmla="*/ 5765400 h 6689084"/>
                <a:gd name="connsiteX85" fmla="*/ 5998136 w 6689088"/>
                <a:gd name="connsiteY85" fmla="*/ 5765400 h 6689084"/>
                <a:gd name="connsiteX86" fmla="*/ 5998502 w 6689088"/>
                <a:gd name="connsiteY86" fmla="*/ 5765762 h 6689084"/>
                <a:gd name="connsiteX87" fmla="*/ 5998136 w 6689088"/>
                <a:gd name="connsiteY87" fmla="*/ 5766128 h 6689084"/>
                <a:gd name="connsiteX88" fmla="*/ 5997773 w 6689088"/>
                <a:gd name="connsiteY88" fmla="*/ 5765762 h 6689084"/>
                <a:gd name="connsiteX89" fmla="*/ 5998136 w 6689088"/>
                <a:gd name="connsiteY89" fmla="*/ 5765400 h 6689084"/>
                <a:gd name="connsiteX90" fmla="*/ 5844550 w 6689088"/>
                <a:gd name="connsiteY90" fmla="*/ 5765400 h 6689084"/>
                <a:gd name="connsiteX91" fmla="*/ 5844916 w 6689088"/>
                <a:gd name="connsiteY91" fmla="*/ 5765762 h 6689084"/>
                <a:gd name="connsiteX92" fmla="*/ 5844550 w 6689088"/>
                <a:gd name="connsiteY92" fmla="*/ 5766128 h 6689084"/>
                <a:gd name="connsiteX93" fmla="*/ 5844188 w 6689088"/>
                <a:gd name="connsiteY93" fmla="*/ 5765762 h 6689084"/>
                <a:gd name="connsiteX94" fmla="*/ 5844550 w 6689088"/>
                <a:gd name="connsiteY94" fmla="*/ 5765400 h 6689084"/>
                <a:gd name="connsiteX95" fmla="*/ 5690602 w 6689088"/>
                <a:gd name="connsiteY95" fmla="*/ 5765038 h 6689084"/>
                <a:gd name="connsiteX96" fmla="*/ 5691331 w 6689088"/>
                <a:gd name="connsiteY96" fmla="*/ 5765766 h 6689084"/>
                <a:gd name="connsiteX97" fmla="*/ 5690602 w 6689088"/>
                <a:gd name="connsiteY97" fmla="*/ 5766490 h 6689084"/>
                <a:gd name="connsiteX98" fmla="*/ 5689874 w 6689088"/>
                <a:gd name="connsiteY98" fmla="*/ 5765766 h 6689084"/>
                <a:gd name="connsiteX99" fmla="*/ 5690602 w 6689088"/>
                <a:gd name="connsiteY99" fmla="*/ 5765038 h 6689084"/>
                <a:gd name="connsiteX100" fmla="*/ 6613200 w 6689088"/>
                <a:gd name="connsiteY100" fmla="*/ 5764313 h 6689084"/>
                <a:gd name="connsiteX101" fmla="*/ 6614653 w 6689088"/>
                <a:gd name="connsiteY101" fmla="*/ 5765766 h 6689084"/>
                <a:gd name="connsiteX102" fmla="*/ 6613200 w 6689088"/>
                <a:gd name="connsiteY102" fmla="*/ 5767218 h 6689084"/>
                <a:gd name="connsiteX103" fmla="*/ 6611752 w 6689088"/>
                <a:gd name="connsiteY103" fmla="*/ 5765766 h 6689084"/>
                <a:gd name="connsiteX104" fmla="*/ 6613200 w 6689088"/>
                <a:gd name="connsiteY104" fmla="*/ 5764313 h 6689084"/>
                <a:gd name="connsiteX105" fmla="*/ 6305668 w 6689088"/>
                <a:gd name="connsiteY105" fmla="*/ 5611452 h 6689084"/>
                <a:gd name="connsiteX106" fmla="*/ 6306034 w 6689088"/>
                <a:gd name="connsiteY106" fmla="*/ 5611815 h 6689084"/>
                <a:gd name="connsiteX107" fmla="*/ 6305668 w 6689088"/>
                <a:gd name="connsiteY107" fmla="*/ 5612177 h 6689084"/>
                <a:gd name="connsiteX108" fmla="*/ 6305306 w 6689088"/>
                <a:gd name="connsiteY108" fmla="*/ 5611815 h 6689084"/>
                <a:gd name="connsiteX109" fmla="*/ 6305668 w 6689088"/>
                <a:gd name="connsiteY109" fmla="*/ 5611452 h 6689084"/>
                <a:gd name="connsiteX110" fmla="*/ 5844550 w 6689088"/>
                <a:gd name="connsiteY110" fmla="*/ 5611452 h 6689084"/>
                <a:gd name="connsiteX111" fmla="*/ 5844916 w 6689088"/>
                <a:gd name="connsiteY111" fmla="*/ 5611815 h 6689084"/>
                <a:gd name="connsiteX112" fmla="*/ 5844550 w 6689088"/>
                <a:gd name="connsiteY112" fmla="*/ 5612181 h 6689084"/>
                <a:gd name="connsiteX113" fmla="*/ 5844188 w 6689088"/>
                <a:gd name="connsiteY113" fmla="*/ 5611815 h 6689084"/>
                <a:gd name="connsiteX114" fmla="*/ 5844550 w 6689088"/>
                <a:gd name="connsiteY114" fmla="*/ 5611452 h 6689084"/>
                <a:gd name="connsiteX115" fmla="*/ 5690606 w 6689088"/>
                <a:gd name="connsiteY115" fmla="*/ 5611452 h 6689084"/>
                <a:gd name="connsiteX116" fmla="*/ 5690972 w 6689088"/>
                <a:gd name="connsiteY116" fmla="*/ 5611815 h 6689084"/>
                <a:gd name="connsiteX117" fmla="*/ 5690606 w 6689088"/>
                <a:gd name="connsiteY117" fmla="*/ 5612181 h 6689084"/>
                <a:gd name="connsiteX118" fmla="*/ 5690244 w 6689088"/>
                <a:gd name="connsiteY118" fmla="*/ 5611815 h 6689084"/>
                <a:gd name="connsiteX119" fmla="*/ 5690606 w 6689088"/>
                <a:gd name="connsiteY119" fmla="*/ 5611452 h 6689084"/>
                <a:gd name="connsiteX120" fmla="*/ 5537021 w 6689088"/>
                <a:gd name="connsiteY120" fmla="*/ 5611090 h 6689084"/>
                <a:gd name="connsiteX121" fmla="*/ 5537750 w 6689088"/>
                <a:gd name="connsiteY121" fmla="*/ 5611815 h 6689084"/>
                <a:gd name="connsiteX122" fmla="*/ 5537021 w 6689088"/>
                <a:gd name="connsiteY122" fmla="*/ 5612543 h 6689084"/>
                <a:gd name="connsiteX123" fmla="*/ 5536297 w 6689088"/>
                <a:gd name="connsiteY123" fmla="*/ 5611815 h 6689084"/>
                <a:gd name="connsiteX124" fmla="*/ 5537021 w 6689088"/>
                <a:gd name="connsiteY124" fmla="*/ 5611090 h 6689084"/>
                <a:gd name="connsiteX125" fmla="*/ 6459616 w 6689088"/>
                <a:gd name="connsiteY125" fmla="*/ 5610366 h 6689084"/>
                <a:gd name="connsiteX126" fmla="*/ 6461068 w 6689088"/>
                <a:gd name="connsiteY126" fmla="*/ 5611818 h 6689084"/>
                <a:gd name="connsiteX127" fmla="*/ 6459616 w 6689088"/>
                <a:gd name="connsiteY127" fmla="*/ 5613271 h 6689084"/>
                <a:gd name="connsiteX128" fmla="*/ 6458163 w 6689088"/>
                <a:gd name="connsiteY128" fmla="*/ 5611818 h 6689084"/>
                <a:gd name="connsiteX129" fmla="*/ 6459616 w 6689088"/>
                <a:gd name="connsiteY129" fmla="*/ 5610366 h 6689084"/>
                <a:gd name="connsiteX130" fmla="*/ 6613200 w 6689088"/>
                <a:gd name="connsiteY130" fmla="*/ 5609638 h 6689084"/>
                <a:gd name="connsiteX131" fmla="*/ 6615381 w 6689088"/>
                <a:gd name="connsiteY131" fmla="*/ 5611815 h 6689084"/>
                <a:gd name="connsiteX132" fmla="*/ 6613200 w 6689088"/>
                <a:gd name="connsiteY132" fmla="*/ 5613995 h 6689084"/>
                <a:gd name="connsiteX133" fmla="*/ 6611024 w 6689088"/>
                <a:gd name="connsiteY133" fmla="*/ 5611815 h 6689084"/>
                <a:gd name="connsiteX134" fmla="*/ 6613200 w 6689088"/>
                <a:gd name="connsiteY134" fmla="*/ 5609638 h 6689084"/>
                <a:gd name="connsiteX135" fmla="*/ 6152086 w 6689088"/>
                <a:gd name="connsiteY135" fmla="*/ 5457871 h 6689084"/>
                <a:gd name="connsiteX136" fmla="*/ 6152448 w 6689088"/>
                <a:gd name="connsiteY136" fmla="*/ 5458233 h 6689084"/>
                <a:gd name="connsiteX137" fmla="*/ 6152086 w 6689088"/>
                <a:gd name="connsiteY137" fmla="*/ 5458595 h 6689084"/>
                <a:gd name="connsiteX138" fmla="*/ 6151724 w 6689088"/>
                <a:gd name="connsiteY138" fmla="*/ 5458233 h 6689084"/>
                <a:gd name="connsiteX139" fmla="*/ 6152086 w 6689088"/>
                <a:gd name="connsiteY139" fmla="*/ 5457871 h 6689084"/>
                <a:gd name="connsiteX140" fmla="*/ 5690606 w 6689088"/>
                <a:gd name="connsiteY140" fmla="*/ 5457871 h 6689084"/>
                <a:gd name="connsiteX141" fmla="*/ 5690972 w 6689088"/>
                <a:gd name="connsiteY141" fmla="*/ 5458233 h 6689084"/>
                <a:gd name="connsiteX142" fmla="*/ 5690606 w 6689088"/>
                <a:gd name="connsiteY142" fmla="*/ 5458595 h 6689084"/>
                <a:gd name="connsiteX143" fmla="*/ 5690244 w 6689088"/>
                <a:gd name="connsiteY143" fmla="*/ 5458233 h 6689084"/>
                <a:gd name="connsiteX144" fmla="*/ 5690606 w 6689088"/>
                <a:gd name="connsiteY144" fmla="*/ 5457871 h 6689084"/>
                <a:gd name="connsiteX145" fmla="*/ 5536659 w 6689088"/>
                <a:gd name="connsiteY145" fmla="*/ 5457871 h 6689084"/>
                <a:gd name="connsiteX146" fmla="*/ 5537021 w 6689088"/>
                <a:gd name="connsiteY146" fmla="*/ 5458233 h 6689084"/>
                <a:gd name="connsiteX147" fmla="*/ 5536659 w 6689088"/>
                <a:gd name="connsiteY147" fmla="*/ 5458595 h 6689084"/>
                <a:gd name="connsiteX148" fmla="*/ 5536297 w 6689088"/>
                <a:gd name="connsiteY148" fmla="*/ 5458233 h 6689084"/>
                <a:gd name="connsiteX149" fmla="*/ 5536659 w 6689088"/>
                <a:gd name="connsiteY149" fmla="*/ 5457871 h 6689084"/>
                <a:gd name="connsiteX150" fmla="*/ 5383078 w 6689088"/>
                <a:gd name="connsiteY150" fmla="*/ 5457505 h 6689084"/>
                <a:gd name="connsiteX151" fmla="*/ 5383802 w 6689088"/>
                <a:gd name="connsiteY151" fmla="*/ 5458233 h 6689084"/>
                <a:gd name="connsiteX152" fmla="*/ 5383078 w 6689088"/>
                <a:gd name="connsiteY152" fmla="*/ 5458957 h 6689084"/>
                <a:gd name="connsiteX153" fmla="*/ 5382350 w 6689088"/>
                <a:gd name="connsiteY153" fmla="*/ 5458233 h 6689084"/>
                <a:gd name="connsiteX154" fmla="*/ 5383078 w 6689088"/>
                <a:gd name="connsiteY154" fmla="*/ 5457505 h 6689084"/>
                <a:gd name="connsiteX155" fmla="*/ 6305668 w 6689088"/>
                <a:gd name="connsiteY155" fmla="*/ 5456781 h 6689084"/>
                <a:gd name="connsiteX156" fmla="*/ 6307120 w 6689088"/>
                <a:gd name="connsiteY156" fmla="*/ 5458233 h 6689084"/>
                <a:gd name="connsiteX157" fmla="*/ 6305668 w 6689088"/>
                <a:gd name="connsiteY157" fmla="*/ 5459685 h 6689084"/>
                <a:gd name="connsiteX158" fmla="*/ 6304216 w 6689088"/>
                <a:gd name="connsiteY158" fmla="*/ 5458233 h 6689084"/>
                <a:gd name="connsiteX159" fmla="*/ 6305668 w 6689088"/>
                <a:gd name="connsiteY159" fmla="*/ 5456781 h 6689084"/>
                <a:gd name="connsiteX160" fmla="*/ 6459619 w 6689088"/>
                <a:gd name="connsiteY160" fmla="*/ 5456053 h 6689084"/>
                <a:gd name="connsiteX161" fmla="*/ 6461796 w 6689088"/>
                <a:gd name="connsiteY161" fmla="*/ 5458233 h 6689084"/>
                <a:gd name="connsiteX162" fmla="*/ 6459619 w 6689088"/>
                <a:gd name="connsiteY162" fmla="*/ 5460410 h 6689084"/>
                <a:gd name="connsiteX163" fmla="*/ 6457439 w 6689088"/>
                <a:gd name="connsiteY163" fmla="*/ 5458233 h 6689084"/>
                <a:gd name="connsiteX164" fmla="*/ 6459619 w 6689088"/>
                <a:gd name="connsiteY164" fmla="*/ 5456053 h 6689084"/>
                <a:gd name="connsiteX165" fmla="*/ 6613200 w 6689088"/>
                <a:gd name="connsiteY165" fmla="*/ 5454966 h 6689084"/>
                <a:gd name="connsiteX166" fmla="*/ 6616468 w 6689088"/>
                <a:gd name="connsiteY166" fmla="*/ 5458233 h 6689084"/>
                <a:gd name="connsiteX167" fmla="*/ 6613200 w 6689088"/>
                <a:gd name="connsiteY167" fmla="*/ 5461500 h 6689084"/>
                <a:gd name="connsiteX168" fmla="*/ 6609934 w 6689088"/>
                <a:gd name="connsiteY168" fmla="*/ 5458233 h 6689084"/>
                <a:gd name="connsiteX169" fmla="*/ 6613200 w 6689088"/>
                <a:gd name="connsiteY169" fmla="*/ 5454966 h 6689084"/>
                <a:gd name="connsiteX170" fmla="*/ 5998136 w 6689088"/>
                <a:gd name="connsiteY170" fmla="*/ 5303924 h 6689084"/>
                <a:gd name="connsiteX171" fmla="*/ 5998502 w 6689088"/>
                <a:gd name="connsiteY171" fmla="*/ 5304286 h 6689084"/>
                <a:gd name="connsiteX172" fmla="*/ 5998136 w 6689088"/>
                <a:gd name="connsiteY172" fmla="*/ 5304652 h 6689084"/>
                <a:gd name="connsiteX173" fmla="*/ 5997773 w 6689088"/>
                <a:gd name="connsiteY173" fmla="*/ 5304286 h 6689084"/>
                <a:gd name="connsiteX174" fmla="*/ 5998136 w 6689088"/>
                <a:gd name="connsiteY174" fmla="*/ 5303924 h 6689084"/>
                <a:gd name="connsiteX175" fmla="*/ 5536659 w 6689088"/>
                <a:gd name="connsiteY175" fmla="*/ 5303924 h 6689084"/>
                <a:gd name="connsiteX176" fmla="*/ 5537021 w 6689088"/>
                <a:gd name="connsiteY176" fmla="*/ 5304286 h 6689084"/>
                <a:gd name="connsiteX177" fmla="*/ 5536659 w 6689088"/>
                <a:gd name="connsiteY177" fmla="*/ 5304652 h 6689084"/>
                <a:gd name="connsiteX178" fmla="*/ 5536297 w 6689088"/>
                <a:gd name="connsiteY178" fmla="*/ 5304286 h 6689084"/>
                <a:gd name="connsiteX179" fmla="*/ 5536659 w 6689088"/>
                <a:gd name="connsiteY179" fmla="*/ 5303924 h 6689084"/>
                <a:gd name="connsiteX180" fmla="*/ 5383074 w 6689088"/>
                <a:gd name="connsiteY180" fmla="*/ 5303924 h 6689084"/>
                <a:gd name="connsiteX181" fmla="*/ 5383436 w 6689088"/>
                <a:gd name="connsiteY181" fmla="*/ 5304286 h 6689084"/>
                <a:gd name="connsiteX182" fmla="*/ 5383074 w 6689088"/>
                <a:gd name="connsiteY182" fmla="*/ 5304652 h 6689084"/>
                <a:gd name="connsiteX183" fmla="*/ 5382712 w 6689088"/>
                <a:gd name="connsiteY183" fmla="*/ 5304286 h 6689084"/>
                <a:gd name="connsiteX184" fmla="*/ 5383074 w 6689088"/>
                <a:gd name="connsiteY184" fmla="*/ 5303924 h 6689084"/>
                <a:gd name="connsiteX185" fmla="*/ 5229126 w 6689088"/>
                <a:gd name="connsiteY185" fmla="*/ 5303558 h 6689084"/>
                <a:gd name="connsiteX186" fmla="*/ 5229854 w 6689088"/>
                <a:gd name="connsiteY186" fmla="*/ 5304282 h 6689084"/>
                <a:gd name="connsiteX187" fmla="*/ 5229126 w 6689088"/>
                <a:gd name="connsiteY187" fmla="*/ 5305010 h 6689084"/>
                <a:gd name="connsiteX188" fmla="*/ 5228402 w 6689088"/>
                <a:gd name="connsiteY188" fmla="*/ 5304282 h 6689084"/>
                <a:gd name="connsiteX189" fmla="*/ 5229126 w 6689088"/>
                <a:gd name="connsiteY189" fmla="*/ 5303558 h 6689084"/>
                <a:gd name="connsiteX190" fmla="*/ 6152086 w 6689088"/>
                <a:gd name="connsiteY190" fmla="*/ 5302833 h 6689084"/>
                <a:gd name="connsiteX191" fmla="*/ 6153539 w 6689088"/>
                <a:gd name="connsiteY191" fmla="*/ 5304286 h 6689084"/>
                <a:gd name="connsiteX192" fmla="*/ 6152086 w 6689088"/>
                <a:gd name="connsiteY192" fmla="*/ 5305738 h 6689084"/>
                <a:gd name="connsiteX193" fmla="*/ 6150638 w 6689088"/>
                <a:gd name="connsiteY193" fmla="*/ 5304286 h 6689084"/>
                <a:gd name="connsiteX194" fmla="*/ 6152086 w 6689088"/>
                <a:gd name="connsiteY194" fmla="*/ 5302833 h 6689084"/>
                <a:gd name="connsiteX195" fmla="*/ 6305672 w 6689088"/>
                <a:gd name="connsiteY195" fmla="*/ 5302105 h 6689084"/>
                <a:gd name="connsiteX196" fmla="*/ 6307848 w 6689088"/>
                <a:gd name="connsiteY196" fmla="*/ 5304282 h 6689084"/>
                <a:gd name="connsiteX197" fmla="*/ 6305672 w 6689088"/>
                <a:gd name="connsiteY197" fmla="*/ 5306462 h 6689084"/>
                <a:gd name="connsiteX198" fmla="*/ 6303492 w 6689088"/>
                <a:gd name="connsiteY198" fmla="*/ 5304282 h 6689084"/>
                <a:gd name="connsiteX199" fmla="*/ 6305672 w 6689088"/>
                <a:gd name="connsiteY199" fmla="*/ 5302105 h 6689084"/>
                <a:gd name="connsiteX200" fmla="*/ 6459619 w 6689088"/>
                <a:gd name="connsiteY200" fmla="*/ 5301019 h 6689084"/>
                <a:gd name="connsiteX201" fmla="*/ 6462882 w 6689088"/>
                <a:gd name="connsiteY201" fmla="*/ 5304286 h 6689084"/>
                <a:gd name="connsiteX202" fmla="*/ 6459619 w 6689088"/>
                <a:gd name="connsiteY202" fmla="*/ 5307553 h 6689084"/>
                <a:gd name="connsiteX203" fmla="*/ 6456348 w 6689088"/>
                <a:gd name="connsiteY203" fmla="*/ 5304286 h 6689084"/>
                <a:gd name="connsiteX204" fmla="*/ 6459619 w 6689088"/>
                <a:gd name="connsiteY204" fmla="*/ 5301019 h 6689084"/>
                <a:gd name="connsiteX205" fmla="*/ 6613200 w 6689088"/>
                <a:gd name="connsiteY205" fmla="*/ 5299929 h 6689084"/>
                <a:gd name="connsiteX206" fmla="*/ 6617558 w 6689088"/>
                <a:gd name="connsiteY206" fmla="*/ 5304286 h 6689084"/>
                <a:gd name="connsiteX207" fmla="*/ 6613200 w 6689088"/>
                <a:gd name="connsiteY207" fmla="*/ 5308643 h 6689084"/>
                <a:gd name="connsiteX208" fmla="*/ 6608844 w 6689088"/>
                <a:gd name="connsiteY208" fmla="*/ 5304286 h 6689084"/>
                <a:gd name="connsiteX209" fmla="*/ 6613200 w 6689088"/>
                <a:gd name="connsiteY209" fmla="*/ 5299929 h 6689084"/>
                <a:gd name="connsiteX210" fmla="*/ 5844550 w 6689088"/>
                <a:gd name="connsiteY210" fmla="*/ 5150338 h 6689084"/>
                <a:gd name="connsiteX211" fmla="*/ 5844916 w 6689088"/>
                <a:gd name="connsiteY211" fmla="*/ 5150700 h 6689084"/>
                <a:gd name="connsiteX212" fmla="*/ 5844550 w 6689088"/>
                <a:gd name="connsiteY212" fmla="*/ 5151063 h 6689084"/>
                <a:gd name="connsiteX213" fmla="*/ 5844188 w 6689088"/>
                <a:gd name="connsiteY213" fmla="*/ 5150700 h 6689084"/>
                <a:gd name="connsiteX214" fmla="*/ 5844550 w 6689088"/>
                <a:gd name="connsiteY214" fmla="*/ 5150338 h 6689084"/>
                <a:gd name="connsiteX215" fmla="*/ 5383074 w 6689088"/>
                <a:gd name="connsiteY215" fmla="*/ 5150338 h 6689084"/>
                <a:gd name="connsiteX216" fmla="*/ 5383436 w 6689088"/>
                <a:gd name="connsiteY216" fmla="*/ 5150700 h 6689084"/>
                <a:gd name="connsiteX217" fmla="*/ 5383074 w 6689088"/>
                <a:gd name="connsiteY217" fmla="*/ 5151063 h 6689084"/>
                <a:gd name="connsiteX218" fmla="*/ 5382712 w 6689088"/>
                <a:gd name="connsiteY218" fmla="*/ 5150700 h 6689084"/>
                <a:gd name="connsiteX219" fmla="*/ 5383074 w 6689088"/>
                <a:gd name="connsiteY219" fmla="*/ 5150338 h 6689084"/>
                <a:gd name="connsiteX220" fmla="*/ 5229126 w 6689088"/>
                <a:gd name="connsiteY220" fmla="*/ 5150338 h 6689084"/>
                <a:gd name="connsiteX221" fmla="*/ 5229488 w 6689088"/>
                <a:gd name="connsiteY221" fmla="*/ 5150700 h 6689084"/>
                <a:gd name="connsiteX222" fmla="*/ 5229126 w 6689088"/>
                <a:gd name="connsiteY222" fmla="*/ 5151063 h 6689084"/>
                <a:gd name="connsiteX223" fmla="*/ 5228764 w 6689088"/>
                <a:gd name="connsiteY223" fmla="*/ 5150700 h 6689084"/>
                <a:gd name="connsiteX224" fmla="*/ 5229126 w 6689088"/>
                <a:gd name="connsiteY224" fmla="*/ 5150338 h 6689084"/>
                <a:gd name="connsiteX225" fmla="*/ 5075545 w 6689088"/>
                <a:gd name="connsiteY225" fmla="*/ 5149972 h 6689084"/>
                <a:gd name="connsiteX226" fmla="*/ 5076270 w 6689088"/>
                <a:gd name="connsiteY226" fmla="*/ 5150700 h 6689084"/>
                <a:gd name="connsiteX227" fmla="*/ 5075545 w 6689088"/>
                <a:gd name="connsiteY227" fmla="*/ 5151425 h 6689084"/>
                <a:gd name="connsiteX228" fmla="*/ 5074817 w 6689088"/>
                <a:gd name="connsiteY228" fmla="*/ 5150700 h 6689084"/>
                <a:gd name="connsiteX229" fmla="*/ 5075545 w 6689088"/>
                <a:gd name="connsiteY229" fmla="*/ 5149972 h 6689084"/>
                <a:gd name="connsiteX230" fmla="*/ 5998139 w 6689088"/>
                <a:gd name="connsiteY230" fmla="*/ 5149248 h 6689084"/>
                <a:gd name="connsiteX231" fmla="*/ 5999592 w 6689088"/>
                <a:gd name="connsiteY231" fmla="*/ 5150700 h 6689084"/>
                <a:gd name="connsiteX232" fmla="*/ 5998139 w 6689088"/>
                <a:gd name="connsiteY232" fmla="*/ 5152153 h 6689084"/>
                <a:gd name="connsiteX233" fmla="*/ 5996690 w 6689088"/>
                <a:gd name="connsiteY233" fmla="*/ 5150700 h 6689084"/>
                <a:gd name="connsiteX234" fmla="*/ 5998139 w 6689088"/>
                <a:gd name="connsiteY234" fmla="*/ 5149248 h 6689084"/>
                <a:gd name="connsiteX235" fmla="*/ 6152083 w 6689088"/>
                <a:gd name="connsiteY235" fmla="*/ 5148524 h 6689084"/>
                <a:gd name="connsiteX236" fmla="*/ 6154263 w 6689088"/>
                <a:gd name="connsiteY236" fmla="*/ 5150704 h 6689084"/>
                <a:gd name="connsiteX237" fmla="*/ 6152083 w 6689088"/>
                <a:gd name="connsiteY237" fmla="*/ 5152881 h 6689084"/>
                <a:gd name="connsiteX238" fmla="*/ 6149906 w 6689088"/>
                <a:gd name="connsiteY238" fmla="*/ 5150704 h 6689084"/>
                <a:gd name="connsiteX239" fmla="*/ 6152083 w 6689088"/>
                <a:gd name="connsiteY239" fmla="*/ 5148524 h 6689084"/>
                <a:gd name="connsiteX240" fmla="*/ 6305672 w 6689088"/>
                <a:gd name="connsiteY240" fmla="*/ 5147434 h 6689084"/>
                <a:gd name="connsiteX241" fmla="*/ 6308935 w 6689088"/>
                <a:gd name="connsiteY241" fmla="*/ 5150700 h 6689084"/>
                <a:gd name="connsiteX242" fmla="*/ 6305672 w 6689088"/>
                <a:gd name="connsiteY242" fmla="*/ 5153967 h 6689084"/>
                <a:gd name="connsiteX243" fmla="*/ 6302401 w 6689088"/>
                <a:gd name="connsiteY243" fmla="*/ 5150700 h 6689084"/>
                <a:gd name="connsiteX244" fmla="*/ 6305672 w 6689088"/>
                <a:gd name="connsiteY244" fmla="*/ 5147434 h 6689084"/>
                <a:gd name="connsiteX245" fmla="*/ 6459616 w 6689088"/>
                <a:gd name="connsiteY245" fmla="*/ 5145981 h 6689084"/>
                <a:gd name="connsiteX246" fmla="*/ 6463972 w 6689088"/>
                <a:gd name="connsiteY246" fmla="*/ 5150338 h 6689084"/>
                <a:gd name="connsiteX247" fmla="*/ 6459616 w 6689088"/>
                <a:gd name="connsiteY247" fmla="*/ 5154695 h 6689084"/>
                <a:gd name="connsiteX248" fmla="*/ 6455258 w 6689088"/>
                <a:gd name="connsiteY248" fmla="*/ 5150338 h 6689084"/>
                <a:gd name="connsiteX249" fmla="*/ 6459616 w 6689088"/>
                <a:gd name="connsiteY249" fmla="*/ 5145981 h 6689084"/>
                <a:gd name="connsiteX250" fmla="*/ 6613200 w 6689088"/>
                <a:gd name="connsiteY250" fmla="*/ 5144891 h 6689084"/>
                <a:gd name="connsiteX251" fmla="*/ 6619010 w 6689088"/>
                <a:gd name="connsiteY251" fmla="*/ 5150700 h 6689084"/>
                <a:gd name="connsiteX252" fmla="*/ 6613200 w 6689088"/>
                <a:gd name="connsiteY252" fmla="*/ 5156510 h 6689084"/>
                <a:gd name="connsiteX253" fmla="*/ 6607395 w 6689088"/>
                <a:gd name="connsiteY253" fmla="*/ 5150700 h 6689084"/>
                <a:gd name="connsiteX254" fmla="*/ 6613200 w 6689088"/>
                <a:gd name="connsiteY254" fmla="*/ 5144891 h 6689084"/>
                <a:gd name="connsiteX255" fmla="*/ 5690606 w 6689088"/>
                <a:gd name="connsiteY255" fmla="*/ 4996391 h 6689084"/>
                <a:gd name="connsiteX256" fmla="*/ 5690972 w 6689088"/>
                <a:gd name="connsiteY256" fmla="*/ 4996753 h 6689084"/>
                <a:gd name="connsiteX257" fmla="*/ 5690606 w 6689088"/>
                <a:gd name="connsiteY257" fmla="*/ 4997119 h 6689084"/>
                <a:gd name="connsiteX258" fmla="*/ 5690244 w 6689088"/>
                <a:gd name="connsiteY258" fmla="*/ 4996753 h 6689084"/>
                <a:gd name="connsiteX259" fmla="*/ 5690606 w 6689088"/>
                <a:gd name="connsiteY259" fmla="*/ 4996391 h 6689084"/>
                <a:gd name="connsiteX260" fmla="*/ 5229126 w 6689088"/>
                <a:gd name="connsiteY260" fmla="*/ 4996391 h 6689084"/>
                <a:gd name="connsiteX261" fmla="*/ 5229488 w 6689088"/>
                <a:gd name="connsiteY261" fmla="*/ 4996753 h 6689084"/>
                <a:gd name="connsiteX262" fmla="*/ 5229126 w 6689088"/>
                <a:gd name="connsiteY262" fmla="*/ 4997119 h 6689084"/>
                <a:gd name="connsiteX263" fmla="*/ 5228764 w 6689088"/>
                <a:gd name="connsiteY263" fmla="*/ 4996753 h 6689084"/>
                <a:gd name="connsiteX264" fmla="*/ 5229126 w 6689088"/>
                <a:gd name="connsiteY264" fmla="*/ 4996391 h 6689084"/>
                <a:gd name="connsiteX265" fmla="*/ 5075541 w 6689088"/>
                <a:gd name="connsiteY265" fmla="*/ 4996391 h 6689084"/>
                <a:gd name="connsiteX266" fmla="*/ 5075904 w 6689088"/>
                <a:gd name="connsiteY266" fmla="*/ 4996753 h 6689084"/>
                <a:gd name="connsiteX267" fmla="*/ 5075541 w 6689088"/>
                <a:gd name="connsiteY267" fmla="*/ 4997119 h 6689084"/>
                <a:gd name="connsiteX268" fmla="*/ 5075179 w 6689088"/>
                <a:gd name="connsiteY268" fmla="*/ 4996753 h 6689084"/>
                <a:gd name="connsiteX269" fmla="*/ 5075541 w 6689088"/>
                <a:gd name="connsiteY269" fmla="*/ 4996391 h 6689084"/>
                <a:gd name="connsiteX270" fmla="*/ 4921594 w 6689088"/>
                <a:gd name="connsiteY270" fmla="*/ 4996029 h 6689084"/>
                <a:gd name="connsiteX271" fmla="*/ 4922322 w 6689088"/>
                <a:gd name="connsiteY271" fmla="*/ 4996753 h 6689084"/>
                <a:gd name="connsiteX272" fmla="*/ 4921594 w 6689088"/>
                <a:gd name="connsiteY272" fmla="*/ 4997481 h 6689084"/>
                <a:gd name="connsiteX273" fmla="*/ 4920870 w 6689088"/>
                <a:gd name="connsiteY273" fmla="*/ 4996753 h 6689084"/>
                <a:gd name="connsiteX274" fmla="*/ 4921594 w 6689088"/>
                <a:gd name="connsiteY274" fmla="*/ 4996029 h 6689084"/>
                <a:gd name="connsiteX275" fmla="*/ 5844554 w 6689088"/>
                <a:gd name="connsiteY275" fmla="*/ 4995301 h 6689084"/>
                <a:gd name="connsiteX276" fmla="*/ 5846006 w 6689088"/>
                <a:gd name="connsiteY276" fmla="*/ 4996753 h 6689084"/>
                <a:gd name="connsiteX277" fmla="*/ 5844554 w 6689088"/>
                <a:gd name="connsiteY277" fmla="*/ 4998205 h 6689084"/>
                <a:gd name="connsiteX278" fmla="*/ 5843102 w 6689088"/>
                <a:gd name="connsiteY278" fmla="*/ 4996753 h 6689084"/>
                <a:gd name="connsiteX279" fmla="*/ 5844554 w 6689088"/>
                <a:gd name="connsiteY279" fmla="*/ 4995301 h 6689084"/>
                <a:gd name="connsiteX280" fmla="*/ 5998136 w 6689088"/>
                <a:gd name="connsiteY280" fmla="*/ 4994577 h 6689084"/>
                <a:gd name="connsiteX281" fmla="*/ 6000316 w 6689088"/>
                <a:gd name="connsiteY281" fmla="*/ 4996753 h 6689084"/>
                <a:gd name="connsiteX282" fmla="*/ 5998136 w 6689088"/>
                <a:gd name="connsiteY282" fmla="*/ 4998934 h 6689084"/>
                <a:gd name="connsiteX283" fmla="*/ 5995959 w 6689088"/>
                <a:gd name="connsiteY283" fmla="*/ 4996753 h 6689084"/>
                <a:gd name="connsiteX284" fmla="*/ 5998136 w 6689088"/>
                <a:gd name="connsiteY284" fmla="*/ 4994577 h 6689084"/>
                <a:gd name="connsiteX285" fmla="*/ 6152083 w 6689088"/>
                <a:gd name="connsiteY285" fmla="*/ 4993486 h 6689084"/>
                <a:gd name="connsiteX286" fmla="*/ 6155350 w 6689088"/>
                <a:gd name="connsiteY286" fmla="*/ 4996753 h 6689084"/>
                <a:gd name="connsiteX287" fmla="*/ 6152083 w 6689088"/>
                <a:gd name="connsiteY287" fmla="*/ 5000024 h 6689084"/>
                <a:gd name="connsiteX288" fmla="*/ 6148816 w 6689088"/>
                <a:gd name="connsiteY288" fmla="*/ 4996753 h 6689084"/>
                <a:gd name="connsiteX289" fmla="*/ 6152083 w 6689088"/>
                <a:gd name="connsiteY289" fmla="*/ 4993486 h 6689084"/>
                <a:gd name="connsiteX290" fmla="*/ 6305668 w 6689088"/>
                <a:gd name="connsiteY290" fmla="*/ 4992396 h 6689084"/>
                <a:gd name="connsiteX291" fmla="*/ 6310025 w 6689088"/>
                <a:gd name="connsiteY291" fmla="*/ 4996753 h 6689084"/>
                <a:gd name="connsiteX292" fmla="*/ 6305668 w 6689088"/>
                <a:gd name="connsiteY292" fmla="*/ 5001110 h 6689084"/>
                <a:gd name="connsiteX293" fmla="*/ 6301311 w 6689088"/>
                <a:gd name="connsiteY293" fmla="*/ 4996753 h 6689084"/>
                <a:gd name="connsiteX294" fmla="*/ 6305668 w 6689088"/>
                <a:gd name="connsiteY294" fmla="*/ 4992396 h 6689084"/>
                <a:gd name="connsiteX295" fmla="*/ 6459616 w 6689088"/>
                <a:gd name="connsiteY295" fmla="*/ 4990944 h 6689084"/>
                <a:gd name="connsiteX296" fmla="*/ 6465425 w 6689088"/>
                <a:gd name="connsiteY296" fmla="*/ 4996753 h 6689084"/>
                <a:gd name="connsiteX297" fmla="*/ 6459616 w 6689088"/>
                <a:gd name="connsiteY297" fmla="*/ 5002562 h 6689084"/>
                <a:gd name="connsiteX298" fmla="*/ 6453806 w 6689088"/>
                <a:gd name="connsiteY298" fmla="*/ 4996753 h 6689084"/>
                <a:gd name="connsiteX299" fmla="*/ 6459616 w 6689088"/>
                <a:gd name="connsiteY299" fmla="*/ 4990944 h 6689084"/>
                <a:gd name="connsiteX300" fmla="*/ 6613200 w 6689088"/>
                <a:gd name="connsiteY300" fmla="*/ 4989491 h 6689084"/>
                <a:gd name="connsiteX301" fmla="*/ 6620462 w 6689088"/>
                <a:gd name="connsiteY301" fmla="*/ 4996753 h 6689084"/>
                <a:gd name="connsiteX302" fmla="*/ 6613200 w 6689088"/>
                <a:gd name="connsiteY302" fmla="*/ 5004015 h 6689084"/>
                <a:gd name="connsiteX303" fmla="*/ 6605939 w 6689088"/>
                <a:gd name="connsiteY303" fmla="*/ 4996753 h 6689084"/>
                <a:gd name="connsiteX304" fmla="*/ 6613200 w 6689088"/>
                <a:gd name="connsiteY304" fmla="*/ 4989491 h 6689084"/>
                <a:gd name="connsiteX305" fmla="*/ 5536659 w 6689088"/>
                <a:gd name="connsiteY305" fmla="*/ 4842806 h 6689084"/>
                <a:gd name="connsiteX306" fmla="*/ 5537021 w 6689088"/>
                <a:gd name="connsiteY306" fmla="*/ 4843168 h 6689084"/>
                <a:gd name="connsiteX307" fmla="*/ 5536659 w 6689088"/>
                <a:gd name="connsiteY307" fmla="*/ 4843530 h 6689084"/>
                <a:gd name="connsiteX308" fmla="*/ 5536297 w 6689088"/>
                <a:gd name="connsiteY308" fmla="*/ 4843168 h 6689084"/>
                <a:gd name="connsiteX309" fmla="*/ 5536659 w 6689088"/>
                <a:gd name="connsiteY309" fmla="*/ 4842806 h 6689084"/>
                <a:gd name="connsiteX310" fmla="*/ 5075541 w 6689088"/>
                <a:gd name="connsiteY310" fmla="*/ 4842806 h 6689084"/>
                <a:gd name="connsiteX311" fmla="*/ 5075904 w 6689088"/>
                <a:gd name="connsiteY311" fmla="*/ 4843168 h 6689084"/>
                <a:gd name="connsiteX312" fmla="*/ 5075541 w 6689088"/>
                <a:gd name="connsiteY312" fmla="*/ 4843530 h 6689084"/>
                <a:gd name="connsiteX313" fmla="*/ 5075179 w 6689088"/>
                <a:gd name="connsiteY313" fmla="*/ 4843168 h 6689084"/>
                <a:gd name="connsiteX314" fmla="*/ 5075541 w 6689088"/>
                <a:gd name="connsiteY314" fmla="*/ 4842806 h 6689084"/>
                <a:gd name="connsiteX315" fmla="*/ 4921594 w 6689088"/>
                <a:gd name="connsiteY315" fmla="*/ 4842806 h 6689084"/>
                <a:gd name="connsiteX316" fmla="*/ 4921956 w 6689088"/>
                <a:gd name="connsiteY316" fmla="*/ 4843168 h 6689084"/>
                <a:gd name="connsiteX317" fmla="*/ 4921594 w 6689088"/>
                <a:gd name="connsiteY317" fmla="*/ 4843530 h 6689084"/>
                <a:gd name="connsiteX318" fmla="*/ 4921232 w 6689088"/>
                <a:gd name="connsiteY318" fmla="*/ 4843168 h 6689084"/>
                <a:gd name="connsiteX319" fmla="*/ 4921594 w 6689088"/>
                <a:gd name="connsiteY319" fmla="*/ 4842806 h 6689084"/>
                <a:gd name="connsiteX320" fmla="*/ 4768012 w 6689088"/>
                <a:gd name="connsiteY320" fmla="*/ 4842444 h 6689084"/>
                <a:gd name="connsiteX321" fmla="*/ 4768736 w 6689088"/>
                <a:gd name="connsiteY321" fmla="*/ 4843172 h 6689084"/>
                <a:gd name="connsiteX322" fmla="*/ 4768012 w 6689088"/>
                <a:gd name="connsiteY322" fmla="*/ 4843896 h 6689084"/>
                <a:gd name="connsiteX323" fmla="*/ 4767284 w 6689088"/>
                <a:gd name="connsiteY323" fmla="*/ 4843172 h 6689084"/>
                <a:gd name="connsiteX324" fmla="*/ 4768012 w 6689088"/>
                <a:gd name="connsiteY324" fmla="*/ 4842444 h 6689084"/>
                <a:gd name="connsiteX325" fmla="*/ 5690606 w 6689088"/>
                <a:gd name="connsiteY325" fmla="*/ 4841353 h 6689084"/>
                <a:gd name="connsiteX326" fmla="*/ 5692059 w 6689088"/>
                <a:gd name="connsiteY326" fmla="*/ 4842806 h 6689084"/>
                <a:gd name="connsiteX327" fmla="*/ 5690606 w 6689088"/>
                <a:gd name="connsiteY327" fmla="*/ 4844258 h 6689084"/>
                <a:gd name="connsiteX328" fmla="*/ 5689154 w 6689088"/>
                <a:gd name="connsiteY328" fmla="*/ 4842806 h 6689084"/>
                <a:gd name="connsiteX329" fmla="*/ 5690606 w 6689088"/>
                <a:gd name="connsiteY329" fmla="*/ 4841353 h 6689084"/>
                <a:gd name="connsiteX330" fmla="*/ 5844554 w 6689088"/>
                <a:gd name="connsiteY330" fmla="*/ 4840629 h 6689084"/>
                <a:gd name="connsiteX331" fmla="*/ 5846730 w 6689088"/>
                <a:gd name="connsiteY331" fmla="*/ 4842810 h 6689084"/>
                <a:gd name="connsiteX332" fmla="*/ 5844554 w 6689088"/>
                <a:gd name="connsiteY332" fmla="*/ 4844986 h 6689084"/>
                <a:gd name="connsiteX333" fmla="*/ 5842374 w 6689088"/>
                <a:gd name="connsiteY333" fmla="*/ 4842810 h 6689084"/>
                <a:gd name="connsiteX334" fmla="*/ 5844554 w 6689088"/>
                <a:gd name="connsiteY334" fmla="*/ 4840629 h 6689084"/>
                <a:gd name="connsiteX335" fmla="*/ 5998136 w 6689088"/>
                <a:gd name="connsiteY335" fmla="*/ 4839901 h 6689084"/>
                <a:gd name="connsiteX336" fmla="*/ 6001402 w 6689088"/>
                <a:gd name="connsiteY336" fmla="*/ 4843168 h 6689084"/>
                <a:gd name="connsiteX337" fmla="*/ 5998136 w 6689088"/>
                <a:gd name="connsiteY337" fmla="*/ 4846435 h 6689084"/>
                <a:gd name="connsiteX338" fmla="*/ 5994868 w 6689088"/>
                <a:gd name="connsiteY338" fmla="*/ 4843168 h 6689084"/>
                <a:gd name="connsiteX339" fmla="*/ 5998136 w 6689088"/>
                <a:gd name="connsiteY339" fmla="*/ 4839901 h 6689084"/>
                <a:gd name="connsiteX340" fmla="*/ 6152083 w 6689088"/>
                <a:gd name="connsiteY340" fmla="*/ 4838449 h 6689084"/>
                <a:gd name="connsiteX341" fmla="*/ 6156440 w 6689088"/>
                <a:gd name="connsiteY341" fmla="*/ 4842806 h 6689084"/>
                <a:gd name="connsiteX342" fmla="*/ 6152083 w 6689088"/>
                <a:gd name="connsiteY342" fmla="*/ 4847163 h 6689084"/>
                <a:gd name="connsiteX343" fmla="*/ 6147726 w 6689088"/>
                <a:gd name="connsiteY343" fmla="*/ 4842806 h 6689084"/>
                <a:gd name="connsiteX344" fmla="*/ 6152083 w 6689088"/>
                <a:gd name="connsiteY344" fmla="*/ 4838449 h 6689084"/>
                <a:gd name="connsiteX345" fmla="*/ 6305668 w 6689088"/>
                <a:gd name="connsiteY345" fmla="*/ 4836996 h 6689084"/>
                <a:gd name="connsiteX346" fmla="*/ 6311478 w 6689088"/>
                <a:gd name="connsiteY346" fmla="*/ 4842806 h 6689084"/>
                <a:gd name="connsiteX347" fmla="*/ 6305668 w 6689088"/>
                <a:gd name="connsiteY347" fmla="*/ 4848615 h 6689084"/>
                <a:gd name="connsiteX348" fmla="*/ 6299858 w 6689088"/>
                <a:gd name="connsiteY348" fmla="*/ 4842806 h 6689084"/>
                <a:gd name="connsiteX349" fmla="*/ 6305668 w 6689088"/>
                <a:gd name="connsiteY349" fmla="*/ 4836996 h 6689084"/>
                <a:gd name="connsiteX350" fmla="*/ 6459616 w 6689088"/>
                <a:gd name="connsiteY350" fmla="*/ 4835544 h 6689084"/>
                <a:gd name="connsiteX351" fmla="*/ 6466877 w 6689088"/>
                <a:gd name="connsiteY351" fmla="*/ 4842806 h 6689084"/>
                <a:gd name="connsiteX352" fmla="*/ 6459616 w 6689088"/>
                <a:gd name="connsiteY352" fmla="*/ 4850067 h 6689084"/>
                <a:gd name="connsiteX353" fmla="*/ 6452354 w 6689088"/>
                <a:gd name="connsiteY353" fmla="*/ 4842806 h 6689084"/>
                <a:gd name="connsiteX354" fmla="*/ 6459616 w 6689088"/>
                <a:gd name="connsiteY354" fmla="*/ 4835544 h 6689084"/>
                <a:gd name="connsiteX355" fmla="*/ 6613200 w 6689088"/>
                <a:gd name="connsiteY355" fmla="*/ 4833730 h 6689084"/>
                <a:gd name="connsiteX356" fmla="*/ 6622280 w 6689088"/>
                <a:gd name="connsiteY356" fmla="*/ 4842806 h 6689084"/>
                <a:gd name="connsiteX357" fmla="*/ 6613200 w 6689088"/>
                <a:gd name="connsiteY357" fmla="*/ 4851886 h 6689084"/>
                <a:gd name="connsiteX358" fmla="*/ 6604124 w 6689088"/>
                <a:gd name="connsiteY358" fmla="*/ 4842806 h 6689084"/>
                <a:gd name="connsiteX359" fmla="*/ 6613200 w 6689088"/>
                <a:gd name="connsiteY359" fmla="*/ 4833730 h 6689084"/>
                <a:gd name="connsiteX360" fmla="*/ 5383074 w 6689088"/>
                <a:gd name="connsiteY360" fmla="*/ 4688858 h 6689084"/>
                <a:gd name="connsiteX361" fmla="*/ 5383436 w 6689088"/>
                <a:gd name="connsiteY361" fmla="*/ 4689220 h 6689084"/>
                <a:gd name="connsiteX362" fmla="*/ 5383074 w 6689088"/>
                <a:gd name="connsiteY362" fmla="*/ 4689586 h 6689084"/>
                <a:gd name="connsiteX363" fmla="*/ 5382712 w 6689088"/>
                <a:gd name="connsiteY363" fmla="*/ 4689220 h 6689084"/>
                <a:gd name="connsiteX364" fmla="*/ 5383074 w 6689088"/>
                <a:gd name="connsiteY364" fmla="*/ 4688858 h 6689084"/>
                <a:gd name="connsiteX365" fmla="*/ 4921594 w 6689088"/>
                <a:gd name="connsiteY365" fmla="*/ 4688858 h 6689084"/>
                <a:gd name="connsiteX366" fmla="*/ 4921956 w 6689088"/>
                <a:gd name="connsiteY366" fmla="*/ 4689220 h 6689084"/>
                <a:gd name="connsiteX367" fmla="*/ 4921594 w 6689088"/>
                <a:gd name="connsiteY367" fmla="*/ 4689586 h 6689084"/>
                <a:gd name="connsiteX368" fmla="*/ 4921232 w 6689088"/>
                <a:gd name="connsiteY368" fmla="*/ 4689220 h 6689084"/>
                <a:gd name="connsiteX369" fmla="*/ 4921594 w 6689088"/>
                <a:gd name="connsiteY369" fmla="*/ 4688858 h 6689084"/>
                <a:gd name="connsiteX370" fmla="*/ 4768008 w 6689088"/>
                <a:gd name="connsiteY370" fmla="*/ 4688858 h 6689084"/>
                <a:gd name="connsiteX371" fmla="*/ 4768370 w 6689088"/>
                <a:gd name="connsiteY371" fmla="*/ 4689220 h 6689084"/>
                <a:gd name="connsiteX372" fmla="*/ 4768008 w 6689088"/>
                <a:gd name="connsiteY372" fmla="*/ 4689586 h 6689084"/>
                <a:gd name="connsiteX373" fmla="*/ 4767646 w 6689088"/>
                <a:gd name="connsiteY373" fmla="*/ 4689220 h 6689084"/>
                <a:gd name="connsiteX374" fmla="*/ 4768008 w 6689088"/>
                <a:gd name="connsiteY374" fmla="*/ 4688858 h 6689084"/>
                <a:gd name="connsiteX375" fmla="*/ 4614065 w 6689088"/>
                <a:gd name="connsiteY375" fmla="*/ 4688496 h 6689084"/>
                <a:gd name="connsiteX376" fmla="*/ 4614789 w 6689088"/>
                <a:gd name="connsiteY376" fmla="*/ 4689220 h 6689084"/>
                <a:gd name="connsiteX377" fmla="*/ 4614065 w 6689088"/>
                <a:gd name="connsiteY377" fmla="*/ 4689949 h 6689084"/>
                <a:gd name="connsiteX378" fmla="*/ 4613337 w 6689088"/>
                <a:gd name="connsiteY378" fmla="*/ 4689220 h 6689084"/>
                <a:gd name="connsiteX379" fmla="*/ 4614065 w 6689088"/>
                <a:gd name="connsiteY379" fmla="*/ 4688496 h 6689084"/>
                <a:gd name="connsiteX380" fmla="*/ 5536659 w 6689088"/>
                <a:gd name="connsiteY380" fmla="*/ 4687406 h 6689084"/>
                <a:gd name="connsiteX381" fmla="*/ 5538112 w 6689088"/>
                <a:gd name="connsiteY381" fmla="*/ 4688858 h 6689084"/>
                <a:gd name="connsiteX382" fmla="*/ 5536659 w 6689088"/>
                <a:gd name="connsiteY382" fmla="*/ 4690311 h 6689084"/>
                <a:gd name="connsiteX383" fmla="*/ 5535207 w 6689088"/>
                <a:gd name="connsiteY383" fmla="*/ 4688858 h 6689084"/>
                <a:gd name="connsiteX384" fmla="*/ 5536659 w 6689088"/>
                <a:gd name="connsiteY384" fmla="*/ 4687406 h 6689084"/>
                <a:gd name="connsiteX385" fmla="*/ 5690602 w 6689088"/>
                <a:gd name="connsiteY385" fmla="*/ 4687044 h 6689084"/>
                <a:gd name="connsiteX386" fmla="*/ 5692783 w 6689088"/>
                <a:gd name="connsiteY386" fmla="*/ 4689220 h 6689084"/>
                <a:gd name="connsiteX387" fmla="*/ 5690602 w 6689088"/>
                <a:gd name="connsiteY387" fmla="*/ 4691401 h 6689084"/>
                <a:gd name="connsiteX388" fmla="*/ 5688426 w 6689088"/>
                <a:gd name="connsiteY388" fmla="*/ 4689220 h 6689084"/>
                <a:gd name="connsiteX389" fmla="*/ 5690602 w 6689088"/>
                <a:gd name="connsiteY389" fmla="*/ 4687044 h 6689084"/>
                <a:gd name="connsiteX390" fmla="*/ 5844554 w 6689088"/>
                <a:gd name="connsiteY390" fmla="*/ 4685954 h 6689084"/>
                <a:gd name="connsiteX391" fmla="*/ 5847817 w 6689088"/>
                <a:gd name="connsiteY391" fmla="*/ 4689220 h 6689084"/>
                <a:gd name="connsiteX392" fmla="*/ 5844554 w 6689088"/>
                <a:gd name="connsiteY392" fmla="*/ 4692491 h 6689084"/>
                <a:gd name="connsiteX393" fmla="*/ 5841284 w 6689088"/>
                <a:gd name="connsiteY393" fmla="*/ 4689220 h 6689084"/>
                <a:gd name="connsiteX394" fmla="*/ 5844554 w 6689088"/>
                <a:gd name="connsiteY394" fmla="*/ 4685954 h 6689084"/>
                <a:gd name="connsiteX395" fmla="*/ 5998136 w 6689088"/>
                <a:gd name="connsiteY395" fmla="*/ 4684863 h 6689084"/>
                <a:gd name="connsiteX396" fmla="*/ 6002492 w 6689088"/>
                <a:gd name="connsiteY396" fmla="*/ 4689220 h 6689084"/>
                <a:gd name="connsiteX397" fmla="*/ 5998136 w 6689088"/>
                <a:gd name="connsiteY397" fmla="*/ 4693577 h 6689084"/>
                <a:gd name="connsiteX398" fmla="*/ 5993778 w 6689088"/>
                <a:gd name="connsiteY398" fmla="*/ 4689220 h 6689084"/>
                <a:gd name="connsiteX399" fmla="*/ 5998136 w 6689088"/>
                <a:gd name="connsiteY399" fmla="*/ 4684863 h 6689084"/>
                <a:gd name="connsiteX400" fmla="*/ 6152086 w 6689088"/>
                <a:gd name="connsiteY400" fmla="*/ 4683411 h 6689084"/>
                <a:gd name="connsiteX401" fmla="*/ 6157896 w 6689088"/>
                <a:gd name="connsiteY401" fmla="*/ 4689220 h 6689084"/>
                <a:gd name="connsiteX402" fmla="*/ 6152086 w 6689088"/>
                <a:gd name="connsiteY402" fmla="*/ 4695030 h 6689084"/>
                <a:gd name="connsiteX403" fmla="*/ 6146277 w 6689088"/>
                <a:gd name="connsiteY403" fmla="*/ 4689220 h 6689084"/>
                <a:gd name="connsiteX404" fmla="*/ 6152086 w 6689088"/>
                <a:gd name="connsiteY404" fmla="*/ 4683411 h 6689084"/>
                <a:gd name="connsiteX405" fmla="*/ 6305668 w 6689088"/>
                <a:gd name="connsiteY405" fmla="*/ 4681959 h 6689084"/>
                <a:gd name="connsiteX406" fmla="*/ 6312930 w 6689088"/>
                <a:gd name="connsiteY406" fmla="*/ 4689220 h 6689084"/>
                <a:gd name="connsiteX407" fmla="*/ 6305668 w 6689088"/>
                <a:gd name="connsiteY407" fmla="*/ 4696482 h 6689084"/>
                <a:gd name="connsiteX408" fmla="*/ 6298406 w 6689088"/>
                <a:gd name="connsiteY408" fmla="*/ 4689220 h 6689084"/>
                <a:gd name="connsiteX409" fmla="*/ 6305668 w 6689088"/>
                <a:gd name="connsiteY409" fmla="*/ 4681959 h 6689084"/>
                <a:gd name="connsiteX410" fmla="*/ 6459616 w 6689088"/>
                <a:gd name="connsiteY410" fmla="*/ 4680144 h 6689084"/>
                <a:gd name="connsiteX411" fmla="*/ 6468696 w 6689088"/>
                <a:gd name="connsiteY411" fmla="*/ 4689220 h 6689084"/>
                <a:gd name="connsiteX412" fmla="*/ 6459616 w 6689088"/>
                <a:gd name="connsiteY412" fmla="*/ 4698300 h 6689084"/>
                <a:gd name="connsiteX413" fmla="*/ 6450540 w 6689088"/>
                <a:gd name="connsiteY413" fmla="*/ 4689220 h 6689084"/>
                <a:gd name="connsiteX414" fmla="*/ 6459616 w 6689088"/>
                <a:gd name="connsiteY414" fmla="*/ 4680144 h 6689084"/>
                <a:gd name="connsiteX415" fmla="*/ 6613200 w 6689088"/>
                <a:gd name="connsiteY415" fmla="*/ 4679054 h 6689084"/>
                <a:gd name="connsiteX416" fmla="*/ 6623367 w 6689088"/>
                <a:gd name="connsiteY416" fmla="*/ 4689220 h 6689084"/>
                <a:gd name="connsiteX417" fmla="*/ 6613200 w 6689088"/>
                <a:gd name="connsiteY417" fmla="*/ 4699387 h 6689084"/>
                <a:gd name="connsiteX418" fmla="*/ 6603034 w 6689088"/>
                <a:gd name="connsiteY418" fmla="*/ 4689220 h 6689084"/>
                <a:gd name="connsiteX419" fmla="*/ 6613200 w 6689088"/>
                <a:gd name="connsiteY419" fmla="*/ 4679054 h 6689084"/>
                <a:gd name="connsiteX420" fmla="*/ 5229126 w 6689088"/>
                <a:gd name="connsiteY420" fmla="*/ 4535273 h 6689084"/>
                <a:gd name="connsiteX421" fmla="*/ 5229488 w 6689088"/>
                <a:gd name="connsiteY421" fmla="*/ 4535635 h 6689084"/>
                <a:gd name="connsiteX422" fmla="*/ 5229126 w 6689088"/>
                <a:gd name="connsiteY422" fmla="*/ 4535997 h 6689084"/>
                <a:gd name="connsiteX423" fmla="*/ 5228764 w 6689088"/>
                <a:gd name="connsiteY423" fmla="*/ 4535635 h 6689084"/>
                <a:gd name="connsiteX424" fmla="*/ 5229126 w 6689088"/>
                <a:gd name="connsiteY424" fmla="*/ 4535273 h 6689084"/>
                <a:gd name="connsiteX425" fmla="*/ 4768008 w 6689088"/>
                <a:gd name="connsiteY425" fmla="*/ 4535273 h 6689084"/>
                <a:gd name="connsiteX426" fmla="*/ 4768370 w 6689088"/>
                <a:gd name="connsiteY426" fmla="*/ 4535635 h 6689084"/>
                <a:gd name="connsiteX427" fmla="*/ 4768008 w 6689088"/>
                <a:gd name="connsiteY427" fmla="*/ 4535997 h 6689084"/>
                <a:gd name="connsiteX428" fmla="*/ 4767646 w 6689088"/>
                <a:gd name="connsiteY428" fmla="*/ 4535635 h 6689084"/>
                <a:gd name="connsiteX429" fmla="*/ 4768008 w 6689088"/>
                <a:gd name="connsiteY429" fmla="*/ 4535273 h 6689084"/>
                <a:gd name="connsiteX430" fmla="*/ 4614061 w 6689088"/>
                <a:gd name="connsiteY430" fmla="*/ 4535273 h 6689084"/>
                <a:gd name="connsiteX431" fmla="*/ 4614424 w 6689088"/>
                <a:gd name="connsiteY431" fmla="*/ 4535635 h 6689084"/>
                <a:gd name="connsiteX432" fmla="*/ 4614061 w 6689088"/>
                <a:gd name="connsiteY432" fmla="*/ 4535997 h 6689084"/>
                <a:gd name="connsiteX433" fmla="*/ 4613699 w 6689088"/>
                <a:gd name="connsiteY433" fmla="*/ 4535635 h 6689084"/>
                <a:gd name="connsiteX434" fmla="*/ 4614061 w 6689088"/>
                <a:gd name="connsiteY434" fmla="*/ 4535273 h 6689084"/>
                <a:gd name="connsiteX435" fmla="*/ 4460480 w 6689088"/>
                <a:gd name="connsiteY435" fmla="*/ 4534911 h 6689084"/>
                <a:gd name="connsiteX436" fmla="*/ 4461204 w 6689088"/>
                <a:gd name="connsiteY436" fmla="*/ 4535635 h 6689084"/>
                <a:gd name="connsiteX437" fmla="*/ 4460480 w 6689088"/>
                <a:gd name="connsiteY437" fmla="*/ 4536363 h 6689084"/>
                <a:gd name="connsiteX438" fmla="*/ 4459752 w 6689088"/>
                <a:gd name="connsiteY438" fmla="*/ 4535635 h 6689084"/>
                <a:gd name="connsiteX439" fmla="*/ 4460480 w 6689088"/>
                <a:gd name="connsiteY439" fmla="*/ 4534911 h 6689084"/>
                <a:gd name="connsiteX440" fmla="*/ 5383074 w 6689088"/>
                <a:gd name="connsiteY440" fmla="*/ 4533821 h 6689084"/>
                <a:gd name="connsiteX441" fmla="*/ 5384526 w 6689088"/>
                <a:gd name="connsiteY441" fmla="*/ 4535273 h 6689084"/>
                <a:gd name="connsiteX442" fmla="*/ 5383074 w 6689088"/>
                <a:gd name="connsiteY442" fmla="*/ 4536725 h 6689084"/>
                <a:gd name="connsiteX443" fmla="*/ 5381622 w 6689088"/>
                <a:gd name="connsiteY443" fmla="*/ 4535273 h 6689084"/>
                <a:gd name="connsiteX444" fmla="*/ 5383074 w 6689088"/>
                <a:gd name="connsiteY444" fmla="*/ 4533821 h 6689084"/>
                <a:gd name="connsiteX445" fmla="*/ 5536659 w 6689088"/>
                <a:gd name="connsiteY445" fmla="*/ 4533096 h 6689084"/>
                <a:gd name="connsiteX446" fmla="*/ 5538840 w 6689088"/>
                <a:gd name="connsiteY446" fmla="*/ 4535277 h 6689084"/>
                <a:gd name="connsiteX447" fmla="*/ 5536659 w 6689088"/>
                <a:gd name="connsiteY447" fmla="*/ 4537453 h 6689084"/>
                <a:gd name="connsiteX448" fmla="*/ 5534482 w 6689088"/>
                <a:gd name="connsiteY448" fmla="*/ 4535277 h 6689084"/>
                <a:gd name="connsiteX449" fmla="*/ 5536659 w 6689088"/>
                <a:gd name="connsiteY449" fmla="*/ 4533096 h 6689084"/>
                <a:gd name="connsiteX450" fmla="*/ 5690606 w 6689088"/>
                <a:gd name="connsiteY450" fmla="*/ 4532368 h 6689084"/>
                <a:gd name="connsiteX451" fmla="*/ 5693870 w 6689088"/>
                <a:gd name="connsiteY451" fmla="*/ 4535635 h 6689084"/>
                <a:gd name="connsiteX452" fmla="*/ 5690606 w 6689088"/>
                <a:gd name="connsiteY452" fmla="*/ 4538906 h 6689084"/>
                <a:gd name="connsiteX453" fmla="*/ 5687336 w 6689088"/>
                <a:gd name="connsiteY453" fmla="*/ 4535635 h 6689084"/>
                <a:gd name="connsiteX454" fmla="*/ 5690606 w 6689088"/>
                <a:gd name="connsiteY454" fmla="*/ 4532368 h 6689084"/>
                <a:gd name="connsiteX455" fmla="*/ 5844554 w 6689088"/>
                <a:gd name="connsiteY455" fmla="*/ 4530916 h 6689084"/>
                <a:gd name="connsiteX456" fmla="*/ 5848911 w 6689088"/>
                <a:gd name="connsiteY456" fmla="*/ 4535273 h 6689084"/>
                <a:gd name="connsiteX457" fmla="*/ 5844554 w 6689088"/>
                <a:gd name="connsiteY457" fmla="*/ 4539630 h 6689084"/>
                <a:gd name="connsiteX458" fmla="*/ 5840197 w 6689088"/>
                <a:gd name="connsiteY458" fmla="*/ 4535273 h 6689084"/>
                <a:gd name="connsiteX459" fmla="*/ 5844554 w 6689088"/>
                <a:gd name="connsiteY459" fmla="*/ 4530916 h 6689084"/>
                <a:gd name="connsiteX460" fmla="*/ 5998139 w 6689088"/>
                <a:gd name="connsiteY460" fmla="*/ 4529830 h 6689084"/>
                <a:gd name="connsiteX461" fmla="*/ 6003948 w 6689088"/>
                <a:gd name="connsiteY461" fmla="*/ 4535639 h 6689084"/>
                <a:gd name="connsiteX462" fmla="*/ 5998139 w 6689088"/>
                <a:gd name="connsiteY462" fmla="*/ 4541448 h 6689084"/>
                <a:gd name="connsiteX463" fmla="*/ 5992330 w 6689088"/>
                <a:gd name="connsiteY463" fmla="*/ 4535639 h 6689084"/>
                <a:gd name="connsiteX464" fmla="*/ 5998139 w 6689088"/>
                <a:gd name="connsiteY464" fmla="*/ 4529830 h 6689084"/>
                <a:gd name="connsiteX465" fmla="*/ 6152086 w 6689088"/>
                <a:gd name="connsiteY465" fmla="*/ 4528011 h 6689084"/>
                <a:gd name="connsiteX466" fmla="*/ 6159348 w 6689088"/>
                <a:gd name="connsiteY466" fmla="*/ 4535273 h 6689084"/>
                <a:gd name="connsiteX467" fmla="*/ 6152086 w 6689088"/>
                <a:gd name="connsiteY467" fmla="*/ 4542535 h 6689084"/>
                <a:gd name="connsiteX468" fmla="*/ 6144825 w 6689088"/>
                <a:gd name="connsiteY468" fmla="*/ 4535273 h 6689084"/>
                <a:gd name="connsiteX469" fmla="*/ 6152086 w 6689088"/>
                <a:gd name="connsiteY469" fmla="*/ 4528011 h 6689084"/>
                <a:gd name="connsiteX470" fmla="*/ 6305668 w 6689088"/>
                <a:gd name="connsiteY470" fmla="*/ 4526197 h 6689084"/>
                <a:gd name="connsiteX471" fmla="*/ 6314748 w 6689088"/>
                <a:gd name="connsiteY471" fmla="*/ 4535273 h 6689084"/>
                <a:gd name="connsiteX472" fmla="*/ 6305668 w 6689088"/>
                <a:gd name="connsiteY472" fmla="*/ 4544353 h 6689084"/>
                <a:gd name="connsiteX473" fmla="*/ 6296592 w 6689088"/>
                <a:gd name="connsiteY473" fmla="*/ 4535273 h 6689084"/>
                <a:gd name="connsiteX474" fmla="*/ 6305668 w 6689088"/>
                <a:gd name="connsiteY474" fmla="*/ 4526197 h 6689084"/>
                <a:gd name="connsiteX475" fmla="*/ 6459616 w 6689088"/>
                <a:gd name="connsiteY475" fmla="*/ 4525469 h 6689084"/>
                <a:gd name="connsiteX476" fmla="*/ 6469782 w 6689088"/>
                <a:gd name="connsiteY476" fmla="*/ 4535635 h 6689084"/>
                <a:gd name="connsiteX477" fmla="*/ 6459616 w 6689088"/>
                <a:gd name="connsiteY477" fmla="*/ 4545802 h 6689084"/>
                <a:gd name="connsiteX478" fmla="*/ 6449449 w 6689088"/>
                <a:gd name="connsiteY478" fmla="*/ 4535635 h 6689084"/>
                <a:gd name="connsiteX479" fmla="*/ 6459616 w 6689088"/>
                <a:gd name="connsiteY479" fmla="*/ 4525469 h 6689084"/>
                <a:gd name="connsiteX480" fmla="*/ 6613197 w 6689088"/>
                <a:gd name="connsiteY480" fmla="*/ 4523292 h 6689084"/>
                <a:gd name="connsiteX481" fmla="*/ 6625182 w 6689088"/>
                <a:gd name="connsiteY481" fmla="*/ 4535273 h 6689084"/>
                <a:gd name="connsiteX482" fmla="*/ 6613197 w 6689088"/>
                <a:gd name="connsiteY482" fmla="*/ 4547254 h 6689084"/>
                <a:gd name="connsiteX483" fmla="*/ 6601216 w 6689088"/>
                <a:gd name="connsiteY483" fmla="*/ 4535273 h 6689084"/>
                <a:gd name="connsiteX484" fmla="*/ 6613197 w 6689088"/>
                <a:gd name="connsiteY484" fmla="*/ 4523292 h 6689084"/>
                <a:gd name="connsiteX485" fmla="*/ 5075541 w 6689088"/>
                <a:gd name="connsiteY485" fmla="*/ 4381326 h 6689084"/>
                <a:gd name="connsiteX486" fmla="*/ 5075904 w 6689088"/>
                <a:gd name="connsiteY486" fmla="*/ 4381688 h 6689084"/>
                <a:gd name="connsiteX487" fmla="*/ 5075541 w 6689088"/>
                <a:gd name="connsiteY487" fmla="*/ 4382054 h 6689084"/>
                <a:gd name="connsiteX488" fmla="*/ 5075179 w 6689088"/>
                <a:gd name="connsiteY488" fmla="*/ 4381688 h 6689084"/>
                <a:gd name="connsiteX489" fmla="*/ 5075541 w 6689088"/>
                <a:gd name="connsiteY489" fmla="*/ 4381326 h 6689084"/>
                <a:gd name="connsiteX490" fmla="*/ 4614061 w 6689088"/>
                <a:gd name="connsiteY490" fmla="*/ 4381326 h 6689084"/>
                <a:gd name="connsiteX491" fmla="*/ 4614424 w 6689088"/>
                <a:gd name="connsiteY491" fmla="*/ 4381688 h 6689084"/>
                <a:gd name="connsiteX492" fmla="*/ 4614061 w 6689088"/>
                <a:gd name="connsiteY492" fmla="*/ 4382054 h 6689084"/>
                <a:gd name="connsiteX493" fmla="*/ 4613699 w 6689088"/>
                <a:gd name="connsiteY493" fmla="*/ 4381688 h 6689084"/>
                <a:gd name="connsiteX494" fmla="*/ 4614061 w 6689088"/>
                <a:gd name="connsiteY494" fmla="*/ 4381326 h 6689084"/>
                <a:gd name="connsiteX495" fmla="*/ 4460480 w 6689088"/>
                <a:gd name="connsiteY495" fmla="*/ 4381326 h 6689084"/>
                <a:gd name="connsiteX496" fmla="*/ 4460842 w 6689088"/>
                <a:gd name="connsiteY496" fmla="*/ 4381688 h 6689084"/>
                <a:gd name="connsiteX497" fmla="*/ 4460480 w 6689088"/>
                <a:gd name="connsiteY497" fmla="*/ 4382054 h 6689084"/>
                <a:gd name="connsiteX498" fmla="*/ 4460118 w 6689088"/>
                <a:gd name="connsiteY498" fmla="*/ 4381688 h 6689084"/>
                <a:gd name="connsiteX499" fmla="*/ 4460480 w 6689088"/>
                <a:gd name="connsiteY499" fmla="*/ 4381326 h 6689084"/>
                <a:gd name="connsiteX500" fmla="*/ 4306528 w 6689088"/>
                <a:gd name="connsiteY500" fmla="*/ 4380964 h 6689084"/>
                <a:gd name="connsiteX501" fmla="*/ 4307256 w 6689088"/>
                <a:gd name="connsiteY501" fmla="*/ 4381688 h 6689084"/>
                <a:gd name="connsiteX502" fmla="*/ 4306528 w 6689088"/>
                <a:gd name="connsiteY502" fmla="*/ 4382416 h 6689084"/>
                <a:gd name="connsiteX503" fmla="*/ 4305804 w 6689088"/>
                <a:gd name="connsiteY503" fmla="*/ 4381688 h 6689084"/>
                <a:gd name="connsiteX504" fmla="*/ 4306528 w 6689088"/>
                <a:gd name="connsiteY504" fmla="*/ 4380964 h 6689084"/>
                <a:gd name="connsiteX505" fmla="*/ 5229126 w 6689088"/>
                <a:gd name="connsiteY505" fmla="*/ 4379873 h 6689084"/>
                <a:gd name="connsiteX506" fmla="*/ 5230579 w 6689088"/>
                <a:gd name="connsiteY506" fmla="*/ 4381326 h 6689084"/>
                <a:gd name="connsiteX507" fmla="*/ 5229126 w 6689088"/>
                <a:gd name="connsiteY507" fmla="*/ 4382778 h 6689084"/>
                <a:gd name="connsiteX508" fmla="*/ 5227674 w 6689088"/>
                <a:gd name="connsiteY508" fmla="*/ 4381326 h 6689084"/>
                <a:gd name="connsiteX509" fmla="*/ 5229126 w 6689088"/>
                <a:gd name="connsiteY509" fmla="*/ 4379873 h 6689084"/>
                <a:gd name="connsiteX510" fmla="*/ 5383074 w 6689088"/>
                <a:gd name="connsiteY510" fmla="*/ 4379511 h 6689084"/>
                <a:gd name="connsiteX511" fmla="*/ 5385250 w 6689088"/>
                <a:gd name="connsiteY511" fmla="*/ 4381688 h 6689084"/>
                <a:gd name="connsiteX512" fmla="*/ 5383074 w 6689088"/>
                <a:gd name="connsiteY512" fmla="*/ 4383868 h 6689084"/>
                <a:gd name="connsiteX513" fmla="*/ 5380894 w 6689088"/>
                <a:gd name="connsiteY513" fmla="*/ 4381688 h 6689084"/>
                <a:gd name="connsiteX514" fmla="*/ 5383074 w 6689088"/>
                <a:gd name="connsiteY514" fmla="*/ 4379511 h 6689084"/>
                <a:gd name="connsiteX515" fmla="*/ 5536659 w 6689088"/>
                <a:gd name="connsiteY515" fmla="*/ 4378421 h 6689084"/>
                <a:gd name="connsiteX516" fmla="*/ 5539922 w 6689088"/>
                <a:gd name="connsiteY516" fmla="*/ 4381688 h 6689084"/>
                <a:gd name="connsiteX517" fmla="*/ 5536659 w 6689088"/>
                <a:gd name="connsiteY517" fmla="*/ 4384958 h 6689084"/>
                <a:gd name="connsiteX518" fmla="*/ 5533388 w 6689088"/>
                <a:gd name="connsiteY518" fmla="*/ 4381688 h 6689084"/>
                <a:gd name="connsiteX519" fmla="*/ 5536659 w 6689088"/>
                <a:gd name="connsiteY519" fmla="*/ 4378421 h 6689084"/>
                <a:gd name="connsiteX520" fmla="*/ 5690606 w 6689088"/>
                <a:gd name="connsiteY520" fmla="*/ 4377331 h 6689084"/>
                <a:gd name="connsiteX521" fmla="*/ 5694964 w 6689088"/>
                <a:gd name="connsiteY521" fmla="*/ 4381688 h 6689084"/>
                <a:gd name="connsiteX522" fmla="*/ 5690606 w 6689088"/>
                <a:gd name="connsiteY522" fmla="*/ 4386045 h 6689084"/>
                <a:gd name="connsiteX523" fmla="*/ 5686250 w 6689088"/>
                <a:gd name="connsiteY523" fmla="*/ 4381688 h 6689084"/>
                <a:gd name="connsiteX524" fmla="*/ 5690606 w 6689088"/>
                <a:gd name="connsiteY524" fmla="*/ 4377331 h 6689084"/>
                <a:gd name="connsiteX525" fmla="*/ 5844550 w 6689088"/>
                <a:gd name="connsiteY525" fmla="*/ 4375878 h 6689084"/>
                <a:gd name="connsiteX526" fmla="*/ 5850360 w 6689088"/>
                <a:gd name="connsiteY526" fmla="*/ 4381688 h 6689084"/>
                <a:gd name="connsiteX527" fmla="*/ 5844550 w 6689088"/>
                <a:gd name="connsiteY527" fmla="*/ 4387497 h 6689084"/>
                <a:gd name="connsiteX528" fmla="*/ 5838741 w 6689088"/>
                <a:gd name="connsiteY528" fmla="*/ 4381688 h 6689084"/>
                <a:gd name="connsiteX529" fmla="*/ 5844550 w 6689088"/>
                <a:gd name="connsiteY529" fmla="*/ 4375878 h 6689084"/>
                <a:gd name="connsiteX530" fmla="*/ 5998136 w 6689088"/>
                <a:gd name="connsiteY530" fmla="*/ 4374430 h 6689084"/>
                <a:gd name="connsiteX531" fmla="*/ 6005397 w 6689088"/>
                <a:gd name="connsiteY531" fmla="*/ 4381692 h 6689084"/>
                <a:gd name="connsiteX532" fmla="*/ 5998136 w 6689088"/>
                <a:gd name="connsiteY532" fmla="*/ 4388953 h 6689084"/>
                <a:gd name="connsiteX533" fmla="*/ 5990874 w 6689088"/>
                <a:gd name="connsiteY533" fmla="*/ 4381692 h 6689084"/>
                <a:gd name="connsiteX534" fmla="*/ 5998136 w 6689088"/>
                <a:gd name="connsiteY534" fmla="*/ 4374430 h 6689084"/>
                <a:gd name="connsiteX535" fmla="*/ 6152083 w 6689088"/>
                <a:gd name="connsiteY535" fmla="*/ 4372612 h 6689084"/>
                <a:gd name="connsiteX536" fmla="*/ 6161162 w 6689088"/>
                <a:gd name="connsiteY536" fmla="*/ 4381688 h 6689084"/>
                <a:gd name="connsiteX537" fmla="*/ 6152083 w 6689088"/>
                <a:gd name="connsiteY537" fmla="*/ 4390768 h 6689084"/>
                <a:gd name="connsiteX538" fmla="*/ 6143006 w 6689088"/>
                <a:gd name="connsiteY538" fmla="*/ 4381688 h 6689084"/>
                <a:gd name="connsiteX539" fmla="*/ 6152083 w 6689088"/>
                <a:gd name="connsiteY539" fmla="*/ 4372612 h 6689084"/>
                <a:gd name="connsiteX540" fmla="*/ 6305668 w 6689088"/>
                <a:gd name="connsiteY540" fmla="*/ 4371525 h 6689084"/>
                <a:gd name="connsiteX541" fmla="*/ 6315834 w 6689088"/>
                <a:gd name="connsiteY541" fmla="*/ 4381692 h 6689084"/>
                <a:gd name="connsiteX542" fmla="*/ 6305668 w 6689088"/>
                <a:gd name="connsiteY542" fmla="*/ 4391858 h 6689084"/>
                <a:gd name="connsiteX543" fmla="*/ 6295502 w 6689088"/>
                <a:gd name="connsiteY543" fmla="*/ 4381692 h 6689084"/>
                <a:gd name="connsiteX544" fmla="*/ 6305668 w 6689088"/>
                <a:gd name="connsiteY544" fmla="*/ 4371525 h 6689084"/>
                <a:gd name="connsiteX545" fmla="*/ 6459616 w 6689088"/>
                <a:gd name="connsiteY545" fmla="*/ 4369707 h 6689084"/>
                <a:gd name="connsiteX546" fmla="*/ 6471600 w 6689088"/>
                <a:gd name="connsiteY546" fmla="*/ 4381688 h 6689084"/>
                <a:gd name="connsiteX547" fmla="*/ 6459616 w 6689088"/>
                <a:gd name="connsiteY547" fmla="*/ 4393672 h 6689084"/>
                <a:gd name="connsiteX548" fmla="*/ 6447634 w 6689088"/>
                <a:gd name="connsiteY548" fmla="*/ 4381688 h 6689084"/>
                <a:gd name="connsiteX549" fmla="*/ 6459616 w 6689088"/>
                <a:gd name="connsiteY549" fmla="*/ 4369707 h 6689084"/>
                <a:gd name="connsiteX550" fmla="*/ 6613200 w 6689088"/>
                <a:gd name="connsiteY550" fmla="*/ 4367530 h 6689084"/>
                <a:gd name="connsiteX551" fmla="*/ 6626996 w 6689088"/>
                <a:gd name="connsiteY551" fmla="*/ 4381326 h 6689084"/>
                <a:gd name="connsiteX552" fmla="*/ 6613200 w 6689088"/>
                <a:gd name="connsiteY552" fmla="*/ 4395125 h 6689084"/>
                <a:gd name="connsiteX553" fmla="*/ 6599402 w 6689088"/>
                <a:gd name="connsiteY553" fmla="*/ 4381326 h 6689084"/>
                <a:gd name="connsiteX554" fmla="*/ 6613200 w 6689088"/>
                <a:gd name="connsiteY554" fmla="*/ 4367530 h 6689084"/>
                <a:gd name="connsiteX555" fmla="*/ 4921594 w 6689088"/>
                <a:gd name="connsiteY555" fmla="*/ 4227744 h 6689084"/>
                <a:gd name="connsiteX556" fmla="*/ 4921956 w 6689088"/>
                <a:gd name="connsiteY556" fmla="*/ 4228106 h 6689084"/>
                <a:gd name="connsiteX557" fmla="*/ 4921594 w 6689088"/>
                <a:gd name="connsiteY557" fmla="*/ 4228468 h 6689084"/>
                <a:gd name="connsiteX558" fmla="*/ 4921232 w 6689088"/>
                <a:gd name="connsiteY558" fmla="*/ 4228106 h 6689084"/>
                <a:gd name="connsiteX559" fmla="*/ 4921594 w 6689088"/>
                <a:gd name="connsiteY559" fmla="*/ 4227744 h 6689084"/>
                <a:gd name="connsiteX560" fmla="*/ 4460480 w 6689088"/>
                <a:gd name="connsiteY560" fmla="*/ 4227744 h 6689084"/>
                <a:gd name="connsiteX561" fmla="*/ 4460842 w 6689088"/>
                <a:gd name="connsiteY561" fmla="*/ 4228106 h 6689084"/>
                <a:gd name="connsiteX562" fmla="*/ 4460480 w 6689088"/>
                <a:gd name="connsiteY562" fmla="*/ 4228468 h 6689084"/>
                <a:gd name="connsiteX563" fmla="*/ 4460118 w 6689088"/>
                <a:gd name="connsiteY563" fmla="*/ 4228106 h 6689084"/>
                <a:gd name="connsiteX564" fmla="*/ 4460480 w 6689088"/>
                <a:gd name="connsiteY564" fmla="*/ 4227744 h 6689084"/>
                <a:gd name="connsiteX565" fmla="*/ 4306532 w 6689088"/>
                <a:gd name="connsiteY565" fmla="*/ 4227744 h 6689084"/>
                <a:gd name="connsiteX566" fmla="*/ 4306894 w 6689088"/>
                <a:gd name="connsiteY566" fmla="*/ 4228106 h 6689084"/>
                <a:gd name="connsiteX567" fmla="*/ 4306532 w 6689088"/>
                <a:gd name="connsiteY567" fmla="*/ 4228468 h 6689084"/>
                <a:gd name="connsiteX568" fmla="*/ 4306170 w 6689088"/>
                <a:gd name="connsiteY568" fmla="*/ 4228106 h 6689084"/>
                <a:gd name="connsiteX569" fmla="*/ 4306532 w 6689088"/>
                <a:gd name="connsiteY569" fmla="*/ 4227744 h 6689084"/>
                <a:gd name="connsiteX570" fmla="*/ 4152947 w 6689088"/>
                <a:gd name="connsiteY570" fmla="*/ 4227378 h 6689084"/>
                <a:gd name="connsiteX571" fmla="*/ 4153672 w 6689088"/>
                <a:gd name="connsiteY571" fmla="*/ 4228103 h 6689084"/>
                <a:gd name="connsiteX572" fmla="*/ 4152947 w 6689088"/>
                <a:gd name="connsiteY572" fmla="*/ 4228831 h 6689084"/>
                <a:gd name="connsiteX573" fmla="*/ 4152219 w 6689088"/>
                <a:gd name="connsiteY573" fmla="*/ 4228103 h 6689084"/>
                <a:gd name="connsiteX574" fmla="*/ 4152947 w 6689088"/>
                <a:gd name="connsiteY574" fmla="*/ 4227378 h 6689084"/>
                <a:gd name="connsiteX575" fmla="*/ 5075541 w 6689088"/>
                <a:gd name="connsiteY575" fmla="*/ 4226292 h 6689084"/>
                <a:gd name="connsiteX576" fmla="*/ 5076994 w 6689088"/>
                <a:gd name="connsiteY576" fmla="*/ 4227744 h 6689084"/>
                <a:gd name="connsiteX577" fmla="*/ 5075541 w 6689088"/>
                <a:gd name="connsiteY577" fmla="*/ 4229197 h 6689084"/>
                <a:gd name="connsiteX578" fmla="*/ 5074089 w 6689088"/>
                <a:gd name="connsiteY578" fmla="*/ 4227744 h 6689084"/>
                <a:gd name="connsiteX579" fmla="*/ 5075541 w 6689088"/>
                <a:gd name="connsiteY579" fmla="*/ 4226292 h 6689084"/>
                <a:gd name="connsiteX580" fmla="*/ 5229122 w 6689088"/>
                <a:gd name="connsiteY580" fmla="*/ 4225564 h 6689084"/>
                <a:gd name="connsiteX581" fmla="*/ 5231303 w 6689088"/>
                <a:gd name="connsiteY581" fmla="*/ 4227744 h 6689084"/>
                <a:gd name="connsiteX582" fmla="*/ 5229122 w 6689088"/>
                <a:gd name="connsiteY582" fmla="*/ 4229921 h 6689084"/>
                <a:gd name="connsiteX583" fmla="*/ 5226946 w 6689088"/>
                <a:gd name="connsiteY583" fmla="*/ 4227744 h 6689084"/>
                <a:gd name="connsiteX584" fmla="*/ 5229122 w 6689088"/>
                <a:gd name="connsiteY584" fmla="*/ 4225564 h 6689084"/>
                <a:gd name="connsiteX585" fmla="*/ 5383078 w 6689088"/>
                <a:gd name="connsiteY585" fmla="*/ 4224840 h 6689084"/>
                <a:gd name="connsiteX586" fmla="*/ 5386344 w 6689088"/>
                <a:gd name="connsiteY586" fmla="*/ 4228106 h 6689084"/>
                <a:gd name="connsiteX587" fmla="*/ 5383078 w 6689088"/>
                <a:gd name="connsiteY587" fmla="*/ 4231377 h 6689084"/>
                <a:gd name="connsiteX588" fmla="*/ 5379807 w 6689088"/>
                <a:gd name="connsiteY588" fmla="*/ 4228106 h 6689084"/>
                <a:gd name="connsiteX589" fmla="*/ 5383078 w 6689088"/>
                <a:gd name="connsiteY589" fmla="*/ 4224840 h 6689084"/>
                <a:gd name="connsiteX590" fmla="*/ 5536659 w 6689088"/>
                <a:gd name="connsiteY590" fmla="*/ 4223383 h 6689084"/>
                <a:gd name="connsiteX591" fmla="*/ 5541016 w 6689088"/>
                <a:gd name="connsiteY591" fmla="*/ 4227740 h 6689084"/>
                <a:gd name="connsiteX592" fmla="*/ 5536659 w 6689088"/>
                <a:gd name="connsiteY592" fmla="*/ 4232097 h 6689084"/>
                <a:gd name="connsiteX593" fmla="*/ 5532302 w 6689088"/>
                <a:gd name="connsiteY593" fmla="*/ 4227740 h 6689084"/>
                <a:gd name="connsiteX594" fmla="*/ 5536659 w 6689088"/>
                <a:gd name="connsiteY594" fmla="*/ 4223383 h 6689084"/>
                <a:gd name="connsiteX595" fmla="*/ 5690606 w 6689088"/>
                <a:gd name="connsiteY595" fmla="*/ 4222297 h 6689084"/>
                <a:gd name="connsiteX596" fmla="*/ 5696416 w 6689088"/>
                <a:gd name="connsiteY596" fmla="*/ 4228106 h 6689084"/>
                <a:gd name="connsiteX597" fmla="*/ 5690606 w 6689088"/>
                <a:gd name="connsiteY597" fmla="*/ 4233916 h 6689084"/>
                <a:gd name="connsiteX598" fmla="*/ 5684797 w 6689088"/>
                <a:gd name="connsiteY598" fmla="*/ 4228106 h 6689084"/>
                <a:gd name="connsiteX599" fmla="*/ 5690606 w 6689088"/>
                <a:gd name="connsiteY599" fmla="*/ 4222297 h 6689084"/>
                <a:gd name="connsiteX600" fmla="*/ 5844554 w 6689088"/>
                <a:gd name="connsiteY600" fmla="*/ 4220479 h 6689084"/>
                <a:gd name="connsiteX601" fmla="*/ 5851816 w 6689088"/>
                <a:gd name="connsiteY601" fmla="*/ 4227740 h 6689084"/>
                <a:gd name="connsiteX602" fmla="*/ 5844554 w 6689088"/>
                <a:gd name="connsiteY602" fmla="*/ 4235002 h 6689084"/>
                <a:gd name="connsiteX603" fmla="*/ 5837292 w 6689088"/>
                <a:gd name="connsiteY603" fmla="*/ 4227740 h 6689084"/>
                <a:gd name="connsiteX604" fmla="*/ 5844554 w 6689088"/>
                <a:gd name="connsiteY604" fmla="*/ 4220479 h 6689084"/>
                <a:gd name="connsiteX605" fmla="*/ 5998136 w 6689088"/>
                <a:gd name="connsiteY605" fmla="*/ 4218664 h 6689084"/>
                <a:gd name="connsiteX606" fmla="*/ 6007216 w 6689088"/>
                <a:gd name="connsiteY606" fmla="*/ 4227740 h 6689084"/>
                <a:gd name="connsiteX607" fmla="*/ 5998136 w 6689088"/>
                <a:gd name="connsiteY607" fmla="*/ 4236820 h 6689084"/>
                <a:gd name="connsiteX608" fmla="*/ 5989059 w 6689088"/>
                <a:gd name="connsiteY608" fmla="*/ 4227740 h 6689084"/>
                <a:gd name="connsiteX609" fmla="*/ 5998136 w 6689088"/>
                <a:gd name="connsiteY609" fmla="*/ 4218664 h 6689084"/>
                <a:gd name="connsiteX610" fmla="*/ 6152086 w 6689088"/>
                <a:gd name="connsiteY610" fmla="*/ 4217940 h 6689084"/>
                <a:gd name="connsiteX611" fmla="*/ 6162253 w 6689088"/>
                <a:gd name="connsiteY611" fmla="*/ 4228106 h 6689084"/>
                <a:gd name="connsiteX612" fmla="*/ 6152086 w 6689088"/>
                <a:gd name="connsiteY612" fmla="*/ 4238273 h 6689084"/>
                <a:gd name="connsiteX613" fmla="*/ 6141920 w 6689088"/>
                <a:gd name="connsiteY613" fmla="*/ 4228106 h 6689084"/>
                <a:gd name="connsiteX614" fmla="*/ 6152086 w 6689088"/>
                <a:gd name="connsiteY614" fmla="*/ 4217940 h 6689084"/>
                <a:gd name="connsiteX615" fmla="*/ 6305668 w 6689088"/>
                <a:gd name="connsiteY615" fmla="*/ 4215760 h 6689084"/>
                <a:gd name="connsiteX616" fmla="*/ 6317649 w 6689088"/>
                <a:gd name="connsiteY616" fmla="*/ 4227740 h 6689084"/>
                <a:gd name="connsiteX617" fmla="*/ 6305668 w 6689088"/>
                <a:gd name="connsiteY617" fmla="*/ 4239721 h 6689084"/>
                <a:gd name="connsiteX618" fmla="*/ 6293687 w 6689088"/>
                <a:gd name="connsiteY618" fmla="*/ 4227740 h 6689084"/>
                <a:gd name="connsiteX619" fmla="*/ 6305668 w 6689088"/>
                <a:gd name="connsiteY619" fmla="*/ 4215760 h 6689084"/>
                <a:gd name="connsiteX620" fmla="*/ 6459619 w 6689088"/>
                <a:gd name="connsiteY620" fmla="*/ 4213945 h 6689084"/>
                <a:gd name="connsiteX621" fmla="*/ 6473414 w 6689088"/>
                <a:gd name="connsiteY621" fmla="*/ 4227744 h 6689084"/>
                <a:gd name="connsiteX622" fmla="*/ 6459619 w 6689088"/>
                <a:gd name="connsiteY622" fmla="*/ 4241539 h 6689084"/>
                <a:gd name="connsiteX623" fmla="*/ 6445820 w 6689088"/>
                <a:gd name="connsiteY623" fmla="*/ 4227744 h 6689084"/>
                <a:gd name="connsiteX624" fmla="*/ 6459619 w 6689088"/>
                <a:gd name="connsiteY624" fmla="*/ 4213945 h 6689084"/>
                <a:gd name="connsiteX625" fmla="*/ 6613200 w 6689088"/>
                <a:gd name="connsiteY625" fmla="*/ 4212855 h 6689084"/>
                <a:gd name="connsiteX626" fmla="*/ 6628452 w 6689088"/>
                <a:gd name="connsiteY626" fmla="*/ 4228103 h 6689084"/>
                <a:gd name="connsiteX627" fmla="*/ 6613200 w 6689088"/>
                <a:gd name="connsiteY627" fmla="*/ 4243354 h 6689084"/>
                <a:gd name="connsiteX628" fmla="*/ 6597953 w 6689088"/>
                <a:gd name="connsiteY628" fmla="*/ 4228103 h 6689084"/>
                <a:gd name="connsiteX629" fmla="*/ 6613200 w 6689088"/>
                <a:gd name="connsiteY629" fmla="*/ 4212855 h 6689084"/>
                <a:gd name="connsiteX630" fmla="*/ 4768008 w 6689088"/>
                <a:gd name="connsiteY630" fmla="*/ 4073793 h 6689084"/>
                <a:gd name="connsiteX631" fmla="*/ 4768370 w 6689088"/>
                <a:gd name="connsiteY631" fmla="*/ 4074155 h 6689084"/>
                <a:gd name="connsiteX632" fmla="*/ 4768008 w 6689088"/>
                <a:gd name="connsiteY632" fmla="*/ 4074521 h 6689084"/>
                <a:gd name="connsiteX633" fmla="*/ 4767646 w 6689088"/>
                <a:gd name="connsiteY633" fmla="*/ 4074155 h 6689084"/>
                <a:gd name="connsiteX634" fmla="*/ 4768008 w 6689088"/>
                <a:gd name="connsiteY634" fmla="*/ 4073793 h 6689084"/>
                <a:gd name="connsiteX635" fmla="*/ 4306532 w 6689088"/>
                <a:gd name="connsiteY635" fmla="*/ 4073793 h 6689084"/>
                <a:gd name="connsiteX636" fmla="*/ 4306894 w 6689088"/>
                <a:gd name="connsiteY636" fmla="*/ 4074155 h 6689084"/>
                <a:gd name="connsiteX637" fmla="*/ 4306532 w 6689088"/>
                <a:gd name="connsiteY637" fmla="*/ 4074521 h 6689084"/>
                <a:gd name="connsiteX638" fmla="*/ 4306170 w 6689088"/>
                <a:gd name="connsiteY638" fmla="*/ 4074155 h 6689084"/>
                <a:gd name="connsiteX639" fmla="*/ 4306532 w 6689088"/>
                <a:gd name="connsiteY639" fmla="*/ 4073793 h 6689084"/>
                <a:gd name="connsiteX640" fmla="*/ 4152947 w 6689088"/>
                <a:gd name="connsiteY640" fmla="*/ 4073793 h 6689084"/>
                <a:gd name="connsiteX641" fmla="*/ 4153309 w 6689088"/>
                <a:gd name="connsiteY641" fmla="*/ 4074155 h 6689084"/>
                <a:gd name="connsiteX642" fmla="*/ 4152947 w 6689088"/>
                <a:gd name="connsiteY642" fmla="*/ 4074521 h 6689084"/>
                <a:gd name="connsiteX643" fmla="*/ 4152585 w 6689088"/>
                <a:gd name="connsiteY643" fmla="*/ 4074155 h 6689084"/>
                <a:gd name="connsiteX644" fmla="*/ 4152947 w 6689088"/>
                <a:gd name="connsiteY644" fmla="*/ 4073793 h 6689084"/>
                <a:gd name="connsiteX645" fmla="*/ 3998996 w 6689088"/>
                <a:gd name="connsiteY645" fmla="*/ 4073431 h 6689084"/>
                <a:gd name="connsiteX646" fmla="*/ 3999724 w 6689088"/>
                <a:gd name="connsiteY646" fmla="*/ 4074155 h 6689084"/>
                <a:gd name="connsiteX647" fmla="*/ 3998996 w 6689088"/>
                <a:gd name="connsiteY647" fmla="*/ 4074883 h 6689084"/>
                <a:gd name="connsiteX648" fmla="*/ 3998272 w 6689088"/>
                <a:gd name="connsiteY648" fmla="*/ 4074155 h 6689084"/>
                <a:gd name="connsiteX649" fmla="*/ 3998996 w 6689088"/>
                <a:gd name="connsiteY649" fmla="*/ 4073431 h 6689084"/>
                <a:gd name="connsiteX650" fmla="*/ 4921594 w 6689088"/>
                <a:gd name="connsiteY650" fmla="*/ 4072344 h 6689084"/>
                <a:gd name="connsiteX651" fmla="*/ 4923046 w 6689088"/>
                <a:gd name="connsiteY651" fmla="*/ 4073797 h 6689084"/>
                <a:gd name="connsiteX652" fmla="*/ 4921594 w 6689088"/>
                <a:gd name="connsiteY652" fmla="*/ 4075249 h 6689084"/>
                <a:gd name="connsiteX653" fmla="*/ 4920142 w 6689088"/>
                <a:gd name="connsiteY653" fmla="*/ 4073797 h 6689084"/>
                <a:gd name="connsiteX654" fmla="*/ 4921594 w 6689088"/>
                <a:gd name="connsiteY654" fmla="*/ 4072344 h 6689084"/>
                <a:gd name="connsiteX655" fmla="*/ 5075541 w 6689088"/>
                <a:gd name="connsiteY655" fmla="*/ 4071978 h 6689084"/>
                <a:gd name="connsiteX656" fmla="*/ 5077722 w 6689088"/>
                <a:gd name="connsiteY656" fmla="*/ 4074155 h 6689084"/>
                <a:gd name="connsiteX657" fmla="*/ 5075541 w 6689088"/>
                <a:gd name="connsiteY657" fmla="*/ 4076335 h 6689084"/>
                <a:gd name="connsiteX658" fmla="*/ 5073364 w 6689088"/>
                <a:gd name="connsiteY658" fmla="*/ 4074155 h 6689084"/>
                <a:gd name="connsiteX659" fmla="*/ 5075541 w 6689088"/>
                <a:gd name="connsiteY659" fmla="*/ 4071978 h 6689084"/>
                <a:gd name="connsiteX660" fmla="*/ 5229126 w 6689088"/>
                <a:gd name="connsiteY660" fmla="*/ 4070892 h 6689084"/>
                <a:gd name="connsiteX661" fmla="*/ 5232394 w 6689088"/>
                <a:gd name="connsiteY661" fmla="*/ 4074159 h 6689084"/>
                <a:gd name="connsiteX662" fmla="*/ 5229126 w 6689088"/>
                <a:gd name="connsiteY662" fmla="*/ 4077429 h 6689084"/>
                <a:gd name="connsiteX663" fmla="*/ 5225860 w 6689088"/>
                <a:gd name="connsiteY663" fmla="*/ 4074159 h 6689084"/>
                <a:gd name="connsiteX664" fmla="*/ 5229126 w 6689088"/>
                <a:gd name="connsiteY664" fmla="*/ 4070892 h 6689084"/>
                <a:gd name="connsiteX665" fmla="*/ 5383074 w 6689088"/>
                <a:gd name="connsiteY665" fmla="*/ 4069802 h 6689084"/>
                <a:gd name="connsiteX666" fmla="*/ 5387431 w 6689088"/>
                <a:gd name="connsiteY666" fmla="*/ 4074159 h 6689084"/>
                <a:gd name="connsiteX667" fmla="*/ 5383074 w 6689088"/>
                <a:gd name="connsiteY667" fmla="*/ 4078516 h 6689084"/>
                <a:gd name="connsiteX668" fmla="*/ 5378717 w 6689088"/>
                <a:gd name="connsiteY668" fmla="*/ 4074159 h 6689084"/>
                <a:gd name="connsiteX669" fmla="*/ 5383074 w 6689088"/>
                <a:gd name="connsiteY669" fmla="*/ 4069802 h 6689084"/>
                <a:gd name="connsiteX670" fmla="*/ 5536659 w 6689088"/>
                <a:gd name="connsiteY670" fmla="*/ 4068349 h 6689084"/>
                <a:gd name="connsiteX671" fmla="*/ 5542468 w 6689088"/>
                <a:gd name="connsiteY671" fmla="*/ 4074159 h 6689084"/>
                <a:gd name="connsiteX672" fmla="*/ 5536659 w 6689088"/>
                <a:gd name="connsiteY672" fmla="*/ 4079968 h 6689084"/>
                <a:gd name="connsiteX673" fmla="*/ 5530850 w 6689088"/>
                <a:gd name="connsiteY673" fmla="*/ 4074159 h 6689084"/>
                <a:gd name="connsiteX674" fmla="*/ 5536659 w 6689088"/>
                <a:gd name="connsiteY674" fmla="*/ 4068349 h 6689084"/>
                <a:gd name="connsiteX675" fmla="*/ 5690606 w 6689088"/>
                <a:gd name="connsiteY675" fmla="*/ 4066897 h 6689084"/>
                <a:gd name="connsiteX676" fmla="*/ 5697868 w 6689088"/>
                <a:gd name="connsiteY676" fmla="*/ 4074159 h 6689084"/>
                <a:gd name="connsiteX677" fmla="*/ 5690606 w 6689088"/>
                <a:gd name="connsiteY677" fmla="*/ 4081420 h 6689084"/>
                <a:gd name="connsiteX678" fmla="*/ 5683345 w 6689088"/>
                <a:gd name="connsiteY678" fmla="*/ 4074159 h 6689084"/>
                <a:gd name="connsiteX679" fmla="*/ 5690606 w 6689088"/>
                <a:gd name="connsiteY679" fmla="*/ 4066897 h 6689084"/>
                <a:gd name="connsiteX680" fmla="*/ 5844554 w 6689088"/>
                <a:gd name="connsiteY680" fmla="*/ 4064717 h 6689084"/>
                <a:gd name="connsiteX681" fmla="*/ 5853634 w 6689088"/>
                <a:gd name="connsiteY681" fmla="*/ 4073793 h 6689084"/>
                <a:gd name="connsiteX682" fmla="*/ 5844554 w 6689088"/>
                <a:gd name="connsiteY682" fmla="*/ 4082873 h 6689084"/>
                <a:gd name="connsiteX683" fmla="*/ 5835478 w 6689088"/>
                <a:gd name="connsiteY683" fmla="*/ 4073793 h 6689084"/>
                <a:gd name="connsiteX684" fmla="*/ 5844554 w 6689088"/>
                <a:gd name="connsiteY684" fmla="*/ 4064717 h 6689084"/>
                <a:gd name="connsiteX685" fmla="*/ 5998139 w 6689088"/>
                <a:gd name="connsiteY685" fmla="*/ 4063992 h 6689084"/>
                <a:gd name="connsiteX686" fmla="*/ 6008306 w 6689088"/>
                <a:gd name="connsiteY686" fmla="*/ 4074159 h 6689084"/>
                <a:gd name="connsiteX687" fmla="*/ 5998139 w 6689088"/>
                <a:gd name="connsiteY687" fmla="*/ 4084325 h 6689084"/>
                <a:gd name="connsiteX688" fmla="*/ 5987973 w 6689088"/>
                <a:gd name="connsiteY688" fmla="*/ 4074159 h 6689084"/>
                <a:gd name="connsiteX689" fmla="*/ 5998139 w 6689088"/>
                <a:gd name="connsiteY689" fmla="*/ 4063992 h 6689084"/>
                <a:gd name="connsiteX690" fmla="*/ 6152083 w 6689088"/>
                <a:gd name="connsiteY690" fmla="*/ 4062174 h 6689084"/>
                <a:gd name="connsiteX691" fmla="*/ 6164064 w 6689088"/>
                <a:gd name="connsiteY691" fmla="*/ 4074155 h 6689084"/>
                <a:gd name="connsiteX692" fmla="*/ 6152083 w 6689088"/>
                <a:gd name="connsiteY692" fmla="*/ 4086140 h 6689084"/>
                <a:gd name="connsiteX693" fmla="*/ 6140102 w 6689088"/>
                <a:gd name="connsiteY693" fmla="*/ 4074155 h 6689084"/>
                <a:gd name="connsiteX694" fmla="*/ 6152083 w 6689088"/>
                <a:gd name="connsiteY694" fmla="*/ 4062174 h 6689084"/>
                <a:gd name="connsiteX695" fmla="*/ 6305672 w 6689088"/>
                <a:gd name="connsiteY695" fmla="*/ 4059998 h 6689084"/>
                <a:gd name="connsiteX696" fmla="*/ 6319467 w 6689088"/>
                <a:gd name="connsiteY696" fmla="*/ 4073793 h 6689084"/>
                <a:gd name="connsiteX697" fmla="*/ 6305672 w 6689088"/>
                <a:gd name="connsiteY697" fmla="*/ 4087592 h 6689084"/>
                <a:gd name="connsiteX698" fmla="*/ 6291873 w 6689088"/>
                <a:gd name="connsiteY698" fmla="*/ 4073793 h 6689084"/>
                <a:gd name="connsiteX699" fmla="*/ 6305672 w 6689088"/>
                <a:gd name="connsiteY699" fmla="*/ 4059998 h 6689084"/>
                <a:gd name="connsiteX700" fmla="*/ 6459619 w 6689088"/>
                <a:gd name="connsiteY700" fmla="*/ 4058907 h 6689084"/>
                <a:gd name="connsiteX701" fmla="*/ 6474867 w 6689088"/>
                <a:gd name="connsiteY701" fmla="*/ 4074155 h 6689084"/>
                <a:gd name="connsiteX702" fmla="*/ 6459619 w 6689088"/>
                <a:gd name="connsiteY702" fmla="*/ 4089406 h 6689084"/>
                <a:gd name="connsiteX703" fmla="*/ 6444368 w 6689088"/>
                <a:gd name="connsiteY703" fmla="*/ 4074155 h 6689084"/>
                <a:gd name="connsiteX704" fmla="*/ 6459619 w 6689088"/>
                <a:gd name="connsiteY704" fmla="*/ 4058907 h 6689084"/>
                <a:gd name="connsiteX705" fmla="*/ 6613197 w 6689088"/>
                <a:gd name="connsiteY705" fmla="*/ 4057093 h 6689084"/>
                <a:gd name="connsiteX706" fmla="*/ 6630266 w 6689088"/>
                <a:gd name="connsiteY706" fmla="*/ 4074159 h 6689084"/>
                <a:gd name="connsiteX707" fmla="*/ 6613197 w 6689088"/>
                <a:gd name="connsiteY707" fmla="*/ 4091225 h 6689084"/>
                <a:gd name="connsiteX708" fmla="*/ 6596135 w 6689088"/>
                <a:gd name="connsiteY708" fmla="*/ 4074159 h 6689084"/>
                <a:gd name="connsiteX709" fmla="*/ 6613197 w 6689088"/>
                <a:gd name="connsiteY709" fmla="*/ 4057093 h 6689084"/>
                <a:gd name="connsiteX710" fmla="*/ 4614061 w 6689088"/>
                <a:gd name="connsiteY710" fmla="*/ 3919845 h 6689084"/>
                <a:gd name="connsiteX711" fmla="*/ 4614424 w 6689088"/>
                <a:gd name="connsiteY711" fmla="*/ 3920208 h 6689084"/>
                <a:gd name="connsiteX712" fmla="*/ 4614061 w 6689088"/>
                <a:gd name="connsiteY712" fmla="*/ 3920574 h 6689084"/>
                <a:gd name="connsiteX713" fmla="*/ 4613699 w 6689088"/>
                <a:gd name="connsiteY713" fmla="*/ 3920208 h 6689084"/>
                <a:gd name="connsiteX714" fmla="*/ 4614061 w 6689088"/>
                <a:gd name="connsiteY714" fmla="*/ 3919845 h 6689084"/>
                <a:gd name="connsiteX715" fmla="*/ 4152947 w 6689088"/>
                <a:gd name="connsiteY715" fmla="*/ 3919845 h 6689084"/>
                <a:gd name="connsiteX716" fmla="*/ 4153309 w 6689088"/>
                <a:gd name="connsiteY716" fmla="*/ 3920208 h 6689084"/>
                <a:gd name="connsiteX717" fmla="*/ 4152947 w 6689088"/>
                <a:gd name="connsiteY717" fmla="*/ 3920574 h 6689084"/>
                <a:gd name="connsiteX718" fmla="*/ 4152585 w 6689088"/>
                <a:gd name="connsiteY718" fmla="*/ 3920208 h 6689084"/>
                <a:gd name="connsiteX719" fmla="*/ 4152947 w 6689088"/>
                <a:gd name="connsiteY719" fmla="*/ 3919845 h 6689084"/>
                <a:gd name="connsiteX720" fmla="*/ 3999000 w 6689088"/>
                <a:gd name="connsiteY720" fmla="*/ 3919845 h 6689084"/>
                <a:gd name="connsiteX721" fmla="*/ 3999362 w 6689088"/>
                <a:gd name="connsiteY721" fmla="*/ 3920208 h 6689084"/>
                <a:gd name="connsiteX722" fmla="*/ 3999000 w 6689088"/>
                <a:gd name="connsiteY722" fmla="*/ 3920574 h 6689084"/>
                <a:gd name="connsiteX723" fmla="*/ 3998638 w 6689088"/>
                <a:gd name="connsiteY723" fmla="*/ 3920208 h 6689084"/>
                <a:gd name="connsiteX724" fmla="*/ 3999000 w 6689088"/>
                <a:gd name="connsiteY724" fmla="*/ 3919845 h 6689084"/>
                <a:gd name="connsiteX725" fmla="*/ 3845418 w 6689088"/>
                <a:gd name="connsiteY725" fmla="*/ 3919483 h 6689084"/>
                <a:gd name="connsiteX726" fmla="*/ 3846142 w 6689088"/>
                <a:gd name="connsiteY726" fmla="*/ 3920211 h 6689084"/>
                <a:gd name="connsiteX727" fmla="*/ 3845418 w 6689088"/>
                <a:gd name="connsiteY727" fmla="*/ 3920936 h 6689084"/>
                <a:gd name="connsiteX728" fmla="*/ 3844690 w 6689088"/>
                <a:gd name="connsiteY728" fmla="*/ 3920211 h 6689084"/>
                <a:gd name="connsiteX729" fmla="*/ 3845418 w 6689088"/>
                <a:gd name="connsiteY729" fmla="*/ 3919483 h 6689084"/>
                <a:gd name="connsiteX730" fmla="*/ 4768012 w 6689088"/>
                <a:gd name="connsiteY730" fmla="*/ 3918759 h 6689084"/>
                <a:gd name="connsiteX731" fmla="*/ 4769464 w 6689088"/>
                <a:gd name="connsiteY731" fmla="*/ 3920211 h 6689084"/>
                <a:gd name="connsiteX732" fmla="*/ 4768012 w 6689088"/>
                <a:gd name="connsiteY732" fmla="*/ 3921664 h 6689084"/>
                <a:gd name="connsiteX733" fmla="*/ 4766560 w 6689088"/>
                <a:gd name="connsiteY733" fmla="*/ 3920211 h 6689084"/>
                <a:gd name="connsiteX734" fmla="*/ 4768012 w 6689088"/>
                <a:gd name="connsiteY734" fmla="*/ 3918759 h 6689084"/>
                <a:gd name="connsiteX735" fmla="*/ 4921594 w 6689088"/>
                <a:gd name="connsiteY735" fmla="*/ 3918031 h 6689084"/>
                <a:gd name="connsiteX736" fmla="*/ 4923774 w 6689088"/>
                <a:gd name="connsiteY736" fmla="*/ 3920208 h 6689084"/>
                <a:gd name="connsiteX737" fmla="*/ 4921594 w 6689088"/>
                <a:gd name="connsiteY737" fmla="*/ 3922388 h 6689084"/>
                <a:gd name="connsiteX738" fmla="*/ 4919417 w 6689088"/>
                <a:gd name="connsiteY738" fmla="*/ 3920208 h 6689084"/>
                <a:gd name="connsiteX739" fmla="*/ 4921594 w 6689088"/>
                <a:gd name="connsiteY739" fmla="*/ 3918031 h 6689084"/>
                <a:gd name="connsiteX740" fmla="*/ 5075545 w 6689088"/>
                <a:gd name="connsiteY740" fmla="*/ 3917307 h 6689084"/>
                <a:gd name="connsiteX741" fmla="*/ 5078812 w 6689088"/>
                <a:gd name="connsiteY741" fmla="*/ 3920574 h 6689084"/>
                <a:gd name="connsiteX742" fmla="*/ 5075545 w 6689088"/>
                <a:gd name="connsiteY742" fmla="*/ 3923844 h 6689084"/>
                <a:gd name="connsiteX743" fmla="*/ 5072274 w 6689088"/>
                <a:gd name="connsiteY743" fmla="*/ 3920574 h 6689084"/>
                <a:gd name="connsiteX744" fmla="*/ 5075545 w 6689088"/>
                <a:gd name="connsiteY744" fmla="*/ 3917307 h 6689084"/>
                <a:gd name="connsiteX745" fmla="*/ 5229126 w 6689088"/>
                <a:gd name="connsiteY745" fmla="*/ 3915854 h 6689084"/>
                <a:gd name="connsiteX746" fmla="*/ 5233484 w 6689088"/>
                <a:gd name="connsiteY746" fmla="*/ 3920211 h 6689084"/>
                <a:gd name="connsiteX747" fmla="*/ 5229126 w 6689088"/>
                <a:gd name="connsiteY747" fmla="*/ 3924568 h 6689084"/>
                <a:gd name="connsiteX748" fmla="*/ 5224770 w 6689088"/>
                <a:gd name="connsiteY748" fmla="*/ 3920211 h 6689084"/>
                <a:gd name="connsiteX749" fmla="*/ 5229126 w 6689088"/>
                <a:gd name="connsiteY749" fmla="*/ 3915854 h 6689084"/>
                <a:gd name="connsiteX750" fmla="*/ 5383074 w 6689088"/>
                <a:gd name="connsiteY750" fmla="*/ 3914764 h 6689084"/>
                <a:gd name="connsiteX751" fmla="*/ 5388883 w 6689088"/>
                <a:gd name="connsiteY751" fmla="*/ 3920574 h 6689084"/>
                <a:gd name="connsiteX752" fmla="*/ 5383074 w 6689088"/>
                <a:gd name="connsiteY752" fmla="*/ 3926383 h 6689084"/>
                <a:gd name="connsiteX753" fmla="*/ 5377264 w 6689088"/>
                <a:gd name="connsiteY753" fmla="*/ 3920574 h 6689084"/>
                <a:gd name="connsiteX754" fmla="*/ 5383074 w 6689088"/>
                <a:gd name="connsiteY754" fmla="*/ 3914764 h 6689084"/>
                <a:gd name="connsiteX755" fmla="*/ 5536659 w 6689088"/>
                <a:gd name="connsiteY755" fmla="*/ 3912950 h 6689084"/>
                <a:gd name="connsiteX756" fmla="*/ 5543921 w 6689088"/>
                <a:gd name="connsiteY756" fmla="*/ 3920211 h 6689084"/>
                <a:gd name="connsiteX757" fmla="*/ 5536659 w 6689088"/>
                <a:gd name="connsiteY757" fmla="*/ 3927473 h 6689084"/>
                <a:gd name="connsiteX758" fmla="*/ 5529398 w 6689088"/>
                <a:gd name="connsiteY758" fmla="*/ 3920211 h 6689084"/>
                <a:gd name="connsiteX759" fmla="*/ 5536659 w 6689088"/>
                <a:gd name="connsiteY759" fmla="*/ 3912950 h 6689084"/>
                <a:gd name="connsiteX760" fmla="*/ 5690606 w 6689088"/>
                <a:gd name="connsiteY760" fmla="*/ 3911135 h 6689084"/>
                <a:gd name="connsiteX761" fmla="*/ 5699686 w 6689088"/>
                <a:gd name="connsiteY761" fmla="*/ 3920211 h 6689084"/>
                <a:gd name="connsiteX762" fmla="*/ 5690606 w 6689088"/>
                <a:gd name="connsiteY762" fmla="*/ 3929291 h 6689084"/>
                <a:gd name="connsiteX763" fmla="*/ 5681530 w 6689088"/>
                <a:gd name="connsiteY763" fmla="*/ 3920211 h 6689084"/>
                <a:gd name="connsiteX764" fmla="*/ 5690606 w 6689088"/>
                <a:gd name="connsiteY764" fmla="*/ 3911135 h 6689084"/>
                <a:gd name="connsiteX765" fmla="*/ 5844554 w 6689088"/>
                <a:gd name="connsiteY765" fmla="*/ 3910045 h 6689084"/>
                <a:gd name="connsiteX766" fmla="*/ 5854720 w 6689088"/>
                <a:gd name="connsiteY766" fmla="*/ 3920211 h 6689084"/>
                <a:gd name="connsiteX767" fmla="*/ 5844554 w 6689088"/>
                <a:gd name="connsiteY767" fmla="*/ 3930378 h 6689084"/>
                <a:gd name="connsiteX768" fmla="*/ 5834388 w 6689088"/>
                <a:gd name="connsiteY768" fmla="*/ 3920211 h 6689084"/>
                <a:gd name="connsiteX769" fmla="*/ 5844554 w 6689088"/>
                <a:gd name="connsiteY769" fmla="*/ 3910045 h 6689084"/>
                <a:gd name="connsiteX770" fmla="*/ 5998139 w 6689088"/>
                <a:gd name="connsiteY770" fmla="*/ 3908227 h 6689084"/>
                <a:gd name="connsiteX771" fmla="*/ 6010120 w 6689088"/>
                <a:gd name="connsiteY771" fmla="*/ 3920208 h 6689084"/>
                <a:gd name="connsiteX772" fmla="*/ 5998139 w 6689088"/>
                <a:gd name="connsiteY772" fmla="*/ 3932192 h 6689084"/>
                <a:gd name="connsiteX773" fmla="*/ 5986158 w 6689088"/>
                <a:gd name="connsiteY773" fmla="*/ 3920208 h 6689084"/>
                <a:gd name="connsiteX774" fmla="*/ 5998139 w 6689088"/>
                <a:gd name="connsiteY774" fmla="*/ 3908227 h 6689084"/>
                <a:gd name="connsiteX775" fmla="*/ 6152086 w 6689088"/>
                <a:gd name="connsiteY775" fmla="*/ 3906412 h 6689084"/>
                <a:gd name="connsiteX776" fmla="*/ 6165882 w 6689088"/>
                <a:gd name="connsiteY776" fmla="*/ 3920211 h 6689084"/>
                <a:gd name="connsiteX777" fmla="*/ 6152086 w 6689088"/>
                <a:gd name="connsiteY777" fmla="*/ 3934007 h 6689084"/>
                <a:gd name="connsiteX778" fmla="*/ 6138288 w 6689088"/>
                <a:gd name="connsiteY778" fmla="*/ 3920211 h 6689084"/>
                <a:gd name="connsiteX779" fmla="*/ 6152086 w 6689088"/>
                <a:gd name="connsiteY779" fmla="*/ 3906412 h 6689084"/>
                <a:gd name="connsiteX780" fmla="*/ 6305672 w 6689088"/>
                <a:gd name="connsiteY780" fmla="*/ 3904960 h 6689084"/>
                <a:gd name="connsiteX781" fmla="*/ 6320920 w 6689088"/>
                <a:gd name="connsiteY781" fmla="*/ 3920211 h 6689084"/>
                <a:gd name="connsiteX782" fmla="*/ 6305672 w 6689088"/>
                <a:gd name="connsiteY782" fmla="*/ 3935459 h 6689084"/>
                <a:gd name="connsiteX783" fmla="*/ 6290420 w 6689088"/>
                <a:gd name="connsiteY783" fmla="*/ 3920211 h 6689084"/>
                <a:gd name="connsiteX784" fmla="*/ 6305672 w 6689088"/>
                <a:gd name="connsiteY784" fmla="*/ 3904960 h 6689084"/>
                <a:gd name="connsiteX785" fmla="*/ 6459616 w 6689088"/>
                <a:gd name="connsiteY785" fmla="*/ 3903146 h 6689084"/>
                <a:gd name="connsiteX786" fmla="*/ 6476682 w 6689088"/>
                <a:gd name="connsiteY786" fmla="*/ 3920211 h 6689084"/>
                <a:gd name="connsiteX787" fmla="*/ 6459616 w 6689088"/>
                <a:gd name="connsiteY787" fmla="*/ 3937277 h 6689084"/>
                <a:gd name="connsiteX788" fmla="*/ 6442550 w 6689088"/>
                <a:gd name="connsiteY788" fmla="*/ 3920211 h 6689084"/>
                <a:gd name="connsiteX789" fmla="*/ 6459616 w 6689088"/>
                <a:gd name="connsiteY789" fmla="*/ 3903146 h 6689084"/>
                <a:gd name="connsiteX790" fmla="*/ 6613200 w 6689088"/>
                <a:gd name="connsiteY790" fmla="*/ 3900969 h 6689084"/>
                <a:gd name="connsiteX791" fmla="*/ 6632447 w 6689088"/>
                <a:gd name="connsiteY791" fmla="*/ 3920211 h 6689084"/>
                <a:gd name="connsiteX792" fmla="*/ 6613200 w 6689088"/>
                <a:gd name="connsiteY792" fmla="*/ 3939458 h 6689084"/>
                <a:gd name="connsiteX793" fmla="*/ 6593958 w 6689088"/>
                <a:gd name="connsiteY793" fmla="*/ 3920211 h 6689084"/>
                <a:gd name="connsiteX794" fmla="*/ 6613200 w 6689088"/>
                <a:gd name="connsiteY794" fmla="*/ 3900969 h 6689084"/>
                <a:gd name="connsiteX795" fmla="*/ 4460480 w 6689088"/>
                <a:gd name="connsiteY795" fmla="*/ 3766264 h 6689084"/>
                <a:gd name="connsiteX796" fmla="*/ 4460842 w 6689088"/>
                <a:gd name="connsiteY796" fmla="*/ 3766626 h 6689084"/>
                <a:gd name="connsiteX797" fmla="*/ 4460480 w 6689088"/>
                <a:gd name="connsiteY797" fmla="*/ 3766988 h 6689084"/>
                <a:gd name="connsiteX798" fmla="*/ 4460118 w 6689088"/>
                <a:gd name="connsiteY798" fmla="*/ 3766626 h 6689084"/>
                <a:gd name="connsiteX799" fmla="*/ 4460480 w 6689088"/>
                <a:gd name="connsiteY799" fmla="*/ 3766264 h 6689084"/>
                <a:gd name="connsiteX800" fmla="*/ 3999000 w 6689088"/>
                <a:gd name="connsiteY800" fmla="*/ 3766264 h 6689084"/>
                <a:gd name="connsiteX801" fmla="*/ 3999362 w 6689088"/>
                <a:gd name="connsiteY801" fmla="*/ 3766626 h 6689084"/>
                <a:gd name="connsiteX802" fmla="*/ 3999000 w 6689088"/>
                <a:gd name="connsiteY802" fmla="*/ 3766988 h 6689084"/>
                <a:gd name="connsiteX803" fmla="*/ 3998638 w 6689088"/>
                <a:gd name="connsiteY803" fmla="*/ 3766626 h 6689084"/>
                <a:gd name="connsiteX804" fmla="*/ 3999000 w 6689088"/>
                <a:gd name="connsiteY804" fmla="*/ 3766264 h 6689084"/>
                <a:gd name="connsiteX805" fmla="*/ 3845414 w 6689088"/>
                <a:gd name="connsiteY805" fmla="*/ 3766264 h 6689084"/>
                <a:gd name="connsiteX806" fmla="*/ 3845776 w 6689088"/>
                <a:gd name="connsiteY806" fmla="*/ 3766626 h 6689084"/>
                <a:gd name="connsiteX807" fmla="*/ 3845414 w 6689088"/>
                <a:gd name="connsiteY807" fmla="*/ 3766988 h 6689084"/>
                <a:gd name="connsiteX808" fmla="*/ 3845052 w 6689088"/>
                <a:gd name="connsiteY808" fmla="*/ 3766626 h 6689084"/>
                <a:gd name="connsiteX809" fmla="*/ 3845414 w 6689088"/>
                <a:gd name="connsiteY809" fmla="*/ 3766264 h 6689084"/>
                <a:gd name="connsiteX810" fmla="*/ 3691471 w 6689088"/>
                <a:gd name="connsiteY810" fmla="*/ 3765902 h 6689084"/>
                <a:gd name="connsiteX811" fmla="*/ 3692195 w 6689088"/>
                <a:gd name="connsiteY811" fmla="*/ 3766626 h 6689084"/>
                <a:gd name="connsiteX812" fmla="*/ 3691471 w 6689088"/>
                <a:gd name="connsiteY812" fmla="*/ 3767354 h 6689084"/>
                <a:gd name="connsiteX813" fmla="*/ 3690743 w 6689088"/>
                <a:gd name="connsiteY813" fmla="*/ 3766626 h 6689084"/>
                <a:gd name="connsiteX814" fmla="*/ 3691471 w 6689088"/>
                <a:gd name="connsiteY814" fmla="*/ 3765902 h 6689084"/>
                <a:gd name="connsiteX815" fmla="*/ 4614065 w 6689088"/>
                <a:gd name="connsiteY815" fmla="*/ 3764812 h 6689084"/>
                <a:gd name="connsiteX816" fmla="*/ 4615518 w 6689088"/>
                <a:gd name="connsiteY816" fmla="*/ 3766264 h 6689084"/>
                <a:gd name="connsiteX817" fmla="*/ 4614065 w 6689088"/>
                <a:gd name="connsiteY817" fmla="*/ 3767716 h 6689084"/>
                <a:gd name="connsiteX818" fmla="*/ 4612612 w 6689088"/>
                <a:gd name="connsiteY818" fmla="*/ 3766264 h 6689084"/>
                <a:gd name="connsiteX819" fmla="*/ 4614065 w 6689088"/>
                <a:gd name="connsiteY819" fmla="*/ 3764812 h 6689084"/>
                <a:gd name="connsiteX820" fmla="*/ 4768008 w 6689088"/>
                <a:gd name="connsiteY820" fmla="*/ 3764450 h 6689084"/>
                <a:gd name="connsiteX821" fmla="*/ 4770189 w 6689088"/>
                <a:gd name="connsiteY821" fmla="*/ 3766626 h 6689084"/>
                <a:gd name="connsiteX822" fmla="*/ 4768008 w 6689088"/>
                <a:gd name="connsiteY822" fmla="*/ 3768807 h 6689084"/>
                <a:gd name="connsiteX823" fmla="*/ 4765832 w 6689088"/>
                <a:gd name="connsiteY823" fmla="*/ 3766626 h 6689084"/>
                <a:gd name="connsiteX824" fmla="*/ 4768008 w 6689088"/>
                <a:gd name="connsiteY824" fmla="*/ 3764450 h 6689084"/>
                <a:gd name="connsiteX825" fmla="*/ 4921594 w 6689088"/>
                <a:gd name="connsiteY825" fmla="*/ 3763359 h 6689084"/>
                <a:gd name="connsiteX826" fmla="*/ 4924860 w 6689088"/>
                <a:gd name="connsiteY826" fmla="*/ 3766626 h 6689084"/>
                <a:gd name="connsiteX827" fmla="*/ 4921594 w 6689088"/>
                <a:gd name="connsiteY827" fmla="*/ 3769897 h 6689084"/>
                <a:gd name="connsiteX828" fmla="*/ 4918327 w 6689088"/>
                <a:gd name="connsiteY828" fmla="*/ 3766626 h 6689084"/>
                <a:gd name="connsiteX829" fmla="*/ 4921594 w 6689088"/>
                <a:gd name="connsiteY829" fmla="*/ 3763359 h 6689084"/>
                <a:gd name="connsiteX830" fmla="*/ 5075541 w 6689088"/>
                <a:gd name="connsiteY830" fmla="*/ 3762269 h 6689084"/>
                <a:gd name="connsiteX831" fmla="*/ 5079898 w 6689088"/>
                <a:gd name="connsiteY831" fmla="*/ 3766626 h 6689084"/>
                <a:gd name="connsiteX832" fmla="*/ 5075541 w 6689088"/>
                <a:gd name="connsiteY832" fmla="*/ 3770983 h 6689084"/>
                <a:gd name="connsiteX833" fmla="*/ 5071184 w 6689088"/>
                <a:gd name="connsiteY833" fmla="*/ 3766626 h 6689084"/>
                <a:gd name="connsiteX834" fmla="*/ 5075541 w 6689088"/>
                <a:gd name="connsiteY834" fmla="*/ 3762269 h 6689084"/>
                <a:gd name="connsiteX835" fmla="*/ 5229126 w 6689088"/>
                <a:gd name="connsiteY835" fmla="*/ 3760817 h 6689084"/>
                <a:gd name="connsiteX836" fmla="*/ 5234936 w 6689088"/>
                <a:gd name="connsiteY836" fmla="*/ 3766626 h 6689084"/>
                <a:gd name="connsiteX837" fmla="*/ 5229126 w 6689088"/>
                <a:gd name="connsiteY837" fmla="*/ 3772436 h 6689084"/>
                <a:gd name="connsiteX838" fmla="*/ 5223317 w 6689088"/>
                <a:gd name="connsiteY838" fmla="*/ 3766626 h 6689084"/>
                <a:gd name="connsiteX839" fmla="*/ 5229126 w 6689088"/>
                <a:gd name="connsiteY839" fmla="*/ 3760817 h 6689084"/>
                <a:gd name="connsiteX840" fmla="*/ 5383074 w 6689088"/>
                <a:gd name="connsiteY840" fmla="*/ 3759365 h 6689084"/>
                <a:gd name="connsiteX841" fmla="*/ 5390336 w 6689088"/>
                <a:gd name="connsiteY841" fmla="*/ 3766626 h 6689084"/>
                <a:gd name="connsiteX842" fmla="*/ 5383074 w 6689088"/>
                <a:gd name="connsiteY842" fmla="*/ 3773888 h 6689084"/>
                <a:gd name="connsiteX843" fmla="*/ 5375812 w 6689088"/>
                <a:gd name="connsiteY843" fmla="*/ 3766626 h 6689084"/>
                <a:gd name="connsiteX844" fmla="*/ 5383074 w 6689088"/>
                <a:gd name="connsiteY844" fmla="*/ 3759365 h 6689084"/>
                <a:gd name="connsiteX845" fmla="*/ 5536659 w 6689088"/>
                <a:gd name="connsiteY845" fmla="*/ 3757188 h 6689084"/>
                <a:gd name="connsiteX846" fmla="*/ 5545739 w 6689088"/>
                <a:gd name="connsiteY846" fmla="*/ 3766264 h 6689084"/>
                <a:gd name="connsiteX847" fmla="*/ 5536659 w 6689088"/>
                <a:gd name="connsiteY847" fmla="*/ 3775344 h 6689084"/>
                <a:gd name="connsiteX848" fmla="*/ 5527583 w 6689088"/>
                <a:gd name="connsiteY848" fmla="*/ 3766264 h 6689084"/>
                <a:gd name="connsiteX849" fmla="*/ 5536659 w 6689088"/>
                <a:gd name="connsiteY849" fmla="*/ 3757188 h 6689084"/>
                <a:gd name="connsiteX850" fmla="*/ 5690606 w 6689088"/>
                <a:gd name="connsiteY850" fmla="*/ 3756460 h 6689084"/>
                <a:gd name="connsiteX851" fmla="*/ 5700773 w 6689088"/>
                <a:gd name="connsiteY851" fmla="*/ 3766626 h 6689084"/>
                <a:gd name="connsiteX852" fmla="*/ 5690606 w 6689088"/>
                <a:gd name="connsiteY852" fmla="*/ 3776793 h 6689084"/>
                <a:gd name="connsiteX853" fmla="*/ 5680440 w 6689088"/>
                <a:gd name="connsiteY853" fmla="*/ 3766626 h 6689084"/>
                <a:gd name="connsiteX854" fmla="*/ 5690606 w 6689088"/>
                <a:gd name="connsiteY854" fmla="*/ 3756460 h 6689084"/>
                <a:gd name="connsiteX855" fmla="*/ 5844550 w 6689088"/>
                <a:gd name="connsiteY855" fmla="*/ 3754645 h 6689084"/>
                <a:gd name="connsiteX856" fmla="*/ 5856534 w 6689088"/>
                <a:gd name="connsiteY856" fmla="*/ 3766626 h 6689084"/>
                <a:gd name="connsiteX857" fmla="*/ 5844550 w 6689088"/>
                <a:gd name="connsiteY857" fmla="*/ 3778607 h 6689084"/>
                <a:gd name="connsiteX858" fmla="*/ 5832570 w 6689088"/>
                <a:gd name="connsiteY858" fmla="*/ 3766626 h 6689084"/>
                <a:gd name="connsiteX859" fmla="*/ 5844550 w 6689088"/>
                <a:gd name="connsiteY859" fmla="*/ 3754645 h 6689084"/>
                <a:gd name="connsiteX860" fmla="*/ 5998139 w 6689088"/>
                <a:gd name="connsiteY860" fmla="*/ 3752465 h 6689084"/>
                <a:gd name="connsiteX861" fmla="*/ 6011934 w 6689088"/>
                <a:gd name="connsiteY861" fmla="*/ 3766264 h 6689084"/>
                <a:gd name="connsiteX862" fmla="*/ 5998139 w 6689088"/>
                <a:gd name="connsiteY862" fmla="*/ 3780059 h 6689084"/>
                <a:gd name="connsiteX863" fmla="*/ 5984340 w 6689088"/>
                <a:gd name="connsiteY863" fmla="*/ 3766264 h 6689084"/>
                <a:gd name="connsiteX864" fmla="*/ 5998139 w 6689088"/>
                <a:gd name="connsiteY864" fmla="*/ 3752465 h 6689084"/>
                <a:gd name="connsiteX865" fmla="*/ 6152086 w 6689088"/>
                <a:gd name="connsiteY865" fmla="*/ 3751379 h 6689084"/>
                <a:gd name="connsiteX866" fmla="*/ 6167334 w 6689088"/>
                <a:gd name="connsiteY866" fmla="*/ 3766626 h 6689084"/>
                <a:gd name="connsiteX867" fmla="*/ 6152086 w 6689088"/>
                <a:gd name="connsiteY867" fmla="*/ 3781878 h 6689084"/>
                <a:gd name="connsiteX868" fmla="*/ 6136839 w 6689088"/>
                <a:gd name="connsiteY868" fmla="*/ 3766626 h 6689084"/>
                <a:gd name="connsiteX869" fmla="*/ 6152086 w 6689088"/>
                <a:gd name="connsiteY869" fmla="*/ 3751379 h 6689084"/>
                <a:gd name="connsiteX870" fmla="*/ 6305668 w 6689088"/>
                <a:gd name="connsiteY870" fmla="*/ 3749560 h 6689084"/>
                <a:gd name="connsiteX871" fmla="*/ 6322734 w 6689088"/>
                <a:gd name="connsiteY871" fmla="*/ 3766626 h 6689084"/>
                <a:gd name="connsiteX872" fmla="*/ 6305668 w 6689088"/>
                <a:gd name="connsiteY872" fmla="*/ 3783692 h 6689084"/>
                <a:gd name="connsiteX873" fmla="*/ 6288602 w 6689088"/>
                <a:gd name="connsiteY873" fmla="*/ 3766626 h 6689084"/>
                <a:gd name="connsiteX874" fmla="*/ 6305668 w 6689088"/>
                <a:gd name="connsiteY874" fmla="*/ 3749560 h 6689084"/>
                <a:gd name="connsiteX875" fmla="*/ 6459616 w 6689088"/>
                <a:gd name="connsiteY875" fmla="*/ 3747384 h 6689084"/>
                <a:gd name="connsiteX876" fmla="*/ 6478858 w 6689088"/>
                <a:gd name="connsiteY876" fmla="*/ 3766626 h 6689084"/>
                <a:gd name="connsiteX877" fmla="*/ 6459616 w 6689088"/>
                <a:gd name="connsiteY877" fmla="*/ 3785869 h 6689084"/>
                <a:gd name="connsiteX878" fmla="*/ 6440369 w 6689088"/>
                <a:gd name="connsiteY878" fmla="*/ 3766626 h 6689084"/>
                <a:gd name="connsiteX879" fmla="*/ 6459616 w 6689088"/>
                <a:gd name="connsiteY879" fmla="*/ 3747384 h 6689084"/>
                <a:gd name="connsiteX880" fmla="*/ 6613200 w 6689088"/>
                <a:gd name="connsiteY880" fmla="*/ 3745203 h 6689084"/>
                <a:gd name="connsiteX881" fmla="*/ 6634624 w 6689088"/>
                <a:gd name="connsiteY881" fmla="*/ 3766626 h 6689084"/>
                <a:gd name="connsiteX882" fmla="*/ 6613200 w 6689088"/>
                <a:gd name="connsiteY882" fmla="*/ 3788045 h 6689084"/>
                <a:gd name="connsiteX883" fmla="*/ 6591778 w 6689088"/>
                <a:gd name="connsiteY883" fmla="*/ 3766626 h 6689084"/>
                <a:gd name="connsiteX884" fmla="*/ 6613200 w 6689088"/>
                <a:gd name="connsiteY884" fmla="*/ 3745203 h 6689084"/>
                <a:gd name="connsiteX885" fmla="*/ 4306532 w 6689088"/>
                <a:gd name="connsiteY885" fmla="*/ 3612317 h 6689084"/>
                <a:gd name="connsiteX886" fmla="*/ 4306894 w 6689088"/>
                <a:gd name="connsiteY886" fmla="*/ 3612679 h 6689084"/>
                <a:gd name="connsiteX887" fmla="*/ 4306532 w 6689088"/>
                <a:gd name="connsiteY887" fmla="*/ 3613045 h 6689084"/>
                <a:gd name="connsiteX888" fmla="*/ 4306170 w 6689088"/>
                <a:gd name="connsiteY888" fmla="*/ 3612679 h 6689084"/>
                <a:gd name="connsiteX889" fmla="*/ 4306532 w 6689088"/>
                <a:gd name="connsiteY889" fmla="*/ 3612317 h 6689084"/>
                <a:gd name="connsiteX890" fmla="*/ 3845414 w 6689088"/>
                <a:gd name="connsiteY890" fmla="*/ 3612317 h 6689084"/>
                <a:gd name="connsiteX891" fmla="*/ 3845776 w 6689088"/>
                <a:gd name="connsiteY891" fmla="*/ 3612679 h 6689084"/>
                <a:gd name="connsiteX892" fmla="*/ 3845414 w 6689088"/>
                <a:gd name="connsiteY892" fmla="*/ 3613045 h 6689084"/>
                <a:gd name="connsiteX893" fmla="*/ 3845052 w 6689088"/>
                <a:gd name="connsiteY893" fmla="*/ 3612679 h 6689084"/>
                <a:gd name="connsiteX894" fmla="*/ 3845414 w 6689088"/>
                <a:gd name="connsiteY894" fmla="*/ 3612317 h 6689084"/>
                <a:gd name="connsiteX895" fmla="*/ 3691467 w 6689088"/>
                <a:gd name="connsiteY895" fmla="*/ 3612317 h 6689084"/>
                <a:gd name="connsiteX896" fmla="*/ 3691829 w 6689088"/>
                <a:gd name="connsiteY896" fmla="*/ 3612679 h 6689084"/>
                <a:gd name="connsiteX897" fmla="*/ 3691467 w 6689088"/>
                <a:gd name="connsiteY897" fmla="*/ 3613045 h 6689084"/>
                <a:gd name="connsiteX898" fmla="*/ 3691105 w 6689088"/>
                <a:gd name="connsiteY898" fmla="*/ 3612679 h 6689084"/>
                <a:gd name="connsiteX899" fmla="*/ 3691467 w 6689088"/>
                <a:gd name="connsiteY899" fmla="*/ 3612317 h 6689084"/>
                <a:gd name="connsiteX900" fmla="*/ 3537886 w 6689088"/>
                <a:gd name="connsiteY900" fmla="*/ 3611955 h 6689084"/>
                <a:gd name="connsiteX901" fmla="*/ 3538610 w 6689088"/>
                <a:gd name="connsiteY901" fmla="*/ 3612683 h 6689084"/>
                <a:gd name="connsiteX902" fmla="*/ 3537886 w 6689088"/>
                <a:gd name="connsiteY902" fmla="*/ 3613407 h 6689084"/>
                <a:gd name="connsiteX903" fmla="*/ 3537158 w 6689088"/>
                <a:gd name="connsiteY903" fmla="*/ 3612683 h 6689084"/>
                <a:gd name="connsiteX904" fmla="*/ 3537886 w 6689088"/>
                <a:gd name="connsiteY904" fmla="*/ 3611955 h 6689084"/>
                <a:gd name="connsiteX905" fmla="*/ 4460480 w 6689088"/>
                <a:gd name="connsiteY905" fmla="*/ 3611226 h 6689084"/>
                <a:gd name="connsiteX906" fmla="*/ 4461932 w 6689088"/>
                <a:gd name="connsiteY906" fmla="*/ 3612679 h 6689084"/>
                <a:gd name="connsiteX907" fmla="*/ 4460480 w 6689088"/>
                <a:gd name="connsiteY907" fmla="*/ 3614131 h 6689084"/>
                <a:gd name="connsiteX908" fmla="*/ 4459028 w 6689088"/>
                <a:gd name="connsiteY908" fmla="*/ 3612679 h 6689084"/>
                <a:gd name="connsiteX909" fmla="*/ 4460480 w 6689088"/>
                <a:gd name="connsiteY909" fmla="*/ 3611226 h 6689084"/>
                <a:gd name="connsiteX910" fmla="*/ 4614061 w 6689088"/>
                <a:gd name="connsiteY910" fmla="*/ 3610502 h 6689084"/>
                <a:gd name="connsiteX911" fmla="*/ 4616242 w 6689088"/>
                <a:gd name="connsiteY911" fmla="*/ 3612679 h 6689084"/>
                <a:gd name="connsiteX912" fmla="*/ 4614061 w 6689088"/>
                <a:gd name="connsiteY912" fmla="*/ 3614859 h 6689084"/>
                <a:gd name="connsiteX913" fmla="*/ 4611884 w 6689088"/>
                <a:gd name="connsiteY913" fmla="*/ 3612679 h 6689084"/>
                <a:gd name="connsiteX914" fmla="*/ 4614061 w 6689088"/>
                <a:gd name="connsiteY914" fmla="*/ 3610502 h 6689084"/>
                <a:gd name="connsiteX915" fmla="*/ 4768008 w 6689088"/>
                <a:gd name="connsiteY915" fmla="*/ 3609774 h 6689084"/>
                <a:gd name="connsiteX916" fmla="*/ 4771276 w 6689088"/>
                <a:gd name="connsiteY916" fmla="*/ 3613041 h 6689084"/>
                <a:gd name="connsiteX917" fmla="*/ 4768008 w 6689088"/>
                <a:gd name="connsiteY917" fmla="*/ 3616312 h 6689084"/>
                <a:gd name="connsiteX918" fmla="*/ 4764742 w 6689088"/>
                <a:gd name="connsiteY918" fmla="*/ 3613041 h 6689084"/>
                <a:gd name="connsiteX919" fmla="*/ 4768008 w 6689088"/>
                <a:gd name="connsiteY919" fmla="*/ 3609774 h 6689084"/>
                <a:gd name="connsiteX920" fmla="*/ 4921594 w 6689088"/>
                <a:gd name="connsiteY920" fmla="*/ 3608322 h 6689084"/>
                <a:gd name="connsiteX921" fmla="*/ 4925951 w 6689088"/>
                <a:gd name="connsiteY921" fmla="*/ 3612679 h 6689084"/>
                <a:gd name="connsiteX922" fmla="*/ 4921594 w 6689088"/>
                <a:gd name="connsiteY922" fmla="*/ 3617036 h 6689084"/>
                <a:gd name="connsiteX923" fmla="*/ 4917237 w 6689088"/>
                <a:gd name="connsiteY923" fmla="*/ 3612679 h 6689084"/>
                <a:gd name="connsiteX924" fmla="*/ 4921594 w 6689088"/>
                <a:gd name="connsiteY924" fmla="*/ 3608322 h 6689084"/>
                <a:gd name="connsiteX925" fmla="*/ 5075541 w 6689088"/>
                <a:gd name="connsiteY925" fmla="*/ 3607232 h 6689084"/>
                <a:gd name="connsiteX926" fmla="*/ 5081350 w 6689088"/>
                <a:gd name="connsiteY926" fmla="*/ 3613041 h 6689084"/>
                <a:gd name="connsiteX927" fmla="*/ 5075541 w 6689088"/>
                <a:gd name="connsiteY927" fmla="*/ 3618850 h 6689084"/>
                <a:gd name="connsiteX928" fmla="*/ 5069732 w 6689088"/>
                <a:gd name="connsiteY928" fmla="*/ 3613041 h 6689084"/>
                <a:gd name="connsiteX929" fmla="*/ 5075541 w 6689088"/>
                <a:gd name="connsiteY929" fmla="*/ 3607232 h 6689084"/>
                <a:gd name="connsiteX930" fmla="*/ 5229126 w 6689088"/>
                <a:gd name="connsiteY930" fmla="*/ 3605417 h 6689084"/>
                <a:gd name="connsiteX931" fmla="*/ 5236388 w 6689088"/>
                <a:gd name="connsiteY931" fmla="*/ 3612679 h 6689084"/>
                <a:gd name="connsiteX932" fmla="*/ 5229126 w 6689088"/>
                <a:gd name="connsiteY932" fmla="*/ 3619940 h 6689084"/>
                <a:gd name="connsiteX933" fmla="*/ 5221865 w 6689088"/>
                <a:gd name="connsiteY933" fmla="*/ 3612679 h 6689084"/>
                <a:gd name="connsiteX934" fmla="*/ 5229126 w 6689088"/>
                <a:gd name="connsiteY934" fmla="*/ 3605417 h 6689084"/>
                <a:gd name="connsiteX935" fmla="*/ 5383074 w 6689088"/>
                <a:gd name="connsiteY935" fmla="*/ 3603603 h 6689084"/>
                <a:gd name="connsiteX936" fmla="*/ 5392154 w 6689088"/>
                <a:gd name="connsiteY936" fmla="*/ 3612679 h 6689084"/>
                <a:gd name="connsiteX937" fmla="*/ 5383074 w 6689088"/>
                <a:gd name="connsiteY937" fmla="*/ 3621759 h 6689084"/>
                <a:gd name="connsiteX938" fmla="*/ 5373998 w 6689088"/>
                <a:gd name="connsiteY938" fmla="*/ 3612679 h 6689084"/>
                <a:gd name="connsiteX939" fmla="*/ 5383074 w 6689088"/>
                <a:gd name="connsiteY939" fmla="*/ 3603603 h 6689084"/>
                <a:gd name="connsiteX940" fmla="*/ 5536659 w 6689088"/>
                <a:gd name="connsiteY940" fmla="*/ 3602512 h 6689084"/>
                <a:gd name="connsiteX941" fmla="*/ 5546826 w 6689088"/>
                <a:gd name="connsiteY941" fmla="*/ 3612679 h 6689084"/>
                <a:gd name="connsiteX942" fmla="*/ 5536659 w 6689088"/>
                <a:gd name="connsiteY942" fmla="*/ 3622845 h 6689084"/>
                <a:gd name="connsiteX943" fmla="*/ 5526493 w 6689088"/>
                <a:gd name="connsiteY943" fmla="*/ 3612679 h 6689084"/>
                <a:gd name="connsiteX944" fmla="*/ 5536659 w 6689088"/>
                <a:gd name="connsiteY944" fmla="*/ 3602512 h 6689084"/>
                <a:gd name="connsiteX945" fmla="*/ 5690602 w 6689088"/>
                <a:gd name="connsiteY945" fmla="*/ 3600698 h 6689084"/>
                <a:gd name="connsiteX946" fmla="*/ 5702584 w 6689088"/>
                <a:gd name="connsiteY946" fmla="*/ 3612679 h 6689084"/>
                <a:gd name="connsiteX947" fmla="*/ 5690602 w 6689088"/>
                <a:gd name="connsiteY947" fmla="*/ 3624663 h 6689084"/>
                <a:gd name="connsiteX948" fmla="*/ 5678622 w 6689088"/>
                <a:gd name="connsiteY948" fmla="*/ 3612679 h 6689084"/>
                <a:gd name="connsiteX949" fmla="*/ 5690602 w 6689088"/>
                <a:gd name="connsiteY949" fmla="*/ 3600698 h 6689084"/>
                <a:gd name="connsiteX950" fmla="*/ 5844554 w 6689088"/>
                <a:gd name="connsiteY950" fmla="*/ 3598884 h 6689084"/>
                <a:gd name="connsiteX951" fmla="*/ 5858349 w 6689088"/>
                <a:gd name="connsiteY951" fmla="*/ 3612683 h 6689084"/>
                <a:gd name="connsiteX952" fmla="*/ 5844554 w 6689088"/>
                <a:gd name="connsiteY952" fmla="*/ 3626478 h 6689084"/>
                <a:gd name="connsiteX953" fmla="*/ 5830755 w 6689088"/>
                <a:gd name="connsiteY953" fmla="*/ 3612683 h 6689084"/>
                <a:gd name="connsiteX954" fmla="*/ 5844554 w 6689088"/>
                <a:gd name="connsiteY954" fmla="*/ 3598884 h 6689084"/>
                <a:gd name="connsiteX955" fmla="*/ 5998139 w 6689088"/>
                <a:gd name="connsiteY955" fmla="*/ 3597431 h 6689084"/>
                <a:gd name="connsiteX956" fmla="*/ 6013387 w 6689088"/>
                <a:gd name="connsiteY956" fmla="*/ 3612683 h 6689084"/>
                <a:gd name="connsiteX957" fmla="*/ 5998139 w 6689088"/>
                <a:gd name="connsiteY957" fmla="*/ 3627930 h 6689084"/>
                <a:gd name="connsiteX958" fmla="*/ 5982892 w 6689088"/>
                <a:gd name="connsiteY958" fmla="*/ 3612683 h 6689084"/>
                <a:gd name="connsiteX959" fmla="*/ 5998139 w 6689088"/>
                <a:gd name="connsiteY959" fmla="*/ 3597431 h 6689084"/>
                <a:gd name="connsiteX960" fmla="*/ 6152083 w 6689088"/>
                <a:gd name="connsiteY960" fmla="*/ 3595613 h 6689084"/>
                <a:gd name="connsiteX961" fmla="*/ 6169152 w 6689088"/>
                <a:gd name="connsiteY961" fmla="*/ 3612679 h 6689084"/>
                <a:gd name="connsiteX962" fmla="*/ 6152083 w 6689088"/>
                <a:gd name="connsiteY962" fmla="*/ 3629745 h 6689084"/>
                <a:gd name="connsiteX963" fmla="*/ 6135020 w 6689088"/>
                <a:gd name="connsiteY963" fmla="*/ 3612679 h 6689084"/>
                <a:gd name="connsiteX964" fmla="*/ 6152083 w 6689088"/>
                <a:gd name="connsiteY964" fmla="*/ 3595613 h 6689084"/>
                <a:gd name="connsiteX965" fmla="*/ 6305668 w 6689088"/>
                <a:gd name="connsiteY965" fmla="*/ 3593436 h 6689084"/>
                <a:gd name="connsiteX966" fmla="*/ 6324910 w 6689088"/>
                <a:gd name="connsiteY966" fmla="*/ 3612679 h 6689084"/>
                <a:gd name="connsiteX967" fmla="*/ 6305668 w 6689088"/>
                <a:gd name="connsiteY967" fmla="*/ 3631921 h 6689084"/>
                <a:gd name="connsiteX968" fmla="*/ 6286422 w 6689088"/>
                <a:gd name="connsiteY968" fmla="*/ 3612679 h 6689084"/>
                <a:gd name="connsiteX969" fmla="*/ 6305668 w 6689088"/>
                <a:gd name="connsiteY969" fmla="*/ 3593436 h 6689084"/>
                <a:gd name="connsiteX970" fmla="*/ 6459616 w 6689088"/>
                <a:gd name="connsiteY970" fmla="*/ 3591256 h 6689084"/>
                <a:gd name="connsiteX971" fmla="*/ 6481038 w 6689088"/>
                <a:gd name="connsiteY971" fmla="*/ 3612679 h 6689084"/>
                <a:gd name="connsiteX972" fmla="*/ 6459616 w 6689088"/>
                <a:gd name="connsiteY972" fmla="*/ 3634098 h 6689084"/>
                <a:gd name="connsiteX973" fmla="*/ 6438192 w 6689088"/>
                <a:gd name="connsiteY973" fmla="*/ 3612679 h 6689084"/>
                <a:gd name="connsiteX974" fmla="*/ 6459616 w 6689088"/>
                <a:gd name="connsiteY974" fmla="*/ 3591256 h 6689084"/>
                <a:gd name="connsiteX975" fmla="*/ 6613200 w 6689088"/>
                <a:gd name="connsiteY975" fmla="*/ 3589804 h 6689084"/>
                <a:gd name="connsiteX976" fmla="*/ 6636072 w 6689088"/>
                <a:gd name="connsiteY976" fmla="*/ 3612679 h 6689084"/>
                <a:gd name="connsiteX977" fmla="*/ 6613200 w 6689088"/>
                <a:gd name="connsiteY977" fmla="*/ 3635550 h 6689084"/>
                <a:gd name="connsiteX978" fmla="*/ 6590326 w 6689088"/>
                <a:gd name="connsiteY978" fmla="*/ 3612679 h 6689084"/>
                <a:gd name="connsiteX979" fmla="*/ 6613200 w 6689088"/>
                <a:gd name="connsiteY979" fmla="*/ 3589804 h 6689084"/>
                <a:gd name="connsiteX980" fmla="*/ 4152947 w 6689088"/>
                <a:gd name="connsiteY980" fmla="*/ 3458731 h 6689084"/>
                <a:gd name="connsiteX981" fmla="*/ 4153309 w 6689088"/>
                <a:gd name="connsiteY981" fmla="*/ 3459094 h 6689084"/>
                <a:gd name="connsiteX982" fmla="*/ 4152947 w 6689088"/>
                <a:gd name="connsiteY982" fmla="*/ 3459456 h 6689084"/>
                <a:gd name="connsiteX983" fmla="*/ 4152585 w 6689088"/>
                <a:gd name="connsiteY983" fmla="*/ 3459094 h 6689084"/>
                <a:gd name="connsiteX984" fmla="*/ 4152947 w 6689088"/>
                <a:gd name="connsiteY984" fmla="*/ 3458731 h 6689084"/>
                <a:gd name="connsiteX985" fmla="*/ 3691467 w 6689088"/>
                <a:gd name="connsiteY985" fmla="*/ 3458731 h 6689084"/>
                <a:gd name="connsiteX986" fmla="*/ 3691829 w 6689088"/>
                <a:gd name="connsiteY986" fmla="*/ 3459094 h 6689084"/>
                <a:gd name="connsiteX987" fmla="*/ 3691467 w 6689088"/>
                <a:gd name="connsiteY987" fmla="*/ 3459456 h 6689084"/>
                <a:gd name="connsiteX988" fmla="*/ 3691105 w 6689088"/>
                <a:gd name="connsiteY988" fmla="*/ 3459094 h 6689084"/>
                <a:gd name="connsiteX989" fmla="*/ 3691467 w 6689088"/>
                <a:gd name="connsiteY989" fmla="*/ 3458731 h 6689084"/>
                <a:gd name="connsiteX990" fmla="*/ 3537882 w 6689088"/>
                <a:gd name="connsiteY990" fmla="*/ 3458731 h 6689084"/>
                <a:gd name="connsiteX991" fmla="*/ 3538244 w 6689088"/>
                <a:gd name="connsiteY991" fmla="*/ 3459094 h 6689084"/>
                <a:gd name="connsiteX992" fmla="*/ 3537882 w 6689088"/>
                <a:gd name="connsiteY992" fmla="*/ 3459456 h 6689084"/>
                <a:gd name="connsiteX993" fmla="*/ 3537520 w 6689088"/>
                <a:gd name="connsiteY993" fmla="*/ 3459094 h 6689084"/>
                <a:gd name="connsiteX994" fmla="*/ 3537882 w 6689088"/>
                <a:gd name="connsiteY994" fmla="*/ 3458731 h 6689084"/>
                <a:gd name="connsiteX995" fmla="*/ 3383938 w 6689088"/>
                <a:gd name="connsiteY995" fmla="*/ 3458369 h 6689084"/>
                <a:gd name="connsiteX996" fmla="*/ 3384662 w 6689088"/>
                <a:gd name="connsiteY996" fmla="*/ 3459094 h 6689084"/>
                <a:gd name="connsiteX997" fmla="*/ 3383938 w 6689088"/>
                <a:gd name="connsiteY997" fmla="*/ 3459822 h 6689084"/>
                <a:gd name="connsiteX998" fmla="*/ 3383210 w 6689088"/>
                <a:gd name="connsiteY998" fmla="*/ 3459094 h 6689084"/>
                <a:gd name="connsiteX999" fmla="*/ 3383938 w 6689088"/>
                <a:gd name="connsiteY999" fmla="*/ 3458369 h 6689084"/>
                <a:gd name="connsiteX1000" fmla="*/ 4306532 w 6689088"/>
                <a:gd name="connsiteY1000" fmla="*/ 3457279 h 6689084"/>
                <a:gd name="connsiteX1001" fmla="*/ 4307984 w 6689088"/>
                <a:gd name="connsiteY1001" fmla="*/ 3458731 h 6689084"/>
                <a:gd name="connsiteX1002" fmla="*/ 4306532 w 6689088"/>
                <a:gd name="connsiteY1002" fmla="*/ 3460184 h 6689084"/>
                <a:gd name="connsiteX1003" fmla="*/ 4305080 w 6689088"/>
                <a:gd name="connsiteY1003" fmla="*/ 3458731 h 6689084"/>
                <a:gd name="connsiteX1004" fmla="*/ 4306532 w 6689088"/>
                <a:gd name="connsiteY1004" fmla="*/ 3457279 h 6689084"/>
                <a:gd name="connsiteX1005" fmla="*/ 4460480 w 6689088"/>
                <a:gd name="connsiteY1005" fmla="*/ 3456917 h 6689084"/>
                <a:gd name="connsiteX1006" fmla="*/ 4462656 w 6689088"/>
                <a:gd name="connsiteY1006" fmla="*/ 3459094 h 6689084"/>
                <a:gd name="connsiteX1007" fmla="*/ 4460480 w 6689088"/>
                <a:gd name="connsiteY1007" fmla="*/ 3461274 h 6689084"/>
                <a:gd name="connsiteX1008" fmla="*/ 4458300 w 6689088"/>
                <a:gd name="connsiteY1008" fmla="*/ 3459094 h 6689084"/>
                <a:gd name="connsiteX1009" fmla="*/ 4460480 w 6689088"/>
                <a:gd name="connsiteY1009" fmla="*/ 3456917 h 6689084"/>
                <a:gd name="connsiteX1010" fmla="*/ 4614061 w 6689088"/>
                <a:gd name="connsiteY1010" fmla="*/ 3455827 h 6689084"/>
                <a:gd name="connsiteX1011" fmla="*/ 4617328 w 6689088"/>
                <a:gd name="connsiteY1011" fmla="*/ 3459094 h 6689084"/>
                <a:gd name="connsiteX1012" fmla="*/ 4614061 w 6689088"/>
                <a:gd name="connsiteY1012" fmla="*/ 3462364 h 6689084"/>
                <a:gd name="connsiteX1013" fmla="*/ 4610794 w 6689088"/>
                <a:gd name="connsiteY1013" fmla="*/ 3459094 h 6689084"/>
                <a:gd name="connsiteX1014" fmla="*/ 4614061 w 6689088"/>
                <a:gd name="connsiteY1014" fmla="*/ 3455827 h 6689084"/>
                <a:gd name="connsiteX1015" fmla="*/ 4768008 w 6689088"/>
                <a:gd name="connsiteY1015" fmla="*/ 3454374 h 6689084"/>
                <a:gd name="connsiteX1016" fmla="*/ 4772366 w 6689088"/>
                <a:gd name="connsiteY1016" fmla="*/ 3458731 h 6689084"/>
                <a:gd name="connsiteX1017" fmla="*/ 4768008 w 6689088"/>
                <a:gd name="connsiteY1017" fmla="*/ 3463088 h 6689084"/>
                <a:gd name="connsiteX1018" fmla="*/ 4763652 w 6689088"/>
                <a:gd name="connsiteY1018" fmla="*/ 3458731 h 6689084"/>
                <a:gd name="connsiteX1019" fmla="*/ 4768008 w 6689088"/>
                <a:gd name="connsiteY1019" fmla="*/ 3454374 h 6689084"/>
                <a:gd name="connsiteX1020" fmla="*/ 4921594 w 6689088"/>
                <a:gd name="connsiteY1020" fmla="*/ 3453284 h 6689084"/>
                <a:gd name="connsiteX1021" fmla="*/ 4927403 w 6689088"/>
                <a:gd name="connsiteY1021" fmla="*/ 3459094 h 6689084"/>
                <a:gd name="connsiteX1022" fmla="*/ 4921594 w 6689088"/>
                <a:gd name="connsiteY1022" fmla="*/ 3464903 h 6689084"/>
                <a:gd name="connsiteX1023" fmla="*/ 4915784 w 6689088"/>
                <a:gd name="connsiteY1023" fmla="*/ 3459094 h 6689084"/>
                <a:gd name="connsiteX1024" fmla="*/ 4921594 w 6689088"/>
                <a:gd name="connsiteY1024" fmla="*/ 3453284 h 6689084"/>
                <a:gd name="connsiteX1025" fmla="*/ 5075541 w 6689088"/>
                <a:gd name="connsiteY1025" fmla="*/ 3451832 h 6689084"/>
                <a:gd name="connsiteX1026" fmla="*/ 5082803 w 6689088"/>
                <a:gd name="connsiteY1026" fmla="*/ 3459094 h 6689084"/>
                <a:gd name="connsiteX1027" fmla="*/ 5075541 w 6689088"/>
                <a:gd name="connsiteY1027" fmla="*/ 3466355 h 6689084"/>
                <a:gd name="connsiteX1028" fmla="*/ 5068280 w 6689088"/>
                <a:gd name="connsiteY1028" fmla="*/ 3459094 h 6689084"/>
                <a:gd name="connsiteX1029" fmla="*/ 5075541 w 6689088"/>
                <a:gd name="connsiteY1029" fmla="*/ 3451832 h 6689084"/>
                <a:gd name="connsiteX1030" fmla="*/ 5229126 w 6689088"/>
                <a:gd name="connsiteY1030" fmla="*/ 3449655 h 6689084"/>
                <a:gd name="connsiteX1031" fmla="*/ 5238206 w 6689088"/>
                <a:gd name="connsiteY1031" fmla="*/ 3458731 h 6689084"/>
                <a:gd name="connsiteX1032" fmla="*/ 5229126 w 6689088"/>
                <a:gd name="connsiteY1032" fmla="*/ 3467811 h 6689084"/>
                <a:gd name="connsiteX1033" fmla="*/ 5220050 w 6689088"/>
                <a:gd name="connsiteY1033" fmla="*/ 3458731 h 6689084"/>
                <a:gd name="connsiteX1034" fmla="*/ 5229126 w 6689088"/>
                <a:gd name="connsiteY1034" fmla="*/ 3449655 h 6689084"/>
                <a:gd name="connsiteX1035" fmla="*/ 5383074 w 6689088"/>
                <a:gd name="connsiteY1035" fmla="*/ 3448927 h 6689084"/>
                <a:gd name="connsiteX1036" fmla="*/ 5393240 w 6689088"/>
                <a:gd name="connsiteY1036" fmla="*/ 3459094 h 6689084"/>
                <a:gd name="connsiteX1037" fmla="*/ 5383074 w 6689088"/>
                <a:gd name="connsiteY1037" fmla="*/ 3469260 h 6689084"/>
                <a:gd name="connsiteX1038" fmla="*/ 5372908 w 6689088"/>
                <a:gd name="connsiteY1038" fmla="*/ 3459094 h 6689084"/>
                <a:gd name="connsiteX1039" fmla="*/ 5383074 w 6689088"/>
                <a:gd name="connsiteY1039" fmla="*/ 3448927 h 6689084"/>
                <a:gd name="connsiteX1040" fmla="*/ 5536659 w 6689088"/>
                <a:gd name="connsiteY1040" fmla="*/ 3447113 h 6689084"/>
                <a:gd name="connsiteX1041" fmla="*/ 5548640 w 6689088"/>
                <a:gd name="connsiteY1041" fmla="*/ 3459094 h 6689084"/>
                <a:gd name="connsiteX1042" fmla="*/ 5536659 w 6689088"/>
                <a:gd name="connsiteY1042" fmla="*/ 3471074 h 6689084"/>
                <a:gd name="connsiteX1043" fmla="*/ 5524678 w 6689088"/>
                <a:gd name="connsiteY1043" fmla="*/ 3459094 h 6689084"/>
                <a:gd name="connsiteX1044" fmla="*/ 5536659 w 6689088"/>
                <a:gd name="connsiteY1044" fmla="*/ 3447113 h 6689084"/>
                <a:gd name="connsiteX1045" fmla="*/ 5690606 w 6689088"/>
                <a:gd name="connsiteY1045" fmla="*/ 3445298 h 6689084"/>
                <a:gd name="connsiteX1046" fmla="*/ 5704402 w 6689088"/>
                <a:gd name="connsiteY1046" fmla="*/ 3459094 h 6689084"/>
                <a:gd name="connsiteX1047" fmla="*/ 5690606 w 6689088"/>
                <a:gd name="connsiteY1047" fmla="*/ 3472893 h 6689084"/>
                <a:gd name="connsiteX1048" fmla="*/ 5676808 w 6689088"/>
                <a:gd name="connsiteY1048" fmla="*/ 3459094 h 6689084"/>
                <a:gd name="connsiteX1049" fmla="*/ 5690606 w 6689088"/>
                <a:gd name="connsiteY1049" fmla="*/ 3445298 h 6689084"/>
                <a:gd name="connsiteX1050" fmla="*/ 5844554 w 6689088"/>
                <a:gd name="connsiteY1050" fmla="*/ 3443846 h 6689084"/>
                <a:gd name="connsiteX1051" fmla="*/ 5859802 w 6689088"/>
                <a:gd name="connsiteY1051" fmla="*/ 3459094 h 6689084"/>
                <a:gd name="connsiteX1052" fmla="*/ 5844554 w 6689088"/>
                <a:gd name="connsiteY1052" fmla="*/ 3474345 h 6689084"/>
                <a:gd name="connsiteX1053" fmla="*/ 5829302 w 6689088"/>
                <a:gd name="connsiteY1053" fmla="*/ 3459094 h 6689084"/>
                <a:gd name="connsiteX1054" fmla="*/ 5844554 w 6689088"/>
                <a:gd name="connsiteY1054" fmla="*/ 3443846 h 6689084"/>
                <a:gd name="connsiteX1055" fmla="*/ 5998139 w 6689088"/>
                <a:gd name="connsiteY1055" fmla="*/ 3442031 h 6689084"/>
                <a:gd name="connsiteX1056" fmla="*/ 6015205 w 6689088"/>
                <a:gd name="connsiteY1056" fmla="*/ 3459097 h 6689084"/>
                <a:gd name="connsiteX1057" fmla="*/ 5998139 w 6689088"/>
                <a:gd name="connsiteY1057" fmla="*/ 3476159 h 6689084"/>
                <a:gd name="connsiteX1058" fmla="*/ 5981077 w 6689088"/>
                <a:gd name="connsiteY1058" fmla="*/ 3459097 h 6689084"/>
                <a:gd name="connsiteX1059" fmla="*/ 5998139 w 6689088"/>
                <a:gd name="connsiteY1059" fmla="*/ 3442031 h 6689084"/>
                <a:gd name="connsiteX1060" fmla="*/ 6152083 w 6689088"/>
                <a:gd name="connsiteY1060" fmla="*/ 3439851 h 6689084"/>
                <a:gd name="connsiteX1061" fmla="*/ 6171329 w 6689088"/>
                <a:gd name="connsiteY1061" fmla="*/ 3459094 h 6689084"/>
                <a:gd name="connsiteX1062" fmla="*/ 6152083 w 6689088"/>
                <a:gd name="connsiteY1062" fmla="*/ 3478336 h 6689084"/>
                <a:gd name="connsiteX1063" fmla="*/ 6132836 w 6689088"/>
                <a:gd name="connsiteY1063" fmla="*/ 3459094 h 6689084"/>
                <a:gd name="connsiteX1064" fmla="*/ 6152083 w 6689088"/>
                <a:gd name="connsiteY1064" fmla="*/ 3439851 h 6689084"/>
                <a:gd name="connsiteX1065" fmla="*/ 6305668 w 6689088"/>
                <a:gd name="connsiteY1065" fmla="*/ 3437674 h 6689084"/>
                <a:gd name="connsiteX1066" fmla="*/ 6327091 w 6689088"/>
                <a:gd name="connsiteY1066" fmla="*/ 3459097 h 6689084"/>
                <a:gd name="connsiteX1067" fmla="*/ 6305668 w 6689088"/>
                <a:gd name="connsiteY1067" fmla="*/ 3480516 h 6689084"/>
                <a:gd name="connsiteX1068" fmla="*/ 6284245 w 6689088"/>
                <a:gd name="connsiteY1068" fmla="*/ 3459097 h 6689084"/>
                <a:gd name="connsiteX1069" fmla="*/ 6305668 w 6689088"/>
                <a:gd name="connsiteY1069" fmla="*/ 3437674 h 6689084"/>
                <a:gd name="connsiteX1070" fmla="*/ 6459619 w 6689088"/>
                <a:gd name="connsiteY1070" fmla="*/ 3436222 h 6689084"/>
                <a:gd name="connsiteX1071" fmla="*/ 6482494 w 6689088"/>
                <a:gd name="connsiteY1071" fmla="*/ 3459097 h 6689084"/>
                <a:gd name="connsiteX1072" fmla="*/ 6459619 w 6689088"/>
                <a:gd name="connsiteY1072" fmla="*/ 3481969 h 6689084"/>
                <a:gd name="connsiteX1073" fmla="*/ 6436744 w 6689088"/>
                <a:gd name="connsiteY1073" fmla="*/ 3459097 h 6689084"/>
                <a:gd name="connsiteX1074" fmla="*/ 6459619 w 6689088"/>
                <a:gd name="connsiteY1074" fmla="*/ 3436222 h 6689084"/>
                <a:gd name="connsiteX1075" fmla="*/ 6613200 w 6689088"/>
                <a:gd name="connsiteY1075" fmla="*/ 3434042 h 6689084"/>
                <a:gd name="connsiteX1076" fmla="*/ 6638252 w 6689088"/>
                <a:gd name="connsiteY1076" fmla="*/ 3459094 h 6689084"/>
                <a:gd name="connsiteX1077" fmla="*/ 6613200 w 6689088"/>
                <a:gd name="connsiteY1077" fmla="*/ 3484145 h 6689084"/>
                <a:gd name="connsiteX1078" fmla="*/ 6588149 w 6689088"/>
                <a:gd name="connsiteY1078" fmla="*/ 3459094 h 6689084"/>
                <a:gd name="connsiteX1079" fmla="*/ 6613200 w 6689088"/>
                <a:gd name="connsiteY1079" fmla="*/ 3434042 h 6689084"/>
                <a:gd name="connsiteX1080" fmla="*/ 3999000 w 6689088"/>
                <a:gd name="connsiteY1080" fmla="*/ 3304784 h 6689084"/>
                <a:gd name="connsiteX1081" fmla="*/ 3999362 w 6689088"/>
                <a:gd name="connsiteY1081" fmla="*/ 3305146 h 6689084"/>
                <a:gd name="connsiteX1082" fmla="*/ 3999000 w 6689088"/>
                <a:gd name="connsiteY1082" fmla="*/ 3305512 h 6689084"/>
                <a:gd name="connsiteX1083" fmla="*/ 3998638 w 6689088"/>
                <a:gd name="connsiteY1083" fmla="*/ 3305146 h 6689084"/>
                <a:gd name="connsiteX1084" fmla="*/ 3999000 w 6689088"/>
                <a:gd name="connsiteY1084" fmla="*/ 3304784 h 6689084"/>
                <a:gd name="connsiteX1085" fmla="*/ 3537882 w 6689088"/>
                <a:gd name="connsiteY1085" fmla="*/ 3304784 h 6689084"/>
                <a:gd name="connsiteX1086" fmla="*/ 3538244 w 6689088"/>
                <a:gd name="connsiteY1086" fmla="*/ 3305146 h 6689084"/>
                <a:gd name="connsiteX1087" fmla="*/ 3537882 w 6689088"/>
                <a:gd name="connsiteY1087" fmla="*/ 3305512 h 6689084"/>
                <a:gd name="connsiteX1088" fmla="*/ 3537520 w 6689088"/>
                <a:gd name="connsiteY1088" fmla="*/ 3305146 h 6689084"/>
                <a:gd name="connsiteX1089" fmla="*/ 3537882 w 6689088"/>
                <a:gd name="connsiteY1089" fmla="*/ 3304784 h 6689084"/>
                <a:gd name="connsiteX1090" fmla="*/ 3383934 w 6689088"/>
                <a:gd name="connsiteY1090" fmla="*/ 3304784 h 6689084"/>
                <a:gd name="connsiteX1091" fmla="*/ 3384296 w 6689088"/>
                <a:gd name="connsiteY1091" fmla="*/ 3305146 h 6689084"/>
                <a:gd name="connsiteX1092" fmla="*/ 3383934 w 6689088"/>
                <a:gd name="connsiteY1092" fmla="*/ 3305512 h 6689084"/>
                <a:gd name="connsiteX1093" fmla="*/ 3383572 w 6689088"/>
                <a:gd name="connsiteY1093" fmla="*/ 3305146 h 6689084"/>
                <a:gd name="connsiteX1094" fmla="*/ 3383934 w 6689088"/>
                <a:gd name="connsiteY1094" fmla="*/ 3304784 h 6689084"/>
                <a:gd name="connsiteX1095" fmla="*/ 3230353 w 6689088"/>
                <a:gd name="connsiteY1095" fmla="*/ 3304422 h 6689084"/>
                <a:gd name="connsiteX1096" fmla="*/ 3231077 w 6689088"/>
                <a:gd name="connsiteY1096" fmla="*/ 3305146 h 6689084"/>
                <a:gd name="connsiteX1097" fmla="*/ 3230353 w 6689088"/>
                <a:gd name="connsiteY1097" fmla="*/ 3305874 h 6689084"/>
                <a:gd name="connsiteX1098" fmla="*/ 3229625 w 6689088"/>
                <a:gd name="connsiteY1098" fmla="*/ 3305146 h 6689084"/>
                <a:gd name="connsiteX1099" fmla="*/ 3230353 w 6689088"/>
                <a:gd name="connsiteY1099" fmla="*/ 3304422 h 6689084"/>
                <a:gd name="connsiteX1100" fmla="*/ 4152947 w 6689088"/>
                <a:gd name="connsiteY1100" fmla="*/ 3303694 h 6689084"/>
                <a:gd name="connsiteX1101" fmla="*/ 4154400 w 6689088"/>
                <a:gd name="connsiteY1101" fmla="*/ 3305146 h 6689084"/>
                <a:gd name="connsiteX1102" fmla="*/ 4152947 w 6689088"/>
                <a:gd name="connsiteY1102" fmla="*/ 3306598 h 6689084"/>
                <a:gd name="connsiteX1103" fmla="*/ 4151494 w 6689088"/>
                <a:gd name="connsiteY1103" fmla="*/ 3305146 h 6689084"/>
                <a:gd name="connsiteX1104" fmla="*/ 4152947 w 6689088"/>
                <a:gd name="connsiteY1104" fmla="*/ 3303694 h 6689084"/>
                <a:gd name="connsiteX1105" fmla="*/ 4306528 w 6689088"/>
                <a:gd name="connsiteY1105" fmla="*/ 3302970 h 6689084"/>
                <a:gd name="connsiteX1106" fmla="*/ 4308709 w 6689088"/>
                <a:gd name="connsiteY1106" fmla="*/ 3305146 h 6689084"/>
                <a:gd name="connsiteX1107" fmla="*/ 4306528 w 6689088"/>
                <a:gd name="connsiteY1107" fmla="*/ 3307327 h 6689084"/>
                <a:gd name="connsiteX1108" fmla="*/ 4304352 w 6689088"/>
                <a:gd name="connsiteY1108" fmla="*/ 3305146 h 6689084"/>
                <a:gd name="connsiteX1109" fmla="*/ 4306528 w 6689088"/>
                <a:gd name="connsiteY1109" fmla="*/ 3302970 h 6689084"/>
                <a:gd name="connsiteX1110" fmla="*/ 4460480 w 6689088"/>
                <a:gd name="connsiteY1110" fmla="*/ 3302241 h 6689084"/>
                <a:gd name="connsiteX1111" fmla="*/ 4463746 w 6689088"/>
                <a:gd name="connsiteY1111" fmla="*/ 3305508 h 6689084"/>
                <a:gd name="connsiteX1112" fmla="*/ 4460480 w 6689088"/>
                <a:gd name="connsiteY1112" fmla="*/ 3308779 h 6689084"/>
                <a:gd name="connsiteX1113" fmla="*/ 4457213 w 6689088"/>
                <a:gd name="connsiteY1113" fmla="*/ 3305508 h 6689084"/>
                <a:gd name="connsiteX1114" fmla="*/ 4460480 w 6689088"/>
                <a:gd name="connsiteY1114" fmla="*/ 3302241 h 6689084"/>
                <a:gd name="connsiteX1115" fmla="*/ 4614061 w 6689088"/>
                <a:gd name="connsiteY1115" fmla="*/ 3300789 h 6689084"/>
                <a:gd name="connsiteX1116" fmla="*/ 4618418 w 6689088"/>
                <a:gd name="connsiteY1116" fmla="*/ 3305146 h 6689084"/>
                <a:gd name="connsiteX1117" fmla="*/ 4614061 w 6689088"/>
                <a:gd name="connsiteY1117" fmla="*/ 3309503 h 6689084"/>
                <a:gd name="connsiteX1118" fmla="*/ 4609704 w 6689088"/>
                <a:gd name="connsiteY1118" fmla="*/ 3305146 h 6689084"/>
                <a:gd name="connsiteX1119" fmla="*/ 4614061 w 6689088"/>
                <a:gd name="connsiteY1119" fmla="*/ 3300789 h 6689084"/>
                <a:gd name="connsiteX1120" fmla="*/ 4768012 w 6689088"/>
                <a:gd name="connsiteY1120" fmla="*/ 3299699 h 6689084"/>
                <a:gd name="connsiteX1121" fmla="*/ 4773822 w 6689088"/>
                <a:gd name="connsiteY1121" fmla="*/ 3305508 h 6689084"/>
                <a:gd name="connsiteX1122" fmla="*/ 4768012 w 6689088"/>
                <a:gd name="connsiteY1122" fmla="*/ 3311318 h 6689084"/>
                <a:gd name="connsiteX1123" fmla="*/ 4762203 w 6689088"/>
                <a:gd name="connsiteY1123" fmla="*/ 3305508 h 6689084"/>
                <a:gd name="connsiteX1124" fmla="*/ 4768012 w 6689088"/>
                <a:gd name="connsiteY1124" fmla="*/ 3299699 h 6689084"/>
                <a:gd name="connsiteX1125" fmla="*/ 4921594 w 6689088"/>
                <a:gd name="connsiteY1125" fmla="*/ 3297885 h 6689084"/>
                <a:gd name="connsiteX1126" fmla="*/ 4928856 w 6689088"/>
                <a:gd name="connsiteY1126" fmla="*/ 3305146 h 6689084"/>
                <a:gd name="connsiteX1127" fmla="*/ 4921594 w 6689088"/>
                <a:gd name="connsiteY1127" fmla="*/ 3312408 h 6689084"/>
                <a:gd name="connsiteX1128" fmla="*/ 4914332 w 6689088"/>
                <a:gd name="connsiteY1128" fmla="*/ 3305146 h 6689084"/>
                <a:gd name="connsiteX1129" fmla="*/ 4921594 w 6689088"/>
                <a:gd name="connsiteY1129" fmla="*/ 3297885 h 6689084"/>
                <a:gd name="connsiteX1130" fmla="*/ 5075541 w 6689088"/>
                <a:gd name="connsiteY1130" fmla="*/ 3296070 h 6689084"/>
                <a:gd name="connsiteX1131" fmla="*/ 5084621 w 6689088"/>
                <a:gd name="connsiteY1131" fmla="*/ 3305146 h 6689084"/>
                <a:gd name="connsiteX1132" fmla="*/ 5075541 w 6689088"/>
                <a:gd name="connsiteY1132" fmla="*/ 3314226 h 6689084"/>
                <a:gd name="connsiteX1133" fmla="*/ 5066465 w 6689088"/>
                <a:gd name="connsiteY1133" fmla="*/ 3305146 h 6689084"/>
                <a:gd name="connsiteX1134" fmla="*/ 5075541 w 6689088"/>
                <a:gd name="connsiteY1134" fmla="*/ 3296070 h 6689084"/>
                <a:gd name="connsiteX1135" fmla="*/ 5229126 w 6689088"/>
                <a:gd name="connsiteY1135" fmla="*/ 3294980 h 6689084"/>
                <a:gd name="connsiteX1136" fmla="*/ 5239293 w 6689088"/>
                <a:gd name="connsiteY1136" fmla="*/ 3305146 h 6689084"/>
                <a:gd name="connsiteX1137" fmla="*/ 5229126 w 6689088"/>
                <a:gd name="connsiteY1137" fmla="*/ 3315312 h 6689084"/>
                <a:gd name="connsiteX1138" fmla="*/ 5218960 w 6689088"/>
                <a:gd name="connsiteY1138" fmla="*/ 3305146 h 6689084"/>
                <a:gd name="connsiteX1139" fmla="*/ 5229126 w 6689088"/>
                <a:gd name="connsiteY1139" fmla="*/ 3294980 h 6689084"/>
                <a:gd name="connsiteX1140" fmla="*/ 5383074 w 6689088"/>
                <a:gd name="connsiteY1140" fmla="*/ 3293165 h 6689084"/>
                <a:gd name="connsiteX1141" fmla="*/ 5395058 w 6689088"/>
                <a:gd name="connsiteY1141" fmla="*/ 3305146 h 6689084"/>
                <a:gd name="connsiteX1142" fmla="*/ 5383074 w 6689088"/>
                <a:gd name="connsiteY1142" fmla="*/ 3317131 h 6689084"/>
                <a:gd name="connsiteX1143" fmla="*/ 5371093 w 6689088"/>
                <a:gd name="connsiteY1143" fmla="*/ 3305146 h 6689084"/>
                <a:gd name="connsiteX1144" fmla="*/ 5383074 w 6689088"/>
                <a:gd name="connsiteY1144" fmla="*/ 3293165 h 6689084"/>
                <a:gd name="connsiteX1145" fmla="*/ 5537021 w 6689088"/>
                <a:gd name="connsiteY1145" fmla="*/ 3291351 h 6689084"/>
                <a:gd name="connsiteX1146" fmla="*/ 5550820 w 6689088"/>
                <a:gd name="connsiteY1146" fmla="*/ 3305146 h 6689084"/>
                <a:gd name="connsiteX1147" fmla="*/ 5537021 w 6689088"/>
                <a:gd name="connsiteY1147" fmla="*/ 3318945 h 6689084"/>
                <a:gd name="connsiteX1148" fmla="*/ 5523226 w 6689088"/>
                <a:gd name="connsiteY1148" fmla="*/ 3305146 h 6689084"/>
                <a:gd name="connsiteX1149" fmla="*/ 5537021 w 6689088"/>
                <a:gd name="connsiteY1149" fmla="*/ 3291351 h 6689084"/>
                <a:gd name="connsiteX1150" fmla="*/ 5690606 w 6689088"/>
                <a:gd name="connsiteY1150" fmla="*/ 3289899 h 6689084"/>
                <a:gd name="connsiteX1151" fmla="*/ 5705854 w 6689088"/>
                <a:gd name="connsiteY1151" fmla="*/ 3305146 h 6689084"/>
                <a:gd name="connsiteX1152" fmla="*/ 5690606 w 6689088"/>
                <a:gd name="connsiteY1152" fmla="*/ 3320398 h 6689084"/>
                <a:gd name="connsiteX1153" fmla="*/ 5675355 w 6689088"/>
                <a:gd name="connsiteY1153" fmla="*/ 3305146 h 6689084"/>
                <a:gd name="connsiteX1154" fmla="*/ 5690606 w 6689088"/>
                <a:gd name="connsiteY1154" fmla="*/ 3289899 h 6689084"/>
                <a:gd name="connsiteX1155" fmla="*/ 5844554 w 6689088"/>
                <a:gd name="connsiteY1155" fmla="*/ 3288084 h 6689084"/>
                <a:gd name="connsiteX1156" fmla="*/ 5861616 w 6689088"/>
                <a:gd name="connsiteY1156" fmla="*/ 3305150 h 6689084"/>
                <a:gd name="connsiteX1157" fmla="*/ 5844554 w 6689088"/>
                <a:gd name="connsiteY1157" fmla="*/ 3322216 h 6689084"/>
                <a:gd name="connsiteX1158" fmla="*/ 5827488 w 6689088"/>
                <a:gd name="connsiteY1158" fmla="*/ 3305150 h 6689084"/>
                <a:gd name="connsiteX1159" fmla="*/ 5844554 w 6689088"/>
                <a:gd name="connsiteY1159" fmla="*/ 3288084 h 6689084"/>
                <a:gd name="connsiteX1160" fmla="*/ 5998136 w 6689088"/>
                <a:gd name="connsiteY1160" fmla="*/ 3285904 h 6689084"/>
                <a:gd name="connsiteX1161" fmla="*/ 6017382 w 6689088"/>
                <a:gd name="connsiteY1161" fmla="*/ 3305146 h 6689084"/>
                <a:gd name="connsiteX1162" fmla="*/ 5998136 w 6689088"/>
                <a:gd name="connsiteY1162" fmla="*/ 3324389 h 6689084"/>
                <a:gd name="connsiteX1163" fmla="*/ 5978893 w 6689088"/>
                <a:gd name="connsiteY1163" fmla="*/ 3305146 h 6689084"/>
                <a:gd name="connsiteX1164" fmla="*/ 5998136 w 6689088"/>
                <a:gd name="connsiteY1164" fmla="*/ 3285904 h 6689084"/>
                <a:gd name="connsiteX1165" fmla="*/ 6152086 w 6689088"/>
                <a:gd name="connsiteY1165" fmla="*/ 3283727 h 6689084"/>
                <a:gd name="connsiteX1166" fmla="*/ 6173510 w 6689088"/>
                <a:gd name="connsiteY1166" fmla="*/ 3305150 h 6689084"/>
                <a:gd name="connsiteX1167" fmla="*/ 6152086 w 6689088"/>
                <a:gd name="connsiteY1167" fmla="*/ 3326569 h 6689084"/>
                <a:gd name="connsiteX1168" fmla="*/ 6130664 w 6689088"/>
                <a:gd name="connsiteY1168" fmla="*/ 3305150 h 6689084"/>
                <a:gd name="connsiteX1169" fmla="*/ 6152086 w 6689088"/>
                <a:gd name="connsiteY1169" fmla="*/ 3283727 h 6689084"/>
                <a:gd name="connsiteX1170" fmla="*/ 6305672 w 6689088"/>
                <a:gd name="connsiteY1170" fmla="*/ 3282275 h 6689084"/>
                <a:gd name="connsiteX1171" fmla="*/ 6328547 w 6689088"/>
                <a:gd name="connsiteY1171" fmla="*/ 3305150 h 6689084"/>
                <a:gd name="connsiteX1172" fmla="*/ 6305672 w 6689088"/>
                <a:gd name="connsiteY1172" fmla="*/ 3328021 h 6689084"/>
                <a:gd name="connsiteX1173" fmla="*/ 6282796 w 6689088"/>
                <a:gd name="connsiteY1173" fmla="*/ 3305150 h 6689084"/>
                <a:gd name="connsiteX1174" fmla="*/ 6305672 w 6689088"/>
                <a:gd name="connsiteY1174" fmla="*/ 3282275 h 6689084"/>
                <a:gd name="connsiteX1175" fmla="*/ 6459616 w 6689088"/>
                <a:gd name="connsiteY1175" fmla="*/ 3280094 h 6689084"/>
                <a:gd name="connsiteX1176" fmla="*/ 6484671 w 6689088"/>
                <a:gd name="connsiteY1176" fmla="*/ 3305146 h 6689084"/>
                <a:gd name="connsiteX1177" fmla="*/ 6459616 w 6689088"/>
                <a:gd name="connsiteY1177" fmla="*/ 3330202 h 6689084"/>
                <a:gd name="connsiteX1178" fmla="*/ 6434564 w 6689088"/>
                <a:gd name="connsiteY1178" fmla="*/ 3305146 h 6689084"/>
                <a:gd name="connsiteX1179" fmla="*/ 6459616 w 6689088"/>
                <a:gd name="connsiteY1179" fmla="*/ 3280094 h 6689084"/>
                <a:gd name="connsiteX1180" fmla="*/ 6613200 w 6689088"/>
                <a:gd name="connsiteY1180" fmla="*/ 3277914 h 6689084"/>
                <a:gd name="connsiteX1181" fmla="*/ 6640433 w 6689088"/>
                <a:gd name="connsiteY1181" fmla="*/ 3305146 h 6689084"/>
                <a:gd name="connsiteX1182" fmla="*/ 6613200 w 6689088"/>
                <a:gd name="connsiteY1182" fmla="*/ 3332378 h 6689084"/>
                <a:gd name="connsiteX1183" fmla="*/ 6585968 w 6689088"/>
                <a:gd name="connsiteY1183" fmla="*/ 3305146 h 6689084"/>
                <a:gd name="connsiteX1184" fmla="*/ 6613200 w 6689088"/>
                <a:gd name="connsiteY1184" fmla="*/ 3277914 h 6689084"/>
                <a:gd name="connsiteX1185" fmla="*/ 3845414 w 6689088"/>
                <a:gd name="connsiteY1185" fmla="*/ 3151199 h 6689084"/>
                <a:gd name="connsiteX1186" fmla="*/ 3845776 w 6689088"/>
                <a:gd name="connsiteY1186" fmla="*/ 3151561 h 6689084"/>
                <a:gd name="connsiteX1187" fmla="*/ 3845414 w 6689088"/>
                <a:gd name="connsiteY1187" fmla="*/ 3151923 h 6689084"/>
                <a:gd name="connsiteX1188" fmla="*/ 3845052 w 6689088"/>
                <a:gd name="connsiteY1188" fmla="*/ 3151561 h 6689084"/>
                <a:gd name="connsiteX1189" fmla="*/ 3845414 w 6689088"/>
                <a:gd name="connsiteY1189" fmla="*/ 3151199 h 6689084"/>
                <a:gd name="connsiteX1190" fmla="*/ 3383934 w 6689088"/>
                <a:gd name="connsiteY1190" fmla="*/ 3151199 h 6689084"/>
                <a:gd name="connsiteX1191" fmla="*/ 3384296 w 6689088"/>
                <a:gd name="connsiteY1191" fmla="*/ 3151561 h 6689084"/>
                <a:gd name="connsiteX1192" fmla="*/ 3383934 w 6689088"/>
                <a:gd name="connsiteY1192" fmla="*/ 3151923 h 6689084"/>
                <a:gd name="connsiteX1193" fmla="*/ 3383572 w 6689088"/>
                <a:gd name="connsiteY1193" fmla="*/ 3151561 h 6689084"/>
                <a:gd name="connsiteX1194" fmla="*/ 3383934 w 6689088"/>
                <a:gd name="connsiteY1194" fmla="*/ 3151199 h 6689084"/>
                <a:gd name="connsiteX1195" fmla="*/ 3230349 w 6689088"/>
                <a:gd name="connsiteY1195" fmla="*/ 3151199 h 6689084"/>
                <a:gd name="connsiteX1196" fmla="*/ 3230715 w 6689088"/>
                <a:gd name="connsiteY1196" fmla="*/ 3151561 h 6689084"/>
                <a:gd name="connsiteX1197" fmla="*/ 3230349 w 6689088"/>
                <a:gd name="connsiteY1197" fmla="*/ 3151923 h 6689084"/>
                <a:gd name="connsiteX1198" fmla="*/ 3229987 w 6689088"/>
                <a:gd name="connsiteY1198" fmla="*/ 3151561 h 6689084"/>
                <a:gd name="connsiteX1199" fmla="*/ 3230349 w 6689088"/>
                <a:gd name="connsiteY1199" fmla="*/ 3151199 h 6689084"/>
                <a:gd name="connsiteX1200" fmla="*/ 3076406 w 6689088"/>
                <a:gd name="connsiteY1200" fmla="*/ 3150837 h 6689084"/>
                <a:gd name="connsiteX1201" fmla="*/ 3077130 w 6689088"/>
                <a:gd name="connsiteY1201" fmla="*/ 3151565 h 6689084"/>
                <a:gd name="connsiteX1202" fmla="*/ 3076406 w 6689088"/>
                <a:gd name="connsiteY1202" fmla="*/ 3152289 h 6689084"/>
                <a:gd name="connsiteX1203" fmla="*/ 3075677 w 6689088"/>
                <a:gd name="connsiteY1203" fmla="*/ 3151565 h 6689084"/>
                <a:gd name="connsiteX1204" fmla="*/ 3076406 w 6689088"/>
                <a:gd name="connsiteY1204" fmla="*/ 3150837 h 6689084"/>
                <a:gd name="connsiteX1205" fmla="*/ 3999000 w 6689088"/>
                <a:gd name="connsiteY1205" fmla="*/ 3150112 h 6689084"/>
                <a:gd name="connsiteX1206" fmla="*/ 4000452 w 6689088"/>
                <a:gd name="connsiteY1206" fmla="*/ 3151565 h 6689084"/>
                <a:gd name="connsiteX1207" fmla="*/ 3999000 w 6689088"/>
                <a:gd name="connsiteY1207" fmla="*/ 3153017 h 6689084"/>
                <a:gd name="connsiteX1208" fmla="*/ 3997547 w 6689088"/>
                <a:gd name="connsiteY1208" fmla="*/ 3151565 h 6689084"/>
                <a:gd name="connsiteX1209" fmla="*/ 3999000 w 6689088"/>
                <a:gd name="connsiteY1209" fmla="*/ 3150112 h 6689084"/>
                <a:gd name="connsiteX1210" fmla="*/ 4152951 w 6689088"/>
                <a:gd name="connsiteY1210" fmla="*/ 3149384 h 6689084"/>
                <a:gd name="connsiteX1211" fmla="*/ 4155128 w 6689088"/>
                <a:gd name="connsiteY1211" fmla="*/ 3151565 h 6689084"/>
                <a:gd name="connsiteX1212" fmla="*/ 4152951 w 6689088"/>
                <a:gd name="connsiteY1212" fmla="*/ 3153741 h 6689084"/>
                <a:gd name="connsiteX1213" fmla="*/ 4150770 w 6689088"/>
                <a:gd name="connsiteY1213" fmla="*/ 3151565 h 6689084"/>
                <a:gd name="connsiteX1214" fmla="*/ 4152951 w 6689088"/>
                <a:gd name="connsiteY1214" fmla="*/ 3149384 h 6689084"/>
                <a:gd name="connsiteX1215" fmla="*/ 4306528 w 6689088"/>
                <a:gd name="connsiteY1215" fmla="*/ 3148294 h 6689084"/>
                <a:gd name="connsiteX1216" fmla="*/ 4309796 w 6689088"/>
                <a:gd name="connsiteY1216" fmla="*/ 3151561 h 6689084"/>
                <a:gd name="connsiteX1217" fmla="*/ 4306528 w 6689088"/>
                <a:gd name="connsiteY1217" fmla="*/ 3154831 h 6689084"/>
                <a:gd name="connsiteX1218" fmla="*/ 4303262 w 6689088"/>
                <a:gd name="connsiteY1218" fmla="*/ 3151561 h 6689084"/>
                <a:gd name="connsiteX1219" fmla="*/ 4306528 w 6689088"/>
                <a:gd name="connsiteY1219" fmla="*/ 3148294 h 6689084"/>
                <a:gd name="connsiteX1220" fmla="*/ 4460480 w 6689088"/>
                <a:gd name="connsiteY1220" fmla="*/ 3146842 h 6689084"/>
                <a:gd name="connsiteX1221" fmla="*/ 4464836 w 6689088"/>
                <a:gd name="connsiteY1221" fmla="*/ 3151199 h 6689084"/>
                <a:gd name="connsiteX1222" fmla="*/ 4460480 w 6689088"/>
                <a:gd name="connsiteY1222" fmla="*/ 3155556 h 6689084"/>
                <a:gd name="connsiteX1223" fmla="*/ 4456122 w 6689088"/>
                <a:gd name="connsiteY1223" fmla="*/ 3151199 h 6689084"/>
                <a:gd name="connsiteX1224" fmla="*/ 4460480 w 6689088"/>
                <a:gd name="connsiteY1224" fmla="*/ 3146842 h 6689084"/>
                <a:gd name="connsiteX1225" fmla="*/ 4614061 w 6689088"/>
                <a:gd name="connsiteY1225" fmla="*/ 3145752 h 6689084"/>
                <a:gd name="connsiteX1226" fmla="*/ 4619870 w 6689088"/>
                <a:gd name="connsiteY1226" fmla="*/ 3151561 h 6689084"/>
                <a:gd name="connsiteX1227" fmla="*/ 4614061 w 6689088"/>
                <a:gd name="connsiteY1227" fmla="*/ 3157370 h 6689084"/>
                <a:gd name="connsiteX1228" fmla="*/ 4608252 w 6689088"/>
                <a:gd name="connsiteY1228" fmla="*/ 3151561 h 6689084"/>
                <a:gd name="connsiteX1229" fmla="*/ 4614061 w 6689088"/>
                <a:gd name="connsiteY1229" fmla="*/ 3145752 h 6689084"/>
                <a:gd name="connsiteX1230" fmla="*/ 4768008 w 6689088"/>
                <a:gd name="connsiteY1230" fmla="*/ 3144299 h 6689084"/>
                <a:gd name="connsiteX1231" fmla="*/ 4775270 w 6689088"/>
                <a:gd name="connsiteY1231" fmla="*/ 3151561 h 6689084"/>
                <a:gd name="connsiteX1232" fmla="*/ 4768008 w 6689088"/>
                <a:gd name="connsiteY1232" fmla="*/ 3158823 h 6689084"/>
                <a:gd name="connsiteX1233" fmla="*/ 4760747 w 6689088"/>
                <a:gd name="connsiteY1233" fmla="*/ 3151561 h 6689084"/>
                <a:gd name="connsiteX1234" fmla="*/ 4768008 w 6689088"/>
                <a:gd name="connsiteY1234" fmla="*/ 3144299 h 6689084"/>
                <a:gd name="connsiteX1235" fmla="*/ 4921594 w 6689088"/>
                <a:gd name="connsiteY1235" fmla="*/ 3142123 h 6689084"/>
                <a:gd name="connsiteX1236" fmla="*/ 4930674 w 6689088"/>
                <a:gd name="connsiteY1236" fmla="*/ 3151199 h 6689084"/>
                <a:gd name="connsiteX1237" fmla="*/ 4921594 w 6689088"/>
                <a:gd name="connsiteY1237" fmla="*/ 3160279 h 6689084"/>
                <a:gd name="connsiteX1238" fmla="*/ 4912518 w 6689088"/>
                <a:gd name="connsiteY1238" fmla="*/ 3151199 h 6689084"/>
                <a:gd name="connsiteX1239" fmla="*/ 4921594 w 6689088"/>
                <a:gd name="connsiteY1239" fmla="*/ 3142123 h 6689084"/>
                <a:gd name="connsiteX1240" fmla="*/ 5075541 w 6689088"/>
                <a:gd name="connsiteY1240" fmla="*/ 3141395 h 6689084"/>
                <a:gd name="connsiteX1241" fmla="*/ 5085708 w 6689088"/>
                <a:gd name="connsiteY1241" fmla="*/ 3151561 h 6689084"/>
                <a:gd name="connsiteX1242" fmla="*/ 5075541 w 6689088"/>
                <a:gd name="connsiteY1242" fmla="*/ 3161727 h 6689084"/>
                <a:gd name="connsiteX1243" fmla="*/ 5065375 w 6689088"/>
                <a:gd name="connsiteY1243" fmla="*/ 3151561 h 6689084"/>
                <a:gd name="connsiteX1244" fmla="*/ 5075541 w 6689088"/>
                <a:gd name="connsiteY1244" fmla="*/ 3141395 h 6689084"/>
                <a:gd name="connsiteX1245" fmla="*/ 5229126 w 6689088"/>
                <a:gd name="connsiteY1245" fmla="*/ 3139580 h 6689084"/>
                <a:gd name="connsiteX1246" fmla="*/ 5241111 w 6689088"/>
                <a:gd name="connsiteY1246" fmla="*/ 3151561 h 6689084"/>
                <a:gd name="connsiteX1247" fmla="*/ 5229126 w 6689088"/>
                <a:gd name="connsiteY1247" fmla="*/ 3163542 h 6689084"/>
                <a:gd name="connsiteX1248" fmla="*/ 5217146 w 6689088"/>
                <a:gd name="connsiteY1248" fmla="*/ 3151561 h 6689084"/>
                <a:gd name="connsiteX1249" fmla="*/ 5229126 w 6689088"/>
                <a:gd name="connsiteY1249" fmla="*/ 3139580 h 6689084"/>
                <a:gd name="connsiteX1250" fmla="*/ 5383078 w 6689088"/>
                <a:gd name="connsiteY1250" fmla="*/ 3137403 h 6689084"/>
                <a:gd name="connsiteX1251" fmla="*/ 5396873 w 6689088"/>
                <a:gd name="connsiteY1251" fmla="*/ 3151199 h 6689084"/>
                <a:gd name="connsiteX1252" fmla="*/ 5383078 w 6689088"/>
                <a:gd name="connsiteY1252" fmla="*/ 3164998 h 6689084"/>
                <a:gd name="connsiteX1253" fmla="*/ 5369278 w 6689088"/>
                <a:gd name="connsiteY1253" fmla="*/ 3151199 h 6689084"/>
                <a:gd name="connsiteX1254" fmla="*/ 5383078 w 6689088"/>
                <a:gd name="connsiteY1254" fmla="*/ 3137403 h 6689084"/>
                <a:gd name="connsiteX1255" fmla="*/ 5536659 w 6689088"/>
                <a:gd name="connsiteY1255" fmla="*/ 3136313 h 6689084"/>
                <a:gd name="connsiteX1256" fmla="*/ 5551906 w 6689088"/>
                <a:gd name="connsiteY1256" fmla="*/ 3151565 h 6689084"/>
                <a:gd name="connsiteX1257" fmla="*/ 5536659 w 6689088"/>
                <a:gd name="connsiteY1257" fmla="*/ 3166812 h 6689084"/>
                <a:gd name="connsiteX1258" fmla="*/ 5521408 w 6689088"/>
                <a:gd name="connsiteY1258" fmla="*/ 3151565 h 6689084"/>
                <a:gd name="connsiteX1259" fmla="*/ 5536659 w 6689088"/>
                <a:gd name="connsiteY1259" fmla="*/ 3136313 h 6689084"/>
                <a:gd name="connsiteX1260" fmla="*/ 5690606 w 6689088"/>
                <a:gd name="connsiteY1260" fmla="*/ 3134499 h 6689084"/>
                <a:gd name="connsiteX1261" fmla="*/ 5707672 w 6689088"/>
                <a:gd name="connsiteY1261" fmla="*/ 3151565 h 6689084"/>
                <a:gd name="connsiteX1262" fmla="*/ 5690606 w 6689088"/>
                <a:gd name="connsiteY1262" fmla="*/ 3168627 h 6689084"/>
                <a:gd name="connsiteX1263" fmla="*/ 5673540 w 6689088"/>
                <a:gd name="connsiteY1263" fmla="*/ 3151565 h 6689084"/>
                <a:gd name="connsiteX1264" fmla="*/ 5690606 w 6689088"/>
                <a:gd name="connsiteY1264" fmla="*/ 3134499 h 6689084"/>
                <a:gd name="connsiteX1265" fmla="*/ 5844554 w 6689088"/>
                <a:gd name="connsiteY1265" fmla="*/ 3132318 h 6689084"/>
                <a:gd name="connsiteX1266" fmla="*/ 5863796 w 6689088"/>
                <a:gd name="connsiteY1266" fmla="*/ 3151561 h 6689084"/>
                <a:gd name="connsiteX1267" fmla="*/ 5844554 w 6689088"/>
                <a:gd name="connsiteY1267" fmla="*/ 3170807 h 6689084"/>
                <a:gd name="connsiteX1268" fmla="*/ 5825308 w 6689088"/>
                <a:gd name="connsiteY1268" fmla="*/ 3151561 h 6689084"/>
                <a:gd name="connsiteX1269" fmla="*/ 5844554 w 6689088"/>
                <a:gd name="connsiteY1269" fmla="*/ 3132318 h 6689084"/>
                <a:gd name="connsiteX1270" fmla="*/ 5998139 w 6689088"/>
                <a:gd name="connsiteY1270" fmla="*/ 3130142 h 6689084"/>
                <a:gd name="connsiteX1271" fmla="*/ 6019562 w 6689088"/>
                <a:gd name="connsiteY1271" fmla="*/ 3151565 h 6689084"/>
                <a:gd name="connsiteX1272" fmla="*/ 5998139 w 6689088"/>
                <a:gd name="connsiteY1272" fmla="*/ 3172984 h 6689084"/>
                <a:gd name="connsiteX1273" fmla="*/ 5976716 w 6689088"/>
                <a:gd name="connsiteY1273" fmla="*/ 3151565 h 6689084"/>
                <a:gd name="connsiteX1274" fmla="*/ 5998139 w 6689088"/>
                <a:gd name="connsiteY1274" fmla="*/ 3130142 h 6689084"/>
                <a:gd name="connsiteX1275" fmla="*/ 6152086 w 6689088"/>
                <a:gd name="connsiteY1275" fmla="*/ 3128689 h 6689084"/>
                <a:gd name="connsiteX1276" fmla="*/ 6174958 w 6689088"/>
                <a:gd name="connsiteY1276" fmla="*/ 3151565 h 6689084"/>
                <a:gd name="connsiteX1277" fmla="*/ 6152086 w 6689088"/>
                <a:gd name="connsiteY1277" fmla="*/ 3174440 h 6689084"/>
                <a:gd name="connsiteX1278" fmla="*/ 6129212 w 6689088"/>
                <a:gd name="connsiteY1278" fmla="*/ 3151565 h 6689084"/>
                <a:gd name="connsiteX1279" fmla="*/ 6152086 w 6689088"/>
                <a:gd name="connsiteY1279" fmla="*/ 3128689 h 6689084"/>
                <a:gd name="connsiteX1280" fmla="*/ 6305668 w 6689088"/>
                <a:gd name="connsiteY1280" fmla="*/ 3126509 h 6689084"/>
                <a:gd name="connsiteX1281" fmla="*/ 6330724 w 6689088"/>
                <a:gd name="connsiteY1281" fmla="*/ 3151561 h 6689084"/>
                <a:gd name="connsiteX1282" fmla="*/ 6305668 w 6689088"/>
                <a:gd name="connsiteY1282" fmla="*/ 3176616 h 6689084"/>
                <a:gd name="connsiteX1283" fmla="*/ 6280616 w 6689088"/>
                <a:gd name="connsiteY1283" fmla="*/ 3151561 h 6689084"/>
                <a:gd name="connsiteX1284" fmla="*/ 6305668 w 6689088"/>
                <a:gd name="connsiteY1284" fmla="*/ 3126509 h 6689084"/>
                <a:gd name="connsiteX1285" fmla="*/ 6459619 w 6689088"/>
                <a:gd name="connsiteY1285" fmla="*/ 3124332 h 6689084"/>
                <a:gd name="connsiteX1286" fmla="*/ 6486852 w 6689088"/>
                <a:gd name="connsiteY1286" fmla="*/ 3151565 h 6689084"/>
                <a:gd name="connsiteX1287" fmla="*/ 6459619 w 6689088"/>
                <a:gd name="connsiteY1287" fmla="*/ 3178797 h 6689084"/>
                <a:gd name="connsiteX1288" fmla="*/ 6432387 w 6689088"/>
                <a:gd name="connsiteY1288" fmla="*/ 3151565 h 6689084"/>
                <a:gd name="connsiteX1289" fmla="*/ 6459619 w 6689088"/>
                <a:gd name="connsiteY1289" fmla="*/ 3124332 h 6689084"/>
                <a:gd name="connsiteX1290" fmla="*/ 6613197 w 6689088"/>
                <a:gd name="connsiteY1290" fmla="*/ 3121790 h 6689084"/>
                <a:gd name="connsiteX1291" fmla="*/ 6642972 w 6689088"/>
                <a:gd name="connsiteY1291" fmla="*/ 3151565 h 6689084"/>
                <a:gd name="connsiteX1292" fmla="*/ 6613197 w 6689088"/>
                <a:gd name="connsiteY1292" fmla="*/ 3181336 h 6689084"/>
                <a:gd name="connsiteX1293" fmla="*/ 6583426 w 6689088"/>
                <a:gd name="connsiteY1293" fmla="*/ 3151565 h 6689084"/>
                <a:gd name="connsiteX1294" fmla="*/ 6613197 w 6689088"/>
                <a:gd name="connsiteY1294" fmla="*/ 3121790 h 6689084"/>
                <a:gd name="connsiteX1295" fmla="*/ 3691467 w 6689088"/>
                <a:gd name="connsiteY1295" fmla="*/ 2997252 h 6689084"/>
                <a:gd name="connsiteX1296" fmla="*/ 3691829 w 6689088"/>
                <a:gd name="connsiteY1296" fmla="*/ 2997613 h 6689084"/>
                <a:gd name="connsiteX1297" fmla="*/ 3691467 w 6689088"/>
                <a:gd name="connsiteY1297" fmla="*/ 2997976 h 6689084"/>
                <a:gd name="connsiteX1298" fmla="*/ 3691105 w 6689088"/>
                <a:gd name="connsiteY1298" fmla="*/ 2997613 h 6689084"/>
                <a:gd name="connsiteX1299" fmla="*/ 3691467 w 6689088"/>
                <a:gd name="connsiteY1299" fmla="*/ 2997252 h 6689084"/>
                <a:gd name="connsiteX1300" fmla="*/ 3230349 w 6689088"/>
                <a:gd name="connsiteY1300" fmla="*/ 2997252 h 6689084"/>
                <a:gd name="connsiteX1301" fmla="*/ 3230715 w 6689088"/>
                <a:gd name="connsiteY1301" fmla="*/ 2997613 h 6689084"/>
                <a:gd name="connsiteX1302" fmla="*/ 3230349 w 6689088"/>
                <a:gd name="connsiteY1302" fmla="*/ 2997976 h 6689084"/>
                <a:gd name="connsiteX1303" fmla="*/ 3229987 w 6689088"/>
                <a:gd name="connsiteY1303" fmla="*/ 2997613 h 6689084"/>
                <a:gd name="connsiteX1304" fmla="*/ 3230349 w 6689088"/>
                <a:gd name="connsiteY1304" fmla="*/ 2997252 h 6689084"/>
                <a:gd name="connsiteX1305" fmla="*/ 3076406 w 6689088"/>
                <a:gd name="connsiteY1305" fmla="*/ 2997252 h 6689084"/>
                <a:gd name="connsiteX1306" fmla="*/ 3076768 w 6689088"/>
                <a:gd name="connsiteY1306" fmla="*/ 2997613 h 6689084"/>
                <a:gd name="connsiteX1307" fmla="*/ 3076406 w 6689088"/>
                <a:gd name="connsiteY1307" fmla="*/ 2997976 h 6689084"/>
                <a:gd name="connsiteX1308" fmla="*/ 3076043 w 6689088"/>
                <a:gd name="connsiteY1308" fmla="*/ 2997613 h 6689084"/>
                <a:gd name="connsiteX1309" fmla="*/ 3076406 w 6689088"/>
                <a:gd name="connsiteY1309" fmla="*/ 2997252 h 6689084"/>
                <a:gd name="connsiteX1310" fmla="*/ 2922824 w 6689088"/>
                <a:gd name="connsiteY1310" fmla="*/ 2996889 h 6689084"/>
                <a:gd name="connsiteX1311" fmla="*/ 2923548 w 6689088"/>
                <a:gd name="connsiteY1311" fmla="*/ 2997613 h 6689084"/>
                <a:gd name="connsiteX1312" fmla="*/ 2922824 w 6689088"/>
                <a:gd name="connsiteY1312" fmla="*/ 2998342 h 6689084"/>
                <a:gd name="connsiteX1313" fmla="*/ 2922096 w 6689088"/>
                <a:gd name="connsiteY1313" fmla="*/ 2997613 h 6689084"/>
                <a:gd name="connsiteX1314" fmla="*/ 2922824 w 6689088"/>
                <a:gd name="connsiteY1314" fmla="*/ 2996889 h 6689084"/>
                <a:gd name="connsiteX1315" fmla="*/ 3845414 w 6689088"/>
                <a:gd name="connsiteY1315" fmla="*/ 2996165 h 6689084"/>
                <a:gd name="connsiteX1316" fmla="*/ 3846867 w 6689088"/>
                <a:gd name="connsiteY1316" fmla="*/ 2997617 h 6689084"/>
                <a:gd name="connsiteX1317" fmla="*/ 3845414 w 6689088"/>
                <a:gd name="connsiteY1317" fmla="*/ 2999070 h 6689084"/>
                <a:gd name="connsiteX1318" fmla="*/ 3843962 w 6689088"/>
                <a:gd name="connsiteY1318" fmla="*/ 2997617 h 6689084"/>
                <a:gd name="connsiteX1319" fmla="*/ 3845414 w 6689088"/>
                <a:gd name="connsiteY1319" fmla="*/ 2996165 h 6689084"/>
                <a:gd name="connsiteX1320" fmla="*/ 3999000 w 6689088"/>
                <a:gd name="connsiteY1320" fmla="*/ 2995437 h 6689084"/>
                <a:gd name="connsiteX1321" fmla="*/ 4001180 w 6689088"/>
                <a:gd name="connsiteY1321" fmla="*/ 2997613 h 6689084"/>
                <a:gd name="connsiteX1322" fmla="*/ 3999000 w 6689088"/>
                <a:gd name="connsiteY1322" fmla="*/ 2999794 h 6689084"/>
                <a:gd name="connsiteX1323" fmla="*/ 3996823 w 6689088"/>
                <a:gd name="connsiteY1323" fmla="*/ 2997613 h 6689084"/>
                <a:gd name="connsiteX1324" fmla="*/ 3999000 w 6689088"/>
                <a:gd name="connsiteY1324" fmla="*/ 2995437 h 6689084"/>
                <a:gd name="connsiteX1325" fmla="*/ 4152947 w 6689088"/>
                <a:gd name="connsiteY1325" fmla="*/ 2994713 h 6689084"/>
                <a:gd name="connsiteX1326" fmla="*/ 4156214 w 6689088"/>
                <a:gd name="connsiteY1326" fmla="*/ 2997979 h 6689084"/>
                <a:gd name="connsiteX1327" fmla="*/ 4152947 w 6689088"/>
                <a:gd name="connsiteY1327" fmla="*/ 3001250 h 6689084"/>
                <a:gd name="connsiteX1328" fmla="*/ 4149680 w 6689088"/>
                <a:gd name="connsiteY1328" fmla="*/ 2997979 h 6689084"/>
                <a:gd name="connsiteX1329" fmla="*/ 4152947 w 6689088"/>
                <a:gd name="connsiteY1329" fmla="*/ 2994713 h 6689084"/>
                <a:gd name="connsiteX1330" fmla="*/ 4306532 w 6689088"/>
                <a:gd name="connsiteY1330" fmla="*/ 2993261 h 6689084"/>
                <a:gd name="connsiteX1331" fmla="*/ 4310890 w 6689088"/>
                <a:gd name="connsiteY1331" fmla="*/ 2997617 h 6689084"/>
                <a:gd name="connsiteX1332" fmla="*/ 4306532 w 6689088"/>
                <a:gd name="connsiteY1332" fmla="*/ 3001974 h 6689084"/>
                <a:gd name="connsiteX1333" fmla="*/ 4302176 w 6689088"/>
                <a:gd name="connsiteY1333" fmla="*/ 2997617 h 6689084"/>
                <a:gd name="connsiteX1334" fmla="*/ 4306532 w 6689088"/>
                <a:gd name="connsiteY1334" fmla="*/ 2993261 h 6689084"/>
                <a:gd name="connsiteX1335" fmla="*/ 4460480 w 6689088"/>
                <a:gd name="connsiteY1335" fmla="*/ 2991808 h 6689084"/>
                <a:gd name="connsiteX1336" fmla="*/ 4466289 w 6689088"/>
                <a:gd name="connsiteY1336" fmla="*/ 2997617 h 6689084"/>
                <a:gd name="connsiteX1337" fmla="*/ 4460480 w 6689088"/>
                <a:gd name="connsiteY1337" fmla="*/ 3003427 h 6689084"/>
                <a:gd name="connsiteX1338" fmla="*/ 4454670 w 6689088"/>
                <a:gd name="connsiteY1338" fmla="*/ 2997617 h 6689084"/>
                <a:gd name="connsiteX1339" fmla="*/ 4460480 w 6689088"/>
                <a:gd name="connsiteY1339" fmla="*/ 2991808 h 6689084"/>
                <a:gd name="connsiteX1340" fmla="*/ 4614065 w 6689088"/>
                <a:gd name="connsiteY1340" fmla="*/ 2990356 h 6689084"/>
                <a:gd name="connsiteX1341" fmla="*/ 4621326 w 6689088"/>
                <a:gd name="connsiteY1341" fmla="*/ 2997617 h 6689084"/>
                <a:gd name="connsiteX1342" fmla="*/ 4614065 w 6689088"/>
                <a:gd name="connsiteY1342" fmla="*/ 3004879 h 6689084"/>
                <a:gd name="connsiteX1343" fmla="*/ 4606804 w 6689088"/>
                <a:gd name="connsiteY1343" fmla="*/ 2997617 h 6689084"/>
                <a:gd name="connsiteX1344" fmla="*/ 4614065 w 6689088"/>
                <a:gd name="connsiteY1344" fmla="*/ 2990356 h 6689084"/>
                <a:gd name="connsiteX1345" fmla="*/ 4768008 w 6689088"/>
                <a:gd name="connsiteY1345" fmla="*/ 2988537 h 6689084"/>
                <a:gd name="connsiteX1346" fmla="*/ 4777088 w 6689088"/>
                <a:gd name="connsiteY1346" fmla="*/ 2997613 h 6689084"/>
                <a:gd name="connsiteX1347" fmla="*/ 4768008 w 6689088"/>
                <a:gd name="connsiteY1347" fmla="*/ 3006693 h 6689084"/>
                <a:gd name="connsiteX1348" fmla="*/ 4758932 w 6689088"/>
                <a:gd name="connsiteY1348" fmla="*/ 2997613 h 6689084"/>
                <a:gd name="connsiteX1349" fmla="*/ 4768008 w 6689088"/>
                <a:gd name="connsiteY1349" fmla="*/ 2988537 h 6689084"/>
                <a:gd name="connsiteX1350" fmla="*/ 4921594 w 6689088"/>
                <a:gd name="connsiteY1350" fmla="*/ 2987447 h 6689084"/>
                <a:gd name="connsiteX1351" fmla="*/ 4931760 w 6689088"/>
                <a:gd name="connsiteY1351" fmla="*/ 2997613 h 6689084"/>
                <a:gd name="connsiteX1352" fmla="*/ 4921594 w 6689088"/>
                <a:gd name="connsiteY1352" fmla="*/ 3007780 h 6689084"/>
                <a:gd name="connsiteX1353" fmla="*/ 4911428 w 6689088"/>
                <a:gd name="connsiteY1353" fmla="*/ 2997613 h 6689084"/>
                <a:gd name="connsiteX1354" fmla="*/ 4921594 w 6689088"/>
                <a:gd name="connsiteY1354" fmla="*/ 2987447 h 6689084"/>
                <a:gd name="connsiteX1355" fmla="*/ 5075541 w 6689088"/>
                <a:gd name="connsiteY1355" fmla="*/ 2985633 h 6689084"/>
                <a:gd name="connsiteX1356" fmla="*/ 5087526 w 6689088"/>
                <a:gd name="connsiteY1356" fmla="*/ 2997613 h 6689084"/>
                <a:gd name="connsiteX1357" fmla="*/ 5075541 w 6689088"/>
                <a:gd name="connsiteY1357" fmla="*/ 3009594 h 6689084"/>
                <a:gd name="connsiteX1358" fmla="*/ 5063560 w 6689088"/>
                <a:gd name="connsiteY1358" fmla="*/ 2997613 h 6689084"/>
                <a:gd name="connsiteX1359" fmla="*/ 5075541 w 6689088"/>
                <a:gd name="connsiteY1359" fmla="*/ 2985633 h 6689084"/>
                <a:gd name="connsiteX1360" fmla="*/ 5229126 w 6689088"/>
                <a:gd name="connsiteY1360" fmla="*/ 2983818 h 6689084"/>
                <a:gd name="connsiteX1361" fmla="*/ 5242922 w 6689088"/>
                <a:gd name="connsiteY1361" fmla="*/ 2997613 h 6689084"/>
                <a:gd name="connsiteX1362" fmla="*/ 5229126 w 6689088"/>
                <a:gd name="connsiteY1362" fmla="*/ 3011413 h 6689084"/>
                <a:gd name="connsiteX1363" fmla="*/ 5215328 w 6689088"/>
                <a:gd name="connsiteY1363" fmla="*/ 2997613 h 6689084"/>
                <a:gd name="connsiteX1364" fmla="*/ 5229126 w 6689088"/>
                <a:gd name="connsiteY1364" fmla="*/ 2983818 h 6689084"/>
                <a:gd name="connsiteX1365" fmla="*/ 5383074 w 6689088"/>
                <a:gd name="connsiteY1365" fmla="*/ 2982366 h 6689084"/>
                <a:gd name="connsiteX1366" fmla="*/ 5398326 w 6689088"/>
                <a:gd name="connsiteY1366" fmla="*/ 2997613 h 6689084"/>
                <a:gd name="connsiteX1367" fmla="*/ 5383074 w 6689088"/>
                <a:gd name="connsiteY1367" fmla="*/ 3012865 h 6689084"/>
                <a:gd name="connsiteX1368" fmla="*/ 5367826 w 6689088"/>
                <a:gd name="connsiteY1368" fmla="*/ 2997613 h 6689084"/>
                <a:gd name="connsiteX1369" fmla="*/ 5383074 w 6689088"/>
                <a:gd name="connsiteY1369" fmla="*/ 2982366 h 6689084"/>
                <a:gd name="connsiteX1370" fmla="*/ 5536659 w 6689088"/>
                <a:gd name="connsiteY1370" fmla="*/ 2980551 h 6689084"/>
                <a:gd name="connsiteX1371" fmla="*/ 5553725 w 6689088"/>
                <a:gd name="connsiteY1371" fmla="*/ 2997617 h 6689084"/>
                <a:gd name="connsiteX1372" fmla="*/ 5536659 w 6689088"/>
                <a:gd name="connsiteY1372" fmla="*/ 3014683 h 6689084"/>
                <a:gd name="connsiteX1373" fmla="*/ 5519593 w 6689088"/>
                <a:gd name="connsiteY1373" fmla="*/ 2997617 h 6689084"/>
                <a:gd name="connsiteX1374" fmla="*/ 5536659 w 6689088"/>
                <a:gd name="connsiteY1374" fmla="*/ 2980551 h 6689084"/>
                <a:gd name="connsiteX1375" fmla="*/ 5690606 w 6689088"/>
                <a:gd name="connsiteY1375" fmla="*/ 2978371 h 6689084"/>
                <a:gd name="connsiteX1376" fmla="*/ 5709849 w 6689088"/>
                <a:gd name="connsiteY1376" fmla="*/ 2997613 h 6689084"/>
                <a:gd name="connsiteX1377" fmla="*/ 5690606 w 6689088"/>
                <a:gd name="connsiteY1377" fmla="*/ 3016856 h 6689084"/>
                <a:gd name="connsiteX1378" fmla="*/ 5671360 w 6689088"/>
                <a:gd name="connsiteY1378" fmla="*/ 2997613 h 6689084"/>
                <a:gd name="connsiteX1379" fmla="*/ 5690606 w 6689088"/>
                <a:gd name="connsiteY1379" fmla="*/ 2978371 h 6689084"/>
                <a:gd name="connsiteX1380" fmla="*/ 5844550 w 6689088"/>
                <a:gd name="connsiteY1380" fmla="*/ 2976195 h 6689084"/>
                <a:gd name="connsiteX1381" fmla="*/ 5865973 w 6689088"/>
                <a:gd name="connsiteY1381" fmla="*/ 2997617 h 6689084"/>
                <a:gd name="connsiteX1382" fmla="*/ 5844550 w 6689088"/>
                <a:gd name="connsiteY1382" fmla="*/ 3019036 h 6689084"/>
                <a:gd name="connsiteX1383" fmla="*/ 5823127 w 6689088"/>
                <a:gd name="connsiteY1383" fmla="*/ 2997617 h 6689084"/>
                <a:gd name="connsiteX1384" fmla="*/ 5844550 w 6689088"/>
                <a:gd name="connsiteY1384" fmla="*/ 2976195 h 6689084"/>
                <a:gd name="connsiteX1385" fmla="*/ 5998139 w 6689088"/>
                <a:gd name="connsiteY1385" fmla="*/ 2974742 h 6689084"/>
                <a:gd name="connsiteX1386" fmla="*/ 6021010 w 6689088"/>
                <a:gd name="connsiteY1386" fmla="*/ 2997617 h 6689084"/>
                <a:gd name="connsiteX1387" fmla="*/ 5998139 w 6689088"/>
                <a:gd name="connsiteY1387" fmla="*/ 3020489 h 6689084"/>
                <a:gd name="connsiteX1388" fmla="*/ 5975264 w 6689088"/>
                <a:gd name="connsiteY1388" fmla="*/ 2997617 h 6689084"/>
                <a:gd name="connsiteX1389" fmla="*/ 5998139 w 6689088"/>
                <a:gd name="connsiteY1389" fmla="*/ 2974742 h 6689084"/>
                <a:gd name="connsiteX1390" fmla="*/ 6152083 w 6689088"/>
                <a:gd name="connsiteY1390" fmla="*/ 2972562 h 6689084"/>
                <a:gd name="connsiteX1391" fmla="*/ 6177134 w 6689088"/>
                <a:gd name="connsiteY1391" fmla="*/ 2997613 h 6689084"/>
                <a:gd name="connsiteX1392" fmla="*/ 6152083 w 6689088"/>
                <a:gd name="connsiteY1392" fmla="*/ 3022669 h 6689084"/>
                <a:gd name="connsiteX1393" fmla="*/ 6127031 w 6689088"/>
                <a:gd name="connsiteY1393" fmla="*/ 2997613 h 6689084"/>
                <a:gd name="connsiteX1394" fmla="*/ 6152083 w 6689088"/>
                <a:gd name="connsiteY1394" fmla="*/ 2972562 h 6689084"/>
                <a:gd name="connsiteX1395" fmla="*/ 6305672 w 6689088"/>
                <a:gd name="connsiteY1395" fmla="*/ 2970385 h 6689084"/>
                <a:gd name="connsiteX1396" fmla="*/ 6332904 w 6689088"/>
                <a:gd name="connsiteY1396" fmla="*/ 2997617 h 6689084"/>
                <a:gd name="connsiteX1397" fmla="*/ 6305672 w 6689088"/>
                <a:gd name="connsiteY1397" fmla="*/ 3024846 h 6689084"/>
                <a:gd name="connsiteX1398" fmla="*/ 6278440 w 6689088"/>
                <a:gd name="connsiteY1398" fmla="*/ 2997617 h 6689084"/>
                <a:gd name="connsiteX1399" fmla="*/ 6305672 w 6689088"/>
                <a:gd name="connsiteY1399" fmla="*/ 2970385 h 6689084"/>
                <a:gd name="connsiteX1400" fmla="*/ 6459619 w 6689088"/>
                <a:gd name="connsiteY1400" fmla="*/ 2967843 h 6689084"/>
                <a:gd name="connsiteX1401" fmla="*/ 6489390 w 6689088"/>
                <a:gd name="connsiteY1401" fmla="*/ 2997613 h 6689084"/>
                <a:gd name="connsiteX1402" fmla="*/ 6459619 w 6689088"/>
                <a:gd name="connsiteY1402" fmla="*/ 3027388 h 6689084"/>
                <a:gd name="connsiteX1403" fmla="*/ 6429844 w 6689088"/>
                <a:gd name="connsiteY1403" fmla="*/ 2997613 h 6689084"/>
                <a:gd name="connsiteX1404" fmla="*/ 6459619 w 6689088"/>
                <a:gd name="connsiteY1404" fmla="*/ 2967843 h 6689084"/>
                <a:gd name="connsiteX1405" fmla="*/ 6613200 w 6689088"/>
                <a:gd name="connsiteY1405" fmla="*/ 2965666 h 6689084"/>
                <a:gd name="connsiteX1406" fmla="*/ 6645152 w 6689088"/>
                <a:gd name="connsiteY1406" fmla="*/ 2997617 h 6689084"/>
                <a:gd name="connsiteX1407" fmla="*/ 6613200 w 6689088"/>
                <a:gd name="connsiteY1407" fmla="*/ 3029569 h 6689084"/>
                <a:gd name="connsiteX1408" fmla="*/ 6581250 w 6689088"/>
                <a:gd name="connsiteY1408" fmla="*/ 2997617 h 6689084"/>
                <a:gd name="connsiteX1409" fmla="*/ 6613200 w 6689088"/>
                <a:gd name="connsiteY1409" fmla="*/ 2965666 h 6689084"/>
                <a:gd name="connsiteX1410" fmla="*/ 3537882 w 6689088"/>
                <a:gd name="connsiteY1410" fmla="*/ 2843666 h 6689084"/>
                <a:gd name="connsiteX1411" fmla="*/ 3538244 w 6689088"/>
                <a:gd name="connsiteY1411" fmla="*/ 2844028 h 6689084"/>
                <a:gd name="connsiteX1412" fmla="*/ 3537882 w 6689088"/>
                <a:gd name="connsiteY1412" fmla="*/ 2844390 h 6689084"/>
                <a:gd name="connsiteX1413" fmla="*/ 3537520 w 6689088"/>
                <a:gd name="connsiteY1413" fmla="*/ 2844028 h 6689084"/>
                <a:gd name="connsiteX1414" fmla="*/ 3537882 w 6689088"/>
                <a:gd name="connsiteY1414" fmla="*/ 2843666 h 6689084"/>
                <a:gd name="connsiteX1415" fmla="*/ 3076406 w 6689088"/>
                <a:gd name="connsiteY1415" fmla="*/ 2843666 h 6689084"/>
                <a:gd name="connsiteX1416" fmla="*/ 3076768 w 6689088"/>
                <a:gd name="connsiteY1416" fmla="*/ 2844028 h 6689084"/>
                <a:gd name="connsiteX1417" fmla="*/ 3076406 w 6689088"/>
                <a:gd name="connsiteY1417" fmla="*/ 2844390 h 6689084"/>
                <a:gd name="connsiteX1418" fmla="*/ 3076043 w 6689088"/>
                <a:gd name="connsiteY1418" fmla="*/ 2844028 h 6689084"/>
                <a:gd name="connsiteX1419" fmla="*/ 3076406 w 6689088"/>
                <a:gd name="connsiteY1419" fmla="*/ 2843666 h 6689084"/>
                <a:gd name="connsiteX1420" fmla="*/ 2922458 w 6689088"/>
                <a:gd name="connsiteY1420" fmla="*/ 2843666 h 6689084"/>
                <a:gd name="connsiteX1421" fmla="*/ 2922820 w 6689088"/>
                <a:gd name="connsiteY1421" fmla="*/ 2844028 h 6689084"/>
                <a:gd name="connsiteX1422" fmla="*/ 2922458 w 6689088"/>
                <a:gd name="connsiteY1422" fmla="*/ 2844390 h 6689084"/>
                <a:gd name="connsiteX1423" fmla="*/ 2922096 w 6689088"/>
                <a:gd name="connsiteY1423" fmla="*/ 2844028 h 6689084"/>
                <a:gd name="connsiteX1424" fmla="*/ 2922458 w 6689088"/>
                <a:gd name="connsiteY1424" fmla="*/ 2843666 h 6689084"/>
                <a:gd name="connsiteX1425" fmla="*/ 2768877 w 6689088"/>
                <a:gd name="connsiteY1425" fmla="*/ 2843304 h 6689084"/>
                <a:gd name="connsiteX1426" fmla="*/ 2769601 w 6689088"/>
                <a:gd name="connsiteY1426" fmla="*/ 2844032 h 6689084"/>
                <a:gd name="connsiteX1427" fmla="*/ 2768877 w 6689088"/>
                <a:gd name="connsiteY1427" fmla="*/ 2844756 h 6689084"/>
                <a:gd name="connsiteX1428" fmla="*/ 2768149 w 6689088"/>
                <a:gd name="connsiteY1428" fmla="*/ 2844032 h 6689084"/>
                <a:gd name="connsiteX1429" fmla="*/ 2768877 w 6689088"/>
                <a:gd name="connsiteY1429" fmla="*/ 2843304 h 6689084"/>
                <a:gd name="connsiteX1430" fmla="*/ 3691467 w 6689088"/>
                <a:gd name="connsiteY1430" fmla="*/ 2842580 h 6689084"/>
                <a:gd name="connsiteX1431" fmla="*/ 3692919 w 6689088"/>
                <a:gd name="connsiteY1431" fmla="*/ 2844032 h 6689084"/>
                <a:gd name="connsiteX1432" fmla="*/ 3691467 w 6689088"/>
                <a:gd name="connsiteY1432" fmla="*/ 2845485 h 6689084"/>
                <a:gd name="connsiteX1433" fmla="*/ 3690014 w 6689088"/>
                <a:gd name="connsiteY1433" fmla="*/ 2844032 h 6689084"/>
                <a:gd name="connsiteX1434" fmla="*/ 3691467 w 6689088"/>
                <a:gd name="connsiteY1434" fmla="*/ 2842580 h 6689084"/>
                <a:gd name="connsiteX1435" fmla="*/ 3845418 w 6689088"/>
                <a:gd name="connsiteY1435" fmla="*/ 2841852 h 6689084"/>
                <a:gd name="connsiteX1436" fmla="*/ 3847595 w 6689088"/>
                <a:gd name="connsiteY1436" fmla="*/ 2844032 h 6689084"/>
                <a:gd name="connsiteX1437" fmla="*/ 3845418 w 6689088"/>
                <a:gd name="connsiteY1437" fmla="*/ 2846209 h 6689084"/>
                <a:gd name="connsiteX1438" fmla="*/ 3843238 w 6689088"/>
                <a:gd name="connsiteY1438" fmla="*/ 2844032 h 6689084"/>
                <a:gd name="connsiteX1439" fmla="*/ 3845418 w 6689088"/>
                <a:gd name="connsiteY1439" fmla="*/ 2841852 h 6689084"/>
                <a:gd name="connsiteX1440" fmla="*/ 3999000 w 6689088"/>
                <a:gd name="connsiteY1440" fmla="*/ 2840761 h 6689084"/>
                <a:gd name="connsiteX1441" fmla="*/ 4002270 w 6689088"/>
                <a:gd name="connsiteY1441" fmla="*/ 2844028 h 6689084"/>
                <a:gd name="connsiteX1442" fmla="*/ 3999000 w 6689088"/>
                <a:gd name="connsiteY1442" fmla="*/ 2847299 h 6689084"/>
                <a:gd name="connsiteX1443" fmla="*/ 3995733 w 6689088"/>
                <a:gd name="connsiteY1443" fmla="*/ 2844028 h 6689084"/>
                <a:gd name="connsiteX1444" fmla="*/ 3999000 w 6689088"/>
                <a:gd name="connsiteY1444" fmla="*/ 2840761 h 6689084"/>
                <a:gd name="connsiteX1445" fmla="*/ 4152947 w 6689088"/>
                <a:gd name="connsiteY1445" fmla="*/ 2839309 h 6689084"/>
                <a:gd name="connsiteX1446" fmla="*/ 4157304 w 6689088"/>
                <a:gd name="connsiteY1446" fmla="*/ 2843666 h 6689084"/>
                <a:gd name="connsiteX1447" fmla="*/ 4152947 w 6689088"/>
                <a:gd name="connsiteY1447" fmla="*/ 2848023 h 6689084"/>
                <a:gd name="connsiteX1448" fmla="*/ 4148590 w 6689088"/>
                <a:gd name="connsiteY1448" fmla="*/ 2843666 h 6689084"/>
                <a:gd name="connsiteX1449" fmla="*/ 4152947 w 6689088"/>
                <a:gd name="connsiteY1449" fmla="*/ 2839309 h 6689084"/>
                <a:gd name="connsiteX1450" fmla="*/ 4306532 w 6689088"/>
                <a:gd name="connsiteY1450" fmla="*/ 2838223 h 6689084"/>
                <a:gd name="connsiteX1451" fmla="*/ 4312342 w 6689088"/>
                <a:gd name="connsiteY1451" fmla="*/ 2844032 h 6689084"/>
                <a:gd name="connsiteX1452" fmla="*/ 4306532 w 6689088"/>
                <a:gd name="connsiteY1452" fmla="*/ 2849841 h 6689084"/>
                <a:gd name="connsiteX1453" fmla="*/ 4300723 w 6689088"/>
                <a:gd name="connsiteY1453" fmla="*/ 2844032 h 6689084"/>
                <a:gd name="connsiteX1454" fmla="*/ 4306532 w 6689088"/>
                <a:gd name="connsiteY1454" fmla="*/ 2838223 h 6689084"/>
                <a:gd name="connsiteX1455" fmla="*/ 4460480 w 6689088"/>
                <a:gd name="connsiteY1455" fmla="*/ 2836770 h 6689084"/>
                <a:gd name="connsiteX1456" fmla="*/ 4467742 w 6689088"/>
                <a:gd name="connsiteY1456" fmla="*/ 2844032 h 6689084"/>
                <a:gd name="connsiteX1457" fmla="*/ 4460480 w 6689088"/>
                <a:gd name="connsiteY1457" fmla="*/ 2851294 h 6689084"/>
                <a:gd name="connsiteX1458" fmla="*/ 4453218 w 6689088"/>
                <a:gd name="connsiteY1458" fmla="*/ 2844032 h 6689084"/>
                <a:gd name="connsiteX1459" fmla="*/ 4460480 w 6689088"/>
                <a:gd name="connsiteY1459" fmla="*/ 2836770 h 6689084"/>
                <a:gd name="connsiteX1460" fmla="*/ 4614061 w 6689088"/>
                <a:gd name="connsiteY1460" fmla="*/ 2834590 h 6689084"/>
                <a:gd name="connsiteX1461" fmla="*/ 4623141 w 6689088"/>
                <a:gd name="connsiteY1461" fmla="*/ 2843666 h 6689084"/>
                <a:gd name="connsiteX1462" fmla="*/ 4614061 w 6689088"/>
                <a:gd name="connsiteY1462" fmla="*/ 2852746 h 6689084"/>
                <a:gd name="connsiteX1463" fmla="*/ 4604985 w 6689088"/>
                <a:gd name="connsiteY1463" fmla="*/ 2843666 h 6689084"/>
                <a:gd name="connsiteX1464" fmla="*/ 4614061 w 6689088"/>
                <a:gd name="connsiteY1464" fmla="*/ 2834590 h 6689084"/>
                <a:gd name="connsiteX1465" fmla="*/ 4768012 w 6689088"/>
                <a:gd name="connsiteY1465" fmla="*/ 2833866 h 6689084"/>
                <a:gd name="connsiteX1466" fmla="*/ 4778178 w 6689088"/>
                <a:gd name="connsiteY1466" fmla="*/ 2844032 h 6689084"/>
                <a:gd name="connsiteX1467" fmla="*/ 4768012 w 6689088"/>
                <a:gd name="connsiteY1467" fmla="*/ 2854198 h 6689084"/>
                <a:gd name="connsiteX1468" fmla="*/ 4757846 w 6689088"/>
                <a:gd name="connsiteY1468" fmla="*/ 2844032 h 6689084"/>
                <a:gd name="connsiteX1469" fmla="*/ 4768012 w 6689088"/>
                <a:gd name="connsiteY1469" fmla="*/ 2833866 h 6689084"/>
                <a:gd name="connsiteX1470" fmla="*/ 4921594 w 6689088"/>
                <a:gd name="connsiteY1470" fmla="*/ 2831685 h 6689084"/>
                <a:gd name="connsiteX1471" fmla="*/ 4933578 w 6689088"/>
                <a:gd name="connsiteY1471" fmla="*/ 2843666 h 6689084"/>
                <a:gd name="connsiteX1472" fmla="*/ 4921594 w 6689088"/>
                <a:gd name="connsiteY1472" fmla="*/ 2855651 h 6689084"/>
                <a:gd name="connsiteX1473" fmla="*/ 4909613 w 6689088"/>
                <a:gd name="connsiteY1473" fmla="*/ 2843666 h 6689084"/>
                <a:gd name="connsiteX1474" fmla="*/ 4921594 w 6689088"/>
                <a:gd name="connsiteY1474" fmla="*/ 2831685 h 6689084"/>
                <a:gd name="connsiteX1475" fmla="*/ 5075545 w 6689088"/>
                <a:gd name="connsiteY1475" fmla="*/ 2829871 h 6689084"/>
                <a:gd name="connsiteX1476" fmla="*/ 5089340 w 6689088"/>
                <a:gd name="connsiteY1476" fmla="*/ 2843666 h 6689084"/>
                <a:gd name="connsiteX1477" fmla="*/ 5075545 w 6689088"/>
                <a:gd name="connsiteY1477" fmla="*/ 2857465 h 6689084"/>
                <a:gd name="connsiteX1478" fmla="*/ 5061746 w 6689088"/>
                <a:gd name="connsiteY1478" fmla="*/ 2843666 h 6689084"/>
                <a:gd name="connsiteX1479" fmla="*/ 5075545 w 6689088"/>
                <a:gd name="connsiteY1479" fmla="*/ 2829871 h 6689084"/>
                <a:gd name="connsiteX1480" fmla="*/ 5229126 w 6689088"/>
                <a:gd name="connsiteY1480" fmla="*/ 2828781 h 6689084"/>
                <a:gd name="connsiteX1481" fmla="*/ 5244378 w 6689088"/>
                <a:gd name="connsiteY1481" fmla="*/ 2844032 h 6689084"/>
                <a:gd name="connsiteX1482" fmla="*/ 5229126 w 6689088"/>
                <a:gd name="connsiteY1482" fmla="*/ 2859280 h 6689084"/>
                <a:gd name="connsiteX1483" fmla="*/ 5213879 w 6689088"/>
                <a:gd name="connsiteY1483" fmla="*/ 2844032 h 6689084"/>
                <a:gd name="connsiteX1484" fmla="*/ 5229126 w 6689088"/>
                <a:gd name="connsiteY1484" fmla="*/ 2828781 h 6689084"/>
                <a:gd name="connsiteX1485" fmla="*/ 5383074 w 6689088"/>
                <a:gd name="connsiteY1485" fmla="*/ 2826966 h 6689084"/>
                <a:gd name="connsiteX1486" fmla="*/ 5400140 w 6689088"/>
                <a:gd name="connsiteY1486" fmla="*/ 2844032 h 6689084"/>
                <a:gd name="connsiteX1487" fmla="*/ 5383074 w 6689088"/>
                <a:gd name="connsiteY1487" fmla="*/ 2861098 h 6689084"/>
                <a:gd name="connsiteX1488" fmla="*/ 5366008 w 6689088"/>
                <a:gd name="connsiteY1488" fmla="*/ 2844032 h 6689084"/>
                <a:gd name="connsiteX1489" fmla="*/ 5383074 w 6689088"/>
                <a:gd name="connsiteY1489" fmla="*/ 2826966 h 6689084"/>
                <a:gd name="connsiteX1490" fmla="*/ 5536659 w 6689088"/>
                <a:gd name="connsiteY1490" fmla="*/ 2824790 h 6689084"/>
                <a:gd name="connsiteX1491" fmla="*/ 5555902 w 6689088"/>
                <a:gd name="connsiteY1491" fmla="*/ 2844032 h 6689084"/>
                <a:gd name="connsiteX1492" fmla="*/ 5536659 w 6689088"/>
                <a:gd name="connsiteY1492" fmla="*/ 2863279 h 6689084"/>
                <a:gd name="connsiteX1493" fmla="*/ 5517413 w 6689088"/>
                <a:gd name="connsiteY1493" fmla="*/ 2844032 h 6689084"/>
                <a:gd name="connsiteX1494" fmla="*/ 5536659 w 6689088"/>
                <a:gd name="connsiteY1494" fmla="*/ 2824790 h 6689084"/>
                <a:gd name="connsiteX1495" fmla="*/ 5690602 w 6689088"/>
                <a:gd name="connsiteY1495" fmla="*/ 2822609 h 6689084"/>
                <a:gd name="connsiteX1496" fmla="*/ 5712026 w 6689088"/>
                <a:gd name="connsiteY1496" fmla="*/ 2844032 h 6689084"/>
                <a:gd name="connsiteX1497" fmla="*/ 5690602 w 6689088"/>
                <a:gd name="connsiteY1497" fmla="*/ 2865451 h 6689084"/>
                <a:gd name="connsiteX1498" fmla="*/ 5669180 w 6689088"/>
                <a:gd name="connsiteY1498" fmla="*/ 2844032 h 6689084"/>
                <a:gd name="connsiteX1499" fmla="*/ 5690602 w 6689088"/>
                <a:gd name="connsiteY1499" fmla="*/ 2822609 h 6689084"/>
                <a:gd name="connsiteX1500" fmla="*/ 5844554 w 6689088"/>
                <a:gd name="connsiteY1500" fmla="*/ 2821157 h 6689084"/>
                <a:gd name="connsiteX1501" fmla="*/ 5867429 w 6689088"/>
                <a:gd name="connsiteY1501" fmla="*/ 2844032 h 6689084"/>
                <a:gd name="connsiteX1502" fmla="*/ 5844554 w 6689088"/>
                <a:gd name="connsiteY1502" fmla="*/ 2866903 h 6689084"/>
                <a:gd name="connsiteX1503" fmla="*/ 5821678 w 6689088"/>
                <a:gd name="connsiteY1503" fmla="*/ 2844032 h 6689084"/>
                <a:gd name="connsiteX1504" fmla="*/ 5844554 w 6689088"/>
                <a:gd name="connsiteY1504" fmla="*/ 2821157 h 6689084"/>
                <a:gd name="connsiteX1505" fmla="*/ 5998136 w 6689088"/>
                <a:gd name="connsiteY1505" fmla="*/ 2818980 h 6689084"/>
                <a:gd name="connsiteX1506" fmla="*/ 6023187 w 6689088"/>
                <a:gd name="connsiteY1506" fmla="*/ 2844032 h 6689084"/>
                <a:gd name="connsiteX1507" fmla="*/ 5998136 w 6689088"/>
                <a:gd name="connsiteY1507" fmla="*/ 2869088 h 6689084"/>
                <a:gd name="connsiteX1508" fmla="*/ 5973084 w 6689088"/>
                <a:gd name="connsiteY1508" fmla="*/ 2844032 h 6689084"/>
                <a:gd name="connsiteX1509" fmla="*/ 5998136 w 6689088"/>
                <a:gd name="connsiteY1509" fmla="*/ 2818980 h 6689084"/>
                <a:gd name="connsiteX1510" fmla="*/ 6152086 w 6689088"/>
                <a:gd name="connsiteY1510" fmla="*/ 2816800 h 6689084"/>
                <a:gd name="connsiteX1511" fmla="*/ 6179315 w 6689088"/>
                <a:gd name="connsiteY1511" fmla="*/ 2844032 h 6689084"/>
                <a:gd name="connsiteX1512" fmla="*/ 6152086 w 6689088"/>
                <a:gd name="connsiteY1512" fmla="*/ 2871264 h 6689084"/>
                <a:gd name="connsiteX1513" fmla="*/ 6124854 w 6689088"/>
                <a:gd name="connsiteY1513" fmla="*/ 2844032 h 6689084"/>
                <a:gd name="connsiteX1514" fmla="*/ 6152086 w 6689088"/>
                <a:gd name="connsiteY1514" fmla="*/ 2816800 h 6689084"/>
                <a:gd name="connsiteX1515" fmla="*/ 6305672 w 6689088"/>
                <a:gd name="connsiteY1515" fmla="*/ 2814257 h 6689084"/>
                <a:gd name="connsiteX1516" fmla="*/ 6335443 w 6689088"/>
                <a:gd name="connsiteY1516" fmla="*/ 2844032 h 6689084"/>
                <a:gd name="connsiteX1517" fmla="*/ 6305672 w 6689088"/>
                <a:gd name="connsiteY1517" fmla="*/ 2873803 h 6689084"/>
                <a:gd name="connsiteX1518" fmla="*/ 6275897 w 6689088"/>
                <a:gd name="connsiteY1518" fmla="*/ 2844032 h 6689084"/>
                <a:gd name="connsiteX1519" fmla="*/ 6305672 w 6689088"/>
                <a:gd name="connsiteY1519" fmla="*/ 2814257 h 6689084"/>
                <a:gd name="connsiteX1520" fmla="*/ 6459616 w 6689088"/>
                <a:gd name="connsiteY1520" fmla="*/ 2812081 h 6689084"/>
                <a:gd name="connsiteX1521" fmla="*/ 6491567 w 6689088"/>
                <a:gd name="connsiteY1521" fmla="*/ 2844032 h 6689084"/>
                <a:gd name="connsiteX1522" fmla="*/ 6459616 w 6689088"/>
                <a:gd name="connsiteY1522" fmla="*/ 2875983 h 6689084"/>
                <a:gd name="connsiteX1523" fmla="*/ 6427664 w 6689088"/>
                <a:gd name="connsiteY1523" fmla="*/ 2844032 h 6689084"/>
                <a:gd name="connsiteX1524" fmla="*/ 6459616 w 6689088"/>
                <a:gd name="connsiteY1524" fmla="*/ 2812081 h 6689084"/>
                <a:gd name="connsiteX1525" fmla="*/ 6613200 w 6689088"/>
                <a:gd name="connsiteY1525" fmla="*/ 2810266 h 6689084"/>
                <a:gd name="connsiteX1526" fmla="*/ 6646966 w 6689088"/>
                <a:gd name="connsiteY1526" fmla="*/ 2844032 h 6689084"/>
                <a:gd name="connsiteX1527" fmla="*/ 6613200 w 6689088"/>
                <a:gd name="connsiteY1527" fmla="*/ 2877802 h 6689084"/>
                <a:gd name="connsiteX1528" fmla="*/ 6579435 w 6689088"/>
                <a:gd name="connsiteY1528" fmla="*/ 2844032 h 6689084"/>
                <a:gd name="connsiteX1529" fmla="*/ 6613200 w 6689088"/>
                <a:gd name="connsiteY1529" fmla="*/ 2810266 h 6689084"/>
                <a:gd name="connsiteX1530" fmla="*/ 3383934 w 6689088"/>
                <a:gd name="connsiteY1530" fmla="*/ 2689722 h 6689084"/>
                <a:gd name="connsiteX1531" fmla="*/ 3384296 w 6689088"/>
                <a:gd name="connsiteY1531" fmla="*/ 2690085 h 6689084"/>
                <a:gd name="connsiteX1532" fmla="*/ 3383934 w 6689088"/>
                <a:gd name="connsiteY1532" fmla="*/ 2690447 h 6689084"/>
                <a:gd name="connsiteX1533" fmla="*/ 3383572 w 6689088"/>
                <a:gd name="connsiteY1533" fmla="*/ 2690085 h 6689084"/>
                <a:gd name="connsiteX1534" fmla="*/ 3383934 w 6689088"/>
                <a:gd name="connsiteY1534" fmla="*/ 2689722 h 6689084"/>
                <a:gd name="connsiteX1535" fmla="*/ 2922458 w 6689088"/>
                <a:gd name="connsiteY1535" fmla="*/ 2689722 h 6689084"/>
                <a:gd name="connsiteX1536" fmla="*/ 2922820 w 6689088"/>
                <a:gd name="connsiteY1536" fmla="*/ 2690085 h 6689084"/>
                <a:gd name="connsiteX1537" fmla="*/ 2922458 w 6689088"/>
                <a:gd name="connsiteY1537" fmla="*/ 2690447 h 6689084"/>
                <a:gd name="connsiteX1538" fmla="*/ 2922096 w 6689088"/>
                <a:gd name="connsiteY1538" fmla="*/ 2690085 h 6689084"/>
                <a:gd name="connsiteX1539" fmla="*/ 2922458 w 6689088"/>
                <a:gd name="connsiteY1539" fmla="*/ 2689722 h 6689084"/>
                <a:gd name="connsiteX1540" fmla="*/ 2768873 w 6689088"/>
                <a:gd name="connsiteY1540" fmla="*/ 2689722 h 6689084"/>
                <a:gd name="connsiteX1541" fmla="*/ 2769235 w 6689088"/>
                <a:gd name="connsiteY1541" fmla="*/ 2690085 h 6689084"/>
                <a:gd name="connsiteX1542" fmla="*/ 2768873 w 6689088"/>
                <a:gd name="connsiteY1542" fmla="*/ 2690447 h 6689084"/>
                <a:gd name="connsiteX1543" fmla="*/ 2768511 w 6689088"/>
                <a:gd name="connsiteY1543" fmla="*/ 2690085 h 6689084"/>
                <a:gd name="connsiteX1544" fmla="*/ 2768873 w 6689088"/>
                <a:gd name="connsiteY1544" fmla="*/ 2689722 h 6689084"/>
                <a:gd name="connsiteX1545" fmla="*/ 2614925 w 6689088"/>
                <a:gd name="connsiteY1545" fmla="*/ 2689357 h 6689084"/>
                <a:gd name="connsiteX1546" fmla="*/ 2615654 w 6689088"/>
                <a:gd name="connsiteY1546" fmla="*/ 2690081 h 6689084"/>
                <a:gd name="connsiteX1547" fmla="*/ 2614925 w 6689088"/>
                <a:gd name="connsiteY1547" fmla="*/ 2690809 h 6689084"/>
                <a:gd name="connsiteX1548" fmla="*/ 2614201 w 6689088"/>
                <a:gd name="connsiteY1548" fmla="*/ 2690081 h 6689084"/>
                <a:gd name="connsiteX1549" fmla="*/ 2614925 w 6689088"/>
                <a:gd name="connsiteY1549" fmla="*/ 2689357 h 6689084"/>
                <a:gd name="connsiteX1550" fmla="*/ 3537886 w 6689088"/>
                <a:gd name="connsiteY1550" fmla="*/ 2688633 h 6689084"/>
                <a:gd name="connsiteX1551" fmla="*/ 3539338 w 6689088"/>
                <a:gd name="connsiteY1551" fmla="*/ 2690085 h 6689084"/>
                <a:gd name="connsiteX1552" fmla="*/ 3537886 w 6689088"/>
                <a:gd name="connsiteY1552" fmla="*/ 2691537 h 6689084"/>
                <a:gd name="connsiteX1553" fmla="*/ 3536433 w 6689088"/>
                <a:gd name="connsiteY1553" fmla="*/ 2690085 h 6689084"/>
                <a:gd name="connsiteX1554" fmla="*/ 3537886 w 6689088"/>
                <a:gd name="connsiteY1554" fmla="*/ 2688633 h 6689084"/>
                <a:gd name="connsiteX1555" fmla="*/ 3691471 w 6689088"/>
                <a:gd name="connsiteY1555" fmla="*/ 2687904 h 6689084"/>
                <a:gd name="connsiteX1556" fmla="*/ 3693647 w 6689088"/>
                <a:gd name="connsiteY1556" fmla="*/ 2690081 h 6689084"/>
                <a:gd name="connsiteX1557" fmla="*/ 3691471 w 6689088"/>
                <a:gd name="connsiteY1557" fmla="*/ 2692261 h 6689084"/>
                <a:gd name="connsiteX1558" fmla="*/ 3689290 w 6689088"/>
                <a:gd name="connsiteY1558" fmla="*/ 2690081 h 6689084"/>
                <a:gd name="connsiteX1559" fmla="*/ 3691471 w 6689088"/>
                <a:gd name="connsiteY1559" fmla="*/ 2687904 h 6689084"/>
                <a:gd name="connsiteX1560" fmla="*/ 3845414 w 6689088"/>
                <a:gd name="connsiteY1560" fmla="*/ 2686818 h 6689084"/>
                <a:gd name="connsiteX1561" fmla="*/ 3848681 w 6689088"/>
                <a:gd name="connsiteY1561" fmla="*/ 2690085 h 6689084"/>
                <a:gd name="connsiteX1562" fmla="*/ 3845414 w 6689088"/>
                <a:gd name="connsiteY1562" fmla="*/ 2693355 h 6689084"/>
                <a:gd name="connsiteX1563" fmla="*/ 3842148 w 6689088"/>
                <a:gd name="connsiteY1563" fmla="*/ 2690085 h 6689084"/>
                <a:gd name="connsiteX1564" fmla="*/ 3845414 w 6689088"/>
                <a:gd name="connsiteY1564" fmla="*/ 2686818 h 6689084"/>
                <a:gd name="connsiteX1565" fmla="*/ 3999000 w 6689088"/>
                <a:gd name="connsiteY1565" fmla="*/ 2685728 h 6689084"/>
                <a:gd name="connsiteX1566" fmla="*/ 4003356 w 6689088"/>
                <a:gd name="connsiteY1566" fmla="*/ 2690085 h 6689084"/>
                <a:gd name="connsiteX1567" fmla="*/ 3999000 w 6689088"/>
                <a:gd name="connsiteY1567" fmla="*/ 2694442 h 6689084"/>
                <a:gd name="connsiteX1568" fmla="*/ 3994642 w 6689088"/>
                <a:gd name="connsiteY1568" fmla="*/ 2690085 h 6689084"/>
                <a:gd name="connsiteX1569" fmla="*/ 3999000 w 6689088"/>
                <a:gd name="connsiteY1569" fmla="*/ 2685728 h 6689084"/>
                <a:gd name="connsiteX1570" fmla="*/ 4152947 w 6689088"/>
                <a:gd name="connsiteY1570" fmla="*/ 2684275 h 6689084"/>
                <a:gd name="connsiteX1571" fmla="*/ 4158756 w 6689088"/>
                <a:gd name="connsiteY1571" fmla="*/ 2690085 h 6689084"/>
                <a:gd name="connsiteX1572" fmla="*/ 4152947 w 6689088"/>
                <a:gd name="connsiteY1572" fmla="*/ 2695894 h 6689084"/>
                <a:gd name="connsiteX1573" fmla="*/ 4147138 w 6689088"/>
                <a:gd name="connsiteY1573" fmla="*/ 2690085 h 6689084"/>
                <a:gd name="connsiteX1574" fmla="*/ 4152947 w 6689088"/>
                <a:gd name="connsiteY1574" fmla="*/ 2684275 h 6689084"/>
                <a:gd name="connsiteX1575" fmla="*/ 4306532 w 6689088"/>
                <a:gd name="connsiteY1575" fmla="*/ 2682823 h 6689084"/>
                <a:gd name="connsiteX1576" fmla="*/ 4313794 w 6689088"/>
                <a:gd name="connsiteY1576" fmla="*/ 2690085 h 6689084"/>
                <a:gd name="connsiteX1577" fmla="*/ 4306532 w 6689088"/>
                <a:gd name="connsiteY1577" fmla="*/ 2697346 h 6689084"/>
                <a:gd name="connsiteX1578" fmla="*/ 4299270 w 6689088"/>
                <a:gd name="connsiteY1578" fmla="*/ 2690085 h 6689084"/>
                <a:gd name="connsiteX1579" fmla="*/ 4306532 w 6689088"/>
                <a:gd name="connsiteY1579" fmla="*/ 2682823 h 6689084"/>
                <a:gd name="connsiteX1580" fmla="*/ 4460480 w 6689088"/>
                <a:gd name="connsiteY1580" fmla="*/ 2681005 h 6689084"/>
                <a:gd name="connsiteX1581" fmla="*/ 4469560 w 6689088"/>
                <a:gd name="connsiteY1581" fmla="*/ 2690081 h 6689084"/>
                <a:gd name="connsiteX1582" fmla="*/ 4460480 w 6689088"/>
                <a:gd name="connsiteY1582" fmla="*/ 2699161 h 6689084"/>
                <a:gd name="connsiteX1583" fmla="*/ 4451404 w 6689088"/>
                <a:gd name="connsiteY1583" fmla="*/ 2690081 h 6689084"/>
                <a:gd name="connsiteX1584" fmla="*/ 4460480 w 6689088"/>
                <a:gd name="connsiteY1584" fmla="*/ 2681005 h 6689084"/>
                <a:gd name="connsiteX1585" fmla="*/ 4614061 w 6689088"/>
                <a:gd name="connsiteY1585" fmla="*/ 2679918 h 6689084"/>
                <a:gd name="connsiteX1586" fmla="*/ 4624228 w 6689088"/>
                <a:gd name="connsiteY1586" fmla="*/ 2690085 h 6689084"/>
                <a:gd name="connsiteX1587" fmla="*/ 4614061 w 6689088"/>
                <a:gd name="connsiteY1587" fmla="*/ 2700251 h 6689084"/>
                <a:gd name="connsiteX1588" fmla="*/ 4603895 w 6689088"/>
                <a:gd name="connsiteY1588" fmla="*/ 2690085 h 6689084"/>
                <a:gd name="connsiteX1589" fmla="*/ 4614061 w 6689088"/>
                <a:gd name="connsiteY1589" fmla="*/ 2679918 h 6689084"/>
                <a:gd name="connsiteX1590" fmla="*/ 4768008 w 6689088"/>
                <a:gd name="connsiteY1590" fmla="*/ 2678104 h 6689084"/>
                <a:gd name="connsiteX1591" fmla="*/ 4779993 w 6689088"/>
                <a:gd name="connsiteY1591" fmla="*/ 2690085 h 6689084"/>
                <a:gd name="connsiteX1592" fmla="*/ 4768008 w 6689088"/>
                <a:gd name="connsiteY1592" fmla="*/ 2702065 h 6689084"/>
                <a:gd name="connsiteX1593" fmla="*/ 4756028 w 6689088"/>
                <a:gd name="connsiteY1593" fmla="*/ 2690085 h 6689084"/>
                <a:gd name="connsiteX1594" fmla="*/ 4768008 w 6689088"/>
                <a:gd name="connsiteY1594" fmla="*/ 2678104 h 6689084"/>
                <a:gd name="connsiteX1595" fmla="*/ 4921598 w 6689088"/>
                <a:gd name="connsiteY1595" fmla="*/ 2676286 h 6689084"/>
                <a:gd name="connsiteX1596" fmla="*/ 4935393 w 6689088"/>
                <a:gd name="connsiteY1596" fmla="*/ 2690081 h 6689084"/>
                <a:gd name="connsiteX1597" fmla="*/ 4921598 w 6689088"/>
                <a:gd name="connsiteY1597" fmla="*/ 2703880 h 6689084"/>
                <a:gd name="connsiteX1598" fmla="*/ 4907798 w 6689088"/>
                <a:gd name="connsiteY1598" fmla="*/ 2690081 h 6689084"/>
                <a:gd name="connsiteX1599" fmla="*/ 4921598 w 6689088"/>
                <a:gd name="connsiteY1599" fmla="*/ 2676286 h 6689084"/>
                <a:gd name="connsiteX1600" fmla="*/ 5075545 w 6689088"/>
                <a:gd name="connsiteY1600" fmla="*/ 2674833 h 6689084"/>
                <a:gd name="connsiteX1601" fmla="*/ 5090792 w 6689088"/>
                <a:gd name="connsiteY1601" fmla="*/ 2690081 h 6689084"/>
                <a:gd name="connsiteX1602" fmla="*/ 5075545 w 6689088"/>
                <a:gd name="connsiteY1602" fmla="*/ 2705332 h 6689084"/>
                <a:gd name="connsiteX1603" fmla="*/ 5060294 w 6689088"/>
                <a:gd name="connsiteY1603" fmla="*/ 2690081 h 6689084"/>
                <a:gd name="connsiteX1604" fmla="*/ 5075545 w 6689088"/>
                <a:gd name="connsiteY1604" fmla="*/ 2674833 h 6689084"/>
                <a:gd name="connsiteX1605" fmla="*/ 5229126 w 6689088"/>
                <a:gd name="connsiteY1605" fmla="*/ 2673019 h 6689084"/>
                <a:gd name="connsiteX1606" fmla="*/ 5246192 w 6689088"/>
                <a:gd name="connsiteY1606" fmla="*/ 2690085 h 6689084"/>
                <a:gd name="connsiteX1607" fmla="*/ 5229126 w 6689088"/>
                <a:gd name="connsiteY1607" fmla="*/ 2707147 h 6689084"/>
                <a:gd name="connsiteX1608" fmla="*/ 5212060 w 6689088"/>
                <a:gd name="connsiteY1608" fmla="*/ 2690085 h 6689084"/>
                <a:gd name="connsiteX1609" fmla="*/ 5229126 w 6689088"/>
                <a:gd name="connsiteY1609" fmla="*/ 2673019 h 6689084"/>
                <a:gd name="connsiteX1610" fmla="*/ 5383074 w 6689088"/>
                <a:gd name="connsiteY1610" fmla="*/ 2670842 h 6689084"/>
                <a:gd name="connsiteX1611" fmla="*/ 5402320 w 6689088"/>
                <a:gd name="connsiteY1611" fmla="*/ 2690085 h 6689084"/>
                <a:gd name="connsiteX1612" fmla="*/ 5383074 w 6689088"/>
                <a:gd name="connsiteY1612" fmla="*/ 2709327 h 6689084"/>
                <a:gd name="connsiteX1613" fmla="*/ 5363832 w 6689088"/>
                <a:gd name="connsiteY1613" fmla="*/ 2690085 h 6689084"/>
                <a:gd name="connsiteX1614" fmla="*/ 5383074 w 6689088"/>
                <a:gd name="connsiteY1614" fmla="*/ 2670842 h 6689084"/>
                <a:gd name="connsiteX1615" fmla="*/ 5536656 w 6689088"/>
                <a:gd name="connsiteY1615" fmla="*/ 2668662 h 6689084"/>
                <a:gd name="connsiteX1616" fmla="*/ 5558078 w 6689088"/>
                <a:gd name="connsiteY1616" fmla="*/ 2690085 h 6689084"/>
                <a:gd name="connsiteX1617" fmla="*/ 5536656 w 6689088"/>
                <a:gd name="connsiteY1617" fmla="*/ 2711504 h 6689084"/>
                <a:gd name="connsiteX1618" fmla="*/ 5515232 w 6689088"/>
                <a:gd name="connsiteY1618" fmla="*/ 2690085 h 6689084"/>
                <a:gd name="connsiteX1619" fmla="*/ 5536656 w 6689088"/>
                <a:gd name="connsiteY1619" fmla="*/ 2668662 h 6689084"/>
                <a:gd name="connsiteX1620" fmla="*/ 5690606 w 6689088"/>
                <a:gd name="connsiteY1620" fmla="*/ 2667209 h 6689084"/>
                <a:gd name="connsiteX1621" fmla="*/ 5713482 w 6689088"/>
                <a:gd name="connsiteY1621" fmla="*/ 2690085 h 6689084"/>
                <a:gd name="connsiteX1622" fmla="*/ 5690606 w 6689088"/>
                <a:gd name="connsiteY1622" fmla="*/ 2712956 h 6689084"/>
                <a:gd name="connsiteX1623" fmla="*/ 5667732 w 6689088"/>
                <a:gd name="connsiteY1623" fmla="*/ 2690085 h 6689084"/>
                <a:gd name="connsiteX1624" fmla="*/ 5690606 w 6689088"/>
                <a:gd name="connsiteY1624" fmla="*/ 2667209 h 6689084"/>
                <a:gd name="connsiteX1625" fmla="*/ 5844550 w 6689088"/>
                <a:gd name="connsiteY1625" fmla="*/ 2665033 h 6689084"/>
                <a:gd name="connsiteX1626" fmla="*/ 5869606 w 6689088"/>
                <a:gd name="connsiteY1626" fmla="*/ 2690085 h 6689084"/>
                <a:gd name="connsiteX1627" fmla="*/ 5844550 w 6689088"/>
                <a:gd name="connsiteY1627" fmla="*/ 2715136 h 6689084"/>
                <a:gd name="connsiteX1628" fmla="*/ 5819498 w 6689088"/>
                <a:gd name="connsiteY1628" fmla="*/ 2690085 h 6689084"/>
                <a:gd name="connsiteX1629" fmla="*/ 5844550 w 6689088"/>
                <a:gd name="connsiteY1629" fmla="*/ 2665033 h 6689084"/>
                <a:gd name="connsiteX1630" fmla="*/ 5998139 w 6689088"/>
                <a:gd name="connsiteY1630" fmla="*/ 2662852 h 6689084"/>
                <a:gd name="connsiteX1631" fmla="*/ 6025372 w 6689088"/>
                <a:gd name="connsiteY1631" fmla="*/ 2690085 h 6689084"/>
                <a:gd name="connsiteX1632" fmla="*/ 5998139 w 6689088"/>
                <a:gd name="connsiteY1632" fmla="*/ 2717317 h 6689084"/>
                <a:gd name="connsiteX1633" fmla="*/ 5970907 w 6689088"/>
                <a:gd name="connsiteY1633" fmla="*/ 2690085 h 6689084"/>
                <a:gd name="connsiteX1634" fmla="*/ 5998139 w 6689088"/>
                <a:gd name="connsiteY1634" fmla="*/ 2662852 h 6689084"/>
                <a:gd name="connsiteX1635" fmla="*/ 6152083 w 6689088"/>
                <a:gd name="connsiteY1635" fmla="*/ 2660310 h 6689084"/>
                <a:gd name="connsiteX1636" fmla="*/ 6181858 w 6689088"/>
                <a:gd name="connsiteY1636" fmla="*/ 2690081 h 6689084"/>
                <a:gd name="connsiteX1637" fmla="*/ 6152083 w 6689088"/>
                <a:gd name="connsiteY1637" fmla="*/ 2719856 h 6689084"/>
                <a:gd name="connsiteX1638" fmla="*/ 6122312 w 6689088"/>
                <a:gd name="connsiteY1638" fmla="*/ 2690081 h 6689084"/>
                <a:gd name="connsiteX1639" fmla="*/ 6152083 w 6689088"/>
                <a:gd name="connsiteY1639" fmla="*/ 2660310 h 6689084"/>
                <a:gd name="connsiteX1640" fmla="*/ 6305668 w 6689088"/>
                <a:gd name="connsiteY1640" fmla="*/ 2658133 h 6689084"/>
                <a:gd name="connsiteX1641" fmla="*/ 6337620 w 6689088"/>
                <a:gd name="connsiteY1641" fmla="*/ 2690085 h 6689084"/>
                <a:gd name="connsiteX1642" fmla="*/ 6305668 w 6689088"/>
                <a:gd name="connsiteY1642" fmla="*/ 2722036 h 6689084"/>
                <a:gd name="connsiteX1643" fmla="*/ 6273716 w 6689088"/>
                <a:gd name="connsiteY1643" fmla="*/ 2690085 h 6689084"/>
                <a:gd name="connsiteX1644" fmla="*/ 6305668 w 6689088"/>
                <a:gd name="connsiteY1644" fmla="*/ 2658133 h 6689084"/>
                <a:gd name="connsiteX1645" fmla="*/ 6459616 w 6689088"/>
                <a:gd name="connsiteY1645" fmla="*/ 2656319 h 6689084"/>
                <a:gd name="connsiteX1646" fmla="*/ 6493385 w 6689088"/>
                <a:gd name="connsiteY1646" fmla="*/ 2690085 h 6689084"/>
                <a:gd name="connsiteX1647" fmla="*/ 6459616 w 6689088"/>
                <a:gd name="connsiteY1647" fmla="*/ 2723850 h 6689084"/>
                <a:gd name="connsiteX1648" fmla="*/ 6425850 w 6689088"/>
                <a:gd name="connsiteY1648" fmla="*/ 2690085 h 6689084"/>
                <a:gd name="connsiteX1649" fmla="*/ 6459616 w 6689088"/>
                <a:gd name="connsiteY1649" fmla="*/ 2656319 h 6689084"/>
                <a:gd name="connsiteX1650" fmla="*/ 6613200 w 6689088"/>
                <a:gd name="connsiteY1650" fmla="*/ 2653777 h 6689084"/>
                <a:gd name="connsiteX1651" fmla="*/ 6649509 w 6689088"/>
                <a:gd name="connsiteY1651" fmla="*/ 2690085 h 6689084"/>
                <a:gd name="connsiteX1652" fmla="*/ 6613200 w 6689088"/>
                <a:gd name="connsiteY1652" fmla="*/ 2726393 h 6689084"/>
                <a:gd name="connsiteX1653" fmla="*/ 6576892 w 6689088"/>
                <a:gd name="connsiteY1653" fmla="*/ 2690085 h 6689084"/>
                <a:gd name="connsiteX1654" fmla="*/ 6613200 w 6689088"/>
                <a:gd name="connsiteY1654" fmla="*/ 2653777 h 6689084"/>
                <a:gd name="connsiteX1655" fmla="*/ 3230349 w 6689088"/>
                <a:gd name="connsiteY1655" fmla="*/ 2536137 h 6689084"/>
                <a:gd name="connsiteX1656" fmla="*/ 3230715 w 6689088"/>
                <a:gd name="connsiteY1656" fmla="*/ 2536499 h 6689084"/>
                <a:gd name="connsiteX1657" fmla="*/ 3230349 w 6689088"/>
                <a:gd name="connsiteY1657" fmla="*/ 2536866 h 6689084"/>
                <a:gd name="connsiteX1658" fmla="*/ 3229987 w 6689088"/>
                <a:gd name="connsiteY1658" fmla="*/ 2536499 h 6689084"/>
                <a:gd name="connsiteX1659" fmla="*/ 3230349 w 6689088"/>
                <a:gd name="connsiteY1659" fmla="*/ 2536137 h 6689084"/>
                <a:gd name="connsiteX1660" fmla="*/ 2768873 w 6689088"/>
                <a:gd name="connsiteY1660" fmla="*/ 2536137 h 6689084"/>
                <a:gd name="connsiteX1661" fmla="*/ 2769235 w 6689088"/>
                <a:gd name="connsiteY1661" fmla="*/ 2536499 h 6689084"/>
                <a:gd name="connsiteX1662" fmla="*/ 2768873 w 6689088"/>
                <a:gd name="connsiteY1662" fmla="*/ 2536866 h 6689084"/>
                <a:gd name="connsiteX1663" fmla="*/ 2768511 w 6689088"/>
                <a:gd name="connsiteY1663" fmla="*/ 2536499 h 6689084"/>
                <a:gd name="connsiteX1664" fmla="*/ 2768873 w 6689088"/>
                <a:gd name="connsiteY1664" fmla="*/ 2536137 h 6689084"/>
                <a:gd name="connsiteX1665" fmla="*/ 2614925 w 6689088"/>
                <a:gd name="connsiteY1665" fmla="*/ 2536137 h 6689084"/>
                <a:gd name="connsiteX1666" fmla="*/ 2615288 w 6689088"/>
                <a:gd name="connsiteY1666" fmla="*/ 2536499 h 6689084"/>
                <a:gd name="connsiteX1667" fmla="*/ 2614925 w 6689088"/>
                <a:gd name="connsiteY1667" fmla="*/ 2536866 h 6689084"/>
                <a:gd name="connsiteX1668" fmla="*/ 2614563 w 6689088"/>
                <a:gd name="connsiteY1668" fmla="*/ 2536499 h 6689084"/>
                <a:gd name="connsiteX1669" fmla="*/ 2614925 w 6689088"/>
                <a:gd name="connsiteY1669" fmla="*/ 2536137 h 6689084"/>
                <a:gd name="connsiteX1670" fmla="*/ 2461344 w 6689088"/>
                <a:gd name="connsiteY1670" fmla="*/ 2535771 h 6689084"/>
                <a:gd name="connsiteX1671" fmla="*/ 2462068 w 6689088"/>
                <a:gd name="connsiteY1671" fmla="*/ 2536499 h 6689084"/>
                <a:gd name="connsiteX1672" fmla="*/ 2461344 w 6689088"/>
                <a:gd name="connsiteY1672" fmla="*/ 2537224 h 6689084"/>
                <a:gd name="connsiteX1673" fmla="*/ 2460616 w 6689088"/>
                <a:gd name="connsiteY1673" fmla="*/ 2536499 h 6689084"/>
                <a:gd name="connsiteX1674" fmla="*/ 2461344 w 6689088"/>
                <a:gd name="connsiteY1674" fmla="*/ 2535771 h 6689084"/>
                <a:gd name="connsiteX1675" fmla="*/ 3383938 w 6689088"/>
                <a:gd name="connsiteY1675" fmla="*/ 2535047 h 6689084"/>
                <a:gd name="connsiteX1676" fmla="*/ 3385390 w 6689088"/>
                <a:gd name="connsiteY1676" fmla="*/ 2536499 h 6689084"/>
                <a:gd name="connsiteX1677" fmla="*/ 3383938 w 6689088"/>
                <a:gd name="connsiteY1677" fmla="*/ 2537952 h 6689084"/>
                <a:gd name="connsiteX1678" fmla="*/ 3382486 w 6689088"/>
                <a:gd name="connsiteY1678" fmla="*/ 2536499 h 6689084"/>
                <a:gd name="connsiteX1679" fmla="*/ 3383938 w 6689088"/>
                <a:gd name="connsiteY1679" fmla="*/ 2535047 h 6689084"/>
                <a:gd name="connsiteX1680" fmla="*/ 3537886 w 6689088"/>
                <a:gd name="connsiteY1680" fmla="*/ 2534323 h 6689084"/>
                <a:gd name="connsiteX1681" fmla="*/ 3540062 w 6689088"/>
                <a:gd name="connsiteY1681" fmla="*/ 2536503 h 6689084"/>
                <a:gd name="connsiteX1682" fmla="*/ 3537886 w 6689088"/>
                <a:gd name="connsiteY1682" fmla="*/ 2538680 h 6689084"/>
                <a:gd name="connsiteX1683" fmla="*/ 3535705 w 6689088"/>
                <a:gd name="connsiteY1683" fmla="*/ 2536503 h 6689084"/>
                <a:gd name="connsiteX1684" fmla="*/ 3537886 w 6689088"/>
                <a:gd name="connsiteY1684" fmla="*/ 2534323 h 6689084"/>
                <a:gd name="connsiteX1685" fmla="*/ 3691467 w 6689088"/>
                <a:gd name="connsiteY1685" fmla="*/ 2533233 h 6689084"/>
                <a:gd name="connsiteX1686" fmla="*/ 3694738 w 6689088"/>
                <a:gd name="connsiteY1686" fmla="*/ 2536499 h 6689084"/>
                <a:gd name="connsiteX1687" fmla="*/ 3691467 w 6689088"/>
                <a:gd name="connsiteY1687" fmla="*/ 2539770 h 6689084"/>
                <a:gd name="connsiteX1688" fmla="*/ 3688200 w 6689088"/>
                <a:gd name="connsiteY1688" fmla="*/ 2536499 h 6689084"/>
                <a:gd name="connsiteX1689" fmla="*/ 3691467 w 6689088"/>
                <a:gd name="connsiteY1689" fmla="*/ 2533233 h 6689084"/>
                <a:gd name="connsiteX1690" fmla="*/ 3845414 w 6689088"/>
                <a:gd name="connsiteY1690" fmla="*/ 2531780 h 6689084"/>
                <a:gd name="connsiteX1691" fmla="*/ 3849771 w 6689088"/>
                <a:gd name="connsiteY1691" fmla="*/ 2536137 h 6689084"/>
                <a:gd name="connsiteX1692" fmla="*/ 3845414 w 6689088"/>
                <a:gd name="connsiteY1692" fmla="*/ 2540494 h 6689084"/>
                <a:gd name="connsiteX1693" fmla="*/ 3841057 w 6689088"/>
                <a:gd name="connsiteY1693" fmla="*/ 2536137 h 6689084"/>
                <a:gd name="connsiteX1694" fmla="*/ 3845414 w 6689088"/>
                <a:gd name="connsiteY1694" fmla="*/ 2531780 h 6689084"/>
                <a:gd name="connsiteX1695" fmla="*/ 3999000 w 6689088"/>
                <a:gd name="connsiteY1695" fmla="*/ 2530690 h 6689084"/>
                <a:gd name="connsiteX1696" fmla="*/ 4004809 w 6689088"/>
                <a:gd name="connsiteY1696" fmla="*/ 2536499 h 6689084"/>
                <a:gd name="connsiteX1697" fmla="*/ 3999000 w 6689088"/>
                <a:gd name="connsiteY1697" fmla="*/ 2542309 h 6689084"/>
                <a:gd name="connsiteX1698" fmla="*/ 3993190 w 6689088"/>
                <a:gd name="connsiteY1698" fmla="*/ 2536499 h 6689084"/>
                <a:gd name="connsiteX1699" fmla="*/ 3999000 w 6689088"/>
                <a:gd name="connsiteY1699" fmla="*/ 2530690 h 6689084"/>
                <a:gd name="connsiteX1700" fmla="*/ 4152947 w 6689088"/>
                <a:gd name="connsiteY1700" fmla="*/ 2528876 h 6689084"/>
                <a:gd name="connsiteX1701" fmla="*/ 4160208 w 6689088"/>
                <a:gd name="connsiteY1701" fmla="*/ 2536137 h 6689084"/>
                <a:gd name="connsiteX1702" fmla="*/ 4152947 w 6689088"/>
                <a:gd name="connsiteY1702" fmla="*/ 2543399 h 6689084"/>
                <a:gd name="connsiteX1703" fmla="*/ 4145686 w 6689088"/>
                <a:gd name="connsiteY1703" fmla="*/ 2536137 h 6689084"/>
                <a:gd name="connsiteX1704" fmla="*/ 4152947 w 6689088"/>
                <a:gd name="connsiteY1704" fmla="*/ 2528876 h 6689084"/>
                <a:gd name="connsiteX1705" fmla="*/ 4306528 w 6689088"/>
                <a:gd name="connsiteY1705" fmla="*/ 2527058 h 6689084"/>
                <a:gd name="connsiteX1706" fmla="*/ 4315608 w 6689088"/>
                <a:gd name="connsiteY1706" fmla="*/ 2536133 h 6689084"/>
                <a:gd name="connsiteX1707" fmla="*/ 4306528 w 6689088"/>
                <a:gd name="connsiteY1707" fmla="*/ 2545213 h 6689084"/>
                <a:gd name="connsiteX1708" fmla="*/ 4297452 w 6689088"/>
                <a:gd name="connsiteY1708" fmla="*/ 2536133 h 6689084"/>
                <a:gd name="connsiteX1709" fmla="*/ 4306528 w 6689088"/>
                <a:gd name="connsiteY1709" fmla="*/ 2527058 h 6689084"/>
                <a:gd name="connsiteX1710" fmla="*/ 4460480 w 6689088"/>
                <a:gd name="connsiteY1710" fmla="*/ 2526333 h 6689084"/>
                <a:gd name="connsiteX1711" fmla="*/ 4470646 w 6689088"/>
                <a:gd name="connsiteY1711" fmla="*/ 2536499 h 6689084"/>
                <a:gd name="connsiteX1712" fmla="*/ 4460480 w 6689088"/>
                <a:gd name="connsiteY1712" fmla="*/ 2546666 h 6689084"/>
                <a:gd name="connsiteX1713" fmla="*/ 4450314 w 6689088"/>
                <a:gd name="connsiteY1713" fmla="*/ 2536499 h 6689084"/>
                <a:gd name="connsiteX1714" fmla="*/ 4460480 w 6689088"/>
                <a:gd name="connsiteY1714" fmla="*/ 2526333 h 6689084"/>
                <a:gd name="connsiteX1715" fmla="*/ 4614061 w 6689088"/>
                <a:gd name="connsiteY1715" fmla="*/ 2524153 h 6689084"/>
                <a:gd name="connsiteX1716" fmla="*/ 4626046 w 6689088"/>
                <a:gd name="connsiteY1716" fmla="*/ 2536133 h 6689084"/>
                <a:gd name="connsiteX1717" fmla="*/ 4614061 w 6689088"/>
                <a:gd name="connsiteY1717" fmla="*/ 2548118 h 6689084"/>
                <a:gd name="connsiteX1718" fmla="*/ 4602080 w 6689088"/>
                <a:gd name="connsiteY1718" fmla="*/ 2536133 h 6689084"/>
                <a:gd name="connsiteX1719" fmla="*/ 4614061 w 6689088"/>
                <a:gd name="connsiteY1719" fmla="*/ 2524153 h 6689084"/>
                <a:gd name="connsiteX1720" fmla="*/ 4768012 w 6689088"/>
                <a:gd name="connsiteY1720" fmla="*/ 2522338 h 6689084"/>
                <a:gd name="connsiteX1721" fmla="*/ 4781808 w 6689088"/>
                <a:gd name="connsiteY1721" fmla="*/ 2536133 h 6689084"/>
                <a:gd name="connsiteX1722" fmla="*/ 4768012 w 6689088"/>
                <a:gd name="connsiteY1722" fmla="*/ 2549933 h 6689084"/>
                <a:gd name="connsiteX1723" fmla="*/ 4754214 w 6689088"/>
                <a:gd name="connsiteY1723" fmla="*/ 2536133 h 6689084"/>
                <a:gd name="connsiteX1724" fmla="*/ 4768012 w 6689088"/>
                <a:gd name="connsiteY1724" fmla="*/ 2522338 h 6689084"/>
                <a:gd name="connsiteX1725" fmla="*/ 4921594 w 6689088"/>
                <a:gd name="connsiteY1725" fmla="*/ 2521252 h 6689084"/>
                <a:gd name="connsiteX1726" fmla="*/ 4936845 w 6689088"/>
                <a:gd name="connsiteY1726" fmla="*/ 2536503 h 6689084"/>
                <a:gd name="connsiteX1727" fmla="*/ 4921594 w 6689088"/>
                <a:gd name="connsiteY1727" fmla="*/ 2551751 h 6689084"/>
                <a:gd name="connsiteX1728" fmla="*/ 4906346 w 6689088"/>
                <a:gd name="connsiteY1728" fmla="*/ 2536503 h 6689084"/>
                <a:gd name="connsiteX1729" fmla="*/ 4921594 w 6689088"/>
                <a:gd name="connsiteY1729" fmla="*/ 2521252 h 6689084"/>
                <a:gd name="connsiteX1730" fmla="*/ 5075545 w 6689088"/>
                <a:gd name="connsiteY1730" fmla="*/ 2519071 h 6689084"/>
                <a:gd name="connsiteX1731" fmla="*/ 5092611 w 6689088"/>
                <a:gd name="connsiteY1731" fmla="*/ 2536137 h 6689084"/>
                <a:gd name="connsiteX1732" fmla="*/ 5075545 w 6689088"/>
                <a:gd name="connsiteY1732" fmla="*/ 2553203 h 6689084"/>
                <a:gd name="connsiteX1733" fmla="*/ 5058479 w 6689088"/>
                <a:gd name="connsiteY1733" fmla="*/ 2536137 h 6689084"/>
                <a:gd name="connsiteX1734" fmla="*/ 5075545 w 6689088"/>
                <a:gd name="connsiteY1734" fmla="*/ 2519071 h 6689084"/>
                <a:gd name="connsiteX1735" fmla="*/ 5229126 w 6689088"/>
                <a:gd name="connsiteY1735" fmla="*/ 2517257 h 6689084"/>
                <a:gd name="connsiteX1736" fmla="*/ 5248369 w 6689088"/>
                <a:gd name="connsiteY1736" fmla="*/ 2536499 h 6689084"/>
                <a:gd name="connsiteX1737" fmla="*/ 5229126 w 6689088"/>
                <a:gd name="connsiteY1737" fmla="*/ 2555742 h 6689084"/>
                <a:gd name="connsiteX1738" fmla="*/ 5209884 w 6689088"/>
                <a:gd name="connsiteY1738" fmla="*/ 2536499 h 6689084"/>
                <a:gd name="connsiteX1739" fmla="*/ 5229126 w 6689088"/>
                <a:gd name="connsiteY1739" fmla="*/ 2517257 h 6689084"/>
                <a:gd name="connsiteX1740" fmla="*/ 5383074 w 6689088"/>
                <a:gd name="connsiteY1740" fmla="*/ 2514714 h 6689084"/>
                <a:gd name="connsiteX1741" fmla="*/ 5404496 w 6689088"/>
                <a:gd name="connsiteY1741" fmla="*/ 2536137 h 6689084"/>
                <a:gd name="connsiteX1742" fmla="*/ 5383074 w 6689088"/>
                <a:gd name="connsiteY1742" fmla="*/ 2557560 h 6689084"/>
                <a:gd name="connsiteX1743" fmla="*/ 5361651 w 6689088"/>
                <a:gd name="connsiteY1743" fmla="*/ 2536137 h 6689084"/>
                <a:gd name="connsiteX1744" fmla="*/ 5383074 w 6689088"/>
                <a:gd name="connsiteY1744" fmla="*/ 2514714 h 6689084"/>
                <a:gd name="connsiteX1745" fmla="*/ 5536659 w 6689088"/>
                <a:gd name="connsiteY1745" fmla="*/ 2513624 h 6689084"/>
                <a:gd name="connsiteX1746" fmla="*/ 5559534 w 6689088"/>
                <a:gd name="connsiteY1746" fmla="*/ 2536499 h 6689084"/>
                <a:gd name="connsiteX1747" fmla="*/ 5536659 w 6689088"/>
                <a:gd name="connsiteY1747" fmla="*/ 2559371 h 6689084"/>
                <a:gd name="connsiteX1748" fmla="*/ 5513784 w 6689088"/>
                <a:gd name="connsiteY1748" fmla="*/ 2536499 h 6689084"/>
                <a:gd name="connsiteX1749" fmla="*/ 5536659 w 6689088"/>
                <a:gd name="connsiteY1749" fmla="*/ 2513624 h 6689084"/>
                <a:gd name="connsiteX1750" fmla="*/ 5690602 w 6689088"/>
                <a:gd name="connsiteY1750" fmla="*/ 2511448 h 6689084"/>
                <a:gd name="connsiteX1751" fmla="*/ 5715658 w 6689088"/>
                <a:gd name="connsiteY1751" fmla="*/ 2536499 h 6689084"/>
                <a:gd name="connsiteX1752" fmla="*/ 5690602 w 6689088"/>
                <a:gd name="connsiteY1752" fmla="*/ 2561555 h 6689084"/>
                <a:gd name="connsiteX1753" fmla="*/ 5665551 w 6689088"/>
                <a:gd name="connsiteY1753" fmla="*/ 2536499 h 6689084"/>
                <a:gd name="connsiteX1754" fmla="*/ 5690602 w 6689088"/>
                <a:gd name="connsiteY1754" fmla="*/ 2511448 h 6689084"/>
                <a:gd name="connsiteX1755" fmla="*/ 5844554 w 6689088"/>
                <a:gd name="connsiteY1755" fmla="*/ 2509267 h 6689084"/>
                <a:gd name="connsiteX1756" fmla="*/ 5871786 w 6689088"/>
                <a:gd name="connsiteY1756" fmla="*/ 2536499 h 6689084"/>
                <a:gd name="connsiteX1757" fmla="*/ 5844554 w 6689088"/>
                <a:gd name="connsiteY1757" fmla="*/ 2563732 h 6689084"/>
                <a:gd name="connsiteX1758" fmla="*/ 5817322 w 6689088"/>
                <a:gd name="connsiteY1758" fmla="*/ 2536499 h 6689084"/>
                <a:gd name="connsiteX1759" fmla="*/ 5844554 w 6689088"/>
                <a:gd name="connsiteY1759" fmla="*/ 2509267 h 6689084"/>
                <a:gd name="connsiteX1760" fmla="*/ 5998136 w 6689088"/>
                <a:gd name="connsiteY1760" fmla="*/ 2506729 h 6689084"/>
                <a:gd name="connsiteX1761" fmla="*/ 6027910 w 6689088"/>
                <a:gd name="connsiteY1761" fmla="*/ 2536503 h 6689084"/>
                <a:gd name="connsiteX1762" fmla="*/ 5998136 w 6689088"/>
                <a:gd name="connsiteY1762" fmla="*/ 2566274 h 6689084"/>
                <a:gd name="connsiteX1763" fmla="*/ 5968364 w 6689088"/>
                <a:gd name="connsiteY1763" fmla="*/ 2536503 h 6689084"/>
                <a:gd name="connsiteX1764" fmla="*/ 5998136 w 6689088"/>
                <a:gd name="connsiteY1764" fmla="*/ 2506729 h 6689084"/>
                <a:gd name="connsiteX1765" fmla="*/ 6152086 w 6689088"/>
                <a:gd name="connsiteY1765" fmla="*/ 2504548 h 6689084"/>
                <a:gd name="connsiteX1766" fmla="*/ 6184038 w 6689088"/>
                <a:gd name="connsiteY1766" fmla="*/ 2536499 h 6689084"/>
                <a:gd name="connsiteX1767" fmla="*/ 6152086 w 6689088"/>
                <a:gd name="connsiteY1767" fmla="*/ 2568451 h 6689084"/>
                <a:gd name="connsiteX1768" fmla="*/ 6120135 w 6689088"/>
                <a:gd name="connsiteY1768" fmla="*/ 2536499 h 6689084"/>
                <a:gd name="connsiteX1769" fmla="*/ 6152086 w 6689088"/>
                <a:gd name="connsiteY1769" fmla="*/ 2504548 h 6689084"/>
                <a:gd name="connsiteX1770" fmla="*/ 6305668 w 6689088"/>
                <a:gd name="connsiteY1770" fmla="*/ 2502734 h 6689084"/>
                <a:gd name="connsiteX1771" fmla="*/ 6339438 w 6689088"/>
                <a:gd name="connsiteY1771" fmla="*/ 2536499 h 6689084"/>
                <a:gd name="connsiteX1772" fmla="*/ 6305668 w 6689088"/>
                <a:gd name="connsiteY1772" fmla="*/ 2570269 h 6689084"/>
                <a:gd name="connsiteX1773" fmla="*/ 6271902 w 6689088"/>
                <a:gd name="connsiteY1773" fmla="*/ 2536499 h 6689084"/>
                <a:gd name="connsiteX1774" fmla="*/ 6305668 w 6689088"/>
                <a:gd name="connsiteY1774" fmla="*/ 2502734 h 6689084"/>
                <a:gd name="connsiteX1775" fmla="*/ 6459616 w 6689088"/>
                <a:gd name="connsiteY1775" fmla="*/ 2500191 h 6689084"/>
                <a:gd name="connsiteX1776" fmla="*/ 6495924 w 6689088"/>
                <a:gd name="connsiteY1776" fmla="*/ 2536499 h 6689084"/>
                <a:gd name="connsiteX1777" fmla="*/ 6459616 w 6689088"/>
                <a:gd name="connsiteY1777" fmla="*/ 2572808 h 6689084"/>
                <a:gd name="connsiteX1778" fmla="*/ 6423307 w 6689088"/>
                <a:gd name="connsiteY1778" fmla="*/ 2536499 h 6689084"/>
                <a:gd name="connsiteX1779" fmla="*/ 6459616 w 6689088"/>
                <a:gd name="connsiteY1779" fmla="*/ 2500191 h 6689084"/>
                <a:gd name="connsiteX1780" fmla="*/ 6613200 w 6689088"/>
                <a:gd name="connsiteY1780" fmla="*/ 2497648 h 6689084"/>
                <a:gd name="connsiteX1781" fmla="*/ 6652048 w 6689088"/>
                <a:gd name="connsiteY1781" fmla="*/ 2536499 h 6689084"/>
                <a:gd name="connsiteX1782" fmla="*/ 6613200 w 6689088"/>
                <a:gd name="connsiteY1782" fmla="*/ 2575350 h 6689084"/>
                <a:gd name="connsiteX1783" fmla="*/ 6574350 w 6689088"/>
                <a:gd name="connsiteY1783" fmla="*/ 2536499 h 6689084"/>
                <a:gd name="connsiteX1784" fmla="*/ 6613200 w 6689088"/>
                <a:gd name="connsiteY1784" fmla="*/ 2497648 h 6689084"/>
                <a:gd name="connsiteX1785" fmla="*/ 3076406 w 6689088"/>
                <a:gd name="connsiteY1785" fmla="*/ 2382190 h 6689084"/>
                <a:gd name="connsiteX1786" fmla="*/ 3076768 w 6689088"/>
                <a:gd name="connsiteY1786" fmla="*/ 2382552 h 6689084"/>
                <a:gd name="connsiteX1787" fmla="*/ 3076406 w 6689088"/>
                <a:gd name="connsiteY1787" fmla="*/ 2382914 h 6689084"/>
                <a:gd name="connsiteX1788" fmla="*/ 3076043 w 6689088"/>
                <a:gd name="connsiteY1788" fmla="*/ 2382552 h 6689084"/>
                <a:gd name="connsiteX1789" fmla="*/ 3076406 w 6689088"/>
                <a:gd name="connsiteY1789" fmla="*/ 2382190 h 6689084"/>
                <a:gd name="connsiteX1790" fmla="*/ 2614925 w 6689088"/>
                <a:gd name="connsiteY1790" fmla="*/ 2382190 h 6689084"/>
                <a:gd name="connsiteX1791" fmla="*/ 2615288 w 6689088"/>
                <a:gd name="connsiteY1791" fmla="*/ 2382552 h 6689084"/>
                <a:gd name="connsiteX1792" fmla="*/ 2614925 w 6689088"/>
                <a:gd name="connsiteY1792" fmla="*/ 2382914 h 6689084"/>
                <a:gd name="connsiteX1793" fmla="*/ 2614563 w 6689088"/>
                <a:gd name="connsiteY1793" fmla="*/ 2382552 h 6689084"/>
                <a:gd name="connsiteX1794" fmla="*/ 2614925 w 6689088"/>
                <a:gd name="connsiteY1794" fmla="*/ 2382190 h 6689084"/>
                <a:gd name="connsiteX1795" fmla="*/ 2461340 w 6689088"/>
                <a:gd name="connsiteY1795" fmla="*/ 2382190 h 6689084"/>
                <a:gd name="connsiteX1796" fmla="*/ 2461702 w 6689088"/>
                <a:gd name="connsiteY1796" fmla="*/ 2382552 h 6689084"/>
                <a:gd name="connsiteX1797" fmla="*/ 2461340 w 6689088"/>
                <a:gd name="connsiteY1797" fmla="*/ 2382914 h 6689084"/>
                <a:gd name="connsiteX1798" fmla="*/ 2460978 w 6689088"/>
                <a:gd name="connsiteY1798" fmla="*/ 2382552 h 6689084"/>
                <a:gd name="connsiteX1799" fmla="*/ 2461340 w 6689088"/>
                <a:gd name="connsiteY1799" fmla="*/ 2382190 h 6689084"/>
                <a:gd name="connsiteX1800" fmla="*/ 2307393 w 6689088"/>
                <a:gd name="connsiteY1800" fmla="*/ 2381824 h 6689084"/>
                <a:gd name="connsiteX1801" fmla="*/ 2308121 w 6689088"/>
                <a:gd name="connsiteY1801" fmla="*/ 2382552 h 6689084"/>
                <a:gd name="connsiteX1802" fmla="*/ 2307393 w 6689088"/>
                <a:gd name="connsiteY1802" fmla="*/ 2383276 h 6689084"/>
                <a:gd name="connsiteX1803" fmla="*/ 2306669 w 6689088"/>
                <a:gd name="connsiteY1803" fmla="*/ 2382552 h 6689084"/>
                <a:gd name="connsiteX1804" fmla="*/ 2307393 w 6689088"/>
                <a:gd name="connsiteY1804" fmla="*/ 2381824 h 6689084"/>
                <a:gd name="connsiteX1805" fmla="*/ 3230353 w 6689088"/>
                <a:gd name="connsiteY1805" fmla="*/ 2381100 h 6689084"/>
                <a:gd name="connsiteX1806" fmla="*/ 3231805 w 6689088"/>
                <a:gd name="connsiteY1806" fmla="*/ 2382552 h 6689084"/>
                <a:gd name="connsiteX1807" fmla="*/ 3230353 w 6689088"/>
                <a:gd name="connsiteY1807" fmla="*/ 2384005 h 6689084"/>
                <a:gd name="connsiteX1808" fmla="*/ 3228900 w 6689088"/>
                <a:gd name="connsiteY1808" fmla="*/ 2382552 h 6689084"/>
                <a:gd name="connsiteX1809" fmla="*/ 3230353 w 6689088"/>
                <a:gd name="connsiteY1809" fmla="*/ 2381100 h 6689084"/>
                <a:gd name="connsiteX1810" fmla="*/ 3383938 w 6689088"/>
                <a:gd name="connsiteY1810" fmla="*/ 2380375 h 6689084"/>
                <a:gd name="connsiteX1811" fmla="*/ 3386115 w 6689088"/>
                <a:gd name="connsiteY1811" fmla="*/ 2382556 h 6689084"/>
                <a:gd name="connsiteX1812" fmla="*/ 3383938 w 6689088"/>
                <a:gd name="connsiteY1812" fmla="*/ 2384732 h 6689084"/>
                <a:gd name="connsiteX1813" fmla="*/ 3381758 w 6689088"/>
                <a:gd name="connsiteY1813" fmla="*/ 2382556 h 6689084"/>
                <a:gd name="connsiteX1814" fmla="*/ 3383938 w 6689088"/>
                <a:gd name="connsiteY1814" fmla="*/ 2380375 h 6689084"/>
                <a:gd name="connsiteX1815" fmla="*/ 3537882 w 6689088"/>
                <a:gd name="connsiteY1815" fmla="*/ 2379285 h 6689084"/>
                <a:gd name="connsiteX1816" fmla="*/ 3541148 w 6689088"/>
                <a:gd name="connsiteY1816" fmla="*/ 2382552 h 6689084"/>
                <a:gd name="connsiteX1817" fmla="*/ 3537882 w 6689088"/>
                <a:gd name="connsiteY1817" fmla="*/ 2385823 h 6689084"/>
                <a:gd name="connsiteX1818" fmla="*/ 3534615 w 6689088"/>
                <a:gd name="connsiteY1818" fmla="*/ 2382552 h 6689084"/>
                <a:gd name="connsiteX1819" fmla="*/ 3537882 w 6689088"/>
                <a:gd name="connsiteY1819" fmla="*/ 2379285 h 6689084"/>
                <a:gd name="connsiteX1820" fmla="*/ 3691467 w 6689088"/>
                <a:gd name="connsiteY1820" fmla="*/ 2378195 h 6689084"/>
                <a:gd name="connsiteX1821" fmla="*/ 3695824 w 6689088"/>
                <a:gd name="connsiteY1821" fmla="*/ 2382552 h 6689084"/>
                <a:gd name="connsiteX1822" fmla="*/ 3691467 w 6689088"/>
                <a:gd name="connsiteY1822" fmla="*/ 2386909 h 6689084"/>
                <a:gd name="connsiteX1823" fmla="*/ 3687110 w 6689088"/>
                <a:gd name="connsiteY1823" fmla="*/ 2382552 h 6689084"/>
                <a:gd name="connsiteX1824" fmla="*/ 3691467 w 6689088"/>
                <a:gd name="connsiteY1824" fmla="*/ 2378195 h 6689084"/>
                <a:gd name="connsiteX1825" fmla="*/ 3845414 w 6689088"/>
                <a:gd name="connsiteY1825" fmla="*/ 2376743 h 6689084"/>
                <a:gd name="connsiteX1826" fmla="*/ 3851224 w 6689088"/>
                <a:gd name="connsiteY1826" fmla="*/ 2382552 h 6689084"/>
                <a:gd name="connsiteX1827" fmla="*/ 3845414 w 6689088"/>
                <a:gd name="connsiteY1827" fmla="*/ 2388361 h 6689084"/>
                <a:gd name="connsiteX1828" fmla="*/ 3839605 w 6689088"/>
                <a:gd name="connsiteY1828" fmla="*/ 2382552 h 6689084"/>
                <a:gd name="connsiteX1829" fmla="*/ 3845414 w 6689088"/>
                <a:gd name="connsiteY1829" fmla="*/ 2376743 h 6689084"/>
                <a:gd name="connsiteX1830" fmla="*/ 3999000 w 6689088"/>
                <a:gd name="connsiteY1830" fmla="*/ 2375290 h 6689084"/>
                <a:gd name="connsiteX1831" fmla="*/ 4006261 w 6689088"/>
                <a:gd name="connsiteY1831" fmla="*/ 2382552 h 6689084"/>
                <a:gd name="connsiteX1832" fmla="*/ 3999000 w 6689088"/>
                <a:gd name="connsiteY1832" fmla="*/ 2389814 h 6689084"/>
                <a:gd name="connsiteX1833" fmla="*/ 3991738 w 6689088"/>
                <a:gd name="connsiteY1833" fmla="*/ 2382552 h 6689084"/>
                <a:gd name="connsiteX1834" fmla="*/ 3999000 w 6689088"/>
                <a:gd name="connsiteY1834" fmla="*/ 2375290 h 6689084"/>
                <a:gd name="connsiteX1835" fmla="*/ 4152947 w 6689088"/>
                <a:gd name="connsiteY1835" fmla="*/ 2373476 h 6689084"/>
                <a:gd name="connsiteX1836" fmla="*/ 4162027 w 6689088"/>
                <a:gd name="connsiteY1836" fmla="*/ 2382552 h 6689084"/>
                <a:gd name="connsiteX1837" fmla="*/ 4152947 w 6689088"/>
                <a:gd name="connsiteY1837" fmla="*/ 2391632 h 6689084"/>
                <a:gd name="connsiteX1838" fmla="*/ 4143871 w 6689088"/>
                <a:gd name="connsiteY1838" fmla="*/ 2382552 h 6689084"/>
                <a:gd name="connsiteX1839" fmla="*/ 4152947 w 6689088"/>
                <a:gd name="connsiteY1839" fmla="*/ 2373476 h 6689084"/>
                <a:gd name="connsiteX1840" fmla="*/ 4306532 w 6689088"/>
                <a:gd name="connsiteY1840" fmla="*/ 2372386 h 6689084"/>
                <a:gd name="connsiteX1841" fmla="*/ 4316698 w 6689088"/>
                <a:gd name="connsiteY1841" fmla="*/ 2382552 h 6689084"/>
                <a:gd name="connsiteX1842" fmla="*/ 4306532 w 6689088"/>
                <a:gd name="connsiteY1842" fmla="*/ 2392718 h 6689084"/>
                <a:gd name="connsiteX1843" fmla="*/ 4296366 w 6689088"/>
                <a:gd name="connsiteY1843" fmla="*/ 2382552 h 6689084"/>
                <a:gd name="connsiteX1844" fmla="*/ 4306532 w 6689088"/>
                <a:gd name="connsiteY1844" fmla="*/ 2372386 h 6689084"/>
                <a:gd name="connsiteX1845" fmla="*/ 4460476 w 6689088"/>
                <a:gd name="connsiteY1845" fmla="*/ 2370571 h 6689084"/>
                <a:gd name="connsiteX1846" fmla="*/ 4472460 w 6689088"/>
                <a:gd name="connsiteY1846" fmla="*/ 2382552 h 6689084"/>
                <a:gd name="connsiteX1847" fmla="*/ 4460476 w 6689088"/>
                <a:gd name="connsiteY1847" fmla="*/ 2394533 h 6689084"/>
                <a:gd name="connsiteX1848" fmla="*/ 4448495 w 6689088"/>
                <a:gd name="connsiteY1848" fmla="*/ 2382552 h 6689084"/>
                <a:gd name="connsiteX1849" fmla="*/ 4460476 w 6689088"/>
                <a:gd name="connsiteY1849" fmla="*/ 2370571 h 6689084"/>
                <a:gd name="connsiteX1850" fmla="*/ 4614065 w 6689088"/>
                <a:gd name="connsiteY1850" fmla="*/ 2368753 h 6689084"/>
                <a:gd name="connsiteX1851" fmla="*/ 4627860 w 6689088"/>
                <a:gd name="connsiteY1851" fmla="*/ 2382552 h 6689084"/>
                <a:gd name="connsiteX1852" fmla="*/ 4614065 w 6689088"/>
                <a:gd name="connsiteY1852" fmla="*/ 2396347 h 6689084"/>
                <a:gd name="connsiteX1853" fmla="*/ 4600266 w 6689088"/>
                <a:gd name="connsiteY1853" fmla="*/ 2382552 h 6689084"/>
                <a:gd name="connsiteX1854" fmla="*/ 4614065 w 6689088"/>
                <a:gd name="connsiteY1854" fmla="*/ 2368753 h 6689084"/>
                <a:gd name="connsiteX1855" fmla="*/ 4768008 w 6689088"/>
                <a:gd name="connsiteY1855" fmla="*/ 2367304 h 6689084"/>
                <a:gd name="connsiteX1856" fmla="*/ 4783260 w 6689088"/>
                <a:gd name="connsiteY1856" fmla="*/ 2382556 h 6689084"/>
                <a:gd name="connsiteX1857" fmla="*/ 4768008 w 6689088"/>
                <a:gd name="connsiteY1857" fmla="*/ 2397803 h 6689084"/>
                <a:gd name="connsiteX1858" fmla="*/ 4752761 w 6689088"/>
                <a:gd name="connsiteY1858" fmla="*/ 2382556 h 6689084"/>
                <a:gd name="connsiteX1859" fmla="*/ 4768008 w 6689088"/>
                <a:gd name="connsiteY1859" fmla="*/ 2367304 h 6689084"/>
                <a:gd name="connsiteX1860" fmla="*/ 4921594 w 6689088"/>
                <a:gd name="connsiteY1860" fmla="*/ 2365486 h 6689084"/>
                <a:gd name="connsiteX1861" fmla="*/ 4938660 w 6689088"/>
                <a:gd name="connsiteY1861" fmla="*/ 2382552 h 6689084"/>
                <a:gd name="connsiteX1862" fmla="*/ 4921594 w 6689088"/>
                <a:gd name="connsiteY1862" fmla="*/ 2399614 h 6689084"/>
                <a:gd name="connsiteX1863" fmla="*/ 4904528 w 6689088"/>
                <a:gd name="connsiteY1863" fmla="*/ 2382552 h 6689084"/>
                <a:gd name="connsiteX1864" fmla="*/ 4921594 w 6689088"/>
                <a:gd name="connsiteY1864" fmla="*/ 2365486 h 6689084"/>
                <a:gd name="connsiteX1865" fmla="*/ 5075541 w 6689088"/>
                <a:gd name="connsiteY1865" fmla="*/ 2363309 h 6689084"/>
                <a:gd name="connsiteX1866" fmla="*/ 5094784 w 6689088"/>
                <a:gd name="connsiteY1866" fmla="*/ 2382552 h 6689084"/>
                <a:gd name="connsiteX1867" fmla="*/ 5075541 w 6689088"/>
                <a:gd name="connsiteY1867" fmla="*/ 2401799 h 6689084"/>
                <a:gd name="connsiteX1868" fmla="*/ 5056298 w 6689088"/>
                <a:gd name="connsiteY1868" fmla="*/ 2382552 h 6689084"/>
                <a:gd name="connsiteX1869" fmla="*/ 5075541 w 6689088"/>
                <a:gd name="connsiteY1869" fmla="*/ 2363309 h 6689084"/>
                <a:gd name="connsiteX1870" fmla="*/ 5229126 w 6689088"/>
                <a:gd name="connsiteY1870" fmla="*/ 2361129 h 6689084"/>
                <a:gd name="connsiteX1871" fmla="*/ 5250546 w 6689088"/>
                <a:gd name="connsiteY1871" fmla="*/ 2382552 h 6689084"/>
                <a:gd name="connsiteX1872" fmla="*/ 5229126 w 6689088"/>
                <a:gd name="connsiteY1872" fmla="*/ 2403975 h 6689084"/>
                <a:gd name="connsiteX1873" fmla="*/ 5207704 w 6689088"/>
                <a:gd name="connsiteY1873" fmla="*/ 2382552 h 6689084"/>
                <a:gd name="connsiteX1874" fmla="*/ 5229126 w 6689088"/>
                <a:gd name="connsiteY1874" fmla="*/ 2361129 h 6689084"/>
                <a:gd name="connsiteX1875" fmla="*/ 5383074 w 6689088"/>
                <a:gd name="connsiteY1875" fmla="*/ 2359677 h 6689084"/>
                <a:gd name="connsiteX1876" fmla="*/ 5405946 w 6689088"/>
                <a:gd name="connsiteY1876" fmla="*/ 2382552 h 6689084"/>
                <a:gd name="connsiteX1877" fmla="*/ 5383074 w 6689088"/>
                <a:gd name="connsiteY1877" fmla="*/ 2405427 h 6689084"/>
                <a:gd name="connsiteX1878" fmla="*/ 5360198 w 6689088"/>
                <a:gd name="connsiteY1878" fmla="*/ 2382552 h 6689084"/>
                <a:gd name="connsiteX1879" fmla="*/ 5383074 w 6689088"/>
                <a:gd name="connsiteY1879" fmla="*/ 2359677 h 6689084"/>
                <a:gd name="connsiteX1880" fmla="*/ 5536656 w 6689088"/>
                <a:gd name="connsiteY1880" fmla="*/ 2357500 h 6689084"/>
                <a:gd name="connsiteX1881" fmla="*/ 5561711 w 6689088"/>
                <a:gd name="connsiteY1881" fmla="*/ 2382552 h 6689084"/>
                <a:gd name="connsiteX1882" fmla="*/ 5536656 w 6689088"/>
                <a:gd name="connsiteY1882" fmla="*/ 2407608 h 6689084"/>
                <a:gd name="connsiteX1883" fmla="*/ 5511604 w 6689088"/>
                <a:gd name="connsiteY1883" fmla="*/ 2382552 h 6689084"/>
                <a:gd name="connsiteX1884" fmla="*/ 5536656 w 6689088"/>
                <a:gd name="connsiteY1884" fmla="*/ 2357500 h 6689084"/>
                <a:gd name="connsiteX1885" fmla="*/ 5690606 w 6689088"/>
                <a:gd name="connsiteY1885" fmla="*/ 2355320 h 6689084"/>
                <a:gd name="connsiteX1886" fmla="*/ 5717838 w 6689088"/>
                <a:gd name="connsiteY1886" fmla="*/ 2382552 h 6689084"/>
                <a:gd name="connsiteX1887" fmla="*/ 5690606 w 6689088"/>
                <a:gd name="connsiteY1887" fmla="*/ 2409784 h 6689084"/>
                <a:gd name="connsiteX1888" fmla="*/ 5663374 w 6689088"/>
                <a:gd name="connsiteY1888" fmla="*/ 2382552 h 6689084"/>
                <a:gd name="connsiteX1889" fmla="*/ 5690606 w 6689088"/>
                <a:gd name="connsiteY1889" fmla="*/ 2355320 h 6689084"/>
                <a:gd name="connsiteX1890" fmla="*/ 5844554 w 6689088"/>
                <a:gd name="connsiteY1890" fmla="*/ 2352781 h 6689084"/>
                <a:gd name="connsiteX1891" fmla="*/ 5874325 w 6689088"/>
                <a:gd name="connsiteY1891" fmla="*/ 2382556 h 6689084"/>
                <a:gd name="connsiteX1892" fmla="*/ 5844554 w 6689088"/>
                <a:gd name="connsiteY1892" fmla="*/ 2412327 h 6689084"/>
                <a:gd name="connsiteX1893" fmla="*/ 5814779 w 6689088"/>
                <a:gd name="connsiteY1893" fmla="*/ 2382556 h 6689084"/>
                <a:gd name="connsiteX1894" fmla="*/ 5844554 w 6689088"/>
                <a:gd name="connsiteY1894" fmla="*/ 2352781 h 6689084"/>
                <a:gd name="connsiteX1895" fmla="*/ 5998139 w 6689088"/>
                <a:gd name="connsiteY1895" fmla="*/ 2350601 h 6689084"/>
                <a:gd name="connsiteX1896" fmla="*/ 6030090 w 6689088"/>
                <a:gd name="connsiteY1896" fmla="*/ 2382552 h 6689084"/>
                <a:gd name="connsiteX1897" fmla="*/ 5998139 w 6689088"/>
                <a:gd name="connsiteY1897" fmla="*/ 2414503 h 6689084"/>
                <a:gd name="connsiteX1898" fmla="*/ 5966188 w 6689088"/>
                <a:gd name="connsiteY1898" fmla="*/ 2382552 h 6689084"/>
                <a:gd name="connsiteX1899" fmla="*/ 5998139 w 6689088"/>
                <a:gd name="connsiteY1899" fmla="*/ 2350601 h 6689084"/>
                <a:gd name="connsiteX1900" fmla="*/ 6152086 w 6689088"/>
                <a:gd name="connsiteY1900" fmla="*/ 2348786 h 6689084"/>
                <a:gd name="connsiteX1901" fmla="*/ 6185852 w 6689088"/>
                <a:gd name="connsiteY1901" fmla="*/ 2382552 h 6689084"/>
                <a:gd name="connsiteX1902" fmla="*/ 6152086 w 6689088"/>
                <a:gd name="connsiteY1902" fmla="*/ 2416322 h 6689084"/>
                <a:gd name="connsiteX1903" fmla="*/ 6118317 w 6689088"/>
                <a:gd name="connsiteY1903" fmla="*/ 2382552 h 6689084"/>
                <a:gd name="connsiteX1904" fmla="*/ 6152086 w 6689088"/>
                <a:gd name="connsiteY1904" fmla="*/ 2348786 h 6689084"/>
                <a:gd name="connsiteX1905" fmla="*/ 6305668 w 6689088"/>
                <a:gd name="connsiteY1905" fmla="*/ 2346244 h 6689084"/>
                <a:gd name="connsiteX1906" fmla="*/ 6341976 w 6689088"/>
                <a:gd name="connsiteY1906" fmla="*/ 2382552 h 6689084"/>
                <a:gd name="connsiteX1907" fmla="*/ 6305668 w 6689088"/>
                <a:gd name="connsiteY1907" fmla="*/ 2418860 h 6689084"/>
                <a:gd name="connsiteX1908" fmla="*/ 6269360 w 6689088"/>
                <a:gd name="connsiteY1908" fmla="*/ 2382552 h 6689084"/>
                <a:gd name="connsiteX1909" fmla="*/ 6305668 w 6689088"/>
                <a:gd name="connsiteY1909" fmla="*/ 2346244 h 6689084"/>
                <a:gd name="connsiteX1910" fmla="*/ 6459619 w 6689088"/>
                <a:gd name="connsiteY1910" fmla="*/ 2343701 h 6689084"/>
                <a:gd name="connsiteX1911" fmla="*/ 6498470 w 6689088"/>
                <a:gd name="connsiteY1911" fmla="*/ 2382552 h 6689084"/>
                <a:gd name="connsiteX1912" fmla="*/ 6459619 w 6689088"/>
                <a:gd name="connsiteY1912" fmla="*/ 2421399 h 6689084"/>
                <a:gd name="connsiteX1913" fmla="*/ 6420768 w 6689088"/>
                <a:gd name="connsiteY1913" fmla="*/ 2382552 h 6689084"/>
                <a:gd name="connsiteX1914" fmla="*/ 6459619 w 6689088"/>
                <a:gd name="connsiteY1914" fmla="*/ 2343701 h 6689084"/>
                <a:gd name="connsiteX1915" fmla="*/ 6613200 w 6689088"/>
                <a:gd name="connsiteY1915" fmla="*/ 2341524 h 6689084"/>
                <a:gd name="connsiteX1916" fmla="*/ 6654232 w 6689088"/>
                <a:gd name="connsiteY1916" fmla="*/ 2382552 h 6689084"/>
                <a:gd name="connsiteX1917" fmla="*/ 6613200 w 6689088"/>
                <a:gd name="connsiteY1917" fmla="*/ 2423583 h 6689084"/>
                <a:gd name="connsiteX1918" fmla="*/ 6572173 w 6689088"/>
                <a:gd name="connsiteY1918" fmla="*/ 2382552 h 6689084"/>
                <a:gd name="connsiteX1919" fmla="*/ 6613200 w 6689088"/>
                <a:gd name="connsiteY1919" fmla="*/ 2341524 h 6689084"/>
                <a:gd name="connsiteX1920" fmla="*/ 2922458 w 6689088"/>
                <a:gd name="connsiteY1920" fmla="*/ 2228605 h 6689084"/>
                <a:gd name="connsiteX1921" fmla="*/ 2922820 w 6689088"/>
                <a:gd name="connsiteY1921" fmla="*/ 2228967 h 6689084"/>
                <a:gd name="connsiteX1922" fmla="*/ 2922458 w 6689088"/>
                <a:gd name="connsiteY1922" fmla="*/ 2229333 h 6689084"/>
                <a:gd name="connsiteX1923" fmla="*/ 2922096 w 6689088"/>
                <a:gd name="connsiteY1923" fmla="*/ 2228967 h 6689084"/>
                <a:gd name="connsiteX1924" fmla="*/ 2922458 w 6689088"/>
                <a:gd name="connsiteY1924" fmla="*/ 2228605 h 6689084"/>
                <a:gd name="connsiteX1925" fmla="*/ 2461340 w 6689088"/>
                <a:gd name="connsiteY1925" fmla="*/ 2228605 h 6689084"/>
                <a:gd name="connsiteX1926" fmla="*/ 2461702 w 6689088"/>
                <a:gd name="connsiteY1926" fmla="*/ 2228967 h 6689084"/>
                <a:gd name="connsiteX1927" fmla="*/ 2461340 w 6689088"/>
                <a:gd name="connsiteY1927" fmla="*/ 2229333 h 6689084"/>
                <a:gd name="connsiteX1928" fmla="*/ 2460978 w 6689088"/>
                <a:gd name="connsiteY1928" fmla="*/ 2228967 h 6689084"/>
                <a:gd name="connsiteX1929" fmla="*/ 2461340 w 6689088"/>
                <a:gd name="connsiteY1929" fmla="*/ 2228605 h 6689084"/>
                <a:gd name="connsiteX1930" fmla="*/ 2307393 w 6689088"/>
                <a:gd name="connsiteY1930" fmla="*/ 2228605 h 6689084"/>
                <a:gd name="connsiteX1931" fmla="*/ 2307755 w 6689088"/>
                <a:gd name="connsiteY1931" fmla="*/ 2228967 h 6689084"/>
                <a:gd name="connsiteX1932" fmla="*/ 2307393 w 6689088"/>
                <a:gd name="connsiteY1932" fmla="*/ 2229333 h 6689084"/>
                <a:gd name="connsiteX1933" fmla="*/ 2307031 w 6689088"/>
                <a:gd name="connsiteY1933" fmla="*/ 2228967 h 6689084"/>
                <a:gd name="connsiteX1934" fmla="*/ 2307393 w 6689088"/>
                <a:gd name="connsiteY1934" fmla="*/ 2228605 h 6689084"/>
                <a:gd name="connsiteX1935" fmla="*/ 2153811 w 6689088"/>
                <a:gd name="connsiteY1935" fmla="*/ 2228243 h 6689084"/>
                <a:gd name="connsiteX1936" fmla="*/ 2154536 w 6689088"/>
                <a:gd name="connsiteY1936" fmla="*/ 2228971 h 6689084"/>
                <a:gd name="connsiteX1937" fmla="*/ 2153811 w 6689088"/>
                <a:gd name="connsiteY1937" fmla="*/ 2229695 h 6689084"/>
                <a:gd name="connsiteX1938" fmla="*/ 2153083 w 6689088"/>
                <a:gd name="connsiteY1938" fmla="*/ 2228971 h 6689084"/>
                <a:gd name="connsiteX1939" fmla="*/ 2153811 w 6689088"/>
                <a:gd name="connsiteY1939" fmla="*/ 2228243 h 6689084"/>
                <a:gd name="connsiteX1940" fmla="*/ 3076406 w 6689088"/>
                <a:gd name="connsiteY1940" fmla="*/ 2227152 h 6689084"/>
                <a:gd name="connsiteX1941" fmla="*/ 3077858 w 6689088"/>
                <a:gd name="connsiteY1941" fmla="*/ 2228605 h 6689084"/>
                <a:gd name="connsiteX1942" fmla="*/ 3076406 w 6689088"/>
                <a:gd name="connsiteY1942" fmla="*/ 2230057 h 6689084"/>
                <a:gd name="connsiteX1943" fmla="*/ 3074953 w 6689088"/>
                <a:gd name="connsiteY1943" fmla="*/ 2228605 h 6689084"/>
                <a:gd name="connsiteX1944" fmla="*/ 3076406 w 6689088"/>
                <a:gd name="connsiteY1944" fmla="*/ 2227152 h 6689084"/>
                <a:gd name="connsiteX1945" fmla="*/ 3230353 w 6689088"/>
                <a:gd name="connsiteY1945" fmla="*/ 2226428 h 6689084"/>
                <a:gd name="connsiteX1946" fmla="*/ 3232530 w 6689088"/>
                <a:gd name="connsiteY1946" fmla="*/ 2228608 h 6689084"/>
                <a:gd name="connsiteX1947" fmla="*/ 3230353 w 6689088"/>
                <a:gd name="connsiteY1947" fmla="*/ 2230785 h 6689084"/>
                <a:gd name="connsiteX1948" fmla="*/ 3228172 w 6689088"/>
                <a:gd name="connsiteY1948" fmla="*/ 2228608 h 6689084"/>
                <a:gd name="connsiteX1949" fmla="*/ 3230353 w 6689088"/>
                <a:gd name="connsiteY1949" fmla="*/ 2226428 h 6689084"/>
                <a:gd name="connsiteX1950" fmla="*/ 3383934 w 6689088"/>
                <a:gd name="connsiteY1950" fmla="*/ 2225700 h 6689084"/>
                <a:gd name="connsiteX1951" fmla="*/ 3387205 w 6689088"/>
                <a:gd name="connsiteY1951" fmla="*/ 2228967 h 6689084"/>
                <a:gd name="connsiteX1952" fmla="*/ 3383934 w 6689088"/>
                <a:gd name="connsiteY1952" fmla="*/ 2232238 h 6689084"/>
                <a:gd name="connsiteX1953" fmla="*/ 3380668 w 6689088"/>
                <a:gd name="connsiteY1953" fmla="*/ 2228967 h 6689084"/>
                <a:gd name="connsiteX1954" fmla="*/ 3383934 w 6689088"/>
                <a:gd name="connsiteY1954" fmla="*/ 2225700 h 6689084"/>
                <a:gd name="connsiteX1955" fmla="*/ 3537886 w 6689088"/>
                <a:gd name="connsiteY1955" fmla="*/ 2224248 h 6689084"/>
                <a:gd name="connsiteX1956" fmla="*/ 3542242 w 6689088"/>
                <a:gd name="connsiteY1956" fmla="*/ 2228605 h 6689084"/>
                <a:gd name="connsiteX1957" fmla="*/ 3537886 w 6689088"/>
                <a:gd name="connsiteY1957" fmla="*/ 2232962 h 6689084"/>
                <a:gd name="connsiteX1958" fmla="*/ 3533528 w 6689088"/>
                <a:gd name="connsiteY1958" fmla="*/ 2228605 h 6689084"/>
                <a:gd name="connsiteX1959" fmla="*/ 3537886 w 6689088"/>
                <a:gd name="connsiteY1959" fmla="*/ 2224248 h 6689084"/>
                <a:gd name="connsiteX1960" fmla="*/ 3691467 w 6689088"/>
                <a:gd name="connsiteY1960" fmla="*/ 2222795 h 6689084"/>
                <a:gd name="connsiteX1961" fmla="*/ 3697276 w 6689088"/>
                <a:gd name="connsiteY1961" fmla="*/ 2228605 h 6689084"/>
                <a:gd name="connsiteX1962" fmla="*/ 3691467 w 6689088"/>
                <a:gd name="connsiteY1962" fmla="*/ 2234414 h 6689084"/>
                <a:gd name="connsiteX1963" fmla="*/ 3685658 w 6689088"/>
                <a:gd name="connsiteY1963" fmla="*/ 2228605 h 6689084"/>
                <a:gd name="connsiteX1964" fmla="*/ 3691467 w 6689088"/>
                <a:gd name="connsiteY1964" fmla="*/ 2222795 h 6689084"/>
                <a:gd name="connsiteX1965" fmla="*/ 3845414 w 6689088"/>
                <a:gd name="connsiteY1965" fmla="*/ 2221343 h 6689084"/>
                <a:gd name="connsiteX1966" fmla="*/ 3852676 w 6689088"/>
                <a:gd name="connsiteY1966" fmla="*/ 2228605 h 6689084"/>
                <a:gd name="connsiteX1967" fmla="*/ 3845414 w 6689088"/>
                <a:gd name="connsiteY1967" fmla="*/ 2235866 h 6689084"/>
                <a:gd name="connsiteX1968" fmla="*/ 3838153 w 6689088"/>
                <a:gd name="connsiteY1968" fmla="*/ 2228605 h 6689084"/>
                <a:gd name="connsiteX1969" fmla="*/ 3845414 w 6689088"/>
                <a:gd name="connsiteY1969" fmla="*/ 2221343 h 6689084"/>
                <a:gd name="connsiteX1970" fmla="*/ 3999000 w 6689088"/>
                <a:gd name="connsiteY1970" fmla="*/ 2219528 h 6689084"/>
                <a:gd name="connsiteX1971" fmla="*/ 4008080 w 6689088"/>
                <a:gd name="connsiteY1971" fmla="*/ 2228605 h 6689084"/>
                <a:gd name="connsiteX1972" fmla="*/ 3999000 w 6689088"/>
                <a:gd name="connsiteY1972" fmla="*/ 2237685 h 6689084"/>
                <a:gd name="connsiteX1973" fmla="*/ 3989924 w 6689088"/>
                <a:gd name="connsiteY1973" fmla="*/ 2228605 h 6689084"/>
                <a:gd name="connsiteX1974" fmla="*/ 3999000 w 6689088"/>
                <a:gd name="connsiteY1974" fmla="*/ 2219528 h 6689084"/>
                <a:gd name="connsiteX1975" fmla="*/ 4152947 w 6689088"/>
                <a:gd name="connsiteY1975" fmla="*/ 2218800 h 6689084"/>
                <a:gd name="connsiteX1976" fmla="*/ 4163114 w 6689088"/>
                <a:gd name="connsiteY1976" fmla="*/ 2228967 h 6689084"/>
                <a:gd name="connsiteX1977" fmla="*/ 4152947 w 6689088"/>
                <a:gd name="connsiteY1977" fmla="*/ 2239133 h 6689084"/>
                <a:gd name="connsiteX1978" fmla="*/ 4142780 w 6689088"/>
                <a:gd name="connsiteY1978" fmla="*/ 2228967 h 6689084"/>
                <a:gd name="connsiteX1979" fmla="*/ 4152947 w 6689088"/>
                <a:gd name="connsiteY1979" fmla="*/ 2218800 h 6689084"/>
                <a:gd name="connsiteX1980" fmla="*/ 4306532 w 6689088"/>
                <a:gd name="connsiteY1980" fmla="*/ 2216624 h 6689084"/>
                <a:gd name="connsiteX1981" fmla="*/ 4318517 w 6689088"/>
                <a:gd name="connsiteY1981" fmla="*/ 2228605 h 6689084"/>
                <a:gd name="connsiteX1982" fmla="*/ 4306532 w 6689088"/>
                <a:gd name="connsiteY1982" fmla="*/ 2240585 h 6689084"/>
                <a:gd name="connsiteX1983" fmla="*/ 4294552 w 6689088"/>
                <a:gd name="connsiteY1983" fmla="*/ 2228605 h 6689084"/>
                <a:gd name="connsiteX1984" fmla="*/ 4306532 w 6689088"/>
                <a:gd name="connsiteY1984" fmla="*/ 2216624 h 6689084"/>
                <a:gd name="connsiteX1985" fmla="*/ 4460480 w 6689088"/>
                <a:gd name="connsiteY1985" fmla="*/ 2214809 h 6689084"/>
                <a:gd name="connsiteX1986" fmla="*/ 4474275 w 6689088"/>
                <a:gd name="connsiteY1986" fmla="*/ 2228608 h 6689084"/>
                <a:gd name="connsiteX1987" fmla="*/ 4460480 w 6689088"/>
                <a:gd name="connsiteY1987" fmla="*/ 2242404 h 6689084"/>
                <a:gd name="connsiteX1988" fmla="*/ 4446680 w 6689088"/>
                <a:gd name="connsiteY1988" fmla="*/ 2228608 h 6689084"/>
                <a:gd name="connsiteX1989" fmla="*/ 4460480 w 6689088"/>
                <a:gd name="connsiteY1989" fmla="*/ 2214809 h 6689084"/>
                <a:gd name="connsiteX1990" fmla="*/ 4614061 w 6689088"/>
                <a:gd name="connsiteY1990" fmla="*/ 2213357 h 6689084"/>
                <a:gd name="connsiteX1991" fmla="*/ 4629312 w 6689088"/>
                <a:gd name="connsiteY1991" fmla="*/ 2228608 h 6689084"/>
                <a:gd name="connsiteX1992" fmla="*/ 4614061 w 6689088"/>
                <a:gd name="connsiteY1992" fmla="*/ 2243856 h 6689084"/>
                <a:gd name="connsiteX1993" fmla="*/ 4598814 w 6689088"/>
                <a:gd name="connsiteY1993" fmla="*/ 2228608 h 6689084"/>
                <a:gd name="connsiteX1994" fmla="*/ 4614061 w 6689088"/>
                <a:gd name="connsiteY1994" fmla="*/ 2213357 h 6689084"/>
                <a:gd name="connsiteX1995" fmla="*/ 4768012 w 6689088"/>
                <a:gd name="connsiteY1995" fmla="*/ 2211539 h 6689084"/>
                <a:gd name="connsiteX1996" fmla="*/ 4785078 w 6689088"/>
                <a:gd name="connsiteY1996" fmla="*/ 2228605 h 6689084"/>
                <a:gd name="connsiteX1997" fmla="*/ 4768012 w 6689088"/>
                <a:gd name="connsiteY1997" fmla="*/ 2245667 h 6689084"/>
                <a:gd name="connsiteX1998" fmla="*/ 4750946 w 6689088"/>
                <a:gd name="connsiteY1998" fmla="*/ 2228605 h 6689084"/>
                <a:gd name="connsiteX1999" fmla="*/ 4768012 w 6689088"/>
                <a:gd name="connsiteY1999" fmla="*/ 2211539 h 6689084"/>
                <a:gd name="connsiteX2000" fmla="*/ 4921594 w 6689088"/>
                <a:gd name="connsiteY2000" fmla="*/ 2209362 h 6689084"/>
                <a:gd name="connsiteX2001" fmla="*/ 4940836 w 6689088"/>
                <a:gd name="connsiteY2001" fmla="*/ 2228605 h 6689084"/>
                <a:gd name="connsiteX2002" fmla="*/ 4921594 w 6689088"/>
                <a:gd name="connsiteY2002" fmla="*/ 2247851 h 6689084"/>
                <a:gd name="connsiteX2003" fmla="*/ 4902352 w 6689088"/>
                <a:gd name="connsiteY2003" fmla="*/ 2228605 h 6689084"/>
                <a:gd name="connsiteX2004" fmla="*/ 4921594 w 6689088"/>
                <a:gd name="connsiteY2004" fmla="*/ 2209362 h 6689084"/>
                <a:gd name="connsiteX2005" fmla="*/ 5075541 w 6689088"/>
                <a:gd name="connsiteY2005" fmla="*/ 2207182 h 6689084"/>
                <a:gd name="connsiteX2006" fmla="*/ 5096964 w 6689088"/>
                <a:gd name="connsiteY2006" fmla="*/ 2228605 h 6689084"/>
                <a:gd name="connsiteX2007" fmla="*/ 5075541 w 6689088"/>
                <a:gd name="connsiteY2007" fmla="*/ 2250027 h 6689084"/>
                <a:gd name="connsiteX2008" fmla="*/ 5054118 w 6689088"/>
                <a:gd name="connsiteY2008" fmla="*/ 2228605 h 6689084"/>
                <a:gd name="connsiteX2009" fmla="*/ 5075541 w 6689088"/>
                <a:gd name="connsiteY2009" fmla="*/ 2207182 h 6689084"/>
                <a:gd name="connsiteX2010" fmla="*/ 5229126 w 6689088"/>
                <a:gd name="connsiteY2010" fmla="*/ 2205729 h 6689084"/>
                <a:gd name="connsiteX2011" fmla="*/ 5251998 w 6689088"/>
                <a:gd name="connsiteY2011" fmla="*/ 2228605 h 6689084"/>
                <a:gd name="connsiteX2012" fmla="*/ 5229126 w 6689088"/>
                <a:gd name="connsiteY2012" fmla="*/ 2251480 h 6689084"/>
                <a:gd name="connsiteX2013" fmla="*/ 5206251 w 6689088"/>
                <a:gd name="connsiteY2013" fmla="*/ 2228605 h 6689084"/>
                <a:gd name="connsiteX2014" fmla="*/ 5229126 w 6689088"/>
                <a:gd name="connsiteY2014" fmla="*/ 2205729 h 6689084"/>
                <a:gd name="connsiteX2015" fmla="*/ 5383074 w 6689088"/>
                <a:gd name="connsiteY2015" fmla="*/ 2203915 h 6689084"/>
                <a:gd name="connsiteX2016" fmla="*/ 5408126 w 6689088"/>
                <a:gd name="connsiteY2016" fmla="*/ 2228967 h 6689084"/>
                <a:gd name="connsiteX2017" fmla="*/ 5383074 w 6689088"/>
                <a:gd name="connsiteY2017" fmla="*/ 2254023 h 6689084"/>
                <a:gd name="connsiteX2018" fmla="*/ 5358022 w 6689088"/>
                <a:gd name="connsiteY2018" fmla="*/ 2228967 h 6689084"/>
                <a:gd name="connsiteX2019" fmla="*/ 5383074 w 6689088"/>
                <a:gd name="connsiteY2019" fmla="*/ 2203915 h 6689084"/>
                <a:gd name="connsiteX2020" fmla="*/ 5536659 w 6689088"/>
                <a:gd name="connsiteY2020" fmla="*/ 2201734 h 6689084"/>
                <a:gd name="connsiteX2021" fmla="*/ 5563892 w 6689088"/>
                <a:gd name="connsiteY2021" fmla="*/ 2228967 h 6689084"/>
                <a:gd name="connsiteX2022" fmla="*/ 5536659 w 6689088"/>
                <a:gd name="connsiteY2022" fmla="*/ 2256199 h 6689084"/>
                <a:gd name="connsiteX2023" fmla="*/ 5509427 w 6689088"/>
                <a:gd name="connsiteY2023" fmla="*/ 2228967 h 6689084"/>
                <a:gd name="connsiteX2024" fmla="*/ 5536659 w 6689088"/>
                <a:gd name="connsiteY2024" fmla="*/ 2201734 h 6689084"/>
                <a:gd name="connsiteX2025" fmla="*/ 5690606 w 6689088"/>
                <a:gd name="connsiteY2025" fmla="*/ 2198834 h 6689084"/>
                <a:gd name="connsiteX2026" fmla="*/ 5720378 w 6689088"/>
                <a:gd name="connsiteY2026" fmla="*/ 2228608 h 6689084"/>
                <a:gd name="connsiteX2027" fmla="*/ 5690606 w 6689088"/>
                <a:gd name="connsiteY2027" fmla="*/ 2258379 h 6689084"/>
                <a:gd name="connsiteX2028" fmla="*/ 5660832 w 6689088"/>
                <a:gd name="connsiteY2028" fmla="*/ 2228608 h 6689084"/>
                <a:gd name="connsiteX2029" fmla="*/ 5690606 w 6689088"/>
                <a:gd name="connsiteY2029" fmla="*/ 2198834 h 6689084"/>
                <a:gd name="connsiteX2030" fmla="*/ 5844554 w 6689088"/>
                <a:gd name="connsiteY2030" fmla="*/ 2197015 h 6689084"/>
                <a:gd name="connsiteX2031" fmla="*/ 5876506 w 6689088"/>
                <a:gd name="connsiteY2031" fmla="*/ 2228967 h 6689084"/>
                <a:gd name="connsiteX2032" fmla="*/ 5844554 w 6689088"/>
                <a:gd name="connsiteY2032" fmla="*/ 2260918 h 6689084"/>
                <a:gd name="connsiteX2033" fmla="*/ 5812602 w 6689088"/>
                <a:gd name="connsiteY2033" fmla="*/ 2228967 h 6689084"/>
                <a:gd name="connsiteX2034" fmla="*/ 5844554 w 6689088"/>
                <a:gd name="connsiteY2034" fmla="*/ 2197015 h 6689084"/>
                <a:gd name="connsiteX2035" fmla="*/ 5998136 w 6689088"/>
                <a:gd name="connsiteY2035" fmla="*/ 2194839 h 6689084"/>
                <a:gd name="connsiteX2036" fmla="*/ 6031901 w 6689088"/>
                <a:gd name="connsiteY2036" fmla="*/ 2228605 h 6689084"/>
                <a:gd name="connsiteX2037" fmla="*/ 5998136 w 6689088"/>
                <a:gd name="connsiteY2037" fmla="*/ 2262374 h 6689084"/>
                <a:gd name="connsiteX2038" fmla="*/ 5964370 w 6689088"/>
                <a:gd name="connsiteY2038" fmla="*/ 2228605 h 6689084"/>
                <a:gd name="connsiteX2039" fmla="*/ 5998136 w 6689088"/>
                <a:gd name="connsiteY2039" fmla="*/ 2194839 h 6689084"/>
                <a:gd name="connsiteX2040" fmla="*/ 6152083 w 6689088"/>
                <a:gd name="connsiteY2040" fmla="*/ 2192296 h 6689084"/>
                <a:gd name="connsiteX2041" fmla="*/ 6188391 w 6689088"/>
                <a:gd name="connsiteY2041" fmla="*/ 2228605 h 6689084"/>
                <a:gd name="connsiteX2042" fmla="*/ 6152083 w 6689088"/>
                <a:gd name="connsiteY2042" fmla="*/ 2264913 h 6689084"/>
                <a:gd name="connsiteX2043" fmla="*/ 6115774 w 6689088"/>
                <a:gd name="connsiteY2043" fmla="*/ 2228605 h 6689084"/>
                <a:gd name="connsiteX2044" fmla="*/ 6152083 w 6689088"/>
                <a:gd name="connsiteY2044" fmla="*/ 2192296 h 6689084"/>
                <a:gd name="connsiteX2045" fmla="*/ 6305672 w 6689088"/>
                <a:gd name="connsiteY2045" fmla="*/ 2189754 h 6689084"/>
                <a:gd name="connsiteX2046" fmla="*/ 6344522 w 6689088"/>
                <a:gd name="connsiteY2046" fmla="*/ 2228605 h 6689084"/>
                <a:gd name="connsiteX2047" fmla="*/ 6305672 w 6689088"/>
                <a:gd name="connsiteY2047" fmla="*/ 2267452 h 6689084"/>
                <a:gd name="connsiteX2048" fmla="*/ 6266821 w 6689088"/>
                <a:gd name="connsiteY2048" fmla="*/ 2228605 h 6689084"/>
                <a:gd name="connsiteX2049" fmla="*/ 6305672 w 6689088"/>
                <a:gd name="connsiteY2049" fmla="*/ 2189754 h 6689084"/>
                <a:gd name="connsiteX2050" fmla="*/ 6459616 w 6689088"/>
                <a:gd name="connsiteY2050" fmla="*/ 2187577 h 6689084"/>
                <a:gd name="connsiteX2051" fmla="*/ 6500646 w 6689088"/>
                <a:gd name="connsiteY2051" fmla="*/ 2228605 h 6689084"/>
                <a:gd name="connsiteX2052" fmla="*/ 6459616 w 6689088"/>
                <a:gd name="connsiteY2052" fmla="*/ 2269632 h 6689084"/>
                <a:gd name="connsiteX2053" fmla="*/ 6418588 w 6689088"/>
                <a:gd name="connsiteY2053" fmla="*/ 2228605 h 6689084"/>
                <a:gd name="connsiteX2054" fmla="*/ 6459616 w 6689088"/>
                <a:gd name="connsiteY2054" fmla="*/ 2187577 h 6689084"/>
                <a:gd name="connsiteX2055" fmla="*/ 6613200 w 6689088"/>
                <a:gd name="connsiteY2055" fmla="*/ 2185035 h 6689084"/>
                <a:gd name="connsiteX2056" fmla="*/ 6656770 w 6689088"/>
                <a:gd name="connsiteY2056" fmla="*/ 2228605 h 6689084"/>
                <a:gd name="connsiteX2057" fmla="*/ 6613200 w 6689088"/>
                <a:gd name="connsiteY2057" fmla="*/ 2272175 h 6689084"/>
                <a:gd name="connsiteX2058" fmla="*/ 6569630 w 6689088"/>
                <a:gd name="connsiteY2058" fmla="*/ 2228605 h 6689084"/>
                <a:gd name="connsiteX2059" fmla="*/ 6613200 w 6689088"/>
                <a:gd name="connsiteY2059" fmla="*/ 2185035 h 6689084"/>
                <a:gd name="connsiteX2060" fmla="*/ 2768873 w 6689088"/>
                <a:gd name="connsiteY2060" fmla="*/ 2074657 h 6689084"/>
                <a:gd name="connsiteX2061" fmla="*/ 2769235 w 6689088"/>
                <a:gd name="connsiteY2061" fmla="*/ 2075019 h 6689084"/>
                <a:gd name="connsiteX2062" fmla="*/ 2768873 w 6689088"/>
                <a:gd name="connsiteY2062" fmla="*/ 2075385 h 6689084"/>
                <a:gd name="connsiteX2063" fmla="*/ 2768511 w 6689088"/>
                <a:gd name="connsiteY2063" fmla="*/ 2075019 h 6689084"/>
                <a:gd name="connsiteX2064" fmla="*/ 2768873 w 6689088"/>
                <a:gd name="connsiteY2064" fmla="*/ 2074657 h 6689084"/>
                <a:gd name="connsiteX2065" fmla="*/ 2307393 w 6689088"/>
                <a:gd name="connsiteY2065" fmla="*/ 2074657 h 6689084"/>
                <a:gd name="connsiteX2066" fmla="*/ 2307755 w 6689088"/>
                <a:gd name="connsiteY2066" fmla="*/ 2075019 h 6689084"/>
                <a:gd name="connsiteX2067" fmla="*/ 2307393 w 6689088"/>
                <a:gd name="connsiteY2067" fmla="*/ 2075385 h 6689084"/>
                <a:gd name="connsiteX2068" fmla="*/ 2307031 w 6689088"/>
                <a:gd name="connsiteY2068" fmla="*/ 2075019 h 6689084"/>
                <a:gd name="connsiteX2069" fmla="*/ 2307393 w 6689088"/>
                <a:gd name="connsiteY2069" fmla="*/ 2074657 h 6689084"/>
                <a:gd name="connsiteX2070" fmla="*/ 2153808 w 6689088"/>
                <a:gd name="connsiteY2070" fmla="*/ 2074657 h 6689084"/>
                <a:gd name="connsiteX2071" fmla="*/ 2154170 w 6689088"/>
                <a:gd name="connsiteY2071" fmla="*/ 2075019 h 6689084"/>
                <a:gd name="connsiteX2072" fmla="*/ 2153808 w 6689088"/>
                <a:gd name="connsiteY2072" fmla="*/ 2075385 h 6689084"/>
                <a:gd name="connsiteX2073" fmla="*/ 2153445 w 6689088"/>
                <a:gd name="connsiteY2073" fmla="*/ 2075019 h 6689084"/>
                <a:gd name="connsiteX2074" fmla="*/ 2153808 w 6689088"/>
                <a:gd name="connsiteY2074" fmla="*/ 2074657 h 6689084"/>
                <a:gd name="connsiteX2075" fmla="*/ 1999864 w 6689088"/>
                <a:gd name="connsiteY2075" fmla="*/ 2074295 h 6689084"/>
                <a:gd name="connsiteX2076" fmla="*/ 2000588 w 6689088"/>
                <a:gd name="connsiteY2076" fmla="*/ 2075023 h 6689084"/>
                <a:gd name="connsiteX2077" fmla="*/ 1999864 w 6689088"/>
                <a:gd name="connsiteY2077" fmla="*/ 2075747 h 6689084"/>
                <a:gd name="connsiteX2078" fmla="*/ 1999136 w 6689088"/>
                <a:gd name="connsiteY2078" fmla="*/ 2075023 h 6689084"/>
                <a:gd name="connsiteX2079" fmla="*/ 1999864 w 6689088"/>
                <a:gd name="connsiteY2079" fmla="*/ 2074295 h 6689084"/>
                <a:gd name="connsiteX2080" fmla="*/ 2922458 w 6689088"/>
                <a:gd name="connsiteY2080" fmla="*/ 2073205 h 6689084"/>
                <a:gd name="connsiteX2081" fmla="*/ 2923910 w 6689088"/>
                <a:gd name="connsiteY2081" fmla="*/ 2074657 h 6689084"/>
                <a:gd name="connsiteX2082" fmla="*/ 2922458 w 6689088"/>
                <a:gd name="connsiteY2082" fmla="*/ 2076110 h 6689084"/>
                <a:gd name="connsiteX2083" fmla="*/ 2921006 w 6689088"/>
                <a:gd name="connsiteY2083" fmla="*/ 2074657 h 6689084"/>
                <a:gd name="connsiteX2084" fmla="*/ 2922458 w 6689088"/>
                <a:gd name="connsiteY2084" fmla="*/ 2073205 h 6689084"/>
                <a:gd name="connsiteX2085" fmla="*/ 3076406 w 6689088"/>
                <a:gd name="connsiteY2085" fmla="*/ 2072843 h 6689084"/>
                <a:gd name="connsiteX2086" fmla="*/ 3078582 w 6689088"/>
                <a:gd name="connsiteY2086" fmla="*/ 2075023 h 6689084"/>
                <a:gd name="connsiteX2087" fmla="*/ 3076406 w 6689088"/>
                <a:gd name="connsiteY2087" fmla="*/ 2077200 h 6689084"/>
                <a:gd name="connsiteX2088" fmla="*/ 3074225 w 6689088"/>
                <a:gd name="connsiteY2088" fmla="*/ 2075023 h 6689084"/>
                <a:gd name="connsiteX2089" fmla="*/ 3076406 w 6689088"/>
                <a:gd name="connsiteY2089" fmla="*/ 2072843 h 6689084"/>
                <a:gd name="connsiteX2090" fmla="*/ 3230353 w 6689088"/>
                <a:gd name="connsiteY2090" fmla="*/ 2071753 h 6689084"/>
                <a:gd name="connsiteX2091" fmla="*/ 3233620 w 6689088"/>
                <a:gd name="connsiteY2091" fmla="*/ 2075019 h 6689084"/>
                <a:gd name="connsiteX2092" fmla="*/ 3230353 w 6689088"/>
                <a:gd name="connsiteY2092" fmla="*/ 2078290 h 6689084"/>
                <a:gd name="connsiteX2093" fmla="*/ 3227086 w 6689088"/>
                <a:gd name="connsiteY2093" fmla="*/ 2075019 h 6689084"/>
                <a:gd name="connsiteX2094" fmla="*/ 3230353 w 6689088"/>
                <a:gd name="connsiteY2094" fmla="*/ 2071753 h 6689084"/>
                <a:gd name="connsiteX2095" fmla="*/ 3383934 w 6689088"/>
                <a:gd name="connsiteY2095" fmla="*/ 2070662 h 6689084"/>
                <a:gd name="connsiteX2096" fmla="*/ 3388291 w 6689088"/>
                <a:gd name="connsiteY2096" fmla="*/ 2075019 h 6689084"/>
                <a:gd name="connsiteX2097" fmla="*/ 3383934 w 6689088"/>
                <a:gd name="connsiteY2097" fmla="*/ 2079376 h 6689084"/>
                <a:gd name="connsiteX2098" fmla="*/ 3379577 w 6689088"/>
                <a:gd name="connsiteY2098" fmla="*/ 2075019 h 6689084"/>
                <a:gd name="connsiteX2099" fmla="*/ 3383934 w 6689088"/>
                <a:gd name="connsiteY2099" fmla="*/ 2070662 h 6689084"/>
                <a:gd name="connsiteX2100" fmla="*/ 3537886 w 6689088"/>
                <a:gd name="connsiteY2100" fmla="*/ 2069210 h 6689084"/>
                <a:gd name="connsiteX2101" fmla="*/ 3543695 w 6689088"/>
                <a:gd name="connsiteY2101" fmla="*/ 2075019 h 6689084"/>
                <a:gd name="connsiteX2102" fmla="*/ 3537886 w 6689088"/>
                <a:gd name="connsiteY2102" fmla="*/ 2080829 h 6689084"/>
                <a:gd name="connsiteX2103" fmla="*/ 3532076 w 6689088"/>
                <a:gd name="connsiteY2103" fmla="*/ 2075019 h 6689084"/>
                <a:gd name="connsiteX2104" fmla="*/ 3537886 w 6689088"/>
                <a:gd name="connsiteY2104" fmla="*/ 2069210 h 6689084"/>
                <a:gd name="connsiteX2105" fmla="*/ 3691467 w 6689088"/>
                <a:gd name="connsiteY2105" fmla="*/ 2067758 h 6689084"/>
                <a:gd name="connsiteX2106" fmla="*/ 3698728 w 6689088"/>
                <a:gd name="connsiteY2106" fmla="*/ 2075019 h 6689084"/>
                <a:gd name="connsiteX2107" fmla="*/ 3691467 w 6689088"/>
                <a:gd name="connsiteY2107" fmla="*/ 2082281 h 6689084"/>
                <a:gd name="connsiteX2108" fmla="*/ 3684205 w 6689088"/>
                <a:gd name="connsiteY2108" fmla="*/ 2075019 h 6689084"/>
                <a:gd name="connsiteX2109" fmla="*/ 3691467 w 6689088"/>
                <a:gd name="connsiteY2109" fmla="*/ 2067758 h 6689084"/>
                <a:gd name="connsiteX2110" fmla="*/ 3845414 w 6689088"/>
                <a:gd name="connsiteY2110" fmla="*/ 2065943 h 6689084"/>
                <a:gd name="connsiteX2111" fmla="*/ 3854494 w 6689088"/>
                <a:gd name="connsiteY2111" fmla="*/ 2075019 h 6689084"/>
                <a:gd name="connsiteX2112" fmla="*/ 3845414 w 6689088"/>
                <a:gd name="connsiteY2112" fmla="*/ 2084099 h 6689084"/>
                <a:gd name="connsiteX2113" fmla="*/ 3836338 w 6689088"/>
                <a:gd name="connsiteY2113" fmla="*/ 2075019 h 6689084"/>
                <a:gd name="connsiteX2114" fmla="*/ 3845414 w 6689088"/>
                <a:gd name="connsiteY2114" fmla="*/ 2065943 h 6689084"/>
                <a:gd name="connsiteX2115" fmla="*/ 3999000 w 6689088"/>
                <a:gd name="connsiteY2115" fmla="*/ 2064853 h 6689084"/>
                <a:gd name="connsiteX2116" fmla="*/ 4009166 w 6689088"/>
                <a:gd name="connsiteY2116" fmla="*/ 2075019 h 6689084"/>
                <a:gd name="connsiteX2117" fmla="*/ 3999000 w 6689088"/>
                <a:gd name="connsiteY2117" fmla="*/ 2085186 h 6689084"/>
                <a:gd name="connsiteX2118" fmla="*/ 3988833 w 6689088"/>
                <a:gd name="connsiteY2118" fmla="*/ 2075019 h 6689084"/>
                <a:gd name="connsiteX2119" fmla="*/ 3999000 w 6689088"/>
                <a:gd name="connsiteY2119" fmla="*/ 2064853 h 6689084"/>
                <a:gd name="connsiteX2120" fmla="*/ 4152947 w 6689088"/>
                <a:gd name="connsiteY2120" fmla="*/ 2063038 h 6689084"/>
                <a:gd name="connsiteX2121" fmla="*/ 4164932 w 6689088"/>
                <a:gd name="connsiteY2121" fmla="*/ 2075019 h 6689084"/>
                <a:gd name="connsiteX2122" fmla="*/ 4152947 w 6689088"/>
                <a:gd name="connsiteY2122" fmla="*/ 2087000 h 6689084"/>
                <a:gd name="connsiteX2123" fmla="*/ 4140966 w 6689088"/>
                <a:gd name="connsiteY2123" fmla="*/ 2075019 h 6689084"/>
                <a:gd name="connsiteX2124" fmla="*/ 4152947 w 6689088"/>
                <a:gd name="connsiteY2124" fmla="*/ 2063038 h 6689084"/>
                <a:gd name="connsiteX2125" fmla="*/ 4306528 w 6689088"/>
                <a:gd name="connsiteY2125" fmla="*/ 2061224 h 6689084"/>
                <a:gd name="connsiteX2126" fmla="*/ 4320328 w 6689088"/>
                <a:gd name="connsiteY2126" fmla="*/ 2075023 h 6689084"/>
                <a:gd name="connsiteX2127" fmla="*/ 4306528 w 6689088"/>
                <a:gd name="connsiteY2127" fmla="*/ 2088818 h 6689084"/>
                <a:gd name="connsiteX2128" fmla="*/ 4292733 w 6689088"/>
                <a:gd name="connsiteY2128" fmla="*/ 2075023 h 6689084"/>
                <a:gd name="connsiteX2129" fmla="*/ 4306528 w 6689088"/>
                <a:gd name="connsiteY2129" fmla="*/ 2061224 h 6689084"/>
                <a:gd name="connsiteX2130" fmla="*/ 4460476 w 6689088"/>
                <a:gd name="connsiteY2130" fmla="*/ 2059772 h 6689084"/>
                <a:gd name="connsiteX2131" fmla="*/ 4475728 w 6689088"/>
                <a:gd name="connsiteY2131" fmla="*/ 2075023 h 6689084"/>
                <a:gd name="connsiteX2132" fmla="*/ 4460476 w 6689088"/>
                <a:gd name="connsiteY2132" fmla="*/ 2090271 h 6689084"/>
                <a:gd name="connsiteX2133" fmla="*/ 4445228 w 6689088"/>
                <a:gd name="connsiteY2133" fmla="*/ 2075023 h 6689084"/>
                <a:gd name="connsiteX2134" fmla="*/ 4460476 w 6689088"/>
                <a:gd name="connsiteY2134" fmla="*/ 2059772 h 6689084"/>
                <a:gd name="connsiteX2135" fmla="*/ 4614065 w 6689088"/>
                <a:gd name="connsiteY2135" fmla="*/ 2057957 h 6689084"/>
                <a:gd name="connsiteX2136" fmla="*/ 4631131 w 6689088"/>
                <a:gd name="connsiteY2136" fmla="*/ 2075023 h 6689084"/>
                <a:gd name="connsiteX2137" fmla="*/ 4614065 w 6689088"/>
                <a:gd name="connsiteY2137" fmla="*/ 2092085 h 6689084"/>
                <a:gd name="connsiteX2138" fmla="*/ 4596999 w 6689088"/>
                <a:gd name="connsiteY2138" fmla="*/ 2075023 h 6689084"/>
                <a:gd name="connsiteX2139" fmla="*/ 4614065 w 6689088"/>
                <a:gd name="connsiteY2139" fmla="*/ 2057957 h 6689084"/>
                <a:gd name="connsiteX2140" fmla="*/ 4768008 w 6689088"/>
                <a:gd name="connsiteY2140" fmla="*/ 2055777 h 6689084"/>
                <a:gd name="connsiteX2141" fmla="*/ 4787255 w 6689088"/>
                <a:gd name="connsiteY2141" fmla="*/ 2075019 h 6689084"/>
                <a:gd name="connsiteX2142" fmla="*/ 4768008 w 6689088"/>
                <a:gd name="connsiteY2142" fmla="*/ 2094266 h 6689084"/>
                <a:gd name="connsiteX2143" fmla="*/ 4748766 w 6689088"/>
                <a:gd name="connsiteY2143" fmla="*/ 2075019 h 6689084"/>
                <a:gd name="connsiteX2144" fmla="*/ 4768008 w 6689088"/>
                <a:gd name="connsiteY2144" fmla="*/ 2055777 h 6689084"/>
                <a:gd name="connsiteX2145" fmla="*/ 4921594 w 6689088"/>
                <a:gd name="connsiteY2145" fmla="*/ 2053600 h 6689084"/>
                <a:gd name="connsiteX2146" fmla="*/ 4943013 w 6689088"/>
                <a:gd name="connsiteY2146" fmla="*/ 2075023 h 6689084"/>
                <a:gd name="connsiteX2147" fmla="*/ 4921594 w 6689088"/>
                <a:gd name="connsiteY2147" fmla="*/ 2096446 h 6689084"/>
                <a:gd name="connsiteX2148" fmla="*/ 4900171 w 6689088"/>
                <a:gd name="connsiteY2148" fmla="*/ 2075023 h 6689084"/>
                <a:gd name="connsiteX2149" fmla="*/ 4921594 w 6689088"/>
                <a:gd name="connsiteY2149" fmla="*/ 2053600 h 6689084"/>
                <a:gd name="connsiteX2150" fmla="*/ 5075545 w 6689088"/>
                <a:gd name="connsiteY2150" fmla="*/ 2052148 h 6689084"/>
                <a:gd name="connsiteX2151" fmla="*/ 5098416 w 6689088"/>
                <a:gd name="connsiteY2151" fmla="*/ 2075023 h 6689084"/>
                <a:gd name="connsiteX2152" fmla="*/ 5075545 w 6689088"/>
                <a:gd name="connsiteY2152" fmla="*/ 2097895 h 6689084"/>
                <a:gd name="connsiteX2153" fmla="*/ 5052670 w 6689088"/>
                <a:gd name="connsiteY2153" fmla="*/ 2075023 h 6689084"/>
                <a:gd name="connsiteX2154" fmla="*/ 5075545 w 6689088"/>
                <a:gd name="connsiteY2154" fmla="*/ 2052148 h 6689084"/>
                <a:gd name="connsiteX2155" fmla="*/ 5229126 w 6689088"/>
                <a:gd name="connsiteY2155" fmla="*/ 2049968 h 6689084"/>
                <a:gd name="connsiteX2156" fmla="*/ 5254182 w 6689088"/>
                <a:gd name="connsiteY2156" fmla="*/ 2075019 h 6689084"/>
                <a:gd name="connsiteX2157" fmla="*/ 5229126 w 6689088"/>
                <a:gd name="connsiteY2157" fmla="*/ 2100075 h 6689084"/>
                <a:gd name="connsiteX2158" fmla="*/ 5204074 w 6689088"/>
                <a:gd name="connsiteY2158" fmla="*/ 2075019 h 6689084"/>
                <a:gd name="connsiteX2159" fmla="*/ 5229126 w 6689088"/>
                <a:gd name="connsiteY2159" fmla="*/ 2049968 h 6689084"/>
                <a:gd name="connsiteX2160" fmla="*/ 5383074 w 6689088"/>
                <a:gd name="connsiteY2160" fmla="*/ 2047791 h 6689084"/>
                <a:gd name="connsiteX2161" fmla="*/ 5410306 w 6689088"/>
                <a:gd name="connsiteY2161" fmla="*/ 2075023 h 6689084"/>
                <a:gd name="connsiteX2162" fmla="*/ 5383074 w 6689088"/>
                <a:gd name="connsiteY2162" fmla="*/ 2102256 h 6689084"/>
                <a:gd name="connsiteX2163" fmla="*/ 5355842 w 6689088"/>
                <a:gd name="connsiteY2163" fmla="*/ 2075023 h 6689084"/>
                <a:gd name="connsiteX2164" fmla="*/ 5383074 w 6689088"/>
                <a:gd name="connsiteY2164" fmla="*/ 2047791 h 6689084"/>
                <a:gd name="connsiteX2165" fmla="*/ 5537018 w 6689088"/>
                <a:gd name="connsiteY2165" fmla="*/ 2045248 h 6689084"/>
                <a:gd name="connsiteX2166" fmla="*/ 5566792 w 6689088"/>
                <a:gd name="connsiteY2166" fmla="*/ 2075023 h 6689084"/>
                <a:gd name="connsiteX2167" fmla="*/ 5537018 w 6689088"/>
                <a:gd name="connsiteY2167" fmla="*/ 2104794 h 6689084"/>
                <a:gd name="connsiteX2168" fmla="*/ 5507246 w 6689088"/>
                <a:gd name="connsiteY2168" fmla="*/ 2075023 h 6689084"/>
                <a:gd name="connsiteX2169" fmla="*/ 5537018 w 6689088"/>
                <a:gd name="connsiteY2169" fmla="*/ 2045248 h 6689084"/>
                <a:gd name="connsiteX2170" fmla="*/ 5690606 w 6689088"/>
                <a:gd name="connsiteY2170" fmla="*/ 2043068 h 6689084"/>
                <a:gd name="connsiteX2171" fmla="*/ 5722558 w 6689088"/>
                <a:gd name="connsiteY2171" fmla="*/ 2075019 h 6689084"/>
                <a:gd name="connsiteX2172" fmla="*/ 5690606 w 6689088"/>
                <a:gd name="connsiteY2172" fmla="*/ 2106971 h 6689084"/>
                <a:gd name="connsiteX2173" fmla="*/ 5658655 w 6689088"/>
                <a:gd name="connsiteY2173" fmla="*/ 2075019 h 6689084"/>
                <a:gd name="connsiteX2174" fmla="*/ 5690606 w 6689088"/>
                <a:gd name="connsiteY2174" fmla="*/ 2043068 h 6689084"/>
                <a:gd name="connsiteX2175" fmla="*/ 5844554 w 6689088"/>
                <a:gd name="connsiteY2175" fmla="*/ 2041254 h 6689084"/>
                <a:gd name="connsiteX2176" fmla="*/ 5878320 w 6689088"/>
                <a:gd name="connsiteY2176" fmla="*/ 2075019 h 6689084"/>
                <a:gd name="connsiteX2177" fmla="*/ 5844554 w 6689088"/>
                <a:gd name="connsiteY2177" fmla="*/ 2108789 h 6689084"/>
                <a:gd name="connsiteX2178" fmla="*/ 5810788 w 6689088"/>
                <a:gd name="connsiteY2178" fmla="*/ 2075019 h 6689084"/>
                <a:gd name="connsiteX2179" fmla="*/ 5844554 w 6689088"/>
                <a:gd name="connsiteY2179" fmla="*/ 2041254 h 6689084"/>
                <a:gd name="connsiteX2180" fmla="*/ 5998136 w 6689088"/>
                <a:gd name="connsiteY2180" fmla="*/ 2038711 h 6689084"/>
                <a:gd name="connsiteX2181" fmla="*/ 6034444 w 6689088"/>
                <a:gd name="connsiteY2181" fmla="*/ 2075019 h 6689084"/>
                <a:gd name="connsiteX2182" fmla="*/ 5998136 w 6689088"/>
                <a:gd name="connsiteY2182" fmla="*/ 2111328 h 6689084"/>
                <a:gd name="connsiteX2183" fmla="*/ 5961827 w 6689088"/>
                <a:gd name="connsiteY2183" fmla="*/ 2075019 h 6689084"/>
                <a:gd name="connsiteX2184" fmla="*/ 5998136 w 6689088"/>
                <a:gd name="connsiteY2184" fmla="*/ 2038711 h 6689084"/>
                <a:gd name="connsiteX2185" fmla="*/ 6152083 w 6689088"/>
                <a:gd name="connsiteY2185" fmla="*/ 2036172 h 6689084"/>
                <a:gd name="connsiteX2186" fmla="*/ 6190934 w 6689088"/>
                <a:gd name="connsiteY2186" fmla="*/ 2075023 h 6689084"/>
                <a:gd name="connsiteX2187" fmla="*/ 6152083 w 6689088"/>
                <a:gd name="connsiteY2187" fmla="*/ 2113870 h 6689084"/>
                <a:gd name="connsiteX2188" fmla="*/ 6113236 w 6689088"/>
                <a:gd name="connsiteY2188" fmla="*/ 2075023 h 6689084"/>
                <a:gd name="connsiteX2189" fmla="*/ 6152083 w 6689088"/>
                <a:gd name="connsiteY2189" fmla="*/ 2036172 h 6689084"/>
                <a:gd name="connsiteX2190" fmla="*/ 6305668 w 6689088"/>
                <a:gd name="connsiteY2190" fmla="*/ 2033992 h 6689084"/>
                <a:gd name="connsiteX2191" fmla="*/ 6346700 w 6689088"/>
                <a:gd name="connsiteY2191" fmla="*/ 2075019 h 6689084"/>
                <a:gd name="connsiteX2192" fmla="*/ 6305668 w 6689088"/>
                <a:gd name="connsiteY2192" fmla="*/ 2116047 h 6689084"/>
                <a:gd name="connsiteX2193" fmla="*/ 6264640 w 6689088"/>
                <a:gd name="connsiteY2193" fmla="*/ 2075019 h 6689084"/>
                <a:gd name="connsiteX2194" fmla="*/ 6305668 w 6689088"/>
                <a:gd name="connsiteY2194" fmla="*/ 2033992 h 6689084"/>
                <a:gd name="connsiteX2195" fmla="*/ 6459616 w 6689088"/>
                <a:gd name="connsiteY2195" fmla="*/ 2031449 h 6689084"/>
                <a:gd name="connsiteX2196" fmla="*/ 6503186 w 6689088"/>
                <a:gd name="connsiteY2196" fmla="*/ 2075019 h 6689084"/>
                <a:gd name="connsiteX2197" fmla="*/ 6459616 w 6689088"/>
                <a:gd name="connsiteY2197" fmla="*/ 2118590 h 6689084"/>
                <a:gd name="connsiteX2198" fmla="*/ 6416046 w 6689088"/>
                <a:gd name="connsiteY2198" fmla="*/ 2075019 h 6689084"/>
                <a:gd name="connsiteX2199" fmla="*/ 6459616 w 6689088"/>
                <a:gd name="connsiteY2199" fmla="*/ 2031449 h 6689084"/>
                <a:gd name="connsiteX2200" fmla="*/ 6613200 w 6689088"/>
                <a:gd name="connsiteY2200" fmla="*/ 2028911 h 6689084"/>
                <a:gd name="connsiteX2201" fmla="*/ 6659313 w 6689088"/>
                <a:gd name="connsiteY2201" fmla="*/ 2075023 h 6689084"/>
                <a:gd name="connsiteX2202" fmla="*/ 6613200 w 6689088"/>
                <a:gd name="connsiteY2202" fmla="*/ 2121136 h 6689084"/>
                <a:gd name="connsiteX2203" fmla="*/ 6567088 w 6689088"/>
                <a:gd name="connsiteY2203" fmla="*/ 2075023 h 6689084"/>
                <a:gd name="connsiteX2204" fmla="*/ 6613200 w 6689088"/>
                <a:gd name="connsiteY2204" fmla="*/ 2028911 h 6689084"/>
                <a:gd name="connsiteX2205" fmla="*/ 2614925 w 6689088"/>
                <a:gd name="connsiteY2205" fmla="*/ 1921072 h 6689084"/>
                <a:gd name="connsiteX2206" fmla="*/ 2615288 w 6689088"/>
                <a:gd name="connsiteY2206" fmla="*/ 1921434 h 6689084"/>
                <a:gd name="connsiteX2207" fmla="*/ 2614925 w 6689088"/>
                <a:gd name="connsiteY2207" fmla="*/ 1921800 h 6689084"/>
                <a:gd name="connsiteX2208" fmla="*/ 2614563 w 6689088"/>
                <a:gd name="connsiteY2208" fmla="*/ 1921434 h 6689084"/>
                <a:gd name="connsiteX2209" fmla="*/ 2614925 w 6689088"/>
                <a:gd name="connsiteY2209" fmla="*/ 1921072 h 6689084"/>
                <a:gd name="connsiteX2210" fmla="*/ 2153808 w 6689088"/>
                <a:gd name="connsiteY2210" fmla="*/ 1921072 h 6689084"/>
                <a:gd name="connsiteX2211" fmla="*/ 2154170 w 6689088"/>
                <a:gd name="connsiteY2211" fmla="*/ 1921434 h 6689084"/>
                <a:gd name="connsiteX2212" fmla="*/ 2153808 w 6689088"/>
                <a:gd name="connsiteY2212" fmla="*/ 1921800 h 6689084"/>
                <a:gd name="connsiteX2213" fmla="*/ 2153445 w 6689088"/>
                <a:gd name="connsiteY2213" fmla="*/ 1921434 h 6689084"/>
                <a:gd name="connsiteX2214" fmla="*/ 2153808 w 6689088"/>
                <a:gd name="connsiteY2214" fmla="*/ 1921072 h 6689084"/>
                <a:gd name="connsiteX2215" fmla="*/ 1999860 w 6689088"/>
                <a:gd name="connsiteY2215" fmla="*/ 1921072 h 6689084"/>
                <a:gd name="connsiteX2216" fmla="*/ 2000222 w 6689088"/>
                <a:gd name="connsiteY2216" fmla="*/ 1921434 h 6689084"/>
                <a:gd name="connsiteX2217" fmla="*/ 1999860 w 6689088"/>
                <a:gd name="connsiteY2217" fmla="*/ 1921800 h 6689084"/>
                <a:gd name="connsiteX2218" fmla="*/ 1999498 w 6689088"/>
                <a:gd name="connsiteY2218" fmla="*/ 1921434 h 6689084"/>
                <a:gd name="connsiteX2219" fmla="*/ 1999860 w 6689088"/>
                <a:gd name="connsiteY2219" fmla="*/ 1921072 h 6689084"/>
                <a:gd name="connsiteX2220" fmla="*/ 1846279 w 6689088"/>
                <a:gd name="connsiteY2220" fmla="*/ 1920710 h 6689084"/>
                <a:gd name="connsiteX2221" fmla="*/ 1847003 w 6689088"/>
                <a:gd name="connsiteY2221" fmla="*/ 1921434 h 6689084"/>
                <a:gd name="connsiteX2222" fmla="*/ 1846279 w 6689088"/>
                <a:gd name="connsiteY2222" fmla="*/ 1922162 h 6689084"/>
                <a:gd name="connsiteX2223" fmla="*/ 1845551 w 6689088"/>
                <a:gd name="connsiteY2223" fmla="*/ 1921434 h 6689084"/>
                <a:gd name="connsiteX2224" fmla="*/ 1846279 w 6689088"/>
                <a:gd name="connsiteY2224" fmla="*/ 1920710 h 6689084"/>
                <a:gd name="connsiteX2225" fmla="*/ 2768873 w 6689088"/>
                <a:gd name="connsiteY2225" fmla="*/ 1919620 h 6689084"/>
                <a:gd name="connsiteX2226" fmla="*/ 2770325 w 6689088"/>
                <a:gd name="connsiteY2226" fmla="*/ 1921072 h 6689084"/>
                <a:gd name="connsiteX2227" fmla="*/ 2768873 w 6689088"/>
                <a:gd name="connsiteY2227" fmla="*/ 1922524 h 6689084"/>
                <a:gd name="connsiteX2228" fmla="*/ 2767421 w 6689088"/>
                <a:gd name="connsiteY2228" fmla="*/ 1921072 h 6689084"/>
                <a:gd name="connsiteX2229" fmla="*/ 2768873 w 6689088"/>
                <a:gd name="connsiteY2229" fmla="*/ 1919620 h 6689084"/>
                <a:gd name="connsiteX2230" fmla="*/ 2922454 w 6689088"/>
                <a:gd name="connsiteY2230" fmla="*/ 1918895 h 6689084"/>
                <a:gd name="connsiteX2231" fmla="*/ 2924635 w 6689088"/>
                <a:gd name="connsiteY2231" fmla="*/ 1921076 h 6689084"/>
                <a:gd name="connsiteX2232" fmla="*/ 2922454 w 6689088"/>
                <a:gd name="connsiteY2232" fmla="*/ 1923252 h 6689084"/>
                <a:gd name="connsiteX2233" fmla="*/ 2920278 w 6689088"/>
                <a:gd name="connsiteY2233" fmla="*/ 1921076 h 6689084"/>
                <a:gd name="connsiteX2234" fmla="*/ 2922454 w 6689088"/>
                <a:gd name="connsiteY2234" fmla="*/ 1918895 h 6689084"/>
                <a:gd name="connsiteX2235" fmla="*/ 3076406 w 6689088"/>
                <a:gd name="connsiteY2235" fmla="*/ 1918167 h 6689084"/>
                <a:gd name="connsiteX2236" fmla="*/ 3079672 w 6689088"/>
                <a:gd name="connsiteY2236" fmla="*/ 1921434 h 6689084"/>
                <a:gd name="connsiteX2237" fmla="*/ 3076406 w 6689088"/>
                <a:gd name="connsiteY2237" fmla="*/ 1924701 h 6689084"/>
                <a:gd name="connsiteX2238" fmla="*/ 3073135 w 6689088"/>
                <a:gd name="connsiteY2238" fmla="*/ 1921434 h 6689084"/>
                <a:gd name="connsiteX2239" fmla="*/ 3076406 w 6689088"/>
                <a:gd name="connsiteY2239" fmla="*/ 1918167 h 6689084"/>
                <a:gd name="connsiteX2240" fmla="*/ 3230353 w 6689088"/>
                <a:gd name="connsiteY2240" fmla="*/ 1916715 h 6689084"/>
                <a:gd name="connsiteX2241" fmla="*/ 3234710 w 6689088"/>
                <a:gd name="connsiteY2241" fmla="*/ 1921072 h 6689084"/>
                <a:gd name="connsiteX2242" fmla="*/ 3230353 w 6689088"/>
                <a:gd name="connsiteY2242" fmla="*/ 1925429 h 6689084"/>
                <a:gd name="connsiteX2243" fmla="*/ 3225996 w 6689088"/>
                <a:gd name="connsiteY2243" fmla="*/ 1921072 h 6689084"/>
                <a:gd name="connsiteX2244" fmla="*/ 3230353 w 6689088"/>
                <a:gd name="connsiteY2244" fmla="*/ 1916715 h 6689084"/>
                <a:gd name="connsiteX2245" fmla="*/ 3383938 w 6689088"/>
                <a:gd name="connsiteY2245" fmla="*/ 1915625 h 6689084"/>
                <a:gd name="connsiteX2246" fmla="*/ 3389748 w 6689088"/>
                <a:gd name="connsiteY2246" fmla="*/ 1921434 h 6689084"/>
                <a:gd name="connsiteX2247" fmla="*/ 3383938 w 6689088"/>
                <a:gd name="connsiteY2247" fmla="*/ 1927243 h 6689084"/>
                <a:gd name="connsiteX2248" fmla="*/ 3378129 w 6689088"/>
                <a:gd name="connsiteY2248" fmla="*/ 1921434 h 6689084"/>
                <a:gd name="connsiteX2249" fmla="*/ 3383938 w 6689088"/>
                <a:gd name="connsiteY2249" fmla="*/ 1915625 h 6689084"/>
                <a:gd name="connsiteX2250" fmla="*/ 3537882 w 6689088"/>
                <a:gd name="connsiteY2250" fmla="*/ 1913810 h 6689084"/>
                <a:gd name="connsiteX2251" fmla="*/ 3545143 w 6689088"/>
                <a:gd name="connsiteY2251" fmla="*/ 1921072 h 6689084"/>
                <a:gd name="connsiteX2252" fmla="*/ 3537882 w 6689088"/>
                <a:gd name="connsiteY2252" fmla="*/ 1928334 h 6689084"/>
                <a:gd name="connsiteX2253" fmla="*/ 3530620 w 6689088"/>
                <a:gd name="connsiteY2253" fmla="*/ 1921072 h 6689084"/>
                <a:gd name="connsiteX2254" fmla="*/ 3537882 w 6689088"/>
                <a:gd name="connsiteY2254" fmla="*/ 1913810 h 6689084"/>
                <a:gd name="connsiteX2255" fmla="*/ 3691467 w 6689088"/>
                <a:gd name="connsiteY2255" fmla="*/ 1911996 h 6689084"/>
                <a:gd name="connsiteX2256" fmla="*/ 3700547 w 6689088"/>
                <a:gd name="connsiteY2256" fmla="*/ 1921072 h 6689084"/>
                <a:gd name="connsiteX2257" fmla="*/ 3691467 w 6689088"/>
                <a:gd name="connsiteY2257" fmla="*/ 1930152 h 6689084"/>
                <a:gd name="connsiteX2258" fmla="*/ 3682391 w 6689088"/>
                <a:gd name="connsiteY2258" fmla="*/ 1921072 h 6689084"/>
                <a:gd name="connsiteX2259" fmla="*/ 3691467 w 6689088"/>
                <a:gd name="connsiteY2259" fmla="*/ 1911996 h 6689084"/>
                <a:gd name="connsiteX2260" fmla="*/ 3845414 w 6689088"/>
                <a:gd name="connsiteY2260" fmla="*/ 1911268 h 6689084"/>
                <a:gd name="connsiteX2261" fmla="*/ 3855581 w 6689088"/>
                <a:gd name="connsiteY2261" fmla="*/ 1921434 h 6689084"/>
                <a:gd name="connsiteX2262" fmla="*/ 3845414 w 6689088"/>
                <a:gd name="connsiteY2262" fmla="*/ 1931600 h 6689084"/>
                <a:gd name="connsiteX2263" fmla="*/ 3835248 w 6689088"/>
                <a:gd name="connsiteY2263" fmla="*/ 1921434 h 6689084"/>
                <a:gd name="connsiteX2264" fmla="*/ 3845414 w 6689088"/>
                <a:gd name="connsiteY2264" fmla="*/ 1911268 h 6689084"/>
                <a:gd name="connsiteX2265" fmla="*/ 3999000 w 6689088"/>
                <a:gd name="connsiteY2265" fmla="*/ 1909091 h 6689084"/>
                <a:gd name="connsiteX2266" fmla="*/ 4010984 w 6689088"/>
                <a:gd name="connsiteY2266" fmla="*/ 1921072 h 6689084"/>
                <a:gd name="connsiteX2267" fmla="*/ 3999000 w 6689088"/>
                <a:gd name="connsiteY2267" fmla="*/ 1933053 h 6689084"/>
                <a:gd name="connsiteX2268" fmla="*/ 3987019 w 6689088"/>
                <a:gd name="connsiteY2268" fmla="*/ 1921072 h 6689084"/>
                <a:gd name="connsiteX2269" fmla="*/ 3999000 w 6689088"/>
                <a:gd name="connsiteY2269" fmla="*/ 1909091 h 6689084"/>
                <a:gd name="connsiteX2270" fmla="*/ 4152951 w 6689088"/>
                <a:gd name="connsiteY2270" fmla="*/ 1907277 h 6689084"/>
                <a:gd name="connsiteX2271" fmla="*/ 4166746 w 6689088"/>
                <a:gd name="connsiteY2271" fmla="*/ 1921076 h 6689084"/>
                <a:gd name="connsiteX2272" fmla="*/ 4152951 w 6689088"/>
                <a:gd name="connsiteY2272" fmla="*/ 1934871 h 6689084"/>
                <a:gd name="connsiteX2273" fmla="*/ 4139152 w 6689088"/>
                <a:gd name="connsiteY2273" fmla="*/ 1921076 h 6689084"/>
                <a:gd name="connsiteX2274" fmla="*/ 4152951 w 6689088"/>
                <a:gd name="connsiteY2274" fmla="*/ 1907277 h 6689084"/>
                <a:gd name="connsiteX2275" fmla="*/ 4306528 w 6689088"/>
                <a:gd name="connsiteY2275" fmla="*/ 1905824 h 6689084"/>
                <a:gd name="connsiteX2276" fmla="*/ 4321780 w 6689088"/>
                <a:gd name="connsiteY2276" fmla="*/ 1921072 h 6689084"/>
                <a:gd name="connsiteX2277" fmla="*/ 4306528 w 6689088"/>
                <a:gd name="connsiteY2277" fmla="*/ 1936323 h 6689084"/>
                <a:gd name="connsiteX2278" fmla="*/ 4291281 w 6689088"/>
                <a:gd name="connsiteY2278" fmla="*/ 1921072 h 6689084"/>
                <a:gd name="connsiteX2279" fmla="*/ 4306528 w 6689088"/>
                <a:gd name="connsiteY2279" fmla="*/ 1905824 h 6689084"/>
                <a:gd name="connsiteX2280" fmla="*/ 4460480 w 6689088"/>
                <a:gd name="connsiteY2280" fmla="*/ 1904006 h 6689084"/>
                <a:gd name="connsiteX2281" fmla="*/ 4477546 w 6689088"/>
                <a:gd name="connsiteY2281" fmla="*/ 1921072 h 6689084"/>
                <a:gd name="connsiteX2282" fmla="*/ 4460480 w 6689088"/>
                <a:gd name="connsiteY2282" fmla="*/ 1938138 h 6689084"/>
                <a:gd name="connsiteX2283" fmla="*/ 4443414 w 6689088"/>
                <a:gd name="connsiteY2283" fmla="*/ 1921072 h 6689084"/>
                <a:gd name="connsiteX2284" fmla="*/ 4460480 w 6689088"/>
                <a:gd name="connsiteY2284" fmla="*/ 1904006 h 6689084"/>
                <a:gd name="connsiteX2285" fmla="*/ 4614061 w 6689088"/>
                <a:gd name="connsiteY2285" fmla="*/ 1901830 h 6689084"/>
                <a:gd name="connsiteX2286" fmla="*/ 4633304 w 6689088"/>
                <a:gd name="connsiteY2286" fmla="*/ 1921072 h 6689084"/>
                <a:gd name="connsiteX2287" fmla="*/ 4614061 w 6689088"/>
                <a:gd name="connsiteY2287" fmla="*/ 1940314 h 6689084"/>
                <a:gd name="connsiteX2288" fmla="*/ 4594818 w 6689088"/>
                <a:gd name="connsiteY2288" fmla="*/ 1921072 h 6689084"/>
                <a:gd name="connsiteX2289" fmla="*/ 4614061 w 6689088"/>
                <a:gd name="connsiteY2289" fmla="*/ 1901830 h 6689084"/>
                <a:gd name="connsiteX2290" fmla="*/ 4768012 w 6689088"/>
                <a:gd name="connsiteY2290" fmla="*/ 1899649 h 6689084"/>
                <a:gd name="connsiteX2291" fmla="*/ 4789432 w 6689088"/>
                <a:gd name="connsiteY2291" fmla="*/ 1921072 h 6689084"/>
                <a:gd name="connsiteX2292" fmla="*/ 4768012 w 6689088"/>
                <a:gd name="connsiteY2292" fmla="*/ 1942495 h 6689084"/>
                <a:gd name="connsiteX2293" fmla="*/ 4746590 w 6689088"/>
                <a:gd name="connsiteY2293" fmla="*/ 1921072 h 6689084"/>
                <a:gd name="connsiteX2294" fmla="*/ 4768012 w 6689088"/>
                <a:gd name="connsiteY2294" fmla="*/ 1899649 h 6689084"/>
                <a:gd name="connsiteX2295" fmla="*/ 4921594 w 6689088"/>
                <a:gd name="connsiteY2295" fmla="*/ 1898563 h 6689084"/>
                <a:gd name="connsiteX2296" fmla="*/ 4944469 w 6689088"/>
                <a:gd name="connsiteY2296" fmla="*/ 1921438 h 6689084"/>
                <a:gd name="connsiteX2297" fmla="*/ 4921594 w 6689088"/>
                <a:gd name="connsiteY2297" fmla="*/ 1944309 h 6689084"/>
                <a:gd name="connsiteX2298" fmla="*/ 4898718 w 6689088"/>
                <a:gd name="connsiteY2298" fmla="*/ 1921438 h 6689084"/>
                <a:gd name="connsiteX2299" fmla="*/ 4921594 w 6689088"/>
                <a:gd name="connsiteY2299" fmla="*/ 1898563 h 6689084"/>
                <a:gd name="connsiteX2300" fmla="*/ 5075541 w 6689088"/>
                <a:gd name="connsiteY2300" fmla="*/ 1896382 h 6689084"/>
                <a:gd name="connsiteX2301" fmla="*/ 5100597 w 6689088"/>
                <a:gd name="connsiteY2301" fmla="*/ 1921434 h 6689084"/>
                <a:gd name="connsiteX2302" fmla="*/ 5075541 w 6689088"/>
                <a:gd name="connsiteY2302" fmla="*/ 1946490 h 6689084"/>
                <a:gd name="connsiteX2303" fmla="*/ 5050490 w 6689088"/>
                <a:gd name="connsiteY2303" fmla="*/ 1921434 h 6689084"/>
                <a:gd name="connsiteX2304" fmla="*/ 5075541 w 6689088"/>
                <a:gd name="connsiteY2304" fmla="*/ 1896382 h 6689084"/>
                <a:gd name="connsiteX2305" fmla="*/ 5229126 w 6689088"/>
                <a:gd name="connsiteY2305" fmla="*/ 1894206 h 6689084"/>
                <a:gd name="connsiteX2306" fmla="*/ 5256358 w 6689088"/>
                <a:gd name="connsiteY2306" fmla="*/ 1921438 h 6689084"/>
                <a:gd name="connsiteX2307" fmla="*/ 5229126 w 6689088"/>
                <a:gd name="connsiteY2307" fmla="*/ 1948670 h 6689084"/>
                <a:gd name="connsiteX2308" fmla="*/ 5201894 w 6689088"/>
                <a:gd name="connsiteY2308" fmla="*/ 1921438 h 6689084"/>
                <a:gd name="connsiteX2309" fmla="*/ 5229126 w 6689088"/>
                <a:gd name="connsiteY2309" fmla="*/ 1894206 h 6689084"/>
                <a:gd name="connsiteX2310" fmla="*/ 5383074 w 6689088"/>
                <a:gd name="connsiteY2310" fmla="*/ 1891301 h 6689084"/>
                <a:gd name="connsiteX2311" fmla="*/ 5412848 w 6689088"/>
                <a:gd name="connsiteY2311" fmla="*/ 1921072 h 6689084"/>
                <a:gd name="connsiteX2312" fmla="*/ 5383074 w 6689088"/>
                <a:gd name="connsiteY2312" fmla="*/ 1950847 h 6689084"/>
                <a:gd name="connsiteX2313" fmla="*/ 5353303 w 6689088"/>
                <a:gd name="connsiteY2313" fmla="*/ 1921072 h 6689084"/>
                <a:gd name="connsiteX2314" fmla="*/ 5383074 w 6689088"/>
                <a:gd name="connsiteY2314" fmla="*/ 1891301 h 6689084"/>
                <a:gd name="connsiteX2315" fmla="*/ 5536659 w 6689088"/>
                <a:gd name="connsiteY2315" fmla="*/ 1889121 h 6689084"/>
                <a:gd name="connsiteX2316" fmla="*/ 5568610 w 6689088"/>
                <a:gd name="connsiteY2316" fmla="*/ 1921072 h 6689084"/>
                <a:gd name="connsiteX2317" fmla="*/ 5536659 w 6689088"/>
                <a:gd name="connsiteY2317" fmla="*/ 1953023 h 6689084"/>
                <a:gd name="connsiteX2318" fmla="*/ 5504708 w 6689088"/>
                <a:gd name="connsiteY2318" fmla="*/ 1921072 h 6689084"/>
                <a:gd name="connsiteX2319" fmla="*/ 5536659 w 6689088"/>
                <a:gd name="connsiteY2319" fmla="*/ 1889121 h 6689084"/>
                <a:gd name="connsiteX2320" fmla="*/ 5690606 w 6689088"/>
                <a:gd name="connsiteY2320" fmla="*/ 1887306 h 6689084"/>
                <a:gd name="connsiteX2321" fmla="*/ 5724376 w 6689088"/>
                <a:gd name="connsiteY2321" fmla="*/ 1921072 h 6689084"/>
                <a:gd name="connsiteX2322" fmla="*/ 5690606 w 6689088"/>
                <a:gd name="connsiteY2322" fmla="*/ 1954842 h 6689084"/>
                <a:gd name="connsiteX2323" fmla="*/ 5656840 w 6689088"/>
                <a:gd name="connsiteY2323" fmla="*/ 1921072 h 6689084"/>
                <a:gd name="connsiteX2324" fmla="*/ 5690606 w 6689088"/>
                <a:gd name="connsiteY2324" fmla="*/ 1887306 h 6689084"/>
                <a:gd name="connsiteX2325" fmla="*/ 5844554 w 6689088"/>
                <a:gd name="connsiteY2325" fmla="*/ 1884764 h 6689084"/>
                <a:gd name="connsiteX2326" fmla="*/ 5880862 w 6689088"/>
                <a:gd name="connsiteY2326" fmla="*/ 1921072 h 6689084"/>
                <a:gd name="connsiteX2327" fmla="*/ 5844554 w 6689088"/>
                <a:gd name="connsiteY2327" fmla="*/ 1957380 h 6689084"/>
                <a:gd name="connsiteX2328" fmla="*/ 5808246 w 6689088"/>
                <a:gd name="connsiteY2328" fmla="*/ 1921072 h 6689084"/>
                <a:gd name="connsiteX2329" fmla="*/ 5844554 w 6689088"/>
                <a:gd name="connsiteY2329" fmla="*/ 1884764 h 6689084"/>
                <a:gd name="connsiteX2330" fmla="*/ 5998139 w 6689088"/>
                <a:gd name="connsiteY2330" fmla="*/ 1882225 h 6689084"/>
                <a:gd name="connsiteX2331" fmla="*/ 6036990 w 6689088"/>
                <a:gd name="connsiteY2331" fmla="*/ 1921076 h 6689084"/>
                <a:gd name="connsiteX2332" fmla="*/ 5998139 w 6689088"/>
                <a:gd name="connsiteY2332" fmla="*/ 1959923 h 6689084"/>
                <a:gd name="connsiteX2333" fmla="*/ 5959288 w 6689088"/>
                <a:gd name="connsiteY2333" fmla="*/ 1921076 h 6689084"/>
                <a:gd name="connsiteX2334" fmla="*/ 5998139 w 6689088"/>
                <a:gd name="connsiteY2334" fmla="*/ 1882225 h 6689084"/>
                <a:gd name="connsiteX2335" fmla="*/ 6152083 w 6689088"/>
                <a:gd name="connsiteY2335" fmla="*/ 1880045 h 6689084"/>
                <a:gd name="connsiteX2336" fmla="*/ 6193114 w 6689088"/>
                <a:gd name="connsiteY2336" fmla="*/ 1921072 h 6689084"/>
                <a:gd name="connsiteX2337" fmla="*/ 6152083 w 6689088"/>
                <a:gd name="connsiteY2337" fmla="*/ 1962103 h 6689084"/>
                <a:gd name="connsiteX2338" fmla="*/ 6111056 w 6689088"/>
                <a:gd name="connsiteY2338" fmla="*/ 1921072 h 6689084"/>
                <a:gd name="connsiteX2339" fmla="*/ 6152083 w 6689088"/>
                <a:gd name="connsiteY2339" fmla="*/ 1880045 h 6689084"/>
                <a:gd name="connsiteX2340" fmla="*/ 6305668 w 6689088"/>
                <a:gd name="connsiteY2340" fmla="*/ 1877502 h 6689084"/>
                <a:gd name="connsiteX2341" fmla="*/ 6349238 w 6689088"/>
                <a:gd name="connsiteY2341" fmla="*/ 1921072 h 6689084"/>
                <a:gd name="connsiteX2342" fmla="*/ 6305668 w 6689088"/>
                <a:gd name="connsiteY2342" fmla="*/ 1964642 h 6689084"/>
                <a:gd name="connsiteX2343" fmla="*/ 6262098 w 6689088"/>
                <a:gd name="connsiteY2343" fmla="*/ 1921072 h 6689084"/>
                <a:gd name="connsiteX2344" fmla="*/ 6305668 w 6689088"/>
                <a:gd name="connsiteY2344" fmla="*/ 1877502 h 6689084"/>
                <a:gd name="connsiteX2345" fmla="*/ 6459616 w 6689088"/>
                <a:gd name="connsiteY2345" fmla="*/ 1874959 h 6689084"/>
                <a:gd name="connsiteX2346" fmla="*/ 6505728 w 6689088"/>
                <a:gd name="connsiteY2346" fmla="*/ 1921072 h 6689084"/>
                <a:gd name="connsiteX2347" fmla="*/ 6459616 w 6689088"/>
                <a:gd name="connsiteY2347" fmla="*/ 1967184 h 6689084"/>
                <a:gd name="connsiteX2348" fmla="*/ 6413503 w 6689088"/>
                <a:gd name="connsiteY2348" fmla="*/ 1921072 h 6689084"/>
                <a:gd name="connsiteX2349" fmla="*/ 6459616 w 6689088"/>
                <a:gd name="connsiteY2349" fmla="*/ 1874959 h 6689084"/>
                <a:gd name="connsiteX2350" fmla="*/ 6613200 w 6689088"/>
                <a:gd name="connsiteY2350" fmla="*/ 1872421 h 6689084"/>
                <a:gd name="connsiteX2351" fmla="*/ 6661856 w 6689088"/>
                <a:gd name="connsiteY2351" fmla="*/ 1921076 h 6689084"/>
                <a:gd name="connsiteX2352" fmla="*/ 6613200 w 6689088"/>
                <a:gd name="connsiteY2352" fmla="*/ 1969727 h 6689084"/>
                <a:gd name="connsiteX2353" fmla="*/ 6564550 w 6689088"/>
                <a:gd name="connsiteY2353" fmla="*/ 1921076 h 6689084"/>
                <a:gd name="connsiteX2354" fmla="*/ 6613200 w 6689088"/>
                <a:gd name="connsiteY2354" fmla="*/ 1872421 h 6689084"/>
                <a:gd name="connsiteX2355" fmla="*/ 2461340 w 6689088"/>
                <a:gd name="connsiteY2355" fmla="*/ 1767125 h 6689084"/>
                <a:gd name="connsiteX2356" fmla="*/ 2461702 w 6689088"/>
                <a:gd name="connsiteY2356" fmla="*/ 1767487 h 6689084"/>
                <a:gd name="connsiteX2357" fmla="*/ 2461340 w 6689088"/>
                <a:gd name="connsiteY2357" fmla="*/ 1767853 h 6689084"/>
                <a:gd name="connsiteX2358" fmla="*/ 2460978 w 6689088"/>
                <a:gd name="connsiteY2358" fmla="*/ 1767487 h 6689084"/>
                <a:gd name="connsiteX2359" fmla="*/ 2461340 w 6689088"/>
                <a:gd name="connsiteY2359" fmla="*/ 1767125 h 6689084"/>
                <a:gd name="connsiteX2360" fmla="*/ 1999860 w 6689088"/>
                <a:gd name="connsiteY2360" fmla="*/ 1767125 h 6689084"/>
                <a:gd name="connsiteX2361" fmla="*/ 2000222 w 6689088"/>
                <a:gd name="connsiteY2361" fmla="*/ 1767487 h 6689084"/>
                <a:gd name="connsiteX2362" fmla="*/ 1999860 w 6689088"/>
                <a:gd name="connsiteY2362" fmla="*/ 1767853 h 6689084"/>
                <a:gd name="connsiteX2363" fmla="*/ 1999498 w 6689088"/>
                <a:gd name="connsiteY2363" fmla="*/ 1767487 h 6689084"/>
                <a:gd name="connsiteX2364" fmla="*/ 1999860 w 6689088"/>
                <a:gd name="connsiteY2364" fmla="*/ 1767125 h 6689084"/>
                <a:gd name="connsiteX2365" fmla="*/ 1846279 w 6689088"/>
                <a:gd name="connsiteY2365" fmla="*/ 1767125 h 6689084"/>
                <a:gd name="connsiteX2366" fmla="*/ 1846641 w 6689088"/>
                <a:gd name="connsiteY2366" fmla="*/ 1767487 h 6689084"/>
                <a:gd name="connsiteX2367" fmla="*/ 1846279 w 6689088"/>
                <a:gd name="connsiteY2367" fmla="*/ 1767853 h 6689084"/>
                <a:gd name="connsiteX2368" fmla="*/ 1845917 w 6689088"/>
                <a:gd name="connsiteY2368" fmla="*/ 1767487 h 6689084"/>
                <a:gd name="connsiteX2369" fmla="*/ 1846279 w 6689088"/>
                <a:gd name="connsiteY2369" fmla="*/ 1767125 h 6689084"/>
                <a:gd name="connsiteX2370" fmla="*/ 1692328 w 6689088"/>
                <a:gd name="connsiteY2370" fmla="*/ 1766762 h 6689084"/>
                <a:gd name="connsiteX2371" fmla="*/ 1693056 w 6689088"/>
                <a:gd name="connsiteY2371" fmla="*/ 1767491 h 6689084"/>
                <a:gd name="connsiteX2372" fmla="*/ 1692328 w 6689088"/>
                <a:gd name="connsiteY2372" fmla="*/ 1768215 h 6689084"/>
                <a:gd name="connsiteX2373" fmla="*/ 1691603 w 6689088"/>
                <a:gd name="connsiteY2373" fmla="*/ 1767491 h 6689084"/>
                <a:gd name="connsiteX2374" fmla="*/ 1692328 w 6689088"/>
                <a:gd name="connsiteY2374" fmla="*/ 1766762 h 6689084"/>
                <a:gd name="connsiteX2375" fmla="*/ 2614925 w 6689088"/>
                <a:gd name="connsiteY2375" fmla="*/ 1765672 h 6689084"/>
                <a:gd name="connsiteX2376" fmla="*/ 2616378 w 6689088"/>
                <a:gd name="connsiteY2376" fmla="*/ 1767125 h 6689084"/>
                <a:gd name="connsiteX2377" fmla="*/ 2614925 w 6689088"/>
                <a:gd name="connsiteY2377" fmla="*/ 1768577 h 6689084"/>
                <a:gd name="connsiteX2378" fmla="*/ 2613473 w 6689088"/>
                <a:gd name="connsiteY2378" fmla="*/ 1767125 h 6689084"/>
                <a:gd name="connsiteX2379" fmla="*/ 2614925 w 6689088"/>
                <a:gd name="connsiteY2379" fmla="*/ 1765672 h 6689084"/>
                <a:gd name="connsiteX2380" fmla="*/ 2768873 w 6689088"/>
                <a:gd name="connsiteY2380" fmla="*/ 1765310 h 6689084"/>
                <a:gd name="connsiteX2381" fmla="*/ 2771049 w 6689088"/>
                <a:gd name="connsiteY2381" fmla="*/ 1767491 h 6689084"/>
                <a:gd name="connsiteX2382" fmla="*/ 2768873 w 6689088"/>
                <a:gd name="connsiteY2382" fmla="*/ 1769667 h 6689084"/>
                <a:gd name="connsiteX2383" fmla="*/ 2766692 w 6689088"/>
                <a:gd name="connsiteY2383" fmla="*/ 1767491 h 6689084"/>
                <a:gd name="connsiteX2384" fmla="*/ 2768873 w 6689088"/>
                <a:gd name="connsiteY2384" fmla="*/ 1765310 h 6689084"/>
                <a:gd name="connsiteX2385" fmla="*/ 2922454 w 6689088"/>
                <a:gd name="connsiteY2385" fmla="*/ 1764220 h 6689084"/>
                <a:gd name="connsiteX2386" fmla="*/ 2925721 w 6689088"/>
                <a:gd name="connsiteY2386" fmla="*/ 1767487 h 6689084"/>
                <a:gd name="connsiteX2387" fmla="*/ 2922454 w 6689088"/>
                <a:gd name="connsiteY2387" fmla="*/ 1770757 h 6689084"/>
                <a:gd name="connsiteX2388" fmla="*/ 2919188 w 6689088"/>
                <a:gd name="connsiteY2388" fmla="*/ 1767487 h 6689084"/>
                <a:gd name="connsiteX2389" fmla="*/ 2922454 w 6689088"/>
                <a:gd name="connsiteY2389" fmla="*/ 1764220 h 6689084"/>
                <a:gd name="connsiteX2390" fmla="*/ 3076406 w 6689088"/>
                <a:gd name="connsiteY2390" fmla="*/ 1763134 h 6689084"/>
                <a:gd name="connsiteX2391" fmla="*/ 3080762 w 6689088"/>
                <a:gd name="connsiteY2391" fmla="*/ 1767491 h 6689084"/>
                <a:gd name="connsiteX2392" fmla="*/ 3076406 w 6689088"/>
                <a:gd name="connsiteY2392" fmla="*/ 1771848 h 6689084"/>
                <a:gd name="connsiteX2393" fmla="*/ 3072048 w 6689088"/>
                <a:gd name="connsiteY2393" fmla="*/ 1767491 h 6689084"/>
                <a:gd name="connsiteX2394" fmla="*/ 3076406 w 6689088"/>
                <a:gd name="connsiteY2394" fmla="*/ 1763134 h 6689084"/>
                <a:gd name="connsiteX2395" fmla="*/ 3230353 w 6689088"/>
                <a:gd name="connsiteY2395" fmla="*/ 1761681 h 6689084"/>
                <a:gd name="connsiteX2396" fmla="*/ 3236162 w 6689088"/>
                <a:gd name="connsiteY2396" fmla="*/ 1767491 h 6689084"/>
                <a:gd name="connsiteX2397" fmla="*/ 3230353 w 6689088"/>
                <a:gd name="connsiteY2397" fmla="*/ 1773300 h 6689084"/>
                <a:gd name="connsiteX2398" fmla="*/ 3224544 w 6689088"/>
                <a:gd name="connsiteY2398" fmla="*/ 1767491 h 6689084"/>
                <a:gd name="connsiteX2399" fmla="*/ 3230353 w 6689088"/>
                <a:gd name="connsiteY2399" fmla="*/ 1761681 h 6689084"/>
                <a:gd name="connsiteX2400" fmla="*/ 3383938 w 6689088"/>
                <a:gd name="connsiteY2400" fmla="*/ 1760225 h 6689084"/>
                <a:gd name="connsiteX2401" fmla="*/ 3391200 w 6689088"/>
                <a:gd name="connsiteY2401" fmla="*/ 1767487 h 6689084"/>
                <a:gd name="connsiteX2402" fmla="*/ 3383938 w 6689088"/>
                <a:gd name="connsiteY2402" fmla="*/ 1774748 h 6689084"/>
                <a:gd name="connsiteX2403" fmla="*/ 3376676 w 6689088"/>
                <a:gd name="connsiteY2403" fmla="*/ 1767487 h 6689084"/>
                <a:gd name="connsiteX2404" fmla="*/ 3383938 w 6689088"/>
                <a:gd name="connsiteY2404" fmla="*/ 1760225 h 6689084"/>
                <a:gd name="connsiteX2405" fmla="*/ 3537882 w 6689088"/>
                <a:gd name="connsiteY2405" fmla="*/ 1758411 h 6689084"/>
                <a:gd name="connsiteX2406" fmla="*/ 3546962 w 6689088"/>
                <a:gd name="connsiteY2406" fmla="*/ 1767487 h 6689084"/>
                <a:gd name="connsiteX2407" fmla="*/ 3537882 w 6689088"/>
                <a:gd name="connsiteY2407" fmla="*/ 1776567 h 6689084"/>
                <a:gd name="connsiteX2408" fmla="*/ 3528806 w 6689088"/>
                <a:gd name="connsiteY2408" fmla="*/ 1767487 h 6689084"/>
                <a:gd name="connsiteX2409" fmla="*/ 3537882 w 6689088"/>
                <a:gd name="connsiteY2409" fmla="*/ 1758411 h 6689084"/>
                <a:gd name="connsiteX2410" fmla="*/ 3691467 w 6689088"/>
                <a:gd name="connsiteY2410" fmla="*/ 1757324 h 6689084"/>
                <a:gd name="connsiteX2411" fmla="*/ 3701633 w 6689088"/>
                <a:gd name="connsiteY2411" fmla="*/ 1767491 h 6689084"/>
                <a:gd name="connsiteX2412" fmla="*/ 3691467 w 6689088"/>
                <a:gd name="connsiteY2412" fmla="*/ 1777657 h 6689084"/>
                <a:gd name="connsiteX2413" fmla="*/ 3681300 w 6689088"/>
                <a:gd name="connsiteY2413" fmla="*/ 1767491 h 6689084"/>
                <a:gd name="connsiteX2414" fmla="*/ 3691467 w 6689088"/>
                <a:gd name="connsiteY2414" fmla="*/ 1757324 h 6689084"/>
                <a:gd name="connsiteX2415" fmla="*/ 3845414 w 6689088"/>
                <a:gd name="connsiteY2415" fmla="*/ 1755506 h 6689084"/>
                <a:gd name="connsiteX2416" fmla="*/ 3857399 w 6689088"/>
                <a:gd name="connsiteY2416" fmla="*/ 1767487 h 6689084"/>
                <a:gd name="connsiteX2417" fmla="*/ 3845414 w 6689088"/>
                <a:gd name="connsiteY2417" fmla="*/ 1779468 h 6689084"/>
                <a:gd name="connsiteX2418" fmla="*/ 3833434 w 6689088"/>
                <a:gd name="connsiteY2418" fmla="*/ 1767487 h 6689084"/>
                <a:gd name="connsiteX2419" fmla="*/ 3845414 w 6689088"/>
                <a:gd name="connsiteY2419" fmla="*/ 1755506 h 6689084"/>
                <a:gd name="connsiteX2420" fmla="*/ 3999000 w 6689088"/>
                <a:gd name="connsiteY2420" fmla="*/ 1753329 h 6689084"/>
                <a:gd name="connsiteX2421" fmla="*/ 4012799 w 6689088"/>
                <a:gd name="connsiteY2421" fmla="*/ 1767125 h 6689084"/>
                <a:gd name="connsiteX2422" fmla="*/ 3999000 w 6689088"/>
                <a:gd name="connsiteY2422" fmla="*/ 1780924 h 6689084"/>
                <a:gd name="connsiteX2423" fmla="*/ 3985204 w 6689088"/>
                <a:gd name="connsiteY2423" fmla="*/ 1767125 h 6689084"/>
                <a:gd name="connsiteX2424" fmla="*/ 3999000 w 6689088"/>
                <a:gd name="connsiteY2424" fmla="*/ 1753329 h 6689084"/>
                <a:gd name="connsiteX2425" fmla="*/ 4152947 w 6689088"/>
                <a:gd name="connsiteY2425" fmla="*/ 1752239 h 6689084"/>
                <a:gd name="connsiteX2426" fmla="*/ 4168198 w 6689088"/>
                <a:gd name="connsiteY2426" fmla="*/ 1767491 h 6689084"/>
                <a:gd name="connsiteX2427" fmla="*/ 4152947 w 6689088"/>
                <a:gd name="connsiteY2427" fmla="*/ 1782738 h 6689084"/>
                <a:gd name="connsiteX2428" fmla="*/ 4137700 w 6689088"/>
                <a:gd name="connsiteY2428" fmla="*/ 1767491 h 6689084"/>
                <a:gd name="connsiteX2429" fmla="*/ 4152947 w 6689088"/>
                <a:gd name="connsiteY2429" fmla="*/ 1752239 h 6689084"/>
                <a:gd name="connsiteX2430" fmla="*/ 4306532 w 6689088"/>
                <a:gd name="connsiteY2430" fmla="*/ 1750425 h 6689084"/>
                <a:gd name="connsiteX2431" fmla="*/ 4323598 w 6689088"/>
                <a:gd name="connsiteY2431" fmla="*/ 1767491 h 6689084"/>
                <a:gd name="connsiteX2432" fmla="*/ 4306532 w 6689088"/>
                <a:gd name="connsiteY2432" fmla="*/ 1784556 h 6689084"/>
                <a:gd name="connsiteX2433" fmla="*/ 4289466 w 6689088"/>
                <a:gd name="connsiteY2433" fmla="*/ 1767491 h 6689084"/>
                <a:gd name="connsiteX2434" fmla="*/ 4306532 w 6689088"/>
                <a:gd name="connsiteY2434" fmla="*/ 1750425 h 6689084"/>
                <a:gd name="connsiteX2435" fmla="*/ 4460480 w 6689088"/>
                <a:gd name="connsiteY2435" fmla="*/ 1748244 h 6689084"/>
                <a:gd name="connsiteX2436" fmla="*/ 4479726 w 6689088"/>
                <a:gd name="connsiteY2436" fmla="*/ 1767487 h 6689084"/>
                <a:gd name="connsiteX2437" fmla="*/ 4460480 w 6689088"/>
                <a:gd name="connsiteY2437" fmla="*/ 1786729 h 6689084"/>
                <a:gd name="connsiteX2438" fmla="*/ 4441237 w 6689088"/>
                <a:gd name="connsiteY2438" fmla="*/ 1767487 h 6689084"/>
                <a:gd name="connsiteX2439" fmla="*/ 4460480 w 6689088"/>
                <a:gd name="connsiteY2439" fmla="*/ 1748244 h 6689084"/>
                <a:gd name="connsiteX2440" fmla="*/ 4614065 w 6689088"/>
                <a:gd name="connsiteY2440" fmla="*/ 1746068 h 6689084"/>
                <a:gd name="connsiteX2441" fmla="*/ 4635484 w 6689088"/>
                <a:gd name="connsiteY2441" fmla="*/ 1767491 h 6689084"/>
                <a:gd name="connsiteX2442" fmla="*/ 4614065 w 6689088"/>
                <a:gd name="connsiteY2442" fmla="*/ 1788913 h 6689084"/>
                <a:gd name="connsiteX2443" fmla="*/ 4592642 w 6689088"/>
                <a:gd name="connsiteY2443" fmla="*/ 1767491 h 6689084"/>
                <a:gd name="connsiteX2444" fmla="*/ 4614065 w 6689088"/>
                <a:gd name="connsiteY2444" fmla="*/ 1746068 h 6689084"/>
                <a:gd name="connsiteX2445" fmla="*/ 4768012 w 6689088"/>
                <a:gd name="connsiteY2445" fmla="*/ 1744615 h 6689084"/>
                <a:gd name="connsiteX2446" fmla="*/ 4790884 w 6689088"/>
                <a:gd name="connsiteY2446" fmla="*/ 1767491 h 6689084"/>
                <a:gd name="connsiteX2447" fmla="*/ 4768012 w 6689088"/>
                <a:gd name="connsiteY2447" fmla="*/ 1790366 h 6689084"/>
                <a:gd name="connsiteX2448" fmla="*/ 4745137 w 6689088"/>
                <a:gd name="connsiteY2448" fmla="*/ 1767491 h 6689084"/>
                <a:gd name="connsiteX2449" fmla="*/ 4768012 w 6689088"/>
                <a:gd name="connsiteY2449" fmla="*/ 1744615 h 6689084"/>
                <a:gd name="connsiteX2450" fmla="*/ 4921594 w 6689088"/>
                <a:gd name="connsiteY2450" fmla="*/ 1742435 h 6689084"/>
                <a:gd name="connsiteX2451" fmla="*/ 4946650 w 6689088"/>
                <a:gd name="connsiteY2451" fmla="*/ 1767487 h 6689084"/>
                <a:gd name="connsiteX2452" fmla="*/ 4921594 w 6689088"/>
                <a:gd name="connsiteY2452" fmla="*/ 1792538 h 6689084"/>
                <a:gd name="connsiteX2453" fmla="*/ 4896542 w 6689088"/>
                <a:gd name="connsiteY2453" fmla="*/ 1767487 h 6689084"/>
                <a:gd name="connsiteX2454" fmla="*/ 4921594 w 6689088"/>
                <a:gd name="connsiteY2454" fmla="*/ 1742435 h 6689084"/>
                <a:gd name="connsiteX2455" fmla="*/ 5075545 w 6689088"/>
                <a:gd name="connsiteY2455" fmla="*/ 1740258 h 6689084"/>
                <a:gd name="connsiteX2456" fmla="*/ 5102777 w 6689088"/>
                <a:gd name="connsiteY2456" fmla="*/ 1767491 h 6689084"/>
                <a:gd name="connsiteX2457" fmla="*/ 5075545 w 6689088"/>
                <a:gd name="connsiteY2457" fmla="*/ 1794723 h 6689084"/>
                <a:gd name="connsiteX2458" fmla="*/ 5048313 w 6689088"/>
                <a:gd name="connsiteY2458" fmla="*/ 1767491 h 6689084"/>
                <a:gd name="connsiteX2459" fmla="*/ 5075545 w 6689088"/>
                <a:gd name="connsiteY2459" fmla="*/ 1740258 h 6689084"/>
                <a:gd name="connsiteX2460" fmla="*/ 5229126 w 6689088"/>
                <a:gd name="connsiteY2460" fmla="*/ 1737716 h 6689084"/>
                <a:gd name="connsiteX2461" fmla="*/ 5258901 w 6689088"/>
                <a:gd name="connsiteY2461" fmla="*/ 1767491 h 6689084"/>
                <a:gd name="connsiteX2462" fmla="*/ 5229126 w 6689088"/>
                <a:gd name="connsiteY2462" fmla="*/ 1797261 h 6689084"/>
                <a:gd name="connsiteX2463" fmla="*/ 5199356 w 6689088"/>
                <a:gd name="connsiteY2463" fmla="*/ 1767491 h 6689084"/>
                <a:gd name="connsiteX2464" fmla="*/ 5229126 w 6689088"/>
                <a:gd name="connsiteY2464" fmla="*/ 1737716 h 6689084"/>
                <a:gd name="connsiteX2465" fmla="*/ 5383074 w 6689088"/>
                <a:gd name="connsiteY2465" fmla="*/ 1735535 h 6689084"/>
                <a:gd name="connsiteX2466" fmla="*/ 5415025 w 6689088"/>
                <a:gd name="connsiteY2466" fmla="*/ 1767487 h 6689084"/>
                <a:gd name="connsiteX2467" fmla="*/ 5383074 w 6689088"/>
                <a:gd name="connsiteY2467" fmla="*/ 1799438 h 6689084"/>
                <a:gd name="connsiteX2468" fmla="*/ 5351122 w 6689088"/>
                <a:gd name="connsiteY2468" fmla="*/ 1767487 h 6689084"/>
                <a:gd name="connsiteX2469" fmla="*/ 5383074 w 6689088"/>
                <a:gd name="connsiteY2469" fmla="*/ 1735535 h 6689084"/>
                <a:gd name="connsiteX2470" fmla="*/ 5537025 w 6689088"/>
                <a:gd name="connsiteY2470" fmla="*/ 1733721 h 6689084"/>
                <a:gd name="connsiteX2471" fmla="*/ 5570791 w 6689088"/>
                <a:gd name="connsiteY2471" fmla="*/ 1767487 h 6689084"/>
                <a:gd name="connsiteX2472" fmla="*/ 5537025 w 6689088"/>
                <a:gd name="connsiteY2472" fmla="*/ 1801256 h 6689084"/>
                <a:gd name="connsiteX2473" fmla="*/ 5503256 w 6689088"/>
                <a:gd name="connsiteY2473" fmla="*/ 1767487 h 6689084"/>
                <a:gd name="connsiteX2474" fmla="*/ 5537025 w 6689088"/>
                <a:gd name="connsiteY2474" fmla="*/ 1733721 h 6689084"/>
                <a:gd name="connsiteX2475" fmla="*/ 5690606 w 6689088"/>
                <a:gd name="connsiteY2475" fmla="*/ 1731182 h 6689084"/>
                <a:gd name="connsiteX2476" fmla="*/ 5726915 w 6689088"/>
                <a:gd name="connsiteY2476" fmla="*/ 1767491 h 6689084"/>
                <a:gd name="connsiteX2477" fmla="*/ 5690606 w 6689088"/>
                <a:gd name="connsiteY2477" fmla="*/ 1803799 h 6689084"/>
                <a:gd name="connsiteX2478" fmla="*/ 5654298 w 6689088"/>
                <a:gd name="connsiteY2478" fmla="*/ 1767491 h 6689084"/>
                <a:gd name="connsiteX2479" fmla="*/ 5690606 w 6689088"/>
                <a:gd name="connsiteY2479" fmla="*/ 1731182 h 6689084"/>
                <a:gd name="connsiteX2480" fmla="*/ 5844554 w 6689088"/>
                <a:gd name="connsiteY2480" fmla="*/ 1728640 h 6689084"/>
                <a:gd name="connsiteX2481" fmla="*/ 5883405 w 6689088"/>
                <a:gd name="connsiteY2481" fmla="*/ 1767491 h 6689084"/>
                <a:gd name="connsiteX2482" fmla="*/ 5844554 w 6689088"/>
                <a:gd name="connsiteY2482" fmla="*/ 1806338 h 6689084"/>
                <a:gd name="connsiteX2483" fmla="*/ 5805703 w 6689088"/>
                <a:gd name="connsiteY2483" fmla="*/ 1767491 h 6689084"/>
                <a:gd name="connsiteX2484" fmla="*/ 5844554 w 6689088"/>
                <a:gd name="connsiteY2484" fmla="*/ 1728640 h 6689084"/>
                <a:gd name="connsiteX2485" fmla="*/ 5998136 w 6689088"/>
                <a:gd name="connsiteY2485" fmla="*/ 1726459 h 6689084"/>
                <a:gd name="connsiteX2486" fmla="*/ 6039166 w 6689088"/>
                <a:gd name="connsiteY2486" fmla="*/ 1767487 h 6689084"/>
                <a:gd name="connsiteX2487" fmla="*/ 5998136 w 6689088"/>
                <a:gd name="connsiteY2487" fmla="*/ 1808518 h 6689084"/>
                <a:gd name="connsiteX2488" fmla="*/ 5957108 w 6689088"/>
                <a:gd name="connsiteY2488" fmla="*/ 1767487 h 6689084"/>
                <a:gd name="connsiteX2489" fmla="*/ 5998136 w 6689088"/>
                <a:gd name="connsiteY2489" fmla="*/ 1726459 h 6689084"/>
                <a:gd name="connsiteX2490" fmla="*/ 6152086 w 6689088"/>
                <a:gd name="connsiteY2490" fmla="*/ 1723917 h 6689084"/>
                <a:gd name="connsiteX2491" fmla="*/ 6195656 w 6689088"/>
                <a:gd name="connsiteY2491" fmla="*/ 1767487 h 6689084"/>
                <a:gd name="connsiteX2492" fmla="*/ 6152086 w 6689088"/>
                <a:gd name="connsiteY2492" fmla="*/ 1811057 h 6689084"/>
                <a:gd name="connsiteX2493" fmla="*/ 6108516 w 6689088"/>
                <a:gd name="connsiteY2493" fmla="*/ 1767487 h 6689084"/>
                <a:gd name="connsiteX2494" fmla="*/ 6152086 w 6689088"/>
                <a:gd name="connsiteY2494" fmla="*/ 1723917 h 6689084"/>
                <a:gd name="connsiteX2495" fmla="*/ 6305668 w 6689088"/>
                <a:gd name="connsiteY2495" fmla="*/ 1721378 h 6689084"/>
                <a:gd name="connsiteX2496" fmla="*/ 6351777 w 6689088"/>
                <a:gd name="connsiteY2496" fmla="*/ 1767491 h 6689084"/>
                <a:gd name="connsiteX2497" fmla="*/ 6305668 w 6689088"/>
                <a:gd name="connsiteY2497" fmla="*/ 1813603 h 6689084"/>
                <a:gd name="connsiteX2498" fmla="*/ 6259556 w 6689088"/>
                <a:gd name="connsiteY2498" fmla="*/ 1767491 h 6689084"/>
                <a:gd name="connsiteX2499" fmla="*/ 6305668 w 6689088"/>
                <a:gd name="connsiteY2499" fmla="*/ 1721378 h 6689084"/>
                <a:gd name="connsiteX2500" fmla="*/ 6459619 w 6689088"/>
                <a:gd name="connsiteY2500" fmla="*/ 1718835 h 6689084"/>
                <a:gd name="connsiteX2501" fmla="*/ 6508270 w 6689088"/>
                <a:gd name="connsiteY2501" fmla="*/ 1767491 h 6689084"/>
                <a:gd name="connsiteX2502" fmla="*/ 6459619 w 6689088"/>
                <a:gd name="connsiteY2502" fmla="*/ 1816142 h 6689084"/>
                <a:gd name="connsiteX2503" fmla="*/ 6410964 w 6689088"/>
                <a:gd name="connsiteY2503" fmla="*/ 1767491 h 6689084"/>
                <a:gd name="connsiteX2504" fmla="*/ 6459619 w 6689088"/>
                <a:gd name="connsiteY2504" fmla="*/ 1718835 h 6689084"/>
                <a:gd name="connsiteX2505" fmla="*/ 6613200 w 6689088"/>
                <a:gd name="connsiteY2505" fmla="*/ 1716293 h 6689084"/>
                <a:gd name="connsiteX2506" fmla="*/ 6664398 w 6689088"/>
                <a:gd name="connsiteY2506" fmla="*/ 1767487 h 6689084"/>
                <a:gd name="connsiteX2507" fmla="*/ 6613200 w 6689088"/>
                <a:gd name="connsiteY2507" fmla="*/ 1818681 h 6689084"/>
                <a:gd name="connsiteX2508" fmla="*/ 6562007 w 6689088"/>
                <a:gd name="connsiteY2508" fmla="*/ 1767487 h 6689084"/>
                <a:gd name="connsiteX2509" fmla="*/ 6613200 w 6689088"/>
                <a:gd name="connsiteY2509" fmla="*/ 1716293 h 6689084"/>
                <a:gd name="connsiteX2510" fmla="*/ 2307393 w 6689088"/>
                <a:gd name="connsiteY2510" fmla="*/ 1613539 h 6689084"/>
                <a:gd name="connsiteX2511" fmla="*/ 2307755 w 6689088"/>
                <a:gd name="connsiteY2511" fmla="*/ 1613901 h 6689084"/>
                <a:gd name="connsiteX2512" fmla="*/ 2307393 w 6689088"/>
                <a:gd name="connsiteY2512" fmla="*/ 1614267 h 6689084"/>
                <a:gd name="connsiteX2513" fmla="*/ 2307031 w 6689088"/>
                <a:gd name="connsiteY2513" fmla="*/ 1613901 h 6689084"/>
                <a:gd name="connsiteX2514" fmla="*/ 2307393 w 6689088"/>
                <a:gd name="connsiteY2514" fmla="*/ 1613539 h 6689084"/>
                <a:gd name="connsiteX2515" fmla="*/ 1846279 w 6689088"/>
                <a:gd name="connsiteY2515" fmla="*/ 1613539 h 6689084"/>
                <a:gd name="connsiteX2516" fmla="*/ 1846641 w 6689088"/>
                <a:gd name="connsiteY2516" fmla="*/ 1613901 h 6689084"/>
                <a:gd name="connsiteX2517" fmla="*/ 1846279 w 6689088"/>
                <a:gd name="connsiteY2517" fmla="*/ 1614267 h 6689084"/>
                <a:gd name="connsiteX2518" fmla="*/ 1845917 w 6689088"/>
                <a:gd name="connsiteY2518" fmla="*/ 1613901 h 6689084"/>
                <a:gd name="connsiteX2519" fmla="*/ 1846279 w 6689088"/>
                <a:gd name="connsiteY2519" fmla="*/ 1613539 h 6689084"/>
                <a:gd name="connsiteX2520" fmla="*/ 1692331 w 6689088"/>
                <a:gd name="connsiteY2520" fmla="*/ 1613539 h 6689084"/>
                <a:gd name="connsiteX2521" fmla="*/ 1692694 w 6689088"/>
                <a:gd name="connsiteY2521" fmla="*/ 1613901 h 6689084"/>
                <a:gd name="connsiteX2522" fmla="*/ 1692331 w 6689088"/>
                <a:gd name="connsiteY2522" fmla="*/ 1614267 h 6689084"/>
                <a:gd name="connsiteX2523" fmla="*/ 1691969 w 6689088"/>
                <a:gd name="connsiteY2523" fmla="*/ 1613901 h 6689084"/>
                <a:gd name="connsiteX2524" fmla="*/ 1692331 w 6689088"/>
                <a:gd name="connsiteY2524" fmla="*/ 1613539 h 6689084"/>
                <a:gd name="connsiteX2525" fmla="*/ 1538746 w 6689088"/>
                <a:gd name="connsiteY2525" fmla="*/ 1613177 h 6689084"/>
                <a:gd name="connsiteX2526" fmla="*/ 1539470 w 6689088"/>
                <a:gd name="connsiteY2526" fmla="*/ 1613905 h 6689084"/>
                <a:gd name="connsiteX2527" fmla="*/ 1538746 w 6689088"/>
                <a:gd name="connsiteY2527" fmla="*/ 1614630 h 6689084"/>
                <a:gd name="connsiteX2528" fmla="*/ 1538018 w 6689088"/>
                <a:gd name="connsiteY2528" fmla="*/ 1613905 h 6689084"/>
                <a:gd name="connsiteX2529" fmla="*/ 1538746 w 6689088"/>
                <a:gd name="connsiteY2529" fmla="*/ 1613177 h 6689084"/>
                <a:gd name="connsiteX2530" fmla="*/ 2461340 w 6689088"/>
                <a:gd name="connsiteY2530" fmla="*/ 1612091 h 6689084"/>
                <a:gd name="connsiteX2531" fmla="*/ 2462793 w 6689088"/>
                <a:gd name="connsiteY2531" fmla="*/ 1613543 h 6689084"/>
                <a:gd name="connsiteX2532" fmla="*/ 2461340 w 6689088"/>
                <a:gd name="connsiteY2532" fmla="*/ 1614995 h 6689084"/>
                <a:gd name="connsiteX2533" fmla="*/ 2459888 w 6689088"/>
                <a:gd name="connsiteY2533" fmla="*/ 1613543 h 6689084"/>
                <a:gd name="connsiteX2534" fmla="*/ 2461340 w 6689088"/>
                <a:gd name="connsiteY2534" fmla="*/ 1612091 h 6689084"/>
                <a:gd name="connsiteX2535" fmla="*/ 2614922 w 6689088"/>
                <a:gd name="connsiteY2535" fmla="*/ 1611363 h 6689084"/>
                <a:gd name="connsiteX2536" fmla="*/ 2617102 w 6689088"/>
                <a:gd name="connsiteY2536" fmla="*/ 1613539 h 6689084"/>
                <a:gd name="connsiteX2537" fmla="*/ 2614922 w 6689088"/>
                <a:gd name="connsiteY2537" fmla="*/ 1615720 h 6689084"/>
                <a:gd name="connsiteX2538" fmla="*/ 2612745 w 6689088"/>
                <a:gd name="connsiteY2538" fmla="*/ 1613539 h 6689084"/>
                <a:gd name="connsiteX2539" fmla="*/ 2614922 w 6689088"/>
                <a:gd name="connsiteY2539" fmla="*/ 1611363 h 6689084"/>
                <a:gd name="connsiteX2540" fmla="*/ 2768877 w 6689088"/>
                <a:gd name="connsiteY2540" fmla="*/ 1610638 h 6689084"/>
                <a:gd name="connsiteX2541" fmla="*/ 2772144 w 6689088"/>
                <a:gd name="connsiteY2541" fmla="*/ 1613905 h 6689084"/>
                <a:gd name="connsiteX2542" fmla="*/ 2768877 w 6689088"/>
                <a:gd name="connsiteY2542" fmla="*/ 1617176 h 6689084"/>
                <a:gd name="connsiteX2543" fmla="*/ 2765606 w 6689088"/>
                <a:gd name="connsiteY2543" fmla="*/ 1613905 h 6689084"/>
                <a:gd name="connsiteX2544" fmla="*/ 2768877 w 6689088"/>
                <a:gd name="connsiteY2544" fmla="*/ 1610638 h 6689084"/>
                <a:gd name="connsiteX2545" fmla="*/ 2922458 w 6689088"/>
                <a:gd name="connsiteY2545" fmla="*/ 1609182 h 6689084"/>
                <a:gd name="connsiteX2546" fmla="*/ 2926815 w 6689088"/>
                <a:gd name="connsiteY2546" fmla="*/ 1613539 h 6689084"/>
                <a:gd name="connsiteX2547" fmla="*/ 2922458 w 6689088"/>
                <a:gd name="connsiteY2547" fmla="*/ 1617896 h 6689084"/>
                <a:gd name="connsiteX2548" fmla="*/ 2918101 w 6689088"/>
                <a:gd name="connsiteY2548" fmla="*/ 1613539 h 6689084"/>
                <a:gd name="connsiteX2549" fmla="*/ 2922458 w 6689088"/>
                <a:gd name="connsiteY2549" fmla="*/ 1609182 h 6689084"/>
                <a:gd name="connsiteX2550" fmla="*/ 3076406 w 6689088"/>
                <a:gd name="connsiteY2550" fmla="*/ 1608096 h 6689084"/>
                <a:gd name="connsiteX2551" fmla="*/ 3082215 w 6689088"/>
                <a:gd name="connsiteY2551" fmla="*/ 1613905 h 6689084"/>
                <a:gd name="connsiteX2552" fmla="*/ 3076406 w 6689088"/>
                <a:gd name="connsiteY2552" fmla="*/ 1619715 h 6689084"/>
                <a:gd name="connsiteX2553" fmla="*/ 3070596 w 6689088"/>
                <a:gd name="connsiteY2553" fmla="*/ 1613905 h 6689084"/>
                <a:gd name="connsiteX2554" fmla="*/ 3076406 w 6689088"/>
                <a:gd name="connsiteY2554" fmla="*/ 1608096 h 6689084"/>
                <a:gd name="connsiteX2555" fmla="*/ 3230353 w 6689088"/>
                <a:gd name="connsiteY2555" fmla="*/ 1606281 h 6689084"/>
                <a:gd name="connsiteX2556" fmla="*/ 3237614 w 6689088"/>
                <a:gd name="connsiteY2556" fmla="*/ 1613543 h 6689084"/>
                <a:gd name="connsiteX2557" fmla="*/ 3230353 w 6689088"/>
                <a:gd name="connsiteY2557" fmla="*/ 1620805 h 6689084"/>
                <a:gd name="connsiteX2558" fmla="*/ 3223091 w 6689088"/>
                <a:gd name="connsiteY2558" fmla="*/ 1613543 h 6689084"/>
                <a:gd name="connsiteX2559" fmla="*/ 3230353 w 6689088"/>
                <a:gd name="connsiteY2559" fmla="*/ 1606281 h 6689084"/>
                <a:gd name="connsiteX2560" fmla="*/ 3383934 w 6689088"/>
                <a:gd name="connsiteY2560" fmla="*/ 1604463 h 6689084"/>
                <a:gd name="connsiteX2561" fmla="*/ 3393014 w 6689088"/>
                <a:gd name="connsiteY2561" fmla="*/ 1613539 h 6689084"/>
                <a:gd name="connsiteX2562" fmla="*/ 3383934 w 6689088"/>
                <a:gd name="connsiteY2562" fmla="*/ 1622619 h 6689084"/>
                <a:gd name="connsiteX2563" fmla="*/ 3374858 w 6689088"/>
                <a:gd name="connsiteY2563" fmla="*/ 1613539 h 6689084"/>
                <a:gd name="connsiteX2564" fmla="*/ 3383934 w 6689088"/>
                <a:gd name="connsiteY2564" fmla="*/ 1604463 h 6689084"/>
                <a:gd name="connsiteX2565" fmla="*/ 3537886 w 6689088"/>
                <a:gd name="connsiteY2565" fmla="*/ 1603739 h 6689084"/>
                <a:gd name="connsiteX2566" fmla="*/ 3548052 w 6689088"/>
                <a:gd name="connsiteY2566" fmla="*/ 1613905 h 6689084"/>
                <a:gd name="connsiteX2567" fmla="*/ 3537886 w 6689088"/>
                <a:gd name="connsiteY2567" fmla="*/ 1624072 h 6689084"/>
                <a:gd name="connsiteX2568" fmla="*/ 3527719 w 6689088"/>
                <a:gd name="connsiteY2568" fmla="*/ 1613905 h 6689084"/>
                <a:gd name="connsiteX2569" fmla="*/ 3537886 w 6689088"/>
                <a:gd name="connsiteY2569" fmla="*/ 1603739 h 6689084"/>
                <a:gd name="connsiteX2570" fmla="*/ 3691467 w 6689088"/>
                <a:gd name="connsiteY2570" fmla="*/ 1601559 h 6689084"/>
                <a:gd name="connsiteX2571" fmla="*/ 3703452 w 6689088"/>
                <a:gd name="connsiteY2571" fmla="*/ 1613539 h 6689084"/>
                <a:gd name="connsiteX2572" fmla="*/ 3691467 w 6689088"/>
                <a:gd name="connsiteY2572" fmla="*/ 1625520 h 6689084"/>
                <a:gd name="connsiteX2573" fmla="*/ 3679486 w 6689088"/>
                <a:gd name="connsiteY2573" fmla="*/ 1613539 h 6689084"/>
                <a:gd name="connsiteX2574" fmla="*/ 3691467 w 6689088"/>
                <a:gd name="connsiteY2574" fmla="*/ 1601559 h 6689084"/>
                <a:gd name="connsiteX2575" fmla="*/ 3845418 w 6689088"/>
                <a:gd name="connsiteY2575" fmla="*/ 1599744 h 6689084"/>
                <a:gd name="connsiteX2576" fmla="*/ 3859214 w 6689088"/>
                <a:gd name="connsiteY2576" fmla="*/ 1613539 h 6689084"/>
                <a:gd name="connsiteX2577" fmla="*/ 3845418 w 6689088"/>
                <a:gd name="connsiteY2577" fmla="*/ 1627338 h 6689084"/>
                <a:gd name="connsiteX2578" fmla="*/ 3831619 w 6689088"/>
                <a:gd name="connsiteY2578" fmla="*/ 1613539 h 6689084"/>
                <a:gd name="connsiteX2579" fmla="*/ 3845418 w 6689088"/>
                <a:gd name="connsiteY2579" fmla="*/ 1599744 h 6689084"/>
                <a:gd name="connsiteX2580" fmla="*/ 3999000 w 6689088"/>
                <a:gd name="connsiteY2580" fmla="*/ 1598654 h 6689084"/>
                <a:gd name="connsiteX2581" fmla="*/ 4014251 w 6689088"/>
                <a:gd name="connsiteY2581" fmla="*/ 1613905 h 6689084"/>
                <a:gd name="connsiteX2582" fmla="*/ 3999000 w 6689088"/>
                <a:gd name="connsiteY2582" fmla="*/ 1629153 h 6689084"/>
                <a:gd name="connsiteX2583" fmla="*/ 3983752 w 6689088"/>
                <a:gd name="connsiteY2583" fmla="*/ 1613905 h 6689084"/>
                <a:gd name="connsiteX2584" fmla="*/ 3999000 w 6689088"/>
                <a:gd name="connsiteY2584" fmla="*/ 1598654 h 6689084"/>
                <a:gd name="connsiteX2585" fmla="*/ 4152947 w 6689088"/>
                <a:gd name="connsiteY2585" fmla="*/ 1596477 h 6689084"/>
                <a:gd name="connsiteX2586" fmla="*/ 4170013 w 6689088"/>
                <a:gd name="connsiteY2586" fmla="*/ 1613543 h 6689084"/>
                <a:gd name="connsiteX2587" fmla="*/ 4152947 w 6689088"/>
                <a:gd name="connsiteY2587" fmla="*/ 1630605 h 6689084"/>
                <a:gd name="connsiteX2588" fmla="*/ 4135881 w 6689088"/>
                <a:gd name="connsiteY2588" fmla="*/ 1613543 h 6689084"/>
                <a:gd name="connsiteX2589" fmla="*/ 4152947 w 6689088"/>
                <a:gd name="connsiteY2589" fmla="*/ 1596477 h 6689084"/>
                <a:gd name="connsiteX2590" fmla="*/ 4306528 w 6689088"/>
                <a:gd name="connsiteY2590" fmla="*/ 1594297 h 6689084"/>
                <a:gd name="connsiteX2591" fmla="*/ 4325771 w 6689088"/>
                <a:gd name="connsiteY2591" fmla="*/ 1613539 h 6689084"/>
                <a:gd name="connsiteX2592" fmla="*/ 4306528 w 6689088"/>
                <a:gd name="connsiteY2592" fmla="*/ 1632786 h 6689084"/>
                <a:gd name="connsiteX2593" fmla="*/ 4287286 w 6689088"/>
                <a:gd name="connsiteY2593" fmla="*/ 1613539 h 6689084"/>
                <a:gd name="connsiteX2594" fmla="*/ 4306528 w 6689088"/>
                <a:gd name="connsiteY2594" fmla="*/ 1594297 h 6689084"/>
                <a:gd name="connsiteX2595" fmla="*/ 4460480 w 6689088"/>
                <a:gd name="connsiteY2595" fmla="*/ 1592120 h 6689084"/>
                <a:gd name="connsiteX2596" fmla="*/ 4481898 w 6689088"/>
                <a:gd name="connsiteY2596" fmla="*/ 1613543 h 6689084"/>
                <a:gd name="connsiteX2597" fmla="*/ 4460480 w 6689088"/>
                <a:gd name="connsiteY2597" fmla="*/ 1634966 h 6689084"/>
                <a:gd name="connsiteX2598" fmla="*/ 4439057 w 6689088"/>
                <a:gd name="connsiteY2598" fmla="*/ 1613543 h 6689084"/>
                <a:gd name="connsiteX2599" fmla="*/ 4460480 w 6689088"/>
                <a:gd name="connsiteY2599" fmla="*/ 1592120 h 6689084"/>
                <a:gd name="connsiteX2600" fmla="*/ 4614065 w 6689088"/>
                <a:gd name="connsiteY2600" fmla="*/ 1591030 h 6689084"/>
                <a:gd name="connsiteX2601" fmla="*/ 4636940 w 6689088"/>
                <a:gd name="connsiteY2601" fmla="*/ 1613905 h 6689084"/>
                <a:gd name="connsiteX2602" fmla="*/ 4614065 w 6689088"/>
                <a:gd name="connsiteY2602" fmla="*/ 1636780 h 6689084"/>
                <a:gd name="connsiteX2603" fmla="*/ 4591190 w 6689088"/>
                <a:gd name="connsiteY2603" fmla="*/ 1613905 h 6689084"/>
                <a:gd name="connsiteX2604" fmla="*/ 4614065 w 6689088"/>
                <a:gd name="connsiteY2604" fmla="*/ 1591030 h 6689084"/>
                <a:gd name="connsiteX2605" fmla="*/ 4768008 w 6689088"/>
                <a:gd name="connsiteY2605" fmla="*/ 1588850 h 6689084"/>
                <a:gd name="connsiteX2606" fmla="*/ 4793064 w 6689088"/>
                <a:gd name="connsiteY2606" fmla="*/ 1613901 h 6689084"/>
                <a:gd name="connsiteX2607" fmla="*/ 4768008 w 6689088"/>
                <a:gd name="connsiteY2607" fmla="*/ 1638957 h 6689084"/>
                <a:gd name="connsiteX2608" fmla="*/ 4742956 w 6689088"/>
                <a:gd name="connsiteY2608" fmla="*/ 1613901 h 6689084"/>
                <a:gd name="connsiteX2609" fmla="*/ 4768008 w 6689088"/>
                <a:gd name="connsiteY2609" fmla="*/ 1588850 h 6689084"/>
                <a:gd name="connsiteX2610" fmla="*/ 4921594 w 6689088"/>
                <a:gd name="connsiteY2610" fmla="*/ 1586673 h 6689084"/>
                <a:gd name="connsiteX2611" fmla="*/ 4948826 w 6689088"/>
                <a:gd name="connsiteY2611" fmla="*/ 1613905 h 6689084"/>
                <a:gd name="connsiteX2612" fmla="*/ 4921594 w 6689088"/>
                <a:gd name="connsiteY2612" fmla="*/ 1641137 h 6689084"/>
                <a:gd name="connsiteX2613" fmla="*/ 4894362 w 6689088"/>
                <a:gd name="connsiteY2613" fmla="*/ 1613905 h 6689084"/>
                <a:gd name="connsiteX2614" fmla="*/ 4921594 w 6689088"/>
                <a:gd name="connsiteY2614" fmla="*/ 1586673 h 6689084"/>
                <a:gd name="connsiteX2615" fmla="*/ 5075545 w 6689088"/>
                <a:gd name="connsiteY2615" fmla="*/ 1584131 h 6689084"/>
                <a:gd name="connsiteX2616" fmla="*/ 5105316 w 6689088"/>
                <a:gd name="connsiteY2616" fmla="*/ 1613901 h 6689084"/>
                <a:gd name="connsiteX2617" fmla="*/ 5075545 w 6689088"/>
                <a:gd name="connsiteY2617" fmla="*/ 1643676 h 6689084"/>
                <a:gd name="connsiteX2618" fmla="*/ 5045770 w 6689088"/>
                <a:gd name="connsiteY2618" fmla="*/ 1613901 h 6689084"/>
                <a:gd name="connsiteX2619" fmla="*/ 5075545 w 6689088"/>
                <a:gd name="connsiteY2619" fmla="*/ 1584131 h 6689084"/>
                <a:gd name="connsiteX2620" fmla="*/ 5229126 w 6689088"/>
                <a:gd name="connsiteY2620" fmla="*/ 1581592 h 6689084"/>
                <a:gd name="connsiteX2621" fmla="*/ 5261078 w 6689088"/>
                <a:gd name="connsiteY2621" fmla="*/ 1613543 h 6689084"/>
                <a:gd name="connsiteX2622" fmla="*/ 5229126 w 6689088"/>
                <a:gd name="connsiteY2622" fmla="*/ 1645494 h 6689084"/>
                <a:gd name="connsiteX2623" fmla="*/ 5197175 w 6689088"/>
                <a:gd name="connsiteY2623" fmla="*/ 1613543 h 6689084"/>
                <a:gd name="connsiteX2624" fmla="*/ 5229126 w 6689088"/>
                <a:gd name="connsiteY2624" fmla="*/ 1581592 h 6689084"/>
                <a:gd name="connsiteX2625" fmla="*/ 5383074 w 6689088"/>
                <a:gd name="connsiteY2625" fmla="*/ 1579773 h 6689084"/>
                <a:gd name="connsiteX2626" fmla="*/ 5416844 w 6689088"/>
                <a:gd name="connsiteY2626" fmla="*/ 1613539 h 6689084"/>
                <a:gd name="connsiteX2627" fmla="*/ 5383074 w 6689088"/>
                <a:gd name="connsiteY2627" fmla="*/ 1647309 h 6689084"/>
                <a:gd name="connsiteX2628" fmla="*/ 5349308 w 6689088"/>
                <a:gd name="connsiteY2628" fmla="*/ 1613539 h 6689084"/>
                <a:gd name="connsiteX2629" fmla="*/ 5383074 w 6689088"/>
                <a:gd name="connsiteY2629" fmla="*/ 1579773 h 6689084"/>
                <a:gd name="connsiteX2630" fmla="*/ 5536659 w 6689088"/>
                <a:gd name="connsiteY2630" fmla="*/ 1577231 h 6689084"/>
                <a:gd name="connsiteX2631" fmla="*/ 5572968 w 6689088"/>
                <a:gd name="connsiteY2631" fmla="*/ 1613539 h 6689084"/>
                <a:gd name="connsiteX2632" fmla="*/ 5536659 w 6689088"/>
                <a:gd name="connsiteY2632" fmla="*/ 1649848 h 6689084"/>
                <a:gd name="connsiteX2633" fmla="*/ 5500351 w 6689088"/>
                <a:gd name="connsiteY2633" fmla="*/ 1613539 h 6689084"/>
                <a:gd name="connsiteX2634" fmla="*/ 5536659 w 6689088"/>
                <a:gd name="connsiteY2634" fmla="*/ 1577231 h 6689084"/>
                <a:gd name="connsiteX2635" fmla="*/ 5690606 w 6689088"/>
                <a:gd name="connsiteY2635" fmla="*/ 1574692 h 6689084"/>
                <a:gd name="connsiteX2636" fmla="*/ 5729458 w 6689088"/>
                <a:gd name="connsiteY2636" fmla="*/ 1613543 h 6689084"/>
                <a:gd name="connsiteX2637" fmla="*/ 5690606 w 6689088"/>
                <a:gd name="connsiteY2637" fmla="*/ 1652390 h 6689084"/>
                <a:gd name="connsiteX2638" fmla="*/ 5651756 w 6689088"/>
                <a:gd name="connsiteY2638" fmla="*/ 1613543 h 6689084"/>
                <a:gd name="connsiteX2639" fmla="*/ 5690606 w 6689088"/>
                <a:gd name="connsiteY2639" fmla="*/ 1574692 h 6689084"/>
                <a:gd name="connsiteX2640" fmla="*/ 5844554 w 6689088"/>
                <a:gd name="connsiteY2640" fmla="*/ 1572512 h 6689084"/>
                <a:gd name="connsiteX2641" fmla="*/ 5885585 w 6689088"/>
                <a:gd name="connsiteY2641" fmla="*/ 1613539 h 6689084"/>
                <a:gd name="connsiteX2642" fmla="*/ 5844554 w 6689088"/>
                <a:gd name="connsiteY2642" fmla="*/ 1654567 h 6689084"/>
                <a:gd name="connsiteX2643" fmla="*/ 5803526 w 6689088"/>
                <a:gd name="connsiteY2643" fmla="*/ 1613539 h 6689084"/>
                <a:gd name="connsiteX2644" fmla="*/ 5844554 w 6689088"/>
                <a:gd name="connsiteY2644" fmla="*/ 1572512 h 6689084"/>
                <a:gd name="connsiteX2645" fmla="*/ 5998136 w 6689088"/>
                <a:gd name="connsiteY2645" fmla="*/ 1569973 h 6689084"/>
                <a:gd name="connsiteX2646" fmla="*/ 6041706 w 6689088"/>
                <a:gd name="connsiteY2646" fmla="*/ 1613543 h 6689084"/>
                <a:gd name="connsiteX2647" fmla="*/ 5998136 w 6689088"/>
                <a:gd name="connsiteY2647" fmla="*/ 1657113 h 6689084"/>
                <a:gd name="connsiteX2648" fmla="*/ 5954566 w 6689088"/>
                <a:gd name="connsiteY2648" fmla="*/ 1613543 h 6689084"/>
                <a:gd name="connsiteX2649" fmla="*/ 5998136 w 6689088"/>
                <a:gd name="connsiteY2649" fmla="*/ 1569973 h 6689084"/>
                <a:gd name="connsiteX2650" fmla="*/ 6152083 w 6689088"/>
                <a:gd name="connsiteY2650" fmla="*/ 1567431 h 6689084"/>
                <a:gd name="connsiteX2651" fmla="*/ 6198196 w 6689088"/>
                <a:gd name="connsiteY2651" fmla="*/ 1613543 h 6689084"/>
                <a:gd name="connsiteX2652" fmla="*/ 6152083 w 6689088"/>
                <a:gd name="connsiteY2652" fmla="*/ 1659656 h 6689084"/>
                <a:gd name="connsiteX2653" fmla="*/ 6105974 w 6689088"/>
                <a:gd name="connsiteY2653" fmla="*/ 1613543 h 6689084"/>
                <a:gd name="connsiteX2654" fmla="*/ 6152083 w 6689088"/>
                <a:gd name="connsiteY2654" fmla="*/ 1567431 h 6689084"/>
                <a:gd name="connsiteX2655" fmla="*/ 6305672 w 6689088"/>
                <a:gd name="connsiteY2655" fmla="*/ 1564888 h 6689084"/>
                <a:gd name="connsiteX2656" fmla="*/ 6354323 w 6689088"/>
                <a:gd name="connsiteY2656" fmla="*/ 1613543 h 6689084"/>
                <a:gd name="connsiteX2657" fmla="*/ 6305672 w 6689088"/>
                <a:gd name="connsiteY2657" fmla="*/ 1662194 h 6689084"/>
                <a:gd name="connsiteX2658" fmla="*/ 6257016 w 6689088"/>
                <a:gd name="connsiteY2658" fmla="*/ 1613543 h 6689084"/>
                <a:gd name="connsiteX2659" fmla="*/ 6305672 w 6689088"/>
                <a:gd name="connsiteY2659" fmla="*/ 1564888 h 6689084"/>
                <a:gd name="connsiteX2660" fmla="*/ 6459619 w 6689088"/>
                <a:gd name="connsiteY2660" fmla="*/ 1562346 h 6689084"/>
                <a:gd name="connsiteX2661" fmla="*/ 6510813 w 6689088"/>
                <a:gd name="connsiteY2661" fmla="*/ 1613539 h 6689084"/>
                <a:gd name="connsiteX2662" fmla="*/ 6459619 w 6689088"/>
                <a:gd name="connsiteY2662" fmla="*/ 1664733 h 6689084"/>
                <a:gd name="connsiteX2663" fmla="*/ 6408422 w 6689088"/>
                <a:gd name="connsiteY2663" fmla="*/ 1613539 h 6689084"/>
                <a:gd name="connsiteX2664" fmla="*/ 6459619 w 6689088"/>
                <a:gd name="connsiteY2664" fmla="*/ 1562346 h 6689084"/>
                <a:gd name="connsiteX2665" fmla="*/ 6613197 w 6689088"/>
                <a:gd name="connsiteY2665" fmla="*/ 1560169 h 6689084"/>
                <a:gd name="connsiteX2666" fmla="*/ 6666575 w 6689088"/>
                <a:gd name="connsiteY2666" fmla="*/ 1613543 h 6689084"/>
                <a:gd name="connsiteX2667" fmla="*/ 6613197 w 6689088"/>
                <a:gd name="connsiteY2667" fmla="*/ 1666914 h 6689084"/>
                <a:gd name="connsiteX2668" fmla="*/ 6559826 w 6689088"/>
                <a:gd name="connsiteY2668" fmla="*/ 1613543 h 6689084"/>
                <a:gd name="connsiteX2669" fmla="*/ 6613197 w 6689088"/>
                <a:gd name="connsiteY2669" fmla="*/ 1560169 h 6689084"/>
                <a:gd name="connsiteX2670" fmla="*/ 2153808 w 6689088"/>
                <a:gd name="connsiteY2670" fmla="*/ 1459596 h 6689084"/>
                <a:gd name="connsiteX2671" fmla="*/ 2154170 w 6689088"/>
                <a:gd name="connsiteY2671" fmla="*/ 1459958 h 6689084"/>
                <a:gd name="connsiteX2672" fmla="*/ 2153808 w 6689088"/>
                <a:gd name="connsiteY2672" fmla="*/ 1460324 h 6689084"/>
                <a:gd name="connsiteX2673" fmla="*/ 2153445 w 6689088"/>
                <a:gd name="connsiteY2673" fmla="*/ 1459958 h 6689084"/>
                <a:gd name="connsiteX2674" fmla="*/ 2153808 w 6689088"/>
                <a:gd name="connsiteY2674" fmla="*/ 1459596 h 6689084"/>
                <a:gd name="connsiteX2675" fmla="*/ 1692331 w 6689088"/>
                <a:gd name="connsiteY2675" fmla="*/ 1459596 h 6689084"/>
                <a:gd name="connsiteX2676" fmla="*/ 1692694 w 6689088"/>
                <a:gd name="connsiteY2676" fmla="*/ 1459958 h 6689084"/>
                <a:gd name="connsiteX2677" fmla="*/ 1692331 w 6689088"/>
                <a:gd name="connsiteY2677" fmla="*/ 1460324 h 6689084"/>
                <a:gd name="connsiteX2678" fmla="*/ 1691969 w 6689088"/>
                <a:gd name="connsiteY2678" fmla="*/ 1459958 h 6689084"/>
                <a:gd name="connsiteX2679" fmla="*/ 1692331 w 6689088"/>
                <a:gd name="connsiteY2679" fmla="*/ 1459596 h 6689084"/>
                <a:gd name="connsiteX2680" fmla="*/ 1538746 w 6689088"/>
                <a:gd name="connsiteY2680" fmla="*/ 1459596 h 6689084"/>
                <a:gd name="connsiteX2681" fmla="*/ 1539108 w 6689088"/>
                <a:gd name="connsiteY2681" fmla="*/ 1459958 h 6689084"/>
                <a:gd name="connsiteX2682" fmla="*/ 1538746 w 6689088"/>
                <a:gd name="connsiteY2682" fmla="*/ 1460324 h 6689084"/>
                <a:gd name="connsiteX2683" fmla="*/ 1538384 w 6689088"/>
                <a:gd name="connsiteY2683" fmla="*/ 1459958 h 6689084"/>
                <a:gd name="connsiteX2684" fmla="*/ 1538746 w 6689088"/>
                <a:gd name="connsiteY2684" fmla="*/ 1459596 h 6689084"/>
                <a:gd name="connsiteX2685" fmla="*/ 1384795 w 6689088"/>
                <a:gd name="connsiteY2685" fmla="*/ 1459230 h 6689084"/>
                <a:gd name="connsiteX2686" fmla="*/ 1385523 w 6689088"/>
                <a:gd name="connsiteY2686" fmla="*/ 1459958 h 6689084"/>
                <a:gd name="connsiteX2687" fmla="*/ 1384795 w 6689088"/>
                <a:gd name="connsiteY2687" fmla="*/ 1460682 h 6689084"/>
                <a:gd name="connsiteX2688" fmla="*/ 1384071 w 6689088"/>
                <a:gd name="connsiteY2688" fmla="*/ 1459958 h 6689084"/>
                <a:gd name="connsiteX2689" fmla="*/ 1384795 w 6689088"/>
                <a:gd name="connsiteY2689" fmla="*/ 1459230 h 6689084"/>
                <a:gd name="connsiteX2690" fmla="*/ 2307393 w 6689088"/>
                <a:gd name="connsiteY2690" fmla="*/ 1458140 h 6689084"/>
                <a:gd name="connsiteX2691" fmla="*/ 2308845 w 6689088"/>
                <a:gd name="connsiteY2691" fmla="*/ 1459592 h 6689084"/>
                <a:gd name="connsiteX2692" fmla="*/ 2307393 w 6689088"/>
                <a:gd name="connsiteY2692" fmla="*/ 1461044 h 6689084"/>
                <a:gd name="connsiteX2693" fmla="*/ 2305941 w 6689088"/>
                <a:gd name="connsiteY2693" fmla="*/ 1459592 h 6689084"/>
                <a:gd name="connsiteX2694" fmla="*/ 2307393 w 6689088"/>
                <a:gd name="connsiteY2694" fmla="*/ 1458140 h 6689084"/>
                <a:gd name="connsiteX2695" fmla="*/ 2461340 w 6689088"/>
                <a:gd name="connsiteY2695" fmla="*/ 1457777 h 6689084"/>
                <a:gd name="connsiteX2696" fmla="*/ 2463521 w 6689088"/>
                <a:gd name="connsiteY2696" fmla="*/ 1459954 h 6689084"/>
                <a:gd name="connsiteX2697" fmla="*/ 2461340 w 6689088"/>
                <a:gd name="connsiteY2697" fmla="*/ 1462134 h 6689084"/>
                <a:gd name="connsiteX2698" fmla="*/ 2459164 w 6689088"/>
                <a:gd name="connsiteY2698" fmla="*/ 1459954 h 6689084"/>
                <a:gd name="connsiteX2699" fmla="*/ 2461340 w 6689088"/>
                <a:gd name="connsiteY2699" fmla="*/ 1457777 h 6689084"/>
                <a:gd name="connsiteX2700" fmla="*/ 2614925 w 6689088"/>
                <a:gd name="connsiteY2700" fmla="*/ 1456687 h 6689084"/>
                <a:gd name="connsiteX2701" fmla="*/ 2618192 w 6689088"/>
                <a:gd name="connsiteY2701" fmla="*/ 1459954 h 6689084"/>
                <a:gd name="connsiteX2702" fmla="*/ 2614925 w 6689088"/>
                <a:gd name="connsiteY2702" fmla="*/ 1463225 h 6689084"/>
                <a:gd name="connsiteX2703" fmla="*/ 2611659 w 6689088"/>
                <a:gd name="connsiteY2703" fmla="*/ 1459954 h 6689084"/>
                <a:gd name="connsiteX2704" fmla="*/ 2614925 w 6689088"/>
                <a:gd name="connsiteY2704" fmla="*/ 1456687 h 6689084"/>
                <a:gd name="connsiteX2705" fmla="*/ 2768873 w 6689088"/>
                <a:gd name="connsiteY2705" fmla="*/ 1455601 h 6689084"/>
                <a:gd name="connsiteX2706" fmla="*/ 2773230 w 6689088"/>
                <a:gd name="connsiteY2706" fmla="*/ 1459958 h 6689084"/>
                <a:gd name="connsiteX2707" fmla="*/ 2768873 w 6689088"/>
                <a:gd name="connsiteY2707" fmla="*/ 1464315 h 6689084"/>
                <a:gd name="connsiteX2708" fmla="*/ 2764516 w 6689088"/>
                <a:gd name="connsiteY2708" fmla="*/ 1459958 h 6689084"/>
                <a:gd name="connsiteX2709" fmla="*/ 2768873 w 6689088"/>
                <a:gd name="connsiteY2709" fmla="*/ 1455601 h 6689084"/>
                <a:gd name="connsiteX2710" fmla="*/ 2922458 w 6689088"/>
                <a:gd name="connsiteY2710" fmla="*/ 1454149 h 6689084"/>
                <a:gd name="connsiteX2711" fmla="*/ 2928267 w 6689088"/>
                <a:gd name="connsiteY2711" fmla="*/ 1459958 h 6689084"/>
                <a:gd name="connsiteX2712" fmla="*/ 2922458 w 6689088"/>
                <a:gd name="connsiteY2712" fmla="*/ 1465767 h 6689084"/>
                <a:gd name="connsiteX2713" fmla="*/ 2916649 w 6689088"/>
                <a:gd name="connsiteY2713" fmla="*/ 1459958 h 6689084"/>
                <a:gd name="connsiteX2714" fmla="*/ 2922458 w 6689088"/>
                <a:gd name="connsiteY2714" fmla="*/ 1454149 h 6689084"/>
                <a:gd name="connsiteX2715" fmla="*/ 3076406 w 6689088"/>
                <a:gd name="connsiteY2715" fmla="*/ 1452696 h 6689084"/>
                <a:gd name="connsiteX2716" fmla="*/ 3083667 w 6689088"/>
                <a:gd name="connsiteY2716" fmla="*/ 1459958 h 6689084"/>
                <a:gd name="connsiteX2717" fmla="*/ 3076406 w 6689088"/>
                <a:gd name="connsiteY2717" fmla="*/ 1467220 h 6689084"/>
                <a:gd name="connsiteX2718" fmla="*/ 3069144 w 6689088"/>
                <a:gd name="connsiteY2718" fmla="*/ 1459958 h 6689084"/>
                <a:gd name="connsiteX2719" fmla="*/ 3076406 w 6689088"/>
                <a:gd name="connsiteY2719" fmla="*/ 1452696 h 6689084"/>
                <a:gd name="connsiteX2720" fmla="*/ 3230353 w 6689088"/>
                <a:gd name="connsiteY2720" fmla="*/ 1450516 h 6689084"/>
                <a:gd name="connsiteX2721" fmla="*/ 3239433 w 6689088"/>
                <a:gd name="connsiteY2721" fmla="*/ 1459592 h 6689084"/>
                <a:gd name="connsiteX2722" fmla="*/ 3230353 w 6689088"/>
                <a:gd name="connsiteY2722" fmla="*/ 1468672 h 6689084"/>
                <a:gd name="connsiteX2723" fmla="*/ 3221277 w 6689088"/>
                <a:gd name="connsiteY2723" fmla="*/ 1459592 h 6689084"/>
                <a:gd name="connsiteX2724" fmla="*/ 3230353 w 6689088"/>
                <a:gd name="connsiteY2724" fmla="*/ 1450516 h 6689084"/>
                <a:gd name="connsiteX2725" fmla="*/ 3383934 w 6689088"/>
                <a:gd name="connsiteY2725" fmla="*/ 1449791 h 6689084"/>
                <a:gd name="connsiteX2726" fmla="*/ 3394100 w 6689088"/>
                <a:gd name="connsiteY2726" fmla="*/ 1459958 h 6689084"/>
                <a:gd name="connsiteX2727" fmla="*/ 3383934 w 6689088"/>
                <a:gd name="connsiteY2727" fmla="*/ 1470124 h 6689084"/>
                <a:gd name="connsiteX2728" fmla="*/ 3373768 w 6689088"/>
                <a:gd name="connsiteY2728" fmla="*/ 1459958 h 6689084"/>
                <a:gd name="connsiteX2729" fmla="*/ 3383934 w 6689088"/>
                <a:gd name="connsiteY2729" fmla="*/ 1449791 h 6689084"/>
                <a:gd name="connsiteX2730" fmla="*/ 3537882 w 6689088"/>
                <a:gd name="connsiteY2730" fmla="*/ 1447977 h 6689084"/>
                <a:gd name="connsiteX2731" fmla="*/ 3549866 w 6689088"/>
                <a:gd name="connsiteY2731" fmla="*/ 1459958 h 6689084"/>
                <a:gd name="connsiteX2732" fmla="*/ 3537882 w 6689088"/>
                <a:gd name="connsiteY2732" fmla="*/ 1471939 h 6689084"/>
                <a:gd name="connsiteX2733" fmla="*/ 3525901 w 6689088"/>
                <a:gd name="connsiteY2733" fmla="*/ 1459958 h 6689084"/>
                <a:gd name="connsiteX2734" fmla="*/ 3537882 w 6689088"/>
                <a:gd name="connsiteY2734" fmla="*/ 1447977 h 6689084"/>
                <a:gd name="connsiteX2735" fmla="*/ 3691467 w 6689088"/>
                <a:gd name="connsiteY2735" fmla="*/ 1445797 h 6689084"/>
                <a:gd name="connsiteX2736" fmla="*/ 3705266 w 6689088"/>
                <a:gd name="connsiteY2736" fmla="*/ 1459596 h 6689084"/>
                <a:gd name="connsiteX2737" fmla="*/ 3691467 w 6689088"/>
                <a:gd name="connsiteY2737" fmla="*/ 1473391 h 6689084"/>
                <a:gd name="connsiteX2738" fmla="*/ 3677672 w 6689088"/>
                <a:gd name="connsiteY2738" fmla="*/ 1459596 h 6689084"/>
                <a:gd name="connsiteX2739" fmla="*/ 3691467 w 6689088"/>
                <a:gd name="connsiteY2739" fmla="*/ 1445797 h 6689084"/>
                <a:gd name="connsiteX2740" fmla="*/ 3845414 w 6689088"/>
                <a:gd name="connsiteY2740" fmla="*/ 1444706 h 6689084"/>
                <a:gd name="connsiteX2741" fmla="*/ 3860666 w 6689088"/>
                <a:gd name="connsiteY2741" fmla="*/ 1459954 h 6689084"/>
                <a:gd name="connsiteX2742" fmla="*/ 3845414 w 6689088"/>
                <a:gd name="connsiteY2742" fmla="*/ 1475205 h 6689084"/>
                <a:gd name="connsiteX2743" fmla="*/ 3830167 w 6689088"/>
                <a:gd name="connsiteY2743" fmla="*/ 1459954 h 6689084"/>
                <a:gd name="connsiteX2744" fmla="*/ 3845414 w 6689088"/>
                <a:gd name="connsiteY2744" fmla="*/ 1444706 h 6689084"/>
                <a:gd name="connsiteX2745" fmla="*/ 3999000 w 6689088"/>
                <a:gd name="connsiteY2745" fmla="*/ 1442892 h 6689084"/>
                <a:gd name="connsiteX2746" fmla="*/ 4016066 w 6689088"/>
                <a:gd name="connsiteY2746" fmla="*/ 1459958 h 6689084"/>
                <a:gd name="connsiteX2747" fmla="*/ 3999000 w 6689088"/>
                <a:gd name="connsiteY2747" fmla="*/ 1477020 h 6689084"/>
                <a:gd name="connsiteX2748" fmla="*/ 3981934 w 6689088"/>
                <a:gd name="connsiteY2748" fmla="*/ 1459958 h 6689084"/>
                <a:gd name="connsiteX2749" fmla="*/ 3999000 w 6689088"/>
                <a:gd name="connsiteY2749" fmla="*/ 1442892 h 6689084"/>
                <a:gd name="connsiteX2750" fmla="*/ 4152947 w 6689088"/>
                <a:gd name="connsiteY2750" fmla="*/ 1440715 h 6689084"/>
                <a:gd name="connsiteX2751" fmla="*/ 4172194 w 6689088"/>
                <a:gd name="connsiteY2751" fmla="*/ 1459958 h 6689084"/>
                <a:gd name="connsiteX2752" fmla="*/ 4152947 w 6689088"/>
                <a:gd name="connsiteY2752" fmla="*/ 1479200 h 6689084"/>
                <a:gd name="connsiteX2753" fmla="*/ 4133704 w 6689088"/>
                <a:gd name="connsiteY2753" fmla="*/ 1459958 h 6689084"/>
                <a:gd name="connsiteX2754" fmla="*/ 4152947 w 6689088"/>
                <a:gd name="connsiteY2754" fmla="*/ 1440715 h 6689084"/>
                <a:gd name="connsiteX2755" fmla="*/ 4306532 w 6689088"/>
                <a:gd name="connsiteY2755" fmla="*/ 1438535 h 6689084"/>
                <a:gd name="connsiteX2756" fmla="*/ 4327952 w 6689088"/>
                <a:gd name="connsiteY2756" fmla="*/ 1459958 h 6689084"/>
                <a:gd name="connsiteX2757" fmla="*/ 4306532 w 6689088"/>
                <a:gd name="connsiteY2757" fmla="*/ 1481381 h 6689084"/>
                <a:gd name="connsiteX2758" fmla="*/ 4285110 w 6689088"/>
                <a:gd name="connsiteY2758" fmla="*/ 1459958 h 6689084"/>
                <a:gd name="connsiteX2759" fmla="*/ 4306532 w 6689088"/>
                <a:gd name="connsiteY2759" fmla="*/ 1438535 h 6689084"/>
                <a:gd name="connsiteX2760" fmla="*/ 4460480 w 6689088"/>
                <a:gd name="connsiteY2760" fmla="*/ 1437083 h 6689084"/>
                <a:gd name="connsiteX2761" fmla="*/ 4483355 w 6689088"/>
                <a:gd name="connsiteY2761" fmla="*/ 1459958 h 6689084"/>
                <a:gd name="connsiteX2762" fmla="*/ 4460480 w 6689088"/>
                <a:gd name="connsiteY2762" fmla="*/ 1482833 h 6689084"/>
                <a:gd name="connsiteX2763" fmla="*/ 4437604 w 6689088"/>
                <a:gd name="connsiteY2763" fmla="*/ 1459958 h 6689084"/>
                <a:gd name="connsiteX2764" fmla="*/ 4460480 w 6689088"/>
                <a:gd name="connsiteY2764" fmla="*/ 1437083 h 6689084"/>
                <a:gd name="connsiteX2765" fmla="*/ 4614061 w 6689088"/>
                <a:gd name="connsiteY2765" fmla="*/ 1434906 h 6689084"/>
                <a:gd name="connsiteX2766" fmla="*/ 4639116 w 6689088"/>
                <a:gd name="connsiteY2766" fmla="*/ 1459958 h 6689084"/>
                <a:gd name="connsiteX2767" fmla="*/ 4614061 w 6689088"/>
                <a:gd name="connsiteY2767" fmla="*/ 1485013 h 6689084"/>
                <a:gd name="connsiteX2768" fmla="*/ 4589010 w 6689088"/>
                <a:gd name="connsiteY2768" fmla="*/ 1459958 h 6689084"/>
                <a:gd name="connsiteX2769" fmla="*/ 4614061 w 6689088"/>
                <a:gd name="connsiteY2769" fmla="*/ 1434906 h 6689084"/>
                <a:gd name="connsiteX2770" fmla="*/ 4768012 w 6689088"/>
                <a:gd name="connsiteY2770" fmla="*/ 1432726 h 6689084"/>
                <a:gd name="connsiteX2771" fmla="*/ 4795244 w 6689088"/>
                <a:gd name="connsiteY2771" fmla="*/ 1459958 h 6689084"/>
                <a:gd name="connsiteX2772" fmla="*/ 4768012 w 6689088"/>
                <a:gd name="connsiteY2772" fmla="*/ 1487190 h 6689084"/>
                <a:gd name="connsiteX2773" fmla="*/ 4740780 w 6689088"/>
                <a:gd name="connsiteY2773" fmla="*/ 1459958 h 6689084"/>
                <a:gd name="connsiteX2774" fmla="*/ 4768012 w 6689088"/>
                <a:gd name="connsiteY2774" fmla="*/ 1432726 h 6689084"/>
                <a:gd name="connsiteX2775" fmla="*/ 4921594 w 6689088"/>
                <a:gd name="connsiteY2775" fmla="*/ 1430183 h 6689084"/>
                <a:gd name="connsiteX2776" fmla="*/ 4951368 w 6689088"/>
                <a:gd name="connsiteY2776" fmla="*/ 1459954 h 6689084"/>
                <a:gd name="connsiteX2777" fmla="*/ 4921594 w 6689088"/>
                <a:gd name="connsiteY2777" fmla="*/ 1489729 h 6689084"/>
                <a:gd name="connsiteX2778" fmla="*/ 4891823 w 6689088"/>
                <a:gd name="connsiteY2778" fmla="*/ 1459954 h 6689084"/>
                <a:gd name="connsiteX2779" fmla="*/ 4921594 w 6689088"/>
                <a:gd name="connsiteY2779" fmla="*/ 1430183 h 6689084"/>
                <a:gd name="connsiteX2780" fmla="*/ 5075541 w 6689088"/>
                <a:gd name="connsiteY2780" fmla="*/ 1428007 h 6689084"/>
                <a:gd name="connsiteX2781" fmla="*/ 5107492 w 6689088"/>
                <a:gd name="connsiteY2781" fmla="*/ 1459958 h 6689084"/>
                <a:gd name="connsiteX2782" fmla="*/ 5075541 w 6689088"/>
                <a:gd name="connsiteY2782" fmla="*/ 1491909 h 6689084"/>
                <a:gd name="connsiteX2783" fmla="*/ 5043590 w 6689088"/>
                <a:gd name="connsiteY2783" fmla="*/ 1459958 h 6689084"/>
                <a:gd name="connsiteX2784" fmla="*/ 5075541 w 6689088"/>
                <a:gd name="connsiteY2784" fmla="*/ 1428007 h 6689084"/>
                <a:gd name="connsiteX2785" fmla="*/ 5229126 w 6689088"/>
                <a:gd name="connsiteY2785" fmla="*/ 1426192 h 6689084"/>
                <a:gd name="connsiteX2786" fmla="*/ 5262892 w 6689088"/>
                <a:gd name="connsiteY2786" fmla="*/ 1459958 h 6689084"/>
                <a:gd name="connsiteX2787" fmla="*/ 5229126 w 6689088"/>
                <a:gd name="connsiteY2787" fmla="*/ 1493724 h 6689084"/>
                <a:gd name="connsiteX2788" fmla="*/ 5195360 w 6689088"/>
                <a:gd name="connsiteY2788" fmla="*/ 1459958 h 6689084"/>
                <a:gd name="connsiteX2789" fmla="*/ 5229126 w 6689088"/>
                <a:gd name="connsiteY2789" fmla="*/ 1426192 h 6689084"/>
                <a:gd name="connsiteX2790" fmla="*/ 5383074 w 6689088"/>
                <a:gd name="connsiteY2790" fmla="*/ 1423650 h 6689084"/>
                <a:gd name="connsiteX2791" fmla="*/ 5419382 w 6689088"/>
                <a:gd name="connsiteY2791" fmla="*/ 1459958 h 6689084"/>
                <a:gd name="connsiteX2792" fmla="*/ 5383074 w 6689088"/>
                <a:gd name="connsiteY2792" fmla="*/ 1496266 h 6689084"/>
                <a:gd name="connsiteX2793" fmla="*/ 5346766 w 6689088"/>
                <a:gd name="connsiteY2793" fmla="*/ 1459958 h 6689084"/>
                <a:gd name="connsiteX2794" fmla="*/ 5383074 w 6689088"/>
                <a:gd name="connsiteY2794" fmla="*/ 1423650 h 6689084"/>
                <a:gd name="connsiteX2795" fmla="*/ 5536659 w 6689088"/>
                <a:gd name="connsiteY2795" fmla="*/ 1421107 h 6689084"/>
                <a:gd name="connsiteX2796" fmla="*/ 5575506 w 6689088"/>
                <a:gd name="connsiteY2796" fmla="*/ 1459958 h 6689084"/>
                <a:gd name="connsiteX2797" fmla="*/ 5536659 w 6689088"/>
                <a:gd name="connsiteY2797" fmla="*/ 1498805 h 6689084"/>
                <a:gd name="connsiteX2798" fmla="*/ 5497808 w 6689088"/>
                <a:gd name="connsiteY2798" fmla="*/ 1459958 h 6689084"/>
                <a:gd name="connsiteX2799" fmla="*/ 5536659 w 6689088"/>
                <a:gd name="connsiteY2799" fmla="*/ 1421107 h 6689084"/>
                <a:gd name="connsiteX2800" fmla="*/ 5690606 w 6689088"/>
                <a:gd name="connsiteY2800" fmla="*/ 1418930 h 6689084"/>
                <a:gd name="connsiteX2801" fmla="*/ 5731638 w 6689088"/>
                <a:gd name="connsiteY2801" fmla="*/ 1459958 h 6689084"/>
                <a:gd name="connsiteX2802" fmla="*/ 5690606 w 6689088"/>
                <a:gd name="connsiteY2802" fmla="*/ 1500985 h 6689084"/>
                <a:gd name="connsiteX2803" fmla="*/ 5649579 w 6689088"/>
                <a:gd name="connsiteY2803" fmla="*/ 1459958 h 6689084"/>
                <a:gd name="connsiteX2804" fmla="*/ 5690606 w 6689088"/>
                <a:gd name="connsiteY2804" fmla="*/ 1418930 h 6689084"/>
                <a:gd name="connsiteX2805" fmla="*/ 5844554 w 6689088"/>
                <a:gd name="connsiteY2805" fmla="*/ 1416388 h 6689084"/>
                <a:gd name="connsiteX2806" fmla="*/ 5888124 w 6689088"/>
                <a:gd name="connsiteY2806" fmla="*/ 1459958 h 6689084"/>
                <a:gd name="connsiteX2807" fmla="*/ 5844554 w 6689088"/>
                <a:gd name="connsiteY2807" fmla="*/ 1503528 h 6689084"/>
                <a:gd name="connsiteX2808" fmla="*/ 5800984 w 6689088"/>
                <a:gd name="connsiteY2808" fmla="*/ 1459958 h 6689084"/>
                <a:gd name="connsiteX2809" fmla="*/ 5844554 w 6689088"/>
                <a:gd name="connsiteY2809" fmla="*/ 1416388 h 6689084"/>
                <a:gd name="connsiteX2810" fmla="*/ 5998136 w 6689088"/>
                <a:gd name="connsiteY2810" fmla="*/ 1413845 h 6689084"/>
                <a:gd name="connsiteX2811" fmla="*/ 6044248 w 6689088"/>
                <a:gd name="connsiteY2811" fmla="*/ 1459958 h 6689084"/>
                <a:gd name="connsiteX2812" fmla="*/ 5998136 w 6689088"/>
                <a:gd name="connsiteY2812" fmla="*/ 1506070 h 6689084"/>
                <a:gd name="connsiteX2813" fmla="*/ 5952026 w 6689088"/>
                <a:gd name="connsiteY2813" fmla="*/ 1459958 h 6689084"/>
                <a:gd name="connsiteX2814" fmla="*/ 5998136 w 6689088"/>
                <a:gd name="connsiteY2814" fmla="*/ 1413845 h 6689084"/>
                <a:gd name="connsiteX2815" fmla="*/ 6152083 w 6689088"/>
                <a:gd name="connsiteY2815" fmla="*/ 1411303 h 6689084"/>
                <a:gd name="connsiteX2816" fmla="*/ 6200738 w 6689088"/>
                <a:gd name="connsiteY2816" fmla="*/ 1459958 h 6689084"/>
                <a:gd name="connsiteX2817" fmla="*/ 6152083 w 6689088"/>
                <a:gd name="connsiteY2817" fmla="*/ 1508609 h 6689084"/>
                <a:gd name="connsiteX2818" fmla="*/ 6103432 w 6689088"/>
                <a:gd name="connsiteY2818" fmla="*/ 1459958 h 6689084"/>
                <a:gd name="connsiteX2819" fmla="*/ 6152083 w 6689088"/>
                <a:gd name="connsiteY2819" fmla="*/ 1411303 h 6689084"/>
                <a:gd name="connsiteX2820" fmla="*/ 6305672 w 6689088"/>
                <a:gd name="connsiteY2820" fmla="*/ 1408760 h 6689084"/>
                <a:gd name="connsiteX2821" fmla="*/ 6356866 w 6689088"/>
                <a:gd name="connsiteY2821" fmla="*/ 1459954 h 6689084"/>
                <a:gd name="connsiteX2822" fmla="*/ 6305672 w 6689088"/>
                <a:gd name="connsiteY2822" fmla="*/ 1511148 h 6689084"/>
                <a:gd name="connsiteX2823" fmla="*/ 6254474 w 6689088"/>
                <a:gd name="connsiteY2823" fmla="*/ 1459954 h 6689084"/>
                <a:gd name="connsiteX2824" fmla="*/ 6305672 w 6689088"/>
                <a:gd name="connsiteY2824" fmla="*/ 1408760 h 6689084"/>
                <a:gd name="connsiteX2825" fmla="*/ 6459616 w 6689088"/>
                <a:gd name="connsiteY2825" fmla="*/ 1406584 h 6689084"/>
                <a:gd name="connsiteX2826" fmla="*/ 6512990 w 6689088"/>
                <a:gd name="connsiteY2826" fmla="*/ 1459958 h 6689084"/>
                <a:gd name="connsiteX2827" fmla="*/ 6459616 w 6689088"/>
                <a:gd name="connsiteY2827" fmla="*/ 1513328 h 6689084"/>
                <a:gd name="connsiteX2828" fmla="*/ 6406241 w 6689088"/>
                <a:gd name="connsiteY2828" fmla="*/ 1459958 h 6689084"/>
                <a:gd name="connsiteX2829" fmla="*/ 6459616 w 6689088"/>
                <a:gd name="connsiteY2829" fmla="*/ 1406584 h 6689084"/>
                <a:gd name="connsiteX2830" fmla="*/ 6613200 w 6689088"/>
                <a:gd name="connsiteY2830" fmla="*/ 1403679 h 6689084"/>
                <a:gd name="connsiteX2831" fmla="*/ 6669476 w 6689088"/>
                <a:gd name="connsiteY2831" fmla="*/ 1459958 h 6689084"/>
                <a:gd name="connsiteX2832" fmla="*/ 6613200 w 6689088"/>
                <a:gd name="connsiteY2832" fmla="*/ 1516233 h 6689084"/>
                <a:gd name="connsiteX2833" fmla="*/ 6556922 w 6689088"/>
                <a:gd name="connsiteY2833" fmla="*/ 1459958 h 6689084"/>
                <a:gd name="connsiteX2834" fmla="*/ 6613200 w 6689088"/>
                <a:gd name="connsiteY2834" fmla="*/ 1403679 h 6689084"/>
                <a:gd name="connsiteX2835" fmla="*/ 1999860 w 6689088"/>
                <a:gd name="connsiteY2835" fmla="*/ 1305645 h 6689084"/>
                <a:gd name="connsiteX2836" fmla="*/ 2000222 w 6689088"/>
                <a:gd name="connsiteY2836" fmla="*/ 1306007 h 6689084"/>
                <a:gd name="connsiteX2837" fmla="*/ 1999860 w 6689088"/>
                <a:gd name="connsiteY2837" fmla="*/ 1306373 h 6689084"/>
                <a:gd name="connsiteX2838" fmla="*/ 1999498 w 6689088"/>
                <a:gd name="connsiteY2838" fmla="*/ 1306007 h 6689084"/>
                <a:gd name="connsiteX2839" fmla="*/ 1999860 w 6689088"/>
                <a:gd name="connsiteY2839" fmla="*/ 1305645 h 6689084"/>
                <a:gd name="connsiteX2840" fmla="*/ 1538746 w 6689088"/>
                <a:gd name="connsiteY2840" fmla="*/ 1305645 h 6689084"/>
                <a:gd name="connsiteX2841" fmla="*/ 1539108 w 6689088"/>
                <a:gd name="connsiteY2841" fmla="*/ 1306007 h 6689084"/>
                <a:gd name="connsiteX2842" fmla="*/ 1538746 w 6689088"/>
                <a:gd name="connsiteY2842" fmla="*/ 1306373 h 6689084"/>
                <a:gd name="connsiteX2843" fmla="*/ 1538384 w 6689088"/>
                <a:gd name="connsiteY2843" fmla="*/ 1306007 h 6689084"/>
                <a:gd name="connsiteX2844" fmla="*/ 1538746 w 6689088"/>
                <a:gd name="connsiteY2844" fmla="*/ 1305645 h 6689084"/>
                <a:gd name="connsiteX2845" fmla="*/ 1384799 w 6689088"/>
                <a:gd name="connsiteY2845" fmla="*/ 1305645 h 6689084"/>
                <a:gd name="connsiteX2846" fmla="*/ 1385161 w 6689088"/>
                <a:gd name="connsiteY2846" fmla="*/ 1306007 h 6689084"/>
                <a:gd name="connsiteX2847" fmla="*/ 1384799 w 6689088"/>
                <a:gd name="connsiteY2847" fmla="*/ 1306373 h 6689084"/>
                <a:gd name="connsiteX2848" fmla="*/ 1384437 w 6689088"/>
                <a:gd name="connsiteY2848" fmla="*/ 1306007 h 6689084"/>
                <a:gd name="connsiteX2849" fmla="*/ 1384799 w 6689088"/>
                <a:gd name="connsiteY2849" fmla="*/ 1305645 h 6689084"/>
                <a:gd name="connsiteX2850" fmla="*/ 1231217 w 6689088"/>
                <a:gd name="connsiteY2850" fmla="*/ 1305282 h 6689084"/>
                <a:gd name="connsiteX2851" fmla="*/ 1231942 w 6689088"/>
                <a:gd name="connsiteY2851" fmla="*/ 1306010 h 6689084"/>
                <a:gd name="connsiteX2852" fmla="*/ 1231217 w 6689088"/>
                <a:gd name="connsiteY2852" fmla="*/ 1306735 h 6689084"/>
                <a:gd name="connsiteX2853" fmla="*/ 1230489 w 6689088"/>
                <a:gd name="connsiteY2853" fmla="*/ 1306010 h 6689084"/>
                <a:gd name="connsiteX2854" fmla="*/ 1231217 w 6689088"/>
                <a:gd name="connsiteY2854" fmla="*/ 1305282 h 6689084"/>
                <a:gd name="connsiteX2855" fmla="*/ 2153811 w 6689088"/>
                <a:gd name="connsiteY2855" fmla="*/ 1304558 h 6689084"/>
                <a:gd name="connsiteX2856" fmla="*/ 2155264 w 6689088"/>
                <a:gd name="connsiteY2856" fmla="*/ 1306010 h 6689084"/>
                <a:gd name="connsiteX2857" fmla="*/ 2153811 w 6689088"/>
                <a:gd name="connsiteY2857" fmla="*/ 1307463 h 6689084"/>
                <a:gd name="connsiteX2858" fmla="*/ 2152359 w 6689088"/>
                <a:gd name="connsiteY2858" fmla="*/ 1306010 h 6689084"/>
                <a:gd name="connsiteX2859" fmla="*/ 2153811 w 6689088"/>
                <a:gd name="connsiteY2859" fmla="*/ 1304558 h 6689084"/>
                <a:gd name="connsiteX2860" fmla="*/ 2307393 w 6689088"/>
                <a:gd name="connsiteY2860" fmla="*/ 1303830 h 6689084"/>
                <a:gd name="connsiteX2861" fmla="*/ 2309573 w 6689088"/>
                <a:gd name="connsiteY2861" fmla="*/ 1306010 h 6689084"/>
                <a:gd name="connsiteX2862" fmla="*/ 2307393 w 6689088"/>
                <a:gd name="connsiteY2862" fmla="*/ 1308187 h 6689084"/>
                <a:gd name="connsiteX2863" fmla="*/ 2305216 w 6689088"/>
                <a:gd name="connsiteY2863" fmla="*/ 1306010 h 6689084"/>
                <a:gd name="connsiteX2864" fmla="*/ 2307393 w 6689088"/>
                <a:gd name="connsiteY2864" fmla="*/ 1303830 h 6689084"/>
                <a:gd name="connsiteX2865" fmla="*/ 2461344 w 6689088"/>
                <a:gd name="connsiteY2865" fmla="*/ 1303106 h 6689084"/>
                <a:gd name="connsiteX2866" fmla="*/ 2464611 w 6689088"/>
                <a:gd name="connsiteY2866" fmla="*/ 1306373 h 6689084"/>
                <a:gd name="connsiteX2867" fmla="*/ 2461344 w 6689088"/>
                <a:gd name="connsiteY2867" fmla="*/ 1309643 h 6689084"/>
                <a:gd name="connsiteX2868" fmla="*/ 2458073 w 6689088"/>
                <a:gd name="connsiteY2868" fmla="*/ 1306373 h 6689084"/>
                <a:gd name="connsiteX2869" fmla="*/ 2461344 w 6689088"/>
                <a:gd name="connsiteY2869" fmla="*/ 1303106 h 6689084"/>
                <a:gd name="connsiteX2870" fmla="*/ 2614925 w 6689088"/>
                <a:gd name="connsiteY2870" fmla="*/ 1301653 h 6689084"/>
                <a:gd name="connsiteX2871" fmla="*/ 2619283 w 6689088"/>
                <a:gd name="connsiteY2871" fmla="*/ 1306010 h 6689084"/>
                <a:gd name="connsiteX2872" fmla="*/ 2614925 w 6689088"/>
                <a:gd name="connsiteY2872" fmla="*/ 1310367 h 6689084"/>
                <a:gd name="connsiteX2873" fmla="*/ 2610568 w 6689088"/>
                <a:gd name="connsiteY2873" fmla="*/ 1306010 h 6689084"/>
                <a:gd name="connsiteX2874" fmla="*/ 2614925 w 6689088"/>
                <a:gd name="connsiteY2874" fmla="*/ 1301653 h 6689084"/>
                <a:gd name="connsiteX2875" fmla="*/ 2768873 w 6689088"/>
                <a:gd name="connsiteY2875" fmla="*/ 1300563 h 6689084"/>
                <a:gd name="connsiteX2876" fmla="*/ 2774682 w 6689088"/>
                <a:gd name="connsiteY2876" fmla="*/ 1306373 h 6689084"/>
                <a:gd name="connsiteX2877" fmla="*/ 2768873 w 6689088"/>
                <a:gd name="connsiteY2877" fmla="*/ 1312182 h 6689084"/>
                <a:gd name="connsiteX2878" fmla="*/ 2763064 w 6689088"/>
                <a:gd name="connsiteY2878" fmla="*/ 1306373 h 6689084"/>
                <a:gd name="connsiteX2879" fmla="*/ 2768873 w 6689088"/>
                <a:gd name="connsiteY2879" fmla="*/ 1300563 h 6689084"/>
                <a:gd name="connsiteX2880" fmla="*/ 2922458 w 6689088"/>
                <a:gd name="connsiteY2880" fmla="*/ 1298749 h 6689084"/>
                <a:gd name="connsiteX2881" fmla="*/ 2929720 w 6689088"/>
                <a:gd name="connsiteY2881" fmla="*/ 1306010 h 6689084"/>
                <a:gd name="connsiteX2882" fmla="*/ 2922458 w 6689088"/>
                <a:gd name="connsiteY2882" fmla="*/ 1313272 h 6689084"/>
                <a:gd name="connsiteX2883" fmla="*/ 2915196 w 6689088"/>
                <a:gd name="connsiteY2883" fmla="*/ 1306010 h 6689084"/>
                <a:gd name="connsiteX2884" fmla="*/ 2922458 w 6689088"/>
                <a:gd name="connsiteY2884" fmla="*/ 1298749 h 6689084"/>
                <a:gd name="connsiteX2885" fmla="*/ 3076406 w 6689088"/>
                <a:gd name="connsiteY2885" fmla="*/ 1296934 h 6689084"/>
                <a:gd name="connsiteX2886" fmla="*/ 3085486 w 6689088"/>
                <a:gd name="connsiteY2886" fmla="*/ 1306010 h 6689084"/>
                <a:gd name="connsiteX2887" fmla="*/ 3076406 w 6689088"/>
                <a:gd name="connsiteY2887" fmla="*/ 1315090 h 6689084"/>
                <a:gd name="connsiteX2888" fmla="*/ 3067329 w 6689088"/>
                <a:gd name="connsiteY2888" fmla="*/ 1306010 h 6689084"/>
                <a:gd name="connsiteX2889" fmla="*/ 3076406 w 6689088"/>
                <a:gd name="connsiteY2889" fmla="*/ 1296934 h 6689084"/>
                <a:gd name="connsiteX2890" fmla="*/ 3230353 w 6689088"/>
                <a:gd name="connsiteY2890" fmla="*/ 1295844 h 6689084"/>
                <a:gd name="connsiteX2891" fmla="*/ 3240519 w 6689088"/>
                <a:gd name="connsiteY2891" fmla="*/ 1306010 h 6689084"/>
                <a:gd name="connsiteX2892" fmla="*/ 3230353 w 6689088"/>
                <a:gd name="connsiteY2892" fmla="*/ 1316177 h 6689084"/>
                <a:gd name="connsiteX2893" fmla="*/ 3220186 w 6689088"/>
                <a:gd name="connsiteY2893" fmla="*/ 1306010 h 6689084"/>
                <a:gd name="connsiteX2894" fmla="*/ 3230353 w 6689088"/>
                <a:gd name="connsiteY2894" fmla="*/ 1295844 h 6689084"/>
                <a:gd name="connsiteX2895" fmla="*/ 3383934 w 6689088"/>
                <a:gd name="connsiteY2895" fmla="*/ 1294026 h 6689084"/>
                <a:gd name="connsiteX2896" fmla="*/ 3395919 w 6689088"/>
                <a:gd name="connsiteY2896" fmla="*/ 1306007 h 6689084"/>
                <a:gd name="connsiteX2897" fmla="*/ 3383934 w 6689088"/>
                <a:gd name="connsiteY2897" fmla="*/ 1317987 h 6689084"/>
                <a:gd name="connsiteX2898" fmla="*/ 3371954 w 6689088"/>
                <a:gd name="connsiteY2898" fmla="*/ 1306007 h 6689084"/>
                <a:gd name="connsiteX2899" fmla="*/ 3383934 w 6689088"/>
                <a:gd name="connsiteY2899" fmla="*/ 1294026 h 6689084"/>
                <a:gd name="connsiteX2900" fmla="*/ 3537886 w 6689088"/>
                <a:gd name="connsiteY2900" fmla="*/ 1292211 h 6689084"/>
                <a:gd name="connsiteX2901" fmla="*/ 3551681 w 6689088"/>
                <a:gd name="connsiteY2901" fmla="*/ 1306010 h 6689084"/>
                <a:gd name="connsiteX2902" fmla="*/ 3537886 w 6689088"/>
                <a:gd name="connsiteY2902" fmla="*/ 1319806 h 6689084"/>
                <a:gd name="connsiteX2903" fmla="*/ 3524086 w 6689088"/>
                <a:gd name="connsiteY2903" fmla="*/ 1306010 h 6689084"/>
                <a:gd name="connsiteX2904" fmla="*/ 3537886 w 6689088"/>
                <a:gd name="connsiteY2904" fmla="*/ 1292211 h 6689084"/>
                <a:gd name="connsiteX2905" fmla="*/ 3691467 w 6689088"/>
                <a:gd name="connsiteY2905" fmla="*/ 1290759 h 6689084"/>
                <a:gd name="connsiteX2906" fmla="*/ 3706718 w 6689088"/>
                <a:gd name="connsiteY2906" fmla="*/ 1306010 h 6689084"/>
                <a:gd name="connsiteX2907" fmla="*/ 3691467 w 6689088"/>
                <a:gd name="connsiteY2907" fmla="*/ 1321258 h 6689084"/>
                <a:gd name="connsiteX2908" fmla="*/ 3676219 w 6689088"/>
                <a:gd name="connsiteY2908" fmla="*/ 1306010 h 6689084"/>
                <a:gd name="connsiteX2909" fmla="*/ 3691467 w 6689088"/>
                <a:gd name="connsiteY2909" fmla="*/ 1290759 h 6689084"/>
                <a:gd name="connsiteX2910" fmla="*/ 3845418 w 6689088"/>
                <a:gd name="connsiteY2910" fmla="*/ 1288945 h 6689084"/>
                <a:gd name="connsiteX2911" fmla="*/ 3862484 w 6689088"/>
                <a:gd name="connsiteY2911" fmla="*/ 1306010 h 6689084"/>
                <a:gd name="connsiteX2912" fmla="*/ 3845418 w 6689088"/>
                <a:gd name="connsiteY2912" fmla="*/ 1323072 h 6689084"/>
                <a:gd name="connsiteX2913" fmla="*/ 3828352 w 6689088"/>
                <a:gd name="connsiteY2913" fmla="*/ 1306010 h 6689084"/>
                <a:gd name="connsiteX2914" fmla="*/ 3845418 w 6689088"/>
                <a:gd name="connsiteY2914" fmla="*/ 1288945 h 6689084"/>
                <a:gd name="connsiteX2915" fmla="*/ 3999000 w 6689088"/>
                <a:gd name="connsiteY2915" fmla="*/ 1286768 h 6689084"/>
                <a:gd name="connsiteX2916" fmla="*/ 4018242 w 6689088"/>
                <a:gd name="connsiteY2916" fmla="*/ 1306010 h 6689084"/>
                <a:gd name="connsiteX2917" fmla="*/ 3999000 w 6689088"/>
                <a:gd name="connsiteY2917" fmla="*/ 1325257 h 6689084"/>
                <a:gd name="connsiteX2918" fmla="*/ 3979757 w 6689088"/>
                <a:gd name="connsiteY2918" fmla="*/ 1306010 h 6689084"/>
                <a:gd name="connsiteX2919" fmla="*/ 3999000 w 6689088"/>
                <a:gd name="connsiteY2919" fmla="*/ 1286768 h 6689084"/>
                <a:gd name="connsiteX2920" fmla="*/ 4152947 w 6689088"/>
                <a:gd name="connsiteY2920" fmla="*/ 1284588 h 6689084"/>
                <a:gd name="connsiteX2921" fmla="*/ 4174366 w 6689088"/>
                <a:gd name="connsiteY2921" fmla="*/ 1306010 h 6689084"/>
                <a:gd name="connsiteX2922" fmla="*/ 4152947 w 6689088"/>
                <a:gd name="connsiteY2922" fmla="*/ 1327433 h 6689084"/>
                <a:gd name="connsiteX2923" fmla="*/ 4131524 w 6689088"/>
                <a:gd name="connsiteY2923" fmla="*/ 1306010 h 6689084"/>
                <a:gd name="connsiteX2924" fmla="*/ 4152947 w 6689088"/>
                <a:gd name="connsiteY2924" fmla="*/ 1284588 h 6689084"/>
                <a:gd name="connsiteX2925" fmla="*/ 4306532 w 6689088"/>
                <a:gd name="connsiteY2925" fmla="*/ 1283135 h 6689084"/>
                <a:gd name="connsiteX2926" fmla="*/ 4329404 w 6689088"/>
                <a:gd name="connsiteY2926" fmla="*/ 1306010 h 6689084"/>
                <a:gd name="connsiteX2927" fmla="*/ 4306532 w 6689088"/>
                <a:gd name="connsiteY2927" fmla="*/ 1328886 h 6689084"/>
                <a:gd name="connsiteX2928" fmla="*/ 4283657 w 6689088"/>
                <a:gd name="connsiteY2928" fmla="*/ 1306010 h 6689084"/>
                <a:gd name="connsiteX2929" fmla="*/ 4306532 w 6689088"/>
                <a:gd name="connsiteY2929" fmla="*/ 1283135 h 6689084"/>
                <a:gd name="connsiteX2930" fmla="*/ 4460480 w 6689088"/>
                <a:gd name="connsiteY2930" fmla="*/ 1281321 h 6689084"/>
                <a:gd name="connsiteX2931" fmla="*/ 4485536 w 6689088"/>
                <a:gd name="connsiteY2931" fmla="*/ 1306373 h 6689084"/>
                <a:gd name="connsiteX2932" fmla="*/ 4460480 w 6689088"/>
                <a:gd name="connsiteY2932" fmla="*/ 1331424 h 6689084"/>
                <a:gd name="connsiteX2933" fmla="*/ 4435428 w 6689088"/>
                <a:gd name="connsiteY2933" fmla="*/ 1306373 h 6689084"/>
                <a:gd name="connsiteX2934" fmla="*/ 4460480 w 6689088"/>
                <a:gd name="connsiteY2934" fmla="*/ 1281321 h 6689084"/>
                <a:gd name="connsiteX2935" fmla="*/ 4614065 w 6689088"/>
                <a:gd name="connsiteY2935" fmla="*/ 1278778 h 6689084"/>
                <a:gd name="connsiteX2936" fmla="*/ 4641297 w 6689088"/>
                <a:gd name="connsiteY2936" fmla="*/ 1306010 h 6689084"/>
                <a:gd name="connsiteX2937" fmla="*/ 4614065 w 6689088"/>
                <a:gd name="connsiteY2937" fmla="*/ 1333243 h 6689084"/>
                <a:gd name="connsiteX2938" fmla="*/ 4586832 w 6689088"/>
                <a:gd name="connsiteY2938" fmla="*/ 1306010 h 6689084"/>
                <a:gd name="connsiteX2939" fmla="*/ 4614065 w 6689088"/>
                <a:gd name="connsiteY2939" fmla="*/ 1278778 h 6689084"/>
                <a:gd name="connsiteX2940" fmla="*/ 4768008 w 6689088"/>
                <a:gd name="connsiteY2940" fmla="*/ 1276236 h 6689084"/>
                <a:gd name="connsiteX2941" fmla="*/ 4797784 w 6689088"/>
                <a:gd name="connsiteY2941" fmla="*/ 1306010 h 6689084"/>
                <a:gd name="connsiteX2942" fmla="*/ 4768008 w 6689088"/>
                <a:gd name="connsiteY2942" fmla="*/ 1335781 h 6689084"/>
                <a:gd name="connsiteX2943" fmla="*/ 4738238 w 6689088"/>
                <a:gd name="connsiteY2943" fmla="*/ 1306010 h 6689084"/>
                <a:gd name="connsiteX2944" fmla="*/ 4768008 w 6689088"/>
                <a:gd name="connsiteY2944" fmla="*/ 1276236 h 6689084"/>
                <a:gd name="connsiteX2945" fmla="*/ 4921594 w 6689088"/>
                <a:gd name="connsiteY2945" fmla="*/ 1274059 h 6689084"/>
                <a:gd name="connsiteX2946" fmla="*/ 4953545 w 6689088"/>
                <a:gd name="connsiteY2946" fmla="*/ 1306010 h 6689084"/>
                <a:gd name="connsiteX2947" fmla="*/ 4921594 w 6689088"/>
                <a:gd name="connsiteY2947" fmla="*/ 1337962 h 6689084"/>
                <a:gd name="connsiteX2948" fmla="*/ 4889642 w 6689088"/>
                <a:gd name="connsiteY2948" fmla="*/ 1306010 h 6689084"/>
                <a:gd name="connsiteX2949" fmla="*/ 4921594 w 6689088"/>
                <a:gd name="connsiteY2949" fmla="*/ 1274059 h 6689084"/>
                <a:gd name="connsiteX2950" fmla="*/ 5075541 w 6689088"/>
                <a:gd name="connsiteY2950" fmla="*/ 1272245 h 6689084"/>
                <a:gd name="connsiteX2951" fmla="*/ 5109311 w 6689088"/>
                <a:gd name="connsiteY2951" fmla="*/ 1306010 h 6689084"/>
                <a:gd name="connsiteX2952" fmla="*/ 5075541 w 6689088"/>
                <a:gd name="connsiteY2952" fmla="*/ 1339780 h 6689084"/>
                <a:gd name="connsiteX2953" fmla="*/ 5041776 w 6689088"/>
                <a:gd name="connsiteY2953" fmla="*/ 1306010 h 6689084"/>
                <a:gd name="connsiteX2954" fmla="*/ 5075541 w 6689088"/>
                <a:gd name="connsiteY2954" fmla="*/ 1272245 h 6689084"/>
                <a:gd name="connsiteX2955" fmla="*/ 5229126 w 6689088"/>
                <a:gd name="connsiteY2955" fmla="*/ 1269702 h 6689084"/>
                <a:gd name="connsiteX2956" fmla="*/ 5265435 w 6689088"/>
                <a:gd name="connsiteY2956" fmla="*/ 1306010 h 6689084"/>
                <a:gd name="connsiteX2957" fmla="*/ 5229126 w 6689088"/>
                <a:gd name="connsiteY2957" fmla="*/ 1342319 h 6689084"/>
                <a:gd name="connsiteX2958" fmla="*/ 5192818 w 6689088"/>
                <a:gd name="connsiteY2958" fmla="*/ 1306010 h 6689084"/>
                <a:gd name="connsiteX2959" fmla="*/ 5229126 w 6689088"/>
                <a:gd name="connsiteY2959" fmla="*/ 1269702 h 6689084"/>
                <a:gd name="connsiteX2960" fmla="*/ 5383074 w 6689088"/>
                <a:gd name="connsiteY2960" fmla="*/ 1267160 h 6689084"/>
                <a:gd name="connsiteX2961" fmla="*/ 5421921 w 6689088"/>
                <a:gd name="connsiteY2961" fmla="*/ 1306010 h 6689084"/>
                <a:gd name="connsiteX2962" fmla="*/ 5383074 w 6689088"/>
                <a:gd name="connsiteY2962" fmla="*/ 1344858 h 6689084"/>
                <a:gd name="connsiteX2963" fmla="*/ 5344223 w 6689088"/>
                <a:gd name="connsiteY2963" fmla="*/ 1306010 h 6689084"/>
                <a:gd name="connsiteX2964" fmla="*/ 5383074 w 6689088"/>
                <a:gd name="connsiteY2964" fmla="*/ 1267160 h 6689084"/>
                <a:gd name="connsiteX2965" fmla="*/ 5536659 w 6689088"/>
                <a:gd name="connsiteY2965" fmla="*/ 1264983 h 6689084"/>
                <a:gd name="connsiteX2966" fmla="*/ 5577690 w 6689088"/>
                <a:gd name="connsiteY2966" fmla="*/ 1306010 h 6689084"/>
                <a:gd name="connsiteX2967" fmla="*/ 5536659 w 6689088"/>
                <a:gd name="connsiteY2967" fmla="*/ 1347038 h 6689084"/>
                <a:gd name="connsiteX2968" fmla="*/ 5495632 w 6689088"/>
                <a:gd name="connsiteY2968" fmla="*/ 1306010 h 6689084"/>
                <a:gd name="connsiteX2969" fmla="*/ 5536659 w 6689088"/>
                <a:gd name="connsiteY2969" fmla="*/ 1264983 h 6689084"/>
                <a:gd name="connsiteX2970" fmla="*/ 5690606 w 6689088"/>
                <a:gd name="connsiteY2970" fmla="*/ 1262440 h 6689084"/>
                <a:gd name="connsiteX2971" fmla="*/ 5734176 w 6689088"/>
                <a:gd name="connsiteY2971" fmla="*/ 1306010 h 6689084"/>
                <a:gd name="connsiteX2972" fmla="*/ 5690606 w 6689088"/>
                <a:gd name="connsiteY2972" fmla="*/ 1349581 h 6689084"/>
                <a:gd name="connsiteX2973" fmla="*/ 5647036 w 6689088"/>
                <a:gd name="connsiteY2973" fmla="*/ 1306010 h 6689084"/>
                <a:gd name="connsiteX2974" fmla="*/ 5690606 w 6689088"/>
                <a:gd name="connsiteY2974" fmla="*/ 1262440 h 6689084"/>
                <a:gd name="connsiteX2975" fmla="*/ 5844554 w 6689088"/>
                <a:gd name="connsiteY2975" fmla="*/ 1259898 h 6689084"/>
                <a:gd name="connsiteX2976" fmla="*/ 5890666 w 6689088"/>
                <a:gd name="connsiteY2976" fmla="*/ 1306010 h 6689084"/>
                <a:gd name="connsiteX2977" fmla="*/ 5844554 w 6689088"/>
                <a:gd name="connsiteY2977" fmla="*/ 1352123 h 6689084"/>
                <a:gd name="connsiteX2978" fmla="*/ 5798442 w 6689088"/>
                <a:gd name="connsiteY2978" fmla="*/ 1306010 h 6689084"/>
                <a:gd name="connsiteX2979" fmla="*/ 5844554 w 6689088"/>
                <a:gd name="connsiteY2979" fmla="*/ 1259898 h 6689084"/>
                <a:gd name="connsiteX2980" fmla="*/ 5998136 w 6689088"/>
                <a:gd name="connsiteY2980" fmla="*/ 1257355 h 6689084"/>
                <a:gd name="connsiteX2981" fmla="*/ 6046790 w 6689088"/>
                <a:gd name="connsiteY2981" fmla="*/ 1306010 h 6689084"/>
                <a:gd name="connsiteX2982" fmla="*/ 5998136 w 6689088"/>
                <a:gd name="connsiteY2982" fmla="*/ 1354662 h 6689084"/>
                <a:gd name="connsiteX2983" fmla="*/ 5949484 w 6689088"/>
                <a:gd name="connsiteY2983" fmla="*/ 1306010 h 6689084"/>
                <a:gd name="connsiteX2984" fmla="*/ 5998136 w 6689088"/>
                <a:gd name="connsiteY2984" fmla="*/ 1257355 h 6689084"/>
                <a:gd name="connsiteX2985" fmla="*/ 6152083 w 6689088"/>
                <a:gd name="connsiteY2985" fmla="*/ 1254817 h 6689084"/>
                <a:gd name="connsiteX2986" fmla="*/ 6203280 w 6689088"/>
                <a:gd name="connsiteY2986" fmla="*/ 1306010 h 6689084"/>
                <a:gd name="connsiteX2987" fmla="*/ 6152083 w 6689088"/>
                <a:gd name="connsiteY2987" fmla="*/ 1357204 h 6689084"/>
                <a:gd name="connsiteX2988" fmla="*/ 6100889 w 6689088"/>
                <a:gd name="connsiteY2988" fmla="*/ 1306010 h 6689084"/>
                <a:gd name="connsiteX2989" fmla="*/ 6152083 w 6689088"/>
                <a:gd name="connsiteY2989" fmla="*/ 1254817 h 6689084"/>
                <a:gd name="connsiteX2990" fmla="*/ 6305668 w 6689088"/>
                <a:gd name="connsiteY2990" fmla="*/ 1252636 h 6689084"/>
                <a:gd name="connsiteX2991" fmla="*/ 6359042 w 6689088"/>
                <a:gd name="connsiteY2991" fmla="*/ 1306010 h 6689084"/>
                <a:gd name="connsiteX2992" fmla="*/ 6305668 w 6689088"/>
                <a:gd name="connsiteY2992" fmla="*/ 1359381 h 6689084"/>
                <a:gd name="connsiteX2993" fmla="*/ 6252294 w 6689088"/>
                <a:gd name="connsiteY2993" fmla="*/ 1306010 h 6689084"/>
                <a:gd name="connsiteX2994" fmla="*/ 6305668 w 6689088"/>
                <a:gd name="connsiteY2994" fmla="*/ 1252636 h 6689084"/>
                <a:gd name="connsiteX2995" fmla="*/ 6459619 w 6689088"/>
                <a:gd name="connsiteY2995" fmla="*/ 1249732 h 6689084"/>
                <a:gd name="connsiteX2996" fmla="*/ 6515894 w 6689088"/>
                <a:gd name="connsiteY2996" fmla="*/ 1306010 h 6689084"/>
                <a:gd name="connsiteX2997" fmla="*/ 6459619 w 6689088"/>
                <a:gd name="connsiteY2997" fmla="*/ 1362289 h 6689084"/>
                <a:gd name="connsiteX2998" fmla="*/ 6403340 w 6689088"/>
                <a:gd name="connsiteY2998" fmla="*/ 1306010 h 6689084"/>
                <a:gd name="connsiteX2999" fmla="*/ 6459619 w 6689088"/>
                <a:gd name="connsiteY2999" fmla="*/ 1249732 h 6689084"/>
                <a:gd name="connsiteX3000" fmla="*/ 6613197 w 6689088"/>
                <a:gd name="connsiteY3000" fmla="*/ 1247189 h 6689084"/>
                <a:gd name="connsiteX3001" fmla="*/ 6672018 w 6689088"/>
                <a:gd name="connsiteY3001" fmla="*/ 1306010 h 6689084"/>
                <a:gd name="connsiteX3002" fmla="*/ 6613197 w 6689088"/>
                <a:gd name="connsiteY3002" fmla="*/ 1364828 h 6689084"/>
                <a:gd name="connsiteX3003" fmla="*/ 6554380 w 6689088"/>
                <a:gd name="connsiteY3003" fmla="*/ 1306010 h 6689084"/>
                <a:gd name="connsiteX3004" fmla="*/ 6613197 w 6689088"/>
                <a:gd name="connsiteY3004" fmla="*/ 1247189 h 6689084"/>
                <a:gd name="connsiteX3005" fmla="*/ 1846279 w 6689088"/>
                <a:gd name="connsiteY3005" fmla="*/ 1152063 h 6689084"/>
                <a:gd name="connsiteX3006" fmla="*/ 1846641 w 6689088"/>
                <a:gd name="connsiteY3006" fmla="*/ 1152425 h 6689084"/>
                <a:gd name="connsiteX3007" fmla="*/ 1846279 w 6689088"/>
                <a:gd name="connsiteY3007" fmla="*/ 1152791 h 6689084"/>
                <a:gd name="connsiteX3008" fmla="*/ 1845917 w 6689088"/>
                <a:gd name="connsiteY3008" fmla="*/ 1152425 h 6689084"/>
                <a:gd name="connsiteX3009" fmla="*/ 1846279 w 6689088"/>
                <a:gd name="connsiteY3009" fmla="*/ 1152063 h 6689084"/>
                <a:gd name="connsiteX3010" fmla="*/ 1384799 w 6689088"/>
                <a:gd name="connsiteY3010" fmla="*/ 1152063 h 6689084"/>
                <a:gd name="connsiteX3011" fmla="*/ 1385161 w 6689088"/>
                <a:gd name="connsiteY3011" fmla="*/ 1152425 h 6689084"/>
                <a:gd name="connsiteX3012" fmla="*/ 1384799 w 6689088"/>
                <a:gd name="connsiteY3012" fmla="*/ 1152791 h 6689084"/>
                <a:gd name="connsiteX3013" fmla="*/ 1384437 w 6689088"/>
                <a:gd name="connsiteY3013" fmla="*/ 1152425 h 6689084"/>
                <a:gd name="connsiteX3014" fmla="*/ 1384799 w 6689088"/>
                <a:gd name="connsiteY3014" fmla="*/ 1152063 h 6689084"/>
                <a:gd name="connsiteX3015" fmla="*/ 1231213 w 6689088"/>
                <a:gd name="connsiteY3015" fmla="*/ 1152063 h 6689084"/>
                <a:gd name="connsiteX3016" fmla="*/ 1231576 w 6689088"/>
                <a:gd name="connsiteY3016" fmla="*/ 1152425 h 6689084"/>
                <a:gd name="connsiteX3017" fmla="*/ 1231213 w 6689088"/>
                <a:gd name="connsiteY3017" fmla="*/ 1152791 h 6689084"/>
                <a:gd name="connsiteX3018" fmla="*/ 1230851 w 6689088"/>
                <a:gd name="connsiteY3018" fmla="*/ 1152425 h 6689084"/>
                <a:gd name="connsiteX3019" fmla="*/ 1231213 w 6689088"/>
                <a:gd name="connsiteY3019" fmla="*/ 1152063 h 6689084"/>
                <a:gd name="connsiteX3020" fmla="*/ 1077270 w 6689088"/>
                <a:gd name="connsiteY3020" fmla="*/ 1151701 h 6689084"/>
                <a:gd name="connsiteX3021" fmla="*/ 1077994 w 6689088"/>
                <a:gd name="connsiteY3021" fmla="*/ 1152425 h 6689084"/>
                <a:gd name="connsiteX3022" fmla="*/ 1077270 w 6689088"/>
                <a:gd name="connsiteY3022" fmla="*/ 1153153 h 6689084"/>
                <a:gd name="connsiteX3023" fmla="*/ 1076542 w 6689088"/>
                <a:gd name="connsiteY3023" fmla="*/ 1152425 h 6689084"/>
                <a:gd name="connsiteX3024" fmla="*/ 1077270 w 6689088"/>
                <a:gd name="connsiteY3024" fmla="*/ 1151701 h 6689084"/>
                <a:gd name="connsiteX3025" fmla="*/ 1999864 w 6689088"/>
                <a:gd name="connsiteY3025" fmla="*/ 1150611 h 6689084"/>
                <a:gd name="connsiteX3026" fmla="*/ 2001316 w 6689088"/>
                <a:gd name="connsiteY3026" fmla="*/ 1152063 h 6689084"/>
                <a:gd name="connsiteX3027" fmla="*/ 1999864 w 6689088"/>
                <a:gd name="connsiteY3027" fmla="*/ 1153515 h 6689084"/>
                <a:gd name="connsiteX3028" fmla="*/ 1998412 w 6689088"/>
                <a:gd name="connsiteY3028" fmla="*/ 1152063 h 6689084"/>
                <a:gd name="connsiteX3029" fmla="*/ 1999864 w 6689088"/>
                <a:gd name="connsiteY3029" fmla="*/ 1150611 h 6689084"/>
                <a:gd name="connsiteX3030" fmla="*/ 2153808 w 6689088"/>
                <a:gd name="connsiteY3030" fmla="*/ 1150249 h 6689084"/>
                <a:gd name="connsiteX3031" fmla="*/ 2155988 w 6689088"/>
                <a:gd name="connsiteY3031" fmla="*/ 1152425 h 6689084"/>
                <a:gd name="connsiteX3032" fmla="*/ 2153808 w 6689088"/>
                <a:gd name="connsiteY3032" fmla="*/ 1154606 h 6689084"/>
                <a:gd name="connsiteX3033" fmla="*/ 2151631 w 6689088"/>
                <a:gd name="connsiteY3033" fmla="*/ 1152425 h 6689084"/>
                <a:gd name="connsiteX3034" fmla="*/ 2153808 w 6689088"/>
                <a:gd name="connsiteY3034" fmla="*/ 1150249 h 6689084"/>
                <a:gd name="connsiteX3035" fmla="*/ 2307393 w 6689088"/>
                <a:gd name="connsiteY3035" fmla="*/ 1149158 h 6689084"/>
                <a:gd name="connsiteX3036" fmla="*/ 2310660 w 6689088"/>
                <a:gd name="connsiteY3036" fmla="*/ 1152425 h 6689084"/>
                <a:gd name="connsiteX3037" fmla="*/ 2307393 w 6689088"/>
                <a:gd name="connsiteY3037" fmla="*/ 1155696 h 6689084"/>
                <a:gd name="connsiteX3038" fmla="*/ 2304126 w 6689088"/>
                <a:gd name="connsiteY3038" fmla="*/ 1152425 h 6689084"/>
                <a:gd name="connsiteX3039" fmla="*/ 2307393 w 6689088"/>
                <a:gd name="connsiteY3039" fmla="*/ 1149158 h 6689084"/>
                <a:gd name="connsiteX3040" fmla="*/ 2461340 w 6689088"/>
                <a:gd name="connsiteY3040" fmla="*/ 1147706 h 6689084"/>
                <a:gd name="connsiteX3041" fmla="*/ 2465697 w 6689088"/>
                <a:gd name="connsiteY3041" fmla="*/ 1152063 h 6689084"/>
                <a:gd name="connsiteX3042" fmla="*/ 2461340 w 6689088"/>
                <a:gd name="connsiteY3042" fmla="*/ 1156420 h 6689084"/>
                <a:gd name="connsiteX3043" fmla="*/ 2456983 w 6689088"/>
                <a:gd name="connsiteY3043" fmla="*/ 1152063 h 6689084"/>
                <a:gd name="connsiteX3044" fmla="*/ 2461340 w 6689088"/>
                <a:gd name="connsiteY3044" fmla="*/ 1147706 h 6689084"/>
                <a:gd name="connsiteX3045" fmla="*/ 2614925 w 6689088"/>
                <a:gd name="connsiteY3045" fmla="*/ 1146616 h 6689084"/>
                <a:gd name="connsiteX3046" fmla="*/ 2620735 w 6689088"/>
                <a:gd name="connsiteY3046" fmla="*/ 1152425 h 6689084"/>
                <a:gd name="connsiteX3047" fmla="*/ 2614925 w 6689088"/>
                <a:gd name="connsiteY3047" fmla="*/ 1158234 h 6689084"/>
                <a:gd name="connsiteX3048" fmla="*/ 2609116 w 6689088"/>
                <a:gd name="connsiteY3048" fmla="*/ 1152425 h 6689084"/>
                <a:gd name="connsiteX3049" fmla="*/ 2614925 w 6689088"/>
                <a:gd name="connsiteY3049" fmla="*/ 1146616 h 6689084"/>
                <a:gd name="connsiteX3050" fmla="*/ 2768873 w 6689088"/>
                <a:gd name="connsiteY3050" fmla="*/ 1145164 h 6689084"/>
                <a:gd name="connsiteX3051" fmla="*/ 2776135 w 6689088"/>
                <a:gd name="connsiteY3051" fmla="*/ 1152425 h 6689084"/>
                <a:gd name="connsiteX3052" fmla="*/ 2768873 w 6689088"/>
                <a:gd name="connsiteY3052" fmla="*/ 1159687 h 6689084"/>
                <a:gd name="connsiteX3053" fmla="*/ 2761611 w 6689088"/>
                <a:gd name="connsiteY3053" fmla="*/ 1152425 h 6689084"/>
                <a:gd name="connsiteX3054" fmla="*/ 2768873 w 6689088"/>
                <a:gd name="connsiteY3054" fmla="*/ 1145164 h 6689084"/>
                <a:gd name="connsiteX3055" fmla="*/ 2922454 w 6689088"/>
                <a:gd name="connsiteY3055" fmla="*/ 1142983 h 6689084"/>
                <a:gd name="connsiteX3056" fmla="*/ 2931534 w 6689088"/>
                <a:gd name="connsiteY3056" fmla="*/ 1152059 h 6689084"/>
                <a:gd name="connsiteX3057" fmla="*/ 2922454 w 6689088"/>
                <a:gd name="connsiteY3057" fmla="*/ 1161139 h 6689084"/>
                <a:gd name="connsiteX3058" fmla="*/ 2913378 w 6689088"/>
                <a:gd name="connsiteY3058" fmla="*/ 1152059 h 6689084"/>
                <a:gd name="connsiteX3059" fmla="*/ 2922454 w 6689088"/>
                <a:gd name="connsiteY3059" fmla="*/ 1142983 h 6689084"/>
                <a:gd name="connsiteX3060" fmla="*/ 3076406 w 6689088"/>
                <a:gd name="connsiteY3060" fmla="*/ 1142259 h 6689084"/>
                <a:gd name="connsiteX3061" fmla="*/ 3086572 w 6689088"/>
                <a:gd name="connsiteY3061" fmla="*/ 1152425 h 6689084"/>
                <a:gd name="connsiteX3062" fmla="*/ 3076406 w 6689088"/>
                <a:gd name="connsiteY3062" fmla="*/ 1162592 h 6689084"/>
                <a:gd name="connsiteX3063" fmla="*/ 3066239 w 6689088"/>
                <a:gd name="connsiteY3063" fmla="*/ 1152425 h 6689084"/>
                <a:gd name="connsiteX3064" fmla="*/ 3076406 w 6689088"/>
                <a:gd name="connsiteY3064" fmla="*/ 1142259 h 6689084"/>
                <a:gd name="connsiteX3065" fmla="*/ 3230349 w 6689088"/>
                <a:gd name="connsiteY3065" fmla="*/ 1140444 h 6689084"/>
                <a:gd name="connsiteX3066" fmla="*/ 3242334 w 6689088"/>
                <a:gd name="connsiteY3066" fmla="*/ 1152425 h 6689084"/>
                <a:gd name="connsiteX3067" fmla="*/ 3230349 w 6689088"/>
                <a:gd name="connsiteY3067" fmla="*/ 1164406 h 6689084"/>
                <a:gd name="connsiteX3068" fmla="*/ 3218368 w 6689088"/>
                <a:gd name="connsiteY3068" fmla="*/ 1152425 h 6689084"/>
                <a:gd name="connsiteX3069" fmla="*/ 3230349 w 6689088"/>
                <a:gd name="connsiteY3069" fmla="*/ 1140444 h 6689084"/>
                <a:gd name="connsiteX3070" fmla="*/ 3383934 w 6689088"/>
                <a:gd name="connsiteY3070" fmla="*/ 1138264 h 6689084"/>
                <a:gd name="connsiteX3071" fmla="*/ 3397733 w 6689088"/>
                <a:gd name="connsiteY3071" fmla="*/ 1152059 h 6689084"/>
                <a:gd name="connsiteX3072" fmla="*/ 3383934 w 6689088"/>
                <a:gd name="connsiteY3072" fmla="*/ 1165858 h 6689084"/>
                <a:gd name="connsiteX3073" fmla="*/ 3370139 w 6689088"/>
                <a:gd name="connsiteY3073" fmla="*/ 1152059 h 6689084"/>
                <a:gd name="connsiteX3074" fmla="*/ 3383934 w 6689088"/>
                <a:gd name="connsiteY3074" fmla="*/ 1138264 h 6689084"/>
                <a:gd name="connsiteX3075" fmla="*/ 3537882 w 6689088"/>
                <a:gd name="connsiteY3075" fmla="*/ 1137178 h 6689084"/>
                <a:gd name="connsiteX3076" fmla="*/ 3553133 w 6689088"/>
                <a:gd name="connsiteY3076" fmla="*/ 1152425 h 6689084"/>
                <a:gd name="connsiteX3077" fmla="*/ 3537882 w 6689088"/>
                <a:gd name="connsiteY3077" fmla="*/ 1167677 h 6689084"/>
                <a:gd name="connsiteX3078" fmla="*/ 3522634 w 6689088"/>
                <a:gd name="connsiteY3078" fmla="*/ 1152425 h 6689084"/>
                <a:gd name="connsiteX3079" fmla="*/ 3537882 w 6689088"/>
                <a:gd name="connsiteY3079" fmla="*/ 1137178 h 6689084"/>
                <a:gd name="connsiteX3080" fmla="*/ 3691467 w 6689088"/>
                <a:gd name="connsiteY3080" fmla="*/ 1135359 h 6689084"/>
                <a:gd name="connsiteX3081" fmla="*/ 3708533 w 6689088"/>
                <a:gd name="connsiteY3081" fmla="*/ 1152425 h 6689084"/>
                <a:gd name="connsiteX3082" fmla="*/ 3691467 w 6689088"/>
                <a:gd name="connsiteY3082" fmla="*/ 1169487 h 6689084"/>
                <a:gd name="connsiteX3083" fmla="*/ 3674401 w 6689088"/>
                <a:gd name="connsiteY3083" fmla="*/ 1152425 h 6689084"/>
                <a:gd name="connsiteX3084" fmla="*/ 3691467 w 6689088"/>
                <a:gd name="connsiteY3084" fmla="*/ 1135359 h 6689084"/>
                <a:gd name="connsiteX3085" fmla="*/ 3845414 w 6689088"/>
                <a:gd name="connsiteY3085" fmla="*/ 1133183 h 6689084"/>
                <a:gd name="connsiteX3086" fmla="*/ 3864661 w 6689088"/>
                <a:gd name="connsiteY3086" fmla="*/ 1152425 h 6689084"/>
                <a:gd name="connsiteX3087" fmla="*/ 3845414 w 6689088"/>
                <a:gd name="connsiteY3087" fmla="*/ 1171672 h 6689084"/>
                <a:gd name="connsiteX3088" fmla="*/ 3826172 w 6689088"/>
                <a:gd name="connsiteY3088" fmla="*/ 1152425 h 6689084"/>
                <a:gd name="connsiteX3089" fmla="*/ 3845414 w 6689088"/>
                <a:gd name="connsiteY3089" fmla="*/ 1133183 h 6689084"/>
                <a:gd name="connsiteX3090" fmla="*/ 3999000 w 6689088"/>
                <a:gd name="connsiteY3090" fmla="*/ 1131002 h 6689084"/>
                <a:gd name="connsiteX3091" fmla="*/ 4020422 w 6689088"/>
                <a:gd name="connsiteY3091" fmla="*/ 1152425 h 6689084"/>
                <a:gd name="connsiteX3092" fmla="*/ 3999000 w 6689088"/>
                <a:gd name="connsiteY3092" fmla="*/ 1173844 h 6689084"/>
                <a:gd name="connsiteX3093" fmla="*/ 3977577 w 6689088"/>
                <a:gd name="connsiteY3093" fmla="*/ 1152425 h 6689084"/>
                <a:gd name="connsiteX3094" fmla="*/ 3999000 w 6689088"/>
                <a:gd name="connsiteY3094" fmla="*/ 1131002 h 6689084"/>
                <a:gd name="connsiteX3095" fmla="*/ 4152947 w 6689088"/>
                <a:gd name="connsiteY3095" fmla="*/ 1129550 h 6689084"/>
                <a:gd name="connsiteX3096" fmla="*/ 4175822 w 6689088"/>
                <a:gd name="connsiteY3096" fmla="*/ 1152425 h 6689084"/>
                <a:gd name="connsiteX3097" fmla="*/ 4152947 w 6689088"/>
                <a:gd name="connsiteY3097" fmla="*/ 1175297 h 6689084"/>
                <a:gd name="connsiteX3098" fmla="*/ 4130072 w 6689088"/>
                <a:gd name="connsiteY3098" fmla="*/ 1152425 h 6689084"/>
                <a:gd name="connsiteX3099" fmla="*/ 4152947 w 6689088"/>
                <a:gd name="connsiteY3099" fmla="*/ 1129550 h 6689084"/>
                <a:gd name="connsiteX3100" fmla="*/ 4306532 w 6689088"/>
                <a:gd name="connsiteY3100" fmla="*/ 1127373 h 6689084"/>
                <a:gd name="connsiteX3101" fmla="*/ 4331584 w 6689088"/>
                <a:gd name="connsiteY3101" fmla="*/ 1152425 h 6689084"/>
                <a:gd name="connsiteX3102" fmla="*/ 4306532 w 6689088"/>
                <a:gd name="connsiteY3102" fmla="*/ 1177481 h 6689084"/>
                <a:gd name="connsiteX3103" fmla="*/ 4281480 w 6689088"/>
                <a:gd name="connsiteY3103" fmla="*/ 1152425 h 6689084"/>
                <a:gd name="connsiteX3104" fmla="*/ 4306532 w 6689088"/>
                <a:gd name="connsiteY3104" fmla="*/ 1127373 h 6689084"/>
                <a:gd name="connsiteX3105" fmla="*/ 4460480 w 6689088"/>
                <a:gd name="connsiteY3105" fmla="*/ 1125193 h 6689084"/>
                <a:gd name="connsiteX3106" fmla="*/ 4487712 w 6689088"/>
                <a:gd name="connsiteY3106" fmla="*/ 1152425 h 6689084"/>
                <a:gd name="connsiteX3107" fmla="*/ 4460480 w 6689088"/>
                <a:gd name="connsiteY3107" fmla="*/ 1179657 h 6689084"/>
                <a:gd name="connsiteX3108" fmla="*/ 4433248 w 6689088"/>
                <a:gd name="connsiteY3108" fmla="*/ 1152425 h 6689084"/>
                <a:gd name="connsiteX3109" fmla="*/ 4460480 w 6689088"/>
                <a:gd name="connsiteY3109" fmla="*/ 1125193 h 6689084"/>
                <a:gd name="connsiteX3110" fmla="*/ 4614061 w 6689088"/>
                <a:gd name="connsiteY3110" fmla="*/ 1122654 h 6689084"/>
                <a:gd name="connsiteX3111" fmla="*/ 4643836 w 6689088"/>
                <a:gd name="connsiteY3111" fmla="*/ 1152425 h 6689084"/>
                <a:gd name="connsiteX3112" fmla="*/ 4614061 w 6689088"/>
                <a:gd name="connsiteY3112" fmla="*/ 1182200 h 6689084"/>
                <a:gd name="connsiteX3113" fmla="*/ 4584290 w 6689088"/>
                <a:gd name="connsiteY3113" fmla="*/ 1152429 h 6689084"/>
                <a:gd name="connsiteX3114" fmla="*/ 4614061 w 6689088"/>
                <a:gd name="connsiteY3114" fmla="*/ 1122654 h 6689084"/>
                <a:gd name="connsiteX3115" fmla="*/ 4768012 w 6689088"/>
                <a:gd name="connsiteY3115" fmla="*/ 1120474 h 6689084"/>
                <a:gd name="connsiteX3116" fmla="*/ 4799964 w 6689088"/>
                <a:gd name="connsiteY3116" fmla="*/ 1152425 h 6689084"/>
                <a:gd name="connsiteX3117" fmla="*/ 4768012 w 6689088"/>
                <a:gd name="connsiteY3117" fmla="*/ 1184377 h 6689084"/>
                <a:gd name="connsiteX3118" fmla="*/ 4736061 w 6689088"/>
                <a:gd name="connsiteY3118" fmla="*/ 1152425 h 6689084"/>
                <a:gd name="connsiteX3119" fmla="*/ 4768012 w 6689088"/>
                <a:gd name="connsiteY3119" fmla="*/ 1120474 h 6689084"/>
                <a:gd name="connsiteX3120" fmla="*/ 4921594 w 6689088"/>
                <a:gd name="connsiteY3120" fmla="*/ 1118659 h 6689084"/>
                <a:gd name="connsiteX3121" fmla="*/ 4955364 w 6689088"/>
                <a:gd name="connsiteY3121" fmla="*/ 1152425 h 6689084"/>
                <a:gd name="connsiteX3122" fmla="*/ 4921594 w 6689088"/>
                <a:gd name="connsiteY3122" fmla="*/ 1186191 h 6689084"/>
                <a:gd name="connsiteX3123" fmla="*/ 4887828 w 6689088"/>
                <a:gd name="connsiteY3123" fmla="*/ 1152425 h 6689084"/>
                <a:gd name="connsiteX3124" fmla="*/ 4921594 w 6689088"/>
                <a:gd name="connsiteY3124" fmla="*/ 1118659 h 6689084"/>
                <a:gd name="connsiteX3125" fmla="*/ 5075541 w 6689088"/>
                <a:gd name="connsiteY3125" fmla="*/ 1116117 h 6689084"/>
                <a:gd name="connsiteX3126" fmla="*/ 5111850 w 6689088"/>
                <a:gd name="connsiteY3126" fmla="*/ 1152425 h 6689084"/>
                <a:gd name="connsiteX3127" fmla="*/ 5075541 w 6689088"/>
                <a:gd name="connsiteY3127" fmla="*/ 1188734 h 6689084"/>
                <a:gd name="connsiteX3128" fmla="*/ 5039233 w 6689088"/>
                <a:gd name="connsiteY3128" fmla="*/ 1152425 h 6689084"/>
                <a:gd name="connsiteX3129" fmla="*/ 5075541 w 6689088"/>
                <a:gd name="connsiteY3129" fmla="*/ 1116117 h 6689084"/>
                <a:gd name="connsiteX3130" fmla="*/ 5229126 w 6689088"/>
                <a:gd name="connsiteY3130" fmla="*/ 1113574 h 6689084"/>
                <a:gd name="connsiteX3131" fmla="*/ 5267978 w 6689088"/>
                <a:gd name="connsiteY3131" fmla="*/ 1152425 h 6689084"/>
                <a:gd name="connsiteX3132" fmla="*/ 5229126 w 6689088"/>
                <a:gd name="connsiteY3132" fmla="*/ 1191276 h 6689084"/>
                <a:gd name="connsiteX3133" fmla="*/ 5190276 w 6689088"/>
                <a:gd name="connsiteY3133" fmla="*/ 1152425 h 6689084"/>
                <a:gd name="connsiteX3134" fmla="*/ 5229126 w 6689088"/>
                <a:gd name="connsiteY3134" fmla="*/ 1113574 h 6689084"/>
                <a:gd name="connsiteX3135" fmla="*/ 5383074 w 6689088"/>
                <a:gd name="connsiteY3135" fmla="*/ 1111036 h 6689084"/>
                <a:gd name="connsiteX3136" fmla="*/ 5424102 w 6689088"/>
                <a:gd name="connsiteY3136" fmla="*/ 1152063 h 6689084"/>
                <a:gd name="connsiteX3137" fmla="*/ 5383074 w 6689088"/>
                <a:gd name="connsiteY3137" fmla="*/ 1193094 h 6689084"/>
                <a:gd name="connsiteX3138" fmla="*/ 5342046 w 6689088"/>
                <a:gd name="connsiteY3138" fmla="*/ 1152063 h 6689084"/>
                <a:gd name="connsiteX3139" fmla="*/ 5383074 w 6689088"/>
                <a:gd name="connsiteY3139" fmla="*/ 1111036 h 6689084"/>
                <a:gd name="connsiteX3140" fmla="*/ 5536659 w 6689088"/>
                <a:gd name="connsiteY3140" fmla="*/ 1108855 h 6689084"/>
                <a:gd name="connsiteX3141" fmla="*/ 5580229 w 6689088"/>
                <a:gd name="connsiteY3141" fmla="*/ 1152425 h 6689084"/>
                <a:gd name="connsiteX3142" fmla="*/ 5536659 w 6689088"/>
                <a:gd name="connsiteY3142" fmla="*/ 1195995 h 6689084"/>
                <a:gd name="connsiteX3143" fmla="*/ 5493089 w 6689088"/>
                <a:gd name="connsiteY3143" fmla="*/ 1152425 h 6689084"/>
                <a:gd name="connsiteX3144" fmla="*/ 5536659 w 6689088"/>
                <a:gd name="connsiteY3144" fmla="*/ 1108855 h 6689084"/>
                <a:gd name="connsiteX3145" fmla="*/ 5690602 w 6689088"/>
                <a:gd name="connsiteY3145" fmla="*/ 1106313 h 6689084"/>
                <a:gd name="connsiteX3146" fmla="*/ 5736716 w 6689088"/>
                <a:gd name="connsiteY3146" fmla="*/ 1152425 h 6689084"/>
                <a:gd name="connsiteX3147" fmla="*/ 5690602 w 6689088"/>
                <a:gd name="connsiteY3147" fmla="*/ 1198534 h 6689084"/>
                <a:gd name="connsiteX3148" fmla="*/ 5644490 w 6689088"/>
                <a:gd name="connsiteY3148" fmla="*/ 1152425 h 6689084"/>
                <a:gd name="connsiteX3149" fmla="*/ 5690602 w 6689088"/>
                <a:gd name="connsiteY3149" fmla="*/ 1106313 h 6689084"/>
                <a:gd name="connsiteX3150" fmla="*/ 5844554 w 6689088"/>
                <a:gd name="connsiteY3150" fmla="*/ 1103770 h 6689084"/>
                <a:gd name="connsiteX3151" fmla="*/ 5893205 w 6689088"/>
                <a:gd name="connsiteY3151" fmla="*/ 1152425 h 6689084"/>
                <a:gd name="connsiteX3152" fmla="*/ 5844554 w 6689088"/>
                <a:gd name="connsiteY3152" fmla="*/ 1201077 h 6689084"/>
                <a:gd name="connsiteX3153" fmla="*/ 5795899 w 6689088"/>
                <a:gd name="connsiteY3153" fmla="*/ 1152425 h 6689084"/>
                <a:gd name="connsiteX3154" fmla="*/ 5844554 w 6689088"/>
                <a:gd name="connsiteY3154" fmla="*/ 1103770 h 6689084"/>
                <a:gd name="connsiteX3155" fmla="*/ 5998136 w 6689088"/>
                <a:gd name="connsiteY3155" fmla="*/ 1101231 h 6689084"/>
                <a:gd name="connsiteX3156" fmla="*/ 6049333 w 6689088"/>
                <a:gd name="connsiteY3156" fmla="*/ 1152425 h 6689084"/>
                <a:gd name="connsiteX3157" fmla="*/ 5998136 w 6689088"/>
                <a:gd name="connsiteY3157" fmla="*/ 1203623 h 6689084"/>
                <a:gd name="connsiteX3158" fmla="*/ 5946942 w 6689088"/>
                <a:gd name="connsiteY3158" fmla="*/ 1152425 h 6689084"/>
                <a:gd name="connsiteX3159" fmla="*/ 5998136 w 6689088"/>
                <a:gd name="connsiteY3159" fmla="*/ 1101231 h 6689084"/>
                <a:gd name="connsiteX3160" fmla="*/ 6152083 w 6689088"/>
                <a:gd name="connsiteY3160" fmla="*/ 1099051 h 6689084"/>
                <a:gd name="connsiteX3161" fmla="*/ 6205461 w 6689088"/>
                <a:gd name="connsiteY3161" fmla="*/ 1152425 h 6689084"/>
                <a:gd name="connsiteX3162" fmla="*/ 6152083 w 6689088"/>
                <a:gd name="connsiteY3162" fmla="*/ 1205796 h 6689084"/>
                <a:gd name="connsiteX3163" fmla="*/ 6098712 w 6689088"/>
                <a:gd name="connsiteY3163" fmla="*/ 1152425 h 6689084"/>
                <a:gd name="connsiteX3164" fmla="*/ 6152083 w 6689088"/>
                <a:gd name="connsiteY3164" fmla="*/ 1099051 h 6689084"/>
                <a:gd name="connsiteX3165" fmla="*/ 6305672 w 6689088"/>
                <a:gd name="connsiteY3165" fmla="*/ 1096146 h 6689084"/>
                <a:gd name="connsiteX3166" fmla="*/ 6361947 w 6689088"/>
                <a:gd name="connsiteY3166" fmla="*/ 1152425 h 6689084"/>
                <a:gd name="connsiteX3167" fmla="*/ 6305672 w 6689088"/>
                <a:gd name="connsiteY3167" fmla="*/ 1208704 h 6689084"/>
                <a:gd name="connsiteX3168" fmla="*/ 6249393 w 6689088"/>
                <a:gd name="connsiteY3168" fmla="*/ 1152425 h 6689084"/>
                <a:gd name="connsiteX3169" fmla="*/ 6305672 w 6689088"/>
                <a:gd name="connsiteY3169" fmla="*/ 1096146 h 6689084"/>
                <a:gd name="connsiteX3170" fmla="*/ 6459616 w 6689088"/>
                <a:gd name="connsiteY3170" fmla="*/ 1093608 h 6689084"/>
                <a:gd name="connsiteX3171" fmla="*/ 6518437 w 6689088"/>
                <a:gd name="connsiteY3171" fmla="*/ 1152425 h 6689084"/>
                <a:gd name="connsiteX3172" fmla="*/ 6459616 w 6689088"/>
                <a:gd name="connsiteY3172" fmla="*/ 1211247 h 6689084"/>
                <a:gd name="connsiteX3173" fmla="*/ 6400798 w 6689088"/>
                <a:gd name="connsiteY3173" fmla="*/ 1152425 h 6689084"/>
                <a:gd name="connsiteX3174" fmla="*/ 6459616 w 6689088"/>
                <a:gd name="connsiteY3174" fmla="*/ 1093608 h 6689084"/>
                <a:gd name="connsiteX3175" fmla="*/ 6613200 w 6689088"/>
                <a:gd name="connsiteY3175" fmla="*/ 1090703 h 6689084"/>
                <a:gd name="connsiteX3176" fmla="*/ 6674923 w 6689088"/>
                <a:gd name="connsiteY3176" fmla="*/ 1152425 h 6689084"/>
                <a:gd name="connsiteX3177" fmla="*/ 6613200 w 6689088"/>
                <a:gd name="connsiteY3177" fmla="*/ 1214151 h 6689084"/>
                <a:gd name="connsiteX3178" fmla="*/ 6551474 w 6689088"/>
                <a:gd name="connsiteY3178" fmla="*/ 1152425 h 6689084"/>
                <a:gd name="connsiteX3179" fmla="*/ 6613200 w 6689088"/>
                <a:gd name="connsiteY3179" fmla="*/ 1090703 h 6689084"/>
                <a:gd name="connsiteX3180" fmla="*/ 1692331 w 6689088"/>
                <a:gd name="connsiteY3180" fmla="*/ 998116 h 6689084"/>
                <a:gd name="connsiteX3181" fmla="*/ 1692694 w 6689088"/>
                <a:gd name="connsiteY3181" fmla="*/ 998478 h 6689084"/>
                <a:gd name="connsiteX3182" fmla="*/ 1692331 w 6689088"/>
                <a:gd name="connsiteY3182" fmla="*/ 998844 h 6689084"/>
                <a:gd name="connsiteX3183" fmla="*/ 1691969 w 6689088"/>
                <a:gd name="connsiteY3183" fmla="*/ 998478 h 6689084"/>
                <a:gd name="connsiteX3184" fmla="*/ 1692331 w 6689088"/>
                <a:gd name="connsiteY3184" fmla="*/ 998116 h 6689084"/>
                <a:gd name="connsiteX3185" fmla="*/ 1231213 w 6689088"/>
                <a:gd name="connsiteY3185" fmla="*/ 998116 h 6689084"/>
                <a:gd name="connsiteX3186" fmla="*/ 1231576 w 6689088"/>
                <a:gd name="connsiteY3186" fmla="*/ 998478 h 6689084"/>
                <a:gd name="connsiteX3187" fmla="*/ 1231213 w 6689088"/>
                <a:gd name="connsiteY3187" fmla="*/ 998844 h 6689084"/>
                <a:gd name="connsiteX3188" fmla="*/ 1230851 w 6689088"/>
                <a:gd name="connsiteY3188" fmla="*/ 998478 h 6689084"/>
                <a:gd name="connsiteX3189" fmla="*/ 1231213 w 6689088"/>
                <a:gd name="connsiteY3189" fmla="*/ 998116 h 6689084"/>
                <a:gd name="connsiteX3190" fmla="*/ 1077266 w 6689088"/>
                <a:gd name="connsiteY3190" fmla="*/ 998116 h 6689084"/>
                <a:gd name="connsiteX3191" fmla="*/ 1077628 w 6689088"/>
                <a:gd name="connsiteY3191" fmla="*/ 998478 h 6689084"/>
                <a:gd name="connsiteX3192" fmla="*/ 1077266 w 6689088"/>
                <a:gd name="connsiteY3192" fmla="*/ 998844 h 6689084"/>
                <a:gd name="connsiteX3193" fmla="*/ 1076904 w 6689088"/>
                <a:gd name="connsiteY3193" fmla="*/ 998478 h 6689084"/>
                <a:gd name="connsiteX3194" fmla="*/ 1077266 w 6689088"/>
                <a:gd name="connsiteY3194" fmla="*/ 998116 h 6689084"/>
                <a:gd name="connsiteX3195" fmla="*/ 923685 w 6689088"/>
                <a:gd name="connsiteY3195" fmla="*/ 997754 h 6689084"/>
                <a:gd name="connsiteX3196" fmla="*/ 924409 w 6689088"/>
                <a:gd name="connsiteY3196" fmla="*/ 998482 h 6689084"/>
                <a:gd name="connsiteX3197" fmla="*/ 923685 w 6689088"/>
                <a:gd name="connsiteY3197" fmla="*/ 999206 h 6689084"/>
                <a:gd name="connsiteX3198" fmla="*/ 922957 w 6689088"/>
                <a:gd name="connsiteY3198" fmla="*/ 998482 h 6689084"/>
                <a:gd name="connsiteX3199" fmla="*/ 923685 w 6689088"/>
                <a:gd name="connsiteY3199" fmla="*/ 997754 h 6689084"/>
                <a:gd name="connsiteX3200" fmla="*/ 1846279 w 6689088"/>
                <a:gd name="connsiteY3200" fmla="*/ 997025 h 6689084"/>
                <a:gd name="connsiteX3201" fmla="*/ 1847731 w 6689088"/>
                <a:gd name="connsiteY3201" fmla="*/ 998478 h 6689084"/>
                <a:gd name="connsiteX3202" fmla="*/ 1846279 w 6689088"/>
                <a:gd name="connsiteY3202" fmla="*/ 999930 h 6689084"/>
                <a:gd name="connsiteX3203" fmla="*/ 1844826 w 6689088"/>
                <a:gd name="connsiteY3203" fmla="*/ 998478 h 6689084"/>
                <a:gd name="connsiteX3204" fmla="*/ 1846279 w 6689088"/>
                <a:gd name="connsiteY3204" fmla="*/ 997025 h 6689084"/>
                <a:gd name="connsiteX3205" fmla="*/ 1999860 w 6689088"/>
                <a:gd name="connsiteY3205" fmla="*/ 996301 h 6689084"/>
                <a:gd name="connsiteX3206" fmla="*/ 2002041 w 6689088"/>
                <a:gd name="connsiteY3206" fmla="*/ 998478 h 6689084"/>
                <a:gd name="connsiteX3207" fmla="*/ 1999860 w 6689088"/>
                <a:gd name="connsiteY3207" fmla="*/ 1000658 h 6689084"/>
                <a:gd name="connsiteX3208" fmla="*/ 1997684 w 6689088"/>
                <a:gd name="connsiteY3208" fmla="*/ 998478 h 6689084"/>
                <a:gd name="connsiteX3209" fmla="*/ 1999860 w 6689088"/>
                <a:gd name="connsiteY3209" fmla="*/ 996301 h 6689084"/>
                <a:gd name="connsiteX3210" fmla="*/ 2153808 w 6689088"/>
                <a:gd name="connsiteY3210" fmla="*/ 995573 h 6689084"/>
                <a:gd name="connsiteX3211" fmla="*/ 2157074 w 6689088"/>
                <a:gd name="connsiteY3211" fmla="*/ 998840 h 6689084"/>
                <a:gd name="connsiteX3212" fmla="*/ 2153808 w 6689088"/>
                <a:gd name="connsiteY3212" fmla="*/ 1002110 h 6689084"/>
                <a:gd name="connsiteX3213" fmla="*/ 2150541 w 6689088"/>
                <a:gd name="connsiteY3213" fmla="*/ 998840 h 6689084"/>
                <a:gd name="connsiteX3214" fmla="*/ 2153808 w 6689088"/>
                <a:gd name="connsiteY3214" fmla="*/ 995573 h 6689084"/>
                <a:gd name="connsiteX3215" fmla="*/ 2307393 w 6689088"/>
                <a:gd name="connsiteY3215" fmla="*/ 994121 h 6689084"/>
                <a:gd name="connsiteX3216" fmla="*/ 2311750 w 6689088"/>
                <a:gd name="connsiteY3216" fmla="*/ 998478 h 6689084"/>
                <a:gd name="connsiteX3217" fmla="*/ 2307393 w 6689088"/>
                <a:gd name="connsiteY3217" fmla="*/ 1002835 h 6689084"/>
                <a:gd name="connsiteX3218" fmla="*/ 2303036 w 6689088"/>
                <a:gd name="connsiteY3218" fmla="*/ 998478 h 6689084"/>
                <a:gd name="connsiteX3219" fmla="*/ 2307393 w 6689088"/>
                <a:gd name="connsiteY3219" fmla="*/ 994121 h 6689084"/>
                <a:gd name="connsiteX3220" fmla="*/ 2461340 w 6689088"/>
                <a:gd name="connsiteY3220" fmla="*/ 993031 h 6689084"/>
                <a:gd name="connsiteX3221" fmla="*/ 2467150 w 6689088"/>
                <a:gd name="connsiteY3221" fmla="*/ 998840 h 6689084"/>
                <a:gd name="connsiteX3222" fmla="*/ 2461340 w 6689088"/>
                <a:gd name="connsiteY3222" fmla="*/ 1004649 h 6689084"/>
                <a:gd name="connsiteX3223" fmla="*/ 2455531 w 6689088"/>
                <a:gd name="connsiteY3223" fmla="*/ 998840 h 6689084"/>
                <a:gd name="connsiteX3224" fmla="*/ 2461340 w 6689088"/>
                <a:gd name="connsiteY3224" fmla="*/ 993031 h 6689084"/>
                <a:gd name="connsiteX3225" fmla="*/ 2614925 w 6689088"/>
                <a:gd name="connsiteY3225" fmla="*/ 991216 h 6689084"/>
                <a:gd name="connsiteX3226" fmla="*/ 2622187 w 6689088"/>
                <a:gd name="connsiteY3226" fmla="*/ 998478 h 6689084"/>
                <a:gd name="connsiteX3227" fmla="*/ 2614925 w 6689088"/>
                <a:gd name="connsiteY3227" fmla="*/ 1005739 h 6689084"/>
                <a:gd name="connsiteX3228" fmla="*/ 2607664 w 6689088"/>
                <a:gd name="connsiteY3228" fmla="*/ 998478 h 6689084"/>
                <a:gd name="connsiteX3229" fmla="*/ 2614925 w 6689088"/>
                <a:gd name="connsiteY3229" fmla="*/ 991216 h 6689084"/>
                <a:gd name="connsiteX3230" fmla="*/ 2768873 w 6689088"/>
                <a:gd name="connsiteY3230" fmla="*/ 989402 h 6689084"/>
                <a:gd name="connsiteX3231" fmla="*/ 2777953 w 6689088"/>
                <a:gd name="connsiteY3231" fmla="*/ 998478 h 6689084"/>
                <a:gd name="connsiteX3232" fmla="*/ 2768873 w 6689088"/>
                <a:gd name="connsiteY3232" fmla="*/ 1007558 h 6689084"/>
                <a:gd name="connsiteX3233" fmla="*/ 2759797 w 6689088"/>
                <a:gd name="connsiteY3233" fmla="*/ 998478 h 6689084"/>
                <a:gd name="connsiteX3234" fmla="*/ 2768873 w 6689088"/>
                <a:gd name="connsiteY3234" fmla="*/ 989402 h 6689084"/>
                <a:gd name="connsiteX3235" fmla="*/ 2922458 w 6689088"/>
                <a:gd name="connsiteY3235" fmla="*/ 988311 h 6689084"/>
                <a:gd name="connsiteX3236" fmla="*/ 2932624 w 6689088"/>
                <a:gd name="connsiteY3236" fmla="*/ 998478 h 6689084"/>
                <a:gd name="connsiteX3237" fmla="*/ 2922458 w 6689088"/>
                <a:gd name="connsiteY3237" fmla="*/ 1008644 h 6689084"/>
                <a:gd name="connsiteX3238" fmla="*/ 2912292 w 6689088"/>
                <a:gd name="connsiteY3238" fmla="*/ 998478 h 6689084"/>
                <a:gd name="connsiteX3239" fmla="*/ 2922458 w 6689088"/>
                <a:gd name="connsiteY3239" fmla="*/ 988311 h 6689084"/>
                <a:gd name="connsiteX3240" fmla="*/ 3076402 w 6689088"/>
                <a:gd name="connsiteY3240" fmla="*/ 986497 h 6689084"/>
                <a:gd name="connsiteX3241" fmla="*/ 3088386 w 6689088"/>
                <a:gd name="connsiteY3241" fmla="*/ 998478 h 6689084"/>
                <a:gd name="connsiteX3242" fmla="*/ 3076402 w 6689088"/>
                <a:gd name="connsiteY3242" fmla="*/ 1010459 h 6689084"/>
                <a:gd name="connsiteX3243" fmla="*/ 3064421 w 6689088"/>
                <a:gd name="connsiteY3243" fmla="*/ 998478 h 6689084"/>
                <a:gd name="connsiteX3244" fmla="*/ 3076402 w 6689088"/>
                <a:gd name="connsiteY3244" fmla="*/ 986497 h 6689084"/>
                <a:gd name="connsiteX3245" fmla="*/ 3230353 w 6689088"/>
                <a:gd name="connsiteY3245" fmla="*/ 984683 h 6689084"/>
                <a:gd name="connsiteX3246" fmla="*/ 3244148 w 6689088"/>
                <a:gd name="connsiteY3246" fmla="*/ 998482 h 6689084"/>
                <a:gd name="connsiteX3247" fmla="*/ 3230353 w 6689088"/>
                <a:gd name="connsiteY3247" fmla="*/ 1012277 h 6689084"/>
                <a:gd name="connsiteX3248" fmla="*/ 3216554 w 6689088"/>
                <a:gd name="connsiteY3248" fmla="*/ 998482 h 6689084"/>
                <a:gd name="connsiteX3249" fmla="*/ 3230353 w 6689088"/>
                <a:gd name="connsiteY3249" fmla="*/ 984683 h 6689084"/>
                <a:gd name="connsiteX3250" fmla="*/ 3383934 w 6689088"/>
                <a:gd name="connsiteY3250" fmla="*/ 983230 h 6689084"/>
                <a:gd name="connsiteX3251" fmla="*/ 3399186 w 6689088"/>
                <a:gd name="connsiteY3251" fmla="*/ 998482 h 6689084"/>
                <a:gd name="connsiteX3252" fmla="*/ 3383934 w 6689088"/>
                <a:gd name="connsiteY3252" fmla="*/ 1013729 h 6689084"/>
                <a:gd name="connsiteX3253" fmla="*/ 3368687 w 6689088"/>
                <a:gd name="connsiteY3253" fmla="*/ 998482 h 6689084"/>
                <a:gd name="connsiteX3254" fmla="*/ 3383934 w 6689088"/>
                <a:gd name="connsiteY3254" fmla="*/ 983230 h 6689084"/>
                <a:gd name="connsiteX3255" fmla="*/ 3537886 w 6689088"/>
                <a:gd name="connsiteY3255" fmla="*/ 981412 h 6689084"/>
                <a:gd name="connsiteX3256" fmla="*/ 3554951 w 6689088"/>
                <a:gd name="connsiteY3256" fmla="*/ 998478 h 6689084"/>
                <a:gd name="connsiteX3257" fmla="*/ 3537886 w 6689088"/>
                <a:gd name="connsiteY3257" fmla="*/ 1015540 h 6689084"/>
                <a:gd name="connsiteX3258" fmla="*/ 3520820 w 6689088"/>
                <a:gd name="connsiteY3258" fmla="*/ 998478 h 6689084"/>
                <a:gd name="connsiteX3259" fmla="*/ 3537886 w 6689088"/>
                <a:gd name="connsiteY3259" fmla="*/ 981412 h 6689084"/>
                <a:gd name="connsiteX3260" fmla="*/ 3691467 w 6689088"/>
                <a:gd name="connsiteY3260" fmla="*/ 979235 h 6689084"/>
                <a:gd name="connsiteX3261" fmla="*/ 3710710 w 6689088"/>
                <a:gd name="connsiteY3261" fmla="*/ 998478 h 6689084"/>
                <a:gd name="connsiteX3262" fmla="*/ 3691467 w 6689088"/>
                <a:gd name="connsiteY3262" fmla="*/ 1017724 h 6689084"/>
                <a:gd name="connsiteX3263" fmla="*/ 3672224 w 6689088"/>
                <a:gd name="connsiteY3263" fmla="*/ 998478 h 6689084"/>
                <a:gd name="connsiteX3264" fmla="*/ 3691467 w 6689088"/>
                <a:gd name="connsiteY3264" fmla="*/ 979235 h 6689084"/>
                <a:gd name="connsiteX3265" fmla="*/ 3845418 w 6689088"/>
                <a:gd name="connsiteY3265" fmla="*/ 977055 h 6689084"/>
                <a:gd name="connsiteX3266" fmla="*/ 3866841 w 6689088"/>
                <a:gd name="connsiteY3266" fmla="*/ 998478 h 6689084"/>
                <a:gd name="connsiteX3267" fmla="*/ 3845418 w 6689088"/>
                <a:gd name="connsiteY3267" fmla="*/ 1019901 h 6689084"/>
                <a:gd name="connsiteX3268" fmla="*/ 3823995 w 6689088"/>
                <a:gd name="connsiteY3268" fmla="*/ 998478 h 6689084"/>
                <a:gd name="connsiteX3269" fmla="*/ 3845418 w 6689088"/>
                <a:gd name="connsiteY3269" fmla="*/ 977055 h 6689084"/>
                <a:gd name="connsiteX3270" fmla="*/ 3999000 w 6689088"/>
                <a:gd name="connsiteY3270" fmla="*/ 975603 h 6689084"/>
                <a:gd name="connsiteX3271" fmla="*/ 4021871 w 6689088"/>
                <a:gd name="connsiteY3271" fmla="*/ 998478 h 6689084"/>
                <a:gd name="connsiteX3272" fmla="*/ 3999000 w 6689088"/>
                <a:gd name="connsiteY3272" fmla="*/ 1021349 h 6689084"/>
                <a:gd name="connsiteX3273" fmla="*/ 3976124 w 6689088"/>
                <a:gd name="connsiteY3273" fmla="*/ 998478 h 6689084"/>
                <a:gd name="connsiteX3274" fmla="*/ 3999000 w 6689088"/>
                <a:gd name="connsiteY3274" fmla="*/ 975603 h 6689084"/>
                <a:gd name="connsiteX3275" fmla="*/ 4152947 w 6689088"/>
                <a:gd name="connsiteY3275" fmla="*/ 973426 h 6689084"/>
                <a:gd name="connsiteX3276" fmla="*/ 4178002 w 6689088"/>
                <a:gd name="connsiteY3276" fmla="*/ 998478 h 6689084"/>
                <a:gd name="connsiteX3277" fmla="*/ 4152947 w 6689088"/>
                <a:gd name="connsiteY3277" fmla="*/ 1023533 h 6689084"/>
                <a:gd name="connsiteX3278" fmla="*/ 4127895 w 6689088"/>
                <a:gd name="connsiteY3278" fmla="*/ 998478 h 6689084"/>
                <a:gd name="connsiteX3279" fmla="*/ 4152947 w 6689088"/>
                <a:gd name="connsiteY3279" fmla="*/ 973426 h 6689084"/>
                <a:gd name="connsiteX3280" fmla="*/ 4306532 w 6689088"/>
                <a:gd name="connsiteY3280" fmla="*/ 971246 h 6689084"/>
                <a:gd name="connsiteX3281" fmla="*/ 4333764 w 6689088"/>
                <a:gd name="connsiteY3281" fmla="*/ 998478 h 6689084"/>
                <a:gd name="connsiteX3282" fmla="*/ 4306532 w 6689088"/>
                <a:gd name="connsiteY3282" fmla="*/ 1025710 h 6689084"/>
                <a:gd name="connsiteX3283" fmla="*/ 4279300 w 6689088"/>
                <a:gd name="connsiteY3283" fmla="*/ 998478 h 6689084"/>
                <a:gd name="connsiteX3284" fmla="*/ 4306532 w 6689088"/>
                <a:gd name="connsiteY3284" fmla="*/ 971246 h 6689084"/>
                <a:gd name="connsiteX3285" fmla="*/ 4460476 w 6689088"/>
                <a:gd name="connsiteY3285" fmla="*/ 968707 h 6689084"/>
                <a:gd name="connsiteX3286" fmla="*/ 4490250 w 6689088"/>
                <a:gd name="connsiteY3286" fmla="*/ 998482 h 6689084"/>
                <a:gd name="connsiteX3287" fmla="*/ 4460476 w 6689088"/>
                <a:gd name="connsiteY3287" fmla="*/ 1028252 h 6689084"/>
                <a:gd name="connsiteX3288" fmla="*/ 4430705 w 6689088"/>
                <a:gd name="connsiteY3288" fmla="*/ 998482 h 6689084"/>
                <a:gd name="connsiteX3289" fmla="*/ 4460476 w 6689088"/>
                <a:gd name="connsiteY3289" fmla="*/ 968707 h 6689084"/>
                <a:gd name="connsiteX3290" fmla="*/ 4614061 w 6689088"/>
                <a:gd name="connsiteY3290" fmla="*/ 966526 h 6689084"/>
                <a:gd name="connsiteX3291" fmla="*/ 4646012 w 6689088"/>
                <a:gd name="connsiteY3291" fmla="*/ 998478 h 6689084"/>
                <a:gd name="connsiteX3292" fmla="*/ 4614061 w 6689088"/>
                <a:gd name="connsiteY3292" fmla="*/ 1030429 h 6689084"/>
                <a:gd name="connsiteX3293" fmla="*/ 4582110 w 6689088"/>
                <a:gd name="connsiteY3293" fmla="*/ 998478 h 6689084"/>
                <a:gd name="connsiteX3294" fmla="*/ 4614061 w 6689088"/>
                <a:gd name="connsiteY3294" fmla="*/ 966526 h 6689084"/>
                <a:gd name="connsiteX3295" fmla="*/ 4768008 w 6689088"/>
                <a:gd name="connsiteY3295" fmla="*/ 964712 h 6689084"/>
                <a:gd name="connsiteX3296" fmla="*/ 4801778 w 6689088"/>
                <a:gd name="connsiteY3296" fmla="*/ 998478 h 6689084"/>
                <a:gd name="connsiteX3297" fmla="*/ 4768008 w 6689088"/>
                <a:gd name="connsiteY3297" fmla="*/ 1032247 h 6689084"/>
                <a:gd name="connsiteX3298" fmla="*/ 4734242 w 6689088"/>
                <a:gd name="connsiteY3298" fmla="*/ 998478 h 6689084"/>
                <a:gd name="connsiteX3299" fmla="*/ 4768008 w 6689088"/>
                <a:gd name="connsiteY3299" fmla="*/ 964712 h 6689084"/>
                <a:gd name="connsiteX3300" fmla="*/ 4921594 w 6689088"/>
                <a:gd name="connsiteY3300" fmla="*/ 962169 h 6689084"/>
                <a:gd name="connsiteX3301" fmla="*/ 4957902 w 6689088"/>
                <a:gd name="connsiteY3301" fmla="*/ 998478 h 6689084"/>
                <a:gd name="connsiteX3302" fmla="*/ 4921594 w 6689088"/>
                <a:gd name="connsiteY3302" fmla="*/ 1034786 h 6689084"/>
                <a:gd name="connsiteX3303" fmla="*/ 4885286 w 6689088"/>
                <a:gd name="connsiteY3303" fmla="*/ 998478 h 6689084"/>
                <a:gd name="connsiteX3304" fmla="*/ 4921594 w 6689088"/>
                <a:gd name="connsiteY3304" fmla="*/ 962169 h 6689084"/>
                <a:gd name="connsiteX3305" fmla="*/ 5075545 w 6689088"/>
                <a:gd name="connsiteY3305" fmla="*/ 959627 h 6689084"/>
                <a:gd name="connsiteX3306" fmla="*/ 5114392 w 6689088"/>
                <a:gd name="connsiteY3306" fmla="*/ 998478 h 6689084"/>
                <a:gd name="connsiteX3307" fmla="*/ 5075545 w 6689088"/>
                <a:gd name="connsiteY3307" fmla="*/ 1037325 h 6689084"/>
                <a:gd name="connsiteX3308" fmla="*/ 5036694 w 6689088"/>
                <a:gd name="connsiteY3308" fmla="*/ 998478 h 6689084"/>
                <a:gd name="connsiteX3309" fmla="*/ 5075545 w 6689088"/>
                <a:gd name="connsiteY3309" fmla="*/ 959627 h 6689084"/>
                <a:gd name="connsiteX3310" fmla="*/ 5229126 w 6689088"/>
                <a:gd name="connsiteY3310" fmla="*/ 957450 h 6689084"/>
                <a:gd name="connsiteX3311" fmla="*/ 5270158 w 6689088"/>
                <a:gd name="connsiteY3311" fmla="*/ 998478 h 6689084"/>
                <a:gd name="connsiteX3312" fmla="*/ 5229126 w 6689088"/>
                <a:gd name="connsiteY3312" fmla="*/ 1039505 h 6689084"/>
                <a:gd name="connsiteX3313" fmla="*/ 5188099 w 6689088"/>
                <a:gd name="connsiteY3313" fmla="*/ 998478 h 6689084"/>
                <a:gd name="connsiteX3314" fmla="*/ 5229126 w 6689088"/>
                <a:gd name="connsiteY3314" fmla="*/ 957450 h 6689084"/>
                <a:gd name="connsiteX3315" fmla="*/ 5383074 w 6689088"/>
                <a:gd name="connsiteY3315" fmla="*/ 954908 h 6689084"/>
                <a:gd name="connsiteX3316" fmla="*/ 5426644 w 6689088"/>
                <a:gd name="connsiteY3316" fmla="*/ 998478 h 6689084"/>
                <a:gd name="connsiteX3317" fmla="*/ 5383074 w 6689088"/>
                <a:gd name="connsiteY3317" fmla="*/ 1042048 h 6689084"/>
                <a:gd name="connsiteX3318" fmla="*/ 5339504 w 6689088"/>
                <a:gd name="connsiteY3318" fmla="*/ 998478 h 6689084"/>
                <a:gd name="connsiteX3319" fmla="*/ 5383074 w 6689088"/>
                <a:gd name="connsiteY3319" fmla="*/ 954908 h 6689084"/>
                <a:gd name="connsiteX3320" fmla="*/ 5537018 w 6689088"/>
                <a:gd name="connsiteY3320" fmla="*/ 952365 h 6689084"/>
                <a:gd name="connsiteX3321" fmla="*/ 5583130 w 6689088"/>
                <a:gd name="connsiteY3321" fmla="*/ 998478 h 6689084"/>
                <a:gd name="connsiteX3322" fmla="*/ 5537018 w 6689088"/>
                <a:gd name="connsiteY3322" fmla="*/ 1044590 h 6689084"/>
                <a:gd name="connsiteX3323" fmla="*/ 5490908 w 6689088"/>
                <a:gd name="connsiteY3323" fmla="*/ 998478 h 6689084"/>
                <a:gd name="connsiteX3324" fmla="*/ 5537018 w 6689088"/>
                <a:gd name="connsiteY3324" fmla="*/ 952365 h 6689084"/>
                <a:gd name="connsiteX3325" fmla="*/ 5690606 w 6689088"/>
                <a:gd name="connsiteY3325" fmla="*/ 949823 h 6689084"/>
                <a:gd name="connsiteX3326" fmla="*/ 5739258 w 6689088"/>
                <a:gd name="connsiteY3326" fmla="*/ 998478 h 6689084"/>
                <a:gd name="connsiteX3327" fmla="*/ 5690606 w 6689088"/>
                <a:gd name="connsiteY3327" fmla="*/ 1047129 h 6689084"/>
                <a:gd name="connsiteX3328" fmla="*/ 5641952 w 6689088"/>
                <a:gd name="connsiteY3328" fmla="*/ 998478 h 6689084"/>
                <a:gd name="connsiteX3329" fmla="*/ 5690606 w 6689088"/>
                <a:gd name="connsiteY3329" fmla="*/ 949823 h 6689084"/>
                <a:gd name="connsiteX3330" fmla="*/ 5844554 w 6689088"/>
                <a:gd name="connsiteY3330" fmla="*/ 947284 h 6689084"/>
                <a:gd name="connsiteX3331" fmla="*/ 5895748 w 6689088"/>
                <a:gd name="connsiteY3331" fmla="*/ 998478 h 6689084"/>
                <a:gd name="connsiteX3332" fmla="*/ 5844554 w 6689088"/>
                <a:gd name="connsiteY3332" fmla="*/ 1049672 h 6689084"/>
                <a:gd name="connsiteX3333" fmla="*/ 5793360 w 6689088"/>
                <a:gd name="connsiteY3333" fmla="*/ 998478 h 6689084"/>
                <a:gd name="connsiteX3334" fmla="*/ 5844554 w 6689088"/>
                <a:gd name="connsiteY3334" fmla="*/ 947284 h 6689084"/>
                <a:gd name="connsiteX3335" fmla="*/ 5998136 w 6689088"/>
                <a:gd name="connsiteY3335" fmla="*/ 945104 h 6689084"/>
                <a:gd name="connsiteX3336" fmla="*/ 6051514 w 6689088"/>
                <a:gd name="connsiteY3336" fmla="*/ 998478 h 6689084"/>
                <a:gd name="connsiteX3337" fmla="*/ 5998136 w 6689088"/>
                <a:gd name="connsiteY3337" fmla="*/ 1051848 h 6689084"/>
                <a:gd name="connsiteX3338" fmla="*/ 5944765 w 6689088"/>
                <a:gd name="connsiteY3338" fmla="*/ 998478 h 6689084"/>
                <a:gd name="connsiteX3339" fmla="*/ 5998136 w 6689088"/>
                <a:gd name="connsiteY3339" fmla="*/ 945104 h 6689084"/>
                <a:gd name="connsiteX3340" fmla="*/ 6152086 w 6689088"/>
                <a:gd name="connsiteY3340" fmla="*/ 942199 h 6689084"/>
                <a:gd name="connsiteX3341" fmla="*/ 6208366 w 6689088"/>
                <a:gd name="connsiteY3341" fmla="*/ 998478 h 6689084"/>
                <a:gd name="connsiteX3342" fmla="*/ 6152086 w 6689088"/>
                <a:gd name="connsiteY3342" fmla="*/ 1054753 h 6689084"/>
                <a:gd name="connsiteX3343" fmla="*/ 6095808 w 6689088"/>
                <a:gd name="connsiteY3343" fmla="*/ 998478 h 6689084"/>
                <a:gd name="connsiteX3344" fmla="*/ 6152086 w 6689088"/>
                <a:gd name="connsiteY3344" fmla="*/ 942199 h 6689084"/>
                <a:gd name="connsiteX3345" fmla="*/ 6305672 w 6689088"/>
                <a:gd name="connsiteY3345" fmla="*/ 939660 h 6689084"/>
                <a:gd name="connsiteX3346" fmla="*/ 6364490 w 6689088"/>
                <a:gd name="connsiteY3346" fmla="*/ 998482 h 6689084"/>
                <a:gd name="connsiteX3347" fmla="*/ 6305672 w 6689088"/>
                <a:gd name="connsiteY3347" fmla="*/ 1057299 h 6689084"/>
                <a:gd name="connsiteX3348" fmla="*/ 6246850 w 6689088"/>
                <a:gd name="connsiteY3348" fmla="*/ 998482 h 6689084"/>
                <a:gd name="connsiteX3349" fmla="*/ 6305672 w 6689088"/>
                <a:gd name="connsiteY3349" fmla="*/ 939660 h 6689084"/>
                <a:gd name="connsiteX3350" fmla="*/ 6459619 w 6689088"/>
                <a:gd name="connsiteY3350" fmla="*/ 937118 h 6689084"/>
                <a:gd name="connsiteX3351" fmla="*/ 6521342 w 6689088"/>
                <a:gd name="connsiteY3351" fmla="*/ 998844 h 6689084"/>
                <a:gd name="connsiteX3352" fmla="*/ 6459619 w 6689088"/>
                <a:gd name="connsiteY3352" fmla="*/ 1060566 h 6689084"/>
                <a:gd name="connsiteX3353" fmla="*/ 6397893 w 6689088"/>
                <a:gd name="connsiteY3353" fmla="*/ 998844 h 6689084"/>
                <a:gd name="connsiteX3354" fmla="*/ 6459619 w 6689088"/>
                <a:gd name="connsiteY3354" fmla="*/ 937118 h 6689084"/>
                <a:gd name="connsiteX3355" fmla="*/ 6613200 w 6689088"/>
                <a:gd name="connsiteY3355" fmla="*/ 934213 h 6689084"/>
                <a:gd name="connsiteX3356" fmla="*/ 6677470 w 6689088"/>
                <a:gd name="connsiteY3356" fmla="*/ 998478 h 6689084"/>
                <a:gd name="connsiteX3357" fmla="*/ 6613200 w 6689088"/>
                <a:gd name="connsiteY3357" fmla="*/ 1062746 h 6689084"/>
                <a:gd name="connsiteX3358" fmla="*/ 6548936 w 6689088"/>
                <a:gd name="connsiteY3358" fmla="*/ 998478 h 6689084"/>
                <a:gd name="connsiteX3359" fmla="*/ 6613200 w 6689088"/>
                <a:gd name="connsiteY3359" fmla="*/ 934213 h 6689084"/>
                <a:gd name="connsiteX3360" fmla="*/ 1538746 w 6689088"/>
                <a:gd name="connsiteY3360" fmla="*/ 844530 h 6689084"/>
                <a:gd name="connsiteX3361" fmla="*/ 1539108 w 6689088"/>
                <a:gd name="connsiteY3361" fmla="*/ 844893 h 6689084"/>
                <a:gd name="connsiteX3362" fmla="*/ 1538746 w 6689088"/>
                <a:gd name="connsiteY3362" fmla="*/ 845258 h 6689084"/>
                <a:gd name="connsiteX3363" fmla="*/ 1538384 w 6689088"/>
                <a:gd name="connsiteY3363" fmla="*/ 844893 h 6689084"/>
                <a:gd name="connsiteX3364" fmla="*/ 1538746 w 6689088"/>
                <a:gd name="connsiteY3364" fmla="*/ 844530 h 6689084"/>
                <a:gd name="connsiteX3365" fmla="*/ 1077266 w 6689088"/>
                <a:gd name="connsiteY3365" fmla="*/ 844530 h 6689084"/>
                <a:gd name="connsiteX3366" fmla="*/ 1077628 w 6689088"/>
                <a:gd name="connsiteY3366" fmla="*/ 844893 h 6689084"/>
                <a:gd name="connsiteX3367" fmla="*/ 1077266 w 6689088"/>
                <a:gd name="connsiteY3367" fmla="*/ 845258 h 6689084"/>
                <a:gd name="connsiteX3368" fmla="*/ 1076904 w 6689088"/>
                <a:gd name="connsiteY3368" fmla="*/ 844893 h 6689084"/>
                <a:gd name="connsiteX3369" fmla="*/ 1077266 w 6689088"/>
                <a:gd name="connsiteY3369" fmla="*/ 844530 h 6689084"/>
                <a:gd name="connsiteX3370" fmla="*/ 923681 w 6689088"/>
                <a:gd name="connsiteY3370" fmla="*/ 844530 h 6689084"/>
                <a:gd name="connsiteX3371" fmla="*/ 924043 w 6689088"/>
                <a:gd name="connsiteY3371" fmla="*/ 844893 h 6689084"/>
                <a:gd name="connsiteX3372" fmla="*/ 923681 w 6689088"/>
                <a:gd name="connsiteY3372" fmla="*/ 845258 h 6689084"/>
                <a:gd name="connsiteX3373" fmla="*/ 923319 w 6689088"/>
                <a:gd name="connsiteY3373" fmla="*/ 844893 h 6689084"/>
                <a:gd name="connsiteX3374" fmla="*/ 923681 w 6689088"/>
                <a:gd name="connsiteY3374" fmla="*/ 844530 h 6689084"/>
                <a:gd name="connsiteX3375" fmla="*/ 769737 w 6689088"/>
                <a:gd name="connsiteY3375" fmla="*/ 844168 h 6689084"/>
                <a:gd name="connsiteX3376" fmla="*/ 770461 w 6689088"/>
                <a:gd name="connsiteY3376" fmla="*/ 844896 h 6689084"/>
                <a:gd name="connsiteX3377" fmla="*/ 769737 w 6689088"/>
                <a:gd name="connsiteY3377" fmla="*/ 845621 h 6689084"/>
                <a:gd name="connsiteX3378" fmla="*/ 769009 w 6689088"/>
                <a:gd name="connsiteY3378" fmla="*/ 844896 h 6689084"/>
                <a:gd name="connsiteX3379" fmla="*/ 769737 w 6689088"/>
                <a:gd name="connsiteY3379" fmla="*/ 844168 h 6689084"/>
                <a:gd name="connsiteX3380" fmla="*/ 1692331 w 6689088"/>
                <a:gd name="connsiteY3380" fmla="*/ 843078 h 6689084"/>
                <a:gd name="connsiteX3381" fmla="*/ 1693784 w 6689088"/>
                <a:gd name="connsiteY3381" fmla="*/ 844530 h 6689084"/>
                <a:gd name="connsiteX3382" fmla="*/ 1692331 w 6689088"/>
                <a:gd name="connsiteY3382" fmla="*/ 845983 h 6689084"/>
                <a:gd name="connsiteX3383" fmla="*/ 1690879 w 6689088"/>
                <a:gd name="connsiteY3383" fmla="*/ 844530 h 6689084"/>
                <a:gd name="connsiteX3384" fmla="*/ 1692331 w 6689088"/>
                <a:gd name="connsiteY3384" fmla="*/ 843078 h 6689084"/>
                <a:gd name="connsiteX3385" fmla="*/ 1846279 w 6689088"/>
                <a:gd name="connsiteY3385" fmla="*/ 842716 h 6689084"/>
                <a:gd name="connsiteX3386" fmla="*/ 1848455 w 6689088"/>
                <a:gd name="connsiteY3386" fmla="*/ 844896 h 6689084"/>
                <a:gd name="connsiteX3387" fmla="*/ 1846279 w 6689088"/>
                <a:gd name="connsiteY3387" fmla="*/ 847073 h 6689084"/>
                <a:gd name="connsiteX3388" fmla="*/ 1844098 w 6689088"/>
                <a:gd name="connsiteY3388" fmla="*/ 844896 h 6689084"/>
                <a:gd name="connsiteX3389" fmla="*/ 1846279 w 6689088"/>
                <a:gd name="connsiteY3389" fmla="*/ 842716 h 6689084"/>
                <a:gd name="connsiteX3390" fmla="*/ 1999860 w 6689088"/>
                <a:gd name="connsiteY3390" fmla="*/ 841626 h 6689084"/>
                <a:gd name="connsiteX3391" fmla="*/ 2003127 w 6689088"/>
                <a:gd name="connsiteY3391" fmla="*/ 844893 h 6689084"/>
                <a:gd name="connsiteX3392" fmla="*/ 1999860 w 6689088"/>
                <a:gd name="connsiteY3392" fmla="*/ 848163 h 6689084"/>
                <a:gd name="connsiteX3393" fmla="*/ 1996593 w 6689088"/>
                <a:gd name="connsiteY3393" fmla="*/ 844893 h 6689084"/>
                <a:gd name="connsiteX3394" fmla="*/ 1999860 w 6689088"/>
                <a:gd name="connsiteY3394" fmla="*/ 841626 h 6689084"/>
                <a:gd name="connsiteX3395" fmla="*/ 2153808 w 6689088"/>
                <a:gd name="connsiteY3395" fmla="*/ 840173 h 6689084"/>
                <a:gd name="connsiteX3396" fmla="*/ 2158165 w 6689088"/>
                <a:gd name="connsiteY3396" fmla="*/ 844530 h 6689084"/>
                <a:gd name="connsiteX3397" fmla="*/ 2153808 w 6689088"/>
                <a:gd name="connsiteY3397" fmla="*/ 848887 h 6689084"/>
                <a:gd name="connsiteX3398" fmla="*/ 2149451 w 6689088"/>
                <a:gd name="connsiteY3398" fmla="*/ 844530 h 6689084"/>
                <a:gd name="connsiteX3399" fmla="*/ 2153808 w 6689088"/>
                <a:gd name="connsiteY3399" fmla="*/ 840173 h 6689084"/>
                <a:gd name="connsiteX3400" fmla="*/ 2307393 w 6689088"/>
                <a:gd name="connsiteY3400" fmla="*/ 839083 h 6689084"/>
                <a:gd name="connsiteX3401" fmla="*/ 2313202 w 6689088"/>
                <a:gd name="connsiteY3401" fmla="*/ 844893 h 6689084"/>
                <a:gd name="connsiteX3402" fmla="*/ 2307393 w 6689088"/>
                <a:gd name="connsiteY3402" fmla="*/ 850702 h 6689084"/>
                <a:gd name="connsiteX3403" fmla="*/ 2301583 w 6689088"/>
                <a:gd name="connsiteY3403" fmla="*/ 844893 h 6689084"/>
                <a:gd name="connsiteX3404" fmla="*/ 2307393 w 6689088"/>
                <a:gd name="connsiteY3404" fmla="*/ 839083 h 6689084"/>
                <a:gd name="connsiteX3405" fmla="*/ 2461340 w 6689088"/>
                <a:gd name="connsiteY3405" fmla="*/ 837631 h 6689084"/>
                <a:gd name="connsiteX3406" fmla="*/ 2468602 w 6689088"/>
                <a:gd name="connsiteY3406" fmla="*/ 844893 h 6689084"/>
                <a:gd name="connsiteX3407" fmla="*/ 2461340 w 6689088"/>
                <a:gd name="connsiteY3407" fmla="*/ 852154 h 6689084"/>
                <a:gd name="connsiteX3408" fmla="*/ 2454079 w 6689088"/>
                <a:gd name="connsiteY3408" fmla="*/ 844893 h 6689084"/>
                <a:gd name="connsiteX3409" fmla="*/ 2461340 w 6689088"/>
                <a:gd name="connsiteY3409" fmla="*/ 837631 h 6689084"/>
                <a:gd name="connsiteX3410" fmla="*/ 2614925 w 6689088"/>
                <a:gd name="connsiteY3410" fmla="*/ 835454 h 6689084"/>
                <a:gd name="connsiteX3411" fmla="*/ 2624005 w 6689088"/>
                <a:gd name="connsiteY3411" fmla="*/ 844530 h 6689084"/>
                <a:gd name="connsiteX3412" fmla="*/ 2614925 w 6689088"/>
                <a:gd name="connsiteY3412" fmla="*/ 853610 h 6689084"/>
                <a:gd name="connsiteX3413" fmla="*/ 2605849 w 6689088"/>
                <a:gd name="connsiteY3413" fmla="*/ 844530 h 6689084"/>
                <a:gd name="connsiteX3414" fmla="*/ 2614925 w 6689088"/>
                <a:gd name="connsiteY3414" fmla="*/ 835454 h 6689084"/>
                <a:gd name="connsiteX3415" fmla="*/ 2768873 w 6689088"/>
                <a:gd name="connsiteY3415" fmla="*/ 834726 h 6689084"/>
                <a:gd name="connsiteX3416" fmla="*/ 2779039 w 6689088"/>
                <a:gd name="connsiteY3416" fmla="*/ 844893 h 6689084"/>
                <a:gd name="connsiteX3417" fmla="*/ 2768873 w 6689088"/>
                <a:gd name="connsiteY3417" fmla="*/ 855059 h 6689084"/>
                <a:gd name="connsiteX3418" fmla="*/ 2758707 w 6689088"/>
                <a:gd name="connsiteY3418" fmla="*/ 844893 h 6689084"/>
                <a:gd name="connsiteX3419" fmla="*/ 2768873 w 6689088"/>
                <a:gd name="connsiteY3419" fmla="*/ 834726 h 6689084"/>
                <a:gd name="connsiteX3420" fmla="*/ 2922458 w 6689088"/>
                <a:gd name="connsiteY3420" fmla="*/ 832912 h 6689084"/>
                <a:gd name="connsiteX3421" fmla="*/ 2934443 w 6689088"/>
                <a:gd name="connsiteY3421" fmla="*/ 844893 h 6689084"/>
                <a:gd name="connsiteX3422" fmla="*/ 2922458 w 6689088"/>
                <a:gd name="connsiteY3422" fmla="*/ 856873 h 6689084"/>
                <a:gd name="connsiteX3423" fmla="*/ 2910477 w 6689088"/>
                <a:gd name="connsiteY3423" fmla="*/ 844893 h 6689084"/>
                <a:gd name="connsiteX3424" fmla="*/ 2922458 w 6689088"/>
                <a:gd name="connsiteY3424" fmla="*/ 832912 h 6689084"/>
                <a:gd name="connsiteX3425" fmla="*/ 3076402 w 6689088"/>
                <a:gd name="connsiteY3425" fmla="*/ 831097 h 6689084"/>
                <a:gd name="connsiteX3426" fmla="*/ 3090201 w 6689088"/>
                <a:gd name="connsiteY3426" fmla="*/ 844896 h 6689084"/>
                <a:gd name="connsiteX3427" fmla="*/ 3076402 w 6689088"/>
                <a:gd name="connsiteY3427" fmla="*/ 858692 h 6689084"/>
                <a:gd name="connsiteX3428" fmla="*/ 3062606 w 6689088"/>
                <a:gd name="connsiteY3428" fmla="*/ 844896 h 6689084"/>
                <a:gd name="connsiteX3429" fmla="*/ 3076402 w 6689088"/>
                <a:gd name="connsiteY3429" fmla="*/ 831097 h 6689084"/>
                <a:gd name="connsiteX3430" fmla="*/ 3230349 w 6689088"/>
                <a:gd name="connsiteY3430" fmla="*/ 829645 h 6689084"/>
                <a:gd name="connsiteX3431" fmla="*/ 3245600 w 6689088"/>
                <a:gd name="connsiteY3431" fmla="*/ 844896 h 6689084"/>
                <a:gd name="connsiteX3432" fmla="*/ 3230349 w 6689088"/>
                <a:gd name="connsiteY3432" fmla="*/ 860144 h 6689084"/>
                <a:gd name="connsiteX3433" fmla="*/ 3215102 w 6689088"/>
                <a:gd name="connsiteY3433" fmla="*/ 844896 h 6689084"/>
                <a:gd name="connsiteX3434" fmla="*/ 3230349 w 6689088"/>
                <a:gd name="connsiteY3434" fmla="*/ 829645 h 6689084"/>
                <a:gd name="connsiteX3435" fmla="*/ 3383938 w 6689088"/>
                <a:gd name="connsiteY3435" fmla="*/ 827830 h 6689084"/>
                <a:gd name="connsiteX3436" fmla="*/ 3401000 w 6689088"/>
                <a:gd name="connsiteY3436" fmla="*/ 844896 h 6689084"/>
                <a:gd name="connsiteX3437" fmla="*/ 3383938 w 6689088"/>
                <a:gd name="connsiteY3437" fmla="*/ 861958 h 6689084"/>
                <a:gd name="connsiteX3438" fmla="*/ 3366872 w 6689088"/>
                <a:gd name="connsiteY3438" fmla="*/ 844896 h 6689084"/>
                <a:gd name="connsiteX3439" fmla="*/ 3383938 w 6689088"/>
                <a:gd name="connsiteY3439" fmla="*/ 827830 h 6689084"/>
                <a:gd name="connsiteX3440" fmla="*/ 3537882 w 6689088"/>
                <a:gd name="connsiteY3440" fmla="*/ 825650 h 6689084"/>
                <a:gd name="connsiteX3441" fmla="*/ 3557128 w 6689088"/>
                <a:gd name="connsiteY3441" fmla="*/ 844893 h 6689084"/>
                <a:gd name="connsiteX3442" fmla="*/ 3537882 w 6689088"/>
                <a:gd name="connsiteY3442" fmla="*/ 864139 h 6689084"/>
                <a:gd name="connsiteX3443" fmla="*/ 3518639 w 6689088"/>
                <a:gd name="connsiteY3443" fmla="*/ 844893 h 6689084"/>
                <a:gd name="connsiteX3444" fmla="*/ 3537882 w 6689088"/>
                <a:gd name="connsiteY3444" fmla="*/ 825650 h 6689084"/>
                <a:gd name="connsiteX3445" fmla="*/ 3691471 w 6689088"/>
                <a:gd name="connsiteY3445" fmla="*/ 823473 h 6689084"/>
                <a:gd name="connsiteX3446" fmla="*/ 3712894 w 6689088"/>
                <a:gd name="connsiteY3446" fmla="*/ 844896 h 6689084"/>
                <a:gd name="connsiteX3447" fmla="*/ 3691471 w 6689088"/>
                <a:gd name="connsiteY3447" fmla="*/ 866319 h 6689084"/>
                <a:gd name="connsiteX3448" fmla="*/ 3670048 w 6689088"/>
                <a:gd name="connsiteY3448" fmla="*/ 844896 h 6689084"/>
                <a:gd name="connsiteX3449" fmla="*/ 3691471 w 6689088"/>
                <a:gd name="connsiteY3449" fmla="*/ 823473 h 6689084"/>
                <a:gd name="connsiteX3450" fmla="*/ 3845418 w 6689088"/>
                <a:gd name="connsiteY3450" fmla="*/ 822021 h 6689084"/>
                <a:gd name="connsiteX3451" fmla="*/ 3868293 w 6689088"/>
                <a:gd name="connsiteY3451" fmla="*/ 844896 h 6689084"/>
                <a:gd name="connsiteX3452" fmla="*/ 3845418 w 6689088"/>
                <a:gd name="connsiteY3452" fmla="*/ 867768 h 6689084"/>
                <a:gd name="connsiteX3453" fmla="*/ 3822543 w 6689088"/>
                <a:gd name="connsiteY3453" fmla="*/ 844896 h 6689084"/>
                <a:gd name="connsiteX3454" fmla="*/ 3845418 w 6689088"/>
                <a:gd name="connsiteY3454" fmla="*/ 822021 h 6689084"/>
                <a:gd name="connsiteX3455" fmla="*/ 3999000 w 6689088"/>
                <a:gd name="connsiteY3455" fmla="*/ 819841 h 6689084"/>
                <a:gd name="connsiteX3456" fmla="*/ 4024052 w 6689088"/>
                <a:gd name="connsiteY3456" fmla="*/ 844893 h 6689084"/>
                <a:gd name="connsiteX3457" fmla="*/ 3999000 w 6689088"/>
                <a:gd name="connsiteY3457" fmla="*/ 869948 h 6689084"/>
                <a:gd name="connsiteX3458" fmla="*/ 3973948 w 6689088"/>
                <a:gd name="connsiteY3458" fmla="*/ 844893 h 6689084"/>
                <a:gd name="connsiteX3459" fmla="*/ 3999000 w 6689088"/>
                <a:gd name="connsiteY3459" fmla="*/ 819841 h 6689084"/>
                <a:gd name="connsiteX3460" fmla="*/ 4152947 w 6689088"/>
                <a:gd name="connsiteY3460" fmla="*/ 817664 h 6689084"/>
                <a:gd name="connsiteX3461" fmla="*/ 4180179 w 6689088"/>
                <a:gd name="connsiteY3461" fmla="*/ 844896 h 6689084"/>
                <a:gd name="connsiteX3462" fmla="*/ 4152947 w 6689088"/>
                <a:gd name="connsiteY3462" fmla="*/ 872129 h 6689084"/>
                <a:gd name="connsiteX3463" fmla="*/ 4125715 w 6689088"/>
                <a:gd name="connsiteY3463" fmla="*/ 844896 h 6689084"/>
                <a:gd name="connsiteX3464" fmla="*/ 4152947 w 6689088"/>
                <a:gd name="connsiteY3464" fmla="*/ 817664 h 6689084"/>
                <a:gd name="connsiteX3465" fmla="*/ 4306528 w 6689088"/>
                <a:gd name="connsiteY3465" fmla="*/ 815122 h 6689084"/>
                <a:gd name="connsiteX3466" fmla="*/ 4336303 w 6689088"/>
                <a:gd name="connsiteY3466" fmla="*/ 844896 h 6689084"/>
                <a:gd name="connsiteX3467" fmla="*/ 4306528 w 6689088"/>
                <a:gd name="connsiteY3467" fmla="*/ 874667 h 6689084"/>
                <a:gd name="connsiteX3468" fmla="*/ 4276758 w 6689088"/>
                <a:gd name="connsiteY3468" fmla="*/ 844896 h 6689084"/>
                <a:gd name="connsiteX3469" fmla="*/ 4306528 w 6689088"/>
                <a:gd name="connsiteY3469" fmla="*/ 815122 h 6689084"/>
                <a:gd name="connsiteX3470" fmla="*/ 4460480 w 6689088"/>
                <a:gd name="connsiteY3470" fmla="*/ 812941 h 6689084"/>
                <a:gd name="connsiteX3471" fmla="*/ 4492431 w 6689088"/>
                <a:gd name="connsiteY3471" fmla="*/ 844893 h 6689084"/>
                <a:gd name="connsiteX3472" fmla="*/ 4460480 w 6689088"/>
                <a:gd name="connsiteY3472" fmla="*/ 876844 h 6689084"/>
                <a:gd name="connsiteX3473" fmla="*/ 4428528 w 6689088"/>
                <a:gd name="connsiteY3473" fmla="*/ 844893 h 6689084"/>
                <a:gd name="connsiteX3474" fmla="*/ 4460480 w 6689088"/>
                <a:gd name="connsiteY3474" fmla="*/ 812941 h 6689084"/>
                <a:gd name="connsiteX3475" fmla="*/ 4614061 w 6689088"/>
                <a:gd name="connsiteY3475" fmla="*/ 811127 h 6689084"/>
                <a:gd name="connsiteX3476" fmla="*/ 4647831 w 6689088"/>
                <a:gd name="connsiteY3476" fmla="*/ 844893 h 6689084"/>
                <a:gd name="connsiteX3477" fmla="*/ 4614061 w 6689088"/>
                <a:gd name="connsiteY3477" fmla="*/ 878662 h 6689084"/>
                <a:gd name="connsiteX3478" fmla="*/ 4580296 w 6689088"/>
                <a:gd name="connsiteY3478" fmla="*/ 844893 h 6689084"/>
                <a:gd name="connsiteX3479" fmla="*/ 4614061 w 6689088"/>
                <a:gd name="connsiteY3479" fmla="*/ 811127 h 6689084"/>
                <a:gd name="connsiteX3480" fmla="*/ 4768012 w 6689088"/>
                <a:gd name="connsiteY3480" fmla="*/ 808584 h 6689084"/>
                <a:gd name="connsiteX3481" fmla="*/ 4804320 w 6689088"/>
                <a:gd name="connsiteY3481" fmla="*/ 844893 h 6689084"/>
                <a:gd name="connsiteX3482" fmla="*/ 4768012 w 6689088"/>
                <a:gd name="connsiteY3482" fmla="*/ 881201 h 6689084"/>
                <a:gd name="connsiteX3483" fmla="*/ 4731704 w 6689088"/>
                <a:gd name="connsiteY3483" fmla="*/ 844893 h 6689084"/>
                <a:gd name="connsiteX3484" fmla="*/ 4768012 w 6689088"/>
                <a:gd name="connsiteY3484" fmla="*/ 808584 h 6689084"/>
                <a:gd name="connsiteX3485" fmla="*/ 4921598 w 6689088"/>
                <a:gd name="connsiteY3485" fmla="*/ 806045 h 6689084"/>
                <a:gd name="connsiteX3486" fmla="*/ 4960444 w 6689088"/>
                <a:gd name="connsiteY3486" fmla="*/ 844896 h 6689084"/>
                <a:gd name="connsiteX3487" fmla="*/ 4921598 w 6689088"/>
                <a:gd name="connsiteY3487" fmla="*/ 883743 h 6689084"/>
                <a:gd name="connsiteX3488" fmla="*/ 4882746 w 6689088"/>
                <a:gd name="connsiteY3488" fmla="*/ 844896 h 6689084"/>
                <a:gd name="connsiteX3489" fmla="*/ 4921598 w 6689088"/>
                <a:gd name="connsiteY3489" fmla="*/ 806045 h 6689084"/>
                <a:gd name="connsiteX3490" fmla="*/ 5075541 w 6689088"/>
                <a:gd name="connsiteY3490" fmla="*/ 803503 h 6689084"/>
                <a:gd name="connsiteX3491" fmla="*/ 5116568 w 6689088"/>
                <a:gd name="connsiteY3491" fmla="*/ 844530 h 6689084"/>
                <a:gd name="connsiteX3492" fmla="*/ 5075541 w 6689088"/>
                <a:gd name="connsiteY3492" fmla="*/ 885562 h 6689084"/>
                <a:gd name="connsiteX3493" fmla="*/ 5034514 w 6689088"/>
                <a:gd name="connsiteY3493" fmla="*/ 844530 h 6689084"/>
                <a:gd name="connsiteX3494" fmla="*/ 5075541 w 6689088"/>
                <a:gd name="connsiteY3494" fmla="*/ 803503 h 6689084"/>
                <a:gd name="connsiteX3495" fmla="*/ 5229126 w 6689088"/>
                <a:gd name="connsiteY3495" fmla="*/ 800960 h 6689084"/>
                <a:gd name="connsiteX3496" fmla="*/ 5272696 w 6689088"/>
                <a:gd name="connsiteY3496" fmla="*/ 844530 h 6689084"/>
                <a:gd name="connsiteX3497" fmla="*/ 5229126 w 6689088"/>
                <a:gd name="connsiteY3497" fmla="*/ 888100 h 6689084"/>
                <a:gd name="connsiteX3498" fmla="*/ 5185556 w 6689088"/>
                <a:gd name="connsiteY3498" fmla="*/ 844530 h 6689084"/>
                <a:gd name="connsiteX3499" fmla="*/ 5229126 w 6689088"/>
                <a:gd name="connsiteY3499" fmla="*/ 800960 h 6689084"/>
                <a:gd name="connsiteX3500" fmla="*/ 5383074 w 6689088"/>
                <a:gd name="connsiteY3500" fmla="*/ 798784 h 6689084"/>
                <a:gd name="connsiteX3501" fmla="*/ 5429186 w 6689088"/>
                <a:gd name="connsiteY3501" fmla="*/ 844896 h 6689084"/>
                <a:gd name="connsiteX3502" fmla="*/ 5383074 w 6689088"/>
                <a:gd name="connsiteY3502" fmla="*/ 891009 h 6689084"/>
                <a:gd name="connsiteX3503" fmla="*/ 5336962 w 6689088"/>
                <a:gd name="connsiteY3503" fmla="*/ 844896 h 6689084"/>
                <a:gd name="connsiteX3504" fmla="*/ 5383074 w 6689088"/>
                <a:gd name="connsiteY3504" fmla="*/ 798784 h 6689084"/>
                <a:gd name="connsiteX3505" fmla="*/ 5536659 w 6689088"/>
                <a:gd name="connsiteY3505" fmla="*/ 796241 h 6689084"/>
                <a:gd name="connsiteX3506" fmla="*/ 5585310 w 6689088"/>
                <a:gd name="connsiteY3506" fmla="*/ 844896 h 6689084"/>
                <a:gd name="connsiteX3507" fmla="*/ 5536659 w 6689088"/>
                <a:gd name="connsiteY3507" fmla="*/ 893548 h 6689084"/>
                <a:gd name="connsiteX3508" fmla="*/ 5488004 w 6689088"/>
                <a:gd name="connsiteY3508" fmla="*/ 844896 h 6689084"/>
                <a:gd name="connsiteX3509" fmla="*/ 5536659 w 6689088"/>
                <a:gd name="connsiteY3509" fmla="*/ 796241 h 6689084"/>
                <a:gd name="connsiteX3510" fmla="*/ 5690606 w 6689088"/>
                <a:gd name="connsiteY3510" fmla="*/ 793699 h 6689084"/>
                <a:gd name="connsiteX3511" fmla="*/ 5741800 w 6689088"/>
                <a:gd name="connsiteY3511" fmla="*/ 844893 h 6689084"/>
                <a:gd name="connsiteX3512" fmla="*/ 5690606 w 6689088"/>
                <a:gd name="connsiteY3512" fmla="*/ 896090 h 6689084"/>
                <a:gd name="connsiteX3513" fmla="*/ 5639412 w 6689088"/>
                <a:gd name="connsiteY3513" fmla="*/ 844893 h 6689084"/>
                <a:gd name="connsiteX3514" fmla="*/ 5690606 w 6689088"/>
                <a:gd name="connsiteY3514" fmla="*/ 793699 h 6689084"/>
                <a:gd name="connsiteX3515" fmla="*/ 5844554 w 6689088"/>
                <a:gd name="connsiteY3515" fmla="*/ 791156 h 6689084"/>
                <a:gd name="connsiteX3516" fmla="*/ 5897928 w 6689088"/>
                <a:gd name="connsiteY3516" fmla="*/ 844530 h 6689084"/>
                <a:gd name="connsiteX3517" fmla="*/ 5844554 w 6689088"/>
                <a:gd name="connsiteY3517" fmla="*/ 897901 h 6689084"/>
                <a:gd name="connsiteX3518" fmla="*/ 5791180 w 6689088"/>
                <a:gd name="connsiteY3518" fmla="*/ 844530 h 6689084"/>
                <a:gd name="connsiteX3519" fmla="*/ 5844554 w 6689088"/>
                <a:gd name="connsiteY3519" fmla="*/ 791156 h 6689084"/>
                <a:gd name="connsiteX3520" fmla="*/ 5998139 w 6689088"/>
                <a:gd name="connsiteY3520" fmla="*/ 788614 h 6689084"/>
                <a:gd name="connsiteX3521" fmla="*/ 6054414 w 6689088"/>
                <a:gd name="connsiteY3521" fmla="*/ 844893 h 6689084"/>
                <a:gd name="connsiteX3522" fmla="*/ 5998139 w 6689088"/>
                <a:gd name="connsiteY3522" fmla="*/ 901171 h 6689084"/>
                <a:gd name="connsiteX3523" fmla="*/ 5941860 w 6689088"/>
                <a:gd name="connsiteY3523" fmla="*/ 844893 h 6689084"/>
                <a:gd name="connsiteX3524" fmla="*/ 5998139 w 6689088"/>
                <a:gd name="connsiteY3524" fmla="*/ 788614 h 6689084"/>
                <a:gd name="connsiteX3525" fmla="*/ 6152083 w 6689088"/>
                <a:gd name="connsiteY3525" fmla="*/ 786075 h 6689084"/>
                <a:gd name="connsiteX3526" fmla="*/ 6210904 w 6689088"/>
                <a:gd name="connsiteY3526" fmla="*/ 844896 h 6689084"/>
                <a:gd name="connsiteX3527" fmla="*/ 6152083 w 6689088"/>
                <a:gd name="connsiteY3527" fmla="*/ 903714 h 6689084"/>
                <a:gd name="connsiteX3528" fmla="*/ 6093265 w 6689088"/>
                <a:gd name="connsiteY3528" fmla="*/ 844896 h 6689084"/>
                <a:gd name="connsiteX3529" fmla="*/ 6152083 w 6689088"/>
                <a:gd name="connsiteY3529" fmla="*/ 786075 h 6689084"/>
                <a:gd name="connsiteX3530" fmla="*/ 6305672 w 6689088"/>
                <a:gd name="connsiteY3530" fmla="*/ 783170 h 6689084"/>
                <a:gd name="connsiteX3531" fmla="*/ 6367394 w 6689088"/>
                <a:gd name="connsiteY3531" fmla="*/ 844896 h 6689084"/>
                <a:gd name="connsiteX3532" fmla="*/ 6305672 w 6689088"/>
                <a:gd name="connsiteY3532" fmla="*/ 906619 h 6689084"/>
                <a:gd name="connsiteX3533" fmla="*/ 6243946 w 6689088"/>
                <a:gd name="connsiteY3533" fmla="*/ 844896 h 6689084"/>
                <a:gd name="connsiteX3534" fmla="*/ 6305672 w 6689088"/>
                <a:gd name="connsiteY3534" fmla="*/ 783170 h 6689084"/>
                <a:gd name="connsiteX3535" fmla="*/ 6459616 w 6689088"/>
                <a:gd name="connsiteY3535" fmla="*/ 780628 h 6689084"/>
                <a:gd name="connsiteX3536" fmla="*/ 6523884 w 6689088"/>
                <a:gd name="connsiteY3536" fmla="*/ 844893 h 6689084"/>
                <a:gd name="connsiteX3537" fmla="*/ 6459616 w 6689088"/>
                <a:gd name="connsiteY3537" fmla="*/ 909161 h 6689084"/>
                <a:gd name="connsiteX3538" fmla="*/ 6395350 w 6689088"/>
                <a:gd name="connsiteY3538" fmla="*/ 844893 h 6689084"/>
                <a:gd name="connsiteX3539" fmla="*/ 6459616 w 6689088"/>
                <a:gd name="connsiteY3539" fmla="*/ 780628 h 6689084"/>
                <a:gd name="connsiteX3540" fmla="*/ 6613197 w 6689088"/>
                <a:gd name="connsiteY3540" fmla="*/ 777361 h 6689084"/>
                <a:gd name="connsiteX3541" fmla="*/ 6680732 w 6689088"/>
                <a:gd name="connsiteY3541" fmla="*/ 844896 h 6689084"/>
                <a:gd name="connsiteX3542" fmla="*/ 6613197 w 6689088"/>
                <a:gd name="connsiteY3542" fmla="*/ 912428 h 6689084"/>
                <a:gd name="connsiteX3543" fmla="*/ 6545666 w 6689088"/>
                <a:gd name="connsiteY3543" fmla="*/ 844896 h 6689084"/>
                <a:gd name="connsiteX3544" fmla="*/ 6613197 w 6689088"/>
                <a:gd name="connsiteY3544" fmla="*/ 777361 h 6689084"/>
                <a:gd name="connsiteX3545" fmla="*/ 1384799 w 6689088"/>
                <a:gd name="connsiteY3545" fmla="*/ 690583 h 6689084"/>
                <a:gd name="connsiteX3546" fmla="*/ 1385161 w 6689088"/>
                <a:gd name="connsiteY3546" fmla="*/ 690945 h 6689084"/>
                <a:gd name="connsiteX3547" fmla="*/ 1384799 w 6689088"/>
                <a:gd name="connsiteY3547" fmla="*/ 691311 h 6689084"/>
                <a:gd name="connsiteX3548" fmla="*/ 1384437 w 6689088"/>
                <a:gd name="connsiteY3548" fmla="*/ 690945 h 6689084"/>
                <a:gd name="connsiteX3549" fmla="*/ 1384799 w 6689088"/>
                <a:gd name="connsiteY3549" fmla="*/ 690583 h 6689084"/>
                <a:gd name="connsiteX3550" fmla="*/ 923681 w 6689088"/>
                <a:gd name="connsiteY3550" fmla="*/ 690583 h 6689084"/>
                <a:gd name="connsiteX3551" fmla="*/ 924043 w 6689088"/>
                <a:gd name="connsiteY3551" fmla="*/ 690945 h 6689084"/>
                <a:gd name="connsiteX3552" fmla="*/ 923681 w 6689088"/>
                <a:gd name="connsiteY3552" fmla="*/ 691311 h 6689084"/>
                <a:gd name="connsiteX3553" fmla="*/ 923319 w 6689088"/>
                <a:gd name="connsiteY3553" fmla="*/ 690945 h 6689084"/>
                <a:gd name="connsiteX3554" fmla="*/ 923681 w 6689088"/>
                <a:gd name="connsiteY3554" fmla="*/ 690583 h 6689084"/>
                <a:gd name="connsiteX3555" fmla="*/ 769733 w 6689088"/>
                <a:gd name="connsiteY3555" fmla="*/ 690583 h 6689084"/>
                <a:gd name="connsiteX3556" fmla="*/ 770096 w 6689088"/>
                <a:gd name="connsiteY3556" fmla="*/ 690945 h 6689084"/>
                <a:gd name="connsiteX3557" fmla="*/ 769733 w 6689088"/>
                <a:gd name="connsiteY3557" fmla="*/ 691311 h 6689084"/>
                <a:gd name="connsiteX3558" fmla="*/ 769371 w 6689088"/>
                <a:gd name="connsiteY3558" fmla="*/ 690945 h 6689084"/>
                <a:gd name="connsiteX3559" fmla="*/ 769733 w 6689088"/>
                <a:gd name="connsiteY3559" fmla="*/ 690583 h 6689084"/>
                <a:gd name="connsiteX3560" fmla="*/ 616152 w 6689088"/>
                <a:gd name="connsiteY3560" fmla="*/ 690221 h 6689084"/>
                <a:gd name="connsiteX3561" fmla="*/ 616876 w 6689088"/>
                <a:gd name="connsiteY3561" fmla="*/ 690949 h 6689084"/>
                <a:gd name="connsiteX3562" fmla="*/ 616152 w 6689088"/>
                <a:gd name="connsiteY3562" fmla="*/ 691673 h 6689084"/>
                <a:gd name="connsiteX3563" fmla="*/ 615424 w 6689088"/>
                <a:gd name="connsiteY3563" fmla="*/ 690949 h 6689084"/>
                <a:gd name="connsiteX3564" fmla="*/ 616152 w 6689088"/>
                <a:gd name="connsiteY3564" fmla="*/ 690221 h 6689084"/>
                <a:gd name="connsiteX3565" fmla="*/ 1538746 w 6689088"/>
                <a:gd name="connsiteY3565" fmla="*/ 689493 h 6689084"/>
                <a:gd name="connsiteX3566" fmla="*/ 1540198 w 6689088"/>
                <a:gd name="connsiteY3566" fmla="*/ 690945 h 6689084"/>
                <a:gd name="connsiteX3567" fmla="*/ 1538746 w 6689088"/>
                <a:gd name="connsiteY3567" fmla="*/ 692397 h 6689084"/>
                <a:gd name="connsiteX3568" fmla="*/ 1537294 w 6689088"/>
                <a:gd name="connsiteY3568" fmla="*/ 690945 h 6689084"/>
                <a:gd name="connsiteX3569" fmla="*/ 1538746 w 6689088"/>
                <a:gd name="connsiteY3569" fmla="*/ 689493 h 6689084"/>
                <a:gd name="connsiteX3570" fmla="*/ 1692328 w 6689088"/>
                <a:gd name="connsiteY3570" fmla="*/ 688768 h 6689084"/>
                <a:gd name="connsiteX3571" fmla="*/ 1694508 w 6689088"/>
                <a:gd name="connsiteY3571" fmla="*/ 690949 h 6689084"/>
                <a:gd name="connsiteX3572" fmla="*/ 1692328 w 6689088"/>
                <a:gd name="connsiteY3572" fmla="*/ 693126 h 6689084"/>
                <a:gd name="connsiteX3573" fmla="*/ 1690151 w 6689088"/>
                <a:gd name="connsiteY3573" fmla="*/ 690949 h 6689084"/>
                <a:gd name="connsiteX3574" fmla="*/ 1692328 w 6689088"/>
                <a:gd name="connsiteY3574" fmla="*/ 688768 h 6689084"/>
                <a:gd name="connsiteX3575" fmla="*/ 1846279 w 6689088"/>
                <a:gd name="connsiteY3575" fmla="*/ 688040 h 6689084"/>
                <a:gd name="connsiteX3576" fmla="*/ 1849546 w 6689088"/>
                <a:gd name="connsiteY3576" fmla="*/ 691307 h 6689084"/>
                <a:gd name="connsiteX3577" fmla="*/ 1846279 w 6689088"/>
                <a:gd name="connsiteY3577" fmla="*/ 694574 h 6689084"/>
                <a:gd name="connsiteX3578" fmla="*/ 1843012 w 6689088"/>
                <a:gd name="connsiteY3578" fmla="*/ 691307 h 6689084"/>
                <a:gd name="connsiteX3579" fmla="*/ 1846279 w 6689088"/>
                <a:gd name="connsiteY3579" fmla="*/ 688040 h 6689084"/>
                <a:gd name="connsiteX3580" fmla="*/ 1999860 w 6689088"/>
                <a:gd name="connsiteY3580" fmla="*/ 686588 h 6689084"/>
                <a:gd name="connsiteX3581" fmla="*/ 2004217 w 6689088"/>
                <a:gd name="connsiteY3581" fmla="*/ 690945 h 6689084"/>
                <a:gd name="connsiteX3582" fmla="*/ 1999860 w 6689088"/>
                <a:gd name="connsiteY3582" fmla="*/ 695302 h 6689084"/>
                <a:gd name="connsiteX3583" fmla="*/ 1995503 w 6689088"/>
                <a:gd name="connsiteY3583" fmla="*/ 690945 h 6689084"/>
                <a:gd name="connsiteX3584" fmla="*/ 1999860 w 6689088"/>
                <a:gd name="connsiteY3584" fmla="*/ 686588 h 6689084"/>
                <a:gd name="connsiteX3585" fmla="*/ 2153811 w 6689088"/>
                <a:gd name="connsiteY3585" fmla="*/ 685498 h 6689084"/>
                <a:gd name="connsiteX3586" fmla="*/ 2159621 w 6689088"/>
                <a:gd name="connsiteY3586" fmla="*/ 691307 h 6689084"/>
                <a:gd name="connsiteX3587" fmla="*/ 2153811 w 6689088"/>
                <a:gd name="connsiteY3587" fmla="*/ 697117 h 6689084"/>
                <a:gd name="connsiteX3588" fmla="*/ 2148002 w 6689088"/>
                <a:gd name="connsiteY3588" fmla="*/ 691307 h 6689084"/>
                <a:gd name="connsiteX3589" fmla="*/ 2153811 w 6689088"/>
                <a:gd name="connsiteY3589" fmla="*/ 685498 h 6689084"/>
                <a:gd name="connsiteX3590" fmla="*/ 2307393 w 6689088"/>
                <a:gd name="connsiteY3590" fmla="*/ 683683 h 6689084"/>
                <a:gd name="connsiteX3591" fmla="*/ 2314655 w 6689088"/>
                <a:gd name="connsiteY3591" fmla="*/ 690945 h 6689084"/>
                <a:gd name="connsiteX3592" fmla="*/ 2307393 w 6689088"/>
                <a:gd name="connsiteY3592" fmla="*/ 698207 h 6689084"/>
                <a:gd name="connsiteX3593" fmla="*/ 2300131 w 6689088"/>
                <a:gd name="connsiteY3593" fmla="*/ 690945 h 6689084"/>
                <a:gd name="connsiteX3594" fmla="*/ 2307393 w 6689088"/>
                <a:gd name="connsiteY3594" fmla="*/ 683683 h 6689084"/>
                <a:gd name="connsiteX3595" fmla="*/ 2461340 w 6689088"/>
                <a:gd name="connsiteY3595" fmla="*/ 681869 h 6689084"/>
                <a:gd name="connsiteX3596" fmla="*/ 2470420 w 6689088"/>
                <a:gd name="connsiteY3596" fmla="*/ 690945 h 6689084"/>
                <a:gd name="connsiteX3597" fmla="*/ 2461340 w 6689088"/>
                <a:gd name="connsiteY3597" fmla="*/ 700025 h 6689084"/>
                <a:gd name="connsiteX3598" fmla="*/ 2452264 w 6689088"/>
                <a:gd name="connsiteY3598" fmla="*/ 690945 h 6689084"/>
                <a:gd name="connsiteX3599" fmla="*/ 2461340 w 6689088"/>
                <a:gd name="connsiteY3599" fmla="*/ 681869 h 6689084"/>
                <a:gd name="connsiteX3600" fmla="*/ 2614925 w 6689088"/>
                <a:gd name="connsiteY3600" fmla="*/ 680779 h 6689084"/>
                <a:gd name="connsiteX3601" fmla="*/ 2625092 w 6689088"/>
                <a:gd name="connsiteY3601" fmla="*/ 690945 h 6689084"/>
                <a:gd name="connsiteX3602" fmla="*/ 2614925 w 6689088"/>
                <a:gd name="connsiteY3602" fmla="*/ 701111 h 6689084"/>
                <a:gd name="connsiteX3603" fmla="*/ 2604759 w 6689088"/>
                <a:gd name="connsiteY3603" fmla="*/ 690945 h 6689084"/>
                <a:gd name="connsiteX3604" fmla="*/ 2614925 w 6689088"/>
                <a:gd name="connsiteY3604" fmla="*/ 680779 h 6689084"/>
                <a:gd name="connsiteX3605" fmla="*/ 2768873 w 6689088"/>
                <a:gd name="connsiteY3605" fmla="*/ 678964 h 6689084"/>
                <a:gd name="connsiteX3606" fmla="*/ 2780858 w 6689088"/>
                <a:gd name="connsiteY3606" fmla="*/ 690945 h 6689084"/>
                <a:gd name="connsiteX3607" fmla="*/ 2768873 w 6689088"/>
                <a:gd name="connsiteY3607" fmla="*/ 702926 h 6689084"/>
                <a:gd name="connsiteX3608" fmla="*/ 2756892 w 6689088"/>
                <a:gd name="connsiteY3608" fmla="*/ 690945 h 6689084"/>
                <a:gd name="connsiteX3609" fmla="*/ 2768873 w 6689088"/>
                <a:gd name="connsiteY3609" fmla="*/ 678964 h 6689084"/>
                <a:gd name="connsiteX3610" fmla="*/ 2922824 w 6689088"/>
                <a:gd name="connsiteY3610" fmla="*/ 677150 h 6689084"/>
                <a:gd name="connsiteX3611" fmla="*/ 2936619 w 6689088"/>
                <a:gd name="connsiteY3611" fmla="*/ 690949 h 6689084"/>
                <a:gd name="connsiteX3612" fmla="*/ 2922824 w 6689088"/>
                <a:gd name="connsiteY3612" fmla="*/ 704744 h 6689084"/>
                <a:gd name="connsiteX3613" fmla="*/ 2909025 w 6689088"/>
                <a:gd name="connsiteY3613" fmla="*/ 690949 h 6689084"/>
                <a:gd name="connsiteX3614" fmla="*/ 2922824 w 6689088"/>
                <a:gd name="connsiteY3614" fmla="*/ 677150 h 6689084"/>
                <a:gd name="connsiteX3615" fmla="*/ 3076402 w 6689088"/>
                <a:gd name="connsiteY3615" fmla="*/ 675697 h 6689084"/>
                <a:gd name="connsiteX3616" fmla="*/ 3091653 w 6689088"/>
                <a:gd name="connsiteY3616" fmla="*/ 690949 h 6689084"/>
                <a:gd name="connsiteX3617" fmla="*/ 3076402 w 6689088"/>
                <a:gd name="connsiteY3617" fmla="*/ 706197 h 6689084"/>
                <a:gd name="connsiteX3618" fmla="*/ 3061154 w 6689088"/>
                <a:gd name="connsiteY3618" fmla="*/ 690949 h 6689084"/>
                <a:gd name="connsiteX3619" fmla="*/ 3076402 w 6689088"/>
                <a:gd name="connsiteY3619" fmla="*/ 675697 h 6689084"/>
                <a:gd name="connsiteX3620" fmla="*/ 3230353 w 6689088"/>
                <a:gd name="connsiteY3620" fmla="*/ 673883 h 6689084"/>
                <a:gd name="connsiteX3621" fmla="*/ 3247419 w 6689088"/>
                <a:gd name="connsiteY3621" fmla="*/ 690949 h 6689084"/>
                <a:gd name="connsiteX3622" fmla="*/ 3230353 w 6689088"/>
                <a:gd name="connsiteY3622" fmla="*/ 708015 h 6689084"/>
                <a:gd name="connsiteX3623" fmla="*/ 3213287 w 6689088"/>
                <a:gd name="connsiteY3623" fmla="*/ 690949 h 6689084"/>
                <a:gd name="connsiteX3624" fmla="*/ 3230353 w 6689088"/>
                <a:gd name="connsiteY3624" fmla="*/ 673883 h 6689084"/>
                <a:gd name="connsiteX3625" fmla="*/ 3383934 w 6689088"/>
                <a:gd name="connsiteY3625" fmla="*/ 671703 h 6689084"/>
                <a:gd name="connsiteX3626" fmla="*/ 3403180 w 6689088"/>
                <a:gd name="connsiteY3626" fmla="*/ 690945 h 6689084"/>
                <a:gd name="connsiteX3627" fmla="*/ 3383934 w 6689088"/>
                <a:gd name="connsiteY3627" fmla="*/ 710191 h 6689084"/>
                <a:gd name="connsiteX3628" fmla="*/ 3364692 w 6689088"/>
                <a:gd name="connsiteY3628" fmla="*/ 690945 h 6689084"/>
                <a:gd name="connsiteX3629" fmla="*/ 3383934 w 6689088"/>
                <a:gd name="connsiteY3629" fmla="*/ 671703 h 6689084"/>
                <a:gd name="connsiteX3630" fmla="*/ 3537886 w 6689088"/>
                <a:gd name="connsiteY3630" fmla="*/ 669526 h 6689084"/>
                <a:gd name="connsiteX3631" fmla="*/ 3559308 w 6689088"/>
                <a:gd name="connsiteY3631" fmla="*/ 690949 h 6689084"/>
                <a:gd name="connsiteX3632" fmla="*/ 3537886 w 6689088"/>
                <a:gd name="connsiteY3632" fmla="*/ 712372 h 6689084"/>
                <a:gd name="connsiteX3633" fmla="*/ 3516462 w 6689088"/>
                <a:gd name="connsiteY3633" fmla="*/ 690949 h 6689084"/>
                <a:gd name="connsiteX3634" fmla="*/ 3537886 w 6689088"/>
                <a:gd name="connsiteY3634" fmla="*/ 669526 h 6689084"/>
                <a:gd name="connsiteX3635" fmla="*/ 3691471 w 6689088"/>
                <a:gd name="connsiteY3635" fmla="*/ 668074 h 6689084"/>
                <a:gd name="connsiteX3636" fmla="*/ 3714342 w 6689088"/>
                <a:gd name="connsiteY3636" fmla="*/ 690949 h 6689084"/>
                <a:gd name="connsiteX3637" fmla="*/ 3691471 w 6689088"/>
                <a:gd name="connsiteY3637" fmla="*/ 713820 h 6689084"/>
                <a:gd name="connsiteX3638" fmla="*/ 3668596 w 6689088"/>
                <a:gd name="connsiteY3638" fmla="*/ 690949 h 6689084"/>
                <a:gd name="connsiteX3639" fmla="*/ 3691471 w 6689088"/>
                <a:gd name="connsiteY3639" fmla="*/ 668074 h 6689084"/>
                <a:gd name="connsiteX3640" fmla="*/ 3845414 w 6689088"/>
                <a:gd name="connsiteY3640" fmla="*/ 665893 h 6689084"/>
                <a:gd name="connsiteX3641" fmla="*/ 3870470 w 6689088"/>
                <a:gd name="connsiteY3641" fmla="*/ 690945 h 6689084"/>
                <a:gd name="connsiteX3642" fmla="*/ 3845414 w 6689088"/>
                <a:gd name="connsiteY3642" fmla="*/ 716001 h 6689084"/>
                <a:gd name="connsiteX3643" fmla="*/ 3820362 w 6689088"/>
                <a:gd name="connsiteY3643" fmla="*/ 690945 h 6689084"/>
                <a:gd name="connsiteX3644" fmla="*/ 3845414 w 6689088"/>
                <a:gd name="connsiteY3644" fmla="*/ 665893 h 6689084"/>
                <a:gd name="connsiteX3645" fmla="*/ 3999000 w 6689088"/>
                <a:gd name="connsiteY3645" fmla="*/ 663717 h 6689084"/>
                <a:gd name="connsiteX3646" fmla="*/ 4026232 w 6689088"/>
                <a:gd name="connsiteY3646" fmla="*/ 690949 h 6689084"/>
                <a:gd name="connsiteX3647" fmla="*/ 3999000 w 6689088"/>
                <a:gd name="connsiteY3647" fmla="*/ 718181 h 6689084"/>
                <a:gd name="connsiteX3648" fmla="*/ 3971768 w 6689088"/>
                <a:gd name="connsiteY3648" fmla="*/ 690949 h 6689084"/>
                <a:gd name="connsiteX3649" fmla="*/ 3999000 w 6689088"/>
                <a:gd name="connsiteY3649" fmla="*/ 663717 h 6689084"/>
                <a:gd name="connsiteX3650" fmla="*/ 4152947 w 6689088"/>
                <a:gd name="connsiteY3650" fmla="*/ 661174 h 6689084"/>
                <a:gd name="connsiteX3651" fmla="*/ 4182722 w 6689088"/>
                <a:gd name="connsiteY3651" fmla="*/ 690949 h 6689084"/>
                <a:gd name="connsiteX3652" fmla="*/ 4152947 w 6689088"/>
                <a:gd name="connsiteY3652" fmla="*/ 720720 h 6689084"/>
                <a:gd name="connsiteX3653" fmla="*/ 4123176 w 6689088"/>
                <a:gd name="connsiteY3653" fmla="*/ 690949 h 6689084"/>
                <a:gd name="connsiteX3654" fmla="*/ 4152947 w 6689088"/>
                <a:gd name="connsiteY3654" fmla="*/ 661174 h 6689084"/>
                <a:gd name="connsiteX3655" fmla="*/ 4306532 w 6689088"/>
                <a:gd name="connsiteY3655" fmla="*/ 658994 h 6689084"/>
                <a:gd name="connsiteX3656" fmla="*/ 4338484 w 6689088"/>
                <a:gd name="connsiteY3656" fmla="*/ 690945 h 6689084"/>
                <a:gd name="connsiteX3657" fmla="*/ 4306532 w 6689088"/>
                <a:gd name="connsiteY3657" fmla="*/ 722896 h 6689084"/>
                <a:gd name="connsiteX3658" fmla="*/ 4274581 w 6689088"/>
                <a:gd name="connsiteY3658" fmla="*/ 690945 h 6689084"/>
                <a:gd name="connsiteX3659" fmla="*/ 4306532 w 6689088"/>
                <a:gd name="connsiteY3659" fmla="*/ 658994 h 6689084"/>
                <a:gd name="connsiteX3660" fmla="*/ 4460480 w 6689088"/>
                <a:gd name="connsiteY3660" fmla="*/ 657179 h 6689084"/>
                <a:gd name="connsiteX3661" fmla="*/ 4494250 w 6689088"/>
                <a:gd name="connsiteY3661" fmla="*/ 690945 h 6689084"/>
                <a:gd name="connsiteX3662" fmla="*/ 4460480 w 6689088"/>
                <a:gd name="connsiteY3662" fmla="*/ 724715 h 6689084"/>
                <a:gd name="connsiteX3663" fmla="*/ 4426714 w 6689088"/>
                <a:gd name="connsiteY3663" fmla="*/ 690945 h 6689084"/>
                <a:gd name="connsiteX3664" fmla="*/ 4460480 w 6689088"/>
                <a:gd name="connsiteY3664" fmla="*/ 657179 h 6689084"/>
                <a:gd name="connsiteX3665" fmla="*/ 4614061 w 6689088"/>
                <a:gd name="connsiteY3665" fmla="*/ 654637 h 6689084"/>
                <a:gd name="connsiteX3666" fmla="*/ 4650370 w 6689088"/>
                <a:gd name="connsiteY3666" fmla="*/ 690945 h 6689084"/>
                <a:gd name="connsiteX3667" fmla="*/ 4614061 w 6689088"/>
                <a:gd name="connsiteY3667" fmla="*/ 727253 h 6689084"/>
                <a:gd name="connsiteX3668" fmla="*/ 4577753 w 6689088"/>
                <a:gd name="connsiteY3668" fmla="*/ 690945 h 6689084"/>
                <a:gd name="connsiteX3669" fmla="*/ 4614061 w 6689088"/>
                <a:gd name="connsiteY3669" fmla="*/ 654637 h 6689084"/>
                <a:gd name="connsiteX3670" fmla="*/ 4768012 w 6689088"/>
                <a:gd name="connsiteY3670" fmla="*/ 652094 h 6689084"/>
                <a:gd name="connsiteX3671" fmla="*/ 4806860 w 6689088"/>
                <a:gd name="connsiteY3671" fmla="*/ 690945 h 6689084"/>
                <a:gd name="connsiteX3672" fmla="*/ 4768012 w 6689088"/>
                <a:gd name="connsiteY3672" fmla="*/ 729796 h 6689084"/>
                <a:gd name="connsiteX3673" fmla="*/ 4729162 w 6689088"/>
                <a:gd name="connsiteY3673" fmla="*/ 690945 h 6689084"/>
                <a:gd name="connsiteX3674" fmla="*/ 4768012 w 6689088"/>
                <a:gd name="connsiteY3674" fmla="*/ 652094 h 6689084"/>
                <a:gd name="connsiteX3675" fmla="*/ 4921594 w 6689088"/>
                <a:gd name="connsiteY3675" fmla="*/ 649918 h 6689084"/>
                <a:gd name="connsiteX3676" fmla="*/ 4962625 w 6689088"/>
                <a:gd name="connsiteY3676" fmla="*/ 690945 h 6689084"/>
                <a:gd name="connsiteX3677" fmla="*/ 4921594 w 6689088"/>
                <a:gd name="connsiteY3677" fmla="*/ 731976 h 6689084"/>
                <a:gd name="connsiteX3678" fmla="*/ 4880566 w 6689088"/>
                <a:gd name="connsiteY3678" fmla="*/ 690945 h 6689084"/>
                <a:gd name="connsiteX3679" fmla="*/ 4921594 w 6689088"/>
                <a:gd name="connsiteY3679" fmla="*/ 649918 h 6689084"/>
                <a:gd name="connsiteX3680" fmla="*/ 5075541 w 6689088"/>
                <a:gd name="connsiteY3680" fmla="*/ 647375 h 6689084"/>
                <a:gd name="connsiteX3681" fmla="*/ 5119111 w 6689088"/>
                <a:gd name="connsiteY3681" fmla="*/ 690945 h 6689084"/>
                <a:gd name="connsiteX3682" fmla="*/ 5075541 w 6689088"/>
                <a:gd name="connsiteY3682" fmla="*/ 734515 h 6689084"/>
                <a:gd name="connsiteX3683" fmla="*/ 5031971 w 6689088"/>
                <a:gd name="connsiteY3683" fmla="*/ 690945 h 6689084"/>
                <a:gd name="connsiteX3684" fmla="*/ 5075541 w 6689088"/>
                <a:gd name="connsiteY3684" fmla="*/ 647375 h 6689084"/>
                <a:gd name="connsiteX3685" fmla="*/ 5229126 w 6689088"/>
                <a:gd name="connsiteY3685" fmla="*/ 644836 h 6689084"/>
                <a:gd name="connsiteX3686" fmla="*/ 5275239 w 6689088"/>
                <a:gd name="connsiteY3686" fmla="*/ 690949 h 6689084"/>
                <a:gd name="connsiteX3687" fmla="*/ 5229126 w 6689088"/>
                <a:gd name="connsiteY3687" fmla="*/ 737058 h 6689084"/>
                <a:gd name="connsiteX3688" fmla="*/ 5183014 w 6689088"/>
                <a:gd name="connsiteY3688" fmla="*/ 690949 h 6689084"/>
                <a:gd name="connsiteX3689" fmla="*/ 5229126 w 6689088"/>
                <a:gd name="connsiteY3689" fmla="*/ 644836 h 6689084"/>
                <a:gd name="connsiteX3690" fmla="*/ 5383074 w 6689088"/>
                <a:gd name="connsiteY3690" fmla="*/ 642294 h 6689084"/>
                <a:gd name="connsiteX3691" fmla="*/ 5431725 w 6689088"/>
                <a:gd name="connsiteY3691" fmla="*/ 690949 h 6689084"/>
                <a:gd name="connsiteX3692" fmla="*/ 5383074 w 6689088"/>
                <a:gd name="connsiteY3692" fmla="*/ 739600 h 6689084"/>
                <a:gd name="connsiteX3693" fmla="*/ 5334419 w 6689088"/>
                <a:gd name="connsiteY3693" fmla="*/ 690949 h 6689084"/>
                <a:gd name="connsiteX3694" fmla="*/ 5383074 w 6689088"/>
                <a:gd name="connsiteY3694" fmla="*/ 642294 h 6689084"/>
                <a:gd name="connsiteX3695" fmla="*/ 5536659 w 6689088"/>
                <a:gd name="connsiteY3695" fmla="*/ 639751 h 6689084"/>
                <a:gd name="connsiteX3696" fmla="*/ 5587853 w 6689088"/>
                <a:gd name="connsiteY3696" fmla="*/ 690945 h 6689084"/>
                <a:gd name="connsiteX3697" fmla="*/ 5536659 w 6689088"/>
                <a:gd name="connsiteY3697" fmla="*/ 742139 h 6689084"/>
                <a:gd name="connsiteX3698" fmla="*/ 5485462 w 6689088"/>
                <a:gd name="connsiteY3698" fmla="*/ 690945 h 6689084"/>
                <a:gd name="connsiteX3699" fmla="*/ 5536659 w 6689088"/>
                <a:gd name="connsiteY3699" fmla="*/ 639751 h 6689084"/>
                <a:gd name="connsiteX3700" fmla="*/ 5690606 w 6689088"/>
                <a:gd name="connsiteY3700" fmla="*/ 637571 h 6689084"/>
                <a:gd name="connsiteX3701" fmla="*/ 5743980 w 6689088"/>
                <a:gd name="connsiteY3701" fmla="*/ 690945 h 6689084"/>
                <a:gd name="connsiteX3702" fmla="*/ 5690606 w 6689088"/>
                <a:gd name="connsiteY3702" fmla="*/ 744319 h 6689084"/>
                <a:gd name="connsiteX3703" fmla="*/ 5637232 w 6689088"/>
                <a:gd name="connsiteY3703" fmla="*/ 690945 h 6689084"/>
                <a:gd name="connsiteX3704" fmla="*/ 5690606 w 6689088"/>
                <a:gd name="connsiteY3704" fmla="*/ 637571 h 6689084"/>
                <a:gd name="connsiteX3705" fmla="*/ 5844554 w 6689088"/>
                <a:gd name="connsiteY3705" fmla="*/ 634666 h 6689084"/>
                <a:gd name="connsiteX3706" fmla="*/ 5900829 w 6689088"/>
                <a:gd name="connsiteY3706" fmla="*/ 690945 h 6689084"/>
                <a:gd name="connsiteX3707" fmla="*/ 5844554 w 6689088"/>
                <a:gd name="connsiteY3707" fmla="*/ 747224 h 6689084"/>
                <a:gd name="connsiteX3708" fmla="*/ 5788275 w 6689088"/>
                <a:gd name="connsiteY3708" fmla="*/ 690945 h 6689084"/>
                <a:gd name="connsiteX3709" fmla="*/ 5844554 w 6689088"/>
                <a:gd name="connsiteY3709" fmla="*/ 634666 h 6689084"/>
                <a:gd name="connsiteX3710" fmla="*/ 5998136 w 6689088"/>
                <a:gd name="connsiteY3710" fmla="*/ 632128 h 6689084"/>
                <a:gd name="connsiteX3711" fmla="*/ 6056957 w 6689088"/>
                <a:gd name="connsiteY3711" fmla="*/ 690949 h 6689084"/>
                <a:gd name="connsiteX3712" fmla="*/ 5998136 w 6689088"/>
                <a:gd name="connsiteY3712" fmla="*/ 749767 h 6689084"/>
                <a:gd name="connsiteX3713" fmla="*/ 5939318 w 6689088"/>
                <a:gd name="connsiteY3713" fmla="*/ 690949 h 6689084"/>
                <a:gd name="connsiteX3714" fmla="*/ 5998136 w 6689088"/>
                <a:gd name="connsiteY3714" fmla="*/ 632128 h 6689084"/>
                <a:gd name="connsiteX3715" fmla="*/ 6152083 w 6689088"/>
                <a:gd name="connsiteY3715" fmla="*/ 629223 h 6689084"/>
                <a:gd name="connsiteX3716" fmla="*/ 6213809 w 6689088"/>
                <a:gd name="connsiteY3716" fmla="*/ 690949 h 6689084"/>
                <a:gd name="connsiteX3717" fmla="*/ 6152083 w 6689088"/>
                <a:gd name="connsiteY3717" fmla="*/ 752671 h 6689084"/>
                <a:gd name="connsiteX3718" fmla="*/ 6090360 w 6689088"/>
                <a:gd name="connsiteY3718" fmla="*/ 690949 h 6689084"/>
                <a:gd name="connsiteX3719" fmla="*/ 6152083 w 6689088"/>
                <a:gd name="connsiteY3719" fmla="*/ 629223 h 6689084"/>
                <a:gd name="connsiteX3720" fmla="*/ 6305668 w 6689088"/>
                <a:gd name="connsiteY3720" fmla="*/ 626680 h 6689084"/>
                <a:gd name="connsiteX3721" fmla="*/ 6369933 w 6689088"/>
                <a:gd name="connsiteY3721" fmla="*/ 690945 h 6689084"/>
                <a:gd name="connsiteX3722" fmla="*/ 6305668 w 6689088"/>
                <a:gd name="connsiteY3722" fmla="*/ 755214 h 6689084"/>
                <a:gd name="connsiteX3723" fmla="*/ 6241400 w 6689088"/>
                <a:gd name="connsiteY3723" fmla="*/ 690945 h 6689084"/>
                <a:gd name="connsiteX3724" fmla="*/ 6305668 w 6689088"/>
                <a:gd name="connsiteY3724" fmla="*/ 626680 h 6689084"/>
                <a:gd name="connsiteX3725" fmla="*/ 6459619 w 6689088"/>
                <a:gd name="connsiteY3725" fmla="*/ 623414 h 6689084"/>
                <a:gd name="connsiteX3726" fmla="*/ 6527151 w 6689088"/>
                <a:gd name="connsiteY3726" fmla="*/ 690949 h 6689084"/>
                <a:gd name="connsiteX3727" fmla="*/ 6459619 w 6689088"/>
                <a:gd name="connsiteY3727" fmla="*/ 758481 h 6689084"/>
                <a:gd name="connsiteX3728" fmla="*/ 6392084 w 6689088"/>
                <a:gd name="connsiteY3728" fmla="*/ 690949 h 6689084"/>
                <a:gd name="connsiteX3729" fmla="*/ 6459619 w 6689088"/>
                <a:gd name="connsiteY3729" fmla="*/ 623414 h 6689084"/>
                <a:gd name="connsiteX3730" fmla="*/ 6613200 w 6689088"/>
                <a:gd name="connsiteY3730" fmla="*/ 620871 h 6689084"/>
                <a:gd name="connsiteX3731" fmla="*/ 6683275 w 6689088"/>
                <a:gd name="connsiteY3731" fmla="*/ 690945 h 6689084"/>
                <a:gd name="connsiteX3732" fmla="*/ 6613200 w 6689088"/>
                <a:gd name="connsiteY3732" fmla="*/ 761023 h 6689084"/>
                <a:gd name="connsiteX3733" fmla="*/ 6543126 w 6689088"/>
                <a:gd name="connsiteY3733" fmla="*/ 690945 h 6689084"/>
                <a:gd name="connsiteX3734" fmla="*/ 6613200 w 6689088"/>
                <a:gd name="connsiteY3734" fmla="*/ 620871 h 6689084"/>
                <a:gd name="connsiteX3735" fmla="*/ 1231213 w 6689088"/>
                <a:gd name="connsiteY3735" fmla="*/ 536998 h 6689084"/>
                <a:gd name="connsiteX3736" fmla="*/ 1231576 w 6689088"/>
                <a:gd name="connsiteY3736" fmla="*/ 537360 h 6689084"/>
                <a:gd name="connsiteX3737" fmla="*/ 1231213 w 6689088"/>
                <a:gd name="connsiteY3737" fmla="*/ 537726 h 6689084"/>
                <a:gd name="connsiteX3738" fmla="*/ 1230851 w 6689088"/>
                <a:gd name="connsiteY3738" fmla="*/ 537360 h 6689084"/>
                <a:gd name="connsiteX3739" fmla="*/ 1231213 w 6689088"/>
                <a:gd name="connsiteY3739" fmla="*/ 536998 h 6689084"/>
                <a:gd name="connsiteX3740" fmla="*/ 769733 w 6689088"/>
                <a:gd name="connsiteY3740" fmla="*/ 536998 h 6689084"/>
                <a:gd name="connsiteX3741" fmla="*/ 770096 w 6689088"/>
                <a:gd name="connsiteY3741" fmla="*/ 537360 h 6689084"/>
                <a:gd name="connsiteX3742" fmla="*/ 769733 w 6689088"/>
                <a:gd name="connsiteY3742" fmla="*/ 537726 h 6689084"/>
                <a:gd name="connsiteX3743" fmla="*/ 769371 w 6689088"/>
                <a:gd name="connsiteY3743" fmla="*/ 537360 h 6689084"/>
                <a:gd name="connsiteX3744" fmla="*/ 769733 w 6689088"/>
                <a:gd name="connsiteY3744" fmla="*/ 536998 h 6689084"/>
                <a:gd name="connsiteX3745" fmla="*/ 616148 w 6689088"/>
                <a:gd name="connsiteY3745" fmla="*/ 536998 h 6689084"/>
                <a:gd name="connsiteX3746" fmla="*/ 616514 w 6689088"/>
                <a:gd name="connsiteY3746" fmla="*/ 537360 h 6689084"/>
                <a:gd name="connsiteX3747" fmla="*/ 616148 w 6689088"/>
                <a:gd name="connsiteY3747" fmla="*/ 537726 h 6689084"/>
                <a:gd name="connsiteX3748" fmla="*/ 615786 w 6689088"/>
                <a:gd name="connsiteY3748" fmla="*/ 537360 h 6689084"/>
                <a:gd name="connsiteX3749" fmla="*/ 616148 w 6689088"/>
                <a:gd name="connsiteY3749" fmla="*/ 536998 h 6689084"/>
                <a:gd name="connsiteX3750" fmla="*/ 462205 w 6689088"/>
                <a:gd name="connsiteY3750" fmla="*/ 536636 h 6689084"/>
                <a:gd name="connsiteX3751" fmla="*/ 462929 w 6689088"/>
                <a:gd name="connsiteY3751" fmla="*/ 537364 h 6689084"/>
                <a:gd name="connsiteX3752" fmla="*/ 462205 w 6689088"/>
                <a:gd name="connsiteY3752" fmla="*/ 538088 h 6689084"/>
                <a:gd name="connsiteX3753" fmla="*/ 461476 w 6689088"/>
                <a:gd name="connsiteY3753" fmla="*/ 537364 h 6689084"/>
                <a:gd name="connsiteX3754" fmla="*/ 462205 w 6689088"/>
                <a:gd name="connsiteY3754" fmla="*/ 536636 h 6689084"/>
                <a:gd name="connsiteX3755" fmla="*/ 1384799 w 6689088"/>
                <a:gd name="connsiteY3755" fmla="*/ 535911 h 6689084"/>
                <a:gd name="connsiteX3756" fmla="*/ 1386251 w 6689088"/>
                <a:gd name="connsiteY3756" fmla="*/ 537364 h 6689084"/>
                <a:gd name="connsiteX3757" fmla="*/ 1384799 w 6689088"/>
                <a:gd name="connsiteY3757" fmla="*/ 538816 h 6689084"/>
                <a:gd name="connsiteX3758" fmla="*/ 1383346 w 6689088"/>
                <a:gd name="connsiteY3758" fmla="*/ 537364 h 6689084"/>
                <a:gd name="connsiteX3759" fmla="*/ 1384799 w 6689088"/>
                <a:gd name="connsiteY3759" fmla="*/ 535911 h 6689084"/>
                <a:gd name="connsiteX3760" fmla="*/ 308257 w 6689088"/>
                <a:gd name="connsiteY3760" fmla="*/ 535545 h 6689084"/>
                <a:gd name="connsiteX3761" fmla="*/ 309710 w 6689088"/>
                <a:gd name="connsiteY3761" fmla="*/ 536998 h 6689084"/>
                <a:gd name="connsiteX3762" fmla="*/ 309634 w 6689088"/>
                <a:gd name="connsiteY3762" fmla="*/ 537073 h 6689084"/>
                <a:gd name="connsiteX3763" fmla="*/ 308175 w 6689088"/>
                <a:gd name="connsiteY3763" fmla="*/ 535627 h 6689084"/>
                <a:gd name="connsiteX3764" fmla="*/ 1538750 w 6689088"/>
                <a:gd name="connsiteY3764" fmla="*/ 535183 h 6689084"/>
                <a:gd name="connsiteX3765" fmla="*/ 1540927 w 6689088"/>
                <a:gd name="connsiteY3765" fmla="*/ 537364 h 6689084"/>
                <a:gd name="connsiteX3766" fmla="*/ 1538750 w 6689088"/>
                <a:gd name="connsiteY3766" fmla="*/ 539540 h 6689084"/>
                <a:gd name="connsiteX3767" fmla="*/ 1536570 w 6689088"/>
                <a:gd name="connsiteY3767" fmla="*/ 537364 h 6689084"/>
                <a:gd name="connsiteX3768" fmla="*/ 1538750 w 6689088"/>
                <a:gd name="connsiteY3768" fmla="*/ 535183 h 6689084"/>
                <a:gd name="connsiteX3769" fmla="*/ 1692328 w 6689088"/>
                <a:gd name="connsiteY3769" fmla="*/ 534093 h 6689084"/>
                <a:gd name="connsiteX3770" fmla="*/ 1695594 w 6689088"/>
                <a:gd name="connsiteY3770" fmla="*/ 537360 h 6689084"/>
                <a:gd name="connsiteX3771" fmla="*/ 1692328 w 6689088"/>
                <a:gd name="connsiteY3771" fmla="*/ 540630 h 6689084"/>
                <a:gd name="connsiteX3772" fmla="*/ 1689061 w 6689088"/>
                <a:gd name="connsiteY3772" fmla="*/ 537360 h 6689084"/>
                <a:gd name="connsiteX3773" fmla="*/ 1692328 w 6689088"/>
                <a:gd name="connsiteY3773" fmla="*/ 534093 h 6689084"/>
                <a:gd name="connsiteX3774" fmla="*/ 1846279 w 6689088"/>
                <a:gd name="connsiteY3774" fmla="*/ 532641 h 6689084"/>
                <a:gd name="connsiteX3775" fmla="*/ 1850636 w 6689088"/>
                <a:gd name="connsiteY3775" fmla="*/ 536998 h 6689084"/>
                <a:gd name="connsiteX3776" fmla="*/ 1846279 w 6689088"/>
                <a:gd name="connsiteY3776" fmla="*/ 541355 h 6689084"/>
                <a:gd name="connsiteX3777" fmla="*/ 1841922 w 6689088"/>
                <a:gd name="connsiteY3777" fmla="*/ 536998 h 6689084"/>
                <a:gd name="connsiteX3778" fmla="*/ 1846279 w 6689088"/>
                <a:gd name="connsiteY3778" fmla="*/ 532641 h 6689084"/>
                <a:gd name="connsiteX3779" fmla="*/ 1999860 w 6689088"/>
                <a:gd name="connsiteY3779" fmla="*/ 531554 h 6689084"/>
                <a:gd name="connsiteX3780" fmla="*/ 2005670 w 6689088"/>
                <a:gd name="connsiteY3780" fmla="*/ 537364 h 6689084"/>
                <a:gd name="connsiteX3781" fmla="*/ 1999860 w 6689088"/>
                <a:gd name="connsiteY3781" fmla="*/ 543173 h 6689084"/>
                <a:gd name="connsiteX3782" fmla="*/ 1994051 w 6689088"/>
                <a:gd name="connsiteY3782" fmla="*/ 537364 h 6689084"/>
                <a:gd name="connsiteX3783" fmla="*/ 1999860 w 6689088"/>
                <a:gd name="connsiteY3783" fmla="*/ 531554 h 6689084"/>
                <a:gd name="connsiteX3784" fmla="*/ 2153808 w 6689088"/>
                <a:gd name="connsiteY3784" fmla="*/ 530102 h 6689084"/>
                <a:gd name="connsiteX3785" fmla="*/ 2161069 w 6689088"/>
                <a:gd name="connsiteY3785" fmla="*/ 537364 h 6689084"/>
                <a:gd name="connsiteX3786" fmla="*/ 2153808 w 6689088"/>
                <a:gd name="connsiteY3786" fmla="*/ 544625 h 6689084"/>
                <a:gd name="connsiteX3787" fmla="*/ 2146546 w 6689088"/>
                <a:gd name="connsiteY3787" fmla="*/ 537364 h 6689084"/>
                <a:gd name="connsiteX3788" fmla="*/ 2153808 w 6689088"/>
                <a:gd name="connsiteY3788" fmla="*/ 530102 h 6689084"/>
                <a:gd name="connsiteX3789" fmla="*/ 2307393 w 6689088"/>
                <a:gd name="connsiteY3789" fmla="*/ 527922 h 6689084"/>
                <a:gd name="connsiteX3790" fmla="*/ 2316473 w 6689088"/>
                <a:gd name="connsiteY3790" fmla="*/ 536998 h 6689084"/>
                <a:gd name="connsiteX3791" fmla="*/ 2307393 w 6689088"/>
                <a:gd name="connsiteY3791" fmla="*/ 546078 h 6689084"/>
                <a:gd name="connsiteX3792" fmla="*/ 2298317 w 6689088"/>
                <a:gd name="connsiteY3792" fmla="*/ 536998 h 6689084"/>
                <a:gd name="connsiteX3793" fmla="*/ 2307393 w 6689088"/>
                <a:gd name="connsiteY3793" fmla="*/ 527922 h 6689084"/>
                <a:gd name="connsiteX3794" fmla="*/ 2461340 w 6689088"/>
                <a:gd name="connsiteY3794" fmla="*/ 527197 h 6689084"/>
                <a:gd name="connsiteX3795" fmla="*/ 2471507 w 6689088"/>
                <a:gd name="connsiteY3795" fmla="*/ 537364 h 6689084"/>
                <a:gd name="connsiteX3796" fmla="*/ 2461340 w 6689088"/>
                <a:gd name="connsiteY3796" fmla="*/ 547530 h 6689084"/>
                <a:gd name="connsiteX3797" fmla="*/ 2451174 w 6689088"/>
                <a:gd name="connsiteY3797" fmla="*/ 537364 h 6689084"/>
                <a:gd name="connsiteX3798" fmla="*/ 2461340 w 6689088"/>
                <a:gd name="connsiteY3798" fmla="*/ 527197 h 6689084"/>
                <a:gd name="connsiteX3799" fmla="*/ 2614925 w 6689088"/>
                <a:gd name="connsiteY3799" fmla="*/ 525379 h 6689084"/>
                <a:gd name="connsiteX3800" fmla="*/ 2626910 w 6689088"/>
                <a:gd name="connsiteY3800" fmla="*/ 537360 h 6689084"/>
                <a:gd name="connsiteX3801" fmla="*/ 2614925 w 6689088"/>
                <a:gd name="connsiteY3801" fmla="*/ 549341 h 6689084"/>
                <a:gd name="connsiteX3802" fmla="*/ 2602945 w 6689088"/>
                <a:gd name="connsiteY3802" fmla="*/ 537360 h 6689084"/>
                <a:gd name="connsiteX3803" fmla="*/ 2614925 w 6689088"/>
                <a:gd name="connsiteY3803" fmla="*/ 525379 h 6689084"/>
                <a:gd name="connsiteX3804" fmla="*/ 2768877 w 6689088"/>
                <a:gd name="connsiteY3804" fmla="*/ 523202 h 6689084"/>
                <a:gd name="connsiteX3805" fmla="*/ 2782672 w 6689088"/>
                <a:gd name="connsiteY3805" fmla="*/ 537002 h 6689084"/>
                <a:gd name="connsiteX3806" fmla="*/ 2768877 w 6689088"/>
                <a:gd name="connsiteY3806" fmla="*/ 550797 h 6689084"/>
                <a:gd name="connsiteX3807" fmla="*/ 2755078 w 6689088"/>
                <a:gd name="connsiteY3807" fmla="*/ 537002 h 6689084"/>
                <a:gd name="connsiteX3808" fmla="*/ 2768877 w 6689088"/>
                <a:gd name="connsiteY3808" fmla="*/ 523202 h 6689084"/>
                <a:gd name="connsiteX3809" fmla="*/ 2922454 w 6689088"/>
                <a:gd name="connsiteY3809" fmla="*/ 522112 h 6689084"/>
                <a:gd name="connsiteX3810" fmla="*/ 2937706 w 6689088"/>
                <a:gd name="connsiteY3810" fmla="*/ 537364 h 6689084"/>
                <a:gd name="connsiteX3811" fmla="*/ 2922454 w 6689088"/>
                <a:gd name="connsiteY3811" fmla="*/ 552611 h 6689084"/>
                <a:gd name="connsiteX3812" fmla="*/ 2907207 w 6689088"/>
                <a:gd name="connsiteY3812" fmla="*/ 537364 h 6689084"/>
                <a:gd name="connsiteX3813" fmla="*/ 2922454 w 6689088"/>
                <a:gd name="connsiteY3813" fmla="*/ 522112 h 6689084"/>
                <a:gd name="connsiteX3814" fmla="*/ 3076406 w 6689088"/>
                <a:gd name="connsiteY3814" fmla="*/ 520298 h 6689084"/>
                <a:gd name="connsiteX3815" fmla="*/ 3093468 w 6689088"/>
                <a:gd name="connsiteY3815" fmla="*/ 537364 h 6689084"/>
                <a:gd name="connsiteX3816" fmla="*/ 3076406 w 6689088"/>
                <a:gd name="connsiteY3816" fmla="*/ 554430 h 6689084"/>
                <a:gd name="connsiteX3817" fmla="*/ 3059340 w 6689088"/>
                <a:gd name="connsiteY3817" fmla="*/ 537364 h 6689084"/>
                <a:gd name="connsiteX3818" fmla="*/ 3076406 w 6689088"/>
                <a:gd name="connsiteY3818" fmla="*/ 520298 h 6689084"/>
                <a:gd name="connsiteX3819" fmla="*/ 3230353 w 6689088"/>
                <a:gd name="connsiteY3819" fmla="*/ 518117 h 6689084"/>
                <a:gd name="connsiteX3820" fmla="*/ 3249599 w 6689088"/>
                <a:gd name="connsiteY3820" fmla="*/ 537360 h 6689084"/>
                <a:gd name="connsiteX3821" fmla="*/ 3230353 w 6689088"/>
                <a:gd name="connsiteY3821" fmla="*/ 556602 h 6689084"/>
                <a:gd name="connsiteX3822" fmla="*/ 3211110 w 6689088"/>
                <a:gd name="connsiteY3822" fmla="*/ 537360 h 6689084"/>
                <a:gd name="connsiteX3823" fmla="*/ 3230353 w 6689088"/>
                <a:gd name="connsiteY3823" fmla="*/ 518117 h 6689084"/>
                <a:gd name="connsiteX3824" fmla="*/ 3383938 w 6689088"/>
                <a:gd name="connsiteY3824" fmla="*/ 515941 h 6689084"/>
                <a:gd name="connsiteX3825" fmla="*/ 3405361 w 6689088"/>
                <a:gd name="connsiteY3825" fmla="*/ 537364 h 6689084"/>
                <a:gd name="connsiteX3826" fmla="*/ 3383938 w 6689088"/>
                <a:gd name="connsiteY3826" fmla="*/ 558787 h 6689084"/>
                <a:gd name="connsiteX3827" fmla="*/ 3362515 w 6689088"/>
                <a:gd name="connsiteY3827" fmla="*/ 537364 h 6689084"/>
                <a:gd name="connsiteX3828" fmla="*/ 3383938 w 6689088"/>
                <a:gd name="connsiteY3828" fmla="*/ 515941 h 6689084"/>
                <a:gd name="connsiteX3829" fmla="*/ 3537886 w 6689088"/>
                <a:gd name="connsiteY3829" fmla="*/ 514489 h 6689084"/>
                <a:gd name="connsiteX3830" fmla="*/ 3560761 w 6689088"/>
                <a:gd name="connsiteY3830" fmla="*/ 537364 h 6689084"/>
                <a:gd name="connsiteX3831" fmla="*/ 3537886 w 6689088"/>
                <a:gd name="connsiteY3831" fmla="*/ 560239 h 6689084"/>
                <a:gd name="connsiteX3832" fmla="*/ 3515010 w 6689088"/>
                <a:gd name="connsiteY3832" fmla="*/ 537364 h 6689084"/>
                <a:gd name="connsiteX3833" fmla="*/ 3537886 w 6689088"/>
                <a:gd name="connsiteY3833" fmla="*/ 514489 h 6689084"/>
                <a:gd name="connsiteX3834" fmla="*/ 3691467 w 6689088"/>
                <a:gd name="connsiteY3834" fmla="*/ 512308 h 6689084"/>
                <a:gd name="connsiteX3835" fmla="*/ 3716519 w 6689088"/>
                <a:gd name="connsiteY3835" fmla="*/ 537360 h 6689084"/>
                <a:gd name="connsiteX3836" fmla="*/ 3691467 w 6689088"/>
                <a:gd name="connsiteY3836" fmla="*/ 562412 h 6689084"/>
                <a:gd name="connsiteX3837" fmla="*/ 3666415 w 6689088"/>
                <a:gd name="connsiteY3837" fmla="*/ 537360 h 6689084"/>
                <a:gd name="connsiteX3838" fmla="*/ 3691467 w 6689088"/>
                <a:gd name="connsiteY3838" fmla="*/ 512308 h 6689084"/>
                <a:gd name="connsiteX3839" fmla="*/ 3845418 w 6689088"/>
                <a:gd name="connsiteY3839" fmla="*/ 510131 h 6689084"/>
                <a:gd name="connsiteX3840" fmla="*/ 3872650 w 6689088"/>
                <a:gd name="connsiteY3840" fmla="*/ 537364 h 6689084"/>
                <a:gd name="connsiteX3841" fmla="*/ 3845418 w 6689088"/>
                <a:gd name="connsiteY3841" fmla="*/ 564596 h 6689084"/>
                <a:gd name="connsiteX3842" fmla="*/ 3818186 w 6689088"/>
                <a:gd name="connsiteY3842" fmla="*/ 537364 h 6689084"/>
                <a:gd name="connsiteX3843" fmla="*/ 3845418 w 6689088"/>
                <a:gd name="connsiteY3843" fmla="*/ 510131 h 6689084"/>
                <a:gd name="connsiteX3844" fmla="*/ 3999000 w 6689088"/>
                <a:gd name="connsiteY3844" fmla="*/ 507589 h 6689084"/>
                <a:gd name="connsiteX3845" fmla="*/ 4028774 w 6689088"/>
                <a:gd name="connsiteY3845" fmla="*/ 537364 h 6689084"/>
                <a:gd name="connsiteX3846" fmla="*/ 3999000 w 6689088"/>
                <a:gd name="connsiteY3846" fmla="*/ 567135 h 6689084"/>
                <a:gd name="connsiteX3847" fmla="*/ 3969229 w 6689088"/>
                <a:gd name="connsiteY3847" fmla="*/ 537364 h 6689084"/>
                <a:gd name="connsiteX3848" fmla="*/ 3999000 w 6689088"/>
                <a:gd name="connsiteY3848" fmla="*/ 507589 h 6689084"/>
                <a:gd name="connsiteX3849" fmla="*/ 4152947 w 6689088"/>
                <a:gd name="connsiteY3849" fmla="*/ 505412 h 6689084"/>
                <a:gd name="connsiteX3850" fmla="*/ 4184898 w 6689088"/>
                <a:gd name="connsiteY3850" fmla="*/ 537364 h 6689084"/>
                <a:gd name="connsiteX3851" fmla="*/ 4152947 w 6689088"/>
                <a:gd name="connsiteY3851" fmla="*/ 569315 h 6689084"/>
                <a:gd name="connsiteX3852" fmla="*/ 4120996 w 6689088"/>
                <a:gd name="connsiteY3852" fmla="*/ 537364 h 6689084"/>
                <a:gd name="connsiteX3853" fmla="*/ 4152947 w 6689088"/>
                <a:gd name="connsiteY3853" fmla="*/ 505412 h 6689084"/>
                <a:gd name="connsiteX3854" fmla="*/ 4306532 w 6689088"/>
                <a:gd name="connsiteY3854" fmla="*/ 503594 h 6689084"/>
                <a:gd name="connsiteX3855" fmla="*/ 4340302 w 6689088"/>
                <a:gd name="connsiteY3855" fmla="*/ 537360 h 6689084"/>
                <a:gd name="connsiteX3856" fmla="*/ 4306532 w 6689088"/>
                <a:gd name="connsiteY3856" fmla="*/ 571130 h 6689084"/>
                <a:gd name="connsiteX3857" fmla="*/ 4272766 w 6689088"/>
                <a:gd name="connsiteY3857" fmla="*/ 537360 h 6689084"/>
                <a:gd name="connsiteX3858" fmla="*/ 4306532 w 6689088"/>
                <a:gd name="connsiteY3858" fmla="*/ 503594 h 6689084"/>
                <a:gd name="connsiteX3859" fmla="*/ 4460480 w 6689088"/>
                <a:gd name="connsiteY3859" fmla="*/ 500689 h 6689084"/>
                <a:gd name="connsiteX3860" fmla="*/ 4496788 w 6689088"/>
                <a:gd name="connsiteY3860" fmla="*/ 536998 h 6689084"/>
                <a:gd name="connsiteX3861" fmla="*/ 4460480 w 6689088"/>
                <a:gd name="connsiteY3861" fmla="*/ 573306 h 6689084"/>
                <a:gd name="connsiteX3862" fmla="*/ 4424172 w 6689088"/>
                <a:gd name="connsiteY3862" fmla="*/ 536998 h 6689084"/>
                <a:gd name="connsiteX3863" fmla="*/ 4460480 w 6689088"/>
                <a:gd name="connsiteY3863" fmla="*/ 500689 h 6689084"/>
                <a:gd name="connsiteX3864" fmla="*/ 4614065 w 6689088"/>
                <a:gd name="connsiteY3864" fmla="*/ 498513 h 6689084"/>
                <a:gd name="connsiteX3865" fmla="*/ 4652912 w 6689088"/>
                <a:gd name="connsiteY3865" fmla="*/ 537364 h 6689084"/>
                <a:gd name="connsiteX3866" fmla="*/ 4614065 w 6689088"/>
                <a:gd name="connsiteY3866" fmla="*/ 576215 h 6689084"/>
                <a:gd name="connsiteX3867" fmla="*/ 4575214 w 6689088"/>
                <a:gd name="connsiteY3867" fmla="*/ 537364 h 6689084"/>
                <a:gd name="connsiteX3868" fmla="*/ 4614065 w 6689088"/>
                <a:gd name="connsiteY3868" fmla="*/ 498513 h 6689084"/>
                <a:gd name="connsiteX3869" fmla="*/ 4768008 w 6689088"/>
                <a:gd name="connsiteY3869" fmla="*/ 495970 h 6689084"/>
                <a:gd name="connsiteX3870" fmla="*/ 4809036 w 6689088"/>
                <a:gd name="connsiteY3870" fmla="*/ 536998 h 6689084"/>
                <a:gd name="connsiteX3871" fmla="*/ 4768008 w 6689088"/>
                <a:gd name="connsiteY3871" fmla="*/ 578029 h 6689084"/>
                <a:gd name="connsiteX3872" fmla="*/ 4726981 w 6689088"/>
                <a:gd name="connsiteY3872" fmla="*/ 536998 h 6689084"/>
                <a:gd name="connsiteX3873" fmla="*/ 4768008 w 6689088"/>
                <a:gd name="connsiteY3873" fmla="*/ 495970 h 6689084"/>
                <a:gd name="connsiteX3874" fmla="*/ 4921594 w 6689088"/>
                <a:gd name="connsiteY3874" fmla="*/ 493428 h 6689084"/>
                <a:gd name="connsiteX3875" fmla="*/ 4965164 w 6689088"/>
                <a:gd name="connsiteY3875" fmla="*/ 536998 h 6689084"/>
                <a:gd name="connsiteX3876" fmla="*/ 4921594 w 6689088"/>
                <a:gd name="connsiteY3876" fmla="*/ 580568 h 6689084"/>
                <a:gd name="connsiteX3877" fmla="*/ 4878024 w 6689088"/>
                <a:gd name="connsiteY3877" fmla="*/ 536998 h 6689084"/>
                <a:gd name="connsiteX3878" fmla="*/ 4921594 w 6689088"/>
                <a:gd name="connsiteY3878" fmla="*/ 493428 h 6689084"/>
                <a:gd name="connsiteX3879" fmla="*/ 5075541 w 6689088"/>
                <a:gd name="connsiteY3879" fmla="*/ 490889 h 6689084"/>
                <a:gd name="connsiteX3880" fmla="*/ 5121654 w 6689088"/>
                <a:gd name="connsiteY3880" fmla="*/ 537002 h 6689084"/>
                <a:gd name="connsiteX3881" fmla="*/ 5075541 w 6689088"/>
                <a:gd name="connsiteY3881" fmla="*/ 583110 h 6689084"/>
                <a:gd name="connsiteX3882" fmla="*/ 5029428 w 6689088"/>
                <a:gd name="connsiteY3882" fmla="*/ 537002 h 6689084"/>
                <a:gd name="connsiteX3883" fmla="*/ 5075541 w 6689088"/>
                <a:gd name="connsiteY3883" fmla="*/ 490889 h 6689084"/>
                <a:gd name="connsiteX3884" fmla="*/ 5229122 w 6689088"/>
                <a:gd name="connsiteY3884" fmla="*/ 488709 h 6689084"/>
                <a:gd name="connsiteX3885" fmla="*/ 5277778 w 6689088"/>
                <a:gd name="connsiteY3885" fmla="*/ 537364 h 6689084"/>
                <a:gd name="connsiteX3886" fmla="*/ 5229122 w 6689088"/>
                <a:gd name="connsiteY3886" fmla="*/ 586015 h 6689084"/>
                <a:gd name="connsiteX3887" fmla="*/ 5180472 w 6689088"/>
                <a:gd name="connsiteY3887" fmla="*/ 537364 h 6689084"/>
                <a:gd name="connsiteX3888" fmla="*/ 5229122 w 6689088"/>
                <a:gd name="connsiteY3888" fmla="*/ 488709 h 6689084"/>
                <a:gd name="connsiteX3889" fmla="*/ 5383074 w 6689088"/>
                <a:gd name="connsiteY3889" fmla="*/ 486166 h 6689084"/>
                <a:gd name="connsiteX3890" fmla="*/ 5434268 w 6689088"/>
                <a:gd name="connsiteY3890" fmla="*/ 537360 h 6689084"/>
                <a:gd name="connsiteX3891" fmla="*/ 5383074 w 6689088"/>
                <a:gd name="connsiteY3891" fmla="*/ 588554 h 6689084"/>
                <a:gd name="connsiteX3892" fmla="*/ 5331880 w 6689088"/>
                <a:gd name="connsiteY3892" fmla="*/ 537360 h 6689084"/>
                <a:gd name="connsiteX3893" fmla="*/ 5383074 w 6689088"/>
                <a:gd name="connsiteY3893" fmla="*/ 486166 h 6689084"/>
                <a:gd name="connsiteX3894" fmla="*/ 5536659 w 6689088"/>
                <a:gd name="connsiteY3894" fmla="*/ 483624 h 6689084"/>
                <a:gd name="connsiteX3895" fmla="*/ 5590034 w 6689088"/>
                <a:gd name="connsiteY3895" fmla="*/ 536998 h 6689084"/>
                <a:gd name="connsiteX3896" fmla="*/ 5536659 w 6689088"/>
                <a:gd name="connsiteY3896" fmla="*/ 590372 h 6689084"/>
                <a:gd name="connsiteX3897" fmla="*/ 5483285 w 6689088"/>
                <a:gd name="connsiteY3897" fmla="*/ 536998 h 6689084"/>
                <a:gd name="connsiteX3898" fmla="*/ 5536659 w 6689088"/>
                <a:gd name="connsiteY3898" fmla="*/ 483624 h 6689084"/>
                <a:gd name="connsiteX3899" fmla="*/ 5690606 w 6689088"/>
                <a:gd name="connsiteY3899" fmla="*/ 481085 h 6689084"/>
                <a:gd name="connsiteX3900" fmla="*/ 5746882 w 6689088"/>
                <a:gd name="connsiteY3900" fmla="*/ 537364 h 6689084"/>
                <a:gd name="connsiteX3901" fmla="*/ 5690606 w 6689088"/>
                <a:gd name="connsiteY3901" fmla="*/ 593643 h 6689084"/>
                <a:gd name="connsiteX3902" fmla="*/ 5634328 w 6689088"/>
                <a:gd name="connsiteY3902" fmla="*/ 537364 h 6689084"/>
                <a:gd name="connsiteX3903" fmla="*/ 5690606 w 6689088"/>
                <a:gd name="connsiteY3903" fmla="*/ 481085 h 6689084"/>
                <a:gd name="connsiteX3904" fmla="*/ 5844554 w 6689088"/>
                <a:gd name="connsiteY3904" fmla="*/ 478542 h 6689084"/>
                <a:gd name="connsiteX3905" fmla="*/ 5903372 w 6689088"/>
                <a:gd name="connsiteY3905" fmla="*/ 537364 h 6689084"/>
                <a:gd name="connsiteX3906" fmla="*/ 5844554 w 6689088"/>
                <a:gd name="connsiteY3906" fmla="*/ 596181 h 6689084"/>
                <a:gd name="connsiteX3907" fmla="*/ 5785732 w 6689088"/>
                <a:gd name="connsiteY3907" fmla="*/ 537364 h 6689084"/>
                <a:gd name="connsiteX3908" fmla="*/ 5844554 w 6689088"/>
                <a:gd name="connsiteY3908" fmla="*/ 478542 h 6689084"/>
                <a:gd name="connsiteX3909" fmla="*/ 5998136 w 6689088"/>
                <a:gd name="connsiteY3909" fmla="*/ 475638 h 6689084"/>
                <a:gd name="connsiteX3910" fmla="*/ 6059862 w 6689088"/>
                <a:gd name="connsiteY3910" fmla="*/ 537364 h 6689084"/>
                <a:gd name="connsiteX3911" fmla="*/ 5998136 w 6689088"/>
                <a:gd name="connsiteY3911" fmla="*/ 599086 h 6689084"/>
                <a:gd name="connsiteX3912" fmla="*/ 5936413 w 6689088"/>
                <a:gd name="connsiteY3912" fmla="*/ 537364 h 6689084"/>
                <a:gd name="connsiteX3913" fmla="*/ 5998136 w 6689088"/>
                <a:gd name="connsiteY3913" fmla="*/ 475638 h 6689084"/>
                <a:gd name="connsiteX3914" fmla="*/ 6152083 w 6689088"/>
                <a:gd name="connsiteY3914" fmla="*/ 473095 h 6689084"/>
                <a:gd name="connsiteX3915" fmla="*/ 6216348 w 6689088"/>
                <a:gd name="connsiteY3915" fmla="*/ 537360 h 6689084"/>
                <a:gd name="connsiteX3916" fmla="*/ 6152083 w 6689088"/>
                <a:gd name="connsiteY3916" fmla="*/ 601625 h 6689084"/>
                <a:gd name="connsiteX3917" fmla="*/ 6087818 w 6689088"/>
                <a:gd name="connsiteY3917" fmla="*/ 537360 h 6689084"/>
                <a:gd name="connsiteX3918" fmla="*/ 6152083 w 6689088"/>
                <a:gd name="connsiteY3918" fmla="*/ 473095 h 6689084"/>
                <a:gd name="connsiteX3919" fmla="*/ 6305672 w 6689088"/>
                <a:gd name="connsiteY3919" fmla="*/ 469828 h 6689084"/>
                <a:gd name="connsiteX3920" fmla="*/ 6373204 w 6689088"/>
                <a:gd name="connsiteY3920" fmla="*/ 537364 h 6689084"/>
                <a:gd name="connsiteX3921" fmla="*/ 6305672 w 6689088"/>
                <a:gd name="connsiteY3921" fmla="*/ 604895 h 6689084"/>
                <a:gd name="connsiteX3922" fmla="*/ 6238136 w 6689088"/>
                <a:gd name="connsiteY3922" fmla="*/ 537364 h 6689084"/>
                <a:gd name="connsiteX3923" fmla="*/ 6305672 w 6689088"/>
                <a:gd name="connsiteY3923" fmla="*/ 469828 h 6689084"/>
                <a:gd name="connsiteX3924" fmla="*/ 6459616 w 6689088"/>
                <a:gd name="connsiteY3924" fmla="*/ 467286 h 6689084"/>
                <a:gd name="connsiteX3925" fmla="*/ 6529694 w 6689088"/>
                <a:gd name="connsiteY3925" fmla="*/ 537360 h 6689084"/>
                <a:gd name="connsiteX3926" fmla="*/ 6459616 w 6689088"/>
                <a:gd name="connsiteY3926" fmla="*/ 607434 h 6689084"/>
                <a:gd name="connsiteX3927" fmla="*/ 6389542 w 6689088"/>
                <a:gd name="connsiteY3927" fmla="*/ 537360 h 6689084"/>
                <a:gd name="connsiteX3928" fmla="*/ 6459616 w 6689088"/>
                <a:gd name="connsiteY3928" fmla="*/ 467286 h 6689084"/>
                <a:gd name="connsiteX3929" fmla="*/ 6613200 w 6689088"/>
                <a:gd name="connsiteY3929" fmla="*/ 464381 h 6689084"/>
                <a:gd name="connsiteX3930" fmla="*/ 6686180 w 6689088"/>
                <a:gd name="connsiteY3930" fmla="*/ 537360 h 6689084"/>
                <a:gd name="connsiteX3931" fmla="*/ 6613200 w 6689088"/>
                <a:gd name="connsiteY3931" fmla="*/ 610339 h 6689084"/>
                <a:gd name="connsiteX3932" fmla="*/ 6540222 w 6689088"/>
                <a:gd name="connsiteY3932" fmla="*/ 537360 h 6689084"/>
                <a:gd name="connsiteX3933" fmla="*/ 6613200 w 6689088"/>
                <a:gd name="connsiteY3933" fmla="*/ 464381 h 6689084"/>
                <a:gd name="connsiteX3934" fmla="*/ 1077266 w 6689088"/>
                <a:gd name="connsiteY3934" fmla="*/ 383050 h 6689084"/>
                <a:gd name="connsiteX3935" fmla="*/ 1077628 w 6689088"/>
                <a:gd name="connsiteY3935" fmla="*/ 383412 h 6689084"/>
                <a:gd name="connsiteX3936" fmla="*/ 1077266 w 6689088"/>
                <a:gd name="connsiteY3936" fmla="*/ 383778 h 6689084"/>
                <a:gd name="connsiteX3937" fmla="*/ 1076904 w 6689088"/>
                <a:gd name="connsiteY3937" fmla="*/ 383412 h 6689084"/>
                <a:gd name="connsiteX3938" fmla="*/ 1077266 w 6689088"/>
                <a:gd name="connsiteY3938" fmla="*/ 383050 h 6689084"/>
                <a:gd name="connsiteX3939" fmla="*/ 616148 w 6689088"/>
                <a:gd name="connsiteY3939" fmla="*/ 383050 h 6689084"/>
                <a:gd name="connsiteX3940" fmla="*/ 616514 w 6689088"/>
                <a:gd name="connsiteY3940" fmla="*/ 383412 h 6689084"/>
                <a:gd name="connsiteX3941" fmla="*/ 616148 w 6689088"/>
                <a:gd name="connsiteY3941" fmla="*/ 383775 h 6689084"/>
                <a:gd name="connsiteX3942" fmla="*/ 615786 w 6689088"/>
                <a:gd name="connsiteY3942" fmla="*/ 383412 h 6689084"/>
                <a:gd name="connsiteX3943" fmla="*/ 616148 w 6689088"/>
                <a:gd name="connsiteY3943" fmla="*/ 383050 h 6689084"/>
                <a:gd name="connsiteX3944" fmla="*/ 462205 w 6689088"/>
                <a:gd name="connsiteY3944" fmla="*/ 383050 h 6689084"/>
                <a:gd name="connsiteX3945" fmla="*/ 462567 w 6689088"/>
                <a:gd name="connsiteY3945" fmla="*/ 383412 h 6689084"/>
                <a:gd name="connsiteX3946" fmla="*/ 462205 w 6689088"/>
                <a:gd name="connsiteY3946" fmla="*/ 383775 h 6689084"/>
                <a:gd name="connsiteX3947" fmla="*/ 461842 w 6689088"/>
                <a:gd name="connsiteY3947" fmla="*/ 383412 h 6689084"/>
                <a:gd name="connsiteX3948" fmla="*/ 462205 w 6689088"/>
                <a:gd name="connsiteY3948" fmla="*/ 383050 h 6689084"/>
                <a:gd name="connsiteX3949" fmla="*/ 308623 w 6689088"/>
                <a:gd name="connsiteY3949" fmla="*/ 382688 h 6689084"/>
                <a:gd name="connsiteX3950" fmla="*/ 309347 w 6689088"/>
                <a:gd name="connsiteY3950" fmla="*/ 383416 h 6689084"/>
                <a:gd name="connsiteX3951" fmla="*/ 308623 w 6689088"/>
                <a:gd name="connsiteY3951" fmla="*/ 384141 h 6689084"/>
                <a:gd name="connsiteX3952" fmla="*/ 307895 w 6689088"/>
                <a:gd name="connsiteY3952" fmla="*/ 383416 h 6689084"/>
                <a:gd name="connsiteX3953" fmla="*/ 308623 w 6689088"/>
                <a:gd name="connsiteY3953" fmla="*/ 382688 h 6689084"/>
                <a:gd name="connsiteX3954" fmla="*/ 1231213 w 6689088"/>
                <a:gd name="connsiteY3954" fmla="*/ 381964 h 6689084"/>
                <a:gd name="connsiteX3955" fmla="*/ 1232666 w 6689088"/>
                <a:gd name="connsiteY3955" fmla="*/ 383416 h 6689084"/>
                <a:gd name="connsiteX3956" fmla="*/ 1231213 w 6689088"/>
                <a:gd name="connsiteY3956" fmla="*/ 384869 h 6689084"/>
                <a:gd name="connsiteX3957" fmla="*/ 1229761 w 6689088"/>
                <a:gd name="connsiteY3957" fmla="*/ 383416 h 6689084"/>
                <a:gd name="connsiteX3958" fmla="*/ 1231213 w 6689088"/>
                <a:gd name="connsiteY3958" fmla="*/ 381964 h 6689084"/>
                <a:gd name="connsiteX3959" fmla="*/ 154672 w 6689088"/>
                <a:gd name="connsiteY3959" fmla="*/ 381964 h 6689084"/>
                <a:gd name="connsiteX3960" fmla="*/ 156124 w 6689088"/>
                <a:gd name="connsiteY3960" fmla="*/ 383416 h 6689084"/>
                <a:gd name="connsiteX3961" fmla="*/ 155343 w 6689088"/>
                <a:gd name="connsiteY3961" fmla="*/ 384197 h 6689084"/>
                <a:gd name="connsiteX3962" fmla="*/ 153884 w 6689088"/>
                <a:gd name="connsiteY3962" fmla="*/ 382752 h 6689084"/>
                <a:gd name="connsiteX3963" fmla="*/ 1384799 w 6689088"/>
                <a:gd name="connsiteY3963" fmla="*/ 381236 h 6689084"/>
                <a:gd name="connsiteX3964" fmla="*/ 1386979 w 6689088"/>
                <a:gd name="connsiteY3964" fmla="*/ 383416 h 6689084"/>
                <a:gd name="connsiteX3965" fmla="*/ 1384799 w 6689088"/>
                <a:gd name="connsiteY3965" fmla="*/ 385593 h 6689084"/>
                <a:gd name="connsiteX3966" fmla="*/ 1382622 w 6689088"/>
                <a:gd name="connsiteY3966" fmla="*/ 383416 h 6689084"/>
                <a:gd name="connsiteX3967" fmla="*/ 1384799 w 6689088"/>
                <a:gd name="connsiteY3967" fmla="*/ 381236 h 6689084"/>
                <a:gd name="connsiteX3968" fmla="*/ 1538746 w 6689088"/>
                <a:gd name="connsiteY3968" fmla="*/ 380508 h 6689084"/>
                <a:gd name="connsiteX3969" fmla="*/ 1542013 w 6689088"/>
                <a:gd name="connsiteY3969" fmla="*/ 383775 h 6689084"/>
                <a:gd name="connsiteX3970" fmla="*/ 1538746 w 6689088"/>
                <a:gd name="connsiteY3970" fmla="*/ 387045 h 6689084"/>
                <a:gd name="connsiteX3971" fmla="*/ 1535479 w 6689088"/>
                <a:gd name="connsiteY3971" fmla="*/ 383775 h 6689084"/>
                <a:gd name="connsiteX3972" fmla="*/ 1538746 w 6689088"/>
                <a:gd name="connsiteY3972" fmla="*/ 380508 h 6689084"/>
                <a:gd name="connsiteX3973" fmla="*/ 1692331 w 6689088"/>
                <a:gd name="connsiteY3973" fmla="*/ 379055 h 6689084"/>
                <a:gd name="connsiteX3974" fmla="*/ 1696688 w 6689088"/>
                <a:gd name="connsiteY3974" fmla="*/ 383412 h 6689084"/>
                <a:gd name="connsiteX3975" fmla="*/ 1692331 w 6689088"/>
                <a:gd name="connsiteY3975" fmla="*/ 387770 h 6689084"/>
                <a:gd name="connsiteX3976" fmla="*/ 1687974 w 6689088"/>
                <a:gd name="connsiteY3976" fmla="*/ 383412 h 6689084"/>
                <a:gd name="connsiteX3977" fmla="*/ 1692331 w 6689088"/>
                <a:gd name="connsiteY3977" fmla="*/ 379055 h 6689084"/>
                <a:gd name="connsiteX3978" fmla="*/ 1846279 w 6689088"/>
                <a:gd name="connsiteY3978" fmla="*/ 377607 h 6689084"/>
                <a:gd name="connsiteX3979" fmla="*/ 1852088 w 6689088"/>
                <a:gd name="connsiteY3979" fmla="*/ 383416 h 6689084"/>
                <a:gd name="connsiteX3980" fmla="*/ 1846279 w 6689088"/>
                <a:gd name="connsiteY3980" fmla="*/ 389226 h 6689084"/>
                <a:gd name="connsiteX3981" fmla="*/ 1840469 w 6689088"/>
                <a:gd name="connsiteY3981" fmla="*/ 383416 h 6689084"/>
                <a:gd name="connsiteX3982" fmla="*/ 1846279 w 6689088"/>
                <a:gd name="connsiteY3982" fmla="*/ 377607 h 6689084"/>
                <a:gd name="connsiteX3983" fmla="*/ 1999864 w 6689088"/>
                <a:gd name="connsiteY3983" fmla="*/ 376151 h 6689084"/>
                <a:gd name="connsiteX3984" fmla="*/ 2007126 w 6689088"/>
                <a:gd name="connsiteY3984" fmla="*/ 383412 h 6689084"/>
                <a:gd name="connsiteX3985" fmla="*/ 1999864 w 6689088"/>
                <a:gd name="connsiteY3985" fmla="*/ 390674 h 6689084"/>
                <a:gd name="connsiteX3986" fmla="*/ 1992602 w 6689088"/>
                <a:gd name="connsiteY3986" fmla="*/ 383412 h 6689084"/>
                <a:gd name="connsiteX3987" fmla="*/ 1999864 w 6689088"/>
                <a:gd name="connsiteY3987" fmla="*/ 376151 h 6689084"/>
                <a:gd name="connsiteX3988" fmla="*/ 2153808 w 6689088"/>
                <a:gd name="connsiteY3988" fmla="*/ 374336 h 6689084"/>
                <a:gd name="connsiteX3989" fmla="*/ 2162888 w 6689088"/>
                <a:gd name="connsiteY3989" fmla="*/ 383412 h 6689084"/>
                <a:gd name="connsiteX3990" fmla="*/ 2153808 w 6689088"/>
                <a:gd name="connsiteY3990" fmla="*/ 392492 h 6689084"/>
                <a:gd name="connsiteX3991" fmla="*/ 2144731 w 6689088"/>
                <a:gd name="connsiteY3991" fmla="*/ 383412 h 6689084"/>
                <a:gd name="connsiteX3992" fmla="*/ 2153808 w 6689088"/>
                <a:gd name="connsiteY3992" fmla="*/ 374336 h 6689084"/>
                <a:gd name="connsiteX3993" fmla="*/ 2307393 w 6689088"/>
                <a:gd name="connsiteY3993" fmla="*/ 373246 h 6689084"/>
                <a:gd name="connsiteX3994" fmla="*/ 2317559 w 6689088"/>
                <a:gd name="connsiteY3994" fmla="*/ 383412 h 6689084"/>
                <a:gd name="connsiteX3995" fmla="*/ 2307393 w 6689088"/>
                <a:gd name="connsiteY3995" fmla="*/ 393579 h 6689084"/>
                <a:gd name="connsiteX3996" fmla="*/ 2297226 w 6689088"/>
                <a:gd name="connsiteY3996" fmla="*/ 383412 h 6689084"/>
                <a:gd name="connsiteX3997" fmla="*/ 2307393 w 6689088"/>
                <a:gd name="connsiteY3997" fmla="*/ 373246 h 6689084"/>
                <a:gd name="connsiteX3998" fmla="*/ 2461340 w 6689088"/>
                <a:gd name="connsiteY3998" fmla="*/ 371432 h 6689084"/>
                <a:gd name="connsiteX3999" fmla="*/ 2473325 w 6689088"/>
                <a:gd name="connsiteY3999" fmla="*/ 383412 h 6689084"/>
                <a:gd name="connsiteX4000" fmla="*/ 2461340 w 6689088"/>
                <a:gd name="connsiteY4000" fmla="*/ 395397 h 6689084"/>
                <a:gd name="connsiteX4001" fmla="*/ 2449359 w 6689088"/>
                <a:gd name="connsiteY4001" fmla="*/ 383412 h 6689084"/>
                <a:gd name="connsiteX4002" fmla="*/ 2461340 w 6689088"/>
                <a:gd name="connsiteY4002" fmla="*/ 371432 h 6689084"/>
                <a:gd name="connsiteX4003" fmla="*/ 2614925 w 6689088"/>
                <a:gd name="connsiteY4003" fmla="*/ 369617 h 6689084"/>
                <a:gd name="connsiteX4004" fmla="*/ 2628721 w 6689088"/>
                <a:gd name="connsiteY4004" fmla="*/ 383416 h 6689084"/>
                <a:gd name="connsiteX4005" fmla="*/ 2614925 w 6689088"/>
                <a:gd name="connsiteY4005" fmla="*/ 397212 h 6689084"/>
                <a:gd name="connsiteX4006" fmla="*/ 2601126 w 6689088"/>
                <a:gd name="connsiteY4006" fmla="*/ 383416 h 6689084"/>
                <a:gd name="connsiteX4007" fmla="*/ 2614925 w 6689088"/>
                <a:gd name="connsiteY4007" fmla="*/ 369617 h 6689084"/>
                <a:gd name="connsiteX4008" fmla="*/ 2768873 w 6689088"/>
                <a:gd name="connsiteY4008" fmla="*/ 368165 h 6689084"/>
                <a:gd name="connsiteX4009" fmla="*/ 2784124 w 6689088"/>
                <a:gd name="connsiteY4009" fmla="*/ 383416 h 6689084"/>
                <a:gd name="connsiteX4010" fmla="*/ 2768873 w 6689088"/>
                <a:gd name="connsiteY4010" fmla="*/ 398664 h 6689084"/>
                <a:gd name="connsiteX4011" fmla="*/ 2753625 w 6689088"/>
                <a:gd name="connsiteY4011" fmla="*/ 383416 h 6689084"/>
                <a:gd name="connsiteX4012" fmla="*/ 2768873 w 6689088"/>
                <a:gd name="connsiteY4012" fmla="*/ 368165 h 6689084"/>
                <a:gd name="connsiteX4013" fmla="*/ 2922458 w 6689088"/>
                <a:gd name="connsiteY4013" fmla="*/ 366350 h 6689084"/>
                <a:gd name="connsiteX4014" fmla="*/ 2939524 w 6689088"/>
                <a:gd name="connsiteY4014" fmla="*/ 383416 h 6689084"/>
                <a:gd name="connsiteX4015" fmla="*/ 2922458 w 6689088"/>
                <a:gd name="connsiteY4015" fmla="*/ 400478 h 6689084"/>
                <a:gd name="connsiteX4016" fmla="*/ 2905392 w 6689088"/>
                <a:gd name="connsiteY4016" fmla="*/ 383416 h 6689084"/>
                <a:gd name="connsiteX4017" fmla="*/ 2922458 w 6689088"/>
                <a:gd name="connsiteY4017" fmla="*/ 366350 h 6689084"/>
                <a:gd name="connsiteX4018" fmla="*/ 3076406 w 6689088"/>
                <a:gd name="connsiteY4018" fmla="*/ 364170 h 6689084"/>
                <a:gd name="connsiteX4019" fmla="*/ 3095652 w 6689088"/>
                <a:gd name="connsiteY4019" fmla="*/ 383412 h 6689084"/>
                <a:gd name="connsiteX4020" fmla="*/ 3076406 w 6689088"/>
                <a:gd name="connsiteY4020" fmla="*/ 402659 h 6689084"/>
                <a:gd name="connsiteX4021" fmla="*/ 3057163 w 6689088"/>
                <a:gd name="connsiteY4021" fmla="*/ 383412 h 6689084"/>
                <a:gd name="connsiteX4022" fmla="*/ 3076406 w 6689088"/>
                <a:gd name="connsiteY4022" fmla="*/ 364170 h 6689084"/>
                <a:gd name="connsiteX4023" fmla="*/ 3230353 w 6689088"/>
                <a:gd name="connsiteY4023" fmla="*/ 361993 h 6689084"/>
                <a:gd name="connsiteX4024" fmla="*/ 3251776 w 6689088"/>
                <a:gd name="connsiteY4024" fmla="*/ 383416 h 6689084"/>
                <a:gd name="connsiteX4025" fmla="*/ 3230353 w 6689088"/>
                <a:gd name="connsiteY4025" fmla="*/ 404839 h 6689084"/>
                <a:gd name="connsiteX4026" fmla="*/ 3208930 w 6689088"/>
                <a:gd name="connsiteY4026" fmla="*/ 383416 h 6689084"/>
                <a:gd name="connsiteX4027" fmla="*/ 3230353 w 6689088"/>
                <a:gd name="connsiteY4027" fmla="*/ 361993 h 6689084"/>
                <a:gd name="connsiteX4028" fmla="*/ 3383938 w 6689088"/>
                <a:gd name="connsiteY4028" fmla="*/ 360541 h 6689084"/>
                <a:gd name="connsiteX4029" fmla="*/ 3406810 w 6689088"/>
                <a:gd name="connsiteY4029" fmla="*/ 383416 h 6689084"/>
                <a:gd name="connsiteX4030" fmla="*/ 3383938 w 6689088"/>
                <a:gd name="connsiteY4030" fmla="*/ 406292 h 6689084"/>
                <a:gd name="connsiteX4031" fmla="*/ 3361063 w 6689088"/>
                <a:gd name="connsiteY4031" fmla="*/ 383416 h 6689084"/>
                <a:gd name="connsiteX4032" fmla="*/ 3383938 w 6689088"/>
                <a:gd name="connsiteY4032" fmla="*/ 360541 h 6689084"/>
                <a:gd name="connsiteX4033" fmla="*/ 3537882 w 6689088"/>
                <a:gd name="connsiteY4033" fmla="*/ 358361 h 6689084"/>
                <a:gd name="connsiteX4034" fmla="*/ 3562937 w 6689088"/>
                <a:gd name="connsiteY4034" fmla="*/ 383412 h 6689084"/>
                <a:gd name="connsiteX4035" fmla="*/ 3537882 w 6689088"/>
                <a:gd name="connsiteY4035" fmla="*/ 408468 h 6689084"/>
                <a:gd name="connsiteX4036" fmla="*/ 3512830 w 6689088"/>
                <a:gd name="connsiteY4036" fmla="*/ 383412 h 6689084"/>
                <a:gd name="connsiteX4037" fmla="*/ 3537882 w 6689088"/>
                <a:gd name="connsiteY4037" fmla="*/ 358361 h 6689084"/>
                <a:gd name="connsiteX4038" fmla="*/ 3691471 w 6689088"/>
                <a:gd name="connsiteY4038" fmla="*/ 356184 h 6689084"/>
                <a:gd name="connsiteX4039" fmla="*/ 3718699 w 6689088"/>
                <a:gd name="connsiteY4039" fmla="*/ 383416 h 6689084"/>
                <a:gd name="connsiteX4040" fmla="*/ 3691471 w 6689088"/>
                <a:gd name="connsiteY4040" fmla="*/ 410648 h 6689084"/>
                <a:gd name="connsiteX4041" fmla="*/ 3664238 w 6689088"/>
                <a:gd name="connsiteY4041" fmla="*/ 383416 h 6689084"/>
                <a:gd name="connsiteX4042" fmla="*/ 3691471 w 6689088"/>
                <a:gd name="connsiteY4042" fmla="*/ 356184 h 6689084"/>
                <a:gd name="connsiteX4043" fmla="*/ 3845418 w 6689088"/>
                <a:gd name="connsiteY4043" fmla="*/ 353642 h 6689084"/>
                <a:gd name="connsiteX4044" fmla="*/ 3875189 w 6689088"/>
                <a:gd name="connsiteY4044" fmla="*/ 383416 h 6689084"/>
                <a:gd name="connsiteX4045" fmla="*/ 3845418 w 6689088"/>
                <a:gd name="connsiteY4045" fmla="*/ 413187 h 6689084"/>
                <a:gd name="connsiteX4046" fmla="*/ 3815644 w 6689088"/>
                <a:gd name="connsiteY4046" fmla="*/ 383416 h 6689084"/>
                <a:gd name="connsiteX4047" fmla="*/ 3845418 w 6689088"/>
                <a:gd name="connsiteY4047" fmla="*/ 353642 h 6689084"/>
                <a:gd name="connsiteX4048" fmla="*/ 3999000 w 6689088"/>
                <a:gd name="connsiteY4048" fmla="*/ 351465 h 6689084"/>
                <a:gd name="connsiteX4049" fmla="*/ 4030951 w 6689088"/>
                <a:gd name="connsiteY4049" fmla="*/ 383416 h 6689084"/>
                <a:gd name="connsiteX4050" fmla="*/ 3999000 w 6689088"/>
                <a:gd name="connsiteY4050" fmla="*/ 415368 h 6689084"/>
                <a:gd name="connsiteX4051" fmla="*/ 3967048 w 6689088"/>
                <a:gd name="connsiteY4051" fmla="*/ 383416 h 6689084"/>
                <a:gd name="connsiteX4052" fmla="*/ 3999000 w 6689088"/>
                <a:gd name="connsiteY4052" fmla="*/ 351465 h 6689084"/>
                <a:gd name="connsiteX4053" fmla="*/ 4152947 w 6689088"/>
                <a:gd name="connsiteY4053" fmla="*/ 349647 h 6689084"/>
                <a:gd name="connsiteX4054" fmla="*/ 4186716 w 6689088"/>
                <a:gd name="connsiteY4054" fmla="*/ 383412 h 6689084"/>
                <a:gd name="connsiteX4055" fmla="*/ 4152947 w 6689088"/>
                <a:gd name="connsiteY4055" fmla="*/ 417182 h 6689084"/>
                <a:gd name="connsiteX4056" fmla="*/ 4119181 w 6689088"/>
                <a:gd name="connsiteY4056" fmla="*/ 383412 h 6689084"/>
                <a:gd name="connsiteX4057" fmla="*/ 4152947 w 6689088"/>
                <a:gd name="connsiteY4057" fmla="*/ 349647 h 6689084"/>
                <a:gd name="connsiteX4058" fmla="*/ 4306532 w 6689088"/>
                <a:gd name="connsiteY4058" fmla="*/ 347108 h 6689084"/>
                <a:gd name="connsiteX4059" fmla="*/ 4342840 w 6689088"/>
                <a:gd name="connsiteY4059" fmla="*/ 383416 h 6689084"/>
                <a:gd name="connsiteX4060" fmla="*/ 4306532 w 6689088"/>
                <a:gd name="connsiteY4060" fmla="*/ 419725 h 6689084"/>
                <a:gd name="connsiteX4061" fmla="*/ 4270224 w 6689088"/>
                <a:gd name="connsiteY4061" fmla="*/ 383416 h 6689084"/>
                <a:gd name="connsiteX4062" fmla="*/ 4306532 w 6689088"/>
                <a:gd name="connsiteY4062" fmla="*/ 347108 h 6689084"/>
                <a:gd name="connsiteX4063" fmla="*/ 4460480 w 6689088"/>
                <a:gd name="connsiteY4063" fmla="*/ 344565 h 6689084"/>
                <a:gd name="connsiteX4064" fmla="*/ 4499326 w 6689088"/>
                <a:gd name="connsiteY4064" fmla="*/ 383416 h 6689084"/>
                <a:gd name="connsiteX4065" fmla="*/ 4460480 w 6689088"/>
                <a:gd name="connsiteY4065" fmla="*/ 422267 h 6689084"/>
                <a:gd name="connsiteX4066" fmla="*/ 4421629 w 6689088"/>
                <a:gd name="connsiteY4066" fmla="*/ 383416 h 6689084"/>
                <a:gd name="connsiteX4067" fmla="*/ 4460480 w 6689088"/>
                <a:gd name="connsiteY4067" fmla="*/ 344565 h 6689084"/>
                <a:gd name="connsiteX4068" fmla="*/ 4614061 w 6689088"/>
                <a:gd name="connsiteY4068" fmla="*/ 342385 h 6689084"/>
                <a:gd name="connsiteX4069" fmla="*/ 4655092 w 6689088"/>
                <a:gd name="connsiteY4069" fmla="*/ 383412 h 6689084"/>
                <a:gd name="connsiteX4070" fmla="*/ 4614061 w 6689088"/>
                <a:gd name="connsiteY4070" fmla="*/ 424440 h 6689084"/>
                <a:gd name="connsiteX4071" fmla="*/ 4573034 w 6689088"/>
                <a:gd name="connsiteY4071" fmla="*/ 383412 h 6689084"/>
                <a:gd name="connsiteX4072" fmla="*/ 4614061 w 6689088"/>
                <a:gd name="connsiteY4072" fmla="*/ 342385 h 6689084"/>
                <a:gd name="connsiteX4073" fmla="*/ 4768008 w 6689088"/>
                <a:gd name="connsiteY4073" fmla="*/ 339842 h 6689084"/>
                <a:gd name="connsiteX4074" fmla="*/ 4811578 w 6689088"/>
                <a:gd name="connsiteY4074" fmla="*/ 383412 h 6689084"/>
                <a:gd name="connsiteX4075" fmla="*/ 4768008 w 6689088"/>
                <a:gd name="connsiteY4075" fmla="*/ 426982 h 6689084"/>
                <a:gd name="connsiteX4076" fmla="*/ 4724438 w 6689088"/>
                <a:gd name="connsiteY4076" fmla="*/ 383412 h 6689084"/>
                <a:gd name="connsiteX4077" fmla="*/ 4768008 w 6689088"/>
                <a:gd name="connsiteY4077" fmla="*/ 339842 h 6689084"/>
                <a:gd name="connsiteX4078" fmla="*/ 4921598 w 6689088"/>
                <a:gd name="connsiteY4078" fmla="*/ 337304 h 6689084"/>
                <a:gd name="connsiteX4079" fmla="*/ 4967710 w 6689088"/>
                <a:gd name="connsiteY4079" fmla="*/ 383416 h 6689084"/>
                <a:gd name="connsiteX4080" fmla="*/ 4921598 w 6689088"/>
                <a:gd name="connsiteY4080" fmla="*/ 429529 h 6689084"/>
                <a:gd name="connsiteX4081" fmla="*/ 4875485 w 6689088"/>
                <a:gd name="connsiteY4081" fmla="*/ 383416 h 6689084"/>
                <a:gd name="connsiteX4082" fmla="*/ 4921598 w 6689088"/>
                <a:gd name="connsiteY4082" fmla="*/ 337304 h 6689084"/>
                <a:gd name="connsiteX4083" fmla="*/ 5075545 w 6689088"/>
                <a:gd name="connsiteY4083" fmla="*/ 334761 h 6689084"/>
                <a:gd name="connsiteX4084" fmla="*/ 5124196 w 6689088"/>
                <a:gd name="connsiteY4084" fmla="*/ 383416 h 6689084"/>
                <a:gd name="connsiteX4085" fmla="*/ 5075545 w 6689088"/>
                <a:gd name="connsiteY4085" fmla="*/ 432068 h 6689084"/>
                <a:gd name="connsiteX4086" fmla="*/ 5026890 w 6689088"/>
                <a:gd name="connsiteY4086" fmla="*/ 383416 h 6689084"/>
                <a:gd name="connsiteX4087" fmla="*/ 5075545 w 6689088"/>
                <a:gd name="connsiteY4087" fmla="*/ 334761 h 6689084"/>
                <a:gd name="connsiteX4088" fmla="*/ 5229126 w 6689088"/>
                <a:gd name="connsiteY4088" fmla="*/ 332219 h 6689084"/>
                <a:gd name="connsiteX4089" fmla="*/ 5280324 w 6689088"/>
                <a:gd name="connsiteY4089" fmla="*/ 383412 h 6689084"/>
                <a:gd name="connsiteX4090" fmla="*/ 5229126 w 6689088"/>
                <a:gd name="connsiteY4090" fmla="*/ 434610 h 6689084"/>
                <a:gd name="connsiteX4091" fmla="*/ 5177932 w 6689088"/>
                <a:gd name="connsiteY4091" fmla="*/ 383412 h 6689084"/>
                <a:gd name="connsiteX4092" fmla="*/ 5229126 w 6689088"/>
                <a:gd name="connsiteY4092" fmla="*/ 332219 h 6689084"/>
                <a:gd name="connsiteX4093" fmla="*/ 5383074 w 6689088"/>
                <a:gd name="connsiteY4093" fmla="*/ 330042 h 6689084"/>
                <a:gd name="connsiteX4094" fmla="*/ 5436448 w 6689088"/>
                <a:gd name="connsiteY4094" fmla="*/ 383416 h 6689084"/>
                <a:gd name="connsiteX4095" fmla="*/ 5383074 w 6689088"/>
                <a:gd name="connsiteY4095" fmla="*/ 436787 h 6689084"/>
                <a:gd name="connsiteX4096" fmla="*/ 5329700 w 6689088"/>
                <a:gd name="connsiteY4096" fmla="*/ 383416 h 6689084"/>
                <a:gd name="connsiteX4097" fmla="*/ 5383074 w 6689088"/>
                <a:gd name="connsiteY4097" fmla="*/ 330042 h 6689084"/>
                <a:gd name="connsiteX4098" fmla="*/ 5536659 w 6689088"/>
                <a:gd name="connsiteY4098" fmla="*/ 327137 h 6689084"/>
                <a:gd name="connsiteX4099" fmla="*/ 5592938 w 6689088"/>
                <a:gd name="connsiteY4099" fmla="*/ 383416 h 6689084"/>
                <a:gd name="connsiteX4100" fmla="*/ 5536659 w 6689088"/>
                <a:gd name="connsiteY4100" fmla="*/ 439691 h 6689084"/>
                <a:gd name="connsiteX4101" fmla="*/ 5480380 w 6689088"/>
                <a:gd name="connsiteY4101" fmla="*/ 383416 h 6689084"/>
                <a:gd name="connsiteX4102" fmla="*/ 5536659 w 6689088"/>
                <a:gd name="connsiteY4102" fmla="*/ 327137 h 6689084"/>
                <a:gd name="connsiteX4103" fmla="*/ 5690606 w 6689088"/>
                <a:gd name="connsiteY4103" fmla="*/ 324595 h 6689084"/>
                <a:gd name="connsiteX4104" fmla="*/ 5749424 w 6689088"/>
                <a:gd name="connsiteY4104" fmla="*/ 383416 h 6689084"/>
                <a:gd name="connsiteX4105" fmla="*/ 5690606 w 6689088"/>
                <a:gd name="connsiteY4105" fmla="*/ 442234 h 6689084"/>
                <a:gd name="connsiteX4106" fmla="*/ 5631785 w 6689088"/>
                <a:gd name="connsiteY4106" fmla="*/ 383416 h 6689084"/>
                <a:gd name="connsiteX4107" fmla="*/ 5690606 w 6689088"/>
                <a:gd name="connsiteY4107" fmla="*/ 324595 h 6689084"/>
                <a:gd name="connsiteX4108" fmla="*/ 5844554 w 6689088"/>
                <a:gd name="connsiteY4108" fmla="*/ 321690 h 6689084"/>
                <a:gd name="connsiteX4109" fmla="*/ 5906276 w 6689088"/>
                <a:gd name="connsiteY4109" fmla="*/ 383416 h 6689084"/>
                <a:gd name="connsiteX4110" fmla="*/ 5844554 w 6689088"/>
                <a:gd name="connsiteY4110" fmla="*/ 445139 h 6689084"/>
                <a:gd name="connsiteX4111" fmla="*/ 5782828 w 6689088"/>
                <a:gd name="connsiteY4111" fmla="*/ 383416 h 6689084"/>
                <a:gd name="connsiteX4112" fmla="*/ 5844554 w 6689088"/>
                <a:gd name="connsiteY4112" fmla="*/ 321690 h 6689084"/>
                <a:gd name="connsiteX4113" fmla="*/ 5998136 w 6689088"/>
                <a:gd name="connsiteY4113" fmla="*/ 319148 h 6689084"/>
                <a:gd name="connsiteX4114" fmla="*/ 6062404 w 6689088"/>
                <a:gd name="connsiteY4114" fmla="*/ 383412 h 6689084"/>
                <a:gd name="connsiteX4115" fmla="*/ 5998136 w 6689088"/>
                <a:gd name="connsiteY4115" fmla="*/ 447681 h 6689084"/>
                <a:gd name="connsiteX4116" fmla="*/ 5933870 w 6689088"/>
                <a:gd name="connsiteY4116" fmla="*/ 383412 h 6689084"/>
                <a:gd name="connsiteX4117" fmla="*/ 5998136 w 6689088"/>
                <a:gd name="connsiteY4117" fmla="*/ 319148 h 6689084"/>
                <a:gd name="connsiteX4118" fmla="*/ 6152086 w 6689088"/>
                <a:gd name="connsiteY4118" fmla="*/ 315881 h 6689084"/>
                <a:gd name="connsiteX4119" fmla="*/ 6219618 w 6689088"/>
                <a:gd name="connsiteY4119" fmla="*/ 383416 h 6689084"/>
                <a:gd name="connsiteX4120" fmla="*/ 6152086 w 6689088"/>
                <a:gd name="connsiteY4120" fmla="*/ 450948 h 6689084"/>
                <a:gd name="connsiteX4121" fmla="*/ 6084551 w 6689088"/>
                <a:gd name="connsiteY4121" fmla="*/ 383416 h 6689084"/>
                <a:gd name="connsiteX4122" fmla="*/ 6152086 w 6689088"/>
                <a:gd name="connsiteY4122" fmla="*/ 315881 h 6689084"/>
                <a:gd name="connsiteX4123" fmla="*/ 6305668 w 6689088"/>
                <a:gd name="connsiteY4123" fmla="*/ 313338 h 6689084"/>
                <a:gd name="connsiteX4124" fmla="*/ 6375746 w 6689088"/>
                <a:gd name="connsiteY4124" fmla="*/ 383412 h 6689084"/>
                <a:gd name="connsiteX4125" fmla="*/ 6305668 w 6689088"/>
                <a:gd name="connsiteY4125" fmla="*/ 453490 h 6689084"/>
                <a:gd name="connsiteX4126" fmla="*/ 6235594 w 6689088"/>
                <a:gd name="connsiteY4126" fmla="*/ 383412 h 6689084"/>
                <a:gd name="connsiteX4127" fmla="*/ 6305668 w 6689088"/>
                <a:gd name="connsiteY4127" fmla="*/ 313338 h 6689084"/>
                <a:gd name="connsiteX4128" fmla="*/ 6459616 w 6689088"/>
                <a:gd name="connsiteY4128" fmla="*/ 310434 h 6689084"/>
                <a:gd name="connsiteX4129" fmla="*/ 6532598 w 6689088"/>
                <a:gd name="connsiteY4129" fmla="*/ 383412 h 6689084"/>
                <a:gd name="connsiteX4130" fmla="*/ 6459616 w 6689088"/>
                <a:gd name="connsiteY4130" fmla="*/ 456395 h 6689084"/>
                <a:gd name="connsiteX4131" fmla="*/ 6386636 w 6689088"/>
                <a:gd name="connsiteY4131" fmla="*/ 383412 h 6689084"/>
                <a:gd name="connsiteX4132" fmla="*/ 6459616 w 6689088"/>
                <a:gd name="connsiteY4132" fmla="*/ 310434 h 6689084"/>
                <a:gd name="connsiteX4133" fmla="*/ 6613200 w 6689088"/>
                <a:gd name="connsiteY4133" fmla="*/ 307891 h 6689084"/>
                <a:gd name="connsiteX4134" fmla="*/ 6688722 w 6689088"/>
                <a:gd name="connsiteY4134" fmla="*/ 383412 h 6689084"/>
                <a:gd name="connsiteX4135" fmla="*/ 6613200 w 6689088"/>
                <a:gd name="connsiteY4135" fmla="*/ 458934 h 6689084"/>
                <a:gd name="connsiteX4136" fmla="*/ 6537680 w 6689088"/>
                <a:gd name="connsiteY4136" fmla="*/ 383412 h 6689084"/>
                <a:gd name="connsiteX4137" fmla="*/ 6613200 w 6689088"/>
                <a:gd name="connsiteY4137" fmla="*/ 307891 h 6689084"/>
                <a:gd name="connsiteX4138" fmla="*/ 923681 w 6689088"/>
                <a:gd name="connsiteY4138" fmla="*/ 229469 h 6689084"/>
                <a:gd name="connsiteX4139" fmla="*/ 924043 w 6689088"/>
                <a:gd name="connsiteY4139" fmla="*/ 229831 h 6689084"/>
                <a:gd name="connsiteX4140" fmla="*/ 923681 w 6689088"/>
                <a:gd name="connsiteY4140" fmla="*/ 230193 h 6689084"/>
                <a:gd name="connsiteX4141" fmla="*/ 923319 w 6689088"/>
                <a:gd name="connsiteY4141" fmla="*/ 229831 h 6689084"/>
                <a:gd name="connsiteX4142" fmla="*/ 923681 w 6689088"/>
                <a:gd name="connsiteY4142" fmla="*/ 229469 h 6689084"/>
                <a:gd name="connsiteX4143" fmla="*/ 462205 w 6689088"/>
                <a:gd name="connsiteY4143" fmla="*/ 229469 h 6689084"/>
                <a:gd name="connsiteX4144" fmla="*/ 462567 w 6689088"/>
                <a:gd name="connsiteY4144" fmla="*/ 229831 h 6689084"/>
                <a:gd name="connsiteX4145" fmla="*/ 462205 w 6689088"/>
                <a:gd name="connsiteY4145" fmla="*/ 230193 h 6689084"/>
                <a:gd name="connsiteX4146" fmla="*/ 461842 w 6689088"/>
                <a:gd name="connsiteY4146" fmla="*/ 229831 h 6689084"/>
                <a:gd name="connsiteX4147" fmla="*/ 462205 w 6689088"/>
                <a:gd name="connsiteY4147" fmla="*/ 229469 h 6689084"/>
                <a:gd name="connsiteX4148" fmla="*/ 308257 w 6689088"/>
                <a:gd name="connsiteY4148" fmla="*/ 229469 h 6689084"/>
                <a:gd name="connsiteX4149" fmla="*/ 308619 w 6689088"/>
                <a:gd name="connsiteY4149" fmla="*/ 229831 h 6689084"/>
                <a:gd name="connsiteX4150" fmla="*/ 308257 w 6689088"/>
                <a:gd name="connsiteY4150" fmla="*/ 230193 h 6689084"/>
                <a:gd name="connsiteX4151" fmla="*/ 307895 w 6689088"/>
                <a:gd name="connsiteY4151" fmla="*/ 229831 h 6689084"/>
                <a:gd name="connsiteX4152" fmla="*/ 308257 w 6689088"/>
                <a:gd name="connsiteY4152" fmla="*/ 229469 h 6689084"/>
                <a:gd name="connsiteX4153" fmla="*/ 154676 w 6689088"/>
                <a:gd name="connsiteY4153" fmla="*/ 229103 h 6689084"/>
                <a:gd name="connsiteX4154" fmla="*/ 155400 w 6689088"/>
                <a:gd name="connsiteY4154" fmla="*/ 229827 h 6689084"/>
                <a:gd name="connsiteX4155" fmla="*/ 154676 w 6689088"/>
                <a:gd name="connsiteY4155" fmla="*/ 230555 h 6689084"/>
                <a:gd name="connsiteX4156" fmla="*/ 153948 w 6689088"/>
                <a:gd name="connsiteY4156" fmla="*/ 229827 h 6689084"/>
                <a:gd name="connsiteX4157" fmla="*/ 154676 w 6689088"/>
                <a:gd name="connsiteY4157" fmla="*/ 229103 h 6689084"/>
                <a:gd name="connsiteX4158" fmla="*/ 725 w 6689088"/>
                <a:gd name="connsiteY4158" fmla="*/ 229103 h 6689084"/>
                <a:gd name="connsiteX4159" fmla="*/ 1453 w 6689088"/>
                <a:gd name="connsiteY4159" fmla="*/ 229827 h 6689084"/>
                <a:gd name="connsiteX4160" fmla="*/ 725 w 6689088"/>
                <a:gd name="connsiteY4160" fmla="*/ 230555 h 6689084"/>
                <a:gd name="connsiteX4161" fmla="*/ 0 w 6689088"/>
                <a:gd name="connsiteY4161" fmla="*/ 229827 h 6689084"/>
                <a:gd name="connsiteX4162" fmla="*/ 725 w 6689088"/>
                <a:gd name="connsiteY4162" fmla="*/ 229103 h 6689084"/>
                <a:gd name="connsiteX4163" fmla="*/ 1077266 w 6689088"/>
                <a:gd name="connsiteY4163" fmla="*/ 228379 h 6689084"/>
                <a:gd name="connsiteX4164" fmla="*/ 1078718 w 6689088"/>
                <a:gd name="connsiteY4164" fmla="*/ 229831 h 6689084"/>
                <a:gd name="connsiteX4165" fmla="*/ 1077266 w 6689088"/>
                <a:gd name="connsiteY4165" fmla="*/ 231283 h 6689084"/>
                <a:gd name="connsiteX4166" fmla="*/ 1075814 w 6689088"/>
                <a:gd name="connsiteY4166" fmla="*/ 229831 h 6689084"/>
                <a:gd name="connsiteX4167" fmla="*/ 1077266 w 6689088"/>
                <a:gd name="connsiteY4167" fmla="*/ 228379 h 6689084"/>
                <a:gd name="connsiteX4168" fmla="*/ 1231217 w 6689088"/>
                <a:gd name="connsiteY4168" fmla="*/ 227651 h 6689084"/>
                <a:gd name="connsiteX4169" fmla="*/ 1233394 w 6689088"/>
                <a:gd name="connsiteY4169" fmla="*/ 229827 h 6689084"/>
                <a:gd name="connsiteX4170" fmla="*/ 1231217 w 6689088"/>
                <a:gd name="connsiteY4170" fmla="*/ 232008 h 6689084"/>
                <a:gd name="connsiteX4171" fmla="*/ 1229037 w 6689088"/>
                <a:gd name="connsiteY4171" fmla="*/ 229827 h 6689084"/>
                <a:gd name="connsiteX4172" fmla="*/ 1231217 w 6689088"/>
                <a:gd name="connsiteY4172" fmla="*/ 227651 h 6689084"/>
                <a:gd name="connsiteX4173" fmla="*/ 1384799 w 6689088"/>
                <a:gd name="connsiteY4173" fmla="*/ 226560 h 6689084"/>
                <a:gd name="connsiteX4174" fmla="*/ 1388069 w 6689088"/>
                <a:gd name="connsiteY4174" fmla="*/ 229827 h 6689084"/>
                <a:gd name="connsiteX4175" fmla="*/ 1384799 w 6689088"/>
                <a:gd name="connsiteY4175" fmla="*/ 233098 h 6689084"/>
                <a:gd name="connsiteX4176" fmla="*/ 1381532 w 6689088"/>
                <a:gd name="connsiteY4176" fmla="*/ 229827 h 6689084"/>
                <a:gd name="connsiteX4177" fmla="*/ 1384799 w 6689088"/>
                <a:gd name="connsiteY4177" fmla="*/ 226560 h 6689084"/>
                <a:gd name="connsiteX4178" fmla="*/ 1538746 w 6689088"/>
                <a:gd name="connsiteY4178" fmla="*/ 225108 h 6689084"/>
                <a:gd name="connsiteX4179" fmla="*/ 1543103 w 6689088"/>
                <a:gd name="connsiteY4179" fmla="*/ 229465 h 6689084"/>
                <a:gd name="connsiteX4180" fmla="*/ 1538746 w 6689088"/>
                <a:gd name="connsiteY4180" fmla="*/ 233822 h 6689084"/>
                <a:gd name="connsiteX4181" fmla="*/ 1534389 w 6689088"/>
                <a:gd name="connsiteY4181" fmla="*/ 229465 h 6689084"/>
                <a:gd name="connsiteX4182" fmla="*/ 1538746 w 6689088"/>
                <a:gd name="connsiteY4182" fmla="*/ 225108 h 6689084"/>
                <a:gd name="connsiteX4183" fmla="*/ 1692331 w 6689088"/>
                <a:gd name="connsiteY4183" fmla="*/ 224022 h 6689084"/>
                <a:gd name="connsiteX4184" fmla="*/ 1698141 w 6689088"/>
                <a:gd name="connsiteY4184" fmla="*/ 229831 h 6689084"/>
                <a:gd name="connsiteX4185" fmla="*/ 1692331 w 6689088"/>
                <a:gd name="connsiteY4185" fmla="*/ 235640 h 6689084"/>
                <a:gd name="connsiteX4186" fmla="*/ 1686522 w 6689088"/>
                <a:gd name="connsiteY4186" fmla="*/ 229831 h 6689084"/>
                <a:gd name="connsiteX4187" fmla="*/ 1692331 w 6689088"/>
                <a:gd name="connsiteY4187" fmla="*/ 224022 h 6689084"/>
                <a:gd name="connsiteX4188" fmla="*/ 1846279 w 6689088"/>
                <a:gd name="connsiteY4188" fmla="*/ 222569 h 6689084"/>
                <a:gd name="connsiteX4189" fmla="*/ 1853540 w 6689088"/>
                <a:gd name="connsiteY4189" fmla="*/ 229831 h 6689084"/>
                <a:gd name="connsiteX4190" fmla="*/ 1846279 w 6689088"/>
                <a:gd name="connsiteY4190" fmla="*/ 237093 h 6689084"/>
                <a:gd name="connsiteX4191" fmla="*/ 1839017 w 6689088"/>
                <a:gd name="connsiteY4191" fmla="*/ 229831 h 6689084"/>
                <a:gd name="connsiteX4192" fmla="*/ 1846279 w 6689088"/>
                <a:gd name="connsiteY4192" fmla="*/ 222569 h 6689084"/>
                <a:gd name="connsiteX4193" fmla="*/ 1999860 w 6689088"/>
                <a:gd name="connsiteY4193" fmla="*/ 220389 h 6689084"/>
                <a:gd name="connsiteX4194" fmla="*/ 2008940 w 6689088"/>
                <a:gd name="connsiteY4194" fmla="*/ 229465 h 6689084"/>
                <a:gd name="connsiteX4195" fmla="*/ 1999860 w 6689088"/>
                <a:gd name="connsiteY4195" fmla="*/ 238545 h 6689084"/>
                <a:gd name="connsiteX4196" fmla="*/ 1990784 w 6689088"/>
                <a:gd name="connsiteY4196" fmla="*/ 229465 h 6689084"/>
                <a:gd name="connsiteX4197" fmla="*/ 1999860 w 6689088"/>
                <a:gd name="connsiteY4197" fmla="*/ 220389 h 6689084"/>
                <a:gd name="connsiteX4198" fmla="*/ 2153811 w 6689088"/>
                <a:gd name="connsiteY4198" fmla="*/ 219665 h 6689084"/>
                <a:gd name="connsiteX4199" fmla="*/ 2163978 w 6689088"/>
                <a:gd name="connsiteY4199" fmla="*/ 229831 h 6689084"/>
                <a:gd name="connsiteX4200" fmla="*/ 2153811 w 6689088"/>
                <a:gd name="connsiteY4200" fmla="*/ 239997 h 6689084"/>
                <a:gd name="connsiteX4201" fmla="*/ 2143645 w 6689088"/>
                <a:gd name="connsiteY4201" fmla="*/ 229831 h 6689084"/>
                <a:gd name="connsiteX4202" fmla="*/ 2153811 w 6689088"/>
                <a:gd name="connsiteY4202" fmla="*/ 219665 h 6689084"/>
                <a:gd name="connsiteX4203" fmla="*/ 2307393 w 6689088"/>
                <a:gd name="connsiteY4203" fmla="*/ 217484 h 6689084"/>
                <a:gd name="connsiteX4204" fmla="*/ 2319377 w 6689088"/>
                <a:gd name="connsiteY4204" fmla="*/ 229465 h 6689084"/>
                <a:gd name="connsiteX4205" fmla="*/ 2307393 w 6689088"/>
                <a:gd name="connsiteY4205" fmla="*/ 241450 h 6689084"/>
                <a:gd name="connsiteX4206" fmla="*/ 2295412 w 6689088"/>
                <a:gd name="connsiteY4206" fmla="*/ 229465 h 6689084"/>
                <a:gd name="connsiteX4207" fmla="*/ 2307393 w 6689088"/>
                <a:gd name="connsiteY4207" fmla="*/ 217484 h 6689084"/>
                <a:gd name="connsiteX4208" fmla="*/ 2461344 w 6689088"/>
                <a:gd name="connsiteY4208" fmla="*/ 215670 h 6689084"/>
                <a:gd name="connsiteX4209" fmla="*/ 2475139 w 6689088"/>
                <a:gd name="connsiteY4209" fmla="*/ 229469 h 6689084"/>
                <a:gd name="connsiteX4210" fmla="*/ 2461344 w 6689088"/>
                <a:gd name="connsiteY4210" fmla="*/ 243264 h 6689084"/>
                <a:gd name="connsiteX4211" fmla="*/ 2447545 w 6689088"/>
                <a:gd name="connsiteY4211" fmla="*/ 229469 h 6689084"/>
                <a:gd name="connsiteX4212" fmla="*/ 2461344 w 6689088"/>
                <a:gd name="connsiteY4212" fmla="*/ 215670 h 6689084"/>
                <a:gd name="connsiteX4213" fmla="*/ 2614925 w 6689088"/>
                <a:gd name="connsiteY4213" fmla="*/ 214580 h 6689084"/>
                <a:gd name="connsiteX4214" fmla="*/ 2630177 w 6689088"/>
                <a:gd name="connsiteY4214" fmla="*/ 229827 h 6689084"/>
                <a:gd name="connsiteX4215" fmla="*/ 2614925 w 6689088"/>
                <a:gd name="connsiteY4215" fmla="*/ 245079 h 6689084"/>
                <a:gd name="connsiteX4216" fmla="*/ 2599678 w 6689088"/>
                <a:gd name="connsiteY4216" fmla="*/ 229827 h 6689084"/>
                <a:gd name="connsiteX4217" fmla="*/ 2614925 w 6689088"/>
                <a:gd name="connsiteY4217" fmla="*/ 214580 h 6689084"/>
                <a:gd name="connsiteX4218" fmla="*/ 2768873 w 6689088"/>
                <a:gd name="connsiteY4218" fmla="*/ 212765 h 6689084"/>
                <a:gd name="connsiteX4219" fmla="*/ 2785939 w 6689088"/>
                <a:gd name="connsiteY4219" fmla="*/ 229831 h 6689084"/>
                <a:gd name="connsiteX4220" fmla="*/ 2768873 w 6689088"/>
                <a:gd name="connsiteY4220" fmla="*/ 246897 h 6689084"/>
                <a:gd name="connsiteX4221" fmla="*/ 2751807 w 6689088"/>
                <a:gd name="connsiteY4221" fmla="*/ 229831 h 6689084"/>
                <a:gd name="connsiteX4222" fmla="*/ 2768873 w 6689088"/>
                <a:gd name="connsiteY4222" fmla="*/ 212765 h 6689084"/>
                <a:gd name="connsiteX4223" fmla="*/ 2922458 w 6689088"/>
                <a:gd name="connsiteY4223" fmla="*/ 210589 h 6689084"/>
                <a:gd name="connsiteX4224" fmla="*/ 2941700 w 6689088"/>
                <a:gd name="connsiteY4224" fmla="*/ 229831 h 6689084"/>
                <a:gd name="connsiteX4225" fmla="*/ 2922458 w 6689088"/>
                <a:gd name="connsiteY4225" fmla="*/ 249077 h 6689084"/>
                <a:gd name="connsiteX4226" fmla="*/ 2903216 w 6689088"/>
                <a:gd name="connsiteY4226" fmla="*/ 229831 h 6689084"/>
                <a:gd name="connsiteX4227" fmla="*/ 2922458 w 6689088"/>
                <a:gd name="connsiteY4227" fmla="*/ 210589 h 6689084"/>
                <a:gd name="connsiteX4228" fmla="*/ 3076406 w 6689088"/>
                <a:gd name="connsiteY4228" fmla="*/ 208408 h 6689084"/>
                <a:gd name="connsiteX4229" fmla="*/ 3097828 w 6689088"/>
                <a:gd name="connsiteY4229" fmla="*/ 229831 h 6689084"/>
                <a:gd name="connsiteX4230" fmla="*/ 3076406 w 6689088"/>
                <a:gd name="connsiteY4230" fmla="*/ 251254 h 6689084"/>
                <a:gd name="connsiteX4231" fmla="*/ 3054982 w 6689088"/>
                <a:gd name="connsiteY4231" fmla="*/ 229831 h 6689084"/>
                <a:gd name="connsiteX4232" fmla="*/ 3076406 w 6689088"/>
                <a:gd name="connsiteY4232" fmla="*/ 208408 h 6689084"/>
                <a:gd name="connsiteX4233" fmla="*/ 3230353 w 6689088"/>
                <a:gd name="connsiteY4233" fmla="*/ 206956 h 6689084"/>
                <a:gd name="connsiteX4234" fmla="*/ 3253228 w 6689088"/>
                <a:gd name="connsiteY4234" fmla="*/ 229831 h 6689084"/>
                <a:gd name="connsiteX4235" fmla="*/ 3230353 w 6689088"/>
                <a:gd name="connsiteY4235" fmla="*/ 252706 h 6689084"/>
                <a:gd name="connsiteX4236" fmla="*/ 3207478 w 6689088"/>
                <a:gd name="connsiteY4236" fmla="*/ 229831 h 6689084"/>
                <a:gd name="connsiteX4237" fmla="*/ 3230353 w 6689088"/>
                <a:gd name="connsiteY4237" fmla="*/ 206956 h 6689084"/>
                <a:gd name="connsiteX4238" fmla="*/ 3383934 w 6689088"/>
                <a:gd name="connsiteY4238" fmla="*/ 204779 h 6689084"/>
                <a:gd name="connsiteX4239" fmla="*/ 3408986 w 6689088"/>
                <a:gd name="connsiteY4239" fmla="*/ 229831 h 6689084"/>
                <a:gd name="connsiteX4240" fmla="*/ 3383934 w 6689088"/>
                <a:gd name="connsiteY4240" fmla="*/ 254887 h 6689084"/>
                <a:gd name="connsiteX4241" fmla="*/ 3358882 w 6689088"/>
                <a:gd name="connsiteY4241" fmla="*/ 229831 h 6689084"/>
                <a:gd name="connsiteX4242" fmla="*/ 3383934 w 6689088"/>
                <a:gd name="connsiteY4242" fmla="*/ 204779 h 6689084"/>
                <a:gd name="connsiteX4243" fmla="*/ 3537886 w 6689088"/>
                <a:gd name="connsiteY4243" fmla="*/ 202599 h 6689084"/>
                <a:gd name="connsiteX4244" fmla="*/ 3565118 w 6689088"/>
                <a:gd name="connsiteY4244" fmla="*/ 229831 h 6689084"/>
                <a:gd name="connsiteX4245" fmla="*/ 3537886 w 6689088"/>
                <a:gd name="connsiteY4245" fmla="*/ 257059 h 6689084"/>
                <a:gd name="connsiteX4246" fmla="*/ 3510653 w 6689088"/>
                <a:gd name="connsiteY4246" fmla="*/ 229831 h 6689084"/>
                <a:gd name="connsiteX4247" fmla="*/ 3537886 w 6689088"/>
                <a:gd name="connsiteY4247" fmla="*/ 202599 h 6689084"/>
                <a:gd name="connsiteX4248" fmla="*/ 3691467 w 6689088"/>
                <a:gd name="connsiteY4248" fmla="*/ 200056 h 6689084"/>
                <a:gd name="connsiteX4249" fmla="*/ 3721242 w 6689088"/>
                <a:gd name="connsiteY4249" fmla="*/ 229827 h 6689084"/>
                <a:gd name="connsiteX4250" fmla="*/ 3691467 w 6689088"/>
                <a:gd name="connsiteY4250" fmla="*/ 259602 h 6689084"/>
                <a:gd name="connsiteX4251" fmla="*/ 3661696 w 6689088"/>
                <a:gd name="connsiteY4251" fmla="*/ 229827 h 6689084"/>
                <a:gd name="connsiteX4252" fmla="*/ 3691467 w 6689088"/>
                <a:gd name="connsiteY4252" fmla="*/ 200056 h 6689084"/>
                <a:gd name="connsiteX4253" fmla="*/ 3845414 w 6689088"/>
                <a:gd name="connsiteY4253" fmla="*/ 197880 h 6689084"/>
                <a:gd name="connsiteX4254" fmla="*/ 3877366 w 6689088"/>
                <a:gd name="connsiteY4254" fmla="*/ 229831 h 6689084"/>
                <a:gd name="connsiteX4255" fmla="*/ 3845414 w 6689088"/>
                <a:gd name="connsiteY4255" fmla="*/ 261782 h 6689084"/>
                <a:gd name="connsiteX4256" fmla="*/ 3813463 w 6689088"/>
                <a:gd name="connsiteY4256" fmla="*/ 229831 h 6689084"/>
                <a:gd name="connsiteX4257" fmla="*/ 3845414 w 6689088"/>
                <a:gd name="connsiteY4257" fmla="*/ 197880 h 6689084"/>
                <a:gd name="connsiteX4258" fmla="*/ 3999000 w 6689088"/>
                <a:gd name="connsiteY4258" fmla="*/ 196065 h 6689084"/>
                <a:gd name="connsiteX4259" fmla="*/ 4032769 w 6689088"/>
                <a:gd name="connsiteY4259" fmla="*/ 229831 h 6689084"/>
                <a:gd name="connsiteX4260" fmla="*/ 3999000 w 6689088"/>
                <a:gd name="connsiteY4260" fmla="*/ 263597 h 6689084"/>
                <a:gd name="connsiteX4261" fmla="*/ 3965234 w 6689088"/>
                <a:gd name="connsiteY4261" fmla="*/ 229831 h 6689084"/>
                <a:gd name="connsiteX4262" fmla="*/ 3999000 w 6689088"/>
                <a:gd name="connsiteY4262" fmla="*/ 196065 h 6689084"/>
                <a:gd name="connsiteX4263" fmla="*/ 4152947 w 6689088"/>
                <a:gd name="connsiteY4263" fmla="*/ 193523 h 6689084"/>
                <a:gd name="connsiteX4264" fmla="*/ 4189256 w 6689088"/>
                <a:gd name="connsiteY4264" fmla="*/ 229831 h 6689084"/>
                <a:gd name="connsiteX4265" fmla="*/ 4152947 w 6689088"/>
                <a:gd name="connsiteY4265" fmla="*/ 266139 h 6689084"/>
                <a:gd name="connsiteX4266" fmla="*/ 4116638 w 6689088"/>
                <a:gd name="connsiteY4266" fmla="*/ 229831 h 6689084"/>
                <a:gd name="connsiteX4267" fmla="*/ 4152947 w 6689088"/>
                <a:gd name="connsiteY4267" fmla="*/ 193523 h 6689084"/>
                <a:gd name="connsiteX4268" fmla="*/ 4306532 w 6689088"/>
                <a:gd name="connsiteY4268" fmla="*/ 190618 h 6689084"/>
                <a:gd name="connsiteX4269" fmla="*/ 4345380 w 6689088"/>
                <a:gd name="connsiteY4269" fmla="*/ 229469 h 6689084"/>
                <a:gd name="connsiteX4270" fmla="*/ 4306532 w 6689088"/>
                <a:gd name="connsiteY4270" fmla="*/ 268316 h 6689084"/>
                <a:gd name="connsiteX4271" fmla="*/ 4267682 w 6689088"/>
                <a:gd name="connsiteY4271" fmla="*/ 229469 h 6689084"/>
                <a:gd name="connsiteX4272" fmla="*/ 4306532 w 6689088"/>
                <a:gd name="connsiteY4272" fmla="*/ 190618 h 6689084"/>
                <a:gd name="connsiteX4273" fmla="*/ 4460480 w 6689088"/>
                <a:gd name="connsiteY4273" fmla="*/ 188438 h 6689084"/>
                <a:gd name="connsiteX4274" fmla="*/ 4501511 w 6689088"/>
                <a:gd name="connsiteY4274" fmla="*/ 229465 h 6689084"/>
                <a:gd name="connsiteX4275" fmla="*/ 4460480 w 6689088"/>
                <a:gd name="connsiteY4275" fmla="*/ 270493 h 6689084"/>
                <a:gd name="connsiteX4276" fmla="*/ 4419452 w 6689088"/>
                <a:gd name="connsiteY4276" fmla="*/ 229465 h 6689084"/>
                <a:gd name="connsiteX4277" fmla="*/ 4460480 w 6689088"/>
                <a:gd name="connsiteY4277" fmla="*/ 188438 h 6689084"/>
                <a:gd name="connsiteX4278" fmla="*/ 4614065 w 6689088"/>
                <a:gd name="connsiteY4278" fmla="*/ 185895 h 6689084"/>
                <a:gd name="connsiteX4279" fmla="*/ 4657635 w 6689088"/>
                <a:gd name="connsiteY4279" fmla="*/ 229465 h 6689084"/>
                <a:gd name="connsiteX4280" fmla="*/ 4614065 w 6689088"/>
                <a:gd name="connsiteY4280" fmla="*/ 273035 h 6689084"/>
                <a:gd name="connsiteX4281" fmla="*/ 4570495 w 6689088"/>
                <a:gd name="connsiteY4281" fmla="*/ 229465 h 6689084"/>
                <a:gd name="connsiteX4282" fmla="*/ 4614065 w 6689088"/>
                <a:gd name="connsiteY4282" fmla="*/ 185895 h 6689084"/>
                <a:gd name="connsiteX4283" fmla="*/ 4768012 w 6689088"/>
                <a:gd name="connsiteY4283" fmla="*/ 183356 h 6689084"/>
                <a:gd name="connsiteX4284" fmla="*/ 4814125 w 6689088"/>
                <a:gd name="connsiteY4284" fmla="*/ 229469 h 6689084"/>
                <a:gd name="connsiteX4285" fmla="*/ 4768012 w 6689088"/>
                <a:gd name="connsiteY4285" fmla="*/ 275581 h 6689084"/>
                <a:gd name="connsiteX4286" fmla="*/ 4721900 w 6689088"/>
                <a:gd name="connsiteY4286" fmla="*/ 229469 h 6689084"/>
                <a:gd name="connsiteX4287" fmla="*/ 4768012 w 6689088"/>
                <a:gd name="connsiteY4287" fmla="*/ 183356 h 6689084"/>
                <a:gd name="connsiteX4288" fmla="*/ 4921594 w 6689088"/>
                <a:gd name="connsiteY4288" fmla="*/ 180814 h 6689084"/>
                <a:gd name="connsiteX4289" fmla="*/ 4970249 w 6689088"/>
                <a:gd name="connsiteY4289" fmla="*/ 229469 h 6689084"/>
                <a:gd name="connsiteX4290" fmla="*/ 4921594 w 6689088"/>
                <a:gd name="connsiteY4290" fmla="*/ 278120 h 6689084"/>
                <a:gd name="connsiteX4291" fmla="*/ 4872942 w 6689088"/>
                <a:gd name="connsiteY4291" fmla="*/ 229469 h 6689084"/>
                <a:gd name="connsiteX4292" fmla="*/ 4921594 w 6689088"/>
                <a:gd name="connsiteY4292" fmla="*/ 180814 h 6689084"/>
                <a:gd name="connsiteX4293" fmla="*/ 5075541 w 6689088"/>
                <a:gd name="connsiteY4293" fmla="*/ 178637 h 6689084"/>
                <a:gd name="connsiteX4294" fmla="*/ 5126735 w 6689088"/>
                <a:gd name="connsiteY4294" fmla="*/ 229831 h 6689084"/>
                <a:gd name="connsiteX4295" fmla="*/ 5075541 w 6689088"/>
                <a:gd name="connsiteY4295" fmla="*/ 281025 h 6689084"/>
                <a:gd name="connsiteX4296" fmla="*/ 5024348 w 6689088"/>
                <a:gd name="connsiteY4296" fmla="*/ 229831 h 6689084"/>
                <a:gd name="connsiteX4297" fmla="*/ 5075541 w 6689088"/>
                <a:gd name="connsiteY4297" fmla="*/ 178637 h 6689084"/>
                <a:gd name="connsiteX4298" fmla="*/ 5229126 w 6689088"/>
                <a:gd name="connsiteY4298" fmla="*/ 176095 h 6689084"/>
                <a:gd name="connsiteX4299" fmla="*/ 5282500 w 6689088"/>
                <a:gd name="connsiteY4299" fmla="*/ 229469 h 6689084"/>
                <a:gd name="connsiteX4300" fmla="*/ 5229126 w 6689088"/>
                <a:gd name="connsiteY4300" fmla="*/ 282843 h 6689084"/>
                <a:gd name="connsiteX4301" fmla="*/ 5175752 w 6689088"/>
                <a:gd name="connsiteY4301" fmla="*/ 229469 h 6689084"/>
                <a:gd name="connsiteX4302" fmla="*/ 5229126 w 6689088"/>
                <a:gd name="connsiteY4302" fmla="*/ 176095 h 6689084"/>
                <a:gd name="connsiteX4303" fmla="*/ 5383074 w 6689088"/>
                <a:gd name="connsiteY4303" fmla="*/ 173552 h 6689084"/>
                <a:gd name="connsiteX4304" fmla="*/ 5439352 w 6689088"/>
                <a:gd name="connsiteY4304" fmla="*/ 229831 h 6689084"/>
                <a:gd name="connsiteX4305" fmla="*/ 5383074 w 6689088"/>
                <a:gd name="connsiteY4305" fmla="*/ 286110 h 6689084"/>
                <a:gd name="connsiteX4306" fmla="*/ 5326795 w 6689088"/>
                <a:gd name="connsiteY4306" fmla="*/ 229831 h 6689084"/>
                <a:gd name="connsiteX4307" fmla="*/ 5383074 w 6689088"/>
                <a:gd name="connsiteY4307" fmla="*/ 173552 h 6689084"/>
                <a:gd name="connsiteX4308" fmla="*/ 5536659 w 6689088"/>
                <a:gd name="connsiteY4308" fmla="*/ 171010 h 6689084"/>
                <a:gd name="connsiteX4309" fmla="*/ 5595476 w 6689088"/>
                <a:gd name="connsiteY4309" fmla="*/ 229827 h 6689084"/>
                <a:gd name="connsiteX4310" fmla="*/ 5536659 w 6689088"/>
                <a:gd name="connsiteY4310" fmla="*/ 288649 h 6689084"/>
                <a:gd name="connsiteX4311" fmla="*/ 5477838 w 6689088"/>
                <a:gd name="connsiteY4311" fmla="*/ 229827 h 6689084"/>
                <a:gd name="connsiteX4312" fmla="*/ 5536659 w 6689088"/>
                <a:gd name="connsiteY4312" fmla="*/ 171010 h 6689084"/>
                <a:gd name="connsiteX4313" fmla="*/ 5690606 w 6689088"/>
                <a:gd name="connsiteY4313" fmla="*/ 168105 h 6689084"/>
                <a:gd name="connsiteX4314" fmla="*/ 5752329 w 6689088"/>
                <a:gd name="connsiteY4314" fmla="*/ 229827 h 6689084"/>
                <a:gd name="connsiteX4315" fmla="*/ 5690606 w 6689088"/>
                <a:gd name="connsiteY4315" fmla="*/ 291553 h 6689084"/>
                <a:gd name="connsiteX4316" fmla="*/ 5628880 w 6689088"/>
                <a:gd name="connsiteY4316" fmla="*/ 229827 h 6689084"/>
                <a:gd name="connsiteX4317" fmla="*/ 5690606 w 6689088"/>
                <a:gd name="connsiteY4317" fmla="*/ 168105 h 6689084"/>
                <a:gd name="connsiteX4318" fmla="*/ 5844554 w 6689088"/>
                <a:gd name="connsiteY4318" fmla="*/ 165566 h 6689084"/>
                <a:gd name="connsiteX4319" fmla="*/ 5908822 w 6689088"/>
                <a:gd name="connsiteY4319" fmla="*/ 229831 h 6689084"/>
                <a:gd name="connsiteX4320" fmla="*/ 5844554 w 6689088"/>
                <a:gd name="connsiteY4320" fmla="*/ 294100 h 6689084"/>
                <a:gd name="connsiteX4321" fmla="*/ 5780289 w 6689088"/>
                <a:gd name="connsiteY4321" fmla="*/ 229831 h 6689084"/>
                <a:gd name="connsiteX4322" fmla="*/ 5844554 w 6689088"/>
                <a:gd name="connsiteY4322" fmla="*/ 165566 h 6689084"/>
                <a:gd name="connsiteX4323" fmla="*/ 5998136 w 6689088"/>
                <a:gd name="connsiteY4323" fmla="*/ 162296 h 6689084"/>
                <a:gd name="connsiteX4324" fmla="*/ 6065671 w 6689088"/>
                <a:gd name="connsiteY4324" fmla="*/ 229831 h 6689084"/>
                <a:gd name="connsiteX4325" fmla="*/ 5998136 w 6689088"/>
                <a:gd name="connsiteY4325" fmla="*/ 297363 h 6689084"/>
                <a:gd name="connsiteX4326" fmla="*/ 5930604 w 6689088"/>
                <a:gd name="connsiteY4326" fmla="*/ 229827 h 6689084"/>
                <a:gd name="connsiteX4327" fmla="*/ 5998136 w 6689088"/>
                <a:gd name="connsiteY4327" fmla="*/ 162296 h 6689084"/>
                <a:gd name="connsiteX4328" fmla="*/ 6152086 w 6689088"/>
                <a:gd name="connsiteY4328" fmla="*/ 159757 h 6689084"/>
                <a:gd name="connsiteX4329" fmla="*/ 6222160 w 6689088"/>
                <a:gd name="connsiteY4329" fmla="*/ 229831 h 6689084"/>
                <a:gd name="connsiteX4330" fmla="*/ 6152086 w 6689088"/>
                <a:gd name="connsiteY4330" fmla="*/ 299909 h 6689084"/>
                <a:gd name="connsiteX4331" fmla="*/ 6082008 w 6689088"/>
                <a:gd name="connsiteY4331" fmla="*/ 229831 h 6689084"/>
                <a:gd name="connsiteX4332" fmla="*/ 6152086 w 6689088"/>
                <a:gd name="connsiteY4332" fmla="*/ 159757 h 6689084"/>
                <a:gd name="connsiteX4333" fmla="*/ 6305668 w 6689088"/>
                <a:gd name="connsiteY4333" fmla="*/ 156852 h 6689084"/>
                <a:gd name="connsiteX4334" fmla="*/ 6378650 w 6689088"/>
                <a:gd name="connsiteY4334" fmla="*/ 229831 h 6689084"/>
                <a:gd name="connsiteX4335" fmla="*/ 6305668 w 6689088"/>
                <a:gd name="connsiteY4335" fmla="*/ 302814 h 6689084"/>
                <a:gd name="connsiteX4336" fmla="*/ 6232689 w 6689088"/>
                <a:gd name="connsiteY4336" fmla="*/ 229831 h 6689084"/>
                <a:gd name="connsiteX4337" fmla="*/ 6305668 w 6689088"/>
                <a:gd name="connsiteY4337" fmla="*/ 156852 h 6689084"/>
                <a:gd name="connsiteX4338" fmla="*/ 6613200 w 6689088"/>
                <a:gd name="connsiteY4338" fmla="*/ 153947 h 6689084"/>
                <a:gd name="connsiteX4339" fmla="*/ 6689088 w 6689088"/>
                <a:gd name="connsiteY4339" fmla="*/ 229831 h 6689084"/>
                <a:gd name="connsiteX4340" fmla="*/ 6613200 w 6689088"/>
                <a:gd name="connsiteY4340" fmla="*/ 305718 h 6689084"/>
                <a:gd name="connsiteX4341" fmla="*/ 6537317 w 6689088"/>
                <a:gd name="connsiteY4341" fmla="*/ 229831 h 6689084"/>
                <a:gd name="connsiteX4342" fmla="*/ 6613200 w 6689088"/>
                <a:gd name="connsiteY4342" fmla="*/ 153947 h 6689084"/>
                <a:gd name="connsiteX4343" fmla="*/ 6459616 w 6689088"/>
                <a:gd name="connsiteY4343" fmla="*/ 153944 h 6689084"/>
                <a:gd name="connsiteX4344" fmla="*/ 6535137 w 6689088"/>
                <a:gd name="connsiteY4344" fmla="*/ 229465 h 6689084"/>
                <a:gd name="connsiteX4345" fmla="*/ 6459616 w 6689088"/>
                <a:gd name="connsiteY4345" fmla="*/ 304986 h 6689084"/>
                <a:gd name="connsiteX4346" fmla="*/ 6384094 w 6689088"/>
                <a:gd name="connsiteY4346" fmla="*/ 229465 h 6689084"/>
                <a:gd name="connsiteX4347" fmla="*/ 6459616 w 6689088"/>
                <a:gd name="connsiteY4347" fmla="*/ 153944 h 6689084"/>
                <a:gd name="connsiteX4348" fmla="*/ 923681 w 6689088"/>
                <a:gd name="connsiteY4348" fmla="*/ 75518 h 6689084"/>
                <a:gd name="connsiteX4349" fmla="*/ 924043 w 6689088"/>
                <a:gd name="connsiteY4349" fmla="*/ 75880 h 6689084"/>
                <a:gd name="connsiteX4350" fmla="*/ 923681 w 6689088"/>
                <a:gd name="connsiteY4350" fmla="*/ 76242 h 6689084"/>
                <a:gd name="connsiteX4351" fmla="*/ 923319 w 6689088"/>
                <a:gd name="connsiteY4351" fmla="*/ 75880 h 6689084"/>
                <a:gd name="connsiteX4352" fmla="*/ 923681 w 6689088"/>
                <a:gd name="connsiteY4352" fmla="*/ 75518 h 6689084"/>
                <a:gd name="connsiteX4353" fmla="*/ 462205 w 6689088"/>
                <a:gd name="connsiteY4353" fmla="*/ 75518 h 6689084"/>
                <a:gd name="connsiteX4354" fmla="*/ 462567 w 6689088"/>
                <a:gd name="connsiteY4354" fmla="*/ 75880 h 6689084"/>
                <a:gd name="connsiteX4355" fmla="*/ 462205 w 6689088"/>
                <a:gd name="connsiteY4355" fmla="*/ 76242 h 6689084"/>
                <a:gd name="connsiteX4356" fmla="*/ 461842 w 6689088"/>
                <a:gd name="connsiteY4356" fmla="*/ 75880 h 6689084"/>
                <a:gd name="connsiteX4357" fmla="*/ 462205 w 6689088"/>
                <a:gd name="connsiteY4357" fmla="*/ 75518 h 6689084"/>
                <a:gd name="connsiteX4358" fmla="*/ 308257 w 6689088"/>
                <a:gd name="connsiteY4358" fmla="*/ 75518 h 6689084"/>
                <a:gd name="connsiteX4359" fmla="*/ 308619 w 6689088"/>
                <a:gd name="connsiteY4359" fmla="*/ 75880 h 6689084"/>
                <a:gd name="connsiteX4360" fmla="*/ 308257 w 6689088"/>
                <a:gd name="connsiteY4360" fmla="*/ 76242 h 6689084"/>
                <a:gd name="connsiteX4361" fmla="*/ 307895 w 6689088"/>
                <a:gd name="connsiteY4361" fmla="*/ 75880 h 6689084"/>
                <a:gd name="connsiteX4362" fmla="*/ 308257 w 6689088"/>
                <a:gd name="connsiteY4362" fmla="*/ 75518 h 6689084"/>
                <a:gd name="connsiteX4363" fmla="*/ 154676 w 6689088"/>
                <a:gd name="connsiteY4363" fmla="*/ 75155 h 6689084"/>
                <a:gd name="connsiteX4364" fmla="*/ 155400 w 6689088"/>
                <a:gd name="connsiteY4364" fmla="*/ 75880 h 6689084"/>
                <a:gd name="connsiteX4365" fmla="*/ 154676 w 6689088"/>
                <a:gd name="connsiteY4365" fmla="*/ 76608 h 6689084"/>
                <a:gd name="connsiteX4366" fmla="*/ 153948 w 6689088"/>
                <a:gd name="connsiteY4366" fmla="*/ 75880 h 6689084"/>
                <a:gd name="connsiteX4367" fmla="*/ 154676 w 6689088"/>
                <a:gd name="connsiteY4367" fmla="*/ 75155 h 6689084"/>
                <a:gd name="connsiteX4368" fmla="*/ 725 w 6689088"/>
                <a:gd name="connsiteY4368" fmla="*/ 75155 h 6689084"/>
                <a:gd name="connsiteX4369" fmla="*/ 1453 w 6689088"/>
                <a:gd name="connsiteY4369" fmla="*/ 75880 h 6689084"/>
                <a:gd name="connsiteX4370" fmla="*/ 725 w 6689088"/>
                <a:gd name="connsiteY4370" fmla="*/ 76608 h 6689084"/>
                <a:gd name="connsiteX4371" fmla="*/ 0 w 6689088"/>
                <a:gd name="connsiteY4371" fmla="*/ 75880 h 6689084"/>
                <a:gd name="connsiteX4372" fmla="*/ 725 w 6689088"/>
                <a:gd name="connsiteY4372" fmla="*/ 75155 h 6689084"/>
                <a:gd name="connsiteX4373" fmla="*/ 1077266 w 6689088"/>
                <a:gd name="connsiteY4373" fmla="*/ 74431 h 6689084"/>
                <a:gd name="connsiteX4374" fmla="*/ 1078718 w 6689088"/>
                <a:gd name="connsiteY4374" fmla="*/ 75884 h 6689084"/>
                <a:gd name="connsiteX4375" fmla="*/ 1077266 w 6689088"/>
                <a:gd name="connsiteY4375" fmla="*/ 77336 h 6689084"/>
                <a:gd name="connsiteX4376" fmla="*/ 1075814 w 6689088"/>
                <a:gd name="connsiteY4376" fmla="*/ 75884 h 6689084"/>
                <a:gd name="connsiteX4377" fmla="*/ 1077266 w 6689088"/>
                <a:gd name="connsiteY4377" fmla="*/ 74431 h 6689084"/>
                <a:gd name="connsiteX4378" fmla="*/ 1231217 w 6689088"/>
                <a:gd name="connsiteY4378" fmla="*/ 73703 h 6689084"/>
                <a:gd name="connsiteX4379" fmla="*/ 1233394 w 6689088"/>
                <a:gd name="connsiteY4379" fmla="*/ 75880 h 6689084"/>
                <a:gd name="connsiteX4380" fmla="*/ 1231217 w 6689088"/>
                <a:gd name="connsiteY4380" fmla="*/ 78060 h 6689084"/>
                <a:gd name="connsiteX4381" fmla="*/ 1229037 w 6689088"/>
                <a:gd name="connsiteY4381" fmla="*/ 75880 h 6689084"/>
                <a:gd name="connsiteX4382" fmla="*/ 1231217 w 6689088"/>
                <a:gd name="connsiteY4382" fmla="*/ 73703 h 6689084"/>
                <a:gd name="connsiteX4383" fmla="*/ 1384799 w 6689088"/>
                <a:gd name="connsiteY4383" fmla="*/ 72617 h 6689084"/>
                <a:gd name="connsiteX4384" fmla="*/ 1388069 w 6689088"/>
                <a:gd name="connsiteY4384" fmla="*/ 75884 h 6689084"/>
                <a:gd name="connsiteX4385" fmla="*/ 1384799 w 6689088"/>
                <a:gd name="connsiteY4385" fmla="*/ 79154 h 6689084"/>
                <a:gd name="connsiteX4386" fmla="*/ 1381532 w 6689088"/>
                <a:gd name="connsiteY4386" fmla="*/ 75884 h 6689084"/>
                <a:gd name="connsiteX4387" fmla="*/ 1384799 w 6689088"/>
                <a:gd name="connsiteY4387" fmla="*/ 72617 h 6689084"/>
                <a:gd name="connsiteX4388" fmla="*/ 1538746 w 6689088"/>
                <a:gd name="connsiteY4388" fmla="*/ 71527 h 6689084"/>
                <a:gd name="connsiteX4389" fmla="*/ 1543103 w 6689088"/>
                <a:gd name="connsiteY4389" fmla="*/ 75884 h 6689084"/>
                <a:gd name="connsiteX4390" fmla="*/ 1538746 w 6689088"/>
                <a:gd name="connsiteY4390" fmla="*/ 80241 h 6689084"/>
                <a:gd name="connsiteX4391" fmla="*/ 1534389 w 6689088"/>
                <a:gd name="connsiteY4391" fmla="*/ 75884 h 6689084"/>
                <a:gd name="connsiteX4392" fmla="*/ 1538746 w 6689088"/>
                <a:gd name="connsiteY4392" fmla="*/ 71527 h 6689084"/>
                <a:gd name="connsiteX4393" fmla="*/ 1692331 w 6689088"/>
                <a:gd name="connsiteY4393" fmla="*/ 70074 h 6689084"/>
                <a:gd name="connsiteX4394" fmla="*/ 1698141 w 6689088"/>
                <a:gd name="connsiteY4394" fmla="*/ 75884 h 6689084"/>
                <a:gd name="connsiteX4395" fmla="*/ 1692331 w 6689088"/>
                <a:gd name="connsiteY4395" fmla="*/ 81693 h 6689084"/>
                <a:gd name="connsiteX4396" fmla="*/ 1686522 w 6689088"/>
                <a:gd name="connsiteY4396" fmla="*/ 75884 h 6689084"/>
                <a:gd name="connsiteX4397" fmla="*/ 1692331 w 6689088"/>
                <a:gd name="connsiteY4397" fmla="*/ 70074 h 6689084"/>
                <a:gd name="connsiteX4398" fmla="*/ 1846279 w 6689088"/>
                <a:gd name="connsiteY4398" fmla="*/ 68622 h 6689084"/>
                <a:gd name="connsiteX4399" fmla="*/ 1853540 w 6689088"/>
                <a:gd name="connsiteY4399" fmla="*/ 75884 h 6689084"/>
                <a:gd name="connsiteX4400" fmla="*/ 1846279 w 6689088"/>
                <a:gd name="connsiteY4400" fmla="*/ 83145 h 6689084"/>
                <a:gd name="connsiteX4401" fmla="*/ 1839017 w 6689088"/>
                <a:gd name="connsiteY4401" fmla="*/ 75884 h 6689084"/>
                <a:gd name="connsiteX4402" fmla="*/ 1846279 w 6689088"/>
                <a:gd name="connsiteY4402" fmla="*/ 68622 h 6689084"/>
                <a:gd name="connsiteX4403" fmla="*/ 1999860 w 6689088"/>
                <a:gd name="connsiteY4403" fmla="*/ 66807 h 6689084"/>
                <a:gd name="connsiteX4404" fmla="*/ 2008940 w 6689088"/>
                <a:gd name="connsiteY4404" fmla="*/ 75884 h 6689084"/>
                <a:gd name="connsiteX4405" fmla="*/ 1999860 w 6689088"/>
                <a:gd name="connsiteY4405" fmla="*/ 84960 h 6689084"/>
                <a:gd name="connsiteX4406" fmla="*/ 1990784 w 6689088"/>
                <a:gd name="connsiteY4406" fmla="*/ 75884 h 6689084"/>
                <a:gd name="connsiteX4407" fmla="*/ 1999860 w 6689088"/>
                <a:gd name="connsiteY4407" fmla="*/ 66807 h 6689084"/>
                <a:gd name="connsiteX4408" fmla="*/ 2153811 w 6689088"/>
                <a:gd name="connsiteY4408" fmla="*/ 65717 h 6689084"/>
                <a:gd name="connsiteX4409" fmla="*/ 2163978 w 6689088"/>
                <a:gd name="connsiteY4409" fmla="*/ 75884 h 6689084"/>
                <a:gd name="connsiteX4410" fmla="*/ 2153811 w 6689088"/>
                <a:gd name="connsiteY4410" fmla="*/ 86050 h 6689084"/>
                <a:gd name="connsiteX4411" fmla="*/ 2143645 w 6689088"/>
                <a:gd name="connsiteY4411" fmla="*/ 75884 h 6689084"/>
                <a:gd name="connsiteX4412" fmla="*/ 2153811 w 6689088"/>
                <a:gd name="connsiteY4412" fmla="*/ 65717 h 6689084"/>
                <a:gd name="connsiteX4413" fmla="*/ 2307393 w 6689088"/>
                <a:gd name="connsiteY4413" fmla="*/ 63899 h 6689084"/>
                <a:gd name="connsiteX4414" fmla="*/ 2319377 w 6689088"/>
                <a:gd name="connsiteY4414" fmla="*/ 75880 h 6689084"/>
                <a:gd name="connsiteX4415" fmla="*/ 2307393 w 6689088"/>
                <a:gd name="connsiteY4415" fmla="*/ 87864 h 6689084"/>
                <a:gd name="connsiteX4416" fmla="*/ 2295412 w 6689088"/>
                <a:gd name="connsiteY4416" fmla="*/ 75880 h 6689084"/>
                <a:gd name="connsiteX4417" fmla="*/ 2307393 w 6689088"/>
                <a:gd name="connsiteY4417" fmla="*/ 63899 h 6689084"/>
                <a:gd name="connsiteX4418" fmla="*/ 2461344 w 6689088"/>
                <a:gd name="connsiteY4418" fmla="*/ 62085 h 6689084"/>
                <a:gd name="connsiteX4419" fmla="*/ 2475139 w 6689088"/>
                <a:gd name="connsiteY4419" fmla="*/ 75880 h 6689084"/>
                <a:gd name="connsiteX4420" fmla="*/ 2461344 w 6689088"/>
                <a:gd name="connsiteY4420" fmla="*/ 89679 h 6689084"/>
                <a:gd name="connsiteX4421" fmla="*/ 2447545 w 6689088"/>
                <a:gd name="connsiteY4421" fmla="*/ 75880 h 6689084"/>
                <a:gd name="connsiteX4422" fmla="*/ 2461344 w 6689088"/>
                <a:gd name="connsiteY4422" fmla="*/ 62085 h 6689084"/>
                <a:gd name="connsiteX4423" fmla="*/ 2614925 w 6689088"/>
                <a:gd name="connsiteY4423" fmla="*/ 60632 h 6689084"/>
                <a:gd name="connsiteX4424" fmla="*/ 2630177 w 6689088"/>
                <a:gd name="connsiteY4424" fmla="*/ 75880 h 6689084"/>
                <a:gd name="connsiteX4425" fmla="*/ 2614925 w 6689088"/>
                <a:gd name="connsiteY4425" fmla="*/ 91131 h 6689084"/>
                <a:gd name="connsiteX4426" fmla="*/ 2599678 w 6689088"/>
                <a:gd name="connsiteY4426" fmla="*/ 75880 h 6689084"/>
                <a:gd name="connsiteX4427" fmla="*/ 2614925 w 6689088"/>
                <a:gd name="connsiteY4427" fmla="*/ 60632 h 6689084"/>
                <a:gd name="connsiteX4428" fmla="*/ 2768873 w 6689088"/>
                <a:gd name="connsiteY4428" fmla="*/ 58818 h 6689084"/>
                <a:gd name="connsiteX4429" fmla="*/ 2785939 w 6689088"/>
                <a:gd name="connsiteY4429" fmla="*/ 75884 h 6689084"/>
                <a:gd name="connsiteX4430" fmla="*/ 2768873 w 6689088"/>
                <a:gd name="connsiteY4430" fmla="*/ 92946 h 6689084"/>
                <a:gd name="connsiteX4431" fmla="*/ 2751807 w 6689088"/>
                <a:gd name="connsiteY4431" fmla="*/ 75884 h 6689084"/>
                <a:gd name="connsiteX4432" fmla="*/ 2768873 w 6689088"/>
                <a:gd name="connsiteY4432" fmla="*/ 58818 h 6689084"/>
                <a:gd name="connsiteX4433" fmla="*/ 2922458 w 6689088"/>
                <a:gd name="connsiteY4433" fmla="*/ 56641 h 6689084"/>
                <a:gd name="connsiteX4434" fmla="*/ 2941700 w 6689088"/>
                <a:gd name="connsiteY4434" fmla="*/ 75884 h 6689084"/>
                <a:gd name="connsiteX4435" fmla="*/ 2922458 w 6689088"/>
                <a:gd name="connsiteY4435" fmla="*/ 95126 h 6689084"/>
                <a:gd name="connsiteX4436" fmla="*/ 2903216 w 6689088"/>
                <a:gd name="connsiteY4436" fmla="*/ 75884 h 6689084"/>
                <a:gd name="connsiteX4437" fmla="*/ 2922458 w 6689088"/>
                <a:gd name="connsiteY4437" fmla="*/ 56641 h 6689084"/>
                <a:gd name="connsiteX4438" fmla="*/ 3076406 w 6689088"/>
                <a:gd name="connsiteY4438" fmla="*/ 54461 h 6689084"/>
                <a:gd name="connsiteX4439" fmla="*/ 3097828 w 6689088"/>
                <a:gd name="connsiteY4439" fmla="*/ 75884 h 6689084"/>
                <a:gd name="connsiteX4440" fmla="*/ 3076406 w 6689088"/>
                <a:gd name="connsiteY4440" fmla="*/ 97303 h 6689084"/>
                <a:gd name="connsiteX4441" fmla="*/ 3054982 w 6689088"/>
                <a:gd name="connsiteY4441" fmla="*/ 75884 h 6689084"/>
                <a:gd name="connsiteX4442" fmla="*/ 3076406 w 6689088"/>
                <a:gd name="connsiteY4442" fmla="*/ 54461 h 6689084"/>
                <a:gd name="connsiteX4443" fmla="*/ 3230353 w 6689088"/>
                <a:gd name="connsiteY4443" fmla="*/ 53008 h 6689084"/>
                <a:gd name="connsiteX4444" fmla="*/ 3253228 w 6689088"/>
                <a:gd name="connsiteY4444" fmla="*/ 75884 h 6689084"/>
                <a:gd name="connsiteX4445" fmla="*/ 3230353 w 6689088"/>
                <a:gd name="connsiteY4445" fmla="*/ 98759 h 6689084"/>
                <a:gd name="connsiteX4446" fmla="*/ 3207478 w 6689088"/>
                <a:gd name="connsiteY4446" fmla="*/ 75884 h 6689084"/>
                <a:gd name="connsiteX4447" fmla="*/ 3230353 w 6689088"/>
                <a:gd name="connsiteY4447" fmla="*/ 53008 h 6689084"/>
                <a:gd name="connsiteX4448" fmla="*/ 3383934 w 6689088"/>
                <a:gd name="connsiteY4448" fmla="*/ 50832 h 6689084"/>
                <a:gd name="connsiteX4449" fmla="*/ 3408986 w 6689088"/>
                <a:gd name="connsiteY4449" fmla="*/ 75884 h 6689084"/>
                <a:gd name="connsiteX4450" fmla="*/ 3383934 w 6689088"/>
                <a:gd name="connsiteY4450" fmla="*/ 100939 h 6689084"/>
                <a:gd name="connsiteX4451" fmla="*/ 3358882 w 6689088"/>
                <a:gd name="connsiteY4451" fmla="*/ 75884 h 6689084"/>
                <a:gd name="connsiteX4452" fmla="*/ 3383934 w 6689088"/>
                <a:gd name="connsiteY4452" fmla="*/ 50832 h 6689084"/>
                <a:gd name="connsiteX4453" fmla="*/ 3537886 w 6689088"/>
                <a:gd name="connsiteY4453" fmla="*/ 48651 h 6689084"/>
                <a:gd name="connsiteX4454" fmla="*/ 3565118 w 6689088"/>
                <a:gd name="connsiteY4454" fmla="*/ 75884 h 6689084"/>
                <a:gd name="connsiteX4455" fmla="*/ 3537886 w 6689088"/>
                <a:gd name="connsiteY4455" fmla="*/ 103112 h 6689084"/>
                <a:gd name="connsiteX4456" fmla="*/ 3510653 w 6689088"/>
                <a:gd name="connsiteY4456" fmla="*/ 75884 h 6689084"/>
                <a:gd name="connsiteX4457" fmla="*/ 3537886 w 6689088"/>
                <a:gd name="connsiteY4457" fmla="*/ 48651 h 6689084"/>
                <a:gd name="connsiteX4458" fmla="*/ 3691467 w 6689088"/>
                <a:gd name="connsiteY4458" fmla="*/ 46109 h 6689084"/>
                <a:gd name="connsiteX4459" fmla="*/ 3721242 w 6689088"/>
                <a:gd name="connsiteY4459" fmla="*/ 75880 h 6689084"/>
                <a:gd name="connsiteX4460" fmla="*/ 3691467 w 6689088"/>
                <a:gd name="connsiteY4460" fmla="*/ 105655 h 6689084"/>
                <a:gd name="connsiteX4461" fmla="*/ 3661696 w 6689088"/>
                <a:gd name="connsiteY4461" fmla="*/ 75880 h 6689084"/>
                <a:gd name="connsiteX4462" fmla="*/ 3691467 w 6689088"/>
                <a:gd name="connsiteY4462" fmla="*/ 46109 h 6689084"/>
                <a:gd name="connsiteX4463" fmla="*/ 3845414 w 6689088"/>
                <a:gd name="connsiteY4463" fmla="*/ 43932 h 6689084"/>
                <a:gd name="connsiteX4464" fmla="*/ 3877366 w 6689088"/>
                <a:gd name="connsiteY4464" fmla="*/ 75884 h 6689084"/>
                <a:gd name="connsiteX4465" fmla="*/ 3845414 w 6689088"/>
                <a:gd name="connsiteY4465" fmla="*/ 107835 h 6689084"/>
                <a:gd name="connsiteX4466" fmla="*/ 3813463 w 6689088"/>
                <a:gd name="connsiteY4466" fmla="*/ 75884 h 6689084"/>
                <a:gd name="connsiteX4467" fmla="*/ 3845414 w 6689088"/>
                <a:gd name="connsiteY4467" fmla="*/ 43932 h 6689084"/>
                <a:gd name="connsiteX4468" fmla="*/ 3999000 w 6689088"/>
                <a:gd name="connsiteY4468" fmla="*/ 42118 h 6689084"/>
                <a:gd name="connsiteX4469" fmla="*/ 4032769 w 6689088"/>
                <a:gd name="connsiteY4469" fmla="*/ 75884 h 6689084"/>
                <a:gd name="connsiteX4470" fmla="*/ 3999000 w 6689088"/>
                <a:gd name="connsiteY4470" fmla="*/ 109653 h 6689084"/>
                <a:gd name="connsiteX4471" fmla="*/ 3965234 w 6689088"/>
                <a:gd name="connsiteY4471" fmla="*/ 75884 h 6689084"/>
                <a:gd name="connsiteX4472" fmla="*/ 3999000 w 6689088"/>
                <a:gd name="connsiteY4472" fmla="*/ 42118 h 6689084"/>
                <a:gd name="connsiteX4473" fmla="*/ 4152947 w 6689088"/>
                <a:gd name="connsiteY4473" fmla="*/ 39575 h 6689084"/>
                <a:gd name="connsiteX4474" fmla="*/ 4189256 w 6689088"/>
                <a:gd name="connsiteY4474" fmla="*/ 75884 h 6689084"/>
                <a:gd name="connsiteX4475" fmla="*/ 4152947 w 6689088"/>
                <a:gd name="connsiteY4475" fmla="*/ 112192 h 6689084"/>
                <a:gd name="connsiteX4476" fmla="*/ 4116638 w 6689088"/>
                <a:gd name="connsiteY4476" fmla="*/ 75884 h 6689084"/>
                <a:gd name="connsiteX4477" fmla="*/ 4152947 w 6689088"/>
                <a:gd name="connsiteY4477" fmla="*/ 39575 h 6689084"/>
                <a:gd name="connsiteX4478" fmla="*/ 4306532 w 6689088"/>
                <a:gd name="connsiteY4478" fmla="*/ 37033 h 6689084"/>
                <a:gd name="connsiteX4479" fmla="*/ 4345380 w 6689088"/>
                <a:gd name="connsiteY4479" fmla="*/ 75884 h 6689084"/>
                <a:gd name="connsiteX4480" fmla="*/ 4306532 w 6689088"/>
                <a:gd name="connsiteY4480" fmla="*/ 114735 h 6689084"/>
                <a:gd name="connsiteX4481" fmla="*/ 4267682 w 6689088"/>
                <a:gd name="connsiteY4481" fmla="*/ 75884 h 6689084"/>
                <a:gd name="connsiteX4482" fmla="*/ 4306532 w 6689088"/>
                <a:gd name="connsiteY4482" fmla="*/ 37033 h 6689084"/>
                <a:gd name="connsiteX4483" fmla="*/ 4460480 w 6689088"/>
                <a:gd name="connsiteY4483" fmla="*/ 34852 h 6689084"/>
                <a:gd name="connsiteX4484" fmla="*/ 4501511 w 6689088"/>
                <a:gd name="connsiteY4484" fmla="*/ 75880 h 6689084"/>
                <a:gd name="connsiteX4485" fmla="*/ 4460480 w 6689088"/>
                <a:gd name="connsiteY4485" fmla="*/ 116911 h 6689084"/>
                <a:gd name="connsiteX4486" fmla="*/ 4419452 w 6689088"/>
                <a:gd name="connsiteY4486" fmla="*/ 75880 h 6689084"/>
                <a:gd name="connsiteX4487" fmla="*/ 4460480 w 6689088"/>
                <a:gd name="connsiteY4487" fmla="*/ 34852 h 6689084"/>
                <a:gd name="connsiteX4488" fmla="*/ 4614065 w 6689088"/>
                <a:gd name="connsiteY4488" fmla="*/ 32314 h 6689084"/>
                <a:gd name="connsiteX4489" fmla="*/ 4657635 w 6689088"/>
                <a:gd name="connsiteY4489" fmla="*/ 75884 h 6689084"/>
                <a:gd name="connsiteX4490" fmla="*/ 4614065 w 6689088"/>
                <a:gd name="connsiteY4490" fmla="*/ 119454 h 6689084"/>
                <a:gd name="connsiteX4491" fmla="*/ 4570495 w 6689088"/>
                <a:gd name="connsiteY4491" fmla="*/ 75884 h 6689084"/>
                <a:gd name="connsiteX4492" fmla="*/ 4614065 w 6689088"/>
                <a:gd name="connsiteY4492" fmla="*/ 32314 h 6689084"/>
                <a:gd name="connsiteX4493" fmla="*/ 4768012 w 6689088"/>
                <a:gd name="connsiteY4493" fmla="*/ 29771 h 6689084"/>
                <a:gd name="connsiteX4494" fmla="*/ 4814125 w 6689088"/>
                <a:gd name="connsiteY4494" fmla="*/ 75884 h 6689084"/>
                <a:gd name="connsiteX4495" fmla="*/ 4768012 w 6689088"/>
                <a:gd name="connsiteY4495" fmla="*/ 121996 h 6689084"/>
                <a:gd name="connsiteX4496" fmla="*/ 4721900 w 6689088"/>
                <a:gd name="connsiteY4496" fmla="*/ 75884 h 6689084"/>
                <a:gd name="connsiteX4497" fmla="*/ 4768012 w 6689088"/>
                <a:gd name="connsiteY4497" fmla="*/ 29771 h 6689084"/>
                <a:gd name="connsiteX4498" fmla="*/ 4921594 w 6689088"/>
                <a:gd name="connsiteY4498" fmla="*/ 27228 h 6689084"/>
                <a:gd name="connsiteX4499" fmla="*/ 4970249 w 6689088"/>
                <a:gd name="connsiteY4499" fmla="*/ 75880 h 6689084"/>
                <a:gd name="connsiteX4500" fmla="*/ 4921594 w 6689088"/>
                <a:gd name="connsiteY4500" fmla="*/ 124535 h 6689084"/>
                <a:gd name="connsiteX4501" fmla="*/ 4872942 w 6689088"/>
                <a:gd name="connsiteY4501" fmla="*/ 75880 h 6689084"/>
                <a:gd name="connsiteX4502" fmla="*/ 4921594 w 6689088"/>
                <a:gd name="connsiteY4502" fmla="*/ 27228 h 6689084"/>
                <a:gd name="connsiteX4503" fmla="*/ 5075541 w 6689088"/>
                <a:gd name="connsiteY4503" fmla="*/ 24690 h 6689084"/>
                <a:gd name="connsiteX4504" fmla="*/ 5126735 w 6689088"/>
                <a:gd name="connsiteY4504" fmla="*/ 75884 h 6689084"/>
                <a:gd name="connsiteX4505" fmla="*/ 5075541 w 6689088"/>
                <a:gd name="connsiteY4505" fmla="*/ 127081 h 6689084"/>
                <a:gd name="connsiteX4506" fmla="*/ 5024348 w 6689088"/>
                <a:gd name="connsiteY4506" fmla="*/ 75884 h 6689084"/>
                <a:gd name="connsiteX4507" fmla="*/ 5075541 w 6689088"/>
                <a:gd name="connsiteY4507" fmla="*/ 24690 h 6689084"/>
                <a:gd name="connsiteX4508" fmla="*/ 5229126 w 6689088"/>
                <a:gd name="connsiteY4508" fmla="*/ 22509 h 6689084"/>
                <a:gd name="connsiteX4509" fmla="*/ 5282500 w 6689088"/>
                <a:gd name="connsiteY4509" fmla="*/ 75884 h 6689084"/>
                <a:gd name="connsiteX4510" fmla="*/ 5229126 w 6689088"/>
                <a:gd name="connsiteY4510" fmla="*/ 129258 h 6689084"/>
                <a:gd name="connsiteX4511" fmla="*/ 5175752 w 6689088"/>
                <a:gd name="connsiteY4511" fmla="*/ 75884 h 6689084"/>
                <a:gd name="connsiteX4512" fmla="*/ 5229126 w 6689088"/>
                <a:gd name="connsiteY4512" fmla="*/ 22509 h 6689084"/>
                <a:gd name="connsiteX4513" fmla="*/ 5383074 w 6689088"/>
                <a:gd name="connsiteY4513" fmla="*/ 19605 h 6689084"/>
                <a:gd name="connsiteX4514" fmla="*/ 5439352 w 6689088"/>
                <a:gd name="connsiteY4514" fmla="*/ 75884 h 6689084"/>
                <a:gd name="connsiteX4515" fmla="*/ 5383074 w 6689088"/>
                <a:gd name="connsiteY4515" fmla="*/ 132162 h 6689084"/>
                <a:gd name="connsiteX4516" fmla="*/ 5326795 w 6689088"/>
                <a:gd name="connsiteY4516" fmla="*/ 75884 h 6689084"/>
                <a:gd name="connsiteX4517" fmla="*/ 5383074 w 6689088"/>
                <a:gd name="connsiteY4517" fmla="*/ 19605 h 6689084"/>
                <a:gd name="connsiteX4518" fmla="*/ 5536659 w 6689088"/>
                <a:gd name="connsiteY4518" fmla="*/ 17062 h 6689084"/>
                <a:gd name="connsiteX4519" fmla="*/ 5595476 w 6689088"/>
                <a:gd name="connsiteY4519" fmla="*/ 75880 h 6689084"/>
                <a:gd name="connsiteX4520" fmla="*/ 5536659 w 6689088"/>
                <a:gd name="connsiteY4520" fmla="*/ 134701 h 6689084"/>
                <a:gd name="connsiteX4521" fmla="*/ 5477838 w 6689088"/>
                <a:gd name="connsiteY4521" fmla="*/ 75880 h 6689084"/>
                <a:gd name="connsiteX4522" fmla="*/ 5536659 w 6689088"/>
                <a:gd name="connsiteY4522" fmla="*/ 17062 h 6689084"/>
                <a:gd name="connsiteX4523" fmla="*/ 5690606 w 6689088"/>
                <a:gd name="connsiteY4523" fmla="*/ 14157 h 6689084"/>
                <a:gd name="connsiteX4524" fmla="*/ 5752329 w 6689088"/>
                <a:gd name="connsiteY4524" fmla="*/ 75880 h 6689084"/>
                <a:gd name="connsiteX4525" fmla="*/ 5690606 w 6689088"/>
                <a:gd name="connsiteY4525" fmla="*/ 137606 h 6689084"/>
                <a:gd name="connsiteX4526" fmla="*/ 5628880 w 6689088"/>
                <a:gd name="connsiteY4526" fmla="*/ 75880 h 6689084"/>
                <a:gd name="connsiteX4527" fmla="*/ 5690606 w 6689088"/>
                <a:gd name="connsiteY4527" fmla="*/ 14157 h 6689084"/>
                <a:gd name="connsiteX4528" fmla="*/ 5844554 w 6689088"/>
                <a:gd name="connsiteY4528" fmla="*/ 11619 h 6689084"/>
                <a:gd name="connsiteX4529" fmla="*/ 5908822 w 6689088"/>
                <a:gd name="connsiteY4529" fmla="*/ 75884 h 6689084"/>
                <a:gd name="connsiteX4530" fmla="*/ 5844554 w 6689088"/>
                <a:gd name="connsiteY4530" fmla="*/ 140152 h 6689084"/>
                <a:gd name="connsiteX4531" fmla="*/ 5780289 w 6689088"/>
                <a:gd name="connsiteY4531" fmla="*/ 75884 h 6689084"/>
                <a:gd name="connsiteX4532" fmla="*/ 5844554 w 6689088"/>
                <a:gd name="connsiteY4532" fmla="*/ 11619 h 6689084"/>
                <a:gd name="connsiteX4533" fmla="*/ 5998136 w 6689088"/>
                <a:gd name="connsiteY4533" fmla="*/ 8348 h 6689084"/>
                <a:gd name="connsiteX4534" fmla="*/ 6065671 w 6689088"/>
                <a:gd name="connsiteY4534" fmla="*/ 75884 h 6689084"/>
                <a:gd name="connsiteX4535" fmla="*/ 5998136 w 6689088"/>
                <a:gd name="connsiteY4535" fmla="*/ 143415 h 6689084"/>
                <a:gd name="connsiteX4536" fmla="*/ 5930604 w 6689088"/>
                <a:gd name="connsiteY4536" fmla="*/ 75884 h 6689084"/>
                <a:gd name="connsiteX4537" fmla="*/ 5998136 w 6689088"/>
                <a:gd name="connsiteY4537" fmla="*/ 8348 h 6689084"/>
                <a:gd name="connsiteX4538" fmla="*/ 6152086 w 6689088"/>
                <a:gd name="connsiteY4538" fmla="*/ 5809 h 6689084"/>
                <a:gd name="connsiteX4539" fmla="*/ 6222160 w 6689088"/>
                <a:gd name="connsiteY4539" fmla="*/ 75884 h 6689084"/>
                <a:gd name="connsiteX4540" fmla="*/ 6152086 w 6689088"/>
                <a:gd name="connsiteY4540" fmla="*/ 145962 h 6689084"/>
                <a:gd name="connsiteX4541" fmla="*/ 6082008 w 6689088"/>
                <a:gd name="connsiteY4541" fmla="*/ 75884 h 6689084"/>
                <a:gd name="connsiteX4542" fmla="*/ 6152086 w 6689088"/>
                <a:gd name="connsiteY4542" fmla="*/ 5809 h 6689084"/>
                <a:gd name="connsiteX4543" fmla="*/ 6305668 w 6689088"/>
                <a:gd name="connsiteY4543" fmla="*/ 2905 h 6689084"/>
                <a:gd name="connsiteX4544" fmla="*/ 6378650 w 6689088"/>
                <a:gd name="connsiteY4544" fmla="*/ 75884 h 6689084"/>
                <a:gd name="connsiteX4545" fmla="*/ 6305668 w 6689088"/>
                <a:gd name="connsiteY4545" fmla="*/ 148866 h 6689084"/>
                <a:gd name="connsiteX4546" fmla="*/ 6232689 w 6689088"/>
                <a:gd name="connsiteY4546" fmla="*/ 75884 h 6689084"/>
                <a:gd name="connsiteX4547" fmla="*/ 6305668 w 6689088"/>
                <a:gd name="connsiteY4547" fmla="*/ 2905 h 6689084"/>
                <a:gd name="connsiteX4548" fmla="*/ 6459616 w 6689088"/>
                <a:gd name="connsiteY4548" fmla="*/ 362 h 6689084"/>
                <a:gd name="connsiteX4549" fmla="*/ 6535137 w 6689088"/>
                <a:gd name="connsiteY4549" fmla="*/ 75884 h 6689084"/>
                <a:gd name="connsiteX4550" fmla="*/ 6459616 w 6689088"/>
                <a:gd name="connsiteY4550" fmla="*/ 151405 h 6689084"/>
                <a:gd name="connsiteX4551" fmla="*/ 6384094 w 6689088"/>
                <a:gd name="connsiteY4551" fmla="*/ 75884 h 6689084"/>
                <a:gd name="connsiteX4552" fmla="*/ 6459616 w 6689088"/>
                <a:gd name="connsiteY4552" fmla="*/ 362 h 6689084"/>
                <a:gd name="connsiteX4553" fmla="*/ 6613200 w 6689088"/>
                <a:gd name="connsiteY4553" fmla="*/ 0 h 6689084"/>
                <a:gd name="connsiteX4554" fmla="*/ 6689088 w 6689088"/>
                <a:gd name="connsiteY4554" fmla="*/ 75884 h 6689084"/>
                <a:gd name="connsiteX4555" fmla="*/ 6613200 w 6689088"/>
                <a:gd name="connsiteY4555" fmla="*/ 151771 h 6689084"/>
                <a:gd name="connsiteX4556" fmla="*/ 6537317 w 6689088"/>
                <a:gd name="connsiteY4556" fmla="*/ 75884 h 6689084"/>
                <a:gd name="connsiteX4557" fmla="*/ 6613200 w 6689088"/>
                <a:gd name="connsiteY4557" fmla="*/ 0 h 6689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Lst>
              <a:rect l="l" t="t" r="r" b="b"/>
              <a:pathLst>
                <a:path w="6689088" h="6689084">
                  <a:moveTo>
                    <a:pt x="6613200" y="6687632"/>
                  </a:moveTo>
                  <a:cubicBezTo>
                    <a:pt x="6613563" y="6687632"/>
                    <a:pt x="6613929" y="6687994"/>
                    <a:pt x="6613929" y="6688360"/>
                  </a:cubicBezTo>
                  <a:cubicBezTo>
                    <a:pt x="6613929" y="6688722"/>
                    <a:pt x="6613200" y="6689084"/>
                    <a:pt x="6613200" y="6689084"/>
                  </a:cubicBezTo>
                  <a:cubicBezTo>
                    <a:pt x="6612838" y="6689084"/>
                    <a:pt x="6612476" y="6688722"/>
                    <a:pt x="6612476" y="6688360"/>
                  </a:cubicBezTo>
                  <a:cubicBezTo>
                    <a:pt x="6612476" y="6687994"/>
                    <a:pt x="6612838" y="6687632"/>
                    <a:pt x="6613200" y="6687632"/>
                  </a:cubicBezTo>
                  <a:close/>
                  <a:moveTo>
                    <a:pt x="6613200" y="6534050"/>
                  </a:moveTo>
                  <a:cubicBezTo>
                    <a:pt x="6613566" y="6534050"/>
                    <a:pt x="6613566" y="6534050"/>
                    <a:pt x="6613566" y="6534413"/>
                  </a:cubicBezTo>
                  <a:cubicBezTo>
                    <a:pt x="6613566" y="6534775"/>
                    <a:pt x="6613200" y="6534775"/>
                    <a:pt x="6613200" y="6534775"/>
                  </a:cubicBezTo>
                  <a:cubicBezTo>
                    <a:pt x="6612838" y="6534775"/>
                    <a:pt x="6612838" y="6534775"/>
                    <a:pt x="6612838" y="6534413"/>
                  </a:cubicBezTo>
                  <a:cubicBezTo>
                    <a:pt x="6612838" y="6534050"/>
                    <a:pt x="6612838" y="6534050"/>
                    <a:pt x="6613200" y="6534050"/>
                  </a:cubicBezTo>
                  <a:close/>
                  <a:moveTo>
                    <a:pt x="6459619" y="6533684"/>
                  </a:moveTo>
                  <a:cubicBezTo>
                    <a:pt x="6460020" y="6533684"/>
                    <a:pt x="6460344" y="6534009"/>
                    <a:pt x="6460344" y="6534413"/>
                  </a:cubicBezTo>
                  <a:cubicBezTo>
                    <a:pt x="6460344" y="6534813"/>
                    <a:pt x="6460020" y="6535137"/>
                    <a:pt x="6459619" y="6535137"/>
                  </a:cubicBezTo>
                  <a:cubicBezTo>
                    <a:pt x="6459215" y="6535137"/>
                    <a:pt x="6458891" y="6534813"/>
                    <a:pt x="6458891" y="6534413"/>
                  </a:cubicBezTo>
                  <a:cubicBezTo>
                    <a:pt x="6458891" y="6534009"/>
                    <a:pt x="6459215" y="6533684"/>
                    <a:pt x="6459619" y="6533684"/>
                  </a:cubicBezTo>
                  <a:close/>
                  <a:moveTo>
                    <a:pt x="6613200" y="6380465"/>
                  </a:moveTo>
                  <a:cubicBezTo>
                    <a:pt x="6613566" y="6380465"/>
                    <a:pt x="6613566" y="6380465"/>
                    <a:pt x="6613566" y="6380827"/>
                  </a:cubicBezTo>
                  <a:cubicBezTo>
                    <a:pt x="6613566" y="6381193"/>
                    <a:pt x="6613200" y="6381193"/>
                    <a:pt x="6613200" y="6381193"/>
                  </a:cubicBezTo>
                  <a:cubicBezTo>
                    <a:pt x="6612838" y="6381193"/>
                    <a:pt x="6612838" y="6381193"/>
                    <a:pt x="6612838" y="6380827"/>
                  </a:cubicBezTo>
                  <a:cubicBezTo>
                    <a:pt x="6612838" y="6380465"/>
                    <a:pt x="6612838" y="6380465"/>
                    <a:pt x="6613200" y="6380465"/>
                  </a:cubicBezTo>
                  <a:close/>
                  <a:moveTo>
                    <a:pt x="6459616" y="6380465"/>
                  </a:moveTo>
                  <a:cubicBezTo>
                    <a:pt x="6459982" y="6380465"/>
                    <a:pt x="6459982" y="6380465"/>
                    <a:pt x="6459982" y="6380827"/>
                  </a:cubicBezTo>
                  <a:cubicBezTo>
                    <a:pt x="6459982" y="6381193"/>
                    <a:pt x="6459616" y="6381193"/>
                    <a:pt x="6459616" y="6381193"/>
                  </a:cubicBezTo>
                  <a:cubicBezTo>
                    <a:pt x="6459254" y="6381193"/>
                    <a:pt x="6459254" y="6381193"/>
                    <a:pt x="6459254" y="6380827"/>
                  </a:cubicBezTo>
                  <a:cubicBezTo>
                    <a:pt x="6459254" y="6380465"/>
                    <a:pt x="6459254" y="6380465"/>
                    <a:pt x="6459616" y="6380465"/>
                  </a:cubicBezTo>
                  <a:close/>
                  <a:moveTo>
                    <a:pt x="6305668" y="6380103"/>
                  </a:moveTo>
                  <a:cubicBezTo>
                    <a:pt x="6306068" y="6380103"/>
                    <a:pt x="6306396" y="6380427"/>
                    <a:pt x="6306396" y="6380831"/>
                  </a:cubicBezTo>
                  <a:cubicBezTo>
                    <a:pt x="6306396" y="6381231"/>
                    <a:pt x="6306068" y="6381555"/>
                    <a:pt x="6305668" y="6381555"/>
                  </a:cubicBezTo>
                  <a:cubicBezTo>
                    <a:pt x="6305268" y="6381555"/>
                    <a:pt x="6304940" y="6381231"/>
                    <a:pt x="6304940" y="6380831"/>
                  </a:cubicBezTo>
                  <a:cubicBezTo>
                    <a:pt x="6304940" y="6380427"/>
                    <a:pt x="6305268" y="6380103"/>
                    <a:pt x="6305668" y="6380103"/>
                  </a:cubicBezTo>
                  <a:close/>
                  <a:moveTo>
                    <a:pt x="6459616" y="6226518"/>
                  </a:moveTo>
                  <a:cubicBezTo>
                    <a:pt x="6459982" y="6226518"/>
                    <a:pt x="6459982" y="6226518"/>
                    <a:pt x="6459982" y="6226880"/>
                  </a:cubicBezTo>
                  <a:cubicBezTo>
                    <a:pt x="6459982" y="6227242"/>
                    <a:pt x="6459616" y="6227242"/>
                    <a:pt x="6459616" y="6227242"/>
                  </a:cubicBezTo>
                  <a:cubicBezTo>
                    <a:pt x="6459254" y="6227242"/>
                    <a:pt x="6459254" y="6227242"/>
                    <a:pt x="6459254" y="6226880"/>
                  </a:cubicBezTo>
                  <a:cubicBezTo>
                    <a:pt x="6459254" y="6226518"/>
                    <a:pt x="6459254" y="6226518"/>
                    <a:pt x="6459616" y="6226518"/>
                  </a:cubicBezTo>
                  <a:close/>
                  <a:moveTo>
                    <a:pt x="6305668" y="6226518"/>
                  </a:moveTo>
                  <a:cubicBezTo>
                    <a:pt x="6306034" y="6226518"/>
                    <a:pt x="6306034" y="6226518"/>
                    <a:pt x="6306034" y="6226880"/>
                  </a:cubicBezTo>
                  <a:cubicBezTo>
                    <a:pt x="6306034" y="6227242"/>
                    <a:pt x="6305668" y="6227242"/>
                    <a:pt x="6305668" y="6227242"/>
                  </a:cubicBezTo>
                  <a:cubicBezTo>
                    <a:pt x="6305306" y="6227242"/>
                    <a:pt x="6305306" y="6227242"/>
                    <a:pt x="6305306" y="6226880"/>
                  </a:cubicBezTo>
                  <a:cubicBezTo>
                    <a:pt x="6305306" y="6226518"/>
                    <a:pt x="6305306" y="6226518"/>
                    <a:pt x="6305668" y="6226518"/>
                  </a:cubicBezTo>
                  <a:close/>
                  <a:moveTo>
                    <a:pt x="6152083" y="6226156"/>
                  </a:moveTo>
                  <a:cubicBezTo>
                    <a:pt x="6152483" y="6226156"/>
                    <a:pt x="6152811" y="6226480"/>
                    <a:pt x="6152811" y="6226884"/>
                  </a:cubicBezTo>
                  <a:cubicBezTo>
                    <a:pt x="6152811" y="6227284"/>
                    <a:pt x="6152483" y="6227608"/>
                    <a:pt x="6152083" y="6227608"/>
                  </a:cubicBezTo>
                  <a:cubicBezTo>
                    <a:pt x="6151682" y="6227608"/>
                    <a:pt x="6151358" y="6227284"/>
                    <a:pt x="6151358" y="6226884"/>
                  </a:cubicBezTo>
                  <a:cubicBezTo>
                    <a:pt x="6151358" y="6226480"/>
                    <a:pt x="6151682" y="6226156"/>
                    <a:pt x="6152083" y="6226156"/>
                  </a:cubicBezTo>
                  <a:close/>
                  <a:moveTo>
                    <a:pt x="6305668" y="6072933"/>
                  </a:moveTo>
                  <a:cubicBezTo>
                    <a:pt x="6306034" y="6072933"/>
                    <a:pt x="6306034" y="6072933"/>
                    <a:pt x="6306034" y="6073295"/>
                  </a:cubicBezTo>
                  <a:cubicBezTo>
                    <a:pt x="6306034" y="6073661"/>
                    <a:pt x="6305668" y="6073661"/>
                    <a:pt x="6305668" y="6073661"/>
                  </a:cubicBezTo>
                  <a:cubicBezTo>
                    <a:pt x="6305306" y="6073661"/>
                    <a:pt x="6305306" y="6073661"/>
                    <a:pt x="6305306" y="6073295"/>
                  </a:cubicBezTo>
                  <a:cubicBezTo>
                    <a:pt x="6305306" y="6072933"/>
                    <a:pt x="6305306" y="6072933"/>
                    <a:pt x="6305668" y="6072933"/>
                  </a:cubicBezTo>
                  <a:close/>
                  <a:moveTo>
                    <a:pt x="6152086" y="6072933"/>
                  </a:moveTo>
                  <a:cubicBezTo>
                    <a:pt x="6152448" y="6072933"/>
                    <a:pt x="6152448" y="6072933"/>
                    <a:pt x="6152448" y="6073295"/>
                  </a:cubicBezTo>
                  <a:cubicBezTo>
                    <a:pt x="6152448" y="6073661"/>
                    <a:pt x="6152086" y="6073661"/>
                    <a:pt x="6152086" y="6073661"/>
                  </a:cubicBezTo>
                  <a:cubicBezTo>
                    <a:pt x="6151724" y="6073661"/>
                    <a:pt x="6151724" y="6073661"/>
                    <a:pt x="6151724" y="6073295"/>
                  </a:cubicBezTo>
                  <a:cubicBezTo>
                    <a:pt x="6151724" y="6072933"/>
                    <a:pt x="6151724" y="6072933"/>
                    <a:pt x="6152086" y="6072933"/>
                  </a:cubicBezTo>
                  <a:close/>
                  <a:moveTo>
                    <a:pt x="5998136" y="6072570"/>
                  </a:moveTo>
                  <a:cubicBezTo>
                    <a:pt x="5998540" y="6072570"/>
                    <a:pt x="5998864" y="6072894"/>
                    <a:pt x="5998864" y="6073298"/>
                  </a:cubicBezTo>
                  <a:cubicBezTo>
                    <a:pt x="5998864" y="6073699"/>
                    <a:pt x="5998540" y="6074023"/>
                    <a:pt x="5998136" y="6074023"/>
                  </a:cubicBezTo>
                  <a:cubicBezTo>
                    <a:pt x="5997735" y="6074023"/>
                    <a:pt x="5997411" y="6073699"/>
                    <a:pt x="5997411" y="6073298"/>
                  </a:cubicBezTo>
                  <a:cubicBezTo>
                    <a:pt x="5997411" y="6072894"/>
                    <a:pt x="5997735" y="6072570"/>
                    <a:pt x="5998136" y="6072570"/>
                  </a:cubicBezTo>
                  <a:close/>
                  <a:moveTo>
                    <a:pt x="6613200" y="5918985"/>
                  </a:moveTo>
                  <a:cubicBezTo>
                    <a:pt x="6613566" y="5918985"/>
                    <a:pt x="6613566" y="5918985"/>
                    <a:pt x="6613566" y="5919347"/>
                  </a:cubicBezTo>
                  <a:cubicBezTo>
                    <a:pt x="6613566" y="5919709"/>
                    <a:pt x="6613200" y="5919709"/>
                    <a:pt x="6613200" y="5919709"/>
                  </a:cubicBezTo>
                  <a:cubicBezTo>
                    <a:pt x="6612838" y="5919709"/>
                    <a:pt x="6612838" y="5919709"/>
                    <a:pt x="6612838" y="5919347"/>
                  </a:cubicBezTo>
                  <a:cubicBezTo>
                    <a:pt x="6612838" y="5918985"/>
                    <a:pt x="6612838" y="5918985"/>
                    <a:pt x="6613200" y="5918985"/>
                  </a:cubicBezTo>
                  <a:close/>
                  <a:moveTo>
                    <a:pt x="6152086" y="5918985"/>
                  </a:moveTo>
                  <a:cubicBezTo>
                    <a:pt x="6152448" y="5918985"/>
                    <a:pt x="6152448" y="5918985"/>
                    <a:pt x="6152448" y="5919347"/>
                  </a:cubicBezTo>
                  <a:cubicBezTo>
                    <a:pt x="6152448" y="5919709"/>
                    <a:pt x="6152086" y="5919709"/>
                    <a:pt x="6152086" y="5919709"/>
                  </a:cubicBezTo>
                  <a:cubicBezTo>
                    <a:pt x="6151724" y="5919709"/>
                    <a:pt x="6151724" y="5919709"/>
                    <a:pt x="6151724" y="5919347"/>
                  </a:cubicBezTo>
                  <a:cubicBezTo>
                    <a:pt x="6151724" y="5918985"/>
                    <a:pt x="6151724" y="5918985"/>
                    <a:pt x="6152086" y="5918985"/>
                  </a:cubicBezTo>
                  <a:close/>
                  <a:moveTo>
                    <a:pt x="5998136" y="5918985"/>
                  </a:moveTo>
                  <a:cubicBezTo>
                    <a:pt x="5998502" y="5918985"/>
                    <a:pt x="5998502" y="5918985"/>
                    <a:pt x="5998502" y="5919347"/>
                  </a:cubicBezTo>
                  <a:cubicBezTo>
                    <a:pt x="5998502" y="5919709"/>
                    <a:pt x="5998136" y="5919709"/>
                    <a:pt x="5998136" y="5919709"/>
                  </a:cubicBezTo>
                  <a:cubicBezTo>
                    <a:pt x="5997773" y="5919709"/>
                    <a:pt x="5997773" y="5919709"/>
                    <a:pt x="5997773" y="5919347"/>
                  </a:cubicBezTo>
                  <a:cubicBezTo>
                    <a:pt x="5997773" y="5918985"/>
                    <a:pt x="5997773" y="5918985"/>
                    <a:pt x="5998136" y="5918985"/>
                  </a:cubicBezTo>
                  <a:close/>
                  <a:moveTo>
                    <a:pt x="5844554" y="5918623"/>
                  </a:moveTo>
                  <a:cubicBezTo>
                    <a:pt x="5844954" y="5918623"/>
                    <a:pt x="5845278" y="5918947"/>
                    <a:pt x="5845278" y="5919347"/>
                  </a:cubicBezTo>
                  <a:cubicBezTo>
                    <a:pt x="5845278" y="5919751"/>
                    <a:pt x="5844954" y="5920075"/>
                    <a:pt x="5844554" y="5920075"/>
                  </a:cubicBezTo>
                  <a:cubicBezTo>
                    <a:pt x="5844150" y="5920075"/>
                    <a:pt x="5843826" y="5919751"/>
                    <a:pt x="5843826" y="5919347"/>
                  </a:cubicBezTo>
                  <a:cubicBezTo>
                    <a:pt x="5843826" y="5918947"/>
                    <a:pt x="5844150" y="5918623"/>
                    <a:pt x="5844554" y="5918623"/>
                  </a:cubicBezTo>
                  <a:close/>
                  <a:moveTo>
                    <a:pt x="6459616" y="5765400"/>
                  </a:moveTo>
                  <a:cubicBezTo>
                    <a:pt x="6459982" y="5765400"/>
                    <a:pt x="6459982" y="5765400"/>
                    <a:pt x="6459982" y="5765762"/>
                  </a:cubicBezTo>
                  <a:cubicBezTo>
                    <a:pt x="6459982" y="5766128"/>
                    <a:pt x="6459616" y="5766128"/>
                    <a:pt x="6459616" y="5766128"/>
                  </a:cubicBezTo>
                  <a:cubicBezTo>
                    <a:pt x="6459254" y="5766128"/>
                    <a:pt x="6459254" y="5766128"/>
                    <a:pt x="6459254" y="5765762"/>
                  </a:cubicBezTo>
                  <a:cubicBezTo>
                    <a:pt x="6459254" y="5765400"/>
                    <a:pt x="6459254" y="5765400"/>
                    <a:pt x="6459616" y="5765400"/>
                  </a:cubicBezTo>
                  <a:close/>
                  <a:moveTo>
                    <a:pt x="5998136" y="5765400"/>
                  </a:moveTo>
                  <a:cubicBezTo>
                    <a:pt x="5998502" y="5765400"/>
                    <a:pt x="5998502" y="5765400"/>
                    <a:pt x="5998502" y="5765762"/>
                  </a:cubicBezTo>
                  <a:cubicBezTo>
                    <a:pt x="5998502" y="5766128"/>
                    <a:pt x="5998136" y="5766128"/>
                    <a:pt x="5998136" y="5766128"/>
                  </a:cubicBezTo>
                  <a:cubicBezTo>
                    <a:pt x="5997773" y="5766128"/>
                    <a:pt x="5997773" y="5766128"/>
                    <a:pt x="5997773" y="5765762"/>
                  </a:cubicBezTo>
                  <a:cubicBezTo>
                    <a:pt x="5997773" y="5765400"/>
                    <a:pt x="5997773" y="5765400"/>
                    <a:pt x="5998136" y="5765400"/>
                  </a:cubicBezTo>
                  <a:close/>
                  <a:moveTo>
                    <a:pt x="5844550" y="5765400"/>
                  </a:moveTo>
                  <a:cubicBezTo>
                    <a:pt x="5844916" y="5765400"/>
                    <a:pt x="5844916" y="5765400"/>
                    <a:pt x="5844916" y="5765762"/>
                  </a:cubicBezTo>
                  <a:cubicBezTo>
                    <a:pt x="5844916" y="5766128"/>
                    <a:pt x="5844550" y="5766128"/>
                    <a:pt x="5844550" y="5766128"/>
                  </a:cubicBezTo>
                  <a:cubicBezTo>
                    <a:pt x="5844188" y="5766128"/>
                    <a:pt x="5844188" y="5766128"/>
                    <a:pt x="5844188" y="5765762"/>
                  </a:cubicBezTo>
                  <a:cubicBezTo>
                    <a:pt x="5844188" y="5765400"/>
                    <a:pt x="5844188" y="5765400"/>
                    <a:pt x="5844550" y="5765400"/>
                  </a:cubicBezTo>
                  <a:close/>
                  <a:moveTo>
                    <a:pt x="5690602" y="5765038"/>
                  </a:moveTo>
                  <a:cubicBezTo>
                    <a:pt x="5691003" y="5765038"/>
                    <a:pt x="5691331" y="5765362"/>
                    <a:pt x="5691331" y="5765766"/>
                  </a:cubicBezTo>
                  <a:cubicBezTo>
                    <a:pt x="5691331" y="5766166"/>
                    <a:pt x="5691003" y="5766490"/>
                    <a:pt x="5690602" y="5766490"/>
                  </a:cubicBezTo>
                  <a:cubicBezTo>
                    <a:pt x="5690202" y="5766490"/>
                    <a:pt x="5689874" y="5766166"/>
                    <a:pt x="5689874" y="5765766"/>
                  </a:cubicBezTo>
                  <a:cubicBezTo>
                    <a:pt x="5689874" y="5765362"/>
                    <a:pt x="5690202" y="5765038"/>
                    <a:pt x="5690602" y="5765038"/>
                  </a:cubicBezTo>
                  <a:close/>
                  <a:moveTo>
                    <a:pt x="6613200" y="5764313"/>
                  </a:moveTo>
                  <a:cubicBezTo>
                    <a:pt x="6614005" y="5764313"/>
                    <a:pt x="6614653" y="5764965"/>
                    <a:pt x="6614653" y="5765766"/>
                  </a:cubicBezTo>
                  <a:cubicBezTo>
                    <a:pt x="6614653" y="5766566"/>
                    <a:pt x="6614005" y="5767218"/>
                    <a:pt x="6613200" y="5767218"/>
                  </a:cubicBezTo>
                  <a:cubicBezTo>
                    <a:pt x="6612400" y="5767218"/>
                    <a:pt x="6611752" y="5766566"/>
                    <a:pt x="6611752" y="5765766"/>
                  </a:cubicBezTo>
                  <a:cubicBezTo>
                    <a:pt x="6611752" y="5764965"/>
                    <a:pt x="6612400" y="5764313"/>
                    <a:pt x="6613200" y="5764313"/>
                  </a:cubicBezTo>
                  <a:close/>
                  <a:moveTo>
                    <a:pt x="6305668" y="5611452"/>
                  </a:moveTo>
                  <a:cubicBezTo>
                    <a:pt x="6305870" y="5611452"/>
                    <a:pt x="6306034" y="5611616"/>
                    <a:pt x="6306034" y="5611815"/>
                  </a:cubicBezTo>
                  <a:cubicBezTo>
                    <a:pt x="6306034" y="5612017"/>
                    <a:pt x="6305870" y="5612177"/>
                    <a:pt x="6305668" y="5612177"/>
                  </a:cubicBezTo>
                  <a:cubicBezTo>
                    <a:pt x="6305470" y="5612177"/>
                    <a:pt x="6305306" y="5612017"/>
                    <a:pt x="6305306" y="5611815"/>
                  </a:cubicBezTo>
                  <a:cubicBezTo>
                    <a:pt x="6305306" y="5611616"/>
                    <a:pt x="6305470" y="5611452"/>
                    <a:pt x="6305668" y="5611452"/>
                  </a:cubicBezTo>
                  <a:close/>
                  <a:moveTo>
                    <a:pt x="5844550" y="5611452"/>
                  </a:moveTo>
                  <a:cubicBezTo>
                    <a:pt x="5844916" y="5611452"/>
                    <a:pt x="5844916" y="5611452"/>
                    <a:pt x="5844916" y="5611815"/>
                  </a:cubicBezTo>
                  <a:cubicBezTo>
                    <a:pt x="5844916" y="5612181"/>
                    <a:pt x="5844550" y="5612181"/>
                    <a:pt x="5844550" y="5612181"/>
                  </a:cubicBezTo>
                  <a:cubicBezTo>
                    <a:pt x="5844188" y="5612181"/>
                    <a:pt x="5844188" y="5612181"/>
                    <a:pt x="5844188" y="5611815"/>
                  </a:cubicBezTo>
                  <a:cubicBezTo>
                    <a:pt x="5844188" y="5611452"/>
                    <a:pt x="5844188" y="5611452"/>
                    <a:pt x="5844550" y="5611452"/>
                  </a:cubicBezTo>
                  <a:close/>
                  <a:moveTo>
                    <a:pt x="5690606" y="5611452"/>
                  </a:moveTo>
                  <a:cubicBezTo>
                    <a:pt x="5690972" y="5611452"/>
                    <a:pt x="5690972" y="5611452"/>
                    <a:pt x="5690972" y="5611815"/>
                  </a:cubicBezTo>
                  <a:cubicBezTo>
                    <a:pt x="5690972" y="5612181"/>
                    <a:pt x="5690606" y="5612181"/>
                    <a:pt x="5690606" y="5612181"/>
                  </a:cubicBezTo>
                  <a:cubicBezTo>
                    <a:pt x="5690244" y="5612181"/>
                    <a:pt x="5690244" y="5612181"/>
                    <a:pt x="5690244" y="5611815"/>
                  </a:cubicBezTo>
                  <a:cubicBezTo>
                    <a:pt x="5690244" y="5611452"/>
                    <a:pt x="5690244" y="5611452"/>
                    <a:pt x="5690606" y="5611452"/>
                  </a:cubicBezTo>
                  <a:close/>
                  <a:moveTo>
                    <a:pt x="5537021" y="5611090"/>
                  </a:moveTo>
                  <a:cubicBezTo>
                    <a:pt x="5537422" y="5611090"/>
                    <a:pt x="5537750" y="5611414"/>
                    <a:pt x="5537750" y="5611815"/>
                  </a:cubicBezTo>
                  <a:cubicBezTo>
                    <a:pt x="5537750" y="5612219"/>
                    <a:pt x="5537422" y="5612543"/>
                    <a:pt x="5537021" y="5612543"/>
                  </a:cubicBezTo>
                  <a:cubicBezTo>
                    <a:pt x="5536621" y="5612543"/>
                    <a:pt x="5536297" y="5612219"/>
                    <a:pt x="5536297" y="5611815"/>
                  </a:cubicBezTo>
                  <a:cubicBezTo>
                    <a:pt x="5536297" y="5611414"/>
                    <a:pt x="5536621" y="5611090"/>
                    <a:pt x="5537021" y="5611090"/>
                  </a:cubicBezTo>
                  <a:close/>
                  <a:moveTo>
                    <a:pt x="6459616" y="5610366"/>
                  </a:moveTo>
                  <a:cubicBezTo>
                    <a:pt x="6460420" y="5610366"/>
                    <a:pt x="6461068" y="5611018"/>
                    <a:pt x="6461068" y="5611818"/>
                  </a:cubicBezTo>
                  <a:cubicBezTo>
                    <a:pt x="6461068" y="5612619"/>
                    <a:pt x="6460420" y="5613271"/>
                    <a:pt x="6459616" y="5613271"/>
                  </a:cubicBezTo>
                  <a:cubicBezTo>
                    <a:pt x="6458815" y="5613271"/>
                    <a:pt x="6458163" y="5612619"/>
                    <a:pt x="6458163" y="5611818"/>
                  </a:cubicBezTo>
                  <a:cubicBezTo>
                    <a:pt x="6458163" y="5611018"/>
                    <a:pt x="6458815" y="5610366"/>
                    <a:pt x="6459616" y="5610366"/>
                  </a:cubicBezTo>
                  <a:close/>
                  <a:moveTo>
                    <a:pt x="6613200" y="5609638"/>
                  </a:moveTo>
                  <a:cubicBezTo>
                    <a:pt x="6614406" y="5609638"/>
                    <a:pt x="6615381" y="5610614"/>
                    <a:pt x="6615381" y="5611815"/>
                  </a:cubicBezTo>
                  <a:cubicBezTo>
                    <a:pt x="6615381" y="5613019"/>
                    <a:pt x="6614406" y="5613995"/>
                    <a:pt x="6613200" y="5613995"/>
                  </a:cubicBezTo>
                  <a:cubicBezTo>
                    <a:pt x="6612000" y="5613995"/>
                    <a:pt x="6611024" y="5613019"/>
                    <a:pt x="6611024" y="5611815"/>
                  </a:cubicBezTo>
                  <a:cubicBezTo>
                    <a:pt x="6611024" y="5610614"/>
                    <a:pt x="6612000" y="5609638"/>
                    <a:pt x="6613200" y="5609638"/>
                  </a:cubicBezTo>
                  <a:close/>
                  <a:moveTo>
                    <a:pt x="6152086" y="5457871"/>
                  </a:moveTo>
                  <a:cubicBezTo>
                    <a:pt x="6152448" y="5457871"/>
                    <a:pt x="6152448" y="5457871"/>
                    <a:pt x="6152448" y="5458233"/>
                  </a:cubicBezTo>
                  <a:cubicBezTo>
                    <a:pt x="6152448" y="5458595"/>
                    <a:pt x="6152086" y="5458595"/>
                    <a:pt x="6152086" y="5458595"/>
                  </a:cubicBezTo>
                  <a:cubicBezTo>
                    <a:pt x="6151724" y="5458595"/>
                    <a:pt x="6151724" y="5458595"/>
                    <a:pt x="6151724" y="5458233"/>
                  </a:cubicBezTo>
                  <a:cubicBezTo>
                    <a:pt x="6151724" y="5457871"/>
                    <a:pt x="6151724" y="5457871"/>
                    <a:pt x="6152086" y="5457871"/>
                  </a:cubicBezTo>
                  <a:close/>
                  <a:moveTo>
                    <a:pt x="5690606" y="5457871"/>
                  </a:moveTo>
                  <a:cubicBezTo>
                    <a:pt x="5690972" y="5457871"/>
                    <a:pt x="5690972" y="5457871"/>
                    <a:pt x="5690972" y="5458233"/>
                  </a:cubicBezTo>
                  <a:cubicBezTo>
                    <a:pt x="5690972" y="5458595"/>
                    <a:pt x="5690606" y="5458595"/>
                    <a:pt x="5690606" y="5458595"/>
                  </a:cubicBezTo>
                  <a:cubicBezTo>
                    <a:pt x="5690244" y="5458595"/>
                    <a:pt x="5690244" y="5458595"/>
                    <a:pt x="5690244" y="5458233"/>
                  </a:cubicBezTo>
                  <a:cubicBezTo>
                    <a:pt x="5690244" y="5457871"/>
                    <a:pt x="5690244" y="5457871"/>
                    <a:pt x="5690606" y="5457871"/>
                  </a:cubicBezTo>
                  <a:close/>
                  <a:moveTo>
                    <a:pt x="5536659" y="5457871"/>
                  </a:moveTo>
                  <a:cubicBezTo>
                    <a:pt x="5537021" y="5457871"/>
                    <a:pt x="5537021" y="5457871"/>
                    <a:pt x="5537021" y="5458233"/>
                  </a:cubicBezTo>
                  <a:cubicBezTo>
                    <a:pt x="5537021" y="5458595"/>
                    <a:pt x="5536659" y="5458595"/>
                    <a:pt x="5536659" y="5458595"/>
                  </a:cubicBezTo>
                  <a:cubicBezTo>
                    <a:pt x="5536297" y="5458595"/>
                    <a:pt x="5536297" y="5458595"/>
                    <a:pt x="5536297" y="5458233"/>
                  </a:cubicBezTo>
                  <a:cubicBezTo>
                    <a:pt x="5536297" y="5457871"/>
                    <a:pt x="5536297" y="5457871"/>
                    <a:pt x="5536659" y="5457871"/>
                  </a:cubicBezTo>
                  <a:close/>
                  <a:moveTo>
                    <a:pt x="5383078" y="5457505"/>
                  </a:moveTo>
                  <a:cubicBezTo>
                    <a:pt x="5383478" y="5457505"/>
                    <a:pt x="5383802" y="5457829"/>
                    <a:pt x="5383802" y="5458233"/>
                  </a:cubicBezTo>
                  <a:cubicBezTo>
                    <a:pt x="5383802" y="5458633"/>
                    <a:pt x="5383478" y="5458957"/>
                    <a:pt x="5383078" y="5458957"/>
                  </a:cubicBezTo>
                  <a:cubicBezTo>
                    <a:pt x="5382674" y="5458957"/>
                    <a:pt x="5382350" y="5458633"/>
                    <a:pt x="5382350" y="5458233"/>
                  </a:cubicBezTo>
                  <a:cubicBezTo>
                    <a:pt x="5382350" y="5457829"/>
                    <a:pt x="5382674" y="5457505"/>
                    <a:pt x="5383078" y="5457505"/>
                  </a:cubicBezTo>
                  <a:close/>
                  <a:moveTo>
                    <a:pt x="6305668" y="5456781"/>
                  </a:moveTo>
                  <a:cubicBezTo>
                    <a:pt x="6306472" y="5456781"/>
                    <a:pt x="6307120" y="5457433"/>
                    <a:pt x="6307120" y="5458233"/>
                  </a:cubicBezTo>
                  <a:cubicBezTo>
                    <a:pt x="6307120" y="5459034"/>
                    <a:pt x="6306472" y="5459685"/>
                    <a:pt x="6305668" y="5459685"/>
                  </a:cubicBezTo>
                  <a:cubicBezTo>
                    <a:pt x="6304868" y="5459685"/>
                    <a:pt x="6304216" y="5459034"/>
                    <a:pt x="6304216" y="5458233"/>
                  </a:cubicBezTo>
                  <a:cubicBezTo>
                    <a:pt x="6304216" y="5457433"/>
                    <a:pt x="6304868" y="5456781"/>
                    <a:pt x="6305668" y="5456781"/>
                  </a:cubicBezTo>
                  <a:close/>
                  <a:moveTo>
                    <a:pt x="6459619" y="5456053"/>
                  </a:moveTo>
                  <a:cubicBezTo>
                    <a:pt x="6460820" y="5456053"/>
                    <a:pt x="6461796" y="5457029"/>
                    <a:pt x="6461796" y="5458233"/>
                  </a:cubicBezTo>
                  <a:cubicBezTo>
                    <a:pt x="6461796" y="5459434"/>
                    <a:pt x="6460820" y="5460410"/>
                    <a:pt x="6459619" y="5460410"/>
                  </a:cubicBezTo>
                  <a:cubicBezTo>
                    <a:pt x="6458414" y="5460410"/>
                    <a:pt x="6457439" y="5459434"/>
                    <a:pt x="6457439" y="5458233"/>
                  </a:cubicBezTo>
                  <a:cubicBezTo>
                    <a:pt x="6457439" y="5457029"/>
                    <a:pt x="6458414" y="5456053"/>
                    <a:pt x="6459619" y="5456053"/>
                  </a:cubicBezTo>
                  <a:close/>
                  <a:moveTo>
                    <a:pt x="6613200" y="5454966"/>
                  </a:moveTo>
                  <a:cubicBezTo>
                    <a:pt x="6615015" y="5454966"/>
                    <a:pt x="6616468" y="5456419"/>
                    <a:pt x="6616468" y="5458233"/>
                  </a:cubicBezTo>
                  <a:cubicBezTo>
                    <a:pt x="6616468" y="5460048"/>
                    <a:pt x="6615015" y="5461500"/>
                    <a:pt x="6613200" y="5461500"/>
                  </a:cubicBezTo>
                  <a:cubicBezTo>
                    <a:pt x="6611386" y="5461500"/>
                    <a:pt x="6609934" y="5460048"/>
                    <a:pt x="6609934" y="5458233"/>
                  </a:cubicBezTo>
                  <a:cubicBezTo>
                    <a:pt x="6609934" y="5456419"/>
                    <a:pt x="6611386" y="5454966"/>
                    <a:pt x="6613200" y="5454966"/>
                  </a:cubicBezTo>
                  <a:close/>
                  <a:moveTo>
                    <a:pt x="5998136" y="5303924"/>
                  </a:moveTo>
                  <a:cubicBezTo>
                    <a:pt x="5998502" y="5303924"/>
                    <a:pt x="5998502" y="5303924"/>
                    <a:pt x="5998502" y="5304286"/>
                  </a:cubicBezTo>
                  <a:cubicBezTo>
                    <a:pt x="5998502" y="5304652"/>
                    <a:pt x="5998136" y="5304652"/>
                    <a:pt x="5998136" y="5304652"/>
                  </a:cubicBezTo>
                  <a:cubicBezTo>
                    <a:pt x="5997773" y="5304652"/>
                    <a:pt x="5997773" y="5304652"/>
                    <a:pt x="5997773" y="5304286"/>
                  </a:cubicBezTo>
                  <a:cubicBezTo>
                    <a:pt x="5997773" y="5303924"/>
                    <a:pt x="5997773" y="5303924"/>
                    <a:pt x="5998136" y="5303924"/>
                  </a:cubicBezTo>
                  <a:close/>
                  <a:moveTo>
                    <a:pt x="5536659" y="5303924"/>
                  </a:moveTo>
                  <a:cubicBezTo>
                    <a:pt x="5537021" y="5303924"/>
                    <a:pt x="5537021" y="5303924"/>
                    <a:pt x="5537021" y="5304286"/>
                  </a:cubicBezTo>
                  <a:cubicBezTo>
                    <a:pt x="5537021" y="5304652"/>
                    <a:pt x="5536659" y="5304652"/>
                    <a:pt x="5536659" y="5304652"/>
                  </a:cubicBezTo>
                  <a:cubicBezTo>
                    <a:pt x="5536297" y="5304652"/>
                    <a:pt x="5536297" y="5304652"/>
                    <a:pt x="5536297" y="5304286"/>
                  </a:cubicBezTo>
                  <a:cubicBezTo>
                    <a:pt x="5536297" y="5303924"/>
                    <a:pt x="5536297" y="5303924"/>
                    <a:pt x="5536659" y="5303924"/>
                  </a:cubicBezTo>
                  <a:close/>
                  <a:moveTo>
                    <a:pt x="5383074" y="5303924"/>
                  </a:moveTo>
                  <a:cubicBezTo>
                    <a:pt x="5383436" y="5303924"/>
                    <a:pt x="5383436" y="5303924"/>
                    <a:pt x="5383436" y="5304286"/>
                  </a:cubicBezTo>
                  <a:cubicBezTo>
                    <a:pt x="5383436" y="5304652"/>
                    <a:pt x="5383074" y="5304652"/>
                    <a:pt x="5383074" y="5304652"/>
                  </a:cubicBezTo>
                  <a:cubicBezTo>
                    <a:pt x="5382712" y="5304652"/>
                    <a:pt x="5382712" y="5304652"/>
                    <a:pt x="5382712" y="5304286"/>
                  </a:cubicBezTo>
                  <a:cubicBezTo>
                    <a:pt x="5382712" y="5303924"/>
                    <a:pt x="5382712" y="5303924"/>
                    <a:pt x="5383074" y="5303924"/>
                  </a:cubicBezTo>
                  <a:close/>
                  <a:moveTo>
                    <a:pt x="5229126" y="5303558"/>
                  </a:moveTo>
                  <a:cubicBezTo>
                    <a:pt x="5229492" y="5303558"/>
                    <a:pt x="5229854" y="5303920"/>
                    <a:pt x="5229854" y="5304282"/>
                  </a:cubicBezTo>
                  <a:cubicBezTo>
                    <a:pt x="5229854" y="5304648"/>
                    <a:pt x="5229126" y="5305010"/>
                    <a:pt x="5229126" y="5305010"/>
                  </a:cubicBezTo>
                  <a:cubicBezTo>
                    <a:pt x="5228764" y="5305010"/>
                    <a:pt x="5228402" y="5304648"/>
                    <a:pt x="5228402" y="5304282"/>
                  </a:cubicBezTo>
                  <a:cubicBezTo>
                    <a:pt x="5228402" y="5303920"/>
                    <a:pt x="5228764" y="5303558"/>
                    <a:pt x="5229126" y="5303558"/>
                  </a:cubicBezTo>
                  <a:close/>
                  <a:moveTo>
                    <a:pt x="6152086" y="5302833"/>
                  </a:moveTo>
                  <a:cubicBezTo>
                    <a:pt x="6152891" y="5302833"/>
                    <a:pt x="6153539" y="5303485"/>
                    <a:pt x="6153539" y="5304286"/>
                  </a:cubicBezTo>
                  <a:cubicBezTo>
                    <a:pt x="6153539" y="5305086"/>
                    <a:pt x="6152891" y="5305738"/>
                    <a:pt x="6152086" y="5305738"/>
                  </a:cubicBezTo>
                  <a:cubicBezTo>
                    <a:pt x="6151286" y="5305738"/>
                    <a:pt x="6150638" y="5305086"/>
                    <a:pt x="6150638" y="5304286"/>
                  </a:cubicBezTo>
                  <a:cubicBezTo>
                    <a:pt x="6150638" y="5303485"/>
                    <a:pt x="6151286" y="5302833"/>
                    <a:pt x="6152086" y="5302833"/>
                  </a:cubicBezTo>
                  <a:close/>
                  <a:moveTo>
                    <a:pt x="6305672" y="5302105"/>
                  </a:moveTo>
                  <a:cubicBezTo>
                    <a:pt x="6306872" y="5302105"/>
                    <a:pt x="6307848" y="5303081"/>
                    <a:pt x="6307848" y="5304282"/>
                  </a:cubicBezTo>
                  <a:cubicBezTo>
                    <a:pt x="6307848" y="5305487"/>
                    <a:pt x="6306872" y="5306462"/>
                    <a:pt x="6305672" y="5306462"/>
                  </a:cubicBezTo>
                  <a:cubicBezTo>
                    <a:pt x="6304468" y="5306462"/>
                    <a:pt x="6303492" y="5305487"/>
                    <a:pt x="6303492" y="5304282"/>
                  </a:cubicBezTo>
                  <a:cubicBezTo>
                    <a:pt x="6303492" y="5303081"/>
                    <a:pt x="6304468" y="5302105"/>
                    <a:pt x="6305672" y="5302105"/>
                  </a:cubicBezTo>
                  <a:close/>
                  <a:moveTo>
                    <a:pt x="6459619" y="5301019"/>
                  </a:moveTo>
                  <a:cubicBezTo>
                    <a:pt x="6461434" y="5301019"/>
                    <a:pt x="6462882" y="5302471"/>
                    <a:pt x="6462882" y="5304286"/>
                  </a:cubicBezTo>
                  <a:cubicBezTo>
                    <a:pt x="6462882" y="5306100"/>
                    <a:pt x="6461434" y="5307553"/>
                    <a:pt x="6459619" y="5307553"/>
                  </a:cubicBezTo>
                  <a:cubicBezTo>
                    <a:pt x="6457801" y="5307553"/>
                    <a:pt x="6456348" y="5306100"/>
                    <a:pt x="6456348" y="5304286"/>
                  </a:cubicBezTo>
                  <a:cubicBezTo>
                    <a:pt x="6456348" y="5302471"/>
                    <a:pt x="6457801" y="5301019"/>
                    <a:pt x="6459619" y="5301019"/>
                  </a:cubicBezTo>
                  <a:close/>
                  <a:moveTo>
                    <a:pt x="6613200" y="5299929"/>
                  </a:moveTo>
                  <a:cubicBezTo>
                    <a:pt x="6615743" y="5299929"/>
                    <a:pt x="6617558" y="5301743"/>
                    <a:pt x="6617558" y="5304286"/>
                  </a:cubicBezTo>
                  <a:cubicBezTo>
                    <a:pt x="6617558" y="5306828"/>
                    <a:pt x="6615378" y="5308643"/>
                    <a:pt x="6613200" y="5308643"/>
                  </a:cubicBezTo>
                  <a:cubicBezTo>
                    <a:pt x="6610658" y="5308643"/>
                    <a:pt x="6608844" y="5306828"/>
                    <a:pt x="6608844" y="5304286"/>
                  </a:cubicBezTo>
                  <a:cubicBezTo>
                    <a:pt x="6608844" y="5301743"/>
                    <a:pt x="6610658" y="5299929"/>
                    <a:pt x="6613200" y="5299929"/>
                  </a:cubicBezTo>
                  <a:close/>
                  <a:moveTo>
                    <a:pt x="5844550" y="5150338"/>
                  </a:moveTo>
                  <a:cubicBezTo>
                    <a:pt x="5844916" y="5150338"/>
                    <a:pt x="5844916" y="5150338"/>
                    <a:pt x="5844916" y="5150700"/>
                  </a:cubicBezTo>
                  <a:cubicBezTo>
                    <a:pt x="5844916" y="5151063"/>
                    <a:pt x="5844550" y="5151063"/>
                    <a:pt x="5844550" y="5151063"/>
                  </a:cubicBezTo>
                  <a:cubicBezTo>
                    <a:pt x="5844188" y="5151063"/>
                    <a:pt x="5844188" y="5151063"/>
                    <a:pt x="5844188" y="5150700"/>
                  </a:cubicBezTo>
                  <a:cubicBezTo>
                    <a:pt x="5844188" y="5150338"/>
                    <a:pt x="5844188" y="5150338"/>
                    <a:pt x="5844550" y="5150338"/>
                  </a:cubicBezTo>
                  <a:close/>
                  <a:moveTo>
                    <a:pt x="5383074" y="5150338"/>
                  </a:moveTo>
                  <a:cubicBezTo>
                    <a:pt x="5383436" y="5150338"/>
                    <a:pt x="5383436" y="5150338"/>
                    <a:pt x="5383436" y="5150700"/>
                  </a:cubicBezTo>
                  <a:cubicBezTo>
                    <a:pt x="5383436" y="5151063"/>
                    <a:pt x="5383074" y="5151063"/>
                    <a:pt x="5383074" y="5151063"/>
                  </a:cubicBezTo>
                  <a:cubicBezTo>
                    <a:pt x="5382712" y="5151063"/>
                    <a:pt x="5382712" y="5151063"/>
                    <a:pt x="5382712" y="5150700"/>
                  </a:cubicBezTo>
                  <a:cubicBezTo>
                    <a:pt x="5382712" y="5150338"/>
                    <a:pt x="5382712" y="5150338"/>
                    <a:pt x="5383074" y="5150338"/>
                  </a:cubicBezTo>
                  <a:close/>
                  <a:moveTo>
                    <a:pt x="5229126" y="5150338"/>
                  </a:moveTo>
                  <a:cubicBezTo>
                    <a:pt x="5229488" y="5150338"/>
                    <a:pt x="5229488" y="5150338"/>
                    <a:pt x="5229488" y="5150700"/>
                  </a:cubicBezTo>
                  <a:cubicBezTo>
                    <a:pt x="5229488" y="5151063"/>
                    <a:pt x="5229126" y="5151063"/>
                    <a:pt x="5229126" y="5151063"/>
                  </a:cubicBezTo>
                  <a:cubicBezTo>
                    <a:pt x="5228764" y="5151063"/>
                    <a:pt x="5228764" y="5151063"/>
                    <a:pt x="5228764" y="5150700"/>
                  </a:cubicBezTo>
                  <a:cubicBezTo>
                    <a:pt x="5228764" y="5150338"/>
                    <a:pt x="5228764" y="5150338"/>
                    <a:pt x="5229126" y="5150338"/>
                  </a:cubicBezTo>
                  <a:close/>
                  <a:moveTo>
                    <a:pt x="5075545" y="5149972"/>
                  </a:moveTo>
                  <a:cubicBezTo>
                    <a:pt x="5075907" y="5149972"/>
                    <a:pt x="5076270" y="5150335"/>
                    <a:pt x="5076270" y="5150700"/>
                  </a:cubicBezTo>
                  <a:cubicBezTo>
                    <a:pt x="5076270" y="5151063"/>
                    <a:pt x="5075545" y="5151425"/>
                    <a:pt x="5075545" y="5151425"/>
                  </a:cubicBezTo>
                  <a:cubicBezTo>
                    <a:pt x="5075179" y="5151425"/>
                    <a:pt x="5074817" y="5151063"/>
                    <a:pt x="5074817" y="5150700"/>
                  </a:cubicBezTo>
                  <a:cubicBezTo>
                    <a:pt x="5074817" y="5150335"/>
                    <a:pt x="5075179" y="5149972"/>
                    <a:pt x="5075545" y="5149972"/>
                  </a:cubicBezTo>
                  <a:close/>
                  <a:moveTo>
                    <a:pt x="5998139" y="5149248"/>
                  </a:moveTo>
                  <a:cubicBezTo>
                    <a:pt x="5998944" y="5149248"/>
                    <a:pt x="5999592" y="5149900"/>
                    <a:pt x="5999592" y="5150700"/>
                  </a:cubicBezTo>
                  <a:cubicBezTo>
                    <a:pt x="5999592" y="5151501"/>
                    <a:pt x="5998944" y="5152153"/>
                    <a:pt x="5998139" y="5152153"/>
                  </a:cubicBezTo>
                  <a:cubicBezTo>
                    <a:pt x="5997338" y="5152153"/>
                    <a:pt x="5996690" y="5151501"/>
                    <a:pt x="5996690" y="5150700"/>
                  </a:cubicBezTo>
                  <a:cubicBezTo>
                    <a:pt x="5996690" y="5149900"/>
                    <a:pt x="5997338" y="5149248"/>
                    <a:pt x="5998139" y="5149248"/>
                  </a:cubicBezTo>
                  <a:close/>
                  <a:moveTo>
                    <a:pt x="6152083" y="5148524"/>
                  </a:moveTo>
                  <a:cubicBezTo>
                    <a:pt x="6153288" y="5148524"/>
                    <a:pt x="6154263" y="5149500"/>
                    <a:pt x="6154263" y="5150704"/>
                  </a:cubicBezTo>
                  <a:cubicBezTo>
                    <a:pt x="6154263" y="5151905"/>
                    <a:pt x="6153288" y="5152881"/>
                    <a:pt x="6152083" y="5152881"/>
                  </a:cubicBezTo>
                  <a:cubicBezTo>
                    <a:pt x="6150882" y="5152881"/>
                    <a:pt x="6149906" y="5151905"/>
                    <a:pt x="6149906" y="5150704"/>
                  </a:cubicBezTo>
                  <a:cubicBezTo>
                    <a:pt x="6149906" y="5149500"/>
                    <a:pt x="6150882" y="5148524"/>
                    <a:pt x="6152083" y="5148524"/>
                  </a:cubicBezTo>
                  <a:close/>
                  <a:moveTo>
                    <a:pt x="6305672" y="5147434"/>
                  </a:moveTo>
                  <a:cubicBezTo>
                    <a:pt x="6307486" y="5147434"/>
                    <a:pt x="6308935" y="5148886"/>
                    <a:pt x="6308935" y="5150700"/>
                  </a:cubicBezTo>
                  <a:cubicBezTo>
                    <a:pt x="6308935" y="5152515"/>
                    <a:pt x="6307486" y="5153967"/>
                    <a:pt x="6305672" y="5153967"/>
                  </a:cubicBezTo>
                  <a:cubicBezTo>
                    <a:pt x="6303854" y="5153967"/>
                    <a:pt x="6302401" y="5152515"/>
                    <a:pt x="6302401" y="5150700"/>
                  </a:cubicBezTo>
                  <a:cubicBezTo>
                    <a:pt x="6302401" y="5148886"/>
                    <a:pt x="6303854" y="5147434"/>
                    <a:pt x="6305672" y="5147434"/>
                  </a:cubicBezTo>
                  <a:close/>
                  <a:moveTo>
                    <a:pt x="6459616" y="5145981"/>
                  </a:moveTo>
                  <a:cubicBezTo>
                    <a:pt x="6462158" y="5145981"/>
                    <a:pt x="6463972" y="5147796"/>
                    <a:pt x="6463972" y="5150338"/>
                  </a:cubicBezTo>
                  <a:cubicBezTo>
                    <a:pt x="6463972" y="5152881"/>
                    <a:pt x="6461792" y="5154695"/>
                    <a:pt x="6459616" y="5154695"/>
                  </a:cubicBezTo>
                  <a:cubicBezTo>
                    <a:pt x="6457073" y="5154695"/>
                    <a:pt x="6455258" y="5152881"/>
                    <a:pt x="6455258" y="5150338"/>
                  </a:cubicBezTo>
                  <a:cubicBezTo>
                    <a:pt x="6455258" y="5147796"/>
                    <a:pt x="6457073" y="5145981"/>
                    <a:pt x="6459616" y="5145981"/>
                  </a:cubicBezTo>
                  <a:close/>
                  <a:moveTo>
                    <a:pt x="6613200" y="5144891"/>
                  </a:moveTo>
                  <a:cubicBezTo>
                    <a:pt x="6616410" y="5144891"/>
                    <a:pt x="6619010" y="5147491"/>
                    <a:pt x="6619010" y="5150700"/>
                  </a:cubicBezTo>
                  <a:cubicBezTo>
                    <a:pt x="6619010" y="5153910"/>
                    <a:pt x="6616410" y="5156510"/>
                    <a:pt x="6613200" y="5156510"/>
                  </a:cubicBezTo>
                  <a:cubicBezTo>
                    <a:pt x="6609995" y="5156510"/>
                    <a:pt x="6607395" y="5153910"/>
                    <a:pt x="6607395" y="5150700"/>
                  </a:cubicBezTo>
                  <a:cubicBezTo>
                    <a:pt x="6607395" y="5147491"/>
                    <a:pt x="6609995" y="5144891"/>
                    <a:pt x="6613200" y="5144891"/>
                  </a:cubicBezTo>
                  <a:close/>
                  <a:moveTo>
                    <a:pt x="5690606" y="4996391"/>
                  </a:moveTo>
                  <a:cubicBezTo>
                    <a:pt x="5690972" y="4996391"/>
                    <a:pt x="5690972" y="4996391"/>
                    <a:pt x="5690972" y="4996753"/>
                  </a:cubicBezTo>
                  <a:cubicBezTo>
                    <a:pt x="5690972" y="4997119"/>
                    <a:pt x="5690606" y="4997119"/>
                    <a:pt x="5690606" y="4997119"/>
                  </a:cubicBezTo>
                  <a:cubicBezTo>
                    <a:pt x="5690244" y="4997119"/>
                    <a:pt x="5690244" y="4997119"/>
                    <a:pt x="5690244" y="4996753"/>
                  </a:cubicBezTo>
                  <a:cubicBezTo>
                    <a:pt x="5690244" y="4996391"/>
                    <a:pt x="5690244" y="4996391"/>
                    <a:pt x="5690606" y="4996391"/>
                  </a:cubicBezTo>
                  <a:close/>
                  <a:moveTo>
                    <a:pt x="5229126" y="4996391"/>
                  </a:moveTo>
                  <a:cubicBezTo>
                    <a:pt x="5229488" y="4996391"/>
                    <a:pt x="5229488" y="4996391"/>
                    <a:pt x="5229488" y="4996753"/>
                  </a:cubicBezTo>
                  <a:cubicBezTo>
                    <a:pt x="5229488" y="4997119"/>
                    <a:pt x="5229126" y="4997119"/>
                    <a:pt x="5229126" y="4997119"/>
                  </a:cubicBezTo>
                  <a:cubicBezTo>
                    <a:pt x="5228764" y="4997119"/>
                    <a:pt x="5228764" y="4997119"/>
                    <a:pt x="5228764" y="4996753"/>
                  </a:cubicBezTo>
                  <a:cubicBezTo>
                    <a:pt x="5228764" y="4996391"/>
                    <a:pt x="5228764" y="4996391"/>
                    <a:pt x="5229126" y="4996391"/>
                  </a:cubicBezTo>
                  <a:close/>
                  <a:moveTo>
                    <a:pt x="5075541" y="4996391"/>
                  </a:moveTo>
                  <a:cubicBezTo>
                    <a:pt x="5075904" y="4996391"/>
                    <a:pt x="5075904" y="4996391"/>
                    <a:pt x="5075904" y="4996753"/>
                  </a:cubicBezTo>
                  <a:cubicBezTo>
                    <a:pt x="5075904" y="4997119"/>
                    <a:pt x="5075541" y="4997119"/>
                    <a:pt x="5075541" y="4997119"/>
                  </a:cubicBezTo>
                  <a:cubicBezTo>
                    <a:pt x="5075179" y="4997119"/>
                    <a:pt x="5075179" y="4997119"/>
                    <a:pt x="5075179" y="4996753"/>
                  </a:cubicBezTo>
                  <a:cubicBezTo>
                    <a:pt x="5075179" y="4996391"/>
                    <a:pt x="5075179" y="4996391"/>
                    <a:pt x="5075541" y="4996391"/>
                  </a:cubicBezTo>
                  <a:close/>
                  <a:moveTo>
                    <a:pt x="4921594" y="4996029"/>
                  </a:moveTo>
                  <a:cubicBezTo>
                    <a:pt x="4921960" y="4996029"/>
                    <a:pt x="4922322" y="4996391"/>
                    <a:pt x="4922322" y="4996753"/>
                  </a:cubicBezTo>
                  <a:cubicBezTo>
                    <a:pt x="4922322" y="4997119"/>
                    <a:pt x="4921594" y="4997481"/>
                    <a:pt x="4921594" y="4997481"/>
                  </a:cubicBezTo>
                  <a:cubicBezTo>
                    <a:pt x="4921232" y="4997481"/>
                    <a:pt x="4920870" y="4997119"/>
                    <a:pt x="4920870" y="4996753"/>
                  </a:cubicBezTo>
                  <a:cubicBezTo>
                    <a:pt x="4920870" y="4996391"/>
                    <a:pt x="4921232" y="4996029"/>
                    <a:pt x="4921594" y="4996029"/>
                  </a:cubicBezTo>
                  <a:close/>
                  <a:moveTo>
                    <a:pt x="5844554" y="4995301"/>
                  </a:moveTo>
                  <a:cubicBezTo>
                    <a:pt x="5845278" y="4995301"/>
                    <a:pt x="5846006" y="4996029"/>
                    <a:pt x="5846006" y="4996753"/>
                  </a:cubicBezTo>
                  <a:cubicBezTo>
                    <a:pt x="5846006" y="4997477"/>
                    <a:pt x="5844554" y="4998205"/>
                    <a:pt x="5844554" y="4998205"/>
                  </a:cubicBezTo>
                  <a:cubicBezTo>
                    <a:pt x="5843826" y="4998205"/>
                    <a:pt x="5843102" y="4997477"/>
                    <a:pt x="5843102" y="4996753"/>
                  </a:cubicBezTo>
                  <a:cubicBezTo>
                    <a:pt x="5843102" y="4996029"/>
                    <a:pt x="5843826" y="4995301"/>
                    <a:pt x="5844554" y="4995301"/>
                  </a:cubicBezTo>
                  <a:close/>
                  <a:moveTo>
                    <a:pt x="5998136" y="4994577"/>
                  </a:moveTo>
                  <a:cubicBezTo>
                    <a:pt x="5999340" y="4994577"/>
                    <a:pt x="6000316" y="4995552"/>
                    <a:pt x="6000316" y="4996753"/>
                  </a:cubicBezTo>
                  <a:cubicBezTo>
                    <a:pt x="6000316" y="4997958"/>
                    <a:pt x="5999340" y="4998934"/>
                    <a:pt x="5998136" y="4998934"/>
                  </a:cubicBezTo>
                  <a:cubicBezTo>
                    <a:pt x="5996934" y="4998934"/>
                    <a:pt x="5995959" y="4997958"/>
                    <a:pt x="5995959" y="4996753"/>
                  </a:cubicBezTo>
                  <a:cubicBezTo>
                    <a:pt x="5995959" y="4995552"/>
                    <a:pt x="5996934" y="4994577"/>
                    <a:pt x="5998136" y="4994577"/>
                  </a:cubicBezTo>
                  <a:close/>
                  <a:moveTo>
                    <a:pt x="6152083" y="4993486"/>
                  </a:moveTo>
                  <a:cubicBezTo>
                    <a:pt x="6153901" y="4993486"/>
                    <a:pt x="6155350" y="4994939"/>
                    <a:pt x="6155350" y="4996753"/>
                  </a:cubicBezTo>
                  <a:cubicBezTo>
                    <a:pt x="6155350" y="4998568"/>
                    <a:pt x="6153901" y="5000024"/>
                    <a:pt x="6152083" y="5000024"/>
                  </a:cubicBezTo>
                  <a:cubicBezTo>
                    <a:pt x="6150268" y="5000024"/>
                    <a:pt x="6148816" y="4998568"/>
                    <a:pt x="6148816" y="4996753"/>
                  </a:cubicBezTo>
                  <a:cubicBezTo>
                    <a:pt x="6148816" y="4994939"/>
                    <a:pt x="6150268" y="4993486"/>
                    <a:pt x="6152083" y="4993486"/>
                  </a:cubicBezTo>
                  <a:close/>
                  <a:moveTo>
                    <a:pt x="6305668" y="4992396"/>
                  </a:moveTo>
                  <a:cubicBezTo>
                    <a:pt x="6308210" y="4992396"/>
                    <a:pt x="6310025" y="4994211"/>
                    <a:pt x="6310025" y="4996753"/>
                  </a:cubicBezTo>
                  <a:cubicBezTo>
                    <a:pt x="6310025" y="4999296"/>
                    <a:pt x="6307844" y="5001110"/>
                    <a:pt x="6305668" y="5001110"/>
                  </a:cubicBezTo>
                  <a:cubicBezTo>
                    <a:pt x="6303126" y="5001110"/>
                    <a:pt x="6301311" y="4999296"/>
                    <a:pt x="6301311" y="4996753"/>
                  </a:cubicBezTo>
                  <a:cubicBezTo>
                    <a:pt x="6301311" y="4994211"/>
                    <a:pt x="6303126" y="4992396"/>
                    <a:pt x="6305668" y="4992396"/>
                  </a:cubicBezTo>
                  <a:close/>
                  <a:moveTo>
                    <a:pt x="6459616" y="4990944"/>
                  </a:moveTo>
                  <a:cubicBezTo>
                    <a:pt x="6462825" y="4990944"/>
                    <a:pt x="6465425" y="4993543"/>
                    <a:pt x="6465425" y="4996753"/>
                  </a:cubicBezTo>
                  <a:cubicBezTo>
                    <a:pt x="6465425" y="4999963"/>
                    <a:pt x="6462821" y="5002562"/>
                    <a:pt x="6459616" y="5002562"/>
                  </a:cubicBezTo>
                  <a:cubicBezTo>
                    <a:pt x="6456406" y="5002562"/>
                    <a:pt x="6453806" y="4999963"/>
                    <a:pt x="6453806" y="4996753"/>
                  </a:cubicBezTo>
                  <a:cubicBezTo>
                    <a:pt x="6453806" y="4993543"/>
                    <a:pt x="6456410" y="4990944"/>
                    <a:pt x="6459616" y="4990944"/>
                  </a:cubicBezTo>
                  <a:close/>
                  <a:moveTo>
                    <a:pt x="6613200" y="4989491"/>
                  </a:moveTo>
                  <a:cubicBezTo>
                    <a:pt x="6617196" y="4989491"/>
                    <a:pt x="6620462" y="4992758"/>
                    <a:pt x="6620462" y="4996753"/>
                  </a:cubicBezTo>
                  <a:cubicBezTo>
                    <a:pt x="6620462" y="5000748"/>
                    <a:pt x="6617196" y="5004015"/>
                    <a:pt x="6613200" y="5004015"/>
                  </a:cubicBezTo>
                  <a:cubicBezTo>
                    <a:pt x="6609210" y="5004015"/>
                    <a:pt x="6605939" y="5000748"/>
                    <a:pt x="6605939" y="4996753"/>
                  </a:cubicBezTo>
                  <a:cubicBezTo>
                    <a:pt x="6605939" y="4992758"/>
                    <a:pt x="6609210" y="4989491"/>
                    <a:pt x="6613200" y="4989491"/>
                  </a:cubicBezTo>
                  <a:close/>
                  <a:moveTo>
                    <a:pt x="5536659" y="4842806"/>
                  </a:moveTo>
                  <a:cubicBezTo>
                    <a:pt x="5537021" y="4842806"/>
                    <a:pt x="5537021" y="4842806"/>
                    <a:pt x="5537021" y="4843168"/>
                  </a:cubicBezTo>
                  <a:cubicBezTo>
                    <a:pt x="5537021" y="4843530"/>
                    <a:pt x="5536659" y="4843530"/>
                    <a:pt x="5536659" y="4843530"/>
                  </a:cubicBezTo>
                  <a:cubicBezTo>
                    <a:pt x="5536297" y="4843530"/>
                    <a:pt x="5536297" y="4843530"/>
                    <a:pt x="5536297" y="4843168"/>
                  </a:cubicBezTo>
                  <a:cubicBezTo>
                    <a:pt x="5536297" y="4842806"/>
                    <a:pt x="5536297" y="4842806"/>
                    <a:pt x="5536659" y="4842806"/>
                  </a:cubicBezTo>
                  <a:close/>
                  <a:moveTo>
                    <a:pt x="5075541" y="4842806"/>
                  </a:moveTo>
                  <a:cubicBezTo>
                    <a:pt x="5075904" y="4842806"/>
                    <a:pt x="5075904" y="4842806"/>
                    <a:pt x="5075904" y="4843168"/>
                  </a:cubicBezTo>
                  <a:cubicBezTo>
                    <a:pt x="5075904" y="4843530"/>
                    <a:pt x="5075541" y="4843530"/>
                    <a:pt x="5075541" y="4843530"/>
                  </a:cubicBezTo>
                  <a:cubicBezTo>
                    <a:pt x="5075179" y="4843530"/>
                    <a:pt x="5075179" y="4843530"/>
                    <a:pt x="5075179" y="4843168"/>
                  </a:cubicBezTo>
                  <a:cubicBezTo>
                    <a:pt x="5075179" y="4842806"/>
                    <a:pt x="5075179" y="4842806"/>
                    <a:pt x="5075541" y="4842806"/>
                  </a:cubicBezTo>
                  <a:close/>
                  <a:moveTo>
                    <a:pt x="4921594" y="4842806"/>
                  </a:moveTo>
                  <a:cubicBezTo>
                    <a:pt x="4921956" y="4842806"/>
                    <a:pt x="4921956" y="4842806"/>
                    <a:pt x="4921956" y="4843168"/>
                  </a:cubicBezTo>
                  <a:cubicBezTo>
                    <a:pt x="4921956" y="4843530"/>
                    <a:pt x="4921594" y="4843530"/>
                    <a:pt x="4921594" y="4843530"/>
                  </a:cubicBezTo>
                  <a:cubicBezTo>
                    <a:pt x="4921232" y="4843530"/>
                    <a:pt x="4921232" y="4843530"/>
                    <a:pt x="4921232" y="4843168"/>
                  </a:cubicBezTo>
                  <a:cubicBezTo>
                    <a:pt x="4921232" y="4842806"/>
                    <a:pt x="4921232" y="4842806"/>
                    <a:pt x="4921594" y="4842806"/>
                  </a:cubicBezTo>
                  <a:close/>
                  <a:moveTo>
                    <a:pt x="4768012" y="4842444"/>
                  </a:moveTo>
                  <a:cubicBezTo>
                    <a:pt x="4768374" y="4842444"/>
                    <a:pt x="4768736" y="4842806"/>
                    <a:pt x="4768736" y="4843172"/>
                  </a:cubicBezTo>
                  <a:cubicBezTo>
                    <a:pt x="4768736" y="4843534"/>
                    <a:pt x="4768012" y="4843896"/>
                    <a:pt x="4768012" y="4843896"/>
                  </a:cubicBezTo>
                  <a:cubicBezTo>
                    <a:pt x="4767646" y="4843896"/>
                    <a:pt x="4767284" y="4843534"/>
                    <a:pt x="4767284" y="4843172"/>
                  </a:cubicBezTo>
                  <a:cubicBezTo>
                    <a:pt x="4767284" y="4842806"/>
                    <a:pt x="4767646" y="4842444"/>
                    <a:pt x="4768012" y="4842444"/>
                  </a:cubicBezTo>
                  <a:close/>
                  <a:moveTo>
                    <a:pt x="5690606" y="4841353"/>
                  </a:moveTo>
                  <a:cubicBezTo>
                    <a:pt x="5691331" y="4841353"/>
                    <a:pt x="5692059" y="4842081"/>
                    <a:pt x="5692059" y="4842806"/>
                  </a:cubicBezTo>
                  <a:cubicBezTo>
                    <a:pt x="5692059" y="4843530"/>
                    <a:pt x="5690606" y="4844258"/>
                    <a:pt x="5690606" y="4844258"/>
                  </a:cubicBezTo>
                  <a:cubicBezTo>
                    <a:pt x="5689882" y="4844258"/>
                    <a:pt x="5689154" y="4843530"/>
                    <a:pt x="5689154" y="4842806"/>
                  </a:cubicBezTo>
                  <a:cubicBezTo>
                    <a:pt x="5689154" y="4842081"/>
                    <a:pt x="5689882" y="4841353"/>
                    <a:pt x="5690606" y="4841353"/>
                  </a:cubicBezTo>
                  <a:close/>
                  <a:moveTo>
                    <a:pt x="5844554" y="4840629"/>
                  </a:moveTo>
                  <a:cubicBezTo>
                    <a:pt x="5845754" y="4840629"/>
                    <a:pt x="5846730" y="4841605"/>
                    <a:pt x="5846730" y="4842810"/>
                  </a:cubicBezTo>
                  <a:cubicBezTo>
                    <a:pt x="5846730" y="4844010"/>
                    <a:pt x="5845754" y="4844986"/>
                    <a:pt x="5844554" y="4844986"/>
                  </a:cubicBezTo>
                  <a:cubicBezTo>
                    <a:pt x="5843350" y="4844986"/>
                    <a:pt x="5842374" y="4844010"/>
                    <a:pt x="5842374" y="4842810"/>
                  </a:cubicBezTo>
                  <a:cubicBezTo>
                    <a:pt x="5842374" y="4841605"/>
                    <a:pt x="5843350" y="4840629"/>
                    <a:pt x="5844554" y="4840629"/>
                  </a:cubicBezTo>
                  <a:close/>
                  <a:moveTo>
                    <a:pt x="5998136" y="4839901"/>
                  </a:moveTo>
                  <a:cubicBezTo>
                    <a:pt x="5999950" y="4839901"/>
                    <a:pt x="6001402" y="4841353"/>
                    <a:pt x="6001402" y="4843168"/>
                  </a:cubicBezTo>
                  <a:cubicBezTo>
                    <a:pt x="6001402" y="4844982"/>
                    <a:pt x="5999950" y="4846435"/>
                    <a:pt x="5998136" y="4846435"/>
                  </a:cubicBezTo>
                  <a:cubicBezTo>
                    <a:pt x="5996321" y="4846435"/>
                    <a:pt x="5994868" y="4844982"/>
                    <a:pt x="5994868" y="4843168"/>
                  </a:cubicBezTo>
                  <a:cubicBezTo>
                    <a:pt x="5994868" y="4841353"/>
                    <a:pt x="5996321" y="4839901"/>
                    <a:pt x="5998136" y="4839901"/>
                  </a:cubicBezTo>
                  <a:close/>
                  <a:moveTo>
                    <a:pt x="6152083" y="4838449"/>
                  </a:moveTo>
                  <a:cubicBezTo>
                    <a:pt x="6154626" y="4838449"/>
                    <a:pt x="6156440" y="4840263"/>
                    <a:pt x="6156440" y="4842806"/>
                  </a:cubicBezTo>
                  <a:cubicBezTo>
                    <a:pt x="6156440" y="4845348"/>
                    <a:pt x="6154260" y="4847163"/>
                    <a:pt x="6152083" y="4847163"/>
                  </a:cubicBezTo>
                  <a:cubicBezTo>
                    <a:pt x="6149544" y="4847163"/>
                    <a:pt x="6147726" y="4845348"/>
                    <a:pt x="6147726" y="4842806"/>
                  </a:cubicBezTo>
                  <a:cubicBezTo>
                    <a:pt x="6147726" y="4840263"/>
                    <a:pt x="6149544" y="4838449"/>
                    <a:pt x="6152083" y="4838449"/>
                  </a:cubicBezTo>
                  <a:close/>
                  <a:moveTo>
                    <a:pt x="6305668" y="4836996"/>
                  </a:moveTo>
                  <a:cubicBezTo>
                    <a:pt x="6308878" y="4836996"/>
                    <a:pt x="6311478" y="4839596"/>
                    <a:pt x="6311478" y="4842806"/>
                  </a:cubicBezTo>
                  <a:cubicBezTo>
                    <a:pt x="6311478" y="4846015"/>
                    <a:pt x="6308874" y="4848615"/>
                    <a:pt x="6305668" y="4848615"/>
                  </a:cubicBezTo>
                  <a:cubicBezTo>
                    <a:pt x="6302458" y="4848615"/>
                    <a:pt x="6299858" y="4846015"/>
                    <a:pt x="6299858" y="4842806"/>
                  </a:cubicBezTo>
                  <a:cubicBezTo>
                    <a:pt x="6299858" y="4839596"/>
                    <a:pt x="6302462" y="4836996"/>
                    <a:pt x="6305668" y="4836996"/>
                  </a:cubicBezTo>
                  <a:close/>
                  <a:moveTo>
                    <a:pt x="6459616" y="4835544"/>
                  </a:moveTo>
                  <a:cubicBezTo>
                    <a:pt x="6463610" y="4835544"/>
                    <a:pt x="6466877" y="4838811"/>
                    <a:pt x="6466877" y="4842806"/>
                  </a:cubicBezTo>
                  <a:cubicBezTo>
                    <a:pt x="6466877" y="4846801"/>
                    <a:pt x="6463610" y="4850067"/>
                    <a:pt x="6459616" y="4850067"/>
                  </a:cubicBezTo>
                  <a:cubicBezTo>
                    <a:pt x="6455624" y="4850067"/>
                    <a:pt x="6452354" y="4846801"/>
                    <a:pt x="6452354" y="4842806"/>
                  </a:cubicBezTo>
                  <a:cubicBezTo>
                    <a:pt x="6452354" y="4838811"/>
                    <a:pt x="6455624" y="4835544"/>
                    <a:pt x="6459616" y="4835544"/>
                  </a:cubicBezTo>
                  <a:close/>
                  <a:moveTo>
                    <a:pt x="6613200" y="4833730"/>
                  </a:moveTo>
                  <a:cubicBezTo>
                    <a:pt x="6618286" y="4833730"/>
                    <a:pt x="6622280" y="4837724"/>
                    <a:pt x="6622280" y="4842806"/>
                  </a:cubicBezTo>
                  <a:cubicBezTo>
                    <a:pt x="6622280" y="4847891"/>
                    <a:pt x="6618286" y="4851886"/>
                    <a:pt x="6613200" y="4851886"/>
                  </a:cubicBezTo>
                  <a:cubicBezTo>
                    <a:pt x="6608120" y="4851886"/>
                    <a:pt x="6604124" y="4847891"/>
                    <a:pt x="6604124" y="4842806"/>
                  </a:cubicBezTo>
                  <a:cubicBezTo>
                    <a:pt x="6604124" y="4837724"/>
                    <a:pt x="6608120" y="4833730"/>
                    <a:pt x="6613200" y="4833730"/>
                  </a:cubicBezTo>
                  <a:close/>
                  <a:moveTo>
                    <a:pt x="5383074" y="4688858"/>
                  </a:moveTo>
                  <a:cubicBezTo>
                    <a:pt x="5383436" y="4688858"/>
                    <a:pt x="5383436" y="4688858"/>
                    <a:pt x="5383436" y="4689220"/>
                  </a:cubicBezTo>
                  <a:cubicBezTo>
                    <a:pt x="5383436" y="4689586"/>
                    <a:pt x="5383074" y="4689586"/>
                    <a:pt x="5383074" y="4689586"/>
                  </a:cubicBezTo>
                  <a:cubicBezTo>
                    <a:pt x="5382712" y="4689586"/>
                    <a:pt x="5382712" y="4689586"/>
                    <a:pt x="5382712" y="4689220"/>
                  </a:cubicBezTo>
                  <a:cubicBezTo>
                    <a:pt x="5382712" y="4688858"/>
                    <a:pt x="5382712" y="4688858"/>
                    <a:pt x="5383074" y="4688858"/>
                  </a:cubicBezTo>
                  <a:close/>
                  <a:moveTo>
                    <a:pt x="4921594" y="4688858"/>
                  </a:moveTo>
                  <a:cubicBezTo>
                    <a:pt x="4921956" y="4688858"/>
                    <a:pt x="4921956" y="4688858"/>
                    <a:pt x="4921956" y="4689220"/>
                  </a:cubicBezTo>
                  <a:cubicBezTo>
                    <a:pt x="4921956" y="4689586"/>
                    <a:pt x="4921594" y="4689586"/>
                    <a:pt x="4921594" y="4689586"/>
                  </a:cubicBezTo>
                  <a:cubicBezTo>
                    <a:pt x="4921232" y="4689586"/>
                    <a:pt x="4921232" y="4689586"/>
                    <a:pt x="4921232" y="4689220"/>
                  </a:cubicBezTo>
                  <a:cubicBezTo>
                    <a:pt x="4921232" y="4688858"/>
                    <a:pt x="4921232" y="4688858"/>
                    <a:pt x="4921594" y="4688858"/>
                  </a:cubicBezTo>
                  <a:close/>
                  <a:moveTo>
                    <a:pt x="4768008" y="4688858"/>
                  </a:moveTo>
                  <a:cubicBezTo>
                    <a:pt x="4768370" y="4688858"/>
                    <a:pt x="4768370" y="4688858"/>
                    <a:pt x="4768370" y="4689220"/>
                  </a:cubicBezTo>
                  <a:cubicBezTo>
                    <a:pt x="4768370" y="4689586"/>
                    <a:pt x="4768008" y="4689586"/>
                    <a:pt x="4768008" y="4689586"/>
                  </a:cubicBezTo>
                  <a:cubicBezTo>
                    <a:pt x="4767646" y="4689586"/>
                    <a:pt x="4767646" y="4689586"/>
                    <a:pt x="4767646" y="4689220"/>
                  </a:cubicBezTo>
                  <a:cubicBezTo>
                    <a:pt x="4767646" y="4688858"/>
                    <a:pt x="4767646" y="4688858"/>
                    <a:pt x="4768008" y="4688858"/>
                  </a:cubicBezTo>
                  <a:close/>
                  <a:moveTo>
                    <a:pt x="4614065" y="4688496"/>
                  </a:moveTo>
                  <a:cubicBezTo>
                    <a:pt x="4614465" y="4688496"/>
                    <a:pt x="4614789" y="4688820"/>
                    <a:pt x="4614789" y="4689220"/>
                  </a:cubicBezTo>
                  <a:cubicBezTo>
                    <a:pt x="4614789" y="4689625"/>
                    <a:pt x="4614465" y="4689949"/>
                    <a:pt x="4614065" y="4689949"/>
                  </a:cubicBezTo>
                  <a:cubicBezTo>
                    <a:pt x="4613661" y="4689949"/>
                    <a:pt x="4613337" y="4689625"/>
                    <a:pt x="4613337" y="4689220"/>
                  </a:cubicBezTo>
                  <a:cubicBezTo>
                    <a:pt x="4613337" y="4688820"/>
                    <a:pt x="4613661" y="4688496"/>
                    <a:pt x="4614065" y="4688496"/>
                  </a:cubicBezTo>
                  <a:close/>
                  <a:moveTo>
                    <a:pt x="5536659" y="4687406"/>
                  </a:moveTo>
                  <a:cubicBezTo>
                    <a:pt x="5537384" y="4687406"/>
                    <a:pt x="5538112" y="4688130"/>
                    <a:pt x="5538112" y="4688858"/>
                  </a:cubicBezTo>
                  <a:cubicBezTo>
                    <a:pt x="5538112" y="4689583"/>
                    <a:pt x="5536659" y="4690311"/>
                    <a:pt x="5536659" y="4690311"/>
                  </a:cubicBezTo>
                  <a:cubicBezTo>
                    <a:pt x="5535935" y="4690311"/>
                    <a:pt x="5535207" y="4689583"/>
                    <a:pt x="5535207" y="4688858"/>
                  </a:cubicBezTo>
                  <a:cubicBezTo>
                    <a:pt x="5535207" y="4688130"/>
                    <a:pt x="5535935" y="4687406"/>
                    <a:pt x="5536659" y="4687406"/>
                  </a:cubicBezTo>
                  <a:close/>
                  <a:moveTo>
                    <a:pt x="5690602" y="4687044"/>
                  </a:moveTo>
                  <a:cubicBezTo>
                    <a:pt x="5691693" y="4687044"/>
                    <a:pt x="5692783" y="4688134"/>
                    <a:pt x="5692783" y="4689220"/>
                  </a:cubicBezTo>
                  <a:cubicBezTo>
                    <a:pt x="5692783" y="4690311"/>
                    <a:pt x="5690602" y="4691401"/>
                    <a:pt x="5690602" y="4691401"/>
                  </a:cubicBezTo>
                  <a:cubicBezTo>
                    <a:pt x="5689512" y="4691401"/>
                    <a:pt x="5688426" y="4690311"/>
                    <a:pt x="5688426" y="4689220"/>
                  </a:cubicBezTo>
                  <a:cubicBezTo>
                    <a:pt x="5688426" y="4688134"/>
                    <a:pt x="5689512" y="4687044"/>
                    <a:pt x="5690602" y="4687044"/>
                  </a:cubicBezTo>
                  <a:close/>
                  <a:moveTo>
                    <a:pt x="5844554" y="4685954"/>
                  </a:moveTo>
                  <a:cubicBezTo>
                    <a:pt x="5846368" y="4685954"/>
                    <a:pt x="5847817" y="4687406"/>
                    <a:pt x="5847817" y="4689220"/>
                  </a:cubicBezTo>
                  <a:cubicBezTo>
                    <a:pt x="5847817" y="4691035"/>
                    <a:pt x="5846368" y="4692491"/>
                    <a:pt x="5844554" y="4692491"/>
                  </a:cubicBezTo>
                  <a:cubicBezTo>
                    <a:pt x="5842736" y="4692491"/>
                    <a:pt x="5841284" y="4691035"/>
                    <a:pt x="5841284" y="4689220"/>
                  </a:cubicBezTo>
                  <a:cubicBezTo>
                    <a:pt x="5841284" y="4687406"/>
                    <a:pt x="5842736" y="4685954"/>
                    <a:pt x="5844554" y="4685954"/>
                  </a:cubicBezTo>
                  <a:close/>
                  <a:moveTo>
                    <a:pt x="5998136" y="4684863"/>
                  </a:moveTo>
                  <a:cubicBezTo>
                    <a:pt x="6000678" y="4684863"/>
                    <a:pt x="6002492" y="4686678"/>
                    <a:pt x="6002492" y="4689220"/>
                  </a:cubicBezTo>
                  <a:cubicBezTo>
                    <a:pt x="6002492" y="4691763"/>
                    <a:pt x="6000312" y="4693577"/>
                    <a:pt x="5998136" y="4693577"/>
                  </a:cubicBezTo>
                  <a:cubicBezTo>
                    <a:pt x="5995593" y="4693577"/>
                    <a:pt x="5993778" y="4691763"/>
                    <a:pt x="5993778" y="4689220"/>
                  </a:cubicBezTo>
                  <a:cubicBezTo>
                    <a:pt x="5993778" y="4686678"/>
                    <a:pt x="5995593" y="4684863"/>
                    <a:pt x="5998136" y="4684863"/>
                  </a:cubicBezTo>
                  <a:close/>
                  <a:moveTo>
                    <a:pt x="6152086" y="4683411"/>
                  </a:moveTo>
                  <a:cubicBezTo>
                    <a:pt x="6155354" y="4683411"/>
                    <a:pt x="6157896" y="4685954"/>
                    <a:pt x="6157896" y="4689220"/>
                  </a:cubicBezTo>
                  <a:cubicBezTo>
                    <a:pt x="6157896" y="4692487"/>
                    <a:pt x="6155354" y="4695030"/>
                    <a:pt x="6152086" y="4695030"/>
                  </a:cubicBezTo>
                  <a:cubicBezTo>
                    <a:pt x="6148820" y="4695030"/>
                    <a:pt x="6146277" y="4692487"/>
                    <a:pt x="6146277" y="4689220"/>
                  </a:cubicBezTo>
                  <a:cubicBezTo>
                    <a:pt x="6146277" y="4685954"/>
                    <a:pt x="6148820" y="4683411"/>
                    <a:pt x="6152086" y="4683411"/>
                  </a:cubicBezTo>
                  <a:close/>
                  <a:moveTo>
                    <a:pt x="6305668" y="4681959"/>
                  </a:moveTo>
                  <a:cubicBezTo>
                    <a:pt x="6309663" y="4681959"/>
                    <a:pt x="6312930" y="4685226"/>
                    <a:pt x="6312930" y="4689220"/>
                  </a:cubicBezTo>
                  <a:cubicBezTo>
                    <a:pt x="6312930" y="4693215"/>
                    <a:pt x="6309663" y="4696482"/>
                    <a:pt x="6305668" y="4696482"/>
                  </a:cubicBezTo>
                  <a:cubicBezTo>
                    <a:pt x="6301673" y="4696482"/>
                    <a:pt x="6298406" y="4693215"/>
                    <a:pt x="6298406" y="4689220"/>
                  </a:cubicBezTo>
                  <a:cubicBezTo>
                    <a:pt x="6298406" y="4685226"/>
                    <a:pt x="6301673" y="4681959"/>
                    <a:pt x="6305668" y="4681959"/>
                  </a:cubicBezTo>
                  <a:close/>
                  <a:moveTo>
                    <a:pt x="6459616" y="4680144"/>
                  </a:moveTo>
                  <a:cubicBezTo>
                    <a:pt x="6464700" y="4680144"/>
                    <a:pt x="6468696" y="4684139"/>
                    <a:pt x="6468696" y="4689220"/>
                  </a:cubicBezTo>
                  <a:cubicBezTo>
                    <a:pt x="6468696" y="4694306"/>
                    <a:pt x="6464700" y="4698300"/>
                    <a:pt x="6459616" y="4698300"/>
                  </a:cubicBezTo>
                  <a:cubicBezTo>
                    <a:pt x="6454534" y="4698300"/>
                    <a:pt x="6450540" y="4694306"/>
                    <a:pt x="6450540" y="4689220"/>
                  </a:cubicBezTo>
                  <a:cubicBezTo>
                    <a:pt x="6450540" y="4684139"/>
                    <a:pt x="6454534" y="4680144"/>
                    <a:pt x="6459616" y="4680144"/>
                  </a:cubicBezTo>
                  <a:close/>
                  <a:moveTo>
                    <a:pt x="6613200" y="4679054"/>
                  </a:moveTo>
                  <a:cubicBezTo>
                    <a:pt x="6618648" y="4679054"/>
                    <a:pt x="6623367" y="4683773"/>
                    <a:pt x="6623367" y="4689220"/>
                  </a:cubicBezTo>
                  <a:cubicBezTo>
                    <a:pt x="6623367" y="4694668"/>
                    <a:pt x="6619010" y="4699387"/>
                    <a:pt x="6613200" y="4699387"/>
                  </a:cubicBezTo>
                  <a:cubicBezTo>
                    <a:pt x="6607754" y="4699387"/>
                    <a:pt x="6603034" y="4694668"/>
                    <a:pt x="6603034" y="4689220"/>
                  </a:cubicBezTo>
                  <a:cubicBezTo>
                    <a:pt x="6603034" y="4683773"/>
                    <a:pt x="6607754" y="4679054"/>
                    <a:pt x="6613200" y="4679054"/>
                  </a:cubicBezTo>
                  <a:close/>
                  <a:moveTo>
                    <a:pt x="5229126" y="4535273"/>
                  </a:moveTo>
                  <a:cubicBezTo>
                    <a:pt x="5229488" y="4535273"/>
                    <a:pt x="5229488" y="4535273"/>
                    <a:pt x="5229488" y="4535635"/>
                  </a:cubicBezTo>
                  <a:cubicBezTo>
                    <a:pt x="5229488" y="4535997"/>
                    <a:pt x="5229126" y="4535997"/>
                    <a:pt x="5229126" y="4535997"/>
                  </a:cubicBezTo>
                  <a:cubicBezTo>
                    <a:pt x="5228764" y="4535997"/>
                    <a:pt x="5228764" y="4535997"/>
                    <a:pt x="5228764" y="4535635"/>
                  </a:cubicBezTo>
                  <a:cubicBezTo>
                    <a:pt x="5228764" y="4535273"/>
                    <a:pt x="5228764" y="4535273"/>
                    <a:pt x="5229126" y="4535273"/>
                  </a:cubicBezTo>
                  <a:close/>
                  <a:moveTo>
                    <a:pt x="4768008" y="4535273"/>
                  </a:moveTo>
                  <a:cubicBezTo>
                    <a:pt x="4768370" y="4535273"/>
                    <a:pt x="4768370" y="4535273"/>
                    <a:pt x="4768370" y="4535635"/>
                  </a:cubicBezTo>
                  <a:cubicBezTo>
                    <a:pt x="4768370" y="4535997"/>
                    <a:pt x="4768008" y="4535997"/>
                    <a:pt x="4768008" y="4535997"/>
                  </a:cubicBezTo>
                  <a:cubicBezTo>
                    <a:pt x="4767646" y="4535997"/>
                    <a:pt x="4767646" y="4535997"/>
                    <a:pt x="4767646" y="4535635"/>
                  </a:cubicBezTo>
                  <a:cubicBezTo>
                    <a:pt x="4767646" y="4535273"/>
                    <a:pt x="4767646" y="4535273"/>
                    <a:pt x="4768008" y="4535273"/>
                  </a:cubicBezTo>
                  <a:close/>
                  <a:moveTo>
                    <a:pt x="4614061" y="4535273"/>
                  </a:moveTo>
                  <a:cubicBezTo>
                    <a:pt x="4614424" y="4535273"/>
                    <a:pt x="4614424" y="4535273"/>
                    <a:pt x="4614424" y="4535635"/>
                  </a:cubicBezTo>
                  <a:cubicBezTo>
                    <a:pt x="4614424" y="4535997"/>
                    <a:pt x="4614061" y="4535997"/>
                    <a:pt x="4614061" y="4535997"/>
                  </a:cubicBezTo>
                  <a:cubicBezTo>
                    <a:pt x="4613699" y="4535997"/>
                    <a:pt x="4613699" y="4535997"/>
                    <a:pt x="4613699" y="4535635"/>
                  </a:cubicBezTo>
                  <a:cubicBezTo>
                    <a:pt x="4613699" y="4535273"/>
                    <a:pt x="4613699" y="4535273"/>
                    <a:pt x="4614061" y="4535273"/>
                  </a:cubicBezTo>
                  <a:close/>
                  <a:moveTo>
                    <a:pt x="4460480" y="4534911"/>
                  </a:moveTo>
                  <a:cubicBezTo>
                    <a:pt x="4460842" y="4534911"/>
                    <a:pt x="4461204" y="4535273"/>
                    <a:pt x="4461204" y="4535635"/>
                  </a:cubicBezTo>
                  <a:cubicBezTo>
                    <a:pt x="4461204" y="4536001"/>
                    <a:pt x="4460480" y="4536363"/>
                    <a:pt x="4460480" y="4536363"/>
                  </a:cubicBezTo>
                  <a:cubicBezTo>
                    <a:pt x="4460114" y="4536363"/>
                    <a:pt x="4459752" y="4536001"/>
                    <a:pt x="4459752" y="4535635"/>
                  </a:cubicBezTo>
                  <a:cubicBezTo>
                    <a:pt x="4459752" y="4535273"/>
                    <a:pt x="4460114" y="4534911"/>
                    <a:pt x="4460480" y="4534911"/>
                  </a:cubicBezTo>
                  <a:close/>
                  <a:moveTo>
                    <a:pt x="5383074" y="4533821"/>
                  </a:moveTo>
                  <a:cubicBezTo>
                    <a:pt x="5383798" y="4533821"/>
                    <a:pt x="5384526" y="4534545"/>
                    <a:pt x="5384526" y="4535273"/>
                  </a:cubicBezTo>
                  <a:cubicBezTo>
                    <a:pt x="5384526" y="4535997"/>
                    <a:pt x="5383074" y="4536725"/>
                    <a:pt x="5383074" y="4536725"/>
                  </a:cubicBezTo>
                  <a:cubicBezTo>
                    <a:pt x="5382346" y="4536725"/>
                    <a:pt x="5381622" y="4535997"/>
                    <a:pt x="5381622" y="4535273"/>
                  </a:cubicBezTo>
                  <a:cubicBezTo>
                    <a:pt x="5381622" y="4534545"/>
                    <a:pt x="5382346" y="4533821"/>
                    <a:pt x="5383074" y="4533821"/>
                  </a:cubicBezTo>
                  <a:close/>
                  <a:moveTo>
                    <a:pt x="5536659" y="4533096"/>
                  </a:moveTo>
                  <a:cubicBezTo>
                    <a:pt x="5537750" y="4533096"/>
                    <a:pt x="5538840" y="4534187"/>
                    <a:pt x="5538840" y="4535277"/>
                  </a:cubicBezTo>
                  <a:cubicBezTo>
                    <a:pt x="5538840" y="4536363"/>
                    <a:pt x="5536659" y="4537453"/>
                    <a:pt x="5536659" y="4537453"/>
                  </a:cubicBezTo>
                  <a:cubicBezTo>
                    <a:pt x="5535569" y="4537453"/>
                    <a:pt x="5534482" y="4536363"/>
                    <a:pt x="5534482" y="4535277"/>
                  </a:cubicBezTo>
                  <a:cubicBezTo>
                    <a:pt x="5534482" y="4534187"/>
                    <a:pt x="5535569" y="4533096"/>
                    <a:pt x="5536659" y="4533096"/>
                  </a:cubicBezTo>
                  <a:close/>
                  <a:moveTo>
                    <a:pt x="5690606" y="4532368"/>
                  </a:moveTo>
                  <a:cubicBezTo>
                    <a:pt x="5692421" y="4532368"/>
                    <a:pt x="5693870" y="4533821"/>
                    <a:pt x="5693870" y="4535635"/>
                  </a:cubicBezTo>
                  <a:cubicBezTo>
                    <a:pt x="5693870" y="4537450"/>
                    <a:pt x="5692421" y="4538906"/>
                    <a:pt x="5690606" y="4538906"/>
                  </a:cubicBezTo>
                  <a:cubicBezTo>
                    <a:pt x="5688788" y="4538906"/>
                    <a:pt x="5687336" y="4537450"/>
                    <a:pt x="5687336" y="4535635"/>
                  </a:cubicBezTo>
                  <a:cubicBezTo>
                    <a:pt x="5687336" y="4533821"/>
                    <a:pt x="5688788" y="4532368"/>
                    <a:pt x="5690606" y="4532368"/>
                  </a:cubicBezTo>
                  <a:close/>
                  <a:moveTo>
                    <a:pt x="5844554" y="4530916"/>
                  </a:moveTo>
                  <a:cubicBezTo>
                    <a:pt x="5847096" y="4530916"/>
                    <a:pt x="5848911" y="4532731"/>
                    <a:pt x="5848911" y="4535273"/>
                  </a:cubicBezTo>
                  <a:cubicBezTo>
                    <a:pt x="5848911" y="4537816"/>
                    <a:pt x="5846730" y="4539630"/>
                    <a:pt x="5844554" y="4539630"/>
                  </a:cubicBezTo>
                  <a:cubicBezTo>
                    <a:pt x="5842012" y="4539630"/>
                    <a:pt x="5840197" y="4537816"/>
                    <a:pt x="5840197" y="4535273"/>
                  </a:cubicBezTo>
                  <a:cubicBezTo>
                    <a:pt x="5840197" y="4532731"/>
                    <a:pt x="5842012" y="4530916"/>
                    <a:pt x="5844554" y="4530916"/>
                  </a:cubicBezTo>
                  <a:close/>
                  <a:moveTo>
                    <a:pt x="5998139" y="4529830"/>
                  </a:moveTo>
                  <a:cubicBezTo>
                    <a:pt x="6001406" y="4529830"/>
                    <a:pt x="6003948" y="4532372"/>
                    <a:pt x="6003948" y="4535639"/>
                  </a:cubicBezTo>
                  <a:cubicBezTo>
                    <a:pt x="6003948" y="4538906"/>
                    <a:pt x="6001406" y="4541448"/>
                    <a:pt x="5998139" y="4541448"/>
                  </a:cubicBezTo>
                  <a:cubicBezTo>
                    <a:pt x="5994872" y="4541448"/>
                    <a:pt x="5992330" y="4538906"/>
                    <a:pt x="5992330" y="4535639"/>
                  </a:cubicBezTo>
                  <a:cubicBezTo>
                    <a:pt x="5992330" y="4532372"/>
                    <a:pt x="5994872" y="4529830"/>
                    <a:pt x="5998139" y="4529830"/>
                  </a:cubicBezTo>
                  <a:close/>
                  <a:moveTo>
                    <a:pt x="6152086" y="4528011"/>
                  </a:moveTo>
                  <a:cubicBezTo>
                    <a:pt x="6156082" y="4528011"/>
                    <a:pt x="6159348" y="4531278"/>
                    <a:pt x="6159348" y="4535273"/>
                  </a:cubicBezTo>
                  <a:cubicBezTo>
                    <a:pt x="6159348" y="4539268"/>
                    <a:pt x="6156082" y="4542535"/>
                    <a:pt x="6152086" y="4542535"/>
                  </a:cubicBezTo>
                  <a:cubicBezTo>
                    <a:pt x="6148092" y="4542535"/>
                    <a:pt x="6144825" y="4539268"/>
                    <a:pt x="6144825" y="4535273"/>
                  </a:cubicBezTo>
                  <a:cubicBezTo>
                    <a:pt x="6144825" y="4531278"/>
                    <a:pt x="6148092" y="4528011"/>
                    <a:pt x="6152086" y="4528011"/>
                  </a:cubicBezTo>
                  <a:close/>
                  <a:moveTo>
                    <a:pt x="6305668" y="4526197"/>
                  </a:moveTo>
                  <a:cubicBezTo>
                    <a:pt x="6310750" y="4526197"/>
                    <a:pt x="6314748" y="4530192"/>
                    <a:pt x="6314748" y="4535273"/>
                  </a:cubicBezTo>
                  <a:cubicBezTo>
                    <a:pt x="6314748" y="4540358"/>
                    <a:pt x="6310750" y="4544353"/>
                    <a:pt x="6305668" y="4544353"/>
                  </a:cubicBezTo>
                  <a:cubicBezTo>
                    <a:pt x="6300587" y="4544353"/>
                    <a:pt x="6296592" y="4540358"/>
                    <a:pt x="6296592" y="4535273"/>
                  </a:cubicBezTo>
                  <a:cubicBezTo>
                    <a:pt x="6296592" y="4530192"/>
                    <a:pt x="6300587" y="4526197"/>
                    <a:pt x="6305668" y="4526197"/>
                  </a:cubicBezTo>
                  <a:close/>
                  <a:moveTo>
                    <a:pt x="6459616" y="4525469"/>
                  </a:moveTo>
                  <a:cubicBezTo>
                    <a:pt x="6465062" y="4525469"/>
                    <a:pt x="6469782" y="4530188"/>
                    <a:pt x="6469782" y="4535635"/>
                  </a:cubicBezTo>
                  <a:cubicBezTo>
                    <a:pt x="6469782" y="4541082"/>
                    <a:pt x="6465425" y="4545802"/>
                    <a:pt x="6459616" y="4545802"/>
                  </a:cubicBezTo>
                  <a:cubicBezTo>
                    <a:pt x="6454168" y="4545802"/>
                    <a:pt x="6449449" y="4541082"/>
                    <a:pt x="6449449" y="4535635"/>
                  </a:cubicBezTo>
                  <a:cubicBezTo>
                    <a:pt x="6449449" y="4530188"/>
                    <a:pt x="6454168" y="4525469"/>
                    <a:pt x="6459616" y="4525469"/>
                  </a:cubicBezTo>
                  <a:close/>
                  <a:moveTo>
                    <a:pt x="6613197" y="4523292"/>
                  </a:moveTo>
                  <a:cubicBezTo>
                    <a:pt x="6619734" y="4523292"/>
                    <a:pt x="6625182" y="4528739"/>
                    <a:pt x="6625182" y="4535273"/>
                  </a:cubicBezTo>
                  <a:cubicBezTo>
                    <a:pt x="6625182" y="4541810"/>
                    <a:pt x="6619734" y="4547254"/>
                    <a:pt x="6613197" y="4547254"/>
                  </a:cubicBezTo>
                  <a:cubicBezTo>
                    <a:pt x="6606664" y="4547254"/>
                    <a:pt x="6601216" y="4541810"/>
                    <a:pt x="6601216" y="4535273"/>
                  </a:cubicBezTo>
                  <a:cubicBezTo>
                    <a:pt x="6601216" y="4528739"/>
                    <a:pt x="6606664" y="4523292"/>
                    <a:pt x="6613197" y="4523292"/>
                  </a:cubicBezTo>
                  <a:close/>
                  <a:moveTo>
                    <a:pt x="5075541" y="4381326"/>
                  </a:moveTo>
                  <a:cubicBezTo>
                    <a:pt x="5075904" y="4381326"/>
                    <a:pt x="5075904" y="4381326"/>
                    <a:pt x="5075904" y="4381688"/>
                  </a:cubicBezTo>
                  <a:cubicBezTo>
                    <a:pt x="5075904" y="4382054"/>
                    <a:pt x="5075541" y="4382054"/>
                    <a:pt x="5075541" y="4382054"/>
                  </a:cubicBezTo>
                  <a:cubicBezTo>
                    <a:pt x="5075179" y="4382054"/>
                    <a:pt x="5075179" y="4382054"/>
                    <a:pt x="5075179" y="4381688"/>
                  </a:cubicBezTo>
                  <a:cubicBezTo>
                    <a:pt x="5075179" y="4381326"/>
                    <a:pt x="5075179" y="4381326"/>
                    <a:pt x="5075541" y="4381326"/>
                  </a:cubicBezTo>
                  <a:close/>
                  <a:moveTo>
                    <a:pt x="4614061" y="4381326"/>
                  </a:moveTo>
                  <a:cubicBezTo>
                    <a:pt x="4614424" y="4381326"/>
                    <a:pt x="4614424" y="4381326"/>
                    <a:pt x="4614424" y="4381688"/>
                  </a:cubicBezTo>
                  <a:cubicBezTo>
                    <a:pt x="4614424" y="4382054"/>
                    <a:pt x="4614061" y="4382054"/>
                    <a:pt x="4614061" y="4382054"/>
                  </a:cubicBezTo>
                  <a:cubicBezTo>
                    <a:pt x="4613699" y="4382054"/>
                    <a:pt x="4613699" y="4382054"/>
                    <a:pt x="4613699" y="4381688"/>
                  </a:cubicBezTo>
                  <a:cubicBezTo>
                    <a:pt x="4613699" y="4381326"/>
                    <a:pt x="4613699" y="4381326"/>
                    <a:pt x="4614061" y="4381326"/>
                  </a:cubicBezTo>
                  <a:close/>
                  <a:moveTo>
                    <a:pt x="4460480" y="4381326"/>
                  </a:moveTo>
                  <a:cubicBezTo>
                    <a:pt x="4460842" y="4381326"/>
                    <a:pt x="4460842" y="4381326"/>
                    <a:pt x="4460842" y="4381688"/>
                  </a:cubicBezTo>
                  <a:cubicBezTo>
                    <a:pt x="4460842" y="4382054"/>
                    <a:pt x="4460480" y="4382054"/>
                    <a:pt x="4460480" y="4382054"/>
                  </a:cubicBezTo>
                  <a:cubicBezTo>
                    <a:pt x="4460118" y="4382054"/>
                    <a:pt x="4460118" y="4382054"/>
                    <a:pt x="4460118" y="4381688"/>
                  </a:cubicBezTo>
                  <a:cubicBezTo>
                    <a:pt x="4460118" y="4381326"/>
                    <a:pt x="4460118" y="4381326"/>
                    <a:pt x="4460480" y="4381326"/>
                  </a:cubicBezTo>
                  <a:close/>
                  <a:moveTo>
                    <a:pt x="4306528" y="4380964"/>
                  </a:moveTo>
                  <a:cubicBezTo>
                    <a:pt x="4306894" y="4380964"/>
                    <a:pt x="4307256" y="4381326"/>
                    <a:pt x="4307256" y="4381688"/>
                  </a:cubicBezTo>
                  <a:cubicBezTo>
                    <a:pt x="4307256" y="4382054"/>
                    <a:pt x="4306528" y="4382416"/>
                    <a:pt x="4306528" y="4382416"/>
                  </a:cubicBezTo>
                  <a:cubicBezTo>
                    <a:pt x="4306166" y="4382416"/>
                    <a:pt x="4305804" y="4382054"/>
                    <a:pt x="4305804" y="4381688"/>
                  </a:cubicBezTo>
                  <a:cubicBezTo>
                    <a:pt x="4305804" y="4381326"/>
                    <a:pt x="4306166" y="4380964"/>
                    <a:pt x="4306528" y="4380964"/>
                  </a:cubicBezTo>
                  <a:close/>
                  <a:moveTo>
                    <a:pt x="5229126" y="4379873"/>
                  </a:moveTo>
                  <a:cubicBezTo>
                    <a:pt x="5229850" y="4379873"/>
                    <a:pt x="5230579" y="4380601"/>
                    <a:pt x="5230579" y="4381326"/>
                  </a:cubicBezTo>
                  <a:cubicBezTo>
                    <a:pt x="5230579" y="4382054"/>
                    <a:pt x="5229126" y="4382778"/>
                    <a:pt x="5229126" y="4382778"/>
                  </a:cubicBezTo>
                  <a:cubicBezTo>
                    <a:pt x="5228398" y="4382778"/>
                    <a:pt x="5227674" y="4382054"/>
                    <a:pt x="5227674" y="4381326"/>
                  </a:cubicBezTo>
                  <a:cubicBezTo>
                    <a:pt x="5227674" y="4380601"/>
                    <a:pt x="5228398" y="4379873"/>
                    <a:pt x="5229126" y="4379873"/>
                  </a:cubicBezTo>
                  <a:close/>
                  <a:moveTo>
                    <a:pt x="5383074" y="4379511"/>
                  </a:moveTo>
                  <a:cubicBezTo>
                    <a:pt x="5384164" y="4379511"/>
                    <a:pt x="5385250" y="4380601"/>
                    <a:pt x="5385250" y="4381688"/>
                  </a:cubicBezTo>
                  <a:cubicBezTo>
                    <a:pt x="5385250" y="4382778"/>
                    <a:pt x="5383074" y="4383868"/>
                    <a:pt x="5383074" y="4383868"/>
                  </a:cubicBezTo>
                  <a:cubicBezTo>
                    <a:pt x="5381984" y="4383868"/>
                    <a:pt x="5380894" y="4382778"/>
                    <a:pt x="5380894" y="4381688"/>
                  </a:cubicBezTo>
                  <a:cubicBezTo>
                    <a:pt x="5380894" y="4380601"/>
                    <a:pt x="5381984" y="4379511"/>
                    <a:pt x="5383074" y="4379511"/>
                  </a:cubicBezTo>
                  <a:close/>
                  <a:moveTo>
                    <a:pt x="5536659" y="4378421"/>
                  </a:moveTo>
                  <a:cubicBezTo>
                    <a:pt x="5538474" y="4378421"/>
                    <a:pt x="5539922" y="4379873"/>
                    <a:pt x="5539922" y="4381688"/>
                  </a:cubicBezTo>
                  <a:cubicBezTo>
                    <a:pt x="5539922" y="4383506"/>
                    <a:pt x="5538474" y="4384958"/>
                    <a:pt x="5536659" y="4384958"/>
                  </a:cubicBezTo>
                  <a:cubicBezTo>
                    <a:pt x="5534841" y="4384958"/>
                    <a:pt x="5533388" y="4383506"/>
                    <a:pt x="5533388" y="4381688"/>
                  </a:cubicBezTo>
                  <a:cubicBezTo>
                    <a:pt x="5533388" y="4379873"/>
                    <a:pt x="5534841" y="4378421"/>
                    <a:pt x="5536659" y="4378421"/>
                  </a:cubicBezTo>
                  <a:close/>
                  <a:moveTo>
                    <a:pt x="5690606" y="4377331"/>
                  </a:moveTo>
                  <a:cubicBezTo>
                    <a:pt x="5693149" y="4377331"/>
                    <a:pt x="5694964" y="4379145"/>
                    <a:pt x="5694964" y="4381688"/>
                  </a:cubicBezTo>
                  <a:cubicBezTo>
                    <a:pt x="5694964" y="4384230"/>
                    <a:pt x="5692783" y="4386045"/>
                    <a:pt x="5690606" y="4386045"/>
                  </a:cubicBezTo>
                  <a:cubicBezTo>
                    <a:pt x="5688064" y="4386045"/>
                    <a:pt x="5686250" y="4384230"/>
                    <a:pt x="5686250" y="4381688"/>
                  </a:cubicBezTo>
                  <a:cubicBezTo>
                    <a:pt x="5686250" y="4379145"/>
                    <a:pt x="5688064" y="4377331"/>
                    <a:pt x="5690606" y="4377331"/>
                  </a:cubicBezTo>
                  <a:close/>
                  <a:moveTo>
                    <a:pt x="5844550" y="4375878"/>
                  </a:moveTo>
                  <a:cubicBezTo>
                    <a:pt x="5847817" y="4375878"/>
                    <a:pt x="5850360" y="4378421"/>
                    <a:pt x="5850360" y="4381688"/>
                  </a:cubicBezTo>
                  <a:cubicBezTo>
                    <a:pt x="5850360" y="4384955"/>
                    <a:pt x="5847817" y="4387497"/>
                    <a:pt x="5844550" y="4387497"/>
                  </a:cubicBezTo>
                  <a:cubicBezTo>
                    <a:pt x="5841284" y="4387497"/>
                    <a:pt x="5838741" y="4384955"/>
                    <a:pt x="5838741" y="4381688"/>
                  </a:cubicBezTo>
                  <a:cubicBezTo>
                    <a:pt x="5838741" y="4378421"/>
                    <a:pt x="5841284" y="4375878"/>
                    <a:pt x="5844550" y="4375878"/>
                  </a:cubicBezTo>
                  <a:close/>
                  <a:moveTo>
                    <a:pt x="5998136" y="4374430"/>
                  </a:moveTo>
                  <a:cubicBezTo>
                    <a:pt x="6002130" y="4374430"/>
                    <a:pt x="6005397" y="4377697"/>
                    <a:pt x="6005397" y="4381692"/>
                  </a:cubicBezTo>
                  <a:cubicBezTo>
                    <a:pt x="6005397" y="4385686"/>
                    <a:pt x="6002130" y="4388953"/>
                    <a:pt x="5998136" y="4388953"/>
                  </a:cubicBezTo>
                  <a:cubicBezTo>
                    <a:pt x="5994144" y="4388953"/>
                    <a:pt x="5990874" y="4385686"/>
                    <a:pt x="5990874" y="4381692"/>
                  </a:cubicBezTo>
                  <a:cubicBezTo>
                    <a:pt x="5990874" y="4377697"/>
                    <a:pt x="5994144" y="4374430"/>
                    <a:pt x="5998136" y="4374430"/>
                  </a:cubicBezTo>
                  <a:close/>
                  <a:moveTo>
                    <a:pt x="6152083" y="4372612"/>
                  </a:moveTo>
                  <a:cubicBezTo>
                    <a:pt x="6157168" y="4372612"/>
                    <a:pt x="6161162" y="4376607"/>
                    <a:pt x="6161162" y="4381688"/>
                  </a:cubicBezTo>
                  <a:cubicBezTo>
                    <a:pt x="6161162" y="4386773"/>
                    <a:pt x="6157168" y="4390768"/>
                    <a:pt x="6152083" y="4390768"/>
                  </a:cubicBezTo>
                  <a:cubicBezTo>
                    <a:pt x="6147002" y="4390768"/>
                    <a:pt x="6143006" y="4386773"/>
                    <a:pt x="6143006" y="4381688"/>
                  </a:cubicBezTo>
                  <a:cubicBezTo>
                    <a:pt x="6143006" y="4376607"/>
                    <a:pt x="6147002" y="4372612"/>
                    <a:pt x="6152083" y="4372612"/>
                  </a:cubicBezTo>
                  <a:close/>
                  <a:moveTo>
                    <a:pt x="6305668" y="4371525"/>
                  </a:moveTo>
                  <a:cubicBezTo>
                    <a:pt x="6311115" y="4371525"/>
                    <a:pt x="6315834" y="4376244"/>
                    <a:pt x="6315834" y="4381692"/>
                  </a:cubicBezTo>
                  <a:cubicBezTo>
                    <a:pt x="6315834" y="4387139"/>
                    <a:pt x="6311478" y="4391858"/>
                    <a:pt x="6305668" y="4391858"/>
                  </a:cubicBezTo>
                  <a:cubicBezTo>
                    <a:pt x="6300221" y="4391858"/>
                    <a:pt x="6295502" y="4387139"/>
                    <a:pt x="6295502" y="4381692"/>
                  </a:cubicBezTo>
                  <a:cubicBezTo>
                    <a:pt x="6295502" y="4376244"/>
                    <a:pt x="6300221" y="4371525"/>
                    <a:pt x="6305668" y="4371525"/>
                  </a:cubicBezTo>
                  <a:close/>
                  <a:moveTo>
                    <a:pt x="6459616" y="4369707"/>
                  </a:moveTo>
                  <a:cubicBezTo>
                    <a:pt x="6466153" y="4369707"/>
                    <a:pt x="6471600" y="4375154"/>
                    <a:pt x="6471600" y="4381688"/>
                  </a:cubicBezTo>
                  <a:cubicBezTo>
                    <a:pt x="6471600" y="4388225"/>
                    <a:pt x="6466153" y="4393672"/>
                    <a:pt x="6459616" y="4393672"/>
                  </a:cubicBezTo>
                  <a:cubicBezTo>
                    <a:pt x="6453082" y="4393672"/>
                    <a:pt x="6447634" y="4388225"/>
                    <a:pt x="6447634" y="4381688"/>
                  </a:cubicBezTo>
                  <a:cubicBezTo>
                    <a:pt x="6447634" y="4375154"/>
                    <a:pt x="6453082" y="4369707"/>
                    <a:pt x="6459616" y="4369707"/>
                  </a:cubicBezTo>
                  <a:close/>
                  <a:moveTo>
                    <a:pt x="6613200" y="4367530"/>
                  </a:moveTo>
                  <a:cubicBezTo>
                    <a:pt x="6620824" y="4367530"/>
                    <a:pt x="6626996" y="4373702"/>
                    <a:pt x="6626996" y="4381326"/>
                  </a:cubicBezTo>
                  <a:cubicBezTo>
                    <a:pt x="6626996" y="4388953"/>
                    <a:pt x="6620824" y="4395125"/>
                    <a:pt x="6613200" y="4395125"/>
                  </a:cubicBezTo>
                  <a:cubicBezTo>
                    <a:pt x="6605577" y="4395125"/>
                    <a:pt x="6599402" y="4388953"/>
                    <a:pt x="6599402" y="4381326"/>
                  </a:cubicBezTo>
                  <a:cubicBezTo>
                    <a:pt x="6599402" y="4373702"/>
                    <a:pt x="6605577" y="4367530"/>
                    <a:pt x="6613200" y="4367530"/>
                  </a:cubicBezTo>
                  <a:close/>
                  <a:moveTo>
                    <a:pt x="4921594" y="4227744"/>
                  </a:moveTo>
                  <a:cubicBezTo>
                    <a:pt x="4921956" y="4227744"/>
                    <a:pt x="4921956" y="4227744"/>
                    <a:pt x="4921956" y="4228106"/>
                  </a:cubicBezTo>
                  <a:cubicBezTo>
                    <a:pt x="4921956" y="4228468"/>
                    <a:pt x="4921594" y="4228468"/>
                    <a:pt x="4921594" y="4228468"/>
                  </a:cubicBezTo>
                  <a:cubicBezTo>
                    <a:pt x="4921232" y="4228468"/>
                    <a:pt x="4921232" y="4228468"/>
                    <a:pt x="4921232" y="4228106"/>
                  </a:cubicBezTo>
                  <a:cubicBezTo>
                    <a:pt x="4921232" y="4227744"/>
                    <a:pt x="4921232" y="4227744"/>
                    <a:pt x="4921594" y="4227744"/>
                  </a:cubicBezTo>
                  <a:close/>
                  <a:moveTo>
                    <a:pt x="4460480" y="4227744"/>
                  </a:moveTo>
                  <a:cubicBezTo>
                    <a:pt x="4460842" y="4227744"/>
                    <a:pt x="4460842" y="4227744"/>
                    <a:pt x="4460842" y="4228106"/>
                  </a:cubicBezTo>
                  <a:cubicBezTo>
                    <a:pt x="4460842" y="4228468"/>
                    <a:pt x="4460480" y="4228468"/>
                    <a:pt x="4460480" y="4228468"/>
                  </a:cubicBezTo>
                  <a:cubicBezTo>
                    <a:pt x="4460118" y="4228468"/>
                    <a:pt x="4460118" y="4228468"/>
                    <a:pt x="4460118" y="4228106"/>
                  </a:cubicBezTo>
                  <a:cubicBezTo>
                    <a:pt x="4460118" y="4227744"/>
                    <a:pt x="4460118" y="4227744"/>
                    <a:pt x="4460480" y="4227744"/>
                  </a:cubicBezTo>
                  <a:close/>
                  <a:moveTo>
                    <a:pt x="4306532" y="4227744"/>
                  </a:moveTo>
                  <a:cubicBezTo>
                    <a:pt x="4306894" y="4227744"/>
                    <a:pt x="4306894" y="4227744"/>
                    <a:pt x="4306894" y="4228106"/>
                  </a:cubicBezTo>
                  <a:cubicBezTo>
                    <a:pt x="4306894" y="4228468"/>
                    <a:pt x="4306532" y="4228468"/>
                    <a:pt x="4306532" y="4228468"/>
                  </a:cubicBezTo>
                  <a:cubicBezTo>
                    <a:pt x="4306170" y="4228468"/>
                    <a:pt x="4306170" y="4228468"/>
                    <a:pt x="4306170" y="4228106"/>
                  </a:cubicBezTo>
                  <a:cubicBezTo>
                    <a:pt x="4306170" y="4227744"/>
                    <a:pt x="4306170" y="4227744"/>
                    <a:pt x="4306532" y="4227744"/>
                  </a:cubicBezTo>
                  <a:close/>
                  <a:moveTo>
                    <a:pt x="4152947" y="4227378"/>
                  </a:moveTo>
                  <a:cubicBezTo>
                    <a:pt x="4153309" y="4227378"/>
                    <a:pt x="4153672" y="4227740"/>
                    <a:pt x="4153672" y="4228103"/>
                  </a:cubicBezTo>
                  <a:cubicBezTo>
                    <a:pt x="4153672" y="4228468"/>
                    <a:pt x="4152947" y="4228831"/>
                    <a:pt x="4152947" y="4228831"/>
                  </a:cubicBezTo>
                  <a:cubicBezTo>
                    <a:pt x="4152581" y="4228831"/>
                    <a:pt x="4152219" y="4228468"/>
                    <a:pt x="4152219" y="4228103"/>
                  </a:cubicBezTo>
                  <a:cubicBezTo>
                    <a:pt x="4152219" y="4227740"/>
                    <a:pt x="4152581" y="4227378"/>
                    <a:pt x="4152947" y="4227378"/>
                  </a:cubicBezTo>
                  <a:close/>
                  <a:moveTo>
                    <a:pt x="5075541" y="4226292"/>
                  </a:moveTo>
                  <a:cubicBezTo>
                    <a:pt x="5076266" y="4226292"/>
                    <a:pt x="5076994" y="4227016"/>
                    <a:pt x="5076994" y="4227744"/>
                  </a:cubicBezTo>
                  <a:cubicBezTo>
                    <a:pt x="5076994" y="4228468"/>
                    <a:pt x="5075541" y="4229197"/>
                    <a:pt x="5075541" y="4229197"/>
                  </a:cubicBezTo>
                  <a:cubicBezTo>
                    <a:pt x="5074813" y="4229197"/>
                    <a:pt x="5074089" y="4228468"/>
                    <a:pt x="5074089" y="4227744"/>
                  </a:cubicBezTo>
                  <a:cubicBezTo>
                    <a:pt x="5074089" y="4227016"/>
                    <a:pt x="5074813" y="4226292"/>
                    <a:pt x="5075541" y="4226292"/>
                  </a:cubicBezTo>
                  <a:close/>
                  <a:moveTo>
                    <a:pt x="5229122" y="4225564"/>
                  </a:moveTo>
                  <a:cubicBezTo>
                    <a:pt x="5230213" y="4225564"/>
                    <a:pt x="5231303" y="4226654"/>
                    <a:pt x="5231303" y="4227744"/>
                  </a:cubicBezTo>
                  <a:cubicBezTo>
                    <a:pt x="5231303" y="4228831"/>
                    <a:pt x="5229122" y="4229921"/>
                    <a:pt x="5229122" y="4229921"/>
                  </a:cubicBezTo>
                  <a:cubicBezTo>
                    <a:pt x="5228036" y="4229921"/>
                    <a:pt x="5226946" y="4228831"/>
                    <a:pt x="5226946" y="4227744"/>
                  </a:cubicBezTo>
                  <a:cubicBezTo>
                    <a:pt x="5226946" y="4226654"/>
                    <a:pt x="5228036" y="4225564"/>
                    <a:pt x="5229122" y="4225564"/>
                  </a:cubicBezTo>
                  <a:close/>
                  <a:moveTo>
                    <a:pt x="5383078" y="4224840"/>
                  </a:moveTo>
                  <a:cubicBezTo>
                    <a:pt x="5384892" y="4224840"/>
                    <a:pt x="5386344" y="4226292"/>
                    <a:pt x="5386344" y="4228106"/>
                  </a:cubicBezTo>
                  <a:cubicBezTo>
                    <a:pt x="5386344" y="4229921"/>
                    <a:pt x="5384892" y="4231377"/>
                    <a:pt x="5383078" y="4231377"/>
                  </a:cubicBezTo>
                  <a:cubicBezTo>
                    <a:pt x="5381260" y="4231377"/>
                    <a:pt x="5379807" y="4229921"/>
                    <a:pt x="5379807" y="4228106"/>
                  </a:cubicBezTo>
                  <a:cubicBezTo>
                    <a:pt x="5379807" y="4226292"/>
                    <a:pt x="5381260" y="4224840"/>
                    <a:pt x="5383078" y="4224840"/>
                  </a:cubicBezTo>
                  <a:close/>
                  <a:moveTo>
                    <a:pt x="5536659" y="4223383"/>
                  </a:moveTo>
                  <a:cubicBezTo>
                    <a:pt x="5539198" y="4223383"/>
                    <a:pt x="5541016" y="4225198"/>
                    <a:pt x="5541016" y="4227740"/>
                  </a:cubicBezTo>
                  <a:cubicBezTo>
                    <a:pt x="5541016" y="4230283"/>
                    <a:pt x="5538836" y="4232097"/>
                    <a:pt x="5536659" y="4232097"/>
                  </a:cubicBezTo>
                  <a:cubicBezTo>
                    <a:pt x="5534116" y="4232097"/>
                    <a:pt x="5532302" y="4230283"/>
                    <a:pt x="5532302" y="4227740"/>
                  </a:cubicBezTo>
                  <a:cubicBezTo>
                    <a:pt x="5532302" y="4225198"/>
                    <a:pt x="5534116" y="4223383"/>
                    <a:pt x="5536659" y="4223383"/>
                  </a:cubicBezTo>
                  <a:close/>
                  <a:moveTo>
                    <a:pt x="5690606" y="4222297"/>
                  </a:moveTo>
                  <a:cubicBezTo>
                    <a:pt x="5693874" y="4222297"/>
                    <a:pt x="5696416" y="4224840"/>
                    <a:pt x="5696416" y="4228106"/>
                  </a:cubicBezTo>
                  <a:cubicBezTo>
                    <a:pt x="5696416" y="4231373"/>
                    <a:pt x="5693874" y="4233916"/>
                    <a:pt x="5690606" y="4233916"/>
                  </a:cubicBezTo>
                  <a:cubicBezTo>
                    <a:pt x="5687340" y="4233916"/>
                    <a:pt x="5684797" y="4231373"/>
                    <a:pt x="5684797" y="4228106"/>
                  </a:cubicBezTo>
                  <a:cubicBezTo>
                    <a:pt x="5684797" y="4224840"/>
                    <a:pt x="5687340" y="4222297"/>
                    <a:pt x="5690606" y="4222297"/>
                  </a:cubicBezTo>
                  <a:close/>
                  <a:moveTo>
                    <a:pt x="5844554" y="4220479"/>
                  </a:moveTo>
                  <a:cubicBezTo>
                    <a:pt x="5848549" y="4220479"/>
                    <a:pt x="5851816" y="4223746"/>
                    <a:pt x="5851816" y="4227740"/>
                  </a:cubicBezTo>
                  <a:cubicBezTo>
                    <a:pt x="5851816" y="4231735"/>
                    <a:pt x="5848549" y="4235002"/>
                    <a:pt x="5844554" y="4235002"/>
                  </a:cubicBezTo>
                  <a:cubicBezTo>
                    <a:pt x="5840563" y="4235002"/>
                    <a:pt x="5837292" y="4231735"/>
                    <a:pt x="5837292" y="4227740"/>
                  </a:cubicBezTo>
                  <a:cubicBezTo>
                    <a:pt x="5837292" y="4223746"/>
                    <a:pt x="5840563" y="4220479"/>
                    <a:pt x="5844554" y="4220479"/>
                  </a:cubicBezTo>
                  <a:close/>
                  <a:moveTo>
                    <a:pt x="5998136" y="4218664"/>
                  </a:moveTo>
                  <a:cubicBezTo>
                    <a:pt x="6003220" y="4218664"/>
                    <a:pt x="6007216" y="4222659"/>
                    <a:pt x="6007216" y="4227740"/>
                  </a:cubicBezTo>
                  <a:cubicBezTo>
                    <a:pt x="6007216" y="4232825"/>
                    <a:pt x="6003220" y="4236820"/>
                    <a:pt x="5998136" y="4236820"/>
                  </a:cubicBezTo>
                  <a:cubicBezTo>
                    <a:pt x="5993054" y="4236820"/>
                    <a:pt x="5989059" y="4232825"/>
                    <a:pt x="5989059" y="4227740"/>
                  </a:cubicBezTo>
                  <a:cubicBezTo>
                    <a:pt x="5989059" y="4222659"/>
                    <a:pt x="5993054" y="4218664"/>
                    <a:pt x="5998136" y="4218664"/>
                  </a:cubicBezTo>
                  <a:close/>
                  <a:moveTo>
                    <a:pt x="6152086" y="4217940"/>
                  </a:moveTo>
                  <a:cubicBezTo>
                    <a:pt x="6157534" y="4217940"/>
                    <a:pt x="6162253" y="4222659"/>
                    <a:pt x="6162253" y="4228106"/>
                  </a:cubicBezTo>
                  <a:cubicBezTo>
                    <a:pt x="6162253" y="4233554"/>
                    <a:pt x="6157896" y="4238273"/>
                    <a:pt x="6152086" y="4238273"/>
                  </a:cubicBezTo>
                  <a:cubicBezTo>
                    <a:pt x="6146640" y="4238273"/>
                    <a:pt x="6141920" y="4233554"/>
                    <a:pt x="6141920" y="4228106"/>
                  </a:cubicBezTo>
                  <a:cubicBezTo>
                    <a:pt x="6141920" y="4222659"/>
                    <a:pt x="6146640" y="4217940"/>
                    <a:pt x="6152086" y="4217940"/>
                  </a:cubicBezTo>
                  <a:close/>
                  <a:moveTo>
                    <a:pt x="6305668" y="4215760"/>
                  </a:moveTo>
                  <a:cubicBezTo>
                    <a:pt x="6312206" y="4215760"/>
                    <a:pt x="6317649" y="4221207"/>
                    <a:pt x="6317649" y="4227740"/>
                  </a:cubicBezTo>
                  <a:cubicBezTo>
                    <a:pt x="6317649" y="4234278"/>
                    <a:pt x="6312206" y="4239721"/>
                    <a:pt x="6305668" y="4239721"/>
                  </a:cubicBezTo>
                  <a:cubicBezTo>
                    <a:pt x="6299134" y="4239721"/>
                    <a:pt x="6293687" y="4234278"/>
                    <a:pt x="6293687" y="4227740"/>
                  </a:cubicBezTo>
                  <a:cubicBezTo>
                    <a:pt x="6293687" y="4221207"/>
                    <a:pt x="6299134" y="4215760"/>
                    <a:pt x="6305668" y="4215760"/>
                  </a:cubicBezTo>
                  <a:close/>
                  <a:moveTo>
                    <a:pt x="6459619" y="4213945"/>
                  </a:moveTo>
                  <a:cubicBezTo>
                    <a:pt x="6467243" y="4213945"/>
                    <a:pt x="6473414" y="4220117"/>
                    <a:pt x="6473414" y="4227744"/>
                  </a:cubicBezTo>
                  <a:cubicBezTo>
                    <a:pt x="6473414" y="4235368"/>
                    <a:pt x="6467243" y="4241539"/>
                    <a:pt x="6459619" y="4241539"/>
                  </a:cubicBezTo>
                  <a:cubicBezTo>
                    <a:pt x="6451992" y="4241539"/>
                    <a:pt x="6445820" y="4235368"/>
                    <a:pt x="6445820" y="4227744"/>
                  </a:cubicBezTo>
                  <a:cubicBezTo>
                    <a:pt x="6445820" y="4220117"/>
                    <a:pt x="6451992" y="4213945"/>
                    <a:pt x="6459619" y="4213945"/>
                  </a:cubicBezTo>
                  <a:close/>
                  <a:moveTo>
                    <a:pt x="6613200" y="4212855"/>
                  </a:moveTo>
                  <a:cubicBezTo>
                    <a:pt x="6621552" y="4212855"/>
                    <a:pt x="6628452" y="4219754"/>
                    <a:pt x="6628452" y="4228103"/>
                  </a:cubicBezTo>
                  <a:cubicBezTo>
                    <a:pt x="6628452" y="4236454"/>
                    <a:pt x="6621552" y="4243354"/>
                    <a:pt x="6613200" y="4243354"/>
                  </a:cubicBezTo>
                  <a:cubicBezTo>
                    <a:pt x="6604852" y="4243354"/>
                    <a:pt x="6597953" y="4236454"/>
                    <a:pt x="6597953" y="4228103"/>
                  </a:cubicBezTo>
                  <a:cubicBezTo>
                    <a:pt x="6597953" y="4219754"/>
                    <a:pt x="6604852" y="4212855"/>
                    <a:pt x="6613200" y="4212855"/>
                  </a:cubicBezTo>
                  <a:close/>
                  <a:moveTo>
                    <a:pt x="4768008" y="4073793"/>
                  </a:moveTo>
                  <a:cubicBezTo>
                    <a:pt x="4768370" y="4073793"/>
                    <a:pt x="4768370" y="4073793"/>
                    <a:pt x="4768370" y="4074155"/>
                  </a:cubicBezTo>
                  <a:cubicBezTo>
                    <a:pt x="4768370" y="4074521"/>
                    <a:pt x="4768008" y="4074521"/>
                    <a:pt x="4768008" y="4074521"/>
                  </a:cubicBezTo>
                  <a:cubicBezTo>
                    <a:pt x="4767646" y="4074521"/>
                    <a:pt x="4767646" y="4074521"/>
                    <a:pt x="4767646" y="4074155"/>
                  </a:cubicBezTo>
                  <a:cubicBezTo>
                    <a:pt x="4767646" y="4073793"/>
                    <a:pt x="4767646" y="4073793"/>
                    <a:pt x="4768008" y="4073793"/>
                  </a:cubicBezTo>
                  <a:close/>
                  <a:moveTo>
                    <a:pt x="4306532" y="4073793"/>
                  </a:moveTo>
                  <a:cubicBezTo>
                    <a:pt x="4306894" y="4073793"/>
                    <a:pt x="4306894" y="4073793"/>
                    <a:pt x="4306894" y="4074155"/>
                  </a:cubicBezTo>
                  <a:cubicBezTo>
                    <a:pt x="4306894" y="4074521"/>
                    <a:pt x="4306532" y="4074521"/>
                    <a:pt x="4306532" y="4074521"/>
                  </a:cubicBezTo>
                  <a:cubicBezTo>
                    <a:pt x="4306170" y="4074521"/>
                    <a:pt x="4306170" y="4074521"/>
                    <a:pt x="4306170" y="4074155"/>
                  </a:cubicBezTo>
                  <a:cubicBezTo>
                    <a:pt x="4306170" y="4073793"/>
                    <a:pt x="4306170" y="4073793"/>
                    <a:pt x="4306532" y="4073793"/>
                  </a:cubicBezTo>
                  <a:close/>
                  <a:moveTo>
                    <a:pt x="4152947" y="4073793"/>
                  </a:moveTo>
                  <a:cubicBezTo>
                    <a:pt x="4153309" y="4073793"/>
                    <a:pt x="4153309" y="4073793"/>
                    <a:pt x="4153309" y="4074155"/>
                  </a:cubicBezTo>
                  <a:cubicBezTo>
                    <a:pt x="4153309" y="4074521"/>
                    <a:pt x="4152947" y="4074521"/>
                    <a:pt x="4152947" y="4074521"/>
                  </a:cubicBezTo>
                  <a:cubicBezTo>
                    <a:pt x="4152585" y="4074521"/>
                    <a:pt x="4152585" y="4074521"/>
                    <a:pt x="4152585" y="4074155"/>
                  </a:cubicBezTo>
                  <a:cubicBezTo>
                    <a:pt x="4152585" y="4073793"/>
                    <a:pt x="4152585" y="4073793"/>
                    <a:pt x="4152947" y="4073793"/>
                  </a:cubicBezTo>
                  <a:close/>
                  <a:moveTo>
                    <a:pt x="3998996" y="4073431"/>
                  </a:moveTo>
                  <a:cubicBezTo>
                    <a:pt x="3999362" y="4073431"/>
                    <a:pt x="3999724" y="4073793"/>
                    <a:pt x="3999724" y="4074155"/>
                  </a:cubicBezTo>
                  <a:cubicBezTo>
                    <a:pt x="3999724" y="4074521"/>
                    <a:pt x="3998996" y="4074883"/>
                    <a:pt x="3998996" y="4074883"/>
                  </a:cubicBezTo>
                  <a:cubicBezTo>
                    <a:pt x="3998634" y="4074883"/>
                    <a:pt x="3998272" y="4074521"/>
                    <a:pt x="3998272" y="4074155"/>
                  </a:cubicBezTo>
                  <a:cubicBezTo>
                    <a:pt x="3998272" y="4073793"/>
                    <a:pt x="3998634" y="4073431"/>
                    <a:pt x="3998996" y="4073431"/>
                  </a:cubicBezTo>
                  <a:close/>
                  <a:moveTo>
                    <a:pt x="4921594" y="4072344"/>
                  </a:moveTo>
                  <a:cubicBezTo>
                    <a:pt x="4922318" y="4072344"/>
                    <a:pt x="4923046" y="4073069"/>
                    <a:pt x="4923046" y="4073797"/>
                  </a:cubicBezTo>
                  <a:cubicBezTo>
                    <a:pt x="4923046" y="4074521"/>
                    <a:pt x="4921594" y="4075249"/>
                    <a:pt x="4921594" y="4075249"/>
                  </a:cubicBezTo>
                  <a:cubicBezTo>
                    <a:pt x="4920866" y="4075249"/>
                    <a:pt x="4920142" y="4074521"/>
                    <a:pt x="4920142" y="4073797"/>
                  </a:cubicBezTo>
                  <a:cubicBezTo>
                    <a:pt x="4920142" y="4073069"/>
                    <a:pt x="4920866" y="4072344"/>
                    <a:pt x="4921594" y="4072344"/>
                  </a:cubicBezTo>
                  <a:close/>
                  <a:moveTo>
                    <a:pt x="5075541" y="4071978"/>
                  </a:moveTo>
                  <a:cubicBezTo>
                    <a:pt x="5076632" y="4071978"/>
                    <a:pt x="5077722" y="4073069"/>
                    <a:pt x="5077722" y="4074155"/>
                  </a:cubicBezTo>
                  <a:cubicBezTo>
                    <a:pt x="5077722" y="4075245"/>
                    <a:pt x="5075541" y="4076335"/>
                    <a:pt x="5075541" y="4076335"/>
                  </a:cubicBezTo>
                  <a:cubicBezTo>
                    <a:pt x="5074455" y="4076335"/>
                    <a:pt x="5073364" y="4075245"/>
                    <a:pt x="5073364" y="4074155"/>
                  </a:cubicBezTo>
                  <a:cubicBezTo>
                    <a:pt x="5073364" y="4073069"/>
                    <a:pt x="5074455" y="4071978"/>
                    <a:pt x="5075541" y="4071978"/>
                  </a:cubicBezTo>
                  <a:close/>
                  <a:moveTo>
                    <a:pt x="5229126" y="4070892"/>
                  </a:moveTo>
                  <a:cubicBezTo>
                    <a:pt x="5230944" y="4070892"/>
                    <a:pt x="5232394" y="4072344"/>
                    <a:pt x="5232394" y="4074159"/>
                  </a:cubicBezTo>
                  <a:cubicBezTo>
                    <a:pt x="5232394" y="4075973"/>
                    <a:pt x="5230944" y="4077429"/>
                    <a:pt x="5229126" y="4077429"/>
                  </a:cubicBezTo>
                  <a:cubicBezTo>
                    <a:pt x="5227312" y="4077429"/>
                    <a:pt x="5225860" y="4075973"/>
                    <a:pt x="5225860" y="4074159"/>
                  </a:cubicBezTo>
                  <a:cubicBezTo>
                    <a:pt x="5225860" y="4072344"/>
                    <a:pt x="5227312" y="4070892"/>
                    <a:pt x="5229126" y="4070892"/>
                  </a:cubicBezTo>
                  <a:close/>
                  <a:moveTo>
                    <a:pt x="5383074" y="4069802"/>
                  </a:moveTo>
                  <a:cubicBezTo>
                    <a:pt x="5385616" y="4069802"/>
                    <a:pt x="5387431" y="4071616"/>
                    <a:pt x="5387431" y="4074159"/>
                  </a:cubicBezTo>
                  <a:cubicBezTo>
                    <a:pt x="5387431" y="4076701"/>
                    <a:pt x="5385254" y="4078516"/>
                    <a:pt x="5383074" y="4078516"/>
                  </a:cubicBezTo>
                  <a:cubicBezTo>
                    <a:pt x="5380532" y="4078516"/>
                    <a:pt x="5378717" y="4076701"/>
                    <a:pt x="5378717" y="4074159"/>
                  </a:cubicBezTo>
                  <a:cubicBezTo>
                    <a:pt x="5378717" y="4071616"/>
                    <a:pt x="5380532" y="4069802"/>
                    <a:pt x="5383074" y="4069802"/>
                  </a:cubicBezTo>
                  <a:close/>
                  <a:moveTo>
                    <a:pt x="5536659" y="4068349"/>
                  </a:moveTo>
                  <a:cubicBezTo>
                    <a:pt x="5539926" y="4068349"/>
                    <a:pt x="5542468" y="4070892"/>
                    <a:pt x="5542468" y="4074159"/>
                  </a:cubicBezTo>
                  <a:cubicBezTo>
                    <a:pt x="5542468" y="4077426"/>
                    <a:pt x="5539926" y="4079968"/>
                    <a:pt x="5536659" y="4079968"/>
                  </a:cubicBezTo>
                  <a:cubicBezTo>
                    <a:pt x="5533392" y="4079968"/>
                    <a:pt x="5530850" y="4077426"/>
                    <a:pt x="5530850" y="4074159"/>
                  </a:cubicBezTo>
                  <a:cubicBezTo>
                    <a:pt x="5530850" y="4070892"/>
                    <a:pt x="5533392" y="4068349"/>
                    <a:pt x="5536659" y="4068349"/>
                  </a:cubicBezTo>
                  <a:close/>
                  <a:moveTo>
                    <a:pt x="5690606" y="4066897"/>
                  </a:moveTo>
                  <a:cubicBezTo>
                    <a:pt x="5694602" y="4066897"/>
                    <a:pt x="5697868" y="4070164"/>
                    <a:pt x="5697868" y="4074159"/>
                  </a:cubicBezTo>
                  <a:cubicBezTo>
                    <a:pt x="5697868" y="4078154"/>
                    <a:pt x="5694602" y="4081420"/>
                    <a:pt x="5690606" y="4081420"/>
                  </a:cubicBezTo>
                  <a:cubicBezTo>
                    <a:pt x="5686616" y="4081420"/>
                    <a:pt x="5683345" y="4078154"/>
                    <a:pt x="5683345" y="4074159"/>
                  </a:cubicBezTo>
                  <a:cubicBezTo>
                    <a:pt x="5683345" y="4070164"/>
                    <a:pt x="5686616" y="4066897"/>
                    <a:pt x="5690606" y="4066897"/>
                  </a:cubicBezTo>
                  <a:close/>
                  <a:moveTo>
                    <a:pt x="5844554" y="4064717"/>
                  </a:moveTo>
                  <a:cubicBezTo>
                    <a:pt x="5849639" y="4064717"/>
                    <a:pt x="5853634" y="4068712"/>
                    <a:pt x="5853634" y="4073793"/>
                  </a:cubicBezTo>
                  <a:cubicBezTo>
                    <a:pt x="5853634" y="4078878"/>
                    <a:pt x="5849639" y="4082873"/>
                    <a:pt x="5844554" y="4082873"/>
                  </a:cubicBezTo>
                  <a:cubicBezTo>
                    <a:pt x="5839472" y="4082873"/>
                    <a:pt x="5835478" y="4078878"/>
                    <a:pt x="5835478" y="4073793"/>
                  </a:cubicBezTo>
                  <a:cubicBezTo>
                    <a:pt x="5835478" y="4068712"/>
                    <a:pt x="5839472" y="4064717"/>
                    <a:pt x="5844554" y="4064717"/>
                  </a:cubicBezTo>
                  <a:close/>
                  <a:moveTo>
                    <a:pt x="5998139" y="4063992"/>
                  </a:moveTo>
                  <a:cubicBezTo>
                    <a:pt x="6003586" y="4063992"/>
                    <a:pt x="6008306" y="4068712"/>
                    <a:pt x="6008306" y="4074159"/>
                  </a:cubicBezTo>
                  <a:cubicBezTo>
                    <a:pt x="6008306" y="4079606"/>
                    <a:pt x="6003948" y="4084325"/>
                    <a:pt x="5998139" y="4084325"/>
                  </a:cubicBezTo>
                  <a:cubicBezTo>
                    <a:pt x="5992692" y="4084325"/>
                    <a:pt x="5987973" y="4079606"/>
                    <a:pt x="5987973" y="4074159"/>
                  </a:cubicBezTo>
                  <a:cubicBezTo>
                    <a:pt x="5987973" y="4068712"/>
                    <a:pt x="5992692" y="4063992"/>
                    <a:pt x="5998139" y="4063992"/>
                  </a:cubicBezTo>
                  <a:close/>
                  <a:moveTo>
                    <a:pt x="6152083" y="4062174"/>
                  </a:moveTo>
                  <a:cubicBezTo>
                    <a:pt x="6158620" y="4062174"/>
                    <a:pt x="6164064" y="4067621"/>
                    <a:pt x="6164064" y="4074155"/>
                  </a:cubicBezTo>
                  <a:cubicBezTo>
                    <a:pt x="6164064" y="4080692"/>
                    <a:pt x="6158620" y="4086140"/>
                    <a:pt x="6152083" y="4086140"/>
                  </a:cubicBezTo>
                  <a:cubicBezTo>
                    <a:pt x="6145546" y="4086140"/>
                    <a:pt x="6140102" y="4080692"/>
                    <a:pt x="6140102" y="4074155"/>
                  </a:cubicBezTo>
                  <a:cubicBezTo>
                    <a:pt x="6140102" y="4067621"/>
                    <a:pt x="6145546" y="4062174"/>
                    <a:pt x="6152083" y="4062174"/>
                  </a:cubicBezTo>
                  <a:close/>
                  <a:moveTo>
                    <a:pt x="6305672" y="4059998"/>
                  </a:moveTo>
                  <a:cubicBezTo>
                    <a:pt x="6313292" y="4059998"/>
                    <a:pt x="6319467" y="4066169"/>
                    <a:pt x="6319467" y="4073793"/>
                  </a:cubicBezTo>
                  <a:cubicBezTo>
                    <a:pt x="6319467" y="4081420"/>
                    <a:pt x="6313292" y="4087592"/>
                    <a:pt x="6305672" y="4087592"/>
                  </a:cubicBezTo>
                  <a:cubicBezTo>
                    <a:pt x="6298044" y="4087592"/>
                    <a:pt x="6291873" y="4081420"/>
                    <a:pt x="6291873" y="4073793"/>
                  </a:cubicBezTo>
                  <a:cubicBezTo>
                    <a:pt x="6291873" y="4066169"/>
                    <a:pt x="6298044" y="4059998"/>
                    <a:pt x="6305672" y="4059998"/>
                  </a:cubicBezTo>
                  <a:close/>
                  <a:moveTo>
                    <a:pt x="6459619" y="4058907"/>
                  </a:moveTo>
                  <a:cubicBezTo>
                    <a:pt x="6468040" y="4058907"/>
                    <a:pt x="6474867" y="4065735"/>
                    <a:pt x="6474867" y="4074155"/>
                  </a:cubicBezTo>
                  <a:cubicBezTo>
                    <a:pt x="6474867" y="4082579"/>
                    <a:pt x="6468040" y="4089406"/>
                    <a:pt x="6459619" y="4089406"/>
                  </a:cubicBezTo>
                  <a:cubicBezTo>
                    <a:pt x="6451195" y="4089406"/>
                    <a:pt x="6444368" y="4082579"/>
                    <a:pt x="6444368" y="4074155"/>
                  </a:cubicBezTo>
                  <a:cubicBezTo>
                    <a:pt x="6444368" y="4065735"/>
                    <a:pt x="6451195" y="4058907"/>
                    <a:pt x="6459619" y="4058907"/>
                  </a:cubicBezTo>
                  <a:close/>
                  <a:moveTo>
                    <a:pt x="6613197" y="4057093"/>
                  </a:moveTo>
                  <a:cubicBezTo>
                    <a:pt x="6622639" y="4057093"/>
                    <a:pt x="6630266" y="4064717"/>
                    <a:pt x="6630266" y="4074159"/>
                  </a:cubicBezTo>
                  <a:cubicBezTo>
                    <a:pt x="6630266" y="4083597"/>
                    <a:pt x="6622639" y="4091225"/>
                    <a:pt x="6613197" y="4091225"/>
                  </a:cubicBezTo>
                  <a:cubicBezTo>
                    <a:pt x="6603758" y="4091225"/>
                    <a:pt x="6596135" y="4083597"/>
                    <a:pt x="6596135" y="4074159"/>
                  </a:cubicBezTo>
                  <a:cubicBezTo>
                    <a:pt x="6596135" y="4064717"/>
                    <a:pt x="6603758" y="4057093"/>
                    <a:pt x="6613197" y="4057093"/>
                  </a:cubicBezTo>
                  <a:close/>
                  <a:moveTo>
                    <a:pt x="4614061" y="3919845"/>
                  </a:moveTo>
                  <a:cubicBezTo>
                    <a:pt x="4614424" y="3919845"/>
                    <a:pt x="4614424" y="3919845"/>
                    <a:pt x="4614424" y="3920208"/>
                  </a:cubicBezTo>
                  <a:cubicBezTo>
                    <a:pt x="4614424" y="3920574"/>
                    <a:pt x="4614061" y="3920574"/>
                    <a:pt x="4614061" y="3920574"/>
                  </a:cubicBezTo>
                  <a:cubicBezTo>
                    <a:pt x="4613699" y="3920574"/>
                    <a:pt x="4613699" y="3920574"/>
                    <a:pt x="4613699" y="3920208"/>
                  </a:cubicBezTo>
                  <a:cubicBezTo>
                    <a:pt x="4613699" y="3919845"/>
                    <a:pt x="4613699" y="3919845"/>
                    <a:pt x="4614061" y="3919845"/>
                  </a:cubicBezTo>
                  <a:close/>
                  <a:moveTo>
                    <a:pt x="4152947" y="3919845"/>
                  </a:moveTo>
                  <a:cubicBezTo>
                    <a:pt x="4153309" y="3919845"/>
                    <a:pt x="4153309" y="3919845"/>
                    <a:pt x="4153309" y="3920208"/>
                  </a:cubicBezTo>
                  <a:cubicBezTo>
                    <a:pt x="4153309" y="3920574"/>
                    <a:pt x="4152947" y="3920574"/>
                    <a:pt x="4152947" y="3920574"/>
                  </a:cubicBezTo>
                  <a:cubicBezTo>
                    <a:pt x="4152585" y="3920574"/>
                    <a:pt x="4152585" y="3920574"/>
                    <a:pt x="4152585" y="3920208"/>
                  </a:cubicBezTo>
                  <a:cubicBezTo>
                    <a:pt x="4152585" y="3919845"/>
                    <a:pt x="4152585" y="3919845"/>
                    <a:pt x="4152947" y="3919845"/>
                  </a:cubicBezTo>
                  <a:close/>
                  <a:moveTo>
                    <a:pt x="3999000" y="3919845"/>
                  </a:moveTo>
                  <a:cubicBezTo>
                    <a:pt x="3999362" y="3919845"/>
                    <a:pt x="3999362" y="3919845"/>
                    <a:pt x="3999362" y="3920208"/>
                  </a:cubicBezTo>
                  <a:cubicBezTo>
                    <a:pt x="3999362" y="3920574"/>
                    <a:pt x="3999000" y="3920574"/>
                    <a:pt x="3999000" y="3920574"/>
                  </a:cubicBezTo>
                  <a:cubicBezTo>
                    <a:pt x="3998638" y="3920574"/>
                    <a:pt x="3998638" y="3920574"/>
                    <a:pt x="3998638" y="3920208"/>
                  </a:cubicBezTo>
                  <a:cubicBezTo>
                    <a:pt x="3998638" y="3919845"/>
                    <a:pt x="3998638" y="3919845"/>
                    <a:pt x="3999000" y="3919845"/>
                  </a:cubicBezTo>
                  <a:close/>
                  <a:moveTo>
                    <a:pt x="3845418" y="3919483"/>
                  </a:moveTo>
                  <a:cubicBezTo>
                    <a:pt x="3845818" y="3919483"/>
                    <a:pt x="3846142" y="3919807"/>
                    <a:pt x="3846142" y="3920211"/>
                  </a:cubicBezTo>
                  <a:cubicBezTo>
                    <a:pt x="3846142" y="3920612"/>
                    <a:pt x="3845818" y="3920936"/>
                    <a:pt x="3845418" y="3920936"/>
                  </a:cubicBezTo>
                  <a:cubicBezTo>
                    <a:pt x="3845014" y="3920936"/>
                    <a:pt x="3844690" y="3920612"/>
                    <a:pt x="3844690" y="3920211"/>
                  </a:cubicBezTo>
                  <a:cubicBezTo>
                    <a:pt x="3844690" y="3919807"/>
                    <a:pt x="3845014" y="3919483"/>
                    <a:pt x="3845418" y="3919483"/>
                  </a:cubicBezTo>
                  <a:close/>
                  <a:moveTo>
                    <a:pt x="4768012" y="3918759"/>
                  </a:moveTo>
                  <a:cubicBezTo>
                    <a:pt x="4768736" y="3918759"/>
                    <a:pt x="4769464" y="3919483"/>
                    <a:pt x="4769464" y="3920211"/>
                  </a:cubicBezTo>
                  <a:cubicBezTo>
                    <a:pt x="4769464" y="3920936"/>
                    <a:pt x="4768012" y="3921664"/>
                    <a:pt x="4768012" y="3921664"/>
                  </a:cubicBezTo>
                  <a:cubicBezTo>
                    <a:pt x="4767284" y="3921664"/>
                    <a:pt x="4766560" y="3920936"/>
                    <a:pt x="4766560" y="3920211"/>
                  </a:cubicBezTo>
                  <a:cubicBezTo>
                    <a:pt x="4766560" y="3919483"/>
                    <a:pt x="4767284" y="3918759"/>
                    <a:pt x="4768012" y="3918759"/>
                  </a:cubicBezTo>
                  <a:close/>
                  <a:moveTo>
                    <a:pt x="4921594" y="3918031"/>
                  </a:moveTo>
                  <a:cubicBezTo>
                    <a:pt x="4922684" y="3918031"/>
                    <a:pt x="4923774" y="3919121"/>
                    <a:pt x="4923774" y="3920208"/>
                  </a:cubicBezTo>
                  <a:cubicBezTo>
                    <a:pt x="4923774" y="3921298"/>
                    <a:pt x="4921594" y="3922388"/>
                    <a:pt x="4921594" y="3922388"/>
                  </a:cubicBezTo>
                  <a:cubicBezTo>
                    <a:pt x="4920508" y="3922388"/>
                    <a:pt x="4919417" y="3921298"/>
                    <a:pt x="4919417" y="3920208"/>
                  </a:cubicBezTo>
                  <a:cubicBezTo>
                    <a:pt x="4919417" y="3919121"/>
                    <a:pt x="4920508" y="3918031"/>
                    <a:pt x="4921594" y="3918031"/>
                  </a:cubicBezTo>
                  <a:close/>
                  <a:moveTo>
                    <a:pt x="5075545" y="3917307"/>
                  </a:moveTo>
                  <a:cubicBezTo>
                    <a:pt x="5077360" y="3917307"/>
                    <a:pt x="5078812" y="3918759"/>
                    <a:pt x="5078812" y="3920574"/>
                  </a:cubicBezTo>
                  <a:cubicBezTo>
                    <a:pt x="5078812" y="3922388"/>
                    <a:pt x="5077360" y="3923844"/>
                    <a:pt x="5075545" y="3923844"/>
                  </a:cubicBezTo>
                  <a:cubicBezTo>
                    <a:pt x="5073726" y="3923844"/>
                    <a:pt x="5072274" y="3922388"/>
                    <a:pt x="5072274" y="3920574"/>
                  </a:cubicBezTo>
                  <a:cubicBezTo>
                    <a:pt x="5072274" y="3918759"/>
                    <a:pt x="5073726" y="3917307"/>
                    <a:pt x="5075545" y="3917307"/>
                  </a:cubicBezTo>
                  <a:close/>
                  <a:moveTo>
                    <a:pt x="5229126" y="3915854"/>
                  </a:moveTo>
                  <a:cubicBezTo>
                    <a:pt x="5231669" y="3915854"/>
                    <a:pt x="5233484" y="3917669"/>
                    <a:pt x="5233484" y="3920211"/>
                  </a:cubicBezTo>
                  <a:cubicBezTo>
                    <a:pt x="5233484" y="3922754"/>
                    <a:pt x="5231303" y="3924568"/>
                    <a:pt x="5229126" y="3924568"/>
                  </a:cubicBezTo>
                  <a:cubicBezTo>
                    <a:pt x="5226584" y="3924568"/>
                    <a:pt x="5224770" y="3922754"/>
                    <a:pt x="5224770" y="3920211"/>
                  </a:cubicBezTo>
                  <a:cubicBezTo>
                    <a:pt x="5224770" y="3917669"/>
                    <a:pt x="5226584" y="3915854"/>
                    <a:pt x="5229126" y="3915854"/>
                  </a:cubicBezTo>
                  <a:close/>
                  <a:moveTo>
                    <a:pt x="5383074" y="3914764"/>
                  </a:moveTo>
                  <a:cubicBezTo>
                    <a:pt x="5386340" y="3914764"/>
                    <a:pt x="5388883" y="3917307"/>
                    <a:pt x="5388883" y="3920574"/>
                  </a:cubicBezTo>
                  <a:cubicBezTo>
                    <a:pt x="5388883" y="3923840"/>
                    <a:pt x="5386340" y="3926383"/>
                    <a:pt x="5383074" y="3926383"/>
                  </a:cubicBezTo>
                  <a:cubicBezTo>
                    <a:pt x="5379807" y="3926383"/>
                    <a:pt x="5377264" y="3923840"/>
                    <a:pt x="5377264" y="3920574"/>
                  </a:cubicBezTo>
                  <a:cubicBezTo>
                    <a:pt x="5377264" y="3917307"/>
                    <a:pt x="5379807" y="3914764"/>
                    <a:pt x="5383074" y="3914764"/>
                  </a:cubicBezTo>
                  <a:close/>
                  <a:moveTo>
                    <a:pt x="5536659" y="3912950"/>
                  </a:moveTo>
                  <a:cubicBezTo>
                    <a:pt x="5540654" y="3912950"/>
                    <a:pt x="5543921" y="3916217"/>
                    <a:pt x="5543921" y="3920211"/>
                  </a:cubicBezTo>
                  <a:cubicBezTo>
                    <a:pt x="5543921" y="3924206"/>
                    <a:pt x="5540654" y="3927473"/>
                    <a:pt x="5536659" y="3927473"/>
                  </a:cubicBezTo>
                  <a:cubicBezTo>
                    <a:pt x="5532664" y="3927473"/>
                    <a:pt x="5529398" y="3924206"/>
                    <a:pt x="5529398" y="3920211"/>
                  </a:cubicBezTo>
                  <a:cubicBezTo>
                    <a:pt x="5529398" y="3916217"/>
                    <a:pt x="5532664" y="3912950"/>
                    <a:pt x="5536659" y="3912950"/>
                  </a:cubicBezTo>
                  <a:close/>
                  <a:moveTo>
                    <a:pt x="5690606" y="3911135"/>
                  </a:moveTo>
                  <a:cubicBezTo>
                    <a:pt x="5695692" y="3911135"/>
                    <a:pt x="5699686" y="3915130"/>
                    <a:pt x="5699686" y="3920211"/>
                  </a:cubicBezTo>
                  <a:cubicBezTo>
                    <a:pt x="5699686" y="3925297"/>
                    <a:pt x="5695692" y="3929291"/>
                    <a:pt x="5690606" y="3929291"/>
                  </a:cubicBezTo>
                  <a:cubicBezTo>
                    <a:pt x="5685526" y="3929291"/>
                    <a:pt x="5681530" y="3925297"/>
                    <a:pt x="5681530" y="3920211"/>
                  </a:cubicBezTo>
                  <a:cubicBezTo>
                    <a:pt x="5681530" y="3915130"/>
                    <a:pt x="5685526" y="3911135"/>
                    <a:pt x="5690606" y="3911135"/>
                  </a:cubicBezTo>
                  <a:close/>
                  <a:moveTo>
                    <a:pt x="5844554" y="3910045"/>
                  </a:moveTo>
                  <a:cubicBezTo>
                    <a:pt x="5850001" y="3910045"/>
                    <a:pt x="5854720" y="3914764"/>
                    <a:pt x="5854720" y="3920211"/>
                  </a:cubicBezTo>
                  <a:cubicBezTo>
                    <a:pt x="5854720" y="3925659"/>
                    <a:pt x="5850363" y="3930378"/>
                    <a:pt x="5844554" y="3930378"/>
                  </a:cubicBezTo>
                  <a:cubicBezTo>
                    <a:pt x="5839106" y="3930378"/>
                    <a:pt x="5834388" y="3925659"/>
                    <a:pt x="5834388" y="3920211"/>
                  </a:cubicBezTo>
                  <a:cubicBezTo>
                    <a:pt x="5834388" y="3914764"/>
                    <a:pt x="5839106" y="3910045"/>
                    <a:pt x="5844554" y="3910045"/>
                  </a:cubicBezTo>
                  <a:close/>
                  <a:moveTo>
                    <a:pt x="5998139" y="3908227"/>
                  </a:moveTo>
                  <a:cubicBezTo>
                    <a:pt x="6004673" y="3908227"/>
                    <a:pt x="6010120" y="3913674"/>
                    <a:pt x="6010120" y="3920208"/>
                  </a:cubicBezTo>
                  <a:cubicBezTo>
                    <a:pt x="6010120" y="3926745"/>
                    <a:pt x="6004673" y="3932192"/>
                    <a:pt x="5998139" y="3932192"/>
                  </a:cubicBezTo>
                  <a:cubicBezTo>
                    <a:pt x="5991602" y="3932192"/>
                    <a:pt x="5986158" y="3926745"/>
                    <a:pt x="5986158" y="3920208"/>
                  </a:cubicBezTo>
                  <a:cubicBezTo>
                    <a:pt x="5986158" y="3913674"/>
                    <a:pt x="5991602" y="3908227"/>
                    <a:pt x="5998139" y="3908227"/>
                  </a:cubicBezTo>
                  <a:close/>
                  <a:moveTo>
                    <a:pt x="6152086" y="3906412"/>
                  </a:moveTo>
                  <a:cubicBezTo>
                    <a:pt x="6159710" y="3906412"/>
                    <a:pt x="6165882" y="3912584"/>
                    <a:pt x="6165882" y="3920211"/>
                  </a:cubicBezTo>
                  <a:cubicBezTo>
                    <a:pt x="6165882" y="3927835"/>
                    <a:pt x="6159710" y="3934007"/>
                    <a:pt x="6152086" y="3934007"/>
                  </a:cubicBezTo>
                  <a:cubicBezTo>
                    <a:pt x="6144463" y="3934007"/>
                    <a:pt x="6138288" y="3927835"/>
                    <a:pt x="6138288" y="3920211"/>
                  </a:cubicBezTo>
                  <a:cubicBezTo>
                    <a:pt x="6138288" y="3912584"/>
                    <a:pt x="6144463" y="3906412"/>
                    <a:pt x="6152086" y="3906412"/>
                  </a:cubicBezTo>
                  <a:close/>
                  <a:moveTo>
                    <a:pt x="6305672" y="3904960"/>
                  </a:moveTo>
                  <a:cubicBezTo>
                    <a:pt x="6314092" y="3904960"/>
                    <a:pt x="6320920" y="3911787"/>
                    <a:pt x="6320920" y="3920211"/>
                  </a:cubicBezTo>
                  <a:cubicBezTo>
                    <a:pt x="6320920" y="3928632"/>
                    <a:pt x="6314092" y="3935459"/>
                    <a:pt x="6305672" y="3935459"/>
                  </a:cubicBezTo>
                  <a:cubicBezTo>
                    <a:pt x="6297248" y="3935459"/>
                    <a:pt x="6290420" y="3928632"/>
                    <a:pt x="6290420" y="3920211"/>
                  </a:cubicBezTo>
                  <a:cubicBezTo>
                    <a:pt x="6290420" y="3911787"/>
                    <a:pt x="6297248" y="3904960"/>
                    <a:pt x="6305672" y="3904960"/>
                  </a:cubicBezTo>
                  <a:close/>
                  <a:moveTo>
                    <a:pt x="6459616" y="3903146"/>
                  </a:moveTo>
                  <a:cubicBezTo>
                    <a:pt x="6469058" y="3903146"/>
                    <a:pt x="6476682" y="3910769"/>
                    <a:pt x="6476682" y="3920211"/>
                  </a:cubicBezTo>
                  <a:cubicBezTo>
                    <a:pt x="6476682" y="3929650"/>
                    <a:pt x="6469058" y="3937277"/>
                    <a:pt x="6459616" y="3937277"/>
                  </a:cubicBezTo>
                  <a:cubicBezTo>
                    <a:pt x="6450174" y="3937277"/>
                    <a:pt x="6442550" y="3929650"/>
                    <a:pt x="6442550" y="3920211"/>
                  </a:cubicBezTo>
                  <a:cubicBezTo>
                    <a:pt x="6442550" y="3910769"/>
                    <a:pt x="6450174" y="3903146"/>
                    <a:pt x="6459616" y="3903146"/>
                  </a:cubicBezTo>
                  <a:close/>
                  <a:moveTo>
                    <a:pt x="6613200" y="3900969"/>
                  </a:moveTo>
                  <a:cubicBezTo>
                    <a:pt x="6623828" y="3900969"/>
                    <a:pt x="6632447" y="3909584"/>
                    <a:pt x="6632447" y="3920211"/>
                  </a:cubicBezTo>
                  <a:cubicBezTo>
                    <a:pt x="6632447" y="3930839"/>
                    <a:pt x="6623828" y="3939458"/>
                    <a:pt x="6613200" y="3939458"/>
                  </a:cubicBezTo>
                  <a:cubicBezTo>
                    <a:pt x="6602573" y="3939458"/>
                    <a:pt x="6593958" y="3930839"/>
                    <a:pt x="6593958" y="3920211"/>
                  </a:cubicBezTo>
                  <a:cubicBezTo>
                    <a:pt x="6593958" y="3909584"/>
                    <a:pt x="6602573" y="3900969"/>
                    <a:pt x="6613200" y="3900969"/>
                  </a:cubicBezTo>
                  <a:close/>
                  <a:moveTo>
                    <a:pt x="4460480" y="3766264"/>
                  </a:moveTo>
                  <a:cubicBezTo>
                    <a:pt x="4460842" y="3766264"/>
                    <a:pt x="4460842" y="3766264"/>
                    <a:pt x="4460842" y="3766626"/>
                  </a:cubicBezTo>
                  <a:cubicBezTo>
                    <a:pt x="4460842" y="3766988"/>
                    <a:pt x="4460480" y="3766988"/>
                    <a:pt x="4460480" y="3766988"/>
                  </a:cubicBezTo>
                  <a:cubicBezTo>
                    <a:pt x="4460118" y="3766988"/>
                    <a:pt x="4460118" y="3766988"/>
                    <a:pt x="4460118" y="3766626"/>
                  </a:cubicBezTo>
                  <a:cubicBezTo>
                    <a:pt x="4460118" y="3766264"/>
                    <a:pt x="4460118" y="3766264"/>
                    <a:pt x="4460480" y="3766264"/>
                  </a:cubicBezTo>
                  <a:close/>
                  <a:moveTo>
                    <a:pt x="3999000" y="3766264"/>
                  </a:moveTo>
                  <a:cubicBezTo>
                    <a:pt x="3999362" y="3766264"/>
                    <a:pt x="3999362" y="3766264"/>
                    <a:pt x="3999362" y="3766626"/>
                  </a:cubicBezTo>
                  <a:cubicBezTo>
                    <a:pt x="3999362" y="3766988"/>
                    <a:pt x="3999000" y="3766988"/>
                    <a:pt x="3999000" y="3766988"/>
                  </a:cubicBezTo>
                  <a:cubicBezTo>
                    <a:pt x="3998638" y="3766988"/>
                    <a:pt x="3998638" y="3766988"/>
                    <a:pt x="3998638" y="3766626"/>
                  </a:cubicBezTo>
                  <a:cubicBezTo>
                    <a:pt x="3998638" y="3766264"/>
                    <a:pt x="3998638" y="3766264"/>
                    <a:pt x="3999000" y="3766264"/>
                  </a:cubicBezTo>
                  <a:close/>
                  <a:moveTo>
                    <a:pt x="3845414" y="3766264"/>
                  </a:moveTo>
                  <a:cubicBezTo>
                    <a:pt x="3845776" y="3766264"/>
                    <a:pt x="3845776" y="3766264"/>
                    <a:pt x="3845776" y="3766626"/>
                  </a:cubicBezTo>
                  <a:cubicBezTo>
                    <a:pt x="3845776" y="3766988"/>
                    <a:pt x="3845414" y="3766988"/>
                    <a:pt x="3845414" y="3766988"/>
                  </a:cubicBezTo>
                  <a:cubicBezTo>
                    <a:pt x="3845052" y="3766988"/>
                    <a:pt x="3845052" y="3766988"/>
                    <a:pt x="3845052" y="3766626"/>
                  </a:cubicBezTo>
                  <a:cubicBezTo>
                    <a:pt x="3845052" y="3766264"/>
                    <a:pt x="3845052" y="3766264"/>
                    <a:pt x="3845414" y="3766264"/>
                  </a:cubicBezTo>
                  <a:close/>
                  <a:moveTo>
                    <a:pt x="3691471" y="3765902"/>
                  </a:moveTo>
                  <a:cubicBezTo>
                    <a:pt x="3691871" y="3765902"/>
                    <a:pt x="3692195" y="3766226"/>
                    <a:pt x="3692195" y="3766626"/>
                  </a:cubicBezTo>
                  <a:cubicBezTo>
                    <a:pt x="3692195" y="3767030"/>
                    <a:pt x="3691871" y="3767354"/>
                    <a:pt x="3691471" y="3767354"/>
                  </a:cubicBezTo>
                  <a:cubicBezTo>
                    <a:pt x="3691067" y="3767354"/>
                    <a:pt x="3690743" y="3767030"/>
                    <a:pt x="3690743" y="3766626"/>
                  </a:cubicBezTo>
                  <a:cubicBezTo>
                    <a:pt x="3690743" y="3766226"/>
                    <a:pt x="3691067" y="3765902"/>
                    <a:pt x="3691471" y="3765902"/>
                  </a:cubicBezTo>
                  <a:close/>
                  <a:moveTo>
                    <a:pt x="4614065" y="3764812"/>
                  </a:moveTo>
                  <a:cubicBezTo>
                    <a:pt x="4614789" y="3764812"/>
                    <a:pt x="4615518" y="3765536"/>
                    <a:pt x="4615518" y="3766264"/>
                  </a:cubicBezTo>
                  <a:cubicBezTo>
                    <a:pt x="4615518" y="3766988"/>
                    <a:pt x="4614065" y="3767716"/>
                    <a:pt x="4614065" y="3767716"/>
                  </a:cubicBezTo>
                  <a:cubicBezTo>
                    <a:pt x="4613337" y="3767716"/>
                    <a:pt x="4612612" y="3766988"/>
                    <a:pt x="4612612" y="3766264"/>
                  </a:cubicBezTo>
                  <a:cubicBezTo>
                    <a:pt x="4612612" y="3765536"/>
                    <a:pt x="4613337" y="3764812"/>
                    <a:pt x="4614065" y="3764812"/>
                  </a:cubicBezTo>
                  <a:close/>
                  <a:moveTo>
                    <a:pt x="4768008" y="3764450"/>
                  </a:moveTo>
                  <a:cubicBezTo>
                    <a:pt x="4769098" y="3764450"/>
                    <a:pt x="4770189" y="3765540"/>
                    <a:pt x="4770189" y="3766626"/>
                  </a:cubicBezTo>
                  <a:cubicBezTo>
                    <a:pt x="4770189" y="3767716"/>
                    <a:pt x="4768008" y="3768807"/>
                    <a:pt x="4768008" y="3768807"/>
                  </a:cubicBezTo>
                  <a:cubicBezTo>
                    <a:pt x="4766922" y="3768807"/>
                    <a:pt x="4765832" y="3767716"/>
                    <a:pt x="4765832" y="3766626"/>
                  </a:cubicBezTo>
                  <a:cubicBezTo>
                    <a:pt x="4765832" y="3765540"/>
                    <a:pt x="4766922" y="3764450"/>
                    <a:pt x="4768008" y="3764450"/>
                  </a:cubicBezTo>
                  <a:close/>
                  <a:moveTo>
                    <a:pt x="4921594" y="3763359"/>
                  </a:moveTo>
                  <a:cubicBezTo>
                    <a:pt x="4923412" y="3763359"/>
                    <a:pt x="4924860" y="3764812"/>
                    <a:pt x="4924860" y="3766626"/>
                  </a:cubicBezTo>
                  <a:cubicBezTo>
                    <a:pt x="4924860" y="3768441"/>
                    <a:pt x="4923412" y="3769897"/>
                    <a:pt x="4921594" y="3769897"/>
                  </a:cubicBezTo>
                  <a:cubicBezTo>
                    <a:pt x="4919780" y="3769897"/>
                    <a:pt x="4918327" y="3768441"/>
                    <a:pt x="4918327" y="3766626"/>
                  </a:cubicBezTo>
                  <a:cubicBezTo>
                    <a:pt x="4918327" y="3764812"/>
                    <a:pt x="4919780" y="3763359"/>
                    <a:pt x="4921594" y="3763359"/>
                  </a:cubicBezTo>
                  <a:close/>
                  <a:moveTo>
                    <a:pt x="5075541" y="3762269"/>
                  </a:moveTo>
                  <a:cubicBezTo>
                    <a:pt x="5078084" y="3762269"/>
                    <a:pt x="5079898" y="3764084"/>
                    <a:pt x="5079898" y="3766626"/>
                  </a:cubicBezTo>
                  <a:cubicBezTo>
                    <a:pt x="5079898" y="3769169"/>
                    <a:pt x="5077722" y="3770983"/>
                    <a:pt x="5075541" y="3770983"/>
                  </a:cubicBezTo>
                  <a:cubicBezTo>
                    <a:pt x="5072998" y="3770983"/>
                    <a:pt x="5071184" y="3769169"/>
                    <a:pt x="5071184" y="3766626"/>
                  </a:cubicBezTo>
                  <a:cubicBezTo>
                    <a:pt x="5071184" y="3764084"/>
                    <a:pt x="5072998" y="3762269"/>
                    <a:pt x="5075541" y="3762269"/>
                  </a:cubicBezTo>
                  <a:close/>
                  <a:moveTo>
                    <a:pt x="5229126" y="3760817"/>
                  </a:moveTo>
                  <a:cubicBezTo>
                    <a:pt x="5232394" y="3760817"/>
                    <a:pt x="5234936" y="3763359"/>
                    <a:pt x="5234936" y="3766626"/>
                  </a:cubicBezTo>
                  <a:cubicBezTo>
                    <a:pt x="5234936" y="3769893"/>
                    <a:pt x="5232394" y="3772436"/>
                    <a:pt x="5229126" y="3772436"/>
                  </a:cubicBezTo>
                  <a:cubicBezTo>
                    <a:pt x="5225860" y="3772436"/>
                    <a:pt x="5223317" y="3769893"/>
                    <a:pt x="5223317" y="3766626"/>
                  </a:cubicBezTo>
                  <a:cubicBezTo>
                    <a:pt x="5223317" y="3763359"/>
                    <a:pt x="5225860" y="3760817"/>
                    <a:pt x="5229126" y="3760817"/>
                  </a:cubicBezTo>
                  <a:close/>
                  <a:moveTo>
                    <a:pt x="5383074" y="3759365"/>
                  </a:moveTo>
                  <a:cubicBezTo>
                    <a:pt x="5387068" y="3759365"/>
                    <a:pt x="5390336" y="3762631"/>
                    <a:pt x="5390336" y="3766626"/>
                  </a:cubicBezTo>
                  <a:cubicBezTo>
                    <a:pt x="5390336" y="3770621"/>
                    <a:pt x="5387068" y="3773888"/>
                    <a:pt x="5383074" y="3773888"/>
                  </a:cubicBezTo>
                  <a:cubicBezTo>
                    <a:pt x="5379079" y="3773888"/>
                    <a:pt x="5375812" y="3770621"/>
                    <a:pt x="5375812" y="3766626"/>
                  </a:cubicBezTo>
                  <a:cubicBezTo>
                    <a:pt x="5375812" y="3762631"/>
                    <a:pt x="5379079" y="3759365"/>
                    <a:pt x="5383074" y="3759365"/>
                  </a:cubicBezTo>
                  <a:close/>
                  <a:moveTo>
                    <a:pt x="5536659" y="3757188"/>
                  </a:moveTo>
                  <a:cubicBezTo>
                    <a:pt x="5541740" y="3757188"/>
                    <a:pt x="5545739" y="3761183"/>
                    <a:pt x="5545739" y="3766264"/>
                  </a:cubicBezTo>
                  <a:cubicBezTo>
                    <a:pt x="5545739" y="3771349"/>
                    <a:pt x="5541740" y="3775344"/>
                    <a:pt x="5536659" y="3775344"/>
                  </a:cubicBezTo>
                  <a:cubicBezTo>
                    <a:pt x="5531578" y="3775344"/>
                    <a:pt x="5527583" y="3771349"/>
                    <a:pt x="5527583" y="3766264"/>
                  </a:cubicBezTo>
                  <a:cubicBezTo>
                    <a:pt x="5527583" y="3761183"/>
                    <a:pt x="5531578" y="3757188"/>
                    <a:pt x="5536659" y="3757188"/>
                  </a:cubicBezTo>
                  <a:close/>
                  <a:moveTo>
                    <a:pt x="5690606" y="3756460"/>
                  </a:moveTo>
                  <a:cubicBezTo>
                    <a:pt x="5696054" y="3756460"/>
                    <a:pt x="5700773" y="3761179"/>
                    <a:pt x="5700773" y="3766626"/>
                  </a:cubicBezTo>
                  <a:cubicBezTo>
                    <a:pt x="5700773" y="3772073"/>
                    <a:pt x="5696416" y="3776793"/>
                    <a:pt x="5690606" y="3776793"/>
                  </a:cubicBezTo>
                  <a:cubicBezTo>
                    <a:pt x="5685160" y="3776793"/>
                    <a:pt x="5680440" y="3772073"/>
                    <a:pt x="5680440" y="3766626"/>
                  </a:cubicBezTo>
                  <a:cubicBezTo>
                    <a:pt x="5680440" y="3761179"/>
                    <a:pt x="5685160" y="3756460"/>
                    <a:pt x="5690606" y="3756460"/>
                  </a:cubicBezTo>
                  <a:close/>
                  <a:moveTo>
                    <a:pt x="5844550" y="3754645"/>
                  </a:moveTo>
                  <a:cubicBezTo>
                    <a:pt x="5851088" y="3754645"/>
                    <a:pt x="5856534" y="3760093"/>
                    <a:pt x="5856534" y="3766626"/>
                  </a:cubicBezTo>
                  <a:cubicBezTo>
                    <a:pt x="5856534" y="3773164"/>
                    <a:pt x="5851088" y="3778607"/>
                    <a:pt x="5844550" y="3778607"/>
                  </a:cubicBezTo>
                  <a:cubicBezTo>
                    <a:pt x="5838016" y="3778607"/>
                    <a:pt x="5832570" y="3773164"/>
                    <a:pt x="5832570" y="3766626"/>
                  </a:cubicBezTo>
                  <a:cubicBezTo>
                    <a:pt x="5832570" y="3760093"/>
                    <a:pt x="5838016" y="3754645"/>
                    <a:pt x="5844550" y="3754645"/>
                  </a:cubicBezTo>
                  <a:close/>
                  <a:moveTo>
                    <a:pt x="5998139" y="3752465"/>
                  </a:moveTo>
                  <a:cubicBezTo>
                    <a:pt x="6005763" y="3752465"/>
                    <a:pt x="6011934" y="3758636"/>
                    <a:pt x="6011934" y="3766264"/>
                  </a:cubicBezTo>
                  <a:cubicBezTo>
                    <a:pt x="6011934" y="3773888"/>
                    <a:pt x="6005763" y="3780059"/>
                    <a:pt x="5998139" y="3780059"/>
                  </a:cubicBezTo>
                  <a:cubicBezTo>
                    <a:pt x="5990516" y="3780059"/>
                    <a:pt x="5984340" y="3773888"/>
                    <a:pt x="5984340" y="3766264"/>
                  </a:cubicBezTo>
                  <a:cubicBezTo>
                    <a:pt x="5984340" y="3758636"/>
                    <a:pt x="5990516" y="3752465"/>
                    <a:pt x="5998139" y="3752465"/>
                  </a:cubicBezTo>
                  <a:close/>
                  <a:moveTo>
                    <a:pt x="6152086" y="3751379"/>
                  </a:moveTo>
                  <a:cubicBezTo>
                    <a:pt x="6160507" y="3751379"/>
                    <a:pt x="6167334" y="3758206"/>
                    <a:pt x="6167334" y="3766626"/>
                  </a:cubicBezTo>
                  <a:cubicBezTo>
                    <a:pt x="6167334" y="3775050"/>
                    <a:pt x="6160507" y="3781878"/>
                    <a:pt x="6152086" y="3781878"/>
                  </a:cubicBezTo>
                  <a:cubicBezTo>
                    <a:pt x="6143666" y="3781878"/>
                    <a:pt x="6136839" y="3775050"/>
                    <a:pt x="6136839" y="3766626"/>
                  </a:cubicBezTo>
                  <a:cubicBezTo>
                    <a:pt x="6136839" y="3758206"/>
                    <a:pt x="6143666" y="3751379"/>
                    <a:pt x="6152086" y="3751379"/>
                  </a:cubicBezTo>
                  <a:close/>
                  <a:moveTo>
                    <a:pt x="6305668" y="3749560"/>
                  </a:moveTo>
                  <a:cubicBezTo>
                    <a:pt x="6315110" y="3749560"/>
                    <a:pt x="6322734" y="3757184"/>
                    <a:pt x="6322734" y="3766626"/>
                  </a:cubicBezTo>
                  <a:cubicBezTo>
                    <a:pt x="6322734" y="3776064"/>
                    <a:pt x="6315110" y="3783692"/>
                    <a:pt x="6305668" y="3783692"/>
                  </a:cubicBezTo>
                  <a:cubicBezTo>
                    <a:pt x="6296226" y="3783692"/>
                    <a:pt x="6288602" y="3776064"/>
                    <a:pt x="6288602" y="3766626"/>
                  </a:cubicBezTo>
                  <a:cubicBezTo>
                    <a:pt x="6288602" y="3757184"/>
                    <a:pt x="6296226" y="3749560"/>
                    <a:pt x="6305668" y="3749560"/>
                  </a:cubicBezTo>
                  <a:close/>
                  <a:moveTo>
                    <a:pt x="6459616" y="3747384"/>
                  </a:moveTo>
                  <a:cubicBezTo>
                    <a:pt x="6470243" y="3747384"/>
                    <a:pt x="6478858" y="3755999"/>
                    <a:pt x="6478858" y="3766626"/>
                  </a:cubicBezTo>
                  <a:cubicBezTo>
                    <a:pt x="6478858" y="3777254"/>
                    <a:pt x="6470243" y="3785869"/>
                    <a:pt x="6459616" y="3785869"/>
                  </a:cubicBezTo>
                  <a:cubicBezTo>
                    <a:pt x="6448988" y="3785869"/>
                    <a:pt x="6440369" y="3777254"/>
                    <a:pt x="6440369" y="3766626"/>
                  </a:cubicBezTo>
                  <a:cubicBezTo>
                    <a:pt x="6440369" y="3755999"/>
                    <a:pt x="6448988" y="3747384"/>
                    <a:pt x="6459616" y="3747384"/>
                  </a:cubicBezTo>
                  <a:close/>
                  <a:moveTo>
                    <a:pt x="6613200" y="3745203"/>
                  </a:moveTo>
                  <a:cubicBezTo>
                    <a:pt x="6625033" y="3745203"/>
                    <a:pt x="6634624" y="3754794"/>
                    <a:pt x="6634624" y="3766626"/>
                  </a:cubicBezTo>
                  <a:cubicBezTo>
                    <a:pt x="6634624" y="3778454"/>
                    <a:pt x="6625033" y="3788045"/>
                    <a:pt x="6613200" y="3788045"/>
                  </a:cubicBezTo>
                  <a:cubicBezTo>
                    <a:pt x="6601368" y="3788045"/>
                    <a:pt x="6591778" y="3778454"/>
                    <a:pt x="6591778" y="3766626"/>
                  </a:cubicBezTo>
                  <a:cubicBezTo>
                    <a:pt x="6591778" y="3754794"/>
                    <a:pt x="6601368" y="3745203"/>
                    <a:pt x="6613200" y="3745203"/>
                  </a:cubicBezTo>
                  <a:close/>
                  <a:moveTo>
                    <a:pt x="4306532" y="3612317"/>
                  </a:moveTo>
                  <a:cubicBezTo>
                    <a:pt x="4306894" y="3612317"/>
                    <a:pt x="4306894" y="3612317"/>
                    <a:pt x="4306894" y="3612679"/>
                  </a:cubicBezTo>
                  <a:cubicBezTo>
                    <a:pt x="4306894" y="3613045"/>
                    <a:pt x="4306532" y="3613045"/>
                    <a:pt x="4306532" y="3613045"/>
                  </a:cubicBezTo>
                  <a:cubicBezTo>
                    <a:pt x="4306170" y="3613045"/>
                    <a:pt x="4306170" y="3613045"/>
                    <a:pt x="4306170" y="3612679"/>
                  </a:cubicBezTo>
                  <a:cubicBezTo>
                    <a:pt x="4306170" y="3612317"/>
                    <a:pt x="4306170" y="3612317"/>
                    <a:pt x="4306532" y="3612317"/>
                  </a:cubicBezTo>
                  <a:close/>
                  <a:moveTo>
                    <a:pt x="3845414" y="3612317"/>
                  </a:moveTo>
                  <a:cubicBezTo>
                    <a:pt x="3845776" y="3612317"/>
                    <a:pt x="3845776" y="3612317"/>
                    <a:pt x="3845776" y="3612679"/>
                  </a:cubicBezTo>
                  <a:cubicBezTo>
                    <a:pt x="3845776" y="3613045"/>
                    <a:pt x="3845414" y="3613045"/>
                    <a:pt x="3845414" y="3613045"/>
                  </a:cubicBezTo>
                  <a:cubicBezTo>
                    <a:pt x="3845052" y="3613045"/>
                    <a:pt x="3845052" y="3613045"/>
                    <a:pt x="3845052" y="3612679"/>
                  </a:cubicBezTo>
                  <a:cubicBezTo>
                    <a:pt x="3845052" y="3612317"/>
                    <a:pt x="3845052" y="3612317"/>
                    <a:pt x="3845414" y="3612317"/>
                  </a:cubicBezTo>
                  <a:close/>
                  <a:moveTo>
                    <a:pt x="3691467" y="3612317"/>
                  </a:moveTo>
                  <a:cubicBezTo>
                    <a:pt x="3691829" y="3612317"/>
                    <a:pt x="3691829" y="3612317"/>
                    <a:pt x="3691829" y="3612679"/>
                  </a:cubicBezTo>
                  <a:cubicBezTo>
                    <a:pt x="3691829" y="3613045"/>
                    <a:pt x="3691467" y="3613045"/>
                    <a:pt x="3691467" y="3613045"/>
                  </a:cubicBezTo>
                  <a:cubicBezTo>
                    <a:pt x="3691105" y="3613045"/>
                    <a:pt x="3691105" y="3613045"/>
                    <a:pt x="3691105" y="3612679"/>
                  </a:cubicBezTo>
                  <a:cubicBezTo>
                    <a:pt x="3691105" y="3612317"/>
                    <a:pt x="3691105" y="3612317"/>
                    <a:pt x="3691467" y="3612317"/>
                  </a:cubicBezTo>
                  <a:close/>
                  <a:moveTo>
                    <a:pt x="3537886" y="3611955"/>
                  </a:moveTo>
                  <a:cubicBezTo>
                    <a:pt x="3538286" y="3611955"/>
                    <a:pt x="3538610" y="3612279"/>
                    <a:pt x="3538610" y="3612683"/>
                  </a:cubicBezTo>
                  <a:cubicBezTo>
                    <a:pt x="3538610" y="3613083"/>
                    <a:pt x="3538286" y="3613407"/>
                    <a:pt x="3537886" y="3613407"/>
                  </a:cubicBezTo>
                  <a:cubicBezTo>
                    <a:pt x="3537482" y="3613407"/>
                    <a:pt x="3537158" y="3613083"/>
                    <a:pt x="3537158" y="3612683"/>
                  </a:cubicBezTo>
                  <a:cubicBezTo>
                    <a:pt x="3537158" y="3612279"/>
                    <a:pt x="3537482" y="3611955"/>
                    <a:pt x="3537886" y="3611955"/>
                  </a:cubicBezTo>
                  <a:close/>
                  <a:moveTo>
                    <a:pt x="4460480" y="3611226"/>
                  </a:moveTo>
                  <a:cubicBezTo>
                    <a:pt x="4461204" y="3611226"/>
                    <a:pt x="4461932" y="3611955"/>
                    <a:pt x="4461932" y="3612679"/>
                  </a:cubicBezTo>
                  <a:cubicBezTo>
                    <a:pt x="4461932" y="3613403"/>
                    <a:pt x="4460480" y="3614131"/>
                    <a:pt x="4460480" y="3614131"/>
                  </a:cubicBezTo>
                  <a:cubicBezTo>
                    <a:pt x="4459752" y="3614131"/>
                    <a:pt x="4459028" y="3613403"/>
                    <a:pt x="4459028" y="3612679"/>
                  </a:cubicBezTo>
                  <a:cubicBezTo>
                    <a:pt x="4459028" y="3611955"/>
                    <a:pt x="4459752" y="3611226"/>
                    <a:pt x="4460480" y="3611226"/>
                  </a:cubicBezTo>
                  <a:close/>
                  <a:moveTo>
                    <a:pt x="4614061" y="3610502"/>
                  </a:moveTo>
                  <a:cubicBezTo>
                    <a:pt x="4615152" y="3610502"/>
                    <a:pt x="4616242" y="3611592"/>
                    <a:pt x="4616242" y="3612679"/>
                  </a:cubicBezTo>
                  <a:cubicBezTo>
                    <a:pt x="4616242" y="3613769"/>
                    <a:pt x="4614061" y="3614859"/>
                    <a:pt x="4614061" y="3614859"/>
                  </a:cubicBezTo>
                  <a:cubicBezTo>
                    <a:pt x="4612974" y="3614859"/>
                    <a:pt x="4611884" y="3613769"/>
                    <a:pt x="4611884" y="3612679"/>
                  </a:cubicBezTo>
                  <a:cubicBezTo>
                    <a:pt x="4611884" y="3611592"/>
                    <a:pt x="4612974" y="3610502"/>
                    <a:pt x="4614061" y="3610502"/>
                  </a:cubicBezTo>
                  <a:close/>
                  <a:moveTo>
                    <a:pt x="4768008" y="3609774"/>
                  </a:moveTo>
                  <a:cubicBezTo>
                    <a:pt x="4769823" y="3609774"/>
                    <a:pt x="4771276" y="3611226"/>
                    <a:pt x="4771276" y="3613041"/>
                  </a:cubicBezTo>
                  <a:cubicBezTo>
                    <a:pt x="4771276" y="3614855"/>
                    <a:pt x="4769823" y="3616312"/>
                    <a:pt x="4768008" y="3616312"/>
                  </a:cubicBezTo>
                  <a:cubicBezTo>
                    <a:pt x="4766194" y="3616312"/>
                    <a:pt x="4764742" y="3614855"/>
                    <a:pt x="4764742" y="3613041"/>
                  </a:cubicBezTo>
                  <a:cubicBezTo>
                    <a:pt x="4764742" y="3611226"/>
                    <a:pt x="4766194" y="3609774"/>
                    <a:pt x="4768008" y="3609774"/>
                  </a:cubicBezTo>
                  <a:close/>
                  <a:moveTo>
                    <a:pt x="4921594" y="3608322"/>
                  </a:moveTo>
                  <a:cubicBezTo>
                    <a:pt x="4924136" y="3608322"/>
                    <a:pt x="4925951" y="3610136"/>
                    <a:pt x="4925951" y="3612679"/>
                  </a:cubicBezTo>
                  <a:cubicBezTo>
                    <a:pt x="4925951" y="3615221"/>
                    <a:pt x="4923770" y="3617036"/>
                    <a:pt x="4921594" y="3617036"/>
                  </a:cubicBezTo>
                  <a:cubicBezTo>
                    <a:pt x="4919052" y="3617036"/>
                    <a:pt x="4917237" y="3615221"/>
                    <a:pt x="4917237" y="3612679"/>
                  </a:cubicBezTo>
                  <a:cubicBezTo>
                    <a:pt x="4917237" y="3610136"/>
                    <a:pt x="4919052" y="3608322"/>
                    <a:pt x="4921594" y="3608322"/>
                  </a:cubicBezTo>
                  <a:close/>
                  <a:moveTo>
                    <a:pt x="5075541" y="3607232"/>
                  </a:moveTo>
                  <a:cubicBezTo>
                    <a:pt x="5078808" y="3607232"/>
                    <a:pt x="5081350" y="3609774"/>
                    <a:pt x="5081350" y="3613041"/>
                  </a:cubicBezTo>
                  <a:cubicBezTo>
                    <a:pt x="5081350" y="3616308"/>
                    <a:pt x="5078808" y="3618850"/>
                    <a:pt x="5075541" y="3618850"/>
                  </a:cubicBezTo>
                  <a:cubicBezTo>
                    <a:pt x="5072274" y="3618850"/>
                    <a:pt x="5069732" y="3616308"/>
                    <a:pt x="5069732" y="3613041"/>
                  </a:cubicBezTo>
                  <a:cubicBezTo>
                    <a:pt x="5069732" y="3609774"/>
                    <a:pt x="5072274" y="3607232"/>
                    <a:pt x="5075541" y="3607232"/>
                  </a:cubicBezTo>
                  <a:close/>
                  <a:moveTo>
                    <a:pt x="5229126" y="3605417"/>
                  </a:moveTo>
                  <a:cubicBezTo>
                    <a:pt x="5233122" y="3605417"/>
                    <a:pt x="5236388" y="3608684"/>
                    <a:pt x="5236388" y="3612679"/>
                  </a:cubicBezTo>
                  <a:cubicBezTo>
                    <a:pt x="5236388" y="3616674"/>
                    <a:pt x="5233122" y="3619940"/>
                    <a:pt x="5229126" y="3619940"/>
                  </a:cubicBezTo>
                  <a:cubicBezTo>
                    <a:pt x="5225132" y="3619940"/>
                    <a:pt x="5221865" y="3616674"/>
                    <a:pt x="5221865" y="3612679"/>
                  </a:cubicBezTo>
                  <a:cubicBezTo>
                    <a:pt x="5221865" y="3608684"/>
                    <a:pt x="5225132" y="3605417"/>
                    <a:pt x="5229126" y="3605417"/>
                  </a:cubicBezTo>
                  <a:close/>
                  <a:moveTo>
                    <a:pt x="5383074" y="3603603"/>
                  </a:moveTo>
                  <a:cubicBezTo>
                    <a:pt x="5388159" y="3603603"/>
                    <a:pt x="5392154" y="3607598"/>
                    <a:pt x="5392154" y="3612679"/>
                  </a:cubicBezTo>
                  <a:cubicBezTo>
                    <a:pt x="5392154" y="3617764"/>
                    <a:pt x="5388159" y="3621759"/>
                    <a:pt x="5383074" y="3621759"/>
                  </a:cubicBezTo>
                  <a:cubicBezTo>
                    <a:pt x="5377992" y="3621759"/>
                    <a:pt x="5373998" y="3617764"/>
                    <a:pt x="5373998" y="3612679"/>
                  </a:cubicBezTo>
                  <a:cubicBezTo>
                    <a:pt x="5373998" y="3607598"/>
                    <a:pt x="5377992" y="3603603"/>
                    <a:pt x="5383074" y="3603603"/>
                  </a:cubicBezTo>
                  <a:close/>
                  <a:moveTo>
                    <a:pt x="5536659" y="3602512"/>
                  </a:moveTo>
                  <a:cubicBezTo>
                    <a:pt x="5542106" y="3602512"/>
                    <a:pt x="5546826" y="3607232"/>
                    <a:pt x="5546826" y="3612679"/>
                  </a:cubicBezTo>
                  <a:cubicBezTo>
                    <a:pt x="5546826" y="3618126"/>
                    <a:pt x="5542468" y="3622845"/>
                    <a:pt x="5536659" y="3622845"/>
                  </a:cubicBezTo>
                  <a:cubicBezTo>
                    <a:pt x="5531212" y="3622845"/>
                    <a:pt x="5526493" y="3618126"/>
                    <a:pt x="5526493" y="3612679"/>
                  </a:cubicBezTo>
                  <a:cubicBezTo>
                    <a:pt x="5526493" y="3607232"/>
                    <a:pt x="5531212" y="3602512"/>
                    <a:pt x="5536659" y="3602512"/>
                  </a:cubicBezTo>
                  <a:close/>
                  <a:moveTo>
                    <a:pt x="5690602" y="3600698"/>
                  </a:moveTo>
                  <a:cubicBezTo>
                    <a:pt x="5697140" y="3600698"/>
                    <a:pt x="5702584" y="3606145"/>
                    <a:pt x="5702584" y="3612679"/>
                  </a:cubicBezTo>
                  <a:cubicBezTo>
                    <a:pt x="5702584" y="3619216"/>
                    <a:pt x="5697140" y="3624663"/>
                    <a:pt x="5690602" y="3624663"/>
                  </a:cubicBezTo>
                  <a:cubicBezTo>
                    <a:pt x="5684069" y="3624663"/>
                    <a:pt x="5678622" y="3619216"/>
                    <a:pt x="5678622" y="3612679"/>
                  </a:cubicBezTo>
                  <a:cubicBezTo>
                    <a:pt x="5678622" y="3606145"/>
                    <a:pt x="5684069" y="3600698"/>
                    <a:pt x="5690602" y="3600698"/>
                  </a:cubicBezTo>
                  <a:close/>
                  <a:moveTo>
                    <a:pt x="5844554" y="3598884"/>
                  </a:moveTo>
                  <a:cubicBezTo>
                    <a:pt x="5852170" y="3598884"/>
                    <a:pt x="5858349" y="3605063"/>
                    <a:pt x="5858349" y="3612683"/>
                  </a:cubicBezTo>
                  <a:cubicBezTo>
                    <a:pt x="5858349" y="3620303"/>
                    <a:pt x="5852174" y="3626478"/>
                    <a:pt x="5844554" y="3626478"/>
                  </a:cubicBezTo>
                  <a:cubicBezTo>
                    <a:pt x="5836934" y="3626478"/>
                    <a:pt x="5830755" y="3620299"/>
                    <a:pt x="5830755" y="3612683"/>
                  </a:cubicBezTo>
                  <a:cubicBezTo>
                    <a:pt x="5830755" y="3605059"/>
                    <a:pt x="5836930" y="3598884"/>
                    <a:pt x="5844554" y="3598884"/>
                  </a:cubicBezTo>
                  <a:close/>
                  <a:moveTo>
                    <a:pt x="5998139" y="3597431"/>
                  </a:moveTo>
                  <a:cubicBezTo>
                    <a:pt x="6006560" y="3597431"/>
                    <a:pt x="6013387" y="3604258"/>
                    <a:pt x="6013387" y="3612683"/>
                  </a:cubicBezTo>
                  <a:cubicBezTo>
                    <a:pt x="6013387" y="3621103"/>
                    <a:pt x="6006560" y="3627930"/>
                    <a:pt x="5998139" y="3627930"/>
                  </a:cubicBezTo>
                  <a:cubicBezTo>
                    <a:pt x="5989718" y="3627930"/>
                    <a:pt x="5982892" y="3621103"/>
                    <a:pt x="5982892" y="3612683"/>
                  </a:cubicBezTo>
                  <a:cubicBezTo>
                    <a:pt x="5982892" y="3604258"/>
                    <a:pt x="5989718" y="3597431"/>
                    <a:pt x="5998139" y="3597431"/>
                  </a:cubicBezTo>
                  <a:close/>
                  <a:moveTo>
                    <a:pt x="6152083" y="3595613"/>
                  </a:moveTo>
                  <a:cubicBezTo>
                    <a:pt x="6161525" y="3595613"/>
                    <a:pt x="6169152" y="3603237"/>
                    <a:pt x="6169152" y="3612679"/>
                  </a:cubicBezTo>
                  <a:cubicBezTo>
                    <a:pt x="6169152" y="3622117"/>
                    <a:pt x="6161525" y="3629745"/>
                    <a:pt x="6152083" y="3629745"/>
                  </a:cubicBezTo>
                  <a:cubicBezTo>
                    <a:pt x="6142644" y="3629745"/>
                    <a:pt x="6135020" y="3622117"/>
                    <a:pt x="6135020" y="3612679"/>
                  </a:cubicBezTo>
                  <a:cubicBezTo>
                    <a:pt x="6135020" y="3603237"/>
                    <a:pt x="6142644" y="3595613"/>
                    <a:pt x="6152083" y="3595613"/>
                  </a:cubicBezTo>
                  <a:close/>
                  <a:moveTo>
                    <a:pt x="6305668" y="3593436"/>
                  </a:moveTo>
                  <a:cubicBezTo>
                    <a:pt x="6316296" y="3593436"/>
                    <a:pt x="6324910" y="3602051"/>
                    <a:pt x="6324910" y="3612679"/>
                  </a:cubicBezTo>
                  <a:cubicBezTo>
                    <a:pt x="6324910" y="3623306"/>
                    <a:pt x="6316296" y="3631921"/>
                    <a:pt x="6305668" y="3631921"/>
                  </a:cubicBezTo>
                  <a:cubicBezTo>
                    <a:pt x="6295040" y="3631921"/>
                    <a:pt x="6286422" y="3623306"/>
                    <a:pt x="6286422" y="3612679"/>
                  </a:cubicBezTo>
                  <a:cubicBezTo>
                    <a:pt x="6286422" y="3602051"/>
                    <a:pt x="6295040" y="3593436"/>
                    <a:pt x="6305668" y="3593436"/>
                  </a:cubicBezTo>
                  <a:close/>
                  <a:moveTo>
                    <a:pt x="6459616" y="3591256"/>
                  </a:moveTo>
                  <a:cubicBezTo>
                    <a:pt x="6471448" y="3591256"/>
                    <a:pt x="6481038" y="3600847"/>
                    <a:pt x="6481038" y="3612679"/>
                  </a:cubicBezTo>
                  <a:cubicBezTo>
                    <a:pt x="6481038" y="3624507"/>
                    <a:pt x="6471448" y="3634098"/>
                    <a:pt x="6459616" y="3634098"/>
                  </a:cubicBezTo>
                  <a:cubicBezTo>
                    <a:pt x="6447784" y="3634098"/>
                    <a:pt x="6438192" y="3624507"/>
                    <a:pt x="6438192" y="3612679"/>
                  </a:cubicBezTo>
                  <a:cubicBezTo>
                    <a:pt x="6438192" y="3600847"/>
                    <a:pt x="6447784" y="3591256"/>
                    <a:pt x="6459616" y="3591256"/>
                  </a:cubicBezTo>
                  <a:close/>
                  <a:moveTo>
                    <a:pt x="6613200" y="3589804"/>
                  </a:moveTo>
                  <a:cubicBezTo>
                    <a:pt x="6625834" y="3589804"/>
                    <a:pt x="6636072" y="3600046"/>
                    <a:pt x="6636072" y="3612679"/>
                  </a:cubicBezTo>
                  <a:cubicBezTo>
                    <a:pt x="6636072" y="3625311"/>
                    <a:pt x="6625834" y="3635550"/>
                    <a:pt x="6613200" y="3635550"/>
                  </a:cubicBezTo>
                  <a:cubicBezTo>
                    <a:pt x="6600564" y="3635550"/>
                    <a:pt x="6590326" y="3625311"/>
                    <a:pt x="6590326" y="3612679"/>
                  </a:cubicBezTo>
                  <a:cubicBezTo>
                    <a:pt x="6590326" y="3600046"/>
                    <a:pt x="6600564" y="3589804"/>
                    <a:pt x="6613200" y="3589804"/>
                  </a:cubicBezTo>
                  <a:close/>
                  <a:moveTo>
                    <a:pt x="4152947" y="3458731"/>
                  </a:moveTo>
                  <a:cubicBezTo>
                    <a:pt x="4153309" y="3458731"/>
                    <a:pt x="4153309" y="3458731"/>
                    <a:pt x="4153309" y="3459094"/>
                  </a:cubicBezTo>
                  <a:cubicBezTo>
                    <a:pt x="4153309" y="3459456"/>
                    <a:pt x="4152947" y="3459456"/>
                    <a:pt x="4152947" y="3459456"/>
                  </a:cubicBezTo>
                  <a:cubicBezTo>
                    <a:pt x="4152585" y="3459456"/>
                    <a:pt x="4152585" y="3459456"/>
                    <a:pt x="4152585" y="3459094"/>
                  </a:cubicBezTo>
                  <a:cubicBezTo>
                    <a:pt x="4152585" y="3458731"/>
                    <a:pt x="4152585" y="3458731"/>
                    <a:pt x="4152947" y="3458731"/>
                  </a:cubicBezTo>
                  <a:close/>
                  <a:moveTo>
                    <a:pt x="3691467" y="3458731"/>
                  </a:moveTo>
                  <a:cubicBezTo>
                    <a:pt x="3691829" y="3458731"/>
                    <a:pt x="3691829" y="3458731"/>
                    <a:pt x="3691829" y="3459094"/>
                  </a:cubicBezTo>
                  <a:cubicBezTo>
                    <a:pt x="3691829" y="3459456"/>
                    <a:pt x="3691467" y="3459456"/>
                    <a:pt x="3691467" y="3459456"/>
                  </a:cubicBezTo>
                  <a:cubicBezTo>
                    <a:pt x="3691105" y="3459456"/>
                    <a:pt x="3691105" y="3459456"/>
                    <a:pt x="3691105" y="3459094"/>
                  </a:cubicBezTo>
                  <a:cubicBezTo>
                    <a:pt x="3691105" y="3458731"/>
                    <a:pt x="3691105" y="3458731"/>
                    <a:pt x="3691467" y="3458731"/>
                  </a:cubicBezTo>
                  <a:close/>
                  <a:moveTo>
                    <a:pt x="3537882" y="3458731"/>
                  </a:moveTo>
                  <a:cubicBezTo>
                    <a:pt x="3538244" y="3458731"/>
                    <a:pt x="3538244" y="3458731"/>
                    <a:pt x="3538244" y="3459094"/>
                  </a:cubicBezTo>
                  <a:cubicBezTo>
                    <a:pt x="3538244" y="3459456"/>
                    <a:pt x="3537882" y="3459456"/>
                    <a:pt x="3537882" y="3459456"/>
                  </a:cubicBezTo>
                  <a:cubicBezTo>
                    <a:pt x="3537520" y="3459456"/>
                    <a:pt x="3537520" y="3459456"/>
                    <a:pt x="3537520" y="3459094"/>
                  </a:cubicBezTo>
                  <a:cubicBezTo>
                    <a:pt x="3537520" y="3458731"/>
                    <a:pt x="3537520" y="3458731"/>
                    <a:pt x="3537882" y="3458731"/>
                  </a:cubicBezTo>
                  <a:close/>
                  <a:moveTo>
                    <a:pt x="3383938" y="3458369"/>
                  </a:moveTo>
                  <a:cubicBezTo>
                    <a:pt x="3384338" y="3458369"/>
                    <a:pt x="3384662" y="3458693"/>
                    <a:pt x="3384662" y="3459094"/>
                  </a:cubicBezTo>
                  <a:cubicBezTo>
                    <a:pt x="3384662" y="3459498"/>
                    <a:pt x="3384338" y="3459822"/>
                    <a:pt x="3383938" y="3459822"/>
                  </a:cubicBezTo>
                  <a:cubicBezTo>
                    <a:pt x="3383534" y="3459822"/>
                    <a:pt x="3383210" y="3459498"/>
                    <a:pt x="3383210" y="3459094"/>
                  </a:cubicBezTo>
                  <a:cubicBezTo>
                    <a:pt x="3383210" y="3458693"/>
                    <a:pt x="3383534" y="3458369"/>
                    <a:pt x="3383938" y="3458369"/>
                  </a:cubicBezTo>
                  <a:close/>
                  <a:moveTo>
                    <a:pt x="4306532" y="3457279"/>
                  </a:moveTo>
                  <a:cubicBezTo>
                    <a:pt x="4307256" y="3457279"/>
                    <a:pt x="4307984" y="3458003"/>
                    <a:pt x="4307984" y="3458731"/>
                  </a:cubicBezTo>
                  <a:cubicBezTo>
                    <a:pt x="4307984" y="3459456"/>
                    <a:pt x="4306532" y="3460184"/>
                    <a:pt x="4306532" y="3460184"/>
                  </a:cubicBezTo>
                  <a:cubicBezTo>
                    <a:pt x="4305804" y="3460184"/>
                    <a:pt x="4305080" y="3459456"/>
                    <a:pt x="4305080" y="3458731"/>
                  </a:cubicBezTo>
                  <a:cubicBezTo>
                    <a:pt x="4305080" y="3458003"/>
                    <a:pt x="4305804" y="3457279"/>
                    <a:pt x="4306532" y="3457279"/>
                  </a:cubicBezTo>
                  <a:close/>
                  <a:moveTo>
                    <a:pt x="4460480" y="3456917"/>
                  </a:moveTo>
                  <a:cubicBezTo>
                    <a:pt x="4461680" y="3456917"/>
                    <a:pt x="4462656" y="3457893"/>
                    <a:pt x="4462656" y="3459094"/>
                  </a:cubicBezTo>
                  <a:cubicBezTo>
                    <a:pt x="4462656" y="3460298"/>
                    <a:pt x="4461680" y="3461274"/>
                    <a:pt x="4460480" y="3461274"/>
                  </a:cubicBezTo>
                  <a:cubicBezTo>
                    <a:pt x="4459275" y="3461274"/>
                    <a:pt x="4458300" y="3460298"/>
                    <a:pt x="4458300" y="3459094"/>
                  </a:cubicBezTo>
                  <a:cubicBezTo>
                    <a:pt x="4458300" y="3457893"/>
                    <a:pt x="4459275" y="3456917"/>
                    <a:pt x="4460480" y="3456917"/>
                  </a:cubicBezTo>
                  <a:close/>
                  <a:moveTo>
                    <a:pt x="4614061" y="3455827"/>
                  </a:moveTo>
                  <a:cubicBezTo>
                    <a:pt x="4615880" y="3455827"/>
                    <a:pt x="4617328" y="3457279"/>
                    <a:pt x="4617328" y="3459094"/>
                  </a:cubicBezTo>
                  <a:cubicBezTo>
                    <a:pt x="4617328" y="3460908"/>
                    <a:pt x="4615880" y="3462364"/>
                    <a:pt x="4614061" y="3462364"/>
                  </a:cubicBezTo>
                  <a:cubicBezTo>
                    <a:pt x="4612246" y="3462364"/>
                    <a:pt x="4610794" y="3460908"/>
                    <a:pt x="4610794" y="3459094"/>
                  </a:cubicBezTo>
                  <a:cubicBezTo>
                    <a:pt x="4610794" y="3457279"/>
                    <a:pt x="4612246" y="3455827"/>
                    <a:pt x="4614061" y="3455827"/>
                  </a:cubicBezTo>
                  <a:close/>
                  <a:moveTo>
                    <a:pt x="4768008" y="3454374"/>
                  </a:moveTo>
                  <a:cubicBezTo>
                    <a:pt x="4770551" y="3454374"/>
                    <a:pt x="4772366" y="3456189"/>
                    <a:pt x="4772366" y="3458731"/>
                  </a:cubicBezTo>
                  <a:cubicBezTo>
                    <a:pt x="4772366" y="3461274"/>
                    <a:pt x="4770189" y="3463088"/>
                    <a:pt x="4768008" y="3463088"/>
                  </a:cubicBezTo>
                  <a:cubicBezTo>
                    <a:pt x="4765466" y="3463088"/>
                    <a:pt x="4763652" y="3461274"/>
                    <a:pt x="4763652" y="3458731"/>
                  </a:cubicBezTo>
                  <a:cubicBezTo>
                    <a:pt x="4763652" y="3456189"/>
                    <a:pt x="4765466" y="3454374"/>
                    <a:pt x="4768008" y="3454374"/>
                  </a:cubicBezTo>
                  <a:close/>
                  <a:moveTo>
                    <a:pt x="4921594" y="3453284"/>
                  </a:moveTo>
                  <a:cubicBezTo>
                    <a:pt x="4924860" y="3453284"/>
                    <a:pt x="4927403" y="3455827"/>
                    <a:pt x="4927403" y="3459094"/>
                  </a:cubicBezTo>
                  <a:cubicBezTo>
                    <a:pt x="4927403" y="3462360"/>
                    <a:pt x="4924860" y="3464903"/>
                    <a:pt x="4921594" y="3464903"/>
                  </a:cubicBezTo>
                  <a:cubicBezTo>
                    <a:pt x="4918327" y="3464903"/>
                    <a:pt x="4915784" y="3462360"/>
                    <a:pt x="4915784" y="3459094"/>
                  </a:cubicBezTo>
                  <a:cubicBezTo>
                    <a:pt x="4915784" y="3455827"/>
                    <a:pt x="4918327" y="3453284"/>
                    <a:pt x="4921594" y="3453284"/>
                  </a:cubicBezTo>
                  <a:close/>
                  <a:moveTo>
                    <a:pt x="5075541" y="3451832"/>
                  </a:moveTo>
                  <a:cubicBezTo>
                    <a:pt x="5079536" y="3451832"/>
                    <a:pt x="5082803" y="3455099"/>
                    <a:pt x="5082803" y="3459094"/>
                  </a:cubicBezTo>
                  <a:cubicBezTo>
                    <a:pt x="5082803" y="3463088"/>
                    <a:pt x="5079536" y="3466355"/>
                    <a:pt x="5075541" y="3466355"/>
                  </a:cubicBezTo>
                  <a:cubicBezTo>
                    <a:pt x="5071546" y="3466355"/>
                    <a:pt x="5068280" y="3463088"/>
                    <a:pt x="5068280" y="3459094"/>
                  </a:cubicBezTo>
                  <a:cubicBezTo>
                    <a:pt x="5068280" y="3455099"/>
                    <a:pt x="5071546" y="3451832"/>
                    <a:pt x="5075541" y="3451832"/>
                  </a:cubicBezTo>
                  <a:close/>
                  <a:moveTo>
                    <a:pt x="5229126" y="3449655"/>
                  </a:moveTo>
                  <a:cubicBezTo>
                    <a:pt x="5234212" y="3449655"/>
                    <a:pt x="5238206" y="3453650"/>
                    <a:pt x="5238206" y="3458731"/>
                  </a:cubicBezTo>
                  <a:cubicBezTo>
                    <a:pt x="5238206" y="3463816"/>
                    <a:pt x="5234212" y="3467811"/>
                    <a:pt x="5229126" y="3467811"/>
                  </a:cubicBezTo>
                  <a:cubicBezTo>
                    <a:pt x="5224045" y="3467811"/>
                    <a:pt x="5220050" y="3463816"/>
                    <a:pt x="5220050" y="3458731"/>
                  </a:cubicBezTo>
                  <a:cubicBezTo>
                    <a:pt x="5220050" y="3453650"/>
                    <a:pt x="5224045" y="3449655"/>
                    <a:pt x="5229126" y="3449655"/>
                  </a:cubicBezTo>
                  <a:close/>
                  <a:moveTo>
                    <a:pt x="5383074" y="3448927"/>
                  </a:moveTo>
                  <a:cubicBezTo>
                    <a:pt x="5388521" y="3448927"/>
                    <a:pt x="5393240" y="3453646"/>
                    <a:pt x="5393240" y="3459094"/>
                  </a:cubicBezTo>
                  <a:cubicBezTo>
                    <a:pt x="5393240" y="3464541"/>
                    <a:pt x="5388883" y="3469260"/>
                    <a:pt x="5383074" y="3469260"/>
                  </a:cubicBezTo>
                  <a:cubicBezTo>
                    <a:pt x="5377626" y="3469260"/>
                    <a:pt x="5372908" y="3464541"/>
                    <a:pt x="5372908" y="3459094"/>
                  </a:cubicBezTo>
                  <a:cubicBezTo>
                    <a:pt x="5372908" y="3453646"/>
                    <a:pt x="5377626" y="3448927"/>
                    <a:pt x="5383074" y="3448927"/>
                  </a:cubicBezTo>
                  <a:close/>
                  <a:moveTo>
                    <a:pt x="5536659" y="3447113"/>
                  </a:moveTo>
                  <a:cubicBezTo>
                    <a:pt x="5543196" y="3447113"/>
                    <a:pt x="5548640" y="3452560"/>
                    <a:pt x="5548640" y="3459094"/>
                  </a:cubicBezTo>
                  <a:cubicBezTo>
                    <a:pt x="5548640" y="3465631"/>
                    <a:pt x="5543196" y="3471074"/>
                    <a:pt x="5536659" y="3471074"/>
                  </a:cubicBezTo>
                  <a:cubicBezTo>
                    <a:pt x="5530122" y="3471074"/>
                    <a:pt x="5524678" y="3465631"/>
                    <a:pt x="5524678" y="3459094"/>
                  </a:cubicBezTo>
                  <a:cubicBezTo>
                    <a:pt x="5524678" y="3452560"/>
                    <a:pt x="5530122" y="3447113"/>
                    <a:pt x="5536659" y="3447113"/>
                  </a:cubicBezTo>
                  <a:close/>
                  <a:moveTo>
                    <a:pt x="5690606" y="3445298"/>
                  </a:moveTo>
                  <a:cubicBezTo>
                    <a:pt x="5698222" y="3445298"/>
                    <a:pt x="5704402" y="3451477"/>
                    <a:pt x="5704402" y="3459094"/>
                  </a:cubicBezTo>
                  <a:cubicBezTo>
                    <a:pt x="5704402" y="3466714"/>
                    <a:pt x="5698226" y="3472893"/>
                    <a:pt x="5690606" y="3472893"/>
                  </a:cubicBezTo>
                  <a:cubicBezTo>
                    <a:pt x="5682986" y="3472893"/>
                    <a:pt x="5676808" y="3466714"/>
                    <a:pt x="5676808" y="3459094"/>
                  </a:cubicBezTo>
                  <a:cubicBezTo>
                    <a:pt x="5676808" y="3451474"/>
                    <a:pt x="5682982" y="3445298"/>
                    <a:pt x="5690606" y="3445298"/>
                  </a:cubicBezTo>
                  <a:close/>
                  <a:moveTo>
                    <a:pt x="5844554" y="3443846"/>
                  </a:moveTo>
                  <a:cubicBezTo>
                    <a:pt x="5852974" y="3443846"/>
                    <a:pt x="5859802" y="3450673"/>
                    <a:pt x="5859802" y="3459094"/>
                  </a:cubicBezTo>
                  <a:cubicBezTo>
                    <a:pt x="5859802" y="3467518"/>
                    <a:pt x="5852974" y="3474345"/>
                    <a:pt x="5844554" y="3474345"/>
                  </a:cubicBezTo>
                  <a:cubicBezTo>
                    <a:pt x="5836130" y="3474345"/>
                    <a:pt x="5829302" y="3467518"/>
                    <a:pt x="5829302" y="3459094"/>
                  </a:cubicBezTo>
                  <a:cubicBezTo>
                    <a:pt x="5829302" y="3450673"/>
                    <a:pt x="5836130" y="3443846"/>
                    <a:pt x="5844554" y="3443846"/>
                  </a:cubicBezTo>
                  <a:close/>
                  <a:moveTo>
                    <a:pt x="5998139" y="3442031"/>
                  </a:moveTo>
                  <a:cubicBezTo>
                    <a:pt x="6007566" y="3442031"/>
                    <a:pt x="6015205" y="3449670"/>
                    <a:pt x="6015205" y="3459097"/>
                  </a:cubicBezTo>
                  <a:cubicBezTo>
                    <a:pt x="6015205" y="3468520"/>
                    <a:pt x="6007562" y="3476159"/>
                    <a:pt x="5998139" y="3476159"/>
                  </a:cubicBezTo>
                  <a:cubicBezTo>
                    <a:pt x="5988716" y="3476159"/>
                    <a:pt x="5981077" y="3468520"/>
                    <a:pt x="5981077" y="3459097"/>
                  </a:cubicBezTo>
                  <a:cubicBezTo>
                    <a:pt x="5981077" y="3449670"/>
                    <a:pt x="5988716" y="3442031"/>
                    <a:pt x="5998139" y="3442031"/>
                  </a:cubicBezTo>
                  <a:close/>
                  <a:moveTo>
                    <a:pt x="6152083" y="3439851"/>
                  </a:moveTo>
                  <a:cubicBezTo>
                    <a:pt x="6162710" y="3439851"/>
                    <a:pt x="6171329" y="3448466"/>
                    <a:pt x="6171329" y="3459094"/>
                  </a:cubicBezTo>
                  <a:cubicBezTo>
                    <a:pt x="6171329" y="3469721"/>
                    <a:pt x="6162710" y="3478336"/>
                    <a:pt x="6152083" y="3478336"/>
                  </a:cubicBezTo>
                  <a:cubicBezTo>
                    <a:pt x="6141455" y="3478336"/>
                    <a:pt x="6132836" y="3469721"/>
                    <a:pt x="6132836" y="3459094"/>
                  </a:cubicBezTo>
                  <a:cubicBezTo>
                    <a:pt x="6132836" y="3448466"/>
                    <a:pt x="6141455" y="3439851"/>
                    <a:pt x="6152083" y="3439851"/>
                  </a:cubicBezTo>
                  <a:close/>
                  <a:moveTo>
                    <a:pt x="6305668" y="3437674"/>
                  </a:moveTo>
                  <a:cubicBezTo>
                    <a:pt x="6317500" y="3437674"/>
                    <a:pt x="6327091" y="3447265"/>
                    <a:pt x="6327091" y="3459097"/>
                  </a:cubicBezTo>
                  <a:cubicBezTo>
                    <a:pt x="6327091" y="3470926"/>
                    <a:pt x="6317500" y="3480516"/>
                    <a:pt x="6305668" y="3480516"/>
                  </a:cubicBezTo>
                  <a:cubicBezTo>
                    <a:pt x="6293836" y="3480516"/>
                    <a:pt x="6284245" y="3470926"/>
                    <a:pt x="6284245" y="3459097"/>
                  </a:cubicBezTo>
                  <a:cubicBezTo>
                    <a:pt x="6284245" y="3447265"/>
                    <a:pt x="6293836" y="3437674"/>
                    <a:pt x="6305668" y="3437674"/>
                  </a:cubicBezTo>
                  <a:close/>
                  <a:moveTo>
                    <a:pt x="6459619" y="3436222"/>
                  </a:moveTo>
                  <a:cubicBezTo>
                    <a:pt x="6472252" y="3436222"/>
                    <a:pt x="6482494" y="3446465"/>
                    <a:pt x="6482494" y="3459097"/>
                  </a:cubicBezTo>
                  <a:cubicBezTo>
                    <a:pt x="6482494" y="3471730"/>
                    <a:pt x="6472252" y="3481969"/>
                    <a:pt x="6459619" y="3481969"/>
                  </a:cubicBezTo>
                  <a:cubicBezTo>
                    <a:pt x="6446983" y="3481969"/>
                    <a:pt x="6436744" y="3471730"/>
                    <a:pt x="6436744" y="3459097"/>
                  </a:cubicBezTo>
                  <a:cubicBezTo>
                    <a:pt x="6436744" y="3446465"/>
                    <a:pt x="6446983" y="3436222"/>
                    <a:pt x="6459619" y="3436222"/>
                  </a:cubicBezTo>
                  <a:close/>
                  <a:moveTo>
                    <a:pt x="6613200" y="3434042"/>
                  </a:moveTo>
                  <a:cubicBezTo>
                    <a:pt x="6627038" y="3434042"/>
                    <a:pt x="6638252" y="3445256"/>
                    <a:pt x="6638252" y="3459094"/>
                  </a:cubicBezTo>
                  <a:cubicBezTo>
                    <a:pt x="6638252" y="3472931"/>
                    <a:pt x="6627038" y="3484145"/>
                    <a:pt x="6613200" y="3484145"/>
                  </a:cubicBezTo>
                  <a:cubicBezTo>
                    <a:pt x="6599364" y="3484145"/>
                    <a:pt x="6588149" y="3472931"/>
                    <a:pt x="6588149" y="3459094"/>
                  </a:cubicBezTo>
                  <a:cubicBezTo>
                    <a:pt x="6588149" y="3445256"/>
                    <a:pt x="6599364" y="3434042"/>
                    <a:pt x="6613200" y="3434042"/>
                  </a:cubicBezTo>
                  <a:close/>
                  <a:moveTo>
                    <a:pt x="3999000" y="3304784"/>
                  </a:moveTo>
                  <a:cubicBezTo>
                    <a:pt x="3999362" y="3304784"/>
                    <a:pt x="3999362" y="3304784"/>
                    <a:pt x="3999362" y="3305146"/>
                  </a:cubicBezTo>
                  <a:cubicBezTo>
                    <a:pt x="3999362" y="3305512"/>
                    <a:pt x="3999000" y="3305512"/>
                    <a:pt x="3999000" y="3305512"/>
                  </a:cubicBezTo>
                  <a:cubicBezTo>
                    <a:pt x="3998638" y="3305512"/>
                    <a:pt x="3998638" y="3305512"/>
                    <a:pt x="3998638" y="3305146"/>
                  </a:cubicBezTo>
                  <a:cubicBezTo>
                    <a:pt x="3998638" y="3304784"/>
                    <a:pt x="3998638" y="3304784"/>
                    <a:pt x="3999000" y="3304784"/>
                  </a:cubicBezTo>
                  <a:close/>
                  <a:moveTo>
                    <a:pt x="3537882" y="3304784"/>
                  </a:moveTo>
                  <a:cubicBezTo>
                    <a:pt x="3538244" y="3304784"/>
                    <a:pt x="3538244" y="3304784"/>
                    <a:pt x="3538244" y="3305146"/>
                  </a:cubicBezTo>
                  <a:cubicBezTo>
                    <a:pt x="3538244" y="3305512"/>
                    <a:pt x="3537882" y="3305512"/>
                    <a:pt x="3537882" y="3305512"/>
                  </a:cubicBezTo>
                  <a:cubicBezTo>
                    <a:pt x="3537520" y="3305512"/>
                    <a:pt x="3537520" y="3305512"/>
                    <a:pt x="3537520" y="3305146"/>
                  </a:cubicBezTo>
                  <a:cubicBezTo>
                    <a:pt x="3537520" y="3304784"/>
                    <a:pt x="3537520" y="3304784"/>
                    <a:pt x="3537882" y="3304784"/>
                  </a:cubicBezTo>
                  <a:close/>
                  <a:moveTo>
                    <a:pt x="3383934" y="3304784"/>
                  </a:moveTo>
                  <a:cubicBezTo>
                    <a:pt x="3384296" y="3304784"/>
                    <a:pt x="3384296" y="3304784"/>
                    <a:pt x="3384296" y="3305146"/>
                  </a:cubicBezTo>
                  <a:cubicBezTo>
                    <a:pt x="3384296" y="3305512"/>
                    <a:pt x="3383934" y="3305512"/>
                    <a:pt x="3383934" y="3305512"/>
                  </a:cubicBezTo>
                  <a:cubicBezTo>
                    <a:pt x="3383572" y="3305512"/>
                    <a:pt x="3383572" y="3305512"/>
                    <a:pt x="3383572" y="3305146"/>
                  </a:cubicBezTo>
                  <a:cubicBezTo>
                    <a:pt x="3383572" y="3304784"/>
                    <a:pt x="3383572" y="3304784"/>
                    <a:pt x="3383934" y="3304784"/>
                  </a:cubicBezTo>
                  <a:close/>
                  <a:moveTo>
                    <a:pt x="3230353" y="3304422"/>
                  </a:moveTo>
                  <a:cubicBezTo>
                    <a:pt x="3230753" y="3304422"/>
                    <a:pt x="3231077" y="3304746"/>
                    <a:pt x="3231077" y="3305146"/>
                  </a:cubicBezTo>
                  <a:cubicBezTo>
                    <a:pt x="3231077" y="3305550"/>
                    <a:pt x="3230753" y="3305874"/>
                    <a:pt x="3230353" y="3305874"/>
                  </a:cubicBezTo>
                  <a:cubicBezTo>
                    <a:pt x="3229949" y="3305874"/>
                    <a:pt x="3229625" y="3305550"/>
                    <a:pt x="3229625" y="3305146"/>
                  </a:cubicBezTo>
                  <a:cubicBezTo>
                    <a:pt x="3229625" y="3304746"/>
                    <a:pt x="3229949" y="3304422"/>
                    <a:pt x="3230353" y="3304422"/>
                  </a:cubicBezTo>
                  <a:close/>
                  <a:moveTo>
                    <a:pt x="4152947" y="3303694"/>
                  </a:moveTo>
                  <a:cubicBezTo>
                    <a:pt x="4153748" y="3303694"/>
                    <a:pt x="4154400" y="3304346"/>
                    <a:pt x="4154400" y="3305146"/>
                  </a:cubicBezTo>
                  <a:cubicBezTo>
                    <a:pt x="4154400" y="3305947"/>
                    <a:pt x="4153748" y="3306598"/>
                    <a:pt x="4152947" y="3306598"/>
                  </a:cubicBezTo>
                  <a:cubicBezTo>
                    <a:pt x="4152142" y="3306598"/>
                    <a:pt x="4151494" y="3305947"/>
                    <a:pt x="4151494" y="3305146"/>
                  </a:cubicBezTo>
                  <a:cubicBezTo>
                    <a:pt x="4151494" y="3304346"/>
                    <a:pt x="4152142" y="3303694"/>
                    <a:pt x="4152947" y="3303694"/>
                  </a:cubicBezTo>
                  <a:close/>
                  <a:moveTo>
                    <a:pt x="4306528" y="3302970"/>
                  </a:moveTo>
                  <a:cubicBezTo>
                    <a:pt x="4307733" y="3302970"/>
                    <a:pt x="4308709" y="3303945"/>
                    <a:pt x="4308709" y="3305146"/>
                  </a:cubicBezTo>
                  <a:cubicBezTo>
                    <a:pt x="4308709" y="3306351"/>
                    <a:pt x="4307733" y="3307327"/>
                    <a:pt x="4306528" y="3307327"/>
                  </a:cubicBezTo>
                  <a:cubicBezTo>
                    <a:pt x="4305328" y="3307327"/>
                    <a:pt x="4304352" y="3306351"/>
                    <a:pt x="4304352" y="3305146"/>
                  </a:cubicBezTo>
                  <a:cubicBezTo>
                    <a:pt x="4304352" y="3303945"/>
                    <a:pt x="4305328" y="3302970"/>
                    <a:pt x="4306528" y="3302970"/>
                  </a:cubicBezTo>
                  <a:close/>
                  <a:moveTo>
                    <a:pt x="4460480" y="3302241"/>
                  </a:moveTo>
                  <a:cubicBezTo>
                    <a:pt x="4462294" y="3302241"/>
                    <a:pt x="4463746" y="3303694"/>
                    <a:pt x="4463746" y="3305508"/>
                  </a:cubicBezTo>
                  <a:cubicBezTo>
                    <a:pt x="4463746" y="3307323"/>
                    <a:pt x="4462294" y="3308779"/>
                    <a:pt x="4460480" y="3308779"/>
                  </a:cubicBezTo>
                  <a:cubicBezTo>
                    <a:pt x="4458665" y="3308779"/>
                    <a:pt x="4457213" y="3307323"/>
                    <a:pt x="4457213" y="3305508"/>
                  </a:cubicBezTo>
                  <a:cubicBezTo>
                    <a:pt x="4457213" y="3303694"/>
                    <a:pt x="4458665" y="3302241"/>
                    <a:pt x="4460480" y="3302241"/>
                  </a:cubicBezTo>
                  <a:close/>
                  <a:moveTo>
                    <a:pt x="4614061" y="3300789"/>
                  </a:moveTo>
                  <a:cubicBezTo>
                    <a:pt x="4616604" y="3300789"/>
                    <a:pt x="4618418" y="3302604"/>
                    <a:pt x="4618418" y="3305146"/>
                  </a:cubicBezTo>
                  <a:cubicBezTo>
                    <a:pt x="4618418" y="3307689"/>
                    <a:pt x="4616238" y="3309503"/>
                    <a:pt x="4614061" y="3309503"/>
                  </a:cubicBezTo>
                  <a:cubicBezTo>
                    <a:pt x="4611518" y="3309503"/>
                    <a:pt x="4609704" y="3307689"/>
                    <a:pt x="4609704" y="3305146"/>
                  </a:cubicBezTo>
                  <a:cubicBezTo>
                    <a:pt x="4609704" y="3302604"/>
                    <a:pt x="4611518" y="3300789"/>
                    <a:pt x="4614061" y="3300789"/>
                  </a:cubicBezTo>
                  <a:close/>
                  <a:moveTo>
                    <a:pt x="4768012" y="3299699"/>
                  </a:moveTo>
                  <a:cubicBezTo>
                    <a:pt x="4771279" y="3299699"/>
                    <a:pt x="4773822" y="3302241"/>
                    <a:pt x="4773822" y="3305508"/>
                  </a:cubicBezTo>
                  <a:cubicBezTo>
                    <a:pt x="4773822" y="3308775"/>
                    <a:pt x="4771279" y="3311318"/>
                    <a:pt x="4768012" y="3311318"/>
                  </a:cubicBezTo>
                  <a:cubicBezTo>
                    <a:pt x="4764746" y="3311318"/>
                    <a:pt x="4762203" y="3308775"/>
                    <a:pt x="4762203" y="3305508"/>
                  </a:cubicBezTo>
                  <a:cubicBezTo>
                    <a:pt x="4762203" y="3302241"/>
                    <a:pt x="4764746" y="3299699"/>
                    <a:pt x="4768012" y="3299699"/>
                  </a:cubicBezTo>
                  <a:close/>
                  <a:moveTo>
                    <a:pt x="4921594" y="3297885"/>
                  </a:moveTo>
                  <a:cubicBezTo>
                    <a:pt x="4925588" y="3297885"/>
                    <a:pt x="4928856" y="3301151"/>
                    <a:pt x="4928856" y="3305146"/>
                  </a:cubicBezTo>
                  <a:cubicBezTo>
                    <a:pt x="4928856" y="3309141"/>
                    <a:pt x="4925588" y="3312408"/>
                    <a:pt x="4921594" y="3312408"/>
                  </a:cubicBezTo>
                  <a:cubicBezTo>
                    <a:pt x="4917599" y="3312408"/>
                    <a:pt x="4914332" y="3309141"/>
                    <a:pt x="4914332" y="3305146"/>
                  </a:cubicBezTo>
                  <a:cubicBezTo>
                    <a:pt x="4914332" y="3301151"/>
                    <a:pt x="4917599" y="3297885"/>
                    <a:pt x="4921594" y="3297885"/>
                  </a:cubicBezTo>
                  <a:close/>
                  <a:moveTo>
                    <a:pt x="5075541" y="3296070"/>
                  </a:moveTo>
                  <a:cubicBezTo>
                    <a:pt x="5080626" y="3296070"/>
                    <a:pt x="5084621" y="3300065"/>
                    <a:pt x="5084621" y="3305146"/>
                  </a:cubicBezTo>
                  <a:cubicBezTo>
                    <a:pt x="5084621" y="3310231"/>
                    <a:pt x="5080626" y="3314226"/>
                    <a:pt x="5075541" y="3314226"/>
                  </a:cubicBezTo>
                  <a:cubicBezTo>
                    <a:pt x="5070460" y="3314226"/>
                    <a:pt x="5066465" y="3310231"/>
                    <a:pt x="5066465" y="3305146"/>
                  </a:cubicBezTo>
                  <a:cubicBezTo>
                    <a:pt x="5066465" y="3300065"/>
                    <a:pt x="5070460" y="3296070"/>
                    <a:pt x="5075541" y="3296070"/>
                  </a:cubicBezTo>
                  <a:close/>
                  <a:moveTo>
                    <a:pt x="5229126" y="3294980"/>
                  </a:moveTo>
                  <a:cubicBezTo>
                    <a:pt x="5234574" y="3294980"/>
                    <a:pt x="5239293" y="3299699"/>
                    <a:pt x="5239293" y="3305146"/>
                  </a:cubicBezTo>
                  <a:cubicBezTo>
                    <a:pt x="5239293" y="3310593"/>
                    <a:pt x="5234936" y="3315312"/>
                    <a:pt x="5229126" y="3315312"/>
                  </a:cubicBezTo>
                  <a:cubicBezTo>
                    <a:pt x="5223679" y="3315312"/>
                    <a:pt x="5218960" y="3310593"/>
                    <a:pt x="5218960" y="3305146"/>
                  </a:cubicBezTo>
                  <a:cubicBezTo>
                    <a:pt x="5218960" y="3299699"/>
                    <a:pt x="5223679" y="3294980"/>
                    <a:pt x="5229126" y="3294980"/>
                  </a:cubicBezTo>
                  <a:close/>
                  <a:moveTo>
                    <a:pt x="5383074" y="3293165"/>
                  </a:moveTo>
                  <a:cubicBezTo>
                    <a:pt x="5389612" y="3293165"/>
                    <a:pt x="5395058" y="3298613"/>
                    <a:pt x="5395058" y="3305146"/>
                  </a:cubicBezTo>
                  <a:cubicBezTo>
                    <a:pt x="5395058" y="3311684"/>
                    <a:pt x="5389612" y="3317131"/>
                    <a:pt x="5383074" y="3317131"/>
                  </a:cubicBezTo>
                  <a:cubicBezTo>
                    <a:pt x="5376540" y="3317131"/>
                    <a:pt x="5371093" y="3311684"/>
                    <a:pt x="5371093" y="3305146"/>
                  </a:cubicBezTo>
                  <a:cubicBezTo>
                    <a:pt x="5371093" y="3298613"/>
                    <a:pt x="5376540" y="3293165"/>
                    <a:pt x="5383074" y="3293165"/>
                  </a:cubicBezTo>
                  <a:close/>
                  <a:moveTo>
                    <a:pt x="5537021" y="3291351"/>
                  </a:moveTo>
                  <a:cubicBezTo>
                    <a:pt x="5544641" y="3291351"/>
                    <a:pt x="5550820" y="3297530"/>
                    <a:pt x="5550820" y="3305146"/>
                  </a:cubicBezTo>
                  <a:cubicBezTo>
                    <a:pt x="5550820" y="3312766"/>
                    <a:pt x="5544645" y="3318945"/>
                    <a:pt x="5537021" y="3318945"/>
                  </a:cubicBezTo>
                  <a:cubicBezTo>
                    <a:pt x="5529405" y="3318945"/>
                    <a:pt x="5523226" y="3312766"/>
                    <a:pt x="5523226" y="3305146"/>
                  </a:cubicBezTo>
                  <a:cubicBezTo>
                    <a:pt x="5523226" y="3297526"/>
                    <a:pt x="5529402" y="3291351"/>
                    <a:pt x="5537021" y="3291351"/>
                  </a:cubicBezTo>
                  <a:close/>
                  <a:moveTo>
                    <a:pt x="5690606" y="3289899"/>
                  </a:moveTo>
                  <a:cubicBezTo>
                    <a:pt x="5699027" y="3289899"/>
                    <a:pt x="5705854" y="3296726"/>
                    <a:pt x="5705854" y="3305146"/>
                  </a:cubicBezTo>
                  <a:cubicBezTo>
                    <a:pt x="5705854" y="3313570"/>
                    <a:pt x="5699027" y="3320398"/>
                    <a:pt x="5690606" y="3320398"/>
                  </a:cubicBezTo>
                  <a:cubicBezTo>
                    <a:pt x="5682182" y="3320398"/>
                    <a:pt x="5675355" y="3313570"/>
                    <a:pt x="5675355" y="3305146"/>
                  </a:cubicBezTo>
                  <a:cubicBezTo>
                    <a:pt x="5675355" y="3296726"/>
                    <a:pt x="5682182" y="3289899"/>
                    <a:pt x="5690606" y="3289899"/>
                  </a:cubicBezTo>
                  <a:close/>
                  <a:moveTo>
                    <a:pt x="5844554" y="3288084"/>
                  </a:moveTo>
                  <a:cubicBezTo>
                    <a:pt x="5853977" y="3288084"/>
                    <a:pt x="5861616" y="3295723"/>
                    <a:pt x="5861616" y="3305150"/>
                  </a:cubicBezTo>
                  <a:cubicBezTo>
                    <a:pt x="5861616" y="3314573"/>
                    <a:pt x="5853977" y="3322216"/>
                    <a:pt x="5844554" y="3322216"/>
                  </a:cubicBezTo>
                  <a:cubicBezTo>
                    <a:pt x="5835127" y="3322216"/>
                    <a:pt x="5827488" y="3314573"/>
                    <a:pt x="5827488" y="3305150"/>
                  </a:cubicBezTo>
                  <a:cubicBezTo>
                    <a:pt x="5827488" y="3295723"/>
                    <a:pt x="5835131" y="3288084"/>
                    <a:pt x="5844554" y="3288084"/>
                  </a:cubicBezTo>
                  <a:close/>
                  <a:moveTo>
                    <a:pt x="5998136" y="3285904"/>
                  </a:moveTo>
                  <a:cubicBezTo>
                    <a:pt x="6008763" y="3285904"/>
                    <a:pt x="6017382" y="3294519"/>
                    <a:pt x="6017382" y="3305146"/>
                  </a:cubicBezTo>
                  <a:cubicBezTo>
                    <a:pt x="6017382" y="3315774"/>
                    <a:pt x="6008763" y="3324389"/>
                    <a:pt x="5998136" y="3324389"/>
                  </a:cubicBezTo>
                  <a:cubicBezTo>
                    <a:pt x="5987508" y="3324389"/>
                    <a:pt x="5978893" y="3315774"/>
                    <a:pt x="5978893" y="3305146"/>
                  </a:cubicBezTo>
                  <a:cubicBezTo>
                    <a:pt x="5978893" y="3294519"/>
                    <a:pt x="5987508" y="3285904"/>
                    <a:pt x="5998136" y="3285904"/>
                  </a:cubicBezTo>
                  <a:close/>
                  <a:moveTo>
                    <a:pt x="6152086" y="3283727"/>
                  </a:moveTo>
                  <a:cubicBezTo>
                    <a:pt x="6163915" y="3283727"/>
                    <a:pt x="6173510" y="3293318"/>
                    <a:pt x="6173510" y="3305150"/>
                  </a:cubicBezTo>
                  <a:cubicBezTo>
                    <a:pt x="6173510" y="3316979"/>
                    <a:pt x="6163915" y="3326569"/>
                    <a:pt x="6152086" y="3326569"/>
                  </a:cubicBezTo>
                  <a:cubicBezTo>
                    <a:pt x="6140254" y="3326569"/>
                    <a:pt x="6130664" y="3316979"/>
                    <a:pt x="6130664" y="3305150"/>
                  </a:cubicBezTo>
                  <a:cubicBezTo>
                    <a:pt x="6130664" y="3293318"/>
                    <a:pt x="6140254" y="3283727"/>
                    <a:pt x="6152086" y="3283727"/>
                  </a:cubicBezTo>
                  <a:close/>
                  <a:moveTo>
                    <a:pt x="6305672" y="3282275"/>
                  </a:moveTo>
                  <a:cubicBezTo>
                    <a:pt x="6318304" y="3282275"/>
                    <a:pt x="6328547" y="3292517"/>
                    <a:pt x="6328547" y="3305150"/>
                  </a:cubicBezTo>
                  <a:cubicBezTo>
                    <a:pt x="6328547" y="3317783"/>
                    <a:pt x="6318304" y="3328021"/>
                    <a:pt x="6305672" y="3328021"/>
                  </a:cubicBezTo>
                  <a:cubicBezTo>
                    <a:pt x="6293039" y="3328021"/>
                    <a:pt x="6282796" y="3317783"/>
                    <a:pt x="6282796" y="3305150"/>
                  </a:cubicBezTo>
                  <a:cubicBezTo>
                    <a:pt x="6282796" y="3292517"/>
                    <a:pt x="6293039" y="3282275"/>
                    <a:pt x="6305672" y="3282275"/>
                  </a:cubicBezTo>
                  <a:close/>
                  <a:moveTo>
                    <a:pt x="6459616" y="3280094"/>
                  </a:moveTo>
                  <a:cubicBezTo>
                    <a:pt x="6473452" y="3280094"/>
                    <a:pt x="6484671" y="3291309"/>
                    <a:pt x="6484671" y="3305146"/>
                  </a:cubicBezTo>
                  <a:cubicBezTo>
                    <a:pt x="6484671" y="3318984"/>
                    <a:pt x="6473452" y="3330202"/>
                    <a:pt x="6459616" y="3330202"/>
                  </a:cubicBezTo>
                  <a:cubicBezTo>
                    <a:pt x="6445778" y="3330202"/>
                    <a:pt x="6434564" y="3318984"/>
                    <a:pt x="6434564" y="3305146"/>
                  </a:cubicBezTo>
                  <a:cubicBezTo>
                    <a:pt x="6434564" y="3291313"/>
                    <a:pt x="6445778" y="3280094"/>
                    <a:pt x="6459616" y="3280094"/>
                  </a:cubicBezTo>
                  <a:close/>
                  <a:moveTo>
                    <a:pt x="6613200" y="3277914"/>
                  </a:moveTo>
                  <a:cubicBezTo>
                    <a:pt x="6628086" y="3277914"/>
                    <a:pt x="6640433" y="3290261"/>
                    <a:pt x="6640433" y="3305146"/>
                  </a:cubicBezTo>
                  <a:cubicBezTo>
                    <a:pt x="6640433" y="3320032"/>
                    <a:pt x="6628448" y="3332378"/>
                    <a:pt x="6613200" y="3332378"/>
                  </a:cubicBezTo>
                  <a:cubicBezTo>
                    <a:pt x="6598315" y="3332378"/>
                    <a:pt x="6585968" y="3320032"/>
                    <a:pt x="6585968" y="3305146"/>
                  </a:cubicBezTo>
                  <a:cubicBezTo>
                    <a:pt x="6585968" y="3290261"/>
                    <a:pt x="6598315" y="3277914"/>
                    <a:pt x="6613200" y="3277914"/>
                  </a:cubicBezTo>
                  <a:close/>
                  <a:moveTo>
                    <a:pt x="3845414" y="3151199"/>
                  </a:moveTo>
                  <a:cubicBezTo>
                    <a:pt x="3845776" y="3151199"/>
                    <a:pt x="3845776" y="3151199"/>
                    <a:pt x="3845776" y="3151561"/>
                  </a:cubicBezTo>
                  <a:cubicBezTo>
                    <a:pt x="3845776" y="3151923"/>
                    <a:pt x="3845414" y="3151923"/>
                    <a:pt x="3845414" y="3151923"/>
                  </a:cubicBezTo>
                  <a:cubicBezTo>
                    <a:pt x="3845052" y="3151923"/>
                    <a:pt x="3845052" y="3151923"/>
                    <a:pt x="3845052" y="3151561"/>
                  </a:cubicBezTo>
                  <a:cubicBezTo>
                    <a:pt x="3845052" y="3151199"/>
                    <a:pt x="3845052" y="3151199"/>
                    <a:pt x="3845414" y="3151199"/>
                  </a:cubicBezTo>
                  <a:close/>
                  <a:moveTo>
                    <a:pt x="3383934" y="3151199"/>
                  </a:moveTo>
                  <a:cubicBezTo>
                    <a:pt x="3384296" y="3151199"/>
                    <a:pt x="3384296" y="3151199"/>
                    <a:pt x="3384296" y="3151561"/>
                  </a:cubicBezTo>
                  <a:cubicBezTo>
                    <a:pt x="3384296" y="3151923"/>
                    <a:pt x="3383934" y="3151923"/>
                    <a:pt x="3383934" y="3151923"/>
                  </a:cubicBezTo>
                  <a:cubicBezTo>
                    <a:pt x="3383572" y="3151923"/>
                    <a:pt x="3383572" y="3151923"/>
                    <a:pt x="3383572" y="3151561"/>
                  </a:cubicBezTo>
                  <a:cubicBezTo>
                    <a:pt x="3383572" y="3151199"/>
                    <a:pt x="3383572" y="3151199"/>
                    <a:pt x="3383934" y="3151199"/>
                  </a:cubicBezTo>
                  <a:close/>
                  <a:moveTo>
                    <a:pt x="3230349" y="3151199"/>
                  </a:moveTo>
                  <a:cubicBezTo>
                    <a:pt x="3230715" y="3151199"/>
                    <a:pt x="3230715" y="3151199"/>
                    <a:pt x="3230715" y="3151561"/>
                  </a:cubicBezTo>
                  <a:cubicBezTo>
                    <a:pt x="3230715" y="3151923"/>
                    <a:pt x="3230349" y="3151923"/>
                    <a:pt x="3230349" y="3151923"/>
                  </a:cubicBezTo>
                  <a:cubicBezTo>
                    <a:pt x="3229987" y="3151923"/>
                    <a:pt x="3229987" y="3151923"/>
                    <a:pt x="3229987" y="3151561"/>
                  </a:cubicBezTo>
                  <a:cubicBezTo>
                    <a:pt x="3229987" y="3151199"/>
                    <a:pt x="3229987" y="3151199"/>
                    <a:pt x="3230349" y="3151199"/>
                  </a:cubicBezTo>
                  <a:close/>
                  <a:moveTo>
                    <a:pt x="3076406" y="3150837"/>
                  </a:moveTo>
                  <a:cubicBezTo>
                    <a:pt x="3076806" y="3150837"/>
                    <a:pt x="3077130" y="3151161"/>
                    <a:pt x="3077130" y="3151565"/>
                  </a:cubicBezTo>
                  <a:cubicBezTo>
                    <a:pt x="3077130" y="3151965"/>
                    <a:pt x="3076806" y="3152289"/>
                    <a:pt x="3076406" y="3152289"/>
                  </a:cubicBezTo>
                  <a:cubicBezTo>
                    <a:pt x="3076001" y="3152289"/>
                    <a:pt x="3075677" y="3151965"/>
                    <a:pt x="3075677" y="3151565"/>
                  </a:cubicBezTo>
                  <a:cubicBezTo>
                    <a:pt x="3075677" y="3151161"/>
                    <a:pt x="3076001" y="3150837"/>
                    <a:pt x="3076406" y="3150837"/>
                  </a:cubicBezTo>
                  <a:close/>
                  <a:moveTo>
                    <a:pt x="3999000" y="3150112"/>
                  </a:moveTo>
                  <a:cubicBezTo>
                    <a:pt x="3999800" y="3150112"/>
                    <a:pt x="4000452" y="3150764"/>
                    <a:pt x="4000452" y="3151565"/>
                  </a:cubicBezTo>
                  <a:cubicBezTo>
                    <a:pt x="4000452" y="3152365"/>
                    <a:pt x="3999800" y="3153017"/>
                    <a:pt x="3999000" y="3153017"/>
                  </a:cubicBezTo>
                  <a:cubicBezTo>
                    <a:pt x="3998195" y="3153017"/>
                    <a:pt x="3997547" y="3152365"/>
                    <a:pt x="3997547" y="3151565"/>
                  </a:cubicBezTo>
                  <a:cubicBezTo>
                    <a:pt x="3997547" y="3150764"/>
                    <a:pt x="3998195" y="3150112"/>
                    <a:pt x="3999000" y="3150112"/>
                  </a:cubicBezTo>
                  <a:close/>
                  <a:moveTo>
                    <a:pt x="4152951" y="3149384"/>
                  </a:moveTo>
                  <a:cubicBezTo>
                    <a:pt x="4154152" y="3149384"/>
                    <a:pt x="4155128" y="3150360"/>
                    <a:pt x="4155128" y="3151565"/>
                  </a:cubicBezTo>
                  <a:cubicBezTo>
                    <a:pt x="4155128" y="3152766"/>
                    <a:pt x="4154152" y="3153741"/>
                    <a:pt x="4152951" y="3153741"/>
                  </a:cubicBezTo>
                  <a:cubicBezTo>
                    <a:pt x="4151746" y="3153741"/>
                    <a:pt x="4150770" y="3152766"/>
                    <a:pt x="4150770" y="3151565"/>
                  </a:cubicBezTo>
                  <a:cubicBezTo>
                    <a:pt x="4150770" y="3150360"/>
                    <a:pt x="4151746" y="3149384"/>
                    <a:pt x="4152951" y="3149384"/>
                  </a:cubicBezTo>
                  <a:close/>
                  <a:moveTo>
                    <a:pt x="4306528" y="3148294"/>
                  </a:moveTo>
                  <a:cubicBezTo>
                    <a:pt x="4308346" y="3148294"/>
                    <a:pt x="4309796" y="3149746"/>
                    <a:pt x="4309796" y="3151561"/>
                  </a:cubicBezTo>
                  <a:cubicBezTo>
                    <a:pt x="4309796" y="3153375"/>
                    <a:pt x="4308346" y="3154831"/>
                    <a:pt x="4306528" y="3154831"/>
                  </a:cubicBezTo>
                  <a:cubicBezTo>
                    <a:pt x="4304714" y="3154831"/>
                    <a:pt x="4303262" y="3153375"/>
                    <a:pt x="4303262" y="3151561"/>
                  </a:cubicBezTo>
                  <a:cubicBezTo>
                    <a:pt x="4303262" y="3149746"/>
                    <a:pt x="4304714" y="3148294"/>
                    <a:pt x="4306528" y="3148294"/>
                  </a:cubicBezTo>
                  <a:close/>
                  <a:moveTo>
                    <a:pt x="4460480" y="3146842"/>
                  </a:moveTo>
                  <a:cubicBezTo>
                    <a:pt x="4463018" y="3146842"/>
                    <a:pt x="4464836" y="3148656"/>
                    <a:pt x="4464836" y="3151199"/>
                  </a:cubicBezTo>
                  <a:cubicBezTo>
                    <a:pt x="4464836" y="3153741"/>
                    <a:pt x="4462656" y="3155556"/>
                    <a:pt x="4460480" y="3155556"/>
                  </a:cubicBezTo>
                  <a:cubicBezTo>
                    <a:pt x="4457937" y="3155556"/>
                    <a:pt x="4456122" y="3153741"/>
                    <a:pt x="4456122" y="3151199"/>
                  </a:cubicBezTo>
                  <a:cubicBezTo>
                    <a:pt x="4456122" y="3148656"/>
                    <a:pt x="4457937" y="3146842"/>
                    <a:pt x="4460480" y="3146842"/>
                  </a:cubicBezTo>
                  <a:close/>
                  <a:moveTo>
                    <a:pt x="4614061" y="3145752"/>
                  </a:moveTo>
                  <a:cubicBezTo>
                    <a:pt x="4617328" y="3145752"/>
                    <a:pt x="4619870" y="3148294"/>
                    <a:pt x="4619870" y="3151561"/>
                  </a:cubicBezTo>
                  <a:cubicBezTo>
                    <a:pt x="4619870" y="3154828"/>
                    <a:pt x="4617328" y="3157370"/>
                    <a:pt x="4614061" y="3157370"/>
                  </a:cubicBezTo>
                  <a:cubicBezTo>
                    <a:pt x="4610794" y="3157370"/>
                    <a:pt x="4608252" y="3154828"/>
                    <a:pt x="4608252" y="3151561"/>
                  </a:cubicBezTo>
                  <a:cubicBezTo>
                    <a:pt x="4608252" y="3148294"/>
                    <a:pt x="4610794" y="3145752"/>
                    <a:pt x="4614061" y="3145752"/>
                  </a:cubicBezTo>
                  <a:close/>
                  <a:moveTo>
                    <a:pt x="4768008" y="3144299"/>
                  </a:moveTo>
                  <a:cubicBezTo>
                    <a:pt x="4772004" y="3144299"/>
                    <a:pt x="4775270" y="3147566"/>
                    <a:pt x="4775270" y="3151561"/>
                  </a:cubicBezTo>
                  <a:cubicBezTo>
                    <a:pt x="4775270" y="3155556"/>
                    <a:pt x="4772004" y="3158823"/>
                    <a:pt x="4768008" y="3158823"/>
                  </a:cubicBezTo>
                  <a:cubicBezTo>
                    <a:pt x="4764014" y="3158823"/>
                    <a:pt x="4760747" y="3155556"/>
                    <a:pt x="4760747" y="3151561"/>
                  </a:cubicBezTo>
                  <a:cubicBezTo>
                    <a:pt x="4760747" y="3147566"/>
                    <a:pt x="4764014" y="3144299"/>
                    <a:pt x="4768008" y="3144299"/>
                  </a:cubicBezTo>
                  <a:close/>
                  <a:moveTo>
                    <a:pt x="4921594" y="3142123"/>
                  </a:moveTo>
                  <a:cubicBezTo>
                    <a:pt x="4926679" y="3142123"/>
                    <a:pt x="4930674" y="3146118"/>
                    <a:pt x="4930674" y="3151199"/>
                  </a:cubicBezTo>
                  <a:cubicBezTo>
                    <a:pt x="4930674" y="3156284"/>
                    <a:pt x="4926679" y="3160279"/>
                    <a:pt x="4921594" y="3160279"/>
                  </a:cubicBezTo>
                  <a:cubicBezTo>
                    <a:pt x="4916512" y="3160279"/>
                    <a:pt x="4912518" y="3156284"/>
                    <a:pt x="4912518" y="3151199"/>
                  </a:cubicBezTo>
                  <a:cubicBezTo>
                    <a:pt x="4912518" y="3146118"/>
                    <a:pt x="4916512" y="3142123"/>
                    <a:pt x="4921594" y="3142123"/>
                  </a:cubicBezTo>
                  <a:close/>
                  <a:moveTo>
                    <a:pt x="5075541" y="3141395"/>
                  </a:moveTo>
                  <a:cubicBezTo>
                    <a:pt x="5080988" y="3141395"/>
                    <a:pt x="5085708" y="3146114"/>
                    <a:pt x="5085708" y="3151561"/>
                  </a:cubicBezTo>
                  <a:cubicBezTo>
                    <a:pt x="5085708" y="3157008"/>
                    <a:pt x="5081350" y="3161727"/>
                    <a:pt x="5075541" y="3161727"/>
                  </a:cubicBezTo>
                  <a:cubicBezTo>
                    <a:pt x="5070094" y="3161727"/>
                    <a:pt x="5065375" y="3157008"/>
                    <a:pt x="5065375" y="3151561"/>
                  </a:cubicBezTo>
                  <a:cubicBezTo>
                    <a:pt x="5065375" y="3146114"/>
                    <a:pt x="5070094" y="3141395"/>
                    <a:pt x="5075541" y="3141395"/>
                  </a:cubicBezTo>
                  <a:close/>
                  <a:moveTo>
                    <a:pt x="5229126" y="3139580"/>
                  </a:moveTo>
                  <a:cubicBezTo>
                    <a:pt x="5235664" y="3139580"/>
                    <a:pt x="5241111" y="3145028"/>
                    <a:pt x="5241111" y="3151561"/>
                  </a:cubicBezTo>
                  <a:cubicBezTo>
                    <a:pt x="5241111" y="3158099"/>
                    <a:pt x="5235664" y="3163542"/>
                    <a:pt x="5229126" y="3163542"/>
                  </a:cubicBezTo>
                  <a:cubicBezTo>
                    <a:pt x="5222593" y="3163542"/>
                    <a:pt x="5217146" y="3158099"/>
                    <a:pt x="5217146" y="3151561"/>
                  </a:cubicBezTo>
                  <a:cubicBezTo>
                    <a:pt x="5217146" y="3145028"/>
                    <a:pt x="5222593" y="3139580"/>
                    <a:pt x="5229126" y="3139580"/>
                  </a:cubicBezTo>
                  <a:close/>
                  <a:moveTo>
                    <a:pt x="5383078" y="3137403"/>
                  </a:moveTo>
                  <a:cubicBezTo>
                    <a:pt x="5390702" y="3137403"/>
                    <a:pt x="5396873" y="3143575"/>
                    <a:pt x="5396873" y="3151199"/>
                  </a:cubicBezTo>
                  <a:cubicBezTo>
                    <a:pt x="5396873" y="3158827"/>
                    <a:pt x="5390702" y="3164998"/>
                    <a:pt x="5383078" y="3164998"/>
                  </a:cubicBezTo>
                  <a:cubicBezTo>
                    <a:pt x="5375450" y="3164998"/>
                    <a:pt x="5369278" y="3158827"/>
                    <a:pt x="5369278" y="3151199"/>
                  </a:cubicBezTo>
                  <a:cubicBezTo>
                    <a:pt x="5369278" y="3143575"/>
                    <a:pt x="5375450" y="3137403"/>
                    <a:pt x="5383078" y="3137403"/>
                  </a:cubicBezTo>
                  <a:close/>
                  <a:moveTo>
                    <a:pt x="5536659" y="3136313"/>
                  </a:moveTo>
                  <a:cubicBezTo>
                    <a:pt x="5545080" y="3136313"/>
                    <a:pt x="5551906" y="3143140"/>
                    <a:pt x="5551906" y="3151565"/>
                  </a:cubicBezTo>
                  <a:cubicBezTo>
                    <a:pt x="5551906" y="3159985"/>
                    <a:pt x="5545080" y="3166812"/>
                    <a:pt x="5536659" y="3166812"/>
                  </a:cubicBezTo>
                  <a:cubicBezTo>
                    <a:pt x="5528238" y="3166812"/>
                    <a:pt x="5521408" y="3159985"/>
                    <a:pt x="5521408" y="3151565"/>
                  </a:cubicBezTo>
                  <a:cubicBezTo>
                    <a:pt x="5521408" y="3143140"/>
                    <a:pt x="5528238" y="3136313"/>
                    <a:pt x="5536659" y="3136313"/>
                  </a:cubicBezTo>
                  <a:close/>
                  <a:moveTo>
                    <a:pt x="5690606" y="3134499"/>
                  </a:moveTo>
                  <a:cubicBezTo>
                    <a:pt x="5700048" y="3134499"/>
                    <a:pt x="5707672" y="3142123"/>
                    <a:pt x="5707672" y="3151565"/>
                  </a:cubicBezTo>
                  <a:cubicBezTo>
                    <a:pt x="5707672" y="3161003"/>
                    <a:pt x="5700048" y="3168627"/>
                    <a:pt x="5690606" y="3168627"/>
                  </a:cubicBezTo>
                  <a:cubicBezTo>
                    <a:pt x="5681164" y="3168627"/>
                    <a:pt x="5673540" y="3161003"/>
                    <a:pt x="5673540" y="3151565"/>
                  </a:cubicBezTo>
                  <a:cubicBezTo>
                    <a:pt x="5673540" y="3142123"/>
                    <a:pt x="5681164" y="3134499"/>
                    <a:pt x="5690606" y="3134499"/>
                  </a:cubicBezTo>
                  <a:close/>
                  <a:moveTo>
                    <a:pt x="5844554" y="3132318"/>
                  </a:moveTo>
                  <a:cubicBezTo>
                    <a:pt x="5855182" y="3132318"/>
                    <a:pt x="5863796" y="3140933"/>
                    <a:pt x="5863796" y="3151561"/>
                  </a:cubicBezTo>
                  <a:cubicBezTo>
                    <a:pt x="5863796" y="3162188"/>
                    <a:pt x="5855182" y="3170807"/>
                    <a:pt x="5844554" y="3170807"/>
                  </a:cubicBezTo>
                  <a:cubicBezTo>
                    <a:pt x="5833926" y="3170807"/>
                    <a:pt x="5825308" y="3162188"/>
                    <a:pt x="5825308" y="3151561"/>
                  </a:cubicBezTo>
                  <a:cubicBezTo>
                    <a:pt x="5825308" y="3140933"/>
                    <a:pt x="5833926" y="3132318"/>
                    <a:pt x="5844554" y="3132318"/>
                  </a:cubicBezTo>
                  <a:close/>
                  <a:moveTo>
                    <a:pt x="5998139" y="3130142"/>
                  </a:moveTo>
                  <a:cubicBezTo>
                    <a:pt x="6009968" y="3130142"/>
                    <a:pt x="6019562" y="3139733"/>
                    <a:pt x="6019562" y="3151565"/>
                  </a:cubicBezTo>
                  <a:cubicBezTo>
                    <a:pt x="6019562" y="3163397"/>
                    <a:pt x="6009968" y="3172984"/>
                    <a:pt x="5998139" y="3172984"/>
                  </a:cubicBezTo>
                  <a:cubicBezTo>
                    <a:pt x="5986307" y="3172984"/>
                    <a:pt x="5976716" y="3163393"/>
                    <a:pt x="5976716" y="3151565"/>
                  </a:cubicBezTo>
                  <a:cubicBezTo>
                    <a:pt x="5976716" y="3139733"/>
                    <a:pt x="5986307" y="3130142"/>
                    <a:pt x="5998139" y="3130142"/>
                  </a:cubicBezTo>
                  <a:close/>
                  <a:moveTo>
                    <a:pt x="6152086" y="3128689"/>
                  </a:moveTo>
                  <a:cubicBezTo>
                    <a:pt x="6164719" y="3128689"/>
                    <a:pt x="6174958" y="3138932"/>
                    <a:pt x="6174958" y="3151565"/>
                  </a:cubicBezTo>
                  <a:cubicBezTo>
                    <a:pt x="6174958" y="3164197"/>
                    <a:pt x="6164719" y="3174440"/>
                    <a:pt x="6152086" y="3174440"/>
                  </a:cubicBezTo>
                  <a:cubicBezTo>
                    <a:pt x="6139450" y="3174440"/>
                    <a:pt x="6129212" y="3164197"/>
                    <a:pt x="6129212" y="3151565"/>
                  </a:cubicBezTo>
                  <a:cubicBezTo>
                    <a:pt x="6129212" y="3138932"/>
                    <a:pt x="6139450" y="3128689"/>
                    <a:pt x="6152086" y="3128689"/>
                  </a:cubicBezTo>
                  <a:close/>
                  <a:moveTo>
                    <a:pt x="6305668" y="3126509"/>
                  </a:moveTo>
                  <a:cubicBezTo>
                    <a:pt x="6319505" y="3126509"/>
                    <a:pt x="6330724" y="3137724"/>
                    <a:pt x="6330724" y="3151561"/>
                  </a:cubicBezTo>
                  <a:cubicBezTo>
                    <a:pt x="6330724" y="3165398"/>
                    <a:pt x="6319505" y="3176616"/>
                    <a:pt x="6305668" y="3176616"/>
                  </a:cubicBezTo>
                  <a:cubicBezTo>
                    <a:pt x="6291831" y="3176616"/>
                    <a:pt x="6280616" y="3165398"/>
                    <a:pt x="6280616" y="3151561"/>
                  </a:cubicBezTo>
                  <a:cubicBezTo>
                    <a:pt x="6280616" y="3137728"/>
                    <a:pt x="6291831" y="3126509"/>
                    <a:pt x="6305668" y="3126509"/>
                  </a:cubicBezTo>
                  <a:close/>
                  <a:moveTo>
                    <a:pt x="6459619" y="3124332"/>
                  </a:moveTo>
                  <a:cubicBezTo>
                    <a:pt x="6474657" y="3124332"/>
                    <a:pt x="6486852" y="3136523"/>
                    <a:pt x="6486852" y="3151565"/>
                  </a:cubicBezTo>
                  <a:cubicBezTo>
                    <a:pt x="6486852" y="3166603"/>
                    <a:pt x="6474657" y="3178797"/>
                    <a:pt x="6459619" y="3178797"/>
                  </a:cubicBezTo>
                  <a:cubicBezTo>
                    <a:pt x="6444582" y="3178797"/>
                    <a:pt x="6432387" y="3166603"/>
                    <a:pt x="6432387" y="3151565"/>
                  </a:cubicBezTo>
                  <a:cubicBezTo>
                    <a:pt x="6432387" y="3136523"/>
                    <a:pt x="6444582" y="3124332"/>
                    <a:pt x="6459619" y="3124332"/>
                  </a:cubicBezTo>
                  <a:close/>
                  <a:moveTo>
                    <a:pt x="6613197" y="3121790"/>
                  </a:moveTo>
                  <a:cubicBezTo>
                    <a:pt x="6629642" y="3121790"/>
                    <a:pt x="6642972" y="3135120"/>
                    <a:pt x="6642972" y="3151565"/>
                  </a:cubicBezTo>
                  <a:cubicBezTo>
                    <a:pt x="6642972" y="3168005"/>
                    <a:pt x="6629642" y="3181336"/>
                    <a:pt x="6613197" y="3181336"/>
                  </a:cubicBezTo>
                  <a:cubicBezTo>
                    <a:pt x="6596756" y="3181336"/>
                    <a:pt x="6583426" y="3168005"/>
                    <a:pt x="6583426" y="3151565"/>
                  </a:cubicBezTo>
                  <a:cubicBezTo>
                    <a:pt x="6583426" y="3135120"/>
                    <a:pt x="6596756" y="3121790"/>
                    <a:pt x="6613197" y="3121790"/>
                  </a:cubicBezTo>
                  <a:close/>
                  <a:moveTo>
                    <a:pt x="3691467" y="2997252"/>
                  </a:moveTo>
                  <a:cubicBezTo>
                    <a:pt x="3691669" y="2997252"/>
                    <a:pt x="3691829" y="2997415"/>
                    <a:pt x="3691829" y="2997613"/>
                  </a:cubicBezTo>
                  <a:cubicBezTo>
                    <a:pt x="3691829" y="2997816"/>
                    <a:pt x="3691669" y="2997976"/>
                    <a:pt x="3691467" y="2997976"/>
                  </a:cubicBezTo>
                  <a:cubicBezTo>
                    <a:pt x="3691269" y="2997976"/>
                    <a:pt x="3691105" y="2997816"/>
                    <a:pt x="3691105" y="2997613"/>
                  </a:cubicBezTo>
                  <a:cubicBezTo>
                    <a:pt x="3691105" y="2997415"/>
                    <a:pt x="3691269" y="2997252"/>
                    <a:pt x="3691467" y="2997252"/>
                  </a:cubicBezTo>
                  <a:close/>
                  <a:moveTo>
                    <a:pt x="3230349" y="2997252"/>
                  </a:moveTo>
                  <a:cubicBezTo>
                    <a:pt x="3230715" y="2997252"/>
                    <a:pt x="3230715" y="2997252"/>
                    <a:pt x="3230715" y="2997613"/>
                  </a:cubicBezTo>
                  <a:cubicBezTo>
                    <a:pt x="3230715" y="2997976"/>
                    <a:pt x="3230349" y="2997976"/>
                    <a:pt x="3230349" y="2997976"/>
                  </a:cubicBezTo>
                  <a:cubicBezTo>
                    <a:pt x="3229987" y="2997976"/>
                    <a:pt x="3229987" y="2997976"/>
                    <a:pt x="3229987" y="2997613"/>
                  </a:cubicBezTo>
                  <a:cubicBezTo>
                    <a:pt x="3229987" y="2997252"/>
                    <a:pt x="3229987" y="2997252"/>
                    <a:pt x="3230349" y="2997252"/>
                  </a:cubicBezTo>
                  <a:close/>
                  <a:moveTo>
                    <a:pt x="3076406" y="2997252"/>
                  </a:moveTo>
                  <a:cubicBezTo>
                    <a:pt x="3076768" y="2997252"/>
                    <a:pt x="3076768" y="2997252"/>
                    <a:pt x="3076768" y="2997613"/>
                  </a:cubicBezTo>
                  <a:cubicBezTo>
                    <a:pt x="3076768" y="2997976"/>
                    <a:pt x="3076406" y="2997976"/>
                    <a:pt x="3076406" y="2997976"/>
                  </a:cubicBezTo>
                  <a:cubicBezTo>
                    <a:pt x="3076043" y="2997976"/>
                    <a:pt x="3076043" y="2997976"/>
                    <a:pt x="3076043" y="2997613"/>
                  </a:cubicBezTo>
                  <a:cubicBezTo>
                    <a:pt x="3076043" y="2997252"/>
                    <a:pt x="3076043" y="2997252"/>
                    <a:pt x="3076406" y="2997252"/>
                  </a:cubicBezTo>
                  <a:close/>
                  <a:moveTo>
                    <a:pt x="2922824" y="2996889"/>
                  </a:moveTo>
                  <a:cubicBezTo>
                    <a:pt x="2923224" y="2996889"/>
                    <a:pt x="2923548" y="2997213"/>
                    <a:pt x="2923548" y="2997613"/>
                  </a:cubicBezTo>
                  <a:cubicBezTo>
                    <a:pt x="2923548" y="2998018"/>
                    <a:pt x="2923224" y="2998342"/>
                    <a:pt x="2922824" y="2998342"/>
                  </a:cubicBezTo>
                  <a:cubicBezTo>
                    <a:pt x="2922420" y="2998342"/>
                    <a:pt x="2922096" y="2998018"/>
                    <a:pt x="2922096" y="2997613"/>
                  </a:cubicBezTo>
                  <a:cubicBezTo>
                    <a:pt x="2922096" y="2997213"/>
                    <a:pt x="2922420" y="2996889"/>
                    <a:pt x="2922824" y="2996889"/>
                  </a:cubicBezTo>
                  <a:close/>
                  <a:moveTo>
                    <a:pt x="3845414" y="2996165"/>
                  </a:moveTo>
                  <a:cubicBezTo>
                    <a:pt x="3846215" y="2996165"/>
                    <a:pt x="3846867" y="2996817"/>
                    <a:pt x="3846867" y="2997617"/>
                  </a:cubicBezTo>
                  <a:cubicBezTo>
                    <a:pt x="3846867" y="2998418"/>
                    <a:pt x="3846215" y="2999070"/>
                    <a:pt x="3845414" y="2999070"/>
                  </a:cubicBezTo>
                  <a:cubicBezTo>
                    <a:pt x="3844610" y="2999070"/>
                    <a:pt x="3843962" y="2998418"/>
                    <a:pt x="3843962" y="2997617"/>
                  </a:cubicBezTo>
                  <a:cubicBezTo>
                    <a:pt x="3843962" y="2996817"/>
                    <a:pt x="3844610" y="2996165"/>
                    <a:pt x="3845414" y="2996165"/>
                  </a:cubicBezTo>
                  <a:close/>
                  <a:moveTo>
                    <a:pt x="3999000" y="2995437"/>
                  </a:moveTo>
                  <a:cubicBezTo>
                    <a:pt x="4000204" y="2995437"/>
                    <a:pt x="4001180" y="2996413"/>
                    <a:pt x="4001180" y="2997613"/>
                  </a:cubicBezTo>
                  <a:cubicBezTo>
                    <a:pt x="4001180" y="2998818"/>
                    <a:pt x="4000204" y="2999794"/>
                    <a:pt x="3999000" y="2999794"/>
                  </a:cubicBezTo>
                  <a:cubicBezTo>
                    <a:pt x="3997799" y="2999794"/>
                    <a:pt x="3996823" y="2998818"/>
                    <a:pt x="3996823" y="2997613"/>
                  </a:cubicBezTo>
                  <a:cubicBezTo>
                    <a:pt x="3996823" y="2996413"/>
                    <a:pt x="3997799" y="2995437"/>
                    <a:pt x="3999000" y="2995437"/>
                  </a:cubicBezTo>
                  <a:close/>
                  <a:moveTo>
                    <a:pt x="4152947" y="2994713"/>
                  </a:moveTo>
                  <a:cubicBezTo>
                    <a:pt x="4154762" y="2994713"/>
                    <a:pt x="4156214" y="2996165"/>
                    <a:pt x="4156214" y="2997979"/>
                  </a:cubicBezTo>
                  <a:cubicBezTo>
                    <a:pt x="4156214" y="2999794"/>
                    <a:pt x="4154762" y="3001250"/>
                    <a:pt x="4152947" y="3001250"/>
                  </a:cubicBezTo>
                  <a:cubicBezTo>
                    <a:pt x="4151132" y="3001250"/>
                    <a:pt x="4149680" y="2999794"/>
                    <a:pt x="4149680" y="2997979"/>
                  </a:cubicBezTo>
                  <a:cubicBezTo>
                    <a:pt x="4149680" y="2996165"/>
                    <a:pt x="4151132" y="2994713"/>
                    <a:pt x="4152947" y="2994713"/>
                  </a:cubicBezTo>
                  <a:close/>
                  <a:moveTo>
                    <a:pt x="4306532" y="2993261"/>
                  </a:moveTo>
                  <a:cubicBezTo>
                    <a:pt x="4309075" y="2993261"/>
                    <a:pt x="4310890" y="2995075"/>
                    <a:pt x="4310890" y="2997617"/>
                  </a:cubicBezTo>
                  <a:cubicBezTo>
                    <a:pt x="4310890" y="3000160"/>
                    <a:pt x="4308709" y="3001974"/>
                    <a:pt x="4306532" y="3001974"/>
                  </a:cubicBezTo>
                  <a:cubicBezTo>
                    <a:pt x="4303990" y="3001974"/>
                    <a:pt x="4302176" y="3000160"/>
                    <a:pt x="4302176" y="2997617"/>
                  </a:cubicBezTo>
                  <a:cubicBezTo>
                    <a:pt x="4302176" y="2995075"/>
                    <a:pt x="4303990" y="2993261"/>
                    <a:pt x="4306532" y="2993261"/>
                  </a:cubicBezTo>
                  <a:close/>
                  <a:moveTo>
                    <a:pt x="4460480" y="2991808"/>
                  </a:moveTo>
                  <a:cubicBezTo>
                    <a:pt x="4463690" y="2991808"/>
                    <a:pt x="4466289" y="2994408"/>
                    <a:pt x="4466289" y="2997617"/>
                  </a:cubicBezTo>
                  <a:cubicBezTo>
                    <a:pt x="4466289" y="3000827"/>
                    <a:pt x="4463690" y="3003427"/>
                    <a:pt x="4460480" y="3003427"/>
                  </a:cubicBezTo>
                  <a:cubicBezTo>
                    <a:pt x="4457270" y="3003427"/>
                    <a:pt x="4454670" y="3000827"/>
                    <a:pt x="4454670" y="2997617"/>
                  </a:cubicBezTo>
                  <a:cubicBezTo>
                    <a:pt x="4454670" y="2994408"/>
                    <a:pt x="4457270" y="2991808"/>
                    <a:pt x="4460480" y="2991808"/>
                  </a:cubicBezTo>
                  <a:close/>
                  <a:moveTo>
                    <a:pt x="4614065" y="2990356"/>
                  </a:moveTo>
                  <a:cubicBezTo>
                    <a:pt x="4618060" y="2990356"/>
                    <a:pt x="4621326" y="2993622"/>
                    <a:pt x="4621326" y="2997617"/>
                  </a:cubicBezTo>
                  <a:cubicBezTo>
                    <a:pt x="4621326" y="3001612"/>
                    <a:pt x="4618060" y="3004879"/>
                    <a:pt x="4614065" y="3004879"/>
                  </a:cubicBezTo>
                  <a:cubicBezTo>
                    <a:pt x="4610070" y="3004879"/>
                    <a:pt x="4606804" y="3001612"/>
                    <a:pt x="4606804" y="2997617"/>
                  </a:cubicBezTo>
                  <a:cubicBezTo>
                    <a:pt x="4606804" y="2993622"/>
                    <a:pt x="4610070" y="2990356"/>
                    <a:pt x="4614065" y="2990356"/>
                  </a:cubicBezTo>
                  <a:close/>
                  <a:moveTo>
                    <a:pt x="4768008" y="2988537"/>
                  </a:moveTo>
                  <a:cubicBezTo>
                    <a:pt x="4773094" y="2988537"/>
                    <a:pt x="4777088" y="2992532"/>
                    <a:pt x="4777088" y="2997613"/>
                  </a:cubicBezTo>
                  <a:cubicBezTo>
                    <a:pt x="4777088" y="3002699"/>
                    <a:pt x="4773094" y="3006693"/>
                    <a:pt x="4768008" y="3006693"/>
                  </a:cubicBezTo>
                  <a:cubicBezTo>
                    <a:pt x="4762928" y="3006693"/>
                    <a:pt x="4758932" y="3002699"/>
                    <a:pt x="4758932" y="2997613"/>
                  </a:cubicBezTo>
                  <a:cubicBezTo>
                    <a:pt x="4758932" y="2992532"/>
                    <a:pt x="4762928" y="2988537"/>
                    <a:pt x="4768008" y="2988537"/>
                  </a:cubicBezTo>
                  <a:close/>
                  <a:moveTo>
                    <a:pt x="4921594" y="2987447"/>
                  </a:moveTo>
                  <a:cubicBezTo>
                    <a:pt x="4927041" y="2987447"/>
                    <a:pt x="4931760" y="2992166"/>
                    <a:pt x="4931760" y="2997613"/>
                  </a:cubicBezTo>
                  <a:cubicBezTo>
                    <a:pt x="4931760" y="3003061"/>
                    <a:pt x="4927403" y="3007780"/>
                    <a:pt x="4921594" y="3007780"/>
                  </a:cubicBezTo>
                  <a:cubicBezTo>
                    <a:pt x="4916146" y="3007780"/>
                    <a:pt x="4911428" y="3003061"/>
                    <a:pt x="4911428" y="2997613"/>
                  </a:cubicBezTo>
                  <a:cubicBezTo>
                    <a:pt x="4911428" y="2992166"/>
                    <a:pt x="4916146" y="2987447"/>
                    <a:pt x="4921594" y="2987447"/>
                  </a:cubicBezTo>
                  <a:close/>
                  <a:moveTo>
                    <a:pt x="5075541" y="2985633"/>
                  </a:moveTo>
                  <a:cubicBezTo>
                    <a:pt x="5082078" y="2985633"/>
                    <a:pt x="5087526" y="2991080"/>
                    <a:pt x="5087526" y="2997613"/>
                  </a:cubicBezTo>
                  <a:cubicBezTo>
                    <a:pt x="5087526" y="3004151"/>
                    <a:pt x="5082078" y="3009594"/>
                    <a:pt x="5075541" y="3009594"/>
                  </a:cubicBezTo>
                  <a:cubicBezTo>
                    <a:pt x="5069008" y="3009594"/>
                    <a:pt x="5063560" y="3004151"/>
                    <a:pt x="5063560" y="2997613"/>
                  </a:cubicBezTo>
                  <a:cubicBezTo>
                    <a:pt x="5063560" y="2991080"/>
                    <a:pt x="5069008" y="2985633"/>
                    <a:pt x="5075541" y="2985633"/>
                  </a:cubicBezTo>
                  <a:close/>
                  <a:moveTo>
                    <a:pt x="5229126" y="2983818"/>
                  </a:moveTo>
                  <a:cubicBezTo>
                    <a:pt x="5236750" y="2983818"/>
                    <a:pt x="5242922" y="2989990"/>
                    <a:pt x="5242922" y="2997613"/>
                  </a:cubicBezTo>
                  <a:cubicBezTo>
                    <a:pt x="5242922" y="3005241"/>
                    <a:pt x="5236750" y="3011413"/>
                    <a:pt x="5229126" y="3011413"/>
                  </a:cubicBezTo>
                  <a:cubicBezTo>
                    <a:pt x="5221499" y="3011413"/>
                    <a:pt x="5215328" y="3005241"/>
                    <a:pt x="5215328" y="2997613"/>
                  </a:cubicBezTo>
                  <a:cubicBezTo>
                    <a:pt x="5215328" y="2989990"/>
                    <a:pt x="5221499" y="2983818"/>
                    <a:pt x="5229126" y="2983818"/>
                  </a:cubicBezTo>
                  <a:close/>
                  <a:moveTo>
                    <a:pt x="5383074" y="2982366"/>
                  </a:moveTo>
                  <a:cubicBezTo>
                    <a:pt x="5391498" y="2982366"/>
                    <a:pt x="5398326" y="2989193"/>
                    <a:pt x="5398326" y="2997613"/>
                  </a:cubicBezTo>
                  <a:cubicBezTo>
                    <a:pt x="5398326" y="3006038"/>
                    <a:pt x="5391498" y="3012865"/>
                    <a:pt x="5383074" y="3012865"/>
                  </a:cubicBezTo>
                  <a:cubicBezTo>
                    <a:pt x="5374654" y="3012865"/>
                    <a:pt x="5367826" y="3006038"/>
                    <a:pt x="5367826" y="2997613"/>
                  </a:cubicBezTo>
                  <a:cubicBezTo>
                    <a:pt x="5367826" y="2989193"/>
                    <a:pt x="5374654" y="2982366"/>
                    <a:pt x="5383074" y="2982366"/>
                  </a:cubicBezTo>
                  <a:close/>
                  <a:moveTo>
                    <a:pt x="5536659" y="2980551"/>
                  </a:moveTo>
                  <a:cubicBezTo>
                    <a:pt x="5546098" y="2980551"/>
                    <a:pt x="5553725" y="2988175"/>
                    <a:pt x="5553725" y="2997617"/>
                  </a:cubicBezTo>
                  <a:cubicBezTo>
                    <a:pt x="5553725" y="3007056"/>
                    <a:pt x="5546098" y="3014683"/>
                    <a:pt x="5536659" y="3014683"/>
                  </a:cubicBezTo>
                  <a:cubicBezTo>
                    <a:pt x="5527217" y="3014683"/>
                    <a:pt x="5519593" y="3007056"/>
                    <a:pt x="5519593" y="2997617"/>
                  </a:cubicBezTo>
                  <a:cubicBezTo>
                    <a:pt x="5519593" y="2988175"/>
                    <a:pt x="5527217" y="2980551"/>
                    <a:pt x="5536659" y="2980551"/>
                  </a:cubicBezTo>
                  <a:close/>
                  <a:moveTo>
                    <a:pt x="5690606" y="2978371"/>
                  </a:moveTo>
                  <a:cubicBezTo>
                    <a:pt x="5701234" y="2978371"/>
                    <a:pt x="5709849" y="2986986"/>
                    <a:pt x="5709849" y="2997613"/>
                  </a:cubicBezTo>
                  <a:cubicBezTo>
                    <a:pt x="5709849" y="3008241"/>
                    <a:pt x="5701234" y="3016856"/>
                    <a:pt x="5690606" y="3016856"/>
                  </a:cubicBezTo>
                  <a:cubicBezTo>
                    <a:pt x="5679979" y="3016856"/>
                    <a:pt x="5671360" y="3008241"/>
                    <a:pt x="5671360" y="2997613"/>
                  </a:cubicBezTo>
                  <a:cubicBezTo>
                    <a:pt x="5671360" y="2986986"/>
                    <a:pt x="5679979" y="2978371"/>
                    <a:pt x="5690606" y="2978371"/>
                  </a:cubicBezTo>
                  <a:close/>
                  <a:moveTo>
                    <a:pt x="5844550" y="2976195"/>
                  </a:moveTo>
                  <a:cubicBezTo>
                    <a:pt x="5856382" y="2976195"/>
                    <a:pt x="5865973" y="2985785"/>
                    <a:pt x="5865973" y="2997617"/>
                  </a:cubicBezTo>
                  <a:cubicBezTo>
                    <a:pt x="5865973" y="3009446"/>
                    <a:pt x="5856382" y="3019036"/>
                    <a:pt x="5844550" y="3019036"/>
                  </a:cubicBezTo>
                  <a:cubicBezTo>
                    <a:pt x="5832718" y="3019036"/>
                    <a:pt x="5823127" y="3009446"/>
                    <a:pt x="5823127" y="2997617"/>
                  </a:cubicBezTo>
                  <a:cubicBezTo>
                    <a:pt x="5823127" y="2985785"/>
                    <a:pt x="5832718" y="2976195"/>
                    <a:pt x="5844550" y="2976195"/>
                  </a:cubicBezTo>
                  <a:close/>
                  <a:moveTo>
                    <a:pt x="5998139" y="2974742"/>
                  </a:moveTo>
                  <a:cubicBezTo>
                    <a:pt x="6010772" y="2974742"/>
                    <a:pt x="6021010" y="2984985"/>
                    <a:pt x="6021010" y="2997617"/>
                  </a:cubicBezTo>
                  <a:cubicBezTo>
                    <a:pt x="6021010" y="3010250"/>
                    <a:pt x="6010772" y="3020489"/>
                    <a:pt x="5998139" y="3020489"/>
                  </a:cubicBezTo>
                  <a:cubicBezTo>
                    <a:pt x="5985502" y="3020489"/>
                    <a:pt x="5975264" y="3010250"/>
                    <a:pt x="5975264" y="2997617"/>
                  </a:cubicBezTo>
                  <a:cubicBezTo>
                    <a:pt x="5975264" y="2984985"/>
                    <a:pt x="5985502" y="2974742"/>
                    <a:pt x="5998139" y="2974742"/>
                  </a:cubicBezTo>
                  <a:close/>
                  <a:moveTo>
                    <a:pt x="6152083" y="2972562"/>
                  </a:moveTo>
                  <a:cubicBezTo>
                    <a:pt x="6165920" y="2972562"/>
                    <a:pt x="6177134" y="2983776"/>
                    <a:pt x="6177134" y="2997613"/>
                  </a:cubicBezTo>
                  <a:cubicBezTo>
                    <a:pt x="6177134" y="3011451"/>
                    <a:pt x="6165920" y="3022669"/>
                    <a:pt x="6152083" y="3022669"/>
                  </a:cubicBezTo>
                  <a:cubicBezTo>
                    <a:pt x="6138246" y="3022669"/>
                    <a:pt x="6127031" y="3011451"/>
                    <a:pt x="6127031" y="2997613"/>
                  </a:cubicBezTo>
                  <a:cubicBezTo>
                    <a:pt x="6127031" y="2983780"/>
                    <a:pt x="6138246" y="2972562"/>
                    <a:pt x="6152083" y="2972562"/>
                  </a:cubicBezTo>
                  <a:close/>
                  <a:moveTo>
                    <a:pt x="6305672" y="2970385"/>
                  </a:moveTo>
                  <a:cubicBezTo>
                    <a:pt x="6320710" y="2970385"/>
                    <a:pt x="6332904" y="2982576"/>
                    <a:pt x="6332904" y="2997617"/>
                  </a:cubicBezTo>
                  <a:cubicBezTo>
                    <a:pt x="6332904" y="3012655"/>
                    <a:pt x="6320710" y="3024846"/>
                    <a:pt x="6305672" y="3024846"/>
                  </a:cubicBezTo>
                  <a:cubicBezTo>
                    <a:pt x="6290634" y="3024846"/>
                    <a:pt x="6278440" y="3012655"/>
                    <a:pt x="6278440" y="2997617"/>
                  </a:cubicBezTo>
                  <a:cubicBezTo>
                    <a:pt x="6278440" y="2982576"/>
                    <a:pt x="6290634" y="2970385"/>
                    <a:pt x="6305672" y="2970385"/>
                  </a:cubicBezTo>
                  <a:close/>
                  <a:moveTo>
                    <a:pt x="6459619" y="2967843"/>
                  </a:moveTo>
                  <a:cubicBezTo>
                    <a:pt x="6476060" y="2967843"/>
                    <a:pt x="6489390" y="2981173"/>
                    <a:pt x="6489390" y="2997613"/>
                  </a:cubicBezTo>
                  <a:cubicBezTo>
                    <a:pt x="6489390" y="3014058"/>
                    <a:pt x="6476060" y="3027388"/>
                    <a:pt x="6459619" y="3027388"/>
                  </a:cubicBezTo>
                  <a:cubicBezTo>
                    <a:pt x="6443174" y="3027388"/>
                    <a:pt x="6429844" y="3014058"/>
                    <a:pt x="6429844" y="2997613"/>
                  </a:cubicBezTo>
                  <a:cubicBezTo>
                    <a:pt x="6429844" y="2981173"/>
                    <a:pt x="6443174" y="2967843"/>
                    <a:pt x="6459619" y="2967843"/>
                  </a:cubicBezTo>
                  <a:close/>
                  <a:moveTo>
                    <a:pt x="6613200" y="2965666"/>
                  </a:moveTo>
                  <a:cubicBezTo>
                    <a:pt x="6630846" y="2965666"/>
                    <a:pt x="6645152" y="2979972"/>
                    <a:pt x="6645152" y="2997617"/>
                  </a:cubicBezTo>
                  <a:cubicBezTo>
                    <a:pt x="6645152" y="3015263"/>
                    <a:pt x="6630846" y="3029569"/>
                    <a:pt x="6613200" y="3029569"/>
                  </a:cubicBezTo>
                  <a:cubicBezTo>
                    <a:pt x="6595556" y="3029569"/>
                    <a:pt x="6581250" y="3015263"/>
                    <a:pt x="6581250" y="2997617"/>
                  </a:cubicBezTo>
                  <a:cubicBezTo>
                    <a:pt x="6581250" y="2979972"/>
                    <a:pt x="6595556" y="2965666"/>
                    <a:pt x="6613200" y="2965666"/>
                  </a:cubicBezTo>
                  <a:close/>
                  <a:moveTo>
                    <a:pt x="3537882" y="2843666"/>
                  </a:moveTo>
                  <a:cubicBezTo>
                    <a:pt x="3538244" y="2843666"/>
                    <a:pt x="3538244" y="2843666"/>
                    <a:pt x="3538244" y="2844028"/>
                  </a:cubicBezTo>
                  <a:cubicBezTo>
                    <a:pt x="3538244" y="2844390"/>
                    <a:pt x="3537882" y="2844390"/>
                    <a:pt x="3537882" y="2844390"/>
                  </a:cubicBezTo>
                  <a:cubicBezTo>
                    <a:pt x="3537520" y="2844390"/>
                    <a:pt x="3537520" y="2844390"/>
                    <a:pt x="3537520" y="2844028"/>
                  </a:cubicBezTo>
                  <a:cubicBezTo>
                    <a:pt x="3537520" y="2843666"/>
                    <a:pt x="3537520" y="2843666"/>
                    <a:pt x="3537882" y="2843666"/>
                  </a:cubicBezTo>
                  <a:close/>
                  <a:moveTo>
                    <a:pt x="3076406" y="2843666"/>
                  </a:moveTo>
                  <a:cubicBezTo>
                    <a:pt x="3076768" y="2843666"/>
                    <a:pt x="3076768" y="2843666"/>
                    <a:pt x="3076768" y="2844028"/>
                  </a:cubicBezTo>
                  <a:cubicBezTo>
                    <a:pt x="3076768" y="2844390"/>
                    <a:pt x="3076406" y="2844390"/>
                    <a:pt x="3076406" y="2844390"/>
                  </a:cubicBezTo>
                  <a:cubicBezTo>
                    <a:pt x="3076043" y="2844390"/>
                    <a:pt x="3076043" y="2844390"/>
                    <a:pt x="3076043" y="2844028"/>
                  </a:cubicBezTo>
                  <a:cubicBezTo>
                    <a:pt x="3076043" y="2843666"/>
                    <a:pt x="3076043" y="2843666"/>
                    <a:pt x="3076406" y="2843666"/>
                  </a:cubicBezTo>
                  <a:close/>
                  <a:moveTo>
                    <a:pt x="2922458" y="2843666"/>
                  </a:moveTo>
                  <a:cubicBezTo>
                    <a:pt x="2922820" y="2843666"/>
                    <a:pt x="2922820" y="2843666"/>
                    <a:pt x="2922820" y="2844028"/>
                  </a:cubicBezTo>
                  <a:cubicBezTo>
                    <a:pt x="2922820" y="2844390"/>
                    <a:pt x="2922458" y="2844390"/>
                    <a:pt x="2922458" y="2844390"/>
                  </a:cubicBezTo>
                  <a:cubicBezTo>
                    <a:pt x="2922096" y="2844390"/>
                    <a:pt x="2922096" y="2844390"/>
                    <a:pt x="2922096" y="2844028"/>
                  </a:cubicBezTo>
                  <a:cubicBezTo>
                    <a:pt x="2922096" y="2843666"/>
                    <a:pt x="2922096" y="2843666"/>
                    <a:pt x="2922458" y="2843666"/>
                  </a:cubicBezTo>
                  <a:close/>
                  <a:moveTo>
                    <a:pt x="2768877" y="2843304"/>
                  </a:moveTo>
                  <a:cubicBezTo>
                    <a:pt x="2769277" y="2843304"/>
                    <a:pt x="2769601" y="2843628"/>
                    <a:pt x="2769601" y="2844032"/>
                  </a:cubicBezTo>
                  <a:cubicBezTo>
                    <a:pt x="2769601" y="2844432"/>
                    <a:pt x="2769277" y="2844756"/>
                    <a:pt x="2768877" y="2844756"/>
                  </a:cubicBezTo>
                  <a:cubicBezTo>
                    <a:pt x="2768473" y="2844756"/>
                    <a:pt x="2768149" y="2844432"/>
                    <a:pt x="2768149" y="2844032"/>
                  </a:cubicBezTo>
                  <a:cubicBezTo>
                    <a:pt x="2768149" y="2843628"/>
                    <a:pt x="2768473" y="2843304"/>
                    <a:pt x="2768877" y="2843304"/>
                  </a:cubicBezTo>
                  <a:close/>
                  <a:moveTo>
                    <a:pt x="3691467" y="2842580"/>
                  </a:moveTo>
                  <a:cubicBezTo>
                    <a:pt x="3692268" y="2842580"/>
                    <a:pt x="3692919" y="2843232"/>
                    <a:pt x="3692919" y="2844032"/>
                  </a:cubicBezTo>
                  <a:cubicBezTo>
                    <a:pt x="3692919" y="2844833"/>
                    <a:pt x="3692268" y="2845485"/>
                    <a:pt x="3691467" y="2845485"/>
                  </a:cubicBezTo>
                  <a:cubicBezTo>
                    <a:pt x="3690663" y="2845485"/>
                    <a:pt x="3690014" y="2844833"/>
                    <a:pt x="3690014" y="2844032"/>
                  </a:cubicBezTo>
                  <a:cubicBezTo>
                    <a:pt x="3690014" y="2843232"/>
                    <a:pt x="3690663" y="2842580"/>
                    <a:pt x="3691467" y="2842580"/>
                  </a:cubicBezTo>
                  <a:close/>
                  <a:moveTo>
                    <a:pt x="3845418" y="2841852"/>
                  </a:moveTo>
                  <a:cubicBezTo>
                    <a:pt x="3846619" y="2841852"/>
                    <a:pt x="3847595" y="2842828"/>
                    <a:pt x="3847595" y="2844032"/>
                  </a:cubicBezTo>
                  <a:cubicBezTo>
                    <a:pt x="3847595" y="2845233"/>
                    <a:pt x="3846619" y="2846209"/>
                    <a:pt x="3845418" y="2846209"/>
                  </a:cubicBezTo>
                  <a:cubicBezTo>
                    <a:pt x="3844214" y="2846209"/>
                    <a:pt x="3843238" y="2845233"/>
                    <a:pt x="3843238" y="2844032"/>
                  </a:cubicBezTo>
                  <a:cubicBezTo>
                    <a:pt x="3843238" y="2842828"/>
                    <a:pt x="3844214" y="2841852"/>
                    <a:pt x="3845418" y="2841852"/>
                  </a:cubicBezTo>
                  <a:close/>
                  <a:moveTo>
                    <a:pt x="3999000" y="2840761"/>
                  </a:moveTo>
                  <a:cubicBezTo>
                    <a:pt x="4000818" y="2840761"/>
                    <a:pt x="4002270" y="2842214"/>
                    <a:pt x="4002270" y="2844028"/>
                  </a:cubicBezTo>
                  <a:cubicBezTo>
                    <a:pt x="4002270" y="2845843"/>
                    <a:pt x="4000818" y="2847299"/>
                    <a:pt x="3999000" y="2847299"/>
                  </a:cubicBezTo>
                  <a:cubicBezTo>
                    <a:pt x="3997185" y="2847299"/>
                    <a:pt x="3995733" y="2845843"/>
                    <a:pt x="3995733" y="2844028"/>
                  </a:cubicBezTo>
                  <a:cubicBezTo>
                    <a:pt x="3995733" y="2842214"/>
                    <a:pt x="3997185" y="2840761"/>
                    <a:pt x="3999000" y="2840761"/>
                  </a:cubicBezTo>
                  <a:close/>
                  <a:moveTo>
                    <a:pt x="4152947" y="2839309"/>
                  </a:moveTo>
                  <a:cubicBezTo>
                    <a:pt x="4155486" y="2839309"/>
                    <a:pt x="4157304" y="2841124"/>
                    <a:pt x="4157304" y="2843666"/>
                  </a:cubicBezTo>
                  <a:cubicBezTo>
                    <a:pt x="4157304" y="2846209"/>
                    <a:pt x="4155124" y="2848023"/>
                    <a:pt x="4152947" y="2848023"/>
                  </a:cubicBezTo>
                  <a:cubicBezTo>
                    <a:pt x="4150404" y="2848023"/>
                    <a:pt x="4148590" y="2846209"/>
                    <a:pt x="4148590" y="2843666"/>
                  </a:cubicBezTo>
                  <a:cubicBezTo>
                    <a:pt x="4148590" y="2841124"/>
                    <a:pt x="4150404" y="2839309"/>
                    <a:pt x="4152947" y="2839309"/>
                  </a:cubicBezTo>
                  <a:close/>
                  <a:moveTo>
                    <a:pt x="4306532" y="2838223"/>
                  </a:moveTo>
                  <a:cubicBezTo>
                    <a:pt x="4309742" y="2838223"/>
                    <a:pt x="4312342" y="2840823"/>
                    <a:pt x="4312342" y="2844032"/>
                  </a:cubicBezTo>
                  <a:cubicBezTo>
                    <a:pt x="4312342" y="2847242"/>
                    <a:pt x="4309742" y="2849841"/>
                    <a:pt x="4306532" y="2849841"/>
                  </a:cubicBezTo>
                  <a:cubicBezTo>
                    <a:pt x="4303322" y="2849841"/>
                    <a:pt x="4300723" y="2847242"/>
                    <a:pt x="4300723" y="2844032"/>
                  </a:cubicBezTo>
                  <a:cubicBezTo>
                    <a:pt x="4300723" y="2840823"/>
                    <a:pt x="4303322" y="2838223"/>
                    <a:pt x="4306532" y="2838223"/>
                  </a:cubicBezTo>
                  <a:close/>
                  <a:moveTo>
                    <a:pt x="4460480" y="2836770"/>
                  </a:moveTo>
                  <a:cubicBezTo>
                    <a:pt x="4464474" y="2836770"/>
                    <a:pt x="4467742" y="2840037"/>
                    <a:pt x="4467742" y="2844032"/>
                  </a:cubicBezTo>
                  <a:cubicBezTo>
                    <a:pt x="4467742" y="2848027"/>
                    <a:pt x="4464474" y="2851294"/>
                    <a:pt x="4460480" y="2851294"/>
                  </a:cubicBezTo>
                  <a:cubicBezTo>
                    <a:pt x="4456485" y="2851294"/>
                    <a:pt x="4453218" y="2848027"/>
                    <a:pt x="4453218" y="2844032"/>
                  </a:cubicBezTo>
                  <a:cubicBezTo>
                    <a:pt x="4453218" y="2840037"/>
                    <a:pt x="4456485" y="2836770"/>
                    <a:pt x="4460480" y="2836770"/>
                  </a:cubicBezTo>
                  <a:close/>
                  <a:moveTo>
                    <a:pt x="4614061" y="2834590"/>
                  </a:moveTo>
                  <a:cubicBezTo>
                    <a:pt x="4619146" y="2834590"/>
                    <a:pt x="4623141" y="2838585"/>
                    <a:pt x="4623141" y="2843666"/>
                  </a:cubicBezTo>
                  <a:cubicBezTo>
                    <a:pt x="4623141" y="2848751"/>
                    <a:pt x="4619146" y="2852746"/>
                    <a:pt x="4614061" y="2852746"/>
                  </a:cubicBezTo>
                  <a:cubicBezTo>
                    <a:pt x="4608980" y="2852746"/>
                    <a:pt x="4604985" y="2848751"/>
                    <a:pt x="4604985" y="2843666"/>
                  </a:cubicBezTo>
                  <a:cubicBezTo>
                    <a:pt x="4604985" y="2838585"/>
                    <a:pt x="4608980" y="2834590"/>
                    <a:pt x="4614061" y="2834590"/>
                  </a:cubicBezTo>
                  <a:close/>
                  <a:moveTo>
                    <a:pt x="4768012" y="2833866"/>
                  </a:moveTo>
                  <a:cubicBezTo>
                    <a:pt x="4773460" y="2833866"/>
                    <a:pt x="4778178" y="2838585"/>
                    <a:pt x="4778178" y="2844032"/>
                  </a:cubicBezTo>
                  <a:cubicBezTo>
                    <a:pt x="4778178" y="2849479"/>
                    <a:pt x="4773822" y="2854198"/>
                    <a:pt x="4768012" y="2854198"/>
                  </a:cubicBezTo>
                  <a:cubicBezTo>
                    <a:pt x="4762565" y="2854198"/>
                    <a:pt x="4757846" y="2849479"/>
                    <a:pt x="4757846" y="2844032"/>
                  </a:cubicBezTo>
                  <a:cubicBezTo>
                    <a:pt x="4757846" y="2838585"/>
                    <a:pt x="4762565" y="2833866"/>
                    <a:pt x="4768012" y="2833866"/>
                  </a:cubicBezTo>
                  <a:close/>
                  <a:moveTo>
                    <a:pt x="4921594" y="2831685"/>
                  </a:moveTo>
                  <a:cubicBezTo>
                    <a:pt x="4928131" y="2831685"/>
                    <a:pt x="4933578" y="2837132"/>
                    <a:pt x="4933578" y="2843666"/>
                  </a:cubicBezTo>
                  <a:cubicBezTo>
                    <a:pt x="4933578" y="2850203"/>
                    <a:pt x="4928131" y="2855651"/>
                    <a:pt x="4921594" y="2855651"/>
                  </a:cubicBezTo>
                  <a:cubicBezTo>
                    <a:pt x="4915060" y="2855651"/>
                    <a:pt x="4909613" y="2850203"/>
                    <a:pt x="4909613" y="2843666"/>
                  </a:cubicBezTo>
                  <a:cubicBezTo>
                    <a:pt x="4909613" y="2837132"/>
                    <a:pt x="4915060" y="2831685"/>
                    <a:pt x="4921594" y="2831685"/>
                  </a:cubicBezTo>
                  <a:close/>
                  <a:moveTo>
                    <a:pt x="5075545" y="2829871"/>
                  </a:moveTo>
                  <a:cubicBezTo>
                    <a:pt x="5083169" y="2829871"/>
                    <a:pt x="5089340" y="2836042"/>
                    <a:pt x="5089340" y="2843666"/>
                  </a:cubicBezTo>
                  <a:cubicBezTo>
                    <a:pt x="5089340" y="2851294"/>
                    <a:pt x="5083169" y="2857465"/>
                    <a:pt x="5075545" y="2857465"/>
                  </a:cubicBezTo>
                  <a:cubicBezTo>
                    <a:pt x="5067918" y="2857465"/>
                    <a:pt x="5061746" y="2851294"/>
                    <a:pt x="5061746" y="2843666"/>
                  </a:cubicBezTo>
                  <a:cubicBezTo>
                    <a:pt x="5061746" y="2836042"/>
                    <a:pt x="5067918" y="2829871"/>
                    <a:pt x="5075545" y="2829871"/>
                  </a:cubicBezTo>
                  <a:close/>
                  <a:moveTo>
                    <a:pt x="5229126" y="2828781"/>
                  </a:moveTo>
                  <a:cubicBezTo>
                    <a:pt x="5237551" y="2828781"/>
                    <a:pt x="5244378" y="2835608"/>
                    <a:pt x="5244378" y="2844032"/>
                  </a:cubicBezTo>
                  <a:cubicBezTo>
                    <a:pt x="5244378" y="2852453"/>
                    <a:pt x="5237551" y="2859280"/>
                    <a:pt x="5229126" y="2859280"/>
                  </a:cubicBezTo>
                  <a:cubicBezTo>
                    <a:pt x="5220706" y="2859280"/>
                    <a:pt x="5213879" y="2852453"/>
                    <a:pt x="5213879" y="2844032"/>
                  </a:cubicBezTo>
                  <a:cubicBezTo>
                    <a:pt x="5213879" y="2835608"/>
                    <a:pt x="5220706" y="2828781"/>
                    <a:pt x="5229126" y="2828781"/>
                  </a:cubicBezTo>
                  <a:close/>
                  <a:moveTo>
                    <a:pt x="5383074" y="2826966"/>
                  </a:moveTo>
                  <a:cubicBezTo>
                    <a:pt x="5392512" y="2826966"/>
                    <a:pt x="5400140" y="2834590"/>
                    <a:pt x="5400140" y="2844032"/>
                  </a:cubicBezTo>
                  <a:cubicBezTo>
                    <a:pt x="5400140" y="2853471"/>
                    <a:pt x="5392512" y="2861098"/>
                    <a:pt x="5383074" y="2861098"/>
                  </a:cubicBezTo>
                  <a:cubicBezTo>
                    <a:pt x="5373632" y="2861098"/>
                    <a:pt x="5366008" y="2853471"/>
                    <a:pt x="5366008" y="2844032"/>
                  </a:cubicBezTo>
                  <a:cubicBezTo>
                    <a:pt x="5366008" y="2834590"/>
                    <a:pt x="5373632" y="2826966"/>
                    <a:pt x="5383074" y="2826966"/>
                  </a:cubicBezTo>
                  <a:close/>
                  <a:moveTo>
                    <a:pt x="5536659" y="2824790"/>
                  </a:moveTo>
                  <a:cubicBezTo>
                    <a:pt x="5547286" y="2824790"/>
                    <a:pt x="5555902" y="2833404"/>
                    <a:pt x="5555902" y="2844032"/>
                  </a:cubicBezTo>
                  <a:cubicBezTo>
                    <a:pt x="5555902" y="2854660"/>
                    <a:pt x="5547286" y="2863279"/>
                    <a:pt x="5536659" y="2863279"/>
                  </a:cubicBezTo>
                  <a:cubicBezTo>
                    <a:pt x="5526032" y="2863279"/>
                    <a:pt x="5517413" y="2854660"/>
                    <a:pt x="5517413" y="2844032"/>
                  </a:cubicBezTo>
                  <a:cubicBezTo>
                    <a:pt x="5517413" y="2833404"/>
                    <a:pt x="5526032" y="2824790"/>
                    <a:pt x="5536659" y="2824790"/>
                  </a:cubicBezTo>
                  <a:close/>
                  <a:moveTo>
                    <a:pt x="5690602" y="2822609"/>
                  </a:moveTo>
                  <a:cubicBezTo>
                    <a:pt x="5702435" y="2822609"/>
                    <a:pt x="5712026" y="2832200"/>
                    <a:pt x="5712026" y="2844032"/>
                  </a:cubicBezTo>
                  <a:cubicBezTo>
                    <a:pt x="5712026" y="2855864"/>
                    <a:pt x="5702435" y="2865451"/>
                    <a:pt x="5690602" y="2865451"/>
                  </a:cubicBezTo>
                  <a:cubicBezTo>
                    <a:pt x="5678770" y="2865451"/>
                    <a:pt x="5669180" y="2855860"/>
                    <a:pt x="5669180" y="2844032"/>
                  </a:cubicBezTo>
                  <a:cubicBezTo>
                    <a:pt x="5669180" y="2832200"/>
                    <a:pt x="5678770" y="2822609"/>
                    <a:pt x="5690602" y="2822609"/>
                  </a:cubicBezTo>
                  <a:close/>
                  <a:moveTo>
                    <a:pt x="5844554" y="2821157"/>
                  </a:moveTo>
                  <a:cubicBezTo>
                    <a:pt x="5857186" y="2821157"/>
                    <a:pt x="5867429" y="2831399"/>
                    <a:pt x="5867429" y="2844032"/>
                  </a:cubicBezTo>
                  <a:cubicBezTo>
                    <a:pt x="5867429" y="2856665"/>
                    <a:pt x="5857186" y="2866903"/>
                    <a:pt x="5844554" y="2866903"/>
                  </a:cubicBezTo>
                  <a:cubicBezTo>
                    <a:pt x="5831918" y="2866903"/>
                    <a:pt x="5821678" y="2856665"/>
                    <a:pt x="5821678" y="2844032"/>
                  </a:cubicBezTo>
                  <a:cubicBezTo>
                    <a:pt x="5821678" y="2831399"/>
                    <a:pt x="5831918" y="2821157"/>
                    <a:pt x="5844554" y="2821157"/>
                  </a:cubicBezTo>
                  <a:close/>
                  <a:moveTo>
                    <a:pt x="5998136" y="2818980"/>
                  </a:moveTo>
                  <a:cubicBezTo>
                    <a:pt x="6011972" y="2818980"/>
                    <a:pt x="6023187" y="2830195"/>
                    <a:pt x="6023187" y="2844032"/>
                  </a:cubicBezTo>
                  <a:cubicBezTo>
                    <a:pt x="6023187" y="2857869"/>
                    <a:pt x="6011972" y="2869088"/>
                    <a:pt x="5998136" y="2869088"/>
                  </a:cubicBezTo>
                  <a:cubicBezTo>
                    <a:pt x="5984298" y="2869088"/>
                    <a:pt x="5973084" y="2857869"/>
                    <a:pt x="5973084" y="2844032"/>
                  </a:cubicBezTo>
                  <a:cubicBezTo>
                    <a:pt x="5973084" y="2830199"/>
                    <a:pt x="5984298" y="2818980"/>
                    <a:pt x="5998136" y="2818980"/>
                  </a:cubicBezTo>
                  <a:close/>
                  <a:moveTo>
                    <a:pt x="6152086" y="2816800"/>
                  </a:moveTo>
                  <a:cubicBezTo>
                    <a:pt x="6167124" y="2816800"/>
                    <a:pt x="6179315" y="2828990"/>
                    <a:pt x="6179315" y="2844032"/>
                  </a:cubicBezTo>
                  <a:cubicBezTo>
                    <a:pt x="6179315" y="2859070"/>
                    <a:pt x="6167124" y="2871264"/>
                    <a:pt x="6152086" y="2871264"/>
                  </a:cubicBezTo>
                  <a:cubicBezTo>
                    <a:pt x="6137045" y="2871264"/>
                    <a:pt x="6124854" y="2859070"/>
                    <a:pt x="6124854" y="2844032"/>
                  </a:cubicBezTo>
                  <a:cubicBezTo>
                    <a:pt x="6124854" y="2828990"/>
                    <a:pt x="6137045" y="2816800"/>
                    <a:pt x="6152086" y="2816800"/>
                  </a:cubicBezTo>
                  <a:close/>
                  <a:moveTo>
                    <a:pt x="6305672" y="2814257"/>
                  </a:moveTo>
                  <a:cubicBezTo>
                    <a:pt x="6322112" y="2814257"/>
                    <a:pt x="6335443" y="2827587"/>
                    <a:pt x="6335443" y="2844032"/>
                  </a:cubicBezTo>
                  <a:cubicBezTo>
                    <a:pt x="6335443" y="2860473"/>
                    <a:pt x="6322112" y="2873803"/>
                    <a:pt x="6305672" y="2873803"/>
                  </a:cubicBezTo>
                  <a:cubicBezTo>
                    <a:pt x="6289228" y="2873803"/>
                    <a:pt x="6275897" y="2860473"/>
                    <a:pt x="6275897" y="2844032"/>
                  </a:cubicBezTo>
                  <a:cubicBezTo>
                    <a:pt x="6275897" y="2827587"/>
                    <a:pt x="6289228" y="2814257"/>
                    <a:pt x="6305672" y="2814257"/>
                  </a:cubicBezTo>
                  <a:close/>
                  <a:moveTo>
                    <a:pt x="6459616" y="2812081"/>
                  </a:moveTo>
                  <a:cubicBezTo>
                    <a:pt x="6477260" y="2812081"/>
                    <a:pt x="6491567" y="2826387"/>
                    <a:pt x="6491567" y="2844032"/>
                  </a:cubicBezTo>
                  <a:cubicBezTo>
                    <a:pt x="6491567" y="2861677"/>
                    <a:pt x="6477260" y="2875983"/>
                    <a:pt x="6459616" y="2875983"/>
                  </a:cubicBezTo>
                  <a:cubicBezTo>
                    <a:pt x="6441970" y="2875983"/>
                    <a:pt x="6427664" y="2861677"/>
                    <a:pt x="6427664" y="2844032"/>
                  </a:cubicBezTo>
                  <a:cubicBezTo>
                    <a:pt x="6427664" y="2826387"/>
                    <a:pt x="6441970" y="2812081"/>
                    <a:pt x="6459616" y="2812081"/>
                  </a:cubicBezTo>
                  <a:close/>
                  <a:moveTo>
                    <a:pt x="6613200" y="2810266"/>
                  </a:moveTo>
                  <a:cubicBezTo>
                    <a:pt x="6631848" y="2810266"/>
                    <a:pt x="6646966" y="2825384"/>
                    <a:pt x="6646966" y="2844032"/>
                  </a:cubicBezTo>
                  <a:cubicBezTo>
                    <a:pt x="6646966" y="2862684"/>
                    <a:pt x="6631848" y="2877802"/>
                    <a:pt x="6613200" y="2877802"/>
                  </a:cubicBezTo>
                  <a:cubicBezTo>
                    <a:pt x="6594553" y="2877802"/>
                    <a:pt x="6579435" y="2862684"/>
                    <a:pt x="6579435" y="2844032"/>
                  </a:cubicBezTo>
                  <a:cubicBezTo>
                    <a:pt x="6579435" y="2825384"/>
                    <a:pt x="6594553" y="2810266"/>
                    <a:pt x="6613200" y="2810266"/>
                  </a:cubicBezTo>
                  <a:close/>
                  <a:moveTo>
                    <a:pt x="3383934" y="2689722"/>
                  </a:moveTo>
                  <a:cubicBezTo>
                    <a:pt x="3384296" y="2689722"/>
                    <a:pt x="3384296" y="2689722"/>
                    <a:pt x="3384296" y="2690085"/>
                  </a:cubicBezTo>
                  <a:cubicBezTo>
                    <a:pt x="3384296" y="2690447"/>
                    <a:pt x="3383934" y="2690447"/>
                    <a:pt x="3383934" y="2690447"/>
                  </a:cubicBezTo>
                  <a:cubicBezTo>
                    <a:pt x="3383572" y="2690447"/>
                    <a:pt x="3383572" y="2690447"/>
                    <a:pt x="3383572" y="2690085"/>
                  </a:cubicBezTo>
                  <a:cubicBezTo>
                    <a:pt x="3383572" y="2689722"/>
                    <a:pt x="3383572" y="2689722"/>
                    <a:pt x="3383934" y="2689722"/>
                  </a:cubicBezTo>
                  <a:close/>
                  <a:moveTo>
                    <a:pt x="2922458" y="2689722"/>
                  </a:moveTo>
                  <a:cubicBezTo>
                    <a:pt x="2922820" y="2689722"/>
                    <a:pt x="2922820" y="2689722"/>
                    <a:pt x="2922820" y="2690085"/>
                  </a:cubicBezTo>
                  <a:cubicBezTo>
                    <a:pt x="2922820" y="2690447"/>
                    <a:pt x="2922458" y="2690447"/>
                    <a:pt x="2922458" y="2690447"/>
                  </a:cubicBezTo>
                  <a:cubicBezTo>
                    <a:pt x="2922096" y="2690447"/>
                    <a:pt x="2922096" y="2690447"/>
                    <a:pt x="2922096" y="2690085"/>
                  </a:cubicBezTo>
                  <a:cubicBezTo>
                    <a:pt x="2922096" y="2689722"/>
                    <a:pt x="2922096" y="2689722"/>
                    <a:pt x="2922458" y="2689722"/>
                  </a:cubicBezTo>
                  <a:close/>
                  <a:moveTo>
                    <a:pt x="2768873" y="2689722"/>
                  </a:moveTo>
                  <a:cubicBezTo>
                    <a:pt x="2769235" y="2689722"/>
                    <a:pt x="2769235" y="2689722"/>
                    <a:pt x="2769235" y="2690085"/>
                  </a:cubicBezTo>
                  <a:cubicBezTo>
                    <a:pt x="2769235" y="2690447"/>
                    <a:pt x="2768873" y="2690447"/>
                    <a:pt x="2768873" y="2690447"/>
                  </a:cubicBezTo>
                  <a:cubicBezTo>
                    <a:pt x="2768511" y="2690447"/>
                    <a:pt x="2768511" y="2690447"/>
                    <a:pt x="2768511" y="2690085"/>
                  </a:cubicBezTo>
                  <a:cubicBezTo>
                    <a:pt x="2768511" y="2689722"/>
                    <a:pt x="2768511" y="2689722"/>
                    <a:pt x="2768873" y="2689722"/>
                  </a:cubicBezTo>
                  <a:close/>
                  <a:moveTo>
                    <a:pt x="2614925" y="2689357"/>
                  </a:moveTo>
                  <a:cubicBezTo>
                    <a:pt x="2615291" y="2689357"/>
                    <a:pt x="2615654" y="2689719"/>
                    <a:pt x="2615654" y="2690081"/>
                  </a:cubicBezTo>
                  <a:cubicBezTo>
                    <a:pt x="2615654" y="2690447"/>
                    <a:pt x="2614925" y="2690809"/>
                    <a:pt x="2614925" y="2690809"/>
                  </a:cubicBezTo>
                  <a:cubicBezTo>
                    <a:pt x="2614563" y="2690809"/>
                    <a:pt x="2614201" y="2690447"/>
                    <a:pt x="2614201" y="2690081"/>
                  </a:cubicBezTo>
                  <a:cubicBezTo>
                    <a:pt x="2614201" y="2689719"/>
                    <a:pt x="2614563" y="2689357"/>
                    <a:pt x="2614925" y="2689357"/>
                  </a:cubicBezTo>
                  <a:close/>
                  <a:moveTo>
                    <a:pt x="3537886" y="2688633"/>
                  </a:moveTo>
                  <a:cubicBezTo>
                    <a:pt x="3538690" y="2688633"/>
                    <a:pt x="3539338" y="2689284"/>
                    <a:pt x="3539338" y="2690085"/>
                  </a:cubicBezTo>
                  <a:cubicBezTo>
                    <a:pt x="3539338" y="2690885"/>
                    <a:pt x="3538690" y="2691537"/>
                    <a:pt x="3537886" y="2691537"/>
                  </a:cubicBezTo>
                  <a:cubicBezTo>
                    <a:pt x="3537085" y="2691537"/>
                    <a:pt x="3536433" y="2690885"/>
                    <a:pt x="3536433" y="2690085"/>
                  </a:cubicBezTo>
                  <a:cubicBezTo>
                    <a:pt x="3536433" y="2689284"/>
                    <a:pt x="3537085" y="2688633"/>
                    <a:pt x="3537886" y="2688633"/>
                  </a:cubicBezTo>
                  <a:close/>
                  <a:moveTo>
                    <a:pt x="3691471" y="2687904"/>
                  </a:moveTo>
                  <a:cubicBezTo>
                    <a:pt x="3692672" y="2687904"/>
                    <a:pt x="3693647" y="2688880"/>
                    <a:pt x="3693647" y="2690081"/>
                  </a:cubicBezTo>
                  <a:cubicBezTo>
                    <a:pt x="3693647" y="2691286"/>
                    <a:pt x="3692672" y="2692261"/>
                    <a:pt x="3691471" y="2692261"/>
                  </a:cubicBezTo>
                  <a:cubicBezTo>
                    <a:pt x="3690266" y="2692261"/>
                    <a:pt x="3689290" y="2691286"/>
                    <a:pt x="3689290" y="2690081"/>
                  </a:cubicBezTo>
                  <a:cubicBezTo>
                    <a:pt x="3689290" y="2688880"/>
                    <a:pt x="3690266" y="2687904"/>
                    <a:pt x="3691471" y="2687904"/>
                  </a:cubicBezTo>
                  <a:close/>
                  <a:moveTo>
                    <a:pt x="3845414" y="2686818"/>
                  </a:moveTo>
                  <a:cubicBezTo>
                    <a:pt x="3847229" y="2686818"/>
                    <a:pt x="3848681" y="2688270"/>
                    <a:pt x="3848681" y="2690085"/>
                  </a:cubicBezTo>
                  <a:cubicBezTo>
                    <a:pt x="3848681" y="2691899"/>
                    <a:pt x="3847229" y="2693355"/>
                    <a:pt x="3845414" y="2693355"/>
                  </a:cubicBezTo>
                  <a:cubicBezTo>
                    <a:pt x="3843600" y="2693355"/>
                    <a:pt x="3842148" y="2691899"/>
                    <a:pt x="3842148" y="2690085"/>
                  </a:cubicBezTo>
                  <a:cubicBezTo>
                    <a:pt x="3842148" y="2688270"/>
                    <a:pt x="3843600" y="2686818"/>
                    <a:pt x="3845414" y="2686818"/>
                  </a:cubicBezTo>
                  <a:close/>
                  <a:moveTo>
                    <a:pt x="3999000" y="2685728"/>
                  </a:moveTo>
                  <a:cubicBezTo>
                    <a:pt x="4001542" y="2685728"/>
                    <a:pt x="4003356" y="2687542"/>
                    <a:pt x="4003356" y="2690085"/>
                  </a:cubicBezTo>
                  <a:cubicBezTo>
                    <a:pt x="4003356" y="2692627"/>
                    <a:pt x="4001176" y="2694442"/>
                    <a:pt x="3999000" y="2694442"/>
                  </a:cubicBezTo>
                  <a:cubicBezTo>
                    <a:pt x="3996457" y="2694442"/>
                    <a:pt x="3994642" y="2692627"/>
                    <a:pt x="3994642" y="2690085"/>
                  </a:cubicBezTo>
                  <a:cubicBezTo>
                    <a:pt x="3994642" y="2687542"/>
                    <a:pt x="3996457" y="2685728"/>
                    <a:pt x="3999000" y="2685728"/>
                  </a:cubicBezTo>
                  <a:close/>
                  <a:moveTo>
                    <a:pt x="4152947" y="2684275"/>
                  </a:moveTo>
                  <a:cubicBezTo>
                    <a:pt x="4156156" y="2684275"/>
                    <a:pt x="4158756" y="2686875"/>
                    <a:pt x="4158756" y="2690085"/>
                  </a:cubicBezTo>
                  <a:cubicBezTo>
                    <a:pt x="4158756" y="2693294"/>
                    <a:pt x="4156156" y="2695894"/>
                    <a:pt x="4152947" y="2695894"/>
                  </a:cubicBezTo>
                  <a:cubicBezTo>
                    <a:pt x="4149738" y="2695894"/>
                    <a:pt x="4147138" y="2693294"/>
                    <a:pt x="4147138" y="2690085"/>
                  </a:cubicBezTo>
                  <a:cubicBezTo>
                    <a:pt x="4147138" y="2686875"/>
                    <a:pt x="4149738" y="2684275"/>
                    <a:pt x="4152947" y="2684275"/>
                  </a:cubicBezTo>
                  <a:close/>
                  <a:moveTo>
                    <a:pt x="4306532" y="2682823"/>
                  </a:moveTo>
                  <a:cubicBezTo>
                    <a:pt x="4310527" y="2682823"/>
                    <a:pt x="4313794" y="2686090"/>
                    <a:pt x="4313794" y="2690085"/>
                  </a:cubicBezTo>
                  <a:cubicBezTo>
                    <a:pt x="4313794" y="2694079"/>
                    <a:pt x="4310527" y="2697346"/>
                    <a:pt x="4306532" y="2697346"/>
                  </a:cubicBezTo>
                  <a:cubicBezTo>
                    <a:pt x="4302538" y="2697346"/>
                    <a:pt x="4299270" y="2694079"/>
                    <a:pt x="4299270" y="2690085"/>
                  </a:cubicBezTo>
                  <a:cubicBezTo>
                    <a:pt x="4299270" y="2686090"/>
                    <a:pt x="4302538" y="2682823"/>
                    <a:pt x="4306532" y="2682823"/>
                  </a:cubicBezTo>
                  <a:close/>
                  <a:moveTo>
                    <a:pt x="4460480" y="2681005"/>
                  </a:moveTo>
                  <a:cubicBezTo>
                    <a:pt x="4465564" y="2681005"/>
                    <a:pt x="4469560" y="2685000"/>
                    <a:pt x="4469560" y="2690081"/>
                  </a:cubicBezTo>
                  <a:cubicBezTo>
                    <a:pt x="4469560" y="2695166"/>
                    <a:pt x="4465564" y="2699161"/>
                    <a:pt x="4460480" y="2699161"/>
                  </a:cubicBezTo>
                  <a:cubicBezTo>
                    <a:pt x="4455398" y="2699161"/>
                    <a:pt x="4451404" y="2695166"/>
                    <a:pt x="4451404" y="2690081"/>
                  </a:cubicBezTo>
                  <a:cubicBezTo>
                    <a:pt x="4451404" y="2685000"/>
                    <a:pt x="4455398" y="2681005"/>
                    <a:pt x="4460480" y="2681005"/>
                  </a:cubicBezTo>
                  <a:close/>
                  <a:moveTo>
                    <a:pt x="4614061" y="2679918"/>
                  </a:moveTo>
                  <a:cubicBezTo>
                    <a:pt x="4619508" y="2679918"/>
                    <a:pt x="4624228" y="2684638"/>
                    <a:pt x="4624228" y="2690085"/>
                  </a:cubicBezTo>
                  <a:cubicBezTo>
                    <a:pt x="4624228" y="2695532"/>
                    <a:pt x="4619870" y="2700251"/>
                    <a:pt x="4614061" y="2700251"/>
                  </a:cubicBezTo>
                  <a:cubicBezTo>
                    <a:pt x="4608614" y="2700251"/>
                    <a:pt x="4603895" y="2695532"/>
                    <a:pt x="4603895" y="2690085"/>
                  </a:cubicBezTo>
                  <a:cubicBezTo>
                    <a:pt x="4603895" y="2684638"/>
                    <a:pt x="4608614" y="2679918"/>
                    <a:pt x="4614061" y="2679918"/>
                  </a:cubicBezTo>
                  <a:close/>
                  <a:moveTo>
                    <a:pt x="4768008" y="2678104"/>
                  </a:moveTo>
                  <a:cubicBezTo>
                    <a:pt x="4774546" y="2678104"/>
                    <a:pt x="4779993" y="2683551"/>
                    <a:pt x="4779993" y="2690085"/>
                  </a:cubicBezTo>
                  <a:cubicBezTo>
                    <a:pt x="4779993" y="2696622"/>
                    <a:pt x="4774546" y="2702065"/>
                    <a:pt x="4768008" y="2702065"/>
                  </a:cubicBezTo>
                  <a:cubicBezTo>
                    <a:pt x="4761475" y="2702065"/>
                    <a:pt x="4756028" y="2696622"/>
                    <a:pt x="4756028" y="2690085"/>
                  </a:cubicBezTo>
                  <a:cubicBezTo>
                    <a:pt x="4756028" y="2683551"/>
                    <a:pt x="4761475" y="2678104"/>
                    <a:pt x="4768008" y="2678104"/>
                  </a:cubicBezTo>
                  <a:close/>
                  <a:moveTo>
                    <a:pt x="4921598" y="2676286"/>
                  </a:moveTo>
                  <a:cubicBezTo>
                    <a:pt x="4929222" y="2676286"/>
                    <a:pt x="4935393" y="2682457"/>
                    <a:pt x="4935393" y="2690081"/>
                  </a:cubicBezTo>
                  <a:cubicBezTo>
                    <a:pt x="4935393" y="2697709"/>
                    <a:pt x="4929222" y="2703880"/>
                    <a:pt x="4921598" y="2703880"/>
                  </a:cubicBezTo>
                  <a:cubicBezTo>
                    <a:pt x="4913970" y="2703880"/>
                    <a:pt x="4907798" y="2697709"/>
                    <a:pt x="4907798" y="2690081"/>
                  </a:cubicBezTo>
                  <a:cubicBezTo>
                    <a:pt x="4907798" y="2682457"/>
                    <a:pt x="4913970" y="2676286"/>
                    <a:pt x="4921598" y="2676286"/>
                  </a:cubicBezTo>
                  <a:close/>
                  <a:moveTo>
                    <a:pt x="5075545" y="2674833"/>
                  </a:moveTo>
                  <a:cubicBezTo>
                    <a:pt x="5083893" y="2674833"/>
                    <a:pt x="5090792" y="2681733"/>
                    <a:pt x="5090792" y="2690081"/>
                  </a:cubicBezTo>
                  <a:cubicBezTo>
                    <a:pt x="5090792" y="2698433"/>
                    <a:pt x="5083893" y="2705332"/>
                    <a:pt x="5075545" y="2705332"/>
                  </a:cubicBezTo>
                  <a:cubicBezTo>
                    <a:pt x="5067193" y="2705332"/>
                    <a:pt x="5060294" y="2698433"/>
                    <a:pt x="5060294" y="2690081"/>
                  </a:cubicBezTo>
                  <a:cubicBezTo>
                    <a:pt x="5060294" y="2681733"/>
                    <a:pt x="5067193" y="2674833"/>
                    <a:pt x="5075545" y="2674833"/>
                  </a:cubicBezTo>
                  <a:close/>
                  <a:moveTo>
                    <a:pt x="5229126" y="2673019"/>
                  </a:moveTo>
                  <a:cubicBezTo>
                    <a:pt x="5238564" y="2673019"/>
                    <a:pt x="5246192" y="2680643"/>
                    <a:pt x="5246192" y="2690085"/>
                  </a:cubicBezTo>
                  <a:cubicBezTo>
                    <a:pt x="5246192" y="2699523"/>
                    <a:pt x="5238564" y="2707147"/>
                    <a:pt x="5229126" y="2707147"/>
                  </a:cubicBezTo>
                  <a:cubicBezTo>
                    <a:pt x="5219684" y="2707147"/>
                    <a:pt x="5212060" y="2699523"/>
                    <a:pt x="5212060" y="2690085"/>
                  </a:cubicBezTo>
                  <a:cubicBezTo>
                    <a:pt x="5212060" y="2680643"/>
                    <a:pt x="5219684" y="2673019"/>
                    <a:pt x="5229126" y="2673019"/>
                  </a:cubicBezTo>
                  <a:close/>
                  <a:moveTo>
                    <a:pt x="5383074" y="2670842"/>
                  </a:moveTo>
                  <a:cubicBezTo>
                    <a:pt x="5393705" y="2670842"/>
                    <a:pt x="5402320" y="2679457"/>
                    <a:pt x="5402320" y="2690085"/>
                  </a:cubicBezTo>
                  <a:cubicBezTo>
                    <a:pt x="5402320" y="2700712"/>
                    <a:pt x="5393705" y="2709327"/>
                    <a:pt x="5383074" y="2709327"/>
                  </a:cubicBezTo>
                  <a:cubicBezTo>
                    <a:pt x="5372446" y="2709327"/>
                    <a:pt x="5363832" y="2700712"/>
                    <a:pt x="5363832" y="2690085"/>
                  </a:cubicBezTo>
                  <a:cubicBezTo>
                    <a:pt x="5363832" y="2679457"/>
                    <a:pt x="5372446" y="2670842"/>
                    <a:pt x="5383074" y="2670842"/>
                  </a:cubicBezTo>
                  <a:close/>
                  <a:moveTo>
                    <a:pt x="5536656" y="2668662"/>
                  </a:moveTo>
                  <a:cubicBezTo>
                    <a:pt x="5548488" y="2668662"/>
                    <a:pt x="5558078" y="2678252"/>
                    <a:pt x="5558078" y="2690085"/>
                  </a:cubicBezTo>
                  <a:cubicBezTo>
                    <a:pt x="5558078" y="2701913"/>
                    <a:pt x="5548488" y="2711504"/>
                    <a:pt x="5536656" y="2711504"/>
                  </a:cubicBezTo>
                  <a:cubicBezTo>
                    <a:pt x="5524827" y="2711504"/>
                    <a:pt x="5515232" y="2701913"/>
                    <a:pt x="5515232" y="2690085"/>
                  </a:cubicBezTo>
                  <a:cubicBezTo>
                    <a:pt x="5515232" y="2678252"/>
                    <a:pt x="5524827" y="2668662"/>
                    <a:pt x="5536656" y="2668662"/>
                  </a:cubicBezTo>
                  <a:close/>
                  <a:moveTo>
                    <a:pt x="5690606" y="2667209"/>
                  </a:moveTo>
                  <a:cubicBezTo>
                    <a:pt x="5703239" y="2667209"/>
                    <a:pt x="5713482" y="2677452"/>
                    <a:pt x="5713482" y="2690085"/>
                  </a:cubicBezTo>
                  <a:cubicBezTo>
                    <a:pt x="5713482" y="2702717"/>
                    <a:pt x="5703239" y="2712956"/>
                    <a:pt x="5690606" y="2712956"/>
                  </a:cubicBezTo>
                  <a:cubicBezTo>
                    <a:pt x="5677974" y="2712956"/>
                    <a:pt x="5667732" y="2702717"/>
                    <a:pt x="5667732" y="2690085"/>
                  </a:cubicBezTo>
                  <a:cubicBezTo>
                    <a:pt x="5667732" y="2677452"/>
                    <a:pt x="5677974" y="2667209"/>
                    <a:pt x="5690606" y="2667209"/>
                  </a:cubicBezTo>
                  <a:close/>
                  <a:moveTo>
                    <a:pt x="5844550" y="2665033"/>
                  </a:moveTo>
                  <a:cubicBezTo>
                    <a:pt x="5858388" y="2665033"/>
                    <a:pt x="5869606" y="2676247"/>
                    <a:pt x="5869606" y="2690085"/>
                  </a:cubicBezTo>
                  <a:cubicBezTo>
                    <a:pt x="5869606" y="2703922"/>
                    <a:pt x="5858388" y="2715136"/>
                    <a:pt x="5844550" y="2715136"/>
                  </a:cubicBezTo>
                  <a:cubicBezTo>
                    <a:pt x="5830713" y="2715136"/>
                    <a:pt x="5819498" y="2703922"/>
                    <a:pt x="5819498" y="2690085"/>
                  </a:cubicBezTo>
                  <a:cubicBezTo>
                    <a:pt x="5819498" y="2676247"/>
                    <a:pt x="5830713" y="2665033"/>
                    <a:pt x="5844550" y="2665033"/>
                  </a:cubicBezTo>
                  <a:close/>
                  <a:moveTo>
                    <a:pt x="5998139" y="2662852"/>
                  </a:moveTo>
                  <a:cubicBezTo>
                    <a:pt x="6013024" y="2662852"/>
                    <a:pt x="6025372" y="2675199"/>
                    <a:pt x="6025372" y="2690085"/>
                  </a:cubicBezTo>
                  <a:cubicBezTo>
                    <a:pt x="6025372" y="2704970"/>
                    <a:pt x="6013390" y="2717317"/>
                    <a:pt x="5998139" y="2717317"/>
                  </a:cubicBezTo>
                  <a:cubicBezTo>
                    <a:pt x="5983254" y="2717317"/>
                    <a:pt x="5970907" y="2704970"/>
                    <a:pt x="5970907" y="2690085"/>
                  </a:cubicBezTo>
                  <a:cubicBezTo>
                    <a:pt x="5970907" y="2675199"/>
                    <a:pt x="5983254" y="2662852"/>
                    <a:pt x="5998139" y="2662852"/>
                  </a:cubicBezTo>
                  <a:close/>
                  <a:moveTo>
                    <a:pt x="6152083" y="2660310"/>
                  </a:moveTo>
                  <a:cubicBezTo>
                    <a:pt x="6168528" y="2660310"/>
                    <a:pt x="6181858" y="2673640"/>
                    <a:pt x="6181858" y="2690081"/>
                  </a:cubicBezTo>
                  <a:cubicBezTo>
                    <a:pt x="6181858" y="2706525"/>
                    <a:pt x="6168528" y="2719856"/>
                    <a:pt x="6152083" y="2719856"/>
                  </a:cubicBezTo>
                  <a:cubicBezTo>
                    <a:pt x="6135642" y="2719856"/>
                    <a:pt x="6122312" y="2706525"/>
                    <a:pt x="6122312" y="2690081"/>
                  </a:cubicBezTo>
                  <a:cubicBezTo>
                    <a:pt x="6122312" y="2673640"/>
                    <a:pt x="6135642" y="2660310"/>
                    <a:pt x="6152083" y="2660310"/>
                  </a:cubicBezTo>
                  <a:close/>
                  <a:moveTo>
                    <a:pt x="6305668" y="2658133"/>
                  </a:moveTo>
                  <a:cubicBezTo>
                    <a:pt x="6323317" y="2658133"/>
                    <a:pt x="6337620" y="2672439"/>
                    <a:pt x="6337620" y="2690085"/>
                  </a:cubicBezTo>
                  <a:cubicBezTo>
                    <a:pt x="6337620" y="2707730"/>
                    <a:pt x="6323317" y="2722036"/>
                    <a:pt x="6305668" y="2722036"/>
                  </a:cubicBezTo>
                  <a:cubicBezTo>
                    <a:pt x="6288022" y="2722036"/>
                    <a:pt x="6273716" y="2707730"/>
                    <a:pt x="6273716" y="2690085"/>
                  </a:cubicBezTo>
                  <a:cubicBezTo>
                    <a:pt x="6273716" y="2672439"/>
                    <a:pt x="6288022" y="2658133"/>
                    <a:pt x="6305668" y="2658133"/>
                  </a:cubicBezTo>
                  <a:close/>
                  <a:moveTo>
                    <a:pt x="6459616" y="2656319"/>
                  </a:moveTo>
                  <a:cubicBezTo>
                    <a:pt x="6478263" y="2656319"/>
                    <a:pt x="6493385" y="2671437"/>
                    <a:pt x="6493385" y="2690085"/>
                  </a:cubicBezTo>
                  <a:cubicBezTo>
                    <a:pt x="6493385" y="2708736"/>
                    <a:pt x="6478263" y="2723850"/>
                    <a:pt x="6459616" y="2723850"/>
                  </a:cubicBezTo>
                  <a:cubicBezTo>
                    <a:pt x="6440968" y="2723850"/>
                    <a:pt x="6425850" y="2708736"/>
                    <a:pt x="6425850" y="2690085"/>
                  </a:cubicBezTo>
                  <a:cubicBezTo>
                    <a:pt x="6425850" y="2671437"/>
                    <a:pt x="6440968" y="2656319"/>
                    <a:pt x="6459616" y="2656319"/>
                  </a:cubicBezTo>
                  <a:close/>
                  <a:moveTo>
                    <a:pt x="6613200" y="2653777"/>
                  </a:moveTo>
                  <a:cubicBezTo>
                    <a:pt x="6633255" y="2653777"/>
                    <a:pt x="6649509" y="2670030"/>
                    <a:pt x="6649509" y="2690085"/>
                  </a:cubicBezTo>
                  <a:cubicBezTo>
                    <a:pt x="6649509" y="2710135"/>
                    <a:pt x="6633255" y="2726393"/>
                    <a:pt x="6613200" y="2726393"/>
                  </a:cubicBezTo>
                  <a:cubicBezTo>
                    <a:pt x="6593146" y="2726393"/>
                    <a:pt x="6576892" y="2710135"/>
                    <a:pt x="6576892" y="2690085"/>
                  </a:cubicBezTo>
                  <a:cubicBezTo>
                    <a:pt x="6576892" y="2670030"/>
                    <a:pt x="6593146" y="2653777"/>
                    <a:pt x="6613200" y="2653777"/>
                  </a:cubicBezTo>
                  <a:close/>
                  <a:moveTo>
                    <a:pt x="3230349" y="2536137"/>
                  </a:moveTo>
                  <a:cubicBezTo>
                    <a:pt x="3230715" y="2536137"/>
                    <a:pt x="3230715" y="2536137"/>
                    <a:pt x="3230715" y="2536499"/>
                  </a:cubicBezTo>
                  <a:cubicBezTo>
                    <a:pt x="3230715" y="2536866"/>
                    <a:pt x="3230349" y="2536866"/>
                    <a:pt x="3230349" y="2536866"/>
                  </a:cubicBezTo>
                  <a:cubicBezTo>
                    <a:pt x="3229987" y="2536866"/>
                    <a:pt x="3229987" y="2536866"/>
                    <a:pt x="3229987" y="2536499"/>
                  </a:cubicBezTo>
                  <a:cubicBezTo>
                    <a:pt x="3229987" y="2536137"/>
                    <a:pt x="3229987" y="2536137"/>
                    <a:pt x="3230349" y="2536137"/>
                  </a:cubicBezTo>
                  <a:close/>
                  <a:moveTo>
                    <a:pt x="2768873" y="2536137"/>
                  </a:moveTo>
                  <a:cubicBezTo>
                    <a:pt x="2769235" y="2536137"/>
                    <a:pt x="2769235" y="2536137"/>
                    <a:pt x="2769235" y="2536499"/>
                  </a:cubicBezTo>
                  <a:cubicBezTo>
                    <a:pt x="2769235" y="2536866"/>
                    <a:pt x="2768873" y="2536866"/>
                    <a:pt x="2768873" y="2536866"/>
                  </a:cubicBezTo>
                  <a:cubicBezTo>
                    <a:pt x="2768511" y="2536866"/>
                    <a:pt x="2768511" y="2536866"/>
                    <a:pt x="2768511" y="2536499"/>
                  </a:cubicBezTo>
                  <a:cubicBezTo>
                    <a:pt x="2768511" y="2536137"/>
                    <a:pt x="2768511" y="2536137"/>
                    <a:pt x="2768873" y="2536137"/>
                  </a:cubicBezTo>
                  <a:close/>
                  <a:moveTo>
                    <a:pt x="2614925" y="2536137"/>
                  </a:moveTo>
                  <a:cubicBezTo>
                    <a:pt x="2615288" y="2536137"/>
                    <a:pt x="2615288" y="2536137"/>
                    <a:pt x="2615288" y="2536499"/>
                  </a:cubicBezTo>
                  <a:cubicBezTo>
                    <a:pt x="2615288" y="2536866"/>
                    <a:pt x="2614925" y="2536866"/>
                    <a:pt x="2614925" y="2536866"/>
                  </a:cubicBezTo>
                  <a:cubicBezTo>
                    <a:pt x="2614563" y="2536866"/>
                    <a:pt x="2614563" y="2536866"/>
                    <a:pt x="2614563" y="2536499"/>
                  </a:cubicBezTo>
                  <a:cubicBezTo>
                    <a:pt x="2614563" y="2536137"/>
                    <a:pt x="2614563" y="2536137"/>
                    <a:pt x="2614925" y="2536137"/>
                  </a:cubicBezTo>
                  <a:close/>
                  <a:moveTo>
                    <a:pt x="2461344" y="2535771"/>
                  </a:moveTo>
                  <a:cubicBezTo>
                    <a:pt x="2461706" y="2535771"/>
                    <a:pt x="2462068" y="2536133"/>
                    <a:pt x="2462068" y="2536499"/>
                  </a:cubicBezTo>
                  <a:cubicBezTo>
                    <a:pt x="2462068" y="2536862"/>
                    <a:pt x="2461344" y="2537224"/>
                    <a:pt x="2461344" y="2537224"/>
                  </a:cubicBezTo>
                  <a:cubicBezTo>
                    <a:pt x="2460978" y="2537224"/>
                    <a:pt x="2460616" y="2536862"/>
                    <a:pt x="2460616" y="2536499"/>
                  </a:cubicBezTo>
                  <a:cubicBezTo>
                    <a:pt x="2460616" y="2536133"/>
                    <a:pt x="2460978" y="2535771"/>
                    <a:pt x="2461344" y="2535771"/>
                  </a:cubicBezTo>
                  <a:close/>
                  <a:moveTo>
                    <a:pt x="3383938" y="2535047"/>
                  </a:moveTo>
                  <a:cubicBezTo>
                    <a:pt x="3384738" y="2535047"/>
                    <a:pt x="3385390" y="2535699"/>
                    <a:pt x="3385390" y="2536499"/>
                  </a:cubicBezTo>
                  <a:cubicBezTo>
                    <a:pt x="3385390" y="2537300"/>
                    <a:pt x="3384738" y="2537952"/>
                    <a:pt x="3383938" y="2537952"/>
                  </a:cubicBezTo>
                  <a:cubicBezTo>
                    <a:pt x="3383134" y="2537952"/>
                    <a:pt x="3382486" y="2537300"/>
                    <a:pt x="3382486" y="2536499"/>
                  </a:cubicBezTo>
                  <a:cubicBezTo>
                    <a:pt x="3382486" y="2535699"/>
                    <a:pt x="3383134" y="2535047"/>
                    <a:pt x="3383938" y="2535047"/>
                  </a:cubicBezTo>
                  <a:close/>
                  <a:moveTo>
                    <a:pt x="3537886" y="2534323"/>
                  </a:moveTo>
                  <a:cubicBezTo>
                    <a:pt x="3539086" y="2534323"/>
                    <a:pt x="3540062" y="2535299"/>
                    <a:pt x="3540062" y="2536503"/>
                  </a:cubicBezTo>
                  <a:cubicBezTo>
                    <a:pt x="3540062" y="2537704"/>
                    <a:pt x="3539086" y="2538680"/>
                    <a:pt x="3537886" y="2538680"/>
                  </a:cubicBezTo>
                  <a:cubicBezTo>
                    <a:pt x="3536681" y="2538680"/>
                    <a:pt x="3535705" y="2537704"/>
                    <a:pt x="3535705" y="2536503"/>
                  </a:cubicBezTo>
                  <a:cubicBezTo>
                    <a:pt x="3535705" y="2535299"/>
                    <a:pt x="3536681" y="2534323"/>
                    <a:pt x="3537886" y="2534323"/>
                  </a:cubicBezTo>
                  <a:close/>
                  <a:moveTo>
                    <a:pt x="3691467" y="2533233"/>
                  </a:moveTo>
                  <a:cubicBezTo>
                    <a:pt x="3693285" y="2533233"/>
                    <a:pt x="3694738" y="2534685"/>
                    <a:pt x="3694738" y="2536499"/>
                  </a:cubicBezTo>
                  <a:cubicBezTo>
                    <a:pt x="3694738" y="2538318"/>
                    <a:pt x="3693285" y="2539770"/>
                    <a:pt x="3691467" y="2539770"/>
                  </a:cubicBezTo>
                  <a:cubicBezTo>
                    <a:pt x="3689652" y="2539770"/>
                    <a:pt x="3688200" y="2538318"/>
                    <a:pt x="3688200" y="2536499"/>
                  </a:cubicBezTo>
                  <a:cubicBezTo>
                    <a:pt x="3688200" y="2534685"/>
                    <a:pt x="3689652" y="2533233"/>
                    <a:pt x="3691467" y="2533233"/>
                  </a:cubicBezTo>
                  <a:close/>
                  <a:moveTo>
                    <a:pt x="3845414" y="2531780"/>
                  </a:moveTo>
                  <a:cubicBezTo>
                    <a:pt x="3847957" y="2531780"/>
                    <a:pt x="3849771" y="2533595"/>
                    <a:pt x="3849771" y="2536137"/>
                  </a:cubicBezTo>
                  <a:cubicBezTo>
                    <a:pt x="3849771" y="2538680"/>
                    <a:pt x="3847591" y="2540494"/>
                    <a:pt x="3845414" y="2540494"/>
                  </a:cubicBezTo>
                  <a:cubicBezTo>
                    <a:pt x="3842872" y="2540494"/>
                    <a:pt x="3841057" y="2538680"/>
                    <a:pt x="3841057" y="2536137"/>
                  </a:cubicBezTo>
                  <a:cubicBezTo>
                    <a:pt x="3841057" y="2533595"/>
                    <a:pt x="3842872" y="2531780"/>
                    <a:pt x="3845414" y="2531780"/>
                  </a:cubicBezTo>
                  <a:close/>
                  <a:moveTo>
                    <a:pt x="3999000" y="2530690"/>
                  </a:moveTo>
                  <a:cubicBezTo>
                    <a:pt x="4002209" y="2530690"/>
                    <a:pt x="4004809" y="2533290"/>
                    <a:pt x="4004809" y="2536499"/>
                  </a:cubicBezTo>
                  <a:cubicBezTo>
                    <a:pt x="4004809" y="2539709"/>
                    <a:pt x="4002209" y="2542309"/>
                    <a:pt x="3999000" y="2542309"/>
                  </a:cubicBezTo>
                  <a:cubicBezTo>
                    <a:pt x="3995790" y="2542309"/>
                    <a:pt x="3993190" y="2539709"/>
                    <a:pt x="3993190" y="2536499"/>
                  </a:cubicBezTo>
                  <a:cubicBezTo>
                    <a:pt x="3993190" y="2533290"/>
                    <a:pt x="3995790" y="2530690"/>
                    <a:pt x="3999000" y="2530690"/>
                  </a:cubicBezTo>
                  <a:close/>
                  <a:moveTo>
                    <a:pt x="4152947" y="2528876"/>
                  </a:moveTo>
                  <a:cubicBezTo>
                    <a:pt x="4156942" y="2528876"/>
                    <a:pt x="4160208" y="2532142"/>
                    <a:pt x="4160208" y="2536137"/>
                  </a:cubicBezTo>
                  <a:cubicBezTo>
                    <a:pt x="4160208" y="2540132"/>
                    <a:pt x="4156942" y="2543399"/>
                    <a:pt x="4152947" y="2543399"/>
                  </a:cubicBezTo>
                  <a:cubicBezTo>
                    <a:pt x="4148952" y="2543399"/>
                    <a:pt x="4145686" y="2540132"/>
                    <a:pt x="4145686" y="2536137"/>
                  </a:cubicBezTo>
                  <a:cubicBezTo>
                    <a:pt x="4145686" y="2532142"/>
                    <a:pt x="4148952" y="2528876"/>
                    <a:pt x="4152947" y="2528876"/>
                  </a:cubicBezTo>
                  <a:close/>
                  <a:moveTo>
                    <a:pt x="4306528" y="2527058"/>
                  </a:moveTo>
                  <a:cubicBezTo>
                    <a:pt x="4311614" y="2527058"/>
                    <a:pt x="4315608" y="2531052"/>
                    <a:pt x="4315608" y="2536133"/>
                  </a:cubicBezTo>
                  <a:cubicBezTo>
                    <a:pt x="4315608" y="2541218"/>
                    <a:pt x="4311614" y="2545213"/>
                    <a:pt x="4306528" y="2545213"/>
                  </a:cubicBezTo>
                  <a:cubicBezTo>
                    <a:pt x="4301447" y="2545213"/>
                    <a:pt x="4297452" y="2541218"/>
                    <a:pt x="4297452" y="2536133"/>
                  </a:cubicBezTo>
                  <a:cubicBezTo>
                    <a:pt x="4297452" y="2531052"/>
                    <a:pt x="4301447" y="2527058"/>
                    <a:pt x="4306528" y="2527058"/>
                  </a:cubicBezTo>
                  <a:close/>
                  <a:moveTo>
                    <a:pt x="4460480" y="2526333"/>
                  </a:moveTo>
                  <a:cubicBezTo>
                    <a:pt x="4465927" y="2526333"/>
                    <a:pt x="4470646" y="2531052"/>
                    <a:pt x="4470646" y="2536499"/>
                  </a:cubicBezTo>
                  <a:cubicBezTo>
                    <a:pt x="4470646" y="2541947"/>
                    <a:pt x="4466289" y="2546666"/>
                    <a:pt x="4460480" y="2546666"/>
                  </a:cubicBezTo>
                  <a:cubicBezTo>
                    <a:pt x="4455032" y="2546666"/>
                    <a:pt x="4450314" y="2541947"/>
                    <a:pt x="4450314" y="2536499"/>
                  </a:cubicBezTo>
                  <a:cubicBezTo>
                    <a:pt x="4450314" y="2531052"/>
                    <a:pt x="4455032" y="2526333"/>
                    <a:pt x="4460480" y="2526333"/>
                  </a:cubicBezTo>
                  <a:close/>
                  <a:moveTo>
                    <a:pt x="4614061" y="2524153"/>
                  </a:moveTo>
                  <a:cubicBezTo>
                    <a:pt x="4620598" y="2524153"/>
                    <a:pt x="4626046" y="2529600"/>
                    <a:pt x="4626046" y="2536133"/>
                  </a:cubicBezTo>
                  <a:cubicBezTo>
                    <a:pt x="4626046" y="2542671"/>
                    <a:pt x="4620598" y="2548118"/>
                    <a:pt x="4614061" y="2548118"/>
                  </a:cubicBezTo>
                  <a:cubicBezTo>
                    <a:pt x="4607528" y="2548118"/>
                    <a:pt x="4602080" y="2542671"/>
                    <a:pt x="4602080" y="2536133"/>
                  </a:cubicBezTo>
                  <a:cubicBezTo>
                    <a:pt x="4602080" y="2529600"/>
                    <a:pt x="4607528" y="2524153"/>
                    <a:pt x="4614061" y="2524153"/>
                  </a:cubicBezTo>
                  <a:close/>
                  <a:moveTo>
                    <a:pt x="4768012" y="2522338"/>
                  </a:moveTo>
                  <a:cubicBezTo>
                    <a:pt x="4775636" y="2522338"/>
                    <a:pt x="4781808" y="2528510"/>
                    <a:pt x="4781808" y="2536133"/>
                  </a:cubicBezTo>
                  <a:cubicBezTo>
                    <a:pt x="4781808" y="2543761"/>
                    <a:pt x="4775636" y="2549933"/>
                    <a:pt x="4768012" y="2549933"/>
                  </a:cubicBezTo>
                  <a:cubicBezTo>
                    <a:pt x="4760384" y="2549933"/>
                    <a:pt x="4754214" y="2543761"/>
                    <a:pt x="4754214" y="2536133"/>
                  </a:cubicBezTo>
                  <a:cubicBezTo>
                    <a:pt x="4754214" y="2528510"/>
                    <a:pt x="4760384" y="2522338"/>
                    <a:pt x="4768012" y="2522338"/>
                  </a:cubicBezTo>
                  <a:close/>
                  <a:moveTo>
                    <a:pt x="4921594" y="2521252"/>
                  </a:moveTo>
                  <a:cubicBezTo>
                    <a:pt x="4930018" y="2521252"/>
                    <a:pt x="4936845" y="2528079"/>
                    <a:pt x="4936845" y="2536503"/>
                  </a:cubicBezTo>
                  <a:cubicBezTo>
                    <a:pt x="4936845" y="2544924"/>
                    <a:pt x="4930018" y="2551751"/>
                    <a:pt x="4921594" y="2551751"/>
                  </a:cubicBezTo>
                  <a:cubicBezTo>
                    <a:pt x="4913174" y="2551751"/>
                    <a:pt x="4906346" y="2544924"/>
                    <a:pt x="4906346" y="2536503"/>
                  </a:cubicBezTo>
                  <a:cubicBezTo>
                    <a:pt x="4906346" y="2528079"/>
                    <a:pt x="4913174" y="2521252"/>
                    <a:pt x="4921594" y="2521252"/>
                  </a:cubicBezTo>
                  <a:close/>
                  <a:moveTo>
                    <a:pt x="5075545" y="2519071"/>
                  </a:moveTo>
                  <a:cubicBezTo>
                    <a:pt x="5084984" y="2519071"/>
                    <a:pt x="5092611" y="2526695"/>
                    <a:pt x="5092611" y="2536137"/>
                  </a:cubicBezTo>
                  <a:cubicBezTo>
                    <a:pt x="5092611" y="2545575"/>
                    <a:pt x="5084984" y="2553203"/>
                    <a:pt x="5075545" y="2553203"/>
                  </a:cubicBezTo>
                  <a:cubicBezTo>
                    <a:pt x="5066103" y="2553203"/>
                    <a:pt x="5058479" y="2545575"/>
                    <a:pt x="5058479" y="2536137"/>
                  </a:cubicBezTo>
                  <a:cubicBezTo>
                    <a:pt x="5058479" y="2526695"/>
                    <a:pt x="5066103" y="2519071"/>
                    <a:pt x="5075545" y="2519071"/>
                  </a:cubicBezTo>
                  <a:close/>
                  <a:moveTo>
                    <a:pt x="5229126" y="2517257"/>
                  </a:moveTo>
                  <a:cubicBezTo>
                    <a:pt x="5239754" y="2517257"/>
                    <a:pt x="5248369" y="2525872"/>
                    <a:pt x="5248369" y="2536499"/>
                  </a:cubicBezTo>
                  <a:cubicBezTo>
                    <a:pt x="5248369" y="2547127"/>
                    <a:pt x="5239754" y="2555742"/>
                    <a:pt x="5229126" y="2555742"/>
                  </a:cubicBezTo>
                  <a:cubicBezTo>
                    <a:pt x="5218499" y="2555742"/>
                    <a:pt x="5209884" y="2547127"/>
                    <a:pt x="5209884" y="2536499"/>
                  </a:cubicBezTo>
                  <a:cubicBezTo>
                    <a:pt x="5209884" y="2525872"/>
                    <a:pt x="5218499" y="2517257"/>
                    <a:pt x="5229126" y="2517257"/>
                  </a:cubicBezTo>
                  <a:close/>
                  <a:moveTo>
                    <a:pt x="5383074" y="2514714"/>
                  </a:moveTo>
                  <a:cubicBezTo>
                    <a:pt x="5395054" y="2514714"/>
                    <a:pt x="5404496" y="2524153"/>
                    <a:pt x="5404496" y="2536137"/>
                  </a:cubicBezTo>
                  <a:cubicBezTo>
                    <a:pt x="5404496" y="2548118"/>
                    <a:pt x="5394692" y="2557560"/>
                    <a:pt x="5383074" y="2557560"/>
                  </a:cubicBezTo>
                  <a:cubicBezTo>
                    <a:pt x="5371093" y="2557560"/>
                    <a:pt x="5361651" y="2548118"/>
                    <a:pt x="5361651" y="2536137"/>
                  </a:cubicBezTo>
                  <a:cubicBezTo>
                    <a:pt x="5361651" y="2524153"/>
                    <a:pt x="5371093" y="2514714"/>
                    <a:pt x="5383074" y="2514714"/>
                  </a:cubicBezTo>
                  <a:close/>
                  <a:moveTo>
                    <a:pt x="5536659" y="2513624"/>
                  </a:moveTo>
                  <a:cubicBezTo>
                    <a:pt x="5549292" y="2513624"/>
                    <a:pt x="5559534" y="2523867"/>
                    <a:pt x="5559534" y="2536499"/>
                  </a:cubicBezTo>
                  <a:cubicBezTo>
                    <a:pt x="5559534" y="2549132"/>
                    <a:pt x="5549292" y="2559371"/>
                    <a:pt x="5536659" y="2559371"/>
                  </a:cubicBezTo>
                  <a:cubicBezTo>
                    <a:pt x="5524026" y="2559371"/>
                    <a:pt x="5513784" y="2549132"/>
                    <a:pt x="5513784" y="2536499"/>
                  </a:cubicBezTo>
                  <a:cubicBezTo>
                    <a:pt x="5513784" y="2523867"/>
                    <a:pt x="5524026" y="2513624"/>
                    <a:pt x="5536659" y="2513624"/>
                  </a:cubicBezTo>
                  <a:close/>
                  <a:moveTo>
                    <a:pt x="5690602" y="2511448"/>
                  </a:moveTo>
                  <a:cubicBezTo>
                    <a:pt x="5704440" y="2511448"/>
                    <a:pt x="5715658" y="2522662"/>
                    <a:pt x="5715658" y="2536499"/>
                  </a:cubicBezTo>
                  <a:cubicBezTo>
                    <a:pt x="5715658" y="2550337"/>
                    <a:pt x="5704440" y="2561555"/>
                    <a:pt x="5690602" y="2561555"/>
                  </a:cubicBezTo>
                  <a:cubicBezTo>
                    <a:pt x="5676766" y="2561555"/>
                    <a:pt x="5665551" y="2550337"/>
                    <a:pt x="5665551" y="2536499"/>
                  </a:cubicBezTo>
                  <a:cubicBezTo>
                    <a:pt x="5665551" y="2522666"/>
                    <a:pt x="5676766" y="2511448"/>
                    <a:pt x="5690602" y="2511448"/>
                  </a:cubicBezTo>
                  <a:close/>
                  <a:moveTo>
                    <a:pt x="5844554" y="2509267"/>
                  </a:moveTo>
                  <a:cubicBezTo>
                    <a:pt x="5859440" y="2509267"/>
                    <a:pt x="5871786" y="2521610"/>
                    <a:pt x="5871786" y="2536499"/>
                  </a:cubicBezTo>
                  <a:cubicBezTo>
                    <a:pt x="5871786" y="2551385"/>
                    <a:pt x="5859802" y="2563732"/>
                    <a:pt x="5844554" y="2563732"/>
                  </a:cubicBezTo>
                  <a:cubicBezTo>
                    <a:pt x="5829664" y="2563732"/>
                    <a:pt x="5817322" y="2551385"/>
                    <a:pt x="5817322" y="2536499"/>
                  </a:cubicBezTo>
                  <a:cubicBezTo>
                    <a:pt x="5817322" y="2521610"/>
                    <a:pt x="5829664" y="2509267"/>
                    <a:pt x="5844554" y="2509267"/>
                  </a:cubicBezTo>
                  <a:close/>
                  <a:moveTo>
                    <a:pt x="5998136" y="2506729"/>
                  </a:moveTo>
                  <a:cubicBezTo>
                    <a:pt x="6014580" y="2506729"/>
                    <a:pt x="6027910" y="2520059"/>
                    <a:pt x="6027910" y="2536503"/>
                  </a:cubicBezTo>
                  <a:cubicBezTo>
                    <a:pt x="6027910" y="2552944"/>
                    <a:pt x="6014580" y="2566274"/>
                    <a:pt x="5998136" y="2566274"/>
                  </a:cubicBezTo>
                  <a:cubicBezTo>
                    <a:pt x="5981694" y="2566274"/>
                    <a:pt x="5968364" y="2552944"/>
                    <a:pt x="5968364" y="2536503"/>
                  </a:cubicBezTo>
                  <a:cubicBezTo>
                    <a:pt x="5968364" y="2520059"/>
                    <a:pt x="5981694" y="2506729"/>
                    <a:pt x="5998136" y="2506729"/>
                  </a:cubicBezTo>
                  <a:close/>
                  <a:moveTo>
                    <a:pt x="6152086" y="2504548"/>
                  </a:moveTo>
                  <a:cubicBezTo>
                    <a:pt x="6169732" y="2504548"/>
                    <a:pt x="6184038" y="2518854"/>
                    <a:pt x="6184038" y="2536499"/>
                  </a:cubicBezTo>
                  <a:cubicBezTo>
                    <a:pt x="6184038" y="2554145"/>
                    <a:pt x="6169732" y="2568451"/>
                    <a:pt x="6152086" y="2568451"/>
                  </a:cubicBezTo>
                  <a:cubicBezTo>
                    <a:pt x="6134438" y="2568451"/>
                    <a:pt x="6120135" y="2554145"/>
                    <a:pt x="6120135" y="2536499"/>
                  </a:cubicBezTo>
                  <a:cubicBezTo>
                    <a:pt x="6120135" y="2518854"/>
                    <a:pt x="6134438" y="2504548"/>
                    <a:pt x="6152086" y="2504548"/>
                  </a:cubicBezTo>
                  <a:close/>
                  <a:moveTo>
                    <a:pt x="6305668" y="2502734"/>
                  </a:moveTo>
                  <a:cubicBezTo>
                    <a:pt x="6324320" y="2502734"/>
                    <a:pt x="6339438" y="2517852"/>
                    <a:pt x="6339438" y="2536499"/>
                  </a:cubicBezTo>
                  <a:cubicBezTo>
                    <a:pt x="6339438" y="2555151"/>
                    <a:pt x="6324320" y="2570269"/>
                    <a:pt x="6305668" y="2570269"/>
                  </a:cubicBezTo>
                  <a:cubicBezTo>
                    <a:pt x="6287020" y="2570269"/>
                    <a:pt x="6271902" y="2555151"/>
                    <a:pt x="6271902" y="2536499"/>
                  </a:cubicBezTo>
                  <a:cubicBezTo>
                    <a:pt x="6271902" y="2517852"/>
                    <a:pt x="6287020" y="2502734"/>
                    <a:pt x="6305668" y="2502734"/>
                  </a:cubicBezTo>
                  <a:close/>
                  <a:moveTo>
                    <a:pt x="6459616" y="2500191"/>
                  </a:moveTo>
                  <a:cubicBezTo>
                    <a:pt x="6479670" y="2500191"/>
                    <a:pt x="6495924" y="2516445"/>
                    <a:pt x="6495924" y="2536499"/>
                  </a:cubicBezTo>
                  <a:cubicBezTo>
                    <a:pt x="6495924" y="2556554"/>
                    <a:pt x="6479670" y="2572808"/>
                    <a:pt x="6459616" y="2572808"/>
                  </a:cubicBezTo>
                  <a:cubicBezTo>
                    <a:pt x="6439561" y="2572808"/>
                    <a:pt x="6423307" y="2556554"/>
                    <a:pt x="6423307" y="2536499"/>
                  </a:cubicBezTo>
                  <a:cubicBezTo>
                    <a:pt x="6423307" y="2516445"/>
                    <a:pt x="6439561" y="2500191"/>
                    <a:pt x="6459616" y="2500191"/>
                  </a:cubicBezTo>
                  <a:close/>
                  <a:moveTo>
                    <a:pt x="6613200" y="2497648"/>
                  </a:moveTo>
                  <a:cubicBezTo>
                    <a:pt x="6634654" y="2497648"/>
                    <a:pt x="6652048" y="2515042"/>
                    <a:pt x="6652048" y="2536499"/>
                  </a:cubicBezTo>
                  <a:cubicBezTo>
                    <a:pt x="6652048" y="2557953"/>
                    <a:pt x="6634654" y="2575350"/>
                    <a:pt x="6613200" y="2575350"/>
                  </a:cubicBezTo>
                  <a:cubicBezTo>
                    <a:pt x="6591744" y="2575350"/>
                    <a:pt x="6574350" y="2557953"/>
                    <a:pt x="6574350" y="2536499"/>
                  </a:cubicBezTo>
                  <a:cubicBezTo>
                    <a:pt x="6574350" y="2515042"/>
                    <a:pt x="6591744" y="2497648"/>
                    <a:pt x="6613200" y="2497648"/>
                  </a:cubicBezTo>
                  <a:close/>
                  <a:moveTo>
                    <a:pt x="3076406" y="2382190"/>
                  </a:moveTo>
                  <a:cubicBezTo>
                    <a:pt x="3076768" y="2382190"/>
                    <a:pt x="3076768" y="2382190"/>
                    <a:pt x="3076768" y="2382552"/>
                  </a:cubicBezTo>
                  <a:cubicBezTo>
                    <a:pt x="3076768" y="2382914"/>
                    <a:pt x="3076406" y="2382914"/>
                    <a:pt x="3076406" y="2382914"/>
                  </a:cubicBezTo>
                  <a:cubicBezTo>
                    <a:pt x="3076043" y="2382914"/>
                    <a:pt x="3076043" y="2382914"/>
                    <a:pt x="3076043" y="2382552"/>
                  </a:cubicBezTo>
                  <a:cubicBezTo>
                    <a:pt x="3076043" y="2382190"/>
                    <a:pt x="3076043" y="2382190"/>
                    <a:pt x="3076406" y="2382190"/>
                  </a:cubicBezTo>
                  <a:close/>
                  <a:moveTo>
                    <a:pt x="2614925" y="2382190"/>
                  </a:moveTo>
                  <a:cubicBezTo>
                    <a:pt x="2615288" y="2382190"/>
                    <a:pt x="2615288" y="2382190"/>
                    <a:pt x="2615288" y="2382552"/>
                  </a:cubicBezTo>
                  <a:cubicBezTo>
                    <a:pt x="2615288" y="2382914"/>
                    <a:pt x="2614925" y="2382914"/>
                    <a:pt x="2614925" y="2382914"/>
                  </a:cubicBezTo>
                  <a:cubicBezTo>
                    <a:pt x="2614563" y="2382914"/>
                    <a:pt x="2614563" y="2382914"/>
                    <a:pt x="2614563" y="2382552"/>
                  </a:cubicBezTo>
                  <a:cubicBezTo>
                    <a:pt x="2614563" y="2382190"/>
                    <a:pt x="2614563" y="2382190"/>
                    <a:pt x="2614925" y="2382190"/>
                  </a:cubicBezTo>
                  <a:close/>
                  <a:moveTo>
                    <a:pt x="2461340" y="2382190"/>
                  </a:moveTo>
                  <a:cubicBezTo>
                    <a:pt x="2461702" y="2382190"/>
                    <a:pt x="2461702" y="2382190"/>
                    <a:pt x="2461702" y="2382552"/>
                  </a:cubicBezTo>
                  <a:cubicBezTo>
                    <a:pt x="2461702" y="2382914"/>
                    <a:pt x="2461340" y="2382914"/>
                    <a:pt x="2461340" y="2382914"/>
                  </a:cubicBezTo>
                  <a:cubicBezTo>
                    <a:pt x="2460978" y="2382914"/>
                    <a:pt x="2460978" y="2382914"/>
                    <a:pt x="2460978" y="2382552"/>
                  </a:cubicBezTo>
                  <a:cubicBezTo>
                    <a:pt x="2460978" y="2382190"/>
                    <a:pt x="2460978" y="2382190"/>
                    <a:pt x="2461340" y="2382190"/>
                  </a:cubicBezTo>
                  <a:close/>
                  <a:moveTo>
                    <a:pt x="2307393" y="2381824"/>
                  </a:moveTo>
                  <a:cubicBezTo>
                    <a:pt x="2307759" y="2381824"/>
                    <a:pt x="2308121" y="2382186"/>
                    <a:pt x="2308121" y="2382552"/>
                  </a:cubicBezTo>
                  <a:cubicBezTo>
                    <a:pt x="2308121" y="2382914"/>
                    <a:pt x="2307393" y="2383276"/>
                    <a:pt x="2307393" y="2383276"/>
                  </a:cubicBezTo>
                  <a:cubicBezTo>
                    <a:pt x="2307031" y="2383276"/>
                    <a:pt x="2306669" y="2382914"/>
                    <a:pt x="2306669" y="2382552"/>
                  </a:cubicBezTo>
                  <a:cubicBezTo>
                    <a:pt x="2306669" y="2382186"/>
                    <a:pt x="2307031" y="2381824"/>
                    <a:pt x="2307393" y="2381824"/>
                  </a:cubicBezTo>
                  <a:close/>
                  <a:moveTo>
                    <a:pt x="3230353" y="2381100"/>
                  </a:moveTo>
                  <a:cubicBezTo>
                    <a:pt x="3231077" y="2381100"/>
                    <a:pt x="3231805" y="2381824"/>
                    <a:pt x="3231805" y="2382552"/>
                  </a:cubicBezTo>
                  <a:cubicBezTo>
                    <a:pt x="3231805" y="2383276"/>
                    <a:pt x="3230353" y="2384005"/>
                    <a:pt x="3230353" y="2384005"/>
                  </a:cubicBezTo>
                  <a:cubicBezTo>
                    <a:pt x="3229625" y="2384005"/>
                    <a:pt x="3228900" y="2383276"/>
                    <a:pt x="3228900" y="2382552"/>
                  </a:cubicBezTo>
                  <a:cubicBezTo>
                    <a:pt x="3228900" y="2381824"/>
                    <a:pt x="3229625" y="2381100"/>
                    <a:pt x="3230353" y="2381100"/>
                  </a:cubicBezTo>
                  <a:close/>
                  <a:moveTo>
                    <a:pt x="3383938" y="2380375"/>
                  </a:moveTo>
                  <a:cubicBezTo>
                    <a:pt x="3385139" y="2380375"/>
                    <a:pt x="3386115" y="2381351"/>
                    <a:pt x="3386115" y="2382556"/>
                  </a:cubicBezTo>
                  <a:cubicBezTo>
                    <a:pt x="3386115" y="2383757"/>
                    <a:pt x="3385139" y="2384732"/>
                    <a:pt x="3383938" y="2384732"/>
                  </a:cubicBezTo>
                  <a:cubicBezTo>
                    <a:pt x="3382734" y="2384732"/>
                    <a:pt x="3381758" y="2383757"/>
                    <a:pt x="3381758" y="2382556"/>
                  </a:cubicBezTo>
                  <a:cubicBezTo>
                    <a:pt x="3381758" y="2381351"/>
                    <a:pt x="3382734" y="2380375"/>
                    <a:pt x="3383938" y="2380375"/>
                  </a:cubicBezTo>
                  <a:close/>
                  <a:moveTo>
                    <a:pt x="3537882" y="2379285"/>
                  </a:moveTo>
                  <a:cubicBezTo>
                    <a:pt x="3539696" y="2379285"/>
                    <a:pt x="3541148" y="2380738"/>
                    <a:pt x="3541148" y="2382552"/>
                  </a:cubicBezTo>
                  <a:cubicBezTo>
                    <a:pt x="3541148" y="2384366"/>
                    <a:pt x="3539696" y="2385823"/>
                    <a:pt x="3537882" y="2385823"/>
                  </a:cubicBezTo>
                  <a:cubicBezTo>
                    <a:pt x="3536067" y="2385823"/>
                    <a:pt x="3534615" y="2384366"/>
                    <a:pt x="3534615" y="2382552"/>
                  </a:cubicBezTo>
                  <a:cubicBezTo>
                    <a:pt x="3534615" y="2380738"/>
                    <a:pt x="3536067" y="2379285"/>
                    <a:pt x="3537882" y="2379285"/>
                  </a:cubicBezTo>
                  <a:close/>
                  <a:moveTo>
                    <a:pt x="3691467" y="2378195"/>
                  </a:moveTo>
                  <a:cubicBezTo>
                    <a:pt x="3694010" y="2378195"/>
                    <a:pt x="3695824" y="2380010"/>
                    <a:pt x="3695824" y="2382552"/>
                  </a:cubicBezTo>
                  <a:cubicBezTo>
                    <a:pt x="3695824" y="2385095"/>
                    <a:pt x="3693647" y="2386909"/>
                    <a:pt x="3691467" y="2386909"/>
                  </a:cubicBezTo>
                  <a:cubicBezTo>
                    <a:pt x="3688924" y="2386909"/>
                    <a:pt x="3687110" y="2385095"/>
                    <a:pt x="3687110" y="2382552"/>
                  </a:cubicBezTo>
                  <a:cubicBezTo>
                    <a:pt x="3687110" y="2380010"/>
                    <a:pt x="3688924" y="2378195"/>
                    <a:pt x="3691467" y="2378195"/>
                  </a:cubicBezTo>
                  <a:close/>
                  <a:moveTo>
                    <a:pt x="3845414" y="2376743"/>
                  </a:moveTo>
                  <a:cubicBezTo>
                    <a:pt x="3848624" y="2376743"/>
                    <a:pt x="3851224" y="2379343"/>
                    <a:pt x="3851224" y="2382552"/>
                  </a:cubicBezTo>
                  <a:cubicBezTo>
                    <a:pt x="3851224" y="2385762"/>
                    <a:pt x="3848624" y="2388361"/>
                    <a:pt x="3845414" y="2388361"/>
                  </a:cubicBezTo>
                  <a:cubicBezTo>
                    <a:pt x="3842205" y="2388361"/>
                    <a:pt x="3839605" y="2385762"/>
                    <a:pt x="3839605" y="2382552"/>
                  </a:cubicBezTo>
                  <a:cubicBezTo>
                    <a:pt x="3839605" y="2379343"/>
                    <a:pt x="3842205" y="2376743"/>
                    <a:pt x="3845414" y="2376743"/>
                  </a:cubicBezTo>
                  <a:close/>
                  <a:moveTo>
                    <a:pt x="3999000" y="2375290"/>
                  </a:moveTo>
                  <a:cubicBezTo>
                    <a:pt x="4002994" y="2375290"/>
                    <a:pt x="4006261" y="2378557"/>
                    <a:pt x="4006261" y="2382552"/>
                  </a:cubicBezTo>
                  <a:cubicBezTo>
                    <a:pt x="4006261" y="2386547"/>
                    <a:pt x="4002994" y="2389814"/>
                    <a:pt x="3999000" y="2389814"/>
                  </a:cubicBezTo>
                  <a:cubicBezTo>
                    <a:pt x="3995005" y="2389814"/>
                    <a:pt x="3991738" y="2386547"/>
                    <a:pt x="3991738" y="2382552"/>
                  </a:cubicBezTo>
                  <a:cubicBezTo>
                    <a:pt x="3991738" y="2378557"/>
                    <a:pt x="3995005" y="2375290"/>
                    <a:pt x="3999000" y="2375290"/>
                  </a:cubicBezTo>
                  <a:close/>
                  <a:moveTo>
                    <a:pt x="4152947" y="2373476"/>
                  </a:moveTo>
                  <a:cubicBezTo>
                    <a:pt x="4158032" y="2373476"/>
                    <a:pt x="4162027" y="2377471"/>
                    <a:pt x="4162027" y="2382552"/>
                  </a:cubicBezTo>
                  <a:cubicBezTo>
                    <a:pt x="4162027" y="2387637"/>
                    <a:pt x="4158032" y="2391632"/>
                    <a:pt x="4152947" y="2391632"/>
                  </a:cubicBezTo>
                  <a:cubicBezTo>
                    <a:pt x="4147866" y="2391632"/>
                    <a:pt x="4143871" y="2387637"/>
                    <a:pt x="4143871" y="2382552"/>
                  </a:cubicBezTo>
                  <a:cubicBezTo>
                    <a:pt x="4143871" y="2377471"/>
                    <a:pt x="4147866" y="2373476"/>
                    <a:pt x="4152947" y="2373476"/>
                  </a:cubicBezTo>
                  <a:close/>
                  <a:moveTo>
                    <a:pt x="4306532" y="2372386"/>
                  </a:moveTo>
                  <a:cubicBezTo>
                    <a:pt x="4311980" y="2372386"/>
                    <a:pt x="4316698" y="2377105"/>
                    <a:pt x="4316698" y="2382552"/>
                  </a:cubicBezTo>
                  <a:cubicBezTo>
                    <a:pt x="4316698" y="2387999"/>
                    <a:pt x="4312342" y="2392718"/>
                    <a:pt x="4306532" y="2392718"/>
                  </a:cubicBezTo>
                  <a:cubicBezTo>
                    <a:pt x="4301085" y="2392718"/>
                    <a:pt x="4296366" y="2387999"/>
                    <a:pt x="4296366" y="2382552"/>
                  </a:cubicBezTo>
                  <a:cubicBezTo>
                    <a:pt x="4296366" y="2377105"/>
                    <a:pt x="4301085" y="2372386"/>
                    <a:pt x="4306532" y="2372386"/>
                  </a:cubicBezTo>
                  <a:close/>
                  <a:moveTo>
                    <a:pt x="4460476" y="2370571"/>
                  </a:moveTo>
                  <a:cubicBezTo>
                    <a:pt x="4467014" y="2370571"/>
                    <a:pt x="4472460" y="2376019"/>
                    <a:pt x="4472460" y="2382552"/>
                  </a:cubicBezTo>
                  <a:cubicBezTo>
                    <a:pt x="4472460" y="2389090"/>
                    <a:pt x="4467014" y="2394533"/>
                    <a:pt x="4460476" y="2394533"/>
                  </a:cubicBezTo>
                  <a:cubicBezTo>
                    <a:pt x="4453942" y="2394533"/>
                    <a:pt x="4448495" y="2389090"/>
                    <a:pt x="4448495" y="2382552"/>
                  </a:cubicBezTo>
                  <a:cubicBezTo>
                    <a:pt x="4448495" y="2376019"/>
                    <a:pt x="4453942" y="2370571"/>
                    <a:pt x="4460476" y="2370571"/>
                  </a:cubicBezTo>
                  <a:close/>
                  <a:moveTo>
                    <a:pt x="4614065" y="2368753"/>
                  </a:moveTo>
                  <a:cubicBezTo>
                    <a:pt x="4621688" y="2368753"/>
                    <a:pt x="4627860" y="2374924"/>
                    <a:pt x="4627860" y="2382552"/>
                  </a:cubicBezTo>
                  <a:cubicBezTo>
                    <a:pt x="4627860" y="2390176"/>
                    <a:pt x="4621688" y="2396347"/>
                    <a:pt x="4614065" y="2396347"/>
                  </a:cubicBezTo>
                  <a:cubicBezTo>
                    <a:pt x="4606438" y="2396347"/>
                    <a:pt x="4600266" y="2390176"/>
                    <a:pt x="4600266" y="2382552"/>
                  </a:cubicBezTo>
                  <a:cubicBezTo>
                    <a:pt x="4600266" y="2374924"/>
                    <a:pt x="4606438" y="2368753"/>
                    <a:pt x="4614065" y="2368753"/>
                  </a:cubicBezTo>
                  <a:close/>
                  <a:moveTo>
                    <a:pt x="4768008" y="2367304"/>
                  </a:moveTo>
                  <a:cubicBezTo>
                    <a:pt x="4776433" y="2367304"/>
                    <a:pt x="4783260" y="2374131"/>
                    <a:pt x="4783260" y="2382556"/>
                  </a:cubicBezTo>
                  <a:cubicBezTo>
                    <a:pt x="4783260" y="2390976"/>
                    <a:pt x="4776433" y="2397803"/>
                    <a:pt x="4768008" y="2397803"/>
                  </a:cubicBezTo>
                  <a:cubicBezTo>
                    <a:pt x="4759588" y="2397803"/>
                    <a:pt x="4752761" y="2390976"/>
                    <a:pt x="4752761" y="2382556"/>
                  </a:cubicBezTo>
                  <a:cubicBezTo>
                    <a:pt x="4752761" y="2374131"/>
                    <a:pt x="4759588" y="2367304"/>
                    <a:pt x="4768008" y="2367304"/>
                  </a:cubicBezTo>
                  <a:close/>
                  <a:moveTo>
                    <a:pt x="4921594" y="2365486"/>
                  </a:moveTo>
                  <a:cubicBezTo>
                    <a:pt x="4931032" y="2365486"/>
                    <a:pt x="4938660" y="2373110"/>
                    <a:pt x="4938660" y="2382552"/>
                  </a:cubicBezTo>
                  <a:cubicBezTo>
                    <a:pt x="4938660" y="2391990"/>
                    <a:pt x="4931032" y="2399614"/>
                    <a:pt x="4921594" y="2399614"/>
                  </a:cubicBezTo>
                  <a:cubicBezTo>
                    <a:pt x="4912152" y="2399614"/>
                    <a:pt x="4904528" y="2391990"/>
                    <a:pt x="4904528" y="2382552"/>
                  </a:cubicBezTo>
                  <a:cubicBezTo>
                    <a:pt x="4904528" y="2373110"/>
                    <a:pt x="4912152" y="2365486"/>
                    <a:pt x="4921594" y="2365486"/>
                  </a:cubicBezTo>
                  <a:close/>
                  <a:moveTo>
                    <a:pt x="5075541" y="2363309"/>
                  </a:moveTo>
                  <a:cubicBezTo>
                    <a:pt x="5086070" y="2363309"/>
                    <a:pt x="5094784" y="2372024"/>
                    <a:pt x="5094784" y="2382552"/>
                  </a:cubicBezTo>
                  <a:cubicBezTo>
                    <a:pt x="5094784" y="2393084"/>
                    <a:pt x="5086070" y="2401799"/>
                    <a:pt x="5075541" y="2401799"/>
                  </a:cubicBezTo>
                  <a:cubicBezTo>
                    <a:pt x="5065012" y="2401799"/>
                    <a:pt x="5056298" y="2393084"/>
                    <a:pt x="5056298" y="2382552"/>
                  </a:cubicBezTo>
                  <a:cubicBezTo>
                    <a:pt x="5056298" y="2372024"/>
                    <a:pt x="5065012" y="2363309"/>
                    <a:pt x="5075541" y="2363309"/>
                  </a:cubicBezTo>
                  <a:close/>
                  <a:moveTo>
                    <a:pt x="5229126" y="2361129"/>
                  </a:moveTo>
                  <a:cubicBezTo>
                    <a:pt x="5241108" y="2361129"/>
                    <a:pt x="5250546" y="2370571"/>
                    <a:pt x="5250546" y="2382552"/>
                  </a:cubicBezTo>
                  <a:cubicBezTo>
                    <a:pt x="5250546" y="2394533"/>
                    <a:pt x="5240745" y="2403975"/>
                    <a:pt x="5229126" y="2403975"/>
                  </a:cubicBezTo>
                  <a:cubicBezTo>
                    <a:pt x="5217146" y="2403975"/>
                    <a:pt x="5207704" y="2394533"/>
                    <a:pt x="5207704" y="2382552"/>
                  </a:cubicBezTo>
                  <a:cubicBezTo>
                    <a:pt x="5207704" y="2370571"/>
                    <a:pt x="5217146" y="2361129"/>
                    <a:pt x="5229126" y="2361129"/>
                  </a:cubicBezTo>
                  <a:close/>
                  <a:moveTo>
                    <a:pt x="5383074" y="2359677"/>
                  </a:moveTo>
                  <a:cubicBezTo>
                    <a:pt x="5395706" y="2359677"/>
                    <a:pt x="5405946" y="2369919"/>
                    <a:pt x="5405946" y="2382552"/>
                  </a:cubicBezTo>
                  <a:cubicBezTo>
                    <a:pt x="5405946" y="2395185"/>
                    <a:pt x="5395706" y="2405427"/>
                    <a:pt x="5383074" y="2405427"/>
                  </a:cubicBezTo>
                  <a:cubicBezTo>
                    <a:pt x="5370441" y="2405427"/>
                    <a:pt x="5360198" y="2395185"/>
                    <a:pt x="5360198" y="2382552"/>
                  </a:cubicBezTo>
                  <a:cubicBezTo>
                    <a:pt x="5360198" y="2369919"/>
                    <a:pt x="5370441" y="2359677"/>
                    <a:pt x="5383074" y="2359677"/>
                  </a:cubicBezTo>
                  <a:close/>
                  <a:moveTo>
                    <a:pt x="5536656" y="2357500"/>
                  </a:moveTo>
                  <a:cubicBezTo>
                    <a:pt x="5550492" y="2357500"/>
                    <a:pt x="5561711" y="2368715"/>
                    <a:pt x="5561711" y="2382552"/>
                  </a:cubicBezTo>
                  <a:cubicBezTo>
                    <a:pt x="5561711" y="2396389"/>
                    <a:pt x="5550492" y="2407608"/>
                    <a:pt x="5536656" y="2407608"/>
                  </a:cubicBezTo>
                  <a:cubicBezTo>
                    <a:pt x="5522818" y="2407608"/>
                    <a:pt x="5511604" y="2396389"/>
                    <a:pt x="5511604" y="2382552"/>
                  </a:cubicBezTo>
                  <a:cubicBezTo>
                    <a:pt x="5511604" y="2368719"/>
                    <a:pt x="5522818" y="2357500"/>
                    <a:pt x="5536656" y="2357500"/>
                  </a:cubicBezTo>
                  <a:close/>
                  <a:moveTo>
                    <a:pt x="5690606" y="2355320"/>
                  </a:moveTo>
                  <a:cubicBezTo>
                    <a:pt x="5705492" y="2355320"/>
                    <a:pt x="5717838" y="2367663"/>
                    <a:pt x="5717838" y="2382552"/>
                  </a:cubicBezTo>
                  <a:cubicBezTo>
                    <a:pt x="5717838" y="2397437"/>
                    <a:pt x="5705854" y="2409784"/>
                    <a:pt x="5690606" y="2409784"/>
                  </a:cubicBezTo>
                  <a:cubicBezTo>
                    <a:pt x="5675717" y="2409784"/>
                    <a:pt x="5663374" y="2397437"/>
                    <a:pt x="5663374" y="2382552"/>
                  </a:cubicBezTo>
                  <a:cubicBezTo>
                    <a:pt x="5663374" y="2367663"/>
                    <a:pt x="5675717" y="2355320"/>
                    <a:pt x="5690606" y="2355320"/>
                  </a:cubicBezTo>
                  <a:close/>
                  <a:moveTo>
                    <a:pt x="5844554" y="2352781"/>
                  </a:moveTo>
                  <a:cubicBezTo>
                    <a:pt x="5860994" y="2352781"/>
                    <a:pt x="5874325" y="2366111"/>
                    <a:pt x="5874325" y="2382556"/>
                  </a:cubicBezTo>
                  <a:cubicBezTo>
                    <a:pt x="5874325" y="2398997"/>
                    <a:pt x="5860994" y="2412327"/>
                    <a:pt x="5844554" y="2412327"/>
                  </a:cubicBezTo>
                  <a:cubicBezTo>
                    <a:pt x="5828110" y="2412327"/>
                    <a:pt x="5814779" y="2398997"/>
                    <a:pt x="5814779" y="2382556"/>
                  </a:cubicBezTo>
                  <a:cubicBezTo>
                    <a:pt x="5814779" y="2366111"/>
                    <a:pt x="5828110" y="2352781"/>
                    <a:pt x="5844554" y="2352781"/>
                  </a:cubicBezTo>
                  <a:close/>
                  <a:moveTo>
                    <a:pt x="5998139" y="2350601"/>
                  </a:moveTo>
                  <a:cubicBezTo>
                    <a:pt x="6015784" y="2350601"/>
                    <a:pt x="6030090" y="2364907"/>
                    <a:pt x="6030090" y="2382552"/>
                  </a:cubicBezTo>
                  <a:cubicBezTo>
                    <a:pt x="6030090" y="2400197"/>
                    <a:pt x="6015784" y="2414503"/>
                    <a:pt x="5998139" y="2414503"/>
                  </a:cubicBezTo>
                  <a:cubicBezTo>
                    <a:pt x="5980490" y="2414503"/>
                    <a:pt x="5966188" y="2400197"/>
                    <a:pt x="5966188" y="2382552"/>
                  </a:cubicBezTo>
                  <a:cubicBezTo>
                    <a:pt x="5966188" y="2364907"/>
                    <a:pt x="5980490" y="2350601"/>
                    <a:pt x="5998139" y="2350601"/>
                  </a:cubicBezTo>
                  <a:close/>
                  <a:moveTo>
                    <a:pt x="6152086" y="2348786"/>
                  </a:moveTo>
                  <a:cubicBezTo>
                    <a:pt x="6170734" y="2348786"/>
                    <a:pt x="6185852" y="2363904"/>
                    <a:pt x="6185852" y="2382552"/>
                  </a:cubicBezTo>
                  <a:cubicBezTo>
                    <a:pt x="6185852" y="2401204"/>
                    <a:pt x="6170734" y="2416322"/>
                    <a:pt x="6152086" y="2416322"/>
                  </a:cubicBezTo>
                  <a:cubicBezTo>
                    <a:pt x="6133435" y="2416322"/>
                    <a:pt x="6118317" y="2401204"/>
                    <a:pt x="6118317" y="2382552"/>
                  </a:cubicBezTo>
                  <a:cubicBezTo>
                    <a:pt x="6118317" y="2363904"/>
                    <a:pt x="6133435" y="2348786"/>
                    <a:pt x="6152086" y="2348786"/>
                  </a:cubicBezTo>
                  <a:close/>
                  <a:moveTo>
                    <a:pt x="6305668" y="2346244"/>
                  </a:moveTo>
                  <a:cubicBezTo>
                    <a:pt x="6325638" y="2346244"/>
                    <a:pt x="6341976" y="2362581"/>
                    <a:pt x="6341976" y="2382552"/>
                  </a:cubicBezTo>
                  <a:cubicBezTo>
                    <a:pt x="6341976" y="2402523"/>
                    <a:pt x="6325638" y="2418860"/>
                    <a:pt x="6305668" y="2418860"/>
                  </a:cubicBezTo>
                  <a:cubicBezTo>
                    <a:pt x="6285698" y="2418860"/>
                    <a:pt x="6269360" y="2402523"/>
                    <a:pt x="6269360" y="2382552"/>
                  </a:cubicBezTo>
                  <a:cubicBezTo>
                    <a:pt x="6269360" y="2362581"/>
                    <a:pt x="6285698" y="2346244"/>
                    <a:pt x="6305668" y="2346244"/>
                  </a:cubicBezTo>
                  <a:close/>
                  <a:moveTo>
                    <a:pt x="6459619" y="2343701"/>
                  </a:moveTo>
                  <a:cubicBezTo>
                    <a:pt x="6481038" y="2343701"/>
                    <a:pt x="6498470" y="2361129"/>
                    <a:pt x="6498470" y="2382552"/>
                  </a:cubicBezTo>
                  <a:cubicBezTo>
                    <a:pt x="6498470" y="2403971"/>
                    <a:pt x="6481038" y="2421399"/>
                    <a:pt x="6459619" y="2421399"/>
                  </a:cubicBezTo>
                  <a:cubicBezTo>
                    <a:pt x="6438196" y="2421399"/>
                    <a:pt x="6420768" y="2403971"/>
                    <a:pt x="6420768" y="2382552"/>
                  </a:cubicBezTo>
                  <a:cubicBezTo>
                    <a:pt x="6420768" y="2361129"/>
                    <a:pt x="6438196" y="2343701"/>
                    <a:pt x="6459619" y="2343701"/>
                  </a:cubicBezTo>
                  <a:close/>
                  <a:moveTo>
                    <a:pt x="6613200" y="2341524"/>
                  </a:moveTo>
                  <a:cubicBezTo>
                    <a:pt x="6636076" y="2341524"/>
                    <a:pt x="6654232" y="2359681"/>
                    <a:pt x="6654232" y="2382552"/>
                  </a:cubicBezTo>
                  <a:cubicBezTo>
                    <a:pt x="6654232" y="2405427"/>
                    <a:pt x="6635714" y="2423583"/>
                    <a:pt x="6613200" y="2423583"/>
                  </a:cubicBezTo>
                  <a:cubicBezTo>
                    <a:pt x="6590330" y="2423583"/>
                    <a:pt x="6572173" y="2405427"/>
                    <a:pt x="6572173" y="2382552"/>
                  </a:cubicBezTo>
                  <a:cubicBezTo>
                    <a:pt x="6572173" y="2359681"/>
                    <a:pt x="6590330" y="2341524"/>
                    <a:pt x="6613200" y="2341524"/>
                  </a:cubicBezTo>
                  <a:close/>
                  <a:moveTo>
                    <a:pt x="2922458" y="2228605"/>
                  </a:moveTo>
                  <a:cubicBezTo>
                    <a:pt x="2922820" y="2228605"/>
                    <a:pt x="2922820" y="2228605"/>
                    <a:pt x="2922820" y="2228967"/>
                  </a:cubicBezTo>
                  <a:cubicBezTo>
                    <a:pt x="2922820" y="2229333"/>
                    <a:pt x="2922458" y="2229333"/>
                    <a:pt x="2922458" y="2229333"/>
                  </a:cubicBezTo>
                  <a:cubicBezTo>
                    <a:pt x="2922096" y="2229333"/>
                    <a:pt x="2922096" y="2229333"/>
                    <a:pt x="2922096" y="2228967"/>
                  </a:cubicBezTo>
                  <a:cubicBezTo>
                    <a:pt x="2922096" y="2228605"/>
                    <a:pt x="2922096" y="2228605"/>
                    <a:pt x="2922458" y="2228605"/>
                  </a:cubicBezTo>
                  <a:close/>
                  <a:moveTo>
                    <a:pt x="2461340" y="2228605"/>
                  </a:moveTo>
                  <a:cubicBezTo>
                    <a:pt x="2461702" y="2228605"/>
                    <a:pt x="2461702" y="2228605"/>
                    <a:pt x="2461702" y="2228967"/>
                  </a:cubicBezTo>
                  <a:cubicBezTo>
                    <a:pt x="2461702" y="2229333"/>
                    <a:pt x="2461340" y="2229333"/>
                    <a:pt x="2461340" y="2229333"/>
                  </a:cubicBezTo>
                  <a:cubicBezTo>
                    <a:pt x="2460978" y="2229333"/>
                    <a:pt x="2460978" y="2229333"/>
                    <a:pt x="2460978" y="2228967"/>
                  </a:cubicBezTo>
                  <a:cubicBezTo>
                    <a:pt x="2460978" y="2228605"/>
                    <a:pt x="2460978" y="2228605"/>
                    <a:pt x="2461340" y="2228605"/>
                  </a:cubicBezTo>
                  <a:close/>
                  <a:moveTo>
                    <a:pt x="2307393" y="2228605"/>
                  </a:moveTo>
                  <a:cubicBezTo>
                    <a:pt x="2307755" y="2228605"/>
                    <a:pt x="2307755" y="2228605"/>
                    <a:pt x="2307755" y="2228967"/>
                  </a:cubicBezTo>
                  <a:cubicBezTo>
                    <a:pt x="2307755" y="2229333"/>
                    <a:pt x="2307393" y="2229333"/>
                    <a:pt x="2307393" y="2229333"/>
                  </a:cubicBezTo>
                  <a:cubicBezTo>
                    <a:pt x="2307031" y="2229333"/>
                    <a:pt x="2307031" y="2229333"/>
                    <a:pt x="2307031" y="2228967"/>
                  </a:cubicBezTo>
                  <a:cubicBezTo>
                    <a:pt x="2307031" y="2228605"/>
                    <a:pt x="2307031" y="2228605"/>
                    <a:pt x="2307393" y="2228605"/>
                  </a:cubicBezTo>
                  <a:close/>
                  <a:moveTo>
                    <a:pt x="2153811" y="2228243"/>
                  </a:moveTo>
                  <a:cubicBezTo>
                    <a:pt x="2154174" y="2228243"/>
                    <a:pt x="2154536" y="2228605"/>
                    <a:pt x="2154536" y="2228971"/>
                  </a:cubicBezTo>
                  <a:cubicBezTo>
                    <a:pt x="2154536" y="2229333"/>
                    <a:pt x="2153811" y="2229695"/>
                    <a:pt x="2153811" y="2229695"/>
                  </a:cubicBezTo>
                  <a:cubicBezTo>
                    <a:pt x="2153445" y="2229695"/>
                    <a:pt x="2153083" y="2229333"/>
                    <a:pt x="2153083" y="2228971"/>
                  </a:cubicBezTo>
                  <a:cubicBezTo>
                    <a:pt x="2153083" y="2228605"/>
                    <a:pt x="2153445" y="2228243"/>
                    <a:pt x="2153811" y="2228243"/>
                  </a:cubicBezTo>
                  <a:close/>
                  <a:moveTo>
                    <a:pt x="3076406" y="2227152"/>
                  </a:moveTo>
                  <a:cubicBezTo>
                    <a:pt x="3077130" y="2227152"/>
                    <a:pt x="3077858" y="2227880"/>
                    <a:pt x="3077858" y="2228605"/>
                  </a:cubicBezTo>
                  <a:cubicBezTo>
                    <a:pt x="3077858" y="2229333"/>
                    <a:pt x="3076406" y="2230057"/>
                    <a:pt x="3076406" y="2230057"/>
                  </a:cubicBezTo>
                  <a:cubicBezTo>
                    <a:pt x="3075677" y="2230057"/>
                    <a:pt x="3074953" y="2229333"/>
                    <a:pt x="3074953" y="2228605"/>
                  </a:cubicBezTo>
                  <a:cubicBezTo>
                    <a:pt x="3074953" y="2227880"/>
                    <a:pt x="3075677" y="2227152"/>
                    <a:pt x="3076406" y="2227152"/>
                  </a:cubicBezTo>
                  <a:close/>
                  <a:moveTo>
                    <a:pt x="3230353" y="2226428"/>
                  </a:moveTo>
                  <a:cubicBezTo>
                    <a:pt x="3231554" y="2226428"/>
                    <a:pt x="3232530" y="2227404"/>
                    <a:pt x="3232530" y="2228608"/>
                  </a:cubicBezTo>
                  <a:cubicBezTo>
                    <a:pt x="3232530" y="2229809"/>
                    <a:pt x="3231554" y="2230785"/>
                    <a:pt x="3230353" y="2230785"/>
                  </a:cubicBezTo>
                  <a:cubicBezTo>
                    <a:pt x="3229148" y="2230785"/>
                    <a:pt x="3228172" y="2229809"/>
                    <a:pt x="3228172" y="2228608"/>
                  </a:cubicBezTo>
                  <a:cubicBezTo>
                    <a:pt x="3228172" y="2227404"/>
                    <a:pt x="3229148" y="2226428"/>
                    <a:pt x="3230353" y="2226428"/>
                  </a:cubicBezTo>
                  <a:close/>
                  <a:moveTo>
                    <a:pt x="3383934" y="2225700"/>
                  </a:moveTo>
                  <a:cubicBezTo>
                    <a:pt x="3385752" y="2225700"/>
                    <a:pt x="3387205" y="2227152"/>
                    <a:pt x="3387205" y="2228967"/>
                  </a:cubicBezTo>
                  <a:cubicBezTo>
                    <a:pt x="3387205" y="2230781"/>
                    <a:pt x="3385752" y="2232238"/>
                    <a:pt x="3383934" y="2232238"/>
                  </a:cubicBezTo>
                  <a:cubicBezTo>
                    <a:pt x="3382120" y="2232238"/>
                    <a:pt x="3380668" y="2230781"/>
                    <a:pt x="3380668" y="2228967"/>
                  </a:cubicBezTo>
                  <a:cubicBezTo>
                    <a:pt x="3380668" y="2227152"/>
                    <a:pt x="3382120" y="2225700"/>
                    <a:pt x="3383934" y="2225700"/>
                  </a:cubicBezTo>
                  <a:close/>
                  <a:moveTo>
                    <a:pt x="3537886" y="2224248"/>
                  </a:moveTo>
                  <a:cubicBezTo>
                    <a:pt x="3540428" y="2224248"/>
                    <a:pt x="3542242" y="2226062"/>
                    <a:pt x="3542242" y="2228605"/>
                  </a:cubicBezTo>
                  <a:cubicBezTo>
                    <a:pt x="3542242" y="2231147"/>
                    <a:pt x="3540062" y="2232962"/>
                    <a:pt x="3537886" y="2232962"/>
                  </a:cubicBezTo>
                  <a:cubicBezTo>
                    <a:pt x="3535343" y="2232962"/>
                    <a:pt x="3533528" y="2231147"/>
                    <a:pt x="3533528" y="2228605"/>
                  </a:cubicBezTo>
                  <a:cubicBezTo>
                    <a:pt x="3533528" y="2226062"/>
                    <a:pt x="3535343" y="2224248"/>
                    <a:pt x="3537886" y="2224248"/>
                  </a:cubicBezTo>
                  <a:close/>
                  <a:moveTo>
                    <a:pt x="3691467" y="2222795"/>
                  </a:moveTo>
                  <a:cubicBezTo>
                    <a:pt x="3694676" y="2222795"/>
                    <a:pt x="3697276" y="2225395"/>
                    <a:pt x="3697276" y="2228605"/>
                  </a:cubicBezTo>
                  <a:cubicBezTo>
                    <a:pt x="3697276" y="2231814"/>
                    <a:pt x="3694676" y="2234414"/>
                    <a:pt x="3691467" y="2234414"/>
                  </a:cubicBezTo>
                  <a:cubicBezTo>
                    <a:pt x="3688257" y="2234414"/>
                    <a:pt x="3685658" y="2231814"/>
                    <a:pt x="3685658" y="2228605"/>
                  </a:cubicBezTo>
                  <a:cubicBezTo>
                    <a:pt x="3685658" y="2225395"/>
                    <a:pt x="3688257" y="2222795"/>
                    <a:pt x="3691467" y="2222795"/>
                  </a:cubicBezTo>
                  <a:close/>
                  <a:moveTo>
                    <a:pt x="3845414" y="2221343"/>
                  </a:moveTo>
                  <a:cubicBezTo>
                    <a:pt x="3849409" y="2221343"/>
                    <a:pt x="3852676" y="2224610"/>
                    <a:pt x="3852676" y="2228605"/>
                  </a:cubicBezTo>
                  <a:cubicBezTo>
                    <a:pt x="3852676" y="2232599"/>
                    <a:pt x="3849409" y="2235866"/>
                    <a:pt x="3845414" y="2235866"/>
                  </a:cubicBezTo>
                  <a:cubicBezTo>
                    <a:pt x="3841420" y="2235866"/>
                    <a:pt x="3838153" y="2232599"/>
                    <a:pt x="3838153" y="2228605"/>
                  </a:cubicBezTo>
                  <a:cubicBezTo>
                    <a:pt x="3838153" y="2224610"/>
                    <a:pt x="3841420" y="2221343"/>
                    <a:pt x="3845414" y="2221343"/>
                  </a:cubicBezTo>
                  <a:close/>
                  <a:moveTo>
                    <a:pt x="3999000" y="2219528"/>
                  </a:moveTo>
                  <a:cubicBezTo>
                    <a:pt x="4004085" y="2219528"/>
                    <a:pt x="4008080" y="2223523"/>
                    <a:pt x="4008080" y="2228605"/>
                  </a:cubicBezTo>
                  <a:cubicBezTo>
                    <a:pt x="4008080" y="2233690"/>
                    <a:pt x="4004085" y="2237685"/>
                    <a:pt x="3999000" y="2237685"/>
                  </a:cubicBezTo>
                  <a:cubicBezTo>
                    <a:pt x="3993918" y="2237685"/>
                    <a:pt x="3989924" y="2233690"/>
                    <a:pt x="3989924" y="2228605"/>
                  </a:cubicBezTo>
                  <a:cubicBezTo>
                    <a:pt x="3989924" y="2223523"/>
                    <a:pt x="3993918" y="2219528"/>
                    <a:pt x="3999000" y="2219528"/>
                  </a:cubicBezTo>
                  <a:close/>
                  <a:moveTo>
                    <a:pt x="4152947" y="2218800"/>
                  </a:moveTo>
                  <a:cubicBezTo>
                    <a:pt x="4158394" y="2218800"/>
                    <a:pt x="4163114" y="2223520"/>
                    <a:pt x="4163114" y="2228967"/>
                  </a:cubicBezTo>
                  <a:cubicBezTo>
                    <a:pt x="4163114" y="2234414"/>
                    <a:pt x="4158756" y="2239133"/>
                    <a:pt x="4152947" y="2239133"/>
                  </a:cubicBezTo>
                  <a:cubicBezTo>
                    <a:pt x="4147500" y="2239133"/>
                    <a:pt x="4142780" y="2234414"/>
                    <a:pt x="4142780" y="2228967"/>
                  </a:cubicBezTo>
                  <a:cubicBezTo>
                    <a:pt x="4142780" y="2223520"/>
                    <a:pt x="4147500" y="2218800"/>
                    <a:pt x="4152947" y="2218800"/>
                  </a:cubicBezTo>
                  <a:close/>
                  <a:moveTo>
                    <a:pt x="4306532" y="2216624"/>
                  </a:moveTo>
                  <a:cubicBezTo>
                    <a:pt x="4313070" y="2216624"/>
                    <a:pt x="4318517" y="2222071"/>
                    <a:pt x="4318517" y="2228605"/>
                  </a:cubicBezTo>
                  <a:cubicBezTo>
                    <a:pt x="4318517" y="2235142"/>
                    <a:pt x="4313070" y="2240585"/>
                    <a:pt x="4306532" y="2240585"/>
                  </a:cubicBezTo>
                  <a:cubicBezTo>
                    <a:pt x="4299998" y="2240585"/>
                    <a:pt x="4294552" y="2235142"/>
                    <a:pt x="4294552" y="2228605"/>
                  </a:cubicBezTo>
                  <a:cubicBezTo>
                    <a:pt x="4294552" y="2222071"/>
                    <a:pt x="4299998" y="2216624"/>
                    <a:pt x="4306532" y="2216624"/>
                  </a:cubicBezTo>
                  <a:close/>
                  <a:moveTo>
                    <a:pt x="4460480" y="2214809"/>
                  </a:moveTo>
                  <a:cubicBezTo>
                    <a:pt x="4468100" y="2214809"/>
                    <a:pt x="4474275" y="2220989"/>
                    <a:pt x="4474275" y="2228608"/>
                  </a:cubicBezTo>
                  <a:cubicBezTo>
                    <a:pt x="4474275" y="2236229"/>
                    <a:pt x="4468100" y="2242404"/>
                    <a:pt x="4460480" y="2242404"/>
                  </a:cubicBezTo>
                  <a:cubicBezTo>
                    <a:pt x="4452860" y="2242404"/>
                    <a:pt x="4446680" y="2236229"/>
                    <a:pt x="4446680" y="2228608"/>
                  </a:cubicBezTo>
                  <a:cubicBezTo>
                    <a:pt x="4446680" y="2220989"/>
                    <a:pt x="4452860" y="2214809"/>
                    <a:pt x="4460480" y="2214809"/>
                  </a:cubicBezTo>
                  <a:close/>
                  <a:moveTo>
                    <a:pt x="4614061" y="2213357"/>
                  </a:moveTo>
                  <a:cubicBezTo>
                    <a:pt x="4622486" y="2213357"/>
                    <a:pt x="4629312" y="2220184"/>
                    <a:pt x="4629312" y="2228608"/>
                  </a:cubicBezTo>
                  <a:cubicBezTo>
                    <a:pt x="4629312" y="2237029"/>
                    <a:pt x="4622486" y="2243856"/>
                    <a:pt x="4614061" y="2243856"/>
                  </a:cubicBezTo>
                  <a:cubicBezTo>
                    <a:pt x="4605640" y="2243856"/>
                    <a:pt x="4598814" y="2237029"/>
                    <a:pt x="4598814" y="2228608"/>
                  </a:cubicBezTo>
                  <a:cubicBezTo>
                    <a:pt x="4598814" y="2220184"/>
                    <a:pt x="4605640" y="2213357"/>
                    <a:pt x="4614061" y="2213357"/>
                  </a:cubicBezTo>
                  <a:close/>
                  <a:moveTo>
                    <a:pt x="4768012" y="2211539"/>
                  </a:moveTo>
                  <a:cubicBezTo>
                    <a:pt x="4777450" y="2211539"/>
                    <a:pt x="4785078" y="2219163"/>
                    <a:pt x="4785078" y="2228605"/>
                  </a:cubicBezTo>
                  <a:cubicBezTo>
                    <a:pt x="4785078" y="2238043"/>
                    <a:pt x="4777450" y="2245667"/>
                    <a:pt x="4768012" y="2245667"/>
                  </a:cubicBezTo>
                  <a:cubicBezTo>
                    <a:pt x="4758570" y="2245667"/>
                    <a:pt x="4750946" y="2238043"/>
                    <a:pt x="4750946" y="2228605"/>
                  </a:cubicBezTo>
                  <a:cubicBezTo>
                    <a:pt x="4750946" y="2219163"/>
                    <a:pt x="4758570" y="2211539"/>
                    <a:pt x="4768012" y="2211539"/>
                  </a:cubicBezTo>
                  <a:close/>
                  <a:moveTo>
                    <a:pt x="4921594" y="2209362"/>
                  </a:moveTo>
                  <a:cubicBezTo>
                    <a:pt x="4932126" y="2209362"/>
                    <a:pt x="4940836" y="2218076"/>
                    <a:pt x="4940836" y="2228605"/>
                  </a:cubicBezTo>
                  <a:cubicBezTo>
                    <a:pt x="4940836" y="2239133"/>
                    <a:pt x="4932126" y="2247851"/>
                    <a:pt x="4921594" y="2247851"/>
                  </a:cubicBezTo>
                  <a:cubicBezTo>
                    <a:pt x="4911066" y="2247851"/>
                    <a:pt x="4902352" y="2239133"/>
                    <a:pt x="4902352" y="2228605"/>
                  </a:cubicBezTo>
                  <a:cubicBezTo>
                    <a:pt x="4902352" y="2218076"/>
                    <a:pt x="4911066" y="2209362"/>
                    <a:pt x="4921594" y="2209362"/>
                  </a:cubicBezTo>
                  <a:close/>
                  <a:moveTo>
                    <a:pt x="5075541" y="2207182"/>
                  </a:moveTo>
                  <a:cubicBezTo>
                    <a:pt x="5087522" y="2207182"/>
                    <a:pt x="5096964" y="2216620"/>
                    <a:pt x="5096964" y="2228605"/>
                  </a:cubicBezTo>
                  <a:cubicBezTo>
                    <a:pt x="5096964" y="2240585"/>
                    <a:pt x="5087160" y="2250027"/>
                    <a:pt x="5075541" y="2250027"/>
                  </a:cubicBezTo>
                  <a:cubicBezTo>
                    <a:pt x="5063560" y="2250027"/>
                    <a:pt x="5054118" y="2240585"/>
                    <a:pt x="5054118" y="2228605"/>
                  </a:cubicBezTo>
                  <a:cubicBezTo>
                    <a:pt x="5054118" y="2216620"/>
                    <a:pt x="5063560" y="2207182"/>
                    <a:pt x="5075541" y="2207182"/>
                  </a:cubicBezTo>
                  <a:close/>
                  <a:moveTo>
                    <a:pt x="5229126" y="2205729"/>
                  </a:moveTo>
                  <a:cubicBezTo>
                    <a:pt x="5241759" y="2205729"/>
                    <a:pt x="5251998" y="2215972"/>
                    <a:pt x="5251998" y="2228605"/>
                  </a:cubicBezTo>
                  <a:cubicBezTo>
                    <a:pt x="5251998" y="2241237"/>
                    <a:pt x="5241759" y="2251480"/>
                    <a:pt x="5229126" y="2251480"/>
                  </a:cubicBezTo>
                  <a:cubicBezTo>
                    <a:pt x="5216494" y="2251480"/>
                    <a:pt x="5206251" y="2241237"/>
                    <a:pt x="5206251" y="2228605"/>
                  </a:cubicBezTo>
                  <a:cubicBezTo>
                    <a:pt x="5206251" y="2215972"/>
                    <a:pt x="5216494" y="2205729"/>
                    <a:pt x="5229126" y="2205729"/>
                  </a:cubicBezTo>
                  <a:close/>
                  <a:moveTo>
                    <a:pt x="5383074" y="2203915"/>
                  </a:moveTo>
                  <a:cubicBezTo>
                    <a:pt x="5396873" y="2203915"/>
                    <a:pt x="5408126" y="2215172"/>
                    <a:pt x="5408126" y="2228967"/>
                  </a:cubicBezTo>
                  <a:cubicBezTo>
                    <a:pt x="5408126" y="2242766"/>
                    <a:pt x="5396873" y="2254023"/>
                    <a:pt x="5383074" y="2254023"/>
                  </a:cubicBezTo>
                  <a:cubicBezTo>
                    <a:pt x="5369278" y="2254023"/>
                    <a:pt x="5358022" y="2242766"/>
                    <a:pt x="5358022" y="2228967"/>
                  </a:cubicBezTo>
                  <a:cubicBezTo>
                    <a:pt x="5358022" y="2215172"/>
                    <a:pt x="5369278" y="2203915"/>
                    <a:pt x="5383074" y="2203915"/>
                  </a:cubicBezTo>
                  <a:close/>
                  <a:moveTo>
                    <a:pt x="5536659" y="2201734"/>
                  </a:moveTo>
                  <a:cubicBezTo>
                    <a:pt x="5551544" y="2201734"/>
                    <a:pt x="5563892" y="2214081"/>
                    <a:pt x="5563892" y="2228967"/>
                  </a:cubicBezTo>
                  <a:cubicBezTo>
                    <a:pt x="5563892" y="2243852"/>
                    <a:pt x="5551906" y="2256199"/>
                    <a:pt x="5536659" y="2256199"/>
                  </a:cubicBezTo>
                  <a:cubicBezTo>
                    <a:pt x="5521770" y="2256199"/>
                    <a:pt x="5509427" y="2243852"/>
                    <a:pt x="5509427" y="2228967"/>
                  </a:cubicBezTo>
                  <a:cubicBezTo>
                    <a:pt x="5509427" y="2214081"/>
                    <a:pt x="5521770" y="2201734"/>
                    <a:pt x="5536659" y="2201734"/>
                  </a:cubicBezTo>
                  <a:close/>
                  <a:moveTo>
                    <a:pt x="5690606" y="2198834"/>
                  </a:moveTo>
                  <a:cubicBezTo>
                    <a:pt x="5707047" y="2198834"/>
                    <a:pt x="5720378" y="2212164"/>
                    <a:pt x="5720378" y="2228608"/>
                  </a:cubicBezTo>
                  <a:cubicBezTo>
                    <a:pt x="5720378" y="2245049"/>
                    <a:pt x="5707047" y="2258379"/>
                    <a:pt x="5690606" y="2258379"/>
                  </a:cubicBezTo>
                  <a:cubicBezTo>
                    <a:pt x="5674162" y="2258379"/>
                    <a:pt x="5660832" y="2245049"/>
                    <a:pt x="5660832" y="2228608"/>
                  </a:cubicBezTo>
                  <a:cubicBezTo>
                    <a:pt x="5660832" y="2212164"/>
                    <a:pt x="5674162" y="2198834"/>
                    <a:pt x="5690606" y="2198834"/>
                  </a:cubicBezTo>
                  <a:close/>
                  <a:moveTo>
                    <a:pt x="5844554" y="2197015"/>
                  </a:moveTo>
                  <a:cubicBezTo>
                    <a:pt x="5862344" y="2197015"/>
                    <a:pt x="5876506" y="2211177"/>
                    <a:pt x="5876506" y="2228967"/>
                  </a:cubicBezTo>
                  <a:cubicBezTo>
                    <a:pt x="5876506" y="2246757"/>
                    <a:pt x="5862344" y="2260918"/>
                    <a:pt x="5844554" y="2260918"/>
                  </a:cubicBezTo>
                  <a:cubicBezTo>
                    <a:pt x="5826764" y="2260918"/>
                    <a:pt x="5812602" y="2246757"/>
                    <a:pt x="5812602" y="2228967"/>
                  </a:cubicBezTo>
                  <a:cubicBezTo>
                    <a:pt x="5812602" y="2211177"/>
                    <a:pt x="5826764" y="2197015"/>
                    <a:pt x="5844554" y="2197015"/>
                  </a:cubicBezTo>
                  <a:close/>
                  <a:moveTo>
                    <a:pt x="5998136" y="2194839"/>
                  </a:moveTo>
                  <a:cubicBezTo>
                    <a:pt x="6016783" y="2194839"/>
                    <a:pt x="6031901" y="2209957"/>
                    <a:pt x="6031901" y="2228605"/>
                  </a:cubicBezTo>
                  <a:cubicBezTo>
                    <a:pt x="6031901" y="2247256"/>
                    <a:pt x="6016783" y="2262374"/>
                    <a:pt x="5998136" y="2262374"/>
                  </a:cubicBezTo>
                  <a:cubicBezTo>
                    <a:pt x="5979488" y="2262374"/>
                    <a:pt x="5964370" y="2247256"/>
                    <a:pt x="5964370" y="2228605"/>
                  </a:cubicBezTo>
                  <a:cubicBezTo>
                    <a:pt x="5964370" y="2209957"/>
                    <a:pt x="5979488" y="2194839"/>
                    <a:pt x="5998136" y="2194839"/>
                  </a:cubicBezTo>
                  <a:close/>
                  <a:moveTo>
                    <a:pt x="6152083" y="2192296"/>
                  </a:moveTo>
                  <a:cubicBezTo>
                    <a:pt x="6172054" y="2192296"/>
                    <a:pt x="6188391" y="2208634"/>
                    <a:pt x="6188391" y="2228605"/>
                  </a:cubicBezTo>
                  <a:cubicBezTo>
                    <a:pt x="6188391" y="2248575"/>
                    <a:pt x="6172054" y="2264913"/>
                    <a:pt x="6152083" y="2264913"/>
                  </a:cubicBezTo>
                  <a:cubicBezTo>
                    <a:pt x="6132112" y="2264913"/>
                    <a:pt x="6115774" y="2248575"/>
                    <a:pt x="6115774" y="2228605"/>
                  </a:cubicBezTo>
                  <a:cubicBezTo>
                    <a:pt x="6115774" y="2208634"/>
                    <a:pt x="6132112" y="2192296"/>
                    <a:pt x="6152083" y="2192296"/>
                  </a:cubicBezTo>
                  <a:close/>
                  <a:moveTo>
                    <a:pt x="6305672" y="2189754"/>
                  </a:moveTo>
                  <a:cubicBezTo>
                    <a:pt x="6327091" y="2189754"/>
                    <a:pt x="6344522" y="2207182"/>
                    <a:pt x="6344522" y="2228605"/>
                  </a:cubicBezTo>
                  <a:cubicBezTo>
                    <a:pt x="6344522" y="2250024"/>
                    <a:pt x="6327091" y="2267452"/>
                    <a:pt x="6305672" y="2267452"/>
                  </a:cubicBezTo>
                  <a:cubicBezTo>
                    <a:pt x="6284249" y="2267452"/>
                    <a:pt x="6266821" y="2250024"/>
                    <a:pt x="6266821" y="2228605"/>
                  </a:cubicBezTo>
                  <a:cubicBezTo>
                    <a:pt x="6266821" y="2207182"/>
                    <a:pt x="6284249" y="2189754"/>
                    <a:pt x="6305672" y="2189754"/>
                  </a:cubicBezTo>
                  <a:close/>
                  <a:moveTo>
                    <a:pt x="6459616" y="2187577"/>
                  </a:moveTo>
                  <a:cubicBezTo>
                    <a:pt x="6482490" y="2187577"/>
                    <a:pt x="6500646" y="2205733"/>
                    <a:pt x="6500646" y="2228605"/>
                  </a:cubicBezTo>
                  <a:cubicBezTo>
                    <a:pt x="6500646" y="2251480"/>
                    <a:pt x="6482128" y="2269632"/>
                    <a:pt x="6459616" y="2269632"/>
                  </a:cubicBezTo>
                  <a:cubicBezTo>
                    <a:pt x="6436744" y="2269632"/>
                    <a:pt x="6418588" y="2251480"/>
                    <a:pt x="6418588" y="2228605"/>
                  </a:cubicBezTo>
                  <a:cubicBezTo>
                    <a:pt x="6418588" y="2205733"/>
                    <a:pt x="6436744" y="2187577"/>
                    <a:pt x="6459616" y="2187577"/>
                  </a:cubicBezTo>
                  <a:close/>
                  <a:moveTo>
                    <a:pt x="6613200" y="2185035"/>
                  </a:moveTo>
                  <a:cubicBezTo>
                    <a:pt x="6637262" y="2185035"/>
                    <a:pt x="6656770" y="2204540"/>
                    <a:pt x="6656770" y="2228605"/>
                  </a:cubicBezTo>
                  <a:cubicBezTo>
                    <a:pt x="6656770" y="2252669"/>
                    <a:pt x="6637265" y="2272175"/>
                    <a:pt x="6613200" y="2272175"/>
                  </a:cubicBezTo>
                  <a:cubicBezTo>
                    <a:pt x="6589136" y="2272175"/>
                    <a:pt x="6569630" y="2252669"/>
                    <a:pt x="6569630" y="2228605"/>
                  </a:cubicBezTo>
                  <a:cubicBezTo>
                    <a:pt x="6569630" y="2204540"/>
                    <a:pt x="6589136" y="2185035"/>
                    <a:pt x="6613200" y="2185035"/>
                  </a:cubicBezTo>
                  <a:close/>
                  <a:moveTo>
                    <a:pt x="2768873" y="2074657"/>
                  </a:moveTo>
                  <a:cubicBezTo>
                    <a:pt x="2769235" y="2074657"/>
                    <a:pt x="2769235" y="2074657"/>
                    <a:pt x="2769235" y="2075019"/>
                  </a:cubicBezTo>
                  <a:cubicBezTo>
                    <a:pt x="2769235" y="2075385"/>
                    <a:pt x="2768873" y="2075385"/>
                    <a:pt x="2768873" y="2075385"/>
                  </a:cubicBezTo>
                  <a:cubicBezTo>
                    <a:pt x="2768511" y="2075385"/>
                    <a:pt x="2768511" y="2075385"/>
                    <a:pt x="2768511" y="2075019"/>
                  </a:cubicBezTo>
                  <a:cubicBezTo>
                    <a:pt x="2768511" y="2074657"/>
                    <a:pt x="2768511" y="2074657"/>
                    <a:pt x="2768873" y="2074657"/>
                  </a:cubicBezTo>
                  <a:close/>
                  <a:moveTo>
                    <a:pt x="2307393" y="2074657"/>
                  </a:moveTo>
                  <a:cubicBezTo>
                    <a:pt x="2307755" y="2074657"/>
                    <a:pt x="2307755" y="2074657"/>
                    <a:pt x="2307755" y="2075019"/>
                  </a:cubicBezTo>
                  <a:cubicBezTo>
                    <a:pt x="2307755" y="2075385"/>
                    <a:pt x="2307393" y="2075385"/>
                    <a:pt x="2307393" y="2075385"/>
                  </a:cubicBezTo>
                  <a:cubicBezTo>
                    <a:pt x="2307031" y="2075385"/>
                    <a:pt x="2307031" y="2075385"/>
                    <a:pt x="2307031" y="2075019"/>
                  </a:cubicBezTo>
                  <a:cubicBezTo>
                    <a:pt x="2307031" y="2074657"/>
                    <a:pt x="2307031" y="2074657"/>
                    <a:pt x="2307393" y="2074657"/>
                  </a:cubicBezTo>
                  <a:close/>
                  <a:moveTo>
                    <a:pt x="2153808" y="2074657"/>
                  </a:moveTo>
                  <a:cubicBezTo>
                    <a:pt x="2154170" y="2074657"/>
                    <a:pt x="2154170" y="2074657"/>
                    <a:pt x="2154170" y="2075019"/>
                  </a:cubicBezTo>
                  <a:cubicBezTo>
                    <a:pt x="2154170" y="2075385"/>
                    <a:pt x="2153808" y="2075385"/>
                    <a:pt x="2153808" y="2075385"/>
                  </a:cubicBezTo>
                  <a:cubicBezTo>
                    <a:pt x="2153445" y="2075385"/>
                    <a:pt x="2153445" y="2075385"/>
                    <a:pt x="2153445" y="2075019"/>
                  </a:cubicBezTo>
                  <a:cubicBezTo>
                    <a:pt x="2153445" y="2074657"/>
                    <a:pt x="2153445" y="2074657"/>
                    <a:pt x="2153808" y="2074657"/>
                  </a:cubicBezTo>
                  <a:close/>
                  <a:moveTo>
                    <a:pt x="1999864" y="2074295"/>
                  </a:moveTo>
                  <a:cubicBezTo>
                    <a:pt x="2000264" y="2074295"/>
                    <a:pt x="2000588" y="2074619"/>
                    <a:pt x="2000588" y="2075023"/>
                  </a:cubicBezTo>
                  <a:cubicBezTo>
                    <a:pt x="2000588" y="2075423"/>
                    <a:pt x="2000264" y="2075747"/>
                    <a:pt x="1999864" y="2075747"/>
                  </a:cubicBezTo>
                  <a:cubicBezTo>
                    <a:pt x="1999460" y="2075747"/>
                    <a:pt x="1999136" y="2075423"/>
                    <a:pt x="1999136" y="2075023"/>
                  </a:cubicBezTo>
                  <a:cubicBezTo>
                    <a:pt x="1999136" y="2074619"/>
                    <a:pt x="1999460" y="2074295"/>
                    <a:pt x="1999864" y="2074295"/>
                  </a:cubicBezTo>
                  <a:close/>
                  <a:moveTo>
                    <a:pt x="2922458" y="2073205"/>
                  </a:moveTo>
                  <a:cubicBezTo>
                    <a:pt x="2923186" y="2073205"/>
                    <a:pt x="2923910" y="2073933"/>
                    <a:pt x="2923910" y="2074657"/>
                  </a:cubicBezTo>
                  <a:cubicBezTo>
                    <a:pt x="2923910" y="2075385"/>
                    <a:pt x="2922458" y="2076110"/>
                    <a:pt x="2922458" y="2076110"/>
                  </a:cubicBezTo>
                  <a:cubicBezTo>
                    <a:pt x="2921734" y="2076110"/>
                    <a:pt x="2921006" y="2075385"/>
                    <a:pt x="2921006" y="2074657"/>
                  </a:cubicBezTo>
                  <a:cubicBezTo>
                    <a:pt x="2921006" y="2073933"/>
                    <a:pt x="2921734" y="2073205"/>
                    <a:pt x="2922458" y="2073205"/>
                  </a:cubicBezTo>
                  <a:close/>
                  <a:moveTo>
                    <a:pt x="3076406" y="2072843"/>
                  </a:moveTo>
                  <a:cubicBezTo>
                    <a:pt x="3077496" y="2072843"/>
                    <a:pt x="3078582" y="2073933"/>
                    <a:pt x="3078582" y="2075023"/>
                  </a:cubicBezTo>
                  <a:cubicBezTo>
                    <a:pt x="3078582" y="2076110"/>
                    <a:pt x="3076406" y="2077200"/>
                    <a:pt x="3076406" y="2077200"/>
                  </a:cubicBezTo>
                  <a:cubicBezTo>
                    <a:pt x="3075315" y="2077200"/>
                    <a:pt x="3074225" y="2076110"/>
                    <a:pt x="3074225" y="2075023"/>
                  </a:cubicBezTo>
                  <a:cubicBezTo>
                    <a:pt x="3074225" y="2073933"/>
                    <a:pt x="3075315" y="2072843"/>
                    <a:pt x="3076406" y="2072843"/>
                  </a:cubicBezTo>
                  <a:close/>
                  <a:moveTo>
                    <a:pt x="3230353" y="2071753"/>
                  </a:moveTo>
                  <a:cubicBezTo>
                    <a:pt x="3232167" y="2071753"/>
                    <a:pt x="3233620" y="2073205"/>
                    <a:pt x="3233620" y="2075019"/>
                  </a:cubicBezTo>
                  <a:cubicBezTo>
                    <a:pt x="3233620" y="2076834"/>
                    <a:pt x="3232167" y="2078290"/>
                    <a:pt x="3230353" y="2078290"/>
                  </a:cubicBezTo>
                  <a:cubicBezTo>
                    <a:pt x="3228538" y="2078290"/>
                    <a:pt x="3227086" y="2076834"/>
                    <a:pt x="3227086" y="2075019"/>
                  </a:cubicBezTo>
                  <a:cubicBezTo>
                    <a:pt x="3227086" y="2073205"/>
                    <a:pt x="3228538" y="2071753"/>
                    <a:pt x="3230353" y="2071753"/>
                  </a:cubicBezTo>
                  <a:close/>
                  <a:moveTo>
                    <a:pt x="3383934" y="2070662"/>
                  </a:moveTo>
                  <a:cubicBezTo>
                    <a:pt x="3386477" y="2070662"/>
                    <a:pt x="3388291" y="2072477"/>
                    <a:pt x="3388291" y="2075019"/>
                  </a:cubicBezTo>
                  <a:cubicBezTo>
                    <a:pt x="3388291" y="2077562"/>
                    <a:pt x="3386115" y="2079376"/>
                    <a:pt x="3383934" y="2079376"/>
                  </a:cubicBezTo>
                  <a:cubicBezTo>
                    <a:pt x="3381392" y="2079376"/>
                    <a:pt x="3379577" y="2077562"/>
                    <a:pt x="3379577" y="2075019"/>
                  </a:cubicBezTo>
                  <a:cubicBezTo>
                    <a:pt x="3379577" y="2072477"/>
                    <a:pt x="3381392" y="2070662"/>
                    <a:pt x="3383934" y="2070662"/>
                  </a:cubicBezTo>
                  <a:close/>
                  <a:moveTo>
                    <a:pt x="3537886" y="2069210"/>
                  </a:moveTo>
                  <a:cubicBezTo>
                    <a:pt x="3541152" y="2069210"/>
                    <a:pt x="3543695" y="2071753"/>
                    <a:pt x="3543695" y="2075019"/>
                  </a:cubicBezTo>
                  <a:cubicBezTo>
                    <a:pt x="3543695" y="2078286"/>
                    <a:pt x="3541152" y="2080829"/>
                    <a:pt x="3537886" y="2080829"/>
                  </a:cubicBezTo>
                  <a:cubicBezTo>
                    <a:pt x="3534619" y="2080829"/>
                    <a:pt x="3532076" y="2078286"/>
                    <a:pt x="3532076" y="2075019"/>
                  </a:cubicBezTo>
                  <a:cubicBezTo>
                    <a:pt x="3532076" y="2071753"/>
                    <a:pt x="3534619" y="2069210"/>
                    <a:pt x="3537886" y="2069210"/>
                  </a:cubicBezTo>
                  <a:close/>
                  <a:moveTo>
                    <a:pt x="3691467" y="2067758"/>
                  </a:moveTo>
                  <a:cubicBezTo>
                    <a:pt x="3695462" y="2067758"/>
                    <a:pt x="3698728" y="2071025"/>
                    <a:pt x="3698728" y="2075019"/>
                  </a:cubicBezTo>
                  <a:cubicBezTo>
                    <a:pt x="3698728" y="2079014"/>
                    <a:pt x="3695462" y="2082281"/>
                    <a:pt x="3691467" y="2082281"/>
                  </a:cubicBezTo>
                  <a:cubicBezTo>
                    <a:pt x="3687472" y="2082281"/>
                    <a:pt x="3684205" y="2079014"/>
                    <a:pt x="3684205" y="2075019"/>
                  </a:cubicBezTo>
                  <a:cubicBezTo>
                    <a:pt x="3684205" y="2071025"/>
                    <a:pt x="3687472" y="2067758"/>
                    <a:pt x="3691467" y="2067758"/>
                  </a:cubicBezTo>
                  <a:close/>
                  <a:moveTo>
                    <a:pt x="3845414" y="2065943"/>
                  </a:moveTo>
                  <a:cubicBezTo>
                    <a:pt x="3850500" y="2065943"/>
                    <a:pt x="3854494" y="2069938"/>
                    <a:pt x="3854494" y="2075019"/>
                  </a:cubicBezTo>
                  <a:cubicBezTo>
                    <a:pt x="3854494" y="2080104"/>
                    <a:pt x="3850500" y="2084099"/>
                    <a:pt x="3845414" y="2084099"/>
                  </a:cubicBezTo>
                  <a:cubicBezTo>
                    <a:pt x="3840333" y="2084099"/>
                    <a:pt x="3836338" y="2080104"/>
                    <a:pt x="3836338" y="2075019"/>
                  </a:cubicBezTo>
                  <a:cubicBezTo>
                    <a:pt x="3836338" y="2069938"/>
                    <a:pt x="3840333" y="2065943"/>
                    <a:pt x="3845414" y="2065943"/>
                  </a:cubicBezTo>
                  <a:close/>
                  <a:moveTo>
                    <a:pt x="3999000" y="2064853"/>
                  </a:moveTo>
                  <a:cubicBezTo>
                    <a:pt x="4004447" y="2064853"/>
                    <a:pt x="4009166" y="2069572"/>
                    <a:pt x="4009166" y="2075019"/>
                  </a:cubicBezTo>
                  <a:cubicBezTo>
                    <a:pt x="4009166" y="2080467"/>
                    <a:pt x="4004809" y="2085186"/>
                    <a:pt x="3999000" y="2085186"/>
                  </a:cubicBezTo>
                  <a:cubicBezTo>
                    <a:pt x="3993552" y="2085186"/>
                    <a:pt x="3988833" y="2080467"/>
                    <a:pt x="3988833" y="2075019"/>
                  </a:cubicBezTo>
                  <a:cubicBezTo>
                    <a:pt x="3988833" y="2069572"/>
                    <a:pt x="3993552" y="2064853"/>
                    <a:pt x="3999000" y="2064853"/>
                  </a:cubicBezTo>
                  <a:close/>
                  <a:moveTo>
                    <a:pt x="4152947" y="2063038"/>
                  </a:moveTo>
                  <a:cubicBezTo>
                    <a:pt x="4159484" y="2063038"/>
                    <a:pt x="4164932" y="2068486"/>
                    <a:pt x="4164932" y="2075019"/>
                  </a:cubicBezTo>
                  <a:cubicBezTo>
                    <a:pt x="4164932" y="2081557"/>
                    <a:pt x="4159484" y="2087000"/>
                    <a:pt x="4152947" y="2087000"/>
                  </a:cubicBezTo>
                  <a:cubicBezTo>
                    <a:pt x="4146414" y="2087000"/>
                    <a:pt x="4140966" y="2081557"/>
                    <a:pt x="4140966" y="2075019"/>
                  </a:cubicBezTo>
                  <a:cubicBezTo>
                    <a:pt x="4140966" y="2068486"/>
                    <a:pt x="4146414" y="2063038"/>
                    <a:pt x="4152947" y="2063038"/>
                  </a:cubicBezTo>
                  <a:close/>
                  <a:moveTo>
                    <a:pt x="4306528" y="2061224"/>
                  </a:moveTo>
                  <a:cubicBezTo>
                    <a:pt x="4314156" y="2061224"/>
                    <a:pt x="4320328" y="2067396"/>
                    <a:pt x="4320328" y="2075023"/>
                  </a:cubicBezTo>
                  <a:cubicBezTo>
                    <a:pt x="4320328" y="2082647"/>
                    <a:pt x="4314156" y="2088818"/>
                    <a:pt x="4306528" y="2088818"/>
                  </a:cubicBezTo>
                  <a:cubicBezTo>
                    <a:pt x="4298904" y="2088818"/>
                    <a:pt x="4292733" y="2082647"/>
                    <a:pt x="4292733" y="2075023"/>
                  </a:cubicBezTo>
                  <a:cubicBezTo>
                    <a:pt x="4292733" y="2067396"/>
                    <a:pt x="4298904" y="2061224"/>
                    <a:pt x="4306528" y="2061224"/>
                  </a:cubicBezTo>
                  <a:close/>
                  <a:moveTo>
                    <a:pt x="4460476" y="2059772"/>
                  </a:moveTo>
                  <a:cubicBezTo>
                    <a:pt x="4468900" y="2059772"/>
                    <a:pt x="4475728" y="2066599"/>
                    <a:pt x="4475728" y="2075023"/>
                  </a:cubicBezTo>
                  <a:cubicBezTo>
                    <a:pt x="4475728" y="2083444"/>
                    <a:pt x="4468900" y="2090271"/>
                    <a:pt x="4460476" y="2090271"/>
                  </a:cubicBezTo>
                  <a:cubicBezTo>
                    <a:pt x="4452056" y="2090271"/>
                    <a:pt x="4445228" y="2083444"/>
                    <a:pt x="4445228" y="2075023"/>
                  </a:cubicBezTo>
                  <a:cubicBezTo>
                    <a:pt x="4445228" y="2066599"/>
                    <a:pt x="4452056" y="2059772"/>
                    <a:pt x="4460476" y="2059772"/>
                  </a:cubicBezTo>
                  <a:close/>
                  <a:moveTo>
                    <a:pt x="4614065" y="2057957"/>
                  </a:moveTo>
                  <a:cubicBezTo>
                    <a:pt x="4623503" y="2057957"/>
                    <a:pt x="4631131" y="2065581"/>
                    <a:pt x="4631131" y="2075023"/>
                  </a:cubicBezTo>
                  <a:cubicBezTo>
                    <a:pt x="4631131" y="2084461"/>
                    <a:pt x="4623503" y="2092085"/>
                    <a:pt x="4614065" y="2092085"/>
                  </a:cubicBezTo>
                  <a:cubicBezTo>
                    <a:pt x="4604623" y="2092085"/>
                    <a:pt x="4596999" y="2084461"/>
                    <a:pt x="4596999" y="2075023"/>
                  </a:cubicBezTo>
                  <a:cubicBezTo>
                    <a:pt x="4596999" y="2065581"/>
                    <a:pt x="4604623" y="2057957"/>
                    <a:pt x="4614065" y="2057957"/>
                  </a:cubicBezTo>
                  <a:close/>
                  <a:moveTo>
                    <a:pt x="4768008" y="2055777"/>
                  </a:moveTo>
                  <a:cubicBezTo>
                    <a:pt x="4778640" y="2055777"/>
                    <a:pt x="4787255" y="2064392"/>
                    <a:pt x="4787255" y="2075019"/>
                  </a:cubicBezTo>
                  <a:cubicBezTo>
                    <a:pt x="4787255" y="2085647"/>
                    <a:pt x="4778640" y="2094266"/>
                    <a:pt x="4768008" y="2094266"/>
                  </a:cubicBezTo>
                  <a:cubicBezTo>
                    <a:pt x="4757381" y="2094266"/>
                    <a:pt x="4748766" y="2085647"/>
                    <a:pt x="4748766" y="2075019"/>
                  </a:cubicBezTo>
                  <a:cubicBezTo>
                    <a:pt x="4748766" y="2064392"/>
                    <a:pt x="4757381" y="2055777"/>
                    <a:pt x="4768008" y="2055777"/>
                  </a:cubicBezTo>
                  <a:close/>
                  <a:moveTo>
                    <a:pt x="4921594" y="2053600"/>
                  </a:moveTo>
                  <a:cubicBezTo>
                    <a:pt x="4933574" y="2053600"/>
                    <a:pt x="4943013" y="2063038"/>
                    <a:pt x="4943013" y="2075023"/>
                  </a:cubicBezTo>
                  <a:cubicBezTo>
                    <a:pt x="4943013" y="2087004"/>
                    <a:pt x="4933212" y="2096446"/>
                    <a:pt x="4921594" y="2096446"/>
                  </a:cubicBezTo>
                  <a:cubicBezTo>
                    <a:pt x="4909613" y="2096446"/>
                    <a:pt x="4900171" y="2087004"/>
                    <a:pt x="4900171" y="2075023"/>
                  </a:cubicBezTo>
                  <a:cubicBezTo>
                    <a:pt x="4900171" y="2063038"/>
                    <a:pt x="4909613" y="2053600"/>
                    <a:pt x="4921594" y="2053600"/>
                  </a:cubicBezTo>
                  <a:close/>
                  <a:moveTo>
                    <a:pt x="5075545" y="2052148"/>
                  </a:moveTo>
                  <a:cubicBezTo>
                    <a:pt x="5088250" y="2052148"/>
                    <a:pt x="5098416" y="2062314"/>
                    <a:pt x="5098416" y="2075023"/>
                  </a:cubicBezTo>
                  <a:cubicBezTo>
                    <a:pt x="5098416" y="2087728"/>
                    <a:pt x="5088250" y="2097895"/>
                    <a:pt x="5075545" y="2097895"/>
                  </a:cubicBezTo>
                  <a:cubicBezTo>
                    <a:pt x="5062836" y="2097895"/>
                    <a:pt x="5052670" y="2087728"/>
                    <a:pt x="5052670" y="2075023"/>
                  </a:cubicBezTo>
                  <a:cubicBezTo>
                    <a:pt x="5052670" y="2062314"/>
                    <a:pt x="5062836" y="2052148"/>
                    <a:pt x="5075545" y="2052148"/>
                  </a:cubicBezTo>
                  <a:close/>
                  <a:moveTo>
                    <a:pt x="5229126" y="2049968"/>
                  </a:moveTo>
                  <a:cubicBezTo>
                    <a:pt x="5242926" y="2049968"/>
                    <a:pt x="5254182" y="2061224"/>
                    <a:pt x="5254182" y="2075019"/>
                  </a:cubicBezTo>
                  <a:cubicBezTo>
                    <a:pt x="5254182" y="2088818"/>
                    <a:pt x="5242926" y="2100075"/>
                    <a:pt x="5229126" y="2100075"/>
                  </a:cubicBezTo>
                  <a:cubicBezTo>
                    <a:pt x="5215331" y="2100075"/>
                    <a:pt x="5204074" y="2088818"/>
                    <a:pt x="5204074" y="2075019"/>
                  </a:cubicBezTo>
                  <a:cubicBezTo>
                    <a:pt x="5204074" y="2061224"/>
                    <a:pt x="5215331" y="2049968"/>
                    <a:pt x="5229126" y="2049968"/>
                  </a:cubicBezTo>
                  <a:close/>
                  <a:moveTo>
                    <a:pt x="5383074" y="2047791"/>
                  </a:moveTo>
                  <a:cubicBezTo>
                    <a:pt x="5397960" y="2047791"/>
                    <a:pt x="5410306" y="2060138"/>
                    <a:pt x="5410306" y="2075023"/>
                  </a:cubicBezTo>
                  <a:cubicBezTo>
                    <a:pt x="5410306" y="2089909"/>
                    <a:pt x="5398322" y="2102256"/>
                    <a:pt x="5383074" y="2102256"/>
                  </a:cubicBezTo>
                  <a:cubicBezTo>
                    <a:pt x="5368184" y="2102256"/>
                    <a:pt x="5355842" y="2089909"/>
                    <a:pt x="5355842" y="2075023"/>
                  </a:cubicBezTo>
                  <a:cubicBezTo>
                    <a:pt x="5355842" y="2060138"/>
                    <a:pt x="5368184" y="2047791"/>
                    <a:pt x="5383074" y="2047791"/>
                  </a:cubicBezTo>
                  <a:close/>
                  <a:moveTo>
                    <a:pt x="5537018" y="2045248"/>
                  </a:moveTo>
                  <a:cubicBezTo>
                    <a:pt x="5553462" y="2045248"/>
                    <a:pt x="5566792" y="2058579"/>
                    <a:pt x="5566792" y="2075023"/>
                  </a:cubicBezTo>
                  <a:cubicBezTo>
                    <a:pt x="5566792" y="2091464"/>
                    <a:pt x="5553462" y="2104794"/>
                    <a:pt x="5537018" y="2104794"/>
                  </a:cubicBezTo>
                  <a:cubicBezTo>
                    <a:pt x="5520576" y="2104794"/>
                    <a:pt x="5507246" y="2091464"/>
                    <a:pt x="5507246" y="2075023"/>
                  </a:cubicBezTo>
                  <a:cubicBezTo>
                    <a:pt x="5507246" y="2058579"/>
                    <a:pt x="5520576" y="2045248"/>
                    <a:pt x="5537018" y="2045248"/>
                  </a:cubicBezTo>
                  <a:close/>
                  <a:moveTo>
                    <a:pt x="5690606" y="2043068"/>
                  </a:moveTo>
                  <a:cubicBezTo>
                    <a:pt x="5708396" y="2043068"/>
                    <a:pt x="5722558" y="2057229"/>
                    <a:pt x="5722558" y="2075019"/>
                  </a:cubicBezTo>
                  <a:cubicBezTo>
                    <a:pt x="5722558" y="2092810"/>
                    <a:pt x="5708396" y="2106971"/>
                    <a:pt x="5690606" y="2106971"/>
                  </a:cubicBezTo>
                  <a:cubicBezTo>
                    <a:pt x="5672816" y="2106971"/>
                    <a:pt x="5658655" y="2092810"/>
                    <a:pt x="5658655" y="2075019"/>
                  </a:cubicBezTo>
                  <a:cubicBezTo>
                    <a:pt x="5658655" y="2057229"/>
                    <a:pt x="5672816" y="2043068"/>
                    <a:pt x="5690606" y="2043068"/>
                  </a:cubicBezTo>
                  <a:close/>
                  <a:moveTo>
                    <a:pt x="5844554" y="2041254"/>
                  </a:moveTo>
                  <a:cubicBezTo>
                    <a:pt x="5863202" y="2041254"/>
                    <a:pt x="5878320" y="2056372"/>
                    <a:pt x="5878320" y="2075019"/>
                  </a:cubicBezTo>
                  <a:cubicBezTo>
                    <a:pt x="5878320" y="2093671"/>
                    <a:pt x="5863202" y="2108789"/>
                    <a:pt x="5844554" y="2108789"/>
                  </a:cubicBezTo>
                  <a:cubicBezTo>
                    <a:pt x="5825906" y="2108789"/>
                    <a:pt x="5810788" y="2093671"/>
                    <a:pt x="5810788" y="2075019"/>
                  </a:cubicBezTo>
                  <a:cubicBezTo>
                    <a:pt x="5810788" y="2056372"/>
                    <a:pt x="5825906" y="2041254"/>
                    <a:pt x="5844554" y="2041254"/>
                  </a:cubicBezTo>
                  <a:close/>
                  <a:moveTo>
                    <a:pt x="5998136" y="2038711"/>
                  </a:moveTo>
                  <a:cubicBezTo>
                    <a:pt x="6018106" y="2038711"/>
                    <a:pt x="6034444" y="2055049"/>
                    <a:pt x="6034444" y="2075019"/>
                  </a:cubicBezTo>
                  <a:cubicBezTo>
                    <a:pt x="6034444" y="2094990"/>
                    <a:pt x="6018106" y="2111328"/>
                    <a:pt x="5998136" y="2111328"/>
                  </a:cubicBezTo>
                  <a:cubicBezTo>
                    <a:pt x="5978165" y="2111328"/>
                    <a:pt x="5961827" y="2094990"/>
                    <a:pt x="5961827" y="2075019"/>
                  </a:cubicBezTo>
                  <a:cubicBezTo>
                    <a:pt x="5961827" y="2055049"/>
                    <a:pt x="5978165" y="2038711"/>
                    <a:pt x="5998136" y="2038711"/>
                  </a:cubicBezTo>
                  <a:close/>
                  <a:moveTo>
                    <a:pt x="6152083" y="2036172"/>
                  </a:moveTo>
                  <a:cubicBezTo>
                    <a:pt x="6173506" y="2036172"/>
                    <a:pt x="6190934" y="2053600"/>
                    <a:pt x="6190934" y="2075023"/>
                  </a:cubicBezTo>
                  <a:cubicBezTo>
                    <a:pt x="6190934" y="2096442"/>
                    <a:pt x="6173506" y="2113870"/>
                    <a:pt x="6152083" y="2113870"/>
                  </a:cubicBezTo>
                  <a:cubicBezTo>
                    <a:pt x="6130664" y="2113870"/>
                    <a:pt x="6113236" y="2096442"/>
                    <a:pt x="6113236" y="2075023"/>
                  </a:cubicBezTo>
                  <a:cubicBezTo>
                    <a:pt x="6113236" y="2053600"/>
                    <a:pt x="6130664" y="2036172"/>
                    <a:pt x="6152083" y="2036172"/>
                  </a:cubicBezTo>
                  <a:close/>
                  <a:moveTo>
                    <a:pt x="6305668" y="2033992"/>
                  </a:moveTo>
                  <a:cubicBezTo>
                    <a:pt x="6328543" y="2033992"/>
                    <a:pt x="6346700" y="2052148"/>
                    <a:pt x="6346700" y="2075019"/>
                  </a:cubicBezTo>
                  <a:cubicBezTo>
                    <a:pt x="6346700" y="2097895"/>
                    <a:pt x="6328181" y="2116047"/>
                    <a:pt x="6305668" y="2116047"/>
                  </a:cubicBezTo>
                  <a:cubicBezTo>
                    <a:pt x="6282796" y="2116047"/>
                    <a:pt x="6264640" y="2097895"/>
                    <a:pt x="6264640" y="2075019"/>
                  </a:cubicBezTo>
                  <a:cubicBezTo>
                    <a:pt x="6264640" y="2052148"/>
                    <a:pt x="6282796" y="2033992"/>
                    <a:pt x="6305668" y="2033992"/>
                  </a:cubicBezTo>
                  <a:close/>
                  <a:moveTo>
                    <a:pt x="6459616" y="2031449"/>
                  </a:moveTo>
                  <a:cubicBezTo>
                    <a:pt x="6483577" y="2031449"/>
                    <a:pt x="6503186" y="2051058"/>
                    <a:pt x="6503186" y="2075019"/>
                  </a:cubicBezTo>
                  <a:cubicBezTo>
                    <a:pt x="6503186" y="2098985"/>
                    <a:pt x="6483577" y="2118590"/>
                    <a:pt x="6459616" y="2118590"/>
                  </a:cubicBezTo>
                  <a:cubicBezTo>
                    <a:pt x="6435650" y="2118590"/>
                    <a:pt x="6416046" y="2098985"/>
                    <a:pt x="6416046" y="2075019"/>
                  </a:cubicBezTo>
                  <a:cubicBezTo>
                    <a:pt x="6416046" y="2051058"/>
                    <a:pt x="6435650" y="2031449"/>
                    <a:pt x="6459616" y="2031449"/>
                  </a:cubicBezTo>
                  <a:close/>
                  <a:moveTo>
                    <a:pt x="6613200" y="2028911"/>
                  </a:moveTo>
                  <a:cubicBezTo>
                    <a:pt x="6638668" y="2028911"/>
                    <a:pt x="6659313" y="2049556"/>
                    <a:pt x="6659313" y="2075023"/>
                  </a:cubicBezTo>
                  <a:cubicBezTo>
                    <a:pt x="6659313" y="2100490"/>
                    <a:pt x="6638668" y="2121136"/>
                    <a:pt x="6613200" y="2121136"/>
                  </a:cubicBezTo>
                  <a:cubicBezTo>
                    <a:pt x="6587734" y="2121136"/>
                    <a:pt x="6567088" y="2100490"/>
                    <a:pt x="6567088" y="2075023"/>
                  </a:cubicBezTo>
                  <a:cubicBezTo>
                    <a:pt x="6567088" y="2049556"/>
                    <a:pt x="6587734" y="2028911"/>
                    <a:pt x="6613200" y="2028911"/>
                  </a:cubicBezTo>
                  <a:close/>
                  <a:moveTo>
                    <a:pt x="2614925" y="1921072"/>
                  </a:moveTo>
                  <a:cubicBezTo>
                    <a:pt x="2615288" y="1921072"/>
                    <a:pt x="2615288" y="1921072"/>
                    <a:pt x="2615288" y="1921434"/>
                  </a:cubicBezTo>
                  <a:cubicBezTo>
                    <a:pt x="2615288" y="1921800"/>
                    <a:pt x="2614925" y="1921800"/>
                    <a:pt x="2614925" y="1921800"/>
                  </a:cubicBezTo>
                  <a:cubicBezTo>
                    <a:pt x="2614563" y="1921800"/>
                    <a:pt x="2614563" y="1921800"/>
                    <a:pt x="2614563" y="1921434"/>
                  </a:cubicBezTo>
                  <a:cubicBezTo>
                    <a:pt x="2614563" y="1921072"/>
                    <a:pt x="2614563" y="1921072"/>
                    <a:pt x="2614925" y="1921072"/>
                  </a:cubicBezTo>
                  <a:close/>
                  <a:moveTo>
                    <a:pt x="2153808" y="1921072"/>
                  </a:moveTo>
                  <a:cubicBezTo>
                    <a:pt x="2154170" y="1921072"/>
                    <a:pt x="2154170" y="1921072"/>
                    <a:pt x="2154170" y="1921434"/>
                  </a:cubicBezTo>
                  <a:cubicBezTo>
                    <a:pt x="2154170" y="1921800"/>
                    <a:pt x="2153808" y="1921800"/>
                    <a:pt x="2153808" y="1921800"/>
                  </a:cubicBezTo>
                  <a:cubicBezTo>
                    <a:pt x="2153445" y="1921800"/>
                    <a:pt x="2153445" y="1921800"/>
                    <a:pt x="2153445" y="1921434"/>
                  </a:cubicBezTo>
                  <a:cubicBezTo>
                    <a:pt x="2153445" y="1921072"/>
                    <a:pt x="2153445" y="1921072"/>
                    <a:pt x="2153808" y="1921072"/>
                  </a:cubicBezTo>
                  <a:close/>
                  <a:moveTo>
                    <a:pt x="1999860" y="1921072"/>
                  </a:moveTo>
                  <a:cubicBezTo>
                    <a:pt x="2000222" y="1921072"/>
                    <a:pt x="2000222" y="1921072"/>
                    <a:pt x="2000222" y="1921434"/>
                  </a:cubicBezTo>
                  <a:cubicBezTo>
                    <a:pt x="2000222" y="1921800"/>
                    <a:pt x="1999860" y="1921800"/>
                    <a:pt x="1999860" y="1921800"/>
                  </a:cubicBezTo>
                  <a:cubicBezTo>
                    <a:pt x="1999498" y="1921800"/>
                    <a:pt x="1999498" y="1921800"/>
                    <a:pt x="1999498" y="1921434"/>
                  </a:cubicBezTo>
                  <a:cubicBezTo>
                    <a:pt x="1999498" y="1921072"/>
                    <a:pt x="1999498" y="1921072"/>
                    <a:pt x="1999860" y="1921072"/>
                  </a:cubicBezTo>
                  <a:close/>
                  <a:moveTo>
                    <a:pt x="1846279" y="1920710"/>
                  </a:moveTo>
                  <a:cubicBezTo>
                    <a:pt x="1846641" y="1920710"/>
                    <a:pt x="1847003" y="1921072"/>
                    <a:pt x="1847003" y="1921434"/>
                  </a:cubicBezTo>
                  <a:cubicBezTo>
                    <a:pt x="1847003" y="1921800"/>
                    <a:pt x="1846279" y="1922162"/>
                    <a:pt x="1846279" y="1922162"/>
                  </a:cubicBezTo>
                  <a:cubicBezTo>
                    <a:pt x="1845913" y="1922162"/>
                    <a:pt x="1845551" y="1921800"/>
                    <a:pt x="1845551" y="1921434"/>
                  </a:cubicBezTo>
                  <a:cubicBezTo>
                    <a:pt x="1845551" y="1921072"/>
                    <a:pt x="1845913" y="1920710"/>
                    <a:pt x="1846279" y="1920710"/>
                  </a:cubicBezTo>
                  <a:close/>
                  <a:moveTo>
                    <a:pt x="2768873" y="1919620"/>
                  </a:moveTo>
                  <a:cubicBezTo>
                    <a:pt x="2769597" y="1919620"/>
                    <a:pt x="2770325" y="1920348"/>
                    <a:pt x="2770325" y="1921072"/>
                  </a:cubicBezTo>
                  <a:cubicBezTo>
                    <a:pt x="2770325" y="1921800"/>
                    <a:pt x="2768873" y="1922524"/>
                    <a:pt x="2768873" y="1922524"/>
                  </a:cubicBezTo>
                  <a:cubicBezTo>
                    <a:pt x="2768145" y="1922524"/>
                    <a:pt x="2767421" y="1921800"/>
                    <a:pt x="2767421" y="1921072"/>
                  </a:cubicBezTo>
                  <a:cubicBezTo>
                    <a:pt x="2767421" y="1920348"/>
                    <a:pt x="2768145" y="1919620"/>
                    <a:pt x="2768873" y="1919620"/>
                  </a:cubicBezTo>
                  <a:close/>
                  <a:moveTo>
                    <a:pt x="2922454" y="1918895"/>
                  </a:moveTo>
                  <a:cubicBezTo>
                    <a:pt x="2923544" y="1918895"/>
                    <a:pt x="2924635" y="1919986"/>
                    <a:pt x="2924635" y="1921076"/>
                  </a:cubicBezTo>
                  <a:cubicBezTo>
                    <a:pt x="2924635" y="1922162"/>
                    <a:pt x="2922454" y="1923252"/>
                    <a:pt x="2922454" y="1923252"/>
                  </a:cubicBezTo>
                  <a:cubicBezTo>
                    <a:pt x="2921368" y="1923252"/>
                    <a:pt x="2920278" y="1922162"/>
                    <a:pt x="2920278" y="1921076"/>
                  </a:cubicBezTo>
                  <a:cubicBezTo>
                    <a:pt x="2920278" y="1919986"/>
                    <a:pt x="2921368" y="1918895"/>
                    <a:pt x="2922454" y="1918895"/>
                  </a:cubicBezTo>
                  <a:close/>
                  <a:moveTo>
                    <a:pt x="3076406" y="1918167"/>
                  </a:moveTo>
                  <a:cubicBezTo>
                    <a:pt x="3078220" y="1918167"/>
                    <a:pt x="3079672" y="1919620"/>
                    <a:pt x="3079672" y="1921434"/>
                  </a:cubicBezTo>
                  <a:cubicBezTo>
                    <a:pt x="3079672" y="1923249"/>
                    <a:pt x="3078220" y="1924701"/>
                    <a:pt x="3076406" y="1924701"/>
                  </a:cubicBezTo>
                  <a:cubicBezTo>
                    <a:pt x="3074587" y="1924701"/>
                    <a:pt x="3073135" y="1923249"/>
                    <a:pt x="3073135" y="1921434"/>
                  </a:cubicBezTo>
                  <a:cubicBezTo>
                    <a:pt x="3073135" y="1919620"/>
                    <a:pt x="3074587" y="1918167"/>
                    <a:pt x="3076406" y="1918167"/>
                  </a:cubicBezTo>
                  <a:close/>
                  <a:moveTo>
                    <a:pt x="3230353" y="1916715"/>
                  </a:moveTo>
                  <a:cubicBezTo>
                    <a:pt x="3232895" y="1916715"/>
                    <a:pt x="3234710" y="1918529"/>
                    <a:pt x="3234710" y="1921072"/>
                  </a:cubicBezTo>
                  <a:cubicBezTo>
                    <a:pt x="3234710" y="1923615"/>
                    <a:pt x="3232530" y="1925429"/>
                    <a:pt x="3230353" y="1925429"/>
                  </a:cubicBezTo>
                  <a:cubicBezTo>
                    <a:pt x="3227810" y="1925429"/>
                    <a:pt x="3225996" y="1923615"/>
                    <a:pt x="3225996" y="1921072"/>
                  </a:cubicBezTo>
                  <a:cubicBezTo>
                    <a:pt x="3225996" y="1918529"/>
                    <a:pt x="3227810" y="1916715"/>
                    <a:pt x="3230353" y="1916715"/>
                  </a:cubicBezTo>
                  <a:close/>
                  <a:moveTo>
                    <a:pt x="3383938" y="1915625"/>
                  </a:moveTo>
                  <a:cubicBezTo>
                    <a:pt x="3387205" y="1915625"/>
                    <a:pt x="3389748" y="1918167"/>
                    <a:pt x="3389748" y="1921434"/>
                  </a:cubicBezTo>
                  <a:cubicBezTo>
                    <a:pt x="3389748" y="1924701"/>
                    <a:pt x="3387205" y="1927243"/>
                    <a:pt x="3383938" y="1927243"/>
                  </a:cubicBezTo>
                  <a:cubicBezTo>
                    <a:pt x="3380671" y="1927243"/>
                    <a:pt x="3378129" y="1924701"/>
                    <a:pt x="3378129" y="1921434"/>
                  </a:cubicBezTo>
                  <a:cubicBezTo>
                    <a:pt x="3378129" y="1918167"/>
                    <a:pt x="3380671" y="1915625"/>
                    <a:pt x="3383938" y="1915625"/>
                  </a:cubicBezTo>
                  <a:close/>
                  <a:moveTo>
                    <a:pt x="3537882" y="1913810"/>
                  </a:moveTo>
                  <a:cubicBezTo>
                    <a:pt x="3541876" y="1913810"/>
                    <a:pt x="3545143" y="1917077"/>
                    <a:pt x="3545143" y="1921072"/>
                  </a:cubicBezTo>
                  <a:cubicBezTo>
                    <a:pt x="3545143" y="1925067"/>
                    <a:pt x="3541876" y="1928334"/>
                    <a:pt x="3537882" y="1928334"/>
                  </a:cubicBezTo>
                  <a:cubicBezTo>
                    <a:pt x="3533887" y="1928334"/>
                    <a:pt x="3530620" y="1925067"/>
                    <a:pt x="3530620" y="1921072"/>
                  </a:cubicBezTo>
                  <a:cubicBezTo>
                    <a:pt x="3530620" y="1917077"/>
                    <a:pt x="3533887" y="1913810"/>
                    <a:pt x="3537882" y="1913810"/>
                  </a:cubicBezTo>
                  <a:close/>
                  <a:moveTo>
                    <a:pt x="3691467" y="1911996"/>
                  </a:moveTo>
                  <a:cubicBezTo>
                    <a:pt x="3696552" y="1911996"/>
                    <a:pt x="3700547" y="1915991"/>
                    <a:pt x="3700547" y="1921072"/>
                  </a:cubicBezTo>
                  <a:cubicBezTo>
                    <a:pt x="3700547" y="1926157"/>
                    <a:pt x="3696552" y="1930152"/>
                    <a:pt x="3691467" y="1930152"/>
                  </a:cubicBezTo>
                  <a:cubicBezTo>
                    <a:pt x="3686386" y="1930152"/>
                    <a:pt x="3682391" y="1926157"/>
                    <a:pt x="3682391" y="1921072"/>
                  </a:cubicBezTo>
                  <a:cubicBezTo>
                    <a:pt x="3682391" y="1915991"/>
                    <a:pt x="3686386" y="1911996"/>
                    <a:pt x="3691467" y="1911996"/>
                  </a:cubicBezTo>
                  <a:close/>
                  <a:moveTo>
                    <a:pt x="3845414" y="1911268"/>
                  </a:moveTo>
                  <a:cubicBezTo>
                    <a:pt x="3850862" y="1911268"/>
                    <a:pt x="3855581" y="1915987"/>
                    <a:pt x="3855581" y="1921434"/>
                  </a:cubicBezTo>
                  <a:cubicBezTo>
                    <a:pt x="3855581" y="1926881"/>
                    <a:pt x="3851224" y="1931600"/>
                    <a:pt x="3845414" y="1931600"/>
                  </a:cubicBezTo>
                  <a:cubicBezTo>
                    <a:pt x="3839967" y="1931600"/>
                    <a:pt x="3835248" y="1926881"/>
                    <a:pt x="3835248" y="1921434"/>
                  </a:cubicBezTo>
                  <a:cubicBezTo>
                    <a:pt x="3835248" y="1915987"/>
                    <a:pt x="3839967" y="1911268"/>
                    <a:pt x="3845414" y="1911268"/>
                  </a:cubicBezTo>
                  <a:close/>
                  <a:moveTo>
                    <a:pt x="3999000" y="1909091"/>
                  </a:moveTo>
                  <a:cubicBezTo>
                    <a:pt x="4005537" y="1909091"/>
                    <a:pt x="4010984" y="1914538"/>
                    <a:pt x="4010984" y="1921072"/>
                  </a:cubicBezTo>
                  <a:cubicBezTo>
                    <a:pt x="4010984" y="1927609"/>
                    <a:pt x="4005537" y="1933053"/>
                    <a:pt x="3999000" y="1933053"/>
                  </a:cubicBezTo>
                  <a:cubicBezTo>
                    <a:pt x="3992466" y="1933053"/>
                    <a:pt x="3987019" y="1927609"/>
                    <a:pt x="3987019" y="1921072"/>
                  </a:cubicBezTo>
                  <a:cubicBezTo>
                    <a:pt x="3987019" y="1914538"/>
                    <a:pt x="3992466" y="1909091"/>
                    <a:pt x="3999000" y="1909091"/>
                  </a:cubicBezTo>
                  <a:close/>
                  <a:moveTo>
                    <a:pt x="4152951" y="1907277"/>
                  </a:moveTo>
                  <a:cubicBezTo>
                    <a:pt x="4160574" y="1907277"/>
                    <a:pt x="4166746" y="1913448"/>
                    <a:pt x="4166746" y="1921076"/>
                  </a:cubicBezTo>
                  <a:cubicBezTo>
                    <a:pt x="4166746" y="1928700"/>
                    <a:pt x="4160574" y="1934871"/>
                    <a:pt x="4152951" y="1934871"/>
                  </a:cubicBezTo>
                  <a:cubicBezTo>
                    <a:pt x="4145323" y="1934871"/>
                    <a:pt x="4139152" y="1928700"/>
                    <a:pt x="4139152" y="1921076"/>
                  </a:cubicBezTo>
                  <a:cubicBezTo>
                    <a:pt x="4139152" y="1913448"/>
                    <a:pt x="4145323" y="1907277"/>
                    <a:pt x="4152951" y="1907277"/>
                  </a:cubicBezTo>
                  <a:close/>
                  <a:moveTo>
                    <a:pt x="4306528" y="1905824"/>
                  </a:moveTo>
                  <a:cubicBezTo>
                    <a:pt x="4314953" y="1905824"/>
                    <a:pt x="4321780" y="1912651"/>
                    <a:pt x="4321780" y="1921072"/>
                  </a:cubicBezTo>
                  <a:cubicBezTo>
                    <a:pt x="4321780" y="1929496"/>
                    <a:pt x="4314953" y="1936323"/>
                    <a:pt x="4306528" y="1936323"/>
                  </a:cubicBezTo>
                  <a:cubicBezTo>
                    <a:pt x="4298108" y="1936323"/>
                    <a:pt x="4291281" y="1929496"/>
                    <a:pt x="4291281" y="1921072"/>
                  </a:cubicBezTo>
                  <a:cubicBezTo>
                    <a:pt x="4291281" y="1912651"/>
                    <a:pt x="4298108" y="1905824"/>
                    <a:pt x="4306528" y="1905824"/>
                  </a:cubicBezTo>
                  <a:close/>
                  <a:moveTo>
                    <a:pt x="4460480" y="1904006"/>
                  </a:moveTo>
                  <a:cubicBezTo>
                    <a:pt x="4469918" y="1904006"/>
                    <a:pt x="4477546" y="1911630"/>
                    <a:pt x="4477546" y="1921072"/>
                  </a:cubicBezTo>
                  <a:cubicBezTo>
                    <a:pt x="4477546" y="1930510"/>
                    <a:pt x="4469918" y="1938138"/>
                    <a:pt x="4460480" y="1938138"/>
                  </a:cubicBezTo>
                  <a:cubicBezTo>
                    <a:pt x="4451038" y="1938138"/>
                    <a:pt x="4443414" y="1930510"/>
                    <a:pt x="4443414" y="1921072"/>
                  </a:cubicBezTo>
                  <a:cubicBezTo>
                    <a:pt x="4443414" y="1911630"/>
                    <a:pt x="4451038" y="1904006"/>
                    <a:pt x="4460480" y="1904006"/>
                  </a:cubicBezTo>
                  <a:close/>
                  <a:moveTo>
                    <a:pt x="4614061" y="1901830"/>
                  </a:moveTo>
                  <a:cubicBezTo>
                    <a:pt x="4624688" y="1901830"/>
                    <a:pt x="4633304" y="1910444"/>
                    <a:pt x="4633304" y="1921072"/>
                  </a:cubicBezTo>
                  <a:cubicBezTo>
                    <a:pt x="4633304" y="1931699"/>
                    <a:pt x="4624688" y="1940314"/>
                    <a:pt x="4614061" y="1940314"/>
                  </a:cubicBezTo>
                  <a:cubicBezTo>
                    <a:pt x="4603434" y="1940314"/>
                    <a:pt x="4594818" y="1931699"/>
                    <a:pt x="4594818" y="1921072"/>
                  </a:cubicBezTo>
                  <a:cubicBezTo>
                    <a:pt x="4594818" y="1910444"/>
                    <a:pt x="4603434" y="1901830"/>
                    <a:pt x="4614061" y="1901830"/>
                  </a:cubicBezTo>
                  <a:close/>
                  <a:moveTo>
                    <a:pt x="4768012" y="1899649"/>
                  </a:moveTo>
                  <a:cubicBezTo>
                    <a:pt x="4779993" y="1899649"/>
                    <a:pt x="4789432" y="1909091"/>
                    <a:pt x="4789432" y="1921072"/>
                  </a:cubicBezTo>
                  <a:cubicBezTo>
                    <a:pt x="4789432" y="1933053"/>
                    <a:pt x="4779627" y="1942495"/>
                    <a:pt x="4768012" y="1942495"/>
                  </a:cubicBezTo>
                  <a:cubicBezTo>
                    <a:pt x="4756028" y="1942495"/>
                    <a:pt x="4746590" y="1933053"/>
                    <a:pt x="4746590" y="1921072"/>
                  </a:cubicBezTo>
                  <a:cubicBezTo>
                    <a:pt x="4746590" y="1909091"/>
                    <a:pt x="4756028" y="1899649"/>
                    <a:pt x="4768012" y="1899649"/>
                  </a:cubicBezTo>
                  <a:close/>
                  <a:moveTo>
                    <a:pt x="4921594" y="1898563"/>
                  </a:moveTo>
                  <a:cubicBezTo>
                    <a:pt x="4934302" y="1898563"/>
                    <a:pt x="4944469" y="1908729"/>
                    <a:pt x="4944469" y="1921438"/>
                  </a:cubicBezTo>
                  <a:cubicBezTo>
                    <a:pt x="4944469" y="1934143"/>
                    <a:pt x="4934302" y="1944309"/>
                    <a:pt x="4921594" y="1944309"/>
                  </a:cubicBezTo>
                  <a:cubicBezTo>
                    <a:pt x="4908885" y="1944309"/>
                    <a:pt x="4898718" y="1934143"/>
                    <a:pt x="4898718" y="1921438"/>
                  </a:cubicBezTo>
                  <a:cubicBezTo>
                    <a:pt x="4898718" y="1908729"/>
                    <a:pt x="4908885" y="1898563"/>
                    <a:pt x="4921594" y="1898563"/>
                  </a:cubicBezTo>
                  <a:close/>
                  <a:moveTo>
                    <a:pt x="5075541" y="1896382"/>
                  </a:moveTo>
                  <a:cubicBezTo>
                    <a:pt x="5089340" y="1896382"/>
                    <a:pt x="5100597" y="1907639"/>
                    <a:pt x="5100597" y="1921434"/>
                  </a:cubicBezTo>
                  <a:cubicBezTo>
                    <a:pt x="5100597" y="1935233"/>
                    <a:pt x="5089340" y="1946490"/>
                    <a:pt x="5075541" y="1946490"/>
                  </a:cubicBezTo>
                  <a:cubicBezTo>
                    <a:pt x="5061746" y="1946490"/>
                    <a:pt x="5050490" y="1935233"/>
                    <a:pt x="5050490" y="1921434"/>
                  </a:cubicBezTo>
                  <a:cubicBezTo>
                    <a:pt x="5050490" y="1907639"/>
                    <a:pt x="5061746" y="1896382"/>
                    <a:pt x="5075541" y="1896382"/>
                  </a:cubicBezTo>
                  <a:close/>
                  <a:moveTo>
                    <a:pt x="5229126" y="1894206"/>
                  </a:moveTo>
                  <a:cubicBezTo>
                    <a:pt x="5244012" y="1894206"/>
                    <a:pt x="5256358" y="1906552"/>
                    <a:pt x="5256358" y="1921438"/>
                  </a:cubicBezTo>
                  <a:cubicBezTo>
                    <a:pt x="5256358" y="1936323"/>
                    <a:pt x="5244374" y="1948670"/>
                    <a:pt x="5229126" y="1948670"/>
                  </a:cubicBezTo>
                  <a:cubicBezTo>
                    <a:pt x="5214237" y="1948670"/>
                    <a:pt x="5201894" y="1936323"/>
                    <a:pt x="5201894" y="1921438"/>
                  </a:cubicBezTo>
                  <a:cubicBezTo>
                    <a:pt x="5201894" y="1906552"/>
                    <a:pt x="5214237" y="1894206"/>
                    <a:pt x="5229126" y="1894206"/>
                  </a:cubicBezTo>
                  <a:close/>
                  <a:moveTo>
                    <a:pt x="5383074" y="1891301"/>
                  </a:moveTo>
                  <a:cubicBezTo>
                    <a:pt x="5399518" y="1891301"/>
                    <a:pt x="5412848" y="1904631"/>
                    <a:pt x="5412848" y="1921072"/>
                  </a:cubicBezTo>
                  <a:cubicBezTo>
                    <a:pt x="5412848" y="1937517"/>
                    <a:pt x="5399518" y="1950847"/>
                    <a:pt x="5383074" y="1950847"/>
                  </a:cubicBezTo>
                  <a:cubicBezTo>
                    <a:pt x="5366633" y="1950847"/>
                    <a:pt x="5353303" y="1937517"/>
                    <a:pt x="5353303" y="1921072"/>
                  </a:cubicBezTo>
                  <a:cubicBezTo>
                    <a:pt x="5353303" y="1904631"/>
                    <a:pt x="5366633" y="1891301"/>
                    <a:pt x="5383074" y="1891301"/>
                  </a:cubicBezTo>
                  <a:close/>
                  <a:moveTo>
                    <a:pt x="5536659" y="1889121"/>
                  </a:moveTo>
                  <a:cubicBezTo>
                    <a:pt x="5554450" y="1889121"/>
                    <a:pt x="5568610" y="1903282"/>
                    <a:pt x="5568610" y="1921072"/>
                  </a:cubicBezTo>
                  <a:cubicBezTo>
                    <a:pt x="5568610" y="1938862"/>
                    <a:pt x="5554450" y="1953023"/>
                    <a:pt x="5536659" y="1953023"/>
                  </a:cubicBezTo>
                  <a:cubicBezTo>
                    <a:pt x="5518865" y="1953023"/>
                    <a:pt x="5504708" y="1938862"/>
                    <a:pt x="5504708" y="1921072"/>
                  </a:cubicBezTo>
                  <a:cubicBezTo>
                    <a:pt x="5504708" y="1903282"/>
                    <a:pt x="5518865" y="1889121"/>
                    <a:pt x="5536659" y="1889121"/>
                  </a:cubicBezTo>
                  <a:close/>
                  <a:moveTo>
                    <a:pt x="5690606" y="1887306"/>
                  </a:moveTo>
                  <a:cubicBezTo>
                    <a:pt x="5709258" y="1887306"/>
                    <a:pt x="5724376" y="1902424"/>
                    <a:pt x="5724376" y="1921072"/>
                  </a:cubicBezTo>
                  <a:cubicBezTo>
                    <a:pt x="5724376" y="1939724"/>
                    <a:pt x="5709258" y="1954842"/>
                    <a:pt x="5690606" y="1954842"/>
                  </a:cubicBezTo>
                  <a:cubicBezTo>
                    <a:pt x="5671958" y="1954842"/>
                    <a:pt x="5656840" y="1939724"/>
                    <a:pt x="5656840" y="1921072"/>
                  </a:cubicBezTo>
                  <a:cubicBezTo>
                    <a:pt x="5656840" y="1902424"/>
                    <a:pt x="5671958" y="1887306"/>
                    <a:pt x="5690606" y="1887306"/>
                  </a:cubicBezTo>
                  <a:close/>
                  <a:moveTo>
                    <a:pt x="5844554" y="1884764"/>
                  </a:moveTo>
                  <a:cubicBezTo>
                    <a:pt x="5864524" y="1884764"/>
                    <a:pt x="5880862" y="1901101"/>
                    <a:pt x="5880862" y="1921072"/>
                  </a:cubicBezTo>
                  <a:cubicBezTo>
                    <a:pt x="5880862" y="1941043"/>
                    <a:pt x="5864524" y="1957380"/>
                    <a:pt x="5844554" y="1957380"/>
                  </a:cubicBezTo>
                  <a:cubicBezTo>
                    <a:pt x="5824584" y="1957380"/>
                    <a:pt x="5808246" y="1941043"/>
                    <a:pt x="5808246" y="1921072"/>
                  </a:cubicBezTo>
                  <a:cubicBezTo>
                    <a:pt x="5808246" y="1901101"/>
                    <a:pt x="5824584" y="1884764"/>
                    <a:pt x="5844554" y="1884764"/>
                  </a:cubicBezTo>
                  <a:close/>
                  <a:moveTo>
                    <a:pt x="5998139" y="1882225"/>
                  </a:moveTo>
                  <a:cubicBezTo>
                    <a:pt x="6019562" y="1882225"/>
                    <a:pt x="6036990" y="1899653"/>
                    <a:pt x="6036990" y="1921076"/>
                  </a:cubicBezTo>
                  <a:cubicBezTo>
                    <a:pt x="6036990" y="1942495"/>
                    <a:pt x="6019562" y="1959923"/>
                    <a:pt x="5998139" y="1959923"/>
                  </a:cubicBezTo>
                  <a:cubicBezTo>
                    <a:pt x="5976716" y="1959923"/>
                    <a:pt x="5959288" y="1942495"/>
                    <a:pt x="5959288" y="1921076"/>
                  </a:cubicBezTo>
                  <a:cubicBezTo>
                    <a:pt x="5959288" y="1899653"/>
                    <a:pt x="5976716" y="1882225"/>
                    <a:pt x="5998139" y="1882225"/>
                  </a:cubicBezTo>
                  <a:close/>
                  <a:moveTo>
                    <a:pt x="6152083" y="1880045"/>
                  </a:moveTo>
                  <a:cubicBezTo>
                    <a:pt x="6174958" y="1880045"/>
                    <a:pt x="6193114" y="1898200"/>
                    <a:pt x="6193114" y="1921072"/>
                  </a:cubicBezTo>
                  <a:cubicBezTo>
                    <a:pt x="6193114" y="1943947"/>
                    <a:pt x="6174596" y="1962103"/>
                    <a:pt x="6152083" y="1962103"/>
                  </a:cubicBezTo>
                  <a:cubicBezTo>
                    <a:pt x="6129212" y="1962103"/>
                    <a:pt x="6111056" y="1943947"/>
                    <a:pt x="6111056" y="1921072"/>
                  </a:cubicBezTo>
                  <a:cubicBezTo>
                    <a:pt x="6111056" y="1898200"/>
                    <a:pt x="6129212" y="1880045"/>
                    <a:pt x="6152083" y="1880045"/>
                  </a:cubicBezTo>
                  <a:close/>
                  <a:moveTo>
                    <a:pt x="6305668" y="1877502"/>
                  </a:moveTo>
                  <a:cubicBezTo>
                    <a:pt x="6329630" y="1877502"/>
                    <a:pt x="6349238" y="1897110"/>
                    <a:pt x="6349238" y="1921072"/>
                  </a:cubicBezTo>
                  <a:cubicBezTo>
                    <a:pt x="6349238" y="1945037"/>
                    <a:pt x="6329630" y="1964642"/>
                    <a:pt x="6305668" y="1964642"/>
                  </a:cubicBezTo>
                  <a:cubicBezTo>
                    <a:pt x="6281702" y="1964642"/>
                    <a:pt x="6262098" y="1945037"/>
                    <a:pt x="6262098" y="1921072"/>
                  </a:cubicBezTo>
                  <a:cubicBezTo>
                    <a:pt x="6262098" y="1897110"/>
                    <a:pt x="6281702" y="1877502"/>
                    <a:pt x="6305668" y="1877502"/>
                  </a:cubicBezTo>
                  <a:close/>
                  <a:moveTo>
                    <a:pt x="6459616" y="1874959"/>
                  </a:moveTo>
                  <a:cubicBezTo>
                    <a:pt x="6485033" y="1874959"/>
                    <a:pt x="6505728" y="1895654"/>
                    <a:pt x="6505728" y="1921072"/>
                  </a:cubicBezTo>
                  <a:cubicBezTo>
                    <a:pt x="6505728" y="1946486"/>
                    <a:pt x="6485033" y="1967184"/>
                    <a:pt x="6459616" y="1967184"/>
                  </a:cubicBezTo>
                  <a:cubicBezTo>
                    <a:pt x="6434198" y="1967184"/>
                    <a:pt x="6413503" y="1946486"/>
                    <a:pt x="6413503" y="1921072"/>
                  </a:cubicBezTo>
                  <a:cubicBezTo>
                    <a:pt x="6413503" y="1895654"/>
                    <a:pt x="6434198" y="1874959"/>
                    <a:pt x="6459616" y="1874959"/>
                  </a:cubicBezTo>
                  <a:close/>
                  <a:moveTo>
                    <a:pt x="6613200" y="1872421"/>
                  </a:moveTo>
                  <a:cubicBezTo>
                    <a:pt x="6640071" y="1872421"/>
                    <a:pt x="6661856" y="1894206"/>
                    <a:pt x="6661856" y="1921076"/>
                  </a:cubicBezTo>
                  <a:cubicBezTo>
                    <a:pt x="6661856" y="1947942"/>
                    <a:pt x="6640071" y="1969727"/>
                    <a:pt x="6613200" y="1969727"/>
                  </a:cubicBezTo>
                  <a:cubicBezTo>
                    <a:pt x="6586334" y="1969727"/>
                    <a:pt x="6564550" y="1947942"/>
                    <a:pt x="6564550" y="1921076"/>
                  </a:cubicBezTo>
                  <a:cubicBezTo>
                    <a:pt x="6564550" y="1894206"/>
                    <a:pt x="6586334" y="1872421"/>
                    <a:pt x="6613200" y="1872421"/>
                  </a:cubicBezTo>
                  <a:close/>
                  <a:moveTo>
                    <a:pt x="2461340" y="1767125"/>
                  </a:moveTo>
                  <a:cubicBezTo>
                    <a:pt x="2461702" y="1767125"/>
                    <a:pt x="2461702" y="1767125"/>
                    <a:pt x="2461702" y="1767487"/>
                  </a:cubicBezTo>
                  <a:cubicBezTo>
                    <a:pt x="2461702" y="1767853"/>
                    <a:pt x="2461340" y="1767853"/>
                    <a:pt x="2461340" y="1767853"/>
                  </a:cubicBezTo>
                  <a:cubicBezTo>
                    <a:pt x="2460978" y="1767853"/>
                    <a:pt x="2460978" y="1767853"/>
                    <a:pt x="2460978" y="1767487"/>
                  </a:cubicBezTo>
                  <a:cubicBezTo>
                    <a:pt x="2460978" y="1767125"/>
                    <a:pt x="2460978" y="1767125"/>
                    <a:pt x="2461340" y="1767125"/>
                  </a:cubicBezTo>
                  <a:close/>
                  <a:moveTo>
                    <a:pt x="1999860" y="1767125"/>
                  </a:moveTo>
                  <a:cubicBezTo>
                    <a:pt x="2000222" y="1767125"/>
                    <a:pt x="2000222" y="1767125"/>
                    <a:pt x="2000222" y="1767487"/>
                  </a:cubicBezTo>
                  <a:cubicBezTo>
                    <a:pt x="2000222" y="1767853"/>
                    <a:pt x="1999860" y="1767853"/>
                    <a:pt x="1999860" y="1767853"/>
                  </a:cubicBezTo>
                  <a:cubicBezTo>
                    <a:pt x="1999498" y="1767853"/>
                    <a:pt x="1999498" y="1767853"/>
                    <a:pt x="1999498" y="1767487"/>
                  </a:cubicBezTo>
                  <a:cubicBezTo>
                    <a:pt x="1999498" y="1767125"/>
                    <a:pt x="1999498" y="1767125"/>
                    <a:pt x="1999860" y="1767125"/>
                  </a:cubicBezTo>
                  <a:close/>
                  <a:moveTo>
                    <a:pt x="1846279" y="1767125"/>
                  </a:moveTo>
                  <a:cubicBezTo>
                    <a:pt x="1846641" y="1767125"/>
                    <a:pt x="1846641" y="1767125"/>
                    <a:pt x="1846641" y="1767487"/>
                  </a:cubicBezTo>
                  <a:cubicBezTo>
                    <a:pt x="1846641" y="1767853"/>
                    <a:pt x="1846279" y="1767853"/>
                    <a:pt x="1846279" y="1767853"/>
                  </a:cubicBezTo>
                  <a:cubicBezTo>
                    <a:pt x="1845917" y="1767853"/>
                    <a:pt x="1845917" y="1767853"/>
                    <a:pt x="1845917" y="1767487"/>
                  </a:cubicBezTo>
                  <a:cubicBezTo>
                    <a:pt x="1845917" y="1767125"/>
                    <a:pt x="1845917" y="1767125"/>
                    <a:pt x="1846279" y="1767125"/>
                  </a:cubicBezTo>
                  <a:close/>
                  <a:moveTo>
                    <a:pt x="1692328" y="1766762"/>
                  </a:moveTo>
                  <a:cubicBezTo>
                    <a:pt x="1692694" y="1766762"/>
                    <a:pt x="1693056" y="1767125"/>
                    <a:pt x="1693056" y="1767491"/>
                  </a:cubicBezTo>
                  <a:cubicBezTo>
                    <a:pt x="1693056" y="1767853"/>
                    <a:pt x="1692328" y="1768215"/>
                    <a:pt x="1692328" y="1768215"/>
                  </a:cubicBezTo>
                  <a:cubicBezTo>
                    <a:pt x="1691965" y="1768215"/>
                    <a:pt x="1691603" y="1767853"/>
                    <a:pt x="1691603" y="1767491"/>
                  </a:cubicBezTo>
                  <a:cubicBezTo>
                    <a:pt x="1691603" y="1767125"/>
                    <a:pt x="1691965" y="1766762"/>
                    <a:pt x="1692328" y="1766762"/>
                  </a:cubicBezTo>
                  <a:close/>
                  <a:moveTo>
                    <a:pt x="2614925" y="1765672"/>
                  </a:moveTo>
                  <a:cubicBezTo>
                    <a:pt x="2615650" y="1765672"/>
                    <a:pt x="2616378" y="1766400"/>
                    <a:pt x="2616378" y="1767125"/>
                  </a:cubicBezTo>
                  <a:cubicBezTo>
                    <a:pt x="2616378" y="1767849"/>
                    <a:pt x="2614925" y="1768577"/>
                    <a:pt x="2614925" y="1768577"/>
                  </a:cubicBezTo>
                  <a:cubicBezTo>
                    <a:pt x="2614197" y="1768577"/>
                    <a:pt x="2613473" y="1767849"/>
                    <a:pt x="2613473" y="1767125"/>
                  </a:cubicBezTo>
                  <a:cubicBezTo>
                    <a:pt x="2613473" y="1766400"/>
                    <a:pt x="2614197" y="1765672"/>
                    <a:pt x="2614925" y="1765672"/>
                  </a:cubicBezTo>
                  <a:close/>
                  <a:moveTo>
                    <a:pt x="2768873" y="1765310"/>
                  </a:moveTo>
                  <a:cubicBezTo>
                    <a:pt x="2769963" y="1765310"/>
                    <a:pt x="2771049" y="1766400"/>
                    <a:pt x="2771049" y="1767491"/>
                  </a:cubicBezTo>
                  <a:cubicBezTo>
                    <a:pt x="2771049" y="1768577"/>
                    <a:pt x="2768873" y="1769667"/>
                    <a:pt x="2768873" y="1769667"/>
                  </a:cubicBezTo>
                  <a:cubicBezTo>
                    <a:pt x="2767783" y="1769667"/>
                    <a:pt x="2766692" y="1768577"/>
                    <a:pt x="2766692" y="1767491"/>
                  </a:cubicBezTo>
                  <a:cubicBezTo>
                    <a:pt x="2766692" y="1766400"/>
                    <a:pt x="2767783" y="1765310"/>
                    <a:pt x="2768873" y="1765310"/>
                  </a:cubicBezTo>
                  <a:close/>
                  <a:moveTo>
                    <a:pt x="2922454" y="1764220"/>
                  </a:moveTo>
                  <a:cubicBezTo>
                    <a:pt x="2924272" y="1764220"/>
                    <a:pt x="2925721" y="1765672"/>
                    <a:pt x="2925721" y="1767487"/>
                  </a:cubicBezTo>
                  <a:cubicBezTo>
                    <a:pt x="2925721" y="1769301"/>
                    <a:pt x="2924272" y="1770757"/>
                    <a:pt x="2922454" y="1770757"/>
                  </a:cubicBezTo>
                  <a:cubicBezTo>
                    <a:pt x="2920640" y="1770757"/>
                    <a:pt x="2919188" y="1769301"/>
                    <a:pt x="2919188" y="1767487"/>
                  </a:cubicBezTo>
                  <a:cubicBezTo>
                    <a:pt x="2919188" y="1765672"/>
                    <a:pt x="2920640" y="1764220"/>
                    <a:pt x="2922454" y="1764220"/>
                  </a:cubicBezTo>
                  <a:close/>
                  <a:moveTo>
                    <a:pt x="3076406" y="1763134"/>
                  </a:moveTo>
                  <a:cubicBezTo>
                    <a:pt x="3078948" y="1763134"/>
                    <a:pt x="3080762" y="1764948"/>
                    <a:pt x="3080762" y="1767491"/>
                  </a:cubicBezTo>
                  <a:cubicBezTo>
                    <a:pt x="3080762" y="1770033"/>
                    <a:pt x="3078586" y="1771848"/>
                    <a:pt x="3076406" y="1771848"/>
                  </a:cubicBezTo>
                  <a:cubicBezTo>
                    <a:pt x="3073863" y="1771848"/>
                    <a:pt x="3072048" y="1770033"/>
                    <a:pt x="3072048" y="1767491"/>
                  </a:cubicBezTo>
                  <a:cubicBezTo>
                    <a:pt x="3072048" y="1764948"/>
                    <a:pt x="3073863" y="1763134"/>
                    <a:pt x="3076406" y="1763134"/>
                  </a:cubicBezTo>
                  <a:close/>
                  <a:moveTo>
                    <a:pt x="3230353" y="1761681"/>
                  </a:moveTo>
                  <a:cubicBezTo>
                    <a:pt x="3233620" y="1761681"/>
                    <a:pt x="3236162" y="1764224"/>
                    <a:pt x="3236162" y="1767491"/>
                  </a:cubicBezTo>
                  <a:cubicBezTo>
                    <a:pt x="3236162" y="1770757"/>
                    <a:pt x="3233620" y="1773300"/>
                    <a:pt x="3230353" y="1773300"/>
                  </a:cubicBezTo>
                  <a:cubicBezTo>
                    <a:pt x="3227086" y="1773300"/>
                    <a:pt x="3224544" y="1770757"/>
                    <a:pt x="3224544" y="1767491"/>
                  </a:cubicBezTo>
                  <a:cubicBezTo>
                    <a:pt x="3224544" y="1764224"/>
                    <a:pt x="3227086" y="1761681"/>
                    <a:pt x="3230353" y="1761681"/>
                  </a:cubicBezTo>
                  <a:close/>
                  <a:moveTo>
                    <a:pt x="3383938" y="1760225"/>
                  </a:moveTo>
                  <a:cubicBezTo>
                    <a:pt x="3387933" y="1760225"/>
                    <a:pt x="3391200" y="1763492"/>
                    <a:pt x="3391200" y="1767487"/>
                  </a:cubicBezTo>
                  <a:cubicBezTo>
                    <a:pt x="3391200" y="1771481"/>
                    <a:pt x="3387933" y="1774748"/>
                    <a:pt x="3383938" y="1774748"/>
                  </a:cubicBezTo>
                  <a:cubicBezTo>
                    <a:pt x="3379943" y="1774748"/>
                    <a:pt x="3376676" y="1771481"/>
                    <a:pt x="3376676" y="1767487"/>
                  </a:cubicBezTo>
                  <a:cubicBezTo>
                    <a:pt x="3376676" y="1763492"/>
                    <a:pt x="3379943" y="1760225"/>
                    <a:pt x="3383938" y="1760225"/>
                  </a:cubicBezTo>
                  <a:close/>
                  <a:moveTo>
                    <a:pt x="3537882" y="1758411"/>
                  </a:moveTo>
                  <a:cubicBezTo>
                    <a:pt x="3542967" y="1758411"/>
                    <a:pt x="3546962" y="1762405"/>
                    <a:pt x="3546962" y="1767487"/>
                  </a:cubicBezTo>
                  <a:cubicBezTo>
                    <a:pt x="3546962" y="1772572"/>
                    <a:pt x="3542967" y="1776567"/>
                    <a:pt x="3537882" y="1776567"/>
                  </a:cubicBezTo>
                  <a:cubicBezTo>
                    <a:pt x="3532800" y="1776567"/>
                    <a:pt x="3528806" y="1772572"/>
                    <a:pt x="3528806" y="1767487"/>
                  </a:cubicBezTo>
                  <a:cubicBezTo>
                    <a:pt x="3528806" y="1762405"/>
                    <a:pt x="3532800" y="1758411"/>
                    <a:pt x="3537882" y="1758411"/>
                  </a:cubicBezTo>
                  <a:close/>
                  <a:moveTo>
                    <a:pt x="3691467" y="1757324"/>
                  </a:moveTo>
                  <a:cubicBezTo>
                    <a:pt x="3696914" y="1757324"/>
                    <a:pt x="3701633" y="1762043"/>
                    <a:pt x="3701633" y="1767491"/>
                  </a:cubicBezTo>
                  <a:cubicBezTo>
                    <a:pt x="3701633" y="1772938"/>
                    <a:pt x="3697276" y="1777657"/>
                    <a:pt x="3691467" y="1777657"/>
                  </a:cubicBezTo>
                  <a:cubicBezTo>
                    <a:pt x="3686020" y="1777657"/>
                    <a:pt x="3681300" y="1772938"/>
                    <a:pt x="3681300" y="1767491"/>
                  </a:cubicBezTo>
                  <a:cubicBezTo>
                    <a:pt x="3681300" y="1762043"/>
                    <a:pt x="3686020" y="1757324"/>
                    <a:pt x="3691467" y="1757324"/>
                  </a:cubicBezTo>
                  <a:close/>
                  <a:moveTo>
                    <a:pt x="3845414" y="1755506"/>
                  </a:moveTo>
                  <a:cubicBezTo>
                    <a:pt x="3851952" y="1755506"/>
                    <a:pt x="3857399" y="1760953"/>
                    <a:pt x="3857399" y="1767487"/>
                  </a:cubicBezTo>
                  <a:cubicBezTo>
                    <a:pt x="3857399" y="1774024"/>
                    <a:pt x="3851952" y="1779468"/>
                    <a:pt x="3845414" y="1779468"/>
                  </a:cubicBezTo>
                  <a:cubicBezTo>
                    <a:pt x="3838881" y="1779468"/>
                    <a:pt x="3833434" y="1774024"/>
                    <a:pt x="3833434" y="1767487"/>
                  </a:cubicBezTo>
                  <a:cubicBezTo>
                    <a:pt x="3833434" y="1760953"/>
                    <a:pt x="3838881" y="1755506"/>
                    <a:pt x="3845414" y="1755506"/>
                  </a:cubicBezTo>
                  <a:close/>
                  <a:moveTo>
                    <a:pt x="3999000" y="1753329"/>
                  </a:moveTo>
                  <a:cubicBezTo>
                    <a:pt x="4006627" y="1753329"/>
                    <a:pt x="4012799" y="1759501"/>
                    <a:pt x="4012799" y="1767125"/>
                  </a:cubicBezTo>
                  <a:cubicBezTo>
                    <a:pt x="4012799" y="1774752"/>
                    <a:pt x="4006627" y="1780924"/>
                    <a:pt x="3999000" y="1780924"/>
                  </a:cubicBezTo>
                  <a:cubicBezTo>
                    <a:pt x="3991376" y="1780924"/>
                    <a:pt x="3985204" y="1774752"/>
                    <a:pt x="3985204" y="1767125"/>
                  </a:cubicBezTo>
                  <a:cubicBezTo>
                    <a:pt x="3985204" y="1759501"/>
                    <a:pt x="3991376" y="1753329"/>
                    <a:pt x="3999000" y="1753329"/>
                  </a:cubicBezTo>
                  <a:close/>
                  <a:moveTo>
                    <a:pt x="4152947" y="1752239"/>
                  </a:moveTo>
                  <a:cubicBezTo>
                    <a:pt x="4161372" y="1752239"/>
                    <a:pt x="4168198" y="1759066"/>
                    <a:pt x="4168198" y="1767491"/>
                  </a:cubicBezTo>
                  <a:cubicBezTo>
                    <a:pt x="4168198" y="1775911"/>
                    <a:pt x="4161372" y="1782738"/>
                    <a:pt x="4152947" y="1782738"/>
                  </a:cubicBezTo>
                  <a:cubicBezTo>
                    <a:pt x="4144526" y="1782738"/>
                    <a:pt x="4137700" y="1775911"/>
                    <a:pt x="4137700" y="1767491"/>
                  </a:cubicBezTo>
                  <a:cubicBezTo>
                    <a:pt x="4137700" y="1759066"/>
                    <a:pt x="4144526" y="1752239"/>
                    <a:pt x="4152947" y="1752239"/>
                  </a:cubicBezTo>
                  <a:close/>
                  <a:moveTo>
                    <a:pt x="4306532" y="1750425"/>
                  </a:moveTo>
                  <a:cubicBezTo>
                    <a:pt x="4315970" y="1750425"/>
                    <a:pt x="4323598" y="1758048"/>
                    <a:pt x="4323598" y="1767491"/>
                  </a:cubicBezTo>
                  <a:cubicBezTo>
                    <a:pt x="4323598" y="1776929"/>
                    <a:pt x="4315970" y="1784556"/>
                    <a:pt x="4306532" y="1784556"/>
                  </a:cubicBezTo>
                  <a:cubicBezTo>
                    <a:pt x="4297090" y="1784556"/>
                    <a:pt x="4289466" y="1776929"/>
                    <a:pt x="4289466" y="1767491"/>
                  </a:cubicBezTo>
                  <a:cubicBezTo>
                    <a:pt x="4289466" y="1758048"/>
                    <a:pt x="4297090" y="1750425"/>
                    <a:pt x="4306532" y="1750425"/>
                  </a:cubicBezTo>
                  <a:close/>
                  <a:moveTo>
                    <a:pt x="4460480" y="1748244"/>
                  </a:moveTo>
                  <a:cubicBezTo>
                    <a:pt x="4471111" y="1748244"/>
                    <a:pt x="4479726" y="1756859"/>
                    <a:pt x="4479726" y="1767487"/>
                  </a:cubicBezTo>
                  <a:cubicBezTo>
                    <a:pt x="4479726" y="1778114"/>
                    <a:pt x="4471111" y="1786729"/>
                    <a:pt x="4460480" y="1786729"/>
                  </a:cubicBezTo>
                  <a:cubicBezTo>
                    <a:pt x="4449852" y="1786729"/>
                    <a:pt x="4441237" y="1778114"/>
                    <a:pt x="4441237" y="1767487"/>
                  </a:cubicBezTo>
                  <a:cubicBezTo>
                    <a:pt x="4441237" y="1756859"/>
                    <a:pt x="4449852" y="1748244"/>
                    <a:pt x="4460480" y="1748244"/>
                  </a:cubicBezTo>
                  <a:close/>
                  <a:moveTo>
                    <a:pt x="4614065" y="1746068"/>
                  </a:moveTo>
                  <a:cubicBezTo>
                    <a:pt x="4626046" y="1746068"/>
                    <a:pt x="4635484" y="1755506"/>
                    <a:pt x="4635484" y="1767491"/>
                  </a:cubicBezTo>
                  <a:cubicBezTo>
                    <a:pt x="4635484" y="1779471"/>
                    <a:pt x="4625684" y="1788913"/>
                    <a:pt x="4614065" y="1788913"/>
                  </a:cubicBezTo>
                  <a:cubicBezTo>
                    <a:pt x="4602084" y="1788913"/>
                    <a:pt x="4592642" y="1779471"/>
                    <a:pt x="4592642" y="1767491"/>
                  </a:cubicBezTo>
                  <a:cubicBezTo>
                    <a:pt x="4592642" y="1755506"/>
                    <a:pt x="4602084" y="1746068"/>
                    <a:pt x="4614065" y="1746068"/>
                  </a:cubicBezTo>
                  <a:close/>
                  <a:moveTo>
                    <a:pt x="4768012" y="1744615"/>
                  </a:moveTo>
                  <a:cubicBezTo>
                    <a:pt x="4780718" y="1744615"/>
                    <a:pt x="4790884" y="1754782"/>
                    <a:pt x="4790884" y="1767491"/>
                  </a:cubicBezTo>
                  <a:cubicBezTo>
                    <a:pt x="4790884" y="1780196"/>
                    <a:pt x="4780718" y="1790366"/>
                    <a:pt x="4768012" y="1790366"/>
                  </a:cubicBezTo>
                  <a:cubicBezTo>
                    <a:pt x="4755304" y="1790366"/>
                    <a:pt x="4745137" y="1780196"/>
                    <a:pt x="4745137" y="1767491"/>
                  </a:cubicBezTo>
                  <a:cubicBezTo>
                    <a:pt x="4745137" y="1754782"/>
                    <a:pt x="4755304" y="1744615"/>
                    <a:pt x="4768012" y="1744615"/>
                  </a:cubicBezTo>
                  <a:close/>
                  <a:moveTo>
                    <a:pt x="4921594" y="1742435"/>
                  </a:moveTo>
                  <a:cubicBezTo>
                    <a:pt x="4935393" y="1742435"/>
                    <a:pt x="4946650" y="1753691"/>
                    <a:pt x="4946650" y="1767487"/>
                  </a:cubicBezTo>
                  <a:cubicBezTo>
                    <a:pt x="4946650" y="1781286"/>
                    <a:pt x="4935393" y="1792538"/>
                    <a:pt x="4921594" y="1792538"/>
                  </a:cubicBezTo>
                  <a:cubicBezTo>
                    <a:pt x="4907798" y="1792538"/>
                    <a:pt x="4896542" y="1781286"/>
                    <a:pt x="4896542" y="1767487"/>
                  </a:cubicBezTo>
                  <a:cubicBezTo>
                    <a:pt x="4896542" y="1753691"/>
                    <a:pt x="4907798" y="1742435"/>
                    <a:pt x="4921594" y="1742435"/>
                  </a:cubicBezTo>
                  <a:close/>
                  <a:moveTo>
                    <a:pt x="5075545" y="1740258"/>
                  </a:moveTo>
                  <a:cubicBezTo>
                    <a:pt x="5090430" y="1740258"/>
                    <a:pt x="5102777" y="1752605"/>
                    <a:pt x="5102777" y="1767491"/>
                  </a:cubicBezTo>
                  <a:cubicBezTo>
                    <a:pt x="5102777" y="1782376"/>
                    <a:pt x="5090792" y="1794723"/>
                    <a:pt x="5075545" y="1794723"/>
                  </a:cubicBezTo>
                  <a:cubicBezTo>
                    <a:pt x="5060656" y="1794723"/>
                    <a:pt x="5048313" y="1782376"/>
                    <a:pt x="5048313" y="1767491"/>
                  </a:cubicBezTo>
                  <a:cubicBezTo>
                    <a:pt x="5048313" y="1752605"/>
                    <a:pt x="5060656" y="1740258"/>
                    <a:pt x="5075545" y="1740258"/>
                  </a:cubicBezTo>
                  <a:close/>
                  <a:moveTo>
                    <a:pt x="5229126" y="1737716"/>
                  </a:moveTo>
                  <a:cubicBezTo>
                    <a:pt x="5245571" y="1737716"/>
                    <a:pt x="5258901" y="1751046"/>
                    <a:pt x="5258901" y="1767491"/>
                  </a:cubicBezTo>
                  <a:cubicBezTo>
                    <a:pt x="5258901" y="1783931"/>
                    <a:pt x="5245571" y="1797261"/>
                    <a:pt x="5229126" y="1797261"/>
                  </a:cubicBezTo>
                  <a:cubicBezTo>
                    <a:pt x="5212686" y="1797261"/>
                    <a:pt x="5199356" y="1783931"/>
                    <a:pt x="5199356" y="1767491"/>
                  </a:cubicBezTo>
                  <a:cubicBezTo>
                    <a:pt x="5199356" y="1751046"/>
                    <a:pt x="5212686" y="1737716"/>
                    <a:pt x="5229126" y="1737716"/>
                  </a:cubicBezTo>
                  <a:close/>
                  <a:moveTo>
                    <a:pt x="5383074" y="1735535"/>
                  </a:moveTo>
                  <a:cubicBezTo>
                    <a:pt x="5400864" y="1735535"/>
                    <a:pt x="5415025" y="1749697"/>
                    <a:pt x="5415025" y="1767487"/>
                  </a:cubicBezTo>
                  <a:cubicBezTo>
                    <a:pt x="5415025" y="1785277"/>
                    <a:pt x="5400864" y="1799438"/>
                    <a:pt x="5383074" y="1799438"/>
                  </a:cubicBezTo>
                  <a:cubicBezTo>
                    <a:pt x="5365284" y="1799438"/>
                    <a:pt x="5351122" y="1785277"/>
                    <a:pt x="5351122" y="1767487"/>
                  </a:cubicBezTo>
                  <a:cubicBezTo>
                    <a:pt x="5351122" y="1749697"/>
                    <a:pt x="5365284" y="1735535"/>
                    <a:pt x="5383074" y="1735535"/>
                  </a:cubicBezTo>
                  <a:close/>
                  <a:moveTo>
                    <a:pt x="5537025" y="1733721"/>
                  </a:moveTo>
                  <a:cubicBezTo>
                    <a:pt x="5555673" y="1733721"/>
                    <a:pt x="5570791" y="1748839"/>
                    <a:pt x="5570791" y="1767487"/>
                  </a:cubicBezTo>
                  <a:cubicBezTo>
                    <a:pt x="5570791" y="1786138"/>
                    <a:pt x="5555673" y="1801256"/>
                    <a:pt x="5537025" y="1801256"/>
                  </a:cubicBezTo>
                  <a:cubicBezTo>
                    <a:pt x="5518374" y="1801256"/>
                    <a:pt x="5503256" y="1786138"/>
                    <a:pt x="5503256" y="1767487"/>
                  </a:cubicBezTo>
                  <a:cubicBezTo>
                    <a:pt x="5503256" y="1748839"/>
                    <a:pt x="5518374" y="1733721"/>
                    <a:pt x="5537025" y="1733721"/>
                  </a:cubicBezTo>
                  <a:close/>
                  <a:moveTo>
                    <a:pt x="5690606" y="1731182"/>
                  </a:moveTo>
                  <a:cubicBezTo>
                    <a:pt x="5710577" y="1731182"/>
                    <a:pt x="5726915" y="1747520"/>
                    <a:pt x="5726915" y="1767491"/>
                  </a:cubicBezTo>
                  <a:cubicBezTo>
                    <a:pt x="5726915" y="1787461"/>
                    <a:pt x="5710577" y="1803799"/>
                    <a:pt x="5690606" y="1803799"/>
                  </a:cubicBezTo>
                  <a:cubicBezTo>
                    <a:pt x="5670636" y="1803799"/>
                    <a:pt x="5654298" y="1787461"/>
                    <a:pt x="5654298" y="1767491"/>
                  </a:cubicBezTo>
                  <a:cubicBezTo>
                    <a:pt x="5654298" y="1747520"/>
                    <a:pt x="5670636" y="1731182"/>
                    <a:pt x="5690606" y="1731182"/>
                  </a:cubicBezTo>
                  <a:close/>
                  <a:moveTo>
                    <a:pt x="5844554" y="1728640"/>
                  </a:moveTo>
                  <a:cubicBezTo>
                    <a:pt x="5865973" y="1728640"/>
                    <a:pt x="5883405" y="1746068"/>
                    <a:pt x="5883405" y="1767491"/>
                  </a:cubicBezTo>
                  <a:cubicBezTo>
                    <a:pt x="5883405" y="1788910"/>
                    <a:pt x="5865973" y="1806338"/>
                    <a:pt x="5844554" y="1806338"/>
                  </a:cubicBezTo>
                  <a:cubicBezTo>
                    <a:pt x="5823131" y="1806338"/>
                    <a:pt x="5805703" y="1788910"/>
                    <a:pt x="5805703" y="1767491"/>
                  </a:cubicBezTo>
                  <a:cubicBezTo>
                    <a:pt x="5805703" y="1746068"/>
                    <a:pt x="5823131" y="1728640"/>
                    <a:pt x="5844554" y="1728640"/>
                  </a:cubicBezTo>
                  <a:close/>
                  <a:moveTo>
                    <a:pt x="5998136" y="1726459"/>
                  </a:moveTo>
                  <a:cubicBezTo>
                    <a:pt x="6021010" y="1726459"/>
                    <a:pt x="6039166" y="1744615"/>
                    <a:pt x="6039166" y="1767487"/>
                  </a:cubicBezTo>
                  <a:cubicBezTo>
                    <a:pt x="6039166" y="1790362"/>
                    <a:pt x="6020648" y="1808518"/>
                    <a:pt x="5998136" y="1808518"/>
                  </a:cubicBezTo>
                  <a:cubicBezTo>
                    <a:pt x="5975264" y="1808518"/>
                    <a:pt x="5957108" y="1790362"/>
                    <a:pt x="5957108" y="1767487"/>
                  </a:cubicBezTo>
                  <a:cubicBezTo>
                    <a:pt x="5957108" y="1744615"/>
                    <a:pt x="5975264" y="1726459"/>
                    <a:pt x="5998136" y="1726459"/>
                  </a:cubicBezTo>
                  <a:close/>
                  <a:moveTo>
                    <a:pt x="6152086" y="1723917"/>
                  </a:moveTo>
                  <a:cubicBezTo>
                    <a:pt x="6176048" y="1723917"/>
                    <a:pt x="6195656" y="1743525"/>
                    <a:pt x="6195656" y="1767487"/>
                  </a:cubicBezTo>
                  <a:cubicBezTo>
                    <a:pt x="6195656" y="1791452"/>
                    <a:pt x="6176048" y="1811057"/>
                    <a:pt x="6152086" y="1811057"/>
                  </a:cubicBezTo>
                  <a:cubicBezTo>
                    <a:pt x="6128121" y="1811057"/>
                    <a:pt x="6108516" y="1791452"/>
                    <a:pt x="6108516" y="1767487"/>
                  </a:cubicBezTo>
                  <a:cubicBezTo>
                    <a:pt x="6108516" y="1743525"/>
                    <a:pt x="6128121" y="1723917"/>
                    <a:pt x="6152086" y="1723917"/>
                  </a:cubicBezTo>
                  <a:close/>
                  <a:moveTo>
                    <a:pt x="6305668" y="1721378"/>
                  </a:moveTo>
                  <a:cubicBezTo>
                    <a:pt x="6331086" y="1721378"/>
                    <a:pt x="6351777" y="1742073"/>
                    <a:pt x="6351777" y="1767491"/>
                  </a:cubicBezTo>
                  <a:cubicBezTo>
                    <a:pt x="6351777" y="1792904"/>
                    <a:pt x="6331086" y="1813603"/>
                    <a:pt x="6305668" y="1813603"/>
                  </a:cubicBezTo>
                  <a:cubicBezTo>
                    <a:pt x="6280250" y="1813603"/>
                    <a:pt x="6259556" y="1792904"/>
                    <a:pt x="6259556" y="1767491"/>
                  </a:cubicBezTo>
                  <a:cubicBezTo>
                    <a:pt x="6259556" y="1742073"/>
                    <a:pt x="6280250" y="1721378"/>
                    <a:pt x="6305668" y="1721378"/>
                  </a:cubicBezTo>
                  <a:close/>
                  <a:moveTo>
                    <a:pt x="6459619" y="1718835"/>
                  </a:moveTo>
                  <a:cubicBezTo>
                    <a:pt x="6486486" y="1718835"/>
                    <a:pt x="6508270" y="1740620"/>
                    <a:pt x="6508270" y="1767491"/>
                  </a:cubicBezTo>
                  <a:cubicBezTo>
                    <a:pt x="6508270" y="1794357"/>
                    <a:pt x="6486486" y="1816142"/>
                    <a:pt x="6459619" y="1816142"/>
                  </a:cubicBezTo>
                  <a:cubicBezTo>
                    <a:pt x="6432749" y="1816142"/>
                    <a:pt x="6410964" y="1794357"/>
                    <a:pt x="6410964" y="1767491"/>
                  </a:cubicBezTo>
                  <a:cubicBezTo>
                    <a:pt x="6410964" y="1740620"/>
                    <a:pt x="6432749" y="1718835"/>
                    <a:pt x="6459619" y="1718835"/>
                  </a:cubicBezTo>
                  <a:close/>
                  <a:moveTo>
                    <a:pt x="6613200" y="1716293"/>
                  </a:moveTo>
                  <a:cubicBezTo>
                    <a:pt x="6641523" y="1716293"/>
                    <a:pt x="6664398" y="1739168"/>
                    <a:pt x="6664398" y="1767487"/>
                  </a:cubicBezTo>
                  <a:cubicBezTo>
                    <a:pt x="6664398" y="1795809"/>
                    <a:pt x="6641523" y="1818681"/>
                    <a:pt x="6613200" y="1818681"/>
                  </a:cubicBezTo>
                  <a:cubicBezTo>
                    <a:pt x="6584882" y="1818681"/>
                    <a:pt x="6562007" y="1795809"/>
                    <a:pt x="6562007" y="1767487"/>
                  </a:cubicBezTo>
                  <a:cubicBezTo>
                    <a:pt x="6562007" y="1739168"/>
                    <a:pt x="6584882" y="1716293"/>
                    <a:pt x="6613200" y="1716293"/>
                  </a:cubicBezTo>
                  <a:close/>
                  <a:moveTo>
                    <a:pt x="2307393" y="1613539"/>
                  </a:moveTo>
                  <a:cubicBezTo>
                    <a:pt x="2307755" y="1613539"/>
                    <a:pt x="2307755" y="1613539"/>
                    <a:pt x="2307755" y="1613901"/>
                  </a:cubicBezTo>
                  <a:cubicBezTo>
                    <a:pt x="2307755" y="1614267"/>
                    <a:pt x="2307393" y="1614267"/>
                    <a:pt x="2307393" y="1614267"/>
                  </a:cubicBezTo>
                  <a:cubicBezTo>
                    <a:pt x="2307031" y="1614267"/>
                    <a:pt x="2307031" y="1614267"/>
                    <a:pt x="2307031" y="1613901"/>
                  </a:cubicBezTo>
                  <a:cubicBezTo>
                    <a:pt x="2307031" y="1613539"/>
                    <a:pt x="2307031" y="1613539"/>
                    <a:pt x="2307393" y="1613539"/>
                  </a:cubicBezTo>
                  <a:close/>
                  <a:moveTo>
                    <a:pt x="1846279" y="1613539"/>
                  </a:moveTo>
                  <a:cubicBezTo>
                    <a:pt x="1846641" y="1613539"/>
                    <a:pt x="1846641" y="1613539"/>
                    <a:pt x="1846641" y="1613901"/>
                  </a:cubicBezTo>
                  <a:cubicBezTo>
                    <a:pt x="1846641" y="1614267"/>
                    <a:pt x="1846279" y="1614267"/>
                    <a:pt x="1846279" y="1614267"/>
                  </a:cubicBezTo>
                  <a:cubicBezTo>
                    <a:pt x="1845917" y="1614267"/>
                    <a:pt x="1845917" y="1614267"/>
                    <a:pt x="1845917" y="1613901"/>
                  </a:cubicBezTo>
                  <a:cubicBezTo>
                    <a:pt x="1845917" y="1613539"/>
                    <a:pt x="1845917" y="1613539"/>
                    <a:pt x="1846279" y="1613539"/>
                  </a:cubicBezTo>
                  <a:close/>
                  <a:moveTo>
                    <a:pt x="1692331" y="1613539"/>
                  </a:moveTo>
                  <a:cubicBezTo>
                    <a:pt x="1692694" y="1613539"/>
                    <a:pt x="1692694" y="1613539"/>
                    <a:pt x="1692694" y="1613901"/>
                  </a:cubicBezTo>
                  <a:cubicBezTo>
                    <a:pt x="1692694" y="1614267"/>
                    <a:pt x="1692331" y="1614267"/>
                    <a:pt x="1692331" y="1614267"/>
                  </a:cubicBezTo>
                  <a:cubicBezTo>
                    <a:pt x="1691969" y="1614267"/>
                    <a:pt x="1691969" y="1614267"/>
                    <a:pt x="1691969" y="1613901"/>
                  </a:cubicBezTo>
                  <a:cubicBezTo>
                    <a:pt x="1691969" y="1613539"/>
                    <a:pt x="1691969" y="1613539"/>
                    <a:pt x="1692331" y="1613539"/>
                  </a:cubicBezTo>
                  <a:close/>
                  <a:moveTo>
                    <a:pt x="1538746" y="1613177"/>
                  </a:moveTo>
                  <a:cubicBezTo>
                    <a:pt x="1539108" y="1613177"/>
                    <a:pt x="1539470" y="1613539"/>
                    <a:pt x="1539470" y="1613905"/>
                  </a:cubicBezTo>
                  <a:cubicBezTo>
                    <a:pt x="1539470" y="1614267"/>
                    <a:pt x="1538746" y="1614630"/>
                    <a:pt x="1538746" y="1614630"/>
                  </a:cubicBezTo>
                  <a:cubicBezTo>
                    <a:pt x="1538380" y="1614630"/>
                    <a:pt x="1538018" y="1614267"/>
                    <a:pt x="1538018" y="1613905"/>
                  </a:cubicBezTo>
                  <a:cubicBezTo>
                    <a:pt x="1538018" y="1613539"/>
                    <a:pt x="1538380" y="1613177"/>
                    <a:pt x="1538746" y="1613177"/>
                  </a:cubicBezTo>
                  <a:close/>
                  <a:moveTo>
                    <a:pt x="2461340" y="1612091"/>
                  </a:moveTo>
                  <a:cubicBezTo>
                    <a:pt x="2462064" y="1612091"/>
                    <a:pt x="2462793" y="1612815"/>
                    <a:pt x="2462793" y="1613543"/>
                  </a:cubicBezTo>
                  <a:cubicBezTo>
                    <a:pt x="2462793" y="1614267"/>
                    <a:pt x="2461340" y="1614995"/>
                    <a:pt x="2461340" y="1614995"/>
                  </a:cubicBezTo>
                  <a:cubicBezTo>
                    <a:pt x="2460612" y="1614995"/>
                    <a:pt x="2459888" y="1614267"/>
                    <a:pt x="2459888" y="1613543"/>
                  </a:cubicBezTo>
                  <a:cubicBezTo>
                    <a:pt x="2459888" y="1612815"/>
                    <a:pt x="2460612" y="1612091"/>
                    <a:pt x="2461340" y="1612091"/>
                  </a:cubicBezTo>
                  <a:close/>
                  <a:moveTo>
                    <a:pt x="2614922" y="1611363"/>
                  </a:moveTo>
                  <a:cubicBezTo>
                    <a:pt x="2616012" y="1611363"/>
                    <a:pt x="2617102" y="1612453"/>
                    <a:pt x="2617102" y="1613539"/>
                  </a:cubicBezTo>
                  <a:cubicBezTo>
                    <a:pt x="2617102" y="1614630"/>
                    <a:pt x="2614922" y="1615720"/>
                    <a:pt x="2614922" y="1615720"/>
                  </a:cubicBezTo>
                  <a:cubicBezTo>
                    <a:pt x="2613835" y="1615720"/>
                    <a:pt x="2612745" y="1614630"/>
                    <a:pt x="2612745" y="1613539"/>
                  </a:cubicBezTo>
                  <a:cubicBezTo>
                    <a:pt x="2612745" y="1612453"/>
                    <a:pt x="2613835" y="1611363"/>
                    <a:pt x="2614922" y="1611363"/>
                  </a:cubicBezTo>
                  <a:close/>
                  <a:moveTo>
                    <a:pt x="2768877" y="1610638"/>
                  </a:moveTo>
                  <a:cubicBezTo>
                    <a:pt x="2770691" y="1610638"/>
                    <a:pt x="2772144" y="1612091"/>
                    <a:pt x="2772144" y="1613905"/>
                  </a:cubicBezTo>
                  <a:cubicBezTo>
                    <a:pt x="2772144" y="1615720"/>
                    <a:pt x="2770691" y="1617176"/>
                    <a:pt x="2768877" y="1617176"/>
                  </a:cubicBezTo>
                  <a:cubicBezTo>
                    <a:pt x="2767058" y="1617176"/>
                    <a:pt x="2765606" y="1615720"/>
                    <a:pt x="2765606" y="1613905"/>
                  </a:cubicBezTo>
                  <a:cubicBezTo>
                    <a:pt x="2765606" y="1612091"/>
                    <a:pt x="2767058" y="1610638"/>
                    <a:pt x="2768877" y="1610638"/>
                  </a:cubicBezTo>
                  <a:close/>
                  <a:moveTo>
                    <a:pt x="2922458" y="1609182"/>
                  </a:moveTo>
                  <a:cubicBezTo>
                    <a:pt x="2925000" y="1609182"/>
                    <a:pt x="2926815" y="1610997"/>
                    <a:pt x="2926815" y="1613539"/>
                  </a:cubicBezTo>
                  <a:cubicBezTo>
                    <a:pt x="2926815" y="1616082"/>
                    <a:pt x="2924635" y="1617896"/>
                    <a:pt x="2922458" y="1617896"/>
                  </a:cubicBezTo>
                  <a:cubicBezTo>
                    <a:pt x="2919916" y="1617896"/>
                    <a:pt x="2918101" y="1616082"/>
                    <a:pt x="2918101" y="1613539"/>
                  </a:cubicBezTo>
                  <a:cubicBezTo>
                    <a:pt x="2918101" y="1610997"/>
                    <a:pt x="2919916" y="1609182"/>
                    <a:pt x="2922458" y="1609182"/>
                  </a:cubicBezTo>
                  <a:close/>
                  <a:moveTo>
                    <a:pt x="3076406" y="1608096"/>
                  </a:moveTo>
                  <a:cubicBezTo>
                    <a:pt x="3079672" y="1608096"/>
                    <a:pt x="3082215" y="1610638"/>
                    <a:pt x="3082215" y="1613905"/>
                  </a:cubicBezTo>
                  <a:cubicBezTo>
                    <a:pt x="3082215" y="1617172"/>
                    <a:pt x="3079672" y="1619715"/>
                    <a:pt x="3076406" y="1619715"/>
                  </a:cubicBezTo>
                  <a:cubicBezTo>
                    <a:pt x="3073139" y="1619715"/>
                    <a:pt x="3070596" y="1617172"/>
                    <a:pt x="3070596" y="1613905"/>
                  </a:cubicBezTo>
                  <a:cubicBezTo>
                    <a:pt x="3070596" y="1610638"/>
                    <a:pt x="3073139" y="1608096"/>
                    <a:pt x="3076406" y="1608096"/>
                  </a:cubicBezTo>
                  <a:close/>
                  <a:moveTo>
                    <a:pt x="3230353" y="1606281"/>
                  </a:moveTo>
                  <a:cubicBezTo>
                    <a:pt x="3234348" y="1606281"/>
                    <a:pt x="3237614" y="1609548"/>
                    <a:pt x="3237614" y="1613543"/>
                  </a:cubicBezTo>
                  <a:cubicBezTo>
                    <a:pt x="3237614" y="1617538"/>
                    <a:pt x="3234348" y="1620805"/>
                    <a:pt x="3230353" y="1620805"/>
                  </a:cubicBezTo>
                  <a:cubicBezTo>
                    <a:pt x="3226358" y="1620805"/>
                    <a:pt x="3223091" y="1617538"/>
                    <a:pt x="3223091" y="1613543"/>
                  </a:cubicBezTo>
                  <a:cubicBezTo>
                    <a:pt x="3223091" y="1609548"/>
                    <a:pt x="3226358" y="1606281"/>
                    <a:pt x="3230353" y="1606281"/>
                  </a:cubicBezTo>
                  <a:close/>
                  <a:moveTo>
                    <a:pt x="3383934" y="1604463"/>
                  </a:moveTo>
                  <a:cubicBezTo>
                    <a:pt x="3389019" y="1604463"/>
                    <a:pt x="3393014" y="1608458"/>
                    <a:pt x="3393014" y="1613539"/>
                  </a:cubicBezTo>
                  <a:cubicBezTo>
                    <a:pt x="3393014" y="1618624"/>
                    <a:pt x="3389019" y="1622619"/>
                    <a:pt x="3383934" y="1622619"/>
                  </a:cubicBezTo>
                  <a:cubicBezTo>
                    <a:pt x="3378853" y="1622619"/>
                    <a:pt x="3374858" y="1618624"/>
                    <a:pt x="3374858" y="1613539"/>
                  </a:cubicBezTo>
                  <a:cubicBezTo>
                    <a:pt x="3374858" y="1608458"/>
                    <a:pt x="3378853" y="1604463"/>
                    <a:pt x="3383934" y="1604463"/>
                  </a:cubicBezTo>
                  <a:close/>
                  <a:moveTo>
                    <a:pt x="3537886" y="1603739"/>
                  </a:moveTo>
                  <a:cubicBezTo>
                    <a:pt x="3543333" y="1603739"/>
                    <a:pt x="3548052" y="1608458"/>
                    <a:pt x="3548052" y="1613905"/>
                  </a:cubicBezTo>
                  <a:cubicBezTo>
                    <a:pt x="3548052" y="1619352"/>
                    <a:pt x="3543695" y="1624072"/>
                    <a:pt x="3537886" y="1624072"/>
                  </a:cubicBezTo>
                  <a:cubicBezTo>
                    <a:pt x="3532438" y="1624072"/>
                    <a:pt x="3527719" y="1619352"/>
                    <a:pt x="3527719" y="1613905"/>
                  </a:cubicBezTo>
                  <a:cubicBezTo>
                    <a:pt x="3527719" y="1608458"/>
                    <a:pt x="3532438" y="1603739"/>
                    <a:pt x="3537886" y="1603739"/>
                  </a:cubicBezTo>
                  <a:close/>
                  <a:moveTo>
                    <a:pt x="3691467" y="1601559"/>
                  </a:moveTo>
                  <a:cubicBezTo>
                    <a:pt x="3698004" y="1601559"/>
                    <a:pt x="3703452" y="1607006"/>
                    <a:pt x="3703452" y="1613539"/>
                  </a:cubicBezTo>
                  <a:cubicBezTo>
                    <a:pt x="3703452" y="1620077"/>
                    <a:pt x="3698004" y="1625520"/>
                    <a:pt x="3691467" y="1625520"/>
                  </a:cubicBezTo>
                  <a:cubicBezTo>
                    <a:pt x="3684933" y="1625520"/>
                    <a:pt x="3679486" y="1620077"/>
                    <a:pt x="3679486" y="1613539"/>
                  </a:cubicBezTo>
                  <a:cubicBezTo>
                    <a:pt x="3679486" y="1607006"/>
                    <a:pt x="3684933" y="1601559"/>
                    <a:pt x="3691467" y="1601559"/>
                  </a:cubicBezTo>
                  <a:close/>
                  <a:moveTo>
                    <a:pt x="3845418" y="1599744"/>
                  </a:moveTo>
                  <a:cubicBezTo>
                    <a:pt x="3853042" y="1599744"/>
                    <a:pt x="3859214" y="1605916"/>
                    <a:pt x="3859214" y="1613539"/>
                  </a:cubicBezTo>
                  <a:cubicBezTo>
                    <a:pt x="3859214" y="1621167"/>
                    <a:pt x="3853042" y="1627338"/>
                    <a:pt x="3845418" y="1627338"/>
                  </a:cubicBezTo>
                  <a:cubicBezTo>
                    <a:pt x="3837790" y="1627338"/>
                    <a:pt x="3831619" y="1621167"/>
                    <a:pt x="3831619" y="1613539"/>
                  </a:cubicBezTo>
                  <a:cubicBezTo>
                    <a:pt x="3831619" y="1605916"/>
                    <a:pt x="3837790" y="1599744"/>
                    <a:pt x="3845418" y="1599744"/>
                  </a:cubicBezTo>
                  <a:close/>
                  <a:moveTo>
                    <a:pt x="3999000" y="1598654"/>
                  </a:moveTo>
                  <a:cubicBezTo>
                    <a:pt x="4007352" y="1598654"/>
                    <a:pt x="4014251" y="1605553"/>
                    <a:pt x="4014251" y="1613905"/>
                  </a:cubicBezTo>
                  <a:cubicBezTo>
                    <a:pt x="4014251" y="1622253"/>
                    <a:pt x="4007352" y="1629153"/>
                    <a:pt x="3999000" y="1629153"/>
                  </a:cubicBezTo>
                  <a:cubicBezTo>
                    <a:pt x="3990652" y="1629153"/>
                    <a:pt x="3983752" y="1622253"/>
                    <a:pt x="3983752" y="1613905"/>
                  </a:cubicBezTo>
                  <a:cubicBezTo>
                    <a:pt x="3983752" y="1605553"/>
                    <a:pt x="3990652" y="1598654"/>
                    <a:pt x="3999000" y="1598654"/>
                  </a:cubicBezTo>
                  <a:close/>
                  <a:moveTo>
                    <a:pt x="4152947" y="1596477"/>
                  </a:moveTo>
                  <a:cubicBezTo>
                    <a:pt x="4162386" y="1596477"/>
                    <a:pt x="4170013" y="1604101"/>
                    <a:pt x="4170013" y="1613543"/>
                  </a:cubicBezTo>
                  <a:cubicBezTo>
                    <a:pt x="4170013" y="1622981"/>
                    <a:pt x="4162386" y="1630605"/>
                    <a:pt x="4152947" y="1630605"/>
                  </a:cubicBezTo>
                  <a:cubicBezTo>
                    <a:pt x="4143505" y="1630605"/>
                    <a:pt x="4135881" y="1622981"/>
                    <a:pt x="4135881" y="1613543"/>
                  </a:cubicBezTo>
                  <a:cubicBezTo>
                    <a:pt x="4135881" y="1604101"/>
                    <a:pt x="4143505" y="1596477"/>
                    <a:pt x="4152947" y="1596477"/>
                  </a:cubicBezTo>
                  <a:close/>
                  <a:moveTo>
                    <a:pt x="4306528" y="1594297"/>
                  </a:moveTo>
                  <a:cubicBezTo>
                    <a:pt x="4317060" y="1594297"/>
                    <a:pt x="4325771" y="1603011"/>
                    <a:pt x="4325771" y="1613539"/>
                  </a:cubicBezTo>
                  <a:cubicBezTo>
                    <a:pt x="4325771" y="1624068"/>
                    <a:pt x="4317060" y="1632786"/>
                    <a:pt x="4306528" y="1632786"/>
                  </a:cubicBezTo>
                  <a:cubicBezTo>
                    <a:pt x="4296000" y="1632786"/>
                    <a:pt x="4287286" y="1624068"/>
                    <a:pt x="4287286" y="1613539"/>
                  </a:cubicBezTo>
                  <a:cubicBezTo>
                    <a:pt x="4287286" y="1603011"/>
                    <a:pt x="4296000" y="1594297"/>
                    <a:pt x="4306528" y="1594297"/>
                  </a:cubicBezTo>
                  <a:close/>
                  <a:moveTo>
                    <a:pt x="4460480" y="1592120"/>
                  </a:moveTo>
                  <a:cubicBezTo>
                    <a:pt x="4472460" y="1592120"/>
                    <a:pt x="4481898" y="1601562"/>
                    <a:pt x="4481898" y="1613543"/>
                  </a:cubicBezTo>
                  <a:cubicBezTo>
                    <a:pt x="4481898" y="1625524"/>
                    <a:pt x="4472094" y="1634966"/>
                    <a:pt x="4460480" y="1634966"/>
                  </a:cubicBezTo>
                  <a:cubicBezTo>
                    <a:pt x="4448495" y="1634966"/>
                    <a:pt x="4439057" y="1625524"/>
                    <a:pt x="4439057" y="1613543"/>
                  </a:cubicBezTo>
                  <a:cubicBezTo>
                    <a:pt x="4439057" y="1601562"/>
                    <a:pt x="4448495" y="1592120"/>
                    <a:pt x="4460480" y="1592120"/>
                  </a:cubicBezTo>
                  <a:close/>
                  <a:moveTo>
                    <a:pt x="4614065" y="1591030"/>
                  </a:moveTo>
                  <a:cubicBezTo>
                    <a:pt x="4626774" y="1591030"/>
                    <a:pt x="4636940" y="1601196"/>
                    <a:pt x="4636940" y="1613905"/>
                  </a:cubicBezTo>
                  <a:cubicBezTo>
                    <a:pt x="4636940" y="1626610"/>
                    <a:pt x="4626774" y="1636780"/>
                    <a:pt x="4614065" y="1636780"/>
                  </a:cubicBezTo>
                  <a:cubicBezTo>
                    <a:pt x="4601356" y="1636780"/>
                    <a:pt x="4591190" y="1626610"/>
                    <a:pt x="4591190" y="1613905"/>
                  </a:cubicBezTo>
                  <a:cubicBezTo>
                    <a:pt x="4591190" y="1601196"/>
                    <a:pt x="4601356" y="1591030"/>
                    <a:pt x="4614065" y="1591030"/>
                  </a:cubicBezTo>
                  <a:close/>
                  <a:moveTo>
                    <a:pt x="4768008" y="1588850"/>
                  </a:moveTo>
                  <a:cubicBezTo>
                    <a:pt x="4781808" y="1588850"/>
                    <a:pt x="4793064" y="1600106"/>
                    <a:pt x="4793064" y="1613901"/>
                  </a:cubicBezTo>
                  <a:cubicBezTo>
                    <a:pt x="4793064" y="1627700"/>
                    <a:pt x="4781808" y="1638957"/>
                    <a:pt x="4768008" y="1638957"/>
                  </a:cubicBezTo>
                  <a:cubicBezTo>
                    <a:pt x="4754214" y="1638957"/>
                    <a:pt x="4742956" y="1627700"/>
                    <a:pt x="4742956" y="1613901"/>
                  </a:cubicBezTo>
                  <a:cubicBezTo>
                    <a:pt x="4742956" y="1600106"/>
                    <a:pt x="4754214" y="1588850"/>
                    <a:pt x="4768008" y="1588850"/>
                  </a:cubicBezTo>
                  <a:close/>
                  <a:moveTo>
                    <a:pt x="4921594" y="1586673"/>
                  </a:moveTo>
                  <a:cubicBezTo>
                    <a:pt x="4936480" y="1586673"/>
                    <a:pt x="4948826" y="1599020"/>
                    <a:pt x="4948826" y="1613905"/>
                  </a:cubicBezTo>
                  <a:cubicBezTo>
                    <a:pt x="4948826" y="1628791"/>
                    <a:pt x="4936842" y="1641137"/>
                    <a:pt x="4921594" y="1641137"/>
                  </a:cubicBezTo>
                  <a:cubicBezTo>
                    <a:pt x="4906704" y="1641137"/>
                    <a:pt x="4894362" y="1628791"/>
                    <a:pt x="4894362" y="1613905"/>
                  </a:cubicBezTo>
                  <a:cubicBezTo>
                    <a:pt x="4894362" y="1599020"/>
                    <a:pt x="4906704" y="1586673"/>
                    <a:pt x="4921594" y="1586673"/>
                  </a:cubicBezTo>
                  <a:close/>
                  <a:moveTo>
                    <a:pt x="5075545" y="1584131"/>
                  </a:moveTo>
                  <a:cubicBezTo>
                    <a:pt x="5091883" y="1584131"/>
                    <a:pt x="5105316" y="1597564"/>
                    <a:pt x="5105316" y="1613901"/>
                  </a:cubicBezTo>
                  <a:cubicBezTo>
                    <a:pt x="5105316" y="1630243"/>
                    <a:pt x="5091883" y="1643676"/>
                    <a:pt x="5075545" y="1643676"/>
                  </a:cubicBezTo>
                  <a:cubicBezTo>
                    <a:pt x="5059204" y="1643676"/>
                    <a:pt x="5045770" y="1630243"/>
                    <a:pt x="5045770" y="1613901"/>
                  </a:cubicBezTo>
                  <a:cubicBezTo>
                    <a:pt x="5045770" y="1597564"/>
                    <a:pt x="5059204" y="1584131"/>
                    <a:pt x="5075545" y="1584131"/>
                  </a:cubicBezTo>
                  <a:close/>
                  <a:moveTo>
                    <a:pt x="5229126" y="1581592"/>
                  </a:moveTo>
                  <a:cubicBezTo>
                    <a:pt x="5246916" y="1581592"/>
                    <a:pt x="5261078" y="1595753"/>
                    <a:pt x="5261078" y="1613543"/>
                  </a:cubicBezTo>
                  <a:cubicBezTo>
                    <a:pt x="5261078" y="1631333"/>
                    <a:pt x="5246916" y="1645494"/>
                    <a:pt x="5229126" y="1645494"/>
                  </a:cubicBezTo>
                  <a:cubicBezTo>
                    <a:pt x="5211336" y="1645494"/>
                    <a:pt x="5197175" y="1631333"/>
                    <a:pt x="5197175" y="1613543"/>
                  </a:cubicBezTo>
                  <a:cubicBezTo>
                    <a:pt x="5197175" y="1595753"/>
                    <a:pt x="5211336" y="1581592"/>
                    <a:pt x="5229126" y="1581592"/>
                  </a:cubicBezTo>
                  <a:close/>
                  <a:moveTo>
                    <a:pt x="5383074" y="1579773"/>
                  </a:moveTo>
                  <a:cubicBezTo>
                    <a:pt x="5401592" y="1579773"/>
                    <a:pt x="5416844" y="1595025"/>
                    <a:pt x="5416844" y="1613539"/>
                  </a:cubicBezTo>
                  <a:cubicBezTo>
                    <a:pt x="5416844" y="1632058"/>
                    <a:pt x="5401592" y="1647309"/>
                    <a:pt x="5383074" y="1647309"/>
                  </a:cubicBezTo>
                  <a:cubicBezTo>
                    <a:pt x="5364560" y="1647309"/>
                    <a:pt x="5349308" y="1632058"/>
                    <a:pt x="5349308" y="1613539"/>
                  </a:cubicBezTo>
                  <a:cubicBezTo>
                    <a:pt x="5349308" y="1595025"/>
                    <a:pt x="5364560" y="1579773"/>
                    <a:pt x="5383074" y="1579773"/>
                  </a:cubicBezTo>
                  <a:close/>
                  <a:moveTo>
                    <a:pt x="5536659" y="1577231"/>
                  </a:moveTo>
                  <a:cubicBezTo>
                    <a:pt x="5556630" y="1577231"/>
                    <a:pt x="5572968" y="1593569"/>
                    <a:pt x="5572968" y="1613539"/>
                  </a:cubicBezTo>
                  <a:cubicBezTo>
                    <a:pt x="5572968" y="1633510"/>
                    <a:pt x="5556630" y="1649848"/>
                    <a:pt x="5536659" y="1649848"/>
                  </a:cubicBezTo>
                  <a:cubicBezTo>
                    <a:pt x="5516688" y="1649848"/>
                    <a:pt x="5500351" y="1633510"/>
                    <a:pt x="5500351" y="1613539"/>
                  </a:cubicBezTo>
                  <a:cubicBezTo>
                    <a:pt x="5500351" y="1593569"/>
                    <a:pt x="5516688" y="1577231"/>
                    <a:pt x="5536659" y="1577231"/>
                  </a:cubicBezTo>
                  <a:close/>
                  <a:moveTo>
                    <a:pt x="5690606" y="1574692"/>
                  </a:moveTo>
                  <a:cubicBezTo>
                    <a:pt x="5712026" y="1574692"/>
                    <a:pt x="5729458" y="1592120"/>
                    <a:pt x="5729458" y="1613543"/>
                  </a:cubicBezTo>
                  <a:cubicBezTo>
                    <a:pt x="5729458" y="1634962"/>
                    <a:pt x="5712026" y="1652390"/>
                    <a:pt x="5690606" y="1652390"/>
                  </a:cubicBezTo>
                  <a:cubicBezTo>
                    <a:pt x="5669184" y="1652390"/>
                    <a:pt x="5651756" y="1634962"/>
                    <a:pt x="5651756" y="1613543"/>
                  </a:cubicBezTo>
                  <a:cubicBezTo>
                    <a:pt x="5651756" y="1592120"/>
                    <a:pt x="5669184" y="1574692"/>
                    <a:pt x="5690606" y="1574692"/>
                  </a:cubicBezTo>
                  <a:close/>
                  <a:moveTo>
                    <a:pt x="5844554" y="1572512"/>
                  </a:moveTo>
                  <a:cubicBezTo>
                    <a:pt x="5867429" y="1572512"/>
                    <a:pt x="5885585" y="1590668"/>
                    <a:pt x="5885585" y="1613539"/>
                  </a:cubicBezTo>
                  <a:cubicBezTo>
                    <a:pt x="5885585" y="1636415"/>
                    <a:pt x="5867067" y="1654567"/>
                    <a:pt x="5844554" y="1654567"/>
                  </a:cubicBezTo>
                  <a:cubicBezTo>
                    <a:pt x="5821682" y="1654567"/>
                    <a:pt x="5803526" y="1636415"/>
                    <a:pt x="5803526" y="1613539"/>
                  </a:cubicBezTo>
                  <a:cubicBezTo>
                    <a:pt x="5803526" y="1590668"/>
                    <a:pt x="5821682" y="1572512"/>
                    <a:pt x="5844554" y="1572512"/>
                  </a:cubicBezTo>
                  <a:close/>
                  <a:moveTo>
                    <a:pt x="5998136" y="1569973"/>
                  </a:moveTo>
                  <a:cubicBezTo>
                    <a:pt x="6022101" y="1569973"/>
                    <a:pt x="6041706" y="1589578"/>
                    <a:pt x="6041706" y="1613543"/>
                  </a:cubicBezTo>
                  <a:cubicBezTo>
                    <a:pt x="6041706" y="1637505"/>
                    <a:pt x="6022101" y="1657113"/>
                    <a:pt x="5998136" y="1657113"/>
                  </a:cubicBezTo>
                  <a:cubicBezTo>
                    <a:pt x="5974174" y="1657113"/>
                    <a:pt x="5954566" y="1637505"/>
                    <a:pt x="5954566" y="1613543"/>
                  </a:cubicBezTo>
                  <a:cubicBezTo>
                    <a:pt x="5954566" y="1589578"/>
                    <a:pt x="5974174" y="1569973"/>
                    <a:pt x="5998136" y="1569973"/>
                  </a:cubicBezTo>
                  <a:close/>
                  <a:moveTo>
                    <a:pt x="6152083" y="1567431"/>
                  </a:moveTo>
                  <a:cubicBezTo>
                    <a:pt x="6177500" y="1567431"/>
                    <a:pt x="6198196" y="1588125"/>
                    <a:pt x="6198196" y="1613543"/>
                  </a:cubicBezTo>
                  <a:cubicBezTo>
                    <a:pt x="6198196" y="1638957"/>
                    <a:pt x="6177500" y="1659656"/>
                    <a:pt x="6152083" y="1659656"/>
                  </a:cubicBezTo>
                  <a:cubicBezTo>
                    <a:pt x="6126669" y="1659656"/>
                    <a:pt x="6105974" y="1638957"/>
                    <a:pt x="6105974" y="1613543"/>
                  </a:cubicBezTo>
                  <a:cubicBezTo>
                    <a:pt x="6105974" y="1588125"/>
                    <a:pt x="6126669" y="1567431"/>
                    <a:pt x="6152083" y="1567431"/>
                  </a:cubicBezTo>
                  <a:close/>
                  <a:moveTo>
                    <a:pt x="6305672" y="1564888"/>
                  </a:moveTo>
                  <a:cubicBezTo>
                    <a:pt x="6332538" y="1564888"/>
                    <a:pt x="6354323" y="1586673"/>
                    <a:pt x="6354323" y="1613543"/>
                  </a:cubicBezTo>
                  <a:cubicBezTo>
                    <a:pt x="6354323" y="1640409"/>
                    <a:pt x="6332538" y="1662194"/>
                    <a:pt x="6305672" y="1662194"/>
                  </a:cubicBezTo>
                  <a:cubicBezTo>
                    <a:pt x="6278802" y="1662194"/>
                    <a:pt x="6257016" y="1640409"/>
                    <a:pt x="6257016" y="1613543"/>
                  </a:cubicBezTo>
                  <a:cubicBezTo>
                    <a:pt x="6257016" y="1586673"/>
                    <a:pt x="6278802" y="1564888"/>
                    <a:pt x="6305672" y="1564888"/>
                  </a:cubicBezTo>
                  <a:close/>
                  <a:moveTo>
                    <a:pt x="6459619" y="1562346"/>
                  </a:moveTo>
                  <a:cubicBezTo>
                    <a:pt x="6487938" y="1562346"/>
                    <a:pt x="6510813" y="1585221"/>
                    <a:pt x="6510813" y="1613539"/>
                  </a:cubicBezTo>
                  <a:cubicBezTo>
                    <a:pt x="6510813" y="1641862"/>
                    <a:pt x="6487938" y="1664733"/>
                    <a:pt x="6459619" y="1664733"/>
                  </a:cubicBezTo>
                  <a:cubicBezTo>
                    <a:pt x="6431297" y="1664733"/>
                    <a:pt x="6408422" y="1641862"/>
                    <a:pt x="6408422" y="1613539"/>
                  </a:cubicBezTo>
                  <a:cubicBezTo>
                    <a:pt x="6408422" y="1585221"/>
                    <a:pt x="6431297" y="1562346"/>
                    <a:pt x="6459619" y="1562346"/>
                  </a:cubicBezTo>
                  <a:close/>
                  <a:moveTo>
                    <a:pt x="6613197" y="1560169"/>
                  </a:moveTo>
                  <a:cubicBezTo>
                    <a:pt x="6642610" y="1560169"/>
                    <a:pt x="6666575" y="1584131"/>
                    <a:pt x="6666575" y="1613543"/>
                  </a:cubicBezTo>
                  <a:cubicBezTo>
                    <a:pt x="6666575" y="1642952"/>
                    <a:pt x="6642610" y="1666914"/>
                    <a:pt x="6613197" y="1666914"/>
                  </a:cubicBezTo>
                  <a:cubicBezTo>
                    <a:pt x="6583788" y="1666914"/>
                    <a:pt x="6559826" y="1642952"/>
                    <a:pt x="6559826" y="1613543"/>
                  </a:cubicBezTo>
                  <a:cubicBezTo>
                    <a:pt x="6559826" y="1584131"/>
                    <a:pt x="6583788" y="1560169"/>
                    <a:pt x="6613197" y="1560169"/>
                  </a:cubicBezTo>
                  <a:close/>
                  <a:moveTo>
                    <a:pt x="2153808" y="1459596"/>
                  </a:moveTo>
                  <a:cubicBezTo>
                    <a:pt x="2154170" y="1459596"/>
                    <a:pt x="2154170" y="1459596"/>
                    <a:pt x="2154170" y="1459958"/>
                  </a:cubicBezTo>
                  <a:cubicBezTo>
                    <a:pt x="2154170" y="1460324"/>
                    <a:pt x="2153808" y="1460324"/>
                    <a:pt x="2153808" y="1460324"/>
                  </a:cubicBezTo>
                  <a:cubicBezTo>
                    <a:pt x="2153445" y="1460324"/>
                    <a:pt x="2153445" y="1460324"/>
                    <a:pt x="2153445" y="1459958"/>
                  </a:cubicBezTo>
                  <a:cubicBezTo>
                    <a:pt x="2153445" y="1459596"/>
                    <a:pt x="2153445" y="1459596"/>
                    <a:pt x="2153808" y="1459596"/>
                  </a:cubicBezTo>
                  <a:close/>
                  <a:moveTo>
                    <a:pt x="1692331" y="1459596"/>
                  </a:moveTo>
                  <a:cubicBezTo>
                    <a:pt x="1692694" y="1459596"/>
                    <a:pt x="1692694" y="1459596"/>
                    <a:pt x="1692694" y="1459958"/>
                  </a:cubicBezTo>
                  <a:cubicBezTo>
                    <a:pt x="1692694" y="1460324"/>
                    <a:pt x="1692331" y="1460324"/>
                    <a:pt x="1692331" y="1460324"/>
                  </a:cubicBezTo>
                  <a:cubicBezTo>
                    <a:pt x="1691969" y="1460324"/>
                    <a:pt x="1691969" y="1460324"/>
                    <a:pt x="1691969" y="1459958"/>
                  </a:cubicBezTo>
                  <a:cubicBezTo>
                    <a:pt x="1691969" y="1459596"/>
                    <a:pt x="1691969" y="1459596"/>
                    <a:pt x="1692331" y="1459596"/>
                  </a:cubicBezTo>
                  <a:close/>
                  <a:moveTo>
                    <a:pt x="1538746" y="1459596"/>
                  </a:moveTo>
                  <a:cubicBezTo>
                    <a:pt x="1539108" y="1459596"/>
                    <a:pt x="1539108" y="1459596"/>
                    <a:pt x="1539108" y="1459958"/>
                  </a:cubicBezTo>
                  <a:cubicBezTo>
                    <a:pt x="1539108" y="1460324"/>
                    <a:pt x="1538746" y="1460324"/>
                    <a:pt x="1538746" y="1460324"/>
                  </a:cubicBezTo>
                  <a:cubicBezTo>
                    <a:pt x="1538384" y="1460324"/>
                    <a:pt x="1538384" y="1460324"/>
                    <a:pt x="1538384" y="1459958"/>
                  </a:cubicBezTo>
                  <a:cubicBezTo>
                    <a:pt x="1538384" y="1459596"/>
                    <a:pt x="1538384" y="1459596"/>
                    <a:pt x="1538746" y="1459596"/>
                  </a:cubicBezTo>
                  <a:close/>
                  <a:moveTo>
                    <a:pt x="1384795" y="1459230"/>
                  </a:moveTo>
                  <a:cubicBezTo>
                    <a:pt x="1385161" y="1459230"/>
                    <a:pt x="1385523" y="1459592"/>
                    <a:pt x="1385523" y="1459958"/>
                  </a:cubicBezTo>
                  <a:cubicBezTo>
                    <a:pt x="1385523" y="1460320"/>
                    <a:pt x="1384795" y="1460682"/>
                    <a:pt x="1384795" y="1460682"/>
                  </a:cubicBezTo>
                  <a:cubicBezTo>
                    <a:pt x="1384433" y="1460682"/>
                    <a:pt x="1384071" y="1460320"/>
                    <a:pt x="1384071" y="1459958"/>
                  </a:cubicBezTo>
                  <a:cubicBezTo>
                    <a:pt x="1384071" y="1459592"/>
                    <a:pt x="1384433" y="1459230"/>
                    <a:pt x="1384795" y="1459230"/>
                  </a:cubicBezTo>
                  <a:close/>
                  <a:moveTo>
                    <a:pt x="2307393" y="1458140"/>
                  </a:moveTo>
                  <a:cubicBezTo>
                    <a:pt x="2308117" y="1458140"/>
                    <a:pt x="2308845" y="1458868"/>
                    <a:pt x="2308845" y="1459592"/>
                  </a:cubicBezTo>
                  <a:cubicBezTo>
                    <a:pt x="2308845" y="1460320"/>
                    <a:pt x="2307393" y="1461044"/>
                    <a:pt x="2307393" y="1461044"/>
                  </a:cubicBezTo>
                  <a:cubicBezTo>
                    <a:pt x="2306665" y="1461044"/>
                    <a:pt x="2305941" y="1460320"/>
                    <a:pt x="2305941" y="1459592"/>
                  </a:cubicBezTo>
                  <a:cubicBezTo>
                    <a:pt x="2305941" y="1458868"/>
                    <a:pt x="2306665" y="1458140"/>
                    <a:pt x="2307393" y="1458140"/>
                  </a:cubicBezTo>
                  <a:close/>
                  <a:moveTo>
                    <a:pt x="2461340" y="1457777"/>
                  </a:moveTo>
                  <a:cubicBezTo>
                    <a:pt x="2462430" y="1457777"/>
                    <a:pt x="2463521" y="1458868"/>
                    <a:pt x="2463521" y="1459954"/>
                  </a:cubicBezTo>
                  <a:cubicBezTo>
                    <a:pt x="2463521" y="1461044"/>
                    <a:pt x="2461340" y="1462134"/>
                    <a:pt x="2461340" y="1462134"/>
                  </a:cubicBezTo>
                  <a:cubicBezTo>
                    <a:pt x="2460254" y="1462134"/>
                    <a:pt x="2459164" y="1461044"/>
                    <a:pt x="2459164" y="1459954"/>
                  </a:cubicBezTo>
                  <a:cubicBezTo>
                    <a:pt x="2459164" y="1458868"/>
                    <a:pt x="2460254" y="1457777"/>
                    <a:pt x="2461340" y="1457777"/>
                  </a:cubicBezTo>
                  <a:close/>
                  <a:moveTo>
                    <a:pt x="2614925" y="1456687"/>
                  </a:moveTo>
                  <a:cubicBezTo>
                    <a:pt x="2616744" y="1456687"/>
                    <a:pt x="2618192" y="1458140"/>
                    <a:pt x="2618192" y="1459954"/>
                  </a:cubicBezTo>
                  <a:cubicBezTo>
                    <a:pt x="2618192" y="1461769"/>
                    <a:pt x="2616744" y="1463225"/>
                    <a:pt x="2614925" y="1463225"/>
                  </a:cubicBezTo>
                  <a:cubicBezTo>
                    <a:pt x="2613111" y="1463225"/>
                    <a:pt x="2611659" y="1461769"/>
                    <a:pt x="2611659" y="1459954"/>
                  </a:cubicBezTo>
                  <a:cubicBezTo>
                    <a:pt x="2611659" y="1458140"/>
                    <a:pt x="2613111" y="1456687"/>
                    <a:pt x="2614925" y="1456687"/>
                  </a:cubicBezTo>
                  <a:close/>
                  <a:moveTo>
                    <a:pt x="2768873" y="1455601"/>
                  </a:moveTo>
                  <a:cubicBezTo>
                    <a:pt x="2771415" y="1455601"/>
                    <a:pt x="2773230" y="1457415"/>
                    <a:pt x="2773230" y="1459958"/>
                  </a:cubicBezTo>
                  <a:cubicBezTo>
                    <a:pt x="2773230" y="1462500"/>
                    <a:pt x="2771053" y="1464315"/>
                    <a:pt x="2768873" y="1464315"/>
                  </a:cubicBezTo>
                  <a:cubicBezTo>
                    <a:pt x="2766330" y="1464315"/>
                    <a:pt x="2764516" y="1462500"/>
                    <a:pt x="2764516" y="1459958"/>
                  </a:cubicBezTo>
                  <a:cubicBezTo>
                    <a:pt x="2764516" y="1457415"/>
                    <a:pt x="2766330" y="1455601"/>
                    <a:pt x="2768873" y="1455601"/>
                  </a:cubicBezTo>
                  <a:close/>
                  <a:moveTo>
                    <a:pt x="2922458" y="1454149"/>
                  </a:moveTo>
                  <a:cubicBezTo>
                    <a:pt x="2925725" y="1454149"/>
                    <a:pt x="2928267" y="1456691"/>
                    <a:pt x="2928267" y="1459958"/>
                  </a:cubicBezTo>
                  <a:cubicBezTo>
                    <a:pt x="2928267" y="1463225"/>
                    <a:pt x="2925725" y="1465767"/>
                    <a:pt x="2922458" y="1465767"/>
                  </a:cubicBezTo>
                  <a:cubicBezTo>
                    <a:pt x="2919191" y="1465767"/>
                    <a:pt x="2916649" y="1463225"/>
                    <a:pt x="2916649" y="1459958"/>
                  </a:cubicBezTo>
                  <a:cubicBezTo>
                    <a:pt x="2916649" y="1456691"/>
                    <a:pt x="2919191" y="1454149"/>
                    <a:pt x="2922458" y="1454149"/>
                  </a:cubicBezTo>
                  <a:close/>
                  <a:moveTo>
                    <a:pt x="3076406" y="1452696"/>
                  </a:moveTo>
                  <a:cubicBezTo>
                    <a:pt x="3080400" y="1452696"/>
                    <a:pt x="3083667" y="1455963"/>
                    <a:pt x="3083667" y="1459958"/>
                  </a:cubicBezTo>
                  <a:cubicBezTo>
                    <a:pt x="3083667" y="1463953"/>
                    <a:pt x="3080400" y="1467220"/>
                    <a:pt x="3076406" y="1467220"/>
                  </a:cubicBezTo>
                  <a:cubicBezTo>
                    <a:pt x="3072410" y="1467220"/>
                    <a:pt x="3069144" y="1463953"/>
                    <a:pt x="3069144" y="1459958"/>
                  </a:cubicBezTo>
                  <a:cubicBezTo>
                    <a:pt x="3069144" y="1455963"/>
                    <a:pt x="3072410" y="1452696"/>
                    <a:pt x="3076406" y="1452696"/>
                  </a:cubicBezTo>
                  <a:close/>
                  <a:moveTo>
                    <a:pt x="3230353" y="1450516"/>
                  </a:moveTo>
                  <a:cubicBezTo>
                    <a:pt x="3235438" y="1450516"/>
                    <a:pt x="3239433" y="1454511"/>
                    <a:pt x="3239433" y="1459592"/>
                  </a:cubicBezTo>
                  <a:cubicBezTo>
                    <a:pt x="3239433" y="1464677"/>
                    <a:pt x="3235438" y="1468672"/>
                    <a:pt x="3230353" y="1468672"/>
                  </a:cubicBezTo>
                  <a:cubicBezTo>
                    <a:pt x="3225272" y="1468672"/>
                    <a:pt x="3221277" y="1464677"/>
                    <a:pt x="3221277" y="1459592"/>
                  </a:cubicBezTo>
                  <a:cubicBezTo>
                    <a:pt x="3221277" y="1454511"/>
                    <a:pt x="3225272" y="1450516"/>
                    <a:pt x="3230353" y="1450516"/>
                  </a:cubicBezTo>
                  <a:close/>
                  <a:moveTo>
                    <a:pt x="3383934" y="1449791"/>
                  </a:moveTo>
                  <a:cubicBezTo>
                    <a:pt x="3389382" y="1449791"/>
                    <a:pt x="3394100" y="1454511"/>
                    <a:pt x="3394100" y="1459958"/>
                  </a:cubicBezTo>
                  <a:cubicBezTo>
                    <a:pt x="3394100" y="1465405"/>
                    <a:pt x="3389744" y="1470124"/>
                    <a:pt x="3383934" y="1470124"/>
                  </a:cubicBezTo>
                  <a:cubicBezTo>
                    <a:pt x="3378487" y="1470124"/>
                    <a:pt x="3373768" y="1465405"/>
                    <a:pt x="3373768" y="1459958"/>
                  </a:cubicBezTo>
                  <a:cubicBezTo>
                    <a:pt x="3373768" y="1454511"/>
                    <a:pt x="3378487" y="1449791"/>
                    <a:pt x="3383934" y="1449791"/>
                  </a:cubicBezTo>
                  <a:close/>
                  <a:moveTo>
                    <a:pt x="3537882" y="1447977"/>
                  </a:moveTo>
                  <a:cubicBezTo>
                    <a:pt x="3544419" y="1447977"/>
                    <a:pt x="3549866" y="1453424"/>
                    <a:pt x="3549866" y="1459958"/>
                  </a:cubicBezTo>
                  <a:cubicBezTo>
                    <a:pt x="3549866" y="1466495"/>
                    <a:pt x="3544419" y="1471939"/>
                    <a:pt x="3537882" y="1471939"/>
                  </a:cubicBezTo>
                  <a:cubicBezTo>
                    <a:pt x="3531348" y="1471939"/>
                    <a:pt x="3525901" y="1466495"/>
                    <a:pt x="3525901" y="1459958"/>
                  </a:cubicBezTo>
                  <a:cubicBezTo>
                    <a:pt x="3525901" y="1453424"/>
                    <a:pt x="3531348" y="1447977"/>
                    <a:pt x="3537882" y="1447977"/>
                  </a:cubicBezTo>
                  <a:close/>
                  <a:moveTo>
                    <a:pt x="3691467" y="1445797"/>
                  </a:moveTo>
                  <a:cubicBezTo>
                    <a:pt x="3699094" y="1445797"/>
                    <a:pt x="3705266" y="1451968"/>
                    <a:pt x="3705266" y="1459596"/>
                  </a:cubicBezTo>
                  <a:cubicBezTo>
                    <a:pt x="3705266" y="1467220"/>
                    <a:pt x="3699094" y="1473391"/>
                    <a:pt x="3691467" y="1473391"/>
                  </a:cubicBezTo>
                  <a:cubicBezTo>
                    <a:pt x="3683843" y="1473391"/>
                    <a:pt x="3677672" y="1467220"/>
                    <a:pt x="3677672" y="1459596"/>
                  </a:cubicBezTo>
                  <a:cubicBezTo>
                    <a:pt x="3677672" y="1451968"/>
                    <a:pt x="3683843" y="1445797"/>
                    <a:pt x="3691467" y="1445797"/>
                  </a:cubicBezTo>
                  <a:close/>
                  <a:moveTo>
                    <a:pt x="3845414" y="1444706"/>
                  </a:moveTo>
                  <a:cubicBezTo>
                    <a:pt x="3853839" y="1444706"/>
                    <a:pt x="3860666" y="1451534"/>
                    <a:pt x="3860666" y="1459954"/>
                  </a:cubicBezTo>
                  <a:cubicBezTo>
                    <a:pt x="3860666" y="1468378"/>
                    <a:pt x="3853839" y="1475205"/>
                    <a:pt x="3845414" y="1475205"/>
                  </a:cubicBezTo>
                  <a:cubicBezTo>
                    <a:pt x="3836994" y="1475205"/>
                    <a:pt x="3830167" y="1468378"/>
                    <a:pt x="3830167" y="1459954"/>
                  </a:cubicBezTo>
                  <a:cubicBezTo>
                    <a:pt x="3830167" y="1451534"/>
                    <a:pt x="3836994" y="1444706"/>
                    <a:pt x="3845414" y="1444706"/>
                  </a:cubicBezTo>
                  <a:close/>
                  <a:moveTo>
                    <a:pt x="3999000" y="1442892"/>
                  </a:moveTo>
                  <a:cubicBezTo>
                    <a:pt x="4008438" y="1442892"/>
                    <a:pt x="4016066" y="1450516"/>
                    <a:pt x="4016066" y="1459958"/>
                  </a:cubicBezTo>
                  <a:cubicBezTo>
                    <a:pt x="4016066" y="1469396"/>
                    <a:pt x="4008438" y="1477020"/>
                    <a:pt x="3999000" y="1477020"/>
                  </a:cubicBezTo>
                  <a:cubicBezTo>
                    <a:pt x="3989558" y="1477020"/>
                    <a:pt x="3981934" y="1469396"/>
                    <a:pt x="3981934" y="1459958"/>
                  </a:cubicBezTo>
                  <a:cubicBezTo>
                    <a:pt x="3981934" y="1450516"/>
                    <a:pt x="3989558" y="1442892"/>
                    <a:pt x="3999000" y="1442892"/>
                  </a:cubicBezTo>
                  <a:close/>
                  <a:moveTo>
                    <a:pt x="4152947" y="1440715"/>
                  </a:moveTo>
                  <a:cubicBezTo>
                    <a:pt x="4163578" y="1440715"/>
                    <a:pt x="4172194" y="1449330"/>
                    <a:pt x="4172194" y="1459958"/>
                  </a:cubicBezTo>
                  <a:cubicBezTo>
                    <a:pt x="4172194" y="1470585"/>
                    <a:pt x="4163578" y="1479200"/>
                    <a:pt x="4152947" y="1479200"/>
                  </a:cubicBezTo>
                  <a:cubicBezTo>
                    <a:pt x="4142320" y="1479200"/>
                    <a:pt x="4133704" y="1470585"/>
                    <a:pt x="4133704" y="1459958"/>
                  </a:cubicBezTo>
                  <a:cubicBezTo>
                    <a:pt x="4133704" y="1449330"/>
                    <a:pt x="4142320" y="1440715"/>
                    <a:pt x="4152947" y="1440715"/>
                  </a:cubicBezTo>
                  <a:close/>
                  <a:moveTo>
                    <a:pt x="4306532" y="1438535"/>
                  </a:moveTo>
                  <a:cubicBezTo>
                    <a:pt x="4318513" y="1438535"/>
                    <a:pt x="4327952" y="1447977"/>
                    <a:pt x="4327952" y="1459958"/>
                  </a:cubicBezTo>
                  <a:cubicBezTo>
                    <a:pt x="4327952" y="1471939"/>
                    <a:pt x="4318151" y="1481381"/>
                    <a:pt x="4306532" y="1481381"/>
                  </a:cubicBezTo>
                  <a:cubicBezTo>
                    <a:pt x="4294552" y="1481381"/>
                    <a:pt x="4285110" y="1471939"/>
                    <a:pt x="4285110" y="1459958"/>
                  </a:cubicBezTo>
                  <a:cubicBezTo>
                    <a:pt x="4285110" y="1447977"/>
                    <a:pt x="4294552" y="1438535"/>
                    <a:pt x="4306532" y="1438535"/>
                  </a:cubicBezTo>
                  <a:close/>
                  <a:moveTo>
                    <a:pt x="4460480" y="1437083"/>
                  </a:moveTo>
                  <a:cubicBezTo>
                    <a:pt x="4473112" y="1437083"/>
                    <a:pt x="4483355" y="1447325"/>
                    <a:pt x="4483355" y="1459958"/>
                  </a:cubicBezTo>
                  <a:cubicBezTo>
                    <a:pt x="4483355" y="1472591"/>
                    <a:pt x="4473112" y="1482833"/>
                    <a:pt x="4460480" y="1482833"/>
                  </a:cubicBezTo>
                  <a:cubicBezTo>
                    <a:pt x="4447847" y="1482833"/>
                    <a:pt x="4437604" y="1472591"/>
                    <a:pt x="4437604" y="1459958"/>
                  </a:cubicBezTo>
                  <a:cubicBezTo>
                    <a:pt x="4437604" y="1447325"/>
                    <a:pt x="4447847" y="1437083"/>
                    <a:pt x="4460480" y="1437083"/>
                  </a:cubicBezTo>
                  <a:close/>
                  <a:moveTo>
                    <a:pt x="4614061" y="1434906"/>
                  </a:moveTo>
                  <a:cubicBezTo>
                    <a:pt x="4627860" y="1434906"/>
                    <a:pt x="4639116" y="1446163"/>
                    <a:pt x="4639116" y="1459958"/>
                  </a:cubicBezTo>
                  <a:cubicBezTo>
                    <a:pt x="4639116" y="1473757"/>
                    <a:pt x="4627860" y="1485013"/>
                    <a:pt x="4614061" y="1485013"/>
                  </a:cubicBezTo>
                  <a:cubicBezTo>
                    <a:pt x="4600266" y="1485013"/>
                    <a:pt x="4589010" y="1473757"/>
                    <a:pt x="4589010" y="1459958"/>
                  </a:cubicBezTo>
                  <a:cubicBezTo>
                    <a:pt x="4589010" y="1446163"/>
                    <a:pt x="4600266" y="1434906"/>
                    <a:pt x="4614061" y="1434906"/>
                  </a:cubicBezTo>
                  <a:close/>
                  <a:moveTo>
                    <a:pt x="4768012" y="1432726"/>
                  </a:moveTo>
                  <a:cubicBezTo>
                    <a:pt x="4782898" y="1432726"/>
                    <a:pt x="4795244" y="1445072"/>
                    <a:pt x="4795244" y="1459958"/>
                  </a:cubicBezTo>
                  <a:cubicBezTo>
                    <a:pt x="4795244" y="1474843"/>
                    <a:pt x="4783260" y="1487190"/>
                    <a:pt x="4768012" y="1487190"/>
                  </a:cubicBezTo>
                  <a:cubicBezTo>
                    <a:pt x="4753123" y="1487190"/>
                    <a:pt x="4740780" y="1474843"/>
                    <a:pt x="4740780" y="1459958"/>
                  </a:cubicBezTo>
                  <a:cubicBezTo>
                    <a:pt x="4740780" y="1445072"/>
                    <a:pt x="4753123" y="1432726"/>
                    <a:pt x="4768012" y="1432726"/>
                  </a:cubicBezTo>
                  <a:close/>
                  <a:moveTo>
                    <a:pt x="4921594" y="1430183"/>
                  </a:moveTo>
                  <a:cubicBezTo>
                    <a:pt x="4938038" y="1430183"/>
                    <a:pt x="4951368" y="1443513"/>
                    <a:pt x="4951368" y="1459954"/>
                  </a:cubicBezTo>
                  <a:cubicBezTo>
                    <a:pt x="4951368" y="1476399"/>
                    <a:pt x="4938038" y="1489729"/>
                    <a:pt x="4921594" y="1489729"/>
                  </a:cubicBezTo>
                  <a:cubicBezTo>
                    <a:pt x="4905153" y="1489729"/>
                    <a:pt x="4891823" y="1476399"/>
                    <a:pt x="4891823" y="1459954"/>
                  </a:cubicBezTo>
                  <a:cubicBezTo>
                    <a:pt x="4891823" y="1443513"/>
                    <a:pt x="4905153" y="1430183"/>
                    <a:pt x="4921594" y="1430183"/>
                  </a:cubicBezTo>
                  <a:close/>
                  <a:moveTo>
                    <a:pt x="5075541" y="1428007"/>
                  </a:moveTo>
                  <a:cubicBezTo>
                    <a:pt x="5093332" y="1428007"/>
                    <a:pt x="5107492" y="1442168"/>
                    <a:pt x="5107492" y="1459958"/>
                  </a:cubicBezTo>
                  <a:cubicBezTo>
                    <a:pt x="5107492" y="1477748"/>
                    <a:pt x="5093332" y="1491909"/>
                    <a:pt x="5075541" y="1491909"/>
                  </a:cubicBezTo>
                  <a:cubicBezTo>
                    <a:pt x="5057751" y="1491909"/>
                    <a:pt x="5043590" y="1477748"/>
                    <a:pt x="5043590" y="1459958"/>
                  </a:cubicBezTo>
                  <a:cubicBezTo>
                    <a:pt x="5043590" y="1442168"/>
                    <a:pt x="5057751" y="1428007"/>
                    <a:pt x="5075541" y="1428007"/>
                  </a:cubicBezTo>
                  <a:close/>
                  <a:moveTo>
                    <a:pt x="5229126" y="1426192"/>
                  </a:moveTo>
                  <a:cubicBezTo>
                    <a:pt x="5247774" y="1426192"/>
                    <a:pt x="5262892" y="1441310"/>
                    <a:pt x="5262892" y="1459958"/>
                  </a:cubicBezTo>
                  <a:cubicBezTo>
                    <a:pt x="5262892" y="1478610"/>
                    <a:pt x="5247774" y="1493724"/>
                    <a:pt x="5229126" y="1493724"/>
                  </a:cubicBezTo>
                  <a:cubicBezTo>
                    <a:pt x="5210478" y="1493724"/>
                    <a:pt x="5195360" y="1478610"/>
                    <a:pt x="5195360" y="1459958"/>
                  </a:cubicBezTo>
                  <a:cubicBezTo>
                    <a:pt x="5195360" y="1441310"/>
                    <a:pt x="5210478" y="1426192"/>
                    <a:pt x="5229126" y="1426192"/>
                  </a:cubicBezTo>
                  <a:close/>
                  <a:moveTo>
                    <a:pt x="5383074" y="1423650"/>
                  </a:moveTo>
                  <a:cubicBezTo>
                    <a:pt x="5403044" y="1423650"/>
                    <a:pt x="5419382" y="1439987"/>
                    <a:pt x="5419382" y="1459958"/>
                  </a:cubicBezTo>
                  <a:cubicBezTo>
                    <a:pt x="5419382" y="1479928"/>
                    <a:pt x="5403044" y="1496266"/>
                    <a:pt x="5383074" y="1496266"/>
                  </a:cubicBezTo>
                  <a:cubicBezTo>
                    <a:pt x="5363104" y="1496266"/>
                    <a:pt x="5346766" y="1479928"/>
                    <a:pt x="5346766" y="1459958"/>
                  </a:cubicBezTo>
                  <a:cubicBezTo>
                    <a:pt x="5346766" y="1439987"/>
                    <a:pt x="5363104" y="1423650"/>
                    <a:pt x="5383074" y="1423650"/>
                  </a:cubicBezTo>
                  <a:close/>
                  <a:moveTo>
                    <a:pt x="5536659" y="1421107"/>
                  </a:moveTo>
                  <a:cubicBezTo>
                    <a:pt x="5558078" y="1421107"/>
                    <a:pt x="5575506" y="1438535"/>
                    <a:pt x="5575506" y="1459958"/>
                  </a:cubicBezTo>
                  <a:cubicBezTo>
                    <a:pt x="5575506" y="1481377"/>
                    <a:pt x="5558078" y="1498805"/>
                    <a:pt x="5536659" y="1498805"/>
                  </a:cubicBezTo>
                  <a:cubicBezTo>
                    <a:pt x="5515236" y="1498805"/>
                    <a:pt x="5497808" y="1481377"/>
                    <a:pt x="5497808" y="1459958"/>
                  </a:cubicBezTo>
                  <a:cubicBezTo>
                    <a:pt x="5497808" y="1438535"/>
                    <a:pt x="5515236" y="1421107"/>
                    <a:pt x="5536659" y="1421107"/>
                  </a:cubicBezTo>
                  <a:close/>
                  <a:moveTo>
                    <a:pt x="5690606" y="1418930"/>
                  </a:moveTo>
                  <a:cubicBezTo>
                    <a:pt x="5713482" y="1418930"/>
                    <a:pt x="5731638" y="1437086"/>
                    <a:pt x="5731638" y="1459958"/>
                  </a:cubicBezTo>
                  <a:cubicBezTo>
                    <a:pt x="5731638" y="1482833"/>
                    <a:pt x="5713120" y="1500985"/>
                    <a:pt x="5690606" y="1500985"/>
                  </a:cubicBezTo>
                  <a:cubicBezTo>
                    <a:pt x="5667735" y="1500985"/>
                    <a:pt x="5649579" y="1482833"/>
                    <a:pt x="5649579" y="1459958"/>
                  </a:cubicBezTo>
                  <a:cubicBezTo>
                    <a:pt x="5649579" y="1437086"/>
                    <a:pt x="5667735" y="1418930"/>
                    <a:pt x="5690606" y="1418930"/>
                  </a:cubicBezTo>
                  <a:close/>
                  <a:moveTo>
                    <a:pt x="5844554" y="1416388"/>
                  </a:moveTo>
                  <a:cubicBezTo>
                    <a:pt x="5868516" y="1416388"/>
                    <a:pt x="5888124" y="1435996"/>
                    <a:pt x="5888124" y="1459958"/>
                  </a:cubicBezTo>
                  <a:cubicBezTo>
                    <a:pt x="5888124" y="1483923"/>
                    <a:pt x="5868516" y="1503528"/>
                    <a:pt x="5844554" y="1503528"/>
                  </a:cubicBezTo>
                  <a:cubicBezTo>
                    <a:pt x="5820588" y="1503528"/>
                    <a:pt x="5800984" y="1483923"/>
                    <a:pt x="5800984" y="1459958"/>
                  </a:cubicBezTo>
                  <a:cubicBezTo>
                    <a:pt x="5800984" y="1435996"/>
                    <a:pt x="5820588" y="1416388"/>
                    <a:pt x="5844554" y="1416388"/>
                  </a:cubicBezTo>
                  <a:close/>
                  <a:moveTo>
                    <a:pt x="5998136" y="1413845"/>
                  </a:moveTo>
                  <a:cubicBezTo>
                    <a:pt x="6023553" y="1413845"/>
                    <a:pt x="6044248" y="1434540"/>
                    <a:pt x="6044248" y="1459958"/>
                  </a:cubicBezTo>
                  <a:cubicBezTo>
                    <a:pt x="6044248" y="1485372"/>
                    <a:pt x="6023553" y="1506070"/>
                    <a:pt x="5998136" y="1506070"/>
                  </a:cubicBezTo>
                  <a:cubicBezTo>
                    <a:pt x="5972722" y="1506070"/>
                    <a:pt x="5952026" y="1485372"/>
                    <a:pt x="5952026" y="1459958"/>
                  </a:cubicBezTo>
                  <a:cubicBezTo>
                    <a:pt x="5952026" y="1434540"/>
                    <a:pt x="5972722" y="1413845"/>
                    <a:pt x="5998136" y="1413845"/>
                  </a:cubicBezTo>
                  <a:close/>
                  <a:moveTo>
                    <a:pt x="6152083" y="1411303"/>
                  </a:moveTo>
                  <a:cubicBezTo>
                    <a:pt x="6178953" y="1411303"/>
                    <a:pt x="6200738" y="1433088"/>
                    <a:pt x="6200738" y="1459958"/>
                  </a:cubicBezTo>
                  <a:cubicBezTo>
                    <a:pt x="6200738" y="1486824"/>
                    <a:pt x="6178953" y="1508609"/>
                    <a:pt x="6152083" y="1508609"/>
                  </a:cubicBezTo>
                  <a:cubicBezTo>
                    <a:pt x="6125216" y="1508609"/>
                    <a:pt x="6103432" y="1486824"/>
                    <a:pt x="6103432" y="1459958"/>
                  </a:cubicBezTo>
                  <a:cubicBezTo>
                    <a:pt x="6103432" y="1433088"/>
                    <a:pt x="6125216" y="1411303"/>
                    <a:pt x="6152083" y="1411303"/>
                  </a:cubicBezTo>
                  <a:close/>
                  <a:moveTo>
                    <a:pt x="6305672" y="1408760"/>
                  </a:moveTo>
                  <a:cubicBezTo>
                    <a:pt x="6333990" y="1408760"/>
                    <a:pt x="6356866" y="1431635"/>
                    <a:pt x="6356866" y="1459954"/>
                  </a:cubicBezTo>
                  <a:cubicBezTo>
                    <a:pt x="6356866" y="1488276"/>
                    <a:pt x="6333990" y="1511148"/>
                    <a:pt x="6305672" y="1511148"/>
                  </a:cubicBezTo>
                  <a:cubicBezTo>
                    <a:pt x="6277350" y="1511148"/>
                    <a:pt x="6254474" y="1488276"/>
                    <a:pt x="6254474" y="1459954"/>
                  </a:cubicBezTo>
                  <a:cubicBezTo>
                    <a:pt x="6254474" y="1431635"/>
                    <a:pt x="6277350" y="1408760"/>
                    <a:pt x="6305672" y="1408760"/>
                  </a:cubicBezTo>
                  <a:close/>
                  <a:moveTo>
                    <a:pt x="6459616" y="1406584"/>
                  </a:moveTo>
                  <a:cubicBezTo>
                    <a:pt x="6489024" y="1406584"/>
                    <a:pt x="6512990" y="1430545"/>
                    <a:pt x="6512990" y="1459958"/>
                  </a:cubicBezTo>
                  <a:cubicBezTo>
                    <a:pt x="6512990" y="1489367"/>
                    <a:pt x="6489024" y="1513328"/>
                    <a:pt x="6459616" y="1513328"/>
                  </a:cubicBezTo>
                  <a:cubicBezTo>
                    <a:pt x="6430206" y="1513328"/>
                    <a:pt x="6406241" y="1489367"/>
                    <a:pt x="6406241" y="1459958"/>
                  </a:cubicBezTo>
                  <a:cubicBezTo>
                    <a:pt x="6406241" y="1430545"/>
                    <a:pt x="6430206" y="1406584"/>
                    <a:pt x="6459616" y="1406584"/>
                  </a:cubicBezTo>
                  <a:close/>
                  <a:moveTo>
                    <a:pt x="6613200" y="1403679"/>
                  </a:moveTo>
                  <a:cubicBezTo>
                    <a:pt x="6644424" y="1403679"/>
                    <a:pt x="6669476" y="1428731"/>
                    <a:pt x="6669476" y="1459958"/>
                  </a:cubicBezTo>
                  <a:cubicBezTo>
                    <a:pt x="6669476" y="1491181"/>
                    <a:pt x="6644424" y="1516233"/>
                    <a:pt x="6613200" y="1516233"/>
                  </a:cubicBezTo>
                  <a:cubicBezTo>
                    <a:pt x="6581974" y="1516233"/>
                    <a:pt x="6556922" y="1491181"/>
                    <a:pt x="6556922" y="1459958"/>
                  </a:cubicBezTo>
                  <a:cubicBezTo>
                    <a:pt x="6556922" y="1428731"/>
                    <a:pt x="6581974" y="1403679"/>
                    <a:pt x="6613200" y="1403679"/>
                  </a:cubicBezTo>
                  <a:close/>
                  <a:moveTo>
                    <a:pt x="1999860" y="1305645"/>
                  </a:moveTo>
                  <a:cubicBezTo>
                    <a:pt x="2000222" y="1305645"/>
                    <a:pt x="2000222" y="1305645"/>
                    <a:pt x="2000222" y="1306007"/>
                  </a:cubicBezTo>
                  <a:cubicBezTo>
                    <a:pt x="2000222" y="1306373"/>
                    <a:pt x="1999860" y="1306373"/>
                    <a:pt x="1999860" y="1306373"/>
                  </a:cubicBezTo>
                  <a:cubicBezTo>
                    <a:pt x="1999498" y="1306373"/>
                    <a:pt x="1999498" y="1306373"/>
                    <a:pt x="1999498" y="1306007"/>
                  </a:cubicBezTo>
                  <a:cubicBezTo>
                    <a:pt x="1999498" y="1305645"/>
                    <a:pt x="1999498" y="1305645"/>
                    <a:pt x="1999860" y="1305645"/>
                  </a:cubicBezTo>
                  <a:close/>
                  <a:moveTo>
                    <a:pt x="1538746" y="1305645"/>
                  </a:moveTo>
                  <a:cubicBezTo>
                    <a:pt x="1539108" y="1305645"/>
                    <a:pt x="1539108" y="1305645"/>
                    <a:pt x="1539108" y="1306007"/>
                  </a:cubicBezTo>
                  <a:cubicBezTo>
                    <a:pt x="1539108" y="1306373"/>
                    <a:pt x="1538746" y="1306373"/>
                    <a:pt x="1538746" y="1306373"/>
                  </a:cubicBezTo>
                  <a:cubicBezTo>
                    <a:pt x="1538384" y="1306373"/>
                    <a:pt x="1538384" y="1306373"/>
                    <a:pt x="1538384" y="1306007"/>
                  </a:cubicBezTo>
                  <a:cubicBezTo>
                    <a:pt x="1538384" y="1305645"/>
                    <a:pt x="1538384" y="1305645"/>
                    <a:pt x="1538746" y="1305645"/>
                  </a:cubicBezTo>
                  <a:close/>
                  <a:moveTo>
                    <a:pt x="1384799" y="1305645"/>
                  </a:moveTo>
                  <a:cubicBezTo>
                    <a:pt x="1385161" y="1305645"/>
                    <a:pt x="1385161" y="1305645"/>
                    <a:pt x="1385161" y="1306007"/>
                  </a:cubicBezTo>
                  <a:cubicBezTo>
                    <a:pt x="1385161" y="1306373"/>
                    <a:pt x="1384799" y="1306373"/>
                    <a:pt x="1384799" y="1306373"/>
                  </a:cubicBezTo>
                  <a:cubicBezTo>
                    <a:pt x="1384437" y="1306373"/>
                    <a:pt x="1384437" y="1306373"/>
                    <a:pt x="1384437" y="1306007"/>
                  </a:cubicBezTo>
                  <a:cubicBezTo>
                    <a:pt x="1384437" y="1305645"/>
                    <a:pt x="1384437" y="1305645"/>
                    <a:pt x="1384799" y="1305645"/>
                  </a:cubicBezTo>
                  <a:close/>
                  <a:moveTo>
                    <a:pt x="1231217" y="1305282"/>
                  </a:moveTo>
                  <a:cubicBezTo>
                    <a:pt x="1231618" y="1305282"/>
                    <a:pt x="1231942" y="1305606"/>
                    <a:pt x="1231942" y="1306010"/>
                  </a:cubicBezTo>
                  <a:cubicBezTo>
                    <a:pt x="1231942" y="1306411"/>
                    <a:pt x="1231618" y="1306735"/>
                    <a:pt x="1231217" y="1306735"/>
                  </a:cubicBezTo>
                  <a:cubicBezTo>
                    <a:pt x="1230813" y="1306735"/>
                    <a:pt x="1230489" y="1306411"/>
                    <a:pt x="1230489" y="1306010"/>
                  </a:cubicBezTo>
                  <a:cubicBezTo>
                    <a:pt x="1230489" y="1305606"/>
                    <a:pt x="1230813" y="1305282"/>
                    <a:pt x="1231217" y="1305282"/>
                  </a:cubicBezTo>
                  <a:close/>
                  <a:moveTo>
                    <a:pt x="2153811" y="1304558"/>
                  </a:moveTo>
                  <a:cubicBezTo>
                    <a:pt x="2154536" y="1304558"/>
                    <a:pt x="2155264" y="1305286"/>
                    <a:pt x="2155264" y="1306010"/>
                  </a:cubicBezTo>
                  <a:cubicBezTo>
                    <a:pt x="2155264" y="1306739"/>
                    <a:pt x="2153811" y="1307463"/>
                    <a:pt x="2153811" y="1307463"/>
                  </a:cubicBezTo>
                  <a:cubicBezTo>
                    <a:pt x="2153083" y="1307463"/>
                    <a:pt x="2152359" y="1306739"/>
                    <a:pt x="2152359" y="1306010"/>
                  </a:cubicBezTo>
                  <a:cubicBezTo>
                    <a:pt x="2152359" y="1305286"/>
                    <a:pt x="2153083" y="1304558"/>
                    <a:pt x="2153811" y="1304558"/>
                  </a:cubicBezTo>
                  <a:close/>
                  <a:moveTo>
                    <a:pt x="2307393" y="1303830"/>
                  </a:moveTo>
                  <a:cubicBezTo>
                    <a:pt x="2308483" y="1303830"/>
                    <a:pt x="2309573" y="1304920"/>
                    <a:pt x="2309573" y="1306010"/>
                  </a:cubicBezTo>
                  <a:cubicBezTo>
                    <a:pt x="2309573" y="1307097"/>
                    <a:pt x="2307393" y="1308187"/>
                    <a:pt x="2307393" y="1308187"/>
                  </a:cubicBezTo>
                  <a:cubicBezTo>
                    <a:pt x="2306306" y="1308187"/>
                    <a:pt x="2305216" y="1307097"/>
                    <a:pt x="2305216" y="1306010"/>
                  </a:cubicBezTo>
                  <a:cubicBezTo>
                    <a:pt x="2305216" y="1304920"/>
                    <a:pt x="2306306" y="1303830"/>
                    <a:pt x="2307393" y="1303830"/>
                  </a:cubicBezTo>
                  <a:close/>
                  <a:moveTo>
                    <a:pt x="2461344" y="1303106"/>
                  </a:moveTo>
                  <a:cubicBezTo>
                    <a:pt x="2463159" y="1303106"/>
                    <a:pt x="2464611" y="1304558"/>
                    <a:pt x="2464611" y="1306373"/>
                  </a:cubicBezTo>
                  <a:cubicBezTo>
                    <a:pt x="2464611" y="1308187"/>
                    <a:pt x="2463159" y="1309643"/>
                    <a:pt x="2461344" y="1309643"/>
                  </a:cubicBezTo>
                  <a:cubicBezTo>
                    <a:pt x="2459526" y="1309643"/>
                    <a:pt x="2458073" y="1308187"/>
                    <a:pt x="2458073" y="1306373"/>
                  </a:cubicBezTo>
                  <a:cubicBezTo>
                    <a:pt x="2458073" y="1304558"/>
                    <a:pt x="2459526" y="1303106"/>
                    <a:pt x="2461344" y="1303106"/>
                  </a:cubicBezTo>
                  <a:close/>
                  <a:moveTo>
                    <a:pt x="2614925" y="1301653"/>
                  </a:moveTo>
                  <a:cubicBezTo>
                    <a:pt x="2617468" y="1301653"/>
                    <a:pt x="2619283" y="1303468"/>
                    <a:pt x="2619283" y="1306010"/>
                  </a:cubicBezTo>
                  <a:cubicBezTo>
                    <a:pt x="2619283" y="1308553"/>
                    <a:pt x="2617102" y="1310367"/>
                    <a:pt x="2614925" y="1310367"/>
                  </a:cubicBezTo>
                  <a:cubicBezTo>
                    <a:pt x="2612383" y="1310367"/>
                    <a:pt x="2610568" y="1308553"/>
                    <a:pt x="2610568" y="1306010"/>
                  </a:cubicBezTo>
                  <a:cubicBezTo>
                    <a:pt x="2610568" y="1303468"/>
                    <a:pt x="2612383" y="1301653"/>
                    <a:pt x="2614925" y="1301653"/>
                  </a:cubicBezTo>
                  <a:close/>
                  <a:moveTo>
                    <a:pt x="2768873" y="1300563"/>
                  </a:moveTo>
                  <a:cubicBezTo>
                    <a:pt x="2772140" y="1300563"/>
                    <a:pt x="2774682" y="1303106"/>
                    <a:pt x="2774682" y="1306373"/>
                  </a:cubicBezTo>
                  <a:cubicBezTo>
                    <a:pt x="2774682" y="1309639"/>
                    <a:pt x="2772140" y="1312182"/>
                    <a:pt x="2768873" y="1312182"/>
                  </a:cubicBezTo>
                  <a:cubicBezTo>
                    <a:pt x="2765606" y="1312182"/>
                    <a:pt x="2763064" y="1309639"/>
                    <a:pt x="2763064" y="1306373"/>
                  </a:cubicBezTo>
                  <a:cubicBezTo>
                    <a:pt x="2763064" y="1303106"/>
                    <a:pt x="2765606" y="1300563"/>
                    <a:pt x="2768873" y="1300563"/>
                  </a:cubicBezTo>
                  <a:close/>
                  <a:moveTo>
                    <a:pt x="2922458" y="1298749"/>
                  </a:moveTo>
                  <a:cubicBezTo>
                    <a:pt x="2926453" y="1298749"/>
                    <a:pt x="2929720" y="1302015"/>
                    <a:pt x="2929720" y="1306010"/>
                  </a:cubicBezTo>
                  <a:cubicBezTo>
                    <a:pt x="2929720" y="1310005"/>
                    <a:pt x="2926453" y="1313272"/>
                    <a:pt x="2922458" y="1313272"/>
                  </a:cubicBezTo>
                  <a:cubicBezTo>
                    <a:pt x="2918463" y="1313272"/>
                    <a:pt x="2915196" y="1310005"/>
                    <a:pt x="2915196" y="1306010"/>
                  </a:cubicBezTo>
                  <a:cubicBezTo>
                    <a:pt x="2915196" y="1302015"/>
                    <a:pt x="2918463" y="1298749"/>
                    <a:pt x="2922458" y="1298749"/>
                  </a:cubicBezTo>
                  <a:close/>
                  <a:moveTo>
                    <a:pt x="3076406" y="1296934"/>
                  </a:moveTo>
                  <a:cubicBezTo>
                    <a:pt x="3081490" y="1296934"/>
                    <a:pt x="3085486" y="1300929"/>
                    <a:pt x="3085486" y="1306010"/>
                  </a:cubicBezTo>
                  <a:cubicBezTo>
                    <a:pt x="3085486" y="1311096"/>
                    <a:pt x="3081490" y="1315090"/>
                    <a:pt x="3076406" y="1315090"/>
                  </a:cubicBezTo>
                  <a:cubicBezTo>
                    <a:pt x="3071324" y="1315090"/>
                    <a:pt x="3067329" y="1311096"/>
                    <a:pt x="3067329" y="1306010"/>
                  </a:cubicBezTo>
                  <a:cubicBezTo>
                    <a:pt x="3067329" y="1300929"/>
                    <a:pt x="3071324" y="1296934"/>
                    <a:pt x="3076406" y="1296934"/>
                  </a:cubicBezTo>
                  <a:close/>
                  <a:moveTo>
                    <a:pt x="3230353" y="1295844"/>
                  </a:moveTo>
                  <a:cubicBezTo>
                    <a:pt x="3235800" y="1295844"/>
                    <a:pt x="3240519" y="1300563"/>
                    <a:pt x="3240519" y="1306010"/>
                  </a:cubicBezTo>
                  <a:cubicBezTo>
                    <a:pt x="3240519" y="1311458"/>
                    <a:pt x="3236162" y="1316177"/>
                    <a:pt x="3230353" y="1316177"/>
                  </a:cubicBezTo>
                  <a:cubicBezTo>
                    <a:pt x="3224906" y="1316177"/>
                    <a:pt x="3220186" y="1311458"/>
                    <a:pt x="3220186" y="1306010"/>
                  </a:cubicBezTo>
                  <a:cubicBezTo>
                    <a:pt x="3220186" y="1300563"/>
                    <a:pt x="3224906" y="1295844"/>
                    <a:pt x="3230353" y="1295844"/>
                  </a:cubicBezTo>
                  <a:close/>
                  <a:moveTo>
                    <a:pt x="3383934" y="1294026"/>
                  </a:moveTo>
                  <a:cubicBezTo>
                    <a:pt x="3390472" y="1294026"/>
                    <a:pt x="3395919" y="1299473"/>
                    <a:pt x="3395919" y="1306007"/>
                  </a:cubicBezTo>
                  <a:cubicBezTo>
                    <a:pt x="3395919" y="1312544"/>
                    <a:pt x="3390472" y="1317987"/>
                    <a:pt x="3383934" y="1317987"/>
                  </a:cubicBezTo>
                  <a:cubicBezTo>
                    <a:pt x="3377401" y="1317987"/>
                    <a:pt x="3371954" y="1312544"/>
                    <a:pt x="3371954" y="1306007"/>
                  </a:cubicBezTo>
                  <a:cubicBezTo>
                    <a:pt x="3371954" y="1299473"/>
                    <a:pt x="3377401" y="1294026"/>
                    <a:pt x="3383934" y="1294026"/>
                  </a:cubicBezTo>
                  <a:close/>
                  <a:moveTo>
                    <a:pt x="3537886" y="1292211"/>
                  </a:moveTo>
                  <a:cubicBezTo>
                    <a:pt x="3545509" y="1292211"/>
                    <a:pt x="3551681" y="1298383"/>
                    <a:pt x="3551681" y="1306010"/>
                  </a:cubicBezTo>
                  <a:cubicBezTo>
                    <a:pt x="3551681" y="1313634"/>
                    <a:pt x="3545509" y="1319806"/>
                    <a:pt x="3537886" y="1319806"/>
                  </a:cubicBezTo>
                  <a:cubicBezTo>
                    <a:pt x="3530258" y="1319806"/>
                    <a:pt x="3524086" y="1313634"/>
                    <a:pt x="3524086" y="1306010"/>
                  </a:cubicBezTo>
                  <a:cubicBezTo>
                    <a:pt x="3524086" y="1298383"/>
                    <a:pt x="3530258" y="1292211"/>
                    <a:pt x="3537886" y="1292211"/>
                  </a:cubicBezTo>
                  <a:close/>
                  <a:moveTo>
                    <a:pt x="3691467" y="1290759"/>
                  </a:moveTo>
                  <a:cubicBezTo>
                    <a:pt x="3699891" y="1290759"/>
                    <a:pt x="3706718" y="1297586"/>
                    <a:pt x="3706718" y="1306010"/>
                  </a:cubicBezTo>
                  <a:cubicBezTo>
                    <a:pt x="3706718" y="1314431"/>
                    <a:pt x="3699891" y="1321258"/>
                    <a:pt x="3691467" y="1321258"/>
                  </a:cubicBezTo>
                  <a:cubicBezTo>
                    <a:pt x="3683046" y="1321258"/>
                    <a:pt x="3676219" y="1314431"/>
                    <a:pt x="3676219" y="1306010"/>
                  </a:cubicBezTo>
                  <a:cubicBezTo>
                    <a:pt x="3676219" y="1297586"/>
                    <a:pt x="3683046" y="1290759"/>
                    <a:pt x="3691467" y="1290759"/>
                  </a:cubicBezTo>
                  <a:close/>
                  <a:moveTo>
                    <a:pt x="3845418" y="1288945"/>
                  </a:moveTo>
                  <a:cubicBezTo>
                    <a:pt x="3854856" y="1288945"/>
                    <a:pt x="3862484" y="1296568"/>
                    <a:pt x="3862484" y="1306010"/>
                  </a:cubicBezTo>
                  <a:cubicBezTo>
                    <a:pt x="3862484" y="1315449"/>
                    <a:pt x="3854856" y="1323072"/>
                    <a:pt x="3845418" y="1323072"/>
                  </a:cubicBezTo>
                  <a:cubicBezTo>
                    <a:pt x="3835976" y="1323072"/>
                    <a:pt x="3828352" y="1315449"/>
                    <a:pt x="3828352" y="1306010"/>
                  </a:cubicBezTo>
                  <a:cubicBezTo>
                    <a:pt x="3828352" y="1296568"/>
                    <a:pt x="3835976" y="1288945"/>
                    <a:pt x="3845418" y="1288945"/>
                  </a:cubicBezTo>
                  <a:close/>
                  <a:moveTo>
                    <a:pt x="3999000" y="1286768"/>
                  </a:moveTo>
                  <a:cubicBezTo>
                    <a:pt x="4009627" y="1286768"/>
                    <a:pt x="4018242" y="1295383"/>
                    <a:pt x="4018242" y="1306010"/>
                  </a:cubicBezTo>
                  <a:cubicBezTo>
                    <a:pt x="4018242" y="1316638"/>
                    <a:pt x="4009627" y="1325257"/>
                    <a:pt x="3999000" y="1325257"/>
                  </a:cubicBezTo>
                  <a:cubicBezTo>
                    <a:pt x="3988372" y="1325257"/>
                    <a:pt x="3979757" y="1316638"/>
                    <a:pt x="3979757" y="1306010"/>
                  </a:cubicBezTo>
                  <a:cubicBezTo>
                    <a:pt x="3979757" y="1295383"/>
                    <a:pt x="3988372" y="1286768"/>
                    <a:pt x="3999000" y="1286768"/>
                  </a:cubicBezTo>
                  <a:close/>
                  <a:moveTo>
                    <a:pt x="4152947" y="1284588"/>
                  </a:moveTo>
                  <a:cubicBezTo>
                    <a:pt x="4164928" y="1284588"/>
                    <a:pt x="4174366" y="1294026"/>
                    <a:pt x="4174366" y="1306010"/>
                  </a:cubicBezTo>
                  <a:cubicBezTo>
                    <a:pt x="4174366" y="1317991"/>
                    <a:pt x="4164562" y="1327433"/>
                    <a:pt x="4152947" y="1327433"/>
                  </a:cubicBezTo>
                  <a:cubicBezTo>
                    <a:pt x="4140962" y="1327433"/>
                    <a:pt x="4131524" y="1317991"/>
                    <a:pt x="4131524" y="1306010"/>
                  </a:cubicBezTo>
                  <a:cubicBezTo>
                    <a:pt x="4131524" y="1294026"/>
                    <a:pt x="4140962" y="1284588"/>
                    <a:pt x="4152947" y="1284588"/>
                  </a:cubicBezTo>
                  <a:close/>
                  <a:moveTo>
                    <a:pt x="4306532" y="1283135"/>
                  </a:moveTo>
                  <a:cubicBezTo>
                    <a:pt x="4319165" y="1283135"/>
                    <a:pt x="4329404" y="1293378"/>
                    <a:pt x="4329404" y="1306010"/>
                  </a:cubicBezTo>
                  <a:cubicBezTo>
                    <a:pt x="4329404" y="1318643"/>
                    <a:pt x="4319165" y="1328886"/>
                    <a:pt x="4306532" y="1328886"/>
                  </a:cubicBezTo>
                  <a:cubicBezTo>
                    <a:pt x="4293900" y="1328886"/>
                    <a:pt x="4283657" y="1318643"/>
                    <a:pt x="4283657" y="1306010"/>
                  </a:cubicBezTo>
                  <a:cubicBezTo>
                    <a:pt x="4283657" y="1293378"/>
                    <a:pt x="4293900" y="1283135"/>
                    <a:pt x="4306532" y="1283135"/>
                  </a:cubicBezTo>
                  <a:close/>
                  <a:moveTo>
                    <a:pt x="4460480" y="1281321"/>
                  </a:moveTo>
                  <a:cubicBezTo>
                    <a:pt x="4474279" y="1281321"/>
                    <a:pt x="4485536" y="1292577"/>
                    <a:pt x="4485536" y="1306373"/>
                  </a:cubicBezTo>
                  <a:cubicBezTo>
                    <a:pt x="4485536" y="1320172"/>
                    <a:pt x="4474279" y="1331424"/>
                    <a:pt x="4460480" y="1331424"/>
                  </a:cubicBezTo>
                  <a:cubicBezTo>
                    <a:pt x="4446684" y="1331424"/>
                    <a:pt x="4435428" y="1320172"/>
                    <a:pt x="4435428" y="1306373"/>
                  </a:cubicBezTo>
                  <a:cubicBezTo>
                    <a:pt x="4435428" y="1292577"/>
                    <a:pt x="4446684" y="1281321"/>
                    <a:pt x="4460480" y="1281321"/>
                  </a:cubicBezTo>
                  <a:close/>
                  <a:moveTo>
                    <a:pt x="4614065" y="1278778"/>
                  </a:moveTo>
                  <a:cubicBezTo>
                    <a:pt x="4628950" y="1278778"/>
                    <a:pt x="4641297" y="1291125"/>
                    <a:pt x="4641297" y="1306010"/>
                  </a:cubicBezTo>
                  <a:cubicBezTo>
                    <a:pt x="4641297" y="1320896"/>
                    <a:pt x="4629312" y="1333243"/>
                    <a:pt x="4614065" y="1333243"/>
                  </a:cubicBezTo>
                  <a:cubicBezTo>
                    <a:pt x="4599176" y="1333243"/>
                    <a:pt x="4586832" y="1320896"/>
                    <a:pt x="4586832" y="1306010"/>
                  </a:cubicBezTo>
                  <a:cubicBezTo>
                    <a:pt x="4586832" y="1291125"/>
                    <a:pt x="4599176" y="1278778"/>
                    <a:pt x="4614065" y="1278778"/>
                  </a:cubicBezTo>
                  <a:close/>
                  <a:moveTo>
                    <a:pt x="4768008" y="1276236"/>
                  </a:moveTo>
                  <a:cubicBezTo>
                    <a:pt x="4784453" y="1276236"/>
                    <a:pt x="4797784" y="1289566"/>
                    <a:pt x="4797784" y="1306010"/>
                  </a:cubicBezTo>
                  <a:cubicBezTo>
                    <a:pt x="4797784" y="1322451"/>
                    <a:pt x="4784453" y="1335781"/>
                    <a:pt x="4768008" y="1335781"/>
                  </a:cubicBezTo>
                  <a:cubicBezTo>
                    <a:pt x="4751568" y="1335781"/>
                    <a:pt x="4738238" y="1322451"/>
                    <a:pt x="4738238" y="1306010"/>
                  </a:cubicBezTo>
                  <a:cubicBezTo>
                    <a:pt x="4738238" y="1289566"/>
                    <a:pt x="4751568" y="1276236"/>
                    <a:pt x="4768008" y="1276236"/>
                  </a:cubicBezTo>
                  <a:close/>
                  <a:moveTo>
                    <a:pt x="4921594" y="1274059"/>
                  </a:moveTo>
                  <a:cubicBezTo>
                    <a:pt x="4939384" y="1274059"/>
                    <a:pt x="4953545" y="1288220"/>
                    <a:pt x="4953545" y="1306010"/>
                  </a:cubicBezTo>
                  <a:cubicBezTo>
                    <a:pt x="4953545" y="1323801"/>
                    <a:pt x="4939384" y="1337962"/>
                    <a:pt x="4921594" y="1337962"/>
                  </a:cubicBezTo>
                  <a:cubicBezTo>
                    <a:pt x="4903804" y="1337962"/>
                    <a:pt x="4889642" y="1323801"/>
                    <a:pt x="4889642" y="1306010"/>
                  </a:cubicBezTo>
                  <a:cubicBezTo>
                    <a:pt x="4889642" y="1288220"/>
                    <a:pt x="4903804" y="1274059"/>
                    <a:pt x="4921594" y="1274059"/>
                  </a:cubicBezTo>
                  <a:close/>
                  <a:moveTo>
                    <a:pt x="5075541" y="1272245"/>
                  </a:moveTo>
                  <a:cubicBezTo>
                    <a:pt x="5094060" y="1272245"/>
                    <a:pt x="5109311" y="1287492"/>
                    <a:pt x="5109311" y="1306010"/>
                  </a:cubicBezTo>
                  <a:cubicBezTo>
                    <a:pt x="5109311" y="1324529"/>
                    <a:pt x="5094060" y="1339780"/>
                    <a:pt x="5075541" y="1339780"/>
                  </a:cubicBezTo>
                  <a:cubicBezTo>
                    <a:pt x="5057027" y="1339780"/>
                    <a:pt x="5041776" y="1324529"/>
                    <a:pt x="5041776" y="1306010"/>
                  </a:cubicBezTo>
                  <a:cubicBezTo>
                    <a:pt x="5041776" y="1287492"/>
                    <a:pt x="5057027" y="1272245"/>
                    <a:pt x="5075541" y="1272245"/>
                  </a:cubicBezTo>
                  <a:close/>
                  <a:moveTo>
                    <a:pt x="5229126" y="1269702"/>
                  </a:moveTo>
                  <a:cubicBezTo>
                    <a:pt x="5249097" y="1269702"/>
                    <a:pt x="5265435" y="1286040"/>
                    <a:pt x="5265435" y="1306010"/>
                  </a:cubicBezTo>
                  <a:cubicBezTo>
                    <a:pt x="5265435" y="1325981"/>
                    <a:pt x="5249097" y="1342319"/>
                    <a:pt x="5229126" y="1342319"/>
                  </a:cubicBezTo>
                  <a:cubicBezTo>
                    <a:pt x="5209156" y="1342319"/>
                    <a:pt x="5192818" y="1325981"/>
                    <a:pt x="5192818" y="1306010"/>
                  </a:cubicBezTo>
                  <a:cubicBezTo>
                    <a:pt x="5192818" y="1286040"/>
                    <a:pt x="5209156" y="1269702"/>
                    <a:pt x="5229126" y="1269702"/>
                  </a:cubicBezTo>
                  <a:close/>
                  <a:moveTo>
                    <a:pt x="5383074" y="1267160"/>
                  </a:moveTo>
                  <a:cubicBezTo>
                    <a:pt x="5404496" y="1267160"/>
                    <a:pt x="5421921" y="1284588"/>
                    <a:pt x="5421921" y="1306010"/>
                  </a:cubicBezTo>
                  <a:cubicBezTo>
                    <a:pt x="5421921" y="1327430"/>
                    <a:pt x="5404496" y="1344858"/>
                    <a:pt x="5383074" y="1344858"/>
                  </a:cubicBezTo>
                  <a:cubicBezTo>
                    <a:pt x="5361651" y="1344858"/>
                    <a:pt x="5344223" y="1327430"/>
                    <a:pt x="5344223" y="1306010"/>
                  </a:cubicBezTo>
                  <a:cubicBezTo>
                    <a:pt x="5344223" y="1284588"/>
                    <a:pt x="5361651" y="1267160"/>
                    <a:pt x="5383074" y="1267160"/>
                  </a:cubicBezTo>
                  <a:close/>
                  <a:moveTo>
                    <a:pt x="5536659" y="1264983"/>
                  </a:moveTo>
                  <a:cubicBezTo>
                    <a:pt x="5559534" y="1264983"/>
                    <a:pt x="5577690" y="1283139"/>
                    <a:pt x="5577690" y="1306010"/>
                  </a:cubicBezTo>
                  <a:cubicBezTo>
                    <a:pt x="5577690" y="1328886"/>
                    <a:pt x="5559172" y="1347038"/>
                    <a:pt x="5536659" y="1347038"/>
                  </a:cubicBezTo>
                  <a:cubicBezTo>
                    <a:pt x="5513788" y="1347038"/>
                    <a:pt x="5495632" y="1328886"/>
                    <a:pt x="5495632" y="1306010"/>
                  </a:cubicBezTo>
                  <a:cubicBezTo>
                    <a:pt x="5495632" y="1283139"/>
                    <a:pt x="5513788" y="1264983"/>
                    <a:pt x="5536659" y="1264983"/>
                  </a:cubicBezTo>
                  <a:close/>
                  <a:moveTo>
                    <a:pt x="5690606" y="1262440"/>
                  </a:moveTo>
                  <a:cubicBezTo>
                    <a:pt x="5714568" y="1262440"/>
                    <a:pt x="5734176" y="1282049"/>
                    <a:pt x="5734176" y="1306010"/>
                  </a:cubicBezTo>
                  <a:cubicBezTo>
                    <a:pt x="5734176" y="1329976"/>
                    <a:pt x="5714568" y="1349581"/>
                    <a:pt x="5690606" y="1349581"/>
                  </a:cubicBezTo>
                  <a:cubicBezTo>
                    <a:pt x="5666641" y="1349581"/>
                    <a:pt x="5647036" y="1329976"/>
                    <a:pt x="5647036" y="1306010"/>
                  </a:cubicBezTo>
                  <a:cubicBezTo>
                    <a:pt x="5647036" y="1282049"/>
                    <a:pt x="5666641" y="1262440"/>
                    <a:pt x="5690606" y="1262440"/>
                  </a:cubicBezTo>
                  <a:close/>
                  <a:moveTo>
                    <a:pt x="5844554" y="1259898"/>
                  </a:moveTo>
                  <a:cubicBezTo>
                    <a:pt x="5870021" y="1259898"/>
                    <a:pt x="5890666" y="1280543"/>
                    <a:pt x="5890666" y="1306010"/>
                  </a:cubicBezTo>
                  <a:cubicBezTo>
                    <a:pt x="5890666" y="1331478"/>
                    <a:pt x="5870021" y="1352123"/>
                    <a:pt x="5844554" y="1352123"/>
                  </a:cubicBezTo>
                  <a:cubicBezTo>
                    <a:pt x="5819086" y="1352123"/>
                    <a:pt x="5798442" y="1331478"/>
                    <a:pt x="5798442" y="1306010"/>
                  </a:cubicBezTo>
                  <a:cubicBezTo>
                    <a:pt x="5798442" y="1280543"/>
                    <a:pt x="5819086" y="1259898"/>
                    <a:pt x="5844554" y="1259898"/>
                  </a:cubicBezTo>
                  <a:close/>
                  <a:moveTo>
                    <a:pt x="5998136" y="1257355"/>
                  </a:moveTo>
                  <a:cubicBezTo>
                    <a:pt x="6025006" y="1257355"/>
                    <a:pt x="6046790" y="1279140"/>
                    <a:pt x="6046790" y="1306010"/>
                  </a:cubicBezTo>
                  <a:cubicBezTo>
                    <a:pt x="6046790" y="1332877"/>
                    <a:pt x="6025006" y="1354662"/>
                    <a:pt x="5998136" y="1354662"/>
                  </a:cubicBezTo>
                  <a:cubicBezTo>
                    <a:pt x="5971269" y="1354662"/>
                    <a:pt x="5949484" y="1332877"/>
                    <a:pt x="5949484" y="1306010"/>
                  </a:cubicBezTo>
                  <a:cubicBezTo>
                    <a:pt x="5949484" y="1279140"/>
                    <a:pt x="5971269" y="1257355"/>
                    <a:pt x="5998136" y="1257355"/>
                  </a:cubicBezTo>
                  <a:close/>
                  <a:moveTo>
                    <a:pt x="6152083" y="1254817"/>
                  </a:moveTo>
                  <a:cubicBezTo>
                    <a:pt x="6180405" y="1254817"/>
                    <a:pt x="6203280" y="1277692"/>
                    <a:pt x="6203280" y="1306010"/>
                  </a:cubicBezTo>
                  <a:cubicBezTo>
                    <a:pt x="6203280" y="1334333"/>
                    <a:pt x="6180405" y="1357204"/>
                    <a:pt x="6152083" y="1357204"/>
                  </a:cubicBezTo>
                  <a:cubicBezTo>
                    <a:pt x="6123764" y="1357204"/>
                    <a:pt x="6100889" y="1334333"/>
                    <a:pt x="6100889" y="1306010"/>
                  </a:cubicBezTo>
                  <a:cubicBezTo>
                    <a:pt x="6100889" y="1277692"/>
                    <a:pt x="6123764" y="1254817"/>
                    <a:pt x="6152083" y="1254817"/>
                  </a:cubicBezTo>
                  <a:close/>
                  <a:moveTo>
                    <a:pt x="6305668" y="1252636"/>
                  </a:moveTo>
                  <a:cubicBezTo>
                    <a:pt x="6335077" y="1252636"/>
                    <a:pt x="6359042" y="1276598"/>
                    <a:pt x="6359042" y="1306010"/>
                  </a:cubicBezTo>
                  <a:cubicBezTo>
                    <a:pt x="6359042" y="1335419"/>
                    <a:pt x="6335077" y="1359381"/>
                    <a:pt x="6305668" y="1359381"/>
                  </a:cubicBezTo>
                  <a:cubicBezTo>
                    <a:pt x="6276259" y="1359381"/>
                    <a:pt x="6252294" y="1335419"/>
                    <a:pt x="6252294" y="1306010"/>
                  </a:cubicBezTo>
                  <a:cubicBezTo>
                    <a:pt x="6252294" y="1276598"/>
                    <a:pt x="6276259" y="1252636"/>
                    <a:pt x="6305668" y="1252636"/>
                  </a:cubicBezTo>
                  <a:close/>
                  <a:moveTo>
                    <a:pt x="6459619" y="1249732"/>
                  </a:moveTo>
                  <a:cubicBezTo>
                    <a:pt x="6490842" y="1249732"/>
                    <a:pt x="6515894" y="1274783"/>
                    <a:pt x="6515894" y="1306010"/>
                  </a:cubicBezTo>
                  <a:cubicBezTo>
                    <a:pt x="6515894" y="1337234"/>
                    <a:pt x="6490842" y="1362289"/>
                    <a:pt x="6459619" y="1362289"/>
                  </a:cubicBezTo>
                  <a:cubicBezTo>
                    <a:pt x="6428392" y="1362289"/>
                    <a:pt x="6403340" y="1337234"/>
                    <a:pt x="6403340" y="1306010"/>
                  </a:cubicBezTo>
                  <a:cubicBezTo>
                    <a:pt x="6403340" y="1274783"/>
                    <a:pt x="6428392" y="1249732"/>
                    <a:pt x="6459619" y="1249732"/>
                  </a:cubicBezTo>
                  <a:close/>
                  <a:moveTo>
                    <a:pt x="6613197" y="1247189"/>
                  </a:moveTo>
                  <a:cubicBezTo>
                    <a:pt x="6645514" y="1247189"/>
                    <a:pt x="6672018" y="1273693"/>
                    <a:pt x="6672018" y="1306010"/>
                  </a:cubicBezTo>
                  <a:cubicBezTo>
                    <a:pt x="6672018" y="1338324"/>
                    <a:pt x="6645876" y="1364828"/>
                    <a:pt x="6613197" y="1364828"/>
                  </a:cubicBezTo>
                  <a:cubicBezTo>
                    <a:pt x="6580884" y="1364828"/>
                    <a:pt x="6554380" y="1338324"/>
                    <a:pt x="6554380" y="1306010"/>
                  </a:cubicBezTo>
                  <a:cubicBezTo>
                    <a:pt x="6554380" y="1273693"/>
                    <a:pt x="6580884" y="1247189"/>
                    <a:pt x="6613197" y="1247189"/>
                  </a:cubicBezTo>
                  <a:close/>
                  <a:moveTo>
                    <a:pt x="1846279" y="1152063"/>
                  </a:moveTo>
                  <a:cubicBezTo>
                    <a:pt x="1846641" y="1152063"/>
                    <a:pt x="1846641" y="1152063"/>
                    <a:pt x="1846641" y="1152425"/>
                  </a:cubicBezTo>
                  <a:cubicBezTo>
                    <a:pt x="1846641" y="1152791"/>
                    <a:pt x="1846279" y="1152791"/>
                    <a:pt x="1846279" y="1152791"/>
                  </a:cubicBezTo>
                  <a:cubicBezTo>
                    <a:pt x="1845917" y="1152791"/>
                    <a:pt x="1845917" y="1152791"/>
                    <a:pt x="1845917" y="1152425"/>
                  </a:cubicBezTo>
                  <a:cubicBezTo>
                    <a:pt x="1845917" y="1152063"/>
                    <a:pt x="1845917" y="1152063"/>
                    <a:pt x="1846279" y="1152063"/>
                  </a:cubicBezTo>
                  <a:close/>
                  <a:moveTo>
                    <a:pt x="1384799" y="1152063"/>
                  </a:moveTo>
                  <a:cubicBezTo>
                    <a:pt x="1385161" y="1152063"/>
                    <a:pt x="1385161" y="1152063"/>
                    <a:pt x="1385161" y="1152425"/>
                  </a:cubicBezTo>
                  <a:cubicBezTo>
                    <a:pt x="1385161" y="1152791"/>
                    <a:pt x="1384799" y="1152791"/>
                    <a:pt x="1384799" y="1152791"/>
                  </a:cubicBezTo>
                  <a:cubicBezTo>
                    <a:pt x="1384437" y="1152791"/>
                    <a:pt x="1384437" y="1152791"/>
                    <a:pt x="1384437" y="1152425"/>
                  </a:cubicBezTo>
                  <a:cubicBezTo>
                    <a:pt x="1384437" y="1152063"/>
                    <a:pt x="1384437" y="1152063"/>
                    <a:pt x="1384799" y="1152063"/>
                  </a:cubicBezTo>
                  <a:close/>
                  <a:moveTo>
                    <a:pt x="1231213" y="1152063"/>
                  </a:moveTo>
                  <a:cubicBezTo>
                    <a:pt x="1231576" y="1152063"/>
                    <a:pt x="1231576" y="1152063"/>
                    <a:pt x="1231576" y="1152425"/>
                  </a:cubicBezTo>
                  <a:cubicBezTo>
                    <a:pt x="1231576" y="1152791"/>
                    <a:pt x="1231213" y="1152791"/>
                    <a:pt x="1231213" y="1152791"/>
                  </a:cubicBezTo>
                  <a:cubicBezTo>
                    <a:pt x="1230851" y="1152791"/>
                    <a:pt x="1230851" y="1152791"/>
                    <a:pt x="1230851" y="1152425"/>
                  </a:cubicBezTo>
                  <a:cubicBezTo>
                    <a:pt x="1230851" y="1152063"/>
                    <a:pt x="1230851" y="1152063"/>
                    <a:pt x="1231213" y="1152063"/>
                  </a:cubicBezTo>
                  <a:close/>
                  <a:moveTo>
                    <a:pt x="1077270" y="1151701"/>
                  </a:moveTo>
                  <a:cubicBezTo>
                    <a:pt x="1077670" y="1151701"/>
                    <a:pt x="1077994" y="1152025"/>
                    <a:pt x="1077994" y="1152425"/>
                  </a:cubicBezTo>
                  <a:cubicBezTo>
                    <a:pt x="1077994" y="1152829"/>
                    <a:pt x="1077670" y="1153153"/>
                    <a:pt x="1077270" y="1153153"/>
                  </a:cubicBezTo>
                  <a:cubicBezTo>
                    <a:pt x="1076866" y="1153153"/>
                    <a:pt x="1076542" y="1152829"/>
                    <a:pt x="1076542" y="1152425"/>
                  </a:cubicBezTo>
                  <a:cubicBezTo>
                    <a:pt x="1076542" y="1152025"/>
                    <a:pt x="1076866" y="1151701"/>
                    <a:pt x="1077270" y="1151701"/>
                  </a:cubicBezTo>
                  <a:close/>
                  <a:moveTo>
                    <a:pt x="1999864" y="1150611"/>
                  </a:moveTo>
                  <a:cubicBezTo>
                    <a:pt x="2000588" y="1150611"/>
                    <a:pt x="2001316" y="1151335"/>
                    <a:pt x="2001316" y="1152063"/>
                  </a:cubicBezTo>
                  <a:cubicBezTo>
                    <a:pt x="2001316" y="1152787"/>
                    <a:pt x="1999864" y="1153515"/>
                    <a:pt x="1999864" y="1153515"/>
                  </a:cubicBezTo>
                  <a:cubicBezTo>
                    <a:pt x="1999136" y="1153515"/>
                    <a:pt x="1998412" y="1152787"/>
                    <a:pt x="1998412" y="1152063"/>
                  </a:cubicBezTo>
                  <a:cubicBezTo>
                    <a:pt x="1998412" y="1151335"/>
                    <a:pt x="1999136" y="1150611"/>
                    <a:pt x="1999864" y="1150611"/>
                  </a:cubicBezTo>
                  <a:close/>
                  <a:moveTo>
                    <a:pt x="2153808" y="1150249"/>
                  </a:moveTo>
                  <a:cubicBezTo>
                    <a:pt x="2154898" y="1150249"/>
                    <a:pt x="2155988" y="1151339"/>
                    <a:pt x="2155988" y="1152425"/>
                  </a:cubicBezTo>
                  <a:cubicBezTo>
                    <a:pt x="2155988" y="1153515"/>
                    <a:pt x="2153808" y="1154606"/>
                    <a:pt x="2153808" y="1154606"/>
                  </a:cubicBezTo>
                  <a:cubicBezTo>
                    <a:pt x="2152721" y="1154606"/>
                    <a:pt x="2151631" y="1153515"/>
                    <a:pt x="2151631" y="1152425"/>
                  </a:cubicBezTo>
                  <a:cubicBezTo>
                    <a:pt x="2151631" y="1151339"/>
                    <a:pt x="2152721" y="1150249"/>
                    <a:pt x="2153808" y="1150249"/>
                  </a:cubicBezTo>
                  <a:close/>
                  <a:moveTo>
                    <a:pt x="2307393" y="1149158"/>
                  </a:moveTo>
                  <a:cubicBezTo>
                    <a:pt x="2309211" y="1149158"/>
                    <a:pt x="2310660" y="1150611"/>
                    <a:pt x="2310660" y="1152425"/>
                  </a:cubicBezTo>
                  <a:cubicBezTo>
                    <a:pt x="2310660" y="1154244"/>
                    <a:pt x="2309211" y="1155696"/>
                    <a:pt x="2307393" y="1155696"/>
                  </a:cubicBezTo>
                  <a:cubicBezTo>
                    <a:pt x="2305578" y="1155696"/>
                    <a:pt x="2304126" y="1154244"/>
                    <a:pt x="2304126" y="1152425"/>
                  </a:cubicBezTo>
                  <a:cubicBezTo>
                    <a:pt x="2304126" y="1150611"/>
                    <a:pt x="2305578" y="1149158"/>
                    <a:pt x="2307393" y="1149158"/>
                  </a:cubicBezTo>
                  <a:close/>
                  <a:moveTo>
                    <a:pt x="2461340" y="1147706"/>
                  </a:moveTo>
                  <a:cubicBezTo>
                    <a:pt x="2463883" y="1147706"/>
                    <a:pt x="2465697" y="1149521"/>
                    <a:pt x="2465697" y="1152063"/>
                  </a:cubicBezTo>
                  <a:cubicBezTo>
                    <a:pt x="2465697" y="1154606"/>
                    <a:pt x="2463521" y="1156420"/>
                    <a:pt x="2461340" y="1156420"/>
                  </a:cubicBezTo>
                  <a:cubicBezTo>
                    <a:pt x="2458798" y="1156420"/>
                    <a:pt x="2456983" y="1154606"/>
                    <a:pt x="2456983" y="1152063"/>
                  </a:cubicBezTo>
                  <a:cubicBezTo>
                    <a:pt x="2456983" y="1149521"/>
                    <a:pt x="2458798" y="1147706"/>
                    <a:pt x="2461340" y="1147706"/>
                  </a:cubicBezTo>
                  <a:close/>
                  <a:moveTo>
                    <a:pt x="2614925" y="1146616"/>
                  </a:moveTo>
                  <a:cubicBezTo>
                    <a:pt x="2618192" y="1146616"/>
                    <a:pt x="2620735" y="1149158"/>
                    <a:pt x="2620735" y="1152425"/>
                  </a:cubicBezTo>
                  <a:cubicBezTo>
                    <a:pt x="2620735" y="1155692"/>
                    <a:pt x="2618192" y="1158234"/>
                    <a:pt x="2614925" y="1158234"/>
                  </a:cubicBezTo>
                  <a:cubicBezTo>
                    <a:pt x="2611659" y="1158234"/>
                    <a:pt x="2609116" y="1155692"/>
                    <a:pt x="2609116" y="1152425"/>
                  </a:cubicBezTo>
                  <a:cubicBezTo>
                    <a:pt x="2609116" y="1149158"/>
                    <a:pt x="2611659" y="1146616"/>
                    <a:pt x="2614925" y="1146616"/>
                  </a:cubicBezTo>
                  <a:close/>
                  <a:moveTo>
                    <a:pt x="2768873" y="1145164"/>
                  </a:moveTo>
                  <a:cubicBezTo>
                    <a:pt x="2772868" y="1145164"/>
                    <a:pt x="2776135" y="1148430"/>
                    <a:pt x="2776135" y="1152425"/>
                  </a:cubicBezTo>
                  <a:cubicBezTo>
                    <a:pt x="2776135" y="1156420"/>
                    <a:pt x="2772868" y="1159687"/>
                    <a:pt x="2768873" y="1159687"/>
                  </a:cubicBezTo>
                  <a:cubicBezTo>
                    <a:pt x="2764878" y="1159687"/>
                    <a:pt x="2761611" y="1156420"/>
                    <a:pt x="2761611" y="1152425"/>
                  </a:cubicBezTo>
                  <a:cubicBezTo>
                    <a:pt x="2761611" y="1148430"/>
                    <a:pt x="2764878" y="1145164"/>
                    <a:pt x="2768873" y="1145164"/>
                  </a:cubicBezTo>
                  <a:close/>
                  <a:moveTo>
                    <a:pt x="2922454" y="1142983"/>
                  </a:moveTo>
                  <a:cubicBezTo>
                    <a:pt x="2927539" y="1142983"/>
                    <a:pt x="2931534" y="1146978"/>
                    <a:pt x="2931534" y="1152059"/>
                  </a:cubicBezTo>
                  <a:cubicBezTo>
                    <a:pt x="2931534" y="1157144"/>
                    <a:pt x="2927539" y="1161139"/>
                    <a:pt x="2922454" y="1161139"/>
                  </a:cubicBezTo>
                  <a:cubicBezTo>
                    <a:pt x="2917373" y="1161139"/>
                    <a:pt x="2913378" y="1157144"/>
                    <a:pt x="2913378" y="1152059"/>
                  </a:cubicBezTo>
                  <a:cubicBezTo>
                    <a:pt x="2913378" y="1146978"/>
                    <a:pt x="2917373" y="1142983"/>
                    <a:pt x="2922454" y="1142983"/>
                  </a:cubicBezTo>
                  <a:close/>
                  <a:moveTo>
                    <a:pt x="3076406" y="1142259"/>
                  </a:moveTo>
                  <a:cubicBezTo>
                    <a:pt x="3081853" y="1142259"/>
                    <a:pt x="3086572" y="1146978"/>
                    <a:pt x="3086572" y="1152425"/>
                  </a:cubicBezTo>
                  <a:cubicBezTo>
                    <a:pt x="3086572" y="1157872"/>
                    <a:pt x="3082215" y="1162592"/>
                    <a:pt x="3076406" y="1162592"/>
                  </a:cubicBezTo>
                  <a:cubicBezTo>
                    <a:pt x="3070958" y="1162592"/>
                    <a:pt x="3066239" y="1157872"/>
                    <a:pt x="3066239" y="1152425"/>
                  </a:cubicBezTo>
                  <a:cubicBezTo>
                    <a:pt x="3066239" y="1146978"/>
                    <a:pt x="3070958" y="1142259"/>
                    <a:pt x="3076406" y="1142259"/>
                  </a:cubicBezTo>
                  <a:close/>
                  <a:moveTo>
                    <a:pt x="3230349" y="1140444"/>
                  </a:moveTo>
                  <a:cubicBezTo>
                    <a:pt x="3236886" y="1140444"/>
                    <a:pt x="3242334" y="1145892"/>
                    <a:pt x="3242334" y="1152425"/>
                  </a:cubicBezTo>
                  <a:cubicBezTo>
                    <a:pt x="3242334" y="1158963"/>
                    <a:pt x="3236886" y="1164406"/>
                    <a:pt x="3230349" y="1164406"/>
                  </a:cubicBezTo>
                  <a:cubicBezTo>
                    <a:pt x="3223816" y="1164406"/>
                    <a:pt x="3218368" y="1158963"/>
                    <a:pt x="3218368" y="1152425"/>
                  </a:cubicBezTo>
                  <a:cubicBezTo>
                    <a:pt x="3218368" y="1145892"/>
                    <a:pt x="3223816" y="1140444"/>
                    <a:pt x="3230349" y="1140444"/>
                  </a:cubicBezTo>
                  <a:close/>
                  <a:moveTo>
                    <a:pt x="3383934" y="1138264"/>
                  </a:moveTo>
                  <a:cubicBezTo>
                    <a:pt x="3391562" y="1138264"/>
                    <a:pt x="3397733" y="1144435"/>
                    <a:pt x="3397733" y="1152059"/>
                  </a:cubicBezTo>
                  <a:cubicBezTo>
                    <a:pt x="3397733" y="1159687"/>
                    <a:pt x="3391562" y="1165858"/>
                    <a:pt x="3383934" y="1165858"/>
                  </a:cubicBezTo>
                  <a:cubicBezTo>
                    <a:pt x="3376310" y="1165858"/>
                    <a:pt x="3370139" y="1159687"/>
                    <a:pt x="3370139" y="1152059"/>
                  </a:cubicBezTo>
                  <a:cubicBezTo>
                    <a:pt x="3370139" y="1144435"/>
                    <a:pt x="3376310" y="1138264"/>
                    <a:pt x="3383934" y="1138264"/>
                  </a:cubicBezTo>
                  <a:close/>
                  <a:moveTo>
                    <a:pt x="3537882" y="1137178"/>
                  </a:moveTo>
                  <a:cubicBezTo>
                    <a:pt x="3546306" y="1137178"/>
                    <a:pt x="3553133" y="1144005"/>
                    <a:pt x="3553133" y="1152425"/>
                  </a:cubicBezTo>
                  <a:cubicBezTo>
                    <a:pt x="3553133" y="1160849"/>
                    <a:pt x="3546306" y="1167677"/>
                    <a:pt x="3537882" y="1167677"/>
                  </a:cubicBezTo>
                  <a:cubicBezTo>
                    <a:pt x="3529461" y="1167677"/>
                    <a:pt x="3522634" y="1160849"/>
                    <a:pt x="3522634" y="1152425"/>
                  </a:cubicBezTo>
                  <a:cubicBezTo>
                    <a:pt x="3522634" y="1144005"/>
                    <a:pt x="3529461" y="1137178"/>
                    <a:pt x="3537882" y="1137178"/>
                  </a:cubicBezTo>
                  <a:close/>
                  <a:moveTo>
                    <a:pt x="3691467" y="1135359"/>
                  </a:moveTo>
                  <a:cubicBezTo>
                    <a:pt x="3700905" y="1135359"/>
                    <a:pt x="3708533" y="1142983"/>
                    <a:pt x="3708533" y="1152425"/>
                  </a:cubicBezTo>
                  <a:cubicBezTo>
                    <a:pt x="3708533" y="1161863"/>
                    <a:pt x="3700905" y="1169487"/>
                    <a:pt x="3691467" y="1169487"/>
                  </a:cubicBezTo>
                  <a:cubicBezTo>
                    <a:pt x="3682025" y="1169487"/>
                    <a:pt x="3674401" y="1161863"/>
                    <a:pt x="3674401" y="1152425"/>
                  </a:cubicBezTo>
                  <a:cubicBezTo>
                    <a:pt x="3674401" y="1142983"/>
                    <a:pt x="3682025" y="1135359"/>
                    <a:pt x="3691467" y="1135359"/>
                  </a:cubicBezTo>
                  <a:close/>
                  <a:moveTo>
                    <a:pt x="3845414" y="1133183"/>
                  </a:moveTo>
                  <a:cubicBezTo>
                    <a:pt x="3856046" y="1133183"/>
                    <a:pt x="3864661" y="1141798"/>
                    <a:pt x="3864661" y="1152425"/>
                  </a:cubicBezTo>
                  <a:cubicBezTo>
                    <a:pt x="3864661" y="1163053"/>
                    <a:pt x="3856046" y="1171672"/>
                    <a:pt x="3845414" y="1171672"/>
                  </a:cubicBezTo>
                  <a:cubicBezTo>
                    <a:pt x="3834787" y="1171672"/>
                    <a:pt x="3826172" y="1163053"/>
                    <a:pt x="3826172" y="1152425"/>
                  </a:cubicBezTo>
                  <a:cubicBezTo>
                    <a:pt x="3826172" y="1141798"/>
                    <a:pt x="3834787" y="1133183"/>
                    <a:pt x="3845414" y="1133183"/>
                  </a:cubicBezTo>
                  <a:close/>
                  <a:moveTo>
                    <a:pt x="3999000" y="1131002"/>
                  </a:moveTo>
                  <a:cubicBezTo>
                    <a:pt x="4010832" y="1131002"/>
                    <a:pt x="4020422" y="1140593"/>
                    <a:pt x="4020422" y="1152425"/>
                  </a:cubicBezTo>
                  <a:cubicBezTo>
                    <a:pt x="4020422" y="1164254"/>
                    <a:pt x="4010832" y="1173844"/>
                    <a:pt x="3999000" y="1173844"/>
                  </a:cubicBezTo>
                  <a:cubicBezTo>
                    <a:pt x="3987168" y="1173844"/>
                    <a:pt x="3977577" y="1164254"/>
                    <a:pt x="3977577" y="1152425"/>
                  </a:cubicBezTo>
                  <a:cubicBezTo>
                    <a:pt x="3977577" y="1140593"/>
                    <a:pt x="3987168" y="1131002"/>
                    <a:pt x="3999000" y="1131002"/>
                  </a:cubicBezTo>
                  <a:close/>
                  <a:moveTo>
                    <a:pt x="4152947" y="1129550"/>
                  </a:moveTo>
                  <a:cubicBezTo>
                    <a:pt x="4165580" y="1129550"/>
                    <a:pt x="4175822" y="1139792"/>
                    <a:pt x="4175822" y="1152425"/>
                  </a:cubicBezTo>
                  <a:cubicBezTo>
                    <a:pt x="4175822" y="1165058"/>
                    <a:pt x="4165580" y="1175297"/>
                    <a:pt x="4152947" y="1175297"/>
                  </a:cubicBezTo>
                  <a:cubicBezTo>
                    <a:pt x="4140314" y="1175297"/>
                    <a:pt x="4130072" y="1165058"/>
                    <a:pt x="4130072" y="1152425"/>
                  </a:cubicBezTo>
                  <a:cubicBezTo>
                    <a:pt x="4130072" y="1139792"/>
                    <a:pt x="4140314" y="1129550"/>
                    <a:pt x="4152947" y="1129550"/>
                  </a:cubicBezTo>
                  <a:close/>
                  <a:moveTo>
                    <a:pt x="4306532" y="1127373"/>
                  </a:moveTo>
                  <a:cubicBezTo>
                    <a:pt x="4320370" y="1127373"/>
                    <a:pt x="4331584" y="1138588"/>
                    <a:pt x="4331584" y="1152425"/>
                  </a:cubicBezTo>
                  <a:cubicBezTo>
                    <a:pt x="4331584" y="1166262"/>
                    <a:pt x="4320370" y="1177481"/>
                    <a:pt x="4306532" y="1177481"/>
                  </a:cubicBezTo>
                  <a:cubicBezTo>
                    <a:pt x="4292695" y="1177481"/>
                    <a:pt x="4281480" y="1166262"/>
                    <a:pt x="4281480" y="1152425"/>
                  </a:cubicBezTo>
                  <a:cubicBezTo>
                    <a:pt x="4281480" y="1138588"/>
                    <a:pt x="4292695" y="1127373"/>
                    <a:pt x="4306532" y="1127373"/>
                  </a:cubicBezTo>
                  <a:close/>
                  <a:moveTo>
                    <a:pt x="4460480" y="1125193"/>
                  </a:moveTo>
                  <a:cubicBezTo>
                    <a:pt x="4475365" y="1125193"/>
                    <a:pt x="4487712" y="1137540"/>
                    <a:pt x="4487712" y="1152425"/>
                  </a:cubicBezTo>
                  <a:cubicBezTo>
                    <a:pt x="4487712" y="1167311"/>
                    <a:pt x="4475728" y="1179657"/>
                    <a:pt x="4460480" y="1179657"/>
                  </a:cubicBezTo>
                  <a:cubicBezTo>
                    <a:pt x="4445590" y="1179657"/>
                    <a:pt x="4433248" y="1167311"/>
                    <a:pt x="4433248" y="1152425"/>
                  </a:cubicBezTo>
                  <a:cubicBezTo>
                    <a:pt x="4433248" y="1137540"/>
                    <a:pt x="4445590" y="1125193"/>
                    <a:pt x="4460480" y="1125193"/>
                  </a:cubicBezTo>
                  <a:close/>
                  <a:moveTo>
                    <a:pt x="4614061" y="1122654"/>
                  </a:moveTo>
                  <a:cubicBezTo>
                    <a:pt x="4630506" y="1122654"/>
                    <a:pt x="4643836" y="1135985"/>
                    <a:pt x="4643836" y="1152425"/>
                  </a:cubicBezTo>
                  <a:cubicBezTo>
                    <a:pt x="4643836" y="1168870"/>
                    <a:pt x="4630506" y="1182200"/>
                    <a:pt x="4614061" y="1182200"/>
                  </a:cubicBezTo>
                  <a:cubicBezTo>
                    <a:pt x="4597620" y="1182200"/>
                    <a:pt x="4584290" y="1168870"/>
                    <a:pt x="4584290" y="1152429"/>
                  </a:cubicBezTo>
                  <a:cubicBezTo>
                    <a:pt x="4584290" y="1135985"/>
                    <a:pt x="4597620" y="1122654"/>
                    <a:pt x="4614061" y="1122654"/>
                  </a:cubicBezTo>
                  <a:close/>
                  <a:moveTo>
                    <a:pt x="4768012" y="1120474"/>
                  </a:moveTo>
                  <a:cubicBezTo>
                    <a:pt x="4785802" y="1120474"/>
                    <a:pt x="4799964" y="1134635"/>
                    <a:pt x="4799964" y="1152425"/>
                  </a:cubicBezTo>
                  <a:cubicBezTo>
                    <a:pt x="4799964" y="1170215"/>
                    <a:pt x="4785802" y="1184377"/>
                    <a:pt x="4768012" y="1184377"/>
                  </a:cubicBezTo>
                  <a:cubicBezTo>
                    <a:pt x="4750222" y="1184377"/>
                    <a:pt x="4736061" y="1170215"/>
                    <a:pt x="4736061" y="1152425"/>
                  </a:cubicBezTo>
                  <a:cubicBezTo>
                    <a:pt x="4736061" y="1134635"/>
                    <a:pt x="4750222" y="1120474"/>
                    <a:pt x="4768012" y="1120474"/>
                  </a:cubicBezTo>
                  <a:close/>
                  <a:moveTo>
                    <a:pt x="4921594" y="1118659"/>
                  </a:moveTo>
                  <a:cubicBezTo>
                    <a:pt x="4940246" y="1118659"/>
                    <a:pt x="4955364" y="1133777"/>
                    <a:pt x="4955364" y="1152425"/>
                  </a:cubicBezTo>
                  <a:cubicBezTo>
                    <a:pt x="4955364" y="1171077"/>
                    <a:pt x="4940246" y="1186191"/>
                    <a:pt x="4921594" y="1186191"/>
                  </a:cubicBezTo>
                  <a:cubicBezTo>
                    <a:pt x="4902946" y="1186191"/>
                    <a:pt x="4887828" y="1171077"/>
                    <a:pt x="4887828" y="1152425"/>
                  </a:cubicBezTo>
                  <a:cubicBezTo>
                    <a:pt x="4887828" y="1133777"/>
                    <a:pt x="4902946" y="1118659"/>
                    <a:pt x="4921594" y="1118659"/>
                  </a:cubicBezTo>
                  <a:close/>
                  <a:moveTo>
                    <a:pt x="5075541" y="1116117"/>
                  </a:moveTo>
                  <a:cubicBezTo>
                    <a:pt x="5095512" y="1116117"/>
                    <a:pt x="5111850" y="1132455"/>
                    <a:pt x="5111850" y="1152425"/>
                  </a:cubicBezTo>
                  <a:cubicBezTo>
                    <a:pt x="5111850" y="1172396"/>
                    <a:pt x="5095512" y="1188734"/>
                    <a:pt x="5075541" y="1188734"/>
                  </a:cubicBezTo>
                  <a:cubicBezTo>
                    <a:pt x="5055570" y="1188734"/>
                    <a:pt x="5039233" y="1172396"/>
                    <a:pt x="5039233" y="1152425"/>
                  </a:cubicBezTo>
                  <a:cubicBezTo>
                    <a:pt x="5039233" y="1132455"/>
                    <a:pt x="5055570" y="1116117"/>
                    <a:pt x="5075541" y="1116117"/>
                  </a:cubicBezTo>
                  <a:close/>
                  <a:moveTo>
                    <a:pt x="5229126" y="1113574"/>
                  </a:moveTo>
                  <a:cubicBezTo>
                    <a:pt x="5250550" y="1113574"/>
                    <a:pt x="5267978" y="1131002"/>
                    <a:pt x="5267978" y="1152425"/>
                  </a:cubicBezTo>
                  <a:cubicBezTo>
                    <a:pt x="5267978" y="1173848"/>
                    <a:pt x="5250550" y="1191276"/>
                    <a:pt x="5229126" y="1191276"/>
                  </a:cubicBezTo>
                  <a:cubicBezTo>
                    <a:pt x="5207704" y="1191276"/>
                    <a:pt x="5190276" y="1173848"/>
                    <a:pt x="5190276" y="1152425"/>
                  </a:cubicBezTo>
                  <a:cubicBezTo>
                    <a:pt x="5190276" y="1131002"/>
                    <a:pt x="5207704" y="1113574"/>
                    <a:pt x="5229126" y="1113574"/>
                  </a:cubicBezTo>
                  <a:close/>
                  <a:moveTo>
                    <a:pt x="5383074" y="1111036"/>
                  </a:moveTo>
                  <a:cubicBezTo>
                    <a:pt x="5405949" y="1111036"/>
                    <a:pt x="5424102" y="1129192"/>
                    <a:pt x="5424102" y="1152063"/>
                  </a:cubicBezTo>
                  <a:cubicBezTo>
                    <a:pt x="5424102" y="1174938"/>
                    <a:pt x="5405587" y="1193094"/>
                    <a:pt x="5383074" y="1193094"/>
                  </a:cubicBezTo>
                  <a:cubicBezTo>
                    <a:pt x="5360202" y="1193094"/>
                    <a:pt x="5342046" y="1174938"/>
                    <a:pt x="5342046" y="1152063"/>
                  </a:cubicBezTo>
                  <a:cubicBezTo>
                    <a:pt x="5342046" y="1129192"/>
                    <a:pt x="5360202" y="1111036"/>
                    <a:pt x="5383074" y="1111036"/>
                  </a:cubicBezTo>
                  <a:close/>
                  <a:moveTo>
                    <a:pt x="5536659" y="1108855"/>
                  </a:moveTo>
                  <a:cubicBezTo>
                    <a:pt x="5560620" y="1108855"/>
                    <a:pt x="5580229" y="1128460"/>
                    <a:pt x="5580229" y="1152425"/>
                  </a:cubicBezTo>
                  <a:cubicBezTo>
                    <a:pt x="5580229" y="1176391"/>
                    <a:pt x="5560620" y="1195995"/>
                    <a:pt x="5536659" y="1195995"/>
                  </a:cubicBezTo>
                  <a:cubicBezTo>
                    <a:pt x="5512694" y="1195995"/>
                    <a:pt x="5493089" y="1176391"/>
                    <a:pt x="5493089" y="1152425"/>
                  </a:cubicBezTo>
                  <a:cubicBezTo>
                    <a:pt x="5493089" y="1128460"/>
                    <a:pt x="5512694" y="1108855"/>
                    <a:pt x="5536659" y="1108855"/>
                  </a:cubicBezTo>
                  <a:close/>
                  <a:moveTo>
                    <a:pt x="5690602" y="1106313"/>
                  </a:moveTo>
                  <a:cubicBezTo>
                    <a:pt x="5716070" y="1106313"/>
                    <a:pt x="5736716" y="1126958"/>
                    <a:pt x="5736716" y="1152425"/>
                  </a:cubicBezTo>
                  <a:cubicBezTo>
                    <a:pt x="5736716" y="1177893"/>
                    <a:pt x="5716070" y="1198534"/>
                    <a:pt x="5690602" y="1198534"/>
                  </a:cubicBezTo>
                  <a:cubicBezTo>
                    <a:pt x="5665136" y="1198534"/>
                    <a:pt x="5644490" y="1177893"/>
                    <a:pt x="5644490" y="1152425"/>
                  </a:cubicBezTo>
                  <a:cubicBezTo>
                    <a:pt x="5644490" y="1126958"/>
                    <a:pt x="5665136" y="1106313"/>
                    <a:pt x="5690602" y="1106313"/>
                  </a:cubicBezTo>
                  <a:close/>
                  <a:moveTo>
                    <a:pt x="5844554" y="1103770"/>
                  </a:moveTo>
                  <a:cubicBezTo>
                    <a:pt x="5871420" y="1103770"/>
                    <a:pt x="5893205" y="1125555"/>
                    <a:pt x="5893205" y="1152425"/>
                  </a:cubicBezTo>
                  <a:cubicBezTo>
                    <a:pt x="5893205" y="1179291"/>
                    <a:pt x="5871420" y="1201077"/>
                    <a:pt x="5844554" y="1201077"/>
                  </a:cubicBezTo>
                  <a:cubicBezTo>
                    <a:pt x="5817684" y="1201077"/>
                    <a:pt x="5795899" y="1179291"/>
                    <a:pt x="5795899" y="1152425"/>
                  </a:cubicBezTo>
                  <a:cubicBezTo>
                    <a:pt x="5795899" y="1125555"/>
                    <a:pt x="5817684" y="1103770"/>
                    <a:pt x="5844554" y="1103770"/>
                  </a:cubicBezTo>
                  <a:close/>
                  <a:moveTo>
                    <a:pt x="5998136" y="1101231"/>
                  </a:moveTo>
                  <a:cubicBezTo>
                    <a:pt x="6026458" y="1101231"/>
                    <a:pt x="6049333" y="1124107"/>
                    <a:pt x="6049333" y="1152425"/>
                  </a:cubicBezTo>
                  <a:cubicBezTo>
                    <a:pt x="6049333" y="1180748"/>
                    <a:pt x="6026458" y="1203623"/>
                    <a:pt x="5998136" y="1203623"/>
                  </a:cubicBezTo>
                  <a:cubicBezTo>
                    <a:pt x="5969817" y="1203623"/>
                    <a:pt x="5946942" y="1180748"/>
                    <a:pt x="5946942" y="1152425"/>
                  </a:cubicBezTo>
                  <a:cubicBezTo>
                    <a:pt x="5946942" y="1124107"/>
                    <a:pt x="5969817" y="1101231"/>
                    <a:pt x="5998136" y="1101231"/>
                  </a:cubicBezTo>
                  <a:close/>
                  <a:moveTo>
                    <a:pt x="6152083" y="1099051"/>
                  </a:moveTo>
                  <a:cubicBezTo>
                    <a:pt x="6181496" y="1099051"/>
                    <a:pt x="6205461" y="1123013"/>
                    <a:pt x="6205461" y="1152425"/>
                  </a:cubicBezTo>
                  <a:cubicBezTo>
                    <a:pt x="6205461" y="1181834"/>
                    <a:pt x="6181496" y="1205796"/>
                    <a:pt x="6152083" y="1205796"/>
                  </a:cubicBezTo>
                  <a:cubicBezTo>
                    <a:pt x="6122674" y="1205796"/>
                    <a:pt x="6098712" y="1181834"/>
                    <a:pt x="6098712" y="1152425"/>
                  </a:cubicBezTo>
                  <a:cubicBezTo>
                    <a:pt x="6098712" y="1123013"/>
                    <a:pt x="6122674" y="1099051"/>
                    <a:pt x="6152083" y="1099051"/>
                  </a:cubicBezTo>
                  <a:close/>
                  <a:moveTo>
                    <a:pt x="6305672" y="1096146"/>
                  </a:moveTo>
                  <a:cubicBezTo>
                    <a:pt x="6336895" y="1096146"/>
                    <a:pt x="6361947" y="1121198"/>
                    <a:pt x="6361947" y="1152425"/>
                  </a:cubicBezTo>
                  <a:cubicBezTo>
                    <a:pt x="6361947" y="1183648"/>
                    <a:pt x="6336895" y="1208704"/>
                    <a:pt x="6305672" y="1208704"/>
                  </a:cubicBezTo>
                  <a:cubicBezTo>
                    <a:pt x="6274445" y="1208704"/>
                    <a:pt x="6249393" y="1183648"/>
                    <a:pt x="6249393" y="1152425"/>
                  </a:cubicBezTo>
                  <a:cubicBezTo>
                    <a:pt x="6249393" y="1121198"/>
                    <a:pt x="6274445" y="1096146"/>
                    <a:pt x="6305672" y="1096146"/>
                  </a:cubicBezTo>
                  <a:close/>
                  <a:moveTo>
                    <a:pt x="6459616" y="1093608"/>
                  </a:moveTo>
                  <a:cubicBezTo>
                    <a:pt x="6491932" y="1093608"/>
                    <a:pt x="6518437" y="1120112"/>
                    <a:pt x="6518437" y="1152425"/>
                  </a:cubicBezTo>
                  <a:cubicBezTo>
                    <a:pt x="6518437" y="1184743"/>
                    <a:pt x="6492295" y="1211247"/>
                    <a:pt x="6459616" y="1211247"/>
                  </a:cubicBezTo>
                  <a:cubicBezTo>
                    <a:pt x="6427302" y="1211247"/>
                    <a:pt x="6400798" y="1184743"/>
                    <a:pt x="6400798" y="1152425"/>
                  </a:cubicBezTo>
                  <a:cubicBezTo>
                    <a:pt x="6400798" y="1120112"/>
                    <a:pt x="6427302" y="1093608"/>
                    <a:pt x="6459616" y="1093608"/>
                  </a:cubicBezTo>
                  <a:close/>
                  <a:moveTo>
                    <a:pt x="6613200" y="1090703"/>
                  </a:moveTo>
                  <a:cubicBezTo>
                    <a:pt x="6647328" y="1090703"/>
                    <a:pt x="6674923" y="1118297"/>
                    <a:pt x="6674923" y="1152425"/>
                  </a:cubicBezTo>
                  <a:cubicBezTo>
                    <a:pt x="6674923" y="1186557"/>
                    <a:pt x="6647328" y="1214151"/>
                    <a:pt x="6613200" y="1214151"/>
                  </a:cubicBezTo>
                  <a:cubicBezTo>
                    <a:pt x="6579069" y="1214151"/>
                    <a:pt x="6551474" y="1186557"/>
                    <a:pt x="6551474" y="1152425"/>
                  </a:cubicBezTo>
                  <a:cubicBezTo>
                    <a:pt x="6551474" y="1118297"/>
                    <a:pt x="6579069" y="1090703"/>
                    <a:pt x="6613200" y="1090703"/>
                  </a:cubicBezTo>
                  <a:close/>
                  <a:moveTo>
                    <a:pt x="1692331" y="998116"/>
                  </a:moveTo>
                  <a:cubicBezTo>
                    <a:pt x="1692694" y="998116"/>
                    <a:pt x="1692694" y="998116"/>
                    <a:pt x="1692694" y="998478"/>
                  </a:cubicBezTo>
                  <a:cubicBezTo>
                    <a:pt x="1692694" y="998844"/>
                    <a:pt x="1692331" y="998844"/>
                    <a:pt x="1692331" y="998844"/>
                  </a:cubicBezTo>
                  <a:cubicBezTo>
                    <a:pt x="1691969" y="998844"/>
                    <a:pt x="1691969" y="998844"/>
                    <a:pt x="1691969" y="998478"/>
                  </a:cubicBezTo>
                  <a:cubicBezTo>
                    <a:pt x="1691969" y="998116"/>
                    <a:pt x="1691969" y="998116"/>
                    <a:pt x="1692331" y="998116"/>
                  </a:cubicBezTo>
                  <a:close/>
                  <a:moveTo>
                    <a:pt x="1231213" y="998116"/>
                  </a:moveTo>
                  <a:cubicBezTo>
                    <a:pt x="1231576" y="998116"/>
                    <a:pt x="1231576" y="998116"/>
                    <a:pt x="1231576" y="998478"/>
                  </a:cubicBezTo>
                  <a:cubicBezTo>
                    <a:pt x="1231576" y="998844"/>
                    <a:pt x="1231213" y="998844"/>
                    <a:pt x="1231213" y="998844"/>
                  </a:cubicBezTo>
                  <a:cubicBezTo>
                    <a:pt x="1230851" y="998844"/>
                    <a:pt x="1230851" y="998844"/>
                    <a:pt x="1230851" y="998478"/>
                  </a:cubicBezTo>
                  <a:cubicBezTo>
                    <a:pt x="1230851" y="998116"/>
                    <a:pt x="1230851" y="998116"/>
                    <a:pt x="1231213" y="998116"/>
                  </a:cubicBezTo>
                  <a:close/>
                  <a:moveTo>
                    <a:pt x="1077266" y="998116"/>
                  </a:moveTo>
                  <a:cubicBezTo>
                    <a:pt x="1077628" y="998116"/>
                    <a:pt x="1077628" y="998116"/>
                    <a:pt x="1077628" y="998478"/>
                  </a:cubicBezTo>
                  <a:cubicBezTo>
                    <a:pt x="1077628" y="998844"/>
                    <a:pt x="1077266" y="998844"/>
                    <a:pt x="1077266" y="998844"/>
                  </a:cubicBezTo>
                  <a:cubicBezTo>
                    <a:pt x="1076904" y="998844"/>
                    <a:pt x="1076904" y="998844"/>
                    <a:pt x="1076904" y="998478"/>
                  </a:cubicBezTo>
                  <a:cubicBezTo>
                    <a:pt x="1076904" y="998116"/>
                    <a:pt x="1076904" y="998116"/>
                    <a:pt x="1077266" y="998116"/>
                  </a:cubicBezTo>
                  <a:close/>
                  <a:moveTo>
                    <a:pt x="923685" y="997754"/>
                  </a:moveTo>
                  <a:cubicBezTo>
                    <a:pt x="924085" y="997754"/>
                    <a:pt x="924409" y="998077"/>
                    <a:pt x="924409" y="998482"/>
                  </a:cubicBezTo>
                  <a:cubicBezTo>
                    <a:pt x="924409" y="998882"/>
                    <a:pt x="924085" y="999206"/>
                    <a:pt x="923685" y="999206"/>
                  </a:cubicBezTo>
                  <a:cubicBezTo>
                    <a:pt x="923281" y="999206"/>
                    <a:pt x="922957" y="998882"/>
                    <a:pt x="922957" y="998482"/>
                  </a:cubicBezTo>
                  <a:cubicBezTo>
                    <a:pt x="922957" y="998077"/>
                    <a:pt x="923281" y="997754"/>
                    <a:pt x="923685" y="997754"/>
                  </a:cubicBezTo>
                  <a:close/>
                  <a:moveTo>
                    <a:pt x="1846279" y="997025"/>
                  </a:moveTo>
                  <a:cubicBezTo>
                    <a:pt x="1847003" y="997025"/>
                    <a:pt x="1847731" y="997754"/>
                    <a:pt x="1847731" y="998478"/>
                  </a:cubicBezTo>
                  <a:cubicBezTo>
                    <a:pt x="1847731" y="999206"/>
                    <a:pt x="1846279" y="999930"/>
                    <a:pt x="1846279" y="999930"/>
                  </a:cubicBezTo>
                  <a:cubicBezTo>
                    <a:pt x="1845551" y="999930"/>
                    <a:pt x="1844826" y="999206"/>
                    <a:pt x="1844826" y="998478"/>
                  </a:cubicBezTo>
                  <a:cubicBezTo>
                    <a:pt x="1844826" y="997754"/>
                    <a:pt x="1845551" y="997025"/>
                    <a:pt x="1846279" y="997025"/>
                  </a:cubicBezTo>
                  <a:close/>
                  <a:moveTo>
                    <a:pt x="1999860" y="996301"/>
                  </a:moveTo>
                  <a:cubicBezTo>
                    <a:pt x="2000950" y="996301"/>
                    <a:pt x="2002041" y="997391"/>
                    <a:pt x="2002041" y="998478"/>
                  </a:cubicBezTo>
                  <a:cubicBezTo>
                    <a:pt x="2002041" y="999568"/>
                    <a:pt x="1999860" y="1000658"/>
                    <a:pt x="1999860" y="1000658"/>
                  </a:cubicBezTo>
                  <a:cubicBezTo>
                    <a:pt x="1998774" y="1000658"/>
                    <a:pt x="1997684" y="999568"/>
                    <a:pt x="1997684" y="998478"/>
                  </a:cubicBezTo>
                  <a:cubicBezTo>
                    <a:pt x="1997684" y="997391"/>
                    <a:pt x="1998774" y="996301"/>
                    <a:pt x="1999860" y="996301"/>
                  </a:cubicBezTo>
                  <a:close/>
                  <a:moveTo>
                    <a:pt x="2153808" y="995573"/>
                  </a:moveTo>
                  <a:cubicBezTo>
                    <a:pt x="2155622" y="995573"/>
                    <a:pt x="2157074" y="997025"/>
                    <a:pt x="2157074" y="998840"/>
                  </a:cubicBezTo>
                  <a:cubicBezTo>
                    <a:pt x="2157074" y="1000654"/>
                    <a:pt x="2155622" y="1002110"/>
                    <a:pt x="2153808" y="1002110"/>
                  </a:cubicBezTo>
                  <a:cubicBezTo>
                    <a:pt x="2151993" y="1002110"/>
                    <a:pt x="2150541" y="1000654"/>
                    <a:pt x="2150541" y="998840"/>
                  </a:cubicBezTo>
                  <a:cubicBezTo>
                    <a:pt x="2150541" y="997025"/>
                    <a:pt x="2151993" y="995573"/>
                    <a:pt x="2153808" y="995573"/>
                  </a:cubicBezTo>
                  <a:close/>
                  <a:moveTo>
                    <a:pt x="2307393" y="994121"/>
                  </a:moveTo>
                  <a:cubicBezTo>
                    <a:pt x="2309935" y="994121"/>
                    <a:pt x="2311750" y="995935"/>
                    <a:pt x="2311750" y="998478"/>
                  </a:cubicBezTo>
                  <a:cubicBezTo>
                    <a:pt x="2311750" y="1001020"/>
                    <a:pt x="2309569" y="1002835"/>
                    <a:pt x="2307393" y="1002835"/>
                  </a:cubicBezTo>
                  <a:cubicBezTo>
                    <a:pt x="2304850" y="1002835"/>
                    <a:pt x="2303036" y="1001020"/>
                    <a:pt x="2303036" y="998478"/>
                  </a:cubicBezTo>
                  <a:cubicBezTo>
                    <a:pt x="2303036" y="995935"/>
                    <a:pt x="2304850" y="994121"/>
                    <a:pt x="2307393" y="994121"/>
                  </a:cubicBezTo>
                  <a:close/>
                  <a:moveTo>
                    <a:pt x="2461340" y="993031"/>
                  </a:moveTo>
                  <a:cubicBezTo>
                    <a:pt x="2464607" y="993031"/>
                    <a:pt x="2467150" y="995573"/>
                    <a:pt x="2467150" y="998840"/>
                  </a:cubicBezTo>
                  <a:cubicBezTo>
                    <a:pt x="2467150" y="1002107"/>
                    <a:pt x="2464607" y="1004649"/>
                    <a:pt x="2461340" y="1004649"/>
                  </a:cubicBezTo>
                  <a:cubicBezTo>
                    <a:pt x="2458073" y="1004649"/>
                    <a:pt x="2455531" y="1002107"/>
                    <a:pt x="2455531" y="998840"/>
                  </a:cubicBezTo>
                  <a:cubicBezTo>
                    <a:pt x="2455531" y="995573"/>
                    <a:pt x="2458073" y="993031"/>
                    <a:pt x="2461340" y="993031"/>
                  </a:cubicBezTo>
                  <a:close/>
                  <a:moveTo>
                    <a:pt x="2614925" y="991216"/>
                  </a:moveTo>
                  <a:cubicBezTo>
                    <a:pt x="2618920" y="991216"/>
                    <a:pt x="2622187" y="994483"/>
                    <a:pt x="2622187" y="998478"/>
                  </a:cubicBezTo>
                  <a:cubicBezTo>
                    <a:pt x="2622187" y="1002473"/>
                    <a:pt x="2618920" y="1005739"/>
                    <a:pt x="2614925" y="1005739"/>
                  </a:cubicBezTo>
                  <a:cubicBezTo>
                    <a:pt x="2610931" y="1005739"/>
                    <a:pt x="2607664" y="1002473"/>
                    <a:pt x="2607664" y="998478"/>
                  </a:cubicBezTo>
                  <a:cubicBezTo>
                    <a:pt x="2607664" y="994483"/>
                    <a:pt x="2610931" y="991216"/>
                    <a:pt x="2614925" y="991216"/>
                  </a:cubicBezTo>
                  <a:close/>
                  <a:moveTo>
                    <a:pt x="2768873" y="989402"/>
                  </a:moveTo>
                  <a:cubicBezTo>
                    <a:pt x="2773958" y="989402"/>
                    <a:pt x="2777953" y="993396"/>
                    <a:pt x="2777953" y="998478"/>
                  </a:cubicBezTo>
                  <a:cubicBezTo>
                    <a:pt x="2777953" y="1003563"/>
                    <a:pt x="2773958" y="1007558"/>
                    <a:pt x="2768873" y="1007558"/>
                  </a:cubicBezTo>
                  <a:cubicBezTo>
                    <a:pt x="2763792" y="1007558"/>
                    <a:pt x="2759797" y="1003563"/>
                    <a:pt x="2759797" y="998478"/>
                  </a:cubicBezTo>
                  <a:cubicBezTo>
                    <a:pt x="2759797" y="993396"/>
                    <a:pt x="2763792" y="989402"/>
                    <a:pt x="2768873" y="989402"/>
                  </a:cubicBezTo>
                  <a:close/>
                  <a:moveTo>
                    <a:pt x="2922458" y="988311"/>
                  </a:moveTo>
                  <a:cubicBezTo>
                    <a:pt x="2927905" y="988311"/>
                    <a:pt x="2932624" y="993031"/>
                    <a:pt x="2932624" y="998478"/>
                  </a:cubicBezTo>
                  <a:cubicBezTo>
                    <a:pt x="2932624" y="1003925"/>
                    <a:pt x="2928267" y="1008644"/>
                    <a:pt x="2922458" y="1008644"/>
                  </a:cubicBezTo>
                  <a:cubicBezTo>
                    <a:pt x="2917011" y="1008644"/>
                    <a:pt x="2912292" y="1003925"/>
                    <a:pt x="2912292" y="998478"/>
                  </a:cubicBezTo>
                  <a:cubicBezTo>
                    <a:pt x="2912292" y="993031"/>
                    <a:pt x="2917011" y="988311"/>
                    <a:pt x="2922458" y="988311"/>
                  </a:cubicBezTo>
                  <a:close/>
                  <a:moveTo>
                    <a:pt x="3076402" y="986497"/>
                  </a:moveTo>
                  <a:cubicBezTo>
                    <a:pt x="3082939" y="986497"/>
                    <a:pt x="3088386" y="991944"/>
                    <a:pt x="3088386" y="998478"/>
                  </a:cubicBezTo>
                  <a:cubicBezTo>
                    <a:pt x="3088386" y="1005015"/>
                    <a:pt x="3082939" y="1010459"/>
                    <a:pt x="3076402" y="1010459"/>
                  </a:cubicBezTo>
                  <a:cubicBezTo>
                    <a:pt x="3069868" y="1010459"/>
                    <a:pt x="3064421" y="1005015"/>
                    <a:pt x="3064421" y="998478"/>
                  </a:cubicBezTo>
                  <a:cubicBezTo>
                    <a:pt x="3064421" y="991944"/>
                    <a:pt x="3069868" y="986497"/>
                    <a:pt x="3076402" y="986497"/>
                  </a:cubicBezTo>
                  <a:close/>
                  <a:moveTo>
                    <a:pt x="3230353" y="984683"/>
                  </a:moveTo>
                  <a:cubicBezTo>
                    <a:pt x="3237973" y="984683"/>
                    <a:pt x="3244148" y="990862"/>
                    <a:pt x="3244148" y="998482"/>
                  </a:cubicBezTo>
                  <a:cubicBezTo>
                    <a:pt x="3244148" y="1006098"/>
                    <a:pt x="3237973" y="1012277"/>
                    <a:pt x="3230353" y="1012277"/>
                  </a:cubicBezTo>
                  <a:cubicBezTo>
                    <a:pt x="3222733" y="1012277"/>
                    <a:pt x="3216554" y="1006098"/>
                    <a:pt x="3216554" y="998482"/>
                  </a:cubicBezTo>
                  <a:cubicBezTo>
                    <a:pt x="3216554" y="990862"/>
                    <a:pt x="3222733" y="984683"/>
                    <a:pt x="3230353" y="984683"/>
                  </a:cubicBezTo>
                  <a:close/>
                  <a:moveTo>
                    <a:pt x="3383934" y="983230"/>
                  </a:moveTo>
                  <a:cubicBezTo>
                    <a:pt x="3392358" y="983230"/>
                    <a:pt x="3399186" y="990057"/>
                    <a:pt x="3399186" y="998482"/>
                  </a:cubicBezTo>
                  <a:cubicBezTo>
                    <a:pt x="3399186" y="1006902"/>
                    <a:pt x="3392358" y="1013729"/>
                    <a:pt x="3383934" y="1013729"/>
                  </a:cubicBezTo>
                  <a:cubicBezTo>
                    <a:pt x="3375514" y="1013729"/>
                    <a:pt x="3368687" y="1006902"/>
                    <a:pt x="3368687" y="998482"/>
                  </a:cubicBezTo>
                  <a:cubicBezTo>
                    <a:pt x="3368687" y="990057"/>
                    <a:pt x="3375514" y="983230"/>
                    <a:pt x="3383934" y="983230"/>
                  </a:cubicBezTo>
                  <a:close/>
                  <a:moveTo>
                    <a:pt x="3537886" y="981412"/>
                  </a:moveTo>
                  <a:cubicBezTo>
                    <a:pt x="3547324" y="981412"/>
                    <a:pt x="3554951" y="989036"/>
                    <a:pt x="3554951" y="998478"/>
                  </a:cubicBezTo>
                  <a:cubicBezTo>
                    <a:pt x="3554951" y="1007916"/>
                    <a:pt x="3547324" y="1015540"/>
                    <a:pt x="3537886" y="1015540"/>
                  </a:cubicBezTo>
                  <a:cubicBezTo>
                    <a:pt x="3528444" y="1015540"/>
                    <a:pt x="3520820" y="1007916"/>
                    <a:pt x="3520820" y="998478"/>
                  </a:cubicBezTo>
                  <a:cubicBezTo>
                    <a:pt x="3520820" y="989036"/>
                    <a:pt x="3528444" y="981412"/>
                    <a:pt x="3537886" y="981412"/>
                  </a:cubicBezTo>
                  <a:close/>
                  <a:moveTo>
                    <a:pt x="3691467" y="979235"/>
                  </a:moveTo>
                  <a:cubicBezTo>
                    <a:pt x="3702094" y="979235"/>
                    <a:pt x="3710710" y="987850"/>
                    <a:pt x="3710710" y="998478"/>
                  </a:cubicBezTo>
                  <a:cubicBezTo>
                    <a:pt x="3710710" y="1009105"/>
                    <a:pt x="3702094" y="1017724"/>
                    <a:pt x="3691467" y="1017724"/>
                  </a:cubicBezTo>
                  <a:cubicBezTo>
                    <a:pt x="3680839" y="1017724"/>
                    <a:pt x="3672224" y="1009105"/>
                    <a:pt x="3672224" y="998478"/>
                  </a:cubicBezTo>
                  <a:cubicBezTo>
                    <a:pt x="3672224" y="987850"/>
                    <a:pt x="3680839" y="979235"/>
                    <a:pt x="3691467" y="979235"/>
                  </a:cubicBezTo>
                  <a:close/>
                  <a:moveTo>
                    <a:pt x="3845418" y="977055"/>
                  </a:moveTo>
                  <a:cubicBezTo>
                    <a:pt x="3857246" y="977055"/>
                    <a:pt x="3866841" y="986646"/>
                    <a:pt x="3866841" y="998478"/>
                  </a:cubicBezTo>
                  <a:cubicBezTo>
                    <a:pt x="3866841" y="1010306"/>
                    <a:pt x="3857246" y="1019901"/>
                    <a:pt x="3845418" y="1019901"/>
                  </a:cubicBezTo>
                  <a:cubicBezTo>
                    <a:pt x="3833586" y="1019901"/>
                    <a:pt x="3823995" y="1010306"/>
                    <a:pt x="3823995" y="998478"/>
                  </a:cubicBezTo>
                  <a:cubicBezTo>
                    <a:pt x="3823995" y="986646"/>
                    <a:pt x="3833586" y="977055"/>
                    <a:pt x="3845418" y="977055"/>
                  </a:cubicBezTo>
                  <a:close/>
                  <a:moveTo>
                    <a:pt x="3999000" y="975603"/>
                  </a:moveTo>
                  <a:cubicBezTo>
                    <a:pt x="4011632" y="975603"/>
                    <a:pt x="4021871" y="985845"/>
                    <a:pt x="4021871" y="998478"/>
                  </a:cubicBezTo>
                  <a:cubicBezTo>
                    <a:pt x="4021871" y="1011110"/>
                    <a:pt x="4011632" y="1021349"/>
                    <a:pt x="3999000" y="1021349"/>
                  </a:cubicBezTo>
                  <a:cubicBezTo>
                    <a:pt x="3986367" y="1021349"/>
                    <a:pt x="3976124" y="1011110"/>
                    <a:pt x="3976124" y="998478"/>
                  </a:cubicBezTo>
                  <a:cubicBezTo>
                    <a:pt x="3976124" y="985845"/>
                    <a:pt x="3986367" y="975603"/>
                    <a:pt x="3999000" y="975603"/>
                  </a:cubicBezTo>
                  <a:close/>
                  <a:moveTo>
                    <a:pt x="4152947" y="973426"/>
                  </a:moveTo>
                  <a:cubicBezTo>
                    <a:pt x="4166784" y="973426"/>
                    <a:pt x="4178002" y="984641"/>
                    <a:pt x="4178002" y="998478"/>
                  </a:cubicBezTo>
                  <a:cubicBezTo>
                    <a:pt x="4178002" y="1012315"/>
                    <a:pt x="4166784" y="1023533"/>
                    <a:pt x="4152947" y="1023533"/>
                  </a:cubicBezTo>
                  <a:cubicBezTo>
                    <a:pt x="4139114" y="1023533"/>
                    <a:pt x="4127895" y="1012315"/>
                    <a:pt x="4127895" y="998478"/>
                  </a:cubicBezTo>
                  <a:cubicBezTo>
                    <a:pt x="4127895" y="984641"/>
                    <a:pt x="4139114" y="973426"/>
                    <a:pt x="4152947" y="973426"/>
                  </a:cubicBezTo>
                  <a:close/>
                  <a:moveTo>
                    <a:pt x="4306532" y="971246"/>
                  </a:moveTo>
                  <a:cubicBezTo>
                    <a:pt x="4321418" y="971246"/>
                    <a:pt x="4333764" y="983592"/>
                    <a:pt x="4333764" y="998478"/>
                  </a:cubicBezTo>
                  <a:cubicBezTo>
                    <a:pt x="4333764" y="1013363"/>
                    <a:pt x="4321780" y="1025710"/>
                    <a:pt x="4306532" y="1025710"/>
                  </a:cubicBezTo>
                  <a:cubicBezTo>
                    <a:pt x="4291643" y="1025710"/>
                    <a:pt x="4279300" y="1013363"/>
                    <a:pt x="4279300" y="998478"/>
                  </a:cubicBezTo>
                  <a:cubicBezTo>
                    <a:pt x="4279300" y="983592"/>
                    <a:pt x="4291643" y="971246"/>
                    <a:pt x="4306532" y="971246"/>
                  </a:cubicBezTo>
                  <a:close/>
                  <a:moveTo>
                    <a:pt x="4460476" y="968707"/>
                  </a:moveTo>
                  <a:cubicBezTo>
                    <a:pt x="4476920" y="968707"/>
                    <a:pt x="4490250" y="982037"/>
                    <a:pt x="4490250" y="998482"/>
                  </a:cubicBezTo>
                  <a:cubicBezTo>
                    <a:pt x="4490250" y="1014922"/>
                    <a:pt x="4476920" y="1028252"/>
                    <a:pt x="4460476" y="1028252"/>
                  </a:cubicBezTo>
                  <a:cubicBezTo>
                    <a:pt x="4444035" y="1028252"/>
                    <a:pt x="4430705" y="1014922"/>
                    <a:pt x="4430705" y="998482"/>
                  </a:cubicBezTo>
                  <a:cubicBezTo>
                    <a:pt x="4430705" y="982037"/>
                    <a:pt x="4444035" y="968707"/>
                    <a:pt x="4460476" y="968707"/>
                  </a:cubicBezTo>
                  <a:close/>
                  <a:moveTo>
                    <a:pt x="4614061" y="966526"/>
                  </a:moveTo>
                  <a:cubicBezTo>
                    <a:pt x="4631852" y="966526"/>
                    <a:pt x="4646012" y="980688"/>
                    <a:pt x="4646012" y="998478"/>
                  </a:cubicBezTo>
                  <a:cubicBezTo>
                    <a:pt x="4646012" y="1016268"/>
                    <a:pt x="4631852" y="1030429"/>
                    <a:pt x="4614061" y="1030429"/>
                  </a:cubicBezTo>
                  <a:cubicBezTo>
                    <a:pt x="4596271" y="1030429"/>
                    <a:pt x="4582110" y="1016268"/>
                    <a:pt x="4582110" y="998478"/>
                  </a:cubicBezTo>
                  <a:cubicBezTo>
                    <a:pt x="4582110" y="980688"/>
                    <a:pt x="4596271" y="966526"/>
                    <a:pt x="4614061" y="966526"/>
                  </a:cubicBezTo>
                  <a:close/>
                  <a:moveTo>
                    <a:pt x="4768008" y="964712"/>
                  </a:moveTo>
                  <a:cubicBezTo>
                    <a:pt x="4786656" y="964712"/>
                    <a:pt x="4801778" y="979830"/>
                    <a:pt x="4801778" y="998478"/>
                  </a:cubicBezTo>
                  <a:cubicBezTo>
                    <a:pt x="4801778" y="1017129"/>
                    <a:pt x="4786656" y="1032247"/>
                    <a:pt x="4768008" y="1032247"/>
                  </a:cubicBezTo>
                  <a:cubicBezTo>
                    <a:pt x="4749360" y="1032247"/>
                    <a:pt x="4734242" y="1017129"/>
                    <a:pt x="4734242" y="998478"/>
                  </a:cubicBezTo>
                  <a:cubicBezTo>
                    <a:pt x="4734242" y="979830"/>
                    <a:pt x="4749360" y="964712"/>
                    <a:pt x="4768008" y="964712"/>
                  </a:cubicBezTo>
                  <a:close/>
                  <a:moveTo>
                    <a:pt x="4921594" y="962169"/>
                  </a:moveTo>
                  <a:cubicBezTo>
                    <a:pt x="4941564" y="962169"/>
                    <a:pt x="4957902" y="978507"/>
                    <a:pt x="4957902" y="998478"/>
                  </a:cubicBezTo>
                  <a:cubicBezTo>
                    <a:pt x="4957902" y="1018448"/>
                    <a:pt x="4941564" y="1034786"/>
                    <a:pt x="4921594" y="1034786"/>
                  </a:cubicBezTo>
                  <a:cubicBezTo>
                    <a:pt x="4901623" y="1034786"/>
                    <a:pt x="4885286" y="1018448"/>
                    <a:pt x="4885286" y="998478"/>
                  </a:cubicBezTo>
                  <a:cubicBezTo>
                    <a:pt x="4885286" y="978507"/>
                    <a:pt x="4901623" y="962169"/>
                    <a:pt x="4921594" y="962169"/>
                  </a:cubicBezTo>
                  <a:close/>
                  <a:moveTo>
                    <a:pt x="5075545" y="959627"/>
                  </a:moveTo>
                  <a:cubicBezTo>
                    <a:pt x="5096968" y="959627"/>
                    <a:pt x="5114392" y="977055"/>
                    <a:pt x="5114392" y="998478"/>
                  </a:cubicBezTo>
                  <a:cubicBezTo>
                    <a:pt x="5114392" y="1019897"/>
                    <a:pt x="5096968" y="1037325"/>
                    <a:pt x="5075545" y="1037325"/>
                  </a:cubicBezTo>
                  <a:cubicBezTo>
                    <a:pt x="5054122" y="1037325"/>
                    <a:pt x="5036694" y="1019897"/>
                    <a:pt x="5036694" y="998478"/>
                  </a:cubicBezTo>
                  <a:cubicBezTo>
                    <a:pt x="5036694" y="977055"/>
                    <a:pt x="5054122" y="959627"/>
                    <a:pt x="5075545" y="959627"/>
                  </a:cubicBezTo>
                  <a:close/>
                  <a:moveTo>
                    <a:pt x="5229126" y="957450"/>
                  </a:moveTo>
                  <a:cubicBezTo>
                    <a:pt x="5252002" y="957450"/>
                    <a:pt x="5270158" y="975606"/>
                    <a:pt x="5270158" y="998478"/>
                  </a:cubicBezTo>
                  <a:cubicBezTo>
                    <a:pt x="5270158" y="1021353"/>
                    <a:pt x="5251640" y="1039505"/>
                    <a:pt x="5229126" y="1039505"/>
                  </a:cubicBezTo>
                  <a:cubicBezTo>
                    <a:pt x="5206255" y="1039505"/>
                    <a:pt x="5188099" y="1021353"/>
                    <a:pt x="5188099" y="998478"/>
                  </a:cubicBezTo>
                  <a:cubicBezTo>
                    <a:pt x="5188099" y="975606"/>
                    <a:pt x="5206255" y="957450"/>
                    <a:pt x="5229126" y="957450"/>
                  </a:cubicBezTo>
                  <a:close/>
                  <a:moveTo>
                    <a:pt x="5383074" y="954908"/>
                  </a:moveTo>
                  <a:cubicBezTo>
                    <a:pt x="5407036" y="954908"/>
                    <a:pt x="5426644" y="974516"/>
                    <a:pt x="5426644" y="998478"/>
                  </a:cubicBezTo>
                  <a:cubicBezTo>
                    <a:pt x="5426644" y="1022443"/>
                    <a:pt x="5407036" y="1042048"/>
                    <a:pt x="5383074" y="1042048"/>
                  </a:cubicBezTo>
                  <a:cubicBezTo>
                    <a:pt x="5359112" y="1042048"/>
                    <a:pt x="5339504" y="1022443"/>
                    <a:pt x="5339504" y="998478"/>
                  </a:cubicBezTo>
                  <a:cubicBezTo>
                    <a:pt x="5339504" y="974516"/>
                    <a:pt x="5359112" y="954908"/>
                    <a:pt x="5383074" y="954908"/>
                  </a:cubicBezTo>
                  <a:close/>
                  <a:moveTo>
                    <a:pt x="5537018" y="952365"/>
                  </a:moveTo>
                  <a:cubicBezTo>
                    <a:pt x="5562484" y="952365"/>
                    <a:pt x="5583130" y="973010"/>
                    <a:pt x="5583130" y="998478"/>
                  </a:cubicBezTo>
                  <a:cubicBezTo>
                    <a:pt x="5583130" y="1023945"/>
                    <a:pt x="5562484" y="1044590"/>
                    <a:pt x="5537018" y="1044590"/>
                  </a:cubicBezTo>
                  <a:cubicBezTo>
                    <a:pt x="5511554" y="1044590"/>
                    <a:pt x="5490908" y="1023945"/>
                    <a:pt x="5490908" y="998478"/>
                  </a:cubicBezTo>
                  <a:cubicBezTo>
                    <a:pt x="5490908" y="973010"/>
                    <a:pt x="5511554" y="952365"/>
                    <a:pt x="5537018" y="952365"/>
                  </a:cubicBezTo>
                  <a:close/>
                  <a:moveTo>
                    <a:pt x="5690606" y="949823"/>
                  </a:moveTo>
                  <a:cubicBezTo>
                    <a:pt x="5717473" y="949823"/>
                    <a:pt x="5739258" y="971608"/>
                    <a:pt x="5739258" y="998478"/>
                  </a:cubicBezTo>
                  <a:cubicBezTo>
                    <a:pt x="5739258" y="1025344"/>
                    <a:pt x="5717473" y="1047129"/>
                    <a:pt x="5690606" y="1047129"/>
                  </a:cubicBezTo>
                  <a:cubicBezTo>
                    <a:pt x="5663736" y="1047129"/>
                    <a:pt x="5641952" y="1025344"/>
                    <a:pt x="5641952" y="998478"/>
                  </a:cubicBezTo>
                  <a:cubicBezTo>
                    <a:pt x="5641952" y="971608"/>
                    <a:pt x="5663736" y="949823"/>
                    <a:pt x="5690606" y="949823"/>
                  </a:cubicBezTo>
                  <a:close/>
                  <a:moveTo>
                    <a:pt x="5844554" y="947284"/>
                  </a:moveTo>
                  <a:cubicBezTo>
                    <a:pt x="5872830" y="947284"/>
                    <a:pt x="5895748" y="970205"/>
                    <a:pt x="5895748" y="998478"/>
                  </a:cubicBezTo>
                  <a:cubicBezTo>
                    <a:pt x="5895748" y="1026754"/>
                    <a:pt x="5872827" y="1049672"/>
                    <a:pt x="5844554" y="1049672"/>
                  </a:cubicBezTo>
                  <a:cubicBezTo>
                    <a:pt x="5816281" y="1049672"/>
                    <a:pt x="5793360" y="1026754"/>
                    <a:pt x="5793360" y="998478"/>
                  </a:cubicBezTo>
                  <a:cubicBezTo>
                    <a:pt x="5793360" y="970205"/>
                    <a:pt x="5816281" y="947284"/>
                    <a:pt x="5844554" y="947284"/>
                  </a:cubicBezTo>
                  <a:close/>
                  <a:moveTo>
                    <a:pt x="5998136" y="945104"/>
                  </a:moveTo>
                  <a:cubicBezTo>
                    <a:pt x="6027548" y="945104"/>
                    <a:pt x="6051514" y="969065"/>
                    <a:pt x="6051514" y="998478"/>
                  </a:cubicBezTo>
                  <a:cubicBezTo>
                    <a:pt x="6051514" y="1027887"/>
                    <a:pt x="6027548" y="1051848"/>
                    <a:pt x="5998136" y="1051848"/>
                  </a:cubicBezTo>
                  <a:cubicBezTo>
                    <a:pt x="5968726" y="1051848"/>
                    <a:pt x="5944765" y="1027887"/>
                    <a:pt x="5944765" y="998478"/>
                  </a:cubicBezTo>
                  <a:cubicBezTo>
                    <a:pt x="5944765" y="969065"/>
                    <a:pt x="5968726" y="945104"/>
                    <a:pt x="5998136" y="945104"/>
                  </a:cubicBezTo>
                  <a:close/>
                  <a:moveTo>
                    <a:pt x="6152086" y="942199"/>
                  </a:moveTo>
                  <a:cubicBezTo>
                    <a:pt x="6183314" y="942199"/>
                    <a:pt x="6208366" y="967251"/>
                    <a:pt x="6208366" y="998478"/>
                  </a:cubicBezTo>
                  <a:cubicBezTo>
                    <a:pt x="6208366" y="1029701"/>
                    <a:pt x="6183314" y="1054753"/>
                    <a:pt x="6152086" y="1054753"/>
                  </a:cubicBezTo>
                  <a:cubicBezTo>
                    <a:pt x="6120860" y="1054753"/>
                    <a:pt x="6095808" y="1029701"/>
                    <a:pt x="6095808" y="998478"/>
                  </a:cubicBezTo>
                  <a:cubicBezTo>
                    <a:pt x="6095808" y="967251"/>
                    <a:pt x="6120860" y="942199"/>
                    <a:pt x="6152086" y="942199"/>
                  </a:cubicBezTo>
                  <a:close/>
                  <a:moveTo>
                    <a:pt x="6305672" y="939660"/>
                  </a:moveTo>
                  <a:cubicBezTo>
                    <a:pt x="6338157" y="939660"/>
                    <a:pt x="6364490" y="965993"/>
                    <a:pt x="6364490" y="998482"/>
                  </a:cubicBezTo>
                  <a:cubicBezTo>
                    <a:pt x="6364490" y="1030967"/>
                    <a:pt x="6338157" y="1057299"/>
                    <a:pt x="6305672" y="1057299"/>
                  </a:cubicBezTo>
                  <a:cubicBezTo>
                    <a:pt x="6273187" y="1057299"/>
                    <a:pt x="6246850" y="1030967"/>
                    <a:pt x="6246850" y="998482"/>
                  </a:cubicBezTo>
                  <a:cubicBezTo>
                    <a:pt x="6246850" y="965993"/>
                    <a:pt x="6273187" y="939660"/>
                    <a:pt x="6305672" y="939660"/>
                  </a:cubicBezTo>
                  <a:close/>
                  <a:moveTo>
                    <a:pt x="6459619" y="937118"/>
                  </a:moveTo>
                  <a:cubicBezTo>
                    <a:pt x="6493747" y="937118"/>
                    <a:pt x="6521342" y="964712"/>
                    <a:pt x="6521342" y="998844"/>
                  </a:cubicBezTo>
                  <a:cubicBezTo>
                    <a:pt x="6521342" y="1032972"/>
                    <a:pt x="6493747" y="1060566"/>
                    <a:pt x="6459619" y="1060566"/>
                  </a:cubicBezTo>
                  <a:cubicBezTo>
                    <a:pt x="6425488" y="1060566"/>
                    <a:pt x="6397893" y="1032972"/>
                    <a:pt x="6397893" y="998844"/>
                  </a:cubicBezTo>
                  <a:cubicBezTo>
                    <a:pt x="6397893" y="964712"/>
                    <a:pt x="6425488" y="937118"/>
                    <a:pt x="6459619" y="937118"/>
                  </a:cubicBezTo>
                  <a:close/>
                  <a:moveTo>
                    <a:pt x="6613200" y="934213"/>
                  </a:moveTo>
                  <a:cubicBezTo>
                    <a:pt x="6648694" y="934213"/>
                    <a:pt x="6677470" y="962985"/>
                    <a:pt x="6677470" y="998478"/>
                  </a:cubicBezTo>
                  <a:cubicBezTo>
                    <a:pt x="6677470" y="1033970"/>
                    <a:pt x="6648694" y="1062746"/>
                    <a:pt x="6613200" y="1062746"/>
                  </a:cubicBezTo>
                  <a:cubicBezTo>
                    <a:pt x="6577708" y="1062746"/>
                    <a:pt x="6548936" y="1033970"/>
                    <a:pt x="6548936" y="998478"/>
                  </a:cubicBezTo>
                  <a:cubicBezTo>
                    <a:pt x="6548936" y="962985"/>
                    <a:pt x="6577708" y="934213"/>
                    <a:pt x="6613200" y="934213"/>
                  </a:cubicBezTo>
                  <a:close/>
                  <a:moveTo>
                    <a:pt x="1538746" y="844530"/>
                  </a:moveTo>
                  <a:cubicBezTo>
                    <a:pt x="1539108" y="844530"/>
                    <a:pt x="1539108" y="844530"/>
                    <a:pt x="1539108" y="844893"/>
                  </a:cubicBezTo>
                  <a:cubicBezTo>
                    <a:pt x="1539108" y="845258"/>
                    <a:pt x="1538746" y="845258"/>
                    <a:pt x="1538746" y="845258"/>
                  </a:cubicBezTo>
                  <a:cubicBezTo>
                    <a:pt x="1538384" y="845258"/>
                    <a:pt x="1538384" y="845258"/>
                    <a:pt x="1538384" y="844893"/>
                  </a:cubicBezTo>
                  <a:cubicBezTo>
                    <a:pt x="1538384" y="844530"/>
                    <a:pt x="1538384" y="844530"/>
                    <a:pt x="1538746" y="844530"/>
                  </a:cubicBezTo>
                  <a:close/>
                  <a:moveTo>
                    <a:pt x="1077266" y="844530"/>
                  </a:moveTo>
                  <a:cubicBezTo>
                    <a:pt x="1077628" y="844530"/>
                    <a:pt x="1077628" y="844530"/>
                    <a:pt x="1077628" y="844893"/>
                  </a:cubicBezTo>
                  <a:cubicBezTo>
                    <a:pt x="1077628" y="845258"/>
                    <a:pt x="1077266" y="845258"/>
                    <a:pt x="1077266" y="845258"/>
                  </a:cubicBezTo>
                  <a:cubicBezTo>
                    <a:pt x="1076904" y="845258"/>
                    <a:pt x="1076904" y="845258"/>
                    <a:pt x="1076904" y="844893"/>
                  </a:cubicBezTo>
                  <a:cubicBezTo>
                    <a:pt x="1076904" y="844530"/>
                    <a:pt x="1076904" y="844530"/>
                    <a:pt x="1077266" y="844530"/>
                  </a:cubicBezTo>
                  <a:close/>
                  <a:moveTo>
                    <a:pt x="923681" y="844530"/>
                  </a:moveTo>
                  <a:cubicBezTo>
                    <a:pt x="924043" y="844530"/>
                    <a:pt x="924043" y="844530"/>
                    <a:pt x="924043" y="844893"/>
                  </a:cubicBezTo>
                  <a:cubicBezTo>
                    <a:pt x="924043" y="845258"/>
                    <a:pt x="923681" y="845258"/>
                    <a:pt x="923681" y="845258"/>
                  </a:cubicBezTo>
                  <a:cubicBezTo>
                    <a:pt x="923319" y="845258"/>
                    <a:pt x="923319" y="845258"/>
                    <a:pt x="923319" y="844893"/>
                  </a:cubicBezTo>
                  <a:cubicBezTo>
                    <a:pt x="923319" y="844530"/>
                    <a:pt x="923319" y="844530"/>
                    <a:pt x="923681" y="844530"/>
                  </a:cubicBezTo>
                  <a:close/>
                  <a:moveTo>
                    <a:pt x="769737" y="844168"/>
                  </a:moveTo>
                  <a:cubicBezTo>
                    <a:pt x="770137" y="844168"/>
                    <a:pt x="770461" y="844492"/>
                    <a:pt x="770461" y="844896"/>
                  </a:cubicBezTo>
                  <a:cubicBezTo>
                    <a:pt x="770461" y="845297"/>
                    <a:pt x="770137" y="845621"/>
                    <a:pt x="769737" y="845621"/>
                  </a:cubicBezTo>
                  <a:cubicBezTo>
                    <a:pt x="769333" y="845621"/>
                    <a:pt x="769009" y="845297"/>
                    <a:pt x="769009" y="844896"/>
                  </a:cubicBezTo>
                  <a:cubicBezTo>
                    <a:pt x="769009" y="844492"/>
                    <a:pt x="769333" y="844168"/>
                    <a:pt x="769737" y="844168"/>
                  </a:cubicBezTo>
                  <a:close/>
                  <a:moveTo>
                    <a:pt x="1692331" y="843078"/>
                  </a:moveTo>
                  <a:cubicBezTo>
                    <a:pt x="1693056" y="843078"/>
                    <a:pt x="1693784" y="843806"/>
                    <a:pt x="1693784" y="844530"/>
                  </a:cubicBezTo>
                  <a:cubicBezTo>
                    <a:pt x="1693784" y="845258"/>
                    <a:pt x="1692331" y="845983"/>
                    <a:pt x="1692331" y="845983"/>
                  </a:cubicBezTo>
                  <a:cubicBezTo>
                    <a:pt x="1691603" y="845983"/>
                    <a:pt x="1690879" y="845258"/>
                    <a:pt x="1690879" y="844530"/>
                  </a:cubicBezTo>
                  <a:cubicBezTo>
                    <a:pt x="1690879" y="843806"/>
                    <a:pt x="1691603" y="843078"/>
                    <a:pt x="1692331" y="843078"/>
                  </a:cubicBezTo>
                  <a:close/>
                  <a:moveTo>
                    <a:pt x="1846279" y="842716"/>
                  </a:moveTo>
                  <a:cubicBezTo>
                    <a:pt x="1847480" y="842716"/>
                    <a:pt x="1848455" y="843692"/>
                    <a:pt x="1848455" y="844896"/>
                  </a:cubicBezTo>
                  <a:cubicBezTo>
                    <a:pt x="1848455" y="846097"/>
                    <a:pt x="1847480" y="847073"/>
                    <a:pt x="1846279" y="847073"/>
                  </a:cubicBezTo>
                  <a:cubicBezTo>
                    <a:pt x="1845074" y="847073"/>
                    <a:pt x="1844098" y="846097"/>
                    <a:pt x="1844098" y="844896"/>
                  </a:cubicBezTo>
                  <a:cubicBezTo>
                    <a:pt x="1844098" y="843692"/>
                    <a:pt x="1845074" y="842716"/>
                    <a:pt x="1846279" y="842716"/>
                  </a:cubicBezTo>
                  <a:close/>
                  <a:moveTo>
                    <a:pt x="1999860" y="841626"/>
                  </a:moveTo>
                  <a:cubicBezTo>
                    <a:pt x="2001679" y="841626"/>
                    <a:pt x="2003127" y="843078"/>
                    <a:pt x="2003127" y="844893"/>
                  </a:cubicBezTo>
                  <a:cubicBezTo>
                    <a:pt x="2003127" y="846707"/>
                    <a:pt x="2001679" y="848163"/>
                    <a:pt x="1999860" y="848163"/>
                  </a:cubicBezTo>
                  <a:cubicBezTo>
                    <a:pt x="1998046" y="848163"/>
                    <a:pt x="1996593" y="846707"/>
                    <a:pt x="1996593" y="844893"/>
                  </a:cubicBezTo>
                  <a:cubicBezTo>
                    <a:pt x="1996593" y="843078"/>
                    <a:pt x="1998046" y="841626"/>
                    <a:pt x="1999860" y="841626"/>
                  </a:cubicBezTo>
                  <a:close/>
                  <a:moveTo>
                    <a:pt x="2153808" y="840173"/>
                  </a:moveTo>
                  <a:cubicBezTo>
                    <a:pt x="2156350" y="840173"/>
                    <a:pt x="2158165" y="841988"/>
                    <a:pt x="2158165" y="844530"/>
                  </a:cubicBezTo>
                  <a:cubicBezTo>
                    <a:pt x="2158165" y="847073"/>
                    <a:pt x="2155988" y="848887"/>
                    <a:pt x="2153808" y="848887"/>
                  </a:cubicBezTo>
                  <a:cubicBezTo>
                    <a:pt x="2151265" y="848887"/>
                    <a:pt x="2149451" y="847073"/>
                    <a:pt x="2149451" y="844530"/>
                  </a:cubicBezTo>
                  <a:cubicBezTo>
                    <a:pt x="2149451" y="841988"/>
                    <a:pt x="2151265" y="840173"/>
                    <a:pt x="2153808" y="840173"/>
                  </a:cubicBezTo>
                  <a:close/>
                  <a:moveTo>
                    <a:pt x="2307393" y="839083"/>
                  </a:moveTo>
                  <a:cubicBezTo>
                    <a:pt x="2310660" y="839083"/>
                    <a:pt x="2313202" y="841626"/>
                    <a:pt x="2313202" y="844893"/>
                  </a:cubicBezTo>
                  <a:cubicBezTo>
                    <a:pt x="2313202" y="848159"/>
                    <a:pt x="2310660" y="850702"/>
                    <a:pt x="2307393" y="850702"/>
                  </a:cubicBezTo>
                  <a:cubicBezTo>
                    <a:pt x="2304126" y="850702"/>
                    <a:pt x="2301583" y="848159"/>
                    <a:pt x="2301583" y="844893"/>
                  </a:cubicBezTo>
                  <a:cubicBezTo>
                    <a:pt x="2301583" y="841626"/>
                    <a:pt x="2304126" y="839083"/>
                    <a:pt x="2307393" y="839083"/>
                  </a:cubicBezTo>
                  <a:close/>
                  <a:moveTo>
                    <a:pt x="2461340" y="837631"/>
                  </a:moveTo>
                  <a:cubicBezTo>
                    <a:pt x="2465335" y="837631"/>
                    <a:pt x="2468602" y="840898"/>
                    <a:pt x="2468602" y="844893"/>
                  </a:cubicBezTo>
                  <a:cubicBezTo>
                    <a:pt x="2468602" y="848887"/>
                    <a:pt x="2465335" y="852154"/>
                    <a:pt x="2461340" y="852154"/>
                  </a:cubicBezTo>
                  <a:cubicBezTo>
                    <a:pt x="2457345" y="852154"/>
                    <a:pt x="2454079" y="848887"/>
                    <a:pt x="2454079" y="844893"/>
                  </a:cubicBezTo>
                  <a:cubicBezTo>
                    <a:pt x="2454079" y="840898"/>
                    <a:pt x="2457345" y="837631"/>
                    <a:pt x="2461340" y="837631"/>
                  </a:cubicBezTo>
                  <a:close/>
                  <a:moveTo>
                    <a:pt x="2614925" y="835454"/>
                  </a:moveTo>
                  <a:cubicBezTo>
                    <a:pt x="2620011" y="835454"/>
                    <a:pt x="2624005" y="839449"/>
                    <a:pt x="2624005" y="844530"/>
                  </a:cubicBezTo>
                  <a:cubicBezTo>
                    <a:pt x="2624005" y="849615"/>
                    <a:pt x="2620011" y="853610"/>
                    <a:pt x="2614925" y="853610"/>
                  </a:cubicBezTo>
                  <a:cubicBezTo>
                    <a:pt x="2609844" y="853610"/>
                    <a:pt x="2605849" y="849615"/>
                    <a:pt x="2605849" y="844530"/>
                  </a:cubicBezTo>
                  <a:cubicBezTo>
                    <a:pt x="2605849" y="839449"/>
                    <a:pt x="2609844" y="835454"/>
                    <a:pt x="2614925" y="835454"/>
                  </a:cubicBezTo>
                  <a:close/>
                  <a:moveTo>
                    <a:pt x="2768873" y="834726"/>
                  </a:moveTo>
                  <a:cubicBezTo>
                    <a:pt x="2774320" y="834726"/>
                    <a:pt x="2779039" y="839445"/>
                    <a:pt x="2779039" y="844893"/>
                  </a:cubicBezTo>
                  <a:cubicBezTo>
                    <a:pt x="2779039" y="850340"/>
                    <a:pt x="2774682" y="855059"/>
                    <a:pt x="2768873" y="855059"/>
                  </a:cubicBezTo>
                  <a:cubicBezTo>
                    <a:pt x="2763426" y="855059"/>
                    <a:pt x="2758707" y="850340"/>
                    <a:pt x="2758707" y="844893"/>
                  </a:cubicBezTo>
                  <a:cubicBezTo>
                    <a:pt x="2758707" y="839445"/>
                    <a:pt x="2763426" y="834726"/>
                    <a:pt x="2768873" y="834726"/>
                  </a:cubicBezTo>
                  <a:close/>
                  <a:moveTo>
                    <a:pt x="2922458" y="832912"/>
                  </a:moveTo>
                  <a:cubicBezTo>
                    <a:pt x="2928996" y="832912"/>
                    <a:pt x="2934443" y="838359"/>
                    <a:pt x="2934443" y="844893"/>
                  </a:cubicBezTo>
                  <a:cubicBezTo>
                    <a:pt x="2934443" y="851430"/>
                    <a:pt x="2928996" y="856873"/>
                    <a:pt x="2922458" y="856873"/>
                  </a:cubicBezTo>
                  <a:cubicBezTo>
                    <a:pt x="2915924" y="856873"/>
                    <a:pt x="2910477" y="851430"/>
                    <a:pt x="2910477" y="844893"/>
                  </a:cubicBezTo>
                  <a:cubicBezTo>
                    <a:pt x="2910477" y="838359"/>
                    <a:pt x="2915924" y="832912"/>
                    <a:pt x="2922458" y="832912"/>
                  </a:cubicBezTo>
                  <a:close/>
                  <a:moveTo>
                    <a:pt x="3076402" y="831097"/>
                  </a:moveTo>
                  <a:cubicBezTo>
                    <a:pt x="3084022" y="831097"/>
                    <a:pt x="3090201" y="837276"/>
                    <a:pt x="3090201" y="844896"/>
                  </a:cubicBezTo>
                  <a:cubicBezTo>
                    <a:pt x="3090201" y="852513"/>
                    <a:pt x="3084022" y="858692"/>
                    <a:pt x="3076402" y="858692"/>
                  </a:cubicBezTo>
                  <a:cubicBezTo>
                    <a:pt x="3068782" y="858692"/>
                    <a:pt x="3062606" y="852513"/>
                    <a:pt x="3062606" y="844896"/>
                  </a:cubicBezTo>
                  <a:cubicBezTo>
                    <a:pt x="3062606" y="837276"/>
                    <a:pt x="3068782" y="831097"/>
                    <a:pt x="3076402" y="831097"/>
                  </a:cubicBezTo>
                  <a:close/>
                  <a:moveTo>
                    <a:pt x="3230349" y="829645"/>
                  </a:moveTo>
                  <a:cubicBezTo>
                    <a:pt x="3238773" y="829645"/>
                    <a:pt x="3245600" y="836472"/>
                    <a:pt x="3245600" y="844896"/>
                  </a:cubicBezTo>
                  <a:cubicBezTo>
                    <a:pt x="3245600" y="853317"/>
                    <a:pt x="3238773" y="860144"/>
                    <a:pt x="3230349" y="860144"/>
                  </a:cubicBezTo>
                  <a:cubicBezTo>
                    <a:pt x="3221928" y="860144"/>
                    <a:pt x="3215102" y="853317"/>
                    <a:pt x="3215102" y="844896"/>
                  </a:cubicBezTo>
                  <a:cubicBezTo>
                    <a:pt x="3215102" y="836472"/>
                    <a:pt x="3221928" y="829645"/>
                    <a:pt x="3230349" y="829645"/>
                  </a:cubicBezTo>
                  <a:close/>
                  <a:moveTo>
                    <a:pt x="3383938" y="827830"/>
                  </a:moveTo>
                  <a:cubicBezTo>
                    <a:pt x="3393361" y="827830"/>
                    <a:pt x="3401000" y="835470"/>
                    <a:pt x="3401000" y="844896"/>
                  </a:cubicBezTo>
                  <a:cubicBezTo>
                    <a:pt x="3401000" y="854319"/>
                    <a:pt x="3393361" y="861958"/>
                    <a:pt x="3383938" y="861958"/>
                  </a:cubicBezTo>
                  <a:cubicBezTo>
                    <a:pt x="3374511" y="861958"/>
                    <a:pt x="3366872" y="854319"/>
                    <a:pt x="3366872" y="844896"/>
                  </a:cubicBezTo>
                  <a:cubicBezTo>
                    <a:pt x="3366872" y="835470"/>
                    <a:pt x="3374511" y="827830"/>
                    <a:pt x="3383938" y="827830"/>
                  </a:cubicBezTo>
                  <a:close/>
                  <a:moveTo>
                    <a:pt x="3537882" y="825650"/>
                  </a:moveTo>
                  <a:cubicBezTo>
                    <a:pt x="3548513" y="825650"/>
                    <a:pt x="3557128" y="834265"/>
                    <a:pt x="3557128" y="844893"/>
                  </a:cubicBezTo>
                  <a:cubicBezTo>
                    <a:pt x="3557128" y="855520"/>
                    <a:pt x="3548513" y="864139"/>
                    <a:pt x="3537882" y="864139"/>
                  </a:cubicBezTo>
                  <a:cubicBezTo>
                    <a:pt x="3527254" y="864139"/>
                    <a:pt x="3518639" y="855520"/>
                    <a:pt x="3518639" y="844893"/>
                  </a:cubicBezTo>
                  <a:cubicBezTo>
                    <a:pt x="3518639" y="834265"/>
                    <a:pt x="3527254" y="825650"/>
                    <a:pt x="3537882" y="825650"/>
                  </a:cubicBezTo>
                  <a:close/>
                  <a:moveTo>
                    <a:pt x="3691471" y="823473"/>
                  </a:moveTo>
                  <a:cubicBezTo>
                    <a:pt x="3703303" y="823473"/>
                    <a:pt x="3712894" y="833064"/>
                    <a:pt x="3712894" y="844896"/>
                  </a:cubicBezTo>
                  <a:cubicBezTo>
                    <a:pt x="3712894" y="856725"/>
                    <a:pt x="3703303" y="866319"/>
                    <a:pt x="3691471" y="866319"/>
                  </a:cubicBezTo>
                  <a:cubicBezTo>
                    <a:pt x="3679638" y="866319"/>
                    <a:pt x="3670048" y="856725"/>
                    <a:pt x="3670048" y="844896"/>
                  </a:cubicBezTo>
                  <a:cubicBezTo>
                    <a:pt x="3670048" y="833064"/>
                    <a:pt x="3679638" y="823473"/>
                    <a:pt x="3691471" y="823473"/>
                  </a:cubicBezTo>
                  <a:close/>
                  <a:moveTo>
                    <a:pt x="3845418" y="822021"/>
                  </a:moveTo>
                  <a:cubicBezTo>
                    <a:pt x="3858051" y="822021"/>
                    <a:pt x="3868293" y="832264"/>
                    <a:pt x="3868293" y="844896"/>
                  </a:cubicBezTo>
                  <a:cubicBezTo>
                    <a:pt x="3868293" y="857529"/>
                    <a:pt x="3858051" y="867768"/>
                    <a:pt x="3845418" y="867768"/>
                  </a:cubicBezTo>
                  <a:cubicBezTo>
                    <a:pt x="3832786" y="867768"/>
                    <a:pt x="3822543" y="857529"/>
                    <a:pt x="3822543" y="844896"/>
                  </a:cubicBezTo>
                  <a:cubicBezTo>
                    <a:pt x="3822543" y="832264"/>
                    <a:pt x="3832786" y="822021"/>
                    <a:pt x="3845418" y="822021"/>
                  </a:cubicBezTo>
                  <a:close/>
                  <a:moveTo>
                    <a:pt x="3999000" y="819841"/>
                  </a:moveTo>
                  <a:cubicBezTo>
                    <a:pt x="4012837" y="819841"/>
                    <a:pt x="4024052" y="831055"/>
                    <a:pt x="4024052" y="844893"/>
                  </a:cubicBezTo>
                  <a:cubicBezTo>
                    <a:pt x="4024052" y="858730"/>
                    <a:pt x="4012837" y="869948"/>
                    <a:pt x="3999000" y="869948"/>
                  </a:cubicBezTo>
                  <a:cubicBezTo>
                    <a:pt x="3985162" y="869948"/>
                    <a:pt x="3973948" y="858730"/>
                    <a:pt x="3973948" y="844893"/>
                  </a:cubicBezTo>
                  <a:cubicBezTo>
                    <a:pt x="3973948" y="831055"/>
                    <a:pt x="3985162" y="819841"/>
                    <a:pt x="3999000" y="819841"/>
                  </a:cubicBezTo>
                  <a:close/>
                  <a:moveTo>
                    <a:pt x="4152947" y="817664"/>
                  </a:moveTo>
                  <a:cubicBezTo>
                    <a:pt x="4167832" y="817664"/>
                    <a:pt x="4180179" y="830011"/>
                    <a:pt x="4180179" y="844896"/>
                  </a:cubicBezTo>
                  <a:cubicBezTo>
                    <a:pt x="4180179" y="859782"/>
                    <a:pt x="4168194" y="872129"/>
                    <a:pt x="4152947" y="872129"/>
                  </a:cubicBezTo>
                  <a:cubicBezTo>
                    <a:pt x="4138058" y="872129"/>
                    <a:pt x="4125715" y="859782"/>
                    <a:pt x="4125715" y="844896"/>
                  </a:cubicBezTo>
                  <a:cubicBezTo>
                    <a:pt x="4125715" y="830011"/>
                    <a:pt x="4138058" y="817664"/>
                    <a:pt x="4152947" y="817664"/>
                  </a:cubicBezTo>
                  <a:close/>
                  <a:moveTo>
                    <a:pt x="4306528" y="815122"/>
                  </a:moveTo>
                  <a:cubicBezTo>
                    <a:pt x="4322973" y="815122"/>
                    <a:pt x="4336303" y="828452"/>
                    <a:pt x="4336303" y="844896"/>
                  </a:cubicBezTo>
                  <a:cubicBezTo>
                    <a:pt x="4336303" y="861337"/>
                    <a:pt x="4322973" y="874667"/>
                    <a:pt x="4306528" y="874667"/>
                  </a:cubicBezTo>
                  <a:cubicBezTo>
                    <a:pt x="4290088" y="874667"/>
                    <a:pt x="4276758" y="861337"/>
                    <a:pt x="4276758" y="844896"/>
                  </a:cubicBezTo>
                  <a:cubicBezTo>
                    <a:pt x="4276758" y="828452"/>
                    <a:pt x="4290088" y="815122"/>
                    <a:pt x="4306528" y="815122"/>
                  </a:cubicBezTo>
                  <a:close/>
                  <a:moveTo>
                    <a:pt x="4460480" y="812941"/>
                  </a:moveTo>
                  <a:cubicBezTo>
                    <a:pt x="4478270" y="812941"/>
                    <a:pt x="4492431" y="827102"/>
                    <a:pt x="4492431" y="844893"/>
                  </a:cubicBezTo>
                  <a:cubicBezTo>
                    <a:pt x="4492431" y="862683"/>
                    <a:pt x="4478270" y="876844"/>
                    <a:pt x="4460480" y="876844"/>
                  </a:cubicBezTo>
                  <a:cubicBezTo>
                    <a:pt x="4442690" y="876844"/>
                    <a:pt x="4428528" y="862683"/>
                    <a:pt x="4428528" y="844893"/>
                  </a:cubicBezTo>
                  <a:cubicBezTo>
                    <a:pt x="4428528" y="827102"/>
                    <a:pt x="4442690" y="812941"/>
                    <a:pt x="4460480" y="812941"/>
                  </a:cubicBezTo>
                  <a:close/>
                  <a:moveTo>
                    <a:pt x="4614061" y="811127"/>
                  </a:moveTo>
                  <a:cubicBezTo>
                    <a:pt x="4632713" y="811127"/>
                    <a:pt x="4647831" y="826245"/>
                    <a:pt x="4647831" y="844893"/>
                  </a:cubicBezTo>
                  <a:cubicBezTo>
                    <a:pt x="4647831" y="863544"/>
                    <a:pt x="4632713" y="878662"/>
                    <a:pt x="4614061" y="878662"/>
                  </a:cubicBezTo>
                  <a:cubicBezTo>
                    <a:pt x="4595414" y="878662"/>
                    <a:pt x="4580296" y="863544"/>
                    <a:pt x="4580296" y="844893"/>
                  </a:cubicBezTo>
                  <a:cubicBezTo>
                    <a:pt x="4580296" y="826245"/>
                    <a:pt x="4595414" y="811127"/>
                    <a:pt x="4614061" y="811127"/>
                  </a:cubicBezTo>
                  <a:close/>
                  <a:moveTo>
                    <a:pt x="4768012" y="808584"/>
                  </a:moveTo>
                  <a:cubicBezTo>
                    <a:pt x="4787983" y="808584"/>
                    <a:pt x="4804320" y="824922"/>
                    <a:pt x="4804320" y="844893"/>
                  </a:cubicBezTo>
                  <a:cubicBezTo>
                    <a:pt x="4804320" y="864863"/>
                    <a:pt x="4787983" y="881201"/>
                    <a:pt x="4768012" y="881201"/>
                  </a:cubicBezTo>
                  <a:cubicBezTo>
                    <a:pt x="4748042" y="881201"/>
                    <a:pt x="4731704" y="864863"/>
                    <a:pt x="4731704" y="844893"/>
                  </a:cubicBezTo>
                  <a:cubicBezTo>
                    <a:pt x="4731704" y="824922"/>
                    <a:pt x="4748042" y="808584"/>
                    <a:pt x="4768012" y="808584"/>
                  </a:cubicBezTo>
                  <a:close/>
                  <a:moveTo>
                    <a:pt x="4921598" y="806045"/>
                  </a:moveTo>
                  <a:cubicBezTo>
                    <a:pt x="4943016" y="806045"/>
                    <a:pt x="4960444" y="823473"/>
                    <a:pt x="4960444" y="844896"/>
                  </a:cubicBezTo>
                  <a:cubicBezTo>
                    <a:pt x="4960444" y="866315"/>
                    <a:pt x="4943016" y="883743"/>
                    <a:pt x="4921598" y="883743"/>
                  </a:cubicBezTo>
                  <a:cubicBezTo>
                    <a:pt x="4900174" y="883743"/>
                    <a:pt x="4882746" y="866315"/>
                    <a:pt x="4882746" y="844896"/>
                  </a:cubicBezTo>
                  <a:cubicBezTo>
                    <a:pt x="4882746" y="823473"/>
                    <a:pt x="4900174" y="806045"/>
                    <a:pt x="4921598" y="806045"/>
                  </a:cubicBezTo>
                  <a:close/>
                  <a:moveTo>
                    <a:pt x="5075541" y="803503"/>
                  </a:moveTo>
                  <a:cubicBezTo>
                    <a:pt x="5098416" y="803503"/>
                    <a:pt x="5116568" y="821659"/>
                    <a:pt x="5116568" y="844530"/>
                  </a:cubicBezTo>
                  <a:cubicBezTo>
                    <a:pt x="5116568" y="867406"/>
                    <a:pt x="5098054" y="885562"/>
                    <a:pt x="5075541" y="885562"/>
                  </a:cubicBezTo>
                  <a:cubicBezTo>
                    <a:pt x="5052670" y="885562"/>
                    <a:pt x="5034514" y="867406"/>
                    <a:pt x="5034514" y="844530"/>
                  </a:cubicBezTo>
                  <a:cubicBezTo>
                    <a:pt x="5034514" y="821659"/>
                    <a:pt x="5052670" y="803503"/>
                    <a:pt x="5075541" y="803503"/>
                  </a:cubicBezTo>
                  <a:close/>
                  <a:moveTo>
                    <a:pt x="5229126" y="800960"/>
                  </a:moveTo>
                  <a:cubicBezTo>
                    <a:pt x="5253088" y="800960"/>
                    <a:pt x="5272696" y="820569"/>
                    <a:pt x="5272696" y="844530"/>
                  </a:cubicBezTo>
                  <a:cubicBezTo>
                    <a:pt x="5272696" y="868496"/>
                    <a:pt x="5253088" y="888100"/>
                    <a:pt x="5229126" y="888100"/>
                  </a:cubicBezTo>
                  <a:cubicBezTo>
                    <a:pt x="5205161" y="888100"/>
                    <a:pt x="5185556" y="868496"/>
                    <a:pt x="5185556" y="844530"/>
                  </a:cubicBezTo>
                  <a:cubicBezTo>
                    <a:pt x="5185556" y="820569"/>
                    <a:pt x="5205161" y="800960"/>
                    <a:pt x="5229126" y="800960"/>
                  </a:cubicBezTo>
                  <a:close/>
                  <a:moveTo>
                    <a:pt x="5383074" y="798784"/>
                  </a:moveTo>
                  <a:cubicBezTo>
                    <a:pt x="5408541" y="798784"/>
                    <a:pt x="5429186" y="819429"/>
                    <a:pt x="5429186" y="844896"/>
                  </a:cubicBezTo>
                  <a:cubicBezTo>
                    <a:pt x="5429186" y="870364"/>
                    <a:pt x="5408541" y="891009"/>
                    <a:pt x="5383074" y="891009"/>
                  </a:cubicBezTo>
                  <a:cubicBezTo>
                    <a:pt x="5357606" y="891009"/>
                    <a:pt x="5336962" y="870364"/>
                    <a:pt x="5336962" y="844896"/>
                  </a:cubicBezTo>
                  <a:cubicBezTo>
                    <a:pt x="5336962" y="819429"/>
                    <a:pt x="5357606" y="798784"/>
                    <a:pt x="5383074" y="798784"/>
                  </a:cubicBezTo>
                  <a:close/>
                  <a:moveTo>
                    <a:pt x="5536659" y="796241"/>
                  </a:moveTo>
                  <a:cubicBezTo>
                    <a:pt x="5563526" y="796241"/>
                    <a:pt x="5585310" y="818026"/>
                    <a:pt x="5585310" y="844896"/>
                  </a:cubicBezTo>
                  <a:cubicBezTo>
                    <a:pt x="5585310" y="871763"/>
                    <a:pt x="5563526" y="893548"/>
                    <a:pt x="5536659" y="893548"/>
                  </a:cubicBezTo>
                  <a:cubicBezTo>
                    <a:pt x="5509789" y="893548"/>
                    <a:pt x="5488004" y="871763"/>
                    <a:pt x="5488004" y="844896"/>
                  </a:cubicBezTo>
                  <a:cubicBezTo>
                    <a:pt x="5488004" y="818026"/>
                    <a:pt x="5509789" y="796241"/>
                    <a:pt x="5536659" y="796241"/>
                  </a:cubicBezTo>
                  <a:close/>
                  <a:moveTo>
                    <a:pt x="5690606" y="793699"/>
                  </a:moveTo>
                  <a:cubicBezTo>
                    <a:pt x="5718883" y="793699"/>
                    <a:pt x="5741800" y="816620"/>
                    <a:pt x="5741800" y="844893"/>
                  </a:cubicBezTo>
                  <a:cubicBezTo>
                    <a:pt x="5741800" y="873169"/>
                    <a:pt x="5718880" y="896090"/>
                    <a:pt x="5690606" y="896090"/>
                  </a:cubicBezTo>
                  <a:cubicBezTo>
                    <a:pt x="5662334" y="896090"/>
                    <a:pt x="5639412" y="873169"/>
                    <a:pt x="5639412" y="844893"/>
                  </a:cubicBezTo>
                  <a:cubicBezTo>
                    <a:pt x="5639412" y="816620"/>
                    <a:pt x="5662334" y="793699"/>
                    <a:pt x="5690606" y="793699"/>
                  </a:cubicBezTo>
                  <a:close/>
                  <a:moveTo>
                    <a:pt x="5844554" y="791156"/>
                  </a:moveTo>
                  <a:cubicBezTo>
                    <a:pt x="5873962" y="791156"/>
                    <a:pt x="5897928" y="815118"/>
                    <a:pt x="5897928" y="844530"/>
                  </a:cubicBezTo>
                  <a:cubicBezTo>
                    <a:pt x="5897928" y="873939"/>
                    <a:pt x="5873962" y="897901"/>
                    <a:pt x="5844554" y="897901"/>
                  </a:cubicBezTo>
                  <a:cubicBezTo>
                    <a:pt x="5815145" y="897901"/>
                    <a:pt x="5791180" y="873939"/>
                    <a:pt x="5791180" y="844530"/>
                  </a:cubicBezTo>
                  <a:cubicBezTo>
                    <a:pt x="5791180" y="815118"/>
                    <a:pt x="5815145" y="791156"/>
                    <a:pt x="5844554" y="791156"/>
                  </a:cubicBezTo>
                  <a:close/>
                  <a:moveTo>
                    <a:pt x="5998139" y="788614"/>
                  </a:moveTo>
                  <a:cubicBezTo>
                    <a:pt x="6029362" y="788614"/>
                    <a:pt x="6054414" y="813665"/>
                    <a:pt x="6054414" y="844893"/>
                  </a:cubicBezTo>
                  <a:cubicBezTo>
                    <a:pt x="6054414" y="876116"/>
                    <a:pt x="6029362" y="901171"/>
                    <a:pt x="5998139" y="901171"/>
                  </a:cubicBezTo>
                  <a:cubicBezTo>
                    <a:pt x="5966912" y="901171"/>
                    <a:pt x="5941860" y="876116"/>
                    <a:pt x="5941860" y="844893"/>
                  </a:cubicBezTo>
                  <a:cubicBezTo>
                    <a:pt x="5941860" y="813665"/>
                    <a:pt x="5966912" y="788614"/>
                    <a:pt x="5998139" y="788614"/>
                  </a:cubicBezTo>
                  <a:close/>
                  <a:moveTo>
                    <a:pt x="6152083" y="786075"/>
                  </a:moveTo>
                  <a:cubicBezTo>
                    <a:pt x="6184568" y="786075"/>
                    <a:pt x="6210904" y="812407"/>
                    <a:pt x="6210904" y="844896"/>
                  </a:cubicBezTo>
                  <a:cubicBezTo>
                    <a:pt x="6210904" y="877381"/>
                    <a:pt x="6184568" y="903714"/>
                    <a:pt x="6152083" y="903714"/>
                  </a:cubicBezTo>
                  <a:cubicBezTo>
                    <a:pt x="6119598" y="903714"/>
                    <a:pt x="6093265" y="877381"/>
                    <a:pt x="6093265" y="844896"/>
                  </a:cubicBezTo>
                  <a:cubicBezTo>
                    <a:pt x="6093265" y="812407"/>
                    <a:pt x="6119598" y="786075"/>
                    <a:pt x="6152083" y="786075"/>
                  </a:cubicBezTo>
                  <a:close/>
                  <a:moveTo>
                    <a:pt x="6305672" y="783170"/>
                  </a:moveTo>
                  <a:cubicBezTo>
                    <a:pt x="6339762" y="783170"/>
                    <a:pt x="6367394" y="810807"/>
                    <a:pt x="6367394" y="844896"/>
                  </a:cubicBezTo>
                  <a:cubicBezTo>
                    <a:pt x="6367394" y="878982"/>
                    <a:pt x="6339762" y="906619"/>
                    <a:pt x="6305672" y="906619"/>
                  </a:cubicBezTo>
                  <a:cubicBezTo>
                    <a:pt x="6271582" y="906619"/>
                    <a:pt x="6243946" y="878982"/>
                    <a:pt x="6243946" y="844896"/>
                  </a:cubicBezTo>
                  <a:cubicBezTo>
                    <a:pt x="6243946" y="810807"/>
                    <a:pt x="6271582" y="783170"/>
                    <a:pt x="6305672" y="783170"/>
                  </a:cubicBezTo>
                  <a:close/>
                  <a:moveTo>
                    <a:pt x="6459616" y="780628"/>
                  </a:moveTo>
                  <a:cubicBezTo>
                    <a:pt x="6495108" y="780628"/>
                    <a:pt x="6523884" y="809400"/>
                    <a:pt x="6523884" y="844893"/>
                  </a:cubicBezTo>
                  <a:cubicBezTo>
                    <a:pt x="6523884" y="880385"/>
                    <a:pt x="6495108" y="909161"/>
                    <a:pt x="6459616" y="909161"/>
                  </a:cubicBezTo>
                  <a:cubicBezTo>
                    <a:pt x="6424123" y="909161"/>
                    <a:pt x="6395350" y="880385"/>
                    <a:pt x="6395350" y="844893"/>
                  </a:cubicBezTo>
                  <a:cubicBezTo>
                    <a:pt x="6395350" y="809400"/>
                    <a:pt x="6424123" y="780628"/>
                    <a:pt x="6459616" y="780628"/>
                  </a:cubicBezTo>
                  <a:close/>
                  <a:moveTo>
                    <a:pt x="6613197" y="777361"/>
                  </a:moveTo>
                  <a:cubicBezTo>
                    <a:pt x="6650496" y="777361"/>
                    <a:pt x="6680732" y="807597"/>
                    <a:pt x="6680732" y="844896"/>
                  </a:cubicBezTo>
                  <a:cubicBezTo>
                    <a:pt x="6680732" y="882192"/>
                    <a:pt x="6650496" y="912428"/>
                    <a:pt x="6613197" y="912428"/>
                  </a:cubicBezTo>
                  <a:cubicBezTo>
                    <a:pt x="6575902" y="912428"/>
                    <a:pt x="6545666" y="882192"/>
                    <a:pt x="6545666" y="844896"/>
                  </a:cubicBezTo>
                  <a:cubicBezTo>
                    <a:pt x="6545666" y="807597"/>
                    <a:pt x="6575902" y="777361"/>
                    <a:pt x="6613197" y="777361"/>
                  </a:cubicBezTo>
                  <a:close/>
                  <a:moveTo>
                    <a:pt x="1384799" y="690583"/>
                  </a:moveTo>
                  <a:cubicBezTo>
                    <a:pt x="1385161" y="690583"/>
                    <a:pt x="1385161" y="690583"/>
                    <a:pt x="1385161" y="690945"/>
                  </a:cubicBezTo>
                  <a:cubicBezTo>
                    <a:pt x="1385161" y="691311"/>
                    <a:pt x="1384799" y="691311"/>
                    <a:pt x="1384799" y="691311"/>
                  </a:cubicBezTo>
                  <a:cubicBezTo>
                    <a:pt x="1384437" y="691311"/>
                    <a:pt x="1384437" y="691311"/>
                    <a:pt x="1384437" y="690945"/>
                  </a:cubicBezTo>
                  <a:cubicBezTo>
                    <a:pt x="1384437" y="690583"/>
                    <a:pt x="1384437" y="690583"/>
                    <a:pt x="1384799" y="690583"/>
                  </a:cubicBezTo>
                  <a:close/>
                  <a:moveTo>
                    <a:pt x="923681" y="690583"/>
                  </a:moveTo>
                  <a:cubicBezTo>
                    <a:pt x="924043" y="690583"/>
                    <a:pt x="924043" y="690583"/>
                    <a:pt x="924043" y="690945"/>
                  </a:cubicBezTo>
                  <a:cubicBezTo>
                    <a:pt x="924043" y="691311"/>
                    <a:pt x="923681" y="691311"/>
                    <a:pt x="923681" y="691311"/>
                  </a:cubicBezTo>
                  <a:cubicBezTo>
                    <a:pt x="923319" y="691311"/>
                    <a:pt x="923319" y="691311"/>
                    <a:pt x="923319" y="690945"/>
                  </a:cubicBezTo>
                  <a:cubicBezTo>
                    <a:pt x="923319" y="690583"/>
                    <a:pt x="923319" y="690583"/>
                    <a:pt x="923681" y="690583"/>
                  </a:cubicBezTo>
                  <a:close/>
                  <a:moveTo>
                    <a:pt x="769733" y="690583"/>
                  </a:moveTo>
                  <a:cubicBezTo>
                    <a:pt x="770096" y="690583"/>
                    <a:pt x="770096" y="690583"/>
                    <a:pt x="770096" y="690945"/>
                  </a:cubicBezTo>
                  <a:cubicBezTo>
                    <a:pt x="770096" y="691311"/>
                    <a:pt x="769733" y="691311"/>
                    <a:pt x="769733" y="691311"/>
                  </a:cubicBezTo>
                  <a:cubicBezTo>
                    <a:pt x="769371" y="691311"/>
                    <a:pt x="769371" y="691311"/>
                    <a:pt x="769371" y="690945"/>
                  </a:cubicBezTo>
                  <a:cubicBezTo>
                    <a:pt x="769371" y="690583"/>
                    <a:pt x="769371" y="690583"/>
                    <a:pt x="769733" y="690583"/>
                  </a:cubicBezTo>
                  <a:close/>
                  <a:moveTo>
                    <a:pt x="616152" y="690221"/>
                  </a:moveTo>
                  <a:cubicBezTo>
                    <a:pt x="616552" y="690221"/>
                    <a:pt x="616876" y="690545"/>
                    <a:pt x="616876" y="690949"/>
                  </a:cubicBezTo>
                  <a:cubicBezTo>
                    <a:pt x="616876" y="691349"/>
                    <a:pt x="616552" y="691673"/>
                    <a:pt x="616152" y="691673"/>
                  </a:cubicBezTo>
                  <a:cubicBezTo>
                    <a:pt x="615748" y="691673"/>
                    <a:pt x="615424" y="691349"/>
                    <a:pt x="615424" y="690949"/>
                  </a:cubicBezTo>
                  <a:cubicBezTo>
                    <a:pt x="615424" y="690545"/>
                    <a:pt x="615748" y="690221"/>
                    <a:pt x="616152" y="690221"/>
                  </a:cubicBezTo>
                  <a:close/>
                  <a:moveTo>
                    <a:pt x="1538746" y="689493"/>
                  </a:moveTo>
                  <a:cubicBezTo>
                    <a:pt x="1539547" y="689493"/>
                    <a:pt x="1540198" y="690145"/>
                    <a:pt x="1540198" y="690945"/>
                  </a:cubicBezTo>
                  <a:cubicBezTo>
                    <a:pt x="1540198" y="691746"/>
                    <a:pt x="1539547" y="692397"/>
                    <a:pt x="1538746" y="692397"/>
                  </a:cubicBezTo>
                  <a:cubicBezTo>
                    <a:pt x="1537942" y="692397"/>
                    <a:pt x="1537294" y="691746"/>
                    <a:pt x="1537294" y="690945"/>
                  </a:cubicBezTo>
                  <a:cubicBezTo>
                    <a:pt x="1537294" y="690145"/>
                    <a:pt x="1537942" y="689493"/>
                    <a:pt x="1538746" y="689493"/>
                  </a:cubicBezTo>
                  <a:close/>
                  <a:moveTo>
                    <a:pt x="1692328" y="688768"/>
                  </a:moveTo>
                  <a:cubicBezTo>
                    <a:pt x="1693532" y="688768"/>
                    <a:pt x="1694508" y="689744"/>
                    <a:pt x="1694508" y="690949"/>
                  </a:cubicBezTo>
                  <a:cubicBezTo>
                    <a:pt x="1694508" y="692150"/>
                    <a:pt x="1693532" y="693126"/>
                    <a:pt x="1692328" y="693126"/>
                  </a:cubicBezTo>
                  <a:cubicBezTo>
                    <a:pt x="1691127" y="693126"/>
                    <a:pt x="1690151" y="692150"/>
                    <a:pt x="1690151" y="690949"/>
                  </a:cubicBezTo>
                  <a:cubicBezTo>
                    <a:pt x="1690151" y="689744"/>
                    <a:pt x="1691127" y="688768"/>
                    <a:pt x="1692328" y="688768"/>
                  </a:cubicBezTo>
                  <a:close/>
                  <a:moveTo>
                    <a:pt x="1846279" y="688040"/>
                  </a:moveTo>
                  <a:cubicBezTo>
                    <a:pt x="1848093" y="688040"/>
                    <a:pt x="1849546" y="689493"/>
                    <a:pt x="1849546" y="691307"/>
                  </a:cubicBezTo>
                  <a:cubicBezTo>
                    <a:pt x="1849546" y="693122"/>
                    <a:pt x="1848093" y="694574"/>
                    <a:pt x="1846279" y="694574"/>
                  </a:cubicBezTo>
                  <a:cubicBezTo>
                    <a:pt x="1844464" y="694574"/>
                    <a:pt x="1843012" y="693122"/>
                    <a:pt x="1843012" y="691307"/>
                  </a:cubicBezTo>
                  <a:cubicBezTo>
                    <a:pt x="1843012" y="689493"/>
                    <a:pt x="1844464" y="688040"/>
                    <a:pt x="1846279" y="688040"/>
                  </a:cubicBezTo>
                  <a:close/>
                  <a:moveTo>
                    <a:pt x="1999860" y="686588"/>
                  </a:moveTo>
                  <a:cubicBezTo>
                    <a:pt x="2002403" y="686588"/>
                    <a:pt x="2004217" y="688403"/>
                    <a:pt x="2004217" y="690945"/>
                  </a:cubicBezTo>
                  <a:cubicBezTo>
                    <a:pt x="2004217" y="693488"/>
                    <a:pt x="2002037" y="695302"/>
                    <a:pt x="1999860" y="695302"/>
                  </a:cubicBezTo>
                  <a:cubicBezTo>
                    <a:pt x="1997318" y="695302"/>
                    <a:pt x="1995503" y="693488"/>
                    <a:pt x="1995503" y="690945"/>
                  </a:cubicBezTo>
                  <a:cubicBezTo>
                    <a:pt x="1995503" y="688403"/>
                    <a:pt x="1997318" y="686588"/>
                    <a:pt x="1999860" y="686588"/>
                  </a:cubicBezTo>
                  <a:close/>
                  <a:moveTo>
                    <a:pt x="2153811" y="685498"/>
                  </a:moveTo>
                  <a:cubicBezTo>
                    <a:pt x="2157078" y="685498"/>
                    <a:pt x="2159621" y="688040"/>
                    <a:pt x="2159621" y="691307"/>
                  </a:cubicBezTo>
                  <a:cubicBezTo>
                    <a:pt x="2159621" y="694574"/>
                    <a:pt x="2157078" y="697117"/>
                    <a:pt x="2153811" y="697117"/>
                  </a:cubicBezTo>
                  <a:cubicBezTo>
                    <a:pt x="2150545" y="697117"/>
                    <a:pt x="2148002" y="694574"/>
                    <a:pt x="2148002" y="691307"/>
                  </a:cubicBezTo>
                  <a:cubicBezTo>
                    <a:pt x="2148002" y="688040"/>
                    <a:pt x="2150545" y="685498"/>
                    <a:pt x="2153811" y="685498"/>
                  </a:cubicBezTo>
                  <a:close/>
                  <a:moveTo>
                    <a:pt x="2307393" y="683683"/>
                  </a:moveTo>
                  <a:cubicBezTo>
                    <a:pt x="2311388" y="683683"/>
                    <a:pt x="2314655" y="686950"/>
                    <a:pt x="2314655" y="690945"/>
                  </a:cubicBezTo>
                  <a:cubicBezTo>
                    <a:pt x="2314655" y="694940"/>
                    <a:pt x="2311388" y="698207"/>
                    <a:pt x="2307393" y="698207"/>
                  </a:cubicBezTo>
                  <a:cubicBezTo>
                    <a:pt x="2303398" y="698207"/>
                    <a:pt x="2300131" y="694940"/>
                    <a:pt x="2300131" y="690945"/>
                  </a:cubicBezTo>
                  <a:cubicBezTo>
                    <a:pt x="2300131" y="686950"/>
                    <a:pt x="2303398" y="683683"/>
                    <a:pt x="2307393" y="683683"/>
                  </a:cubicBezTo>
                  <a:close/>
                  <a:moveTo>
                    <a:pt x="2461340" y="681869"/>
                  </a:moveTo>
                  <a:cubicBezTo>
                    <a:pt x="2466425" y="681869"/>
                    <a:pt x="2470420" y="685864"/>
                    <a:pt x="2470420" y="690945"/>
                  </a:cubicBezTo>
                  <a:cubicBezTo>
                    <a:pt x="2470420" y="696030"/>
                    <a:pt x="2466425" y="700025"/>
                    <a:pt x="2461340" y="700025"/>
                  </a:cubicBezTo>
                  <a:cubicBezTo>
                    <a:pt x="2456259" y="700025"/>
                    <a:pt x="2452264" y="696030"/>
                    <a:pt x="2452264" y="690945"/>
                  </a:cubicBezTo>
                  <a:cubicBezTo>
                    <a:pt x="2452264" y="685864"/>
                    <a:pt x="2456259" y="681869"/>
                    <a:pt x="2461340" y="681869"/>
                  </a:cubicBezTo>
                  <a:close/>
                  <a:moveTo>
                    <a:pt x="2614925" y="680779"/>
                  </a:moveTo>
                  <a:cubicBezTo>
                    <a:pt x="2620373" y="680779"/>
                    <a:pt x="2625092" y="685498"/>
                    <a:pt x="2625092" y="690945"/>
                  </a:cubicBezTo>
                  <a:cubicBezTo>
                    <a:pt x="2625092" y="696392"/>
                    <a:pt x="2620735" y="701111"/>
                    <a:pt x="2614925" y="701111"/>
                  </a:cubicBezTo>
                  <a:cubicBezTo>
                    <a:pt x="2609478" y="701111"/>
                    <a:pt x="2604759" y="696392"/>
                    <a:pt x="2604759" y="690945"/>
                  </a:cubicBezTo>
                  <a:cubicBezTo>
                    <a:pt x="2604759" y="685498"/>
                    <a:pt x="2609478" y="680779"/>
                    <a:pt x="2614925" y="680779"/>
                  </a:cubicBezTo>
                  <a:close/>
                  <a:moveTo>
                    <a:pt x="2768873" y="678964"/>
                  </a:moveTo>
                  <a:cubicBezTo>
                    <a:pt x="2775410" y="678964"/>
                    <a:pt x="2780858" y="684412"/>
                    <a:pt x="2780858" y="690945"/>
                  </a:cubicBezTo>
                  <a:cubicBezTo>
                    <a:pt x="2780858" y="697482"/>
                    <a:pt x="2775410" y="702926"/>
                    <a:pt x="2768873" y="702926"/>
                  </a:cubicBezTo>
                  <a:cubicBezTo>
                    <a:pt x="2762339" y="702926"/>
                    <a:pt x="2756892" y="697482"/>
                    <a:pt x="2756892" y="690945"/>
                  </a:cubicBezTo>
                  <a:cubicBezTo>
                    <a:pt x="2756892" y="684412"/>
                    <a:pt x="2762339" y="678964"/>
                    <a:pt x="2768873" y="678964"/>
                  </a:cubicBezTo>
                  <a:close/>
                  <a:moveTo>
                    <a:pt x="2922824" y="677150"/>
                  </a:moveTo>
                  <a:cubicBezTo>
                    <a:pt x="2930444" y="677150"/>
                    <a:pt x="2936619" y="683329"/>
                    <a:pt x="2936619" y="690949"/>
                  </a:cubicBezTo>
                  <a:cubicBezTo>
                    <a:pt x="2936619" y="698565"/>
                    <a:pt x="2930444" y="704744"/>
                    <a:pt x="2922824" y="704744"/>
                  </a:cubicBezTo>
                  <a:cubicBezTo>
                    <a:pt x="2915204" y="704744"/>
                    <a:pt x="2909025" y="698565"/>
                    <a:pt x="2909025" y="690949"/>
                  </a:cubicBezTo>
                  <a:cubicBezTo>
                    <a:pt x="2909025" y="683329"/>
                    <a:pt x="2915204" y="677150"/>
                    <a:pt x="2922824" y="677150"/>
                  </a:cubicBezTo>
                  <a:close/>
                  <a:moveTo>
                    <a:pt x="3076402" y="675697"/>
                  </a:moveTo>
                  <a:cubicBezTo>
                    <a:pt x="3084826" y="675697"/>
                    <a:pt x="3091653" y="682525"/>
                    <a:pt x="3091653" y="690949"/>
                  </a:cubicBezTo>
                  <a:cubicBezTo>
                    <a:pt x="3091653" y="699369"/>
                    <a:pt x="3084826" y="706197"/>
                    <a:pt x="3076402" y="706197"/>
                  </a:cubicBezTo>
                  <a:cubicBezTo>
                    <a:pt x="3067981" y="706197"/>
                    <a:pt x="3061154" y="699369"/>
                    <a:pt x="3061154" y="690949"/>
                  </a:cubicBezTo>
                  <a:cubicBezTo>
                    <a:pt x="3061154" y="682525"/>
                    <a:pt x="3067981" y="675697"/>
                    <a:pt x="3076402" y="675697"/>
                  </a:cubicBezTo>
                  <a:close/>
                  <a:moveTo>
                    <a:pt x="3230353" y="673883"/>
                  </a:moveTo>
                  <a:cubicBezTo>
                    <a:pt x="3239776" y="673883"/>
                    <a:pt x="3247419" y="681522"/>
                    <a:pt x="3247419" y="690949"/>
                  </a:cubicBezTo>
                  <a:cubicBezTo>
                    <a:pt x="3247419" y="700372"/>
                    <a:pt x="3239776" y="708015"/>
                    <a:pt x="3230353" y="708015"/>
                  </a:cubicBezTo>
                  <a:cubicBezTo>
                    <a:pt x="3220926" y="708015"/>
                    <a:pt x="3213287" y="700372"/>
                    <a:pt x="3213287" y="690949"/>
                  </a:cubicBezTo>
                  <a:cubicBezTo>
                    <a:pt x="3213287" y="681522"/>
                    <a:pt x="3220926" y="673883"/>
                    <a:pt x="3230353" y="673883"/>
                  </a:cubicBezTo>
                  <a:close/>
                  <a:moveTo>
                    <a:pt x="3383934" y="671703"/>
                  </a:moveTo>
                  <a:cubicBezTo>
                    <a:pt x="3394566" y="671703"/>
                    <a:pt x="3403180" y="680318"/>
                    <a:pt x="3403180" y="690945"/>
                  </a:cubicBezTo>
                  <a:cubicBezTo>
                    <a:pt x="3403180" y="701573"/>
                    <a:pt x="3394566" y="710191"/>
                    <a:pt x="3383934" y="710191"/>
                  </a:cubicBezTo>
                  <a:cubicBezTo>
                    <a:pt x="3373307" y="710191"/>
                    <a:pt x="3364692" y="701573"/>
                    <a:pt x="3364692" y="690945"/>
                  </a:cubicBezTo>
                  <a:cubicBezTo>
                    <a:pt x="3364692" y="680318"/>
                    <a:pt x="3373307" y="671703"/>
                    <a:pt x="3383934" y="671703"/>
                  </a:cubicBezTo>
                  <a:close/>
                  <a:moveTo>
                    <a:pt x="3537886" y="669526"/>
                  </a:moveTo>
                  <a:cubicBezTo>
                    <a:pt x="3549714" y="669526"/>
                    <a:pt x="3559308" y="679117"/>
                    <a:pt x="3559308" y="690949"/>
                  </a:cubicBezTo>
                  <a:cubicBezTo>
                    <a:pt x="3559308" y="702777"/>
                    <a:pt x="3549714" y="712372"/>
                    <a:pt x="3537886" y="712372"/>
                  </a:cubicBezTo>
                  <a:cubicBezTo>
                    <a:pt x="3526053" y="712372"/>
                    <a:pt x="3516462" y="702777"/>
                    <a:pt x="3516462" y="690949"/>
                  </a:cubicBezTo>
                  <a:cubicBezTo>
                    <a:pt x="3516462" y="679117"/>
                    <a:pt x="3526053" y="669526"/>
                    <a:pt x="3537886" y="669526"/>
                  </a:cubicBezTo>
                  <a:close/>
                  <a:moveTo>
                    <a:pt x="3691471" y="668074"/>
                  </a:moveTo>
                  <a:cubicBezTo>
                    <a:pt x="3704104" y="668074"/>
                    <a:pt x="3714342" y="678316"/>
                    <a:pt x="3714342" y="690949"/>
                  </a:cubicBezTo>
                  <a:cubicBezTo>
                    <a:pt x="3714342" y="703582"/>
                    <a:pt x="3704104" y="713820"/>
                    <a:pt x="3691471" y="713820"/>
                  </a:cubicBezTo>
                  <a:cubicBezTo>
                    <a:pt x="3678838" y="713820"/>
                    <a:pt x="3668596" y="703582"/>
                    <a:pt x="3668596" y="690949"/>
                  </a:cubicBezTo>
                  <a:cubicBezTo>
                    <a:pt x="3668596" y="678316"/>
                    <a:pt x="3678838" y="668074"/>
                    <a:pt x="3691471" y="668074"/>
                  </a:cubicBezTo>
                  <a:close/>
                  <a:moveTo>
                    <a:pt x="3845414" y="665893"/>
                  </a:moveTo>
                  <a:cubicBezTo>
                    <a:pt x="3859252" y="665893"/>
                    <a:pt x="3870470" y="677112"/>
                    <a:pt x="3870470" y="690945"/>
                  </a:cubicBezTo>
                  <a:cubicBezTo>
                    <a:pt x="3870470" y="704782"/>
                    <a:pt x="3859252" y="716001"/>
                    <a:pt x="3845414" y="716001"/>
                  </a:cubicBezTo>
                  <a:cubicBezTo>
                    <a:pt x="3831581" y="716001"/>
                    <a:pt x="3820362" y="704782"/>
                    <a:pt x="3820362" y="690945"/>
                  </a:cubicBezTo>
                  <a:cubicBezTo>
                    <a:pt x="3820362" y="677112"/>
                    <a:pt x="3831581" y="665893"/>
                    <a:pt x="3845414" y="665893"/>
                  </a:cubicBezTo>
                  <a:close/>
                  <a:moveTo>
                    <a:pt x="3999000" y="663717"/>
                  </a:moveTo>
                  <a:cubicBezTo>
                    <a:pt x="4013885" y="663717"/>
                    <a:pt x="4026232" y="676063"/>
                    <a:pt x="4026232" y="690949"/>
                  </a:cubicBezTo>
                  <a:cubicBezTo>
                    <a:pt x="4026232" y="705834"/>
                    <a:pt x="4014247" y="718181"/>
                    <a:pt x="3999000" y="718181"/>
                  </a:cubicBezTo>
                  <a:cubicBezTo>
                    <a:pt x="3984114" y="718181"/>
                    <a:pt x="3971768" y="705834"/>
                    <a:pt x="3971768" y="690949"/>
                  </a:cubicBezTo>
                  <a:cubicBezTo>
                    <a:pt x="3971768" y="676063"/>
                    <a:pt x="3984114" y="663717"/>
                    <a:pt x="3999000" y="663717"/>
                  </a:cubicBezTo>
                  <a:close/>
                  <a:moveTo>
                    <a:pt x="4152947" y="661174"/>
                  </a:moveTo>
                  <a:cubicBezTo>
                    <a:pt x="4169392" y="661174"/>
                    <a:pt x="4182722" y="674504"/>
                    <a:pt x="4182722" y="690949"/>
                  </a:cubicBezTo>
                  <a:cubicBezTo>
                    <a:pt x="4182722" y="707390"/>
                    <a:pt x="4169392" y="720720"/>
                    <a:pt x="4152947" y="720720"/>
                  </a:cubicBezTo>
                  <a:cubicBezTo>
                    <a:pt x="4136506" y="720720"/>
                    <a:pt x="4123176" y="707390"/>
                    <a:pt x="4123176" y="690949"/>
                  </a:cubicBezTo>
                  <a:cubicBezTo>
                    <a:pt x="4123176" y="674504"/>
                    <a:pt x="4136506" y="661174"/>
                    <a:pt x="4152947" y="661174"/>
                  </a:cubicBezTo>
                  <a:close/>
                  <a:moveTo>
                    <a:pt x="4306532" y="658994"/>
                  </a:moveTo>
                  <a:cubicBezTo>
                    <a:pt x="4324178" y="658994"/>
                    <a:pt x="4338484" y="673300"/>
                    <a:pt x="4338484" y="690945"/>
                  </a:cubicBezTo>
                  <a:cubicBezTo>
                    <a:pt x="4338484" y="708590"/>
                    <a:pt x="4324178" y="722896"/>
                    <a:pt x="4306532" y="722896"/>
                  </a:cubicBezTo>
                  <a:cubicBezTo>
                    <a:pt x="4288887" y="722896"/>
                    <a:pt x="4274581" y="708590"/>
                    <a:pt x="4274581" y="690945"/>
                  </a:cubicBezTo>
                  <a:cubicBezTo>
                    <a:pt x="4274581" y="673300"/>
                    <a:pt x="4288887" y="658994"/>
                    <a:pt x="4306532" y="658994"/>
                  </a:cubicBezTo>
                  <a:close/>
                  <a:moveTo>
                    <a:pt x="4460480" y="657179"/>
                  </a:moveTo>
                  <a:cubicBezTo>
                    <a:pt x="4479128" y="657179"/>
                    <a:pt x="4494250" y="672297"/>
                    <a:pt x="4494250" y="690945"/>
                  </a:cubicBezTo>
                  <a:cubicBezTo>
                    <a:pt x="4494250" y="709597"/>
                    <a:pt x="4479128" y="724715"/>
                    <a:pt x="4460480" y="724715"/>
                  </a:cubicBezTo>
                  <a:cubicBezTo>
                    <a:pt x="4441832" y="724715"/>
                    <a:pt x="4426714" y="709597"/>
                    <a:pt x="4426714" y="690945"/>
                  </a:cubicBezTo>
                  <a:cubicBezTo>
                    <a:pt x="4426714" y="672297"/>
                    <a:pt x="4441832" y="657179"/>
                    <a:pt x="4460480" y="657179"/>
                  </a:cubicBezTo>
                  <a:close/>
                  <a:moveTo>
                    <a:pt x="4614061" y="654637"/>
                  </a:moveTo>
                  <a:cubicBezTo>
                    <a:pt x="4634032" y="654637"/>
                    <a:pt x="4650370" y="670975"/>
                    <a:pt x="4650370" y="690945"/>
                  </a:cubicBezTo>
                  <a:cubicBezTo>
                    <a:pt x="4650370" y="710916"/>
                    <a:pt x="4634032" y="727253"/>
                    <a:pt x="4614061" y="727253"/>
                  </a:cubicBezTo>
                  <a:cubicBezTo>
                    <a:pt x="4594090" y="727253"/>
                    <a:pt x="4577753" y="710916"/>
                    <a:pt x="4577753" y="690945"/>
                  </a:cubicBezTo>
                  <a:cubicBezTo>
                    <a:pt x="4577753" y="670975"/>
                    <a:pt x="4594090" y="654637"/>
                    <a:pt x="4614061" y="654637"/>
                  </a:cubicBezTo>
                  <a:close/>
                  <a:moveTo>
                    <a:pt x="4768012" y="652094"/>
                  </a:moveTo>
                  <a:cubicBezTo>
                    <a:pt x="4789435" y="652094"/>
                    <a:pt x="4806860" y="669522"/>
                    <a:pt x="4806860" y="690945"/>
                  </a:cubicBezTo>
                  <a:cubicBezTo>
                    <a:pt x="4806860" y="712368"/>
                    <a:pt x="4789435" y="729796"/>
                    <a:pt x="4768012" y="729796"/>
                  </a:cubicBezTo>
                  <a:cubicBezTo>
                    <a:pt x="4746590" y="729796"/>
                    <a:pt x="4729162" y="712368"/>
                    <a:pt x="4729162" y="690945"/>
                  </a:cubicBezTo>
                  <a:cubicBezTo>
                    <a:pt x="4729162" y="669522"/>
                    <a:pt x="4746590" y="652094"/>
                    <a:pt x="4768012" y="652094"/>
                  </a:cubicBezTo>
                  <a:close/>
                  <a:moveTo>
                    <a:pt x="4921594" y="649918"/>
                  </a:moveTo>
                  <a:cubicBezTo>
                    <a:pt x="4944469" y="649918"/>
                    <a:pt x="4962625" y="668074"/>
                    <a:pt x="4962625" y="690945"/>
                  </a:cubicBezTo>
                  <a:cubicBezTo>
                    <a:pt x="4962625" y="713820"/>
                    <a:pt x="4944107" y="731976"/>
                    <a:pt x="4921594" y="731976"/>
                  </a:cubicBezTo>
                  <a:cubicBezTo>
                    <a:pt x="4898722" y="731976"/>
                    <a:pt x="4880566" y="713820"/>
                    <a:pt x="4880566" y="690945"/>
                  </a:cubicBezTo>
                  <a:cubicBezTo>
                    <a:pt x="4880566" y="668074"/>
                    <a:pt x="4898722" y="649918"/>
                    <a:pt x="4921594" y="649918"/>
                  </a:cubicBezTo>
                  <a:close/>
                  <a:moveTo>
                    <a:pt x="5075541" y="647375"/>
                  </a:moveTo>
                  <a:cubicBezTo>
                    <a:pt x="5099503" y="647375"/>
                    <a:pt x="5119111" y="666984"/>
                    <a:pt x="5119111" y="690945"/>
                  </a:cubicBezTo>
                  <a:cubicBezTo>
                    <a:pt x="5119111" y="714911"/>
                    <a:pt x="5099503" y="734515"/>
                    <a:pt x="5075541" y="734515"/>
                  </a:cubicBezTo>
                  <a:cubicBezTo>
                    <a:pt x="5051580" y="734515"/>
                    <a:pt x="5031971" y="714911"/>
                    <a:pt x="5031971" y="690945"/>
                  </a:cubicBezTo>
                  <a:cubicBezTo>
                    <a:pt x="5031971" y="666984"/>
                    <a:pt x="5051580" y="647375"/>
                    <a:pt x="5075541" y="647375"/>
                  </a:cubicBezTo>
                  <a:close/>
                  <a:moveTo>
                    <a:pt x="5229126" y="644836"/>
                  </a:moveTo>
                  <a:cubicBezTo>
                    <a:pt x="5254540" y="644836"/>
                    <a:pt x="5275239" y="665531"/>
                    <a:pt x="5275239" y="690949"/>
                  </a:cubicBezTo>
                  <a:cubicBezTo>
                    <a:pt x="5275239" y="716363"/>
                    <a:pt x="5254540" y="737058"/>
                    <a:pt x="5229126" y="737058"/>
                  </a:cubicBezTo>
                  <a:cubicBezTo>
                    <a:pt x="5203708" y="737058"/>
                    <a:pt x="5183014" y="716363"/>
                    <a:pt x="5183014" y="690949"/>
                  </a:cubicBezTo>
                  <a:cubicBezTo>
                    <a:pt x="5183014" y="665531"/>
                    <a:pt x="5203708" y="644836"/>
                    <a:pt x="5229126" y="644836"/>
                  </a:cubicBezTo>
                  <a:close/>
                  <a:moveTo>
                    <a:pt x="5383074" y="642294"/>
                  </a:moveTo>
                  <a:cubicBezTo>
                    <a:pt x="5409940" y="642294"/>
                    <a:pt x="5431725" y="664079"/>
                    <a:pt x="5431725" y="690949"/>
                  </a:cubicBezTo>
                  <a:cubicBezTo>
                    <a:pt x="5431725" y="717815"/>
                    <a:pt x="5409940" y="739600"/>
                    <a:pt x="5383074" y="739600"/>
                  </a:cubicBezTo>
                  <a:cubicBezTo>
                    <a:pt x="5356204" y="739600"/>
                    <a:pt x="5334419" y="717815"/>
                    <a:pt x="5334419" y="690949"/>
                  </a:cubicBezTo>
                  <a:cubicBezTo>
                    <a:pt x="5334419" y="664079"/>
                    <a:pt x="5356204" y="642294"/>
                    <a:pt x="5383074" y="642294"/>
                  </a:cubicBezTo>
                  <a:close/>
                  <a:moveTo>
                    <a:pt x="5536659" y="639751"/>
                  </a:moveTo>
                  <a:cubicBezTo>
                    <a:pt x="5564978" y="639751"/>
                    <a:pt x="5587853" y="662626"/>
                    <a:pt x="5587853" y="690945"/>
                  </a:cubicBezTo>
                  <a:cubicBezTo>
                    <a:pt x="5587853" y="719268"/>
                    <a:pt x="5564978" y="742139"/>
                    <a:pt x="5536659" y="742139"/>
                  </a:cubicBezTo>
                  <a:cubicBezTo>
                    <a:pt x="5508336" y="742139"/>
                    <a:pt x="5485462" y="719268"/>
                    <a:pt x="5485462" y="690945"/>
                  </a:cubicBezTo>
                  <a:cubicBezTo>
                    <a:pt x="5485462" y="662626"/>
                    <a:pt x="5508336" y="639751"/>
                    <a:pt x="5536659" y="639751"/>
                  </a:cubicBezTo>
                  <a:close/>
                  <a:moveTo>
                    <a:pt x="5690606" y="637571"/>
                  </a:moveTo>
                  <a:cubicBezTo>
                    <a:pt x="5720016" y="637571"/>
                    <a:pt x="5743980" y="661533"/>
                    <a:pt x="5743980" y="690945"/>
                  </a:cubicBezTo>
                  <a:cubicBezTo>
                    <a:pt x="5743980" y="720354"/>
                    <a:pt x="5720016" y="744319"/>
                    <a:pt x="5690606" y="744319"/>
                  </a:cubicBezTo>
                  <a:cubicBezTo>
                    <a:pt x="5661198" y="744319"/>
                    <a:pt x="5637232" y="720354"/>
                    <a:pt x="5637232" y="690945"/>
                  </a:cubicBezTo>
                  <a:cubicBezTo>
                    <a:pt x="5637232" y="661533"/>
                    <a:pt x="5661198" y="637571"/>
                    <a:pt x="5690606" y="637571"/>
                  </a:cubicBezTo>
                  <a:close/>
                  <a:moveTo>
                    <a:pt x="5844554" y="634666"/>
                  </a:moveTo>
                  <a:cubicBezTo>
                    <a:pt x="5875777" y="634666"/>
                    <a:pt x="5900829" y="659718"/>
                    <a:pt x="5900829" y="690945"/>
                  </a:cubicBezTo>
                  <a:cubicBezTo>
                    <a:pt x="5900829" y="722168"/>
                    <a:pt x="5875777" y="747224"/>
                    <a:pt x="5844554" y="747224"/>
                  </a:cubicBezTo>
                  <a:cubicBezTo>
                    <a:pt x="5813327" y="747224"/>
                    <a:pt x="5788275" y="722168"/>
                    <a:pt x="5788275" y="690945"/>
                  </a:cubicBezTo>
                  <a:cubicBezTo>
                    <a:pt x="5788275" y="659718"/>
                    <a:pt x="5813327" y="634666"/>
                    <a:pt x="5844554" y="634666"/>
                  </a:cubicBezTo>
                  <a:close/>
                  <a:moveTo>
                    <a:pt x="5998136" y="632128"/>
                  </a:moveTo>
                  <a:cubicBezTo>
                    <a:pt x="6030624" y="632128"/>
                    <a:pt x="6056957" y="658460"/>
                    <a:pt x="6056957" y="690949"/>
                  </a:cubicBezTo>
                  <a:cubicBezTo>
                    <a:pt x="6056957" y="723434"/>
                    <a:pt x="6030624" y="749767"/>
                    <a:pt x="5998136" y="749767"/>
                  </a:cubicBezTo>
                  <a:cubicBezTo>
                    <a:pt x="5965650" y="749767"/>
                    <a:pt x="5939318" y="723434"/>
                    <a:pt x="5939318" y="690949"/>
                  </a:cubicBezTo>
                  <a:cubicBezTo>
                    <a:pt x="5939318" y="658460"/>
                    <a:pt x="5965650" y="632128"/>
                    <a:pt x="5998136" y="632128"/>
                  </a:cubicBezTo>
                  <a:close/>
                  <a:moveTo>
                    <a:pt x="6152083" y="629223"/>
                  </a:moveTo>
                  <a:cubicBezTo>
                    <a:pt x="6186172" y="629223"/>
                    <a:pt x="6213809" y="656859"/>
                    <a:pt x="6213809" y="690949"/>
                  </a:cubicBezTo>
                  <a:cubicBezTo>
                    <a:pt x="6213809" y="725035"/>
                    <a:pt x="6186172" y="752671"/>
                    <a:pt x="6152083" y="752671"/>
                  </a:cubicBezTo>
                  <a:cubicBezTo>
                    <a:pt x="6117993" y="752671"/>
                    <a:pt x="6090360" y="725035"/>
                    <a:pt x="6090360" y="690949"/>
                  </a:cubicBezTo>
                  <a:cubicBezTo>
                    <a:pt x="6090360" y="656859"/>
                    <a:pt x="6117993" y="629223"/>
                    <a:pt x="6152083" y="629223"/>
                  </a:cubicBezTo>
                  <a:close/>
                  <a:moveTo>
                    <a:pt x="6305668" y="626680"/>
                  </a:moveTo>
                  <a:cubicBezTo>
                    <a:pt x="6341160" y="626680"/>
                    <a:pt x="6369933" y="655452"/>
                    <a:pt x="6369933" y="690945"/>
                  </a:cubicBezTo>
                  <a:cubicBezTo>
                    <a:pt x="6369933" y="726438"/>
                    <a:pt x="6341160" y="755214"/>
                    <a:pt x="6305668" y="755214"/>
                  </a:cubicBezTo>
                  <a:cubicBezTo>
                    <a:pt x="6270176" y="755214"/>
                    <a:pt x="6241400" y="726438"/>
                    <a:pt x="6241400" y="690945"/>
                  </a:cubicBezTo>
                  <a:cubicBezTo>
                    <a:pt x="6241400" y="655452"/>
                    <a:pt x="6270176" y="626680"/>
                    <a:pt x="6305668" y="626680"/>
                  </a:cubicBezTo>
                  <a:close/>
                  <a:moveTo>
                    <a:pt x="6459619" y="623414"/>
                  </a:moveTo>
                  <a:cubicBezTo>
                    <a:pt x="6496915" y="623414"/>
                    <a:pt x="6527151" y="653650"/>
                    <a:pt x="6527151" y="690949"/>
                  </a:cubicBezTo>
                  <a:cubicBezTo>
                    <a:pt x="6527151" y="728245"/>
                    <a:pt x="6496915" y="758481"/>
                    <a:pt x="6459619" y="758481"/>
                  </a:cubicBezTo>
                  <a:cubicBezTo>
                    <a:pt x="6422320" y="758481"/>
                    <a:pt x="6392084" y="728245"/>
                    <a:pt x="6392084" y="690949"/>
                  </a:cubicBezTo>
                  <a:cubicBezTo>
                    <a:pt x="6392084" y="653650"/>
                    <a:pt x="6422320" y="623414"/>
                    <a:pt x="6459619" y="623414"/>
                  </a:cubicBezTo>
                  <a:close/>
                  <a:moveTo>
                    <a:pt x="6613200" y="620871"/>
                  </a:moveTo>
                  <a:cubicBezTo>
                    <a:pt x="6651903" y="620871"/>
                    <a:pt x="6683275" y="652243"/>
                    <a:pt x="6683275" y="690945"/>
                  </a:cubicBezTo>
                  <a:cubicBezTo>
                    <a:pt x="6683275" y="729647"/>
                    <a:pt x="6651903" y="761023"/>
                    <a:pt x="6613200" y="761023"/>
                  </a:cubicBezTo>
                  <a:cubicBezTo>
                    <a:pt x="6574498" y="761023"/>
                    <a:pt x="6543126" y="729647"/>
                    <a:pt x="6543126" y="690945"/>
                  </a:cubicBezTo>
                  <a:cubicBezTo>
                    <a:pt x="6543126" y="652243"/>
                    <a:pt x="6574498" y="620871"/>
                    <a:pt x="6613200" y="620871"/>
                  </a:cubicBezTo>
                  <a:close/>
                  <a:moveTo>
                    <a:pt x="1231213" y="536998"/>
                  </a:moveTo>
                  <a:cubicBezTo>
                    <a:pt x="1231576" y="536998"/>
                    <a:pt x="1231576" y="536998"/>
                    <a:pt x="1231576" y="537360"/>
                  </a:cubicBezTo>
                  <a:cubicBezTo>
                    <a:pt x="1231576" y="537726"/>
                    <a:pt x="1231213" y="537726"/>
                    <a:pt x="1231213" y="537726"/>
                  </a:cubicBezTo>
                  <a:cubicBezTo>
                    <a:pt x="1230851" y="537726"/>
                    <a:pt x="1230851" y="537726"/>
                    <a:pt x="1230851" y="537360"/>
                  </a:cubicBezTo>
                  <a:cubicBezTo>
                    <a:pt x="1230851" y="536998"/>
                    <a:pt x="1230851" y="536998"/>
                    <a:pt x="1231213" y="536998"/>
                  </a:cubicBezTo>
                  <a:close/>
                  <a:moveTo>
                    <a:pt x="769733" y="536998"/>
                  </a:moveTo>
                  <a:cubicBezTo>
                    <a:pt x="770096" y="536998"/>
                    <a:pt x="770096" y="536998"/>
                    <a:pt x="770096" y="537360"/>
                  </a:cubicBezTo>
                  <a:cubicBezTo>
                    <a:pt x="770096" y="537726"/>
                    <a:pt x="769733" y="537726"/>
                    <a:pt x="769733" y="537726"/>
                  </a:cubicBezTo>
                  <a:cubicBezTo>
                    <a:pt x="769371" y="537726"/>
                    <a:pt x="769371" y="537726"/>
                    <a:pt x="769371" y="537360"/>
                  </a:cubicBezTo>
                  <a:cubicBezTo>
                    <a:pt x="769371" y="536998"/>
                    <a:pt x="769371" y="536998"/>
                    <a:pt x="769733" y="536998"/>
                  </a:cubicBezTo>
                  <a:close/>
                  <a:moveTo>
                    <a:pt x="616148" y="536998"/>
                  </a:moveTo>
                  <a:cubicBezTo>
                    <a:pt x="616514" y="536998"/>
                    <a:pt x="616514" y="536998"/>
                    <a:pt x="616514" y="537360"/>
                  </a:cubicBezTo>
                  <a:cubicBezTo>
                    <a:pt x="616514" y="537726"/>
                    <a:pt x="616148" y="537726"/>
                    <a:pt x="616148" y="537726"/>
                  </a:cubicBezTo>
                  <a:cubicBezTo>
                    <a:pt x="615786" y="537726"/>
                    <a:pt x="615786" y="537726"/>
                    <a:pt x="615786" y="537360"/>
                  </a:cubicBezTo>
                  <a:cubicBezTo>
                    <a:pt x="615786" y="536998"/>
                    <a:pt x="615786" y="536998"/>
                    <a:pt x="616148" y="536998"/>
                  </a:cubicBezTo>
                  <a:close/>
                  <a:moveTo>
                    <a:pt x="462205" y="536636"/>
                  </a:moveTo>
                  <a:cubicBezTo>
                    <a:pt x="462605" y="536636"/>
                    <a:pt x="462929" y="536960"/>
                    <a:pt x="462929" y="537364"/>
                  </a:cubicBezTo>
                  <a:cubicBezTo>
                    <a:pt x="462929" y="537764"/>
                    <a:pt x="462605" y="538088"/>
                    <a:pt x="462205" y="538088"/>
                  </a:cubicBezTo>
                  <a:cubicBezTo>
                    <a:pt x="461801" y="538088"/>
                    <a:pt x="461476" y="537764"/>
                    <a:pt x="461476" y="537364"/>
                  </a:cubicBezTo>
                  <a:cubicBezTo>
                    <a:pt x="461476" y="536960"/>
                    <a:pt x="461801" y="536636"/>
                    <a:pt x="462205" y="536636"/>
                  </a:cubicBezTo>
                  <a:close/>
                  <a:moveTo>
                    <a:pt x="1384799" y="535911"/>
                  </a:moveTo>
                  <a:cubicBezTo>
                    <a:pt x="1385599" y="535911"/>
                    <a:pt x="1386251" y="536563"/>
                    <a:pt x="1386251" y="537364"/>
                  </a:cubicBezTo>
                  <a:cubicBezTo>
                    <a:pt x="1386251" y="538164"/>
                    <a:pt x="1385599" y="538816"/>
                    <a:pt x="1384799" y="538816"/>
                  </a:cubicBezTo>
                  <a:cubicBezTo>
                    <a:pt x="1383994" y="538816"/>
                    <a:pt x="1383346" y="538164"/>
                    <a:pt x="1383346" y="537364"/>
                  </a:cubicBezTo>
                  <a:cubicBezTo>
                    <a:pt x="1383346" y="536563"/>
                    <a:pt x="1383994" y="535911"/>
                    <a:pt x="1384799" y="535911"/>
                  </a:cubicBezTo>
                  <a:close/>
                  <a:moveTo>
                    <a:pt x="308257" y="535545"/>
                  </a:moveTo>
                  <a:cubicBezTo>
                    <a:pt x="308985" y="535545"/>
                    <a:pt x="309710" y="536273"/>
                    <a:pt x="309710" y="536998"/>
                  </a:cubicBezTo>
                  <a:lnTo>
                    <a:pt x="309634" y="537073"/>
                  </a:lnTo>
                  <a:lnTo>
                    <a:pt x="308175" y="535627"/>
                  </a:lnTo>
                  <a:close/>
                  <a:moveTo>
                    <a:pt x="1538750" y="535183"/>
                  </a:moveTo>
                  <a:cubicBezTo>
                    <a:pt x="1539951" y="535183"/>
                    <a:pt x="1540927" y="536159"/>
                    <a:pt x="1540927" y="537364"/>
                  </a:cubicBezTo>
                  <a:cubicBezTo>
                    <a:pt x="1540927" y="538564"/>
                    <a:pt x="1539951" y="539540"/>
                    <a:pt x="1538750" y="539540"/>
                  </a:cubicBezTo>
                  <a:cubicBezTo>
                    <a:pt x="1537545" y="539540"/>
                    <a:pt x="1536570" y="538564"/>
                    <a:pt x="1536570" y="537364"/>
                  </a:cubicBezTo>
                  <a:cubicBezTo>
                    <a:pt x="1536570" y="536159"/>
                    <a:pt x="1537545" y="535183"/>
                    <a:pt x="1538750" y="535183"/>
                  </a:cubicBezTo>
                  <a:close/>
                  <a:moveTo>
                    <a:pt x="1692328" y="534093"/>
                  </a:moveTo>
                  <a:cubicBezTo>
                    <a:pt x="1694146" y="534093"/>
                    <a:pt x="1695594" y="535545"/>
                    <a:pt x="1695594" y="537360"/>
                  </a:cubicBezTo>
                  <a:cubicBezTo>
                    <a:pt x="1695594" y="539178"/>
                    <a:pt x="1694146" y="540630"/>
                    <a:pt x="1692328" y="540630"/>
                  </a:cubicBezTo>
                  <a:cubicBezTo>
                    <a:pt x="1690513" y="540630"/>
                    <a:pt x="1689061" y="539178"/>
                    <a:pt x="1689061" y="537360"/>
                  </a:cubicBezTo>
                  <a:cubicBezTo>
                    <a:pt x="1689061" y="535545"/>
                    <a:pt x="1690513" y="534093"/>
                    <a:pt x="1692328" y="534093"/>
                  </a:cubicBezTo>
                  <a:close/>
                  <a:moveTo>
                    <a:pt x="1846279" y="532641"/>
                  </a:moveTo>
                  <a:cubicBezTo>
                    <a:pt x="1848818" y="532641"/>
                    <a:pt x="1850636" y="534455"/>
                    <a:pt x="1850636" y="536998"/>
                  </a:cubicBezTo>
                  <a:cubicBezTo>
                    <a:pt x="1850636" y="539540"/>
                    <a:pt x="1848455" y="541355"/>
                    <a:pt x="1846279" y="541355"/>
                  </a:cubicBezTo>
                  <a:cubicBezTo>
                    <a:pt x="1843736" y="541355"/>
                    <a:pt x="1841922" y="539540"/>
                    <a:pt x="1841922" y="536998"/>
                  </a:cubicBezTo>
                  <a:cubicBezTo>
                    <a:pt x="1841922" y="534455"/>
                    <a:pt x="1843736" y="532641"/>
                    <a:pt x="1846279" y="532641"/>
                  </a:cubicBezTo>
                  <a:close/>
                  <a:moveTo>
                    <a:pt x="1999860" y="531554"/>
                  </a:moveTo>
                  <a:cubicBezTo>
                    <a:pt x="2003127" y="531554"/>
                    <a:pt x="2005670" y="534097"/>
                    <a:pt x="2005670" y="537364"/>
                  </a:cubicBezTo>
                  <a:cubicBezTo>
                    <a:pt x="2005670" y="540630"/>
                    <a:pt x="2003127" y="543173"/>
                    <a:pt x="1999860" y="543173"/>
                  </a:cubicBezTo>
                  <a:cubicBezTo>
                    <a:pt x="1996593" y="543173"/>
                    <a:pt x="1994051" y="540630"/>
                    <a:pt x="1994051" y="537364"/>
                  </a:cubicBezTo>
                  <a:cubicBezTo>
                    <a:pt x="1994051" y="534097"/>
                    <a:pt x="1996593" y="531554"/>
                    <a:pt x="1999860" y="531554"/>
                  </a:cubicBezTo>
                  <a:close/>
                  <a:moveTo>
                    <a:pt x="2153808" y="530102"/>
                  </a:moveTo>
                  <a:cubicBezTo>
                    <a:pt x="2157802" y="530102"/>
                    <a:pt x="2161069" y="533369"/>
                    <a:pt x="2161069" y="537364"/>
                  </a:cubicBezTo>
                  <a:cubicBezTo>
                    <a:pt x="2161069" y="541359"/>
                    <a:pt x="2157802" y="544625"/>
                    <a:pt x="2153808" y="544625"/>
                  </a:cubicBezTo>
                  <a:cubicBezTo>
                    <a:pt x="2149813" y="544625"/>
                    <a:pt x="2146546" y="541359"/>
                    <a:pt x="2146546" y="537364"/>
                  </a:cubicBezTo>
                  <a:cubicBezTo>
                    <a:pt x="2146546" y="533369"/>
                    <a:pt x="2149813" y="530102"/>
                    <a:pt x="2153808" y="530102"/>
                  </a:cubicBezTo>
                  <a:close/>
                  <a:moveTo>
                    <a:pt x="2307393" y="527922"/>
                  </a:moveTo>
                  <a:cubicBezTo>
                    <a:pt x="2312478" y="527922"/>
                    <a:pt x="2316473" y="531916"/>
                    <a:pt x="2316473" y="536998"/>
                  </a:cubicBezTo>
                  <a:cubicBezTo>
                    <a:pt x="2316473" y="542083"/>
                    <a:pt x="2312478" y="546078"/>
                    <a:pt x="2307393" y="546078"/>
                  </a:cubicBezTo>
                  <a:cubicBezTo>
                    <a:pt x="2302312" y="546078"/>
                    <a:pt x="2298317" y="542083"/>
                    <a:pt x="2298317" y="536998"/>
                  </a:cubicBezTo>
                  <a:cubicBezTo>
                    <a:pt x="2298317" y="531916"/>
                    <a:pt x="2302312" y="527922"/>
                    <a:pt x="2307393" y="527922"/>
                  </a:cubicBezTo>
                  <a:close/>
                  <a:moveTo>
                    <a:pt x="2461340" y="527197"/>
                  </a:moveTo>
                  <a:cubicBezTo>
                    <a:pt x="2466787" y="527197"/>
                    <a:pt x="2471507" y="531916"/>
                    <a:pt x="2471507" y="537364"/>
                  </a:cubicBezTo>
                  <a:cubicBezTo>
                    <a:pt x="2471507" y="542811"/>
                    <a:pt x="2467150" y="547530"/>
                    <a:pt x="2461340" y="547530"/>
                  </a:cubicBezTo>
                  <a:cubicBezTo>
                    <a:pt x="2455893" y="547530"/>
                    <a:pt x="2451174" y="542811"/>
                    <a:pt x="2451174" y="537364"/>
                  </a:cubicBezTo>
                  <a:cubicBezTo>
                    <a:pt x="2451174" y="531916"/>
                    <a:pt x="2455893" y="527197"/>
                    <a:pt x="2461340" y="527197"/>
                  </a:cubicBezTo>
                  <a:close/>
                  <a:moveTo>
                    <a:pt x="2614925" y="525379"/>
                  </a:moveTo>
                  <a:cubicBezTo>
                    <a:pt x="2621463" y="525379"/>
                    <a:pt x="2626910" y="530826"/>
                    <a:pt x="2626910" y="537360"/>
                  </a:cubicBezTo>
                  <a:cubicBezTo>
                    <a:pt x="2626910" y="543897"/>
                    <a:pt x="2621463" y="549341"/>
                    <a:pt x="2614925" y="549341"/>
                  </a:cubicBezTo>
                  <a:cubicBezTo>
                    <a:pt x="2608392" y="549341"/>
                    <a:pt x="2602945" y="543897"/>
                    <a:pt x="2602945" y="537360"/>
                  </a:cubicBezTo>
                  <a:cubicBezTo>
                    <a:pt x="2602945" y="530826"/>
                    <a:pt x="2608392" y="525379"/>
                    <a:pt x="2614925" y="525379"/>
                  </a:cubicBezTo>
                  <a:close/>
                  <a:moveTo>
                    <a:pt x="2768877" y="523202"/>
                  </a:moveTo>
                  <a:cubicBezTo>
                    <a:pt x="2776501" y="523202"/>
                    <a:pt x="2782672" y="529374"/>
                    <a:pt x="2782672" y="537002"/>
                  </a:cubicBezTo>
                  <a:cubicBezTo>
                    <a:pt x="2782672" y="544625"/>
                    <a:pt x="2776501" y="550797"/>
                    <a:pt x="2768877" y="550797"/>
                  </a:cubicBezTo>
                  <a:cubicBezTo>
                    <a:pt x="2761249" y="550797"/>
                    <a:pt x="2755078" y="544625"/>
                    <a:pt x="2755078" y="537002"/>
                  </a:cubicBezTo>
                  <a:cubicBezTo>
                    <a:pt x="2755078" y="529374"/>
                    <a:pt x="2761249" y="523202"/>
                    <a:pt x="2768877" y="523202"/>
                  </a:cubicBezTo>
                  <a:close/>
                  <a:moveTo>
                    <a:pt x="2922454" y="522112"/>
                  </a:moveTo>
                  <a:cubicBezTo>
                    <a:pt x="2930878" y="522112"/>
                    <a:pt x="2937706" y="528939"/>
                    <a:pt x="2937706" y="537364"/>
                  </a:cubicBezTo>
                  <a:cubicBezTo>
                    <a:pt x="2937706" y="545784"/>
                    <a:pt x="2930878" y="552611"/>
                    <a:pt x="2922454" y="552611"/>
                  </a:cubicBezTo>
                  <a:cubicBezTo>
                    <a:pt x="2914034" y="552611"/>
                    <a:pt x="2907207" y="545784"/>
                    <a:pt x="2907207" y="537364"/>
                  </a:cubicBezTo>
                  <a:cubicBezTo>
                    <a:pt x="2907207" y="528939"/>
                    <a:pt x="2914034" y="522112"/>
                    <a:pt x="2922454" y="522112"/>
                  </a:cubicBezTo>
                  <a:close/>
                  <a:moveTo>
                    <a:pt x="3076406" y="520298"/>
                  </a:moveTo>
                  <a:cubicBezTo>
                    <a:pt x="3085844" y="520298"/>
                    <a:pt x="3093468" y="527922"/>
                    <a:pt x="3093468" y="537364"/>
                  </a:cubicBezTo>
                  <a:cubicBezTo>
                    <a:pt x="3093468" y="546802"/>
                    <a:pt x="3085844" y="554430"/>
                    <a:pt x="3076406" y="554430"/>
                  </a:cubicBezTo>
                  <a:cubicBezTo>
                    <a:pt x="3066963" y="554430"/>
                    <a:pt x="3059340" y="546802"/>
                    <a:pt x="3059340" y="537364"/>
                  </a:cubicBezTo>
                  <a:cubicBezTo>
                    <a:pt x="3059340" y="527922"/>
                    <a:pt x="3066963" y="520298"/>
                    <a:pt x="3076406" y="520298"/>
                  </a:cubicBezTo>
                  <a:close/>
                  <a:moveTo>
                    <a:pt x="3230353" y="518117"/>
                  </a:moveTo>
                  <a:cubicBezTo>
                    <a:pt x="3240980" y="518117"/>
                    <a:pt x="3249599" y="526732"/>
                    <a:pt x="3249599" y="537360"/>
                  </a:cubicBezTo>
                  <a:cubicBezTo>
                    <a:pt x="3249599" y="547987"/>
                    <a:pt x="3240980" y="556602"/>
                    <a:pt x="3230353" y="556602"/>
                  </a:cubicBezTo>
                  <a:cubicBezTo>
                    <a:pt x="3219725" y="556602"/>
                    <a:pt x="3211110" y="547987"/>
                    <a:pt x="3211110" y="537360"/>
                  </a:cubicBezTo>
                  <a:cubicBezTo>
                    <a:pt x="3211110" y="526732"/>
                    <a:pt x="3219725" y="518117"/>
                    <a:pt x="3230353" y="518117"/>
                  </a:cubicBezTo>
                  <a:close/>
                  <a:moveTo>
                    <a:pt x="3383938" y="515941"/>
                  </a:moveTo>
                  <a:cubicBezTo>
                    <a:pt x="3395766" y="515941"/>
                    <a:pt x="3405361" y="525532"/>
                    <a:pt x="3405361" y="537364"/>
                  </a:cubicBezTo>
                  <a:cubicBezTo>
                    <a:pt x="3405361" y="549192"/>
                    <a:pt x="3395766" y="558787"/>
                    <a:pt x="3383938" y="558787"/>
                  </a:cubicBezTo>
                  <a:cubicBezTo>
                    <a:pt x="3372106" y="558787"/>
                    <a:pt x="3362515" y="549192"/>
                    <a:pt x="3362515" y="537364"/>
                  </a:cubicBezTo>
                  <a:cubicBezTo>
                    <a:pt x="3362515" y="525532"/>
                    <a:pt x="3372106" y="515941"/>
                    <a:pt x="3383938" y="515941"/>
                  </a:cubicBezTo>
                  <a:close/>
                  <a:moveTo>
                    <a:pt x="3537886" y="514489"/>
                  </a:moveTo>
                  <a:cubicBezTo>
                    <a:pt x="3550518" y="514489"/>
                    <a:pt x="3560761" y="524731"/>
                    <a:pt x="3560761" y="537364"/>
                  </a:cubicBezTo>
                  <a:cubicBezTo>
                    <a:pt x="3560761" y="549996"/>
                    <a:pt x="3550518" y="560239"/>
                    <a:pt x="3537886" y="560239"/>
                  </a:cubicBezTo>
                  <a:cubicBezTo>
                    <a:pt x="3525253" y="560239"/>
                    <a:pt x="3515010" y="549996"/>
                    <a:pt x="3515010" y="537364"/>
                  </a:cubicBezTo>
                  <a:cubicBezTo>
                    <a:pt x="3515010" y="524731"/>
                    <a:pt x="3525253" y="514489"/>
                    <a:pt x="3537886" y="514489"/>
                  </a:cubicBezTo>
                  <a:close/>
                  <a:moveTo>
                    <a:pt x="3691467" y="512308"/>
                  </a:moveTo>
                  <a:cubicBezTo>
                    <a:pt x="3705304" y="512308"/>
                    <a:pt x="3716519" y="523526"/>
                    <a:pt x="3716519" y="537360"/>
                  </a:cubicBezTo>
                  <a:cubicBezTo>
                    <a:pt x="3716519" y="551197"/>
                    <a:pt x="3705304" y="562412"/>
                    <a:pt x="3691467" y="562412"/>
                  </a:cubicBezTo>
                  <a:cubicBezTo>
                    <a:pt x="3677630" y="562412"/>
                    <a:pt x="3666415" y="551197"/>
                    <a:pt x="3666415" y="537360"/>
                  </a:cubicBezTo>
                  <a:cubicBezTo>
                    <a:pt x="3666415" y="523523"/>
                    <a:pt x="3677630" y="512308"/>
                    <a:pt x="3691467" y="512308"/>
                  </a:cubicBezTo>
                  <a:close/>
                  <a:moveTo>
                    <a:pt x="3845418" y="510131"/>
                  </a:moveTo>
                  <a:cubicBezTo>
                    <a:pt x="3860456" y="510131"/>
                    <a:pt x="3872650" y="522322"/>
                    <a:pt x="3872650" y="537364"/>
                  </a:cubicBezTo>
                  <a:cubicBezTo>
                    <a:pt x="3872650" y="552402"/>
                    <a:pt x="3860456" y="564596"/>
                    <a:pt x="3845418" y="564596"/>
                  </a:cubicBezTo>
                  <a:cubicBezTo>
                    <a:pt x="3830376" y="564596"/>
                    <a:pt x="3818186" y="552402"/>
                    <a:pt x="3818186" y="537364"/>
                  </a:cubicBezTo>
                  <a:cubicBezTo>
                    <a:pt x="3818186" y="522322"/>
                    <a:pt x="3830376" y="510131"/>
                    <a:pt x="3845418" y="510131"/>
                  </a:cubicBezTo>
                  <a:close/>
                  <a:moveTo>
                    <a:pt x="3999000" y="507589"/>
                  </a:moveTo>
                  <a:cubicBezTo>
                    <a:pt x="4015444" y="507589"/>
                    <a:pt x="4028774" y="520919"/>
                    <a:pt x="4028774" y="537364"/>
                  </a:cubicBezTo>
                  <a:cubicBezTo>
                    <a:pt x="4028774" y="553804"/>
                    <a:pt x="4015444" y="567135"/>
                    <a:pt x="3999000" y="567135"/>
                  </a:cubicBezTo>
                  <a:cubicBezTo>
                    <a:pt x="3982559" y="567135"/>
                    <a:pt x="3969229" y="553804"/>
                    <a:pt x="3969229" y="537364"/>
                  </a:cubicBezTo>
                  <a:cubicBezTo>
                    <a:pt x="3969229" y="520919"/>
                    <a:pt x="3982559" y="507589"/>
                    <a:pt x="3999000" y="507589"/>
                  </a:cubicBezTo>
                  <a:close/>
                  <a:moveTo>
                    <a:pt x="4152947" y="505412"/>
                  </a:moveTo>
                  <a:cubicBezTo>
                    <a:pt x="4170592" y="505412"/>
                    <a:pt x="4184898" y="519718"/>
                    <a:pt x="4184898" y="537364"/>
                  </a:cubicBezTo>
                  <a:cubicBezTo>
                    <a:pt x="4184898" y="555009"/>
                    <a:pt x="4170592" y="569315"/>
                    <a:pt x="4152947" y="569315"/>
                  </a:cubicBezTo>
                  <a:cubicBezTo>
                    <a:pt x="4135302" y="569315"/>
                    <a:pt x="4120996" y="555009"/>
                    <a:pt x="4120996" y="537364"/>
                  </a:cubicBezTo>
                  <a:cubicBezTo>
                    <a:pt x="4120996" y="519718"/>
                    <a:pt x="4135302" y="505412"/>
                    <a:pt x="4152947" y="505412"/>
                  </a:cubicBezTo>
                  <a:close/>
                  <a:moveTo>
                    <a:pt x="4306532" y="503594"/>
                  </a:moveTo>
                  <a:cubicBezTo>
                    <a:pt x="4325184" y="503594"/>
                    <a:pt x="4340302" y="518712"/>
                    <a:pt x="4340302" y="537360"/>
                  </a:cubicBezTo>
                  <a:cubicBezTo>
                    <a:pt x="4340302" y="556012"/>
                    <a:pt x="4325184" y="571130"/>
                    <a:pt x="4306532" y="571130"/>
                  </a:cubicBezTo>
                  <a:cubicBezTo>
                    <a:pt x="4287884" y="571130"/>
                    <a:pt x="4272766" y="556012"/>
                    <a:pt x="4272766" y="537360"/>
                  </a:cubicBezTo>
                  <a:cubicBezTo>
                    <a:pt x="4272766" y="518712"/>
                    <a:pt x="4287884" y="503594"/>
                    <a:pt x="4306532" y="503594"/>
                  </a:cubicBezTo>
                  <a:close/>
                  <a:moveTo>
                    <a:pt x="4460480" y="500689"/>
                  </a:moveTo>
                  <a:cubicBezTo>
                    <a:pt x="4480450" y="500689"/>
                    <a:pt x="4496788" y="517027"/>
                    <a:pt x="4496788" y="536998"/>
                  </a:cubicBezTo>
                  <a:cubicBezTo>
                    <a:pt x="4496788" y="556968"/>
                    <a:pt x="4480450" y="573306"/>
                    <a:pt x="4460480" y="573306"/>
                  </a:cubicBezTo>
                  <a:cubicBezTo>
                    <a:pt x="4440509" y="573306"/>
                    <a:pt x="4424172" y="556968"/>
                    <a:pt x="4424172" y="536998"/>
                  </a:cubicBezTo>
                  <a:cubicBezTo>
                    <a:pt x="4424172" y="517027"/>
                    <a:pt x="4440509" y="500689"/>
                    <a:pt x="4460480" y="500689"/>
                  </a:cubicBezTo>
                  <a:close/>
                  <a:moveTo>
                    <a:pt x="4614065" y="498513"/>
                  </a:moveTo>
                  <a:cubicBezTo>
                    <a:pt x="4635484" y="498513"/>
                    <a:pt x="4652912" y="515941"/>
                    <a:pt x="4652912" y="537364"/>
                  </a:cubicBezTo>
                  <a:cubicBezTo>
                    <a:pt x="4652912" y="558787"/>
                    <a:pt x="4635484" y="576215"/>
                    <a:pt x="4614065" y="576215"/>
                  </a:cubicBezTo>
                  <a:cubicBezTo>
                    <a:pt x="4592642" y="576215"/>
                    <a:pt x="4575214" y="558787"/>
                    <a:pt x="4575214" y="537364"/>
                  </a:cubicBezTo>
                  <a:cubicBezTo>
                    <a:pt x="4575214" y="515941"/>
                    <a:pt x="4592642" y="498513"/>
                    <a:pt x="4614065" y="498513"/>
                  </a:cubicBezTo>
                  <a:close/>
                  <a:moveTo>
                    <a:pt x="4768008" y="495970"/>
                  </a:moveTo>
                  <a:cubicBezTo>
                    <a:pt x="4790884" y="495970"/>
                    <a:pt x="4809036" y="514126"/>
                    <a:pt x="4809036" y="536998"/>
                  </a:cubicBezTo>
                  <a:cubicBezTo>
                    <a:pt x="4809036" y="559873"/>
                    <a:pt x="4790522" y="578029"/>
                    <a:pt x="4768008" y="578029"/>
                  </a:cubicBezTo>
                  <a:cubicBezTo>
                    <a:pt x="4745137" y="578029"/>
                    <a:pt x="4726981" y="559873"/>
                    <a:pt x="4726981" y="536998"/>
                  </a:cubicBezTo>
                  <a:cubicBezTo>
                    <a:pt x="4726981" y="514126"/>
                    <a:pt x="4745137" y="495970"/>
                    <a:pt x="4768008" y="495970"/>
                  </a:cubicBezTo>
                  <a:close/>
                  <a:moveTo>
                    <a:pt x="4921594" y="493428"/>
                  </a:moveTo>
                  <a:cubicBezTo>
                    <a:pt x="4945556" y="493428"/>
                    <a:pt x="4965164" y="513032"/>
                    <a:pt x="4965164" y="536998"/>
                  </a:cubicBezTo>
                  <a:cubicBezTo>
                    <a:pt x="4965164" y="560959"/>
                    <a:pt x="4945556" y="580568"/>
                    <a:pt x="4921594" y="580568"/>
                  </a:cubicBezTo>
                  <a:cubicBezTo>
                    <a:pt x="4897628" y="580568"/>
                    <a:pt x="4878024" y="560959"/>
                    <a:pt x="4878024" y="536998"/>
                  </a:cubicBezTo>
                  <a:cubicBezTo>
                    <a:pt x="4878024" y="513032"/>
                    <a:pt x="4897628" y="493428"/>
                    <a:pt x="4921594" y="493428"/>
                  </a:cubicBezTo>
                  <a:close/>
                  <a:moveTo>
                    <a:pt x="5075541" y="490889"/>
                  </a:moveTo>
                  <a:cubicBezTo>
                    <a:pt x="5100955" y="490889"/>
                    <a:pt x="5121654" y="511584"/>
                    <a:pt x="5121654" y="537002"/>
                  </a:cubicBezTo>
                  <a:cubicBezTo>
                    <a:pt x="5121654" y="562416"/>
                    <a:pt x="5100955" y="583110"/>
                    <a:pt x="5075541" y="583110"/>
                  </a:cubicBezTo>
                  <a:cubicBezTo>
                    <a:pt x="5050124" y="583110"/>
                    <a:pt x="5029428" y="562416"/>
                    <a:pt x="5029428" y="537002"/>
                  </a:cubicBezTo>
                  <a:cubicBezTo>
                    <a:pt x="5029428" y="511584"/>
                    <a:pt x="5050124" y="490889"/>
                    <a:pt x="5075541" y="490889"/>
                  </a:cubicBezTo>
                  <a:close/>
                  <a:moveTo>
                    <a:pt x="5229122" y="488709"/>
                  </a:moveTo>
                  <a:cubicBezTo>
                    <a:pt x="5255992" y="488709"/>
                    <a:pt x="5277778" y="510494"/>
                    <a:pt x="5277778" y="537364"/>
                  </a:cubicBezTo>
                  <a:cubicBezTo>
                    <a:pt x="5277778" y="564230"/>
                    <a:pt x="5255992" y="586015"/>
                    <a:pt x="5229122" y="586015"/>
                  </a:cubicBezTo>
                  <a:cubicBezTo>
                    <a:pt x="5202256" y="586015"/>
                    <a:pt x="5180472" y="564230"/>
                    <a:pt x="5180472" y="537364"/>
                  </a:cubicBezTo>
                  <a:cubicBezTo>
                    <a:pt x="5180472" y="510494"/>
                    <a:pt x="5202256" y="488709"/>
                    <a:pt x="5229122" y="488709"/>
                  </a:cubicBezTo>
                  <a:close/>
                  <a:moveTo>
                    <a:pt x="5383074" y="486166"/>
                  </a:moveTo>
                  <a:cubicBezTo>
                    <a:pt x="5411396" y="486166"/>
                    <a:pt x="5434268" y="509041"/>
                    <a:pt x="5434268" y="537360"/>
                  </a:cubicBezTo>
                  <a:cubicBezTo>
                    <a:pt x="5434268" y="565682"/>
                    <a:pt x="5411396" y="588554"/>
                    <a:pt x="5383074" y="588554"/>
                  </a:cubicBezTo>
                  <a:cubicBezTo>
                    <a:pt x="5354755" y="588554"/>
                    <a:pt x="5331880" y="565682"/>
                    <a:pt x="5331880" y="537360"/>
                  </a:cubicBezTo>
                  <a:cubicBezTo>
                    <a:pt x="5331880" y="509041"/>
                    <a:pt x="5354755" y="486166"/>
                    <a:pt x="5383074" y="486166"/>
                  </a:cubicBezTo>
                  <a:close/>
                  <a:moveTo>
                    <a:pt x="5536659" y="483624"/>
                  </a:moveTo>
                  <a:cubicBezTo>
                    <a:pt x="5566068" y="483624"/>
                    <a:pt x="5590034" y="507585"/>
                    <a:pt x="5590034" y="536998"/>
                  </a:cubicBezTo>
                  <a:cubicBezTo>
                    <a:pt x="5590034" y="566407"/>
                    <a:pt x="5566068" y="590372"/>
                    <a:pt x="5536659" y="590372"/>
                  </a:cubicBezTo>
                  <a:cubicBezTo>
                    <a:pt x="5507250" y="590372"/>
                    <a:pt x="5483285" y="566407"/>
                    <a:pt x="5483285" y="536998"/>
                  </a:cubicBezTo>
                  <a:cubicBezTo>
                    <a:pt x="5483285" y="507585"/>
                    <a:pt x="5507250" y="483624"/>
                    <a:pt x="5536659" y="483624"/>
                  </a:cubicBezTo>
                  <a:close/>
                  <a:moveTo>
                    <a:pt x="5690606" y="481085"/>
                  </a:moveTo>
                  <a:cubicBezTo>
                    <a:pt x="5721830" y="481085"/>
                    <a:pt x="5746882" y="506137"/>
                    <a:pt x="5746882" y="537364"/>
                  </a:cubicBezTo>
                  <a:cubicBezTo>
                    <a:pt x="5746882" y="568587"/>
                    <a:pt x="5721830" y="593643"/>
                    <a:pt x="5690606" y="593643"/>
                  </a:cubicBezTo>
                  <a:cubicBezTo>
                    <a:pt x="5659380" y="593643"/>
                    <a:pt x="5634328" y="568587"/>
                    <a:pt x="5634328" y="537364"/>
                  </a:cubicBezTo>
                  <a:cubicBezTo>
                    <a:pt x="5634328" y="506137"/>
                    <a:pt x="5659380" y="481085"/>
                    <a:pt x="5690606" y="481085"/>
                  </a:cubicBezTo>
                  <a:close/>
                  <a:moveTo>
                    <a:pt x="5844554" y="478542"/>
                  </a:moveTo>
                  <a:cubicBezTo>
                    <a:pt x="5877039" y="478542"/>
                    <a:pt x="5903372" y="504875"/>
                    <a:pt x="5903372" y="537364"/>
                  </a:cubicBezTo>
                  <a:cubicBezTo>
                    <a:pt x="5903372" y="569849"/>
                    <a:pt x="5877039" y="596181"/>
                    <a:pt x="5844554" y="596181"/>
                  </a:cubicBezTo>
                  <a:cubicBezTo>
                    <a:pt x="5812065" y="596181"/>
                    <a:pt x="5785732" y="569849"/>
                    <a:pt x="5785732" y="537364"/>
                  </a:cubicBezTo>
                  <a:cubicBezTo>
                    <a:pt x="5785732" y="504875"/>
                    <a:pt x="5812065" y="478542"/>
                    <a:pt x="5844554" y="478542"/>
                  </a:cubicBezTo>
                  <a:close/>
                  <a:moveTo>
                    <a:pt x="5998136" y="475638"/>
                  </a:moveTo>
                  <a:cubicBezTo>
                    <a:pt x="6032225" y="475638"/>
                    <a:pt x="6059862" y="503274"/>
                    <a:pt x="6059862" y="537364"/>
                  </a:cubicBezTo>
                  <a:cubicBezTo>
                    <a:pt x="6059862" y="571450"/>
                    <a:pt x="6032225" y="599086"/>
                    <a:pt x="5998136" y="599086"/>
                  </a:cubicBezTo>
                  <a:cubicBezTo>
                    <a:pt x="5964046" y="599086"/>
                    <a:pt x="5936413" y="571450"/>
                    <a:pt x="5936413" y="537364"/>
                  </a:cubicBezTo>
                  <a:cubicBezTo>
                    <a:pt x="5936413" y="503274"/>
                    <a:pt x="5964046" y="475638"/>
                    <a:pt x="5998136" y="475638"/>
                  </a:cubicBezTo>
                  <a:close/>
                  <a:moveTo>
                    <a:pt x="6152083" y="473095"/>
                  </a:moveTo>
                  <a:cubicBezTo>
                    <a:pt x="6187576" y="473095"/>
                    <a:pt x="6216348" y="501867"/>
                    <a:pt x="6216348" y="537360"/>
                  </a:cubicBezTo>
                  <a:cubicBezTo>
                    <a:pt x="6216348" y="572852"/>
                    <a:pt x="6187576" y="601625"/>
                    <a:pt x="6152083" y="601625"/>
                  </a:cubicBezTo>
                  <a:cubicBezTo>
                    <a:pt x="6116590" y="601625"/>
                    <a:pt x="6087818" y="572852"/>
                    <a:pt x="6087818" y="537360"/>
                  </a:cubicBezTo>
                  <a:cubicBezTo>
                    <a:pt x="6087818" y="501867"/>
                    <a:pt x="6116590" y="473095"/>
                    <a:pt x="6152083" y="473095"/>
                  </a:cubicBezTo>
                  <a:close/>
                  <a:moveTo>
                    <a:pt x="6305672" y="469828"/>
                  </a:moveTo>
                  <a:cubicBezTo>
                    <a:pt x="6342968" y="469828"/>
                    <a:pt x="6373204" y="500064"/>
                    <a:pt x="6373204" y="537364"/>
                  </a:cubicBezTo>
                  <a:cubicBezTo>
                    <a:pt x="6373204" y="574659"/>
                    <a:pt x="6342968" y="604895"/>
                    <a:pt x="6305672" y="604895"/>
                  </a:cubicBezTo>
                  <a:cubicBezTo>
                    <a:pt x="6268372" y="604895"/>
                    <a:pt x="6238136" y="574659"/>
                    <a:pt x="6238136" y="537364"/>
                  </a:cubicBezTo>
                  <a:cubicBezTo>
                    <a:pt x="6238136" y="500064"/>
                    <a:pt x="6268372" y="469828"/>
                    <a:pt x="6305672" y="469828"/>
                  </a:cubicBezTo>
                  <a:close/>
                  <a:moveTo>
                    <a:pt x="6459616" y="467286"/>
                  </a:moveTo>
                  <a:cubicBezTo>
                    <a:pt x="6498318" y="467286"/>
                    <a:pt x="6529694" y="498658"/>
                    <a:pt x="6529694" y="537360"/>
                  </a:cubicBezTo>
                  <a:cubicBezTo>
                    <a:pt x="6529694" y="576062"/>
                    <a:pt x="6498318" y="607434"/>
                    <a:pt x="6459616" y="607434"/>
                  </a:cubicBezTo>
                  <a:cubicBezTo>
                    <a:pt x="6420913" y="607434"/>
                    <a:pt x="6389542" y="576062"/>
                    <a:pt x="6389542" y="537360"/>
                  </a:cubicBezTo>
                  <a:cubicBezTo>
                    <a:pt x="6389542" y="498658"/>
                    <a:pt x="6420913" y="467286"/>
                    <a:pt x="6459616" y="467286"/>
                  </a:cubicBezTo>
                  <a:close/>
                  <a:moveTo>
                    <a:pt x="6613200" y="464381"/>
                  </a:moveTo>
                  <a:cubicBezTo>
                    <a:pt x="6653508" y="464381"/>
                    <a:pt x="6686180" y="497057"/>
                    <a:pt x="6686180" y="537360"/>
                  </a:cubicBezTo>
                  <a:cubicBezTo>
                    <a:pt x="6686180" y="577667"/>
                    <a:pt x="6653508" y="610339"/>
                    <a:pt x="6613200" y="610339"/>
                  </a:cubicBezTo>
                  <a:cubicBezTo>
                    <a:pt x="6572894" y="610339"/>
                    <a:pt x="6540222" y="577667"/>
                    <a:pt x="6540222" y="537360"/>
                  </a:cubicBezTo>
                  <a:cubicBezTo>
                    <a:pt x="6540222" y="497057"/>
                    <a:pt x="6572894" y="464381"/>
                    <a:pt x="6613200" y="464381"/>
                  </a:cubicBezTo>
                  <a:close/>
                  <a:moveTo>
                    <a:pt x="1077266" y="383050"/>
                  </a:moveTo>
                  <a:cubicBezTo>
                    <a:pt x="1077468" y="383050"/>
                    <a:pt x="1077628" y="383214"/>
                    <a:pt x="1077628" y="383412"/>
                  </a:cubicBezTo>
                  <a:cubicBezTo>
                    <a:pt x="1077628" y="383614"/>
                    <a:pt x="1077468" y="383778"/>
                    <a:pt x="1077266" y="383778"/>
                  </a:cubicBezTo>
                  <a:cubicBezTo>
                    <a:pt x="1077068" y="383778"/>
                    <a:pt x="1076904" y="383614"/>
                    <a:pt x="1076904" y="383412"/>
                  </a:cubicBezTo>
                  <a:cubicBezTo>
                    <a:pt x="1076904" y="383214"/>
                    <a:pt x="1077068" y="383050"/>
                    <a:pt x="1077266" y="383050"/>
                  </a:cubicBezTo>
                  <a:close/>
                  <a:moveTo>
                    <a:pt x="616148" y="383050"/>
                  </a:moveTo>
                  <a:cubicBezTo>
                    <a:pt x="616514" y="383050"/>
                    <a:pt x="616514" y="383050"/>
                    <a:pt x="616514" y="383412"/>
                  </a:cubicBezTo>
                  <a:cubicBezTo>
                    <a:pt x="616514" y="383775"/>
                    <a:pt x="616148" y="383775"/>
                    <a:pt x="616148" y="383775"/>
                  </a:cubicBezTo>
                  <a:cubicBezTo>
                    <a:pt x="615786" y="383775"/>
                    <a:pt x="615786" y="383775"/>
                    <a:pt x="615786" y="383412"/>
                  </a:cubicBezTo>
                  <a:cubicBezTo>
                    <a:pt x="615786" y="383050"/>
                    <a:pt x="615786" y="383050"/>
                    <a:pt x="616148" y="383050"/>
                  </a:cubicBezTo>
                  <a:close/>
                  <a:moveTo>
                    <a:pt x="462205" y="383050"/>
                  </a:moveTo>
                  <a:cubicBezTo>
                    <a:pt x="462567" y="383050"/>
                    <a:pt x="462567" y="383050"/>
                    <a:pt x="462567" y="383412"/>
                  </a:cubicBezTo>
                  <a:cubicBezTo>
                    <a:pt x="462567" y="383775"/>
                    <a:pt x="462205" y="383775"/>
                    <a:pt x="462205" y="383775"/>
                  </a:cubicBezTo>
                  <a:cubicBezTo>
                    <a:pt x="461842" y="383775"/>
                    <a:pt x="461842" y="383775"/>
                    <a:pt x="461842" y="383412"/>
                  </a:cubicBezTo>
                  <a:cubicBezTo>
                    <a:pt x="461842" y="383050"/>
                    <a:pt x="461842" y="383050"/>
                    <a:pt x="462205" y="383050"/>
                  </a:cubicBezTo>
                  <a:close/>
                  <a:moveTo>
                    <a:pt x="308623" y="382688"/>
                  </a:moveTo>
                  <a:cubicBezTo>
                    <a:pt x="309023" y="382688"/>
                    <a:pt x="309347" y="383012"/>
                    <a:pt x="309347" y="383416"/>
                  </a:cubicBezTo>
                  <a:cubicBezTo>
                    <a:pt x="309347" y="383817"/>
                    <a:pt x="309023" y="384141"/>
                    <a:pt x="308623" y="384141"/>
                  </a:cubicBezTo>
                  <a:cubicBezTo>
                    <a:pt x="308219" y="384141"/>
                    <a:pt x="307895" y="383817"/>
                    <a:pt x="307895" y="383416"/>
                  </a:cubicBezTo>
                  <a:cubicBezTo>
                    <a:pt x="307895" y="383012"/>
                    <a:pt x="308219" y="382688"/>
                    <a:pt x="308623" y="382688"/>
                  </a:cubicBezTo>
                  <a:close/>
                  <a:moveTo>
                    <a:pt x="1231213" y="381964"/>
                  </a:moveTo>
                  <a:cubicBezTo>
                    <a:pt x="1232014" y="381964"/>
                    <a:pt x="1232666" y="382616"/>
                    <a:pt x="1232666" y="383416"/>
                  </a:cubicBezTo>
                  <a:cubicBezTo>
                    <a:pt x="1232666" y="384217"/>
                    <a:pt x="1232014" y="384869"/>
                    <a:pt x="1231213" y="384869"/>
                  </a:cubicBezTo>
                  <a:cubicBezTo>
                    <a:pt x="1230409" y="384869"/>
                    <a:pt x="1229761" y="384217"/>
                    <a:pt x="1229761" y="383416"/>
                  </a:cubicBezTo>
                  <a:cubicBezTo>
                    <a:pt x="1229761" y="382616"/>
                    <a:pt x="1230409" y="381964"/>
                    <a:pt x="1231213" y="381964"/>
                  </a:cubicBezTo>
                  <a:close/>
                  <a:moveTo>
                    <a:pt x="154672" y="381964"/>
                  </a:moveTo>
                  <a:cubicBezTo>
                    <a:pt x="155396" y="381964"/>
                    <a:pt x="156124" y="382688"/>
                    <a:pt x="156124" y="383416"/>
                  </a:cubicBezTo>
                  <a:lnTo>
                    <a:pt x="155343" y="384197"/>
                  </a:lnTo>
                  <a:lnTo>
                    <a:pt x="153884" y="382752"/>
                  </a:lnTo>
                  <a:close/>
                  <a:moveTo>
                    <a:pt x="1384799" y="381236"/>
                  </a:moveTo>
                  <a:cubicBezTo>
                    <a:pt x="1386003" y="381236"/>
                    <a:pt x="1386979" y="382212"/>
                    <a:pt x="1386979" y="383416"/>
                  </a:cubicBezTo>
                  <a:cubicBezTo>
                    <a:pt x="1386979" y="384617"/>
                    <a:pt x="1386003" y="385593"/>
                    <a:pt x="1384799" y="385593"/>
                  </a:cubicBezTo>
                  <a:cubicBezTo>
                    <a:pt x="1383598" y="385593"/>
                    <a:pt x="1382622" y="384617"/>
                    <a:pt x="1382622" y="383416"/>
                  </a:cubicBezTo>
                  <a:cubicBezTo>
                    <a:pt x="1382622" y="382212"/>
                    <a:pt x="1383598" y="381236"/>
                    <a:pt x="1384799" y="381236"/>
                  </a:cubicBezTo>
                  <a:close/>
                  <a:moveTo>
                    <a:pt x="1538746" y="380508"/>
                  </a:moveTo>
                  <a:cubicBezTo>
                    <a:pt x="1540561" y="380508"/>
                    <a:pt x="1542013" y="381960"/>
                    <a:pt x="1542013" y="383775"/>
                  </a:cubicBezTo>
                  <a:cubicBezTo>
                    <a:pt x="1542013" y="385593"/>
                    <a:pt x="1540561" y="387045"/>
                    <a:pt x="1538746" y="387045"/>
                  </a:cubicBezTo>
                  <a:cubicBezTo>
                    <a:pt x="1536932" y="387045"/>
                    <a:pt x="1535479" y="385593"/>
                    <a:pt x="1535479" y="383775"/>
                  </a:cubicBezTo>
                  <a:cubicBezTo>
                    <a:pt x="1535479" y="381960"/>
                    <a:pt x="1536932" y="380508"/>
                    <a:pt x="1538746" y="380508"/>
                  </a:cubicBezTo>
                  <a:close/>
                  <a:moveTo>
                    <a:pt x="1692331" y="379055"/>
                  </a:moveTo>
                  <a:cubicBezTo>
                    <a:pt x="1694874" y="379055"/>
                    <a:pt x="1696688" y="380870"/>
                    <a:pt x="1696688" y="383412"/>
                  </a:cubicBezTo>
                  <a:cubicBezTo>
                    <a:pt x="1696688" y="385955"/>
                    <a:pt x="1694508" y="387770"/>
                    <a:pt x="1692331" y="387770"/>
                  </a:cubicBezTo>
                  <a:cubicBezTo>
                    <a:pt x="1689789" y="387770"/>
                    <a:pt x="1687974" y="385955"/>
                    <a:pt x="1687974" y="383412"/>
                  </a:cubicBezTo>
                  <a:cubicBezTo>
                    <a:pt x="1687974" y="380870"/>
                    <a:pt x="1689789" y="379055"/>
                    <a:pt x="1692331" y="379055"/>
                  </a:cubicBezTo>
                  <a:close/>
                  <a:moveTo>
                    <a:pt x="1846279" y="377607"/>
                  </a:moveTo>
                  <a:cubicBezTo>
                    <a:pt x="1849488" y="377607"/>
                    <a:pt x="1852088" y="380207"/>
                    <a:pt x="1852088" y="383416"/>
                  </a:cubicBezTo>
                  <a:cubicBezTo>
                    <a:pt x="1852088" y="386626"/>
                    <a:pt x="1849488" y="389226"/>
                    <a:pt x="1846279" y="389226"/>
                  </a:cubicBezTo>
                  <a:cubicBezTo>
                    <a:pt x="1843069" y="389226"/>
                    <a:pt x="1840469" y="386626"/>
                    <a:pt x="1840469" y="383416"/>
                  </a:cubicBezTo>
                  <a:cubicBezTo>
                    <a:pt x="1840469" y="380207"/>
                    <a:pt x="1843069" y="377607"/>
                    <a:pt x="1846279" y="377607"/>
                  </a:cubicBezTo>
                  <a:close/>
                  <a:moveTo>
                    <a:pt x="1999864" y="376151"/>
                  </a:moveTo>
                  <a:cubicBezTo>
                    <a:pt x="2003859" y="376151"/>
                    <a:pt x="2007126" y="379418"/>
                    <a:pt x="2007126" y="383412"/>
                  </a:cubicBezTo>
                  <a:cubicBezTo>
                    <a:pt x="2007126" y="387407"/>
                    <a:pt x="2003859" y="390674"/>
                    <a:pt x="1999864" y="390674"/>
                  </a:cubicBezTo>
                  <a:cubicBezTo>
                    <a:pt x="1995869" y="390674"/>
                    <a:pt x="1992602" y="387407"/>
                    <a:pt x="1992602" y="383412"/>
                  </a:cubicBezTo>
                  <a:cubicBezTo>
                    <a:pt x="1992602" y="379418"/>
                    <a:pt x="1995869" y="376151"/>
                    <a:pt x="1999864" y="376151"/>
                  </a:cubicBezTo>
                  <a:close/>
                  <a:moveTo>
                    <a:pt x="2153808" y="374336"/>
                  </a:moveTo>
                  <a:cubicBezTo>
                    <a:pt x="2158893" y="374336"/>
                    <a:pt x="2162888" y="378331"/>
                    <a:pt x="2162888" y="383412"/>
                  </a:cubicBezTo>
                  <a:cubicBezTo>
                    <a:pt x="2162888" y="388498"/>
                    <a:pt x="2158893" y="392492"/>
                    <a:pt x="2153808" y="392492"/>
                  </a:cubicBezTo>
                  <a:cubicBezTo>
                    <a:pt x="2148726" y="392492"/>
                    <a:pt x="2144731" y="388498"/>
                    <a:pt x="2144731" y="383412"/>
                  </a:cubicBezTo>
                  <a:cubicBezTo>
                    <a:pt x="2144731" y="378331"/>
                    <a:pt x="2148726" y="374336"/>
                    <a:pt x="2153808" y="374336"/>
                  </a:cubicBezTo>
                  <a:close/>
                  <a:moveTo>
                    <a:pt x="2307393" y="373246"/>
                  </a:moveTo>
                  <a:cubicBezTo>
                    <a:pt x="2312840" y="373246"/>
                    <a:pt x="2317559" y="377965"/>
                    <a:pt x="2317559" y="383412"/>
                  </a:cubicBezTo>
                  <a:cubicBezTo>
                    <a:pt x="2317559" y="388860"/>
                    <a:pt x="2313202" y="393579"/>
                    <a:pt x="2307393" y="393579"/>
                  </a:cubicBezTo>
                  <a:cubicBezTo>
                    <a:pt x="2301946" y="393579"/>
                    <a:pt x="2297226" y="388860"/>
                    <a:pt x="2297226" y="383412"/>
                  </a:cubicBezTo>
                  <a:cubicBezTo>
                    <a:pt x="2297226" y="377965"/>
                    <a:pt x="2301946" y="373246"/>
                    <a:pt x="2307393" y="373246"/>
                  </a:cubicBezTo>
                  <a:close/>
                  <a:moveTo>
                    <a:pt x="2461340" y="371432"/>
                  </a:moveTo>
                  <a:cubicBezTo>
                    <a:pt x="2467878" y="371432"/>
                    <a:pt x="2473325" y="376879"/>
                    <a:pt x="2473325" y="383412"/>
                  </a:cubicBezTo>
                  <a:cubicBezTo>
                    <a:pt x="2473325" y="389950"/>
                    <a:pt x="2467878" y="395397"/>
                    <a:pt x="2461340" y="395397"/>
                  </a:cubicBezTo>
                  <a:cubicBezTo>
                    <a:pt x="2454807" y="395397"/>
                    <a:pt x="2449359" y="389950"/>
                    <a:pt x="2449359" y="383412"/>
                  </a:cubicBezTo>
                  <a:cubicBezTo>
                    <a:pt x="2449359" y="376879"/>
                    <a:pt x="2454807" y="371432"/>
                    <a:pt x="2461340" y="371432"/>
                  </a:cubicBezTo>
                  <a:close/>
                  <a:moveTo>
                    <a:pt x="2614925" y="369617"/>
                  </a:moveTo>
                  <a:cubicBezTo>
                    <a:pt x="2622549" y="369617"/>
                    <a:pt x="2628721" y="375789"/>
                    <a:pt x="2628721" y="383416"/>
                  </a:cubicBezTo>
                  <a:cubicBezTo>
                    <a:pt x="2628721" y="391040"/>
                    <a:pt x="2622549" y="397212"/>
                    <a:pt x="2614925" y="397212"/>
                  </a:cubicBezTo>
                  <a:cubicBezTo>
                    <a:pt x="2607298" y="397212"/>
                    <a:pt x="2601126" y="391040"/>
                    <a:pt x="2601126" y="383416"/>
                  </a:cubicBezTo>
                  <a:cubicBezTo>
                    <a:pt x="2601126" y="375789"/>
                    <a:pt x="2607298" y="369617"/>
                    <a:pt x="2614925" y="369617"/>
                  </a:cubicBezTo>
                  <a:close/>
                  <a:moveTo>
                    <a:pt x="2768873" y="368165"/>
                  </a:moveTo>
                  <a:cubicBezTo>
                    <a:pt x="2777297" y="368165"/>
                    <a:pt x="2784124" y="374992"/>
                    <a:pt x="2784124" y="383416"/>
                  </a:cubicBezTo>
                  <a:cubicBezTo>
                    <a:pt x="2784124" y="391837"/>
                    <a:pt x="2777297" y="398664"/>
                    <a:pt x="2768873" y="398664"/>
                  </a:cubicBezTo>
                  <a:cubicBezTo>
                    <a:pt x="2760452" y="398664"/>
                    <a:pt x="2753625" y="391837"/>
                    <a:pt x="2753625" y="383416"/>
                  </a:cubicBezTo>
                  <a:cubicBezTo>
                    <a:pt x="2753625" y="374992"/>
                    <a:pt x="2760452" y="368165"/>
                    <a:pt x="2768873" y="368165"/>
                  </a:cubicBezTo>
                  <a:close/>
                  <a:moveTo>
                    <a:pt x="2922458" y="366350"/>
                  </a:moveTo>
                  <a:cubicBezTo>
                    <a:pt x="2931896" y="366350"/>
                    <a:pt x="2939524" y="373974"/>
                    <a:pt x="2939524" y="383416"/>
                  </a:cubicBezTo>
                  <a:cubicBezTo>
                    <a:pt x="2939524" y="392854"/>
                    <a:pt x="2931896" y="400478"/>
                    <a:pt x="2922458" y="400478"/>
                  </a:cubicBezTo>
                  <a:cubicBezTo>
                    <a:pt x="2913016" y="400478"/>
                    <a:pt x="2905392" y="392854"/>
                    <a:pt x="2905392" y="383416"/>
                  </a:cubicBezTo>
                  <a:cubicBezTo>
                    <a:pt x="2905392" y="373974"/>
                    <a:pt x="2913016" y="366350"/>
                    <a:pt x="2922458" y="366350"/>
                  </a:cubicBezTo>
                  <a:close/>
                  <a:moveTo>
                    <a:pt x="3076406" y="364170"/>
                  </a:moveTo>
                  <a:cubicBezTo>
                    <a:pt x="3087037" y="364170"/>
                    <a:pt x="3095652" y="372785"/>
                    <a:pt x="3095652" y="383412"/>
                  </a:cubicBezTo>
                  <a:cubicBezTo>
                    <a:pt x="3095652" y="394040"/>
                    <a:pt x="3087037" y="402659"/>
                    <a:pt x="3076406" y="402659"/>
                  </a:cubicBezTo>
                  <a:cubicBezTo>
                    <a:pt x="3065778" y="402659"/>
                    <a:pt x="3057163" y="394040"/>
                    <a:pt x="3057163" y="383412"/>
                  </a:cubicBezTo>
                  <a:cubicBezTo>
                    <a:pt x="3057163" y="372785"/>
                    <a:pt x="3065778" y="364170"/>
                    <a:pt x="3076406" y="364170"/>
                  </a:cubicBezTo>
                  <a:close/>
                  <a:moveTo>
                    <a:pt x="3230353" y="361993"/>
                  </a:moveTo>
                  <a:cubicBezTo>
                    <a:pt x="3242181" y="361993"/>
                    <a:pt x="3251776" y="371584"/>
                    <a:pt x="3251776" y="383416"/>
                  </a:cubicBezTo>
                  <a:cubicBezTo>
                    <a:pt x="3251776" y="395245"/>
                    <a:pt x="3242181" y="404839"/>
                    <a:pt x="3230353" y="404839"/>
                  </a:cubicBezTo>
                  <a:cubicBezTo>
                    <a:pt x="3218521" y="404839"/>
                    <a:pt x="3208930" y="395245"/>
                    <a:pt x="3208930" y="383416"/>
                  </a:cubicBezTo>
                  <a:cubicBezTo>
                    <a:pt x="3208930" y="371584"/>
                    <a:pt x="3218521" y="361993"/>
                    <a:pt x="3230353" y="361993"/>
                  </a:cubicBezTo>
                  <a:close/>
                  <a:moveTo>
                    <a:pt x="3383938" y="360541"/>
                  </a:moveTo>
                  <a:cubicBezTo>
                    <a:pt x="3396571" y="360541"/>
                    <a:pt x="3406810" y="370784"/>
                    <a:pt x="3406810" y="383416"/>
                  </a:cubicBezTo>
                  <a:cubicBezTo>
                    <a:pt x="3406810" y="396049"/>
                    <a:pt x="3396571" y="406292"/>
                    <a:pt x="3383938" y="406292"/>
                  </a:cubicBezTo>
                  <a:cubicBezTo>
                    <a:pt x="3371306" y="406292"/>
                    <a:pt x="3361063" y="396049"/>
                    <a:pt x="3361063" y="383416"/>
                  </a:cubicBezTo>
                  <a:cubicBezTo>
                    <a:pt x="3361063" y="370784"/>
                    <a:pt x="3371306" y="360541"/>
                    <a:pt x="3383938" y="360541"/>
                  </a:cubicBezTo>
                  <a:close/>
                  <a:moveTo>
                    <a:pt x="3537882" y="358361"/>
                  </a:moveTo>
                  <a:cubicBezTo>
                    <a:pt x="3551719" y="358361"/>
                    <a:pt x="3562937" y="369579"/>
                    <a:pt x="3562937" y="383412"/>
                  </a:cubicBezTo>
                  <a:cubicBezTo>
                    <a:pt x="3562937" y="397250"/>
                    <a:pt x="3551719" y="408468"/>
                    <a:pt x="3537882" y="408468"/>
                  </a:cubicBezTo>
                  <a:cubicBezTo>
                    <a:pt x="3524048" y="408468"/>
                    <a:pt x="3512830" y="397250"/>
                    <a:pt x="3512830" y="383412"/>
                  </a:cubicBezTo>
                  <a:cubicBezTo>
                    <a:pt x="3512830" y="369575"/>
                    <a:pt x="3524048" y="358361"/>
                    <a:pt x="3537882" y="358361"/>
                  </a:cubicBezTo>
                  <a:close/>
                  <a:moveTo>
                    <a:pt x="3691471" y="356184"/>
                  </a:moveTo>
                  <a:cubicBezTo>
                    <a:pt x="3706509" y="356184"/>
                    <a:pt x="3718699" y="368374"/>
                    <a:pt x="3718699" y="383416"/>
                  </a:cubicBezTo>
                  <a:cubicBezTo>
                    <a:pt x="3718699" y="398454"/>
                    <a:pt x="3706509" y="410648"/>
                    <a:pt x="3691471" y="410648"/>
                  </a:cubicBezTo>
                  <a:cubicBezTo>
                    <a:pt x="3676429" y="410648"/>
                    <a:pt x="3664238" y="398454"/>
                    <a:pt x="3664238" y="383416"/>
                  </a:cubicBezTo>
                  <a:cubicBezTo>
                    <a:pt x="3664238" y="368374"/>
                    <a:pt x="3676429" y="356184"/>
                    <a:pt x="3691471" y="356184"/>
                  </a:cubicBezTo>
                  <a:close/>
                  <a:moveTo>
                    <a:pt x="3845418" y="353642"/>
                  </a:moveTo>
                  <a:cubicBezTo>
                    <a:pt x="3861859" y="353642"/>
                    <a:pt x="3875189" y="366972"/>
                    <a:pt x="3875189" y="383416"/>
                  </a:cubicBezTo>
                  <a:cubicBezTo>
                    <a:pt x="3875189" y="399857"/>
                    <a:pt x="3861859" y="413187"/>
                    <a:pt x="3845418" y="413187"/>
                  </a:cubicBezTo>
                  <a:cubicBezTo>
                    <a:pt x="3828974" y="413187"/>
                    <a:pt x="3815644" y="399857"/>
                    <a:pt x="3815644" y="383416"/>
                  </a:cubicBezTo>
                  <a:cubicBezTo>
                    <a:pt x="3815644" y="366972"/>
                    <a:pt x="3828974" y="353642"/>
                    <a:pt x="3845418" y="353642"/>
                  </a:cubicBezTo>
                  <a:close/>
                  <a:moveTo>
                    <a:pt x="3999000" y="351465"/>
                  </a:moveTo>
                  <a:cubicBezTo>
                    <a:pt x="4016645" y="351465"/>
                    <a:pt x="4030951" y="365771"/>
                    <a:pt x="4030951" y="383416"/>
                  </a:cubicBezTo>
                  <a:cubicBezTo>
                    <a:pt x="4030951" y="401062"/>
                    <a:pt x="4016645" y="415368"/>
                    <a:pt x="3999000" y="415368"/>
                  </a:cubicBezTo>
                  <a:cubicBezTo>
                    <a:pt x="3981354" y="415368"/>
                    <a:pt x="3967048" y="401062"/>
                    <a:pt x="3967048" y="383416"/>
                  </a:cubicBezTo>
                  <a:cubicBezTo>
                    <a:pt x="3967048" y="365771"/>
                    <a:pt x="3981354" y="351465"/>
                    <a:pt x="3999000" y="351465"/>
                  </a:cubicBezTo>
                  <a:close/>
                  <a:moveTo>
                    <a:pt x="4152947" y="349647"/>
                  </a:moveTo>
                  <a:cubicBezTo>
                    <a:pt x="4171595" y="349647"/>
                    <a:pt x="4186716" y="364765"/>
                    <a:pt x="4186716" y="383412"/>
                  </a:cubicBezTo>
                  <a:cubicBezTo>
                    <a:pt x="4186716" y="402064"/>
                    <a:pt x="4171595" y="417182"/>
                    <a:pt x="4152947" y="417182"/>
                  </a:cubicBezTo>
                  <a:cubicBezTo>
                    <a:pt x="4134299" y="417182"/>
                    <a:pt x="4119181" y="402064"/>
                    <a:pt x="4119181" y="383412"/>
                  </a:cubicBezTo>
                  <a:cubicBezTo>
                    <a:pt x="4119181" y="364765"/>
                    <a:pt x="4134299" y="349647"/>
                    <a:pt x="4152947" y="349647"/>
                  </a:cubicBezTo>
                  <a:close/>
                  <a:moveTo>
                    <a:pt x="4306532" y="347108"/>
                  </a:moveTo>
                  <a:cubicBezTo>
                    <a:pt x="4326503" y="347108"/>
                    <a:pt x="4342840" y="363446"/>
                    <a:pt x="4342840" y="383416"/>
                  </a:cubicBezTo>
                  <a:cubicBezTo>
                    <a:pt x="4342840" y="403387"/>
                    <a:pt x="4326503" y="419725"/>
                    <a:pt x="4306532" y="419725"/>
                  </a:cubicBezTo>
                  <a:cubicBezTo>
                    <a:pt x="4286562" y="419725"/>
                    <a:pt x="4270224" y="403387"/>
                    <a:pt x="4270224" y="383416"/>
                  </a:cubicBezTo>
                  <a:cubicBezTo>
                    <a:pt x="4270224" y="363446"/>
                    <a:pt x="4286562" y="347108"/>
                    <a:pt x="4306532" y="347108"/>
                  </a:cubicBezTo>
                  <a:close/>
                  <a:moveTo>
                    <a:pt x="4460480" y="344565"/>
                  </a:moveTo>
                  <a:cubicBezTo>
                    <a:pt x="4481902" y="344565"/>
                    <a:pt x="4499326" y="361993"/>
                    <a:pt x="4499326" y="383416"/>
                  </a:cubicBezTo>
                  <a:cubicBezTo>
                    <a:pt x="4499326" y="404835"/>
                    <a:pt x="4481902" y="422267"/>
                    <a:pt x="4460480" y="422267"/>
                  </a:cubicBezTo>
                  <a:cubicBezTo>
                    <a:pt x="4439057" y="422267"/>
                    <a:pt x="4421629" y="404835"/>
                    <a:pt x="4421629" y="383416"/>
                  </a:cubicBezTo>
                  <a:cubicBezTo>
                    <a:pt x="4421629" y="361993"/>
                    <a:pt x="4439057" y="344565"/>
                    <a:pt x="4460480" y="344565"/>
                  </a:cubicBezTo>
                  <a:close/>
                  <a:moveTo>
                    <a:pt x="4614061" y="342385"/>
                  </a:moveTo>
                  <a:cubicBezTo>
                    <a:pt x="4636936" y="342385"/>
                    <a:pt x="4655092" y="360541"/>
                    <a:pt x="4655092" y="383412"/>
                  </a:cubicBezTo>
                  <a:cubicBezTo>
                    <a:pt x="4655092" y="406288"/>
                    <a:pt x="4636574" y="424440"/>
                    <a:pt x="4614061" y="424440"/>
                  </a:cubicBezTo>
                  <a:cubicBezTo>
                    <a:pt x="4591190" y="424440"/>
                    <a:pt x="4573034" y="406288"/>
                    <a:pt x="4573034" y="383412"/>
                  </a:cubicBezTo>
                  <a:cubicBezTo>
                    <a:pt x="4573034" y="360541"/>
                    <a:pt x="4591190" y="342385"/>
                    <a:pt x="4614061" y="342385"/>
                  </a:cubicBezTo>
                  <a:close/>
                  <a:moveTo>
                    <a:pt x="4768008" y="339842"/>
                  </a:moveTo>
                  <a:cubicBezTo>
                    <a:pt x="4791974" y="339842"/>
                    <a:pt x="4811578" y="359447"/>
                    <a:pt x="4811578" y="383412"/>
                  </a:cubicBezTo>
                  <a:cubicBezTo>
                    <a:pt x="4811578" y="407378"/>
                    <a:pt x="4791974" y="426982"/>
                    <a:pt x="4768008" y="426982"/>
                  </a:cubicBezTo>
                  <a:cubicBezTo>
                    <a:pt x="4744047" y="426982"/>
                    <a:pt x="4724438" y="407378"/>
                    <a:pt x="4724438" y="383412"/>
                  </a:cubicBezTo>
                  <a:cubicBezTo>
                    <a:pt x="4724438" y="359447"/>
                    <a:pt x="4744047" y="339842"/>
                    <a:pt x="4768008" y="339842"/>
                  </a:cubicBezTo>
                  <a:close/>
                  <a:moveTo>
                    <a:pt x="4921598" y="337304"/>
                  </a:moveTo>
                  <a:cubicBezTo>
                    <a:pt x="4947012" y="337304"/>
                    <a:pt x="4967710" y="357998"/>
                    <a:pt x="4967710" y="383416"/>
                  </a:cubicBezTo>
                  <a:cubicBezTo>
                    <a:pt x="4967710" y="408830"/>
                    <a:pt x="4947012" y="429529"/>
                    <a:pt x="4921598" y="429529"/>
                  </a:cubicBezTo>
                  <a:cubicBezTo>
                    <a:pt x="4896180" y="429529"/>
                    <a:pt x="4875485" y="408830"/>
                    <a:pt x="4875485" y="383416"/>
                  </a:cubicBezTo>
                  <a:cubicBezTo>
                    <a:pt x="4875485" y="357998"/>
                    <a:pt x="4896180" y="337304"/>
                    <a:pt x="4921598" y="337304"/>
                  </a:cubicBezTo>
                  <a:close/>
                  <a:moveTo>
                    <a:pt x="5075545" y="334761"/>
                  </a:moveTo>
                  <a:cubicBezTo>
                    <a:pt x="5102412" y="334761"/>
                    <a:pt x="5124196" y="356546"/>
                    <a:pt x="5124196" y="383416"/>
                  </a:cubicBezTo>
                  <a:cubicBezTo>
                    <a:pt x="5124196" y="410283"/>
                    <a:pt x="5102412" y="432068"/>
                    <a:pt x="5075545" y="432068"/>
                  </a:cubicBezTo>
                  <a:cubicBezTo>
                    <a:pt x="5048675" y="432068"/>
                    <a:pt x="5026890" y="410283"/>
                    <a:pt x="5026890" y="383416"/>
                  </a:cubicBezTo>
                  <a:cubicBezTo>
                    <a:pt x="5026890" y="356546"/>
                    <a:pt x="5048675" y="334761"/>
                    <a:pt x="5075545" y="334761"/>
                  </a:cubicBezTo>
                  <a:close/>
                  <a:moveTo>
                    <a:pt x="5229126" y="332219"/>
                  </a:moveTo>
                  <a:cubicBezTo>
                    <a:pt x="5257449" y="332219"/>
                    <a:pt x="5280324" y="355094"/>
                    <a:pt x="5280324" y="383412"/>
                  </a:cubicBezTo>
                  <a:cubicBezTo>
                    <a:pt x="5280324" y="411735"/>
                    <a:pt x="5257449" y="434610"/>
                    <a:pt x="5229126" y="434610"/>
                  </a:cubicBezTo>
                  <a:cubicBezTo>
                    <a:pt x="5200808" y="434610"/>
                    <a:pt x="5177932" y="411735"/>
                    <a:pt x="5177932" y="383412"/>
                  </a:cubicBezTo>
                  <a:cubicBezTo>
                    <a:pt x="5177932" y="355094"/>
                    <a:pt x="5200808" y="332219"/>
                    <a:pt x="5229126" y="332219"/>
                  </a:cubicBezTo>
                  <a:close/>
                  <a:moveTo>
                    <a:pt x="5383074" y="330042"/>
                  </a:moveTo>
                  <a:cubicBezTo>
                    <a:pt x="5412482" y="330042"/>
                    <a:pt x="5436448" y="354004"/>
                    <a:pt x="5436448" y="383416"/>
                  </a:cubicBezTo>
                  <a:cubicBezTo>
                    <a:pt x="5436448" y="412825"/>
                    <a:pt x="5412482" y="436787"/>
                    <a:pt x="5383074" y="436787"/>
                  </a:cubicBezTo>
                  <a:cubicBezTo>
                    <a:pt x="5353661" y="436787"/>
                    <a:pt x="5329700" y="412825"/>
                    <a:pt x="5329700" y="383416"/>
                  </a:cubicBezTo>
                  <a:cubicBezTo>
                    <a:pt x="5329700" y="354004"/>
                    <a:pt x="5353661" y="330042"/>
                    <a:pt x="5383074" y="330042"/>
                  </a:cubicBezTo>
                  <a:close/>
                  <a:moveTo>
                    <a:pt x="5536659" y="327137"/>
                  </a:moveTo>
                  <a:cubicBezTo>
                    <a:pt x="5567886" y="327137"/>
                    <a:pt x="5592938" y="352189"/>
                    <a:pt x="5592938" y="383416"/>
                  </a:cubicBezTo>
                  <a:cubicBezTo>
                    <a:pt x="5592938" y="414640"/>
                    <a:pt x="5567886" y="439691"/>
                    <a:pt x="5536659" y="439691"/>
                  </a:cubicBezTo>
                  <a:cubicBezTo>
                    <a:pt x="5505432" y="439691"/>
                    <a:pt x="5480380" y="414640"/>
                    <a:pt x="5480380" y="383416"/>
                  </a:cubicBezTo>
                  <a:cubicBezTo>
                    <a:pt x="5480380" y="352189"/>
                    <a:pt x="5505432" y="327137"/>
                    <a:pt x="5536659" y="327137"/>
                  </a:cubicBezTo>
                  <a:close/>
                  <a:moveTo>
                    <a:pt x="5690606" y="324595"/>
                  </a:moveTo>
                  <a:cubicBezTo>
                    <a:pt x="5723092" y="324595"/>
                    <a:pt x="5749424" y="350927"/>
                    <a:pt x="5749424" y="383416"/>
                  </a:cubicBezTo>
                  <a:cubicBezTo>
                    <a:pt x="5749424" y="415901"/>
                    <a:pt x="5723092" y="442234"/>
                    <a:pt x="5690606" y="442234"/>
                  </a:cubicBezTo>
                  <a:cubicBezTo>
                    <a:pt x="5658118" y="442234"/>
                    <a:pt x="5631785" y="415901"/>
                    <a:pt x="5631785" y="383416"/>
                  </a:cubicBezTo>
                  <a:cubicBezTo>
                    <a:pt x="5631785" y="350927"/>
                    <a:pt x="5658118" y="324595"/>
                    <a:pt x="5690606" y="324595"/>
                  </a:cubicBezTo>
                  <a:close/>
                  <a:moveTo>
                    <a:pt x="5844554" y="321690"/>
                  </a:moveTo>
                  <a:cubicBezTo>
                    <a:pt x="5878644" y="321690"/>
                    <a:pt x="5906276" y="349326"/>
                    <a:pt x="5906276" y="383416"/>
                  </a:cubicBezTo>
                  <a:cubicBezTo>
                    <a:pt x="5906276" y="417502"/>
                    <a:pt x="5878644" y="445139"/>
                    <a:pt x="5844554" y="445139"/>
                  </a:cubicBezTo>
                  <a:cubicBezTo>
                    <a:pt x="5810460" y="445139"/>
                    <a:pt x="5782828" y="417502"/>
                    <a:pt x="5782828" y="383416"/>
                  </a:cubicBezTo>
                  <a:cubicBezTo>
                    <a:pt x="5782828" y="349326"/>
                    <a:pt x="5810460" y="321690"/>
                    <a:pt x="5844554" y="321690"/>
                  </a:cubicBezTo>
                  <a:close/>
                  <a:moveTo>
                    <a:pt x="5998136" y="319148"/>
                  </a:moveTo>
                  <a:cubicBezTo>
                    <a:pt x="6033628" y="319148"/>
                    <a:pt x="6062404" y="347920"/>
                    <a:pt x="6062404" y="383412"/>
                  </a:cubicBezTo>
                  <a:cubicBezTo>
                    <a:pt x="6062404" y="418905"/>
                    <a:pt x="6033628" y="447681"/>
                    <a:pt x="5998136" y="447681"/>
                  </a:cubicBezTo>
                  <a:cubicBezTo>
                    <a:pt x="5962643" y="447681"/>
                    <a:pt x="5933870" y="418905"/>
                    <a:pt x="5933870" y="383412"/>
                  </a:cubicBezTo>
                  <a:cubicBezTo>
                    <a:pt x="5933870" y="347920"/>
                    <a:pt x="5962643" y="319148"/>
                    <a:pt x="5998136" y="319148"/>
                  </a:cubicBezTo>
                  <a:close/>
                  <a:moveTo>
                    <a:pt x="6152086" y="315881"/>
                  </a:moveTo>
                  <a:cubicBezTo>
                    <a:pt x="6189382" y="315881"/>
                    <a:pt x="6219618" y="346117"/>
                    <a:pt x="6219618" y="383416"/>
                  </a:cubicBezTo>
                  <a:cubicBezTo>
                    <a:pt x="6219618" y="420712"/>
                    <a:pt x="6189382" y="450948"/>
                    <a:pt x="6152086" y="450948"/>
                  </a:cubicBezTo>
                  <a:cubicBezTo>
                    <a:pt x="6114791" y="450948"/>
                    <a:pt x="6084551" y="420712"/>
                    <a:pt x="6084551" y="383416"/>
                  </a:cubicBezTo>
                  <a:cubicBezTo>
                    <a:pt x="6084551" y="346117"/>
                    <a:pt x="6114791" y="315881"/>
                    <a:pt x="6152086" y="315881"/>
                  </a:cubicBezTo>
                  <a:close/>
                  <a:moveTo>
                    <a:pt x="6305668" y="313338"/>
                  </a:moveTo>
                  <a:cubicBezTo>
                    <a:pt x="6344370" y="313338"/>
                    <a:pt x="6375746" y="344710"/>
                    <a:pt x="6375746" y="383412"/>
                  </a:cubicBezTo>
                  <a:cubicBezTo>
                    <a:pt x="6375746" y="422115"/>
                    <a:pt x="6344370" y="453490"/>
                    <a:pt x="6305668" y="453490"/>
                  </a:cubicBezTo>
                  <a:cubicBezTo>
                    <a:pt x="6266970" y="453490"/>
                    <a:pt x="6235594" y="422115"/>
                    <a:pt x="6235594" y="383412"/>
                  </a:cubicBezTo>
                  <a:cubicBezTo>
                    <a:pt x="6235594" y="344710"/>
                    <a:pt x="6266970" y="313338"/>
                    <a:pt x="6305668" y="313338"/>
                  </a:cubicBezTo>
                  <a:close/>
                  <a:moveTo>
                    <a:pt x="6459616" y="310434"/>
                  </a:moveTo>
                  <a:cubicBezTo>
                    <a:pt x="6499922" y="310434"/>
                    <a:pt x="6532598" y="343109"/>
                    <a:pt x="6532598" y="383412"/>
                  </a:cubicBezTo>
                  <a:cubicBezTo>
                    <a:pt x="6532598" y="423719"/>
                    <a:pt x="6499922" y="456395"/>
                    <a:pt x="6459616" y="456395"/>
                  </a:cubicBezTo>
                  <a:cubicBezTo>
                    <a:pt x="6419312" y="456395"/>
                    <a:pt x="6386636" y="423719"/>
                    <a:pt x="6386636" y="383412"/>
                  </a:cubicBezTo>
                  <a:cubicBezTo>
                    <a:pt x="6386636" y="343109"/>
                    <a:pt x="6419312" y="310434"/>
                    <a:pt x="6459616" y="310434"/>
                  </a:cubicBezTo>
                  <a:close/>
                  <a:moveTo>
                    <a:pt x="6613200" y="307891"/>
                  </a:moveTo>
                  <a:cubicBezTo>
                    <a:pt x="6654956" y="307891"/>
                    <a:pt x="6688722" y="341657"/>
                    <a:pt x="6688722" y="383412"/>
                  </a:cubicBezTo>
                  <a:cubicBezTo>
                    <a:pt x="6688722" y="425168"/>
                    <a:pt x="6654956" y="458934"/>
                    <a:pt x="6613200" y="458934"/>
                  </a:cubicBezTo>
                  <a:cubicBezTo>
                    <a:pt x="6571449" y="458934"/>
                    <a:pt x="6537680" y="425168"/>
                    <a:pt x="6537680" y="383412"/>
                  </a:cubicBezTo>
                  <a:cubicBezTo>
                    <a:pt x="6537680" y="341657"/>
                    <a:pt x="6571449" y="307891"/>
                    <a:pt x="6613200" y="307891"/>
                  </a:cubicBezTo>
                  <a:close/>
                  <a:moveTo>
                    <a:pt x="923681" y="229469"/>
                  </a:moveTo>
                  <a:cubicBezTo>
                    <a:pt x="924043" y="229469"/>
                    <a:pt x="924043" y="229469"/>
                    <a:pt x="924043" y="229831"/>
                  </a:cubicBezTo>
                  <a:cubicBezTo>
                    <a:pt x="924043" y="230193"/>
                    <a:pt x="923681" y="230193"/>
                    <a:pt x="923681" y="230193"/>
                  </a:cubicBezTo>
                  <a:cubicBezTo>
                    <a:pt x="923319" y="230193"/>
                    <a:pt x="923319" y="230193"/>
                    <a:pt x="923319" y="229831"/>
                  </a:cubicBezTo>
                  <a:cubicBezTo>
                    <a:pt x="923319" y="229469"/>
                    <a:pt x="923319" y="229469"/>
                    <a:pt x="923681" y="229469"/>
                  </a:cubicBezTo>
                  <a:close/>
                  <a:moveTo>
                    <a:pt x="462205" y="229469"/>
                  </a:moveTo>
                  <a:cubicBezTo>
                    <a:pt x="462567" y="229469"/>
                    <a:pt x="462567" y="229469"/>
                    <a:pt x="462567" y="229831"/>
                  </a:cubicBezTo>
                  <a:cubicBezTo>
                    <a:pt x="462567" y="230193"/>
                    <a:pt x="462205" y="230193"/>
                    <a:pt x="462205" y="230193"/>
                  </a:cubicBezTo>
                  <a:cubicBezTo>
                    <a:pt x="461842" y="230193"/>
                    <a:pt x="461842" y="230193"/>
                    <a:pt x="461842" y="229831"/>
                  </a:cubicBezTo>
                  <a:cubicBezTo>
                    <a:pt x="461842" y="229469"/>
                    <a:pt x="461842" y="229469"/>
                    <a:pt x="462205" y="229469"/>
                  </a:cubicBezTo>
                  <a:close/>
                  <a:moveTo>
                    <a:pt x="308257" y="229469"/>
                  </a:moveTo>
                  <a:cubicBezTo>
                    <a:pt x="308619" y="229469"/>
                    <a:pt x="308619" y="229469"/>
                    <a:pt x="308619" y="229831"/>
                  </a:cubicBezTo>
                  <a:cubicBezTo>
                    <a:pt x="308619" y="230193"/>
                    <a:pt x="308257" y="230193"/>
                    <a:pt x="308257" y="230193"/>
                  </a:cubicBezTo>
                  <a:cubicBezTo>
                    <a:pt x="307895" y="230193"/>
                    <a:pt x="307895" y="230193"/>
                    <a:pt x="307895" y="229831"/>
                  </a:cubicBezTo>
                  <a:cubicBezTo>
                    <a:pt x="307895" y="229469"/>
                    <a:pt x="307895" y="229469"/>
                    <a:pt x="308257" y="229469"/>
                  </a:cubicBezTo>
                  <a:close/>
                  <a:moveTo>
                    <a:pt x="154676" y="229103"/>
                  </a:moveTo>
                  <a:cubicBezTo>
                    <a:pt x="155076" y="229103"/>
                    <a:pt x="155400" y="229427"/>
                    <a:pt x="155400" y="229827"/>
                  </a:cubicBezTo>
                  <a:cubicBezTo>
                    <a:pt x="155400" y="230231"/>
                    <a:pt x="155076" y="230555"/>
                    <a:pt x="154676" y="230555"/>
                  </a:cubicBezTo>
                  <a:cubicBezTo>
                    <a:pt x="154272" y="230555"/>
                    <a:pt x="153948" y="230231"/>
                    <a:pt x="153948" y="229827"/>
                  </a:cubicBezTo>
                  <a:cubicBezTo>
                    <a:pt x="153948" y="229427"/>
                    <a:pt x="154272" y="229103"/>
                    <a:pt x="154676" y="229103"/>
                  </a:cubicBezTo>
                  <a:close/>
                  <a:moveTo>
                    <a:pt x="725" y="229103"/>
                  </a:moveTo>
                  <a:cubicBezTo>
                    <a:pt x="1090" y="229103"/>
                    <a:pt x="1453" y="229465"/>
                    <a:pt x="1453" y="229827"/>
                  </a:cubicBezTo>
                  <a:cubicBezTo>
                    <a:pt x="1453" y="230193"/>
                    <a:pt x="725" y="230555"/>
                    <a:pt x="725" y="230555"/>
                  </a:cubicBezTo>
                  <a:cubicBezTo>
                    <a:pt x="362" y="230555"/>
                    <a:pt x="0" y="230193"/>
                    <a:pt x="0" y="229827"/>
                  </a:cubicBezTo>
                  <a:cubicBezTo>
                    <a:pt x="0" y="229465"/>
                    <a:pt x="362" y="229103"/>
                    <a:pt x="725" y="229103"/>
                  </a:cubicBezTo>
                  <a:close/>
                  <a:moveTo>
                    <a:pt x="1077266" y="228379"/>
                  </a:moveTo>
                  <a:cubicBezTo>
                    <a:pt x="1078067" y="228379"/>
                    <a:pt x="1078718" y="229031"/>
                    <a:pt x="1078718" y="229831"/>
                  </a:cubicBezTo>
                  <a:cubicBezTo>
                    <a:pt x="1078718" y="230631"/>
                    <a:pt x="1078067" y="231283"/>
                    <a:pt x="1077266" y="231283"/>
                  </a:cubicBezTo>
                  <a:cubicBezTo>
                    <a:pt x="1076462" y="231283"/>
                    <a:pt x="1075814" y="230631"/>
                    <a:pt x="1075814" y="229831"/>
                  </a:cubicBezTo>
                  <a:cubicBezTo>
                    <a:pt x="1075814" y="229031"/>
                    <a:pt x="1076462" y="228379"/>
                    <a:pt x="1077266" y="228379"/>
                  </a:cubicBezTo>
                  <a:close/>
                  <a:moveTo>
                    <a:pt x="1231217" y="227651"/>
                  </a:moveTo>
                  <a:cubicBezTo>
                    <a:pt x="1232418" y="227651"/>
                    <a:pt x="1233394" y="228626"/>
                    <a:pt x="1233394" y="229827"/>
                  </a:cubicBezTo>
                  <a:cubicBezTo>
                    <a:pt x="1233394" y="231032"/>
                    <a:pt x="1232418" y="232008"/>
                    <a:pt x="1231217" y="232008"/>
                  </a:cubicBezTo>
                  <a:cubicBezTo>
                    <a:pt x="1230013" y="232008"/>
                    <a:pt x="1229037" y="231032"/>
                    <a:pt x="1229037" y="229827"/>
                  </a:cubicBezTo>
                  <a:cubicBezTo>
                    <a:pt x="1229037" y="228626"/>
                    <a:pt x="1230013" y="227651"/>
                    <a:pt x="1231217" y="227651"/>
                  </a:cubicBezTo>
                  <a:close/>
                  <a:moveTo>
                    <a:pt x="1384799" y="226560"/>
                  </a:moveTo>
                  <a:cubicBezTo>
                    <a:pt x="1386617" y="226560"/>
                    <a:pt x="1388069" y="228013"/>
                    <a:pt x="1388069" y="229827"/>
                  </a:cubicBezTo>
                  <a:cubicBezTo>
                    <a:pt x="1388069" y="231645"/>
                    <a:pt x="1386617" y="233098"/>
                    <a:pt x="1384799" y="233098"/>
                  </a:cubicBezTo>
                  <a:cubicBezTo>
                    <a:pt x="1382984" y="233098"/>
                    <a:pt x="1381532" y="231645"/>
                    <a:pt x="1381532" y="229827"/>
                  </a:cubicBezTo>
                  <a:cubicBezTo>
                    <a:pt x="1381532" y="228013"/>
                    <a:pt x="1382984" y="226560"/>
                    <a:pt x="1384799" y="226560"/>
                  </a:cubicBezTo>
                  <a:close/>
                  <a:moveTo>
                    <a:pt x="1538746" y="225108"/>
                  </a:moveTo>
                  <a:cubicBezTo>
                    <a:pt x="1541285" y="225108"/>
                    <a:pt x="1543103" y="226923"/>
                    <a:pt x="1543103" y="229465"/>
                  </a:cubicBezTo>
                  <a:cubicBezTo>
                    <a:pt x="1543103" y="232008"/>
                    <a:pt x="1540923" y="233822"/>
                    <a:pt x="1538746" y="233822"/>
                  </a:cubicBezTo>
                  <a:cubicBezTo>
                    <a:pt x="1536204" y="233822"/>
                    <a:pt x="1534389" y="232008"/>
                    <a:pt x="1534389" y="229465"/>
                  </a:cubicBezTo>
                  <a:cubicBezTo>
                    <a:pt x="1534389" y="226923"/>
                    <a:pt x="1536204" y="225108"/>
                    <a:pt x="1538746" y="225108"/>
                  </a:cubicBezTo>
                  <a:close/>
                  <a:moveTo>
                    <a:pt x="1692331" y="224022"/>
                  </a:moveTo>
                  <a:cubicBezTo>
                    <a:pt x="1695541" y="224022"/>
                    <a:pt x="1698141" y="226621"/>
                    <a:pt x="1698141" y="229831"/>
                  </a:cubicBezTo>
                  <a:cubicBezTo>
                    <a:pt x="1698141" y="233041"/>
                    <a:pt x="1695541" y="235640"/>
                    <a:pt x="1692331" y="235640"/>
                  </a:cubicBezTo>
                  <a:cubicBezTo>
                    <a:pt x="1689122" y="235640"/>
                    <a:pt x="1686522" y="233041"/>
                    <a:pt x="1686522" y="229831"/>
                  </a:cubicBezTo>
                  <a:cubicBezTo>
                    <a:pt x="1686522" y="226621"/>
                    <a:pt x="1689122" y="224022"/>
                    <a:pt x="1692331" y="224022"/>
                  </a:cubicBezTo>
                  <a:close/>
                  <a:moveTo>
                    <a:pt x="1846279" y="222569"/>
                  </a:moveTo>
                  <a:cubicBezTo>
                    <a:pt x="1850274" y="222569"/>
                    <a:pt x="1853540" y="225836"/>
                    <a:pt x="1853540" y="229831"/>
                  </a:cubicBezTo>
                  <a:cubicBezTo>
                    <a:pt x="1853540" y="233826"/>
                    <a:pt x="1850274" y="237093"/>
                    <a:pt x="1846279" y="237093"/>
                  </a:cubicBezTo>
                  <a:cubicBezTo>
                    <a:pt x="1842284" y="237093"/>
                    <a:pt x="1839017" y="233826"/>
                    <a:pt x="1839017" y="229831"/>
                  </a:cubicBezTo>
                  <a:cubicBezTo>
                    <a:pt x="1839017" y="225836"/>
                    <a:pt x="1842284" y="222569"/>
                    <a:pt x="1846279" y="222569"/>
                  </a:cubicBezTo>
                  <a:close/>
                  <a:moveTo>
                    <a:pt x="1999860" y="220389"/>
                  </a:moveTo>
                  <a:cubicBezTo>
                    <a:pt x="2004945" y="220389"/>
                    <a:pt x="2008940" y="224384"/>
                    <a:pt x="2008940" y="229465"/>
                  </a:cubicBezTo>
                  <a:cubicBezTo>
                    <a:pt x="2008940" y="234550"/>
                    <a:pt x="2004945" y="238545"/>
                    <a:pt x="1999860" y="238545"/>
                  </a:cubicBezTo>
                  <a:cubicBezTo>
                    <a:pt x="1994779" y="238545"/>
                    <a:pt x="1990784" y="234550"/>
                    <a:pt x="1990784" y="229465"/>
                  </a:cubicBezTo>
                  <a:cubicBezTo>
                    <a:pt x="1990784" y="224384"/>
                    <a:pt x="1994779" y="220389"/>
                    <a:pt x="1999860" y="220389"/>
                  </a:cubicBezTo>
                  <a:close/>
                  <a:moveTo>
                    <a:pt x="2153811" y="219665"/>
                  </a:moveTo>
                  <a:cubicBezTo>
                    <a:pt x="2159259" y="219665"/>
                    <a:pt x="2163978" y="224384"/>
                    <a:pt x="2163978" y="229831"/>
                  </a:cubicBezTo>
                  <a:cubicBezTo>
                    <a:pt x="2163978" y="235278"/>
                    <a:pt x="2159621" y="239997"/>
                    <a:pt x="2153811" y="239997"/>
                  </a:cubicBezTo>
                  <a:cubicBezTo>
                    <a:pt x="2148364" y="239997"/>
                    <a:pt x="2143645" y="235278"/>
                    <a:pt x="2143645" y="229831"/>
                  </a:cubicBezTo>
                  <a:cubicBezTo>
                    <a:pt x="2143645" y="224384"/>
                    <a:pt x="2148364" y="219665"/>
                    <a:pt x="2153811" y="219665"/>
                  </a:cubicBezTo>
                  <a:close/>
                  <a:moveTo>
                    <a:pt x="2307393" y="217484"/>
                  </a:moveTo>
                  <a:cubicBezTo>
                    <a:pt x="2313930" y="217484"/>
                    <a:pt x="2319377" y="222931"/>
                    <a:pt x="2319377" y="229465"/>
                  </a:cubicBezTo>
                  <a:cubicBezTo>
                    <a:pt x="2319377" y="236002"/>
                    <a:pt x="2313930" y="241450"/>
                    <a:pt x="2307393" y="241450"/>
                  </a:cubicBezTo>
                  <a:cubicBezTo>
                    <a:pt x="2300859" y="241450"/>
                    <a:pt x="2295412" y="236002"/>
                    <a:pt x="2295412" y="229465"/>
                  </a:cubicBezTo>
                  <a:cubicBezTo>
                    <a:pt x="2295412" y="222931"/>
                    <a:pt x="2300859" y="217484"/>
                    <a:pt x="2307393" y="217484"/>
                  </a:cubicBezTo>
                  <a:close/>
                  <a:moveTo>
                    <a:pt x="2461344" y="215670"/>
                  </a:moveTo>
                  <a:cubicBezTo>
                    <a:pt x="2468968" y="215670"/>
                    <a:pt x="2475139" y="221841"/>
                    <a:pt x="2475139" y="229469"/>
                  </a:cubicBezTo>
                  <a:cubicBezTo>
                    <a:pt x="2475139" y="237093"/>
                    <a:pt x="2468968" y="243264"/>
                    <a:pt x="2461344" y="243264"/>
                  </a:cubicBezTo>
                  <a:cubicBezTo>
                    <a:pt x="2453716" y="243264"/>
                    <a:pt x="2447545" y="237093"/>
                    <a:pt x="2447545" y="229469"/>
                  </a:cubicBezTo>
                  <a:cubicBezTo>
                    <a:pt x="2447545" y="221841"/>
                    <a:pt x="2453716" y="215670"/>
                    <a:pt x="2461344" y="215670"/>
                  </a:cubicBezTo>
                  <a:close/>
                  <a:moveTo>
                    <a:pt x="2614925" y="214580"/>
                  </a:moveTo>
                  <a:cubicBezTo>
                    <a:pt x="2623350" y="214580"/>
                    <a:pt x="2630177" y="221407"/>
                    <a:pt x="2630177" y="229827"/>
                  </a:cubicBezTo>
                  <a:cubicBezTo>
                    <a:pt x="2630177" y="238252"/>
                    <a:pt x="2623350" y="245079"/>
                    <a:pt x="2614925" y="245079"/>
                  </a:cubicBezTo>
                  <a:cubicBezTo>
                    <a:pt x="2606505" y="245079"/>
                    <a:pt x="2599678" y="238252"/>
                    <a:pt x="2599678" y="229827"/>
                  </a:cubicBezTo>
                  <a:cubicBezTo>
                    <a:pt x="2599678" y="221407"/>
                    <a:pt x="2606505" y="214580"/>
                    <a:pt x="2614925" y="214580"/>
                  </a:cubicBezTo>
                  <a:close/>
                  <a:moveTo>
                    <a:pt x="2768873" y="212765"/>
                  </a:moveTo>
                  <a:cubicBezTo>
                    <a:pt x="2778311" y="212765"/>
                    <a:pt x="2785939" y="220389"/>
                    <a:pt x="2785939" y="229831"/>
                  </a:cubicBezTo>
                  <a:cubicBezTo>
                    <a:pt x="2785939" y="239269"/>
                    <a:pt x="2778311" y="246897"/>
                    <a:pt x="2768873" y="246897"/>
                  </a:cubicBezTo>
                  <a:cubicBezTo>
                    <a:pt x="2759431" y="246897"/>
                    <a:pt x="2751807" y="239269"/>
                    <a:pt x="2751807" y="229831"/>
                  </a:cubicBezTo>
                  <a:cubicBezTo>
                    <a:pt x="2751807" y="220389"/>
                    <a:pt x="2759431" y="212765"/>
                    <a:pt x="2768873" y="212765"/>
                  </a:cubicBezTo>
                  <a:close/>
                  <a:moveTo>
                    <a:pt x="2922458" y="210589"/>
                  </a:moveTo>
                  <a:cubicBezTo>
                    <a:pt x="2933086" y="210589"/>
                    <a:pt x="2941700" y="219203"/>
                    <a:pt x="2941700" y="229831"/>
                  </a:cubicBezTo>
                  <a:cubicBezTo>
                    <a:pt x="2941700" y="240459"/>
                    <a:pt x="2933086" y="249077"/>
                    <a:pt x="2922458" y="249077"/>
                  </a:cubicBezTo>
                  <a:cubicBezTo>
                    <a:pt x="2911830" y="249077"/>
                    <a:pt x="2903216" y="240459"/>
                    <a:pt x="2903216" y="229831"/>
                  </a:cubicBezTo>
                  <a:cubicBezTo>
                    <a:pt x="2903216" y="219203"/>
                    <a:pt x="2911830" y="210589"/>
                    <a:pt x="2922458" y="210589"/>
                  </a:cubicBezTo>
                  <a:close/>
                  <a:moveTo>
                    <a:pt x="3076406" y="208408"/>
                  </a:moveTo>
                  <a:cubicBezTo>
                    <a:pt x="3088234" y="208408"/>
                    <a:pt x="3097828" y="217999"/>
                    <a:pt x="3097828" y="229831"/>
                  </a:cubicBezTo>
                  <a:cubicBezTo>
                    <a:pt x="3097828" y="241659"/>
                    <a:pt x="3088234" y="251254"/>
                    <a:pt x="3076406" y="251254"/>
                  </a:cubicBezTo>
                  <a:cubicBezTo>
                    <a:pt x="3064573" y="251254"/>
                    <a:pt x="3054982" y="241659"/>
                    <a:pt x="3054982" y="229831"/>
                  </a:cubicBezTo>
                  <a:cubicBezTo>
                    <a:pt x="3054982" y="217999"/>
                    <a:pt x="3064573" y="208408"/>
                    <a:pt x="3076406" y="208408"/>
                  </a:cubicBezTo>
                  <a:close/>
                  <a:moveTo>
                    <a:pt x="3230353" y="206956"/>
                  </a:moveTo>
                  <a:cubicBezTo>
                    <a:pt x="3242986" y="206956"/>
                    <a:pt x="3253228" y="217198"/>
                    <a:pt x="3253228" y="229831"/>
                  </a:cubicBezTo>
                  <a:cubicBezTo>
                    <a:pt x="3253228" y="242464"/>
                    <a:pt x="3242986" y="252706"/>
                    <a:pt x="3230353" y="252706"/>
                  </a:cubicBezTo>
                  <a:cubicBezTo>
                    <a:pt x="3217720" y="252706"/>
                    <a:pt x="3207478" y="242464"/>
                    <a:pt x="3207478" y="229831"/>
                  </a:cubicBezTo>
                  <a:cubicBezTo>
                    <a:pt x="3207478" y="217198"/>
                    <a:pt x="3217720" y="206956"/>
                    <a:pt x="3230353" y="206956"/>
                  </a:cubicBezTo>
                  <a:close/>
                  <a:moveTo>
                    <a:pt x="3383934" y="204779"/>
                  </a:moveTo>
                  <a:cubicBezTo>
                    <a:pt x="3397772" y="204779"/>
                    <a:pt x="3408986" y="215994"/>
                    <a:pt x="3408986" y="229831"/>
                  </a:cubicBezTo>
                  <a:cubicBezTo>
                    <a:pt x="3408986" y="243668"/>
                    <a:pt x="3397772" y="254887"/>
                    <a:pt x="3383934" y="254887"/>
                  </a:cubicBezTo>
                  <a:cubicBezTo>
                    <a:pt x="3370097" y="254887"/>
                    <a:pt x="3358882" y="243668"/>
                    <a:pt x="3358882" y="229831"/>
                  </a:cubicBezTo>
                  <a:cubicBezTo>
                    <a:pt x="3358882" y="215994"/>
                    <a:pt x="3370097" y="204779"/>
                    <a:pt x="3383934" y="204779"/>
                  </a:cubicBezTo>
                  <a:close/>
                  <a:moveTo>
                    <a:pt x="3537886" y="202599"/>
                  </a:moveTo>
                  <a:cubicBezTo>
                    <a:pt x="3552924" y="202599"/>
                    <a:pt x="3565118" y="214789"/>
                    <a:pt x="3565118" y="229831"/>
                  </a:cubicBezTo>
                  <a:cubicBezTo>
                    <a:pt x="3565118" y="244869"/>
                    <a:pt x="3552924" y="257059"/>
                    <a:pt x="3537886" y="257059"/>
                  </a:cubicBezTo>
                  <a:cubicBezTo>
                    <a:pt x="3522844" y="257059"/>
                    <a:pt x="3510653" y="244869"/>
                    <a:pt x="3510653" y="229831"/>
                  </a:cubicBezTo>
                  <a:cubicBezTo>
                    <a:pt x="3510653" y="214789"/>
                    <a:pt x="3522844" y="202599"/>
                    <a:pt x="3537886" y="202599"/>
                  </a:cubicBezTo>
                  <a:close/>
                  <a:moveTo>
                    <a:pt x="3691467" y="200056"/>
                  </a:moveTo>
                  <a:cubicBezTo>
                    <a:pt x="3707912" y="200056"/>
                    <a:pt x="3721242" y="213386"/>
                    <a:pt x="3721242" y="229827"/>
                  </a:cubicBezTo>
                  <a:cubicBezTo>
                    <a:pt x="3721242" y="246272"/>
                    <a:pt x="3707912" y="259602"/>
                    <a:pt x="3691467" y="259602"/>
                  </a:cubicBezTo>
                  <a:cubicBezTo>
                    <a:pt x="3675026" y="259602"/>
                    <a:pt x="3661696" y="246272"/>
                    <a:pt x="3661696" y="229827"/>
                  </a:cubicBezTo>
                  <a:cubicBezTo>
                    <a:pt x="3661696" y="213386"/>
                    <a:pt x="3675026" y="200056"/>
                    <a:pt x="3691467" y="200056"/>
                  </a:cubicBezTo>
                  <a:close/>
                  <a:moveTo>
                    <a:pt x="3845414" y="197880"/>
                  </a:moveTo>
                  <a:cubicBezTo>
                    <a:pt x="3863060" y="197880"/>
                    <a:pt x="3877366" y="212186"/>
                    <a:pt x="3877366" y="229831"/>
                  </a:cubicBezTo>
                  <a:cubicBezTo>
                    <a:pt x="3877366" y="247476"/>
                    <a:pt x="3863060" y="261782"/>
                    <a:pt x="3845414" y="261782"/>
                  </a:cubicBezTo>
                  <a:cubicBezTo>
                    <a:pt x="3827769" y="261782"/>
                    <a:pt x="3813463" y="247476"/>
                    <a:pt x="3813463" y="229831"/>
                  </a:cubicBezTo>
                  <a:cubicBezTo>
                    <a:pt x="3813463" y="212186"/>
                    <a:pt x="3827769" y="197880"/>
                    <a:pt x="3845414" y="197880"/>
                  </a:cubicBezTo>
                  <a:close/>
                  <a:moveTo>
                    <a:pt x="3999000" y="196065"/>
                  </a:moveTo>
                  <a:cubicBezTo>
                    <a:pt x="4017651" y="196065"/>
                    <a:pt x="4032769" y="211183"/>
                    <a:pt x="4032769" y="229831"/>
                  </a:cubicBezTo>
                  <a:cubicBezTo>
                    <a:pt x="4032769" y="248483"/>
                    <a:pt x="4017651" y="263597"/>
                    <a:pt x="3999000" y="263597"/>
                  </a:cubicBezTo>
                  <a:cubicBezTo>
                    <a:pt x="3980352" y="263597"/>
                    <a:pt x="3965234" y="248483"/>
                    <a:pt x="3965234" y="229831"/>
                  </a:cubicBezTo>
                  <a:cubicBezTo>
                    <a:pt x="3965234" y="211183"/>
                    <a:pt x="3980352" y="196065"/>
                    <a:pt x="3999000" y="196065"/>
                  </a:cubicBezTo>
                  <a:close/>
                  <a:moveTo>
                    <a:pt x="4152947" y="193523"/>
                  </a:moveTo>
                  <a:cubicBezTo>
                    <a:pt x="4173002" y="193523"/>
                    <a:pt x="4189256" y="209777"/>
                    <a:pt x="4189256" y="229831"/>
                  </a:cubicBezTo>
                  <a:cubicBezTo>
                    <a:pt x="4189256" y="249885"/>
                    <a:pt x="4173002" y="266139"/>
                    <a:pt x="4152947" y="266139"/>
                  </a:cubicBezTo>
                  <a:cubicBezTo>
                    <a:pt x="4132896" y="266139"/>
                    <a:pt x="4116638" y="249885"/>
                    <a:pt x="4116638" y="229831"/>
                  </a:cubicBezTo>
                  <a:cubicBezTo>
                    <a:pt x="4116638" y="209777"/>
                    <a:pt x="4132896" y="193523"/>
                    <a:pt x="4152947" y="193523"/>
                  </a:cubicBezTo>
                  <a:close/>
                  <a:moveTo>
                    <a:pt x="4306532" y="190618"/>
                  </a:moveTo>
                  <a:cubicBezTo>
                    <a:pt x="4327952" y="190618"/>
                    <a:pt x="4345380" y="208046"/>
                    <a:pt x="4345380" y="229469"/>
                  </a:cubicBezTo>
                  <a:cubicBezTo>
                    <a:pt x="4345380" y="250888"/>
                    <a:pt x="4327952" y="268316"/>
                    <a:pt x="4306532" y="268316"/>
                  </a:cubicBezTo>
                  <a:cubicBezTo>
                    <a:pt x="4285110" y="268316"/>
                    <a:pt x="4267682" y="250888"/>
                    <a:pt x="4267682" y="229469"/>
                  </a:cubicBezTo>
                  <a:cubicBezTo>
                    <a:pt x="4267682" y="208046"/>
                    <a:pt x="4285110" y="190618"/>
                    <a:pt x="4306532" y="190618"/>
                  </a:cubicBezTo>
                  <a:close/>
                  <a:moveTo>
                    <a:pt x="4460480" y="188438"/>
                  </a:moveTo>
                  <a:cubicBezTo>
                    <a:pt x="4483355" y="188438"/>
                    <a:pt x="4501511" y="206594"/>
                    <a:pt x="4501511" y="229465"/>
                  </a:cubicBezTo>
                  <a:cubicBezTo>
                    <a:pt x="4501511" y="252340"/>
                    <a:pt x="4482993" y="270493"/>
                    <a:pt x="4460480" y="270493"/>
                  </a:cubicBezTo>
                  <a:cubicBezTo>
                    <a:pt x="4437608" y="270493"/>
                    <a:pt x="4419452" y="252340"/>
                    <a:pt x="4419452" y="229465"/>
                  </a:cubicBezTo>
                  <a:cubicBezTo>
                    <a:pt x="4419452" y="206594"/>
                    <a:pt x="4437608" y="188438"/>
                    <a:pt x="4460480" y="188438"/>
                  </a:cubicBezTo>
                  <a:close/>
                  <a:moveTo>
                    <a:pt x="4614065" y="185895"/>
                  </a:moveTo>
                  <a:cubicBezTo>
                    <a:pt x="4638026" y="185895"/>
                    <a:pt x="4657635" y="205500"/>
                    <a:pt x="4657635" y="229465"/>
                  </a:cubicBezTo>
                  <a:cubicBezTo>
                    <a:pt x="4657635" y="253430"/>
                    <a:pt x="4638026" y="273035"/>
                    <a:pt x="4614065" y="273035"/>
                  </a:cubicBezTo>
                  <a:cubicBezTo>
                    <a:pt x="4590100" y="273035"/>
                    <a:pt x="4570495" y="253430"/>
                    <a:pt x="4570495" y="229465"/>
                  </a:cubicBezTo>
                  <a:cubicBezTo>
                    <a:pt x="4570495" y="205500"/>
                    <a:pt x="4590100" y="185895"/>
                    <a:pt x="4614065" y="185895"/>
                  </a:cubicBezTo>
                  <a:close/>
                  <a:moveTo>
                    <a:pt x="4768012" y="183356"/>
                  </a:moveTo>
                  <a:cubicBezTo>
                    <a:pt x="4793426" y="183356"/>
                    <a:pt x="4814125" y="204051"/>
                    <a:pt x="4814125" y="229469"/>
                  </a:cubicBezTo>
                  <a:cubicBezTo>
                    <a:pt x="4814125" y="254883"/>
                    <a:pt x="4793426" y="275581"/>
                    <a:pt x="4768012" y="275581"/>
                  </a:cubicBezTo>
                  <a:cubicBezTo>
                    <a:pt x="4742594" y="275581"/>
                    <a:pt x="4721900" y="254883"/>
                    <a:pt x="4721900" y="229469"/>
                  </a:cubicBezTo>
                  <a:cubicBezTo>
                    <a:pt x="4721900" y="204051"/>
                    <a:pt x="4742594" y="183356"/>
                    <a:pt x="4768012" y="183356"/>
                  </a:cubicBezTo>
                  <a:close/>
                  <a:moveTo>
                    <a:pt x="4921594" y="180814"/>
                  </a:moveTo>
                  <a:cubicBezTo>
                    <a:pt x="4948464" y="180814"/>
                    <a:pt x="4970249" y="202599"/>
                    <a:pt x="4970249" y="229469"/>
                  </a:cubicBezTo>
                  <a:cubicBezTo>
                    <a:pt x="4970249" y="256335"/>
                    <a:pt x="4948464" y="278120"/>
                    <a:pt x="4921594" y="278120"/>
                  </a:cubicBezTo>
                  <a:cubicBezTo>
                    <a:pt x="4894728" y="278120"/>
                    <a:pt x="4872942" y="256335"/>
                    <a:pt x="4872942" y="229469"/>
                  </a:cubicBezTo>
                  <a:cubicBezTo>
                    <a:pt x="4872942" y="202599"/>
                    <a:pt x="4894728" y="180814"/>
                    <a:pt x="4921594" y="180814"/>
                  </a:cubicBezTo>
                  <a:close/>
                  <a:moveTo>
                    <a:pt x="5075541" y="178637"/>
                  </a:moveTo>
                  <a:cubicBezTo>
                    <a:pt x="5103864" y="178637"/>
                    <a:pt x="5126735" y="201512"/>
                    <a:pt x="5126735" y="229831"/>
                  </a:cubicBezTo>
                  <a:cubicBezTo>
                    <a:pt x="5126735" y="258153"/>
                    <a:pt x="5103864" y="281025"/>
                    <a:pt x="5075541" y="281025"/>
                  </a:cubicBezTo>
                  <a:cubicBezTo>
                    <a:pt x="5047222" y="281025"/>
                    <a:pt x="5024348" y="258153"/>
                    <a:pt x="5024348" y="229831"/>
                  </a:cubicBezTo>
                  <a:cubicBezTo>
                    <a:pt x="5024348" y="201512"/>
                    <a:pt x="5047222" y="178637"/>
                    <a:pt x="5075541" y="178637"/>
                  </a:cubicBezTo>
                  <a:close/>
                  <a:moveTo>
                    <a:pt x="5229126" y="176095"/>
                  </a:moveTo>
                  <a:cubicBezTo>
                    <a:pt x="5258536" y="176095"/>
                    <a:pt x="5282500" y="200060"/>
                    <a:pt x="5282500" y="229469"/>
                  </a:cubicBezTo>
                  <a:cubicBezTo>
                    <a:pt x="5282500" y="258878"/>
                    <a:pt x="5258536" y="282843"/>
                    <a:pt x="5229126" y="282843"/>
                  </a:cubicBezTo>
                  <a:cubicBezTo>
                    <a:pt x="5199718" y="282843"/>
                    <a:pt x="5175752" y="258878"/>
                    <a:pt x="5175752" y="229469"/>
                  </a:cubicBezTo>
                  <a:cubicBezTo>
                    <a:pt x="5175752" y="200060"/>
                    <a:pt x="5199718" y="176095"/>
                    <a:pt x="5229126" y="176095"/>
                  </a:cubicBezTo>
                  <a:close/>
                  <a:moveTo>
                    <a:pt x="5383074" y="173552"/>
                  </a:moveTo>
                  <a:cubicBezTo>
                    <a:pt x="5414297" y="173552"/>
                    <a:pt x="5439352" y="198604"/>
                    <a:pt x="5439352" y="229831"/>
                  </a:cubicBezTo>
                  <a:cubicBezTo>
                    <a:pt x="5439352" y="261054"/>
                    <a:pt x="5414297" y="286110"/>
                    <a:pt x="5383074" y="286110"/>
                  </a:cubicBezTo>
                  <a:cubicBezTo>
                    <a:pt x="5351847" y="286110"/>
                    <a:pt x="5326795" y="261054"/>
                    <a:pt x="5326795" y="229831"/>
                  </a:cubicBezTo>
                  <a:cubicBezTo>
                    <a:pt x="5326795" y="198604"/>
                    <a:pt x="5351847" y="173552"/>
                    <a:pt x="5383074" y="173552"/>
                  </a:cubicBezTo>
                  <a:close/>
                  <a:moveTo>
                    <a:pt x="5536659" y="171010"/>
                  </a:moveTo>
                  <a:cubicBezTo>
                    <a:pt x="5569144" y="171010"/>
                    <a:pt x="5595476" y="197342"/>
                    <a:pt x="5595476" y="229827"/>
                  </a:cubicBezTo>
                  <a:cubicBezTo>
                    <a:pt x="5595476" y="262316"/>
                    <a:pt x="5569144" y="288649"/>
                    <a:pt x="5536659" y="288649"/>
                  </a:cubicBezTo>
                  <a:cubicBezTo>
                    <a:pt x="5504174" y="288649"/>
                    <a:pt x="5477838" y="262316"/>
                    <a:pt x="5477838" y="229827"/>
                  </a:cubicBezTo>
                  <a:cubicBezTo>
                    <a:pt x="5477838" y="197342"/>
                    <a:pt x="5504174" y="171010"/>
                    <a:pt x="5536659" y="171010"/>
                  </a:cubicBezTo>
                  <a:close/>
                  <a:moveTo>
                    <a:pt x="5690606" y="168105"/>
                  </a:moveTo>
                  <a:cubicBezTo>
                    <a:pt x="5724734" y="168105"/>
                    <a:pt x="5752329" y="195699"/>
                    <a:pt x="5752329" y="229827"/>
                  </a:cubicBezTo>
                  <a:cubicBezTo>
                    <a:pt x="5752329" y="263959"/>
                    <a:pt x="5724734" y="291553"/>
                    <a:pt x="5690606" y="291553"/>
                  </a:cubicBezTo>
                  <a:cubicBezTo>
                    <a:pt x="5656475" y="291553"/>
                    <a:pt x="5628880" y="263959"/>
                    <a:pt x="5628880" y="229827"/>
                  </a:cubicBezTo>
                  <a:cubicBezTo>
                    <a:pt x="5628880" y="195699"/>
                    <a:pt x="5656475" y="168105"/>
                    <a:pt x="5690606" y="168105"/>
                  </a:cubicBezTo>
                  <a:close/>
                  <a:moveTo>
                    <a:pt x="5844554" y="165566"/>
                  </a:moveTo>
                  <a:cubicBezTo>
                    <a:pt x="5880046" y="165566"/>
                    <a:pt x="5908822" y="194338"/>
                    <a:pt x="5908822" y="229831"/>
                  </a:cubicBezTo>
                  <a:cubicBezTo>
                    <a:pt x="5908822" y="265324"/>
                    <a:pt x="5880046" y="294100"/>
                    <a:pt x="5844554" y="294100"/>
                  </a:cubicBezTo>
                  <a:cubicBezTo>
                    <a:pt x="5809062" y="294100"/>
                    <a:pt x="5780289" y="265324"/>
                    <a:pt x="5780289" y="229831"/>
                  </a:cubicBezTo>
                  <a:cubicBezTo>
                    <a:pt x="5780289" y="194338"/>
                    <a:pt x="5809062" y="165566"/>
                    <a:pt x="5844554" y="165566"/>
                  </a:cubicBezTo>
                  <a:close/>
                  <a:moveTo>
                    <a:pt x="5998136" y="162296"/>
                  </a:moveTo>
                  <a:cubicBezTo>
                    <a:pt x="6035435" y="162296"/>
                    <a:pt x="6065671" y="192532"/>
                    <a:pt x="6065671" y="229831"/>
                  </a:cubicBezTo>
                  <a:cubicBezTo>
                    <a:pt x="6065671" y="267127"/>
                    <a:pt x="6035435" y="297363"/>
                    <a:pt x="5998136" y="297363"/>
                  </a:cubicBezTo>
                  <a:cubicBezTo>
                    <a:pt x="5960840" y="297363"/>
                    <a:pt x="5930604" y="267127"/>
                    <a:pt x="5930604" y="229827"/>
                  </a:cubicBezTo>
                  <a:cubicBezTo>
                    <a:pt x="5930604" y="192532"/>
                    <a:pt x="5960840" y="162296"/>
                    <a:pt x="5998136" y="162296"/>
                  </a:cubicBezTo>
                  <a:close/>
                  <a:moveTo>
                    <a:pt x="6152086" y="159757"/>
                  </a:moveTo>
                  <a:cubicBezTo>
                    <a:pt x="6190785" y="159757"/>
                    <a:pt x="6222160" y="191129"/>
                    <a:pt x="6222160" y="229831"/>
                  </a:cubicBezTo>
                  <a:cubicBezTo>
                    <a:pt x="6222160" y="268533"/>
                    <a:pt x="6190785" y="299909"/>
                    <a:pt x="6152086" y="299909"/>
                  </a:cubicBezTo>
                  <a:cubicBezTo>
                    <a:pt x="6113384" y="299909"/>
                    <a:pt x="6082008" y="268533"/>
                    <a:pt x="6082008" y="229831"/>
                  </a:cubicBezTo>
                  <a:cubicBezTo>
                    <a:pt x="6082008" y="191129"/>
                    <a:pt x="6113384" y="159757"/>
                    <a:pt x="6152086" y="159757"/>
                  </a:cubicBezTo>
                  <a:close/>
                  <a:moveTo>
                    <a:pt x="6305668" y="156852"/>
                  </a:moveTo>
                  <a:cubicBezTo>
                    <a:pt x="6345975" y="156852"/>
                    <a:pt x="6378650" y="189528"/>
                    <a:pt x="6378650" y="229831"/>
                  </a:cubicBezTo>
                  <a:cubicBezTo>
                    <a:pt x="6378650" y="270138"/>
                    <a:pt x="6345975" y="302814"/>
                    <a:pt x="6305668" y="302814"/>
                  </a:cubicBezTo>
                  <a:cubicBezTo>
                    <a:pt x="6265365" y="302814"/>
                    <a:pt x="6232689" y="270138"/>
                    <a:pt x="6232689" y="229831"/>
                  </a:cubicBezTo>
                  <a:cubicBezTo>
                    <a:pt x="6232689" y="189528"/>
                    <a:pt x="6265365" y="156852"/>
                    <a:pt x="6305668" y="156852"/>
                  </a:cubicBezTo>
                  <a:close/>
                  <a:moveTo>
                    <a:pt x="6613200" y="153947"/>
                  </a:moveTo>
                  <a:cubicBezTo>
                    <a:pt x="6655112" y="153947"/>
                    <a:pt x="6689088" y="187923"/>
                    <a:pt x="6689088" y="229831"/>
                  </a:cubicBezTo>
                  <a:cubicBezTo>
                    <a:pt x="6689088" y="271743"/>
                    <a:pt x="6655112" y="305718"/>
                    <a:pt x="6613200" y="305718"/>
                  </a:cubicBezTo>
                  <a:cubicBezTo>
                    <a:pt x="6571289" y="305718"/>
                    <a:pt x="6537317" y="271743"/>
                    <a:pt x="6537317" y="229831"/>
                  </a:cubicBezTo>
                  <a:cubicBezTo>
                    <a:pt x="6537317" y="187923"/>
                    <a:pt x="6571289" y="153947"/>
                    <a:pt x="6613200" y="153947"/>
                  </a:cubicBezTo>
                  <a:close/>
                  <a:moveTo>
                    <a:pt x="6459616" y="153944"/>
                  </a:moveTo>
                  <a:cubicBezTo>
                    <a:pt x="6501371" y="153944"/>
                    <a:pt x="6535137" y="187710"/>
                    <a:pt x="6535137" y="229465"/>
                  </a:cubicBezTo>
                  <a:cubicBezTo>
                    <a:pt x="6535137" y="271221"/>
                    <a:pt x="6501371" y="304986"/>
                    <a:pt x="6459616" y="304986"/>
                  </a:cubicBezTo>
                  <a:cubicBezTo>
                    <a:pt x="6417860" y="304986"/>
                    <a:pt x="6384094" y="271221"/>
                    <a:pt x="6384094" y="229465"/>
                  </a:cubicBezTo>
                  <a:cubicBezTo>
                    <a:pt x="6384094" y="187710"/>
                    <a:pt x="6417860" y="153944"/>
                    <a:pt x="6459616" y="153944"/>
                  </a:cubicBezTo>
                  <a:close/>
                  <a:moveTo>
                    <a:pt x="923681" y="75518"/>
                  </a:moveTo>
                  <a:cubicBezTo>
                    <a:pt x="924043" y="75518"/>
                    <a:pt x="924043" y="75518"/>
                    <a:pt x="924043" y="75880"/>
                  </a:cubicBezTo>
                  <a:cubicBezTo>
                    <a:pt x="924043" y="76242"/>
                    <a:pt x="923681" y="76242"/>
                    <a:pt x="923681" y="76242"/>
                  </a:cubicBezTo>
                  <a:cubicBezTo>
                    <a:pt x="923319" y="76242"/>
                    <a:pt x="923319" y="76242"/>
                    <a:pt x="923319" y="75880"/>
                  </a:cubicBezTo>
                  <a:cubicBezTo>
                    <a:pt x="923319" y="75518"/>
                    <a:pt x="923319" y="75518"/>
                    <a:pt x="923681" y="75518"/>
                  </a:cubicBezTo>
                  <a:close/>
                  <a:moveTo>
                    <a:pt x="462205" y="75518"/>
                  </a:moveTo>
                  <a:cubicBezTo>
                    <a:pt x="462567" y="75518"/>
                    <a:pt x="462567" y="75518"/>
                    <a:pt x="462567" y="75880"/>
                  </a:cubicBezTo>
                  <a:cubicBezTo>
                    <a:pt x="462567" y="76242"/>
                    <a:pt x="462205" y="76242"/>
                    <a:pt x="462205" y="76242"/>
                  </a:cubicBezTo>
                  <a:cubicBezTo>
                    <a:pt x="461842" y="76242"/>
                    <a:pt x="461842" y="76242"/>
                    <a:pt x="461842" y="75880"/>
                  </a:cubicBezTo>
                  <a:cubicBezTo>
                    <a:pt x="461842" y="75518"/>
                    <a:pt x="461842" y="75518"/>
                    <a:pt x="462205" y="75518"/>
                  </a:cubicBezTo>
                  <a:close/>
                  <a:moveTo>
                    <a:pt x="308257" y="75518"/>
                  </a:moveTo>
                  <a:cubicBezTo>
                    <a:pt x="308619" y="75518"/>
                    <a:pt x="308619" y="75518"/>
                    <a:pt x="308619" y="75880"/>
                  </a:cubicBezTo>
                  <a:cubicBezTo>
                    <a:pt x="308619" y="76242"/>
                    <a:pt x="308257" y="76242"/>
                    <a:pt x="308257" y="76242"/>
                  </a:cubicBezTo>
                  <a:cubicBezTo>
                    <a:pt x="307895" y="76242"/>
                    <a:pt x="307895" y="76242"/>
                    <a:pt x="307895" y="75880"/>
                  </a:cubicBezTo>
                  <a:cubicBezTo>
                    <a:pt x="307895" y="75518"/>
                    <a:pt x="307895" y="75518"/>
                    <a:pt x="308257" y="75518"/>
                  </a:cubicBezTo>
                  <a:close/>
                  <a:moveTo>
                    <a:pt x="154676" y="75155"/>
                  </a:moveTo>
                  <a:cubicBezTo>
                    <a:pt x="155076" y="75155"/>
                    <a:pt x="155400" y="75480"/>
                    <a:pt x="155400" y="75880"/>
                  </a:cubicBezTo>
                  <a:cubicBezTo>
                    <a:pt x="155400" y="76284"/>
                    <a:pt x="155076" y="76608"/>
                    <a:pt x="154676" y="76608"/>
                  </a:cubicBezTo>
                  <a:cubicBezTo>
                    <a:pt x="154272" y="76608"/>
                    <a:pt x="153948" y="76284"/>
                    <a:pt x="153948" y="75880"/>
                  </a:cubicBezTo>
                  <a:cubicBezTo>
                    <a:pt x="153948" y="75480"/>
                    <a:pt x="154272" y="75155"/>
                    <a:pt x="154676" y="75155"/>
                  </a:cubicBezTo>
                  <a:close/>
                  <a:moveTo>
                    <a:pt x="725" y="75155"/>
                  </a:moveTo>
                  <a:cubicBezTo>
                    <a:pt x="1090" y="75155"/>
                    <a:pt x="1453" y="75518"/>
                    <a:pt x="1453" y="75880"/>
                  </a:cubicBezTo>
                  <a:cubicBezTo>
                    <a:pt x="1453" y="76246"/>
                    <a:pt x="725" y="76608"/>
                    <a:pt x="725" y="76608"/>
                  </a:cubicBezTo>
                  <a:cubicBezTo>
                    <a:pt x="362" y="76608"/>
                    <a:pt x="0" y="76246"/>
                    <a:pt x="0" y="75880"/>
                  </a:cubicBezTo>
                  <a:cubicBezTo>
                    <a:pt x="0" y="75518"/>
                    <a:pt x="362" y="75155"/>
                    <a:pt x="725" y="75155"/>
                  </a:cubicBezTo>
                  <a:close/>
                  <a:moveTo>
                    <a:pt x="1077266" y="74431"/>
                  </a:moveTo>
                  <a:cubicBezTo>
                    <a:pt x="1078067" y="74431"/>
                    <a:pt x="1078718" y="75083"/>
                    <a:pt x="1078718" y="75884"/>
                  </a:cubicBezTo>
                  <a:cubicBezTo>
                    <a:pt x="1078718" y="76684"/>
                    <a:pt x="1078067" y="77336"/>
                    <a:pt x="1077266" y="77336"/>
                  </a:cubicBezTo>
                  <a:cubicBezTo>
                    <a:pt x="1076462" y="77336"/>
                    <a:pt x="1075814" y="76684"/>
                    <a:pt x="1075814" y="75884"/>
                  </a:cubicBezTo>
                  <a:cubicBezTo>
                    <a:pt x="1075814" y="75083"/>
                    <a:pt x="1076462" y="74431"/>
                    <a:pt x="1077266" y="74431"/>
                  </a:cubicBezTo>
                  <a:close/>
                  <a:moveTo>
                    <a:pt x="1231217" y="73703"/>
                  </a:moveTo>
                  <a:cubicBezTo>
                    <a:pt x="1232418" y="73703"/>
                    <a:pt x="1233394" y="74679"/>
                    <a:pt x="1233394" y="75880"/>
                  </a:cubicBezTo>
                  <a:cubicBezTo>
                    <a:pt x="1233394" y="77084"/>
                    <a:pt x="1232418" y="78060"/>
                    <a:pt x="1231217" y="78060"/>
                  </a:cubicBezTo>
                  <a:cubicBezTo>
                    <a:pt x="1230013" y="78060"/>
                    <a:pt x="1229037" y="77084"/>
                    <a:pt x="1229037" y="75880"/>
                  </a:cubicBezTo>
                  <a:cubicBezTo>
                    <a:pt x="1229037" y="74679"/>
                    <a:pt x="1230013" y="73703"/>
                    <a:pt x="1231217" y="73703"/>
                  </a:cubicBezTo>
                  <a:close/>
                  <a:moveTo>
                    <a:pt x="1384799" y="72617"/>
                  </a:moveTo>
                  <a:cubicBezTo>
                    <a:pt x="1386617" y="72617"/>
                    <a:pt x="1388069" y="74069"/>
                    <a:pt x="1388069" y="75884"/>
                  </a:cubicBezTo>
                  <a:cubicBezTo>
                    <a:pt x="1388069" y="77702"/>
                    <a:pt x="1386617" y="79154"/>
                    <a:pt x="1384799" y="79154"/>
                  </a:cubicBezTo>
                  <a:cubicBezTo>
                    <a:pt x="1382984" y="79154"/>
                    <a:pt x="1381532" y="77702"/>
                    <a:pt x="1381532" y="75884"/>
                  </a:cubicBezTo>
                  <a:cubicBezTo>
                    <a:pt x="1381532" y="74069"/>
                    <a:pt x="1382984" y="72617"/>
                    <a:pt x="1384799" y="72617"/>
                  </a:cubicBezTo>
                  <a:close/>
                  <a:moveTo>
                    <a:pt x="1538746" y="71527"/>
                  </a:moveTo>
                  <a:cubicBezTo>
                    <a:pt x="1541285" y="71527"/>
                    <a:pt x="1543103" y="73341"/>
                    <a:pt x="1543103" y="75884"/>
                  </a:cubicBezTo>
                  <a:cubicBezTo>
                    <a:pt x="1543103" y="78426"/>
                    <a:pt x="1540923" y="80241"/>
                    <a:pt x="1538746" y="80241"/>
                  </a:cubicBezTo>
                  <a:cubicBezTo>
                    <a:pt x="1536204" y="80241"/>
                    <a:pt x="1534389" y="78426"/>
                    <a:pt x="1534389" y="75884"/>
                  </a:cubicBezTo>
                  <a:cubicBezTo>
                    <a:pt x="1534389" y="73341"/>
                    <a:pt x="1536204" y="71527"/>
                    <a:pt x="1538746" y="71527"/>
                  </a:cubicBezTo>
                  <a:close/>
                  <a:moveTo>
                    <a:pt x="1692331" y="70074"/>
                  </a:moveTo>
                  <a:cubicBezTo>
                    <a:pt x="1695541" y="70074"/>
                    <a:pt x="1698141" y="72674"/>
                    <a:pt x="1698141" y="75884"/>
                  </a:cubicBezTo>
                  <a:cubicBezTo>
                    <a:pt x="1698141" y="79093"/>
                    <a:pt x="1695541" y="81693"/>
                    <a:pt x="1692331" y="81693"/>
                  </a:cubicBezTo>
                  <a:cubicBezTo>
                    <a:pt x="1689122" y="81693"/>
                    <a:pt x="1686522" y="79093"/>
                    <a:pt x="1686522" y="75884"/>
                  </a:cubicBezTo>
                  <a:cubicBezTo>
                    <a:pt x="1686522" y="72674"/>
                    <a:pt x="1689122" y="70074"/>
                    <a:pt x="1692331" y="70074"/>
                  </a:cubicBezTo>
                  <a:close/>
                  <a:moveTo>
                    <a:pt x="1846279" y="68622"/>
                  </a:moveTo>
                  <a:cubicBezTo>
                    <a:pt x="1850274" y="68622"/>
                    <a:pt x="1853540" y="71889"/>
                    <a:pt x="1853540" y="75884"/>
                  </a:cubicBezTo>
                  <a:cubicBezTo>
                    <a:pt x="1853540" y="79879"/>
                    <a:pt x="1850274" y="83145"/>
                    <a:pt x="1846279" y="83145"/>
                  </a:cubicBezTo>
                  <a:cubicBezTo>
                    <a:pt x="1842284" y="83145"/>
                    <a:pt x="1839017" y="79879"/>
                    <a:pt x="1839017" y="75884"/>
                  </a:cubicBezTo>
                  <a:cubicBezTo>
                    <a:pt x="1839017" y="71889"/>
                    <a:pt x="1842284" y="68622"/>
                    <a:pt x="1846279" y="68622"/>
                  </a:cubicBezTo>
                  <a:close/>
                  <a:moveTo>
                    <a:pt x="1999860" y="66807"/>
                  </a:moveTo>
                  <a:cubicBezTo>
                    <a:pt x="2004945" y="66807"/>
                    <a:pt x="2008940" y="70802"/>
                    <a:pt x="2008940" y="75884"/>
                  </a:cubicBezTo>
                  <a:cubicBezTo>
                    <a:pt x="2008940" y="80969"/>
                    <a:pt x="2004945" y="84960"/>
                    <a:pt x="1999860" y="84960"/>
                  </a:cubicBezTo>
                  <a:cubicBezTo>
                    <a:pt x="1994779" y="84960"/>
                    <a:pt x="1990784" y="80969"/>
                    <a:pt x="1990784" y="75884"/>
                  </a:cubicBezTo>
                  <a:cubicBezTo>
                    <a:pt x="1990784" y="70802"/>
                    <a:pt x="1994779" y="66807"/>
                    <a:pt x="1999860" y="66807"/>
                  </a:cubicBezTo>
                  <a:close/>
                  <a:moveTo>
                    <a:pt x="2153811" y="65717"/>
                  </a:moveTo>
                  <a:cubicBezTo>
                    <a:pt x="2159259" y="65717"/>
                    <a:pt x="2163978" y="70436"/>
                    <a:pt x="2163978" y="75884"/>
                  </a:cubicBezTo>
                  <a:cubicBezTo>
                    <a:pt x="2163978" y="81331"/>
                    <a:pt x="2159621" y="86050"/>
                    <a:pt x="2153811" y="86050"/>
                  </a:cubicBezTo>
                  <a:cubicBezTo>
                    <a:pt x="2148364" y="86050"/>
                    <a:pt x="2143645" y="81331"/>
                    <a:pt x="2143645" y="75884"/>
                  </a:cubicBezTo>
                  <a:cubicBezTo>
                    <a:pt x="2143645" y="70436"/>
                    <a:pt x="2148364" y="65717"/>
                    <a:pt x="2153811" y="65717"/>
                  </a:cubicBezTo>
                  <a:close/>
                  <a:moveTo>
                    <a:pt x="2307393" y="63899"/>
                  </a:moveTo>
                  <a:cubicBezTo>
                    <a:pt x="2313930" y="63899"/>
                    <a:pt x="2319377" y="69346"/>
                    <a:pt x="2319377" y="75880"/>
                  </a:cubicBezTo>
                  <a:cubicBezTo>
                    <a:pt x="2319377" y="82417"/>
                    <a:pt x="2313930" y="87864"/>
                    <a:pt x="2307393" y="87864"/>
                  </a:cubicBezTo>
                  <a:cubicBezTo>
                    <a:pt x="2300859" y="87864"/>
                    <a:pt x="2295412" y="82417"/>
                    <a:pt x="2295412" y="75880"/>
                  </a:cubicBezTo>
                  <a:cubicBezTo>
                    <a:pt x="2295412" y="69346"/>
                    <a:pt x="2300859" y="63899"/>
                    <a:pt x="2307393" y="63899"/>
                  </a:cubicBezTo>
                  <a:close/>
                  <a:moveTo>
                    <a:pt x="2461344" y="62085"/>
                  </a:moveTo>
                  <a:cubicBezTo>
                    <a:pt x="2468968" y="62085"/>
                    <a:pt x="2475139" y="68256"/>
                    <a:pt x="2475139" y="75880"/>
                  </a:cubicBezTo>
                  <a:cubicBezTo>
                    <a:pt x="2475139" y="83507"/>
                    <a:pt x="2468968" y="89679"/>
                    <a:pt x="2461344" y="89679"/>
                  </a:cubicBezTo>
                  <a:cubicBezTo>
                    <a:pt x="2453716" y="89679"/>
                    <a:pt x="2447545" y="83507"/>
                    <a:pt x="2447545" y="75880"/>
                  </a:cubicBezTo>
                  <a:cubicBezTo>
                    <a:pt x="2447545" y="68256"/>
                    <a:pt x="2453716" y="62085"/>
                    <a:pt x="2461344" y="62085"/>
                  </a:cubicBezTo>
                  <a:close/>
                  <a:moveTo>
                    <a:pt x="2614925" y="60632"/>
                  </a:moveTo>
                  <a:cubicBezTo>
                    <a:pt x="2623350" y="60632"/>
                    <a:pt x="2630177" y="67459"/>
                    <a:pt x="2630177" y="75880"/>
                  </a:cubicBezTo>
                  <a:cubicBezTo>
                    <a:pt x="2630177" y="84304"/>
                    <a:pt x="2623350" y="91131"/>
                    <a:pt x="2614925" y="91131"/>
                  </a:cubicBezTo>
                  <a:cubicBezTo>
                    <a:pt x="2606505" y="91131"/>
                    <a:pt x="2599678" y="84304"/>
                    <a:pt x="2599678" y="75880"/>
                  </a:cubicBezTo>
                  <a:cubicBezTo>
                    <a:pt x="2599678" y="67459"/>
                    <a:pt x="2606505" y="60632"/>
                    <a:pt x="2614925" y="60632"/>
                  </a:cubicBezTo>
                  <a:close/>
                  <a:moveTo>
                    <a:pt x="2768873" y="58818"/>
                  </a:moveTo>
                  <a:cubicBezTo>
                    <a:pt x="2778311" y="58818"/>
                    <a:pt x="2785939" y="66442"/>
                    <a:pt x="2785939" y="75884"/>
                  </a:cubicBezTo>
                  <a:cubicBezTo>
                    <a:pt x="2785939" y="85322"/>
                    <a:pt x="2778311" y="92946"/>
                    <a:pt x="2768873" y="92946"/>
                  </a:cubicBezTo>
                  <a:cubicBezTo>
                    <a:pt x="2759431" y="92946"/>
                    <a:pt x="2751807" y="85322"/>
                    <a:pt x="2751807" y="75884"/>
                  </a:cubicBezTo>
                  <a:cubicBezTo>
                    <a:pt x="2751807" y="66442"/>
                    <a:pt x="2759431" y="58818"/>
                    <a:pt x="2768873" y="58818"/>
                  </a:cubicBezTo>
                  <a:close/>
                  <a:moveTo>
                    <a:pt x="2922458" y="56641"/>
                  </a:moveTo>
                  <a:cubicBezTo>
                    <a:pt x="2933086" y="56641"/>
                    <a:pt x="2941700" y="65256"/>
                    <a:pt x="2941700" y="75884"/>
                  </a:cubicBezTo>
                  <a:cubicBezTo>
                    <a:pt x="2941700" y="86511"/>
                    <a:pt x="2933086" y="95126"/>
                    <a:pt x="2922458" y="95126"/>
                  </a:cubicBezTo>
                  <a:cubicBezTo>
                    <a:pt x="2911830" y="95126"/>
                    <a:pt x="2903216" y="86511"/>
                    <a:pt x="2903216" y="75884"/>
                  </a:cubicBezTo>
                  <a:cubicBezTo>
                    <a:pt x="2903216" y="65256"/>
                    <a:pt x="2911830" y="56641"/>
                    <a:pt x="2922458" y="56641"/>
                  </a:cubicBezTo>
                  <a:close/>
                  <a:moveTo>
                    <a:pt x="3076406" y="54461"/>
                  </a:moveTo>
                  <a:cubicBezTo>
                    <a:pt x="3088234" y="54461"/>
                    <a:pt x="3097828" y="64051"/>
                    <a:pt x="3097828" y="75884"/>
                  </a:cubicBezTo>
                  <a:cubicBezTo>
                    <a:pt x="3097828" y="87712"/>
                    <a:pt x="3088234" y="97303"/>
                    <a:pt x="3076406" y="97303"/>
                  </a:cubicBezTo>
                  <a:cubicBezTo>
                    <a:pt x="3064573" y="97303"/>
                    <a:pt x="3054982" y="87712"/>
                    <a:pt x="3054982" y="75884"/>
                  </a:cubicBezTo>
                  <a:cubicBezTo>
                    <a:pt x="3054982" y="64051"/>
                    <a:pt x="3064573" y="54461"/>
                    <a:pt x="3076406" y="54461"/>
                  </a:cubicBezTo>
                  <a:close/>
                  <a:moveTo>
                    <a:pt x="3230353" y="53008"/>
                  </a:moveTo>
                  <a:cubicBezTo>
                    <a:pt x="3242986" y="53008"/>
                    <a:pt x="3253228" y="63251"/>
                    <a:pt x="3253228" y="75884"/>
                  </a:cubicBezTo>
                  <a:cubicBezTo>
                    <a:pt x="3253228" y="88516"/>
                    <a:pt x="3242986" y="98759"/>
                    <a:pt x="3230353" y="98759"/>
                  </a:cubicBezTo>
                  <a:cubicBezTo>
                    <a:pt x="3217720" y="98759"/>
                    <a:pt x="3207478" y="88516"/>
                    <a:pt x="3207478" y="75884"/>
                  </a:cubicBezTo>
                  <a:cubicBezTo>
                    <a:pt x="3207478" y="63251"/>
                    <a:pt x="3217720" y="53008"/>
                    <a:pt x="3230353" y="53008"/>
                  </a:cubicBezTo>
                  <a:close/>
                  <a:moveTo>
                    <a:pt x="3383934" y="50832"/>
                  </a:moveTo>
                  <a:cubicBezTo>
                    <a:pt x="3397772" y="50832"/>
                    <a:pt x="3408986" y="62046"/>
                    <a:pt x="3408986" y="75884"/>
                  </a:cubicBezTo>
                  <a:cubicBezTo>
                    <a:pt x="3408986" y="89721"/>
                    <a:pt x="3397772" y="100939"/>
                    <a:pt x="3383934" y="100939"/>
                  </a:cubicBezTo>
                  <a:cubicBezTo>
                    <a:pt x="3370097" y="100939"/>
                    <a:pt x="3358882" y="89721"/>
                    <a:pt x="3358882" y="75884"/>
                  </a:cubicBezTo>
                  <a:cubicBezTo>
                    <a:pt x="3358882" y="62046"/>
                    <a:pt x="3370097" y="50832"/>
                    <a:pt x="3383934" y="50832"/>
                  </a:cubicBezTo>
                  <a:close/>
                  <a:moveTo>
                    <a:pt x="3537886" y="48651"/>
                  </a:moveTo>
                  <a:cubicBezTo>
                    <a:pt x="3552924" y="48651"/>
                    <a:pt x="3565118" y="60842"/>
                    <a:pt x="3565118" y="75884"/>
                  </a:cubicBezTo>
                  <a:cubicBezTo>
                    <a:pt x="3565118" y="90921"/>
                    <a:pt x="3552924" y="103112"/>
                    <a:pt x="3537886" y="103112"/>
                  </a:cubicBezTo>
                  <a:cubicBezTo>
                    <a:pt x="3522844" y="103112"/>
                    <a:pt x="3510653" y="90921"/>
                    <a:pt x="3510653" y="75884"/>
                  </a:cubicBezTo>
                  <a:cubicBezTo>
                    <a:pt x="3510653" y="60842"/>
                    <a:pt x="3522844" y="48651"/>
                    <a:pt x="3537886" y="48651"/>
                  </a:cubicBezTo>
                  <a:close/>
                  <a:moveTo>
                    <a:pt x="3691467" y="46109"/>
                  </a:moveTo>
                  <a:cubicBezTo>
                    <a:pt x="3707912" y="46109"/>
                    <a:pt x="3721242" y="59439"/>
                    <a:pt x="3721242" y="75880"/>
                  </a:cubicBezTo>
                  <a:cubicBezTo>
                    <a:pt x="3721242" y="92324"/>
                    <a:pt x="3707912" y="105655"/>
                    <a:pt x="3691467" y="105655"/>
                  </a:cubicBezTo>
                  <a:cubicBezTo>
                    <a:pt x="3675026" y="105655"/>
                    <a:pt x="3661696" y="92324"/>
                    <a:pt x="3661696" y="75880"/>
                  </a:cubicBezTo>
                  <a:cubicBezTo>
                    <a:pt x="3661696" y="59439"/>
                    <a:pt x="3675026" y="46109"/>
                    <a:pt x="3691467" y="46109"/>
                  </a:cubicBezTo>
                  <a:close/>
                  <a:moveTo>
                    <a:pt x="3845414" y="43932"/>
                  </a:moveTo>
                  <a:cubicBezTo>
                    <a:pt x="3863060" y="43932"/>
                    <a:pt x="3877366" y="58238"/>
                    <a:pt x="3877366" y="75884"/>
                  </a:cubicBezTo>
                  <a:cubicBezTo>
                    <a:pt x="3877366" y="93529"/>
                    <a:pt x="3863060" y="107835"/>
                    <a:pt x="3845414" y="107835"/>
                  </a:cubicBezTo>
                  <a:cubicBezTo>
                    <a:pt x="3827769" y="107835"/>
                    <a:pt x="3813463" y="93529"/>
                    <a:pt x="3813463" y="75884"/>
                  </a:cubicBezTo>
                  <a:cubicBezTo>
                    <a:pt x="3813463" y="58238"/>
                    <a:pt x="3827769" y="43932"/>
                    <a:pt x="3845414" y="43932"/>
                  </a:cubicBezTo>
                  <a:close/>
                  <a:moveTo>
                    <a:pt x="3999000" y="42118"/>
                  </a:moveTo>
                  <a:cubicBezTo>
                    <a:pt x="4017651" y="42118"/>
                    <a:pt x="4032769" y="57236"/>
                    <a:pt x="4032769" y="75884"/>
                  </a:cubicBezTo>
                  <a:cubicBezTo>
                    <a:pt x="4032769" y="94535"/>
                    <a:pt x="4017651" y="109653"/>
                    <a:pt x="3999000" y="109653"/>
                  </a:cubicBezTo>
                  <a:cubicBezTo>
                    <a:pt x="3980352" y="109653"/>
                    <a:pt x="3965234" y="94535"/>
                    <a:pt x="3965234" y="75884"/>
                  </a:cubicBezTo>
                  <a:cubicBezTo>
                    <a:pt x="3965234" y="57236"/>
                    <a:pt x="3980352" y="42118"/>
                    <a:pt x="3999000" y="42118"/>
                  </a:cubicBezTo>
                  <a:close/>
                  <a:moveTo>
                    <a:pt x="4152947" y="39575"/>
                  </a:moveTo>
                  <a:cubicBezTo>
                    <a:pt x="4173002" y="39575"/>
                    <a:pt x="4189256" y="55829"/>
                    <a:pt x="4189256" y="75884"/>
                  </a:cubicBezTo>
                  <a:cubicBezTo>
                    <a:pt x="4189256" y="95938"/>
                    <a:pt x="4173002" y="112192"/>
                    <a:pt x="4152947" y="112192"/>
                  </a:cubicBezTo>
                  <a:cubicBezTo>
                    <a:pt x="4132896" y="112192"/>
                    <a:pt x="4116638" y="95938"/>
                    <a:pt x="4116638" y="75884"/>
                  </a:cubicBezTo>
                  <a:cubicBezTo>
                    <a:pt x="4116638" y="55829"/>
                    <a:pt x="4132896" y="39575"/>
                    <a:pt x="4152947" y="39575"/>
                  </a:cubicBezTo>
                  <a:close/>
                  <a:moveTo>
                    <a:pt x="4306532" y="37033"/>
                  </a:moveTo>
                  <a:cubicBezTo>
                    <a:pt x="4327952" y="37033"/>
                    <a:pt x="4345380" y="54461"/>
                    <a:pt x="4345380" y="75884"/>
                  </a:cubicBezTo>
                  <a:cubicBezTo>
                    <a:pt x="4345380" y="97306"/>
                    <a:pt x="4327952" y="114735"/>
                    <a:pt x="4306532" y="114735"/>
                  </a:cubicBezTo>
                  <a:cubicBezTo>
                    <a:pt x="4285110" y="114735"/>
                    <a:pt x="4267682" y="97306"/>
                    <a:pt x="4267682" y="75884"/>
                  </a:cubicBezTo>
                  <a:cubicBezTo>
                    <a:pt x="4267682" y="54461"/>
                    <a:pt x="4285110" y="37033"/>
                    <a:pt x="4306532" y="37033"/>
                  </a:cubicBezTo>
                  <a:close/>
                  <a:moveTo>
                    <a:pt x="4460480" y="34852"/>
                  </a:moveTo>
                  <a:cubicBezTo>
                    <a:pt x="4483355" y="34852"/>
                    <a:pt x="4501511" y="53008"/>
                    <a:pt x="4501511" y="75880"/>
                  </a:cubicBezTo>
                  <a:cubicBezTo>
                    <a:pt x="4501511" y="98755"/>
                    <a:pt x="4482993" y="116911"/>
                    <a:pt x="4460480" y="116911"/>
                  </a:cubicBezTo>
                  <a:cubicBezTo>
                    <a:pt x="4437608" y="116911"/>
                    <a:pt x="4419452" y="98755"/>
                    <a:pt x="4419452" y="75880"/>
                  </a:cubicBezTo>
                  <a:cubicBezTo>
                    <a:pt x="4419452" y="53008"/>
                    <a:pt x="4437608" y="34852"/>
                    <a:pt x="4460480" y="34852"/>
                  </a:cubicBezTo>
                  <a:close/>
                  <a:moveTo>
                    <a:pt x="4614065" y="32314"/>
                  </a:moveTo>
                  <a:cubicBezTo>
                    <a:pt x="4638026" y="32314"/>
                    <a:pt x="4657635" y="51918"/>
                    <a:pt x="4657635" y="75884"/>
                  </a:cubicBezTo>
                  <a:cubicBezTo>
                    <a:pt x="4657635" y="99849"/>
                    <a:pt x="4638026" y="119454"/>
                    <a:pt x="4614065" y="119454"/>
                  </a:cubicBezTo>
                  <a:cubicBezTo>
                    <a:pt x="4590100" y="119454"/>
                    <a:pt x="4570495" y="99849"/>
                    <a:pt x="4570495" y="75884"/>
                  </a:cubicBezTo>
                  <a:cubicBezTo>
                    <a:pt x="4570495" y="51918"/>
                    <a:pt x="4590100" y="32314"/>
                    <a:pt x="4614065" y="32314"/>
                  </a:cubicBezTo>
                  <a:close/>
                  <a:moveTo>
                    <a:pt x="4768012" y="29771"/>
                  </a:moveTo>
                  <a:cubicBezTo>
                    <a:pt x="4793426" y="29771"/>
                    <a:pt x="4814125" y="50466"/>
                    <a:pt x="4814125" y="75884"/>
                  </a:cubicBezTo>
                  <a:cubicBezTo>
                    <a:pt x="4814125" y="101298"/>
                    <a:pt x="4793426" y="121996"/>
                    <a:pt x="4768012" y="121996"/>
                  </a:cubicBezTo>
                  <a:cubicBezTo>
                    <a:pt x="4742594" y="121996"/>
                    <a:pt x="4721900" y="101298"/>
                    <a:pt x="4721900" y="75884"/>
                  </a:cubicBezTo>
                  <a:cubicBezTo>
                    <a:pt x="4721900" y="50466"/>
                    <a:pt x="4742594" y="29771"/>
                    <a:pt x="4768012" y="29771"/>
                  </a:cubicBezTo>
                  <a:close/>
                  <a:moveTo>
                    <a:pt x="4921594" y="27228"/>
                  </a:moveTo>
                  <a:cubicBezTo>
                    <a:pt x="4948464" y="27228"/>
                    <a:pt x="4970249" y="49014"/>
                    <a:pt x="4970249" y="75880"/>
                  </a:cubicBezTo>
                  <a:cubicBezTo>
                    <a:pt x="4970249" y="102750"/>
                    <a:pt x="4948464" y="124535"/>
                    <a:pt x="4921594" y="124535"/>
                  </a:cubicBezTo>
                  <a:cubicBezTo>
                    <a:pt x="4894728" y="124535"/>
                    <a:pt x="4872942" y="102750"/>
                    <a:pt x="4872942" y="75880"/>
                  </a:cubicBezTo>
                  <a:cubicBezTo>
                    <a:pt x="4872942" y="49014"/>
                    <a:pt x="4894728" y="27228"/>
                    <a:pt x="4921594" y="27228"/>
                  </a:cubicBezTo>
                  <a:close/>
                  <a:moveTo>
                    <a:pt x="5075541" y="24690"/>
                  </a:moveTo>
                  <a:cubicBezTo>
                    <a:pt x="5103864" y="24690"/>
                    <a:pt x="5126735" y="47565"/>
                    <a:pt x="5126735" y="75884"/>
                  </a:cubicBezTo>
                  <a:cubicBezTo>
                    <a:pt x="5126735" y="104206"/>
                    <a:pt x="5103864" y="127081"/>
                    <a:pt x="5075541" y="127081"/>
                  </a:cubicBezTo>
                  <a:cubicBezTo>
                    <a:pt x="5047222" y="127081"/>
                    <a:pt x="5024348" y="104206"/>
                    <a:pt x="5024348" y="75884"/>
                  </a:cubicBezTo>
                  <a:cubicBezTo>
                    <a:pt x="5024348" y="47565"/>
                    <a:pt x="5047222" y="24690"/>
                    <a:pt x="5075541" y="24690"/>
                  </a:cubicBezTo>
                  <a:close/>
                  <a:moveTo>
                    <a:pt x="5229126" y="22509"/>
                  </a:moveTo>
                  <a:cubicBezTo>
                    <a:pt x="5258536" y="22509"/>
                    <a:pt x="5282500" y="46471"/>
                    <a:pt x="5282500" y="75884"/>
                  </a:cubicBezTo>
                  <a:cubicBezTo>
                    <a:pt x="5282500" y="105292"/>
                    <a:pt x="5258536" y="129258"/>
                    <a:pt x="5229126" y="129258"/>
                  </a:cubicBezTo>
                  <a:cubicBezTo>
                    <a:pt x="5199718" y="129258"/>
                    <a:pt x="5175752" y="105292"/>
                    <a:pt x="5175752" y="75884"/>
                  </a:cubicBezTo>
                  <a:cubicBezTo>
                    <a:pt x="5175752" y="46471"/>
                    <a:pt x="5199718" y="22509"/>
                    <a:pt x="5229126" y="22509"/>
                  </a:cubicBezTo>
                  <a:close/>
                  <a:moveTo>
                    <a:pt x="5383074" y="19605"/>
                  </a:moveTo>
                  <a:cubicBezTo>
                    <a:pt x="5414297" y="19605"/>
                    <a:pt x="5439352" y="44657"/>
                    <a:pt x="5439352" y="75884"/>
                  </a:cubicBezTo>
                  <a:cubicBezTo>
                    <a:pt x="5439352" y="107107"/>
                    <a:pt x="5414297" y="132162"/>
                    <a:pt x="5383074" y="132162"/>
                  </a:cubicBezTo>
                  <a:cubicBezTo>
                    <a:pt x="5351847" y="132162"/>
                    <a:pt x="5326795" y="107107"/>
                    <a:pt x="5326795" y="75884"/>
                  </a:cubicBezTo>
                  <a:cubicBezTo>
                    <a:pt x="5326795" y="44657"/>
                    <a:pt x="5351847" y="19605"/>
                    <a:pt x="5383074" y="19605"/>
                  </a:cubicBezTo>
                  <a:close/>
                  <a:moveTo>
                    <a:pt x="5536659" y="17062"/>
                  </a:moveTo>
                  <a:cubicBezTo>
                    <a:pt x="5569144" y="17062"/>
                    <a:pt x="5595476" y="43395"/>
                    <a:pt x="5595476" y="75880"/>
                  </a:cubicBezTo>
                  <a:cubicBezTo>
                    <a:pt x="5595476" y="108369"/>
                    <a:pt x="5569144" y="134701"/>
                    <a:pt x="5536659" y="134701"/>
                  </a:cubicBezTo>
                  <a:cubicBezTo>
                    <a:pt x="5504174" y="134701"/>
                    <a:pt x="5477838" y="108369"/>
                    <a:pt x="5477838" y="75880"/>
                  </a:cubicBezTo>
                  <a:cubicBezTo>
                    <a:pt x="5477838" y="43395"/>
                    <a:pt x="5504174" y="17062"/>
                    <a:pt x="5536659" y="17062"/>
                  </a:cubicBezTo>
                  <a:close/>
                  <a:moveTo>
                    <a:pt x="5690606" y="14157"/>
                  </a:moveTo>
                  <a:cubicBezTo>
                    <a:pt x="5724734" y="14157"/>
                    <a:pt x="5752329" y="41752"/>
                    <a:pt x="5752329" y="75880"/>
                  </a:cubicBezTo>
                  <a:cubicBezTo>
                    <a:pt x="5752329" y="110012"/>
                    <a:pt x="5724734" y="137606"/>
                    <a:pt x="5690606" y="137606"/>
                  </a:cubicBezTo>
                  <a:cubicBezTo>
                    <a:pt x="5656475" y="137606"/>
                    <a:pt x="5628880" y="110012"/>
                    <a:pt x="5628880" y="75880"/>
                  </a:cubicBezTo>
                  <a:cubicBezTo>
                    <a:pt x="5628880" y="41752"/>
                    <a:pt x="5656475" y="14157"/>
                    <a:pt x="5690606" y="14157"/>
                  </a:cubicBezTo>
                  <a:close/>
                  <a:moveTo>
                    <a:pt x="5844554" y="11619"/>
                  </a:moveTo>
                  <a:cubicBezTo>
                    <a:pt x="5880046" y="11619"/>
                    <a:pt x="5908822" y="40391"/>
                    <a:pt x="5908822" y="75884"/>
                  </a:cubicBezTo>
                  <a:cubicBezTo>
                    <a:pt x="5908822" y="111376"/>
                    <a:pt x="5880046" y="140152"/>
                    <a:pt x="5844554" y="140152"/>
                  </a:cubicBezTo>
                  <a:cubicBezTo>
                    <a:pt x="5809062" y="140152"/>
                    <a:pt x="5780289" y="111376"/>
                    <a:pt x="5780289" y="75884"/>
                  </a:cubicBezTo>
                  <a:cubicBezTo>
                    <a:pt x="5780289" y="40391"/>
                    <a:pt x="5809062" y="11619"/>
                    <a:pt x="5844554" y="11619"/>
                  </a:cubicBezTo>
                  <a:close/>
                  <a:moveTo>
                    <a:pt x="5998136" y="8348"/>
                  </a:moveTo>
                  <a:cubicBezTo>
                    <a:pt x="6035435" y="8348"/>
                    <a:pt x="6065671" y="38584"/>
                    <a:pt x="6065671" y="75884"/>
                  </a:cubicBezTo>
                  <a:cubicBezTo>
                    <a:pt x="6065671" y="113179"/>
                    <a:pt x="6035435" y="143415"/>
                    <a:pt x="5998136" y="143415"/>
                  </a:cubicBezTo>
                  <a:cubicBezTo>
                    <a:pt x="5960840" y="143415"/>
                    <a:pt x="5930604" y="113179"/>
                    <a:pt x="5930604" y="75884"/>
                  </a:cubicBezTo>
                  <a:cubicBezTo>
                    <a:pt x="5930604" y="38584"/>
                    <a:pt x="5960840" y="8348"/>
                    <a:pt x="5998136" y="8348"/>
                  </a:cubicBezTo>
                  <a:close/>
                  <a:moveTo>
                    <a:pt x="6152086" y="5809"/>
                  </a:moveTo>
                  <a:cubicBezTo>
                    <a:pt x="6190785" y="5809"/>
                    <a:pt x="6222160" y="37181"/>
                    <a:pt x="6222160" y="75884"/>
                  </a:cubicBezTo>
                  <a:cubicBezTo>
                    <a:pt x="6222160" y="114586"/>
                    <a:pt x="6190785" y="145962"/>
                    <a:pt x="6152086" y="145962"/>
                  </a:cubicBezTo>
                  <a:cubicBezTo>
                    <a:pt x="6113384" y="145962"/>
                    <a:pt x="6082008" y="114586"/>
                    <a:pt x="6082008" y="75884"/>
                  </a:cubicBezTo>
                  <a:cubicBezTo>
                    <a:pt x="6082008" y="37181"/>
                    <a:pt x="6113384" y="5809"/>
                    <a:pt x="6152086" y="5809"/>
                  </a:cubicBezTo>
                  <a:close/>
                  <a:moveTo>
                    <a:pt x="6305668" y="2905"/>
                  </a:moveTo>
                  <a:cubicBezTo>
                    <a:pt x="6345975" y="2905"/>
                    <a:pt x="6378650" y="35580"/>
                    <a:pt x="6378650" y="75884"/>
                  </a:cubicBezTo>
                  <a:cubicBezTo>
                    <a:pt x="6378650" y="116191"/>
                    <a:pt x="6345975" y="148866"/>
                    <a:pt x="6305668" y="148866"/>
                  </a:cubicBezTo>
                  <a:cubicBezTo>
                    <a:pt x="6265365" y="148866"/>
                    <a:pt x="6232689" y="116191"/>
                    <a:pt x="6232689" y="75884"/>
                  </a:cubicBezTo>
                  <a:cubicBezTo>
                    <a:pt x="6232689" y="35580"/>
                    <a:pt x="6265365" y="2905"/>
                    <a:pt x="6305668" y="2905"/>
                  </a:cubicBezTo>
                  <a:close/>
                  <a:moveTo>
                    <a:pt x="6459616" y="362"/>
                  </a:moveTo>
                  <a:cubicBezTo>
                    <a:pt x="6501371" y="362"/>
                    <a:pt x="6535137" y="34128"/>
                    <a:pt x="6535137" y="75884"/>
                  </a:cubicBezTo>
                  <a:cubicBezTo>
                    <a:pt x="6535137" y="117639"/>
                    <a:pt x="6501371" y="151405"/>
                    <a:pt x="6459616" y="151405"/>
                  </a:cubicBezTo>
                  <a:cubicBezTo>
                    <a:pt x="6417860" y="151405"/>
                    <a:pt x="6384094" y="117639"/>
                    <a:pt x="6384094" y="75884"/>
                  </a:cubicBezTo>
                  <a:cubicBezTo>
                    <a:pt x="6384094" y="34128"/>
                    <a:pt x="6417860" y="362"/>
                    <a:pt x="6459616" y="362"/>
                  </a:cubicBezTo>
                  <a:close/>
                  <a:moveTo>
                    <a:pt x="6613200" y="0"/>
                  </a:moveTo>
                  <a:cubicBezTo>
                    <a:pt x="6655112" y="0"/>
                    <a:pt x="6689088" y="33976"/>
                    <a:pt x="6689088" y="75884"/>
                  </a:cubicBezTo>
                  <a:cubicBezTo>
                    <a:pt x="6689088" y="117795"/>
                    <a:pt x="6655112" y="151771"/>
                    <a:pt x="6613200" y="151771"/>
                  </a:cubicBezTo>
                  <a:cubicBezTo>
                    <a:pt x="6571289" y="151771"/>
                    <a:pt x="6537317" y="117795"/>
                    <a:pt x="6537317" y="75884"/>
                  </a:cubicBezTo>
                  <a:cubicBezTo>
                    <a:pt x="6537317" y="33976"/>
                    <a:pt x="6571289" y="0"/>
                    <a:pt x="6613200" y="0"/>
                  </a:cubicBezTo>
                  <a:close/>
                </a:path>
              </a:pathLst>
            </a:custGeom>
            <a:gradFill>
              <a:gsLst>
                <a:gs pos="14000">
                  <a:schemeClr val="tx2">
                    <a:lumMod val="75000"/>
                  </a:schemeClr>
                </a:gs>
                <a:gs pos="100000">
                  <a:schemeClr val="accent1"/>
                </a:gs>
              </a:gsLst>
              <a:lin ang="8100000" scaled="1"/>
            </a:gra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Shape 11">
              <a:extLst>
                <a:ext uri="{FF2B5EF4-FFF2-40B4-BE49-F238E27FC236}">
                  <a16:creationId xmlns:a16="http://schemas.microsoft.com/office/drawing/2014/main" id="{B27E4F83-B861-FB9B-CC02-6FE7CA4C736F}"/>
                </a:ext>
              </a:extLst>
            </p:cNvPr>
            <p:cNvSpPr/>
            <p:nvPr/>
          </p:nvSpPr>
          <p:spPr>
            <a:xfrm flipV="1">
              <a:off x="4543119" y="4585354"/>
              <a:ext cx="7648881" cy="2272646"/>
            </a:xfrm>
            <a:custGeom>
              <a:avLst/>
              <a:gdLst>
                <a:gd name="connsiteX0" fmla="*/ 6317320 w 6805716"/>
                <a:gd name="connsiteY0" fmla="*/ 2022124 h 2022124"/>
                <a:gd name="connsiteX1" fmla="*/ 6235217 w 6805716"/>
                <a:gd name="connsiteY1" fmla="*/ 2019188 h 2022124"/>
                <a:gd name="connsiteX2" fmla="*/ 5644658 w 6805716"/>
                <a:gd name="connsiteY2" fmla="*/ 1846774 h 2022124"/>
                <a:gd name="connsiteX3" fmla="*/ 5175292 w 6805716"/>
                <a:gd name="connsiteY3" fmla="*/ 1561331 h 2022124"/>
                <a:gd name="connsiteX4" fmla="*/ 4599584 w 6805716"/>
                <a:gd name="connsiteY4" fmla="*/ 1225632 h 2022124"/>
                <a:gd name="connsiteX5" fmla="*/ 2890421 w 6805716"/>
                <a:gd name="connsiteY5" fmla="*/ 1055789 h 2022124"/>
                <a:gd name="connsiteX6" fmla="*/ 2629967 w 6805716"/>
                <a:gd name="connsiteY6" fmla="*/ 1080114 h 2022124"/>
                <a:gd name="connsiteX7" fmla="*/ 1157832 w 6805716"/>
                <a:gd name="connsiteY7" fmla="*/ 1087229 h 2022124"/>
                <a:gd name="connsiteX8" fmla="*/ 371584 w 6805716"/>
                <a:gd name="connsiteY8" fmla="*/ 750351 h 2022124"/>
                <a:gd name="connsiteX9" fmla="*/ 180 w 6805716"/>
                <a:gd name="connsiteY9" fmla="*/ 0 h 2022124"/>
                <a:gd name="connsiteX10" fmla="*/ 6138 w 6805716"/>
                <a:gd name="connsiteY10" fmla="*/ 129 h 2022124"/>
                <a:gd name="connsiteX11" fmla="*/ 375399 w 6805716"/>
                <a:gd name="connsiteY11" fmla="*/ 745765 h 2022124"/>
                <a:gd name="connsiteX12" fmla="*/ 1158904 w 6805716"/>
                <a:gd name="connsiteY12" fmla="*/ 1081357 h 2022124"/>
                <a:gd name="connsiteX13" fmla="*/ 2629388 w 6805716"/>
                <a:gd name="connsiteY13" fmla="*/ 1074156 h 2022124"/>
                <a:gd name="connsiteX14" fmla="*/ 2889906 w 6805716"/>
                <a:gd name="connsiteY14" fmla="*/ 1049831 h 2022124"/>
                <a:gd name="connsiteX15" fmla="*/ 4601984 w 6805716"/>
                <a:gd name="connsiteY15" fmla="*/ 1220167 h 2022124"/>
                <a:gd name="connsiteX16" fmla="*/ 5178571 w 6805716"/>
                <a:gd name="connsiteY16" fmla="*/ 1556337 h 2022124"/>
                <a:gd name="connsiteX17" fmla="*/ 5647358 w 6805716"/>
                <a:gd name="connsiteY17" fmla="*/ 1841437 h 2022124"/>
                <a:gd name="connsiteX18" fmla="*/ 6802331 w 6805716"/>
                <a:gd name="connsiteY18" fmla="*/ 1875256 h 2022124"/>
                <a:gd name="connsiteX19" fmla="*/ 6805717 w 6805716"/>
                <a:gd name="connsiteY19" fmla="*/ 1880163 h 2022124"/>
                <a:gd name="connsiteX20" fmla="*/ 6317342 w 6805716"/>
                <a:gd name="connsiteY20" fmla="*/ 2022103 h 2022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805716" h="2022124">
                  <a:moveTo>
                    <a:pt x="6317320" y="2022124"/>
                  </a:moveTo>
                  <a:cubicBezTo>
                    <a:pt x="6290424" y="2022124"/>
                    <a:pt x="6263057" y="2021138"/>
                    <a:pt x="6235217" y="2019188"/>
                  </a:cubicBezTo>
                  <a:cubicBezTo>
                    <a:pt x="6044565" y="2005794"/>
                    <a:pt x="5840347" y="1946172"/>
                    <a:pt x="5644658" y="1846774"/>
                  </a:cubicBezTo>
                  <a:cubicBezTo>
                    <a:pt x="5481395" y="1763835"/>
                    <a:pt x="5325761" y="1660879"/>
                    <a:pt x="5175292" y="1561331"/>
                  </a:cubicBezTo>
                  <a:cubicBezTo>
                    <a:pt x="4992397" y="1440330"/>
                    <a:pt x="4803267" y="1315193"/>
                    <a:pt x="4599584" y="1225632"/>
                  </a:cubicBezTo>
                  <a:cubicBezTo>
                    <a:pt x="4066868" y="991388"/>
                    <a:pt x="3463278" y="1005576"/>
                    <a:pt x="2890421" y="1055789"/>
                  </a:cubicBezTo>
                  <a:cubicBezTo>
                    <a:pt x="2803752" y="1063397"/>
                    <a:pt x="2715391" y="1071884"/>
                    <a:pt x="2629967" y="1080114"/>
                  </a:cubicBezTo>
                  <a:cubicBezTo>
                    <a:pt x="2144548" y="1126812"/>
                    <a:pt x="1642650" y="1175118"/>
                    <a:pt x="1157832" y="1087229"/>
                  </a:cubicBezTo>
                  <a:cubicBezTo>
                    <a:pt x="834113" y="1028550"/>
                    <a:pt x="569566" y="915200"/>
                    <a:pt x="371584" y="750351"/>
                  </a:cubicBezTo>
                  <a:cubicBezTo>
                    <a:pt x="133119" y="551790"/>
                    <a:pt x="-5713" y="271298"/>
                    <a:pt x="180" y="0"/>
                  </a:cubicBezTo>
                  <a:lnTo>
                    <a:pt x="6138" y="129"/>
                  </a:lnTo>
                  <a:cubicBezTo>
                    <a:pt x="288" y="269627"/>
                    <a:pt x="138326" y="548361"/>
                    <a:pt x="375399" y="745765"/>
                  </a:cubicBezTo>
                  <a:cubicBezTo>
                    <a:pt x="572588" y="909949"/>
                    <a:pt x="836192" y="1022871"/>
                    <a:pt x="1158904" y="1081357"/>
                  </a:cubicBezTo>
                  <a:cubicBezTo>
                    <a:pt x="1642864" y="1169075"/>
                    <a:pt x="2144377" y="1120833"/>
                    <a:pt x="2629388" y="1074156"/>
                  </a:cubicBezTo>
                  <a:cubicBezTo>
                    <a:pt x="2714834" y="1065926"/>
                    <a:pt x="2803195" y="1057439"/>
                    <a:pt x="2889906" y="1049831"/>
                  </a:cubicBezTo>
                  <a:cubicBezTo>
                    <a:pt x="3463556" y="999554"/>
                    <a:pt x="4068046" y="985366"/>
                    <a:pt x="4601984" y="1220167"/>
                  </a:cubicBezTo>
                  <a:cubicBezTo>
                    <a:pt x="4806117" y="1309921"/>
                    <a:pt x="4995462" y="1435208"/>
                    <a:pt x="5178571" y="1556337"/>
                  </a:cubicBezTo>
                  <a:cubicBezTo>
                    <a:pt x="5328911" y="1655821"/>
                    <a:pt x="5484395" y="1758670"/>
                    <a:pt x="5647358" y="1841437"/>
                  </a:cubicBezTo>
                  <a:cubicBezTo>
                    <a:pt x="6081576" y="2061965"/>
                    <a:pt x="6513352" y="2074609"/>
                    <a:pt x="6802331" y="1875256"/>
                  </a:cubicBezTo>
                  <a:lnTo>
                    <a:pt x="6805717" y="1880163"/>
                  </a:lnTo>
                  <a:cubicBezTo>
                    <a:pt x="6668986" y="1974504"/>
                    <a:pt x="6504994" y="2022103"/>
                    <a:pt x="6317342" y="2022103"/>
                  </a:cubicBezTo>
                  <a:close/>
                </a:path>
              </a:pathLst>
            </a:custGeom>
            <a:solidFill>
              <a:schemeClr val="accent1"/>
            </a:solidFill>
            <a:ln w="3175" cap="flat">
              <a:solidFill>
                <a:schemeClr val="accent1"/>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 name="Freeform: Shape 24">
              <a:extLst>
                <a:ext uri="{FF2B5EF4-FFF2-40B4-BE49-F238E27FC236}">
                  <a16:creationId xmlns:a16="http://schemas.microsoft.com/office/drawing/2014/main" id="{51B73858-F678-1098-A41A-42F9A7EE880B}"/>
                </a:ext>
              </a:extLst>
            </p:cNvPr>
            <p:cNvSpPr/>
            <p:nvPr/>
          </p:nvSpPr>
          <p:spPr>
            <a:xfrm>
              <a:off x="9296690" y="0"/>
              <a:ext cx="2895307" cy="2794000"/>
            </a:xfrm>
            <a:custGeom>
              <a:avLst/>
              <a:gdLst>
                <a:gd name="connsiteX0" fmla="*/ 1499186 w 2895307"/>
                <a:gd name="connsiteY0" fmla="*/ 550925 h 2794000"/>
                <a:gd name="connsiteX1" fmla="*/ 755297 w 2895307"/>
                <a:gd name="connsiteY1" fmla="*/ 1294842 h 2794000"/>
                <a:gd name="connsiteX2" fmla="*/ 1499186 w 2895307"/>
                <a:gd name="connsiteY2" fmla="*/ 2038730 h 2794000"/>
                <a:gd name="connsiteX3" fmla="*/ 2243102 w 2895307"/>
                <a:gd name="connsiteY3" fmla="*/ 1294842 h 2794000"/>
                <a:gd name="connsiteX4" fmla="*/ 1499186 w 2895307"/>
                <a:gd name="connsiteY4" fmla="*/ 550925 h 2794000"/>
                <a:gd name="connsiteX5" fmla="*/ 1499186 w 2895307"/>
                <a:gd name="connsiteY5" fmla="*/ 543329 h 2794000"/>
                <a:gd name="connsiteX6" fmla="*/ 2250671 w 2895307"/>
                <a:gd name="connsiteY6" fmla="*/ 1294814 h 2794000"/>
                <a:gd name="connsiteX7" fmla="*/ 1499186 w 2895307"/>
                <a:gd name="connsiteY7" fmla="*/ 2046299 h 2794000"/>
                <a:gd name="connsiteX8" fmla="*/ 747701 w 2895307"/>
                <a:gd name="connsiteY8" fmla="*/ 1294814 h 2794000"/>
                <a:gd name="connsiteX9" fmla="*/ 1499186 w 2895307"/>
                <a:gd name="connsiteY9" fmla="*/ 543329 h 2794000"/>
                <a:gd name="connsiteX10" fmla="*/ 1499186 w 2895307"/>
                <a:gd name="connsiteY10" fmla="*/ 363993 h 2794000"/>
                <a:gd name="connsiteX11" fmla="*/ 568365 w 2895307"/>
                <a:gd name="connsiteY11" fmla="*/ 1294814 h 2794000"/>
                <a:gd name="connsiteX12" fmla="*/ 1499186 w 2895307"/>
                <a:gd name="connsiteY12" fmla="*/ 2225636 h 2794000"/>
                <a:gd name="connsiteX13" fmla="*/ 2430007 w 2895307"/>
                <a:gd name="connsiteY13" fmla="*/ 1294814 h 2794000"/>
                <a:gd name="connsiteX14" fmla="*/ 1499186 w 2895307"/>
                <a:gd name="connsiteY14" fmla="*/ 363993 h 2794000"/>
                <a:gd name="connsiteX15" fmla="*/ 1499186 w 2895307"/>
                <a:gd name="connsiteY15" fmla="*/ 356424 h 2794000"/>
                <a:gd name="connsiteX16" fmla="*/ 2437576 w 2895307"/>
                <a:gd name="connsiteY16" fmla="*/ 1294841 h 2794000"/>
                <a:gd name="connsiteX17" fmla="*/ 1499186 w 2895307"/>
                <a:gd name="connsiteY17" fmla="*/ 2233231 h 2794000"/>
                <a:gd name="connsiteX18" fmla="*/ 560796 w 2895307"/>
                <a:gd name="connsiteY18" fmla="*/ 1294841 h 2794000"/>
                <a:gd name="connsiteX19" fmla="*/ 1499186 w 2895307"/>
                <a:gd name="connsiteY19" fmla="*/ 356424 h 2794000"/>
                <a:gd name="connsiteX20" fmla="*/ 1499186 w 2895307"/>
                <a:gd name="connsiteY20" fmla="*/ 177061 h 2794000"/>
                <a:gd name="connsiteX21" fmla="*/ 381433 w 2895307"/>
                <a:gd name="connsiteY21" fmla="*/ 1294814 h 2794000"/>
                <a:gd name="connsiteX22" fmla="*/ 1499186 w 2895307"/>
                <a:gd name="connsiteY22" fmla="*/ 2412567 h 2794000"/>
                <a:gd name="connsiteX23" fmla="*/ 2616939 w 2895307"/>
                <a:gd name="connsiteY23" fmla="*/ 1294814 h 2794000"/>
                <a:gd name="connsiteX24" fmla="*/ 1499186 w 2895307"/>
                <a:gd name="connsiteY24" fmla="*/ 177061 h 2794000"/>
                <a:gd name="connsiteX25" fmla="*/ 1499186 w 2895307"/>
                <a:gd name="connsiteY25" fmla="*/ 169492 h 2794000"/>
                <a:gd name="connsiteX26" fmla="*/ 2624508 w 2895307"/>
                <a:gd name="connsiteY26" fmla="*/ 1294814 h 2794000"/>
                <a:gd name="connsiteX27" fmla="*/ 1499186 w 2895307"/>
                <a:gd name="connsiteY27" fmla="*/ 2420136 h 2794000"/>
                <a:gd name="connsiteX28" fmla="*/ 373864 w 2895307"/>
                <a:gd name="connsiteY28" fmla="*/ 1294814 h 2794000"/>
                <a:gd name="connsiteX29" fmla="*/ 1499186 w 2895307"/>
                <a:gd name="connsiteY29" fmla="*/ 169492 h 2794000"/>
                <a:gd name="connsiteX30" fmla="*/ 2231234 w 2895307"/>
                <a:gd name="connsiteY30" fmla="*/ 0 h 2794000"/>
                <a:gd name="connsiteX31" fmla="*/ 2253259 w 2895307"/>
                <a:gd name="connsiteY31" fmla="*/ 0 h 2794000"/>
                <a:gd name="connsiteX32" fmla="*/ 2330809 w 2895307"/>
                <a:gd name="connsiteY32" fmla="*/ 46514 h 2794000"/>
                <a:gd name="connsiteX33" fmla="*/ 2559521 w 2895307"/>
                <a:gd name="connsiteY33" fmla="*/ 234480 h 2794000"/>
                <a:gd name="connsiteX34" fmla="*/ 2885066 w 2895307"/>
                <a:gd name="connsiteY34" fmla="*/ 720480 h 2794000"/>
                <a:gd name="connsiteX35" fmla="*/ 2895307 w 2895307"/>
                <a:gd name="connsiteY35" fmla="*/ 749146 h 2794000"/>
                <a:gd name="connsiteX36" fmla="*/ 2895307 w 2895307"/>
                <a:gd name="connsiteY36" fmla="*/ 774587 h 2794000"/>
                <a:gd name="connsiteX37" fmla="*/ 2873374 w 2895307"/>
                <a:gd name="connsiteY37" fmla="*/ 714777 h 2794000"/>
                <a:gd name="connsiteX38" fmla="*/ 2332568 w 2895307"/>
                <a:gd name="connsiteY38" fmla="*/ 58312 h 2794000"/>
                <a:gd name="connsiteX39" fmla="*/ 1295608 w 2895307"/>
                <a:gd name="connsiteY39" fmla="*/ 0 h 2794000"/>
                <a:gd name="connsiteX40" fmla="*/ 1345758 w 2895307"/>
                <a:gd name="connsiteY40" fmla="*/ 0 h 2794000"/>
                <a:gd name="connsiteX41" fmla="*/ 1236584 w 2895307"/>
                <a:gd name="connsiteY41" fmla="*/ 16710 h 2794000"/>
                <a:gd name="connsiteX42" fmla="*/ 194528 w 2895307"/>
                <a:gd name="connsiteY42" fmla="*/ 1294841 h 2794000"/>
                <a:gd name="connsiteX43" fmla="*/ 1499186 w 2895307"/>
                <a:gd name="connsiteY43" fmla="*/ 2599499 h 2794000"/>
                <a:gd name="connsiteX44" fmla="*/ 2803871 w 2895307"/>
                <a:gd name="connsiteY44" fmla="*/ 1294841 h 2794000"/>
                <a:gd name="connsiteX45" fmla="*/ 1761797 w 2895307"/>
                <a:gd name="connsiteY45" fmla="*/ 16711 h 2794000"/>
                <a:gd name="connsiteX46" fmla="*/ 1652616 w 2895307"/>
                <a:gd name="connsiteY46" fmla="*/ 0 h 2794000"/>
                <a:gd name="connsiteX47" fmla="*/ 1702764 w 2895307"/>
                <a:gd name="connsiteY47" fmla="*/ 0 h 2794000"/>
                <a:gd name="connsiteX48" fmla="*/ 1763318 w 2895307"/>
                <a:gd name="connsiteY48" fmla="*/ 9268 h 2794000"/>
                <a:gd name="connsiteX49" fmla="*/ 2811440 w 2895307"/>
                <a:gd name="connsiteY49" fmla="*/ 1294814 h 2794000"/>
                <a:gd name="connsiteX50" fmla="*/ 1499186 w 2895307"/>
                <a:gd name="connsiteY50" fmla="*/ 2607068 h 2794000"/>
                <a:gd name="connsiteX51" fmla="*/ 186932 w 2895307"/>
                <a:gd name="connsiteY51" fmla="*/ 1294814 h 2794000"/>
                <a:gd name="connsiteX52" fmla="*/ 1235054 w 2895307"/>
                <a:gd name="connsiteY52" fmla="*/ 9268 h 2794000"/>
                <a:gd name="connsiteX53" fmla="*/ 745123 w 2895307"/>
                <a:gd name="connsiteY53" fmla="*/ 0 h 2794000"/>
                <a:gd name="connsiteX54" fmla="*/ 761686 w 2895307"/>
                <a:gd name="connsiteY54" fmla="*/ 0 h 2794000"/>
                <a:gd name="connsiteX55" fmla="*/ 665804 w 2895307"/>
                <a:gd name="connsiteY55" fmla="*/ 58312 h 2794000"/>
                <a:gd name="connsiteX56" fmla="*/ 7596 w 2895307"/>
                <a:gd name="connsiteY56" fmla="*/ 1294814 h 2794000"/>
                <a:gd name="connsiteX57" fmla="*/ 1499186 w 2895307"/>
                <a:gd name="connsiteY57" fmla="*/ 2786404 h 2794000"/>
                <a:gd name="connsiteX58" fmla="*/ 2873374 w 2895307"/>
                <a:gd name="connsiteY58" fmla="*/ 1874851 h 2794000"/>
                <a:gd name="connsiteX59" fmla="*/ 2895307 w 2895307"/>
                <a:gd name="connsiteY59" fmla="*/ 1815041 h 2794000"/>
                <a:gd name="connsiteX60" fmla="*/ 2895307 w 2895307"/>
                <a:gd name="connsiteY60" fmla="*/ 1840473 h 2794000"/>
                <a:gd name="connsiteX61" fmla="*/ 2885066 w 2895307"/>
                <a:gd name="connsiteY61" fmla="*/ 1869138 h 2794000"/>
                <a:gd name="connsiteX62" fmla="*/ 2559521 w 2895307"/>
                <a:gd name="connsiteY62" fmla="*/ 2355148 h 2794000"/>
                <a:gd name="connsiteX63" fmla="*/ 1499186 w 2895307"/>
                <a:gd name="connsiteY63" fmla="*/ 2794000 h 2794000"/>
                <a:gd name="connsiteX64" fmla="*/ 438853 w 2895307"/>
                <a:gd name="connsiteY64" fmla="*/ 2355148 h 2794000"/>
                <a:gd name="connsiteX65" fmla="*/ 0 w 2895307"/>
                <a:gd name="connsiteY65" fmla="*/ 1294814 h 2794000"/>
                <a:gd name="connsiteX66" fmla="*/ 438853 w 2895307"/>
                <a:gd name="connsiteY66" fmla="*/ 234480 h 2794000"/>
                <a:gd name="connsiteX67" fmla="*/ 667553 w 2895307"/>
                <a:gd name="connsiteY67" fmla="*/ 46526 h 279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2895307" h="2794000">
                  <a:moveTo>
                    <a:pt x="1499186" y="550925"/>
                  </a:moveTo>
                  <a:cubicBezTo>
                    <a:pt x="1089003" y="550925"/>
                    <a:pt x="755297" y="884631"/>
                    <a:pt x="755297" y="1294842"/>
                  </a:cubicBezTo>
                  <a:cubicBezTo>
                    <a:pt x="755297" y="1705051"/>
                    <a:pt x="1089003" y="2038730"/>
                    <a:pt x="1499186" y="2038730"/>
                  </a:cubicBezTo>
                  <a:cubicBezTo>
                    <a:pt x="1909368" y="2038730"/>
                    <a:pt x="2243102" y="1705024"/>
                    <a:pt x="2243102" y="1294842"/>
                  </a:cubicBezTo>
                  <a:cubicBezTo>
                    <a:pt x="2243102" y="884659"/>
                    <a:pt x="1909368" y="550925"/>
                    <a:pt x="1499186" y="550925"/>
                  </a:cubicBezTo>
                  <a:close/>
                  <a:moveTo>
                    <a:pt x="1499186" y="543329"/>
                  </a:moveTo>
                  <a:cubicBezTo>
                    <a:pt x="1913562" y="543329"/>
                    <a:pt x="2250671" y="880439"/>
                    <a:pt x="2250671" y="1294814"/>
                  </a:cubicBezTo>
                  <a:cubicBezTo>
                    <a:pt x="2250671" y="1709190"/>
                    <a:pt x="1913562" y="2046299"/>
                    <a:pt x="1499186" y="2046299"/>
                  </a:cubicBezTo>
                  <a:cubicBezTo>
                    <a:pt x="1084837" y="2046299"/>
                    <a:pt x="747701" y="1709190"/>
                    <a:pt x="747701" y="1294814"/>
                  </a:cubicBezTo>
                  <a:cubicBezTo>
                    <a:pt x="747701" y="880439"/>
                    <a:pt x="1084810" y="543329"/>
                    <a:pt x="1499186" y="543329"/>
                  </a:cubicBezTo>
                  <a:close/>
                  <a:moveTo>
                    <a:pt x="1499186" y="363993"/>
                  </a:moveTo>
                  <a:cubicBezTo>
                    <a:pt x="985926" y="363993"/>
                    <a:pt x="568365" y="781554"/>
                    <a:pt x="568365" y="1294814"/>
                  </a:cubicBezTo>
                  <a:cubicBezTo>
                    <a:pt x="568365" y="1808074"/>
                    <a:pt x="985926" y="2225636"/>
                    <a:pt x="1499186" y="2225636"/>
                  </a:cubicBezTo>
                  <a:cubicBezTo>
                    <a:pt x="2012446" y="2225636"/>
                    <a:pt x="2430007" y="1808074"/>
                    <a:pt x="2430007" y="1294814"/>
                  </a:cubicBezTo>
                  <a:cubicBezTo>
                    <a:pt x="2430007" y="781554"/>
                    <a:pt x="2012446" y="363993"/>
                    <a:pt x="1499186" y="363993"/>
                  </a:cubicBezTo>
                  <a:close/>
                  <a:moveTo>
                    <a:pt x="1499186" y="356424"/>
                  </a:moveTo>
                  <a:cubicBezTo>
                    <a:pt x="2016612" y="356424"/>
                    <a:pt x="2437576" y="777389"/>
                    <a:pt x="2437576" y="1294841"/>
                  </a:cubicBezTo>
                  <a:cubicBezTo>
                    <a:pt x="2437576" y="1812294"/>
                    <a:pt x="2016612" y="2233231"/>
                    <a:pt x="1499186" y="2233231"/>
                  </a:cubicBezTo>
                  <a:cubicBezTo>
                    <a:pt x="981734" y="2233231"/>
                    <a:pt x="560796" y="1812266"/>
                    <a:pt x="560796" y="1294841"/>
                  </a:cubicBezTo>
                  <a:cubicBezTo>
                    <a:pt x="560796" y="777415"/>
                    <a:pt x="981761" y="356424"/>
                    <a:pt x="1499186" y="356424"/>
                  </a:cubicBezTo>
                  <a:close/>
                  <a:moveTo>
                    <a:pt x="1499186" y="177061"/>
                  </a:moveTo>
                  <a:cubicBezTo>
                    <a:pt x="882849" y="177061"/>
                    <a:pt x="381433" y="678477"/>
                    <a:pt x="381433" y="1294814"/>
                  </a:cubicBezTo>
                  <a:cubicBezTo>
                    <a:pt x="381433" y="1911151"/>
                    <a:pt x="882849" y="2412567"/>
                    <a:pt x="1499186" y="2412567"/>
                  </a:cubicBezTo>
                  <a:cubicBezTo>
                    <a:pt x="2115523" y="2412567"/>
                    <a:pt x="2616939" y="1911151"/>
                    <a:pt x="2616939" y="1294814"/>
                  </a:cubicBezTo>
                  <a:cubicBezTo>
                    <a:pt x="2616939" y="678477"/>
                    <a:pt x="2115523" y="177061"/>
                    <a:pt x="1499186" y="177061"/>
                  </a:cubicBezTo>
                  <a:close/>
                  <a:moveTo>
                    <a:pt x="1499186" y="169492"/>
                  </a:moveTo>
                  <a:cubicBezTo>
                    <a:pt x="2119689" y="169492"/>
                    <a:pt x="2624508" y="674312"/>
                    <a:pt x="2624508" y="1294814"/>
                  </a:cubicBezTo>
                  <a:cubicBezTo>
                    <a:pt x="2624508" y="1915315"/>
                    <a:pt x="2119689" y="2420136"/>
                    <a:pt x="1499186" y="2420136"/>
                  </a:cubicBezTo>
                  <a:cubicBezTo>
                    <a:pt x="878684" y="2420136"/>
                    <a:pt x="373864" y="1915315"/>
                    <a:pt x="373864" y="1294814"/>
                  </a:cubicBezTo>
                  <a:cubicBezTo>
                    <a:pt x="373864" y="674312"/>
                    <a:pt x="878684" y="169492"/>
                    <a:pt x="1499186" y="169492"/>
                  </a:cubicBezTo>
                  <a:close/>
                  <a:moveTo>
                    <a:pt x="2231234" y="0"/>
                  </a:moveTo>
                  <a:lnTo>
                    <a:pt x="2253259" y="0"/>
                  </a:lnTo>
                  <a:lnTo>
                    <a:pt x="2330809" y="46514"/>
                  </a:lnTo>
                  <a:cubicBezTo>
                    <a:pt x="2412170" y="100922"/>
                    <a:pt x="2488768" y="163727"/>
                    <a:pt x="2559521" y="234480"/>
                  </a:cubicBezTo>
                  <a:cubicBezTo>
                    <a:pt x="2701013" y="375973"/>
                    <a:pt x="2810726" y="540865"/>
                    <a:pt x="2885066" y="720480"/>
                  </a:cubicBezTo>
                  <a:lnTo>
                    <a:pt x="2895307" y="749146"/>
                  </a:lnTo>
                  <a:lnTo>
                    <a:pt x="2895307" y="774587"/>
                  </a:lnTo>
                  <a:lnTo>
                    <a:pt x="2873374" y="714777"/>
                  </a:lnTo>
                  <a:cubicBezTo>
                    <a:pt x="2760001" y="447193"/>
                    <a:pt x="2570666" y="219304"/>
                    <a:pt x="2332568" y="58312"/>
                  </a:cubicBezTo>
                  <a:close/>
                  <a:moveTo>
                    <a:pt x="1295608" y="0"/>
                  </a:moveTo>
                  <a:lnTo>
                    <a:pt x="1345758" y="0"/>
                  </a:lnTo>
                  <a:lnTo>
                    <a:pt x="1236584" y="16710"/>
                  </a:lnTo>
                  <a:cubicBezTo>
                    <a:pt x="642627" y="138570"/>
                    <a:pt x="194528" y="665355"/>
                    <a:pt x="194528" y="1294841"/>
                  </a:cubicBezTo>
                  <a:cubicBezTo>
                    <a:pt x="194528" y="2014255"/>
                    <a:pt x="779800" y="2599499"/>
                    <a:pt x="1499186" y="2599499"/>
                  </a:cubicBezTo>
                  <a:cubicBezTo>
                    <a:pt x="2218572" y="2599499"/>
                    <a:pt x="2803871" y="2014227"/>
                    <a:pt x="2803871" y="1294841"/>
                  </a:cubicBezTo>
                  <a:cubicBezTo>
                    <a:pt x="2803871" y="665378"/>
                    <a:pt x="2355772" y="138576"/>
                    <a:pt x="1761797" y="16711"/>
                  </a:cubicBezTo>
                  <a:lnTo>
                    <a:pt x="1652616" y="0"/>
                  </a:lnTo>
                  <a:lnTo>
                    <a:pt x="1702764" y="0"/>
                  </a:lnTo>
                  <a:lnTo>
                    <a:pt x="1763318" y="9268"/>
                  </a:lnTo>
                  <a:cubicBezTo>
                    <a:pt x="2360735" y="131837"/>
                    <a:pt x="2811440" y="661683"/>
                    <a:pt x="2811440" y="1294814"/>
                  </a:cubicBezTo>
                  <a:cubicBezTo>
                    <a:pt x="2811440" y="2018393"/>
                    <a:pt x="2222764" y="2607068"/>
                    <a:pt x="1499186" y="2607068"/>
                  </a:cubicBezTo>
                  <a:cubicBezTo>
                    <a:pt x="775607" y="2607068"/>
                    <a:pt x="186932" y="2018393"/>
                    <a:pt x="186932" y="1294814"/>
                  </a:cubicBezTo>
                  <a:cubicBezTo>
                    <a:pt x="186932" y="661683"/>
                    <a:pt x="637636" y="131837"/>
                    <a:pt x="1235054" y="9268"/>
                  </a:cubicBezTo>
                  <a:close/>
                  <a:moveTo>
                    <a:pt x="745123" y="0"/>
                  </a:moveTo>
                  <a:lnTo>
                    <a:pt x="761686" y="0"/>
                  </a:lnTo>
                  <a:lnTo>
                    <a:pt x="665804" y="58312"/>
                  </a:lnTo>
                  <a:cubicBezTo>
                    <a:pt x="268974" y="326632"/>
                    <a:pt x="7596" y="780775"/>
                    <a:pt x="7596" y="1294814"/>
                  </a:cubicBezTo>
                  <a:cubicBezTo>
                    <a:pt x="7596" y="2117276"/>
                    <a:pt x="676723" y="2786404"/>
                    <a:pt x="1499186" y="2786404"/>
                  </a:cubicBezTo>
                  <a:cubicBezTo>
                    <a:pt x="2116033" y="2786404"/>
                    <a:pt x="2646629" y="2410020"/>
                    <a:pt x="2873374" y="1874851"/>
                  </a:cubicBezTo>
                  <a:lnTo>
                    <a:pt x="2895307" y="1815041"/>
                  </a:lnTo>
                  <a:lnTo>
                    <a:pt x="2895307" y="1840473"/>
                  </a:lnTo>
                  <a:lnTo>
                    <a:pt x="2885066" y="1869138"/>
                  </a:lnTo>
                  <a:cubicBezTo>
                    <a:pt x="2810726" y="2048750"/>
                    <a:pt x="2701013" y="2213643"/>
                    <a:pt x="2559521" y="2355148"/>
                  </a:cubicBezTo>
                  <a:cubicBezTo>
                    <a:pt x="2276536" y="2638133"/>
                    <a:pt x="1899977" y="2794000"/>
                    <a:pt x="1499186" y="2794000"/>
                  </a:cubicBezTo>
                  <a:cubicBezTo>
                    <a:pt x="1098423" y="2794000"/>
                    <a:pt x="721837" y="2638160"/>
                    <a:pt x="438853" y="2355148"/>
                  </a:cubicBezTo>
                  <a:cubicBezTo>
                    <a:pt x="155868" y="2072164"/>
                    <a:pt x="0" y="1695577"/>
                    <a:pt x="0" y="1294814"/>
                  </a:cubicBezTo>
                  <a:cubicBezTo>
                    <a:pt x="0" y="894051"/>
                    <a:pt x="155868" y="517491"/>
                    <a:pt x="438853" y="234480"/>
                  </a:cubicBezTo>
                  <a:cubicBezTo>
                    <a:pt x="509599" y="163734"/>
                    <a:pt x="586193" y="100933"/>
                    <a:pt x="667553" y="46526"/>
                  </a:cubicBezTo>
                  <a:close/>
                </a:path>
              </a:pathLst>
            </a:custGeom>
            <a:solidFill>
              <a:schemeClr val="tx2"/>
            </a:solidFill>
            <a:ln w="2142" cap="flat">
              <a:noFill/>
              <a:prstDash val="solid"/>
              <a:miter/>
            </a:ln>
          </p:spPr>
          <p:txBody>
            <a:bodyPr wrap="square"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sp>
          <p:nvSpPr>
            <p:cNvPr id="8" name="Freeform: Shape 7">
              <a:extLst>
                <a:ext uri="{FF2B5EF4-FFF2-40B4-BE49-F238E27FC236}">
                  <a16:creationId xmlns:a16="http://schemas.microsoft.com/office/drawing/2014/main" id="{C27A2C3D-3B3D-E106-7D12-BDE73433E3A1}"/>
                </a:ext>
              </a:extLst>
            </p:cNvPr>
            <p:cNvSpPr/>
            <p:nvPr/>
          </p:nvSpPr>
          <p:spPr>
            <a:xfrm>
              <a:off x="7162800" y="0"/>
              <a:ext cx="5029197" cy="1494282"/>
            </a:xfrm>
            <a:custGeom>
              <a:avLst/>
              <a:gdLst>
                <a:gd name="connsiteX0" fmla="*/ 6317320 w 6805716"/>
                <a:gd name="connsiteY0" fmla="*/ 2022124 h 2022124"/>
                <a:gd name="connsiteX1" fmla="*/ 6235217 w 6805716"/>
                <a:gd name="connsiteY1" fmla="*/ 2019188 h 2022124"/>
                <a:gd name="connsiteX2" fmla="*/ 5644658 w 6805716"/>
                <a:gd name="connsiteY2" fmla="*/ 1846774 h 2022124"/>
                <a:gd name="connsiteX3" fmla="*/ 5175292 w 6805716"/>
                <a:gd name="connsiteY3" fmla="*/ 1561331 h 2022124"/>
                <a:gd name="connsiteX4" fmla="*/ 4599584 w 6805716"/>
                <a:gd name="connsiteY4" fmla="*/ 1225632 h 2022124"/>
                <a:gd name="connsiteX5" fmla="*/ 2890421 w 6805716"/>
                <a:gd name="connsiteY5" fmla="*/ 1055789 h 2022124"/>
                <a:gd name="connsiteX6" fmla="*/ 2629967 w 6805716"/>
                <a:gd name="connsiteY6" fmla="*/ 1080114 h 2022124"/>
                <a:gd name="connsiteX7" fmla="*/ 1157832 w 6805716"/>
                <a:gd name="connsiteY7" fmla="*/ 1087229 h 2022124"/>
                <a:gd name="connsiteX8" fmla="*/ 371584 w 6805716"/>
                <a:gd name="connsiteY8" fmla="*/ 750351 h 2022124"/>
                <a:gd name="connsiteX9" fmla="*/ 180 w 6805716"/>
                <a:gd name="connsiteY9" fmla="*/ 0 h 2022124"/>
                <a:gd name="connsiteX10" fmla="*/ 6138 w 6805716"/>
                <a:gd name="connsiteY10" fmla="*/ 129 h 2022124"/>
                <a:gd name="connsiteX11" fmla="*/ 375399 w 6805716"/>
                <a:gd name="connsiteY11" fmla="*/ 745765 h 2022124"/>
                <a:gd name="connsiteX12" fmla="*/ 1158904 w 6805716"/>
                <a:gd name="connsiteY12" fmla="*/ 1081357 h 2022124"/>
                <a:gd name="connsiteX13" fmla="*/ 2629388 w 6805716"/>
                <a:gd name="connsiteY13" fmla="*/ 1074156 h 2022124"/>
                <a:gd name="connsiteX14" fmla="*/ 2889906 w 6805716"/>
                <a:gd name="connsiteY14" fmla="*/ 1049831 h 2022124"/>
                <a:gd name="connsiteX15" fmla="*/ 4601984 w 6805716"/>
                <a:gd name="connsiteY15" fmla="*/ 1220167 h 2022124"/>
                <a:gd name="connsiteX16" fmla="*/ 5178571 w 6805716"/>
                <a:gd name="connsiteY16" fmla="*/ 1556337 h 2022124"/>
                <a:gd name="connsiteX17" fmla="*/ 5647358 w 6805716"/>
                <a:gd name="connsiteY17" fmla="*/ 1841437 h 2022124"/>
                <a:gd name="connsiteX18" fmla="*/ 6802331 w 6805716"/>
                <a:gd name="connsiteY18" fmla="*/ 1875256 h 2022124"/>
                <a:gd name="connsiteX19" fmla="*/ 6805717 w 6805716"/>
                <a:gd name="connsiteY19" fmla="*/ 1880163 h 2022124"/>
                <a:gd name="connsiteX20" fmla="*/ 6317342 w 6805716"/>
                <a:gd name="connsiteY20" fmla="*/ 2022103 h 2022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805716" h="2022124">
                  <a:moveTo>
                    <a:pt x="6317320" y="2022124"/>
                  </a:moveTo>
                  <a:cubicBezTo>
                    <a:pt x="6290424" y="2022124"/>
                    <a:pt x="6263057" y="2021138"/>
                    <a:pt x="6235217" y="2019188"/>
                  </a:cubicBezTo>
                  <a:cubicBezTo>
                    <a:pt x="6044565" y="2005794"/>
                    <a:pt x="5840347" y="1946172"/>
                    <a:pt x="5644658" y="1846774"/>
                  </a:cubicBezTo>
                  <a:cubicBezTo>
                    <a:pt x="5481395" y="1763835"/>
                    <a:pt x="5325761" y="1660879"/>
                    <a:pt x="5175292" y="1561331"/>
                  </a:cubicBezTo>
                  <a:cubicBezTo>
                    <a:pt x="4992397" y="1440330"/>
                    <a:pt x="4803267" y="1315193"/>
                    <a:pt x="4599584" y="1225632"/>
                  </a:cubicBezTo>
                  <a:cubicBezTo>
                    <a:pt x="4066868" y="991388"/>
                    <a:pt x="3463278" y="1005576"/>
                    <a:pt x="2890421" y="1055789"/>
                  </a:cubicBezTo>
                  <a:cubicBezTo>
                    <a:pt x="2803752" y="1063397"/>
                    <a:pt x="2715391" y="1071884"/>
                    <a:pt x="2629967" y="1080114"/>
                  </a:cubicBezTo>
                  <a:cubicBezTo>
                    <a:pt x="2144548" y="1126812"/>
                    <a:pt x="1642650" y="1175118"/>
                    <a:pt x="1157832" y="1087229"/>
                  </a:cubicBezTo>
                  <a:cubicBezTo>
                    <a:pt x="834113" y="1028550"/>
                    <a:pt x="569566" y="915200"/>
                    <a:pt x="371584" y="750351"/>
                  </a:cubicBezTo>
                  <a:cubicBezTo>
                    <a:pt x="133119" y="551790"/>
                    <a:pt x="-5713" y="271298"/>
                    <a:pt x="180" y="0"/>
                  </a:cubicBezTo>
                  <a:lnTo>
                    <a:pt x="6138" y="129"/>
                  </a:lnTo>
                  <a:cubicBezTo>
                    <a:pt x="288" y="269627"/>
                    <a:pt x="138326" y="548361"/>
                    <a:pt x="375399" y="745765"/>
                  </a:cubicBezTo>
                  <a:cubicBezTo>
                    <a:pt x="572588" y="909949"/>
                    <a:pt x="836192" y="1022871"/>
                    <a:pt x="1158904" y="1081357"/>
                  </a:cubicBezTo>
                  <a:cubicBezTo>
                    <a:pt x="1642864" y="1169075"/>
                    <a:pt x="2144377" y="1120833"/>
                    <a:pt x="2629388" y="1074156"/>
                  </a:cubicBezTo>
                  <a:cubicBezTo>
                    <a:pt x="2714834" y="1065926"/>
                    <a:pt x="2803195" y="1057439"/>
                    <a:pt x="2889906" y="1049831"/>
                  </a:cubicBezTo>
                  <a:cubicBezTo>
                    <a:pt x="3463556" y="999554"/>
                    <a:pt x="4068046" y="985366"/>
                    <a:pt x="4601984" y="1220167"/>
                  </a:cubicBezTo>
                  <a:cubicBezTo>
                    <a:pt x="4806117" y="1309921"/>
                    <a:pt x="4995462" y="1435208"/>
                    <a:pt x="5178571" y="1556337"/>
                  </a:cubicBezTo>
                  <a:cubicBezTo>
                    <a:pt x="5328911" y="1655821"/>
                    <a:pt x="5484395" y="1758670"/>
                    <a:pt x="5647358" y="1841437"/>
                  </a:cubicBezTo>
                  <a:cubicBezTo>
                    <a:pt x="6081576" y="2061965"/>
                    <a:pt x="6513352" y="2074609"/>
                    <a:pt x="6802331" y="1875256"/>
                  </a:cubicBezTo>
                  <a:lnTo>
                    <a:pt x="6805717" y="1880163"/>
                  </a:lnTo>
                  <a:cubicBezTo>
                    <a:pt x="6668986" y="1974504"/>
                    <a:pt x="6504994" y="2022103"/>
                    <a:pt x="6317342" y="2022103"/>
                  </a:cubicBezTo>
                  <a:close/>
                </a:path>
              </a:pathLst>
            </a:custGeom>
            <a:solidFill>
              <a:schemeClr val="accent1"/>
            </a:solidFill>
            <a:ln w="3175" cap="flat">
              <a:solidFill>
                <a:schemeClr val="accent1"/>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grpSp>
      <p:pic>
        <p:nvPicPr>
          <p:cNvPr id="3" name="Picture 2" descr="A picture containing sky">
            <a:extLst>
              <a:ext uri="{FF2B5EF4-FFF2-40B4-BE49-F238E27FC236}">
                <a16:creationId xmlns:a16="http://schemas.microsoft.com/office/drawing/2014/main" id="{473E60D4-2908-8BE5-77DD-247E79998503}"/>
              </a:ext>
            </a:extLst>
          </p:cNvPr>
          <p:cNvPicPr>
            <a:picLocks noChangeAspect="1"/>
          </p:cNvPicPr>
          <p:nvPr userDrawn="1"/>
        </p:nvPicPr>
        <p:blipFill rotWithShape="1">
          <a:blip r:embed="rId2">
            <a:duotone>
              <a:prstClr val="black"/>
              <a:srgbClr val="0078D4">
                <a:tint val="45000"/>
                <a:satMod val="400000"/>
              </a:srgbClr>
            </a:duotone>
            <a:alphaModFix amt="5000"/>
          </a:blip>
          <a:srcRect b="6250"/>
          <a:stretch/>
        </p:blipFill>
        <p:spPr>
          <a:xfrm>
            <a:off x="0" y="0"/>
            <a:ext cx="12192000" cy="6858000"/>
          </a:xfrm>
          <a:prstGeom prst="rect">
            <a:avLst/>
          </a:prstGeom>
        </p:spPr>
      </p:pic>
      <p:grpSp>
        <p:nvGrpSpPr>
          <p:cNvPr id="6" name="Group 5">
            <a:extLst>
              <a:ext uri="{FF2B5EF4-FFF2-40B4-BE49-F238E27FC236}">
                <a16:creationId xmlns:a16="http://schemas.microsoft.com/office/drawing/2014/main" id="{ADB4FC07-CC3E-2600-3CAE-43EEAD5F1FA3}"/>
              </a:ext>
            </a:extLst>
          </p:cNvPr>
          <p:cNvGrpSpPr/>
          <p:nvPr userDrawn="1"/>
        </p:nvGrpSpPr>
        <p:grpSpPr>
          <a:xfrm>
            <a:off x="584200" y="480060"/>
            <a:ext cx="3626271" cy="510281"/>
            <a:chOff x="584200" y="480060"/>
            <a:chExt cx="3626271" cy="510281"/>
          </a:xfrm>
        </p:grpSpPr>
        <p:pic>
          <p:nvPicPr>
            <p:cNvPr id="15" name="MS logo white - EMF" descr="Microsoft logo white text version">
              <a:extLst>
                <a:ext uri="{FF2B5EF4-FFF2-40B4-BE49-F238E27FC236}">
                  <a16:creationId xmlns:a16="http://schemas.microsoft.com/office/drawing/2014/main" id="{F4113A03-D627-B655-3C3A-3CCBFE397139}"/>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cxnSp>
          <p:nvCxnSpPr>
            <p:cNvPr id="17" name="Straight Connector 16">
              <a:extLst>
                <a:ext uri="{FF2B5EF4-FFF2-40B4-BE49-F238E27FC236}">
                  <a16:creationId xmlns:a16="http://schemas.microsoft.com/office/drawing/2014/main" id="{B464BB28-1813-817A-D3E0-18552822EE3A}"/>
                </a:ext>
              </a:extLst>
            </p:cNvPr>
            <p:cNvCxnSpPr>
              <a:cxnSpLocks/>
            </p:cNvCxnSpPr>
            <p:nvPr userDrawn="1"/>
          </p:nvCxnSpPr>
          <p:spPr>
            <a:xfrm>
              <a:off x="2246692" y="480060"/>
              <a:ext cx="0" cy="510281"/>
            </a:xfrm>
            <a:prstGeom prst="line">
              <a:avLst/>
            </a:prstGeom>
            <a:noFill/>
            <a:ln w="6350" cap="flat" cmpd="sng" algn="ctr">
              <a:solidFill>
                <a:srgbClr val="FFFFFF"/>
              </a:solidFill>
              <a:prstDash val="solid"/>
              <a:headEnd type="none" w="lg" len="med"/>
              <a:tailEnd type="none" w="lg" len="med"/>
            </a:ln>
            <a:effectLst/>
          </p:spPr>
        </p:cxnSp>
        <p:pic>
          <p:nvPicPr>
            <p:cNvPr id="18" name="Picture 17">
              <a:extLst>
                <a:ext uri="{FF2B5EF4-FFF2-40B4-BE49-F238E27FC236}">
                  <a16:creationId xmlns:a16="http://schemas.microsoft.com/office/drawing/2014/main" id="{92F51536-0541-6E76-3A0C-345ECAC3AE47}"/>
                </a:ext>
              </a:extLst>
            </p:cNvPr>
            <p:cNvPicPr>
              <a:picLocks noChangeAspect="1"/>
            </p:cNvPicPr>
            <p:nvPr userDrawn="1"/>
          </p:nvPicPr>
          <p:blipFill>
            <a:blip r:embed="rId4"/>
            <a:srcRect t="17334" b="17334"/>
            <a:stretch/>
          </p:blipFill>
          <p:spPr>
            <a:xfrm>
              <a:off x="2397310" y="480060"/>
              <a:ext cx="1813161" cy="482010"/>
            </a:xfrm>
            <a:prstGeom prst="rect">
              <a:avLst/>
            </a:prstGeom>
          </p:spPr>
        </p:pic>
      </p:grpSp>
    </p:spTree>
    <p:extLst>
      <p:ext uri="{BB962C8B-B14F-4D97-AF65-F5344CB8AC3E}">
        <p14:creationId xmlns:p14="http://schemas.microsoft.com/office/powerpoint/2010/main" val="8752827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0">
          <p15:clr>
            <a:srgbClr val="5ACBF0"/>
          </p15:clr>
        </p15:guide>
        <p15:guide id="4" orient="horz" pos="2160">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1_Title Slide 3">
    <p:bg>
      <p:bgPr>
        <a:gradFill>
          <a:gsLst>
            <a:gs pos="0">
              <a:schemeClr val="tx2">
                <a:lumMod val="75000"/>
              </a:schemeClr>
            </a:gs>
            <a:gs pos="85000">
              <a:schemeClr val="tx2">
                <a:lumMod val="50000"/>
              </a:schemeClr>
            </a:gs>
          </a:gsLst>
          <a:lin ang="0" scaled="1"/>
        </a:gra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179559"/>
            <a:ext cx="5511800" cy="1354217"/>
          </a:xfrm>
          <a:noFill/>
        </p:spPr>
        <p:txBody>
          <a:bodyPr wrap="square" lIns="0" tIns="0" rIns="0" bIns="0" anchor="b" anchorCtr="0">
            <a:spAutoFit/>
          </a:bodyPr>
          <a:lstStyle>
            <a:lvl1pPr algn="l" defTabSz="932742" rtl="0" eaLnBrk="1" latinLnBrk="0" hangingPunct="1">
              <a:lnSpc>
                <a:spcPct val="100000"/>
              </a:lnSpc>
              <a:spcBef>
                <a:spcPct val="0"/>
              </a:spcBef>
              <a:buNone/>
              <a:defRPr kumimoji="0" lang="en-US" sz="4400" b="0" i="0" u="none" strike="noStrike" kern="1200" cap="none" spc="300" normalizeH="0" baseline="0" dirty="0">
                <a:ln w="3175">
                  <a:noFill/>
                </a:ln>
                <a:solidFill>
                  <a:schemeClr val="accent3"/>
                </a:solidFill>
                <a:effectLst/>
                <a:uLnTx/>
                <a:uFillTx/>
                <a:latin typeface="Segoe UI Semibold"/>
                <a:ea typeface="+mn-ea"/>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 text</a:t>
            </a:r>
          </a:p>
        </p:txBody>
      </p:sp>
      <p:sp>
        <p:nvSpPr>
          <p:cNvPr id="11" name="Freeform: Shape 10">
            <a:extLst>
              <a:ext uri="{FF2B5EF4-FFF2-40B4-BE49-F238E27FC236}">
                <a16:creationId xmlns:a16="http://schemas.microsoft.com/office/drawing/2014/main" id="{89B939AD-4AF7-2AB0-C517-847E0C9947CB}"/>
              </a:ext>
            </a:extLst>
          </p:cNvPr>
          <p:cNvSpPr/>
          <p:nvPr/>
        </p:nvSpPr>
        <p:spPr>
          <a:xfrm flipH="1" flipV="1">
            <a:off x="0" y="2735943"/>
            <a:ext cx="4122057" cy="4122055"/>
          </a:xfrm>
          <a:custGeom>
            <a:avLst/>
            <a:gdLst>
              <a:gd name="connsiteX0" fmla="*/ 6613200 w 6689088"/>
              <a:gd name="connsiteY0" fmla="*/ 6687632 h 6689084"/>
              <a:gd name="connsiteX1" fmla="*/ 6613929 w 6689088"/>
              <a:gd name="connsiteY1" fmla="*/ 6688360 h 6689084"/>
              <a:gd name="connsiteX2" fmla="*/ 6613200 w 6689088"/>
              <a:gd name="connsiteY2" fmla="*/ 6689084 h 6689084"/>
              <a:gd name="connsiteX3" fmla="*/ 6612476 w 6689088"/>
              <a:gd name="connsiteY3" fmla="*/ 6688360 h 6689084"/>
              <a:gd name="connsiteX4" fmla="*/ 6613200 w 6689088"/>
              <a:gd name="connsiteY4" fmla="*/ 6687632 h 6689084"/>
              <a:gd name="connsiteX5" fmla="*/ 6613200 w 6689088"/>
              <a:gd name="connsiteY5" fmla="*/ 6534050 h 6689084"/>
              <a:gd name="connsiteX6" fmla="*/ 6613566 w 6689088"/>
              <a:gd name="connsiteY6" fmla="*/ 6534413 h 6689084"/>
              <a:gd name="connsiteX7" fmla="*/ 6613200 w 6689088"/>
              <a:gd name="connsiteY7" fmla="*/ 6534775 h 6689084"/>
              <a:gd name="connsiteX8" fmla="*/ 6612838 w 6689088"/>
              <a:gd name="connsiteY8" fmla="*/ 6534413 h 6689084"/>
              <a:gd name="connsiteX9" fmla="*/ 6613200 w 6689088"/>
              <a:gd name="connsiteY9" fmla="*/ 6534050 h 6689084"/>
              <a:gd name="connsiteX10" fmla="*/ 6459619 w 6689088"/>
              <a:gd name="connsiteY10" fmla="*/ 6533684 h 6689084"/>
              <a:gd name="connsiteX11" fmla="*/ 6460344 w 6689088"/>
              <a:gd name="connsiteY11" fmla="*/ 6534413 h 6689084"/>
              <a:gd name="connsiteX12" fmla="*/ 6459619 w 6689088"/>
              <a:gd name="connsiteY12" fmla="*/ 6535137 h 6689084"/>
              <a:gd name="connsiteX13" fmla="*/ 6458891 w 6689088"/>
              <a:gd name="connsiteY13" fmla="*/ 6534413 h 6689084"/>
              <a:gd name="connsiteX14" fmla="*/ 6459619 w 6689088"/>
              <a:gd name="connsiteY14" fmla="*/ 6533684 h 6689084"/>
              <a:gd name="connsiteX15" fmla="*/ 6613200 w 6689088"/>
              <a:gd name="connsiteY15" fmla="*/ 6380465 h 6689084"/>
              <a:gd name="connsiteX16" fmla="*/ 6613566 w 6689088"/>
              <a:gd name="connsiteY16" fmla="*/ 6380827 h 6689084"/>
              <a:gd name="connsiteX17" fmla="*/ 6613200 w 6689088"/>
              <a:gd name="connsiteY17" fmla="*/ 6381193 h 6689084"/>
              <a:gd name="connsiteX18" fmla="*/ 6612838 w 6689088"/>
              <a:gd name="connsiteY18" fmla="*/ 6380827 h 6689084"/>
              <a:gd name="connsiteX19" fmla="*/ 6613200 w 6689088"/>
              <a:gd name="connsiteY19" fmla="*/ 6380465 h 6689084"/>
              <a:gd name="connsiteX20" fmla="*/ 6459616 w 6689088"/>
              <a:gd name="connsiteY20" fmla="*/ 6380465 h 6689084"/>
              <a:gd name="connsiteX21" fmla="*/ 6459982 w 6689088"/>
              <a:gd name="connsiteY21" fmla="*/ 6380827 h 6689084"/>
              <a:gd name="connsiteX22" fmla="*/ 6459616 w 6689088"/>
              <a:gd name="connsiteY22" fmla="*/ 6381193 h 6689084"/>
              <a:gd name="connsiteX23" fmla="*/ 6459254 w 6689088"/>
              <a:gd name="connsiteY23" fmla="*/ 6380827 h 6689084"/>
              <a:gd name="connsiteX24" fmla="*/ 6459616 w 6689088"/>
              <a:gd name="connsiteY24" fmla="*/ 6380465 h 6689084"/>
              <a:gd name="connsiteX25" fmla="*/ 6305668 w 6689088"/>
              <a:gd name="connsiteY25" fmla="*/ 6380103 h 6689084"/>
              <a:gd name="connsiteX26" fmla="*/ 6306396 w 6689088"/>
              <a:gd name="connsiteY26" fmla="*/ 6380831 h 6689084"/>
              <a:gd name="connsiteX27" fmla="*/ 6305668 w 6689088"/>
              <a:gd name="connsiteY27" fmla="*/ 6381555 h 6689084"/>
              <a:gd name="connsiteX28" fmla="*/ 6304940 w 6689088"/>
              <a:gd name="connsiteY28" fmla="*/ 6380831 h 6689084"/>
              <a:gd name="connsiteX29" fmla="*/ 6305668 w 6689088"/>
              <a:gd name="connsiteY29" fmla="*/ 6380103 h 6689084"/>
              <a:gd name="connsiteX30" fmla="*/ 6459616 w 6689088"/>
              <a:gd name="connsiteY30" fmla="*/ 6226518 h 6689084"/>
              <a:gd name="connsiteX31" fmla="*/ 6459982 w 6689088"/>
              <a:gd name="connsiteY31" fmla="*/ 6226880 h 6689084"/>
              <a:gd name="connsiteX32" fmla="*/ 6459616 w 6689088"/>
              <a:gd name="connsiteY32" fmla="*/ 6227242 h 6689084"/>
              <a:gd name="connsiteX33" fmla="*/ 6459254 w 6689088"/>
              <a:gd name="connsiteY33" fmla="*/ 6226880 h 6689084"/>
              <a:gd name="connsiteX34" fmla="*/ 6459616 w 6689088"/>
              <a:gd name="connsiteY34" fmla="*/ 6226518 h 6689084"/>
              <a:gd name="connsiteX35" fmla="*/ 6305668 w 6689088"/>
              <a:gd name="connsiteY35" fmla="*/ 6226518 h 6689084"/>
              <a:gd name="connsiteX36" fmla="*/ 6306034 w 6689088"/>
              <a:gd name="connsiteY36" fmla="*/ 6226880 h 6689084"/>
              <a:gd name="connsiteX37" fmla="*/ 6305668 w 6689088"/>
              <a:gd name="connsiteY37" fmla="*/ 6227242 h 6689084"/>
              <a:gd name="connsiteX38" fmla="*/ 6305306 w 6689088"/>
              <a:gd name="connsiteY38" fmla="*/ 6226880 h 6689084"/>
              <a:gd name="connsiteX39" fmla="*/ 6305668 w 6689088"/>
              <a:gd name="connsiteY39" fmla="*/ 6226518 h 6689084"/>
              <a:gd name="connsiteX40" fmla="*/ 6152083 w 6689088"/>
              <a:gd name="connsiteY40" fmla="*/ 6226156 h 6689084"/>
              <a:gd name="connsiteX41" fmla="*/ 6152811 w 6689088"/>
              <a:gd name="connsiteY41" fmla="*/ 6226884 h 6689084"/>
              <a:gd name="connsiteX42" fmla="*/ 6152083 w 6689088"/>
              <a:gd name="connsiteY42" fmla="*/ 6227608 h 6689084"/>
              <a:gd name="connsiteX43" fmla="*/ 6151358 w 6689088"/>
              <a:gd name="connsiteY43" fmla="*/ 6226884 h 6689084"/>
              <a:gd name="connsiteX44" fmla="*/ 6152083 w 6689088"/>
              <a:gd name="connsiteY44" fmla="*/ 6226156 h 6689084"/>
              <a:gd name="connsiteX45" fmla="*/ 6305668 w 6689088"/>
              <a:gd name="connsiteY45" fmla="*/ 6072933 h 6689084"/>
              <a:gd name="connsiteX46" fmla="*/ 6306034 w 6689088"/>
              <a:gd name="connsiteY46" fmla="*/ 6073295 h 6689084"/>
              <a:gd name="connsiteX47" fmla="*/ 6305668 w 6689088"/>
              <a:gd name="connsiteY47" fmla="*/ 6073661 h 6689084"/>
              <a:gd name="connsiteX48" fmla="*/ 6305306 w 6689088"/>
              <a:gd name="connsiteY48" fmla="*/ 6073295 h 6689084"/>
              <a:gd name="connsiteX49" fmla="*/ 6305668 w 6689088"/>
              <a:gd name="connsiteY49" fmla="*/ 6072933 h 6689084"/>
              <a:gd name="connsiteX50" fmla="*/ 6152086 w 6689088"/>
              <a:gd name="connsiteY50" fmla="*/ 6072933 h 6689084"/>
              <a:gd name="connsiteX51" fmla="*/ 6152448 w 6689088"/>
              <a:gd name="connsiteY51" fmla="*/ 6073295 h 6689084"/>
              <a:gd name="connsiteX52" fmla="*/ 6152086 w 6689088"/>
              <a:gd name="connsiteY52" fmla="*/ 6073661 h 6689084"/>
              <a:gd name="connsiteX53" fmla="*/ 6151724 w 6689088"/>
              <a:gd name="connsiteY53" fmla="*/ 6073295 h 6689084"/>
              <a:gd name="connsiteX54" fmla="*/ 6152086 w 6689088"/>
              <a:gd name="connsiteY54" fmla="*/ 6072933 h 6689084"/>
              <a:gd name="connsiteX55" fmla="*/ 5998136 w 6689088"/>
              <a:gd name="connsiteY55" fmla="*/ 6072570 h 6689084"/>
              <a:gd name="connsiteX56" fmla="*/ 5998864 w 6689088"/>
              <a:gd name="connsiteY56" fmla="*/ 6073298 h 6689084"/>
              <a:gd name="connsiteX57" fmla="*/ 5998136 w 6689088"/>
              <a:gd name="connsiteY57" fmla="*/ 6074023 h 6689084"/>
              <a:gd name="connsiteX58" fmla="*/ 5997411 w 6689088"/>
              <a:gd name="connsiteY58" fmla="*/ 6073298 h 6689084"/>
              <a:gd name="connsiteX59" fmla="*/ 5998136 w 6689088"/>
              <a:gd name="connsiteY59" fmla="*/ 6072570 h 6689084"/>
              <a:gd name="connsiteX60" fmla="*/ 6613200 w 6689088"/>
              <a:gd name="connsiteY60" fmla="*/ 5918985 h 6689084"/>
              <a:gd name="connsiteX61" fmla="*/ 6613566 w 6689088"/>
              <a:gd name="connsiteY61" fmla="*/ 5919347 h 6689084"/>
              <a:gd name="connsiteX62" fmla="*/ 6613200 w 6689088"/>
              <a:gd name="connsiteY62" fmla="*/ 5919709 h 6689084"/>
              <a:gd name="connsiteX63" fmla="*/ 6612838 w 6689088"/>
              <a:gd name="connsiteY63" fmla="*/ 5919347 h 6689084"/>
              <a:gd name="connsiteX64" fmla="*/ 6613200 w 6689088"/>
              <a:gd name="connsiteY64" fmla="*/ 5918985 h 6689084"/>
              <a:gd name="connsiteX65" fmla="*/ 6152086 w 6689088"/>
              <a:gd name="connsiteY65" fmla="*/ 5918985 h 6689084"/>
              <a:gd name="connsiteX66" fmla="*/ 6152448 w 6689088"/>
              <a:gd name="connsiteY66" fmla="*/ 5919347 h 6689084"/>
              <a:gd name="connsiteX67" fmla="*/ 6152086 w 6689088"/>
              <a:gd name="connsiteY67" fmla="*/ 5919709 h 6689084"/>
              <a:gd name="connsiteX68" fmla="*/ 6151724 w 6689088"/>
              <a:gd name="connsiteY68" fmla="*/ 5919347 h 6689084"/>
              <a:gd name="connsiteX69" fmla="*/ 6152086 w 6689088"/>
              <a:gd name="connsiteY69" fmla="*/ 5918985 h 6689084"/>
              <a:gd name="connsiteX70" fmla="*/ 5998136 w 6689088"/>
              <a:gd name="connsiteY70" fmla="*/ 5918985 h 6689084"/>
              <a:gd name="connsiteX71" fmla="*/ 5998502 w 6689088"/>
              <a:gd name="connsiteY71" fmla="*/ 5919347 h 6689084"/>
              <a:gd name="connsiteX72" fmla="*/ 5998136 w 6689088"/>
              <a:gd name="connsiteY72" fmla="*/ 5919709 h 6689084"/>
              <a:gd name="connsiteX73" fmla="*/ 5997773 w 6689088"/>
              <a:gd name="connsiteY73" fmla="*/ 5919347 h 6689084"/>
              <a:gd name="connsiteX74" fmla="*/ 5998136 w 6689088"/>
              <a:gd name="connsiteY74" fmla="*/ 5918985 h 6689084"/>
              <a:gd name="connsiteX75" fmla="*/ 5844554 w 6689088"/>
              <a:gd name="connsiteY75" fmla="*/ 5918623 h 6689084"/>
              <a:gd name="connsiteX76" fmla="*/ 5845278 w 6689088"/>
              <a:gd name="connsiteY76" fmla="*/ 5919347 h 6689084"/>
              <a:gd name="connsiteX77" fmla="*/ 5844554 w 6689088"/>
              <a:gd name="connsiteY77" fmla="*/ 5920075 h 6689084"/>
              <a:gd name="connsiteX78" fmla="*/ 5843826 w 6689088"/>
              <a:gd name="connsiteY78" fmla="*/ 5919347 h 6689084"/>
              <a:gd name="connsiteX79" fmla="*/ 5844554 w 6689088"/>
              <a:gd name="connsiteY79" fmla="*/ 5918623 h 6689084"/>
              <a:gd name="connsiteX80" fmla="*/ 6459616 w 6689088"/>
              <a:gd name="connsiteY80" fmla="*/ 5765400 h 6689084"/>
              <a:gd name="connsiteX81" fmla="*/ 6459982 w 6689088"/>
              <a:gd name="connsiteY81" fmla="*/ 5765762 h 6689084"/>
              <a:gd name="connsiteX82" fmla="*/ 6459616 w 6689088"/>
              <a:gd name="connsiteY82" fmla="*/ 5766128 h 6689084"/>
              <a:gd name="connsiteX83" fmla="*/ 6459254 w 6689088"/>
              <a:gd name="connsiteY83" fmla="*/ 5765762 h 6689084"/>
              <a:gd name="connsiteX84" fmla="*/ 6459616 w 6689088"/>
              <a:gd name="connsiteY84" fmla="*/ 5765400 h 6689084"/>
              <a:gd name="connsiteX85" fmla="*/ 5998136 w 6689088"/>
              <a:gd name="connsiteY85" fmla="*/ 5765400 h 6689084"/>
              <a:gd name="connsiteX86" fmla="*/ 5998502 w 6689088"/>
              <a:gd name="connsiteY86" fmla="*/ 5765762 h 6689084"/>
              <a:gd name="connsiteX87" fmla="*/ 5998136 w 6689088"/>
              <a:gd name="connsiteY87" fmla="*/ 5766128 h 6689084"/>
              <a:gd name="connsiteX88" fmla="*/ 5997773 w 6689088"/>
              <a:gd name="connsiteY88" fmla="*/ 5765762 h 6689084"/>
              <a:gd name="connsiteX89" fmla="*/ 5998136 w 6689088"/>
              <a:gd name="connsiteY89" fmla="*/ 5765400 h 6689084"/>
              <a:gd name="connsiteX90" fmla="*/ 5844550 w 6689088"/>
              <a:gd name="connsiteY90" fmla="*/ 5765400 h 6689084"/>
              <a:gd name="connsiteX91" fmla="*/ 5844916 w 6689088"/>
              <a:gd name="connsiteY91" fmla="*/ 5765762 h 6689084"/>
              <a:gd name="connsiteX92" fmla="*/ 5844550 w 6689088"/>
              <a:gd name="connsiteY92" fmla="*/ 5766128 h 6689084"/>
              <a:gd name="connsiteX93" fmla="*/ 5844188 w 6689088"/>
              <a:gd name="connsiteY93" fmla="*/ 5765762 h 6689084"/>
              <a:gd name="connsiteX94" fmla="*/ 5844550 w 6689088"/>
              <a:gd name="connsiteY94" fmla="*/ 5765400 h 6689084"/>
              <a:gd name="connsiteX95" fmla="*/ 5690602 w 6689088"/>
              <a:gd name="connsiteY95" fmla="*/ 5765038 h 6689084"/>
              <a:gd name="connsiteX96" fmla="*/ 5691331 w 6689088"/>
              <a:gd name="connsiteY96" fmla="*/ 5765766 h 6689084"/>
              <a:gd name="connsiteX97" fmla="*/ 5690602 w 6689088"/>
              <a:gd name="connsiteY97" fmla="*/ 5766490 h 6689084"/>
              <a:gd name="connsiteX98" fmla="*/ 5689874 w 6689088"/>
              <a:gd name="connsiteY98" fmla="*/ 5765766 h 6689084"/>
              <a:gd name="connsiteX99" fmla="*/ 5690602 w 6689088"/>
              <a:gd name="connsiteY99" fmla="*/ 5765038 h 6689084"/>
              <a:gd name="connsiteX100" fmla="*/ 6613200 w 6689088"/>
              <a:gd name="connsiteY100" fmla="*/ 5764313 h 6689084"/>
              <a:gd name="connsiteX101" fmla="*/ 6614653 w 6689088"/>
              <a:gd name="connsiteY101" fmla="*/ 5765766 h 6689084"/>
              <a:gd name="connsiteX102" fmla="*/ 6613200 w 6689088"/>
              <a:gd name="connsiteY102" fmla="*/ 5767218 h 6689084"/>
              <a:gd name="connsiteX103" fmla="*/ 6611752 w 6689088"/>
              <a:gd name="connsiteY103" fmla="*/ 5765766 h 6689084"/>
              <a:gd name="connsiteX104" fmla="*/ 6613200 w 6689088"/>
              <a:gd name="connsiteY104" fmla="*/ 5764313 h 6689084"/>
              <a:gd name="connsiteX105" fmla="*/ 6305668 w 6689088"/>
              <a:gd name="connsiteY105" fmla="*/ 5611452 h 6689084"/>
              <a:gd name="connsiteX106" fmla="*/ 6306034 w 6689088"/>
              <a:gd name="connsiteY106" fmla="*/ 5611815 h 6689084"/>
              <a:gd name="connsiteX107" fmla="*/ 6305668 w 6689088"/>
              <a:gd name="connsiteY107" fmla="*/ 5612177 h 6689084"/>
              <a:gd name="connsiteX108" fmla="*/ 6305306 w 6689088"/>
              <a:gd name="connsiteY108" fmla="*/ 5611815 h 6689084"/>
              <a:gd name="connsiteX109" fmla="*/ 6305668 w 6689088"/>
              <a:gd name="connsiteY109" fmla="*/ 5611452 h 6689084"/>
              <a:gd name="connsiteX110" fmla="*/ 5844550 w 6689088"/>
              <a:gd name="connsiteY110" fmla="*/ 5611452 h 6689084"/>
              <a:gd name="connsiteX111" fmla="*/ 5844916 w 6689088"/>
              <a:gd name="connsiteY111" fmla="*/ 5611815 h 6689084"/>
              <a:gd name="connsiteX112" fmla="*/ 5844550 w 6689088"/>
              <a:gd name="connsiteY112" fmla="*/ 5612181 h 6689084"/>
              <a:gd name="connsiteX113" fmla="*/ 5844188 w 6689088"/>
              <a:gd name="connsiteY113" fmla="*/ 5611815 h 6689084"/>
              <a:gd name="connsiteX114" fmla="*/ 5844550 w 6689088"/>
              <a:gd name="connsiteY114" fmla="*/ 5611452 h 6689084"/>
              <a:gd name="connsiteX115" fmla="*/ 5690606 w 6689088"/>
              <a:gd name="connsiteY115" fmla="*/ 5611452 h 6689084"/>
              <a:gd name="connsiteX116" fmla="*/ 5690972 w 6689088"/>
              <a:gd name="connsiteY116" fmla="*/ 5611815 h 6689084"/>
              <a:gd name="connsiteX117" fmla="*/ 5690606 w 6689088"/>
              <a:gd name="connsiteY117" fmla="*/ 5612181 h 6689084"/>
              <a:gd name="connsiteX118" fmla="*/ 5690244 w 6689088"/>
              <a:gd name="connsiteY118" fmla="*/ 5611815 h 6689084"/>
              <a:gd name="connsiteX119" fmla="*/ 5690606 w 6689088"/>
              <a:gd name="connsiteY119" fmla="*/ 5611452 h 6689084"/>
              <a:gd name="connsiteX120" fmla="*/ 5537021 w 6689088"/>
              <a:gd name="connsiteY120" fmla="*/ 5611090 h 6689084"/>
              <a:gd name="connsiteX121" fmla="*/ 5537750 w 6689088"/>
              <a:gd name="connsiteY121" fmla="*/ 5611815 h 6689084"/>
              <a:gd name="connsiteX122" fmla="*/ 5537021 w 6689088"/>
              <a:gd name="connsiteY122" fmla="*/ 5612543 h 6689084"/>
              <a:gd name="connsiteX123" fmla="*/ 5536297 w 6689088"/>
              <a:gd name="connsiteY123" fmla="*/ 5611815 h 6689084"/>
              <a:gd name="connsiteX124" fmla="*/ 5537021 w 6689088"/>
              <a:gd name="connsiteY124" fmla="*/ 5611090 h 6689084"/>
              <a:gd name="connsiteX125" fmla="*/ 6459616 w 6689088"/>
              <a:gd name="connsiteY125" fmla="*/ 5610366 h 6689084"/>
              <a:gd name="connsiteX126" fmla="*/ 6461068 w 6689088"/>
              <a:gd name="connsiteY126" fmla="*/ 5611818 h 6689084"/>
              <a:gd name="connsiteX127" fmla="*/ 6459616 w 6689088"/>
              <a:gd name="connsiteY127" fmla="*/ 5613271 h 6689084"/>
              <a:gd name="connsiteX128" fmla="*/ 6458163 w 6689088"/>
              <a:gd name="connsiteY128" fmla="*/ 5611818 h 6689084"/>
              <a:gd name="connsiteX129" fmla="*/ 6459616 w 6689088"/>
              <a:gd name="connsiteY129" fmla="*/ 5610366 h 6689084"/>
              <a:gd name="connsiteX130" fmla="*/ 6613200 w 6689088"/>
              <a:gd name="connsiteY130" fmla="*/ 5609638 h 6689084"/>
              <a:gd name="connsiteX131" fmla="*/ 6615381 w 6689088"/>
              <a:gd name="connsiteY131" fmla="*/ 5611815 h 6689084"/>
              <a:gd name="connsiteX132" fmla="*/ 6613200 w 6689088"/>
              <a:gd name="connsiteY132" fmla="*/ 5613995 h 6689084"/>
              <a:gd name="connsiteX133" fmla="*/ 6611024 w 6689088"/>
              <a:gd name="connsiteY133" fmla="*/ 5611815 h 6689084"/>
              <a:gd name="connsiteX134" fmla="*/ 6613200 w 6689088"/>
              <a:gd name="connsiteY134" fmla="*/ 5609638 h 6689084"/>
              <a:gd name="connsiteX135" fmla="*/ 6152086 w 6689088"/>
              <a:gd name="connsiteY135" fmla="*/ 5457871 h 6689084"/>
              <a:gd name="connsiteX136" fmla="*/ 6152448 w 6689088"/>
              <a:gd name="connsiteY136" fmla="*/ 5458233 h 6689084"/>
              <a:gd name="connsiteX137" fmla="*/ 6152086 w 6689088"/>
              <a:gd name="connsiteY137" fmla="*/ 5458595 h 6689084"/>
              <a:gd name="connsiteX138" fmla="*/ 6151724 w 6689088"/>
              <a:gd name="connsiteY138" fmla="*/ 5458233 h 6689084"/>
              <a:gd name="connsiteX139" fmla="*/ 6152086 w 6689088"/>
              <a:gd name="connsiteY139" fmla="*/ 5457871 h 6689084"/>
              <a:gd name="connsiteX140" fmla="*/ 5690606 w 6689088"/>
              <a:gd name="connsiteY140" fmla="*/ 5457871 h 6689084"/>
              <a:gd name="connsiteX141" fmla="*/ 5690972 w 6689088"/>
              <a:gd name="connsiteY141" fmla="*/ 5458233 h 6689084"/>
              <a:gd name="connsiteX142" fmla="*/ 5690606 w 6689088"/>
              <a:gd name="connsiteY142" fmla="*/ 5458595 h 6689084"/>
              <a:gd name="connsiteX143" fmla="*/ 5690244 w 6689088"/>
              <a:gd name="connsiteY143" fmla="*/ 5458233 h 6689084"/>
              <a:gd name="connsiteX144" fmla="*/ 5690606 w 6689088"/>
              <a:gd name="connsiteY144" fmla="*/ 5457871 h 6689084"/>
              <a:gd name="connsiteX145" fmla="*/ 5536659 w 6689088"/>
              <a:gd name="connsiteY145" fmla="*/ 5457871 h 6689084"/>
              <a:gd name="connsiteX146" fmla="*/ 5537021 w 6689088"/>
              <a:gd name="connsiteY146" fmla="*/ 5458233 h 6689084"/>
              <a:gd name="connsiteX147" fmla="*/ 5536659 w 6689088"/>
              <a:gd name="connsiteY147" fmla="*/ 5458595 h 6689084"/>
              <a:gd name="connsiteX148" fmla="*/ 5536297 w 6689088"/>
              <a:gd name="connsiteY148" fmla="*/ 5458233 h 6689084"/>
              <a:gd name="connsiteX149" fmla="*/ 5536659 w 6689088"/>
              <a:gd name="connsiteY149" fmla="*/ 5457871 h 6689084"/>
              <a:gd name="connsiteX150" fmla="*/ 5383078 w 6689088"/>
              <a:gd name="connsiteY150" fmla="*/ 5457505 h 6689084"/>
              <a:gd name="connsiteX151" fmla="*/ 5383802 w 6689088"/>
              <a:gd name="connsiteY151" fmla="*/ 5458233 h 6689084"/>
              <a:gd name="connsiteX152" fmla="*/ 5383078 w 6689088"/>
              <a:gd name="connsiteY152" fmla="*/ 5458957 h 6689084"/>
              <a:gd name="connsiteX153" fmla="*/ 5382350 w 6689088"/>
              <a:gd name="connsiteY153" fmla="*/ 5458233 h 6689084"/>
              <a:gd name="connsiteX154" fmla="*/ 5383078 w 6689088"/>
              <a:gd name="connsiteY154" fmla="*/ 5457505 h 6689084"/>
              <a:gd name="connsiteX155" fmla="*/ 6305668 w 6689088"/>
              <a:gd name="connsiteY155" fmla="*/ 5456781 h 6689084"/>
              <a:gd name="connsiteX156" fmla="*/ 6307120 w 6689088"/>
              <a:gd name="connsiteY156" fmla="*/ 5458233 h 6689084"/>
              <a:gd name="connsiteX157" fmla="*/ 6305668 w 6689088"/>
              <a:gd name="connsiteY157" fmla="*/ 5459685 h 6689084"/>
              <a:gd name="connsiteX158" fmla="*/ 6304216 w 6689088"/>
              <a:gd name="connsiteY158" fmla="*/ 5458233 h 6689084"/>
              <a:gd name="connsiteX159" fmla="*/ 6305668 w 6689088"/>
              <a:gd name="connsiteY159" fmla="*/ 5456781 h 6689084"/>
              <a:gd name="connsiteX160" fmla="*/ 6459619 w 6689088"/>
              <a:gd name="connsiteY160" fmla="*/ 5456053 h 6689084"/>
              <a:gd name="connsiteX161" fmla="*/ 6461796 w 6689088"/>
              <a:gd name="connsiteY161" fmla="*/ 5458233 h 6689084"/>
              <a:gd name="connsiteX162" fmla="*/ 6459619 w 6689088"/>
              <a:gd name="connsiteY162" fmla="*/ 5460410 h 6689084"/>
              <a:gd name="connsiteX163" fmla="*/ 6457439 w 6689088"/>
              <a:gd name="connsiteY163" fmla="*/ 5458233 h 6689084"/>
              <a:gd name="connsiteX164" fmla="*/ 6459619 w 6689088"/>
              <a:gd name="connsiteY164" fmla="*/ 5456053 h 6689084"/>
              <a:gd name="connsiteX165" fmla="*/ 6613200 w 6689088"/>
              <a:gd name="connsiteY165" fmla="*/ 5454966 h 6689084"/>
              <a:gd name="connsiteX166" fmla="*/ 6616468 w 6689088"/>
              <a:gd name="connsiteY166" fmla="*/ 5458233 h 6689084"/>
              <a:gd name="connsiteX167" fmla="*/ 6613200 w 6689088"/>
              <a:gd name="connsiteY167" fmla="*/ 5461500 h 6689084"/>
              <a:gd name="connsiteX168" fmla="*/ 6609934 w 6689088"/>
              <a:gd name="connsiteY168" fmla="*/ 5458233 h 6689084"/>
              <a:gd name="connsiteX169" fmla="*/ 6613200 w 6689088"/>
              <a:gd name="connsiteY169" fmla="*/ 5454966 h 6689084"/>
              <a:gd name="connsiteX170" fmla="*/ 5998136 w 6689088"/>
              <a:gd name="connsiteY170" fmla="*/ 5303924 h 6689084"/>
              <a:gd name="connsiteX171" fmla="*/ 5998502 w 6689088"/>
              <a:gd name="connsiteY171" fmla="*/ 5304286 h 6689084"/>
              <a:gd name="connsiteX172" fmla="*/ 5998136 w 6689088"/>
              <a:gd name="connsiteY172" fmla="*/ 5304652 h 6689084"/>
              <a:gd name="connsiteX173" fmla="*/ 5997773 w 6689088"/>
              <a:gd name="connsiteY173" fmla="*/ 5304286 h 6689084"/>
              <a:gd name="connsiteX174" fmla="*/ 5998136 w 6689088"/>
              <a:gd name="connsiteY174" fmla="*/ 5303924 h 6689084"/>
              <a:gd name="connsiteX175" fmla="*/ 5536659 w 6689088"/>
              <a:gd name="connsiteY175" fmla="*/ 5303924 h 6689084"/>
              <a:gd name="connsiteX176" fmla="*/ 5537021 w 6689088"/>
              <a:gd name="connsiteY176" fmla="*/ 5304286 h 6689084"/>
              <a:gd name="connsiteX177" fmla="*/ 5536659 w 6689088"/>
              <a:gd name="connsiteY177" fmla="*/ 5304652 h 6689084"/>
              <a:gd name="connsiteX178" fmla="*/ 5536297 w 6689088"/>
              <a:gd name="connsiteY178" fmla="*/ 5304286 h 6689084"/>
              <a:gd name="connsiteX179" fmla="*/ 5536659 w 6689088"/>
              <a:gd name="connsiteY179" fmla="*/ 5303924 h 6689084"/>
              <a:gd name="connsiteX180" fmla="*/ 5383074 w 6689088"/>
              <a:gd name="connsiteY180" fmla="*/ 5303924 h 6689084"/>
              <a:gd name="connsiteX181" fmla="*/ 5383436 w 6689088"/>
              <a:gd name="connsiteY181" fmla="*/ 5304286 h 6689084"/>
              <a:gd name="connsiteX182" fmla="*/ 5383074 w 6689088"/>
              <a:gd name="connsiteY182" fmla="*/ 5304652 h 6689084"/>
              <a:gd name="connsiteX183" fmla="*/ 5382712 w 6689088"/>
              <a:gd name="connsiteY183" fmla="*/ 5304286 h 6689084"/>
              <a:gd name="connsiteX184" fmla="*/ 5383074 w 6689088"/>
              <a:gd name="connsiteY184" fmla="*/ 5303924 h 6689084"/>
              <a:gd name="connsiteX185" fmla="*/ 5229126 w 6689088"/>
              <a:gd name="connsiteY185" fmla="*/ 5303558 h 6689084"/>
              <a:gd name="connsiteX186" fmla="*/ 5229854 w 6689088"/>
              <a:gd name="connsiteY186" fmla="*/ 5304282 h 6689084"/>
              <a:gd name="connsiteX187" fmla="*/ 5229126 w 6689088"/>
              <a:gd name="connsiteY187" fmla="*/ 5305010 h 6689084"/>
              <a:gd name="connsiteX188" fmla="*/ 5228402 w 6689088"/>
              <a:gd name="connsiteY188" fmla="*/ 5304282 h 6689084"/>
              <a:gd name="connsiteX189" fmla="*/ 5229126 w 6689088"/>
              <a:gd name="connsiteY189" fmla="*/ 5303558 h 6689084"/>
              <a:gd name="connsiteX190" fmla="*/ 6152086 w 6689088"/>
              <a:gd name="connsiteY190" fmla="*/ 5302833 h 6689084"/>
              <a:gd name="connsiteX191" fmla="*/ 6153539 w 6689088"/>
              <a:gd name="connsiteY191" fmla="*/ 5304286 h 6689084"/>
              <a:gd name="connsiteX192" fmla="*/ 6152086 w 6689088"/>
              <a:gd name="connsiteY192" fmla="*/ 5305738 h 6689084"/>
              <a:gd name="connsiteX193" fmla="*/ 6150638 w 6689088"/>
              <a:gd name="connsiteY193" fmla="*/ 5304286 h 6689084"/>
              <a:gd name="connsiteX194" fmla="*/ 6152086 w 6689088"/>
              <a:gd name="connsiteY194" fmla="*/ 5302833 h 6689084"/>
              <a:gd name="connsiteX195" fmla="*/ 6305672 w 6689088"/>
              <a:gd name="connsiteY195" fmla="*/ 5302105 h 6689084"/>
              <a:gd name="connsiteX196" fmla="*/ 6307848 w 6689088"/>
              <a:gd name="connsiteY196" fmla="*/ 5304282 h 6689084"/>
              <a:gd name="connsiteX197" fmla="*/ 6305672 w 6689088"/>
              <a:gd name="connsiteY197" fmla="*/ 5306462 h 6689084"/>
              <a:gd name="connsiteX198" fmla="*/ 6303492 w 6689088"/>
              <a:gd name="connsiteY198" fmla="*/ 5304282 h 6689084"/>
              <a:gd name="connsiteX199" fmla="*/ 6305672 w 6689088"/>
              <a:gd name="connsiteY199" fmla="*/ 5302105 h 6689084"/>
              <a:gd name="connsiteX200" fmla="*/ 6459619 w 6689088"/>
              <a:gd name="connsiteY200" fmla="*/ 5301019 h 6689084"/>
              <a:gd name="connsiteX201" fmla="*/ 6462882 w 6689088"/>
              <a:gd name="connsiteY201" fmla="*/ 5304286 h 6689084"/>
              <a:gd name="connsiteX202" fmla="*/ 6459619 w 6689088"/>
              <a:gd name="connsiteY202" fmla="*/ 5307553 h 6689084"/>
              <a:gd name="connsiteX203" fmla="*/ 6456348 w 6689088"/>
              <a:gd name="connsiteY203" fmla="*/ 5304286 h 6689084"/>
              <a:gd name="connsiteX204" fmla="*/ 6459619 w 6689088"/>
              <a:gd name="connsiteY204" fmla="*/ 5301019 h 6689084"/>
              <a:gd name="connsiteX205" fmla="*/ 6613200 w 6689088"/>
              <a:gd name="connsiteY205" fmla="*/ 5299929 h 6689084"/>
              <a:gd name="connsiteX206" fmla="*/ 6617558 w 6689088"/>
              <a:gd name="connsiteY206" fmla="*/ 5304286 h 6689084"/>
              <a:gd name="connsiteX207" fmla="*/ 6613200 w 6689088"/>
              <a:gd name="connsiteY207" fmla="*/ 5308643 h 6689084"/>
              <a:gd name="connsiteX208" fmla="*/ 6608844 w 6689088"/>
              <a:gd name="connsiteY208" fmla="*/ 5304286 h 6689084"/>
              <a:gd name="connsiteX209" fmla="*/ 6613200 w 6689088"/>
              <a:gd name="connsiteY209" fmla="*/ 5299929 h 6689084"/>
              <a:gd name="connsiteX210" fmla="*/ 5844550 w 6689088"/>
              <a:gd name="connsiteY210" fmla="*/ 5150338 h 6689084"/>
              <a:gd name="connsiteX211" fmla="*/ 5844916 w 6689088"/>
              <a:gd name="connsiteY211" fmla="*/ 5150700 h 6689084"/>
              <a:gd name="connsiteX212" fmla="*/ 5844550 w 6689088"/>
              <a:gd name="connsiteY212" fmla="*/ 5151063 h 6689084"/>
              <a:gd name="connsiteX213" fmla="*/ 5844188 w 6689088"/>
              <a:gd name="connsiteY213" fmla="*/ 5150700 h 6689084"/>
              <a:gd name="connsiteX214" fmla="*/ 5844550 w 6689088"/>
              <a:gd name="connsiteY214" fmla="*/ 5150338 h 6689084"/>
              <a:gd name="connsiteX215" fmla="*/ 5383074 w 6689088"/>
              <a:gd name="connsiteY215" fmla="*/ 5150338 h 6689084"/>
              <a:gd name="connsiteX216" fmla="*/ 5383436 w 6689088"/>
              <a:gd name="connsiteY216" fmla="*/ 5150700 h 6689084"/>
              <a:gd name="connsiteX217" fmla="*/ 5383074 w 6689088"/>
              <a:gd name="connsiteY217" fmla="*/ 5151063 h 6689084"/>
              <a:gd name="connsiteX218" fmla="*/ 5382712 w 6689088"/>
              <a:gd name="connsiteY218" fmla="*/ 5150700 h 6689084"/>
              <a:gd name="connsiteX219" fmla="*/ 5383074 w 6689088"/>
              <a:gd name="connsiteY219" fmla="*/ 5150338 h 6689084"/>
              <a:gd name="connsiteX220" fmla="*/ 5229126 w 6689088"/>
              <a:gd name="connsiteY220" fmla="*/ 5150338 h 6689084"/>
              <a:gd name="connsiteX221" fmla="*/ 5229488 w 6689088"/>
              <a:gd name="connsiteY221" fmla="*/ 5150700 h 6689084"/>
              <a:gd name="connsiteX222" fmla="*/ 5229126 w 6689088"/>
              <a:gd name="connsiteY222" fmla="*/ 5151063 h 6689084"/>
              <a:gd name="connsiteX223" fmla="*/ 5228764 w 6689088"/>
              <a:gd name="connsiteY223" fmla="*/ 5150700 h 6689084"/>
              <a:gd name="connsiteX224" fmla="*/ 5229126 w 6689088"/>
              <a:gd name="connsiteY224" fmla="*/ 5150338 h 6689084"/>
              <a:gd name="connsiteX225" fmla="*/ 5075545 w 6689088"/>
              <a:gd name="connsiteY225" fmla="*/ 5149972 h 6689084"/>
              <a:gd name="connsiteX226" fmla="*/ 5076270 w 6689088"/>
              <a:gd name="connsiteY226" fmla="*/ 5150700 h 6689084"/>
              <a:gd name="connsiteX227" fmla="*/ 5075545 w 6689088"/>
              <a:gd name="connsiteY227" fmla="*/ 5151425 h 6689084"/>
              <a:gd name="connsiteX228" fmla="*/ 5074817 w 6689088"/>
              <a:gd name="connsiteY228" fmla="*/ 5150700 h 6689084"/>
              <a:gd name="connsiteX229" fmla="*/ 5075545 w 6689088"/>
              <a:gd name="connsiteY229" fmla="*/ 5149972 h 6689084"/>
              <a:gd name="connsiteX230" fmla="*/ 5998139 w 6689088"/>
              <a:gd name="connsiteY230" fmla="*/ 5149248 h 6689084"/>
              <a:gd name="connsiteX231" fmla="*/ 5999592 w 6689088"/>
              <a:gd name="connsiteY231" fmla="*/ 5150700 h 6689084"/>
              <a:gd name="connsiteX232" fmla="*/ 5998139 w 6689088"/>
              <a:gd name="connsiteY232" fmla="*/ 5152153 h 6689084"/>
              <a:gd name="connsiteX233" fmla="*/ 5996690 w 6689088"/>
              <a:gd name="connsiteY233" fmla="*/ 5150700 h 6689084"/>
              <a:gd name="connsiteX234" fmla="*/ 5998139 w 6689088"/>
              <a:gd name="connsiteY234" fmla="*/ 5149248 h 6689084"/>
              <a:gd name="connsiteX235" fmla="*/ 6152083 w 6689088"/>
              <a:gd name="connsiteY235" fmla="*/ 5148524 h 6689084"/>
              <a:gd name="connsiteX236" fmla="*/ 6154263 w 6689088"/>
              <a:gd name="connsiteY236" fmla="*/ 5150704 h 6689084"/>
              <a:gd name="connsiteX237" fmla="*/ 6152083 w 6689088"/>
              <a:gd name="connsiteY237" fmla="*/ 5152881 h 6689084"/>
              <a:gd name="connsiteX238" fmla="*/ 6149906 w 6689088"/>
              <a:gd name="connsiteY238" fmla="*/ 5150704 h 6689084"/>
              <a:gd name="connsiteX239" fmla="*/ 6152083 w 6689088"/>
              <a:gd name="connsiteY239" fmla="*/ 5148524 h 6689084"/>
              <a:gd name="connsiteX240" fmla="*/ 6305672 w 6689088"/>
              <a:gd name="connsiteY240" fmla="*/ 5147434 h 6689084"/>
              <a:gd name="connsiteX241" fmla="*/ 6308935 w 6689088"/>
              <a:gd name="connsiteY241" fmla="*/ 5150700 h 6689084"/>
              <a:gd name="connsiteX242" fmla="*/ 6305672 w 6689088"/>
              <a:gd name="connsiteY242" fmla="*/ 5153967 h 6689084"/>
              <a:gd name="connsiteX243" fmla="*/ 6302401 w 6689088"/>
              <a:gd name="connsiteY243" fmla="*/ 5150700 h 6689084"/>
              <a:gd name="connsiteX244" fmla="*/ 6305672 w 6689088"/>
              <a:gd name="connsiteY244" fmla="*/ 5147434 h 6689084"/>
              <a:gd name="connsiteX245" fmla="*/ 6459616 w 6689088"/>
              <a:gd name="connsiteY245" fmla="*/ 5145981 h 6689084"/>
              <a:gd name="connsiteX246" fmla="*/ 6463972 w 6689088"/>
              <a:gd name="connsiteY246" fmla="*/ 5150338 h 6689084"/>
              <a:gd name="connsiteX247" fmla="*/ 6459616 w 6689088"/>
              <a:gd name="connsiteY247" fmla="*/ 5154695 h 6689084"/>
              <a:gd name="connsiteX248" fmla="*/ 6455258 w 6689088"/>
              <a:gd name="connsiteY248" fmla="*/ 5150338 h 6689084"/>
              <a:gd name="connsiteX249" fmla="*/ 6459616 w 6689088"/>
              <a:gd name="connsiteY249" fmla="*/ 5145981 h 6689084"/>
              <a:gd name="connsiteX250" fmla="*/ 6613200 w 6689088"/>
              <a:gd name="connsiteY250" fmla="*/ 5144891 h 6689084"/>
              <a:gd name="connsiteX251" fmla="*/ 6619010 w 6689088"/>
              <a:gd name="connsiteY251" fmla="*/ 5150700 h 6689084"/>
              <a:gd name="connsiteX252" fmla="*/ 6613200 w 6689088"/>
              <a:gd name="connsiteY252" fmla="*/ 5156510 h 6689084"/>
              <a:gd name="connsiteX253" fmla="*/ 6607395 w 6689088"/>
              <a:gd name="connsiteY253" fmla="*/ 5150700 h 6689084"/>
              <a:gd name="connsiteX254" fmla="*/ 6613200 w 6689088"/>
              <a:gd name="connsiteY254" fmla="*/ 5144891 h 6689084"/>
              <a:gd name="connsiteX255" fmla="*/ 5690606 w 6689088"/>
              <a:gd name="connsiteY255" fmla="*/ 4996391 h 6689084"/>
              <a:gd name="connsiteX256" fmla="*/ 5690972 w 6689088"/>
              <a:gd name="connsiteY256" fmla="*/ 4996753 h 6689084"/>
              <a:gd name="connsiteX257" fmla="*/ 5690606 w 6689088"/>
              <a:gd name="connsiteY257" fmla="*/ 4997119 h 6689084"/>
              <a:gd name="connsiteX258" fmla="*/ 5690244 w 6689088"/>
              <a:gd name="connsiteY258" fmla="*/ 4996753 h 6689084"/>
              <a:gd name="connsiteX259" fmla="*/ 5690606 w 6689088"/>
              <a:gd name="connsiteY259" fmla="*/ 4996391 h 6689084"/>
              <a:gd name="connsiteX260" fmla="*/ 5229126 w 6689088"/>
              <a:gd name="connsiteY260" fmla="*/ 4996391 h 6689084"/>
              <a:gd name="connsiteX261" fmla="*/ 5229488 w 6689088"/>
              <a:gd name="connsiteY261" fmla="*/ 4996753 h 6689084"/>
              <a:gd name="connsiteX262" fmla="*/ 5229126 w 6689088"/>
              <a:gd name="connsiteY262" fmla="*/ 4997119 h 6689084"/>
              <a:gd name="connsiteX263" fmla="*/ 5228764 w 6689088"/>
              <a:gd name="connsiteY263" fmla="*/ 4996753 h 6689084"/>
              <a:gd name="connsiteX264" fmla="*/ 5229126 w 6689088"/>
              <a:gd name="connsiteY264" fmla="*/ 4996391 h 6689084"/>
              <a:gd name="connsiteX265" fmla="*/ 5075541 w 6689088"/>
              <a:gd name="connsiteY265" fmla="*/ 4996391 h 6689084"/>
              <a:gd name="connsiteX266" fmla="*/ 5075904 w 6689088"/>
              <a:gd name="connsiteY266" fmla="*/ 4996753 h 6689084"/>
              <a:gd name="connsiteX267" fmla="*/ 5075541 w 6689088"/>
              <a:gd name="connsiteY267" fmla="*/ 4997119 h 6689084"/>
              <a:gd name="connsiteX268" fmla="*/ 5075179 w 6689088"/>
              <a:gd name="connsiteY268" fmla="*/ 4996753 h 6689084"/>
              <a:gd name="connsiteX269" fmla="*/ 5075541 w 6689088"/>
              <a:gd name="connsiteY269" fmla="*/ 4996391 h 6689084"/>
              <a:gd name="connsiteX270" fmla="*/ 4921594 w 6689088"/>
              <a:gd name="connsiteY270" fmla="*/ 4996029 h 6689084"/>
              <a:gd name="connsiteX271" fmla="*/ 4922322 w 6689088"/>
              <a:gd name="connsiteY271" fmla="*/ 4996753 h 6689084"/>
              <a:gd name="connsiteX272" fmla="*/ 4921594 w 6689088"/>
              <a:gd name="connsiteY272" fmla="*/ 4997481 h 6689084"/>
              <a:gd name="connsiteX273" fmla="*/ 4920870 w 6689088"/>
              <a:gd name="connsiteY273" fmla="*/ 4996753 h 6689084"/>
              <a:gd name="connsiteX274" fmla="*/ 4921594 w 6689088"/>
              <a:gd name="connsiteY274" fmla="*/ 4996029 h 6689084"/>
              <a:gd name="connsiteX275" fmla="*/ 5844554 w 6689088"/>
              <a:gd name="connsiteY275" fmla="*/ 4995301 h 6689084"/>
              <a:gd name="connsiteX276" fmla="*/ 5846006 w 6689088"/>
              <a:gd name="connsiteY276" fmla="*/ 4996753 h 6689084"/>
              <a:gd name="connsiteX277" fmla="*/ 5844554 w 6689088"/>
              <a:gd name="connsiteY277" fmla="*/ 4998205 h 6689084"/>
              <a:gd name="connsiteX278" fmla="*/ 5843102 w 6689088"/>
              <a:gd name="connsiteY278" fmla="*/ 4996753 h 6689084"/>
              <a:gd name="connsiteX279" fmla="*/ 5844554 w 6689088"/>
              <a:gd name="connsiteY279" fmla="*/ 4995301 h 6689084"/>
              <a:gd name="connsiteX280" fmla="*/ 5998136 w 6689088"/>
              <a:gd name="connsiteY280" fmla="*/ 4994577 h 6689084"/>
              <a:gd name="connsiteX281" fmla="*/ 6000316 w 6689088"/>
              <a:gd name="connsiteY281" fmla="*/ 4996753 h 6689084"/>
              <a:gd name="connsiteX282" fmla="*/ 5998136 w 6689088"/>
              <a:gd name="connsiteY282" fmla="*/ 4998934 h 6689084"/>
              <a:gd name="connsiteX283" fmla="*/ 5995959 w 6689088"/>
              <a:gd name="connsiteY283" fmla="*/ 4996753 h 6689084"/>
              <a:gd name="connsiteX284" fmla="*/ 5998136 w 6689088"/>
              <a:gd name="connsiteY284" fmla="*/ 4994577 h 6689084"/>
              <a:gd name="connsiteX285" fmla="*/ 6152083 w 6689088"/>
              <a:gd name="connsiteY285" fmla="*/ 4993486 h 6689084"/>
              <a:gd name="connsiteX286" fmla="*/ 6155350 w 6689088"/>
              <a:gd name="connsiteY286" fmla="*/ 4996753 h 6689084"/>
              <a:gd name="connsiteX287" fmla="*/ 6152083 w 6689088"/>
              <a:gd name="connsiteY287" fmla="*/ 5000024 h 6689084"/>
              <a:gd name="connsiteX288" fmla="*/ 6148816 w 6689088"/>
              <a:gd name="connsiteY288" fmla="*/ 4996753 h 6689084"/>
              <a:gd name="connsiteX289" fmla="*/ 6152083 w 6689088"/>
              <a:gd name="connsiteY289" fmla="*/ 4993486 h 6689084"/>
              <a:gd name="connsiteX290" fmla="*/ 6305668 w 6689088"/>
              <a:gd name="connsiteY290" fmla="*/ 4992396 h 6689084"/>
              <a:gd name="connsiteX291" fmla="*/ 6310025 w 6689088"/>
              <a:gd name="connsiteY291" fmla="*/ 4996753 h 6689084"/>
              <a:gd name="connsiteX292" fmla="*/ 6305668 w 6689088"/>
              <a:gd name="connsiteY292" fmla="*/ 5001110 h 6689084"/>
              <a:gd name="connsiteX293" fmla="*/ 6301311 w 6689088"/>
              <a:gd name="connsiteY293" fmla="*/ 4996753 h 6689084"/>
              <a:gd name="connsiteX294" fmla="*/ 6305668 w 6689088"/>
              <a:gd name="connsiteY294" fmla="*/ 4992396 h 6689084"/>
              <a:gd name="connsiteX295" fmla="*/ 6459616 w 6689088"/>
              <a:gd name="connsiteY295" fmla="*/ 4990944 h 6689084"/>
              <a:gd name="connsiteX296" fmla="*/ 6465425 w 6689088"/>
              <a:gd name="connsiteY296" fmla="*/ 4996753 h 6689084"/>
              <a:gd name="connsiteX297" fmla="*/ 6459616 w 6689088"/>
              <a:gd name="connsiteY297" fmla="*/ 5002562 h 6689084"/>
              <a:gd name="connsiteX298" fmla="*/ 6453806 w 6689088"/>
              <a:gd name="connsiteY298" fmla="*/ 4996753 h 6689084"/>
              <a:gd name="connsiteX299" fmla="*/ 6459616 w 6689088"/>
              <a:gd name="connsiteY299" fmla="*/ 4990944 h 6689084"/>
              <a:gd name="connsiteX300" fmla="*/ 6613200 w 6689088"/>
              <a:gd name="connsiteY300" fmla="*/ 4989491 h 6689084"/>
              <a:gd name="connsiteX301" fmla="*/ 6620462 w 6689088"/>
              <a:gd name="connsiteY301" fmla="*/ 4996753 h 6689084"/>
              <a:gd name="connsiteX302" fmla="*/ 6613200 w 6689088"/>
              <a:gd name="connsiteY302" fmla="*/ 5004015 h 6689084"/>
              <a:gd name="connsiteX303" fmla="*/ 6605939 w 6689088"/>
              <a:gd name="connsiteY303" fmla="*/ 4996753 h 6689084"/>
              <a:gd name="connsiteX304" fmla="*/ 6613200 w 6689088"/>
              <a:gd name="connsiteY304" fmla="*/ 4989491 h 6689084"/>
              <a:gd name="connsiteX305" fmla="*/ 5536659 w 6689088"/>
              <a:gd name="connsiteY305" fmla="*/ 4842806 h 6689084"/>
              <a:gd name="connsiteX306" fmla="*/ 5537021 w 6689088"/>
              <a:gd name="connsiteY306" fmla="*/ 4843168 h 6689084"/>
              <a:gd name="connsiteX307" fmla="*/ 5536659 w 6689088"/>
              <a:gd name="connsiteY307" fmla="*/ 4843530 h 6689084"/>
              <a:gd name="connsiteX308" fmla="*/ 5536297 w 6689088"/>
              <a:gd name="connsiteY308" fmla="*/ 4843168 h 6689084"/>
              <a:gd name="connsiteX309" fmla="*/ 5536659 w 6689088"/>
              <a:gd name="connsiteY309" fmla="*/ 4842806 h 6689084"/>
              <a:gd name="connsiteX310" fmla="*/ 5075541 w 6689088"/>
              <a:gd name="connsiteY310" fmla="*/ 4842806 h 6689084"/>
              <a:gd name="connsiteX311" fmla="*/ 5075904 w 6689088"/>
              <a:gd name="connsiteY311" fmla="*/ 4843168 h 6689084"/>
              <a:gd name="connsiteX312" fmla="*/ 5075541 w 6689088"/>
              <a:gd name="connsiteY312" fmla="*/ 4843530 h 6689084"/>
              <a:gd name="connsiteX313" fmla="*/ 5075179 w 6689088"/>
              <a:gd name="connsiteY313" fmla="*/ 4843168 h 6689084"/>
              <a:gd name="connsiteX314" fmla="*/ 5075541 w 6689088"/>
              <a:gd name="connsiteY314" fmla="*/ 4842806 h 6689084"/>
              <a:gd name="connsiteX315" fmla="*/ 4921594 w 6689088"/>
              <a:gd name="connsiteY315" fmla="*/ 4842806 h 6689084"/>
              <a:gd name="connsiteX316" fmla="*/ 4921956 w 6689088"/>
              <a:gd name="connsiteY316" fmla="*/ 4843168 h 6689084"/>
              <a:gd name="connsiteX317" fmla="*/ 4921594 w 6689088"/>
              <a:gd name="connsiteY317" fmla="*/ 4843530 h 6689084"/>
              <a:gd name="connsiteX318" fmla="*/ 4921232 w 6689088"/>
              <a:gd name="connsiteY318" fmla="*/ 4843168 h 6689084"/>
              <a:gd name="connsiteX319" fmla="*/ 4921594 w 6689088"/>
              <a:gd name="connsiteY319" fmla="*/ 4842806 h 6689084"/>
              <a:gd name="connsiteX320" fmla="*/ 4768012 w 6689088"/>
              <a:gd name="connsiteY320" fmla="*/ 4842444 h 6689084"/>
              <a:gd name="connsiteX321" fmla="*/ 4768736 w 6689088"/>
              <a:gd name="connsiteY321" fmla="*/ 4843172 h 6689084"/>
              <a:gd name="connsiteX322" fmla="*/ 4768012 w 6689088"/>
              <a:gd name="connsiteY322" fmla="*/ 4843896 h 6689084"/>
              <a:gd name="connsiteX323" fmla="*/ 4767284 w 6689088"/>
              <a:gd name="connsiteY323" fmla="*/ 4843172 h 6689084"/>
              <a:gd name="connsiteX324" fmla="*/ 4768012 w 6689088"/>
              <a:gd name="connsiteY324" fmla="*/ 4842444 h 6689084"/>
              <a:gd name="connsiteX325" fmla="*/ 5690606 w 6689088"/>
              <a:gd name="connsiteY325" fmla="*/ 4841353 h 6689084"/>
              <a:gd name="connsiteX326" fmla="*/ 5692059 w 6689088"/>
              <a:gd name="connsiteY326" fmla="*/ 4842806 h 6689084"/>
              <a:gd name="connsiteX327" fmla="*/ 5690606 w 6689088"/>
              <a:gd name="connsiteY327" fmla="*/ 4844258 h 6689084"/>
              <a:gd name="connsiteX328" fmla="*/ 5689154 w 6689088"/>
              <a:gd name="connsiteY328" fmla="*/ 4842806 h 6689084"/>
              <a:gd name="connsiteX329" fmla="*/ 5690606 w 6689088"/>
              <a:gd name="connsiteY329" fmla="*/ 4841353 h 6689084"/>
              <a:gd name="connsiteX330" fmla="*/ 5844554 w 6689088"/>
              <a:gd name="connsiteY330" fmla="*/ 4840629 h 6689084"/>
              <a:gd name="connsiteX331" fmla="*/ 5846730 w 6689088"/>
              <a:gd name="connsiteY331" fmla="*/ 4842810 h 6689084"/>
              <a:gd name="connsiteX332" fmla="*/ 5844554 w 6689088"/>
              <a:gd name="connsiteY332" fmla="*/ 4844986 h 6689084"/>
              <a:gd name="connsiteX333" fmla="*/ 5842374 w 6689088"/>
              <a:gd name="connsiteY333" fmla="*/ 4842810 h 6689084"/>
              <a:gd name="connsiteX334" fmla="*/ 5844554 w 6689088"/>
              <a:gd name="connsiteY334" fmla="*/ 4840629 h 6689084"/>
              <a:gd name="connsiteX335" fmla="*/ 5998136 w 6689088"/>
              <a:gd name="connsiteY335" fmla="*/ 4839901 h 6689084"/>
              <a:gd name="connsiteX336" fmla="*/ 6001402 w 6689088"/>
              <a:gd name="connsiteY336" fmla="*/ 4843168 h 6689084"/>
              <a:gd name="connsiteX337" fmla="*/ 5998136 w 6689088"/>
              <a:gd name="connsiteY337" fmla="*/ 4846435 h 6689084"/>
              <a:gd name="connsiteX338" fmla="*/ 5994868 w 6689088"/>
              <a:gd name="connsiteY338" fmla="*/ 4843168 h 6689084"/>
              <a:gd name="connsiteX339" fmla="*/ 5998136 w 6689088"/>
              <a:gd name="connsiteY339" fmla="*/ 4839901 h 6689084"/>
              <a:gd name="connsiteX340" fmla="*/ 6152083 w 6689088"/>
              <a:gd name="connsiteY340" fmla="*/ 4838449 h 6689084"/>
              <a:gd name="connsiteX341" fmla="*/ 6156440 w 6689088"/>
              <a:gd name="connsiteY341" fmla="*/ 4842806 h 6689084"/>
              <a:gd name="connsiteX342" fmla="*/ 6152083 w 6689088"/>
              <a:gd name="connsiteY342" fmla="*/ 4847163 h 6689084"/>
              <a:gd name="connsiteX343" fmla="*/ 6147726 w 6689088"/>
              <a:gd name="connsiteY343" fmla="*/ 4842806 h 6689084"/>
              <a:gd name="connsiteX344" fmla="*/ 6152083 w 6689088"/>
              <a:gd name="connsiteY344" fmla="*/ 4838449 h 6689084"/>
              <a:gd name="connsiteX345" fmla="*/ 6305668 w 6689088"/>
              <a:gd name="connsiteY345" fmla="*/ 4836996 h 6689084"/>
              <a:gd name="connsiteX346" fmla="*/ 6311478 w 6689088"/>
              <a:gd name="connsiteY346" fmla="*/ 4842806 h 6689084"/>
              <a:gd name="connsiteX347" fmla="*/ 6305668 w 6689088"/>
              <a:gd name="connsiteY347" fmla="*/ 4848615 h 6689084"/>
              <a:gd name="connsiteX348" fmla="*/ 6299858 w 6689088"/>
              <a:gd name="connsiteY348" fmla="*/ 4842806 h 6689084"/>
              <a:gd name="connsiteX349" fmla="*/ 6305668 w 6689088"/>
              <a:gd name="connsiteY349" fmla="*/ 4836996 h 6689084"/>
              <a:gd name="connsiteX350" fmla="*/ 6459616 w 6689088"/>
              <a:gd name="connsiteY350" fmla="*/ 4835544 h 6689084"/>
              <a:gd name="connsiteX351" fmla="*/ 6466877 w 6689088"/>
              <a:gd name="connsiteY351" fmla="*/ 4842806 h 6689084"/>
              <a:gd name="connsiteX352" fmla="*/ 6459616 w 6689088"/>
              <a:gd name="connsiteY352" fmla="*/ 4850067 h 6689084"/>
              <a:gd name="connsiteX353" fmla="*/ 6452354 w 6689088"/>
              <a:gd name="connsiteY353" fmla="*/ 4842806 h 6689084"/>
              <a:gd name="connsiteX354" fmla="*/ 6459616 w 6689088"/>
              <a:gd name="connsiteY354" fmla="*/ 4835544 h 6689084"/>
              <a:gd name="connsiteX355" fmla="*/ 6613200 w 6689088"/>
              <a:gd name="connsiteY355" fmla="*/ 4833730 h 6689084"/>
              <a:gd name="connsiteX356" fmla="*/ 6622280 w 6689088"/>
              <a:gd name="connsiteY356" fmla="*/ 4842806 h 6689084"/>
              <a:gd name="connsiteX357" fmla="*/ 6613200 w 6689088"/>
              <a:gd name="connsiteY357" fmla="*/ 4851886 h 6689084"/>
              <a:gd name="connsiteX358" fmla="*/ 6604124 w 6689088"/>
              <a:gd name="connsiteY358" fmla="*/ 4842806 h 6689084"/>
              <a:gd name="connsiteX359" fmla="*/ 6613200 w 6689088"/>
              <a:gd name="connsiteY359" fmla="*/ 4833730 h 6689084"/>
              <a:gd name="connsiteX360" fmla="*/ 5383074 w 6689088"/>
              <a:gd name="connsiteY360" fmla="*/ 4688858 h 6689084"/>
              <a:gd name="connsiteX361" fmla="*/ 5383436 w 6689088"/>
              <a:gd name="connsiteY361" fmla="*/ 4689220 h 6689084"/>
              <a:gd name="connsiteX362" fmla="*/ 5383074 w 6689088"/>
              <a:gd name="connsiteY362" fmla="*/ 4689586 h 6689084"/>
              <a:gd name="connsiteX363" fmla="*/ 5382712 w 6689088"/>
              <a:gd name="connsiteY363" fmla="*/ 4689220 h 6689084"/>
              <a:gd name="connsiteX364" fmla="*/ 5383074 w 6689088"/>
              <a:gd name="connsiteY364" fmla="*/ 4688858 h 6689084"/>
              <a:gd name="connsiteX365" fmla="*/ 4921594 w 6689088"/>
              <a:gd name="connsiteY365" fmla="*/ 4688858 h 6689084"/>
              <a:gd name="connsiteX366" fmla="*/ 4921956 w 6689088"/>
              <a:gd name="connsiteY366" fmla="*/ 4689220 h 6689084"/>
              <a:gd name="connsiteX367" fmla="*/ 4921594 w 6689088"/>
              <a:gd name="connsiteY367" fmla="*/ 4689586 h 6689084"/>
              <a:gd name="connsiteX368" fmla="*/ 4921232 w 6689088"/>
              <a:gd name="connsiteY368" fmla="*/ 4689220 h 6689084"/>
              <a:gd name="connsiteX369" fmla="*/ 4921594 w 6689088"/>
              <a:gd name="connsiteY369" fmla="*/ 4688858 h 6689084"/>
              <a:gd name="connsiteX370" fmla="*/ 4768008 w 6689088"/>
              <a:gd name="connsiteY370" fmla="*/ 4688858 h 6689084"/>
              <a:gd name="connsiteX371" fmla="*/ 4768370 w 6689088"/>
              <a:gd name="connsiteY371" fmla="*/ 4689220 h 6689084"/>
              <a:gd name="connsiteX372" fmla="*/ 4768008 w 6689088"/>
              <a:gd name="connsiteY372" fmla="*/ 4689586 h 6689084"/>
              <a:gd name="connsiteX373" fmla="*/ 4767646 w 6689088"/>
              <a:gd name="connsiteY373" fmla="*/ 4689220 h 6689084"/>
              <a:gd name="connsiteX374" fmla="*/ 4768008 w 6689088"/>
              <a:gd name="connsiteY374" fmla="*/ 4688858 h 6689084"/>
              <a:gd name="connsiteX375" fmla="*/ 4614065 w 6689088"/>
              <a:gd name="connsiteY375" fmla="*/ 4688496 h 6689084"/>
              <a:gd name="connsiteX376" fmla="*/ 4614789 w 6689088"/>
              <a:gd name="connsiteY376" fmla="*/ 4689220 h 6689084"/>
              <a:gd name="connsiteX377" fmla="*/ 4614065 w 6689088"/>
              <a:gd name="connsiteY377" fmla="*/ 4689949 h 6689084"/>
              <a:gd name="connsiteX378" fmla="*/ 4613337 w 6689088"/>
              <a:gd name="connsiteY378" fmla="*/ 4689220 h 6689084"/>
              <a:gd name="connsiteX379" fmla="*/ 4614065 w 6689088"/>
              <a:gd name="connsiteY379" fmla="*/ 4688496 h 6689084"/>
              <a:gd name="connsiteX380" fmla="*/ 5536659 w 6689088"/>
              <a:gd name="connsiteY380" fmla="*/ 4687406 h 6689084"/>
              <a:gd name="connsiteX381" fmla="*/ 5538112 w 6689088"/>
              <a:gd name="connsiteY381" fmla="*/ 4688858 h 6689084"/>
              <a:gd name="connsiteX382" fmla="*/ 5536659 w 6689088"/>
              <a:gd name="connsiteY382" fmla="*/ 4690311 h 6689084"/>
              <a:gd name="connsiteX383" fmla="*/ 5535207 w 6689088"/>
              <a:gd name="connsiteY383" fmla="*/ 4688858 h 6689084"/>
              <a:gd name="connsiteX384" fmla="*/ 5536659 w 6689088"/>
              <a:gd name="connsiteY384" fmla="*/ 4687406 h 6689084"/>
              <a:gd name="connsiteX385" fmla="*/ 5690602 w 6689088"/>
              <a:gd name="connsiteY385" fmla="*/ 4687044 h 6689084"/>
              <a:gd name="connsiteX386" fmla="*/ 5692783 w 6689088"/>
              <a:gd name="connsiteY386" fmla="*/ 4689220 h 6689084"/>
              <a:gd name="connsiteX387" fmla="*/ 5690602 w 6689088"/>
              <a:gd name="connsiteY387" fmla="*/ 4691401 h 6689084"/>
              <a:gd name="connsiteX388" fmla="*/ 5688426 w 6689088"/>
              <a:gd name="connsiteY388" fmla="*/ 4689220 h 6689084"/>
              <a:gd name="connsiteX389" fmla="*/ 5690602 w 6689088"/>
              <a:gd name="connsiteY389" fmla="*/ 4687044 h 6689084"/>
              <a:gd name="connsiteX390" fmla="*/ 5844554 w 6689088"/>
              <a:gd name="connsiteY390" fmla="*/ 4685954 h 6689084"/>
              <a:gd name="connsiteX391" fmla="*/ 5847817 w 6689088"/>
              <a:gd name="connsiteY391" fmla="*/ 4689220 h 6689084"/>
              <a:gd name="connsiteX392" fmla="*/ 5844554 w 6689088"/>
              <a:gd name="connsiteY392" fmla="*/ 4692491 h 6689084"/>
              <a:gd name="connsiteX393" fmla="*/ 5841284 w 6689088"/>
              <a:gd name="connsiteY393" fmla="*/ 4689220 h 6689084"/>
              <a:gd name="connsiteX394" fmla="*/ 5844554 w 6689088"/>
              <a:gd name="connsiteY394" fmla="*/ 4685954 h 6689084"/>
              <a:gd name="connsiteX395" fmla="*/ 5998136 w 6689088"/>
              <a:gd name="connsiteY395" fmla="*/ 4684863 h 6689084"/>
              <a:gd name="connsiteX396" fmla="*/ 6002492 w 6689088"/>
              <a:gd name="connsiteY396" fmla="*/ 4689220 h 6689084"/>
              <a:gd name="connsiteX397" fmla="*/ 5998136 w 6689088"/>
              <a:gd name="connsiteY397" fmla="*/ 4693577 h 6689084"/>
              <a:gd name="connsiteX398" fmla="*/ 5993778 w 6689088"/>
              <a:gd name="connsiteY398" fmla="*/ 4689220 h 6689084"/>
              <a:gd name="connsiteX399" fmla="*/ 5998136 w 6689088"/>
              <a:gd name="connsiteY399" fmla="*/ 4684863 h 6689084"/>
              <a:gd name="connsiteX400" fmla="*/ 6152086 w 6689088"/>
              <a:gd name="connsiteY400" fmla="*/ 4683411 h 6689084"/>
              <a:gd name="connsiteX401" fmla="*/ 6157896 w 6689088"/>
              <a:gd name="connsiteY401" fmla="*/ 4689220 h 6689084"/>
              <a:gd name="connsiteX402" fmla="*/ 6152086 w 6689088"/>
              <a:gd name="connsiteY402" fmla="*/ 4695030 h 6689084"/>
              <a:gd name="connsiteX403" fmla="*/ 6146277 w 6689088"/>
              <a:gd name="connsiteY403" fmla="*/ 4689220 h 6689084"/>
              <a:gd name="connsiteX404" fmla="*/ 6152086 w 6689088"/>
              <a:gd name="connsiteY404" fmla="*/ 4683411 h 6689084"/>
              <a:gd name="connsiteX405" fmla="*/ 6305668 w 6689088"/>
              <a:gd name="connsiteY405" fmla="*/ 4681959 h 6689084"/>
              <a:gd name="connsiteX406" fmla="*/ 6312930 w 6689088"/>
              <a:gd name="connsiteY406" fmla="*/ 4689220 h 6689084"/>
              <a:gd name="connsiteX407" fmla="*/ 6305668 w 6689088"/>
              <a:gd name="connsiteY407" fmla="*/ 4696482 h 6689084"/>
              <a:gd name="connsiteX408" fmla="*/ 6298406 w 6689088"/>
              <a:gd name="connsiteY408" fmla="*/ 4689220 h 6689084"/>
              <a:gd name="connsiteX409" fmla="*/ 6305668 w 6689088"/>
              <a:gd name="connsiteY409" fmla="*/ 4681959 h 6689084"/>
              <a:gd name="connsiteX410" fmla="*/ 6459616 w 6689088"/>
              <a:gd name="connsiteY410" fmla="*/ 4680144 h 6689084"/>
              <a:gd name="connsiteX411" fmla="*/ 6468696 w 6689088"/>
              <a:gd name="connsiteY411" fmla="*/ 4689220 h 6689084"/>
              <a:gd name="connsiteX412" fmla="*/ 6459616 w 6689088"/>
              <a:gd name="connsiteY412" fmla="*/ 4698300 h 6689084"/>
              <a:gd name="connsiteX413" fmla="*/ 6450540 w 6689088"/>
              <a:gd name="connsiteY413" fmla="*/ 4689220 h 6689084"/>
              <a:gd name="connsiteX414" fmla="*/ 6459616 w 6689088"/>
              <a:gd name="connsiteY414" fmla="*/ 4680144 h 6689084"/>
              <a:gd name="connsiteX415" fmla="*/ 6613200 w 6689088"/>
              <a:gd name="connsiteY415" fmla="*/ 4679054 h 6689084"/>
              <a:gd name="connsiteX416" fmla="*/ 6623367 w 6689088"/>
              <a:gd name="connsiteY416" fmla="*/ 4689220 h 6689084"/>
              <a:gd name="connsiteX417" fmla="*/ 6613200 w 6689088"/>
              <a:gd name="connsiteY417" fmla="*/ 4699387 h 6689084"/>
              <a:gd name="connsiteX418" fmla="*/ 6603034 w 6689088"/>
              <a:gd name="connsiteY418" fmla="*/ 4689220 h 6689084"/>
              <a:gd name="connsiteX419" fmla="*/ 6613200 w 6689088"/>
              <a:gd name="connsiteY419" fmla="*/ 4679054 h 6689084"/>
              <a:gd name="connsiteX420" fmla="*/ 5229126 w 6689088"/>
              <a:gd name="connsiteY420" fmla="*/ 4535273 h 6689084"/>
              <a:gd name="connsiteX421" fmla="*/ 5229488 w 6689088"/>
              <a:gd name="connsiteY421" fmla="*/ 4535635 h 6689084"/>
              <a:gd name="connsiteX422" fmla="*/ 5229126 w 6689088"/>
              <a:gd name="connsiteY422" fmla="*/ 4535997 h 6689084"/>
              <a:gd name="connsiteX423" fmla="*/ 5228764 w 6689088"/>
              <a:gd name="connsiteY423" fmla="*/ 4535635 h 6689084"/>
              <a:gd name="connsiteX424" fmla="*/ 5229126 w 6689088"/>
              <a:gd name="connsiteY424" fmla="*/ 4535273 h 6689084"/>
              <a:gd name="connsiteX425" fmla="*/ 4768008 w 6689088"/>
              <a:gd name="connsiteY425" fmla="*/ 4535273 h 6689084"/>
              <a:gd name="connsiteX426" fmla="*/ 4768370 w 6689088"/>
              <a:gd name="connsiteY426" fmla="*/ 4535635 h 6689084"/>
              <a:gd name="connsiteX427" fmla="*/ 4768008 w 6689088"/>
              <a:gd name="connsiteY427" fmla="*/ 4535997 h 6689084"/>
              <a:gd name="connsiteX428" fmla="*/ 4767646 w 6689088"/>
              <a:gd name="connsiteY428" fmla="*/ 4535635 h 6689084"/>
              <a:gd name="connsiteX429" fmla="*/ 4768008 w 6689088"/>
              <a:gd name="connsiteY429" fmla="*/ 4535273 h 6689084"/>
              <a:gd name="connsiteX430" fmla="*/ 4614061 w 6689088"/>
              <a:gd name="connsiteY430" fmla="*/ 4535273 h 6689084"/>
              <a:gd name="connsiteX431" fmla="*/ 4614424 w 6689088"/>
              <a:gd name="connsiteY431" fmla="*/ 4535635 h 6689084"/>
              <a:gd name="connsiteX432" fmla="*/ 4614061 w 6689088"/>
              <a:gd name="connsiteY432" fmla="*/ 4535997 h 6689084"/>
              <a:gd name="connsiteX433" fmla="*/ 4613699 w 6689088"/>
              <a:gd name="connsiteY433" fmla="*/ 4535635 h 6689084"/>
              <a:gd name="connsiteX434" fmla="*/ 4614061 w 6689088"/>
              <a:gd name="connsiteY434" fmla="*/ 4535273 h 6689084"/>
              <a:gd name="connsiteX435" fmla="*/ 4460480 w 6689088"/>
              <a:gd name="connsiteY435" fmla="*/ 4534911 h 6689084"/>
              <a:gd name="connsiteX436" fmla="*/ 4461204 w 6689088"/>
              <a:gd name="connsiteY436" fmla="*/ 4535635 h 6689084"/>
              <a:gd name="connsiteX437" fmla="*/ 4460480 w 6689088"/>
              <a:gd name="connsiteY437" fmla="*/ 4536363 h 6689084"/>
              <a:gd name="connsiteX438" fmla="*/ 4459752 w 6689088"/>
              <a:gd name="connsiteY438" fmla="*/ 4535635 h 6689084"/>
              <a:gd name="connsiteX439" fmla="*/ 4460480 w 6689088"/>
              <a:gd name="connsiteY439" fmla="*/ 4534911 h 6689084"/>
              <a:gd name="connsiteX440" fmla="*/ 5383074 w 6689088"/>
              <a:gd name="connsiteY440" fmla="*/ 4533821 h 6689084"/>
              <a:gd name="connsiteX441" fmla="*/ 5384526 w 6689088"/>
              <a:gd name="connsiteY441" fmla="*/ 4535273 h 6689084"/>
              <a:gd name="connsiteX442" fmla="*/ 5383074 w 6689088"/>
              <a:gd name="connsiteY442" fmla="*/ 4536725 h 6689084"/>
              <a:gd name="connsiteX443" fmla="*/ 5381622 w 6689088"/>
              <a:gd name="connsiteY443" fmla="*/ 4535273 h 6689084"/>
              <a:gd name="connsiteX444" fmla="*/ 5383074 w 6689088"/>
              <a:gd name="connsiteY444" fmla="*/ 4533821 h 6689084"/>
              <a:gd name="connsiteX445" fmla="*/ 5536659 w 6689088"/>
              <a:gd name="connsiteY445" fmla="*/ 4533096 h 6689084"/>
              <a:gd name="connsiteX446" fmla="*/ 5538840 w 6689088"/>
              <a:gd name="connsiteY446" fmla="*/ 4535277 h 6689084"/>
              <a:gd name="connsiteX447" fmla="*/ 5536659 w 6689088"/>
              <a:gd name="connsiteY447" fmla="*/ 4537453 h 6689084"/>
              <a:gd name="connsiteX448" fmla="*/ 5534482 w 6689088"/>
              <a:gd name="connsiteY448" fmla="*/ 4535277 h 6689084"/>
              <a:gd name="connsiteX449" fmla="*/ 5536659 w 6689088"/>
              <a:gd name="connsiteY449" fmla="*/ 4533096 h 6689084"/>
              <a:gd name="connsiteX450" fmla="*/ 5690606 w 6689088"/>
              <a:gd name="connsiteY450" fmla="*/ 4532368 h 6689084"/>
              <a:gd name="connsiteX451" fmla="*/ 5693870 w 6689088"/>
              <a:gd name="connsiteY451" fmla="*/ 4535635 h 6689084"/>
              <a:gd name="connsiteX452" fmla="*/ 5690606 w 6689088"/>
              <a:gd name="connsiteY452" fmla="*/ 4538906 h 6689084"/>
              <a:gd name="connsiteX453" fmla="*/ 5687336 w 6689088"/>
              <a:gd name="connsiteY453" fmla="*/ 4535635 h 6689084"/>
              <a:gd name="connsiteX454" fmla="*/ 5690606 w 6689088"/>
              <a:gd name="connsiteY454" fmla="*/ 4532368 h 6689084"/>
              <a:gd name="connsiteX455" fmla="*/ 5844554 w 6689088"/>
              <a:gd name="connsiteY455" fmla="*/ 4530916 h 6689084"/>
              <a:gd name="connsiteX456" fmla="*/ 5848911 w 6689088"/>
              <a:gd name="connsiteY456" fmla="*/ 4535273 h 6689084"/>
              <a:gd name="connsiteX457" fmla="*/ 5844554 w 6689088"/>
              <a:gd name="connsiteY457" fmla="*/ 4539630 h 6689084"/>
              <a:gd name="connsiteX458" fmla="*/ 5840197 w 6689088"/>
              <a:gd name="connsiteY458" fmla="*/ 4535273 h 6689084"/>
              <a:gd name="connsiteX459" fmla="*/ 5844554 w 6689088"/>
              <a:gd name="connsiteY459" fmla="*/ 4530916 h 6689084"/>
              <a:gd name="connsiteX460" fmla="*/ 5998139 w 6689088"/>
              <a:gd name="connsiteY460" fmla="*/ 4529830 h 6689084"/>
              <a:gd name="connsiteX461" fmla="*/ 6003948 w 6689088"/>
              <a:gd name="connsiteY461" fmla="*/ 4535639 h 6689084"/>
              <a:gd name="connsiteX462" fmla="*/ 5998139 w 6689088"/>
              <a:gd name="connsiteY462" fmla="*/ 4541448 h 6689084"/>
              <a:gd name="connsiteX463" fmla="*/ 5992330 w 6689088"/>
              <a:gd name="connsiteY463" fmla="*/ 4535639 h 6689084"/>
              <a:gd name="connsiteX464" fmla="*/ 5998139 w 6689088"/>
              <a:gd name="connsiteY464" fmla="*/ 4529830 h 6689084"/>
              <a:gd name="connsiteX465" fmla="*/ 6152086 w 6689088"/>
              <a:gd name="connsiteY465" fmla="*/ 4528011 h 6689084"/>
              <a:gd name="connsiteX466" fmla="*/ 6159348 w 6689088"/>
              <a:gd name="connsiteY466" fmla="*/ 4535273 h 6689084"/>
              <a:gd name="connsiteX467" fmla="*/ 6152086 w 6689088"/>
              <a:gd name="connsiteY467" fmla="*/ 4542535 h 6689084"/>
              <a:gd name="connsiteX468" fmla="*/ 6144825 w 6689088"/>
              <a:gd name="connsiteY468" fmla="*/ 4535273 h 6689084"/>
              <a:gd name="connsiteX469" fmla="*/ 6152086 w 6689088"/>
              <a:gd name="connsiteY469" fmla="*/ 4528011 h 6689084"/>
              <a:gd name="connsiteX470" fmla="*/ 6305668 w 6689088"/>
              <a:gd name="connsiteY470" fmla="*/ 4526197 h 6689084"/>
              <a:gd name="connsiteX471" fmla="*/ 6314748 w 6689088"/>
              <a:gd name="connsiteY471" fmla="*/ 4535273 h 6689084"/>
              <a:gd name="connsiteX472" fmla="*/ 6305668 w 6689088"/>
              <a:gd name="connsiteY472" fmla="*/ 4544353 h 6689084"/>
              <a:gd name="connsiteX473" fmla="*/ 6296592 w 6689088"/>
              <a:gd name="connsiteY473" fmla="*/ 4535273 h 6689084"/>
              <a:gd name="connsiteX474" fmla="*/ 6305668 w 6689088"/>
              <a:gd name="connsiteY474" fmla="*/ 4526197 h 6689084"/>
              <a:gd name="connsiteX475" fmla="*/ 6459616 w 6689088"/>
              <a:gd name="connsiteY475" fmla="*/ 4525469 h 6689084"/>
              <a:gd name="connsiteX476" fmla="*/ 6469782 w 6689088"/>
              <a:gd name="connsiteY476" fmla="*/ 4535635 h 6689084"/>
              <a:gd name="connsiteX477" fmla="*/ 6459616 w 6689088"/>
              <a:gd name="connsiteY477" fmla="*/ 4545802 h 6689084"/>
              <a:gd name="connsiteX478" fmla="*/ 6449449 w 6689088"/>
              <a:gd name="connsiteY478" fmla="*/ 4535635 h 6689084"/>
              <a:gd name="connsiteX479" fmla="*/ 6459616 w 6689088"/>
              <a:gd name="connsiteY479" fmla="*/ 4525469 h 6689084"/>
              <a:gd name="connsiteX480" fmla="*/ 6613197 w 6689088"/>
              <a:gd name="connsiteY480" fmla="*/ 4523292 h 6689084"/>
              <a:gd name="connsiteX481" fmla="*/ 6625182 w 6689088"/>
              <a:gd name="connsiteY481" fmla="*/ 4535273 h 6689084"/>
              <a:gd name="connsiteX482" fmla="*/ 6613197 w 6689088"/>
              <a:gd name="connsiteY482" fmla="*/ 4547254 h 6689084"/>
              <a:gd name="connsiteX483" fmla="*/ 6601216 w 6689088"/>
              <a:gd name="connsiteY483" fmla="*/ 4535273 h 6689084"/>
              <a:gd name="connsiteX484" fmla="*/ 6613197 w 6689088"/>
              <a:gd name="connsiteY484" fmla="*/ 4523292 h 6689084"/>
              <a:gd name="connsiteX485" fmla="*/ 5075541 w 6689088"/>
              <a:gd name="connsiteY485" fmla="*/ 4381326 h 6689084"/>
              <a:gd name="connsiteX486" fmla="*/ 5075904 w 6689088"/>
              <a:gd name="connsiteY486" fmla="*/ 4381688 h 6689084"/>
              <a:gd name="connsiteX487" fmla="*/ 5075541 w 6689088"/>
              <a:gd name="connsiteY487" fmla="*/ 4382054 h 6689084"/>
              <a:gd name="connsiteX488" fmla="*/ 5075179 w 6689088"/>
              <a:gd name="connsiteY488" fmla="*/ 4381688 h 6689084"/>
              <a:gd name="connsiteX489" fmla="*/ 5075541 w 6689088"/>
              <a:gd name="connsiteY489" fmla="*/ 4381326 h 6689084"/>
              <a:gd name="connsiteX490" fmla="*/ 4614061 w 6689088"/>
              <a:gd name="connsiteY490" fmla="*/ 4381326 h 6689084"/>
              <a:gd name="connsiteX491" fmla="*/ 4614424 w 6689088"/>
              <a:gd name="connsiteY491" fmla="*/ 4381688 h 6689084"/>
              <a:gd name="connsiteX492" fmla="*/ 4614061 w 6689088"/>
              <a:gd name="connsiteY492" fmla="*/ 4382054 h 6689084"/>
              <a:gd name="connsiteX493" fmla="*/ 4613699 w 6689088"/>
              <a:gd name="connsiteY493" fmla="*/ 4381688 h 6689084"/>
              <a:gd name="connsiteX494" fmla="*/ 4614061 w 6689088"/>
              <a:gd name="connsiteY494" fmla="*/ 4381326 h 6689084"/>
              <a:gd name="connsiteX495" fmla="*/ 4460480 w 6689088"/>
              <a:gd name="connsiteY495" fmla="*/ 4381326 h 6689084"/>
              <a:gd name="connsiteX496" fmla="*/ 4460842 w 6689088"/>
              <a:gd name="connsiteY496" fmla="*/ 4381688 h 6689084"/>
              <a:gd name="connsiteX497" fmla="*/ 4460480 w 6689088"/>
              <a:gd name="connsiteY497" fmla="*/ 4382054 h 6689084"/>
              <a:gd name="connsiteX498" fmla="*/ 4460118 w 6689088"/>
              <a:gd name="connsiteY498" fmla="*/ 4381688 h 6689084"/>
              <a:gd name="connsiteX499" fmla="*/ 4460480 w 6689088"/>
              <a:gd name="connsiteY499" fmla="*/ 4381326 h 6689084"/>
              <a:gd name="connsiteX500" fmla="*/ 4306528 w 6689088"/>
              <a:gd name="connsiteY500" fmla="*/ 4380964 h 6689084"/>
              <a:gd name="connsiteX501" fmla="*/ 4307256 w 6689088"/>
              <a:gd name="connsiteY501" fmla="*/ 4381688 h 6689084"/>
              <a:gd name="connsiteX502" fmla="*/ 4306528 w 6689088"/>
              <a:gd name="connsiteY502" fmla="*/ 4382416 h 6689084"/>
              <a:gd name="connsiteX503" fmla="*/ 4305804 w 6689088"/>
              <a:gd name="connsiteY503" fmla="*/ 4381688 h 6689084"/>
              <a:gd name="connsiteX504" fmla="*/ 4306528 w 6689088"/>
              <a:gd name="connsiteY504" fmla="*/ 4380964 h 6689084"/>
              <a:gd name="connsiteX505" fmla="*/ 5229126 w 6689088"/>
              <a:gd name="connsiteY505" fmla="*/ 4379873 h 6689084"/>
              <a:gd name="connsiteX506" fmla="*/ 5230579 w 6689088"/>
              <a:gd name="connsiteY506" fmla="*/ 4381326 h 6689084"/>
              <a:gd name="connsiteX507" fmla="*/ 5229126 w 6689088"/>
              <a:gd name="connsiteY507" fmla="*/ 4382778 h 6689084"/>
              <a:gd name="connsiteX508" fmla="*/ 5227674 w 6689088"/>
              <a:gd name="connsiteY508" fmla="*/ 4381326 h 6689084"/>
              <a:gd name="connsiteX509" fmla="*/ 5229126 w 6689088"/>
              <a:gd name="connsiteY509" fmla="*/ 4379873 h 6689084"/>
              <a:gd name="connsiteX510" fmla="*/ 5383074 w 6689088"/>
              <a:gd name="connsiteY510" fmla="*/ 4379511 h 6689084"/>
              <a:gd name="connsiteX511" fmla="*/ 5385250 w 6689088"/>
              <a:gd name="connsiteY511" fmla="*/ 4381688 h 6689084"/>
              <a:gd name="connsiteX512" fmla="*/ 5383074 w 6689088"/>
              <a:gd name="connsiteY512" fmla="*/ 4383868 h 6689084"/>
              <a:gd name="connsiteX513" fmla="*/ 5380894 w 6689088"/>
              <a:gd name="connsiteY513" fmla="*/ 4381688 h 6689084"/>
              <a:gd name="connsiteX514" fmla="*/ 5383074 w 6689088"/>
              <a:gd name="connsiteY514" fmla="*/ 4379511 h 6689084"/>
              <a:gd name="connsiteX515" fmla="*/ 5536659 w 6689088"/>
              <a:gd name="connsiteY515" fmla="*/ 4378421 h 6689084"/>
              <a:gd name="connsiteX516" fmla="*/ 5539922 w 6689088"/>
              <a:gd name="connsiteY516" fmla="*/ 4381688 h 6689084"/>
              <a:gd name="connsiteX517" fmla="*/ 5536659 w 6689088"/>
              <a:gd name="connsiteY517" fmla="*/ 4384958 h 6689084"/>
              <a:gd name="connsiteX518" fmla="*/ 5533388 w 6689088"/>
              <a:gd name="connsiteY518" fmla="*/ 4381688 h 6689084"/>
              <a:gd name="connsiteX519" fmla="*/ 5536659 w 6689088"/>
              <a:gd name="connsiteY519" fmla="*/ 4378421 h 6689084"/>
              <a:gd name="connsiteX520" fmla="*/ 5690606 w 6689088"/>
              <a:gd name="connsiteY520" fmla="*/ 4377331 h 6689084"/>
              <a:gd name="connsiteX521" fmla="*/ 5694964 w 6689088"/>
              <a:gd name="connsiteY521" fmla="*/ 4381688 h 6689084"/>
              <a:gd name="connsiteX522" fmla="*/ 5690606 w 6689088"/>
              <a:gd name="connsiteY522" fmla="*/ 4386045 h 6689084"/>
              <a:gd name="connsiteX523" fmla="*/ 5686250 w 6689088"/>
              <a:gd name="connsiteY523" fmla="*/ 4381688 h 6689084"/>
              <a:gd name="connsiteX524" fmla="*/ 5690606 w 6689088"/>
              <a:gd name="connsiteY524" fmla="*/ 4377331 h 6689084"/>
              <a:gd name="connsiteX525" fmla="*/ 5844550 w 6689088"/>
              <a:gd name="connsiteY525" fmla="*/ 4375878 h 6689084"/>
              <a:gd name="connsiteX526" fmla="*/ 5850360 w 6689088"/>
              <a:gd name="connsiteY526" fmla="*/ 4381688 h 6689084"/>
              <a:gd name="connsiteX527" fmla="*/ 5844550 w 6689088"/>
              <a:gd name="connsiteY527" fmla="*/ 4387497 h 6689084"/>
              <a:gd name="connsiteX528" fmla="*/ 5838741 w 6689088"/>
              <a:gd name="connsiteY528" fmla="*/ 4381688 h 6689084"/>
              <a:gd name="connsiteX529" fmla="*/ 5844550 w 6689088"/>
              <a:gd name="connsiteY529" fmla="*/ 4375878 h 6689084"/>
              <a:gd name="connsiteX530" fmla="*/ 5998136 w 6689088"/>
              <a:gd name="connsiteY530" fmla="*/ 4374430 h 6689084"/>
              <a:gd name="connsiteX531" fmla="*/ 6005397 w 6689088"/>
              <a:gd name="connsiteY531" fmla="*/ 4381692 h 6689084"/>
              <a:gd name="connsiteX532" fmla="*/ 5998136 w 6689088"/>
              <a:gd name="connsiteY532" fmla="*/ 4388953 h 6689084"/>
              <a:gd name="connsiteX533" fmla="*/ 5990874 w 6689088"/>
              <a:gd name="connsiteY533" fmla="*/ 4381692 h 6689084"/>
              <a:gd name="connsiteX534" fmla="*/ 5998136 w 6689088"/>
              <a:gd name="connsiteY534" fmla="*/ 4374430 h 6689084"/>
              <a:gd name="connsiteX535" fmla="*/ 6152083 w 6689088"/>
              <a:gd name="connsiteY535" fmla="*/ 4372612 h 6689084"/>
              <a:gd name="connsiteX536" fmla="*/ 6161162 w 6689088"/>
              <a:gd name="connsiteY536" fmla="*/ 4381688 h 6689084"/>
              <a:gd name="connsiteX537" fmla="*/ 6152083 w 6689088"/>
              <a:gd name="connsiteY537" fmla="*/ 4390768 h 6689084"/>
              <a:gd name="connsiteX538" fmla="*/ 6143006 w 6689088"/>
              <a:gd name="connsiteY538" fmla="*/ 4381688 h 6689084"/>
              <a:gd name="connsiteX539" fmla="*/ 6152083 w 6689088"/>
              <a:gd name="connsiteY539" fmla="*/ 4372612 h 6689084"/>
              <a:gd name="connsiteX540" fmla="*/ 6305668 w 6689088"/>
              <a:gd name="connsiteY540" fmla="*/ 4371525 h 6689084"/>
              <a:gd name="connsiteX541" fmla="*/ 6315834 w 6689088"/>
              <a:gd name="connsiteY541" fmla="*/ 4381692 h 6689084"/>
              <a:gd name="connsiteX542" fmla="*/ 6305668 w 6689088"/>
              <a:gd name="connsiteY542" fmla="*/ 4391858 h 6689084"/>
              <a:gd name="connsiteX543" fmla="*/ 6295502 w 6689088"/>
              <a:gd name="connsiteY543" fmla="*/ 4381692 h 6689084"/>
              <a:gd name="connsiteX544" fmla="*/ 6305668 w 6689088"/>
              <a:gd name="connsiteY544" fmla="*/ 4371525 h 6689084"/>
              <a:gd name="connsiteX545" fmla="*/ 6459616 w 6689088"/>
              <a:gd name="connsiteY545" fmla="*/ 4369707 h 6689084"/>
              <a:gd name="connsiteX546" fmla="*/ 6471600 w 6689088"/>
              <a:gd name="connsiteY546" fmla="*/ 4381688 h 6689084"/>
              <a:gd name="connsiteX547" fmla="*/ 6459616 w 6689088"/>
              <a:gd name="connsiteY547" fmla="*/ 4393672 h 6689084"/>
              <a:gd name="connsiteX548" fmla="*/ 6447634 w 6689088"/>
              <a:gd name="connsiteY548" fmla="*/ 4381688 h 6689084"/>
              <a:gd name="connsiteX549" fmla="*/ 6459616 w 6689088"/>
              <a:gd name="connsiteY549" fmla="*/ 4369707 h 6689084"/>
              <a:gd name="connsiteX550" fmla="*/ 6613200 w 6689088"/>
              <a:gd name="connsiteY550" fmla="*/ 4367530 h 6689084"/>
              <a:gd name="connsiteX551" fmla="*/ 6626996 w 6689088"/>
              <a:gd name="connsiteY551" fmla="*/ 4381326 h 6689084"/>
              <a:gd name="connsiteX552" fmla="*/ 6613200 w 6689088"/>
              <a:gd name="connsiteY552" fmla="*/ 4395125 h 6689084"/>
              <a:gd name="connsiteX553" fmla="*/ 6599402 w 6689088"/>
              <a:gd name="connsiteY553" fmla="*/ 4381326 h 6689084"/>
              <a:gd name="connsiteX554" fmla="*/ 6613200 w 6689088"/>
              <a:gd name="connsiteY554" fmla="*/ 4367530 h 6689084"/>
              <a:gd name="connsiteX555" fmla="*/ 4921594 w 6689088"/>
              <a:gd name="connsiteY555" fmla="*/ 4227744 h 6689084"/>
              <a:gd name="connsiteX556" fmla="*/ 4921956 w 6689088"/>
              <a:gd name="connsiteY556" fmla="*/ 4228106 h 6689084"/>
              <a:gd name="connsiteX557" fmla="*/ 4921594 w 6689088"/>
              <a:gd name="connsiteY557" fmla="*/ 4228468 h 6689084"/>
              <a:gd name="connsiteX558" fmla="*/ 4921232 w 6689088"/>
              <a:gd name="connsiteY558" fmla="*/ 4228106 h 6689084"/>
              <a:gd name="connsiteX559" fmla="*/ 4921594 w 6689088"/>
              <a:gd name="connsiteY559" fmla="*/ 4227744 h 6689084"/>
              <a:gd name="connsiteX560" fmla="*/ 4460480 w 6689088"/>
              <a:gd name="connsiteY560" fmla="*/ 4227744 h 6689084"/>
              <a:gd name="connsiteX561" fmla="*/ 4460842 w 6689088"/>
              <a:gd name="connsiteY561" fmla="*/ 4228106 h 6689084"/>
              <a:gd name="connsiteX562" fmla="*/ 4460480 w 6689088"/>
              <a:gd name="connsiteY562" fmla="*/ 4228468 h 6689084"/>
              <a:gd name="connsiteX563" fmla="*/ 4460118 w 6689088"/>
              <a:gd name="connsiteY563" fmla="*/ 4228106 h 6689084"/>
              <a:gd name="connsiteX564" fmla="*/ 4460480 w 6689088"/>
              <a:gd name="connsiteY564" fmla="*/ 4227744 h 6689084"/>
              <a:gd name="connsiteX565" fmla="*/ 4306532 w 6689088"/>
              <a:gd name="connsiteY565" fmla="*/ 4227744 h 6689084"/>
              <a:gd name="connsiteX566" fmla="*/ 4306894 w 6689088"/>
              <a:gd name="connsiteY566" fmla="*/ 4228106 h 6689084"/>
              <a:gd name="connsiteX567" fmla="*/ 4306532 w 6689088"/>
              <a:gd name="connsiteY567" fmla="*/ 4228468 h 6689084"/>
              <a:gd name="connsiteX568" fmla="*/ 4306170 w 6689088"/>
              <a:gd name="connsiteY568" fmla="*/ 4228106 h 6689084"/>
              <a:gd name="connsiteX569" fmla="*/ 4306532 w 6689088"/>
              <a:gd name="connsiteY569" fmla="*/ 4227744 h 6689084"/>
              <a:gd name="connsiteX570" fmla="*/ 4152947 w 6689088"/>
              <a:gd name="connsiteY570" fmla="*/ 4227378 h 6689084"/>
              <a:gd name="connsiteX571" fmla="*/ 4153672 w 6689088"/>
              <a:gd name="connsiteY571" fmla="*/ 4228103 h 6689084"/>
              <a:gd name="connsiteX572" fmla="*/ 4152947 w 6689088"/>
              <a:gd name="connsiteY572" fmla="*/ 4228831 h 6689084"/>
              <a:gd name="connsiteX573" fmla="*/ 4152219 w 6689088"/>
              <a:gd name="connsiteY573" fmla="*/ 4228103 h 6689084"/>
              <a:gd name="connsiteX574" fmla="*/ 4152947 w 6689088"/>
              <a:gd name="connsiteY574" fmla="*/ 4227378 h 6689084"/>
              <a:gd name="connsiteX575" fmla="*/ 5075541 w 6689088"/>
              <a:gd name="connsiteY575" fmla="*/ 4226292 h 6689084"/>
              <a:gd name="connsiteX576" fmla="*/ 5076994 w 6689088"/>
              <a:gd name="connsiteY576" fmla="*/ 4227744 h 6689084"/>
              <a:gd name="connsiteX577" fmla="*/ 5075541 w 6689088"/>
              <a:gd name="connsiteY577" fmla="*/ 4229197 h 6689084"/>
              <a:gd name="connsiteX578" fmla="*/ 5074089 w 6689088"/>
              <a:gd name="connsiteY578" fmla="*/ 4227744 h 6689084"/>
              <a:gd name="connsiteX579" fmla="*/ 5075541 w 6689088"/>
              <a:gd name="connsiteY579" fmla="*/ 4226292 h 6689084"/>
              <a:gd name="connsiteX580" fmla="*/ 5229122 w 6689088"/>
              <a:gd name="connsiteY580" fmla="*/ 4225564 h 6689084"/>
              <a:gd name="connsiteX581" fmla="*/ 5231303 w 6689088"/>
              <a:gd name="connsiteY581" fmla="*/ 4227744 h 6689084"/>
              <a:gd name="connsiteX582" fmla="*/ 5229122 w 6689088"/>
              <a:gd name="connsiteY582" fmla="*/ 4229921 h 6689084"/>
              <a:gd name="connsiteX583" fmla="*/ 5226946 w 6689088"/>
              <a:gd name="connsiteY583" fmla="*/ 4227744 h 6689084"/>
              <a:gd name="connsiteX584" fmla="*/ 5229122 w 6689088"/>
              <a:gd name="connsiteY584" fmla="*/ 4225564 h 6689084"/>
              <a:gd name="connsiteX585" fmla="*/ 5383078 w 6689088"/>
              <a:gd name="connsiteY585" fmla="*/ 4224840 h 6689084"/>
              <a:gd name="connsiteX586" fmla="*/ 5386344 w 6689088"/>
              <a:gd name="connsiteY586" fmla="*/ 4228106 h 6689084"/>
              <a:gd name="connsiteX587" fmla="*/ 5383078 w 6689088"/>
              <a:gd name="connsiteY587" fmla="*/ 4231377 h 6689084"/>
              <a:gd name="connsiteX588" fmla="*/ 5379807 w 6689088"/>
              <a:gd name="connsiteY588" fmla="*/ 4228106 h 6689084"/>
              <a:gd name="connsiteX589" fmla="*/ 5383078 w 6689088"/>
              <a:gd name="connsiteY589" fmla="*/ 4224840 h 6689084"/>
              <a:gd name="connsiteX590" fmla="*/ 5536659 w 6689088"/>
              <a:gd name="connsiteY590" fmla="*/ 4223383 h 6689084"/>
              <a:gd name="connsiteX591" fmla="*/ 5541016 w 6689088"/>
              <a:gd name="connsiteY591" fmla="*/ 4227740 h 6689084"/>
              <a:gd name="connsiteX592" fmla="*/ 5536659 w 6689088"/>
              <a:gd name="connsiteY592" fmla="*/ 4232097 h 6689084"/>
              <a:gd name="connsiteX593" fmla="*/ 5532302 w 6689088"/>
              <a:gd name="connsiteY593" fmla="*/ 4227740 h 6689084"/>
              <a:gd name="connsiteX594" fmla="*/ 5536659 w 6689088"/>
              <a:gd name="connsiteY594" fmla="*/ 4223383 h 6689084"/>
              <a:gd name="connsiteX595" fmla="*/ 5690606 w 6689088"/>
              <a:gd name="connsiteY595" fmla="*/ 4222297 h 6689084"/>
              <a:gd name="connsiteX596" fmla="*/ 5696416 w 6689088"/>
              <a:gd name="connsiteY596" fmla="*/ 4228106 h 6689084"/>
              <a:gd name="connsiteX597" fmla="*/ 5690606 w 6689088"/>
              <a:gd name="connsiteY597" fmla="*/ 4233916 h 6689084"/>
              <a:gd name="connsiteX598" fmla="*/ 5684797 w 6689088"/>
              <a:gd name="connsiteY598" fmla="*/ 4228106 h 6689084"/>
              <a:gd name="connsiteX599" fmla="*/ 5690606 w 6689088"/>
              <a:gd name="connsiteY599" fmla="*/ 4222297 h 6689084"/>
              <a:gd name="connsiteX600" fmla="*/ 5844554 w 6689088"/>
              <a:gd name="connsiteY600" fmla="*/ 4220479 h 6689084"/>
              <a:gd name="connsiteX601" fmla="*/ 5851816 w 6689088"/>
              <a:gd name="connsiteY601" fmla="*/ 4227740 h 6689084"/>
              <a:gd name="connsiteX602" fmla="*/ 5844554 w 6689088"/>
              <a:gd name="connsiteY602" fmla="*/ 4235002 h 6689084"/>
              <a:gd name="connsiteX603" fmla="*/ 5837292 w 6689088"/>
              <a:gd name="connsiteY603" fmla="*/ 4227740 h 6689084"/>
              <a:gd name="connsiteX604" fmla="*/ 5844554 w 6689088"/>
              <a:gd name="connsiteY604" fmla="*/ 4220479 h 6689084"/>
              <a:gd name="connsiteX605" fmla="*/ 5998136 w 6689088"/>
              <a:gd name="connsiteY605" fmla="*/ 4218664 h 6689084"/>
              <a:gd name="connsiteX606" fmla="*/ 6007216 w 6689088"/>
              <a:gd name="connsiteY606" fmla="*/ 4227740 h 6689084"/>
              <a:gd name="connsiteX607" fmla="*/ 5998136 w 6689088"/>
              <a:gd name="connsiteY607" fmla="*/ 4236820 h 6689084"/>
              <a:gd name="connsiteX608" fmla="*/ 5989059 w 6689088"/>
              <a:gd name="connsiteY608" fmla="*/ 4227740 h 6689084"/>
              <a:gd name="connsiteX609" fmla="*/ 5998136 w 6689088"/>
              <a:gd name="connsiteY609" fmla="*/ 4218664 h 6689084"/>
              <a:gd name="connsiteX610" fmla="*/ 6152086 w 6689088"/>
              <a:gd name="connsiteY610" fmla="*/ 4217940 h 6689084"/>
              <a:gd name="connsiteX611" fmla="*/ 6162253 w 6689088"/>
              <a:gd name="connsiteY611" fmla="*/ 4228106 h 6689084"/>
              <a:gd name="connsiteX612" fmla="*/ 6152086 w 6689088"/>
              <a:gd name="connsiteY612" fmla="*/ 4238273 h 6689084"/>
              <a:gd name="connsiteX613" fmla="*/ 6141920 w 6689088"/>
              <a:gd name="connsiteY613" fmla="*/ 4228106 h 6689084"/>
              <a:gd name="connsiteX614" fmla="*/ 6152086 w 6689088"/>
              <a:gd name="connsiteY614" fmla="*/ 4217940 h 6689084"/>
              <a:gd name="connsiteX615" fmla="*/ 6305668 w 6689088"/>
              <a:gd name="connsiteY615" fmla="*/ 4215760 h 6689084"/>
              <a:gd name="connsiteX616" fmla="*/ 6317649 w 6689088"/>
              <a:gd name="connsiteY616" fmla="*/ 4227740 h 6689084"/>
              <a:gd name="connsiteX617" fmla="*/ 6305668 w 6689088"/>
              <a:gd name="connsiteY617" fmla="*/ 4239721 h 6689084"/>
              <a:gd name="connsiteX618" fmla="*/ 6293687 w 6689088"/>
              <a:gd name="connsiteY618" fmla="*/ 4227740 h 6689084"/>
              <a:gd name="connsiteX619" fmla="*/ 6305668 w 6689088"/>
              <a:gd name="connsiteY619" fmla="*/ 4215760 h 6689084"/>
              <a:gd name="connsiteX620" fmla="*/ 6459619 w 6689088"/>
              <a:gd name="connsiteY620" fmla="*/ 4213945 h 6689084"/>
              <a:gd name="connsiteX621" fmla="*/ 6473414 w 6689088"/>
              <a:gd name="connsiteY621" fmla="*/ 4227744 h 6689084"/>
              <a:gd name="connsiteX622" fmla="*/ 6459619 w 6689088"/>
              <a:gd name="connsiteY622" fmla="*/ 4241539 h 6689084"/>
              <a:gd name="connsiteX623" fmla="*/ 6445820 w 6689088"/>
              <a:gd name="connsiteY623" fmla="*/ 4227744 h 6689084"/>
              <a:gd name="connsiteX624" fmla="*/ 6459619 w 6689088"/>
              <a:gd name="connsiteY624" fmla="*/ 4213945 h 6689084"/>
              <a:gd name="connsiteX625" fmla="*/ 6613200 w 6689088"/>
              <a:gd name="connsiteY625" fmla="*/ 4212855 h 6689084"/>
              <a:gd name="connsiteX626" fmla="*/ 6628452 w 6689088"/>
              <a:gd name="connsiteY626" fmla="*/ 4228103 h 6689084"/>
              <a:gd name="connsiteX627" fmla="*/ 6613200 w 6689088"/>
              <a:gd name="connsiteY627" fmla="*/ 4243354 h 6689084"/>
              <a:gd name="connsiteX628" fmla="*/ 6597953 w 6689088"/>
              <a:gd name="connsiteY628" fmla="*/ 4228103 h 6689084"/>
              <a:gd name="connsiteX629" fmla="*/ 6613200 w 6689088"/>
              <a:gd name="connsiteY629" fmla="*/ 4212855 h 6689084"/>
              <a:gd name="connsiteX630" fmla="*/ 4768008 w 6689088"/>
              <a:gd name="connsiteY630" fmla="*/ 4073793 h 6689084"/>
              <a:gd name="connsiteX631" fmla="*/ 4768370 w 6689088"/>
              <a:gd name="connsiteY631" fmla="*/ 4074155 h 6689084"/>
              <a:gd name="connsiteX632" fmla="*/ 4768008 w 6689088"/>
              <a:gd name="connsiteY632" fmla="*/ 4074521 h 6689084"/>
              <a:gd name="connsiteX633" fmla="*/ 4767646 w 6689088"/>
              <a:gd name="connsiteY633" fmla="*/ 4074155 h 6689084"/>
              <a:gd name="connsiteX634" fmla="*/ 4768008 w 6689088"/>
              <a:gd name="connsiteY634" fmla="*/ 4073793 h 6689084"/>
              <a:gd name="connsiteX635" fmla="*/ 4306532 w 6689088"/>
              <a:gd name="connsiteY635" fmla="*/ 4073793 h 6689084"/>
              <a:gd name="connsiteX636" fmla="*/ 4306894 w 6689088"/>
              <a:gd name="connsiteY636" fmla="*/ 4074155 h 6689084"/>
              <a:gd name="connsiteX637" fmla="*/ 4306532 w 6689088"/>
              <a:gd name="connsiteY637" fmla="*/ 4074521 h 6689084"/>
              <a:gd name="connsiteX638" fmla="*/ 4306170 w 6689088"/>
              <a:gd name="connsiteY638" fmla="*/ 4074155 h 6689084"/>
              <a:gd name="connsiteX639" fmla="*/ 4306532 w 6689088"/>
              <a:gd name="connsiteY639" fmla="*/ 4073793 h 6689084"/>
              <a:gd name="connsiteX640" fmla="*/ 4152947 w 6689088"/>
              <a:gd name="connsiteY640" fmla="*/ 4073793 h 6689084"/>
              <a:gd name="connsiteX641" fmla="*/ 4153309 w 6689088"/>
              <a:gd name="connsiteY641" fmla="*/ 4074155 h 6689084"/>
              <a:gd name="connsiteX642" fmla="*/ 4152947 w 6689088"/>
              <a:gd name="connsiteY642" fmla="*/ 4074521 h 6689084"/>
              <a:gd name="connsiteX643" fmla="*/ 4152585 w 6689088"/>
              <a:gd name="connsiteY643" fmla="*/ 4074155 h 6689084"/>
              <a:gd name="connsiteX644" fmla="*/ 4152947 w 6689088"/>
              <a:gd name="connsiteY644" fmla="*/ 4073793 h 6689084"/>
              <a:gd name="connsiteX645" fmla="*/ 3998996 w 6689088"/>
              <a:gd name="connsiteY645" fmla="*/ 4073431 h 6689084"/>
              <a:gd name="connsiteX646" fmla="*/ 3999724 w 6689088"/>
              <a:gd name="connsiteY646" fmla="*/ 4074155 h 6689084"/>
              <a:gd name="connsiteX647" fmla="*/ 3998996 w 6689088"/>
              <a:gd name="connsiteY647" fmla="*/ 4074883 h 6689084"/>
              <a:gd name="connsiteX648" fmla="*/ 3998272 w 6689088"/>
              <a:gd name="connsiteY648" fmla="*/ 4074155 h 6689084"/>
              <a:gd name="connsiteX649" fmla="*/ 3998996 w 6689088"/>
              <a:gd name="connsiteY649" fmla="*/ 4073431 h 6689084"/>
              <a:gd name="connsiteX650" fmla="*/ 4921594 w 6689088"/>
              <a:gd name="connsiteY650" fmla="*/ 4072344 h 6689084"/>
              <a:gd name="connsiteX651" fmla="*/ 4923046 w 6689088"/>
              <a:gd name="connsiteY651" fmla="*/ 4073797 h 6689084"/>
              <a:gd name="connsiteX652" fmla="*/ 4921594 w 6689088"/>
              <a:gd name="connsiteY652" fmla="*/ 4075249 h 6689084"/>
              <a:gd name="connsiteX653" fmla="*/ 4920142 w 6689088"/>
              <a:gd name="connsiteY653" fmla="*/ 4073797 h 6689084"/>
              <a:gd name="connsiteX654" fmla="*/ 4921594 w 6689088"/>
              <a:gd name="connsiteY654" fmla="*/ 4072344 h 6689084"/>
              <a:gd name="connsiteX655" fmla="*/ 5075541 w 6689088"/>
              <a:gd name="connsiteY655" fmla="*/ 4071978 h 6689084"/>
              <a:gd name="connsiteX656" fmla="*/ 5077722 w 6689088"/>
              <a:gd name="connsiteY656" fmla="*/ 4074155 h 6689084"/>
              <a:gd name="connsiteX657" fmla="*/ 5075541 w 6689088"/>
              <a:gd name="connsiteY657" fmla="*/ 4076335 h 6689084"/>
              <a:gd name="connsiteX658" fmla="*/ 5073364 w 6689088"/>
              <a:gd name="connsiteY658" fmla="*/ 4074155 h 6689084"/>
              <a:gd name="connsiteX659" fmla="*/ 5075541 w 6689088"/>
              <a:gd name="connsiteY659" fmla="*/ 4071978 h 6689084"/>
              <a:gd name="connsiteX660" fmla="*/ 5229126 w 6689088"/>
              <a:gd name="connsiteY660" fmla="*/ 4070892 h 6689084"/>
              <a:gd name="connsiteX661" fmla="*/ 5232394 w 6689088"/>
              <a:gd name="connsiteY661" fmla="*/ 4074159 h 6689084"/>
              <a:gd name="connsiteX662" fmla="*/ 5229126 w 6689088"/>
              <a:gd name="connsiteY662" fmla="*/ 4077429 h 6689084"/>
              <a:gd name="connsiteX663" fmla="*/ 5225860 w 6689088"/>
              <a:gd name="connsiteY663" fmla="*/ 4074159 h 6689084"/>
              <a:gd name="connsiteX664" fmla="*/ 5229126 w 6689088"/>
              <a:gd name="connsiteY664" fmla="*/ 4070892 h 6689084"/>
              <a:gd name="connsiteX665" fmla="*/ 5383074 w 6689088"/>
              <a:gd name="connsiteY665" fmla="*/ 4069802 h 6689084"/>
              <a:gd name="connsiteX666" fmla="*/ 5387431 w 6689088"/>
              <a:gd name="connsiteY666" fmla="*/ 4074159 h 6689084"/>
              <a:gd name="connsiteX667" fmla="*/ 5383074 w 6689088"/>
              <a:gd name="connsiteY667" fmla="*/ 4078516 h 6689084"/>
              <a:gd name="connsiteX668" fmla="*/ 5378717 w 6689088"/>
              <a:gd name="connsiteY668" fmla="*/ 4074159 h 6689084"/>
              <a:gd name="connsiteX669" fmla="*/ 5383074 w 6689088"/>
              <a:gd name="connsiteY669" fmla="*/ 4069802 h 6689084"/>
              <a:gd name="connsiteX670" fmla="*/ 5536659 w 6689088"/>
              <a:gd name="connsiteY670" fmla="*/ 4068349 h 6689084"/>
              <a:gd name="connsiteX671" fmla="*/ 5542468 w 6689088"/>
              <a:gd name="connsiteY671" fmla="*/ 4074159 h 6689084"/>
              <a:gd name="connsiteX672" fmla="*/ 5536659 w 6689088"/>
              <a:gd name="connsiteY672" fmla="*/ 4079968 h 6689084"/>
              <a:gd name="connsiteX673" fmla="*/ 5530850 w 6689088"/>
              <a:gd name="connsiteY673" fmla="*/ 4074159 h 6689084"/>
              <a:gd name="connsiteX674" fmla="*/ 5536659 w 6689088"/>
              <a:gd name="connsiteY674" fmla="*/ 4068349 h 6689084"/>
              <a:gd name="connsiteX675" fmla="*/ 5690606 w 6689088"/>
              <a:gd name="connsiteY675" fmla="*/ 4066897 h 6689084"/>
              <a:gd name="connsiteX676" fmla="*/ 5697868 w 6689088"/>
              <a:gd name="connsiteY676" fmla="*/ 4074159 h 6689084"/>
              <a:gd name="connsiteX677" fmla="*/ 5690606 w 6689088"/>
              <a:gd name="connsiteY677" fmla="*/ 4081420 h 6689084"/>
              <a:gd name="connsiteX678" fmla="*/ 5683345 w 6689088"/>
              <a:gd name="connsiteY678" fmla="*/ 4074159 h 6689084"/>
              <a:gd name="connsiteX679" fmla="*/ 5690606 w 6689088"/>
              <a:gd name="connsiteY679" fmla="*/ 4066897 h 6689084"/>
              <a:gd name="connsiteX680" fmla="*/ 5844554 w 6689088"/>
              <a:gd name="connsiteY680" fmla="*/ 4064717 h 6689084"/>
              <a:gd name="connsiteX681" fmla="*/ 5853634 w 6689088"/>
              <a:gd name="connsiteY681" fmla="*/ 4073793 h 6689084"/>
              <a:gd name="connsiteX682" fmla="*/ 5844554 w 6689088"/>
              <a:gd name="connsiteY682" fmla="*/ 4082873 h 6689084"/>
              <a:gd name="connsiteX683" fmla="*/ 5835478 w 6689088"/>
              <a:gd name="connsiteY683" fmla="*/ 4073793 h 6689084"/>
              <a:gd name="connsiteX684" fmla="*/ 5844554 w 6689088"/>
              <a:gd name="connsiteY684" fmla="*/ 4064717 h 6689084"/>
              <a:gd name="connsiteX685" fmla="*/ 5998139 w 6689088"/>
              <a:gd name="connsiteY685" fmla="*/ 4063992 h 6689084"/>
              <a:gd name="connsiteX686" fmla="*/ 6008306 w 6689088"/>
              <a:gd name="connsiteY686" fmla="*/ 4074159 h 6689084"/>
              <a:gd name="connsiteX687" fmla="*/ 5998139 w 6689088"/>
              <a:gd name="connsiteY687" fmla="*/ 4084325 h 6689084"/>
              <a:gd name="connsiteX688" fmla="*/ 5987973 w 6689088"/>
              <a:gd name="connsiteY688" fmla="*/ 4074159 h 6689084"/>
              <a:gd name="connsiteX689" fmla="*/ 5998139 w 6689088"/>
              <a:gd name="connsiteY689" fmla="*/ 4063992 h 6689084"/>
              <a:gd name="connsiteX690" fmla="*/ 6152083 w 6689088"/>
              <a:gd name="connsiteY690" fmla="*/ 4062174 h 6689084"/>
              <a:gd name="connsiteX691" fmla="*/ 6164064 w 6689088"/>
              <a:gd name="connsiteY691" fmla="*/ 4074155 h 6689084"/>
              <a:gd name="connsiteX692" fmla="*/ 6152083 w 6689088"/>
              <a:gd name="connsiteY692" fmla="*/ 4086140 h 6689084"/>
              <a:gd name="connsiteX693" fmla="*/ 6140102 w 6689088"/>
              <a:gd name="connsiteY693" fmla="*/ 4074155 h 6689084"/>
              <a:gd name="connsiteX694" fmla="*/ 6152083 w 6689088"/>
              <a:gd name="connsiteY694" fmla="*/ 4062174 h 6689084"/>
              <a:gd name="connsiteX695" fmla="*/ 6305672 w 6689088"/>
              <a:gd name="connsiteY695" fmla="*/ 4059998 h 6689084"/>
              <a:gd name="connsiteX696" fmla="*/ 6319467 w 6689088"/>
              <a:gd name="connsiteY696" fmla="*/ 4073793 h 6689084"/>
              <a:gd name="connsiteX697" fmla="*/ 6305672 w 6689088"/>
              <a:gd name="connsiteY697" fmla="*/ 4087592 h 6689084"/>
              <a:gd name="connsiteX698" fmla="*/ 6291873 w 6689088"/>
              <a:gd name="connsiteY698" fmla="*/ 4073793 h 6689084"/>
              <a:gd name="connsiteX699" fmla="*/ 6305672 w 6689088"/>
              <a:gd name="connsiteY699" fmla="*/ 4059998 h 6689084"/>
              <a:gd name="connsiteX700" fmla="*/ 6459619 w 6689088"/>
              <a:gd name="connsiteY700" fmla="*/ 4058907 h 6689084"/>
              <a:gd name="connsiteX701" fmla="*/ 6474867 w 6689088"/>
              <a:gd name="connsiteY701" fmla="*/ 4074155 h 6689084"/>
              <a:gd name="connsiteX702" fmla="*/ 6459619 w 6689088"/>
              <a:gd name="connsiteY702" fmla="*/ 4089406 h 6689084"/>
              <a:gd name="connsiteX703" fmla="*/ 6444368 w 6689088"/>
              <a:gd name="connsiteY703" fmla="*/ 4074155 h 6689084"/>
              <a:gd name="connsiteX704" fmla="*/ 6459619 w 6689088"/>
              <a:gd name="connsiteY704" fmla="*/ 4058907 h 6689084"/>
              <a:gd name="connsiteX705" fmla="*/ 6613197 w 6689088"/>
              <a:gd name="connsiteY705" fmla="*/ 4057093 h 6689084"/>
              <a:gd name="connsiteX706" fmla="*/ 6630266 w 6689088"/>
              <a:gd name="connsiteY706" fmla="*/ 4074159 h 6689084"/>
              <a:gd name="connsiteX707" fmla="*/ 6613197 w 6689088"/>
              <a:gd name="connsiteY707" fmla="*/ 4091225 h 6689084"/>
              <a:gd name="connsiteX708" fmla="*/ 6596135 w 6689088"/>
              <a:gd name="connsiteY708" fmla="*/ 4074159 h 6689084"/>
              <a:gd name="connsiteX709" fmla="*/ 6613197 w 6689088"/>
              <a:gd name="connsiteY709" fmla="*/ 4057093 h 6689084"/>
              <a:gd name="connsiteX710" fmla="*/ 4614061 w 6689088"/>
              <a:gd name="connsiteY710" fmla="*/ 3919845 h 6689084"/>
              <a:gd name="connsiteX711" fmla="*/ 4614424 w 6689088"/>
              <a:gd name="connsiteY711" fmla="*/ 3920208 h 6689084"/>
              <a:gd name="connsiteX712" fmla="*/ 4614061 w 6689088"/>
              <a:gd name="connsiteY712" fmla="*/ 3920574 h 6689084"/>
              <a:gd name="connsiteX713" fmla="*/ 4613699 w 6689088"/>
              <a:gd name="connsiteY713" fmla="*/ 3920208 h 6689084"/>
              <a:gd name="connsiteX714" fmla="*/ 4614061 w 6689088"/>
              <a:gd name="connsiteY714" fmla="*/ 3919845 h 6689084"/>
              <a:gd name="connsiteX715" fmla="*/ 4152947 w 6689088"/>
              <a:gd name="connsiteY715" fmla="*/ 3919845 h 6689084"/>
              <a:gd name="connsiteX716" fmla="*/ 4153309 w 6689088"/>
              <a:gd name="connsiteY716" fmla="*/ 3920208 h 6689084"/>
              <a:gd name="connsiteX717" fmla="*/ 4152947 w 6689088"/>
              <a:gd name="connsiteY717" fmla="*/ 3920574 h 6689084"/>
              <a:gd name="connsiteX718" fmla="*/ 4152585 w 6689088"/>
              <a:gd name="connsiteY718" fmla="*/ 3920208 h 6689084"/>
              <a:gd name="connsiteX719" fmla="*/ 4152947 w 6689088"/>
              <a:gd name="connsiteY719" fmla="*/ 3919845 h 6689084"/>
              <a:gd name="connsiteX720" fmla="*/ 3999000 w 6689088"/>
              <a:gd name="connsiteY720" fmla="*/ 3919845 h 6689084"/>
              <a:gd name="connsiteX721" fmla="*/ 3999362 w 6689088"/>
              <a:gd name="connsiteY721" fmla="*/ 3920208 h 6689084"/>
              <a:gd name="connsiteX722" fmla="*/ 3999000 w 6689088"/>
              <a:gd name="connsiteY722" fmla="*/ 3920574 h 6689084"/>
              <a:gd name="connsiteX723" fmla="*/ 3998638 w 6689088"/>
              <a:gd name="connsiteY723" fmla="*/ 3920208 h 6689084"/>
              <a:gd name="connsiteX724" fmla="*/ 3999000 w 6689088"/>
              <a:gd name="connsiteY724" fmla="*/ 3919845 h 6689084"/>
              <a:gd name="connsiteX725" fmla="*/ 3845418 w 6689088"/>
              <a:gd name="connsiteY725" fmla="*/ 3919483 h 6689084"/>
              <a:gd name="connsiteX726" fmla="*/ 3846142 w 6689088"/>
              <a:gd name="connsiteY726" fmla="*/ 3920211 h 6689084"/>
              <a:gd name="connsiteX727" fmla="*/ 3845418 w 6689088"/>
              <a:gd name="connsiteY727" fmla="*/ 3920936 h 6689084"/>
              <a:gd name="connsiteX728" fmla="*/ 3844690 w 6689088"/>
              <a:gd name="connsiteY728" fmla="*/ 3920211 h 6689084"/>
              <a:gd name="connsiteX729" fmla="*/ 3845418 w 6689088"/>
              <a:gd name="connsiteY729" fmla="*/ 3919483 h 6689084"/>
              <a:gd name="connsiteX730" fmla="*/ 4768012 w 6689088"/>
              <a:gd name="connsiteY730" fmla="*/ 3918759 h 6689084"/>
              <a:gd name="connsiteX731" fmla="*/ 4769464 w 6689088"/>
              <a:gd name="connsiteY731" fmla="*/ 3920211 h 6689084"/>
              <a:gd name="connsiteX732" fmla="*/ 4768012 w 6689088"/>
              <a:gd name="connsiteY732" fmla="*/ 3921664 h 6689084"/>
              <a:gd name="connsiteX733" fmla="*/ 4766560 w 6689088"/>
              <a:gd name="connsiteY733" fmla="*/ 3920211 h 6689084"/>
              <a:gd name="connsiteX734" fmla="*/ 4768012 w 6689088"/>
              <a:gd name="connsiteY734" fmla="*/ 3918759 h 6689084"/>
              <a:gd name="connsiteX735" fmla="*/ 4921594 w 6689088"/>
              <a:gd name="connsiteY735" fmla="*/ 3918031 h 6689084"/>
              <a:gd name="connsiteX736" fmla="*/ 4923774 w 6689088"/>
              <a:gd name="connsiteY736" fmla="*/ 3920208 h 6689084"/>
              <a:gd name="connsiteX737" fmla="*/ 4921594 w 6689088"/>
              <a:gd name="connsiteY737" fmla="*/ 3922388 h 6689084"/>
              <a:gd name="connsiteX738" fmla="*/ 4919417 w 6689088"/>
              <a:gd name="connsiteY738" fmla="*/ 3920208 h 6689084"/>
              <a:gd name="connsiteX739" fmla="*/ 4921594 w 6689088"/>
              <a:gd name="connsiteY739" fmla="*/ 3918031 h 6689084"/>
              <a:gd name="connsiteX740" fmla="*/ 5075545 w 6689088"/>
              <a:gd name="connsiteY740" fmla="*/ 3917307 h 6689084"/>
              <a:gd name="connsiteX741" fmla="*/ 5078812 w 6689088"/>
              <a:gd name="connsiteY741" fmla="*/ 3920574 h 6689084"/>
              <a:gd name="connsiteX742" fmla="*/ 5075545 w 6689088"/>
              <a:gd name="connsiteY742" fmla="*/ 3923844 h 6689084"/>
              <a:gd name="connsiteX743" fmla="*/ 5072274 w 6689088"/>
              <a:gd name="connsiteY743" fmla="*/ 3920574 h 6689084"/>
              <a:gd name="connsiteX744" fmla="*/ 5075545 w 6689088"/>
              <a:gd name="connsiteY744" fmla="*/ 3917307 h 6689084"/>
              <a:gd name="connsiteX745" fmla="*/ 5229126 w 6689088"/>
              <a:gd name="connsiteY745" fmla="*/ 3915854 h 6689084"/>
              <a:gd name="connsiteX746" fmla="*/ 5233484 w 6689088"/>
              <a:gd name="connsiteY746" fmla="*/ 3920211 h 6689084"/>
              <a:gd name="connsiteX747" fmla="*/ 5229126 w 6689088"/>
              <a:gd name="connsiteY747" fmla="*/ 3924568 h 6689084"/>
              <a:gd name="connsiteX748" fmla="*/ 5224770 w 6689088"/>
              <a:gd name="connsiteY748" fmla="*/ 3920211 h 6689084"/>
              <a:gd name="connsiteX749" fmla="*/ 5229126 w 6689088"/>
              <a:gd name="connsiteY749" fmla="*/ 3915854 h 6689084"/>
              <a:gd name="connsiteX750" fmla="*/ 5383074 w 6689088"/>
              <a:gd name="connsiteY750" fmla="*/ 3914764 h 6689084"/>
              <a:gd name="connsiteX751" fmla="*/ 5388883 w 6689088"/>
              <a:gd name="connsiteY751" fmla="*/ 3920574 h 6689084"/>
              <a:gd name="connsiteX752" fmla="*/ 5383074 w 6689088"/>
              <a:gd name="connsiteY752" fmla="*/ 3926383 h 6689084"/>
              <a:gd name="connsiteX753" fmla="*/ 5377264 w 6689088"/>
              <a:gd name="connsiteY753" fmla="*/ 3920574 h 6689084"/>
              <a:gd name="connsiteX754" fmla="*/ 5383074 w 6689088"/>
              <a:gd name="connsiteY754" fmla="*/ 3914764 h 6689084"/>
              <a:gd name="connsiteX755" fmla="*/ 5536659 w 6689088"/>
              <a:gd name="connsiteY755" fmla="*/ 3912950 h 6689084"/>
              <a:gd name="connsiteX756" fmla="*/ 5543921 w 6689088"/>
              <a:gd name="connsiteY756" fmla="*/ 3920211 h 6689084"/>
              <a:gd name="connsiteX757" fmla="*/ 5536659 w 6689088"/>
              <a:gd name="connsiteY757" fmla="*/ 3927473 h 6689084"/>
              <a:gd name="connsiteX758" fmla="*/ 5529398 w 6689088"/>
              <a:gd name="connsiteY758" fmla="*/ 3920211 h 6689084"/>
              <a:gd name="connsiteX759" fmla="*/ 5536659 w 6689088"/>
              <a:gd name="connsiteY759" fmla="*/ 3912950 h 6689084"/>
              <a:gd name="connsiteX760" fmla="*/ 5690606 w 6689088"/>
              <a:gd name="connsiteY760" fmla="*/ 3911135 h 6689084"/>
              <a:gd name="connsiteX761" fmla="*/ 5699686 w 6689088"/>
              <a:gd name="connsiteY761" fmla="*/ 3920211 h 6689084"/>
              <a:gd name="connsiteX762" fmla="*/ 5690606 w 6689088"/>
              <a:gd name="connsiteY762" fmla="*/ 3929291 h 6689084"/>
              <a:gd name="connsiteX763" fmla="*/ 5681530 w 6689088"/>
              <a:gd name="connsiteY763" fmla="*/ 3920211 h 6689084"/>
              <a:gd name="connsiteX764" fmla="*/ 5690606 w 6689088"/>
              <a:gd name="connsiteY764" fmla="*/ 3911135 h 6689084"/>
              <a:gd name="connsiteX765" fmla="*/ 5844554 w 6689088"/>
              <a:gd name="connsiteY765" fmla="*/ 3910045 h 6689084"/>
              <a:gd name="connsiteX766" fmla="*/ 5854720 w 6689088"/>
              <a:gd name="connsiteY766" fmla="*/ 3920211 h 6689084"/>
              <a:gd name="connsiteX767" fmla="*/ 5844554 w 6689088"/>
              <a:gd name="connsiteY767" fmla="*/ 3930378 h 6689084"/>
              <a:gd name="connsiteX768" fmla="*/ 5834388 w 6689088"/>
              <a:gd name="connsiteY768" fmla="*/ 3920211 h 6689084"/>
              <a:gd name="connsiteX769" fmla="*/ 5844554 w 6689088"/>
              <a:gd name="connsiteY769" fmla="*/ 3910045 h 6689084"/>
              <a:gd name="connsiteX770" fmla="*/ 5998139 w 6689088"/>
              <a:gd name="connsiteY770" fmla="*/ 3908227 h 6689084"/>
              <a:gd name="connsiteX771" fmla="*/ 6010120 w 6689088"/>
              <a:gd name="connsiteY771" fmla="*/ 3920208 h 6689084"/>
              <a:gd name="connsiteX772" fmla="*/ 5998139 w 6689088"/>
              <a:gd name="connsiteY772" fmla="*/ 3932192 h 6689084"/>
              <a:gd name="connsiteX773" fmla="*/ 5986158 w 6689088"/>
              <a:gd name="connsiteY773" fmla="*/ 3920208 h 6689084"/>
              <a:gd name="connsiteX774" fmla="*/ 5998139 w 6689088"/>
              <a:gd name="connsiteY774" fmla="*/ 3908227 h 6689084"/>
              <a:gd name="connsiteX775" fmla="*/ 6152086 w 6689088"/>
              <a:gd name="connsiteY775" fmla="*/ 3906412 h 6689084"/>
              <a:gd name="connsiteX776" fmla="*/ 6165882 w 6689088"/>
              <a:gd name="connsiteY776" fmla="*/ 3920211 h 6689084"/>
              <a:gd name="connsiteX777" fmla="*/ 6152086 w 6689088"/>
              <a:gd name="connsiteY777" fmla="*/ 3934007 h 6689084"/>
              <a:gd name="connsiteX778" fmla="*/ 6138288 w 6689088"/>
              <a:gd name="connsiteY778" fmla="*/ 3920211 h 6689084"/>
              <a:gd name="connsiteX779" fmla="*/ 6152086 w 6689088"/>
              <a:gd name="connsiteY779" fmla="*/ 3906412 h 6689084"/>
              <a:gd name="connsiteX780" fmla="*/ 6305672 w 6689088"/>
              <a:gd name="connsiteY780" fmla="*/ 3904960 h 6689084"/>
              <a:gd name="connsiteX781" fmla="*/ 6320920 w 6689088"/>
              <a:gd name="connsiteY781" fmla="*/ 3920211 h 6689084"/>
              <a:gd name="connsiteX782" fmla="*/ 6305672 w 6689088"/>
              <a:gd name="connsiteY782" fmla="*/ 3935459 h 6689084"/>
              <a:gd name="connsiteX783" fmla="*/ 6290420 w 6689088"/>
              <a:gd name="connsiteY783" fmla="*/ 3920211 h 6689084"/>
              <a:gd name="connsiteX784" fmla="*/ 6305672 w 6689088"/>
              <a:gd name="connsiteY784" fmla="*/ 3904960 h 6689084"/>
              <a:gd name="connsiteX785" fmla="*/ 6459616 w 6689088"/>
              <a:gd name="connsiteY785" fmla="*/ 3903146 h 6689084"/>
              <a:gd name="connsiteX786" fmla="*/ 6476682 w 6689088"/>
              <a:gd name="connsiteY786" fmla="*/ 3920211 h 6689084"/>
              <a:gd name="connsiteX787" fmla="*/ 6459616 w 6689088"/>
              <a:gd name="connsiteY787" fmla="*/ 3937277 h 6689084"/>
              <a:gd name="connsiteX788" fmla="*/ 6442550 w 6689088"/>
              <a:gd name="connsiteY788" fmla="*/ 3920211 h 6689084"/>
              <a:gd name="connsiteX789" fmla="*/ 6459616 w 6689088"/>
              <a:gd name="connsiteY789" fmla="*/ 3903146 h 6689084"/>
              <a:gd name="connsiteX790" fmla="*/ 6613200 w 6689088"/>
              <a:gd name="connsiteY790" fmla="*/ 3900969 h 6689084"/>
              <a:gd name="connsiteX791" fmla="*/ 6632447 w 6689088"/>
              <a:gd name="connsiteY791" fmla="*/ 3920211 h 6689084"/>
              <a:gd name="connsiteX792" fmla="*/ 6613200 w 6689088"/>
              <a:gd name="connsiteY792" fmla="*/ 3939458 h 6689084"/>
              <a:gd name="connsiteX793" fmla="*/ 6593958 w 6689088"/>
              <a:gd name="connsiteY793" fmla="*/ 3920211 h 6689084"/>
              <a:gd name="connsiteX794" fmla="*/ 6613200 w 6689088"/>
              <a:gd name="connsiteY794" fmla="*/ 3900969 h 6689084"/>
              <a:gd name="connsiteX795" fmla="*/ 4460480 w 6689088"/>
              <a:gd name="connsiteY795" fmla="*/ 3766264 h 6689084"/>
              <a:gd name="connsiteX796" fmla="*/ 4460842 w 6689088"/>
              <a:gd name="connsiteY796" fmla="*/ 3766626 h 6689084"/>
              <a:gd name="connsiteX797" fmla="*/ 4460480 w 6689088"/>
              <a:gd name="connsiteY797" fmla="*/ 3766988 h 6689084"/>
              <a:gd name="connsiteX798" fmla="*/ 4460118 w 6689088"/>
              <a:gd name="connsiteY798" fmla="*/ 3766626 h 6689084"/>
              <a:gd name="connsiteX799" fmla="*/ 4460480 w 6689088"/>
              <a:gd name="connsiteY799" fmla="*/ 3766264 h 6689084"/>
              <a:gd name="connsiteX800" fmla="*/ 3999000 w 6689088"/>
              <a:gd name="connsiteY800" fmla="*/ 3766264 h 6689084"/>
              <a:gd name="connsiteX801" fmla="*/ 3999362 w 6689088"/>
              <a:gd name="connsiteY801" fmla="*/ 3766626 h 6689084"/>
              <a:gd name="connsiteX802" fmla="*/ 3999000 w 6689088"/>
              <a:gd name="connsiteY802" fmla="*/ 3766988 h 6689084"/>
              <a:gd name="connsiteX803" fmla="*/ 3998638 w 6689088"/>
              <a:gd name="connsiteY803" fmla="*/ 3766626 h 6689084"/>
              <a:gd name="connsiteX804" fmla="*/ 3999000 w 6689088"/>
              <a:gd name="connsiteY804" fmla="*/ 3766264 h 6689084"/>
              <a:gd name="connsiteX805" fmla="*/ 3845414 w 6689088"/>
              <a:gd name="connsiteY805" fmla="*/ 3766264 h 6689084"/>
              <a:gd name="connsiteX806" fmla="*/ 3845776 w 6689088"/>
              <a:gd name="connsiteY806" fmla="*/ 3766626 h 6689084"/>
              <a:gd name="connsiteX807" fmla="*/ 3845414 w 6689088"/>
              <a:gd name="connsiteY807" fmla="*/ 3766988 h 6689084"/>
              <a:gd name="connsiteX808" fmla="*/ 3845052 w 6689088"/>
              <a:gd name="connsiteY808" fmla="*/ 3766626 h 6689084"/>
              <a:gd name="connsiteX809" fmla="*/ 3845414 w 6689088"/>
              <a:gd name="connsiteY809" fmla="*/ 3766264 h 6689084"/>
              <a:gd name="connsiteX810" fmla="*/ 3691471 w 6689088"/>
              <a:gd name="connsiteY810" fmla="*/ 3765902 h 6689084"/>
              <a:gd name="connsiteX811" fmla="*/ 3692195 w 6689088"/>
              <a:gd name="connsiteY811" fmla="*/ 3766626 h 6689084"/>
              <a:gd name="connsiteX812" fmla="*/ 3691471 w 6689088"/>
              <a:gd name="connsiteY812" fmla="*/ 3767354 h 6689084"/>
              <a:gd name="connsiteX813" fmla="*/ 3690743 w 6689088"/>
              <a:gd name="connsiteY813" fmla="*/ 3766626 h 6689084"/>
              <a:gd name="connsiteX814" fmla="*/ 3691471 w 6689088"/>
              <a:gd name="connsiteY814" fmla="*/ 3765902 h 6689084"/>
              <a:gd name="connsiteX815" fmla="*/ 4614065 w 6689088"/>
              <a:gd name="connsiteY815" fmla="*/ 3764812 h 6689084"/>
              <a:gd name="connsiteX816" fmla="*/ 4615518 w 6689088"/>
              <a:gd name="connsiteY816" fmla="*/ 3766264 h 6689084"/>
              <a:gd name="connsiteX817" fmla="*/ 4614065 w 6689088"/>
              <a:gd name="connsiteY817" fmla="*/ 3767716 h 6689084"/>
              <a:gd name="connsiteX818" fmla="*/ 4612612 w 6689088"/>
              <a:gd name="connsiteY818" fmla="*/ 3766264 h 6689084"/>
              <a:gd name="connsiteX819" fmla="*/ 4614065 w 6689088"/>
              <a:gd name="connsiteY819" fmla="*/ 3764812 h 6689084"/>
              <a:gd name="connsiteX820" fmla="*/ 4768008 w 6689088"/>
              <a:gd name="connsiteY820" fmla="*/ 3764450 h 6689084"/>
              <a:gd name="connsiteX821" fmla="*/ 4770189 w 6689088"/>
              <a:gd name="connsiteY821" fmla="*/ 3766626 h 6689084"/>
              <a:gd name="connsiteX822" fmla="*/ 4768008 w 6689088"/>
              <a:gd name="connsiteY822" fmla="*/ 3768807 h 6689084"/>
              <a:gd name="connsiteX823" fmla="*/ 4765832 w 6689088"/>
              <a:gd name="connsiteY823" fmla="*/ 3766626 h 6689084"/>
              <a:gd name="connsiteX824" fmla="*/ 4768008 w 6689088"/>
              <a:gd name="connsiteY824" fmla="*/ 3764450 h 6689084"/>
              <a:gd name="connsiteX825" fmla="*/ 4921594 w 6689088"/>
              <a:gd name="connsiteY825" fmla="*/ 3763359 h 6689084"/>
              <a:gd name="connsiteX826" fmla="*/ 4924860 w 6689088"/>
              <a:gd name="connsiteY826" fmla="*/ 3766626 h 6689084"/>
              <a:gd name="connsiteX827" fmla="*/ 4921594 w 6689088"/>
              <a:gd name="connsiteY827" fmla="*/ 3769897 h 6689084"/>
              <a:gd name="connsiteX828" fmla="*/ 4918327 w 6689088"/>
              <a:gd name="connsiteY828" fmla="*/ 3766626 h 6689084"/>
              <a:gd name="connsiteX829" fmla="*/ 4921594 w 6689088"/>
              <a:gd name="connsiteY829" fmla="*/ 3763359 h 6689084"/>
              <a:gd name="connsiteX830" fmla="*/ 5075541 w 6689088"/>
              <a:gd name="connsiteY830" fmla="*/ 3762269 h 6689084"/>
              <a:gd name="connsiteX831" fmla="*/ 5079898 w 6689088"/>
              <a:gd name="connsiteY831" fmla="*/ 3766626 h 6689084"/>
              <a:gd name="connsiteX832" fmla="*/ 5075541 w 6689088"/>
              <a:gd name="connsiteY832" fmla="*/ 3770983 h 6689084"/>
              <a:gd name="connsiteX833" fmla="*/ 5071184 w 6689088"/>
              <a:gd name="connsiteY833" fmla="*/ 3766626 h 6689084"/>
              <a:gd name="connsiteX834" fmla="*/ 5075541 w 6689088"/>
              <a:gd name="connsiteY834" fmla="*/ 3762269 h 6689084"/>
              <a:gd name="connsiteX835" fmla="*/ 5229126 w 6689088"/>
              <a:gd name="connsiteY835" fmla="*/ 3760817 h 6689084"/>
              <a:gd name="connsiteX836" fmla="*/ 5234936 w 6689088"/>
              <a:gd name="connsiteY836" fmla="*/ 3766626 h 6689084"/>
              <a:gd name="connsiteX837" fmla="*/ 5229126 w 6689088"/>
              <a:gd name="connsiteY837" fmla="*/ 3772436 h 6689084"/>
              <a:gd name="connsiteX838" fmla="*/ 5223317 w 6689088"/>
              <a:gd name="connsiteY838" fmla="*/ 3766626 h 6689084"/>
              <a:gd name="connsiteX839" fmla="*/ 5229126 w 6689088"/>
              <a:gd name="connsiteY839" fmla="*/ 3760817 h 6689084"/>
              <a:gd name="connsiteX840" fmla="*/ 5383074 w 6689088"/>
              <a:gd name="connsiteY840" fmla="*/ 3759365 h 6689084"/>
              <a:gd name="connsiteX841" fmla="*/ 5390336 w 6689088"/>
              <a:gd name="connsiteY841" fmla="*/ 3766626 h 6689084"/>
              <a:gd name="connsiteX842" fmla="*/ 5383074 w 6689088"/>
              <a:gd name="connsiteY842" fmla="*/ 3773888 h 6689084"/>
              <a:gd name="connsiteX843" fmla="*/ 5375812 w 6689088"/>
              <a:gd name="connsiteY843" fmla="*/ 3766626 h 6689084"/>
              <a:gd name="connsiteX844" fmla="*/ 5383074 w 6689088"/>
              <a:gd name="connsiteY844" fmla="*/ 3759365 h 6689084"/>
              <a:gd name="connsiteX845" fmla="*/ 5536659 w 6689088"/>
              <a:gd name="connsiteY845" fmla="*/ 3757188 h 6689084"/>
              <a:gd name="connsiteX846" fmla="*/ 5545739 w 6689088"/>
              <a:gd name="connsiteY846" fmla="*/ 3766264 h 6689084"/>
              <a:gd name="connsiteX847" fmla="*/ 5536659 w 6689088"/>
              <a:gd name="connsiteY847" fmla="*/ 3775344 h 6689084"/>
              <a:gd name="connsiteX848" fmla="*/ 5527583 w 6689088"/>
              <a:gd name="connsiteY848" fmla="*/ 3766264 h 6689084"/>
              <a:gd name="connsiteX849" fmla="*/ 5536659 w 6689088"/>
              <a:gd name="connsiteY849" fmla="*/ 3757188 h 6689084"/>
              <a:gd name="connsiteX850" fmla="*/ 5690606 w 6689088"/>
              <a:gd name="connsiteY850" fmla="*/ 3756460 h 6689084"/>
              <a:gd name="connsiteX851" fmla="*/ 5700773 w 6689088"/>
              <a:gd name="connsiteY851" fmla="*/ 3766626 h 6689084"/>
              <a:gd name="connsiteX852" fmla="*/ 5690606 w 6689088"/>
              <a:gd name="connsiteY852" fmla="*/ 3776793 h 6689084"/>
              <a:gd name="connsiteX853" fmla="*/ 5680440 w 6689088"/>
              <a:gd name="connsiteY853" fmla="*/ 3766626 h 6689084"/>
              <a:gd name="connsiteX854" fmla="*/ 5690606 w 6689088"/>
              <a:gd name="connsiteY854" fmla="*/ 3756460 h 6689084"/>
              <a:gd name="connsiteX855" fmla="*/ 5844550 w 6689088"/>
              <a:gd name="connsiteY855" fmla="*/ 3754645 h 6689084"/>
              <a:gd name="connsiteX856" fmla="*/ 5856534 w 6689088"/>
              <a:gd name="connsiteY856" fmla="*/ 3766626 h 6689084"/>
              <a:gd name="connsiteX857" fmla="*/ 5844550 w 6689088"/>
              <a:gd name="connsiteY857" fmla="*/ 3778607 h 6689084"/>
              <a:gd name="connsiteX858" fmla="*/ 5832570 w 6689088"/>
              <a:gd name="connsiteY858" fmla="*/ 3766626 h 6689084"/>
              <a:gd name="connsiteX859" fmla="*/ 5844550 w 6689088"/>
              <a:gd name="connsiteY859" fmla="*/ 3754645 h 6689084"/>
              <a:gd name="connsiteX860" fmla="*/ 5998139 w 6689088"/>
              <a:gd name="connsiteY860" fmla="*/ 3752465 h 6689084"/>
              <a:gd name="connsiteX861" fmla="*/ 6011934 w 6689088"/>
              <a:gd name="connsiteY861" fmla="*/ 3766264 h 6689084"/>
              <a:gd name="connsiteX862" fmla="*/ 5998139 w 6689088"/>
              <a:gd name="connsiteY862" fmla="*/ 3780059 h 6689084"/>
              <a:gd name="connsiteX863" fmla="*/ 5984340 w 6689088"/>
              <a:gd name="connsiteY863" fmla="*/ 3766264 h 6689084"/>
              <a:gd name="connsiteX864" fmla="*/ 5998139 w 6689088"/>
              <a:gd name="connsiteY864" fmla="*/ 3752465 h 6689084"/>
              <a:gd name="connsiteX865" fmla="*/ 6152086 w 6689088"/>
              <a:gd name="connsiteY865" fmla="*/ 3751379 h 6689084"/>
              <a:gd name="connsiteX866" fmla="*/ 6167334 w 6689088"/>
              <a:gd name="connsiteY866" fmla="*/ 3766626 h 6689084"/>
              <a:gd name="connsiteX867" fmla="*/ 6152086 w 6689088"/>
              <a:gd name="connsiteY867" fmla="*/ 3781878 h 6689084"/>
              <a:gd name="connsiteX868" fmla="*/ 6136839 w 6689088"/>
              <a:gd name="connsiteY868" fmla="*/ 3766626 h 6689084"/>
              <a:gd name="connsiteX869" fmla="*/ 6152086 w 6689088"/>
              <a:gd name="connsiteY869" fmla="*/ 3751379 h 6689084"/>
              <a:gd name="connsiteX870" fmla="*/ 6305668 w 6689088"/>
              <a:gd name="connsiteY870" fmla="*/ 3749560 h 6689084"/>
              <a:gd name="connsiteX871" fmla="*/ 6322734 w 6689088"/>
              <a:gd name="connsiteY871" fmla="*/ 3766626 h 6689084"/>
              <a:gd name="connsiteX872" fmla="*/ 6305668 w 6689088"/>
              <a:gd name="connsiteY872" fmla="*/ 3783692 h 6689084"/>
              <a:gd name="connsiteX873" fmla="*/ 6288602 w 6689088"/>
              <a:gd name="connsiteY873" fmla="*/ 3766626 h 6689084"/>
              <a:gd name="connsiteX874" fmla="*/ 6305668 w 6689088"/>
              <a:gd name="connsiteY874" fmla="*/ 3749560 h 6689084"/>
              <a:gd name="connsiteX875" fmla="*/ 6459616 w 6689088"/>
              <a:gd name="connsiteY875" fmla="*/ 3747384 h 6689084"/>
              <a:gd name="connsiteX876" fmla="*/ 6478858 w 6689088"/>
              <a:gd name="connsiteY876" fmla="*/ 3766626 h 6689084"/>
              <a:gd name="connsiteX877" fmla="*/ 6459616 w 6689088"/>
              <a:gd name="connsiteY877" fmla="*/ 3785869 h 6689084"/>
              <a:gd name="connsiteX878" fmla="*/ 6440369 w 6689088"/>
              <a:gd name="connsiteY878" fmla="*/ 3766626 h 6689084"/>
              <a:gd name="connsiteX879" fmla="*/ 6459616 w 6689088"/>
              <a:gd name="connsiteY879" fmla="*/ 3747384 h 6689084"/>
              <a:gd name="connsiteX880" fmla="*/ 6613200 w 6689088"/>
              <a:gd name="connsiteY880" fmla="*/ 3745203 h 6689084"/>
              <a:gd name="connsiteX881" fmla="*/ 6634624 w 6689088"/>
              <a:gd name="connsiteY881" fmla="*/ 3766626 h 6689084"/>
              <a:gd name="connsiteX882" fmla="*/ 6613200 w 6689088"/>
              <a:gd name="connsiteY882" fmla="*/ 3788045 h 6689084"/>
              <a:gd name="connsiteX883" fmla="*/ 6591778 w 6689088"/>
              <a:gd name="connsiteY883" fmla="*/ 3766626 h 6689084"/>
              <a:gd name="connsiteX884" fmla="*/ 6613200 w 6689088"/>
              <a:gd name="connsiteY884" fmla="*/ 3745203 h 6689084"/>
              <a:gd name="connsiteX885" fmla="*/ 4306532 w 6689088"/>
              <a:gd name="connsiteY885" fmla="*/ 3612317 h 6689084"/>
              <a:gd name="connsiteX886" fmla="*/ 4306894 w 6689088"/>
              <a:gd name="connsiteY886" fmla="*/ 3612679 h 6689084"/>
              <a:gd name="connsiteX887" fmla="*/ 4306532 w 6689088"/>
              <a:gd name="connsiteY887" fmla="*/ 3613045 h 6689084"/>
              <a:gd name="connsiteX888" fmla="*/ 4306170 w 6689088"/>
              <a:gd name="connsiteY888" fmla="*/ 3612679 h 6689084"/>
              <a:gd name="connsiteX889" fmla="*/ 4306532 w 6689088"/>
              <a:gd name="connsiteY889" fmla="*/ 3612317 h 6689084"/>
              <a:gd name="connsiteX890" fmla="*/ 3845414 w 6689088"/>
              <a:gd name="connsiteY890" fmla="*/ 3612317 h 6689084"/>
              <a:gd name="connsiteX891" fmla="*/ 3845776 w 6689088"/>
              <a:gd name="connsiteY891" fmla="*/ 3612679 h 6689084"/>
              <a:gd name="connsiteX892" fmla="*/ 3845414 w 6689088"/>
              <a:gd name="connsiteY892" fmla="*/ 3613045 h 6689084"/>
              <a:gd name="connsiteX893" fmla="*/ 3845052 w 6689088"/>
              <a:gd name="connsiteY893" fmla="*/ 3612679 h 6689084"/>
              <a:gd name="connsiteX894" fmla="*/ 3845414 w 6689088"/>
              <a:gd name="connsiteY894" fmla="*/ 3612317 h 6689084"/>
              <a:gd name="connsiteX895" fmla="*/ 3691467 w 6689088"/>
              <a:gd name="connsiteY895" fmla="*/ 3612317 h 6689084"/>
              <a:gd name="connsiteX896" fmla="*/ 3691829 w 6689088"/>
              <a:gd name="connsiteY896" fmla="*/ 3612679 h 6689084"/>
              <a:gd name="connsiteX897" fmla="*/ 3691467 w 6689088"/>
              <a:gd name="connsiteY897" fmla="*/ 3613045 h 6689084"/>
              <a:gd name="connsiteX898" fmla="*/ 3691105 w 6689088"/>
              <a:gd name="connsiteY898" fmla="*/ 3612679 h 6689084"/>
              <a:gd name="connsiteX899" fmla="*/ 3691467 w 6689088"/>
              <a:gd name="connsiteY899" fmla="*/ 3612317 h 6689084"/>
              <a:gd name="connsiteX900" fmla="*/ 3537886 w 6689088"/>
              <a:gd name="connsiteY900" fmla="*/ 3611955 h 6689084"/>
              <a:gd name="connsiteX901" fmla="*/ 3538610 w 6689088"/>
              <a:gd name="connsiteY901" fmla="*/ 3612683 h 6689084"/>
              <a:gd name="connsiteX902" fmla="*/ 3537886 w 6689088"/>
              <a:gd name="connsiteY902" fmla="*/ 3613407 h 6689084"/>
              <a:gd name="connsiteX903" fmla="*/ 3537158 w 6689088"/>
              <a:gd name="connsiteY903" fmla="*/ 3612683 h 6689084"/>
              <a:gd name="connsiteX904" fmla="*/ 3537886 w 6689088"/>
              <a:gd name="connsiteY904" fmla="*/ 3611955 h 6689084"/>
              <a:gd name="connsiteX905" fmla="*/ 4460480 w 6689088"/>
              <a:gd name="connsiteY905" fmla="*/ 3611226 h 6689084"/>
              <a:gd name="connsiteX906" fmla="*/ 4461932 w 6689088"/>
              <a:gd name="connsiteY906" fmla="*/ 3612679 h 6689084"/>
              <a:gd name="connsiteX907" fmla="*/ 4460480 w 6689088"/>
              <a:gd name="connsiteY907" fmla="*/ 3614131 h 6689084"/>
              <a:gd name="connsiteX908" fmla="*/ 4459028 w 6689088"/>
              <a:gd name="connsiteY908" fmla="*/ 3612679 h 6689084"/>
              <a:gd name="connsiteX909" fmla="*/ 4460480 w 6689088"/>
              <a:gd name="connsiteY909" fmla="*/ 3611226 h 6689084"/>
              <a:gd name="connsiteX910" fmla="*/ 4614061 w 6689088"/>
              <a:gd name="connsiteY910" fmla="*/ 3610502 h 6689084"/>
              <a:gd name="connsiteX911" fmla="*/ 4616242 w 6689088"/>
              <a:gd name="connsiteY911" fmla="*/ 3612679 h 6689084"/>
              <a:gd name="connsiteX912" fmla="*/ 4614061 w 6689088"/>
              <a:gd name="connsiteY912" fmla="*/ 3614859 h 6689084"/>
              <a:gd name="connsiteX913" fmla="*/ 4611884 w 6689088"/>
              <a:gd name="connsiteY913" fmla="*/ 3612679 h 6689084"/>
              <a:gd name="connsiteX914" fmla="*/ 4614061 w 6689088"/>
              <a:gd name="connsiteY914" fmla="*/ 3610502 h 6689084"/>
              <a:gd name="connsiteX915" fmla="*/ 4768008 w 6689088"/>
              <a:gd name="connsiteY915" fmla="*/ 3609774 h 6689084"/>
              <a:gd name="connsiteX916" fmla="*/ 4771276 w 6689088"/>
              <a:gd name="connsiteY916" fmla="*/ 3613041 h 6689084"/>
              <a:gd name="connsiteX917" fmla="*/ 4768008 w 6689088"/>
              <a:gd name="connsiteY917" fmla="*/ 3616312 h 6689084"/>
              <a:gd name="connsiteX918" fmla="*/ 4764742 w 6689088"/>
              <a:gd name="connsiteY918" fmla="*/ 3613041 h 6689084"/>
              <a:gd name="connsiteX919" fmla="*/ 4768008 w 6689088"/>
              <a:gd name="connsiteY919" fmla="*/ 3609774 h 6689084"/>
              <a:gd name="connsiteX920" fmla="*/ 4921594 w 6689088"/>
              <a:gd name="connsiteY920" fmla="*/ 3608322 h 6689084"/>
              <a:gd name="connsiteX921" fmla="*/ 4925951 w 6689088"/>
              <a:gd name="connsiteY921" fmla="*/ 3612679 h 6689084"/>
              <a:gd name="connsiteX922" fmla="*/ 4921594 w 6689088"/>
              <a:gd name="connsiteY922" fmla="*/ 3617036 h 6689084"/>
              <a:gd name="connsiteX923" fmla="*/ 4917237 w 6689088"/>
              <a:gd name="connsiteY923" fmla="*/ 3612679 h 6689084"/>
              <a:gd name="connsiteX924" fmla="*/ 4921594 w 6689088"/>
              <a:gd name="connsiteY924" fmla="*/ 3608322 h 6689084"/>
              <a:gd name="connsiteX925" fmla="*/ 5075541 w 6689088"/>
              <a:gd name="connsiteY925" fmla="*/ 3607232 h 6689084"/>
              <a:gd name="connsiteX926" fmla="*/ 5081350 w 6689088"/>
              <a:gd name="connsiteY926" fmla="*/ 3613041 h 6689084"/>
              <a:gd name="connsiteX927" fmla="*/ 5075541 w 6689088"/>
              <a:gd name="connsiteY927" fmla="*/ 3618850 h 6689084"/>
              <a:gd name="connsiteX928" fmla="*/ 5069732 w 6689088"/>
              <a:gd name="connsiteY928" fmla="*/ 3613041 h 6689084"/>
              <a:gd name="connsiteX929" fmla="*/ 5075541 w 6689088"/>
              <a:gd name="connsiteY929" fmla="*/ 3607232 h 6689084"/>
              <a:gd name="connsiteX930" fmla="*/ 5229126 w 6689088"/>
              <a:gd name="connsiteY930" fmla="*/ 3605417 h 6689084"/>
              <a:gd name="connsiteX931" fmla="*/ 5236388 w 6689088"/>
              <a:gd name="connsiteY931" fmla="*/ 3612679 h 6689084"/>
              <a:gd name="connsiteX932" fmla="*/ 5229126 w 6689088"/>
              <a:gd name="connsiteY932" fmla="*/ 3619940 h 6689084"/>
              <a:gd name="connsiteX933" fmla="*/ 5221865 w 6689088"/>
              <a:gd name="connsiteY933" fmla="*/ 3612679 h 6689084"/>
              <a:gd name="connsiteX934" fmla="*/ 5229126 w 6689088"/>
              <a:gd name="connsiteY934" fmla="*/ 3605417 h 6689084"/>
              <a:gd name="connsiteX935" fmla="*/ 5383074 w 6689088"/>
              <a:gd name="connsiteY935" fmla="*/ 3603603 h 6689084"/>
              <a:gd name="connsiteX936" fmla="*/ 5392154 w 6689088"/>
              <a:gd name="connsiteY936" fmla="*/ 3612679 h 6689084"/>
              <a:gd name="connsiteX937" fmla="*/ 5383074 w 6689088"/>
              <a:gd name="connsiteY937" fmla="*/ 3621759 h 6689084"/>
              <a:gd name="connsiteX938" fmla="*/ 5373998 w 6689088"/>
              <a:gd name="connsiteY938" fmla="*/ 3612679 h 6689084"/>
              <a:gd name="connsiteX939" fmla="*/ 5383074 w 6689088"/>
              <a:gd name="connsiteY939" fmla="*/ 3603603 h 6689084"/>
              <a:gd name="connsiteX940" fmla="*/ 5536659 w 6689088"/>
              <a:gd name="connsiteY940" fmla="*/ 3602512 h 6689084"/>
              <a:gd name="connsiteX941" fmla="*/ 5546826 w 6689088"/>
              <a:gd name="connsiteY941" fmla="*/ 3612679 h 6689084"/>
              <a:gd name="connsiteX942" fmla="*/ 5536659 w 6689088"/>
              <a:gd name="connsiteY942" fmla="*/ 3622845 h 6689084"/>
              <a:gd name="connsiteX943" fmla="*/ 5526493 w 6689088"/>
              <a:gd name="connsiteY943" fmla="*/ 3612679 h 6689084"/>
              <a:gd name="connsiteX944" fmla="*/ 5536659 w 6689088"/>
              <a:gd name="connsiteY944" fmla="*/ 3602512 h 6689084"/>
              <a:gd name="connsiteX945" fmla="*/ 5690602 w 6689088"/>
              <a:gd name="connsiteY945" fmla="*/ 3600698 h 6689084"/>
              <a:gd name="connsiteX946" fmla="*/ 5702584 w 6689088"/>
              <a:gd name="connsiteY946" fmla="*/ 3612679 h 6689084"/>
              <a:gd name="connsiteX947" fmla="*/ 5690602 w 6689088"/>
              <a:gd name="connsiteY947" fmla="*/ 3624663 h 6689084"/>
              <a:gd name="connsiteX948" fmla="*/ 5678622 w 6689088"/>
              <a:gd name="connsiteY948" fmla="*/ 3612679 h 6689084"/>
              <a:gd name="connsiteX949" fmla="*/ 5690602 w 6689088"/>
              <a:gd name="connsiteY949" fmla="*/ 3600698 h 6689084"/>
              <a:gd name="connsiteX950" fmla="*/ 5844554 w 6689088"/>
              <a:gd name="connsiteY950" fmla="*/ 3598884 h 6689084"/>
              <a:gd name="connsiteX951" fmla="*/ 5858349 w 6689088"/>
              <a:gd name="connsiteY951" fmla="*/ 3612683 h 6689084"/>
              <a:gd name="connsiteX952" fmla="*/ 5844554 w 6689088"/>
              <a:gd name="connsiteY952" fmla="*/ 3626478 h 6689084"/>
              <a:gd name="connsiteX953" fmla="*/ 5830755 w 6689088"/>
              <a:gd name="connsiteY953" fmla="*/ 3612683 h 6689084"/>
              <a:gd name="connsiteX954" fmla="*/ 5844554 w 6689088"/>
              <a:gd name="connsiteY954" fmla="*/ 3598884 h 6689084"/>
              <a:gd name="connsiteX955" fmla="*/ 5998139 w 6689088"/>
              <a:gd name="connsiteY955" fmla="*/ 3597431 h 6689084"/>
              <a:gd name="connsiteX956" fmla="*/ 6013387 w 6689088"/>
              <a:gd name="connsiteY956" fmla="*/ 3612683 h 6689084"/>
              <a:gd name="connsiteX957" fmla="*/ 5998139 w 6689088"/>
              <a:gd name="connsiteY957" fmla="*/ 3627930 h 6689084"/>
              <a:gd name="connsiteX958" fmla="*/ 5982892 w 6689088"/>
              <a:gd name="connsiteY958" fmla="*/ 3612683 h 6689084"/>
              <a:gd name="connsiteX959" fmla="*/ 5998139 w 6689088"/>
              <a:gd name="connsiteY959" fmla="*/ 3597431 h 6689084"/>
              <a:gd name="connsiteX960" fmla="*/ 6152083 w 6689088"/>
              <a:gd name="connsiteY960" fmla="*/ 3595613 h 6689084"/>
              <a:gd name="connsiteX961" fmla="*/ 6169152 w 6689088"/>
              <a:gd name="connsiteY961" fmla="*/ 3612679 h 6689084"/>
              <a:gd name="connsiteX962" fmla="*/ 6152083 w 6689088"/>
              <a:gd name="connsiteY962" fmla="*/ 3629745 h 6689084"/>
              <a:gd name="connsiteX963" fmla="*/ 6135020 w 6689088"/>
              <a:gd name="connsiteY963" fmla="*/ 3612679 h 6689084"/>
              <a:gd name="connsiteX964" fmla="*/ 6152083 w 6689088"/>
              <a:gd name="connsiteY964" fmla="*/ 3595613 h 6689084"/>
              <a:gd name="connsiteX965" fmla="*/ 6305668 w 6689088"/>
              <a:gd name="connsiteY965" fmla="*/ 3593436 h 6689084"/>
              <a:gd name="connsiteX966" fmla="*/ 6324910 w 6689088"/>
              <a:gd name="connsiteY966" fmla="*/ 3612679 h 6689084"/>
              <a:gd name="connsiteX967" fmla="*/ 6305668 w 6689088"/>
              <a:gd name="connsiteY967" fmla="*/ 3631921 h 6689084"/>
              <a:gd name="connsiteX968" fmla="*/ 6286422 w 6689088"/>
              <a:gd name="connsiteY968" fmla="*/ 3612679 h 6689084"/>
              <a:gd name="connsiteX969" fmla="*/ 6305668 w 6689088"/>
              <a:gd name="connsiteY969" fmla="*/ 3593436 h 6689084"/>
              <a:gd name="connsiteX970" fmla="*/ 6459616 w 6689088"/>
              <a:gd name="connsiteY970" fmla="*/ 3591256 h 6689084"/>
              <a:gd name="connsiteX971" fmla="*/ 6481038 w 6689088"/>
              <a:gd name="connsiteY971" fmla="*/ 3612679 h 6689084"/>
              <a:gd name="connsiteX972" fmla="*/ 6459616 w 6689088"/>
              <a:gd name="connsiteY972" fmla="*/ 3634098 h 6689084"/>
              <a:gd name="connsiteX973" fmla="*/ 6438192 w 6689088"/>
              <a:gd name="connsiteY973" fmla="*/ 3612679 h 6689084"/>
              <a:gd name="connsiteX974" fmla="*/ 6459616 w 6689088"/>
              <a:gd name="connsiteY974" fmla="*/ 3591256 h 6689084"/>
              <a:gd name="connsiteX975" fmla="*/ 6613200 w 6689088"/>
              <a:gd name="connsiteY975" fmla="*/ 3589804 h 6689084"/>
              <a:gd name="connsiteX976" fmla="*/ 6636072 w 6689088"/>
              <a:gd name="connsiteY976" fmla="*/ 3612679 h 6689084"/>
              <a:gd name="connsiteX977" fmla="*/ 6613200 w 6689088"/>
              <a:gd name="connsiteY977" fmla="*/ 3635550 h 6689084"/>
              <a:gd name="connsiteX978" fmla="*/ 6590326 w 6689088"/>
              <a:gd name="connsiteY978" fmla="*/ 3612679 h 6689084"/>
              <a:gd name="connsiteX979" fmla="*/ 6613200 w 6689088"/>
              <a:gd name="connsiteY979" fmla="*/ 3589804 h 6689084"/>
              <a:gd name="connsiteX980" fmla="*/ 4152947 w 6689088"/>
              <a:gd name="connsiteY980" fmla="*/ 3458731 h 6689084"/>
              <a:gd name="connsiteX981" fmla="*/ 4153309 w 6689088"/>
              <a:gd name="connsiteY981" fmla="*/ 3459094 h 6689084"/>
              <a:gd name="connsiteX982" fmla="*/ 4152947 w 6689088"/>
              <a:gd name="connsiteY982" fmla="*/ 3459456 h 6689084"/>
              <a:gd name="connsiteX983" fmla="*/ 4152585 w 6689088"/>
              <a:gd name="connsiteY983" fmla="*/ 3459094 h 6689084"/>
              <a:gd name="connsiteX984" fmla="*/ 4152947 w 6689088"/>
              <a:gd name="connsiteY984" fmla="*/ 3458731 h 6689084"/>
              <a:gd name="connsiteX985" fmla="*/ 3691467 w 6689088"/>
              <a:gd name="connsiteY985" fmla="*/ 3458731 h 6689084"/>
              <a:gd name="connsiteX986" fmla="*/ 3691829 w 6689088"/>
              <a:gd name="connsiteY986" fmla="*/ 3459094 h 6689084"/>
              <a:gd name="connsiteX987" fmla="*/ 3691467 w 6689088"/>
              <a:gd name="connsiteY987" fmla="*/ 3459456 h 6689084"/>
              <a:gd name="connsiteX988" fmla="*/ 3691105 w 6689088"/>
              <a:gd name="connsiteY988" fmla="*/ 3459094 h 6689084"/>
              <a:gd name="connsiteX989" fmla="*/ 3691467 w 6689088"/>
              <a:gd name="connsiteY989" fmla="*/ 3458731 h 6689084"/>
              <a:gd name="connsiteX990" fmla="*/ 3537882 w 6689088"/>
              <a:gd name="connsiteY990" fmla="*/ 3458731 h 6689084"/>
              <a:gd name="connsiteX991" fmla="*/ 3538244 w 6689088"/>
              <a:gd name="connsiteY991" fmla="*/ 3459094 h 6689084"/>
              <a:gd name="connsiteX992" fmla="*/ 3537882 w 6689088"/>
              <a:gd name="connsiteY992" fmla="*/ 3459456 h 6689084"/>
              <a:gd name="connsiteX993" fmla="*/ 3537520 w 6689088"/>
              <a:gd name="connsiteY993" fmla="*/ 3459094 h 6689084"/>
              <a:gd name="connsiteX994" fmla="*/ 3537882 w 6689088"/>
              <a:gd name="connsiteY994" fmla="*/ 3458731 h 6689084"/>
              <a:gd name="connsiteX995" fmla="*/ 3383938 w 6689088"/>
              <a:gd name="connsiteY995" fmla="*/ 3458369 h 6689084"/>
              <a:gd name="connsiteX996" fmla="*/ 3384662 w 6689088"/>
              <a:gd name="connsiteY996" fmla="*/ 3459094 h 6689084"/>
              <a:gd name="connsiteX997" fmla="*/ 3383938 w 6689088"/>
              <a:gd name="connsiteY997" fmla="*/ 3459822 h 6689084"/>
              <a:gd name="connsiteX998" fmla="*/ 3383210 w 6689088"/>
              <a:gd name="connsiteY998" fmla="*/ 3459094 h 6689084"/>
              <a:gd name="connsiteX999" fmla="*/ 3383938 w 6689088"/>
              <a:gd name="connsiteY999" fmla="*/ 3458369 h 6689084"/>
              <a:gd name="connsiteX1000" fmla="*/ 4306532 w 6689088"/>
              <a:gd name="connsiteY1000" fmla="*/ 3457279 h 6689084"/>
              <a:gd name="connsiteX1001" fmla="*/ 4307984 w 6689088"/>
              <a:gd name="connsiteY1001" fmla="*/ 3458731 h 6689084"/>
              <a:gd name="connsiteX1002" fmla="*/ 4306532 w 6689088"/>
              <a:gd name="connsiteY1002" fmla="*/ 3460184 h 6689084"/>
              <a:gd name="connsiteX1003" fmla="*/ 4305080 w 6689088"/>
              <a:gd name="connsiteY1003" fmla="*/ 3458731 h 6689084"/>
              <a:gd name="connsiteX1004" fmla="*/ 4306532 w 6689088"/>
              <a:gd name="connsiteY1004" fmla="*/ 3457279 h 6689084"/>
              <a:gd name="connsiteX1005" fmla="*/ 4460480 w 6689088"/>
              <a:gd name="connsiteY1005" fmla="*/ 3456917 h 6689084"/>
              <a:gd name="connsiteX1006" fmla="*/ 4462656 w 6689088"/>
              <a:gd name="connsiteY1006" fmla="*/ 3459094 h 6689084"/>
              <a:gd name="connsiteX1007" fmla="*/ 4460480 w 6689088"/>
              <a:gd name="connsiteY1007" fmla="*/ 3461274 h 6689084"/>
              <a:gd name="connsiteX1008" fmla="*/ 4458300 w 6689088"/>
              <a:gd name="connsiteY1008" fmla="*/ 3459094 h 6689084"/>
              <a:gd name="connsiteX1009" fmla="*/ 4460480 w 6689088"/>
              <a:gd name="connsiteY1009" fmla="*/ 3456917 h 6689084"/>
              <a:gd name="connsiteX1010" fmla="*/ 4614061 w 6689088"/>
              <a:gd name="connsiteY1010" fmla="*/ 3455827 h 6689084"/>
              <a:gd name="connsiteX1011" fmla="*/ 4617328 w 6689088"/>
              <a:gd name="connsiteY1011" fmla="*/ 3459094 h 6689084"/>
              <a:gd name="connsiteX1012" fmla="*/ 4614061 w 6689088"/>
              <a:gd name="connsiteY1012" fmla="*/ 3462364 h 6689084"/>
              <a:gd name="connsiteX1013" fmla="*/ 4610794 w 6689088"/>
              <a:gd name="connsiteY1013" fmla="*/ 3459094 h 6689084"/>
              <a:gd name="connsiteX1014" fmla="*/ 4614061 w 6689088"/>
              <a:gd name="connsiteY1014" fmla="*/ 3455827 h 6689084"/>
              <a:gd name="connsiteX1015" fmla="*/ 4768008 w 6689088"/>
              <a:gd name="connsiteY1015" fmla="*/ 3454374 h 6689084"/>
              <a:gd name="connsiteX1016" fmla="*/ 4772366 w 6689088"/>
              <a:gd name="connsiteY1016" fmla="*/ 3458731 h 6689084"/>
              <a:gd name="connsiteX1017" fmla="*/ 4768008 w 6689088"/>
              <a:gd name="connsiteY1017" fmla="*/ 3463088 h 6689084"/>
              <a:gd name="connsiteX1018" fmla="*/ 4763652 w 6689088"/>
              <a:gd name="connsiteY1018" fmla="*/ 3458731 h 6689084"/>
              <a:gd name="connsiteX1019" fmla="*/ 4768008 w 6689088"/>
              <a:gd name="connsiteY1019" fmla="*/ 3454374 h 6689084"/>
              <a:gd name="connsiteX1020" fmla="*/ 4921594 w 6689088"/>
              <a:gd name="connsiteY1020" fmla="*/ 3453284 h 6689084"/>
              <a:gd name="connsiteX1021" fmla="*/ 4927403 w 6689088"/>
              <a:gd name="connsiteY1021" fmla="*/ 3459094 h 6689084"/>
              <a:gd name="connsiteX1022" fmla="*/ 4921594 w 6689088"/>
              <a:gd name="connsiteY1022" fmla="*/ 3464903 h 6689084"/>
              <a:gd name="connsiteX1023" fmla="*/ 4915784 w 6689088"/>
              <a:gd name="connsiteY1023" fmla="*/ 3459094 h 6689084"/>
              <a:gd name="connsiteX1024" fmla="*/ 4921594 w 6689088"/>
              <a:gd name="connsiteY1024" fmla="*/ 3453284 h 6689084"/>
              <a:gd name="connsiteX1025" fmla="*/ 5075541 w 6689088"/>
              <a:gd name="connsiteY1025" fmla="*/ 3451832 h 6689084"/>
              <a:gd name="connsiteX1026" fmla="*/ 5082803 w 6689088"/>
              <a:gd name="connsiteY1026" fmla="*/ 3459094 h 6689084"/>
              <a:gd name="connsiteX1027" fmla="*/ 5075541 w 6689088"/>
              <a:gd name="connsiteY1027" fmla="*/ 3466355 h 6689084"/>
              <a:gd name="connsiteX1028" fmla="*/ 5068280 w 6689088"/>
              <a:gd name="connsiteY1028" fmla="*/ 3459094 h 6689084"/>
              <a:gd name="connsiteX1029" fmla="*/ 5075541 w 6689088"/>
              <a:gd name="connsiteY1029" fmla="*/ 3451832 h 6689084"/>
              <a:gd name="connsiteX1030" fmla="*/ 5229126 w 6689088"/>
              <a:gd name="connsiteY1030" fmla="*/ 3449655 h 6689084"/>
              <a:gd name="connsiteX1031" fmla="*/ 5238206 w 6689088"/>
              <a:gd name="connsiteY1031" fmla="*/ 3458731 h 6689084"/>
              <a:gd name="connsiteX1032" fmla="*/ 5229126 w 6689088"/>
              <a:gd name="connsiteY1032" fmla="*/ 3467811 h 6689084"/>
              <a:gd name="connsiteX1033" fmla="*/ 5220050 w 6689088"/>
              <a:gd name="connsiteY1033" fmla="*/ 3458731 h 6689084"/>
              <a:gd name="connsiteX1034" fmla="*/ 5229126 w 6689088"/>
              <a:gd name="connsiteY1034" fmla="*/ 3449655 h 6689084"/>
              <a:gd name="connsiteX1035" fmla="*/ 5383074 w 6689088"/>
              <a:gd name="connsiteY1035" fmla="*/ 3448927 h 6689084"/>
              <a:gd name="connsiteX1036" fmla="*/ 5393240 w 6689088"/>
              <a:gd name="connsiteY1036" fmla="*/ 3459094 h 6689084"/>
              <a:gd name="connsiteX1037" fmla="*/ 5383074 w 6689088"/>
              <a:gd name="connsiteY1037" fmla="*/ 3469260 h 6689084"/>
              <a:gd name="connsiteX1038" fmla="*/ 5372908 w 6689088"/>
              <a:gd name="connsiteY1038" fmla="*/ 3459094 h 6689084"/>
              <a:gd name="connsiteX1039" fmla="*/ 5383074 w 6689088"/>
              <a:gd name="connsiteY1039" fmla="*/ 3448927 h 6689084"/>
              <a:gd name="connsiteX1040" fmla="*/ 5536659 w 6689088"/>
              <a:gd name="connsiteY1040" fmla="*/ 3447113 h 6689084"/>
              <a:gd name="connsiteX1041" fmla="*/ 5548640 w 6689088"/>
              <a:gd name="connsiteY1041" fmla="*/ 3459094 h 6689084"/>
              <a:gd name="connsiteX1042" fmla="*/ 5536659 w 6689088"/>
              <a:gd name="connsiteY1042" fmla="*/ 3471074 h 6689084"/>
              <a:gd name="connsiteX1043" fmla="*/ 5524678 w 6689088"/>
              <a:gd name="connsiteY1043" fmla="*/ 3459094 h 6689084"/>
              <a:gd name="connsiteX1044" fmla="*/ 5536659 w 6689088"/>
              <a:gd name="connsiteY1044" fmla="*/ 3447113 h 6689084"/>
              <a:gd name="connsiteX1045" fmla="*/ 5690606 w 6689088"/>
              <a:gd name="connsiteY1045" fmla="*/ 3445298 h 6689084"/>
              <a:gd name="connsiteX1046" fmla="*/ 5704402 w 6689088"/>
              <a:gd name="connsiteY1046" fmla="*/ 3459094 h 6689084"/>
              <a:gd name="connsiteX1047" fmla="*/ 5690606 w 6689088"/>
              <a:gd name="connsiteY1047" fmla="*/ 3472893 h 6689084"/>
              <a:gd name="connsiteX1048" fmla="*/ 5676808 w 6689088"/>
              <a:gd name="connsiteY1048" fmla="*/ 3459094 h 6689084"/>
              <a:gd name="connsiteX1049" fmla="*/ 5690606 w 6689088"/>
              <a:gd name="connsiteY1049" fmla="*/ 3445298 h 6689084"/>
              <a:gd name="connsiteX1050" fmla="*/ 5844554 w 6689088"/>
              <a:gd name="connsiteY1050" fmla="*/ 3443846 h 6689084"/>
              <a:gd name="connsiteX1051" fmla="*/ 5859802 w 6689088"/>
              <a:gd name="connsiteY1051" fmla="*/ 3459094 h 6689084"/>
              <a:gd name="connsiteX1052" fmla="*/ 5844554 w 6689088"/>
              <a:gd name="connsiteY1052" fmla="*/ 3474345 h 6689084"/>
              <a:gd name="connsiteX1053" fmla="*/ 5829302 w 6689088"/>
              <a:gd name="connsiteY1053" fmla="*/ 3459094 h 6689084"/>
              <a:gd name="connsiteX1054" fmla="*/ 5844554 w 6689088"/>
              <a:gd name="connsiteY1054" fmla="*/ 3443846 h 6689084"/>
              <a:gd name="connsiteX1055" fmla="*/ 5998139 w 6689088"/>
              <a:gd name="connsiteY1055" fmla="*/ 3442031 h 6689084"/>
              <a:gd name="connsiteX1056" fmla="*/ 6015205 w 6689088"/>
              <a:gd name="connsiteY1056" fmla="*/ 3459097 h 6689084"/>
              <a:gd name="connsiteX1057" fmla="*/ 5998139 w 6689088"/>
              <a:gd name="connsiteY1057" fmla="*/ 3476159 h 6689084"/>
              <a:gd name="connsiteX1058" fmla="*/ 5981077 w 6689088"/>
              <a:gd name="connsiteY1058" fmla="*/ 3459097 h 6689084"/>
              <a:gd name="connsiteX1059" fmla="*/ 5998139 w 6689088"/>
              <a:gd name="connsiteY1059" fmla="*/ 3442031 h 6689084"/>
              <a:gd name="connsiteX1060" fmla="*/ 6152083 w 6689088"/>
              <a:gd name="connsiteY1060" fmla="*/ 3439851 h 6689084"/>
              <a:gd name="connsiteX1061" fmla="*/ 6171329 w 6689088"/>
              <a:gd name="connsiteY1061" fmla="*/ 3459094 h 6689084"/>
              <a:gd name="connsiteX1062" fmla="*/ 6152083 w 6689088"/>
              <a:gd name="connsiteY1062" fmla="*/ 3478336 h 6689084"/>
              <a:gd name="connsiteX1063" fmla="*/ 6132836 w 6689088"/>
              <a:gd name="connsiteY1063" fmla="*/ 3459094 h 6689084"/>
              <a:gd name="connsiteX1064" fmla="*/ 6152083 w 6689088"/>
              <a:gd name="connsiteY1064" fmla="*/ 3439851 h 6689084"/>
              <a:gd name="connsiteX1065" fmla="*/ 6305668 w 6689088"/>
              <a:gd name="connsiteY1065" fmla="*/ 3437674 h 6689084"/>
              <a:gd name="connsiteX1066" fmla="*/ 6327091 w 6689088"/>
              <a:gd name="connsiteY1066" fmla="*/ 3459097 h 6689084"/>
              <a:gd name="connsiteX1067" fmla="*/ 6305668 w 6689088"/>
              <a:gd name="connsiteY1067" fmla="*/ 3480516 h 6689084"/>
              <a:gd name="connsiteX1068" fmla="*/ 6284245 w 6689088"/>
              <a:gd name="connsiteY1068" fmla="*/ 3459097 h 6689084"/>
              <a:gd name="connsiteX1069" fmla="*/ 6305668 w 6689088"/>
              <a:gd name="connsiteY1069" fmla="*/ 3437674 h 6689084"/>
              <a:gd name="connsiteX1070" fmla="*/ 6459619 w 6689088"/>
              <a:gd name="connsiteY1070" fmla="*/ 3436222 h 6689084"/>
              <a:gd name="connsiteX1071" fmla="*/ 6482494 w 6689088"/>
              <a:gd name="connsiteY1071" fmla="*/ 3459097 h 6689084"/>
              <a:gd name="connsiteX1072" fmla="*/ 6459619 w 6689088"/>
              <a:gd name="connsiteY1072" fmla="*/ 3481969 h 6689084"/>
              <a:gd name="connsiteX1073" fmla="*/ 6436744 w 6689088"/>
              <a:gd name="connsiteY1073" fmla="*/ 3459097 h 6689084"/>
              <a:gd name="connsiteX1074" fmla="*/ 6459619 w 6689088"/>
              <a:gd name="connsiteY1074" fmla="*/ 3436222 h 6689084"/>
              <a:gd name="connsiteX1075" fmla="*/ 6613200 w 6689088"/>
              <a:gd name="connsiteY1075" fmla="*/ 3434042 h 6689084"/>
              <a:gd name="connsiteX1076" fmla="*/ 6638252 w 6689088"/>
              <a:gd name="connsiteY1076" fmla="*/ 3459094 h 6689084"/>
              <a:gd name="connsiteX1077" fmla="*/ 6613200 w 6689088"/>
              <a:gd name="connsiteY1077" fmla="*/ 3484145 h 6689084"/>
              <a:gd name="connsiteX1078" fmla="*/ 6588149 w 6689088"/>
              <a:gd name="connsiteY1078" fmla="*/ 3459094 h 6689084"/>
              <a:gd name="connsiteX1079" fmla="*/ 6613200 w 6689088"/>
              <a:gd name="connsiteY1079" fmla="*/ 3434042 h 6689084"/>
              <a:gd name="connsiteX1080" fmla="*/ 3999000 w 6689088"/>
              <a:gd name="connsiteY1080" fmla="*/ 3304784 h 6689084"/>
              <a:gd name="connsiteX1081" fmla="*/ 3999362 w 6689088"/>
              <a:gd name="connsiteY1081" fmla="*/ 3305146 h 6689084"/>
              <a:gd name="connsiteX1082" fmla="*/ 3999000 w 6689088"/>
              <a:gd name="connsiteY1082" fmla="*/ 3305512 h 6689084"/>
              <a:gd name="connsiteX1083" fmla="*/ 3998638 w 6689088"/>
              <a:gd name="connsiteY1083" fmla="*/ 3305146 h 6689084"/>
              <a:gd name="connsiteX1084" fmla="*/ 3999000 w 6689088"/>
              <a:gd name="connsiteY1084" fmla="*/ 3304784 h 6689084"/>
              <a:gd name="connsiteX1085" fmla="*/ 3537882 w 6689088"/>
              <a:gd name="connsiteY1085" fmla="*/ 3304784 h 6689084"/>
              <a:gd name="connsiteX1086" fmla="*/ 3538244 w 6689088"/>
              <a:gd name="connsiteY1086" fmla="*/ 3305146 h 6689084"/>
              <a:gd name="connsiteX1087" fmla="*/ 3537882 w 6689088"/>
              <a:gd name="connsiteY1087" fmla="*/ 3305512 h 6689084"/>
              <a:gd name="connsiteX1088" fmla="*/ 3537520 w 6689088"/>
              <a:gd name="connsiteY1088" fmla="*/ 3305146 h 6689084"/>
              <a:gd name="connsiteX1089" fmla="*/ 3537882 w 6689088"/>
              <a:gd name="connsiteY1089" fmla="*/ 3304784 h 6689084"/>
              <a:gd name="connsiteX1090" fmla="*/ 3383934 w 6689088"/>
              <a:gd name="connsiteY1090" fmla="*/ 3304784 h 6689084"/>
              <a:gd name="connsiteX1091" fmla="*/ 3384296 w 6689088"/>
              <a:gd name="connsiteY1091" fmla="*/ 3305146 h 6689084"/>
              <a:gd name="connsiteX1092" fmla="*/ 3383934 w 6689088"/>
              <a:gd name="connsiteY1092" fmla="*/ 3305512 h 6689084"/>
              <a:gd name="connsiteX1093" fmla="*/ 3383572 w 6689088"/>
              <a:gd name="connsiteY1093" fmla="*/ 3305146 h 6689084"/>
              <a:gd name="connsiteX1094" fmla="*/ 3383934 w 6689088"/>
              <a:gd name="connsiteY1094" fmla="*/ 3304784 h 6689084"/>
              <a:gd name="connsiteX1095" fmla="*/ 3230353 w 6689088"/>
              <a:gd name="connsiteY1095" fmla="*/ 3304422 h 6689084"/>
              <a:gd name="connsiteX1096" fmla="*/ 3231077 w 6689088"/>
              <a:gd name="connsiteY1096" fmla="*/ 3305146 h 6689084"/>
              <a:gd name="connsiteX1097" fmla="*/ 3230353 w 6689088"/>
              <a:gd name="connsiteY1097" fmla="*/ 3305874 h 6689084"/>
              <a:gd name="connsiteX1098" fmla="*/ 3229625 w 6689088"/>
              <a:gd name="connsiteY1098" fmla="*/ 3305146 h 6689084"/>
              <a:gd name="connsiteX1099" fmla="*/ 3230353 w 6689088"/>
              <a:gd name="connsiteY1099" fmla="*/ 3304422 h 6689084"/>
              <a:gd name="connsiteX1100" fmla="*/ 4152947 w 6689088"/>
              <a:gd name="connsiteY1100" fmla="*/ 3303694 h 6689084"/>
              <a:gd name="connsiteX1101" fmla="*/ 4154400 w 6689088"/>
              <a:gd name="connsiteY1101" fmla="*/ 3305146 h 6689084"/>
              <a:gd name="connsiteX1102" fmla="*/ 4152947 w 6689088"/>
              <a:gd name="connsiteY1102" fmla="*/ 3306598 h 6689084"/>
              <a:gd name="connsiteX1103" fmla="*/ 4151494 w 6689088"/>
              <a:gd name="connsiteY1103" fmla="*/ 3305146 h 6689084"/>
              <a:gd name="connsiteX1104" fmla="*/ 4152947 w 6689088"/>
              <a:gd name="connsiteY1104" fmla="*/ 3303694 h 6689084"/>
              <a:gd name="connsiteX1105" fmla="*/ 4306528 w 6689088"/>
              <a:gd name="connsiteY1105" fmla="*/ 3302970 h 6689084"/>
              <a:gd name="connsiteX1106" fmla="*/ 4308709 w 6689088"/>
              <a:gd name="connsiteY1106" fmla="*/ 3305146 h 6689084"/>
              <a:gd name="connsiteX1107" fmla="*/ 4306528 w 6689088"/>
              <a:gd name="connsiteY1107" fmla="*/ 3307327 h 6689084"/>
              <a:gd name="connsiteX1108" fmla="*/ 4304352 w 6689088"/>
              <a:gd name="connsiteY1108" fmla="*/ 3305146 h 6689084"/>
              <a:gd name="connsiteX1109" fmla="*/ 4306528 w 6689088"/>
              <a:gd name="connsiteY1109" fmla="*/ 3302970 h 6689084"/>
              <a:gd name="connsiteX1110" fmla="*/ 4460480 w 6689088"/>
              <a:gd name="connsiteY1110" fmla="*/ 3302241 h 6689084"/>
              <a:gd name="connsiteX1111" fmla="*/ 4463746 w 6689088"/>
              <a:gd name="connsiteY1111" fmla="*/ 3305508 h 6689084"/>
              <a:gd name="connsiteX1112" fmla="*/ 4460480 w 6689088"/>
              <a:gd name="connsiteY1112" fmla="*/ 3308779 h 6689084"/>
              <a:gd name="connsiteX1113" fmla="*/ 4457213 w 6689088"/>
              <a:gd name="connsiteY1113" fmla="*/ 3305508 h 6689084"/>
              <a:gd name="connsiteX1114" fmla="*/ 4460480 w 6689088"/>
              <a:gd name="connsiteY1114" fmla="*/ 3302241 h 6689084"/>
              <a:gd name="connsiteX1115" fmla="*/ 4614061 w 6689088"/>
              <a:gd name="connsiteY1115" fmla="*/ 3300789 h 6689084"/>
              <a:gd name="connsiteX1116" fmla="*/ 4618418 w 6689088"/>
              <a:gd name="connsiteY1116" fmla="*/ 3305146 h 6689084"/>
              <a:gd name="connsiteX1117" fmla="*/ 4614061 w 6689088"/>
              <a:gd name="connsiteY1117" fmla="*/ 3309503 h 6689084"/>
              <a:gd name="connsiteX1118" fmla="*/ 4609704 w 6689088"/>
              <a:gd name="connsiteY1118" fmla="*/ 3305146 h 6689084"/>
              <a:gd name="connsiteX1119" fmla="*/ 4614061 w 6689088"/>
              <a:gd name="connsiteY1119" fmla="*/ 3300789 h 6689084"/>
              <a:gd name="connsiteX1120" fmla="*/ 4768012 w 6689088"/>
              <a:gd name="connsiteY1120" fmla="*/ 3299699 h 6689084"/>
              <a:gd name="connsiteX1121" fmla="*/ 4773822 w 6689088"/>
              <a:gd name="connsiteY1121" fmla="*/ 3305508 h 6689084"/>
              <a:gd name="connsiteX1122" fmla="*/ 4768012 w 6689088"/>
              <a:gd name="connsiteY1122" fmla="*/ 3311318 h 6689084"/>
              <a:gd name="connsiteX1123" fmla="*/ 4762203 w 6689088"/>
              <a:gd name="connsiteY1123" fmla="*/ 3305508 h 6689084"/>
              <a:gd name="connsiteX1124" fmla="*/ 4768012 w 6689088"/>
              <a:gd name="connsiteY1124" fmla="*/ 3299699 h 6689084"/>
              <a:gd name="connsiteX1125" fmla="*/ 4921594 w 6689088"/>
              <a:gd name="connsiteY1125" fmla="*/ 3297885 h 6689084"/>
              <a:gd name="connsiteX1126" fmla="*/ 4928856 w 6689088"/>
              <a:gd name="connsiteY1126" fmla="*/ 3305146 h 6689084"/>
              <a:gd name="connsiteX1127" fmla="*/ 4921594 w 6689088"/>
              <a:gd name="connsiteY1127" fmla="*/ 3312408 h 6689084"/>
              <a:gd name="connsiteX1128" fmla="*/ 4914332 w 6689088"/>
              <a:gd name="connsiteY1128" fmla="*/ 3305146 h 6689084"/>
              <a:gd name="connsiteX1129" fmla="*/ 4921594 w 6689088"/>
              <a:gd name="connsiteY1129" fmla="*/ 3297885 h 6689084"/>
              <a:gd name="connsiteX1130" fmla="*/ 5075541 w 6689088"/>
              <a:gd name="connsiteY1130" fmla="*/ 3296070 h 6689084"/>
              <a:gd name="connsiteX1131" fmla="*/ 5084621 w 6689088"/>
              <a:gd name="connsiteY1131" fmla="*/ 3305146 h 6689084"/>
              <a:gd name="connsiteX1132" fmla="*/ 5075541 w 6689088"/>
              <a:gd name="connsiteY1132" fmla="*/ 3314226 h 6689084"/>
              <a:gd name="connsiteX1133" fmla="*/ 5066465 w 6689088"/>
              <a:gd name="connsiteY1133" fmla="*/ 3305146 h 6689084"/>
              <a:gd name="connsiteX1134" fmla="*/ 5075541 w 6689088"/>
              <a:gd name="connsiteY1134" fmla="*/ 3296070 h 6689084"/>
              <a:gd name="connsiteX1135" fmla="*/ 5229126 w 6689088"/>
              <a:gd name="connsiteY1135" fmla="*/ 3294980 h 6689084"/>
              <a:gd name="connsiteX1136" fmla="*/ 5239293 w 6689088"/>
              <a:gd name="connsiteY1136" fmla="*/ 3305146 h 6689084"/>
              <a:gd name="connsiteX1137" fmla="*/ 5229126 w 6689088"/>
              <a:gd name="connsiteY1137" fmla="*/ 3315312 h 6689084"/>
              <a:gd name="connsiteX1138" fmla="*/ 5218960 w 6689088"/>
              <a:gd name="connsiteY1138" fmla="*/ 3305146 h 6689084"/>
              <a:gd name="connsiteX1139" fmla="*/ 5229126 w 6689088"/>
              <a:gd name="connsiteY1139" fmla="*/ 3294980 h 6689084"/>
              <a:gd name="connsiteX1140" fmla="*/ 5383074 w 6689088"/>
              <a:gd name="connsiteY1140" fmla="*/ 3293165 h 6689084"/>
              <a:gd name="connsiteX1141" fmla="*/ 5395058 w 6689088"/>
              <a:gd name="connsiteY1141" fmla="*/ 3305146 h 6689084"/>
              <a:gd name="connsiteX1142" fmla="*/ 5383074 w 6689088"/>
              <a:gd name="connsiteY1142" fmla="*/ 3317131 h 6689084"/>
              <a:gd name="connsiteX1143" fmla="*/ 5371093 w 6689088"/>
              <a:gd name="connsiteY1143" fmla="*/ 3305146 h 6689084"/>
              <a:gd name="connsiteX1144" fmla="*/ 5383074 w 6689088"/>
              <a:gd name="connsiteY1144" fmla="*/ 3293165 h 6689084"/>
              <a:gd name="connsiteX1145" fmla="*/ 5537021 w 6689088"/>
              <a:gd name="connsiteY1145" fmla="*/ 3291351 h 6689084"/>
              <a:gd name="connsiteX1146" fmla="*/ 5550820 w 6689088"/>
              <a:gd name="connsiteY1146" fmla="*/ 3305146 h 6689084"/>
              <a:gd name="connsiteX1147" fmla="*/ 5537021 w 6689088"/>
              <a:gd name="connsiteY1147" fmla="*/ 3318945 h 6689084"/>
              <a:gd name="connsiteX1148" fmla="*/ 5523226 w 6689088"/>
              <a:gd name="connsiteY1148" fmla="*/ 3305146 h 6689084"/>
              <a:gd name="connsiteX1149" fmla="*/ 5537021 w 6689088"/>
              <a:gd name="connsiteY1149" fmla="*/ 3291351 h 6689084"/>
              <a:gd name="connsiteX1150" fmla="*/ 5690606 w 6689088"/>
              <a:gd name="connsiteY1150" fmla="*/ 3289899 h 6689084"/>
              <a:gd name="connsiteX1151" fmla="*/ 5705854 w 6689088"/>
              <a:gd name="connsiteY1151" fmla="*/ 3305146 h 6689084"/>
              <a:gd name="connsiteX1152" fmla="*/ 5690606 w 6689088"/>
              <a:gd name="connsiteY1152" fmla="*/ 3320398 h 6689084"/>
              <a:gd name="connsiteX1153" fmla="*/ 5675355 w 6689088"/>
              <a:gd name="connsiteY1153" fmla="*/ 3305146 h 6689084"/>
              <a:gd name="connsiteX1154" fmla="*/ 5690606 w 6689088"/>
              <a:gd name="connsiteY1154" fmla="*/ 3289899 h 6689084"/>
              <a:gd name="connsiteX1155" fmla="*/ 5844554 w 6689088"/>
              <a:gd name="connsiteY1155" fmla="*/ 3288084 h 6689084"/>
              <a:gd name="connsiteX1156" fmla="*/ 5861616 w 6689088"/>
              <a:gd name="connsiteY1156" fmla="*/ 3305150 h 6689084"/>
              <a:gd name="connsiteX1157" fmla="*/ 5844554 w 6689088"/>
              <a:gd name="connsiteY1157" fmla="*/ 3322216 h 6689084"/>
              <a:gd name="connsiteX1158" fmla="*/ 5827488 w 6689088"/>
              <a:gd name="connsiteY1158" fmla="*/ 3305150 h 6689084"/>
              <a:gd name="connsiteX1159" fmla="*/ 5844554 w 6689088"/>
              <a:gd name="connsiteY1159" fmla="*/ 3288084 h 6689084"/>
              <a:gd name="connsiteX1160" fmla="*/ 5998136 w 6689088"/>
              <a:gd name="connsiteY1160" fmla="*/ 3285904 h 6689084"/>
              <a:gd name="connsiteX1161" fmla="*/ 6017382 w 6689088"/>
              <a:gd name="connsiteY1161" fmla="*/ 3305146 h 6689084"/>
              <a:gd name="connsiteX1162" fmla="*/ 5998136 w 6689088"/>
              <a:gd name="connsiteY1162" fmla="*/ 3324389 h 6689084"/>
              <a:gd name="connsiteX1163" fmla="*/ 5978893 w 6689088"/>
              <a:gd name="connsiteY1163" fmla="*/ 3305146 h 6689084"/>
              <a:gd name="connsiteX1164" fmla="*/ 5998136 w 6689088"/>
              <a:gd name="connsiteY1164" fmla="*/ 3285904 h 6689084"/>
              <a:gd name="connsiteX1165" fmla="*/ 6152086 w 6689088"/>
              <a:gd name="connsiteY1165" fmla="*/ 3283727 h 6689084"/>
              <a:gd name="connsiteX1166" fmla="*/ 6173510 w 6689088"/>
              <a:gd name="connsiteY1166" fmla="*/ 3305150 h 6689084"/>
              <a:gd name="connsiteX1167" fmla="*/ 6152086 w 6689088"/>
              <a:gd name="connsiteY1167" fmla="*/ 3326569 h 6689084"/>
              <a:gd name="connsiteX1168" fmla="*/ 6130664 w 6689088"/>
              <a:gd name="connsiteY1168" fmla="*/ 3305150 h 6689084"/>
              <a:gd name="connsiteX1169" fmla="*/ 6152086 w 6689088"/>
              <a:gd name="connsiteY1169" fmla="*/ 3283727 h 6689084"/>
              <a:gd name="connsiteX1170" fmla="*/ 6305672 w 6689088"/>
              <a:gd name="connsiteY1170" fmla="*/ 3282275 h 6689084"/>
              <a:gd name="connsiteX1171" fmla="*/ 6328547 w 6689088"/>
              <a:gd name="connsiteY1171" fmla="*/ 3305150 h 6689084"/>
              <a:gd name="connsiteX1172" fmla="*/ 6305672 w 6689088"/>
              <a:gd name="connsiteY1172" fmla="*/ 3328021 h 6689084"/>
              <a:gd name="connsiteX1173" fmla="*/ 6282796 w 6689088"/>
              <a:gd name="connsiteY1173" fmla="*/ 3305150 h 6689084"/>
              <a:gd name="connsiteX1174" fmla="*/ 6305672 w 6689088"/>
              <a:gd name="connsiteY1174" fmla="*/ 3282275 h 6689084"/>
              <a:gd name="connsiteX1175" fmla="*/ 6459616 w 6689088"/>
              <a:gd name="connsiteY1175" fmla="*/ 3280094 h 6689084"/>
              <a:gd name="connsiteX1176" fmla="*/ 6484671 w 6689088"/>
              <a:gd name="connsiteY1176" fmla="*/ 3305146 h 6689084"/>
              <a:gd name="connsiteX1177" fmla="*/ 6459616 w 6689088"/>
              <a:gd name="connsiteY1177" fmla="*/ 3330202 h 6689084"/>
              <a:gd name="connsiteX1178" fmla="*/ 6434564 w 6689088"/>
              <a:gd name="connsiteY1178" fmla="*/ 3305146 h 6689084"/>
              <a:gd name="connsiteX1179" fmla="*/ 6459616 w 6689088"/>
              <a:gd name="connsiteY1179" fmla="*/ 3280094 h 6689084"/>
              <a:gd name="connsiteX1180" fmla="*/ 6613200 w 6689088"/>
              <a:gd name="connsiteY1180" fmla="*/ 3277914 h 6689084"/>
              <a:gd name="connsiteX1181" fmla="*/ 6640433 w 6689088"/>
              <a:gd name="connsiteY1181" fmla="*/ 3305146 h 6689084"/>
              <a:gd name="connsiteX1182" fmla="*/ 6613200 w 6689088"/>
              <a:gd name="connsiteY1182" fmla="*/ 3332378 h 6689084"/>
              <a:gd name="connsiteX1183" fmla="*/ 6585968 w 6689088"/>
              <a:gd name="connsiteY1183" fmla="*/ 3305146 h 6689084"/>
              <a:gd name="connsiteX1184" fmla="*/ 6613200 w 6689088"/>
              <a:gd name="connsiteY1184" fmla="*/ 3277914 h 6689084"/>
              <a:gd name="connsiteX1185" fmla="*/ 3845414 w 6689088"/>
              <a:gd name="connsiteY1185" fmla="*/ 3151199 h 6689084"/>
              <a:gd name="connsiteX1186" fmla="*/ 3845776 w 6689088"/>
              <a:gd name="connsiteY1186" fmla="*/ 3151561 h 6689084"/>
              <a:gd name="connsiteX1187" fmla="*/ 3845414 w 6689088"/>
              <a:gd name="connsiteY1187" fmla="*/ 3151923 h 6689084"/>
              <a:gd name="connsiteX1188" fmla="*/ 3845052 w 6689088"/>
              <a:gd name="connsiteY1188" fmla="*/ 3151561 h 6689084"/>
              <a:gd name="connsiteX1189" fmla="*/ 3845414 w 6689088"/>
              <a:gd name="connsiteY1189" fmla="*/ 3151199 h 6689084"/>
              <a:gd name="connsiteX1190" fmla="*/ 3383934 w 6689088"/>
              <a:gd name="connsiteY1190" fmla="*/ 3151199 h 6689084"/>
              <a:gd name="connsiteX1191" fmla="*/ 3384296 w 6689088"/>
              <a:gd name="connsiteY1191" fmla="*/ 3151561 h 6689084"/>
              <a:gd name="connsiteX1192" fmla="*/ 3383934 w 6689088"/>
              <a:gd name="connsiteY1192" fmla="*/ 3151923 h 6689084"/>
              <a:gd name="connsiteX1193" fmla="*/ 3383572 w 6689088"/>
              <a:gd name="connsiteY1193" fmla="*/ 3151561 h 6689084"/>
              <a:gd name="connsiteX1194" fmla="*/ 3383934 w 6689088"/>
              <a:gd name="connsiteY1194" fmla="*/ 3151199 h 6689084"/>
              <a:gd name="connsiteX1195" fmla="*/ 3230349 w 6689088"/>
              <a:gd name="connsiteY1195" fmla="*/ 3151199 h 6689084"/>
              <a:gd name="connsiteX1196" fmla="*/ 3230715 w 6689088"/>
              <a:gd name="connsiteY1196" fmla="*/ 3151561 h 6689084"/>
              <a:gd name="connsiteX1197" fmla="*/ 3230349 w 6689088"/>
              <a:gd name="connsiteY1197" fmla="*/ 3151923 h 6689084"/>
              <a:gd name="connsiteX1198" fmla="*/ 3229987 w 6689088"/>
              <a:gd name="connsiteY1198" fmla="*/ 3151561 h 6689084"/>
              <a:gd name="connsiteX1199" fmla="*/ 3230349 w 6689088"/>
              <a:gd name="connsiteY1199" fmla="*/ 3151199 h 6689084"/>
              <a:gd name="connsiteX1200" fmla="*/ 3076406 w 6689088"/>
              <a:gd name="connsiteY1200" fmla="*/ 3150837 h 6689084"/>
              <a:gd name="connsiteX1201" fmla="*/ 3077130 w 6689088"/>
              <a:gd name="connsiteY1201" fmla="*/ 3151565 h 6689084"/>
              <a:gd name="connsiteX1202" fmla="*/ 3076406 w 6689088"/>
              <a:gd name="connsiteY1202" fmla="*/ 3152289 h 6689084"/>
              <a:gd name="connsiteX1203" fmla="*/ 3075677 w 6689088"/>
              <a:gd name="connsiteY1203" fmla="*/ 3151565 h 6689084"/>
              <a:gd name="connsiteX1204" fmla="*/ 3076406 w 6689088"/>
              <a:gd name="connsiteY1204" fmla="*/ 3150837 h 6689084"/>
              <a:gd name="connsiteX1205" fmla="*/ 3999000 w 6689088"/>
              <a:gd name="connsiteY1205" fmla="*/ 3150112 h 6689084"/>
              <a:gd name="connsiteX1206" fmla="*/ 4000452 w 6689088"/>
              <a:gd name="connsiteY1206" fmla="*/ 3151565 h 6689084"/>
              <a:gd name="connsiteX1207" fmla="*/ 3999000 w 6689088"/>
              <a:gd name="connsiteY1207" fmla="*/ 3153017 h 6689084"/>
              <a:gd name="connsiteX1208" fmla="*/ 3997547 w 6689088"/>
              <a:gd name="connsiteY1208" fmla="*/ 3151565 h 6689084"/>
              <a:gd name="connsiteX1209" fmla="*/ 3999000 w 6689088"/>
              <a:gd name="connsiteY1209" fmla="*/ 3150112 h 6689084"/>
              <a:gd name="connsiteX1210" fmla="*/ 4152951 w 6689088"/>
              <a:gd name="connsiteY1210" fmla="*/ 3149384 h 6689084"/>
              <a:gd name="connsiteX1211" fmla="*/ 4155128 w 6689088"/>
              <a:gd name="connsiteY1211" fmla="*/ 3151565 h 6689084"/>
              <a:gd name="connsiteX1212" fmla="*/ 4152951 w 6689088"/>
              <a:gd name="connsiteY1212" fmla="*/ 3153741 h 6689084"/>
              <a:gd name="connsiteX1213" fmla="*/ 4150770 w 6689088"/>
              <a:gd name="connsiteY1213" fmla="*/ 3151565 h 6689084"/>
              <a:gd name="connsiteX1214" fmla="*/ 4152951 w 6689088"/>
              <a:gd name="connsiteY1214" fmla="*/ 3149384 h 6689084"/>
              <a:gd name="connsiteX1215" fmla="*/ 4306528 w 6689088"/>
              <a:gd name="connsiteY1215" fmla="*/ 3148294 h 6689084"/>
              <a:gd name="connsiteX1216" fmla="*/ 4309796 w 6689088"/>
              <a:gd name="connsiteY1216" fmla="*/ 3151561 h 6689084"/>
              <a:gd name="connsiteX1217" fmla="*/ 4306528 w 6689088"/>
              <a:gd name="connsiteY1217" fmla="*/ 3154831 h 6689084"/>
              <a:gd name="connsiteX1218" fmla="*/ 4303262 w 6689088"/>
              <a:gd name="connsiteY1218" fmla="*/ 3151561 h 6689084"/>
              <a:gd name="connsiteX1219" fmla="*/ 4306528 w 6689088"/>
              <a:gd name="connsiteY1219" fmla="*/ 3148294 h 6689084"/>
              <a:gd name="connsiteX1220" fmla="*/ 4460480 w 6689088"/>
              <a:gd name="connsiteY1220" fmla="*/ 3146842 h 6689084"/>
              <a:gd name="connsiteX1221" fmla="*/ 4464836 w 6689088"/>
              <a:gd name="connsiteY1221" fmla="*/ 3151199 h 6689084"/>
              <a:gd name="connsiteX1222" fmla="*/ 4460480 w 6689088"/>
              <a:gd name="connsiteY1222" fmla="*/ 3155556 h 6689084"/>
              <a:gd name="connsiteX1223" fmla="*/ 4456122 w 6689088"/>
              <a:gd name="connsiteY1223" fmla="*/ 3151199 h 6689084"/>
              <a:gd name="connsiteX1224" fmla="*/ 4460480 w 6689088"/>
              <a:gd name="connsiteY1224" fmla="*/ 3146842 h 6689084"/>
              <a:gd name="connsiteX1225" fmla="*/ 4614061 w 6689088"/>
              <a:gd name="connsiteY1225" fmla="*/ 3145752 h 6689084"/>
              <a:gd name="connsiteX1226" fmla="*/ 4619870 w 6689088"/>
              <a:gd name="connsiteY1226" fmla="*/ 3151561 h 6689084"/>
              <a:gd name="connsiteX1227" fmla="*/ 4614061 w 6689088"/>
              <a:gd name="connsiteY1227" fmla="*/ 3157370 h 6689084"/>
              <a:gd name="connsiteX1228" fmla="*/ 4608252 w 6689088"/>
              <a:gd name="connsiteY1228" fmla="*/ 3151561 h 6689084"/>
              <a:gd name="connsiteX1229" fmla="*/ 4614061 w 6689088"/>
              <a:gd name="connsiteY1229" fmla="*/ 3145752 h 6689084"/>
              <a:gd name="connsiteX1230" fmla="*/ 4768008 w 6689088"/>
              <a:gd name="connsiteY1230" fmla="*/ 3144299 h 6689084"/>
              <a:gd name="connsiteX1231" fmla="*/ 4775270 w 6689088"/>
              <a:gd name="connsiteY1231" fmla="*/ 3151561 h 6689084"/>
              <a:gd name="connsiteX1232" fmla="*/ 4768008 w 6689088"/>
              <a:gd name="connsiteY1232" fmla="*/ 3158823 h 6689084"/>
              <a:gd name="connsiteX1233" fmla="*/ 4760747 w 6689088"/>
              <a:gd name="connsiteY1233" fmla="*/ 3151561 h 6689084"/>
              <a:gd name="connsiteX1234" fmla="*/ 4768008 w 6689088"/>
              <a:gd name="connsiteY1234" fmla="*/ 3144299 h 6689084"/>
              <a:gd name="connsiteX1235" fmla="*/ 4921594 w 6689088"/>
              <a:gd name="connsiteY1235" fmla="*/ 3142123 h 6689084"/>
              <a:gd name="connsiteX1236" fmla="*/ 4930674 w 6689088"/>
              <a:gd name="connsiteY1236" fmla="*/ 3151199 h 6689084"/>
              <a:gd name="connsiteX1237" fmla="*/ 4921594 w 6689088"/>
              <a:gd name="connsiteY1237" fmla="*/ 3160279 h 6689084"/>
              <a:gd name="connsiteX1238" fmla="*/ 4912518 w 6689088"/>
              <a:gd name="connsiteY1238" fmla="*/ 3151199 h 6689084"/>
              <a:gd name="connsiteX1239" fmla="*/ 4921594 w 6689088"/>
              <a:gd name="connsiteY1239" fmla="*/ 3142123 h 6689084"/>
              <a:gd name="connsiteX1240" fmla="*/ 5075541 w 6689088"/>
              <a:gd name="connsiteY1240" fmla="*/ 3141395 h 6689084"/>
              <a:gd name="connsiteX1241" fmla="*/ 5085708 w 6689088"/>
              <a:gd name="connsiteY1241" fmla="*/ 3151561 h 6689084"/>
              <a:gd name="connsiteX1242" fmla="*/ 5075541 w 6689088"/>
              <a:gd name="connsiteY1242" fmla="*/ 3161727 h 6689084"/>
              <a:gd name="connsiteX1243" fmla="*/ 5065375 w 6689088"/>
              <a:gd name="connsiteY1243" fmla="*/ 3151561 h 6689084"/>
              <a:gd name="connsiteX1244" fmla="*/ 5075541 w 6689088"/>
              <a:gd name="connsiteY1244" fmla="*/ 3141395 h 6689084"/>
              <a:gd name="connsiteX1245" fmla="*/ 5229126 w 6689088"/>
              <a:gd name="connsiteY1245" fmla="*/ 3139580 h 6689084"/>
              <a:gd name="connsiteX1246" fmla="*/ 5241111 w 6689088"/>
              <a:gd name="connsiteY1246" fmla="*/ 3151561 h 6689084"/>
              <a:gd name="connsiteX1247" fmla="*/ 5229126 w 6689088"/>
              <a:gd name="connsiteY1247" fmla="*/ 3163542 h 6689084"/>
              <a:gd name="connsiteX1248" fmla="*/ 5217146 w 6689088"/>
              <a:gd name="connsiteY1248" fmla="*/ 3151561 h 6689084"/>
              <a:gd name="connsiteX1249" fmla="*/ 5229126 w 6689088"/>
              <a:gd name="connsiteY1249" fmla="*/ 3139580 h 6689084"/>
              <a:gd name="connsiteX1250" fmla="*/ 5383078 w 6689088"/>
              <a:gd name="connsiteY1250" fmla="*/ 3137403 h 6689084"/>
              <a:gd name="connsiteX1251" fmla="*/ 5396873 w 6689088"/>
              <a:gd name="connsiteY1251" fmla="*/ 3151199 h 6689084"/>
              <a:gd name="connsiteX1252" fmla="*/ 5383078 w 6689088"/>
              <a:gd name="connsiteY1252" fmla="*/ 3164998 h 6689084"/>
              <a:gd name="connsiteX1253" fmla="*/ 5369278 w 6689088"/>
              <a:gd name="connsiteY1253" fmla="*/ 3151199 h 6689084"/>
              <a:gd name="connsiteX1254" fmla="*/ 5383078 w 6689088"/>
              <a:gd name="connsiteY1254" fmla="*/ 3137403 h 6689084"/>
              <a:gd name="connsiteX1255" fmla="*/ 5536659 w 6689088"/>
              <a:gd name="connsiteY1255" fmla="*/ 3136313 h 6689084"/>
              <a:gd name="connsiteX1256" fmla="*/ 5551906 w 6689088"/>
              <a:gd name="connsiteY1256" fmla="*/ 3151565 h 6689084"/>
              <a:gd name="connsiteX1257" fmla="*/ 5536659 w 6689088"/>
              <a:gd name="connsiteY1257" fmla="*/ 3166812 h 6689084"/>
              <a:gd name="connsiteX1258" fmla="*/ 5521408 w 6689088"/>
              <a:gd name="connsiteY1258" fmla="*/ 3151565 h 6689084"/>
              <a:gd name="connsiteX1259" fmla="*/ 5536659 w 6689088"/>
              <a:gd name="connsiteY1259" fmla="*/ 3136313 h 6689084"/>
              <a:gd name="connsiteX1260" fmla="*/ 5690606 w 6689088"/>
              <a:gd name="connsiteY1260" fmla="*/ 3134499 h 6689084"/>
              <a:gd name="connsiteX1261" fmla="*/ 5707672 w 6689088"/>
              <a:gd name="connsiteY1261" fmla="*/ 3151565 h 6689084"/>
              <a:gd name="connsiteX1262" fmla="*/ 5690606 w 6689088"/>
              <a:gd name="connsiteY1262" fmla="*/ 3168627 h 6689084"/>
              <a:gd name="connsiteX1263" fmla="*/ 5673540 w 6689088"/>
              <a:gd name="connsiteY1263" fmla="*/ 3151565 h 6689084"/>
              <a:gd name="connsiteX1264" fmla="*/ 5690606 w 6689088"/>
              <a:gd name="connsiteY1264" fmla="*/ 3134499 h 6689084"/>
              <a:gd name="connsiteX1265" fmla="*/ 5844554 w 6689088"/>
              <a:gd name="connsiteY1265" fmla="*/ 3132318 h 6689084"/>
              <a:gd name="connsiteX1266" fmla="*/ 5863796 w 6689088"/>
              <a:gd name="connsiteY1266" fmla="*/ 3151561 h 6689084"/>
              <a:gd name="connsiteX1267" fmla="*/ 5844554 w 6689088"/>
              <a:gd name="connsiteY1267" fmla="*/ 3170807 h 6689084"/>
              <a:gd name="connsiteX1268" fmla="*/ 5825308 w 6689088"/>
              <a:gd name="connsiteY1268" fmla="*/ 3151561 h 6689084"/>
              <a:gd name="connsiteX1269" fmla="*/ 5844554 w 6689088"/>
              <a:gd name="connsiteY1269" fmla="*/ 3132318 h 6689084"/>
              <a:gd name="connsiteX1270" fmla="*/ 5998139 w 6689088"/>
              <a:gd name="connsiteY1270" fmla="*/ 3130142 h 6689084"/>
              <a:gd name="connsiteX1271" fmla="*/ 6019562 w 6689088"/>
              <a:gd name="connsiteY1271" fmla="*/ 3151565 h 6689084"/>
              <a:gd name="connsiteX1272" fmla="*/ 5998139 w 6689088"/>
              <a:gd name="connsiteY1272" fmla="*/ 3172984 h 6689084"/>
              <a:gd name="connsiteX1273" fmla="*/ 5976716 w 6689088"/>
              <a:gd name="connsiteY1273" fmla="*/ 3151565 h 6689084"/>
              <a:gd name="connsiteX1274" fmla="*/ 5998139 w 6689088"/>
              <a:gd name="connsiteY1274" fmla="*/ 3130142 h 6689084"/>
              <a:gd name="connsiteX1275" fmla="*/ 6152086 w 6689088"/>
              <a:gd name="connsiteY1275" fmla="*/ 3128689 h 6689084"/>
              <a:gd name="connsiteX1276" fmla="*/ 6174958 w 6689088"/>
              <a:gd name="connsiteY1276" fmla="*/ 3151565 h 6689084"/>
              <a:gd name="connsiteX1277" fmla="*/ 6152086 w 6689088"/>
              <a:gd name="connsiteY1277" fmla="*/ 3174440 h 6689084"/>
              <a:gd name="connsiteX1278" fmla="*/ 6129212 w 6689088"/>
              <a:gd name="connsiteY1278" fmla="*/ 3151565 h 6689084"/>
              <a:gd name="connsiteX1279" fmla="*/ 6152086 w 6689088"/>
              <a:gd name="connsiteY1279" fmla="*/ 3128689 h 6689084"/>
              <a:gd name="connsiteX1280" fmla="*/ 6305668 w 6689088"/>
              <a:gd name="connsiteY1280" fmla="*/ 3126509 h 6689084"/>
              <a:gd name="connsiteX1281" fmla="*/ 6330724 w 6689088"/>
              <a:gd name="connsiteY1281" fmla="*/ 3151561 h 6689084"/>
              <a:gd name="connsiteX1282" fmla="*/ 6305668 w 6689088"/>
              <a:gd name="connsiteY1282" fmla="*/ 3176616 h 6689084"/>
              <a:gd name="connsiteX1283" fmla="*/ 6280616 w 6689088"/>
              <a:gd name="connsiteY1283" fmla="*/ 3151561 h 6689084"/>
              <a:gd name="connsiteX1284" fmla="*/ 6305668 w 6689088"/>
              <a:gd name="connsiteY1284" fmla="*/ 3126509 h 6689084"/>
              <a:gd name="connsiteX1285" fmla="*/ 6459619 w 6689088"/>
              <a:gd name="connsiteY1285" fmla="*/ 3124332 h 6689084"/>
              <a:gd name="connsiteX1286" fmla="*/ 6486852 w 6689088"/>
              <a:gd name="connsiteY1286" fmla="*/ 3151565 h 6689084"/>
              <a:gd name="connsiteX1287" fmla="*/ 6459619 w 6689088"/>
              <a:gd name="connsiteY1287" fmla="*/ 3178797 h 6689084"/>
              <a:gd name="connsiteX1288" fmla="*/ 6432387 w 6689088"/>
              <a:gd name="connsiteY1288" fmla="*/ 3151565 h 6689084"/>
              <a:gd name="connsiteX1289" fmla="*/ 6459619 w 6689088"/>
              <a:gd name="connsiteY1289" fmla="*/ 3124332 h 6689084"/>
              <a:gd name="connsiteX1290" fmla="*/ 6613197 w 6689088"/>
              <a:gd name="connsiteY1290" fmla="*/ 3121790 h 6689084"/>
              <a:gd name="connsiteX1291" fmla="*/ 6642972 w 6689088"/>
              <a:gd name="connsiteY1291" fmla="*/ 3151565 h 6689084"/>
              <a:gd name="connsiteX1292" fmla="*/ 6613197 w 6689088"/>
              <a:gd name="connsiteY1292" fmla="*/ 3181336 h 6689084"/>
              <a:gd name="connsiteX1293" fmla="*/ 6583426 w 6689088"/>
              <a:gd name="connsiteY1293" fmla="*/ 3151565 h 6689084"/>
              <a:gd name="connsiteX1294" fmla="*/ 6613197 w 6689088"/>
              <a:gd name="connsiteY1294" fmla="*/ 3121790 h 6689084"/>
              <a:gd name="connsiteX1295" fmla="*/ 3691467 w 6689088"/>
              <a:gd name="connsiteY1295" fmla="*/ 2997252 h 6689084"/>
              <a:gd name="connsiteX1296" fmla="*/ 3691829 w 6689088"/>
              <a:gd name="connsiteY1296" fmla="*/ 2997613 h 6689084"/>
              <a:gd name="connsiteX1297" fmla="*/ 3691467 w 6689088"/>
              <a:gd name="connsiteY1297" fmla="*/ 2997976 h 6689084"/>
              <a:gd name="connsiteX1298" fmla="*/ 3691105 w 6689088"/>
              <a:gd name="connsiteY1298" fmla="*/ 2997613 h 6689084"/>
              <a:gd name="connsiteX1299" fmla="*/ 3691467 w 6689088"/>
              <a:gd name="connsiteY1299" fmla="*/ 2997252 h 6689084"/>
              <a:gd name="connsiteX1300" fmla="*/ 3230349 w 6689088"/>
              <a:gd name="connsiteY1300" fmla="*/ 2997252 h 6689084"/>
              <a:gd name="connsiteX1301" fmla="*/ 3230715 w 6689088"/>
              <a:gd name="connsiteY1301" fmla="*/ 2997613 h 6689084"/>
              <a:gd name="connsiteX1302" fmla="*/ 3230349 w 6689088"/>
              <a:gd name="connsiteY1302" fmla="*/ 2997976 h 6689084"/>
              <a:gd name="connsiteX1303" fmla="*/ 3229987 w 6689088"/>
              <a:gd name="connsiteY1303" fmla="*/ 2997613 h 6689084"/>
              <a:gd name="connsiteX1304" fmla="*/ 3230349 w 6689088"/>
              <a:gd name="connsiteY1304" fmla="*/ 2997252 h 6689084"/>
              <a:gd name="connsiteX1305" fmla="*/ 3076406 w 6689088"/>
              <a:gd name="connsiteY1305" fmla="*/ 2997252 h 6689084"/>
              <a:gd name="connsiteX1306" fmla="*/ 3076768 w 6689088"/>
              <a:gd name="connsiteY1306" fmla="*/ 2997613 h 6689084"/>
              <a:gd name="connsiteX1307" fmla="*/ 3076406 w 6689088"/>
              <a:gd name="connsiteY1307" fmla="*/ 2997976 h 6689084"/>
              <a:gd name="connsiteX1308" fmla="*/ 3076043 w 6689088"/>
              <a:gd name="connsiteY1308" fmla="*/ 2997613 h 6689084"/>
              <a:gd name="connsiteX1309" fmla="*/ 3076406 w 6689088"/>
              <a:gd name="connsiteY1309" fmla="*/ 2997252 h 6689084"/>
              <a:gd name="connsiteX1310" fmla="*/ 2922824 w 6689088"/>
              <a:gd name="connsiteY1310" fmla="*/ 2996889 h 6689084"/>
              <a:gd name="connsiteX1311" fmla="*/ 2923548 w 6689088"/>
              <a:gd name="connsiteY1311" fmla="*/ 2997613 h 6689084"/>
              <a:gd name="connsiteX1312" fmla="*/ 2922824 w 6689088"/>
              <a:gd name="connsiteY1312" fmla="*/ 2998342 h 6689084"/>
              <a:gd name="connsiteX1313" fmla="*/ 2922096 w 6689088"/>
              <a:gd name="connsiteY1313" fmla="*/ 2997613 h 6689084"/>
              <a:gd name="connsiteX1314" fmla="*/ 2922824 w 6689088"/>
              <a:gd name="connsiteY1314" fmla="*/ 2996889 h 6689084"/>
              <a:gd name="connsiteX1315" fmla="*/ 3845414 w 6689088"/>
              <a:gd name="connsiteY1315" fmla="*/ 2996165 h 6689084"/>
              <a:gd name="connsiteX1316" fmla="*/ 3846867 w 6689088"/>
              <a:gd name="connsiteY1316" fmla="*/ 2997617 h 6689084"/>
              <a:gd name="connsiteX1317" fmla="*/ 3845414 w 6689088"/>
              <a:gd name="connsiteY1317" fmla="*/ 2999070 h 6689084"/>
              <a:gd name="connsiteX1318" fmla="*/ 3843962 w 6689088"/>
              <a:gd name="connsiteY1318" fmla="*/ 2997617 h 6689084"/>
              <a:gd name="connsiteX1319" fmla="*/ 3845414 w 6689088"/>
              <a:gd name="connsiteY1319" fmla="*/ 2996165 h 6689084"/>
              <a:gd name="connsiteX1320" fmla="*/ 3999000 w 6689088"/>
              <a:gd name="connsiteY1320" fmla="*/ 2995437 h 6689084"/>
              <a:gd name="connsiteX1321" fmla="*/ 4001180 w 6689088"/>
              <a:gd name="connsiteY1321" fmla="*/ 2997613 h 6689084"/>
              <a:gd name="connsiteX1322" fmla="*/ 3999000 w 6689088"/>
              <a:gd name="connsiteY1322" fmla="*/ 2999794 h 6689084"/>
              <a:gd name="connsiteX1323" fmla="*/ 3996823 w 6689088"/>
              <a:gd name="connsiteY1323" fmla="*/ 2997613 h 6689084"/>
              <a:gd name="connsiteX1324" fmla="*/ 3999000 w 6689088"/>
              <a:gd name="connsiteY1324" fmla="*/ 2995437 h 6689084"/>
              <a:gd name="connsiteX1325" fmla="*/ 4152947 w 6689088"/>
              <a:gd name="connsiteY1325" fmla="*/ 2994713 h 6689084"/>
              <a:gd name="connsiteX1326" fmla="*/ 4156214 w 6689088"/>
              <a:gd name="connsiteY1326" fmla="*/ 2997979 h 6689084"/>
              <a:gd name="connsiteX1327" fmla="*/ 4152947 w 6689088"/>
              <a:gd name="connsiteY1327" fmla="*/ 3001250 h 6689084"/>
              <a:gd name="connsiteX1328" fmla="*/ 4149680 w 6689088"/>
              <a:gd name="connsiteY1328" fmla="*/ 2997979 h 6689084"/>
              <a:gd name="connsiteX1329" fmla="*/ 4152947 w 6689088"/>
              <a:gd name="connsiteY1329" fmla="*/ 2994713 h 6689084"/>
              <a:gd name="connsiteX1330" fmla="*/ 4306532 w 6689088"/>
              <a:gd name="connsiteY1330" fmla="*/ 2993261 h 6689084"/>
              <a:gd name="connsiteX1331" fmla="*/ 4310890 w 6689088"/>
              <a:gd name="connsiteY1331" fmla="*/ 2997617 h 6689084"/>
              <a:gd name="connsiteX1332" fmla="*/ 4306532 w 6689088"/>
              <a:gd name="connsiteY1332" fmla="*/ 3001974 h 6689084"/>
              <a:gd name="connsiteX1333" fmla="*/ 4302176 w 6689088"/>
              <a:gd name="connsiteY1333" fmla="*/ 2997617 h 6689084"/>
              <a:gd name="connsiteX1334" fmla="*/ 4306532 w 6689088"/>
              <a:gd name="connsiteY1334" fmla="*/ 2993261 h 6689084"/>
              <a:gd name="connsiteX1335" fmla="*/ 4460480 w 6689088"/>
              <a:gd name="connsiteY1335" fmla="*/ 2991808 h 6689084"/>
              <a:gd name="connsiteX1336" fmla="*/ 4466289 w 6689088"/>
              <a:gd name="connsiteY1336" fmla="*/ 2997617 h 6689084"/>
              <a:gd name="connsiteX1337" fmla="*/ 4460480 w 6689088"/>
              <a:gd name="connsiteY1337" fmla="*/ 3003427 h 6689084"/>
              <a:gd name="connsiteX1338" fmla="*/ 4454670 w 6689088"/>
              <a:gd name="connsiteY1338" fmla="*/ 2997617 h 6689084"/>
              <a:gd name="connsiteX1339" fmla="*/ 4460480 w 6689088"/>
              <a:gd name="connsiteY1339" fmla="*/ 2991808 h 6689084"/>
              <a:gd name="connsiteX1340" fmla="*/ 4614065 w 6689088"/>
              <a:gd name="connsiteY1340" fmla="*/ 2990356 h 6689084"/>
              <a:gd name="connsiteX1341" fmla="*/ 4621326 w 6689088"/>
              <a:gd name="connsiteY1341" fmla="*/ 2997617 h 6689084"/>
              <a:gd name="connsiteX1342" fmla="*/ 4614065 w 6689088"/>
              <a:gd name="connsiteY1342" fmla="*/ 3004879 h 6689084"/>
              <a:gd name="connsiteX1343" fmla="*/ 4606804 w 6689088"/>
              <a:gd name="connsiteY1343" fmla="*/ 2997617 h 6689084"/>
              <a:gd name="connsiteX1344" fmla="*/ 4614065 w 6689088"/>
              <a:gd name="connsiteY1344" fmla="*/ 2990356 h 6689084"/>
              <a:gd name="connsiteX1345" fmla="*/ 4768008 w 6689088"/>
              <a:gd name="connsiteY1345" fmla="*/ 2988537 h 6689084"/>
              <a:gd name="connsiteX1346" fmla="*/ 4777088 w 6689088"/>
              <a:gd name="connsiteY1346" fmla="*/ 2997613 h 6689084"/>
              <a:gd name="connsiteX1347" fmla="*/ 4768008 w 6689088"/>
              <a:gd name="connsiteY1347" fmla="*/ 3006693 h 6689084"/>
              <a:gd name="connsiteX1348" fmla="*/ 4758932 w 6689088"/>
              <a:gd name="connsiteY1348" fmla="*/ 2997613 h 6689084"/>
              <a:gd name="connsiteX1349" fmla="*/ 4768008 w 6689088"/>
              <a:gd name="connsiteY1349" fmla="*/ 2988537 h 6689084"/>
              <a:gd name="connsiteX1350" fmla="*/ 4921594 w 6689088"/>
              <a:gd name="connsiteY1350" fmla="*/ 2987447 h 6689084"/>
              <a:gd name="connsiteX1351" fmla="*/ 4931760 w 6689088"/>
              <a:gd name="connsiteY1351" fmla="*/ 2997613 h 6689084"/>
              <a:gd name="connsiteX1352" fmla="*/ 4921594 w 6689088"/>
              <a:gd name="connsiteY1352" fmla="*/ 3007780 h 6689084"/>
              <a:gd name="connsiteX1353" fmla="*/ 4911428 w 6689088"/>
              <a:gd name="connsiteY1353" fmla="*/ 2997613 h 6689084"/>
              <a:gd name="connsiteX1354" fmla="*/ 4921594 w 6689088"/>
              <a:gd name="connsiteY1354" fmla="*/ 2987447 h 6689084"/>
              <a:gd name="connsiteX1355" fmla="*/ 5075541 w 6689088"/>
              <a:gd name="connsiteY1355" fmla="*/ 2985633 h 6689084"/>
              <a:gd name="connsiteX1356" fmla="*/ 5087526 w 6689088"/>
              <a:gd name="connsiteY1356" fmla="*/ 2997613 h 6689084"/>
              <a:gd name="connsiteX1357" fmla="*/ 5075541 w 6689088"/>
              <a:gd name="connsiteY1357" fmla="*/ 3009594 h 6689084"/>
              <a:gd name="connsiteX1358" fmla="*/ 5063560 w 6689088"/>
              <a:gd name="connsiteY1358" fmla="*/ 2997613 h 6689084"/>
              <a:gd name="connsiteX1359" fmla="*/ 5075541 w 6689088"/>
              <a:gd name="connsiteY1359" fmla="*/ 2985633 h 6689084"/>
              <a:gd name="connsiteX1360" fmla="*/ 5229126 w 6689088"/>
              <a:gd name="connsiteY1360" fmla="*/ 2983818 h 6689084"/>
              <a:gd name="connsiteX1361" fmla="*/ 5242922 w 6689088"/>
              <a:gd name="connsiteY1361" fmla="*/ 2997613 h 6689084"/>
              <a:gd name="connsiteX1362" fmla="*/ 5229126 w 6689088"/>
              <a:gd name="connsiteY1362" fmla="*/ 3011413 h 6689084"/>
              <a:gd name="connsiteX1363" fmla="*/ 5215328 w 6689088"/>
              <a:gd name="connsiteY1363" fmla="*/ 2997613 h 6689084"/>
              <a:gd name="connsiteX1364" fmla="*/ 5229126 w 6689088"/>
              <a:gd name="connsiteY1364" fmla="*/ 2983818 h 6689084"/>
              <a:gd name="connsiteX1365" fmla="*/ 5383074 w 6689088"/>
              <a:gd name="connsiteY1365" fmla="*/ 2982366 h 6689084"/>
              <a:gd name="connsiteX1366" fmla="*/ 5398326 w 6689088"/>
              <a:gd name="connsiteY1366" fmla="*/ 2997613 h 6689084"/>
              <a:gd name="connsiteX1367" fmla="*/ 5383074 w 6689088"/>
              <a:gd name="connsiteY1367" fmla="*/ 3012865 h 6689084"/>
              <a:gd name="connsiteX1368" fmla="*/ 5367826 w 6689088"/>
              <a:gd name="connsiteY1368" fmla="*/ 2997613 h 6689084"/>
              <a:gd name="connsiteX1369" fmla="*/ 5383074 w 6689088"/>
              <a:gd name="connsiteY1369" fmla="*/ 2982366 h 6689084"/>
              <a:gd name="connsiteX1370" fmla="*/ 5536659 w 6689088"/>
              <a:gd name="connsiteY1370" fmla="*/ 2980551 h 6689084"/>
              <a:gd name="connsiteX1371" fmla="*/ 5553725 w 6689088"/>
              <a:gd name="connsiteY1371" fmla="*/ 2997617 h 6689084"/>
              <a:gd name="connsiteX1372" fmla="*/ 5536659 w 6689088"/>
              <a:gd name="connsiteY1372" fmla="*/ 3014683 h 6689084"/>
              <a:gd name="connsiteX1373" fmla="*/ 5519593 w 6689088"/>
              <a:gd name="connsiteY1373" fmla="*/ 2997617 h 6689084"/>
              <a:gd name="connsiteX1374" fmla="*/ 5536659 w 6689088"/>
              <a:gd name="connsiteY1374" fmla="*/ 2980551 h 6689084"/>
              <a:gd name="connsiteX1375" fmla="*/ 5690606 w 6689088"/>
              <a:gd name="connsiteY1375" fmla="*/ 2978371 h 6689084"/>
              <a:gd name="connsiteX1376" fmla="*/ 5709849 w 6689088"/>
              <a:gd name="connsiteY1376" fmla="*/ 2997613 h 6689084"/>
              <a:gd name="connsiteX1377" fmla="*/ 5690606 w 6689088"/>
              <a:gd name="connsiteY1377" fmla="*/ 3016856 h 6689084"/>
              <a:gd name="connsiteX1378" fmla="*/ 5671360 w 6689088"/>
              <a:gd name="connsiteY1378" fmla="*/ 2997613 h 6689084"/>
              <a:gd name="connsiteX1379" fmla="*/ 5690606 w 6689088"/>
              <a:gd name="connsiteY1379" fmla="*/ 2978371 h 6689084"/>
              <a:gd name="connsiteX1380" fmla="*/ 5844550 w 6689088"/>
              <a:gd name="connsiteY1380" fmla="*/ 2976195 h 6689084"/>
              <a:gd name="connsiteX1381" fmla="*/ 5865973 w 6689088"/>
              <a:gd name="connsiteY1381" fmla="*/ 2997617 h 6689084"/>
              <a:gd name="connsiteX1382" fmla="*/ 5844550 w 6689088"/>
              <a:gd name="connsiteY1382" fmla="*/ 3019036 h 6689084"/>
              <a:gd name="connsiteX1383" fmla="*/ 5823127 w 6689088"/>
              <a:gd name="connsiteY1383" fmla="*/ 2997617 h 6689084"/>
              <a:gd name="connsiteX1384" fmla="*/ 5844550 w 6689088"/>
              <a:gd name="connsiteY1384" fmla="*/ 2976195 h 6689084"/>
              <a:gd name="connsiteX1385" fmla="*/ 5998139 w 6689088"/>
              <a:gd name="connsiteY1385" fmla="*/ 2974742 h 6689084"/>
              <a:gd name="connsiteX1386" fmla="*/ 6021010 w 6689088"/>
              <a:gd name="connsiteY1386" fmla="*/ 2997617 h 6689084"/>
              <a:gd name="connsiteX1387" fmla="*/ 5998139 w 6689088"/>
              <a:gd name="connsiteY1387" fmla="*/ 3020489 h 6689084"/>
              <a:gd name="connsiteX1388" fmla="*/ 5975264 w 6689088"/>
              <a:gd name="connsiteY1388" fmla="*/ 2997617 h 6689084"/>
              <a:gd name="connsiteX1389" fmla="*/ 5998139 w 6689088"/>
              <a:gd name="connsiteY1389" fmla="*/ 2974742 h 6689084"/>
              <a:gd name="connsiteX1390" fmla="*/ 6152083 w 6689088"/>
              <a:gd name="connsiteY1390" fmla="*/ 2972562 h 6689084"/>
              <a:gd name="connsiteX1391" fmla="*/ 6177134 w 6689088"/>
              <a:gd name="connsiteY1391" fmla="*/ 2997613 h 6689084"/>
              <a:gd name="connsiteX1392" fmla="*/ 6152083 w 6689088"/>
              <a:gd name="connsiteY1392" fmla="*/ 3022669 h 6689084"/>
              <a:gd name="connsiteX1393" fmla="*/ 6127031 w 6689088"/>
              <a:gd name="connsiteY1393" fmla="*/ 2997613 h 6689084"/>
              <a:gd name="connsiteX1394" fmla="*/ 6152083 w 6689088"/>
              <a:gd name="connsiteY1394" fmla="*/ 2972562 h 6689084"/>
              <a:gd name="connsiteX1395" fmla="*/ 6305672 w 6689088"/>
              <a:gd name="connsiteY1395" fmla="*/ 2970385 h 6689084"/>
              <a:gd name="connsiteX1396" fmla="*/ 6332904 w 6689088"/>
              <a:gd name="connsiteY1396" fmla="*/ 2997617 h 6689084"/>
              <a:gd name="connsiteX1397" fmla="*/ 6305672 w 6689088"/>
              <a:gd name="connsiteY1397" fmla="*/ 3024846 h 6689084"/>
              <a:gd name="connsiteX1398" fmla="*/ 6278440 w 6689088"/>
              <a:gd name="connsiteY1398" fmla="*/ 2997617 h 6689084"/>
              <a:gd name="connsiteX1399" fmla="*/ 6305672 w 6689088"/>
              <a:gd name="connsiteY1399" fmla="*/ 2970385 h 6689084"/>
              <a:gd name="connsiteX1400" fmla="*/ 6459619 w 6689088"/>
              <a:gd name="connsiteY1400" fmla="*/ 2967843 h 6689084"/>
              <a:gd name="connsiteX1401" fmla="*/ 6489390 w 6689088"/>
              <a:gd name="connsiteY1401" fmla="*/ 2997613 h 6689084"/>
              <a:gd name="connsiteX1402" fmla="*/ 6459619 w 6689088"/>
              <a:gd name="connsiteY1402" fmla="*/ 3027388 h 6689084"/>
              <a:gd name="connsiteX1403" fmla="*/ 6429844 w 6689088"/>
              <a:gd name="connsiteY1403" fmla="*/ 2997613 h 6689084"/>
              <a:gd name="connsiteX1404" fmla="*/ 6459619 w 6689088"/>
              <a:gd name="connsiteY1404" fmla="*/ 2967843 h 6689084"/>
              <a:gd name="connsiteX1405" fmla="*/ 6613200 w 6689088"/>
              <a:gd name="connsiteY1405" fmla="*/ 2965666 h 6689084"/>
              <a:gd name="connsiteX1406" fmla="*/ 6645152 w 6689088"/>
              <a:gd name="connsiteY1406" fmla="*/ 2997617 h 6689084"/>
              <a:gd name="connsiteX1407" fmla="*/ 6613200 w 6689088"/>
              <a:gd name="connsiteY1407" fmla="*/ 3029569 h 6689084"/>
              <a:gd name="connsiteX1408" fmla="*/ 6581250 w 6689088"/>
              <a:gd name="connsiteY1408" fmla="*/ 2997617 h 6689084"/>
              <a:gd name="connsiteX1409" fmla="*/ 6613200 w 6689088"/>
              <a:gd name="connsiteY1409" fmla="*/ 2965666 h 6689084"/>
              <a:gd name="connsiteX1410" fmla="*/ 3537882 w 6689088"/>
              <a:gd name="connsiteY1410" fmla="*/ 2843666 h 6689084"/>
              <a:gd name="connsiteX1411" fmla="*/ 3538244 w 6689088"/>
              <a:gd name="connsiteY1411" fmla="*/ 2844028 h 6689084"/>
              <a:gd name="connsiteX1412" fmla="*/ 3537882 w 6689088"/>
              <a:gd name="connsiteY1412" fmla="*/ 2844390 h 6689084"/>
              <a:gd name="connsiteX1413" fmla="*/ 3537520 w 6689088"/>
              <a:gd name="connsiteY1413" fmla="*/ 2844028 h 6689084"/>
              <a:gd name="connsiteX1414" fmla="*/ 3537882 w 6689088"/>
              <a:gd name="connsiteY1414" fmla="*/ 2843666 h 6689084"/>
              <a:gd name="connsiteX1415" fmla="*/ 3076406 w 6689088"/>
              <a:gd name="connsiteY1415" fmla="*/ 2843666 h 6689084"/>
              <a:gd name="connsiteX1416" fmla="*/ 3076768 w 6689088"/>
              <a:gd name="connsiteY1416" fmla="*/ 2844028 h 6689084"/>
              <a:gd name="connsiteX1417" fmla="*/ 3076406 w 6689088"/>
              <a:gd name="connsiteY1417" fmla="*/ 2844390 h 6689084"/>
              <a:gd name="connsiteX1418" fmla="*/ 3076043 w 6689088"/>
              <a:gd name="connsiteY1418" fmla="*/ 2844028 h 6689084"/>
              <a:gd name="connsiteX1419" fmla="*/ 3076406 w 6689088"/>
              <a:gd name="connsiteY1419" fmla="*/ 2843666 h 6689084"/>
              <a:gd name="connsiteX1420" fmla="*/ 2922458 w 6689088"/>
              <a:gd name="connsiteY1420" fmla="*/ 2843666 h 6689084"/>
              <a:gd name="connsiteX1421" fmla="*/ 2922820 w 6689088"/>
              <a:gd name="connsiteY1421" fmla="*/ 2844028 h 6689084"/>
              <a:gd name="connsiteX1422" fmla="*/ 2922458 w 6689088"/>
              <a:gd name="connsiteY1422" fmla="*/ 2844390 h 6689084"/>
              <a:gd name="connsiteX1423" fmla="*/ 2922096 w 6689088"/>
              <a:gd name="connsiteY1423" fmla="*/ 2844028 h 6689084"/>
              <a:gd name="connsiteX1424" fmla="*/ 2922458 w 6689088"/>
              <a:gd name="connsiteY1424" fmla="*/ 2843666 h 6689084"/>
              <a:gd name="connsiteX1425" fmla="*/ 2768877 w 6689088"/>
              <a:gd name="connsiteY1425" fmla="*/ 2843304 h 6689084"/>
              <a:gd name="connsiteX1426" fmla="*/ 2769601 w 6689088"/>
              <a:gd name="connsiteY1426" fmla="*/ 2844032 h 6689084"/>
              <a:gd name="connsiteX1427" fmla="*/ 2768877 w 6689088"/>
              <a:gd name="connsiteY1427" fmla="*/ 2844756 h 6689084"/>
              <a:gd name="connsiteX1428" fmla="*/ 2768149 w 6689088"/>
              <a:gd name="connsiteY1428" fmla="*/ 2844032 h 6689084"/>
              <a:gd name="connsiteX1429" fmla="*/ 2768877 w 6689088"/>
              <a:gd name="connsiteY1429" fmla="*/ 2843304 h 6689084"/>
              <a:gd name="connsiteX1430" fmla="*/ 3691467 w 6689088"/>
              <a:gd name="connsiteY1430" fmla="*/ 2842580 h 6689084"/>
              <a:gd name="connsiteX1431" fmla="*/ 3692919 w 6689088"/>
              <a:gd name="connsiteY1431" fmla="*/ 2844032 h 6689084"/>
              <a:gd name="connsiteX1432" fmla="*/ 3691467 w 6689088"/>
              <a:gd name="connsiteY1432" fmla="*/ 2845485 h 6689084"/>
              <a:gd name="connsiteX1433" fmla="*/ 3690014 w 6689088"/>
              <a:gd name="connsiteY1433" fmla="*/ 2844032 h 6689084"/>
              <a:gd name="connsiteX1434" fmla="*/ 3691467 w 6689088"/>
              <a:gd name="connsiteY1434" fmla="*/ 2842580 h 6689084"/>
              <a:gd name="connsiteX1435" fmla="*/ 3845418 w 6689088"/>
              <a:gd name="connsiteY1435" fmla="*/ 2841852 h 6689084"/>
              <a:gd name="connsiteX1436" fmla="*/ 3847595 w 6689088"/>
              <a:gd name="connsiteY1436" fmla="*/ 2844032 h 6689084"/>
              <a:gd name="connsiteX1437" fmla="*/ 3845418 w 6689088"/>
              <a:gd name="connsiteY1437" fmla="*/ 2846209 h 6689084"/>
              <a:gd name="connsiteX1438" fmla="*/ 3843238 w 6689088"/>
              <a:gd name="connsiteY1438" fmla="*/ 2844032 h 6689084"/>
              <a:gd name="connsiteX1439" fmla="*/ 3845418 w 6689088"/>
              <a:gd name="connsiteY1439" fmla="*/ 2841852 h 6689084"/>
              <a:gd name="connsiteX1440" fmla="*/ 3999000 w 6689088"/>
              <a:gd name="connsiteY1440" fmla="*/ 2840761 h 6689084"/>
              <a:gd name="connsiteX1441" fmla="*/ 4002270 w 6689088"/>
              <a:gd name="connsiteY1441" fmla="*/ 2844028 h 6689084"/>
              <a:gd name="connsiteX1442" fmla="*/ 3999000 w 6689088"/>
              <a:gd name="connsiteY1442" fmla="*/ 2847299 h 6689084"/>
              <a:gd name="connsiteX1443" fmla="*/ 3995733 w 6689088"/>
              <a:gd name="connsiteY1443" fmla="*/ 2844028 h 6689084"/>
              <a:gd name="connsiteX1444" fmla="*/ 3999000 w 6689088"/>
              <a:gd name="connsiteY1444" fmla="*/ 2840761 h 6689084"/>
              <a:gd name="connsiteX1445" fmla="*/ 4152947 w 6689088"/>
              <a:gd name="connsiteY1445" fmla="*/ 2839309 h 6689084"/>
              <a:gd name="connsiteX1446" fmla="*/ 4157304 w 6689088"/>
              <a:gd name="connsiteY1446" fmla="*/ 2843666 h 6689084"/>
              <a:gd name="connsiteX1447" fmla="*/ 4152947 w 6689088"/>
              <a:gd name="connsiteY1447" fmla="*/ 2848023 h 6689084"/>
              <a:gd name="connsiteX1448" fmla="*/ 4148590 w 6689088"/>
              <a:gd name="connsiteY1448" fmla="*/ 2843666 h 6689084"/>
              <a:gd name="connsiteX1449" fmla="*/ 4152947 w 6689088"/>
              <a:gd name="connsiteY1449" fmla="*/ 2839309 h 6689084"/>
              <a:gd name="connsiteX1450" fmla="*/ 4306532 w 6689088"/>
              <a:gd name="connsiteY1450" fmla="*/ 2838223 h 6689084"/>
              <a:gd name="connsiteX1451" fmla="*/ 4312342 w 6689088"/>
              <a:gd name="connsiteY1451" fmla="*/ 2844032 h 6689084"/>
              <a:gd name="connsiteX1452" fmla="*/ 4306532 w 6689088"/>
              <a:gd name="connsiteY1452" fmla="*/ 2849841 h 6689084"/>
              <a:gd name="connsiteX1453" fmla="*/ 4300723 w 6689088"/>
              <a:gd name="connsiteY1453" fmla="*/ 2844032 h 6689084"/>
              <a:gd name="connsiteX1454" fmla="*/ 4306532 w 6689088"/>
              <a:gd name="connsiteY1454" fmla="*/ 2838223 h 6689084"/>
              <a:gd name="connsiteX1455" fmla="*/ 4460480 w 6689088"/>
              <a:gd name="connsiteY1455" fmla="*/ 2836770 h 6689084"/>
              <a:gd name="connsiteX1456" fmla="*/ 4467742 w 6689088"/>
              <a:gd name="connsiteY1456" fmla="*/ 2844032 h 6689084"/>
              <a:gd name="connsiteX1457" fmla="*/ 4460480 w 6689088"/>
              <a:gd name="connsiteY1457" fmla="*/ 2851294 h 6689084"/>
              <a:gd name="connsiteX1458" fmla="*/ 4453218 w 6689088"/>
              <a:gd name="connsiteY1458" fmla="*/ 2844032 h 6689084"/>
              <a:gd name="connsiteX1459" fmla="*/ 4460480 w 6689088"/>
              <a:gd name="connsiteY1459" fmla="*/ 2836770 h 6689084"/>
              <a:gd name="connsiteX1460" fmla="*/ 4614061 w 6689088"/>
              <a:gd name="connsiteY1460" fmla="*/ 2834590 h 6689084"/>
              <a:gd name="connsiteX1461" fmla="*/ 4623141 w 6689088"/>
              <a:gd name="connsiteY1461" fmla="*/ 2843666 h 6689084"/>
              <a:gd name="connsiteX1462" fmla="*/ 4614061 w 6689088"/>
              <a:gd name="connsiteY1462" fmla="*/ 2852746 h 6689084"/>
              <a:gd name="connsiteX1463" fmla="*/ 4604985 w 6689088"/>
              <a:gd name="connsiteY1463" fmla="*/ 2843666 h 6689084"/>
              <a:gd name="connsiteX1464" fmla="*/ 4614061 w 6689088"/>
              <a:gd name="connsiteY1464" fmla="*/ 2834590 h 6689084"/>
              <a:gd name="connsiteX1465" fmla="*/ 4768012 w 6689088"/>
              <a:gd name="connsiteY1465" fmla="*/ 2833866 h 6689084"/>
              <a:gd name="connsiteX1466" fmla="*/ 4778178 w 6689088"/>
              <a:gd name="connsiteY1466" fmla="*/ 2844032 h 6689084"/>
              <a:gd name="connsiteX1467" fmla="*/ 4768012 w 6689088"/>
              <a:gd name="connsiteY1467" fmla="*/ 2854198 h 6689084"/>
              <a:gd name="connsiteX1468" fmla="*/ 4757846 w 6689088"/>
              <a:gd name="connsiteY1468" fmla="*/ 2844032 h 6689084"/>
              <a:gd name="connsiteX1469" fmla="*/ 4768012 w 6689088"/>
              <a:gd name="connsiteY1469" fmla="*/ 2833866 h 6689084"/>
              <a:gd name="connsiteX1470" fmla="*/ 4921594 w 6689088"/>
              <a:gd name="connsiteY1470" fmla="*/ 2831685 h 6689084"/>
              <a:gd name="connsiteX1471" fmla="*/ 4933578 w 6689088"/>
              <a:gd name="connsiteY1471" fmla="*/ 2843666 h 6689084"/>
              <a:gd name="connsiteX1472" fmla="*/ 4921594 w 6689088"/>
              <a:gd name="connsiteY1472" fmla="*/ 2855651 h 6689084"/>
              <a:gd name="connsiteX1473" fmla="*/ 4909613 w 6689088"/>
              <a:gd name="connsiteY1473" fmla="*/ 2843666 h 6689084"/>
              <a:gd name="connsiteX1474" fmla="*/ 4921594 w 6689088"/>
              <a:gd name="connsiteY1474" fmla="*/ 2831685 h 6689084"/>
              <a:gd name="connsiteX1475" fmla="*/ 5075545 w 6689088"/>
              <a:gd name="connsiteY1475" fmla="*/ 2829871 h 6689084"/>
              <a:gd name="connsiteX1476" fmla="*/ 5089340 w 6689088"/>
              <a:gd name="connsiteY1476" fmla="*/ 2843666 h 6689084"/>
              <a:gd name="connsiteX1477" fmla="*/ 5075545 w 6689088"/>
              <a:gd name="connsiteY1477" fmla="*/ 2857465 h 6689084"/>
              <a:gd name="connsiteX1478" fmla="*/ 5061746 w 6689088"/>
              <a:gd name="connsiteY1478" fmla="*/ 2843666 h 6689084"/>
              <a:gd name="connsiteX1479" fmla="*/ 5075545 w 6689088"/>
              <a:gd name="connsiteY1479" fmla="*/ 2829871 h 6689084"/>
              <a:gd name="connsiteX1480" fmla="*/ 5229126 w 6689088"/>
              <a:gd name="connsiteY1480" fmla="*/ 2828781 h 6689084"/>
              <a:gd name="connsiteX1481" fmla="*/ 5244378 w 6689088"/>
              <a:gd name="connsiteY1481" fmla="*/ 2844032 h 6689084"/>
              <a:gd name="connsiteX1482" fmla="*/ 5229126 w 6689088"/>
              <a:gd name="connsiteY1482" fmla="*/ 2859280 h 6689084"/>
              <a:gd name="connsiteX1483" fmla="*/ 5213879 w 6689088"/>
              <a:gd name="connsiteY1483" fmla="*/ 2844032 h 6689084"/>
              <a:gd name="connsiteX1484" fmla="*/ 5229126 w 6689088"/>
              <a:gd name="connsiteY1484" fmla="*/ 2828781 h 6689084"/>
              <a:gd name="connsiteX1485" fmla="*/ 5383074 w 6689088"/>
              <a:gd name="connsiteY1485" fmla="*/ 2826966 h 6689084"/>
              <a:gd name="connsiteX1486" fmla="*/ 5400140 w 6689088"/>
              <a:gd name="connsiteY1486" fmla="*/ 2844032 h 6689084"/>
              <a:gd name="connsiteX1487" fmla="*/ 5383074 w 6689088"/>
              <a:gd name="connsiteY1487" fmla="*/ 2861098 h 6689084"/>
              <a:gd name="connsiteX1488" fmla="*/ 5366008 w 6689088"/>
              <a:gd name="connsiteY1488" fmla="*/ 2844032 h 6689084"/>
              <a:gd name="connsiteX1489" fmla="*/ 5383074 w 6689088"/>
              <a:gd name="connsiteY1489" fmla="*/ 2826966 h 6689084"/>
              <a:gd name="connsiteX1490" fmla="*/ 5536659 w 6689088"/>
              <a:gd name="connsiteY1490" fmla="*/ 2824790 h 6689084"/>
              <a:gd name="connsiteX1491" fmla="*/ 5555902 w 6689088"/>
              <a:gd name="connsiteY1491" fmla="*/ 2844032 h 6689084"/>
              <a:gd name="connsiteX1492" fmla="*/ 5536659 w 6689088"/>
              <a:gd name="connsiteY1492" fmla="*/ 2863279 h 6689084"/>
              <a:gd name="connsiteX1493" fmla="*/ 5517413 w 6689088"/>
              <a:gd name="connsiteY1493" fmla="*/ 2844032 h 6689084"/>
              <a:gd name="connsiteX1494" fmla="*/ 5536659 w 6689088"/>
              <a:gd name="connsiteY1494" fmla="*/ 2824790 h 6689084"/>
              <a:gd name="connsiteX1495" fmla="*/ 5690602 w 6689088"/>
              <a:gd name="connsiteY1495" fmla="*/ 2822609 h 6689084"/>
              <a:gd name="connsiteX1496" fmla="*/ 5712026 w 6689088"/>
              <a:gd name="connsiteY1496" fmla="*/ 2844032 h 6689084"/>
              <a:gd name="connsiteX1497" fmla="*/ 5690602 w 6689088"/>
              <a:gd name="connsiteY1497" fmla="*/ 2865451 h 6689084"/>
              <a:gd name="connsiteX1498" fmla="*/ 5669180 w 6689088"/>
              <a:gd name="connsiteY1498" fmla="*/ 2844032 h 6689084"/>
              <a:gd name="connsiteX1499" fmla="*/ 5690602 w 6689088"/>
              <a:gd name="connsiteY1499" fmla="*/ 2822609 h 6689084"/>
              <a:gd name="connsiteX1500" fmla="*/ 5844554 w 6689088"/>
              <a:gd name="connsiteY1500" fmla="*/ 2821157 h 6689084"/>
              <a:gd name="connsiteX1501" fmla="*/ 5867429 w 6689088"/>
              <a:gd name="connsiteY1501" fmla="*/ 2844032 h 6689084"/>
              <a:gd name="connsiteX1502" fmla="*/ 5844554 w 6689088"/>
              <a:gd name="connsiteY1502" fmla="*/ 2866903 h 6689084"/>
              <a:gd name="connsiteX1503" fmla="*/ 5821678 w 6689088"/>
              <a:gd name="connsiteY1503" fmla="*/ 2844032 h 6689084"/>
              <a:gd name="connsiteX1504" fmla="*/ 5844554 w 6689088"/>
              <a:gd name="connsiteY1504" fmla="*/ 2821157 h 6689084"/>
              <a:gd name="connsiteX1505" fmla="*/ 5998136 w 6689088"/>
              <a:gd name="connsiteY1505" fmla="*/ 2818980 h 6689084"/>
              <a:gd name="connsiteX1506" fmla="*/ 6023187 w 6689088"/>
              <a:gd name="connsiteY1506" fmla="*/ 2844032 h 6689084"/>
              <a:gd name="connsiteX1507" fmla="*/ 5998136 w 6689088"/>
              <a:gd name="connsiteY1507" fmla="*/ 2869088 h 6689084"/>
              <a:gd name="connsiteX1508" fmla="*/ 5973084 w 6689088"/>
              <a:gd name="connsiteY1508" fmla="*/ 2844032 h 6689084"/>
              <a:gd name="connsiteX1509" fmla="*/ 5998136 w 6689088"/>
              <a:gd name="connsiteY1509" fmla="*/ 2818980 h 6689084"/>
              <a:gd name="connsiteX1510" fmla="*/ 6152086 w 6689088"/>
              <a:gd name="connsiteY1510" fmla="*/ 2816800 h 6689084"/>
              <a:gd name="connsiteX1511" fmla="*/ 6179315 w 6689088"/>
              <a:gd name="connsiteY1511" fmla="*/ 2844032 h 6689084"/>
              <a:gd name="connsiteX1512" fmla="*/ 6152086 w 6689088"/>
              <a:gd name="connsiteY1512" fmla="*/ 2871264 h 6689084"/>
              <a:gd name="connsiteX1513" fmla="*/ 6124854 w 6689088"/>
              <a:gd name="connsiteY1513" fmla="*/ 2844032 h 6689084"/>
              <a:gd name="connsiteX1514" fmla="*/ 6152086 w 6689088"/>
              <a:gd name="connsiteY1514" fmla="*/ 2816800 h 6689084"/>
              <a:gd name="connsiteX1515" fmla="*/ 6305672 w 6689088"/>
              <a:gd name="connsiteY1515" fmla="*/ 2814257 h 6689084"/>
              <a:gd name="connsiteX1516" fmla="*/ 6335443 w 6689088"/>
              <a:gd name="connsiteY1516" fmla="*/ 2844032 h 6689084"/>
              <a:gd name="connsiteX1517" fmla="*/ 6305672 w 6689088"/>
              <a:gd name="connsiteY1517" fmla="*/ 2873803 h 6689084"/>
              <a:gd name="connsiteX1518" fmla="*/ 6275897 w 6689088"/>
              <a:gd name="connsiteY1518" fmla="*/ 2844032 h 6689084"/>
              <a:gd name="connsiteX1519" fmla="*/ 6305672 w 6689088"/>
              <a:gd name="connsiteY1519" fmla="*/ 2814257 h 6689084"/>
              <a:gd name="connsiteX1520" fmla="*/ 6459616 w 6689088"/>
              <a:gd name="connsiteY1520" fmla="*/ 2812081 h 6689084"/>
              <a:gd name="connsiteX1521" fmla="*/ 6491567 w 6689088"/>
              <a:gd name="connsiteY1521" fmla="*/ 2844032 h 6689084"/>
              <a:gd name="connsiteX1522" fmla="*/ 6459616 w 6689088"/>
              <a:gd name="connsiteY1522" fmla="*/ 2875983 h 6689084"/>
              <a:gd name="connsiteX1523" fmla="*/ 6427664 w 6689088"/>
              <a:gd name="connsiteY1523" fmla="*/ 2844032 h 6689084"/>
              <a:gd name="connsiteX1524" fmla="*/ 6459616 w 6689088"/>
              <a:gd name="connsiteY1524" fmla="*/ 2812081 h 6689084"/>
              <a:gd name="connsiteX1525" fmla="*/ 6613200 w 6689088"/>
              <a:gd name="connsiteY1525" fmla="*/ 2810266 h 6689084"/>
              <a:gd name="connsiteX1526" fmla="*/ 6646966 w 6689088"/>
              <a:gd name="connsiteY1526" fmla="*/ 2844032 h 6689084"/>
              <a:gd name="connsiteX1527" fmla="*/ 6613200 w 6689088"/>
              <a:gd name="connsiteY1527" fmla="*/ 2877802 h 6689084"/>
              <a:gd name="connsiteX1528" fmla="*/ 6579435 w 6689088"/>
              <a:gd name="connsiteY1528" fmla="*/ 2844032 h 6689084"/>
              <a:gd name="connsiteX1529" fmla="*/ 6613200 w 6689088"/>
              <a:gd name="connsiteY1529" fmla="*/ 2810266 h 6689084"/>
              <a:gd name="connsiteX1530" fmla="*/ 3383934 w 6689088"/>
              <a:gd name="connsiteY1530" fmla="*/ 2689722 h 6689084"/>
              <a:gd name="connsiteX1531" fmla="*/ 3384296 w 6689088"/>
              <a:gd name="connsiteY1531" fmla="*/ 2690085 h 6689084"/>
              <a:gd name="connsiteX1532" fmla="*/ 3383934 w 6689088"/>
              <a:gd name="connsiteY1532" fmla="*/ 2690447 h 6689084"/>
              <a:gd name="connsiteX1533" fmla="*/ 3383572 w 6689088"/>
              <a:gd name="connsiteY1533" fmla="*/ 2690085 h 6689084"/>
              <a:gd name="connsiteX1534" fmla="*/ 3383934 w 6689088"/>
              <a:gd name="connsiteY1534" fmla="*/ 2689722 h 6689084"/>
              <a:gd name="connsiteX1535" fmla="*/ 2922458 w 6689088"/>
              <a:gd name="connsiteY1535" fmla="*/ 2689722 h 6689084"/>
              <a:gd name="connsiteX1536" fmla="*/ 2922820 w 6689088"/>
              <a:gd name="connsiteY1536" fmla="*/ 2690085 h 6689084"/>
              <a:gd name="connsiteX1537" fmla="*/ 2922458 w 6689088"/>
              <a:gd name="connsiteY1537" fmla="*/ 2690447 h 6689084"/>
              <a:gd name="connsiteX1538" fmla="*/ 2922096 w 6689088"/>
              <a:gd name="connsiteY1538" fmla="*/ 2690085 h 6689084"/>
              <a:gd name="connsiteX1539" fmla="*/ 2922458 w 6689088"/>
              <a:gd name="connsiteY1539" fmla="*/ 2689722 h 6689084"/>
              <a:gd name="connsiteX1540" fmla="*/ 2768873 w 6689088"/>
              <a:gd name="connsiteY1540" fmla="*/ 2689722 h 6689084"/>
              <a:gd name="connsiteX1541" fmla="*/ 2769235 w 6689088"/>
              <a:gd name="connsiteY1541" fmla="*/ 2690085 h 6689084"/>
              <a:gd name="connsiteX1542" fmla="*/ 2768873 w 6689088"/>
              <a:gd name="connsiteY1542" fmla="*/ 2690447 h 6689084"/>
              <a:gd name="connsiteX1543" fmla="*/ 2768511 w 6689088"/>
              <a:gd name="connsiteY1543" fmla="*/ 2690085 h 6689084"/>
              <a:gd name="connsiteX1544" fmla="*/ 2768873 w 6689088"/>
              <a:gd name="connsiteY1544" fmla="*/ 2689722 h 6689084"/>
              <a:gd name="connsiteX1545" fmla="*/ 2614925 w 6689088"/>
              <a:gd name="connsiteY1545" fmla="*/ 2689357 h 6689084"/>
              <a:gd name="connsiteX1546" fmla="*/ 2615654 w 6689088"/>
              <a:gd name="connsiteY1546" fmla="*/ 2690081 h 6689084"/>
              <a:gd name="connsiteX1547" fmla="*/ 2614925 w 6689088"/>
              <a:gd name="connsiteY1547" fmla="*/ 2690809 h 6689084"/>
              <a:gd name="connsiteX1548" fmla="*/ 2614201 w 6689088"/>
              <a:gd name="connsiteY1548" fmla="*/ 2690081 h 6689084"/>
              <a:gd name="connsiteX1549" fmla="*/ 2614925 w 6689088"/>
              <a:gd name="connsiteY1549" fmla="*/ 2689357 h 6689084"/>
              <a:gd name="connsiteX1550" fmla="*/ 3537886 w 6689088"/>
              <a:gd name="connsiteY1550" fmla="*/ 2688633 h 6689084"/>
              <a:gd name="connsiteX1551" fmla="*/ 3539338 w 6689088"/>
              <a:gd name="connsiteY1551" fmla="*/ 2690085 h 6689084"/>
              <a:gd name="connsiteX1552" fmla="*/ 3537886 w 6689088"/>
              <a:gd name="connsiteY1552" fmla="*/ 2691537 h 6689084"/>
              <a:gd name="connsiteX1553" fmla="*/ 3536433 w 6689088"/>
              <a:gd name="connsiteY1553" fmla="*/ 2690085 h 6689084"/>
              <a:gd name="connsiteX1554" fmla="*/ 3537886 w 6689088"/>
              <a:gd name="connsiteY1554" fmla="*/ 2688633 h 6689084"/>
              <a:gd name="connsiteX1555" fmla="*/ 3691471 w 6689088"/>
              <a:gd name="connsiteY1555" fmla="*/ 2687904 h 6689084"/>
              <a:gd name="connsiteX1556" fmla="*/ 3693647 w 6689088"/>
              <a:gd name="connsiteY1556" fmla="*/ 2690081 h 6689084"/>
              <a:gd name="connsiteX1557" fmla="*/ 3691471 w 6689088"/>
              <a:gd name="connsiteY1557" fmla="*/ 2692261 h 6689084"/>
              <a:gd name="connsiteX1558" fmla="*/ 3689290 w 6689088"/>
              <a:gd name="connsiteY1558" fmla="*/ 2690081 h 6689084"/>
              <a:gd name="connsiteX1559" fmla="*/ 3691471 w 6689088"/>
              <a:gd name="connsiteY1559" fmla="*/ 2687904 h 6689084"/>
              <a:gd name="connsiteX1560" fmla="*/ 3845414 w 6689088"/>
              <a:gd name="connsiteY1560" fmla="*/ 2686818 h 6689084"/>
              <a:gd name="connsiteX1561" fmla="*/ 3848681 w 6689088"/>
              <a:gd name="connsiteY1561" fmla="*/ 2690085 h 6689084"/>
              <a:gd name="connsiteX1562" fmla="*/ 3845414 w 6689088"/>
              <a:gd name="connsiteY1562" fmla="*/ 2693355 h 6689084"/>
              <a:gd name="connsiteX1563" fmla="*/ 3842148 w 6689088"/>
              <a:gd name="connsiteY1563" fmla="*/ 2690085 h 6689084"/>
              <a:gd name="connsiteX1564" fmla="*/ 3845414 w 6689088"/>
              <a:gd name="connsiteY1564" fmla="*/ 2686818 h 6689084"/>
              <a:gd name="connsiteX1565" fmla="*/ 3999000 w 6689088"/>
              <a:gd name="connsiteY1565" fmla="*/ 2685728 h 6689084"/>
              <a:gd name="connsiteX1566" fmla="*/ 4003356 w 6689088"/>
              <a:gd name="connsiteY1566" fmla="*/ 2690085 h 6689084"/>
              <a:gd name="connsiteX1567" fmla="*/ 3999000 w 6689088"/>
              <a:gd name="connsiteY1567" fmla="*/ 2694442 h 6689084"/>
              <a:gd name="connsiteX1568" fmla="*/ 3994642 w 6689088"/>
              <a:gd name="connsiteY1568" fmla="*/ 2690085 h 6689084"/>
              <a:gd name="connsiteX1569" fmla="*/ 3999000 w 6689088"/>
              <a:gd name="connsiteY1569" fmla="*/ 2685728 h 6689084"/>
              <a:gd name="connsiteX1570" fmla="*/ 4152947 w 6689088"/>
              <a:gd name="connsiteY1570" fmla="*/ 2684275 h 6689084"/>
              <a:gd name="connsiteX1571" fmla="*/ 4158756 w 6689088"/>
              <a:gd name="connsiteY1571" fmla="*/ 2690085 h 6689084"/>
              <a:gd name="connsiteX1572" fmla="*/ 4152947 w 6689088"/>
              <a:gd name="connsiteY1572" fmla="*/ 2695894 h 6689084"/>
              <a:gd name="connsiteX1573" fmla="*/ 4147138 w 6689088"/>
              <a:gd name="connsiteY1573" fmla="*/ 2690085 h 6689084"/>
              <a:gd name="connsiteX1574" fmla="*/ 4152947 w 6689088"/>
              <a:gd name="connsiteY1574" fmla="*/ 2684275 h 6689084"/>
              <a:gd name="connsiteX1575" fmla="*/ 4306532 w 6689088"/>
              <a:gd name="connsiteY1575" fmla="*/ 2682823 h 6689084"/>
              <a:gd name="connsiteX1576" fmla="*/ 4313794 w 6689088"/>
              <a:gd name="connsiteY1576" fmla="*/ 2690085 h 6689084"/>
              <a:gd name="connsiteX1577" fmla="*/ 4306532 w 6689088"/>
              <a:gd name="connsiteY1577" fmla="*/ 2697346 h 6689084"/>
              <a:gd name="connsiteX1578" fmla="*/ 4299270 w 6689088"/>
              <a:gd name="connsiteY1578" fmla="*/ 2690085 h 6689084"/>
              <a:gd name="connsiteX1579" fmla="*/ 4306532 w 6689088"/>
              <a:gd name="connsiteY1579" fmla="*/ 2682823 h 6689084"/>
              <a:gd name="connsiteX1580" fmla="*/ 4460480 w 6689088"/>
              <a:gd name="connsiteY1580" fmla="*/ 2681005 h 6689084"/>
              <a:gd name="connsiteX1581" fmla="*/ 4469560 w 6689088"/>
              <a:gd name="connsiteY1581" fmla="*/ 2690081 h 6689084"/>
              <a:gd name="connsiteX1582" fmla="*/ 4460480 w 6689088"/>
              <a:gd name="connsiteY1582" fmla="*/ 2699161 h 6689084"/>
              <a:gd name="connsiteX1583" fmla="*/ 4451404 w 6689088"/>
              <a:gd name="connsiteY1583" fmla="*/ 2690081 h 6689084"/>
              <a:gd name="connsiteX1584" fmla="*/ 4460480 w 6689088"/>
              <a:gd name="connsiteY1584" fmla="*/ 2681005 h 6689084"/>
              <a:gd name="connsiteX1585" fmla="*/ 4614061 w 6689088"/>
              <a:gd name="connsiteY1585" fmla="*/ 2679918 h 6689084"/>
              <a:gd name="connsiteX1586" fmla="*/ 4624228 w 6689088"/>
              <a:gd name="connsiteY1586" fmla="*/ 2690085 h 6689084"/>
              <a:gd name="connsiteX1587" fmla="*/ 4614061 w 6689088"/>
              <a:gd name="connsiteY1587" fmla="*/ 2700251 h 6689084"/>
              <a:gd name="connsiteX1588" fmla="*/ 4603895 w 6689088"/>
              <a:gd name="connsiteY1588" fmla="*/ 2690085 h 6689084"/>
              <a:gd name="connsiteX1589" fmla="*/ 4614061 w 6689088"/>
              <a:gd name="connsiteY1589" fmla="*/ 2679918 h 6689084"/>
              <a:gd name="connsiteX1590" fmla="*/ 4768008 w 6689088"/>
              <a:gd name="connsiteY1590" fmla="*/ 2678104 h 6689084"/>
              <a:gd name="connsiteX1591" fmla="*/ 4779993 w 6689088"/>
              <a:gd name="connsiteY1591" fmla="*/ 2690085 h 6689084"/>
              <a:gd name="connsiteX1592" fmla="*/ 4768008 w 6689088"/>
              <a:gd name="connsiteY1592" fmla="*/ 2702065 h 6689084"/>
              <a:gd name="connsiteX1593" fmla="*/ 4756028 w 6689088"/>
              <a:gd name="connsiteY1593" fmla="*/ 2690085 h 6689084"/>
              <a:gd name="connsiteX1594" fmla="*/ 4768008 w 6689088"/>
              <a:gd name="connsiteY1594" fmla="*/ 2678104 h 6689084"/>
              <a:gd name="connsiteX1595" fmla="*/ 4921598 w 6689088"/>
              <a:gd name="connsiteY1595" fmla="*/ 2676286 h 6689084"/>
              <a:gd name="connsiteX1596" fmla="*/ 4935393 w 6689088"/>
              <a:gd name="connsiteY1596" fmla="*/ 2690081 h 6689084"/>
              <a:gd name="connsiteX1597" fmla="*/ 4921598 w 6689088"/>
              <a:gd name="connsiteY1597" fmla="*/ 2703880 h 6689084"/>
              <a:gd name="connsiteX1598" fmla="*/ 4907798 w 6689088"/>
              <a:gd name="connsiteY1598" fmla="*/ 2690081 h 6689084"/>
              <a:gd name="connsiteX1599" fmla="*/ 4921598 w 6689088"/>
              <a:gd name="connsiteY1599" fmla="*/ 2676286 h 6689084"/>
              <a:gd name="connsiteX1600" fmla="*/ 5075545 w 6689088"/>
              <a:gd name="connsiteY1600" fmla="*/ 2674833 h 6689084"/>
              <a:gd name="connsiteX1601" fmla="*/ 5090792 w 6689088"/>
              <a:gd name="connsiteY1601" fmla="*/ 2690081 h 6689084"/>
              <a:gd name="connsiteX1602" fmla="*/ 5075545 w 6689088"/>
              <a:gd name="connsiteY1602" fmla="*/ 2705332 h 6689084"/>
              <a:gd name="connsiteX1603" fmla="*/ 5060294 w 6689088"/>
              <a:gd name="connsiteY1603" fmla="*/ 2690081 h 6689084"/>
              <a:gd name="connsiteX1604" fmla="*/ 5075545 w 6689088"/>
              <a:gd name="connsiteY1604" fmla="*/ 2674833 h 6689084"/>
              <a:gd name="connsiteX1605" fmla="*/ 5229126 w 6689088"/>
              <a:gd name="connsiteY1605" fmla="*/ 2673019 h 6689084"/>
              <a:gd name="connsiteX1606" fmla="*/ 5246192 w 6689088"/>
              <a:gd name="connsiteY1606" fmla="*/ 2690085 h 6689084"/>
              <a:gd name="connsiteX1607" fmla="*/ 5229126 w 6689088"/>
              <a:gd name="connsiteY1607" fmla="*/ 2707147 h 6689084"/>
              <a:gd name="connsiteX1608" fmla="*/ 5212060 w 6689088"/>
              <a:gd name="connsiteY1608" fmla="*/ 2690085 h 6689084"/>
              <a:gd name="connsiteX1609" fmla="*/ 5229126 w 6689088"/>
              <a:gd name="connsiteY1609" fmla="*/ 2673019 h 6689084"/>
              <a:gd name="connsiteX1610" fmla="*/ 5383074 w 6689088"/>
              <a:gd name="connsiteY1610" fmla="*/ 2670842 h 6689084"/>
              <a:gd name="connsiteX1611" fmla="*/ 5402320 w 6689088"/>
              <a:gd name="connsiteY1611" fmla="*/ 2690085 h 6689084"/>
              <a:gd name="connsiteX1612" fmla="*/ 5383074 w 6689088"/>
              <a:gd name="connsiteY1612" fmla="*/ 2709327 h 6689084"/>
              <a:gd name="connsiteX1613" fmla="*/ 5363832 w 6689088"/>
              <a:gd name="connsiteY1613" fmla="*/ 2690085 h 6689084"/>
              <a:gd name="connsiteX1614" fmla="*/ 5383074 w 6689088"/>
              <a:gd name="connsiteY1614" fmla="*/ 2670842 h 6689084"/>
              <a:gd name="connsiteX1615" fmla="*/ 5536656 w 6689088"/>
              <a:gd name="connsiteY1615" fmla="*/ 2668662 h 6689084"/>
              <a:gd name="connsiteX1616" fmla="*/ 5558078 w 6689088"/>
              <a:gd name="connsiteY1616" fmla="*/ 2690085 h 6689084"/>
              <a:gd name="connsiteX1617" fmla="*/ 5536656 w 6689088"/>
              <a:gd name="connsiteY1617" fmla="*/ 2711504 h 6689084"/>
              <a:gd name="connsiteX1618" fmla="*/ 5515232 w 6689088"/>
              <a:gd name="connsiteY1618" fmla="*/ 2690085 h 6689084"/>
              <a:gd name="connsiteX1619" fmla="*/ 5536656 w 6689088"/>
              <a:gd name="connsiteY1619" fmla="*/ 2668662 h 6689084"/>
              <a:gd name="connsiteX1620" fmla="*/ 5690606 w 6689088"/>
              <a:gd name="connsiteY1620" fmla="*/ 2667209 h 6689084"/>
              <a:gd name="connsiteX1621" fmla="*/ 5713482 w 6689088"/>
              <a:gd name="connsiteY1621" fmla="*/ 2690085 h 6689084"/>
              <a:gd name="connsiteX1622" fmla="*/ 5690606 w 6689088"/>
              <a:gd name="connsiteY1622" fmla="*/ 2712956 h 6689084"/>
              <a:gd name="connsiteX1623" fmla="*/ 5667732 w 6689088"/>
              <a:gd name="connsiteY1623" fmla="*/ 2690085 h 6689084"/>
              <a:gd name="connsiteX1624" fmla="*/ 5690606 w 6689088"/>
              <a:gd name="connsiteY1624" fmla="*/ 2667209 h 6689084"/>
              <a:gd name="connsiteX1625" fmla="*/ 5844550 w 6689088"/>
              <a:gd name="connsiteY1625" fmla="*/ 2665033 h 6689084"/>
              <a:gd name="connsiteX1626" fmla="*/ 5869606 w 6689088"/>
              <a:gd name="connsiteY1626" fmla="*/ 2690085 h 6689084"/>
              <a:gd name="connsiteX1627" fmla="*/ 5844550 w 6689088"/>
              <a:gd name="connsiteY1627" fmla="*/ 2715136 h 6689084"/>
              <a:gd name="connsiteX1628" fmla="*/ 5819498 w 6689088"/>
              <a:gd name="connsiteY1628" fmla="*/ 2690085 h 6689084"/>
              <a:gd name="connsiteX1629" fmla="*/ 5844550 w 6689088"/>
              <a:gd name="connsiteY1629" fmla="*/ 2665033 h 6689084"/>
              <a:gd name="connsiteX1630" fmla="*/ 5998139 w 6689088"/>
              <a:gd name="connsiteY1630" fmla="*/ 2662852 h 6689084"/>
              <a:gd name="connsiteX1631" fmla="*/ 6025372 w 6689088"/>
              <a:gd name="connsiteY1631" fmla="*/ 2690085 h 6689084"/>
              <a:gd name="connsiteX1632" fmla="*/ 5998139 w 6689088"/>
              <a:gd name="connsiteY1632" fmla="*/ 2717317 h 6689084"/>
              <a:gd name="connsiteX1633" fmla="*/ 5970907 w 6689088"/>
              <a:gd name="connsiteY1633" fmla="*/ 2690085 h 6689084"/>
              <a:gd name="connsiteX1634" fmla="*/ 5998139 w 6689088"/>
              <a:gd name="connsiteY1634" fmla="*/ 2662852 h 6689084"/>
              <a:gd name="connsiteX1635" fmla="*/ 6152083 w 6689088"/>
              <a:gd name="connsiteY1635" fmla="*/ 2660310 h 6689084"/>
              <a:gd name="connsiteX1636" fmla="*/ 6181858 w 6689088"/>
              <a:gd name="connsiteY1636" fmla="*/ 2690081 h 6689084"/>
              <a:gd name="connsiteX1637" fmla="*/ 6152083 w 6689088"/>
              <a:gd name="connsiteY1637" fmla="*/ 2719856 h 6689084"/>
              <a:gd name="connsiteX1638" fmla="*/ 6122312 w 6689088"/>
              <a:gd name="connsiteY1638" fmla="*/ 2690081 h 6689084"/>
              <a:gd name="connsiteX1639" fmla="*/ 6152083 w 6689088"/>
              <a:gd name="connsiteY1639" fmla="*/ 2660310 h 6689084"/>
              <a:gd name="connsiteX1640" fmla="*/ 6305668 w 6689088"/>
              <a:gd name="connsiteY1640" fmla="*/ 2658133 h 6689084"/>
              <a:gd name="connsiteX1641" fmla="*/ 6337620 w 6689088"/>
              <a:gd name="connsiteY1641" fmla="*/ 2690085 h 6689084"/>
              <a:gd name="connsiteX1642" fmla="*/ 6305668 w 6689088"/>
              <a:gd name="connsiteY1642" fmla="*/ 2722036 h 6689084"/>
              <a:gd name="connsiteX1643" fmla="*/ 6273716 w 6689088"/>
              <a:gd name="connsiteY1643" fmla="*/ 2690085 h 6689084"/>
              <a:gd name="connsiteX1644" fmla="*/ 6305668 w 6689088"/>
              <a:gd name="connsiteY1644" fmla="*/ 2658133 h 6689084"/>
              <a:gd name="connsiteX1645" fmla="*/ 6459616 w 6689088"/>
              <a:gd name="connsiteY1645" fmla="*/ 2656319 h 6689084"/>
              <a:gd name="connsiteX1646" fmla="*/ 6493385 w 6689088"/>
              <a:gd name="connsiteY1646" fmla="*/ 2690085 h 6689084"/>
              <a:gd name="connsiteX1647" fmla="*/ 6459616 w 6689088"/>
              <a:gd name="connsiteY1647" fmla="*/ 2723850 h 6689084"/>
              <a:gd name="connsiteX1648" fmla="*/ 6425850 w 6689088"/>
              <a:gd name="connsiteY1648" fmla="*/ 2690085 h 6689084"/>
              <a:gd name="connsiteX1649" fmla="*/ 6459616 w 6689088"/>
              <a:gd name="connsiteY1649" fmla="*/ 2656319 h 6689084"/>
              <a:gd name="connsiteX1650" fmla="*/ 6613200 w 6689088"/>
              <a:gd name="connsiteY1650" fmla="*/ 2653777 h 6689084"/>
              <a:gd name="connsiteX1651" fmla="*/ 6649509 w 6689088"/>
              <a:gd name="connsiteY1651" fmla="*/ 2690085 h 6689084"/>
              <a:gd name="connsiteX1652" fmla="*/ 6613200 w 6689088"/>
              <a:gd name="connsiteY1652" fmla="*/ 2726393 h 6689084"/>
              <a:gd name="connsiteX1653" fmla="*/ 6576892 w 6689088"/>
              <a:gd name="connsiteY1653" fmla="*/ 2690085 h 6689084"/>
              <a:gd name="connsiteX1654" fmla="*/ 6613200 w 6689088"/>
              <a:gd name="connsiteY1654" fmla="*/ 2653777 h 6689084"/>
              <a:gd name="connsiteX1655" fmla="*/ 3230349 w 6689088"/>
              <a:gd name="connsiteY1655" fmla="*/ 2536137 h 6689084"/>
              <a:gd name="connsiteX1656" fmla="*/ 3230715 w 6689088"/>
              <a:gd name="connsiteY1656" fmla="*/ 2536499 h 6689084"/>
              <a:gd name="connsiteX1657" fmla="*/ 3230349 w 6689088"/>
              <a:gd name="connsiteY1657" fmla="*/ 2536866 h 6689084"/>
              <a:gd name="connsiteX1658" fmla="*/ 3229987 w 6689088"/>
              <a:gd name="connsiteY1658" fmla="*/ 2536499 h 6689084"/>
              <a:gd name="connsiteX1659" fmla="*/ 3230349 w 6689088"/>
              <a:gd name="connsiteY1659" fmla="*/ 2536137 h 6689084"/>
              <a:gd name="connsiteX1660" fmla="*/ 2768873 w 6689088"/>
              <a:gd name="connsiteY1660" fmla="*/ 2536137 h 6689084"/>
              <a:gd name="connsiteX1661" fmla="*/ 2769235 w 6689088"/>
              <a:gd name="connsiteY1661" fmla="*/ 2536499 h 6689084"/>
              <a:gd name="connsiteX1662" fmla="*/ 2768873 w 6689088"/>
              <a:gd name="connsiteY1662" fmla="*/ 2536866 h 6689084"/>
              <a:gd name="connsiteX1663" fmla="*/ 2768511 w 6689088"/>
              <a:gd name="connsiteY1663" fmla="*/ 2536499 h 6689084"/>
              <a:gd name="connsiteX1664" fmla="*/ 2768873 w 6689088"/>
              <a:gd name="connsiteY1664" fmla="*/ 2536137 h 6689084"/>
              <a:gd name="connsiteX1665" fmla="*/ 2614925 w 6689088"/>
              <a:gd name="connsiteY1665" fmla="*/ 2536137 h 6689084"/>
              <a:gd name="connsiteX1666" fmla="*/ 2615288 w 6689088"/>
              <a:gd name="connsiteY1666" fmla="*/ 2536499 h 6689084"/>
              <a:gd name="connsiteX1667" fmla="*/ 2614925 w 6689088"/>
              <a:gd name="connsiteY1667" fmla="*/ 2536866 h 6689084"/>
              <a:gd name="connsiteX1668" fmla="*/ 2614563 w 6689088"/>
              <a:gd name="connsiteY1668" fmla="*/ 2536499 h 6689084"/>
              <a:gd name="connsiteX1669" fmla="*/ 2614925 w 6689088"/>
              <a:gd name="connsiteY1669" fmla="*/ 2536137 h 6689084"/>
              <a:gd name="connsiteX1670" fmla="*/ 2461344 w 6689088"/>
              <a:gd name="connsiteY1670" fmla="*/ 2535771 h 6689084"/>
              <a:gd name="connsiteX1671" fmla="*/ 2462068 w 6689088"/>
              <a:gd name="connsiteY1671" fmla="*/ 2536499 h 6689084"/>
              <a:gd name="connsiteX1672" fmla="*/ 2461344 w 6689088"/>
              <a:gd name="connsiteY1672" fmla="*/ 2537224 h 6689084"/>
              <a:gd name="connsiteX1673" fmla="*/ 2460616 w 6689088"/>
              <a:gd name="connsiteY1673" fmla="*/ 2536499 h 6689084"/>
              <a:gd name="connsiteX1674" fmla="*/ 2461344 w 6689088"/>
              <a:gd name="connsiteY1674" fmla="*/ 2535771 h 6689084"/>
              <a:gd name="connsiteX1675" fmla="*/ 3383938 w 6689088"/>
              <a:gd name="connsiteY1675" fmla="*/ 2535047 h 6689084"/>
              <a:gd name="connsiteX1676" fmla="*/ 3385390 w 6689088"/>
              <a:gd name="connsiteY1676" fmla="*/ 2536499 h 6689084"/>
              <a:gd name="connsiteX1677" fmla="*/ 3383938 w 6689088"/>
              <a:gd name="connsiteY1677" fmla="*/ 2537952 h 6689084"/>
              <a:gd name="connsiteX1678" fmla="*/ 3382486 w 6689088"/>
              <a:gd name="connsiteY1678" fmla="*/ 2536499 h 6689084"/>
              <a:gd name="connsiteX1679" fmla="*/ 3383938 w 6689088"/>
              <a:gd name="connsiteY1679" fmla="*/ 2535047 h 6689084"/>
              <a:gd name="connsiteX1680" fmla="*/ 3537886 w 6689088"/>
              <a:gd name="connsiteY1680" fmla="*/ 2534323 h 6689084"/>
              <a:gd name="connsiteX1681" fmla="*/ 3540062 w 6689088"/>
              <a:gd name="connsiteY1681" fmla="*/ 2536503 h 6689084"/>
              <a:gd name="connsiteX1682" fmla="*/ 3537886 w 6689088"/>
              <a:gd name="connsiteY1682" fmla="*/ 2538680 h 6689084"/>
              <a:gd name="connsiteX1683" fmla="*/ 3535705 w 6689088"/>
              <a:gd name="connsiteY1683" fmla="*/ 2536503 h 6689084"/>
              <a:gd name="connsiteX1684" fmla="*/ 3537886 w 6689088"/>
              <a:gd name="connsiteY1684" fmla="*/ 2534323 h 6689084"/>
              <a:gd name="connsiteX1685" fmla="*/ 3691467 w 6689088"/>
              <a:gd name="connsiteY1685" fmla="*/ 2533233 h 6689084"/>
              <a:gd name="connsiteX1686" fmla="*/ 3694738 w 6689088"/>
              <a:gd name="connsiteY1686" fmla="*/ 2536499 h 6689084"/>
              <a:gd name="connsiteX1687" fmla="*/ 3691467 w 6689088"/>
              <a:gd name="connsiteY1687" fmla="*/ 2539770 h 6689084"/>
              <a:gd name="connsiteX1688" fmla="*/ 3688200 w 6689088"/>
              <a:gd name="connsiteY1688" fmla="*/ 2536499 h 6689084"/>
              <a:gd name="connsiteX1689" fmla="*/ 3691467 w 6689088"/>
              <a:gd name="connsiteY1689" fmla="*/ 2533233 h 6689084"/>
              <a:gd name="connsiteX1690" fmla="*/ 3845414 w 6689088"/>
              <a:gd name="connsiteY1690" fmla="*/ 2531780 h 6689084"/>
              <a:gd name="connsiteX1691" fmla="*/ 3849771 w 6689088"/>
              <a:gd name="connsiteY1691" fmla="*/ 2536137 h 6689084"/>
              <a:gd name="connsiteX1692" fmla="*/ 3845414 w 6689088"/>
              <a:gd name="connsiteY1692" fmla="*/ 2540494 h 6689084"/>
              <a:gd name="connsiteX1693" fmla="*/ 3841057 w 6689088"/>
              <a:gd name="connsiteY1693" fmla="*/ 2536137 h 6689084"/>
              <a:gd name="connsiteX1694" fmla="*/ 3845414 w 6689088"/>
              <a:gd name="connsiteY1694" fmla="*/ 2531780 h 6689084"/>
              <a:gd name="connsiteX1695" fmla="*/ 3999000 w 6689088"/>
              <a:gd name="connsiteY1695" fmla="*/ 2530690 h 6689084"/>
              <a:gd name="connsiteX1696" fmla="*/ 4004809 w 6689088"/>
              <a:gd name="connsiteY1696" fmla="*/ 2536499 h 6689084"/>
              <a:gd name="connsiteX1697" fmla="*/ 3999000 w 6689088"/>
              <a:gd name="connsiteY1697" fmla="*/ 2542309 h 6689084"/>
              <a:gd name="connsiteX1698" fmla="*/ 3993190 w 6689088"/>
              <a:gd name="connsiteY1698" fmla="*/ 2536499 h 6689084"/>
              <a:gd name="connsiteX1699" fmla="*/ 3999000 w 6689088"/>
              <a:gd name="connsiteY1699" fmla="*/ 2530690 h 6689084"/>
              <a:gd name="connsiteX1700" fmla="*/ 4152947 w 6689088"/>
              <a:gd name="connsiteY1700" fmla="*/ 2528876 h 6689084"/>
              <a:gd name="connsiteX1701" fmla="*/ 4160208 w 6689088"/>
              <a:gd name="connsiteY1701" fmla="*/ 2536137 h 6689084"/>
              <a:gd name="connsiteX1702" fmla="*/ 4152947 w 6689088"/>
              <a:gd name="connsiteY1702" fmla="*/ 2543399 h 6689084"/>
              <a:gd name="connsiteX1703" fmla="*/ 4145686 w 6689088"/>
              <a:gd name="connsiteY1703" fmla="*/ 2536137 h 6689084"/>
              <a:gd name="connsiteX1704" fmla="*/ 4152947 w 6689088"/>
              <a:gd name="connsiteY1704" fmla="*/ 2528876 h 6689084"/>
              <a:gd name="connsiteX1705" fmla="*/ 4306528 w 6689088"/>
              <a:gd name="connsiteY1705" fmla="*/ 2527058 h 6689084"/>
              <a:gd name="connsiteX1706" fmla="*/ 4315608 w 6689088"/>
              <a:gd name="connsiteY1706" fmla="*/ 2536133 h 6689084"/>
              <a:gd name="connsiteX1707" fmla="*/ 4306528 w 6689088"/>
              <a:gd name="connsiteY1707" fmla="*/ 2545213 h 6689084"/>
              <a:gd name="connsiteX1708" fmla="*/ 4297452 w 6689088"/>
              <a:gd name="connsiteY1708" fmla="*/ 2536133 h 6689084"/>
              <a:gd name="connsiteX1709" fmla="*/ 4306528 w 6689088"/>
              <a:gd name="connsiteY1709" fmla="*/ 2527058 h 6689084"/>
              <a:gd name="connsiteX1710" fmla="*/ 4460480 w 6689088"/>
              <a:gd name="connsiteY1710" fmla="*/ 2526333 h 6689084"/>
              <a:gd name="connsiteX1711" fmla="*/ 4470646 w 6689088"/>
              <a:gd name="connsiteY1711" fmla="*/ 2536499 h 6689084"/>
              <a:gd name="connsiteX1712" fmla="*/ 4460480 w 6689088"/>
              <a:gd name="connsiteY1712" fmla="*/ 2546666 h 6689084"/>
              <a:gd name="connsiteX1713" fmla="*/ 4450314 w 6689088"/>
              <a:gd name="connsiteY1713" fmla="*/ 2536499 h 6689084"/>
              <a:gd name="connsiteX1714" fmla="*/ 4460480 w 6689088"/>
              <a:gd name="connsiteY1714" fmla="*/ 2526333 h 6689084"/>
              <a:gd name="connsiteX1715" fmla="*/ 4614061 w 6689088"/>
              <a:gd name="connsiteY1715" fmla="*/ 2524153 h 6689084"/>
              <a:gd name="connsiteX1716" fmla="*/ 4626046 w 6689088"/>
              <a:gd name="connsiteY1716" fmla="*/ 2536133 h 6689084"/>
              <a:gd name="connsiteX1717" fmla="*/ 4614061 w 6689088"/>
              <a:gd name="connsiteY1717" fmla="*/ 2548118 h 6689084"/>
              <a:gd name="connsiteX1718" fmla="*/ 4602080 w 6689088"/>
              <a:gd name="connsiteY1718" fmla="*/ 2536133 h 6689084"/>
              <a:gd name="connsiteX1719" fmla="*/ 4614061 w 6689088"/>
              <a:gd name="connsiteY1719" fmla="*/ 2524153 h 6689084"/>
              <a:gd name="connsiteX1720" fmla="*/ 4768012 w 6689088"/>
              <a:gd name="connsiteY1720" fmla="*/ 2522338 h 6689084"/>
              <a:gd name="connsiteX1721" fmla="*/ 4781808 w 6689088"/>
              <a:gd name="connsiteY1721" fmla="*/ 2536133 h 6689084"/>
              <a:gd name="connsiteX1722" fmla="*/ 4768012 w 6689088"/>
              <a:gd name="connsiteY1722" fmla="*/ 2549933 h 6689084"/>
              <a:gd name="connsiteX1723" fmla="*/ 4754214 w 6689088"/>
              <a:gd name="connsiteY1723" fmla="*/ 2536133 h 6689084"/>
              <a:gd name="connsiteX1724" fmla="*/ 4768012 w 6689088"/>
              <a:gd name="connsiteY1724" fmla="*/ 2522338 h 6689084"/>
              <a:gd name="connsiteX1725" fmla="*/ 4921594 w 6689088"/>
              <a:gd name="connsiteY1725" fmla="*/ 2521252 h 6689084"/>
              <a:gd name="connsiteX1726" fmla="*/ 4936845 w 6689088"/>
              <a:gd name="connsiteY1726" fmla="*/ 2536503 h 6689084"/>
              <a:gd name="connsiteX1727" fmla="*/ 4921594 w 6689088"/>
              <a:gd name="connsiteY1727" fmla="*/ 2551751 h 6689084"/>
              <a:gd name="connsiteX1728" fmla="*/ 4906346 w 6689088"/>
              <a:gd name="connsiteY1728" fmla="*/ 2536503 h 6689084"/>
              <a:gd name="connsiteX1729" fmla="*/ 4921594 w 6689088"/>
              <a:gd name="connsiteY1729" fmla="*/ 2521252 h 6689084"/>
              <a:gd name="connsiteX1730" fmla="*/ 5075545 w 6689088"/>
              <a:gd name="connsiteY1730" fmla="*/ 2519071 h 6689084"/>
              <a:gd name="connsiteX1731" fmla="*/ 5092611 w 6689088"/>
              <a:gd name="connsiteY1731" fmla="*/ 2536137 h 6689084"/>
              <a:gd name="connsiteX1732" fmla="*/ 5075545 w 6689088"/>
              <a:gd name="connsiteY1732" fmla="*/ 2553203 h 6689084"/>
              <a:gd name="connsiteX1733" fmla="*/ 5058479 w 6689088"/>
              <a:gd name="connsiteY1733" fmla="*/ 2536137 h 6689084"/>
              <a:gd name="connsiteX1734" fmla="*/ 5075545 w 6689088"/>
              <a:gd name="connsiteY1734" fmla="*/ 2519071 h 6689084"/>
              <a:gd name="connsiteX1735" fmla="*/ 5229126 w 6689088"/>
              <a:gd name="connsiteY1735" fmla="*/ 2517257 h 6689084"/>
              <a:gd name="connsiteX1736" fmla="*/ 5248369 w 6689088"/>
              <a:gd name="connsiteY1736" fmla="*/ 2536499 h 6689084"/>
              <a:gd name="connsiteX1737" fmla="*/ 5229126 w 6689088"/>
              <a:gd name="connsiteY1737" fmla="*/ 2555742 h 6689084"/>
              <a:gd name="connsiteX1738" fmla="*/ 5209884 w 6689088"/>
              <a:gd name="connsiteY1738" fmla="*/ 2536499 h 6689084"/>
              <a:gd name="connsiteX1739" fmla="*/ 5229126 w 6689088"/>
              <a:gd name="connsiteY1739" fmla="*/ 2517257 h 6689084"/>
              <a:gd name="connsiteX1740" fmla="*/ 5383074 w 6689088"/>
              <a:gd name="connsiteY1740" fmla="*/ 2514714 h 6689084"/>
              <a:gd name="connsiteX1741" fmla="*/ 5404496 w 6689088"/>
              <a:gd name="connsiteY1741" fmla="*/ 2536137 h 6689084"/>
              <a:gd name="connsiteX1742" fmla="*/ 5383074 w 6689088"/>
              <a:gd name="connsiteY1742" fmla="*/ 2557560 h 6689084"/>
              <a:gd name="connsiteX1743" fmla="*/ 5361651 w 6689088"/>
              <a:gd name="connsiteY1743" fmla="*/ 2536137 h 6689084"/>
              <a:gd name="connsiteX1744" fmla="*/ 5383074 w 6689088"/>
              <a:gd name="connsiteY1744" fmla="*/ 2514714 h 6689084"/>
              <a:gd name="connsiteX1745" fmla="*/ 5536659 w 6689088"/>
              <a:gd name="connsiteY1745" fmla="*/ 2513624 h 6689084"/>
              <a:gd name="connsiteX1746" fmla="*/ 5559534 w 6689088"/>
              <a:gd name="connsiteY1746" fmla="*/ 2536499 h 6689084"/>
              <a:gd name="connsiteX1747" fmla="*/ 5536659 w 6689088"/>
              <a:gd name="connsiteY1747" fmla="*/ 2559371 h 6689084"/>
              <a:gd name="connsiteX1748" fmla="*/ 5513784 w 6689088"/>
              <a:gd name="connsiteY1748" fmla="*/ 2536499 h 6689084"/>
              <a:gd name="connsiteX1749" fmla="*/ 5536659 w 6689088"/>
              <a:gd name="connsiteY1749" fmla="*/ 2513624 h 6689084"/>
              <a:gd name="connsiteX1750" fmla="*/ 5690602 w 6689088"/>
              <a:gd name="connsiteY1750" fmla="*/ 2511448 h 6689084"/>
              <a:gd name="connsiteX1751" fmla="*/ 5715658 w 6689088"/>
              <a:gd name="connsiteY1751" fmla="*/ 2536499 h 6689084"/>
              <a:gd name="connsiteX1752" fmla="*/ 5690602 w 6689088"/>
              <a:gd name="connsiteY1752" fmla="*/ 2561555 h 6689084"/>
              <a:gd name="connsiteX1753" fmla="*/ 5665551 w 6689088"/>
              <a:gd name="connsiteY1753" fmla="*/ 2536499 h 6689084"/>
              <a:gd name="connsiteX1754" fmla="*/ 5690602 w 6689088"/>
              <a:gd name="connsiteY1754" fmla="*/ 2511448 h 6689084"/>
              <a:gd name="connsiteX1755" fmla="*/ 5844554 w 6689088"/>
              <a:gd name="connsiteY1755" fmla="*/ 2509267 h 6689084"/>
              <a:gd name="connsiteX1756" fmla="*/ 5871786 w 6689088"/>
              <a:gd name="connsiteY1756" fmla="*/ 2536499 h 6689084"/>
              <a:gd name="connsiteX1757" fmla="*/ 5844554 w 6689088"/>
              <a:gd name="connsiteY1757" fmla="*/ 2563732 h 6689084"/>
              <a:gd name="connsiteX1758" fmla="*/ 5817322 w 6689088"/>
              <a:gd name="connsiteY1758" fmla="*/ 2536499 h 6689084"/>
              <a:gd name="connsiteX1759" fmla="*/ 5844554 w 6689088"/>
              <a:gd name="connsiteY1759" fmla="*/ 2509267 h 6689084"/>
              <a:gd name="connsiteX1760" fmla="*/ 5998136 w 6689088"/>
              <a:gd name="connsiteY1760" fmla="*/ 2506729 h 6689084"/>
              <a:gd name="connsiteX1761" fmla="*/ 6027910 w 6689088"/>
              <a:gd name="connsiteY1761" fmla="*/ 2536503 h 6689084"/>
              <a:gd name="connsiteX1762" fmla="*/ 5998136 w 6689088"/>
              <a:gd name="connsiteY1762" fmla="*/ 2566274 h 6689084"/>
              <a:gd name="connsiteX1763" fmla="*/ 5968364 w 6689088"/>
              <a:gd name="connsiteY1763" fmla="*/ 2536503 h 6689084"/>
              <a:gd name="connsiteX1764" fmla="*/ 5998136 w 6689088"/>
              <a:gd name="connsiteY1764" fmla="*/ 2506729 h 6689084"/>
              <a:gd name="connsiteX1765" fmla="*/ 6152086 w 6689088"/>
              <a:gd name="connsiteY1765" fmla="*/ 2504548 h 6689084"/>
              <a:gd name="connsiteX1766" fmla="*/ 6184038 w 6689088"/>
              <a:gd name="connsiteY1766" fmla="*/ 2536499 h 6689084"/>
              <a:gd name="connsiteX1767" fmla="*/ 6152086 w 6689088"/>
              <a:gd name="connsiteY1767" fmla="*/ 2568451 h 6689084"/>
              <a:gd name="connsiteX1768" fmla="*/ 6120135 w 6689088"/>
              <a:gd name="connsiteY1768" fmla="*/ 2536499 h 6689084"/>
              <a:gd name="connsiteX1769" fmla="*/ 6152086 w 6689088"/>
              <a:gd name="connsiteY1769" fmla="*/ 2504548 h 6689084"/>
              <a:gd name="connsiteX1770" fmla="*/ 6305668 w 6689088"/>
              <a:gd name="connsiteY1770" fmla="*/ 2502734 h 6689084"/>
              <a:gd name="connsiteX1771" fmla="*/ 6339438 w 6689088"/>
              <a:gd name="connsiteY1771" fmla="*/ 2536499 h 6689084"/>
              <a:gd name="connsiteX1772" fmla="*/ 6305668 w 6689088"/>
              <a:gd name="connsiteY1772" fmla="*/ 2570269 h 6689084"/>
              <a:gd name="connsiteX1773" fmla="*/ 6271902 w 6689088"/>
              <a:gd name="connsiteY1773" fmla="*/ 2536499 h 6689084"/>
              <a:gd name="connsiteX1774" fmla="*/ 6305668 w 6689088"/>
              <a:gd name="connsiteY1774" fmla="*/ 2502734 h 6689084"/>
              <a:gd name="connsiteX1775" fmla="*/ 6459616 w 6689088"/>
              <a:gd name="connsiteY1775" fmla="*/ 2500191 h 6689084"/>
              <a:gd name="connsiteX1776" fmla="*/ 6495924 w 6689088"/>
              <a:gd name="connsiteY1776" fmla="*/ 2536499 h 6689084"/>
              <a:gd name="connsiteX1777" fmla="*/ 6459616 w 6689088"/>
              <a:gd name="connsiteY1777" fmla="*/ 2572808 h 6689084"/>
              <a:gd name="connsiteX1778" fmla="*/ 6423307 w 6689088"/>
              <a:gd name="connsiteY1778" fmla="*/ 2536499 h 6689084"/>
              <a:gd name="connsiteX1779" fmla="*/ 6459616 w 6689088"/>
              <a:gd name="connsiteY1779" fmla="*/ 2500191 h 6689084"/>
              <a:gd name="connsiteX1780" fmla="*/ 6613200 w 6689088"/>
              <a:gd name="connsiteY1780" fmla="*/ 2497648 h 6689084"/>
              <a:gd name="connsiteX1781" fmla="*/ 6652048 w 6689088"/>
              <a:gd name="connsiteY1781" fmla="*/ 2536499 h 6689084"/>
              <a:gd name="connsiteX1782" fmla="*/ 6613200 w 6689088"/>
              <a:gd name="connsiteY1782" fmla="*/ 2575350 h 6689084"/>
              <a:gd name="connsiteX1783" fmla="*/ 6574350 w 6689088"/>
              <a:gd name="connsiteY1783" fmla="*/ 2536499 h 6689084"/>
              <a:gd name="connsiteX1784" fmla="*/ 6613200 w 6689088"/>
              <a:gd name="connsiteY1784" fmla="*/ 2497648 h 6689084"/>
              <a:gd name="connsiteX1785" fmla="*/ 3076406 w 6689088"/>
              <a:gd name="connsiteY1785" fmla="*/ 2382190 h 6689084"/>
              <a:gd name="connsiteX1786" fmla="*/ 3076768 w 6689088"/>
              <a:gd name="connsiteY1786" fmla="*/ 2382552 h 6689084"/>
              <a:gd name="connsiteX1787" fmla="*/ 3076406 w 6689088"/>
              <a:gd name="connsiteY1787" fmla="*/ 2382914 h 6689084"/>
              <a:gd name="connsiteX1788" fmla="*/ 3076043 w 6689088"/>
              <a:gd name="connsiteY1788" fmla="*/ 2382552 h 6689084"/>
              <a:gd name="connsiteX1789" fmla="*/ 3076406 w 6689088"/>
              <a:gd name="connsiteY1789" fmla="*/ 2382190 h 6689084"/>
              <a:gd name="connsiteX1790" fmla="*/ 2614925 w 6689088"/>
              <a:gd name="connsiteY1790" fmla="*/ 2382190 h 6689084"/>
              <a:gd name="connsiteX1791" fmla="*/ 2615288 w 6689088"/>
              <a:gd name="connsiteY1791" fmla="*/ 2382552 h 6689084"/>
              <a:gd name="connsiteX1792" fmla="*/ 2614925 w 6689088"/>
              <a:gd name="connsiteY1792" fmla="*/ 2382914 h 6689084"/>
              <a:gd name="connsiteX1793" fmla="*/ 2614563 w 6689088"/>
              <a:gd name="connsiteY1793" fmla="*/ 2382552 h 6689084"/>
              <a:gd name="connsiteX1794" fmla="*/ 2614925 w 6689088"/>
              <a:gd name="connsiteY1794" fmla="*/ 2382190 h 6689084"/>
              <a:gd name="connsiteX1795" fmla="*/ 2461340 w 6689088"/>
              <a:gd name="connsiteY1795" fmla="*/ 2382190 h 6689084"/>
              <a:gd name="connsiteX1796" fmla="*/ 2461702 w 6689088"/>
              <a:gd name="connsiteY1796" fmla="*/ 2382552 h 6689084"/>
              <a:gd name="connsiteX1797" fmla="*/ 2461340 w 6689088"/>
              <a:gd name="connsiteY1797" fmla="*/ 2382914 h 6689084"/>
              <a:gd name="connsiteX1798" fmla="*/ 2460978 w 6689088"/>
              <a:gd name="connsiteY1798" fmla="*/ 2382552 h 6689084"/>
              <a:gd name="connsiteX1799" fmla="*/ 2461340 w 6689088"/>
              <a:gd name="connsiteY1799" fmla="*/ 2382190 h 6689084"/>
              <a:gd name="connsiteX1800" fmla="*/ 2307393 w 6689088"/>
              <a:gd name="connsiteY1800" fmla="*/ 2381824 h 6689084"/>
              <a:gd name="connsiteX1801" fmla="*/ 2308121 w 6689088"/>
              <a:gd name="connsiteY1801" fmla="*/ 2382552 h 6689084"/>
              <a:gd name="connsiteX1802" fmla="*/ 2307393 w 6689088"/>
              <a:gd name="connsiteY1802" fmla="*/ 2383276 h 6689084"/>
              <a:gd name="connsiteX1803" fmla="*/ 2306669 w 6689088"/>
              <a:gd name="connsiteY1803" fmla="*/ 2382552 h 6689084"/>
              <a:gd name="connsiteX1804" fmla="*/ 2307393 w 6689088"/>
              <a:gd name="connsiteY1804" fmla="*/ 2381824 h 6689084"/>
              <a:gd name="connsiteX1805" fmla="*/ 3230353 w 6689088"/>
              <a:gd name="connsiteY1805" fmla="*/ 2381100 h 6689084"/>
              <a:gd name="connsiteX1806" fmla="*/ 3231805 w 6689088"/>
              <a:gd name="connsiteY1806" fmla="*/ 2382552 h 6689084"/>
              <a:gd name="connsiteX1807" fmla="*/ 3230353 w 6689088"/>
              <a:gd name="connsiteY1807" fmla="*/ 2384005 h 6689084"/>
              <a:gd name="connsiteX1808" fmla="*/ 3228900 w 6689088"/>
              <a:gd name="connsiteY1808" fmla="*/ 2382552 h 6689084"/>
              <a:gd name="connsiteX1809" fmla="*/ 3230353 w 6689088"/>
              <a:gd name="connsiteY1809" fmla="*/ 2381100 h 6689084"/>
              <a:gd name="connsiteX1810" fmla="*/ 3383938 w 6689088"/>
              <a:gd name="connsiteY1810" fmla="*/ 2380375 h 6689084"/>
              <a:gd name="connsiteX1811" fmla="*/ 3386115 w 6689088"/>
              <a:gd name="connsiteY1811" fmla="*/ 2382556 h 6689084"/>
              <a:gd name="connsiteX1812" fmla="*/ 3383938 w 6689088"/>
              <a:gd name="connsiteY1812" fmla="*/ 2384732 h 6689084"/>
              <a:gd name="connsiteX1813" fmla="*/ 3381758 w 6689088"/>
              <a:gd name="connsiteY1813" fmla="*/ 2382556 h 6689084"/>
              <a:gd name="connsiteX1814" fmla="*/ 3383938 w 6689088"/>
              <a:gd name="connsiteY1814" fmla="*/ 2380375 h 6689084"/>
              <a:gd name="connsiteX1815" fmla="*/ 3537882 w 6689088"/>
              <a:gd name="connsiteY1815" fmla="*/ 2379285 h 6689084"/>
              <a:gd name="connsiteX1816" fmla="*/ 3541148 w 6689088"/>
              <a:gd name="connsiteY1816" fmla="*/ 2382552 h 6689084"/>
              <a:gd name="connsiteX1817" fmla="*/ 3537882 w 6689088"/>
              <a:gd name="connsiteY1817" fmla="*/ 2385823 h 6689084"/>
              <a:gd name="connsiteX1818" fmla="*/ 3534615 w 6689088"/>
              <a:gd name="connsiteY1818" fmla="*/ 2382552 h 6689084"/>
              <a:gd name="connsiteX1819" fmla="*/ 3537882 w 6689088"/>
              <a:gd name="connsiteY1819" fmla="*/ 2379285 h 6689084"/>
              <a:gd name="connsiteX1820" fmla="*/ 3691467 w 6689088"/>
              <a:gd name="connsiteY1820" fmla="*/ 2378195 h 6689084"/>
              <a:gd name="connsiteX1821" fmla="*/ 3695824 w 6689088"/>
              <a:gd name="connsiteY1821" fmla="*/ 2382552 h 6689084"/>
              <a:gd name="connsiteX1822" fmla="*/ 3691467 w 6689088"/>
              <a:gd name="connsiteY1822" fmla="*/ 2386909 h 6689084"/>
              <a:gd name="connsiteX1823" fmla="*/ 3687110 w 6689088"/>
              <a:gd name="connsiteY1823" fmla="*/ 2382552 h 6689084"/>
              <a:gd name="connsiteX1824" fmla="*/ 3691467 w 6689088"/>
              <a:gd name="connsiteY1824" fmla="*/ 2378195 h 6689084"/>
              <a:gd name="connsiteX1825" fmla="*/ 3845414 w 6689088"/>
              <a:gd name="connsiteY1825" fmla="*/ 2376743 h 6689084"/>
              <a:gd name="connsiteX1826" fmla="*/ 3851224 w 6689088"/>
              <a:gd name="connsiteY1826" fmla="*/ 2382552 h 6689084"/>
              <a:gd name="connsiteX1827" fmla="*/ 3845414 w 6689088"/>
              <a:gd name="connsiteY1827" fmla="*/ 2388361 h 6689084"/>
              <a:gd name="connsiteX1828" fmla="*/ 3839605 w 6689088"/>
              <a:gd name="connsiteY1828" fmla="*/ 2382552 h 6689084"/>
              <a:gd name="connsiteX1829" fmla="*/ 3845414 w 6689088"/>
              <a:gd name="connsiteY1829" fmla="*/ 2376743 h 6689084"/>
              <a:gd name="connsiteX1830" fmla="*/ 3999000 w 6689088"/>
              <a:gd name="connsiteY1830" fmla="*/ 2375290 h 6689084"/>
              <a:gd name="connsiteX1831" fmla="*/ 4006261 w 6689088"/>
              <a:gd name="connsiteY1831" fmla="*/ 2382552 h 6689084"/>
              <a:gd name="connsiteX1832" fmla="*/ 3999000 w 6689088"/>
              <a:gd name="connsiteY1832" fmla="*/ 2389814 h 6689084"/>
              <a:gd name="connsiteX1833" fmla="*/ 3991738 w 6689088"/>
              <a:gd name="connsiteY1833" fmla="*/ 2382552 h 6689084"/>
              <a:gd name="connsiteX1834" fmla="*/ 3999000 w 6689088"/>
              <a:gd name="connsiteY1834" fmla="*/ 2375290 h 6689084"/>
              <a:gd name="connsiteX1835" fmla="*/ 4152947 w 6689088"/>
              <a:gd name="connsiteY1835" fmla="*/ 2373476 h 6689084"/>
              <a:gd name="connsiteX1836" fmla="*/ 4162027 w 6689088"/>
              <a:gd name="connsiteY1836" fmla="*/ 2382552 h 6689084"/>
              <a:gd name="connsiteX1837" fmla="*/ 4152947 w 6689088"/>
              <a:gd name="connsiteY1837" fmla="*/ 2391632 h 6689084"/>
              <a:gd name="connsiteX1838" fmla="*/ 4143871 w 6689088"/>
              <a:gd name="connsiteY1838" fmla="*/ 2382552 h 6689084"/>
              <a:gd name="connsiteX1839" fmla="*/ 4152947 w 6689088"/>
              <a:gd name="connsiteY1839" fmla="*/ 2373476 h 6689084"/>
              <a:gd name="connsiteX1840" fmla="*/ 4306532 w 6689088"/>
              <a:gd name="connsiteY1840" fmla="*/ 2372386 h 6689084"/>
              <a:gd name="connsiteX1841" fmla="*/ 4316698 w 6689088"/>
              <a:gd name="connsiteY1841" fmla="*/ 2382552 h 6689084"/>
              <a:gd name="connsiteX1842" fmla="*/ 4306532 w 6689088"/>
              <a:gd name="connsiteY1842" fmla="*/ 2392718 h 6689084"/>
              <a:gd name="connsiteX1843" fmla="*/ 4296366 w 6689088"/>
              <a:gd name="connsiteY1843" fmla="*/ 2382552 h 6689084"/>
              <a:gd name="connsiteX1844" fmla="*/ 4306532 w 6689088"/>
              <a:gd name="connsiteY1844" fmla="*/ 2372386 h 6689084"/>
              <a:gd name="connsiteX1845" fmla="*/ 4460476 w 6689088"/>
              <a:gd name="connsiteY1845" fmla="*/ 2370571 h 6689084"/>
              <a:gd name="connsiteX1846" fmla="*/ 4472460 w 6689088"/>
              <a:gd name="connsiteY1846" fmla="*/ 2382552 h 6689084"/>
              <a:gd name="connsiteX1847" fmla="*/ 4460476 w 6689088"/>
              <a:gd name="connsiteY1847" fmla="*/ 2394533 h 6689084"/>
              <a:gd name="connsiteX1848" fmla="*/ 4448495 w 6689088"/>
              <a:gd name="connsiteY1848" fmla="*/ 2382552 h 6689084"/>
              <a:gd name="connsiteX1849" fmla="*/ 4460476 w 6689088"/>
              <a:gd name="connsiteY1849" fmla="*/ 2370571 h 6689084"/>
              <a:gd name="connsiteX1850" fmla="*/ 4614065 w 6689088"/>
              <a:gd name="connsiteY1850" fmla="*/ 2368753 h 6689084"/>
              <a:gd name="connsiteX1851" fmla="*/ 4627860 w 6689088"/>
              <a:gd name="connsiteY1851" fmla="*/ 2382552 h 6689084"/>
              <a:gd name="connsiteX1852" fmla="*/ 4614065 w 6689088"/>
              <a:gd name="connsiteY1852" fmla="*/ 2396347 h 6689084"/>
              <a:gd name="connsiteX1853" fmla="*/ 4600266 w 6689088"/>
              <a:gd name="connsiteY1853" fmla="*/ 2382552 h 6689084"/>
              <a:gd name="connsiteX1854" fmla="*/ 4614065 w 6689088"/>
              <a:gd name="connsiteY1854" fmla="*/ 2368753 h 6689084"/>
              <a:gd name="connsiteX1855" fmla="*/ 4768008 w 6689088"/>
              <a:gd name="connsiteY1855" fmla="*/ 2367304 h 6689084"/>
              <a:gd name="connsiteX1856" fmla="*/ 4783260 w 6689088"/>
              <a:gd name="connsiteY1856" fmla="*/ 2382556 h 6689084"/>
              <a:gd name="connsiteX1857" fmla="*/ 4768008 w 6689088"/>
              <a:gd name="connsiteY1857" fmla="*/ 2397803 h 6689084"/>
              <a:gd name="connsiteX1858" fmla="*/ 4752761 w 6689088"/>
              <a:gd name="connsiteY1858" fmla="*/ 2382556 h 6689084"/>
              <a:gd name="connsiteX1859" fmla="*/ 4768008 w 6689088"/>
              <a:gd name="connsiteY1859" fmla="*/ 2367304 h 6689084"/>
              <a:gd name="connsiteX1860" fmla="*/ 4921594 w 6689088"/>
              <a:gd name="connsiteY1860" fmla="*/ 2365486 h 6689084"/>
              <a:gd name="connsiteX1861" fmla="*/ 4938660 w 6689088"/>
              <a:gd name="connsiteY1861" fmla="*/ 2382552 h 6689084"/>
              <a:gd name="connsiteX1862" fmla="*/ 4921594 w 6689088"/>
              <a:gd name="connsiteY1862" fmla="*/ 2399614 h 6689084"/>
              <a:gd name="connsiteX1863" fmla="*/ 4904528 w 6689088"/>
              <a:gd name="connsiteY1863" fmla="*/ 2382552 h 6689084"/>
              <a:gd name="connsiteX1864" fmla="*/ 4921594 w 6689088"/>
              <a:gd name="connsiteY1864" fmla="*/ 2365486 h 6689084"/>
              <a:gd name="connsiteX1865" fmla="*/ 5075541 w 6689088"/>
              <a:gd name="connsiteY1865" fmla="*/ 2363309 h 6689084"/>
              <a:gd name="connsiteX1866" fmla="*/ 5094784 w 6689088"/>
              <a:gd name="connsiteY1866" fmla="*/ 2382552 h 6689084"/>
              <a:gd name="connsiteX1867" fmla="*/ 5075541 w 6689088"/>
              <a:gd name="connsiteY1867" fmla="*/ 2401799 h 6689084"/>
              <a:gd name="connsiteX1868" fmla="*/ 5056298 w 6689088"/>
              <a:gd name="connsiteY1868" fmla="*/ 2382552 h 6689084"/>
              <a:gd name="connsiteX1869" fmla="*/ 5075541 w 6689088"/>
              <a:gd name="connsiteY1869" fmla="*/ 2363309 h 6689084"/>
              <a:gd name="connsiteX1870" fmla="*/ 5229126 w 6689088"/>
              <a:gd name="connsiteY1870" fmla="*/ 2361129 h 6689084"/>
              <a:gd name="connsiteX1871" fmla="*/ 5250546 w 6689088"/>
              <a:gd name="connsiteY1871" fmla="*/ 2382552 h 6689084"/>
              <a:gd name="connsiteX1872" fmla="*/ 5229126 w 6689088"/>
              <a:gd name="connsiteY1872" fmla="*/ 2403975 h 6689084"/>
              <a:gd name="connsiteX1873" fmla="*/ 5207704 w 6689088"/>
              <a:gd name="connsiteY1873" fmla="*/ 2382552 h 6689084"/>
              <a:gd name="connsiteX1874" fmla="*/ 5229126 w 6689088"/>
              <a:gd name="connsiteY1874" fmla="*/ 2361129 h 6689084"/>
              <a:gd name="connsiteX1875" fmla="*/ 5383074 w 6689088"/>
              <a:gd name="connsiteY1875" fmla="*/ 2359677 h 6689084"/>
              <a:gd name="connsiteX1876" fmla="*/ 5405946 w 6689088"/>
              <a:gd name="connsiteY1876" fmla="*/ 2382552 h 6689084"/>
              <a:gd name="connsiteX1877" fmla="*/ 5383074 w 6689088"/>
              <a:gd name="connsiteY1877" fmla="*/ 2405427 h 6689084"/>
              <a:gd name="connsiteX1878" fmla="*/ 5360198 w 6689088"/>
              <a:gd name="connsiteY1878" fmla="*/ 2382552 h 6689084"/>
              <a:gd name="connsiteX1879" fmla="*/ 5383074 w 6689088"/>
              <a:gd name="connsiteY1879" fmla="*/ 2359677 h 6689084"/>
              <a:gd name="connsiteX1880" fmla="*/ 5536656 w 6689088"/>
              <a:gd name="connsiteY1880" fmla="*/ 2357500 h 6689084"/>
              <a:gd name="connsiteX1881" fmla="*/ 5561711 w 6689088"/>
              <a:gd name="connsiteY1881" fmla="*/ 2382552 h 6689084"/>
              <a:gd name="connsiteX1882" fmla="*/ 5536656 w 6689088"/>
              <a:gd name="connsiteY1882" fmla="*/ 2407608 h 6689084"/>
              <a:gd name="connsiteX1883" fmla="*/ 5511604 w 6689088"/>
              <a:gd name="connsiteY1883" fmla="*/ 2382552 h 6689084"/>
              <a:gd name="connsiteX1884" fmla="*/ 5536656 w 6689088"/>
              <a:gd name="connsiteY1884" fmla="*/ 2357500 h 6689084"/>
              <a:gd name="connsiteX1885" fmla="*/ 5690606 w 6689088"/>
              <a:gd name="connsiteY1885" fmla="*/ 2355320 h 6689084"/>
              <a:gd name="connsiteX1886" fmla="*/ 5717838 w 6689088"/>
              <a:gd name="connsiteY1886" fmla="*/ 2382552 h 6689084"/>
              <a:gd name="connsiteX1887" fmla="*/ 5690606 w 6689088"/>
              <a:gd name="connsiteY1887" fmla="*/ 2409784 h 6689084"/>
              <a:gd name="connsiteX1888" fmla="*/ 5663374 w 6689088"/>
              <a:gd name="connsiteY1888" fmla="*/ 2382552 h 6689084"/>
              <a:gd name="connsiteX1889" fmla="*/ 5690606 w 6689088"/>
              <a:gd name="connsiteY1889" fmla="*/ 2355320 h 6689084"/>
              <a:gd name="connsiteX1890" fmla="*/ 5844554 w 6689088"/>
              <a:gd name="connsiteY1890" fmla="*/ 2352781 h 6689084"/>
              <a:gd name="connsiteX1891" fmla="*/ 5874325 w 6689088"/>
              <a:gd name="connsiteY1891" fmla="*/ 2382556 h 6689084"/>
              <a:gd name="connsiteX1892" fmla="*/ 5844554 w 6689088"/>
              <a:gd name="connsiteY1892" fmla="*/ 2412327 h 6689084"/>
              <a:gd name="connsiteX1893" fmla="*/ 5814779 w 6689088"/>
              <a:gd name="connsiteY1893" fmla="*/ 2382556 h 6689084"/>
              <a:gd name="connsiteX1894" fmla="*/ 5844554 w 6689088"/>
              <a:gd name="connsiteY1894" fmla="*/ 2352781 h 6689084"/>
              <a:gd name="connsiteX1895" fmla="*/ 5998139 w 6689088"/>
              <a:gd name="connsiteY1895" fmla="*/ 2350601 h 6689084"/>
              <a:gd name="connsiteX1896" fmla="*/ 6030090 w 6689088"/>
              <a:gd name="connsiteY1896" fmla="*/ 2382552 h 6689084"/>
              <a:gd name="connsiteX1897" fmla="*/ 5998139 w 6689088"/>
              <a:gd name="connsiteY1897" fmla="*/ 2414503 h 6689084"/>
              <a:gd name="connsiteX1898" fmla="*/ 5966188 w 6689088"/>
              <a:gd name="connsiteY1898" fmla="*/ 2382552 h 6689084"/>
              <a:gd name="connsiteX1899" fmla="*/ 5998139 w 6689088"/>
              <a:gd name="connsiteY1899" fmla="*/ 2350601 h 6689084"/>
              <a:gd name="connsiteX1900" fmla="*/ 6152086 w 6689088"/>
              <a:gd name="connsiteY1900" fmla="*/ 2348786 h 6689084"/>
              <a:gd name="connsiteX1901" fmla="*/ 6185852 w 6689088"/>
              <a:gd name="connsiteY1901" fmla="*/ 2382552 h 6689084"/>
              <a:gd name="connsiteX1902" fmla="*/ 6152086 w 6689088"/>
              <a:gd name="connsiteY1902" fmla="*/ 2416322 h 6689084"/>
              <a:gd name="connsiteX1903" fmla="*/ 6118317 w 6689088"/>
              <a:gd name="connsiteY1903" fmla="*/ 2382552 h 6689084"/>
              <a:gd name="connsiteX1904" fmla="*/ 6152086 w 6689088"/>
              <a:gd name="connsiteY1904" fmla="*/ 2348786 h 6689084"/>
              <a:gd name="connsiteX1905" fmla="*/ 6305668 w 6689088"/>
              <a:gd name="connsiteY1905" fmla="*/ 2346244 h 6689084"/>
              <a:gd name="connsiteX1906" fmla="*/ 6341976 w 6689088"/>
              <a:gd name="connsiteY1906" fmla="*/ 2382552 h 6689084"/>
              <a:gd name="connsiteX1907" fmla="*/ 6305668 w 6689088"/>
              <a:gd name="connsiteY1907" fmla="*/ 2418860 h 6689084"/>
              <a:gd name="connsiteX1908" fmla="*/ 6269360 w 6689088"/>
              <a:gd name="connsiteY1908" fmla="*/ 2382552 h 6689084"/>
              <a:gd name="connsiteX1909" fmla="*/ 6305668 w 6689088"/>
              <a:gd name="connsiteY1909" fmla="*/ 2346244 h 6689084"/>
              <a:gd name="connsiteX1910" fmla="*/ 6459619 w 6689088"/>
              <a:gd name="connsiteY1910" fmla="*/ 2343701 h 6689084"/>
              <a:gd name="connsiteX1911" fmla="*/ 6498470 w 6689088"/>
              <a:gd name="connsiteY1911" fmla="*/ 2382552 h 6689084"/>
              <a:gd name="connsiteX1912" fmla="*/ 6459619 w 6689088"/>
              <a:gd name="connsiteY1912" fmla="*/ 2421399 h 6689084"/>
              <a:gd name="connsiteX1913" fmla="*/ 6420768 w 6689088"/>
              <a:gd name="connsiteY1913" fmla="*/ 2382552 h 6689084"/>
              <a:gd name="connsiteX1914" fmla="*/ 6459619 w 6689088"/>
              <a:gd name="connsiteY1914" fmla="*/ 2343701 h 6689084"/>
              <a:gd name="connsiteX1915" fmla="*/ 6613200 w 6689088"/>
              <a:gd name="connsiteY1915" fmla="*/ 2341524 h 6689084"/>
              <a:gd name="connsiteX1916" fmla="*/ 6654232 w 6689088"/>
              <a:gd name="connsiteY1916" fmla="*/ 2382552 h 6689084"/>
              <a:gd name="connsiteX1917" fmla="*/ 6613200 w 6689088"/>
              <a:gd name="connsiteY1917" fmla="*/ 2423583 h 6689084"/>
              <a:gd name="connsiteX1918" fmla="*/ 6572173 w 6689088"/>
              <a:gd name="connsiteY1918" fmla="*/ 2382552 h 6689084"/>
              <a:gd name="connsiteX1919" fmla="*/ 6613200 w 6689088"/>
              <a:gd name="connsiteY1919" fmla="*/ 2341524 h 6689084"/>
              <a:gd name="connsiteX1920" fmla="*/ 2922458 w 6689088"/>
              <a:gd name="connsiteY1920" fmla="*/ 2228605 h 6689084"/>
              <a:gd name="connsiteX1921" fmla="*/ 2922820 w 6689088"/>
              <a:gd name="connsiteY1921" fmla="*/ 2228967 h 6689084"/>
              <a:gd name="connsiteX1922" fmla="*/ 2922458 w 6689088"/>
              <a:gd name="connsiteY1922" fmla="*/ 2229333 h 6689084"/>
              <a:gd name="connsiteX1923" fmla="*/ 2922096 w 6689088"/>
              <a:gd name="connsiteY1923" fmla="*/ 2228967 h 6689084"/>
              <a:gd name="connsiteX1924" fmla="*/ 2922458 w 6689088"/>
              <a:gd name="connsiteY1924" fmla="*/ 2228605 h 6689084"/>
              <a:gd name="connsiteX1925" fmla="*/ 2461340 w 6689088"/>
              <a:gd name="connsiteY1925" fmla="*/ 2228605 h 6689084"/>
              <a:gd name="connsiteX1926" fmla="*/ 2461702 w 6689088"/>
              <a:gd name="connsiteY1926" fmla="*/ 2228967 h 6689084"/>
              <a:gd name="connsiteX1927" fmla="*/ 2461340 w 6689088"/>
              <a:gd name="connsiteY1927" fmla="*/ 2229333 h 6689084"/>
              <a:gd name="connsiteX1928" fmla="*/ 2460978 w 6689088"/>
              <a:gd name="connsiteY1928" fmla="*/ 2228967 h 6689084"/>
              <a:gd name="connsiteX1929" fmla="*/ 2461340 w 6689088"/>
              <a:gd name="connsiteY1929" fmla="*/ 2228605 h 6689084"/>
              <a:gd name="connsiteX1930" fmla="*/ 2307393 w 6689088"/>
              <a:gd name="connsiteY1930" fmla="*/ 2228605 h 6689084"/>
              <a:gd name="connsiteX1931" fmla="*/ 2307755 w 6689088"/>
              <a:gd name="connsiteY1931" fmla="*/ 2228967 h 6689084"/>
              <a:gd name="connsiteX1932" fmla="*/ 2307393 w 6689088"/>
              <a:gd name="connsiteY1932" fmla="*/ 2229333 h 6689084"/>
              <a:gd name="connsiteX1933" fmla="*/ 2307031 w 6689088"/>
              <a:gd name="connsiteY1933" fmla="*/ 2228967 h 6689084"/>
              <a:gd name="connsiteX1934" fmla="*/ 2307393 w 6689088"/>
              <a:gd name="connsiteY1934" fmla="*/ 2228605 h 6689084"/>
              <a:gd name="connsiteX1935" fmla="*/ 2153811 w 6689088"/>
              <a:gd name="connsiteY1935" fmla="*/ 2228243 h 6689084"/>
              <a:gd name="connsiteX1936" fmla="*/ 2154536 w 6689088"/>
              <a:gd name="connsiteY1936" fmla="*/ 2228971 h 6689084"/>
              <a:gd name="connsiteX1937" fmla="*/ 2153811 w 6689088"/>
              <a:gd name="connsiteY1937" fmla="*/ 2229695 h 6689084"/>
              <a:gd name="connsiteX1938" fmla="*/ 2153083 w 6689088"/>
              <a:gd name="connsiteY1938" fmla="*/ 2228971 h 6689084"/>
              <a:gd name="connsiteX1939" fmla="*/ 2153811 w 6689088"/>
              <a:gd name="connsiteY1939" fmla="*/ 2228243 h 6689084"/>
              <a:gd name="connsiteX1940" fmla="*/ 3076406 w 6689088"/>
              <a:gd name="connsiteY1940" fmla="*/ 2227152 h 6689084"/>
              <a:gd name="connsiteX1941" fmla="*/ 3077858 w 6689088"/>
              <a:gd name="connsiteY1941" fmla="*/ 2228605 h 6689084"/>
              <a:gd name="connsiteX1942" fmla="*/ 3076406 w 6689088"/>
              <a:gd name="connsiteY1942" fmla="*/ 2230057 h 6689084"/>
              <a:gd name="connsiteX1943" fmla="*/ 3074953 w 6689088"/>
              <a:gd name="connsiteY1943" fmla="*/ 2228605 h 6689084"/>
              <a:gd name="connsiteX1944" fmla="*/ 3076406 w 6689088"/>
              <a:gd name="connsiteY1944" fmla="*/ 2227152 h 6689084"/>
              <a:gd name="connsiteX1945" fmla="*/ 3230353 w 6689088"/>
              <a:gd name="connsiteY1945" fmla="*/ 2226428 h 6689084"/>
              <a:gd name="connsiteX1946" fmla="*/ 3232530 w 6689088"/>
              <a:gd name="connsiteY1946" fmla="*/ 2228608 h 6689084"/>
              <a:gd name="connsiteX1947" fmla="*/ 3230353 w 6689088"/>
              <a:gd name="connsiteY1947" fmla="*/ 2230785 h 6689084"/>
              <a:gd name="connsiteX1948" fmla="*/ 3228172 w 6689088"/>
              <a:gd name="connsiteY1948" fmla="*/ 2228608 h 6689084"/>
              <a:gd name="connsiteX1949" fmla="*/ 3230353 w 6689088"/>
              <a:gd name="connsiteY1949" fmla="*/ 2226428 h 6689084"/>
              <a:gd name="connsiteX1950" fmla="*/ 3383934 w 6689088"/>
              <a:gd name="connsiteY1950" fmla="*/ 2225700 h 6689084"/>
              <a:gd name="connsiteX1951" fmla="*/ 3387205 w 6689088"/>
              <a:gd name="connsiteY1951" fmla="*/ 2228967 h 6689084"/>
              <a:gd name="connsiteX1952" fmla="*/ 3383934 w 6689088"/>
              <a:gd name="connsiteY1952" fmla="*/ 2232238 h 6689084"/>
              <a:gd name="connsiteX1953" fmla="*/ 3380668 w 6689088"/>
              <a:gd name="connsiteY1953" fmla="*/ 2228967 h 6689084"/>
              <a:gd name="connsiteX1954" fmla="*/ 3383934 w 6689088"/>
              <a:gd name="connsiteY1954" fmla="*/ 2225700 h 6689084"/>
              <a:gd name="connsiteX1955" fmla="*/ 3537886 w 6689088"/>
              <a:gd name="connsiteY1955" fmla="*/ 2224248 h 6689084"/>
              <a:gd name="connsiteX1956" fmla="*/ 3542242 w 6689088"/>
              <a:gd name="connsiteY1956" fmla="*/ 2228605 h 6689084"/>
              <a:gd name="connsiteX1957" fmla="*/ 3537886 w 6689088"/>
              <a:gd name="connsiteY1957" fmla="*/ 2232962 h 6689084"/>
              <a:gd name="connsiteX1958" fmla="*/ 3533528 w 6689088"/>
              <a:gd name="connsiteY1958" fmla="*/ 2228605 h 6689084"/>
              <a:gd name="connsiteX1959" fmla="*/ 3537886 w 6689088"/>
              <a:gd name="connsiteY1959" fmla="*/ 2224248 h 6689084"/>
              <a:gd name="connsiteX1960" fmla="*/ 3691467 w 6689088"/>
              <a:gd name="connsiteY1960" fmla="*/ 2222795 h 6689084"/>
              <a:gd name="connsiteX1961" fmla="*/ 3697276 w 6689088"/>
              <a:gd name="connsiteY1961" fmla="*/ 2228605 h 6689084"/>
              <a:gd name="connsiteX1962" fmla="*/ 3691467 w 6689088"/>
              <a:gd name="connsiteY1962" fmla="*/ 2234414 h 6689084"/>
              <a:gd name="connsiteX1963" fmla="*/ 3685658 w 6689088"/>
              <a:gd name="connsiteY1963" fmla="*/ 2228605 h 6689084"/>
              <a:gd name="connsiteX1964" fmla="*/ 3691467 w 6689088"/>
              <a:gd name="connsiteY1964" fmla="*/ 2222795 h 6689084"/>
              <a:gd name="connsiteX1965" fmla="*/ 3845414 w 6689088"/>
              <a:gd name="connsiteY1965" fmla="*/ 2221343 h 6689084"/>
              <a:gd name="connsiteX1966" fmla="*/ 3852676 w 6689088"/>
              <a:gd name="connsiteY1966" fmla="*/ 2228605 h 6689084"/>
              <a:gd name="connsiteX1967" fmla="*/ 3845414 w 6689088"/>
              <a:gd name="connsiteY1967" fmla="*/ 2235866 h 6689084"/>
              <a:gd name="connsiteX1968" fmla="*/ 3838153 w 6689088"/>
              <a:gd name="connsiteY1968" fmla="*/ 2228605 h 6689084"/>
              <a:gd name="connsiteX1969" fmla="*/ 3845414 w 6689088"/>
              <a:gd name="connsiteY1969" fmla="*/ 2221343 h 6689084"/>
              <a:gd name="connsiteX1970" fmla="*/ 3999000 w 6689088"/>
              <a:gd name="connsiteY1970" fmla="*/ 2219528 h 6689084"/>
              <a:gd name="connsiteX1971" fmla="*/ 4008080 w 6689088"/>
              <a:gd name="connsiteY1971" fmla="*/ 2228605 h 6689084"/>
              <a:gd name="connsiteX1972" fmla="*/ 3999000 w 6689088"/>
              <a:gd name="connsiteY1972" fmla="*/ 2237685 h 6689084"/>
              <a:gd name="connsiteX1973" fmla="*/ 3989924 w 6689088"/>
              <a:gd name="connsiteY1973" fmla="*/ 2228605 h 6689084"/>
              <a:gd name="connsiteX1974" fmla="*/ 3999000 w 6689088"/>
              <a:gd name="connsiteY1974" fmla="*/ 2219528 h 6689084"/>
              <a:gd name="connsiteX1975" fmla="*/ 4152947 w 6689088"/>
              <a:gd name="connsiteY1975" fmla="*/ 2218800 h 6689084"/>
              <a:gd name="connsiteX1976" fmla="*/ 4163114 w 6689088"/>
              <a:gd name="connsiteY1976" fmla="*/ 2228967 h 6689084"/>
              <a:gd name="connsiteX1977" fmla="*/ 4152947 w 6689088"/>
              <a:gd name="connsiteY1977" fmla="*/ 2239133 h 6689084"/>
              <a:gd name="connsiteX1978" fmla="*/ 4142780 w 6689088"/>
              <a:gd name="connsiteY1978" fmla="*/ 2228967 h 6689084"/>
              <a:gd name="connsiteX1979" fmla="*/ 4152947 w 6689088"/>
              <a:gd name="connsiteY1979" fmla="*/ 2218800 h 6689084"/>
              <a:gd name="connsiteX1980" fmla="*/ 4306532 w 6689088"/>
              <a:gd name="connsiteY1980" fmla="*/ 2216624 h 6689084"/>
              <a:gd name="connsiteX1981" fmla="*/ 4318517 w 6689088"/>
              <a:gd name="connsiteY1981" fmla="*/ 2228605 h 6689084"/>
              <a:gd name="connsiteX1982" fmla="*/ 4306532 w 6689088"/>
              <a:gd name="connsiteY1982" fmla="*/ 2240585 h 6689084"/>
              <a:gd name="connsiteX1983" fmla="*/ 4294552 w 6689088"/>
              <a:gd name="connsiteY1983" fmla="*/ 2228605 h 6689084"/>
              <a:gd name="connsiteX1984" fmla="*/ 4306532 w 6689088"/>
              <a:gd name="connsiteY1984" fmla="*/ 2216624 h 6689084"/>
              <a:gd name="connsiteX1985" fmla="*/ 4460480 w 6689088"/>
              <a:gd name="connsiteY1985" fmla="*/ 2214809 h 6689084"/>
              <a:gd name="connsiteX1986" fmla="*/ 4474275 w 6689088"/>
              <a:gd name="connsiteY1986" fmla="*/ 2228608 h 6689084"/>
              <a:gd name="connsiteX1987" fmla="*/ 4460480 w 6689088"/>
              <a:gd name="connsiteY1987" fmla="*/ 2242404 h 6689084"/>
              <a:gd name="connsiteX1988" fmla="*/ 4446680 w 6689088"/>
              <a:gd name="connsiteY1988" fmla="*/ 2228608 h 6689084"/>
              <a:gd name="connsiteX1989" fmla="*/ 4460480 w 6689088"/>
              <a:gd name="connsiteY1989" fmla="*/ 2214809 h 6689084"/>
              <a:gd name="connsiteX1990" fmla="*/ 4614061 w 6689088"/>
              <a:gd name="connsiteY1990" fmla="*/ 2213357 h 6689084"/>
              <a:gd name="connsiteX1991" fmla="*/ 4629312 w 6689088"/>
              <a:gd name="connsiteY1991" fmla="*/ 2228608 h 6689084"/>
              <a:gd name="connsiteX1992" fmla="*/ 4614061 w 6689088"/>
              <a:gd name="connsiteY1992" fmla="*/ 2243856 h 6689084"/>
              <a:gd name="connsiteX1993" fmla="*/ 4598814 w 6689088"/>
              <a:gd name="connsiteY1993" fmla="*/ 2228608 h 6689084"/>
              <a:gd name="connsiteX1994" fmla="*/ 4614061 w 6689088"/>
              <a:gd name="connsiteY1994" fmla="*/ 2213357 h 6689084"/>
              <a:gd name="connsiteX1995" fmla="*/ 4768012 w 6689088"/>
              <a:gd name="connsiteY1995" fmla="*/ 2211539 h 6689084"/>
              <a:gd name="connsiteX1996" fmla="*/ 4785078 w 6689088"/>
              <a:gd name="connsiteY1996" fmla="*/ 2228605 h 6689084"/>
              <a:gd name="connsiteX1997" fmla="*/ 4768012 w 6689088"/>
              <a:gd name="connsiteY1997" fmla="*/ 2245667 h 6689084"/>
              <a:gd name="connsiteX1998" fmla="*/ 4750946 w 6689088"/>
              <a:gd name="connsiteY1998" fmla="*/ 2228605 h 6689084"/>
              <a:gd name="connsiteX1999" fmla="*/ 4768012 w 6689088"/>
              <a:gd name="connsiteY1999" fmla="*/ 2211539 h 6689084"/>
              <a:gd name="connsiteX2000" fmla="*/ 4921594 w 6689088"/>
              <a:gd name="connsiteY2000" fmla="*/ 2209362 h 6689084"/>
              <a:gd name="connsiteX2001" fmla="*/ 4940836 w 6689088"/>
              <a:gd name="connsiteY2001" fmla="*/ 2228605 h 6689084"/>
              <a:gd name="connsiteX2002" fmla="*/ 4921594 w 6689088"/>
              <a:gd name="connsiteY2002" fmla="*/ 2247851 h 6689084"/>
              <a:gd name="connsiteX2003" fmla="*/ 4902352 w 6689088"/>
              <a:gd name="connsiteY2003" fmla="*/ 2228605 h 6689084"/>
              <a:gd name="connsiteX2004" fmla="*/ 4921594 w 6689088"/>
              <a:gd name="connsiteY2004" fmla="*/ 2209362 h 6689084"/>
              <a:gd name="connsiteX2005" fmla="*/ 5075541 w 6689088"/>
              <a:gd name="connsiteY2005" fmla="*/ 2207182 h 6689084"/>
              <a:gd name="connsiteX2006" fmla="*/ 5096964 w 6689088"/>
              <a:gd name="connsiteY2006" fmla="*/ 2228605 h 6689084"/>
              <a:gd name="connsiteX2007" fmla="*/ 5075541 w 6689088"/>
              <a:gd name="connsiteY2007" fmla="*/ 2250027 h 6689084"/>
              <a:gd name="connsiteX2008" fmla="*/ 5054118 w 6689088"/>
              <a:gd name="connsiteY2008" fmla="*/ 2228605 h 6689084"/>
              <a:gd name="connsiteX2009" fmla="*/ 5075541 w 6689088"/>
              <a:gd name="connsiteY2009" fmla="*/ 2207182 h 6689084"/>
              <a:gd name="connsiteX2010" fmla="*/ 5229126 w 6689088"/>
              <a:gd name="connsiteY2010" fmla="*/ 2205729 h 6689084"/>
              <a:gd name="connsiteX2011" fmla="*/ 5251998 w 6689088"/>
              <a:gd name="connsiteY2011" fmla="*/ 2228605 h 6689084"/>
              <a:gd name="connsiteX2012" fmla="*/ 5229126 w 6689088"/>
              <a:gd name="connsiteY2012" fmla="*/ 2251480 h 6689084"/>
              <a:gd name="connsiteX2013" fmla="*/ 5206251 w 6689088"/>
              <a:gd name="connsiteY2013" fmla="*/ 2228605 h 6689084"/>
              <a:gd name="connsiteX2014" fmla="*/ 5229126 w 6689088"/>
              <a:gd name="connsiteY2014" fmla="*/ 2205729 h 6689084"/>
              <a:gd name="connsiteX2015" fmla="*/ 5383074 w 6689088"/>
              <a:gd name="connsiteY2015" fmla="*/ 2203915 h 6689084"/>
              <a:gd name="connsiteX2016" fmla="*/ 5408126 w 6689088"/>
              <a:gd name="connsiteY2016" fmla="*/ 2228967 h 6689084"/>
              <a:gd name="connsiteX2017" fmla="*/ 5383074 w 6689088"/>
              <a:gd name="connsiteY2017" fmla="*/ 2254023 h 6689084"/>
              <a:gd name="connsiteX2018" fmla="*/ 5358022 w 6689088"/>
              <a:gd name="connsiteY2018" fmla="*/ 2228967 h 6689084"/>
              <a:gd name="connsiteX2019" fmla="*/ 5383074 w 6689088"/>
              <a:gd name="connsiteY2019" fmla="*/ 2203915 h 6689084"/>
              <a:gd name="connsiteX2020" fmla="*/ 5536659 w 6689088"/>
              <a:gd name="connsiteY2020" fmla="*/ 2201734 h 6689084"/>
              <a:gd name="connsiteX2021" fmla="*/ 5563892 w 6689088"/>
              <a:gd name="connsiteY2021" fmla="*/ 2228967 h 6689084"/>
              <a:gd name="connsiteX2022" fmla="*/ 5536659 w 6689088"/>
              <a:gd name="connsiteY2022" fmla="*/ 2256199 h 6689084"/>
              <a:gd name="connsiteX2023" fmla="*/ 5509427 w 6689088"/>
              <a:gd name="connsiteY2023" fmla="*/ 2228967 h 6689084"/>
              <a:gd name="connsiteX2024" fmla="*/ 5536659 w 6689088"/>
              <a:gd name="connsiteY2024" fmla="*/ 2201734 h 6689084"/>
              <a:gd name="connsiteX2025" fmla="*/ 5690606 w 6689088"/>
              <a:gd name="connsiteY2025" fmla="*/ 2198834 h 6689084"/>
              <a:gd name="connsiteX2026" fmla="*/ 5720378 w 6689088"/>
              <a:gd name="connsiteY2026" fmla="*/ 2228608 h 6689084"/>
              <a:gd name="connsiteX2027" fmla="*/ 5690606 w 6689088"/>
              <a:gd name="connsiteY2027" fmla="*/ 2258379 h 6689084"/>
              <a:gd name="connsiteX2028" fmla="*/ 5660832 w 6689088"/>
              <a:gd name="connsiteY2028" fmla="*/ 2228608 h 6689084"/>
              <a:gd name="connsiteX2029" fmla="*/ 5690606 w 6689088"/>
              <a:gd name="connsiteY2029" fmla="*/ 2198834 h 6689084"/>
              <a:gd name="connsiteX2030" fmla="*/ 5844554 w 6689088"/>
              <a:gd name="connsiteY2030" fmla="*/ 2197015 h 6689084"/>
              <a:gd name="connsiteX2031" fmla="*/ 5876506 w 6689088"/>
              <a:gd name="connsiteY2031" fmla="*/ 2228967 h 6689084"/>
              <a:gd name="connsiteX2032" fmla="*/ 5844554 w 6689088"/>
              <a:gd name="connsiteY2032" fmla="*/ 2260918 h 6689084"/>
              <a:gd name="connsiteX2033" fmla="*/ 5812602 w 6689088"/>
              <a:gd name="connsiteY2033" fmla="*/ 2228967 h 6689084"/>
              <a:gd name="connsiteX2034" fmla="*/ 5844554 w 6689088"/>
              <a:gd name="connsiteY2034" fmla="*/ 2197015 h 6689084"/>
              <a:gd name="connsiteX2035" fmla="*/ 5998136 w 6689088"/>
              <a:gd name="connsiteY2035" fmla="*/ 2194839 h 6689084"/>
              <a:gd name="connsiteX2036" fmla="*/ 6031901 w 6689088"/>
              <a:gd name="connsiteY2036" fmla="*/ 2228605 h 6689084"/>
              <a:gd name="connsiteX2037" fmla="*/ 5998136 w 6689088"/>
              <a:gd name="connsiteY2037" fmla="*/ 2262374 h 6689084"/>
              <a:gd name="connsiteX2038" fmla="*/ 5964370 w 6689088"/>
              <a:gd name="connsiteY2038" fmla="*/ 2228605 h 6689084"/>
              <a:gd name="connsiteX2039" fmla="*/ 5998136 w 6689088"/>
              <a:gd name="connsiteY2039" fmla="*/ 2194839 h 6689084"/>
              <a:gd name="connsiteX2040" fmla="*/ 6152083 w 6689088"/>
              <a:gd name="connsiteY2040" fmla="*/ 2192296 h 6689084"/>
              <a:gd name="connsiteX2041" fmla="*/ 6188391 w 6689088"/>
              <a:gd name="connsiteY2041" fmla="*/ 2228605 h 6689084"/>
              <a:gd name="connsiteX2042" fmla="*/ 6152083 w 6689088"/>
              <a:gd name="connsiteY2042" fmla="*/ 2264913 h 6689084"/>
              <a:gd name="connsiteX2043" fmla="*/ 6115774 w 6689088"/>
              <a:gd name="connsiteY2043" fmla="*/ 2228605 h 6689084"/>
              <a:gd name="connsiteX2044" fmla="*/ 6152083 w 6689088"/>
              <a:gd name="connsiteY2044" fmla="*/ 2192296 h 6689084"/>
              <a:gd name="connsiteX2045" fmla="*/ 6305672 w 6689088"/>
              <a:gd name="connsiteY2045" fmla="*/ 2189754 h 6689084"/>
              <a:gd name="connsiteX2046" fmla="*/ 6344522 w 6689088"/>
              <a:gd name="connsiteY2046" fmla="*/ 2228605 h 6689084"/>
              <a:gd name="connsiteX2047" fmla="*/ 6305672 w 6689088"/>
              <a:gd name="connsiteY2047" fmla="*/ 2267452 h 6689084"/>
              <a:gd name="connsiteX2048" fmla="*/ 6266821 w 6689088"/>
              <a:gd name="connsiteY2048" fmla="*/ 2228605 h 6689084"/>
              <a:gd name="connsiteX2049" fmla="*/ 6305672 w 6689088"/>
              <a:gd name="connsiteY2049" fmla="*/ 2189754 h 6689084"/>
              <a:gd name="connsiteX2050" fmla="*/ 6459616 w 6689088"/>
              <a:gd name="connsiteY2050" fmla="*/ 2187577 h 6689084"/>
              <a:gd name="connsiteX2051" fmla="*/ 6500646 w 6689088"/>
              <a:gd name="connsiteY2051" fmla="*/ 2228605 h 6689084"/>
              <a:gd name="connsiteX2052" fmla="*/ 6459616 w 6689088"/>
              <a:gd name="connsiteY2052" fmla="*/ 2269632 h 6689084"/>
              <a:gd name="connsiteX2053" fmla="*/ 6418588 w 6689088"/>
              <a:gd name="connsiteY2053" fmla="*/ 2228605 h 6689084"/>
              <a:gd name="connsiteX2054" fmla="*/ 6459616 w 6689088"/>
              <a:gd name="connsiteY2054" fmla="*/ 2187577 h 6689084"/>
              <a:gd name="connsiteX2055" fmla="*/ 6613200 w 6689088"/>
              <a:gd name="connsiteY2055" fmla="*/ 2185035 h 6689084"/>
              <a:gd name="connsiteX2056" fmla="*/ 6656770 w 6689088"/>
              <a:gd name="connsiteY2056" fmla="*/ 2228605 h 6689084"/>
              <a:gd name="connsiteX2057" fmla="*/ 6613200 w 6689088"/>
              <a:gd name="connsiteY2057" fmla="*/ 2272175 h 6689084"/>
              <a:gd name="connsiteX2058" fmla="*/ 6569630 w 6689088"/>
              <a:gd name="connsiteY2058" fmla="*/ 2228605 h 6689084"/>
              <a:gd name="connsiteX2059" fmla="*/ 6613200 w 6689088"/>
              <a:gd name="connsiteY2059" fmla="*/ 2185035 h 6689084"/>
              <a:gd name="connsiteX2060" fmla="*/ 2768873 w 6689088"/>
              <a:gd name="connsiteY2060" fmla="*/ 2074657 h 6689084"/>
              <a:gd name="connsiteX2061" fmla="*/ 2769235 w 6689088"/>
              <a:gd name="connsiteY2061" fmla="*/ 2075019 h 6689084"/>
              <a:gd name="connsiteX2062" fmla="*/ 2768873 w 6689088"/>
              <a:gd name="connsiteY2062" fmla="*/ 2075385 h 6689084"/>
              <a:gd name="connsiteX2063" fmla="*/ 2768511 w 6689088"/>
              <a:gd name="connsiteY2063" fmla="*/ 2075019 h 6689084"/>
              <a:gd name="connsiteX2064" fmla="*/ 2768873 w 6689088"/>
              <a:gd name="connsiteY2064" fmla="*/ 2074657 h 6689084"/>
              <a:gd name="connsiteX2065" fmla="*/ 2307393 w 6689088"/>
              <a:gd name="connsiteY2065" fmla="*/ 2074657 h 6689084"/>
              <a:gd name="connsiteX2066" fmla="*/ 2307755 w 6689088"/>
              <a:gd name="connsiteY2066" fmla="*/ 2075019 h 6689084"/>
              <a:gd name="connsiteX2067" fmla="*/ 2307393 w 6689088"/>
              <a:gd name="connsiteY2067" fmla="*/ 2075385 h 6689084"/>
              <a:gd name="connsiteX2068" fmla="*/ 2307031 w 6689088"/>
              <a:gd name="connsiteY2068" fmla="*/ 2075019 h 6689084"/>
              <a:gd name="connsiteX2069" fmla="*/ 2307393 w 6689088"/>
              <a:gd name="connsiteY2069" fmla="*/ 2074657 h 6689084"/>
              <a:gd name="connsiteX2070" fmla="*/ 2153808 w 6689088"/>
              <a:gd name="connsiteY2070" fmla="*/ 2074657 h 6689084"/>
              <a:gd name="connsiteX2071" fmla="*/ 2154170 w 6689088"/>
              <a:gd name="connsiteY2071" fmla="*/ 2075019 h 6689084"/>
              <a:gd name="connsiteX2072" fmla="*/ 2153808 w 6689088"/>
              <a:gd name="connsiteY2072" fmla="*/ 2075385 h 6689084"/>
              <a:gd name="connsiteX2073" fmla="*/ 2153445 w 6689088"/>
              <a:gd name="connsiteY2073" fmla="*/ 2075019 h 6689084"/>
              <a:gd name="connsiteX2074" fmla="*/ 2153808 w 6689088"/>
              <a:gd name="connsiteY2074" fmla="*/ 2074657 h 6689084"/>
              <a:gd name="connsiteX2075" fmla="*/ 1999864 w 6689088"/>
              <a:gd name="connsiteY2075" fmla="*/ 2074295 h 6689084"/>
              <a:gd name="connsiteX2076" fmla="*/ 2000588 w 6689088"/>
              <a:gd name="connsiteY2076" fmla="*/ 2075023 h 6689084"/>
              <a:gd name="connsiteX2077" fmla="*/ 1999864 w 6689088"/>
              <a:gd name="connsiteY2077" fmla="*/ 2075747 h 6689084"/>
              <a:gd name="connsiteX2078" fmla="*/ 1999136 w 6689088"/>
              <a:gd name="connsiteY2078" fmla="*/ 2075023 h 6689084"/>
              <a:gd name="connsiteX2079" fmla="*/ 1999864 w 6689088"/>
              <a:gd name="connsiteY2079" fmla="*/ 2074295 h 6689084"/>
              <a:gd name="connsiteX2080" fmla="*/ 2922458 w 6689088"/>
              <a:gd name="connsiteY2080" fmla="*/ 2073205 h 6689084"/>
              <a:gd name="connsiteX2081" fmla="*/ 2923910 w 6689088"/>
              <a:gd name="connsiteY2081" fmla="*/ 2074657 h 6689084"/>
              <a:gd name="connsiteX2082" fmla="*/ 2922458 w 6689088"/>
              <a:gd name="connsiteY2082" fmla="*/ 2076110 h 6689084"/>
              <a:gd name="connsiteX2083" fmla="*/ 2921006 w 6689088"/>
              <a:gd name="connsiteY2083" fmla="*/ 2074657 h 6689084"/>
              <a:gd name="connsiteX2084" fmla="*/ 2922458 w 6689088"/>
              <a:gd name="connsiteY2084" fmla="*/ 2073205 h 6689084"/>
              <a:gd name="connsiteX2085" fmla="*/ 3076406 w 6689088"/>
              <a:gd name="connsiteY2085" fmla="*/ 2072843 h 6689084"/>
              <a:gd name="connsiteX2086" fmla="*/ 3078582 w 6689088"/>
              <a:gd name="connsiteY2086" fmla="*/ 2075023 h 6689084"/>
              <a:gd name="connsiteX2087" fmla="*/ 3076406 w 6689088"/>
              <a:gd name="connsiteY2087" fmla="*/ 2077200 h 6689084"/>
              <a:gd name="connsiteX2088" fmla="*/ 3074225 w 6689088"/>
              <a:gd name="connsiteY2088" fmla="*/ 2075023 h 6689084"/>
              <a:gd name="connsiteX2089" fmla="*/ 3076406 w 6689088"/>
              <a:gd name="connsiteY2089" fmla="*/ 2072843 h 6689084"/>
              <a:gd name="connsiteX2090" fmla="*/ 3230353 w 6689088"/>
              <a:gd name="connsiteY2090" fmla="*/ 2071753 h 6689084"/>
              <a:gd name="connsiteX2091" fmla="*/ 3233620 w 6689088"/>
              <a:gd name="connsiteY2091" fmla="*/ 2075019 h 6689084"/>
              <a:gd name="connsiteX2092" fmla="*/ 3230353 w 6689088"/>
              <a:gd name="connsiteY2092" fmla="*/ 2078290 h 6689084"/>
              <a:gd name="connsiteX2093" fmla="*/ 3227086 w 6689088"/>
              <a:gd name="connsiteY2093" fmla="*/ 2075019 h 6689084"/>
              <a:gd name="connsiteX2094" fmla="*/ 3230353 w 6689088"/>
              <a:gd name="connsiteY2094" fmla="*/ 2071753 h 6689084"/>
              <a:gd name="connsiteX2095" fmla="*/ 3383934 w 6689088"/>
              <a:gd name="connsiteY2095" fmla="*/ 2070662 h 6689084"/>
              <a:gd name="connsiteX2096" fmla="*/ 3388291 w 6689088"/>
              <a:gd name="connsiteY2096" fmla="*/ 2075019 h 6689084"/>
              <a:gd name="connsiteX2097" fmla="*/ 3383934 w 6689088"/>
              <a:gd name="connsiteY2097" fmla="*/ 2079376 h 6689084"/>
              <a:gd name="connsiteX2098" fmla="*/ 3379577 w 6689088"/>
              <a:gd name="connsiteY2098" fmla="*/ 2075019 h 6689084"/>
              <a:gd name="connsiteX2099" fmla="*/ 3383934 w 6689088"/>
              <a:gd name="connsiteY2099" fmla="*/ 2070662 h 6689084"/>
              <a:gd name="connsiteX2100" fmla="*/ 3537886 w 6689088"/>
              <a:gd name="connsiteY2100" fmla="*/ 2069210 h 6689084"/>
              <a:gd name="connsiteX2101" fmla="*/ 3543695 w 6689088"/>
              <a:gd name="connsiteY2101" fmla="*/ 2075019 h 6689084"/>
              <a:gd name="connsiteX2102" fmla="*/ 3537886 w 6689088"/>
              <a:gd name="connsiteY2102" fmla="*/ 2080829 h 6689084"/>
              <a:gd name="connsiteX2103" fmla="*/ 3532076 w 6689088"/>
              <a:gd name="connsiteY2103" fmla="*/ 2075019 h 6689084"/>
              <a:gd name="connsiteX2104" fmla="*/ 3537886 w 6689088"/>
              <a:gd name="connsiteY2104" fmla="*/ 2069210 h 6689084"/>
              <a:gd name="connsiteX2105" fmla="*/ 3691467 w 6689088"/>
              <a:gd name="connsiteY2105" fmla="*/ 2067758 h 6689084"/>
              <a:gd name="connsiteX2106" fmla="*/ 3698728 w 6689088"/>
              <a:gd name="connsiteY2106" fmla="*/ 2075019 h 6689084"/>
              <a:gd name="connsiteX2107" fmla="*/ 3691467 w 6689088"/>
              <a:gd name="connsiteY2107" fmla="*/ 2082281 h 6689084"/>
              <a:gd name="connsiteX2108" fmla="*/ 3684205 w 6689088"/>
              <a:gd name="connsiteY2108" fmla="*/ 2075019 h 6689084"/>
              <a:gd name="connsiteX2109" fmla="*/ 3691467 w 6689088"/>
              <a:gd name="connsiteY2109" fmla="*/ 2067758 h 6689084"/>
              <a:gd name="connsiteX2110" fmla="*/ 3845414 w 6689088"/>
              <a:gd name="connsiteY2110" fmla="*/ 2065943 h 6689084"/>
              <a:gd name="connsiteX2111" fmla="*/ 3854494 w 6689088"/>
              <a:gd name="connsiteY2111" fmla="*/ 2075019 h 6689084"/>
              <a:gd name="connsiteX2112" fmla="*/ 3845414 w 6689088"/>
              <a:gd name="connsiteY2112" fmla="*/ 2084099 h 6689084"/>
              <a:gd name="connsiteX2113" fmla="*/ 3836338 w 6689088"/>
              <a:gd name="connsiteY2113" fmla="*/ 2075019 h 6689084"/>
              <a:gd name="connsiteX2114" fmla="*/ 3845414 w 6689088"/>
              <a:gd name="connsiteY2114" fmla="*/ 2065943 h 6689084"/>
              <a:gd name="connsiteX2115" fmla="*/ 3999000 w 6689088"/>
              <a:gd name="connsiteY2115" fmla="*/ 2064853 h 6689084"/>
              <a:gd name="connsiteX2116" fmla="*/ 4009166 w 6689088"/>
              <a:gd name="connsiteY2116" fmla="*/ 2075019 h 6689084"/>
              <a:gd name="connsiteX2117" fmla="*/ 3999000 w 6689088"/>
              <a:gd name="connsiteY2117" fmla="*/ 2085186 h 6689084"/>
              <a:gd name="connsiteX2118" fmla="*/ 3988833 w 6689088"/>
              <a:gd name="connsiteY2118" fmla="*/ 2075019 h 6689084"/>
              <a:gd name="connsiteX2119" fmla="*/ 3999000 w 6689088"/>
              <a:gd name="connsiteY2119" fmla="*/ 2064853 h 6689084"/>
              <a:gd name="connsiteX2120" fmla="*/ 4152947 w 6689088"/>
              <a:gd name="connsiteY2120" fmla="*/ 2063038 h 6689084"/>
              <a:gd name="connsiteX2121" fmla="*/ 4164932 w 6689088"/>
              <a:gd name="connsiteY2121" fmla="*/ 2075019 h 6689084"/>
              <a:gd name="connsiteX2122" fmla="*/ 4152947 w 6689088"/>
              <a:gd name="connsiteY2122" fmla="*/ 2087000 h 6689084"/>
              <a:gd name="connsiteX2123" fmla="*/ 4140966 w 6689088"/>
              <a:gd name="connsiteY2123" fmla="*/ 2075019 h 6689084"/>
              <a:gd name="connsiteX2124" fmla="*/ 4152947 w 6689088"/>
              <a:gd name="connsiteY2124" fmla="*/ 2063038 h 6689084"/>
              <a:gd name="connsiteX2125" fmla="*/ 4306528 w 6689088"/>
              <a:gd name="connsiteY2125" fmla="*/ 2061224 h 6689084"/>
              <a:gd name="connsiteX2126" fmla="*/ 4320328 w 6689088"/>
              <a:gd name="connsiteY2126" fmla="*/ 2075023 h 6689084"/>
              <a:gd name="connsiteX2127" fmla="*/ 4306528 w 6689088"/>
              <a:gd name="connsiteY2127" fmla="*/ 2088818 h 6689084"/>
              <a:gd name="connsiteX2128" fmla="*/ 4292733 w 6689088"/>
              <a:gd name="connsiteY2128" fmla="*/ 2075023 h 6689084"/>
              <a:gd name="connsiteX2129" fmla="*/ 4306528 w 6689088"/>
              <a:gd name="connsiteY2129" fmla="*/ 2061224 h 6689084"/>
              <a:gd name="connsiteX2130" fmla="*/ 4460476 w 6689088"/>
              <a:gd name="connsiteY2130" fmla="*/ 2059772 h 6689084"/>
              <a:gd name="connsiteX2131" fmla="*/ 4475728 w 6689088"/>
              <a:gd name="connsiteY2131" fmla="*/ 2075023 h 6689084"/>
              <a:gd name="connsiteX2132" fmla="*/ 4460476 w 6689088"/>
              <a:gd name="connsiteY2132" fmla="*/ 2090271 h 6689084"/>
              <a:gd name="connsiteX2133" fmla="*/ 4445228 w 6689088"/>
              <a:gd name="connsiteY2133" fmla="*/ 2075023 h 6689084"/>
              <a:gd name="connsiteX2134" fmla="*/ 4460476 w 6689088"/>
              <a:gd name="connsiteY2134" fmla="*/ 2059772 h 6689084"/>
              <a:gd name="connsiteX2135" fmla="*/ 4614065 w 6689088"/>
              <a:gd name="connsiteY2135" fmla="*/ 2057957 h 6689084"/>
              <a:gd name="connsiteX2136" fmla="*/ 4631131 w 6689088"/>
              <a:gd name="connsiteY2136" fmla="*/ 2075023 h 6689084"/>
              <a:gd name="connsiteX2137" fmla="*/ 4614065 w 6689088"/>
              <a:gd name="connsiteY2137" fmla="*/ 2092085 h 6689084"/>
              <a:gd name="connsiteX2138" fmla="*/ 4596999 w 6689088"/>
              <a:gd name="connsiteY2138" fmla="*/ 2075023 h 6689084"/>
              <a:gd name="connsiteX2139" fmla="*/ 4614065 w 6689088"/>
              <a:gd name="connsiteY2139" fmla="*/ 2057957 h 6689084"/>
              <a:gd name="connsiteX2140" fmla="*/ 4768008 w 6689088"/>
              <a:gd name="connsiteY2140" fmla="*/ 2055777 h 6689084"/>
              <a:gd name="connsiteX2141" fmla="*/ 4787255 w 6689088"/>
              <a:gd name="connsiteY2141" fmla="*/ 2075019 h 6689084"/>
              <a:gd name="connsiteX2142" fmla="*/ 4768008 w 6689088"/>
              <a:gd name="connsiteY2142" fmla="*/ 2094266 h 6689084"/>
              <a:gd name="connsiteX2143" fmla="*/ 4748766 w 6689088"/>
              <a:gd name="connsiteY2143" fmla="*/ 2075019 h 6689084"/>
              <a:gd name="connsiteX2144" fmla="*/ 4768008 w 6689088"/>
              <a:gd name="connsiteY2144" fmla="*/ 2055777 h 6689084"/>
              <a:gd name="connsiteX2145" fmla="*/ 4921594 w 6689088"/>
              <a:gd name="connsiteY2145" fmla="*/ 2053600 h 6689084"/>
              <a:gd name="connsiteX2146" fmla="*/ 4943013 w 6689088"/>
              <a:gd name="connsiteY2146" fmla="*/ 2075023 h 6689084"/>
              <a:gd name="connsiteX2147" fmla="*/ 4921594 w 6689088"/>
              <a:gd name="connsiteY2147" fmla="*/ 2096446 h 6689084"/>
              <a:gd name="connsiteX2148" fmla="*/ 4900171 w 6689088"/>
              <a:gd name="connsiteY2148" fmla="*/ 2075023 h 6689084"/>
              <a:gd name="connsiteX2149" fmla="*/ 4921594 w 6689088"/>
              <a:gd name="connsiteY2149" fmla="*/ 2053600 h 6689084"/>
              <a:gd name="connsiteX2150" fmla="*/ 5075545 w 6689088"/>
              <a:gd name="connsiteY2150" fmla="*/ 2052148 h 6689084"/>
              <a:gd name="connsiteX2151" fmla="*/ 5098416 w 6689088"/>
              <a:gd name="connsiteY2151" fmla="*/ 2075023 h 6689084"/>
              <a:gd name="connsiteX2152" fmla="*/ 5075545 w 6689088"/>
              <a:gd name="connsiteY2152" fmla="*/ 2097895 h 6689084"/>
              <a:gd name="connsiteX2153" fmla="*/ 5052670 w 6689088"/>
              <a:gd name="connsiteY2153" fmla="*/ 2075023 h 6689084"/>
              <a:gd name="connsiteX2154" fmla="*/ 5075545 w 6689088"/>
              <a:gd name="connsiteY2154" fmla="*/ 2052148 h 6689084"/>
              <a:gd name="connsiteX2155" fmla="*/ 5229126 w 6689088"/>
              <a:gd name="connsiteY2155" fmla="*/ 2049968 h 6689084"/>
              <a:gd name="connsiteX2156" fmla="*/ 5254182 w 6689088"/>
              <a:gd name="connsiteY2156" fmla="*/ 2075019 h 6689084"/>
              <a:gd name="connsiteX2157" fmla="*/ 5229126 w 6689088"/>
              <a:gd name="connsiteY2157" fmla="*/ 2100075 h 6689084"/>
              <a:gd name="connsiteX2158" fmla="*/ 5204074 w 6689088"/>
              <a:gd name="connsiteY2158" fmla="*/ 2075019 h 6689084"/>
              <a:gd name="connsiteX2159" fmla="*/ 5229126 w 6689088"/>
              <a:gd name="connsiteY2159" fmla="*/ 2049968 h 6689084"/>
              <a:gd name="connsiteX2160" fmla="*/ 5383074 w 6689088"/>
              <a:gd name="connsiteY2160" fmla="*/ 2047791 h 6689084"/>
              <a:gd name="connsiteX2161" fmla="*/ 5410306 w 6689088"/>
              <a:gd name="connsiteY2161" fmla="*/ 2075023 h 6689084"/>
              <a:gd name="connsiteX2162" fmla="*/ 5383074 w 6689088"/>
              <a:gd name="connsiteY2162" fmla="*/ 2102256 h 6689084"/>
              <a:gd name="connsiteX2163" fmla="*/ 5355842 w 6689088"/>
              <a:gd name="connsiteY2163" fmla="*/ 2075023 h 6689084"/>
              <a:gd name="connsiteX2164" fmla="*/ 5383074 w 6689088"/>
              <a:gd name="connsiteY2164" fmla="*/ 2047791 h 6689084"/>
              <a:gd name="connsiteX2165" fmla="*/ 5537018 w 6689088"/>
              <a:gd name="connsiteY2165" fmla="*/ 2045248 h 6689084"/>
              <a:gd name="connsiteX2166" fmla="*/ 5566792 w 6689088"/>
              <a:gd name="connsiteY2166" fmla="*/ 2075023 h 6689084"/>
              <a:gd name="connsiteX2167" fmla="*/ 5537018 w 6689088"/>
              <a:gd name="connsiteY2167" fmla="*/ 2104794 h 6689084"/>
              <a:gd name="connsiteX2168" fmla="*/ 5507246 w 6689088"/>
              <a:gd name="connsiteY2168" fmla="*/ 2075023 h 6689084"/>
              <a:gd name="connsiteX2169" fmla="*/ 5537018 w 6689088"/>
              <a:gd name="connsiteY2169" fmla="*/ 2045248 h 6689084"/>
              <a:gd name="connsiteX2170" fmla="*/ 5690606 w 6689088"/>
              <a:gd name="connsiteY2170" fmla="*/ 2043068 h 6689084"/>
              <a:gd name="connsiteX2171" fmla="*/ 5722558 w 6689088"/>
              <a:gd name="connsiteY2171" fmla="*/ 2075019 h 6689084"/>
              <a:gd name="connsiteX2172" fmla="*/ 5690606 w 6689088"/>
              <a:gd name="connsiteY2172" fmla="*/ 2106971 h 6689084"/>
              <a:gd name="connsiteX2173" fmla="*/ 5658655 w 6689088"/>
              <a:gd name="connsiteY2173" fmla="*/ 2075019 h 6689084"/>
              <a:gd name="connsiteX2174" fmla="*/ 5690606 w 6689088"/>
              <a:gd name="connsiteY2174" fmla="*/ 2043068 h 6689084"/>
              <a:gd name="connsiteX2175" fmla="*/ 5844554 w 6689088"/>
              <a:gd name="connsiteY2175" fmla="*/ 2041254 h 6689084"/>
              <a:gd name="connsiteX2176" fmla="*/ 5878320 w 6689088"/>
              <a:gd name="connsiteY2176" fmla="*/ 2075019 h 6689084"/>
              <a:gd name="connsiteX2177" fmla="*/ 5844554 w 6689088"/>
              <a:gd name="connsiteY2177" fmla="*/ 2108789 h 6689084"/>
              <a:gd name="connsiteX2178" fmla="*/ 5810788 w 6689088"/>
              <a:gd name="connsiteY2178" fmla="*/ 2075019 h 6689084"/>
              <a:gd name="connsiteX2179" fmla="*/ 5844554 w 6689088"/>
              <a:gd name="connsiteY2179" fmla="*/ 2041254 h 6689084"/>
              <a:gd name="connsiteX2180" fmla="*/ 5998136 w 6689088"/>
              <a:gd name="connsiteY2180" fmla="*/ 2038711 h 6689084"/>
              <a:gd name="connsiteX2181" fmla="*/ 6034444 w 6689088"/>
              <a:gd name="connsiteY2181" fmla="*/ 2075019 h 6689084"/>
              <a:gd name="connsiteX2182" fmla="*/ 5998136 w 6689088"/>
              <a:gd name="connsiteY2182" fmla="*/ 2111328 h 6689084"/>
              <a:gd name="connsiteX2183" fmla="*/ 5961827 w 6689088"/>
              <a:gd name="connsiteY2183" fmla="*/ 2075019 h 6689084"/>
              <a:gd name="connsiteX2184" fmla="*/ 5998136 w 6689088"/>
              <a:gd name="connsiteY2184" fmla="*/ 2038711 h 6689084"/>
              <a:gd name="connsiteX2185" fmla="*/ 6152083 w 6689088"/>
              <a:gd name="connsiteY2185" fmla="*/ 2036172 h 6689084"/>
              <a:gd name="connsiteX2186" fmla="*/ 6190934 w 6689088"/>
              <a:gd name="connsiteY2186" fmla="*/ 2075023 h 6689084"/>
              <a:gd name="connsiteX2187" fmla="*/ 6152083 w 6689088"/>
              <a:gd name="connsiteY2187" fmla="*/ 2113870 h 6689084"/>
              <a:gd name="connsiteX2188" fmla="*/ 6113236 w 6689088"/>
              <a:gd name="connsiteY2188" fmla="*/ 2075023 h 6689084"/>
              <a:gd name="connsiteX2189" fmla="*/ 6152083 w 6689088"/>
              <a:gd name="connsiteY2189" fmla="*/ 2036172 h 6689084"/>
              <a:gd name="connsiteX2190" fmla="*/ 6305668 w 6689088"/>
              <a:gd name="connsiteY2190" fmla="*/ 2033992 h 6689084"/>
              <a:gd name="connsiteX2191" fmla="*/ 6346700 w 6689088"/>
              <a:gd name="connsiteY2191" fmla="*/ 2075019 h 6689084"/>
              <a:gd name="connsiteX2192" fmla="*/ 6305668 w 6689088"/>
              <a:gd name="connsiteY2192" fmla="*/ 2116047 h 6689084"/>
              <a:gd name="connsiteX2193" fmla="*/ 6264640 w 6689088"/>
              <a:gd name="connsiteY2193" fmla="*/ 2075019 h 6689084"/>
              <a:gd name="connsiteX2194" fmla="*/ 6305668 w 6689088"/>
              <a:gd name="connsiteY2194" fmla="*/ 2033992 h 6689084"/>
              <a:gd name="connsiteX2195" fmla="*/ 6459616 w 6689088"/>
              <a:gd name="connsiteY2195" fmla="*/ 2031449 h 6689084"/>
              <a:gd name="connsiteX2196" fmla="*/ 6503186 w 6689088"/>
              <a:gd name="connsiteY2196" fmla="*/ 2075019 h 6689084"/>
              <a:gd name="connsiteX2197" fmla="*/ 6459616 w 6689088"/>
              <a:gd name="connsiteY2197" fmla="*/ 2118590 h 6689084"/>
              <a:gd name="connsiteX2198" fmla="*/ 6416046 w 6689088"/>
              <a:gd name="connsiteY2198" fmla="*/ 2075019 h 6689084"/>
              <a:gd name="connsiteX2199" fmla="*/ 6459616 w 6689088"/>
              <a:gd name="connsiteY2199" fmla="*/ 2031449 h 6689084"/>
              <a:gd name="connsiteX2200" fmla="*/ 6613200 w 6689088"/>
              <a:gd name="connsiteY2200" fmla="*/ 2028911 h 6689084"/>
              <a:gd name="connsiteX2201" fmla="*/ 6659313 w 6689088"/>
              <a:gd name="connsiteY2201" fmla="*/ 2075023 h 6689084"/>
              <a:gd name="connsiteX2202" fmla="*/ 6613200 w 6689088"/>
              <a:gd name="connsiteY2202" fmla="*/ 2121136 h 6689084"/>
              <a:gd name="connsiteX2203" fmla="*/ 6567088 w 6689088"/>
              <a:gd name="connsiteY2203" fmla="*/ 2075023 h 6689084"/>
              <a:gd name="connsiteX2204" fmla="*/ 6613200 w 6689088"/>
              <a:gd name="connsiteY2204" fmla="*/ 2028911 h 6689084"/>
              <a:gd name="connsiteX2205" fmla="*/ 2614925 w 6689088"/>
              <a:gd name="connsiteY2205" fmla="*/ 1921072 h 6689084"/>
              <a:gd name="connsiteX2206" fmla="*/ 2615288 w 6689088"/>
              <a:gd name="connsiteY2206" fmla="*/ 1921434 h 6689084"/>
              <a:gd name="connsiteX2207" fmla="*/ 2614925 w 6689088"/>
              <a:gd name="connsiteY2207" fmla="*/ 1921800 h 6689084"/>
              <a:gd name="connsiteX2208" fmla="*/ 2614563 w 6689088"/>
              <a:gd name="connsiteY2208" fmla="*/ 1921434 h 6689084"/>
              <a:gd name="connsiteX2209" fmla="*/ 2614925 w 6689088"/>
              <a:gd name="connsiteY2209" fmla="*/ 1921072 h 6689084"/>
              <a:gd name="connsiteX2210" fmla="*/ 2153808 w 6689088"/>
              <a:gd name="connsiteY2210" fmla="*/ 1921072 h 6689084"/>
              <a:gd name="connsiteX2211" fmla="*/ 2154170 w 6689088"/>
              <a:gd name="connsiteY2211" fmla="*/ 1921434 h 6689084"/>
              <a:gd name="connsiteX2212" fmla="*/ 2153808 w 6689088"/>
              <a:gd name="connsiteY2212" fmla="*/ 1921800 h 6689084"/>
              <a:gd name="connsiteX2213" fmla="*/ 2153445 w 6689088"/>
              <a:gd name="connsiteY2213" fmla="*/ 1921434 h 6689084"/>
              <a:gd name="connsiteX2214" fmla="*/ 2153808 w 6689088"/>
              <a:gd name="connsiteY2214" fmla="*/ 1921072 h 6689084"/>
              <a:gd name="connsiteX2215" fmla="*/ 1999860 w 6689088"/>
              <a:gd name="connsiteY2215" fmla="*/ 1921072 h 6689084"/>
              <a:gd name="connsiteX2216" fmla="*/ 2000222 w 6689088"/>
              <a:gd name="connsiteY2216" fmla="*/ 1921434 h 6689084"/>
              <a:gd name="connsiteX2217" fmla="*/ 1999860 w 6689088"/>
              <a:gd name="connsiteY2217" fmla="*/ 1921800 h 6689084"/>
              <a:gd name="connsiteX2218" fmla="*/ 1999498 w 6689088"/>
              <a:gd name="connsiteY2218" fmla="*/ 1921434 h 6689084"/>
              <a:gd name="connsiteX2219" fmla="*/ 1999860 w 6689088"/>
              <a:gd name="connsiteY2219" fmla="*/ 1921072 h 6689084"/>
              <a:gd name="connsiteX2220" fmla="*/ 1846279 w 6689088"/>
              <a:gd name="connsiteY2220" fmla="*/ 1920710 h 6689084"/>
              <a:gd name="connsiteX2221" fmla="*/ 1847003 w 6689088"/>
              <a:gd name="connsiteY2221" fmla="*/ 1921434 h 6689084"/>
              <a:gd name="connsiteX2222" fmla="*/ 1846279 w 6689088"/>
              <a:gd name="connsiteY2222" fmla="*/ 1922162 h 6689084"/>
              <a:gd name="connsiteX2223" fmla="*/ 1845551 w 6689088"/>
              <a:gd name="connsiteY2223" fmla="*/ 1921434 h 6689084"/>
              <a:gd name="connsiteX2224" fmla="*/ 1846279 w 6689088"/>
              <a:gd name="connsiteY2224" fmla="*/ 1920710 h 6689084"/>
              <a:gd name="connsiteX2225" fmla="*/ 2768873 w 6689088"/>
              <a:gd name="connsiteY2225" fmla="*/ 1919620 h 6689084"/>
              <a:gd name="connsiteX2226" fmla="*/ 2770325 w 6689088"/>
              <a:gd name="connsiteY2226" fmla="*/ 1921072 h 6689084"/>
              <a:gd name="connsiteX2227" fmla="*/ 2768873 w 6689088"/>
              <a:gd name="connsiteY2227" fmla="*/ 1922524 h 6689084"/>
              <a:gd name="connsiteX2228" fmla="*/ 2767421 w 6689088"/>
              <a:gd name="connsiteY2228" fmla="*/ 1921072 h 6689084"/>
              <a:gd name="connsiteX2229" fmla="*/ 2768873 w 6689088"/>
              <a:gd name="connsiteY2229" fmla="*/ 1919620 h 6689084"/>
              <a:gd name="connsiteX2230" fmla="*/ 2922454 w 6689088"/>
              <a:gd name="connsiteY2230" fmla="*/ 1918895 h 6689084"/>
              <a:gd name="connsiteX2231" fmla="*/ 2924635 w 6689088"/>
              <a:gd name="connsiteY2231" fmla="*/ 1921076 h 6689084"/>
              <a:gd name="connsiteX2232" fmla="*/ 2922454 w 6689088"/>
              <a:gd name="connsiteY2232" fmla="*/ 1923252 h 6689084"/>
              <a:gd name="connsiteX2233" fmla="*/ 2920278 w 6689088"/>
              <a:gd name="connsiteY2233" fmla="*/ 1921076 h 6689084"/>
              <a:gd name="connsiteX2234" fmla="*/ 2922454 w 6689088"/>
              <a:gd name="connsiteY2234" fmla="*/ 1918895 h 6689084"/>
              <a:gd name="connsiteX2235" fmla="*/ 3076406 w 6689088"/>
              <a:gd name="connsiteY2235" fmla="*/ 1918167 h 6689084"/>
              <a:gd name="connsiteX2236" fmla="*/ 3079672 w 6689088"/>
              <a:gd name="connsiteY2236" fmla="*/ 1921434 h 6689084"/>
              <a:gd name="connsiteX2237" fmla="*/ 3076406 w 6689088"/>
              <a:gd name="connsiteY2237" fmla="*/ 1924701 h 6689084"/>
              <a:gd name="connsiteX2238" fmla="*/ 3073135 w 6689088"/>
              <a:gd name="connsiteY2238" fmla="*/ 1921434 h 6689084"/>
              <a:gd name="connsiteX2239" fmla="*/ 3076406 w 6689088"/>
              <a:gd name="connsiteY2239" fmla="*/ 1918167 h 6689084"/>
              <a:gd name="connsiteX2240" fmla="*/ 3230353 w 6689088"/>
              <a:gd name="connsiteY2240" fmla="*/ 1916715 h 6689084"/>
              <a:gd name="connsiteX2241" fmla="*/ 3234710 w 6689088"/>
              <a:gd name="connsiteY2241" fmla="*/ 1921072 h 6689084"/>
              <a:gd name="connsiteX2242" fmla="*/ 3230353 w 6689088"/>
              <a:gd name="connsiteY2242" fmla="*/ 1925429 h 6689084"/>
              <a:gd name="connsiteX2243" fmla="*/ 3225996 w 6689088"/>
              <a:gd name="connsiteY2243" fmla="*/ 1921072 h 6689084"/>
              <a:gd name="connsiteX2244" fmla="*/ 3230353 w 6689088"/>
              <a:gd name="connsiteY2244" fmla="*/ 1916715 h 6689084"/>
              <a:gd name="connsiteX2245" fmla="*/ 3383938 w 6689088"/>
              <a:gd name="connsiteY2245" fmla="*/ 1915625 h 6689084"/>
              <a:gd name="connsiteX2246" fmla="*/ 3389748 w 6689088"/>
              <a:gd name="connsiteY2246" fmla="*/ 1921434 h 6689084"/>
              <a:gd name="connsiteX2247" fmla="*/ 3383938 w 6689088"/>
              <a:gd name="connsiteY2247" fmla="*/ 1927243 h 6689084"/>
              <a:gd name="connsiteX2248" fmla="*/ 3378129 w 6689088"/>
              <a:gd name="connsiteY2248" fmla="*/ 1921434 h 6689084"/>
              <a:gd name="connsiteX2249" fmla="*/ 3383938 w 6689088"/>
              <a:gd name="connsiteY2249" fmla="*/ 1915625 h 6689084"/>
              <a:gd name="connsiteX2250" fmla="*/ 3537882 w 6689088"/>
              <a:gd name="connsiteY2250" fmla="*/ 1913810 h 6689084"/>
              <a:gd name="connsiteX2251" fmla="*/ 3545143 w 6689088"/>
              <a:gd name="connsiteY2251" fmla="*/ 1921072 h 6689084"/>
              <a:gd name="connsiteX2252" fmla="*/ 3537882 w 6689088"/>
              <a:gd name="connsiteY2252" fmla="*/ 1928334 h 6689084"/>
              <a:gd name="connsiteX2253" fmla="*/ 3530620 w 6689088"/>
              <a:gd name="connsiteY2253" fmla="*/ 1921072 h 6689084"/>
              <a:gd name="connsiteX2254" fmla="*/ 3537882 w 6689088"/>
              <a:gd name="connsiteY2254" fmla="*/ 1913810 h 6689084"/>
              <a:gd name="connsiteX2255" fmla="*/ 3691467 w 6689088"/>
              <a:gd name="connsiteY2255" fmla="*/ 1911996 h 6689084"/>
              <a:gd name="connsiteX2256" fmla="*/ 3700547 w 6689088"/>
              <a:gd name="connsiteY2256" fmla="*/ 1921072 h 6689084"/>
              <a:gd name="connsiteX2257" fmla="*/ 3691467 w 6689088"/>
              <a:gd name="connsiteY2257" fmla="*/ 1930152 h 6689084"/>
              <a:gd name="connsiteX2258" fmla="*/ 3682391 w 6689088"/>
              <a:gd name="connsiteY2258" fmla="*/ 1921072 h 6689084"/>
              <a:gd name="connsiteX2259" fmla="*/ 3691467 w 6689088"/>
              <a:gd name="connsiteY2259" fmla="*/ 1911996 h 6689084"/>
              <a:gd name="connsiteX2260" fmla="*/ 3845414 w 6689088"/>
              <a:gd name="connsiteY2260" fmla="*/ 1911268 h 6689084"/>
              <a:gd name="connsiteX2261" fmla="*/ 3855581 w 6689088"/>
              <a:gd name="connsiteY2261" fmla="*/ 1921434 h 6689084"/>
              <a:gd name="connsiteX2262" fmla="*/ 3845414 w 6689088"/>
              <a:gd name="connsiteY2262" fmla="*/ 1931600 h 6689084"/>
              <a:gd name="connsiteX2263" fmla="*/ 3835248 w 6689088"/>
              <a:gd name="connsiteY2263" fmla="*/ 1921434 h 6689084"/>
              <a:gd name="connsiteX2264" fmla="*/ 3845414 w 6689088"/>
              <a:gd name="connsiteY2264" fmla="*/ 1911268 h 6689084"/>
              <a:gd name="connsiteX2265" fmla="*/ 3999000 w 6689088"/>
              <a:gd name="connsiteY2265" fmla="*/ 1909091 h 6689084"/>
              <a:gd name="connsiteX2266" fmla="*/ 4010984 w 6689088"/>
              <a:gd name="connsiteY2266" fmla="*/ 1921072 h 6689084"/>
              <a:gd name="connsiteX2267" fmla="*/ 3999000 w 6689088"/>
              <a:gd name="connsiteY2267" fmla="*/ 1933053 h 6689084"/>
              <a:gd name="connsiteX2268" fmla="*/ 3987019 w 6689088"/>
              <a:gd name="connsiteY2268" fmla="*/ 1921072 h 6689084"/>
              <a:gd name="connsiteX2269" fmla="*/ 3999000 w 6689088"/>
              <a:gd name="connsiteY2269" fmla="*/ 1909091 h 6689084"/>
              <a:gd name="connsiteX2270" fmla="*/ 4152951 w 6689088"/>
              <a:gd name="connsiteY2270" fmla="*/ 1907277 h 6689084"/>
              <a:gd name="connsiteX2271" fmla="*/ 4166746 w 6689088"/>
              <a:gd name="connsiteY2271" fmla="*/ 1921076 h 6689084"/>
              <a:gd name="connsiteX2272" fmla="*/ 4152951 w 6689088"/>
              <a:gd name="connsiteY2272" fmla="*/ 1934871 h 6689084"/>
              <a:gd name="connsiteX2273" fmla="*/ 4139152 w 6689088"/>
              <a:gd name="connsiteY2273" fmla="*/ 1921076 h 6689084"/>
              <a:gd name="connsiteX2274" fmla="*/ 4152951 w 6689088"/>
              <a:gd name="connsiteY2274" fmla="*/ 1907277 h 6689084"/>
              <a:gd name="connsiteX2275" fmla="*/ 4306528 w 6689088"/>
              <a:gd name="connsiteY2275" fmla="*/ 1905824 h 6689084"/>
              <a:gd name="connsiteX2276" fmla="*/ 4321780 w 6689088"/>
              <a:gd name="connsiteY2276" fmla="*/ 1921072 h 6689084"/>
              <a:gd name="connsiteX2277" fmla="*/ 4306528 w 6689088"/>
              <a:gd name="connsiteY2277" fmla="*/ 1936323 h 6689084"/>
              <a:gd name="connsiteX2278" fmla="*/ 4291281 w 6689088"/>
              <a:gd name="connsiteY2278" fmla="*/ 1921072 h 6689084"/>
              <a:gd name="connsiteX2279" fmla="*/ 4306528 w 6689088"/>
              <a:gd name="connsiteY2279" fmla="*/ 1905824 h 6689084"/>
              <a:gd name="connsiteX2280" fmla="*/ 4460480 w 6689088"/>
              <a:gd name="connsiteY2280" fmla="*/ 1904006 h 6689084"/>
              <a:gd name="connsiteX2281" fmla="*/ 4477546 w 6689088"/>
              <a:gd name="connsiteY2281" fmla="*/ 1921072 h 6689084"/>
              <a:gd name="connsiteX2282" fmla="*/ 4460480 w 6689088"/>
              <a:gd name="connsiteY2282" fmla="*/ 1938138 h 6689084"/>
              <a:gd name="connsiteX2283" fmla="*/ 4443414 w 6689088"/>
              <a:gd name="connsiteY2283" fmla="*/ 1921072 h 6689084"/>
              <a:gd name="connsiteX2284" fmla="*/ 4460480 w 6689088"/>
              <a:gd name="connsiteY2284" fmla="*/ 1904006 h 6689084"/>
              <a:gd name="connsiteX2285" fmla="*/ 4614061 w 6689088"/>
              <a:gd name="connsiteY2285" fmla="*/ 1901830 h 6689084"/>
              <a:gd name="connsiteX2286" fmla="*/ 4633304 w 6689088"/>
              <a:gd name="connsiteY2286" fmla="*/ 1921072 h 6689084"/>
              <a:gd name="connsiteX2287" fmla="*/ 4614061 w 6689088"/>
              <a:gd name="connsiteY2287" fmla="*/ 1940314 h 6689084"/>
              <a:gd name="connsiteX2288" fmla="*/ 4594818 w 6689088"/>
              <a:gd name="connsiteY2288" fmla="*/ 1921072 h 6689084"/>
              <a:gd name="connsiteX2289" fmla="*/ 4614061 w 6689088"/>
              <a:gd name="connsiteY2289" fmla="*/ 1901830 h 6689084"/>
              <a:gd name="connsiteX2290" fmla="*/ 4768012 w 6689088"/>
              <a:gd name="connsiteY2290" fmla="*/ 1899649 h 6689084"/>
              <a:gd name="connsiteX2291" fmla="*/ 4789432 w 6689088"/>
              <a:gd name="connsiteY2291" fmla="*/ 1921072 h 6689084"/>
              <a:gd name="connsiteX2292" fmla="*/ 4768012 w 6689088"/>
              <a:gd name="connsiteY2292" fmla="*/ 1942495 h 6689084"/>
              <a:gd name="connsiteX2293" fmla="*/ 4746590 w 6689088"/>
              <a:gd name="connsiteY2293" fmla="*/ 1921072 h 6689084"/>
              <a:gd name="connsiteX2294" fmla="*/ 4768012 w 6689088"/>
              <a:gd name="connsiteY2294" fmla="*/ 1899649 h 6689084"/>
              <a:gd name="connsiteX2295" fmla="*/ 4921594 w 6689088"/>
              <a:gd name="connsiteY2295" fmla="*/ 1898563 h 6689084"/>
              <a:gd name="connsiteX2296" fmla="*/ 4944469 w 6689088"/>
              <a:gd name="connsiteY2296" fmla="*/ 1921438 h 6689084"/>
              <a:gd name="connsiteX2297" fmla="*/ 4921594 w 6689088"/>
              <a:gd name="connsiteY2297" fmla="*/ 1944309 h 6689084"/>
              <a:gd name="connsiteX2298" fmla="*/ 4898718 w 6689088"/>
              <a:gd name="connsiteY2298" fmla="*/ 1921438 h 6689084"/>
              <a:gd name="connsiteX2299" fmla="*/ 4921594 w 6689088"/>
              <a:gd name="connsiteY2299" fmla="*/ 1898563 h 6689084"/>
              <a:gd name="connsiteX2300" fmla="*/ 5075541 w 6689088"/>
              <a:gd name="connsiteY2300" fmla="*/ 1896382 h 6689084"/>
              <a:gd name="connsiteX2301" fmla="*/ 5100597 w 6689088"/>
              <a:gd name="connsiteY2301" fmla="*/ 1921434 h 6689084"/>
              <a:gd name="connsiteX2302" fmla="*/ 5075541 w 6689088"/>
              <a:gd name="connsiteY2302" fmla="*/ 1946490 h 6689084"/>
              <a:gd name="connsiteX2303" fmla="*/ 5050490 w 6689088"/>
              <a:gd name="connsiteY2303" fmla="*/ 1921434 h 6689084"/>
              <a:gd name="connsiteX2304" fmla="*/ 5075541 w 6689088"/>
              <a:gd name="connsiteY2304" fmla="*/ 1896382 h 6689084"/>
              <a:gd name="connsiteX2305" fmla="*/ 5229126 w 6689088"/>
              <a:gd name="connsiteY2305" fmla="*/ 1894206 h 6689084"/>
              <a:gd name="connsiteX2306" fmla="*/ 5256358 w 6689088"/>
              <a:gd name="connsiteY2306" fmla="*/ 1921438 h 6689084"/>
              <a:gd name="connsiteX2307" fmla="*/ 5229126 w 6689088"/>
              <a:gd name="connsiteY2307" fmla="*/ 1948670 h 6689084"/>
              <a:gd name="connsiteX2308" fmla="*/ 5201894 w 6689088"/>
              <a:gd name="connsiteY2308" fmla="*/ 1921438 h 6689084"/>
              <a:gd name="connsiteX2309" fmla="*/ 5229126 w 6689088"/>
              <a:gd name="connsiteY2309" fmla="*/ 1894206 h 6689084"/>
              <a:gd name="connsiteX2310" fmla="*/ 5383074 w 6689088"/>
              <a:gd name="connsiteY2310" fmla="*/ 1891301 h 6689084"/>
              <a:gd name="connsiteX2311" fmla="*/ 5412848 w 6689088"/>
              <a:gd name="connsiteY2311" fmla="*/ 1921072 h 6689084"/>
              <a:gd name="connsiteX2312" fmla="*/ 5383074 w 6689088"/>
              <a:gd name="connsiteY2312" fmla="*/ 1950847 h 6689084"/>
              <a:gd name="connsiteX2313" fmla="*/ 5353303 w 6689088"/>
              <a:gd name="connsiteY2313" fmla="*/ 1921072 h 6689084"/>
              <a:gd name="connsiteX2314" fmla="*/ 5383074 w 6689088"/>
              <a:gd name="connsiteY2314" fmla="*/ 1891301 h 6689084"/>
              <a:gd name="connsiteX2315" fmla="*/ 5536659 w 6689088"/>
              <a:gd name="connsiteY2315" fmla="*/ 1889121 h 6689084"/>
              <a:gd name="connsiteX2316" fmla="*/ 5568610 w 6689088"/>
              <a:gd name="connsiteY2316" fmla="*/ 1921072 h 6689084"/>
              <a:gd name="connsiteX2317" fmla="*/ 5536659 w 6689088"/>
              <a:gd name="connsiteY2317" fmla="*/ 1953023 h 6689084"/>
              <a:gd name="connsiteX2318" fmla="*/ 5504708 w 6689088"/>
              <a:gd name="connsiteY2318" fmla="*/ 1921072 h 6689084"/>
              <a:gd name="connsiteX2319" fmla="*/ 5536659 w 6689088"/>
              <a:gd name="connsiteY2319" fmla="*/ 1889121 h 6689084"/>
              <a:gd name="connsiteX2320" fmla="*/ 5690606 w 6689088"/>
              <a:gd name="connsiteY2320" fmla="*/ 1887306 h 6689084"/>
              <a:gd name="connsiteX2321" fmla="*/ 5724376 w 6689088"/>
              <a:gd name="connsiteY2321" fmla="*/ 1921072 h 6689084"/>
              <a:gd name="connsiteX2322" fmla="*/ 5690606 w 6689088"/>
              <a:gd name="connsiteY2322" fmla="*/ 1954842 h 6689084"/>
              <a:gd name="connsiteX2323" fmla="*/ 5656840 w 6689088"/>
              <a:gd name="connsiteY2323" fmla="*/ 1921072 h 6689084"/>
              <a:gd name="connsiteX2324" fmla="*/ 5690606 w 6689088"/>
              <a:gd name="connsiteY2324" fmla="*/ 1887306 h 6689084"/>
              <a:gd name="connsiteX2325" fmla="*/ 5844554 w 6689088"/>
              <a:gd name="connsiteY2325" fmla="*/ 1884764 h 6689084"/>
              <a:gd name="connsiteX2326" fmla="*/ 5880862 w 6689088"/>
              <a:gd name="connsiteY2326" fmla="*/ 1921072 h 6689084"/>
              <a:gd name="connsiteX2327" fmla="*/ 5844554 w 6689088"/>
              <a:gd name="connsiteY2327" fmla="*/ 1957380 h 6689084"/>
              <a:gd name="connsiteX2328" fmla="*/ 5808246 w 6689088"/>
              <a:gd name="connsiteY2328" fmla="*/ 1921072 h 6689084"/>
              <a:gd name="connsiteX2329" fmla="*/ 5844554 w 6689088"/>
              <a:gd name="connsiteY2329" fmla="*/ 1884764 h 6689084"/>
              <a:gd name="connsiteX2330" fmla="*/ 5998139 w 6689088"/>
              <a:gd name="connsiteY2330" fmla="*/ 1882225 h 6689084"/>
              <a:gd name="connsiteX2331" fmla="*/ 6036990 w 6689088"/>
              <a:gd name="connsiteY2331" fmla="*/ 1921076 h 6689084"/>
              <a:gd name="connsiteX2332" fmla="*/ 5998139 w 6689088"/>
              <a:gd name="connsiteY2332" fmla="*/ 1959923 h 6689084"/>
              <a:gd name="connsiteX2333" fmla="*/ 5959288 w 6689088"/>
              <a:gd name="connsiteY2333" fmla="*/ 1921076 h 6689084"/>
              <a:gd name="connsiteX2334" fmla="*/ 5998139 w 6689088"/>
              <a:gd name="connsiteY2334" fmla="*/ 1882225 h 6689084"/>
              <a:gd name="connsiteX2335" fmla="*/ 6152083 w 6689088"/>
              <a:gd name="connsiteY2335" fmla="*/ 1880045 h 6689084"/>
              <a:gd name="connsiteX2336" fmla="*/ 6193114 w 6689088"/>
              <a:gd name="connsiteY2336" fmla="*/ 1921072 h 6689084"/>
              <a:gd name="connsiteX2337" fmla="*/ 6152083 w 6689088"/>
              <a:gd name="connsiteY2337" fmla="*/ 1962103 h 6689084"/>
              <a:gd name="connsiteX2338" fmla="*/ 6111056 w 6689088"/>
              <a:gd name="connsiteY2338" fmla="*/ 1921072 h 6689084"/>
              <a:gd name="connsiteX2339" fmla="*/ 6152083 w 6689088"/>
              <a:gd name="connsiteY2339" fmla="*/ 1880045 h 6689084"/>
              <a:gd name="connsiteX2340" fmla="*/ 6305668 w 6689088"/>
              <a:gd name="connsiteY2340" fmla="*/ 1877502 h 6689084"/>
              <a:gd name="connsiteX2341" fmla="*/ 6349238 w 6689088"/>
              <a:gd name="connsiteY2341" fmla="*/ 1921072 h 6689084"/>
              <a:gd name="connsiteX2342" fmla="*/ 6305668 w 6689088"/>
              <a:gd name="connsiteY2342" fmla="*/ 1964642 h 6689084"/>
              <a:gd name="connsiteX2343" fmla="*/ 6262098 w 6689088"/>
              <a:gd name="connsiteY2343" fmla="*/ 1921072 h 6689084"/>
              <a:gd name="connsiteX2344" fmla="*/ 6305668 w 6689088"/>
              <a:gd name="connsiteY2344" fmla="*/ 1877502 h 6689084"/>
              <a:gd name="connsiteX2345" fmla="*/ 6459616 w 6689088"/>
              <a:gd name="connsiteY2345" fmla="*/ 1874959 h 6689084"/>
              <a:gd name="connsiteX2346" fmla="*/ 6505728 w 6689088"/>
              <a:gd name="connsiteY2346" fmla="*/ 1921072 h 6689084"/>
              <a:gd name="connsiteX2347" fmla="*/ 6459616 w 6689088"/>
              <a:gd name="connsiteY2347" fmla="*/ 1967184 h 6689084"/>
              <a:gd name="connsiteX2348" fmla="*/ 6413503 w 6689088"/>
              <a:gd name="connsiteY2348" fmla="*/ 1921072 h 6689084"/>
              <a:gd name="connsiteX2349" fmla="*/ 6459616 w 6689088"/>
              <a:gd name="connsiteY2349" fmla="*/ 1874959 h 6689084"/>
              <a:gd name="connsiteX2350" fmla="*/ 6613200 w 6689088"/>
              <a:gd name="connsiteY2350" fmla="*/ 1872421 h 6689084"/>
              <a:gd name="connsiteX2351" fmla="*/ 6661856 w 6689088"/>
              <a:gd name="connsiteY2351" fmla="*/ 1921076 h 6689084"/>
              <a:gd name="connsiteX2352" fmla="*/ 6613200 w 6689088"/>
              <a:gd name="connsiteY2352" fmla="*/ 1969727 h 6689084"/>
              <a:gd name="connsiteX2353" fmla="*/ 6564550 w 6689088"/>
              <a:gd name="connsiteY2353" fmla="*/ 1921076 h 6689084"/>
              <a:gd name="connsiteX2354" fmla="*/ 6613200 w 6689088"/>
              <a:gd name="connsiteY2354" fmla="*/ 1872421 h 6689084"/>
              <a:gd name="connsiteX2355" fmla="*/ 2461340 w 6689088"/>
              <a:gd name="connsiteY2355" fmla="*/ 1767125 h 6689084"/>
              <a:gd name="connsiteX2356" fmla="*/ 2461702 w 6689088"/>
              <a:gd name="connsiteY2356" fmla="*/ 1767487 h 6689084"/>
              <a:gd name="connsiteX2357" fmla="*/ 2461340 w 6689088"/>
              <a:gd name="connsiteY2357" fmla="*/ 1767853 h 6689084"/>
              <a:gd name="connsiteX2358" fmla="*/ 2460978 w 6689088"/>
              <a:gd name="connsiteY2358" fmla="*/ 1767487 h 6689084"/>
              <a:gd name="connsiteX2359" fmla="*/ 2461340 w 6689088"/>
              <a:gd name="connsiteY2359" fmla="*/ 1767125 h 6689084"/>
              <a:gd name="connsiteX2360" fmla="*/ 1999860 w 6689088"/>
              <a:gd name="connsiteY2360" fmla="*/ 1767125 h 6689084"/>
              <a:gd name="connsiteX2361" fmla="*/ 2000222 w 6689088"/>
              <a:gd name="connsiteY2361" fmla="*/ 1767487 h 6689084"/>
              <a:gd name="connsiteX2362" fmla="*/ 1999860 w 6689088"/>
              <a:gd name="connsiteY2362" fmla="*/ 1767853 h 6689084"/>
              <a:gd name="connsiteX2363" fmla="*/ 1999498 w 6689088"/>
              <a:gd name="connsiteY2363" fmla="*/ 1767487 h 6689084"/>
              <a:gd name="connsiteX2364" fmla="*/ 1999860 w 6689088"/>
              <a:gd name="connsiteY2364" fmla="*/ 1767125 h 6689084"/>
              <a:gd name="connsiteX2365" fmla="*/ 1846279 w 6689088"/>
              <a:gd name="connsiteY2365" fmla="*/ 1767125 h 6689084"/>
              <a:gd name="connsiteX2366" fmla="*/ 1846641 w 6689088"/>
              <a:gd name="connsiteY2366" fmla="*/ 1767487 h 6689084"/>
              <a:gd name="connsiteX2367" fmla="*/ 1846279 w 6689088"/>
              <a:gd name="connsiteY2367" fmla="*/ 1767853 h 6689084"/>
              <a:gd name="connsiteX2368" fmla="*/ 1845917 w 6689088"/>
              <a:gd name="connsiteY2368" fmla="*/ 1767487 h 6689084"/>
              <a:gd name="connsiteX2369" fmla="*/ 1846279 w 6689088"/>
              <a:gd name="connsiteY2369" fmla="*/ 1767125 h 6689084"/>
              <a:gd name="connsiteX2370" fmla="*/ 1692328 w 6689088"/>
              <a:gd name="connsiteY2370" fmla="*/ 1766762 h 6689084"/>
              <a:gd name="connsiteX2371" fmla="*/ 1693056 w 6689088"/>
              <a:gd name="connsiteY2371" fmla="*/ 1767491 h 6689084"/>
              <a:gd name="connsiteX2372" fmla="*/ 1692328 w 6689088"/>
              <a:gd name="connsiteY2372" fmla="*/ 1768215 h 6689084"/>
              <a:gd name="connsiteX2373" fmla="*/ 1691603 w 6689088"/>
              <a:gd name="connsiteY2373" fmla="*/ 1767491 h 6689084"/>
              <a:gd name="connsiteX2374" fmla="*/ 1692328 w 6689088"/>
              <a:gd name="connsiteY2374" fmla="*/ 1766762 h 6689084"/>
              <a:gd name="connsiteX2375" fmla="*/ 2614925 w 6689088"/>
              <a:gd name="connsiteY2375" fmla="*/ 1765672 h 6689084"/>
              <a:gd name="connsiteX2376" fmla="*/ 2616378 w 6689088"/>
              <a:gd name="connsiteY2376" fmla="*/ 1767125 h 6689084"/>
              <a:gd name="connsiteX2377" fmla="*/ 2614925 w 6689088"/>
              <a:gd name="connsiteY2377" fmla="*/ 1768577 h 6689084"/>
              <a:gd name="connsiteX2378" fmla="*/ 2613473 w 6689088"/>
              <a:gd name="connsiteY2378" fmla="*/ 1767125 h 6689084"/>
              <a:gd name="connsiteX2379" fmla="*/ 2614925 w 6689088"/>
              <a:gd name="connsiteY2379" fmla="*/ 1765672 h 6689084"/>
              <a:gd name="connsiteX2380" fmla="*/ 2768873 w 6689088"/>
              <a:gd name="connsiteY2380" fmla="*/ 1765310 h 6689084"/>
              <a:gd name="connsiteX2381" fmla="*/ 2771049 w 6689088"/>
              <a:gd name="connsiteY2381" fmla="*/ 1767491 h 6689084"/>
              <a:gd name="connsiteX2382" fmla="*/ 2768873 w 6689088"/>
              <a:gd name="connsiteY2382" fmla="*/ 1769667 h 6689084"/>
              <a:gd name="connsiteX2383" fmla="*/ 2766692 w 6689088"/>
              <a:gd name="connsiteY2383" fmla="*/ 1767491 h 6689084"/>
              <a:gd name="connsiteX2384" fmla="*/ 2768873 w 6689088"/>
              <a:gd name="connsiteY2384" fmla="*/ 1765310 h 6689084"/>
              <a:gd name="connsiteX2385" fmla="*/ 2922454 w 6689088"/>
              <a:gd name="connsiteY2385" fmla="*/ 1764220 h 6689084"/>
              <a:gd name="connsiteX2386" fmla="*/ 2925721 w 6689088"/>
              <a:gd name="connsiteY2386" fmla="*/ 1767487 h 6689084"/>
              <a:gd name="connsiteX2387" fmla="*/ 2922454 w 6689088"/>
              <a:gd name="connsiteY2387" fmla="*/ 1770757 h 6689084"/>
              <a:gd name="connsiteX2388" fmla="*/ 2919188 w 6689088"/>
              <a:gd name="connsiteY2388" fmla="*/ 1767487 h 6689084"/>
              <a:gd name="connsiteX2389" fmla="*/ 2922454 w 6689088"/>
              <a:gd name="connsiteY2389" fmla="*/ 1764220 h 6689084"/>
              <a:gd name="connsiteX2390" fmla="*/ 3076406 w 6689088"/>
              <a:gd name="connsiteY2390" fmla="*/ 1763134 h 6689084"/>
              <a:gd name="connsiteX2391" fmla="*/ 3080762 w 6689088"/>
              <a:gd name="connsiteY2391" fmla="*/ 1767491 h 6689084"/>
              <a:gd name="connsiteX2392" fmla="*/ 3076406 w 6689088"/>
              <a:gd name="connsiteY2392" fmla="*/ 1771848 h 6689084"/>
              <a:gd name="connsiteX2393" fmla="*/ 3072048 w 6689088"/>
              <a:gd name="connsiteY2393" fmla="*/ 1767491 h 6689084"/>
              <a:gd name="connsiteX2394" fmla="*/ 3076406 w 6689088"/>
              <a:gd name="connsiteY2394" fmla="*/ 1763134 h 6689084"/>
              <a:gd name="connsiteX2395" fmla="*/ 3230353 w 6689088"/>
              <a:gd name="connsiteY2395" fmla="*/ 1761681 h 6689084"/>
              <a:gd name="connsiteX2396" fmla="*/ 3236162 w 6689088"/>
              <a:gd name="connsiteY2396" fmla="*/ 1767491 h 6689084"/>
              <a:gd name="connsiteX2397" fmla="*/ 3230353 w 6689088"/>
              <a:gd name="connsiteY2397" fmla="*/ 1773300 h 6689084"/>
              <a:gd name="connsiteX2398" fmla="*/ 3224544 w 6689088"/>
              <a:gd name="connsiteY2398" fmla="*/ 1767491 h 6689084"/>
              <a:gd name="connsiteX2399" fmla="*/ 3230353 w 6689088"/>
              <a:gd name="connsiteY2399" fmla="*/ 1761681 h 6689084"/>
              <a:gd name="connsiteX2400" fmla="*/ 3383938 w 6689088"/>
              <a:gd name="connsiteY2400" fmla="*/ 1760225 h 6689084"/>
              <a:gd name="connsiteX2401" fmla="*/ 3391200 w 6689088"/>
              <a:gd name="connsiteY2401" fmla="*/ 1767487 h 6689084"/>
              <a:gd name="connsiteX2402" fmla="*/ 3383938 w 6689088"/>
              <a:gd name="connsiteY2402" fmla="*/ 1774748 h 6689084"/>
              <a:gd name="connsiteX2403" fmla="*/ 3376676 w 6689088"/>
              <a:gd name="connsiteY2403" fmla="*/ 1767487 h 6689084"/>
              <a:gd name="connsiteX2404" fmla="*/ 3383938 w 6689088"/>
              <a:gd name="connsiteY2404" fmla="*/ 1760225 h 6689084"/>
              <a:gd name="connsiteX2405" fmla="*/ 3537882 w 6689088"/>
              <a:gd name="connsiteY2405" fmla="*/ 1758411 h 6689084"/>
              <a:gd name="connsiteX2406" fmla="*/ 3546962 w 6689088"/>
              <a:gd name="connsiteY2406" fmla="*/ 1767487 h 6689084"/>
              <a:gd name="connsiteX2407" fmla="*/ 3537882 w 6689088"/>
              <a:gd name="connsiteY2407" fmla="*/ 1776567 h 6689084"/>
              <a:gd name="connsiteX2408" fmla="*/ 3528806 w 6689088"/>
              <a:gd name="connsiteY2408" fmla="*/ 1767487 h 6689084"/>
              <a:gd name="connsiteX2409" fmla="*/ 3537882 w 6689088"/>
              <a:gd name="connsiteY2409" fmla="*/ 1758411 h 6689084"/>
              <a:gd name="connsiteX2410" fmla="*/ 3691467 w 6689088"/>
              <a:gd name="connsiteY2410" fmla="*/ 1757324 h 6689084"/>
              <a:gd name="connsiteX2411" fmla="*/ 3701633 w 6689088"/>
              <a:gd name="connsiteY2411" fmla="*/ 1767491 h 6689084"/>
              <a:gd name="connsiteX2412" fmla="*/ 3691467 w 6689088"/>
              <a:gd name="connsiteY2412" fmla="*/ 1777657 h 6689084"/>
              <a:gd name="connsiteX2413" fmla="*/ 3681300 w 6689088"/>
              <a:gd name="connsiteY2413" fmla="*/ 1767491 h 6689084"/>
              <a:gd name="connsiteX2414" fmla="*/ 3691467 w 6689088"/>
              <a:gd name="connsiteY2414" fmla="*/ 1757324 h 6689084"/>
              <a:gd name="connsiteX2415" fmla="*/ 3845414 w 6689088"/>
              <a:gd name="connsiteY2415" fmla="*/ 1755506 h 6689084"/>
              <a:gd name="connsiteX2416" fmla="*/ 3857399 w 6689088"/>
              <a:gd name="connsiteY2416" fmla="*/ 1767487 h 6689084"/>
              <a:gd name="connsiteX2417" fmla="*/ 3845414 w 6689088"/>
              <a:gd name="connsiteY2417" fmla="*/ 1779468 h 6689084"/>
              <a:gd name="connsiteX2418" fmla="*/ 3833434 w 6689088"/>
              <a:gd name="connsiteY2418" fmla="*/ 1767487 h 6689084"/>
              <a:gd name="connsiteX2419" fmla="*/ 3845414 w 6689088"/>
              <a:gd name="connsiteY2419" fmla="*/ 1755506 h 6689084"/>
              <a:gd name="connsiteX2420" fmla="*/ 3999000 w 6689088"/>
              <a:gd name="connsiteY2420" fmla="*/ 1753329 h 6689084"/>
              <a:gd name="connsiteX2421" fmla="*/ 4012799 w 6689088"/>
              <a:gd name="connsiteY2421" fmla="*/ 1767125 h 6689084"/>
              <a:gd name="connsiteX2422" fmla="*/ 3999000 w 6689088"/>
              <a:gd name="connsiteY2422" fmla="*/ 1780924 h 6689084"/>
              <a:gd name="connsiteX2423" fmla="*/ 3985204 w 6689088"/>
              <a:gd name="connsiteY2423" fmla="*/ 1767125 h 6689084"/>
              <a:gd name="connsiteX2424" fmla="*/ 3999000 w 6689088"/>
              <a:gd name="connsiteY2424" fmla="*/ 1753329 h 6689084"/>
              <a:gd name="connsiteX2425" fmla="*/ 4152947 w 6689088"/>
              <a:gd name="connsiteY2425" fmla="*/ 1752239 h 6689084"/>
              <a:gd name="connsiteX2426" fmla="*/ 4168198 w 6689088"/>
              <a:gd name="connsiteY2426" fmla="*/ 1767491 h 6689084"/>
              <a:gd name="connsiteX2427" fmla="*/ 4152947 w 6689088"/>
              <a:gd name="connsiteY2427" fmla="*/ 1782738 h 6689084"/>
              <a:gd name="connsiteX2428" fmla="*/ 4137700 w 6689088"/>
              <a:gd name="connsiteY2428" fmla="*/ 1767491 h 6689084"/>
              <a:gd name="connsiteX2429" fmla="*/ 4152947 w 6689088"/>
              <a:gd name="connsiteY2429" fmla="*/ 1752239 h 6689084"/>
              <a:gd name="connsiteX2430" fmla="*/ 4306532 w 6689088"/>
              <a:gd name="connsiteY2430" fmla="*/ 1750425 h 6689084"/>
              <a:gd name="connsiteX2431" fmla="*/ 4323598 w 6689088"/>
              <a:gd name="connsiteY2431" fmla="*/ 1767491 h 6689084"/>
              <a:gd name="connsiteX2432" fmla="*/ 4306532 w 6689088"/>
              <a:gd name="connsiteY2432" fmla="*/ 1784556 h 6689084"/>
              <a:gd name="connsiteX2433" fmla="*/ 4289466 w 6689088"/>
              <a:gd name="connsiteY2433" fmla="*/ 1767491 h 6689084"/>
              <a:gd name="connsiteX2434" fmla="*/ 4306532 w 6689088"/>
              <a:gd name="connsiteY2434" fmla="*/ 1750425 h 6689084"/>
              <a:gd name="connsiteX2435" fmla="*/ 4460480 w 6689088"/>
              <a:gd name="connsiteY2435" fmla="*/ 1748244 h 6689084"/>
              <a:gd name="connsiteX2436" fmla="*/ 4479726 w 6689088"/>
              <a:gd name="connsiteY2436" fmla="*/ 1767487 h 6689084"/>
              <a:gd name="connsiteX2437" fmla="*/ 4460480 w 6689088"/>
              <a:gd name="connsiteY2437" fmla="*/ 1786729 h 6689084"/>
              <a:gd name="connsiteX2438" fmla="*/ 4441237 w 6689088"/>
              <a:gd name="connsiteY2438" fmla="*/ 1767487 h 6689084"/>
              <a:gd name="connsiteX2439" fmla="*/ 4460480 w 6689088"/>
              <a:gd name="connsiteY2439" fmla="*/ 1748244 h 6689084"/>
              <a:gd name="connsiteX2440" fmla="*/ 4614065 w 6689088"/>
              <a:gd name="connsiteY2440" fmla="*/ 1746068 h 6689084"/>
              <a:gd name="connsiteX2441" fmla="*/ 4635484 w 6689088"/>
              <a:gd name="connsiteY2441" fmla="*/ 1767491 h 6689084"/>
              <a:gd name="connsiteX2442" fmla="*/ 4614065 w 6689088"/>
              <a:gd name="connsiteY2442" fmla="*/ 1788913 h 6689084"/>
              <a:gd name="connsiteX2443" fmla="*/ 4592642 w 6689088"/>
              <a:gd name="connsiteY2443" fmla="*/ 1767491 h 6689084"/>
              <a:gd name="connsiteX2444" fmla="*/ 4614065 w 6689088"/>
              <a:gd name="connsiteY2444" fmla="*/ 1746068 h 6689084"/>
              <a:gd name="connsiteX2445" fmla="*/ 4768012 w 6689088"/>
              <a:gd name="connsiteY2445" fmla="*/ 1744615 h 6689084"/>
              <a:gd name="connsiteX2446" fmla="*/ 4790884 w 6689088"/>
              <a:gd name="connsiteY2446" fmla="*/ 1767491 h 6689084"/>
              <a:gd name="connsiteX2447" fmla="*/ 4768012 w 6689088"/>
              <a:gd name="connsiteY2447" fmla="*/ 1790366 h 6689084"/>
              <a:gd name="connsiteX2448" fmla="*/ 4745137 w 6689088"/>
              <a:gd name="connsiteY2448" fmla="*/ 1767491 h 6689084"/>
              <a:gd name="connsiteX2449" fmla="*/ 4768012 w 6689088"/>
              <a:gd name="connsiteY2449" fmla="*/ 1744615 h 6689084"/>
              <a:gd name="connsiteX2450" fmla="*/ 4921594 w 6689088"/>
              <a:gd name="connsiteY2450" fmla="*/ 1742435 h 6689084"/>
              <a:gd name="connsiteX2451" fmla="*/ 4946650 w 6689088"/>
              <a:gd name="connsiteY2451" fmla="*/ 1767487 h 6689084"/>
              <a:gd name="connsiteX2452" fmla="*/ 4921594 w 6689088"/>
              <a:gd name="connsiteY2452" fmla="*/ 1792538 h 6689084"/>
              <a:gd name="connsiteX2453" fmla="*/ 4896542 w 6689088"/>
              <a:gd name="connsiteY2453" fmla="*/ 1767487 h 6689084"/>
              <a:gd name="connsiteX2454" fmla="*/ 4921594 w 6689088"/>
              <a:gd name="connsiteY2454" fmla="*/ 1742435 h 6689084"/>
              <a:gd name="connsiteX2455" fmla="*/ 5075545 w 6689088"/>
              <a:gd name="connsiteY2455" fmla="*/ 1740258 h 6689084"/>
              <a:gd name="connsiteX2456" fmla="*/ 5102777 w 6689088"/>
              <a:gd name="connsiteY2456" fmla="*/ 1767491 h 6689084"/>
              <a:gd name="connsiteX2457" fmla="*/ 5075545 w 6689088"/>
              <a:gd name="connsiteY2457" fmla="*/ 1794723 h 6689084"/>
              <a:gd name="connsiteX2458" fmla="*/ 5048313 w 6689088"/>
              <a:gd name="connsiteY2458" fmla="*/ 1767491 h 6689084"/>
              <a:gd name="connsiteX2459" fmla="*/ 5075545 w 6689088"/>
              <a:gd name="connsiteY2459" fmla="*/ 1740258 h 6689084"/>
              <a:gd name="connsiteX2460" fmla="*/ 5229126 w 6689088"/>
              <a:gd name="connsiteY2460" fmla="*/ 1737716 h 6689084"/>
              <a:gd name="connsiteX2461" fmla="*/ 5258901 w 6689088"/>
              <a:gd name="connsiteY2461" fmla="*/ 1767491 h 6689084"/>
              <a:gd name="connsiteX2462" fmla="*/ 5229126 w 6689088"/>
              <a:gd name="connsiteY2462" fmla="*/ 1797261 h 6689084"/>
              <a:gd name="connsiteX2463" fmla="*/ 5199356 w 6689088"/>
              <a:gd name="connsiteY2463" fmla="*/ 1767491 h 6689084"/>
              <a:gd name="connsiteX2464" fmla="*/ 5229126 w 6689088"/>
              <a:gd name="connsiteY2464" fmla="*/ 1737716 h 6689084"/>
              <a:gd name="connsiteX2465" fmla="*/ 5383074 w 6689088"/>
              <a:gd name="connsiteY2465" fmla="*/ 1735535 h 6689084"/>
              <a:gd name="connsiteX2466" fmla="*/ 5415025 w 6689088"/>
              <a:gd name="connsiteY2466" fmla="*/ 1767487 h 6689084"/>
              <a:gd name="connsiteX2467" fmla="*/ 5383074 w 6689088"/>
              <a:gd name="connsiteY2467" fmla="*/ 1799438 h 6689084"/>
              <a:gd name="connsiteX2468" fmla="*/ 5351122 w 6689088"/>
              <a:gd name="connsiteY2468" fmla="*/ 1767487 h 6689084"/>
              <a:gd name="connsiteX2469" fmla="*/ 5383074 w 6689088"/>
              <a:gd name="connsiteY2469" fmla="*/ 1735535 h 6689084"/>
              <a:gd name="connsiteX2470" fmla="*/ 5537025 w 6689088"/>
              <a:gd name="connsiteY2470" fmla="*/ 1733721 h 6689084"/>
              <a:gd name="connsiteX2471" fmla="*/ 5570791 w 6689088"/>
              <a:gd name="connsiteY2471" fmla="*/ 1767487 h 6689084"/>
              <a:gd name="connsiteX2472" fmla="*/ 5537025 w 6689088"/>
              <a:gd name="connsiteY2472" fmla="*/ 1801256 h 6689084"/>
              <a:gd name="connsiteX2473" fmla="*/ 5503256 w 6689088"/>
              <a:gd name="connsiteY2473" fmla="*/ 1767487 h 6689084"/>
              <a:gd name="connsiteX2474" fmla="*/ 5537025 w 6689088"/>
              <a:gd name="connsiteY2474" fmla="*/ 1733721 h 6689084"/>
              <a:gd name="connsiteX2475" fmla="*/ 5690606 w 6689088"/>
              <a:gd name="connsiteY2475" fmla="*/ 1731182 h 6689084"/>
              <a:gd name="connsiteX2476" fmla="*/ 5726915 w 6689088"/>
              <a:gd name="connsiteY2476" fmla="*/ 1767491 h 6689084"/>
              <a:gd name="connsiteX2477" fmla="*/ 5690606 w 6689088"/>
              <a:gd name="connsiteY2477" fmla="*/ 1803799 h 6689084"/>
              <a:gd name="connsiteX2478" fmla="*/ 5654298 w 6689088"/>
              <a:gd name="connsiteY2478" fmla="*/ 1767491 h 6689084"/>
              <a:gd name="connsiteX2479" fmla="*/ 5690606 w 6689088"/>
              <a:gd name="connsiteY2479" fmla="*/ 1731182 h 6689084"/>
              <a:gd name="connsiteX2480" fmla="*/ 5844554 w 6689088"/>
              <a:gd name="connsiteY2480" fmla="*/ 1728640 h 6689084"/>
              <a:gd name="connsiteX2481" fmla="*/ 5883405 w 6689088"/>
              <a:gd name="connsiteY2481" fmla="*/ 1767491 h 6689084"/>
              <a:gd name="connsiteX2482" fmla="*/ 5844554 w 6689088"/>
              <a:gd name="connsiteY2482" fmla="*/ 1806338 h 6689084"/>
              <a:gd name="connsiteX2483" fmla="*/ 5805703 w 6689088"/>
              <a:gd name="connsiteY2483" fmla="*/ 1767491 h 6689084"/>
              <a:gd name="connsiteX2484" fmla="*/ 5844554 w 6689088"/>
              <a:gd name="connsiteY2484" fmla="*/ 1728640 h 6689084"/>
              <a:gd name="connsiteX2485" fmla="*/ 5998136 w 6689088"/>
              <a:gd name="connsiteY2485" fmla="*/ 1726459 h 6689084"/>
              <a:gd name="connsiteX2486" fmla="*/ 6039166 w 6689088"/>
              <a:gd name="connsiteY2486" fmla="*/ 1767487 h 6689084"/>
              <a:gd name="connsiteX2487" fmla="*/ 5998136 w 6689088"/>
              <a:gd name="connsiteY2487" fmla="*/ 1808518 h 6689084"/>
              <a:gd name="connsiteX2488" fmla="*/ 5957108 w 6689088"/>
              <a:gd name="connsiteY2488" fmla="*/ 1767487 h 6689084"/>
              <a:gd name="connsiteX2489" fmla="*/ 5998136 w 6689088"/>
              <a:gd name="connsiteY2489" fmla="*/ 1726459 h 6689084"/>
              <a:gd name="connsiteX2490" fmla="*/ 6152086 w 6689088"/>
              <a:gd name="connsiteY2490" fmla="*/ 1723917 h 6689084"/>
              <a:gd name="connsiteX2491" fmla="*/ 6195656 w 6689088"/>
              <a:gd name="connsiteY2491" fmla="*/ 1767487 h 6689084"/>
              <a:gd name="connsiteX2492" fmla="*/ 6152086 w 6689088"/>
              <a:gd name="connsiteY2492" fmla="*/ 1811057 h 6689084"/>
              <a:gd name="connsiteX2493" fmla="*/ 6108516 w 6689088"/>
              <a:gd name="connsiteY2493" fmla="*/ 1767487 h 6689084"/>
              <a:gd name="connsiteX2494" fmla="*/ 6152086 w 6689088"/>
              <a:gd name="connsiteY2494" fmla="*/ 1723917 h 6689084"/>
              <a:gd name="connsiteX2495" fmla="*/ 6305668 w 6689088"/>
              <a:gd name="connsiteY2495" fmla="*/ 1721378 h 6689084"/>
              <a:gd name="connsiteX2496" fmla="*/ 6351777 w 6689088"/>
              <a:gd name="connsiteY2496" fmla="*/ 1767491 h 6689084"/>
              <a:gd name="connsiteX2497" fmla="*/ 6305668 w 6689088"/>
              <a:gd name="connsiteY2497" fmla="*/ 1813603 h 6689084"/>
              <a:gd name="connsiteX2498" fmla="*/ 6259556 w 6689088"/>
              <a:gd name="connsiteY2498" fmla="*/ 1767491 h 6689084"/>
              <a:gd name="connsiteX2499" fmla="*/ 6305668 w 6689088"/>
              <a:gd name="connsiteY2499" fmla="*/ 1721378 h 6689084"/>
              <a:gd name="connsiteX2500" fmla="*/ 6459619 w 6689088"/>
              <a:gd name="connsiteY2500" fmla="*/ 1718835 h 6689084"/>
              <a:gd name="connsiteX2501" fmla="*/ 6508270 w 6689088"/>
              <a:gd name="connsiteY2501" fmla="*/ 1767491 h 6689084"/>
              <a:gd name="connsiteX2502" fmla="*/ 6459619 w 6689088"/>
              <a:gd name="connsiteY2502" fmla="*/ 1816142 h 6689084"/>
              <a:gd name="connsiteX2503" fmla="*/ 6410964 w 6689088"/>
              <a:gd name="connsiteY2503" fmla="*/ 1767491 h 6689084"/>
              <a:gd name="connsiteX2504" fmla="*/ 6459619 w 6689088"/>
              <a:gd name="connsiteY2504" fmla="*/ 1718835 h 6689084"/>
              <a:gd name="connsiteX2505" fmla="*/ 6613200 w 6689088"/>
              <a:gd name="connsiteY2505" fmla="*/ 1716293 h 6689084"/>
              <a:gd name="connsiteX2506" fmla="*/ 6664398 w 6689088"/>
              <a:gd name="connsiteY2506" fmla="*/ 1767487 h 6689084"/>
              <a:gd name="connsiteX2507" fmla="*/ 6613200 w 6689088"/>
              <a:gd name="connsiteY2507" fmla="*/ 1818681 h 6689084"/>
              <a:gd name="connsiteX2508" fmla="*/ 6562007 w 6689088"/>
              <a:gd name="connsiteY2508" fmla="*/ 1767487 h 6689084"/>
              <a:gd name="connsiteX2509" fmla="*/ 6613200 w 6689088"/>
              <a:gd name="connsiteY2509" fmla="*/ 1716293 h 6689084"/>
              <a:gd name="connsiteX2510" fmla="*/ 2307393 w 6689088"/>
              <a:gd name="connsiteY2510" fmla="*/ 1613539 h 6689084"/>
              <a:gd name="connsiteX2511" fmla="*/ 2307755 w 6689088"/>
              <a:gd name="connsiteY2511" fmla="*/ 1613901 h 6689084"/>
              <a:gd name="connsiteX2512" fmla="*/ 2307393 w 6689088"/>
              <a:gd name="connsiteY2512" fmla="*/ 1614267 h 6689084"/>
              <a:gd name="connsiteX2513" fmla="*/ 2307031 w 6689088"/>
              <a:gd name="connsiteY2513" fmla="*/ 1613901 h 6689084"/>
              <a:gd name="connsiteX2514" fmla="*/ 2307393 w 6689088"/>
              <a:gd name="connsiteY2514" fmla="*/ 1613539 h 6689084"/>
              <a:gd name="connsiteX2515" fmla="*/ 1846279 w 6689088"/>
              <a:gd name="connsiteY2515" fmla="*/ 1613539 h 6689084"/>
              <a:gd name="connsiteX2516" fmla="*/ 1846641 w 6689088"/>
              <a:gd name="connsiteY2516" fmla="*/ 1613901 h 6689084"/>
              <a:gd name="connsiteX2517" fmla="*/ 1846279 w 6689088"/>
              <a:gd name="connsiteY2517" fmla="*/ 1614267 h 6689084"/>
              <a:gd name="connsiteX2518" fmla="*/ 1845917 w 6689088"/>
              <a:gd name="connsiteY2518" fmla="*/ 1613901 h 6689084"/>
              <a:gd name="connsiteX2519" fmla="*/ 1846279 w 6689088"/>
              <a:gd name="connsiteY2519" fmla="*/ 1613539 h 6689084"/>
              <a:gd name="connsiteX2520" fmla="*/ 1692331 w 6689088"/>
              <a:gd name="connsiteY2520" fmla="*/ 1613539 h 6689084"/>
              <a:gd name="connsiteX2521" fmla="*/ 1692694 w 6689088"/>
              <a:gd name="connsiteY2521" fmla="*/ 1613901 h 6689084"/>
              <a:gd name="connsiteX2522" fmla="*/ 1692331 w 6689088"/>
              <a:gd name="connsiteY2522" fmla="*/ 1614267 h 6689084"/>
              <a:gd name="connsiteX2523" fmla="*/ 1691969 w 6689088"/>
              <a:gd name="connsiteY2523" fmla="*/ 1613901 h 6689084"/>
              <a:gd name="connsiteX2524" fmla="*/ 1692331 w 6689088"/>
              <a:gd name="connsiteY2524" fmla="*/ 1613539 h 6689084"/>
              <a:gd name="connsiteX2525" fmla="*/ 1538746 w 6689088"/>
              <a:gd name="connsiteY2525" fmla="*/ 1613177 h 6689084"/>
              <a:gd name="connsiteX2526" fmla="*/ 1539470 w 6689088"/>
              <a:gd name="connsiteY2526" fmla="*/ 1613905 h 6689084"/>
              <a:gd name="connsiteX2527" fmla="*/ 1538746 w 6689088"/>
              <a:gd name="connsiteY2527" fmla="*/ 1614630 h 6689084"/>
              <a:gd name="connsiteX2528" fmla="*/ 1538018 w 6689088"/>
              <a:gd name="connsiteY2528" fmla="*/ 1613905 h 6689084"/>
              <a:gd name="connsiteX2529" fmla="*/ 1538746 w 6689088"/>
              <a:gd name="connsiteY2529" fmla="*/ 1613177 h 6689084"/>
              <a:gd name="connsiteX2530" fmla="*/ 2461340 w 6689088"/>
              <a:gd name="connsiteY2530" fmla="*/ 1612091 h 6689084"/>
              <a:gd name="connsiteX2531" fmla="*/ 2462793 w 6689088"/>
              <a:gd name="connsiteY2531" fmla="*/ 1613543 h 6689084"/>
              <a:gd name="connsiteX2532" fmla="*/ 2461340 w 6689088"/>
              <a:gd name="connsiteY2532" fmla="*/ 1614995 h 6689084"/>
              <a:gd name="connsiteX2533" fmla="*/ 2459888 w 6689088"/>
              <a:gd name="connsiteY2533" fmla="*/ 1613543 h 6689084"/>
              <a:gd name="connsiteX2534" fmla="*/ 2461340 w 6689088"/>
              <a:gd name="connsiteY2534" fmla="*/ 1612091 h 6689084"/>
              <a:gd name="connsiteX2535" fmla="*/ 2614922 w 6689088"/>
              <a:gd name="connsiteY2535" fmla="*/ 1611363 h 6689084"/>
              <a:gd name="connsiteX2536" fmla="*/ 2617102 w 6689088"/>
              <a:gd name="connsiteY2536" fmla="*/ 1613539 h 6689084"/>
              <a:gd name="connsiteX2537" fmla="*/ 2614922 w 6689088"/>
              <a:gd name="connsiteY2537" fmla="*/ 1615720 h 6689084"/>
              <a:gd name="connsiteX2538" fmla="*/ 2612745 w 6689088"/>
              <a:gd name="connsiteY2538" fmla="*/ 1613539 h 6689084"/>
              <a:gd name="connsiteX2539" fmla="*/ 2614922 w 6689088"/>
              <a:gd name="connsiteY2539" fmla="*/ 1611363 h 6689084"/>
              <a:gd name="connsiteX2540" fmla="*/ 2768877 w 6689088"/>
              <a:gd name="connsiteY2540" fmla="*/ 1610638 h 6689084"/>
              <a:gd name="connsiteX2541" fmla="*/ 2772144 w 6689088"/>
              <a:gd name="connsiteY2541" fmla="*/ 1613905 h 6689084"/>
              <a:gd name="connsiteX2542" fmla="*/ 2768877 w 6689088"/>
              <a:gd name="connsiteY2542" fmla="*/ 1617176 h 6689084"/>
              <a:gd name="connsiteX2543" fmla="*/ 2765606 w 6689088"/>
              <a:gd name="connsiteY2543" fmla="*/ 1613905 h 6689084"/>
              <a:gd name="connsiteX2544" fmla="*/ 2768877 w 6689088"/>
              <a:gd name="connsiteY2544" fmla="*/ 1610638 h 6689084"/>
              <a:gd name="connsiteX2545" fmla="*/ 2922458 w 6689088"/>
              <a:gd name="connsiteY2545" fmla="*/ 1609182 h 6689084"/>
              <a:gd name="connsiteX2546" fmla="*/ 2926815 w 6689088"/>
              <a:gd name="connsiteY2546" fmla="*/ 1613539 h 6689084"/>
              <a:gd name="connsiteX2547" fmla="*/ 2922458 w 6689088"/>
              <a:gd name="connsiteY2547" fmla="*/ 1617896 h 6689084"/>
              <a:gd name="connsiteX2548" fmla="*/ 2918101 w 6689088"/>
              <a:gd name="connsiteY2548" fmla="*/ 1613539 h 6689084"/>
              <a:gd name="connsiteX2549" fmla="*/ 2922458 w 6689088"/>
              <a:gd name="connsiteY2549" fmla="*/ 1609182 h 6689084"/>
              <a:gd name="connsiteX2550" fmla="*/ 3076406 w 6689088"/>
              <a:gd name="connsiteY2550" fmla="*/ 1608096 h 6689084"/>
              <a:gd name="connsiteX2551" fmla="*/ 3082215 w 6689088"/>
              <a:gd name="connsiteY2551" fmla="*/ 1613905 h 6689084"/>
              <a:gd name="connsiteX2552" fmla="*/ 3076406 w 6689088"/>
              <a:gd name="connsiteY2552" fmla="*/ 1619715 h 6689084"/>
              <a:gd name="connsiteX2553" fmla="*/ 3070596 w 6689088"/>
              <a:gd name="connsiteY2553" fmla="*/ 1613905 h 6689084"/>
              <a:gd name="connsiteX2554" fmla="*/ 3076406 w 6689088"/>
              <a:gd name="connsiteY2554" fmla="*/ 1608096 h 6689084"/>
              <a:gd name="connsiteX2555" fmla="*/ 3230353 w 6689088"/>
              <a:gd name="connsiteY2555" fmla="*/ 1606281 h 6689084"/>
              <a:gd name="connsiteX2556" fmla="*/ 3237614 w 6689088"/>
              <a:gd name="connsiteY2556" fmla="*/ 1613543 h 6689084"/>
              <a:gd name="connsiteX2557" fmla="*/ 3230353 w 6689088"/>
              <a:gd name="connsiteY2557" fmla="*/ 1620805 h 6689084"/>
              <a:gd name="connsiteX2558" fmla="*/ 3223091 w 6689088"/>
              <a:gd name="connsiteY2558" fmla="*/ 1613543 h 6689084"/>
              <a:gd name="connsiteX2559" fmla="*/ 3230353 w 6689088"/>
              <a:gd name="connsiteY2559" fmla="*/ 1606281 h 6689084"/>
              <a:gd name="connsiteX2560" fmla="*/ 3383934 w 6689088"/>
              <a:gd name="connsiteY2560" fmla="*/ 1604463 h 6689084"/>
              <a:gd name="connsiteX2561" fmla="*/ 3393014 w 6689088"/>
              <a:gd name="connsiteY2561" fmla="*/ 1613539 h 6689084"/>
              <a:gd name="connsiteX2562" fmla="*/ 3383934 w 6689088"/>
              <a:gd name="connsiteY2562" fmla="*/ 1622619 h 6689084"/>
              <a:gd name="connsiteX2563" fmla="*/ 3374858 w 6689088"/>
              <a:gd name="connsiteY2563" fmla="*/ 1613539 h 6689084"/>
              <a:gd name="connsiteX2564" fmla="*/ 3383934 w 6689088"/>
              <a:gd name="connsiteY2564" fmla="*/ 1604463 h 6689084"/>
              <a:gd name="connsiteX2565" fmla="*/ 3537886 w 6689088"/>
              <a:gd name="connsiteY2565" fmla="*/ 1603739 h 6689084"/>
              <a:gd name="connsiteX2566" fmla="*/ 3548052 w 6689088"/>
              <a:gd name="connsiteY2566" fmla="*/ 1613905 h 6689084"/>
              <a:gd name="connsiteX2567" fmla="*/ 3537886 w 6689088"/>
              <a:gd name="connsiteY2567" fmla="*/ 1624072 h 6689084"/>
              <a:gd name="connsiteX2568" fmla="*/ 3527719 w 6689088"/>
              <a:gd name="connsiteY2568" fmla="*/ 1613905 h 6689084"/>
              <a:gd name="connsiteX2569" fmla="*/ 3537886 w 6689088"/>
              <a:gd name="connsiteY2569" fmla="*/ 1603739 h 6689084"/>
              <a:gd name="connsiteX2570" fmla="*/ 3691467 w 6689088"/>
              <a:gd name="connsiteY2570" fmla="*/ 1601559 h 6689084"/>
              <a:gd name="connsiteX2571" fmla="*/ 3703452 w 6689088"/>
              <a:gd name="connsiteY2571" fmla="*/ 1613539 h 6689084"/>
              <a:gd name="connsiteX2572" fmla="*/ 3691467 w 6689088"/>
              <a:gd name="connsiteY2572" fmla="*/ 1625520 h 6689084"/>
              <a:gd name="connsiteX2573" fmla="*/ 3679486 w 6689088"/>
              <a:gd name="connsiteY2573" fmla="*/ 1613539 h 6689084"/>
              <a:gd name="connsiteX2574" fmla="*/ 3691467 w 6689088"/>
              <a:gd name="connsiteY2574" fmla="*/ 1601559 h 6689084"/>
              <a:gd name="connsiteX2575" fmla="*/ 3845418 w 6689088"/>
              <a:gd name="connsiteY2575" fmla="*/ 1599744 h 6689084"/>
              <a:gd name="connsiteX2576" fmla="*/ 3859214 w 6689088"/>
              <a:gd name="connsiteY2576" fmla="*/ 1613539 h 6689084"/>
              <a:gd name="connsiteX2577" fmla="*/ 3845418 w 6689088"/>
              <a:gd name="connsiteY2577" fmla="*/ 1627338 h 6689084"/>
              <a:gd name="connsiteX2578" fmla="*/ 3831619 w 6689088"/>
              <a:gd name="connsiteY2578" fmla="*/ 1613539 h 6689084"/>
              <a:gd name="connsiteX2579" fmla="*/ 3845418 w 6689088"/>
              <a:gd name="connsiteY2579" fmla="*/ 1599744 h 6689084"/>
              <a:gd name="connsiteX2580" fmla="*/ 3999000 w 6689088"/>
              <a:gd name="connsiteY2580" fmla="*/ 1598654 h 6689084"/>
              <a:gd name="connsiteX2581" fmla="*/ 4014251 w 6689088"/>
              <a:gd name="connsiteY2581" fmla="*/ 1613905 h 6689084"/>
              <a:gd name="connsiteX2582" fmla="*/ 3999000 w 6689088"/>
              <a:gd name="connsiteY2582" fmla="*/ 1629153 h 6689084"/>
              <a:gd name="connsiteX2583" fmla="*/ 3983752 w 6689088"/>
              <a:gd name="connsiteY2583" fmla="*/ 1613905 h 6689084"/>
              <a:gd name="connsiteX2584" fmla="*/ 3999000 w 6689088"/>
              <a:gd name="connsiteY2584" fmla="*/ 1598654 h 6689084"/>
              <a:gd name="connsiteX2585" fmla="*/ 4152947 w 6689088"/>
              <a:gd name="connsiteY2585" fmla="*/ 1596477 h 6689084"/>
              <a:gd name="connsiteX2586" fmla="*/ 4170013 w 6689088"/>
              <a:gd name="connsiteY2586" fmla="*/ 1613543 h 6689084"/>
              <a:gd name="connsiteX2587" fmla="*/ 4152947 w 6689088"/>
              <a:gd name="connsiteY2587" fmla="*/ 1630605 h 6689084"/>
              <a:gd name="connsiteX2588" fmla="*/ 4135881 w 6689088"/>
              <a:gd name="connsiteY2588" fmla="*/ 1613543 h 6689084"/>
              <a:gd name="connsiteX2589" fmla="*/ 4152947 w 6689088"/>
              <a:gd name="connsiteY2589" fmla="*/ 1596477 h 6689084"/>
              <a:gd name="connsiteX2590" fmla="*/ 4306528 w 6689088"/>
              <a:gd name="connsiteY2590" fmla="*/ 1594297 h 6689084"/>
              <a:gd name="connsiteX2591" fmla="*/ 4325771 w 6689088"/>
              <a:gd name="connsiteY2591" fmla="*/ 1613539 h 6689084"/>
              <a:gd name="connsiteX2592" fmla="*/ 4306528 w 6689088"/>
              <a:gd name="connsiteY2592" fmla="*/ 1632786 h 6689084"/>
              <a:gd name="connsiteX2593" fmla="*/ 4287286 w 6689088"/>
              <a:gd name="connsiteY2593" fmla="*/ 1613539 h 6689084"/>
              <a:gd name="connsiteX2594" fmla="*/ 4306528 w 6689088"/>
              <a:gd name="connsiteY2594" fmla="*/ 1594297 h 6689084"/>
              <a:gd name="connsiteX2595" fmla="*/ 4460480 w 6689088"/>
              <a:gd name="connsiteY2595" fmla="*/ 1592120 h 6689084"/>
              <a:gd name="connsiteX2596" fmla="*/ 4481898 w 6689088"/>
              <a:gd name="connsiteY2596" fmla="*/ 1613543 h 6689084"/>
              <a:gd name="connsiteX2597" fmla="*/ 4460480 w 6689088"/>
              <a:gd name="connsiteY2597" fmla="*/ 1634966 h 6689084"/>
              <a:gd name="connsiteX2598" fmla="*/ 4439057 w 6689088"/>
              <a:gd name="connsiteY2598" fmla="*/ 1613543 h 6689084"/>
              <a:gd name="connsiteX2599" fmla="*/ 4460480 w 6689088"/>
              <a:gd name="connsiteY2599" fmla="*/ 1592120 h 6689084"/>
              <a:gd name="connsiteX2600" fmla="*/ 4614065 w 6689088"/>
              <a:gd name="connsiteY2600" fmla="*/ 1591030 h 6689084"/>
              <a:gd name="connsiteX2601" fmla="*/ 4636940 w 6689088"/>
              <a:gd name="connsiteY2601" fmla="*/ 1613905 h 6689084"/>
              <a:gd name="connsiteX2602" fmla="*/ 4614065 w 6689088"/>
              <a:gd name="connsiteY2602" fmla="*/ 1636780 h 6689084"/>
              <a:gd name="connsiteX2603" fmla="*/ 4591190 w 6689088"/>
              <a:gd name="connsiteY2603" fmla="*/ 1613905 h 6689084"/>
              <a:gd name="connsiteX2604" fmla="*/ 4614065 w 6689088"/>
              <a:gd name="connsiteY2604" fmla="*/ 1591030 h 6689084"/>
              <a:gd name="connsiteX2605" fmla="*/ 4768008 w 6689088"/>
              <a:gd name="connsiteY2605" fmla="*/ 1588850 h 6689084"/>
              <a:gd name="connsiteX2606" fmla="*/ 4793064 w 6689088"/>
              <a:gd name="connsiteY2606" fmla="*/ 1613901 h 6689084"/>
              <a:gd name="connsiteX2607" fmla="*/ 4768008 w 6689088"/>
              <a:gd name="connsiteY2607" fmla="*/ 1638957 h 6689084"/>
              <a:gd name="connsiteX2608" fmla="*/ 4742956 w 6689088"/>
              <a:gd name="connsiteY2608" fmla="*/ 1613901 h 6689084"/>
              <a:gd name="connsiteX2609" fmla="*/ 4768008 w 6689088"/>
              <a:gd name="connsiteY2609" fmla="*/ 1588850 h 6689084"/>
              <a:gd name="connsiteX2610" fmla="*/ 4921594 w 6689088"/>
              <a:gd name="connsiteY2610" fmla="*/ 1586673 h 6689084"/>
              <a:gd name="connsiteX2611" fmla="*/ 4948826 w 6689088"/>
              <a:gd name="connsiteY2611" fmla="*/ 1613905 h 6689084"/>
              <a:gd name="connsiteX2612" fmla="*/ 4921594 w 6689088"/>
              <a:gd name="connsiteY2612" fmla="*/ 1641137 h 6689084"/>
              <a:gd name="connsiteX2613" fmla="*/ 4894362 w 6689088"/>
              <a:gd name="connsiteY2613" fmla="*/ 1613905 h 6689084"/>
              <a:gd name="connsiteX2614" fmla="*/ 4921594 w 6689088"/>
              <a:gd name="connsiteY2614" fmla="*/ 1586673 h 6689084"/>
              <a:gd name="connsiteX2615" fmla="*/ 5075545 w 6689088"/>
              <a:gd name="connsiteY2615" fmla="*/ 1584131 h 6689084"/>
              <a:gd name="connsiteX2616" fmla="*/ 5105316 w 6689088"/>
              <a:gd name="connsiteY2616" fmla="*/ 1613901 h 6689084"/>
              <a:gd name="connsiteX2617" fmla="*/ 5075545 w 6689088"/>
              <a:gd name="connsiteY2617" fmla="*/ 1643676 h 6689084"/>
              <a:gd name="connsiteX2618" fmla="*/ 5045770 w 6689088"/>
              <a:gd name="connsiteY2618" fmla="*/ 1613901 h 6689084"/>
              <a:gd name="connsiteX2619" fmla="*/ 5075545 w 6689088"/>
              <a:gd name="connsiteY2619" fmla="*/ 1584131 h 6689084"/>
              <a:gd name="connsiteX2620" fmla="*/ 5229126 w 6689088"/>
              <a:gd name="connsiteY2620" fmla="*/ 1581592 h 6689084"/>
              <a:gd name="connsiteX2621" fmla="*/ 5261078 w 6689088"/>
              <a:gd name="connsiteY2621" fmla="*/ 1613543 h 6689084"/>
              <a:gd name="connsiteX2622" fmla="*/ 5229126 w 6689088"/>
              <a:gd name="connsiteY2622" fmla="*/ 1645494 h 6689084"/>
              <a:gd name="connsiteX2623" fmla="*/ 5197175 w 6689088"/>
              <a:gd name="connsiteY2623" fmla="*/ 1613543 h 6689084"/>
              <a:gd name="connsiteX2624" fmla="*/ 5229126 w 6689088"/>
              <a:gd name="connsiteY2624" fmla="*/ 1581592 h 6689084"/>
              <a:gd name="connsiteX2625" fmla="*/ 5383074 w 6689088"/>
              <a:gd name="connsiteY2625" fmla="*/ 1579773 h 6689084"/>
              <a:gd name="connsiteX2626" fmla="*/ 5416844 w 6689088"/>
              <a:gd name="connsiteY2626" fmla="*/ 1613539 h 6689084"/>
              <a:gd name="connsiteX2627" fmla="*/ 5383074 w 6689088"/>
              <a:gd name="connsiteY2627" fmla="*/ 1647309 h 6689084"/>
              <a:gd name="connsiteX2628" fmla="*/ 5349308 w 6689088"/>
              <a:gd name="connsiteY2628" fmla="*/ 1613539 h 6689084"/>
              <a:gd name="connsiteX2629" fmla="*/ 5383074 w 6689088"/>
              <a:gd name="connsiteY2629" fmla="*/ 1579773 h 6689084"/>
              <a:gd name="connsiteX2630" fmla="*/ 5536659 w 6689088"/>
              <a:gd name="connsiteY2630" fmla="*/ 1577231 h 6689084"/>
              <a:gd name="connsiteX2631" fmla="*/ 5572968 w 6689088"/>
              <a:gd name="connsiteY2631" fmla="*/ 1613539 h 6689084"/>
              <a:gd name="connsiteX2632" fmla="*/ 5536659 w 6689088"/>
              <a:gd name="connsiteY2632" fmla="*/ 1649848 h 6689084"/>
              <a:gd name="connsiteX2633" fmla="*/ 5500351 w 6689088"/>
              <a:gd name="connsiteY2633" fmla="*/ 1613539 h 6689084"/>
              <a:gd name="connsiteX2634" fmla="*/ 5536659 w 6689088"/>
              <a:gd name="connsiteY2634" fmla="*/ 1577231 h 6689084"/>
              <a:gd name="connsiteX2635" fmla="*/ 5690606 w 6689088"/>
              <a:gd name="connsiteY2635" fmla="*/ 1574692 h 6689084"/>
              <a:gd name="connsiteX2636" fmla="*/ 5729458 w 6689088"/>
              <a:gd name="connsiteY2636" fmla="*/ 1613543 h 6689084"/>
              <a:gd name="connsiteX2637" fmla="*/ 5690606 w 6689088"/>
              <a:gd name="connsiteY2637" fmla="*/ 1652390 h 6689084"/>
              <a:gd name="connsiteX2638" fmla="*/ 5651756 w 6689088"/>
              <a:gd name="connsiteY2638" fmla="*/ 1613543 h 6689084"/>
              <a:gd name="connsiteX2639" fmla="*/ 5690606 w 6689088"/>
              <a:gd name="connsiteY2639" fmla="*/ 1574692 h 6689084"/>
              <a:gd name="connsiteX2640" fmla="*/ 5844554 w 6689088"/>
              <a:gd name="connsiteY2640" fmla="*/ 1572512 h 6689084"/>
              <a:gd name="connsiteX2641" fmla="*/ 5885585 w 6689088"/>
              <a:gd name="connsiteY2641" fmla="*/ 1613539 h 6689084"/>
              <a:gd name="connsiteX2642" fmla="*/ 5844554 w 6689088"/>
              <a:gd name="connsiteY2642" fmla="*/ 1654567 h 6689084"/>
              <a:gd name="connsiteX2643" fmla="*/ 5803526 w 6689088"/>
              <a:gd name="connsiteY2643" fmla="*/ 1613539 h 6689084"/>
              <a:gd name="connsiteX2644" fmla="*/ 5844554 w 6689088"/>
              <a:gd name="connsiteY2644" fmla="*/ 1572512 h 6689084"/>
              <a:gd name="connsiteX2645" fmla="*/ 5998136 w 6689088"/>
              <a:gd name="connsiteY2645" fmla="*/ 1569973 h 6689084"/>
              <a:gd name="connsiteX2646" fmla="*/ 6041706 w 6689088"/>
              <a:gd name="connsiteY2646" fmla="*/ 1613543 h 6689084"/>
              <a:gd name="connsiteX2647" fmla="*/ 5998136 w 6689088"/>
              <a:gd name="connsiteY2647" fmla="*/ 1657113 h 6689084"/>
              <a:gd name="connsiteX2648" fmla="*/ 5954566 w 6689088"/>
              <a:gd name="connsiteY2648" fmla="*/ 1613543 h 6689084"/>
              <a:gd name="connsiteX2649" fmla="*/ 5998136 w 6689088"/>
              <a:gd name="connsiteY2649" fmla="*/ 1569973 h 6689084"/>
              <a:gd name="connsiteX2650" fmla="*/ 6152083 w 6689088"/>
              <a:gd name="connsiteY2650" fmla="*/ 1567431 h 6689084"/>
              <a:gd name="connsiteX2651" fmla="*/ 6198196 w 6689088"/>
              <a:gd name="connsiteY2651" fmla="*/ 1613543 h 6689084"/>
              <a:gd name="connsiteX2652" fmla="*/ 6152083 w 6689088"/>
              <a:gd name="connsiteY2652" fmla="*/ 1659656 h 6689084"/>
              <a:gd name="connsiteX2653" fmla="*/ 6105974 w 6689088"/>
              <a:gd name="connsiteY2653" fmla="*/ 1613543 h 6689084"/>
              <a:gd name="connsiteX2654" fmla="*/ 6152083 w 6689088"/>
              <a:gd name="connsiteY2654" fmla="*/ 1567431 h 6689084"/>
              <a:gd name="connsiteX2655" fmla="*/ 6305672 w 6689088"/>
              <a:gd name="connsiteY2655" fmla="*/ 1564888 h 6689084"/>
              <a:gd name="connsiteX2656" fmla="*/ 6354323 w 6689088"/>
              <a:gd name="connsiteY2656" fmla="*/ 1613543 h 6689084"/>
              <a:gd name="connsiteX2657" fmla="*/ 6305672 w 6689088"/>
              <a:gd name="connsiteY2657" fmla="*/ 1662194 h 6689084"/>
              <a:gd name="connsiteX2658" fmla="*/ 6257016 w 6689088"/>
              <a:gd name="connsiteY2658" fmla="*/ 1613543 h 6689084"/>
              <a:gd name="connsiteX2659" fmla="*/ 6305672 w 6689088"/>
              <a:gd name="connsiteY2659" fmla="*/ 1564888 h 6689084"/>
              <a:gd name="connsiteX2660" fmla="*/ 6459619 w 6689088"/>
              <a:gd name="connsiteY2660" fmla="*/ 1562346 h 6689084"/>
              <a:gd name="connsiteX2661" fmla="*/ 6510813 w 6689088"/>
              <a:gd name="connsiteY2661" fmla="*/ 1613539 h 6689084"/>
              <a:gd name="connsiteX2662" fmla="*/ 6459619 w 6689088"/>
              <a:gd name="connsiteY2662" fmla="*/ 1664733 h 6689084"/>
              <a:gd name="connsiteX2663" fmla="*/ 6408422 w 6689088"/>
              <a:gd name="connsiteY2663" fmla="*/ 1613539 h 6689084"/>
              <a:gd name="connsiteX2664" fmla="*/ 6459619 w 6689088"/>
              <a:gd name="connsiteY2664" fmla="*/ 1562346 h 6689084"/>
              <a:gd name="connsiteX2665" fmla="*/ 6613197 w 6689088"/>
              <a:gd name="connsiteY2665" fmla="*/ 1560169 h 6689084"/>
              <a:gd name="connsiteX2666" fmla="*/ 6666575 w 6689088"/>
              <a:gd name="connsiteY2666" fmla="*/ 1613543 h 6689084"/>
              <a:gd name="connsiteX2667" fmla="*/ 6613197 w 6689088"/>
              <a:gd name="connsiteY2667" fmla="*/ 1666914 h 6689084"/>
              <a:gd name="connsiteX2668" fmla="*/ 6559826 w 6689088"/>
              <a:gd name="connsiteY2668" fmla="*/ 1613543 h 6689084"/>
              <a:gd name="connsiteX2669" fmla="*/ 6613197 w 6689088"/>
              <a:gd name="connsiteY2669" fmla="*/ 1560169 h 6689084"/>
              <a:gd name="connsiteX2670" fmla="*/ 2153808 w 6689088"/>
              <a:gd name="connsiteY2670" fmla="*/ 1459596 h 6689084"/>
              <a:gd name="connsiteX2671" fmla="*/ 2154170 w 6689088"/>
              <a:gd name="connsiteY2671" fmla="*/ 1459958 h 6689084"/>
              <a:gd name="connsiteX2672" fmla="*/ 2153808 w 6689088"/>
              <a:gd name="connsiteY2672" fmla="*/ 1460324 h 6689084"/>
              <a:gd name="connsiteX2673" fmla="*/ 2153445 w 6689088"/>
              <a:gd name="connsiteY2673" fmla="*/ 1459958 h 6689084"/>
              <a:gd name="connsiteX2674" fmla="*/ 2153808 w 6689088"/>
              <a:gd name="connsiteY2674" fmla="*/ 1459596 h 6689084"/>
              <a:gd name="connsiteX2675" fmla="*/ 1692331 w 6689088"/>
              <a:gd name="connsiteY2675" fmla="*/ 1459596 h 6689084"/>
              <a:gd name="connsiteX2676" fmla="*/ 1692694 w 6689088"/>
              <a:gd name="connsiteY2676" fmla="*/ 1459958 h 6689084"/>
              <a:gd name="connsiteX2677" fmla="*/ 1692331 w 6689088"/>
              <a:gd name="connsiteY2677" fmla="*/ 1460324 h 6689084"/>
              <a:gd name="connsiteX2678" fmla="*/ 1691969 w 6689088"/>
              <a:gd name="connsiteY2678" fmla="*/ 1459958 h 6689084"/>
              <a:gd name="connsiteX2679" fmla="*/ 1692331 w 6689088"/>
              <a:gd name="connsiteY2679" fmla="*/ 1459596 h 6689084"/>
              <a:gd name="connsiteX2680" fmla="*/ 1538746 w 6689088"/>
              <a:gd name="connsiteY2680" fmla="*/ 1459596 h 6689084"/>
              <a:gd name="connsiteX2681" fmla="*/ 1539108 w 6689088"/>
              <a:gd name="connsiteY2681" fmla="*/ 1459958 h 6689084"/>
              <a:gd name="connsiteX2682" fmla="*/ 1538746 w 6689088"/>
              <a:gd name="connsiteY2682" fmla="*/ 1460324 h 6689084"/>
              <a:gd name="connsiteX2683" fmla="*/ 1538384 w 6689088"/>
              <a:gd name="connsiteY2683" fmla="*/ 1459958 h 6689084"/>
              <a:gd name="connsiteX2684" fmla="*/ 1538746 w 6689088"/>
              <a:gd name="connsiteY2684" fmla="*/ 1459596 h 6689084"/>
              <a:gd name="connsiteX2685" fmla="*/ 1384795 w 6689088"/>
              <a:gd name="connsiteY2685" fmla="*/ 1459230 h 6689084"/>
              <a:gd name="connsiteX2686" fmla="*/ 1385523 w 6689088"/>
              <a:gd name="connsiteY2686" fmla="*/ 1459958 h 6689084"/>
              <a:gd name="connsiteX2687" fmla="*/ 1384795 w 6689088"/>
              <a:gd name="connsiteY2687" fmla="*/ 1460682 h 6689084"/>
              <a:gd name="connsiteX2688" fmla="*/ 1384071 w 6689088"/>
              <a:gd name="connsiteY2688" fmla="*/ 1459958 h 6689084"/>
              <a:gd name="connsiteX2689" fmla="*/ 1384795 w 6689088"/>
              <a:gd name="connsiteY2689" fmla="*/ 1459230 h 6689084"/>
              <a:gd name="connsiteX2690" fmla="*/ 2307393 w 6689088"/>
              <a:gd name="connsiteY2690" fmla="*/ 1458140 h 6689084"/>
              <a:gd name="connsiteX2691" fmla="*/ 2308845 w 6689088"/>
              <a:gd name="connsiteY2691" fmla="*/ 1459592 h 6689084"/>
              <a:gd name="connsiteX2692" fmla="*/ 2307393 w 6689088"/>
              <a:gd name="connsiteY2692" fmla="*/ 1461044 h 6689084"/>
              <a:gd name="connsiteX2693" fmla="*/ 2305941 w 6689088"/>
              <a:gd name="connsiteY2693" fmla="*/ 1459592 h 6689084"/>
              <a:gd name="connsiteX2694" fmla="*/ 2307393 w 6689088"/>
              <a:gd name="connsiteY2694" fmla="*/ 1458140 h 6689084"/>
              <a:gd name="connsiteX2695" fmla="*/ 2461340 w 6689088"/>
              <a:gd name="connsiteY2695" fmla="*/ 1457777 h 6689084"/>
              <a:gd name="connsiteX2696" fmla="*/ 2463521 w 6689088"/>
              <a:gd name="connsiteY2696" fmla="*/ 1459954 h 6689084"/>
              <a:gd name="connsiteX2697" fmla="*/ 2461340 w 6689088"/>
              <a:gd name="connsiteY2697" fmla="*/ 1462134 h 6689084"/>
              <a:gd name="connsiteX2698" fmla="*/ 2459164 w 6689088"/>
              <a:gd name="connsiteY2698" fmla="*/ 1459954 h 6689084"/>
              <a:gd name="connsiteX2699" fmla="*/ 2461340 w 6689088"/>
              <a:gd name="connsiteY2699" fmla="*/ 1457777 h 6689084"/>
              <a:gd name="connsiteX2700" fmla="*/ 2614925 w 6689088"/>
              <a:gd name="connsiteY2700" fmla="*/ 1456687 h 6689084"/>
              <a:gd name="connsiteX2701" fmla="*/ 2618192 w 6689088"/>
              <a:gd name="connsiteY2701" fmla="*/ 1459954 h 6689084"/>
              <a:gd name="connsiteX2702" fmla="*/ 2614925 w 6689088"/>
              <a:gd name="connsiteY2702" fmla="*/ 1463225 h 6689084"/>
              <a:gd name="connsiteX2703" fmla="*/ 2611659 w 6689088"/>
              <a:gd name="connsiteY2703" fmla="*/ 1459954 h 6689084"/>
              <a:gd name="connsiteX2704" fmla="*/ 2614925 w 6689088"/>
              <a:gd name="connsiteY2704" fmla="*/ 1456687 h 6689084"/>
              <a:gd name="connsiteX2705" fmla="*/ 2768873 w 6689088"/>
              <a:gd name="connsiteY2705" fmla="*/ 1455601 h 6689084"/>
              <a:gd name="connsiteX2706" fmla="*/ 2773230 w 6689088"/>
              <a:gd name="connsiteY2706" fmla="*/ 1459958 h 6689084"/>
              <a:gd name="connsiteX2707" fmla="*/ 2768873 w 6689088"/>
              <a:gd name="connsiteY2707" fmla="*/ 1464315 h 6689084"/>
              <a:gd name="connsiteX2708" fmla="*/ 2764516 w 6689088"/>
              <a:gd name="connsiteY2708" fmla="*/ 1459958 h 6689084"/>
              <a:gd name="connsiteX2709" fmla="*/ 2768873 w 6689088"/>
              <a:gd name="connsiteY2709" fmla="*/ 1455601 h 6689084"/>
              <a:gd name="connsiteX2710" fmla="*/ 2922458 w 6689088"/>
              <a:gd name="connsiteY2710" fmla="*/ 1454149 h 6689084"/>
              <a:gd name="connsiteX2711" fmla="*/ 2928267 w 6689088"/>
              <a:gd name="connsiteY2711" fmla="*/ 1459958 h 6689084"/>
              <a:gd name="connsiteX2712" fmla="*/ 2922458 w 6689088"/>
              <a:gd name="connsiteY2712" fmla="*/ 1465767 h 6689084"/>
              <a:gd name="connsiteX2713" fmla="*/ 2916649 w 6689088"/>
              <a:gd name="connsiteY2713" fmla="*/ 1459958 h 6689084"/>
              <a:gd name="connsiteX2714" fmla="*/ 2922458 w 6689088"/>
              <a:gd name="connsiteY2714" fmla="*/ 1454149 h 6689084"/>
              <a:gd name="connsiteX2715" fmla="*/ 3076406 w 6689088"/>
              <a:gd name="connsiteY2715" fmla="*/ 1452696 h 6689084"/>
              <a:gd name="connsiteX2716" fmla="*/ 3083667 w 6689088"/>
              <a:gd name="connsiteY2716" fmla="*/ 1459958 h 6689084"/>
              <a:gd name="connsiteX2717" fmla="*/ 3076406 w 6689088"/>
              <a:gd name="connsiteY2717" fmla="*/ 1467220 h 6689084"/>
              <a:gd name="connsiteX2718" fmla="*/ 3069144 w 6689088"/>
              <a:gd name="connsiteY2718" fmla="*/ 1459958 h 6689084"/>
              <a:gd name="connsiteX2719" fmla="*/ 3076406 w 6689088"/>
              <a:gd name="connsiteY2719" fmla="*/ 1452696 h 6689084"/>
              <a:gd name="connsiteX2720" fmla="*/ 3230353 w 6689088"/>
              <a:gd name="connsiteY2720" fmla="*/ 1450516 h 6689084"/>
              <a:gd name="connsiteX2721" fmla="*/ 3239433 w 6689088"/>
              <a:gd name="connsiteY2721" fmla="*/ 1459592 h 6689084"/>
              <a:gd name="connsiteX2722" fmla="*/ 3230353 w 6689088"/>
              <a:gd name="connsiteY2722" fmla="*/ 1468672 h 6689084"/>
              <a:gd name="connsiteX2723" fmla="*/ 3221277 w 6689088"/>
              <a:gd name="connsiteY2723" fmla="*/ 1459592 h 6689084"/>
              <a:gd name="connsiteX2724" fmla="*/ 3230353 w 6689088"/>
              <a:gd name="connsiteY2724" fmla="*/ 1450516 h 6689084"/>
              <a:gd name="connsiteX2725" fmla="*/ 3383934 w 6689088"/>
              <a:gd name="connsiteY2725" fmla="*/ 1449791 h 6689084"/>
              <a:gd name="connsiteX2726" fmla="*/ 3394100 w 6689088"/>
              <a:gd name="connsiteY2726" fmla="*/ 1459958 h 6689084"/>
              <a:gd name="connsiteX2727" fmla="*/ 3383934 w 6689088"/>
              <a:gd name="connsiteY2727" fmla="*/ 1470124 h 6689084"/>
              <a:gd name="connsiteX2728" fmla="*/ 3373768 w 6689088"/>
              <a:gd name="connsiteY2728" fmla="*/ 1459958 h 6689084"/>
              <a:gd name="connsiteX2729" fmla="*/ 3383934 w 6689088"/>
              <a:gd name="connsiteY2729" fmla="*/ 1449791 h 6689084"/>
              <a:gd name="connsiteX2730" fmla="*/ 3537882 w 6689088"/>
              <a:gd name="connsiteY2730" fmla="*/ 1447977 h 6689084"/>
              <a:gd name="connsiteX2731" fmla="*/ 3549866 w 6689088"/>
              <a:gd name="connsiteY2731" fmla="*/ 1459958 h 6689084"/>
              <a:gd name="connsiteX2732" fmla="*/ 3537882 w 6689088"/>
              <a:gd name="connsiteY2732" fmla="*/ 1471939 h 6689084"/>
              <a:gd name="connsiteX2733" fmla="*/ 3525901 w 6689088"/>
              <a:gd name="connsiteY2733" fmla="*/ 1459958 h 6689084"/>
              <a:gd name="connsiteX2734" fmla="*/ 3537882 w 6689088"/>
              <a:gd name="connsiteY2734" fmla="*/ 1447977 h 6689084"/>
              <a:gd name="connsiteX2735" fmla="*/ 3691467 w 6689088"/>
              <a:gd name="connsiteY2735" fmla="*/ 1445797 h 6689084"/>
              <a:gd name="connsiteX2736" fmla="*/ 3705266 w 6689088"/>
              <a:gd name="connsiteY2736" fmla="*/ 1459596 h 6689084"/>
              <a:gd name="connsiteX2737" fmla="*/ 3691467 w 6689088"/>
              <a:gd name="connsiteY2737" fmla="*/ 1473391 h 6689084"/>
              <a:gd name="connsiteX2738" fmla="*/ 3677672 w 6689088"/>
              <a:gd name="connsiteY2738" fmla="*/ 1459596 h 6689084"/>
              <a:gd name="connsiteX2739" fmla="*/ 3691467 w 6689088"/>
              <a:gd name="connsiteY2739" fmla="*/ 1445797 h 6689084"/>
              <a:gd name="connsiteX2740" fmla="*/ 3845414 w 6689088"/>
              <a:gd name="connsiteY2740" fmla="*/ 1444706 h 6689084"/>
              <a:gd name="connsiteX2741" fmla="*/ 3860666 w 6689088"/>
              <a:gd name="connsiteY2741" fmla="*/ 1459954 h 6689084"/>
              <a:gd name="connsiteX2742" fmla="*/ 3845414 w 6689088"/>
              <a:gd name="connsiteY2742" fmla="*/ 1475205 h 6689084"/>
              <a:gd name="connsiteX2743" fmla="*/ 3830167 w 6689088"/>
              <a:gd name="connsiteY2743" fmla="*/ 1459954 h 6689084"/>
              <a:gd name="connsiteX2744" fmla="*/ 3845414 w 6689088"/>
              <a:gd name="connsiteY2744" fmla="*/ 1444706 h 6689084"/>
              <a:gd name="connsiteX2745" fmla="*/ 3999000 w 6689088"/>
              <a:gd name="connsiteY2745" fmla="*/ 1442892 h 6689084"/>
              <a:gd name="connsiteX2746" fmla="*/ 4016066 w 6689088"/>
              <a:gd name="connsiteY2746" fmla="*/ 1459958 h 6689084"/>
              <a:gd name="connsiteX2747" fmla="*/ 3999000 w 6689088"/>
              <a:gd name="connsiteY2747" fmla="*/ 1477020 h 6689084"/>
              <a:gd name="connsiteX2748" fmla="*/ 3981934 w 6689088"/>
              <a:gd name="connsiteY2748" fmla="*/ 1459958 h 6689084"/>
              <a:gd name="connsiteX2749" fmla="*/ 3999000 w 6689088"/>
              <a:gd name="connsiteY2749" fmla="*/ 1442892 h 6689084"/>
              <a:gd name="connsiteX2750" fmla="*/ 4152947 w 6689088"/>
              <a:gd name="connsiteY2750" fmla="*/ 1440715 h 6689084"/>
              <a:gd name="connsiteX2751" fmla="*/ 4172194 w 6689088"/>
              <a:gd name="connsiteY2751" fmla="*/ 1459958 h 6689084"/>
              <a:gd name="connsiteX2752" fmla="*/ 4152947 w 6689088"/>
              <a:gd name="connsiteY2752" fmla="*/ 1479200 h 6689084"/>
              <a:gd name="connsiteX2753" fmla="*/ 4133704 w 6689088"/>
              <a:gd name="connsiteY2753" fmla="*/ 1459958 h 6689084"/>
              <a:gd name="connsiteX2754" fmla="*/ 4152947 w 6689088"/>
              <a:gd name="connsiteY2754" fmla="*/ 1440715 h 6689084"/>
              <a:gd name="connsiteX2755" fmla="*/ 4306532 w 6689088"/>
              <a:gd name="connsiteY2755" fmla="*/ 1438535 h 6689084"/>
              <a:gd name="connsiteX2756" fmla="*/ 4327952 w 6689088"/>
              <a:gd name="connsiteY2756" fmla="*/ 1459958 h 6689084"/>
              <a:gd name="connsiteX2757" fmla="*/ 4306532 w 6689088"/>
              <a:gd name="connsiteY2757" fmla="*/ 1481381 h 6689084"/>
              <a:gd name="connsiteX2758" fmla="*/ 4285110 w 6689088"/>
              <a:gd name="connsiteY2758" fmla="*/ 1459958 h 6689084"/>
              <a:gd name="connsiteX2759" fmla="*/ 4306532 w 6689088"/>
              <a:gd name="connsiteY2759" fmla="*/ 1438535 h 6689084"/>
              <a:gd name="connsiteX2760" fmla="*/ 4460480 w 6689088"/>
              <a:gd name="connsiteY2760" fmla="*/ 1437083 h 6689084"/>
              <a:gd name="connsiteX2761" fmla="*/ 4483355 w 6689088"/>
              <a:gd name="connsiteY2761" fmla="*/ 1459958 h 6689084"/>
              <a:gd name="connsiteX2762" fmla="*/ 4460480 w 6689088"/>
              <a:gd name="connsiteY2762" fmla="*/ 1482833 h 6689084"/>
              <a:gd name="connsiteX2763" fmla="*/ 4437604 w 6689088"/>
              <a:gd name="connsiteY2763" fmla="*/ 1459958 h 6689084"/>
              <a:gd name="connsiteX2764" fmla="*/ 4460480 w 6689088"/>
              <a:gd name="connsiteY2764" fmla="*/ 1437083 h 6689084"/>
              <a:gd name="connsiteX2765" fmla="*/ 4614061 w 6689088"/>
              <a:gd name="connsiteY2765" fmla="*/ 1434906 h 6689084"/>
              <a:gd name="connsiteX2766" fmla="*/ 4639116 w 6689088"/>
              <a:gd name="connsiteY2766" fmla="*/ 1459958 h 6689084"/>
              <a:gd name="connsiteX2767" fmla="*/ 4614061 w 6689088"/>
              <a:gd name="connsiteY2767" fmla="*/ 1485013 h 6689084"/>
              <a:gd name="connsiteX2768" fmla="*/ 4589010 w 6689088"/>
              <a:gd name="connsiteY2768" fmla="*/ 1459958 h 6689084"/>
              <a:gd name="connsiteX2769" fmla="*/ 4614061 w 6689088"/>
              <a:gd name="connsiteY2769" fmla="*/ 1434906 h 6689084"/>
              <a:gd name="connsiteX2770" fmla="*/ 4768012 w 6689088"/>
              <a:gd name="connsiteY2770" fmla="*/ 1432726 h 6689084"/>
              <a:gd name="connsiteX2771" fmla="*/ 4795244 w 6689088"/>
              <a:gd name="connsiteY2771" fmla="*/ 1459958 h 6689084"/>
              <a:gd name="connsiteX2772" fmla="*/ 4768012 w 6689088"/>
              <a:gd name="connsiteY2772" fmla="*/ 1487190 h 6689084"/>
              <a:gd name="connsiteX2773" fmla="*/ 4740780 w 6689088"/>
              <a:gd name="connsiteY2773" fmla="*/ 1459958 h 6689084"/>
              <a:gd name="connsiteX2774" fmla="*/ 4768012 w 6689088"/>
              <a:gd name="connsiteY2774" fmla="*/ 1432726 h 6689084"/>
              <a:gd name="connsiteX2775" fmla="*/ 4921594 w 6689088"/>
              <a:gd name="connsiteY2775" fmla="*/ 1430183 h 6689084"/>
              <a:gd name="connsiteX2776" fmla="*/ 4951368 w 6689088"/>
              <a:gd name="connsiteY2776" fmla="*/ 1459954 h 6689084"/>
              <a:gd name="connsiteX2777" fmla="*/ 4921594 w 6689088"/>
              <a:gd name="connsiteY2777" fmla="*/ 1489729 h 6689084"/>
              <a:gd name="connsiteX2778" fmla="*/ 4891823 w 6689088"/>
              <a:gd name="connsiteY2778" fmla="*/ 1459954 h 6689084"/>
              <a:gd name="connsiteX2779" fmla="*/ 4921594 w 6689088"/>
              <a:gd name="connsiteY2779" fmla="*/ 1430183 h 6689084"/>
              <a:gd name="connsiteX2780" fmla="*/ 5075541 w 6689088"/>
              <a:gd name="connsiteY2780" fmla="*/ 1428007 h 6689084"/>
              <a:gd name="connsiteX2781" fmla="*/ 5107492 w 6689088"/>
              <a:gd name="connsiteY2781" fmla="*/ 1459958 h 6689084"/>
              <a:gd name="connsiteX2782" fmla="*/ 5075541 w 6689088"/>
              <a:gd name="connsiteY2782" fmla="*/ 1491909 h 6689084"/>
              <a:gd name="connsiteX2783" fmla="*/ 5043590 w 6689088"/>
              <a:gd name="connsiteY2783" fmla="*/ 1459958 h 6689084"/>
              <a:gd name="connsiteX2784" fmla="*/ 5075541 w 6689088"/>
              <a:gd name="connsiteY2784" fmla="*/ 1428007 h 6689084"/>
              <a:gd name="connsiteX2785" fmla="*/ 5229126 w 6689088"/>
              <a:gd name="connsiteY2785" fmla="*/ 1426192 h 6689084"/>
              <a:gd name="connsiteX2786" fmla="*/ 5262892 w 6689088"/>
              <a:gd name="connsiteY2786" fmla="*/ 1459958 h 6689084"/>
              <a:gd name="connsiteX2787" fmla="*/ 5229126 w 6689088"/>
              <a:gd name="connsiteY2787" fmla="*/ 1493724 h 6689084"/>
              <a:gd name="connsiteX2788" fmla="*/ 5195360 w 6689088"/>
              <a:gd name="connsiteY2788" fmla="*/ 1459958 h 6689084"/>
              <a:gd name="connsiteX2789" fmla="*/ 5229126 w 6689088"/>
              <a:gd name="connsiteY2789" fmla="*/ 1426192 h 6689084"/>
              <a:gd name="connsiteX2790" fmla="*/ 5383074 w 6689088"/>
              <a:gd name="connsiteY2790" fmla="*/ 1423650 h 6689084"/>
              <a:gd name="connsiteX2791" fmla="*/ 5419382 w 6689088"/>
              <a:gd name="connsiteY2791" fmla="*/ 1459958 h 6689084"/>
              <a:gd name="connsiteX2792" fmla="*/ 5383074 w 6689088"/>
              <a:gd name="connsiteY2792" fmla="*/ 1496266 h 6689084"/>
              <a:gd name="connsiteX2793" fmla="*/ 5346766 w 6689088"/>
              <a:gd name="connsiteY2793" fmla="*/ 1459958 h 6689084"/>
              <a:gd name="connsiteX2794" fmla="*/ 5383074 w 6689088"/>
              <a:gd name="connsiteY2794" fmla="*/ 1423650 h 6689084"/>
              <a:gd name="connsiteX2795" fmla="*/ 5536659 w 6689088"/>
              <a:gd name="connsiteY2795" fmla="*/ 1421107 h 6689084"/>
              <a:gd name="connsiteX2796" fmla="*/ 5575506 w 6689088"/>
              <a:gd name="connsiteY2796" fmla="*/ 1459958 h 6689084"/>
              <a:gd name="connsiteX2797" fmla="*/ 5536659 w 6689088"/>
              <a:gd name="connsiteY2797" fmla="*/ 1498805 h 6689084"/>
              <a:gd name="connsiteX2798" fmla="*/ 5497808 w 6689088"/>
              <a:gd name="connsiteY2798" fmla="*/ 1459958 h 6689084"/>
              <a:gd name="connsiteX2799" fmla="*/ 5536659 w 6689088"/>
              <a:gd name="connsiteY2799" fmla="*/ 1421107 h 6689084"/>
              <a:gd name="connsiteX2800" fmla="*/ 5690606 w 6689088"/>
              <a:gd name="connsiteY2800" fmla="*/ 1418930 h 6689084"/>
              <a:gd name="connsiteX2801" fmla="*/ 5731638 w 6689088"/>
              <a:gd name="connsiteY2801" fmla="*/ 1459958 h 6689084"/>
              <a:gd name="connsiteX2802" fmla="*/ 5690606 w 6689088"/>
              <a:gd name="connsiteY2802" fmla="*/ 1500985 h 6689084"/>
              <a:gd name="connsiteX2803" fmla="*/ 5649579 w 6689088"/>
              <a:gd name="connsiteY2803" fmla="*/ 1459958 h 6689084"/>
              <a:gd name="connsiteX2804" fmla="*/ 5690606 w 6689088"/>
              <a:gd name="connsiteY2804" fmla="*/ 1418930 h 6689084"/>
              <a:gd name="connsiteX2805" fmla="*/ 5844554 w 6689088"/>
              <a:gd name="connsiteY2805" fmla="*/ 1416388 h 6689084"/>
              <a:gd name="connsiteX2806" fmla="*/ 5888124 w 6689088"/>
              <a:gd name="connsiteY2806" fmla="*/ 1459958 h 6689084"/>
              <a:gd name="connsiteX2807" fmla="*/ 5844554 w 6689088"/>
              <a:gd name="connsiteY2807" fmla="*/ 1503528 h 6689084"/>
              <a:gd name="connsiteX2808" fmla="*/ 5800984 w 6689088"/>
              <a:gd name="connsiteY2808" fmla="*/ 1459958 h 6689084"/>
              <a:gd name="connsiteX2809" fmla="*/ 5844554 w 6689088"/>
              <a:gd name="connsiteY2809" fmla="*/ 1416388 h 6689084"/>
              <a:gd name="connsiteX2810" fmla="*/ 5998136 w 6689088"/>
              <a:gd name="connsiteY2810" fmla="*/ 1413845 h 6689084"/>
              <a:gd name="connsiteX2811" fmla="*/ 6044248 w 6689088"/>
              <a:gd name="connsiteY2811" fmla="*/ 1459958 h 6689084"/>
              <a:gd name="connsiteX2812" fmla="*/ 5998136 w 6689088"/>
              <a:gd name="connsiteY2812" fmla="*/ 1506070 h 6689084"/>
              <a:gd name="connsiteX2813" fmla="*/ 5952026 w 6689088"/>
              <a:gd name="connsiteY2813" fmla="*/ 1459958 h 6689084"/>
              <a:gd name="connsiteX2814" fmla="*/ 5998136 w 6689088"/>
              <a:gd name="connsiteY2814" fmla="*/ 1413845 h 6689084"/>
              <a:gd name="connsiteX2815" fmla="*/ 6152083 w 6689088"/>
              <a:gd name="connsiteY2815" fmla="*/ 1411303 h 6689084"/>
              <a:gd name="connsiteX2816" fmla="*/ 6200738 w 6689088"/>
              <a:gd name="connsiteY2816" fmla="*/ 1459958 h 6689084"/>
              <a:gd name="connsiteX2817" fmla="*/ 6152083 w 6689088"/>
              <a:gd name="connsiteY2817" fmla="*/ 1508609 h 6689084"/>
              <a:gd name="connsiteX2818" fmla="*/ 6103432 w 6689088"/>
              <a:gd name="connsiteY2818" fmla="*/ 1459958 h 6689084"/>
              <a:gd name="connsiteX2819" fmla="*/ 6152083 w 6689088"/>
              <a:gd name="connsiteY2819" fmla="*/ 1411303 h 6689084"/>
              <a:gd name="connsiteX2820" fmla="*/ 6305672 w 6689088"/>
              <a:gd name="connsiteY2820" fmla="*/ 1408760 h 6689084"/>
              <a:gd name="connsiteX2821" fmla="*/ 6356866 w 6689088"/>
              <a:gd name="connsiteY2821" fmla="*/ 1459954 h 6689084"/>
              <a:gd name="connsiteX2822" fmla="*/ 6305672 w 6689088"/>
              <a:gd name="connsiteY2822" fmla="*/ 1511148 h 6689084"/>
              <a:gd name="connsiteX2823" fmla="*/ 6254474 w 6689088"/>
              <a:gd name="connsiteY2823" fmla="*/ 1459954 h 6689084"/>
              <a:gd name="connsiteX2824" fmla="*/ 6305672 w 6689088"/>
              <a:gd name="connsiteY2824" fmla="*/ 1408760 h 6689084"/>
              <a:gd name="connsiteX2825" fmla="*/ 6459616 w 6689088"/>
              <a:gd name="connsiteY2825" fmla="*/ 1406584 h 6689084"/>
              <a:gd name="connsiteX2826" fmla="*/ 6512990 w 6689088"/>
              <a:gd name="connsiteY2826" fmla="*/ 1459958 h 6689084"/>
              <a:gd name="connsiteX2827" fmla="*/ 6459616 w 6689088"/>
              <a:gd name="connsiteY2827" fmla="*/ 1513328 h 6689084"/>
              <a:gd name="connsiteX2828" fmla="*/ 6406241 w 6689088"/>
              <a:gd name="connsiteY2828" fmla="*/ 1459958 h 6689084"/>
              <a:gd name="connsiteX2829" fmla="*/ 6459616 w 6689088"/>
              <a:gd name="connsiteY2829" fmla="*/ 1406584 h 6689084"/>
              <a:gd name="connsiteX2830" fmla="*/ 6613200 w 6689088"/>
              <a:gd name="connsiteY2830" fmla="*/ 1403679 h 6689084"/>
              <a:gd name="connsiteX2831" fmla="*/ 6669476 w 6689088"/>
              <a:gd name="connsiteY2831" fmla="*/ 1459958 h 6689084"/>
              <a:gd name="connsiteX2832" fmla="*/ 6613200 w 6689088"/>
              <a:gd name="connsiteY2832" fmla="*/ 1516233 h 6689084"/>
              <a:gd name="connsiteX2833" fmla="*/ 6556922 w 6689088"/>
              <a:gd name="connsiteY2833" fmla="*/ 1459958 h 6689084"/>
              <a:gd name="connsiteX2834" fmla="*/ 6613200 w 6689088"/>
              <a:gd name="connsiteY2834" fmla="*/ 1403679 h 6689084"/>
              <a:gd name="connsiteX2835" fmla="*/ 1999860 w 6689088"/>
              <a:gd name="connsiteY2835" fmla="*/ 1305645 h 6689084"/>
              <a:gd name="connsiteX2836" fmla="*/ 2000222 w 6689088"/>
              <a:gd name="connsiteY2836" fmla="*/ 1306007 h 6689084"/>
              <a:gd name="connsiteX2837" fmla="*/ 1999860 w 6689088"/>
              <a:gd name="connsiteY2837" fmla="*/ 1306373 h 6689084"/>
              <a:gd name="connsiteX2838" fmla="*/ 1999498 w 6689088"/>
              <a:gd name="connsiteY2838" fmla="*/ 1306007 h 6689084"/>
              <a:gd name="connsiteX2839" fmla="*/ 1999860 w 6689088"/>
              <a:gd name="connsiteY2839" fmla="*/ 1305645 h 6689084"/>
              <a:gd name="connsiteX2840" fmla="*/ 1538746 w 6689088"/>
              <a:gd name="connsiteY2840" fmla="*/ 1305645 h 6689084"/>
              <a:gd name="connsiteX2841" fmla="*/ 1539108 w 6689088"/>
              <a:gd name="connsiteY2841" fmla="*/ 1306007 h 6689084"/>
              <a:gd name="connsiteX2842" fmla="*/ 1538746 w 6689088"/>
              <a:gd name="connsiteY2842" fmla="*/ 1306373 h 6689084"/>
              <a:gd name="connsiteX2843" fmla="*/ 1538384 w 6689088"/>
              <a:gd name="connsiteY2843" fmla="*/ 1306007 h 6689084"/>
              <a:gd name="connsiteX2844" fmla="*/ 1538746 w 6689088"/>
              <a:gd name="connsiteY2844" fmla="*/ 1305645 h 6689084"/>
              <a:gd name="connsiteX2845" fmla="*/ 1384799 w 6689088"/>
              <a:gd name="connsiteY2845" fmla="*/ 1305645 h 6689084"/>
              <a:gd name="connsiteX2846" fmla="*/ 1385161 w 6689088"/>
              <a:gd name="connsiteY2846" fmla="*/ 1306007 h 6689084"/>
              <a:gd name="connsiteX2847" fmla="*/ 1384799 w 6689088"/>
              <a:gd name="connsiteY2847" fmla="*/ 1306373 h 6689084"/>
              <a:gd name="connsiteX2848" fmla="*/ 1384437 w 6689088"/>
              <a:gd name="connsiteY2848" fmla="*/ 1306007 h 6689084"/>
              <a:gd name="connsiteX2849" fmla="*/ 1384799 w 6689088"/>
              <a:gd name="connsiteY2849" fmla="*/ 1305645 h 6689084"/>
              <a:gd name="connsiteX2850" fmla="*/ 1231217 w 6689088"/>
              <a:gd name="connsiteY2850" fmla="*/ 1305282 h 6689084"/>
              <a:gd name="connsiteX2851" fmla="*/ 1231942 w 6689088"/>
              <a:gd name="connsiteY2851" fmla="*/ 1306010 h 6689084"/>
              <a:gd name="connsiteX2852" fmla="*/ 1231217 w 6689088"/>
              <a:gd name="connsiteY2852" fmla="*/ 1306735 h 6689084"/>
              <a:gd name="connsiteX2853" fmla="*/ 1230489 w 6689088"/>
              <a:gd name="connsiteY2853" fmla="*/ 1306010 h 6689084"/>
              <a:gd name="connsiteX2854" fmla="*/ 1231217 w 6689088"/>
              <a:gd name="connsiteY2854" fmla="*/ 1305282 h 6689084"/>
              <a:gd name="connsiteX2855" fmla="*/ 2153811 w 6689088"/>
              <a:gd name="connsiteY2855" fmla="*/ 1304558 h 6689084"/>
              <a:gd name="connsiteX2856" fmla="*/ 2155264 w 6689088"/>
              <a:gd name="connsiteY2856" fmla="*/ 1306010 h 6689084"/>
              <a:gd name="connsiteX2857" fmla="*/ 2153811 w 6689088"/>
              <a:gd name="connsiteY2857" fmla="*/ 1307463 h 6689084"/>
              <a:gd name="connsiteX2858" fmla="*/ 2152359 w 6689088"/>
              <a:gd name="connsiteY2858" fmla="*/ 1306010 h 6689084"/>
              <a:gd name="connsiteX2859" fmla="*/ 2153811 w 6689088"/>
              <a:gd name="connsiteY2859" fmla="*/ 1304558 h 6689084"/>
              <a:gd name="connsiteX2860" fmla="*/ 2307393 w 6689088"/>
              <a:gd name="connsiteY2860" fmla="*/ 1303830 h 6689084"/>
              <a:gd name="connsiteX2861" fmla="*/ 2309573 w 6689088"/>
              <a:gd name="connsiteY2861" fmla="*/ 1306010 h 6689084"/>
              <a:gd name="connsiteX2862" fmla="*/ 2307393 w 6689088"/>
              <a:gd name="connsiteY2862" fmla="*/ 1308187 h 6689084"/>
              <a:gd name="connsiteX2863" fmla="*/ 2305216 w 6689088"/>
              <a:gd name="connsiteY2863" fmla="*/ 1306010 h 6689084"/>
              <a:gd name="connsiteX2864" fmla="*/ 2307393 w 6689088"/>
              <a:gd name="connsiteY2864" fmla="*/ 1303830 h 6689084"/>
              <a:gd name="connsiteX2865" fmla="*/ 2461344 w 6689088"/>
              <a:gd name="connsiteY2865" fmla="*/ 1303106 h 6689084"/>
              <a:gd name="connsiteX2866" fmla="*/ 2464611 w 6689088"/>
              <a:gd name="connsiteY2866" fmla="*/ 1306373 h 6689084"/>
              <a:gd name="connsiteX2867" fmla="*/ 2461344 w 6689088"/>
              <a:gd name="connsiteY2867" fmla="*/ 1309643 h 6689084"/>
              <a:gd name="connsiteX2868" fmla="*/ 2458073 w 6689088"/>
              <a:gd name="connsiteY2868" fmla="*/ 1306373 h 6689084"/>
              <a:gd name="connsiteX2869" fmla="*/ 2461344 w 6689088"/>
              <a:gd name="connsiteY2869" fmla="*/ 1303106 h 6689084"/>
              <a:gd name="connsiteX2870" fmla="*/ 2614925 w 6689088"/>
              <a:gd name="connsiteY2870" fmla="*/ 1301653 h 6689084"/>
              <a:gd name="connsiteX2871" fmla="*/ 2619283 w 6689088"/>
              <a:gd name="connsiteY2871" fmla="*/ 1306010 h 6689084"/>
              <a:gd name="connsiteX2872" fmla="*/ 2614925 w 6689088"/>
              <a:gd name="connsiteY2872" fmla="*/ 1310367 h 6689084"/>
              <a:gd name="connsiteX2873" fmla="*/ 2610568 w 6689088"/>
              <a:gd name="connsiteY2873" fmla="*/ 1306010 h 6689084"/>
              <a:gd name="connsiteX2874" fmla="*/ 2614925 w 6689088"/>
              <a:gd name="connsiteY2874" fmla="*/ 1301653 h 6689084"/>
              <a:gd name="connsiteX2875" fmla="*/ 2768873 w 6689088"/>
              <a:gd name="connsiteY2875" fmla="*/ 1300563 h 6689084"/>
              <a:gd name="connsiteX2876" fmla="*/ 2774682 w 6689088"/>
              <a:gd name="connsiteY2876" fmla="*/ 1306373 h 6689084"/>
              <a:gd name="connsiteX2877" fmla="*/ 2768873 w 6689088"/>
              <a:gd name="connsiteY2877" fmla="*/ 1312182 h 6689084"/>
              <a:gd name="connsiteX2878" fmla="*/ 2763064 w 6689088"/>
              <a:gd name="connsiteY2878" fmla="*/ 1306373 h 6689084"/>
              <a:gd name="connsiteX2879" fmla="*/ 2768873 w 6689088"/>
              <a:gd name="connsiteY2879" fmla="*/ 1300563 h 6689084"/>
              <a:gd name="connsiteX2880" fmla="*/ 2922458 w 6689088"/>
              <a:gd name="connsiteY2880" fmla="*/ 1298749 h 6689084"/>
              <a:gd name="connsiteX2881" fmla="*/ 2929720 w 6689088"/>
              <a:gd name="connsiteY2881" fmla="*/ 1306010 h 6689084"/>
              <a:gd name="connsiteX2882" fmla="*/ 2922458 w 6689088"/>
              <a:gd name="connsiteY2882" fmla="*/ 1313272 h 6689084"/>
              <a:gd name="connsiteX2883" fmla="*/ 2915196 w 6689088"/>
              <a:gd name="connsiteY2883" fmla="*/ 1306010 h 6689084"/>
              <a:gd name="connsiteX2884" fmla="*/ 2922458 w 6689088"/>
              <a:gd name="connsiteY2884" fmla="*/ 1298749 h 6689084"/>
              <a:gd name="connsiteX2885" fmla="*/ 3076406 w 6689088"/>
              <a:gd name="connsiteY2885" fmla="*/ 1296934 h 6689084"/>
              <a:gd name="connsiteX2886" fmla="*/ 3085486 w 6689088"/>
              <a:gd name="connsiteY2886" fmla="*/ 1306010 h 6689084"/>
              <a:gd name="connsiteX2887" fmla="*/ 3076406 w 6689088"/>
              <a:gd name="connsiteY2887" fmla="*/ 1315090 h 6689084"/>
              <a:gd name="connsiteX2888" fmla="*/ 3067329 w 6689088"/>
              <a:gd name="connsiteY2888" fmla="*/ 1306010 h 6689084"/>
              <a:gd name="connsiteX2889" fmla="*/ 3076406 w 6689088"/>
              <a:gd name="connsiteY2889" fmla="*/ 1296934 h 6689084"/>
              <a:gd name="connsiteX2890" fmla="*/ 3230353 w 6689088"/>
              <a:gd name="connsiteY2890" fmla="*/ 1295844 h 6689084"/>
              <a:gd name="connsiteX2891" fmla="*/ 3240519 w 6689088"/>
              <a:gd name="connsiteY2891" fmla="*/ 1306010 h 6689084"/>
              <a:gd name="connsiteX2892" fmla="*/ 3230353 w 6689088"/>
              <a:gd name="connsiteY2892" fmla="*/ 1316177 h 6689084"/>
              <a:gd name="connsiteX2893" fmla="*/ 3220186 w 6689088"/>
              <a:gd name="connsiteY2893" fmla="*/ 1306010 h 6689084"/>
              <a:gd name="connsiteX2894" fmla="*/ 3230353 w 6689088"/>
              <a:gd name="connsiteY2894" fmla="*/ 1295844 h 6689084"/>
              <a:gd name="connsiteX2895" fmla="*/ 3383934 w 6689088"/>
              <a:gd name="connsiteY2895" fmla="*/ 1294026 h 6689084"/>
              <a:gd name="connsiteX2896" fmla="*/ 3395919 w 6689088"/>
              <a:gd name="connsiteY2896" fmla="*/ 1306007 h 6689084"/>
              <a:gd name="connsiteX2897" fmla="*/ 3383934 w 6689088"/>
              <a:gd name="connsiteY2897" fmla="*/ 1317987 h 6689084"/>
              <a:gd name="connsiteX2898" fmla="*/ 3371954 w 6689088"/>
              <a:gd name="connsiteY2898" fmla="*/ 1306007 h 6689084"/>
              <a:gd name="connsiteX2899" fmla="*/ 3383934 w 6689088"/>
              <a:gd name="connsiteY2899" fmla="*/ 1294026 h 6689084"/>
              <a:gd name="connsiteX2900" fmla="*/ 3537886 w 6689088"/>
              <a:gd name="connsiteY2900" fmla="*/ 1292211 h 6689084"/>
              <a:gd name="connsiteX2901" fmla="*/ 3551681 w 6689088"/>
              <a:gd name="connsiteY2901" fmla="*/ 1306010 h 6689084"/>
              <a:gd name="connsiteX2902" fmla="*/ 3537886 w 6689088"/>
              <a:gd name="connsiteY2902" fmla="*/ 1319806 h 6689084"/>
              <a:gd name="connsiteX2903" fmla="*/ 3524086 w 6689088"/>
              <a:gd name="connsiteY2903" fmla="*/ 1306010 h 6689084"/>
              <a:gd name="connsiteX2904" fmla="*/ 3537886 w 6689088"/>
              <a:gd name="connsiteY2904" fmla="*/ 1292211 h 6689084"/>
              <a:gd name="connsiteX2905" fmla="*/ 3691467 w 6689088"/>
              <a:gd name="connsiteY2905" fmla="*/ 1290759 h 6689084"/>
              <a:gd name="connsiteX2906" fmla="*/ 3706718 w 6689088"/>
              <a:gd name="connsiteY2906" fmla="*/ 1306010 h 6689084"/>
              <a:gd name="connsiteX2907" fmla="*/ 3691467 w 6689088"/>
              <a:gd name="connsiteY2907" fmla="*/ 1321258 h 6689084"/>
              <a:gd name="connsiteX2908" fmla="*/ 3676219 w 6689088"/>
              <a:gd name="connsiteY2908" fmla="*/ 1306010 h 6689084"/>
              <a:gd name="connsiteX2909" fmla="*/ 3691467 w 6689088"/>
              <a:gd name="connsiteY2909" fmla="*/ 1290759 h 6689084"/>
              <a:gd name="connsiteX2910" fmla="*/ 3845418 w 6689088"/>
              <a:gd name="connsiteY2910" fmla="*/ 1288945 h 6689084"/>
              <a:gd name="connsiteX2911" fmla="*/ 3862484 w 6689088"/>
              <a:gd name="connsiteY2911" fmla="*/ 1306010 h 6689084"/>
              <a:gd name="connsiteX2912" fmla="*/ 3845418 w 6689088"/>
              <a:gd name="connsiteY2912" fmla="*/ 1323072 h 6689084"/>
              <a:gd name="connsiteX2913" fmla="*/ 3828352 w 6689088"/>
              <a:gd name="connsiteY2913" fmla="*/ 1306010 h 6689084"/>
              <a:gd name="connsiteX2914" fmla="*/ 3845418 w 6689088"/>
              <a:gd name="connsiteY2914" fmla="*/ 1288945 h 6689084"/>
              <a:gd name="connsiteX2915" fmla="*/ 3999000 w 6689088"/>
              <a:gd name="connsiteY2915" fmla="*/ 1286768 h 6689084"/>
              <a:gd name="connsiteX2916" fmla="*/ 4018242 w 6689088"/>
              <a:gd name="connsiteY2916" fmla="*/ 1306010 h 6689084"/>
              <a:gd name="connsiteX2917" fmla="*/ 3999000 w 6689088"/>
              <a:gd name="connsiteY2917" fmla="*/ 1325257 h 6689084"/>
              <a:gd name="connsiteX2918" fmla="*/ 3979757 w 6689088"/>
              <a:gd name="connsiteY2918" fmla="*/ 1306010 h 6689084"/>
              <a:gd name="connsiteX2919" fmla="*/ 3999000 w 6689088"/>
              <a:gd name="connsiteY2919" fmla="*/ 1286768 h 6689084"/>
              <a:gd name="connsiteX2920" fmla="*/ 4152947 w 6689088"/>
              <a:gd name="connsiteY2920" fmla="*/ 1284588 h 6689084"/>
              <a:gd name="connsiteX2921" fmla="*/ 4174366 w 6689088"/>
              <a:gd name="connsiteY2921" fmla="*/ 1306010 h 6689084"/>
              <a:gd name="connsiteX2922" fmla="*/ 4152947 w 6689088"/>
              <a:gd name="connsiteY2922" fmla="*/ 1327433 h 6689084"/>
              <a:gd name="connsiteX2923" fmla="*/ 4131524 w 6689088"/>
              <a:gd name="connsiteY2923" fmla="*/ 1306010 h 6689084"/>
              <a:gd name="connsiteX2924" fmla="*/ 4152947 w 6689088"/>
              <a:gd name="connsiteY2924" fmla="*/ 1284588 h 6689084"/>
              <a:gd name="connsiteX2925" fmla="*/ 4306532 w 6689088"/>
              <a:gd name="connsiteY2925" fmla="*/ 1283135 h 6689084"/>
              <a:gd name="connsiteX2926" fmla="*/ 4329404 w 6689088"/>
              <a:gd name="connsiteY2926" fmla="*/ 1306010 h 6689084"/>
              <a:gd name="connsiteX2927" fmla="*/ 4306532 w 6689088"/>
              <a:gd name="connsiteY2927" fmla="*/ 1328886 h 6689084"/>
              <a:gd name="connsiteX2928" fmla="*/ 4283657 w 6689088"/>
              <a:gd name="connsiteY2928" fmla="*/ 1306010 h 6689084"/>
              <a:gd name="connsiteX2929" fmla="*/ 4306532 w 6689088"/>
              <a:gd name="connsiteY2929" fmla="*/ 1283135 h 6689084"/>
              <a:gd name="connsiteX2930" fmla="*/ 4460480 w 6689088"/>
              <a:gd name="connsiteY2930" fmla="*/ 1281321 h 6689084"/>
              <a:gd name="connsiteX2931" fmla="*/ 4485536 w 6689088"/>
              <a:gd name="connsiteY2931" fmla="*/ 1306373 h 6689084"/>
              <a:gd name="connsiteX2932" fmla="*/ 4460480 w 6689088"/>
              <a:gd name="connsiteY2932" fmla="*/ 1331424 h 6689084"/>
              <a:gd name="connsiteX2933" fmla="*/ 4435428 w 6689088"/>
              <a:gd name="connsiteY2933" fmla="*/ 1306373 h 6689084"/>
              <a:gd name="connsiteX2934" fmla="*/ 4460480 w 6689088"/>
              <a:gd name="connsiteY2934" fmla="*/ 1281321 h 6689084"/>
              <a:gd name="connsiteX2935" fmla="*/ 4614065 w 6689088"/>
              <a:gd name="connsiteY2935" fmla="*/ 1278778 h 6689084"/>
              <a:gd name="connsiteX2936" fmla="*/ 4641297 w 6689088"/>
              <a:gd name="connsiteY2936" fmla="*/ 1306010 h 6689084"/>
              <a:gd name="connsiteX2937" fmla="*/ 4614065 w 6689088"/>
              <a:gd name="connsiteY2937" fmla="*/ 1333243 h 6689084"/>
              <a:gd name="connsiteX2938" fmla="*/ 4586832 w 6689088"/>
              <a:gd name="connsiteY2938" fmla="*/ 1306010 h 6689084"/>
              <a:gd name="connsiteX2939" fmla="*/ 4614065 w 6689088"/>
              <a:gd name="connsiteY2939" fmla="*/ 1278778 h 6689084"/>
              <a:gd name="connsiteX2940" fmla="*/ 4768008 w 6689088"/>
              <a:gd name="connsiteY2940" fmla="*/ 1276236 h 6689084"/>
              <a:gd name="connsiteX2941" fmla="*/ 4797784 w 6689088"/>
              <a:gd name="connsiteY2941" fmla="*/ 1306010 h 6689084"/>
              <a:gd name="connsiteX2942" fmla="*/ 4768008 w 6689088"/>
              <a:gd name="connsiteY2942" fmla="*/ 1335781 h 6689084"/>
              <a:gd name="connsiteX2943" fmla="*/ 4738238 w 6689088"/>
              <a:gd name="connsiteY2943" fmla="*/ 1306010 h 6689084"/>
              <a:gd name="connsiteX2944" fmla="*/ 4768008 w 6689088"/>
              <a:gd name="connsiteY2944" fmla="*/ 1276236 h 6689084"/>
              <a:gd name="connsiteX2945" fmla="*/ 4921594 w 6689088"/>
              <a:gd name="connsiteY2945" fmla="*/ 1274059 h 6689084"/>
              <a:gd name="connsiteX2946" fmla="*/ 4953545 w 6689088"/>
              <a:gd name="connsiteY2946" fmla="*/ 1306010 h 6689084"/>
              <a:gd name="connsiteX2947" fmla="*/ 4921594 w 6689088"/>
              <a:gd name="connsiteY2947" fmla="*/ 1337962 h 6689084"/>
              <a:gd name="connsiteX2948" fmla="*/ 4889642 w 6689088"/>
              <a:gd name="connsiteY2948" fmla="*/ 1306010 h 6689084"/>
              <a:gd name="connsiteX2949" fmla="*/ 4921594 w 6689088"/>
              <a:gd name="connsiteY2949" fmla="*/ 1274059 h 6689084"/>
              <a:gd name="connsiteX2950" fmla="*/ 5075541 w 6689088"/>
              <a:gd name="connsiteY2950" fmla="*/ 1272245 h 6689084"/>
              <a:gd name="connsiteX2951" fmla="*/ 5109311 w 6689088"/>
              <a:gd name="connsiteY2951" fmla="*/ 1306010 h 6689084"/>
              <a:gd name="connsiteX2952" fmla="*/ 5075541 w 6689088"/>
              <a:gd name="connsiteY2952" fmla="*/ 1339780 h 6689084"/>
              <a:gd name="connsiteX2953" fmla="*/ 5041776 w 6689088"/>
              <a:gd name="connsiteY2953" fmla="*/ 1306010 h 6689084"/>
              <a:gd name="connsiteX2954" fmla="*/ 5075541 w 6689088"/>
              <a:gd name="connsiteY2954" fmla="*/ 1272245 h 6689084"/>
              <a:gd name="connsiteX2955" fmla="*/ 5229126 w 6689088"/>
              <a:gd name="connsiteY2955" fmla="*/ 1269702 h 6689084"/>
              <a:gd name="connsiteX2956" fmla="*/ 5265435 w 6689088"/>
              <a:gd name="connsiteY2956" fmla="*/ 1306010 h 6689084"/>
              <a:gd name="connsiteX2957" fmla="*/ 5229126 w 6689088"/>
              <a:gd name="connsiteY2957" fmla="*/ 1342319 h 6689084"/>
              <a:gd name="connsiteX2958" fmla="*/ 5192818 w 6689088"/>
              <a:gd name="connsiteY2958" fmla="*/ 1306010 h 6689084"/>
              <a:gd name="connsiteX2959" fmla="*/ 5229126 w 6689088"/>
              <a:gd name="connsiteY2959" fmla="*/ 1269702 h 6689084"/>
              <a:gd name="connsiteX2960" fmla="*/ 5383074 w 6689088"/>
              <a:gd name="connsiteY2960" fmla="*/ 1267160 h 6689084"/>
              <a:gd name="connsiteX2961" fmla="*/ 5421921 w 6689088"/>
              <a:gd name="connsiteY2961" fmla="*/ 1306010 h 6689084"/>
              <a:gd name="connsiteX2962" fmla="*/ 5383074 w 6689088"/>
              <a:gd name="connsiteY2962" fmla="*/ 1344858 h 6689084"/>
              <a:gd name="connsiteX2963" fmla="*/ 5344223 w 6689088"/>
              <a:gd name="connsiteY2963" fmla="*/ 1306010 h 6689084"/>
              <a:gd name="connsiteX2964" fmla="*/ 5383074 w 6689088"/>
              <a:gd name="connsiteY2964" fmla="*/ 1267160 h 6689084"/>
              <a:gd name="connsiteX2965" fmla="*/ 5536659 w 6689088"/>
              <a:gd name="connsiteY2965" fmla="*/ 1264983 h 6689084"/>
              <a:gd name="connsiteX2966" fmla="*/ 5577690 w 6689088"/>
              <a:gd name="connsiteY2966" fmla="*/ 1306010 h 6689084"/>
              <a:gd name="connsiteX2967" fmla="*/ 5536659 w 6689088"/>
              <a:gd name="connsiteY2967" fmla="*/ 1347038 h 6689084"/>
              <a:gd name="connsiteX2968" fmla="*/ 5495632 w 6689088"/>
              <a:gd name="connsiteY2968" fmla="*/ 1306010 h 6689084"/>
              <a:gd name="connsiteX2969" fmla="*/ 5536659 w 6689088"/>
              <a:gd name="connsiteY2969" fmla="*/ 1264983 h 6689084"/>
              <a:gd name="connsiteX2970" fmla="*/ 5690606 w 6689088"/>
              <a:gd name="connsiteY2970" fmla="*/ 1262440 h 6689084"/>
              <a:gd name="connsiteX2971" fmla="*/ 5734176 w 6689088"/>
              <a:gd name="connsiteY2971" fmla="*/ 1306010 h 6689084"/>
              <a:gd name="connsiteX2972" fmla="*/ 5690606 w 6689088"/>
              <a:gd name="connsiteY2972" fmla="*/ 1349581 h 6689084"/>
              <a:gd name="connsiteX2973" fmla="*/ 5647036 w 6689088"/>
              <a:gd name="connsiteY2973" fmla="*/ 1306010 h 6689084"/>
              <a:gd name="connsiteX2974" fmla="*/ 5690606 w 6689088"/>
              <a:gd name="connsiteY2974" fmla="*/ 1262440 h 6689084"/>
              <a:gd name="connsiteX2975" fmla="*/ 5844554 w 6689088"/>
              <a:gd name="connsiteY2975" fmla="*/ 1259898 h 6689084"/>
              <a:gd name="connsiteX2976" fmla="*/ 5890666 w 6689088"/>
              <a:gd name="connsiteY2976" fmla="*/ 1306010 h 6689084"/>
              <a:gd name="connsiteX2977" fmla="*/ 5844554 w 6689088"/>
              <a:gd name="connsiteY2977" fmla="*/ 1352123 h 6689084"/>
              <a:gd name="connsiteX2978" fmla="*/ 5798442 w 6689088"/>
              <a:gd name="connsiteY2978" fmla="*/ 1306010 h 6689084"/>
              <a:gd name="connsiteX2979" fmla="*/ 5844554 w 6689088"/>
              <a:gd name="connsiteY2979" fmla="*/ 1259898 h 6689084"/>
              <a:gd name="connsiteX2980" fmla="*/ 5998136 w 6689088"/>
              <a:gd name="connsiteY2980" fmla="*/ 1257355 h 6689084"/>
              <a:gd name="connsiteX2981" fmla="*/ 6046790 w 6689088"/>
              <a:gd name="connsiteY2981" fmla="*/ 1306010 h 6689084"/>
              <a:gd name="connsiteX2982" fmla="*/ 5998136 w 6689088"/>
              <a:gd name="connsiteY2982" fmla="*/ 1354662 h 6689084"/>
              <a:gd name="connsiteX2983" fmla="*/ 5949484 w 6689088"/>
              <a:gd name="connsiteY2983" fmla="*/ 1306010 h 6689084"/>
              <a:gd name="connsiteX2984" fmla="*/ 5998136 w 6689088"/>
              <a:gd name="connsiteY2984" fmla="*/ 1257355 h 6689084"/>
              <a:gd name="connsiteX2985" fmla="*/ 6152083 w 6689088"/>
              <a:gd name="connsiteY2985" fmla="*/ 1254817 h 6689084"/>
              <a:gd name="connsiteX2986" fmla="*/ 6203280 w 6689088"/>
              <a:gd name="connsiteY2986" fmla="*/ 1306010 h 6689084"/>
              <a:gd name="connsiteX2987" fmla="*/ 6152083 w 6689088"/>
              <a:gd name="connsiteY2987" fmla="*/ 1357204 h 6689084"/>
              <a:gd name="connsiteX2988" fmla="*/ 6100889 w 6689088"/>
              <a:gd name="connsiteY2988" fmla="*/ 1306010 h 6689084"/>
              <a:gd name="connsiteX2989" fmla="*/ 6152083 w 6689088"/>
              <a:gd name="connsiteY2989" fmla="*/ 1254817 h 6689084"/>
              <a:gd name="connsiteX2990" fmla="*/ 6305668 w 6689088"/>
              <a:gd name="connsiteY2990" fmla="*/ 1252636 h 6689084"/>
              <a:gd name="connsiteX2991" fmla="*/ 6359042 w 6689088"/>
              <a:gd name="connsiteY2991" fmla="*/ 1306010 h 6689084"/>
              <a:gd name="connsiteX2992" fmla="*/ 6305668 w 6689088"/>
              <a:gd name="connsiteY2992" fmla="*/ 1359381 h 6689084"/>
              <a:gd name="connsiteX2993" fmla="*/ 6252294 w 6689088"/>
              <a:gd name="connsiteY2993" fmla="*/ 1306010 h 6689084"/>
              <a:gd name="connsiteX2994" fmla="*/ 6305668 w 6689088"/>
              <a:gd name="connsiteY2994" fmla="*/ 1252636 h 6689084"/>
              <a:gd name="connsiteX2995" fmla="*/ 6459619 w 6689088"/>
              <a:gd name="connsiteY2995" fmla="*/ 1249732 h 6689084"/>
              <a:gd name="connsiteX2996" fmla="*/ 6515894 w 6689088"/>
              <a:gd name="connsiteY2996" fmla="*/ 1306010 h 6689084"/>
              <a:gd name="connsiteX2997" fmla="*/ 6459619 w 6689088"/>
              <a:gd name="connsiteY2997" fmla="*/ 1362289 h 6689084"/>
              <a:gd name="connsiteX2998" fmla="*/ 6403340 w 6689088"/>
              <a:gd name="connsiteY2998" fmla="*/ 1306010 h 6689084"/>
              <a:gd name="connsiteX2999" fmla="*/ 6459619 w 6689088"/>
              <a:gd name="connsiteY2999" fmla="*/ 1249732 h 6689084"/>
              <a:gd name="connsiteX3000" fmla="*/ 6613197 w 6689088"/>
              <a:gd name="connsiteY3000" fmla="*/ 1247189 h 6689084"/>
              <a:gd name="connsiteX3001" fmla="*/ 6672018 w 6689088"/>
              <a:gd name="connsiteY3001" fmla="*/ 1306010 h 6689084"/>
              <a:gd name="connsiteX3002" fmla="*/ 6613197 w 6689088"/>
              <a:gd name="connsiteY3002" fmla="*/ 1364828 h 6689084"/>
              <a:gd name="connsiteX3003" fmla="*/ 6554380 w 6689088"/>
              <a:gd name="connsiteY3003" fmla="*/ 1306010 h 6689084"/>
              <a:gd name="connsiteX3004" fmla="*/ 6613197 w 6689088"/>
              <a:gd name="connsiteY3004" fmla="*/ 1247189 h 6689084"/>
              <a:gd name="connsiteX3005" fmla="*/ 1846279 w 6689088"/>
              <a:gd name="connsiteY3005" fmla="*/ 1152063 h 6689084"/>
              <a:gd name="connsiteX3006" fmla="*/ 1846641 w 6689088"/>
              <a:gd name="connsiteY3006" fmla="*/ 1152425 h 6689084"/>
              <a:gd name="connsiteX3007" fmla="*/ 1846279 w 6689088"/>
              <a:gd name="connsiteY3007" fmla="*/ 1152791 h 6689084"/>
              <a:gd name="connsiteX3008" fmla="*/ 1845917 w 6689088"/>
              <a:gd name="connsiteY3008" fmla="*/ 1152425 h 6689084"/>
              <a:gd name="connsiteX3009" fmla="*/ 1846279 w 6689088"/>
              <a:gd name="connsiteY3009" fmla="*/ 1152063 h 6689084"/>
              <a:gd name="connsiteX3010" fmla="*/ 1384799 w 6689088"/>
              <a:gd name="connsiteY3010" fmla="*/ 1152063 h 6689084"/>
              <a:gd name="connsiteX3011" fmla="*/ 1385161 w 6689088"/>
              <a:gd name="connsiteY3011" fmla="*/ 1152425 h 6689084"/>
              <a:gd name="connsiteX3012" fmla="*/ 1384799 w 6689088"/>
              <a:gd name="connsiteY3012" fmla="*/ 1152791 h 6689084"/>
              <a:gd name="connsiteX3013" fmla="*/ 1384437 w 6689088"/>
              <a:gd name="connsiteY3013" fmla="*/ 1152425 h 6689084"/>
              <a:gd name="connsiteX3014" fmla="*/ 1384799 w 6689088"/>
              <a:gd name="connsiteY3014" fmla="*/ 1152063 h 6689084"/>
              <a:gd name="connsiteX3015" fmla="*/ 1231213 w 6689088"/>
              <a:gd name="connsiteY3015" fmla="*/ 1152063 h 6689084"/>
              <a:gd name="connsiteX3016" fmla="*/ 1231576 w 6689088"/>
              <a:gd name="connsiteY3016" fmla="*/ 1152425 h 6689084"/>
              <a:gd name="connsiteX3017" fmla="*/ 1231213 w 6689088"/>
              <a:gd name="connsiteY3017" fmla="*/ 1152791 h 6689084"/>
              <a:gd name="connsiteX3018" fmla="*/ 1230851 w 6689088"/>
              <a:gd name="connsiteY3018" fmla="*/ 1152425 h 6689084"/>
              <a:gd name="connsiteX3019" fmla="*/ 1231213 w 6689088"/>
              <a:gd name="connsiteY3019" fmla="*/ 1152063 h 6689084"/>
              <a:gd name="connsiteX3020" fmla="*/ 1077270 w 6689088"/>
              <a:gd name="connsiteY3020" fmla="*/ 1151701 h 6689084"/>
              <a:gd name="connsiteX3021" fmla="*/ 1077994 w 6689088"/>
              <a:gd name="connsiteY3021" fmla="*/ 1152425 h 6689084"/>
              <a:gd name="connsiteX3022" fmla="*/ 1077270 w 6689088"/>
              <a:gd name="connsiteY3022" fmla="*/ 1153153 h 6689084"/>
              <a:gd name="connsiteX3023" fmla="*/ 1076542 w 6689088"/>
              <a:gd name="connsiteY3023" fmla="*/ 1152425 h 6689084"/>
              <a:gd name="connsiteX3024" fmla="*/ 1077270 w 6689088"/>
              <a:gd name="connsiteY3024" fmla="*/ 1151701 h 6689084"/>
              <a:gd name="connsiteX3025" fmla="*/ 1999864 w 6689088"/>
              <a:gd name="connsiteY3025" fmla="*/ 1150611 h 6689084"/>
              <a:gd name="connsiteX3026" fmla="*/ 2001316 w 6689088"/>
              <a:gd name="connsiteY3026" fmla="*/ 1152063 h 6689084"/>
              <a:gd name="connsiteX3027" fmla="*/ 1999864 w 6689088"/>
              <a:gd name="connsiteY3027" fmla="*/ 1153515 h 6689084"/>
              <a:gd name="connsiteX3028" fmla="*/ 1998412 w 6689088"/>
              <a:gd name="connsiteY3028" fmla="*/ 1152063 h 6689084"/>
              <a:gd name="connsiteX3029" fmla="*/ 1999864 w 6689088"/>
              <a:gd name="connsiteY3029" fmla="*/ 1150611 h 6689084"/>
              <a:gd name="connsiteX3030" fmla="*/ 2153808 w 6689088"/>
              <a:gd name="connsiteY3030" fmla="*/ 1150249 h 6689084"/>
              <a:gd name="connsiteX3031" fmla="*/ 2155988 w 6689088"/>
              <a:gd name="connsiteY3031" fmla="*/ 1152425 h 6689084"/>
              <a:gd name="connsiteX3032" fmla="*/ 2153808 w 6689088"/>
              <a:gd name="connsiteY3032" fmla="*/ 1154606 h 6689084"/>
              <a:gd name="connsiteX3033" fmla="*/ 2151631 w 6689088"/>
              <a:gd name="connsiteY3033" fmla="*/ 1152425 h 6689084"/>
              <a:gd name="connsiteX3034" fmla="*/ 2153808 w 6689088"/>
              <a:gd name="connsiteY3034" fmla="*/ 1150249 h 6689084"/>
              <a:gd name="connsiteX3035" fmla="*/ 2307393 w 6689088"/>
              <a:gd name="connsiteY3035" fmla="*/ 1149158 h 6689084"/>
              <a:gd name="connsiteX3036" fmla="*/ 2310660 w 6689088"/>
              <a:gd name="connsiteY3036" fmla="*/ 1152425 h 6689084"/>
              <a:gd name="connsiteX3037" fmla="*/ 2307393 w 6689088"/>
              <a:gd name="connsiteY3037" fmla="*/ 1155696 h 6689084"/>
              <a:gd name="connsiteX3038" fmla="*/ 2304126 w 6689088"/>
              <a:gd name="connsiteY3038" fmla="*/ 1152425 h 6689084"/>
              <a:gd name="connsiteX3039" fmla="*/ 2307393 w 6689088"/>
              <a:gd name="connsiteY3039" fmla="*/ 1149158 h 6689084"/>
              <a:gd name="connsiteX3040" fmla="*/ 2461340 w 6689088"/>
              <a:gd name="connsiteY3040" fmla="*/ 1147706 h 6689084"/>
              <a:gd name="connsiteX3041" fmla="*/ 2465697 w 6689088"/>
              <a:gd name="connsiteY3041" fmla="*/ 1152063 h 6689084"/>
              <a:gd name="connsiteX3042" fmla="*/ 2461340 w 6689088"/>
              <a:gd name="connsiteY3042" fmla="*/ 1156420 h 6689084"/>
              <a:gd name="connsiteX3043" fmla="*/ 2456983 w 6689088"/>
              <a:gd name="connsiteY3043" fmla="*/ 1152063 h 6689084"/>
              <a:gd name="connsiteX3044" fmla="*/ 2461340 w 6689088"/>
              <a:gd name="connsiteY3044" fmla="*/ 1147706 h 6689084"/>
              <a:gd name="connsiteX3045" fmla="*/ 2614925 w 6689088"/>
              <a:gd name="connsiteY3045" fmla="*/ 1146616 h 6689084"/>
              <a:gd name="connsiteX3046" fmla="*/ 2620735 w 6689088"/>
              <a:gd name="connsiteY3046" fmla="*/ 1152425 h 6689084"/>
              <a:gd name="connsiteX3047" fmla="*/ 2614925 w 6689088"/>
              <a:gd name="connsiteY3047" fmla="*/ 1158234 h 6689084"/>
              <a:gd name="connsiteX3048" fmla="*/ 2609116 w 6689088"/>
              <a:gd name="connsiteY3048" fmla="*/ 1152425 h 6689084"/>
              <a:gd name="connsiteX3049" fmla="*/ 2614925 w 6689088"/>
              <a:gd name="connsiteY3049" fmla="*/ 1146616 h 6689084"/>
              <a:gd name="connsiteX3050" fmla="*/ 2768873 w 6689088"/>
              <a:gd name="connsiteY3050" fmla="*/ 1145164 h 6689084"/>
              <a:gd name="connsiteX3051" fmla="*/ 2776135 w 6689088"/>
              <a:gd name="connsiteY3051" fmla="*/ 1152425 h 6689084"/>
              <a:gd name="connsiteX3052" fmla="*/ 2768873 w 6689088"/>
              <a:gd name="connsiteY3052" fmla="*/ 1159687 h 6689084"/>
              <a:gd name="connsiteX3053" fmla="*/ 2761611 w 6689088"/>
              <a:gd name="connsiteY3053" fmla="*/ 1152425 h 6689084"/>
              <a:gd name="connsiteX3054" fmla="*/ 2768873 w 6689088"/>
              <a:gd name="connsiteY3054" fmla="*/ 1145164 h 6689084"/>
              <a:gd name="connsiteX3055" fmla="*/ 2922454 w 6689088"/>
              <a:gd name="connsiteY3055" fmla="*/ 1142983 h 6689084"/>
              <a:gd name="connsiteX3056" fmla="*/ 2931534 w 6689088"/>
              <a:gd name="connsiteY3056" fmla="*/ 1152059 h 6689084"/>
              <a:gd name="connsiteX3057" fmla="*/ 2922454 w 6689088"/>
              <a:gd name="connsiteY3057" fmla="*/ 1161139 h 6689084"/>
              <a:gd name="connsiteX3058" fmla="*/ 2913378 w 6689088"/>
              <a:gd name="connsiteY3058" fmla="*/ 1152059 h 6689084"/>
              <a:gd name="connsiteX3059" fmla="*/ 2922454 w 6689088"/>
              <a:gd name="connsiteY3059" fmla="*/ 1142983 h 6689084"/>
              <a:gd name="connsiteX3060" fmla="*/ 3076406 w 6689088"/>
              <a:gd name="connsiteY3060" fmla="*/ 1142259 h 6689084"/>
              <a:gd name="connsiteX3061" fmla="*/ 3086572 w 6689088"/>
              <a:gd name="connsiteY3061" fmla="*/ 1152425 h 6689084"/>
              <a:gd name="connsiteX3062" fmla="*/ 3076406 w 6689088"/>
              <a:gd name="connsiteY3062" fmla="*/ 1162592 h 6689084"/>
              <a:gd name="connsiteX3063" fmla="*/ 3066239 w 6689088"/>
              <a:gd name="connsiteY3063" fmla="*/ 1152425 h 6689084"/>
              <a:gd name="connsiteX3064" fmla="*/ 3076406 w 6689088"/>
              <a:gd name="connsiteY3064" fmla="*/ 1142259 h 6689084"/>
              <a:gd name="connsiteX3065" fmla="*/ 3230349 w 6689088"/>
              <a:gd name="connsiteY3065" fmla="*/ 1140444 h 6689084"/>
              <a:gd name="connsiteX3066" fmla="*/ 3242334 w 6689088"/>
              <a:gd name="connsiteY3066" fmla="*/ 1152425 h 6689084"/>
              <a:gd name="connsiteX3067" fmla="*/ 3230349 w 6689088"/>
              <a:gd name="connsiteY3067" fmla="*/ 1164406 h 6689084"/>
              <a:gd name="connsiteX3068" fmla="*/ 3218368 w 6689088"/>
              <a:gd name="connsiteY3068" fmla="*/ 1152425 h 6689084"/>
              <a:gd name="connsiteX3069" fmla="*/ 3230349 w 6689088"/>
              <a:gd name="connsiteY3069" fmla="*/ 1140444 h 6689084"/>
              <a:gd name="connsiteX3070" fmla="*/ 3383934 w 6689088"/>
              <a:gd name="connsiteY3070" fmla="*/ 1138264 h 6689084"/>
              <a:gd name="connsiteX3071" fmla="*/ 3397733 w 6689088"/>
              <a:gd name="connsiteY3071" fmla="*/ 1152059 h 6689084"/>
              <a:gd name="connsiteX3072" fmla="*/ 3383934 w 6689088"/>
              <a:gd name="connsiteY3072" fmla="*/ 1165858 h 6689084"/>
              <a:gd name="connsiteX3073" fmla="*/ 3370139 w 6689088"/>
              <a:gd name="connsiteY3073" fmla="*/ 1152059 h 6689084"/>
              <a:gd name="connsiteX3074" fmla="*/ 3383934 w 6689088"/>
              <a:gd name="connsiteY3074" fmla="*/ 1138264 h 6689084"/>
              <a:gd name="connsiteX3075" fmla="*/ 3537882 w 6689088"/>
              <a:gd name="connsiteY3075" fmla="*/ 1137178 h 6689084"/>
              <a:gd name="connsiteX3076" fmla="*/ 3553133 w 6689088"/>
              <a:gd name="connsiteY3076" fmla="*/ 1152425 h 6689084"/>
              <a:gd name="connsiteX3077" fmla="*/ 3537882 w 6689088"/>
              <a:gd name="connsiteY3077" fmla="*/ 1167677 h 6689084"/>
              <a:gd name="connsiteX3078" fmla="*/ 3522634 w 6689088"/>
              <a:gd name="connsiteY3078" fmla="*/ 1152425 h 6689084"/>
              <a:gd name="connsiteX3079" fmla="*/ 3537882 w 6689088"/>
              <a:gd name="connsiteY3079" fmla="*/ 1137178 h 6689084"/>
              <a:gd name="connsiteX3080" fmla="*/ 3691467 w 6689088"/>
              <a:gd name="connsiteY3080" fmla="*/ 1135359 h 6689084"/>
              <a:gd name="connsiteX3081" fmla="*/ 3708533 w 6689088"/>
              <a:gd name="connsiteY3081" fmla="*/ 1152425 h 6689084"/>
              <a:gd name="connsiteX3082" fmla="*/ 3691467 w 6689088"/>
              <a:gd name="connsiteY3082" fmla="*/ 1169487 h 6689084"/>
              <a:gd name="connsiteX3083" fmla="*/ 3674401 w 6689088"/>
              <a:gd name="connsiteY3083" fmla="*/ 1152425 h 6689084"/>
              <a:gd name="connsiteX3084" fmla="*/ 3691467 w 6689088"/>
              <a:gd name="connsiteY3084" fmla="*/ 1135359 h 6689084"/>
              <a:gd name="connsiteX3085" fmla="*/ 3845414 w 6689088"/>
              <a:gd name="connsiteY3085" fmla="*/ 1133183 h 6689084"/>
              <a:gd name="connsiteX3086" fmla="*/ 3864661 w 6689088"/>
              <a:gd name="connsiteY3086" fmla="*/ 1152425 h 6689084"/>
              <a:gd name="connsiteX3087" fmla="*/ 3845414 w 6689088"/>
              <a:gd name="connsiteY3087" fmla="*/ 1171672 h 6689084"/>
              <a:gd name="connsiteX3088" fmla="*/ 3826172 w 6689088"/>
              <a:gd name="connsiteY3088" fmla="*/ 1152425 h 6689084"/>
              <a:gd name="connsiteX3089" fmla="*/ 3845414 w 6689088"/>
              <a:gd name="connsiteY3089" fmla="*/ 1133183 h 6689084"/>
              <a:gd name="connsiteX3090" fmla="*/ 3999000 w 6689088"/>
              <a:gd name="connsiteY3090" fmla="*/ 1131002 h 6689084"/>
              <a:gd name="connsiteX3091" fmla="*/ 4020422 w 6689088"/>
              <a:gd name="connsiteY3091" fmla="*/ 1152425 h 6689084"/>
              <a:gd name="connsiteX3092" fmla="*/ 3999000 w 6689088"/>
              <a:gd name="connsiteY3092" fmla="*/ 1173844 h 6689084"/>
              <a:gd name="connsiteX3093" fmla="*/ 3977577 w 6689088"/>
              <a:gd name="connsiteY3093" fmla="*/ 1152425 h 6689084"/>
              <a:gd name="connsiteX3094" fmla="*/ 3999000 w 6689088"/>
              <a:gd name="connsiteY3094" fmla="*/ 1131002 h 6689084"/>
              <a:gd name="connsiteX3095" fmla="*/ 4152947 w 6689088"/>
              <a:gd name="connsiteY3095" fmla="*/ 1129550 h 6689084"/>
              <a:gd name="connsiteX3096" fmla="*/ 4175822 w 6689088"/>
              <a:gd name="connsiteY3096" fmla="*/ 1152425 h 6689084"/>
              <a:gd name="connsiteX3097" fmla="*/ 4152947 w 6689088"/>
              <a:gd name="connsiteY3097" fmla="*/ 1175297 h 6689084"/>
              <a:gd name="connsiteX3098" fmla="*/ 4130072 w 6689088"/>
              <a:gd name="connsiteY3098" fmla="*/ 1152425 h 6689084"/>
              <a:gd name="connsiteX3099" fmla="*/ 4152947 w 6689088"/>
              <a:gd name="connsiteY3099" fmla="*/ 1129550 h 6689084"/>
              <a:gd name="connsiteX3100" fmla="*/ 4306532 w 6689088"/>
              <a:gd name="connsiteY3100" fmla="*/ 1127373 h 6689084"/>
              <a:gd name="connsiteX3101" fmla="*/ 4331584 w 6689088"/>
              <a:gd name="connsiteY3101" fmla="*/ 1152425 h 6689084"/>
              <a:gd name="connsiteX3102" fmla="*/ 4306532 w 6689088"/>
              <a:gd name="connsiteY3102" fmla="*/ 1177481 h 6689084"/>
              <a:gd name="connsiteX3103" fmla="*/ 4281480 w 6689088"/>
              <a:gd name="connsiteY3103" fmla="*/ 1152425 h 6689084"/>
              <a:gd name="connsiteX3104" fmla="*/ 4306532 w 6689088"/>
              <a:gd name="connsiteY3104" fmla="*/ 1127373 h 6689084"/>
              <a:gd name="connsiteX3105" fmla="*/ 4460480 w 6689088"/>
              <a:gd name="connsiteY3105" fmla="*/ 1125193 h 6689084"/>
              <a:gd name="connsiteX3106" fmla="*/ 4487712 w 6689088"/>
              <a:gd name="connsiteY3106" fmla="*/ 1152425 h 6689084"/>
              <a:gd name="connsiteX3107" fmla="*/ 4460480 w 6689088"/>
              <a:gd name="connsiteY3107" fmla="*/ 1179657 h 6689084"/>
              <a:gd name="connsiteX3108" fmla="*/ 4433248 w 6689088"/>
              <a:gd name="connsiteY3108" fmla="*/ 1152425 h 6689084"/>
              <a:gd name="connsiteX3109" fmla="*/ 4460480 w 6689088"/>
              <a:gd name="connsiteY3109" fmla="*/ 1125193 h 6689084"/>
              <a:gd name="connsiteX3110" fmla="*/ 4614061 w 6689088"/>
              <a:gd name="connsiteY3110" fmla="*/ 1122654 h 6689084"/>
              <a:gd name="connsiteX3111" fmla="*/ 4643836 w 6689088"/>
              <a:gd name="connsiteY3111" fmla="*/ 1152425 h 6689084"/>
              <a:gd name="connsiteX3112" fmla="*/ 4614061 w 6689088"/>
              <a:gd name="connsiteY3112" fmla="*/ 1182200 h 6689084"/>
              <a:gd name="connsiteX3113" fmla="*/ 4584290 w 6689088"/>
              <a:gd name="connsiteY3113" fmla="*/ 1152429 h 6689084"/>
              <a:gd name="connsiteX3114" fmla="*/ 4614061 w 6689088"/>
              <a:gd name="connsiteY3114" fmla="*/ 1122654 h 6689084"/>
              <a:gd name="connsiteX3115" fmla="*/ 4768012 w 6689088"/>
              <a:gd name="connsiteY3115" fmla="*/ 1120474 h 6689084"/>
              <a:gd name="connsiteX3116" fmla="*/ 4799964 w 6689088"/>
              <a:gd name="connsiteY3116" fmla="*/ 1152425 h 6689084"/>
              <a:gd name="connsiteX3117" fmla="*/ 4768012 w 6689088"/>
              <a:gd name="connsiteY3117" fmla="*/ 1184377 h 6689084"/>
              <a:gd name="connsiteX3118" fmla="*/ 4736061 w 6689088"/>
              <a:gd name="connsiteY3118" fmla="*/ 1152425 h 6689084"/>
              <a:gd name="connsiteX3119" fmla="*/ 4768012 w 6689088"/>
              <a:gd name="connsiteY3119" fmla="*/ 1120474 h 6689084"/>
              <a:gd name="connsiteX3120" fmla="*/ 4921594 w 6689088"/>
              <a:gd name="connsiteY3120" fmla="*/ 1118659 h 6689084"/>
              <a:gd name="connsiteX3121" fmla="*/ 4955364 w 6689088"/>
              <a:gd name="connsiteY3121" fmla="*/ 1152425 h 6689084"/>
              <a:gd name="connsiteX3122" fmla="*/ 4921594 w 6689088"/>
              <a:gd name="connsiteY3122" fmla="*/ 1186191 h 6689084"/>
              <a:gd name="connsiteX3123" fmla="*/ 4887828 w 6689088"/>
              <a:gd name="connsiteY3123" fmla="*/ 1152425 h 6689084"/>
              <a:gd name="connsiteX3124" fmla="*/ 4921594 w 6689088"/>
              <a:gd name="connsiteY3124" fmla="*/ 1118659 h 6689084"/>
              <a:gd name="connsiteX3125" fmla="*/ 5075541 w 6689088"/>
              <a:gd name="connsiteY3125" fmla="*/ 1116117 h 6689084"/>
              <a:gd name="connsiteX3126" fmla="*/ 5111850 w 6689088"/>
              <a:gd name="connsiteY3126" fmla="*/ 1152425 h 6689084"/>
              <a:gd name="connsiteX3127" fmla="*/ 5075541 w 6689088"/>
              <a:gd name="connsiteY3127" fmla="*/ 1188734 h 6689084"/>
              <a:gd name="connsiteX3128" fmla="*/ 5039233 w 6689088"/>
              <a:gd name="connsiteY3128" fmla="*/ 1152425 h 6689084"/>
              <a:gd name="connsiteX3129" fmla="*/ 5075541 w 6689088"/>
              <a:gd name="connsiteY3129" fmla="*/ 1116117 h 6689084"/>
              <a:gd name="connsiteX3130" fmla="*/ 5229126 w 6689088"/>
              <a:gd name="connsiteY3130" fmla="*/ 1113574 h 6689084"/>
              <a:gd name="connsiteX3131" fmla="*/ 5267978 w 6689088"/>
              <a:gd name="connsiteY3131" fmla="*/ 1152425 h 6689084"/>
              <a:gd name="connsiteX3132" fmla="*/ 5229126 w 6689088"/>
              <a:gd name="connsiteY3132" fmla="*/ 1191276 h 6689084"/>
              <a:gd name="connsiteX3133" fmla="*/ 5190276 w 6689088"/>
              <a:gd name="connsiteY3133" fmla="*/ 1152425 h 6689084"/>
              <a:gd name="connsiteX3134" fmla="*/ 5229126 w 6689088"/>
              <a:gd name="connsiteY3134" fmla="*/ 1113574 h 6689084"/>
              <a:gd name="connsiteX3135" fmla="*/ 5383074 w 6689088"/>
              <a:gd name="connsiteY3135" fmla="*/ 1111036 h 6689084"/>
              <a:gd name="connsiteX3136" fmla="*/ 5424102 w 6689088"/>
              <a:gd name="connsiteY3136" fmla="*/ 1152063 h 6689084"/>
              <a:gd name="connsiteX3137" fmla="*/ 5383074 w 6689088"/>
              <a:gd name="connsiteY3137" fmla="*/ 1193094 h 6689084"/>
              <a:gd name="connsiteX3138" fmla="*/ 5342046 w 6689088"/>
              <a:gd name="connsiteY3138" fmla="*/ 1152063 h 6689084"/>
              <a:gd name="connsiteX3139" fmla="*/ 5383074 w 6689088"/>
              <a:gd name="connsiteY3139" fmla="*/ 1111036 h 6689084"/>
              <a:gd name="connsiteX3140" fmla="*/ 5536659 w 6689088"/>
              <a:gd name="connsiteY3140" fmla="*/ 1108855 h 6689084"/>
              <a:gd name="connsiteX3141" fmla="*/ 5580229 w 6689088"/>
              <a:gd name="connsiteY3141" fmla="*/ 1152425 h 6689084"/>
              <a:gd name="connsiteX3142" fmla="*/ 5536659 w 6689088"/>
              <a:gd name="connsiteY3142" fmla="*/ 1195995 h 6689084"/>
              <a:gd name="connsiteX3143" fmla="*/ 5493089 w 6689088"/>
              <a:gd name="connsiteY3143" fmla="*/ 1152425 h 6689084"/>
              <a:gd name="connsiteX3144" fmla="*/ 5536659 w 6689088"/>
              <a:gd name="connsiteY3144" fmla="*/ 1108855 h 6689084"/>
              <a:gd name="connsiteX3145" fmla="*/ 5690602 w 6689088"/>
              <a:gd name="connsiteY3145" fmla="*/ 1106313 h 6689084"/>
              <a:gd name="connsiteX3146" fmla="*/ 5736716 w 6689088"/>
              <a:gd name="connsiteY3146" fmla="*/ 1152425 h 6689084"/>
              <a:gd name="connsiteX3147" fmla="*/ 5690602 w 6689088"/>
              <a:gd name="connsiteY3147" fmla="*/ 1198534 h 6689084"/>
              <a:gd name="connsiteX3148" fmla="*/ 5644490 w 6689088"/>
              <a:gd name="connsiteY3148" fmla="*/ 1152425 h 6689084"/>
              <a:gd name="connsiteX3149" fmla="*/ 5690602 w 6689088"/>
              <a:gd name="connsiteY3149" fmla="*/ 1106313 h 6689084"/>
              <a:gd name="connsiteX3150" fmla="*/ 5844554 w 6689088"/>
              <a:gd name="connsiteY3150" fmla="*/ 1103770 h 6689084"/>
              <a:gd name="connsiteX3151" fmla="*/ 5893205 w 6689088"/>
              <a:gd name="connsiteY3151" fmla="*/ 1152425 h 6689084"/>
              <a:gd name="connsiteX3152" fmla="*/ 5844554 w 6689088"/>
              <a:gd name="connsiteY3152" fmla="*/ 1201077 h 6689084"/>
              <a:gd name="connsiteX3153" fmla="*/ 5795899 w 6689088"/>
              <a:gd name="connsiteY3153" fmla="*/ 1152425 h 6689084"/>
              <a:gd name="connsiteX3154" fmla="*/ 5844554 w 6689088"/>
              <a:gd name="connsiteY3154" fmla="*/ 1103770 h 6689084"/>
              <a:gd name="connsiteX3155" fmla="*/ 5998136 w 6689088"/>
              <a:gd name="connsiteY3155" fmla="*/ 1101231 h 6689084"/>
              <a:gd name="connsiteX3156" fmla="*/ 6049333 w 6689088"/>
              <a:gd name="connsiteY3156" fmla="*/ 1152425 h 6689084"/>
              <a:gd name="connsiteX3157" fmla="*/ 5998136 w 6689088"/>
              <a:gd name="connsiteY3157" fmla="*/ 1203623 h 6689084"/>
              <a:gd name="connsiteX3158" fmla="*/ 5946942 w 6689088"/>
              <a:gd name="connsiteY3158" fmla="*/ 1152425 h 6689084"/>
              <a:gd name="connsiteX3159" fmla="*/ 5998136 w 6689088"/>
              <a:gd name="connsiteY3159" fmla="*/ 1101231 h 6689084"/>
              <a:gd name="connsiteX3160" fmla="*/ 6152083 w 6689088"/>
              <a:gd name="connsiteY3160" fmla="*/ 1099051 h 6689084"/>
              <a:gd name="connsiteX3161" fmla="*/ 6205461 w 6689088"/>
              <a:gd name="connsiteY3161" fmla="*/ 1152425 h 6689084"/>
              <a:gd name="connsiteX3162" fmla="*/ 6152083 w 6689088"/>
              <a:gd name="connsiteY3162" fmla="*/ 1205796 h 6689084"/>
              <a:gd name="connsiteX3163" fmla="*/ 6098712 w 6689088"/>
              <a:gd name="connsiteY3163" fmla="*/ 1152425 h 6689084"/>
              <a:gd name="connsiteX3164" fmla="*/ 6152083 w 6689088"/>
              <a:gd name="connsiteY3164" fmla="*/ 1099051 h 6689084"/>
              <a:gd name="connsiteX3165" fmla="*/ 6305672 w 6689088"/>
              <a:gd name="connsiteY3165" fmla="*/ 1096146 h 6689084"/>
              <a:gd name="connsiteX3166" fmla="*/ 6361947 w 6689088"/>
              <a:gd name="connsiteY3166" fmla="*/ 1152425 h 6689084"/>
              <a:gd name="connsiteX3167" fmla="*/ 6305672 w 6689088"/>
              <a:gd name="connsiteY3167" fmla="*/ 1208704 h 6689084"/>
              <a:gd name="connsiteX3168" fmla="*/ 6249393 w 6689088"/>
              <a:gd name="connsiteY3168" fmla="*/ 1152425 h 6689084"/>
              <a:gd name="connsiteX3169" fmla="*/ 6305672 w 6689088"/>
              <a:gd name="connsiteY3169" fmla="*/ 1096146 h 6689084"/>
              <a:gd name="connsiteX3170" fmla="*/ 6459616 w 6689088"/>
              <a:gd name="connsiteY3170" fmla="*/ 1093608 h 6689084"/>
              <a:gd name="connsiteX3171" fmla="*/ 6518437 w 6689088"/>
              <a:gd name="connsiteY3171" fmla="*/ 1152425 h 6689084"/>
              <a:gd name="connsiteX3172" fmla="*/ 6459616 w 6689088"/>
              <a:gd name="connsiteY3172" fmla="*/ 1211247 h 6689084"/>
              <a:gd name="connsiteX3173" fmla="*/ 6400798 w 6689088"/>
              <a:gd name="connsiteY3173" fmla="*/ 1152425 h 6689084"/>
              <a:gd name="connsiteX3174" fmla="*/ 6459616 w 6689088"/>
              <a:gd name="connsiteY3174" fmla="*/ 1093608 h 6689084"/>
              <a:gd name="connsiteX3175" fmla="*/ 6613200 w 6689088"/>
              <a:gd name="connsiteY3175" fmla="*/ 1090703 h 6689084"/>
              <a:gd name="connsiteX3176" fmla="*/ 6674923 w 6689088"/>
              <a:gd name="connsiteY3176" fmla="*/ 1152425 h 6689084"/>
              <a:gd name="connsiteX3177" fmla="*/ 6613200 w 6689088"/>
              <a:gd name="connsiteY3177" fmla="*/ 1214151 h 6689084"/>
              <a:gd name="connsiteX3178" fmla="*/ 6551474 w 6689088"/>
              <a:gd name="connsiteY3178" fmla="*/ 1152425 h 6689084"/>
              <a:gd name="connsiteX3179" fmla="*/ 6613200 w 6689088"/>
              <a:gd name="connsiteY3179" fmla="*/ 1090703 h 6689084"/>
              <a:gd name="connsiteX3180" fmla="*/ 1692331 w 6689088"/>
              <a:gd name="connsiteY3180" fmla="*/ 998116 h 6689084"/>
              <a:gd name="connsiteX3181" fmla="*/ 1692694 w 6689088"/>
              <a:gd name="connsiteY3181" fmla="*/ 998478 h 6689084"/>
              <a:gd name="connsiteX3182" fmla="*/ 1692331 w 6689088"/>
              <a:gd name="connsiteY3182" fmla="*/ 998844 h 6689084"/>
              <a:gd name="connsiteX3183" fmla="*/ 1691969 w 6689088"/>
              <a:gd name="connsiteY3183" fmla="*/ 998478 h 6689084"/>
              <a:gd name="connsiteX3184" fmla="*/ 1692331 w 6689088"/>
              <a:gd name="connsiteY3184" fmla="*/ 998116 h 6689084"/>
              <a:gd name="connsiteX3185" fmla="*/ 1231213 w 6689088"/>
              <a:gd name="connsiteY3185" fmla="*/ 998116 h 6689084"/>
              <a:gd name="connsiteX3186" fmla="*/ 1231576 w 6689088"/>
              <a:gd name="connsiteY3186" fmla="*/ 998478 h 6689084"/>
              <a:gd name="connsiteX3187" fmla="*/ 1231213 w 6689088"/>
              <a:gd name="connsiteY3187" fmla="*/ 998844 h 6689084"/>
              <a:gd name="connsiteX3188" fmla="*/ 1230851 w 6689088"/>
              <a:gd name="connsiteY3188" fmla="*/ 998478 h 6689084"/>
              <a:gd name="connsiteX3189" fmla="*/ 1231213 w 6689088"/>
              <a:gd name="connsiteY3189" fmla="*/ 998116 h 6689084"/>
              <a:gd name="connsiteX3190" fmla="*/ 1077266 w 6689088"/>
              <a:gd name="connsiteY3190" fmla="*/ 998116 h 6689084"/>
              <a:gd name="connsiteX3191" fmla="*/ 1077628 w 6689088"/>
              <a:gd name="connsiteY3191" fmla="*/ 998478 h 6689084"/>
              <a:gd name="connsiteX3192" fmla="*/ 1077266 w 6689088"/>
              <a:gd name="connsiteY3192" fmla="*/ 998844 h 6689084"/>
              <a:gd name="connsiteX3193" fmla="*/ 1076904 w 6689088"/>
              <a:gd name="connsiteY3193" fmla="*/ 998478 h 6689084"/>
              <a:gd name="connsiteX3194" fmla="*/ 1077266 w 6689088"/>
              <a:gd name="connsiteY3194" fmla="*/ 998116 h 6689084"/>
              <a:gd name="connsiteX3195" fmla="*/ 923685 w 6689088"/>
              <a:gd name="connsiteY3195" fmla="*/ 997754 h 6689084"/>
              <a:gd name="connsiteX3196" fmla="*/ 924409 w 6689088"/>
              <a:gd name="connsiteY3196" fmla="*/ 998482 h 6689084"/>
              <a:gd name="connsiteX3197" fmla="*/ 923685 w 6689088"/>
              <a:gd name="connsiteY3197" fmla="*/ 999206 h 6689084"/>
              <a:gd name="connsiteX3198" fmla="*/ 922957 w 6689088"/>
              <a:gd name="connsiteY3198" fmla="*/ 998482 h 6689084"/>
              <a:gd name="connsiteX3199" fmla="*/ 923685 w 6689088"/>
              <a:gd name="connsiteY3199" fmla="*/ 997754 h 6689084"/>
              <a:gd name="connsiteX3200" fmla="*/ 1846279 w 6689088"/>
              <a:gd name="connsiteY3200" fmla="*/ 997025 h 6689084"/>
              <a:gd name="connsiteX3201" fmla="*/ 1847731 w 6689088"/>
              <a:gd name="connsiteY3201" fmla="*/ 998478 h 6689084"/>
              <a:gd name="connsiteX3202" fmla="*/ 1846279 w 6689088"/>
              <a:gd name="connsiteY3202" fmla="*/ 999930 h 6689084"/>
              <a:gd name="connsiteX3203" fmla="*/ 1844826 w 6689088"/>
              <a:gd name="connsiteY3203" fmla="*/ 998478 h 6689084"/>
              <a:gd name="connsiteX3204" fmla="*/ 1846279 w 6689088"/>
              <a:gd name="connsiteY3204" fmla="*/ 997025 h 6689084"/>
              <a:gd name="connsiteX3205" fmla="*/ 1999860 w 6689088"/>
              <a:gd name="connsiteY3205" fmla="*/ 996301 h 6689084"/>
              <a:gd name="connsiteX3206" fmla="*/ 2002041 w 6689088"/>
              <a:gd name="connsiteY3206" fmla="*/ 998478 h 6689084"/>
              <a:gd name="connsiteX3207" fmla="*/ 1999860 w 6689088"/>
              <a:gd name="connsiteY3207" fmla="*/ 1000658 h 6689084"/>
              <a:gd name="connsiteX3208" fmla="*/ 1997684 w 6689088"/>
              <a:gd name="connsiteY3208" fmla="*/ 998478 h 6689084"/>
              <a:gd name="connsiteX3209" fmla="*/ 1999860 w 6689088"/>
              <a:gd name="connsiteY3209" fmla="*/ 996301 h 6689084"/>
              <a:gd name="connsiteX3210" fmla="*/ 2153808 w 6689088"/>
              <a:gd name="connsiteY3210" fmla="*/ 995573 h 6689084"/>
              <a:gd name="connsiteX3211" fmla="*/ 2157074 w 6689088"/>
              <a:gd name="connsiteY3211" fmla="*/ 998840 h 6689084"/>
              <a:gd name="connsiteX3212" fmla="*/ 2153808 w 6689088"/>
              <a:gd name="connsiteY3212" fmla="*/ 1002110 h 6689084"/>
              <a:gd name="connsiteX3213" fmla="*/ 2150541 w 6689088"/>
              <a:gd name="connsiteY3213" fmla="*/ 998840 h 6689084"/>
              <a:gd name="connsiteX3214" fmla="*/ 2153808 w 6689088"/>
              <a:gd name="connsiteY3214" fmla="*/ 995573 h 6689084"/>
              <a:gd name="connsiteX3215" fmla="*/ 2307393 w 6689088"/>
              <a:gd name="connsiteY3215" fmla="*/ 994121 h 6689084"/>
              <a:gd name="connsiteX3216" fmla="*/ 2311750 w 6689088"/>
              <a:gd name="connsiteY3216" fmla="*/ 998478 h 6689084"/>
              <a:gd name="connsiteX3217" fmla="*/ 2307393 w 6689088"/>
              <a:gd name="connsiteY3217" fmla="*/ 1002835 h 6689084"/>
              <a:gd name="connsiteX3218" fmla="*/ 2303036 w 6689088"/>
              <a:gd name="connsiteY3218" fmla="*/ 998478 h 6689084"/>
              <a:gd name="connsiteX3219" fmla="*/ 2307393 w 6689088"/>
              <a:gd name="connsiteY3219" fmla="*/ 994121 h 6689084"/>
              <a:gd name="connsiteX3220" fmla="*/ 2461340 w 6689088"/>
              <a:gd name="connsiteY3220" fmla="*/ 993031 h 6689084"/>
              <a:gd name="connsiteX3221" fmla="*/ 2467150 w 6689088"/>
              <a:gd name="connsiteY3221" fmla="*/ 998840 h 6689084"/>
              <a:gd name="connsiteX3222" fmla="*/ 2461340 w 6689088"/>
              <a:gd name="connsiteY3222" fmla="*/ 1004649 h 6689084"/>
              <a:gd name="connsiteX3223" fmla="*/ 2455531 w 6689088"/>
              <a:gd name="connsiteY3223" fmla="*/ 998840 h 6689084"/>
              <a:gd name="connsiteX3224" fmla="*/ 2461340 w 6689088"/>
              <a:gd name="connsiteY3224" fmla="*/ 993031 h 6689084"/>
              <a:gd name="connsiteX3225" fmla="*/ 2614925 w 6689088"/>
              <a:gd name="connsiteY3225" fmla="*/ 991216 h 6689084"/>
              <a:gd name="connsiteX3226" fmla="*/ 2622187 w 6689088"/>
              <a:gd name="connsiteY3226" fmla="*/ 998478 h 6689084"/>
              <a:gd name="connsiteX3227" fmla="*/ 2614925 w 6689088"/>
              <a:gd name="connsiteY3227" fmla="*/ 1005739 h 6689084"/>
              <a:gd name="connsiteX3228" fmla="*/ 2607664 w 6689088"/>
              <a:gd name="connsiteY3228" fmla="*/ 998478 h 6689084"/>
              <a:gd name="connsiteX3229" fmla="*/ 2614925 w 6689088"/>
              <a:gd name="connsiteY3229" fmla="*/ 991216 h 6689084"/>
              <a:gd name="connsiteX3230" fmla="*/ 2768873 w 6689088"/>
              <a:gd name="connsiteY3230" fmla="*/ 989402 h 6689084"/>
              <a:gd name="connsiteX3231" fmla="*/ 2777953 w 6689088"/>
              <a:gd name="connsiteY3231" fmla="*/ 998478 h 6689084"/>
              <a:gd name="connsiteX3232" fmla="*/ 2768873 w 6689088"/>
              <a:gd name="connsiteY3232" fmla="*/ 1007558 h 6689084"/>
              <a:gd name="connsiteX3233" fmla="*/ 2759797 w 6689088"/>
              <a:gd name="connsiteY3233" fmla="*/ 998478 h 6689084"/>
              <a:gd name="connsiteX3234" fmla="*/ 2768873 w 6689088"/>
              <a:gd name="connsiteY3234" fmla="*/ 989402 h 6689084"/>
              <a:gd name="connsiteX3235" fmla="*/ 2922458 w 6689088"/>
              <a:gd name="connsiteY3235" fmla="*/ 988311 h 6689084"/>
              <a:gd name="connsiteX3236" fmla="*/ 2932624 w 6689088"/>
              <a:gd name="connsiteY3236" fmla="*/ 998478 h 6689084"/>
              <a:gd name="connsiteX3237" fmla="*/ 2922458 w 6689088"/>
              <a:gd name="connsiteY3237" fmla="*/ 1008644 h 6689084"/>
              <a:gd name="connsiteX3238" fmla="*/ 2912292 w 6689088"/>
              <a:gd name="connsiteY3238" fmla="*/ 998478 h 6689084"/>
              <a:gd name="connsiteX3239" fmla="*/ 2922458 w 6689088"/>
              <a:gd name="connsiteY3239" fmla="*/ 988311 h 6689084"/>
              <a:gd name="connsiteX3240" fmla="*/ 3076402 w 6689088"/>
              <a:gd name="connsiteY3240" fmla="*/ 986497 h 6689084"/>
              <a:gd name="connsiteX3241" fmla="*/ 3088386 w 6689088"/>
              <a:gd name="connsiteY3241" fmla="*/ 998478 h 6689084"/>
              <a:gd name="connsiteX3242" fmla="*/ 3076402 w 6689088"/>
              <a:gd name="connsiteY3242" fmla="*/ 1010459 h 6689084"/>
              <a:gd name="connsiteX3243" fmla="*/ 3064421 w 6689088"/>
              <a:gd name="connsiteY3243" fmla="*/ 998478 h 6689084"/>
              <a:gd name="connsiteX3244" fmla="*/ 3076402 w 6689088"/>
              <a:gd name="connsiteY3244" fmla="*/ 986497 h 6689084"/>
              <a:gd name="connsiteX3245" fmla="*/ 3230353 w 6689088"/>
              <a:gd name="connsiteY3245" fmla="*/ 984683 h 6689084"/>
              <a:gd name="connsiteX3246" fmla="*/ 3244148 w 6689088"/>
              <a:gd name="connsiteY3246" fmla="*/ 998482 h 6689084"/>
              <a:gd name="connsiteX3247" fmla="*/ 3230353 w 6689088"/>
              <a:gd name="connsiteY3247" fmla="*/ 1012277 h 6689084"/>
              <a:gd name="connsiteX3248" fmla="*/ 3216554 w 6689088"/>
              <a:gd name="connsiteY3248" fmla="*/ 998482 h 6689084"/>
              <a:gd name="connsiteX3249" fmla="*/ 3230353 w 6689088"/>
              <a:gd name="connsiteY3249" fmla="*/ 984683 h 6689084"/>
              <a:gd name="connsiteX3250" fmla="*/ 3383934 w 6689088"/>
              <a:gd name="connsiteY3250" fmla="*/ 983230 h 6689084"/>
              <a:gd name="connsiteX3251" fmla="*/ 3399186 w 6689088"/>
              <a:gd name="connsiteY3251" fmla="*/ 998482 h 6689084"/>
              <a:gd name="connsiteX3252" fmla="*/ 3383934 w 6689088"/>
              <a:gd name="connsiteY3252" fmla="*/ 1013729 h 6689084"/>
              <a:gd name="connsiteX3253" fmla="*/ 3368687 w 6689088"/>
              <a:gd name="connsiteY3253" fmla="*/ 998482 h 6689084"/>
              <a:gd name="connsiteX3254" fmla="*/ 3383934 w 6689088"/>
              <a:gd name="connsiteY3254" fmla="*/ 983230 h 6689084"/>
              <a:gd name="connsiteX3255" fmla="*/ 3537886 w 6689088"/>
              <a:gd name="connsiteY3255" fmla="*/ 981412 h 6689084"/>
              <a:gd name="connsiteX3256" fmla="*/ 3554951 w 6689088"/>
              <a:gd name="connsiteY3256" fmla="*/ 998478 h 6689084"/>
              <a:gd name="connsiteX3257" fmla="*/ 3537886 w 6689088"/>
              <a:gd name="connsiteY3257" fmla="*/ 1015540 h 6689084"/>
              <a:gd name="connsiteX3258" fmla="*/ 3520820 w 6689088"/>
              <a:gd name="connsiteY3258" fmla="*/ 998478 h 6689084"/>
              <a:gd name="connsiteX3259" fmla="*/ 3537886 w 6689088"/>
              <a:gd name="connsiteY3259" fmla="*/ 981412 h 6689084"/>
              <a:gd name="connsiteX3260" fmla="*/ 3691467 w 6689088"/>
              <a:gd name="connsiteY3260" fmla="*/ 979235 h 6689084"/>
              <a:gd name="connsiteX3261" fmla="*/ 3710710 w 6689088"/>
              <a:gd name="connsiteY3261" fmla="*/ 998478 h 6689084"/>
              <a:gd name="connsiteX3262" fmla="*/ 3691467 w 6689088"/>
              <a:gd name="connsiteY3262" fmla="*/ 1017724 h 6689084"/>
              <a:gd name="connsiteX3263" fmla="*/ 3672224 w 6689088"/>
              <a:gd name="connsiteY3263" fmla="*/ 998478 h 6689084"/>
              <a:gd name="connsiteX3264" fmla="*/ 3691467 w 6689088"/>
              <a:gd name="connsiteY3264" fmla="*/ 979235 h 6689084"/>
              <a:gd name="connsiteX3265" fmla="*/ 3845418 w 6689088"/>
              <a:gd name="connsiteY3265" fmla="*/ 977055 h 6689084"/>
              <a:gd name="connsiteX3266" fmla="*/ 3866841 w 6689088"/>
              <a:gd name="connsiteY3266" fmla="*/ 998478 h 6689084"/>
              <a:gd name="connsiteX3267" fmla="*/ 3845418 w 6689088"/>
              <a:gd name="connsiteY3267" fmla="*/ 1019901 h 6689084"/>
              <a:gd name="connsiteX3268" fmla="*/ 3823995 w 6689088"/>
              <a:gd name="connsiteY3268" fmla="*/ 998478 h 6689084"/>
              <a:gd name="connsiteX3269" fmla="*/ 3845418 w 6689088"/>
              <a:gd name="connsiteY3269" fmla="*/ 977055 h 6689084"/>
              <a:gd name="connsiteX3270" fmla="*/ 3999000 w 6689088"/>
              <a:gd name="connsiteY3270" fmla="*/ 975603 h 6689084"/>
              <a:gd name="connsiteX3271" fmla="*/ 4021871 w 6689088"/>
              <a:gd name="connsiteY3271" fmla="*/ 998478 h 6689084"/>
              <a:gd name="connsiteX3272" fmla="*/ 3999000 w 6689088"/>
              <a:gd name="connsiteY3272" fmla="*/ 1021349 h 6689084"/>
              <a:gd name="connsiteX3273" fmla="*/ 3976124 w 6689088"/>
              <a:gd name="connsiteY3273" fmla="*/ 998478 h 6689084"/>
              <a:gd name="connsiteX3274" fmla="*/ 3999000 w 6689088"/>
              <a:gd name="connsiteY3274" fmla="*/ 975603 h 6689084"/>
              <a:gd name="connsiteX3275" fmla="*/ 4152947 w 6689088"/>
              <a:gd name="connsiteY3275" fmla="*/ 973426 h 6689084"/>
              <a:gd name="connsiteX3276" fmla="*/ 4178002 w 6689088"/>
              <a:gd name="connsiteY3276" fmla="*/ 998478 h 6689084"/>
              <a:gd name="connsiteX3277" fmla="*/ 4152947 w 6689088"/>
              <a:gd name="connsiteY3277" fmla="*/ 1023533 h 6689084"/>
              <a:gd name="connsiteX3278" fmla="*/ 4127895 w 6689088"/>
              <a:gd name="connsiteY3278" fmla="*/ 998478 h 6689084"/>
              <a:gd name="connsiteX3279" fmla="*/ 4152947 w 6689088"/>
              <a:gd name="connsiteY3279" fmla="*/ 973426 h 6689084"/>
              <a:gd name="connsiteX3280" fmla="*/ 4306532 w 6689088"/>
              <a:gd name="connsiteY3280" fmla="*/ 971246 h 6689084"/>
              <a:gd name="connsiteX3281" fmla="*/ 4333764 w 6689088"/>
              <a:gd name="connsiteY3281" fmla="*/ 998478 h 6689084"/>
              <a:gd name="connsiteX3282" fmla="*/ 4306532 w 6689088"/>
              <a:gd name="connsiteY3282" fmla="*/ 1025710 h 6689084"/>
              <a:gd name="connsiteX3283" fmla="*/ 4279300 w 6689088"/>
              <a:gd name="connsiteY3283" fmla="*/ 998478 h 6689084"/>
              <a:gd name="connsiteX3284" fmla="*/ 4306532 w 6689088"/>
              <a:gd name="connsiteY3284" fmla="*/ 971246 h 6689084"/>
              <a:gd name="connsiteX3285" fmla="*/ 4460476 w 6689088"/>
              <a:gd name="connsiteY3285" fmla="*/ 968707 h 6689084"/>
              <a:gd name="connsiteX3286" fmla="*/ 4490250 w 6689088"/>
              <a:gd name="connsiteY3286" fmla="*/ 998482 h 6689084"/>
              <a:gd name="connsiteX3287" fmla="*/ 4460476 w 6689088"/>
              <a:gd name="connsiteY3287" fmla="*/ 1028252 h 6689084"/>
              <a:gd name="connsiteX3288" fmla="*/ 4430705 w 6689088"/>
              <a:gd name="connsiteY3288" fmla="*/ 998482 h 6689084"/>
              <a:gd name="connsiteX3289" fmla="*/ 4460476 w 6689088"/>
              <a:gd name="connsiteY3289" fmla="*/ 968707 h 6689084"/>
              <a:gd name="connsiteX3290" fmla="*/ 4614061 w 6689088"/>
              <a:gd name="connsiteY3290" fmla="*/ 966526 h 6689084"/>
              <a:gd name="connsiteX3291" fmla="*/ 4646012 w 6689088"/>
              <a:gd name="connsiteY3291" fmla="*/ 998478 h 6689084"/>
              <a:gd name="connsiteX3292" fmla="*/ 4614061 w 6689088"/>
              <a:gd name="connsiteY3292" fmla="*/ 1030429 h 6689084"/>
              <a:gd name="connsiteX3293" fmla="*/ 4582110 w 6689088"/>
              <a:gd name="connsiteY3293" fmla="*/ 998478 h 6689084"/>
              <a:gd name="connsiteX3294" fmla="*/ 4614061 w 6689088"/>
              <a:gd name="connsiteY3294" fmla="*/ 966526 h 6689084"/>
              <a:gd name="connsiteX3295" fmla="*/ 4768008 w 6689088"/>
              <a:gd name="connsiteY3295" fmla="*/ 964712 h 6689084"/>
              <a:gd name="connsiteX3296" fmla="*/ 4801778 w 6689088"/>
              <a:gd name="connsiteY3296" fmla="*/ 998478 h 6689084"/>
              <a:gd name="connsiteX3297" fmla="*/ 4768008 w 6689088"/>
              <a:gd name="connsiteY3297" fmla="*/ 1032247 h 6689084"/>
              <a:gd name="connsiteX3298" fmla="*/ 4734242 w 6689088"/>
              <a:gd name="connsiteY3298" fmla="*/ 998478 h 6689084"/>
              <a:gd name="connsiteX3299" fmla="*/ 4768008 w 6689088"/>
              <a:gd name="connsiteY3299" fmla="*/ 964712 h 6689084"/>
              <a:gd name="connsiteX3300" fmla="*/ 4921594 w 6689088"/>
              <a:gd name="connsiteY3300" fmla="*/ 962169 h 6689084"/>
              <a:gd name="connsiteX3301" fmla="*/ 4957902 w 6689088"/>
              <a:gd name="connsiteY3301" fmla="*/ 998478 h 6689084"/>
              <a:gd name="connsiteX3302" fmla="*/ 4921594 w 6689088"/>
              <a:gd name="connsiteY3302" fmla="*/ 1034786 h 6689084"/>
              <a:gd name="connsiteX3303" fmla="*/ 4885286 w 6689088"/>
              <a:gd name="connsiteY3303" fmla="*/ 998478 h 6689084"/>
              <a:gd name="connsiteX3304" fmla="*/ 4921594 w 6689088"/>
              <a:gd name="connsiteY3304" fmla="*/ 962169 h 6689084"/>
              <a:gd name="connsiteX3305" fmla="*/ 5075545 w 6689088"/>
              <a:gd name="connsiteY3305" fmla="*/ 959627 h 6689084"/>
              <a:gd name="connsiteX3306" fmla="*/ 5114392 w 6689088"/>
              <a:gd name="connsiteY3306" fmla="*/ 998478 h 6689084"/>
              <a:gd name="connsiteX3307" fmla="*/ 5075545 w 6689088"/>
              <a:gd name="connsiteY3307" fmla="*/ 1037325 h 6689084"/>
              <a:gd name="connsiteX3308" fmla="*/ 5036694 w 6689088"/>
              <a:gd name="connsiteY3308" fmla="*/ 998478 h 6689084"/>
              <a:gd name="connsiteX3309" fmla="*/ 5075545 w 6689088"/>
              <a:gd name="connsiteY3309" fmla="*/ 959627 h 6689084"/>
              <a:gd name="connsiteX3310" fmla="*/ 5229126 w 6689088"/>
              <a:gd name="connsiteY3310" fmla="*/ 957450 h 6689084"/>
              <a:gd name="connsiteX3311" fmla="*/ 5270158 w 6689088"/>
              <a:gd name="connsiteY3311" fmla="*/ 998478 h 6689084"/>
              <a:gd name="connsiteX3312" fmla="*/ 5229126 w 6689088"/>
              <a:gd name="connsiteY3312" fmla="*/ 1039505 h 6689084"/>
              <a:gd name="connsiteX3313" fmla="*/ 5188099 w 6689088"/>
              <a:gd name="connsiteY3313" fmla="*/ 998478 h 6689084"/>
              <a:gd name="connsiteX3314" fmla="*/ 5229126 w 6689088"/>
              <a:gd name="connsiteY3314" fmla="*/ 957450 h 6689084"/>
              <a:gd name="connsiteX3315" fmla="*/ 5383074 w 6689088"/>
              <a:gd name="connsiteY3315" fmla="*/ 954908 h 6689084"/>
              <a:gd name="connsiteX3316" fmla="*/ 5426644 w 6689088"/>
              <a:gd name="connsiteY3316" fmla="*/ 998478 h 6689084"/>
              <a:gd name="connsiteX3317" fmla="*/ 5383074 w 6689088"/>
              <a:gd name="connsiteY3317" fmla="*/ 1042048 h 6689084"/>
              <a:gd name="connsiteX3318" fmla="*/ 5339504 w 6689088"/>
              <a:gd name="connsiteY3318" fmla="*/ 998478 h 6689084"/>
              <a:gd name="connsiteX3319" fmla="*/ 5383074 w 6689088"/>
              <a:gd name="connsiteY3319" fmla="*/ 954908 h 6689084"/>
              <a:gd name="connsiteX3320" fmla="*/ 5537018 w 6689088"/>
              <a:gd name="connsiteY3320" fmla="*/ 952365 h 6689084"/>
              <a:gd name="connsiteX3321" fmla="*/ 5583130 w 6689088"/>
              <a:gd name="connsiteY3321" fmla="*/ 998478 h 6689084"/>
              <a:gd name="connsiteX3322" fmla="*/ 5537018 w 6689088"/>
              <a:gd name="connsiteY3322" fmla="*/ 1044590 h 6689084"/>
              <a:gd name="connsiteX3323" fmla="*/ 5490908 w 6689088"/>
              <a:gd name="connsiteY3323" fmla="*/ 998478 h 6689084"/>
              <a:gd name="connsiteX3324" fmla="*/ 5537018 w 6689088"/>
              <a:gd name="connsiteY3324" fmla="*/ 952365 h 6689084"/>
              <a:gd name="connsiteX3325" fmla="*/ 5690606 w 6689088"/>
              <a:gd name="connsiteY3325" fmla="*/ 949823 h 6689084"/>
              <a:gd name="connsiteX3326" fmla="*/ 5739258 w 6689088"/>
              <a:gd name="connsiteY3326" fmla="*/ 998478 h 6689084"/>
              <a:gd name="connsiteX3327" fmla="*/ 5690606 w 6689088"/>
              <a:gd name="connsiteY3327" fmla="*/ 1047129 h 6689084"/>
              <a:gd name="connsiteX3328" fmla="*/ 5641952 w 6689088"/>
              <a:gd name="connsiteY3328" fmla="*/ 998478 h 6689084"/>
              <a:gd name="connsiteX3329" fmla="*/ 5690606 w 6689088"/>
              <a:gd name="connsiteY3329" fmla="*/ 949823 h 6689084"/>
              <a:gd name="connsiteX3330" fmla="*/ 5844554 w 6689088"/>
              <a:gd name="connsiteY3330" fmla="*/ 947284 h 6689084"/>
              <a:gd name="connsiteX3331" fmla="*/ 5895748 w 6689088"/>
              <a:gd name="connsiteY3331" fmla="*/ 998478 h 6689084"/>
              <a:gd name="connsiteX3332" fmla="*/ 5844554 w 6689088"/>
              <a:gd name="connsiteY3332" fmla="*/ 1049672 h 6689084"/>
              <a:gd name="connsiteX3333" fmla="*/ 5793360 w 6689088"/>
              <a:gd name="connsiteY3333" fmla="*/ 998478 h 6689084"/>
              <a:gd name="connsiteX3334" fmla="*/ 5844554 w 6689088"/>
              <a:gd name="connsiteY3334" fmla="*/ 947284 h 6689084"/>
              <a:gd name="connsiteX3335" fmla="*/ 5998136 w 6689088"/>
              <a:gd name="connsiteY3335" fmla="*/ 945104 h 6689084"/>
              <a:gd name="connsiteX3336" fmla="*/ 6051514 w 6689088"/>
              <a:gd name="connsiteY3336" fmla="*/ 998478 h 6689084"/>
              <a:gd name="connsiteX3337" fmla="*/ 5998136 w 6689088"/>
              <a:gd name="connsiteY3337" fmla="*/ 1051848 h 6689084"/>
              <a:gd name="connsiteX3338" fmla="*/ 5944765 w 6689088"/>
              <a:gd name="connsiteY3338" fmla="*/ 998478 h 6689084"/>
              <a:gd name="connsiteX3339" fmla="*/ 5998136 w 6689088"/>
              <a:gd name="connsiteY3339" fmla="*/ 945104 h 6689084"/>
              <a:gd name="connsiteX3340" fmla="*/ 6152086 w 6689088"/>
              <a:gd name="connsiteY3340" fmla="*/ 942199 h 6689084"/>
              <a:gd name="connsiteX3341" fmla="*/ 6208366 w 6689088"/>
              <a:gd name="connsiteY3341" fmla="*/ 998478 h 6689084"/>
              <a:gd name="connsiteX3342" fmla="*/ 6152086 w 6689088"/>
              <a:gd name="connsiteY3342" fmla="*/ 1054753 h 6689084"/>
              <a:gd name="connsiteX3343" fmla="*/ 6095808 w 6689088"/>
              <a:gd name="connsiteY3343" fmla="*/ 998478 h 6689084"/>
              <a:gd name="connsiteX3344" fmla="*/ 6152086 w 6689088"/>
              <a:gd name="connsiteY3344" fmla="*/ 942199 h 6689084"/>
              <a:gd name="connsiteX3345" fmla="*/ 6305672 w 6689088"/>
              <a:gd name="connsiteY3345" fmla="*/ 939660 h 6689084"/>
              <a:gd name="connsiteX3346" fmla="*/ 6364490 w 6689088"/>
              <a:gd name="connsiteY3346" fmla="*/ 998482 h 6689084"/>
              <a:gd name="connsiteX3347" fmla="*/ 6305672 w 6689088"/>
              <a:gd name="connsiteY3347" fmla="*/ 1057299 h 6689084"/>
              <a:gd name="connsiteX3348" fmla="*/ 6246850 w 6689088"/>
              <a:gd name="connsiteY3348" fmla="*/ 998482 h 6689084"/>
              <a:gd name="connsiteX3349" fmla="*/ 6305672 w 6689088"/>
              <a:gd name="connsiteY3349" fmla="*/ 939660 h 6689084"/>
              <a:gd name="connsiteX3350" fmla="*/ 6459619 w 6689088"/>
              <a:gd name="connsiteY3350" fmla="*/ 937118 h 6689084"/>
              <a:gd name="connsiteX3351" fmla="*/ 6521342 w 6689088"/>
              <a:gd name="connsiteY3351" fmla="*/ 998844 h 6689084"/>
              <a:gd name="connsiteX3352" fmla="*/ 6459619 w 6689088"/>
              <a:gd name="connsiteY3352" fmla="*/ 1060566 h 6689084"/>
              <a:gd name="connsiteX3353" fmla="*/ 6397893 w 6689088"/>
              <a:gd name="connsiteY3353" fmla="*/ 998844 h 6689084"/>
              <a:gd name="connsiteX3354" fmla="*/ 6459619 w 6689088"/>
              <a:gd name="connsiteY3354" fmla="*/ 937118 h 6689084"/>
              <a:gd name="connsiteX3355" fmla="*/ 6613200 w 6689088"/>
              <a:gd name="connsiteY3355" fmla="*/ 934213 h 6689084"/>
              <a:gd name="connsiteX3356" fmla="*/ 6677470 w 6689088"/>
              <a:gd name="connsiteY3356" fmla="*/ 998478 h 6689084"/>
              <a:gd name="connsiteX3357" fmla="*/ 6613200 w 6689088"/>
              <a:gd name="connsiteY3357" fmla="*/ 1062746 h 6689084"/>
              <a:gd name="connsiteX3358" fmla="*/ 6548936 w 6689088"/>
              <a:gd name="connsiteY3358" fmla="*/ 998478 h 6689084"/>
              <a:gd name="connsiteX3359" fmla="*/ 6613200 w 6689088"/>
              <a:gd name="connsiteY3359" fmla="*/ 934213 h 6689084"/>
              <a:gd name="connsiteX3360" fmla="*/ 1538746 w 6689088"/>
              <a:gd name="connsiteY3360" fmla="*/ 844530 h 6689084"/>
              <a:gd name="connsiteX3361" fmla="*/ 1539108 w 6689088"/>
              <a:gd name="connsiteY3361" fmla="*/ 844893 h 6689084"/>
              <a:gd name="connsiteX3362" fmla="*/ 1538746 w 6689088"/>
              <a:gd name="connsiteY3362" fmla="*/ 845258 h 6689084"/>
              <a:gd name="connsiteX3363" fmla="*/ 1538384 w 6689088"/>
              <a:gd name="connsiteY3363" fmla="*/ 844893 h 6689084"/>
              <a:gd name="connsiteX3364" fmla="*/ 1538746 w 6689088"/>
              <a:gd name="connsiteY3364" fmla="*/ 844530 h 6689084"/>
              <a:gd name="connsiteX3365" fmla="*/ 1077266 w 6689088"/>
              <a:gd name="connsiteY3365" fmla="*/ 844530 h 6689084"/>
              <a:gd name="connsiteX3366" fmla="*/ 1077628 w 6689088"/>
              <a:gd name="connsiteY3366" fmla="*/ 844893 h 6689084"/>
              <a:gd name="connsiteX3367" fmla="*/ 1077266 w 6689088"/>
              <a:gd name="connsiteY3367" fmla="*/ 845258 h 6689084"/>
              <a:gd name="connsiteX3368" fmla="*/ 1076904 w 6689088"/>
              <a:gd name="connsiteY3368" fmla="*/ 844893 h 6689084"/>
              <a:gd name="connsiteX3369" fmla="*/ 1077266 w 6689088"/>
              <a:gd name="connsiteY3369" fmla="*/ 844530 h 6689084"/>
              <a:gd name="connsiteX3370" fmla="*/ 923681 w 6689088"/>
              <a:gd name="connsiteY3370" fmla="*/ 844530 h 6689084"/>
              <a:gd name="connsiteX3371" fmla="*/ 924043 w 6689088"/>
              <a:gd name="connsiteY3371" fmla="*/ 844893 h 6689084"/>
              <a:gd name="connsiteX3372" fmla="*/ 923681 w 6689088"/>
              <a:gd name="connsiteY3372" fmla="*/ 845258 h 6689084"/>
              <a:gd name="connsiteX3373" fmla="*/ 923319 w 6689088"/>
              <a:gd name="connsiteY3373" fmla="*/ 844893 h 6689084"/>
              <a:gd name="connsiteX3374" fmla="*/ 923681 w 6689088"/>
              <a:gd name="connsiteY3374" fmla="*/ 844530 h 6689084"/>
              <a:gd name="connsiteX3375" fmla="*/ 769737 w 6689088"/>
              <a:gd name="connsiteY3375" fmla="*/ 844168 h 6689084"/>
              <a:gd name="connsiteX3376" fmla="*/ 770461 w 6689088"/>
              <a:gd name="connsiteY3376" fmla="*/ 844896 h 6689084"/>
              <a:gd name="connsiteX3377" fmla="*/ 769737 w 6689088"/>
              <a:gd name="connsiteY3377" fmla="*/ 845621 h 6689084"/>
              <a:gd name="connsiteX3378" fmla="*/ 769009 w 6689088"/>
              <a:gd name="connsiteY3378" fmla="*/ 844896 h 6689084"/>
              <a:gd name="connsiteX3379" fmla="*/ 769737 w 6689088"/>
              <a:gd name="connsiteY3379" fmla="*/ 844168 h 6689084"/>
              <a:gd name="connsiteX3380" fmla="*/ 1692331 w 6689088"/>
              <a:gd name="connsiteY3380" fmla="*/ 843078 h 6689084"/>
              <a:gd name="connsiteX3381" fmla="*/ 1693784 w 6689088"/>
              <a:gd name="connsiteY3381" fmla="*/ 844530 h 6689084"/>
              <a:gd name="connsiteX3382" fmla="*/ 1692331 w 6689088"/>
              <a:gd name="connsiteY3382" fmla="*/ 845983 h 6689084"/>
              <a:gd name="connsiteX3383" fmla="*/ 1690879 w 6689088"/>
              <a:gd name="connsiteY3383" fmla="*/ 844530 h 6689084"/>
              <a:gd name="connsiteX3384" fmla="*/ 1692331 w 6689088"/>
              <a:gd name="connsiteY3384" fmla="*/ 843078 h 6689084"/>
              <a:gd name="connsiteX3385" fmla="*/ 1846279 w 6689088"/>
              <a:gd name="connsiteY3385" fmla="*/ 842716 h 6689084"/>
              <a:gd name="connsiteX3386" fmla="*/ 1848455 w 6689088"/>
              <a:gd name="connsiteY3386" fmla="*/ 844896 h 6689084"/>
              <a:gd name="connsiteX3387" fmla="*/ 1846279 w 6689088"/>
              <a:gd name="connsiteY3387" fmla="*/ 847073 h 6689084"/>
              <a:gd name="connsiteX3388" fmla="*/ 1844098 w 6689088"/>
              <a:gd name="connsiteY3388" fmla="*/ 844896 h 6689084"/>
              <a:gd name="connsiteX3389" fmla="*/ 1846279 w 6689088"/>
              <a:gd name="connsiteY3389" fmla="*/ 842716 h 6689084"/>
              <a:gd name="connsiteX3390" fmla="*/ 1999860 w 6689088"/>
              <a:gd name="connsiteY3390" fmla="*/ 841626 h 6689084"/>
              <a:gd name="connsiteX3391" fmla="*/ 2003127 w 6689088"/>
              <a:gd name="connsiteY3391" fmla="*/ 844893 h 6689084"/>
              <a:gd name="connsiteX3392" fmla="*/ 1999860 w 6689088"/>
              <a:gd name="connsiteY3392" fmla="*/ 848163 h 6689084"/>
              <a:gd name="connsiteX3393" fmla="*/ 1996593 w 6689088"/>
              <a:gd name="connsiteY3393" fmla="*/ 844893 h 6689084"/>
              <a:gd name="connsiteX3394" fmla="*/ 1999860 w 6689088"/>
              <a:gd name="connsiteY3394" fmla="*/ 841626 h 6689084"/>
              <a:gd name="connsiteX3395" fmla="*/ 2153808 w 6689088"/>
              <a:gd name="connsiteY3395" fmla="*/ 840173 h 6689084"/>
              <a:gd name="connsiteX3396" fmla="*/ 2158165 w 6689088"/>
              <a:gd name="connsiteY3396" fmla="*/ 844530 h 6689084"/>
              <a:gd name="connsiteX3397" fmla="*/ 2153808 w 6689088"/>
              <a:gd name="connsiteY3397" fmla="*/ 848887 h 6689084"/>
              <a:gd name="connsiteX3398" fmla="*/ 2149451 w 6689088"/>
              <a:gd name="connsiteY3398" fmla="*/ 844530 h 6689084"/>
              <a:gd name="connsiteX3399" fmla="*/ 2153808 w 6689088"/>
              <a:gd name="connsiteY3399" fmla="*/ 840173 h 6689084"/>
              <a:gd name="connsiteX3400" fmla="*/ 2307393 w 6689088"/>
              <a:gd name="connsiteY3400" fmla="*/ 839083 h 6689084"/>
              <a:gd name="connsiteX3401" fmla="*/ 2313202 w 6689088"/>
              <a:gd name="connsiteY3401" fmla="*/ 844893 h 6689084"/>
              <a:gd name="connsiteX3402" fmla="*/ 2307393 w 6689088"/>
              <a:gd name="connsiteY3402" fmla="*/ 850702 h 6689084"/>
              <a:gd name="connsiteX3403" fmla="*/ 2301583 w 6689088"/>
              <a:gd name="connsiteY3403" fmla="*/ 844893 h 6689084"/>
              <a:gd name="connsiteX3404" fmla="*/ 2307393 w 6689088"/>
              <a:gd name="connsiteY3404" fmla="*/ 839083 h 6689084"/>
              <a:gd name="connsiteX3405" fmla="*/ 2461340 w 6689088"/>
              <a:gd name="connsiteY3405" fmla="*/ 837631 h 6689084"/>
              <a:gd name="connsiteX3406" fmla="*/ 2468602 w 6689088"/>
              <a:gd name="connsiteY3406" fmla="*/ 844893 h 6689084"/>
              <a:gd name="connsiteX3407" fmla="*/ 2461340 w 6689088"/>
              <a:gd name="connsiteY3407" fmla="*/ 852154 h 6689084"/>
              <a:gd name="connsiteX3408" fmla="*/ 2454079 w 6689088"/>
              <a:gd name="connsiteY3408" fmla="*/ 844893 h 6689084"/>
              <a:gd name="connsiteX3409" fmla="*/ 2461340 w 6689088"/>
              <a:gd name="connsiteY3409" fmla="*/ 837631 h 6689084"/>
              <a:gd name="connsiteX3410" fmla="*/ 2614925 w 6689088"/>
              <a:gd name="connsiteY3410" fmla="*/ 835454 h 6689084"/>
              <a:gd name="connsiteX3411" fmla="*/ 2624005 w 6689088"/>
              <a:gd name="connsiteY3411" fmla="*/ 844530 h 6689084"/>
              <a:gd name="connsiteX3412" fmla="*/ 2614925 w 6689088"/>
              <a:gd name="connsiteY3412" fmla="*/ 853610 h 6689084"/>
              <a:gd name="connsiteX3413" fmla="*/ 2605849 w 6689088"/>
              <a:gd name="connsiteY3413" fmla="*/ 844530 h 6689084"/>
              <a:gd name="connsiteX3414" fmla="*/ 2614925 w 6689088"/>
              <a:gd name="connsiteY3414" fmla="*/ 835454 h 6689084"/>
              <a:gd name="connsiteX3415" fmla="*/ 2768873 w 6689088"/>
              <a:gd name="connsiteY3415" fmla="*/ 834726 h 6689084"/>
              <a:gd name="connsiteX3416" fmla="*/ 2779039 w 6689088"/>
              <a:gd name="connsiteY3416" fmla="*/ 844893 h 6689084"/>
              <a:gd name="connsiteX3417" fmla="*/ 2768873 w 6689088"/>
              <a:gd name="connsiteY3417" fmla="*/ 855059 h 6689084"/>
              <a:gd name="connsiteX3418" fmla="*/ 2758707 w 6689088"/>
              <a:gd name="connsiteY3418" fmla="*/ 844893 h 6689084"/>
              <a:gd name="connsiteX3419" fmla="*/ 2768873 w 6689088"/>
              <a:gd name="connsiteY3419" fmla="*/ 834726 h 6689084"/>
              <a:gd name="connsiteX3420" fmla="*/ 2922458 w 6689088"/>
              <a:gd name="connsiteY3420" fmla="*/ 832912 h 6689084"/>
              <a:gd name="connsiteX3421" fmla="*/ 2934443 w 6689088"/>
              <a:gd name="connsiteY3421" fmla="*/ 844893 h 6689084"/>
              <a:gd name="connsiteX3422" fmla="*/ 2922458 w 6689088"/>
              <a:gd name="connsiteY3422" fmla="*/ 856873 h 6689084"/>
              <a:gd name="connsiteX3423" fmla="*/ 2910477 w 6689088"/>
              <a:gd name="connsiteY3423" fmla="*/ 844893 h 6689084"/>
              <a:gd name="connsiteX3424" fmla="*/ 2922458 w 6689088"/>
              <a:gd name="connsiteY3424" fmla="*/ 832912 h 6689084"/>
              <a:gd name="connsiteX3425" fmla="*/ 3076402 w 6689088"/>
              <a:gd name="connsiteY3425" fmla="*/ 831097 h 6689084"/>
              <a:gd name="connsiteX3426" fmla="*/ 3090201 w 6689088"/>
              <a:gd name="connsiteY3426" fmla="*/ 844896 h 6689084"/>
              <a:gd name="connsiteX3427" fmla="*/ 3076402 w 6689088"/>
              <a:gd name="connsiteY3427" fmla="*/ 858692 h 6689084"/>
              <a:gd name="connsiteX3428" fmla="*/ 3062606 w 6689088"/>
              <a:gd name="connsiteY3428" fmla="*/ 844896 h 6689084"/>
              <a:gd name="connsiteX3429" fmla="*/ 3076402 w 6689088"/>
              <a:gd name="connsiteY3429" fmla="*/ 831097 h 6689084"/>
              <a:gd name="connsiteX3430" fmla="*/ 3230349 w 6689088"/>
              <a:gd name="connsiteY3430" fmla="*/ 829645 h 6689084"/>
              <a:gd name="connsiteX3431" fmla="*/ 3245600 w 6689088"/>
              <a:gd name="connsiteY3431" fmla="*/ 844896 h 6689084"/>
              <a:gd name="connsiteX3432" fmla="*/ 3230349 w 6689088"/>
              <a:gd name="connsiteY3432" fmla="*/ 860144 h 6689084"/>
              <a:gd name="connsiteX3433" fmla="*/ 3215102 w 6689088"/>
              <a:gd name="connsiteY3433" fmla="*/ 844896 h 6689084"/>
              <a:gd name="connsiteX3434" fmla="*/ 3230349 w 6689088"/>
              <a:gd name="connsiteY3434" fmla="*/ 829645 h 6689084"/>
              <a:gd name="connsiteX3435" fmla="*/ 3383938 w 6689088"/>
              <a:gd name="connsiteY3435" fmla="*/ 827830 h 6689084"/>
              <a:gd name="connsiteX3436" fmla="*/ 3401000 w 6689088"/>
              <a:gd name="connsiteY3436" fmla="*/ 844896 h 6689084"/>
              <a:gd name="connsiteX3437" fmla="*/ 3383938 w 6689088"/>
              <a:gd name="connsiteY3437" fmla="*/ 861958 h 6689084"/>
              <a:gd name="connsiteX3438" fmla="*/ 3366872 w 6689088"/>
              <a:gd name="connsiteY3438" fmla="*/ 844896 h 6689084"/>
              <a:gd name="connsiteX3439" fmla="*/ 3383938 w 6689088"/>
              <a:gd name="connsiteY3439" fmla="*/ 827830 h 6689084"/>
              <a:gd name="connsiteX3440" fmla="*/ 3537882 w 6689088"/>
              <a:gd name="connsiteY3440" fmla="*/ 825650 h 6689084"/>
              <a:gd name="connsiteX3441" fmla="*/ 3557128 w 6689088"/>
              <a:gd name="connsiteY3441" fmla="*/ 844893 h 6689084"/>
              <a:gd name="connsiteX3442" fmla="*/ 3537882 w 6689088"/>
              <a:gd name="connsiteY3442" fmla="*/ 864139 h 6689084"/>
              <a:gd name="connsiteX3443" fmla="*/ 3518639 w 6689088"/>
              <a:gd name="connsiteY3443" fmla="*/ 844893 h 6689084"/>
              <a:gd name="connsiteX3444" fmla="*/ 3537882 w 6689088"/>
              <a:gd name="connsiteY3444" fmla="*/ 825650 h 6689084"/>
              <a:gd name="connsiteX3445" fmla="*/ 3691471 w 6689088"/>
              <a:gd name="connsiteY3445" fmla="*/ 823473 h 6689084"/>
              <a:gd name="connsiteX3446" fmla="*/ 3712894 w 6689088"/>
              <a:gd name="connsiteY3446" fmla="*/ 844896 h 6689084"/>
              <a:gd name="connsiteX3447" fmla="*/ 3691471 w 6689088"/>
              <a:gd name="connsiteY3447" fmla="*/ 866319 h 6689084"/>
              <a:gd name="connsiteX3448" fmla="*/ 3670048 w 6689088"/>
              <a:gd name="connsiteY3448" fmla="*/ 844896 h 6689084"/>
              <a:gd name="connsiteX3449" fmla="*/ 3691471 w 6689088"/>
              <a:gd name="connsiteY3449" fmla="*/ 823473 h 6689084"/>
              <a:gd name="connsiteX3450" fmla="*/ 3845418 w 6689088"/>
              <a:gd name="connsiteY3450" fmla="*/ 822021 h 6689084"/>
              <a:gd name="connsiteX3451" fmla="*/ 3868293 w 6689088"/>
              <a:gd name="connsiteY3451" fmla="*/ 844896 h 6689084"/>
              <a:gd name="connsiteX3452" fmla="*/ 3845418 w 6689088"/>
              <a:gd name="connsiteY3452" fmla="*/ 867768 h 6689084"/>
              <a:gd name="connsiteX3453" fmla="*/ 3822543 w 6689088"/>
              <a:gd name="connsiteY3453" fmla="*/ 844896 h 6689084"/>
              <a:gd name="connsiteX3454" fmla="*/ 3845418 w 6689088"/>
              <a:gd name="connsiteY3454" fmla="*/ 822021 h 6689084"/>
              <a:gd name="connsiteX3455" fmla="*/ 3999000 w 6689088"/>
              <a:gd name="connsiteY3455" fmla="*/ 819841 h 6689084"/>
              <a:gd name="connsiteX3456" fmla="*/ 4024052 w 6689088"/>
              <a:gd name="connsiteY3456" fmla="*/ 844893 h 6689084"/>
              <a:gd name="connsiteX3457" fmla="*/ 3999000 w 6689088"/>
              <a:gd name="connsiteY3457" fmla="*/ 869948 h 6689084"/>
              <a:gd name="connsiteX3458" fmla="*/ 3973948 w 6689088"/>
              <a:gd name="connsiteY3458" fmla="*/ 844893 h 6689084"/>
              <a:gd name="connsiteX3459" fmla="*/ 3999000 w 6689088"/>
              <a:gd name="connsiteY3459" fmla="*/ 819841 h 6689084"/>
              <a:gd name="connsiteX3460" fmla="*/ 4152947 w 6689088"/>
              <a:gd name="connsiteY3460" fmla="*/ 817664 h 6689084"/>
              <a:gd name="connsiteX3461" fmla="*/ 4180179 w 6689088"/>
              <a:gd name="connsiteY3461" fmla="*/ 844896 h 6689084"/>
              <a:gd name="connsiteX3462" fmla="*/ 4152947 w 6689088"/>
              <a:gd name="connsiteY3462" fmla="*/ 872129 h 6689084"/>
              <a:gd name="connsiteX3463" fmla="*/ 4125715 w 6689088"/>
              <a:gd name="connsiteY3463" fmla="*/ 844896 h 6689084"/>
              <a:gd name="connsiteX3464" fmla="*/ 4152947 w 6689088"/>
              <a:gd name="connsiteY3464" fmla="*/ 817664 h 6689084"/>
              <a:gd name="connsiteX3465" fmla="*/ 4306528 w 6689088"/>
              <a:gd name="connsiteY3465" fmla="*/ 815122 h 6689084"/>
              <a:gd name="connsiteX3466" fmla="*/ 4336303 w 6689088"/>
              <a:gd name="connsiteY3466" fmla="*/ 844896 h 6689084"/>
              <a:gd name="connsiteX3467" fmla="*/ 4306528 w 6689088"/>
              <a:gd name="connsiteY3467" fmla="*/ 874667 h 6689084"/>
              <a:gd name="connsiteX3468" fmla="*/ 4276758 w 6689088"/>
              <a:gd name="connsiteY3468" fmla="*/ 844896 h 6689084"/>
              <a:gd name="connsiteX3469" fmla="*/ 4306528 w 6689088"/>
              <a:gd name="connsiteY3469" fmla="*/ 815122 h 6689084"/>
              <a:gd name="connsiteX3470" fmla="*/ 4460480 w 6689088"/>
              <a:gd name="connsiteY3470" fmla="*/ 812941 h 6689084"/>
              <a:gd name="connsiteX3471" fmla="*/ 4492431 w 6689088"/>
              <a:gd name="connsiteY3471" fmla="*/ 844893 h 6689084"/>
              <a:gd name="connsiteX3472" fmla="*/ 4460480 w 6689088"/>
              <a:gd name="connsiteY3472" fmla="*/ 876844 h 6689084"/>
              <a:gd name="connsiteX3473" fmla="*/ 4428528 w 6689088"/>
              <a:gd name="connsiteY3473" fmla="*/ 844893 h 6689084"/>
              <a:gd name="connsiteX3474" fmla="*/ 4460480 w 6689088"/>
              <a:gd name="connsiteY3474" fmla="*/ 812941 h 6689084"/>
              <a:gd name="connsiteX3475" fmla="*/ 4614061 w 6689088"/>
              <a:gd name="connsiteY3475" fmla="*/ 811127 h 6689084"/>
              <a:gd name="connsiteX3476" fmla="*/ 4647831 w 6689088"/>
              <a:gd name="connsiteY3476" fmla="*/ 844893 h 6689084"/>
              <a:gd name="connsiteX3477" fmla="*/ 4614061 w 6689088"/>
              <a:gd name="connsiteY3477" fmla="*/ 878662 h 6689084"/>
              <a:gd name="connsiteX3478" fmla="*/ 4580296 w 6689088"/>
              <a:gd name="connsiteY3478" fmla="*/ 844893 h 6689084"/>
              <a:gd name="connsiteX3479" fmla="*/ 4614061 w 6689088"/>
              <a:gd name="connsiteY3479" fmla="*/ 811127 h 6689084"/>
              <a:gd name="connsiteX3480" fmla="*/ 4768012 w 6689088"/>
              <a:gd name="connsiteY3480" fmla="*/ 808584 h 6689084"/>
              <a:gd name="connsiteX3481" fmla="*/ 4804320 w 6689088"/>
              <a:gd name="connsiteY3481" fmla="*/ 844893 h 6689084"/>
              <a:gd name="connsiteX3482" fmla="*/ 4768012 w 6689088"/>
              <a:gd name="connsiteY3482" fmla="*/ 881201 h 6689084"/>
              <a:gd name="connsiteX3483" fmla="*/ 4731704 w 6689088"/>
              <a:gd name="connsiteY3483" fmla="*/ 844893 h 6689084"/>
              <a:gd name="connsiteX3484" fmla="*/ 4768012 w 6689088"/>
              <a:gd name="connsiteY3484" fmla="*/ 808584 h 6689084"/>
              <a:gd name="connsiteX3485" fmla="*/ 4921598 w 6689088"/>
              <a:gd name="connsiteY3485" fmla="*/ 806045 h 6689084"/>
              <a:gd name="connsiteX3486" fmla="*/ 4960444 w 6689088"/>
              <a:gd name="connsiteY3486" fmla="*/ 844896 h 6689084"/>
              <a:gd name="connsiteX3487" fmla="*/ 4921598 w 6689088"/>
              <a:gd name="connsiteY3487" fmla="*/ 883743 h 6689084"/>
              <a:gd name="connsiteX3488" fmla="*/ 4882746 w 6689088"/>
              <a:gd name="connsiteY3488" fmla="*/ 844896 h 6689084"/>
              <a:gd name="connsiteX3489" fmla="*/ 4921598 w 6689088"/>
              <a:gd name="connsiteY3489" fmla="*/ 806045 h 6689084"/>
              <a:gd name="connsiteX3490" fmla="*/ 5075541 w 6689088"/>
              <a:gd name="connsiteY3490" fmla="*/ 803503 h 6689084"/>
              <a:gd name="connsiteX3491" fmla="*/ 5116568 w 6689088"/>
              <a:gd name="connsiteY3491" fmla="*/ 844530 h 6689084"/>
              <a:gd name="connsiteX3492" fmla="*/ 5075541 w 6689088"/>
              <a:gd name="connsiteY3492" fmla="*/ 885562 h 6689084"/>
              <a:gd name="connsiteX3493" fmla="*/ 5034514 w 6689088"/>
              <a:gd name="connsiteY3493" fmla="*/ 844530 h 6689084"/>
              <a:gd name="connsiteX3494" fmla="*/ 5075541 w 6689088"/>
              <a:gd name="connsiteY3494" fmla="*/ 803503 h 6689084"/>
              <a:gd name="connsiteX3495" fmla="*/ 5229126 w 6689088"/>
              <a:gd name="connsiteY3495" fmla="*/ 800960 h 6689084"/>
              <a:gd name="connsiteX3496" fmla="*/ 5272696 w 6689088"/>
              <a:gd name="connsiteY3496" fmla="*/ 844530 h 6689084"/>
              <a:gd name="connsiteX3497" fmla="*/ 5229126 w 6689088"/>
              <a:gd name="connsiteY3497" fmla="*/ 888100 h 6689084"/>
              <a:gd name="connsiteX3498" fmla="*/ 5185556 w 6689088"/>
              <a:gd name="connsiteY3498" fmla="*/ 844530 h 6689084"/>
              <a:gd name="connsiteX3499" fmla="*/ 5229126 w 6689088"/>
              <a:gd name="connsiteY3499" fmla="*/ 800960 h 6689084"/>
              <a:gd name="connsiteX3500" fmla="*/ 5383074 w 6689088"/>
              <a:gd name="connsiteY3500" fmla="*/ 798784 h 6689084"/>
              <a:gd name="connsiteX3501" fmla="*/ 5429186 w 6689088"/>
              <a:gd name="connsiteY3501" fmla="*/ 844896 h 6689084"/>
              <a:gd name="connsiteX3502" fmla="*/ 5383074 w 6689088"/>
              <a:gd name="connsiteY3502" fmla="*/ 891009 h 6689084"/>
              <a:gd name="connsiteX3503" fmla="*/ 5336962 w 6689088"/>
              <a:gd name="connsiteY3503" fmla="*/ 844896 h 6689084"/>
              <a:gd name="connsiteX3504" fmla="*/ 5383074 w 6689088"/>
              <a:gd name="connsiteY3504" fmla="*/ 798784 h 6689084"/>
              <a:gd name="connsiteX3505" fmla="*/ 5536659 w 6689088"/>
              <a:gd name="connsiteY3505" fmla="*/ 796241 h 6689084"/>
              <a:gd name="connsiteX3506" fmla="*/ 5585310 w 6689088"/>
              <a:gd name="connsiteY3506" fmla="*/ 844896 h 6689084"/>
              <a:gd name="connsiteX3507" fmla="*/ 5536659 w 6689088"/>
              <a:gd name="connsiteY3507" fmla="*/ 893548 h 6689084"/>
              <a:gd name="connsiteX3508" fmla="*/ 5488004 w 6689088"/>
              <a:gd name="connsiteY3508" fmla="*/ 844896 h 6689084"/>
              <a:gd name="connsiteX3509" fmla="*/ 5536659 w 6689088"/>
              <a:gd name="connsiteY3509" fmla="*/ 796241 h 6689084"/>
              <a:gd name="connsiteX3510" fmla="*/ 5690606 w 6689088"/>
              <a:gd name="connsiteY3510" fmla="*/ 793699 h 6689084"/>
              <a:gd name="connsiteX3511" fmla="*/ 5741800 w 6689088"/>
              <a:gd name="connsiteY3511" fmla="*/ 844893 h 6689084"/>
              <a:gd name="connsiteX3512" fmla="*/ 5690606 w 6689088"/>
              <a:gd name="connsiteY3512" fmla="*/ 896090 h 6689084"/>
              <a:gd name="connsiteX3513" fmla="*/ 5639412 w 6689088"/>
              <a:gd name="connsiteY3513" fmla="*/ 844893 h 6689084"/>
              <a:gd name="connsiteX3514" fmla="*/ 5690606 w 6689088"/>
              <a:gd name="connsiteY3514" fmla="*/ 793699 h 6689084"/>
              <a:gd name="connsiteX3515" fmla="*/ 5844554 w 6689088"/>
              <a:gd name="connsiteY3515" fmla="*/ 791156 h 6689084"/>
              <a:gd name="connsiteX3516" fmla="*/ 5897928 w 6689088"/>
              <a:gd name="connsiteY3516" fmla="*/ 844530 h 6689084"/>
              <a:gd name="connsiteX3517" fmla="*/ 5844554 w 6689088"/>
              <a:gd name="connsiteY3517" fmla="*/ 897901 h 6689084"/>
              <a:gd name="connsiteX3518" fmla="*/ 5791180 w 6689088"/>
              <a:gd name="connsiteY3518" fmla="*/ 844530 h 6689084"/>
              <a:gd name="connsiteX3519" fmla="*/ 5844554 w 6689088"/>
              <a:gd name="connsiteY3519" fmla="*/ 791156 h 6689084"/>
              <a:gd name="connsiteX3520" fmla="*/ 5998139 w 6689088"/>
              <a:gd name="connsiteY3520" fmla="*/ 788614 h 6689084"/>
              <a:gd name="connsiteX3521" fmla="*/ 6054414 w 6689088"/>
              <a:gd name="connsiteY3521" fmla="*/ 844893 h 6689084"/>
              <a:gd name="connsiteX3522" fmla="*/ 5998139 w 6689088"/>
              <a:gd name="connsiteY3522" fmla="*/ 901171 h 6689084"/>
              <a:gd name="connsiteX3523" fmla="*/ 5941860 w 6689088"/>
              <a:gd name="connsiteY3523" fmla="*/ 844893 h 6689084"/>
              <a:gd name="connsiteX3524" fmla="*/ 5998139 w 6689088"/>
              <a:gd name="connsiteY3524" fmla="*/ 788614 h 6689084"/>
              <a:gd name="connsiteX3525" fmla="*/ 6152083 w 6689088"/>
              <a:gd name="connsiteY3525" fmla="*/ 786075 h 6689084"/>
              <a:gd name="connsiteX3526" fmla="*/ 6210904 w 6689088"/>
              <a:gd name="connsiteY3526" fmla="*/ 844896 h 6689084"/>
              <a:gd name="connsiteX3527" fmla="*/ 6152083 w 6689088"/>
              <a:gd name="connsiteY3527" fmla="*/ 903714 h 6689084"/>
              <a:gd name="connsiteX3528" fmla="*/ 6093265 w 6689088"/>
              <a:gd name="connsiteY3528" fmla="*/ 844896 h 6689084"/>
              <a:gd name="connsiteX3529" fmla="*/ 6152083 w 6689088"/>
              <a:gd name="connsiteY3529" fmla="*/ 786075 h 6689084"/>
              <a:gd name="connsiteX3530" fmla="*/ 6305672 w 6689088"/>
              <a:gd name="connsiteY3530" fmla="*/ 783170 h 6689084"/>
              <a:gd name="connsiteX3531" fmla="*/ 6367394 w 6689088"/>
              <a:gd name="connsiteY3531" fmla="*/ 844896 h 6689084"/>
              <a:gd name="connsiteX3532" fmla="*/ 6305672 w 6689088"/>
              <a:gd name="connsiteY3532" fmla="*/ 906619 h 6689084"/>
              <a:gd name="connsiteX3533" fmla="*/ 6243946 w 6689088"/>
              <a:gd name="connsiteY3533" fmla="*/ 844896 h 6689084"/>
              <a:gd name="connsiteX3534" fmla="*/ 6305672 w 6689088"/>
              <a:gd name="connsiteY3534" fmla="*/ 783170 h 6689084"/>
              <a:gd name="connsiteX3535" fmla="*/ 6459616 w 6689088"/>
              <a:gd name="connsiteY3535" fmla="*/ 780628 h 6689084"/>
              <a:gd name="connsiteX3536" fmla="*/ 6523884 w 6689088"/>
              <a:gd name="connsiteY3536" fmla="*/ 844893 h 6689084"/>
              <a:gd name="connsiteX3537" fmla="*/ 6459616 w 6689088"/>
              <a:gd name="connsiteY3537" fmla="*/ 909161 h 6689084"/>
              <a:gd name="connsiteX3538" fmla="*/ 6395350 w 6689088"/>
              <a:gd name="connsiteY3538" fmla="*/ 844893 h 6689084"/>
              <a:gd name="connsiteX3539" fmla="*/ 6459616 w 6689088"/>
              <a:gd name="connsiteY3539" fmla="*/ 780628 h 6689084"/>
              <a:gd name="connsiteX3540" fmla="*/ 6613197 w 6689088"/>
              <a:gd name="connsiteY3540" fmla="*/ 777361 h 6689084"/>
              <a:gd name="connsiteX3541" fmla="*/ 6680732 w 6689088"/>
              <a:gd name="connsiteY3541" fmla="*/ 844896 h 6689084"/>
              <a:gd name="connsiteX3542" fmla="*/ 6613197 w 6689088"/>
              <a:gd name="connsiteY3542" fmla="*/ 912428 h 6689084"/>
              <a:gd name="connsiteX3543" fmla="*/ 6545666 w 6689088"/>
              <a:gd name="connsiteY3543" fmla="*/ 844896 h 6689084"/>
              <a:gd name="connsiteX3544" fmla="*/ 6613197 w 6689088"/>
              <a:gd name="connsiteY3544" fmla="*/ 777361 h 6689084"/>
              <a:gd name="connsiteX3545" fmla="*/ 1384799 w 6689088"/>
              <a:gd name="connsiteY3545" fmla="*/ 690583 h 6689084"/>
              <a:gd name="connsiteX3546" fmla="*/ 1385161 w 6689088"/>
              <a:gd name="connsiteY3546" fmla="*/ 690945 h 6689084"/>
              <a:gd name="connsiteX3547" fmla="*/ 1384799 w 6689088"/>
              <a:gd name="connsiteY3547" fmla="*/ 691311 h 6689084"/>
              <a:gd name="connsiteX3548" fmla="*/ 1384437 w 6689088"/>
              <a:gd name="connsiteY3548" fmla="*/ 690945 h 6689084"/>
              <a:gd name="connsiteX3549" fmla="*/ 1384799 w 6689088"/>
              <a:gd name="connsiteY3549" fmla="*/ 690583 h 6689084"/>
              <a:gd name="connsiteX3550" fmla="*/ 923681 w 6689088"/>
              <a:gd name="connsiteY3550" fmla="*/ 690583 h 6689084"/>
              <a:gd name="connsiteX3551" fmla="*/ 924043 w 6689088"/>
              <a:gd name="connsiteY3551" fmla="*/ 690945 h 6689084"/>
              <a:gd name="connsiteX3552" fmla="*/ 923681 w 6689088"/>
              <a:gd name="connsiteY3552" fmla="*/ 691311 h 6689084"/>
              <a:gd name="connsiteX3553" fmla="*/ 923319 w 6689088"/>
              <a:gd name="connsiteY3553" fmla="*/ 690945 h 6689084"/>
              <a:gd name="connsiteX3554" fmla="*/ 923681 w 6689088"/>
              <a:gd name="connsiteY3554" fmla="*/ 690583 h 6689084"/>
              <a:gd name="connsiteX3555" fmla="*/ 769733 w 6689088"/>
              <a:gd name="connsiteY3555" fmla="*/ 690583 h 6689084"/>
              <a:gd name="connsiteX3556" fmla="*/ 770096 w 6689088"/>
              <a:gd name="connsiteY3556" fmla="*/ 690945 h 6689084"/>
              <a:gd name="connsiteX3557" fmla="*/ 769733 w 6689088"/>
              <a:gd name="connsiteY3557" fmla="*/ 691311 h 6689084"/>
              <a:gd name="connsiteX3558" fmla="*/ 769371 w 6689088"/>
              <a:gd name="connsiteY3558" fmla="*/ 690945 h 6689084"/>
              <a:gd name="connsiteX3559" fmla="*/ 769733 w 6689088"/>
              <a:gd name="connsiteY3559" fmla="*/ 690583 h 6689084"/>
              <a:gd name="connsiteX3560" fmla="*/ 616152 w 6689088"/>
              <a:gd name="connsiteY3560" fmla="*/ 690221 h 6689084"/>
              <a:gd name="connsiteX3561" fmla="*/ 616876 w 6689088"/>
              <a:gd name="connsiteY3561" fmla="*/ 690949 h 6689084"/>
              <a:gd name="connsiteX3562" fmla="*/ 616152 w 6689088"/>
              <a:gd name="connsiteY3562" fmla="*/ 691673 h 6689084"/>
              <a:gd name="connsiteX3563" fmla="*/ 615424 w 6689088"/>
              <a:gd name="connsiteY3563" fmla="*/ 690949 h 6689084"/>
              <a:gd name="connsiteX3564" fmla="*/ 616152 w 6689088"/>
              <a:gd name="connsiteY3564" fmla="*/ 690221 h 6689084"/>
              <a:gd name="connsiteX3565" fmla="*/ 1538746 w 6689088"/>
              <a:gd name="connsiteY3565" fmla="*/ 689493 h 6689084"/>
              <a:gd name="connsiteX3566" fmla="*/ 1540198 w 6689088"/>
              <a:gd name="connsiteY3566" fmla="*/ 690945 h 6689084"/>
              <a:gd name="connsiteX3567" fmla="*/ 1538746 w 6689088"/>
              <a:gd name="connsiteY3567" fmla="*/ 692397 h 6689084"/>
              <a:gd name="connsiteX3568" fmla="*/ 1537294 w 6689088"/>
              <a:gd name="connsiteY3568" fmla="*/ 690945 h 6689084"/>
              <a:gd name="connsiteX3569" fmla="*/ 1538746 w 6689088"/>
              <a:gd name="connsiteY3569" fmla="*/ 689493 h 6689084"/>
              <a:gd name="connsiteX3570" fmla="*/ 1692328 w 6689088"/>
              <a:gd name="connsiteY3570" fmla="*/ 688768 h 6689084"/>
              <a:gd name="connsiteX3571" fmla="*/ 1694508 w 6689088"/>
              <a:gd name="connsiteY3571" fmla="*/ 690949 h 6689084"/>
              <a:gd name="connsiteX3572" fmla="*/ 1692328 w 6689088"/>
              <a:gd name="connsiteY3572" fmla="*/ 693126 h 6689084"/>
              <a:gd name="connsiteX3573" fmla="*/ 1690151 w 6689088"/>
              <a:gd name="connsiteY3573" fmla="*/ 690949 h 6689084"/>
              <a:gd name="connsiteX3574" fmla="*/ 1692328 w 6689088"/>
              <a:gd name="connsiteY3574" fmla="*/ 688768 h 6689084"/>
              <a:gd name="connsiteX3575" fmla="*/ 1846279 w 6689088"/>
              <a:gd name="connsiteY3575" fmla="*/ 688040 h 6689084"/>
              <a:gd name="connsiteX3576" fmla="*/ 1849546 w 6689088"/>
              <a:gd name="connsiteY3576" fmla="*/ 691307 h 6689084"/>
              <a:gd name="connsiteX3577" fmla="*/ 1846279 w 6689088"/>
              <a:gd name="connsiteY3577" fmla="*/ 694574 h 6689084"/>
              <a:gd name="connsiteX3578" fmla="*/ 1843012 w 6689088"/>
              <a:gd name="connsiteY3578" fmla="*/ 691307 h 6689084"/>
              <a:gd name="connsiteX3579" fmla="*/ 1846279 w 6689088"/>
              <a:gd name="connsiteY3579" fmla="*/ 688040 h 6689084"/>
              <a:gd name="connsiteX3580" fmla="*/ 1999860 w 6689088"/>
              <a:gd name="connsiteY3580" fmla="*/ 686588 h 6689084"/>
              <a:gd name="connsiteX3581" fmla="*/ 2004217 w 6689088"/>
              <a:gd name="connsiteY3581" fmla="*/ 690945 h 6689084"/>
              <a:gd name="connsiteX3582" fmla="*/ 1999860 w 6689088"/>
              <a:gd name="connsiteY3582" fmla="*/ 695302 h 6689084"/>
              <a:gd name="connsiteX3583" fmla="*/ 1995503 w 6689088"/>
              <a:gd name="connsiteY3583" fmla="*/ 690945 h 6689084"/>
              <a:gd name="connsiteX3584" fmla="*/ 1999860 w 6689088"/>
              <a:gd name="connsiteY3584" fmla="*/ 686588 h 6689084"/>
              <a:gd name="connsiteX3585" fmla="*/ 2153811 w 6689088"/>
              <a:gd name="connsiteY3585" fmla="*/ 685498 h 6689084"/>
              <a:gd name="connsiteX3586" fmla="*/ 2159621 w 6689088"/>
              <a:gd name="connsiteY3586" fmla="*/ 691307 h 6689084"/>
              <a:gd name="connsiteX3587" fmla="*/ 2153811 w 6689088"/>
              <a:gd name="connsiteY3587" fmla="*/ 697117 h 6689084"/>
              <a:gd name="connsiteX3588" fmla="*/ 2148002 w 6689088"/>
              <a:gd name="connsiteY3588" fmla="*/ 691307 h 6689084"/>
              <a:gd name="connsiteX3589" fmla="*/ 2153811 w 6689088"/>
              <a:gd name="connsiteY3589" fmla="*/ 685498 h 6689084"/>
              <a:gd name="connsiteX3590" fmla="*/ 2307393 w 6689088"/>
              <a:gd name="connsiteY3590" fmla="*/ 683683 h 6689084"/>
              <a:gd name="connsiteX3591" fmla="*/ 2314655 w 6689088"/>
              <a:gd name="connsiteY3591" fmla="*/ 690945 h 6689084"/>
              <a:gd name="connsiteX3592" fmla="*/ 2307393 w 6689088"/>
              <a:gd name="connsiteY3592" fmla="*/ 698207 h 6689084"/>
              <a:gd name="connsiteX3593" fmla="*/ 2300131 w 6689088"/>
              <a:gd name="connsiteY3593" fmla="*/ 690945 h 6689084"/>
              <a:gd name="connsiteX3594" fmla="*/ 2307393 w 6689088"/>
              <a:gd name="connsiteY3594" fmla="*/ 683683 h 6689084"/>
              <a:gd name="connsiteX3595" fmla="*/ 2461340 w 6689088"/>
              <a:gd name="connsiteY3595" fmla="*/ 681869 h 6689084"/>
              <a:gd name="connsiteX3596" fmla="*/ 2470420 w 6689088"/>
              <a:gd name="connsiteY3596" fmla="*/ 690945 h 6689084"/>
              <a:gd name="connsiteX3597" fmla="*/ 2461340 w 6689088"/>
              <a:gd name="connsiteY3597" fmla="*/ 700025 h 6689084"/>
              <a:gd name="connsiteX3598" fmla="*/ 2452264 w 6689088"/>
              <a:gd name="connsiteY3598" fmla="*/ 690945 h 6689084"/>
              <a:gd name="connsiteX3599" fmla="*/ 2461340 w 6689088"/>
              <a:gd name="connsiteY3599" fmla="*/ 681869 h 6689084"/>
              <a:gd name="connsiteX3600" fmla="*/ 2614925 w 6689088"/>
              <a:gd name="connsiteY3600" fmla="*/ 680779 h 6689084"/>
              <a:gd name="connsiteX3601" fmla="*/ 2625092 w 6689088"/>
              <a:gd name="connsiteY3601" fmla="*/ 690945 h 6689084"/>
              <a:gd name="connsiteX3602" fmla="*/ 2614925 w 6689088"/>
              <a:gd name="connsiteY3602" fmla="*/ 701111 h 6689084"/>
              <a:gd name="connsiteX3603" fmla="*/ 2604759 w 6689088"/>
              <a:gd name="connsiteY3603" fmla="*/ 690945 h 6689084"/>
              <a:gd name="connsiteX3604" fmla="*/ 2614925 w 6689088"/>
              <a:gd name="connsiteY3604" fmla="*/ 680779 h 6689084"/>
              <a:gd name="connsiteX3605" fmla="*/ 2768873 w 6689088"/>
              <a:gd name="connsiteY3605" fmla="*/ 678964 h 6689084"/>
              <a:gd name="connsiteX3606" fmla="*/ 2780858 w 6689088"/>
              <a:gd name="connsiteY3606" fmla="*/ 690945 h 6689084"/>
              <a:gd name="connsiteX3607" fmla="*/ 2768873 w 6689088"/>
              <a:gd name="connsiteY3607" fmla="*/ 702926 h 6689084"/>
              <a:gd name="connsiteX3608" fmla="*/ 2756892 w 6689088"/>
              <a:gd name="connsiteY3608" fmla="*/ 690945 h 6689084"/>
              <a:gd name="connsiteX3609" fmla="*/ 2768873 w 6689088"/>
              <a:gd name="connsiteY3609" fmla="*/ 678964 h 6689084"/>
              <a:gd name="connsiteX3610" fmla="*/ 2922824 w 6689088"/>
              <a:gd name="connsiteY3610" fmla="*/ 677150 h 6689084"/>
              <a:gd name="connsiteX3611" fmla="*/ 2936619 w 6689088"/>
              <a:gd name="connsiteY3611" fmla="*/ 690949 h 6689084"/>
              <a:gd name="connsiteX3612" fmla="*/ 2922824 w 6689088"/>
              <a:gd name="connsiteY3612" fmla="*/ 704744 h 6689084"/>
              <a:gd name="connsiteX3613" fmla="*/ 2909025 w 6689088"/>
              <a:gd name="connsiteY3613" fmla="*/ 690949 h 6689084"/>
              <a:gd name="connsiteX3614" fmla="*/ 2922824 w 6689088"/>
              <a:gd name="connsiteY3614" fmla="*/ 677150 h 6689084"/>
              <a:gd name="connsiteX3615" fmla="*/ 3076402 w 6689088"/>
              <a:gd name="connsiteY3615" fmla="*/ 675697 h 6689084"/>
              <a:gd name="connsiteX3616" fmla="*/ 3091653 w 6689088"/>
              <a:gd name="connsiteY3616" fmla="*/ 690949 h 6689084"/>
              <a:gd name="connsiteX3617" fmla="*/ 3076402 w 6689088"/>
              <a:gd name="connsiteY3617" fmla="*/ 706197 h 6689084"/>
              <a:gd name="connsiteX3618" fmla="*/ 3061154 w 6689088"/>
              <a:gd name="connsiteY3618" fmla="*/ 690949 h 6689084"/>
              <a:gd name="connsiteX3619" fmla="*/ 3076402 w 6689088"/>
              <a:gd name="connsiteY3619" fmla="*/ 675697 h 6689084"/>
              <a:gd name="connsiteX3620" fmla="*/ 3230353 w 6689088"/>
              <a:gd name="connsiteY3620" fmla="*/ 673883 h 6689084"/>
              <a:gd name="connsiteX3621" fmla="*/ 3247419 w 6689088"/>
              <a:gd name="connsiteY3621" fmla="*/ 690949 h 6689084"/>
              <a:gd name="connsiteX3622" fmla="*/ 3230353 w 6689088"/>
              <a:gd name="connsiteY3622" fmla="*/ 708015 h 6689084"/>
              <a:gd name="connsiteX3623" fmla="*/ 3213287 w 6689088"/>
              <a:gd name="connsiteY3623" fmla="*/ 690949 h 6689084"/>
              <a:gd name="connsiteX3624" fmla="*/ 3230353 w 6689088"/>
              <a:gd name="connsiteY3624" fmla="*/ 673883 h 6689084"/>
              <a:gd name="connsiteX3625" fmla="*/ 3383934 w 6689088"/>
              <a:gd name="connsiteY3625" fmla="*/ 671703 h 6689084"/>
              <a:gd name="connsiteX3626" fmla="*/ 3403180 w 6689088"/>
              <a:gd name="connsiteY3626" fmla="*/ 690945 h 6689084"/>
              <a:gd name="connsiteX3627" fmla="*/ 3383934 w 6689088"/>
              <a:gd name="connsiteY3627" fmla="*/ 710191 h 6689084"/>
              <a:gd name="connsiteX3628" fmla="*/ 3364692 w 6689088"/>
              <a:gd name="connsiteY3628" fmla="*/ 690945 h 6689084"/>
              <a:gd name="connsiteX3629" fmla="*/ 3383934 w 6689088"/>
              <a:gd name="connsiteY3629" fmla="*/ 671703 h 6689084"/>
              <a:gd name="connsiteX3630" fmla="*/ 3537886 w 6689088"/>
              <a:gd name="connsiteY3630" fmla="*/ 669526 h 6689084"/>
              <a:gd name="connsiteX3631" fmla="*/ 3559308 w 6689088"/>
              <a:gd name="connsiteY3631" fmla="*/ 690949 h 6689084"/>
              <a:gd name="connsiteX3632" fmla="*/ 3537886 w 6689088"/>
              <a:gd name="connsiteY3632" fmla="*/ 712372 h 6689084"/>
              <a:gd name="connsiteX3633" fmla="*/ 3516462 w 6689088"/>
              <a:gd name="connsiteY3633" fmla="*/ 690949 h 6689084"/>
              <a:gd name="connsiteX3634" fmla="*/ 3537886 w 6689088"/>
              <a:gd name="connsiteY3634" fmla="*/ 669526 h 6689084"/>
              <a:gd name="connsiteX3635" fmla="*/ 3691471 w 6689088"/>
              <a:gd name="connsiteY3635" fmla="*/ 668074 h 6689084"/>
              <a:gd name="connsiteX3636" fmla="*/ 3714342 w 6689088"/>
              <a:gd name="connsiteY3636" fmla="*/ 690949 h 6689084"/>
              <a:gd name="connsiteX3637" fmla="*/ 3691471 w 6689088"/>
              <a:gd name="connsiteY3637" fmla="*/ 713820 h 6689084"/>
              <a:gd name="connsiteX3638" fmla="*/ 3668596 w 6689088"/>
              <a:gd name="connsiteY3638" fmla="*/ 690949 h 6689084"/>
              <a:gd name="connsiteX3639" fmla="*/ 3691471 w 6689088"/>
              <a:gd name="connsiteY3639" fmla="*/ 668074 h 6689084"/>
              <a:gd name="connsiteX3640" fmla="*/ 3845414 w 6689088"/>
              <a:gd name="connsiteY3640" fmla="*/ 665893 h 6689084"/>
              <a:gd name="connsiteX3641" fmla="*/ 3870470 w 6689088"/>
              <a:gd name="connsiteY3641" fmla="*/ 690945 h 6689084"/>
              <a:gd name="connsiteX3642" fmla="*/ 3845414 w 6689088"/>
              <a:gd name="connsiteY3642" fmla="*/ 716001 h 6689084"/>
              <a:gd name="connsiteX3643" fmla="*/ 3820362 w 6689088"/>
              <a:gd name="connsiteY3643" fmla="*/ 690945 h 6689084"/>
              <a:gd name="connsiteX3644" fmla="*/ 3845414 w 6689088"/>
              <a:gd name="connsiteY3644" fmla="*/ 665893 h 6689084"/>
              <a:gd name="connsiteX3645" fmla="*/ 3999000 w 6689088"/>
              <a:gd name="connsiteY3645" fmla="*/ 663717 h 6689084"/>
              <a:gd name="connsiteX3646" fmla="*/ 4026232 w 6689088"/>
              <a:gd name="connsiteY3646" fmla="*/ 690949 h 6689084"/>
              <a:gd name="connsiteX3647" fmla="*/ 3999000 w 6689088"/>
              <a:gd name="connsiteY3647" fmla="*/ 718181 h 6689084"/>
              <a:gd name="connsiteX3648" fmla="*/ 3971768 w 6689088"/>
              <a:gd name="connsiteY3648" fmla="*/ 690949 h 6689084"/>
              <a:gd name="connsiteX3649" fmla="*/ 3999000 w 6689088"/>
              <a:gd name="connsiteY3649" fmla="*/ 663717 h 6689084"/>
              <a:gd name="connsiteX3650" fmla="*/ 4152947 w 6689088"/>
              <a:gd name="connsiteY3650" fmla="*/ 661174 h 6689084"/>
              <a:gd name="connsiteX3651" fmla="*/ 4182722 w 6689088"/>
              <a:gd name="connsiteY3651" fmla="*/ 690949 h 6689084"/>
              <a:gd name="connsiteX3652" fmla="*/ 4152947 w 6689088"/>
              <a:gd name="connsiteY3652" fmla="*/ 720720 h 6689084"/>
              <a:gd name="connsiteX3653" fmla="*/ 4123176 w 6689088"/>
              <a:gd name="connsiteY3653" fmla="*/ 690949 h 6689084"/>
              <a:gd name="connsiteX3654" fmla="*/ 4152947 w 6689088"/>
              <a:gd name="connsiteY3654" fmla="*/ 661174 h 6689084"/>
              <a:gd name="connsiteX3655" fmla="*/ 4306532 w 6689088"/>
              <a:gd name="connsiteY3655" fmla="*/ 658994 h 6689084"/>
              <a:gd name="connsiteX3656" fmla="*/ 4338484 w 6689088"/>
              <a:gd name="connsiteY3656" fmla="*/ 690945 h 6689084"/>
              <a:gd name="connsiteX3657" fmla="*/ 4306532 w 6689088"/>
              <a:gd name="connsiteY3657" fmla="*/ 722896 h 6689084"/>
              <a:gd name="connsiteX3658" fmla="*/ 4274581 w 6689088"/>
              <a:gd name="connsiteY3658" fmla="*/ 690945 h 6689084"/>
              <a:gd name="connsiteX3659" fmla="*/ 4306532 w 6689088"/>
              <a:gd name="connsiteY3659" fmla="*/ 658994 h 6689084"/>
              <a:gd name="connsiteX3660" fmla="*/ 4460480 w 6689088"/>
              <a:gd name="connsiteY3660" fmla="*/ 657179 h 6689084"/>
              <a:gd name="connsiteX3661" fmla="*/ 4494250 w 6689088"/>
              <a:gd name="connsiteY3661" fmla="*/ 690945 h 6689084"/>
              <a:gd name="connsiteX3662" fmla="*/ 4460480 w 6689088"/>
              <a:gd name="connsiteY3662" fmla="*/ 724715 h 6689084"/>
              <a:gd name="connsiteX3663" fmla="*/ 4426714 w 6689088"/>
              <a:gd name="connsiteY3663" fmla="*/ 690945 h 6689084"/>
              <a:gd name="connsiteX3664" fmla="*/ 4460480 w 6689088"/>
              <a:gd name="connsiteY3664" fmla="*/ 657179 h 6689084"/>
              <a:gd name="connsiteX3665" fmla="*/ 4614061 w 6689088"/>
              <a:gd name="connsiteY3665" fmla="*/ 654637 h 6689084"/>
              <a:gd name="connsiteX3666" fmla="*/ 4650370 w 6689088"/>
              <a:gd name="connsiteY3666" fmla="*/ 690945 h 6689084"/>
              <a:gd name="connsiteX3667" fmla="*/ 4614061 w 6689088"/>
              <a:gd name="connsiteY3667" fmla="*/ 727253 h 6689084"/>
              <a:gd name="connsiteX3668" fmla="*/ 4577753 w 6689088"/>
              <a:gd name="connsiteY3668" fmla="*/ 690945 h 6689084"/>
              <a:gd name="connsiteX3669" fmla="*/ 4614061 w 6689088"/>
              <a:gd name="connsiteY3669" fmla="*/ 654637 h 6689084"/>
              <a:gd name="connsiteX3670" fmla="*/ 4768012 w 6689088"/>
              <a:gd name="connsiteY3670" fmla="*/ 652094 h 6689084"/>
              <a:gd name="connsiteX3671" fmla="*/ 4806860 w 6689088"/>
              <a:gd name="connsiteY3671" fmla="*/ 690945 h 6689084"/>
              <a:gd name="connsiteX3672" fmla="*/ 4768012 w 6689088"/>
              <a:gd name="connsiteY3672" fmla="*/ 729796 h 6689084"/>
              <a:gd name="connsiteX3673" fmla="*/ 4729162 w 6689088"/>
              <a:gd name="connsiteY3673" fmla="*/ 690945 h 6689084"/>
              <a:gd name="connsiteX3674" fmla="*/ 4768012 w 6689088"/>
              <a:gd name="connsiteY3674" fmla="*/ 652094 h 6689084"/>
              <a:gd name="connsiteX3675" fmla="*/ 4921594 w 6689088"/>
              <a:gd name="connsiteY3675" fmla="*/ 649918 h 6689084"/>
              <a:gd name="connsiteX3676" fmla="*/ 4962625 w 6689088"/>
              <a:gd name="connsiteY3676" fmla="*/ 690945 h 6689084"/>
              <a:gd name="connsiteX3677" fmla="*/ 4921594 w 6689088"/>
              <a:gd name="connsiteY3677" fmla="*/ 731976 h 6689084"/>
              <a:gd name="connsiteX3678" fmla="*/ 4880566 w 6689088"/>
              <a:gd name="connsiteY3678" fmla="*/ 690945 h 6689084"/>
              <a:gd name="connsiteX3679" fmla="*/ 4921594 w 6689088"/>
              <a:gd name="connsiteY3679" fmla="*/ 649918 h 6689084"/>
              <a:gd name="connsiteX3680" fmla="*/ 5075541 w 6689088"/>
              <a:gd name="connsiteY3680" fmla="*/ 647375 h 6689084"/>
              <a:gd name="connsiteX3681" fmla="*/ 5119111 w 6689088"/>
              <a:gd name="connsiteY3681" fmla="*/ 690945 h 6689084"/>
              <a:gd name="connsiteX3682" fmla="*/ 5075541 w 6689088"/>
              <a:gd name="connsiteY3682" fmla="*/ 734515 h 6689084"/>
              <a:gd name="connsiteX3683" fmla="*/ 5031971 w 6689088"/>
              <a:gd name="connsiteY3683" fmla="*/ 690945 h 6689084"/>
              <a:gd name="connsiteX3684" fmla="*/ 5075541 w 6689088"/>
              <a:gd name="connsiteY3684" fmla="*/ 647375 h 6689084"/>
              <a:gd name="connsiteX3685" fmla="*/ 5229126 w 6689088"/>
              <a:gd name="connsiteY3685" fmla="*/ 644836 h 6689084"/>
              <a:gd name="connsiteX3686" fmla="*/ 5275239 w 6689088"/>
              <a:gd name="connsiteY3686" fmla="*/ 690949 h 6689084"/>
              <a:gd name="connsiteX3687" fmla="*/ 5229126 w 6689088"/>
              <a:gd name="connsiteY3687" fmla="*/ 737058 h 6689084"/>
              <a:gd name="connsiteX3688" fmla="*/ 5183014 w 6689088"/>
              <a:gd name="connsiteY3688" fmla="*/ 690949 h 6689084"/>
              <a:gd name="connsiteX3689" fmla="*/ 5229126 w 6689088"/>
              <a:gd name="connsiteY3689" fmla="*/ 644836 h 6689084"/>
              <a:gd name="connsiteX3690" fmla="*/ 5383074 w 6689088"/>
              <a:gd name="connsiteY3690" fmla="*/ 642294 h 6689084"/>
              <a:gd name="connsiteX3691" fmla="*/ 5431725 w 6689088"/>
              <a:gd name="connsiteY3691" fmla="*/ 690949 h 6689084"/>
              <a:gd name="connsiteX3692" fmla="*/ 5383074 w 6689088"/>
              <a:gd name="connsiteY3692" fmla="*/ 739600 h 6689084"/>
              <a:gd name="connsiteX3693" fmla="*/ 5334419 w 6689088"/>
              <a:gd name="connsiteY3693" fmla="*/ 690949 h 6689084"/>
              <a:gd name="connsiteX3694" fmla="*/ 5383074 w 6689088"/>
              <a:gd name="connsiteY3694" fmla="*/ 642294 h 6689084"/>
              <a:gd name="connsiteX3695" fmla="*/ 5536659 w 6689088"/>
              <a:gd name="connsiteY3695" fmla="*/ 639751 h 6689084"/>
              <a:gd name="connsiteX3696" fmla="*/ 5587853 w 6689088"/>
              <a:gd name="connsiteY3696" fmla="*/ 690945 h 6689084"/>
              <a:gd name="connsiteX3697" fmla="*/ 5536659 w 6689088"/>
              <a:gd name="connsiteY3697" fmla="*/ 742139 h 6689084"/>
              <a:gd name="connsiteX3698" fmla="*/ 5485462 w 6689088"/>
              <a:gd name="connsiteY3698" fmla="*/ 690945 h 6689084"/>
              <a:gd name="connsiteX3699" fmla="*/ 5536659 w 6689088"/>
              <a:gd name="connsiteY3699" fmla="*/ 639751 h 6689084"/>
              <a:gd name="connsiteX3700" fmla="*/ 5690606 w 6689088"/>
              <a:gd name="connsiteY3700" fmla="*/ 637571 h 6689084"/>
              <a:gd name="connsiteX3701" fmla="*/ 5743980 w 6689088"/>
              <a:gd name="connsiteY3701" fmla="*/ 690945 h 6689084"/>
              <a:gd name="connsiteX3702" fmla="*/ 5690606 w 6689088"/>
              <a:gd name="connsiteY3702" fmla="*/ 744319 h 6689084"/>
              <a:gd name="connsiteX3703" fmla="*/ 5637232 w 6689088"/>
              <a:gd name="connsiteY3703" fmla="*/ 690945 h 6689084"/>
              <a:gd name="connsiteX3704" fmla="*/ 5690606 w 6689088"/>
              <a:gd name="connsiteY3704" fmla="*/ 637571 h 6689084"/>
              <a:gd name="connsiteX3705" fmla="*/ 5844554 w 6689088"/>
              <a:gd name="connsiteY3705" fmla="*/ 634666 h 6689084"/>
              <a:gd name="connsiteX3706" fmla="*/ 5900829 w 6689088"/>
              <a:gd name="connsiteY3706" fmla="*/ 690945 h 6689084"/>
              <a:gd name="connsiteX3707" fmla="*/ 5844554 w 6689088"/>
              <a:gd name="connsiteY3707" fmla="*/ 747224 h 6689084"/>
              <a:gd name="connsiteX3708" fmla="*/ 5788275 w 6689088"/>
              <a:gd name="connsiteY3708" fmla="*/ 690945 h 6689084"/>
              <a:gd name="connsiteX3709" fmla="*/ 5844554 w 6689088"/>
              <a:gd name="connsiteY3709" fmla="*/ 634666 h 6689084"/>
              <a:gd name="connsiteX3710" fmla="*/ 5998136 w 6689088"/>
              <a:gd name="connsiteY3710" fmla="*/ 632128 h 6689084"/>
              <a:gd name="connsiteX3711" fmla="*/ 6056957 w 6689088"/>
              <a:gd name="connsiteY3711" fmla="*/ 690949 h 6689084"/>
              <a:gd name="connsiteX3712" fmla="*/ 5998136 w 6689088"/>
              <a:gd name="connsiteY3712" fmla="*/ 749767 h 6689084"/>
              <a:gd name="connsiteX3713" fmla="*/ 5939318 w 6689088"/>
              <a:gd name="connsiteY3713" fmla="*/ 690949 h 6689084"/>
              <a:gd name="connsiteX3714" fmla="*/ 5998136 w 6689088"/>
              <a:gd name="connsiteY3714" fmla="*/ 632128 h 6689084"/>
              <a:gd name="connsiteX3715" fmla="*/ 6152083 w 6689088"/>
              <a:gd name="connsiteY3715" fmla="*/ 629223 h 6689084"/>
              <a:gd name="connsiteX3716" fmla="*/ 6213809 w 6689088"/>
              <a:gd name="connsiteY3716" fmla="*/ 690949 h 6689084"/>
              <a:gd name="connsiteX3717" fmla="*/ 6152083 w 6689088"/>
              <a:gd name="connsiteY3717" fmla="*/ 752671 h 6689084"/>
              <a:gd name="connsiteX3718" fmla="*/ 6090360 w 6689088"/>
              <a:gd name="connsiteY3718" fmla="*/ 690949 h 6689084"/>
              <a:gd name="connsiteX3719" fmla="*/ 6152083 w 6689088"/>
              <a:gd name="connsiteY3719" fmla="*/ 629223 h 6689084"/>
              <a:gd name="connsiteX3720" fmla="*/ 6305668 w 6689088"/>
              <a:gd name="connsiteY3720" fmla="*/ 626680 h 6689084"/>
              <a:gd name="connsiteX3721" fmla="*/ 6369933 w 6689088"/>
              <a:gd name="connsiteY3721" fmla="*/ 690945 h 6689084"/>
              <a:gd name="connsiteX3722" fmla="*/ 6305668 w 6689088"/>
              <a:gd name="connsiteY3722" fmla="*/ 755214 h 6689084"/>
              <a:gd name="connsiteX3723" fmla="*/ 6241400 w 6689088"/>
              <a:gd name="connsiteY3723" fmla="*/ 690945 h 6689084"/>
              <a:gd name="connsiteX3724" fmla="*/ 6305668 w 6689088"/>
              <a:gd name="connsiteY3724" fmla="*/ 626680 h 6689084"/>
              <a:gd name="connsiteX3725" fmla="*/ 6459619 w 6689088"/>
              <a:gd name="connsiteY3725" fmla="*/ 623414 h 6689084"/>
              <a:gd name="connsiteX3726" fmla="*/ 6527151 w 6689088"/>
              <a:gd name="connsiteY3726" fmla="*/ 690949 h 6689084"/>
              <a:gd name="connsiteX3727" fmla="*/ 6459619 w 6689088"/>
              <a:gd name="connsiteY3727" fmla="*/ 758481 h 6689084"/>
              <a:gd name="connsiteX3728" fmla="*/ 6392084 w 6689088"/>
              <a:gd name="connsiteY3728" fmla="*/ 690949 h 6689084"/>
              <a:gd name="connsiteX3729" fmla="*/ 6459619 w 6689088"/>
              <a:gd name="connsiteY3729" fmla="*/ 623414 h 6689084"/>
              <a:gd name="connsiteX3730" fmla="*/ 6613200 w 6689088"/>
              <a:gd name="connsiteY3730" fmla="*/ 620871 h 6689084"/>
              <a:gd name="connsiteX3731" fmla="*/ 6683275 w 6689088"/>
              <a:gd name="connsiteY3731" fmla="*/ 690945 h 6689084"/>
              <a:gd name="connsiteX3732" fmla="*/ 6613200 w 6689088"/>
              <a:gd name="connsiteY3732" fmla="*/ 761023 h 6689084"/>
              <a:gd name="connsiteX3733" fmla="*/ 6543126 w 6689088"/>
              <a:gd name="connsiteY3733" fmla="*/ 690945 h 6689084"/>
              <a:gd name="connsiteX3734" fmla="*/ 6613200 w 6689088"/>
              <a:gd name="connsiteY3734" fmla="*/ 620871 h 6689084"/>
              <a:gd name="connsiteX3735" fmla="*/ 1231213 w 6689088"/>
              <a:gd name="connsiteY3735" fmla="*/ 536998 h 6689084"/>
              <a:gd name="connsiteX3736" fmla="*/ 1231576 w 6689088"/>
              <a:gd name="connsiteY3736" fmla="*/ 537360 h 6689084"/>
              <a:gd name="connsiteX3737" fmla="*/ 1231213 w 6689088"/>
              <a:gd name="connsiteY3737" fmla="*/ 537726 h 6689084"/>
              <a:gd name="connsiteX3738" fmla="*/ 1230851 w 6689088"/>
              <a:gd name="connsiteY3738" fmla="*/ 537360 h 6689084"/>
              <a:gd name="connsiteX3739" fmla="*/ 1231213 w 6689088"/>
              <a:gd name="connsiteY3739" fmla="*/ 536998 h 6689084"/>
              <a:gd name="connsiteX3740" fmla="*/ 769733 w 6689088"/>
              <a:gd name="connsiteY3740" fmla="*/ 536998 h 6689084"/>
              <a:gd name="connsiteX3741" fmla="*/ 770096 w 6689088"/>
              <a:gd name="connsiteY3741" fmla="*/ 537360 h 6689084"/>
              <a:gd name="connsiteX3742" fmla="*/ 769733 w 6689088"/>
              <a:gd name="connsiteY3742" fmla="*/ 537726 h 6689084"/>
              <a:gd name="connsiteX3743" fmla="*/ 769371 w 6689088"/>
              <a:gd name="connsiteY3743" fmla="*/ 537360 h 6689084"/>
              <a:gd name="connsiteX3744" fmla="*/ 769733 w 6689088"/>
              <a:gd name="connsiteY3744" fmla="*/ 536998 h 6689084"/>
              <a:gd name="connsiteX3745" fmla="*/ 616148 w 6689088"/>
              <a:gd name="connsiteY3745" fmla="*/ 536998 h 6689084"/>
              <a:gd name="connsiteX3746" fmla="*/ 616514 w 6689088"/>
              <a:gd name="connsiteY3746" fmla="*/ 537360 h 6689084"/>
              <a:gd name="connsiteX3747" fmla="*/ 616148 w 6689088"/>
              <a:gd name="connsiteY3747" fmla="*/ 537726 h 6689084"/>
              <a:gd name="connsiteX3748" fmla="*/ 615786 w 6689088"/>
              <a:gd name="connsiteY3748" fmla="*/ 537360 h 6689084"/>
              <a:gd name="connsiteX3749" fmla="*/ 616148 w 6689088"/>
              <a:gd name="connsiteY3749" fmla="*/ 536998 h 6689084"/>
              <a:gd name="connsiteX3750" fmla="*/ 462205 w 6689088"/>
              <a:gd name="connsiteY3750" fmla="*/ 536636 h 6689084"/>
              <a:gd name="connsiteX3751" fmla="*/ 462929 w 6689088"/>
              <a:gd name="connsiteY3751" fmla="*/ 537364 h 6689084"/>
              <a:gd name="connsiteX3752" fmla="*/ 462205 w 6689088"/>
              <a:gd name="connsiteY3752" fmla="*/ 538088 h 6689084"/>
              <a:gd name="connsiteX3753" fmla="*/ 461476 w 6689088"/>
              <a:gd name="connsiteY3753" fmla="*/ 537364 h 6689084"/>
              <a:gd name="connsiteX3754" fmla="*/ 462205 w 6689088"/>
              <a:gd name="connsiteY3754" fmla="*/ 536636 h 6689084"/>
              <a:gd name="connsiteX3755" fmla="*/ 1384799 w 6689088"/>
              <a:gd name="connsiteY3755" fmla="*/ 535911 h 6689084"/>
              <a:gd name="connsiteX3756" fmla="*/ 1386251 w 6689088"/>
              <a:gd name="connsiteY3756" fmla="*/ 537364 h 6689084"/>
              <a:gd name="connsiteX3757" fmla="*/ 1384799 w 6689088"/>
              <a:gd name="connsiteY3757" fmla="*/ 538816 h 6689084"/>
              <a:gd name="connsiteX3758" fmla="*/ 1383346 w 6689088"/>
              <a:gd name="connsiteY3758" fmla="*/ 537364 h 6689084"/>
              <a:gd name="connsiteX3759" fmla="*/ 1384799 w 6689088"/>
              <a:gd name="connsiteY3759" fmla="*/ 535911 h 6689084"/>
              <a:gd name="connsiteX3760" fmla="*/ 308257 w 6689088"/>
              <a:gd name="connsiteY3760" fmla="*/ 535545 h 6689084"/>
              <a:gd name="connsiteX3761" fmla="*/ 309710 w 6689088"/>
              <a:gd name="connsiteY3761" fmla="*/ 536998 h 6689084"/>
              <a:gd name="connsiteX3762" fmla="*/ 309634 w 6689088"/>
              <a:gd name="connsiteY3762" fmla="*/ 537073 h 6689084"/>
              <a:gd name="connsiteX3763" fmla="*/ 308175 w 6689088"/>
              <a:gd name="connsiteY3763" fmla="*/ 535627 h 6689084"/>
              <a:gd name="connsiteX3764" fmla="*/ 1538750 w 6689088"/>
              <a:gd name="connsiteY3764" fmla="*/ 535183 h 6689084"/>
              <a:gd name="connsiteX3765" fmla="*/ 1540927 w 6689088"/>
              <a:gd name="connsiteY3765" fmla="*/ 537364 h 6689084"/>
              <a:gd name="connsiteX3766" fmla="*/ 1538750 w 6689088"/>
              <a:gd name="connsiteY3766" fmla="*/ 539540 h 6689084"/>
              <a:gd name="connsiteX3767" fmla="*/ 1536570 w 6689088"/>
              <a:gd name="connsiteY3767" fmla="*/ 537364 h 6689084"/>
              <a:gd name="connsiteX3768" fmla="*/ 1538750 w 6689088"/>
              <a:gd name="connsiteY3768" fmla="*/ 535183 h 6689084"/>
              <a:gd name="connsiteX3769" fmla="*/ 1692328 w 6689088"/>
              <a:gd name="connsiteY3769" fmla="*/ 534093 h 6689084"/>
              <a:gd name="connsiteX3770" fmla="*/ 1695594 w 6689088"/>
              <a:gd name="connsiteY3770" fmla="*/ 537360 h 6689084"/>
              <a:gd name="connsiteX3771" fmla="*/ 1692328 w 6689088"/>
              <a:gd name="connsiteY3771" fmla="*/ 540630 h 6689084"/>
              <a:gd name="connsiteX3772" fmla="*/ 1689061 w 6689088"/>
              <a:gd name="connsiteY3772" fmla="*/ 537360 h 6689084"/>
              <a:gd name="connsiteX3773" fmla="*/ 1692328 w 6689088"/>
              <a:gd name="connsiteY3773" fmla="*/ 534093 h 6689084"/>
              <a:gd name="connsiteX3774" fmla="*/ 1846279 w 6689088"/>
              <a:gd name="connsiteY3774" fmla="*/ 532641 h 6689084"/>
              <a:gd name="connsiteX3775" fmla="*/ 1850636 w 6689088"/>
              <a:gd name="connsiteY3775" fmla="*/ 536998 h 6689084"/>
              <a:gd name="connsiteX3776" fmla="*/ 1846279 w 6689088"/>
              <a:gd name="connsiteY3776" fmla="*/ 541355 h 6689084"/>
              <a:gd name="connsiteX3777" fmla="*/ 1841922 w 6689088"/>
              <a:gd name="connsiteY3777" fmla="*/ 536998 h 6689084"/>
              <a:gd name="connsiteX3778" fmla="*/ 1846279 w 6689088"/>
              <a:gd name="connsiteY3778" fmla="*/ 532641 h 6689084"/>
              <a:gd name="connsiteX3779" fmla="*/ 1999860 w 6689088"/>
              <a:gd name="connsiteY3779" fmla="*/ 531554 h 6689084"/>
              <a:gd name="connsiteX3780" fmla="*/ 2005670 w 6689088"/>
              <a:gd name="connsiteY3780" fmla="*/ 537364 h 6689084"/>
              <a:gd name="connsiteX3781" fmla="*/ 1999860 w 6689088"/>
              <a:gd name="connsiteY3781" fmla="*/ 543173 h 6689084"/>
              <a:gd name="connsiteX3782" fmla="*/ 1994051 w 6689088"/>
              <a:gd name="connsiteY3782" fmla="*/ 537364 h 6689084"/>
              <a:gd name="connsiteX3783" fmla="*/ 1999860 w 6689088"/>
              <a:gd name="connsiteY3783" fmla="*/ 531554 h 6689084"/>
              <a:gd name="connsiteX3784" fmla="*/ 2153808 w 6689088"/>
              <a:gd name="connsiteY3784" fmla="*/ 530102 h 6689084"/>
              <a:gd name="connsiteX3785" fmla="*/ 2161069 w 6689088"/>
              <a:gd name="connsiteY3785" fmla="*/ 537364 h 6689084"/>
              <a:gd name="connsiteX3786" fmla="*/ 2153808 w 6689088"/>
              <a:gd name="connsiteY3786" fmla="*/ 544625 h 6689084"/>
              <a:gd name="connsiteX3787" fmla="*/ 2146546 w 6689088"/>
              <a:gd name="connsiteY3787" fmla="*/ 537364 h 6689084"/>
              <a:gd name="connsiteX3788" fmla="*/ 2153808 w 6689088"/>
              <a:gd name="connsiteY3788" fmla="*/ 530102 h 6689084"/>
              <a:gd name="connsiteX3789" fmla="*/ 2307393 w 6689088"/>
              <a:gd name="connsiteY3789" fmla="*/ 527922 h 6689084"/>
              <a:gd name="connsiteX3790" fmla="*/ 2316473 w 6689088"/>
              <a:gd name="connsiteY3790" fmla="*/ 536998 h 6689084"/>
              <a:gd name="connsiteX3791" fmla="*/ 2307393 w 6689088"/>
              <a:gd name="connsiteY3791" fmla="*/ 546078 h 6689084"/>
              <a:gd name="connsiteX3792" fmla="*/ 2298317 w 6689088"/>
              <a:gd name="connsiteY3792" fmla="*/ 536998 h 6689084"/>
              <a:gd name="connsiteX3793" fmla="*/ 2307393 w 6689088"/>
              <a:gd name="connsiteY3793" fmla="*/ 527922 h 6689084"/>
              <a:gd name="connsiteX3794" fmla="*/ 2461340 w 6689088"/>
              <a:gd name="connsiteY3794" fmla="*/ 527197 h 6689084"/>
              <a:gd name="connsiteX3795" fmla="*/ 2471507 w 6689088"/>
              <a:gd name="connsiteY3795" fmla="*/ 537364 h 6689084"/>
              <a:gd name="connsiteX3796" fmla="*/ 2461340 w 6689088"/>
              <a:gd name="connsiteY3796" fmla="*/ 547530 h 6689084"/>
              <a:gd name="connsiteX3797" fmla="*/ 2451174 w 6689088"/>
              <a:gd name="connsiteY3797" fmla="*/ 537364 h 6689084"/>
              <a:gd name="connsiteX3798" fmla="*/ 2461340 w 6689088"/>
              <a:gd name="connsiteY3798" fmla="*/ 527197 h 6689084"/>
              <a:gd name="connsiteX3799" fmla="*/ 2614925 w 6689088"/>
              <a:gd name="connsiteY3799" fmla="*/ 525379 h 6689084"/>
              <a:gd name="connsiteX3800" fmla="*/ 2626910 w 6689088"/>
              <a:gd name="connsiteY3800" fmla="*/ 537360 h 6689084"/>
              <a:gd name="connsiteX3801" fmla="*/ 2614925 w 6689088"/>
              <a:gd name="connsiteY3801" fmla="*/ 549341 h 6689084"/>
              <a:gd name="connsiteX3802" fmla="*/ 2602945 w 6689088"/>
              <a:gd name="connsiteY3802" fmla="*/ 537360 h 6689084"/>
              <a:gd name="connsiteX3803" fmla="*/ 2614925 w 6689088"/>
              <a:gd name="connsiteY3803" fmla="*/ 525379 h 6689084"/>
              <a:gd name="connsiteX3804" fmla="*/ 2768877 w 6689088"/>
              <a:gd name="connsiteY3804" fmla="*/ 523202 h 6689084"/>
              <a:gd name="connsiteX3805" fmla="*/ 2782672 w 6689088"/>
              <a:gd name="connsiteY3805" fmla="*/ 537002 h 6689084"/>
              <a:gd name="connsiteX3806" fmla="*/ 2768877 w 6689088"/>
              <a:gd name="connsiteY3806" fmla="*/ 550797 h 6689084"/>
              <a:gd name="connsiteX3807" fmla="*/ 2755078 w 6689088"/>
              <a:gd name="connsiteY3807" fmla="*/ 537002 h 6689084"/>
              <a:gd name="connsiteX3808" fmla="*/ 2768877 w 6689088"/>
              <a:gd name="connsiteY3808" fmla="*/ 523202 h 6689084"/>
              <a:gd name="connsiteX3809" fmla="*/ 2922454 w 6689088"/>
              <a:gd name="connsiteY3809" fmla="*/ 522112 h 6689084"/>
              <a:gd name="connsiteX3810" fmla="*/ 2937706 w 6689088"/>
              <a:gd name="connsiteY3810" fmla="*/ 537364 h 6689084"/>
              <a:gd name="connsiteX3811" fmla="*/ 2922454 w 6689088"/>
              <a:gd name="connsiteY3811" fmla="*/ 552611 h 6689084"/>
              <a:gd name="connsiteX3812" fmla="*/ 2907207 w 6689088"/>
              <a:gd name="connsiteY3812" fmla="*/ 537364 h 6689084"/>
              <a:gd name="connsiteX3813" fmla="*/ 2922454 w 6689088"/>
              <a:gd name="connsiteY3813" fmla="*/ 522112 h 6689084"/>
              <a:gd name="connsiteX3814" fmla="*/ 3076406 w 6689088"/>
              <a:gd name="connsiteY3814" fmla="*/ 520298 h 6689084"/>
              <a:gd name="connsiteX3815" fmla="*/ 3093468 w 6689088"/>
              <a:gd name="connsiteY3815" fmla="*/ 537364 h 6689084"/>
              <a:gd name="connsiteX3816" fmla="*/ 3076406 w 6689088"/>
              <a:gd name="connsiteY3816" fmla="*/ 554430 h 6689084"/>
              <a:gd name="connsiteX3817" fmla="*/ 3059340 w 6689088"/>
              <a:gd name="connsiteY3817" fmla="*/ 537364 h 6689084"/>
              <a:gd name="connsiteX3818" fmla="*/ 3076406 w 6689088"/>
              <a:gd name="connsiteY3818" fmla="*/ 520298 h 6689084"/>
              <a:gd name="connsiteX3819" fmla="*/ 3230353 w 6689088"/>
              <a:gd name="connsiteY3819" fmla="*/ 518117 h 6689084"/>
              <a:gd name="connsiteX3820" fmla="*/ 3249599 w 6689088"/>
              <a:gd name="connsiteY3820" fmla="*/ 537360 h 6689084"/>
              <a:gd name="connsiteX3821" fmla="*/ 3230353 w 6689088"/>
              <a:gd name="connsiteY3821" fmla="*/ 556602 h 6689084"/>
              <a:gd name="connsiteX3822" fmla="*/ 3211110 w 6689088"/>
              <a:gd name="connsiteY3822" fmla="*/ 537360 h 6689084"/>
              <a:gd name="connsiteX3823" fmla="*/ 3230353 w 6689088"/>
              <a:gd name="connsiteY3823" fmla="*/ 518117 h 6689084"/>
              <a:gd name="connsiteX3824" fmla="*/ 3383938 w 6689088"/>
              <a:gd name="connsiteY3824" fmla="*/ 515941 h 6689084"/>
              <a:gd name="connsiteX3825" fmla="*/ 3405361 w 6689088"/>
              <a:gd name="connsiteY3825" fmla="*/ 537364 h 6689084"/>
              <a:gd name="connsiteX3826" fmla="*/ 3383938 w 6689088"/>
              <a:gd name="connsiteY3826" fmla="*/ 558787 h 6689084"/>
              <a:gd name="connsiteX3827" fmla="*/ 3362515 w 6689088"/>
              <a:gd name="connsiteY3827" fmla="*/ 537364 h 6689084"/>
              <a:gd name="connsiteX3828" fmla="*/ 3383938 w 6689088"/>
              <a:gd name="connsiteY3828" fmla="*/ 515941 h 6689084"/>
              <a:gd name="connsiteX3829" fmla="*/ 3537886 w 6689088"/>
              <a:gd name="connsiteY3829" fmla="*/ 514489 h 6689084"/>
              <a:gd name="connsiteX3830" fmla="*/ 3560761 w 6689088"/>
              <a:gd name="connsiteY3830" fmla="*/ 537364 h 6689084"/>
              <a:gd name="connsiteX3831" fmla="*/ 3537886 w 6689088"/>
              <a:gd name="connsiteY3831" fmla="*/ 560239 h 6689084"/>
              <a:gd name="connsiteX3832" fmla="*/ 3515010 w 6689088"/>
              <a:gd name="connsiteY3832" fmla="*/ 537364 h 6689084"/>
              <a:gd name="connsiteX3833" fmla="*/ 3537886 w 6689088"/>
              <a:gd name="connsiteY3833" fmla="*/ 514489 h 6689084"/>
              <a:gd name="connsiteX3834" fmla="*/ 3691467 w 6689088"/>
              <a:gd name="connsiteY3834" fmla="*/ 512308 h 6689084"/>
              <a:gd name="connsiteX3835" fmla="*/ 3716519 w 6689088"/>
              <a:gd name="connsiteY3835" fmla="*/ 537360 h 6689084"/>
              <a:gd name="connsiteX3836" fmla="*/ 3691467 w 6689088"/>
              <a:gd name="connsiteY3836" fmla="*/ 562412 h 6689084"/>
              <a:gd name="connsiteX3837" fmla="*/ 3666415 w 6689088"/>
              <a:gd name="connsiteY3837" fmla="*/ 537360 h 6689084"/>
              <a:gd name="connsiteX3838" fmla="*/ 3691467 w 6689088"/>
              <a:gd name="connsiteY3838" fmla="*/ 512308 h 6689084"/>
              <a:gd name="connsiteX3839" fmla="*/ 3845418 w 6689088"/>
              <a:gd name="connsiteY3839" fmla="*/ 510131 h 6689084"/>
              <a:gd name="connsiteX3840" fmla="*/ 3872650 w 6689088"/>
              <a:gd name="connsiteY3840" fmla="*/ 537364 h 6689084"/>
              <a:gd name="connsiteX3841" fmla="*/ 3845418 w 6689088"/>
              <a:gd name="connsiteY3841" fmla="*/ 564596 h 6689084"/>
              <a:gd name="connsiteX3842" fmla="*/ 3818186 w 6689088"/>
              <a:gd name="connsiteY3842" fmla="*/ 537364 h 6689084"/>
              <a:gd name="connsiteX3843" fmla="*/ 3845418 w 6689088"/>
              <a:gd name="connsiteY3843" fmla="*/ 510131 h 6689084"/>
              <a:gd name="connsiteX3844" fmla="*/ 3999000 w 6689088"/>
              <a:gd name="connsiteY3844" fmla="*/ 507589 h 6689084"/>
              <a:gd name="connsiteX3845" fmla="*/ 4028774 w 6689088"/>
              <a:gd name="connsiteY3845" fmla="*/ 537364 h 6689084"/>
              <a:gd name="connsiteX3846" fmla="*/ 3999000 w 6689088"/>
              <a:gd name="connsiteY3846" fmla="*/ 567135 h 6689084"/>
              <a:gd name="connsiteX3847" fmla="*/ 3969229 w 6689088"/>
              <a:gd name="connsiteY3847" fmla="*/ 537364 h 6689084"/>
              <a:gd name="connsiteX3848" fmla="*/ 3999000 w 6689088"/>
              <a:gd name="connsiteY3848" fmla="*/ 507589 h 6689084"/>
              <a:gd name="connsiteX3849" fmla="*/ 4152947 w 6689088"/>
              <a:gd name="connsiteY3849" fmla="*/ 505412 h 6689084"/>
              <a:gd name="connsiteX3850" fmla="*/ 4184898 w 6689088"/>
              <a:gd name="connsiteY3850" fmla="*/ 537364 h 6689084"/>
              <a:gd name="connsiteX3851" fmla="*/ 4152947 w 6689088"/>
              <a:gd name="connsiteY3851" fmla="*/ 569315 h 6689084"/>
              <a:gd name="connsiteX3852" fmla="*/ 4120996 w 6689088"/>
              <a:gd name="connsiteY3852" fmla="*/ 537364 h 6689084"/>
              <a:gd name="connsiteX3853" fmla="*/ 4152947 w 6689088"/>
              <a:gd name="connsiteY3853" fmla="*/ 505412 h 6689084"/>
              <a:gd name="connsiteX3854" fmla="*/ 4306532 w 6689088"/>
              <a:gd name="connsiteY3854" fmla="*/ 503594 h 6689084"/>
              <a:gd name="connsiteX3855" fmla="*/ 4340302 w 6689088"/>
              <a:gd name="connsiteY3855" fmla="*/ 537360 h 6689084"/>
              <a:gd name="connsiteX3856" fmla="*/ 4306532 w 6689088"/>
              <a:gd name="connsiteY3856" fmla="*/ 571130 h 6689084"/>
              <a:gd name="connsiteX3857" fmla="*/ 4272766 w 6689088"/>
              <a:gd name="connsiteY3857" fmla="*/ 537360 h 6689084"/>
              <a:gd name="connsiteX3858" fmla="*/ 4306532 w 6689088"/>
              <a:gd name="connsiteY3858" fmla="*/ 503594 h 6689084"/>
              <a:gd name="connsiteX3859" fmla="*/ 4460480 w 6689088"/>
              <a:gd name="connsiteY3859" fmla="*/ 500689 h 6689084"/>
              <a:gd name="connsiteX3860" fmla="*/ 4496788 w 6689088"/>
              <a:gd name="connsiteY3860" fmla="*/ 536998 h 6689084"/>
              <a:gd name="connsiteX3861" fmla="*/ 4460480 w 6689088"/>
              <a:gd name="connsiteY3861" fmla="*/ 573306 h 6689084"/>
              <a:gd name="connsiteX3862" fmla="*/ 4424172 w 6689088"/>
              <a:gd name="connsiteY3862" fmla="*/ 536998 h 6689084"/>
              <a:gd name="connsiteX3863" fmla="*/ 4460480 w 6689088"/>
              <a:gd name="connsiteY3863" fmla="*/ 500689 h 6689084"/>
              <a:gd name="connsiteX3864" fmla="*/ 4614065 w 6689088"/>
              <a:gd name="connsiteY3864" fmla="*/ 498513 h 6689084"/>
              <a:gd name="connsiteX3865" fmla="*/ 4652912 w 6689088"/>
              <a:gd name="connsiteY3865" fmla="*/ 537364 h 6689084"/>
              <a:gd name="connsiteX3866" fmla="*/ 4614065 w 6689088"/>
              <a:gd name="connsiteY3866" fmla="*/ 576215 h 6689084"/>
              <a:gd name="connsiteX3867" fmla="*/ 4575214 w 6689088"/>
              <a:gd name="connsiteY3867" fmla="*/ 537364 h 6689084"/>
              <a:gd name="connsiteX3868" fmla="*/ 4614065 w 6689088"/>
              <a:gd name="connsiteY3868" fmla="*/ 498513 h 6689084"/>
              <a:gd name="connsiteX3869" fmla="*/ 4768008 w 6689088"/>
              <a:gd name="connsiteY3869" fmla="*/ 495970 h 6689084"/>
              <a:gd name="connsiteX3870" fmla="*/ 4809036 w 6689088"/>
              <a:gd name="connsiteY3870" fmla="*/ 536998 h 6689084"/>
              <a:gd name="connsiteX3871" fmla="*/ 4768008 w 6689088"/>
              <a:gd name="connsiteY3871" fmla="*/ 578029 h 6689084"/>
              <a:gd name="connsiteX3872" fmla="*/ 4726981 w 6689088"/>
              <a:gd name="connsiteY3872" fmla="*/ 536998 h 6689084"/>
              <a:gd name="connsiteX3873" fmla="*/ 4768008 w 6689088"/>
              <a:gd name="connsiteY3873" fmla="*/ 495970 h 6689084"/>
              <a:gd name="connsiteX3874" fmla="*/ 4921594 w 6689088"/>
              <a:gd name="connsiteY3874" fmla="*/ 493428 h 6689084"/>
              <a:gd name="connsiteX3875" fmla="*/ 4965164 w 6689088"/>
              <a:gd name="connsiteY3875" fmla="*/ 536998 h 6689084"/>
              <a:gd name="connsiteX3876" fmla="*/ 4921594 w 6689088"/>
              <a:gd name="connsiteY3876" fmla="*/ 580568 h 6689084"/>
              <a:gd name="connsiteX3877" fmla="*/ 4878024 w 6689088"/>
              <a:gd name="connsiteY3877" fmla="*/ 536998 h 6689084"/>
              <a:gd name="connsiteX3878" fmla="*/ 4921594 w 6689088"/>
              <a:gd name="connsiteY3878" fmla="*/ 493428 h 6689084"/>
              <a:gd name="connsiteX3879" fmla="*/ 5075541 w 6689088"/>
              <a:gd name="connsiteY3879" fmla="*/ 490889 h 6689084"/>
              <a:gd name="connsiteX3880" fmla="*/ 5121654 w 6689088"/>
              <a:gd name="connsiteY3880" fmla="*/ 537002 h 6689084"/>
              <a:gd name="connsiteX3881" fmla="*/ 5075541 w 6689088"/>
              <a:gd name="connsiteY3881" fmla="*/ 583110 h 6689084"/>
              <a:gd name="connsiteX3882" fmla="*/ 5029428 w 6689088"/>
              <a:gd name="connsiteY3882" fmla="*/ 537002 h 6689084"/>
              <a:gd name="connsiteX3883" fmla="*/ 5075541 w 6689088"/>
              <a:gd name="connsiteY3883" fmla="*/ 490889 h 6689084"/>
              <a:gd name="connsiteX3884" fmla="*/ 5229122 w 6689088"/>
              <a:gd name="connsiteY3884" fmla="*/ 488709 h 6689084"/>
              <a:gd name="connsiteX3885" fmla="*/ 5277778 w 6689088"/>
              <a:gd name="connsiteY3885" fmla="*/ 537364 h 6689084"/>
              <a:gd name="connsiteX3886" fmla="*/ 5229122 w 6689088"/>
              <a:gd name="connsiteY3886" fmla="*/ 586015 h 6689084"/>
              <a:gd name="connsiteX3887" fmla="*/ 5180472 w 6689088"/>
              <a:gd name="connsiteY3887" fmla="*/ 537364 h 6689084"/>
              <a:gd name="connsiteX3888" fmla="*/ 5229122 w 6689088"/>
              <a:gd name="connsiteY3888" fmla="*/ 488709 h 6689084"/>
              <a:gd name="connsiteX3889" fmla="*/ 5383074 w 6689088"/>
              <a:gd name="connsiteY3889" fmla="*/ 486166 h 6689084"/>
              <a:gd name="connsiteX3890" fmla="*/ 5434268 w 6689088"/>
              <a:gd name="connsiteY3890" fmla="*/ 537360 h 6689084"/>
              <a:gd name="connsiteX3891" fmla="*/ 5383074 w 6689088"/>
              <a:gd name="connsiteY3891" fmla="*/ 588554 h 6689084"/>
              <a:gd name="connsiteX3892" fmla="*/ 5331880 w 6689088"/>
              <a:gd name="connsiteY3892" fmla="*/ 537360 h 6689084"/>
              <a:gd name="connsiteX3893" fmla="*/ 5383074 w 6689088"/>
              <a:gd name="connsiteY3893" fmla="*/ 486166 h 6689084"/>
              <a:gd name="connsiteX3894" fmla="*/ 5536659 w 6689088"/>
              <a:gd name="connsiteY3894" fmla="*/ 483624 h 6689084"/>
              <a:gd name="connsiteX3895" fmla="*/ 5590034 w 6689088"/>
              <a:gd name="connsiteY3895" fmla="*/ 536998 h 6689084"/>
              <a:gd name="connsiteX3896" fmla="*/ 5536659 w 6689088"/>
              <a:gd name="connsiteY3896" fmla="*/ 590372 h 6689084"/>
              <a:gd name="connsiteX3897" fmla="*/ 5483285 w 6689088"/>
              <a:gd name="connsiteY3897" fmla="*/ 536998 h 6689084"/>
              <a:gd name="connsiteX3898" fmla="*/ 5536659 w 6689088"/>
              <a:gd name="connsiteY3898" fmla="*/ 483624 h 6689084"/>
              <a:gd name="connsiteX3899" fmla="*/ 5690606 w 6689088"/>
              <a:gd name="connsiteY3899" fmla="*/ 481085 h 6689084"/>
              <a:gd name="connsiteX3900" fmla="*/ 5746882 w 6689088"/>
              <a:gd name="connsiteY3900" fmla="*/ 537364 h 6689084"/>
              <a:gd name="connsiteX3901" fmla="*/ 5690606 w 6689088"/>
              <a:gd name="connsiteY3901" fmla="*/ 593643 h 6689084"/>
              <a:gd name="connsiteX3902" fmla="*/ 5634328 w 6689088"/>
              <a:gd name="connsiteY3902" fmla="*/ 537364 h 6689084"/>
              <a:gd name="connsiteX3903" fmla="*/ 5690606 w 6689088"/>
              <a:gd name="connsiteY3903" fmla="*/ 481085 h 6689084"/>
              <a:gd name="connsiteX3904" fmla="*/ 5844554 w 6689088"/>
              <a:gd name="connsiteY3904" fmla="*/ 478542 h 6689084"/>
              <a:gd name="connsiteX3905" fmla="*/ 5903372 w 6689088"/>
              <a:gd name="connsiteY3905" fmla="*/ 537364 h 6689084"/>
              <a:gd name="connsiteX3906" fmla="*/ 5844554 w 6689088"/>
              <a:gd name="connsiteY3906" fmla="*/ 596181 h 6689084"/>
              <a:gd name="connsiteX3907" fmla="*/ 5785732 w 6689088"/>
              <a:gd name="connsiteY3907" fmla="*/ 537364 h 6689084"/>
              <a:gd name="connsiteX3908" fmla="*/ 5844554 w 6689088"/>
              <a:gd name="connsiteY3908" fmla="*/ 478542 h 6689084"/>
              <a:gd name="connsiteX3909" fmla="*/ 5998136 w 6689088"/>
              <a:gd name="connsiteY3909" fmla="*/ 475638 h 6689084"/>
              <a:gd name="connsiteX3910" fmla="*/ 6059862 w 6689088"/>
              <a:gd name="connsiteY3910" fmla="*/ 537364 h 6689084"/>
              <a:gd name="connsiteX3911" fmla="*/ 5998136 w 6689088"/>
              <a:gd name="connsiteY3911" fmla="*/ 599086 h 6689084"/>
              <a:gd name="connsiteX3912" fmla="*/ 5936413 w 6689088"/>
              <a:gd name="connsiteY3912" fmla="*/ 537364 h 6689084"/>
              <a:gd name="connsiteX3913" fmla="*/ 5998136 w 6689088"/>
              <a:gd name="connsiteY3913" fmla="*/ 475638 h 6689084"/>
              <a:gd name="connsiteX3914" fmla="*/ 6152083 w 6689088"/>
              <a:gd name="connsiteY3914" fmla="*/ 473095 h 6689084"/>
              <a:gd name="connsiteX3915" fmla="*/ 6216348 w 6689088"/>
              <a:gd name="connsiteY3915" fmla="*/ 537360 h 6689084"/>
              <a:gd name="connsiteX3916" fmla="*/ 6152083 w 6689088"/>
              <a:gd name="connsiteY3916" fmla="*/ 601625 h 6689084"/>
              <a:gd name="connsiteX3917" fmla="*/ 6087818 w 6689088"/>
              <a:gd name="connsiteY3917" fmla="*/ 537360 h 6689084"/>
              <a:gd name="connsiteX3918" fmla="*/ 6152083 w 6689088"/>
              <a:gd name="connsiteY3918" fmla="*/ 473095 h 6689084"/>
              <a:gd name="connsiteX3919" fmla="*/ 6305672 w 6689088"/>
              <a:gd name="connsiteY3919" fmla="*/ 469828 h 6689084"/>
              <a:gd name="connsiteX3920" fmla="*/ 6373204 w 6689088"/>
              <a:gd name="connsiteY3920" fmla="*/ 537364 h 6689084"/>
              <a:gd name="connsiteX3921" fmla="*/ 6305672 w 6689088"/>
              <a:gd name="connsiteY3921" fmla="*/ 604895 h 6689084"/>
              <a:gd name="connsiteX3922" fmla="*/ 6238136 w 6689088"/>
              <a:gd name="connsiteY3922" fmla="*/ 537364 h 6689084"/>
              <a:gd name="connsiteX3923" fmla="*/ 6305672 w 6689088"/>
              <a:gd name="connsiteY3923" fmla="*/ 469828 h 6689084"/>
              <a:gd name="connsiteX3924" fmla="*/ 6459616 w 6689088"/>
              <a:gd name="connsiteY3924" fmla="*/ 467286 h 6689084"/>
              <a:gd name="connsiteX3925" fmla="*/ 6529694 w 6689088"/>
              <a:gd name="connsiteY3925" fmla="*/ 537360 h 6689084"/>
              <a:gd name="connsiteX3926" fmla="*/ 6459616 w 6689088"/>
              <a:gd name="connsiteY3926" fmla="*/ 607434 h 6689084"/>
              <a:gd name="connsiteX3927" fmla="*/ 6389542 w 6689088"/>
              <a:gd name="connsiteY3927" fmla="*/ 537360 h 6689084"/>
              <a:gd name="connsiteX3928" fmla="*/ 6459616 w 6689088"/>
              <a:gd name="connsiteY3928" fmla="*/ 467286 h 6689084"/>
              <a:gd name="connsiteX3929" fmla="*/ 6613200 w 6689088"/>
              <a:gd name="connsiteY3929" fmla="*/ 464381 h 6689084"/>
              <a:gd name="connsiteX3930" fmla="*/ 6686180 w 6689088"/>
              <a:gd name="connsiteY3930" fmla="*/ 537360 h 6689084"/>
              <a:gd name="connsiteX3931" fmla="*/ 6613200 w 6689088"/>
              <a:gd name="connsiteY3931" fmla="*/ 610339 h 6689084"/>
              <a:gd name="connsiteX3932" fmla="*/ 6540222 w 6689088"/>
              <a:gd name="connsiteY3932" fmla="*/ 537360 h 6689084"/>
              <a:gd name="connsiteX3933" fmla="*/ 6613200 w 6689088"/>
              <a:gd name="connsiteY3933" fmla="*/ 464381 h 6689084"/>
              <a:gd name="connsiteX3934" fmla="*/ 1077266 w 6689088"/>
              <a:gd name="connsiteY3934" fmla="*/ 383050 h 6689084"/>
              <a:gd name="connsiteX3935" fmla="*/ 1077628 w 6689088"/>
              <a:gd name="connsiteY3935" fmla="*/ 383412 h 6689084"/>
              <a:gd name="connsiteX3936" fmla="*/ 1077266 w 6689088"/>
              <a:gd name="connsiteY3936" fmla="*/ 383778 h 6689084"/>
              <a:gd name="connsiteX3937" fmla="*/ 1076904 w 6689088"/>
              <a:gd name="connsiteY3937" fmla="*/ 383412 h 6689084"/>
              <a:gd name="connsiteX3938" fmla="*/ 1077266 w 6689088"/>
              <a:gd name="connsiteY3938" fmla="*/ 383050 h 6689084"/>
              <a:gd name="connsiteX3939" fmla="*/ 616148 w 6689088"/>
              <a:gd name="connsiteY3939" fmla="*/ 383050 h 6689084"/>
              <a:gd name="connsiteX3940" fmla="*/ 616514 w 6689088"/>
              <a:gd name="connsiteY3940" fmla="*/ 383412 h 6689084"/>
              <a:gd name="connsiteX3941" fmla="*/ 616148 w 6689088"/>
              <a:gd name="connsiteY3941" fmla="*/ 383775 h 6689084"/>
              <a:gd name="connsiteX3942" fmla="*/ 615786 w 6689088"/>
              <a:gd name="connsiteY3942" fmla="*/ 383412 h 6689084"/>
              <a:gd name="connsiteX3943" fmla="*/ 616148 w 6689088"/>
              <a:gd name="connsiteY3943" fmla="*/ 383050 h 6689084"/>
              <a:gd name="connsiteX3944" fmla="*/ 462205 w 6689088"/>
              <a:gd name="connsiteY3944" fmla="*/ 383050 h 6689084"/>
              <a:gd name="connsiteX3945" fmla="*/ 462567 w 6689088"/>
              <a:gd name="connsiteY3945" fmla="*/ 383412 h 6689084"/>
              <a:gd name="connsiteX3946" fmla="*/ 462205 w 6689088"/>
              <a:gd name="connsiteY3946" fmla="*/ 383775 h 6689084"/>
              <a:gd name="connsiteX3947" fmla="*/ 461842 w 6689088"/>
              <a:gd name="connsiteY3947" fmla="*/ 383412 h 6689084"/>
              <a:gd name="connsiteX3948" fmla="*/ 462205 w 6689088"/>
              <a:gd name="connsiteY3948" fmla="*/ 383050 h 6689084"/>
              <a:gd name="connsiteX3949" fmla="*/ 308623 w 6689088"/>
              <a:gd name="connsiteY3949" fmla="*/ 382688 h 6689084"/>
              <a:gd name="connsiteX3950" fmla="*/ 309347 w 6689088"/>
              <a:gd name="connsiteY3950" fmla="*/ 383416 h 6689084"/>
              <a:gd name="connsiteX3951" fmla="*/ 308623 w 6689088"/>
              <a:gd name="connsiteY3951" fmla="*/ 384141 h 6689084"/>
              <a:gd name="connsiteX3952" fmla="*/ 307895 w 6689088"/>
              <a:gd name="connsiteY3952" fmla="*/ 383416 h 6689084"/>
              <a:gd name="connsiteX3953" fmla="*/ 308623 w 6689088"/>
              <a:gd name="connsiteY3953" fmla="*/ 382688 h 6689084"/>
              <a:gd name="connsiteX3954" fmla="*/ 1231213 w 6689088"/>
              <a:gd name="connsiteY3954" fmla="*/ 381964 h 6689084"/>
              <a:gd name="connsiteX3955" fmla="*/ 1232666 w 6689088"/>
              <a:gd name="connsiteY3955" fmla="*/ 383416 h 6689084"/>
              <a:gd name="connsiteX3956" fmla="*/ 1231213 w 6689088"/>
              <a:gd name="connsiteY3956" fmla="*/ 384869 h 6689084"/>
              <a:gd name="connsiteX3957" fmla="*/ 1229761 w 6689088"/>
              <a:gd name="connsiteY3957" fmla="*/ 383416 h 6689084"/>
              <a:gd name="connsiteX3958" fmla="*/ 1231213 w 6689088"/>
              <a:gd name="connsiteY3958" fmla="*/ 381964 h 6689084"/>
              <a:gd name="connsiteX3959" fmla="*/ 154672 w 6689088"/>
              <a:gd name="connsiteY3959" fmla="*/ 381964 h 6689084"/>
              <a:gd name="connsiteX3960" fmla="*/ 156124 w 6689088"/>
              <a:gd name="connsiteY3960" fmla="*/ 383416 h 6689084"/>
              <a:gd name="connsiteX3961" fmla="*/ 155343 w 6689088"/>
              <a:gd name="connsiteY3961" fmla="*/ 384197 h 6689084"/>
              <a:gd name="connsiteX3962" fmla="*/ 153884 w 6689088"/>
              <a:gd name="connsiteY3962" fmla="*/ 382752 h 6689084"/>
              <a:gd name="connsiteX3963" fmla="*/ 1384799 w 6689088"/>
              <a:gd name="connsiteY3963" fmla="*/ 381236 h 6689084"/>
              <a:gd name="connsiteX3964" fmla="*/ 1386979 w 6689088"/>
              <a:gd name="connsiteY3964" fmla="*/ 383416 h 6689084"/>
              <a:gd name="connsiteX3965" fmla="*/ 1384799 w 6689088"/>
              <a:gd name="connsiteY3965" fmla="*/ 385593 h 6689084"/>
              <a:gd name="connsiteX3966" fmla="*/ 1382622 w 6689088"/>
              <a:gd name="connsiteY3966" fmla="*/ 383416 h 6689084"/>
              <a:gd name="connsiteX3967" fmla="*/ 1384799 w 6689088"/>
              <a:gd name="connsiteY3967" fmla="*/ 381236 h 6689084"/>
              <a:gd name="connsiteX3968" fmla="*/ 1538746 w 6689088"/>
              <a:gd name="connsiteY3968" fmla="*/ 380508 h 6689084"/>
              <a:gd name="connsiteX3969" fmla="*/ 1542013 w 6689088"/>
              <a:gd name="connsiteY3969" fmla="*/ 383775 h 6689084"/>
              <a:gd name="connsiteX3970" fmla="*/ 1538746 w 6689088"/>
              <a:gd name="connsiteY3970" fmla="*/ 387045 h 6689084"/>
              <a:gd name="connsiteX3971" fmla="*/ 1535479 w 6689088"/>
              <a:gd name="connsiteY3971" fmla="*/ 383775 h 6689084"/>
              <a:gd name="connsiteX3972" fmla="*/ 1538746 w 6689088"/>
              <a:gd name="connsiteY3972" fmla="*/ 380508 h 6689084"/>
              <a:gd name="connsiteX3973" fmla="*/ 1692331 w 6689088"/>
              <a:gd name="connsiteY3973" fmla="*/ 379055 h 6689084"/>
              <a:gd name="connsiteX3974" fmla="*/ 1696688 w 6689088"/>
              <a:gd name="connsiteY3974" fmla="*/ 383412 h 6689084"/>
              <a:gd name="connsiteX3975" fmla="*/ 1692331 w 6689088"/>
              <a:gd name="connsiteY3975" fmla="*/ 387770 h 6689084"/>
              <a:gd name="connsiteX3976" fmla="*/ 1687974 w 6689088"/>
              <a:gd name="connsiteY3976" fmla="*/ 383412 h 6689084"/>
              <a:gd name="connsiteX3977" fmla="*/ 1692331 w 6689088"/>
              <a:gd name="connsiteY3977" fmla="*/ 379055 h 6689084"/>
              <a:gd name="connsiteX3978" fmla="*/ 1846279 w 6689088"/>
              <a:gd name="connsiteY3978" fmla="*/ 377607 h 6689084"/>
              <a:gd name="connsiteX3979" fmla="*/ 1852088 w 6689088"/>
              <a:gd name="connsiteY3979" fmla="*/ 383416 h 6689084"/>
              <a:gd name="connsiteX3980" fmla="*/ 1846279 w 6689088"/>
              <a:gd name="connsiteY3980" fmla="*/ 389226 h 6689084"/>
              <a:gd name="connsiteX3981" fmla="*/ 1840469 w 6689088"/>
              <a:gd name="connsiteY3981" fmla="*/ 383416 h 6689084"/>
              <a:gd name="connsiteX3982" fmla="*/ 1846279 w 6689088"/>
              <a:gd name="connsiteY3982" fmla="*/ 377607 h 6689084"/>
              <a:gd name="connsiteX3983" fmla="*/ 1999864 w 6689088"/>
              <a:gd name="connsiteY3983" fmla="*/ 376151 h 6689084"/>
              <a:gd name="connsiteX3984" fmla="*/ 2007126 w 6689088"/>
              <a:gd name="connsiteY3984" fmla="*/ 383412 h 6689084"/>
              <a:gd name="connsiteX3985" fmla="*/ 1999864 w 6689088"/>
              <a:gd name="connsiteY3985" fmla="*/ 390674 h 6689084"/>
              <a:gd name="connsiteX3986" fmla="*/ 1992602 w 6689088"/>
              <a:gd name="connsiteY3986" fmla="*/ 383412 h 6689084"/>
              <a:gd name="connsiteX3987" fmla="*/ 1999864 w 6689088"/>
              <a:gd name="connsiteY3987" fmla="*/ 376151 h 6689084"/>
              <a:gd name="connsiteX3988" fmla="*/ 2153808 w 6689088"/>
              <a:gd name="connsiteY3988" fmla="*/ 374336 h 6689084"/>
              <a:gd name="connsiteX3989" fmla="*/ 2162888 w 6689088"/>
              <a:gd name="connsiteY3989" fmla="*/ 383412 h 6689084"/>
              <a:gd name="connsiteX3990" fmla="*/ 2153808 w 6689088"/>
              <a:gd name="connsiteY3990" fmla="*/ 392492 h 6689084"/>
              <a:gd name="connsiteX3991" fmla="*/ 2144731 w 6689088"/>
              <a:gd name="connsiteY3991" fmla="*/ 383412 h 6689084"/>
              <a:gd name="connsiteX3992" fmla="*/ 2153808 w 6689088"/>
              <a:gd name="connsiteY3992" fmla="*/ 374336 h 6689084"/>
              <a:gd name="connsiteX3993" fmla="*/ 2307393 w 6689088"/>
              <a:gd name="connsiteY3993" fmla="*/ 373246 h 6689084"/>
              <a:gd name="connsiteX3994" fmla="*/ 2317559 w 6689088"/>
              <a:gd name="connsiteY3994" fmla="*/ 383412 h 6689084"/>
              <a:gd name="connsiteX3995" fmla="*/ 2307393 w 6689088"/>
              <a:gd name="connsiteY3995" fmla="*/ 393579 h 6689084"/>
              <a:gd name="connsiteX3996" fmla="*/ 2297226 w 6689088"/>
              <a:gd name="connsiteY3996" fmla="*/ 383412 h 6689084"/>
              <a:gd name="connsiteX3997" fmla="*/ 2307393 w 6689088"/>
              <a:gd name="connsiteY3997" fmla="*/ 373246 h 6689084"/>
              <a:gd name="connsiteX3998" fmla="*/ 2461340 w 6689088"/>
              <a:gd name="connsiteY3998" fmla="*/ 371432 h 6689084"/>
              <a:gd name="connsiteX3999" fmla="*/ 2473325 w 6689088"/>
              <a:gd name="connsiteY3999" fmla="*/ 383412 h 6689084"/>
              <a:gd name="connsiteX4000" fmla="*/ 2461340 w 6689088"/>
              <a:gd name="connsiteY4000" fmla="*/ 395397 h 6689084"/>
              <a:gd name="connsiteX4001" fmla="*/ 2449359 w 6689088"/>
              <a:gd name="connsiteY4001" fmla="*/ 383412 h 6689084"/>
              <a:gd name="connsiteX4002" fmla="*/ 2461340 w 6689088"/>
              <a:gd name="connsiteY4002" fmla="*/ 371432 h 6689084"/>
              <a:gd name="connsiteX4003" fmla="*/ 2614925 w 6689088"/>
              <a:gd name="connsiteY4003" fmla="*/ 369617 h 6689084"/>
              <a:gd name="connsiteX4004" fmla="*/ 2628721 w 6689088"/>
              <a:gd name="connsiteY4004" fmla="*/ 383416 h 6689084"/>
              <a:gd name="connsiteX4005" fmla="*/ 2614925 w 6689088"/>
              <a:gd name="connsiteY4005" fmla="*/ 397212 h 6689084"/>
              <a:gd name="connsiteX4006" fmla="*/ 2601126 w 6689088"/>
              <a:gd name="connsiteY4006" fmla="*/ 383416 h 6689084"/>
              <a:gd name="connsiteX4007" fmla="*/ 2614925 w 6689088"/>
              <a:gd name="connsiteY4007" fmla="*/ 369617 h 6689084"/>
              <a:gd name="connsiteX4008" fmla="*/ 2768873 w 6689088"/>
              <a:gd name="connsiteY4008" fmla="*/ 368165 h 6689084"/>
              <a:gd name="connsiteX4009" fmla="*/ 2784124 w 6689088"/>
              <a:gd name="connsiteY4009" fmla="*/ 383416 h 6689084"/>
              <a:gd name="connsiteX4010" fmla="*/ 2768873 w 6689088"/>
              <a:gd name="connsiteY4010" fmla="*/ 398664 h 6689084"/>
              <a:gd name="connsiteX4011" fmla="*/ 2753625 w 6689088"/>
              <a:gd name="connsiteY4011" fmla="*/ 383416 h 6689084"/>
              <a:gd name="connsiteX4012" fmla="*/ 2768873 w 6689088"/>
              <a:gd name="connsiteY4012" fmla="*/ 368165 h 6689084"/>
              <a:gd name="connsiteX4013" fmla="*/ 2922458 w 6689088"/>
              <a:gd name="connsiteY4013" fmla="*/ 366350 h 6689084"/>
              <a:gd name="connsiteX4014" fmla="*/ 2939524 w 6689088"/>
              <a:gd name="connsiteY4014" fmla="*/ 383416 h 6689084"/>
              <a:gd name="connsiteX4015" fmla="*/ 2922458 w 6689088"/>
              <a:gd name="connsiteY4015" fmla="*/ 400478 h 6689084"/>
              <a:gd name="connsiteX4016" fmla="*/ 2905392 w 6689088"/>
              <a:gd name="connsiteY4016" fmla="*/ 383416 h 6689084"/>
              <a:gd name="connsiteX4017" fmla="*/ 2922458 w 6689088"/>
              <a:gd name="connsiteY4017" fmla="*/ 366350 h 6689084"/>
              <a:gd name="connsiteX4018" fmla="*/ 3076406 w 6689088"/>
              <a:gd name="connsiteY4018" fmla="*/ 364170 h 6689084"/>
              <a:gd name="connsiteX4019" fmla="*/ 3095652 w 6689088"/>
              <a:gd name="connsiteY4019" fmla="*/ 383412 h 6689084"/>
              <a:gd name="connsiteX4020" fmla="*/ 3076406 w 6689088"/>
              <a:gd name="connsiteY4020" fmla="*/ 402659 h 6689084"/>
              <a:gd name="connsiteX4021" fmla="*/ 3057163 w 6689088"/>
              <a:gd name="connsiteY4021" fmla="*/ 383412 h 6689084"/>
              <a:gd name="connsiteX4022" fmla="*/ 3076406 w 6689088"/>
              <a:gd name="connsiteY4022" fmla="*/ 364170 h 6689084"/>
              <a:gd name="connsiteX4023" fmla="*/ 3230353 w 6689088"/>
              <a:gd name="connsiteY4023" fmla="*/ 361993 h 6689084"/>
              <a:gd name="connsiteX4024" fmla="*/ 3251776 w 6689088"/>
              <a:gd name="connsiteY4024" fmla="*/ 383416 h 6689084"/>
              <a:gd name="connsiteX4025" fmla="*/ 3230353 w 6689088"/>
              <a:gd name="connsiteY4025" fmla="*/ 404839 h 6689084"/>
              <a:gd name="connsiteX4026" fmla="*/ 3208930 w 6689088"/>
              <a:gd name="connsiteY4026" fmla="*/ 383416 h 6689084"/>
              <a:gd name="connsiteX4027" fmla="*/ 3230353 w 6689088"/>
              <a:gd name="connsiteY4027" fmla="*/ 361993 h 6689084"/>
              <a:gd name="connsiteX4028" fmla="*/ 3383938 w 6689088"/>
              <a:gd name="connsiteY4028" fmla="*/ 360541 h 6689084"/>
              <a:gd name="connsiteX4029" fmla="*/ 3406810 w 6689088"/>
              <a:gd name="connsiteY4029" fmla="*/ 383416 h 6689084"/>
              <a:gd name="connsiteX4030" fmla="*/ 3383938 w 6689088"/>
              <a:gd name="connsiteY4030" fmla="*/ 406292 h 6689084"/>
              <a:gd name="connsiteX4031" fmla="*/ 3361063 w 6689088"/>
              <a:gd name="connsiteY4031" fmla="*/ 383416 h 6689084"/>
              <a:gd name="connsiteX4032" fmla="*/ 3383938 w 6689088"/>
              <a:gd name="connsiteY4032" fmla="*/ 360541 h 6689084"/>
              <a:gd name="connsiteX4033" fmla="*/ 3537882 w 6689088"/>
              <a:gd name="connsiteY4033" fmla="*/ 358361 h 6689084"/>
              <a:gd name="connsiteX4034" fmla="*/ 3562937 w 6689088"/>
              <a:gd name="connsiteY4034" fmla="*/ 383412 h 6689084"/>
              <a:gd name="connsiteX4035" fmla="*/ 3537882 w 6689088"/>
              <a:gd name="connsiteY4035" fmla="*/ 408468 h 6689084"/>
              <a:gd name="connsiteX4036" fmla="*/ 3512830 w 6689088"/>
              <a:gd name="connsiteY4036" fmla="*/ 383412 h 6689084"/>
              <a:gd name="connsiteX4037" fmla="*/ 3537882 w 6689088"/>
              <a:gd name="connsiteY4037" fmla="*/ 358361 h 6689084"/>
              <a:gd name="connsiteX4038" fmla="*/ 3691471 w 6689088"/>
              <a:gd name="connsiteY4038" fmla="*/ 356184 h 6689084"/>
              <a:gd name="connsiteX4039" fmla="*/ 3718699 w 6689088"/>
              <a:gd name="connsiteY4039" fmla="*/ 383416 h 6689084"/>
              <a:gd name="connsiteX4040" fmla="*/ 3691471 w 6689088"/>
              <a:gd name="connsiteY4040" fmla="*/ 410648 h 6689084"/>
              <a:gd name="connsiteX4041" fmla="*/ 3664238 w 6689088"/>
              <a:gd name="connsiteY4041" fmla="*/ 383416 h 6689084"/>
              <a:gd name="connsiteX4042" fmla="*/ 3691471 w 6689088"/>
              <a:gd name="connsiteY4042" fmla="*/ 356184 h 6689084"/>
              <a:gd name="connsiteX4043" fmla="*/ 3845418 w 6689088"/>
              <a:gd name="connsiteY4043" fmla="*/ 353642 h 6689084"/>
              <a:gd name="connsiteX4044" fmla="*/ 3875189 w 6689088"/>
              <a:gd name="connsiteY4044" fmla="*/ 383416 h 6689084"/>
              <a:gd name="connsiteX4045" fmla="*/ 3845418 w 6689088"/>
              <a:gd name="connsiteY4045" fmla="*/ 413187 h 6689084"/>
              <a:gd name="connsiteX4046" fmla="*/ 3815644 w 6689088"/>
              <a:gd name="connsiteY4046" fmla="*/ 383416 h 6689084"/>
              <a:gd name="connsiteX4047" fmla="*/ 3845418 w 6689088"/>
              <a:gd name="connsiteY4047" fmla="*/ 353642 h 6689084"/>
              <a:gd name="connsiteX4048" fmla="*/ 3999000 w 6689088"/>
              <a:gd name="connsiteY4048" fmla="*/ 351465 h 6689084"/>
              <a:gd name="connsiteX4049" fmla="*/ 4030951 w 6689088"/>
              <a:gd name="connsiteY4049" fmla="*/ 383416 h 6689084"/>
              <a:gd name="connsiteX4050" fmla="*/ 3999000 w 6689088"/>
              <a:gd name="connsiteY4050" fmla="*/ 415368 h 6689084"/>
              <a:gd name="connsiteX4051" fmla="*/ 3967048 w 6689088"/>
              <a:gd name="connsiteY4051" fmla="*/ 383416 h 6689084"/>
              <a:gd name="connsiteX4052" fmla="*/ 3999000 w 6689088"/>
              <a:gd name="connsiteY4052" fmla="*/ 351465 h 6689084"/>
              <a:gd name="connsiteX4053" fmla="*/ 4152947 w 6689088"/>
              <a:gd name="connsiteY4053" fmla="*/ 349647 h 6689084"/>
              <a:gd name="connsiteX4054" fmla="*/ 4186716 w 6689088"/>
              <a:gd name="connsiteY4054" fmla="*/ 383412 h 6689084"/>
              <a:gd name="connsiteX4055" fmla="*/ 4152947 w 6689088"/>
              <a:gd name="connsiteY4055" fmla="*/ 417182 h 6689084"/>
              <a:gd name="connsiteX4056" fmla="*/ 4119181 w 6689088"/>
              <a:gd name="connsiteY4056" fmla="*/ 383412 h 6689084"/>
              <a:gd name="connsiteX4057" fmla="*/ 4152947 w 6689088"/>
              <a:gd name="connsiteY4057" fmla="*/ 349647 h 6689084"/>
              <a:gd name="connsiteX4058" fmla="*/ 4306532 w 6689088"/>
              <a:gd name="connsiteY4058" fmla="*/ 347108 h 6689084"/>
              <a:gd name="connsiteX4059" fmla="*/ 4342840 w 6689088"/>
              <a:gd name="connsiteY4059" fmla="*/ 383416 h 6689084"/>
              <a:gd name="connsiteX4060" fmla="*/ 4306532 w 6689088"/>
              <a:gd name="connsiteY4060" fmla="*/ 419725 h 6689084"/>
              <a:gd name="connsiteX4061" fmla="*/ 4270224 w 6689088"/>
              <a:gd name="connsiteY4061" fmla="*/ 383416 h 6689084"/>
              <a:gd name="connsiteX4062" fmla="*/ 4306532 w 6689088"/>
              <a:gd name="connsiteY4062" fmla="*/ 347108 h 6689084"/>
              <a:gd name="connsiteX4063" fmla="*/ 4460480 w 6689088"/>
              <a:gd name="connsiteY4063" fmla="*/ 344565 h 6689084"/>
              <a:gd name="connsiteX4064" fmla="*/ 4499326 w 6689088"/>
              <a:gd name="connsiteY4064" fmla="*/ 383416 h 6689084"/>
              <a:gd name="connsiteX4065" fmla="*/ 4460480 w 6689088"/>
              <a:gd name="connsiteY4065" fmla="*/ 422267 h 6689084"/>
              <a:gd name="connsiteX4066" fmla="*/ 4421629 w 6689088"/>
              <a:gd name="connsiteY4066" fmla="*/ 383416 h 6689084"/>
              <a:gd name="connsiteX4067" fmla="*/ 4460480 w 6689088"/>
              <a:gd name="connsiteY4067" fmla="*/ 344565 h 6689084"/>
              <a:gd name="connsiteX4068" fmla="*/ 4614061 w 6689088"/>
              <a:gd name="connsiteY4068" fmla="*/ 342385 h 6689084"/>
              <a:gd name="connsiteX4069" fmla="*/ 4655092 w 6689088"/>
              <a:gd name="connsiteY4069" fmla="*/ 383412 h 6689084"/>
              <a:gd name="connsiteX4070" fmla="*/ 4614061 w 6689088"/>
              <a:gd name="connsiteY4070" fmla="*/ 424440 h 6689084"/>
              <a:gd name="connsiteX4071" fmla="*/ 4573034 w 6689088"/>
              <a:gd name="connsiteY4071" fmla="*/ 383412 h 6689084"/>
              <a:gd name="connsiteX4072" fmla="*/ 4614061 w 6689088"/>
              <a:gd name="connsiteY4072" fmla="*/ 342385 h 6689084"/>
              <a:gd name="connsiteX4073" fmla="*/ 4768008 w 6689088"/>
              <a:gd name="connsiteY4073" fmla="*/ 339842 h 6689084"/>
              <a:gd name="connsiteX4074" fmla="*/ 4811578 w 6689088"/>
              <a:gd name="connsiteY4074" fmla="*/ 383412 h 6689084"/>
              <a:gd name="connsiteX4075" fmla="*/ 4768008 w 6689088"/>
              <a:gd name="connsiteY4075" fmla="*/ 426982 h 6689084"/>
              <a:gd name="connsiteX4076" fmla="*/ 4724438 w 6689088"/>
              <a:gd name="connsiteY4076" fmla="*/ 383412 h 6689084"/>
              <a:gd name="connsiteX4077" fmla="*/ 4768008 w 6689088"/>
              <a:gd name="connsiteY4077" fmla="*/ 339842 h 6689084"/>
              <a:gd name="connsiteX4078" fmla="*/ 4921598 w 6689088"/>
              <a:gd name="connsiteY4078" fmla="*/ 337304 h 6689084"/>
              <a:gd name="connsiteX4079" fmla="*/ 4967710 w 6689088"/>
              <a:gd name="connsiteY4079" fmla="*/ 383416 h 6689084"/>
              <a:gd name="connsiteX4080" fmla="*/ 4921598 w 6689088"/>
              <a:gd name="connsiteY4080" fmla="*/ 429529 h 6689084"/>
              <a:gd name="connsiteX4081" fmla="*/ 4875485 w 6689088"/>
              <a:gd name="connsiteY4081" fmla="*/ 383416 h 6689084"/>
              <a:gd name="connsiteX4082" fmla="*/ 4921598 w 6689088"/>
              <a:gd name="connsiteY4082" fmla="*/ 337304 h 6689084"/>
              <a:gd name="connsiteX4083" fmla="*/ 5075545 w 6689088"/>
              <a:gd name="connsiteY4083" fmla="*/ 334761 h 6689084"/>
              <a:gd name="connsiteX4084" fmla="*/ 5124196 w 6689088"/>
              <a:gd name="connsiteY4084" fmla="*/ 383416 h 6689084"/>
              <a:gd name="connsiteX4085" fmla="*/ 5075545 w 6689088"/>
              <a:gd name="connsiteY4085" fmla="*/ 432068 h 6689084"/>
              <a:gd name="connsiteX4086" fmla="*/ 5026890 w 6689088"/>
              <a:gd name="connsiteY4086" fmla="*/ 383416 h 6689084"/>
              <a:gd name="connsiteX4087" fmla="*/ 5075545 w 6689088"/>
              <a:gd name="connsiteY4087" fmla="*/ 334761 h 6689084"/>
              <a:gd name="connsiteX4088" fmla="*/ 5229126 w 6689088"/>
              <a:gd name="connsiteY4088" fmla="*/ 332219 h 6689084"/>
              <a:gd name="connsiteX4089" fmla="*/ 5280324 w 6689088"/>
              <a:gd name="connsiteY4089" fmla="*/ 383412 h 6689084"/>
              <a:gd name="connsiteX4090" fmla="*/ 5229126 w 6689088"/>
              <a:gd name="connsiteY4090" fmla="*/ 434610 h 6689084"/>
              <a:gd name="connsiteX4091" fmla="*/ 5177932 w 6689088"/>
              <a:gd name="connsiteY4091" fmla="*/ 383412 h 6689084"/>
              <a:gd name="connsiteX4092" fmla="*/ 5229126 w 6689088"/>
              <a:gd name="connsiteY4092" fmla="*/ 332219 h 6689084"/>
              <a:gd name="connsiteX4093" fmla="*/ 5383074 w 6689088"/>
              <a:gd name="connsiteY4093" fmla="*/ 330042 h 6689084"/>
              <a:gd name="connsiteX4094" fmla="*/ 5436448 w 6689088"/>
              <a:gd name="connsiteY4094" fmla="*/ 383416 h 6689084"/>
              <a:gd name="connsiteX4095" fmla="*/ 5383074 w 6689088"/>
              <a:gd name="connsiteY4095" fmla="*/ 436787 h 6689084"/>
              <a:gd name="connsiteX4096" fmla="*/ 5329700 w 6689088"/>
              <a:gd name="connsiteY4096" fmla="*/ 383416 h 6689084"/>
              <a:gd name="connsiteX4097" fmla="*/ 5383074 w 6689088"/>
              <a:gd name="connsiteY4097" fmla="*/ 330042 h 6689084"/>
              <a:gd name="connsiteX4098" fmla="*/ 5536659 w 6689088"/>
              <a:gd name="connsiteY4098" fmla="*/ 327137 h 6689084"/>
              <a:gd name="connsiteX4099" fmla="*/ 5592938 w 6689088"/>
              <a:gd name="connsiteY4099" fmla="*/ 383416 h 6689084"/>
              <a:gd name="connsiteX4100" fmla="*/ 5536659 w 6689088"/>
              <a:gd name="connsiteY4100" fmla="*/ 439691 h 6689084"/>
              <a:gd name="connsiteX4101" fmla="*/ 5480380 w 6689088"/>
              <a:gd name="connsiteY4101" fmla="*/ 383416 h 6689084"/>
              <a:gd name="connsiteX4102" fmla="*/ 5536659 w 6689088"/>
              <a:gd name="connsiteY4102" fmla="*/ 327137 h 6689084"/>
              <a:gd name="connsiteX4103" fmla="*/ 5690606 w 6689088"/>
              <a:gd name="connsiteY4103" fmla="*/ 324595 h 6689084"/>
              <a:gd name="connsiteX4104" fmla="*/ 5749424 w 6689088"/>
              <a:gd name="connsiteY4104" fmla="*/ 383416 h 6689084"/>
              <a:gd name="connsiteX4105" fmla="*/ 5690606 w 6689088"/>
              <a:gd name="connsiteY4105" fmla="*/ 442234 h 6689084"/>
              <a:gd name="connsiteX4106" fmla="*/ 5631785 w 6689088"/>
              <a:gd name="connsiteY4106" fmla="*/ 383416 h 6689084"/>
              <a:gd name="connsiteX4107" fmla="*/ 5690606 w 6689088"/>
              <a:gd name="connsiteY4107" fmla="*/ 324595 h 6689084"/>
              <a:gd name="connsiteX4108" fmla="*/ 5844554 w 6689088"/>
              <a:gd name="connsiteY4108" fmla="*/ 321690 h 6689084"/>
              <a:gd name="connsiteX4109" fmla="*/ 5906276 w 6689088"/>
              <a:gd name="connsiteY4109" fmla="*/ 383416 h 6689084"/>
              <a:gd name="connsiteX4110" fmla="*/ 5844554 w 6689088"/>
              <a:gd name="connsiteY4110" fmla="*/ 445139 h 6689084"/>
              <a:gd name="connsiteX4111" fmla="*/ 5782828 w 6689088"/>
              <a:gd name="connsiteY4111" fmla="*/ 383416 h 6689084"/>
              <a:gd name="connsiteX4112" fmla="*/ 5844554 w 6689088"/>
              <a:gd name="connsiteY4112" fmla="*/ 321690 h 6689084"/>
              <a:gd name="connsiteX4113" fmla="*/ 5998136 w 6689088"/>
              <a:gd name="connsiteY4113" fmla="*/ 319148 h 6689084"/>
              <a:gd name="connsiteX4114" fmla="*/ 6062404 w 6689088"/>
              <a:gd name="connsiteY4114" fmla="*/ 383412 h 6689084"/>
              <a:gd name="connsiteX4115" fmla="*/ 5998136 w 6689088"/>
              <a:gd name="connsiteY4115" fmla="*/ 447681 h 6689084"/>
              <a:gd name="connsiteX4116" fmla="*/ 5933870 w 6689088"/>
              <a:gd name="connsiteY4116" fmla="*/ 383412 h 6689084"/>
              <a:gd name="connsiteX4117" fmla="*/ 5998136 w 6689088"/>
              <a:gd name="connsiteY4117" fmla="*/ 319148 h 6689084"/>
              <a:gd name="connsiteX4118" fmla="*/ 6152086 w 6689088"/>
              <a:gd name="connsiteY4118" fmla="*/ 315881 h 6689084"/>
              <a:gd name="connsiteX4119" fmla="*/ 6219618 w 6689088"/>
              <a:gd name="connsiteY4119" fmla="*/ 383416 h 6689084"/>
              <a:gd name="connsiteX4120" fmla="*/ 6152086 w 6689088"/>
              <a:gd name="connsiteY4120" fmla="*/ 450948 h 6689084"/>
              <a:gd name="connsiteX4121" fmla="*/ 6084551 w 6689088"/>
              <a:gd name="connsiteY4121" fmla="*/ 383416 h 6689084"/>
              <a:gd name="connsiteX4122" fmla="*/ 6152086 w 6689088"/>
              <a:gd name="connsiteY4122" fmla="*/ 315881 h 6689084"/>
              <a:gd name="connsiteX4123" fmla="*/ 6305668 w 6689088"/>
              <a:gd name="connsiteY4123" fmla="*/ 313338 h 6689084"/>
              <a:gd name="connsiteX4124" fmla="*/ 6375746 w 6689088"/>
              <a:gd name="connsiteY4124" fmla="*/ 383412 h 6689084"/>
              <a:gd name="connsiteX4125" fmla="*/ 6305668 w 6689088"/>
              <a:gd name="connsiteY4125" fmla="*/ 453490 h 6689084"/>
              <a:gd name="connsiteX4126" fmla="*/ 6235594 w 6689088"/>
              <a:gd name="connsiteY4126" fmla="*/ 383412 h 6689084"/>
              <a:gd name="connsiteX4127" fmla="*/ 6305668 w 6689088"/>
              <a:gd name="connsiteY4127" fmla="*/ 313338 h 6689084"/>
              <a:gd name="connsiteX4128" fmla="*/ 6459616 w 6689088"/>
              <a:gd name="connsiteY4128" fmla="*/ 310434 h 6689084"/>
              <a:gd name="connsiteX4129" fmla="*/ 6532598 w 6689088"/>
              <a:gd name="connsiteY4129" fmla="*/ 383412 h 6689084"/>
              <a:gd name="connsiteX4130" fmla="*/ 6459616 w 6689088"/>
              <a:gd name="connsiteY4130" fmla="*/ 456395 h 6689084"/>
              <a:gd name="connsiteX4131" fmla="*/ 6386636 w 6689088"/>
              <a:gd name="connsiteY4131" fmla="*/ 383412 h 6689084"/>
              <a:gd name="connsiteX4132" fmla="*/ 6459616 w 6689088"/>
              <a:gd name="connsiteY4132" fmla="*/ 310434 h 6689084"/>
              <a:gd name="connsiteX4133" fmla="*/ 6613200 w 6689088"/>
              <a:gd name="connsiteY4133" fmla="*/ 307891 h 6689084"/>
              <a:gd name="connsiteX4134" fmla="*/ 6688722 w 6689088"/>
              <a:gd name="connsiteY4134" fmla="*/ 383412 h 6689084"/>
              <a:gd name="connsiteX4135" fmla="*/ 6613200 w 6689088"/>
              <a:gd name="connsiteY4135" fmla="*/ 458934 h 6689084"/>
              <a:gd name="connsiteX4136" fmla="*/ 6537680 w 6689088"/>
              <a:gd name="connsiteY4136" fmla="*/ 383412 h 6689084"/>
              <a:gd name="connsiteX4137" fmla="*/ 6613200 w 6689088"/>
              <a:gd name="connsiteY4137" fmla="*/ 307891 h 6689084"/>
              <a:gd name="connsiteX4138" fmla="*/ 923681 w 6689088"/>
              <a:gd name="connsiteY4138" fmla="*/ 229469 h 6689084"/>
              <a:gd name="connsiteX4139" fmla="*/ 924043 w 6689088"/>
              <a:gd name="connsiteY4139" fmla="*/ 229831 h 6689084"/>
              <a:gd name="connsiteX4140" fmla="*/ 923681 w 6689088"/>
              <a:gd name="connsiteY4140" fmla="*/ 230193 h 6689084"/>
              <a:gd name="connsiteX4141" fmla="*/ 923319 w 6689088"/>
              <a:gd name="connsiteY4141" fmla="*/ 229831 h 6689084"/>
              <a:gd name="connsiteX4142" fmla="*/ 923681 w 6689088"/>
              <a:gd name="connsiteY4142" fmla="*/ 229469 h 6689084"/>
              <a:gd name="connsiteX4143" fmla="*/ 462205 w 6689088"/>
              <a:gd name="connsiteY4143" fmla="*/ 229469 h 6689084"/>
              <a:gd name="connsiteX4144" fmla="*/ 462567 w 6689088"/>
              <a:gd name="connsiteY4144" fmla="*/ 229831 h 6689084"/>
              <a:gd name="connsiteX4145" fmla="*/ 462205 w 6689088"/>
              <a:gd name="connsiteY4145" fmla="*/ 230193 h 6689084"/>
              <a:gd name="connsiteX4146" fmla="*/ 461842 w 6689088"/>
              <a:gd name="connsiteY4146" fmla="*/ 229831 h 6689084"/>
              <a:gd name="connsiteX4147" fmla="*/ 462205 w 6689088"/>
              <a:gd name="connsiteY4147" fmla="*/ 229469 h 6689084"/>
              <a:gd name="connsiteX4148" fmla="*/ 308257 w 6689088"/>
              <a:gd name="connsiteY4148" fmla="*/ 229469 h 6689084"/>
              <a:gd name="connsiteX4149" fmla="*/ 308619 w 6689088"/>
              <a:gd name="connsiteY4149" fmla="*/ 229831 h 6689084"/>
              <a:gd name="connsiteX4150" fmla="*/ 308257 w 6689088"/>
              <a:gd name="connsiteY4150" fmla="*/ 230193 h 6689084"/>
              <a:gd name="connsiteX4151" fmla="*/ 307895 w 6689088"/>
              <a:gd name="connsiteY4151" fmla="*/ 229831 h 6689084"/>
              <a:gd name="connsiteX4152" fmla="*/ 308257 w 6689088"/>
              <a:gd name="connsiteY4152" fmla="*/ 229469 h 6689084"/>
              <a:gd name="connsiteX4153" fmla="*/ 154676 w 6689088"/>
              <a:gd name="connsiteY4153" fmla="*/ 229103 h 6689084"/>
              <a:gd name="connsiteX4154" fmla="*/ 155400 w 6689088"/>
              <a:gd name="connsiteY4154" fmla="*/ 229827 h 6689084"/>
              <a:gd name="connsiteX4155" fmla="*/ 154676 w 6689088"/>
              <a:gd name="connsiteY4155" fmla="*/ 230555 h 6689084"/>
              <a:gd name="connsiteX4156" fmla="*/ 153948 w 6689088"/>
              <a:gd name="connsiteY4156" fmla="*/ 229827 h 6689084"/>
              <a:gd name="connsiteX4157" fmla="*/ 154676 w 6689088"/>
              <a:gd name="connsiteY4157" fmla="*/ 229103 h 6689084"/>
              <a:gd name="connsiteX4158" fmla="*/ 725 w 6689088"/>
              <a:gd name="connsiteY4158" fmla="*/ 229103 h 6689084"/>
              <a:gd name="connsiteX4159" fmla="*/ 1453 w 6689088"/>
              <a:gd name="connsiteY4159" fmla="*/ 229827 h 6689084"/>
              <a:gd name="connsiteX4160" fmla="*/ 725 w 6689088"/>
              <a:gd name="connsiteY4160" fmla="*/ 230555 h 6689084"/>
              <a:gd name="connsiteX4161" fmla="*/ 0 w 6689088"/>
              <a:gd name="connsiteY4161" fmla="*/ 229827 h 6689084"/>
              <a:gd name="connsiteX4162" fmla="*/ 725 w 6689088"/>
              <a:gd name="connsiteY4162" fmla="*/ 229103 h 6689084"/>
              <a:gd name="connsiteX4163" fmla="*/ 1077266 w 6689088"/>
              <a:gd name="connsiteY4163" fmla="*/ 228379 h 6689084"/>
              <a:gd name="connsiteX4164" fmla="*/ 1078718 w 6689088"/>
              <a:gd name="connsiteY4164" fmla="*/ 229831 h 6689084"/>
              <a:gd name="connsiteX4165" fmla="*/ 1077266 w 6689088"/>
              <a:gd name="connsiteY4165" fmla="*/ 231283 h 6689084"/>
              <a:gd name="connsiteX4166" fmla="*/ 1075814 w 6689088"/>
              <a:gd name="connsiteY4166" fmla="*/ 229831 h 6689084"/>
              <a:gd name="connsiteX4167" fmla="*/ 1077266 w 6689088"/>
              <a:gd name="connsiteY4167" fmla="*/ 228379 h 6689084"/>
              <a:gd name="connsiteX4168" fmla="*/ 1231217 w 6689088"/>
              <a:gd name="connsiteY4168" fmla="*/ 227651 h 6689084"/>
              <a:gd name="connsiteX4169" fmla="*/ 1233394 w 6689088"/>
              <a:gd name="connsiteY4169" fmla="*/ 229827 h 6689084"/>
              <a:gd name="connsiteX4170" fmla="*/ 1231217 w 6689088"/>
              <a:gd name="connsiteY4170" fmla="*/ 232008 h 6689084"/>
              <a:gd name="connsiteX4171" fmla="*/ 1229037 w 6689088"/>
              <a:gd name="connsiteY4171" fmla="*/ 229827 h 6689084"/>
              <a:gd name="connsiteX4172" fmla="*/ 1231217 w 6689088"/>
              <a:gd name="connsiteY4172" fmla="*/ 227651 h 6689084"/>
              <a:gd name="connsiteX4173" fmla="*/ 1384799 w 6689088"/>
              <a:gd name="connsiteY4173" fmla="*/ 226560 h 6689084"/>
              <a:gd name="connsiteX4174" fmla="*/ 1388069 w 6689088"/>
              <a:gd name="connsiteY4174" fmla="*/ 229827 h 6689084"/>
              <a:gd name="connsiteX4175" fmla="*/ 1384799 w 6689088"/>
              <a:gd name="connsiteY4175" fmla="*/ 233098 h 6689084"/>
              <a:gd name="connsiteX4176" fmla="*/ 1381532 w 6689088"/>
              <a:gd name="connsiteY4176" fmla="*/ 229827 h 6689084"/>
              <a:gd name="connsiteX4177" fmla="*/ 1384799 w 6689088"/>
              <a:gd name="connsiteY4177" fmla="*/ 226560 h 6689084"/>
              <a:gd name="connsiteX4178" fmla="*/ 1538746 w 6689088"/>
              <a:gd name="connsiteY4178" fmla="*/ 225108 h 6689084"/>
              <a:gd name="connsiteX4179" fmla="*/ 1543103 w 6689088"/>
              <a:gd name="connsiteY4179" fmla="*/ 229465 h 6689084"/>
              <a:gd name="connsiteX4180" fmla="*/ 1538746 w 6689088"/>
              <a:gd name="connsiteY4180" fmla="*/ 233822 h 6689084"/>
              <a:gd name="connsiteX4181" fmla="*/ 1534389 w 6689088"/>
              <a:gd name="connsiteY4181" fmla="*/ 229465 h 6689084"/>
              <a:gd name="connsiteX4182" fmla="*/ 1538746 w 6689088"/>
              <a:gd name="connsiteY4182" fmla="*/ 225108 h 6689084"/>
              <a:gd name="connsiteX4183" fmla="*/ 1692331 w 6689088"/>
              <a:gd name="connsiteY4183" fmla="*/ 224022 h 6689084"/>
              <a:gd name="connsiteX4184" fmla="*/ 1698141 w 6689088"/>
              <a:gd name="connsiteY4184" fmla="*/ 229831 h 6689084"/>
              <a:gd name="connsiteX4185" fmla="*/ 1692331 w 6689088"/>
              <a:gd name="connsiteY4185" fmla="*/ 235640 h 6689084"/>
              <a:gd name="connsiteX4186" fmla="*/ 1686522 w 6689088"/>
              <a:gd name="connsiteY4186" fmla="*/ 229831 h 6689084"/>
              <a:gd name="connsiteX4187" fmla="*/ 1692331 w 6689088"/>
              <a:gd name="connsiteY4187" fmla="*/ 224022 h 6689084"/>
              <a:gd name="connsiteX4188" fmla="*/ 1846279 w 6689088"/>
              <a:gd name="connsiteY4188" fmla="*/ 222569 h 6689084"/>
              <a:gd name="connsiteX4189" fmla="*/ 1853540 w 6689088"/>
              <a:gd name="connsiteY4189" fmla="*/ 229831 h 6689084"/>
              <a:gd name="connsiteX4190" fmla="*/ 1846279 w 6689088"/>
              <a:gd name="connsiteY4190" fmla="*/ 237093 h 6689084"/>
              <a:gd name="connsiteX4191" fmla="*/ 1839017 w 6689088"/>
              <a:gd name="connsiteY4191" fmla="*/ 229831 h 6689084"/>
              <a:gd name="connsiteX4192" fmla="*/ 1846279 w 6689088"/>
              <a:gd name="connsiteY4192" fmla="*/ 222569 h 6689084"/>
              <a:gd name="connsiteX4193" fmla="*/ 1999860 w 6689088"/>
              <a:gd name="connsiteY4193" fmla="*/ 220389 h 6689084"/>
              <a:gd name="connsiteX4194" fmla="*/ 2008940 w 6689088"/>
              <a:gd name="connsiteY4194" fmla="*/ 229465 h 6689084"/>
              <a:gd name="connsiteX4195" fmla="*/ 1999860 w 6689088"/>
              <a:gd name="connsiteY4195" fmla="*/ 238545 h 6689084"/>
              <a:gd name="connsiteX4196" fmla="*/ 1990784 w 6689088"/>
              <a:gd name="connsiteY4196" fmla="*/ 229465 h 6689084"/>
              <a:gd name="connsiteX4197" fmla="*/ 1999860 w 6689088"/>
              <a:gd name="connsiteY4197" fmla="*/ 220389 h 6689084"/>
              <a:gd name="connsiteX4198" fmla="*/ 2153811 w 6689088"/>
              <a:gd name="connsiteY4198" fmla="*/ 219665 h 6689084"/>
              <a:gd name="connsiteX4199" fmla="*/ 2163978 w 6689088"/>
              <a:gd name="connsiteY4199" fmla="*/ 229831 h 6689084"/>
              <a:gd name="connsiteX4200" fmla="*/ 2153811 w 6689088"/>
              <a:gd name="connsiteY4200" fmla="*/ 239997 h 6689084"/>
              <a:gd name="connsiteX4201" fmla="*/ 2143645 w 6689088"/>
              <a:gd name="connsiteY4201" fmla="*/ 229831 h 6689084"/>
              <a:gd name="connsiteX4202" fmla="*/ 2153811 w 6689088"/>
              <a:gd name="connsiteY4202" fmla="*/ 219665 h 6689084"/>
              <a:gd name="connsiteX4203" fmla="*/ 2307393 w 6689088"/>
              <a:gd name="connsiteY4203" fmla="*/ 217484 h 6689084"/>
              <a:gd name="connsiteX4204" fmla="*/ 2319377 w 6689088"/>
              <a:gd name="connsiteY4204" fmla="*/ 229465 h 6689084"/>
              <a:gd name="connsiteX4205" fmla="*/ 2307393 w 6689088"/>
              <a:gd name="connsiteY4205" fmla="*/ 241450 h 6689084"/>
              <a:gd name="connsiteX4206" fmla="*/ 2295412 w 6689088"/>
              <a:gd name="connsiteY4206" fmla="*/ 229465 h 6689084"/>
              <a:gd name="connsiteX4207" fmla="*/ 2307393 w 6689088"/>
              <a:gd name="connsiteY4207" fmla="*/ 217484 h 6689084"/>
              <a:gd name="connsiteX4208" fmla="*/ 2461344 w 6689088"/>
              <a:gd name="connsiteY4208" fmla="*/ 215670 h 6689084"/>
              <a:gd name="connsiteX4209" fmla="*/ 2475139 w 6689088"/>
              <a:gd name="connsiteY4209" fmla="*/ 229469 h 6689084"/>
              <a:gd name="connsiteX4210" fmla="*/ 2461344 w 6689088"/>
              <a:gd name="connsiteY4210" fmla="*/ 243264 h 6689084"/>
              <a:gd name="connsiteX4211" fmla="*/ 2447545 w 6689088"/>
              <a:gd name="connsiteY4211" fmla="*/ 229469 h 6689084"/>
              <a:gd name="connsiteX4212" fmla="*/ 2461344 w 6689088"/>
              <a:gd name="connsiteY4212" fmla="*/ 215670 h 6689084"/>
              <a:gd name="connsiteX4213" fmla="*/ 2614925 w 6689088"/>
              <a:gd name="connsiteY4213" fmla="*/ 214580 h 6689084"/>
              <a:gd name="connsiteX4214" fmla="*/ 2630177 w 6689088"/>
              <a:gd name="connsiteY4214" fmla="*/ 229827 h 6689084"/>
              <a:gd name="connsiteX4215" fmla="*/ 2614925 w 6689088"/>
              <a:gd name="connsiteY4215" fmla="*/ 245079 h 6689084"/>
              <a:gd name="connsiteX4216" fmla="*/ 2599678 w 6689088"/>
              <a:gd name="connsiteY4216" fmla="*/ 229827 h 6689084"/>
              <a:gd name="connsiteX4217" fmla="*/ 2614925 w 6689088"/>
              <a:gd name="connsiteY4217" fmla="*/ 214580 h 6689084"/>
              <a:gd name="connsiteX4218" fmla="*/ 2768873 w 6689088"/>
              <a:gd name="connsiteY4218" fmla="*/ 212765 h 6689084"/>
              <a:gd name="connsiteX4219" fmla="*/ 2785939 w 6689088"/>
              <a:gd name="connsiteY4219" fmla="*/ 229831 h 6689084"/>
              <a:gd name="connsiteX4220" fmla="*/ 2768873 w 6689088"/>
              <a:gd name="connsiteY4220" fmla="*/ 246897 h 6689084"/>
              <a:gd name="connsiteX4221" fmla="*/ 2751807 w 6689088"/>
              <a:gd name="connsiteY4221" fmla="*/ 229831 h 6689084"/>
              <a:gd name="connsiteX4222" fmla="*/ 2768873 w 6689088"/>
              <a:gd name="connsiteY4222" fmla="*/ 212765 h 6689084"/>
              <a:gd name="connsiteX4223" fmla="*/ 2922458 w 6689088"/>
              <a:gd name="connsiteY4223" fmla="*/ 210589 h 6689084"/>
              <a:gd name="connsiteX4224" fmla="*/ 2941700 w 6689088"/>
              <a:gd name="connsiteY4224" fmla="*/ 229831 h 6689084"/>
              <a:gd name="connsiteX4225" fmla="*/ 2922458 w 6689088"/>
              <a:gd name="connsiteY4225" fmla="*/ 249077 h 6689084"/>
              <a:gd name="connsiteX4226" fmla="*/ 2903216 w 6689088"/>
              <a:gd name="connsiteY4226" fmla="*/ 229831 h 6689084"/>
              <a:gd name="connsiteX4227" fmla="*/ 2922458 w 6689088"/>
              <a:gd name="connsiteY4227" fmla="*/ 210589 h 6689084"/>
              <a:gd name="connsiteX4228" fmla="*/ 3076406 w 6689088"/>
              <a:gd name="connsiteY4228" fmla="*/ 208408 h 6689084"/>
              <a:gd name="connsiteX4229" fmla="*/ 3097828 w 6689088"/>
              <a:gd name="connsiteY4229" fmla="*/ 229831 h 6689084"/>
              <a:gd name="connsiteX4230" fmla="*/ 3076406 w 6689088"/>
              <a:gd name="connsiteY4230" fmla="*/ 251254 h 6689084"/>
              <a:gd name="connsiteX4231" fmla="*/ 3054982 w 6689088"/>
              <a:gd name="connsiteY4231" fmla="*/ 229831 h 6689084"/>
              <a:gd name="connsiteX4232" fmla="*/ 3076406 w 6689088"/>
              <a:gd name="connsiteY4232" fmla="*/ 208408 h 6689084"/>
              <a:gd name="connsiteX4233" fmla="*/ 3230353 w 6689088"/>
              <a:gd name="connsiteY4233" fmla="*/ 206956 h 6689084"/>
              <a:gd name="connsiteX4234" fmla="*/ 3253228 w 6689088"/>
              <a:gd name="connsiteY4234" fmla="*/ 229831 h 6689084"/>
              <a:gd name="connsiteX4235" fmla="*/ 3230353 w 6689088"/>
              <a:gd name="connsiteY4235" fmla="*/ 252706 h 6689084"/>
              <a:gd name="connsiteX4236" fmla="*/ 3207478 w 6689088"/>
              <a:gd name="connsiteY4236" fmla="*/ 229831 h 6689084"/>
              <a:gd name="connsiteX4237" fmla="*/ 3230353 w 6689088"/>
              <a:gd name="connsiteY4237" fmla="*/ 206956 h 6689084"/>
              <a:gd name="connsiteX4238" fmla="*/ 3383934 w 6689088"/>
              <a:gd name="connsiteY4238" fmla="*/ 204779 h 6689084"/>
              <a:gd name="connsiteX4239" fmla="*/ 3408986 w 6689088"/>
              <a:gd name="connsiteY4239" fmla="*/ 229831 h 6689084"/>
              <a:gd name="connsiteX4240" fmla="*/ 3383934 w 6689088"/>
              <a:gd name="connsiteY4240" fmla="*/ 254887 h 6689084"/>
              <a:gd name="connsiteX4241" fmla="*/ 3358882 w 6689088"/>
              <a:gd name="connsiteY4241" fmla="*/ 229831 h 6689084"/>
              <a:gd name="connsiteX4242" fmla="*/ 3383934 w 6689088"/>
              <a:gd name="connsiteY4242" fmla="*/ 204779 h 6689084"/>
              <a:gd name="connsiteX4243" fmla="*/ 3537886 w 6689088"/>
              <a:gd name="connsiteY4243" fmla="*/ 202599 h 6689084"/>
              <a:gd name="connsiteX4244" fmla="*/ 3565118 w 6689088"/>
              <a:gd name="connsiteY4244" fmla="*/ 229831 h 6689084"/>
              <a:gd name="connsiteX4245" fmla="*/ 3537886 w 6689088"/>
              <a:gd name="connsiteY4245" fmla="*/ 257059 h 6689084"/>
              <a:gd name="connsiteX4246" fmla="*/ 3510653 w 6689088"/>
              <a:gd name="connsiteY4246" fmla="*/ 229831 h 6689084"/>
              <a:gd name="connsiteX4247" fmla="*/ 3537886 w 6689088"/>
              <a:gd name="connsiteY4247" fmla="*/ 202599 h 6689084"/>
              <a:gd name="connsiteX4248" fmla="*/ 3691467 w 6689088"/>
              <a:gd name="connsiteY4248" fmla="*/ 200056 h 6689084"/>
              <a:gd name="connsiteX4249" fmla="*/ 3721242 w 6689088"/>
              <a:gd name="connsiteY4249" fmla="*/ 229827 h 6689084"/>
              <a:gd name="connsiteX4250" fmla="*/ 3691467 w 6689088"/>
              <a:gd name="connsiteY4250" fmla="*/ 259602 h 6689084"/>
              <a:gd name="connsiteX4251" fmla="*/ 3661696 w 6689088"/>
              <a:gd name="connsiteY4251" fmla="*/ 229827 h 6689084"/>
              <a:gd name="connsiteX4252" fmla="*/ 3691467 w 6689088"/>
              <a:gd name="connsiteY4252" fmla="*/ 200056 h 6689084"/>
              <a:gd name="connsiteX4253" fmla="*/ 3845414 w 6689088"/>
              <a:gd name="connsiteY4253" fmla="*/ 197880 h 6689084"/>
              <a:gd name="connsiteX4254" fmla="*/ 3877366 w 6689088"/>
              <a:gd name="connsiteY4254" fmla="*/ 229831 h 6689084"/>
              <a:gd name="connsiteX4255" fmla="*/ 3845414 w 6689088"/>
              <a:gd name="connsiteY4255" fmla="*/ 261782 h 6689084"/>
              <a:gd name="connsiteX4256" fmla="*/ 3813463 w 6689088"/>
              <a:gd name="connsiteY4256" fmla="*/ 229831 h 6689084"/>
              <a:gd name="connsiteX4257" fmla="*/ 3845414 w 6689088"/>
              <a:gd name="connsiteY4257" fmla="*/ 197880 h 6689084"/>
              <a:gd name="connsiteX4258" fmla="*/ 3999000 w 6689088"/>
              <a:gd name="connsiteY4258" fmla="*/ 196065 h 6689084"/>
              <a:gd name="connsiteX4259" fmla="*/ 4032769 w 6689088"/>
              <a:gd name="connsiteY4259" fmla="*/ 229831 h 6689084"/>
              <a:gd name="connsiteX4260" fmla="*/ 3999000 w 6689088"/>
              <a:gd name="connsiteY4260" fmla="*/ 263597 h 6689084"/>
              <a:gd name="connsiteX4261" fmla="*/ 3965234 w 6689088"/>
              <a:gd name="connsiteY4261" fmla="*/ 229831 h 6689084"/>
              <a:gd name="connsiteX4262" fmla="*/ 3999000 w 6689088"/>
              <a:gd name="connsiteY4262" fmla="*/ 196065 h 6689084"/>
              <a:gd name="connsiteX4263" fmla="*/ 4152947 w 6689088"/>
              <a:gd name="connsiteY4263" fmla="*/ 193523 h 6689084"/>
              <a:gd name="connsiteX4264" fmla="*/ 4189256 w 6689088"/>
              <a:gd name="connsiteY4264" fmla="*/ 229831 h 6689084"/>
              <a:gd name="connsiteX4265" fmla="*/ 4152947 w 6689088"/>
              <a:gd name="connsiteY4265" fmla="*/ 266139 h 6689084"/>
              <a:gd name="connsiteX4266" fmla="*/ 4116638 w 6689088"/>
              <a:gd name="connsiteY4266" fmla="*/ 229831 h 6689084"/>
              <a:gd name="connsiteX4267" fmla="*/ 4152947 w 6689088"/>
              <a:gd name="connsiteY4267" fmla="*/ 193523 h 6689084"/>
              <a:gd name="connsiteX4268" fmla="*/ 4306532 w 6689088"/>
              <a:gd name="connsiteY4268" fmla="*/ 190618 h 6689084"/>
              <a:gd name="connsiteX4269" fmla="*/ 4345380 w 6689088"/>
              <a:gd name="connsiteY4269" fmla="*/ 229469 h 6689084"/>
              <a:gd name="connsiteX4270" fmla="*/ 4306532 w 6689088"/>
              <a:gd name="connsiteY4270" fmla="*/ 268316 h 6689084"/>
              <a:gd name="connsiteX4271" fmla="*/ 4267682 w 6689088"/>
              <a:gd name="connsiteY4271" fmla="*/ 229469 h 6689084"/>
              <a:gd name="connsiteX4272" fmla="*/ 4306532 w 6689088"/>
              <a:gd name="connsiteY4272" fmla="*/ 190618 h 6689084"/>
              <a:gd name="connsiteX4273" fmla="*/ 4460480 w 6689088"/>
              <a:gd name="connsiteY4273" fmla="*/ 188438 h 6689084"/>
              <a:gd name="connsiteX4274" fmla="*/ 4501511 w 6689088"/>
              <a:gd name="connsiteY4274" fmla="*/ 229465 h 6689084"/>
              <a:gd name="connsiteX4275" fmla="*/ 4460480 w 6689088"/>
              <a:gd name="connsiteY4275" fmla="*/ 270493 h 6689084"/>
              <a:gd name="connsiteX4276" fmla="*/ 4419452 w 6689088"/>
              <a:gd name="connsiteY4276" fmla="*/ 229465 h 6689084"/>
              <a:gd name="connsiteX4277" fmla="*/ 4460480 w 6689088"/>
              <a:gd name="connsiteY4277" fmla="*/ 188438 h 6689084"/>
              <a:gd name="connsiteX4278" fmla="*/ 4614065 w 6689088"/>
              <a:gd name="connsiteY4278" fmla="*/ 185895 h 6689084"/>
              <a:gd name="connsiteX4279" fmla="*/ 4657635 w 6689088"/>
              <a:gd name="connsiteY4279" fmla="*/ 229465 h 6689084"/>
              <a:gd name="connsiteX4280" fmla="*/ 4614065 w 6689088"/>
              <a:gd name="connsiteY4280" fmla="*/ 273035 h 6689084"/>
              <a:gd name="connsiteX4281" fmla="*/ 4570495 w 6689088"/>
              <a:gd name="connsiteY4281" fmla="*/ 229465 h 6689084"/>
              <a:gd name="connsiteX4282" fmla="*/ 4614065 w 6689088"/>
              <a:gd name="connsiteY4282" fmla="*/ 185895 h 6689084"/>
              <a:gd name="connsiteX4283" fmla="*/ 4768012 w 6689088"/>
              <a:gd name="connsiteY4283" fmla="*/ 183356 h 6689084"/>
              <a:gd name="connsiteX4284" fmla="*/ 4814125 w 6689088"/>
              <a:gd name="connsiteY4284" fmla="*/ 229469 h 6689084"/>
              <a:gd name="connsiteX4285" fmla="*/ 4768012 w 6689088"/>
              <a:gd name="connsiteY4285" fmla="*/ 275581 h 6689084"/>
              <a:gd name="connsiteX4286" fmla="*/ 4721900 w 6689088"/>
              <a:gd name="connsiteY4286" fmla="*/ 229469 h 6689084"/>
              <a:gd name="connsiteX4287" fmla="*/ 4768012 w 6689088"/>
              <a:gd name="connsiteY4287" fmla="*/ 183356 h 6689084"/>
              <a:gd name="connsiteX4288" fmla="*/ 4921594 w 6689088"/>
              <a:gd name="connsiteY4288" fmla="*/ 180814 h 6689084"/>
              <a:gd name="connsiteX4289" fmla="*/ 4970249 w 6689088"/>
              <a:gd name="connsiteY4289" fmla="*/ 229469 h 6689084"/>
              <a:gd name="connsiteX4290" fmla="*/ 4921594 w 6689088"/>
              <a:gd name="connsiteY4290" fmla="*/ 278120 h 6689084"/>
              <a:gd name="connsiteX4291" fmla="*/ 4872942 w 6689088"/>
              <a:gd name="connsiteY4291" fmla="*/ 229469 h 6689084"/>
              <a:gd name="connsiteX4292" fmla="*/ 4921594 w 6689088"/>
              <a:gd name="connsiteY4292" fmla="*/ 180814 h 6689084"/>
              <a:gd name="connsiteX4293" fmla="*/ 5075541 w 6689088"/>
              <a:gd name="connsiteY4293" fmla="*/ 178637 h 6689084"/>
              <a:gd name="connsiteX4294" fmla="*/ 5126735 w 6689088"/>
              <a:gd name="connsiteY4294" fmla="*/ 229831 h 6689084"/>
              <a:gd name="connsiteX4295" fmla="*/ 5075541 w 6689088"/>
              <a:gd name="connsiteY4295" fmla="*/ 281025 h 6689084"/>
              <a:gd name="connsiteX4296" fmla="*/ 5024348 w 6689088"/>
              <a:gd name="connsiteY4296" fmla="*/ 229831 h 6689084"/>
              <a:gd name="connsiteX4297" fmla="*/ 5075541 w 6689088"/>
              <a:gd name="connsiteY4297" fmla="*/ 178637 h 6689084"/>
              <a:gd name="connsiteX4298" fmla="*/ 5229126 w 6689088"/>
              <a:gd name="connsiteY4298" fmla="*/ 176095 h 6689084"/>
              <a:gd name="connsiteX4299" fmla="*/ 5282500 w 6689088"/>
              <a:gd name="connsiteY4299" fmla="*/ 229469 h 6689084"/>
              <a:gd name="connsiteX4300" fmla="*/ 5229126 w 6689088"/>
              <a:gd name="connsiteY4300" fmla="*/ 282843 h 6689084"/>
              <a:gd name="connsiteX4301" fmla="*/ 5175752 w 6689088"/>
              <a:gd name="connsiteY4301" fmla="*/ 229469 h 6689084"/>
              <a:gd name="connsiteX4302" fmla="*/ 5229126 w 6689088"/>
              <a:gd name="connsiteY4302" fmla="*/ 176095 h 6689084"/>
              <a:gd name="connsiteX4303" fmla="*/ 5383074 w 6689088"/>
              <a:gd name="connsiteY4303" fmla="*/ 173552 h 6689084"/>
              <a:gd name="connsiteX4304" fmla="*/ 5439352 w 6689088"/>
              <a:gd name="connsiteY4304" fmla="*/ 229831 h 6689084"/>
              <a:gd name="connsiteX4305" fmla="*/ 5383074 w 6689088"/>
              <a:gd name="connsiteY4305" fmla="*/ 286110 h 6689084"/>
              <a:gd name="connsiteX4306" fmla="*/ 5326795 w 6689088"/>
              <a:gd name="connsiteY4306" fmla="*/ 229831 h 6689084"/>
              <a:gd name="connsiteX4307" fmla="*/ 5383074 w 6689088"/>
              <a:gd name="connsiteY4307" fmla="*/ 173552 h 6689084"/>
              <a:gd name="connsiteX4308" fmla="*/ 5536659 w 6689088"/>
              <a:gd name="connsiteY4308" fmla="*/ 171010 h 6689084"/>
              <a:gd name="connsiteX4309" fmla="*/ 5595476 w 6689088"/>
              <a:gd name="connsiteY4309" fmla="*/ 229827 h 6689084"/>
              <a:gd name="connsiteX4310" fmla="*/ 5536659 w 6689088"/>
              <a:gd name="connsiteY4310" fmla="*/ 288649 h 6689084"/>
              <a:gd name="connsiteX4311" fmla="*/ 5477838 w 6689088"/>
              <a:gd name="connsiteY4311" fmla="*/ 229827 h 6689084"/>
              <a:gd name="connsiteX4312" fmla="*/ 5536659 w 6689088"/>
              <a:gd name="connsiteY4312" fmla="*/ 171010 h 6689084"/>
              <a:gd name="connsiteX4313" fmla="*/ 5690606 w 6689088"/>
              <a:gd name="connsiteY4313" fmla="*/ 168105 h 6689084"/>
              <a:gd name="connsiteX4314" fmla="*/ 5752329 w 6689088"/>
              <a:gd name="connsiteY4314" fmla="*/ 229827 h 6689084"/>
              <a:gd name="connsiteX4315" fmla="*/ 5690606 w 6689088"/>
              <a:gd name="connsiteY4315" fmla="*/ 291553 h 6689084"/>
              <a:gd name="connsiteX4316" fmla="*/ 5628880 w 6689088"/>
              <a:gd name="connsiteY4316" fmla="*/ 229827 h 6689084"/>
              <a:gd name="connsiteX4317" fmla="*/ 5690606 w 6689088"/>
              <a:gd name="connsiteY4317" fmla="*/ 168105 h 6689084"/>
              <a:gd name="connsiteX4318" fmla="*/ 5844554 w 6689088"/>
              <a:gd name="connsiteY4318" fmla="*/ 165566 h 6689084"/>
              <a:gd name="connsiteX4319" fmla="*/ 5908822 w 6689088"/>
              <a:gd name="connsiteY4319" fmla="*/ 229831 h 6689084"/>
              <a:gd name="connsiteX4320" fmla="*/ 5844554 w 6689088"/>
              <a:gd name="connsiteY4320" fmla="*/ 294100 h 6689084"/>
              <a:gd name="connsiteX4321" fmla="*/ 5780289 w 6689088"/>
              <a:gd name="connsiteY4321" fmla="*/ 229831 h 6689084"/>
              <a:gd name="connsiteX4322" fmla="*/ 5844554 w 6689088"/>
              <a:gd name="connsiteY4322" fmla="*/ 165566 h 6689084"/>
              <a:gd name="connsiteX4323" fmla="*/ 5998136 w 6689088"/>
              <a:gd name="connsiteY4323" fmla="*/ 162296 h 6689084"/>
              <a:gd name="connsiteX4324" fmla="*/ 6065671 w 6689088"/>
              <a:gd name="connsiteY4324" fmla="*/ 229831 h 6689084"/>
              <a:gd name="connsiteX4325" fmla="*/ 5998136 w 6689088"/>
              <a:gd name="connsiteY4325" fmla="*/ 297363 h 6689084"/>
              <a:gd name="connsiteX4326" fmla="*/ 5930604 w 6689088"/>
              <a:gd name="connsiteY4326" fmla="*/ 229827 h 6689084"/>
              <a:gd name="connsiteX4327" fmla="*/ 5998136 w 6689088"/>
              <a:gd name="connsiteY4327" fmla="*/ 162296 h 6689084"/>
              <a:gd name="connsiteX4328" fmla="*/ 6152086 w 6689088"/>
              <a:gd name="connsiteY4328" fmla="*/ 159757 h 6689084"/>
              <a:gd name="connsiteX4329" fmla="*/ 6222160 w 6689088"/>
              <a:gd name="connsiteY4329" fmla="*/ 229831 h 6689084"/>
              <a:gd name="connsiteX4330" fmla="*/ 6152086 w 6689088"/>
              <a:gd name="connsiteY4330" fmla="*/ 299909 h 6689084"/>
              <a:gd name="connsiteX4331" fmla="*/ 6082008 w 6689088"/>
              <a:gd name="connsiteY4331" fmla="*/ 229831 h 6689084"/>
              <a:gd name="connsiteX4332" fmla="*/ 6152086 w 6689088"/>
              <a:gd name="connsiteY4332" fmla="*/ 159757 h 6689084"/>
              <a:gd name="connsiteX4333" fmla="*/ 6305668 w 6689088"/>
              <a:gd name="connsiteY4333" fmla="*/ 156852 h 6689084"/>
              <a:gd name="connsiteX4334" fmla="*/ 6378650 w 6689088"/>
              <a:gd name="connsiteY4334" fmla="*/ 229831 h 6689084"/>
              <a:gd name="connsiteX4335" fmla="*/ 6305668 w 6689088"/>
              <a:gd name="connsiteY4335" fmla="*/ 302814 h 6689084"/>
              <a:gd name="connsiteX4336" fmla="*/ 6232689 w 6689088"/>
              <a:gd name="connsiteY4336" fmla="*/ 229831 h 6689084"/>
              <a:gd name="connsiteX4337" fmla="*/ 6305668 w 6689088"/>
              <a:gd name="connsiteY4337" fmla="*/ 156852 h 6689084"/>
              <a:gd name="connsiteX4338" fmla="*/ 6613200 w 6689088"/>
              <a:gd name="connsiteY4338" fmla="*/ 153947 h 6689084"/>
              <a:gd name="connsiteX4339" fmla="*/ 6689088 w 6689088"/>
              <a:gd name="connsiteY4339" fmla="*/ 229831 h 6689084"/>
              <a:gd name="connsiteX4340" fmla="*/ 6613200 w 6689088"/>
              <a:gd name="connsiteY4340" fmla="*/ 305718 h 6689084"/>
              <a:gd name="connsiteX4341" fmla="*/ 6537317 w 6689088"/>
              <a:gd name="connsiteY4341" fmla="*/ 229831 h 6689084"/>
              <a:gd name="connsiteX4342" fmla="*/ 6613200 w 6689088"/>
              <a:gd name="connsiteY4342" fmla="*/ 153947 h 6689084"/>
              <a:gd name="connsiteX4343" fmla="*/ 6459616 w 6689088"/>
              <a:gd name="connsiteY4343" fmla="*/ 153944 h 6689084"/>
              <a:gd name="connsiteX4344" fmla="*/ 6535137 w 6689088"/>
              <a:gd name="connsiteY4344" fmla="*/ 229465 h 6689084"/>
              <a:gd name="connsiteX4345" fmla="*/ 6459616 w 6689088"/>
              <a:gd name="connsiteY4345" fmla="*/ 304986 h 6689084"/>
              <a:gd name="connsiteX4346" fmla="*/ 6384094 w 6689088"/>
              <a:gd name="connsiteY4346" fmla="*/ 229465 h 6689084"/>
              <a:gd name="connsiteX4347" fmla="*/ 6459616 w 6689088"/>
              <a:gd name="connsiteY4347" fmla="*/ 153944 h 6689084"/>
              <a:gd name="connsiteX4348" fmla="*/ 923681 w 6689088"/>
              <a:gd name="connsiteY4348" fmla="*/ 75518 h 6689084"/>
              <a:gd name="connsiteX4349" fmla="*/ 924043 w 6689088"/>
              <a:gd name="connsiteY4349" fmla="*/ 75880 h 6689084"/>
              <a:gd name="connsiteX4350" fmla="*/ 923681 w 6689088"/>
              <a:gd name="connsiteY4350" fmla="*/ 76242 h 6689084"/>
              <a:gd name="connsiteX4351" fmla="*/ 923319 w 6689088"/>
              <a:gd name="connsiteY4351" fmla="*/ 75880 h 6689084"/>
              <a:gd name="connsiteX4352" fmla="*/ 923681 w 6689088"/>
              <a:gd name="connsiteY4352" fmla="*/ 75518 h 6689084"/>
              <a:gd name="connsiteX4353" fmla="*/ 462205 w 6689088"/>
              <a:gd name="connsiteY4353" fmla="*/ 75518 h 6689084"/>
              <a:gd name="connsiteX4354" fmla="*/ 462567 w 6689088"/>
              <a:gd name="connsiteY4354" fmla="*/ 75880 h 6689084"/>
              <a:gd name="connsiteX4355" fmla="*/ 462205 w 6689088"/>
              <a:gd name="connsiteY4355" fmla="*/ 76242 h 6689084"/>
              <a:gd name="connsiteX4356" fmla="*/ 461842 w 6689088"/>
              <a:gd name="connsiteY4356" fmla="*/ 75880 h 6689084"/>
              <a:gd name="connsiteX4357" fmla="*/ 462205 w 6689088"/>
              <a:gd name="connsiteY4357" fmla="*/ 75518 h 6689084"/>
              <a:gd name="connsiteX4358" fmla="*/ 308257 w 6689088"/>
              <a:gd name="connsiteY4358" fmla="*/ 75518 h 6689084"/>
              <a:gd name="connsiteX4359" fmla="*/ 308619 w 6689088"/>
              <a:gd name="connsiteY4359" fmla="*/ 75880 h 6689084"/>
              <a:gd name="connsiteX4360" fmla="*/ 308257 w 6689088"/>
              <a:gd name="connsiteY4360" fmla="*/ 76242 h 6689084"/>
              <a:gd name="connsiteX4361" fmla="*/ 307895 w 6689088"/>
              <a:gd name="connsiteY4361" fmla="*/ 75880 h 6689084"/>
              <a:gd name="connsiteX4362" fmla="*/ 308257 w 6689088"/>
              <a:gd name="connsiteY4362" fmla="*/ 75518 h 6689084"/>
              <a:gd name="connsiteX4363" fmla="*/ 154676 w 6689088"/>
              <a:gd name="connsiteY4363" fmla="*/ 75155 h 6689084"/>
              <a:gd name="connsiteX4364" fmla="*/ 155400 w 6689088"/>
              <a:gd name="connsiteY4364" fmla="*/ 75880 h 6689084"/>
              <a:gd name="connsiteX4365" fmla="*/ 154676 w 6689088"/>
              <a:gd name="connsiteY4365" fmla="*/ 76608 h 6689084"/>
              <a:gd name="connsiteX4366" fmla="*/ 153948 w 6689088"/>
              <a:gd name="connsiteY4366" fmla="*/ 75880 h 6689084"/>
              <a:gd name="connsiteX4367" fmla="*/ 154676 w 6689088"/>
              <a:gd name="connsiteY4367" fmla="*/ 75155 h 6689084"/>
              <a:gd name="connsiteX4368" fmla="*/ 725 w 6689088"/>
              <a:gd name="connsiteY4368" fmla="*/ 75155 h 6689084"/>
              <a:gd name="connsiteX4369" fmla="*/ 1453 w 6689088"/>
              <a:gd name="connsiteY4369" fmla="*/ 75880 h 6689084"/>
              <a:gd name="connsiteX4370" fmla="*/ 725 w 6689088"/>
              <a:gd name="connsiteY4370" fmla="*/ 76608 h 6689084"/>
              <a:gd name="connsiteX4371" fmla="*/ 0 w 6689088"/>
              <a:gd name="connsiteY4371" fmla="*/ 75880 h 6689084"/>
              <a:gd name="connsiteX4372" fmla="*/ 725 w 6689088"/>
              <a:gd name="connsiteY4372" fmla="*/ 75155 h 6689084"/>
              <a:gd name="connsiteX4373" fmla="*/ 1077266 w 6689088"/>
              <a:gd name="connsiteY4373" fmla="*/ 74431 h 6689084"/>
              <a:gd name="connsiteX4374" fmla="*/ 1078718 w 6689088"/>
              <a:gd name="connsiteY4374" fmla="*/ 75884 h 6689084"/>
              <a:gd name="connsiteX4375" fmla="*/ 1077266 w 6689088"/>
              <a:gd name="connsiteY4375" fmla="*/ 77336 h 6689084"/>
              <a:gd name="connsiteX4376" fmla="*/ 1075814 w 6689088"/>
              <a:gd name="connsiteY4376" fmla="*/ 75884 h 6689084"/>
              <a:gd name="connsiteX4377" fmla="*/ 1077266 w 6689088"/>
              <a:gd name="connsiteY4377" fmla="*/ 74431 h 6689084"/>
              <a:gd name="connsiteX4378" fmla="*/ 1231217 w 6689088"/>
              <a:gd name="connsiteY4378" fmla="*/ 73703 h 6689084"/>
              <a:gd name="connsiteX4379" fmla="*/ 1233394 w 6689088"/>
              <a:gd name="connsiteY4379" fmla="*/ 75880 h 6689084"/>
              <a:gd name="connsiteX4380" fmla="*/ 1231217 w 6689088"/>
              <a:gd name="connsiteY4380" fmla="*/ 78060 h 6689084"/>
              <a:gd name="connsiteX4381" fmla="*/ 1229037 w 6689088"/>
              <a:gd name="connsiteY4381" fmla="*/ 75880 h 6689084"/>
              <a:gd name="connsiteX4382" fmla="*/ 1231217 w 6689088"/>
              <a:gd name="connsiteY4382" fmla="*/ 73703 h 6689084"/>
              <a:gd name="connsiteX4383" fmla="*/ 1384799 w 6689088"/>
              <a:gd name="connsiteY4383" fmla="*/ 72617 h 6689084"/>
              <a:gd name="connsiteX4384" fmla="*/ 1388069 w 6689088"/>
              <a:gd name="connsiteY4384" fmla="*/ 75884 h 6689084"/>
              <a:gd name="connsiteX4385" fmla="*/ 1384799 w 6689088"/>
              <a:gd name="connsiteY4385" fmla="*/ 79154 h 6689084"/>
              <a:gd name="connsiteX4386" fmla="*/ 1381532 w 6689088"/>
              <a:gd name="connsiteY4386" fmla="*/ 75884 h 6689084"/>
              <a:gd name="connsiteX4387" fmla="*/ 1384799 w 6689088"/>
              <a:gd name="connsiteY4387" fmla="*/ 72617 h 6689084"/>
              <a:gd name="connsiteX4388" fmla="*/ 1538746 w 6689088"/>
              <a:gd name="connsiteY4388" fmla="*/ 71527 h 6689084"/>
              <a:gd name="connsiteX4389" fmla="*/ 1543103 w 6689088"/>
              <a:gd name="connsiteY4389" fmla="*/ 75884 h 6689084"/>
              <a:gd name="connsiteX4390" fmla="*/ 1538746 w 6689088"/>
              <a:gd name="connsiteY4390" fmla="*/ 80241 h 6689084"/>
              <a:gd name="connsiteX4391" fmla="*/ 1534389 w 6689088"/>
              <a:gd name="connsiteY4391" fmla="*/ 75884 h 6689084"/>
              <a:gd name="connsiteX4392" fmla="*/ 1538746 w 6689088"/>
              <a:gd name="connsiteY4392" fmla="*/ 71527 h 6689084"/>
              <a:gd name="connsiteX4393" fmla="*/ 1692331 w 6689088"/>
              <a:gd name="connsiteY4393" fmla="*/ 70074 h 6689084"/>
              <a:gd name="connsiteX4394" fmla="*/ 1698141 w 6689088"/>
              <a:gd name="connsiteY4394" fmla="*/ 75884 h 6689084"/>
              <a:gd name="connsiteX4395" fmla="*/ 1692331 w 6689088"/>
              <a:gd name="connsiteY4395" fmla="*/ 81693 h 6689084"/>
              <a:gd name="connsiteX4396" fmla="*/ 1686522 w 6689088"/>
              <a:gd name="connsiteY4396" fmla="*/ 75884 h 6689084"/>
              <a:gd name="connsiteX4397" fmla="*/ 1692331 w 6689088"/>
              <a:gd name="connsiteY4397" fmla="*/ 70074 h 6689084"/>
              <a:gd name="connsiteX4398" fmla="*/ 1846279 w 6689088"/>
              <a:gd name="connsiteY4398" fmla="*/ 68622 h 6689084"/>
              <a:gd name="connsiteX4399" fmla="*/ 1853540 w 6689088"/>
              <a:gd name="connsiteY4399" fmla="*/ 75884 h 6689084"/>
              <a:gd name="connsiteX4400" fmla="*/ 1846279 w 6689088"/>
              <a:gd name="connsiteY4400" fmla="*/ 83145 h 6689084"/>
              <a:gd name="connsiteX4401" fmla="*/ 1839017 w 6689088"/>
              <a:gd name="connsiteY4401" fmla="*/ 75884 h 6689084"/>
              <a:gd name="connsiteX4402" fmla="*/ 1846279 w 6689088"/>
              <a:gd name="connsiteY4402" fmla="*/ 68622 h 6689084"/>
              <a:gd name="connsiteX4403" fmla="*/ 1999860 w 6689088"/>
              <a:gd name="connsiteY4403" fmla="*/ 66807 h 6689084"/>
              <a:gd name="connsiteX4404" fmla="*/ 2008940 w 6689088"/>
              <a:gd name="connsiteY4404" fmla="*/ 75884 h 6689084"/>
              <a:gd name="connsiteX4405" fmla="*/ 1999860 w 6689088"/>
              <a:gd name="connsiteY4405" fmla="*/ 84960 h 6689084"/>
              <a:gd name="connsiteX4406" fmla="*/ 1990784 w 6689088"/>
              <a:gd name="connsiteY4406" fmla="*/ 75884 h 6689084"/>
              <a:gd name="connsiteX4407" fmla="*/ 1999860 w 6689088"/>
              <a:gd name="connsiteY4407" fmla="*/ 66807 h 6689084"/>
              <a:gd name="connsiteX4408" fmla="*/ 2153811 w 6689088"/>
              <a:gd name="connsiteY4408" fmla="*/ 65717 h 6689084"/>
              <a:gd name="connsiteX4409" fmla="*/ 2163978 w 6689088"/>
              <a:gd name="connsiteY4409" fmla="*/ 75884 h 6689084"/>
              <a:gd name="connsiteX4410" fmla="*/ 2153811 w 6689088"/>
              <a:gd name="connsiteY4410" fmla="*/ 86050 h 6689084"/>
              <a:gd name="connsiteX4411" fmla="*/ 2143645 w 6689088"/>
              <a:gd name="connsiteY4411" fmla="*/ 75884 h 6689084"/>
              <a:gd name="connsiteX4412" fmla="*/ 2153811 w 6689088"/>
              <a:gd name="connsiteY4412" fmla="*/ 65717 h 6689084"/>
              <a:gd name="connsiteX4413" fmla="*/ 2307393 w 6689088"/>
              <a:gd name="connsiteY4413" fmla="*/ 63899 h 6689084"/>
              <a:gd name="connsiteX4414" fmla="*/ 2319377 w 6689088"/>
              <a:gd name="connsiteY4414" fmla="*/ 75880 h 6689084"/>
              <a:gd name="connsiteX4415" fmla="*/ 2307393 w 6689088"/>
              <a:gd name="connsiteY4415" fmla="*/ 87864 h 6689084"/>
              <a:gd name="connsiteX4416" fmla="*/ 2295412 w 6689088"/>
              <a:gd name="connsiteY4416" fmla="*/ 75880 h 6689084"/>
              <a:gd name="connsiteX4417" fmla="*/ 2307393 w 6689088"/>
              <a:gd name="connsiteY4417" fmla="*/ 63899 h 6689084"/>
              <a:gd name="connsiteX4418" fmla="*/ 2461344 w 6689088"/>
              <a:gd name="connsiteY4418" fmla="*/ 62085 h 6689084"/>
              <a:gd name="connsiteX4419" fmla="*/ 2475139 w 6689088"/>
              <a:gd name="connsiteY4419" fmla="*/ 75880 h 6689084"/>
              <a:gd name="connsiteX4420" fmla="*/ 2461344 w 6689088"/>
              <a:gd name="connsiteY4420" fmla="*/ 89679 h 6689084"/>
              <a:gd name="connsiteX4421" fmla="*/ 2447545 w 6689088"/>
              <a:gd name="connsiteY4421" fmla="*/ 75880 h 6689084"/>
              <a:gd name="connsiteX4422" fmla="*/ 2461344 w 6689088"/>
              <a:gd name="connsiteY4422" fmla="*/ 62085 h 6689084"/>
              <a:gd name="connsiteX4423" fmla="*/ 2614925 w 6689088"/>
              <a:gd name="connsiteY4423" fmla="*/ 60632 h 6689084"/>
              <a:gd name="connsiteX4424" fmla="*/ 2630177 w 6689088"/>
              <a:gd name="connsiteY4424" fmla="*/ 75880 h 6689084"/>
              <a:gd name="connsiteX4425" fmla="*/ 2614925 w 6689088"/>
              <a:gd name="connsiteY4425" fmla="*/ 91131 h 6689084"/>
              <a:gd name="connsiteX4426" fmla="*/ 2599678 w 6689088"/>
              <a:gd name="connsiteY4426" fmla="*/ 75880 h 6689084"/>
              <a:gd name="connsiteX4427" fmla="*/ 2614925 w 6689088"/>
              <a:gd name="connsiteY4427" fmla="*/ 60632 h 6689084"/>
              <a:gd name="connsiteX4428" fmla="*/ 2768873 w 6689088"/>
              <a:gd name="connsiteY4428" fmla="*/ 58818 h 6689084"/>
              <a:gd name="connsiteX4429" fmla="*/ 2785939 w 6689088"/>
              <a:gd name="connsiteY4429" fmla="*/ 75884 h 6689084"/>
              <a:gd name="connsiteX4430" fmla="*/ 2768873 w 6689088"/>
              <a:gd name="connsiteY4430" fmla="*/ 92946 h 6689084"/>
              <a:gd name="connsiteX4431" fmla="*/ 2751807 w 6689088"/>
              <a:gd name="connsiteY4431" fmla="*/ 75884 h 6689084"/>
              <a:gd name="connsiteX4432" fmla="*/ 2768873 w 6689088"/>
              <a:gd name="connsiteY4432" fmla="*/ 58818 h 6689084"/>
              <a:gd name="connsiteX4433" fmla="*/ 2922458 w 6689088"/>
              <a:gd name="connsiteY4433" fmla="*/ 56641 h 6689084"/>
              <a:gd name="connsiteX4434" fmla="*/ 2941700 w 6689088"/>
              <a:gd name="connsiteY4434" fmla="*/ 75884 h 6689084"/>
              <a:gd name="connsiteX4435" fmla="*/ 2922458 w 6689088"/>
              <a:gd name="connsiteY4435" fmla="*/ 95126 h 6689084"/>
              <a:gd name="connsiteX4436" fmla="*/ 2903216 w 6689088"/>
              <a:gd name="connsiteY4436" fmla="*/ 75884 h 6689084"/>
              <a:gd name="connsiteX4437" fmla="*/ 2922458 w 6689088"/>
              <a:gd name="connsiteY4437" fmla="*/ 56641 h 6689084"/>
              <a:gd name="connsiteX4438" fmla="*/ 3076406 w 6689088"/>
              <a:gd name="connsiteY4438" fmla="*/ 54461 h 6689084"/>
              <a:gd name="connsiteX4439" fmla="*/ 3097828 w 6689088"/>
              <a:gd name="connsiteY4439" fmla="*/ 75884 h 6689084"/>
              <a:gd name="connsiteX4440" fmla="*/ 3076406 w 6689088"/>
              <a:gd name="connsiteY4440" fmla="*/ 97303 h 6689084"/>
              <a:gd name="connsiteX4441" fmla="*/ 3054982 w 6689088"/>
              <a:gd name="connsiteY4441" fmla="*/ 75884 h 6689084"/>
              <a:gd name="connsiteX4442" fmla="*/ 3076406 w 6689088"/>
              <a:gd name="connsiteY4442" fmla="*/ 54461 h 6689084"/>
              <a:gd name="connsiteX4443" fmla="*/ 3230353 w 6689088"/>
              <a:gd name="connsiteY4443" fmla="*/ 53008 h 6689084"/>
              <a:gd name="connsiteX4444" fmla="*/ 3253228 w 6689088"/>
              <a:gd name="connsiteY4444" fmla="*/ 75884 h 6689084"/>
              <a:gd name="connsiteX4445" fmla="*/ 3230353 w 6689088"/>
              <a:gd name="connsiteY4445" fmla="*/ 98759 h 6689084"/>
              <a:gd name="connsiteX4446" fmla="*/ 3207478 w 6689088"/>
              <a:gd name="connsiteY4446" fmla="*/ 75884 h 6689084"/>
              <a:gd name="connsiteX4447" fmla="*/ 3230353 w 6689088"/>
              <a:gd name="connsiteY4447" fmla="*/ 53008 h 6689084"/>
              <a:gd name="connsiteX4448" fmla="*/ 3383934 w 6689088"/>
              <a:gd name="connsiteY4448" fmla="*/ 50832 h 6689084"/>
              <a:gd name="connsiteX4449" fmla="*/ 3408986 w 6689088"/>
              <a:gd name="connsiteY4449" fmla="*/ 75884 h 6689084"/>
              <a:gd name="connsiteX4450" fmla="*/ 3383934 w 6689088"/>
              <a:gd name="connsiteY4450" fmla="*/ 100939 h 6689084"/>
              <a:gd name="connsiteX4451" fmla="*/ 3358882 w 6689088"/>
              <a:gd name="connsiteY4451" fmla="*/ 75884 h 6689084"/>
              <a:gd name="connsiteX4452" fmla="*/ 3383934 w 6689088"/>
              <a:gd name="connsiteY4452" fmla="*/ 50832 h 6689084"/>
              <a:gd name="connsiteX4453" fmla="*/ 3537886 w 6689088"/>
              <a:gd name="connsiteY4453" fmla="*/ 48651 h 6689084"/>
              <a:gd name="connsiteX4454" fmla="*/ 3565118 w 6689088"/>
              <a:gd name="connsiteY4454" fmla="*/ 75884 h 6689084"/>
              <a:gd name="connsiteX4455" fmla="*/ 3537886 w 6689088"/>
              <a:gd name="connsiteY4455" fmla="*/ 103112 h 6689084"/>
              <a:gd name="connsiteX4456" fmla="*/ 3510653 w 6689088"/>
              <a:gd name="connsiteY4456" fmla="*/ 75884 h 6689084"/>
              <a:gd name="connsiteX4457" fmla="*/ 3537886 w 6689088"/>
              <a:gd name="connsiteY4457" fmla="*/ 48651 h 6689084"/>
              <a:gd name="connsiteX4458" fmla="*/ 3691467 w 6689088"/>
              <a:gd name="connsiteY4458" fmla="*/ 46109 h 6689084"/>
              <a:gd name="connsiteX4459" fmla="*/ 3721242 w 6689088"/>
              <a:gd name="connsiteY4459" fmla="*/ 75880 h 6689084"/>
              <a:gd name="connsiteX4460" fmla="*/ 3691467 w 6689088"/>
              <a:gd name="connsiteY4460" fmla="*/ 105655 h 6689084"/>
              <a:gd name="connsiteX4461" fmla="*/ 3661696 w 6689088"/>
              <a:gd name="connsiteY4461" fmla="*/ 75880 h 6689084"/>
              <a:gd name="connsiteX4462" fmla="*/ 3691467 w 6689088"/>
              <a:gd name="connsiteY4462" fmla="*/ 46109 h 6689084"/>
              <a:gd name="connsiteX4463" fmla="*/ 3845414 w 6689088"/>
              <a:gd name="connsiteY4463" fmla="*/ 43932 h 6689084"/>
              <a:gd name="connsiteX4464" fmla="*/ 3877366 w 6689088"/>
              <a:gd name="connsiteY4464" fmla="*/ 75884 h 6689084"/>
              <a:gd name="connsiteX4465" fmla="*/ 3845414 w 6689088"/>
              <a:gd name="connsiteY4465" fmla="*/ 107835 h 6689084"/>
              <a:gd name="connsiteX4466" fmla="*/ 3813463 w 6689088"/>
              <a:gd name="connsiteY4466" fmla="*/ 75884 h 6689084"/>
              <a:gd name="connsiteX4467" fmla="*/ 3845414 w 6689088"/>
              <a:gd name="connsiteY4467" fmla="*/ 43932 h 6689084"/>
              <a:gd name="connsiteX4468" fmla="*/ 3999000 w 6689088"/>
              <a:gd name="connsiteY4468" fmla="*/ 42118 h 6689084"/>
              <a:gd name="connsiteX4469" fmla="*/ 4032769 w 6689088"/>
              <a:gd name="connsiteY4469" fmla="*/ 75884 h 6689084"/>
              <a:gd name="connsiteX4470" fmla="*/ 3999000 w 6689088"/>
              <a:gd name="connsiteY4470" fmla="*/ 109653 h 6689084"/>
              <a:gd name="connsiteX4471" fmla="*/ 3965234 w 6689088"/>
              <a:gd name="connsiteY4471" fmla="*/ 75884 h 6689084"/>
              <a:gd name="connsiteX4472" fmla="*/ 3999000 w 6689088"/>
              <a:gd name="connsiteY4472" fmla="*/ 42118 h 6689084"/>
              <a:gd name="connsiteX4473" fmla="*/ 4152947 w 6689088"/>
              <a:gd name="connsiteY4473" fmla="*/ 39575 h 6689084"/>
              <a:gd name="connsiteX4474" fmla="*/ 4189256 w 6689088"/>
              <a:gd name="connsiteY4474" fmla="*/ 75884 h 6689084"/>
              <a:gd name="connsiteX4475" fmla="*/ 4152947 w 6689088"/>
              <a:gd name="connsiteY4475" fmla="*/ 112192 h 6689084"/>
              <a:gd name="connsiteX4476" fmla="*/ 4116638 w 6689088"/>
              <a:gd name="connsiteY4476" fmla="*/ 75884 h 6689084"/>
              <a:gd name="connsiteX4477" fmla="*/ 4152947 w 6689088"/>
              <a:gd name="connsiteY4477" fmla="*/ 39575 h 6689084"/>
              <a:gd name="connsiteX4478" fmla="*/ 4306532 w 6689088"/>
              <a:gd name="connsiteY4478" fmla="*/ 37033 h 6689084"/>
              <a:gd name="connsiteX4479" fmla="*/ 4345380 w 6689088"/>
              <a:gd name="connsiteY4479" fmla="*/ 75884 h 6689084"/>
              <a:gd name="connsiteX4480" fmla="*/ 4306532 w 6689088"/>
              <a:gd name="connsiteY4480" fmla="*/ 114735 h 6689084"/>
              <a:gd name="connsiteX4481" fmla="*/ 4267682 w 6689088"/>
              <a:gd name="connsiteY4481" fmla="*/ 75884 h 6689084"/>
              <a:gd name="connsiteX4482" fmla="*/ 4306532 w 6689088"/>
              <a:gd name="connsiteY4482" fmla="*/ 37033 h 6689084"/>
              <a:gd name="connsiteX4483" fmla="*/ 4460480 w 6689088"/>
              <a:gd name="connsiteY4483" fmla="*/ 34852 h 6689084"/>
              <a:gd name="connsiteX4484" fmla="*/ 4501511 w 6689088"/>
              <a:gd name="connsiteY4484" fmla="*/ 75880 h 6689084"/>
              <a:gd name="connsiteX4485" fmla="*/ 4460480 w 6689088"/>
              <a:gd name="connsiteY4485" fmla="*/ 116911 h 6689084"/>
              <a:gd name="connsiteX4486" fmla="*/ 4419452 w 6689088"/>
              <a:gd name="connsiteY4486" fmla="*/ 75880 h 6689084"/>
              <a:gd name="connsiteX4487" fmla="*/ 4460480 w 6689088"/>
              <a:gd name="connsiteY4487" fmla="*/ 34852 h 6689084"/>
              <a:gd name="connsiteX4488" fmla="*/ 4614065 w 6689088"/>
              <a:gd name="connsiteY4488" fmla="*/ 32314 h 6689084"/>
              <a:gd name="connsiteX4489" fmla="*/ 4657635 w 6689088"/>
              <a:gd name="connsiteY4489" fmla="*/ 75884 h 6689084"/>
              <a:gd name="connsiteX4490" fmla="*/ 4614065 w 6689088"/>
              <a:gd name="connsiteY4490" fmla="*/ 119454 h 6689084"/>
              <a:gd name="connsiteX4491" fmla="*/ 4570495 w 6689088"/>
              <a:gd name="connsiteY4491" fmla="*/ 75884 h 6689084"/>
              <a:gd name="connsiteX4492" fmla="*/ 4614065 w 6689088"/>
              <a:gd name="connsiteY4492" fmla="*/ 32314 h 6689084"/>
              <a:gd name="connsiteX4493" fmla="*/ 4768012 w 6689088"/>
              <a:gd name="connsiteY4493" fmla="*/ 29771 h 6689084"/>
              <a:gd name="connsiteX4494" fmla="*/ 4814125 w 6689088"/>
              <a:gd name="connsiteY4494" fmla="*/ 75884 h 6689084"/>
              <a:gd name="connsiteX4495" fmla="*/ 4768012 w 6689088"/>
              <a:gd name="connsiteY4495" fmla="*/ 121996 h 6689084"/>
              <a:gd name="connsiteX4496" fmla="*/ 4721900 w 6689088"/>
              <a:gd name="connsiteY4496" fmla="*/ 75884 h 6689084"/>
              <a:gd name="connsiteX4497" fmla="*/ 4768012 w 6689088"/>
              <a:gd name="connsiteY4497" fmla="*/ 29771 h 6689084"/>
              <a:gd name="connsiteX4498" fmla="*/ 4921594 w 6689088"/>
              <a:gd name="connsiteY4498" fmla="*/ 27228 h 6689084"/>
              <a:gd name="connsiteX4499" fmla="*/ 4970249 w 6689088"/>
              <a:gd name="connsiteY4499" fmla="*/ 75880 h 6689084"/>
              <a:gd name="connsiteX4500" fmla="*/ 4921594 w 6689088"/>
              <a:gd name="connsiteY4500" fmla="*/ 124535 h 6689084"/>
              <a:gd name="connsiteX4501" fmla="*/ 4872942 w 6689088"/>
              <a:gd name="connsiteY4501" fmla="*/ 75880 h 6689084"/>
              <a:gd name="connsiteX4502" fmla="*/ 4921594 w 6689088"/>
              <a:gd name="connsiteY4502" fmla="*/ 27228 h 6689084"/>
              <a:gd name="connsiteX4503" fmla="*/ 5075541 w 6689088"/>
              <a:gd name="connsiteY4503" fmla="*/ 24690 h 6689084"/>
              <a:gd name="connsiteX4504" fmla="*/ 5126735 w 6689088"/>
              <a:gd name="connsiteY4504" fmla="*/ 75884 h 6689084"/>
              <a:gd name="connsiteX4505" fmla="*/ 5075541 w 6689088"/>
              <a:gd name="connsiteY4505" fmla="*/ 127081 h 6689084"/>
              <a:gd name="connsiteX4506" fmla="*/ 5024348 w 6689088"/>
              <a:gd name="connsiteY4506" fmla="*/ 75884 h 6689084"/>
              <a:gd name="connsiteX4507" fmla="*/ 5075541 w 6689088"/>
              <a:gd name="connsiteY4507" fmla="*/ 24690 h 6689084"/>
              <a:gd name="connsiteX4508" fmla="*/ 5229126 w 6689088"/>
              <a:gd name="connsiteY4508" fmla="*/ 22509 h 6689084"/>
              <a:gd name="connsiteX4509" fmla="*/ 5282500 w 6689088"/>
              <a:gd name="connsiteY4509" fmla="*/ 75884 h 6689084"/>
              <a:gd name="connsiteX4510" fmla="*/ 5229126 w 6689088"/>
              <a:gd name="connsiteY4510" fmla="*/ 129258 h 6689084"/>
              <a:gd name="connsiteX4511" fmla="*/ 5175752 w 6689088"/>
              <a:gd name="connsiteY4511" fmla="*/ 75884 h 6689084"/>
              <a:gd name="connsiteX4512" fmla="*/ 5229126 w 6689088"/>
              <a:gd name="connsiteY4512" fmla="*/ 22509 h 6689084"/>
              <a:gd name="connsiteX4513" fmla="*/ 5383074 w 6689088"/>
              <a:gd name="connsiteY4513" fmla="*/ 19605 h 6689084"/>
              <a:gd name="connsiteX4514" fmla="*/ 5439352 w 6689088"/>
              <a:gd name="connsiteY4514" fmla="*/ 75884 h 6689084"/>
              <a:gd name="connsiteX4515" fmla="*/ 5383074 w 6689088"/>
              <a:gd name="connsiteY4515" fmla="*/ 132162 h 6689084"/>
              <a:gd name="connsiteX4516" fmla="*/ 5326795 w 6689088"/>
              <a:gd name="connsiteY4516" fmla="*/ 75884 h 6689084"/>
              <a:gd name="connsiteX4517" fmla="*/ 5383074 w 6689088"/>
              <a:gd name="connsiteY4517" fmla="*/ 19605 h 6689084"/>
              <a:gd name="connsiteX4518" fmla="*/ 5536659 w 6689088"/>
              <a:gd name="connsiteY4518" fmla="*/ 17062 h 6689084"/>
              <a:gd name="connsiteX4519" fmla="*/ 5595476 w 6689088"/>
              <a:gd name="connsiteY4519" fmla="*/ 75880 h 6689084"/>
              <a:gd name="connsiteX4520" fmla="*/ 5536659 w 6689088"/>
              <a:gd name="connsiteY4520" fmla="*/ 134701 h 6689084"/>
              <a:gd name="connsiteX4521" fmla="*/ 5477838 w 6689088"/>
              <a:gd name="connsiteY4521" fmla="*/ 75880 h 6689084"/>
              <a:gd name="connsiteX4522" fmla="*/ 5536659 w 6689088"/>
              <a:gd name="connsiteY4522" fmla="*/ 17062 h 6689084"/>
              <a:gd name="connsiteX4523" fmla="*/ 5690606 w 6689088"/>
              <a:gd name="connsiteY4523" fmla="*/ 14157 h 6689084"/>
              <a:gd name="connsiteX4524" fmla="*/ 5752329 w 6689088"/>
              <a:gd name="connsiteY4524" fmla="*/ 75880 h 6689084"/>
              <a:gd name="connsiteX4525" fmla="*/ 5690606 w 6689088"/>
              <a:gd name="connsiteY4525" fmla="*/ 137606 h 6689084"/>
              <a:gd name="connsiteX4526" fmla="*/ 5628880 w 6689088"/>
              <a:gd name="connsiteY4526" fmla="*/ 75880 h 6689084"/>
              <a:gd name="connsiteX4527" fmla="*/ 5690606 w 6689088"/>
              <a:gd name="connsiteY4527" fmla="*/ 14157 h 6689084"/>
              <a:gd name="connsiteX4528" fmla="*/ 5844554 w 6689088"/>
              <a:gd name="connsiteY4528" fmla="*/ 11619 h 6689084"/>
              <a:gd name="connsiteX4529" fmla="*/ 5908822 w 6689088"/>
              <a:gd name="connsiteY4529" fmla="*/ 75884 h 6689084"/>
              <a:gd name="connsiteX4530" fmla="*/ 5844554 w 6689088"/>
              <a:gd name="connsiteY4530" fmla="*/ 140152 h 6689084"/>
              <a:gd name="connsiteX4531" fmla="*/ 5780289 w 6689088"/>
              <a:gd name="connsiteY4531" fmla="*/ 75884 h 6689084"/>
              <a:gd name="connsiteX4532" fmla="*/ 5844554 w 6689088"/>
              <a:gd name="connsiteY4532" fmla="*/ 11619 h 6689084"/>
              <a:gd name="connsiteX4533" fmla="*/ 5998136 w 6689088"/>
              <a:gd name="connsiteY4533" fmla="*/ 8348 h 6689084"/>
              <a:gd name="connsiteX4534" fmla="*/ 6065671 w 6689088"/>
              <a:gd name="connsiteY4534" fmla="*/ 75884 h 6689084"/>
              <a:gd name="connsiteX4535" fmla="*/ 5998136 w 6689088"/>
              <a:gd name="connsiteY4535" fmla="*/ 143415 h 6689084"/>
              <a:gd name="connsiteX4536" fmla="*/ 5930604 w 6689088"/>
              <a:gd name="connsiteY4536" fmla="*/ 75884 h 6689084"/>
              <a:gd name="connsiteX4537" fmla="*/ 5998136 w 6689088"/>
              <a:gd name="connsiteY4537" fmla="*/ 8348 h 6689084"/>
              <a:gd name="connsiteX4538" fmla="*/ 6152086 w 6689088"/>
              <a:gd name="connsiteY4538" fmla="*/ 5809 h 6689084"/>
              <a:gd name="connsiteX4539" fmla="*/ 6222160 w 6689088"/>
              <a:gd name="connsiteY4539" fmla="*/ 75884 h 6689084"/>
              <a:gd name="connsiteX4540" fmla="*/ 6152086 w 6689088"/>
              <a:gd name="connsiteY4540" fmla="*/ 145962 h 6689084"/>
              <a:gd name="connsiteX4541" fmla="*/ 6082008 w 6689088"/>
              <a:gd name="connsiteY4541" fmla="*/ 75884 h 6689084"/>
              <a:gd name="connsiteX4542" fmla="*/ 6152086 w 6689088"/>
              <a:gd name="connsiteY4542" fmla="*/ 5809 h 6689084"/>
              <a:gd name="connsiteX4543" fmla="*/ 6305668 w 6689088"/>
              <a:gd name="connsiteY4543" fmla="*/ 2905 h 6689084"/>
              <a:gd name="connsiteX4544" fmla="*/ 6378650 w 6689088"/>
              <a:gd name="connsiteY4544" fmla="*/ 75884 h 6689084"/>
              <a:gd name="connsiteX4545" fmla="*/ 6305668 w 6689088"/>
              <a:gd name="connsiteY4545" fmla="*/ 148866 h 6689084"/>
              <a:gd name="connsiteX4546" fmla="*/ 6232689 w 6689088"/>
              <a:gd name="connsiteY4546" fmla="*/ 75884 h 6689084"/>
              <a:gd name="connsiteX4547" fmla="*/ 6305668 w 6689088"/>
              <a:gd name="connsiteY4547" fmla="*/ 2905 h 6689084"/>
              <a:gd name="connsiteX4548" fmla="*/ 6459616 w 6689088"/>
              <a:gd name="connsiteY4548" fmla="*/ 362 h 6689084"/>
              <a:gd name="connsiteX4549" fmla="*/ 6535137 w 6689088"/>
              <a:gd name="connsiteY4549" fmla="*/ 75884 h 6689084"/>
              <a:gd name="connsiteX4550" fmla="*/ 6459616 w 6689088"/>
              <a:gd name="connsiteY4550" fmla="*/ 151405 h 6689084"/>
              <a:gd name="connsiteX4551" fmla="*/ 6384094 w 6689088"/>
              <a:gd name="connsiteY4551" fmla="*/ 75884 h 6689084"/>
              <a:gd name="connsiteX4552" fmla="*/ 6459616 w 6689088"/>
              <a:gd name="connsiteY4552" fmla="*/ 362 h 6689084"/>
              <a:gd name="connsiteX4553" fmla="*/ 6613200 w 6689088"/>
              <a:gd name="connsiteY4553" fmla="*/ 0 h 6689084"/>
              <a:gd name="connsiteX4554" fmla="*/ 6689088 w 6689088"/>
              <a:gd name="connsiteY4554" fmla="*/ 75884 h 6689084"/>
              <a:gd name="connsiteX4555" fmla="*/ 6613200 w 6689088"/>
              <a:gd name="connsiteY4555" fmla="*/ 151771 h 6689084"/>
              <a:gd name="connsiteX4556" fmla="*/ 6537317 w 6689088"/>
              <a:gd name="connsiteY4556" fmla="*/ 75884 h 6689084"/>
              <a:gd name="connsiteX4557" fmla="*/ 6613200 w 6689088"/>
              <a:gd name="connsiteY4557" fmla="*/ 0 h 6689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Lst>
            <a:rect l="l" t="t" r="r" b="b"/>
            <a:pathLst>
              <a:path w="6689088" h="6689084">
                <a:moveTo>
                  <a:pt x="6613200" y="6687632"/>
                </a:moveTo>
                <a:cubicBezTo>
                  <a:pt x="6613563" y="6687632"/>
                  <a:pt x="6613929" y="6687994"/>
                  <a:pt x="6613929" y="6688360"/>
                </a:cubicBezTo>
                <a:cubicBezTo>
                  <a:pt x="6613929" y="6688722"/>
                  <a:pt x="6613200" y="6689084"/>
                  <a:pt x="6613200" y="6689084"/>
                </a:cubicBezTo>
                <a:cubicBezTo>
                  <a:pt x="6612838" y="6689084"/>
                  <a:pt x="6612476" y="6688722"/>
                  <a:pt x="6612476" y="6688360"/>
                </a:cubicBezTo>
                <a:cubicBezTo>
                  <a:pt x="6612476" y="6687994"/>
                  <a:pt x="6612838" y="6687632"/>
                  <a:pt x="6613200" y="6687632"/>
                </a:cubicBezTo>
                <a:close/>
                <a:moveTo>
                  <a:pt x="6613200" y="6534050"/>
                </a:moveTo>
                <a:cubicBezTo>
                  <a:pt x="6613566" y="6534050"/>
                  <a:pt x="6613566" y="6534050"/>
                  <a:pt x="6613566" y="6534413"/>
                </a:cubicBezTo>
                <a:cubicBezTo>
                  <a:pt x="6613566" y="6534775"/>
                  <a:pt x="6613200" y="6534775"/>
                  <a:pt x="6613200" y="6534775"/>
                </a:cubicBezTo>
                <a:cubicBezTo>
                  <a:pt x="6612838" y="6534775"/>
                  <a:pt x="6612838" y="6534775"/>
                  <a:pt x="6612838" y="6534413"/>
                </a:cubicBezTo>
                <a:cubicBezTo>
                  <a:pt x="6612838" y="6534050"/>
                  <a:pt x="6612838" y="6534050"/>
                  <a:pt x="6613200" y="6534050"/>
                </a:cubicBezTo>
                <a:close/>
                <a:moveTo>
                  <a:pt x="6459619" y="6533684"/>
                </a:moveTo>
                <a:cubicBezTo>
                  <a:pt x="6460020" y="6533684"/>
                  <a:pt x="6460344" y="6534009"/>
                  <a:pt x="6460344" y="6534413"/>
                </a:cubicBezTo>
                <a:cubicBezTo>
                  <a:pt x="6460344" y="6534813"/>
                  <a:pt x="6460020" y="6535137"/>
                  <a:pt x="6459619" y="6535137"/>
                </a:cubicBezTo>
                <a:cubicBezTo>
                  <a:pt x="6459215" y="6535137"/>
                  <a:pt x="6458891" y="6534813"/>
                  <a:pt x="6458891" y="6534413"/>
                </a:cubicBezTo>
                <a:cubicBezTo>
                  <a:pt x="6458891" y="6534009"/>
                  <a:pt x="6459215" y="6533684"/>
                  <a:pt x="6459619" y="6533684"/>
                </a:cubicBezTo>
                <a:close/>
                <a:moveTo>
                  <a:pt x="6613200" y="6380465"/>
                </a:moveTo>
                <a:cubicBezTo>
                  <a:pt x="6613566" y="6380465"/>
                  <a:pt x="6613566" y="6380465"/>
                  <a:pt x="6613566" y="6380827"/>
                </a:cubicBezTo>
                <a:cubicBezTo>
                  <a:pt x="6613566" y="6381193"/>
                  <a:pt x="6613200" y="6381193"/>
                  <a:pt x="6613200" y="6381193"/>
                </a:cubicBezTo>
                <a:cubicBezTo>
                  <a:pt x="6612838" y="6381193"/>
                  <a:pt x="6612838" y="6381193"/>
                  <a:pt x="6612838" y="6380827"/>
                </a:cubicBezTo>
                <a:cubicBezTo>
                  <a:pt x="6612838" y="6380465"/>
                  <a:pt x="6612838" y="6380465"/>
                  <a:pt x="6613200" y="6380465"/>
                </a:cubicBezTo>
                <a:close/>
                <a:moveTo>
                  <a:pt x="6459616" y="6380465"/>
                </a:moveTo>
                <a:cubicBezTo>
                  <a:pt x="6459982" y="6380465"/>
                  <a:pt x="6459982" y="6380465"/>
                  <a:pt x="6459982" y="6380827"/>
                </a:cubicBezTo>
                <a:cubicBezTo>
                  <a:pt x="6459982" y="6381193"/>
                  <a:pt x="6459616" y="6381193"/>
                  <a:pt x="6459616" y="6381193"/>
                </a:cubicBezTo>
                <a:cubicBezTo>
                  <a:pt x="6459254" y="6381193"/>
                  <a:pt x="6459254" y="6381193"/>
                  <a:pt x="6459254" y="6380827"/>
                </a:cubicBezTo>
                <a:cubicBezTo>
                  <a:pt x="6459254" y="6380465"/>
                  <a:pt x="6459254" y="6380465"/>
                  <a:pt x="6459616" y="6380465"/>
                </a:cubicBezTo>
                <a:close/>
                <a:moveTo>
                  <a:pt x="6305668" y="6380103"/>
                </a:moveTo>
                <a:cubicBezTo>
                  <a:pt x="6306068" y="6380103"/>
                  <a:pt x="6306396" y="6380427"/>
                  <a:pt x="6306396" y="6380831"/>
                </a:cubicBezTo>
                <a:cubicBezTo>
                  <a:pt x="6306396" y="6381231"/>
                  <a:pt x="6306068" y="6381555"/>
                  <a:pt x="6305668" y="6381555"/>
                </a:cubicBezTo>
                <a:cubicBezTo>
                  <a:pt x="6305268" y="6381555"/>
                  <a:pt x="6304940" y="6381231"/>
                  <a:pt x="6304940" y="6380831"/>
                </a:cubicBezTo>
                <a:cubicBezTo>
                  <a:pt x="6304940" y="6380427"/>
                  <a:pt x="6305268" y="6380103"/>
                  <a:pt x="6305668" y="6380103"/>
                </a:cubicBezTo>
                <a:close/>
                <a:moveTo>
                  <a:pt x="6459616" y="6226518"/>
                </a:moveTo>
                <a:cubicBezTo>
                  <a:pt x="6459982" y="6226518"/>
                  <a:pt x="6459982" y="6226518"/>
                  <a:pt x="6459982" y="6226880"/>
                </a:cubicBezTo>
                <a:cubicBezTo>
                  <a:pt x="6459982" y="6227242"/>
                  <a:pt x="6459616" y="6227242"/>
                  <a:pt x="6459616" y="6227242"/>
                </a:cubicBezTo>
                <a:cubicBezTo>
                  <a:pt x="6459254" y="6227242"/>
                  <a:pt x="6459254" y="6227242"/>
                  <a:pt x="6459254" y="6226880"/>
                </a:cubicBezTo>
                <a:cubicBezTo>
                  <a:pt x="6459254" y="6226518"/>
                  <a:pt x="6459254" y="6226518"/>
                  <a:pt x="6459616" y="6226518"/>
                </a:cubicBezTo>
                <a:close/>
                <a:moveTo>
                  <a:pt x="6305668" y="6226518"/>
                </a:moveTo>
                <a:cubicBezTo>
                  <a:pt x="6306034" y="6226518"/>
                  <a:pt x="6306034" y="6226518"/>
                  <a:pt x="6306034" y="6226880"/>
                </a:cubicBezTo>
                <a:cubicBezTo>
                  <a:pt x="6306034" y="6227242"/>
                  <a:pt x="6305668" y="6227242"/>
                  <a:pt x="6305668" y="6227242"/>
                </a:cubicBezTo>
                <a:cubicBezTo>
                  <a:pt x="6305306" y="6227242"/>
                  <a:pt x="6305306" y="6227242"/>
                  <a:pt x="6305306" y="6226880"/>
                </a:cubicBezTo>
                <a:cubicBezTo>
                  <a:pt x="6305306" y="6226518"/>
                  <a:pt x="6305306" y="6226518"/>
                  <a:pt x="6305668" y="6226518"/>
                </a:cubicBezTo>
                <a:close/>
                <a:moveTo>
                  <a:pt x="6152083" y="6226156"/>
                </a:moveTo>
                <a:cubicBezTo>
                  <a:pt x="6152483" y="6226156"/>
                  <a:pt x="6152811" y="6226480"/>
                  <a:pt x="6152811" y="6226884"/>
                </a:cubicBezTo>
                <a:cubicBezTo>
                  <a:pt x="6152811" y="6227284"/>
                  <a:pt x="6152483" y="6227608"/>
                  <a:pt x="6152083" y="6227608"/>
                </a:cubicBezTo>
                <a:cubicBezTo>
                  <a:pt x="6151682" y="6227608"/>
                  <a:pt x="6151358" y="6227284"/>
                  <a:pt x="6151358" y="6226884"/>
                </a:cubicBezTo>
                <a:cubicBezTo>
                  <a:pt x="6151358" y="6226480"/>
                  <a:pt x="6151682" y="6226156"/>
                  <a:pt x="6152083" y="6226156"/>
                </a:cubicBezTo>
                <a:close/>
                <a:moveTo>
                  <a:pt x="6305668" y="6072933"/>
                </a:moveTo>
                <a:cubicBezTo>
                  <a:pt x="6306034" y="6072933"/>
                  <a:pt x="6306034" y="6072933"/>
                  <a:pt x="6306034" y="6073295"/>
                </a:cubicBezTo>
                <a:cubicBezTo>
                  <a:pt x="6306034" y="6073661"/>
                  <a:pt x="6305668" y="6073661"/>
                  <a:pt x="6305668" y="6073661"/>
                </a:cubicBezTo>
                <a:cubicBezTo>
                  <a:pt x="6305306" y="6073661"/>
                  <a:pt x="6305306" y="6073661"/>
                  <a:pt x="6305306" y="6073295"/>
                </a:cubicBezTo>
                <a:cubicBezTo>
                  <a:pt x="6305306" y="6072933"/>
                  <a:pt x="6305306" y="6072933"/>
                  <a:pt x="6305668" y="6072933"/>
                </a:cubicBezTo>
                <a:close/>
                <a:moveTo>
                  <a:pt x="6152086" y="6072933"/>
                </a:moveTo>
                <a:cubicBezTo>
                  <a:pt x="6152448" y="6072933"/>
                  <a:pt x="6152448" y="6072933"/>
                  <a:pt x="6152448" y="6073295"/>
                </a:cubicBezTo>
                <a:cubicBezTo>
                  <a:pt x="6152448" y="6073661"/>
                  <a:pt x="6152086" y="6073661"/>
                  <a:pt x="6152086" y="6073661"/>
                </a:cubicBezTo>
                <a:cubicBezTo>
                  <a:pt x="6151724" y="6073661"/>
                  <a:pt x="6151724" y="6073661"/>
                  <a:pt x="6151724" y="6073295"/>
                </a:cubicBezTo>
                <a:cubicBezTo>
                  <a:pt x="6151724" y="6072933"/>
                  <a:pt x="6151724" y="6072933"/>
                  <a:pt x="6152086" y="6072933"/>
                </a:cubicBezTo>
                <a:close/>
                <a:moveTo>
                  <a:pt x="5998136" y="6072570"/>
                </a:moveTo>
                <a:cubicBezTo>
                  <a:pt x="5998540" y="6072570"/>
                  <a:pt x="5998864" y="6072894"/>
                  <a:pt x="5998864" y="6073298"/>
                </a:cubicBezTo>
                <a:cubicBezTo>
                  <a:pt x="5998864" y="6073699"/>
                  <a:pt x="5998540" y="6074023"/>
                  <a:pt x="5998136" y="6074023"/>
                </a:cubicBezTo>
                <a:cubicBezTo>
                  <a:pt x="5997735" y="6074023"/>
                  <a:pt x="5997411" y="6073699"/>
                  <a:pt x="5997411" y="6073298"/>
                </a:cubicBezTo>
                <a:cubicBezTo>
                  <a:pt x="5997411" y="6072894"/>
                  <a:pt x="5997735" y="6072570"/>
                  <a:pt x="5998136" y="6072570"/>
                </a:cubicBezTo>
                <a:close/>
                <a:moveTo>
                  <a:pt x="6613200" y="5918985"/>
                </a:moveTo>
                <a:cubicBezTo>
                  <a:pt x="6613566" y="5918985"/>
                  <a:pt x="6613566" y="5918985"/>
                  <a:pt x="6613566" y="5919347"/>
                </a:cubicBezTo>
                <a:cubicBezTo>
                  <a:pt x="6613566" y="5919709"/>
                  <a:pt x="6613200" y="5919709"/>
                  <a:pt x="6613200" y="5919709"/>
                </a:cubicBezTo>
                <a:cubicBezTo>
                  <a:pt x="6612838" y="5919709"/>
                  <a:pt x="6612838" y="5919709"/>
                  <a:pt x="6612838" y="5919347"/>
                </a:cubicBezTo>
                <a:cubicBezTo>
                  <a:pt x="6612838" y="5918985"/>
                  <a:pt x="6612838" y="5918985"/>
                  <a:pt x="6613200" y="5918985"/>
                </a:cubicBezTo>
                <a:close/>
                <a:moveTo>
                  <a:pt x="6152086" y="5918985"/>
                </a:moveTo>
                <a:cubicBezTo>
                  <a:pt x="6152448" y="5918985"/>
                  <a:pt x="6152448" y="5918985"/>
                  <a:pt x="6152448" y="5919347"/>
                </a:cubicBezTo>
                <a:cubicBezTo>
                  <a:pt x="6152448" y="5919709"/>
                  <a:pt x="6152086" y="5919709"/>
                  <a:pt x="6152086" y="5919709"/>
                </a:cubicBezTo>
                <a:cubicBezTo>
                  <a:pt x="6151724" y="5919709"/>
                  <a:pt x="6151724" y="5919709"/>
                  <a:pt x="6151724" y="5919347"/>
                </a:cubicBezTo>
                <a:cubicBezTo>
                  <a:pt x="6151724" y="5918985"/>
                  <a:pt x="6151724" y="5918985"/>
                  <a:pt x="6152086" y="5918985"/>
                </a:cubicBezTo>
                <a:close/>
                <a:moveTo>
                  <a:pt x="5998136" y="5918985"/>
                </a:moveTo>
                <a:cubicBezTo>
                  <a:pt x="5998502" y="5918985"/>
                  <a:pt x="5998502" y="5918985"/>
                  <a:pt x="5998502" y="5919347"/>
                </a:cubicBezTo>
                <a:cubicBezTo>
                  <a:pt x="5998502" y="5919709"/>
                  <a:pt x="5998136" y="5919709"/>
                  <a:pt x="5998136" y="5919709"/>
                </a:cubicBezTo>
                <a:cubicBezTo>
                  <a:pt x="5997773" y="5919709"/>
                  <a:pt x="5997773" y="5919709"/>
                  <a:pt x="5997773" y="5919347"/>
                </a:cubicBezTo>
                <a:cubicBezTo>
                  <a:pt x="5997773" y="5918985"/>
                  <a:pt x="5997773" y="5918985"/>
                  <a:pt x="5998136" y="5918985"/>
                </a:cubicBezTo>
                <a:close/>
                <a:moveTo>
                  <a:pt x="5844554" y="5918623"/>
                </a:moveTo>
                <a:cubicBezTo>
                  <a:pt x="5844954" y="5918623"/>
                  <a:pt x="5845278" y="5918947"/>
                  <a:pt x="5845278" y="5919347"/>
                </a:cubicBezTo>
                <a:cubicBezTo>
                  <a:pt x="5845278" y="5919751"/>
                  <a:pt x="5844954" y="5920075"/>
                  <a:pt x="5844554" y="5920075"/>
                </a:cubicBezTo>
                <a:cubicBezTo>
                  <a:pt x="5844150" y="5920075"/>
                  <a:pt x="5843826" y="5919751"/>
                  <a:pt x="5843826" y="5919347"/>
                </a:cubicBezTo>
                <a:cubicBezTo>
                  <a:pt x="5843826" y="5918947"/>
                  <a:pt x="5844150" y="5918623"/>
                  <a:pt x="5844554" y="5918623"/>
                </a:cubicBezTo>
                <a:close/>
                <a:moveTo>
                  <a:pt x="6459616" y="5765400"/>
                </a:moveTo>
                <a:cubicBezTo>
                  <a:pt x="6459982" y="5765400"/>
                  <a:pt x="6459982" y="5765400"/>
                  <a:pt x="6459982" y="5765762"/>
                </a:cubicBezTo>
                <a:cubicBezTo>
                  <a:pt x="6459982" y="5766128"/>
                  <a:pt x="6459616" y="5766128"/>
                  <a:pt x="6459616" y="5766128"/>
                </a:cubicBezTo>
                <a:cubicBezTo>
                  <a:pt x="6459254" y="5766128"/>
                  <a:pt x="6459254" y="5766128"/>
                  <a:pt x="6459254" y="5765762"/>
                </a:cubicBezTo>
                <a:cubicBezTo>
                  <a:pt x="6459254" y="5765400"/>
                  <a:pt x="6459254" y="5765400"/>
                  <a:pt x="6459616" y="5765400"/>
                </a:cubicBezTo>
                <a:close/>
                <a:moveTo>
                  <a:pt x="5998136" y="5765400"/>
                </a:moveTo>
                <a:cubicBezTo>
                  <a:pt x="5998502" y="5765400"/>
                  <a:pt x="5998502" y="5765400"/>
                  <a:pt x="5998502" y="5765762"/>
                </a:cubicBezTo>
                <a:cubicBezTo>
                  <a:pt x="5998502" y="5766128"/>
                  <a:pt x="5998136" y="5766128"/>
                  <a:pt x="5998136" y="5766128"/>
                </a:cubicBezTo>
                <a:cubicBezTo>
                  <a:pt x="5997773" y="5766128"/>
                  <a:pt x="5997773" y="5766128"/>
                  <a:pt x="5997773" y="5765762"/>
                </a:cubicBezTo>
                <a:cubicBezTo>
                  <a:pt x="5997773" y="5765400"/>
                  <a:pt x="5997773" y="5765400"/>
                  <a:pt x="5998136" y="5765400"/>
                </a:cubicBezTo>
                <a:close/>
                <a:moveTo>
                  <a:pt x="5844550" y="5765400"/>
                </a:moveTo>
                <a:cubicBezTo>
                  <a:pt x="5844916" y="5765400"/>
                  <a:pt x="5844916" y="5765400"/>
                  <a:pt x="5844916" y="5765762"/>
                </a:cubicBezTo>
                <a:cubicBezTo>
                  <a:pt x="5844916" y="5766128"/>
                  <a:pt x="5844550" y="5766128"/>
                  <a:pt x="5844550" y="5766128"/>
                </a:cubicBezTo>
                <a:cubicBezTo>
                  <a:pt x="5844188" y="5766128"/>
                  <a:pt x="5844188" y="5766128"/>
                  <a:pt x="5844188" y="5765762"/>
                </a:cubicBezTo>
                <a:cubicBezTo>
                  <a:pt x="5844188" y="5765400"/>
                  <a:pt x="5844188" y="5765400"/>
                  <a:pt x="5844550" y="5765400"/>
                </a:cubicBezTo>
                <a:close/>
                <a:moveTo>
                  <a:pt x="5690602" y="5765038"/>
                </a:moveTo>
                <a:cubicBezTo>
                  <a:pt x="5691003" y="5765038"/>
                  <a:pt x="5691331" y="5765362"/>
                  <a:pt x="5691331" y="5765766"/>
                </a:cubicBezTo>
                <a:cubicBezTo>
                  <a:pt x="5691331" y="5766166"/>
                  <a:pt x="5691003" y="5766490"/>
                  <a:pt x="5690602" y="5766490"/>
                </a:cubicBezTo>
                <a:cubicBezTo>
                  <a:pt x="5690202" y="5766490"/>
                  <a:pt x="5689874" y="5766166"/>
                  <a:pt x="5689874" y="5765766"/>
                </a:cubicBezTo>
                <a:cubicBezTo>
                  <a:pt x="5689874" y="5765362"/>
                  <a:pt x="5690202" y="5765038"/>
                  <a:pt x="5690602" y="5765038"/>
                </a:cubicBezTo>
                <a:close/>
                <a:moveTo>
                  <a:pt x="6613200" y="5764313"/>
                </a:moveTo>
                <a:cubicBezTo>
                  <a:pt x="6614005" y="5764313"/>
                  <a:pt x="6614653" y="5764965"/>
                  <a:pt x="6614653" y="5765766"/>
                </a:cubicBezTo>
                <a:cubicBezTo>
                  <a:pt x="6614653" y="5766566"/>
                  <a:pt x="6614005" y="5767218"/>
                  <a:pt x="6613200" y="5767218"/>
                </a:cubicBezTo>
                <a:cubicBezTo>
                  <a:pt x="6612400" y="5767218"/>
                  <a:pt x="6611752" y="5766566"/>
                  <a:pt x="6611752" y="5765766"/>
                </a:cubicBezTo>
                <a:cubicBezTo>
                  <a:pt x="6611752" y="5764965"/>
                  <a:pt x="6612400" y="5764313"/>
                  <a:pt x="6613200" y="5764313"/>
                </a:cubicBezTo>
                <a:close/>
                <a:moveTo>
                  <a:pt x="6305668" y="5611452"/>
                </a:moveTo>
                <a:cubicBezTo>
                  <a:pt x="6305870" y="5611452"/>
                  <a:pt x="6306034" y="5611616"/>
                  <a:pt x="6306034" y="5611815"/>
                </a:cubicBezTo>
                <a:cubicBezTo>
                  <a:pt x="6306034" y="5612017"/>
                  <a:pt x="6305870" y="5612177"/>
                  <a:pt x="6305668" y="5612177"/>
                </a:cubicBezTo>
                <a:cubicBezTo>
                  <a:pt x="6305470" y="5612177"/>
                  <a:pt x="6305306" y="5612017"/>
                  <a:pt x="6305306" y="5611815"/>
                </a:cubicBezTo>
                <a:cubicBezTo>
                  <a:pt x="6305306" y="5611616"/>
                  <a:pt x="6305470" y="5611452"/>
                  <a:pt x="6305668" y="5611452"/>
                </a:cubicBezTo>
                <a:close/>
                <a:moveTo>
                  <a:pt x="5844550" y="5611452"/>
                </a:moveTo>
                <a:cubicBezTo>
                  <a:pt x="5844916" y="5611452"/>
                  <a:pt x="5844916" y="5611452"/>
                  <a:pt x="5844916" y="5611815"/>
                </a:cubicBezTo>
                <a:cubicBezTo>
                  <a:pt x="5844916" y="5612181"/>
                  <a:pt x="5844550" y="5612181"/>
                  <a:pt x="5844550" y="5612181"/>
                </a:cubicBezTo>
                <a:cubicBezTo>
                  <a:pt x="5844188" y="5612181"/>
                  <a:pt x="5844188" y="5612181"/>
                  <a:pt x="5844188" y="5611815"/>
                </a:cubicBezTo>
                <a:cubicBezTo>
                  <a:pt x="5844188" y="5611452"/>
                  <a:pt x="5844188" y="5611452"/>
                  <a:pt x="5844550" y="5611452"/>
                </a:cubicBezTo>
                <a:close/>
                <a:moveTo>
                  <a:pt x="5690606" y="5611452"/>
                </a:moveTo>
                <a:cubicBezTo>
                  <a:pt x="5690972" y="5611452"/>
                  <a:pt x="5690972" y="5611452"/>
                  <a:pt x="5690972" y="5611815"/>
                </a:cubicBezTo>
                <a:cubicBezTo>
                  <a:pt x="5690972" y="5612181"/>
                  <a:pt x="5690606" y="5612181"/>
                  <a:pt x="5690606" y="5612181"/>
                </a:cubicBezTo>
                <a:cubicBezTo>
                  <a:pt x="5690244" y="5612181"/>
                  <a:pt x="5690244" y="5612181"/>
                  <a:pt x="5690244" y="5611815"/>
                </a:cubicBezTo>
                <a:cubicBezTo>
                  <a:pt x="5690244" y="5611452"/>
                  <a:pt x="5690244" y="5611452"/>
                  <a:pt x="5690606" y="5611452"/>
                </a:cubicBezTo>
                <a:close/>
                <a:moveTo>
                  <a:pt x="5537021" y="5611090"/>
                </a:moveTo>
                <a:cubicBezTo>
                  <a:pt x="5537422" y="5611090"/>
                  <a:pt x="5537750" y="5611414"/>
                  <a:pt x="5537750" y="5611815"/>
                </a:cubicBezTo>
                <a:cubicBezTo>
                  <a:pt x="5537750" y="5612219"/>
                  <a:pt x="5537422" y="5612543"/>
                  <a:pt x="5537021" y="5612543"/>
                </a:cubicBezTo>
                <a:cubicBezTo>
                  <a:pt x="5536621" y="5612543"/>
                  <a:pt x="5536297" y="5612219"/>
                  <a:pt x="5536297" y="5611815"/>
                </a:cubicBezTo>
                <a:cubicBezTo>
                  <a:pt x="5536297" y="5611414"/>
                  <a:pt x="5536621" y="5611090"/>
                  <a:pt x="5537021" y="5611090"/>
                </a:cubicBezTo>
                <a:close/>
                <a:moveTo>
                  <a:pt x="6459616" y="5610366"/>
                </a:moveTo>
                <a:cubicBezTo>
                  <a:pt x="6460420" y="5610366"/>
                  <a:pt x="6461068" y="5611018"/>
                  <a:pt x="6461068" y="5611818"/>
                </a:cubicBezTo>
                <a:cubicBezTo>
                  <a:pt x="6461068" y="5612619"/>
                  <a:pt x="6460420" y="5613271"/>
                  <a:pt x="6459616" y="5613271"/>
                </a:cubicBezTo>
                <a:cubicBezTo>
                  <a:pt x="6458815" y="5613271"/>
                  <a:pt x="6458163" y="5612619"/>
                  <a:pt x="6458163" y="5611818"/>
                </a:cubicBezTo>
                <a:cubicBezTo>
                  <a:pt x="6458163" y="5611018"/>
                  <a:pt x="6458815" y="5610366"/>
                  <a:pt x="6459616" y="5610366"/>
                </a:cubicBezTo>
                <a:close/>
                <a:moveTo>
                  <a:pt x="6613200" y="5609638"/>
                </a:moveTo>
                <a:cubicBezTo>
                  <a:pt x="6614406" y="5609638"/>
                  <a:pt x="6615381" y="5610614"/>
                  <a:pt x="6615381" y="5611815"/>
                </a:cubicBezTo>
                <a:cubicBezTo>
                  <a:pt x="6615381" y="5613019"/>
                  <a:pt x="6614406" y="5613995"/>
                  <a:pt x="6613200" y="5613995"/>
                </a:cubicBezTo>
                <a:cubicBezTo>
                  <a:pt x="6612000" y="5613995"/>
                  <a:pt x="6611024" y="5613019"/>
                  <a:pt x="6611024" y="5611815"/>
                </a:cubicBezTo>
                <a:cubicBezTo>
                  <a:pt x="6611024" y="5610614"/>
                  <a:pt x="6612000" y="5609638"/>
                  <a:pt x="6613200" y="5609638"/>
                </a:cubicBezTo>
                <a:close/>
                <a:moveTo>
                  <a:pt x="6152086" y="5457871"/>
                </a:moveTo>
                <a:cubicBezTo>
                  <a:pt x="6152448" y="5457871"/>
                  <a:pt x="6152448" y="5457871"/>
                  <a:pt x="6152448" y="5458233"/>
                </a:cubicBezTo>
                <a:cubicBezTo>
                  <a:pt x="6152448" y="5458595"/>
                  <a:pt x="6152086" y="5458595"/>
                  <a:pt x="6152086" y="5458595"/>
                </a:cubicBezTo>
                <a:cubicBezTo>
                  <a:pt x="6151724" y="5458595"/>
                  <a:pt x="6151724" y="5458595"/>
                  <a:pt x="6151724" y="5458233"/>
                </a:cubicBezTo>
                <a:cubicBezTo>
                  <a:pt x="6151724" y="5457871"/>
                  <a:pt x="6151724" y="5457871"/>
                  <a:pt x="6152086" y="5457871"/>
                </a:cubicBezTo>
                <a:close/>
                <a:moveTo>
                  <a:pt x="5690606" y="5457871"/>
                </a:moveTo>
                <a:cubicBezTo>
                  <a:pt x="5690972" y="5457871"/>
                  <a:pt x="5690972" y="5457871"/>
                  <a:pt x="5690972" y="5458233"/>
                </a:cubicBezTo>
                <a:cubicBezTo>
                  <a:pt x="5690972" y="5458595"/>
                  <a:pt x="5690606" y="5458595"/>
                  <a:pt x="5690606" y="5458595"/>
                </a:cubicBezTo>
                <a:cubicBezTo>
                  <a:pt x="5690244" y="5458595"/>
                  <a:pt x="5690244" y="5458595"/>
                  <a:pt x="5690244" y="5458233"/>
                </a:cubicBezTo>
                <a:cubicBezTo>
                  <a:pt x="5690244" y="5457871"/>
                  <a:pt x="5690244" y="5457871"/>
                  <a:pt x="5690606" y="5457871"/>
                </a:cubicBezTo>
                <a:close/>
                <a:moveTo>
                  <a:pt x="5536659" y="5457871"/>
                </a:moveTo>
                <a:cubicBezTo>
                  <a:pt x="5537021" y="5457871"/>
                  <a:pt x="5537021" y="5457871"/>
                  <a:pt x="5537021" y="5458233"/>
                </a:cubicBezTo>
                <a:cubicBezTo>
                  <a:pt x="5537021" y="5458595"/>
                  <a:pt x="5536659" y="5458595"/>
                  <a:pt x="5536659" y="5458595"/>
                </a:cubicBezTo>
                <a:cubicBezTo>
                  <a:pt x="5536297" y="5458595"/>
                  <a:pt x="5536297" y="5458595"/>
                  <a:pt x="5536297" y="5458233"/>
                </a:cubicBezTo>
                <a:cubicBezTo>
                  <a:pt x="5536297" y="5457871"/>
                  <a:pt x="5536297" y="5457871"/>
                  <a:pt x="5536659" y="5457871"/>
                </a:cubicBezTo>
                <a:close/>
                <a:moveTo>
                  <a:pt x="5383078" y="5457505"/>
                </a:moveTo>
                <a:cubicBezTo>
                  <a:pt x="5383478" y="5457505"/>
                  <a:pt x="5383802" y="5457829"/>
                  <a:pt x="5383802" y="5458233"/>
                </a:cubicBezTo>
                <a:cubicBezTo>
                  <a:pt x="5383802" y="5458633"/>
                  <a:pt x="5383478" y="5458957"/>
                  <a:pt x="5383078" y="5458957"/>
                </a:cubicBezTo>
                <a:cubicBezTo>
                  <a:pt x="5382674" y="5458957"/>
                  <a:pt x="5382350" y="5458633"/>
                  <a:pt x="5382350" y="5458233"/>
                </a:cubicBezTo>
                <a:cubicBezTo>
                  <a:pt x="5382350" y="5457829"/>
                  <a:pt x="5382674" y="5457505"/>
                  <a:pt x="5383078" y="5457505"/>
                </a:cubicBezTo>
                <a:close/>
                <a:moveTo>
                  <a:pt x="6305668" y="5456781"/>
                </a:moveTo>
                <a:cubicBezTo>
                  <a:pt x="6306472" y="5456781"/>
                  <a:pt x="6307120" y="5457433"/>
                  <a:pt x="6307120" y="5458233"/>
                </a:cubicBezTo>
                <a:cubicBezTo>
                  <a:pt x="6307120" y="5459034"/>
                  <a:pt x="6306472" y="5459685"/>
                  <a:pt x="6305668" y="5459685"/>
                </a:cubicBezTo>
                <a:cubicBezTo>
                  <a:pt x="6304868" y="5459685"/>
                  <a:pt x="6304216" y="5459034"/>
                  <a:pt x="6304216" y="5458233"/>
                </a:cubicBezTo>
                <a:cubicBezTo>
                  <a:pt x="6304216" y="5457433"/>
                  <a:pt x="6304868" y="5456781"/>
                  <a:pt x="6305668" y="5456781"/>
                </a:cubicBezTo>
                <a:close/>
                <a:moveTo>
                  <a:pt x="6459619" y="5456053"/>
                </a:moveTo>
                <a:cubicBezTo>
                  <a:pt x="6460820" y="5456053"/>
                  <a:pt x="6461796" y="5457029"/>
                  <a:pt x="6461796" y="5458233"/>
                </a:cubicBezTo>
                <a:cubicBezTo>
                  <a:pt x="6461796" y="5459434"/>
                  <a:pt x="6460820" y="5460410"/>
                  <a:pt x="6459619" y="5460410"/>
                </a:cubicBezTo>
                <a:cubicBezTo>
                  <a:pt x="6458414" y="5460410"/>
                  <a:pt x="6457439" y="5459434"/>
                  <a:pt x="6457439" y="5458233"/>
                </a:cubicBezTo>
                <a:cubicBezTo>
                  <a:pt x="6457439" y="5457029"/>
                  <a:pt x="6458414" y="5456053"/>
                  <a:pt x="6459619" y="5456053"/>
                </a:cubicBezTo>
                <a:close/>
                <a:moveTo>
                  <a:pt x="6613200" y="5454966"/>
                </a:moveTo>
                <a:cubicBezTo>
                  <a:pt x="6615015" y="5454966"/>
                  <a:pt x="6616468" y="5456419"/>
                  <a:pt x="6616468" y="5458233"/>
                </a:cubicBezTo>
                <a:cubicBezTo>
                  <a:pt x="6616468" y="5460048"/>
                  <a:pt x="6615015" y="5461500"/>
                  <a:pt x="6613200" y="5461500"/>
                </a:cubicBezTo>
                <a:cubicBezTo>
                  <a:pt x="6611386" y="5461500"/>
                  <a:pt x="6609934" y="5460048"/>
                  <a:pt x="6609934" y="5458233"/>
                </a:cubicBezTo>
                <a:cubicBezTo>
                  <a:pt x="6609934" y="5456419"/>
                  <a:pt x="6611386" y="5454966"/>
                  <a:pt x="6613200" y="5454966"/>
                </a:cubicBezTo>
                <a:close/>
                <a:moveTo>
                  <a:pt x="5998136" y="5303924"/>
                </a:moveTo>
                <a:cubicBezTo>
                  <a:pt x="5998502" y="5303924"/>
                  <a:pt x="5998502" y="5303924"/>
                  <a:pt x="5998502" y="5304286"/>
                </a:cubicBezTo>
                <a:cubicBezTo>
                  <a:pt x="5998502" y="5304652"/>
                  <a:pt x="5998136" y="5304652"/>
                  <a:pt x="5998136" y="5304652"/>
                </a:cubicBezTo>
                <a:cubicBezTo>
                  <a:pt x="5997773" y="5304652"/>
                  <a:pt x="5997773" y="5304652"/>
                  <a:pt x="5997773" y="5304286"/>
                </a:cubicBezTo>
                <a:cubicBezTo>
                  <a:pt x="5997773" y="5303924"/>
                  <a:pt x="5997773" y="5303924"/>
                  <a:pt x="5998136" y="5303924"/>
                </a:cubicBezTo>
                <a:close/>
                <a:moveTo>
                  <a:pt x="5536659" y="5303924"/>
                </a:moveTo>
                <a:cubicBezTo>
                  <a:pt x="5537021" y="5303924"/>
                  <a:pt x="5537021" y="5303924"/>
                  <a:pt x="5537021" y="5304286"/>
                </a:cubicBezTo>
                <a:cubicBezTo>
                  <a:pt x="5537021" y="5304652"/>
                  <a:pt x="5536659" y="5304652"/>
                  <a:pt x="5536659" y="5304652"/>
                </a:cubicBezTo>
                <a:cubicBezTo>
                  <a:pt x="5536297" y="5304652"/>
                  <a:pt x="5536297" y="5304652"/>
                  <a:pt x="5536297" y="5304286"/>
                </a:cubicBezTo>
                <a:cubicBezTo>
                  <a:pt x="5536297" y="5303924"/>
                  <a:pt x="5536297" y="5303924"/>
                  <a:pt x="5536659" y="5303924"/>
                </a:cubicBezTo>
                <a:close/>
                <a:moveTo>
                  <a:pt x="5383074" y="5303924"/>
                </a:moveTo>
                <a:cubicBezTo>
                  <a:pt x="5383436" y="5303924"/>
                  <a:pt x="5383436" y="5303924"/>
                  <a:pt x="5383436" y="5304286"/>
                </a:cubicBezTo>
                <a:cubicBezTo>
                  <a:pt x="5383436" y="5304652"/>
                  <a:pt x="5383074" y="5304652"/>
                  <a:pt x="5383074" y="5304652"/>
                </a:cubicBezTo>
                <a:cubicBezTo>
                  <a:pt x="5382712" y="5304652"/>
                  <a:pt x="5382712" y="5304652"/>
                  <a:pt x="5382712" y="5304286"/>
                </a:cubicBezTo>
                <a:cubicBezTo>
                  <a:pt x="5382712" y="5303924"/>
                  <a:pt x="5382712" y="5303924"/>
                  <a:pt x="5383074" y="5303924"/>
                </a:cubicBezTo>
                <a:close/>
                <a:moveTo>
                  <a:pt x="5229126" y="5303558"/>
                </a:moveTo>
                <a:cubicBezTo>
                  <a:pt x="5229492" y="5303558"/>
                  <a:pt x="5229854" y="5303920"/>
                  <a:pt x="5229854" y="5304282"/>
                </a:cubicBezTo>
                <a:cubicBezTo>
                  <a:pt x="5229854" y="5304648"/>
                  <a:pt x="5229126" y="5305010"/>
                  <a:pt x="5229126" y="5305010"/>
                </a:cubicBezTo>
                <a:cubicBezTo>
                  <a:pt x="5228764" y="5305010"/>
                  <a:pt x="5228402" y="5304648"/>
                  <a:pt x="5228402" y="5304282"/>
                </a:cubicBezTo>
                <a:cubicBezTo>
                  <a:pt x="5228402" y="5303920"/>
                  <a:pt x="5228764" y="5303558"/>
                  <a:pt x="5229126" y="5303558"/>
                </a:cubicBezTo>
                <a:close/>
                <a:moveTo>
                  <a:pt x="6152086" y="5302833"/>
                </a:moveTo>
                <a:cubicBezTo>
                  <a:pt x="6152891" y="5302833"/>
                  <a:pt x="6153539" y="5303485"/>
                  <a:pt x="6153539" y="5304286"/>
                </a:cubicBezTo>
                <a:cubicBezTo>
                  <a:pt x="6153539" y="5305086"/>
                  <a:pt x="6152891" y="5305738"/>
                  <a:pt x="6152086" y="5305738"/>
                </a:cubicBezTo>
                <a:cubicBezTo>
                  <a:pt x="6151286" y="5305738"/>
                  <a:pt x="6150638" y="5305086"/>
                  <a:pt x="6150638" y="5304286"/>
                </a:cubicBezTo>
                <a:cubicBezTo>
                  <a:pt x="6150638" y="5303485"/>
                  <a:pt x="6151286" y="5302833"/>
                  <a:pt x="6152086" y="5302833"/>
                </a:cubicBezTo>
                <a:close/>
                <a:moveTo>
                  <a:pt x="6305672" y="5302105"/>
                </a:moveTo>
                <a:cubicBezTo>
                  <a:pt x="6306872" y="5302105"/>
                  <a:pt x="6307848" y="5303081"/>
                  <a:pt x="6307848" y="5304282"/>
                </a:cubicBezTo>
                <a:cubicBezTo>
                  <a:pt x="6307848" y="5305487"/>
                  <a:pt x="6306872" y="5306462"/>
                  <a:pt x="6305672" y="5306462"/>
                </a:cubicBezTo>
                <a:cubicBezTo>
                  <a:pt x="6304468" y="5306462"/>
                  <a:pt x="6303492" y="5305487"/>
                  <a:pt x="6303492" y="5304282"/>
                </a:cubicBezTo>
                <a:cubicBezTo>
                  <a:pt x="6303492" y="5303081"/>
                  <a:pt x="6304468" y="5302105"/>
                  <a:pt x="6305672" y="5302105"/>
                </a:cubicBezTo>
                <a:close/>
                <a:moveTo>
                  <a:pt x="6459619" y="5301019"/>
                </a:moveTo>
                <a:cubicBezTo>
                  <a:pt x="6461434" y="5301019"/>
                  <a:pt x="6462882" y="5302471"/>
                  <a:pt x="6462882" y="5304286"/>
                </a:cubicBezTo>
                <a:cubicBezTo>
                  <a:pt x="6462882" y="5306100"/>
                  <a:pt x="6461434" y="5307553"/>
                  <a:pt x="6459619" y="5307553"/>
                </a:cubicBezTo>
                <a:cubicBezTo>
                  <a:pt x="6457801" y="5307553"/>
                  <a:pt x="6456348" y="5306100"/>
                  <a:pt x="6456348" y="5304286"/>
                </a:cubicBezTo>
                <a:cubicBezTo>
                  <a:pt x="6456348" y="5302471"/>
                  <a:pt x="6457801" y="5301019"/>
                  <a:pt x="6459619" y="5301019"/>
                </a:cubicBezTo>
                <a:close/>
                <a:moveTo>
                  <a:pt x="6613200" y="5299929"/>
                </a:moveTo>
                <a:cubicBezTo>
                  <a:pt x="6615743" y="5299929"/>
                  <a:pt x="6617558" y="5301743"/>
                  <a:pt x="6617558" y="5304286"/>
                </a:cubicBezTo>
                <a:cubicBezTo>
                  <a:pt x="6617558" y="5306828"/>
                  <a:pt x="6615378" y="5308643"/>
                  <a:pt x="6613200" y="5308643"/>
                </a:cubicBezTo>
                <a:cubicBezTo>
                  <a:pt x="6610658" y="5308643"/>
                  <a:pt x="6608844" y="5306828"/>
                  <a:pt x="6608844" y="5304286"/>
                </a:cubicBezTo>
                <a:cubicBezTo>
                  <a:pt x="6608844" y="5301743"/>
                  <a:pt x="6610658" y="5299929"/>
                  <a:pt x="6613200" y="5299929"/>
                </a:cubicBezTo>
                <a:close/>
                <a:moveTo>
                  <a:pt x="5844550" y="5150338"/>
                </a:moveTo>
                <a:cubicBezTo>
                  <a:pt x="5844916" y="5150338"/>
                  <a:pt x="5844916" y="5150338"/>
                  <a:pt x="5844916" y="5150700"/>
                </a:cubicBezTo>
                <a:cubicBezTo>
                  <a:pt x="5844916" y="5151063"/>
                  <a:pt x="5844550" y="5151063"/>
                  <a:pt x="5844550" y="5151063"/>
                </a:cubicBezTo>
                <a:cubicBezTo>
                  <a:pt x="5844188" y="5151063"/>
                  <a:pt x="5844188" y="5151063"/>
                  <a:pt x="5844188" y="5150700"/>
                </a:cubicBezTo>
                <a:cubicBezTo>
                  <a:pt x="5844188" y="5150338"/>
                  <a:pt x="5844188" y="5150338"/>
                  <a:pt x="5844550" y="5150338"/>
                </a:cubicBezTo>
                <a:close/>
                <a:moveTo>
                  <a:pt x="5383074" y="5150338"/>
                </a:moveTo>
                <a:cubicBezTo>
                  <a:pt x="5383436" y="5150338"/>
                  <a:pt x="5383436" y="5150338"/>
                  <a:pt x="5383436" y="5150700"/>
                </a:cubicBezTo>
                <a:cubicBezTo>
                  <a:pt x="5383436" y="5151063"/>
                  <a:pt x="5383074" y="5151063"/>
                  <a:pt x="5383074" y="5151063"/>
                </a:cubicBezTo>
                <a:cubicBezTo>
                  <a:pt x="5382712" y="5151063"/>
                  <a:pt x="5382712" y="5151063"/>
                  <a:pt x="5382712" y="5150700"/>
                </a:cubicBezTo>
                <a:cubicBezTo>
                  <a:pt x="5382712" y="5150338"/>
                  <a:pt x="5382712" y="5150338"/>
                  <a:pt x="5383074" y="5150338"/>
                </a:cubicBezTo>
                <a:close/>
                <a:moveTo>
                  <a:pt x="5229126" y="5150338"/>
                </a:moveTo>
                <a:cubicBezTo>
                  <a:pt x="5229488" y="5150338"/>
                  <a:pt x="5229488" y="5150338"/>
                  <a:pt x="5229488" y="5150700"/>
                </a:cubicBezTo>
                <a:cubicBezTo>
                  <a:pt x="5229488" y="5151063"/>
                  <a:pt x="5229126" y="5151063"/>
                  <a:pt x="5229126" y="5151063"/>
                </a:cubicBezTo>
                <a:cubicBezTo>
                  <a:pt x="5228764" y="5151063"/>
                  <a:pt x="5228764" y="5151063"/>
                  <a:pt x="5228764" y="5150700"/>
                </a:cubicBezTo>
                <a:cubicBezTo>
                  <a:pt x="5228764" y="5150338"/>
                  <a:pt x="5228764" y="5150338"/>
                  <a:pt x="5229126" y="5150338"/>
                </a:cubicBezTo>
                <a:close/>
                <a:moveTo>
                  <a:pt x="5075545" y="5149972"/>
                </a:moveTo>
                <a:cubicBezTo>
                  <a:pt x="5075907" y="5149972"/>
                  <a:pt x="5076270" y="5150335"/>
                  <a:pt x="5076270" y="5150700"/>
                </a:cubicBezTo>
                <a:cubicBezTo>
                  <a:pt x="5076270" y="5151063"/>
                  <a:pt x="5075545" y="5151425"/>
                  <a:pt x="5075545" y="5151425"/>
                </a:cubicBezTo>
                <a:cubicBezTo>
                  <a:pt x="5075179" y="5151425"/>
                  <a:pt x="5074817" y="5151063"/>
                  <a:pt x="5074817" y="5150700"/>
                </a:cubicBezTo>
                <a:cubicBezTo>
                  <a:pt x="5074817" y="5150335"/>
                  <a:pt x="5075179" y="5149972"/>
                  <a:pt x="5075545" y="5149972"/>
                </a:cubicBezTo>
                <a:close/>
                <a:moveTo>
                  <a:pt x="5998139" y="5149248"/>
                </a:moveTo>
                <a:cubicBezTo>
                  <a:pt x="5998944" y="5149248"/>
                  <a:pt x="5999592" y="5149900"/>
                  <a:pt x="5999592" y="5150700"/>
                </a:cubicBezTo>
                <a:cubicBezTo>
                  <a:pt x="5999592" y="5151501"/>
                  <a:pt x="5998944" y="5152153"/>
                  <a:pt x="5998139" y="5152153"/>
                </a:cubicBezTo>
                <a:cubicBezTo>
                  <a:pt x="5997338" y="5152153"/>
                  <a:pt x="5996690" y="5151501"/>
                  <a:pt x="5996690" y="5150700"/>
                </a:cubicBezTo>
                <a:cubicBezTo>
                  <a:pt x="5996690" y="5149900"/>
                  <a:pt x="5997338" y="5149248"/>
                  <a:pt x="5998139" y="5149248"/>
                </a:cubicBezTo>
                <a:close/>
                <a:moveTo>
                  <a:pt x="6152083" y="5148524"/>
                </a:moveTo>
                <a:cubicBezTo>
                  <a:pt x="6153288" y="5148524"/>
                  <a:pt x="6154263" y="5149500"/>
                  <a:pt x="6154263" y="5150704"/>
                </a:cubicBezTo>
                <a:cubicBezTo>
                  <a:pt x="6154263" y="5151905"/>
                  <a:pt x="6153288" y="5152881"/>
                  <a:pt x="6152083" y="5152881"/>
                </a:cubicBezTo>
                <a:cubicBezTo>
                  <a:pt x="6150882" y="5152881"/>
                  <a:pt x="6149906" y="5151905"/>
                  <a:pt x="6149906" y="5150704"/>
                </a:cubicBezTo>
                <a:cubicBezTo>
                  <a:pt x="6149906" y="5149500"/>
                  <a:pt x="6150882" y="5148524"/>
                  <a:pt x="6152083" y="5148524"/>
                </a:cubicBezTo>
                <a:close/>
                <a:moveTo>
                  <a:pt x="6305672" y="5147434"/>
                </a:moveTo>
                <a:cubicBezTo>
                  <a:pt x="6307486" y="5147434"/>
                  <a:pt x="6308935" y="5148886"/>
                  <a:pt x="6308935" y="5150700"/>
                </a:cubicBezTo>
                <a:cubicBezTo>
                  <a:pt x="6308935" y="5152515"/>
                  <a:pt x="6307486" y="5153967"/>
                  <a:pt x="6305672" y="5153967"/>
                </a:cubicBezTo>
                <a:cubicBezTo>
                  <a:pt x="6303854" y="5153967"/>
                  <a:pt x="6302401" y="5152515"/>
                  <a:pt x="6302401" y="5150700"/>
                </a:cubicBezTo>
                <a:cubicBezTo>
                  <a:pt x="6302401" y="5148886"/>
                  <a:pt x="6303854" y="5147434"/>
                  <a:pt x="6305672" y="5147434"/>
                </a:cubicBezTo>
                <a:close/>
                <a:moveTo>
                  <a:pt x="6459616" y="5145981"/>
                </a:moveTo>
                <a:cubicBezTo>
                  <a:pt x="6462158" y="5145981"/>
                  <a:pt x="6463972" y="5147796"/>
                  <a:pt x="6463972" y="5150338"/>
                </a:cubicBezTo>
                <a:cubicBezTo>
                  <a:pt x="6463972" y="5152881"/>
                  <a:pt x="6461792" y="5154695"/>
                  <a:pt x="6459616" y="5154695"/>
                </a:cubicBezTo>
                <a:cubicBezTo>
                  <a:pt x="6457073" y="5154695"/>
                  <a:pt x="6455258" y="5152881"/>
                  <a:pt x="6455258" y="5150338"/>
                </a:cubicBezTo>
                <a:cubicBezTo>
                  <a:pt x="6455258" y="5147796"/>
                  <a:pt x="6457073" y="5145981"/>
                  <a:pt x="6459616" y="5145981"/>
                </a:cubicBezTo>
                <a:close/>
                <a:moveTo>
                  <a:pt x="6613200" y="5144891"/>
                </a:moveTo>
                <a:cubicBezTo>
                  <a:pt x="6616410" y="5144891"/>
                  <a:pt x="6619010" y="5147491"/>
                  <a:pt x="6619010" y="5150700"/>
                </a:cubicBezTo>
                <a:cubicBezTo>
                  <a:pt x="6619010" y="5153910"/>
                  <a:pt x="6616410" y="5156510"/>
                  <a:pt x="6613200" y="5156510"/>
                </a:cubicBezTo>
                <a:cubicBezTo>
                  <a:pt x="6609995" y="5156510"/>
                  <a:pt x="6607395" y="5153910"/>
                  <a:pt x="6607395" y="5150700"/>
                </a:cubicBezTo>
                <a:cubicBezTo>
                  <a:pt x="6607395" y="5147491"/>
                  <a:pt x="6609995" y="5144891"/>
                  <a:pt x="6613200" y="5144891"/>
                </a:cubicBezTo>
                <a:close/>
                <a:moveTo>
                  <a:pt x="5690606" y="4996391"/>
                </a:moveTo>
                <a:cubicBezTo>
                  <a:pt x="5690972" y="4996391"/>
                  <a:pt x="5690972" y="4996391"/>
                  <a:pt x="5690972" y="4996753"/>
                </a:cubicBezTo>
                <a:cubicBezTo>
                  <a:pt x="5690972" y="4997119"/>
                  <a:pt x="5690606" y="4997119"/>
                  <a:pt x="5690606" y="4997119"/>
                </a:cubicBezTo>
                <a:cubicBezTo>
                  <a:pt x="5690244" y="4997119"/>
                  <a:pt x="5690244" y="4997119"/>
                  <a:pt x="5690244" y="4996753"/>
                </a:cubicBezTo>
                <a:cubicBezTo>
                  <a:pt x="5690244" y="4996391"/>
                  <a:pt x="5690244" y="4996391"/>
                  <a:pt x="5690606" y="4996391"/>
                </a:cubicBezTo>
                <a:close/>
                <a:moveTo>
                  <a:pt x="5229126" y="4996391"/>
                </a:moveTo>
                <a:cubicBezTo>
                  <a:pt x="5229488" y="4996391"/>
                  <a:pt x="5229488" y="4996391"/>
                  <a:pt x="5229488" y="4996753"/>
                </a:cubicBezTo>
                <a:cubicBezTo>
                  <a:pt x="5229488" y="4997119"/>
                  <a:pt x="5229126" y="4997119"/>
                  <a:pt x="5229126" y="4997119"/>
                </a:cubicBezTo>
                <a:cubicBezTo>
                  <a:pt x="5228764" y="4997119"/>
                  <a:pt x="5228764" y="4997119"/>
                  <a:pt x="5228764" y="4996753"/>
                </a:cubicBezTo>
                <a:cubicBezTo>
                  <a:pt x="5228764" y="4996391"/>
                  <a:pt x="5228764" y="4996391"/>
                  <a:pt x="5229126" y="4996391"/>
                </a:cubicBezTo>
                <a:close/>
                <a:moveTo>
                  <a:pt x="5075541" y="4996391"/>
                </a:moveTo>
                <a:cubicBezTo>
                  <a:pt x="5075904" y="4996391"/>
                  <a:pt x="5075904" y="4996391"/>
                  <a:pt x="5075904" y="4996753"/>
                </a:cubicBezTo>
                <a:cubicBezTo>
                  <a:pt x="5075904" y="4997119"/>
                  <a:pt x="5075541" y="4997119"/>
                  <a:pt x="5075541" y="4997119"/>
                </a:cubicBezTo>
                <a:cubicBezTo>
                  <a:pt x="5075179" y="4997119"/>
                  <a:pt x="5075179" y="4997119"/>
                  <a:pt x="5075179" y="4996753"/>
                </a:cubicBezTo>
                <a:cubicBezTo>
                  <a:pt x="5075179" y="4996391"/>
                  <a:pt x="5075179" y="4996391"/>
                  <a:pt x="5075541" y="4996391"/>
                </a:cubicBezTo>
                <a:close/>
                <a:moveTo>
                  <a:pt x="4921594" y="4996029"/>
                </a:moveTo>
                <a:cubicBezTo>
                  <a:pt x="4921960" y="4996029"/>
                  <a:pt x="4922322" y="4996391"/>
                  <a:pt x="4922322" y="4996753"/>
                </a:cubicBezTo>
                <a:cubicBezTo>
                  <a:pt x="4922322" y="4997119"/>
                  <a:pt x="4921594" y="4997481"/>
                  <a:pt x="4921594" y="4997481"/>
                </a:cubicBezTo>
                <a:cubicBezTo>
                  <a:pt x="4921232" y="4997481"/>
                  <a:pt x="4920870" y="4997119"/>
                  <a:pt x="4920870" y="4996753"/>
                </a:cubicBezTo>
                <a:cubicBezTo>
                  <a:pt x="4920870" y="4996391"/>
                  <a:pt x="4921232" y="4996029"/>
                  <a:pt x="4921594" y="4996029"/>
                </a:cubicBezTo>
                <a:close/>
                <a:moveTo>
                  <a:pt x="5844554" y="4995301"/>
                </a:moveTo>
                <a:cubicBezTo>
                  <a:pt x="5845278" y="4995301"/>
                  <a:pt x="5846006" y="4996029"/>
                  <a:pt x="5846006" y="4996753"/>
                </a:cubicBezTo>
                <a:cubicBezTo>
                  <a:pt x="5846006" y="4997477"/>
                  <a:pt x="5844554" y="4998205"/>
                  <a:pt x="5844554" y="4998205"/>
                </a:cubicBezTo>
                <a:cubicBezTo>
                  <a:pt x="5843826" y="4998205"/>
                  <a:pt x="5843102" y="4997477"/>
                  <a:pt x="5843102" y="4996753"/>
                </a:cubicBezTo>
                <a:cubicBezTo>
                  <a:pt x="5843102" y="4996029"/>
                  <a:pt x="5843826" y="4995301"/>
                  <a:pt x="5844554" y="4995301"/>
                </a:cubicBezTo>
                <a:close/>
                <a:moveTo>
                  <a:pt x="5998136" y="4994577"/>
                </a:moveTo>
                <a:cubicBezTo>
                  <a:pt x="5999340" y="4994577"/>
                  <a:pt x="6000316" y="4995552"/>
                  <a:pt x="6000316" y="4996753"/>
                </a:cubicBezTo>
                <a:cubicBezTo>
                  <a:pt x="6000316" y="4997958"/>
                  <a:pt x="5999340" y="4998934"/>
                  <a:pt x="5998136" y="4998934"/>
                </a:cubicBezTo>
                <a:cubicBezTo>
                  <a:pt x="5996934" y="4998934"/>
                  <a:pt x="5995959" y="4997958"/>
                  <a:pt x="5995959" y="4996753"/>
                </a:cubicBezTo>
                <a:cubicBezTo>
                  <a:pt x="5995959" y="4995552"/>
                  <a:pt x="5996934" y="4994577"/>
                  <a:pt x="5998136" y="4994577"/>
                </a:cubicBezTo>
                <a:close/>
                <a:moveTo>
                  <a:pt x="6152083" y="4993486"/>
                </a:moveTo>
                <a:cubicBezTo>
                  <a:pt x="6153901" y="4993486"/>
                  <a:pt x="6155350" y="4994939"/>
                  <a:pt x="6155350" y="4996753"/>
                </a:cubicBezTo>
                <a:cubicBezTo>
                  <a:pt x="6155350" y="4998568"/>
                  <a:pt x="6153901" y="5000024"/>
                  <a:pt x="6152083" y="5000024"/>
                </a:cubicBezTo>
                <a:cubicBezTo>
                  <a:pt x="6150268" y="5000024"/>
                  <a:pt x="6148816" y="4998568"/>
                  <a:pt x="6148816" y="4996753"/>
                </a:cubicBezTo>
                <a:cubicBezTo>
                  <a:pt x="6148816" y="4994939"/>
                  <a:pt x="6150268" y="4993486"/>
                  <a:pt x="6152083" y="4993486"/>
                </a:cubicBezTo>
                <a:close/>
                <a:moveTo>
                  <a:pt x="6305668" y="4992396"/>
                </a:moveTo>
                <a:cubicBezTo>
                  <a:pt x="6308210" y="4992396"/>
                  <a:pt x="6310025" y="4994211"/>
                  <a:pt x="6310025" y="4996753"/>
                </a:cubicBezTo>
                <a:cubicBezTo>
                  <a:pt x="6310025" y="4999296"/>
                  <a:pt x="6307844" y="5001110"/>
                  <a:pt x="6305668" y="5001110"/>
                </a:cubicBezTo>
                <a:cubicBezTo>
                  <a:pt x="6303126" y="5001110"/>
                  <a:pt x="6301311" y="4999296"/>
                  <a:pt x="6301311" y="4996753"/>
                </a:cubicBezTo>
                <a:cubicBezTo>
                  <a:pt x="6301311" y="4994211"/>
                  <a:pt x="6303126" y="4992396"/>
                  <a:pt x="6305668" y="4992396"/>
                </a:cubicBezTo>
                <a:close/>
                <a:moveTo>
                  <a:pt x="6459616" y="4990944"/>
                </a:moveTo>
                <a:cubicBezTo>
                  <a:pt x="6462825" y="4990944"/>
                  <a:pt x="6465425" y="4993543"/>
                  <a:pt x="6465425" y="4996753"/>
                </a:cubicBezTo>
                <a:cubicBezTo>
                  <a:pt x="6465425" y="4999963"/>
                  <a:pt x="6462821" y="5002562"/>
                  <a:pt x="6459616" y="5002562"/>
                </a:cubicBezTo>
                <a:cubicBezTo>
                  <a:pt x="6456406" y="5002562"/>
                  <a:pt x="6453806" y="4999963"/>
                  <a:pt x="6453806" y="4996753"/>
                </a:cubicBezTo>
                <a:cubicBezTo>
                  <a:pt x="6453806" y="4993543"/>
                  <a:pt x="6456410" y="4990944"/>
                  <a:pt x="6459616" y="4990944"/>
                </a:cubicBezTo>
                <a:close/>
                <a:moveTo>
                  <a:pt x="6613200" y="4989491"/>
                </a:moveTo>
                <a:cubicBezTo>
                  <a:pt x="6617196" y="4989491"/>
                  <a:pt x="6620462" y="4992758"/>
                  <a:pt x="6620462" y="4996753"/>
                </a:cubicBezTo>
                <a:cubicBezTo>
                  <a:pt x="6620462" y="5000748"/>
                  <a:pt x="6617196" y="5004015"/>
                  <a:pt x="6613200" y="5004015"/>
                </a:cubicBezTo>
                <a:cubicBezTo>
                  <a:pt x="6609210" y="5004015"/>
                  <a:pt x="6605939" y="5000748"/>
                  <a:pt x="6605939" y="4996753"/>
                </a:cubicBezTo>
                <a:cubicBezTo>
                  <a:pt x="6605939" y="4992758"/>
                  <a:pt x="6609210" y="4989491"/>
                  <a:pt x="6613200" y="4989491"/>
                </a:cubicBezTo>
                <a:close/>
                <a:moveTo>
                  <a:pt x="5536659" y="4842806"/>
                </a:moveTo>
                <a:cubicBezTo>
                  <a:pt x="5537021" y="4842806"/>
                  <a:pt x="5537021" y="4842806"/>
                  <a:pt x="5537021" y="4843168"/>
                </a:cubicBezTo>
                <a:cubicBezTo>
                  <a:pt x="5537021" y="4843530"/>
                  <a:pt x="5536659" y="4843530"/>
                  <a:pt x="5536659" y="4843530"/>
                </a:cubicBezTo>
                <a:cubicBezTo>
                  <a:pt x="5536297" y="4843530"/>
                  <a:pt x="5536297" y="4843530"/>
                  <a:pt x="5536297" y="4843168"/>
                </a:cubicBezTo>
                <a:cubicBezTo>
                  <a:pt x="5536297" y="4842806"/>
                  <a:pt x="5536297" y="4842806"/>
                  <a:pt x="5536659" y="4842806"/>
                </a:cubicBezTo>
                <a:close/>
                <a:moveTo>
                  <a:pt x="5075541" y="4842806"/>
                </a:moveTo>
                <a:cubicBezTo>
                  <a:pt x="5075904" y="4842806"/>
                  <a:pt x="5075904" y="4842806"/>
                  <a:pt x="5075904" y="4843168"/>
                </a:cubicBezTo>
                <a:cubicBezTo>
                  <a:pt x="5075904" y="4843530"/>
                  <a:pt x="5075541" y="4843530"/>
                  <a:pt x="5075541" y="4843530"/>
                </a:cubicBezTo>
                <a:cubicBezTo>
                  <a:pt x="5075179" y="4843530"/>
                  <a:pt x="5075179" y="4843530"/>
                  <a:pt x="5075179" y="4843168"/>
                </a:cubicBezTo>
                <a:cubicBezTo>
                  <a:pt x="5075179" y="4842806"/>
                  <a:pt x="5075179" y="4842806"/>
                  <a:pt x="5075541" y="4842806"/>
                </a:cubicBezTo>
                <a:close/>
                <a:moveTo>
                  <a:pt x="4921594" y="4842806"/>
                </a:moveTo>
                <a:cubicBezTo>
                  <a:pt x="4921956" y="4842806"/>
                  <a:pt x="4921956" y="4842806"/>
                  <a:pt x="4921956" y="4843168"/>
                </a:cubicBezTo>
                <a:cubicBezTo>
                  <a:pt x="4921956" y="4843530"/>
                  <a:pt x="4921594" y="4843530"/>
                  <a:pt x="4921594" y="4843530"/>
                </a:cubicBezTo>
                <a:cubicBezTo>
                  <a:pt x="4921232" y="4843530"/>
                  <a:pt x="4921232" y="4843530"/>
                  <a:pt x="4921232" y="4843168"/>
                </a:cubicBezTo>
                <a:cubicBezTo>
                  <a:pt x="4921232" y="4842806"/>
                  <a:pt x="4921232" y="4842806"/>
                  <a:pt x="4921594" y="4842806"/>
                </a:cubicBezTo>
                <a:close/>
                <a:moveTo>
                  <a:pt x="4768012" y="4842444"/>
                </a:moveTo>
                <a:cubicBezTo>
                  <a:pt x="4768374" y="4842444"/>
                  <a:pt x="4768736" y="4842806"/>
                  <a:pt x="4768736" y="4843172"/>
                </a:cubicBezTo>
                <a:cubicBezTo>
                  <a:pt x="4768736" y="4843534"/>
                  <a:pt x="4768012" y="4843896"/>
                  <a:pt x="4768012" y="4843896"/>
                </a:cubicBezTo>
                <a:cubicBezTo>
                  <a:pt x="4767646" y="4843896"/>
                  <a:pt x="4767284" y="4843534"/>
                  <a:pt x="4767284" y="4843172"/>
                </a:cubicBezTo>
                <a:cubicBezTo>
                  <a:pt x="4767284" y="4842806"/>
                  <a:pt x="4767646" y="4842444"/>
                  <a:pt x="4768012" y="4842444"/>
                </a:cubicBezTo>
                <a:close/>
                <a:moveTo>
                  <a:pt x="5690606" y="4841353"/>
                </a:moveTo>
                <a:cubicBezTo>
                  <a:pt x="5691331" y="4841353"/>
                  <a:pt x="5692059" y="4842081"/>
                  <a:pt x="5692059" y="4842806"/>
                </a:cubicBezTo>
                <a:cubicBezTo>
                  <a:pt x="5692059" y="4843530"/>
                  <a:pt x="5690606" y="4844258"/>
                  <a:pt x="5690606" y="4844258"/>
                </a:cubicBezTo>
                <a:cubicBezTo>
                  <a:pt x="5689882" y="4844258"/>
                  <a:pt x="5689154" y="4843530"/>
                  <a:pt x="5689154" y="4842806"/>
                </a:cubicBezTo>
                <a:cubicBezTo>
                  <a:pt x="5689154" y="4842081"/>
                  <a:pt x="5689882" y="4841353"/>
                  <a:pt x="5690606" y="4841353"/>
                </a:cubicBezTo>
                <a:close/>
                <a:moveTo>
                  <a:pt x="5844554" y="4840629"/>
                </a:moveTo>
                <a:cubicBezTo>
                  <a:pt x="5845754" y="4840629"/>
                  <a:pt x="5846730" y="4841605"/>
                  <a:pt x="5846730" y="4842810"/>
                </a:cubicBezTo>
                <a:cubicBezTo>
                  <a:pt x="5846730" y="4844010"/>
                  <a:pt x="5845754" y="4844986"/>
                  <a:pt x="5844554" y="4844986"/>
                </a:cubicBezTo>
                <a:cubicBezTo>
                  <a:pt x="5843350" y="4844986"/>
                  <a:pt x="5842374" y="4844010"/>
                  <a:pt x="5842374" y="4842810"/>
                </a:cubicBezTo>
                <a:cubicBezTo>
                  <a:pt x="5842374" y="4841605"/>
                  <a:pt x="5843350" y="4840629"/>
                  <a:pt x="5844554" y="4840629"/>
                </a:cubicBezTo>
                <a:close/>
                <a:moveTo>
                  <a:pt x="5998136" y="4839901"/>
                </a:moveTo>
                <a:cubicBezTo>
                  <a:pt x="5999950" y="4839901"/>
                  <a:pt x="6001402" y="4841353"/>
                  <a:pt x="6001402" y="4843168"/>
                </a:cubicBezTo>
                <a:cubicBezTo>
                  <a:pt x="6001402" y="4844982"/>
                  <a:pt x="5999950" y="4846435"/>
                  <a:pt x="5998136" y="4846435"/>
                </a:cubicBezTo>
                <a:cubicBezTo>
                  <a:pt x="5996321" y="4846435"/>
                  <a:pt x="5994868" y="4844982"/>
                  <a:pt x="5994868" y="4843168"/>
                </a:cubicBezTo>
                <a:cubicBezTo>
                  <a:pt x="5994868" y="4841353"/>
                  <a:pt x="5996321" y="4839901"/>
                  <a:pt x="5998136" y="4839901"/>
                </a:cubicBezTo>
                <a:close/>
                <a:moveTo>
                  <a:pt x="6152083" y="4838449"/>
                </a:moveTo>
                <a:cubicBezTo>
                  <a:pt x="6154626" y="4838449"/>
                  <a:pt x="6156440" y="4840263"/>
                  <a:pt x="6156440" y="4842806"/>
                </a:cubicBezTo>
                <a:cubicBezTo>
                  <a:pt x="6156440" y="4845348"/>
                  <a:pt x="6154260" y="4847163"/>
                  <a:pt x="6152083" y="4847163"/>
                </a:cubicBezTo>
                <a:cubicBezTo>
                  <a:pt x="6149544" y="4847163"/>
                  <a:pt x="6147726" y="4845348"/>
                  <a:pt x="6147726" y="4842806"/>
                </a:cubicBezTo>
                <a:cubicBezTo>
                  <a:pt x="6147726" y="4840263"/>
                  <a:pt x="6149544" y="4838449"/>
                  <a:pt x="6152083" y="4838449"/>
                </a:cubicBezTo>
                <a:close/>
                <a:moveTo>
                  <a:pt x="6305668" y="4836996"/>
                </a:moveTo>
                <a:cubicBezTo>
                  <a:pt x="6308878" y="4836996"/>
                  <a:pt x="6311478" y="4839596"/>
                  <a:pt x="6311478" y="4842806"/>
                </a:cubicBezTo>
                <a:cubicBezTo>
                  <a:pt x="6311478" y="4846015"/>
                  <a:pt x="6308874" y="4848615"/>
                  <a:pt x="6305668" y="4848615"/>
                </a:cubicBezTo>
                <a:cubicBezTo>
                  <a:pt x="6302458" y="4848615"/>
                  <a:pt x="6299858" y="4846015"/>
                  <a:pt x="6299858" y="4842806"/>
                </a:cubicBezTo>
                <a:cubicBezTo>
                  <a:pt x="6299858" y="4839596"/>
                  <a:pt x="6302462" y="4836996"/>
                  <a:pt x="6305668" y="4836996"/>
                </a:cubicBezTo>
                <a:close/>
                <a:moveTo>
                  <a:pt x="6459616" y="4835544"/>
                </a:moveTo>
                <a:cubicBezTo>
                  <a:pt x="6463610" y="4835544"/>
                  <a:pt x="6466877" y="4838811"/>
                  <a:pt x="6466877" y="4842806"/>
                </a:cubicBezTo>
                <a:cubicBezTo>
                  <a:pt x="6466877" y="4846801"/>
                  <a:pt x="6463610" y="4850067"/>
                  <a:pt x="6459616" y="4850067"/>
                </a:cubicBezTo>
                <a:cubicBezTo>
                  <a:pt x="6455624" y="4850067"/>
                  <a:pt x="6452354" y="4846801"/>
                  <a:pt x="6452354" y="4842806"/>
                </a:cubicBezTo>
                <a:cubicBezTo>
                  <a:pt x="6452354" y="4838811"/>
                  <a:pt x="6455624" y="4835544"/>
                  <a:pt x="6459616" y="4835544"/>
                </a:cubicBezTo>
                <a:close/>
                <a:moveTo>
                  <a:pt x="6613200" y="4833730"/>
                </a:moveTo>
                <a:cubicBezTo>
                  <a:pt x="6618286" y="4833730"/>
                  <a:pt x="6622280" y="4837724"/>
                  <a:pt x="6622280" y="4842806"/>
                </a:cubicBezTo>
                <a:cubicBezTo>
                  <a:pt x="6622280" y="4847891"/>
                  <a:pt x="6618286" y="4851886"/>
                  <a:pt x="6613200" y="4851886"/>
                </a:cubicBezTo>
                <a:cubicBezTo>
                  <a:pt x="6608120" y="4851886"/>
                  <a:pt x="6604124" y="4847891"/>
                  <a:pt x="6604124" y="4842806"/>
                </a:cubicBezTo>
                <a:cubicBezTo>
                  <a:pt x="6604124" y="4837724"/>
                  <a:pt x="6608120" y="4833730"/>
                  <a:pt x="6613200" y="4833730"/>
                </a:cubicBezTo>
                <a:close/>
                <a:moveTo>
                  <a:pt x="5383074" y="4688858"/>
                </a:moveTo>
                <a:cubicBezTo>
                  <a:pt x="5383436" y="4688858"/>
                  <a:pt x="5383436" y="4688858"/>
                  <a:pt x="5383436" y="4689220"/>
                </a:cubicBezTo>
                <a:cubicBezTo>
                  <a:pt x="5383436" y="4689586"/>
                  <a:pt x="5383074" y="4689586"/>
                  <a:pt x="5383074" y="4689586"/>
                </a:cubicBezTo>
                <a:cubicBezTo>
                  <a:pt x="5382712" y="4689586"/>
                  <a:pt x="5382712" y="4689586"/>
                  <a:pt x="5382712" y="4689220"/>
                </a:cubicBezTo>
                <a:cubicBezTo>
                  <a:pt x="5382712" y="4688858"/>
                  <a:pt x="5382712" y="4688858"/>
                  <a:pt x="5383074" y="4688858"/>
                </a:cubicBezTo>
                <a:close/>
                <a:moveTo>
                  <a:pt x="4921594" y="4688858"/>
                </a:moveTo>
                <a:cubicBezTo>
                  <a:pt x="4921956" y="4688858"/>
                  <a:pt x="4921956" y="4688858"/>
                  <a:pt x="4921956" y="4689220"/>
                </a:cubicBezTo>
                <a:cubicBezTo>
                  <a:pt x="4921956" y="4689586"/>
                  <a:pt x="4921594" y="4689586"/>
                  <a:pt x="4921594" y="4689586"/>
                </a:cubicBezTo>
                <a:cubicBezTo>
                  <a:pt x="4921232" y="4689586"/>
                  <a:pt x="4921232" y="4689586"/>
                  <a:pt x="4921232" y="4689220"/>
                </a:cubicBezTo>
                <a:cubicBezTo>
                  <a:pt x="4921232" y="4688858"/>
                  <a:pt x="4921232" y="4688858"/>
                  <a:pt x="4921594" y="4688858"/>
                </a:cubicBezTo>
                <a:close/>
                <a:moveTo>
                  <a:pt x="4768008" y="4688858"/>
                </a:moveTo>
                <a:cubicBezTo>
                  <a:pt x="4768370" y="4688858"/>
                  <a:pt x="4768370" y="4688858"/>
                  <a:pt x="4768370" y="4689220"/>
                </a:cubicBezTo>
                <a:cubicBezTo>
                  <a:pt x="4768370" y="4689586"/>
                  <a:pt x="4768008" y="4689586"/>
                  <a:pt x="4768008" y="4689586"/>
                </a:cubicBezTo>
                <a:cubicBezTo>
                  <a:pt x="4767646" y="4689586"/>
                  <a:pt x="4767646" y="4689586"/>
                  <a:pt x="4767646" y="4689220"/>
                </a:cubicBezTo>
                <a:cubicBezTo>
                  <a:pt x="4767646" y="4688858"/>
                  <a:pt x="4767646" y="4688858"/>
                  <a:pt x="4768008" y="4688858"/>
                </a:cubicBezTo>
                <a:close/>
                <a:moveTo>
                  <a:pt x="4614065" y="4688496"/>
                </a:moveTo>
                <a:cubicBezTo>
                  <a:pt x="4614465" y="4688496"/>
                  <a:pt x="4614789" y="4688820"/>
                  <a:pt x="4614789" y="4689220"/>
                </a:cubicBezTo>
                <a:cubicBezTo>
                  <a:pt x="4614789" y="4689625"/>
                  <a:pt x="4614465" y="4689949"/>
                  <a:pt x="4614065" y="4689949"/>
                </a:cubicBezTo>
                <a:cubicBezTo>
                  <a:pt x="4613661" y="4689949"/>
                  <a:pt x="4613337" y="4689625"/>
                  <a:pt x="4613337" y="4689220"/>
                </a:cubicBezTo>
                <a:cubicBezTo>
                  <a:pt x="4613337" y="4688820"/>
                  <a:pt x="4613661" y="4688496"/>
                  <a:pt x="4614065" y="4688496"/>
                </a:cubicBezTo>
                <a:close/>
                <a:moveTo>
                  <a:pt x="5536659" y="4687406"/>
                </a:moveTo>
                <a:cubicBezTo>
                  <a:pt x="5537384" y="4687406"/>
                  <a:pt x="5538112" y="4688130"/>
                  <a:pt x="5538112" y="4688858"/>
                </a:cubicBezTo>
                <a:cubicBezTo>
                  <a:pt x="5538112" y="4689583"/>
                  <a:pt x="5536659" y="4690311"/>
                  <a:pt x="5536659" y="4690311"/>
                </a:cubicBezTo>
                <a:cubicBezTo>
                  <a:pt x="5535935" y="4690311"/>
                  <a:pt x="5535207" y="4689583"/>
                  <a:pt x="5535207" y="4688858"/>
                </a:cubicBezTo>
                <a:cubicBezTo>
                  <a:pt x="5535207" y="4688130"/>
                  <a:pt x="5535935" y="4687406"/>
                  <a:pt x="5536659" y="4687406"/>
                </a:cubicBezTo>
                <a:close/>
                <a:moveTo>
                  <a:pt x="5690602" y="4687044"/>
                </a:moveTo>
                <a:cubicBezTo>
                  <a:pt x="5691693" y="4687044"/>
                  <a:pt x="5692783" y="4688134"/>
                  <a:pt x="5692783" y="4689220"/>
                </a:cubicBezTo>
                <a:cubicBezTo>
                  <a:pt x="5692783" y="4690311"/>
                  <a:pt x="5690602" y="4691401"/>
                  <a:pt x="5690602" y="4691401"/>
                </a:cubicBezTo>
                <a:cubicBezTo>
                  <a:pt x="5689512" y="4691401"/>
                  <a:pt x="5688426" y="4690311"/>
                  <a:pt x="5688426" y="4689220"/>
                </a:cubicBezTo>
                <a:cubicBezTo>
                  <a:pt x="5688426" y="4688134"/>
                  <a:pt x="5689512" y="4687044"/>
                  <a:pt x="5690602" y="4687044"/>
                </a:cubicBezTo>
                <a:close/>
                <a:moveTo>
                  <a:pt x="5844554" y="4685954"/>
                </a:moveTo>
                <a:cubicBezTo>
                  <a:pt x="5846368" y="4685954"/>
                  <a:pt x="5847817" y="4687406"/>
                  <a:pt x="5847817" y="4689220"/>
                </a:cubicBezTo>
                <a:cubicBezTo>
                  <a:pt x="5847817" y="4691035"/>
                  <a:pt x="5846368" y="4692491"/>
                  <a:pt x="5844554" y="4692491"/>
                </a:cubicBezTo>
                <a:cubicBezTo>
                  <a:pt x="5842736" y="4692491"/>
                  <a:pt x="5841284" y="4691035"/>
                  <a:pt x="5841284" y="4689220"/>
                </a:cubicBezTo>
                <a:cubicBezTo>
                  <a:pt x="5841284" y="4687406"/>
                  <a:pt x="5842736" y="4685954"/>
                  <a:pt x="5844554" y="4685954"/>
                </a:cubicBezTo>
                <a:close/>
                <a:moveTo>
                  <a:pt x="5998136" y="4684863"/>
                </a:moveTo>
                <a:cubicBezTo>
                  <a:pt x="6000678" y="4684863"/>
                  <a:pt x="6002492" y="4686678"/>
                  <a:pt x="6002492" y="4689220"/>
                </a:cubicBezTo>
                <a:cubicBezTo>
                  <a:pt x="6002492" y="4691763"/>
                  <a:pt x="6000312" y="4693577"/>
                  <a:pt x="5998136" y="4693577"/>
                </a:cubicBezTo>
                <a:cubicBezTo>
                  <a:pt x="5995593" y="4693577"/>
                  <a:pt x="5993778" y="4691763"/>
                  <a:pt x="5993778" y="4689220"/>
                </a:cubicBezTo>
                <a:cubicBezTo>
                  <a:pt x="5993778" y="4686678"/>
                  <a:pt x="5995593" y="4684863"/>
                  <a:pt x="5998136" y="4684863"/>
                </a:cubicBezTo>
                <a:close/>
                <a:moveTo>
                  <a:pt x="6152086" y="4683411"/>
                </a:moveTo>
                <a:cubicBezTo>
                  <a:pt x="6155354" y="4683411"/>
                  <a:pt x="6157896" y="4685954"/>
                  <a:pt x="6157896" y="4689220"/>
                </a:cubicBezTo>
                <a:cubicBezTo>
                  <a:pt x="6157896" y="4692487"/>
                  <a:pt x="6155354" y="4695030"/>
                  <a:pt x="6152086" y="4695030"/>
                </a:cubicBezTo>
                <a:cubicBezTo>
                  <a:pt x="6148820" y="4695030"/>
                  <a:pt x="6146277" y="4692487"/>
                  <a:pt x="6146277" y="4689220"/>
                </a:cubicBezTo>
                <a:cubicBezTo>
                  <a:pt x="6146277" y="4685954"/>
                  <a:pt x="6148820" y="4683411"/>
                  <a:pt x="6152086" y="4683411"/>
                </a:cubicBezTo>
                <a:close/>
                <a:moveTo>
                  <a:pt x="6305668" y="4681959"/>
                </a:moveTo>
                <a:cubicBezTo>
                  <a:pt x="6309663" y="4681959"/>
                  <a:pt x="6312930" y="4685226"/>
                  <a:pt x="6312930" y="4689220"/>
                </a:cubicBezTo>
                <a:cubicBezTo>
                  <a:pt x="6312930" y="4693215"/>
                  <a:pt x="6309663" y="4696482"/>
                  <a:pt x="6305668" y="4696482"/>
                </a:cubicBezTo>
                <a:cubicBezTo>
                  <a:pt x="6301673" y="4696482"/>
                  <a:pt x="6298406" y="4693215"/>
                  <a:pt x="6298406" y="4689220"/>
                </a:cubicBezTo>
                <a:cubicBezTo>
                  <a:pt x="6298406" y="4685226"/>
                  <a:pt x="6301673" y="4681959"/>
                  <a:pt x="6305668" y="4681959"/>
                </a:cubicBezTo>
                <a:close/>
                <a:moveTo>
                  <a:pt x="6459616" y="4680144"/>
                </a:moveTo>
                <a:cubicBezTo>
                  <a:pt x="6464700" y="4680144"/>
                  <a:pt x="6468696" y="4684139"/>
                  <a:pt x="6468696" y="4689220"/>
                </a:cubicBezTo>
                <a:cubicBezTo>
                  <a:pt x="6468696" y="4694306"/>
                  <a:pt x="6464700" y="4698300"/>
                  <a:pt x="6459616" y="4698300"/>
                </a:cubicBezTo>
                <a:cubicBezTo>
                  <a:pt x="6454534" y="4698300"/>
                  <a:pt x="6450540" y="4694306"/>
                  <a:pt x="6450540" y="4689220"/>
                </a:cubicBezTo>
                <a:cubicBezTo>
                  <a:pt x="6450540" y="4684139"/>
                  <a:pt x="6454534" y="4680144"/>
                  <a:pt x="6459616" y="4680144"/>
                </a:cubicBezTo>
                <a:close/>
                <a:moveTo>
                  <a:pt x="6613200" y="4679054"/>
                </a:moveTo>
                <a:cubicBezTo>
                  <a:pt x="6618648" y="4679054"/>
                  <a:pt x="6623367" y="4683773"/>
                  <a:pt x="6623367" y="4689220"/>
                </a:cubicBezTo>
                <a:cubicBezTo>
                  <a:pt x="6623367" y="4694668"/>
                  <a:pt x="6619010" y="4699387"/>
                  <a:pt x="6613200" y="4699387"/>
                </a:cubicBezTo>
                <a:cubicBezTo>
                  <a:pt x="6607754" y="4699387"/>
                  <a:pt x="6603034" y="4694668"/>
                  <a:pt x="6603034" y="4689220"/>
                </a:cubicBezTo>
                <a:cubicBezTo>
                  <a:pt x="6603034" y="4683773"/>
                  <a:pt x="6607754" y="4679054"/>
                  <a:pt x="6613200" y="4679054"/>
                </a:cubicBezTo>
                <a:close/>
                <a:moveTo>
                  <a:pt x="5229126" y="4535273"/>
                </a:moveTo>
                <a:cubicBezTo>
                  <a:pt x="5229488" y="4535273"/>
                  <a:pt x="5229488" y="4535273"/>
                  <a:pt x="5229488" y="4535635"/>
                </a:cubicBezTo>
                <a:cubicBezTo>
                  <a:pt x="5229488" y="4535997"/>
                  <a:pt x="5229126" y="4535997"/>
                  <a:pt x="5229126" y="4535997"/>
                </a:cubicBezTo>
                <a:cubicBezTo>
                  <a:pt x="5228764" y="4535997"/>
                  <a:pt x="5228764" y="4535997"/>
                  <a:pt x="5228764" y="4535635"/>
                </a:cubicBezTo>
                <a:cubicBezTo>
                  <a:pt x="5228764" y="4535273"/>
                  <a:pt x="5228764" y="4535273"/>
                  <a:pt x="5229126" y="4535273"/>
                </a:cubicBezTo>
                <a:close/>
                <a:moveTo>
                  <a:pt x="4768008" y="4535273"/>
                </a:moveTo>
                <a:cubicBezTo>
                  <a:pt x="4768370" y="4535273"/>
                  <a:pt x="4768370" y="4535273"/>
                  <a:pt x="4768370" y="4535635"/>
                </a:cubicBezTo>
                <a:cubicBezTo>
                  <a:pt x="4768370" y="4535997"/>
                  <a:pt x="4768008" y="4535997"/>
                  <a:pt x="4768008" y="4535997"/>
                </a:cubicBezTo>
                <a:cubicBezTo>
                  <a:pt x="4767646" y="4535997"/>
                  <a:pt x="4767646" y="4535997"/>
                  <a:pt x="4767646" y="4535635"/>
                </a:cubicBezTo>
                <a:cubicBezTo>
                  <a:pt x="4767646" y="4535273"/>
                  <a:pt x="4767646" y="4535273"/>
                  <a:pt x="4768008" y="4535273"/>
                </a:cubicBezTo>
                <a:close/>
                <a:moveTo>
                  <a:pt x="4614061" y="4535273"/>
                </a:moveTo>
                <a:cubicBezTo>
                  <a:pt x="4614424" y="4535273"/>
                  <a:pt x="4614424" y="4535273"/>
                  <a:pt x="4614424" y="4535635"/>
                </a:cubicBezTo>
                <a:cubicBezTo>
                  <a:pt x="4614424" y="4535997"/>
                  <a:pt x="4614061" y="4535997"/>
                  <a:pt x="4614061" y="4535997"/>
                </a:cubicBezTo>
                <a:cubicBezTo>
                  <a:pt x="4613699" y="4535997"/>
                  <a:pt x="4613699" y="4535997"/>
                  <a:pt x="4613699" y="4535635"/>
                </a:cubicBezTo>
                <a:cubicBezTo>
                  <a:pt x="4613699" y="4535273"/>
                  <a:pt x="4613699" y="4535273"/>
                  <a:pt x="4614061" y="4535273"/>
                </a:cubicBezTo>
                <a:close/>
                <a:moveTo>
                  <a:pt x="4460480" y="4534911"/>
                </a:moveTo>
                <a:cubicBezTo>
                  <a:pt x="4460842" y="4534911"/>
                  <a:pt x="4461204" y="4535273"/>
                  <a:pt x="4461204" y="4535635"/>
                </a:cubicBezTo>
                <a:cubicBezTo>
                  <a:pt x="4461204" y="4536001"/>
                  <a:pt x="4460480" y="4536363"/>
                  <a:pt x="4460480" y="4536363"/>
                </a:cubicBezTo>
                <a:cubicBezTo>
                  <a:pt x="4460114" y="4536363"/>
                  <a:pt x="4459752" y="4536001"/>
                  <a:pt x="4459752" y="4535635"/>
                </a:cubicBezTo>
                <a:cubicBezTo>
                  <a:pt x="4459752" y="4535273"/>
                  <a:pt x="4460114" y="4534911"/>
                  <a:pt x="4460480" y="4534911"/>
                </a:cubicBezTo>
                <a:close/>
                <a:moveTo>
                  <a:pt x="5383074" y="4533821"/>
                </a:moveTo>
                <a:cubicBezTo>
                  <a:pt x="5383798" y="4533821"/>
                  <a:pt x="5384526" y="4534545"/>
                  <a:pt x="5384526" y="4535273"/>
                </a:cubicBezTo>
                <a:cubicBezTo>
                  <a:pt x="5384526" y="4535997"/>
                  <a:pt x="5383074" y="4536725"/>
                  <a:pt x="5383074" y="4536725"/>
                </a:cubicBezTo>
                <a:cubicBezTo>
                  <a:pt x="5382346" y="4536725"/>
                  <a:pt x="5381622" y="4535997"/>
                  <a:pt x="5381622" y="4535273"/>
                </a:cubicBezTo>
                <a:cubicBezTo>
                  <a:pt x="5381622" y="4534545"/>
                  <a:pt x="5382346" y="4533821"/>
                  <a:pt x="5383074" y="4533821"/>
                </a:cubicBezTo>
                <a:close/>
                <a:moveTo>
                  <a:pt x="5536659" y="4533096"/>
                </a:moveTo>
                <a:cubicBezTo>
                  <a:pt x="5537750" y="4533096"/>
                  <a:pt x="5538840" y="4534187"/>
                  <a:pt x="5538840" y="4535277"/>
                </a:cubicBezTo>
                <a:cubicBezTo>
                  <a:pt x="5538840" y="4536363"/>
                  <a:pt x="5536659" y="4537453"/>
                  <a:pt x="5536659" y="4537453"/>
                </a:cubicBezTo>
                <a:cubicBezTo>
                  <a:pt x="5535569" y="4537453"/>
                  <a:pt x="5534482" y="4536363"/>
                  <a:pt x="5534482" y="4535277"/>
                </a:cubicBezTo>
                <a:cubicBezTo>
                  <a:pt x="5534482" y="4534187"/>
                  <a:pt x="5535569" y="4533096"/>
                  <a:pt x="5536659" y="4533096"/>
                </a:cubicBezTo>
                <a:close/>
                <a:moveTo>
                  <a:pt x="5690606" y="4532368"/>
                </a:moveTo>
                <a:cubicBezTo>
                  <a:pt x="5692421" y="4532368"/>
                  <a:pt x="5693870" y="4533821"/>
                  <a:pt x="5693870" y="4535635"/>
                </a:cubicBezTo>
                <a:cubicBezTo>
                  <a:pt x="5693870" y="4537450"/>
                  <a:pt x="5692421" y="4538906"/>
                  <a:pt x="5690606" y="4538906"/>
                </a:cubicBezTo>
                <a:cubicBezTo>
                  <a:pt x="5688788" y="4538906"/>
                  <a:pt x="5687336" y="4537450"/>
                  <a:pt x="5687336" y="4535635"/>
                </a:cubicBezTo>
                <a:cubicBezTo>
                  <a:pt x="5687336" y="4533821"/>
                  <a:pt x="5688788" y="4532368"/>
                  <a:pt x="5690606" y="4532368"/>
                </a:cubicBezTo>
                <a:close/>
                <a:moveTo>
                  <a:pt x="5844554" y="4530916"/>
                </a:moveTo>
                <a:cubicBezTo>
                  <a:pt x="5847096" y="4530916"/>
                  <a:pt x="5848911" y="4532731"/>
                  <a:pt x="5848911" y="4535273"/>
                </a:cubicBezTo>
                <a:cubicBezTo>
                  <a:pt x="5848911" y="4537816"/>
                  <a:pt x="5846730" y="4539630"/>
                  <a:pt x="5844554" y="4539630"/>
                </a:cubicBezTo>
                <a:cubicBezTo>
                  <a:pt x="5842012" y="4539630"/>
                  <a:pt x="5840197" y="4537816"/>
                  <a:pt x="5840197" y="4535273"/>
                </a:cubicBezTo>
                <a:cubicBezTo>
                  <a:pt x="5840197" y="4532731"/>
                  <a:pt x="5842012" y="4530916"/>
                  <a:pt x="5844554" y="4530916"/>
                </a:cubicBezTo>
                <a:close/>
                <a:moveTo>
                  <a:pt x="5998139" y="4529830"/>
                </a:moveTo>
                <a:cubicBezTo>
                  <a:pt x="6001406" y="4529830"/>
                  <a:pt x="6003948" y="4532372"/>
                  <a:pt x="6003948" y="4535639"/>
                </a:cubicBezTo>
                <a:cubicBezTo>
                  <a:pt x="6003948" y="4538906"/>
                  <a:pt x="6001406" y="4541448"/>
                  <a:pt x="5998139" y="4541448"/>
                </a:cubicBezTo>
                <a:cubicBezTo>
                  <a:pt x="5994872" y="4541448"/>
                  <a:pt x="5992330" y="4538906"/>
                  <a:pt x="5992330" y="4535639"/>
                </a:cubicBezTo>
                <a:cubicBezTo>
                  <a:pt x="5992330" y="4532372"/>
                  <a:pt x="5994872" y="4529830"/>
                  <a:pt x="5998139" y="4529830"/>
                </a:cubicBezTo>
                <a:close/>
                <a:moveTo>
                  <a:pt x="6152086" y="4528011"/>
                </a:moveTo>
                <a:cubicBezTo>
                  <a:pt x="6156082" y="4528011"/>
                  <a:pt x="6159348" y="4531278"/>
                  <a:pt x="6159348" y="4535273"/>
                </a:cubicBezTo>
                <a:cubicBezTo>
                  <a:pt x="6159348" y="4539268"/>
                  <a:pt x="6156082" y="4542535"/>
                  <a:pt x="6152086" y="4542535"/>
                </a:cubicBezTo>
                <a:cubicBezTo>
                  <a:pt x="6148092" y="4542535"/>
                  <a:pt x="6144825" y="4539268"/>
                  <a:pt x="6144825" y="4535273"/>
                </a:cubicBezTo>
                <a:cubicBezTo>
                  <a:pt x="6144825" y="4531278"/>
                  <a:pt x="6148092" y="4528011"/>
                  <a:pt x="6152086" y="4528011"/>
                </a:cubicBezTo>
                <a:close/>
                <a:moveTo>
                  <a:pt x="6305668" y="4526197"/>
                </a:moveTo>
                <a:cubicBezTo>
                  <a:pt x="6310750" y="4526197"/>
                  <a:pt x="6314748" y="4530192"/>
                  <a:pt x="6314748" y="4535273"/>
                </a:cubicBezTo>
                <a:cubicBezTo>
                  <a:pt x="6314748" y="4540358"/>
                  <a:pt x="6310750" y="4544353"/>
                  <a:pt x="6305668" y="4544353"/>
                </a:cubicBezTo>
                <a:cubicBezTo>
                  <a:pt x="6300587" y="4544353"/>
                  <a:pt x="6296592" y="4540358"/>
                  <a:pt x="6296592" y="4535273"/>
                </a:cubicBezTo>
                <a:cubicBezTo>
                  <a:pt x="6296592" y="4530192"/>
                  <a:pt x="6300587" y="4526197"/>
                  <a:pt x="6305668" y="4526197"/>
                </a:cubicBezTo>
                <a:close/>
                <a:moveTo>
                  <a:pt x="6459616" y="4525469"/>
                </a:moveTo>
                <a:cubicBezTo>
                  <a:pt x="6465062" y="4525469"/>
                  <a:pt x="6469782" y="4530188"/>
                  <a:pt x="6469782" y="4535635"/>
                </a:cubicBezTo>
                <a:cubicBezTo>
                  <a:pt x="6469782" y="4541082"/>
                  <a:pt x="6465425" y="4545802"/>
                  <a:pt x="6459616" y="4545802"/>
                </a:cubicBezTo>
                <a:cubicBezTo>
                  <a:pt x="6454168" y="4545802"/>
                  <a:pt x="6449449" y="4541082"/>
                  <a:pt x="6449449" y="4535635"/>
                </a:cubicBezTo>
                <a:cubicBezTo>
                  <a:pt x="6449449" y="4530188"/>
                  <a:pt x="6454168" y="4525469"/>
                  <a:pt x="6459616" y="4525469"/>
                </a:cubicBezTo>
                <a:close/>
                <a:moveTo>
                  <a:pt x="6613197" y="4523292"/>
                </a:moveTo>
                <a:cubicBezTo>
                  <a:pt x="6619734" y="4523292"/>
                  <a:pt x="6625182" y="4528739"/>
                  <a:pt x="6625182" y="4535273"/>
                </a:cubicBezTo>
                <a:cubicBezTo>
                  <a:pt x="6625182" y="4541810"/>
                  <a:pt x="6619734" y="4547254"/>
                  <a:pt x="6613197" y="4547254"/>
                </a:cubicBezTo>
                <a:cubicBezTo>
                  <a:pt x="6606664" y="4547254"/>
                  <a:pt x="6601216" y="4541810"/>
                  <a:pt x="6601216" y="4535273"/>
                </a:cubicBezTo>
                <a:cubicBezTo>
                  <a:pt x="6601216" y="4528739"/>
                  <a:pt x="6606664" y="4523292"/>
                  <a:pt x="6613197" y="4523292"/>
                </a:cubicBezTo>
                <a:close/>
                <a:moveTo>
                  <a:pt x="5075541" y="4381326"/>
                </a:moveTo>
                <a:cubicBezTo>
                  <a:pt x="5075904" y="4381326"/>
                  <a:pt x="5075904" y="4381326"/>
                  <a:pt x="5075904" y="4381688"/>
                </a:cubicBezTo>
                <a:cubicBezTo>
                  <a:pt x="5075904" y="4382054"/>
                  <a:pt x="5075541" y="4382054"/>
                  <a:pt x="5075541" y="4382054"/>
                </a:cubicBezTo>
                <a:cubicBezTo>
                  <a:pt x="5075179" y="4382054"/>
                  <a:pt x="5075179" y="4382054"/>
                  <a:pt x="5075179" y="4381688"/>
                </a:cubicBezTo>
                <a:cubicBezTo>
                  <a:pt x="5075179" y="4381326"/>
                  <a:pt x="5075179" y="4381326"/>
                  <a:pt x="5075541" y="4381326"/>
                </a:cubicBezTo>
                <a:close/>
                <a:moveTo>
                  <a:pt x="4614061" y="4381326"/>
                </a:moveTo>
                <a:cubicBezTo>
                  <a:pt x="4614424" y="4381326"/>
                  <a:pt x="4614424" y="4381326"/>
                  <a:pt x="4614424" y="4381688"/>
                </a:cubicBezTo>
                <a:cubicBezTo>
                  <a:pt x="4614424" y="4382054"/>
                  <a:pt x="4614061" y="4382054"/>
                  <a:pt x="4614061" y="4382054"/>
                </a:cubicBezTo>
                <a:cubicBezTo>
                  <a:pt x="4613699" y="4382054"/>
                  <a:pt x="4613699" y="4382054"/>
                  <a:pt x="4613699" y="4381688"/>
                </a:cubicBezTo>
                <a:cubicBezTo>
                  <a:pt x="4613699" y="4381326"/>
                  <a:pt x="4613699" y="4381326"/>
                  <a:pt x="4614061" y="4381326"/>
                </a:cubicBezTo>
                <a:close/>
                <a:moveTo>
                  <a:pt x="4460480" y="4381326"/>
                </a:moveTo>
                <a:cubicBezTo>
                  <a:pt x="4460842" y="4381326"/>
                  <a:pt x="4460842" y="4381326"/>
                  <a:pt x="4460842" y="4381688"/>
                </a:cubicBezTo>
                <a:cubicBezTo>
                  <a:pt x="4460842" y="4382054"/>
                  <a:pt x="4460480" y="4382054"/>
                  <a:pt x="4460480" y="4382054"/>
                </a:cubicBezTo>
                <a:cubicBezTo>
                  <a:pt x="4460118" y="4382054"/>
                  <a:pt x="4460118" y="4382054"/>
                  <a:pt x="4460118" y="4381688"/>
                </a:cubicBezTo>
                <a:cubicBezTo>
                  <a:pt x="4460118" y="4381326"/>
                  <a:pt x="4460118" y="4381326"/>
                  <a:pt x="4460480" y="4381326"/>
                </a:cubicBezTo>
                <a:close/>
                <a:moveTo>
                  <a:pt x="4306528" y="4380964"/>
                </a:moveTo>
                <a:cubicBezTo>
                  <a:pt x="4306894" y="4380964"/>
                  <a:pt x="4307256" y="4381326"/>
                  <a:pt x="4307256" y="4381688"/>
                </a:cubicBezTo>
                <a:cubicBezTo>
                  <a:pt x="4307256" y="4382054"/>
                  <a:pt x="4306528" y="4382416"/>
                  <a:pt x="4306528" y="4382416"/>
                </a:cubicBezTo>
                <a:cubicBezTo>
                  <a:pt x="4306166" y="4382416"/>
                  <a:pt x="4305804" y="4382054"/>
                  <a:pt x="4305804" y="4381688"/>
                </a:cubicBezTo>
                <a:cubicBezTo>
                  <a:pt x="4305804" y="4381326"/>
                  <a:pt x="4306166" y="4380964"/>
                  <a:pt x="4306528" y="4380964"/>
                </a:cubicBezTo>
                <a:close/>
                <a:moveTo>
                  <a:pt x="5229126" y="4379873"/>
                </a:moveTo>
                <a:cubicBezTo>
                  <a:pt x="5229850" y="4379873"/>
                  <a:pt x="5230579" y="4380601"/>
                  <a:pt x="5230579" y="4381326"/>
                </a:cubicBezTo>
                <a:cubicBezTo>
                  <a:pt x="5230579" y="4382054"/>
                  <a:pt x="5229126" y="4382778"/>
                  <a:pt x="5229126" y="4382778"/>
                </a:cubicBezTo>
                <a:cubicBezTo>
                  <a:pt x="5228398" y="4382778"/>
                  <a:pt x="5227674" y="4382054"/>
                  <a:pt x="5227674" y="4381326"/>
                </a:cubicBezTo>
                <a:cubicBezTo>
                  <a:pt x="5227674" y="4380601"/>
                  <a:pt x="5228398" y="4379873"/>
                  <a:pt x="5229126" y="4379873"/>
                </a:cubicBezTo>
                <a:close/>
                <a:moveTo>
                  <a:pt x="5383074" y="4379511"/>
                </a:moveTo>
                <a:cubicBezTo>
                  <a:pt x="5384164" y="4379511"/>
                  <a:pt x="5385250" y="4380601"/>
                  <a:pt x="5385250" y="4381688"/>
                </a:cubicBezTo>
                <a:cubicBezTo>
                  <a:pt x="5385250" y="4382778"/>
                  <a:pt x="5383074" y="4383868"/>
                  <a:pt x="5383074" y="4383868"/>
                </a:cubicBezTo>
                <a:cubicBezTo>
                  <a:pt x="5381984" y="4383868"/>
                  <a:pt x="5380894" y="4382778"/>
                  <a:pt x="5380894" y="4381688"/>
                </a:cubicBezTo>
                <a:cubicBezTo>
                  <a:pt x="5380894" y="4380601"/>
                  <a:pt x="5381984" y="4379511"/>
                  <a:pt x="5383074" y="4379511"/>
                </a:cubicBezTo>
                <a:close/>
                <a:moveTo>
                  <a:pt x="5536659" y="4378421"/>
                </a:moveTo>
                <a:cubicBezTo>
                  <a:pt x="5538474" y="4378421"/>
                  <a:pt x="5539922" y="4379873"/>
                  <a:pt x="5539922" y="4381688"/>
                </a:cubicBezTo>
                <a:cubicBezTo>
                  <a:pt x="5539922" y="4383506"/>
                  <a:pt x="5538474" y="4384958"/>
                  <a:pt x="5536659" y="4384958"/>
                </a:cubicBezTo>
                <a:cubicBezTo>
                  <a:pt x="5534841" y="4384958"/>
                  <a:pt x="5533388" y="4383506"/>
                  <a:pt x="5533388" y="4381688"/>
                </a:cubicBezTo>
                <a:cubicBezTo>
                  <a:pt x="5533388" y="4379873"/>
                  <a:pt x="5534841" y="4378421"/>
                  <a:pt x="5536659" y="4378421"/>
                </a:cubicBezTo>
                <a:close/>
                <a:moveTo>
                  <a:pt x="5690606" y="4377331"/>
                </a:moveTo>
                <a:cubicBezTo>
                  <a:pt x="5693149" y="4377331"/>
                  <a:pt x="5694964" y="4379145"/>
                  <a:pt x="5694964" y="4381688"/>
                </a:cubicBezTo>
                <a:cubicBezTo>
                  <a:pt x="5694964" y="4384230"/>
                  <a:pt x="5692783" y="4386045"/>
                  <a:pt x="5690606" y="4386045"/>
                </a:cubicBezTo>
                <a:cubicBezTo>
                  <a:pt x="5688064" y="4386045"/>
                  <a:pt x="5686250" y="4384230"/>
                  <a:pt x="5686250" y="4381688"/>
                </a:cubicBezTo>
                <a:cubicBezTo>
                  <a:pt x="5686250" y="4379145"/>
                  <a:pt x="5688064" y="4377331"/>
                  <a:pt x="5690606" y="4377331"/>
                </a:cubicBezTo>
                <a:close/>
                <a:moveTo>
                  <a:pt x="5844550" y="4375878"/>
                </a:moveTo>
                <a:cubicBezTo>
                  <a:pt x="5847817" y="4375878"/>
                  <a:pt x="5850360" y="4378421"/>
                  <a:pt x="5850360" y="4381688"/>
                </a:cubicBezTo>
                <a:cubicBezTo>
                  <a:pt x="5850360" y="4384955"/>
                  <a:pt x="5847817" y="4387497"/>
                  <a:pt x="5844550" y="4387497"/>
                </a:cubicBezTo>
                <a:cubicBezTo>
                  <a:pt x="5841284" y="4387497"/>
                  <a:pt x="5838741" y="4384955"/>
                  <a:pt x="5838741" y="4381688"/>
                </a:cubicBezTo>
                <a:cubicBezTo>
                  <a:pt x="5838741" y="4378421"/>
                  <a:pt x="5841284" y="4375878"/>
                  <a:pt x="5844550" y="4375878"/>
                </a:cubicBezTo>
                <a:close/>
                <a:moveTo>
                  <a:pt x="5998136" y="4374430"/>
                </a:moveTo>
                <a:cubicBezTo>
                  <a:pt x="6002130" y="4374430"/>
                  <a:pt x="6005397" y="4377697"/>
                  <a:pt x="6005397" y="4381692"/>
                </a:cubicBezTo>
                <a:cubicBezTo>
                  <a:pt x="6005397" y="4385686"/>
                  <a:pt x="6002130" y="4388953"/>
                  <a:pt x="5998136" y="4388953"/>
                </a:cubicBezTo>
                <a:cubicBezTo>
                  <a:pt x="5994144" y="4388953"/>
                  <a:pt x="5990874" y="4385686"/>
                  <a:pt x="5990874" y="4381692"/>
                </a:cubicBezTo>
                <a:cubicBezTo>
                  <a:pt x="5990874" y="4377697"/>
                  <a:pt x="5994144" y="4374430"/>
                  <a:pt x="5998136" y="4374430"/>
                </a:cubicBezTo>
                <a:close/>
                <a:moveTo>
                  <a:pt x="6152083" y="4372612"/>
                </a:moveTo>
                <a:cubicBezTo>
                  <a:pt x="6157168" y="4372612"/>
                  <a:pt x="6161162" y="4376607"/>
                  <a:pt x="6161162" y="4381688"/>
                </a:cubicBezTo>
                <a:cubicBezTo>
                  <a:pt x="6161162" y="4386773"/>
                  <a:pt x="6157168" y="4390768"/>
                  <a:pt x="6152083" y="4390768"/>
                </a:cubicBezTo>
                <a:cubicBezTo>
                  <a:pt x="6147002" y="4390768"/>
                  <a:pt x="6143006" y="4386773"/>
                  <a:pt x="6143006" y="4381688"/>
                </a:cubicBezTo>
                <a:cubicBezTo>
                  <a:pt x="6143006" y="4376607"/>
                  <a:pt x="6147002" y="4372612"/>
                  <a:pt x="6152083" y="4372612"/>
                </a:cubicBezTo>
                <a:close/>
                <a:moveTo>
                  <a:pt x="6305668" y="4371525"/>
                </a:moveTo>
                <a:cubicBezTo>
                  <a:pt x="6311115" y="4371525"/>
                  <a:pt x="6315834" y="4376244"/>
                  <a:pt x="6315834" y="4381692"/>
                </a:cubicBezTo>
                <a:cubicBezTo>
                  <a:pt x="6315834" y="4387139"/>
                  <a:pt x="6311478" y="4391858"/>
                  <a:pt x="6305668" y="4391858"/>
                </a:cubicBezTo>
                <a:cubicBezTo>
                  <a:pt x="6300221" y="4391858"/>
                  <a:pt x="6295502" y="4387139"/>
                  <a:pt x="6295502" y="4381692"/>
                </a:cubicBezTo>
                <a:cubicBezTo>
                  <a:pt x="6295502" y="4376244"/>
                  <a:pt x="6300221" y="4371525"/>
                  <a:pt x="6305668" y="4371525"/>
                </a:cubicBezTo>
                <a:close/>
                <a:moveTo>
                  <a:pt x="6459616" y="4369707"/>
                </a:moveTo>
                <a:cubicBezTo>
                  <a:pt x="6466153" y="4369707"/>
                  <a:pt x="6471600" y="4375154"/>
                  <a:pt x="6471600" y="4381688"/>
                </a:cubicBezTo>
                <a:cubicBezTo>
                  <a:pt x="6471600" y="4388225"/>
                  <a:pt x="6466153" y="4393672"/>
                  <a:pt x="6459616" y="4393672"/>
                </a:cubicBezTo>
                <a:cubicBezTo>
                  <a:pt x="6453082" y="4393672"/>
                  <a:pt x="6447634" y="4388225"/>
                  <a:pt x="6447634" y="4381688"/>
                </a:cubicBezTo>
                <a:cubicBezTo>
                  <a:pt x="6447634" y="4375154"/>
                  <a:pt x="6453082" y="4369707"/>
                  <a:pt x="6459616" y="4369707"/>
                </a:cubicBezTo>
                <a:close/>
                <a:moveTo>
                  <a:pt x="6613200" y="4367530"/>
                </a:moveTo>
                <a:cubicBezTo>
                  <a:pt x="6620824" y="4367530"/>
                  <a:pt x="6626996" y="4373702"/>
                  <a:pt x="6626996" y="4381326"/>
                </a:cubicBezTo>
                <a:cubicBezTo>
                  <a:pt x="6626996" y="4388953"/>
                  <a:pt x="6620824" y="4395125"/>
                  <a:pt x="6613200" y="4395125"/>
                </a:cubicBezTo>
                <a:cubicBezTo>
                  <a:pt x="6605577" y="4395125"/>
                  <a:pt x="6599402" y="4388953"/>
                  <a:pt x="6599402" y="4381326"/>
                </a:cubicBezTo>
                <a:cubicBezTo>
                  <a:pt x="6599402" y="4373702"/>
                  <a:pt x="6605577" y="4367530"/>
                  <a:pt x="6613200" y="4367530"/>
                </a:cubicBezTo>
                <a:close/>
                <a:moveTo>
                  <a:pt x="4921594" y="4227744"/>
                </a:moveTo>
                <a:cubicBezTo>
                  <a:pt x="4921956" y="4227744"/>
                  <a:pt x="4921956" y="4227744"/>
                  <a:pt x="4921956" y="4228106"/>
                </a:cubicBezTo>
                <a:cubicBezTo>
                  <a:pt x="4921956" y="4228468"/>
                  <a:pt x="4921594" y="4228468"/>
                  <a:pt x="4921594" y="4228468"/>
                </a:cubicBezTo>
                <a:cubicBezTo>
                  <a:pt x="4921232" y="4228468"/>
                  <a:pt x="4921232" y="4228468"/>
                  <a:pt x="4921232" y="4228106"/>
                </a:cubicBezTo>
                <a:cubicBezTo>
                  <a:pt x="4921232" y="4227744"/>
                  <a:pt x="4921232" y="4227744"/>
                  <a:pt x="4921594" y="4227744"/>
                </a:cubicBezTo>
                <a:close/>
                <a:moveTo>
                  <a:pt x="4460480" y="4227744"/>
                </a:moveTo>
                <a:cubicBezTo>
                  <a:pt x="4460842" y="4227744"/>
                  <a:pt x="4460842" y="4227744"/>
                  <a:pt x="4460842" y="4228106"/>
                </a:cubicBezTo>
                <a:cubicBezTo>
                  <a:pt x="4460842" y="4228468"/>
                  <a:pt x="4460480" y="4228468"/>
                  <a:pt x="4460480" y="4228468"/>
                </a:cubicBezTo>
                <a:cubicBezTo>
                  <a:pt x="4460118" y="4228468"/>
                  <a:pt x="4460118" y="4228468"/>
                  <a:pt x="4460118" y="4228106"/>
                </a:cubicBezTo>
                <a:cubicBezTo>
                  <a:pt x="4460118" y="4227744"/>
                  <a:pt x="4460118" y="4227744"/>
                  <a:pt x="4460480" y="4227744"/>
                </a:cubicBezTo>
                <a:close/>
                <a:moveTo>
                  <a:pt x="4306532" y="4227744"/>
                </a:moveTo>
                <a:cubicBezTo>
                  <a:pt x="4306894" y="4227744"/>
                  <a:pt x="4306894" y="4227744"/>
                  <a:pt x="4306894" y="4228106"/>
                </a:cubicBezTo>
                <a:cubicBezTo>
                  <a:pt x="4306894" y="4228468"/>
                  <a:pt x="4306532" y="4228468"/>
                  <a:pt x="4306532" y="4228468"/>
                </a:cubicBezTo>
                <a:cubicBezTo>
                  <a:pt x="4306170" y="4228468"/>
                  <a:pt x="4306170" y="4228468"/>
                  <a:pt x="4306170" y="4228106"/>
                </a:cubicBezTo>
                <a:cubicBezTo>
                  <a:pt x="4306170" y="4227744"/>
                  <a:pt x="4306170" y="4227744"/>
                  <a:pt x="4306532" y="4227744"/>
                </a:cubicBezTo>
                <a:close/>
                <a:moveTo>
                  <a:pt x="4152947" y="4227378"/>
                </a:moveTo>
                <a:cubicBezTo>
                  <a:pt x="4153309" y="4227378"/>
                  <a:pt x="4153672" y="4227740"/>
                  <a:pt x="4153672" y="4228103"/>
                </a:cubicBezTo>
                <a:cubicBezTo>
                  <a:pt x="4153672" y="4228468"/>
                  <a:pt x="4152947" y="4228831"/>
                  <a:pt x="4152947" y="4228831"/>
                </a:cubicBezTo>
                <a:cubicBezTo>
                  <a:pt x="4152581" y="4228831"/>
                  <a:pt x="4152219" y="4228468"/>
                  <a:pt x="4152219" y="4228103"/>
                </a:cubicBezTo>
                <a:cubicBezTo>
                  <a:pt x="4152219" y="4227740"/>
                  <a:pt x="4152581" y="4227378"/>
                  <a:pt x="4152947" y="4227378"/>
                </a:cubicBezTo>
                <a:close/>
                <a:moveTo>
                  <a:pt x="5075541" y="4226292"/>
                </a:moveTo>
                <a:cubicBezTo>
                  <a:pt x="5076266" y="4226292"/>
                  <a:pt x="5076994" y="4227016"/>
                  <a:pt x="5076994" y="4227744"/>
                </a:cubicBezTo>
                <a:cubicBezTo>
                  <a:pt x="5076994" y="4228468"/>
                  <a:pt x="5075541" y="4229197"/>
                  <a:pt x="5075541" y="4229197"/>
                </a:cubicBezTo>
                <a:cubicBezTo>
                  <a:pt x="5074813" y="4229197"/>
                  <a:pt x="5074089" y="4228468"/>
                  <a:pt x="5074089" y="4227744"/>
                </a:cubicBezTo>
                <a:cubicBezTo>
                  <a:pt x="5074089" y="4227016"/>
                  <a:pt x="5074813" y="4226292"/>
                  <a:pt x="5075541" y="4226292"/>
                </a:cubicBezTo>
                <a:close/>
                <a:moveTo>
                  <a:pt x="5229122" y="4225564"/>
                </a:moveTo>
                <a:cubicBezTo>
                  <a:pt x="5230213" y="4225564"/>
                  <a:pt x="5231303" y="4226654"/>
                  <a:pt x="5231303" y="4227744"/>
                </a:cubicBezTo>
                <a:cubicBezTo>
                  <a:pt x="5231303" y="4228831"/>
                  <a:pt x="5229122" y="4229921"/>
                  <a:pt x="5229122" y="4229921"/>
                </a:cubicBezTo>
                <a:cubicBezTo>
                  <a:pt x="5228036" y="4229921"/>
                  <a:pt x="5226946" y="4228831"/>
                  <a:pt x="5226946" y="4227744"/>
                </a:cubicBezTo>
                <a:cubicBezTo>
                  <a:pt x="5226946" y="4226654"/>
                  <a:pt x="5228036" y="4225564"/>
                  <a:pt x="5229122" y="4225564"/>
                </a:cubicBezTo>
                <a:close/>
                <a:moveTo>
                  <a:pt x="5383078" y="4224840"/>
                </a:moveTo>
                <a:cubicBezTo>
                  <a:pt x="5384892" y="4224840"/>
                  <a:pt x="5386344" y="4226292"/>
                  <a:pt x="5386344" y="4228106"/>
                </a:cubicBezTo>
                <a:cubicBezTo>
                  <a:pt x="5386344" y="4229921"/>
                  <a:pt x="5384892" y="4231377"/>
                  <a:pt x="5383078" y="4231377"/>
                </a:cubicBezTo>
                <a:cubicBezTo>
                  <a:pt x="5381260" y="4231377"/>
                  <a:pt x="5379807" y="4229921"/>
                  <a:pt x="5379807" y="4228106"/>
                </a:cubicBezTo>
                <a:cubicBezTo>
                  <a:pt x="5379807" y="4226292"/>
                  <a:pt x="5381260" y="4224840"/>
                  <a:pt x="5383078" y="4224840"/>
                </a:cubicBezTo>
                <a:close/>
                <a:moveTo>
                  <a:pt x="5536659" y="4223383"/>
                </a:moveTo>
                <a:cubicBezTo>
                  <a:pt x="5539198" y="4223383"/>
                  <a:pt x="5541016" y="4225198"/>
                  <a:pt x="5541016" y="4227740"/>
                </a:cubicBezTo>
                <a:cubicBezTo>
                  <a:pt x="5541016" y="4230283"/>
                  <a:pt x="5538836" y="4232097"/>
                  <a:pt x="5536659" y="4232097"/>
                </a:cubicBezTo>
                <a:cubicBezTo>
                  <a:pt x="5534116" y="4232097"/>
                  <a:pt x="5532302" y="4230283"/>
                  <a:pt x="5532302" y="4227740"/>
                </a:cubicBezTo>
                <a:cubicBezTo>
                  <a:pt x="5532302" y="4225198"/>
                  <a:pt x="5534116" y="4223383"/>
                  <a:pt x="5536659" y="4223383"/>
                </a:cubicBezTo>
                <a:close/>
                <a:moveTo>
                  <a:pt x="5690606" y="4222297"/>
                </a:moveTo>
                <a:cubicBezTo>
                  <a:pt x="5693874" y="4222297"/>
                  <a:pt x="5696416" y="4224840"/>
                  <a:pt x="5696416" y="4228106"/>
                </a:cubicBezTo>
                <a:cubicBezTo>
                  <a:pt x="5696416" y="4231373"/>
                  <a:pt x="5693874" y="4233916"/>
                  <a:pt x="5690606" y="4233916"/>
                </a:cubicBezTo>
                <a:cubicBezTo>
                  <a:pt x="5687340" y="4233916"/>
                  <a:pt x="5684797" y="4231373"/>
                  <a:pt x="5684797" y="4228106"/>
                </a:cubicBezTo>
                <a:cubicBezTo>
                  <a:pt x="5684797" y="4224840"/>
                  <a:pt x="5687340" y="4222297"/>
                  <a:pt x="5690606" y="4222297"/>
                </a:cubicBezTo>
                <a:close/>
                <a:moveTo>
                  <a:pt x="5844554" y="4220479"/>
                </a:moveTo>
                <a:cubicBezTo>
                  <a:pt x="5848549" y="4220479"/>
                  <a:pt x="5851816" y="4223746"/>
                  <a:pt x="5851816" y="4227740"/>
                </a:cubicBezTo>
                <a:cubicBezTo>
                  <a:pt x="5851816" y="4231735"/>
                  <a:pt x="5848549" y="4235002"/>
                  <a:pt x="5844554" y="4235002"/>
                </a:cubicBezTo>
                <a:cubicBezTo>
                  <a:pt x="5840563" y="4235002"/>
                  <a:pt x="5837292" y="4231735"/>
                  <a:pt x="5837292" y="4227740"/>
                </a:cubicBezTo>
                <a:cubicBezTo>
                  <a:pt x="5837292" y="4223746"/>
                  <a:pt x="5840563" y="4220479"/>
                  <a:pt x="5844554" y="4220479"/>
                </a:cubicBezTo>
                <a:close/>
                <a:moveTo>
                  <a:pt x="5998136" y="4218664"/>
                </a:moveTo>
                <a:cubicBezTo>
                  <a:pt x="6003220" y="4218664"/>
                  <a:pt x="6007216" y="4222659"/>
                  <a:pt x="6007216" y="4227740"/>
                </a:cubicBezTo>
                <a:cubicBezTo>
                  <a:pt x="6007216" y="4232825"/>
                  <a:pt x="6003220" y="4236820"/>
                  <a:pt x="5998136" y="4236820"/>
                </a:cubicBezTo>
                <a:cubicBezTo>
                  <a:pt x="5993054" y="4236820"/>
                  <a:pt x="5989059" y="4232825"/>
                  <a:pt x="5989059" y="4227740"/>
                </a:cubicBezTo>
                <a:cubicBezTo>
                  <a:pt x="5989059" y="4222659"/>
                  <a:pt x="5993054" y="4218664"/>
                  <a:pt x="5998136" y="4218664"/>
                </a:cubicBezTo>
                <a:close/>
                <a:moveTo>
                  <a:pt x="6152086" y="4217940"/>
                </a:moveTo>
                <a:cubicBezTo>
                  <a:pt x="6157534" y="4217940"/>
                  <a:pt x="6162253" y="4222659"/>
                  <a:pt x="6162253" y="4228106"/>
                </a:cubicBezTo>
                <a:cubicBezTo>
                  <a:pt x="6162253" y="4233554"/>
                  <a:pt x="6157896" y="4238273"/>
                  <a:pt x="6152086" y="4238273"/>
                </a:cubicBezTo>
                <a:cubicBezTo>
                  <a:pt x="6146640" y="4238273"/>
                  <a:pt x="6141920" y="4233554"/>
                  <a:pt x="6141920" y="4228106"/>
                </a:cubicBezTo>
                <a:cubicBezTo>
                  <a:pt x="6141920" y="4222659"/>
                  <a:pt x="6146640" y="4217940"/>
                  <a:pt x="6152086" y="4217940"/>
                </a:cubicBezTo>
                <a:close/>
                <a:moveTo>
                  <a:pt x="6305668" y="4215760"/>
                </a:moveTo>
                <a:cubicBezTo>
                  <a:pt x="6312206" y="4215760"/>
                  <a:pt x="6317649" y="4221207"/>
                  <a:pt x="6317649" y="4227740"/>
                </a:cubicBezTo>
                <a:cubicBezTo>
                  <a:pt x="6317649" y="4234278"/>
                  <a:pt x="6312206" y="4239721"/>
                  <a:pt x="6305668" y="4239721"/>
                </a:cubicBezTo>
                <a:cubicBezTo>
                  <a:pt x="6299134" y="4239721"/>
                  <a:pt x="6293687" y="4234278"/>
                  <a:pt x="6293687" y="4227740"/>
                </a:cubicBezTo>
                <a:cubicBezTo>
                  <a:pt x="6293687" y="4221207"/>
                  <a:pt x="6299134" y="4215760"/>
                  <a:pt x="6305668" y="4215760"/>
                </a:cubicBezTo>
                <a:close/>
                <a:moveTo>
                  <a:pt x="6459619" y="4213945"/>
                </a:moveTo>
                <a:cubicBezTo>
                  <a:pt x="6467243" y="4213945"/>
                  <a:pt x="6473414" y="4220117"/>
                  <a:pt x="6473414" y="4227744"/>
                </a:cubicBezTo>
                <a:cubicBezTo>
                  <a:pt x="6473414" y="4235368"/>
                  <a:pt x="6467243" y="4241539"/>
                  <a:pt x="6459619" y="4241539"/>
                </a:cubicBezTo>
                <a:cubicBezTo>
                  <a:pt x="6451992" y="4241539"/>
                  <a:pt x="6445820" y="4235368"/>
                  <a:pt x="6445820" y="4227744"/>
                </a:cubicBezTo>
                <a:cubicBezTo>
                  <a:pt x="6445820" y="4220117"/>
                  <a:pt x="6451992" y="4213945"/>
                  <a:pt x="6459619" y="4213945"/>
                </a:cubicBezTo>
                <a:close/>
                <a:moveTo>
                  <a:pt x="6613200" y="4212855"/>
                </a:moveTo>
                <a:cubicBezTo>
                  <a:pt x="6621552" y="4212855"/>
                  <a:pt x="6628452" y="4219754"/>
                  <a:pt x="6628452" y="4228103"/>
                </a:cubicBezTo>
                <a:cubicBezTo>
                  <a:pt x="6628452" y="4236454"/>
                  <a:pt x="6621552" y="4243354"/>
                  <a:pt x="6613200" y="4243354"/>
                </a:cubicBezTo>
                <a:cubicBezTo>
                  <a:pt x="6604852" y="4243354"/>
                  <a:pt x="6597953" y="4236454"/>
                  <a:pt x="6597953" y="4228103"/>
                </a:cubicBezTo>
                <a:cubicBezTo>
                  <a:pt x="6597953" y="4219754"/>
                  <a:pt x="6604852" y="4212855"/>
                  <a:pt x="6613200" y="4212855"/>
                </a:cubicBezTo>
                <a:close/>
                <a:moveTo>
                  <a:pt x="4768008" y="4073793"/>
                </a:moveTo>
                <a:cubicBezTo>
                  <a:pt x="4768370" y="4073793"/>
                  <a:pt x="4768370" y="4073793"/>
                  <a:pt x="4768370" y="4074155"/>
                </a:cubicBezTo>
                <a:cubicBezTo>
                  <a:pt x="4768370" y="4074521"/>
                  <a:pt x="4768008" y="4074521"/>
                  <a:pt x="4768008" y="4074521"/>
                </a:cubicBezTo>
                <a:cubicBezTo>
                  <a:pt x="4767646" y="4074521"/>
                  <a:pt x="4767646" y="4074521"/>
                  <a:pt x="4767646" y="4074155"/>
                </a:cubicBezTo>
                <a:cubicBezTo>
                  <a:pt x="4767646" y="4073793"/>
                  <a:pt x="4767646" y="4073793"/>
                  <a:pt x="4768008" y="4073793"/>
                </a:cubicBezTo>
                <a:close/>
                <a:moveTo>
                  <a:pt x="4306532" y="4073793"/>
                </a:moveTo>
                <a:cubicBezTo>
                  <a:pt x="4306894" y="4073793"/>
                  <a:pt x="4306894" y="4073793"/>
                  <a:pt x="4306894" y="4074155"/>
                </a:cubicBezTo>
                <a:cubicBezTo>
                  <a:pt x="4306894" y="4074521"/>
                  <a:pt x="4306532" y="4074521"/>
                  <a:pt x="4306532" y="4074521"/>
                </a:cubicBezTo>
                <a:cubicBezTo>
                  <a:pt x="4306170" y="4074521"/>
                  <a:pt x="4306170" y="4074521"/>
                  <a:pt x="4306170" y="4074155"/>
                </a:cubicBezTo>
                <a:cubicBezTo>
                  <a:pt x="4306170" y="4073793"/>
                  <a:pt x="4306170" y="4073793"/>
                  <a:pt x="4306532" y="4073793"/>
                </a:cubicBezTo>
                <a:close/>
                <a:moveTo>
                  <a:pt x="4152947" y="4073793"/>
                </a:moveTo>
                <a:cubicBezTo>
                  <a:pt x="4153309" y="4073793"/>
                  <a:pt x="4153309" y="4073793"/>
                  <a:pt x="4153309" y="4074155"/>
                </a:cubicBezTo>
                <a:cubicBezTo>
                  <a:pt x="4153309" y="4074521"/>
                  <a:pt x="4152947" y="4074521"/>
                  <a:pt x="4152947" y="4074521"/>
                </a:cubicBezTo>
                <a:cubicBezTo>
                  <a:pt x="4152585" y="4074521"/>
                  <a:pt x="4152585" y="4074521"/>
                  <a:pt x="4152585" y="4074155"/>
                </a:cubicBezTo>
                <a:cubicBezTo>
                  <a:pt x="4152585" y="4073793"/>
                  <a:pt x="4152585" y="4073793"/>
                  <a:pt x="4152947" y="4073793"/>
                </a:cubicBezTo>
                <a:close/>
                <a:moveTo>
                  <a:pt x="3998996" y="4073431"/>
                </a:moveTo>
                <a:cubicBezTo>
                  <a:pt x="3999362" y="4073431"/>
                  <a:pt x="3999724" y="4073793"/>
                  <a:pt x="3999724" y="4074155"/>
                </a:cubicBezTo>
                <a:cubicBezTo>
                  <a:pt x="3999724" y="4074521"/>
                  <a:pt x="3998996" y="4074883"/>
                  <a:pt x="3998996" y="4074883"/>
                </a:cubicBezTo>
                <a:cubicBezTo>
                  <a:pt x="3998634" y="4074883"/>
                  <a:pt x="3998272" y="4074521"/>
                  <a:pt x="3998272" y="4074155"/>
                </a:cubicBezTo>
                <a:cubicBezTo>
                  <a:pt x="3998272" y="4073793"/>
                  <a:pt x="3998634" y="4073431"/>
                  <a:pt x="3998996" y="4073431"/>
                </a:cubicBezTo>
                <a:close/>
                <a:moveTo>
                  <a:pt x="4921594" y="4072344"/>
                </a:moveTo>
                <a:cubicBezTo>
                  <a:pt x="4922318" y="4072344"/>
                  <a:pt x="4923046" y="4073069"/>
                  <a:pt x="4923046" y="4073797"/>
                </a:cubicBezTo>
                <a:cubicBezTo>
                  <a:pt x="4923046" y="4074521"/>
                  <a:pt x="4921594" y="4075249"/>
                  <a:pt x="4921594" y="4075249"/>
                </a:cubicBezTo>
                <a:cubicBezTo>
                  <a:pt x="4920866" y="4075249"/>
                  <a:pt x="4920142" y="4074521"/>
                  <a:pt x="4920142" y="4073797"/>
                </a:cubicBezTo>
                <a:cubicBezTo>
                  <a:pt x="4920142" y="4073069"/>
                  <a:pt x="4920866" y="4072344"/>
                  <a:pt x="4921594" y="4072344"/>
                </a:cubicBezTo>
                <a:close/>
                <a:moveTo>
                  <a:pt x="5075541" y="4071978"/>
                </a:moveTo>
                <a:cubicBezTo>
                  <a:pt x="5076632" y="4071978"/>
                  <a:pt x="5077722" y="4073069"/>
                  <a:pt x="5077722" y="4074155"/>
                </a:cubicBezTo>
                <a:cubicBezTo>
                  <a:pt x="5077722" y="4075245"/>
                  <a:pt x="5075541" y="4076335"/>
                  <a:pt x="5075541" y="4076335"/>
                </a:cubicBezTo>
                <a:cubicBezTo>
                  <a:pt x="5074455" y="4076335"/>
                  <a:pt x="5073364" y="4075245"/>
                  <a:pt x="5073364" y="4074155"/>
                </a:cubicBezTo>
                <a:cubicBezTo>
                  <a:pt x="5073364" y="4073069"/>
                  <a:pt x="5074455" y="4071978"/>
                  <a:pt x="5075541" y="4071978"/>
                </a:cubicBezTo>
                <a:close/>
                <a:moveTo>
                  <a:pt x="5229126" y="4070892"/>
                </a:moveTo>
                <a:cubicBezTo>
                  <a:pt x="5230944" y="4070892"/>
                  <a:pt x="5232394" y="4072344"/>
                  <a:pt x="5232394" y="4074159"/>
                </a:cubicBezTo>
                <a:cubicBezTo>
                  <a:pt x="5232394" y="4075973"/>
                  <a:pt x="5230944" y="4077429"/>
                  <a:pt x="5229126" y="4077429"/>
                </a:cubicBezTo>
                <a:cubicBezTo>
                  <a:pt x="5227312" y="4077429"/>
                  <a:pt x="5225860" y="4075973"/>
                  <a:pt x="5225860" y="4074159"/>
                </a:cubicBezTo>
                <a:cubicBezTo>
                  <a:pt x="5225860" y="4072344"/>
                  <a:pt x="5227312" y="4070892"/>
                  <a:pt x="5229126" y="4070892"/>
                </a:cubicBezTo>
                <a:close/>
                <a:moveTo>
                  <a:pt x="5383074" y="4069802"/>
                </a:moveTo>
                <a:cubicBezTo>
                  <a:pt x="5385616" y="4069802"/>
                  <a:pt x="5387431" y="4071616"/>
                  <a:pt x="5387431" y="4074159"/>
                </a:cubicBezTo>
                <a:cubicBezTo>
                  <a:pt x="5387431" y="4076701"/>
                  <a:pt x="5385254" y="4078516"/>
                  <a:pt x="5383074" y="4078516"/>
                </a:cubicBezTo>
                <a:cubicBezTo>
                  <a:pt x="5380532" y="4078516"/>
                  <a:pt x="5378717" y="4076701"/>
                  <a:pt x="5378717" y="4074159"/>
                </a:cubicBezTo>
                <a:cubicBezTo>
                  <a:pt x="5378717" y="4071616"/>
                  <a:pt x="5380532" y="4069802"/>
                  <a:pt x="5383074" y="4069802"/>
                </a:cubicBezTo>
                <a:close/>
                <a:moveTo>
                  <a:pt x="5536659" y="4068349"/>
                </a:moveTo>
                <a:cubicBezTo>
                  <a:pt x="5539926" y="4068349"/>
                  <a:pt x="5542468" y="4070892"/>
                  <a:pt x="5542468" y="4074159"/>
                </a:cubicBezTo>
                <a:cubicBezTo>
                  <a:pt x="5542468" y="4077426"/>
                  <a:pt x="5539926" y="4079968"/>
                  <a:pt x="5536659" y="4079968"/>
                </a:cubicBezTo>
                <a:cubicBezTo>
                  <a:pt x="5533392" y="4079968"/>
                  <a:pt x="5530850" y="4077426"/>
                  <a:pt x="5530850" y="4074159"/>
                </a:cubicBezTo>
                <a:cubicBezTo>
                  <a:pt x="5530850" y="4070892"/>
                  <a:pt x="5533392" y="4068349"/>
                  <a:pt x="5536659" y="4068349"/>
                </a:cubicBezTo>
                <a:close/>
                <a:moveTo>
                  <a:pt x="5690606" y="4066897"/>
                </a:moveTo>
                <a:cubicBezTo>
                  <a:pt x="5694602" y="4066897"/>
                  <a:pt x="5697868" y="4070164"/>
                  <a:pt x="5697868" y="4074159"/>
                </a:cubicBezTo>
                <a:cubicBezTo>
                  <a:pt x="5697868" y="4078154"/>
                  <a:pt x="5694602" y="4081420"/>
                  <a:pt x="5690606" y="4081420"/>
                </a:cubicBezTo>
                <a:cubicBezTo>
                  <a:pt x="5686616" y="4081420"/>
                  <a:pt x="5683345" y="4078154"/>
                  <a:pt x="5683345" y="4074159"/>
                </a:cubicBezTo>
                <a:cubicBezTo>
                  <a:pt x="5683345" y="4070164"/>
                  <a:pt x="5686616" y="4066897"/>
                  <a:pt x="5690606" y="4066897"/>
                </a:cubicBezTo>
                <a:close/>
                <a:moveTo>
                  <a:pt x="5844554" y="4064717"/>
                </a:moveTo>
                <a:cubicBezTo>
                  <a:pt x="5849639" y="4064717"/>
                  <a:pt x="5853634" y="4068712"/>
                  <a:pt x="5853634" y="4073793"/>
                </a:cubicBezTo>
                <a:cubicBezTo>
                  <a:pt x="5853634" y="4078878"/>
                  <a:pt x="5849639" y="4082873"/>
                  <a:pt x="5844554" y="4082873"/>
                </a:cubicBezTo>
                <a:cubicBezTo>
                  <a:pt x="5839472" y="4082873"/>
                  <a:pt x="5835478" y="4078878"/>
                  <a:pt x="5835478" y="4073793"/>
                </a:cubicBezTo>
                <a:cubicBezTo>
                  <a:pt x="5835478" y="4068712"/>
                  <a:pt x="5839472" y="4064717"/>
                  <a:pt x="5844554" y="4064717"/>
                </a:cubicBezTo>
                <a:close/>
                <a:moveTo>
                  <a:pt x="5998139" y="4063992"/>
                </a:moveTo>
                <a:cubicBezTo>
                  <a:pt x="6003586" y="4063992"/>
                  <a:pt x="6008306" y="4068712"/>
                  <a:pt x="6008306" y="4074159"/>
                </a:cubicBezTo>
                <a:cubicBezTo>
                  <a:pt x="6008306" y="4079606"/>
                  <a:pt x="6003948" y="4084325"/>
                  <a:pt x="5998139" y="4084325"/>
                </a:cubicBezTo>
                <a:cubicBezTo>
                  <a:pt x="5992692" y="4084325"/>
                  <a:pt x="5987973" y="4079606"/>
                  <a:pt x="5987973" y="4074159"/>
                </a:cubicBezTo>
                <a:cubicBezTo>
                  <a:pt x="5987973" y="4068712"/>
                  <a:pt x="5992692" y="4063992"/>
                  <a:pt x="5998139" y="4063992"/>
                </a:cubicBezTo>
                <a:close/>
                <a:moveTo>
                  <a:pt x="6152083" y="4062174"/>
                </a:moveTo>
                <a:cubicBezTo>
                  <a:pt x="6158620" y="4062174"/>
                  <a:pt x="6164064" y="4067621"/>
                  <a:pt x="6164064" y="4074155"/>
                </a:cubicBezTo>
                <a:cubicBezTo>
                  <a:pt x="6164064" y="4080692"/>
                  <a:pt x="6158620" y="4086140"/>
                  <a:pt x="6152083" y="4086140"/>
                </a:cubicBezTo>
                <a:cubicBezTo>
                  <a:pt x="6145546" y="4086140"/>
                  <a:pt x="6140102" y="4080692"/>
                  <a:pt x="6140102" y="4074155"/>
                </a:cubicBezTo>
                <a:cubicBezTo>
                  <a:pt x="6140102" y="4067621"/>
                  <a:pt x="6145546" y="4062174"/>
                  <a:pt x="6152083" y="4062174"/>
                </a:cubicBezTo>
                <a:close/>
                <a:moveTo>
                  <a:pt x="6305672" y="4059998"/>
                </a:moveTo>
                <a:cubicBezTo>
                  <a:pt x="6313292" y="4059998"/>
                  <a:pt x="6319467" y="4066169"/>
                  <a:pt x="6319467" y="4073793"/>
                </a:cubicBezTo>
                <a:cubicBezTo>
                  <a:pt x="6319467" y="4081420"/>
                  <a:pt x="6313292" y="4087592"/>
                  <a:pt x="6305672" y="4087592"/>
                </a:cubicBezTo>
                <a:cubicBezTo>
                  <a:pt x="6298044" y="4087592"/>
                  <a:pt x="6291873" y="4081420"/>
                  <a:pt x="6291873" y="4073793"/>
                </a:cubicBezTo>
                <a:cubicBezTo>
                  <a:pt x="6291873" y="4066169"/>
                  <a:pt x="6298044" y="4059998"/>
                  <a:pt x="6305672" y="4059998"/>
                </a:cubicBezTo>
                <a:close/>
                <a:moveTo>
                  <a:pt x="6459619" y="4058907"/>
                </a:moveTo>
                <a:cubicBezTo>
                  <a:pt x="6468040" y="4058907"/>
                  <a:pt x="6474867" y="4065735"/>
                  <a:pt x="6474867" y="4074155"/>
                </a:cubicBezTo>
                <a:cubicBezTo>
                  <a:pt x="6474867" y="4082579"/>
                  <a:pt x="6468040" y="4089406"/>
                  <a:pt x="6459619" y="4089406"/>
                </a:cubicBezTo>
                <a:cubicBezTo>
                  <a:pt x="6451195" y="4089406"/>
                  <a:pt x="6444368" y="4082579"/>
                  <a:pt x="6444368" y="4074155"/>
                </a:cubicBezTo>
                <a:cubicBezTo>
                  <a:pt x="6444368" y="4065735"/>
                  <a:pt x="6451195" y="4058907"/>
                  <a:pt x="6459619" y="4058907"/>
                </a:cubicBezTo>
                <a:close/>
                <a:moveTo>
                  <a:pt x="6613197" y="4057093"/>
                </a:moveTo>
                <a:cubicBezTo>
                  <a:pt x="6622639" y="4057093"/>
                  <a:pt x="6630266" y="4064717"/>
                  <a:pt x="6630266" y="4074159"/>
                </a:cubicBezTo>
                <a:cubicBezTo>
                  <a:pt x="6630266" y="4083597"/>
                  <a:pt x="6622639" y="4091225"/>
                  <a:pt x="6613197" y="4091225"/>
                </a:cubicBezTo>
                <a:cubicBezTo>
                  <a:pt x="6603758" y="4091225"/>
                  <a:pt x="6596135" y="4083597"/>
                  <a:pt x="6596135" y="4074159"/>
                </a:cubicBezTo>
                <a:cubicBezTo>
                  <a:pt x="6596135" y="4064717"/>
                  <a:pt x="6603758" y="4057093"/>
                  <a:pt x="6613197" y="4057093"/>
                </a:cubicBezTo>
                <a:close/>
                <a:moveTo>
                  <a:pt x="4614061" y="3919845"/>
                </a:moveTo>
                <a:cubicBezTo>
                  <a:pt x="4614424" y="3919845"/>
                  <a:pt x="4614424" y="3919845"/>
                  <a:pt x="4614424" y="3920208"/>
                </a:cubicBezTo>
                <a:cubicBezTo>
                  <a:pt x="4614424" y="3920574"/>
                  <a:pt x="4614061" y="3920574"/>
                  <a:pt x="4614061" y="3920574"/>
                </a:cubicBezTo>
                <a:cubicBezTo>
                  <a:pt x="4613699" y="3920574"/>
                  <a:pt x="4613699" y="3920574"/>
                  <a:pt x="4613699" y="3920208"/>
                </a:cubicBezTo>
                <a:cubicBezTo>
                  <a:pt x="4613699" y="3919845"/>
                  <a:pt x="4613699" y="3919845"/>
                  <a:pt x="4614061" y="3919845"/>
                </a:cubicBezTo>
                <a:close/>
                <a:moveTo>
                  <a:pt x="4152947" y="3919845"/>
                </a:moveTo>
                <a:cubicBezTo>
                  <a:pt x="4153309" y="3919845"/>
                  <a:pt x="4153309" y="3919845"/>
                  <a:pt x="4153309" y="3920208"/>
                </a:cubicBezTo>
                <a:cubicBezTo>
                  <a:pt x="4153309" y="3920574"/>
                  <a:pt x="4152947" y="3920574"/>
                  <a:pt x="4152947" y="3920574"/>
                </a:cubicBezTo>
                <a:cubicBezTo>
                  <a:pt x="4152585" y="3920574"/>
                  <a:pt x="4152585" y="3920574"/>
                  <a:pt x="4152585" y="3920208"/>
                </a:cubicBezTo>
                <a:cubicBezTo>
                  <a:pt x="4152585" y="3919845"/>
                  <a:pt x="4152585" y="3919845"/>
                  <a:pt x="4152947" y="3919845"/>
                </a:cubicBezTo>
                <a:close/>
                <a:moveTo>
                  <a:pt x="3999000" y="3919845"/>
                </a:moveTo>
                <a:cubicBezTo>
                  <a:pt x="3999362" y="3919845"/>
                  <a:pt x="3999362" y="3919845"/>
                  <a:pt x="3999362" y="3920208"/>
                </a:cubicBezTo>
                <a:cubicBezTo>
                  <a:pt x="3999362" y="3920574"/>
                  <a:pt x="3999000" y="3920574"/>
                  <a:pt x="3999000" y="3920574"/>
                </a:cubicBezTo>
                <a:cubicBezTo>
                  <a:pt x="3998638" y="3920574"/>
                  <a:pt x="3998638" y="3920574"/>
                  <a:pt x="3998638" y="3920208"/>
                </a:cubicBezTo>
                <a:cubicBezTo>
                  <a:pt x="3998638" y="3919845"/>
                  <a:pt x="3998638" y="3919845"/>
                  <a:pt x="3999000" y="3919845"/>
                </a:cubicBezTo>
                <a:close/>
                <a:moveTo>
                  <a:pt x="3845418" y="3919483"/>
                </a:moveTo>
                <a:cubicBezTo>
                  <a:pt x="3845818" y="3919483"/>
                  <a:pt x="3846142" y="3919807"/>
                  <a:pt x="3846142" y="3920211"/>
                </a:cubicBezTo>
                <a:cubicBezTo>
                  <a:pt x="3846142" y="3920612"/>
                  <a:pt x="3845818" y="3920936"/>
                  <a:pt x="3845418" y="3920936"/>
                </a:cubicBezTo>
                <a:cubicBezTo>
                  <a:pt x="3845014" y="3920936"/>
                  <a:pt x="3844690" y="3920612"/>
                  <a:pt x="3844690" y="3920211"/>
                </a:cubicBezTo>
                <a:cubicBezTo>
                  <a:pt x="3844690" y="3919807"/>
                  <a:pt x="3845014" y="3919483"/>
                  <a:pt x="3845418" y="3919483"/>
                </a:cubicBezTo>
                <a:close/>
                <a:moveTo>
                  <a:pt x="4768012" y="3918759"/>
                </a:moveTo>
                <a:cubicBezTo>
                  <a:pt x="4768736" y="3918759"/>
                  <a:pt x="4769464" y="3919483"/>
                  <a:pt x="4769464" y="3920211"/>
                </a:cubicBezTo>
                <a:cubicBezTo>
                  <a:pt x="4769464" y="3920936"/>
                  <a:pt x="4768012" y="3921664"/>
                  <a:pt x="4768012" y="3921664"/>
                </a:cubicBezTo>
                <a:cubicBezTo>
                  <a:pt x="4767284" y="3921664"/>
                  <a:pt x="4766560" y="3920936"/>
                  <a:pt x="4766560" y="3920211"/>
                </a:cubicBezTo>
                <a:cubicBezTo>
                  <a:pt x="4766560" y="3919483"/>
                  <a:pt x="4767284" y="3918759"/>
                  <a:pt x="4768012" y="3918759"/>
                </a:cubicBezTo>
                <a:close/>
                <a:moveTo>
                  <a:pt x="4921594" y="3918031"/>
                </a:moveTo>
                <a:cubicBezTo>
                  <a:pt x="4922684" y="3918031"/>
                  <a:pt x="4923774" y="3919121"/>
                  <a:pt x="4923774" y="3920208"/>
                </a:cubicBezTo>
                <a:cubicBezTo>
                  <a:pt x="4923774" y="3921298"/>
                  <a:pt x="4921594" y="3922388"/>
                  <a:pt x="4921594" y="3922388"/>
                </a:cubicBezTo>
                <a:cubicBezTo>
                  <a:pt x="4920508" y="3922388"/>
                  <a:pt x="4919417" y="3921298"/>
                  <a:pt x="4919417" y="3920208"/>
                </a:cubicBezTo>
                <a:cubicBezTo>
                  <a:pt x="4919417" y="3919121"/>
                  <a:pt x="4920508" y="3918031"/>
                  <a:pt x="4921594" y="3918031"/>
                </a:cubicBezTo>
                <a:close/>
                <a:moveTo>
                  <a:pt x="5075545" y="3917307"/>
                </a:moveTo>
                <a:cubicBezTo>
                  <a:pt x="5077360" y="3917307"/>
                  <a:pt x="5078812" y="3918759"/>
                  <a:pt x="5078812" y="3920574"/>
                </a:cubicBezTo>
                <a:cubicBezTo>
                  <a:pt x="5078812" y="3922388"/>
                  <a:pt x="5077360" y="3923844"/>
                  <a:pt x="5075545" y="3923844"/>
                </a:cubicBezTo>
                <a:cubicBezTo>
                  <a:pt x="5073726" y="3923844"/>
                  <a:pt x="5072274" y="3922388"/>
                  <a:pt x="5072274" y="3920574"/>
                </a:cubicBezTo>
                <a:cubicBezTo>
                  <a:pt x="5072274" y="3918759"/>
                  <a:pt x="5073726" y="3917307"/>
                  <a:pt x="5075545" y="3917307"/>
                </a:cubicBezTo>
                <a:close/>
                <a:moveTo>
                  <a:pt x="5229126" y="3915854"/>
                </a:moveTo>
                <a:cubicBezTo>
                  <a:pt x="5231669" y="3915854"/>
                  <a:pt x="5233484" y="3917669"/>
                  <a:pt x="5233484" y="3920211"/>
                </a:cubicBezTo>
                <a:cubicBezTo>
                  <a:pt x="5233484" y="3922754"/>
                  <a:pt x="5231303" y="3924568"/>
                  <a:pt x="5229126" y="3924568"/>
                </a:cubicBezTo>
                <a:cubicBezTo>
                  <a:pt x="5226584" y="3924568"/>
                  <a:pt x="5224770" y="3922754"/>
                  <a:pt x="5224770" y="3920211"/>
                </a:cubicBezTo>
                <a:cubicBezTo>
                  <a:pt x="5224770" y="3917669"/>
                  <a:pt x="5226584" y="3915854"/>
                  <a:pt x="5229126" y="3915854"/>
                </a:cubicBezTo>
                <a:close/>
                <a:moveTo>
                  <a:pt x="5383074" y="3914764"/>
                </a:moveTo>
                <a:cubicBezTo>
                  <a:pt x="5386340" y="3914764"/>
                  <a:pt x="5388883" y="3917307"/>
                  <a:pt x="5388883" y="3920574"/>
                </a:cubicBezTo>
                <a:cubicBezTo>
                  <a:pt x="5388883" y="3923840"/>
                  <a:pt x="5386340" y="3926383"/>
                  <a:pt x="5383074" y="3926383"/>
                </a:cubicBezTo>
                <a:cubicBezTo>
                  <a:pt x="5379807" y="3926383"/>
                  <a:pt x="5377264" y="3923840"/>
                  <a:pt x="5377264" y="3920574"/>
                </a:cubicBezTo>
                <a:cubicBezTo>
                  <a:pt x="5377264" y="3917307"/>
                  <a:pt x="5379807" y="3914764"/>
                  <a:pt x="5383074" y="3914764"/>
                </a:cubicBezTo>
                <a:close/>
                <a:moveTo>
                  <a:pt x="5536659" y="3912950"/>
                </a:moveTo>
                <a:cubicBezTo>
                  <a:pt x="5540654" y="3912950"/>
                  <a:pt x="5543921" y="3916217"/>
                  <a:pt x="5543921" y="3920211"/>
                </a:cubicBezTo>
                <a:cubicBezTo>
                  <a:pt x="5543921" y="3924206"/>
                  <a:pt x="5540654" y="3927473"/>
                  <a:pt x="5536659" y="3927473"/>
                </a:cubicBezTo>
                <a:cubicBezTo>
                  <a:pt x="5532664" y="3927473"/>
                  <a:pt x="5529398" y="3924206"/>
                  <a:pt x="5529398" y="3920211"/>
                </a:cubicBezTo>
                <a:cubicBezTo>
                  <a:pt x="5529398" y="3916217"/>
                  <a:pt x="5532664" y="3912950"/>
                  <a:pt x="5536659" y="3912950"/>
                </a:cubicBezTo>
                <a:close/>
                <a:moveTo>
                  <a:pt x="5690606" y="3911135"/>
                </a:moveTo>
                <a:cubicBezTo>
                  <a:pt x="5695692" y="3911135"/>
                  <a:pt x="5699686" y="3915130"/>
                  <a:pt x="5699686" y="3920211"/>
                </a:cubicBezTo>
                <a:cubicBezTo>
                  <a:pt x="5699686" y="3925297"/>
                  <a:pt x="5695692" y="3929291"/>
                  <a:pt x="5690606" y="3929291"/>
                </a:cubicBezTo>
                <a:cubicBezTo>
                  <a:pt x="5685526" y="3929291"/>
                  <a:pt x="5681530" y="3925297"/>
                  <a:pt x="5681530" y="3920211"/>
                </a:cubicBezTo>
                <a:cubicBezTo>
                  <a:pt x="5681530" y="3915130"/>
                  <a:pt x="5685526" y="3911135"/>
                  <a:pt x="5690606" y="3911135"/>
                </a:cubicBezTo>
                <a:close/>
                <a:moveTo>
                  <a:pt x="5844554" y="3910045"/>
                </a:moveTo>
                <a:cubicBezTo>
                  <a:pt x="5850001" y="3910045"/>
                  <a:pt x="5854720" y="3914764"/>
                  <a:pt x="5854720" y="3920211"/>
                </a:cubicBezTo>
                <a:cubicBezTo>
                  <a:pt x="5854720" y="3925659"/>
                  <a:pt x="5850363" y="3930378"/>
                  <a:pt x="5844554" y="3930378"/>
                </a:cubicBezTo>
                <a:cubicBezTo>
                  <a:pt x="5839106" y="3930378"/>
                  <a:pt x="5834388" y="3925659"/>
                  <a:pt x="5834388" y="3920211"/>
                </a:cubicBezTo>
                <a:cubicBezTo>
                  <a:pt x="5834388" y="3914764"/>
                  <a:pt x="5839106" y="3910045"/>
                  <a:pt x="5844554" y="3910045"/>
                </a:cubicBezTo>
                <a:close/>
                <a:moveTo>
                  <a:pt x="5998139" y="3908227"/>
                </a:moveTo>
                <a:cubicBezTo>
                  <a:pt x="6004673" y="3908227"/>
                  <a:pt x="6010120" y="3913674"/>
                  <a:pt x="6010120" y="3920208"/>
                </a:cubicBezTo>
                <a:cubicBezTo>
                  <a:pt x="6010120" y="3926745"/>
                  <a:pt x="6004673" y="3932192"/>
                  <a:pt x="5998139" y="3932192"/>
                </a:cubicBezTo>
                <a:cubicBezTo>
                  <a:pt x="5991602" y="3932192"/>
                  <a:pt x="5986158" y="3926745"/>
                  <a:pt x="5986158" y="3920208"/>
                </a:cubicBezTo>
                <a:cubicBezTo>
                  <a:pt x="5986158" y="3913674"/>
                  <a:pt x="5991602" y="3908227"/>
                  <a:pt x="5998139" y="3908227"/>
                </a:cubicBezTo>
                <a:close/>
                <a:moveTo>
                  <a:pt x="6152086" y="3906412"/>
                </a:moveTo>
                <a:cubicBezTo>
                  <a:pt x="6159710" y="3906412"/>
                  <a:pt x="6165882" y="3912584"/>
                  <a:pt x="6165882" y="3920211"/>
                </a:cubicBezTo>
                <a:cubicBezTo>
                  <a:pt x="6165882" y="3927835"/>
                  <a:pt x="6159710" y="3934007"/>
                  <a:pt x="6152086" y="3934007"/>
                </a:cubicBezTo>
                <a:cubicBezTo>
                  <a:pt x="6144463" y="3934007"/>
                  <a:pt x="6138288" y="3927835"/>
                  <a:pt x="6138288" y="3920211"/>
                </a:cubicBezTo>
                <a:cubicBezTo>
                  <a:pt x="6138288" y="3912584"/>
                  <a:pt x="6144463" y="3906412"/>
                  <a:pt x="6152086" y="3906412"/>
                </a:cubicBezTo>
                <a:close/>
                <a:moveTo>
                  <a:pt x="6305672" y="3904960"/>
                </a:moveTo>
                <a:cubicBezTo>
                  <a:pt x="6314092" y="3904960"/>
                  <a:pt x="6320920" y="3911787"/>
                  <a:pt x="6320920" y="3920211"/>
                </a:cubicBezTo>
                <a:cubicBezTo>
                  <a:pt x="6320920" y="3928632"/>
                  <a:pt x="6314092" y="3935459"/>
                  <a:pt x="6305672" y="3935459"/>
                </a:cubicBezTo>
                <a:cubicBezTo>
                  <a:pt x="6297248" y="3935459"/>
                  <a:pt x="6290420" y="3928632"/>
                  <a:pt x="6290420" y="3920211"/>
                </a:cubicBezTo>
                <a:cubicBezTo>
                  <a:pt x="6290420" y="3911787"/>
                  <a:pt x="6297248" y="3904960"/>
                  <a:pt x="6305672" y="3904960"/>
                </a:cubicBezTo>
                <a:close/>
                <a:moveTo>
                  <a:pt x="6459616" y="3903146"/>
                </a:moveTo>
                <a:cubicBezTo>
                  <a:pt x="6469058" y="3903146"/>
                  <a:pt x="6476682" y="3910769"/>
                  <a:pt x="6476682" y="3920211"/>
                </a:cubicBezTo>
                <a:cubicBezTo>
                  <a:pt x="6476682" y="3929650"/>
                  <a:pt x="6469058" y="3937277"/>
                  <a:pt x="6459616" y="3937277"/>
                </a:cubicBezTo>
                <a:cubicBezTo>
                  <a:pt x="6450174" y="3937277"/>
                  <a:pt x="6442550" y="3929650"/>
                  <a:pt x="6442550" y="3920211"/>
                </a:cubicBezTo>
                <a:cubicBezTo>
                  <a:pt x="6442550" y="3910769"/>
                  <a:pt x="6450174" y="3903146"/>
                  <a:pt x="6459616" y="3903146"/>
                </a:cubicBezTo>
                <a:close/>
                <a:moveTo>
                  <a:pt x="6613200" y="3900969"/>
                </a:moveTo>
                <a:cubicBezTo>
                  <a:pt x="6623828" y="3900969"/>
                  <a:pt x="6632447" y="3909584"/>
                  <a:pt x="6632447" y="3920211"/>
                </a:cubicBezTo>
                <a:cubicBezTo>
                  <a:pt x="6632447" y="3930839"/>
                  <a:pt x="6623828" y="3939458"/>
                  <a:pt x="6613200" y="3939458"/>
                </a:cubicBezTo>
                <a:cubicBezTo>
                  <a:pt x="6602573" y="3939458"/>
                  <a:pt x="6593958" y="3930839"/>
                  <a:pt x="6593958" y="3920211"/>
                </a:cubicBezTo>
                <a:cubicBezTo>
                  <a:pt x="6593958" y="3909584"/>
                  <a:pt x="6602573" y="3900969"/>
                  <a:pt x="6613200" y="3900969"/>
                </a:cubicBezTo>
                <a:close/>
                <a:moveTo>
                  <a:pt x="4460480" y="3766264"/>
                </a:moveTo>
                <a:cubicBezTo>
                  <a:pt x="4460842" y="3766264"/>
                  <a:pt x="4460842" y="3766264"/>
                  <a:pt x="4460842" y="3766626"/>
                </a:cubicBezTo>
                <a:cubicBezTo>
                  <a:pt x="4460842" y="3766988"/>
                  <a:pt x="4460480" y="3766988"/>
                  <a:pt x="4460480" y="3766988"/>
                </a:cubicBezTo>
                <a:cubicBezTo>
                  <a:pt x="4460118" y="3766988"/>
                  <a:pt x="4460118" y="3766988"/>
                  <a:pt x="4460118" y="3766626"/>
                </a:cubicBezTo>
                <a:cubicBezTo>
                  <a:pt x="4460118" y="3766264"/>
                  <a:pt x="4460118" y="3766264"/>
                  <a:pt x="4460480" y="3766264"/>
                </a:cubicBezTo>
                <a:close/>
                <a:moveTo>
                  <a:pt x="3999000" y="3766264"/>
                </a:moveTo>
                <a:cubicBezTo>
                  <a:pt x="3999362" y="3766264"/>
                  <a:pt x="3999362" y="3766264"/>
                  <a:pt x="3999362" y="3766626"/>
                </a:cubicBezTo>
                <a:cubicBezTo>
                  <a:pt x="3999362" y="3766988"/>
                  <a:pt x="3999000" y="3766988"/>
                  <a:pt x="3999000" y="3766988"/>
                </a:cubicBezTo>
                <a:cubicBezTo>
                  <a:pt x="3998638" y="3766988"/>
                  <a:pt x="3998638" y="3766988"/>
                  <a:pt x="3998638" y="3766626"/>
                </a:cubicBezTo>
                <a:cubicBezTo>
                  <a:pt x="3998638" y="3766264"/>
                  <a:pt x="3998638" y="3766264"/>
                  <a:pt x="3999000" y="3766264"/>
                </a:cubicBezTo>
                <a:close/>
                <a:moveTo>
                  <a:pt x="3845414" y="3766264"/>
                </a:moveTo>
                <a:cubicBezTo>
                  <a:pt x="3845776" y="3766264"/>
                  <a:pt x="3845776" y="3766264"/>
                  <a:pt x="3845776" y="3766626"/>
                </a:cubicBezTo>
                <a:cubicBezTo>
                  <a:pt x="3845776" y="3766988"/>
                  <a:pt x="3845414" y="3766988"/>
                  <a:pt x="3845414" y="3766988"/>
                </a:cubicBezTo>
                <a:cubicBezTo>
                  <a:pt x="3845052" y="3766988"/>
                  <a:pt x="3845052" y="3766988"/>
                  <a:pt x="3845052" y="3766626"/>
                </a:cubicBezTo>
                <a:cubicBezTo>
                  <a:pt x="3845052" y="3766264"/>
                  <a:pt x="3845052" y="3766264"/>
                  <a:pt x="3845414" y="3766264"/>
                </a:cubicBezTo>
                <a:close/>
                <a:moveTo>
                  <a:pt x="3691471" y="3765902"/>
                </a:moveTo>
                <a:cubicBezTo>
                  <a:pt x="3691871" y="3765902"/>
                  <a:pt x="3692195" y="3766226"/>
                  <a:pt x="3692195" y="3766626"/>
                </a:cubicBezTo>
                <a:cubicBezTo>
                  <a:pt x="3692195" y="3767030"/>
                  <a:pt x="3691871" y="3767354"/>
                  <a:pt x="3691471" y="3767354"/>
                </a:cubicBezTo>
                <a:cubicBezTo>
                  <a:pt x="3691067" y="3767354"/>
                  <a:pt x="3690743" y="3767030"/>
                  <a:pt x="3690743" y="3766626"/>
                </a:cubicBezTo>
                <a:cubicBezTo>
                  <a:pt x="3690743" y="3766226"/>
                  <a:pt x="3691067" y="3765902"/>
                  <a:pt x="3691471" y="3765902"/>
                </a:cubicBezTo>
                <a:close/>
                <a:moveTo>
                  <a:pt x="4614065" y="3764812"/>
                </a:moveTo>
                <a:cubicBezTo>
                  <a:pt x="4614789" y="3764812"/>
                  <a:pt x="4615518" y="3765536"/>
                  <a:pt x="4615518" y="3766264"/>
                </a:cubicBezTo>
                <a:cubicBezTo>
                  <a:pt x="4615518" y="3766988"/>
                  <a:pt x="4614065" y="3767716"/>
                  <a:pt x="4614065" y="3767716"/>
                </a:cubicBezTo>
                <a:cubicBezTo>
                  <a:pt x="4613337" y="3767716"/>
                  <a:pt x="4612612" y="3766988"/>
                  <a:pt x="4612612" y="3766264"/>
                </a:cubicBezTo>
                <a:cubicBezTo>
                  <a:pt x="4612612" y="3765536"/>
                  <a:pt x="4613337" y="3764812"/>
                  <a:pt x="4614065" y="3764812"/>
                </a:cubicBezTo>
                <a:close/>
                <a:moveTo>
                  <a:pt x="4768008" y="3764450"/>
                </a:moveTo>
                <a:cubicBezTo>
                  <a:pt x="4769098" y="3764450"/>
                  <a:pt x="4770189" y="3765540"/>
                  <a:pt x="4770189" y="3766626"/>
                </a:cubicBezTo>
                <a:cubicBezTo>
                  <a:pt x="4770189" y="3767716"/>
                  <a:pt x="4768008" y="3768807"/>
                  <a:pt x="4768008" y="3768807"/>
                </a:cubicBezTo>
                <a:cubicBezTo>
                  <a:pt x="4766922" y="3768807"/>
                  <a:pt x="4765832" y="3767716"/>
                  <a:pt x="4765832" y="3766626"/>
                </a:cubicBezTo>
                <a:cubicBezTo>
                  <a:pt x="4765832" y="3765540"/>
                  <a:pt x="4766922" y="3764450"/>
                  <a:pt x="4768008" y="3764450"/>
                </a:cubicBezTo>
                <a:close/>
                <a:moveTo>
                  <a:pt x="4921594" y="3763359"/>
                </a:moveTo>
                <a:cubicBezTo>
                  <a:pt x="4923412" y="3763359"/>
                  <a:pt x="4924860" y="3764812"/>
                  <a:pt x="4924860" y="3766626"/>
                </a:cubicBezTo>
                <a:cubicBezTo>
                  <a:pt x="4924860" y="3768441"/>
                  <a:pt x="4923412" y="3769897"/>
                  <a:pt x="4921594" y="3769897"/>
                </a:cubicBezTo>
                <a:cubicBezTo>
                  <a:pt x="4919780" y="3769897"/>
                  <a:pt x="4918327" y="3768441"/>
                  <a:pt x="4918327" y="3766626"/>
                </a:cubicBezTo>
                <a:cubicBezTo>
                  <a:pt x="4918327" y="3764812"/>
                  <a:pt x="4919780" y="3763359"/>
                  <a:pt x="4921594" y="3763359"/>
                </a:cubicBezTo>
                <a:close/>
                <a:moveTo>
                  <a:pt x="5075541" y="3762269"/>
                </a:moveTo>
                <a:cubicBezTo>
                  <a:pt x="5078084" y="3762269"/>
                  <a:pt x="5079898" y="3764084"/>
                  <a:pt x="5079898" y="3766626"/>
                </a:cubicBezTo>
                <a:cubicBezTo>
                  <a:pt x="5079898" y="3769169"/>
                  <a:pt x="5077722" y="3770983"/>
                  <a:pt x="5075541" y="3770983"/>
                </a:cubicBezTo>
                <a:cubicBezTo>
                  <a:pt x="5072998" y="3770983"/>
                  <a:pt x="5071184" y="3769169"/>
                  <a:pt x="5071184" y="3766626"/>
                </a:cubicBezTo>
                <a:cubicBezTo>
                  <a:pt x="5071184" y="3764084"/>
                  <a:pt x="5072998" y="3762269"/>
                  <a:pt x="5075541" y="3762269"/>
                </a:cubicBezTo>
                <a:close/>
                <a:moveTo>
                  <a:pt x="5229126" y="3760817"/>
                </a:moveTo>
                <a:cubicBezTo>
                  <a:pt x="5232394" y="3760817"/>
                  <a:pt x="5234936" y="3763359"/>
                  <a:pt x="5234936" y="3766626"/>
                </a:cubicBezTo>
                <a:cubicBezTo>
                  <a:pt x="5234936" y="3769893"/>
                  <a:pt x="5232394" y="3772436"/>
                  <a:pt x="5229126" y="3772436"/>
                </a:cubicBezTo>
                <a:cubicBezTo>
                  <a:pt x="5225860" y="3772436"/>
                  <a:pt x="5223317" y="3769893"/>
                  <a:pt x="5223317" y="3766626"/>
                </a:cubicBezTo>
                <a:cubicBezTo>
                  <a:pt x="5223317" y="3763359"/>
                  <a:pt x="5225860" y="3760817"/>
                  <a:pt x="5229126" y="3760817"/>
                </a:cubicBezTo>
                <a:close/>
                <a:moveTo>
                  <a:pt x="5383074" y="3759365"/>
                </a:moveTo>
                <a:cubicBezTo>
                  <a:pt x="5387068" y="3759365"/>
                  <a:pt x="5390336" y="3762631"/>
                  <a:pt x="5390336" y="3766626"/>
                </a:cubicBezTo>
                <a:cubicBezTo>
                  <a:pt x="5390336" y="3770621"/>
                  <a:pt x="5387068" y="3773888"/>
                  <a:pt x="5383074" y="3773888"/>
                </a:cubicBezTo>
                <a:cubicBezTo>
                  <a:pt x="5379079" y="3773888"/>
                  <a:pt x="5375812" y="3770621"/>
                  <a:pt x="5375812" y="3766626"/>
                </a:cubicBezTo>
                <a:cubicBezTo>
                  <a:pt x="5375812" y="3762631"/>
                  <a:pt x="5379079" y="3759365"/>
                  <a:pt x="5383074" y="3759365"/>
                </a:cubicBezTo>
                <a:close/>
                <a:moveTo>
                  <a:pt x="5536659" y="3757188"/>
                </a:moveTo>
                <a:cubicBezTo>
                  <a:pt x="5541740" y="3757188"/>
                  <a:pt x="5545739" y="3761183"/>
                  <a:pt x="5545739" y="3766264"/>
                </a:cubicBezTo>
                <a:cubicBezTo>
                  <a:pt x="5545739" y="3771349"/>
                  <a:pt x="5541740" y="3775344"/>
                  <a:pt x="5536659" y="3775344"/>
                </a:cubicBezTo>
                <a:cubicBezTo>
                  <a:pt x="5531578" y="3775344"/>
                  <a:pt x="5527583" y="3771349"/>
                  <a:pt x="5527583" y="3766264"/>
                </a:cubicBezTo>
                <a:cubicBezTo>
                  <a:pt x="5527583" y="3761183"/>
                  <a:pt x="5531578" y="3757188"/>
                  <a:pt x="5536659" y="3757188"/>
                </a:cubicBezTo>
                <a:close/>
                <a:moveTo>
                  <a:pt x="5690606" y="3756460"/>
                </a:moveTo>
                <a:cubicBezTo>
                  <a:pt x="5696054" y="3756460"/>
                  <a:pt x="5700773" y="3761179"/>
                  <a:pt x="5700773" y="3766626"/>
                </a:cubicBezTo>
                <a:cubicBezTo>
                  <a:pt x="5700773" y="3772073"/>
                  <a:pt x="5696416" y="3776793"/>
                  <a:pt x="5690606" y="3776793"/>
                </a:cubicBezTo>
                <a:cubicBezTo>
                  <a:pt x="5685160" y="3776793"/>
                  <a:pt x="5680440" y="3772073"/>
                  <a:pt x="5680440" y="3766626"/>
                </a:cubicBezTo>
                <a:cubicBezTo>
                  <a:pt x="5680440" y="3761179"/>
                  <a:pt x="5685160" y="3756460"/>
                  <a:pt x="5690606" y="3756460"/>
                </a:cubicBezTo>
                <a:close/>
                <a:moveTo>
                  <a:pt x="5844550" y="3754645"/>
                </a:moveTo>
                <a:cubicBezTo>
                  <a:pt x="5851088" y="3754645"/>
                  <a:pt x="5856534" y="3760093"/>
                  <a:pt x="5856534" y="3766626"/>
                </a:cubicBezTo>
                <a:cubicBezTo>
                  <a:pt x="5856534" y="3773164"/>
                  <a:pt x="5851088" y="3778607"/>
                  <a:pt x="5844550" y="3778607"/>
                </a:cubicBezTo>
                <a:cubicBezTo>
                  <a:pt x="5838016" y="3778607"/>
                  <a:pt x="5832570" y="3773164"/>
                  <a:pt x="5832570" y="3766626"/>
                </a:cubicBezTo>
                <a:cubicBezTo>
                  <a:pt x="5832570" y="3760093"/>
                  <a:pt x="5838016" y="3754645"/>
                  <a:pt x="5844550" y="3754645"/>
                </a:cubicBezTo>
                <a:close/>
                <a:moveTo>
                  <a:pt x="5998139" y="3752465"/>
                </a:moveTo>
                <a:cubicBezTo>
                  <a:pt x="6005763" y="3752465"/>
                  <a:pt x="6011934" y="3758636"/>
                  <a:pt x="6011934" y="3766264"/>
                </a:cubicBezTo>
                <a:cubicBezTo>
                  <a:pt x="6011934" y="3773888"/>
                  <a:pt x="6005763" y="3780059"/>
                  <a:pt x="5998139" y="3780059"/>
                </a:cubicBezTo>
                <a:cubicBezTo>
                  <a:pt x="5990516" y="3780059"/>
                  <a:pt x="5984340" y="3773888"/>
                  <a:pt x="5984340" y="3766264"/>
                </a:cubicBezTo>
                <a:cubicBezTo>
                  <a:pt x="5984340" y="3758636"/>
                  <a:pt x="5990516" y="3752465"/>
                  <a:pt x="5998139" y="3752465"/>
                </a:cubicBezTo>
                <a:close/>
                <a:moveTo>
                  <a:pt x="6152086" y="3751379"/>
                </a:moveTo>
                <a:cubicBezTo>
                  <a:pt x="6160507" y="3751379"/>
                  <a:pt x="6167334" y="3758206"/>
                  <a:pt x="6167334" y="3766626"/>
                </a:cubicBezTo>
                <a:cubicBezTo>
                  <a:pt x="6167334" y="3775050"/>
                  <a:pt x="6160507" y="3781878"/>
                  <a:pt x="6152086" y="3781878"/>
                </a:cubicBezTo>
                <a:cubicBezTo>
                  <a:pt x="6143666" y="3781878"/>
                  <a:pt x="6136839" y="3775050"/>
                  <a:pt x="6136839" y="3766626"/>
                </a:cubicBezTo>
                <a:cubicBezTo>
                  <a:pt x="6136839" y="3758206"/>
                  <a:pt x="6143666" y="3751379"/>
                  <a:pt x="6152086" y="3751379"/>
                </a:cubicBezTo>
                <a:close/>
                <a:moveTo>
                  <a:pt x="6305668" y="3749560"/>
                </a:moveTo>
                <a:cubicBezTo>
                  <a:pt x="6315110" y="3749560"/>
                  <a:pt x="6322734" y="3757184"/>
                  <a:pt x="6322734" y="3766626"/>
                </a:cubicBezTo>
                <a:cubicBezTo>
                  <a:pt x="6322734" y="3776064"/>
                  <a:pt x="6315110" y="3783692"/>
                  <a:pt x="6305668" y="3783692"/>
                </a:cubicBezTo>
                <a:cubicBezTo>
                  <a:pt x="6296226" y="3783692"/>
                  <a:pt x="6288602" y="3776064"/>
                  <a:pt x="6288602" y="3766626"/>
                </a:cubicBezTo>
                <a:cubicBezTo>
                  <a:pt x="6288602" y="3757184"/>
                  <a:pt x="6296226" y="3749560"/>
                  <a:pt x="6305668" y="3749560"/>
                </a:cubicBezTo>
                <a:close/>
                <a:moveTo>
                  <a:pt x="6459616" y="3747384"/>
                </a:moveTo>
                <a:cubicBezTo>
                  <a:pt x="6470243" y="3747384"/>
                  <a:pt x="6478858" y="3755999"/>
                  <a:pt x="6478858" y="3766626"/>
                </a:cubicBezTo>
                <a:cubicBezTo>
                  <a:pt x="6478858" y="3777254"/>
                  <a:pt x="6470243" y="3785869"/>
                  <a:pt x="6459616" y="3785869"/>
                </a:cubicBezTo>
                <a:cubicBezTo>
                  <a:pt x="6448988" y="3785869"/>
                  <a:pt x="6440369" y="3777254"/>
                  <a:pt x="6440369" y="3766626"/>
                </a:cubicBezTo>
                <a:cubicBezTo>
                  <a:pt x="6440369" y="3755999"/>
                  <a:pt x="6448988" y="3747384"/>
                  <a:pt x="6459616" y="3747384"/>
                </a:cubicBezTo>
                <a:close/>
                <a:moveTo>
                  <a:pt x="6613200" y="3745203"/>
                </a:moveTo>
                <a:cubicBezTo>
                  <a:pt x="6625033" y="3745203"/>
                  <a:pt x="6634624" y="3754794"/>
                  <a:pt x="6634624" y="3766626"/>
                </a:cubicBezTo>
                <a:cubicBezTo>
                  <a:pt x="6634624" y="3778454"/>
                  <a:pt x="6625033" y="3788045"/>
                  <a:pt x="6613200" y="3788045"/>
                </a:cubicBezTo>
                <a:cubicBezTo>
                  <a:pt x="6601368" y="3788045"/>
                  <a:pt x="6591778" y="3778454"/>
                  <a:pt x="6591778" y="3766626"/>
                </a:cubicBezTo>
                <a:cubicBezTo>
                  <a:pt x="6591778" y="3754794"/>
                  <a:pt x="6601368" y="3745203"/>
                  <a:pt x="6613200" y="3745203"/>
                </a:cubicBezTo>
                <a:close/>
                <a:moveTo>
                  <a:pt x="4306532" y="3612317"/>
                </a:moveTo>
                <a:cubicBezTo>
                  <a:pt x="4306894" y="3612317"/>
                  <a:pt x="4306894" y="3612317"/>
                  <a:pt x="4306894" y="3612679"/>
                </a:cubicBezTo>
                <a:cubicBezTo>
                  <a:pt x="4306894" y="3613045"/>
                  <a:pt x="4306532" y="3613045"/>
                  <a:pt x="4306532" y="3613045"/>
                </a:cubicBezTo>
                <a:cubicBezTo>
                  <a:pt x="4306170" y="3613045"/>
                  <a:pt x="4306170" y="3613045"/>
                  <a:pt x="4306170" y="3612679"/>
                </a:cubicBezTo>
                <a:cubicBezTo>
                  <a:pt x="4306170" y="3612317"/>
                  <a:pt x="4306170" y="3612317"/>
                  <a:pt x="4306532" y="3612317"/>
                </a:cubicBezTo>
                <a:close/>
                <a:moveTo>
                  <a:pt x="3845414" y="3612317"/>
                </a:moveTo>
                <a:cubicBezTo>
                  <a:pt x="3845776" y="3612317"/>
                  <a:pt x="3845776" y="3612317"/>
                  <a:pt x="3845776" y="3612679"/>
                </a:cubicBezTo>
                <a:cubicBezTo>
                  <a:pt x="3845776" y="3613045"/>
                  <a:pt x="3845414" y="3613045"/>
                  <a:pt x="3845414" y="3613045"/>
                </a:cubicBezTo>
                <a:cubicBezTo>
                  <a:pt x="3845052" y="3613045"/>
                  <a:pt x="3845052" y="3613045"/>
                  <a:pt x="3845052" y="3612679"/>
                </a:cubicBezTo>
                <a:cubicBezTo>
                  <a:pt x="3845052" y="3612317"/>
                  <a:pt x="3845052" y="3612317"/>
                  <a:pt x="3845414" y="3612317"/>
                </a:cubicBezTo>
                <a:close/>
                <a:moveTo>
                  <a:pt x="3691467" y="3612317"/>
                </a:moveTo>
                <a:cubicBezTo>
                  <a:pt x="3691829" y="3612317"/>
                  <a:pt x="3691829" y="3612317"/>
                  <a:pt x="3691829" y="3612679"/>
                </a:cubicBezTo>
                <a:cubicBezTo>
                  <a:pt x="3691829" y="3613045"/>
                  <a:pt x="3691467" y="3613045"/>
                  <a:pt x="3691467" y="3613045"/>
                </a:cubicBezTo>
                <a:cubicBezTo>
                  <a:pt x="3691105" y="3613045"/>
                  <a:pt x="3691105" y="3613045"/>
                  <a:pt x="3691105" y="3612679"/>
                </a:cubicBezTo>
                <a:cubicBezTo>
                  <a:pt x="3691105" y="3612317"/>
                  <a:pt x="3691105" y="3612317"/>
                  <a:pt x="3691467" y="3612317"/>
                </a:cubicBezTo>
                <a:close/>
                <a:moveTo>
                  <a:pt x="3537886" y="3611955"/>
                </a:moveTo>
                <a:cubicBezTo>
                  <a:pt x="3538286" y="3611955"/>
                  <a:pt x="3538610" y="3612279"/>
                  <a:pt x="3538610" y="3612683"/>
                </a:cubicBezTo>
                <a:cubicBezTo>
                  <a:pt x="3538610" y="3613083"/>
                  <a:pt x="3538286" y="3613407"/>
                  <a:pt x="3537886" y="3613407"/>
                </a:cubicBezTo>
                <a:cubicBezTo>
                  <a:pt x="3537482" y="3613407"/>
                  <a:pt x="3537158" y="3613083"/>
                  <a:pt x="3537158" y="3612683"/>
                </a:cubicBezTo>
                <a:cubicBezTo>
                  <a:pt x="3537158" y="3612279"/>
                  <a:pt x="3537482" y="3611955"/>
                  <a:pt x="3537886" y="3611955"/>
                </a:cubicBezTo>
                <a:close/>
                <a:moveTo>
                  <a:pt x="4460480" y="3611226"/>
                </a:moveTo>
                <a:cubicBezTo>
                  <a:pt x="4461204" y="3611226"/>
                  <a:pt x="4461932" y="3611955"/>
                  <a:pt x="4461932" y="3612679"/>
                </a:cubicBezTo>
                <a:cubicBezTo>
                  <a:pt x="4461932" y="3613403"/>
                  <a:pt x="4460480" y="3614131"/>
                  <a:pt x="4460480" y="3614131"/>
                </a:cubicBezTo>
                <a:cubicBezTo>
                  <a:pt x="4459752" y="3614131"/>
                  <a:pt x="4459028" y="3613403"/>
                  <a:pt x="4459028" y="3612679"/>
                </a:cubicBezTo>
                <a:cubicBezTo>
                  <a:pt x="4459028" y="3611955"/>
                  <a:pt x="4459752" y="3611226"/>
                  <a:pt x="4460480" y="3611226"/>
                </a:cubicBezTo>
                <a:close/>
                <a:moveTo>
                  <a:pt x="4614061" y="3610502"/>
                </a:moveTo>
                <a:cubicBezTo>
                  <a:pt x="4615152" y="3610502"/>
                  <a:pt x="4616242" y="3611592"/>
                  <a:pt x="4616242" y="3612679"/>
                </a:cubicBezTo>
                <a:cubicBezTo>
                  <a:pt x="4616242" y="3613769"/>
                  <a:pt x="4614061" y="3614859"/>
                  <a:pt x="4614061" y="3614859"/>
                </a:cubicBezTo>
                <a:cubicBezTo>
                  <a:pt x="4612974" y="3614859"/>
                  <a:pt x="4611884" y="3613769"/>
                  <a:pt x="4611884" y="3612679"/>
                </a:cubicBezTo>
                <a:cubicBezTo>
                  <a:pt x="4611884" y="3611592"/>
                  <a:pt x="4612974" y="3610502"/>
                  <a:pt x="4614061" y="3610502"/>
                </a:cubicBezTo>
                <a:close/>
                <a:moveTo>
                  <a:pt x="4768008" y="3609774"/>
                </a:moveTo>
                <a:cubicBezTo>
                  <a:pt x="4769823" y="3609774"/>
                  <a:pt x="4771276" y="3611226"/>
                  <a:pt x="4771276" y="3613041"/>
                </a:cubicBezTo>
                <a:cubicBezTo>
                  <a:pt x="4771276" y="3614855"/>
                  <a:pt x="4769823" y="3616312"/>
                  <a:pt x="4768008" y="3616312"/>
                </a:cubicBezTo>
                <a:cubicBezTo>
                  <a:pt x="4766194" y="3616312"/>
                  <a:pt x="4764742" y="3614855"/>
                  <a:pt x="4764742" y="3613041"/>
                </a:cubicBezTo>
                <a:cubicBezTo>
                  <a:pt x="4764742" y="3611226"/>
                  <a:pt x="4766194" y="3609774"/>
                  <a:pt x="4768008" y="3609774"/>
                </a:cubicBezTo>
                <a:close/>
                <a:moveTo>
                  <a:pt x="4921594" y="3608322"/>
                </a:moveTo>
                <a:cubicBezTo>
                  <a:pt x="4924136" y="3608322"/>
                  <a:pt x="4925951" y="3610136"/>
                  <a:pt x="4925951" y="3612679"/>
                </a:cubicBezTo>
                <a:cubicBezTo>
                  <a:pt x="4925951" y="3615221"/>
                  <a:pt x="4923770" y="3617036"/>
                  <a:pt x="4921594" y="3617036"/>
                </a:cubicBezTo>
                <a:cubicBezTo>
                  <a:pt x="4919052" y="3617036"/>
                  <a:pt x="4917237" y="3615221"/>
                  <a:pt x="4917237" y="3612679"/>
                </a:cubicBezTo>
                <a:cubicBezTo>
                  <a:pt x="4917237" y="3610136"/>
                  <a:pt x="4919052" y="3608322"/>
                  <a:pt x="4921594" y="3608322"/>
                </a:cubicBezTo>
                <a:close/>
                <a:moveTo>
                  <a:pt x="5075541" y="3607232"/>
                </a:moveTo>
                <a:cubicBezTo>
                  <a:pt x="5078808" y="3607232"/>
                  <a:pt x="5081350" y="3609774"/>
                  <a:pt x="5081350" y="3613041"/>
                </a:cubicBezTo>
                <a:cubicBezTo>
                  <a:pt x="5081350" y="3616308"/>
                  <a:pt x="5078808" y="3618850"/>
                  <a:pt x="5075541" y="3618850"/>
                </a:cubicBezTo>
                <a:cubicBezTo>
                  <a:pt x="5072274" y="3618850"/>
                  <a:pt x="5069732" y="3616308"/>
                  <a:pt x="5069732" y="3613041"/>
                </a:cubicBezTo>
                <a:cubicBezTo>
                  <a:pt x="5069732" y="3609774"/>
                  <a:pt x="5072274" y="3607232"/>
                  <a:pt x="5075541" y="3607232"/>
                </a:cubicBezTo>
                <a:close/>
                <a:moveTo>
                  <a:pt x="5229126" y="3605417"/>
                </a:moveTo>
                <a:cubicBezTo>
                  <a:pt x="5233122" y="3605417"/>
                  <a:pt x="5236388" y="3608684"/>
                  <a:pt x="5236388" y="3612679"/>
                </a:cubicBezTo>
                <a:cubicBezTo>
                  <a:pt x="5236388" y="3616674"/>
                  <a:pt x="5233122" y="3619940"/>
                  <a:pt x="5229126" y="3619940"/>
                </a:cubicBezTo>
                <a:cubicBezTo>
                  <a:pt x="5225132" y="3619940"/>
                  <a:pt x="5221865" y="3616674"/>
                  <a:pt x="5221865" y="3612679"/>
                </a:cubicBezTo>
                <a:cubicBezTo>
                  <a:pt x="5221865" y="3608684"/>
                  <a:pt x="5225132" y="3605417"/>
                  <a:pt x="5229126" y="3605417"/>
                </a:cubicBezTo>
                <a:close/>
                <a:moveTo>
                  <a:pt x="5383074" y="3603603"/>
                </a:moveTo>
                <a:cubicBezTo>
                  <a:pt x="5388159" y="3603603"/>
                  <a:pt x="5392154" y="3607598"/>
                  <a:pt x="5392154" y="3612679"/>
                </a:cubicBezTo>
                <a:cubicBezTo>
                  <a:pt x="5392154" y="3617764"/>
                  <a:pt x="5388159" y="3621759"/>
                  <a:pt x="5383074" y="3621759"/>
                </a:cubicBezTo>
                <a:cubicBezTo>
                  <a:pt x="5377992" y="3621759"/>
                  <a:pt x="5373998" y="3617764"/>
                  <a:pt x="5373998" y="3612679"/>
                </a:cubicBezTo>
                <a:cubicBezTo>
                  <a:pt x="5373998" y="3607598"/>
                  <a:pt x="5377992" y="3603603"/>
                  <a:pt x="5383074" y="3603603"/>
                </a:cubicBezTo>
                <a:close/>
                <a:moveTo>
                  <a:pt x="5536659" y="3602512"/>
                </a:moveTo>
                <a:cubicBezTo>
                  <a:pt x="5542106" y="3602512"/>
                  <a:pt x="5546826" y="3607232"/>
                  <a:pt x="5546826" y="3612679"/>
                </a:cubicBezTo>
                <a:cubicBezTo>
                  <a:pt x="5546826" y="3618126"/>
                  <a:pt x="5542468" y="3622845"/>
                  <a:pt x="5536659" y="3622845"/>
                </a:cubicBezTo>
                <a:cubicBezTo>
                  <a:pt x="5531212" y="3622845"/>
                  <a:pt x="5526493" y="3618126"/>
                  <a:pt x="5526493" y="3612679"/>
                </a:cubicBezTo>
                <a:cubicBezTo>
                  <a:pt x="5526493" y="3607232"/>
                  <a:pt x="5531212" y="3602512"/>
                  <a:pt x="5536659" y="3602512"/>
                </a:cubicBezTo>
                <a:close/>
                <a:moveTo>
                  <a:pt x="5690602" y="3600698"/>
                </a:moveTo>
                <a:cubicBezTo>
                  <a:pt x="5697140" y="3600698"/>
                  <a:pt x="5702584" y="3606145"/>
                  <a:pt x="5702584" y="3612679"/>
                </a:cubicBezTo>
                <a:cubicBezTo>
                  <a:pt x="5702584" y="3619216"/>
                  <a:pt x="5697140" y="3624663"/>
                  <a:pt x="5690602" y="3624663"/>
                </a:cubicBezTo>
                <a:cubicBezTo>
                  <a:pt x="5684069" y="3624663"/>
                  <a:pt x="5678622" y="3619216"/>
                  <a:pt x="5678622" y="3612679"/>
                </a:cubicBezTo>
                <a:cubicBezTo>
                  <a:pt x="5678622" y="3606145"/>
                  <a:pt x="5684069" y="3600698"/>
                  <a:pt x="5690602" y="3600698"/>
                </a:cubicBezTo>
                <a:close/>
                <a:moveTo>
                  <a:pt x="5844554" y="3598884"/>
                </a:moveTo>
                <a:cubicBezTo>
                  <a:pt x="5852170" y="3598884"/>
                  <a:pt x="5858349" y="3605063"/>
                  <a:pt x="5858349" y="3612683"/>
                </a:cubicBezTo>
                <a:cubicBezTo>
                  <a:pt x="5858349" y="3620303"/>
                  <a:pt x="5852174" y="3626478"/>
                  <a:pt x="5844554" y="3626478"/>
                </a:cubicBezTo>
                <a:cubicBezTo>
                  <a:pt x="5836934" y="3626478"/>
                  <a:pt x="5830755" y="3620299"/>
                  <a:pt x="5830755" y="3612683"/>
                </a:cubicBezTo>
                <a:cubicBezTo>
                  <a:pt x="5830755" y="3605059"/>
                  <a:pt x="5836930" y="3598884"/>
                  <a:pt x="5844554" y="3598884"/>
                </a:cubicBezTo>
                <a:close/>
                <a:moveTo>
                  <a:pt x="5998139" y="3597431"/>
                </a:moveTo>
                <a:cubicBezTo>
                  <a:pt x="6006560" y="3597431"/>
                  <a:pt x="6013387" y="3604258"/>
                  <a:pt x="6013387" y="3612683"/>
                </a:cubicBezTo>
                <a:cubicBezTo>
                  <a:pt x="6013387" y="3621103"/>
                  <a:pt x="6006560" y="3627930"/>
                  <a:pt x="5998139" y="3627930"/>
                </a:cubicBezTo>
                <a:cubicBezTo>
                  <a:pt x="5989718" y="3627930"/>
                  <a:pt x="5982892" y="3621103"/>
                  <a:pt x="5982892" y="3612683"/>
                </a:cubicBezTo>
                <a:cubicBezTo>
                  <a:pt x="5982892" y="3604258"/>
                  <a:pt x="5989718" y="3597431"/>
                  <a:pt x="5998139" y="3597431"/>
                </a:cubicBezTo>
                <a:close/>
                <a:moveTo>
                  <a:pt x="6152083" y="3595613"/>
                </a:moveTo>
                <a:cubicBezTo>
                  <a:pt x="6161525" y="3595613"/>
                  <a:pt x="6169152" y="3603237"/>
                  <a:pt x="6169152" y="3612679"/>
                </a:cubicBezTo>
                <a:cubicBezTo>
                  <a:pt x="6169152" y="3622117"/>
                  <a:pt x="6161525" y="3629745"/>
                  <a:pt x="6152083" y="3629745"/>
                </a:cubicBezTo>
                <a:cubicBezTo>
                  <a:pt x="6142644" y="3629745"/>
                  <a:pt x="6135020" y="3622117"/>
                  <a:pt x="6135020" y="3612679"/>
                </a:cubicBezTo>
                <a:cubicBezTo>
                  <a:pt x="6135020" y="3603237"/>
                  <a:pt x="6142644" y="3595613"/>
                  <a:pt x="6152083" y="3595613"/>
                </a:cubicBezTo>
                <a:close/>
                <a:moveTo>
                  <a:pt x="6305668" y="3593436"/>
                </a:moveTo>
                <a:cubicBezTo>
                  <a:pt x="6316296" y="3593436"/>
                  <a:pt x="6324910" y="3602051"/>
                  <a:pt x="6324910" y="3612679"/>
                </a:cubicBezTo>
                <a:cubicBezTo>
                  <a:pt x="6324910" y="3623306"/>
                  <a:pt x="6316296" y="3631921"/>
                  <a:pt x="6305668" y="3631921"/>
                </a:cubicBezTo>
                <a:cubicBezTo>
                  <a:pt x="6295040" y="3631921"/>
                  <a:pt x="6286422" y="3623306"/>
                  <a:pt x="6286422" y="3612679"/>
                </a:cubicBezTo>
                <a:cubicBezTo>
                  <a:pt x="6286422" y="3602051"/>
                  <a:pt x="6295040" y="3593436"/>
                  <a:pt x="6305668" y="3593436"/>
                </a:cubicBezTo>
                <a:close/>
                <a:moveTo>
                  <a:pt x="6459616" y="3591256"/>
                </a:moveTo>
                <a:cubicBezTo>
                  <a:pt x="6471448" y="3591256"/>
                  <a:pt x="6481038" y="3600847"/>
                  <a:pt x="6481038" y="3612679"/>
                </a:cubicBezTo>
                <a:cubicBezTo>
                  <a:pt x="6481038" y="3624507"/>
                  <a:pt x="6471448" y="3634098"/>
                  <a:pt x="6459616" y="3634098"/>
                </a:cubicBezTo>
                <a:cubicBezTo>
                  <a:pt x="6447784" y="3634098"/>
                  <a:pt x="6438192" y="3624507"/>
                  <a:pt x="6438192" y="3612679"/>
                </a:cubicBezTo>
                <a:cubicBezTo>
                  <a:pt x="6438192" y="3600847"/>
                  <a:pt x="6447784" y="3591256"/>
                  <a:pt x="6459616" y="3591256"/>
                </a:cubicBezTo>
                <a:close/>
                <a:moveTo>
                  <a:pt x="6613200" y="3589804"/>
                </a:moveTo>
                <a:cubicBezTo>
                  <a:pt x="6625834" y="3589804"/>
                  <a:pt x="6636072" y="3600046"/>
                  <a:pt x="6636072" y="3612679"/>
                </a:cubicBezTo>
                <a:cubicBezTo>
                  <a:pt x="6636072" y="3625311"/>
                  <a:pt x="6625834" y="3635550"/>
                  <a:pt x="6613200" y="3635550"/>
                </a:cubicBezTo>
                <a:cubicBezTo>
                  <a:pt x="6600564" y="3635550"/>
                  <a:pt x="6590326" y="3625311"/>
                  <a:pt x="6590326" y="3612679"/>
                </a:cubicBezTo>
                <a:cubicBezTo>
                  <a:pt x="6590326" y="3600046"/>
                  <a:pt x="6600564" y="3589804"/>
                  <a:pt x="6613200" y="3589804"/>
                </a:cubicBezTo>
                <a:close/>
                <a:moveTo>
                  <a:pt x="4152947" y="3458731"/>
                </a:moveTo>
                <a:cubicBezTo>
                  <a:pt x="4153309" y="3458731"/>
                  <a:pt x="4153309" y="3458731"/>
                  <a:pt x="4153309" y="3459094"/>
                </a:cubicBezTo>
                <a:cubicBezTo>
                  <a:pt x="4153309" y="3459456"/>
                  <a:pt x="4152947" y="3459456"/>
                  <a:pt x="4152947" y="3459456"/>
                </a:cubicBezTo>
                <a:cubicBezTo>
                  <a:pt x="4152585" y="3459456"/>
                  <a:pt x="4152585" y="3459456"/>
                  <a:pt x="4152585" y="3459094"/>
                </a:cubicBezTo>
                <a:cubicBezTo>
                  <a:pt x="4152585" y="3458731"/>
                  <a:pt x="4152585" y="3458731"/>
                  <a:pt x="4152947" y="3458731"/>
                </a:cubicBezTo>
                <a:close/>
                <a:moveTo>
                  <a:pt x="3691467" y="3458731"/>
                </a:moveTo>
                <a:cubicBezTo>
                  <a:pt x="3691829" y="3458731"/>
                  <a:pt x="3691829" y="3458731"/>
                  <a:pt x="3691829" y="3459094"/>
                </a:cubicBezTo>
                <a:cubicBezTo>
                  <a:pt x="3691829" y="3459456"/>
                  <a:pt x="3691467" y="3459456"/>
                  <a:pt x="3691467" y="3459456"/>
                </a:cubicBezTo>
                <a:cubicBezTo>
                  <a:pt x="3691105" y="3459456"/>
                  <a:pt x="3691105" y="3459456"/>
                  <a:pt x="3691105" y="3459094"/>
                </a:cubicBezTo>
                <a:cubicBezTo>
                  <a:pt x="3691105" y="3458731"/>
                  <a:pt x="3691105" y="3458731"/>
                  <a:pt x="3691467" y="3458731"/>
                </a:cubicBezTo>
                <a:close/>
                <a:moveTo>
                  <a:pt x="3537882" y="3458731"/>
                </a:moveTo>
                <a:cubicBezTo>
                  <a:pt x="3538244" y="3458731"/>
                  <a:pt x="3538244" y="3458731"/>
                  <a:pt x="3538244" y="3459094"/>
                </a:cubicBezTo>
                <a:cubicBezTo>
                  <a:pt x="3538244" y="3459456"/>
                  <a:pt x="3537882" y="3459456"/>
                  <a:pt x="3537882" y="3459456"/>
                </a:cubicBezTo>
                <a:cubicBezTo>
                  <a:pt x="3537520" y="3459456"/>
                  <a:pt x="3537520" y="3459456"/>
                  <a:pt x="3537520" y="3459094"/>
                </a:cubicBezTo>
                <a:cubicBezTo>
                  <a:pt x="3537520" y="3458731"/>
                  <a:pt x="3537520" y="3458731"/>
                  <a:pt x="3537882" y="3458731"/>
                </a:cubicBezTo>
                <a:close/>
                <a:moveTo>
                  <a:pt x="3383938" y="3458369"/>
                </a:moveTo>
                <a:cubicBezTo>
                  <a:pt x="3384338" y="3458369"/>
                  <a:pt x="3384662" y="3458693"/>
                  <a:pt x="3384662" y="3459094"/>
                </a:cubicBezTo>
                <a:cubicBezTo>
                  <a:pt x="3384662" y="3459498"/>
                  <a:pt x="3384338" y="3459822"/>
                  <a:pt x="3383938" y="3459822"/>
                </a:cubicBezTo>
                <a:cubicBezTo>
                  <a:pt x="3383534" y="3459822"/>
                  <a:pt x="3383210" y="3459498"/>
                  <a:pt x="3383210" y="3459094"/>
                </a:cubicBezTo>
                <a:cubicBezTo>
                  <a:pt x="3383210" y="3458693"/>
                  <a:pt x="3383534" y="3458369"/>
                  <a:pt x="3383938" y="3458369"/>
                </a:cubicBezTo>
                <a:close/>
                <a:moveTo>
                  <a:pt x="4306532" y="3457279"/>
                </a:moveTo>
                <a:cubicBezTo>
                  <a:pt x="4307256" y="3457279"/>
                  <a:pt x="4307984" y="3458003"/>
                  <a:pt x="4307984" y="3458731"/>
                </a:cubicBezTo>
                <a:cubicBezTo>
                  <a:pt x="4307984" y="3459456"/>
                  <a:pt x="4306532" y="3460184"/>
                  <a:pt x="4306532" y="3460184"/>
                </a:cubicBezTo>
                <a:cubicBezTo>
                  <a:pt x="4305804" y="3460184"/>
                  <a:pt x="4305080" y="3459456"/>
                  <a:pt x="4305080" y="3458731"/>
                </a:cubicBezTo>
                <a:cubicBezTo>
                  <a:pt x="4305080" y="3458003"/>
                  <a:pt x="4305804" y="3457279"/>
                  <a:pt x="4306532" y="3457279"/>
                </a:cubicBezTo>
                <a:close/>
                <a:moveTo>
                  <a:pt x="4460480" y="3456917"/>
                </a:moveTo>
                <a:cubicBezTo>
                  <a:pt x="4461680" y="3456917"/>
                  <a:pt x="4462656" y="3457893"/>
                  <a:pt x="4462656" y="3459094"/>
                </a:cubicBezTo>
                <a:cubicBezTo>
                  <a:pt x="4462656" y="3460298"/>
                  <a:pt x="4461680" y="3461274"/>
                  <a:pt x="4460480" y="3461274"/>
                </a:cubicBezTo>
                <a:cubicBezTo>
                  <a:pt x="4459275" y="3461274"/>
                  <a:pt x="4458300" y="3460298"/>
                  <a:pt x="4458300" y="3459094"/>
                </a:cubicBezTo>
                <a:cubicBezTo>
                  <a:pt x="4458300" y="3457893"/>
                  <a:pt x="4459275" y="3456917"/>
                  <a:pt x="4460480" y="3456917"/>
                </a:cubicBezTo>
                <a:close/>
                <a:moveTo>
                  <a:pt x="4614061" y="3455827"/>
                </a:moveTo>
                <a:cubicBezTo>
                  <a:pt x="4615880" y="3455827"/>
                  <a:pt x="4617328" y="3457279"/>
                  <a:pt x="4617328" y="3459094"/>
                </a:cubicBezTo>
                <a:cubicBezTo>
                  <a:pt x="4617328" y="3460908"/>
                  <a:pt x="4615880" y="3462364"/>
                  <a:pt x="4614061" y="3462364"/>
                </a:cubicBezTo>
                <a:cubicBezTo>
                  <a:pt x="4612246" y="3462364"/>
                  <a:pt x="4610794" y="3460908"/>
                  <a:pt x="4610794" y="3459094"/>
                </a:cubicBezTo>
                <a:cubicBezTo>
                  <a:pt x="4610794" y="3457279"/>
                  <a:pt x="4612246" y="3455827"/>
                  <a:pt x="4614061" y="3455827"/>
                </a:cubicBezTo>
                <a:close/>
                <a:moveTo>
                  <a:pt x="4768008" y="3454374"/>
                </a:moveTo>
                <a:cubicBezTo>
                  <a:pt x="4770551" y="3454374"/>
                  <a:pt x="4772366" y="3456189"/>
                  <a:pt x="4772366" y="3458731"/>
                </a:cubicBezTo>
                <a:cubicBezTo>
                  <a:pt x="4772366" y="3461274"/>
                  <a:pt x="4770189" y="3463088"/>
                  <a:pt x="4768008" y="3463088"/>
                </a:cubicBezTo>
                <a:cubicBezTo>
                  <a:pt x="4765466" y="3463088"/>
                  <a:pt x="4763652" y="3461274"/>
                  <a:pt x="4763652" y="3458731"/>
                </a:cubicBezTo>
                <a:cubicBezTo>
                  <a:pt x="4763652" y="3456189"/>
                  <a:pt x="4765466" y="3454374"/>
                  <a:pt x="4768008" y="3454374"/>
                </a:cubicBezTo>
                <a:close/>
                <a:moveTo>
                  <a:pt x="4921594" y="3453284"/>
                </a:moveTo>
                <a:cubicBezTo>
                  <a:pt x="4924860" y="3453284"/>
                  <a:pt x="4927403" y="3455827"/>
                  <a:pt x="4927403" y="3459094"/>
                </a:cubicBezTo>
                <a:cubicBezTo>
                  <a:pt x="4927403" y="3462360"/>
                  <a:pt x="4924860" y="3464903"/>
                  <a:pt x="4921594" y="3464903"/>
                </a:cubicBezTo>
                <a:cubicBezTo>
                  <a:pt x="4918327" y="3464903"/>
                  <a:pt x="4915784" y="3462360"/>
                  <a:pt x="4915784" y="3459094"/>
                </a:cubicBezTo>
                <a:cubicBezTo>
                  <a:pt x="4915784" y="3455827"/>
                  <a:pt x="4918327" y="3453284"/>
                  <a:pt x="4921594" y="3453284"/>
                </a:cubicBezTo>
                <a:close/>
                <a:moveTo>
                  <a:pt x="5075541" y="3451832"/>
                </a:moveTo>
                <a:cubicBezTo>
                  <a:pt x="5079536" y="3451832"/>
                  <a:pt x="5082803" y="3455099"/>
                  <a:pt x="5082803" y="3459094"/>
                </a:cubicBezTo>
                <a:cubicBezTo>
                  <a:pt x="5082803" y="3463088"/>
                  <a:pt x="5079536" y="3466355"/>
                  <a:pt x="5075541" y="3466355"/>
                </a:cubicBezTo>
                <a:cubicBezTo>
                  <a:pt x="5071546" y="3466355"/>
                  <a:pt x="5068280" y="3463088"/>
                  <a:pt x="5068280" y="3459094"/>
                </a:cubicBezTo>
                <a:cubicBezTo>
                  <a:pt x="5068280" y="3455099"/>
                  <a:pt x="5071546" y="3451832"/>
                  <a:pt x="5075541" y="3451832"/>
                </a:cubicBezTo>
                <a:close/>
                <a:moveTo>
                  <a:pt x="5229126" y="3449655"/>
                </a:moveTo>
                <a:cubicBezTo>
                  <a:pt x="5234212" y="3449655"/>
                  <a:pt x="5238206" y="3453650"/>
                  <a:pt x="5238206" y="3458731"/>
                </a:cubicBezTo>
                <a:cubicBezTo>
                  <a:pt x="5238206" y="3463816"/>
                  <a:pt x="5234212" y="3467811"/>
                  <a:pt x="5229126" y="3467811"/>
                </a:cubicBezTo>
                <a:cubicBezTo>
                  <a:pt x="5224045" y="3467811"/>
                  <a:pt x="5220050" y="3463816"/>
                  <a:pt x="5220050" y="3458731"/>
                </a:cubicBezTo>
                <a:cubicBezTo>
                  <a:pt x="5220050" y="3453650"/>
                  <a:pt x="5224045" y="3449655"/>
                  <a:pt x="5229126" y="3449655"/>
                </a:cubicBezTo>
                <a:close/>
                <a:moveTo>
                  <a:pt x="5383074" y="3448927"/>
                </a:moveTo>
                <a:cubicBezTo>
                  <a:pt x="5388521" y="3448927"/>
                  <a:pt x="5393240" y="3453646"/>
                  <a:pt x="5393240" y="3459094"/>
                </a:cubicBezTo>
                <a:cubicBezTo>
                  <a:pt x="5393240" y="3464541"/>
                  <a:pt x="5388883" y="3469260"/>
                  <a:pt x="5383074" y="3469260"/>
                </a:cubicBezTo>
                <a:cubicBezTo>
                  <a:pt x="5377626" y="3469260"/>
                  <a:pt x="5372908" y="3464541"/>
                  <a:pt x="5372908" y="3459094"/>
                </a:cubicBezTo>
                <a:cubicBezTo>
                  <a:pt x="5372908" y="3453646"/>
                  <a:pt x="5377626" y="3448927"/>
                  <a:pt x="5383074" y="3448927"/>
                </a:cubicBezTo>
                <a:close/>
                <a:moveTo>
                  <a:pt x="5536659" y="3447113"/>
                </a:moveTo>
                <a:cubicBezTo>
                  <a:pt x="5543196" y="3447113"/>
                  <a:pt x="5548640" y="3452560"/>
                  <a:pt x="5548640" y="3459094"/>
                </a:cubicBezTo>
                <a:cubicBezTo>
                  <a:pt x="5548640" y="3465631"/>
                  <a:pt x="5543196" y="3471074"/>
                  <a:pt x="5536659" y="3471074"/>
                </a:cubicBezTo>
                <a:cubicBezTo>
                  <a:pt x="5530122" y="3471074"/>
                  <a:pt x="5524678" y="3465631"/>
                  <a:pt x="5524678" y="3459094"/>
                </a:cubicBezTo>
                <a:cubicBezTo>
                  <a:pt x="5524678" y="3452560"/>
                  <a:pt x="5530122" y="3447113"/>
                  <a:pt x="5536659" y="3447113"/>
                </a:cubicBezTo>
                <a:close/>
                <a:moveTo>
                  <a:pt x="5690606" y="3445298"/>
                </a:moveTo>
                <a:cubicBezTo>
                  <a:pt x="5698222" y="3445298"/>
                  <a:pt x="5704402" y="3451477"/>
                  <a:pt x="5704402" y="3459094"/>
                </a:cubicBezTo>
                <a:cubicBezTo>
                  <a:pt x="5704402" y="3466714"/>
                  <a:pt x="5698226" y="3472893"/>
                  <a:pt x="5690606" y="3472893"/>
                </a:cubicBezTo>
                <a:cubicBezTo>
                  <a:pt x="5682986" y="3472893"/>
                  <a:pt x="5676808" y="3466714"/>
                  <a:pt x="5676808" y="3459094"/>
                </a:cubicBezTo>
                <a:cubicBezTo>
                  <a:pt x="5676808" y="3451474"/>
                  <a:pt x="5682982" y="3445298"/>
                  <a:pt x="5690606" y="3445298"/>
                </a:cubicBezTo>
                <a:close/>
                <a:moveTo>
                  <a:pt x="5844554" y="3443846"/>
                </a:moveTo>
                <a:cubicBezTo>
                  <a:pt x="5852974" y="3443846"/>
                  <a:pt x="5859802" y="3450673"/>
                  <a:pt x="5859802" y="3459094"/>
                </a:cubicBezTo>
                <a:cubicBezTo>
                  <a:pt x="5859802" y="3467518"/>
                  <a:pt x="5852974" y="3474345"/>
                  <a:pt x="5844554" y="3474345"/>
                </a:cubicBezTo>
                <a:cubicBezTo>
                  <a:pt x="5836130" y="3474345"/>
                  <a:pt x="5829302" y="3467518"/>
                  <a:pt x="5829302" y="3459094"/>
                </a:cubicBezTo>
                <a:cubicBezTo>
                  <a:pt x="5829302" y="3450673"/>
                  <a:pt x="5836130" y="3443846"/>
                  <a:pt x="5844554" y="3443846"/>
                </a:cubicBezTo>
                <a:close/>
                <a:moveTo>
                  <a:pt x="5998139" y="3442031"/>
                </a:moveTo>
                <a:cubicBezTo>
                  <a:pt x="6007566" y="3442031"/>
                  <a:pt x="6015205" y="3449670"/>
                  <a:pt x="6015205" y="3459097"/>
                </a:cubicBezTo>
                <a:cubicBezTo>
                  <a:pt x="6015205" y="3468520"/>
                  <a:pt x="6007562" y="3476159"/>
                  <a:pt x="5998139" y="3476159"/>
                </a:cubicBezTo>
                <a:cubicBezTo>
                  <a:pt x="5988716" y="3476159"/>
                  <a:pt x="5981077" y="3468520"/>
                  <a:pt x="5981077" y="3459097"/>
                </a:cubicBezTo>
                <a:cubicBezTo>
                  <a:pt x="5981077" y="3449670"/>
                  <a:pt x="5988716" y="3442031"/>
                  <a:pt x="5998139" y="3442031"/>
                </a:cubicBezTo>
                <a:close/>
                <a:moveTo>
                  <a:pt x="6152083" y="3439851"/>
                </a:moveTo>
                <a:cubicBezTo>
                  <a:pt x="6162710" y="3439851"/>
                  <a:pt x="6171329" y="3448466"/>
                  <a:pt x="6171329" y="3459094"/>
                </a:cubicBezTo>
                <a:cubicBezTo>
                  <a:pt x="6171329" y="3469721"/>
                  <a:pt x="6162710" y="3478336"/>
                  <a:pt x="6152083" y="3478336"/>
                </a:cubicBezTo>
                <a:cubicBezTo>
                  <a:pt x="6141455" y="3478336"/>
                  <a:pt x="6132836" y="3469721"/>
                  <a:pt x="6132836" y="3459094"/>
                </a:cubicBezTo>
                <a:cubicBezTo>
                  <a:pt x="6132836" y="3448466"/>
                  <a:pt x="6141455" y="3439851"/>
                  <a:pt x="6152083" y="3439851"/>
                </a:cubicBezTo>
                <a:close/>
                <a:moveTo>
                  <a:pt x="6305668" y="3437674"/>
                </a:moveTo>
                <a:cubicBezTo>
                  <a:pt x="6317500" y="3437674"/>
                  <a:pt x="6327091" y="3447265"/>
                  <a:pt x="6327091" y="3459097"/>
                </a:cubicBezTo>
                <a:cubicBezTo>
                  <a:pt x="6327091" y="3470926"/>
                  <a:pt x="6317500" y="3480516"/>
                  <a:pt x="6305668" y="3480516"/>
                </a:cubicBezTo>
                <a:cubicBezTo>
                  <a:pt x="6293836" y="3480516"/>
                  <a:pt x="6284245" y="3470926"/>
                  <a:pt x="6284245" y="3459097"/>
                </a:cubicBezTo>
                <a:cubicBezTo>
                  <a:pt x="6284245" y="3447265"/>
                  <a:pt x="6293836" y="3437674"/>
                  <a:pt x="6305668" y="3437674"/>
                </a:cubicBezTo>
                <a:close/>
                <a:moveTo>
                  <a:pt x="6459619" y="3436222"/>
                </a:moveTo>
                <a:cubicBezTo>
                  <a:pt x="6472252" y="3436222"/>
                  <a:pt x="6482494" y="3446465"/>
                  <a:pt x="6482494" y="3459097"/>
                </a:cubicBezTo>
                <a:cubicBezTo>
                  <a:pt x="6482494" y="3471730"/>
                  <a:pt x="6472252" y="3481969"/>
                  <a:pt x="6459619" y="3481969"/>
                </a:cubicBezTo>
                <a:cubicBezTo>
                  <a:pt x="6446983" y="3481969"/>
                  <a:pt x="6436744" y="3471730"/>
                  <a:pt x="6436744" y="3459097"/>
                </a:cubicBezTo>
                <a:cubicBezTo>
                  <a:pt x="6436744" y="3446465"/>
                  <a:pt x="6446983" y="3436222"/>
                  <a:pt x="6459619" y="3436222"/>
                </a:cubicBezTo>
                <a:close/>
                <a:moveTo>
                  <a:pt x="6613200" y="3434042"/>
                </a:moveTo>
                <a:cubicBezTo>
                  <a:pt x="6627038" y="3434042"/>
                  <a:pt x="6638252" y="3445256"/>
                  <a:pt x="6638252" y="3459094"/>
                </a:cubicBezTo>
                <a:cubicBezTo>
                  <a:pt x="6638252" y="3472931"/>
                  <a:pt x="6627038" y="3484145"/>
                  <a:pt x="6613200" y="3484145"/>
                </a:cubicBezTo>
                <a:cubicBezTo>
                  <a:pt x="6599364" y="3484145"/>
                  <a:pt x="6588149" y="3472931"/>
                  <a:pt x="6588149" y="3459094"/>
                </a:cubicBezTo>
                <a:cubicBezTo>
                  <a:pt x="6588149" y="3445256"/>
                  <a:pt x="6599364" y="3434042"/>
                  <a:pt x="6613200" y="3434042"/>
                </a:cubicBezTo>
                <a:close/>
                <a:moveTo>
                  <a:pt x="3999000" y="3304784"/>
                </a:moveTo>
                <a:cubicBezTo>
                  <a:pt x="3999362" y="3304784"/>
                  <a:pt x="3999362" y="3304784"/>
                  <a:pt x="3999362" y="3305146"/>
                </a:cubicBezTo>
                <a:cubicBezTo>
                  <a:pt x="3999362" y="3305512"/>
                  <a:pt x="3999000" y="3305512"/>
                  <a:pt x="3999000" y="3305512"/>
                </a:cubicBezTo>
                <a:cubicBezTo>
                  <a:pt x="3998638" y="3305512"/>
                  <a:pt x="3998638" y="3305512"/>
                  <a:pt x="3998638" y="3305146"/>
                </a:cubicBezTo>
                <a:cubicBezTo>
                  <a:pt x="3998638" y="3304784"/>
                  <a:pt x="3998638" y="3304784"/>
                  <a:pt x="3999000" y="3304784"/>
                </a:cubicBezTo>
                <a:close/>
                <a:moveTo>
                  <a:pt x="3537882" y="3304784"/>
                </a:moveTo>
                <a:cubicBezTo>
                  <a:pt x="3538244" y="3304784"/>
                  <a:pt x="3538244" y="3304784"/>
                  <a:pt x="3538244" y="3305146"/>
                </a:cubicBezTo>
                <a:cubicBezTo>
                  <a:pt x="3538244" y="3305512"/>
                  <a:pt x="3537882" y="3305512"/>
                  <a:pt x="3537882" y="3305512"/>
                </a:cubicBezTo>
                <a:cubicBezTo>
                  <a:pt x="3537520" y="3305512"/>
                  <a:pt x="3537520" y="3305512"/>
                  <a:pt x="3537520" y="3305146"/>
                </a:cubicBezTo>
                <a:cubicBezTo>
                  <a:pt x="3537520" y="3304784"/>
                  <a:pt x="3537520" y="3304784"/>
                  <a:pt x="3537882" y="3304784"/>
                </a:cubicBezTo>
                <a:close/>
                <a:moveTo>
                  <a:pt x="3383934" y="3304784"/>
                </a:moveTo>
                <a:cubicBezTo>
                  <a:pt x="3384296" y="3304784"/>
                  <a:pt x="3384296" y="3304784"/>
                  <a:pt x="3384296" y="3305146"/>
                </a:cubicBezTo>
                <a:cubicBezTo>
                  <a:pt x="3384296" y="3305512"/>
                  <a:pt x="3383934" y="3305512"/>
                  <a:pt x="3383934" y="3305512"/>
                </a:cubicBezTo>
                <a:cubicBezTo>
                  <a:pt x="3383572" y="3305512"/>
                  <a:pt x="3383572" y="3305512"/>
                  <a:pt x="3383572" y="3305146"/>
                </a:cubicBezTo>
                <a:cubicBezTo>
                  <a:pt x="3383572" y="3304784"/>
                  <a:pt x="3383572" y="3304784"/>
                  <a:pt x="3383934" y="3304784"/>
                </a:cubicBezTo>
                <a:close/>
                <a:moveTo>
                  <a:pt x="3230353" y="3304422"/>
                </a:moveTo>
                <a:cubicBezTo>
                  <a:pt x="3230753" y="3304422"/>
                  <a:pt x="3231077" y="3304746"/>
                  <a:pt x="3231077" y="3305146"/>
                </a:cubicBezTo>
                <a:cubicBezTo>
                  <a:pt x="3231077" y="3305550"/>
                  <a:pt x="3230753" y="3305874"/>
                  <a:pt x="3230353" y="3305874"/>
                </a:cubicBezTo>
                <a:cubicBezTo>
                  <a:pt x="3229949" y="3305874"/>
                  <a:pt x="3229625" y="3305550"/>
                  <a:pt x="3229625" y="3305146"/>
                </a:cubicBezTo>
                <a:cubicBezTo>
                  <a:pt x="3229625" y="3304746"/>
                  <a:pt x="3229949" y="3304422"/>
                  <a:pt x="3230353" y="3304422"/>
                </a:cubicBezTo>
                <a:close/>
                <a:moveTo>
                  <a:pt x="4152947" y="3303694"/>
                </a:moveTo>
                <a:cubicBezTo>
                  <a:pt x="4153748" y="3303694"/>
                  <a:pt x="4154400" y="3304346"/>
                  <a:pt x="4154400" y="3305146"/>
                </a:cubicBezTo>
                <a:cubicBezTo>
                  <a:pt x="4154400" y="3305947"/>
                  <a:pt x="4153748" y="3306598"/>
                  <a:pt x="4152947" y="3306598"/>
                </a:cubicBezTo>
                <a:cubicBezTo>
                  <a:pt x="4152142" y="3306598"/>
                  <a:pt x="4151494" y="3305947"/>
                  <a:pt x="4151494" y="3305146"/>
                </a:cubicBezTo>
                <a:cubicBezTo>
                  <a:pt x="4151494" y="3304346"/>
                  <a:pt x="4152142" y="3303694"/>
                  <a:pt x="4152947" y="3303694"/>
                </a:cubicBezTo>
                <a:close/>
                <a:moveTo>
                  <a:pt x="4306528" y="3302970"/>
                </a:moveTo>
                <a:cubicBezTo>
                  <a:pt x="4307733" y="3302970"/>
                  <a:pt x="4308709" y="3303945"/>
                  <a:pt x="4308709" y="3305146"/>
                </a:cubicBezTo>
                <a:cubicBezTo>
                  <a:pt x="4308709" y="3306351"/>
                  <a:pt x="4307733" y="3307327"/>
                  <a:pt x="4306528" y="3307327"/>
                </a:cubicBezTo>
                <a:cubicBezTo>
                  <a:pt x="4305328" y="3307327"/>
                  <a:pt x="4304352" y="3306351"/>
                  <a:pt x="4304352" y="3305146"/>
                </a:cubicBezTo>
                <a:cubicBezTo>
                  <a:pt x="4304352" y="3303945"/>
                  <a:pt x="4305328" y="3302970"/>
                  <a:pt x="4306528" y="3302970"/>
                </a:cubicBezTo>
                <a:close/>
                <a:moveTo>
                  <a:pt x="4460480" y="3302241"/>
                </a:moveTo>
                <a:cubicBezTo>
                  <a:pt x="4462294" y="3302241"/>
                  <a:pt x="4463746" y="3303694"/>
                  <a:pt x="4463746" y="3305508"/>
                </a:cubicBezTo>
                <a:cubicBezTo>
                  <a:pt x="4463746" y="3307323"/>
                  <a:pt x="4462294" y="3308779"/>
                  <a:pt x="4460480" y="3308779"/>
                </a:cubicBezTo>
                <a:cubicBezTo>
                  <a:pt x="4458665" y="3308779"/>
                  <a:pt x="4457213" y="3307323"/>
                  <a:pt x="4457213" y="3305508"/>
                </a:cubicBezTo>
                <a:cubicBezTo>
                  <a:pt x="4457213" y="3303694"/>
                  <a:pt x="4458665" y="3302241"/>
                  <a:pt x="4460480" y="3302241"/>
                </a:cubicBezTo>
                <a:close/>
                <a:moveTo>
                  <a:pt x="4614061" y="3300789"/>
                </a:moveTo>
                <a:cubicBezTo>
                  <a:pt x="4616604" y="3300789"/>
                  <a:pt x="4618418" y="3302604"/>
                  <a:pt x="4618418" y="3305146"/>
                </a:cubicBezTo>
                <a:cubicBezTo>
                  <a:pt x="4618418" y="3307689"/>
                  <a:pt x="4616238" y="3309503"/>
                  <a:pt x="4614061" y="3309503"/>
                </a:cubicBezTo>
                <a:cubicBezTo>
                  <a:pt x="4611518" y="3309503"/>
                  <a:pt x="4609704" y="3307689"/>
                  <a:pt x="4609704" y="3305146"/>
                </a:cubicBezTo>
                <a:cubicBezTo>
                  <a:pt x="4609704" y="3302604"/>
                  <a:pt x="4611518" y="3300789"/>
                  <a:pt x="4614061" y="3300789"/>
                </a:cubicBezTo>
                <a:close/>
                <a:moveTo>
                  <a:pt x="4768012" y="3299699"/>
                </a:moveTo>
                <a:cubicBezTo>
                  <a:pt x="4771279" y="3299699"/>
                  <a:pt x="4773822" y="3302241"/>
                  <a:pt x="4773822" y="3305508"/>
                </a:cubicBezTo>
                <a:cubicBezTo>
                  <a:pt x="4773822" y="3308775"/>
                  <a:pt x="4771279" y="3311318"/>
                  <a:pt x="4768012" y="3311318"/>
                </a:cubicBezTo>
                <a:cubicBezTo>
                  <a:pt x="4764746" y="3311318"/>
                  <a:pt x="4762203" y="3308775"/>
                  <a:pt x="4762203" y="3305508"/>
                </a:cubicBezTo>
                <a:cubicBezTo>
                  <a:pt x="4762203" y="3302241"/>
                  <a:pt x="4764746" y="3299699"/>
                  <a:pt x="4768012" y="3299699"/>
                </a:cubicBezTo>
                <a:close/>
                <a:moveTo>
                  <a:pt x="4921594" y="3297885"/>
                </a:moveTo>
                <a:cubicBezTo>
                  <a:pt x="4925588" y="3297885"/>
                  <a:pt x="4928856" y="3301151"/>
                  <a:pt x="4928856" y="3305146"/>
                </a:cubicBezTo>
                <a:cubicBezTo>
                  <a:pt x="4928856" y="3309141"/>
                  <a:pt x="4925588" y="3312408"/>
                  <a:pt x="4921594" y="3312408"/>
                </a:cubicBezTo>
                <a:cubicBezTo>
                  <a:pt x="4917599" y="3312408"/>
                  <a:pt x="4914332" y="3309141"/>
                  <a:pt x="4914332" y="3305146"/>
                </a:cubicBezTo>
                <a:cubicBezTo>
                  <a:pt x="4914332" y="3301151"/>
                  <a:pt x="4917599" y="3297885"/>
                  <a:pt x="4921594" y="3297885"/>
                </a:cubicBezTo>
                <a:close/>
                <a:moveTo>
                  <a:pt x="5075541" y="3296070"/>
                </a:moveTo>
                <a:cubicBezTo>
                  <a:pt x="5080626" y="3296070"/>
                  <a:pt x="5084621" y="3300065"/>
                  <a:pt x="5084621" y="3305146"/>
                </a:cubicBezTo>
                <a:cubicBezTo>
                  <a:pt x="5084621" y="3310231"/>
                  <a:pt x="5080626" y="3314226"/>
                  <a:pt x="5075541" y="3314226"/>
                </a:cubicBezTo>
                <a:cubicBezTo>
                  <a:pt x="5070460" y="3314226"/>
                  <a:pt x="5066465" y="3310231"/>
                  <a:pt x="5066465" y="3305146"/>
                </a:cubicBezTo>
                <a:cubicBezTo>
                  <a:pt x="5066465" y="3300065"/>
                  <a:pt x="5070460" y="3296070"/>
                  <a:pt x="5075541" y="3296070"/>
                </a:cubicBezTo>
                <a:close/>
                <a:moveTo>
                  <a:pt x="5229126" y="3294980"/>
                </a:moveTo>
                <a:cubicBezTo>
                  <a:pt x="5234574" y="3294980"/>
                  <a:pt x="5239293" y="3299699"/>
                  <a:pt x="5239293" y="3305146"/>
                </a:cubicBezTo>
                <a:cubicBezTo>
                  <a:pt x="5239293" y="3310593"/>
                  <a:pt x="5234936" y="3315312"/>
                  <a:pt x="5229126" y="3315312"/>
                </a:cubicBezTo>
                <a:cubicBezTo>
                  <a:pt x="5223679" y="3315312"/>
                  <a:pt x="5218960" y="3310593"/>
                  <a:pt x="5218960" y="3305146"/>
                </a:cubicBezTo>
                <a:cubicBezTo>
                  <a:pt x="5218960" y="3299699"/>
                  <a:pt x="5223679" y="3294980"/>
                  <a:pt x="5229126" y="3294980"/>
                </a:cubicBezTo>
                <a:close/>
                <a:moveTo>
                  <a:pt x="5383074" y="3293165"/>
                </a:moveTo>
                <a:cubicBezTo>
                  <a:pt x="5389612" y="3293165"/>
                  <a:pt x="5395058" y="3298613"/>
                  <a:pt x="5395058" y="3305146"/>
                </a:cubicBezTo>
                <a:cubicBezTo>
                  <a:pt x="5395058" y="3311684"/>
                  <a:pt x="5389612" y="3317131"/>
                  <a:pt x="5383074" y="3317131"/>
                </a:cubicBezTo>
                <a:cubicBezTo>
                  <a:pt x="5376540" y="3317131"/>
                  <a:pt x="5371093" y="3311684"/>
                  <a:pt x="5371093" y="3305146"/>
                </a:cubicBezTo>
                <a:cubicBezTo>
                  <a:pt x="5371093" y="3298613"/>
                  <a:pt x="5376540" y="3293165"/>
                  <a:pt x="5383074" y="3293165"/>
                </a:cubicBezTo>
                <a:close/>
                <a:moveTo>
                  <a:pt x="5537021" y="3291351"/>
                </a:moveTo>
                <a:cubicBezTo>
                  <a:pt x="5544641" y="3291351"/>
                  <a:pt x="5550820" y="3297530"/>
                  <a:pt x="5550820" y="3305146"/>
                </a:cubicBezTo>
                <a:cubicBezTo>
                  <a:pt x="5550820" y="3312766"/>
                  <a:pt x="5544645" y="3318945"/>
                  <a:pt x="5537021" y="3318945"/>
                </a:cubicBezTo>
                <a:cubicBezTo>
                  <a:pt x="5529405" y="3318945"/>
                  <a:pt x="5523226" y="3312766"/>
                  <a:pt x="5523226" y="3305146"/>
                </a:cubicBezTo>
                <a:cubicBezTo>
                  <a:pt x="5523226" y="3297526"/>
                  <a:pt x="5529402" y="3291351"/>
                  <a:pt x="5537021" y="3291351"/>
                </a:cubicBezTo>
                <a:close/>
                <a:moveTo>
                  <a:pt x="5690606" y="3289899"/>
                </a:moveTo>
                <a:cubicBezTo>
                  <a:pt x="5699027" y="3289899"/>
                  <a:pt x="5705854" y="3296726"/>
                  <a:pt x="5705854" y="3305146"/>
                </a:cubicBezTo>
                <a:cubicBezTo>
                  <a:pt x="5705854" y="3313570"/>
                  <a:pt x="5699027" y="3320398"/>
                  <a:pt x="5690606" y="3320398"/>
                </a:cubicBezTo>
                <a:cubicBezTo>
                  <a:pt x="5682182" y="3320398"/>
                  <a:pt x="5675355" y="3313570"/>
                  <a:pt x="5675355" y="3305146"/>
                </a:cubicBezTo>
                <a:cubicBezTo>
                  <a:pt x="5675355" y="3296726"/>
                  <a:pt x="5682182" y="3289899"/>
                  <a:pt x="5690606" y="3289899"/>
                </a:cubicBezTo>
                <a:close/>
                <a:moveTo>
                  <a:pt x="5844554" y="3288084"/>
                </a:moveTo>
                <a:cubicBezTo>
                  <a:pt x="5853977" y="3288084"/>
                  <a:pt x="5861616" y="3295723"/>
                  <a:pt x="5861616" y="3305150"/>
                </a:cubicBezTo>
                <a:cubicBezTo>
                  <a:pt x="5861616" y="3314573"/>
                  <a:pt x="5853977" y="3322216"/>
                  <a:pt x="5844554" y="3322216"/>
                </a:cubicBezTo>
                <a:cubicBezTo>
                  <a:pt x="5835127" y="3322216"/>
                  <a:pt x="5827488" y="3314573"/>
                  <a:pt x="5827488" y="3305150"/>
                </a:cubicBezTo>
                <a:cubicBezTo>
                  <a:pt x="5827488" y="3295723"/>
                  <a:pt x="5835131" y="3288084"/>
                  <a:pt x="5844554" y="3288084"/>
                </a:cubicBezTo>
                <a:close/>
                <a:moveTo>
                  <a:pt x="5998136" y="3285904"/>
                </a:moveTo>
                <a:cubicBezTo>
                  <a:pt x="6008763" y="3285904"/>
                  <a:pt x="6017382" y="3294519"/>
                  <a:pt x="6017382" y="3305146"/>
                </a:cubicBezTo>
                <a:cubicBezTo>
                  <a:pt x="6017382" y="3315774"/>
                  <a:pt x="6008763" y="3324389"/>
                  <a:pt x="5998136" y="3324389"/>
                </a:cubicBezTo>
                <a:cubicBezTo>
                  <a:pt x="5987508" y="3324389"/>
                  <a:pt x="5978893" y="3315774"/>
                  <a:pt x="5978893" y="3305146"/>
                </a:cubicBezTo>
                <a:cubicBezTo>
                  <a:pt x="5978893" y="3294519"/>
                  <a:pt x="5987508" y="3285904"/>
                  <a:pt x="5998136" y="3285904"/>
                </a:cubicBezTo>
                <a:close/>
                <a:moveTo>
                  <a:pt x="6152086" y="3283727"/>
                </a:moveTo>
                <a:cubicBezTo>
                  <a:pt x="6163915" y="3283727"/>
                  <a:pt x="6173510" y="3293318"/>
                  <a:pt x="6173510" y="3305150"/>
                </a:cubicBezTo>
                <a:cubicBezTo>
                  <a:pt x="6173510" y="3316979"/>
                  <a:pt x="6163915" y="3326569"/>
                  <a:pt x="6152086" y="3326569"/>
                </a:cubicBezTo>
                <a:cubicBezTo>
                  <a:pt x="6140254" y="3326569"/>
                  <a:pt x="6130664" y="3316979"/>
                  <a:pt x="6130664" y="3305150"/>
                </a:cubicBezTo>
                <a:cubicBezTo>
                  <a:pt x="6130664" y="3293318"/>
                  <a:pt x="6140254" y="3283727"/>
                  <a:pt x="6152086" y="3283727"/>
                </a:cubicBezTo>
                <a:close/>
                <a:moveTo>
                  <a:pt x="6305672" y="3282275"/>
                </a:moveTo>
                <a:cubicBezTo>
                  <a:pt x="6318304" y="3282275"/>
                  <a:pt x="6328547" y="3292517"/>
                  <a:pt x="6328547" y="3305150"/>
                </a:cubicBezTo>
                <a:cubicBezTo>
                  <a:pt x="6328547" y="3317783"/>
                  <a:pt x="6318304" y="3328021"/>
                  <a:pt x="6305672" y="3328021"/>
                </a:cubicBezTo>
                <a:cubicBezTo>
                  <a:pt x="6293039" y="3328021"/>
                  <a:pt x="6282796" y="3317783"/>
                  <a:pt x="6282796" y="3305150"/>
                </a:cubicBezTo>
                <a:cubicBezTo>
                  <a:pt x="6282796" y="3292517"/>
                  <a:pt x="6293039" y="3282275"/>
                  <a:pt x="6305672" y="3282275"/>
                </a:cubicBezTo>
                <a:close/>
                <a:moveTo>
                  <a:pt x="6459616" y="3280094"/>
                </a:moveTo>
                <a:cubicBezTo>
                  <a:pt x="6473452" y="3280094"/>
                  <a:pt x="6484671" y="3291309"/>
                  <a:pt x="6484671" y="3305146"/>
                </a:cubicBezTo>
                <a:cubicBezTo>
                  <a:pt x="6484671" y="3318984"/>
                  <a:pt x="6473452" y="3330202"/>
                  <a:pt x="6459616" y="3330202"/>
                </a:cubicBezTo>
                <a:cubicBezTo>
                  <a:pt x="6445778" y="3330202"/>
                  <a:pt x="6434564" y="3318984"/>
                  <a:pt x="6434564" y="3305146"/>
                </a:cubicBezTo>
                <a:cubicBezTo>
                  <a:pt x="6434564" y="3291313"/>
                  <a:pt x="6445778" y="3280094"/>
                  <a:pt x="6459616" y="3280094"/>
                </a:cubicBezTo>
                <a:close/>
                <a:moveTo>
                  <a:pt x="6613200" y="3277914"/>
                </a:moveTo>
                <a:cubicBezTo>
                  <a:pt x="6628086" y="3277914"/>
                  <a:pt x="6640433" y="3290261"/>
                  <a:pt x="6640433" y="3305146"/>
                </a:cubicBezTo>
                <a:cubicBezTo>
                  <a:pt x="6640433" y="3320032"/>
                  <a:pt x="6628448" y="3332378"/>
                  <a:pt x="6613200" y="3332378"/>
                </a:cubicBezTo>
                <a:cubicBezTo>
                  <a:pt x="6598315" y="3332378"/>
                  <a:pt x="6585968" y="3320032"/>
                  <a:pt x="6585968" y="3305146"/>
                </a:cubicBezTo>
                <a:cubicBezTo>
                  <a:pt x="6585968" y="3290261"/>
                  <a:pt x="6598315" y="3277914"/>
                  <a:pt x="6613200" y="3277914"/>
                </a:cubicBezTo>
                <a:close/>
                <a:moveTo>
                  <a:pt x="3845414" y="3151199"/>
                </a:moveTo>
                <a:cubicBezTo>
                  <a:pt x="3845776" y="3151199"/>
                  <a:pt x="3845776" y="3151199"/>
                  <a:pt x="3845776" y="3151561"/>
                </a:cubicBezTo>
                <a:cubicBezTo>
                  <a:pt x="3845776" y="3151923"/>
                  <a:pt x="3845414" y="3151923"/>
                  <a:pt x="3845414" y="3151923"/>
                </a:cubicBezTo>
                <a:cubicBezTo>
                  <a:pt x="3845052" y="3151923"/>
                  <a:pt x="3845052" y="3151923"/>
                  <a:pt x="3845052" y="3151561"/>
                </a:cubicBezTo>
                <a:cubicBezTo>
                  <a:pt x="3845052" y="3151199"/>
                  <a:pt x="3845052" y="3151199"/>
                  <a:pt x="3845414" y="3151199"/>
                </a:cubicBezTo>
                <a:close/>
                <a:moveTo>
                  <a:pt x="3383934" y="3151199"/>
                </a:moveTo>
                <a:cubicBezTo>
                  <a:pt x="3384296" y="3151199"/>
                  <a:pt x="3384296" y="3151199"/>
                  <a:pt x="3384296" y="3151561"/>
                </a:cubicBezTo>
                <a:cubicBezTo>
                  <a:pt x="3384296" y="3151923"/>
                  <a:pt x="3383934" y="3151923"/>
                  <a:pt x="3383934" y="3151923"/>
                </a:cubicBezTo>
                <a:cubicBezTo>
                  <a:pt x="3383572" y="3151923"/>
                  <a:pt x="3383572" y="3151923"/>
                  <a:pt x="3383572" y="3151561"/>
                </a:cubicBezTo>
                <a:cubicBezTo>
                  <a:pt x="3383572" y="3151199"/>
                  <a:pt x="3383572" y="3151199"/>
                  <a:pt x="3383934" y="3151199"/>
                </a:cubicBezTo>
                <a:close/>
                <a:moveTo>
                  <a:pt x="3230349" y="3151199"/>
                </a:moveTo>
                <a:cubicBezTo>
                  <a:pt x="3230715" y="3151199"/>
                  <a:pt x="3230715" y="3151199"/>
                  <a:pt x="3230715" y="3151561"/>
                </a:cubicBezTo>
                <a:cubicBezTo>
                  <a:pt x="3230715" y="3151923"/>
                  <a:pt x="3230349" y="3151923"/>
                  <a:pt x="3230349" y="3151923"/>
                </a:cubicBezTo>
                <a:cubicBezTo>
                  <a:pt x="3229987" y="3151923"/>
                  <a:pt x="3229987" y="3151923"/>
                  <a:pt x="3229987" y="3151561"/>
                </a:cubicBezTo>
                <a:cubicBezTo>
                  <a:pt x="3229987" y="3151199"/>
                  <a:pt x="3229987" y="3151199"/>
                  <a:pt x="3230349" y="3151199"/>
                </a:cubicBezTo>
                <a:close/>
                <a:moveTo>
                  <a:pt x="3076406" y="3150837"/>
                </a:moveTo>
                <a:cubicBezTo>
                  <a:pt x="3076806" y="3150837"/>
                  <a:pt x="3077130" y="3151161"/>
                  <a:pt x="3077130" y="3151565"/>
                </a:cubicBezTo>
                <a:cubicBezTo>
                  <a:pt x="3077130" y="3151965"/>
                  <a:pt x="3076806" y="3152289"/>
                  <a:pt x="3076406" y="3152289"/>
                </a:cubicBezTo>
                <a:cubicBezTo>
                  <a:pt x="3076001" y="3152289"/>
                  <a:pt x="3075677" y="3151965"/>
                  <a:pt x="3075677" y="3151565"/>
                </a:cubicBezTo>
                <a:cubicBezTo>
                  <a:pt x="3075677" y="3151161"/>
                  <a:pt x="3076001" y="3150837"/>
                  <a:pt x="3076406" y="3150837"/>
                </a:cubicBezTo>
                <a:close/>
                <a:moveTo>
                  <a:pt x="3999000" y="3150112"/>
                </a:moveTo>
                <a:cubicBezTo>
                  <a:pt x="3999800" y="3150112"/>
                  <a:pt x="4000452" y="3150764"/>
                  <a:pt x="4000452" y="3151565"/>
                </a:cubicBezTo>
                <a:cubicBezTo>
                  <a:pt x="4000452" y="3152365"/>
                  <a:pt x="3999800" y="3153017"/>
                  <a:pt x="3999000" y="3153017"/>
                </a:cubicBezTo>
                <a:cubicBezTo>
                  <a:pt x="3998195" y="3153017"/>
                  <a:pt x="3997547" y="3152365"/>
                  <a:pt x="3997547" y="3151565"/>
                </a:cubicBezTo>
                <a:cubicBezTo>
                  <a:pt x="3997547" y="3150764"/>
                  <a:pt x="3998195" y="3150112"/>
                  <a:pt x="3999000" y="3150112"/>
                </a:cubicBezTo>
                <a:close/>
                <a:moveTo>
                  <a:pt x="4152951" y="3149384"/>
                </a:moveTo>
                <a:cubicBezTo>
                  <a:pt x="4154152" y="3149384"/>
                  <a:pt x="4155128" y="3150360"/>
                  <a:pt x="4155128" y="3151565"/>
                </a:cubicBezTo>
                <a:cubicBezTo>
                  <a:pt x="4155128" y="3152766"/>
                  <a:pt x="4154152" y="3153741"/>
                  <a:pt x="4152951" y="3153741"/>
                </a:cubicBezTo>
                <a:cubicBezTo>
                  <a:pt x="4151746" y="3153741"/>
                  <a:pt x="4150770" y="3152766"/>
                  <a:pt x="4150770" y="3151565"/>
                </a:cubicBezTo>
                <a:cubicBezTo>
                  <a:pt x="4150770" y="3150360"/>
                  <a:pt x="4151746" y="3149384"/>
                  <a:pt x="4152951" y="3149384"/>
                </a:cubicBezTo>
                <a:close/>
                <a:moveTo>
                  <a:pt x="4306528" y="3148294"/>
                </a:moveTo>
                <a:cubicBezTo>
                  <a:pt x="4308346" y="3148294"/>
                  <a:pt x="4309796" y="3149746"/>
                  <a:pt x="4309796" y="3151561"/>
                </a:cubicBezTo>
                <a:cubicBezTo>
                  <a:pt x="4309796" y="3153375"/>
                  <a:pt x="4308346" y="3154831"/>
                  <a:pt x="4306528" y="3154831"/>
                </a:cubicBezTo>
                <a:cubicBezTo>
                  <a:pt x="4304714" y="3154831"/>
                  <a:pt x="4303262" y="3153375"/>
                  <a:pt x="4303262" y="3151561"/>
                </a:cubicBezTo>
                <a:cubicBezTo>
                  <a:pt x="4303262" y="3149746"/>
                  <a:pt x="4304714" y="3148294"/>
                  <a:pt x="4306528" y="3148294"/>
                </a:cubicBezTo>
                <a:close/>
                <a:moveTo>
                  <a:pt x="4460480" y="3146842"/>
                </a:moveTo>
                <a:cubicBezTo>
                  <a:pt x="4463018" y="3146842"/>
                  <a:pt x="4464836" y="3148656"/>
                  <a:pt x="4464836" y="3151199"/>
                </a:cubicBezTo>
                <a:cubicBezTo>
                  <a:pt x="4464836" y="3153741"/>
                  <a:pt x="4462656" y="3155556"/>
                  <a:pt x="4460480" y="3155556"/>
                </a:cubicBezTo>
                <a:cubicBezTo>
                  <a:pt x="4457937" y="3155556"/>
                  <a:pt x="4456122" y="3153741"/>
                  <a:pt x="4456122" y="3151199"/>
                </a:cubicBezTo>
                <a:cubicBezTo>
                  <a:pt x="4456122" y="3148656"/>
                  <a:pt x="4457937" y="3146842"/>
                  <a:pt x="4460480" y="3146842"/>
                </a:cubicBezTo>
                <a:close/>
                <a:moveTo>
                  <a:pt x="4614061" y="3145752"/>
                </a:moveTo>
                <a:cubicBezTo>
                  <a:pt x="4617328" y="3145752"/>
                  <a:pt x="4619870" y="3148294"/>
                  <a:pt x="4619870" y="3151561"/>
                </a:cubicBezTo>
                <a:cubicBezTo>
                  <a:pt x="4619870" y="3154828"/>
                  <a:pt x="4617328" y="3157370"/>
                  <a:pt x="4614061" y="3157370"/>
                </a:cubicBezTo>
                <a:cubicBezTo>
                  <a:pt x="4610794" y="3157370"/>
                  <a:pt x="4608252" y="3154828"/>
                  <a:pt x="4608252" y="3151561"/>
                </a:cubicBezTo>
                <a:cubicBezTo>
                  <a:pt x="4608252" y="3148294"/>
                  <a:pt x="4610794" y="3145752"/>
                  <a:pt x="4614061" y="3145752"/>
                </a:cubicBezTo>
                <a:close/>
                <a:moveTo>
                  <a:pt x="4768008" y="3144299"/>
                </a:moveTo>
                <a:cubicBezTo>
                  <a:pt x="4772004" y="3144299"/>
                  <a:pt x="4775270" y="3147566"/>
                  <a:pt x="4775270" y="3151561"/>
                </a:cubicBezTo>
                <a:cubicBezTo>
                  <a:pt x="4775270" y="3155556"/>
                  <a:pt x="4772004" y="3158823"/>
                  <a:pt x="4768008" y="3158823"/>
                </a:cubicBezTo>
                <a:cubicBezTo>
                  <a:pt x="4764014" y="3158823"/>
                  <a:pt x="4760747" y="3155556"/>
                  <a:pt x="4760747" y="3151561"/>
                </a:cubicBezTo>
                <a:cubicBezTo>
                  <a:pt x="4760747" y="3147566"/>
                  <a:pt x="4764014" y="3144299"/>
                  <a:pt x="4768008" y="3144299"/>
                </a:cubicBezTo>
                <a:close/>
                <a:moveTo>
                  <a:pt x="4921594" y="3142123"/>
                </a:moveTo>
                <a:cubicBezTo>
                  <a:pt x="4926679" y="3142123"/>
                  <a:pt x="4930674" y="3146118"/>
                  <a:pt x="4930674" y="3151199"/>
                </a:cubicBezTo>
                <a:cubicBezTo>
                  <a:pt x="4930674" y="3156284"/>
                  <a:pt x="4926679" y="3160279"/>
                  <a:pt x="4921594" y="3160279"/>
                </a:cubicBezTo>
                <a:cubicBezTo>
                  <a:pt x="4916512" y="3160279"/>
                  <a:pt x="4912518" y="3156284"/>
                  <a:pt x="4912518" y="3151199"/>
                </a:cubicBezTo>
                <a:cubicBezTo>
                  <a:pt x="4912518" y="3146118"/>
                  <a:pt x="4916512" y="3142123"/>
                  <a:pt x="4921594" y="3142123"/>
                </a:cubicBezTo>
                <a:close/>
                <a:moveTo>
                  <a:pt x="5075541" y="3141395"/>
                </a:moveTo>
                <a:cubicBezTo>
                  <a:pt x="5080988" y="3141395"/>
                  <a:pt x="5085708" y="3146114"/>
                  <a:pt x="5085708" y="3151561"/>
                </a:cubicBezTo>
                <a:cubicBezTo>
                  <a:pt x="5085708" y="3157008"/>
                  <a:pt x="5081350" y="3161727"/>
                  <a:pt x="5075541" y="3161727"/>
                </a:cubicBezTo>
                <a:cubicBezTo>
                  <a:pt x="5070094" y="3161727"/>
                  <a:pt x="5065375" y="3157008"/>
                  <a:pt x="5065375" y="3151561"/>
                </a:cubicBezTo>
                <a:cubicBezTo>
                  <a:pt x="5065375" y="3146114"/>
                  <a:pt x="5070094" y="3141395"/>
                  <a:pt x="5075541" y="3141395"/>
                </a:cubicBezTo>
                <a:close/>
                <a:moveTo>
                  <a:pt x="5229126" y="3139580"/>
                </a:moveTo>
                <a:cubicBezTo>
                  <a:pt x="5235664" y="3139580"/>
                  <a:pt x="5241111" y="3145028"/>
                  <a:pt x="5241111" y="3151561"/>
                </a:cubicBezTo>
                <a:cubicBezTo>
                  <a:pt x="5241111" y="3158099"/>
                  <a:pt x="5235664" y="3163542"/>
                  <a:pt x="5229126" y="3163542"/>
                </a:cubicBezTo>
                <a:cubicBezTo>
                  <a:pt x="5222593" y="3163542"/>
                  <a:pt x="5217146" y="3158099"/>
                  <a:pt x="5217146" y="3151561"/>
                </a:cubicBezTo>
                <a:cubicBezTo>
                  <a:pt x="5217146" y="3145028"/>
                  <a:pt x="5222593" y="3139580"/>
                  <a:pt x="5229126" y="3139580"/>
                </a:cubicBezTo>
                <a:close/>
                <a:moveTo>
                  <a:pt x="5383078" y="3137403"/>
                </a:moveTo>
                <a:cubicBezTo>
                  <a:pt x="5390702" y="3137403"/>
                  <a:pt x="5396873" y="3143575"/>
                  <a:pt x="5396873" y="3151199"/>
                </a:cubicBezTo>
                <a:cubicBezTo>
                  <a:pt x="5396873" y="3158827"/>
                  <a:pt x="5390702" y="3164998"/>
                  <a:pt x="5383078" y="3164998"/>
                </a:cubicBezTo>
                <a:cubicBezTo>
                  <a:pt x="5375450" y="3164998"/>
                  <a:pt x="5369278" y="3158827"/>
                  <a:pt x="5369278" y="3151199"/>
                </a:cubicBezTo>
                <a:cubicBezTo>
                  <a:pt x="5369278" y="3143575"/>
                  <a:pt x="5375450" y="3137403"/>
                  <a:pt x="5383078" y="3137403"/>
                </a:cubicBezTo>
                <a:close/>
                <a:moveTo>
                  <a:pt x="5536659" y="3136313"/>
                </a:moveTo>
                <a:cubicBezTo>
                  <a:pt x="5545080" y="3136313"/>
                  <a:pt x="5551906" y="3143140"/>
                  <a:pt x="5551906" y="3151565"/>
                </a:cubicBezTo>
                <a:cubicBezTo>
                  <a:pt x="5551906" y="3159985"/>
                  <a:pt x="5545080" y="3166812"/>
                  <a:pt x="5536659" y="3166812"/>
                </a:cubicBezTo>
                <a:cubicBezTo>
                  <a:pt x="5528238" y="3166812"/>
                  <a:pt x="5521408" y="3159985"/>
                  <a:pt x="5521408" y="3151565"/>
                </a:cubicBezTo>
                <a:cubicBezTo>
                  <a:pt x="5521408" y="3143140"/>
                  <a:pt x="5528238" y="3136313"/>
                  <a:pt x="5536659" y="3136313"/>
                </a:cubicBezTo>
                <a:close/>
                <a:moveTo>
                  <a:pt x="5690606" y="3134499"/>
                </a:moveTo>
                <a:cubicBezTo>
                  <a:pt x="5700048" y="3134499"/>
                  <a:pt x="5707672" y="3142123"/>
                  <a:pt x="5707672" y="3151565"/>
                </a:cubicBezTo>
                <a:cubicBezTo>
                  <a:pt x="5707672" y="3161003"/>
                  <a:pt x="5700048" y="3168627"/>
                  <a:pt x="5690606" y="3168627"/>
                </a:cubicBezTo>
                <a:cubicBezTo>
                  <a:pt x="5681164" y="3168627"/>
                  <a:pt x="5673540" y="3161003"/>
                  <a:pt x="5673540" y="3151565"/>
                </a:cubicBezTo>
                <a:cubicBezTo>
                  <a:pt x="5673540" y="3142123"/>
                  <a:pt x="5681164" y="3134499"/>
                  <a:pt x="5690606" y="3134499"/>
                </a:cubicBezTo>
                <a:close/>
                <a:moveTo>
                  <a:pt x="5844554" y="3132318"/>
                </a:moveTo>
                <a:cubicBezTo>
                  <a:pt x="5855182" y="3132318"/>
                  <a:pt x="5863796" y="3140933"/>
                  <a:pt x="5863796" y="3151561"/>
                </a:cubicBezTo>
                <a:cubicBezTo>
                  <a:pt x="5863796" y="3162188"/>
                  <a:pt x="5855182" y="3170807"/>
                  <a:pt x="5844554" y="3170807"/>
                </a:cubicBezTo>
                <a:cubicBezTo>
                  <a:pt x="5833926" y="3170807"/>
                  <a:pt x="5825308" y="3162188"/>
                  <a:pt x="5825308" y="3151561"/>
                </a:cubicBezTo>
                <a:cubicBezTo>
                  <a:pt x="5825308" y="3140933"/>
                  <a:pt x="5833926" y="3132318"/>
                  <a:pt x="5844554" y="3132318"/>
                </a:cubicBezTo>
                <a:close/>
                <a:moveTo>
                  <a:pt x="5998139" y="3130142"/>
                </a:moveTo>
                <a:cubicBezTo>
                  <a:pt x="6009968" y="3130142"/>
                  <a:pt x="6019562" y="3139733"/>
                  <a:pt x="6019562" y="3151565"/>
                </a:cubicBezTo>
                <a:cubicBezTo>
                  <a:pt x="6019562" y="3163397"/>
                  <a:pt x="6009968" y="3172984"/>
                  <a:pt x="5998139" y="3172984"/>
                </a:cubicBezTo>
                <a:cubicBezTo>
                  <a:pt x="5986307" y="3172984"/>
                  <a:pt x="5976716" y="3163393"/>
                  <a:pt x="5976716" y="3151565"/>
                </a:cubicBezTo>
                <a:cubicBezTo>
                  <a:pt x="5976716" y="3139733"/>
                  <a:pt x="5986307" y="3130142"/>
                  <a:pt x="5998139" y="3130142"/>
                </a:cubicBezTo>
                <a:close/>
                <a:moveTo>
                  <a:pt x="6152086" y="3128689"/>
                </a:moveTo>
                <a:cubicBezTo>
                  <a:pt x="6164719" y="3128689"/>
                  <a:pt x="6174958" y="3138932"/>
                  <a:pt x="6174958" y="3151565"/>
                </a:cubicBezTo>
                <a:cubicBezTo>
                  <a:pt x="6174958" y="3164197"/>
                  <a:pt x="6164719" y="3174440"/>
                  <a:pt x="6152086" y="3174440"/>
                </a:cubicBezTo>
                <a:cubicBezTo>
                  <a:pt x="6139450" y="3174440"/>
                  <a:pt x="6129212" y="3164197"/>
                  <a:pt x="6129212" y="3151565"/>
                </a:cubicBezTo>
                <a:cubicBezTo>
                  <a:pt x="6129212" y="3138932"/>
                  <a:pt x="6139450" y="3128689"/>
                  <a:pt x="6152086" y="3128689"/>
                </a:cubicBezTo>
                <a:close/>
                <a:moveTo>
                  <a:pt x="6305668" y="3126509"/>
                </a:moveTo>
                <a:cubicBezTo>
                  <a:pt x="6319505" y="3126509"/>
                  <a:pt x="6330724" y="3137724"/>
                  <a:pt x="6330724" y="3151561"/>
                </a:cubicBezTo>
                <a:cubicBezTo>
                  <a:pt x="6330724" y="3165398"/>
                  <a:pt x="6319505" y="3176616"/>
                  <a:pt x="6305668" y="3176616"/>
                </a:cubicBezTo>
                <a:cubicBezTo>
                  <a:pt x="6291831" y="3176616"/>
                  <a:pt x="6280616" y="3165398"/>
                  <a:pt x="6280616" y="3151561"/>
                </a:cubicBezTo>
                <a:cubicBezTo>
                  <a:pt x="6280616" y="3137728"/>
                  <a:pt x="6291831" y="3126509"/>
                  <a:pt x="6305668" y="3126509"/>
                </a:cubicBezTo>
                <a:close/>
                <a:moveTo>
                  <a:pt x="6459619" y="3124332"/>
                </a:moveTo>
                <a:cubicBezTo>
                  <a:pt x="6474657" y="3124332"/>
                  <a:pt x="6486852" y="3136523"/>
                  <a:pt x="6486852" y="3151565"/>
                </a:cubicBezTo>
                <a:cubicBezTo>
                  <a:pt x="6486852" y="3166603"/>
                  <a:pt x="6474657" y="3178797"/>
                  <a:pt x="6459619" y="3178797"/>
                </a:cubicBezTo>
                <a:cubicBezTo>
                  <a:pt x="6444582" y="3178797"/>
                  <a:pt x="6432387" y="3166603"/>
                  <a:pt x="6432387" y="3151565"/>
                </a:cubicBezTo>
                <a:cubicBezTo>
                  <a:pt x="6432387" y="3136523"/>
                  <a:pt x="6444582" y="3124332"/>
                  <a:pt x="6459619" y="3124332"/>
                </a:cubicBezTo>
                <a:close/>
                <a:moveTo>
                  <a:pt x="6613197" y="3121790"/>
                </a:moveTo>
                <a:cubicBezTo>
                  <a:pt x="6629642" y="3121790"/>
                  <a:pt x="6642972" y="3135120"/>
                  <a:pt x="6642972" y="3151565"/>
                </a:cubicBezTo>
                <a:cubicBezTo>
                  <a:pt x="6642972" y="3168005"/>
                  <a:pt x="6629642" y="3181336"/>
                  <a:pt x="6613197" y="3181336"/>
                </a:cubicBezTo>
                <a:cubicBezTo>
                  <a:pt x="6596756" y="3181336"/>
                  <a:pt x="6583426" y="3168005"/>
                  <a:pt x="6583426" y="3151565"/>
                </a:cubicBezTo>
                <a:cubicBezTo>
                  <a:pt x="6583426" y="3135120"/>
                  <a:pt x="6596756" y="3121790"/>
                  <a:pt x="6613197" y="3121790"/>
                </a:cubicBezTo>
                <a:close/>
                <a:moveTo>
                  <a:pt x="3691467" y="2997252"/>
                </a:moveTo>
                <a:cubicBezTo>
                  <a:pt x="3691669" y="2997252"/>
                  <a:pt x="3691829" y="2997415"/>
                  <a:pt x="3691829" y="2997613"/>
                </a:cubicBezTo>
                <a:cubicBezTo>
                  <a:pt x="3691829" y="2997816"/>
                  <a:pt x="3691669" y="2997976"/>
                  <a:pt x="3691467" y="2997976"/>
                </a:cubicBezTo>
                <a:cubicBezTo>
                  <a:pt x="3691269" y="2997976"/>
                  <a:pt x="3691105" y="2997816"/>
                  <a:pt x="3691105" y="2997613"/>
                </a:cubicBezTo>
                <a:cubicBezTo>
                  <a:pt x="3691105" y="2997415"/>
                  <a:pt x="3691269" y="2997252"/>
                  <a:pt x="3691467" y="2997252"/>
                </a:cubicBezTo>
                <a:close/>
                <a:moveTo>
                  <a:pt x="3230349" y="2997252"/>
                </a:moveTo>
                <a:cubicBezTo>
                  <a:pt x="3230715" y="2997252"/>
                  <a:pt x="3230715" y="2997252"/>
                  <a:pt x="3230715" y="2997613"/>
                </a:cubicBezTo>
                <a:cubicBezTo>
                  <a:pt x="3230715" y="2997976"/>
                  <a:pt x="3230349" y="2997976"/>
                  <a:pt x="3230349" y="2997976"/>
                </a:cubicBezTo>
                <a:cubicBezTo>
                  <a:pt x="3229987" y="2997976"/>
                  <a:pt x="3229987" y="2997976"/>
                  <a:pt x="3229987" y="2997613"/>
                </a:cubicBezTo>
                <a:cubicBezTo>
                  <a:pt x="3229987" y="2997252"/>
                  <a:pt x="3229987" y="2997252"/>
                  <a:pt x="3230349" y="2997252"/>
                </a:cubicBezTo>
                <a:close/>
                <a:moveTo>
                  <a:pt x="3076406" y="2997252"/>
                </a:moveTo>
                <a:cubicBezTo>
                  <a:pt x="3076768" y="2997252"/>
                  <a:pt x="3076768" y="2997252"/>
                  <a:pt x="3076768" y="2997613"/>
                </a:cubicBezTo>
                <a:cubicBezTo>
                  <a:pt x="3076768" y="2997976"/>
                  <a:pt x="3076406" y="2997976"/>
                  <a:pt x="3076406" y="2997976"/>
                </a:cubicBezTo>
                <a:cubicBezTo>
                  <a:pt x="3076043" y="2997976"/>
                  <a:pt x="3076043" y="2997976"/>
                  <a:pt x="3076043" y="2997613"/>
                </a:cubicBezTo>
                <a:cubicBezTo>
                  <a:pt x="3076043" y="2997252"/>
                  <a:pt x="3076043" y="2997252"/>
                  <a:pt x="3076406" y="2997252"/>
                </a:cubicBezTo>
                <a:close/>
                <a:moveTo>
                  <a:pt x="2922824" y="2996889"/>
                </a:moveTo>
                <a:cubicBezTo>
                  <a:pt x="2923224" y="2996889"/>
                  <a:pt x="2923548" y="2997213"/>
                  <a:pt x="2923548" y="2997613"/>
                </a:cubicBezTo>
                <a:cubicBezTo>
                  <a:pt x="2923548" y="2998018"/>
                  <a:pt x="2923224" y="2998342"/>
                  <a:pt x="2922824" y="2998342"/>
                </a:cubicBezTo>
                <a:cubicBezTo>
                  <a:pt x="2922420" y="2998342"/>
                  <a:pt x="2922096" y="2998018"/>
                  <a:pt x="2922096" y="2997613"/>
                </a:cubicBezTo>
                <a:cubicBezTo>
                  <a:pt x="2922096" y="2997213"/>
                  <a:pt x="2922420" y="2996889"/>
                  <a:pt x="2922824" y="2996889"/>
                </a:cubicBezTo>
                <a:close/>
                <a:moveTo>
                  <a:pt x="3845414" y="2996165"/>
                </a:moveTo>
                <a:cubicBezTo>
                  <a:pt x="3846215" y="2996165"/>
                  <a:pt x="3846867" y="2996817"/>
                  <a:pt x="3846867" y="2997617"/>
                </a:cubicBezTo>
                <a:cubicBezTo>
                  <a:pt x="3846867" y="2998418"/>
                  <a:pt x="3846215" y="2999070"/>
                  <a:pt x="3845414" y="2999070"/>
                </a:cubicBezTo>
                <a:cubicBezTo>
                  <a:pt x="3844610" y="2999070"/>
                  <a:pt x="3843962" y="2998418"/>
                  <a:pt x="3843962" y="2997617"/>
                </a:cubicBezTo>
                <a:cubicBezTo>
                  <a:pt x="3843962" y="2996817"/>
                  <a:pt x="3844610" y="2996165"/>
                  <a:pt x="3845414" y="2996165"/>
                </a:cubicBezTo>
                <a:close/>
                <a:moveTo>
                  <a:pt x="3999000" y="2995437"/>
                </a:moveTo>
                <a:cubicBezTo>
                  <a:pt x="4000204" y="2995437"/>
                  <a:pt x="4001180" y="2996413"/>
                  <a:pt x="4001180" y="2997613"/>
                </a:cubicBezTo>
                <a:cubicBezTo>
                  <a:pt x="4001180" y="2998818"/>
                  <a:pt x="4000204" y="2999794"/>
                  <a:pt x="3999000" y="2999794"/>
                </a:cubicBezTo>
                <a:cubicBezTo>
                  <a:pt x="3997799" y="2999794"/>
                  <a:pt x="3996823" y="2998818"/>
                  <a:pt x="3996823" y="2997613"/>
                </a:cubicBezTo>
                <a:cubicBezTo>
                  <a:pt x="3996823" y="2996413"/>
                  <a:pt x="3997799" y="2995437"/>
                  <a:pt x="3999000" y="2995437"/>
                </a:cubicBezTo>
                <a:close/>
                <a:moveTo>
                  <a:pt x="4152947" y="2994713"/>
                </a:moveTo>
                <a:cubicBezTo>
                  <a:pt x="4154762" y="2994713"/>
                  <a:pt x="4156214" y="2996165"/>
                  <a:pt x="4156214" y="2997979"/>
                </a:cubicBezTo>
                <a:cubicBezTo>
                  <a:pt x="4156214" y="2999794"/>
                  <a:pt x="4154762" y="3001250"/>
                  <a:pt x="4152947" y="3001250"/>
                </a:cubicBezTo>
                <a:cubicBezTo>
                  <a:pt x="4151132" y="3001250"/>
                  <a:pt x="4149680" y="2999794"/>
                  <a:pt x="4149680" y="2997979"/>
                </a:cubicBezTo>
                <a:cubicBezTo>
                  <a:pt x="4149680" y="2996165"/>
                  <a:pt x="4151132" y="2994713"/>
                  <a:pt x="4152947" y="2994713"/>
                </a:cubicBezTo>
                <a:close/>
                <a:moveTo>
                  <a:pt x="4306532" y="2993261"/>
                </a:moveTo>
                <a:cubicBezTo>
                  <a:pt x="4309075" y="2993261"/>
                  <a:pt x="4310890" y="2995075"/>
                  <a:pt x="4310890" y="2997617"/>
                </a:cubicBezTo>
                <a:cubicBezTo>
                  <a:pt x="4310890" y="3000160"/>
                  <a:pt x="4308709" y="3001974"/>
                  <a:pt x="4306532" y="3001974"/>
                </a:cubicBezTo>
                <a:cubicBezTo>
                  <a:pt x="4303990" y="3001974"/>
                  <a:pt x="4302176" y="3000160"/>
                  <a:pt x="4302176" y="2997617"/>
                </a:cubicBezTo>
                <a:cubicBezTo>
                  <a:pt x="4302176" y="2995075"/>
                  <a:pt x="4303990" y="2993261"/>
                  <a:pt x="4306532" y="2993261"/>
                </a:cubicBezTo>
                <a:close/>
                <a:moveTo>
                  <a:pt x="4460480" y="2991808"/>
                </a:moveTo>
                <a:cubicBezTo>
                  <a:pt x="4463690" y="2991808"/>
                  <a:pt x="4466289" y="2994408"/>
                  <a:pt x="4466289" y="2997617"/>
                </a:cubicBezTo>
                <a:cubicBezTo>
                  <a:pt x="4466289" y="3000827"/>
                  <a:pt x="4463690" y="3003427"/>
                  <a:pt x="4460480" y="3003427"/>
                </a:cubicBezTo>
                <a:cubicBezTo>
                  <a:pt x="4457270" y="3003427"/>
                  <a:pt x="4454670" y="3000827"/>
                  <a:pt x="4454670" y="2997617"/>
                </a:cubicBezTo>
                <a:cubicBezTo>
                  <a:pt x="4454670" y="2994408"/>
                  <a:pt x="4457270" y="2991808"/>
                  <a:pt x="4460480" y="2991808"/>
                </a:cubicBezTo>
                <a:close/>
                <a:moveTo>
                  <a:pt x="4614065" y="2990356"/>
                </a:moveTo>
                <a:cubicBezTo>
                  <a:pt x="4618060" y="2990356"/>
                  <a:pt x="4621326" y="2993622"/>
                  <a:pt x="4621326" y="2997617"/>
                </a:cubicBezTo>
                <a:cubicBezTo>
                  <a:pt x="4621326" y="3001612"/>
                  <a:pt x="4618060" y="3004879"/>
                  <a:pt x="4614065" y="3004879"/>
                </a:cubicBezTo>
                <a:cubicBezTo>
                  <a:pt x="4610070" y="3004879"/>
                  <a:pt x="4606804" y="3001612"/>
                  <a:pt x="4606804" y="2997617"/>
                </a:cubicBezTo>
                <a:cubicBezTo>
                  <a:pt x="4606804" y="2993622"/>
                  <a:pt x="4610070" y="2990356"/>
                  <a:pt x="4614065" y="2990356"/>
                </a:cubicBezTo>
                <a:close/>
                <a:moveTo>
                  <a:pt x="4768008" y="2988537"/>
                </a:moveTo>
                <a:cubicBezTo>
                  <a:pt x="4773094" y="2988537"/>
                  <a:pt x="4777088" y="2992532"/>
                  <a:pt x="4777088" y="2997613"/>
                </a:cubicBezTo>
                <a:cubicBezTo>
                  <a:pt x="4777088" y="3002699"/>
                  <a:pt x="4773094" y="3006693"/>
                  <a:pt x="4768008" y="3006693"/>
                </a:cubicBezTo>
                <a:cubicBezTo>
                  <a:pt x="4762928" y="3006693"/>
                  <a:pt x="4758932" y="3002699"/>
                  <a:pt x="4758932" y="2997613"/>
                </a:cubicBezTo>
                <a:cubicBezTo>
                  <a:pt x="4758932" y="2992532"/>
                  <a:pt x="4762928" y="2988537"/>
                  <a:pt x="4768008" y="2988537"/>
                </a:cubicBezTo>
                <a:close/>
                <a:moveTo>
                  <a:pt x="4921594" y="2987447"/>
                </a:moveTo>
                <a:cubicBezTo>
                  <a:pt x="4927041" y="2987447"/>
                  <a:pt x="4931760" y="2992166"/>
                  <a:pt x="4931760" y="2997613"/>
                </a:cubicBezTo>
                <a:cubicBezTo>
                  <a:pt x="4931760" y="3003061"/>
                  <a:pt x="4927403" y="3007780"/>
                  <a:pt x="4921594" y="3007780"/>
                </a:cubicBezTo>
                <a:cubicBezTo>
                  <a:pt x="4916146" y="3007780"/>
                  <a:pt x="4911428" y="3003061"/>
                  <a:pt x="4911428" y="2997613"/>
                </a:cubicBezTo>
                <a:cubicBezTo>
                  <a:pt x="4911428" y="2992166"/>
                  <a:pt x="4916146" y="2987447"/>
                  <a:pt x="4921594" y="2987447"/>
                </a:cubicBezTo>
                <a:close/>
                <a:moveTo>
                  <a:pt x="5075541" y="2985633"/>
                </a:moveTo>
                <a:cubicBezTo>
                  <a:pt x="5082078" y="2985633"/>
                  <a:pt x="5087526" y="2991080"/>
                  <a:pt x="5087526" y="2997613"/>
                </a:cubicBezTo>
                <a:cubicBezTo>
                  <a:pt x="5087526" y="3004151"/>
                  <a:pt x="5082078" y="3009594"/>
                  <a:pt x="5075541" y="3009594"/>
                </a:cubicBezTo>
                <a:cubicBezTo>
                  <a:pt x="5069008" y="3009594"/>
                  <a:pt x="5063560" y="3004151"/>
                  <a:pt x="5063560" y="2997613"/>
                </a:cubicBezTo>
                <a:cubicBezTo>
                  <a:pt x="5063560" y="2991080"/>
                  <a:pt x="5069008" y="2985633"/>
                  <a:pt x="5075541" y="2985633"/>
                </a:cubicBezTo>
                <a:close/>
                <a:moveTo>
                  <a:pt x="5229126" y="2983818"/>
                </a:moveTo>
                <a:cubicBezTo>
                  <a:pt x="5236750" y="2983818"/>
                  <a:pt x="5242922" y="2989990"/>
                  <a:pt x="5242922" y="2997613"/>
                </a:cubicBezTo>
                <a:cubicBezTo>
                  <a:pt x="5242922" y="3005241"/>
                  <a:pt x="5236750" y="3011413"/>
                  <a:pt x="5229126" y="3011413"/>
                </a:cubicBezTo>
                <a:cubicBezTo>
                  <a:pt x="5221499" y="3011413"/>
                  <a:pt x="5215328" y="3005241"/>
                  <a:pt x="5215328" y="2997613"/>
                </a:cubicBezTo>
                <a:cubicBezTo>
                  <a:pt x="5215328" y="2989990"/>
                  <a:pt x="5221499" y="2983818"/>
                  <a:pt x="5229126" y="2983818"/>
                </a:cubicBezTo>
                <a:close/>
                <a:moveTo>
                  <a:pt x="5383074" y="2982366"/>
                </a:moveTo>
                <a:cubicBezTo>
                  <a:pt x="5391498" y="2982366"/>
                  <a:pt x="5398326" y="2989193"/>
                  <a:pt x="5398326" y="2997613"/>
                </a:cubicBezTo>
                <a:cubicBezTo>
                  <a:pt x="5398326" y="3006038"/>
                  <a:pt x="5391498" y="3012865"/>
                  <a:pt x="5383074" y="3012865"/>
                </a:cubicBezTo>
                <a:cubicBezTo>
                  <a:pt x="5374654" y="3012865"/>
                  <a:pt x="5367826" y="3006038"/>
                  <a:pt x="5367826" y="2997613"/>
                </a:cubicBezTo>
                <a:cubicBezTo>
                  <a:pt x="5367826" y="2989193"/>
                  <a:pt x="5374654" y="2982366"/>
                  <a:pt x="5383074" y="2982366"/>
                </a:cubicBezTo>
                <a:close/>
                <a:moveTo>
                  <a:pt x="5536659" y="2980551"/>
                </a:moveTo>
                <a:cubicBezTo>
                  <a:pt x="5546098" y="2980551"/>
                  <a:pt x="5553725" y="2988175"/>
                  <a:pt x="5553725" y="2997617"/>
                </a:cubicBezTo>
                <a:cubicBezTo>
                  <a:pt x="5553725" y="3007056"/>
                  <a:pt x="5546098" y="3014683"/>
                  <a:pt x="5536659" y="3014683"/>
                </a:cubicBezTo>
                <a:cubicBezTo>
                  <a:pt x="5527217" y="3014683"/>
                  <a:pt x="5519593" y="3007056"/>
                  <a:pt x="5519593" y="2997617"/>
                </a:cubicBezTo>
                <a:cubicBezTo>
                  <a:pt x="5519593" y="2988175"/>
                  <a:pt x="5527217" y="2980551"/>
                  <a:pt x="5536659" y="2980551"/>
                </a:cubicBezTo>
                <a:close/>
                <a:moveTo>
                  <a:pt x="5690606" y="2978371"/>
                </a:moveTo>
                <a:cubicBezTo>
                  <a:pt x="5701234" y="2978371"/>
                  <a:pt x="5709849" y="2986986"/>
                  <a:pt x="5709849" y="2997613"/>
                </a:cubicBezTo>
                <a:cubicBezTo>
                  <a:pt x="5709849" y="3008241"/>
                  <a:pt x="5701234" y="3016856"/>
                  <a:pt x="5690606" y="3016856"/>
                </a:cubicBezTo>
                <a:cubicBezTo>
                  <a:pt x="5679979" y="3016856"/>
                  <a:pt x="5671360" y="3008241"/>
                  <a:pt x="5671360" y="2997613"/>
                </a:cubicBezTo>
                <a:cubicBezTo>
                  <a:pt x="5671360" y="2986986"/>
                  <a:pt x="5679979" y="2978371"/>
                  <a:pt x="5690606" y="2978371"/>
                </a:cubicBezTo>
                <a:close/>
                <a:moveTo>
                  <a:pt x="5844550" y="2976195"/>
                </a:moveTo>
                <a:cubicBezTo>
                  <a:pt x="5856382" y="2976195"/>
                  <a:pt x="5865973" y="2985785"/>
                  <a:pt x="5865973" y="2997617"/>
                </a:cubicBezTo>
                <a:cubicBezTo>
                  <a:pt x="5865973" y="3009446"/>
                  <a:pt x="5856382" y="3019036"/>
                  <a:pt x="5844550" y="3019036"/>
                </a:cubicBezTo>
                <a:cubicBezTo>
                  <a:pt x="5832718" y="3019036"/>
                  <a:pt x="5823127" y="3009446"/>
                  <a:pt x="5823127" y="2997617"/>
                </a:cubicBezTo>
                <a:cubicBezTo>
                  <a:pt x="5823127" y="2985785"/>
                  <a:pt x="5832718" y="2976195"/>
                  <a:pt x="5844550" y="2976195"/>
                </a:cubicBezTo>
                <a:close/>
                <a:moveTo>
                  <a:pt x="5998139" y="2974742"/>
                </a:moveTo>
                <a:cubicBezTo>
                  <a:pt x="6010772" y="2974742"/>
                  <a:pt x="6021010" y="2984985"/>
                  <a:pt x="6021010" y="2997617"/>
                </a:cubicBezTo>
                <a:cubicBezTo>
                  <a:pt x="6021010" y="3010250"/>
                  <a:pt x="6010772" y="3020489"/>
                  <a:pt x="5998139" y="3020489"/>
                </a:cubicBezTo>
                <a:cubicBezTo>
                  <a:pt x="5985502" y="3020489"/>
                  <a:pt x="5975264" y="3010250"/>
                  <a:pt x="5975264" y="2997617"/>
                </a:cubicBezTo>
                <a:cubicBezTo>
                  <a:pt x="5975264" y="2984985"/>
                  <a:pt x="5985502" y="2974742"/>
                  <a:pt x="5998139" y="2974742"/>
                </a:cubicBezTo>
                <a:close/>
                <a:moveTo>
                  <a:pt x="6152083" y="2972562"/>
                </a:moveTo>
                <a:cubicBezTo>
                  <a:pt x="6165920" y="2972562"/>
                  <a:pt x="6177134" y="2983776"/>
                  <a:pt x="6177134" y="2997613"/>
                </a:cubicBezTo>
                <a:cubicBezTo>
                  <a:pt x="6177134" y="3011451"/>
                  <a:pt x="6165920" y="3022669"/>
                  <a:pt x="6152083" y="3022669"/>
                </a:cubicBezTo>
                <a:cubicBezTo>
                  <a:pt x="6138246" y="3022669"/>
                  <a:pt x="6127031" y="3011451"/>
                  <a:pt x="6127031" y="2997613"/>
                </a:cubicBezTo>
                <a:cubicBezTo>
                  <a:pt x="6127031" y="2983780"/>
                  <a:pt x="6138246" y="2972562"/>
                  <a:pt x="6152083" y="2972562"/>
                </a:cubicBezTo>
                <a:close/>
                <a:moveTo>
                  <a:pt x="6305672" y="2970385"/>
                </a:moveTo>
                <a:cubicBezTo>
                  <a:pt x="6320710" y="2970385"/>
                  <a:pt x="6332904" y="2982576"/>
                  <a:pt x="6332904" y="2997617"/>
                </a:cubicBezTo>
                <a:cubicBezTo>
                  <a:pt x="6332904" y="3012655"/>
                  <a:pt x="6320710" y="3024846"/>
                  <a:pt x="6305672" y="3024846"/>
                </a:cubicBezTo>
                <a:cubicBezTo>
                  <a:pt x="6290634" y="3024846"/>
                  <a:pt x="6278440" y="3012655"/>
                  <a:pt x="6278440" y="2997617"/>
                </a:cubicBezTo>
                <a:cubicBezTo>
                  <a:pt x="6278440" y="2982576"/>
                  <a:pt x="6290634" y="2970385"/>
                  <a:pt x="6305672" y="2970385"/>
                </a:cubicBezTo>
                <a:close/>
                <a:moveTo>
                  <a:pt x="6459619" y="2967843"/>
                </a:moveTo>
                <a:cubicBezTo>
                  <a:pt x="6476060" y="2967843"/>
                  <a:pt x="6489390" y="2981173"/>
                  <a:pt x="6489390" y="2997613"/>
                </a:cubicBezTo>
                <a:cubicBezTo>
                  <a:pt x="6489390" y="3014058"/>
                  <a:pt x="6476060" y="3027388"/>
                  <a:pt x="6459619" y="3027388"/>
                </a:cubicBezTo>
                <a:cubicBezTo>
                  <a:pt x="6443174" y="3027388"/>
                  <a:pt x="6429844" y="3014058"/>
                  <a:pt x="6429844" y="2997613"/>
                </a:cubicBezTo>
                <a:cubicBezTo>
                  <a:pt x="6429844" y="2981173"/>
                  <a:pt x="6443174" y="2967843"/>
                  <a:pt x="6459619" y="2967843"/>
                </a:cubicBezTo>
                <a:close/>
                <a:moveTo>
                  <a:pt x="6613200" y="2965666"/>
                </a:moveTo>
                <a:cubicBezTo>
                  <a:pt x="6630846" y="2965666"/>
                  <a:pt x="6645152" y="2979972"/>
                  <a:pt x="6645152" y="2997617"/>
                </a:cubicBezTo>
                <a:cubicBezTo>
                  <a:pt x="6645152" y="3015263"/>
                  <a:pt x="6630846" y="3029569"/>
                  <a:pt x="6613200" y="3029569"/>
                </a:cubicBezTo>
                <a:cubicBezTo>
                  <a:pt x="6595556" y="3029569"/>
                  <a:pt x="6581250" y="3015263"/>
                  <a:pt x="6581250" y="2997617"/>
                </a:cubicBezTo>
                <a:cubicBezTo>
                  <a:pt x="6581250" y="2979972"/>
                  <a:pt x="6595556" y="2965666"/>
                  <a:pt x="6613200" y="2965666"/>
                </a:cubicBezTo>
                <a:close/>
                <a:moveTo>
                  <a:pt x="3537882" y="2843666"/>
                </a:moveTo>
                <a:cubicBezTo>
                  <a:pt x="3538244" y="2843666"/>
                  <a:pt x="3538244" y="2843666"/>
                  <a:pt x="3538244" y="2844028"/>
                </a:cubicBezTo>
                <a:cubicBezTo>
                  <a:pt x="3538244" y="2844390"/>
                  <a:pt x="3537882" y="2844390"/>
                  <a:pt x="3537882" y="2844390"/>
                </a:cubicBezTo>
                <a:cubicBezTo>
                  <a:pt x="3537520" y="2844390"/>
                  <a:pt x="3537520" y="2844390"/>
                  <a:pt x="3537520" y="2844028"/>
                </a:cubicBezTo>
                <a:cubicBezTo>
                  <a:pt x="3537520" y="2843666"/>
                  <a:pt x="3537520" y="2843666"/>
                  <a:pt x="3537882" y="2843666"/>
                </a:cubicBezTo>
                <a:close/>
                <a:moveTo>
                  <a:pt x="3076406" y="2843666"/>
                </a:moveTo>
                <a:cubicBezTo>
                  <a:pt x="3076768" y="2843666"/>
                  <a:pt x="3076768" y="2843666"/>
                  <a:pt x="3076768" y="2844028"/>
                </a:cubicBezTo>
                <a:cubicBezTo>
                  <a:pt x="3076768" y="2844390"/>
                  <a:pt x="3076406" y="2844390"/>
                  <a:pt x="3076406" y="2844390"/>
                </a:cubicBezTo>
                <a:cubicBezTo>
                  <a:pt x="3076043" y="2844390"/>
                  <a:pt x="3076043" y="2844390"/>
                  <a:pt x="3076043" y="2844028"/>
                </a:cubicBezTo>
                <a:cubicBezTo>
                  <a:pt x="3076043" y="2843666"/>
                  <a:pt x="3076043" y="2843666"/>
                  <a:pt x="3076406" y="2843666"/>
                </a:cubicBezTo>
                <a:close/>
                <a:moveTo>
                  <a:pt x="2922458" y="2843666"/>
                </a:moveTo>
                <a:cubicBezTo>
                  <a:pt x="2922820" y="2843666"/>
                  <a:pt x="2922820" y="2843666"/>
                  <a:pt x="2922820" y="2844028"/>
                </a:cubicBezTo>
                <a:cubicBezTo>
                  <a:pt x="2922820" y="2844390"/>
                  <a:pt x="2922458" y="2844390"/>
                  <a:pt x="2922458" y="2844390"/>
                </a:cubicBezTo>
                <a:cubicBezTo>
                  <a:pt x="2922096" y="2844390"/>
                  <a:pt x="2922096" y="2844390"/>
                  <a:pt x="2922096" y="2844028"/>
                </a:cubicBezTo>
                <a:cubicBezTo>
                  <a:pt x="2922096" y="2843666"/>
                  <a:pt x="2922096" y="2843666"/>
                  <a:pt x="2922458" y="2843666"/>
                </a:cubicBezTo>
                <a:close/>
                <a:moveTo>
                  <a:pt x="2768877" y="2843304"/>
                </a:moveTo>
                <a:cubicBezTo>
                  <a:pt x="2769277" y="2843304"/>
                  <a:pt x="2769601" y="2843628"/>
                  <a:pt x="2769601" y="2844032"/>
                </a:cubicBezTo>
                <a:cubicBezTo>
                  <a:pt x="2769601" y="2844432"/>
                  <a:pt x="2769277" y="2844756"/>
                  <a:pt x="2768877" y="2844756"/>
                </a:cubicBezTo>
                <a:cubicBezTo>
                  <a:pt x="2768473" y="2844756"/>
                  <a:pt x="2768149" y="2844432"/>
                  <a:pt x="2768149" y="2844032"/>
                </a:cubicBezTo>
                <a:cubicBezTo>
                  <a:pt x="2768149" y="2843628"/>
                  <a:pt x="2768473" y="2843304"/>
                  <a:pt x="2768877" y="2843304"/>
                </a:cubicBezTo>
                <a:close/>
                <a:moveTo>
                  <a:pt x="3691467" y="2842580"/>
                </a:moveTo>
                <a:cubicBezTo>
                  <a:pt x="3692268" y="2842580"/>
                  <a:pt x="3692919" y="2843232"/>
                  <a:pt x="3692919" y="2844032"/>
                </a:cubicBezTo>
                <a:cubicBezTo>
                  <a:pt x="3692919" y="2844833"/>
                  <a:pt x="3692268" y="2845485"/>
                  <a:pt x="3691467" y="2845485"/>
                </a:cubicBezTo>
                <a:cubicBezTo>
                  <a:pt x="3690663" y="2845485"/>
                  <a:pt x="3690014" y="2844833"/>
                  <a:pt x="3690014" y="2844032"/>
                </a:cubicBezTo>
                <a:cubicBezTo>
                  <a:pt x="3690014" y="2843232"/>
                  <a:pt x="3690663" y="2842580"/>
                  <a:pt x="3691467" y="2842580"/>
                </a:cubicBezTo>
                <a:close/>
                <a:moveTo>
                  <a:pt x="3845418" y="2841852"/>
                </a:moveTo>
                <a:cubicBezTo>
                  <a:pt x="3846619" y="2841852"/>
                  <a:pt x="3847595" y="2842828"/>
                  <a:pt x="3847595" y="2844032"/>
                </a:cubicBezTo>
                <a:cubicBezTo>
                  <a:pt x="3847595" y="2845233"/>
                  <a:pt x="3846619" y="2846209"/>
                  <a:pt x="3845418" y="2846209"/>
                </a:cubicBezTo>
                <a:cubicBezTo>
                  <a:pt x="3844214" y="2846209"/>
                  <a:pt x="3843238" y="2845233"/>
                  <a:pt x="3843238" y="2844032"/>
                </a:cubicBezTo>
                <a:cubicBezTo>
                  <a:pt x="3843238" y="2842828"/>
                  <a:pt x="3844214" y="2841852"/>
                  <a:pt x="3845418" y="2841852"/>
                </a:cubicBezTo>
                <a:close/>
                <a:moveTo>
                  <a:pt x="3999000" y="2840761"/>
                </a:moveTo>
                <a:cubicBezTo>
                  <a:pt x="4000818" y="2840761"/>
                  <a:pt x="4002270" y="2842214"/>
                  <a:pt x="4002270" y="2844028"/>
                </a:cubicBezTo>
                <a:cubicBezTo>
                  <a:pt x="4002270" y="2845843"/>
                  <a:pt x="4000818" y="2847299"/>
                  <a:pt x="3999000" y="2847299"/>
                </a:cubicBezTo>
                <a:cubicBezTo>
                  <a:pt x="3997185" y="2847299"/>
                  <a:pt x="3995733" y="2845843"/>
                  <a:pt x="3995733" y="2844028"/>
                </a:cubicBezTo>
                <a:cubicBezTo>
                  <a:pt x="3995733" y="2842214"/>
                  <a:pt x="3997185" y="2840761"/>
                  <a:pt x="3999000" y="2840761"/>
                </a:cubicBezTo>
                <a:close/>
                <a:moveTo>
                  <a:pt x="4152947" y="2839309"/>
                </a:moveTo>
                <a:cubicBezTo>
                  <a:pt x="4155486" y="2839309"/>
                  <a:pt x="4157304" y="2841124"/>
                  <a:pt x="4157304" y="2843666"/>
                </a:cubicBezTo>
                <a:cubicBezTo>
                  <a:pt x="4157304" y="2846209"/>
                  <a:pt x="4155124" y="2848023"/>
                  <a:pt x="4152947" y="2848023"/>
                </a:cubicBezTo>
                <a:cubicBezTo>
                  <a:pt x="4150404" y="2848023"/>
                  <a:pt x="4148590" y="2846209"/>
                  <a:pt x="4148590" y="2843666"/>
                </a:cubicBezTo>
                <a:cubicBezTo>
                  <a:pt x="4148590" y="2841124"/>
                  <a:pt x="4150404" y="2839309"/>
                  <a:pt x="4152947" y="2839309"/>
                </a:cubicBezTo>
                <a:close/>
                <a:moveTo>
                  <a:pt x="4306532" y="2838223"/>
                </a:moveTo>
                <a:cubicBezTo>
                  <a:pt x="4309742" y="2838223"/>
                  <a:pt x="4312342" y="2840823"/>
                  <a:pt x="4312342" y="2844032"/>
                </a:cubicBezTo>
                <a:cubicBezTo>
                  <a:pt x="4312342" y="2847242"/>
                  <a:pt x="4309742" y="2849841"/>
                  <a:pt x="4306532" y="2849841"/>
                </a:cubicBezTo>
                <a:cubicBezTo>
                  <a:pt x="4303322" y="2849841"/>
                  <a:pt x="4300723" y="2847242"/>
                  <a:pt x="4300723" y="2844032"/>
                </a:cubicBezTo>
                <a:cubicBezTo>
                  <a:pt x="4300723" y="2840823"/>
                  <a:pt x="4303322" y="2838223"/>
                  <a:pt x="4306532" y="2838223"/>
                </a:cubicBezTo>
                <a:close/>
                <a:moveTo>
                  <a:pt x="4460480" y="2836770"/>
                </a:moveTo>
                <a:cubicBezTo>
                  <a:pt x="4464474" y="2836770"/>
                  <a:pt x="4467742" y="2840037"/>
                  <a:pt x="4467742" y="2844032"/>
                </a:cubicBezTo>
                <a:cubicBezTo>
                  <a:pt x="4467742" y="2848027"/>
                  <a:pt x="4464474" y="2851294"/>
                  <a:pt x="4460480" y="2851294"/>
                </a:cubicBezTo>
                <a:cubicBezTo>
                  <a:pt x="4456485" y="2851294"/>
                  <a:pt x="4453218" y="2848027"/>
                  <a:pt x="4453218" y="2844032"/>
                </a:cubicBezTo>
                <a:cubicBezTo>
                  <a:pt x="4453218" y="2840037"/>
                  <a:pt x="4456485" y="2836770"/>
                  <a:pt x="4460480" y="2836770"/>
                </a:cubicBezTo>
                <a:close/>
                <a:moveTo>
                  <a:pt x="4614061" y="2834590"/>
                </a:moveTo>
                <a:cubicBezTo>
                  <a:pt x="4619146" y="2834590"/>
                  <a:pt x="4623141" y="2838585"/>
                  <a:pt x="4623141" y="2843666"/>
                </a:cubicBezTo>
                <a:cubicBezTo>
                  <a:pt x="4623141" y="2848751"/>
                  <a:pt x="4619146" y="2852746"/>
                  <a:pt x="4614061" y="2852746"/>
                </a:cubicBezTo>
                <a:cubicBezTo>
                  <a:pt x="4608980" y="2852746"/>
                  <a:pt x="4604985" y="2848751"/>
                  <a:pt x="4604985" y="2843666"/>
                </a:cubicBezTo>
                <a:cubicBezTo>
                  <a:pt x="4604985" y="2838585"/>
                  <a:pt x="4608980" y="2834590"/>
                  <a:pt x="4614061" y="2834590"/>
                </a:cubicBezTo>
                <a:close/>
                <a:moveTo>
                  <a:pt x="4768012" y="2833866"/>
                </a:moveTo>
                <a:cubicBezTo>
                  <a:pt x="4773460" y="2833866"/>
                  <a:pt x="4778178" y="2838585"/>
                  <a:pt x="4778178" y="2844032"/>
                </a:cubicBezTo>
                <a:cubicBezTo>
                  <a:pt x="4778178" y="2849479"/>
                  <a:pt x="4773822" y="2854198"/>
                  <a:pt x="4768012" y="2854198"/>
                </a:cubicBezTo>
                <a:cubicBezTo>
                  <a:pt x="4762565" y="2854198"/>
                  <a:pt x="4757846" y="2849479"/>
                  <a:pt x="4757846" y="2844032"/>
                </a:cubicBezTo>
                <a:cubicBezTo>
                  <a:pt x="4757846" y="2838585"/>
                  <a:pt x="4762565" y="2833866"/>
                  <a:pt x="4768012" y="2833866"/>
                </a:cubicBezTo>
                <a:close/>
                <a:moveTo>
                  <a:pt x="4921594" y="2831685"/>
                </a:moveTo>
                <a:cubicBezTo>
                  <a:pt x="4928131" y="2831685"/>
                  <a:pt x="4933578" y="2837132"/>
                  <a:pt x="4933578" y="2843666"/>
                </a:cubicBezTo>
                <a:cubicBezTo>
                  <a:pt x="4933578" y="2850203"/>
                  <a:pt x="4928131" y="2855651"/>
                  <a:pt x="4921594" y="2855651"/>
                </a:cubicBezTo>
                <a:cubicBezTo>
                  <a:pt x="4915060" y="2855651"/>
                  <a:pt x="4909613" y="2850203"/>
                  <a:pt x="4909613" y="2843666"/>
                </a:cubicBezTo>
                <a:cubicBezTo>
                  <a:pt x="4909613" y="2837132"/>
                  <a:pt x="4915060" y="2831685"/>
                  <a:pt x="4921594" y="2831685"/>
                </a:cubicBezTo>
                <a:close/>
                <a:moveTo>
                  <a:pt x="5075545" y="2829871"/>
                </a:moveTo>
                <a:cubicBezTo>
                  <a:pt x="5083169" y="2829871"/>
                  <a:pt x="5089340" y="2836042"/>
                  <a:pt x="5089340" y="2843666"/>
                </a:cubicBezTo>
                <a:cubicBezTo>
                  <a:pt x="5089340" y="2851294"/>
                  <a:pt x="5083169" y="2857465"/>
                  <a:pt x="5075545" y="2857465"/>
                </a:cubicBezTo>
                <a:cubicBezTo>
                  <a:pt x="5067918" y="2857465"/>
                  <a:pt x="5061746" y="2851294"/>
                  <a:pt x="5061746" y="2843666"/>
                </a:cubicBezTo>
                <a:cubicBezTo>
                  <a:pt x="5061746" y="2836042"/>
                  <a:pt x="5067918" y="2829871"/>
                  <a:pt x="5075545" y="2829871"/>
                </a:cubicBezTo>
                <a:close/>
                <a:moveTo>
                  <a:pt x="5229126" y="2828781"/>
                </a:moveTo>
                <a:cubicBezTo>
                  <a:pt x="5237551" y="2828781"/>
                  <a:pt x="5244378" y="2835608"/>
                  <a:pt x="5244378" y="2844032"/>
                </a:cubicBezTo>
                <a:cubicBezTo>
                  <a:pt x="5244378" y="2852453"/>
                  <a:pt x="5237551" y="2859280"/>
                  <a:pt x="5229126" y="2859280"/>
                </a:cubicBezTo>
                <a:cubicBezTo>
                  <a:pt x="5220706" y="2859280"/>
                  <a:pt x="5213879" y="2852453"/>
                  <a:pt x="5213879" y="2844032"/>
                </a:cubicBezTo>
                <a:cubicBezTo>
                  <a:pt x="5213879" y="2835608"/>
                  <a:pt x="5220706" y="2828781"/>
                  <a:pt x="5229126" y="2828781"/>
                </a:cubicBezTo>
                <a:close/>
                <a:moveTo>
                  <a:pt x="5383074" y="2826966"/>
                </a:moveTo>
                <a:cubicBezTo>
                  <a:pt x="5392512" y="2826966"/>
                  <a:pt x="5400140" y="2834590"/>
                  <a:pt x="5400140" y="2844032"/>
                </a:cubicBezTo>
                <a:cubicBezTo>
                  <a:pt x="5400140" y="2853471"/>
                  <a:pt x="5392512" y="2861098"/>
                  <a:pt x="5383074" y="2861098"/>
                </a:cubicBezTo>
                <a:cubicBezTo>
                  <a:pt x="5373632" y="2861098"/>
                  <a:pt x="5366008" y="2853471"/>
                  <a:pt x="5366008" y="2844032"/>
                </a:cubicBezTo>
                <a:cubicBezTo>
                  <a:pt x="5366008" y="2834590"/>
                  <a:pt x="5373632" y="2826966"/>
                  <a:pt x="5383074" y="2826966"/>
                </a:cubicBezTo>
                <a:close/>
                <a:moveTo>
                  <a:pt x="5536659" y="2824790"/>
                </a:moveTo>
                <a:cubicBezTo>
                  <a:pt x="5547286" y="2824790"/>
                  <a:pt x="5555902" y="2833404"/>
                  <a:pt x="5555902" y="2844032"/>
                </a:cubicBezTo>
                <a:cubicBezTo>
                  <a:pt x="5555902" y="2854660"/>
                  <a:pt x="5547286" y="2863279"/>
                  <a:pt x="5536659" y="2863279"/>
                </a:cubicBezTo>
                <a:cubicBezTo>
                  <a:pt x="5526032" y="2863279"/>
                  <a:pt x="5517413" y="2854660"/>
                  <a:pt x="5517413" y="2844032"/>
                </a:cubicBezTo>
                <a:cubicBezTo>
                  <a:pt x="5517413" y="2833404"/>
                  <a:pt x="5526032" y="2824790"/>
                  <a:pt x="5536659" y="2824790"/>
                </a:cubicBezTo>
                <a:close/>
                <a:moveTo>
                  <a:pt x="5690602" y="2822609"/>
                </a:moveTo>
                <a:cubicBezTo>
                  <a:pt x="5702435" y="2822609"/>
                  <a:pt x="5712026" y="2832200"/>
                  <a:pt x="5712026" y="2844032"/>
                </a:cubicBezTo>
                <a:cubicBezTo>
                  <a:pt x="5712026" y="2855864"/>
                  <a:pt x="5702435" y="2865451"/>
                  <a:pt x="5690602" y="2865451"/>
                </a:cubicBezTo>
                <a:cubicBezTo>
                  <a:pt x="5678770" y="2865451"/>
                  <a:pt x="5669180" y="2855860"/>
                  <a:pt x="5669180" y="2844032"/>
                </a:cubicBezTo>
                <a:cubicBezTo>
                  <a:pt x="5669180" y="2832200"/>
                  <a:pt x="5678770" y="2822609"/>
                  <a:pt x="5690602" y="2822609"/>
                </a:cubicBezTo>
                <a:close/>
                <a:moveTo>
                  <a:pt x="5844554" y="2821157"/>
                </a:moveTo>
                <a:cubicBezTo>
                  <a:pt x="5857186" y="2821157"/>
                  <a:pt x="5867429" y="2831399"/>
                  <a:pt x="5867429" y="2844032"/>
                </a:cubicBezTo>
                <a:cubicBezTo>
                  <a:pt x="5867429" y="2856665"/>
                  <a:pt x="5857186" y="2866903"/>
                  <a:pt x="5844554" y="2866903"/>
                </a:cubicBezTo>
                <a:cubicBezTo>
                  <a:pt x="5831918" y="2866903"/>
                  <a:pt x="5821678" y="2856665"/>
                  <a:pt x="5821678" y="2844032"/>
                </a:cubicBezTo>
                <a:cubicBezTo>
                  <a:pt x="5821678" y="2831399"/>
                  <a:pt x="5831918" y="2821157"/>
                  <a:pt x="5844554" y="2821157"/>
                </a:cubicBezTo>
                <a:close/>
                <a:moveTo>
                  <a:pt x="5998136" y="2818980"/>
                </a:moveTo>
                <a:cubicBezTo>
                  <a:pt x="6011972" y="2818980"/>
                  <a:pt x="6023187" y="2830195"/>
                  <a:pt x="6023187" y="2844032"/>
                </a:cubicBezTo>
                <a:cubicBezTo>
                  <a:pt x="6023187" y="2857869"/>
                  <a:pt x="6011972" y="2869088"/>
                  <a:pt x="5998136" y="2869088"/>
                </a:cubicBezTo>
                <a:cubicBezTo>
                  <a:pt x="5984298" y="2869088"/>
                  <a:pt x="5973084" y="2857869"/>
                  <a:pt x="5973084" y="2844032"/>
                </a:cubicBezTo>
                <a:cubicBezTo>
                  <a:pt x="5973084" y="2830199"/>
                  <a:pt x="5984298" y="2818980"/>
                  <a:pt x="5998136" y="2818980"/>
                </a:cubicBezTo>
                <a:close/>
                <a:moveTo>
                  <a:pt x="6152086" y="2816800"/>
                </a:moveTo>
                <a:cubicBezTo>
                  <a:pt x="6167124" y="2816800"/>
                  <a:pt x="6179315" y="2828990"/>
                  <a:pt x="6179315" y="2844032"/>
                </a:cubicBezTo>
                <a:cubicBezTo>
                  <a:pt x="6179315" y="2859070"/>
                  <a:pt x="6167124" y="2871264"/>
                  <a:pt x="6152086" y="2871264"/>
                </a:cubicBezTo>
                <a:cubicBezTo>
                  <a:pt x="6137045" y="2871264"/>
                  <a:pt x="6124854" y="2859070"/>
                  <a:pt x="6124854" y="2844032"/>
                </a:cubicBezTo>
                <a:cubicBezTo>
                  <a:pt x="6124854" y="2828990"/>
                  <a:pt x="6137045" y="2816800"/>
                  <a:pt x="6152086" y="2816800"/>
                </a:cubicBezTo>
                <a:close/>
                <a:moveTo>
                  <a:pt x="6305672" y="2814257"/>
                </a:moveTo>
                <a:cubicBezTo>
                  <a:pt x="6322112" y="2814257"/>
                  <a:pt x="6335443" y="2827587"/>
                  <a:pt x="6335443" y="2844032"/>
                </a:cubicBezTo>
                <a:cubicBezTo>
                  <a:pt x="6335443" y="2860473"/>
                  <a:pt x="6322112" y="2873803"/>
                  <a:pt x="6305672" y="2873803"/>
                </a:cubicBezTo>
                <a:cubicBezTo>
                  <a:pt x="6289228" y="2873803"/>
                  <a:pt x="6275897" y="2860473"/>
                  <a:pt x="6275897" y="2844032"/>
                </a:cubicBezTo>
                <a:cubicBezTo>
                  <a:pt x="6275897" y="2827587"/>
                  <a:pt x="6289228" y="2814257"/>
                  <a:pt x="6305672" y="2814257"/>
                </a:cubicBezTo>
                <a:close/>
                <a:moveTo>
                  <a:pt x="6459616" y="2812081"/>
                </a:moveTo>
                <a:cubicBezTo>
                  <a:pt x="6477260" y="2812081"/>
                  <a:pt x="6491567" y="2826387"/>
                  <a:pt x="6491567" y="2844032"/>
                </a:cubicBezTo>
                <a:cubicBezTo>
                  <a:pt x="6491567" y="2861677"/>
                  <a:pt x="6477260" y="2875983"/>
                  <a:pt x="6459616" y="2875983"/>
                </a:cubicBezTo>
                <a:cubicBezTo>
                  <a:pt x="6441970" y="2875983"/>
                  <a:pt x="6427664" y="2861677"/>
                  <a:pt x="6427664" y="2844032"/>
                </a:cubicBezTo>
                <a:cubicBezTo>
                  <a:pt x="6427664" y="2826387"/>
                  <a:pt x="6441970" y="2812081"/>
                  <a:pt x="6459616" y="2812081"/>
                </a:cubicBezTo>
                <a:close/>
                <a:moveTo>
                  <a:pt x="6613200" y="2810266"/>
                </a:moveTo>
                <a:cubicBezTo>
                  <a:pt x="6631848" y="2810266"/>
                  <a:pt x="6646966" y="2825384"/>
                  <a:pt x="6646966" y="2844032"/>
                </a:cubicBezTo>
                <a:cubicBezTo>
                  <a:pt x="6646966" y="2862684"/>
                  <a:pt x="6631848" y="2877802"/>
                  <a:pt x="6613200" y="2877802"/>
                </a:cubicBezTo>
                <a:cubicBezTo>
                  <a:pt x="6594553" y="2877802"/>
                  <a:pt x="6579435" y="2862684"/>
                  <a:pt x="6579435" y="2844032"/>
                </a:cubicBezTo>
                <a:cubicBezTo>
                  <a:pt x="6579435" y="2825384"/>
                  <a:pt x="6594553" y="2810266"/>
                  <a:pt x="6613200" y="2810266"/>
                </a:cubicBezTo>
                <a:close/>
                <a:moveTo>
                  <a:pt x="3383934" y="2689722"/>
                </a:moveTo>
                <a:cubicBezTo>
                  <a:pt x="3384296" y="2689722"/>
                  <a:pt x="3384296" y="2689722"/>
                  <a:pt x="3384296" y="2690085"/>
                </a:cubicBezTo>
                <a:cubicBezTo>
                  <a:pt x="3384296" y="2690447"/>
                  <a:pt x="3383934" y="2690447"/>
                  <a:pt x="3383934" y="2690447"/>
                </a:cubicBezTo>
                <a:cubicBezTo>
                  <a:pt x="3383572" y="2690447"/>
                  <a:pt x="3383572" y="2690447"/>
                  <a:pt x="3383572" y="2690085"/>
                </a:cubicBezTo>
                <a:cubicBezTo>
                  <a:pt x="3383572" y="2689722"/>
                  <a:pt x="3383572" y="2689722"/>
                  <a:pt x="3383934" y="2689722"/>
                </a:cubicBezTo>
                <a:close/>
                <a:moveTo>
                  <a:pt x="2922458" y="2689722"/>
                </a:moveTo>
                <a:cubicBezTo>
                  <a:pt x="2922820" y="2689722"/>
                  <a:pt x="2922820" y="2689722"/>
                  <a:pt x="2922820" y="2690085"/>
                </a:cubicBezTo>
                <a:cubicBezTo>
                  <a:pt x="2922820" y="2690447"/>
                  <a:pt x="2922458" y="2690447"/>
                  <a:pt x="2922458" y="2690447"/>
                </a:cubicBezTo>
                <a:cubicBezTo>
                  <a:pt x="2922096" y="2690447"/>
                  <a:pt x="2922096" y="2690447"/>
                  <a:pt x="2922096" y="2690085"/>
                </a:cubicBezTo>
                <a:cubicBezTo>
                  <a:pt x="2922096" y="2689722"/>
                  <a:pt x="2922096" y="2689722"/>
                  <a:pt x="2922458" y="2689722"/>
                </a:cubicBezTo>
                <a:close/>
                <a:moveTo>
                  <a:pt x="2768873" y="2689722"/>
                </a:moveTo>
                <a:cubicBezTo>
                  <a:pt x="2769235" y="2689722"/>
                  <a:pt x="2769235" y="2689722"/>
                  <a:pt x="2769235" y="2690085"/>
                </a:cubicBezTo>
                <a:cubicBezTo>
                  <a:pt x="2769235" y="2690447"/>
                  <a:pt x="2768873" y="2690447"/>
                  <a:pt x="2768873" y="2690447"/>
                </a:cubicBezTo>
                <a:cubicBezTo>
                  <a:pt x="2768511" y="2690447"/>
                  <a:pt x="2768511" y="2690447"/>
                  <a:pt x="2768511" y="2690085"/>
                </a:cubicBezTo>
                <a:cubicBezTo>
                  <a:pt x="2768511" y="2689722"/>
                  <a:pt x="2768511" y="2689722"/>
                  <a:pt x="2768873" y="2689722"/>
                </a:cubicBezTo>
                <a:close/>
                <a:moveTo>
                  <a:pt x="2614925" y="2689357"/>
                </a:moveTo>
                <a:cubicBezTo>
                  <a:pt x="2615291" y="2689357"/>
                  <a:pt x="2615654" y="2689719"/>
                  <a:pt x="2615654" y="2690081"/>
                </a:cubicBezTo>
                <a:cubicBezTo>
                  <a:pt x="2615654" y="2690447"/>
                  <a:pt x="2614925" y="2690809"/>
                  <a:pt x="2614925" y="2690809"/>
                </a:cubicBezTo>
                <a:cubicBezTo>
                  <a:pt x="2614563" y="2690809"/>
                  <a:pt x="2614201" y="2690447"/>
                  <a:pt x="2614201" y="2690081"/>
                </a:cubicBezTo>
                <a:cubicBezTo>
                  <a:pt x="2614201" y="2689719"/>
                  <a:pt x="2614563" y="2689357"/>
                  <a:pt x="2614925" y="2689357"/>
                </a:cubicBezTo>
                <a:close/>
                <a:moveTo>
                  <a:pt x="3537886" y="2688633"/>
                </a:moveTo>
                <a:cubicBezTo>
                  <a:pt x="3538690" y="2688633"/>
                  <a:pt x="3539338" y="2689284"/>
                  <a:pt x="3539338" y="2690085"/>
                </a:cubicBezTo>
                <a:cubicBezTo>
                  <a:pt x="3539338" y="2690885"/>
                  <a:pt x="3538690" y="2691537"/>
                  <a:pt x="3537886" y="2691537"/>
                </a:cubicBezTo>
                <a:cubicBezTo>
                  <a:pt x="3537085" y="2691537"/>
                  <a:pt x="3536433" y="2690885"/>
                  <a:pt x="3536433" y="2690085"/>
                </a:cubicBezTo>
                <a:cubicBezTo>
                  <a:pt x="3536433" y="2689284"/>
                  <a:pt x="3537085" y="2688633"/>
                  <a:pt x="3537886" y="2688633"/>
                </a:cubicBezTo>
                <a:close/>
                <a:moveTo>
                  <a:pt x="3691471" y="2687904"/>
                </a:moveTo>
                <a:cubicBezTo>
                  <a:pt x="3692672" y="2687904"/>
                  <a:pt x="3693647" y="2688880"/>
                  <a:pt x="3693647" y="2690081"/>
                </a:cubicBezTo>
                <a:cubicBezTo>
                  <a:pt x="3693647" y="2691286"/>
                  <a:pt x="3692672" y="2692261"/>
                  <a:pt x="3691471" y="2692261"/>
                </a:cubicBezTo>
                <a:cubicBezTo>
                  <a:pt x="3690266" y="2692261"/>
                  <a:pt x="3689290" y="2691286"/>
                  <a:pt x="3689290" y="2690081"/>
                </a:cubicBezTo>
                <a:cubicBezTo>
                  <a:pt x="3689290" y="2688880"/>
                  <a:pt x="3690266" y="2687904"/>
                  <a:pt x="3691471" y="2687904"/>
                </a:cubicBezTo>
                <a:close/>
                <a:moveTo>
                  <a:pt x="3845414" y="2686818"/>
                </a:moveTo>
                <a:cubicBezTo>
                  <a:pt x="3847229" y="2686818"/>
                  <a:pt x="3848681" y="2688270"/>
                  <a:pt x="3848681" y="2690085"/>
                </a:cubicBezTo>
                <a:cubicBezTo>
                  <a:pt x="3848681" y="2691899"/>
                  <a:pt x="3847229" y="2693355"/>
                  <a:pt x="3845414" y="2693355"/>
                </a:cubicBezTo>
                <a:cubicBezTo>
                  <a:pt x="3843600" y="2693355"/>
                  <a:pt x="3842148" y="2691899"/>
                  <a:pt x="3842148" y="2690085"/>
                </a:cubicBezTo>
                <a:cubicBezTo>
                  <a:pt x="3842148" y="2688270"/>
                  <a:pt x="3843600" y="2686818"/>
                  <a:pt x="3845414" y="2686818"/>
                </a:cubicBezTo>
                <a:close/>
                <a:moveTo>
                  <a:pt x="3999000" y="2685728"/>
                </a:moveTo>
                <a:cubicBezTo>
                  <a:pt x="4001542" y="2685728"/>
                  <a:pt x="4003356" y="2687542"/>
                  <a:pt x="4003356" y="2690085"/>
                </a:cubicBezTo>
                <a:cubicBezTo>
                  <a:pt x="4003356" y="2692627"/>
                  <a:pt x="4001176" y="2694442"/>
                  <a:pt x="3999000" y="2694442"/>
                </a:cubicBezTo>
                <a:cubicBezTo>
                  <a:pt x="3996457" y="2694442"/>
                  <a:pt x="3994642" y="2692627"/>
                  <a:pt x="3994642" y="2690085"/>
                </a:cubicBezTo>
                <a:cubicBezTo>
                  <a:pt x="3994642" y="2687542"/>
                  <a:pt x="3996457" y="2685728"/>
                  <a:pt x="3999000" y="2685728"/>
                </a:cubicBezTo>
                <a:close/>
                <a:moveTo>
                  <a:pt x="4152947" y="2684275"/>
                </a:moveTo>
                <a:cubicBezTo>
                  <a:pt x="4156156" y="2684275"/>
                  <a:pt x="4158756" y="2686875"/>
                  <a:pt x="4158756" y="2690085"/>
                </a:cubicBezTo>
                <a:cubicBezTo>
                  <a:pt x="4158756" y="2693294"/>
                  <a:pt x="4156156" y="2695894"/>
                  <a:pt x="4152947" y="2695894"/>
                </a:cubicBezTo>
                <a:cubicBezTo>
                  <a:pt x="4149738" y="2695894"/>
                  <a:pt x="4147138" y="2693294"/>
                  <a:pt x="4147138" y="2690085"/>
                </a:cubicBezTo>
                <a:cubicBezTo>
                  <a:pt x="4147138" y="2686875"/>
                  <a:pt x="4149738" y="2684275"/>
                  <a:pt x="4152947" y="2684275"/>
                </a:cubicBezTo>
                <a:close/>
                <a:moveTo>
                  <a:pt x="4306532" y="2682823"/>
                </a:moveTo>
                <a:cubicBezTo>
                  <a:pt x="4310527" y="2682823"/>
                  <a:pt x="4313794" y="2686090"/>
                  <a:pt x="4313794" y="2690085"/>
                </a:cubicBezTo>
                <a:cubicBezTo>
                  <a:pt x="4313794" y="2694079"/>
                  <a:pt x="4310527" y="2697346"/>
                  <a:pt x="4306532" y="2697346"/>
                </a:cubicBezTo>
                <a:cubicBezTo>
                  <a:pt x="4302538" y="2697346"/>
                  <a:pt x="4299270" y="2694079"/>
                  <a:pt x="4299270" y="2690085"/>
                </a:cubicBezTo>
                <a:cubicBezTo>
                  <a:pt x="4299270" y="2686090"/>
                  <a:pt x="4302538" y="2682823"/>
                  <a:pt x="4306532" y="2682823"/>
                </a:cubicBezTo>
                <a:close/>
                <a:moveTo>
                  <a:pt x="4460480" y="2681005"/>
                </a:moveTo>
                <a:cubicBezTo>
                  <a:pt x="4465564" y="2681005"/>
                  <a:pt x="4469560" y="2685000"/>
                  <a:pt x="4469560" y="2690081"/>
                </a:cubicBezTo>
                <a:cubicBezTo>
                  <a:pt x="4469560" y="2695166"/>
                  <a:pt x="4465564" y="2699161"/>
                  <a:pt x="4460480" y="2699161"/>
                </a:cubicBezTo>
                <a:cubicBezTo>
                  <a:pt x="4455398" y="2699161"/>
                  <a:pt x="4451404" y="2695166"/>
                  <a:pt x="4451404" y="2690081"/>
                </a:cubicBezTo>
                <a:cubicBezTo>
                  <a:pt x="4451404" y="2685000"/>
                  <a:pt x="4455398" y="2681005"/>
                  <a:pt x="4460480" y="2681005"/>
                </a:cubicBezTo>
                <a:close/>
                <a:moveTo>
                  <a:pt x="4614061" y="2679918"/>
                </a:moveTo>
                <a:cubicBezTo>
                  <a:pt x="4619508" y="2679918"/>
                  <a:pt x="4624228" y="2684638"/>
                  <a:pt x="4624228" y="2690085"/>
                </a:cubicBezTo>
                <a:cubicBezTo>
                  <a:pt x="4624228" y="2695532"/>
                  <a:pt x="4619870" y="2700251"/>
                  <a:pt x="4614061" y="2700251"/>
                </a:cubicBezTo>
                <a:cubicBezTo>
                  <a:pt x="4608614" y="2700251"/>
                  <a:pt x="4603895" y="2695532"/>
                  <a:pt x="4603895" y="2690085"/>
                </a:cubicBezTo>
                <a:cubicBezTo>
                  <a:pt x="4603895" y="2684638"/>
                  <a:pt x="4608614" y="2679918"/>
                  <a:pt x="4614061" y="2679918"/>
                </a:cubicBezTo>
                <a:close/>
                <a:moveTo>
                  <a:pt x="4768008" y="2678104"/>
                </a:moveTo>
                <a:cubicBezTo>
                  <a:pt x="4774546" y="2678104"/>
                  <a:pt x="4779993" y="2683551"/>
                  <a:pt x="4779993" y="2690085"/>
                </a:cubicBezTo>
                <a:cubicBezTo>
                  <a:pt x="4779993" y="2696622"/>
                  <a:pt x="4774546" y="2702065"/>
                  <a:pt x="4768008" y="2702065"/>
                </a:cubicBezTo>
                <a:cubicBezTo>
                  <a:pt x="4761475" y="2702065"/>
                  <a:pt x="4756028" y="2696622"/>
                  <a:pt x="4756028" y="2690085"/>
                </a:cubicBezTo>
                <a:cubicBezTo>
                  <a:pt x="4756028" y="2683551"/>
                  <a:pt x="4761475" y="2678104"/>
                  <a:pt x="4768008" y="2678104"/>
                </a:cubicBezTo>
                <a:close/>
                <a:moveTo>
                  <a:pt x="4921598" y="2676286"/>
                </a:moveTo>
                <a:cubicBezTo>
                  <a:pt x="4929222" y="2676286"/>
                  <a:pt x="4935393" y="2682457"/>
                  <a:pt x="4935393" y="2690081"/>
                </a:cubicBezTo>
                <a:cubicBezTo>
                  <a:pt x="4935393" y="2697709"/>
                  <a:pt x="4929222" y="2703880"/>
                  <a:pt x="4921598" y="2703880"/>
                </a:cubicBezTo>
                <a:cubicBezTo>
                  <a:pt x="4913970" y="2703880"/>
                  <a:pt x="4907798" y="2697709"/>
                  <a:pt x="4907798" y="2690081"/>
                </a:cubicBezTo>
                <a:cubicBezTo>
                  <a:pt x="4907798" y="2682457"/>
                  <a:pt x="4913970" y="2676286"/>
                  <a:pt x="4921598" y="2676286"/>
                </a:cubicBezTo>
                <a:close/>
                <a:moveTo>
                  <a:pt x="5075545" y="2674833"/>
                </a:moveTo>
                <a:cubicBezTo>
                  <a:pt x="5083893" y="2674833"/>
                  <a:pt x="5090792" y="2681733"/>
                  <a:pt x="5090792" y="2690081"/>
                </a:cubicBezTo>
                <a:cubicBezTo>
                  <a:pt x="5090792" y="2698433"/>
                  <a:pt x="5083893" y="2705332"/>
                  <a:pt x="5075545" y="2705332"/>
                </a:cubicBezTo>
                <a:cubicBezTo>
                  <a:pt x="5067193" y="2705332"/>
                  <a:pt x="5060294" y="2698433"/>
                  <a:pt x="5060294" y="2690081"/>
                </a:cubicBezTo>
                <a:cubicBezTo>
                  <a:pt x="5060294" y="2681733"/>
                  <a:pt x="5067193" y="2674833"/>
                  <a:pt x="5075545" y="2674833"/>
                </a:cubicBezTo>
                <a:close/>
                <a:moveTo>
                  <a:pt x="5229126" y="2673019"/>
                </a:moveTo>
                <a:cubicBezTo>
                  <a:pt x="5238564" y="2673019"/>
                  <a:pt x="5246192" y="2680643"/>
                  <a:pt x="5246192" y="2690085"/>
                </a:cubicBezTo>
                <a:cubicBezTo>
                  <a:pt x="5246192" y="2699523"/>
                  <a:pt x="5238564" y="2707147"/>
                  <a:pt x="5229126" y="2707147"/>
                </a:cubicBezTo>
                <a:cubicBezTo>
                  <a:pt x="5219684" y="2707147"/>
                  <a:pt x="5212060" y="2699523"/>
                  <a:pt x="5212060" y="2690085"/>
                </a:cubicBezTo>
                <a:cubicBezTo>
                  <a:pt x="5212060" y="2680643"/>
                  <a:pt x="5219684" y="2673019"/>
                  <a:pt x="5229126" y="2673019"/>
                </a:cubicBezTo>
                <a:close/>
                <a:moveTo>
                  <a:pt x="5383074" y="2670842"/>
                </a:moveTo>
                <a:cubicBezTo>
                  <a:pt x="5393705" y="2670842"/>
                  <a:pt x="5402320" y="2679457"/>
                  <a:pt x="5402320" y="2690085"/>
                </a:cubicBezTo>
                <a:cubicBezTo>
                  <a:pt x="5402320" y="2700712"/>
                  <a:pt x="5393705" y="2709327"/>
                  <a:pt x="5383074" y="2709327"/>
                </a:cubicBezTo>
                <a:cubicBezTo>
                  <a:pt x="5372446" y="2709327"/>
                  <a:pt x="5363832" y="2700712"/>
                  <a:pt x="5363832" y="2690085"/>
                </a:cubicBezTo>
                <a:cubicBezTo>
                  <a:pt x="5363832" y="2679457"/>
                  <a:pt x="5372446" y="2670842"/>
                  <a:pt x="5383074" y="2670842"/>
                </a:cubicBezTo>
                <a:close/>
                <a:moveTo>
                  <a:pt x="5536656" y="2668662"/>
                </a:moveTo>
                <a:cubicBezTo>
                  <a:pt x="5548488" y="2668662"/>
                  <a:pt x="5558078" y="2678252"/>
                  <a:pt x="5558078" y="2690085"/>
                </a:cubicBezTo>
                <a:cubicBezTo>
                  <a:pt x="5558078" y="2701913"/>
                  <a:pt x="5548488" y="2711504"/>
                  <a:pt x="5536656" y="2711504"/>
                </a:cubicBezTo>
                <a:cubicBezTo>
                  <a:pt x="5524827" y="2711504"/>
                  <a:pt x="5515232" y="2701913"/>
                  <a:pt x="5515232" y="2690085"/>
                </a:cubicBezTo>
                <a:cubicBezTo>
                  <a:pt x="5515232" y="2678252"/>
                  <a:pt x="5524827" y="2668662"/>
                  <a:pt x="5536656" y="2668662"/>
                </a:cubicBezTo>
                <a:close/>
                <a:moveTo>
                  <a:pt x="5690606" y="2667209"/>
                </a:moveTo>
                <a:cubicBezTo>
                  <a:pt x="5703239" y="2667209"/>
                  <a:pt x="5713482" y="2677452"/>
                  <a:pt x="5713482" y="2690085"/>
                </a:cubicBezTo>
                <a:cubicBezTo>
                  <a:pt x="5713482" y="2702717"/>
                  <a:pt x="5703239" y="2712956"/>
                  <a:pt x="5690606" y="2712956"/>
                </a:cubicBezTo>
                <a:cubicBezTo>
                  <a:pt x="5677974" y="2712956"/>
                  <a:pt x="5667732" y="2702717"/>
                  <a:pt x="5667732" y="2690085"/>
                </a:cubicBezTo>
                <a:cubicBezTo>
                  <a:pt x="5667732" y="2677452"/>
                  <a:pt x="5677974" y="2667209"/>
                  <a:pt x="5690606" y="2667209"/>
                </a:cubicBezTo>
                <a:close/>
                <a:moveTo>
                  <a:pt x="5844550" y="2665033"/>
                </a:moveTo>
                <a:cubicBezTo>
                  <a:pt x="5858388" y="2665033"/>
                  <a:pt x="5869606" y="2676247"/>
                  <a:pt x="5869606" y="2690085"/>
                </a:cubicBezTo>
                <a:cubicBezTo>
                  <a:pt x="5869606" y="2703922"/>
                  <a:pt x="5858388" y="2715136"/>
                  <a:pt x="5844550" y="2715136"/>
                </a:cubicBezTo>
                <a:cubicBezTo>
                  <a:pt x="5830713" y="2715136"/>
                  <a:pt x="5819498" y="2703922"/>
                  <a:pt x="5819498" y="2690085"/>
                </a:cubicBezTo>
                <a:cubicBezTo>
                  <a:pt x="5819498" y="2676247"/>
                  <a:pt x="5830713" y="2665033"/>
                  <a:pt x="5844550" y="2665033"/>
                </a:cubicBezTo>
                <a:close/>
                <a:moveTo>
                  <a:pt x="5998139" y="2662852"/>
                </a:moveTo>
                <a:cubicBezTo>
                  <a:pt x="6013024" y="2662852"/>
                  <a:pt x="6025372" y="2675199"/>
                  <a:pt x="6025372" y="2690085"/>
                </a:cubicBezTo>
                <a:cubicBezTo>
                  <a:pt x="6025372" y="2704970"/>
                  <a:pt x="6013390" y="2717317"/>
                  <a:pt x="5998139" y="2717317"/>
                </a:cubicBezTo>
                <a:cubicBezTo>
                  <a:pt x="5983254" y="2717317"/>
                  <a:pt x="5970907" y="2704970"/>
                  <a:pt x="5970907" y="2690085"/>
                </a:cubicBezTo>
                <a:cubicBezTo>
                  <a:pt x="5970907" y="2675199"/>
                  <a:pt x="5983254" y="2662852"/>
                  <a:pt x="5998139" y="2662852"/>
                </a:cubicBezTo>
                <a:close/>
                <a:moveTo>
                  <a:pt x="6152083" y="2660310"/>
                </a:moveTo>
                <a:cubicBezTo>
                  <a:pt x="6168528" y="2660310"/>
                  <a:pt x="6181858" y="2673640"/>
                  <a:pt x="6181858" y="2690081"/>
                </a:cubicBezTo>
                <a:cubicBezTo>
                  <a:pt x="6181858" y="2706525"/>
                  <a:pt x="6168528" y="2719856"/>
                  <a:pt x="6152083" y="2719856"/>
                </a:cubicBezTo>
                <a:cubicBezTo>
                  <a:pt x="6135642" y="2719856"/>
                  <a:pt x="6122312" y="2706525"/>
                  <a:pt x="6122312" y="2690081"/>
                </a:cubicBezTo>
                <a:cubicBezTo>
                  <a:pt x="6122312" y="2673640"/>
                  <a:pt x="6135642" y="2660310"/>
                  <a:pt x="6152083" y="2660310"/>
                </a:cubicBezTo>
                <a:close/>
                <a:moveTo>
                  <a:pt x="6305668" y="2658133"/>
                </a:moveTo>
                <a:cubicBezTo>
                  <a:pt x="6323317" y="2658133"/>
                  <a:pt x="6337620" y="2672439"/>
                  <a:pt x="6337620" y="2690085"/>
                </a:cubicBezTo>
                <a:cubicBezTo>
                  <a:pt x="6337620" y="2707730"/>
                  <a:pt x="6323317" y="2722036"/>
                  <a:pt x="6305668" y="2722036"/>
                </a:cubicBezTo>
                <a:cubicBezTo>
                  <a:pt x="6288022" y="2722036"/>
                  <a:pt x="6273716" y="2707730"/>
                  <a:pt x="6273716" y="2690085"/>
                </a:cubicBezTo>
                <a:cubicBezTo>
                  <a:pt x="6273716" y="2672439"/>
                  <a:pt x="6288022" y="2658133"/>
                  <a:pt x="6305668" y="2658133"/>
                </a:cubicBezTo>
                <a:close/>
                <a:moveTo>
                  <a:pt x="6459616" y="2656319"/>
                </a:moveTo>
                <a:cubicBezTo>
                  <a:pt x="6478263" y="2656319"/>
                  <a:pt x="6493385" y="2671437"/>
                  <a:pt x="6493385" y="2690085"/>
                </a:cubicBezTo>
                <a:cubicBezTo>
                  <a:pt x="6493385" y="2708736"/>
                  <a:pt x="6478263" y="2723850"/>
                  <a:pt x="6459616" y="2723850"/>
                </a:cubicBezTo>
                <a:cubicBezTo>
                  <a:pt x="6440968" y="2723850"/>
                  <a:pt x="6425850" y="2708736"/>
                  <a:pt x="6425850" y="2690085"/>
                </a:cubicBezTo>
                <a:cubicBezTo>
                  <a:pt x="6425850" y="2671437"/>
                  <a:pt x="6440968" y="2656319"/>
                  <a:pt x="6459616" y="2656319"/>
                </a:cubicBezTo>
                <a:close/>
                <a:moveTo>
                  <a:pt x="6613200" y="2653777"/>
                </a:moveTo>
                <a:cubicBezTo>
                  <a:pt x="6633255" y="2653777"/>
                  <a:pt x="6649509" y="2670030"/>
                  <a:pt x="6649509" y="2690085"/>
                </a:cubicBezTo>
                <a:cubicBezTo>
                  <a:pt x="6649509" y="2710135"/>
                  <a:pt x="6633255" y="2726393"/>
                  <a:pt x="6613200" y="2726393"/>
                </a:cubicBezTo>
                <a:cubicBezTo>
                  <a:pt x="6593146" y="2726393"/>
                  <a:pt x="6576892" y="2710135"/>
                  <a:pt x="6576892" y="2690085"/>
                </a:cubicBezTo>
                <a:cubicBezTo>
                  <a:pt x="6576892" y="2670030"/>
                  <a:pt x="6593146" y="2653777"/>
                  <a:pt x="6613200" y="2653777"/>
                </a:cubicBezTo>
                <a:close/>
                <a:moveTo>
                  <a:pt x="3230349" y="2536137"/>
                </a:moveTo>
                <a:cubicBezTo>
                  <a:pt x="3230715" y="2536137"/>
                  <a:pt x="3230715" y="2536137"/>
                  <a:pt x="3230715" y="2536499"/>
                </a:cubicBezTo>
                <a:cubicBezTo>
                  <a:pt x="3230715" y="2536866"/>
                  <a:pt x="3230349" y="2536866"/>
                  <a:pt x="3230349" y="2536866"/>
                </a:cubicBezTo>
                <a:cubicBezTo>
                  <a:pt x="3229987" y="2536866"/>
                  <a:pt x="3229987" y="2536866"/>
                  <a:pt x="3229987" y="2536499"/>
                </a:cubicBezTo>
                <a:cubicBezTo>
                  <a:pt x="3229987" y="2536137"/>
                  <a:pt x="3229987" y="2536137"/>
                  <a:pt x="3230349" y="2536137"/>
                </a:cubicBezTo>
                <a:close/>
                <a:moveTo>
                  <a:pt x="2768873" y="2536137"/>
                </a:moveTo>
                <a:cubicBezTo>
                  <a:pt x="2769235" y="2536137"/>
                  <a:pt x="2769235" y="2536137"/>
                  <a:pt x="2769235" y="2536499"/>
                </a:cubicBezTo>
                <a:cubicBezTo>
                  <a:pt x="2769235" y="2536866"/>
                  <a:pt x="2768873" y="2536866"/>
                  <a:pt x="2768873" y="2536866"/>
                </a:cubicBezTo>
                <a:cubicBezTo>
                  <a:pt x="2768511" y="2536866"/>
                  <a:pt x="2768511" y="2536866"/>
                  <a:pt x="2768511" y="2536499"/>
                </a:cubicBezTo>
                <a:cubicBezTo>
                  <a:pt x="2768511" y="2536137"/>
                  <a:pt x="2768511" y="2536137"/>
                  <a:pt x="2768873" y="2536137"/>
                </a:cubicBezTo>
                <a:close/>
                <a:moveTo>
                  <a:pt x="2614925" y="2536137"/>
                </a:moveTo>
                <a:cubicBezTo>
                  <a:pt x="2615288" y="2536137"/>
                  <a:pt x="2615288" y="2536137"/>
                  <a:pt x="2615288" y="2536499"/>
                </a:cubicBezTo>
                <a:cubicBezTo>
                  <a:pt x="2615288" y="2536866"/>
                  <a:pt x="2614925" y="2536866"/>
                  <a:pt x="2614925" y="2536866"/>
                </a:cubicBezTo>
                <a:cubicBezTo>
                  <a:pt x="2614563" y="2536866"/>
                  <a:pt x="2614563" y="2536866"/>
                  <a:pt x="2614563" y="2536499"/>
                </a:cubicBezTo>
                <a:cubicBezTo>
                  <a:pt x="2614563" y="2536137"/>
                  <a:pt x="2614563" y="2536137"/>
                  <a:pt x="2614925" y="2536137"/>
                </a:cubicBezTo>
                <a:close/>
                <a:moveTo>
                  <a:pt x="2461344" y="2535771"/>
                </a:moveTo>
                <a:cubicBezTo>
                  <a:pt x="2461706" y="2535771"/>
                  <a:pt x="2462068" y="2536133"/>
                  <a:pt x="2462068" y="2536499"/>
                </a:cubicBezTo>
                <a:cubicBezTo>
                  <a:pt x="2462068" y="2536862"/>
                  <a:pt x="2461344" y="2537224"/>
                  <a:pt x="2461344" y="2537224"/>
                </a:cubicBezTo>
                <a:cubicBezTo>
                  <a:pt x="2460978" y="2537224"/>
                  <a:pt x="2460616" y="2536862"/>
                  <a:pt x="2460616" y="2536499"/>
                </a:cubicBezTo>
                <a:cubicBezTo>
                  <a:pt x="2460616" y="2536133"/>
                  <a:pt x="2460978" y="2535771"/>
                  <a:pt x="2461344" y="2535771"/>
                </a:cubicBezTo>
                <a:close/>
                <a:moveTo>
                  <a:pt x="3383938" y="2535047"/>
                </a:moveTo>
                <a:cubicBezTo>
                  <a:pt x="3384738" y="2535047"/>
                  <a:pt x="3385390" y="2535699"/>
                  <a:pt x="3385390" y="2536499"/>
                </a:cubicBezTo>
                <a:cubicBezTo>
                  <a:pt x="3385390" y="2537300"/>
                  <a:pt x="3384738" y="2537952"/>
                  <a:pt x="3383938" y="2537952"/>
                </a:cubicBezTo>
                <a:cubicBezTo>
                  <a:pt x="3383134" y="2537952"/>
                  <a:pt x="3382486" y="2537300"/>
                  <a:pt x="3382486" y="2536499"/>
                </a:cubicBezTo>
                <a:cubicBezTo>
                  <a:pt x="3382486" y="2535699"/>
                  <a:pt x="3383134" y="2535047"/>
                  <a:pt x="3383938" y="2535047"/>
                </a:cubicBezTo>
                <a:close/>
                <a:moveTo>
                  <a:pt x="3537886" y="2534323"/>
                </a:moveTo>
                <a:cubicBezTo>
                  <a:pt x="3539086" y="2534323"/>
                  <a:pt x="3540062" y="2535299"/>
                  <a:pt x="3540062" y="2536503"/>
                </a:cubicBezTo>
                <a:cubicBezTo>
                  <a:pt x="3540062" y="2537704"/>
                  <a:pt x="3539086" y="2538680"/>
                  <a:pt x="3537886" y="2538680"/>
                </a:cubicBezTo>
                <a:cubicBezTo>
                  <a:pt x="3536681" y="2538680"/>
                  <a:pt x="3535705" y="2537704"/>
                  <a:pt x="3535705" y="2536503"/>
                </a:cubicBezTo>
                <a:cubicBezTo>
                  <a:pt x="3535705" y="2535299"/>
                  <a:pt x="3536681" y="2534323"/>
                  <a:pt x="3537886" y="2534323"/>
                </a:cubicBezTo>
                <a:close/>
                <a:moveTo>
                  <a:pt x="3691467" y="2533233"/>
                </a:moveTo>
                <a:cubicBezTo>
                  <a:pt x="3693285" y="2533233"/>
                  <a:pt x="3694738" y="2534685"/>
                  <a:pt x="3694738" y="2536499"/>
                </a:cubicBezTo>
                <a:cubicBezTo>
                  <a:pt x="3694738" y="2538318"/>
                  <a:pt x="3693285" y="2539770"/>
                  <a:pt x="3691467" y="2539770"/>
                </a:cubicBezTo>
                <a:cubicBezTo>
                  <a:pt x="3689652" y="2539770"/>
                  <a:pt x="3688200" y="2538318"/>
                  <a:pt x="3688200" y="2536499"/>
                </a:cubicBezTo>
                <a:cubicBezTo>
                  <a:pt x="3688200" y="2534685"/>
                  <a:pt x="3689652" y="2533233"/>
                  <a:pt x="3691467" y="2533233"/>
                </a:cubicBezTo>
                <a:close/>
                <a:moveTo>
                  <a:pt x="3845414" y="2531780"/>
                </a:moveTo>
                <a:cubicBezTo>
                  <a:pt x="3847957" y="2531780"/>
                  <a:pt x="3849771" y="2533595"/>
                  <a:pt x="3849771" y="2536137"/>
                </a:cubicBezTo>
                <a:cubicBezTo>
                  <a:pt x="3849771" y="2538680"/>
                  <a:pt x="3847591" y="2540494"/>
                  <a:pt x="3845414" y="2540494"/>
                </a:cubicBezTo>
                <a:cubicBezTo>
                  <a:pt x="3842872" y="2540494"/>
                  <a:pt x="3841057" y="2538680"/>
                  <a:pt x="3841057" y="2536137"/>
                </a:cubicBezTo>
                <a:cubicBezTo>
                  <a:pt x="3841057" y="2533595"/>
                  <a:pt x="3842872" y="2531780"/>
                  <a:pt x="3845414" y="2531780"/>
                </a:cubicBezTo>
                <a:close/>
                <a:moveTo>
                  <a:pt x="3999000" y="2530690"/>
                </a:moveTo>
                <a:cubicBezTo>
                  <a:pt x="4002209" y="2530690"/>
                  <a:pt x="4004809" y="2533290"/>
                  <a:pt x="4004809" y="2536499"/>
                </a:cubicBezTo>
                <a:cubicBezTo>
                  <a:pt x="4004809" y="2539709"/>
                  <a:pt x="4002209" y="2542309"/>
                  <a:pt x="3999000" y="2542309"/>
                </a:cubicBezTo>
                <a:cubicBezTo>
                  <a:pt x="3995790" y="2542309"/>
                  <a:pt x="3993190" y="2539709"/>
                  <a:pt x="3993190" y="2536499"/>
                </a:cubicBezTo>
                <a:cubicBezTo>
                  <a:pt x="3993190" y="2533290"/>
                  <a:pt x="3995790" y="2530690"/>
                  <a:pt x="3999000" y="2530690"/>
                </a:cubicBezTo>
                <a:close/>
                <a:moveTo>
                  <a:pt x="4152947" y="2528876"/>
                </a:moveTo>
                <a:cubicBezTo>
                  <a:pt x="4156942" y="2528876"/>
                  <a:pt x="4160208" y="2532142"/>
                  <a:pt x="4160208" y="2536137"/>
                </a:cubicBezTo>
                <a:cubicBezTo>
                  <a:pt x="4160208" y="2540132"/>
                  <a:pt x="4156942" y="2543399"/>
                  <a:pt x="4152947" y="2543399"/>
                </a:cubicBezTo>
                <a:cubicBezTo>
                  <a:pt x="4148952" y="2543399"/>
                  <a:pt x="4145686" y="2540132"/>
                  <a:pt x="4145686" y="2536137"/>
                </a:cubicBezTo>
                <a:cubicBezTo>
                  <a:pt x="4145686" y="2532142"/>
                  <a:pt x="4148952" y="2528876"/>
                  <a:pt x="4152947" y="2528876"/>
                </a:cubicBezTo>
                <a:close/>
                <a:moveTo>
                  <a:pt x="4306528" y="2527058"/>
                </a:moveTo>
                <a:cubicBezTo>
                  <a:pt x="4311614" y="2527058"/>
                  <a:pt x="4315608" y="2531052"/>
                  <a:pt x="4315608" y="2536133"/>
                </a:cubicBezTo>
                <a:cubicBezTo>
                  <a:pt x="4315608" y="2541218"/>
                  <a:pt x="4311614" y="2545213"/>
                  <a:pt x="4306528" y="2545213"/>
                </a:cubicBezTo>
                <a:cubicBezTo>
                  <a:pt x="4301447" y="2545213"/>
                  <a:pt x="4297452" y="2541218"/>
                  <a:pt x="4297452" y="2536133"/>
                </a:cubicBezTo>
                <a:cubicBezTo>
                  <a:pt x="4297452" y="2531052"/>
                  <a:pt x="4301447" y="2527058"/>
                  <a:pt x="4306528" y="2527058"/>
                </a:cubicBezTo>
                <a:close/>
                <a:moveTo>
                  <a:pt x="4460480" y="2526333"/>
                </a:moveTo>
                <a:cubicBezTo>
                  <a:pt x="4465927" y="2526333"/>
                  <a:pt x="4470646" y="2531052"/>
                  <a:pt x="4470646" y="2536499"/>
                </a:cubicBezTo>
                <a:cubicBezTo>
                  <a:pt x="4470646" y="2541947"/>
                  <a:pt x="4466289" y="2546666"/>
                  <a:pt x="4460480" y="2546666"/>
                </a:cubicBezTo>
                <a:cubicBezTo>
                  <a:pt x="4455032" y="2546666"/>
                  <a:pt x="4450314" y="2541947"/>
                  <a:pt x="4450314" y="2536499"/>
                </a:cubicBezTo>
                <a:cubicBezTo>
                  <a:pt x="4450314" y="2531052"/>
                  <a:pt x="4455032" y="2526333"/>
                  <a:pt x="4460480" y="2526333"/>
                </a:cubicBezTo>
                <a:close/>
                <a:moveTo>
                  <a:pt x="4614061" y="2524153"/>
                </a:moveTo>
                <a:cubicBezTo>
                  <a:pt x="4620598" y="2524153"/>
                  <a:pt x="4626046" y="2529600"/>
                  <a:pt x="4626046" y="2536133"/>
                </a:cubicBezTo>
                <a:cubicBezTo>
                  <a:pt x="4626046" y="2542671"/>
                  <a:pt x="4620598" y="2548118"/>
                  <a:pt x="4614061" y="2548118"/>
                </a:cubicBezTo>
                <a:cubicBezTo>
                  <a:pt x="4607528" y="2548118"/>
                  <a:pt x="4602080" y="2542671"/>
                  <a:pt x="4602080" y="2536133"/>
                </a:cubicBezTo>
                <a:cubicBezTo>
                  <a:pt x="4602080" y="2529600"/>
                  <a:pt x="4607528" y="2524153"/>
                  <a:pt x="4614061" y="2524153"/>
                </a:cubicBezTo>
                <a:close/>
                <a:moveTo>
                  <a:pt x="4768012" y="2522338"/>
                </a:moveTo>
                <a:cubicBezTo>
                  <a:pt x="4775636" y="2522338"/>
                  <a:pt x="4781808" y="2528510"/>
                  <a:pt x="4781808" y="2536133"/>
                </a:cubicBezTo>
                <a:cubicBezTo>
                  <a:pt x="4781808" y="2543761"/>
                  <a:pt x="4775636" y="2549933"/>
                  <a:pt x="4768012" y="2549933"/>
                </a:cubicBezTo>
                <a:cubicBezTo>
                  <a:pt x="4760384" y="2549933"/>
                  <a:pt x="4754214" y="2543761"/>
                  <a:pt x="4754214" y="2536133"/>
                </a:cubicBezTo>
                <a:cubicBezTo>
                  <a:pt x="4754214" y="2528510"/>
                  <a:pt x="4760384" y="2522338"/>
                  <a:pt x="4768012" y="2522338"/>
                </a:cubicBezTo>
                <a:close/>
                <a:moveTo>
                  <a:pt x="4921594" y="2521252"/>
                </a:moveTo>
                <a:cubicBezTo>
                  <a:pt x="4930018" y="2521252"/>
                  <a:pt x="4936845" y="2528079"/>
                  <a:pt x="4936845" y="2536503"/>
                </a:cubicBezTo>
                <a:cubicBezTo>
                  <a:pt x="4936845" y="2544924"/>
                  <a:pt x="4930018" y="2551751"/>
                  <a:pt x="4921594" y="2551751"/>
                </a:cubicBezTo>
                <a:cubicBezTo>
                  <a:pt x="4913174" y="2551751"/>
                  <a:pt x="4906346" y="2544924"/>
                  <a:pt x="4906346" y="2536503"/>
                </a:cubicBezTo>
                <a:cubicBezTo>
                  <a:pt x="4906346" y="2528079"/>
                  <a:pt x="4913174" y="2521252"/>
                  <a:pt x="4921594" y="2521252"/>
                </a:cubicBezTo>
                <a:close/>
                <a:moveTo>
                  <a:pt x="5075545" y="2519071"/>
                </a:moveTo>
                <a:cubicBezTo>
                  <a:pt x="5084984" y="2519071"/>
                  <a:pt x="5092611" y="2526695"/>
                  <a:pt x="5092611" y="2536137"/>
                </a:cubicBezTo>
                <a:cubicBezTo>
                  <a:pt x="5092611" y="2545575"/>
                  <a:pt x="5084984" y="2553203"/>
                  <a:pt x="5075545" y="2553203"/>
                </a:cubicBezTo>
                <a:cubicBezTo>
                  <a:pt x="5066103" y="2553203"/>
                  <a:pt x="5058479" y="2545575"/>
                  <a:pt x="5058479" y="2536137"/>
                </a:cubicBezTo>
                <a:cubicBezTo>
                  <a:pt x="5058479" y="2526695"/>
                  <a:pt x="5066103" y="2519071"/>
                  <a:pt x="5075545" y="2519071"/>
                </a:cubicBezTo>
                <a:close/>
                <a:moveTo>
                  <a:pt x="5229126" y="2517257"/>
                </a:moveTo>
                <a:cubicBezTo>
                  <a:pt x="5239754" y="2517257"/>
                  <a:pt x="5248369" y="2525872"/>
                  <a:pt x="5248369" y="2536499"/>
                </a:cubicBezTo>
                <a:cubicBezTo>
                  <a:pt x="5248369" y="2547127"/>
                  <a:pt x="5239754" y="2555742"/>
                  <a:pt x="5229126" y="2555742"/>
                </a:cubicBezTo>
                <a:cubicBezTo>
                  <a:pt x="5218499" y="2555742"/>
                  <a:pt x="5209884" y="2547127"/>
                  <a:pt x="5209884" y="2536499"/>
                </a:cubicBezTo>
                <a:cubicBezTo>
                  <a:pt x="5209884" y="2525872"/>
                  <a:pt x="5218499" y="2517257"/>
                  <a:pt x="5229126" y="2517257"/>
                </a:cubicBezTo>
                <a:close/>
                <a:moveTo>
                  <a:pt x="5383074" y="2514714"/>
                </a:moveTo>
                <a:cubicBezTo>
                  <a:pt x="5395054" y="2514714"/>
                  <a:pt x="5404496" y="2524153"/>
                  <a:pt x="5404496" y="2536137"/>
                </a:cubicBezTo>
                <a:cubicBezTo>
                  <a:pt x="5404496" y="2548118"/>
                  <a:pt x="5394692" y="2557560"/>
                  <a:pt x="5383074" y="2557560"/>
                </a:cubicBezTo>
                <a:cubicBezTo>
                  <a:pt x="5371093" y="2557560"/>
                  <a:pt x="5361651" y="2548118"/>
                  <a:pt x="5361651" y="2536137"/>
                </a:cubicBezTo>
                <a:cubicBezTo>
                  <a:pt x="5361651" y="2524153"/>
                  <a:pt x="5371093" y="2514714"/>
                  <a:pt x="5383074" y="2514714"/>
                </a:cubicBezTo>
                <a:close/>
                <a:moveTo>
                  <a:pt x="5536659" y="2513624"/>
                </a:moveTo>
                <a:cubicBezTo>
                  <a:pt x="5549292" y="2513624"/>
                  <a:pt x="5559534" y="2523867"/>
                  <a:pt x="5559534" y="2536499"/>
                </a:cubicBezTo>
                <a:cubicBezTo>
                  <a:pt x="5559534" y="2549132"/>
                  <a:pt x="5549292" y="2559371"/>
                  <a:pt x="5536659" y="2559371"/>
                </a:cubicBezTo>
                <a:cubicBezTo>
                  <a:pt x="5524026" y="2559371"/>
                  <a:pt x="5513784" y="2549132"/>
                  <a:pt x="5513784" y="2536499"/>
                </a:cubicBezTo>
                <a:cubicBezTo>
                  <a:pt x="5513784" y="2523867"/>
                  <a:pt x="5524026" y="2513624"/>
                  <a:pt x="5536659" y="2513624"/>
                </a:cubicBezTo>
                <a:close/>
                <a:moveTo>
                  <a:pt x="5690602" y="2511448"/>
                </a:moveTo>
                <a:cubicBezTo>
                  <a:pt x="5704440" y="2511448"/>
                  <a:pt x="5715658" y="2522662"/>
                  <a:pt x="5715658" y="2536499"/>
                </a:cubicBezTo>
                <a:cubicBezTo>
                  <a:pt x="5715658" y="2550337"/>
                  <a:pt x="5704440" y="2561555"/>
                  <a:pt x="5690602" y="2561555"/>
                </a:cubicBezTo>
                <a:cubicBezTo>
                  <a:pt x="5676766" y="2561555"/>
                  <a:pt x="5665551" y="2550337"/>
                  <a:pt x="5665551" y="2536499"/>
                </a:cubicBezTo>
                <a:cubicBezTo>
                  <a:pt x="5665551" y="2522666"/>
                  <a:pt x="5676766" y="2511448"/>
                  <a:pt x="5690602" y="2511448"/>
                </a:cubicBezTo>
                <a:close/>
                <a:moveTo>
                  <a:pt x="5844554" y="2509267"/>
                </a:moveTo>
                <a:cubicBezTo>
                  <a:pt x="5859440" y="2509267"/>
                  <a:pt x="5871786" y="2521610"/>
                  <a:pt x="5871786" y="2536499"/>
                </a:cubicBezTo>
                <a:cubicBezTo>
                  <a:pt x="5871786" y="2551385"/>
                  <a:pt x="5859802" y="2563732"/>
                  <a:pt x="5844554" y="2563732"/>
                </a:cubicBezTo>
                <a:cubicBezTo>
                  <a:pt x="5829664" y="2563732"/>
                  <a:pt x="5817322" y="2551385"/>
                  <a:pt x="5817322" y="2536499"/>
                </a:cubicBezTo>
                <a:cubicBezTo>
                  <a:pt x="5817322" y="2521610"/>
                  <a:pt x="5829664" y="2509267"/>
                  <a:pt x="5844554" y="2509267"/>
                </a:cubicBezTo>
                <a:close/>
                <a:moveTo>
                  <a:pt x="5998136" y="2506729"/>
                </a:moveTo>
                <a:cubicBezTo>
                  <a:pt x="6014580" y="2506729"/>
                  <a:pt x="6027910" y="2520059"/>
                  <a:pt x="6027910" y="2536503"/>
                </a:cubicBezTo>
                <a:cubicBezTo>
                  <a:pt x="6027910" y="2552944"/>
                  <a:pt x="6014580" y="2566274"/>
                  <a:pt x="5998136" y="2566274"/>
                </a:cubicBezTo>
                <a:cubicBezTo>
                  <a:pt x="5981694" y="2566274"/>
                  <a:pt x="5968364" y="2552944"/>
                  <a:pt x="5968364" y="2536503"/>
                </a:cubicBezTo>
                <a:cubicBezTo>
                  <a:pt x="5968364" y="2520059"/>
                  <a:pt x="5981694" y="2506729"/>
                  <a:pt x="5998136" y="2506729"/>
                </a:cubicBezTo>
                <a:close/>
                <a:moveTo>
                  <a:pt x="6152086" y="2504548"/>
                </a:moveTo>
                <a:cubicBezTo>
                  <a:pt x="6169732" y="2504548"/>
                  <a:pt x="6184038" y="2518854"/>
                  <a:pt x="6184038" y="2536499"/>
                </a:cubicBezTo>
                <a:cubicBezTo>
                  <a:pt x="6184038" y="2554145"/>
                  <a:pt x="6169732" y="2568451"/>
                  <a:pt x="6152086" y="2568451"/>
                </a:cubicBezTo>
                <a:cubicBezTo>
                  <a:pt x="6134438" y="2568451"/>
                  <a:pt x="6120135" y="2554145"/>
                  <a:pt x="6120135" y="2536499"/>
                </a:cubicBezTo>
                <a:cubicBezTo>
                  <a:pt x="6120135" y="2518854"/>
                  <a:pt x="6134438" y="2504548"/>
                  <a:pt x="6152086" y="2504548"/>
                </a:cubicBezTo>
                <a:close/>
                <a:moveTo>
                  <a:pt x="6305668" y="2502734"/>
                </a:moveTo>
                <a:cubicBezTo>
                  <a:pt x="6324320" y="2502734"/>
                  <a:pt x="6339438" y="2517852"/>
                  <a:pt x="6339438" y="2536499"/>
                </a:cubicBezTo>
                <a:cubicBezTo>
                  <a:pt x="6339438" y="2555151"/>
                  <a:pt x="6324320" y="2570269"/>
                  <a:pt x="6305668" y="2570269"/>
                </a:cubicBezTo>
                <a:cubicBezTo>
                  <a:pt x="6287020" y="2570269"/>
                  <a:pt x="6271902" y="2555151"/>
                  <a:pt x="6271902" y="2536499"/>
                </a:cubicBezTo>
                <a:cubicBezTo>
                  <a:pt x="6271902" y="2517852"/>
                  <a:pt x="6287020" y="2502734"/>
                  <a:pt x="6305668" y="2502734"/>
                </a:cubicBezTo>
                <a:close/>
                <a:moveTo>
                  <a:pt x="6459616" y="2500191"/>
                </a:moveTo>
                <a:cubicBezTo>
                  <a:pt x="6479670" y="2500191"/>
                  <a:pt x="6495924" y="2516445"/>
                  <a:pt x="6495924" y="2536499"/>
                </a:cubicBezTo>
                <a:cubicBezTo>
                  <a:pt x="6495924" y="2556554"/>
                  <a:pt x="6479670" y="2572808"/>
                  <a:pt x="6459616" y="2572808"/>
                </a:cubicBezTo>
                <a:cubicBezTo>
                  <a:pt x="6439561" y="2572808"/>
                  <a:pt x="6423307" y="2556554"/>
                  <a:pt x="6423307" y="2536499"/>
                </a:cubicBezTo>
                <a:cubicBezTo>
                  <a:pt x="6423307" y="2516445"/>
                  <a:pt x="6439561" y="2500191"/>
                  <a:pt x="6459616" y="2500191"/>
                </a:cubicBezTo>
                <a:close/>
                <a:moveTo>
                  <a:pt x="6613200" y="2497648"/>
                </a:moveTo>
                <a:cubicBezTo>
                  <a:pt x="6634654" y="2497648"/>
                  <a:pt x="6652048" y="2515042"/>
                  <a:pt x="6652048" y="2536499"/>
                </a:cubicBezTo>
                <a:cubicBezTo>
                  <a:pt x="6652048" y="2557953"/>
                  <a:pt x="6634654" y="2575350"/>
                  <a:pt x="6613200" y="2575350"/>
                </a:cubicBezTo>
                <a:cubicBezTo>
                  <a:pt x="6591744" y="2575350"/>
                  <a:pt x="6574350" y="2557953"/>
                  <a:pt x="6574350" y="2536499"/>
                </a:cubicBezTo>
                <a:cubicBezTo>
                  <a:pt x="6574350" y="2515042"/>
                  <a:pt x="6591744" y="2497648"/>
                  <a:pt x="6613200" y="2497648"/>
                </a:cubicBezTo>
                <a:close/>
                <a:moveTo>
                  <a:pt x="3076406" y="2382190"/>
                </a:moveTo>
                <a:cubicBezTo>
                  <a:pt x="3076768" y="2382190"/>
                  <a:pt x="3076768" y="2382190"/>
                  <a:pt x="3076768" y="2382552"/>
                </a:cubicBezTo>
                <a:cubicBezTo>
                  <a:pt x="3076768" y="2382914"/>
                  <a:pt x="3076406" y="2382914"/>
                  <a:pt x="3076406" y="2382914"/>
                </a:cubicBezTo>
                <a:cubicBezTo>
                  <a:pt x="3076043" y="2382914"/>
                  <a:pt x="3076043" y="2382914"/>
                  <a:pt x="3076043" y="2382552"/>
                </a:cubicBezTo>
                <a:cubicBezTo>
                  <a:pt x="3076043" y="2382190"/>
                  <a:pt x="3076043" y="2382190"/>
                  <a:pt x="3076406" y="2382190"/>
                </a:cubicBezTo>
                <a:close/>
                <a:moveTo>
                  <a:pt x="2614925" y="2382190"/>
                </a:moveTo>
                <a:cubicBezTo>
                  <a:pt x="2615288" y="2382190"/>
                  <a:pt x="2615288" y="2382190"/>
                  <a:pt x="2615288" y="2382552"/>
                </a:cubicBezTo>
                <a:cubicBezTo>
                  <a:pt x="2615288" y="2382914"/>
                  <a:pt x="2614925" y="2382914"/>
                  <a:pt x="2614925" y="2382914"/>
                </a:cubicBezTo>
                <a:cubicBezTo>
                  <a:pt x="2614563" y="2382914"/>
                  <a:pt x="2614563" y="2382914"/>
                  <a:pt x="2614563" y="2382552"/>
                </a:cubicBezTo>
                <a:cubicBezTo>
                  <a:pt x="2614563" y="2382190"/>
                  <a:pt x="2614563" y="2382190"/>
                  <a:pt x="2614925" y="2382190"/>
                </a:cubicBezTo>
                <a:close/>
                <a:moveTo>
                  <a:pt x="2461340" y="2382190"/>
                </a:moveTo>
                <a:cubicBezTo>
                  <a:pt x="2461702" y="2382190"/>
                  <a:pt x="2461702" y="2382190"/>
                  <a:pt x="2461702" y="2382552"/>
                </a:cubicBezTo>
                <a:cubicBezTo>
                  <a:pt x="2461702" y="2382914"/>
                  <a:pt x="2461340" y="2382914"/>
                  <a:pt x="2461340" y="2382914"/>
                </a:cubicBezTo>
                <a:cubicBezTo>
                  <a:pt x="2460978" y="2382914"/>
                  <a:pt x="2460978" y="2382914"/>
                  <a:pt x="2460978" y="2382552"/>
                </a:cubicBezTo>
                <a:cubicBezTo>
                  <a:pt x="2460978" y="2382190"/>
                  <a:pt x="2460978" y="2382190"/>
                  <a:pt x="2461340" y="2382190"/>
                </a:cubicBezTo>
                <a:close/>
                <a:moveTo>
                  <a:pt x="2307393" y="2381824"/>
                </a:moveTo>
                <a:cubicBezTo>
                  <a:pt x="2307759" y="2381824"/>
                  <a:pt x="2308121" y="2382186"/>
                  <a:pt x="2308121" y="2382552"/>
                </a:cubicBezTo>
                <a:cubicBezTo>
                  <a:pt x="2308121" y="2382914"/>
                  <a:pt x="2307393" y="2383276"/>
                  <a:pt x="2307393" y="2383276"/>
                </a:cubicBezTo>
                <a:cubicBezTo>
                  <a:pt x="2307031" y="2383276"/>
                  <a:pt x="2306669" y="2382914"/>
                  <a:pt x="2306669" y="2382552"/>
                </a:cubicBezTo>
                <a:cubicBezTo>
                  <a:pt x="2306669" y="2382186"/>
                  <a:pt x="2307031" y="2381824"/>
                  <a:pt x="2307393" y="2381824"/>
                </a:cubicBezTo>
                <a:close/>
                <a:moveTo>
                  <a:pt x="3230353" y="2381100"/>
                </a:moveTo>
                <a:cubicBezTo>
                  <a:pt x="3231077" y="2381100"/>
                  <a:pt x="3231805" y="2381824"/>
                  <a:pt x="3231805" y="2382552"/>
                </a:cubicBezTo>
                <a:cubicBezTo>
                  <a:pt x="3231805" y="2383276"/>
                  <a:pt x="3230353" y="2384005"/>
                  <a:pt x="3230353" y="2384005"/>
                </a:cubicBezTo>
                <a:cubicBezTo>
                  <a:pt x="3229625" y="2384005"/>
                  <a:pt x="3228900" y="2383276"/>
                  <a:pt x="3228900" y="2382552"/>
                </a:cubicBezTo>
                <a:cubicBezTo>
                  <a:pt x="3228900" y="2381824"/>
                  <a:pt x="3229625" y="2381100"/>
                  <a:pt x="3230353" y="2381100"/>
                </a:cubicBezTo>
                <a:close/>
                <a:moveTo>
                  <a:pt x="3383938" y="2380375"/>
                </a:moveTo>
                <a:cubicBezTo>
                  <a:pt x="3385139" y="2380375"/>
                  <a:pt x="3386115" y="2381351"/>
                  <a:pt x="3386115" y="2382556"/>
                </a:cubicBezTo>
                <a:cubicBezTo>
                  <a:pt x="3386115" y="2383757"/>
                  <a:pt x="3385139" y="2384732"/>
                  <a:pt x="3383938" y="2384732"/>
                </a:cubicBezTo>
                <a:cubicBezTo>
                  <a:pt x="3382734" y="2384732"/>
                  <a:pt x="3381758" y="2383757"/>
                  <a:pt x="3381758" y="2382556"/>
                </a:cubicBezTo>
                <a:cubicBezTo>
                  <a:pt x="3381758" y="2381351"/>
                  <a:pt x="3382734" y="2380375"/>
                  <a:pt x="3383938" y="2380375"/>
                </a:cubicBezTo>
                <a:close/>
                <a:moveTo>
                  <a:pt x="3537882" y="2379285"/>
                </a:moveTo>
                <a:cubicBezTo>
                  <a:pt x="3539696" y="2379285"/>
                  <a:pt x="3541148" y="2380738"/>
                  <a:pt x="3541148" y="2382552"/>
                </a:cubicBezTo>
                <a:cubicBezTo>
                  <a:pt x="3541148" y="2384366"/>
                  <a:pt x="3539696" y="2385823"/>
                  <a:pt x="3537882" y="2385823"/>
                </a:cubicBezTo>
                <a:cubicBezTo>
                  <a:pt x="3536067" y="2385823"/>
                  <a:pt x="3534615" y="2384366"/>
                  <a:pt x="3534615" y="2382552"/>
                </a:cubicBezTo>
                <a:cubicBezTo>
                  <a:pt x="3534615" y="2380738"/>
                  <a:pt x="3536067" y="2379285"/>
                  <a:pt x="3537882" y="2379285"/>
                </a:cubicBezTo>
                <a:close/>
                <a:moveTo>
                  <a:pt x="3691467" y="2378195"/>
                </a:moveTo>
                <a:cubicBezTo>
                  <a:pt x="3694010" y="2378195"/>
                  <a:pt x="3695824" y="2380010"/>
                  <a:pt x="3695824" y="2382552"/>
                </a:cubicBezTo>
                <a:cubicBezTo>
                  <a:pt x="3695824" y="2385095"/>
                  <a:pt x="3693647" y="2386909"/>
                  <a:pt x="3691467" y="2386909"/>
                </a:cubicBezTo>
                <a:cubicBezTo>
                  <a:pt x="3688924" y="2386909"/>
                  <a:pt x="3687110" y="2385095"/>
                  <a:pt x="3687110" y="2382552"/>
                </a:cubicBezTo>
                <a:cubicBezTo>
                  <a:pt x="3687110" y="2380010"/>
                  <a:pt x="3688924" y="2378195"/>
                  <a:pt x="3691467" y="2378195"/>
                </a:cubicBezTo>
                <a:close/>
                <a:moveTo>
                  <a:pt x="3845414" y="2376743"/>
                </a:moveTo>
                <a:cubicBezTo>
                  <a:pt x="3848624" y="2376743"/>
                  <a:pt x="3851224" y="2379343"/>
                  <a:pt x="3851224" y="2382552"/>
                </a:cubicBezTo>
                <a:cubicBezTo>
                  <a:pt x="3851224" y="2385762"/>
                  <a:pt x="3848624" y="2388361"/>
                  <a:pt x="3845414" y="2388361"/>
                </a:cubicBezTo>
                <a:cubicBezTo>
                  <a:pt x="3842205" y="2388361"/>
                  <a:pt x="3839605" y="2385762"/>
                  <a:pt x="3839605" y="2382552"/>
                </a:cubicBezTo>
                <a:cubicBezTo>
                  <a:pt x="3839605" y="2379343"/>
                  <a:pt x="3842205" y="2376743"/>
                  <a:pt x="3845414" y="2376743"/>
                </a:cubicBezTo>
                <a:close/>
                <a:moveTo>
                  <a:pt x="3999000" y="2375290"/>
                </a:moveTo>
                <a:cubicBezTo>
                  <a:pt x="4002994" y="2375290"/>
                  <a:pt x="4006261" y="2378557"/>
                  <a:pt x="4006261" y="2382552"/>
                </a:cubicBezTo>
                <a:cubicBezTo>
                  <a:pt x="4006261" y="2386547"/>
                  <a:pt x="4002994" y="2389814"/>
                  <a:pt x="3999000" y="2389814"/>
                </a:cubicBezTo>
                <a:cubicBezTo>
                  <a:pt x="3995005" y="2389814"/>
                  <a:pt x="3991738" y="2386547"/>
                  <a:pt x="3991738" y="2382552"/>
                </a:cubicBezTo>
                <a:cubicBezTo>
                  <a:pt x="3991738" y="2378557"/>
                  <a:pt x="3995005" y="2375290"/>
                  <a:pt x="3999000" y="2375290"/>
                </a:cubicBezTo>
                <a:close/>
                <a:moveTo>
                  <a:pt x="4152947" y="2373476"/>
                </a:moveTo>
                <a:cubicBezTo>
                  <a:pt x="4158032" y="2373476"/>
                  <a:pt x="4162027" y="2377471"/>
                  <a:pt x="4162027" y="2382552"/>
                </a:cubicBezTo>
                <a:cubicBezTo>
                  <a:pt x="4162027" y="2387637"/>
                  <a:pt x="4158032" y="2391632"/>
                  <a:pt x="4152947" y="2391632"/>
                </a:cubicBezTo>
                <a:cubicBezTo>
                  <a:pt x="4147866" y="2391632"/>
                  <a:pt x="4143871" y="2387637"/>
                  <a:pt x="4143871" y="2382552"/>
                </a:cubicBezTo>
                <a:cubicBezTo>
                  <a:pt x="4143871" y="2377471"/>
                  <a:pt x="4147866" y="2373476"/>
                  <a:pt x="4152947" y="2373476"/>
                </a:cubicBezTo>
                <a:close/>
                <a:moveTo>
                  <a:pt x="4306532" y="2372386"/>
                </a:moveTo>
                <a:cubicBezTo>
                  <a:pt x="4311980" y="2372386"/>
                  <a:pt x="4316698" y="2377105"/>
                  <a:pt x="4316698" y="2382552"/>
                </a:cubicBezTo>
                <a:cubicBezTo>
                  <a:pt x="4316698" y="2387999"/>
                  <a:pt x="4312342" y="2392718"/>
                  <a:pt x="4306532" y="2392718"/>
                </a:cubicBezTo>
                <a:cubicBezTo>
                  <a:pt x="4301085" y="2392718"/>
                  <a:pt x="4296366" y="2387999"/>
                  <a:pt x="4296366" y="2382552"/>
                </a:cubicBezTo>
                <a:cubicBezTo>
                  <a:pt x="4296366" y="2377105"/>
                  <a:pt x="4301085" y="2372386"/>
                  <a:pt x="4306532" y="2372386"/>
                </a:cubicBezTo>
                <a:close/>
                <a:moveTo>
                  <a:pt x="4460476" y="2370571"/>
                </a:moveTo>
                <a:cubicBezTo>
                  <a:pt x="4467014" y="2370571"/>
                  <a:pt x="4472460" y="2376019"/>
                  <a:pt x="4472460" y="2382552"/>
                </a:cubicBezTo>
                <a:cubicBezTo>
                  <a:pt x="4472460" y="2389090"/>
                  <a:pt x="4467014" y="2394533"/>
                  <a:pt x="4460476" y="2394533"/>
                </a:cubicBezTo>
                <a:cubicBezTo>
                  <a:pt x="4453942" y="2394533"/>
                  <a:pt x="4448495" y="2389090"/>
                  <a:pt x="4448495" y="2382552"/>
                </a:cubicBezTo>
                <a:cubicBezTo>
                  <a:pt x="4448495" y="2376019"/>
                  <a:pt x="4453942" y="2370571"/>
                  <a:pt x="4460476" y="2370571"/>
                </a:cubicBezTo>
                <a:close/>
                <a:moveTo>
                  <a:pt x="4614065" y="2368753"/>
                </a:moveTo>
                <a:cubicBezTo>
                  <a:pt x="4621688" y="2368753"/>
                  <a:pt x="4627860" y="2374924"/>
                  <a:pt x="4627860" y="2382552"/>
                </a:cubicBezTo>
                <a:cubicBezTo>
                  <a:pt x="4627860" y="2390176"/>
                  <a:pt x="4621688" y="2396347"/>
                  <a:pt x="4614065" y="2396347"/>
                </a:cubicBezTo>
                <a:cubicBezTo>
                  <a:pt x="4606438" y="2396347"/>
                  <a:pt x="4600266" y="2390176"/>
                  <a:pt x="4600266" y="2382552"/>
                </a:cubicBezTo>
                <a:cubicBezTo>
                  <a:pt x="4600266" y="2374924"/>
                  <a:pt x="4606438" y="2368753"/>
                  <a:pt x="4614065" y="2368753"/>
                </a:cubicBezTo>
                <a:close/>
                <a:moveTo>
                  <a:pt x="4768008" y="2367304"/>
                </a:moveTo>
                <a:cubicBezTo>
                  <a:pt x="4776433" y="2367304"/>
                  <a:pt x="4783260" y="2374131"/>
                  <a:pt x="4783260" y="2382556"/>
                </a:cubicBezTo>
                <a:cubicBezTo>
                  <a:pt x="4783260" y="2390976"/>
                  <a:pt x="4776433" y="2397803"/>
                  <a:pt x="4768008" y="2397803"/>
                </a:cubicBezTo>
                <a:cubicBezTo>
                  <a:pt x="4759588" y="2397803"/>
                  <a:pt x="4752761" y="2390976"/>
                  <a:pt x="4752761" y="2382556"/>
                </a:cubicBezTo>
                <a:cubicBezTo>
                  <a:pt x="4752761" y="2374131"/>
                  <a:pt x="4759588" y="2367304"/>
                  <a:pt x="4768008" y="2367304"/>
                </a:cubicBezTo>
                <a:close/>
                <a:moveTo>
                  <a:pt x="4921594" y="2365486"/>
                </a:moveTo>
                <a:cubicBezTo>
                  <a:pt x="4931032" y="2365486"/>
                  <a:pt x="4938660" y="2373110"/>
                  <a:pt x="4938660" y="2382552"/>
                </a:cubicBezTo>
                <a:cubicBezTo>
                  <a:pt x="4938660" y="2391990"/>
                  <a:pt x="4931032" y="2399614"/>
                  <a:pt x="4921594" y="2399614"/>
                </a:cubicBezTo>
                <a:cubicBezTo>
                  <a:pt x="4912152" y="2399614"/>
                  <a:pt x="4904528" y="2391990"/>
                  <a:pt x="4904528" y="2382552"/>
                </a:cubicBezTo>
                <a:cubicBezTo>
                  <a:pt x="4904528" y="2373110"/>
                  <a:pt x="4912152" y="2365486"/>
                  <a:pt x="4921594" y="2365486"/>
                </a:cubicBezTo>
                <a:close/>
                <a:moveTo>
                  <a:pt x="5075541" y="2363309"/>
                </a:moveTo>
                <a:cubicBezTo>
                  <a:pt x="5086070" y="2363309"/>
                  <a:pt x="5094784" y="2372024"/>
                  <a:pt x="5094784" y="2382552"/>
                </a:cubicBezTo>
                <a:cubicBezTo>
                  <a:pt x="5094784" y="2393084"/>
                  <a:pt x="5086070" y="2401799"/>
                  <a:pt x="5075541" y="2401799"/>
                </a:cubicBezTo>
                <a:cubicBezTo>
                  <a:pt x="5065012" y="2401799"/>
                  <a:pt x="5056298" y="2393084"/>
                  <a:pt x="5056298" y="2382552"/>
                </a:cubicBezTo>
                <a:cubicBezTo>
                  <a:pt x="5056298" y="2372024"/>
                  <a:pt x="5065012" y="2363309"/>
                  <a:pt x="5075541" y="2363309"/>
                </a:cubicBezTo>
                <a:close/>
                <a:moveTo>
                  <a:pt x="5229126" y="2361129"/>
                </a:moveTo>
                <a:cubicBezTo>
                  <a:pt x="5241108" y="2361129"/>
                  <a:pt x="5250546" y="2370571"/>
                  <a:pt x="5250546" y="2382552"/>
                </a:cubicBezTo>
                <a:cubicBezTo>
                  <a:pt x="5250546" y="2394533"/>
                  <a:pt x="5240745" y="2403975"/>
                  <a:pt x="5229126" y="2403975"/>
                </a:cubicBezTo>
                <a:cubicBezTo>
                  <a:pt x="5217146" y="2403975"/>
                  <a:pt x="5207704" y="2394533"/>
                  <a:pt x="5207704" y="2382552"/>
                </a:cubicBezTo>
                <a:cubicBezTo>
                  <a:pt x="5207704" y="2370571"/>
                  <a:pt x="5217146" y="2361129"/>
                  <a:pt x="5229126" y="2361129"/>
                </a:cubicBezTo>
                <a:close/>
                <a:moveTo>
                  <a:pt x="5383074" y="2359677"/>
                </a:moveTo>
                <a:cubicBezTo>
                  <a:pt x="5395706" y="2359677"/>
                  <a:pt x="5405946" y="2369919"/>
                  <a:pt x="5405946" y="2382552"/>
                </a:cubicBezTo>
                <a:cubicBezTo>
                  <a:pt x="5405946" y="2395185"/>
                  <a:pt x="5395706" y="2405427"/>
                  <a:pt x="5383074" y="2405427"/>
                </a:cubicBezTo>
                <a:cubicBezTo>
                  <a:pt x="5370441" y="2405427"/>
                  <a:pt x="5360198" y="2395185"/>
                  <a:pt x="5360198" y="2382552"/>
                </a:cubicBezTo>
                <a:cubicBezTo>
                  <a:pt x="5360198" y="2369919"/>
                  <a:pt x="5370441" y="2359677"/>
                  <a:pt x="5383074" y="2359677"/>
                </a:cubicBezTo>
                <a:close/>
                <a:moveTo>
                  <a:pt x="5536656" y="2357500"/>
                </a:moveTo>
                <a:cubicBezTo>
                  <a:pt x="5550492" y="2357500"/>
                  <a:pt x="5561711" y="2368715"/>
                  <a:pt x="5561711" y="2382552"/>
                </a:cubicBezTo>
                <a:cubicBezTo>
                  <a:pt x="5561711" y="2396389"/>
                  <a:pt x="5550492" y="2407608"/>
                  <a:pt x="5536656" y="2407608"/>
                </a:cubicBezTo>
                <a:cubicBezTo>
                  <a:pt x="5522818" y="2407608"/>
                  <a:pt x="5511604" y="2396389"/>
                  <a:pt x="5511604" y="2382552"/>
                </a:cubicBezTo>
                <a:cubicBezTo>
                  <a:pt x="5511604" y="2368719"/>
                  <a:pt x="5522818" y="2357500"/>
                  <a:pt x="5536656" y="2357500"/>
                </a:cubicBezTo>
                <a:close/>
                <a:moveTo>
                  <a:pt x="5690606" y="2355320"/>
                </a:moveTo>
                <a:cubicBezTo>
                  <a:pt x="5705492" y="2355320"/>
                  <a:pt x="5717838" y="2367663"/>
                  <a:pt x="5717838" y="2382552"/>
                </a:cubicBezTo>
                <a:cubicBezTo>
                  <a:pt x="5717838" y="2397437"/>
                  <a:pt x="5705854" y="2409784"/>
                  <a:pt x="5690606" y="2409784"/>
                </a:cubicBezTo>
                <a:cubicBezTo>
                  <a:pt x="5675717" y="2409784"/>
                  <a:pt x="5663374" y="2397437"/>
                  <a:pt x="5663374" y="2382552"/>
                </a:cubicBezTo>
                <a:cubicBezTo>
                  <a:pt x="5663374" y="2367663"/>
                  <a:pt x="5675717" y="2355320"/>
                  <a:pt x="5690606" y="2355320"/>
                </a:cubicBezTo>
                <a:close/>
                <a:moveTo>
                  <a:pt x="5844554" y="2352781"/>
                </a:moveTo>
                <a:cubicBezTo>
                  <a:pt x="5860994" y="2352781"/>
                  <a:pt x="5874325" y="2366111"/>
                  <a:pt x="5874325" y="2382556"/>
                </a:cubicBezTo>
                <a:cubicBezTo>
                  <a:pt x="5874325" y="2398997"/>
                  <a:pt x="5860994" y="2412327"/>
                  <a:pt x="5844554" y="2412327"/>
                </a:cubicBezTo>
                <a:cubicBezTo>
                  <a:pt x="5828110" y="2412327"/>
                  <a:pt x="5814779" y="2398997"/>
                  <a:pt x="5814779" y="2382556"/>
                </a:cubicBezTo>
                <a:cubicBezTo>
                  <a:pt x="5814779" y="2366111"/>
                  <a:pt x="5828110" y="2352781"/>
                  <a:pt x="5844554" y="2352781"/>
                </a:cubicBezTo>
                <a:close/>
                <a:moveTo>
                  <a:pt x="5998139" y="2350601"/>
                </a:moveTo>
                <a:cubicBezTo>
                  <a:pt x="6015784" y="2350601"/>
                  <a:pt x="6030090" y="2364907"/>
                  <a:pt x="6030090" y="2382552"/>
                </a:cubicBezTo>
                <a:cubicBezTo>
                  <a:pt x="6030090" y="2400197"/>
                  <a:pt x="6015784" y="2414503"/>
                  <a:pt x="5998139" y="2414503"/>
                </a:cubicBezTo>
                <a:cubicBezTo>
                  <a:pt x="5980490" y="2414503"/>
                  <a:pt x="5966188" y="2400197"/>
                  <a:pt x="5966188" y="2382552"/>
                </a:cubicBezTo>
                <a:cubicBezTo>
                  <a:pt x="5966188" y="2364907"/>
                  <a:pt x="5980490" y="2350601"/>
                  <a:pt x="5998139" y="2350601"/>
                </a:cubicBezTo>
                <a:close/>
                <a:moveTo>
                  <a:pt x="6152086" y="2348786"/>
                </a:moveTo>
                <a:cubicBezTo>
                  <a:pt x="6170734" y="2348786"/>
                  <a:pt x="6185852" y="2363904"/>
                  <a:pt x="6185852" y="2382552"/>
                </a:cubicBezTo>
                <a:cubicBezTo>
                  <a:pt x="6185852" y="2401204"/>
                  <a:pt x="6170734" y="2416322"/>
                  <a:pt x="6152086" y="2416322"/>
                </a:cubicBezTo>
                <a:cubicBezTo>
                  <a:pt x="6133435" y="2416322"/>
                  <a:pt x="6118317" y="2401204"/>
                  <a:pt x="6118317" y="2382552"/>
                </a:cubicBezTo>
                <a:cubicBezTo>
                  <a:pt x="6118317" y="2363904"/>
                  <a:pt x="6133435" y="2348786"/>
                  <a:pt x="6152086" y="2348786"/>
                </a:cubicBezTo>
                <a:close/>
                <a:moveTo>
                  <a:pt x="6305668" y="2346244"/>
                </a:moveTo>
                <a:cubicBezTo>
                  <a:pt x="6325638" y="2346244"/>
                  <a:pt x="6341976" y="2362581"/>
                  <a:pt x="6341976" y="2382552"/>
                </a:cubicBezTo>
                <a:cubicBezTo>
                  <a:pt x="6341976" y="2402523"/>
                  <a:pt x="6325638" y="2418860"/>
                  <a:pt x="6305668" y="2418860"/>
                </a:cubicBezTo>
                <a:cubicBezTo>
                  <a:pt x="6285698" y="2418860"/>
                  <a:pt x="6269360" y="2402523"/>
                  <a:pt x="6269360" y="2382552"/>
                </a:cubicBezTo>
                <a:cubicBezTo>
                  <a:pt x="6269360" y="2362581"/>
                  <a:pt x="6285698" y="2346244"/>
                  <a:pt x="6305668" y="2346244"/>
                </a:cubicBezTo>
                <a:close/>
                <a:moveTo>
                  <a:pt x="6459619" y="2343701"/>
                </a:moveTo>
                <a:cubicBezTo>
                  <a:pt x="6481038" y="2343701"/>
                  <a:pt x="6498470" y="2361129"/>
                  <a:pt x="6498470" y="2382552"/>
                </a:cubicBezTo>
                <a:cubicBezTo>
                  <a:pt x="6498470" y="2403971"/>
                  <a:pt x="6481038" y="2421399"/>
                  <a:pt x="6459619" y="2421399"/>
                </a:cubicBezTo>
                <a:cubicBezTo>
                  <a:pt x="6438196" y="2421399"/>
                  <a:pt x="6420768" y="2403971"/>
                  <a:pt x="6420768" y="2382552"/>
                </a:cubicBezTo>
                <a:cubicBezTo>
                  <a:pt x="6420768" y="2361129"/>
                  <a:pt x="6438196" y="2343701"/>
                  <a:pt x="6459619" y="2343701"/>
                </a:cubicBezTo>
                <a:close/>
                <a:moveTo>
                  <a:pt x="6613200" y="2341524"/>
                </a:moveTo>
                <a:cubicBezTo>
                  <a:pt x="6636076" y="2341524"/>
                  <a:pt x="6654232" y="2359681"/>
                  <a:pt x="6654232" y="2382552"/>
                </a:cubicBezTo>
                <a:cubicBezTo>
                  <a:pt x="6654232" y="2405427"/>
                  <a:pt x="6635714" y="2423583"/>
                  <a:pt x="6613200" y="2423583"/>
                </a:cubicBezTo>
                <a:cubicBezTo>
                  <a:pt x="6590330" y="2423583"/>
                  <a:pt x="6572173" y="2405427"/>
                  <a:pt x="6572173" y="2382552"/>
                </a:cubicBezTo>
                <a:cubicBezTo>
                  <a:pt x="6572173" y="2359681"/>
                  <a:pt x="6590330" y="2341524"/>
                  <a:pt x="6613200" y="2341524"/>
                </a:cubicBezTo>
                <a:close/>
                <a:moveTo>
                  <a:pt x="2922458" y="2228605"/>
                </a:moveTo>
                <a:cubicBezTo>
                  <a:pt x="2922820" y="2228605"/>
                  <a:pt x="2922820" y="2228605"/>
                  <a:pt x="2922820" y="2228967"/>
                </a:cubicBezTo>
                <a:cubicBezTo>
                  <a:pt x="2922820" y="2229333"/>
                  <a:pt x="2922458" y="2229333"/>
                  <a:pt x="2922458" y="2229333"/>
                </a:cubicBezTo>
                <a:cubicBezTo>
                  <a:pt x="2922096" y="2229333"/>
                  <a:pt x="2922096" y="2229333"/>
                  <a:pt x="2922096" y="2228967"/>
                </a:cubicBezTo>
                <a:cubicBezTo>
                  <a:pt x="2922096" y="2228605"/>
                  <a:pt x="2922096" y="2228605"/>
                  <a:pt x="2922458" y="2228605"/>
                </a:cubicBezTo>
                <a:close/>
                <a:moveTo>
                  <a:pt x="2461340" y="2228605"/>
                </a:moveTo>
                <a:cubicBezTo>
                  <a:pt x="2461702" y="2228605"/>
                  <a:pt x="2461702" y="2228605"/>
                  <a:pt x="2461702" y="2228967"/>
                </a:cubicBezTo>
                <a:cubicBezTo>
                  <a:pt x="2461702" y="2229333"/>
                  <a:pt x="2461340" y="2229333"/>
                  <a:pt x="2461340" y="2229333"/>
                </a:cubicBezTo>
                <a:cubicBezTo>
                  <a:pt x="2460978" y="2229333"/>
                  <a:pt x="2460978" y="2229333"/>
                  <a:pt x="2460978" y="2228967"/>
                </a:cubicBezTo>
                <a:cubicBezTo>
                  <a:pt x="2460978" y="2228605"/>
                  <a:pt x="2460978" y="2228605"/>
                  <a:pt x="2461340" y="2228605"/>
                </a:cubicBezTo>
                <a:close/>
                <a:moveTo>
                  <a:pt x="2307393" y="2228605"/>
                </a:moveTo>
                <a:cubicBezTo>
                  <a:pt x="2307755" y="2228605"/>
                  <a:pt x="2307755" y="2228605"/>
                  <a:pt x="2307755" y="2228967"/>
                </a:cubicBezTo>
                <a:cubicBezTo>
                  <a:pt x="2307755" y="2229333"/>
                  <a:pt x="2307393" y="2229333"/>
                  <a:pt x="2307393" y="2229333"/>
                </a:cubicBezTo>
                <a:cubicBezTo>
                  <a:pt x="2307031" y="2229333"/>
                  <a:pt x="2307031" y="2229333"/>
                  <a:pt x="2307031" y="2228967"/>
                </a:cubicBezTo>
                <a:cubicBezTo>
                  <a:pt x="2307031" y="2228605"/>
                  <a:pt x="2307031" y="2228605"/>
                  <a:pt x="2307393" y="2228605"/>
                </a:cubicBezTo>
                <a:close/>
                <a:moveTo>
                  <a:pt x="2153811" y="2228243"/>
                </a:moveTo>
                <a:cubicBezTo>
                  <a:pt x="2154174" y="2228243"/>
                  <a:pt x="2154536" y="2228605"/>
                  <a:pt x="2154536" y="2228971"/>
                </a:cubicBezTo>
                <a:cubicBezTo>
                  <a:pt x="2154536" y="2229333"/>
                  <a:pt x="2153811" y="2229695"/>
                  <a:pt x="2153811" y="2229695"/>
                </a:cubicBezTo>
                <a:cubicBezTo>
                  <a:pt x="2153445" y="2229695"/>
                  <a:pt x="2153083" y="2229333"/>
                  <a:pt x="2153083" y="2228971"/>
                </a:cubicBezTo>
                <a:cubicBezTo>
                  <a:pt x="2153083" y="2228605"/>
                  <a:pt x="2153445" y="2228243"/>
                  <a:pt x="2153811" y="2228243"/>
                </a:cubicBezTo>
                <a:close/>
                <a:moveTo>
                  <a:pt x="3076406" y="2227152"/>
                </a:moveTo>
                <a:cubicBezTo>
                  <a:pt x="3077130" y="2227152"/>
                  <a:pt x="3077858" y="2227880"/>
                  <a:pt x="3077858" y="2228605"/>
                </a:cubicBezTo>
                <a:cubicBezTo>
                  <a:pt x="3077858" y="2229333"/>
                  <a:pt x="3076406" y="2230057"/>
                  <a:pt x="3076406" y="2230057"/>
                </a:cubicBezTo>
                <a:cubicBezTo>
                  <a:pt x="3075677" y="2230057"/>
                  <a:pt x="3074953" y="2229333"/>
                  <a:pt x="3074953" y="2228605"/>
                </a:cubicBezTo>
                <a:cubicBezTo>
                  <a:pt x="3074953" y="2227880"/>
                  <a:pt x="3075677" y="2227152"/>
                  <a:pt x="3076406" y="2227152"/>
                </a:cubicBezTo>
                <a:close/>
                <a:moveTo>
                  <a:pt x="3230353" y="2226428"/>
                </a:moveTo>
                <a:cubicBezTo>
                  <a:pt x="3231554" y="2226428"/>
                  <a:pt x="3232530" y="2227404"/>
                  <a:pt x="3232530" y="2228608"/>
                </a:cubicBezTo>
                <a:cubicBezTo>
                  <a:pt x="3232530" y="2229809"/>
                  <a:pt x="3231554" y="2230785"/>
                  <a:pt x="3230353" y="2230785"/>
                </a:cubicBezTo>
                <a:cubicBezTo>
                  <a:pt x="3229148" y="2230785"/>
                  <a:pt x="3228172" y="2229809"/>
                  <a:pt x="3228172" y="2228608"/>
                </a:cubicBezTo>
                <a:cubicBezTo>
                  <a:pt x="3228172" y="2227404"/>
                  <a:pt x="3229148" y="2226428"/>
                  <a:pt x="3230353" y="2226428"/>
                </a:cubicBezTo>
                <a:close/>
                <a:moveTo>
                  <a:pt x="3383934" y="2225700"/>
                </a:moveTo>
                <a:cubicBezTo>
                  <a:pt x="3385752" y="2225700"/>
                  <a:pt x="3387205" y="2227152"/>
                  <a:pt x="3387205" y="2228967"/>
                </a:cubicBezTo>
                <a:cubicBezTo>
                  <a:pt x="3387205" y="2230781"/>
                  <a:pt x="3385752" y="2232238"/>
                  <a:pt x="3383934" y="2232238"/>
                </a:cubicBezTo>
                <a:cubicBezTo>
                  <a:pt x="3382120" y="2232238"/>
                  <a:pt x="3380668" y="2230781"/>
                  <a:pt x="3380668" y="2228967"/>
                </a:cubicBezTo>
                <a:cubicBezTo>
                  <a:pt x="3380668" y="2227152"/>
                  <a:pt x="3382120" y="2225700"/>
                  <a:pt x="3383934" y="2225700"/>
                </a:cubicBezTo>
                <a:close/>
                <a:moveTo>
                  <a:pt x="3537886" y="2224248"/>
                </a:moveTo>
                <a:cubicBezTo>
                  <a:pt x="3540428" y="2224248"/>
                  <a:pt x="3542242" y="2226062"/>
                  <a:pt x="3542242" y="2228605"/>
                </a:cubicBezTo>
                <a:cubicBezTo>
                  <a:pt x="3542242" y="2231147"/>
                  <a:pt x="3540062" y="2232962"/>
                  <a:pt x="3537886" y="2232962"/>
                </a:cubicBezTo>
                <a:cubicBezTo>
                  <a:pt x="3535343" y="2232962"/>
                  <a:pt x="3533528" y="2231147"/>
                  <a:pt x="3533528" y="2228605"/>
                </a:cubicBezTo>
                <a:cubicBezTo>
                  <a:pt x="3533528" y="2226062"/>
                  <a:pt x="3535343" y="2224248"/>
                  <a:pt x="3537886" y="2224248"/>
                </a:cubicBezTo>
                <a:close/>
                <a:moveTo>
                  <a:pt x="3691467" y="2222795"/>
                </a:moveTo>
                <a:cubicBezTo>
                  <a:pt x="3694676" y="2222795"/>
                  <a:pt x="3697276" y="2225395"/>
                  <a:pt x="3697276" y="2228605"/>
                </a:cubicBezTo>
                <a:cubicBezTo>
                  <a:pt x="3697276" y="2231814"/>
                  <a:pt x="3694676" y="2234414"/>
                  <a:pt x="3691467" y="2234414"/>
                </a:cubicBezTo>
                <a:cubicBezTo>
                  <a:pt x="3688257" y="2234414"/>
                  <a:pt x="3685658" y="2231814"/>
                  <a:pt x="3685658" y="2228605"/>
                </a:cubicBezTo>
                <a:cubicBezTo>
                  <a:pt x="3685658" y="2225395"/>
                  <a:pt x="3688257" y="2222795"/>
                  <a:pt x="3691467" y="2222795"/>
                </a:cubicBezTo>
                <a:close/>
                <a:moveTo>
                  <a:pt x="3845414" y="2221343"/>
                </a:moveTo>
                <a:cubicBezTo>
                  <a:pt x="3849409" y="2221343"/>
                  <a:pt x="3852676" y="2224610"/>
                  <a:pt x="3852676" y="2228605"/>
                </a:cubicBezTo>
                <a:cubicBezTo>
                  <a:pt x="3852676" y="2232599"/>
                  <a:pt x="3849409" y="2235866"/>
                  <a:pt x="3845414" y="2235866"/>
                </a:cubicBezTo>
                <a:cubicBezTo>
                  <a:pt x="3841420" y="2235866"/>
                  <a:pt x="3838153" y="2232599"/>
                  <a:pt x="3838153" y="2228605"/>
                </a:cubicBezTo>
                <a:cubicBezTo>
                  <a:pt x="3838153" y="2224610"/>
                  <a:pt x="3841420" y="2221343"/>
                  <a:pt x="3845414" y="2221343"/>
                </a:cubicBezTo>
                <a:close/>
                <a:moveTo>
                  <a:pt x="3999000" y="2219528"/>
                </a:moveTo>
                <a:cubicBezTo>
                  <a:pt x="4004085" y="2219528"/>
                  <a:pt x="4008080" y="2223523"/>
                  <a:pt x="4008080" y="2228605"/>
                </a:cubicBezTo>
                <a:cubicBezTo>
                  <a:pt x="4008080" y="2233690"/>
                  <a:pt x="4004085" y="2237685"/>
                  <a:pt x="3999000" y="2237685"/>
                </a:cubicBezTo>
                <a:cubicBezTo>
                  <a:pt x="3993918" y="2237685"/>
                  <a:pt x="3989924" y="2233690"/>
                  <a:pt x="3989924" y="2228605"/>
                </a:cubicBezTo>
                <a:cubicBezTo>
                  <a:pt x="3989924" y="2223523"/>
                  <a:pt x="3993918" y="2219528"/>
                  <a:pt x="3999000" y="2219528"/>
                </a:cubicBezTo>
                <a:close/>
                <a:moveTo>
                  <a:pt x="4152947" y="2218800"/>
                </a:moveTo>
                <a:cubicBezTo>
                  <a:pt x="4158394" y="2218800"/>
                  <a:pt x="4163114" y="2223520"/>
                  <a:pt x="4163114" y="2228967"/>
                </a:cubicBezTo>
                <a:cubicBezTo>
                  <a:pt x="4163114" y="2234414"/>
                  <a:pt x="4158756" y="2239133"/>
                  <a:pt x="4152947" y="2239133"/>
                </a:cubicBezTo>
                <a:cubicBezTo>
                  <a:pt x="4147500" y="2239133"/>
                  <a:pt x="4142780" y="2234414"/>
                  <a:pt x="4142780" y="2228967"/>
                </a:cubicBezTo>
                <a:cubicBezTo>
                  <a:pt x="4142780" y="2223520"/>
                  <a:pt x="4147500" y="2218800"/>
                  <a:pt x="4152947" y="2218800"/>
                </a:cubicBezTo>
                <a:close/>
                <a:moveTo>
                  <a:pt x="4306532" y="2216624"/>
                </a:moveTo>
                <a:cubicBezTo>
                  <a:pt x="4313070" y="2216624"/>
                  <a:pt x="4318517" y="2222071"/>
                  <a:pt x="4318517" y="2228605"/>
                </a:cubicBezTo>
                <a:cubicBezTo>
                  <a:pt x="4318517" y="2235142"/>
                  <a:pt x="4313070" y="2240585"/>
                  <a:pt x="4306532" y="2240585"/>
                </a:cubicBezTo>
                <a:cubicBezTo>
                  <a:pt x="4299998" y="2240585"/>
                  <a:pt x="4294552" y="2235142"/>
                  <a:pt x="4294552" y="2228605"/>
                </a:cubicBezTo>
                <a:cubicBezTo>
                  <a:pt x="4294552" y="2222071"/>
                  <a:pt x="4299998" y="2216624"/>
                  <a:pt x="4306532" y="2216624"/>
                </a:cubicBezTo>
                <a:close/>
                <a:moveTo>
                  <a:pt x="4460480" y="2214809"/>
                </a:moveTo>
                <a:cubicBezTo>
                  <a:pt x="4468100" y="2214809"/>
                  <a:pt x="4474275" y="2220989"/>
                  <a:pt x="4474275" y="2228608"/>
                </a:cubicBezTo>
                <a:cubicBezTo>
                  <a:pt x="4474275" y="2236229"/>
                  <a:pt x="4468100" y="2242404"/>
                  <a:pt x="4460480" y="2242404"/>
                </a:cubicBezTo>
                <a:cubicBezTo>
                  <a:pt x="4452860" y="2242404"/>
                  <a:pt x="4446680" y="2236229"/>
                  <a:pt x="4446680" y="2228608"/>
                </a:cubicBezTo>
                <a:cubicBezTo>
                  <a:pt x="4446680" y="2220989"/>
                  <a:pt x="4452860" y="2214809"/>
                  <a:pt x="4460480" y="2214809"/>
                </a:cubicBezTo>
                <a:close/>
                <a:moveTo>
                  <a:pt x="4614061" y="2213357"/>
                </a:moveTo>
                <a:cubicBezTo>
                  <a:pt x="4622486" y="2213357"/>
                  <a:pt x="4629312" y="2220184"/>
                  <a:pt x="4629312" y="2228608"/>
                </a:cubicBezTo>
                <a:cubicBezTo>
                  <a:pt x="4629312" y="2237029"/>
                  <a:pt x="4622486" y="2243856"/>
                  <a:pt x="4614061" y="2243856"/>
                </a:cubicBezTo>
                <a:cubicBezTo>
                  <a:pt x="4605640" y="2243856"/>
                  <a:pt x="4598814" y="2237029"/>
                  <a:pt x="4598814" y="2228608"/>
                </a:cubicBezTo>
                <a:cubicBezTo>
                  <a:pt x="4598814" y="2220184"/>
                  <a:pt x="4605640" y="2213357"/>
                  <a:pt x="4614061" y="2213357"/>
                </a:cubicBezTo>
                <a:close/>
                <a:moveTo>
                  <a:pt x="4768012" y="2211539"/>
                </a:moveTo>
                <a:cubicBezTo>
                  <a:pt x="4777450" y="2211539"/>
                  <a:pt x="4785078" y="2219163"/>
                  <a:pt x="4785078" y="2228605"/>
                </a:cubicBezTo>
                <a:cubicBezTo>
                  <a:pt x="4785078" y="2238043"/>
                  <a:pt x="4777450" y="2245667"/>
                  <a:pt x="4768012" y="2245667"/>
                </a:cubicBezTo>
                <a:cubicBezTo>
                  <a:pt x="4758570" y="2245667"/>
                  <a:pt x="4750946" y="2238043"/>
                  <a:pt x="4750946" y="2228605"/>
                </a:cubicBezTo>
                <a:cubicBezTo>
                  <a:pt x="4750946" y="2219163"/>
                  <a:pt x="4758570" y="2211539"/>
                  <a:pt x="4768012" y="2211539"/>
                </a:cubicBezTo>
                <a:close/>
                <a:moveTo>
                  <a:pt x="4921594" y="2209362"/>
                </a:moveTo>
                <a:cubicBezTo>
                  <a:pt x="4932126" y="2209362"/>
                  <a:pt x="4940836" y="2218076"/>
                  <a:pt x="4940836" y="2228605"/>
                </a:cubicBezTo>
                <a:cubicBezTo>
                  <a:pt x="4940836" y="2239133"/>
                  <a:pt x="4932126" y="2247851"/>
                  <a:pt x="4921594" y="2247851"/>
                </a:cubicBezTo>
                <a:cubicBezTo>
                  <a:pt x="4911066" y="2247851"/>
                  <a:pt x="4902352" y="2239133"/>
                  <a:pt x="4902352" y="2228605"/>
                </a:cubicBezTo>
                <a:cubicBezTo>
                  <a:pt x="4902352" y="2218076"/>
                  <a:pt x="4911066" y="2209362"/>
                  <a:pt x="4921594" y="2209362"/>
                </a:cubicBezTo>
                <a:close/>
                <a:moveTo>
                  <a:pt x="5075541" y="2207182"/>
                </a:moveTo>
                <a:cubicBezTo>
                  <a:pt x="5087522" y="2207182"/>
                  <a:pt x="5096964" y="2216620"/>
                  <a:pt x="5096964" y="2228605"/>
                </a:cubicBezTo>
                <a:cubicBezTo>
                  <a:pt x="5096964" y="2240585"/>
                  <a:pt x="5087160" y="2250027"/>
                  <a:pt x="5075541" y="2250027"/>
                </a:cubicBezTo>
                <a:cubicBezTo>
                  <a:pt x="5063560" y="2250027"/>
                  <a:pt x="5054118" y="2240585"/>
                  <a:pt x="5054118" y="2228605"/>
                </a:cubicBezTo>
                <a:cubicBezTo>
                  <a:pt x="5054118" y="2216620"/>
                  <a:pt x="5063560" y="2207182"/>
                  <a:pt x="5075541" y="2207182"/>
                </a:cubicBezTo>
                <a:close/>
                <a:moveTo>
                  <a:pt x="5229126" y="2205729"/>
                </a:moveTo>
                <a:cubicBezTo>
                  <a:pt x="5241759" y="2205729"/>
                  <a:pt x="5251998" y="2215972"/>
                  <a:pt x="5251998" y="2228605"/>
                </a:cubicBezTo>
                <a:cubicBezTo>
                  <a:pt x="5251998" y="2241237"/>
                  <a:pt x="5241759" y="2251480"/>
                  <a:pt x="5229126" y="2251480"/>
                </a:cubicBezTo>
                <a:cubicBezTo>
                  <a:pt x="5216494" y="2251480"/>
                  <a:pt x="5206251" y="2241237"/>
                  <a:pt x="5206251" y="2228605"/>
                </a:cubicBezTo>
                <a:cubicBezTo>
                  <a:pt x="5206251" y="2215972"/>
                  <a:pt x="5216494" y="2205729"/>
                  <a:pt x="5229126" y="2205729"/>
                </a:cubicBezTo>
                <a:close/>
                <a:moveTo>
                  <a:pt x="5383074" y="2203915"/>
                </a:moveTo>
                <a:cubicBezTo>
                  <a:pt x="5396873" y="2203915"/>
                  <a:pt x="5408126" y="2215172"/>
                  <a:pt x="5408126" y="2228967"/>
                </a:cubicBezTo>
                <a:cubicBezTo>
                  <a:pt x="5408126" y="2242766"/>
                  <a:pt x="5396873" y="2254023"/>
                  <a:pt x="5383074" y="2254023"/>
                </a:cubicBezTo>
                <a:cubicBezTo>
                  <a:pt x="5369278" y="2254023"/>
                  <a:pt x="5358022" y="2242766"/>
                  <a:pt x="5358022" y="2228967"/>
                </a:cubicBezTo>
                <a:cubicBezTo>
                  <a:pt x="5358022" y="2215172"/>
                  <a:pt x="5369278" y="2203915"/>
                  <a:pt x="5383074" y="2203915"/>
                </a:cubicBezTo>
                <a:close/>
                <a:moveTo>
                  <a:pt x="5536659" y="2201734"/>
                </a:moveTo>
                <a:cubicBezTo>
                  <a:pt x="5551544" y="2201734"/>
                  <a:pt x="5563892" y="2214081"/>
                  <a:pt x="5563892" y="2228967"/>
                </a:cubicBezTo>
                <a:cubicBezTo>
                  <a:pt x="5563892" y="2243852"/>
                  <a:pt x="5551906" y="2256199"/>
                  <a:pt x="5536659" y="2256199"/>
                </a:cubicBezTo>
                <a:cubicBezTo>
                  <a:pt x="5521770" y="2256199"/>
                  <a:pt x="5509427" y="2243852"/>
                  <a:pt x="5509427" y="2228967"/>
                </a:cubicBezTo>
                <a:cubicBezTo>
                  <a:pt x="5509427" y="2214081"/>
                  <a:pt x="5521770" y="2201734"/>
                  <a:pt x="5536659" y="2201734"/>
                </a:cubicBezTo>
                <a:close/>
                <a:moveTo>
                  <a:pt x="5690606" y="2198834"/>
                </a:moveTo>
                <a:cubicBezTo>
                  <a:pt x="5707047" y="2198834"/>
                  <a:pt x="5720378" y="2212164"/>
                  <a:pt x="5720378" y="2228608"/>
                </a:cubicBezTo>
                <a:cubicBezTo>
                  <a:pt x="5720378" y="2245049"/>
                  <a:pt x="5707047" y="2258379"/>
                  <a:pt x="5690606" y="2258379"/>
                </a:cubicBezTo>
                <a:cubicBezTo>
                  <a:pt x="5674162" y="2258379"/>
                  <a:pt x="5660832" y="2245049"/>
                  <a:pt x="5660832" y="2228608"/>
                </a:cubicBezTo>
                <a:cubicBezTo>
                  <a:pt x="5660832" y="2212164"/>
                  <a:pt x="5674162" y="2198834"/>
                  <a:pt x="5690606" y="2198834"/>
                </a:cubicBezTo>
                <a:close/>
                <a:moveTo>
                  <a:pt x="5844554" y="2197015"/>
                </a:moveTo>
                <a:cubicBezTo>
                  <a:pt x="5862344" y="2197015"/>
                  <a:pt x="5876506" y="2211177"/>
                  <a:pt x="5876506" y="2228967"/>
                </a:cubicBezTo>
                <a:cubicBezTo>
                  <a:pt x="5876506" y="2246757"/>
                  <a:pt x="5862344" y="2260918"/>
                  <a:pt x="5844554" y="2260918"/>
                </a:cubicBezTo>
                <a:cubicBezTo>
                  <a:pt x="5826764" y="2260918"/>
                  <a:pt x="5812602" y="2246757"/>
                  <a:pt x="5812602" y="2228967"/>
                </a:cubicBezTo>
                <a:cubicBezTo>
                  <a:pt x="5812602" y="2211177"/>
                  <a:pt x="5826764" y="2197015"/>
                  <a:pt x="5844554" y="2197015"/>
                </a:cubicBezTo>
                <a:close/>
                <a:moveTo>
                  <a:pt x="5998136" y="2194839"/>
                </a:moveTo>
                <a:cubicBezTo>
                  <a:pt x="6016783" y="2194839"/>
                  <a:pt x="6031901" y="2209957"/>
                  <a:pt x="6031901" y="2228605"/>
                </a:cubicBezTo>
                <a:cubicBezTo>
                  <a:pt x="6031901" y="2247256"/>
                  <a:pt x="6016783" y="2262374"/>
                  <a:pt x="5998136" y="2262374"/>
                </a:cubicBezTo>
                <a:cubicBezTo>
                  <a:pt x="5979488" y="2262374"/>
                  <a:pt x="5964370" y="2247256"/>
                  <a:pt x="5964370" y="2228605"/>
                </a:cubicBezTo>
                <a:cubicBezTo>
                  <a:pt x="5964370" y="2209957"/>
                  <a:pt x="5979488" y="2194839"/>
                  <a:pt x="5998136" y="2194839"/>
                </a:cubicBezTo>
                <a:close/>
                <a:moveTo>
                  <a:pt x="6152083" y="2192296"/>
                </a:moveTo>
                <a:cubicBezTo>
                  <a:pt x="6172054" y="2192296"/>
                  <a:pt x="6188391" y="2208634"/>
                  <a:pt x="6188391" y="2228605"/>
                </a:cubicBezTo>
                <a:cubicBezTo>
                  <a:pt x="6188391" y="2248575"/>
                  <a:pt x="6172054" y="2264913"/>
                  <a:pt x="6152083" y="2264913"/>
                </a:cubicBezTo>
                <a:cubicBezTo>
                  <a:pt x="6132112" y="2264913"/>
                  <a:pt x="6115774" y="2248575"/>
                  <a:pt x="6115774" y="2228605"/>
                </a:cubicBezTo>
                <a:cubicBezTo>
                  <a:pt x="6115774" y="2208634"/>
                  <a:pt x="6132112" y="2192296"/>
                  <a:pt x="6152083" y="2192296"/>
                </a:cubicBezTo>
                <a:close/>
                <a:moveTo>
                  <a:pt x="6305672" y="2189754"/>
                </a:moveTo>
                <a:cubicBezTo>
                  <a:pt x="6327091" y="2189754"/>
                  <a:pt x="6344522" y="2207182"/>
                  <a:pt x="6344522" y="2228605"/>
                </a:cubicBezTo>
                <a:cubicBezTo>
                  <a:pt x="6344522" y="2250024"/>
                  <a:pt x="6327091" y="2267452"/>
                  <a:pt x="6305672" y="2267452"/>
                </a:cubicBezTo>
                <a:cubicBezTo>
                  <a:pt x="6284249" y="2267452"/>
                  <a:pt x="6266821" y="2250024"/>
                  <a:pt x="6266821" y="2228605"/>
                </a:cubicBezTo>
                <a:cubicBezTo>
                  <a:pt x="6266821" y="2207182"/>
                  <a:pt x="6284249" y="2189754"/>
                  <a:pt x="6305672" y="2189754"/>
                </a:cubicBezTo>
                <a:close/>
                <a:moveTo>
                  <a:pt x="6459616" y="2187577"/>
                </a:moveTo>
                <a:cubicBezTo>
                  <a:pt x="6482490" y="2187577"/>
                  <a:pt x="6500646" y="2205733"/>
                  <a:pt x="6500646" y="2228605"/>
                </a:cubicBezTo>
                <a:cubicBezTo>
                  <a:pt x="6500646" y="2251480"/>
                  <a:pt x="6482128" y="2269632"/>
                  <a:pt x="6459616" y="2269632"/>
                </a:cubicBezTo>
                <a:cubicBezTo>
                  <a:pt x="6436744" y="2269632"/>
                  <a:pt x="6418588" y="2251480"/>
                  <a:pt x="6418588" y="2228605"/>
                </a:cubicBezTo>
                <a:cubicBezTo>
                  <a:pt x="6418588" y="2205733"/>
                  <a:pt x="6436744" y="2187577"/>
                  <a:pt x="6459616" y="2187577"/>
                </a:cubicBezTo>
                <a:close/>
                <a:moveTo>
                  <a:pt x="6613200" y="2185035"/>
                </a:moveTo>
                <a:cubicBezTo>
                  <a:pt x="6637262" y="2185035"/>
                  <a:pt x="6656770" y="2204540"/>
                  <a:pt x="6656770" y="2228605"/>
                </a:cubicBezTo>
                <a:cubicBezTo>
                  <a:pt x="6656770" y="2252669"/>
                  <a:pt x="6637265" y="2272175"/>
                  <a:pt x="6613200" y="2272175"/>
                </a:cubicBezTo>
                <a:cubicBezTo>
                  <a:pt x="6589136" y="2272175"/>
                  <a:pt x="6569630" y="2252669"/>
                  <a:pt x="6569630" y="2228605"/>
                </a:cubicBezTo>
                <a:cubicBezTo>
                  <a:pt x="6569630" y="2204540"/>
                  <a:pt x="6589136" y="2185035"/>
                  <a:pt x="6613200" y="2185035"/>
                </a:cubicBezTo>
                <a:close/>
                <a:moveTo>
                  <a:pt x="2768873" y="2074657"/>
                </a:moveTo>
                <a:cubicBezTo>
                  <a:pt x="2769235" y="2074657"/>
                  <a:pt x="2769235" y="2074657"/>
                  <a:pt x="2769235" y="2075019"/>
                </a:cubicBezTo>
                <a:cubicBezTo>
                  <a:pt x="2769235" y="2075385"/>
                  <a:pt x="2768873" y="2075385"/>
                  <a:pt x="2768873" y="2075385"/>
                </a:cubicBezTo>
                <a:cubicBezTo>
                  <a:pt x="2768511" y="2075385"/>
                  <a:pt x="2768511" y="2075385"/>
                  <a:pt x="2768511" y="2075019"/>
                </a:cubicBezTo>
                <a:cubicBezTo>
                  <a:pt x="2768511" y="2074657"/>
                  <a:pt x="2768511" y="2074657"/>
                  <a:pt x="2768873" y="2074657"/>
                </a:cubicBezTo>
                <a:close/>
                <a:moveTo>
                  <a:pt x="2307393" y="2074657"/>
                </a:moveTo>
                <a:cubicBezTo>
                  <a:pt x="2307755" y="2074657"/>
                  <a:pt x="2307755" y="2074657"/>
                  <a:pt x="2307755" y="2075019"/>
                </a:cubicBezTo>
                <a:cubicBezTo>
                  <a:pt x="2307755" y="2075385"/>
                  <a:pt x="2307393" y="2075385"/>
                  <a:pt x="2307393" y="2075385"/>
                </a:cubicBezTo>
                <a:cubicBezTo>
                  <a:pt x="2307031" y="2075385"/>
                  <a:pt x="2307031" y="2075385"/>
                  <a:pt x="2307031" y="2075019"/>
                </a:cubicBezTo>
                <a:cubicBezTo>
                  <a:pt x="2307031" y="2074657"/>
                  <a:pt x="2307031" y="2074657"/>
                  <a:pt x="2307393" y="2074657"/>
                </a:cubicBezTo>
                <a:close/>
                <a:moveTo>
                  <a:pt x="2153808" y="2074657"/>
                </a:moveTo>
                <a:cubicBezTo>
                  <a:pt x="2154170" y="2074657"/>
                  <a:pt x="2154170" y="2074657"/>
                  <a:pt x="2154170" y="2075019"/>
                </a:cubicBezTo>
                <a:cubicBezTo>
                  <a:pt x="2154170" y="2075385"/>
                  <a:pt x="2153808" y="2075385"/>
                  <a:pt x="2153808" y="2075385"/>
                </a:cubicBezTo>
                <a:cubicBezTo>
                  <a:pt x="2153445" y="2075385"/>
                  <a:pt x="2153445" y="2075385"/>
                  <a:pt x="2153445" y="2075019"/>
                </a:cubicBezTo>
                <a:cubicBezTo>
                  <a:pt x="2153445" y="2074657"/>
                  <a:pt x="2153445" y="2074657"/>
                  <a:pt x="2153808" y="2074657"/>
                </a:cubicBezTo>
                <a:close/>
                <a:moveTo>
                  <a:pt x="1999864" y="2074295"/>
                </a:moveTo>
                <a:cubicBezTo>
                  <a:pt x="2000264" y="2074295"/>
                  <a:pt x="2000588" y="2074619"/>
                  <a:pt x="2000588" y="2075023"/>
                </a:cubicBezTo>
                <a:cubicBezTo>
                  <a:pt x="2000588" y="2075423"/>
                  <a:pt x="2000264" y="2075747"/>
                  <a:pt x="1999864" y="2075747"/>
                </a:cubicBezTo>
                <a:cubicBezTo>
                  <a:pt x="1999460" y="2075747"/>
                  <a:pt x="1999136" y="2075423"/>
                  <a:pt x="1999136" y="2075023"/>
                </a:cubicBezTo>
                <a:cubicBezTo>
                  <a:pt x="1999136" y="2074619"/>
                  <a:pt x="1999460" y="2074295"/>
                  <a:pt x="1999864" y="2074295"/>
                </a:cubicBezTo>
                <a:close/>
                <a:moveTo>
                  <a:pt x="2922458" y="2073205"/>
                </a:moveTo>
                <a:cubicBezTo>
                  <a:pt x="2923186" y="2073205"/>
                  <a:pt x="2923910" y="2073933"/>
                  <a:pt x="2923910" y="2074657"/>
                </a:cubicBezTo>
                <a:cubicBezTo>
                  <a:pt x="2923910" y="2075385"/>
                  <a:pt x="2922458" y="2076110"/>
                  <a:pt x="2922458" y="2076110"/>
                </a:cubicBezTo>
                <a:cubicBezTo>
                  <a:pt x="2921734" y="2076110"/>
                  <a:pt x="2921006" y="2075385"/>
                  <a:pt x="2921006" y="2074657"/>
                </a:cubicBezTo>
                <a:cubicBezTo>
                  <a:pt x="2921006" y="2073933"/>
                  <a:pt x="2921734" y="2073205"/>
                  <a:pt x="2922458" y="2073205"/>
                </a:cubicBezTo>
                <a:close/>
                <a:moveTo>
                  <a:pt x="3076406" y="2072843"/>
                </a:moveTo>
                <a:cubicBezTo>
                  <a:pt x="3077496" y="2072843"/>
                  <a:pt x="3078582" y="2073933"/>
                  <a:pt x="3078582" y="2075023"/>
                </a:cubicBezTo>
                <a:cubicBezTo>
                  <a:pt x="3078582" y="2076110"/>
                  <a:pt x="3076406" y="2077200"/>
                  <a:pt x="3076406" y="2077200"/>
                </a:cubicBezTo>
                <a:cubicBezTo>
                  <a:pt x="3075315" y="2077200"/>
                  <a:pt x="3074225" y="2076110"/>
                  <a:pt x="3074225" y="2075023"/>
                </a:cubicBezTo>
                <a:cubicBezTo>
                  <a:pt x="3074225" y="2073933"/>
                  <a:pt x="3075315" y="2072843"/>
                  <a:pt x="3076406" y="2072843"/>
                </a:cubicBezTo>
                <a:close/>
                <a:moveTo>
                  <a:pt x="3230353" y="2071753"/>
                </a:moveTo>
                <a:cubicBezTo>
                  <a:pt x="3232167" y="2071753"/>
                  <a:pt x="3233620" y="2073205"/>
                  <a:pt x="3233620" y="2075019"/>
                </a:cubicBezTo>
                <a:cubicBezTo>
                  <a:pt x="3233620" y="2076834"/>
                  <a:pt x="3232167" y="2078290"/>
                  <a:pt x="3230353" y="2078290"/>
                </a:cubicBezTo>
                <a:cubicBezTo>
                  <a:pt x="3228538" y="2078290"/>
                  <a:pt x="3227086" y="2076834"/>
                  <a:pt x="3227086" y="2075019"/>
                </a:cubicBezTo>
                <a:cubicBezTo>
                  <a:pt x="3227086" y="2073205"/>
                  <a:pt x="3228538" y="2071753"/>
                  <a:pt x="3230353" y="2071753"/>
                </a:cubicBezTo>
                <a:close/>
                <a:moveTo>
                  <a:pt x="3383934" y="2070662"/>
                </a:moveTo>
                <a:cubicBezTo>
                  <a:pt x="3386477" y="2070662"/>
                  <a:pt x="3388291" y="2072477"/>
                  <a:pt x="3388291" y="2075019"/>
                </a:cubicBezTo>
                <a:cubicBezTo>
                  <a:pt x="3388291" y="2077562"/>
                  <a:pt x="3386115" y="2079376"/>
                  <a:pt x="3383934" y="2079376"/>
                </a:cubicBezTo>
                <a:cubicBezTo>
                  <a:pt x="3381392" y="2079376"/>
                  <a:pt x="3379577" y="2077562"/>
                  <a:pt x="3379577" y="2075019"/>
                </a:cubicBezTo>
                <a:cubicBezTo>
                  <a:pt x="3379577" y="2072477"/>
                  <a:pt x="3381392" y="2070662"/>
                  <a:pt x="3383934" y="2070662"/>
                </a:cubicBezTo>
                <a:close/>
                <a:moveTo>
                  <a:pt x="3537886" y="2069210"/>
                </a:moveTo>
                <a:cubicBezTo>
                  <a:pt x="3541152" y="2069210"/>
                  <a:pt x="3543695" y="2071753"/>
                  <a:pt x="3543695" y="2075019"/>
                </a:cubicBezTo>
                <a:cubicBezTo>
                  <a:pt x="3543695" y="2078286"/>
                  <a:pt x="3541152" y="2080829"/>
                  <a:pt x="3537886" y="2080829"/>
                </a:cubicBezTo>
                <a:cubicBezTo>
                  <a:pt x="3534619" y="2080829"/>
                  <a:pt x="3532076" y="2078286"/>
                  <a:pt x="3532076" y="2075019"/>
                </a:cubicBezTo>
                <a:cubicBezTo>
                  <a:pt x="3532076" y="2071753"/>
                  <a:pt x="3534619" y="2069210"/>
                  <a:pt x="3537886" y="2069210"/>
                </a:cubicBezTo>
                <a:close/>
                <a:moveTo>
                  <a:pt x="3691467" y="2067758"/>
                </a:moveTo>
                <a:cubicBezTo>
                  <a:pt x="3695462" y="2067758"/>
                  <a:pt x="3698728" y="2071025"/>
                  <a:pt x="3698728" y="2075019"/>
                </a:cubicBezTo>
                <a:cubicBezTo>
                  <a:pt x="3698728" y="2079014"/>
                  <a:pt x="3695462" y="2082281"/>
                  <a:pt x="3691467" y="2082281"/>
                </a:cubicBezTo>
                <a:cubicBezTo>
                  <a:pt x="3687472" y="2082281"/>
                  <a:pt x="3684205" y="2079014"/>
                  <a:pt x="3684205" y="2075019"/>
                </a:cubicBezTo>
                <a:cubicBezTo>
                  <a:pt x="3684205" y="2071025"/>
                  <a:pt x="3687472" y="2067758"/>
                  <a:pt x="3691467" y="2067758"/>
                </a:cubicBezTo>
                <a:close/>
                <a:moveTo>
                  <a:pt x="3845414" y="2065943"/>
                </a:moveTo>
                <a:cubicBezTo>
                  <a:pt x="3850500" y="2065943"/>
                  <a:pt x="3854494" y="2069938"/>
                  <a:pt x="3854494" y="2075019"/>
                </a:cubicBezTo>
                <a:cubicBezTo>
                  <a:pt x="3854494" y="2080104"/>
                  <a:pt x="3850500" y="2084099"/>
                  <a:pt x="3845414" y="2084099"/>
                </a:cubicBezTo>
                <a:cubicBezTo>
                  <a:pt x="3840333" y="2084099"/>
                  <a:pt x="3836338" y="2080104"/>
                  <a:pt x="3836338" y="2075019"/>
                </a:cubicBezTo>
                <a:cubicBezTo>
                  <a:pt x="3836338" y="2069938"/>
                  <a:pt x="3840333" y="2065943"/>
                  <a:pt x="3845414" y="2065943"/>
                </a:cubicBezTo>
                <a:close/>
                <a:moveTo>
                  <a:pt x="3999000" y="2064853"/>
                </a:moveTo>
                <a:cubicBezTo>
                  <a:pt x="4004447" y="2064853"/>
                  <a:pt x="4009166" y="2069572"/>
                  <a:pt x="4009166" y="2075019"/>
                </a:cubicBezTo>
                <a:cubicBezTo>
                  <a:pt x="4009166" y="2080467"/>
                  <a:pt x="4004809" y="2085186"/>
                  <a:pt x="3999000" y="2085186"/>
                </a:cubicBezTo>
                <a:cubicBezTo>
                  <a:pt x="3993552" y="2085186"/>
                  <a:pt x="3988833" y="2080467"/>
                  <a:pt x="3988833" y="2075019"/>
                </a:cubicBezTo>
                <a:cubicBezTo>
                  <a:pt x="3988833" y="2069572"/>
                  <a:pt x="3993552" y="2064853"/>
                  <a:pt x="3999000" y="2064853"/>
                </a:cubicBezTo>
                <a:close/>
                <a:moveTo>
                  <a:pt x="4152947" y="2063038"/>
                </a:moveTo>
                <a:cubicBezTo>
                  <a:pt x="4159484" y="2063038"/>
                  <a:pt x="4164932" y="2068486"/>
                  <a:pt x="4164932" y="2075019"/>
                </a:cubicBezTo>
                <a:cubicBezTo>
                  <a:pt x="4164932" y="2081557"/>
                  <a:pt x="4159484" y="2087000"/>
                  <a:pt x="4152947" y="2087000"/>
                </a:cubicBezTo>
                <a:cubicBezTo>
                  <a:pt x="4146414" y="2087000"/>
                  <a:pt x="4140966" y="2081557"/>
                  <a:pt x="4140966" y="2075019"/>
                </a:cubicBezTo>
                <a:cubicBezTo>
                  <a:pt x="4140966" y="2068486"/>
                  <a:pt x="4146414" y="2063038"/>
                  <a:pt x="4152947" y="2063038"/>
                </a:cubicBezTo>
                <a:close/>
                <a:moveTo>
                  <a:pt x="4306528" y="2061224"/>
                </a:moveTo>
                <a:cubicBezTo>
                  <a:pt x="4314156" y="2061224"/>
                  <a:pt x="4320328" y="2067396"/>
                  <a:pt x="4320328" y="2075023"/>
                </a:cubicBezTo>
                <a:cubicBezTo>
                  <a:pt x="4320328" y="2082647"/>
                  <a:pt x="4314156" y="2088818"/>
                  <a:pt x="4306528" y="2088818"/>
                </a:cubicBezTo>
                <a:cubicBezTo>
                  <a:pt x="4298904" y="2088818"/>
                  <a:pt x="4292733" y="2082647"/>
                  <a:pt x="4292733" y="2075023"/>
                </a:cubicBezTo>
                <a:cubicBezTo>
                  <a:pt x="4292733" y="2067396"/>
                  <a:pt x="4298904" y="2061224"/>
                  <a:pt x="4306528" y="2061224"/>
                </a:cubicBezTo>
                <a:close/>
                <a:moveTo>
                  <a:pt x="4460476" y="2059772"/>
                </a:moveTo>
                <a:cubicBezTo>
                  <a:pt x="4468900" y="2059772"/>
                  <a:pt x="4475728" y="2066599"/>
                  <a:pt x="4475728" y="2075023"/>
                </a:cubicBezTo>
                <a:cubicBezTo>
                  <a:pt x="4475728" y="2083444"/>
                  <a:pt x="4468900" y="2090271"/>
                  <a:pt x="4460476" y="2090271"/>
                </a:cubicBezTo>
                <a:cubicBezTo>
                  <a:pt x="4452056" y="2090271"/>
                  <a:pt x="4445228" y="2083444"/>
                  <a:pt x="4445228" y="2075023"/>
                </a:cubicBezTo>
                <a:cubicBezTo>
                  <a:pt x="4445228" y="2066599"/>
                  <a:pt x="4452056" y="2059772"/>
                  <a:pt x="4460476" y="2059772"/>
                </a:cubicBezTo>
                <a:close/>
                <a:moveTo>
                  <a:pt x="4614065" y="2057957"/>
                </a:moveTo>
                <a:cubicBezTo>
                  <a:pt x="4623503" y="2057957"/>
                  <a:pt x="4631131" y="2065581"/>
                  <a:pt x="4631131" y="2075023"/>
                </a:cubicBezTo>
                <a:cubicBezTo>
                  <a:pt x="4631131" y="2084461"/>
                  <a:pt x="4623503" y="2092085"/>
                  <a:pt x="4614065" y="2092085"/>
                </a:cubicBezTo>
                <a:cubicBezTo>
                  <a:pt x="4604623" y="2092085"/>
                  <a:pt x="4596999" y="2084461"/>
                  <a:pt x="4596999" y="2075023"/>
                </a:cubicBezTo>
                <a:cubicBezTo>
                  <a:pt x="4596999" y="2065581"/>
                  <a:pt x="4604623" y="2057957"/>
                  <a:pt x="4614065" y="2057957"/>
                </a:cubicBezTo>
                <a:close/>
                <a:moveTo>
                  <a:pt x="4768008" y="2055777"/>
                </a:moveTo>
                <a:cubicBezTo>
                  <a:pt x="4778640" y="2055777"/>
                  <a:pt x="4787255" y="2064392"/>
                  <a:pt x="4787255" y="2075019"/>
                </a:cubicBezTo>
                <a:cubicBezTo>
                  <a:pt x="4787255" y="2085647"/>
                  <a:pt x="4778640" y="2094266"/>
                  <a:pt x="4768008" y="2094266"/>
                </a:cubicBezTo>
                <a:cubicBezTo>
                  <a:pt x="4757381" y="2094266"/>
                  <a:pt x="4748766" y="2085647"/>
                  <a:pt x="4748766" y="2075019"/>
                </a:cubicBezTo>
                <a:cubicBezTo>
                  <a:pt x="4748766" y="2064392"/>
                  <a:pt x="4757381" y="2055777"/>
                  <a:pt x="4768008" y="2055777"/>
                </a:cubicBezTo>
                <a:close/>
                <a:moveTo>
                  <a:pt x="4921594" y="2053600"/>
                </a:moveTo>
                <a:cubicBezTo>
                  <a:pt x="4933574" y="2053600"/>
                  <a:pt x="4943013" y="2063038"/>
                  <a:pt x="4943013" y="2075023"/>
                </a:cubicBezTo>
                <a:cubicBezTo>
                  <a:pt x="4943013" y="2087004"/>
                  <a:pt x="4933212" y="2096446"/>
                  <a:pt x="4921594" y="2096446"/>
                </a:cubicBezTo>
                <a:cubicBezTo>
                  <a:pt x="4909613" y="2096446"/>
                  <a:pt x="4900171" y="2087004"/>
                  <a:pt x="4900171" y="2075023"/>
                </a:cubicBezTo>
                <a:cubicBezTo>
                  <a:pt x="4900171" y="2063038"/>
                  <a:pt x="4909613" y="2053600"/>
                  <a:pt x="4921594" y="2053600"/>
                </a:cubicBezTo>
                <a:close/>
                <a:moveTo>
                  <a:pt x="5075545" y="2052148"/>
                </a:moveTo>
                <a:cubicBezTo>
                  <a:pt x="5088250" y="2052148"/>
                  <a:pt x="5098416" y="2062314"/>
                  <a:pt x="5098416" y="2075023"/>
                </a:cubicBezTo>
                <a:cubicBezTo>
                  <a:pt x="5098416" y="2087728"/>
                  <a:pt x="5088250" y="2097895"/>
                  <a:pt x="5075545" y="2097895"/>
                </a:cubicBezTo>
                <a:cubicBezTo>
                  <a:pt x="5062836" y="2097895"/>
                  <a:pt x="5052670" y="2087728"/>
                  <a:pt x="5052670" y="2075023"/>
                </a:cubicBezTo>
                <a:cubicBezTo>
                  <a:pt x="5052670" y="2062314"/>
                  <a:pt x="5062836" y="2052148"/>
                  <a:pt x="5075545" y="2052148"/>
                </a:cubicBezTo>
                <a:close/>
                <a:moveTo>
                  <a:pt x="5229126" y="2049968"/>
                </a:moveTo>
                <a:cubicBezTo>
                  <a:pt x="5242926" y="2049968"/>
                  <a:pt x="5254182" y="2061224"/>
                  <a:pt x="5254182" y="2075019"/>
                </a:cubicBezTo>
                <a:cubicBezTo>
                  <a:pt x="5254182" y="2088818"/>
                  <a:pt x="5242926" y="2100075"/>
                  <a:pt x="5229126" y="2100075"/>
                </a:cubicBezTo>
                <a:cubicBezTo>
                  <a:pt x="5215331" y="2100075"/>
                  <a:pt x="5204074" y="2088818"/>
                  <a:pt x="5204074" y="2075019"/>
                </a:cubicBezTo>
                <a:cubicBezTo>
                  <a:pt x="5204074" y="2061224"/>
                  <a:pt x="5215331" y="2049968"/>
                  <a:pt x="5229126" y="2049968"/>
                </a:cubicBezTo>
                <a:close/>
                <a:moveTo>
                  <a:pt x="5383074" y="2047791"/>
                </a:moveTo>
                <a:cubicBezTo>
                  <a:pt x="5397960" y="2047791"/>
                  <a:pt x="5410306" y="2060138"/>
                  <a:pt x="5410306" y="2075023"/>
                </a:cubicBezTo>
                <a:cubicBezTo>
                  <a:pt x="5410306" y="2089909"/>
                  <a:pt x="5398322" y="2102256"/>
                  <a:pt x="5383074" y="2102256"/>
                </a:cubicBezTo>
                <a:cubicBezTo>
                  <a:pt x="5368184" y="2102256"/>
                  <a:pt x="5355842" y="2089909"/>
                  <a:pt x="5355842" y="2075023"/>
                </a:cubicBezTo>
                <a:cubicBezTo>
                  <a:pt x="5355842" y="2060138"/>
                  <a:pt x="5368184" y="2047791"/>
                  <a:pt x="5383074" y="2047791"/>
                </a:cubicBezTo>
                <a:close/>
                <a:moveTo>
                  <a:pt x="5537018" y="2045248"/>
                </a:moveTo>
                <a:cubicBezTo>
                  <a:pt x="5553462" y="2045248"/>
                  <a:pt x="5566792" y="2058579"/>
                  <a:pt x="5566792" y="2075023"/>
                </a:cubicBezTo>
                <a:cubicBezTo>
                  <a:pt x="5566792" y="2091464"/>
                  <a:pt x="5553462" y="2104794"/>
                  <a:pt x="5537018" y="2104794"/>
                </a:cubicBezTo>
                <a:cubicBezTo>
                  <a:pt x="5520576" y="2104794"/>
                  <a:pt x="5507246" y="2091464"/>
                  <a:pt x="5507246" y="2075023"/>
                </a:cubicBezTo>
                <a:cubicBezTo>
                  <a:pt x="5507246" y="2058579"/>
                  <a:pt x="5520576" y="2045248"/>
                  <a:pt x="5537018" y="2045248"/>
                </a:cubicBezTo>
                <a:close/>
                <a:moveTo>
                  <a:pt x="5690606" y="2043068"/>
                </a:moveTo>
                <a:cubicBezTo>
                  <a:pt x="5708396" y="2043068"/>
                  <a:pt x="5722558" y="2057229"/>
                  <a:pt x="5722558" y="2075019"/>
                </a:cubicBezTo>
                <a:cubicBezTo>
                  <a:pt x="5722558" y="2092810"/>
                  <a:pt x="5708396" y="2106971"/>
                  <a:pt x="5690606" y="2106971"/>
                </a:cubicBezTo>
                <a:cubicBezTo>
                  <a:pt x="5672816" y="2106971"/>
                  <a:pt x="5658655" y="2092810"/>
                  <a:pt x="5658655" y="2075019"/>
                </a:cubicBezTo>
                <a:cubicBezTo>
                  <a:pt x="5658655" y="2057229"/>
                  <a:pt x="5672816" y="2043068"/>
                  <a:pt x="5690606" y="2043068"/>
                </a:cubicBezTo>
                <a:close/>
                <a:moveTo>
                  <a:pt x="5844554" y="2041254"/>
                </a:moveTo>
                <a:cubicBezTo>
                  <a:pt x="5863202" y="2041254"/>
                  <a:pt x="5878320" y="2056372"/>
                  <a:pt x="5878320" y="2075019"/>
                </a:cubicBezTo>
                <a:cubicBezTo>
                  <a:pt x="5878320" y="2093671"/>
                  <a:pt x="5863202" y="2108789"/>
                  <a:pt x="5844554" y="2108789"/>
                </a:cubicBezTo>
                <a:cubicBezTo>
                  <a:pt x="5825906" y="2108789"/>
                  <a:pt x="5810788" y="2093671"/>
                  <a:pt x="5810788" y="2075019"/>
                </a:cubicBezTo>
                <a:cubicBezTo>
                  <a:pt x="5810788" y="2056372"/>
                  <a:pt x="5825906" y="2041254"/>
                  <a:pt x="5844554" y="2041254"/>
                </a:cubicBezTo>
                <a:close/>
                <a:moveTo>
                  <a:pt x="5998136" y="2038711"/>
                </a:moveTo>
                <a:cubicBezTo>
                  <a:pt x="6018106" y="2038711"/>
                  <a:pt x="6034444" y="2055049"/>
                  <a:pt x="6034444" y="2075019"/>
                </a:cubicBezTo>
                <a:cubicBezTo>
                  <a:pt x="6034444" y="2094990"/>
                  <a:pt x="6018106" y="2111328"/>
                  <a:pt x="5998136" y="2111328"/>
                </a:cubicBezTo>
                <a:cubicBezTo>
                  <a:pt x="5978165" y="2111328"/>
                  <a:pt x="5961827" y="2094990"/>
                  <a:pt x="5961827" y="2075019"/>
                </a:cubicBezTo>
                <a:cubicBezTo>
                  <a:pt x="5961827" y="2055049"/>
                  <a:pt x="5978165" y="2038711"/>
                  <a:pt x="5998136" y="2038711"/>
                </a:cubicBezTo>
                <a:close/>
                <a:moveTo>
                  <a:pt x="6152083" y="2036172"/>
                </a:moveTo>
                <a:cubicBezTo>
                  <a:pt x="6173506" y="2036172"/>
                  <a:pt x="6190934" y="2053600"/>
                  <a:pt x="6190934" y="2075023"/>
                </a:cubicBezTo>
                <a:cubicBezTo>
                  <a:pt x="6190934" y="2096442"/>
                  <a:pt x="6173506" y="2113870"/>
                  <a:pt x="6152083" y="2113870"/>
                </a:cubicBezTo>
                <a:cubicBezTo>
                  <a:pt x="6130664" y="2113870"/>
                  <a:pt x="6113236" y="2096442"/>
                  <a:pt x="6113236" y="2075023"/>
                </a:cubicBezTo>
                <a:cubicBezTo>
                  <a:pt x="6113236" y="2053600"/>
                  <a:pt x="6130664" y="2036172"/>
                  <a:pt x="6152083" y="2036172"/>
                </a:cubicBezTo>
                <a:close/>
                <a:moveTo>
                  <a:pt x="6305668" y="2033992"/>
                </a:moveTo>
                <a:cubicBezTo>
                  <a:pt x="6328543" y="2033992"/>
                  <a:pt x="6346700" y="2052148"/>
                  <a:pt x="6346700" y="2075019"/>
                </a:cubicBezTo>
                <a:cubicBezTo>
                  <a:pt x="6346700" y="2097895"/>
                  <a:pt x="6328181" y="2116047"/>
                  <a:pt x="6305668" y="2116047"/>
                </a:cubicBezTo>
                <a:cubicBezTo>
                  <a:pt x="6282796" y="2116047"/>
                  <a:pt x="6264640" y="2097895"/>
                  <a:pt x="6264640" y="2075019"/>
                </a:cubicBezTo>
                <a:cubicBezTo>
                  <a:pt x="6264640" y="2052148"/>
                  <a:pt x="6282796" y="2033992"/>
                  <a:pt x="6305668" y="2033992"/>
                </a:cubicBezTo>
                <a:close/>
                <a:moveTo>
                  <a:pt x="6459616" y="2031449"/>
                </a:moveTo>
                <a:cubicBezTo>
                  <a:pt x="6483577" y="2031449"/>
                  <a:pt x="6503186" y="2051058"/>
                  <a:pt x="6503186" y="2075019"/>
                </a:cubicBezTo>
                <a:cubicBezTo>
                  <a:pt x="6503186" y="2098985"/>
                  <a:pt x="6483577" y="2118590"/>
                  <a:pt x="6459616" y="2118590"/>
                </a:cubicBezTo>
                <a:cubicBezTo>
                  <a:pt x="6435650" y="2118590"/>
                  <a:pt x="6416046" y="2098985"/>
                  <a:pt x="6416046" y="2075019"/>
                </a:cubicBezTo>
                <a:cubicBezTo>
                  <a:pt x="6416046" y="2051058"/>
                  <a:pt x="6435650" y="2031449"/>
                  <a:pt x="6459616" y="2031449"/>
                </a:cubicBezTo>
                <a:close/>
                <a:moveTo>
                  <a:pt x="6613200" y="2028911"/>
                </a:moveTo>
                <a:cubicBezTo>
                  <a:pt x="6638668" y="2028911"/>
                  <a:pt x="6659313" y="2049556"/>
                  <a:pt x="6659313" y="2075023"/>
                </a:cubicBezTo>
                <a:cubicBezTo>
                  <a:pt x="6659313" y="2100490"/>
                  <a:pt x="6638668" y="2121136"/>
                  <a:pt x="6613200" y="2121136"/>
                </a:cubicBezTo>
                <a:cubicBezTo>
                  <a:pt x="6587734" y="2121136"/>
                  <a:pt x="6567088" y="2100490"/>
                  <a:pt x="6567088" y="2075023"/>
                </a:cubicBezTo>
                <a:cubicBezTo>
                  <a:pt x="6567088" y="2049556"/>
                  <a:pt x="6587734" y="2028911"/>
                  <a:pt x="6613200" y="2028911"/>
                </a:cubicBezTo>
                <a:close/>
                <a:moveTo>
                  <a:pt x="2614925" y="1921072"/>
                </a:moveTo>
                <a:cubicBezTo>
                  <a:pt x="2615288" y="1921072"/>
                  <a:pt x="2615288" y="1921072"/>
                  <a:pt x="2615288" y="1921434"/>
                </a:cubicBezTo>
                <a:cubicBezTo>
                  <a:pt x="2615288" y="1921800"/>
                  <a:pt x="2614925" y="1921800"/>
                  <a:pt x="2614925" y="1921800"/>
                </a:cubicBezTo>
                <a:cubicBezTo>
                  <a:pt x="2614563" y="1921800"/>
                  <a:pt x="2614563" y="1921800"/>
                  <a:pt x="2614563" y="1921434"/>
                </a:cubicBezTo>
                <a:cubicBezTo>
                  <a:pt x="2614563" y="1921072"/>
                  <a:pt x="2614563" y="1921072"/>
                  <a:pt x="2614925" y="1921072"/>
                </a:cubicBezTo>
                <a:close/>
                <a:moveTo>
                  <a:pt x="2153808" y="1921072"/>
                </a:moveTo>
                <a:cubicBezTo>
                  <a:pt x="2154170" y="1921072"/>
                  <a:pt x="2154170" y="1921072"/>
                  <a:pt x="2154170" y="1921434"/>
                </a:cubicBezTo>
                <a:cubicBezTo>
                  <a:pt x="2154170" y="1921800"/>
                  <a:pt x="2153808" y="1921800"/>
                  <a:pt x="2153808" y="1921800"/>
                </a:cubicBezTo>
                <a:cubicBezTo>
                  <a:pt x="2153445" y="1921800"/>
                  <a:pt x="2153445" y="1921800"/>
                  <a:pt x="2153445" y="1921434"/>
                </a:cubicBezTo>
                <a:cubicBezTo>
                  <a:pt x="2153445" y="1921072"/>
                  <a:pt x="2153445" y="1921072"/>
                  <a:pt x="2153808" y="1921072"/>
                </a:cubicBezTo>
                <a:close/>
                <a:moveTo>
                  <a:pt x="1999860" y="1921072"/>
                </a:moveTo>
                <a:cubicBezTo>
                  <a:pt x="2000222" y="1921072"/>
                  <a:pt x="2000222" y="1921072"/>
                  <a:pt x="2000222" y="1921434"/>
                </a:cubicBezTo>
                <a:cubicBezTo>
                  <a:pt x="2000222" y="1921800"/>
                  <a:pt x="1999860" y="1921800"/>
                  <a:pt x="1999860" y="1921800"/>
                </a:cubicBezTo>
                <a:cubicBezTo>
                  <a:pt x="1999498" y="1921800"/>
                  <a:pt x="1999498" y="1921800"/>
                  <a:pt x="1999498" y="1921434"/>
                </a:cubicBezTo>
                <a:cubicBezTo>
                  <a:pt x="1999498" y="1921072"/>
                  <a:pt x="1999498" y="1921072"/>
                  <a:pt x="1999860" y="1921072"/>
                </a:cubicBezTo>
                <a:close/>
                <a:moveTo>
                  <a:pt x="1846279" y="1920710"/>
                </a:moveTo>
                <a:cubicBezTo>
                  <a:pt x="1846641" y="1920710"/>
                  <a:pt x="1847003" y="1921072"/>
                  <a:pt x="1847003" y="1921434"/>
                </a:cubicBezTo>
                <a:cubicBezTo>
                  <a:pt x="1847003" y="1921800"/>
                  <a:pt x="1846279" y="1922162"/>
                  <a:pt x="1846279" y="1922162"/>
                </a:cubicBezTo>
                <a:cubicBezTo>
                  <a:pt x="1845913" y="1922162"/>
                  <a:pt x="1845551" y="1921800"/>
                  <a:pt x="1845551" y="1921434"/>
                </a:cubicBezTo>
                <a:cubicBezTo>
                  <a:pt x="1845551" y="1921072"/>
                  <a:pt x="1845913" y="1920710"/>
                  <a:pt x="1846279" y="1920710"/>
                </a:cubicBezTo>
                <a:close/>
                <a:moveTo>
                  <a:pt x="2768873" y="1919620"/>
                </a:moveTo>
                <a:cubicBezTo>
                  <a:pt x="2769597" y="1919620"/>
                  <a:pt x="2770325" y="1920348"/>
                  <a:pt x="2770325" y="1921072"/>
                </a:cubicBezTo>
                <a:cubicBezTo>
                  <a:pt x="2770325" y="1921800"/>
                  <a:pt x="2768873" y="1922524"/>
                  <a:pt x="2768873" y="1922524"/>
                </a:cubicBezTo>
                <a:cubicBezTo>
                  <a:pt x="2768145" y="1922524"/>
                  <a:pt x="2767421" y="1921800"/>
                  <a:pt x="2767421" y="1921072"/>
                </a:cubicBezTo>
                <a:cubicBezTo>
                  <a:pt x="2767421" y="1920348"/>
                  <a:pt x="2768145" y="1919620"/>
                  <a:pt x="2768873" y="1919620"/>
                </a:cubicBezTo>
                <a:close/>
                <a:moveTo>
                  <a:pt x="2922454" y="1918895"/>
                </a:moveTo>
                <a:cubicBezTo>
                  <a:pt x="2923544" y="1918895"/>
                  <a:pt x="2924635" y="1919986"/>
                  <a:pt x="2924635" y="1921076"/>
                </a:cubicBezTo>
                <a:cubicBezTo>
                  <a:pt x="2924635" y="1922162"/>
                  <a:pt x="2922454" y="1923252"/>
                  <a:pt x="2922454" y="1923252"/>
                </a:cubicBezTo>
                <a:cubicBezTo>
                  <a:pt x="2921368" y="1923252"/>
                  <a:pt x="2920278" y="1922162"/>
                  <a:pt x="2920278" y="1921076"/>
                </a:cubicBezTo>
                <a:cubicBezTo>
                  <a:pt x="2920278" y="1919986"/>
                  <a:pt x="2921368" y="1918895"/>
                  <a:pt x="2922454" y="1918895"/>
                </a:cubicBezTo>
                <a:close/>
                <a:moveTo>
                  <a:pt x="3076406" y="1918167"/>
                </a:moveTo>
                <a:cubicBezTo>
                  <a:pt x="3078220" y="1918167"/>
                  <a:pt x="3079672" y="1919620"/>
                  <a:pt x="3079672" y="1921434"/>
                </a:cubicBezTo>
                <a:cubicBezTo>
                  <a:pt x="3079672" y="1923249"/>
                  <a:pt x="3078220" y="1924701"/>
                  <a:pt x="3076406" y="1924701"/>
                </a:cubicBezTo>
                <a:cubicBezTo>
                  <a:pt x="3074587" y="1924701"/>
                  <a:pt x="3073135" y="1923249"/>
                  <a:pt x="3073135" y="1921434"/>
                </a:cubicBezTo>
                <a:cubicBezTo>
                  <a:pt x="3073135" y="1919620"/>
                  <a:pt x="3074587" y="1918167"/>
                  <a:pt x="3076406" y="1918167"/>
                </a:cubicBezTo>
                <a:close/>
                <a:moveTo>
                  <a:pt x="3230353" y="1916715"/>
                </a:moveTo>
                <a:cubicBezTo>
                  <a:pt x="3232895" y="1916715"/>
                  <a:pt x="3234710" y="1918529"/>
                  <a:pt x="3234710" y="1921072"/>
                </a:cubicBezTo>
                <a:cubicBezTo>
                  <a:pt x="3234710" y="1923615"/>
                  <a:pt x="3232530" y="1925429"/>
                  <a:pt x="3230353" y="1925429"/>
                </a:cubicBezTo>
                <a:cubicBezTo>
                  <a:pt x="3227810" y="1925429"/>
                  <a:pt x="3225996" y="1923615"/>
                  <a:pt x="3225996" y="1921072"/>
                </a:cubicBezTo>
                <a:cubicBezTo>
                  <a:pt x="3225996" y="1918529"/>
                  <a:pt x="3227810" y="1916715"/>
                  <a:pt x="3230353" y="1916715"/>
                </a:cubicBezTo>
                <a:close/>
                <a:moveTo>
                  <a:pt x="3383938" y="1915625"/>
                </a:moveTo>
                <a:cubicBezTo>
                  <a:pt x="3387205" y="1915625"/>
                  <a:pt x="3389748" y="1918167"/>
                  <a:pt x="3389748" y="1921434"/>
                </a:cubicBezTo>
                <a:cubicBezTo>
                  <a:pt x="3389748" y="1924701"/>
                  <a:pt x="3387205" y="1927243"/>
                  <a:pt x="3383938" y="1927243"/>
                </a:cubicBezTo>
                <a:cubicBezTo>
                  <a:pt x="3380671" y="1927243"/>
                  <a:pt x="3378129" y="1924701"/>
                  <a:pt x="3378129" y="1921434"/>
                </a:cubicBezTo>
                <a:cubicBezTo>
                  <a:pt x="3378129" y="1918167"/>
                  <a:pt x="3380671" y="1915625"/>
                  <a:pt x="3383938" y="1915625"/>
                </a:cubicBezTo>
                <a:close/>
                <a:moveTo>
                  <a:pt x="3537882" y="1913810"/>
                </a:moveTo>
                <a:cubicBezTo>
                  <a:pt x="3541876" y="1913810"/>
                  <a:pt x="3545143" y="1917077"/>
                  <a:pt x="3545143" y="1921072"/>
                </a:cubicBezTo>
                <a:cubicBezTo>
                  <a:pt x="3545143" y="1925067"/>
                  <a:pt x="3541876" y="1928334"/>
                  <a:pt x="3537882" y="1928334"/>
                </a:cubicBezTo>
                <a:cubicBezTo>
                  <a:pt x="3533887" y="1928334"/>
                  <a:pt x="3530620" y="1925067"/>
                  <a:pt x="3530620" y="1921072"/>
                </a:cubicBezTo>
                <a:cubicBezTo>
                  <a:pt x="3530620" y="1917077"/>
                  <a:pt x="3533887" y="1913810"/>
                  <a:pt x="3537882" y="1913810"/>
                </a:cubicBezTo>
                <a:close/>
                <a:moveTo>
                  <a:pt x="3691467" y="1911996"/>
                </a:moveTo>
                <a:cubicBezTo>
                  <a:pt x="3696552" y="1911996"/>
                  <a:pt x="3700547" y="1915991"/>
                  <a:pt x="3700547" y="1921072"/>
                </a:cubicBezTo>
                <a:cubicBezTo>
                  <a:pt x="3700547" y="1926157"/>
                  <a:pt x="3696552" y="1930152"/>
                  <a:pt x="3691467" y="1930152"/>
                </a:cubicBezTo>
                <a:cubicBezTo>
                  <a:pt x="3686386" y="1930152"/>
                  <a:pt x="3682391" y="1926157"/>
                  <a:pt x="3682391" y="1921072"/>
                </a:cubicBezTo>
                <a:cubicBezTo>
                  <a:pt x="3682391" y="1915991"/>
                  <a:pt x="3686386" y="1911996"/>
                  <a:pt x="3691467" y="1911996"/>
                </a:cubicBezTo>
                <a:close/>
                <a:moveTo>
                  <a:pt x="3845414" y="1911268"/>
                </a:moveTo>
                <a:cubicBezTo>
                  <a:pt x="3850862" y="1911268"/>
                  <a:pt x="3855581" y="1915987"/>
                  <a:pt x="3855581" y="1921434"/>
                </a:cubicBezTo>
                <a:cubicBezTo>
                  <a:pt x="3855581" y="1926881"/>
                  <a:pt x="3851224" y="1931600"/>
                  <a:pt x="3845414" y="1931600"/>
                </a:cubicBezTo>
                <a:cubicBezTo>
                  <a:pt x="3839967" y="1931600"/>
                  <a:pt x="3835248" y="1926881"/>
                  <a:pt x="3835248" y="1921434"/>
                </a:cubicBezTo>
                <a:cubicBezTo>
                  <a:pt x="3835248" y="1915987"/>
                  <a:pt x="3839967" y="1911268"/>
                  <a:pt x="3845414" y="1911268"/>
                </a:cubicBezTo>
                <a:close/>
                <a:moveTo>
                  <a:pt x="3999000" y="1909091"/>
                </a:moveTo>
                <a:cubicBezTo>
                  <a:pt x="4005537" y="1909091"/>
                  <a:pt x="4010984" y="1914538"/>
                  <a:pt x="4010984" y="1921072"/>
                </a:cubicBezTo>
                <a:cubicBezTo>
                  <a:pt x="4010984" y="1927609"/>
                  <a:pt x="4005537" y="1933053"/>
                  <a:pt x="3999000" y="1933053"/>
                </a:cubicBezTo>
                <a:cubicBezTo>
                  <a:pt x="3992466" y="1933053"/>
                  <a:pt x="3987019" y="1927609"/>
                  <a:pt x="3987019" y="1921072"/>
                </a:cubicBezTo>
                <a:cubicBezTo>
                  <a:pt x="3987019" y="1914538"/>
                  <a:pt x="3992466" y="1909091"/>
                  <a:pt x="3999000" y="1909091"/>
                </a:cubicBezTo>
                <a:close/>
                <a:moveTo>
                  <a:pt x="4152951" y="1907277"/>
                </a:moveTo>
                <a:cubicBezTo>
                  <a:pt x="4160574" y="1907277"/>
                  <a:pt x="4166746" y="1913448"/>
                  <a:pt x="4166746" y="1921076"/>
                </a:cubicBezTo>
                <a:cubicBezTo>
                  <a:pt x="4166746" y="1928700"/>
                  <a:pt x="4160574" y="1934871"/>
                  <a:pt x="4152951" y="1934871"/>
                </a:cubicBezTo>
                <a:cubicBezTo>
                  <a:pt x="4145323" y="1934871"/>
                  <a:pt x="4139152" y="1928700"/>
                  <a:pt x="4139152" y="1921076"/>
                </a:cubicBezTo>
                <a:cubicBezTo>
                  <a:pt x="4139152" y="1913448"/>
                  <a:pt x="4145323" y="1907277"/>
                  <a:pt x="4152951" y="1907277"/>
                </a:cubicBezTo>
                <a:close/>
                <a:moveTo>
                  <a:pt x="4306528" y="1905824"/>
                </a:moveTo>
                <a:cubicBezTo>
                  <a:pt x="4314953" y="1905824"/>
                  <a:pt x="4321780" y="1912651"/>
                  <a:pt x="4321780" y="1921072"/>
                </a:cubicBezTo>
                <a:cubicBezTo>
                  <a:pt x="4321780" y="1929496"/>
                  <a:pt x="4314953" y="1936323"/>
                  <a:pt x="4306528" y="1936323"/>
                </a:cubicBezTo>
                <a:cubicBezTo>
                  <a:pt x="4298108" y="1936323"/>
                  <a:pt x="4291281" y="1929496"/>
                  <a:pt x="4291281" y="1921072"/>
                </a:cubicBezTo>
                <a:cubicBezTo>
                  <a:pt x="4291281" y="1912651"/>
                  <a:pt x="4298108" y="1905824"/>
                  <a:pt x="4306528" y="1905824"/>
                </a:cubicBezTo>
                <a:close/>
                <a:moveTo>
                  <a:pt x="4460480" y="1904006"/>
                </a:moveTo>
                <a:cubicBezTo>
                  <a:pt x="4469918" y="1904006"/>
                  <a:pt x="4477546" y="1911630"/>
                  <a:pt x="4477546" y="1921072"/>
                </a:cubicBezTo>
                <a:cubicBezTo>
                  <a:pt x="4477546" y="1930510"/>
                  <a:pt x="4469918" y="1938138"/>
                  <a:pt x="4460480" y="1938138"/>
                </a:cubicBezTo>
                <a:cubicBezTo>
                  <a:pt x="4451038" y="1938138"/>
                  <a:pt x="4443414" y="1930510"/>
                  <a:pt x="4443414" y="1921072"/>
                </a:cubicBezTo>
                <a:cubicBezTo>
                  <a:pt x="4443414" y="1911630"/>
                  <a:pt x="4451038" y="1904006"/>
                  <a:pt x="4460480" y="1904006"/>
                </a:cubicBezTo>
                <a:close/>
                <a:moveTo>
                  <a:pt x="4614061" y="1901830"/>
                </a:moveTo>
                <a:cubicBezTo>
                  <a:pt x="4624688" y="1901830"/>
                  <a:pt x="4633304" y="1910444"/>
                  <a:pt x="4633304" y="1921072"/>
                </a:cubicBezTo>
                <a:cubicBezTo>
                  <a:pt x="4633304" y="1931699"/>
                  <a:pt x="4624688" y="1940314"/>
                  <a:pt x="4614061" y="1940314"/>
                </a:cubicBezTo>
                <a:cubicBezTo>
                  <a:pt x="4603434" y="1940314"/>
                  <a:pt x="4594818" y="1931699"/>
                  <a:pt x="4594818" y="1921072"/>
                </a:cubicBezTo>
                <a:cubicBezTo>
                  <a:pt x="4594818" y="1910444"/>
                  <a:pt x="4603434" y="1901830"/>
                  <a:pt x="4614061" y="1901830"/>
                </a:cubicBezTo>
                <a:close/>
                <a:moveTo>
                  <a:pt x="4768012" y="1899649"/>
                </a:moveTo>
                <a:cubicBezTo>
                  <a:pt x="4779993" y="1899649"/>
                  <a:pt x="4789432" y="1909091"/>
                  <a:pt x="4789432" y="1921072"/>
                </a:cubicBezTo>
                <a:cubicBezTo>
                  <a:pt x="4789432" y="1933053"/>
                  <a:pt x="4779627" y="1942495"/>
                  <a:pt x="4768012" y="1942495"/>
                </a:cubicBezTo>
                <a:cubicBezTo>
                  <a:pt x="4756028" y="1942495"/>
                  <a:pt x="4746590" y="1933053"/>
                  <a:pt x="4746590" y="1921072"/>
                </a:cubicBezTo>
                <a:cubicBezTo>
                  <a:pt x="4746590" y="1909091"/>
                  <a:pt x="4756028" y="1899649"/>
                  <a:pt x="4768012" y="1899649"/>
                </a:cubicBezTo>
                <a:close/>
                <a:moveTo>
                  <a:pt x="4921594" y="1898563"/>
                </a:moveTo>
                <a:cubicBezTo>
                  <a:pt x="4934302" y="1898563"/>
                  <a:pt x="4944469" y="1908729"/>
                  <a:pt x="4944469" y="1921438"/>
                </a:cubicBezTo>
                <a:cubicBezTo>
                  <a:pt x="4944469" y="1934143"/>
                  <a:pt x="4934302" y="1944309"/>
                  <a:pt x="4921594" y="1944309"/>
                </a:cubicBezTo>
                <a:cubicBezTo>
                  <a:pt x="4908885" y="1944309"/>
                  <a:pt x="4898718" y="1934143"/>
                  <a:pt x="4898718" y="1921438"/>
                </a:cubicBezTo>
                <a:cubicBezTo>
                  <a:pt x="4898718" y="1908729"/>
                  <a:pt x="4908885" y="1898563"/>
                  <a:pt x="4921594" y="1898563"/>
                </a:cubicBezTo>
                <a:close/>
                <a:moveTo>
                  <a:pt x="5075541" y="1896382"/>
                </a:moveTo>
                <a:cubicBezTo>
                  <a:pt x="5089340" y="1896382"/>
                  <a:pt x="5100597" y="1907639"/>
                  <a:pt x="5100597" y="1921434"/>
                </a:cubicBezTo>
                <a:cubicBezTo>
                  <a:pt x="5100597" y="1935233"/>
                  <a:pt x="5089340" y="1946490"/>
                  <a:pt x="5075541" y="1946490"/>
                </a:cubicBezTo>
                <a:cubicBezTo>
                  <a:pt x="5061746" y="1946490"/>
                  <a:pt x="5050490" y="1935233"/>
                  <a:pt x="5050490" y="1921434"/>
                </a:cubicBezTo>
                <a:cubicBezTo>
                  <a:pt x="5050490" y="1907639"/>
                  <a:pt x="5061746" y="1896382"/>
                  <a:pt x="5075541" y="1896382"/>
                </a:cubicBezTo>
                <a:close/>
                <a:moveTo>
                  <a:pt x="5229126" y="1894206"/>
                </a:moveTo>
                <a:cubicBezTo>
                  <a:pt x="5244012" y="1894206"/>
                  <a:pt x="5256358" y="1906552"/>
                  <a:pt x="5256358" y="1921438"/>
                </a:cubicBezTo>
                <a:cubicBezTo>
                  <a:pt x="5256358" y="1936323"/>
                  <a:pt x="5244374" y="1948670"/>
                  <a:pt x="5229126" y="1948670"/>
                </a:cubicBezTo>
                <a:cubicBezTo>
                  <a:pt x="5214237" y="1948670"/>
                  <a:pt x="5201894" y="1936323"/>
                  <a:pt x="5201894" y="1921438"/>
                </a:cubicBezTo>
                <a:cubicBezTo>
                  <a:pt x="5201894" y="1906552"/>
                  <a:pt x="5214237" y="1894206"/>
                  <a:pt x="5229126" y="1894206"/>
                </a:cubicBezTo>
                <a:close/>
                <a:moveTo>
                  <a:pt x="5383074" y="1891301"/>
                </a:moveTo>
                <a:cubicBezTo>
                  <a:pt x="5399518" y="1891301"/>
                  <a:pt x="5412848" y="1904631"/>
                  <a:pt x="5412848" y="1921072"/>
                </a:cubicBezTo>
                <a:cubicBezTo>
                  <a:pt x="5412848" y="1937517"/>
                  <a:pt x="5399518" y="1950847"/>
                  <a:pt x="5383074" y="1950847"/>
                </a:cubicBezTo>
                <a:cubicBezTo>
                  <a:pt x="5366633" y="1950847"/>
                  <a:pt x="5353303" y="1937517"/>
                  <a:pt x="5353303" y="1921072"/>
                </a:cubicBezTo>
                <a:cubicBezTo>
                  <a:pt x="5353303" y="1904631"/>
                  <a:pt x="5366633" y="1891301"/>
                  <a:pt x="5383074" y="1891301"/>
                </a:cubicBezTo>
                <a:close/>
                <a:moveTo>
                  <a:pt x="5536659" y="1889121"/>
                </a:moveTo>
                <a:cubicBezTo>
                  <a:pt x="5554450" y="1889121"/>
                  <a:pt x="5568610" y="1903282"/>
                  <a:pt x="5568610" y="1921072"/>
                </a:cubicBezTo>
                <a:cubicBezTo>
                  <a:pt x="5568610" y="1938862"/>
                  <a:pt x="5554450" y="1953023"/>
                  <a:pt x="5536659" y="1953023"/>
                </a:cubicBezTo>
                <a:cubicBezTo>
                  <a:pt x="5518865" y="1953023"/>
                  <a:pt x="5504708" y="1938862"/>
                  <a:pt x="5504708" y="1921072"/>
                </a:cubicBezTo>
                <a:cubicBezTo>
                  <a:pt x="5504708" y="1903282"/>
                  <a:pt x="5518865" y="1889121"/>
                  <a:pt x="5536659" y="1889121"/>
                </a:cubicBezTo>
                <a:close/>
                <a:moveTo>
                  <a:pt x="5690606" y="1887306"/>
                </a:moveTo>
                <a:cubicBezTo>
                  <a:pt x="5709258" y="1887306"/>
                  <a:pt x="5724376" y="1902424"/>
                  <a:pt x="5724376" y="1921072"/>
                </a:cubicBezTo>
                <a:cubicBezTo>
                  <a:pt x="5724376" y="1939724"/>
                  <a:pt x="5709258" y="1954842"/>
                  <a:pt x="5690606" y="1954842"/>
                </a:cubicBezTo>
                <a:cubicBezTo>
                  <a:pt x="5671958" y="1954842"/>
                  <a:pt x="5656840" y="1939724"/>
                  <a:pt x="5656840" y="1921072"/>
                </a:cubicBezTo>
                <a:cubicBezTo>
                  <a:pt x="5656840" y="1902424"/>
                  <a:pt x="5671958" y="1887306"/>
                  <a:pt x="5690606" y="1887306"/>
                </a:cubicBezTo>
                <a:close/>
                <a:moveTo>
                  <a:pt x="5844554" y="1884764"/>
                </a:moveTo>
                <a:cubicBezTo>
                  <a:pt x="5864524" y="1884764"/>
                  <a:pt x="5880862" y="1901101"/>
                  <a:pt x="5880862" y="1921072"/>
                </a:cubicBezTo>
                <a:cubicBezTo>
                  <a:pt x="5880862" y="1941043"/>
                  <a:pt x="5864524" y="1957380"/>
                  <a:pt x="5844554" y="1957380"/>
                </a:cubicBezTo>
                <a:cubicBezTo>
                  <a:pt x="5824584" y="1957380"/>
                  <a:pt x="5808246" y="1941043"/>
                  <a:pt x="5808246" y="1921072"/>
                </a:cubicBezTo>
                <a:cubicBezTo>
                  <a:pt x="5808246" y="1901101"/>
                  <a:pt x="5824584" y="1884764"/>
                  <a:pt x="5844554" y="1884764"/>
                </a:cubicBezTo>
                <a:close/>
                <a:moveTo>
                  <a:pt x="5998139" y="1882225"/>
                </a:moveTo>
                <a:cubicBezTo>
                  <a:pt x="6019562" y="1882225"/>
                  <a:pt x="6036990" y="1899653"/>
                  <a:pt x="6036990" y="1921076"/>
                </a:cubicBezTo>
                <a:cubicBezTo>
                  <a:pt x="6036990" y="1942495"/>
                  <a:pt x="6019562" y="1959923"/>
                  <a:pt x="5998139" y="1959923"/>
                </a:cubicBezTo>
                <a:cubicBezTo>
                  <a:pt x="5976716" y="1959923"/>
                  <a:pt x="5959288" y="1942495"/>
                  <a:pt x="5959288" y="1921076"/>
                </a:cubicBezTo>
                <a:cubicBezTo>
                  <a:pt x="5959288" y="1899653"/>
                  <a:pt x="5976716" y="1882225"/>
                  <a:pt x="5998139" y="1882225"/>
                </a:cubicBezTo>
                <a:close/>
                <a:moveTo>
                  <a:pt x="6152083" y="1880045"/>
                </a:moveTo>
                <a:cubicBezTo>
                  <a:pt x="6174958" y="1880045"/>
                  <a:pt x="6193114" y="1898200"/>
                  <a:pt x="6193114" y="1921072"/>
                </a:cubicBezTo>
                <a:cubicBezTo>
                  <a:pt x="6193114" y="1943947"/>
                  <a:pt x="6174596" y="1962103"/>
                  <a:pt x="6152083" y="1962103"/>
                </a:cubicBezTo>
                <a:cubicBezTo>
                  <a:pt x="6129212" y="1962103"/>
                  <a:pt x="6111056" y="1943947"/>
                  <a:pt x="6111056" y="1921072"/>
                </a:cubicBezTo>
                <a:cubicBezTo>
                  <a:pt x="6111056" y="1898200"/>
                  <a:pt x="6129212" y="1880045"/>
                  <a:pt x="6152083" y="1880045"/>
                </a:cubicBezTo>
                <a:close/>
                <a:moveTo>
                  <a:pt x="6305668" y="1877502"/>
                </a:moveTo>
                <a:cubicBezTo>
                  <a:pt x="6329630" y="1877502"/>
                  <a:pt x="6349238" y="1897110"/>
                  <a:pt x="6349238" y="1921072"/>
                </a:cubicBezTo>
                <a:cubicBezTo>
                  <a:pt x="6349238" y="1945037"/>
                  <a:pt x="6329630" y="1964642"/>
                  <a:pt x="6305668" y="1964642"/>
                </a:cubicBezTo>
                <a:cubicBezTo>
                  <a:pt x="6281702" y="1964642"/>
                  <a:pt x="6262098" y="1945037"/>
                  <a:pt x="6262098" y="1921072"/>
                </a:cubicBezTo>
                <a:cubicBezTo>
                  <a:pt x="6262098" y="1897110"/>
                  <a:pt x="6281702" y="1877502"/>
                  <a:pt x="6305668" y="1877502"/>
                </a:cubicBezTo>
                <a:close/>
                <a:moveTo>
                  <a:pt x="6459616" y="1874959"/>
                </a:moveTo>
                <a:cubicBezTo>
                  <a:pt x="6485033" y="1874959"/>
                  <a:pt x="6505728" y="1895654"/>
                  <a:pt x="6505728" y="1921072"/>
                </a:cubicBezTo>
                <a:cubicBezTo>
                  <a:pt x="6505728" y="1946486"/>
                  <a:pt x="6485033" y="1967184"/>
                  <a:pt x="6459616" y="1967184"/>
                </a:cubicBezTo>
                <a:cubicBezTo>
                  <a:pt x="6434198" y="1967184"/>
                  <a:pt x="6413503" y="1946486"/>
                  <a:pt x="6413503" y="1921072"/>
                </a:cubicBezTo>
                <a:cubicBezTo>
                  <a:pt x="6413503" y="1895654"/>
                  <a:pt x="6434198" y="1874959"/>
                  <a:pt x="6459616" y="1874959"/>
                </a:cubicBezTo>
                <a:close/>
                <a:moveTo>
                  <a:pt x="6613200" y="1872421"/>
                </a:moveTo>
                <a:cubicBezTo>
                  <a:pt x="6640071" y="1872421"/>
                  <a:pt x="6661856" y="1894206"/>
                  <a:pt x="6661856" y="1921076"/>
                </a:cubicBezTo>
                <a:cubicBezTo>
                  <a:pt x="6661856" y="1947942"/>
                  <a:pt x="6640071" y="1969727"/>
                  <a:pt x="6613200" y="1969727"/>
                </a:cubicBezTo>
                <a:cubicBezTo>
                  <a:pt x="6586334" y="1969727"/>
                  <a:pt x="6564550" y="1947942"/>
                  <a:pt x="6564550" y="1921076"/>
                </a:cubicBezTo>
                <a:cubicBezTo>
                  <a:pt x="6564550" y="1894206"/>
                  <a:pt x="6586334" y="1872421"/>
                  <a:pt x="6613200" y="1872421"/>
                </a:cubicBezTo>
                <a:close/>
                <a:moveTo>
                  <a:pt x="2461340" y="1767125"/>
                </a:moveTo>
                <a:cubicBezTo>
                  <a:pt x="2461702" y="1767125"/>
                  <a:pt x="2461702" y="1767125"/>
                  <a:pt x="2461702" y="1767487"/>
                </a:cubicBezTo>
                <a:cubicBezTo>
                  <a:pt x="2461702" y="1767853"/>
                  <a:pt x="2461340" y="1767853"/>
                  <a:pt x="2461340" y="1767853"/>
                </a:cubicBezTo>
                <a:cubicBezTo>
                  <a:pt x="2460978" y="1767853"/>
                  <a:pt x="2460978" y="1767853"/>
                  <a:pt x="2460978" y="1767487"/>
                </a:cubicBezTo>
                <a:cubicBezTo>
                  <a:pt x="2460978" y="1767125"/>
                  <a:pt x="2460978" y="1767125"/>
                  <a:pt x="2461340" y="1767125"/>
                </a:cubicBezTo>
                <a:close/>
                <a:moveTo>
                  <a:pt x="1999860" y="1767125"/>
                </a:moveTo>
                <a:cubicBezTo>
                  <a:pt x="2000222" y="1767125"/>
                  <a:pt x="2000222" y="1767125"/>
                  <a:pt x="2000222" y="1767487"/>
                </a:cubicBezTo>
                <a:cubicBezTo>
                  <a:pt x="2000222" y="1767853"/>
                  <a:pt x="1999860" y="1767853"/>
                  <a:pt x="1999860" y="1767853"/>
                </a:cubicBezTo>
                <a:cubicBezTo>
                  <a:pt x="1999498" y="1767853"/>
                  <a:pt x="1999498" y="1767853"/>
                  <a:pt x="1999498" y="1767487"/>
                </a:cubicBezTo>
                <a:cubicBezTo>
                  <a:pt x="1999498" y="1767125"/>
                  <a:pt x="1999498" y="1767125"/>
                  <a:pt x="1999860" y="1767125"/>
                </a:cubicBezTo>
                <a:close/>
                <a:moveTo>
                  <a:pt x="1846279" y="1767125"/>
                </a:moveTo>
                <a:cubicBezTo>
                  <a:pt x="1846641" y="1767125"/>
                  <a:pt x="1846641" y="1767125"/>
                  <a:pt x="1846641" y="1767487"/>
                </a:cubicBezTo>
                <a:cubicBezTo>
                  <a:pt x="1846641" y="1767853"/>
                  <a:pt x="1846279" y="1767853"/>
                  <a:pt x="1846279" y="1767853"/>
                </a:cubicBezTo>
                <a:cubicBezTo>
                  <a:pt x="1845917" y="1767853"/>
                  <a:pt x="1845917" y="1767853"/>
                  <a:pt x="1845917" y="1767487"/>
                </a:cubicBezTo>
                <a:cubicBezTo>
                  <a:pt x="1845917" y="1767125"/>
                  <a:pt x="1845917" y="1767125"/>
                  <a:pt x="1846279" y="1767125"/>
                </a:cubicBezTo>
                <a:close/>
                <a:moveTo>
                  <a:pt x="1692328" y="1766762"/>
                </a:moveTo>
                <a:cubicBezTo>
                  <a:pt x="1692694" y="1766762"/>
                  <a:pt x="1693056" y="1767125"/>
                  <a:pt x="1693056" y="1767491"/>
                </a:cubicBezTo>
                <a:cubicBezTo>
                  <a:pt x="1693056" y="1767853"/>
                  <a:pt x="1692328" y="1768215"/>
                  <a:pt x="1692328" y="1768215"/>
                </a:cubicBezTo>
                <a:cubicBezTo>
                  <a:pt x="1691965" y="1768215"/>
                  <a:pt x="1691603" y="1767853"/>
                  <a:pt x="1691603" y="1767491"/>
                </a:cubicBezTo>
                <a:cubicBezTo>
                  <a:pt x="1691603" y="1767125"/>
                  <a:pt x="1691965" y="1766762"/>
                  <a:pt x="1692328" y="1766762"/>
                </a:cubicBezTo>
                <a:close/>
                <a:moveTo>
                  <a:pt x="2614925" y="1765672"/>
                </a:moveTo>
                <a:cubicBezTo>
                  <a:pt x="2615650" y="1765672"/>
                  <a:pt x="2616378" y="1766400"/>
                  <a:pt x="2616378" y="1767125"/>
                </a:cubicBezTo>
                <a:cubicBezTo>
                  <a:pt x="2616378" y="1767849"/>
                  <a:pt x="2614925" y="1768577"/>
                  <a:pt x="2614925" y="1768577"/>
                </a:cubicBezTo>
                <a:cubicBezTo>
                  <a:pt x="2614197" y="1768577"/>
                  <a:pt x="2613473" y="1767849"/>
                  <a:pt x="2613473" y="1767125"/>
                </a:cubicBezTo>
                <a:cubicBezTo>
                  <a:pt x="2613473" y="1766400"/>
                  <a:pt x="2614197" y="1765672"/>
                  <a:pt x="2614925" y="1765672"/>
                </a:cubicBezTo>
                <a:close/>
                <a:moveTo>
                  <a:pt x="2768873" y="1765310"/>
                </a:moveTo>
                <a:cubicBezTo>
                  <a:pt x="2769963" y="1765310"/>
                  <a:pt x="2771049" y="1766400"/>
                  <a:pt x="2771049" y="1767491"/>
                </a:cubicBezTo>
                <a:cubicBezTo>
                  <a:pt x="2771049" y="1768577"/>
                  <a:pt x="2768873" y="1769667"/>
                  <a:pt x="2768873" y="1769667"/>
                </a:cubicBezTo>
                <a:cubicBezTo>
                  <a:pt x="2767783" y="1769667"/>
                  <a:pt x="2766692" y="1768577"/>
                  <a:pt x="2766692" y="1767491"/>
                </a:cubicBezTo>
                <a:cubicBezTo>
                  <a:pt x="2766692" y="1766400"/>
                  <a:pt x="2767783" y="1765310"/>
                  <a:pt x="2768873" y="1765310"/>
                </a:cubicBezTo>
                <a:close/>
                <a:moveTo>
                  <a:pt x="2922454" y="1764220"/>
                </a:moveTo>
                <a:cubicBezTo>
                  <a:pt x="2924272" y="1764220"/>
                  <a:pt x="2925721" y="1765672"/>
                  <a:pt x="2925721" y="1767487"/>
                </a:cubicBezTo>
                <a:cubicBezTo>
                  <a:pt x="2925721" y="1769301"/>
                  <a:pt x="2924272" y="1770757"/>
                  <a:pt x="2922454" y="1770757"/>
                </a:cubicBezTo>
                <a:cubicBezTo>
                  <a:pt x="2920640" y="1770757"/>
                  <a:pt x="2919188" y="1769301"/>
                  <a:pt x="2919188" y="1767487"/>
                </a:cubicBezTo>
                <a:cubicBezTo>
                  <a:pt x="2919188" y="1765672"/>
                  <a:pt x="2920640" y="1764220"/>
                  <a:pt x="2922454" y="1764220"/>
                </a:cubicBezTo>
                <a:close/>
                <a:moveTo>
                  <a:pt x="3076406" y="1763134"/>
                </a:moveTo>
                <a:cubicBezTo>
                  <a:pt x="3078948" y="1763134"/>
                  <a:pt x="3080762" y="1764948"/>
                  <a:pt x="3080762" y="1767491"/>
                </a:cubicBezTo>
                <a:cubicBezTo>
                  <a:pt x="3080762" y="1770033"/>
                  <a:pt x="3078586" y="1771848"/>
                  <a:pt x="3076406" y="1771848"/>
                </a:cubicBezTo>
                <a:cubicBezTo>
                  <a:pt x="3073863" y="1771848"/>
                  <a:pt x="3072048" y="1770033"/>
                  <a:pt x="3072048" y="1767491"/>
                </a:cubicBezTo>
                <a:cubicBezTo>
                  <a:pt x="3072048" y="1764948"/>
                  <a:pt x="3073863" y="1763134"/>
                  <a:pt x="3076406" y="1763134"/>
                </a:cubicBezTo>
                <a:close/>
                <a:moveTo>
                  <a:pt x="3230353" y="1761681"/>
                </a:moveTo>
                <a:cubicBezTo>
                  <a:pt x="3233620" y="1761681"/>
                  <a:pt x="3236162" y="1764224"/>
                  <a:pt x="3236162" y="1767491"/>
                </a:cubicBezTo>
                <a:cubicBezTo>
                  <a:pt x="3236162" y="1770757"/>
                  <a:pt x="3233620" y="1773300"/>
                  <a:pt x="3230353" y="1773300"/>
                </a:cubicBezTo>
                <a:cubicBezTo>
                  <a:pt x="3227086" y="1773300"/>
                  <a:pt x="3224544" y="1770757"/>
                  <a:pt x="3224544" y="1767491"/>
                </a:cubicBezTo>
                <a:cubicBezTo>
                  <a:pt x="3224544" y="1764224"/>
                  <a:pt x="3227086" y="1761681"/>
                  <a:pt x="3230353" y="1761681"/>
                </a:cubicBezTo>
                <a:close/>
                <a:moveTo>
                  <a:pt x="3383938" y="1760225"/>
                </a:moveTo>
                <a:cubicBezTo>
                  <a:pt x="3387933" y="1760225"/>
                  <a:pt x="3391200" y="1763492"/>
                  <a:pt x="3391200" y="1767487"/>
                </a:cubicBezTo>
                <a:cubicBezTo>
                  <a:pt x="3391200" y="1771481"/>
                  <a:pt x="3387933" y="1774748"/>
                  <a:pt x="3383938" y="1774748"/>
                </a:cubicBezTo>
                <a:cubicBezTo>
                  <a:pt x="3379943" y="1774748"/>
                  <a:pt x="3376676" y="1771481"/>
                  <a:pt x="3376676" y="1767487"/>
                </a:cubicBezTo>
                <a:cubicBezTo>
                  <a:pt x="3376676" y="1763492"/>
                  <a:pt x="3379943" y="1760225"/>
                  <a:pt x="3383938" y="1760225"/>
                </a:cubicBezTo>
                <a:close/>
                <a:moveTo>
                  <a:pt x="3537882" y="1758411"/>
                </a:moveTo>
                <a:cubicBezTo>
                  <a:pt x="3542967" y="1758411"/>
                  <a:pt x="3546962" y="1762405"/>
                  <a:pt x="3546962" y="1767487"/>
                </a:cubicBezTo>
                <a:cubicBezTo>
                  <a:pt x="3546962" y="1772572"/>
                  <a:pt x="3542967" y="1776567"/>
                  <a:pt x="3537882" y="1776567"/>
                </a:cubicBezTo>
                <a:cubicBezTo>
                  <a:pt x="3532800" y="1776567"/>
                  <a:pt x="3528806" y="1772572"/>
                  <a:pt x="3528806" y="1767487"/>
                </a:cubicBezTo>
                <a:cubicBezTo>
                  <a:pt x="3528806" y="1762405"/>
                  <a:pt x="3532800" y="1758411"/>
                  <a:pt x="3537882" y="1758411"/>
                </a:cubicBezTo>
                <a:close/>
                <a:moveTo>
                  <a:pt x="3691467" y="1757324"/>
                </a:moveTo>
                <a:cubicBezTo>
                  <a:pt x="3696914" y="1757324"/>
                  <a:pt x="3701633" y="1762043"/>
                  <a:pt x="3701633" y="1767491"/>
                </a:cubicBezTo>
                <a:cubicBezTo>
                  <a:pt x="3701633" y="1772938"/>
                  <a:pt x="3697276" y="1777657"/>
                  <a:pt x="3691467" y="1777657"/>
                </a:cubicBezTo>
                <a:cubicBezTo>
                  <a:pt x="3686020" y="1777657"/>
                  <a:pt x="3681300" y="1772938"/>
                  <a:pt x="3681300" y="1767491"/>
                </a:cubicBezTo>
                <a:cubicBezTo>
                  <a:pt x="3681300" y="1762043"/>
                  <a:pt x="3686020" y="1757324"/>
                  <a:pt x="3691467" y="1757324"/>
                </a:cubicBezTo>
                <a:close/>
                <a:moveTo>
                  <a:pt x="3845414" y="1755506"/>
                </a:moveTo>
                <a:cubicBezTo>
                  <a:pt x="3851952" y="1755506"/>
                  <a:pt x="3857399" y="1760953"/>
                  <a:pt x="3857399" y="1767487"/>
                </a:cubicBezTo>
                <a:cubicBezTo>
                  <a:pt x="3857399" y="1774024"/>
                  <a:pt x="3851952" y="1779468"/>
                  <a:pt x="3845414" y="1779468"/>
                </a:cubicBezTo>
                <a:cubicBezTo>
                  <a:pt x="3838881" y="1779468"/>
                  <a:pt x="3833434" y="1774024"/>
                  <a:pt x="3833434" y="1767487"/>
                </a:cubicBezTo>
                <a:cubicBezTo>
                  <a:pt x="3833434" y="1760953"/>
                  <a:pt x="3838881" y="1755506"/>
                  <a:pt x="3845414" y="1755506"/>
                </a:cubicBezTo>
                <a:close/>
                <a:moveTo>
                  <a:pt x="3999000" y="1753329"/>
                </a:moveTo>
                <a:cubicBezTo>
                  <a:pt x="4006627" y="1753329"/>
                  <a:pt x="4012799" y="1759501"/>
                  <a:pt x="4012799" y="1767125"/>
                </a:cubicBezTo>
                <a:cubicBezTo>
                  <a:pt x="4012799" y="1774752"/>
                  <a:pt x="4006627" y="1780924"/>
                  <a:pt x="3999000" y="1780924"/>
                </a:cubicBezTo>
                <a:cubicBezTo>
                  <a:pt x="3991376" y="1780924"/>
                  <a:pt x="3985204" y="1774752"/>
                  <a:pt x="3985204" y="1767125"/>
                </a:cubicBezTo>
                <a:cubicBezTo>
                  <a:pt x="3985204" y="1759501"/>
                  <a:pt x="3991376" y="1753329"/>
                  <a:pt x="3999000" y="1753329"/>
                </a:cubicBezTo>
                <a:close/>
                <a:moveTo>
                  <a:pt x="4152947" y="1752239"/>
                </a:moveTo>
                <a:cubicBezTo>
                  <a:pt x="4161372" y="1752239"/>
                  <a:pt x="4168198" y="1759066"/>
                  <a:pt x="4168198" y="1767491"/>
                </a:cubicBezTo>
                <a:cubicBezTo>
                  <a:pt x="4168198" y="1775911"/>
                  <a:pt x="4161372" y="1782738"/>
                  <a:pt x="4152947" y="1782738"/>
                </a:cubicBezTo>
                <a:cubicBezTo>
                  <a:pt x="4144526" y="1782738"/>
                  <a:pt x="4137700" y="1775911"/>
                  <a:pt x="4137700" y="1767491"/>
                </a:cubicBezTo>
                <a:cubicBezTo>
                  <a:pt x="4137700" y="1759066"/>
                  <a:pt x="4144526" y="1752239"/>
                  <a:pt x="4152947" y="1752239"/>
                </a:cubicBezTo>
                <a:close/>
                <a:moveTo>
                  <a:pt x="4306532" y="1750425"/>
                </a:moveTo>
                <a:cubicBezTo>
                  <a:pt x="4315970" y="1750425"/>
                  <a:pt x="4323598" y="1758048"/>
                  <a:pt x="4323598" y="1767491"/>
                </a:cubicBezTo>
                <a:cubicBezTo>
                  <a:pt x="4323598" y="1776929"/>
                  <a:pt x="4315970" y="1784556"/>
                  <a:pt x="4306532" y="1784556"/>
                </a:cubicBezTo>
                <a:cubicBezTo>
                  <a:pt x="4297090" y="1784556"/>
                  <a:pt x="4289466" y="1776929"/>
                  <a:pt x="4289466" y="1767491"/>
                </a:cubicBezTo>
                <a:cubicBezTo>
                  <a:pt x="4289466" y="1758048"/>
                  <a:pt x="4297090" y="1750425"/>
                  <a:pt x="4306532" y="1750425"/>
                </a:cubicBezTo>
                <a:close/>
                <a:moveTo>
                  <a:pt x="4460480" y="1748244"/>
                </a:moveTo>
                <a:cubicBezTo>
                  <a:pt x="4471111" y="1748244"/>
                  <a:pt x="4479726" y="1756859"/>
                  <a:pt x="4479726" y="1767487"/>
                </a:cubicBezTo>
                <a:cubicBezTo>
                  <a:pt x="4479726" y="1778114"/>
                  <a:pt x="4471111" y="1786729"/>
                  <a:pt x="4460480" y="1786729"/>
                </a:cubicBezTo>
                <a:cubicBezTo>
                  <a:pt x="4449852" y="1786729"/>
                  <a:pt x="4441237" y="1778114"/>
                  <a:pt x="4441237" y="1767487"/>
                </a:cubicBezTo>
                <a:cubicBezTo>
                  <a:pt x="4441237" y="1756859"/>
                  <a:pt x="4449852" y="1748244"/>
                  <a:pt x="4460480" y="1748244"/>
                </a:cubicBezTo>
                <a:close/>
                <a:moveTo>
                  <a:pt x="4614065" y="1746068"/>
                </a:moveTo>
                <a:cubicBezTo>
                  <a:pt x="4626046" y="1746068"/>
                  <a:pt x="4635484" y="1755506"/>
                  <a:pt x="4635484" y="1767491"/>
                </a:cubicBezTo>
                <a:cubicBezTo>
                  <a:pt x="4635484" y="1779471"/>
                  <a:pt x="4625684" y="1788913"/>
                  <a:pt x="4614065" y="1788913"/>
                </a:cubicBezTo>
                <a:cubicBezTo>
                  <a:pt x="4602084" y="1788913"/>
                  <a:pt x="4592642" y="1779471"/>
                  <a:pt x="4592642" y="1767491"/>
                </a:cubicBezTo>
                <a:cubicBezTo>
                  <a:pt x="4592642" y="1755506"/>
                  <a:pt x="4602084" y="1746068"/>
                  <a:pt x="4614065" y="1746068"/>
                </a:cubicBezTo>
                <a:close/>
                <a:moveTo>
                  <a:pt x="4768012" y="1744615"/>
                </a:moveTo>
                <a:cubicBezTo>
                  <a:pt x="4780718" y="1744615"/>
                  <a:pt x="4790884" y="1754782"/>
                  <a:pt x="4790884" y="1767491"/>
                </a:cubicBezTo>
                <a:cubicBezTo>
                  <a:pt x="4790884" y="1780196"/>
                  <a:pt x="4780718" y="1790366"/>
                  <a:pt x="4768012" y="1790366"/>
                </a:cubicBezTo>
                <a:cubicBezTo>
                  <a:pt x="4755304" y="1790366"/>
                  <a:pt x="4745137" y="1780196"/>
                  <a:pt x="4745137" y="1767491"/>
                </a:cubicBezTo>
                <a:cubicBezTo>
                  <a:pt x="4745137" y="1754782"/>
                  <a:pt x="4755304" y="1744615"/>
                  <a:pt x="4768012" y="1744615"/>
                </a:cubicBezTo>
                <a:close/>
                <a:moveTo>
                  <a:pt x="4921594" y="1742435"/>
                </a:moveTo>
                <a:cubicBezTo>
                  <a:pt x="4935393" y="1742435"/>
                  <a:pt x="4946650" y="1753691"/>
                  <a:pt x="4946650" y="1767487"/>
                </a:cubicBezTo>
                <a:cubicBezTo>
                  <a:pt x="4946650" y="1781286"/>
                  <a:pt x="4935393" y="1792538"/>
                  <a:pt x="4921594" y="1792538"/>
                </a:cubicBezTo>
                <a:cubicBezTo>
                  <a:pt x="4907798" y="1792538"/>
                  <a:pt x="4896542" y="1781286"/>
                  <a:pt x="4896542" y="1767487"/>
                </a:cubicBezTo>
                <a:cubicBezTo>
                  <a:pt x="4896542" y="1753691"/>
                  <a:pt x="4907798" y="1742435"/>
                  <a:pt x="4921594" y="1742435"/>
                </a:cubicBezTo>
                <a:close/>
                <a:moveTo>
                  <a:pt x="5075545" y="1740258"/>
                </a:moveTo>
                <a:cubicBezTo>
                  <a:pt x="5090430" y="1740258"/>
                  <a:pt x="5102777" y="1752605"/>
                  <a:pt x="5102777" y="1767491"/>
                </a:cubicBezTo>
                <a:cubicBezTo>
                  <a:pt x="5102777" y="1782376"/>
                  <a:pt x="5090792" y="1794723"/>
                  <a:pt x="5075545" y="1794723"/>
                </a:cubicBezTo>
                <a:cubicBezTo>
                  <a:pt x="5060656" y="1794723"/>
                  <a:pt x="5048313" y="1782376"/>
                  <a:pt x="5048313" y="1767491"/>
                </a:cubicBezTo>
                <a:cubicBezTo>
                  <a:pt x="5048313" y="1752605"/>
                  <a:pt x="5060656" y="1740258"/>
                  <a:pt x="5075545" y="1740258"/>
                </a:cubicBezTo>
                <a:close/>
                <a:moveTo>
                  <a:pt x="5229126" y="1737716"/>
                </a:moveTo>
                <a:cubicBezTo>
                  <a:pt x="5245571" y="1737716"/>
                  <a:pt x="5258901" y="1751046"/>
                  <a:pt x="5258901" y="1767491"/>
                </a:cubicBezTo>
                <a:cubicBezTo>
                  <a:pt x="5258901" y="1783931"/>
                  <a:pt x="5245571" y="1797261"/>
                  <a:pt x="5229126" y="1797261"/>
                </a:cubicBezTo>
                <a:cubicBezTo>
                  <a:pt x="5212686" y="1797261"/>
                  <a:pt x="5199356" y="1783931"/>
                  <a:pt x="5199356" y="1767491"/>
                </a:cubicBezTo>
                <a:cubicBezTo>
                  <a:pt x="5199356" y="1751046"/>
                  <a:pt x="5212686" y="1737716"/>
                  <a:pt x="5229126" y="1737716"/>
                </a:cubicBezTo>
                <a:close/>
                <a:moveTo>
                  <a:pt x="5383074" y="1735535"/>
                </a:moveTo>
                <a:cubicBezTo>
                  <a:pt x="5400864" y="1735535"/>
                  <a:pt x="5415025" y="1749697"/>
                  <a:pt x="5415025" y="1767487"/>
                </a:cubicBezTo>
                <a:cubicBezTo>
                  <a:pt x="5415025" y="1785277"/>
                  <a:pt x="5400864" y="1799438"/>
                  <a:pt x="5383074" y="1799438"/>
                </a:cubicBezTo>
                <a:cubicBezTo>
                  <a:pt x="5365284" y="1799438"/>
                  <a:pt x="5351122" y="1785277"/>
                  <a:pt x="5351122" y="1767487"/>
                </a:cubicBezTo>
                <a:cubicBezTo>
                  <a:pt x="5351122" y="1749697"/>
                  <a:pt x="5365284" y="1735535"/>
                  <a:pt x="5383074" y="1735535"/>
                </a:cubicBezTo>
                <a:close/>
                <a:moveTo>
                  <a:pt x="5537025" y="1733721"/>
                </a:moveTo>
                <a:cubicBezTo>
                  <a:pt x="5555673" y="1733721"/>
                  <a:pt x="5570791" y="1748839"/>
                  <a:pt x="5570791" y="1767487"/>
                </a:cubicBezTo>
                <a:cubicBezTo>
                  <a:pt x="5570791" y="1786138"/>
                  <a:pt x="5555673" y="1801256"/>
                  <a:pt x="5537025" y="1801256"/>
                </a:cubicBezTo>
                <a:cubicBezTo>
                  <a:pt x="5518374" y="1801256"/>
                  <a:pt x="5503256" y="1786138"/>
                  <a:pt x="5503256" y="1767487"/>
                </a:cubicBezTo>
                <a:cubicBezTo>
                  <a:pt x="5503256" y="1748839"/>
                  <a:pt x="5518374" y="1733721"/>
                  <a:pt x="5537025" y="1733721"/>
                </a:cubicBezTo>
                <a:close/>
                <a:moveTo>
                  <a:pt x="5690606" y="1731182"/>
                </a:moveTo>
                <a:cubicBezTo>
                  <a:pt x="5710577" y="1731182"/>
                  <a:pt x="5726915" y="1747520"/>
                  <a:pt x="5726915" y="1767491"/>
                </a:cubicBezTo>
                <a:cubicBezTo>
                  <a:pt x="5726915" y="1787461"/>
                  <a:pt x="5710577" y="1803799"/>
                  <a:pt x="5690606" y="1803799"/>
                </a:cubicBezTo>
                <a:cubicBezTo>
                  <a:pt x="5670636" y="1803799"/>
                  <a:pt x="5654298" y="1787461"/>
                  <a:pt x="5654298" y="1767491"/>
                </a:cubicBezTo>
                <a:cubicBezTo>
                  <a:pt x="5654298" y="1747520"/>
                  <a:pt x="5670636" y="1731182"/>
                  <a:pt x="5690606" y="1731182"/>
                </a:cubicBezTo>
                <a:close/>
                <a:moveTo>
                  <a:pt x="5844554" y="1728640"/>
                </a:moveTo>
                <a:cubicBezTo>
                  <a:pt x="5865973" y="1728640"/>
                  <a:pt x="5883405" y="1746068"/>
                  <a:pt x="5883405" y="1767491"/>
                </a:cubicBezTo>
                <a:cubicBezTo>
                  <a:pt x="5883405" y="1788910"/>
                  <a:pt x="5865973" y="1806338"/>
                  <a:pt x="5844554" y="1806338"/>
                </a:cubicBezTo>
                <a:cubicBezTo>
                  <a:pt x="5823131" y="1806338"/>
                  <a:pt x="5805703" y="1788910"/>
                  <a:pt x="5805703" y="1767491"/>
                </a:cubicBezTo>
                <a:cubicBezTo>
                  <a:pt x="5805703" y="1746068"/>
                  <a:pt x="5823131" y="1728640"/>
                  <a:pt x="5844554" y="1728640"/>
                </a:cubicBezTo>
                <a:close/>
                <a:moveTo>
                  <a:pt x="5998136" y="1726459"/>
                </a:moveTo>
                <a:cubicBezTo>
                  <a:pt x="6021010" y="1726459"/>
                  <a:pt x="6039166" y="1744615"/>
                  <a:pt x="6039166" y="1767487"/>
                </a:cubicBezTo>
                <a:cubicBezTo>
                  <a:pt x="6039166" y="1790362"/>
                  <a:pt x="6020648" y="1808518"/>
                  <a:pt x="5998136" y="1808518"/>
                </a:cubicBezTo>
                <a:cubicBezTo>
                  <a:pt x="5975264" y="1808518"/>
                  <a:pt x="5957108" y="1790362"/>
                  <a:pt x="5957108" y="1767487"/>
                </a:cubicBezTo>
                <a:cubicBezTo>
                  <a:pt x="5957108" y="1744615"/>
                  <a:pt x="5975264" y="1726459"/>
                  <a:pt x="5998136" y="1726459"/>
                </a:cubicBezTo>
                <a:close/>
                <a:moveTo>
                  <a:pt x="6152086" y="1723917"/>
                </a:moveTo>
                <a:cubicBezTo>
                  <a:pt x="6176048" y="1723917"/>
                  <a:pt x="6195656" y="1743525"/>
                  <a:pt x="6195656" y="1767487"/>
                </a:cubicBezTo>
                <a:cubicBezTo>
                  <a:pt x="6195656" y="1791452"/>
                  <a:pt x="6176048" y="1811057"/>
                  <a:pt x="6152086" y="1811057"/>
                </a:cubicBezTo>
                <a:cubicBezTo>
                  <a:pt x="6128121" y="1811057"/>
                  <a:pt x="6108516" y="1791452"/>
                  <a:pt x="6108516" y="1767487"/>
                </a:cubicBezTo>
                <a:cubicBezTo>
                  <a:pt x="6108516" y="1743525"/>
                  <a:pt x="6128121" y="1723917"/>
                  <a:pt x="6152086" y="1723917"/>
                </a:cubicBezTo>
                <a:close/>
                <a:moveTo>
                  <a:pt x="6305668" y="1721378"/>
                </a:moveTo>
                <a:cubicBezTo>
                  <a:pt x="6331086" y="1721378"/>
                  <a:pt x="6351777" y="1742073"/>
                  <a:pt x="6351777" y="1767491"/>
                </a:cubicBezTo>
                <a:cubicBezTo>
                  <a:pt x="6351777" y="1792904"/>
                  <a:pt x="6331086" y="1813603"/>
                  <a:pt x="6305668" y="1813603"/>
                </a:cubicBezTo>
                <a:cubicBezTo>
                  <a:pt x="6280250" y="1813603"/>
                  <a:pt x="6259556" y="1792904"/>
                  <a:pt x="6259556" y="1767491"/>
                </a:cubicBezTo>
                <a:cubicBezTo>
                  <a:pt x="6259556" y="1742073"/>
                  <a:pt x="6280250" y="1721378"/>
                  <a:pt x="6305668" y="1721378"/>
                </a:cubicBezTo>
                <a:close/>
                <a:moveTo>
                  <a:pt x="6459619" y="1718835"/>
                </a:moveTo>
                <a:cubicBezTo>
                  <a:pt x="6486486" y="1718835"/>
                  <a:pt x="6508270" y="1740620"/>
                  <a:pt x="6508270" y="1767491"/>
                </a:cubicBezTo>
                <a:cubicBezTo>
                  <a:pt x="6508270" y="1794357"/>
                  <a:pt x="6486486" y="1816142"/>
                  <a:pt x="6459619" y="1816142"/>
                </a:cubicBezTo>
                <a:cubicBezTo>
                  <a:pt x="6432749" y="1816142"/>
                  <a:pt x="6410964" y="1794357"/>
                  <a:pt x="6410964" y="1767491"/>
                </a:cubicBezTo>
                <a:cubicBezTo>
                  <a:pt x="6410964" y="1740620"/>
                  <a:pt x="6432749" y="1718835"/>
                  <a:pt x="6459619" y="1718835"/>
                </a:cubicBezTo>
                <a:close/>
                <a:moveTo>
                  <a:pt x="6613200" y="1716293"/>
                </a:moveTo>
                <a:cubicBezTo>
                  <a:pt x="6641523" y="1716293"/>
                  <a:pt x="6664398" y="1739168"/>
                  <a:pt x="6664398" y="1767487"/>
                </a:cubicBezTo>
                <a:cubicBezTo>
                  <a:pt x="6664398" y="1795809"/>
                  <a:pt x="6641523" y="1818681"/>
                  <a:pt x="6613200" y="1818681"/>
                </a:cubicBezTo>
                <a:cubicBezTo>
                  <a:pt x="6584882" y="1818681"/>
                  <a:pt x="6562007" y="1795809"/>
                  <a:pt x="6562007" y="1767487"/>
                </a:cubicBezTo>
                <a:cubicBezTo>
                  <a:pt x="6562007" y="1739168"/>
                  <a:pt x="6584882" y="1716293"/>
                  <a:pt x="6613200" y="1716293"/>
                </a:cubicBezTo>
                <a:close/>
                <a:moveTo>
                  <a:pt x="2307393" y="1613539"/>
                </a:moveTo>
                <a:cubicBezTo>
                  <a:pt x="2307755" y="1613539"/>
                  <a:pt x="2307755" y="1613539"/>
                  <a:pt x="2307755" y="1613901"/>
                </a:cubicBezTo>
                <a:cubicBezTo>
                  <a:pt x="2307755" y="1614267"/>
                  <a:pt x="2307393" y="1614267"/>
                  <a:pt x="2307393" y="1614267"/>
                </a:cubicBezTo>
                <a:cubicBezTo>
                  <a:pt x="2307031" y="1614267"/>
                  <a:pt x="2307031" y="1614267"/>
                  <a:pt x="2307031" y="1613901"/>
                </a:cubicBezTo>
                <a:cubicBezTo>
                  <a:pt x="2307031" y="1613539"/>
                  <a:pt x="2307031" y="1613539"/>
                  <a:pt x="2307393" y="1613539"/>
                </a:cubicBezTo>
                <a:close/>
                <a:moveTo>
                  <a:pt x="1846279" y="1613539"/>
                </a:moveTo>
                <a:cubicBezTo>
                  <a:pt x="1846641" y="1613539"/>
                  <a:pt x="1846641" y="1613539"/>
                  <a:pt x="1846641" y="1613901"/>
                </a:cubicBezTo>
                <a:cubicBezTo>
                  <a:pt x="1846641" y="1614267"/>
                  <a:pt x="1846279" y="1614267"/>
                  <a:pt x="1846279" y="1614267"/>
                </a:cubicBezTo>
                <a:cubicBezTo>
                  <a:pt x="1845917" y="1614267"/>
                  <a:pt x="1845917" y="1614267"/>
                  <a:pt x="1845917" y="1613901"/>
                </a:cubicBezTo>
                <a:cubicBezTo>
                  <a:pt x="1845917" y="1613539"/>
                  <a:pt x="1845917" y="1613539"/>
                  <a:pt x="1846279" y="1613539"/>
                </a:cubicBezTo>
                <a:close/>
                <a:moveTo>
                  <a:pt x="1692331" y="1613539"/>
                </a:moveTo>
                <a:cubicBezTo>
                  <a:pt x="1692694" y="1613539"/>
                  <a:pt x="1692694" y="1613539"/>
                  <a:pt x="1692694" y="1613901"/>
                </a:cubicBezTo>
                <a:cubicBezTo>
                  <a:pt x="1692694" y="1614267"/>
                  <a:pt x="1692331" y="1614267"/>
                  <a:pt x="1692331" y="1614267"/>
                </a:cubicBezTo>
                <a:cubicBezTo>
                  <a:pt x="1691969" y="1614267"/>
                  <a:pt x="1691969" y="1614267"/>
                  <a:pt x="1691969" y="1613901"/>
                </a:cubicBezTo>
                <a:cubicBezTo>
                  <a:pt x="1691969" y="1613539"/>
                  <a:pt x="1691969" y="1613539"/>
                  <a:pt x="1692331" y="1613539"/>
                </a:cubicBezTo>
                <a:close/>
                <a:moveTo>
                  <a:pt x="1538746" y="1613177"/>
                </a:moveTo>
                <a:cubicBezTo>
                  <a:pt x="1539108" y="1613177"/>
                  <a:pt x="1539470" y="1613539"/>
                  <a:pt x="1539470" y="1613905"/>
                </a:cubicBezTo>
                <a:cubicBezTo>
                  <a:pt x="1539470" y="1614267"/>
                  <a:pt x="1538746" y="1614630"/>
                  <a:pt x="1538746" y="1614630"/>
                </a:cubicBezTo>
                <a:cubicBezTo>
                  <a:pt x="1538380" y="1614630"/>
                  <a:pt x="1538018" y="1614267"/>
                  <a:pt x="1538018" y="1613905"/>
                </a:cubicBezTo>
                <a:cubicBezTo>
                  <a:pt x="1538018" y="1613539"/>
                  <a:pt x="1538380" y="1613177"/>
                  <a:pt x="1538746" y="1613177"/>
                </a:cubicBezTo>
                <a:close/>
                <a:moveTo>
                  <a:pt x="2461340" y="1612091"/>
                </a:moveTo>
                <a:cubicBezTo>
                  <a:pt x="2462064" y="1612091"/>
                  <a:pt x="2462793" y="1612815"/>
                  <a:pt x="2462793" y="1613543"/>
                </a:cubicBezTo>
                <a:cubicBezTo>
                  <a:pt x="2462793" y="1614267"/>
                  <a:pt x="2461340" y="1614995"/>
                  <a:pt x="2461340" y="1614995"/>
                </a:cubicBezTo>
                <a:cubicBezTo>
                  <a:pt x="2460612" y="1614995"/>
                  <a:pt x="2459888" y="1614267"/>
                  <a:pt x="2459888" y="1613543"/>
                </a:cubicBezTo>
                <a:cubicBezTo>
                  <a:pt x="2459888" y="1612815"/>
                  <a:pt x="2460612" y="1612091"/>
                  <a:pt x="2461340" y="1612091"/>
                </a:cubicBezTo>
                <a:close/>
                <a:moveTo>
                  <a:pt x="2614922" y="1611363"/>
                </a:moveTo>
                <a:cubicBezTo>
                  <a:pt x="2616012" y="1611363"/>
                  <a:pt x="2617102" y="1612453"/>
                  <a:pt x="2617102" y="1613539"/>
                </a:cubicBezTo>
                <a:cubicBezTo>
                  <a:pt x="2617102" y="1614630"/>
                  <a:pt x="2614922" y="1615720"/>
                  <a:pt x="2614922" y="1615720"/>
                </a:cubicBezTo>
                <a:cubicBezTo>
                  <a:pt x="2613835" y="1615720"/>
                  <a:pt x="2612745" y="1614630"/>
                  <a:pt x="2612745" y="1613539"/>
                </a:cubicBezTo>
                <a:cubicBezTo>
                  <a:pt x="2612745" y="1612453"/>
                  <a:pt x="2613835" y="1611363"/>
                  <a:pt x="2614922" y="1611363"/>
                </a:cubicBezTo>
                <a:close/>
                <a:moveTo>
                  <a:pt x="2768877" y="1610638"/>
                </a:moveTo>
                <a:cubicBezTo>
                  <a:pt x="2770691" y="1610638"/>
                  <a:pt x="2772144" y="1612091"/>
                  <a:pt x="2772144" y="1613905"/>
                </a:cubicBezTo>
                <a:cubicBezTo>
                  <a:pt x="2772144" y="1615720"/>
                  <a:pt x="2770691" y="1617176"/>
                  <a:pt x="2768877" y="1617176"/>
                </a:cubicBezTo>
                <a:cubicBezTo>
                  <a:pt x="2767058" y="1617176"/>
                  <a:pt x="2765606" y="1615720"/>
                  <a:pt x="2765606" y="1613905"/>
                </a:cubicBezTo>
                <a:cubicBezTo>
                  <a:pt x="2765606" y="1612091"/>
                  <a:pt x="2767058" y="1610638"/>
                  <a:pt x="2768877" y="1610638"/>
                </a:cubicBezTo>
                <a:close/>
                <a:moveTo>
                  <a:pt x="2922458" y="1609182"/>
                </a:moveTo>
                <a:cubicBezTo>
                  <a:pt x="2925000" y="1609182"/>
                  <a:pt x="2926815" y="1610997"/>
                  <a:pt x="2926815" y="1613539"/>
                </a:cubicBezTo>
                <a:cubicBezTo>
                  <a:pt x="2926815" y="1616082"/>
                  <a:pt x="2924635" y="1617896"/>
                  <a:pt x="2922458" y="1617896"/>
                </a:cubicBezTo>
                <a:cubicBezTo>
                  <a:pt x="2919916" y="1617896"/>
                  <a:pt x="2918101" y="1616082"/>
                  <a:pt x="2918101" y="1613539"/>
                </a:cubicBezTo>
                <a:cubicBezTo>
                  <a:pt x="2918101" y="1610997"/>
                  <a:pt x="2919916" y="1609182"/>
                  <a:pt x="2922458" y="1609182"/>
                </a:cubicBezTo>
                <a:close/>
                <a:moveTo>
                  <a:pt x="3076406" y="1608096"/>
                </a:moveTo>
                <a:cubicBezTo>
                  <a:pt x="3079672" y="1608096"/>
                  <a:pt x="3082215" y="1610638"/>
                  <a:pt x="3082215" y="1613905"/>
                </a:cubicBezTo>
                <a:cubicBezTo>
                  <a:pt x="3082215" y="1617172"/>
                  <a:pt x="3079672" y="1619715"/>
                  <a:pt x="3076406" y="1619715"/>
                </a:cubicBezTo>
                <a:cubicBezTo>
                  <a:pt x="3073139" y="1619715"/>
                  <a:pt x="3070596" y="1617172"/>
                  <a:pt x="3070596" y="1613905"/>
                </a:cubicBezTo>
                <a:cubicBezTo>
                  <a:pt x="3070596" y="1610638"/>
                  <a:pt x="3073139" y="1608096"/>
                  <a:pt x="3076406" y="1608096"/>
                </a:cubicBezTo>
                <a:close/>
                <a:moveTo>
                  <a:pt x="3230353" y="1606281"/>
                </a:moveTo>
                <a:cubicBezTo>
                  <a:pt x="3234348" y="1606281"/>
                  <a:pt x="3237614" y="1609548"/>
                  <a:pt x="3237614" y="1613543"/>
                </a:cubicBezTo>
                <a:cubicBezTo>
                  <a:pt x="3237614" y="1617538"/>
                  <a:pt x="3234348" y="1620805"/>
                  <a:pt x="3230353" y="1620805"/>
                </a:cubicBezTo>
                <a:cubicBezTo>
                  <a:pt x="3226358" y="1620805"/>
                  <a:pt x="3223091" y="1617538"/>
                  <a:pt x="3223091" y="1613543"/>
                </a:cubicBezTo>
                <a:cubicBezTo>
                  <a:pt x="3223091" y="1609548"/>
                  <a:pt x="3226358" y="1606281"/>
                  <a:pt x="3230353" y="1606281"/>
                </a:cubicBezTo>
                <a:close/>
                <a:moveTo>
                  <a:pt x="3383934" y="1604463"/>
                </a:moveTo>
                <a:cubicBezTo>
                  <a:pt x="3389019" y="1604463"/>
                  <a:pt x="3393014" y="1608458"/>
                  <a:pt x="3393014" y="1613539"/>
                </a:cubicBezTo>
                <a:cubicBezTo>
                  <a:pt x="3393014" y="1618624"/>
                  <a:pt x="3389019" y="1622619"/>
                  <a:pt x="3383934" y="1622619"/>
                </a:cubicBezTo>
                <a:cubicBezTo>
                  <a:pt x="3378853" y="1622619"/>
                  <a:pt x="3374858" y="1618624"/>
                  <a:pt x="3374858" y="1613539"/>
                </a:cubicBezTo>
                <a:cubicBezTo>
                  <a:pt x="3374858" y="1608458"/>
                  <a:pt x="3378853" y="1604463"/>
                  <a:pt x="3383934" y="1604463"/>
                </a:cubicBezTo>
                <a:close/>
                <a:moveTo>
                  <a:pt x="3537886" y="1603739"/>
                </a:moveTo>
                <a:cubicBezTo>
                  <a:pt x="3543333" y="1603739"/>
                  <a:pt x="3548052" y="1608458"/>
                  <a:pt x="3548052" y="1613905"/>
                </a:cubicBezTo>
                <a:cubicBezTo>
                  <a:pt x="3548052" y="1619352"/>
                  <a:pt x="3543695" y="1624072"/>
                  <a:pt x="3537886" y="1624072"/>
                </a:cubicBezTo>
                <a:cubicBezTo>
                  <a:pt x="3532438" y="1624072"/>
                  <a:pt x="3527719" y="1619352"/>
                  <a:pt x="3527719" y="1613905"/>
                </a:cubicBezTo>
                <a:cubicBezTo>
                  <a:pt x="3527719" y="1608458"/>
                  <a:pt x="3532438" y="1603739"/>
                  <a:pt x="3537886" y="1603739"/>
                </a:cubicBezTo>
                <a:close/>
                <a:moveTo>
                  <a:pt x="3691467" y="1601559"/>
                </a:moveTo>
                <a:cubicBezTo>
                  <a:pt x="3698004" y="1601559"/>
                  <a:pt x="3703452" y="1607006"/>
                  <a:pt x="3703452" y="1613539"/>
                </a:cubicBezTo>
                <a:cubicBezTo>
                  <a:pt x="3703452" y="1620077"/>
                  <a:pt x="3698004" y="1625520"/>
                  <a:pt x="3691467" y="1625520"/>
                </a:cubicBezTo>
                <a:cubicBezTo>
                  <a:pt x="3684933" y="1625520"/>
                  <a:pt x="3679486" y="1620077"/>
                  <a:pt x="3679486" y="1613539"/>
                </a:cubicBezTo>
                <a:cubicBezTo>
                  <a:pt x="3679486" y="1607006"/>
                  <a:pt x="3684933" y="1601559"/>
                  <a:pt x="3691467" y="1601559"/>
                </a:cubicBezTo>
                <a:close/>
                <a:moveTo>
                  <a:pt x="3845418" y="1599744"/>
                </a:moveTo>
                <a:cubicBezTo>
                  <a:pt x="3853042" y="1599744"/>
                  <a:pt x="3859214" y="1605916"/>
                  <a:pt x="3859214" y="1613539"/>
                </a:cubicBezTo>
                <a:cubicBezTo>
                  <a:pt x="3859214" y="1621167"/>
                  <a:pt x="3853042" y="1627338"/>
                  <a:pt x="3845418" y="1627338"/>
                </a:cubicBezTo>
                <a:cubicBezTo>
                  <a:pt x="3837790" y="1627338"/>
                  <a:pt x="3831619" y="1621167"/>
                  <a:pt x="3831619" y="1613539"/>
                </a:cubicBezTo>
                <a:cubicBezTo>
                  <a:pt x="3831619" y="1605916"/>
                  <a:pt x="3837790" y="1599744"/>
                  <a:pt x="3845418" y="1599744"/>
                </a:cubicBezTo>
                <a:close/>
                <a:moveTo>
                  <a:pt x="3999000" y="1598654"/>
                </a:moveTo>
                <a:cubicBezTo>
                  <a:pt x="4007352" y="1598654"/>
                  <a:pt x="4014251" y="1605553"/>
                  <a:pt x="4014251" y="1613905"/>
                </a:cubicBezTo>
                <a:cubicBezTo>
                  <a:pt x="4014251" y="1622253"/>
                  <a:pt x="4007352" y="1629153"/>
                  <a:pt x="3999000" y="1629153"/>
                </a:cubicBezTo>
                <a:cubicBezTo>
                  <a:pt x="3990652" y="1629153"/>
                  <a:pt x="3983752" y="1622253"/>
                  <a:pt x="3983752" y="1613905"/>
                </a:cubicBezTo>
                <a:cubicBezTo>
                  <a:pt x="3983752" y="1605553"/>
                  <a:pt x="3990652" y="1598654"/>
                  <a:pt x="3999000" y="1598654"/>
                </a:cubicBezTo>
                <a:close/>
                <a:moveTo>
                  <a:pt x="4152947" y="1596477"/>
                </a:moveTo>
                <a:cubicBezTo>
                  <a:pt x="4162386" y="1596477"/>
                  <a:pt x="4170013" y="1604101"/>
                  <a:pt x="4170013" y="1613543"/>
                </a:cubicBezTo>
                <a:cubicBezTo>
                  <a:pt x="4170013" y="1622981"/>
                  <a:pt x="4162386" y="1630605"/>
                  <a:pt x="4152947" y="1630605"/>
                </a:cubicBezTo>
                <a:cubicBezTo>
                  <a:pt x="4143505" y="1630605"/>
                  <a:pt x="4135881" y="1622981"/>
                  <a:pt x="4135881" y="1613543"/>
                </a:cubicBezTo>
                <a:cubicBezTo>
                  <a:pt x="4135881" y="1604101"/>
                  <a:pt x="4143505" y="1596477"/>
                  <a:pt x="4152947" y="1596477"/>
                </a:cubicBezTo>
                <a:close/>
                <a:moveTo>
                  <a:pt x="4306528" y="1594297"/>
                </a:moveTo>
                <a:cubicBezTo>
                  <a:pt x="4317060" y="1594297"/>
                  <a:pt x="4325771" y="1603011"/>
                  <a:pt x="4325771" y="1613539"/>
                </a:cubicBezTo>
                <a:cubicBezTo>
                  <a:pt x="4325771" y="1624068"/>
                  <a:pt x="4317060" y="1632786"/>
                  <a:pt x="4306528" y="1632786"/>
                </a:cubicBezTo>
                <a:cubicBezTo>
                  <a:pt x="4296000" y="1632786"/>
                  <a:pt x="4287286" y="1624068"/>
                  <a:pt x="4287286" y="1613539"/>
                </a:cubicBezTo>
                <a:cubicBezTo>
                  <a:pt x="4287286" y="1603011"/>
                  <a:pt x="4296000" y="1594297"/>
                  <a:pt x="4306528" y="1594297"/>
                </a:cubicBezTo>
                <a:close/>
                <a:moveTo>
                  <a:pt x="4460480" y="1592120"/>
                </a:moveTo>
                <a:cubicBezTo>
                  <a:pt x="4472460" y="1592120"/>
                  <a:pt x="4481898" y="1601562"/>
                  <a:pt x="4481898" y="1613543"/>
                </a:cubicBezTo>
                <a:cubicBezTo>
                  <a:pt x="4481898" y="1625524"/>
                  <a:pt x="4472094" y="1634966"/>
                  <a:pt x="4460480" y="1634966"/>
                </a:cubicBezTo>
                <a:cubicBezTo>
                  <a:pt x="4448495" y="1634966"/>
                  <a:pt x="4439057" y="1625524"/>
                  <a:pt x="4439057" y="1613543"/>
                </a:cubicBezTo>
                <a:cubicBezTo>
                  <a:pt x="4439057" y="1601562"/>
                  <a:pt x="4448495" y="1592120"/>
                  <a:pt x="4460480" y="1592120"/>
                </a:cubicBezTo>
                <a:close/>
                <a:moveTo>
                  <a:pt x="4614065" y="1591030"/>
                </a:moveTo>
                <a:cubicBezTo>
                  <a:pt x="4626774" y="1591030"/>
                  <a:pt x="4636940" y="1601196"/>
                  <a:pt x="4636940" y="1613905"/>
                </a:cubicBezTo>
                <a:cubicBezTo>
                  <a:pt x="4636940" y="1626610"/>
                  <a:pt x="4626774" y="1636780"/>
                  <a:pt x="4614065" y="1636780"/>
                </a:cubicBezTo>
                <a:cubicBezTo>
                  <a:pt x="4601356" y="1636780"/>
                  <a:pt x="4591190" y="1626610"/>
                  <a:pt x="4591190" y="1613905"/>
                </a:cubicBezTo>
                <a:cubicBezTo>
                  <a:pt x="4591190" y="1601196"/>
                  <a:pt x="4601356" y="1591030"/>
                  <a:pt x="4614065" y="1591030"/>
                </a:cubicBezTo>
                <a:close/>
                <a:moveTo>
                  <a:pt x="4768008" y="1588850"/>
                </a:moveTo>
                <a:cubicBezTo>
                  <a:pt x="4781808" y="1588850"/>
                  <a:pt x="4793064" y="1600106"/>
                  <a:pt x="4793064" y="1613901"/>
                </a:cubicBezTo>
                <a:cubicBezTo>
                  <a:pt x="4793064" y="1627700"/>
                  <a:pt x="4781808" y="1638957"/>
                  <a:pt x="4768008" y="1638957"/>
                </a:cubicBezTo>
                <a:cubicBezTo>
                  <a:pt x="4754214" y="1638957"/>
                  <a:pt x="4742956" y="1627700"/>
                  <a:pt x="4742956" y="1613901"/>
                </a:cubicBezTo>
                <a:cubicBezTo>
                  <a:pt x="4742956" y="1600106"/>
                  <a:pt x="4754214" y="1588850"/>
                  <a:pt x="4768008" y="1588850"/>
                </a:cubicBezTo>
                <a:close/>
                <a:moveTo>
                  <a:pt x="4921594" y="1586673"/>
                </a:moveTo>
                <a:cubicBezTo>
                  <a:pt x="4936480" y="1586673"/>
                  <a:pt x="4948826" y="1599020"/>
                  <a:pt x="4948826" y="1613905"/>
                </a:cubicBezTo>
                <a:cubicBezTo>
                  <a:pt x="4948826" y="1628791"/>
                  <a:pt x="4936842" y="1641137"/>
                  <a:pt x="4921594" y="1641137"/>
                </a:cubicBezTo>
                <a:cubicBezTo>
                  <a:pt x="4906704" y="1641137"/>
                  <a:pt x="4894362" y="1628791"/>
                  <a:pt x="4894362" y="1613905"/>
                </a:cubicBezTo>
                <a:cubicBezTo>
                  <a:pt x="4894362" y="1599020"/>
                  <a:pt x="4906704" y="1586673"/>
                  <a:pt x="4921594" y="1586673"/>
                </a:cubicBezTo>
                <a:close/>
                <a:moveTo>
                  <a:pt x="5075545" y="1584131"/>
                </a:moveTo>
                <a:cubicBezTo>
                  <a:pt x="5091883" y="1584131"/>
                  <a:pt x="5105316" y="1597564"/>
                  <a:pt x="5105316" y="1613901"/>
                </a:cubicBezTo>
                <a:cubicBezTo>
                  <a:pt x="5105316" y="1630243"/>
                  <a:pt x="5091883" y="1643676"/>
                  <a:pt x="5075545" y="1643676"/>
                </a:cubicBezTo>
                <a:cubicBezTo>
                  <a:pt x="5059204" y="1643676"/>
                  <a:pt x="5045770" y="1630243"/>
                  <a:pt x="5045770" y="1613901"/>
                </a:cubicBezTo>
                <a:cubicBezTo>
                  <a:pt x="5045770" y="1597564"/>
                  <a:pt x="5059204" y="1584131"/>
                  <a:pt x="5075545" y="1584131"/>
                </a:cubicBezTo>
                <a:close/>
                <a:moveTo>
                  <a:pt x="5229126" y="1581592"/>
                </a:moveTo>
                <a:cubicBezTo>
                  <a:pt x="5246916" y="1581592"/>
                  <a:pt x="5261078" y="1595753"/>
                  <a:pt x="5261078" y="1613543"/>
                </a:cubicBezTo>
                <a:cubicBezTo>
                  <a:pt x="5261078" y="1631333"/>
                  <a:pt x="5246916" y="1645494"/>
                  <a:pt x="5229126" y="1645494"/>
                </a:cubicBezTo>
                <a:cubicBezTo>
                  <a:pt x="5211336" y="1645494"/>
                  <a:pt x="5197175" y="1631333"/>
                  <a:pt x="5197175" y="1613543"/>
                </a:cubicBezTo>
                <a:cubicBezTo>
                  <a:pt x="5197175" y="1595753"/>
                  <a:pt x="5211336" y="1581592"/>
                  <a:pt x="5229126" y="1581592"/>
                </a:cubicBezTo>
                <a:close/>
                <a:moveTo>
                  <a:pt x="5383074" y="1579773"/>
                </a:moveTo>
                <a:cubicBezTo>
                  <a:pt x="5401592" y="1579773"/>
                  <a:pt x="5416844" y="1595025"/>
                  <a:pt x="5416844" y="1613539"/>
                </a:cubicBezTo>
                <a:cubicBezTo>
                  <a:pt x="5416844" y="1632058"/>
                  <a:pt x="5401592" y="1647309"/>
                  <a:pt x="5383074" y="1647309"/>
                </a:cubicBezTo>
                <a:cubicBezTo>
                  <a:pt x="5364560" y="1647309"/>
                  <a:pt x="5349308" y="1632058"/>
                  <a:pt x="5349308" y="1613539"/>
                </a:cubicBezTo>
                <a:cubicBezTo>
                  <a:pt x="5349308" y="1595025"/>
                  <a:pt x="5364560" y="1579773"/>
                  <a:pt x="5383074" y="1579773"/>
                </a:cubicBezTo>
                <a:close/>
                <a:moveTo>
                  <a:pt x="5536659" y="1577231"/>
                </a:moveTo>
                <a:cubicBezTo>
                  <a:pt x="5556630" y="1577231"/>
                  <a:pt x="5572968" y="1593569"/>
                  <a:pt x="5572968" y="1613539"/>
                </a:cubicBezTo>
                <a:cubicBezTo>
                  <a:pt x="5572968" y="1633510"/>
                  <a:pt x="5556630" y="1649848"/>
                  <a:pt x="5536659" y="1649848"/>
                </a:cubicBezTo>
                <a:cubicBezTo>
                  <a:pt x="5516688" y="1649848"/>
                  <a:pt x="5500351" y="1633510"/>
                  <a:pt x="5500351" y="1613539"/>
                </a:cubicBezTo>
                <a:cubicBezTo>
                  <a:pt x="5500351" y="1593569"/>
                  <a:pt x="5516688" y="1577231"/>
                  <a:pt x="5536659" y="1577231"/>
                </a:cubicBezTo>
                <a:close/>
                <a:moveTo>
                  <a:pt x="5690606" y="1574692"/>
                </a:moveTo>
                <a:cubicBezTo>
                  <a:pt x="5712026" y="1574692"/>
                  <a:pt x="5729458" y="1592120"/>
                  <a:pt x="5729458" y="1613543"/>
                </a:cubicBezTo>
                <a:cubicBezTo>
                  <a:pt x="5729458" y="1634962"/>
                  <a:pt x="5712026" y="1652390"/>
                  <a:pt x="5690606" y="1652390"/>
                </a:cubicBezTo>
                <a:cubicBezTo>
                  <a:pt x="5669184" y="1652390"/>
                  <a:pt x="5651756" y="1634962"/>
                  <a:pt x="5651756" y="1613543"/>
                </a:cubicBezTo>
                <a:cubicBezTo>
                  <a:pt x="5651756" y="1592120"/>
                  <a:pt x="5669184" y="1574692"/>
                  <a:pt x="5690606" y="1574692"/>
                </a:cubicBezTo>
                <a:close/>
                <a:moveTo>
                  <a:pt x="5844554" y="1572512"/>
                </a:moveTo>
                <a:cubicBezTo>
                  <a:pt x="5867429" y="1572512"/>
                  <a:pt x="5885585" y="1590668"/>
                  <a:pt x="5885585" y="1613539"/>
                </a:cubicBezTo>
                <a:cubicBezTo>
                  <a:pt x="5885585" y="1636415"/>
                  <a:pt x="5867067" y="1654567"/>
                  <a:pt x="5844554" y="1654567"/>
                </a:cubicBezTo>
                <a:cubicBezTo>
                  <a:pt x="5821682" y="1654567"/>
                  <a:pt x="5803526" y="1636415"/>
                  <a:pt x="5803526" y="1613539"/>
                </a:cubicBezTo>
                <a:cubicBezTo>
                  <a:pt x="5803526" y="1590668"/>
                  <a:pt x="5821682" y="1572512"/>
                  <a:pt x="5844554" y="1572512"/>
                </a:cubicBezTo>
                <a:close/>
                <a:moveTo>
                  <a:pt x="5998136" y="1569973"/>
                </a:moveTo>
                <a:cubicBezTo>
                  <a:pt x="6022101" y="1569973"/>
                  <a:pt x="6041706" y="1589578"/>
                  <a:pt x="6041706" y="1613543"/>
                </a:cubicBezTo>
                <a:cubicBezTo>
                  <a:pt x="6041706" y="1637505"/>
                  <a:pt x="6022101" y="1657113"/>
                  <a:pt x="5998136" y="1657113"/>
                </a:cubicBezTo>
                <a:cubicBezTo>
                  <a:pt x="5974174" y="1657113"/>
                  <a:pt x="5954566" y="1637505"/>
                  <a:pt x="5954566" y="1613543"/>
                </a:cubicBezTo>
                <a:cubicBezTo>
                  <a:pt x="5954566" y="1589578"/>
                  <a:pt x="5974174" y="1569973"/>
                  <a:pt x="5998136" y="1569973"/>
                </a:cubicBezTo>
                <a:close/>
                <a:moveTo>
                  <a:pt x="6152083" y="1567431"/>
                </a:moveTo>
                <a:cubicBezTo>
                  <a:pt x="6177500" y="1567431"/>
                  <a:pt x="6198196" y="1588125"/>
                  <a:pt x="6198196" y="1613543"/>
                </a:cubicBezTo>
                <a:cubicBezTo>
                  <a:pt x="6198196" y="1638957"/>
                  <a:pt x="6177500" y="1659656"/>
                  <a:pt x="6152083" y="1659656"/>
                </a:cubicBezTo>
                <a:cubicBezTo>
                  <a:pt x="6126669" y="1659656"/>
                  <a:pt x="6105974" y="1638957"/>
                  <a:pt x="6105974" y="1613543"/>
                </a:cubicBezTo>
                <a:cubicBezTo>
                  <a:pt x="6105974" y="1588125"/>
                  <a:pt x="6126669" y="1567431"/>
                  <a:pt x="6152083" y="1567431"/>
                </a:cubicBezTo>
                <a:close/>
                <a:moveTo>
                  <a:pt x="6305672" y="1564888"/>
                </a:moveTo>
                <a:cubicBezTo>
                  <a:pt x="6332538" y="1564888"/>
                  <a:pt x="6354323" y="1586673"/>
                  <a:pt x="6354323" y="1613543"/>
                </a:cubicBezTo>
                <a:cubicBezTo>
                  <a:pt x="6354323" y="1640409"/>
                  <a:pt x="6332538" y="1662194"/>
                  <a:pt x="6305672" y="1662194"/>
                </a:cubicBezTo>
                <a:cubicBezTo>
                  <a:pt x="6278802" y="1662194"/>
                  <a:pt x="6257016" y="1640409"/>
                  <a:pt x="6257016" y="1613543"/>
                </a:cubicBezTo>
                <a:cubicBezTo>
                  <a:pt x="6257016" y="1586673"/>
                  <a:pt x="6278802" y="1564888"/>
                  <a:pt x="6305672" y="1564888"/>
                </a:cubicBezTo>
                <a:close/>
                <a:moveTo>
                  <a:pt x="6459619" y="1562346"/>
                </a:moveTo>
                <a:cubicBezTo>
                  <a:pt x="6487938" y="1562346"/>
                  <a:pt x="6510813" y="1585221"/>
                  <a:pt x="6510813" y="1613539"/>
                </a:cubicBezTo>
                <a:cubicBezTo>
                  <a:pt x="6510813" y="1641862"/>
                  <a:pt x="6487938" y="1664733"/>
                  <a:pt x="6459619" y="1664733"/>
                </a:cubicBezTo>
                <a:cubicBezTo>
                  <a:pt x="6431297" y="1664733"/>
                  <a:pt x="6408422" y="1641862"/>
                  <a:pt x="6408422" y="1613539"/>
                </a:cubicBezTo>
                <a:cubicBezTo>
                  <a:pt x="6408422" y="1585221"/>
                  <a:pt x="6431297" y="1562346"/>
                  <a:pt x="6459619" y="1562346"/>
                </a:cubicBezTo>
                <a:close/>
                <a:moveTo>
                  <a:pt x="6613197" y="1560169"/>
                </a:moveTo>
                <a:cubicBezTo>
                  <a:pt x="6642610" y="1560169"/>
                  <a:pt x="6666575" y="1584131"/>
                  <a:pt x="6666575" y="1613543"/>
                </a:cubicBezTo>
                <a:cubicBezTo>
                  <a:pt x="6666575" y="1642952"/>
                  <a:pt x="6642610" y="1666914"/>
                  <a:pt x="6613197" y="1666914"/>
                </a:cubicBezTo>
                <a:cubicBezTo>
                  <a:pt x="6583788" y="1666914"/>
                  <a:pt x="6559826" y="1642952"/>
                  <a:pt x="6559826" y="1613543"/>
                </a:cubicBezTo>
                <a:cubicBezTo>
                  <a:pt x="6559826" y="1584131"/>
                  <a:pt x="6583788" y="1560169"/>
                  <a:pt x="6613197" y="1560169"/>
                </a:cubicBezTo>
                <a:close/>
                <a:moveTo>
                  <a:pt x="2153808" y="1459596"/>
                </a:moveTo>
                <a:cubicBezTo>
                  <a:pt x="2154170" y="1459596"/>
                  <a:pt x="2154170" y="1459596"/>
                  <a:pt x="2154170" y="1459958"/>
                </a:cubicBezTo>
                <a:cubicBezTo>
                  <a:pt x="2154170" y="1460324"/>
                  <a:pt x="2153808" y="1460324"/>
                  <a:pt x="2153808" y="1460324"/>
                </a:cubicBezTo>
                <a:cubicBezTo>
                  <a:pt x="2153445" y="1460324"/>
                  <a:pt x="2153445" y="1460324"/>
                  <a:pt x="2153445" y="1459958"/>
                </a:cubicBezTo>
                <a:cubicBezTo>
                  <a:pt x="2153445" y="1459596"/>
                  <a:pt x="2153445" y="1459596"/>
                  <a:pt x="2153808" y="1459596"/>
                </a:cubicBezTo>
                <a:close/>
                <a:moveTo>
                  <a:pt x="1692331" y="1459596"/>
                </a:moveTo>
                <a:cubicBezTo>
                  <a:pt x="1692694" y="1459596"/>
                  <a:pt x="1692694" y="1459596"/>
                  <a:pt x="1692694" y="1459958"/>
                </a:cubicBezTo>
                <a:cubicBezTo>
                  <a:pt x="1692694" y="1460324"/>
                  <a:pt x="1692331" y="1460324"/>
                  <a:pt x="1692331" y="1460324"/>
                </a:cubicBezTo>
                <a:cubicBezTo>
                  <a:pt x="1691969" y="1460324"/>
                  <a:pt x="1691969" y="1460324"/>
                  <a:pt x="1691969" y="1459958"/>
                </a:cubicBezTo>
                <a:cubicBezTo>
                  <a:pt x="1691969" y="1459596"/>
                  <a:pt x="1691969" y="1459596"/>
                  <a:pt x="1692331" y="1459596"/>
                </a:cubicBezTo>
                <a:close/>
                <a:moveTo>
                  <a:pt x="1538746" y="1459596"/>
                </a:moveTo>
                <a:cubicBezTo>
                  <a:pt x="1539108" y="1459596"/>
                  <a:pt x="1539108" y="1459596"/>
                  <a:pt x="1539108" y="1459958"/>
                </a:cubicBezTo>
                <a:cubicBezTo>
                  <a:pt x="1539108" y="1460324"/>
                  <a:pt x="1538746" y="1460324"/>
                  <a:pt x="1538746" y="1460324"/>
                </a:cubicBezTo>
                <a:cubicBezTo>
                  <a:pt x="1538384" y="1460324"/>
                  <a:pt x="1538384" y="1460324"/>
                  <a:pt x="1538384" y="1459958"/>
                </a:cubicBezTo>
                <a:cubicBezTo>
                  <a:pt x="1538384" y="1459596"/>
                  <a:pt x="1538384" y="1459596"/>
                  <a:pt x="1538746" y="1459596"/>
                </a:cubicBezTo>
                <a:close/>
                <a:moveTo>
                  <a:pt x="1384795" y="1459230"/>
                </a:moveTo>
                <a:cubicBezTo>
                  <a:pt x="1385161" y="1459230"/>
                  <a:pt x="1385523" y="1459592"/>
                  <a:pt x="1385523" y="1459958"/>
                </a:cubicBezTo>
                <a:cubicBezTo>
                  <a:pt x="1385523" y="1460320"/>
                  <a:pt x="1384795" y="1460682"/>
                  <a:pt x="1384795" y="1460682"/>
                </a:cubicBezTo>
                <a:cubicBezTo>
                  <a:pt x="1384433" y="1460682"/>
                  <a:pt x="1384071" y="1460320"/>
                  <a:pt x="1384071" y="1459958"/>
                </a:cubicBezTo>
                <a:cubicBezTo>
                  <a:pt x="1384071" y="1459592"/>
                  <a:pt x="1384433" y="1459230"/>
                  <a:pt x="1384795" y="1459230"/>
                </a:cubicBezTo>
                <a:close/>
                <a:moveTo>
                  <a:pt x="2307393" y="1458140"/>
                </a:moveTo>
                <a:cubicBezTo>
                  <a:pt x="2308117" y="1458140"/>
                  <a:pt x="2308845" y="1458868"/>
                  <a:pt x="2308845" y="1459592"/>
                </a:cubicBezTo>
                <a:cubicBezTo>
                  <a:pt x="2308845" y="1460320"/>
                  <a:pt x="2307393" y="1461044"/>
                  <a:pt x="2307393" y="1461044"/>
                </a:cubicBezTo>
                <a:cubicBezTo>
                  <a:pt x="2306665" y="1461044"/>
                  <a:pt x="2305941" y="1460320"/>
                  <a:pt x="2305941" y="1459592"/>
                </a:cubicBezTo>
                <a:cubicBezTo>
                  <a:pt x="2305941" y="1458868"/>
                  <a:pt x="2306665" y="1458140"/>
                  <a:pt x="2307393" y="1458140"/>
                </a:cubicBezTo>
                <a:close/>
                <a:moveTo>
                  <a:pt x="2461340" y="1457777"/>
                </a:moveTo>
                <a:cubicBezTo>
                  <a:pt x="2462430" y="1457777"/>
                  <a:pt x="2463521" y="1458868"/>
                  <a:pt x="2463521" y="1459954"/>
                </a:cubicBezTo>
                <a:cubicBezTo>
                  <a:pt x="2463521" y="1461044"/>
                  <a:pt x="2461340" y="1462134"/>
                  <a:pt x="2461340" y="1462134"/>
                </a:cubicBezTo>
                <a:cubicBezTo>
                  <a:pt x="2460254" y="1462134"/>
                  <a:pt x="2459164" y="1461044"/>
                  <a:pt x="2459164" y="1459954"/>
                </a:cubicBezTo>
                <a:cubicBezTo>
                  <a:pt x="2459164" y="1458868"/>
                  <a:pt x="2460254" y="1457777"/>
                  <a:pt x="2461340" y="1457777"/>
                </a:cubicBezTo>
                <a:close/>
                <a:moveTo>
                  <a:pt x="2614925" y="1456687"/>
                </a:moveTo>
                <a:cubicBezTo>
                  <a:pt x="2616744" y="1456687"/>
                  <a:pt x="2618192" y="1458140"/>
                  <a:pt x="2618192" y="1459954"/>
                </a:cubicBezTo>
                <a:cubicBezTo>
                  <a:pt x="2618192" y="1461769"/>
                  <a:pt x="2616744" y="1463225"/>
                  <a:pt x="2614925" y="1463225"/>
                </a:cubicBezTo>
                <a:cubicBezTo>
                  <a:pt x="2613111" y="1463225"/>
                  <a:pt x="2611659" y="1461769"/>
                  <a:pt x="2611659" y="1459954"/>
                </a:cubicBezTo>
                <a:cubicBezTo>
                  <a:pt x="2611659" y="1458140"/>
                  <a:pt x="2613111" y="1456687"/>
                  <a:pt x="2614925" y="1456687"/>
                </a:cubicBezTo>
                <a:close/>
                <a:moveTo>
                  <a:pt x="2768873" y="1455601"/>
                </a:moveTo>
                <a:cubicBezTo>
                  <a:pt x="2771415" y="1455601"/>
                  <a:pt x="2773230" y="1457415"/>
                  <a:pt x="2773230" y="1459958"/>
                </a:cubicBezTo>
                <a:cubicBezTo>
                  <a:pt x="2773230" y="1462500"/>
                  <a:pt x="2771053" y="1464315"/>
                  <a:pt x="2768873" y="1464315"/>
                </a:cubicBezTo>
                <a:cubicBezTo>
                  <a:pt x="2766330" y="1464315"/>
                  <a:pt x="2764516" y="1462500"/>
                  <a:pt x="2764516" y="1459958"/>
                </a:cubicBezTo>
                <a:cubicBezTo>
                  <a:pt x="2764516" y="1457415"/>
                  <a:pt x="2766330" y="1455601"/>
                  <a:pt x="2768873" y="1455601"/>
                </a:cubicBezTo>
                <a:close/>
                <a:moveTo>
                  <a:pt x="2922458" y="1454149"/>
                </a:moveTo>
                <a:cubicBezTo>
                  <a:pt x="2925725" y="1454149"/>
                  <a:pt x="2928267" y="1456691"/>
                  <a:pt x="2928267" y="1459958"/>
                </a:cubicBezTo>
                <a:cubicBezTo>
                  <a:pt x="2928267" y="1463225"/>
                  <a:pt x="2925725" y="1465767"/>
                  <a:pt x="2922458" y="1465767"/>
                </a:cubicBezTo>
                <a:cubicBezTo>
                  <a:pt x="2919191" y="1465767"/>
                  <a:pt x="2916649" y="1463225"/>
                  <a:pt x="2916649" y="1459958"/>
                </a:cubicBezTo>
                <a:cubicBezTo>
                  <a:pt x="2916649" y="1456691"/>
                  <a:pt x="2919191" y="1454149"/>
                  <a:pt x="2922458" y="1454149"/>
                </a:cubicBezTo>
                <a:close/>
                <a:moveTo>
                  <a:pt x="3076406" y="1452696"/>
                </a:moveTo>
                <a:cubicBezTo>
                  <a:pt x="3080400" y="1452696"/>
                  <a:pt x="3083667" y="1455963"/>
                  <a:pt x="3083667" y="1459958"/>
                </a:cubicBezTo>
                <a:cubicBezTo>
                  <a:pt x="3083667" y="1463953"/>
                  <a:pt x="3080400" y="1467220"/>
                  <a:pt x="3076406" y="1467220"/>
                </a:cubicBezTo>
                <a:cubicBezTo>
                  <a:pt x="3072410" y="1467220"/>
                  <a:pt x="3069144" y="1463953"/>
                  <a:pt x="3069144" y="1459958"/>
                </a:cubicBezTo>
                <a:cubicBezTo>
                  <a:pt x="3069144" y="1455963"/>
                  <a:pt x="3072410" y="1452696"/>
                  <a:pt x="3076406" y="1452696"/>
                </a:cubicBezTo>
                <a:close/>
                <a:moveTo>
                  <a:pt x="3230353" y="1450516"/>
                </a:moveTo>
                <a:cubicBezTo>
                  <a:pt x="3235438" y="1450516"/>
                  <a:pt x="3239433" y="1454511"/>
                  <a:pt x="3239433" y="1459592"/>
                </a:cubicBezTo>
                <a:cubicBezTo>
                  <a:pt x="3239433" y="1464677"/>
                  <a:pt x="3235438" y="1468672"/>
                  <a:pt x="3230353" y="1468672"/>
                </a:cubicBezTo>
                <a:cubicBezTo>
                  <a:pt x="3225272" y="1468672"/>
                  <a:pt x="3221277" y="1464677"/>
                  <a:pt x="3221277" y="1459592"/>
                </a:cubicBezTo>
                <a:cubicBezTo>
                  <a:pt x="3221277" y="1454511"/>
                  <a:pt x="3225272" y="1450516"/>
                  <a:pt x="3230353" y="1450516"/>
                </a:cubicBezTo>
                <a:close/>
                <a:moveTo>
                  <a:pt x="3383934" y="1449791"/>
                </a:moveTo>
                <a:cubicBezTo>
                  <a:pt x="3389382" y="1449791"/>
                  <a:pt x="3394100" y="1454511"/>
                  <a:pt x="3394100" y="1459958"/>
                </a:cubicBezTo>
                <a:cubicBezTo>
                  <a:pt x="3394100" y="1465405"/>
                  <a:pt x="3389744" y="1470124"/>
                  <a:pt x="3383934" y="1470124"/>
                </a:cubicBezTo>
                <a:cubicBezTo>
                  <a:pt x="3378487" y="1470124"/>
                  <a:pt x="3373768" y="1465405"/>
                  <a:pt x="3373768" y="1459958"/>
                </a:cubicBezTo>
                <a:cubicBezTo>
                  <a:pt x="3373768" y="1454511"/>
                  <a:pt x="3378487" y="1449791"/>
                  <a:pt x="3383934" y="1449791"/>
                </a:cubicBezTo>
                <a:close/>
                <a:moveTo>
                  <a:pt x="3537882" y="1447977"/>
                </a:moveTo>
                <a:cubicBezTo>
                  <a:pt x="3544419" y="1447977"/>
                  <a:pt x="3549866" y="1453424"/>
                  <a:pt x="3549866" y="1459958"/>
                </a:cubicBezTo>
                <a:cubicBezTo>
                  <a:pt x="3549866" y="1466495"/>
                  <a:pt x="3544419" y="1471939"/>
                  <a:pt x="3537882" y="1471939"/>
                </a:cubicBezTo>
                <a:cubicBezTo>
                  <a:pt x="3531348" y="1471939"/>
                  <a:pt x="3525901" y="1466495"/>
                  <a:pt x="3525901" y="1459958"/>
                </a:cubicBezTo>
                <a:cubicBezTo>
                  <a:pt x="3525901" y="1453424"/>
                  <a:pt x="3531348" y="1447977"/>
                  <a:pt x="3537882" y="1447977"/>
                </a:cubicBezTo>
                <a:close/>
                <a:moveTo>
                  <a:pt x="3691467" y="1445797"/>
                </a:moveTo>
                <a:cubicBezTo>
                  <a:pt x="3699094" y="1445797"/>
                  <a:pt x="3705266" y="1451968"/>
                  <a:pt x="3705266" y="1459596"/>
                </a:cubicBezTo>
                <a:cubicBezTo>
                  <a:pt x="3705266" y="1467220"/>
                  <a:pt x="3699094" y="1473391"/>
                  <a:pt x="3691467" y="1473391"/>
                </a:cubicBezTo>
                <a:cubicBezTo>
                  <a:pt x="3683843" y="1473391"/>
                  <a:pt x="3677672" y="1467220"/>
                  <a:pt x="3677672" y="1459596"/>
                </a:cubicBezTo>
                <a:cubicBezTo>
                  <a:pt x="3677672" y="1451968"/>
                  <a:pt x="3683843" y="1445797"/>
                  <a:pt x="3691467" y="1445797"/>
                </a:cubicBezTo>
                <a:close/>
                <a:moveTo>
                  <a:pt x="3845414" y="1444706"/>
                </a:moveTo>
                <a:cubicBezTo>
                  <a:pt x="3853839" y="1444706"/>
                  <a:pt x="3860666" y="1451534"/>
                  <a:pt x="3860666" y="1459954"/>
                </a:cubicBezTo>
                <a:cubicBezTo>
                  <a:pt x="3860666" y="1468378"/>
                  <a:pt x="3853839" y="1475205"/>
                  <a:pt x="3845414" y="1475205"/>
                </a:cubicBezTo>
                <a:cubicBezTo>
                  <a:pt x="3836994" y="1475205"/>
                  <a:pt x="3830167" y="1468378"/>
                  <a:pt x="3830167" y="1459954"/>
                </a:cubicBezTo>
                <a:cubicBezTo>
                  <a:pt x="3830167" y="1451534"/>
                  <a:pt x="3836994" y="1444706"/>
                  <a:pt x="3845414" y="1444706"/>
                </a:cubicBezTo>
                <a:close/>
                <a:moveTo>
                  <a:pt x="3999000" y="1442892"/>
                </a:moveTo>
                <a:cubicBezTo>
                  <a:pt x="4008438" y="1442892"/>
                  <a:pt x="4016066" y="1450516"/>
                  <a:pt x="4016066" y="1459958"/>
                </a:cubicBezTo>
                <a:cubicBezTo>
                  <a:pt x="4016066" y="1469396"/>
                  <a:pt x="4008438" y="1477020"/>
                  <a:pt x="3999000" y="1477020"/>
                </a:cubicBezTo>
                <a:cubicBezTo>
                  <a:pt x="3989558" y="1477020"/>
                  <a:pt x="3981934" y="1469396"/>
                  <a:pt x="3981934" y="1459958"/>
                </a:cubicBezTo>
                <a:cubicBezTo>
                  <a:pt x="3981934" y="1450516"/>
                  <a:pt x="3989558" y="1442892"/>
                  <a:pt x="3999000" y="1442892"/>
                </a:cubicBezTo>
                <a:close/>
                <a:moveTo>
                  <a:pt x="4152947" y="1440715"/>
                </a:moveTo>
                <a:cubicBezTo>
                  <a:pt x="4163578" y="1440715"/>
                  <a:pt x="4172194" y="1449330"/>
                  <a:pt x="4172194" y="1459958"/>
                </a:cubicBezTo>
                <a:cubicBezTo>
                  <a:pt x="4172194" y="1470585"/>
                  <a:pt x="4163578" y="1479200"/>
                  <a:pt x="4152947" y="1479200"/>
                </a:cubicBezTo>
                <a:cubicBezTo>
                  <a:pt x="4142320" y="1479200"/>
                  <a:pt x="4133704" y="1470585"/>
                  <a:pt x="4133704" y="1459958"/>
                </a:cubicBezTo>
                <a:cubicBezTo>
                  <a:pt x="4133704" y="1449330"/>
                  <a:pt x="4142320" y="1440715"/>
                  <a:pt x="4152947" y="1440715"/>
                </a:cubicBezTo>
                <a:close/>
                <a:moveTo>
                  <a:pt x="4306532" y="1438535"/>
                </a:moveTo>
                <a:cubicBezTo>
                  <a:pt x="4318513" y="1438535"/>
                  <a:pt x="4327952" y="1447977"/>
                  <a:pt x="4327952" y="1459958"/>
                </a:cubicBezTo>
                <a:cubicBezTo>
                  <a:pt x="4327952" y="1471939"/>
                  <a:pt x="4318151" y="1481381"/>
                  <a:pt x="4306532" y="1481381"/>
                </a:cubicBezTo>
                <a:cubicBezTo>
                  <a:pt x="4294552" y="1481381"/>
                  <a:pt x="4285110" y="1471939"/>
                  <a:pt x="4285110" y="1459958"/>
                </a:cubicBezTo>
                <a:cubicBezTo>
                  <a:pt x="4285110" y="1447977"/>
                  <a:pt x="4294552" y="1438535"/>
                  <a:pt x="4306532" y="1438535"/>
                </a:cubicBezTo>
                <a:close/>
                <a:moveTo>
                  <a:pt x="4460480" y="1437083"/>
                </a:moveTo>
                <a:cubicBezTo>
                  <a:pt x="4473112" y="1437083"/>
                  <a:pt x="4483355" y="1447325"/>
                  <a:pt x="4483355" y="1459958"/>
                </a:cubicBezTo>
                <a:cubicBezTo>
                  <a:pt x="4483355" y="1472591"/>
                  <a:pt x="4473112" y="1482833"/>
                  <a:pt x="4460480" y="1482833"/>
                </a:cubicBezTo>
                <a:cubicBezTo>
                  <a:pt x="4447847" y="1482833"/>
                  <a:pt x="4437604" y="1472591"/>
                  <a:pt x="4437604" y="1459958"/>
                </a:cubicBezTo>
                <a:cubicBezTo>
                  <a:pt x="4437604" y="1447325"/>
                  <a:pt x="4447847" y="1437083"/>
                  <a:pt x="4460480" y="1437083"/>
                </a:cubicBezTo>
                <a:close/>
                <a:moveTo>
                  <a:pt x="4614061" y="1434906"/>
                </a:moveTo>
                <a:cubicBezTo>
                  <a:pt x="4627860" y="1434906"/>
                  <a:pt x="4639116" y="1446163"/>
                  <a:pt x="4639116" y="1459958"/>
                </a:cubicBezTo>
                <a:cubicBezTo>
                  <a:pt x="4639116" y="1473757"/>
                  <a:pt x="4627860" y="1485013"/>
                  <a:pt x="4614061" y="1485013"/>
                </a:cubicBezTo>
                <a:cubicBezTo>
                  <a:pt x="4600266" y="1485013"/>
                  <a:pt x="4589010" y="1473757"/>
                  <a:pt x="4589010" y="1459958"/>
                </a:cubicBezTo>
                <a:cubicBezTo>
                  <a:pt x="4589010" y="1446163"/>
                  <a:pt x="4600266" y="1434906"/>
                  <a:pt x="4614061" y="1434906"/>
                </a:cubicBezTo>
                <a:close/>
                <a:moveTo>
                  <a:pt x="4768012" y="1432726"/>
                </a:moveTo>
                <a:cubicBezTo>
                  <a:pt x="4782898" y="1432726"/>
                  <a:pt x="4795244" y="1445072"/>
                  <a:pt x="4795244" y="1459958"/>
                </a:cubicBezTo>
                <a:cubicBezTo>
                  <a:pt x="4795244" y="1474843"/>
                  <a:pt x="4783260" y="1487190"/>
                  <a:pt x="4768012" y="1487190"/>
                </a:cubicBezTo>
                <a:cubicBezTo>
                  <a:pt x="4753123" y="1487190"/>
                  <a:pt x="4740780" y="1474843"/>
                  <a:pt x="4740780" y="1459958"/>
                </a:cubicBezTo>
                <a:cubicBezTo>
                  <a:pt x="4740780" y="1445072"/>
                  <a:pt x="4753123" y="1432726"/>
                  <a:pt x="4768012" y="1432726"/>
                </a:cubicBezTo>
                <a:close/>
                <a:moveTo>
                  <a:pt x="4921594" y="1430183"/>
                </a:moveTo>
                <a:cubicBezTo>
                  <a:pt x="4938038" y="1430183"/>
                  <a:pt x="4951368" y="1443513"/>
                  <a:pt x="4951368" y="1459954"/>
                </a:cubicBezTo>
                <a:cubicBezTo>
                  <a:pt x="4951368" y="1476399"/>
                  <a:pt x="4938038" y="1489729"/>
                  <a:pt x="4921594" y="1489729"/>
                </a:cubicBezTo>
                <a:cubicBezTo>
                  <a:pt x="4905153" y="1489729"/>
                  <a:pt x="4891823" y="1476399"/>
                  <a:pt x="4891823" y="1459954"/>
                </a:cubicBezTo>
                <a:cubicBezTo>
                  <a:pt x="4891823" y="1443513"/>
                  <a:pt x="4905153" y="1430183"/>
                  <a:pt x="4921594" y="1430183"/>
                </a:cubicBezTo>
                <a:close/>
                <a:moveTo>
                  <a:pt x="5075541" y="1428007"/>
                </a:moveTo>
                <a:cubicBezTo>
                  <a:pt x="5093332" y="1428007"/>
                  <a:pt x="5107492" y="1442168"/>
                  <a:pt x="5107492" y="1459958"/>
                </a:cubicBezTo>
                <a:cubicBezTo>
                  <a:pt x="5107492" y="1477748"/>
                  <a:pt x="5093332" y="1491909"/>
                  <a:pt x="5075541" y="1491909"/>
                </a:cubicBezTo>
                <a:cubicBezTo>
                  <a:pt x="5057751" y="1491909"/>
                  <a:pt x="5043590" y="1477748"/>
                  <a:pt x="5043590" y="1459958"/>
                </a:cubicBezTo>
                <a:cubicBezTo>
                  <a:pt x="5043590" y="1442168"/>
                  <a:pt x="5057751" y="1428007"/>
                  <a:pt x="5075541" y="1428007"/>
                </a:cubicBezTo>
                <a:close/>
                <a:moveTo>
                  <a:pt x="5229126" y="1426192"/>
                </a:moveTo>
                <a:cubicBezTo>
                  <a:pt x="5247774" y="1426192"/>
                  <a:pt x="5262892" y="1441310"/>
                  <a:pt x="5262892" y="1459958"/>
                </a:cubicBezTo>
                <a:cubicBezTo>
                  <a:pt x="5262892" y="1478610"/>
                  <a:pt x="5247774" y="1493724"/>
                  <a:pt x="5229126" y="1493724"/>
                </a:cubicBezTo>
                <a:cubicBezTo>
                  <a:pt x="5210478" y="1493724"/>
                  <a:pt x="5195360" y="1478610"/>
                  <a:pt x="5195360" y="1459958"/>
                </a:cubicBezTo>
                <a:cubicBezTo>
                  <a:pt x="5195360" y="1441310"/>
                  <a:pt x="5210478" y="1426192"/>
                  <a:pt x="5229126" y="1426192"/>
                </a:cubicBezTo>
                <a:close/>
                <a:moveTo>
                  <a:pt x="5383074" y="1423650"/>
                </a:moveTo>
                <a:cubicBezTo>
                  <a:pt x="5403044" y="1423650"/>
                  <a:pt x="5419382" y="1439987"/>
                  <a:pt x="5419382" y="1459958"/>
                </a:cubicBezTo>
                <a:cubicBezTo>
                  <a:pt x="5419382" y="1479928"/>
                  <a:pt x="5403044" y="1496266"/>
                  <a:pt x="5383074" y="1496266"/>
                </a:cubicBezTo>
                <a:cubicBezTo>
                  <a:pt x="5363104" y="1496266"/>
                  <a:pt x="5346766" y="1479928"/>
                  <a:pt x="5346766" y="1459958"/>
                </a:cubicBezTo>
                <a:cubicBezTo>
                  <a:pt x="5346766" y="1439987"/>
                  <a:pt x="5363104" y="1423650"/>
                  <a:pt x="5383074" y="1423650"/>
                </a:cubicBezTo>
                <a:close/>
                <a:moveTo>
                  <a:pt x="5536659" y="1421107"/>
                </a:moveTo>
                <a:cubicBezTo>
                  <a:pt x="5558078" y="1421107"/>
                  <a:pt x="5575506" y="1438535"/>
                  <a:pt x="5575506" y="1459958"/>
                </a:cubicBezTo>
                <a:cubicBezTo>
                  <a:pt x="5575506" y="1481377"/>
                  <a:pt x="5558078" y="1498805"/>
                  <a:pt x="5536659" y="1498805"/>
                </a:cubicBezTo>
                <a:cubicBezTo>
                  <a:pt x="5515236" y="1498805"/>
                  <a:pt x="5497808" y="1481377"/>
                  <a:pt x="5497808" y="1459958"/>
                </a:cubicBezTo>
                <a:cubicBezTo>
                  <a:pt x="5497808" y="1438535"/>
                  <a:pt x="5515236" y="1421107"/>
                  <a:pt x="5536659" y="1421107"/>
                </a:cubicBezTo>
                <a:close/>
                <a:moveTo>
                  <a:pt x="5690606" y="1418930"/>
                </a:moveTo>
                <a:cubicBezTo>
                  <a:pt x="5713482" y="1418930"/>
                  <a:pt x="5731638" y="1437086"/>
                  <a:pt x="5731638" y="1459958"/>
                </a:cubicBezTo>
                <a:cubicBezTo>
                  <a:pt x="5731638" y="1482833"/>
                  <a:pt x="5713120" y="1500985"/>
                  <a:pt x="5690606" y="1500985"/>
                </a:cubicBezTo>
                <a:cubicBezTo>
                  <a:pt x="5667735" y="1500985"/>
                  <a:pt x="5649579" y="1482833"/>
                  <a:pt x="5649579" y="1459958"/>
                </a:cubicBezTo>
                <a:cubicBezTo>
                  <a:pt x="5649579" y="1437086"/>
                  <a:pt x="5667735" y="1418930"/>
                  <a:pt x="5690606" y="1418930"/>
                </a:cubicBezTo>
                <a:close/>
                <a:moveTo>
                  <a:pt x="5844554" y="1416388"/>
                </a:moveTo>
                <a:cubicBezTo>
                  <a:pt x="5868516" y="1416388"/>
                  <a:pt x="5888124" y="1435996"/>
                  <a:pt x="5888124" y="1459958"/>
                </a:cubicBezTo>
                <a:cubicBezTo>
                  <a:pt x="5888124" y="1483923"/>
                  <a:pt x="5868516" y="1503528"/>
                  <a:pt x="5844554" y="1503528"/>
                </a:cubicBezTo>
                <a:cubicBezTo>
                  <a:pt x="5820588" y="1503528"/>
                  <a:pt x="5800984" y="1483923"/>
                  <a:pt x="5800984" y="1459958"/>
                </a:cubicBezTo>
                <a:cubicBezTo>
                  <a:pt x="5800984" y="1435996"/>
                  <a:pt x="5820588" y="1416388"/>
                  <a:pt x="5844554" y="1416388"/>
                </a:cubicBezTo>
                <a:close/>
                <a:moveTo>
                  <a:pt x="5998136" y="1413845"/>
                </a:moveTo>
                <a:cubicBezTo>
                  <a:pt x="6023553" y="1413845"/>
                  <a:pt x="6044248" y="1434540"/>
                  <a:pt x="6044248" y="1459958"/>
                </a:cubicBezTo>
                <a:cubicBezTo>
                  <a:pt x="6044248" y="1485372"/>
                  <a:pt x="6023553" y="1506070"/>
                  <a:pt x="5998136" y="1506070"/>
                </a:cubicBezTo>
                <a:cubicBezTo>
                  <a:pt x="5972722" y="1506070"/>
                  <a:pt x="5952026" y="1485372"/>
                  <a:pt x="5952026" y="1459958"/>
                </a:cubicBezTo>
                <a:cubicBezTo>
                  <a:pt x="5952026" y="1434540"/>
                  <a:pt x="5972722" y="1413845"/>
                  <a:pt x="5998136" y="1413845"/>
                </a:cubicBezTo>
                <a:close/>
                <a:moveTo>
                  <a:pt x="6152083" y="1411303"/>
                </a:moveTo>
                <a:cubicBezTo>
                  <a:pt x="6178953" y="1411303"/>
                  <a:pt x="6200738" y="1433088"/>
                  <a:pt x="6200738" y="1459958"/>
                </a:cubicBezTo>
                <a:cubicBezTo>
                  <a:pt x="6200738" y="1486824"/>
                  <a:pt x="6178953" y="1508609"/>
                  <a:pt x="6152083" y="1508609"/>
                </a:cubicBezTo>
                <a:cubicBezTo>
                  <a:pt x="6125216" y="1508609"/>
                  <a:pt x="6103432" y="1486824"/>
                  <a:pt x="6103432" y="1459958"/>
                </a:cubicBezTo>
                <a:cubicBezTo>
                  <a:pt x="6103432" y="1433088"/>
                  <a:pt x="6125216" y="1411303"/>
                  <a:pt x="6152083" y="1411303"/>
                </a:cubicBezTo>
                <a:close/>
                <a:moveTo>
                  <a:pt x="6305672" y="1408760"/>
                </a:moveTo>
                <a:cubicBezTo>
                  <a:pt x="6333990" y="1408760"/>
                  <a:pt x="6356866" y="1431635"/>
                  <a:pt x="6356866" y="1459954"/>
                </a:cubicBezTo>
                <a:cubicBezTo>
                  <a:pt x="6356866" y="1488276"/>
                  <a:pt x="6333990" y="1511148"/>
                  <a:pt x="6305672" y="1511148"/>
                </a:cubicBezTo>
                <a:cubicBezTo>
                  <a:pt x="6277350" y="1511148"/>
                  <a:pt x="6254474" y="1488276"/>
                  <a:pt x="6254474" y="1459954"/>
                </a:cubicBezTo>
                <a:cubicBezTo>
                  <a:pt x="6254474" y="1431635"/>
                  <a:pt x="6277350" y="1408760"/>
                  <a:pt x="6305672" y="1408760"/>
                </a:cubicBezTo>
                <a:close/>
                <a:moveTo>
                  <a:pt x="6459616" y="1406584"/>
                </a:moveTo>
                <a:cubicBezTo>
                  <a:pt x="6489024" y="1406584"/>
                  <a:pt x="6512990" y="1430545"/>
                  <a:pt x="6512990" y="1459958"/>
                </a:cubicBezTo>
                <a:cubicBezTo>
                  <a:pt x="6512990" y="1489367"/>
                  <a:pt x="6489024" y="1513328"/>
                  <a:pt x="6459616" y="1513328"/>
                </a:cubicBezTo>
                <a:cubicBezTo>
                  <a:pt x="6430206" y="1513328"/>
                  <a:pt x="6406241" y="1489367"/>
                  <a:pt x="6406241" y="1459958"/>
                </a:cubicBezTo>
                <a:cubicBezTo>
                  <a:pt x="6406241" y="1430545"/>
                  <a:pt x="6430206" y="1406584"/>
                  <a:pt x="6459616" y="1406584"/>
                </a:cubicBezTo>
                <a:close/>
                <a:moveTo>
                  <a:pt x="6613200" y="1403679"/>
                </a:moveTo>
                <a:cubicBezTo>
                  <a:pt x="6644424" y="1403679"/>
                  <a:pt x="6669476" y="1428731"/>
                  <a:pt x="6669476" y="1459958"/>
                </a:cubicBezTo>
                <a:cubicBezTo>
                  <a:pt x="6669476" y="1491181"/>
                  <a:pt x="6644424" y="1516233"/>
                  <a:pt x="6613200" y="1516233"/>
                </a:cubicBezTo>
                <a:cubicBezTo>
                  <a:pt x="6581974" y="1516233"/>
                  <a:pt x="6556922" y="1491181"/>
                  <a:pt x="6556922" y="1459958"/>
                </a:cubicBezTo>
                <a:cubicBezTo>
                  <a:pt x="6556922" y="1428731"/>
                  <a:pt x="6581974" y="1403679"/>
                  <a:pt x="6613200" y="1403679"/>
                </a:cubicBezTo>
                <a:close/>
                <a:moveTo>
                  <a:pt x="1999860" y="1305645"/>
                </a:moveTo>
                <a:cubicBezTo>
                  <a:pt x="2000222" y="1305645"/>
                  <a:pt x="2000222" y="1305645"/>
                  <a:pt x="2000222" y="1306007"/>
                </a:cubicBezTo>
                <a:cubicBezTo>
                  <a:pt x="2000222" y="1306373"/>
                  <a:pt x="1999860" y="1306373"/>
                  <a:pt x="1999860" y="1306373"/>
                </a:cubicBezTo>
                <a:cubicBezTo>
                  <a:pt x="1999498" y="1306373"/>
                  <a:pt x="1999498" y="1306373"/>
                  <a:pt x="1999498" y="1306007"/>
                </a:cubicBezTo>
                <a:cubicBezTo>
                  <a:pt x="1999498" y="1305645"/>
                  <a:pt x="1999498" y="1305645"/>
                  <a:pt x="1999860" y="1305645"/>
                </a:cubicBezTo>
                <a:close/>
                <a:moveTo>
                  <a:pt x="1538746" y="1305645"/>
                </a:moveTo>
                <a:cubicBezTo>
                  <a:pt x="1539108" y="1305645"/>
                  <a:pt x="1539108" y="1305645"/>
                  <a:pt x="1539108" y="1306007"/>
                </a:cubicBezTo>
                <a:cubicBezTo>
                  <a:pt x="1539108" y="1306373"/>
                  <a:pt x="1538746" y="1306373"/>
                  <a:pt x="1538746" y="1306373"/>
                </a:cubicBezTo>
                <a:cubicBezTo>
                  <a:pt x="1538384" y="1306373"/>
                  <a:pt x="1538384" y="1306373"/>
                  <a:pt x="1538384" y="1306007"/>
                </a:cubicBezTo>
                <a:cubicBezTo>
                  <a:pt x="1538384" y="1305645"/>
                  <a:pt x="1538384" y="1305645"/>
                  <a:pt x="1538746" y="1305645"/>
                </a:cubicBezTo>
                <a:close/>
                <a:moveTo>
                  <a:pt x="1384799" y="1305645"/>
                </a:moveTo>
                <a:cubicBezTo>
                  <a:pt x="1385161" y="1305645"/>
                  <a:pt x="1385161" y="1305645"/>
                  <a:pt x="1385161" y="1306007"/>
                </a:cubicBezTo>
                <a:cubicBezTo>
                  <a:pt x="1385161" y="1306373"/>
                  <a:pt x="1384799" y="1306373"/>
                  <a:pt x="1384799" y="1306373"/>
                </a:cubicBezTo>
                <a:cubicBezTo>
                  <a:pt x="1384437" y="1306373"/>
                  <a:pt x="1384437" y="1306373"/>
                  <a:pt x="1384437" y="1306007"/>
                </a:cubicBezTo>
                <a:cubicBezTo>
                  <a:pt x="1384437" y="1305645"/>
                  <a:pt x="1384437" y="1305645"/>
                  <a:pt x="1384799" y="1305645"/>
                </a:cubicBezTo>
                <a:close/>
                <a:moveTo>
                  <a:pt x="1231217" y="1305282"/>
                </a:moveTo>
                <a:cubicBezTo>
                  <a:pt x="1231618" y="1305282"/>
                  <a:pt x="1231942" y="1305606"/>
                  <a:pt x="1231942" y="1306010"/>
                </a:cubicBezTo>
                <a:cubicBezTo>
                  <a:pt x="1231942" y="1306411"/>
                  <a:pt x="1231618" y="1306735"/>
                  <a:pt x="1231217" y="1306735"/>
                </a:cubicBezTo>
                <a:cubicBezTo>
                  <a:pt x="1230813" y="1306735"/>
                  <a:pt x="1230489" y="1306411"/>
                  <a:pt x="1230489" y="1306010"/>
                </a:cubicBezTo>
                <a:cubicBezTo>
                  <a:pt x="1230489" y="1305606"/>
                  <a:pt x="1230813" y="1305282"/>
                  <a:pt x="1231217" y="1305282"/>
                </a:cubicBezTo>
                <a:close/>
                <a:moveTo>
                  <a:pt x="2153811" y="1304558"/>
                </a:moveTo>
                <a:cubicBezTo>
                  <a:pt x="2154536" y="1304558"/>
                  <a:pt x="2155264" y="1305286"/>
                  <a:pt x="2155264" y="1306010"/>
                </a:cubicBezTo>
                <a:cubicBezTo>
                  <a:pt x="2155264" y="1306739"/>
                  <a:pt x="2153811" y="1307463"/>
                  <a:pt x="2153811" y="1307463"/>
                </a:cubicBezTo>
                <a:cubicBezTo>
                  <a:pt x="2153083" y="1307463"/>
                  <a:pt x="2152359" y="1306739"/>
                  <a:pt x="2152359" y="1306010"/>
                </a:cubicBezTo>
                <a:cubicBezTo>
                  <a:pt x="2152359" y="1305286"/>
                  <a:pt x="2153083" y="1304558"/>
                  <a:pt x="2153811" y="1304558"/>
                </a:cubicBezTo>
                <a:close/>
                <a:moveTo>
                  <a:pt x="2307393" y="1303830"/>
                </a:moveTo>
                <a:cubicBezTo>
                  <a:pt x="2308483" y="1303830"/>
                  <a:pt x="2309573" y="1304920"/>
                  <a:pt x="2309573" y="1306010"/>
                </a:cubicBezTo>
                <a:cubicBezTo>
                  <a:pt x="2309573" y="1307097"/>
                  <a:pt x="2307393" y="1308187"/>
                  <a:pt x="2307393" y="1308187"/>
                </a:cubicBezTo>
                <a:cubicBezTo>
                  <a:pt x="2306306" y="1308187"/>
                  <a:pt x="2305216" y="1307097"/>
                  <a:pt x="2305216" y="1306010"/>
                </a:cubicBezTo>
                <a:cubicBezTo>
                  <a:pt x="2305216" y="1304920"/>
                  <a:pt x="2306306" y="1303830"/>
                  <a:pt x="2307393" y="1303830"/>
                </a:cubicBezTo>
                <a:close/>
                <a:moveTo>
                  <a:pt x="2461344" y="1303106"/>
                </a:moveTo>
                <a:cubicBezTo>
                  <a:pt x="2463159" y="1303106"/>
                  <a:pt x="2464611" y="1304558"/>
                  <a:pt x="2464611" y="1306373"/>
                </a:cubicBezTo>
                <a:cubicBezTo>
                  <a:pt x="2464611" y="1308187"/>
                  <a:pt x="2463159" y="1309643"/>
                  <a:pt x="2461344" y="1309643"/>
                </a:cubicBezTo>
                <a:cubicBezTo>
                  <a:pt x="2459526" y="1309643"/>
                  <a:pt x="2458073" y="1308187"/>
                  <a:pt x="2458073" y="1306373"/>
                </a:cubicBezTo>
                <a:cubicBezTo>
                  <a:pt x="2458073" y="1304558"/>
                  <a:pt x="2459526" y="1303106"/>
                  <a:pt x="2461344" y="1303106"/>
                </a:cubicBezTo>
                <a:close/>
                <a:moveTo>
                  <a:pt x="2614925" y="1301653"/>
                </a:moveTo>
                <a:cubicBezTo>
                  <a:pt x="2617468" y="1301653"/>
                  <a:pt x="2619283" y="1303468"/>
                  <a:pt x="2619283" y="1306010"/>
                </a:cubicBezTo>
                <a:cubicBezTo>
                  <a:pt x="2619283" y="1308553"/>
                  <a:pt x="2617102" y="1310367"/>
                  <a:pt x="2614925" y="1310367"/>
                </a:cubicBezTo>
                <a:cubicBezTo>
                  <a:pt x="2612383" y="1310367"/>
                  <a:pt x="2610568" y="1308553"/>
                  <a:pt x="2610568" y="1306010"/>
                </a:cubicBezTo>
                <a:cubicBezTo>
                  <a:pt x="2610568" y="1303468"/>
                  <a:pt x="2612383" y="1301653"/>
                  <a:pt x="2614925" y="1301653"/>
                </a:cubicBezTo>
                <a:close/>
                <a:moveTo>
                  <a:pt x="2768873" y="1300563"/>
                </a:moveTo>
                <a:cubicBezTo>
                  <a:pt x="2772140" y="1300563"/>
                  <a:pt x="2774682" y="1303106"/>
                  <a:pt x="2774682" y="1306373"/>
                </a:cubicBezTo>
                <a:cubicBezTo>
                  <a:pt x="2774682" y="1309639"/>
                  <a:pt x="2772140" y="1312182"/>
                  <a:pt x="2768873" y="1312182"/>
                </a:cubicBezTo>
                <a:cubicBezTo>
                  <a:pt x="2765606" y="1312182"/>
                  <a:pt x="2763064" y="1309639"/>
                  <a:pt x="2763064" y="1306373"/>
                </a:cubicBezTo>
                <a:cubicBezTo>
                  <a:pt x="2763064" y="1303106"/>
                  <a:pt x="2765606" y="1300563"/>
                  <a:pt x="2768873" y="1300563"/>
                </a:cubicBezTo>
                <a:close/>
                <a:moveTo>
                  <a:pt x="2922458" y="1298749"/>
                </a:moveTo>
                <a:cubicBezTo>
                  <a:pt x="2926453" y="1298749"/>
                  <a:pt x="2929720" y="1302015"/>
                  <a:pt x="2929720" y="1306010"/>
                </a:cubicBezTo>
                <a:cubicBezTo>
                  <a:pt x="2929720" y="1310005"/>
                  <a:pt x="2926453" y="1313272"/>
                  <a:pt x="2922458" y="1313272"/>
                </a:cubicBezTo>
                <a:cubicBezTo>
                  <a:pt x="2918463" y="1313272"/>
                  <a:pt x="2915196" y="1310005"/>
                  <a:pt x="2915196" y="1306010"/>
                </a:cubicBezTo>
                <a:cubicBezTo>
                  <a:pt x="2915196" y="1302015"/>
                  <a:pt x="2918463" y="1298749"/>
                  <a:pt x="2922458" y="1298749"/>
                </a:cubicBezTo>
                <a:close/>
                <a:moveTo>
                  <a:pt x="3076406" y="1296934"/>
                </a:moveTo>
                <a:cubicBezTo>
                  <a:pt x="3081490" y="1296934"/>
                  <a:pt x="3085486" y="1300929"/>
                  <a:pt x="3085486" y="1306010"/>
                </a:cubicBezTo>
                <a:cubicBezTo>
                  <a:pt x="3085486" y="1311096"/>
                  <a:pt x="3081490" y="1315090"/>
                  <a:pt x="3076406" y="1315090"/>
                </a:cubicBezTo>
                <a:cubicBezTo>
                  <a:pt x="3071324" y="1315090"/>
                  <a:pt x="3067329" y="1311096"/>
                  <a:pt x="3067329" y="1306010"/>
                </a:cubicBezTo>
                <a:cubicBezTo>
                  <a:pt x="3067329" y="1300929"/>
                  <a:pt x="3071324" y="1296934"/>
                  <a:pt x="3076406" y="1296934"/>
                </a:cubicBezTo>
                <a:close/>
                <a:moveTo>
                  <a:pt x="3230353" y="1295844"/>
                </a:moveTo>
                <a:cubicBezTo>
                  <a:pt x="3235800" y="1295844"/>
                  <a:pt x="3240519" y="1300563"/>
                  <a:pt x="3240519" y="1306010"/>
                </a:cubicBezTo>
                <a:cubicBezTo>
                  <a:pt x="3240519" y="1311458"/>
                  <a:pt x="3236162" y="1316177"/>
                  <a:pt x="3230353" y="1316177"/>
                </a:cubicBezTo>
                <a:cubicBezTo>
                  <a:pt x="3224906" y="1316177"/>
                  <a:pt x="3220186" y="1311458"/>
                  <a:pt x="3220186" y="1306010"/>
                </a:cubicBezTo>
                <a:cubicBezTo>
                  <a:pt x="3220186" y="1300563"/>
                  <a:pt x="3224906" y="1295844"/>
                  <a:pt x="3230353" y="1295844"/>
                </a:cubicBezTo>
                <a:close/>
                <a:moveTo>
                  <a:pt x="3383934" y="1294026"/>
                </a:moveTo>
                <a:cubicBezTo>
                  <a:pt x="3390472" y="1294026"/>
                  <a:pt x="3395919" y="1299473"/>
                  <a:pt x="3395919" y="1306007"/>
                </a:cubicBezTo>
                <a:cubicBezTo>
                  <a:pt x="3395919" y="1312544"/>
                  <a:pt x="3390472" y="1317987"/>
                  <a:pt x="3383934" y="1317987"/>
                </a:cubicBezTo>
                <a:cubicBezTo>
                  <a:pt x="3377401" y="1317987"/>
                  <a:pt x="3371954" y="1312544"/>
                  <a:pt x="3371954" y="1306007"/>
                </a:cubicBezTo>
                <a:cubicBezTo>
                  <a:pt x="3371954" y="1299473"/>
                  <a:pt x="3377401" y="1294026"/>
                  <a:pt x="3383934" y="1294026"/>
                </a:cubicBezTo>
                <a:close/>
                <a:moveTo>
                  <a:pt x="3537886" y="1292211"/>
                </a:moveTo>
                <a:cubicBezTo>
                  <a:pt x="3545509" y="1292211"/>
                  <a:pt x="3551681" y="1298383"/>
                  <a:pt x="3551681" y="1306010"/>
                </a:cubicBezTo>
                <a:cubicBezTo>
                  <a:pt x="3551681" y="1313634"/>
                  <a:pt x="3545509" y="1319806"/>
                  <a:pt x="3537886" y="1319806"/>
                </a:cubicBezTo>
                <a:cubicBezTo>
                  <a:pt x="3530258" y="1319806"/>
                  <a:pt x="3524086" y="1313634"/>
                  <a:pt x="3524086" y="1306010"/>
                </a:cubicBezTo>
                <a:cubicBezTo>
                  <a:pt x="3524086" y="1298383"/>
                  <a:pt x="3530258" y="1292211"/>
                  <a:pt x="3537886" y="1292211"/>
                </a:cubicBezTo>
                <a:close/>
                <a:moveTo>
                  <a:pt x="3691467" y="1290759"/>
                </a:moveTo>
                <a:cubicBezTo>
                  <a:pt x="3699891" y="1290759"/>
                  <a:pt x="3706718" y="1297586"/>
                  <a:pt x="3706718" y="1306010"/>
                </a:cubicBezTo>
                <a:cubicBezTo>
                  <a:pt x="3706718" y="1314431"/>
                  <a:pt x="3699891" y="1321258"/>
                  <a:pt x="3691467" y="1321258"/>
                </a:cubicBezTo>
                <a:cubicBezTo>
                  <a:pt x="3683046" y="1321258"/>
                  <a:pt x="3676219" y="1314431"/>
                  <a:pt x="3676219" y="1306010"/>
                </a:cubicBezTo>
                <a:cubicBezTo>
                  <a:pt x="3676219" y="1297586"/>
                  <a:pt x="3683046" y="1290759"/>
                  <a:pt x="3691467" y="1290759"/>
                </a:cubicBezTo>
                <a:close/>
                <a:moveTo>
                  <a:pt x="3845418" y="1288945"/>
                </a:moveTo>
                <a:cubicBezTo>
                  <a:pt x="3854856" y="1288945"/>
                  <a:pt x="3862484" y="1296568"/>
                  <a:pt x="3862484" y="1306010"/>
                </a:cubicBezTo>
                <a:cubicBezTo>
                  <a:pt x="3862484" y="1315449"/>
                  <a:pt x="3854856" y="1323072"/>
                  <a:pt x="3845418" y="1323072"/>
                </a:cubicBezTo>
                <a:cubicBezTo>
                  <a:pt x="3835976" y="1323072"/>
                  <a:pt x="3828352" y="1315449"/>
                  <a:pt x="3828352" y="1306010"/>
                </a:cubicBezTo>
                <a:cubicBezTo>
                  <a:pt x="3828352" y="1296568"/>
                  <a:pt x="3835976" y="1288945"/>
                  <a:pt x="3845418" y="1288945"/>
                </a:cubicBezTo>
                <a:close/>
                <a:moveTo>
                  <a:pt x="3999000" y="1286768"/>
                </a:moveTo>
                <a:cubicBezTo>
                  <a:pt x="4009627" y="1286768"/>
                  <a:pt x="4018242" y="1295383"/>
                  <a:pt x="4018242" y="1306010"/>
                </a:cubicBezTo>
                <a:cubicBezTo>
                  <a:pt x="4018242" y="1316638"/>
                  <a:pt x="4009627" y="1325257"/>
                  <a:pt x="3999000" y="1325257"/>
                </a:cubicBezTo>
                <a:cubicBezTo>
                  <a:pt x="3988372" y="1325257"/>
                  <a:pt x="3979757" y="1316638"/>
                  <a:pt x="3979757" y="1306010"/>
                </a:cubicBezTo>
                <a:cubicBezTo>
                  <a:pt x="3979757" y="1295383"/>
                  <a:pt x="3988372" y="1286768"/>
                  <a:pt x="3999000" y="1286768"/>
                </a:cubicBezTo>
                <a:close/>
                <a:moveTo>
                  <a:pt x="4152947" y="1284588"/>
                </a:moveTo>
                <a:cubicBezTo>
                  <a:pt x="4164928" y="1284588"/>
                  <a:pt x="4174366" y="1294026"/>
                  <a:pt x="4174366" y="1306010"/>
                </a:cubicBezTo>
                <a:cubicBezTo>
                  <a:pt x="4174366" y="1317991"/>
                  <a:pt x="4164562" y="1327433"/>
                  <a:pt x="4152947" y="1327433"/>
                </a:cubicBezTo>
                <a:cubicBezTo>
                  <a:pt x="4140962" y="1327433"/>
                  <a:pt x="4131524" y="1317991"/>
                  <a:pt x="4131524" y="1306010"/>
                </a:cubicBezTo>
                <a:cubicBezTo>
                  <a:pt x="4131524" y="1294026"/>
                  <a:pt x="4140962" y="1284588"/>
                  <a:pt x="4152947" y="1284588"/>
                </a:cubicBezTo>
                <a:close/>
                <a:moveTo>
                  <a:pt x="4306532" y="1283135"/>
                </a:moveTo>
                <a:cubicBezTo>
                  <a:pt x="4319165" y="1283135"/>
                  <a:pt x="4329404" y="1293378"/>
                  <a:pt x="4329404" y="1306010"/>
                </a:cubicBezTo>
                <a:cubicBezTo>
                  <a:pt x="4329404" y="1318643"/>
                  <a:pt x="4319165" y="1328886"/>
                  <a:pt x="4306532" y="1328886"/>
                </a:cubicBezTo>
                <a:cubicBezTo>
                  <a:pt x="4293900" y="1328886"/>
                  <a:pt x="4283657" y="1318643"/>
                  <a:pt x="4283657" y="1306010"/>
                </a:cubicBezTo>
                <a:cubicBezTo>
                  <a:pt x="4283657" y="1293378"/>
                  <a:pt x="4293900" y="1283135"/>
                  <a:pt x="4306532" y="1283135"/>
                </a:cubicBezTo>
                <a:close/>
                <a:moveTo>
                  <a:pt x="4460480" y="1281321"/>
                </a:moveTo>
                <a:cubicBezTo>
                  <a:pt x="4474279" y="1281321"/>
                  <a:pt x="4485536" y="1292577"/>
                  <a:pt x="4485536" y="1306373"/>
                </a:cubicBezTo>
                <a:cubicBezTo>
                  <a:pt x="4485536" y="1320172"/>
                  <a:pt x="4474279" y="1331424"/>
                  <a:pt x="4460480" y="1331424"/>
                </a:cubicBezTo>
                <a:cubicBezTo>
                  <a:pt x="4446684" y="1331424"/>
                  <a:pt x="4435428" y="1320172"/>
                  <a:pt x="4435428" y="1306373"/>
                </a:cubicBezTo>
                <a:cubicBezTo>
                  <a:pt x="4435428" y="1292577"/>
                  <a:pt x="4446684" y="1281321"/>
                  <a:pt x="4460480" y="1281321"/>
                </a:cubicBezTo>
                <a:close/>
                <a:moveTo>
                  <a:pt x="4614065" y="1278778"/>
                </a:moveTo>
                <a:cubicBezTo>
                  <a:pt x="4628950" y="1278778"/>
                  <a:pt x="4641297" y="1291125"/>
                  <a:pt x="4641297" y="1306010"/>
                </a:cubicBezTo>
                <a:cubicBezTo>
                  <a:pt x="4641297" y="1320896"/>
                  <a:pt x="4629312" y="1333243"/>
                  <a:pt x="4614065" y="1333243"/>
                </a:cubicBezTo>
                <a:cubicBezTo>
                  <a:pt x="4599176" y="1333243"/>
                  <a:pt x="4586832" y="1320896"/>
                  <a:pt x="4586832" y="1306010"/>
                </a:cubicBezTo>
                <a:cubicBezTo>
                  <a:pt x="4586832" y="1291125"/>
                  <a:pt x="4599176" y="1278778"/>
                  <a:pt x="4614065" y="1278778"/>
                </a:cubicBezTo>
                <a:close/>
                <a:moveTo>
                  <a:pt x="4768008" y="1276236"/>
                </a:moveTo>
                <a:cubicBezTo>
                  <a:pt x="4784453" y="1276236"/>
                  <a:pt x="4797784" y="1289566"/>
                  <a:pt x="4797784" y="1306010"/>
                </a:cubicBezTo>
                <a:cubicBezTo>
                  <a:pt x="4797784" y="1322451"/>
                  <a:pt x="4784453" y="1335781"/>
                  <a:pt x="4768008" y="1335781"/>
                </a:cubicBezTo>
                <a:cubicBezTo>
                  <a:pt x="4751568" y="1335781"/>
                  <a:pt x="4738238" y="1322451"/>
                  <a:pt x="4738238" y="1306010"/>
                </a:cubicBezTo>
                <a:cubicBezTo>
                  <a:pt x="4738238" y="1289566"/>
                  <a:pt x="4751568" y="1276236"/>
                  <a:pt x="4768008" y="1276236"/>
                </a:cubicBezTo>
                <a:close/>
                <a:moveTo>
                  <a:pt x="4921594" y="1274059"/>
                </a:moveTo>
                <a:cubicBezTo>
                  <a:pt x="4939384" y="1274059"/>
                  <a:pt x="4953545" y="1288220"/>
                  <a:pt x="4953545" y="1306010"/>
                </a:cubicBezTo>
                <a:cubicBezTo>
                  <a:pt x="4953545" y="1323801"/>
                  <a:pt x="4939384" y="1337962"/>
                  <a:pt x="4921594" y="1337962"/>
                </a:cubicBezTo>
                <a:cubicBezTo>
                  <a:pt x="4903804" y="1337962"/>
                  <a:pt x="4889642" y="1323801"/>
                  <a:pt x="4889642" y="1306010"/>
                </a:cubicBezTo>
                <a:cubicBezTo>
                  <a:pt x="4889642" y="1288220"/>
                  <a:pt x="4903804" y="1274059"/>
                  <a:pt x="4921594" y="1274059"/>
                </a:cubicBezTo>
                <a:close/>
                <a:moveTo>
                  <a:pt x="5075541" y="1272245"/>
                </a:moveTo>
                <a:cubicBezTo>
                  <a:pt x="5094060" y="1272245"/>
                  <a:pt x="5109311" y="1287492"/>
                  <a:pt x="5109311" y="1306010"/>
                </a:cubicBezTo>
                <a:cubicBezTo>
                  <a:pt x="5109311" y="1324529"/>
                  <a:pt x="5094060" y="1339780"/>
                  <a:pt x="5075541" y="1339780"/>
                </a:cubicBezTo>
                <a:cubicBezTo>
                  <a:pt x="5057027" y="1339780"/>
                  <a:pt x="5041776" y="1324529"/>
                  <a:pt x="5041776" y="1306010"/>
                </a:cubicBezTo>
                <a:cubicBezTo>
                  <a:pt x="5041776" y="1287492"/>
                  <a:pt x="5057027" y="1272245"/>
                  <a:pt x="5075541" y="1272245"/>
                </a:cubicBezTo>
                <a:close/>
                <a:moveTo>
                  <a:pt x="5229126" y="1269702"/>
                </a:moveTo>
                <a:cubicBezTo>
                  <a:pt x="5249097" y="1269702"/>
                  <a:pt x="5265435" y="1286040"/>
                  <a:pt x="5265435" y="1306010"/>
                </a:cubicBezTo>
                <a:cubicBezTo>
                  <a:pt x="5265435" y="1325981"/>
                  <a:pt x="5249097" y="1342319"/>
                  <a:pt x="5229126" y="1342319"/>
                </a:cubicBezTo>
                <a:cubicBezTo>
                  <a:pt x="5209156" y="1342319"/>
                  <a:pt x="5192818" y="1325981"/>
                  <a:pt x="5192818" y="1306010"/>
                </a:cubicBezTo>
                <a:cubicBezTo>
                  <a:pt x="5192818" y="1286040"/>
                  <a:pt x="5209156" y="1269702"/>
                  <a:pt x="5229126" y="1269702"/>
                </a:cubicBezTo>
                <a:close/>
                <a:moveTo>
                  <a:pt x="5383074" y="1267160"/>
                </a:moveTo>
                <a:cubicBezTo>
                  <a:pt x="5404496" y="1267160"/>
                  <a:pt x="5421921" y="1284588"/>
                  <a:pt x="5421921" y="1306010"/>
                </a:cubicBezTo>
                <a:cubicBezTo>
                  <a:pt x="5421921" y="1327430"/>
                  <a:pt x="5404496" y="1344858"/>
                  <a:pt x="5383074" y="1344858"/>
                </a:cubicBezTo>
                <a:cubicBezTo>
                  <a:pt x="5361651" y="1344858"/>
                  <a:pt x="5344223" y="1327430"/>
                  <a:pt x="5344223" y="1306010"/>
                </a:cubicBezTo>
                <a:cubicBezTo>
                  <a:pt x="5344223" y="1284588"/>
                  <a:pt x="5361651" y="1267160"/>
                  <a:pt x="5383074" y="1267160"/>
                </a:cubicBezTo>
                <a:close/>
                <a:moveTo>
                  <a:pt x="5536659" y="1264983"/>
                </a:moveTo>
                <a:cubicBezTo>
                  <a:pt x="5559534" y="1264983"/>
                  <a:pt x="5577690" y="1283139"/>
                  <a:pt x="5577690" y="1306010"/>
                </a:cubicBezTo>
                <a:cubicBezTo>
                  <a:pt x="5577690" y="1328886"/>
                  <a:pt x="5559172" y="1347038"/>
                  <a:pt x="5536659" y="1347038"/>
                </a:cubicBezTo>
                <a:cubicBezTo>
                  <a:pt x="5513788" y="1347038"/>
                  <a:pt x="5495632" y="1328886"/>
                  <a:pt x="5495632" y="1306010"/>
                </a:cubicBezTo>
                <a:cubicBezTo>
                  <a:pt x="5495632" y="1283139"/>
                  <a:pt x="5513788" y="1264983"/>
                  <a:pt x="5536659" y="1264983"/>
                </a:cubicBezTo>
                <a:close/>
                <a:moveTo>
                  <a:pt x="5690606" y="1262440"/>
                </a:moveTo>
                <a:cubicBezTo>
                  <a:pt x="5714568" y="1262440"/>
                  <a:pt x="5734176" y="1282049"/>
                  <a:pt x="5734176" y="1306010"/>
                </a:cubicBezTo>
                <a:cubicBezTo>
                  <a:pt x="5734176" y="1329976"/>
                  <a:pt x="5714568" y="1349581"/>
                  <a:pt x="5690606" y="1349581"/>
                </a:cubicBezTo>
                <a:cubicBezTo>
                  <a:pt x="5666641" y="1349581"/>
                  <a:pt x="5647036" y="1329976"/>
                  <a:pt x="5647036" y="1306010"/>
                </a:cubicBezTo>
                <a:cubicBezTo>
                  <a:pt x="5647036" y="1282049"/>
                  <a:pt x="5666641" y="1262440"/>
                  <a:pt x="5690606" y="1262440"/>
                </a:cubicBezTo>
                <a:close/>
                <a:moveTo>
                  <a:pt x="5844554" y="1259898"/>
                </a:moveTo>
                <a:cubicBezTo>
                  <a:pt x="5870021" y="1259898"/>
                  <a:pt x="5890666" y="1280543"/>
                  <a:pt x="5890666" y="1306010"/>
                </a:cubicBezTo>
                <a:cubicBezTo>
                  <a:pt x="5890666" y="1331478"/>
                  <a:pt x="5870021" y="1352123"/>
                  <a:pt x="5844554" y="1352123"/>
                </a:cubicBezTo>
                <a:cubicBezTo>
                  <a:pt x="5819086" y="1352123"/>
                  <a:pt x="5798442" y="1331478"/>
                  <a:pt x="5798442" y="1306010"/>
                </a:cubicBezTo>
                <a:cubicBezTo>
                  <a:pt x="5798442" y="1280543"/>
                  <a:pt x="5819086" y="1259898"/>
                  <a:pt x="5844554" y="1259898"/>
                </a:cubicBezTo>
                <a:close/>
                <a:moveTo>
                  <a:pt x="5998136" y="1257355"/>
                </a:moveTo>
                <a:cubicBezTo>
                  <a:pt x="6025006" y="1257355"/>
                  <a:pt x="6046790" y="1279140"/>
                  <a:pt x="6046790" y="1306010"/>
                </a:cubicBezTo>
                <a:cubicBezTo>
                  <a:pt x="6046790" y="1332877"/>
                  <a:pt x="6025006" y="1354662"/>
                  <a:pt x="5998136" y="1354662"/>
                </a:cubicBezTo>
                <a:cubicBezTo>
                  <a:pt x="5971269" y="1354662"/>
                  <a:pt x="5949484" y="1332877"/>
                  <a:pt x="5949484" y="1306010"/>
                </a:cubicBezTo>
                <a:cubicBezTo>
                  <a:pt x="5949484" y="1279140"/>
                  <a:pt x="5971269" y="1257355"/>
                  <a:pt x="5998136" y="1257355"/>
                </a:cubicBezTo>
                <a:close/>
                <a:moveTo>
                  <a:pt x="6152083" y="1254817"/>
                </a:moveTo>
                <a:cubicBezTo>
                  <a:pt x="6180405" y="1254817"/>
                  <a:pt x="6203280" y="1277692"/>
                  <a:pt x="6203280" y="1306010"/>
                </a:cubicBezTo>
                <a:cubicBezTo>
                  <a:pt x="6203280" y="1334333"/>
                  <a:pt x="6180405" y="1357204"/>
                  <a:pt x="6152083" y="1357204"/>
                </a:cubicBezTo>
                <a:cubicBezTo>
                  <a:pt x="6123764" y="1357204"/>
                  <a:pt x="6100889" y="1334333"/>
                  <a:pt x="6100889" y="1306010"/>
                </a:cubicBezTo>
                <a:cubicBezTo>
                  <a:pt x="6100889" y="1277692"/>
                  <a:pt x="6123764" y="1254817"/>
                  <a:pt x="6152083" y="1254817"/>
                </a:cubicBezTo>
                <a:close/>
                <a:moveTo>
                  <a:pt x="6305668" y="1252636"/>
                </a:moveTo>
                <a:cubicBezTo>
                  <a:pt x="6335077" y="1252636"/>
                  <a:pt x="6359042" y="1276598"/>
                  <a:pt x="6359042" y="1306010"/>
                </a:cubicBezTo>
                <a:cubicBezTo>
                  <a:pt x="6359042" y="1335419"/>
                  <a:pt x="6335077" y="1359381"/>
                  <a:pt x="6305668" y="1359381"/>
                </a:cubicBezTo>
                <a:cubicBezTo>
                  <a:pt x="6276259" y="1359381"/>
                  <a:pt x="6252294" y="1335419"/>
                  <a:pt x="6252294" y="1306010"/>
                </a:cubicBezTo>
                <a:cubicBezTo>
                  <a:pt x="6252294" y="1276598"/>
                  <a:pt x="6276259" y="1252636"/>
                  <a:pt x="6305668" y="1252636"/>
                </a:cubicBezTo>
                <a:close/>
                <a:moveTo>
                  <a:pt x="6459619" y="1249732"/>
                </a:moveTo>
                <a:cubicBezTo>
                  <a:pt x="6490842" y="1249732"/>
                  <a:pt x="6515894" y="1274783"/>
                  <a:pt x="6515894" y="1306010"/>
                </a:cubicBezTo>
                <a:cubicBezTo>
                  <a:pt x="6515894" y="1337234"/>
                  <a:pt x="6490842" y="1362289"/>
                  <a:pt x="6459619" y="1362289"/>
                </a:cubicBezTo>
                <a:cubicBezTo>
                  <a:pt x="6428392" y="1362289"/>
                  <a:pt x="6403340" y="1337234"/>
                  <a:pt x="6403340" y="1306010"/>
                </a:cubicBezTo>
                <a:cubicBezTo>
                  <a:pt x="6403340" y="1274783"/>
                  <a:pt x="6428392" y="1249732"/>
                  <a:pt x="6459619" y="1249732"/>
                </a:cubicBezTo>
                <a:close/>
                <a:moveTo>
                  <a:pt x="6613197" y="1247189"/>
                </a:moveTo>
                <a:cubicBezTo>
                  <a:pt x="6645514" y="1247189"/>
                  <a:pt x="6672018" y="1273693"/>
                  <a:pt x="6672018" y="1306010"/>
                </a:cubicBezTo>
                <a:cubicBezTo>
                  <a:pt x="6672018" y="1338324"/>
                  <a:pt x="6645876" y="1364828"/>
                  <a:pt x="6613197" y="1364828"/>
                </a:cubicBezTo>
                <a:cubicBezTo>
                  <a:pt x="6580884" y="1364828"/>
                  <a:pt x="6554380" y="1338324"/>
                  <a:pt x="6554380" y="1306010"/>
                </a:cubicBezTo>
                <a:cubicBezTo>
                  <a:pt x="6554380" y="1273693"/>
                  <a:pt x="6580884" y="1247189"/>
                  <a:pt x="6613197" y="1247189"/>
                </a:cubicBezTo>
                <a:close/>
                <a:moveTo>
                  <a:pt x="1846279" y="1152063"/>
                </a:moveTo>
                <a:cubicBezTo>
                  <a:pt x="1846641" y="1152063"/>
                  <a:pt x="1846641" y="1152063"/>
                  <a:pt x="1846641" y="1152425"/>
                </a:cubicBezTo>
                <a:cubicBezTo>
                  <a:pt x="1846641" y="1152791"/>
                  <a:pt x="1846279" y="1152791"/>
                  <a:pt x="1846279" y="1152791"/>
                </a:cubicBezTo>
                <a:cubicBezTo>
                  <a:pt x="1845917" y="1152791"/>
                  <a:pt x="1845917" y="1152791"/>
                  <a:pt x="1845917" y="1152425"/>
                </a:cubicBezTo>
                <a:cubicBezTo>
                  <a:pt x="1845917" y="1152063"/>
                  <a:pt x="1845917" y="1152063"/>
                  <a:pt x="1846279" y="1152063"/>
                </a:cubicBezTo>
                <a:close/>
                <a:moveTo>
                  <a:pt x="1384799" y="1152063"/>
                </a:moveTo>
                <a:cubicBezTo>
                  <a:pt x="1385161" y="1152063"/>
                  <a:pt x="1385161" y="1152063"/>
                  <a:pt x="1385161" y="1152425"/>
                </a:cubicBezTo>
                <a:cubicBezTo>
                  <a:pt x="1385161" y="1152791"/>
                  <a:pt x="1384799" y="1152791"/>
                  <a:pt x="1384799" y="1152791"/>
                </a:cubicBezTo>
                <a:cubicBezTo>
                  <a:pt x="1384437" y="1152791"/>
                  <a:pt x="1384437" y="1152791"/>
                  <a:pt x="1384437" y="1152425"/>
                </a:cubicBezTo>
                <a:cubicBezTo>
                  <a:pt x="1384437" y="1152063"/>
                  <a:pt x="1384437" y="1152063"/>
                  <a:pt x="1384799" y="1152063"/>
                </a:cubicBezTo>
                <a:close/>
                <a:moveTo>
                  <a:pt x="1231213" y="1152063"/>
                </a:moveTo>
                <a:cubicBezTo>
                  <a:pt x="1231576" y="1152063"/>
                  <a:pt x="1231576" y="1152063"/>
                  <a:pt x="1231576" y="1152425"/>
                </a:cubicBezTo>
                <a:cubicBezTo>
                  <a:pt x="1231576" y="1152791"/>
                  <a:pt x="1231213" y="1152791"/>
                  <a:pt x="1231213" y="1152791"/>
                </a:cubicBezTo>
                <a:cubicBezTo>
                  <a:pt x="1230851" y="1152791"/>
                  <a:pt x="1230851" y="1152791"/>
                  <a:pt x="1230851" y="1152425"/>
                </a:cubicBezTo>
                <a:cubicBezTo>
                  <a:pt x="1230851" y="1152063"/>
                  <a:pt x="1230851" y="1152063"/>
                  <a:pt x="1231213" y="1152063"/>
                </a:cubicBezTo>
                <a:close/>
                <a:moveTo>
                  <a:pt x="1077270" y="1151701"/>
                </a:moveTo>
                <a:cubicBezTo>
                  <a:pt x="1077670" y="1151701"/>
                  <a:pt x="1077994" y="1152025"/>
                  <a:pt x="1077994" y="1152425"/>
                </a:cubicBezTo>
                <a:cubicBezTo>
                  <a:pt x="1077994" y="1152829"/>
                  <a:pt x="1077670" y="1153153"/>
                  <a:pt x="1077270" y="1153153"/>
                </a:cubicBezTo>
                <a:cubicBezTo>
                  <a:pt x="1076866" y="1153153"/>
                  <a:pt x="1076542" y="1152829"/>
                  <a:pt x="1076542" y="1152425"/>
                </a:cubicBezTo>
                <a:cubicBezTo>
                  <a:pt x="1076542" y="1152025"/>
                  <a:pt x="1076866" y="1151701"/>
                  <a:pt x="1077270" y="1151701"/>
                </a:cubicBezTo>
                <a:close/>
                <a:moveTo>
                  <a:pt x="1999864" y="1150611"/>
                </a:moveTo>
                <a:cubicBezTo>
                  <a:pt x="2000588" y="1150611"/>
                  <a:pt x="2001316" y="1151335"/>
                  <a:pt x="2001316" y="1152063"/>
                </a:cubicBezTo>
                <a:cubicBezTo>
                  <a:pt x="2001316" y="1152787"/>
                  <a:pt x="1999864" y="1153515"/>
                  <a:pt x="1999864" y="1153515"/>
                </a:cubicBezTo>
                <a:cubicBezTo>
                  <a:pt x="1999136" y="1153515"/>
                  <a:pt x="1998412" y="1152787"/>
                  <a:pt x="1998412" y="1152063"/>
                </a:cubicBezTo>
                <a:cubicBezTo>
                  <a:pt x="1998412" y="1151335"/>
                  <a:pt x="1999136" y="1150611"/>
                  <a:pt x="1999864" y="1150611"/>
                </a:cubicBezTo>
                <a:close/>
                <a:moveTo>
                  <a:pt x="2153808" y="1150249"/>
                </a:moveTo>
                <a:cubicBezTo>
                  <a:pt x="2154898" y="1150249"/>
                  <a:pt x="2155988" y="1151339"/>
                  <a:pt x="2155988" y="1152425"/>
                </a:cubicBezTo>
                <a:cubicBezTo>
                  <a:pt x="2155988" y="1153515"/>
                  <a:pt x="2153808" y="1154606"/>
                  <a:pt x="2153808" y="1154606"/>
                </a:cubicBezTo>
                <a:cubicBezTo>
                  <a:pt x="2152721" y="1154606"/>
                  <a:pt x="2151631" y="1153515"/>
                  <a:pt x="2151631" y="1152425"/>
                </a:cubicBezTo>
                <a:cubicBezTo>
                  <a:pt x="2151631" y="1151339"/>
                  <a:pt x="2152721" y="1150249"/>
                  <a:pt x="2153808" y="1150249"/>
                </a:cubicBezTo>
                <a:close/>
                <a:moveTo>
                  <a:pt x="2307393" y="1149158"/>
                </a:moveTo>
                <a:cubicBezTo>
                  <a:pt x="2309211" y="1149158"/>
                  <a:pt x="2310660" y="1150611"/>
                  <a:pt x="2310660" y="1152425"/>
                </a:cubicBezTo>
                <a:cubicBezTo>
                  <a:pt x="2310660" y="1154244"/>
                  <a:pt x="2309211" y="1155696"/>
                  <a:pt x="2307393" y="1155696"/>
                </a:cubicBezTo>
                <a:cubicBezTo>
                  <a:pt x="2305578" y="1155696"/>
                  <a:pt x="2304126" y="1154244"/>
                  <a:pt x="2304126" y="1152425"/>
                </a:cubicBezTo>
                <a:cubicBezTo>
                  <a:pt x="2304126" y="1150611"/>
                  <a:pt x="2305578" y="1149158"/>
                  <a:pt x="2307393" y="1149158"/>
                </a:cubicBezTo>
                <a:close/>
                <a:moveTo>
                  <a:pt x="2461340" y="1147706"/>
                </a:moveTo>
                <a:cubicBezTo>
                  <a:pt x="2463883" y="1147706"/>
                  <a:pt x="2465697" y="1149521"/>
                  <a:pt x="2465697" y="1152063"/>
                </a:cubicBezTo>
                <a:cubicBezTo>
                  <a:pt x="2465697" y="1154606"/>
                  <a:pt x="2463521" y="1156420"/>
                  <a:pt x="2461340" y="1156420"/>
                </a:cubicBezTo>
                <a:cubicBezTo>
                  <a:pt x="2458798" y="1156420"/>
                  <a:pt x="2456983" y="1154606"/>
                  <a:pt x="2456983" y="1152063"/>
                </a:cubicBezTo>
                <a:cubicBezTo>
                  <a:pt x="2456983" y="1149521"/>
                  <a:pt x="2458798" y="1147706"/>
                  <a:pt x="2461340" y="1147706"/>
                </a:cubicBezTo>
                <a:close/>
                <a:moveTo>
                  <a:pt x="2614925" y="1146616"/>
                </a:moveTo>
                <a:cubicBezTo>
                  <a:pt x="2618192" y="1146616"/>
                  <a:pt x="2620735" y="1149158"/>
                  <a:pt x="2620735" y="1152425"/>
                </a:cubicBezTo>
                <a:cubicBezTo>
                  <a:pt x="2620735" y="1155692"/>
                  <a:pt x="2618192" y="1158234"/>
                  <a:pt x="2614925" y="1158234"/>
                </a:cubicBezTo>
                <a:cubicBezTo>
                  <a:pt x="2611659" y="1158234"/>
                  <a:pt x="2609116" y="1155692"/>
                  <a:pt x="2609116" y="1152425"/>
                </a:cubicBezTo>
                <a:cubicBezTo>
                  <a:pt x="2609116" y="1149158"/>
                  <a:pt x="2611659" y="1146616"/>
                  <a:pt x="2614925" y="1146616"/>
                </a:cubicBezTo>
                <a:close/>
                <a:moveTo>
                  <a:pt x="2768873" y="1145164"/>
                </a:moveTo>
                <a:cubicBezTo>
                  <a:pt x="2772868" y="1145164"/>
                  <a:pt x="2776135" y="1148430"/>
                  <a:pt x="2776135" y="1152425"/>
                </a:cubicBezTo>
                <a:cubicBezTo>
                  <a:pt x="2776135" y="1156420"/>
                  <a:pt x="2772868" y="1159687"/>
                  <a:pt x="2768873" y="1159687"/>
                </a:cubicBezTo>
                <a:cubicBezTo>
                  <a:pt x="2764878" y="1159687"/>
                  <a:pt x="2761611" y="1156420"/>
                  <a:pt x="2761611" y="1152425"/>
                </a:cubicBezTo>
                <a:cubicBezTo>
                  <a:pt x="2761611" y="1148430"/>
                  <a:pt x="2764878" y="1145164"/>
                  <a:pt x="2768873" y="1145164"/>
                </a:cubicBezTo>
                <a:close/>
                <a:moveTo>
                  <a:pt x="2922454" y="1142983"/>
                </a:moveTo>
                <a:cubicBezTo>
                  <a:pt x="2927539" y="1142983"/>
                  <a:pt x="2931534" y="1146978"/>
                  <a:pt x="2931534" y="1152059"/>
                </a:cubicBezTo>
                <a:cubicBezTo>
                  <a:pt x="2931534" y="1157144"/>
                  <a:pt x="2927539" y="1161139"/>
                  <a:pt x="2922454" y="1161139"/>
                </a:cubicBezTo>
                <a:cubicBezTo>
                  <a:pt x="2917373" y="1161139"/>
                  <a:pt x="2913378" y="1157144"/>
                  <a:pt x="2913378" y="1152059"/>
                </a:cubicBezTo>
                <a:cubicBezTo>
                  <a:pt x="2913378" y="1146978"/>
                  <a:pt x="2917373" y="1142983"/>
                  <a:pt x="2922454" y="1142983"/>
                </a:cubicBezTo>
                <a:close/>
                <a:moveTo>
                  <a:pt x="3076406" y="1142259"/>
                </a:moveTo>
                <a:cubicBezTo>
                  <a:pt x="3081853" y="1142259"/>
                  <a:pt x="3086572" y="1146978"/>
                  <a:pt x="3086572" y="1152425"/>
                </a:cubicBezTo>
                <a:cubicBezTo>
                  <a:pt x="3086572" y="1157872"/>
                  <a:pt x="3082215" y="1162592"/>
                  <a:pt x="3076406" y="1162592"/>
                </a:cubicBezTo>
                <a:cubicBezTo>
                  <a:pt x="3070958" y="1162592"/>
                  <a:pt x="3066239" y="1157872"/>
                  <a:pt x="3066239" y="1152425"/>
                </a:cubicBezTo>
                <a:cubicBezTo>
                  <a:pt x="3066239" y="1146978"/>
                  <a:pt x="3070958" y="1142259"/>
                  <a:pt x="3076406" y="1142259"/>
                </a:cubicBezTo>
                <a:close/>
                <a:moveTo>
                  <a:pt x="3230349" y="1140444"/>
                </a:moveTo>
                <a:cubicBezTo>
                  <a:pt x="3236886" y="1140444"/>
                  <a:pt x="3242334" y="1145892"/>
                  <a:pt x="3242334" y="1152425"/>
                </a:cubicBezTo>
                <a:cubicBezTo>
                  <a:pt x="3242334" y="1158963"/>
                  <a:pt x="3236886" y="1164406"/>
                  <a:pt x="3230349" y="1164406"/>
                </a:cubicBezTo>
                <a:cubicBezTo>
                  <a:pt x="3223816" y="1164406"/>
                  <a:pt x="3218368" y="1158963"/>
                  <a:pt x="3218368" y="1152425"/>
                </a:cubicBezTo>
                <a:cubicBezTo>
                  <a:pt x="3218368" y="1145892"/>
                  <a:pt x="3223816" y="1140444"/>
                  <a:pt x="3230349" y="1140444"/>
                </a:cubicBezTo>
                <a:close/>
                <a:moveTo>
                  <a:pt x="3383934" y="1138264"/>
                </a:moveTo>
                <a:cubicBezTo>
                  <a:pt x="3391562" y="1138264"/>
                  <a:pt x="3397733" y="1144435"/>
                  <a:pt x="3397733" y="1152059"/>
                </a:cubicBezTo>
                <a:cubicBezTo>
                  <a:pt x="3397733" y="1159687"/>
                  <a:pt x="3391562" y="1165858"/>
                  <a:pt x="3383934" y="1165858"/>
                </a:cubicBezTo>
                <a:cubicBezTo>
                  <a:pt x="3376310" y="1165858"/>
                  <a:pt x="3370139" y="1159687"/>
                  <a:pt x="3370139" y="1152059"/>
                </a:cubicBezTo>
                <a:cubicBezTo>
                  <a:pt x="3370139" y="1144435"/>
                  <a:pt x="3376310" y="1138264"/>
                  <a:pt x="3383934" y="1138264"/>
                </a:cubicBezTo>
                <a:close/>
                <a:moveTo>
                  <a:pt x="3537882" y="1137178"/>
                </a:moveTo>
                <a:cubicBezTo>
                  <a:pt x="3546306" y="1137178"/>
                  <a:pt x="3553133" y="1144005"/>
                  <a:pt x="3553133" y="1152425"/>
                </a:cubicBezTo>
                <a:cubicBezTo>
                  <a:pt x="3553133" y="1160849"/>
                  <a:pt x="3546306" y="1167677"/>
                  <a:pt x="3537882" y="1167677"/>
                </a:cubicBezTo>
                <a:cubicBezTo>
                  <a:pt x="3529461" y="1167677"/>
                  <a:pt x="3522634" y="1160849"/>
                  <a:pt x="3522634" y="1152425"/>
                </a:cubicBezTo>
                <a:cubicBezTo>
                  <a:pt x="3522634" y="1144005"/>
                  <a:pt x="3529461" y="1137178"/>
                  <a:pt x="3537882" y="1137178"/>
                </a:cubicBezTo>
                <a:close/>
                <a:moveTo>
                  <a:pt x="3691467" y="1135359"/>
                </a:moveTo>
                <a:cubicBezTo>
                  <a:pt x="3700905" y="1135359"/>
                  <a:pt x="3708533" y="1142983"/>
                  <a:pt x="3708533" y="1152425"/>
                </a:cubicBezTo>
                <a:cubicBezTo>
                  <a:pt x="3708533" y="1161863"/>
                  <a:pt x="3700905" y="1169487"/>
                  <a:pt x="3691467" y="1169487"/>
                </a:cubicBezTo>
                <a:cubicBezTo>
                  <a:pt x="3682025" y="1169487"/>
                  <a:pt x="3674401" y="1161863"/>
                  <a:pt x="3674401" y="1152425"/>
                </a:cubicBezTo>
                <a:cubicBezTo>
                  <a:pt x="3674401" y="1142983"/>
                  <a:pt x="3682025" y="1135359"/>
                  <a:pt x="3691467" y="1135359"/>
                </a:cubicBezTo>
                <a:close/>
                <a:moveTo>
                  <a:pt x="3845414" y="1133183"/>
                </a:moveTo>
                <a:cubicBezTo>
                  <a:pt x="3856046" y="1133183"/>
                  <a:pt x="3864661" y="1141798"/>
                  <a:pt x="3864661" y="1152425"/>
                </a:cubicBezTo>
                <a:cubicBezTo>
                  <a:pt x="3864661" y="1163053"/>
                  <a:pt x="3856046" y="1171672"/>
                  <a:pt x="3845414" y="1171672"/>
                </a:cubicBezTo>
                <a:cubicBezTo>
                  <a:pt x="3834787" y="1171672"/>
                  <a:pt x="3826172" y="1163053"/>
                  <a:pt x="3826172" y="1152425"/>
                </a:cubicBezTo>
                <a:cubicBezTo>
                  <a:pt x="3826172" y="1141798"/>
                  <a:pt x="3834787" y="1133183"/>
                  <a:pt x="3845414" y="1133183"/>
                </a:cubicBezTo>
                <a:close/>
                <a:moveTo>
                  <a:pt x="3999000" y="1131002"/>
                </a:moveTo>
                <a:cubicBezTo>
                  <a:pt x="4010832" y="1131002"/>
                  <a:pt x="4020422" y="1140593"/>
                  <a:pt x="4020422" y="1152425"/>
                </a:cubicBezTo>
                <a:cubicBezTo>
                  <a:pt x="4020422" y="1164254"/>
                  <a:pt x="4010832" y="1173844"/>
                  <a:pt x="3999000" y="1173844"/>
                </a:cubicBezTo>
                <a:cubicBezTo>
                  <a:pt x="3987168" y="1173844"/>
                  <a:pt x="3977577" y="1164254"/>
                  <a:pt x="3977577" y="1152425"/>
                </a:cubicBezTo>
                <a:cubicBezTo>
                  <a:pt x="3977577" y="1140593"/>
                  <a:pt x="3987168" y="1131002"/>
                  <a:pt x="3999000" y="1131002"/>
                </a:cubicBezTo>
                <a:close/>
                <a:moveTo>
                  <a:pt x="4152947" y="1129550"/>
                </a:moveTo>
                <a:cubicBezTo>
                  <a:pt x="4165580" y="1129550"/>
                  <a:pt x="4175822" y="1139792"/>
                  <a:pt x="4175822" y="1152425"/>
                </a:cubicBezTo>
                <a:cubicBezTo>
                  <a:pt x="4175822" y="1165058"/>
                  <a:pt x="4165580" y="1175297"/>
                  <a:pt x="4152947" y="1175297"/>
                </a:cubicBezTo>
                <a:cubicBezTo>
                  <a:pt x="4140314" y="1175297"/>
                  <a:pt x="4130072" y="1165058"/>
                  <a:pt x="4130072" y="1152425"/>
                </a:cubicBezTo>
                <a:cubicBezTo>
                  <a:pt x="4130072" y="1139792"/>
                  <a:pt x="4140314" y="1129550"/>
                  <a:pt x="4152947" y="1129550"/>
                </a:cubicBezTo>
                <a:close/>
                <a:moveTo>
                  <a:pt x="4306532" y="1127373"/>
                </a:moveTo>
                <a:cubicBezTo>
                  <a:pt x="4320370" y="1127373"/>
                  <a:pt x="4331584" y="1138588"/>
                  <a:pt x="4331584" y="1152425"/>
                </a:cubicBezTo>
                <a:cubicBezTo>
                  <a:pt x="4331584" y="1166262"/>
                  <a:pt x="4320370" y="1177481"/>
                  <a:pt x="4306532" y="1177481"/>
                </a:cubicBezTo>
                <a:cubicBezTo>
                  <a:pt x="4292695" y="1177481"/>
                  <a:pt x="4281480" y="1166262"/>
                  <a:pt x="4281480" y="1152425"/>
                </a:cubicBezTo>
                <a:cubicBezTo>
                  <a:pt x="4281480" y="1138588"/>
                  <a:pt x="4292695" y="1127373"/>
                  <a:pt x="4306532" y="1127373"/>
                </a:cubicBezTo>
                <a:close/>
                <a:moveTo>
                  <a:pt x="4460480" y="1125193"/>
                </a:moveTo>
                <a:cubicBezTo>
                  <a:pt x="4475365" y="1125193"/>
                  <a:pt x="4487712" y="1137540"/>
                  <a:pt x="4487712" y="1152425"/>
                </a:cubicBezTo>
                <a:cubicBezTo>
                  <a:pt x="4487712" y="1167311"/>
                  <a:pt x="4475728" y="1179657"/>
                  <a:pt x="4460480" y="1179657"/>
                </a:cubicBezTo>
                <a:cubicBezTo>
                  <a:pt x="4445590" y="1179657"/>
                  <a:pt x="4433248" y="1167311"/>
                  <a:pt x="4433248" y="1152425"/>
                </a:cubicBezTo>
                <a:cubicBezTo>
                  <a:pt x="4433248" y="1137540"/>
                  <a:pt x="4445590" y="1125193"/>
                  <a:pt x="4460480" y="1125193"/>
                </a:cubicBezTo>
                <a:close/>
                <a:moveTo>
                  <a:pt x="4614061" y="1122654"/>
                </a:moveTo>
                <a:cubicBezTo>
                  <a:pt x="4630506" y="1122654"/>
                  <a:pt x="4643836" y="1135985"/>
                  <a:pt x="4643836" y="1152425"/>
                </a:cubicBezTo>
                <a:cubicBezTo>
                  <a:pt x="4643836" y="1168870"/>
                  <a:pt x="4630506" y="1182200"/>
                  <a:pt x="4614061" y="1182200"/>
                </a:cubicBezTo>
                <a:cubicBezTo>
                  <a:pt x="4597620" y="1182200"/>
                  <a:pt x="4584290" y="1168870"/>
                  <a:pt x="4584290" y="1152429"/>
                </a:cubicBezTo>
                <a:cubicBezTo>
                  <a:pt x="4584290" y="1135985"/>
                  <a:pt x="4597620" y="1122654"/>
                  <a:pt x="4614061" y="1122654"/>
                </a:cubicBezTo>
                <a:close/>
                <a:moveTo>
                  <a:pt x="4768012" y="1120474"/>
                </a:moveTo>
                <a:cubicBezTo>
                  <a:pt x="4785802" y="1120474"/>
                  <a:pt x="4799964" y="1134635"/>
                  <a:pt x="4799964" y="1152425"/>
                </a:cubicBezTo>
                <a:cubicBezTo>
                  <a:pt x="4799964" y="1170215"/>
                  <a:pt x="4785802" y="1184377"/>
                  <a:pt x="4768012" y="1184377"/>
                </a:cubicBezTo>
                <a:cubicBezTo>
                  <a:pt x="4750222" y="1184377"/>
                  <a:pt x="4736061" y="1170215"/>
                  <a:pt x="4736061" y="1152425"/>
                </a:cubicBezTo>
                <a:cubicBezTo>
                  <a:pt x="4736061" y="1134635"/>
                  <a:pt x="4750222" y="1120474"/>
                  <a:pt x="4768012" y="1120474"/>
                </a:cubicBezTo>
                <a:close/>
                <a:moveTo>
                  <a:pt x="4921594" y="1118659"/>
                </a:moveTo>
                <a:cubicBezTo>
                  <a:pt x="4940246" y="1118659"/>
                  <a:pt x="4955364" y="1133777"/>
                  <a:pt x="4955364" y="1152425"/>
                </a:cubicBezTo>
                <a:cubicBezTo>
                  <a:pt x="4955364" y="1171077"/>
                  <a:pt x="4940246" y="1186191"/>
                  <a:pt x="4921594" y="1186191"/>
                </a:cubicBezTo>
                <a:cubicBezTo>
                  <a:pt x="4902946" y="1186191"/>
                  <a:pt x="4887828" y="1171077"/>
                  <a:pt x="4887828" y="1152425"/>
                </a:cubicBezTo>
                <a:cubicBezTo>
                  <a:pt x="4887828" y="1133777"/>
                  <a:pt x="4902946" y="1118659"/>
                  <a:pt x="4921594" y="1118659"/>
                </a:cubicBezTo>
                <a:close/>
                <a:moveTo>
                  <a:pt x="5075541" y="1116117"/>
                </a:moveTo>
                <a:cubicBezTo>
                  <a:pt x="5095512" y="1116117"/>
                  <a:pt x="5111850" y="1132455"/>
                  <a:pt x="5111850" y="1152425"/>
                </a:cubicBezTo>
                <a:cubicBezTo>
                  <a:pt x="5111850" y="1172396"/>
                  <a:pt x="5095512" y="1188734"/>
                  <a:pt x="5075541" y="1188734"/>
                </a:cubicBezTo>
                <a:cubicBezTo>
                  <a:pt x="5055570" y="1188734"/>
                  <a:pt x="5039233" y="1172396"/>
                  <a:pt x="5039233" y="1152425"/>
                </a:cubicBezTo>
                <a:cubicBezTo>
                  <a:pt x="5039233" y="1132455"/>
                  <a:pt x="5055570" y="1116117"/>
                  <a:pt x="5075541" y="1116117"/>
                </a:cubicBezTo>
                <a:close/>
                <a:moveTo>
                  <a:pt x="5229126" y="1113574"/>
                </a:moveTo>
                <a:cubicBezTo>
                  <a:pt x="5250550" y="1113574"/>
                  <a:pt x="5267978" y="1131002"/>
                  <a:pt x="5267978" y="1152425"/>
                </a:cubicBezTo>
                <a:cubicBezTo>
                  <a:pt x="5267978" y="1173848"/>
                  <a:pt x="5250550" y="1191276"/>
                  <a:pt x="5229126" y="1191276"/>
                </a:cubicBezTo>
                <a:cubicBezTo>
                  <a:pt x="5207704" y="1191276"/>
                  <a:pt x="5190276" y="1173848"/>
                  <a:pt x="5190276" y="1152425"/>
                </a:cubicBezTo>
                <a:cubicBezTo>
                  <a:pt x="5190276" y="1131002"/>
                  <a:pt x="5207704" y="1113574"/>
                  <a:pt x="5229126" y="1113574"/>
                </a:cubicBezTo>
                <a:close/>
                <a:moveTo>
                  <a:pt x="5383074" y="1111036"/>
                </a:moveTo>
                <a:cubicBezTo>
                  <a:pt x="5405949" y="1111036"/>
                  <a:pt x="5424102" y="1129192"/>
                  <a:pt x="5424102" y="1152063"/>
                </a:cubicBezTo>
                <a:cubicBezTo>
                  <a:pt x="5424102" y="1174938"/>
                  <a:pt x="5405587" y="1193094"/>
                  <a:pt x="5383074" y="1193094"/>
                </a:cubicBezTo>
                <a:cubicBezTo>
                  <a:pt x="5360202" y="1193094"/>
                  <a:pt x="5342046" y="1174938"/>
                  <a:pt x="5342046" y="1152063"/>
                </a:cubicBezTo>
                <a:cubicBezTo>
                  <a:pt x="5342046" y="1129192"/>
                  <a:pt x="5360202" y="1111036"/>
                  <a:pt x="5383074" y="1111036"/>
                </a:cubicBezTo>
                <a:close/>
                <a:moveTo>
                  <a:pt x="5536659" y="1108855"/>
                </a:moveTo>
                <a:cubicBezTo>
                  <a:pt x="5560620" y="1108855"/>
                  <a:pt x="5580229" y="1128460"/>
                  <a:pt x="5580229" y="1152425"/>
                </a:cubicBezTo>
                <a:cubicBezTo>
                  <a:pt x="5580229" y="1176391"/>
                  <a:pt x="5560620" y="1195995"/>
                  <a:pt x="5536659" y="1195995"/>
                </a:cubicBezTo>
                <a:cubicBezTo>
                  <a:pt x="5512694" y="1195995"/>
                  <a:pt x="5493089" y="1176391"/>
                  <a:pt x="5493089" y="1152425"/>
                </a:cubicBezTo>
                <a:cubicBezTo>
                  <a:pt x="5493089" y="1128460"/>
                  <a:pt x="5512694" y="1108855"/>
                  <a:pt x="5536659" y="1108855"/>
                </a:cubicBezTo>
                <a:close/>
                <a:moveTo>
                  <a:pt x="5690602" y="1106313"/>
                </a:moveTo>
                <a:cubicBezTo>
                  <a:pt x="5716070" y="1106313"/>
                  <a:pt x="5736716" y="1126958"/>
                  <a:pt x="5736716" y="1152425"/>
                </a:cubicBezTo>
                <a:cubicBezTo>
                  <a:pt x="5736716" y="1177893"/>
                  <a:pt x="5716070" y="1198534"/>
                  <a:pt x="5690602" y="1198534"/>
                </a:cubicBezTo>
                <a:cubicBezTo>
                  <a:pt x="5665136" y="1198534"/>
                  <a:pt x="5644490" y="1177893"/>
                  <a:pt x="5644490" y="1152425"/>
                </a:cubicBezTo>
                <a:cubicBezTo>
                  <a:pt x="5644490" y="1126958"/>
                  <a:pt x="5665136" y="1106313"/>
                  <a:pt x="5690602" y="1106313"/>
                </a:cubicBezTo>
                <a:close/>
                <a:moveTo>
                  <a:pt x="5844554" y="1103770"/>
                </a:moveTo>
                <a:cubicBezTo>
                  <a:pt x="5871420" y="1103770"/>
                  <a:pt x="5893205" y="1125555"/>
                  <a:pt x="5893205" y="1152425"/>
                </a:cubicBezTo>
                <a:cubicBezTo>
                  <a:pt x="5893205" y="1179291"/>
                  <a:pt x="5871420" y="1201077"/>
                  <a:pt x="5844554" y="1201077"/>
                </a:cubicBezTo>
                <a:cubicBezTo>
                  <a:pt x="5817684" y="1201077"/>
                  <a:pt x="5795899" y="1179291"/>
                  <a:pt x="5795899" y="1152425"/>
                </a:cubicBezTo>
                <a:cubicBezTo>
                  <a:pt x="5795899" y="1125555"/>
                  <a:pt x="5817684" y="1103770"/>
                  <a:pt x="5844554" y="1103770"/>
                </a:cubicBezTo>
                <a:close/>
                <a:moveTo>
                  <a:pt x="5998136" y="1101231"/>
                </a:moveTo>
                <a:cubicBezTo>
                  <a:pt x="6026458" y="1101231"/>
                  <a:pt x="6049333" y="1124107"/>
                  <a:pt x="6049333" y="1152425"/>
                </a:cubicBezTo>
                <a:cubicBezTo>
                  <a:pt x="6049333" y="1180748"/>
                  <a:pt x="6026458" y="1203623"/>
                  <a:pt x="5998136" y="1203623"/>
                </a:cubicBezTo>
                <a:cubicBezTo>
                  <a:pt x="5969817" y="1203623"/>
                  <a:pt x="5946942" y="1180748"/>
                  <a:pt x="5946942" y="1152425"/>
                </a:cubicBezTo>
                <a:cubicBezTo>
                  <a:pt x="5946942" y="1124107"/>
                  <a:pt x="5969817" y="1101231"/>
                  <a:pt x="5998136" y="1101231"/>
                </a:cubicBezTo>
                <a:close/>
                <a:moveTo>
                  <a:pt x="6152083" y="1099051"/>
                </a:moveTo>
                <a:cubicBezTo>
                  <a:pt x="6181496" y="1099051"/>
                  <a:pt x="6205461" y="1123013"/>
                  <a:pt x="6205461" y="1152425"/>
                </a:cubicBezTo>
                <a:cubicBezTo>
                  <a:pt x="6205461" y="1181834"/>
                  <a:pt x="6181496" y="1205796"/>
                  <a:pt x="6152083" y="1205796"/>
                </a:cubicBezTo>
                <a:cubicBezTo>
                  <a:pt x="6122674" y="1205796"/>
                  <a:pt x="6098712" y="1181834"/>
                  <a:pt x="6098712" y="1152425"/>
                </a:cubicBezTo>
                <a:cubicBezTo>
                  <a:pt x="6098712" y="1123013"/>
                  <a:pt x="6122674" y="1099051"/>
                  <a:pt x="6152083" y="1099051"/>
                </a:cubicBezTo>
                <a:close/>
                <a:moveTo>
                  <a:pt x="6305672" y="1096146"/>
                </a:moveTo>
                <a:cubicBezTo>
                  <a:pt x="6336895" y="1096146"/>
                  <a:pt x="6361947" y="1121198"/>
                  <a:pt x="6361947" y="1152425"/>
                </a:cubicBezTo>
                <a:cubicBezTo>
                  <a:pt x="6361947" y="1183648"/>
                  <a:pt x="6336895" y="1208704"/>
                  <a:pt x="6305672" y="1208704"/>
                </a:cubicBezTo>
                <a:cubicBezTo>
                  <a:pt x="6274445" y="1208704"/>
                  <a:pt x="6249393" y="1183648"/>
                  <a:pt x="6249393" y="1152425"/>
                </a:cubicBezTo>
                <a:cubicBezTo>
                  <a:pt x="6249393" y="1121198"/>
                  <a:pt x="6274445" y="1096146"/>
                  <a:pt x="6305672" y="1096146"/>
                </a:cubicBezTo>
                <a:close/>
                <a:moveTo>
                  <a:pt x="6459616" y="1093608"/>
                </a:moveTo>
                <a:cubicBezTo>
                  <a:pt x="6491932" y="1093608"/>
                  <a:pt x="6518437" y="1120112"/>
                  <a:pt x="6518437" y="1152425"/>
                </a:cubicBezTo>
                <a:cubicBezTo>
                  <a:pt x="6518437" y="1184743"/>
                  <a:pt x="6492295" y="1211247"/>
                  <a:pt x="6459616" y="1211247"/>
                </a:cubicBezTo>
                <a:cubicBezTo>
                  <a:pt x="6427302" y="1211247"/>
                  <a:pt x="6400798" y="1184743"/>
                  <a:pt x="6400798" y="1152425"/>
                </a:cubicBezTo>
                <a:cubicBezTo>
                  <a:pt x="6400798" y="1120112"/>
                  <a:pt x="6427302" y="1093608"/>
                  <a:pt x="6459616" y="1093608"/>
                </a:cubicBezTo>
                <a:close/>
                <a:moveTo>
                  <a:pt x="6613200" y="1090703"/>
                </a:moveTo>
                <a:cubicBezTo>
                  <a:pt x="6647328" y="1090703"/>
                  <a:pt x="6674923" y="1118297"/>
                  <a:pt x="6674923" y="1152425"/>
                </a:cubicBezTo>
                <a:cubicBezTo>
                  <a:pt x="6674923" y="1186557"/>
                  <a:pt x="6647328" y="1214151"/>
                  <a:pt x="6613200" y="1214151"/>
                </a:cubicBezTo>
                <a:cubicBezTo>
                  <a:pt x="6579069" y="1214151"/>
                  <a:pt x="6551474" y="1186557"/>
                  <a:pt x="6551474" y="1152425"/>
                </a:cubicBezTo>
                <a:cubicBezTo>
                  <a:pt x="6551474" y="1118297"/>
                  <a:pt x="6579069" y="1090703"/>
                  <a:pt x="6613200" y="1090703"/>
                </a:cubicBezTo>
                <a:close/>
                <a:moveTo>
                  <a:pt x="1692331" y="998116"/>
                </a:moveTo>
                <a:cubicBezTo>
                  <a:pt x="1692694" y="998116"/>
                  <a:pt x="1692694" y="998116"/>
                  <a:pt x="1692694" y="998478"/>
                </a:cubicBezTo>
                <a:cubicBezTo>
                  <a:pt x="1692694" y="998844"/>
                  <a:pt x="1692331" y="998844"/>
                  <a:pt x="1692331" y="998844"/>
                </a:cubicBezTo>
                <a:cubicBezTo>
                  <a:pt x="1691969" y="998844"/>
                  <a:pt x="1691969" y="998844"/>
                  <a:pt x="1691969" y="998478"/>
                </a:cubicBezTo>
                <a:cubicBezTo>
                  <a:pt x="1691969" y="998116"/>
                  <a:pt x="1691969" y="998116"/>
                  <a:pt x="1692331" y="998116"/>
                </a:cubicBezTo>
                <a:close/>
                <a:moveTo>
                  <a:pt x="1231213" y="998116"/>
                </a:moveTo>
                <a:cubicBezTo>
                  <a:pt x="1231576" y="998116"/>
                  <a:pt x="1231576" y="998116"/>
                  <a:pt x="1231576" y="998478"/>
                </a:cubicBezTo>
                <a:cubicBezTo>
                  <a:pt x="1231576" y="998844"/>
                  <a:pt x="1231213" y="998844"/>
                  <a:pt x="1231213" y="998844"/>
                </a:cubicBezTo>
                <a:cubicBezTo>
                  <a:pt x="1230851" y="998844"/>
                  <a:pt x="1230851" y="998844"/>
                  <a:pt x="1230851" y="998478"/>
                </a:cubicBezTo>
                <a:cubicBezTo>
                  <a:pt x="1230851" y="998116"/>
                  <a:pt x="1230851" y="998116"/>
                  <a:pt x="1231213" y="998116"/>
                </a:cubicBezTo>
                <a:close/>
                <a:moveTo>
                  <a:pt x="1077266" y="998116"/>
                </a:moveTo>
                <a:cubicBezTo>
                  <a:pt x="1077628" y="998116"/>
                  <a:pt x="1077628" y="998116"/>
                  <a:pt x="1077628" y="998478"/>
                </a:cubicBezTo>
                <a:cubicBezTo>
                  <a:pt x="1077628" y="998844"/>
                  <a:pt x="1077266" y="998844"/>
                  <a:pt x="1077266" y="998844"/>
                </a:cubicBezTo>
                <a:cubicBezTo>
                  <a:pt x="1076904" y="998844"/>
                  <a:pt x="1076904" y="998844"/>
                  <a:pt x="1076904" y="998478"/>
                </a:cubicBezTo>
                <a:cubicBezTo>
                  <a:pt x="1076904" y="998116"/>
                  <a:pt x="1076904" y="998116"/>
                  <a:pt x="1077266" y="998116"/>
                </a:cubicBezTo>
                <a:close/>
                <a:moveTo>
                  <a:pt x="923685" y="997754"/>
                </a:moveTo>
                <a:cubicBezTo>
                  <a:pt x="924085" y="997754"/>
                  <a:pt x="924409" y="998077"/>
                  <a:pt x="924409" y="998482"/>
                </a:cubicBezTo>
                <a:cubicBezTo>
                  <a:pt x="924409" y="998882"/>
                  <a:pt x="924085" y="999206"/>
                  <a:pt x="923685" y="999206"/>
                </a:cubicBezTo>
                <a:cubicBezTo>
                  <a:pt x="923281" y="999206"/>
                  <a:pt x="922957" y="998882"/>
                  <a:pt x="922957" y="998482"/>
                </a:cubicBezTo>
                <a:cubicBezTo>
                  <a:pt x="922957" y="998077"/>
                  <a:pt x="923281" y="997754"/>
                  <a:pt x="923685" y="997754"/>
                </a:cubicBezTo>
                <a:close/>
                <a:moveTo>
                  <a:pt x="1846279" y="997025"/>
                </a:moveTo>
                <a:cubicBezTo>
                  <a:pt x="1847003" y="997025"/>
                  <a:pt x="1847731" y="997754"/>
                  <a:pt x="1847731" y="998478"/>
                </a:cubicBezTo>
                <a:cubicBezTo>
                  <a:pt x="1847731" y="999206"/>
                  <a:pt x="1846279" y="999930"/>
                  <a:pt x="1846279" y="999930"/>
                </a:cubicBezTo>
                <a:cubicBezTo>
                  <a:pt x="1845551" y="999930"/>
                  <a:pt x="1844826" y="999206"/>
                  <a:pt x="1844826" y="998478"/>
                </a:cubicBezTo>
                <a:cubicBezTo>
                  <a:pt x="1844826" y="997754"/>
                  <a:pt x="1845551" y="997025"/>
                  <a:pt x="1846279" y="997025"/>
                </a:cubicBezTo>
                <a:close/>
                <a:moveTo>
                  <a:pt x="1999860" y="996301"/>
                </a:moveTo>
                <a:cubicBezTo>
                  <a:pt x="2000950" y="996301"/>
                  <a:pt x="2002041" y="997391"/>
                  <a:pt x="2002041" y="998478"/>
                </a:cubicBezTo>
                <a:cubicBezTo>
                  <a:pt x="2002041" y="999568"/>
                  <a:pt x="1999860" y="1000658"/>
                  <a:pt x="1999860" y="1000658"/>
                </a:cubicBezTo>
                <a:cubicBezTo>
                  <a:pt x="1998774" y="1000658"/>
                  <a:pt x="1997684" y="999568"/>
                  <a:pt x="1997684" y="998478"/>
                </a:cubicBezTo>
                <a:cubicBezTo>
                  <a:pt x="1997684" y="997391"/>
                  <a:pt x="1998774" y="996301"/>
                  <a:pt x="1999860" y="996301"/>
                </a:cubicBezTo>
                <a:close/>
                <a:moveTo>
                  <a:pt x="2153808" y="995573"/>
                </a:moveTo>
                <a:cubicBezTo>
                  <a:pt x="2155622" y="995573"/>
                  <a:pt x="2157074" y="997025"/>
                  <a:pt x="2157074" y="998840"/>
                </a:cubicBezTo>
                <a:cubicBezTo>
                  <a:pt x="2157074" y="1000654"/>
                  <a:pt x="2155622" y="1002110"/>
                  <a:pt x="2153808" y="1002110"/>
                </a:cubicBezTo>
                <a:cubicBezTo>
                  <a:pt x="2151993" y="1002110"/>
                  <a:pt x="2150541" y="1000654"/>
                  <a:pt x="2150541" y="998840"/>
                </a:cubicBezTo>
                <a:cubicBezTo>
                  <a:pt x="2150541" y="997025"/>
                  <a:pt x="2151993" y="995573"/>
                  <a:pt x="2153808" y="995573"/>
                </a:cubicBezTo>
                <a:close/>
                <a:moveTo>
                  <a:pt x="2307393" y="994121"/>
                </a:moveTo>
                <a:cubicBezTo>
                  <a:pt x="2309935" y="994121"/>
                  <a:pt x="2311750" y="995935"/>
                  <a:pt x="2311750" y="998478"/>
                </a:cubicBezTo>
                <a:cubicBezTo>
                  <a:pt x="2311750" y="1001020"/>
                  <a:pt x="2309569" y="1002835"/>
                  <a:pt x="2307393" y="1002835"/>
                </a:cubicBezTo>
                <a:cubicBezTo>
                  <a:pt x="2304850" y="1002835"/>
                  <a:pt x="2303036" y="1001020"/>
                  <a:pt x="2303036" y="998478"/>
                </a:cubicBezTo>
                <a:cubicBezTo>
                  <a:pt x="2303036" y="995935"/>
                  <a:pt x="2304850" y="994121"/>
                  <a:pt x="2307393" y="994121"/>
                </a:cubicBezTo>
                <a:close/>
                <a:moveTo>
                  <a:pt x="2461340" y="993031"/>
                </a:moveTo>
                <a:cubicBezTo>
                  <a:pt x="2464607" y="993031"/>
                  <a:pt x="2467150" y="995573"/>
                  <a:pt x="2467150" y="998840"/>
                </a:cubicBezTo>
                <a:cubicBezTo>
                  <a:pt x="2467150" y="1002107"/>
                  <a:pt x="2464607" y="1004649"/>
                  <a:pt x="2461340" y="1004649"/>
                </a:cubicBezTo>
                <a:cubicBezTo>
                  <a:pt x="2458073" y="1004649"/>
                  <a:pt x="2455531" y="1002107"/>
                  <a:pt x="2455531" y="998840"/>
                </a:cubicBezTo>
                <a:cubicBezTo>
                  <a:pt x="2455531" y="995573"/>
                  <a:pt x="2458073" y="993031"/>
                  <a:pt x="2461340" y="993031"/>
                </a:cubicBezTo>
                <a:close/>
                <a:moveTo>
                  <a:pt x="2614925" y="991216"/>
                </a:moveTo>
                <a:cubicBezTo>
                  <a:pt x="2618920" y="991216"/>
                  <a:pt x="2622187" y="994483"/>
                  <a:pt x="2622187" y="998478"/>
                </a:cubicBezTo>
                <a:cubicBezTo>
                  <a:pt x="2622187" y="1002473"/>
                  <a:pt x="2618920" y="1005739"/>
                  <a:pt x="2614925" y="1005739"/>
                </a:cubicBezTo>
                <a:cubicBezTo>
                  <a:pt x="2610931" y="1005739"/>
                  <a:pt x="2607664" y="1002473"/>
                  <a:pt x="2607664" y="998478"/>
                </a:cubicBezTo>
                <a:cubicBezTo>
                  <a:pt x="2607664" y="994483"/>
                  <a:pt x="2610931" y="991216"/>
                  <a:pt x="2614925" y="991216"/>
                </a:cubicBezTo>
                <a:close/>
                <a:moveTo>
                  <a:pt x="2768873" y="989402"/>
                </a:moveTo>
                <a:cubicBezTo>
                  <a:pt x="2773958" y="989402"/>
                  <a:pt x="2777953" y="993396"/>
                  <a:pt x="2777953" y="998478"/>
                </a:cubicBezTo>
                <a:cubicBezTo>
                  <a:pt x="2777953" y="1003563"/>
                  <a:pt x="2773958" y="1007558"/>
                  <a:pt x="2768873" y="1007558"/>
                </a:cubicBezTo>
                <a:cubicBezTo>
                  <a:pt x="2763792" y="1007558"/>
                  <a:pt x="2759797" y="1003563"/>
                  <a:pt x="2759797" y="998478"/>
                </a:cubicBezTo>
                <a:cubicBezTo>
                  <a:pt x="2759797" y="993396"/>
                  <a:pt x="2763792" y="989402"/>
                  <a:pt x="2768873" y="989402"/>
                </a:cubicBezTo>
                <a:close/>
                <a:moveTo>
                  <a:pt x="2922458" y="988311"/>
                </a:moveTo>
                <a:cubicBezTo>
                  <a:pt x="2927905" y="988311"/>
                  <a:pt x="2932624" y="993031"/>
                  <a:pt x="2932624" y="998478"/>
                </a:cubicBezTo>
                <a:cubicBezTo>
                  <a:pt x="2932624" y="1003925"/>
                  <a:pt x="2928267" y="1008644"/>
                  <a:pt x="2922458" y="1008644"/>
                </a:cubicBezTo>
                <a:cubicBezTo>
                  <a:pt x="2917011" y="1008644"/>
                  <a:pt x="2912292" y="1003925"/>
                  <a:pt x="2912292" y="998478"/>
                </a:cubicBezTo>
                <a:cubicBezTo>
                  <a:pt x="2912292" y="993031"/>
                  <a:pt x="2917011" y="988311"/>
                  <a:pt x="2922458" y="988311"/>
                </a:cubicBezTo>
                <a:close/>
                <a:moveTo>
                  <a:pt x="3076402" y="986497"/>
                </a:moveTo>
                <a:cubicBezTo>
                  <a:pt x="3082939" y="986497"/>
                  <a:pt x="3088386" y="991944"/>
                  <a:pt x="3088386" y="998478"/>
                </a:cubicBezTo>
                <a:cubicBezTo>
                  <a:pt x="3088386" y="1005015"/>
                  <a:pt x="3082939" y="1010459"/>
                  <a:pt x="3076402" y="1010459"/>
                </a:cubicBezTo>
                <a:cubicBezTo>
                  <a:pt x="3069868" y="1010459"/>
                  <a:pt x="3064421" y="1005015"/>
                  <a:pt x="3064421" y="998478"/>
                </a:cubicBezTo>
                <a:cubicBezTo>
                  <a:pt x="3064421" y="991944"/>
                  <a:pt x="3069868" y="986497"/>
                  <a:pt x="3076402" y="986497"/>
                </a:cubicBezTo>
                <a:close/>
                <a:moveTo>
                  <a:pt x="3230353" y="984683"/>
                </a:moveTo>
                <a:cubicBezTo>
                  <a:pt x="3237973" y="984683"/>
                  <a:pt x="3244148" y="990862"/>
                  <a:pt x="3244148" y="998482"/>
                </a:cubicBezTo>
                <a:cubicBezTo>
                  <a:pt x="3244148" y="1006098"/>
                  <a:pt x="3237973" y="1012277"/>
                  <a:pt x="3230353" y="1012277"/>
                </a:cubicBezTo>
                <a:cubicBezTo>
                  <a:pt x="3222733" y="1012277"/>
                  <a:pt x="3216554" y="1006098"/>
                  <a:pt x="3216554" y="998482"/>
                </a:cubicBezTo>
                <a:cubicBezTo>
                  <a:pt x="3216554" y="990862"/>
                  <a:pt x="3222733" y="984683"/>
                  <a:pt x="3230353" y="984683"/>
                </a:cubicBezTo>
                <a:close/>
                <a:moveTo>
                  <a:pt x="3383934" y="983230"/>
                </a:moveTo>
                <a:cubicBezTo>
                  <a:pt x="3392358" y="983230"/>
                  <a:pt x="3399186" y="990057"/>
                  <a:pt x="3399186" y="998482"/>
                </a:cubicBezTo>
                <a:cubicBezTo>
                  <a:pt x="3399186" y="1006902"/>
                  <a:pt x="3392358" y="1013729"/>
                  <a:pt x="3383934" y="1013729"/>
                </a:cubicBezTo>
                <a:cubicBezTo>
                  <a:pt x="3375514" y="1013729"/>
                  <a:pt x="3368687" y="1006902"/>
                  <a:pt x="3368687" y="998482"/>
                </a:cubicBezTo>
                <a:cubicBezTo>
                  <a:pt x="3368687" y="990057"/>
                  <a:pt x="3375514" y="983230"/>
                  <a:pt x="3383934" y="983230"/>
                </a:cubicBezTo>
                <a:close/>
                <a:moveTo>
                  <a:pt x="3537886" y="981412"/>
                </a:moveTo>
                <a:cubicBezTo>
                  <a:pt x="3547324" y="981412"/>
                  <a:pt x="3554951" y="989036"/>
                  <a:pt x="3554951" y="998478"/>
                </a:cubicBezTo>
                <a:cubicBezTo>
                  <a:pt x="3554951" y="1007916"/>
                  <a:pt x="3547324" y="1015540"/>
                  <a:pt x="3537886" y="1015540"/>
                </a:cubicBezTo>
                <a:cubicBezTo>
                  <a:pt x="3528444" y="1015540"/>
                  <a:pt x="3520820" y="1007916"/>
                  <a:pt x="3520820" y="998478"/>
                </a:cubicBezTo>
                <a:cubicBezTo>
                  <a:pt x="3520820" y="989036"/>
                  <a:pt x="3528444" y="981412"/>
                  <a:pt x="3537886" y="981412"/>
                </a:cubicBezTo>
                <a:close/>
                <a:moveTo>
                  <a:pt x="3691467" y="979235"/>
                </a:moveTo>
                <a:cubicBezTo>
                  <a:pt x="3702094" y="979235"/>
                  <a:pt x="3710710" y="987850"/>
                  <a:pt x="3710710" y="998478"/>
                </a:cubicBezTo>
                <a:cubicBezTo>
                  <a:pt x="3710710" y="1009105"/>
                  <a:pt x="3702094" y="1017724"/>
                  <a:pt x="3691467" y="1017724"/>
                </a:cubicBezTo>
                <a:cubicBezTo>
                  <a:pt x="3680839" y="1017724"/>
                  <a:pt x="3672224" y="1009105"/>
                  <a:pt x="3672224" y="998478"/>
                </a:cubicBezTo>
                <a:cubicBezTo>
                  <a:pt x="3672224" y="987850"/>
                  <a:pt x="3680839" y="979235"/>
                  <a:pt x="3691467" y="979235"/>
                </a:cubicBezTo>
                <a:close/>
                <a:moveTo>
                  <a:pt x="3845418" y="977055"/>
                </a:moveTo>
                <a:cubicBezTo>
                  <a:pt x="3857246" y="977055"/>
                  <a:pt x="3866841" y="986646"/>
                  <a:pt x="3866841" y="998478"/>
                </a:cubicBezTo>
                <a:cubicBezTo>
                  <a:pt x="3866841" y="1010306"/>
                  <a:pt x="3857246" y="1019901"/>
                  <a:pt x="3845418" y="1019901"/>
                </a:cubicBezTo>
                <a:cubicBezTo>
                  <a:pt x="3833586" y="1019901"/>
                  <a:pt x="3823995" y="1010306"/>
                  <a:pt x="3823995" y="998478"/>
                </a:cubicBezTo>
                <a:cubicBezTo>
                  <a:pt x="3823995" y="986646"/>
                  <a:pt x="3833586" y="977055"/>
                  <a:pt x="3845418" y="977055"/>
                </a:cubicBezTo>
                <a:close/>
                <a:moveTo>
                  <a:pt x="3999000" y="975603"/>
                </a:moveTo>
                <a:cubicBezTo>
                  <a:pt x="4011632" y="975603"/>
                  <a:pt x="4021871" y="985845"/>
                  <a:pt x="4021871" y="998478"/>
                </a:cubicBezTo>
                <a:cubicBezTo>
                  <a:pt x="4021871" y="1011110"/>
                  <a:pt x="4011632" y="1021349"/>
                  <a:pt x="3999000" y="1021349"/>
                </a:cubicBezTo>
                <a:cubicBezTo>
                  <a:pt x="3986367" y="1021349"/>
                  <a:pt x="3976124" y="1011110"/>
                  <a:pt x="3976124" y="998478"/>
                </a:cubicBezTo>
                <a:cubicBezTo>
                  <a:pt x="3976124" y="985845"/>
                  <a:pt x="3986367" y="975603"/>
                  <a:pt x="3999000" y="975603"/>
                </a:cubicBezTo>
                <a:close/>
                <a:moveTo>
                  <a:pt x="4152947" y="973426"/>
                </a:moveTo>
                <a:cubicBezTo>
                  <a:pt x="4166784" y="973426"/>
                  <a:pt x="4178002" y="984641"/>
                  <a:pt x="4178002" y="998478"/>
                </a:cubicBezTo>
                <a:cubicBezTo>
                  <a:pt x="4178002" y="1012315"/>
                  <a:pt x="4166784" y="1023533"/>
                  <a:pt x="4152947" y="1023533"/>
                </a:cubicBezTo>
                <a:cubicBezTo>
                  <a:pt x="4139114" y="1023533"/>
                  <a:pt x="4127895" y="1012315"/>
                  <a:pt x="4127895" y="998478"/>
                </a:cubicBezTo>
                <a:cubicBezTo>
                  <a:pt x="4127895" y="984641"/>
                  <a:pt x="4139114" y="973426"/>
                  <a:pt x="4152947" y="973426"/>
                </a:cubicBezTo>
                <a:close/>
                <a:moveTo>
                  <a:pt x="4306532" y="971246"/>
                </a:moveTo>
                <a:cubicBezTo>
                  <a:pt x="4321418" y="971246"/>
                  <a:pt x="4333764" y="983592"/>
                  <a:pt x="4333764" y="998478"/>
                </a:cubicBezTo>
                <a:cubicBezTo>
                  <a:pt x="4333764" y="1013363"/>
                  <a:pt x="4321780" y="1025710"/>
                  <a:pt x="4306532" y="1025710"/>
                </a:cubicBezTo>
                <a:cubicBezTo>
                  <a:pt x="4291643" y="1025710"/>
                  <a:pt x="4279300" y="1013363"/>
                  <a:pt x="4279300" y="998478"/>
                </a:cubicBezTo>
                <a:cubicBezTo>
                  <a:pt x="4279300" y="983592"/>
                  <a:pt x="4291643" y="971246"/>
                  <a:pt x="4306532" y="971246"/>
                </a:cubicBezTo>
                <a:close/>
                <a:moveTo>
                  <a:pt x="4460476" y="968707"/>
                </a:moveTo>
                <a:cubicBezTo>
                  <a:pt x="4476920" y="968707"/>
                  <a:pt x="4490250" y="982037"/>
                  <a:pt x="4490250" y="998482"/>
                </a:cubicBezTo>
                <a:cubicBezTo>
                  <a:pt x="4490250" y="1014922"/>
                  <a:pt x="4476920" y="1028252"/>
                  <a:pt x="4460476" y="1028252"/>
                </a:cubicBezTo>
                <a:cubicBezTo>
                  <a:pt x="4444035" y="1028252"/>
                  <a:pt x="4430705" y="1014922"/>
                  <a:pt x="4430705" y="998482"/>
                </a:cubicBezTo>
                <a:cubicBezTo>
                  <a:pt x="4430705" y="982037"/>
                  <a:pt x="4444035" y="968707"/>
                  <a:pt x="4460476" y="968707"/>
                </a:cubicBezTo>
                <a:close/>
                <a:moveTo>
                  <a:pt x="4614061" y="966526"/>
                </a:moveTo>
                <a:cubicBezTo>
                  <a:pt x="4631852" y="966526"/>
                  <a:pt x="4646012" y="980688"/>
                  <a:pt x="4646012" y="998478"/>
                </a:cubicBezTo>
                <a:cubicBezTo>
                  <a:pt x="4646012" y="1016268"/>
                  <a:pt x="4631852" y="1030429"/>
                  <a:pt x="4614061" y="1030429"/>
                </a:cubicBezTo>
                <a:cubicBezTo>
                  <a:pt x="4596271" y="1030429"/>
                  <a:pt x="4582110" y="1016268"/>
                  <a:pt x="4582110" y="998478"/>
                </a:cubicBezTo>
                <a:cubicBezTo>
                  <a:pt x="4582110" y="980688"/>
                  <a:pt x="4596271" y="966526"/>
                  <a:pt x="4614061" y="966526"/>
                </a:cubicBezTo>
                <a:close/>
                <a:moveTo>
                  <a:pt x="4768008" y="964712"/>
                </a:moveTo>
                <a:cubicBezTo>
                  <a:pt x="4786656" y="964712"/>
                  <a:pt x="4801778" y="979830"/>
                  <a:pt x="4801778" y="998478"/>
                </a:cubicBezTo>
                <a:cubicBezTo>
                  <a:pt x="4801778" y="1017129"/>
                  <a:pt x="4786656" y="1032247"/>
                  <a:pt x="4768008" y="1032247"/>
                </a:cubicBezTo>
                <a:cubicBezTo>
                  <a:pt x="4749360" y="1032247"/>
                  <a:pt x="4734242" y="1017129"/>
                  <a:pt x="4734242" y="998478"/>
                </a:cubicBezTo>
                <a:cubicBezTo>
                  <a:pt x="4734242" y="979830"/>
                  <a:pt x="4749360" y="964712"/>
                  <a:pt x="4768008" y="964712"/>
                </a:cubicBezTo>
                <a:close/>
                <a:moveTo>
                  <a:pt x="4921594" y="962169"/>
                </a:moveTo>
                <a:cubicBezTo>
                  <a:pt x="4941564" y="962169"/>
                  <a:pt x="4957902" y="978507"/>
                  <a:pt x="4957902" y="998478"/>
                </a:cubicBezTo>
                <a:cubicBezTo>
                  <a:pt x="4957902" y="1018448"/>
                  <a:pt x="4941564" y="1034786"/>
                  <a:pt x="4921594" y="1034786"/>
                </a:cubicBezTo>
                <a:cubicBezTo>
                  <a:pt x="4901623" y="1034786"/>
                  <a:pt x="4885286" y="1018448"/>
                  <a:pt x="4885286" y="998478"/>
                </a:cubicBezTo>
                <a:cubicBezTo>
                  <a:pt x="4885286" y="978507"/>
                  <a:pt x="4901623" y="962169"/>
                  <a:pt x="4921594" y="962169"/>
                </a:cubicBezTo>
                <a:close/>
                <a:moveTo>
                  <a:pt x="5075545" y="959627"/>
                </a:moveTo>
                <a:cubicBezTo>
                  <a:pt x="5096968" y="959627"/>
                  <a:pt x="5114392" y="977055"/>
                  <a:pt x="5114392" y="998478"/>
                </a:cubicBezTo>
                <a:cubicBezTo>
                  <a:pt x="5114392" y="1019897"/>
                  <a:pt x="5096968" y="1037325"/>
                  <a:pt x="5075545" y="1037325"/>
                </a:cubicBezTo>
                <a:cubicBezTo>
                  <a:pt x="5054122" y="1037325"/>
                  <a:pt x="5036694" y="1019897"/>
                  <a:pt x="5036694" y="998478"/>
                </a:cubicBezTo>
                <a:cubicBezTo>
                  <a:pt x="5036694" y="977055"/>
                  <a:pt x="5054122" y="959627"/>
                  <a:pt x="5075545" y="959627"/>
                </a:cubicBezTo>
                <a:close/>
                <a:moveTo>
                  <a:pt x="5229126" y="957450"/>
                </a:moveTo>
                <a:cubicBezTo>
                  <a:pt x="5252002" y="957450"/>
                  <a:pt x="5270158" y="975606"/>
                  <a:pt x="5270158" y="998478"/>
                </a:cubicBezTo>
                <a:cubicBezTo>
                  <a:pt x="5270158" y="1021353"/>
                  <a:pt x="5251640" y="1039505"/>
                  <a:pt x="5229126" y="1039505"/>
                </a:cubicBezTo>
                <a:cubicBezTo>
                  <a:pt x="5206255" y="1039505"/>
                  <a:pt x="5188099" y="1021353"/>
                  <a:pt x="5188099" y="998478"/>
                </a:cubicBezTo>
                <a:cubicBezTo>
                  <a:pt x="5188099" y="975606"/>
                  <a:pt x="5206255" y="957450"/>
                  <a:pt x="5229126" y="957450"/>
                </a:cubicBezTo>
                <a:close/>
                <a:moveTo>
                  <a:pt x="5383074" y="954908"/>
                </a:moveTo>
                <a:cubicBezTo>
                  <a:pt x="5407036" y="954908"/>
                  <a:pt x="5426644" y="974516"/>
                  <a:pt x="5426644" y="998478"/>
                </a:cubicBezTo>
                <a:cubicBezTo>
                  <a:pt x="5426644" y="1022443"/>
                  <a:pt x="5407036" y="1042048"/>
                  <a:pt x="5383074" y="1042048"/>
                </a:cubicBezTo>
                <a:cubicBezTo>
                  <a:pt x="5359112" y="1042048"/>
                  <a:pt x="5339504" y="1022443"/>
                  <a:pt x="5339504" y="998478"/>
                </a:cubicBezTo>
                <a:cubicBezTo>
                  <a:pt x="5339504" y="974516"/>
                  <a:pt x="5359112" y="954908"/>
                  <a:pt x="5383074" y="954908"/>
                </a:cubicBezTo>
                <a:close/>
                <a:moveTo>
                  <a:pt x="5537018" y="952365"/>
                </a:moveTo>
                <a:cubicBezTo>
                  <a:pt x="5562484" y="952365"/>
                  <a:pt x="5583130" y="973010"/>
                  <a:pt x="5583130" y="998478"/>
                </a:cubicBezTo>
                <a:cubicBezTo>
                  <a:pt x="5583130" y="1023945"/>
                  <a:pt x="5562484" y="1044590"/>
                  <a:pt x="5537018" y="1044590"/>
                </a:cubicBezTo>
                <a:cubicBezTo>
                  <a:pt x="5511554" y="1044590"/>
                  <a:pt x="5490908" y="1023945"/>
                  <a:pt x="5490908" y="998478"/>
                </a:cubicBezTo>
                <a:cubicBezTo>
                  <a:pt x="5490908" y="973010"/>
                  <a:pt x="5511554" y="952365"/>
                  <a:pt x="5537018" y="952365"/>
                </a:cubicBezTo>
                <a:close/>
                <a:moveTo>
                  <a:pt x="5690606" y="949823"/>
                </a:moveTo>
                <a:cubicBezTo>
                  <a:pt x="5717473" y="949823"/>
                  <a:pt x="5739258" y="971608"/>
                  <a:pt x="5739258" y="998478"/>
                </a:cubicBezTo>
                <a:cubicBezTo>
                  <a:pt x="5739258" y="1025344"/>
                  <a:pt x="5717473" y="1047129"/>
                  <a:pt x="5690606" y="1047129"/>
                </a:cubicBezTo>
                <a:cubicBezTo>
                  <a:pt x="5663736" y="1047129"/>
                  <a:pt x="5641952" y="1025344"/>
                  <a:pt x="5641952" y="998478"/>
                </a:cubicBezTo>
                <a:cubicBezTo>
                  <a:pt x="5641952" y="971608"/>
                  <a:pt x="5663736" y="949823"/>
                  <a:pt x="5690606" y="949823"/>
                </a:cubicBezTo>
                <a:close/>
                <a:moveTo>
                  <a:pt x="5844554" y="947284"/>
                </a:moveTo>
                <a:cubicBezTo>
                  <a:pt x="5872830" y="947284"/>
                  <a:pt x="5895748" y="970205"/>
                  <a:pt x="5895748" y="998478"/>
                </a:cubicBezTo>
                <a:cubicBezTo>
                  <a:pt x="5895748" y="1026754"/>
                  <a:pt x="5872827" y="1049672"/>
                  <a:pt x="5844554" y="1049672"/>
                </a:cubicBezTo>
                <a:cubicBezTo>
                  <a:pt x="5816281" y="1049672"/>
                  <a:pt x="5793360" y="1026754"/>
                  <a:pt x="5793360" y="998478"/>
                </a:cubicBezTo>
                <a:cubicBezTo>
                  <a:pt x="5793360" y="970205"/>
                  <a:pt x="5816281" y="947284"/>
                  <a:pt x="5844554" y="947284"/>
                </a:cubicBezTo>
                <a:close/>
                <a:moveTo>
                  <a:pt x="5998136" y="945104"/>
                </a:moveTo>
                <a:cubicBezTo>
                  <a:pt x="6027548" y="945104"/>
                  <a:pt x="6051514" y="969065"/>
                  <a:pt x="6051514" y="998478"/>
                </a:cubicBezTo>
                <a:cubicBezTo>
                  <a:pt x="6051514" y="1027887"/>
                  <a:pt x="6027548" y="1051848"/>
                  <a:pt x="5998136" y="1051848"/>
                </a:cubicBezTo>
                <a:cubicBezTo>
                  <a:pt x="5968726" y="1051848"/>
                  <a:pt x="5944765" y="1027887"/>
                  <a:pt x="5944765" y="998478"/>
                </a:cubicBezTo>
                <a:cubicBezTo>
                  <a:pt x="5944765" y="969065"/>
                  <a:pt x="5968726" y="945104"/>
                  <a:pt x="5998136" y="945104"/>
                </a:cubicBezTo>
                <a:close/>
                <a:moveTo>
                  <a:pt x="6152086" y="942199"/>
                </a:moveTo>
                <a:cubicBezTo>
                  <a:pt x="6183314" y="942199"/>
                  <a:pt x="6208366" y="967251"/>
                  <a:pt x="6208366" y="998478"/>
                </a:cubicBezTo>
                <a:cubicBezTo>
                  <a:pt x="6208366" y="1029701"/>
                  <a:pt x="6183314" y="1054753"/>
                  <a:pt x="6152086" y="1054753"/>
                </a:cubicBezTo>
                <a:cubicBezTo>
                  <a:pt x="6120860" y="1054753"/>
                  <a:pt x="6095808" y="1029701"/>
                  <a:pt x="6095808" y="998478"/>
                </a:cubicBezTo>
                <a:cubicBezTo>
                  <a:pt x="6095808" y="967251"/>
                  <a:pt x="6120860" y="942199"/>
                  <a:pt x="6152086" y="942199"/>
                </a:cubicBezTo>
                <a:close/>
                <a:moveTo>
                  <a:pt x="6305672" y="939660"/>
                </a:moveTo>
                <a:cubicBezTo>
                  <a:pt x="6338157" y="939660"/>
                  <a:pt x="6364490" y="965993"/>
                  <a:pt x="6364490" y="998482"/>
                </a:cubicBezTo>
                <a:cubicBezTo>
                  <a:pt x="6364490" y="1030967"/>
                  <a:pt x="6338157" y="1057299"/>
                  <a:pt x="6305672" y="1057299"/>
                </a:cubicBezTo>
                <a:cubicBezTo>
                  <a:pt x="6273187" y="1057299"/>
                  <a:pt x="6246850" y="1030967"/>
                  <a:pt x="6246850" y="998482"/>
                </a:cubicBezTo>
                <a:cubicBezTo>
                  <a:pt x="6246850" y="965993"/>
                  <a:pt x="6273187" y="939660"/>
                  <a:pt x="6305672" y="939660"/>
                </a:cubicBezTo>
                <a:close/>
                <a:moveTo>
                  <a:pt x="6459619" y="937118"/>
                </a:moveTo>
                <a:cubicBezTo>
                  <a:pt x="6493747" y="937118"/>
                  <a:pt x="6521342" y="964712"/>
                  <a:pt x="6521342" y="998844"/>
                </a:cubicBezTo>
                <a:cubicBezTo>
                  <a:pt x="6521342" y="1032972"/>
                  <a:pt x="6493747" y="1060566"/>
                  <a:pt x="6459619" y="1060566"/>
                </a:cubicBezTo>
                <a:cubicBezTo>
                  <a:pt x="6425488" y="1060566"/>
                  <a:pt x="6397893" y="1032972"/>
                  <a:pt x="6397893" y="998844"/>
                </a:cubicBezTo>
                <a:cubicBezTo>
                  <a:pt x="6397893" y="964712"/>
                  <a:pt x="6425488" y="937118"/>
                  <a:pt x="6459619" y="937118"/>
                </a:cubicBezTo>
                <a:close/>
                <a:moveTo>
                  <a:pt x="6613200" y="934213"/>
                </a:moveTo>
                <a:cubicBezTo>
                  <a:pt x="6648694" y="934213"/>
                  <a:pt x="6677470" y="962985"/>
                  <a:pt x="6677470" y="998478"/>
                </a:cubicBezTo>
                <a:cubicBezTo>
                  <a:pt x="6677470" y="1033970"/>
                  <a:pt x="6648694" y="1062746"/>
                  <a:pt x="6613200" y="1062746"/>
                </a:cubicBezTo>
                <a:cubicBezTo>
                  <a:pt x="6577708" y="1062746"/>
                  <a:pt x="6548936" y="1033970"/>
                  <a:pt x="6548936" y="998478"/>
                </a:cubicBezTo>
                <a:cubicBezTo>
                  <a:pt x="6548936" y="962985"/>
                  <a:pt x="6577708" y="934213"/>
                  <a:pt x="6613200" y="934213"/>
                </a:cubicBezTo>
                <a:close/>
                <a:moveTo>
                  <a:pt x="1538746" y="844530"/>
                </a:moveTo>
                <a:cubicBezTo>
                  <a:pt x="1539108" y="844530"/>
                  <a:pt x="1539108" y="844530"/>
                  <a:pt x="1539108" y="844893"/>
                </a:cubicBezTo>
                <a:cubicBezTo>
                  <a:pt x="1539108" y="845258"/>
                  <a:pt x="1538746" y="845258"/>
                  <a:pt x="1538746" y="845258"/>
                </a:cubicBezTo>
                <a:cubicBezTo>
                  <a:pt x="1538384" y="845258"/>
                  <a:pt x="1538384" y="845258"/>
                  <a:pt x="1538384" y="844893"/>
                </a:cubicBezTo>
                <a:cubicBezTo>
                  <a:pt x="1538384" y="844530"/>
                  <a:pt x="1538384" y="844530"/>
                  <a:pt x="1538746" y="844530"/>
                </a:cubicBezTo>
                <a:close/>
                <a:moveTo>
                  <a:pt x="1077266" y="844530"/>
                </a:moveTo>
                <a:cubicBezTo>
                  <a:pt x="1077628" y="844530"/>
                  <a:pt x="1077628" y="844530"/>
                  <a:pt x="1077628" y="844893"/>
                </a:cubicBezTo>
                <a:cubicBezTo>
                  <a:pt x="1077628" y="845258"/>
                  <a:pt x="1077266" y="845258"/>
                  <a:pt x="1077266" y="845258"/>
                </a:cubicBezTo>
                <a:cubicBezTo>
                  <a:pt x="1076904" y="845258"/>
                  <a:pt x="1076904" y="845258"/>
                  <a:pt x="1076904" y="844893"/>
                </a:cubicBezTo>
                <a:cubicBezTo>
                  <a:pt x="1076904" y="844530"/>
                  <a:pt x="1076904" y="844530"/>
                  <a:pt x="1077266" y="844530"/>
                </a:cubicBezTo>
                <a:close/>
                <a:moveTo>
                  <a:pt x="923681" y="844530"/>
                </a:moveTo>
                <a:cubicBezTo>
                  <a:pt x="924043" y="844530"/>
                  <a:pt x="924043" y="844530"/>
                  <a:pt x="924043" y="844893"/>
                </a:cubicBezTo>
                <a:cubicBezTo>
                  <a:pt x="924043" y="845258"/>
                  <a:pt x="923681" y="845258"/>
                  <a:pt x="923681" y="845258"/>
                </a:cubicBezTo>
                <a:cubicBezTo>
                  <a:pt x="923319" y="845258"/>
                  <a:pt x="923319" y="845258"/>
                  <a:pt x="923319" y="844893"/>
                </a:cubicBezTo>
                <a:cubicBezTo>
                  <a:pt x="923319" y="844530"/>
                  <a:pt x="923319" y="844530"/>
                  <a:pt x="923681" y="844530"/>
                </a:cubicBezTo>
                <a:close/>
                <a:moveTo>
                  <a:pt x="769737" y="844168"/>
                </a:moveTo>
                <a:cubicBezTo>
                  <a:pt x="770137" y="844168"/>
                  <a:pt x="770461" y="844492"/>
                  <a:pt x="770461" y="844896"/>
                </a:cubicBezTo>
                <a:cubicBezTo>
                  <a:pt x="770461" y="845297"/>
                  <a:pt x="770137" y="845621"/>
                  <a:pt x="769737" y="845621"/>
                </a:cubicBezTo>
                <a:cubicBezTo>
                  <a:pt x="769333" y="845621"/>
                  <a:pt x="769009" y="845297"/>
                  <a:pt x="769009" y="844896"/>
                </a:cubicBezTo>
                <a:cubicBezTo>
                  <a:pt x="769009" y="844492"/>
                  <a:pt x="769333" y="844168"/>
                  <a:pt x="769737" y="844168"/>
                </a:cubicBezTo>
                <a:close/>
                <a:moveTo>
                  <a:pt x="1692331" y="843078"/>
                </a:moveTo>
                <a:cubicBezTo>
                  <a:pt x="1693056" y="843078"/>
                  <a:pt x="1693784" y="843806"/>
                  <a:pt x="1693784" y="844530"/>
                </a:cubicBezTo>
                <a:cubicBezTo>
                  <a:pt x="1693784" y="845258"/>
                  <a:pt x="1692331" y="845983"/>
                  <a:pt x="1692331" y="845983"/>
                </a:cubicBezTo>
                <a:cubicBezTo>
                  <a:pt x="1691603" y="845983"/>
                  <a:pt x="1690879" y="845258"/>
                  <a:pt x="1690879" y="844530"/>
                </a:cubicBezTo>
                <a:cubicBezTo>
                  <a:pt x="1690879" y="843806"/>
                  <a:pt x="1691603" y="843078"/>
                  <a:pt x="1692331" y="843078"/>
                </a:cubicBezTo>
                <a:close/>
                <a:moveTo>
                  <a:pt x="1846279" y="842716"/>
                </a:moveTo>
                <a:cubicBezTo>
                  <a:pt x="1847480" y="842716"/>
                  <a:pt x="1848455" y="843692"/>
                  <a:pt x="1848455" y="844896"/>
                </a:cubicBezTo>
                <a:cubicBezTo>
                  <a:pt x="1848455" y="846097"/>
                  <a:pt x="1847480" y="847073"/>
                  <a:pt x="1846279" y="847073"/>
                </a:cubicBezTo>
                <a:cubicBezTo>
                  <a:pt x="1845074" y="847073"/>
                  <a:pt x="1844098" y="846097"/>
                  <a:pt x="1844098" y="844896"/>
                </a:cubicBezTo>
                <a:cubicBezTo>
                  <a:pt x="1844098" y="843692"/>
                  <a:pt x="1845074" y="842716"/>
                  <a:pt x="1846279" y="842716"/>
                </a:cubicBezTo>
                <a:close/>
                <a:moveTo>
                  <a:pt x="1999860" y="841626"/>
                </a:moveTo>
                <a:cubicBezTo>
                  <a:pt x="2001679" y="841626"/>
                  <a:pt x="2003127" y="843078"/>
                  <a:pt x="2003127" y="844893"/>
                </a:cubicBezTo>
                <a:cubicBezTo>
                  <a:pt x="2003127" y="846707"/>
                  <a:pt x="2001679" y="848163"/>
                  <a:pt x="1999860" y="848163"/>
                </a:cubicBezTo>
                <a:cubicBezTo>
                  <a:pt x="1998046" y="848163"/>
                  <a:pt x="1996593" y="846707"/>
                  <a:pt x="1996593" y="844893"/>
                </a:cubicBezTo>
                <a:cubicBezTo>
                  <a:pt x="1996593" y="843078"/>
                  <a:pt x="1998046" y="841626"/>
                  <a:pt x="1999860" y="841626"/>
                </a:cubicBezTo>
                <a:close/>
                <a:moveTo>
                  <a:pt x="2153808" y="840173"/>
                </a:moveTo>
                <a:cubicBezTo>
                  <a:pt x="2156350" y="840173"/>
                  <a:pt x="2158165" y="841988"/>
                  <a:pt x="2158165" y="844530"/>
                </a:cubicBezTo>
                <a:cubicBezTo>
                  <a:pt x="2158165" y="847073"/>
                  <a:pt x="2155988" y="848887"/>
                  <a:pt x="2153808" y="848887"/>
                </a:cubicBezTo>
                <a:cubicBezTo>
                  <a:pt x="2151265" y="848887"/>
                  <a:pt x="2149451" y="847073"/>
                  <a:pt x="2149451" y="844530"/>
                </a:cubicBezTo>
                <a:cubicBezTo>
                  <a:pt x="2149451" y="841988"/>
                  <a:pt x="2151265" y="840173"/>
                  <a:pt x="2153808" y="840173"/>
                </a:cubicBezTo>
                <a:close/>
                <a:moveTo>
                  <a:pt x="2307393" y="839083"/>
                </a:moveTo>
                <a:cubicBezTo>
                  <a:pt x="2310660" y="839083"/>
                  <a:pt x="2313202" y="841626"/>
                  <a:pt x="2313202" y="844893"/>
                </a:cubicBezTo>
                <a:cubicBezTo>
                  <a:pt x="2313202" y="848159"/>
                  <a:pt x="2310660" y="850702"/>
                  <a:pt x="2307393" y="850702"/>
                </a:cubicBezTo>
                <a:cubicBezTo>
                  <a:pt x="2304126" y="850702"/>
                  <a:pt x="2301583" y="848159"/>
                  <a:pt x="2301583" y="844893"/>
                </a:cubicBezTo>
                <a:cubicBezTo>
                  <a:pt x="2301583" y="841626"/>
                  <a:pt x="2304126" y="839083"/>
                  <a:pt x="2307393" y="839083"/>
                </a:cubicBezTo>
                <a:close/>
                <a:moveTo>
                  <a:pt x="2461340" y="837631"/>
                </a:moveTo>
                <a:cubicBezTo>
                  <a:pt x="2465335" y="837631"/>
                  <a:pt x="2468602" y="840898"/>
                  <a:pt x="2468602" y="844893"/>
                </a:cubicBezTo>
                <a:cubicBezTo>
                  <a:pt x="2468602" y="848887"/>
                  <a:pt x="2465335" y="852154"/>
                  <a:pt x="2461340" y="852154"/>
                </a:cubicBezTo>
                <a:cubicBezTo>
                  <a:pt x="2457345" y="852154"/>
                  <a:pt x="2454079" y="848887"/>
                  <a:pt x="2454079" y="844893"/>
                </a:cubicBezTo>
                <a:cubicBezTo>
                  <a:pt x="2454079" y="840898"/>
                  <a:pt x="2457345" y="837631"/>
                  <a:pt x="2461340" y="837631"/>
                </a:cubicBezTo>
                <a:close/>
                <a:moveTo>
                  <a:pt x="2614925" y="835454"/>
                </a:moveTo>
                <a:cubicBezTo>
                  <a:pt x="2620011" y="835454"/>
                  <a:pt x="2624005" y="839449"/>
                  <a:pt x="2624005" y="844530"/>
                </a:cubicBezTo>
                <a:cubicBezTo>
                  <a:pt x="2624005" y="849615"/>
                  <a:pt x="2620011" y="853610"/>
                  <a:pt x="2614925" y="853610"/>
                </a:cubicBezTo>
                <a:cubicBezTo>
                  <a:pt x="2609844" y="853610"/>
                  <a:pt x="2605849" y="849615"/>
                  <a:pt x="2605849" y="844530"/>
                </a:cubicBezTo>
                <a:cubicBezTo>
                  <a:pt x="2605849" y="839449"/>
                  <a:pt x="2609844" y="835454"/>
                  <a:pt x="2614925" y="835454"/>
                </a:cubicBezTo>
                <a:close/>
                <a:moveTo>
                  <a:pt x="2768873" y="834726"/>
                </a:moveTo>
                <a:cubicBezTo>
                  <a:pt x="2774320" y="834726"/>
                  <a:pt x="2779039" y="839445"/>
                  <a:pt x="2779039" y="844893"/>
                </a:cubicBezTo>
                <a:cubicBezTo>
                  <a:pt x="2779039" y="850340"/>
                  <a:pt x="2774682" y="855059"/>
                  <a:pt x="2768873" y="855059"/>
                </a:cubicBezTo>
                <a:cubicBezTo>
                  <a:pt x="2763426" y="855059"/>
                  <a:pt x="2758707" y="850340"/>
                  <a:pt x="2758707" y="844893"/>
                </a:cubicBezTo>
                <a:cubicBezTo>
                  <a:pt x="2758707" y="839445"/>
                  <a:pt x="2763426" y="834726"/>
                  <a:pt x="2768873" y="834726"/>
                </a:cubicBezTo>
                <a:close/>
                <a:moveTo>
                  <a:pt x="2922458" y="832912"/>
                </a:moveTo>
                <a:cubicBezTo>
                  <a:pt x="2928996" y="832912"/>
                  <a:pt x="2934443" y="838359"/>
                  <a:pt x="2934443" y="844893"/>
                </a:cubicBezTo>
                <a:cubicBezTo>
                  <a:pt x="2934443" y="851430"/>
                  <a:pt x="2928996" y="856873"/>
                  <a:pt x="2922458" y="856873"/>
                </a:cubicBezTo>
                <a:cubicBezTo>
                  <a:pt x="2915924" y="856873"/>
                  <a:pt x="2910477" y="851430"/>
                  <a:pt x="2910477" y="844893"/>
                </a:cubicBezTo>
                <a:cubicBezTo>
                  <a:pt x="2910477" y="838359"/>
                  <a:pt x="2915924" y="832912"/>
                  <a:pt x="2922458" y="832912"/>
                </a:cubicBezTo>
                <a:close/>
                <a:moveTo>
                  <a:pt x="3076402" y="831097"/>
                </a:moveTo>
                <a:cubicBezTo>
                  <a:pt x="3084022" y="831097"/>
                  <a:pt x="3090201" y="837276"/>
                  <a:pt x="3090201" y="844896"/>
                </a:cubicBezTo>
                <a:cubicBezTo>
                  <a:pt x="3090201" y="852513"/>
                  <a:pt x="3084022" y="858692"/>
                  <a:pt x="3076402" y="858692"/>
                </a:cubicBezTo>
                <a:cubicBezTo>
                  <a:pt x="3068782" y="858692"/>
                  <a:pt x="3062606" y="852513"/>
                  <a:pt x="3062606" y="844896"/>
                </a:cubicBezTo>
                <a:cubicBezTo>
                  <a:pt x="3062606" y="837276"/>
                  <a:pt x="3068782" y="831097"/>
                  <a:pt x="3076402" y="831097"/>
                </a:cubicBezTo>
                <a:close/>
                <a:moveTo>
                  <a:pt x="3230349" y="829645"/>
                </a:moveTo>
                <a:cubicBezTo>
                  <a:pt x="3238773" y="829645"/>
                  <a:pt x="3245600" y="836472"/>
                  <a:pt x="3245600" y="844896"/>
                </a:cubicBezTo>
                <a:cubicBezTo>
                  <a:pt x="3245600" y="853317"/>
                  <a:pt x="3238773" y="860144"/>
                  <a:pt x="3230349" y="860144"/>
                </a:cubicBezTo>
                <a:cubicBezTo>
                  <a:pt x="3221928" y="860144"/>
                  <a:pt x="3215102" y="853317"/>
                  <a:pt x="3215102" y="844896"/>
                </a:cubicBezTo>
                <a:cubicBezTo>
                  <a:pt x="3215102" y="836472"/>
                  <a:pt x="3221928" y="829645"/>
                  <a:pt x="3230349" y="829645"/>
                </a:cubicBezTo>
                <a:close/>
                <a:moveTo>
                  <a:pt x="3383938" y="827830"/>
                </a:moveTo>
                <a:cubicBezTo>
                  <a:pt x="3393361" y="827830"/>
                  <a:pt x="3401000" y="835470"/>
                  <a:pt x="3401000" y="844896"/>
                </a:cubicBezTo>
                <a:cubicBezTo>
                  <a:pt x="3401000" y="854319"/>
                  <a:pt x="3393361" y="861958"/>
                  <a:pt x="3383938" y="861958"/>
                </a:cubicBezTo>
                <a:cubicBezTo>
                  <a:pt x="3374511" y="861958"/>
                  <a:pt x="3366872" y="854319"/>
                  <a:pt x="3366872" y="844896"/>
                </a:cubicBezTo>
                <a:cubicBezTo>
                  <a:pt x="3366872" y="835470"/>
                  <a:pt x="3374511" y="827830"/>
                  <a:pt x="3383938" y="827830"/>
                </a:cubicBezTo>
                <a:close/>
                <a:moveTo>
                  <a:pt x="3537882" y="825650"/>
                </a:moveTo>
                <a:cubicBezTo>
                  <a:pt x="3548513" y="825650"/>
                  <a:pt x="3557128" y="834265"/>
                  <a:pt x="3557128" y="844893"/>
                </a:cubicBezTo>
                <a:cubicBezTo>
                  <a:pt x="3557128" y="855520"/>
                  <a:pt x="3548513" y="864139"/>
                  <a:pt x="3537882" y="864139"/>
                </a:cubicBezTo>
                <a:cubicBezTo>
                  <a:pt x="3527254" y="864139"/>
                  <a:pt x="3518639" y="855520"/>
                  <a:pt x="3518639" y="844893"/>
                </a:cubicBezTo>
                <a:cubicBezTo>
                  <a:pt x="3518639" y="834265"/>
                  <a:pt x="3527254" y="825650"/>
                  <a:pt x="3537882" y="825650"/>
                </a:cubicBezTo>
                <a:close/>
                <a:moveTo>
                  <a:pt x="3691471" y="823473"/>
                </a:moveTo>
                <a:cubicBezTo>
                  <a:pt x="3703303" y="823473"/>
                  <a:pt x="3712894" y="833064"/>
                  <a:pt x="3712894" y="844896"/>
                </a:cubicBezTo>
                <a:cubicBezTo>
                  <a:pt x="3712894" y="856725"/>
                  <a:pt x="3703303" y="866319"/>
                  <a:pt x="3691471" y="866319"/>
                </a:cubicBezTo>
                <a:cubicBezTo>
                  <a:pt x="3679638" y="866319"/>
                  <a:pt x="3670048" y="856725"/>
                  <a:pt x="3670048" y="844896"/>
                </a:cubicBezTo>
                <a:cubicBezTo>
                  <a:pt x="3670048" y="833064"/>
                  <a:pt x="3679638" y="823473"/>
                  <a:pt x="3691471" y="823473"/>
                </a:cubicBezTo>
                <a:close/>
                <a:moveTo>
                  <a:pt x="3845418" y="822021"/>
                </a:moveTo>
                <a:cubicBezTo>
                  <a:pt x="3858051" y="822021"/>
                  <a:pt x="3868293" y="832264"/>
                  <a:pt x="3868293" y="844896"/>
                </a:cubicBezTo>
                <a:cubicBezTo>
                  <a:pt x="3868293" y="857529"/>
                  <a:pt x="3858051" y="867768"/>
                  <a:pt x="3845418" y="867768"/>
                </a:cubicBezTo>
                <a:cubicBezTo>
                  <a:pt x="3832786" y="867768"/>
                  <a:pt x="3822543" y="857529"/>
                  <a:pt x="3822543" y="844896"/>
                </a:cubicBezTo>
                <a:cubicBezTo>
                  <a:pt x="3822543" y="832264"/>
                  <a:pt x="3832786" y="822021"/>
                  <a:pt x="3845418" y="822021"/>
                </a:cubicBezTo>
                <a:close/>
                <a:moveTo>
                  <a:pt x="3999000" y="819841"/>
                </a:moveTo>
                <a:cubicBezTo>
                  <a:pt x="4012837" y="819841"/>
                  <a:pt x="4024052" y="831055"/>
                  <a:pt x="4024052" y="844893"/>
                </a:cubicBezTo>
                <a:cubicBezTo>
                  <a:pt x="4024052" y="858730"/>
                  <a:pt x="4012837" y="869948"/>
                  <a:pt x="3999000" y="869948"/>
                </a:cubicBezTo>
                <a:cubicBezTo>
                  <a:pt x="3985162" y="869948"/>
                  <a:pt x="3973948" y="858730"/>
                  <a:pt x="3973948" y="844893"/>
                </a:cubicBezTo>
                <a:cubicBezTo>
                  <a:pt x="3973948" y="831055"/>
                  <a:pt x="3985162" y="819841"/>
                  <a:pt x="3999000" y="819841"/>
                </a:cubicBezTo>
                <a:close/>
                <a:moveTo>
                  <a:pt x="4152947" y="817664"/>
                </a:moveTo>
                <a:cubicBezTo>
                  <a:pt x="4167832" y="817664"/>
                  <a:pt x="4180179" y="830011"/>
                  <a:pt x="4180179" y="844896"/>
                </a:cubicBezTo>
                <a:cubicBezTo>
                  <a:pt x="4180179" y="859782"/>
                  <a:pt x="4168194" y="872129"/>
                  <a:pt x="4152947" y="872129"/>
                </a:cubicBezTo>
                <a:cubicBezTo>
                  <a:pt x="4138058" y="872129"/>
                  <a:pt x="4125715" y="859782"/>
                  <a:pt x="4125715" y="844896"/>
                </a:cubicBezTo>
                <a:cubicBezTo>
                  <a:pt x="4125715" y="830011"/>
                  <a:pt x="4138058" y="817664"/>
                  <a:pt x="4152947" y="817664"/>
                </a:cubicBezTo>
                <a:close/>
                <a:moveTo>
                  <a:pt x="4306528" y="815122"/>
                </a:moveTo>
                <a:cubicBezTo>
                  <a:pt x="4322973" y="815122"/>
                  <a:pt x="4336303" y="828452"/>
                  <a:pt x="4336303" y="844896"/>
                </a:cubicBezTo>
                <a:cubicBezTo>
                  <a:pt x="4336303" y="861337"/>
                  <a:pt x="4322973" y="874667"/>
                  <a:pt x="4306528" y="874667"/>
                </a:cubicBezTo>
                <a:cubicBezTo>
                  <a:pt x="4290088" y="874667"/>
                  <a:pt x="4276758" y="861337"/>
                  <a:pt x="4276758" y="844896"/>
                </a:cubicBezTo>
                <a:cubicBezTo>
                  <a:pt x="4276758" y="828452"/>
                  <a:pt x="4290088" y="815122"/>
                  <a:pt x="4306528" y="815122"/>
                </a:cubicBezTo>
                <a:close/>
                <a:moveTo>
                  <a:pt x="4460480" y="812941"/>
                </a:moveTo>
                <a:cubicBezTo>
                  <a:pt x="4478270" y="812941"/>
                  <a:pt x="4492431" y="827102"/>
                  <a:pt x="4492431" y="844893"/>
                </a:cubicBezTo>
                <a:cubicBezTo>
                  <a:pt x="4492431" y="862683"/>
                  <a:pt x="4478270" y="876844"/>
                  <a:pt x="4460480" y="876844"/>
                </a:cubicBezTo>
                <a:cubicBezTo>
                  <a:pt x="4442690" y="876844"/>
                  <a:pt x="4428528" y="862683"/>
                  <a:pt x="4428528" y="844893"/>
                </a:cubicBezTo>
                <a:cubicBezTo>
                  <a:pt x="4428528" y="827102"/>
                  <a:pt x="4442690" y="812941"/>
                  <a:pt x="4460480" y="812941"/>
                </a:cubicBezTo>
                <a:close/>
                <a:moveTo>
                  <a:pt x="4614061" y="811127"/>
                </a:moveTo>
                <a:cubicBezTo>
                  <a:pt x="4632713" y="811127"/>
                  <a:pt x="4647831" y="826245"/>
                  <a:pt x="4647831" y="844893"/>
                </a:cubicBezTo>
                <a:cubicBezTo>
                  <a:pt x="4647831" y="863544"/>
                  <a:pt x="4632713" y="878662"/>
                  <a:pt x="4614061" y="878662"/>
                </a:cubicBezTo>
                <a:cubicBezTo>
                  <a:pt x="4595414" y="878662"/>
                  <a:pt x="4580296" y="863544"/>
                  <a:pt x="4580296" y="844893"/>
                </a:cubicBezTo>
                <a:cubicBezTo>
                  <a:pt x="4580296" y="826245"/>
                  <a:pt x="4595414" y="811127"/>
                  <a:pt x="4614061" y="811127"/>
                </a:cubicBezTo>
                <a:close/>
                <a:moveTo>
                  <a:pt x="4768012" y="808584"/>
                </a:moveTo>
                <a:cubicBezTo>
                  <a:pt x="4787983" y="808584"/>
                  <a:pt x="4804320" y="824922"/>
                  <a:pt x="4804320" y="844893"/>
                </a:cubicBezTo>
                <a:cubicBezTo>
                  <a:pt x="4804320" y="864863"/>
                  <a:pt x="4787983" y="881201"/>
                  <a:pt x="4768012" y="881201"/>
                </a:cubicBezTo>
                <a:cubicBezTo>
                  <a:pt x="4748042" y="881201"/>
                  <a:pt x="4731704" y="864863"/>
                  <a:pt x="4731704" y="844893"/>
                </a:cubicBezTo>
                <a:cubicBezTo>
                  <a:pt x="4731704" y="824922"/>
                  <a:pt x="4748042" y="808584"/>
                  <a:pt x="4768012" y="808584"/>
                </a:cubicBezTo>
                <a:close/>
                <a:moveTo>
                  <a:pt x="4921598" y="806045"/>
                </a:moveTo>
                <a:cubicBezTo>
                  <a:pt x="4943016" y="806045"/>
                  <a:pt x="4960444" y="823473"/>
                  <a:pt x="4960444" y="844896"/>
                </a:cubicBezTo>
                <a:cubicBezTo>
                  <a:pt x="4960444" y="866315"/>
                  <a:pt x="4943016" y="883743"/>
                  <a:pt x="4921598" y="883743"/>
                </a:cubicBezTo>
                <a:cubicBezTo>
                  <a:pt x="4900174" y="883743"/>
                  <a:pt x="4882746" y="866315"/>
                  <a:pt x="4882746" y="844896"/>
                </a:cubicBezTo>
                <a:cubicBezTo>
                  <a:pt x="4882746" y="823473"/>
                  <a:pt x="4900174" y="806045"/>
                  <a:pt x="4921598" y="806045"/>
                </a:cubicBezTo>
                <a:close/>
                <a:moveTo>
                  <a:pt x="5075541" y="803503"/>
                </a:moveTo>
                <a:cubicBezTo>
                  <a:pt x="5098416" y="803503"/>
                  <a:pt x="5116568" y="821659"/>
                  <a:pt x="5116568" y="844530"/>
                </a:cubicBezTo>
                <a:cubicBezTo>
                  <a:pt x="5116568" y="867406"/>
                  <a:pt x="5098054" y="885562"/>
                  <a:pt x="5075541" y="885562"/>
                </a:cubicBezTo>
                <a:cubicBezTo>
                  <a:pt x="5052670" y="885562"/>
                  <a:pt x="5034514" y="867406"/>
                  <a:pt x="5034514" y="844530"/>
                </a:cubicBezTo>
                <a:cubicBezTo>
                  <a:pt x="5034514" y="821659"/>
                  <a:pt x="5052670" y="803503"/>
                  <a:pt x="5075541" y="803503"/>
                </a:cubicBezTo>
                <a:close/>
                <a:moveTo>
                  <a:pt x="5229126" y="800960"/>
                </a:moveTo>
                <a:cubicBezTo>
                  <a:pt x="5253088" y="800960"/>
                  <a:pt x="5272696" y="820569"/>
                  <a:pt x="5272696" y="844530"/>
                </a:cubicBezTo>
                <a:cubicBezTo>
                  <a:pt x="5272696" y="868496"/>
                  <a:pt x="5253088" y="888100"/>
                  <a:pt x="5229126" y="888100"/>
                </a:cubicBezTo>
                <a:cubicBezTo>
                  <a:pt x="5205161" y="888100"/>
                  <a:pt x="5185556" y="868496"/>
                  <a:pt x="5185556" y="844530"/>
                </a:cubicBezTo>
                <a:cubicBezTo>
                  <a:pt x="5185556" y="820569"/>
                  <a:pt x="5205161" y="800960"/>
                  <a:pt x="5229126" y="800960"/>
                </a:cubicBezTo>
                <a:close/>
                <a:moveTo>
                  <a:pt x="5383074" y="798784"/>
                </a:moveTo>
                <a:cubicBezTo>
                  <a:pt x="5408541" y="798784"/>
                  <a:pt x="5429186" y="819429"/>
                  <a:pt x="5429186" y="844896"/>
                </a:cubicBezTo>
                <a:cubicBezTo>
                  <a:pt x="5429186" y="870364"/>
                  <a:pt x="5408541" y="891009"/>
                  <a:pt x="5383074" y="891009"/>
                </a:cubicBezTo>
                <a:cubicBezTo>
                  <a:pt x="5357606" y="891009"/>
                  <a:pt x="5336962" y="870364"/>
                  <a:pt x="5336962" y="844896"/>
                </a:cubicBezTo>
                <a:cubicBezTo>
                  <a:pt x="5336962" y="819429"/>
                  <a:pt x="5357606" y="798784"/>
                  <a:pt x="5383074" y="798784"/>
                </a:cubicBezTo>
                <a:close/>
                <a:moveTo>
                  <a:pt x="5536659" y="796241"/>
                </a:moveTo>
                <a:cubicBezTo>
                  <a:pt x="5563526" y="796241"/>
                  <a:pt x="5585310" y="818026"/>
                  <a:pt x="5585310" y="844896"/>
                </a:cubicBezTo>
                <a:cubicBezTo>
                  <a:pt x="5585310" y="871763"/>
                  <a:pt x="5563526" y="893548"/>
                  <a:pt x="5536659" y="893548"/>
                </a:cubicBezTo>
                <a:cubicBezTo>
                  <a:pt x="5509789" y="893548"/>
                  <a:pt x="5488004" y="871763"/>
                  <a:pt x="5488004" y="844896"/>
                </a:cubicBezTo>
                <a:cubicBezTo>
                  <a:pt x="5488004" y="818026"/>
                  <a:pt x="5509789" y="796241"/>
                  <a:pt x="5536659" y="796241"/>
                </a:cubicBezTo>
                <a:close/>
                <a:moveTo>
                  <a:pt x="5690606" y="793699"/>
                </a:moveTo>
                <a:cubicBezTo>
                  <a:pt x="5718883" y="793699"/>
                  <a:pt x="5741800" y="816620"/>
                  <a:pt x="5741800" y="844893"/>
                </a:cubicBezTo>
                <a:cubicBezTo>
                  <a:pt x="5741800" y="873169"/>
                  <a:pt x="5718880" y="896090"/>
                  <a:pt x="5690606" y="896090"/>
                </a:cubicBezTo>
                <a:cubicBezTo>
                  <a:pt x="5662334" y="896090"/>
                  <a:pt x="5639412" y="873169"/>
                  <a:pt x="5639412" y="844893"/>
                </a:cubicBezTo>
                <a:cubicBezTo>
                  <a:pt x="5639412" y="816620"/>
                  <a:pt x="5662334" y="793699"/>
                  <a:pt x="5690606" y="793699"/>
                </a:cubicBezTo>
                <a:close/>
                <a:moveTo>
                  <a:pt x="5844554" y="791156"/>
                </a:moveTo>
                <a:cubicBezTo>
                  <a:pt x="5873962" y="791156"/>
                  <a:pt x="5897928" y="815118"/>
                  <a:pt x="5897928" y="844530"/>
                </a:cubicBezTo>
                <a:cubicBezTo>
                  <a:pt x="5897928" y="873939"/>
                  <a:pt x="5873962" y="897901"/>
                  <a:pt x="5844554" y="897901"/>
                </a:cubicBezTo>
                <a:cubicBezTo>
                  <a:pt x="5815145" y="897901"/>
                  <a:pt x="5791180" y="873939"/>
                  <a:pt x="5791180" y="844530"/>
                </a:cubicBezTo>
                <a:cubicBezTo>
                  <a:pt x="5791180" y="815118"/>
                  <a:pt x="5815145" y="791156"/>
                  <a:pt x="5844554" y="791156"/>
                </a:cubicBezTo>
                <a:close/>
                <a:moveTo>
                  <a:pt x="5998139" y="788614"/>
                </a:moveTo>
                <a:cubicBezTo>
                  <a:pt x="6029362" y="788614"/>
                  <a:pt x="6054414" y="813665"/>
                  <a:pt x="6054414" y="844893"/>
                </a:cubicBezTo>
                <a:cubicBezTo>
                  <a:pt x="6054414" y="876116"/>
                  <a:pt x="6029362" y="901171"/>
                  <a:pt x="5998139" y="901171"/>
                </a:cubicBezTo>
                <a:cubicBezTo>
                  <a:pt x="5966912" y="901171"/>
                  <a:pt x="5941860" y="876116"/>
                  <a:pt x="5941860" y="844893"/>
                </a:cubicBezTo>
                <a:cubicBezTo>
                  <a:pt x="5941860" y="813665"/>
                  <a:pt x="5966912" y="788614"/>
                  <a:pt x="5998139" y="788614"/>
                </a:cubicBezTo>
                <a:close/>
                <a:moveTo>
                  <a:pt x="6152083" y="786075"/>
                </a:moveTo>
                <a:cubicBezTo>
                  <a:pt x="6184568" y="786075"/>
                  <a:pt x="6210904" y="812407"/>
                  <a:pt x="6210904" y="844896"/>
                </a:cubicBezTo>
                <a:cubicBezTo>
                  <a:pt x="6210904" y="877381"/>
                  <a:pt x="6184568" y="903714"/>
                  <a:pt x="6152083" y="903714"/>
                </a:cubicBezTo>
                <a:cubicBezTo>
                  <a:pt x="6119598" y="903714"/>
                  <a:pt x="6093265" y="877381"/>
                  <a:pt x="6093265" y="844896"/>
                </a:cubicBezTo>
                <a:cubicBezTo>
                  <a:pt x="6093265" y="812407"/>
                  <a:pt x="6119598" y="786075"/>
                  <a:pt x="6152083" y="786075"/>
                </a:cubicBezTo>
                <a:close/>
                <a:moveTo>
                  <a:pt x="6305672" y="783170"/>
                </a:moveTo>
                <a:cubicBezTo>
                  <a:pt x="6339762" y="783170"/>
                  <a:pt x="6367394" y="810807"/>
                  <a:pt x="6367394" y="844896"/>
                </a:cubicBezTo>
                <a:cubicBezTo>
                  <a:pt x="6367394" y="878982"/>
                  <a:pt x="6339762" y="906619"/>
                  <a:pt x="6305672" y="906619"/>
                </a:cubicBezTo>
                <a:cubicBezTo>
                  <a:pt x="6271582" y="906619"/>
                  <a:pt x="6243946" y="878982"/>
                  <a:pt x="6243946" y="844896"/>
                </a:cubicBezTo>
                <a:cubicBezTo>
                  <a:pt x="6243946" y="810807"/>
                  <a:pt x="6271582" y="783170"/>
                  <a:pt x="6305672" y="783170"/>
                </a:cubicBezTo>
                <a:close/>
                <a:moveTo>
                  <a:pt x="6459616" y="780628"/>
                </a:moveTo>
                <a:cubicBezTo>
                  <a:pt x="6495108" y="780628"/>
                  <a:pt x="6523884" y="809400"/>
                  <a:pt x="6523884" y="844893"/>
                </a:cubicBezTo>
                <a:cubicBezTo>
                  <a:pt x="6523884" y="880385"/>
                  <a:pt x="6495108" y="909161"/>
                  <a:pt x="6459616" y="909161"/>
                </a:cubicBezTo>
                <a:cubicBezTo>
                  <a:pt x="6424123" y="909161"/>
                  <a:pt x="6395350" y="880385"/>
                  <a:pt x="6395350" y="844893"/>
                </a:cubicBezTo>
                <a:cubicBezTo>
                  <a:pt x="6395350" y="809400"/>
                  <a:pt x="6424123" y="780628"/>
                  <a:pt x="6459616" y="780628"/>
                </a:cubicBezTo>
                <a:close/>
                <a:moveTo>
                  <a:pt x="6613197" y="777361"/>
                </a:moveTo>
                <a:cubicBezTo>
                  <a:pt x="6650496" y="777361"/>
                  <a:pt x="6680732" y="807597"/>
                  <a:pt x="6680732" y="844896"/>
                </a:cubicBezTo>
                <a:cubicBezTo>
                  <a:pt x="6680732" y="882192"/>
                  <a:pt x="6650496" y="912428"/>
                  <a:pt x="6613197" y="912428"/>
                </a:cubicBezTo>
                <a:cubicBezTo>
                  <a:pt x="6575902" y="912428"/>
                  <a:pt x="6545666" y="882192"/>
                  <a:pt x="6545666" y="844896"/>
                </a:cubicBezTo>
                <a:cubicBezTo>
                  <a:pt x="6545666" y="807597"/>
                  <a:pt x="6575902" y="777361"/>
                  <a:pt x="6613197" y="777361"/>
                </a:cubicBezTo>
                <a:close/>
                <a:moveTo>
                  <a:pt x="1384799" y="690583"/>
                </a:moveTo>
                <a:cubicBezTo>
                  <a:pt x="1385161" y="690583"/>
                  <a:pt x="1385161" y="690583"/>
                  <a:pt x="1385161" y="690945"/>
                </a:cubicBezTo>
                <a:cubicBezTo>
                  <a:pt x="1385161" y="691311"/>
                  <a:pt x="1384799" y="691311"/>
                  <a:pt x="1384799" y="691311"/>
                </a:cubicBezTo>
                <a:cubicBezTo>
                  <a:pt x="1384437" y="691311"/>
                  <a:pt x="1384437" y="691311"/>
                  <a:pt x="1384437" y="690945"/>
                </a:cubicBezTo>
                <a:cubicBezTo>
                  <a:pt x="1384437" y="690583"/>
                  <a:pt x="1384437" y="690583"/>
                  <a:pt x="1384799" y="690583"/>
                </a:cubicBezTo>
                <a:close/>
                <a:moveTo>
                  <a:pt x="923681" y="690583"/>
                </a:moveTo>
                <a:cubicBezTo>
                  <a:pt x="924043" y="690583"/>
                  <a:pt x="924043" y="690583"/>
                  <a:pt x="924043" y="690945"/>
                </a:cubicBezTo>
                <a:cubicBezTo>
                  <a:pt x="924043" y="691311"/>
                  <a:pt x="923681" y="691311"/>
                  <a:pt x="923681" y="691311"/>
                </a:cubicBezTo>
                <a:cubicBezTo>
                  <a:pt x="923319" y="691311"/>
                  <a:pt x="923319" y="691311"/>
                  <a:pt x="923319" y="690945"/>
                </a:cubicBezTo>
                <a:cubicBezTo>
                  <a:pt x="923319" y="690583"/>
                  <a:pt x="923319" y="690583"/>
                  <a:pt x="923681" y="690583"/>
                </a:cubicBezTo>
                <a:close/>
                <a:moveTo>
                  <a:pt x="769733" y="690583"/>
                </a:moveTo>
                <a:cubicBezTo>
                  <a:pt x="770096" y="690583"/>
                  <a:pt x="770096" y="690583"/>
                  <a:pt x="770096" y="690945"/>
                </a:cubicBezTo>
                <a:cubicBezTo>
                  <a:pt x="770096" y="691311"/>
                  <a:pt x="769733" y="691311"/>
                  <a:pt x="769733" y="691311"/>
                </a:cubicBezTo>
                <a:cubicBezTo>
                  <a:pt x="769371" y="691311"/>
                  <a:pt x="769371" y="691311"/>
                  <a:pt x="769371" y="690945"/>
                </a:cubicBezTo>
                <a:cubicBezTo>
                  <a:pt x="769371" y="690583"/>
                  <a:pt x="769371" y="690583"/>
                  <a:pt x="769733" y="690583"/>
                </a:cubicBezTo>
                <a:close/>
                <a:moveTo>
                  <a:pt x="616152" y="690221"/>
                </a:moveTo>
                <a:cubicBezTo>
                  <a:pt x="616552" y="690221"/>
                  <a:pt x="616876" y="690545"/>
                  <a:pt x="616876" y="690949"/>
                </a:cubicBezTo>
                <a:cubicBezTo>
                  <a:pt x="616876" y="691349"/>
                  <a:pt x="616552" y="691673"/>
                  <a:pt x="616152" y="691673"/>
                </a:cubicBezTo>
                <a:cubicBezTo>
                  <a:pt x="615748" y="691673"/>
                  <a:pt x="615424" y="691349"/>
                  <a:pt x="615424" y="690949"/>
                </a:cubicBezTo>
                <a:cubicBezTo>
                  <a:pt x="615424" y="690545"/>
                  <a:pt x="615748" y="690221"/>
                  <a:pt x="616152" y="690221"/>
                </a:cubicBezTo>
                <a:close/>
                <a:moveTo>
                  <a:pt x="1538746" y="689493"/>
                </a:moveTo>
                <a:cubicBezTo>
                  <a:pt x="1539547" y="689493"/>
                  <a:pt x="1540198" y="690145"/>
                  <a:pt x="1540198" y="690945"/>
                </a:cubicBezTo>
                <a:cubicBezTo>
                  <a:pt x="1540198" y="691746"/>
                  <a:pt x="1539547" y="692397"/>
                  <a:pt x="1538746" y="692397"/>
                </a:cubicBezTo>
                <a:cubicBezTo>
                  <a:pt x="1537942" y="692397"/>
                  <a:pt x="1537294" y="691746"/>
                  <a:pt x="1537294" y="690945"/>
                </a:cubicBezTo>
                <a:cubicBezTo>
                  <a:pt x="1537294" y="690145"/>
                  <a:pt x="1537942" y="689493"/>
                  <a:pt x="1538746" y="689493"/>
                </a:cubicBezTo>
                <a:close/>
                <a:moveTo>
                  <a:pt x="1692328" y="688768"/>
                </a:moveTo>
                <a:cubicBezTo>
                  <a:pt x="1693532" y="688768"/>
                  <a:pt x="1694508" y="689744"/>
                  <a:pt x="1694508" y="690949"/>
                </a:cubicBezTo>
                <a:cubicBezTo>
                  <a:pt x="1694508" y="692150"/>
                  <a:pt x="1693532" y="693126"/>
                  <a:pt x="1692328" y="693126"/>
                </a:cubicBezTo>
                <a:cubicBezTo>
                  <a:pt x="1691127" y="693126"/>
                  <a:pt x="1690151" y="692150"/>
                  <a:pt x="1690151" y="690949"/>
                </a:cubicBezTo>
                <a:cubicBezTo>
                  <a:pt x="1690151" y="689744"/>
                  <a:pt x="1691127" y="688768"/>
                  <a:pt x="1692328" y="688768"/>
                </a:cubicBezTo>
                <a:close/>
                <a:moveTo>
                  <a:pt x="1846279" y="688040"/>
                </a:moveTo>
                <a:cubicBezTo>
                  <a:pt x="1848093" y="688040"/>
                  <a:pt x="1849546" y="689493"/>
                  <a:pt x="1849546" y="691307"/>
                </a:cubicBezTo>
                <a:cubicBezTo>
                  <a:pt x="1849546" y="693122"/>
                  <a:pt x="1848093" y="694574"/>
                  <a:pt x="1846279" y="694574"/>
                </a:cubicBezTo>
                <a:cubicBezTo>
                  <a:pt x="1844464" y="694574"/>
                  <a:pt x="1843012" y="693122"/>
                  <a:pt x="1843012" y="691307"/>
                </a:cubicBezTo>
                <a:cubicBezTo>
                  <a:pt x="1843012" y="689493"/>
                  <a:pt x="1844464" y="688040"/>
                  <a:pt x="1846279" y="688040"/>
                </a:cubicBezTo>
                <a:close/>
                <a:moveTo>
                  <a:pt x="1999860" y="686588"/>
                </a:moveTo>
                <a:cubicBezTo>
                  <a:pt x="2002403" y="686588"/>
                  <a:pt x="2004217" y="688403"/>
                  <a:pt x="2004217" y="690945"/>
                </a:cubicBezTo>
                <a:cubicBezTo>
                  <a:pt x="2004217" y="693488"/>
                  <a:pt x="2002037" y="695302"/>
                  <a:pt x="1999860" y="695302"/>
                </a:cubicBezTo>
                <a:cubicBezTo>
                  <a:pt x="1997318" y="695302"/>
                  <a:pt x="1995503" y="693488"/>
                  <a:pt x="1995503" y="690945"/>
                </a:cubicBezTo>
                <a:cubicBezTo>
                  <a:pt x="1995503" y="688403"/>
                  <a:pt x="1997318" y="686588"/>
                  <a:pt x="1999860" y="686588"/>
                </a:cubicBezTo>
                <a:close/>
                <a:moveTo>
                  <a:pt x="2153811" y="685498"/>
                </a:moveTo>
                <a:cubicBezTo>
                  <a:pt x="2157078" y="685498"/>
                  <a:pt x="2159621" y="688040"/>
                  <a:pt x="2159621" y="691307"/>
                </a:cubicBezTo>
                <a:cubicBezTo>
                  <a:pt x="2159621" y="694574"/>
                  <a:pt x="2157078" y="697117"/>
                  <a:pt x="2153811" y="697117"/>
                </a:cubicBezTo>
                <a:cubicBezTo>
                  <a:pt x="2150545" y="697117"/>
                  <a:pt x="2148002" y="694574"/>
                  <a:pt x="2148002" y="691307"/>
                </a:cubicBezTo>
                <a:cubicBezTo>
                  <a:pt x="2148002" y="688040"/>
                  <a:pt x="2150545" y="685498"/>
                  <a:pt x="2153811" y="685498"/>
                </a:cubicBezTo>
                <a:close/>
                <a:moveTo>
                  <a:pt x="2307393" y="683683"/>
                </a:moveTo>
                <a:cubicBezTo>
                  <a:pt x="2311388" y="683683"/>
                  <a:pt x="2314655" y="686950"/>
                  <a:pt x="2314655" y="690945"/>
                </a:cubicBezTo>
                <a:cubicBezTo>
                  <a:pt x="2314655" y="694940"/>
                  <a:pt x="2311388" y="698207"/>
                  <a:pt x="2307393" y="698207"/>
                </a:cubicBezTo>
                <a:cubicBezTo>
                  <a:pt x="2303398" y="698207"/>
                  <a:pt x="2300131" y="694940"/>
                  <a:pt x="2300131" y="690945"/>
                </a:cubicBezTo>
                <a:cubicBezTo>
                  <a:pt x="2300131" y="686950"/>
                  <a:pt x="2303398" y="683683"/>
                  <a:pt x="2307393" y="683683"/>
                </a:cubicBezTo>
                <a:close/>
                <a:moveTo>
                  <a:pt x="2461340" y="681869"/>
                </a:moveTo>
                <a:cubicBezTo>
                  <a:pt x="2466425" y="681869"/>
                  <a:pt x="2470420" y="685864"/>
                  <a:pt x="2470420" y="690945"/>
                </a:cubicBezTo>
                <a:cubicBezTo>
                  <a:pt x="2470420" y="696030"/>
                  <a:pt x="2466425" y="700025"/>
                  <a:pt x="2461340" y="700025"/>
                </a:cubicBezTo>
                <a:cubicBezTo>
                  <a:pt x="2456259" y="700025"/>
                  <a:pt x="2452264" y="696030"/>
                  <a:pt x="2452264" y="690945"/>
                </a:cubicBezTo>
                <a:cubicBezTo>
                  <a:pt x="2452264" y="685864"/>
                  <a:pt x="2456259" y="681869"/>
                  <a:pt x="2461340" y="681869"/>
                </a:cubicBezTo>
                <a:close/>
                <a:moveTo>
                  <a:pt x="2614925" y="680779"/>
                </a:moveTo>
                <a:cubicBezTo>
                  <a:pt x="2620373" y="680779"/>
                  <a:pt x="2625092" y="685498"/>
                  <a:pt x="2625092" y="690945"/>
                </a:cubicBezTo>
                <a:cubicBezTo>
                  <a:pt x="2625092" y="696392"/>
                  <a:pt x="2620735" y="701111"/>
                  <a:pt x="2614925" y="701111"/>
                </a:cubicBezTo>
                <a:cubicBezTo>
                  <a:pt x="2609478" y="701111"/>
                  <a:pt x="2604759" y="696392"/>
                  <a:pt x="2604759" y="690945"/>
                </a:cubicBezTo>
                <a:cubicBezTo>
                  <a:pt x="2604759" y="685498"/>
                  <a:pt x="2609478" y="680779"/>
                  <a:pt x="2614925" y="680779"/>
                </a:cubicBezTo>
                <a:close/>
                <a:moveTo>
                  <a:pt x="2768873" y="678964"/>
                </a:moveTo>
                <a:cubicBezTo>
                  <a:pt x="2775410" y="678964"/>
                  <a:pt x="2780858" y="684412"/>
                  <a:pt x="2780858" y="690945"/>
                </a:cubicBezTo>
                <a:cubicBezTo>
                  <a:pt x="2780858" y="697482"/>
                  <a:pt x="2775410" y="702926"/>
                  <a:pt x="2768873" y="702926"/>
                </a:cubicBezTo>
                <a:cubicBezTo>
                  <a:pt x="2762339" y="702926"/>
                  <a:pt x="2756892" y="697482"/>
                  <a:pt x="2756892" y="690945"/>
                </a:cubicBezTo>
                <a:cubicBezTo>
                  <a:pt x="2756892" y="684412"/>
                  <a:pt x="2762339" y="678964"/>
                  <a:pt x="2768873" y="678964"/>
                </a:cubicBezTo>
                <a:close/>
                <a:moveTo>
                  <a:pt x="2922824" y="677150"/>
                </a:moveTo>
                <a:cubicBezTo>
                  <a:pt x="2930444" y="677150"/>
                  <a:pt x="2936619" y="683329"/>
                  <a:pt x="2936619" y="690949"/>
                </a:cubicBezTo>
                <a:cubicBezTo>
                  <a:pt x="2936619" y="698565"/>
                  <a:pt x="2930444" y="704744"/>
                  <a:pt x="2922824" y="704744"/>
                </a:cubicBezTo>
                <a:cubicBezTo>
                  <a:pt x="2915204" y="704744"/>
                  <a:pt x="2909025" y="698565"/>
                  <a:pt x="2909025" y="690949"/>
                </a:cubicBezTo>
                <a:cubicBezTo>
                  <a:pt x="2909025" y="683329"/>
                  <a:pt x="2915204" y="677150"/>
                  <a:pt x="2922824" y="677150"/>
                </a:cubicBezTo>
                <a:close/>
                <a:moveTo>
                  <a:pt x="3076402" y="675697"/>
                </a:moveTo>
                <a:cubicBezTo>
                  <a:pt x="3084826" y="675697"/>
                  <a:pt x="3091653" y="682525"/>
                  <a:pt x="3091653" y="690949"/>
                </a:cubicBezTo>
                <a:cubicBezTo>
                  <a:pt x="3091653" y="699369"/>
                  <a:pt x="3084826" y="706197"/>
                  <a:pt x="3076402" y="706197"/>
                </a:cubicBezTo>
                <a:cubicBezTo>
                  <a:pt x="3067981" y="706197"/>
                  <a:pt x="3061154" y="699369"/>
                  <a:pt x="3061154" y="690949"/>
                </a:cubicBezTo>
                <a:cubicBezTo>
                  <a:pt x="3061154" y="682525"/>
                  <a:pt x="3067981" y="675697"/>
                  <a:pt x="3076402" y="675697"/>
                </a:cubicBezTo>
                <a:close/>
                <a:moveTo>
                  <a:pt x="3230353" y="673883"/>
                </a:moveTo>
                <a:cubicBezTo>
                  <a:pt x="3239776" y="673883"/>
                  <a:pt x="3247419" y="681522"/>
                  <a:pt x="3247419" y="690949"/>
                </a:cubicBezTo>
                <a:cubicBezTo>
                  <a:pt x="3247419" y="700372"/>
                  <a:pt x="3239776" y="708015"/>
                  <a:pt x="3230353" y="708015"/>
                </a:cubicBezTo>
                <a:cubicBezTo>
                  <a:pt x="3220926" y="708015"/>
                  <a:pt x="3213287" y="700372"/>
                  <a:pt x="3213287" y="690949"/>
                </a:cubicBezTo>
                <a:cubicBezTo>
                  <a:pt x="3213287" y="681522"/>
                  <a:pt x="3220926" y="673883"/>
                  <a:pt x="3230353" y="673883"/>
                </a:cubicBezTo>
                <a:close/>
                <a:moveTo>
                  <a:pt x="3383934" y="671703"/>
                </a:moveTo>
                <a:cubicBezTo>
                  <a:pt x="3394566" y="671703"/>
                  <a:pt x="3403180" y="680318"/>
                  <a:pt x="3403180" y="690945"/>
                </a:cubicBezTo>
                <a:cubicBezTo>
                  <a:pt x="3403180" y="701573"/>
                  <a:pt x="3394566" y="710191"/>
                  <a:pt x="3383934" y="710191"/>
                </a:cubicBezTo>
                <a:cubicBezTo>
                  <a:pt x="3373307" y="710191"/>
                  <a:pt x="3364692" y="701573"/>
                  <a:pt x="3364692" y="690945"/>
                </a:cubicBezTo>
                <a:cubicBezTo>
                  <a:pt x="3364692" y="680318"/>
                  <a:pt x="3373307" y="671703"/>
                  <a:pt x="3383934" y="671703"/>
                </a:cubicBezTo>
                <a:close/>
                <a:moveTo>
                  <a:pt x="3537886" y="669526"/>
                </a:moveTo>
                <a:cubicBezTo>
                  <a:pt x="3549714" y="669526"/>
                  <a:pt x="3559308" y="679117"/>
                  <a:pt x="3559308" y="690949"/>
                </a:cubicBezTo>
                <a:cubicBezTo>
                  <a:pt x="3559308" y="702777"/>
                  <a:pt x="3549714" y="712372"/>
                  <a:pt x="3537886" y="712372"/>
                </a:cubicBezTo>
                <a:cubicBezTo>
                  <a:pt x="3526053" y="712372"/>
                  <a:pt x="3516462" y="702777"/>
                  <a:pt x="3516462" y="690949"/>
                </a:cubicBezTo>
                <a:cubicBezTo>
                  <a:pt x="3516462" y="679117"/>
                  <a:pt x="3526053" y="669526"/>
                  <a:pt x="3537886" y="669526"/>
                </a:cubicBezTo>
                <a:close/>
                <a:moveTo>
                  <a:pt x="3691471" y="668074"/>
                </a:moveTo>
                <a:cubicBezTo>
                  <a:pt x="3704104" y="668074"/>
                  <a:pt x="3714342" y="678316"/>
                  <a:pt x="3714342" y="690949"/>
                </a:cubicBezTo>
                <a:cubicBezTo>
                  <a:pt x="3714342" y="703582"/>
                  <a:pt x="3704104" y="713820"/>
                  <a:pt x="3691471" y="713820"/>
                </a:cubicBezTo>
                <a:cubicBezTo>
                  <a:pt x="3678838" y="713820"/>
                  <a:pt x="3668596" y="703582"/>
                  <a:pt x="3668596" y="690949"/>
                </a:cubicBezTo>
                <a:cubicBezTo>
                  <a:pt x="3668596" y="678316"/>
                  <a:pt x="3678838" y="668074"/>
                  <a:pt x="3691471" y="668074"/>
                </a:cubicBezTo>
                <a:close/>
                <a:moveTo>
                  <a:pt x="3845414" y="665893"/>
                </a:moveTo>
                <a:cubicBezTo>
                  <a:pt x="3859252" y="665893"/>
                  <a:pt x="3870470" y="677112"/>
                  <a:pt x="3870470" y="690945"/>
                </a:cubicBezTo>
                <a:cubicBezTo>
                  <a:pt x="3870470" y="704782"/>
                  <a:pt x="3859252" y="716001"/>
                  <a:pt x="3845414" y="716001"/>
                </a:cubicBezTo>
                <a:cubicBezTo>
                  <a:pt x="3831581" y="716001"/>
                  <a:pt x="3820362" y="704782"/>
                  <a:pt x="3820362" y="690945"/>
                </a:cubicBezTo>
                <a:cubicBezTo>
                  <a:pt x="3820362" y="677112"/>
                  <a:pt x="3831581" y="665893"/>
                  <a:pt x="3845414" y="665893"/>
                </a:cubicBezTo>
                <a:close/>
                <a:moveTo>
                  <a:pt x="3999000" y="663717"/>
                </a:moveTo>
                <a:cubicBezTo>
                  <a:pt x="4013885" y="663717"/>
                  <a:pt x="4026232" y="676063"/>
                  <a:pt x="4026232" y="690949"/>
                </a:cubicBezTo>
                <a:cubicBezTo>
                  <a:pt x="4026232" y="705834"/>
                  <a:pt x="4014247" y="718181"/>
                  <a:pt x="3999000" y="718181"/>
                </a:cubicBezTo>
                <a:cubicBezTo>
                  <a:pt x="3984114" y="718181"/>
                  <a:pt x="3971768" y="705834"/>
                  <a:pt x="3971768" y="690949"/>
                </a:cubicBezTo>
                <a:cubicBezTo>
                  <a:pt x="3971768" y="676063"/>
                  <a:pt x="3984114" y="663717"/>
                  <a:pt x="3999000" y="663717"/>
                </a:cubicBezTo>
                <a:close/>
                <a:moveTo>
                  <a:pt x="4152947" y="661174"/>
                </a:moveTo>
                <a:cubicBezTo>
                  <a:pt x="4169392" y="661174"/>
                  <a:pt x="4182722" y="674504"/>
                  <a:pt x="4182722" y="690949"/>
                </a:cubicBezTo>
                <a:cubicBezTo>
                  <a:pt x="4182722" y="707390"/>
                  <a:pt x="4169392" y="720720"/>
                  <a:pt x="4152947" y="720720"/>
                </a:cubicBezTo>
                <a:cubicBezTo>
                  <a:pt x="4136506" y="720720"/>
                  <a:pt x="4123176" y="707390"/>
                  <a:pt x="4123176" y="690949"/>
                </a:cubicBezTo>
                <a:cubicBezTo>
                  <a:pt x="4123176" y="674504"/>
                  <a:pt x="4136506" y="661174"/>
                  <a:pt x="4152947" y="661174"/>
                </a:cubicBezTo>
                <a:close/>
                <a:moveTo>
                  <a:pt x="4306532" y="658994"/>
                </a:moveTo>
                <a:cubicBezTo>
                  <a:pt x="4324178" y="658994"/>
                  <a:pt x="4338484" y="673300"/>
                  <a:pt x="4338484" y="690945"/>
                </a:cubicBezTo>
                <a:cubicBezTo>
                  <a:pt x="4338484" y="708590"/>
                  <a:pt x="4324178" y="722896"/>
                  <a:pt x="4306532" y="722896"/>
                </a:cubicBezTo>
                <a:cubicBezTo>
                  <a:pt x="4288887" y="722896"/>
                  <a:pt x="4274581" y="708590"/>
                  <a:pt x="4274581" y="690945"/>
                </a:cubicBezTo>
                <a:cubicBezTo>
                  <a:pt x="4274581" y="673300"/>
                  <a:pt x="4288887" y="658994"/>
                  <a:pt x="4306532" y="658994"/>
                </a:cubicBezTo>
                <a:close/>
                <a:moveTo>
                  <a:pt x="4460480" y="657179"/>
                </a:moveTo>
                <a:cubicBezTo>
                  <a:pt x="4479128" y="657179"/>
                  <a:pt x="4494250" y="672297"/>
                  <a:pt x="4494250" y="690945"/>
                </a:cubicBezTo>
                <a:cubicBezTo>
                  <a:pt x="4494250" y="709597"/>
                  <a:pt x="4479128" y="724715"/>
                  <a:pt x="4460480" y="724715"/>
                </a:cubicBezTo>
                <a:cubicBezTo>
                  <a:pt x="4441832" y="724715"/>
                  <a:pt x="4426714" y="709597"/>
                  <a:pt x="4426714" y="690945"/>
                </a:cubicBezTo>
                <a:cubicBezTo>
                  <a:pt x="4426714" y="672297"/>
                  <a:pt x="4441832" y="657179"/>
                  <a:pt x="4460480" y="657179"/>
                </a:cubicBezTo>
                <a:close/>
                <a:moveTo>
                  <a:pt x="4614061" y="654637"/>
                </a:moveTo>
                <a:cubicBezTo>
                  <a:pt x="4634032" y="654637"/>
                  <a:pt x="4650370" y="670975"/>
                  <a:pt x="4650370" y="690945"/>
                </a:cubicBezTo>
                <a:cubicBezTo>
                  <a:pt x="4650370" y="710916"/>
                  <a:pt x="4634032" y="727253"/>
                  <a:pt x="4614061" y="727253"/>
                </a:cubicBezTo>
                <a:cubicBezTo>
                  <a:pt x="4594090" y="727253"/>
                  <a:pt x="4577753" y="710916"/>
                  <a:pt x="4577753" y="690945"/>
                </a:cubicBezTo>
                <a:cubicBezTo>
                  <a:pt x="4577753" y="670975"/>
                  <a:pt x="4594090" y="654637"/>
                  <a:pt x="4614061" y="654637"/>
                </a:cubicBezTo>
                <a:close/>
                <a:moveTo>
                  <a:pt x="4768012" y="652094"/>
                </a:moveTo>
                <a:cubicBezTo>
                  <a:pt x="4789435" y="652094"/>
                  <a:pt x="4806860" y="669522"/>
                  <a:pt x="4806860" y="690945"/>
                </a:cubicBezTo>
                <a:cubicBezTo>
                  <a:pt x="4806860" y="712368"/>
                  <a:pt x="4789435" y="729796"/>
                  <a:pt x="4768012" y="729796"/>
                </a:cubicBezTo>
                <a:cubicBezTo>
                  <a:pt x="4746590" y="729796"/>
                  <a:pt x="4729162" y="712368"/>
                  <a:pt x="4729162" y="690945"/>
                </a:cubicBezTo>
                <a:cubicBezTo>
                  <a:pt x="4729162" y="669522"/>
                  <a:pt x="4746590" y="652094"/>
                  <a:pt x="4768012" y="652094"/>
                </a:cubicBezTo>
                <a:close/>
                <a:moveTo>
                  <a:pt x="4921594" y="649918"/>
                </a:moveTo>
                <a:cubicBezTo>
                  <a:pt x="4944469" y="649918"/>
                  <a:pt x="4962625" y="668074"/>
                  <a:pt x="4962625" y="690945"/>
                </a:cubicBezTo>
                <a:cubicBezTo>
                  <a:pt x="4962625" y="713820"/>
                  <a:pt x="4944107" y="731976"/>
                  <a:pt x="4921594" y="731976"/>
                </a:cubicBezTo>
                <a:cubicBezTo>
                  <a:pt x="4898722" y="731976"/>
                  <a:pt x="4880566" y="713820"/>
                  <a:pt x="4880566" y="690945"/>
                </a:cubicBezTo>
                <a:cubicBezTo>
                  <a:pt x="4880566" y="668074"/>
                  <a:pt x="4898722" y="649918"/>
                  <a:pt x="4921594" y="649918"/>
                </a:cubicBezTo>
                <a:close/>
                <a:moveTo>
                  <a:pt x="5075541" y="647375"/>
                </a:moveTo>
                <a:cubicBezTo>
                  <a:pt x="5099503" y="647375"/>
                  <a:pt x="5119111" y="666984"/>
                  <a:pt x="5119111" y="690945"/>
                </a:cubicBezTo>
                <a:cubicBezTo>
                  <a:pt x="5119111" y="714911"/>
                  <a:pt x="5099503" y="734515"/>
                  <a:pt x="5075541" y="734515"/>
                </a:cubicBezTo>
                <a:cubicBezTo>
                  <a:pt x="5051580" y="734515"/>
                  <a:pt x="5031971" y="714911"/>
                  <a:pt x="5031971" y="690945"/>
                </a:cubicBezTo>
                <a:cubicBezTo>
                  <a:pt x="5031971" y="666984"/>
                  <a:pt x="5051580" y="647375"/>
                  <a:pt x="5075541" y="647375"/>
                </a:cubicBezTo>
                <a:close/>
                <a:moveTo>
                  <a:pt x="5229126" y="644836"/>
                </a:moveTo>
                <a:cubicBezTo>
                  <a:pt x="5254540" y="644836"/>
                  <a:pt x="5275239" y="665531"/>
                  <a:pt x="5275239" y="690949"/>
                </a:cubicBezTo>
                <a:cubicBezTo>
                  <a:pt x="5275239" y="716363"/>
                  <a:pt x="5254540" y="737058"/>
                  <a:pt x="5229126" y="737058"/>
                </a:cubicBezTo>
                <a:cubicBezTo>
                  <a:pt x="5203708" y="737058"/>
                  <a:pt x="5183014" y="716363"/>
                  <a:pt x="5183014" y="690949"/>
                </a:cubicBezTo>
                <a:cubicBezTo>
                  <a:pt x="5183014" y="665531"/>
                  <a:pt x="5203708" y="644836"/>
                  <a:pt x="5229126" y="644836"/>
                </a:cubicBezTo>
                <a:close/>
                <a:moveTo>
                  <a:pt x="5383074" y="642294"/>
                </a:moveTo>
                <a:cubicBezTo>
                  <a:pt x="5409940" y="642294"/>
                  <a:pt x="5431725" y="664079"/>
                  <a:pt x="5431725" y="690949"/>
                </a:cubicBezTo>
                <a:cubicBezTo>
                  <a:pt x="5431725" y="717815"/>
                  <a:pt x="5409940" y="739600"/>
                  <a:pt x="5383074" y="739600"/>
                </a:cubicBezTo>
                <a:cubicBezTo>
                  <a:pt x="5356204" y="739600"/>
                  <a:pt x="5334419" y="717815"/>
                  <a:pt x="5334419" y="690949"/>
                </a:cubicBezTo>
                <a:cubicBezTo>
                  <a:pt x="5334419" y="664079"/>
                  <a:pt x="5356204" y="642294"/>
                  <a:pt x="5383074" y="642294"/>
                </a:cubicBezTo>
                <a:close/>
                <a:moveTo>
                  <a:pt x="5536659" y="639751"/>
                </a:moveTo>
                <a:cubicBezTo>
                  <a:pt x="5564978" y="639751"/>
                  <a:pt x="5587853" y="662626"/>
                  <a:pt x="5587853" y="690945"/>
                </a:cubicBezTo>
                <a:cubicBezTo>
                  <a:pt x="5587853" y="719268"/>
                  <a:pt x="5564978" y="742139"/>
                  <a:pt x="5536659" y="742139"/>
                </a:cubicBezTo>
                <a:cubicBezTo>
                  <a:pt x="5508336" y="742139"/>
                  <a:pt x="5485462" y="719268"/>
                  <a:pt x="5485462" y="690945"/>
                </a:cubicBezTo>
                <a:cubicBezTo>
                  <a:pt x="5485462" y="662626"/>
                  <a:pt x="5508336" y="639751"/>
                  <a:pt x="5536659" y="639751"/>
                </a:cubicBezTo>
                <a:close/>
                <a:moveTo>
                  <a:pt x="5690606" y="637571"/>
                </a:moveTo>
                <a:cubicBezTo>
                  <a:pt x="5720016" y="637571"/>
                  <a:pt x="5743980" y="661533"/>
                  <a:pt x="5743980" y="690945"/>
                </a:cubicBezTo>
                <a:cubicBezTo>
                  <a:pt x="5743980" y="720354"/>
                  <a:pt x="5720016" y="744319"/>
                  <a:pt x="5690606" y="744319"/>
                </a:cubicBezTo>
                <a:cubicBezTo>
                  <a:pt x="5661198" y="744319"/>
                  <a:pt x="5637232" y="720354"/>
                  <a:pt x="5637232" y="690945"/>
                </a:cubicBezTo>
                <a:cubicBezTo>
                  <a:pt x="5637232" y="661533"/>
                  <a:pt x="5661198" y="637571"/>
                  <a:pt x="5690606" y="637571"/>
                </a:cubicBezTo>
                <a:close/>
                <a:moveTo>
                  <a:pt x="5844554" y="634666"/>
                </a:moveTo>
                <a:cubicBezTo>
                  <a:pt x="5875777" y="634666"/>
                  <a:pt x="5900829" y="659718"/>
                  <a:pt x="5900829" y="690945"/>
                </a:cubicBezTo>
                <a:cubicBezTo>
                  <a:pt x="5900829" y="722168"/>
                  <a:pt x="5875777" y="747224"/>
                  <a:pt x="5844554" y="747224"/>
                </a:cubicBezTo>
                <a:cubicBezTo>
                  <a:pt x="5813327" y="747224"/>
                  <a:pt x="5788275" y="722168"/>
                  <a:pt x="5788275" y="690945"/>
                </a:cubicBezTo>
                <a:cubicBezTo>
                  <a:pt x="5788275" y="659718"/>
                  <a:pt x="5813327" y="634666"/>
                  <a:pt x="5844554" y="634666"/>
                </a:cubicBezTo>
                <a:close/>
                <a:moveTo>
                  <a:pt x="5998136" y="632128"/>
                </a:moveTo>
                <a:cubicBezTo>
                  <a:pt x="6030624" y="632128"/>
                  <a:pt x="6056957" y="658460"/>
                  <a:pt x="6056957" y="690949"/>
                </a:cubicBezTo>
                <a:cubicBezTo>
                  <a:pt x="6056957" y="723434"/>
                  <a:pt x="6030624" y="749767"/>
                  <a:pt x="5998136" y="749767"/>
                </a:cubicBezTo>
                <a:cubicBezTo>
                  <a:pt x="5965650" y="749767"/>
                  <a:pt x="5939318" y="723434"/>
                  <a:pt x="5939318" y="690949"/>
                </a:cubicBezTo>
                <a:cubicBezTo>
                  <a:pt x="5939318" y="658460"/>
                  <a:pt x="5965650" y="632128"/>
                  <a:pt x="5998136" y="632128"/>
                </a:cubicBezTo>
                <a:close/>
                <a:moveTo>
                  <a:pt x="6152083" y="629223"/>
                </a:moveTo>
                <a:cubicBezTo>
                  <a:pt x="6186172" y="629223"/>
                  <a:pt x="6213809" y="656859"/>
                  <a:pt x="6213809" y="690949"/>
                </a:cubicBezTo>
                <a:cubicBezTo>
                  <a:pt x="6213809" y="725035"/>
                  <a:pt x="6186172" y="752671"/>
                  <a:pt x="6152083" y="752671"/>
                </a:cubicBezTo>
                <a:cubicBezTo>
                  <a:pt x="6117993" y="752671"/>
                  <a:pt x="6090360" y="725035"/>
                  <a:pt x="6090360" y="690949"/>
                </a:cubicBezTo>
                <a:cubicBezTo>
                  <a:pt x="6090360" y="656859"/>
                  <a:pt x="6117993" y="629223"/>
                  <a:pt x="6152083" y="629223"/>
                </a:cubicBezTo>
                <a:close/>
                <a:moveTo>
                  <a:pt x="6305668" y="626680"/>
                </a:moveTo>
                <a:cubicBezTo>
                  <a:pt x="6341160" y="626680"/>
                  <a:pt x="6369933" y="655452"/>
                  <a:pt x="6369933" y="690945"/>
                </a:cubicBezTo>
                <a:cubicBezTo>
                  <a:pt x="6369933" y="726438"/>
                  <a:pt x="6341160" y="755214"/>
                  <a:pt x="6305668" y="755214"/>
                </a:cubicBezTo>
                <a:cubicBezTo>
                  <a:pt x="6270176" y="755214"/>
                  <a:pt x="6241400" y="726438"/>
                  <a:pt x="6241400" y="690945"/>
                </a:cubicBezTo>
                <a:cubicBezTo>
                  <a:pt x="6241400" y="655452"/>
                  <a:pt x="6270176" y="626680"/>
                  <a:pt x="6305668" y="626680"/>
                </a:cubicBezTo>
                <a:close/>
                <a:moveTo>
                  <a:pt x="6459619" y="623414"/>
                </a:moveTo>
                <a:cubicBezTo>
                  <a:pt x="6496915" y="623414"/>
                  <a:pt x="6527151" y="653650"/>
                  <a:pt x="6527151" y="690949"/>
                </a:cubicBezTo>
                <a:cubicBezTo>
                  <a:pt x="6527151" y="728245"/>
                  <a:pt x="6496915" y="758481"/>
                  <a:pt x="6459619" y="758481"/>
                </a:cubicBezTo>
                <a:cubicBezTo>
                  <a:pt x="6422320" y="758481"/>
                  <a:pt x="6392084" y="728245"/>
                  <a:pt x="6392084" y="690949"/>
                </a:cubicBezTo>
                <a:cubicBezTo>
                  <a:pt x="6392084" y="653650"/>
                  <a:pt x="6422320" y="623414"/>
                  <a:pt x="6459619" y="623414"/>
                </a:cubicBezTo>
                <a:close/>
                <a:moveTo>
                  <a:pt x="6613200" y="620871"/>
                </a:moveTo>
                <a:cubicBezTo>
                  <a:pt x="6651903" y="620871"/>
                  <a:pt x="6683275" y="652243"/>
                  <a:pt x="6683275" y="690945"/>
                </a:cubicBezTo>
                <a:cubicBezTo>
                  <a:pt x="6683275" y="729647"/>
                  <a:pt x="6651903" y="761023"/>
                  <a:pt x="6613200" y="761023"/>
                </a:cubicBezTo>
                <a:cubicBezTo>
                  <a:pt x="6574498" y="761023"/>
                  <a:pt x="6543126" y="729647"/>
                  <a:pt x="6543126" y="690945"/>
                </a:cubicBezTo>
                <a:cubicBezTo>
                  <a:pt x="6543126" y="652243"/>
                  <a:pt x="6574498" y="620871"/>
                  <a:pt x="6613200" y="620871"/>
                </a:cubicBezTo>
                <a:close/>
                <a:moveTo>
                  <a:pt x="1231213" y="536998"/>
                </a:moveTo>
                <a:cubicBezTo>
                  <a:pt x="1231576" y="536998"/>
                  <a:pt x="1231576" y="536998"/>
                  <a:pt x="1231576" y="537360"/>
                </a:cubicBezTo>
                <a:cubicBezTo>
                  <a:pt x="1231576" y="537726"/>
                  <a:pt x="1231213" y="537726"/>
                  <a:pt x="1231213" y="537726"/>
                </a:cubicBezTo>
                <a:cubicBezTo>
                  <a:pt x="1230851" y="537726"/>
                  <a:pt x="1230851" y="537726"/>
                  <a:pt x="1230851" y="537360"/>
                </a:cubicBezTo>
                <a:cubicBezTo>
                  <a:pt x="1230851" y="536998"/>
                  <a:pt x="1230851" y="536998"/>
                  <a:pt x="1231213" y="536998"/>
                </a:cubicBezTo>
                <a:close/>
                <a:moveTo>
                  <a:pt x="769733" y="536998"/>
                </a:moveTo>
                <a:cubicBezTo>
                  <a:pt x="770096" y="536998"/>
                  <a:pt x="770096" y="536998"/>
                  <a:pt x="770096" y="537360"/>
                </a:cubicBezTo>
                <a:cubicBezTo>
                  <a:pt x="770096" y="537726"/>
                  <a:pt x="769733" y="537726"/>
                  <a:pt x="769733" y="537726"/>
                </a:cubicBezTo>
                <a:cubicBezTo>
                  <a:pt x="769371" y="537726"/>
                  <a:pt x="769371" y="537726"/>
                  <a:pt x="769371" y="537360"/>
                </a:cubicBezTo>
                <a:cubicBezTo>
                  <a:pt x="769371" y="536998"/>
                  <a:pt x="769371" y="536998"/>
                  <a:pt x="769733" y="536998"/>
                </a:cubicBezTo>
                <a:close/>
                <a:moveTo>
                  <a:pt x="616148" y="536998"/>
                </a:moveTo>
                <a:cubicBezTo>
                  <a:pt x="616514" y="536998"/>
                  <a:pt x="616514" y="536998"/>
                  <a:pt x="616514" y="537360"/>
                </a:cubicBezTo>
                <a:cubicBezTo>
                  <a:pt x="616514" y="537726"/>
                  <a:pt x="616148" y="537726"/>
                  <a:pt x="616148" y="537726"/>
                </a:cubicBezTo>
                <a:cubicBezTo>
                  <a:pt x="615786" y="537726"/>
                  <a:pt x="615786" y="537726"/>
                  <a:pt x="615786" y="537360"/>
                </a:cubicBezTo>
                <a:cubicBezTo>
                  <a:pt x="615786" y="536998"/>
                  <a:pt x="615786" y="536998"/>
                  <a:pt x="616148" y="536998"/>
                </a:cubicBezTo>
                <a:close/>
                <a:moveTo>
                  <a:pt x="462205" y="536636"/>
                </a:moveTo>
                <a:cubicBezTo>
                  <a:pt x="462605" y="536636"/>
                  <a:pt x="462929" y="536960"/>
                  <a:pt x="462929" y="537364"/>
                </a:cubicBezTo>
                <a:cubicBezTo>
                  <a:pt x="462929" y="537764"/>
                  <a:pt x="462605" y="538088"/>
                  <a:pt x="462205" y="538088"/>
                </a:cubicBezTo>
                <a:cubicBezTo>
                  <a:pt x="461801" y="538088"/>
                  <a:pt x="461476" y="537764"/>
                  <a:pt x="461476" y="537364"/>
                </a:cubicBezTo>
                <a:cubicBezTo>
                  <a:pt x="461476" y="536960"/>
                  <a:pt x="461801" y="536636"/>
                  <a:pt x="462205" y="536636"/>
                </a:cubicBezTo>
                <a:close/>
                <a:moveTo>
                  <a:pt x="1384799" y="535911"/>
                </a:moveTo>
                <a:cubicBezTo>
                  <a:pt x="1385599" y="535911"/>
                  <a:pt x="1386251" y="536563"/>
                  <a:pt x="1386251" y="537364"/>
                </a:cubicBezTo>
                <a:cubicBezTo>
                  <a:pt x="1386251" y="538164"/>
                  <a:pt x="1385599" y="538816"/>
                  <a:pt x="1384799" y="538816"/>
                </a:cubicBezTo>
                <a:cubicBezTo>
                  <a:pt x="1383994" y="538816"/>
                  <a:pt x="1383346" y="538164"/>
                  <a:pt x="1383346" y="537364"/>
                </a:cubicBezTo>
                <a:cubicBezTo>
                  <a:pt x="1383346" y="536563"/>
                  <a:pt x="1383994" y="535911"/>
                  <a:pt x="1384799" y="535911"/>
                </a:cubicBezTo>
                <a:close/>
                <a:moveTo>
                  <a:pt x="308257" y="535545"/>
                </a:moveTo>
                <a:cubicBezTo>
                  <a:pt x="308985" y="535545"/>
                  <a:pt x="309710" y="536273"/>
                  <a:pt x="309710" y="536998"/>
                </a:cubicBezTo>
                <a:lnTo>
                  <a:pt x="309634" y="537073"/>
                </a:lnTo>
                <a:lnTo>
                  <a:pt x="308175" y="535627"/>
                </a:lnTo>
                <a:close/>
                <a:moveTo>
                  <a:pt x="1538750" y="535183"/>
                </a:moveTo>
                <a:cubicBezTo>
                  <a:pt x="1539951" y="535183"/>
                  <a:pt x="1540927" y="536159"/>
                  <a:pt x="1540927" y="537364"/>
                </a:cubicBezTo>
                <a:cubicBezTo>
                  <a:pt x="1540927" y="538564"/>
                  <a:pt x="1539951" y="539540"/>
                  <a:pt x="1538750" y="539540"/>
                </a:cubicBezTo>
                <a:cubicBezTo>
                  <a:pt x="1537545" y="539540"/>
                  <a:pt x="1536570" y="538564"/>
                  <a:pt x="1536570" y="537364"/>
                </a:cubicBezTo>
                <a:cubicBezTo>
                  <a:pt x="1536570" y="536159"/>
                  <a:pt x="1537545" y="535183"/>
                  <a:pt x="1538750" y="535183"/>
                </a:cubicBezTo>
                <a:close/>
                <a:moveTo>
                  <a:pt x="1692328" y="534093"/>
                </a:moveTo>
                <a:cubicBezTo>
                  <a:pt x="1694146" y="534093"/>
                  <a:pt x="1695594" y="535545"/>
                  <a:pt x="1695594" y="537360"/>
                </a:cubicBezTo>
                <a:cubicBezTo>
                  <a:pt x="1695594" y="539178"/>
                  <a:pt x="1694146" y="540630"/>
                  <a:pt x="1692328" y="540630"/>
                </a:cubicBezTo>
                <a:cubicBezTo>
                  <a:pt x="1690513" y="540630"/>
                  <a:pt x="1689061" y="539178"/>
                  <a:pt x="1689061" y="537360"/>
                </a:cubicBezTo>
                <a:cubicBezTo>
                  <a:pt x="1689061" y="535545"/>
                  <a:pt x="1690513" y="534093"/>
                  <a:pt x="1692328" y="534093"/>
                </a:cubicBezTo>
                <a:close/>
                <a:moveTo>
                  <a:pt x="1846279" y="532641"/>
                </a:moveTo>
                <a:cubicBezTo>
                  <a:pt x="1848818" y="532641"/>
                  <a:pt x="1850636" y="534455"/>
                  <a:pt x="1850636" y="536998"/>
                </a:cubicBezTo>
                <a:cubicBezTo>
                  <a:pt x="1850636" y="539540"/>
                  <a:pt x="1848455" y="541355"/>
                  <a:pt x="1846279" y="541355"/>
                </a:cubicBezTo>
                <a:cubicBezTo>
                  <a:pt x="1843736" y="541355"/>
                  <a:pt x="1841922" y="539540"/>
                  <a:pt x="1841922" y="536998"/>
                </a:cubicBezTo>
                <a:cubicBezTo>
                  <a:pt x="1841922" y="534455"/>
                  <a:pt x="1843736" y="532641"/>
                  <a:pt x="1846279" y="532641"/>
                </a:cubicBezTo>
                <a:close/>
                <a:moveTo>
                  <a:pt x="1999860" y="531554"/>
                </a:moveTo>
                <a:cubicBezTo>
                  <a:pt x="2003127" y="531554"/>
                  <a:pt x="2005670" y="534097"/>
                  <a:pt x="2005670" y="537364"/>
                </a:cubicBezTo>
                <a:cubicBezTo>
                  <a:pt x="2005670" y="540630"/>
                  <a:pt x="2003127" y="543173"/>
                  <a:pt x="1999860" y="543173"/>
                </a:cubicBezTo>
                <a:cubicBezTo>
                  <a:pt x="1996593" y="543173"/>
                  <a:pt x="1994051" y="540630"/>
                  <a:pt x="1994051" y="537364"/>
                </a:cubicBezTo>
                <a:cubicBezTo>
                  <a:pt x="1994051" y="534097"/>
                  <a:pt x="1996593" y="531554"/>
                  <a:pt x="1999860" y="531554"/>
                </a:cubicBezTo>
                <a:close/>
                <a:moveTo>
                  <a:pt x="2153808" y="530102"/>
                </a:moveTo>
                <a:cubicBezTo>
                  <a:pt x="2157802" y="530102"/>
                  <a:pt x="2161069" y="533369"/>
                  <a:pt x="2161069" y="537364"/>
                </a:cubicBezTo>
                <a:cubicBezTo>
                  <a:pt x="2161069" y="541359"/>
                  <a:pt x="2157802" y="544625"/>
                  <a:pt x="2153808" y="544625"/>
                </a:cubicBezTo>
                <a:cubicBezTo>
                  <a:pt x="2149813" y="544625"/>
                  <a:pt x="2146546" y="541359"/>
                  <a:pt x="2146546" y="537364"/>
                </a:cubicBezTo>
                <a:cubicBezTo>
                  <a:pt x="2146546" y="533369"/>
                  <a:pt x="2149813" y="530102"/>
                  <a:pt x="2153808" y="530102"/>
                </a:cubicBezTo>
                <a:close/>
                <a:moveTo>
                  <a:pt x="2307393" y="527922"/>
                </a:moveTo>
                <a:cubicBezTo>
                  <a:pt x="2312478" y="527922"/>
                  <a:pt x="2316473" y="531916"/>
                  <a:pt x="2316473" y="536998"/>
                </a:cubicBezTo>
                <a:cubicBezTo>
                  <a:pt x="2316473" y="542083"/>
                  <a:pt x="2312478" y="546078"/>
                  <a:pt x="2307393" y="546078"/>
                </a:cubicBezTo>
                <a:cubicBezTo>
                  <a:pt x="2302312" y="546078"/>
                  <a:pt x="2298317" y="542083"/>
                  <a:pt x="2298317" y="536998"/>
                </a:cubicBezTo>
                <a:cubicBezTo>
                  <a:pt x="2298317" y="531916"/>
                  <a:pt x="2302312" y="527922"/>
                  <a:pt x="2307393" y="527922"/>
                </a:cubicBezTo>
                <a:close/>
                <a:moveTo>
                  <a:pt x="2461340" y="527197"/>
                </a:moveTo>
                <a:cubicBezTo>
                  <a:pt x="2466787" y="527197"/>
                  <a:pt x="2471507" y="531916"/>
                  <a:pt x="2471507" y="537364"/>
                </a:cubicBezTo>
                <a:cubicBezTo>
                  <a:pt x="2471507" y="542811"/>
                  <a:pt x="2467150" y="547530"/>
                  <a:pt x="2461340" y="547530"/>
                </a:cubicBezTo>
                <a:cubicBezTo>
                  <a:pt x="2455893" y="547530"/>
                  <a:pt x="2451174" y="542811"/>
                  <a:pt x="2451174" y="537364"/>
                </a:cubicBezTo>
                <a:cubicBezTo>
                  <a:pt x="2451174" y="531916"/>
                  <a:pt x="2455893" y="527197"/>
                  <a:pt x="2461340" y="527197"/>
                </a:cubicBezTo>
                <a:close/>
                <a:moveTo>
                  <a:pt x="2614925" y="525379"/>
                </a:moveTo>
                <a:cubicBezTo>
                  <a:pt x="2621463" y="525379"/>
                  <a:pt x="2626910" y="530826"/>
                  <a:pt x="2626910" y="537360"/>
                </a:cubicBezTo>
                <a:cubicBezTo>
                  <a:pt x="2626910" y="543897"/>
                  <a:pt x="2621463" y="549341"/>
                  <a:pt x="2614925" y="549341"/>
                </a:cubicBezTo>
                <a:cubicBezTo>
                  <a:pt x="2608392" y="549341"/>
                  <a:pt x="2602945" y="543897"/>
                  <a:pt x="2602945" y="537360"/>
                </a:cubicBezTo>
                <a:cubicBezTo>
                  <a:pt x="2602945" y="530826"/>
                  <a:pt x="2608392" y="525379"/>
                  <a:pt x="2614925" y="525379"/>
                </a:cubicBezTo>
                <a:close/>
                <a:moveTo>
                  <a:pt x="2768877" y="523202"/>
                </a:moveTo>
                <a:cubicBezTo>
                  <a:pt x="2776501" y="523202"/>
                  <a:pt x="2782672" y="529374"/>
                  <a:pt x="2782672" y="537002"/>
                </a:cubicBezTo>
                <a:cubicBezTo>
                  <a:pt x="2782672" y="544625"/>
                  <a:pt x="2776501" y="550797"/>
                  <a:pt x="2768877" y="550797"/>
                </a:cubicBezTo>
                <a:cubicBezTo>
                  <a:pt x="2761249" y="550797"/>
                  <a:pt x="2755078" y="544625"/>
                  <a:pt x="2755078" y="537002"/>
                </a:cubicBezTo>
                <a:cubicBezTo>
                  <a:pt x="2755078" y="529374"/>
                  <a:pt x="2761249" y="523202"/>
                  <a:pt x="2768877" y="523202"/>
                </a:cubicBezTo>
                <a:close/>
                <a:moveTo>
                  <a:pt x="2922454" y="522112"/>
                </a:moveTo>
                <a:cubicBezTo>
                  <a:pt x="2930878" y="522112"/>
                  <a:pt x="2937706" y="528939"/>
                  <a:pt x="2937706" y="537364"/>
                </a:cubicBezTo>
                <a:cubicBezTo>
                  <a:pt x="2937706" y="545784"/>
                  <a:pt x="2930878" y="552611"/>
                  <a:pt x="2922454" y="552611"/>
                </a:cubicBezTo>
                <a:cubicBezTo>
                  <a:pt x="2914034" y="552611"/>
                  <a:pt x="2907207" y="545784"/>
                  <a:pt x="2907207" y="537364"/>
                </a:cubicBezTo>
                <a:cubicBezTo>
                  <a:pt x="2907207" y="528939"/>
                  <a:pt x="2914034" y="522112"/>
                  <a:pt x="2922454" y="522112"/>
                </a:cubicBezTo>
                <a:close/>
                <a:moveTo>
                  <a:pt x="3076406" y="520298"/>
                </a:moveTo>
                <a:cubicBezTo>
                  <a:pt x="3085844" y="520298"/>
                  <a:pt x="3093468" y="527922"/>
                  <a:pt x="3093468" y="537364"/>
                </a:cubicBezTo>
                <a:cubicBezTo>
                  <a:pt x="3093468" y="546802"/>
                  <a:pt x="3085844" y="554430"/>
                  <a:pt x="3076406" y="554430"/>
                </a:cubicBezTo>
                <a:cubicBezTo>
                  <a:pt x="3066963" y="554430"/>
                  <a:pt x="3059340" y="546802"/>
                  <a:pt x="3059340" y="537364"/>
                </a:cubicBezTo>
                <a:cubicBezTo>
                  <a:pt x="3059340" y="527922"/>
                  <a:pt x="3066963" y="520298"/>
                  <a:pt x="3076406" y="520298"/>
                </a:cubicBezTo>
                <a:close/>
                <a:moveTo>
                  <a:pt x="3230353" y="518117"/>
                </a:moveTo>
                <a:cubicBezTo>
                  <a:pt x="3240980" y="518117"/>
                  <a:pt x="3249599" y="526732"/>
                  <a:pt x="3249599" y="537360"/>
                </a:cubicBezTo>
                <a:cubicBezTo>
                  <a:pt x="3249599" y="547987"/>
                  <a:pt x="3240980" y="556602"/>
                  <a:pt x="3230353" y="556602"/>
                </a:cubicBezTo>
                <a:cubicBezTo>
                  <a:pt x="3219725" y="556602"/>
                  <a:pt x="3211110" y="547987"/>
                  <a:pt x="3211110" y="537360"/>
                </a:cubicBezTo>
                <a:cubicBezTo>
                  <a:pt x="3211110" y="526732"/>
                  <a:pt x="3219725" y="518117"/>
                  <a:pt x="3230353" y="518117"/>
                </a:cubicBezTo>
                <a:close/>
                <a:moveTo>
                  <a:pt x="3383938" y="515941"/>
                </a:moveTo>
                <a:cubicBezTo>
                  <a:pt x="3395766" y="515941"/>
                  <a:pt x="3405361" y="525532"/>
                  <a:pt x="3405361" y="537364"/>
                </a:cubicBezTo>
                <a:cubicBezTo>
                  <a:pt x="3405361" y="549192"/>
                  <a:pt x="3395766" y="558787"/>
                  <a:pt x="3383938" y="558787"/>
                </a:cubicBezTo>
                <a:cubicBezTo>
                  <a:pt x="3372106" y="558787"/>
                  <a:pt x="3362515" y="549192"/>
                  <a:pt x="3362515" y="537364"/>
                </a:cubicBezTo>
                <a:cubicBezTo>
                  <a:pt x="3362515" y="525532"/>
                  <a:pt x="3372106" y="515941"/>
                  <a:pt x="3383938" y="515941"/>
                </a:cubicBezTo>
                <a:close/>
                <a:moveTo>
                  <a:pt x="3537886" y="514489"/>
                </a:moveTo>
                <a:cubicBezTo>
                  <a:pt x="3550518" y="514489"/>
                  <a:pt x="3560761" y="524731"/>
                  <a:pt x="3560761" y="537364"/>
                </a:cubicBezTo>
                <a:cubicBezTo>
                  <a:pt x="3560761" y="549996"/>
                  <a:pt x="3550518" y="560239"/>
                  <a:pt x="3537886" y="560239"/>
                </a:cubicBezTo>
                <a:cubicBezTo>
                  <a:pt x="3525253" y="560239"/>
                  <a:pt x="3515010" y="549996"/>
                  <a:pt x="3515010" y="537364"/>
                </a:cubicBezTo>
                <a:cubicBezTo>
                  <a:pt x="3515010" y="524731"/>
                  <a:pt x="3525253" y="514489"/>
                  <a:pt x="3537886" y="514489"/>
                </a:cubicBezTo>
                <a:close/>
                <a:moveTo>
                  <a:pt x="3691467" y="512308"/>
                </a:moveTo>
                <a:cubicBezTo>
                  <a:pt x="3705304" y="512308"/>
                  <a:pt x="3716519" y="523526"/>
                  <a:pt x="3716519" y="537360"/>
                </a:cubicBezTo>
                <a:cubicBezTo>
                  <a:pt x="3716519" y="551197"/>
                  <a:pt x="3705304" y="562412"/>
                  <a:pt x="3691467" y="562412"/>
                </a:cubicBezTo>
                <a:cubicBezTo>
                  <a:pt x="3677630" y="562412"/>
                  <a:pt x="3666415" y="551197"/>
                  <a:pt x="3666415" y="537360"/>
                </a:cubicBezTo>
                <a:cubicBezTo>
                  <a:pt x="3666415" y="523523"/>
                  <a:pt x="3677630" y="512308"/>
                  <a:pt x="3691467" y="512308"/>
                </a:cubicBezTo>
                <a:close/>
                <a:moveTo>
                  <a:pt x="3845418" y="510131"/>
                </a:moveTo>
                <a:cubicBezTo>
                  <a:pt x="3860456" y="510131"/>
                  <a:pt x="3872650" y="522322"/>
                  <a:pt x="3872650" y="537364"/>
                </a:cubicBezTo>
                <a:cubicBezTo>
                  <a:pt x="3872650" y="552402"/>
                  <a:pt x="3860456" y="564596"/>
                  <a:pt x="3845418" y="564596"/>
                </a:cubicBezTo>
                <a:cubicBezTo>
                  <a:pt x="3830376" y="564596"/>
                  <a:pt x="3818186" y="552402"/>
                  <a:pt x="3818186" y="537364"/>
                </a:cubicBezTo>
                <a:cubicBezTo>
                  <a:pt x="3818186" y="522322"/>
                  <a:pt x="3830376" y="510131"/>
                  <a:pt x="3845418" y="510131"/>
                </a:cubicBezTo>
                <a:close/>
                <a:moveTo>
                  <a:pt x="3999000" y="507589"/>
                </a:moveTo>
                <a:cubicBezTo>
                  <a:pt x="4015444" y="507589"/>
                  <a:pt x="4028774" y="520919"/>
                  <a:pt x="4028774" y="537364"/>
                </a:cubicBezTo>
                <a:cubicBezTo>
                  <a:pt x="4028774" y="553804"/>
                  <a:pt x="4015444" y="567135"/>
                  <a:pt x="3999000" y="567135"/>
                </a:cubicBezTo>
                <a:cubicBezTo>
                  <a:pt x="3982559" y="567135"/>
                  <a:pt x="3969229" y="553804"/>
                  <a:pt x="3969229" y="537364"/>
                </a:cubicBezTo>
                <a:cubicBezTo>
                  <a:pt x="3969229" y="520919"/>
                  <a:pt x="3982559" y="507589"/>
                  <a:pt x="3999000" y="507589"/>
                </a:cubicBezTo>
                <a:close/>
                <a:moveTo>
                  <a:pt x="4152947" y="505412"/>
                </a:moveTo>
                <a:cubicBezTo>
                  <a:pt x="4170592" y="505412"/>
                  <a:pt x="4184898" y="519718"/>
                  <a:pt x="4184898" y="537364"/>
                </a:cubicBezTo>
                <a:cubicBezTo>
                  <a:pt x="4184898" y="555009"/>
                  <a:pt x="4170592" y="569315"/>
                  <a:pt x="4152947" y="569315"/>
                </a:cubicBezTo>
                <a:cubicBezTo>
                  <a:pt x="4135302" y="569315"/>
                  <a:pt x="4120996" y="555009"/>
                  <a:pt x="4120996" y="537364"/>
                </a:cubicBezTo>
                <a:cubicBezTo>
                  <a:pt x="4120996" y="519718"/>
                  <a:pt x="4135302" y="505412"/>
                  <a:pt x="4152947" y="505412"/>
                </a:cubicBezTo>
                <a:close/>
                <a:moveTo>
                  <a:pt x="4306532" y="503594"/>
                </a:moveTo>
                <a:cubicBezTo>
                  <a:pt x="4325184" y="503594"/>
                  <a:pt x="4340302" y="518712"/>
                  <a:pt x="4340302" y="537360"/>
                </a:cubicBezTo>
                <a:cubicBezTo>
                  <a:pt x="4340302" y="556012"/>
                  <a:pt x="4325184" y="571130"/>
                  <a:pt x="4306532" y="571130"/>
                </a:cubicBezTo>
                <a:cubicBezTo>
                  <a:pt x="4287884" y="571130"/>
                  <a:pt x="4272766" y="556012"/>
                  <a:pt x="4272766" y="537360"/>
                </a:cubicBezTo>
                <a:cubicBezTo>
                  <a:pt x="4272766" y="518712"/>
                  <a:pt x="4287884" y="503594"/>
                  <a:pt x="4306532" y="503594"/>
                </a:cubicBezTo>
                <a:close/>
                <a:moveTo>
                  <a:pt x="4460480" y="500689"/>
                </a:moveTo>
                <a:cubicBezTo>
                  <a:pt x="4480450" y="500689"/>
                  <a:pt x="4496788" y="517027"/>
                  <a:pt x="4496788" y="536998"/>
                </a:cubicBezTo>
                <a:cubicBezTo>
                  <a:pt x="4496788" y="556968"/>
                  <a:pt x="4480450" y="573306"/>
                  <a:pt x="4460480" y="573306"/>
                </a:cubicBezTo>
                <a:cubicBezTo>
                  <a:pt x="4440509" y="573306"/>
                  <a:pt x="4424172" y="556968"/>
                  <a:pt x="4424172" y="536998"/>
                </a:cubicBezTo>
                <a:cubicBezTo>
                  <a:pt x="4424172" y="517027"/>
                  <a:pt x="4440509" y="500689"/>
                  <a:pt x="4460480" y="500689"/>
                </a:cubicBezTo>
                <a:close/>
                <a:moveTo>
                  <a:pt x="4614065" y="498513"/>
                </a:moveTo>
                <a:cubicBezTo>
                  <a:pt x="4635484" y="498513"/>
                  <a:pt x="4652912" y="515941"/>
                  <a:pt x="4652912" y="537364"/>
                </a:cubicBezTo>
                <a:cubicBezTo>
                  <a:pt x="4652912" y="558787"/>
                  <a:pt x="4635484" y="576215"/>
                  <a:pt x="4614065" y="576215"/>
                </a:cubicBezTo>
                <a:cubicBezTo>
                  <a:pt x="4592642" y="576215"/>
                  <a:pt x="4575214" y="558787"/>
                  <a:pt x="4575214" y="537364"/>
                </a:cubicBezTo>
                <a:cubicBezTo>
                  <a:pt x="4575214" y="515941"/>
                  <a:pt x="4592642" y="498513"/>
                  <a:pt x="4614065" y="498513"/>
                </a:cubicBezTo>
                <a:close/>
                <a:moveTo>
                  <a:pt x="4768008" y="495970"/>
                </a:moveTo>
                <a:cubicBezTo>
                  <a:pt x="4790884" y="495970"/>
                  <a:pt x="4809036" y="514126"/>
                  <a:pt x="4809036" y="536998"/>
                </a:cubicBezTo>
                <a:cubicBezTo>
                  <a:pt x="4809036" y="559873"/>
                  <a:pt x="4790522" y="578029"/>
                  <a:pt x="4768008" y="578029"/>
                </a:cubicBezTo>
                <a:cubicBezTo>
                  <a:pt x="4745137" y="578029"/>
                  <a:pt x="4726981" y="559873"/>
                  <a:pt x="4726981" y="536998"/>
                </a:cubicBezTo>
                <a:cubicBezTo>
                  <a:pt x="4726981" y="514126"/>
                  <a:pt x="4745137" y="495970"/>
                  <a:pt x="4768008" y="495970"/>
                </a:cubicBezTo>
                <a:close/>
                <a:moveTo>
                  <a:pt x="4921594" y="493428"/>
                </a:moveTo>
                <a:cubicBezTo>
                  <a:pt x="4945556" y="493428"/>
                  <a:pt x="4965164" y="513032"/>
                  <a:pt x="4965164" y="536998"/>
                </a:cubicBezTo>
                <a:cubicBezTo>
                  <a:pt x="4965164" y="560959"/>
                  <a:pt x="4945556" y="580568"/>
                  <a:pt x="4921594" y="580568"/>
                </a:cubicBezTo>
                <a:cubicBezTo>
                  <a:pt x="4897628" y="580568"/>
                  <a:pt x="4878024" y="560959"/>
                  <a:pt x="4878024" y="536998"/>
                </a:cubicBezTo>
                <a:cubicBezTo>
                  <a:pt x="4878024" y="513032"/>
                  <a:pt x="4897628" y="493428"/>
                  <a:pt x="4921594" y="493428"/>
                </a:cubicBezTo>
                <a:close/>
                <a:moveTo>
                  <a:pt x="5075541" y="490889"/>
                </a:moveTo>
                <a:cubicBezTo>
                  <a:pt x="5100955" y="490889"/>
                  <a:pt x="5121654" y="511584"/>
                  <a:pt x="5121654" y="537002"/>
                </a:cubicBezTo>
                <a:cubicBezTo>
                  <a:pt x="5121654" y="562416"/>
                  <a:pt x="5100955" y="583110"/>
                  <a:pt x="5075541" y="583110"/>
                </a:cubicBezTo>
                <a:cubicBezTo>
                  <a:pt x="5050124" y="583110"/>
                  <a:pt x="5029428" y="562416"/>
                  <a:pt x="5029428" y="537002"/>
                </a:cubicBezTo>
                <a:cubicBezTo>
                  <a:pt x="5029428" y="511584"/>
                  <a:pt x="5050124" y="490889"/>
                  <a:pt x="5075541" y="490889"/>
                </a:cubicBezTo>
                <a:close/>
                <a:moveTo>
                  <a:pt x="5229122" y="488709"/>
                </a:moveTo>
                <a:cubicBezTo>
                  <a:pt x="5255992" y="488709"/>
                  <a:pt x="5277778" y="510494"/>
                  <a:pt x="5277778" y="537364"/>
                </a:cubicBezTo>
                <a:cubicBezTo>
                  <a:pt x="5277778" y="564230"/>
                  <a:pt x="5255992" y="586015"/>
                  <a:pt x="5229122" y="586015"/>
                </a:cubicBezTo>
                <a:cubicBezTo>
                  <a:pt x="5202256" y="586015"/>
                  <a:pt x="5180472" y="564230"/>
                  <a:pt x="5180472" y="537364"/>
                </a:cubicBezTo>
                <a:cubicBezTo>
                  <a:pt x="5180472" y="510494"/>
                  <a:pt x="5202256" y="488709"/>
                  <a:pt x="5229122" y="488709"/>
                </a:cubicBezTo>
                <a:close/>
                <a:moveTo>
                  <a:pt x="5383074" y="486166"/>
                </a:moveTo>
                <a:cubicBezTo>
                  <a:pt x="5411396" y="486166"/>
                  <a:pt x="5434268" y="509041"/>
                  <a:pt x="5434268" y="537360"/>
                </a:cubicBezTo>
                <a:cubicBezTo>
                  <a:pt x="5434268" y="565682"/>
                  <a:pt x="5411396" y="588554"/>
                  <a:pt x="5383074" y="588554"/>
                </a:cubicBezTo>
                <a:cubicBezTo>
                  <a:pt x="5354755" y="588554"/>
                  <a:pt x="5331880" y="565682"/>
                  <a:pt x="5331880" y="537360"/>
                </a:cubicBezTo>
                <a:cubicBezTo>
                  <a:pt x="5331880" y="509041"/>
                  <a:pt x="5354755" y="486166"/>
                  <a:pt x="5383074" y="486166"/>
                </a:cubicBezTo>
                <a:close/>
                <a:moveTo>
                  <a:pt x="5536659" y="483624"/>
                </a:moveTo>
                <a:cubicBezTo>
                  <a:pt x="5566068" y="483624"/>
                  <a:pt x="5590034" y="507585"/>
                  <a:pt x="5590034" y="536998"/>
                </a:cubicBezTo>
                <a:cubicBezTo>
                  <a:pt x="5590034" y="566407"/>
                  <a:pt x="5566068" y="590372"/>
                  <a:pt x="5536659" y="590372"/>
                </a:cubicBezTo>
                <a:cubicBezTo>
                  <a:pt x="5507250" y="590372"/>
                  <a:pt x="5483285" y="566407"/>
                  <a:pt x="5483285" y="536998"/>
                </a:cubicBezTo>
                <a:cubicBezTo>
                  <a:pt x="5483285" y="507585"/>
                  <a:pt x="5507250" y="483624"/>
                  <a:pt x="5536659" y="483624"/>
                </a:cubicBezTo>
                <a:close/>
                <a:moveTo>
                  <a:pt x="5690606" y="481085"/>
                </a:moveTo>
                <a:cubicBezTo>
                  <a:pt x="5721830" y="481085"/>
                  <a:pt x="5746882" y="506137"/>
                  <a:pt x="5746882" y="537364"/>
                </a:cubicBezTo>
                <a:cubicBezTo>
                  <a:pt x="5746882" y="568587"/>
                  <a:pt x="5721830" y="593643"/>
                  <a:pt x="5690606" y="593643"/>
                </a:cubicBezTo>
                <a:cubicBezTo>
                  <a:pt x="5659380" y="593643"/>
                  <a:pt x="5634328" y="568587"/>
                  <a:pt x="5634328" y="537364"/>
                </a:cubicBezTo>
                <a:cubicBezTo>
                  <a:pt x="5634328" y="506137"/>
                  <a:pt x="5659380" y="481085"/>
                  <a:pt x="5690606" y="481085"/>
                </a:cubicBezTo>
                <a:close/>
                <a:moveTo>
                  <a:pt x="5844554" y="478542"/>
                </a:moveTo>
                <a:cubicBezTo>
                  <a:pt x="5877039" y="478542"/>
                  <a:pt x="5903372" y="504875"/>
                  <a:pt x="5903372" y="537364"/>
                </a:cubicBezTo>
                <a:cubicBezTo>
                  <a:pt x="5903372" y="569849"/>
                  <a:pt x="5877039" y="596181"/>
                  <a:pt x="5844554" y="596181"/>
                </a:cubicBezTo>
                <a:cubicBezTo>
                  <a:pt x="5812065" y="596181"/>
                  <a:pt x="5785732" y="569849"/>
                  <a:pt x="5785732" y="537364"/>
                </a:cubicBezTo>
                <a:cubicBezTo>
                  <a:pt x="5785732" y="504875"/>
                  <a:pt x="5812065" y="478542"/>
                  <a:pt x="5844554" y="478542"/>
                </a:cubicBezTo>
                <a:close/>
                <a:moveTo>
                  <a:pt x="5998136" y="475638"/>
                </a:moveTo>
                <a:cubicBezTo>
                  <a:pt x="6032225" y="475638"/>
                  <a:pt x="6059862" y="503274"/>
                  <a:pt x="6059862" y="537364"/>
                </a:cubicBezTo>
                <a:cubicBezTo>
                  <a:pt x="6059862" y="571450"/>
                  <a:pt x="6032225" y="599086"/>
                  <a:pt x="5998136" y="599086"/>
                </a:cubicBezTo>
                <a:cubicBezTo>
                  <a:pt x="5964046" y="599086"/>
                  <a:pt x="5936413" y="571450"/>
                  <a:pt x="5936413" y="537364"/>
                </a:cubicBezTo>
                <a:cubicBezTo>
                  <a:pt x="5936413" y="503274"/>
                  <a:pt x="5964046" y="475638"/>
                  <a:pt x="5998136" y="475638"/>
                </a:cubicBezTo>
                <a:close/>
                <a:moveTo>
                  <a:pt x="6152083" y="473095"/>
                </a:moveTo>
                <a:cubicBezTo>
                  <a:pt x="6187576" y="473095"/>
                  <a:pt x="6216348" y="501867"/>
                  <a:pt x="6216348" y="537360"/>
                </a:cubicBezTo>
                <a:cubicBezTo>
                  <a:pt x="6216348" y="572852"/>
                  <a:pt x="6187576" y="601625"/>
                  <a:pt x="6152083" y="601625"/>
                </a:cubicBezTo>
                <a:cubicBezTo>
                  <a:pt x="6116590" y="601625"/>
                  <a:pt x="6087818" y="572852"/>
                  <a:pt x="6087818" y="537360"/>
                </a:cubicBezTo>
                <a:cubicBezTo>
                  <a:pt x="6087818" y="501867"/>
                  <a:pt x="6116590" y="473095"/>
                  <a:pt x="6152083" y="473095"/>
                </a:cubicBezTo>
                <a:close/>
                <a:moveTo>
                  <a:pt x="6305672" y="469828"/>
                </a:moveTo>
                <a:cubicBezTo>
                  <a:pt x="6342968" y="469828"/>
                  <a:pt x="6373204" y="500064"/>
                  <a:pt x="6373204" y="537364"/>
                </a:cubicBezTo>
                <a:cubicBezTo>
                  <a:pt x="6373204" y="574659"/>
                  <a:pt x="6342968" y="604895"/>
                  <a:pt x="6305672" y="604895"/>
                </a:cubicBezTo>
                <a:cubicBezTo>
                  <a:pt x="6268372" y="604895"/>
                  <a:pt x="6238136" y="574659"/>
                  <a:pt x="6238136" y="537364"/>
                </a:cubicBezTo>
                <a:cubicBezTo>
                  <a:pt x="6238136" y="500064"/>
                  <a:pt x="6268372" y="469828"/>
                  <a:pt x="6305672" y="469828"/>
                </a:cubicBezTo>
                <a:close/>
                <a:moveTo>
                  <a:pt x="6459616" y="467286"/>
                </a:moveTo>
                <a:cubicBezTo>
                  <a:pt x="6498318" y="467286"/>
                  <a:pt x="6529694" y="498658"/>
                  <a:pt x="6529694" y="537360"/>
                </a:cubicBezTo>
                <a:cubicBezTo>
                  <a:pt x="6529694" y="576062"/>
                  <a:pt x="6498318" y="607434"/>
                  <a:pt x="6459616" y="607434"/>
                </a:cubicBezTo>
                <a:cubicBezTo>
                  <a:pt x="6420913" y="607434"/>
                  <a:pt x="6389542" y="576062"/>
                  <a:pt x="6389542" y="537360"/>
                </a:cubicBezTo>
                <a:cubicBezTo>
                  <a:pt x="6389542" y="498658"/>
                  <a:pt x="6420913" y="467286"/>
                  <a:pt x="6459616" y="467286"/>
                </a:cubicBezTo>
                <a:close/>
                <a:moveTo>
                  <a:pt x="6613200" y="464381"/>
                </a:moveTo>
                <a:cubicBezTo>
                  <a:pt x="6653508" y="464381"/>
                  <a:pt x="6686180" y="497057"/>
                  <a:pt x="6686180" y="537360"/>
                </a:cubicBezTo>
                <a:cubicBezTo>
                  <a:pt x="6686180" y="577667"/>
                  <a:pt x="6653508" y="610339"/>
                  <a:pt x="6613200" y="610339"/>
                </a:cubicBezTo>
                <a:cubicBezTo>
                  <a:pt x="6572894" y="610339"/>
                  <a:pt x="6540222" y="577667"/>
                  <a:pt x="6540222" y="537360"/>
                </a:cubicBezTo>
                <a:cubicBezTo>
                  <a:pt x="6540222" y="497057"/>
                  <a:pt x="6572894" y="464381"/>
                  <a:pt x="6613200" y="464381"/>
                </a:cubicBezTo>
                <a:close/>
                <a:moveTo>
                  <a:pt x="1077266" y="383050"/>
                </a:moveTo>
                <a:cubicBezTo>
                  <a:pt x="1077468" y="383050"/>
                  <a:pt x="1077628" y="383214"/>
                  <a:pt x="1077628" y="383412"/>
                </a:cubicBezTo>
                <a:cubicBezTo>
                  <a:pt x="1077628" y="383614"/>
                  <a:pt x="1077468" y="383778"/>
                  <a:pt x="1077266" y="383778"/>
                </a:cubicBezTo>
                <a:cubicBezTo>
                  <a:pt x="1077068" y="383778"/>
                  <a:pt x="1076904" y="383614"/>
                  <a:pt x="1076904" y="383412"/>
                </a:cubicBezTo>
                <a:cubicBezTo>
                  <a:pt x="1076904" y="383214"/>
                  <a:pt x="1077068" y="383050"/>
                  <a:pt x="1077266" y="383050"/>
                </a:cubicBezTo>
                <a:close/>
                <a:moveTo>
                  <a:pt x="616148" y="383050"/>
                </a:moveTo>
                <a:cubicBezTo>
                  <a:pt x="616514" y="383050"/>
                  <a:pt x="616514" y="383050"/>
                  <a:pt x="616514" y="383412"/>
                </a:cubicBezTo>
                <a:cubicBezTo>
                  <a:pt x="616514" y="383775"/>
                  <a:pt x="616148" y="383775"/>
                  <a:pt x="616148" y="383775"/>
                </a:cubicBezTo>
                <a:cubicBezTo>
                  <a:pt x="615786" y="383775"/>
                  <a:pt x="615786" y="383775"/>
                  <a:pt x="615786" y="383412"/>
                </a:cubicBezTo>
                <a:cubicBezTo>
                  <a:pt x="615786" y="383050"/>
                  <a:pt x="615786" y="383050"/>
                  <a:pt x="616148" y="383050"/>
                </a:cubicBezTo>
                <a:close/>
                <a:moveTo>
                  <a:pt x="462205" y="383050"/>
                </a:moveTo>
                <a:cubicBezTo>
                  <a:pt x="462567" y="383050"/>
                  <a:pt x="462567" y="383050"/>
                  <a:pt x="462567" y="383412"/>
                </a:cubicBezTo>
                <a:cubicBezTo>
                  <a:pt x="462567" y="383775"/>
                  <a:pt x="462205" y="383775"/>
                  <a:pt x="462205" y="383775"/>
                </a:cubicBezTo>
                <a:cubicBezTo>
                  <a:pt x="461842" y="383775"/>
                  <a:pt x="461842" y="383775"/>
                  <a:pt x="461842" y="383412"/>
                </a:cubicBezTo>
                <a:cubicBezTo>
                  <a:pt x="461842" y="383050"/>
                  <a:pt x="461842" y="383050"/>
                  <a:pt x="462205" y="383050"/>
                </a:cubicBezTo>
                <a:close/>
                <a:moveTo>
                  <a:pt x="308623" y="382688"/>
                </a:moveTo>
                <a:cubicBezTo>
                  <a:pt x="309023" y="382688"/>
                  <a:pt x="309347" y="383012"/>
                  <a:pt x="309347" y="383416"/>
                </a:cubicBezTo>
                <a:cubicBezTo>
                  <a:pt x="309347" y="383817"/>
                  <a:pt x="309023" y="384141"/>
                  <a:pt x="308623" y="384141"/>
                </a:cubicBezTo>
                <a:cubicBezTo>
                  <a:pt x="308219" y="384141"/>
                  <a:pt x="307895" y="383817"/>
                  <a:pt x="307895" y="383416"/>
                </a:cubicBezTo>
                <a:cubicBezTo>
                  <a:pt x="307895" y="383012"/>
                  <a:pt x="308219" y="382688"/>
                  <a:pt x="308623" y="382688"/>
                </a:cubicBezTo>
                <a:close/>
                <a:moveTo>
                  <a:pt x="1231213" y="381964"/>
                </a:moveTo>
                <a:cubicBezTo>
                  <a:pt x="1232014" y="381964"/>
                  <a:pt x="1232666" y="382616"/>
                  <a:pt x="1232666" y="383416"/>
                </a:cubicBezTo>
                <a:cubicBezTo>
                  <a:pt x="1232666" y="384217"/>
                  <a:pt x="1232014" y="384869"/>
                  <a:pt x="1231213" y="384869"/>
                </a:cubicBezTo>
                <a:cubicBezTo>
                  <a:pt x="1230409" y="384869"/>
                  <a:pt x="1229761" y="384217"/>
                  <a:pt x="1229761" y="383416"/>
                </a:cubicBezTo>
                <a:cubicBezTo>
                  <a:pt x="1229761" y="382616"/>
                  <a:pt x="1230409" y="381964"/>
                  <a:pt x="1231213" y="381964"/>
                </a:cubicBezTo>
                <a:close/>
                <a:moveTo>
                  <a:pt x="154672" y="381964"/>
                </a:moveTo>
                <a:cubicBezTo>
                  <a:pt x="155396" y="381964"/>
                  <a:pt x="156124" y="382688"/>
                  <a:pt x="156124" y="383416"/>
                </a:cubicBezTo>
                <a:lnTo>
                  <a:pt x="155343" y="384197"/>
                </a:lnTo>
                <a:lnTo>
                  <a:pt x="153884" y="382752"/>
                </a:lnTo>
                <a:close/>
                <a:moveTo>
                  <a:pt x="1384799" y="381236"/>
                </a:moveTo>
                <a:cubicBezTo>
                  <a:pt x="1386003" y="381236"/>
                  <a:pt x="1386979" y="382212"/>
                  <a:pt x="1386979" y="383416"/>
                </a:cubicBezTo>
                <a:cubicBezTo>
                  <a:pt x="1386979" y="384617"/>
                  <a:pt x="1386003" y="385593"/>
                  <a:pt x="1384799" y="385593"/>
                </a:cubicBezTo>
                <a:cubicBezTo>
                  <a:pt x="1383598" y="385593"/>
                  <a:pt x="1382622" y="384617"/>
                  <a:pt x="1382622" y="383416"/>
                </a:cubicBezTo>
                <a:cubicBezTo>
                  <a:pt x="1382622" y="382212"/>
                  <a:pt x="1383598" y="381236"/>
                  <a:pt x="1384799" y="381236"/>
                </a:cubicBezTo>
                <a:close/>
                <a:moveTo>
                  <a:pt x="1538746" y="380508"/>
                </a:moveTo>
                <a:cubicBezTo>
                  <a:pt x="1540561" y="380508"/>
                  <a:pt x="1542013" y="381960"/>
                  <a:pt x="1542013" y="383775"/>
                </a:cubicBezTo>
                <a:cubicBezTo>
                  <a:pt x="1542013" y="385593"/>
                  <a:pt x="1540561" y="387045"/>
                  <a:pt x="1538746" y="387045"/>
                </a:cubicBezTo>
                <a:cubicBezTo>
                  <a:pt x="1536932" y="387045"/>
                  <a:pt x="1535479" y="385593"/>
                  <a:pt x="1535479" y="383775"/>
                </a:cubicBezTo>
                <a:cubicBezTo>
                  <a:pt x="1535479" y="381960"/>
                  <a:pt x="1536932" y="380508"/>
                  <a:pt x="1538746" y="380508"/>
                </a:cubicBezTo>
                <a:close/>
                <a:moveTo>
                  <a:pt x="1692331" y="379055"/>
                </a:moveTo>
                <a:cubicBezTo>
                  <a:pt x="1694874" y="379055"/>
                  <a:pt x="1696688" y="380870"/>
                  <a:pt x="1696688" y="383412"/>
                </a:cubicBezTo>
                <a:cubicBezTo>
                  <a:pt x="1696688" y="385955"/>
                  <a:pt x="1694508" y="387770"/>
                  <a:pt x="1692331" y="387770"/>
                </a:cubicBezTo>
                <a:cubicBezTo>
                  <a:pt x="1689789" y="387770"/>
                  <a:pt x="1687974" y="385955"/>
                  <a:pt x="1687974" y="383412"/>
                </a:cubicBezTo>
                <a:cubicBezTo>
                  <a:pt x="1687974" y="380870"/>
                  <a:pt x="1689789" y="379055"/>
                  <a:pt x="1692331" y="379055"/>
                </a:cubicBezTo>
                <a:close/>
                <a:moveTo>
                  <a:pt x="1846279" y="377607"/>
                </a:moveTo>
                <a:cubicBezTo>
                  <a:pt x="1849488" y="377607"/>
                  <a:pt x="1852088" y="380207"/>
                  <a:pt x="1852088" y="383416"/>
                </a:cubicBezTo>
                <a:cubicBezTo>
                  <a:pt x="1852088" y="386626"/>
                  <a:pt x="1849488" y="389226"/>
                  <a:pt x="1846279" y="389226"/>
                </a:cubicBezTo>
                <a:cubicBezTo>
                  <a:pt x="1843069" y="389226"/>
                  <a:pt x="1840469" y="386626"/>
                  <a:pt x="1840469" y="383416"/>
                </a:cubicBezTo>
                <a:cubicBezTo>
                  <a:pt x="1840469" y="380207"/>
                  <a:pt x="1843069" y="377607"/>
                  <a:pt x="1846279" y="377607"/>
                </a:cubicBezTo>
                <a:close/>
                <a:moveTo>
                  <a:pt x="1999864" y="376151"/>
                </a:moveTo>
                <a:cubicBezTo>
                  <a:pt x="2003859" y="376151"/>
                  <a:pt x="2007126" y="379418"/>
                  <a:pt x="2007126" y="383412"/>
                </a:cubicBezTo>
                <a:cubicBezTo>
                  <a:pt x="2007126" y="387407"/>
                  <a:pt x="2003859" y="390674"/>
                  <a:pt x="1999864" y="390674"/>
                </a:cubicBezTo>
                <a:cubicBezTo>
                  <a:pt x="1995869" y="390674"/>
                  <a:pt x="1992602" y="387407"/>
                  <a:pt x="1992602" y="383412"/>
                </a:cubicBezTo>
                <a:cubicBezTo>
                  <a:pt x="1992602" y="379418"/>
                  <a:pt x="1995869" y="376151"/>
                  <a:pt x="1999864" y="376151"/>
                </a:cubicBezTo>
                <a:close/>
                <a:moveTo>
                  <a:pt x="2153808" y="374336"/>
                </a:moveTo>
                <a:cubicBezTo>
                  <a:pt x="2158893" y="374336"/>
                  <a:pt x="2162888" y="378331"/>
                  <a:pt x="2162888" y="383412"/>
                </a:cubicBezTo>
                <a:cubicBezTo>
                  <a:pt x="2162888" y="388498"/>
                  <a:pt x="2158893" y="392492"/>
                  <a:pt x="2153808" y="392492"/>
                </a:cubicBezTo>
                <a:cubicBezTo>
                  <a:pt x="2148726" y="392492"/>
                  <a:pt x="2144731" y="388498"/>
                  <a:pt x="2144731" y="383412"/>
                </a:cubicBezTo>
                <a:cubicBezTo>
                  <a:pt x="2144731" y="378331"/>
                  <a:pt x="2148726" y="374336"/>
                  <a:pt x="2153808" y="374336"/>
                </a:cubicBezTo>
                <a:close/>
                <a:moveTo>
                  <a:pt x="2307393" y="373246"/>
                </a:moveTo>
                <a:cubicBezTo>
                  <a:pt x="2312840" y="373246"/>
                  <a:pt x="2317559" y="377965"/>
                  <a:pt x="2317559" y="383412"/>
                </a:cubicBezTo>
                <a:cubicBezTo>
                  <a:pt x="2317559" y="388860"/>
                  <a:pt x="2313202" y="393579"/>
                  <a:pt x="2307393" y="393579"/>
                </a:cubicBezTo>
                <a:cubicBezTo>
                  <a:pt x="2301946" y="393579"/>
                  <a:pt x="2297226" y="388860"/>
                  <a:pt x="2297226" y="383412"/>
                </a:cubicBezTo>
                <a:cubicBezTo>
                  <a:pt x="2297226" y="377965"/>
                  <a:pt x="2301946" y="373246"/>
                  <a:pt x="2307393" y="373246"/>
                </a:cubicBezTo>
                <a:close/>
                <a:moveTo>
                  <a:pt x="2461340" y="371432"/>
                </a:moveTo>
                <a:cubicBezTo>
                  <a:pt x="2467878" y="371432"/>
                  <a:pt x="2473325" y="376879"/>
                  <a:pt x="2473325" y="383412"/>
                </a:cubicBezTo>
                <a:cubicBezTo>
                  <a:pt x="2473325" y="389950"/>
                  <a:pt x="2467878" y="395397"/>
                  <a:pt x="2461340" y="395397"/>
                </a:cubicBezTo>
                <a:cubicBezTo>
                  <a:pt x="2454807" y="395397"/>
                  <a:pt x="2449359" y="389950"/>
                  <a:pt x="2449359" y="383412"/>
                </a:cubicBezTo>
                <a:cubicBezTo>
                  <a:pt x="2449359" y="376879"/>
                  <a:pt x="2454807" y="371432"/>
                  <a:pt x="2461340" y="371432"/>
                </a:cubicBezTo>
                <a:close/>
                <a:moveTo>
                  <a:pt x="2614925" y="369617"/>
                </a:moveTo>
                <a:cubicBezTo>
                  <a:pt x="2622549" y="369617"/>
                  <a:pt x="2628721" y="375789"/>
                  <a:pt x="2628721" y="383416"/>
                </a:cubicBezTo>
                <a:cubicBezTo>
                  <a:pt x="2628721" y="391040"/>
                  <a:pt x="2622549" y="397212"/>
                  <a:pt x="2614925" y="397212"/>
                </a:cubicBezTo>
                <a:cubicBezTo>
                  <a:pt x="2607298" y="397212"/>
                  <a:pt x="2601126" y="391040"/>
                  <a:pt x="2601126" y="383416"/>
                </a:cubicBezTo>
                <a:cubicBezTo>
                  <a:pt x="2601126" y="375789"/>
                  <a:pt x="2607298" y="369617"/>
                  <a:pt x="2614925" y="369617"/>
                </a:cubicBezTo>
                <a:close/>
                <a:moveTo>
                  <a:pt x="2768873" y="368165"/>
                </a:moveTo>
                <a:cubicBezTo>
                  <a:pt x="2777297" y="368165"/>
                  <a:pt x="2784124" y="374992"/>
                  <a:pt x="2784124" y="383416"/>
                </a:cubicBezTo>
                <a:cubicBezTo>
                  <a:pt x="2784124" y="391837"/>
                  <a:pt x="2777297" y="398664"/>
                  <a:pt x="2768873" y="398664"/>
                </a:cubicBezTo>
                <a:cubicBezTo>
                  <a:pt x="2760452" y="398664"/>
                  <a:pt x="2753625" y="391837"/>
                  <a:pt x="2753625" y="383416"/>
                </a:cubicBezTo>
                <a:cubicBezTo>
                  <a:pt x="2753625" y="374992"/>
                  <a:pt x="2760452" y="368165"/>
                  <a:pt x="2768873" y="368165"/>
                </a:cubicBezTo>
                <a:close/>
                <a:moveTo>
                  <a:pt x="2922458" y="366350"/>
                </a:moveTo>
                <a:cubicBezTo>
                  <a:pt x="2931896" y="366350"/>
                  <a:pt x="2939524" y="373974"/>
                  <a:pt x="2939524" y="383416"/>
                </a:cubicBezTo>
                <a:cubicBezTo>
                  <a:pt x="2939524" y="392854"/>
                  <a:pt x="2931896" y="400478"/>
                  <a:pt x="2922458" y="400478"/>
                </a:cubicBezTo>
                <a:cubicBezTo>
                  <a:pt x="2913016" y="400478"/>
                  <a:pt x="2905392" y="392854"/>
                  <a:pt x="2905392" y="383416"/>
                </a:cubicBezTo>
                <a:cubicBezTo>
                  <a:pt x="2905392" y="373974"/>
                  <a:pt x="2913016" y="366350"/>
                  <a:pt x="2922458" y="366350"/>
                </a:cubicBezTo>
                <a:close/>
                <a:moveTo>
                  <a:pt x="3076406" y="364170"/>
                </a:moveTo>
                <a:cubicBezTo>
                  <a:pt x="3087037" y="364170"/>
                  <a:pt x="3095652" y="372785"/>
                  <a:pt x="3095652" y="383412"/>
                </a:cubicBezTo>
                <a:cubicBezTo>
                  <a:pt x="3095652" y="394040"/>
                  <a:pt x="3087037" y="402659"/>
                  <a:pt x="3076406" y="402659"/>
                </a:cubicBezTo>
                <a:cubicBezTo>
                  <a:pt x="3065778" y="402659"/>
                  <a:pt x="3057163" y="394040"/>
                  <a:pt x="3057163" y="383412"/>
                </a:cubicBezTo>
                <a:cubicBezTo>
                  <a:pt x="3057163" y="372785"/>
                  <a:pt x="3065778" y="364170"/>
                  <a:pt x="3076406" y="364170"/>
                </a:cubicBezTo>
                <a:close/>
                <a:moveTo>
                  <a:pt x="3230353" y="361993"/>
                </a:moveTo>
                <a:cubicBezTo>
                  <a:pt x="3242181" y="361993"/>
                  <a:pt x="3251776" y="371584"/>
                  <a:pt x="3251776" y="383416"/>
                </a:cubicBezTo>
                <a:cubicBezTo>
                  <a:pt x="3251776" y="395245"/>
                  <a:pt x="3242181" y="404839"/>
                  <a:pt x="3230353" y="404839"/>
                </a:cubicBezTo>
                <a:cubicBezTo>
                  <a:pt x="3218521" y="404839"/>
                  <a:pt x="3208930" y="395245"/>
                  <a:pt x="3208930" y="383416"/>
                </a:cubicBezTo>
                <a:cubicBezTo>
                  <a:pt x="3208930" y="371584"/>
                  <a:pt x="3218521" y="361993"/>
                  <a:pt x="3230353" y="361993"/>
                </a:cubicBezTo>
                <a:close/>
                <a:moveTo>
                  <a:pt x="3383938" y="360541"/>
                </a:moveTo>
                <a:cubicBezTo>
                  <a:pt x="3396571" y="360541"/>
                  <a:pt x="3406810" y="370784"/>
                  <a:pt x="3406810" y="383416"/>
                </a:cubicBezTo>
                <a:cubicBezTo>
                  <a:pt x="3406810" y="396049"/>
                  <a:pt x="3396571" y="406292"/>
                  <a:pt x="3383938" y="406292"/>
                </a:cubicBezTo>
                <a:cubicBezTo>
                  <a:pt x="3371306" y="406292"/>
                  <a:pt x="3361063" y="396049"/>
                  <a:pt x="3361063" y="383416"/>
                </a:cubicBezTo>
                <a:cubicBezTo>
                  <a:pt x="3361063" y="370784"/>
                  <a:pt x="3371306" y="360541"/>
                  <a:pt x="3383938" y="360541"/>
                </a:cubicBezTo>
                <a:close/>
                <a:moveTo>
                  <a:pt x="3537882" y="358361"/>
                </a:moveTo>
                <a:cubicBezTo>
                  <a:pt x="3551719" y="358361"/>
                  <a:pt x="3562937" y="369579"/>
                  <a:pt x="3562937" y="383412"/>
                </a:cubicBezTo>
                <a:cubicBezTo>
                  <a:pt x="3562937" y="397250"/>
                  <a:pt x="3551719" y="408468"/>
                  <a:pt x="3537882" y="408468"/>
                </a:cubicBezTo>
                <a:cubicBezTo>
                  <a:pt x="3524048" y="408468"/>
                  <a:pt x="3512830" y="397250"/>
                  <a:pt x="3512830" y="383412"/>
                </a:cubicBezTo>
                <a:cubicBezTo>
                  <a:pt x="3512830" y="369575"/>
                  <a:pt x="3524048" y="358361"/>
                  <a:pt x="3537882" y="358361"/>
                </a:cubicBezTo>
                <a:close/>
                <a:moveTo>
                  <a:pt x="3691471" y="356184"/>
                </a:moveTo>
                <a:cubicBezTo>
                  <a:pt x="3706509" y="356184"/>
                  <a:pt x="3718699" y="368374"/>
                  <a:pt x="3718699" y="383416"/>
                </a:cubicBezTo>
                <a:cubicBezTo>
                  <a:pt x="3718699" y="398454"/>
                  <a:pt x="3706509" y="410648"/>
                  <a:pt x="3691471" y="410648"/>
                </a:cubicBezTo>
                <a:cubicBezTo>
                  <a:pt x="3676429" y="410648"/>
                  <a:pt x="3664238" y="398454"/>
                  <a:pt x="3664238" y="383416"/>
                </a:cubicBezTo>
                <a:cubicBezTo>
                  <a:pt x="3664238" y="368374"/>
                  <a:pt x="3676429" y="356184"/>
                  <a:pt x="3691471" y="356184"/>
                </a:cubicBezTo>
                <a:close/>
                <a:moveTo>
                  <a:pt x="3845418" y="353642"/>
                </a:moveTo>
                <a:cubicBezTo>
                  <a:pt x="3861859" y="353642"/>
                  <a:pt x="3875189" y="366972"/>
                  <a:pt x="3875189" y="383416"/>
                </a:cubicBezTo>
                <a:cubicBezTo>
                  <a:pt x="3875189" y="399857"/>
                  <a:pt x="3861859" y="413187"/>
                  <a:pt x="3845418" y="413187"/>
                </a:cubicBezTo>
                <a:cubicBezTo>
                  <a:pt x="3828974" y="413187"/>
                  <a:pt x="3815644" y="399857"/>
                  <a:pt x="3815644" y="383416"/>
                </a:cubicBezTo>
                <a:cubicBezTo>
                  <a:pt x="3815644" y="366972"/>
                  <a:pt x="3828974" y="353642"/>
                  <a:pt x="3845418" y="353642"/>
                </a:cubicBezTo>
                <a:close/>
                <a:moveTo>
                  <a:pt x="3999000" y="351465"/>
                </a:moveTo>
                <a:cubicBezTo>
                  <a:pt x="4016645" y="351465"/>
                  <a:pt x="4030951" y="365771"/>
                  <a:pt x="4030951" y="383416"/>
                </a:cubicBezTo>
                <a:cubicBezTo>
                  <a:pt x="4030951" y="401062"/>
                  <a:pt x="4016645" y="415368"/>
                  <a:pt x="3999000" y="415368"/>
                </a:cubicBezTo>
                <a:cubicBezTo>
                  <a:pt x="3981354" y="415368"/>
                  <a:pt x="3967048" y="401062"/>
                  <a:pt x="3967048" y="383416"/>
                </a:cubicBezTo>
                <a:cubicBezTo>
                  <a:pt x="3967048" y="365771"/>
                  <a:pt x="3981354" y="351465"/>
                  <a:pt x="3999000" y="351465"/>
                </a:cubicBezTo>
                <a:close/>
                <a:moveTo>
                  <a:pt x="4152947" y="349647"/>
                </a:moveTo>
                <a:cubicBezTo>
                  <a:pt x="4171595" y="349647"/>
                  <a:pt x="4186716" y="364765"/>
                  <a:pt x="4186716" y="383412"/>
                </a:cubicBezTo>
                <a:cubicBezTo>
                  <a:pt x="4186716" y="402064"/>
                  <a:pt x="4171595" y="417182"/>
                  <a:pt x="4152947" y="417182"/>
                </a:cubicBezTo>
                <a:cubicBezTo>
                  <a:pt x="4134299" y="417182"/>
                  <a:pt x="4119181" y="402064"/>
                  <a:pt x="4119181" y="383412"/>
                </a:cubicBezTo>
                <a:cubicBezTo>
                  <a:pt x="4119181" y="364765"/>
                  <a:pt x="4134299" y="349647"/>
                  <a:pt x="4152947" y="349647"/>
                </a:cubicBezTo>
                <a:close/>
                <a:moveTo>
                  <a:pt x="4306532" y="347108"/>
                </a:moveTo>
                <a:cubicBezTo>
                  <a:pt x="4326503" y="347108"/>
                  <a:pt x="4342840" y="363446"/>
                  <a:pt x="4342840" y="383416"/>
                </a:cubicBezTo>
                <a:cubicBezTo>
                  <a:pt x="4342840" y="403387"/>
                  <a:pt x="4326503" y="419725"/>
                  <a:pt x="4306532" y="419725"/>
                </a:cubicBezTo>
                <a:cubicBezTo>
                  <a:pt x="4286562" y="419725"/>
                  <a:pt x="4270224" y="403387"/>
                  <a:pt x="4270224" y="383416"/>
                </a:cubicBezTo>
                <a:cubicBezTo>
                  <a:pt x="4270224" y="363446"/>
                  <a:pt x="4286562" y="347108"/>
                  <a:pt x="4306532" y="347108"/>
                </a:cubicBezTo>
                <a:close/>
                <a:moveTo>
                  <a:pt x="4460480" y="344565"/>
                </a:moveTo>
                <a:cubicBezTo>
                  <a:pt x="4481902" y="344565"/>
                  <a:pt x="4499326" y="361993"/>
                  <a:pt x="4499326" y="383416"/>
                </a:cubicBezTo>
                <a:cubicBezTo>
                  <a:pt x="4499326" y="404835"/>
                  <a:pt x="4481902" y="422267"/>
                  <a:pt x="4460480" y="422267"/>
                </a:cubicBezTo>
                <a:cubicBezTo>
                  <a:pt x="4439057" y="422267"/>
                  <a:pt x="4421629" y="404835"/>
                  <a:pt x="4421629" y="383416"/>
                </a:cubicBezTo>
                <a:cubicBezTo>
                  <a:pt x="4421629" y="361993"/>
                  <a:pt x="4439057" y="344565"/>
                  <a:pt x="4460480" y="344565"/>
                </a:cubicBezTo>
                <a:close/>
                <a:moveTo>
                  <a:pt x="4614061" y="342385"/>
                </a:moveTo>
                <a:cubicBezTo>
                  <a:pt x="4636936" y="342385"/>
                  <a:pt x="4655092" y="360541"/>
                  <a:pt x="4655092" y="383412"/>
                </a:cubicBezTo>
                <a:cubicBezTo>
                  <a:pt x="4655092" y="406288"/>
                  <a:pt x="4636574" y="424440"/>
                  <a:pt x="4614061" y="424440"/>
                </a:cubicBezTo>
                <a:cubicBezTo>
                  <a:pt x="4591190" y="424440"/>
                  <a:pt x="4573034" y="406288"/>
                  <a:pt x="4573034" y="383412"/>
                </a:cubicBezTo>
                <a:cubicBezTo>
                  <a:pt x="4573034" y="360541"/>
                  <a:pt x="4591190" y="342385"/>
                  <a:pt x="4614061" y="342385"/>
                </a:cubicBezTo>
                <a:close/>
                <a:moveTo>
                  <a:pt x="4768008" y="339842"/>
                </a:moveTo>
                <a:cubicBezTo>
                  <a:pt x="4791974" y="339842"/>
                  <a:pt x="4811578" y="359447"/>
                  <a:pt x="4811578" y="383412"/>
                </a:cubicBezTo>
                <a:cubicBezTo>
                  <a:pt x="4811578" y="407378"/>
                  <a:pt x="4791974" y="426982"/>
                  <a:pt x="4768008" y="426982"/>
                </a:cubicBezTo>
                <a:cubicBezTo>
                  <a:pt x="4744047" y="426982"/>
                  <a:pt x="4724438" y="407378"/>
                  <a:pt x="4724438" y="383412"/>
                </a:cubicBezTo>
                <a:cubicBezTo>
                  <a:pt x="4724438" y="359447"/>
                  <a:pt x="4744047" y="339842"/>
                  <a:pt x="4768008" y="339842"/>
                </a:cubicBezTo>
                <a:close/>
                <a:moveTo>
                  <a:pt x="4921598" y="337304"/>
                </a:moveTo>
                <a:cubicBezTo>
                  <a:pt x="4947012" y="337304"/>
                  <a:pt x="4967710" y="357998"/>
                  <a:pt x="4967710" y="383416"/>
                </a:cubicBezTo>
                <a:cubicBezTo>
                  <a:pt x="4967710" y="408830"/>
                  <a:pt x="4947012" y="429529"/>
                  <a:pt x="4921598" y="429529"/>
                </a:cubicBezTo>
                <a:cubicBezTo>
                  <a:pt x="4896180" y="429529"/>
                  <a:pt x="4875485" y="408830"/>
                  <a:pt x="4875485" y="383416"/>
                </a:cubicBezTo>
                <a:cubicBezTo>
                  <a:pt x="4875485" y="357998"/>
                  <a:pt x="4896180" y="337304"/>
                  <a:pt x="4921598" y="337304"/>
                </a:cubicBezTo>
                <a:close/>
                <a:moveTo>
                  <a:pt x="5075545" y="334761"/>
                </a:moveTo>
                <a:cubicBezTo>
                  <a:pt x="5102412" y="334761"/>
                  <a:pt x="5124196" y="356546"/>
                  <a:pt x="5124196" y="383416"/>
                </a:cubicBezTo>
                <a:cubicBezTo>
                  <a:pt x="5124196" y="410283"/>
                  <a:pt x="5102412" y="432068"/>
                  <a:pt x="5075545" y="432068"/>
                </a:cubicBezTo>
                <a:cubicBezTo>
                  <a:pt x="5048675" y="432068"/>
                  <a:pt x="5026890" y="410283"/>
                  <a:pt x="5026890" y="383416"/>
                </a:cubicBezTo>
                <a:cubicBezTo>
                  <a:pt x="5026890" y="356546"/>
                  <a:pt x="5048675" y="334761"/>
                  <a:pt x="5075545" y="334761"/>
                </a:cubicBezTo>
                <a:close/>
                <a:moveTo>
                  <a:pt x="5229126" y="332219"/>
                </a:moveTo>
                <a:cubicBezTo>
                  <a:pt x="5257449" y="332219"/>
                  <a:pt x="5280324" y="355094"/>
                  <a:pt x="5280324" y="383412"/>
                </a:cubicBezTo>
                <a:cubicBezTo>
                  <a:pt x="5280324" y="411735"/>
                  <a:pt x="5257449" y="434610"/>
                  <a:pt x="5229126" y="434610"/>
                </a:cubicBezTo>
                <a:cubicBezTo>
                  <a:pt x="5200808" y="434610"/>
                  <a:pt x="5177932" y="411735"/>
                  <a:pt x="5177932" y="383412"/>
                </a:cubicBezTo>
                <a:cubicBezTo>
                  <a:pt x="5177932" y="355094"/>
                  <a:pt x="5200808" y="332219"/>
                  <a:pt x="5229126" y="332219"/>
                </a:cubicBezTo>
                <a:close/>
                <a:moveTo>
                  <a:pt x="5383074" y="330042"/>
                </a:moveTo>
                <a:cubicBezTo>
                  <a:pt x="5412482" y="330042"/>
                  <a:pt x="5436448" y="354004"/>
                  <a:pt x="5436448" y="383416"/>
                </a:cubicBezTo>
                <a:cubicBezTo>
                  <a:pt x="5436448" y="412825"/>
                  <a:pt x="5412482" y="436787"/>
                  <a:pt x="5383074" y="436787"/>
                </a:cubicBezTo>
                <a:cubicBezTo>
                  <a:pt x="5353661" y="436787"/>
                  <a:pt x="5329700" y="412825"/>
                  <a:pt x="5329700" y="383416"/>
                </a:cubicBezTo>
                <a:cubicBezTo>
                  <a:pt x="5329700" y="354004"/>
                  <a:pt x="5353661" y="330042"/>
                  <a:pt x="5383074" y="330042"/>
                </a:cubicBezTo>
                <a:close/>
                <a:moveTo>
                  <a:pt x="5536659" y="327137"/>
                </a:moveTo>
                <a:cubicBezTo>
                  <a:pt x="5567886" y="327137"/>
                  <a:pt x="5592938" y="352189"/>
                  <a:pt x="5592938" y="383416"/>
                </a:cubicBezTo>
                <a:cubicBezTo>
                  <a:pt x="5592938" y="414640"/>
                  <a:pt x="5567886" y="439691"/>
                  <a:pt x="5536659" y="439691"/>
                </a:cubicBezTo>
                <a:cubicBezTo>
                  <a:pt x="5505432" y="439691"/>
                  <a:pt x="5480380" y="414640"/>
                  <a:pt x="5480380" y="383416"/>
                </a:cubicBezTo>
                <a:cubicBezTo>
                  <a:pt x="5480380" y="352189"/>
                  <a:pt x="5505432" y="327137"/>
                  <a:pt x="5536659" y="327137"/>
                </a:cubicBezTo>
                <a:close/>
                <a:moveTo>
                  <a:pt x="5690606" y="324595"/>
                </a:moveTo>
                <a:cubicBezTo>
                  <a:pt x="5723092" y="324595"/>
                  <a:pt x="5749424" y="350927"/>
                  <a:pt x="5749424" y="383416"/>
                </a:cubicBezTo>
                <a:cubicBezTo>
                  <a:pt x="5749424" y="415901"/>
                  <a:pt x="5723092" y="442234"/>
                  <a:pt x="5690606" y="442234"/>
                </a:cubicBezTo>
                <a:cubicBezTo>
                  <a:pt x="5658118" y="442234"/>
                  <a:pt x="5631785" y="415901"/>
                  <a:pt x="5631785" y="383416"/>
                </a:cubicBezTo>
                <a:cubicBezTo>
                  <a:pt x="5631785" y="350927"/>
                  <a:pt x="5658118" y="324595"/>
                  <a:pt x="5690606" y="324595"/>
                </a:cubicBezTo>
                <a:close/>
                <a:moveTo>
                  <a:pt x="5844554" y="321690"/>
                </a:moveTo>
                <a:cubicBezTo>
                  <a:pt x="5878644" y="321690"/>
                  <a:pt x="5906276" y="349326"/>
                  <a:pt x="5906276" y="383416"/>
                </a:cubicBezTo>
                <a:cubicBezTo>
                  <a:pt x="5906276" y="417502"/>
                  <a:pt x="5878644" y="445139"/>
                  <a:pt x="5844554" y="445139"/>
                </a:cubicBezTo>
                <a:cubicBezTo>
                  <a:pt x="5810460" y="445139"/>
                  <a:pt x="5782828" y="417502"/>
                  <a:pt x="5782828" y="383416"/>
                </a:cubicBezTo>
                <a:cubicBezTo>
                  <a:pt x="5782828" y="349326"/>
                  <a:pt x="5810460" y="321690"/>
                  <a:pt x="5844554" y="321690"/>
                </a:cubicBezTo>
                <a:close/>
                <a:moveTo>
                  <a:pt x="5998136" y="319148"/>
                </a:moveTo>
                <a:cubicBezTo>
                  <a:pt x="6033628" y="319148"/>
                  <a:pt x="6062404" y="347920"/>
                  <a:pt x="6062404" y="383412"/>
                </a:cubicBezTo>
                <a:cubicBezTo>
                  <a:pt x="6062404" y="418905"/>
                  <a:pt x="6033628" y="447681"/>
                  <a:pt x="5998136" y="447681"/>
                </a:cubicBezTo>
                <a:cubicBezTo>
                  <a:pt x="5962643" y="447681"/>
                  <a:pt x="5933870" y="418905"/>
                  <a:pt x="5933870" y="383412"/>
                </a:cubicBezTo>
                <a:cubicBezTo>
                  <a:pt x="5933870" y="347920"/>
                  <a:pt x="5962643" y="319148"/>
                  <a:pt x="5998136" y="319148"/>
                </a:cubicBezTo>
                <a:close/>
                <a:moveTo>
                  <a:pt x="6152086" y="315881"/>
                </a:moveTo>
                <a:cubicBezTo>
                  <a:pt x="6189382" y="315881"/>
                  <a:pt x="6219618" y="346117"/>
                  <a:pt x="6219618" y="383416"/>
                </a:cubicBezTo>
                <a:cubicBezTo>
                  <a:pt x="6219618" y="420712"/>
                  <a:pt x="6189382" y="450948"/>
                  <a:pt x="6152086" y="450948"/>
                </a:cubicBezTo>
                <a:cubicBezTo>
                  <a:pt x="6114791" y="450948"/>
                  <a:pt x="6084551" y="420712"/>
                  <a:pt x="6084551" y="383416"/>
                </a:cubicBezTo>
                <a:cubicBezTo>
                  <a:pt x="6084551" y="346117"/>
                  <a:pt x="6114791" y="315881"/>
                  <a:pt x="6152086" y="315881"/>
                </a:cubicBezTo>
                <a:close/>
                <a:moveTo>
                  <a:pt x="6305668" y="313338"/>
                </a:moveTo>
                <a:cubicBezTo>
                  <a:pt x="6344370" y="313338"/>
                  <a:pt x="6375746" y="344710"/>
                  <a:pt x="6375746" y="383412"/>
                </a:cubicBezTo>
                <a:cubicBezTo>
                  <a:pt x="6375746" y="422115"/>
                  <a:pt x="6344370" y="453490"/>
                  <a:pt x="6305668" y="453490"/>
                </a:cubicBezTo>
                <a:cubicBezTo>
                  <a:pt x="6266970" y="453490"/>
                  <a:pt x="6235594" y="422115"/>
                  <a:pt x="6235594" y="383412"/>
                </a:cubicBezTo>
                <a:cubicBezTo>
                  <a:pt x="6235594" y="344710"/>
                  <a:pt x="6266970" y="313338"/>
                  <a:pt x="6305668" y="313338"/>
                </a:cubicBezTo>
                <a:close/>
                <a:moveTo>
                  <a:pt x="6459616" y="310434"/>
                </a:moveTo>
                <a:cubicBezTo>
                  <a:pt x="6499922" y="310434"/>
                  <a:pt x="6532598" y="343109"/>
                  <a:pt x="6532598" y="383412"/>
                </a:cubicBezTo>
                <a:cubicBezTo>
                  <a:pt x="6532598" y="423719"/>
                  <a:pt x="6499922" y="456395"/>
                  <a:pt x="6459616" y="456395"/>
                </a:cubicBezTo>
                <a:cubicBezTo>
                  <a:pt x="6419312" y="456395"/>
                  <a:pt x="6386636" y="423719"/>
                  <a:pt x="6386636" y="383412"/>
                </a:cubicBezTo>
                <a:cubicBezTo>
                  <a:pt x="6386636" y="343109"/>
                  <a:pt x="6419312" y="310434"/>
                  <a:pt x="6459616" y="310434"/>
                </a:cubicBezTo>
                <a:close/>
                <a:moveTo>
                  <a:pt x="6613200" y="307891"/>
                </a:moveTo>
                <a:cubicBezTo>
                  <a:pt x="6654956" y="307891"/>
                  <a:pt x="6688722" y="341657"/>
                  <a:pt x="6688722" y="383412"/>
                </a:cubicBezTo>
                <a:cubicBezTo>
                  <a:pt x="6688722" y="425168"/>
                  <a:pt x="6654956" y="458934"/>
                  <a:pt x="6613200" y="458934"/>
                </a:cubicBezTo>
                <a:cubicBezTo>
                  <a:pt x="6571449" y="458934"/>
                  <a:pt x="6537680" y="425168"/>
                  <a:pt x="6537680" y="383412"/>
                </a:cubicBezTo>
                <a:cubicBezTo>
                  <a:pt x="6537680" y="341657"/>
                  <a:pt x="6571449" y="307891"/>
                  <a:pt x="6613200" y="307891"/>
                </a:cubicBezTo>
                <a:close/>
                <a:moveTo>
                  <a:pt x="923681" y="229469"/>
                </a:moveTo>
                <a:cubicBezTo>
                  <a:pt x="924043" y="229469"/>
                  <a:pt x="924043" y="229469"/>
                  <a:pt x="924043" y="229831"/>
                </a:cubicBezTo>
                <a:cubicBezTo>
                  <a:pt x="924043" y="230193"/>
                  <a:pt x="923681" y="230193"/>
                  <a:pt x="923681" y="230193"/>
                </a:cubicBezTo>
                <a:cubicBezTo>
                  <a:pt x="923319" y="230193"/>
                  <a:pt x="923319" y="230193"/>
                  <a:pt x="923319" y="229831"/>
                </a:cubicBezTo>
                <a:cubicBezTo>
                  <a:pt x="923319" y="229469"/>
                  <a:pt x="923319" y="229469"/>
                  <a:pt x="923681" y="229469"/>
                </a:cubicBezTo>
                <a:close/>
                <a:moveTo>
                  <a:pt x="462205" y="229469"/>
                </a:moveTo>
                <a:cubicBezTo>
                  <a:pt x="462567" y="229469"/>
                  <a:pt x="462567" y="229469"/>
                  <a:pt x="462567" y="229831"/>
                </a:cubicBezTo>
                <a:cubicBezTo>
                  <a:pt x="462567" y="230193"/>
                  <a:pt x="462205" y="230193"/>
                  <a:pt x="462205" y="230193"/>
                </a:cubicBezTo>
                <a:cubicBezTo>
                  <a:pt x="461842" y="230193"/>
                  <a:pt x="461842" y="230193"/>
                  <a:pt x="461842" y="229831"/>
                </a:cubicBezTo>
                <a:cubicBezTo>
                  <a:pt x="461842" y="229469"/>
                  <a:pt x="461842" y="229469"/>
                  <a:pt x="462205" y="229469"/>
                </a:cubicBezTo>
                <a:close/>
                <a:moveTo>
                  <a:pt x="308257" y="229469"/>
                </a:moveTo>
                <a:cubicBezTo>
                  <a:pt x="308619" y="229469"/>
                  <a:pt x="308619" y="229469"/>
                  <a:pt x="308619" y="229831"/>
                </a:cubicBezTo>
                <a:cubicBezTo>
                  <a:pt x="308619" y="230193"/>
                  <a:pt x="308257" y="230193"/>
                  <a:pt x="308257" y="230193"/>
                </a:cubicBezTo>
                <a:cubicBezTo>
                  <a:pt x="307895" y="230193"/>
                  <a:pt x="307895" y="230193"/>
                  <a:pt x="307895" y="229831"/>
                </a:cubicBezTo>
                <a:cubicBezTo>
                  <a:pt x="307895" y="229469"/>
                  <a:pt x="307895" y="229469"/>
                  <a:pt x="308257" y="229469"/>
                </a:cubicBezTo>
                <a:close/>
                <a:moveTo>
                  <a:pt x="154676" y="229103"/>
                </a:moveTo>
                <a:cubicBezTo>
                  <a:pt x="155076" y="229103"/>
                  <a:pt x="155400" y="229427"/>
                  <a:pt x="155400" y="229827"/>
                </a:cubicBezTo>
                <a:cubicBezTo>
                  <a:pt x="155400" y="230231"/>
                  <a:pt x="155076" y="230555"/>
                  <a:pt x="154676" y="230555"/>
                </a:cubicBezTo>
                <a:cubicBezTo>
                  <a:pt x="154272" y="230555"/>
                  <a:pt x="153948" y="230231"/>
                  <a:pt x="153948" y="229827"/>
                </a:cubicBezTo>
                <a:cubicBezTo>
                  <a:pt x="153948" y="229427"/>
                  <a:pt x="154272" y="229103"/>
                  <a:pt x="154676" y="229103"/>
                </a:cubicBezTo>
                <a:close/>
                <a:moveTo>
                  <a:pt x="725" y="229103"/>
                </a:moveTo>
                <a:cubicBezTo>
                  <a:pt x="1090" y="229103"/>
                  <a:pt x="1453" y="229465"/>
                  <a:pt x="1453" y="229827"/>
                </a:cubicBezTo>
                <a:cubicBezTo>
                  <a:pt x="1453" y="230193"/>
                  <a:pt x="725" y="230555"/>
                  <a:pt x="725" y="230555"/>
                </a:cubicBezTo>
                <a:cubicBezTo>
                  <a:pt x="362" y="230555"/>
                  <a:pt x="0" y="230193"/>
                  <a:pt x="0" y="229827"/>
                </a:cubicBezTo>
                <a:cubicBezTo>
                  <a:pt x="0" y="229465"/>
                  <a:pt x="362" y="229103"/>
                  <a:pt x="725" y="229103"/>
                </a:cubicBezTo>
                <a:close/>
                <a:moveTo>
                  <a:pt x="1077266" y="228379"/>
                </a:moveTo>
                <a:cubicBezTo>
                  <a:pt x="1078067" y="228379"/>
                  <a:pt x="1078718" y="229031"/>
                  <a:pt x="1078718" y="229831"/>
                </a:cubicBezTo>
                <a:cubicBezTo>
                  <a:pt x="1078718" y="230631"/>
                  <a:pt x="1078067" y="231283"/>
                  <a:pt x="1077266" y="231283"/>
                </a:cubicBezTo>
                <a:cubicBezTo>
                  <a:pt x="1076462" y="231283"/>
                  <a:pt x="1075814" y="230631"/>
                  <a:pt x="1075814" y="229831"/>
                </a:cubicBezTo>
                <a:cubicBezTo>
                  <a:pt x="1075814" y="229031"/>
                  <a:pt x="1076462" y="228379"/>
                  <a:pt x="1077266" y="228379"/>
                </a:cubicBezTo>
                <a:close/>
                <a:moveTo>
                  <a:pt x="1231217" y="227651"/>
                </a:moveTo>
                <a:cubicBezTo>
                  <a:pt x="1232418" y="227651"/>
                  <a:pt x="1233394" y="228626"/>
                  <a:pt x="1233394" y="229827"/>
                </a:cubicBezTo>
                <a:cubicBezTo>
                  <a:pt x="1233394" y="231032"/>
                  <a:pt x="1232418" y="232008"/>
                  <a:pt x="1231217" y="232008"/>
                </a:cubicBezTo>
                <a:cubicBezTo>
                  <a:pt x="1230013" y="232008"/>
                  <a:pt x="1229037" y="231032"/>
                  <a:pt x="1229037" y="229827"/>
                </a:cubicBezTo>
                <a:cubicBezTo>
                  <a:pt x="1229037" y="228626"/>
                  <a:pt x="1230013" y="227651"/>
                  <a:pt x="1231217" y="227651"/>
                </a:cubicBezTo>
                <a:close/>
                <a:moveTo>
                  <a:pt x="1384799" y="226560"/>
                </a:moveTo>
                <a:cubicBezTo>
                  <a:pt x="1386617" y="226560"/>
                  <a:pt x="1388069" y="228013"/>
                  <a:pt x="1388069" y="229827"/>
                </a:cubicBezTo>
                <a:cubicBezTo>
                  <a:pt x="1388069" y="231645"/>
                  <a:pt x="1386617" y="233098"/>
                  <a:pt x="1384799" y="233098"/>
                </a:cubicBezTo>
                <a:cubicBezTo>
                  <a:pt x="1382984" y="233098"/>
                  <a:pt x="1381532" y="231645"/>
                  <a:pt x="1381532" y="229827"/>
                </a:cubicBezTo>
                <a:cubicBezTo>
                  <a:pt x="1381532" y="228013"/>
                  <a:pt x="1382984" y="226560"/>
                  <a:pt x="1384799" y="226560"/>
                </a:cubicBezTo>
                <a:close/>
                <a:moveTo>
                  <a:pt x="1538746" y="225108"/>
                </a:moveTo>
                <a:cubicBezTo>
                  <a:pt x="1541285" y="225108"/>
                  <a:pt x="1543103" y="226923"/>
                  <a:pt x="1543103" y="229465"/>
                </a:cubicBezTo>
                <a:cubicBezTo>
                  <a:pt x="1543103" y="232008"/>
                  <a:pt x="1540923" y="233822"/>
                  <a:pt x="1538746" y="233822"/>
                </a:cubicBezTo>
                <a:cubicBezTo>
                  <a:pt x="1536204" y="233822"/>
                  <a:pt x="1534389" y="232008"/>
                  <a:pt x="1534389" y="229465"/>
                </a:cubicBezTo>
                <a:cubicBezTo>
                  <a:pt x="1534389" y="226923"/>
                  <a:pt x="1536204" y="225108"/>
                  <a:pt x="1538746" y="225108"/>
                </a:cubicBezTo>
                <a:close/>
                <a:moveTo>
                  <a:pt x="1692331" y="224022"/>
                </a:moveTo>
                <a:cubicBezTo>
                  <a:pt x="1695541" y="224022"/>
                  <a:pt x="1698141" y="226621"/>
                  <a:pt x="1698141" y="229831"/>
                </a:cubicBezTo>
                <a:cubicBezTo>
                  <a:pt x="1698141" y="233041"/>
                  <a:pt x="1695541" y="235640"/>
                  <a:pt x="1692331" y="235640"/>
                </a:cubicBezTo>
                <a:cubicBezTo>
                  <a:pt x="1689122" y="235640"/>
                  <a:pt x="1686522" y="233041"/>
                  <a:pt x="1686522" y="229831"/>
                </a:cubicBezTo>
                <a:cubicBezTo>
                  <a:pt x="1686522" y="226621"/>
                  <a:pt x="1689122" y="224022"/>
                  <a:pt x="1692331" y="224022"/>
                </a:cubicBezTo>
                <a:close/>
                <a:moveTo>
                  <a:pt x="1846279" y="222569"/>
                </a:moveTo>
                <a:cubicBezTo>
                  <a:pt x="1850274" y="222569"/>
                  <a:pt x="1853540" y="225836"/>
                  <a:pt x="1853540" y="229831"/>
                </a:cubicBezTo>
                <a:cubicBezTo>
                  <a:pt x="1853540" y="233826"/>
                  <a:pt x="1850274" y="237093"/>
                  <a:pt x="1846279" y="237093"/>
                </a:cubicBezTo>
                <a:cubicBezTo>
                  <a:pt x="1842284" y="237093"/>
                  <a:pt x="1839017" y="233826"/>
                  <a:pt x="1839017" y="229831"/>
                </a:cubicBezTo>
                <a:cubicBezTo>
                  <a:pt x="1839017" y="225836"/>
                  <a:pt x="1842284" y="222569"/>
                  <a:pt x="1846279" y="222569"/>
                </a:cubicBezTo>
                <a:close/>
                <a:moveTo>
                  <a:pt x="1999860" y="220389"/>
                </a:moveTo>
                <a:cubicBezTo>
                  <a:pt x="2004945" y="220389"/>
                  <a:pt x="2008940" y="224384"/>
                  <a:pt x="2008940" y="229465"/>
                </a:cubicBezTo>
                <a:cubicBezTo>
                  <a:pt x="2008940" y="234550"/>
                  <a:pt x="2004945" y="238545"/>
                  <a:pt x="1999860" y="238545"/>
                </a:cubicBezTo>
                <a:cubicBezTo>
                  <a:pt x="1994779" y="238545"/>
                  <a:pt x="1990784" y="234550"/>
                  <a:pt x="1990784" y="229465"/>
                </a:cubicBezTo>
                <a:cubicBezTo>
                  <a:pt x="1990784" y="224384"/>
                  <a:pt x="1994779" y="220389"/>
                  <a:pt x="1999860" y="220389"/>
                </a:cubicBezTo>
                <a:close/>
                <a:moveTo>
                  <a:pt x="2153811" y="219665"/>
                </a:moveTo>
                <a:cubicBezTo>
                  <a:pt x="2159259" y="219665"/>
                  <a:pt x="2163978" y="224384"/>
                  <a:pt x="2163978" y="229831"/>
                </a:cubicBezTo>
                <a:cubicBezTo>
                  <a:pt x="2163978" y="235278"/>
                  <a:pt x="2159621" y="239997"/>
                  <a:pt x="2153811" y="239997"/>
                </a:cubicBezTo>
                <a:cubicBezTo>
                  <a:pt x="2148364" y="239997"/>
                  <a:pt x="2143645" y="235278"/>
                  <a:pt x="2143645" y="229831"/>
                </a:cubicBezTo>
                <a:cubicBezTo>
                  <a:pt x="2143645" y="224384"/>
                  <a:pt x="2148364" y="219665"/>
                  <a:pt x="2153811" y="219665"/>
                </a:cubicBezTo>
                <a:close/>
                <a:moveTo>
                  <a:pt x="2307393" y="217484"/>
                </a:moveTo>
                <a:cubicBezTo>
                  <a:pt x="2313930" y="217484"/>
                  <a:pt x="2319377" y="222931"/>
                  <a:pt x="2319377" y="229465"/>
                </a:cubicBezTo>
                <a:cubicBezTo>
                  <a:pt x="2319377" y="236002"/>
                  <a:pt x="2313930" y="241450"/>
                  <a:pt x="2307393" y="241450"/>
                </a:cubicBezTo>
                <a:cubicBezTo>
                  <a:pt x="2300859" y="241450"/>
                  <a:pt x="2295412" y="236002"/>
                  <a:pt x="2295412" y="229465"/>
                </a:cubicBezTo>
                <a:cubicBezTo>
                  <a:pt x="2295412" y="222931"/>
                  <a:pt x="2300859" y="217484"/>
                  <a:pt x="2307393" y="217484"/>
                </a:cubicBezTo>
                <a:close/>
                <a:moveTo>
                  <a:pt x="2461344" y="215670"/>
                </a:moveTo>
                <a:cubicBezTo>
                  <a:pt x="2468968" y="215670"/>
                  <a:pt x="2475139" y="221841"/>
                  <a:pt x="2475139" y="229469"/>
                </a:cubicBezTo>
                <a:cubicBezTo>
                  <a:pt x="2475139" y="237093"/>
                  <a:pt x="2468968" y="243264"/>
                  <a:pt x="2461344" y="243264"/>
                </a:cubicBezTo>
                <a:cubicBezTo>
                  <a:pt x="2453716" y="243264"/>
                  <a:pt x="2447545" y="237093"/>
                  <a:pt x="2447545" y="229469"/>
                </a:cubicBezTo>
                <a:cubicBezTo>
                  <a:pt x="2447545" y="221841"/>
                  <a:pt x="2453716" y="215670"/>
                  <a:pt x="2461344" y="215670"/>
                </a:cubicBezTo>
                <a:close/>
                <a:moveTo>
                  <a:pt x="2614925" y="214580"/>
                </a:moveTo>
                <a:cubicBezTo>
                  <a:pt x="2623350" y="214580"/>
                  <a:pt x="2630177" y="221407"/>
                  <a:pt x="2630177" y="229827"/>
                </a:cubicBezTo>
                <a:cubicBezTo>
                  <a:pt x="2630177" y="238252"/>
                  <a:pt x="2623350" y="245079"/>
                  <a:pt x="2614925" y="245079"/>
                </a:cubicBezTo>
                <a:cubicBezTo>
                  <a:pt x="2606505" y="245079"/>
                  <a:pt x="2599678" y="238252"/>
                  <a:pt x="2599678" y="229827"/>
                </a:cubicBezTo>
                <a:cubicBezTo>
                  <a:pt x="2599678" y="221407"/>
                  <a:pt x="2606505" y="214580"/>
                  <a:pt x="2614925" y="214580"/>
                </a:cubicBezTo>
                <a:close/>
                <a:moveTo>
                  <a:pt x="2768873" y="212765"/>
                </a:moveTo>
                <a:cubicBezTo>
                  <a:pt x="2778311" y="212765"/>
                  <a:pt x="2785939" y="220389"/>
                  <a:pt x="2785939" y="229831"/>
                </a:cubicBezTo>
                <a:cubicBezTo>
                  <a:pt x="2785939" y="239269"/>
                  <a:pt x="2778311" y="246897"/>
                  <a:pt x="2768873" y="246897"/>
                </a:cubicBezTo>
                <a:cubicBezTo>
                  <a:pt x="2759431" y="246897"/>
                  <a:pt x="2751807" y="239269"/>
                  <a:pt x="2751807" y="229831"/>
                </a:cubicBezTo>
                <a:cubicBezTo>
                  <a:pt x="2751807" y="220389"/>
                  <a:pt x="2759431" y="212765"/>
                  <a:pt x="2768873" y="212765"/>
                </a:cubicBezTo>
                <a:close/>
                <a:moveTo>
                  <a:pt x="2922458" y="210589"/>
                </a:moveTo>
                <a:cubicBezTo>
                  <a:pt x="2933086" y="210589"/>
                  <a:pt x="2941700" y="219203"/>
                  <a:pt x="2941700" y="229831"/>
                </a:cubicBezTo>
                <a:cubicBezTo>
                  <a:pt x="2941700" y="240459"/>
                  <a:pt x="2933086" y="249077"/>
                  <a:pt x="2922458" y="249077"/>
                </a:cubicBezTo>
                <a:cubicBezTo>
                  <a:pt x="2911830" y="249077"/>
                  <a:pt x="2903216" y="240459"/>
                  <a:pt x="2903216" y="229831"/>
                </a:cubicBezTo>
                <a:cubicBezTo>
                  <a:pt x="2903216" y="219203"/>
                  <a:pt x="2911830" y="210589"/>
                  <a:pt x="2922458" y="210589"/>
                </a:cubicBezTo>
                <a:close/>
                <a:moveTo>
                  <a:pt x="3076406" y="208408"/>
                </a:moveTo>
                <a:cubicBezTo>
                  <a:pt x="3088234" y="208408"/>
                  <a:pt x="3097828" y="217999"/>
                  <a:pt x="3097828" y="229831"/>
                </a:cubicBezTo>
                <a:cubicBezTo>
                  <a:pt x="3097828" y="241659"/>
                  <a:pt x="3088234" y="251254"/>
                  <a:pt x="3076406" y="251254"/>
                </a:cubicBezTo>
                <a:cubicBezTo>
                  <a:pt x="3064573" y="251254"/>
                  <a:pt x="3054982" y="241659"/>
                  <a:pt x="3054982" y="229831"/>
                </a:cubicBezTo>
                <a:cubicBezTo>
                  <a:pt x="3054982" y="217999"/>
                  <a:pt x="3064573" y="208408"/>
                  <a:pt x="3076406" y="208408"/>
                </a:cubicBezTo>
                <a:close/>
                <a:moveTo>
                  <a:pt x="3230353" y="206956"/>
                </a:moveTo>
                <a:cubicBezTo>
                  <a:pt x="3242986" y="206956"/>
                  <a:pt x="3253228" y="217198"/>
                  <a:pt x="3253228" y="229831"/>
                </a:cubicBezTo>
                <a:cubicBezTo>
                  <a:pt x="3253228" y="242464"/>
                  <a:pt x="3242986" y="252706"/>
                  <a:pt x="3230353" y="252706"/>
                </a:cubicBezTo>
                <a:cubicBezTo>
                  <a:pt x="3217720" y="252706"/>
                  <a:pt x="3207478" y="242464"/>
                  <a:pt x="3207478" y="229831"/>
                </a:cubicBezTo>
                <a:cubicBezTo>
                  <a:pt x="3207478" y="217198"/>
                  <a:pt x="3217720" y="206956"/>
                  <a:pt x="3230353" y="206956"/>
                </a:cubicBezTo>
                <a:close/>
                <a:moveTo>
                  <a:pt x="3383934" y="204779"/>
                </a:moveTo>
                <a:cubicBezTo>
                  <a:pt x="3397772" y="204779"/>
                  <a:pt x="3408986" y="215994"/>
                  <a:pt x="3408986" y="229831"/>
                </a:cubicBezTo>
                <a:cubicBezTo>
                  <a:pt x="3408986" y="243668"/>
                  <a:pt x="3397772" y="254887"/>
                  <a:pt x="3383934" y="254887"/>
                </a:cubicBezTo>
                <a:cubicBezTo>
                  <a:pt x="3370097" y="254887"/>
                  <a:pt x="3358882" y="243668"/>
                  <a:pt x="3358882" y="229831"/>
                </a:cubicBezTo>
                <a:cubicBezTo>
                  <a:pt x="3358882" y="215994"/>
                  <a:pt x="3370097" y="204779"/>
                  <a:pt x="3383934" y="204779"/>
                </a:cubicBezTo>
                <a:close/>
                <a:moveTo>
                  <a:pt x="3537886" y="202599"/>
                </a:moveTo>
                <a:cubicBezTo>
                  <a:pt x="3552924" y="202599"/>
                  <a:pt x="3565118" y="214789"/>
                  <a:pt x="3565118" y="229831"/>
                </a:cubicBezTo>
                <a:cubicBezTo>
                  <a:pt x="3565118" y="244869"/>
                  <a:pt x="3552924" y="257059"/>
                  <a:pt x="3537886" y="257059"/>
                </a:cubicBezTo>
                <a:cubicBezTo>
                  <a:pt x="3522844" y="257059"/>
                  <a:pt x="3510653" y="244869"/>
                  <a:pt x="3510653" y="229831"/>
                </a:cubicBezTo>
                <a:cubicBezTo>
                  <a:pt x="3510653" y="214789"/>
                  <a:pt x="3522844" y="202599"/>
                  <a:pt x="3537886" y="202599"/>
                </a:cubicBezTo>
                <a:close/>
                <a:moveTo>
                  <a:pt x="3691467" y="200056"/>
                </a:moveTo>
                <a:cubicBezTo>
                  <a:pt x="3707912" y="200056"/>
                  <a:pt x="3721242" y="213386"/>
                  <a:pt x="3721242" y="229827"/>
                </a:cubicBezTo>
                <a:cubicBezTo>
                  <a:pt x="3721242" y="246272"/>
                  <a:pt x="3707912" y="259602"/>
                  <a:pt x="3691467" y="259602"/>
                </a:cubicBezTo>
                <a:cubicBezTo>
                  <a:pt x="3675026" y="259602"/>
                  <a:pt x="3661696" y="246272"/>
                  <a:pt x="3661696" y="229827"/>
                </a:cubicBezTo>
                <a:cubicBezTo>
                  <a:pt x="3661696" y="213386"/>
                  <a:pt x="3675026" y="200056"/>
                  <a:pt x="3691467" y="200056"/>
                </a:cubicBezTo>
                <a:close/>
                <a:moveTo>
                  <a:pt x="3845414" y="197880"/>
                </a:moveTo>
                <a:cubicBezTo>
                  <a:pt x="3863060" y="197880"/>
                  <a:pt x="3877366" y="212186"/>
                  <a:pt x="3877366" y="229831"/>
                </a:cubicBezTo>
                <a:cubicBezTo>
                  <a:pt x="3877366" y="247476"/>
                  <a:pt x="3863060" y="261782"/>
                  <a:pt x="3845414" y="261782"/>
                </a:cubicBezTo>
                <a:cubicBezTo>
                  <a:pt x="3827769" y="261782"/>
                  <a:pt x="3813463" y="247476"/>
                  <a:pt x="3813463" y="229831"/>
                </a:cubicBezTo>
                <a:cubicBezTo>
                  <a:pt x="3813463" y="212186"/>
                  <a:pt x="3827769" y="197880"/>
                  <a:pt x="3845414" y="197880"/>
                </a:cubicBezTo>
                <a:close/>
                <a:moveTo>
                  <a:pt x="3999000" y="196065"/>
                </a:moveTo>
                <a:cubicBezTo>
                  <a:pt x="4017651" y="196065"/>
                  <a:pt x="4032769" y="211183"/>
                  <a:pt x="4032769" y="229831"/>
                </a:cubicBezTo>
                <a:cubicBezTo>
                  <a:pt x="4032769" y="248483"/>
                  <a:pt x="4017651" y="263597"/>
                  <a:pt x="3999000" y="263597"/>
                </a:cubicBezTo>
                <a:cubicBezTo>
                  <a:pt x="3980352" y="263597"/>
                  <a:pt x="3965234" y="248483"/>
                  <a:pt x="3965234" y="229831"/>
                </a:cubicBezTo>
                <a:cubicBezTo>
                  <a:pt x="3965234" y="211183"/>
                  <a:pt x="3980352" y="196065"/>
                  <a:pt x="3999000" y="196065"/>
                </a:cubicBezTo>
                <a:close/>
                <a:moveTo>
                  <a:pt x="4152947" y="193523"/>
                </a:moveTo>
                <a:cubicBezTo>
                  <a:pt x="4173002" y="193523"/>
                  <a:pt x="4189256" y="209777"/>
                  <a:pt x="4189256" y="229831"/>
                </a:cubicBezTo>
                <a:cubicBezTo>
                  <a:pt x="4189256" y="249885"/>
                  <a:pt x="4173002" y="266139"/>
                  <a:pt x="4152947" y="266139"/>
                </a:cubicBezTo>
                <a:cubicBezTo>
                  <a:pt x="4132896" y="266139"/>
                  <a:pt x="4116638" y="249885"/>
                  <a:pt x="4116638" y="229831"/>
                </a:cubicBezTo>
                <a:cubicBezTo>
                  <a:pt x="4116638" y="209777"/>
                  <a:pt x="4132896" y="193523"/>
                  <a:pt x="4152947" y="193523"/>
                </a:cubicBezTo>
                <a:close/>
                <a:moveTo>
                  <a:pt x="4306532" y="190618"/>
                </a:moveTo>
                <a:cubicBezTo>
                  <a:pt x="4327952" y="190618"/>
                  <a:pt x="4345380" y="208046"/>
                  <a:pt x="4345380" y="229469"/>
                </a:cubicBezTo>
                <a:cubicBezTo>
                  <a:pt x="4345380" y="250888"/>
                  <a:pt x="4327952" y="268316"/>
                  <a:pt x="4306532" y="268316"/>
                </a:cubicBezTo>
                <a:cubicBezTo>
                  <a:pt x="4285110" y="268316"/>
                  <a:pt x="4267682" y="250888"/>
                  <a:pt x="4267682" y="229469"/>
                </a:cubicBezTo>
                <a:cubicBezTo>
                  <a:pt x="4267682" y="208046"/>
                  <a:pt x="4285110" y="190618"/>
                  <a:pt x="4306532" y="190618"/>
                </a:cubicBezTo>
                <a:close/>
                <a:moveTo>
                  <a:pt x="4460480" y="188438"/>
                </a:moveTo>
                <a:cubicBezTo>
                  <a:pt x="4483355" y="188438"/>
                  <a:pt x="4501511" y="206594"/>
                  <a:pt x="4501511" y="229465"/>
                </a:cubicBezTo>
                <a:cubicBezTo>
                  <a:pt x="4501511" y="252340"/>
                  <a:pt x="4482993" y="270493"/>
                  <a:pt x="4460480" y="270493"/>
                </a:cubicBezTo>
                <a:cubicBezTo>
                  <a:pt x="4437608" y="270493"/>
                  <a:pt x="4419452" y="252340"/>
                  <a:pt x="4419452" y="229465"/>
                </a:cubicBezTo>
                <a:cubicBezTo>
                  <a:pt x="4419452" y="206594"/>
                  <a:pt x="4437608" y="188438"/>
                  <a:pt x="4460480" y="188438"/>
                </a:cubicBezTo>
                <a:close/>
                <a:moveTo>
                  <a:pt x="4614065" y="185895"/>
                </a:moveTo>
                <a:cubicBezTo>
                  <a:pt x="4638026" y="185895"/>
                  <a:pt x="4657635" y="205500"/>
                  <a:pt x="4657635" y="229465"/>
                </a:cubicBezTo>
                <a:cubicBezTo>
                  <a:pt x="4657635" y="253430"/>
                  <a:pt x="4638026" y="273035"/>
                  <a:pt x="4614065" y="273035"/>
                </a:cubicBezTo>
                <a:cubicBezTo>
                  <a:pt x="4590100" y="273035"/>
                  <a:pt x="4570495" y="253430"/>
                  <a:pt x="4570495" y="229465"/>
                </a:cubicBezTo>
                <a:cubicBezTo>
                  <a:pt x="4570495" y="205500"/>
                  <a:pt x="4590100" y="185895"/>
                  <a:pt x="4614065" y="185895"/>
                </a:cubicBezTo>
                <a:close/>
                <a:moveTo>
                  <a:pt x="4768012" y="183356"/>
                </a:moveTo>
                <a:cubicBezTo>
                  <a:pt x="4793426" y="183356"/>
                  <a:pt x="4814125" y="204051"/>
                  <a:pt x="4814125" y="229469"/>
                </a:cubicBezTo>
                <a:cubicBezTo>
                  <a:pt x="4814125" y="254883"/>
                  <a:pt x="4793426" y="275581"/>
                  <a:pt x="4768012" y="275581"/>
                </a:cubicBezTo>
                <a:cubicBezTo>
                  <a:pt x="4742594" y="275581"/>
                  <a:pt x="4721900" y="254883"/>
                  <a:pt x="4721900" y="229469"/>
                </a:cubicBezTo>
                <a:cubicBezTo>
                  <a:pt x="4721900" y="204051"/>
                  <a:pt x="4742594" y="183356"/>
                  <a:pt x="4768012" y="183356"/>
                </a:cubicBezTo>
                <a:close/>
                <a:moveTo>
                  <a:pt x="4921594" y="180814"/>
                </a:moveTo>
                <a:cubicBezTo>
                  <a:pt x="4948464" y="180814"/>
                  <a:pt x="4970249" y="202599"/>
                  <a:pt x="4970249" y="229469"/>
                </a:cubicBezTo>
                <a:cubicBezTo>
                  <a:pt x="4970249" y="256335"/>
                  <a:pt x="4948464" y="278120"/>
                  <a:pt x="4921594" y="278120"/>
                </a:cubicBezTo>
                <a:cubicBezTo>
                  <a:pt x="4894728" y="278120"/>
                  <a:pt x="4872942" y="256335"/>
                  <a:pt x="4872942" y="229469"/>
                </a:cubicBezTo>
                <a:cubicBezTo>
                  <a:pt x="4872942" y="202599"/>
                  <a:pt x="4894728" y="180814"/>
                  <a:pt x="4921594" y="180814"/>
                </a:cubicBezTo>
                <a:close/>
                <a:moveTo>
                  <a:pt x="5075541" y="178637"/>
                </a:moveTo>
                <a:cubicBezTo>
                  <a:pt x="5103864" y="178637"/>
                  <a:pt x="5126735" y="201512"/>
                  <a:pt x="5126735" y="229831"/>
                </a:cubicBezTo>
                <a:cubicBezTo>
                  <a:pt x="5126735" y="258153"/>
                  <a:pt x="5103864" y="281025"/>
                  <a:pt x="5075541" y="281025"/>
                </a:cubicBezTo>
                <a:cubicBezTo>
                  <a:pt x="5047222" y="281025"/>
                  <a:pt x="5024348" y="258153"/>
                  <a:pt x="5024348" y="229831"/>
                </a:cubicBezTo>
                <a:cubicBezTo>
                  <a:pt x="5024348" y="201512"/>
                  <a:pt x="5047222" y="178637"/>
                  <a:pt x="5075541" y="178637"/>
                </a:cubicBezTo>
                <a:close/>
                <a:moveTo>
                  <a:pt x="5229126" y="176095"/>
                </a:moveTo>
                <a:cubicBezTo>
                  <a:pt x="5258536" y="176095"/>
                  <a:pt x="5282500" y="200060"/>
                  <a:pt x="5282500" y="229469"/>
                </a:cubicBezTo>
                <a:cubicBezTo>
                  <a:pt x="5282500" y="258878"/>
                  <a:pt x="5258536" y="282843"/>
                  <a:pt x="5229126" y="282843"/>
                </a:cubicBezTo>
                <a:cubicBezTo>
                  <a:pt x="5199718" y="282843"/>
                  <a:pt x="5175752" y="258878"/>
                  <a:pt x="5175752" y="229469"/>
                </a:cubicBezTo>
                <a:cubicBezTo>
                  <a:pt x="5175752" y="200060"/>
                  <a:pt x="5199718" y="176095"/>
                  <a:pt x="5229126" y="176095"/>
                </a:cubicBezTo>
                <a:close/>
                <a:moveTo>
                  <a:pt x="5383074" y="173552"/>
                </a:moveTo>
                <a:cubicBezTo>
                  <a:pt x="5414297" y="173552"/>
                  <a:pt x="5439352" y="198604"/>
                  <a:pt x="5439352" y="229831"/>
                </a:cubicBezTo>
                <a:cubicBezTo>
                  <a:pt x="5439352" y="261054"/>
                  <a:pt x="5414297" y="286110"/>
                  <a:pt x="5383074" y="286110"/>
                </a:cubicBezTo>
                <a:cubicBezTo>
                  <a:pt x="5351847" y="286110"/>
                  <a:pt x="5326795" y="261054"/>
                  <a:pt x="5326795" y="229831"/>
                </a:cubicBezTo>
                <a:cubicBezTo>
                  <a:pt x="5326795" y="198604"/>
                  <a:pt x="5351847" y="173552"/>
                  <a:pt x="5383074" y="173552"/>
                </a:cubicBezTo>
                <a:close/>
                <a:moveTo>
                  <a:pt x="5536659" y="171010"/>
                </a:moveTo>
                <a:cubicBezTo>
                  <a:pt x="5569144" y="171010"/>
                  <a:pt x="5595476" y="197342"/>
                  <a:pt x="5595476" y="229827"/>
                </a:cubicBezTo>
                <a:cubicBezTo>
                  <a:pt x="5595476" y="262316"/>
                  <a:pt x="5569144" y="288649"/>
                  <a:pt x="5536659" y="288649"/>
                </a:cubicBezTo>
                <a:cubicBezTo>
                  <a:pt x="5504174" y="288649"/>
                  <a:pt x="5477838" y="262316"/>
                  <a:pt x="5477838" y="229827"/>
                </a:cubicBezTo>
                <a:cubicBezTo>
                  <a:pt x="5477838" y="197342"/>
                  <a:pt x="5504174" y="171010"/>
                  <a:pt x="5536659" y="171010"/>
                </a:cubicBezTo>
                <a:close/>
                <a:moveTo>
                  <a:pt x="5690606" y="168105"/>
                </a:moveTo>
                <a:cubicBezTo>
                  <a:pt x="5724734" y="168105"/>
                  <a:pt x="5752329" y="195699"/>
                  <a:pt x="5752329" y="229827"/>
                </a:cubicBezTo>
                <a:cubicBezTo>
                  <a:pt x="5752329" y="263959"/>
                  <a:pt x="5724734" y="291553"/>
                  <a:pt x="5690606" y="291553"/>
                </a:cubicBezTo>
                <a:cubicBezTo>
                  <a:pt x="5656475" y="291553"/>
                  <a:pt x="5628880" y="263959"/>
                  <a:pt x="5628880" y="229827"/>
                </a:cubicBezTo>
                <a:cubicBezTo>
                  <a:pt x="5628880" y="195699"/>
                  <a:pt x="5656475" y="168105"/>
                  <a:pt x="5690606" y="168105"/>
                </a:cubicBezTo>
                <a:close/>
                <a:moveTo>
                  <a:pt x="5844554" y="165566"/>
                </a:moveTo>
                <a:cubicBezTo>
                  <a:pt x="5880046" y="165566"/>
                  <a:pt x="5908822" y="194338"/>
                  <a:pt x="5908822" y="229831"/>
                </a:cubicBezTo>
                <a:cubicBezTo>
                  <a:pt x="5908822" y="265324"/>
                  <a:pt x="5880046" y="294100"/>
                  <a:pt x="5844554" y="294100"/>
                </a:cubicBezTo>
                <a:cubicBezTo>
                  <a:pt x="5809062" y="294100"/>
                  <a:pt x="5780289" y="265324"/>
                  <a:pt x="5780289" y="229831"/>
                </a:cubicBezTo>
                <a:cubicBezTo>
                  <a:pt x="5780289" y="194338"/>
                  <a:pt x="5809062" y="165566"/>
                  <a:pt x="5844554" y="165566"/>
                </a:cubicBezTo>
                <a:close/>
                <a:moveTo>
                  <a:pt x="5998136" y="162296"/>
                </a:moveTo>
                <a:cubicBezTo>
                  <a:pt x="6035435" y="162296"/>
                  <a:pt x="6065671" y="192532"/>
                  <a:pt x="6065671" y="229831"/>
                </a:cubicBezTo>
                <a:cubicBezTo>
                  <a:pt x="6065671" y="267127"/>
                  <a:pt x="6035435" y="297363"/>
                  <a:pt x="5998136" y="297363"/>
                </a:cubicBezTo>
                <a:cubicBezTo>
                  <a:pt x="5960840" y="297363"/>
                  <a:pt x="5930604" y="267127"/>
                  <a:pt x="5930604" y="229827"/>
                </a:cubicBezTo>
                <a:cubicBezTo>
                  <a:pt x="5930604" y="192532"/>
                  <a:pt x="5960840" y="162296"/>
                  <a:pt x="5998136" y="162296"/>
                </a:cubicBezTo>
                <a:close/>
                <a:moveTo>
                  <a:pt x="6152086" y="159757"/>
                </a:moveTo>
                <a:cubicBezTo>
                  <a:pt x="6190785" y="159757"/>
                  <a:pt x="6222160" y="191129"/>
                  <a:pt x="6222160" y="229831"/>
                </a:cubicBezTo>
                <a:cubicBezTo>
                  <a:pt x="6222160" y="268533"/>
                  <a:pt x="6190785" y="299909"/>
                  <a:pt x="6152086" y="299909"/>
                </a:cubicBezTo>
                <a:cubicBezTo>
                  <a:pt x="6113384" y="299909"/>
                  <a:pt x="6082008" y="268533"/>
                  <a:pt x="6082008" y="229831"/>
                </a:cubicBezTo>
                <a:cubicBezTo>
                  <a:pt x="6082008" y="191129"/>
                  <a:pt x="6113384" y="159757"/>
                  <a:pt x="6152086" y="159757"/>
                </a:cubicBezTo>
                <a:close/>
                <a:moveTo>
                  <a:pt x="6305668" y="156852"/>
                </a:moveTo>
                <a:cubicBezTo>
                  <a:pt x="6345975" y="156852"/>
                  <a:pt x="6378650" y="189528"/>
                  <a:pt x="6378650" y="229831"/>
                </a:cubicBezTo>
                <a:cubicBezTo>
                  <a:pt x="6378650" y="270138"/>
                  <a:pt x="6345975" y="302814"/>
                  <a:pt x="6305668" y="302814"/>
                </a:cubicBezTo>
                <a:cubicBezTo>
                  <a:pt x="6265365" y="302814"/>
                  <a:pt x="6232689" y="270138"/>
                  <a:pt x="6232689" y="229831"/>
                </a:cubicBezTo>
                <a:cubicBezTo>
                  <a:pt x="6232689" y="189528"/>
                  <a:pt x="6265365" y="156852"/>
                  <a:pt x="6305668" y="156852"/>
                </a:cubicBezTo>
                <a:close/>
                <a:moveTo>
                  <a:pt x="6613200" y="153947"/>
                </a:moveTo>
                <a:cubicBezTo>
                  <a:pt x="6655112" y="153947"/>
                  <a:pt x="6689088" y="187923"/>
                  <a:pt x="6689088" y="229831"/>
                </a:cubicBezTo>
                <a:cubicBezTo>
                  <a:pt x="6689088" y="271743"/>
                  <a:pt x="6655112" y="305718"/>
                  <a:pt x="6613200" y="305718"/>
                </a:cubicBezTo>
                <a:cubicBezTo>
                  <a:pt x="6571289" y="305718"/>
                  <a:pt x="6537317" y="271743"/>
                  <a:pt x="6537317" y="229831"/>
                </a:cubicBezTo>
                <a:cubicBezTo>
                  <a:pt x="6537317" y="187923"/>
                  <a:pt x="6571289" y="153947"/>
                  <a:pt x="6613200" y="153947"/>
                </a:cubicBezTo>
                <a:close/>
                <a:moveTo>
                  <a:pt x="6459616" y="153944"/>
                </a:moveTo>
                <a:cubicBezTo>
                  <a:pt x="6501371" y="153944"/>
                  <a:pt x="6535137" y="187710"/>
                  <a:pt x="6535137" y="229465"/>
                </a:cubicBezTo>
                <a:cubicBezTo>
                  <a:pt x="6535137" y="271221"/>
                  <a:pt x="6501371" y="304986"/>
                  <a:pt x="6459616" y="304986"/>
                </a:cubicBezTo>
                <a:cubicBezTo>
                  <a:pt x="6417860" y="304986"/>
                  <a:pt x="6384094" y="271221"/>
                  <a:pt x="6384094" y="229465"/>
                </a:cubicBezTo>
                <a:cubicBezTo>
                  <a:pt x="6384094" y="187710"/>
                  <a:pt x="6417860" y="153944"/>
                  <a:pt x="6459616" y="153944"/>
                </a:cubicBezTo>
                <a:close/>
                <a:moveTo>
                  <a:pt x="923681" y="75518"/>
                </a:moveTo>
                <a:cubicBezTo>
                  <a:pt x="924043" y="75518"/>
                  <a:pt x="924043" y="75518"/>
                  <a:pt x="924043" y="75880"/>
                </a:cubicBezTo>
                <a:cubicBezTo>
                  <a:pt x="924043" y="76242"/>
                  <a:pt x="923681" y="76242"/>
                  <a:pt x="923681" y="76242"/>
                </a:cubicBezTo>
                <a:cubicBezTo>
                  <a:pt x="923319" y="76242"/>
                  <a:pt x="923319" y="76242"/>
                  <a:pt x="923319" y="75880"/>
                </a:cubicBezTo>
                <a:cubicBezTo>
                  <a:pt x="923319" y="75518"/>
                  <a:pt x="923319" y="75518"/>
                  <a:pt x="923681" y="75518"/>
                </a:cubicBezTo>
                <a:close/>
                <a:moveTo>
                  <a:pt x="462205" y="75518"/>
                </a:moveTo>
                <a:cubicBezTo>
                  <a:pt x="462567" y="75518"/>
                  <a:pt x="462567" y="75518"/>
                  <a:pt x="462567" y="75880"/>
                </a:cubicBezTo>
                <a:cubicBezTo>
                  <a:pt x="462567" y="76242"/>
                  <a:pt x="462205" y="76242"/>
                  <a:pt x="462205" y="76242"/>
                </a:cubicBezTo>
                <a:cubicBezTo>
                  <a:pt x="461842" y="76242"/>
                  <a:pt x="461842" y="76242"/>
                  <a:pt x="461842" y="75880"/>
                </a:cubicBezTo>
                <a:cubicBezTo>
                  <a:pt x="461842" y="75518"/>
                  <a:pt x="461842" y="75518"/>
                  <a:pt x="462205" y="75518"/>
                </a:cubicBezTo>
                <a:close/>
                <a:moveTo>
                  <a:pt x="308257" y="75518"/>
                </a:moveTo>
                <a:cubicBezTo>
                  <a:pt x="308619" y="75518"/>
                  <a:pt x="308619" y="75518"/>
                  <a:pt x="308619" y="75880"/>
                </a:cubicBezTo>
                <a:cubicBezTo>
                  <a:pt x="308619" y="76242"/>
                  <a:pt x="308257" y="76242"/>
                  <a:pt x="308257" y="76242"/>
                </a:cubicBezTo>
                <a:cubicBezTo>
                  <a:pt x="307895" y="76242"/>
                  <a:pt x="307895" y="76242"/>
                  <a:pt x="307895" y="75880"/>
                </a:cubicBezTo>
                <a:cubicBezTo>
                  <a:pt x="307895" y="75518"/>
                  <a:pt x="307895" y="75518"/>
                  <a:pt x="308257" y="75518"/>
                </a:cubicBezTo>
                <a:close/>
                <a:moveTo>
                  <a:pt x="154676" y="75155"/>
                </a:moveTo>
                <a:cubicBezTo>
                  <a:pt x="155076" y="75155"/>
                  <a:pt x="155400" y="75480"/>
                  <a:pt x="155400" y="75880"/>
                </a:cubicBezTo>
                <a:cubicBezTo>
                  <a:pt x="155400" y="76284"/>
                  <a:pt x="155076" y="76608"/>
                  <a:pt x="154676" y="76608"/>
                </a:cubicBezTo>
                <a:cubicBezTo>
                  <a:pt x="154272" y="76608"/>
                  <a:pt x="153948" y="76284"/>
                  <a:pt x="153948" y="75880"/>
                </a:cubicBezTo>
                <a:cubicBezTo>
                  <a:pt x="153948" y="75480"/>
                  <a:pt x="154272" y="75155"/>
                  <a:pt x="154676" y="75155"/>
                </a:cubicBezTo>
                <a:close/>
                <a:moveTo>
                  <a:pt x="725" y="75155"/>
                </a:moveTo>
                <a:cubicBezTo>
                  <a:pt x="1090" y="75155"/>
                  <a:pt x="1453" y="75518"/>
                  <a:pt x="1453" y="75880"/>
                </a:cubicBezTo>
                <a:cubicBezTo>
                  <a:pt x="1453" y="76246"/>
                  <a:pt x="725" y="76608"/>
                  <a:pt x="725" y="76608"/>
                </a:cubicBezTo>
                <a:cubicBezTo>
                  <a:pt x="362" y="76608"/>
                  <a:pt x="0" y="76246"/>
                  <a:pt x="0" y="75880"/>
                </a:cubicBezTo>
                <a:cubicBezTo>
                  <a:pt x="0" y="75518"/>
                  <a:pt x="362" y="75155"/>
                  <a:pt x="725" y="75155"/>
                </a:cubicBezTo>
                <a:close/>
                <a:moveTo>
                  <a:pt x="1077266" y="74431"/>
                </a:moveTo>
                <a:cubicBezTo>
                  <a:pt x="1078067" y="74431"/>
                  <a:pt x="1078718" y="75083"/>
                  <a:pt x="1078718" y="75884"/>
                </a:cubicBezTo>
                <a:cubicBezTo>
                  <a:pt x="1078718" y="76684"/>
                  <a:pt x="1078067" y="77336"/>
                  <a:pt x="1077266" y="77336"/>
                </a:cubicBezTo>
                <a:cubicBezTo>
                  <a:pt x="1076462" y="77336"/>
                  <a:pt x="1075814" y="76684"/>
                  <a:pt x="1075814" y="75884"/>
                </a:cubicBezTo>
                <a:cubicBezTo>
                  <a:pt x="1075814" y="75083"/>
                  <a:pt x="1076462" y="74431"/>
                  <a:pt x="1077266" y="74431"/>
                </a:cubicBezTo>
                <a:close/>
                <a:moveTo>
                  <a:pt x="1231217" y="73703"/>
                </a:moveTo>
                <a:cubicBezTo>
                  <a:pt x="1232418" y="73703"/>
                  <a:pt x="1233394" y="74679"/>
                  <a:pt x="1233394" y="75880"/>
                </a:cubicBezTo>
                <a:cubicBezTo>
                  <a:pt x="1233394" y="77084"/>
                  <a:pt x="1232418" y="78060"/>
                  <a:pt x="1231217" y="78060"/>
                </a:cubicBezTo>
                <a:cubicBezTo>
                  <a:pt x="1230013" y="78060"/>
                  <a:pt x="1229037" y="77084"/>
                  <a:pt x="1229037" y="75880"/>
                </a:cubicBezTo>
                <a:cubicBezTo>
                  <a:pt x="1229037" y="74679"/>
                  <a:pt x="1230013" y="73703"/>
                  <a:pt x="1231217" y="73703"/>
                </a:cubicBezTo>
                <a:close/>
                <a:moveTo>
                  <a:pt x="1384799" y="72617"/>
                </a:moveTo>
                <a:cubicBezTo>
                  <a:pt x="1386617" y="72617"/>
                  <a:pt x="1388069" y="74069"/>
                  <a:pt x="1388069" y="75884"/>
                </a:cubicBezTo>
                <a:cubicBezTo>
                  <a:pt x="1388069" y="77702"/>
                  <a:pt x="1386617" y="79154"/>
                  <a:pt x="1384799" y="79154"/>
                </a:cubicBezTo>
                <a:cubicBezTo>
                  <a:pt x="1382984" y="79154"/>
                  <a:pt x="1381532" y="77702"/>
                  <a:pt x="1381532" y="75884"/>
                </a:cubicBezTo>
                <a:cubicBezTo>
                  <a:pt x="1381532" y="74069"/>
                  <a:pt x="1382984" y="72617"/>
                  <a:pt x="1384799" y="72617"/>
                </a:cubicBezTo>
                <a:close/>
                <a:moveTo>
                  <a:pt x="1538746" y="71527"/>
                </a:moveTo>
                <a:cubicBezTo>
                  <a:pt x="1541285" y="71527"/>
                  <a:pt x="1543103" y="73341"/>
                  <a:pt x="1543103" y="75884"/>
                </a:cubicBezTo>
                <a:cubicBezTo>
                  <a:pt x="1543103" y="78426"/>
                  <a:pt x="1540923" y="80241"/>
                  <a:pt x="1538746" y="80241"/>
                </a:cubicBezTo>
                <a:cubicBezTo>
                  <a:pt x="1536204" y="80241"/>
                  <a:pt x="1534389" y="78426"/>
                  <a:pt x="1534389" y="75884"/>
                </a:cubicBezTo>
                <a:cubicBezTo>
                  <a:pt x="1534389" y="73341"/>
                  <a:pt x="1536204" y="71527"/>
                  <a:pt x="1538746" y="71527"/>
                </a:cubicBezTo>
                <a:close/>
                <a:moveTo>
                  <a:pt x="1692331" y="70074"/>
                </a:moveTo>
                <a:cubicBezTo>
                  <a:pt x="1695541" y="70074"/>
                  <a:pt x="1698141" y="72674"/>
                  <a:pt x="1698141" y="75884"/>
                </a:cubicBezTo>
                <a:cubicBezTo>
                  <a:pt x="1698141" y="79093"/>
                  <a:pt x="1695541" y="81693"/>
                  <a:pt x="1692331" y="81693"/>
                </a:cubicBezTo>
                <a:cubicBezTo>
                  <a:pt x="1689122" y="81693"/>
                  <a:pt x="1686522" y="79093"/>
                  <a:pt x="1686522" y="75884"/>
                </a:cubicBezTo>
                <a:cubicBezTo>
                  <a:pt x="1686522" y="72674"/>
                  <a:pt x="1689122" y="70074"/>
                  <a:pt x="1692331" y="70074"/>
                </a:cubicBezTo>
                <a:close/>
                <a:moveTo>
                  <a:pt x="1846279" y="68622"/>
                </a:moveTo>
                <a:cubicBezTo>
                  <a:pt x="1850274" y="68622"/>
                  <a:pt x="1853540" y="71889"/>
                  <a:pt x="1853540" y="75884"/>
                </a:cubicBezTo>
                <a:cubicBezTo>
                  <a:pt x="1853540" y="79879"/>
                  <a:pt x="1850274" y="83145"/>
                  <a:pt x="1846279" y="83145"/>
                </a:cubicBezTo>
                <a:cubicBezTo>
                  <a:pt x="1842284" y="83145"/>
                  <a:pt x="1839017" y="79879"/>
                  <a:pt x="1839017" y="75884"/>
                </a:cubicBezTo>
                <a:cubicBezTo>
                  <a:pt x="1839017" y="71889"/>
                  <a:pt x="1842284" y="68622"/>
                  <a:pt x="1846279" y="68622"/>
                </a:cubicBezTo>
                <a:close/>
                <a:moveTo>
                  <a:pt x="1999860" y="66807"/>
                </a:moveTo>
                <a:cubicBezTo>
                  <a:pt x="2004945" y="66807"/>
                  <a:pt x="2008940" y="70802"/>
                  <a:pt x="2008940" y="75884"/>
                </a:cubicBezTo>
                <a:cubicBezTo>
                  <a:pt x="2008940" y="80969"/>
                  <a:pt x="2004945" y="84960"/>
                  <a:pt x="1999860" y="84960"/>
                </a:cubicBezTo>
                <a:cubicBezTo>
                  <a:pt x="1994779" y="84960"/>
                  <a:pt x="1990784" y="80969"/>
                  <a:pt x="1990784" y="75884"/>
                </a:cubicBezTo>
                <a:cubicBezTo>
                  <a:pt x="1990784" y="70802"/>
                  <a:pt x="1994779" y="66807"/>
                  <a:pt x="1999860" y="66807"/>
                </a:cubicBezTo>
                <a:close/>
                <a:moveTo>
                  <a:pt x="2153811" y="65717"/>
                </a:moveTo>
                <a:cubicBezTo>
                  <a:pt x="2159259" y="65717"/>
                  <a:pt x="2163978" y="70436"/>
                  <a:pt x="2163978" y="75884"/>
                </a:cubicBezTo>
                <a:cubicBezTo>
                  <a:pt x="2163978" y="81331"/>
                  <a:pt x="2159621" y="86050"/>
                  <a:pt x="2153811" y="86050"/>
                </a:cubicBezTo>
                <a:cubicBezTo>
                  <a:pt x="2148364" y="86050"/>
                  <a:pt x="2143645" y="81331"/>
                  <a:pt x="2143645" y="75884"/>
                </a:cubicBezTo>
                <a:cubicBezTo>
                  <a:pt x="2143645" y="70436"/>
                  <a:pt x="2148364" y="65717"/>
                  <a:pt x="2153811" y="65717"/>
                </a:cubicBezTo>
                <a:close/>
                <a:moveTo>
                  <a:pt x="2307393" y="63899"/>
                </a:moveTo>
                <a:cubicBezTo>
                  <a:pt x="2313930" y="63899"/>
                  <a:pt x="2319377" y="69346"/>
                  <a:pt x="2319377" y="75880"/>
                </a:cubicBezTo>
                <a:cubicBezTo>
                  <a:pt x="2319377" y="82417"/>
                  <a:pt x="2313930" y="87864"/>
                  <a:pt x="2307393" y="87864"/>
                </a:cubicBezTo>
                <a:cubicBezTo>
                  <a:pt x="2300859" y="87864"/>
                  <a:pt x="2295412" y="82417"/>
                  <a:pt x="2295412" y="75880"/>
                </a:cubicBezTo>
                <a:cubicBezTo>
                  <a:pt x="2295412" y="69346"/>
                  <a:pt x="2300859" y="63899"/>
                  <a:pt x="2307393" y="63899"/>
                </a:cubicBezTo>
                <a:close/>
                <a:moveTo>
                  <a:pt x="2461344" y="62085"/>
                </a:moveTo>
                <a:cubicBezTo>
                  <a:pt x="2468968" y="62085"/>
                  <a:pt x="2475139" y="68256"/>
                  <a:pt x="2475139" y="75880"/>
                </a:cubicBezTo>
                <a:cubicBezTo>
                  <a:pt x="2475139" y="83507"/>
                  <a:pt x="2468968" y="89679"/>
                  <a:pt x="2461344" y="89679"/>
                </a:cubicBezTo>
                <a:cubicBezTo>
                  <a:pt x="2453716" y="89679"/>
                  <a:pt x="2447545" y="83507"/>
                  <a:pt x="2447545" y="75880"/>
                </a:cubicBezTo>
                <a:cubicBezTo>
                  <a:pt x="2447545" y="68256"/>
                  <a:pt x="2453716" y="62085"/>
                  <a:pt x="2461344" y="62085"/>
                </a:cubicBezTo>
                <a:close/>
                <a:moveTo>
                  <a:pt x="2614925" y="60632"/>
                </a:moveTo>
                <a:cubicBezTo>
                  <a:pt x="2623350" y="60632"/>
                  <a:pt x="2630177" y="67459"/>
                  <a:pt x="2630177" y="75880"/>
                </a:cubicBezTo>
                <a:cubicBezTo>
                  <a:pt x="2630177" y="84304"/>
                  <a:pt x="2623350" y="91131"/>
                  <a:pt x="2614925" y="91131"/>
                </a:cubicBezTo>
                <a:cubicBezTo>
                  <a:pt x="2606505" y="91131"/>
                  <a:pt x="2599678" y="84304"/>
                  <a:pt x="2599678" y="75880"/>
                </a:cubicBezTo>
                <a:cubicBezTo>
                  <a:pt x="2599678" y="67459"/>
                  <a:pt x="2606505" y="60632"/>
                  <a:pt x="2614925" y="60632"/>
                </a:cubicBezTo>
                <a:close/>
                <a:moveTo>
                  <a:pt x="2768873" y="58818"/>
                </a:moveTo>
                <a:cubicBezTo>
                  <a:pt x="2778311" y="58818"/>
                  <a:pt x="2785939" y="66442"/>
                  <a:pt x="2785939" y="75884"/>
                </a:cubicBezTo>
                <a:cubicBezTo>
                  <a:pt x="2785939" y="85322"/>
                  <a:pt x="2778311" y="92946"/>
                  <a:pt x="2768873" y="92946"/>
                </a:cubicBezTo>
                <a:cubicBezTo>
                  <a:pt x="2759431" y="92946"/>
                  <a:pt x="2751807" y="85322"/>
                  <a:pt x="2751807" y="75884"/>
                </a:cubicBezTo>
                <a:cubicBezTo>
                  <a:pt x="2751807" y="66442"/>
                  <a:pt x="2759431" y="58818"/>
                  <a:pt x="2768873" y="58818"/>
                </a:cubicBezTo>
                <a:close/>
                <a:moveTo>
                  <a:pt x="2922458" y="56641"/>
                </a:moveTo>
                <a:cubicBezTo>
                  <a:pt x="2933086" y="56641"/>
                  <a:pt x="2941700" y="65256"/>
                  <a:pt x="2941700" y="75884"/>
                </a:cubicBezTo>
                <a:cubicBezTo>
                  <a:pt x="2941700" y="86511"/>
                  <a:pt x="2933086" y="95126"/>
                  <a:pt x="2922458" y="95126"/>
                </a:cubicBezTo>
                <a:cubicBezTo>
                  <a:pt x="2911830" y="95126"/>
                  <a:pt x="2903216" y="86511"/>
                  <a:pt x="2903216" y="75884"/>
                </a:cubicBezTo>
                <a:cubicBezTo>
                  <a:pt x="2903216" y="65256"/>
                  <a:pt x="2911830" y="56641"/>
                  <a:pt x="2922458" y="56641"/>
                </a:cubicBezTo>
                <a:close/>
                <a:moveTo>
                  <a:pt x="3076406" y="54461"/>
                </a:moveTo>
                <a:cubicBezTo>
                  <a:pt x="3088234" y="54461"/>
                  <a:pt x="3097828" y="64051"/>
                  <a:pt x="3097828" y="75884"/>
                </a:cubicBezTo>
                <a:cubicBezTo>
                  <a:pt x="3097828" y="87712"/>
                  <a:pt x="3088234" y="97303"/>
                  <a:pt x="3076406" y="97303"/>
                </a:cubicBezTo>
                <a:cubicBezTo>
                  <a:pt x="3064573" y="97303"/>
                  <a:pt x="3054982" y="87712"/>
                  <a:pt x="3054982" y="75884"/>
                </a:cubicBezTo>
                <a:cubicBezTo>
                  <a:pt x="3054982" y="64051"/>
                  <a:pt x="3064573" y="54461"/>
                  <a:pt x="3076406" y="54461"/>
                </a:cubicBezTo>
                <a:close/>
                <a:moveTo>
                  <a:pt x="3230353" y="53008"/>
                </a:moveTo>
                <a:cubicBezTo>
                  <a:pt x="3242986" y="53008"/>
                  <a:pt x="3253228" y="63251"/>
                  <a:pt x="3253228" y="75884"/>
                </a:cubicBezTo>
                <a:cubicBezTo>
                  <a:pt x="3253228" y="88516"/>
                  <a:pt x="3242986" y="98759"/>
                  <a:pt x="3230353" y="98759"/>
                </a:cubicBezTo>
                <a:cubicBezTo>
                  <a:pt x="3217720" y="98759"/>
                  <a:pt x="3207478" y="88516"/>
                  <a:pt x="3207478" y="75884"/>
                </a:cubicBezTo>
                <a:cubicBezTo>
                  <a:pt x="3207478" y="63251"/>
                  <a:pt x="3217720" y="53008"/>
                  <a:pt x="3230353" y="53008"/>
                </a:cubicBezTo>
                <a:close/>
                <a:moveTo>
                  <a:pt x="3383934" y="50832"/>
                </a:moveTo>
                <a:cubicBezTo>
                  <a:pt x="3397772" y="50832"/>
                  <a:pt x="3408986" y="62046"/>
                  <a:pt x="3408986" y="75884"/>
                </a:cubicBezTo>
                <a:cubicBezTo>
                  <a:pt x="3408986" y="89721"/>
                  <a:pt x="3397772" y="100939"/>
                  <a:pt x="3383934" y="100939"/>
                </a:cubicBezTo>
                <a:cubicBezTo>
                  <a:pt x="3370097" y="100939"/>
                  <a:pt x="3358882" y="89721"/>
                  <a:pt x="3358882" y="75884"/>
                </a:cubicBezTo>
                <a:cubicBezTo>
                  <a:pt x="3358882" y="62046"/>
                  <a:pt x="3370097" y="50832"/>
                  <a:pt x="3383934" y="50832"/>
                </a:cubicBezTo>
                <a:close/>
                <a:moveTo>
                  <a:pt x="3537886" y="48651"/>
                </a:moveTo>
                <a:cubicBezTo>
                  <a:pt x="3552924" y="48651"/>
                  <a:pt x="3565118" y="60842"/>
                  <a:pt x="3565118" y="75884"/>
                </a:cubicBezTo>
                <a:cubicBezTo>
                  <a:pt x="3565118" y="90921"/>
                  <a:pt x="3552924" y="103112"/>
                  <a:pt x="3537886" y="103112"/>
                </a:cubicBezTo>
                <a:cubicBezTo>
                  <a:pt x="3522844" y="103112"/>
                  <a:pt x="3510653" y="90921"/>
                  <a:pt x="3510653" y="75884"/>
                </a:cubicBezTo>
                <a:cubicBezTo>
                  <a:pt x="3510653" y="60842"/>
                  <a:pt x="3522844" y="48651"/>
                  <a:pt x="3537886" y="48651"/>
                </a:cubicBezTo>
                <a:close/>
                <a:moveTo>
                  <a:pt x="3691467" y="46109"/>
                </a:moveTo>
                <a:cubicBezTo>
                  <a:pt x="3707912" y="46109"/>
                  <a:pt x="3721242" y="59439"/>
                  <a:pt x="3721242" y="75880"/>
                </a:cubicBezTo>
                <a:cubicBezTo>
                  <a:pt x="3721242" y="92324"/>
                  <a:pt x="3707912" y="105655"/>
                  <a:pt x="3691467" y="105655"/>
                </a:cubicBezTo>
                <a:cubicBezTo>
                  <a:pt x="3675026" y="105655"/>
                  <a:pt x="3661696" y="92324"/>
                  <a:pt x="3661696" y="75880"/>
                </a:cubicBezTo>
                <a:cubicBezTo>
                  <a:pt x="3661696" y="59439"/>
                  <a:pt x="3675026" y="46109"/>
                  <a:pt x="3691467" y="46109"/>
                </a:cubicBezTo>
                <a:close/>
                <a:moveTo>
                  <a:pt x="3845414" y="43932"/>
                </a:moveTo>
                <a:cubicBezTo>
                  <a:pt x="3863060" y="43932"/>
                  <a:pt x="3877366" y="58238"/>
                  <a:pt x="3877366" y="75884"/>
                </a:cubicBezTo>
                <a:cubicBezTo>
                  <a:pt x="3877366" y="93529"/>
                  <a:pt x="3863060" y="107835"/>
                  <a:pt x="3845414" y="107835"/>
                </a:cubicBezTo>
                <a:cubicBezTo>
                  <a:pt x="3827769" y="107835"/>
                  <a:pt x="3813463" y="93529"/>
                  <a:pt x="3813463" y="75884"/>
                </a:cubicBezTo>
                <a:cubicBezTo>
                  <a:pt x="3813463" y="58238"/>
                  <a:pt x="3827769" y="43932"/>
                  <a:pt x="3845414" y="43932"/>
                </a:cubicBezTo>
                <a:close/>
                <a:moveTo>
                  <a:pt x="3999000" y="42118"/>
                </a:moveTo>
                <a:cubicBezTo>
                  <a:pt x="4017651" y="42118"/>
                  <a:pt x="4032769" y="57236"/>
                  <a:pt x="4032769" y="75884"/>
                </a:cubicBezTo>
                <a:cubicBezTo>
                  <a:pt x="4032769" y="94535"/>
                  <a:pt x="4017651" y="109653"/>
                  <a:pt x="3999000" y="109653"/>
                </a:cubicBezTo>
                <a:cubicBezTo>
                  <a:pt x="3980352" y="109653"/>
                  <a:pt x="3965234" y="94535"/>
                  <a:pt x="3965234" y="75884"/>
                </a:cubicBezTo>
                <a:cubicBezTo>
                  <a:pt x="3965234" y="57236"/>
                  <a:pt x="3980352" y="42118"/>
                  <a:pt x="3999000" y="42118"/>
                </a:cubicBezTo>
                <a:close/>
                <a:moveTo>
                  <a:pt x="4152947" y="39575"/>
                </a:moveTo>
                <a:cubicBezTo>
                  <a:pt x="4173002" y="39575"/>
                  <a:pt x="4189256" y="55829"/>
                  <a:pt x="4189256" y="75884"/>
                </a:cubicBezTo>
                <a:cubicBezTo>
                  <a:pt x="4189256" y="95938"/>
                  <a:pt x="4173002" y="112192"/>
                  <a:pt x="4152947" y="112192"/>
                </a:cubicBezTo>
                <a:cubicBezTo>
                  <a:pt x="4132896" y="112192"/>
                  <a:pt x="4116638" y="95938"/>
                  <a:pt x="4116638" y="75884"/>
                </a:cubicBezTo>
                <a:cubicBezTo>
                  <a:pt x="4116638" y="55829"/>
                  <a:pt x="4132896" y="39575"/>
                  <a:pt x="4152947" y="39575"/>
                </a:cubicBezTo>
                <a:close/>
                <a:moveTo>
                  <a:pt x="4306532" y="37033"/>
                </a:moveTo>
                <a:cubicBezTo>
                  <a:pt x="4327952" y="37033"/>
                  <a:pt x="4345380" y="54461"/>
                  <a:pt x="4345380" y="75884"/>
                </a:cubicBezTo>
                <a:cubicBezTo>
                  <a:pt x="4345380" y="97306"/>
                  <a:pt x="4327952" y="114735"/>
                  <a:pt x="4306532" y="114735"/>
                </a:cubicBezTo>
                <a:cubicBezTo>
                  <a:pt x="4285110" y="114735"/>
                  <a:pt x="4267682" y="97306"/>
                  <a:pt x="4267682" y="75884"/>
                </a:cubicBezTo>
                <a:cubicBezTo>
                  <a:pt x="4267682" y="54461"/>
                  <a:pt x="4285110" y="37033"/>
                  <a:pt x="4306532" y="37033"/>
                </a:cubicBezTo>
                <a:close/>
                <a:moveTo>
                  <a:pt x="4460480" y="34852"/>
                </a:moveTo>
                <a:cubicBezTo>
                  <a:pt x="4483355" y="34852"/>
                  <a:pt x="4501511" y="53008"/>
                  <a:pt x="4501511" y="75880"/>
                </a:cubicBezTo>
                <a:cubicBezTo>
                  <a:pt x="4501511" y="98755"/>
                  <a:pt x="4482993" y="116911"/>
                  <a:pt x="4460480" y="116911"/>
                </a:cubicBezTo>
                <a:cubicBezTo>
                  <a:pt x="4437608" y="116911"/>
                  <a:pt x="4419452" y="98755"/>
                  <a:pt x="4419452" y="75880"/>
                </a:cubicBezTo>
                <a:cubicBezTo>
                  <a:pt x="4419452" y="53008"/>
                  <a:pt x="4437608" y="34852"/>
                  <a:pt x="4460480" y="34852"/>
                </a:cubicBezTo>
                <a:close/>
                <a:moveTo>
                  <a:pt x="4614065" y="32314"/>
                </a:moveTo>
                <a:cubicBezTo>
                  <a:pt x="4638026" y="32314"/>
                  <a:pt x="4657635" y="51918"/>
                  <a:pt x="4657635" y="75884"/>
                </a:cubicBezTo>
                <a:cubicBezTo>
                  <a:pt x="4657635" y="99849"/>
                  <a:pt x="4638026" y="119454"/>
                  <a:pt x="4614065" y="119454"/>
                </a:cubicBezTo>
                <a:cubicBezTo>
                  <a:pt x="4590100" y="119454"/>
                  <a:pt x="4570495" y="99849"/>
                  <a:pt x="4570495" y="75884"/>
                </a:cubicBezTo>
                <a:cubicBezTo>
                  <a:pt x="4570495" y="51918"/>
                  <a:pt x="4590100" y="32314"/>
                  <a:pt x="4614065" y="32314"/>
                </a:cubicBezTo>
                <a:close/>
                <a:moveTo>
                  <a:pt x="4768012" y="29771"/>
                </a:moveTo>
                <a:cubicBezTo>
                  <a:pt x="4793426" y="29771"/>
                  <a:pt x="4814125" y="50466"/>
                  <a:pt x="4814125" y="75884"/>
                </a:cubicBezTo>
                <a:cubicBezTo>
                  <a:pt x="4814125" y="101298"/>
                  <a:pt x="4793426" y="121996"/>
                  <a:pt x="4768012" y="121996"/>
                </a:cubicBezTo>
                <a:cubicBezTo>
                  <a:pt x="4742594" y="121996"/>
                  <a:pt x="4721900" y="101298"/>
                  <a:pt x="4721900" y="75884"/>
                </a:cubicBezTo>
                <a:cubicBezTo>
                  <a:pt x="4721900" y="50466"/>
                  <a:pt x="4742594" y="29771"/>
                  <a:pt x="4768012" y="29771"/>
                </a:cubicBezTo>
                <a:close/>
                <a:moveTo>
                  <a:pt x="4921594" y="27228"/>
                </a:moveTo>
                <a:cubicBezTo>
                  <a:pt x="4948464" y="27228"/>
                  <a:pt x="4970249" y="49014"/>
                  <a:pt x="4970249" y="75880"/>
                </a:cubicBezTo>
                <a:cubicBezTo>
                  <a:pt x="4970249" y="102750"/>
                  <a:pt x="4948464" y="124535"/>
                  <a:pt x="4921594" y="124535"/>
                </a:cubicBezTo>
                <a:cubicBezTo>
                  <a:pt x="4894728" y="124535"/>
                  <a:pt x="4872942" y="102750"/>
                  <a:pt x="4872942" y="75880"/>
                </a:cubicBezTo>
                <a:cubicBezTo>
                  <a:pt x="4872942" y="49014"/>
                  <a:pt x="4894728" y="27228"/>
                  <a:pt x="4921594" y="27228"/>
                </a:cubicBezTo>
                <a:close/>
                <a:moveTo>
                  <a:pt x="5075541" y="24690"/>
                </a:moveTo>
                <a:cubicBezTo>
                  <a:pt x="5103864" y="24690"/>
                  <a:pt x="5126735" y="47565"/>
                  <a:pt x="5126735" y="75884"/>
                </a:cubicBezTo>
                <a:cubicBezTo>
                  <a:pt x="5126735" y="104206"/>
                  <a:pt x="5103864" y="127081"/>
                  <a:pt x="5075541" y="127081"/>
                </a:cubicBezTo>
                <a:cubicBezTo>
                  <a:pt x="5047222" y="127081"/>
                  <a:pt x="5024348" y="104206"/>
                  <a:pt x="5024348" y="75884"/>
                </a:cubicBezTo>
                <a:cubicBezTo>
                  <a:pt x="5024348" y="47565"/>
                  <a:pt x="5047222" y="24690"/>
                  <a:pt x="5075541" y="24690"/>
                </a:cubicBezTo>
                <a:close/>
                <a:moveTo>
                  <a:pt x="5229126" y="22509"/>
                </a:moveTo>
                <a:cubicBezTo>
                  <a:pt x="5258536" y="22509"/>
                  <a:pt x="5282500" y="46471"/>
                  <a:pt x="5282500" y="75884"/>
                </a:cubicBezTo>
                <a:cubicBezTo>
                  <a:pt x="5282500" y="105292"/>
                  <a:pt x="5258536" y="129258"/>
                  <a:pt x="5229126" y="129258"/>
                </a:cubicBezTo>
                <a:cubicBezTo>
                  <a:pt x="5199718" y="129258"/>
                  <a:pt x="5175752" y="105292"/>
                  <a:pt x="5175752" y="75884"/>
                </a:cubicBezTo>
                <a:cubicBezTo>
                  <a:pt x="5175752" y="46471"/>
                  <a:pt x="5199718" y="22509"/>
                  <a:pt x="5229126" y="22509"/>
                </a:cubicBezTo>
                <a:close/>
                <a:moveTo>
                  <a:pt x="5383074" y="19605"/>
                </a:moveTo>
                <a:cubicBezTo>
                  <a:pt x="5414297" y="19605"/>
                  <a:pt x="5439352" y="44657"/>
                  <a:pt x="5439352" y="75884"/>
                </a:cubicBezTo>
                <a:cubicBezTo>
                  <a:pt x="5439352" y="107107"/>
                  <a:pt x="5414297" y="132162"/>
                  <a:pt x="5383074" y="132162"/>
                </a:cubicBezTo>
                <a:cubicBezTo>
                  <a:pt x="5351847" y="132162"/>
                  <a:pt x="5326795" y="107107"/>
                  <a:pt x="5326795" y="75884"/>
                </a:cubicBezTo>
                <a:cubicBezTo>
                  <a:pt x="5326795" y="44657"/>
                  <a:pt x="5351847" y="19605"/>
                  <a:pt x="5383074" y="19605"/>
                </a:cubicBezTo>
                <a:close/>
                <a:moveTo>
                  <a:pt x="5536659" y="17062"/>
                </a:moveTo>
                <a:cubicBezTo>
                  <a:pt x="5569144" y="17062"/>
                  <a:pt x="5595476" y="43395"/>
                  <a:pt x="5595476" y="75880"/>
                </a:cubicBezTo>
                <a:cubicBezTo>
                  <a:pt x="5595476" y="108369"/>
                  <a:pt x="5569144" y="134701"/>
                  <a:pt x="5536659" y="134701"/>
                </a:cubicBezTo>
                <a:cubicBezTo>
                  <a:pt x="5504174" y="134701"/>
                  <a:pt x="5477838" y="108369"/>
                  <a:pt x="5477838" y="75880"/>
                </a:cubicBezTo>
                <a:cubicBezTo>
                  <a:pt x="5477838" y="43395"/>
                  <a:pt x="5504174" y="17062"/>
                  <a:pt x="5536659" y="17062"/>
                </a:cubicBezTo>
                <a:close/>
                <a:moveTo>
                  <a:pt x="5690606" y="14157"/>
                </a:moveTo>
                <a:cubicBezTo>
                  <a:pt x="5724734" y="14157"/>
                  <a:pt x="5752329" y="41752"/>
                  <a:pt x="5752329" y="75880"/>
                </a:cubicBezTo>
                <a:cubicBezTo>
                  <a:pt x="5752329" y="110012"/>
                  <a:pt x="5724734" y="137606"/>
                  <a:pt x="5690606" y="137606"/>
                </a:cubicBezTo>
                <a:cubicBezTo>
                  <a:pt x="5656475" y="137606"/>
                  <a:pt x="5628880" y="110012"/>
                  <a:pt x="5628880" y="75880"/>
                </a:cubicBezTo>
                <a:cubicBezTo>
                  <a:pt x="5628880" y="41752"/>
                  <a:pt x="5656475" y="14157"/>
                  <a:pt x="5690606" y="14157"/>
                </a:cubicBezTo>
                <a:close/>
                <a:moveTo>
                  <a:pt x="5844554" y="11619"/>
                </a:moveTo>
                <a:cubicBezTo>
                  <a:pt x="5880046" y="11619"/>
                  <a:pt x="5908822" y="40391"/>
                  <a:pt x="5908822" y="75884"/>
                </a:cubicBezTo>
                <a:cubicBezTo>
                  <a:pt x="5908822" y="111376"/>
                  <a:pt x="5880046" y="140152"/>
                  <a:pt x="5844554" y="140152"/>
                </a:cubicBezTo>
                <a:cubicBezTo>
                  <a:pt x="5809062" y="140152"/>
                  <a:pt x="5780289" y="111376"/>
                  <a:pt x="5780289" y="75884"/>
                </a:cubicBezTo>
                <a:cubicBezTo>
                  <a:pt x="5780289" y="40391"/>
                  <a:pt x="5809062" y="11619"/>
                  <a:pt x="5844554" y="11619"/>
                </a:cubicBezTo>
                <a:close/>
                <a:moveTo>
                  <a:pt x="5998136" y="8348"/>
                </a:moveTo>
                <a:cubicBezTo>
                  <a:pt x="6035435" y="8348"/>
                  <a:pt x="6065671" y="38584"/>
                  <a:pt x="6065671" y="75884"/>
                </a:cubicBezTo>
                <a:cubicBezTo>
                  <a:pt x="6065671" y="113179"/>
                  <a:pt x="6035435" y="143415"/>
                  <a:pt x="5998136" y="143415"/>
                </a:cubicBezTo>
                <a:cubicBezTo>
                  <a:pt x="5960840" y="143415"/>
                  <a:pt x="5930604" y="113179"/>
                  <a:pt x="5930604" y="75884"/>
                </a:cubicBezTo>
                <a:cubicBezTo>
                  <a:pt x="5930604" y="38584"/>
                  <a:pt x="5960840" y="8348"/>
                  <a:pt x="5998136" y="8348"/>
                </a:cubicBezTo>
                <a:close/>
                <a:moveTo>
                  <a:pt x="6152086" y="5809"/>
                </a:moveTo>
                <a:cubicBezTo>
                  <a:pt x="6190785" y="5809"/>
                  <a:pt x="6222160" y="37181"/>
                  <a:pt x="6222160" y="75884"/>
                </a:cubicBezTo>
                <a:cubicBezTo>
                  <a:pt x="6222160" y="114586"/>
                  <a:pt x="6190785" y="145962"/>
                  <a:pt x="6152086" y="145962"/>
                </a:cubicBezTo>
                <a:cubicBezTo>
                  <a:pt x="6113384" y="145962"/>
                  <a:pt x="6082008" y="114586"/>
                  <a:pt x="6082008" y="75884"/>
                </a:cubicBezTo>
                <a:cubicBezTo>
                  <a:pt x="6082008" y="37181"/>
                  <a:pt x="6113384" y="5809"/>
                  <a:pt x="6152086" y="5809"/>
                </a:cubicBezTo>
                <a:close/>
                <a:moveTo>
                  <a:pt x="6305668" y="2905"/>
                </a:moveTo>
                <a:cubicBezTo>
                  <a:pt x="6345975" y="2905"/>
                  <a:pt x="6378650" y="35580"/>
                  <a:pt x="6378650" y="75884"/>
                </a:cubicBezTo>
                <a:cubicBezTo>
                  <a:pt x="6378650" y="116191"/>
                  <a:pt x="6345975" y="148866"/>
                  <a:pt x="6305668" y="148866"/>
                </a:cubicBezTo>
                <a:cubicBezTo>
                  <a:pt x="6265365" y="148866"/>
                  <a:pt x="6232689" y="116191"/>
                  <a:pt x="6232689" y="75884"/>
                </a:cubicBezTo>
                <a:cubicBezTo>
                  <a:pt x="6232689" y="35580"/>
                  <a:pt x="6265365" y="2905"/>
                  <a:pt x="6305668" y="2905"/>
                </a:cubicBezTo>
                <a:close/>
                <a:moveTo>
                  <a:pt x="6459616" y="362"/>
                </a:moveTo>
                <a:cubicBezTo>
                  <a:pt x="6501371" y="362"/>
                  <a:pt x="6535137" y="34128"/>
                  <a:pt x="6535137" y="75884"/>
                </a:cubicBezTo>
                <a:cubicBezTo>
                  <a:pt x="6535137" y="117639"/>
                  <a:pt x="6501371" y="151405"/>
                  <a:pt x="6459616" y="151405"/>
                </a:cubicBezTo>
                <a:cubicBezTo>
                  <a:pt x="6417860" y="151405"/>
                  <a:pt x="6384094" y="117639"/>
                  <a:pt x="6384094" y="75884"/>
                </a:cubicBezTo>
                <a:cubicBezTo>
                  <a:pt x="6384094" y="34128"/>
                  <a:pt x="6417860" y="362"/>
                  <a:pt x="6459616" y="362"/>
                </a:cubicBezTo>
                <a:close/>
                <a:moveTo>
                  <a:pt x="6613200" y="0"/>
                </a:moveTo>
                <a:cubicBezTo>
                  <a:pt x="6655112" y="0"/>
                  <a:pt x="6689088" y="33976"/>
                  <a:pt x="6689088" y="75884"/>
                </a:cubicBezTo>
                <a:cubicBezTo>
                  <a:pt x="6689088" y="117795"/>
                  <a:pt x="6655112" y="151771"/>
                  <a:pt x="6613200" y="151771"/>
                </a:cubicBezTo>
                <a:cubicBezTo>
                  <a:pt x="6571289" y="151771"/>
                  <a:pt x="6537317" y="117795"/>
                  <a:pt x="6537317" y="75884"/>
                </a:cubicBezTo>
                <a:cubicBezTo>
                  <a:pt x="6537317" y="33976"/>
                  <a:pt x="6571289" y="0"/>
                  <a:pt x="6613200" y="0"/>
                </a:cubicBezTo>
                <a:close/>
              </a:path>
            </a:pathLst>
          </a:custGeom>
          <a:gradFill>
            <a:gsLst>
              <a:gs pos="14000">
                <a:schemeClr val="tx2">
                  <a:lumMod val="75000"/>
                </a:schemeClr>
              </a:gs>
              <a:gs pos="100000">
                <a:schemeClr val="accent1"/>
              </a:gs>
            </a:gsLst>
            <a:lin ang="8100000" scaled="1"/>
          </a:gra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pic>
        <p:nvPicPr>
          <p:cNvPr id="2" name="Picture 1" descr="A picture containing sky">
            <a:extLst>
              <a:ext uri="{FF2B5EF4-FFF2-40B4-BE49-F238E27FC236}">
                <a16:creationId xmlns:a16="http://schemas.microsoft.com/office/drawing/2014/main" id="{FCAE7170-A443-1107-BE26-C643F2CB17D9}"/>
              </a:ext>
            </a:extLst>
          </p:cNvPr>
          <p:cNvPicPr>
            <a:picLocks noChangeAspect="1"/>
          </p:cNvPicPr>
          <p:nvPr userDrawn="1"/>
        </p:nvPicPr>
        <p:blipFill rotWithShape="1">
          <a:blip r:embed="rId2">
            <a:duotone>
              <a:prstClr val="black"/>
              <a:schemeClr val="accent1">
                <a:tint val="45000"/>
                <a:satMod val="400000"/>
              </a:schemeClr>
            </a:duotone>
            <a:alphaModFix amt="5000"/>
          </a:blip>
          <a:srcRect b="6250"/>
          <a:stretch/>
        </p:blipFill>
        <p:spPr>
          <a:xfrm>
            <a:off x="0" y="0"/>
            <a:ext cx="12192000" cy="6858000"/>
          </a:xfrm>
          <a:prstGeom prst="rect">
            <a:avLst/>
          </a:prstGeom>
        </p:spPr>
      </p:pic>
      <p:grpSp>
        <p:nvGrpSpPr>
          <p:cNvPr id="3" name="Group 2">
            <a:extLst>
              <a:ext uri="{FF2B5EF4-FFF2-40B4-BE49-F238E27FC236}">
                <a16:creationId xmlns:a16="http://schemas.microsoft.com/office/drawing/2014/main" id="{D17A0B7B-FEEE-B78F-F592-3A92FCBB9022}"/>
              </a:ext>
            </a:extLst>
          </p:cNvPr>
          <p:cNvGrpSpPr/>
          <p:nvPr userDrawn="1"/>
        </p:nvGrpSpPr>
        <p:grpSpPr>
          <a:xfrm>
            <a:off x="584200" y="480060"/>
            <a:ext cx="3626271" cy="510281"/>
            <a:chOff x="584200" y="480060"/>
            <a:chExt cx="3626271" cy="510281"/>
          </a:xfrm>
        </p:grpSpPr>
        <p:pic>
          <p:nvPicPr>
            <p:cNvPr id="10" name="MS logo white - EMF" descr="Microsoft logo white text version">
              <a:extLst>
                <a:ext uri="{FF2B5EF4-FFF2-40B4-BE49-F238E27FC236}">
                  <a16:creationId xmlns:a16="http://schemas.microsoft.com/office/drawing/2014/main" id="{761EF592-8038-D5EF-1F92-E446F2347C90}"/>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cxnSp>
          <p:nvCxnSpPr>
            <p:cNvPr id="12" name="Straight Connector 11">
              <a:extLst>
                <a:ext uri="{FF2B5EF4-FFF2-40B4-BE49-F238E27FC236}">
                  <a16:creationId xmlns:a16="http://schemas.microsoft.com/office/drawing/2014/main" id="{17C4F535-0E55-2D24-0AD0-FA01A57FDA92}"/>
                </a:ext>
              </a:extLst>
            </p:cNvPr>
            <p:cNvCxnSpPr>
              <a:cxnSpLocks/>
            </p:cNvCxnSpPr>
            <p:nvPr userDrawn="1"/>
          </p:nvCxnSpPr>
          <p:spPr>
            <a:xfrm>
              <a:off x="2246692" y="480060"/>
              <a:ext cx="0" cy="510281"/>
            </a:xfrm>
            <a:prstGeom prst="line">
              <a:avLst/>
            </a:prstGeom>
            <a:noFill/>
            <a:ln w="6350" cap="flat" cmpd="sng" algn="ctr">
              <a:solidFill>
                <a:srgbClr val="FFFFFF"/>
              </a:solidFill>
              <a:prstDash val="solid"/>
              <a:headEnd type="none" w="lg" len="med"/>
              <a:tailEnd type="none" w="lg" len="med"/>
            </a:ln>
            <a:effectLst/>
          </p:spPr>
        </p:cxnSp>
        <p:pic>
          <p:nvPicPr>
            <p:cNvPr id="13" name="Picture 12">
              <a:extLst>
                <a:ext uri="{FF2B5EF4-FFF2-40B4-BE49-F238E27FC236}">
                  <a16:creationId xmlns:a16="http://schemas.microsoft.com/office/drawing/2014/main" id="{3B7EB3E3-5EBD-B8C8-F290-B4241B41B45A}"/>
                </a:ext>
              </a:extLst>
            </p:cNvPr>
            <p:cNvPicPr>
              <a:picLocks noChangeAspect="1"/>
            </p:cNvPicPr>
            <p:nvPr userDrawn="1"/>
          </p:nvPicPr>
          <p:blipFill>
            <a:blip r:embed="rId4"/>
            <a:srcRect t="17334" b="17334"/>
            <a:stretch/>
          </p:blipFill>
          <p:spPr>
            <a:xfrm>
              <a:off x="2397310" y="480060"/>
              <a:ext cx="1813161" cy="482010"/>
            </a:xfrm>
            <a:prstGeom prst="rect">
              <a:avLst/>
            </a:prstGeom>
          </p:spPr>
        </p:pic>
      </p:grpSp>
    </p:spTree>
    <p:extLst>
      <p:ext uri="{BB962C8B-B14F-4D97-AF65-F5344CB8AC3E}">
        <p14:creationId xmlns:p14="http://schemas.microsoft.com/office/powerpoint/2010/main" val="24051852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0">
          <p15:clr>
            <a:srgbClr val="5ACBF0"/>
          </p15:clr>
        </p15:guide>
        <p15:guide id="4" orient="horz" pos="2160">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453920" y="236184"/>
            <a:ext cx="11018520" cy="553998"/>
          </a:xfrm>
        </p:spPr>
        <p:txBody>
          <a:bodyPr/>
          <a:lstStyle/>
          <a:p>
            <a:r>
              <a:rPr lang="en-US"/>
              <a:t>Click to edit Master title style</a:t>
            </a:r>
          </a:p>
        </p:txBody>
      </p:sp>
      <p:sp>
        <p:nvSpPr>
          <p:cNvPr id="3" name="Freeform: Shape 2">
            <a:extLst>
              <a:ext uri="{FF2B5EF4-FFF2-40B4-BE49-F238E27FC236}">
                <a16:creationId xmlns:a16="http://schemas.microsoft.com/office/drawing/2014/main" id="{E37DCF91-72F1-C435-F7C4-F6E94B1A263F}"/>
              </a:ext>
            </a:extLst>
          </p:cNvPr>
          <p:cNvSpPr/>
          <p:nvPr userDrawn="1"/>
        </p:nvSpPr>
        <p:spPr>
          <a:xfrm flipH="1">
            <a:off x="0" y="4787899"/>
            <a:ext cx="12191996" cy="2070099"/>
          </a:xfrm>
          <a:custGeom>
            <a:avLst/>
            <a:gdLst>
              <a:gd name="connsiteX0" fmla="*/ 795455 w 10215358"/>
              <a:gd name="connsiteY0" fmla="*/ 462 h 2727805"/>
              <a:gd name="connsiteX1" fmla="*/ 499463 w 10215358"/>
              <a:gd name="connsiteY1" fmla="*/ 24353 h 2727805"/>
              <a:gd name="connsiteX2" fmla="*/ 95236 w 10215358"/>
              <a:gd name="connsiteY2" fmla="*/ 119650 h 2727805"/>
              <a:gd name="connsiteX3" fmla="*/ 0 w 10215358"/>
              <a:gd name="connsiteY3" fmla="*/ 157430 h 2727805"/>
              <a:gd name="connsiteX4" fmla="*/ 0 w 10215358"/>
              <a:gd name="connsiteY4" fmla="*/ 2727805 h 2727805"/>
              <a:gd name="connsiteX5" fmla="*/ 10215358 w 10215358"/>
              <a:gd name="connsiteY5" fmla="*/ 2727805 h 2727805"/>
              <a:gd name="connsiteX6" fmla="*/ 10144639 w 10215358"/>
              <a:gd name="connsiteY6" fmla="*/ 2558390 h 2727805"/>
              <a:gd name="connsiteX7" fmla="*/ 7779224 w 10215358"/>
              <a:gd name="connsiteY7" fmla="*/ 1469756 h 2727805"/>
              <a:gd name="connsiteX8" fmla="*/ 4355227 w 10215358"/>
              <a:gd name="connsiteY8" fmla="*/ 2122885 h 2727805"/>
              <a:gd name="connsiteX9" fmla="*/ 795455 w 10215358"/>
              <a:gd name="connsiteY9" fmla="*/ 462 h 2727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215358" h="2727805">
                <a:moveTo>
                  <a:pt x="795455" y="462"/>
                </a:moveTo>
                <a:cubicBezTo>
                  <a:pt x="698656" y="2360"/>
                  <a:pt x="600035" y="10149"/>
                  <a:pt x="499463" y="24353"/>
                </a:cubicBezTo>
                <a:cubicBezTo>
                  <a:pt x="355761" y="44646"/>
                  <a:pt x="220974" y="76809"/>
                  <a:pt x="95236" y="119650"/>
                </a:cubicBezTo>
                <a:lnTo>
                  <a:pt x="0" y="157430"/>
                </a:lnTo>
                <a:lnTo>
                  <a:pt x="0" y="2727805"/>
                </a:lnTo>
                <a:lnTo>
                  <a:pt x="10215358" y="2727805"/>
                </a:lnTo>
                <a:lnTo>
                  <a:pt x="10144639" y="2558390"/>
                </a:lnTo>
                <a:cubicBezTo>
                  <a:pt x="9781843" y="1762373"/>
                  <a:pt x="8946083" y="1086740"/>
                  <a:pt x="7779224" y="1469756"/>
                </a:cubicBezTo>
                <a:cubicBezTo>
                  <a:pt x="6647424" y="1841299"/>
                  <a:pt x="5731723" y="3225843"/>
                  <a:pt x="4355227" y="2122885"/>
                </a:cubicBezTo>
                <a:cubicBezTo>
                  <a:pt x="3289527" y="1268936"/>
                  <a:pt x="2247448" y="-28013"/>
                  <a:pt x="795455" y="462"/>
                </a:cubicBezTo>
                <a:close/>
              </a:path>
            </a:pathLst>
          </a:custGeom>
          <a:gradFill flip="none" rotWithShape="1">
            <a:gsLst>
              <a:gs pos="29000">
                <a:srgbClr val="E1F2FF">
                  <a:alpha val="21000"/>
                </a:srgbClr>
              </a:gs>
              <a:gs pos="0">
                <a:schemeClr val="bg1">
                  <a:alpha val="8000"/>
                </a:schemeClr>
              </a:gs>
              <a:gs pos="54000">
                <a:schemeClr val="accent1">
                  <a:lumMod val="40000"/>
                  <a:lumOff val="60000"/>
                  <a:alpha val="0"/>
                </a:schemeClr>
              </a:gs>
              <a:gs pos="100000">
                <a:schemeClr val="bg1">
                  <a:alpha val="50000"/>
                </a:schemeClr>
              </a:gs>
            </a:gsLst>
            <a:lin ang="10800000" scaled="1"/>
            <a:tileRect/>
          </a:gradFill>
          <a:ln w="214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EB4A352D-5B23-CDE4-330A-E65CF1835B85}"/>
              </a:ext>
            </a:extLst>
          </p:cNvPr>
          <p:cNvSpPr/>
          <p:nvPr userDrawn="1"/>
        </p:nvSpPr>
        <p:spPr>
          <a:xfrm flipH="1" flipV="1">
            <a:off x="0" y="5378450"/>
            <a:ext cx="2676829" cy="1479550"/>
          </a:xfrm>
          <a:custGeom>
            <a:avLst/>
            <a:gdLst>
              <a:gd name="connsiteX0" fmla="*/ 1728128 w 2676829"/>
              <a:gd name="connsiteY0" fmla="*/ 606282 h 1479550"/>
              <a:gd name="connsiteX1" fmla="*/ 919525 w 2676829"/>
              <a:gd name="connsiteY1" fmla="*/ 69905 h 1479550"/>
              <a:gd name="connsiteX2" fmla="*/ 893889 w 2676829"/>
              <a:gd name="connsiteY2" fmla="*/ 0 h 1479550"/>
              <a:gd name="connsiteX3" fmla="*/ 903310 w 2676829"/>
              <a:gd name="connsiteY3" fmla="*/ 0 h 1479550"/>
              <a:gd name="connsiteX4" fmla="*/ 927695 w 2676829"/>
              <a:gd name="connsiteY4" fmla="*/ 66498 h 1479550"/>
              <a:gd name="connsiteX5" fmla="*/ 1728128 w 2676829"/>
              <a:gd name="connsiteY5" fmla="*/ 597442 h 1479550"/>
              <a:gd name="connsiteX6" fmla="*/ 2528587 w 2676829"/>
              <a:gd name="connsiteY6" fmla="*/ 66485 h 1479550"/>
              <a:gd name="connsiteX7" fmla="*/ 2552969 w 2676829"/>
              <a:gd name="connsiteY7" fmla="*/ 0 h 1479550"/>
              <a:gd name="connsiteX8" fmla="*/ 2562369 w 2676829"/>
              <a:gd name="connsiteY8" fmla="*/ 0 h 1479550"/>
              <a:gd name="connsiteX9" fmla="*/ 2536735 w 2676829"/>
              <a:gd name="connsiteY9" fmla="*/ 69905 h 1479550"/>
              <a:gd name="connsiteX10" fmla="*/ 1728128 w 2676829"/>
              <a:gd name="connsiteY10" fmla="*/ 606282 h 1479550"/>
              <a:gd name="connsiteX11" fmla="*/ 1728128 w 2676829"/>
              <a:gd name="connsiteY11" fmla="*/ 824607 h 1479550"/>
              <a:gd name="connsiteX12" fmla="*/ 681500 w 2676829"/>
              <a:gd name="connsiteY12" fmla="*/ 54175 h 1479550"/>
              <a:gd name="connsiteX13" fmla="*/ 667538 w 2676829"/>
              <a:gd name="connsiteY13" fmla="*/ 0 h 1479550"/>
              <a:gd name="connsiteX14" fmla="*/ 676665 w 2676829"/>
              <a:gd name="connsiteY14" fmla="*/ 0 h 1479550"/>
              <a:gd name="connsiteX15" fmla="*/ 689944 w 2676829"/>
              <a:gd name="connsiteY15" fmla="*/ 51521 h 1479550"/>
              <a:gd name="connsiteX16" fmla="*/ 1728128 w 2676829"/>
              <a:gd name="connsiteY16" fmla="*/ 815736 h 1479550"/>
              <a:gd name="connsiteX17" fmla="*/ 2614431 w 2676829"/>
              <a:gd name="connsiteY17" fmla="*/ 357511 h 1479550"/>
              <a:gd name="connsiteX18" fmla="*/ 2676829 w 2676829"/>
              <a:gd name="connsiteY18" fmla="*/ 253473 h 1479550"/>
              <a:gd name="connsiteX19" fmla="*/ 2676829 w 2676829"/>
              <a:gd name="connsiteY19" fmla="*/ 270641 h 1479550"/>
              <a:gd name="connsiteX20" fmla="*/ 2621635 w 2676829"/>
              <a:gd name="connsiteY20" fmla="*/ 362666 h 1479550"/>
              <a:gd name="connsiteX21" fmla="*/ 1728128 w 2676829"/>
              <a:gd name="connsiteY21" fmla="*/ 824607 h 1479550"/>
              <a:gd name="connsiteX22" fmla="*/ 1728128 w 2676829"/>
              <a:gd name="connsiteY22" fmla="*/ 1042900 h 1479550"/>
              <a:gd name="connsiteX23" fmla="*/ 473009 w 2676829"/>
              <a:gd name="connsiteY23" fmla="*/ 118996 h 1479550"/>
              <a:gd name="connsiteX24" fmla="*/ 442340 w 2676829"/>
              <a:gd name="connsiteY24" fmla="*/ 0 h 1479550"/>
              <a:gd name="connsiteX25" fmla="*/ 451457 w 2676829"/>
              <a:gd name="connsiteY25" fmla="*/ 0 h 1479550"/>
              <a:gd name="connsiteX26" fmla="*/ 481451 w 2676829"/>
              <a:gd name="connsiteY26" fmla="*/ 116374 h 1479550"/>
              <a:gd name="connsiteX27" fmla="*/ 1728128 w 2676829"/>
              <a:gd name="connsiteY27" fmla="*/ 1034060 h 1479550"/>
              <a:gd name="connsiteX28" fmla="*/ 2661817 w 2676829"/>
              <a:gd name="connsiteY28" fmla="*/ 640122 h 1479550"/>
              <a:gd name="connsiteX29" fmla="*/ 2676829 w 2676829"/>
              <a:gd name="connsiteY29" fmla="*/ 622156 h 1479550"/>
              <a:gd name="connsiteX30" fmla="*/ 2676829 w 2676829"/>
              <a:gd name="connsiteY30" fmla="*/ 635887 h 1479550"/>
              <a:gd name="connsiteX31" fmla="*/ 2668136 w 2676829"/>
              <a:gd name="connsiteY31" fmla="*/ 646290 h 1479550"/>
              <a:gd name="connsiteX32" fmla="*/ 1728128 w 2676829"/>
              <a:gd name="connsiteY32" fmla="*/ 1042900 h 1479550"/>
              <a:gd name="connsiteX33" fmla="*/ 1728128 w 2676829"/>
              <a:gd name="connsiteY33" fmla="*/ 1261225 h 1479550"/>
              <a:gd name="connsiteX34" fmla="*/ 226689 w 2676829"/>
              <a:gd name="connsiteY34" fmla="*/ 37084 h 1479550"/>
              <a:gd name="connsiteX35" fmla="*/ 221014 w 2676829"/>
              <a:gd name="connsiteY35" fmla="*/ 0 h 1479550"/>
              <a:gd name="connsiteX36" fmla="*/ 229972 w 2676829"/>
              <a:gd name="connsiteY36" fmla="*/ 0 h 1479550"/>
              <a:gd name="connsiteX37" fmla="*/ 235381 w 2676829"/>
              <a:gd name="connsiteY37" fmla="*/ 35337 h 1479550"/>
              <a:gd name="connsiteX38" fmla="*/ 1728128 w 2676829"/>
              <a:gd name="connsiteY38" fmla="*/ 1252385 h 1479550"/>
              <a:gd name="connsiteX39" fmla="*/ 2485997 w 2676829"/>
              <a:gd name="connsiteY39" fmla="*/ 1050211 h 1479550"/>
              <a:gd name="connsiteX40" fmla="*/ 2676829 w 2676829"/>
              <a:gd name="connsiteY40" fmla="*/ 917868 h 1479550"/>
              <a:gd name="connsiteX41" fmla="*/ 2676829 w 2676829"/>
              <a:gd name="connsiteY41" fmla="*/ 928586 h 1479550"/>
              <a:gd name="connsiteX42" fmla="*/ 2490404 w 2676829"/>
              <a:gd name="connsiteY42" fmla="*/ 1057875 h 1479550"/>
              <a:gd name="connsiteX43" fmla="*/ 1728128 w 2676829"/>
              <a:gd name="connsiteY43" fmla="*/ 1261225 h 1479550"/>
              <a:gd name="connsiteX44" fmla="*/ 1728128 w 2676829"/>
              <a:gd name="connsiteY44" fmla="*/ 1479550 h 1479550"/>
              <a:gd name="connsiteX45" fmla="*/ 489724 w 2676829"/>
              <a:gd name="connsiteY45" fmla="*/ 966998 h 1479550"/>
              <a:gd name="connsiteX46" fmla="*/ 10780 w 2676829"/>
              <a:gd name="connsiteY46" fmla="*/ 73082 h 1479550"/>
              <a:gd name="connsiteX47" fmla="*/ 0 w 2676829"/>
              <a:gd name="connsiteY47" fmla="*/ 0 h 1479550"/>
              <a:gd name="connsiteX48" fmla="*/ 9371 w 2676829"/>
              <a:gd name="connsiteY48" fmla="*/ 0 h 1479550"/>
              <a:gd name="connsiteX49" fmla="*/ 21499 w 2676829"/>
              <a:gd name="connsiteY49" fmla="*/ 79242 h 1479550"/>
              <a:gd name="connsiteX50" fmla="*/ 1728128 w 2676829"/>
              <a:gd name="connsiteY50" fmla="*/ 1470678 h 1479550"/>
              <a:gd name="connsiteX51" fmla="*/ 2482722 w 2676829"/>
              <a:gd name="connsiteY51" fmla="*/ 1298627 h 1479550"/>
              <a:gd name="connsiteX52" fmla="*/ 2676829 w 2676829"/>
              <a:gd name="connsiteY52" fmla="*/ 1186929 h 1479550"/>
              <a:gd name="connsiteX53" fmla="*/ 2676829 w 2676829"/>
              <a:gd name="connsiteY53" fmla="*/ 1200071 h 1479550"/>
              <a:gd name="connsiteX54" fmla="*/ 2552876 w 2676829"/>
              <a:gd name="connsiteY54" fmla="*/ 1274416 h 1479550"/>
              <a:gd name="connsiteX55" fmla="*/ 1728128 w 2676829"/>
              <a:gd name="connsiteY55" fmla="*/ 1479550 h 1479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2676829" h="1479550">
                <a:moveTo>
                  <a:pt x="1728128" y="606282"/>
                </a:moveTo>
                <a:cubicBezTo>
                  <a:pt x="1365177" y="606282"/>
                  <a:pt x="1052953" y="384813"/>
                  <a:pt x="919525" y="69905"/>
                </a:cubicBezTo>
                <a:lnTo>
                  <a:pt x="893889" y="0"/>
                </a:lnTo>
                <a:lnTo>
                  <a:pt x="903310" y="0"/>
                </a:lnTo>
                <a:lnTo>
                  <a:pt x="927695" y="66498"/>
                </a:lnTo>
                <a:cubicBezTo>
                  <a:pt x="1059768" y="378226"/>
                  <a:pt x="1368827" y="597442"/>
                  <a:pt x="1728128" y="597442"/>
                </a:cubicBezTo>
                <a:cubicBezTo>
                  <a:pt x="2087428" y="597442"/>
                  <a:pt x="2396505" y="378208"/>
                  <a:pt x="2528587" y="66485"/>
                </a:cubicBezTo>
                <a:lnTo>
                  <a:pt x="2552969" y="0"/>
                </a:lnTo>
                <a:lnTo>
                  <a:pt x="2562369" y="0"/>
                </a:lnTo>
                <a:lnTo>
                  <a:pt x="2536735" y="69905"/>
                </a:lnTo>
                <a:cubicBezTo>
                  <a:pt x="2403314" y="384813"/>
                  <a:pt x="2091102" y="606282"/>
                  <a:pt x="1728128" y="606282"/>
                </a:cubicBezTo>
                <a:close/>
                <a:moveTo>
                  <a:pt x="1728128" y="824607"/>
                </a:moveTo>
                <a:cubicBezTo>
                  <a:pt x="1237092" y="824607"/>
                  <a:pt x="820470" y="500034"/>
                  <a:pt x="681500" y="54175"/>
                </a:cubicBezTo>
                <a:lnTo>
                  <a:pt x="667538" y="0"/>
                </a:lnTo>
                <a:lnTo>
                  <a:pt x="676665" y="0"/>
                </a:lnTo>
                <a:lnTo>
                  <a:pt x="689944" y="51521"/>
                </a:lnTo>
                <a:cubicBezTo>
                  <a:pt x="827798" y="493787"/>
                  <a:pt x="1241070" y="815736"/>
                  <a:pt x="1728128" y="815736"/>
                </a:cubicBezTo>
                <a:cubicBezTo>
                  <a:pt x="2093422" y="815736"/>
                  <a:pt x="2417210" y="634640"/>
                  <a:pt x="2614431" y="357511"/>
                </a:cubicBezTo>
                <a:lnTo>
                  <a:pt x="2676829" y="253473"/>
                </a:lnTo>
                <a:lnTo>
                  <a:pt x="2676829" y="270641"/>
                </a:lnTo>
                <a:lnTo>
                  <a:pt x="2621635" y="362666"/>
                </a:lnTo>
                <a:cubicBezTo>
                  <a:pt x="2422809" y="642047"/>
                  <a:pt x="2096386" y="824607"/>
                  <a:pt x="1728128" y="824607"/>
                </a:cubicBezTo>
                <a:close/>
                <a:moveTo>
                  <a:pt x="1728128" y="1042900"/>
                </a:moveTo>
                <a:cubicBezTo>
                  <a:pt x="1139303" y="1042900"/>
                  <a:pt x="639671" y="653672"/>
                  <a:pt x="473009" y="118996"/>
                </a:cubicBezTo>
                <a:lnTo>
                  <a:pt x="442340" y="0"/>
                </a:lnTo>
                <a:lnTo>
                  <a:pt x="451457" y="0"/>
                </a:lnTo>
                <a:lnTo>
                  <a:pt x="481451" y="116374"/>
                </a:lnTo>
                <a:cubicBezTo>
                  <a:pt x="646989" y="647457"/>
                  <a:pt x="1143255" y="1034060"/>
                  <a:pt x="1728128" y="1034060"/>
                </a:cubicBezTo>
                <a:cubicBezTo>
                  <a:pt x="2093674" y="1034060"/>
                  <a:pt x="2424607" y="883043"/>
                  <a:pt x="2661817" y="640122"/>
                </a:cubicBezTo>
                <a:lnTo>
                  <a:pt x="2676829" y="622156"/>
                </a:lnTo>
                <a:lnTo>
                  <a:pt x="2676829" y="635887"/>
                </a:lnTo>
                <a:lnTo>
                  <a:pt x="2668136" y="646290"/>
                </a:lnTo>
                <a:cubicBezTo>
                  <a:pt x="2429319" y="890858"/>
                  <a:pt x="2096144" y="1042900"/>
                  <a:pt x="1728128" y="1042900"/>
                </a:cubicBezTo>
                <a:close/>
                <a:moveTo>
                  <a:pt x="1728128" y="1261225"/>
                </a:moveTo>
                <a:cubicBezTo>
                  <a:pt x="988669" y="1261225"/>
                  <a:pt x="369842" y="734830"/>
                  <a:pt x="226689" y="37084"/>
                </a:cubicBezTo>
                <a:lnTo>
                  <a:pt x="221014" y="0"/>
                </a:lnTo>
                <a:lnTo>
                  <a:pt x="229972" y="0"/>
                </a:lnTo>
                <a:lnTo>
                  <a:pt x="235381" y="35337"/>
                </a:lnTo>
                <a:cubicBezTo>
                  <a:pt x="377706" y="729058"/>
                  <a:pt x="992954" y="1252385"/>
                  <a:pt x="1728128" y="1252385"/>
                </a:cubicBezTo>
                <a:cubicBezTo>
                  <a:pt x="2003818" y="1252385"/>
                  <a:pt x="2262647" y="1178789"/>
                  <a:pt x="2485997" y="1050211"/>
                </a:cubicBezTo>
                <a:lnTo>
                  <a:pt x="2676829" y="917868"/>
                </a:lnTo>
                <a:lnTo>
                  <a:pt x="2676829" y="928586"/>
                </a:lnTo>
                <a:lnTo>
                  <a:pt x="2490404" y="1057875"/>
                </a:lnTo>
                <a:cubicBezTo>
                  <a:pt x="2265757" y="1187201"/>
                  <a:pt x="2005424" y="1261225"/>
                  <a:pt x="1728128" y="1261225"/>
                </a:cubicBezTo>
                <a:close/>
                <a:moveTo>
                  <a:pt x="1728128" y="1479550"/>
                </a:moveTo>
                <a:cubicBezTo>
                  <a:pt x="1260061" y="1479550"/>
                  <a:pt x="820232" y="1297539"/>
                  <a:pt x="489724" y="966998"/>
                </a:cubicBezTo>
                <a:cubicBezTo>
                  <a:pt x="241843" y="719117"/>
                  <a:pt x="77472" y="409743"/>
                  <a:pt x="10780" y="73082"/>
                </a:cubicBezTo>
                <a:lnTo>
                  <a:pt x="0" y="0"/>
                </a:lnTo>
                <a:lnTo>
                  <a:pt x="9371" y="0"/>
                </a:lnTo>
                <a:lnTo>
                  <a:pt x="21499" y="79242"/>
                </a:lnTo>
                <a:cubicBezTo>
                  <a:pt x="184216" y="872342"/>
                  <a:pt x="887615" y="1470678"/>
                  <a:pt x="1728128" y="1470678"/>
                </a:cubicBezTo>
                <a:cubicBezTo>
                  <a:pt x="1998293" y="1470678"/>
                  <a:pt x="2254291" y="1408860"/>
                  <a:pt x="2482722" y="1298627"/>
                </a:cubicBezTo>
                <a:lnTo>
                  <a:pt x="2676829" y="1186929"/>
                </a:lnTo>
                <a:lnTo>
                  <a:pt x="2676829" y="1200071"/>
                </a:lnTo>
                <a:lnTo>
                  <a:pt x="2552876" y="1274416"/>
                </a:lnTo>
                <a:cubicBezTo>
                  <a:pt x="2302197" y="1408440"/>
                  <a:pt x="2020690" y="1479550"/>
                  <a:pt x="1728128" y="1479550"/>
                </a:cubicBezTo>
                <a:close/>
              </a:path>
            </a:pathLst>
          </a:custGeom>
          <a:solidFill>
            <a:schemeClr val="accent1">
              <a:lumMod val="40000"/>
              <a:lumOff val="60000"/>
              <a:alpha val="48000"/>
            </a:schemeClr>
          </a:solidFill>
          <a:ln w="2142" cap="flat">
            <a:noFill/>
            <a:prstDash val="solid"/>
            <a:miter/>
          </a:ln>
        </p:spPr>
        <p:txBody>
          <a:bodyPr wrap="square"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000000"/>
              </a:solidFill>
              <a:effectLst/>
              <a:uLnTx/>
              <a:uFillTx/>
            </a:endParaRPr>
          </a:p>
        </p:txBody>
      </p:sp>
      <p:grpSp>
        <p:nvGrpSpPr>
          <p:cNvPr id="23" name="Group 22">
            <a:extLst>
              <a:ext uri="{FF2B5EF4-FFF2-40B4-BE49-F238E27FC236}">
                <a16:creationId xmlns:a16="http://schemas.microsoft.com/office/drawing/2014/main" id="{988BA278-3275-E144-9C2C-ECA370E1AE12}"/>
              </a:ext>
            </a:extLst>
          </p:cNvPr>
          <p:cNvGrpSpPr/>
          <p:nvPr userDrawn="1"/>
        </p:nvGrpSpPr>
        <p:grpSpPr>
          <a:xfrm>
            <a:off x="-4" y="1003664"/>
            <a:ext cx="12192000" cy="0"/>
            <a:chOff x="0" y="1250682"/>
            <a:chExt cx="12192000" cy="0"/>
          </a:xfrm>
        </p:grpSpPr>
        <p:cxnSp>
          <p:nvCxnSpPr>
            <p:cNvPr id="9" name="Straight Connector 8">
              <a:extLst>
                <a:ext uri="{FF2B5EF4-FFF2-40B4-BE49-F238E27FC236}">
                  <a16:creationId xmlns:a16="http://schemas.microsoft.com/office/drawing/2014/main" id="{5F58EB7C-AC66-DC4C-6E67-C601972F8141}"/>
                </a:ext>
              </a:extLst>
            </p:cNvPr>
            <p:cNvCxnSpPr>
              <a:cxnSpLocks/>
            </p:cNvCxnSpPr>
            <p:nvPr userDrawn="1"/>
          </p:nvCxnSpPr>
          <p:spPr>
            <a:xfrm>
              <a:off x="2693443" y="1250682"/>
              <a:ext cx="6633353" cy="0"/>
            </a:xfrm>
            <a:prstGeom prst="line">
              <a:avLst/>
            </a:prstGeom>
            <a:ln w="15875" cap="rnd">
              <a:solidFill>
                <a:schemeClr val="accent1"/>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5F3798F7-E180-C4EE-51A6-FDE166525806}"/>
                </a:ext>
              </a:extLst>
            </p:cNvPr>
            <p:cNvCxnSpPr>
              <a:cxnSpLocks/>
            </p:cNvCxnSpPr>
            <p:nvPr userDrawn="1"/>
          </p:nvCxnSpPr>
          <p:spPr>
            <a:xfrm>
              <a:off x="0" y="1250682"/>
              <a:ext cx="2651760" cy="0"/>
            </a:xfrm>
            <a:prstGeom prst="line">
              <a:avLst/>
            </a:prstGeom>
            <a:ln w="15875" cap="rnd">
              <a:solidFill>
                <a:schemeClr val="accent1"/>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0E6D76E5-380D-E060-4DD2-B7E701AA43CA}"/>
                </a:ext>
              </a:extLst>
            </p:cNvPr>
            <p:cNvCxnSpPr>
              <a:cxnSpLocks/>
            </p:cNvCxnSpPr>
            <p:nvPr userDrawn="1"/>
          </p:nvCxnSpPr>
          <p:spPr>
            <a:xfrm>
              <a:off x="9368480" y="1250682"/>
              <a:ext cx="2823520" cy="0"/>
            </a:xfrm>
            <a:prstGeom prst="line">
              <a:avLst/>
            </a:prstGeom>
            <a:ln w="15875" cap="rnd">
              <a:solidFill>
                <a:schemeClr val="accent1">
                  <a:lumMod val="20000"/>
                  <a:lumOff val="80000"/>
                </a:schemeClr>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03932082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5_Title and text side by side 3">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723FBF89-58C7-F89B-34E4-D9C3B71F7D84}"/>
              </a:ext>
            </a:extLst>
          </p:cNvPr>
          <p:cNvGrpSpPr/>
          <p:nvPr userDrawn="1"/>
        </p:nvGrpSpPr>
        <p:grpSpPr>
          <a:xfrm>
            <a:off x="-215240" y="0"/>
            <a:ext cx="4081669" cy="6858000"/>
            <a:chOff x="2603055" y="-1588"/>
            <a:chExt cx="4081669" cy="6859588"/>
          </a:xfrm>
        </p:grpSpPr>
        <p:pic>
          <p:nvPicPr>
            <p:cNvPr id="7" name="Picture 6">
              <a:extLst>
                <a:ext uri="{FF2B5EF4-FFF2-40B4-BE49-F238E27FC236}">
                  <a16:creationId xmlns:a16="http://schemas.microsoft.com/office/drawing/2014/main" id="{46FCB73F-A01E-922E-495D-E0CC288B011A}"/>
                </a:ext>
              </a:extLst>
            </p:cNvPr>
            <p:cNvPicPr>
              <a:picLocks noChangeAspect="1"/>
            </p:cNvPicPr>
            <p:nvPr userDrawn="1"/>
          </p:nvPicPr>
          <p:blipFill>
            <a:blip r:embed="rId2"/>
            <a:stretch>
              <a:fillRect/>
            </a:stretch>
          </p:blipFill>
          <p:spPr>
            <a:xfrm>
              <a:off x="2603055" y="-1588"/>
              <a:ext cx="4070412" cy="6858000"/>
            </a:xfrm>
            <a:prstGeom prst="rect">
              <a:avLst/>
            </a:prstGeom>
          </p:spPr>
        </p:pic>
        <p:sp>
          <p:nvSpPr>
            <p:cNvPr id="8" name="Rectangle 7">
              <a:extLst>
                <a:ext uri="{FF2B5EF4-FFF2-40B4-BE49-F238E27FC236}">
                  <a16:creationId xmlns:a16="http://schemas.microsoft.com/office/drawing/2014/main" id="{3FAE9D31-110D-320E-8838-A95ED6684793}"/>
                </a:ext>
              </a:extLst>
            </p:cNvPr>
            <p:cNvSpPr/>
            <p:nvPr userDrawn="1"/>
          </p:nvSpPr>
          <p:spPr bwMode="auto">
            <a:xfrm>
              <a:off x="2603055" y="0"/>
              <a:ext cx="4081669" cy="6858000"/>
            </a:xfrm>
            <a:prstGeom prst="rect">
              <a:avLst/>
            </a:prstGeom>
            <a:solidFill>
              <a:srgbClr val="F2F2F2">
                <a:alpha val="3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accent3"/>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5631060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Title Slide Colour Light">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A7A3E51-DB73-CA8D-D96A-E41AB914D81A}"/>
              </a:ext>
            </a:extLst>
          </p:cNvPr>
          <p:cNvPicPr>
            <a:picLocks noChangeAspect="1"/>
          </p:cNvPicPr>
          <p:nvPr userDrawn="1"/>
        </p:nvPicPr>
        <p:blipFill rotWithShape="1">
          <a:blip r:embed="rId2"/>
          <a:srcRect l="21089" t="29483" b="8394"/>
          <a:stretch/>
        </p:blipFill>
        <p:spPr>
          <a:xfrm flipH="1">
            <a:off x="0" y="0"/>
            <a:ext cx="12192000" cy="6858000"/>
          </a:xfrm>
          <a:prstGeom prst="rect">
            <a:avLst/>
          </a:prstGeom>
        </p:spPr>
      </p:pic>
      <p:sp>
        <p:nvSpPr>
          <p:cNvPr id="7" name="Rectangle 6">
            <a:extLst>
              <a:ext uri="{FF2B5EF4-FFF2-40B4-BE49-F238E27FC236}">
                <a16:creationId xmlns:a16="http://schemas.microsoft.com/office/drawing/2014/main" id="{C0B6EEC7-FEE6-EFAE-A0E2-8700E8DD4752}"/>
              </a:ext>
            </a:extLst>
          </p:cNvPr>
          <p:cNvSpPr/>
          <p:nvPr userDrawn="1"/>
        </p:nvSpPr>
        <p:spPr bwMode="auto">
          <a:xfrm>
            <a:off x="0" y="0"/>
            <a:ext cx="11950262" cy="6858000"/>
          </a:xfrm>
          <a:prstGeom prst="rect">
            <a:avLst/>
          </a:prstGeom>
          <a:gradFill flip="none" rotWithShape="1">
            <a:gsLst>
              <a:gs pos="15000">
                <a:srgbClr val="CBE2F1"/>
              </a:gs>
              <a:gs pos="100000">
                <a:srgbClr val="CBE2F1">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68" name="Round Same Side Corner Rectangle 67">
            <a:extLst>
              <a:ext uri="{FF2B5EF4-FFF2-40B4-BE49-F238E27FC236}">
                <a16:creationId xmlns:a16="http://schemas.microsoft.com/office/drawing/2014/main" id="{BAC8F22C-B6EB-5C17-EDC3-CC0054F4DC4C}"/>
              </a:ext>
            </a:extLst>
          </p:cNvPr>
          <p:cNvSpPr/>
          <p:nvPr userDrawn="1"/>
        </p:nvSpPr>
        <p:spPr bwMode="auto">
          <a:xfrm rot="16200000">
            <a:off x="10154511" y="43318"/>
            <a:ext cx="1788710" cy="2286274"/>
          </a:xfrm>
          <a:prstGeom prst="round2SameRect">
            <a:avLst>
              <a:gd name="adj1" fmla="val 50000"/>
              <a:gd name="adj2" fmla="val 0"/>
            </a:avLst>
          </a:prstGeom>
          <a:solidFill>
            <a:schemeClr val="tx1"/>
          </a:solidFill>
          <a:ln>
            <a:noFill/>
            <a:headEnd type="none" w="med" len="med"/>
            <a:tailEnd type="none" w="med" len="med"/>
          </a:ln>
          <a:effectLst>
            <a:outerShdw blurRad="290640" sx="102000" sy="102000" algn="ctr" rotWithShape="0">
              <a:prstClr val="black">
                <a:alpha val="18683"/>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grpSp>
        <p:nvGrpSpPr>
          <p:cNvPr id="71" name="Group 70">
            <a:extLst>
              <a:ext uri="{FF2B5EF4-FFF2-40B4-BE49-F238E27FC236}">
                <a16:creationId xmlns:a16="http://schemas.microsoft.com/office/drawing/2014/main" id="{05060190-F61C-B35A-9EB6-0A09B8C4B469}"/>
              </a:ext>
            </a:extLst>
          </p:cNvPr>
          <p:cNvGrpSpPr/>
          <p:nvPr userDrawn="1"/>
        </p:nvGrpSpPr>
        <p:grpSpPr>
          <a:xfrm>
            <a:off x="10227426" y="579931"/>
            <a:ext cx="1131865" cy="1213048"/>
            <a:chOff x="-2368942" y="-1004989"/>
            <a:chExt cx="4563166" cy="4890456"/>
          </a:xfrm>
          <a:effectLst>
            <a:outerShdw blurRad="430234" dist="381000" dir="3000000" algn="tl" rotWithShape="0">
              <a:prstClr val="black">
                <a:alpha val="15000"/>
              </a:prstClr>
            </a:outerShdw>
          </a:effectLst>
        </p:grpSpPr>
        <p:sp>
          <p:nvSpPr>
            <p:cNvPr id="96" name="Freeform 95">
              <a:extLst>
                <a:ext uri="{FF2B5EF4-FFF2-40B4-BE49-F238E27FC236}">
                  <a16:creationId xmlns:a16="http://schemas.microsoft.com/office/drawing/2014/main" id="{9D8C7DAC-D19E-A01E-E2E1-A00282BE25A4}"/>
                </a:ext>
              </a:extLst>
            </p:cNvPr>
            <p:cNvSpPr/>
            <p:nvPr/>
          </p:nvSpPr>
          <p:spPr>
            <a:xfrm>
              <a:off x="-2018807" y="-680747"/>
              <a:ext cx="4213031" cy="4215013"/>
            </a:xfrm>
            <a:custGeom>
              <a:avLst/>
              <a:gdLst>
                <a:gd name="connsiteX0" fmla="*/ 4213031 w 4213031"/>
                <a:gd name="connsiteY0" fmla="*/ 2107507 h 4215013"/>
                <a:gd name="connsiteX1" fmla="*/ 2106516 w 4213031"/>
                <a:gd name="connsiteY1" fmla="*/ 4215014 h 4215013"/>
                <a:gd name="connsiteX2" fmla="*/ 0 w 4213031"/>
                <a:gd name="connsiteY2" fmla="*/ 2107507 h 4215013"/>
                <a:gd name="connsiteX3" fmla="*/ 2106516 w 4213031"/>
                <a:gd name="connsiteY3" fmla="*/ 0 h 4215013"/>
                <a:gd name="connsiteX4" fmla="*/ 4213031 w 4213031"/>
                <a:gd name="connsiteY4" fmla="*/ 2107507 h 42150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3031" h="4215013">
                  <a:moveTo>
                    <a:pt x="4213031" y="2107507"/>
                  </a:moveTo>
                  <a:cubicBezTo>
                    <a:pt x="4213031" y="3271451"/>
                    <a:pt x="3269912" y="4215014"/>
                    <a:pt x="2106516" y="4215014"/>
                  </a:cubicBezTo>
                  <a:cubicBezTo>
                    <a:pt x="943119" y="4215014"/>
                    <a:pt x="0" y="3271451"/>
                    <a:pt x="0" y="2107507"/>
                  </a:cubicBezTo>
                  <a:cubicBezTo>
                    <a:pt x="0" y="943563"/>
                    <a:pt x="943119" y="0"/>
                    <a:pt x="2106516" y="0"/>
                  </a:cubicBezTo>
                  <a:cubicBezTo>
                    <a:pt x="3269912" y="0"/>
                    <a:pt x="4213031" y="943563"/>
                    <a:pt x="4213031" y="2107507"/>
                  </a:cubicBezTo>
                  <a:close/>
                </a:path>
              </a:pathLst>
            </a:custGeom>
            <a:gradFill>
              <a:gsLst>
                <a:gs pos="6000">
                  <a:srgbClr val="8661C5"/>
                </a:gs>
                <a:gs pos="100000">
                  <a:srgbClr val="0078D4"/>
                </a:gs>
              </a:gsLst>
              <a:lin ang="3343960" scaled="1"/>
            </a:gradFill>
            <a:ln w="5992" cap="flat">
              <a:noFill/>
              <a:prstDash val="solid"/>
              <a:miter/>
            </a:ln>
          </p:spPr>
          <p:txBody>
            <a:bodyPr rtlCol="0" anchor="ctr"/>
            <a:lstStyle/>
            <a:p>
              <a:endParaRPr lang="en-US"/>
            </a:p>
          </p:txBody>
        </p:sp>
        <p:sp>
          <p:nvSpPr>
            <p:cNvPr id="97" name="Freeform 96">
              <a:extLst>
                <a:ext uri="{FF2B5EF4-FFF2-40B4-BE49-F238E27FC236}">
                  <a16:creationId xmlns:a16="http://schemas.microsoft.com/office/drawing/2014/main" id="{469BD291-024E-0ECE-4DCC-C6F3531CFCAE}"/>
                </a:ext>
              </a:extLst>
            </p:cNvPr>
            <p:cNvSpPr/>
            <p:nvPr/>
          </p:nvSpPr>
          <p:spPr>
            <a:xfrm>
              <a:off x="-2368942" y="-1004989"/>
              <a:ext cx="3196163" cy="4890456"/>
            </a:xfrm>
            <a:custGeom>
              <a:avLst/>
              <a:gdLst>
                <a:gd name="connsiteX0" fmla="*/ 245530 w 3196163"/>
                <a:gd name="connsiteY0" fmla="*/ 3526331 h 4890456"/>
                <a:gd name="connsiteX1" fmla="*/ 130 w 3196163"/>
                <a:gd name="connsiteY1" fmla="*/ 2608755 h 4890456"/>
                <a:gd name="connsiteX2" fmla="*/ 58044 w 3196163"/>
                <a:gd name="connsiteY2" fmla="*/ 2546731 h 4890456"/>
                <a:gd name="connsiteX3" fmla="*/ 1064250 w 3196163"/>
                <a:gd name="connsiteY3" fmla="*/ 2546731 h 4890456"/>
                <a:gd name="connsiteX4" fmla="*/ 1203364 w 3196163"/>
                <a:gd name="connsiteY4" fmla="*/ 3044487 h 4890456"/>
                <a:gd name="connsiteX5" fmla="*/ 326670 w 3196163"/>
                <a:gd name="connsiteY5" fmla="*/ 3550949 h 4890456"/>
                <a:gd name="connsiteX6" fmla="*/ 245530 w 3196163"/>
                <a:gd name="connsiteY6" fmla="*/ 3526331 h 4890456"/>
                <a:gd name="connsiteX7" fmla="*/ 1363243 w 3196163"/>
                <a:gd name="connsiteY7" fmla="*/ 4644811 h 4890456"/>
                <a:gd name="connsiteX8" fmla="*/ 2280628 w 3196163"/>
                <a:gd name="connsiteY8" fmla="*/ 4890327 h 4890456"/>
                <a:gd name="connsiteX9" fmla="*/ 2342623 w 3196163"/>
                <a:gd name="connsiteY9" fmla="*/ 4832385 h 4890456"/>
                <a:gd name="connsiteX10" fmla="*/ 2342623 w 3196163"/>
                <a:gd name="connsiteY10" fmla="*/ 3814417 h 4890456"/>
                <a:gd name="connsiteX11" fmla="*/ 1847682 w 3196163"/>
                <a:gd name="connsiteY11" fmla="*/ 3681602 h 4890456"/>
                <a:gd name="connsiteX12" fmla="*/ 1338577 w 3196163"/>
                <a:gd name="connsiteY12" fmla="*/ 4563633 h 4890456"/>
                <a:gd name="connsiteX13" fmla="*/ 1363183 w 3196163"/>
                <a:gd name="connsiteY13" fmla="*/ 4644811 h 4890456"/>
                <a:gd name="connsiteX14" fmla="*/ 409190 w 3196163"/>
                <a:gd name="connsiteY14" fmla="*/ 3809374 h 4890456"/>
                <a:gd name="connsiteX15" fmla="*/ 1080454 w 3196163"/>
                <a:gd name="connsiteY15" fmla="*/ 4480954 h 4890456"/>
                <a:gd name="connsiteX16" fmla="*/ 1163154 w 3196163"/>
                <a:gd name="connsiteY16" fmla="*/ 4461800 h 4890456"/>
                <a:gd name="connsiteX17" fmla="*/ 1671899 w 3196163"/>
                <a:gd name="connsiteY17" fmla="*/ 3580430 h 4890456"/>
                <a:gd name="connsiteX18" fmla="*/ 1306650 w 3196163"/>
                <a:gd name="connsiteY18" fmla="*/ 3219392 h 4890456"/>
                <a:gd name="connsiteX19" fmla="*/ 428334 w 3196163"/>
                <a:gd name="connsiteY19" fmla="*/ 3726634 h 4890456"/>
                <a:gd name="connsiteX20" fmla="*/ 409190 w 3196163"/>
                <a:gd name="connsiteY20" fmla="*/ 3809374 h 4890456"/>
                <a:gd name="connsiteX21" fmla="*/ 2280628 w 3196163"/>
                <a:gd name="connsiteY21" fmla="*/ 130 h 4890456"/>
                <a:gd name="connsiteX22" fmla="*/ 1363363 w 3196163"/>
                <a:gd name="connsiteY22" fmla="*/ 245646 h 4890456"/>
                <a:gd name="connsiteX23" fmla="*/ 1338757 w 3196163"/>
                <a:gd name="connsiteY23" fmla="*/ 326824 h 4890456"/>
                <a:gd name="connsiteX24" fmla="*/ 1831058 w 3196163"/>
                <a:gd name="connsiteY24" fmla="*/ 1179854 h 4890456"/>
                <a:gd name="connsiteX25" fmla="*/ 2342683 w 3196163"/>
                <a:gd name="connsiteY25" fmla="*/ 1038633 h 4890456"/>
                <a:gd name="connsiteX26" fmla="*/ 2342683 w 3196163"/>
                <a:gd name="connsiteY26" fmla="*/ 58071 h 4890456"/>
                <a:gd name="connsiteX27" fmla="*/ 2280688 w 3196163"/>
                <a:gd name="connsiteY27" fmla="*/ 130 h 4890456"/>
                <a:gd name="connsiteX28" fmla="*/ 1080454 w 3196163"/>
                <a:gd name="connsiteY28" fmla="*/ 409443 h 4890456"/>
                <a:gd name="connsiteX29" fmla="*/ 409310 w 3196163"/>
                <a:gd name="connsiteY29" fmla="*/ 1081023 h 4890456"/>
                <a:gd name="connsiteX30" fmla="*/ 428455 w 3196163"/>
                <a:gd name="connsiteY30" fmla="*/ 1163762 h 4890456"/>
                <a:gd name="connsiteX31" fmla="*/ 1288525 w 3196163"/>
                <a:gd name="connsiteY31" fmla="*/ 1660557 h 4890456"/>
                <a:gd name="connsiteX32" fmla="*/ 1656475 w 3196163"/>
                <a:gd name="connsiteY32" fmla="*/ 1283428 h 4890456"/>
                <a:gd name="connsiteX33" fmla="*/ 1163154 w 3196163"/>
                <a:gd name="connsiteY33" fmla="*/ 428596 h 4890456"/>
                <a:gd name="connsiteX34" fmla="*/ 1080454 w 3196163"/>
                <a:gd name="connsiteY34" fmla="*/ 409443 h 4890456"/>
                <a:gd name="connsiteX35" fmla="*/ 245530 w 3196163"/>
                <a:gd name="connsiteY35" fmla="*/ 1364005 h 4890456"/>
                <a:gd name="connsiteX36" fmla="*/ 130 w 3196163"/>
                <a:gd name="connsiteY36" fmla="*/ 2281701 h 4890456"/>
                <a:gd name="connsiteX37" fmla="*/ 58044 w 3196163"/>
                <a:gd name="connsiteY37" fmla="*/ 2343726 h 4890456"/>
                <a:gd name="connsiteX38" fmla="*/ 1061489 w 3196163"/>
                <a:gd name="connsiteY38" fmla="*/ 2343726 h 4890456"/>
                <a:gd name="connsiteX39" fmla="*/ 1189321 w 3196163"/>
                <a:gd name="connsiteY39" fmla="*/ 1837684 h 4890456"/>
                <a:gd name="connsiteX40" fmla="*/ 326670 w 3196163"/>
                <a:gd name="connsiteY40" fmla="*/ 1339388 h 4890456"/>
                <a:gd name="connsiteX41" fmla="*/ 245530 w 3196163"/>
                <a:gd name="connsiteY41" fmla="*/ 1364005 h 4890456"/>
                <a:gd name="connsiteX42" fmla="*/ 3182949 w 3196163"/>
                <a:gd name="connsiteY42" fmla="*/ 3116598 h 4890456"/>
                <a:gd name="connsiteX43" fmla="*/ 3175927 w 3196163"/>
                <a:gd name="connsiteY43" fmla="*/ 3039623 h 4890456"/>
                <a:gd name="connsiteX44" fmla="*/ 2816259 w 3196163"/>
                <a:gd name="connsiteY44" fmla="*/ 2753819 h 4890456"/>
                <a:gd name="connsiteX45" fmla="*/ 2712194 w 3196163"/>
                <a:gd name="connsiteY45" fmla="*/ 2756581 h 4890456"/>
                <a:gd name="connsiteX46" fmla="*/ 2411580 w 3196163"/>
                <a:gd name="connsiteY46" fmla="*/ 2874565 h 4890456"/>
                <a:gd name="connsiteX47" fmla="*/ 1971972 w 3196163"/>
                <a:gd name="connsiteY47" fmla="*/ 2388278 h 4890456"/>
                <a:gd name="connsiteX48" fmla="*/ 2358587 w 3196163"/>
                <a:gd name="connsiteY48" fmla="*/ 1993735 h 4890456"/>
                <a:gd name="connsiteX49" fmla="*/ 2711353 w 3196163"/>
                <a:gd name="connsiteY49" fmla="*/ 2107937 h 4890456"/>
                <a:gd name="connsiteX50" fmla="*/ 2817279 w 3196163"/>
                <a:gd name="connsiteY50" fmla="*/ 2110639 h 4890456"/>
                <a:gd name="connsiteX51" fmla="*/ 3175867 w 3196163"/>
                <a:gd name="connsiteY51" fmla="*/ 1825675 h 4890456"/>
                <a:gd name="connsiteX52" fmla="*/ 3182829 w 3196163"/>
                <a:gd name="connsiteY52" fmla="*/ 1748580 h 4890456"/>
                <a:gd name="connsiteX53" fmla="*/ 2360928 w 3196163"/>
                <a:gd name="connsiteY53" fmla="*/ 1402673 h 4890456"/>
                <a:gd name="connsiteX54" fmla="*/ 1380828 w 3196163"/>
                <a:gd name="connsiteY54" fmla="*/ 2429347 h 4890456"/>
                <a:gd name="connsiteX55" fmla="*/ 2411520 w 3196163"/>
                <a:gd name="connsiteY55" fmla="*/ 3463827 h 4890456"/>
                <a:gd name="connsiteX56" fmla="*/ 3182949 w 3196163"/>
                <a:gd name="connsiteY56" fmla="*/ 3116598 h 4890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3196163" h="4890456">
                  <a:moveTo>
                    <a:pt x="245530" y="3526331"/>
                  </a:moveTo>
                  <a:cubicBezTo>
                    <a:pt x="107676" y="3246471"/>
                    <a:pt x="21735" y="2936470"/>
                    <a:pt x="130" y="2608755"/>
                  </a:cubicBezTo>
                  <a:cubicBezTo>
                    <a:pt x="-2091" y="2575191"/>
                    <a:pt x="24496" y="2546731"/>
                    <a:pt x="58044" y="2546731"/>
                  </a:cubicBezTo>
                  <a:lnTo>
                    <a:pt x="1064250" y="2546731"/>
                  </a:lnTo>
                  <a:cubicBezTo>
                    <a:pt x="1079314" y="2724218"/>
                    <a:pt x="1127746" y="2892278"/>
                    <a:pt x="1203364" y="3044487"/>
                  </a:cubicBezTo>
                  <a:lnTo>
                    <a:pt x="326670" y="3550949"/>
                  </a:lnTo>
                  <a:cubicBezTo>
                    <a:pt x="297622" y="3567761"/>
                    <a:pt x="260353" y="3556413"/>
                    <a:pt x="245530" y="3526331"/>
                  </a:cubicBezTo>
                  <a:close/>
                  <a:moveTo>
                    <a:pt x="1363243" y="4644811"/>
                  </a:moveTo>
                  <a:cubicBezTo>
                    <a:pt x="1643092" y="4782730"/>
                    <a:pt x="1953068" y="4868711"/>
                    <a:pt x="2280628" y="4890327"/>
                  </a:cubicBezTo>
                  <a:cubicBezTo>
                    <a:pt x="2314176" y="4892548"/>
                    <a:pt x="2342623" y="4865949"/>
                    <a:pt x="2342623" y="4832385"/>
                  </a:cubicBezTo>
                  <a:lnTo>
                    <a:pt x="2342623" y="3814417"/>
                  </a:lnTo>
                  <a:cubicBezTo>
                    <a:pt x="2166360" y="3800908"/>
                    <a:pt x="1999459" y="3754554"/>
                    <a:pt x="1847682" y="3681602"/>
                  </a:cubicBezTo>
                  <a:lnTo>
                    <a:pt x="1338577" y="4563633"/>
                  </a:lnTo>
                  <a:cubicBezTo>
                    <a:pt x="1321773" y="4592694"/>
                    <a:pt x="1333116" y="4629980"/>
                    <a:pt x="1363183" y="4644811"/>
                  </a:cubicBezTo>
                  <a:close/>
                  <a:moveTo>
                    <a:pt x="409190" y="3809374"/>
                  </a:moveTo>
                  <a:cubicBezTo>
                    <a:pt x="587073" y="4074583"/>
                    <a:pt x="815489" y="4302987"/>
                    <a:pt x="1080454" y="4480954"/>
                  </a:cubicBezTo>
                  <a:cubicBezTo>
                    <a:pt x="1108361" y="4499687"/>
                    <a:pt x="1146350" y="4490921"/>
                    <a:pt x="1163154" y="4461800"/>
                  </a:cubicBezTo>
                  <a:lnTo>
                    <a:pt x="1671899" y="3580430"/>
                  </a:lnTo>
                  <a:cubicBezTo>
                    <a:pt x="1528824" y="3483701"/>
                    <a:pt x="1404954" y="3361213"/>
                    <a:pt x="1306650" y="3219392"/>
                  </a:cubicBezTo>
                  <a:lnTo>
                    <a:pt x="428334" y="3726634"/>
                  </a:lnTo>
                  <a:cubicBezTo>
                    <a:pt x="399227" y="3743447"/>
                    <a:pt x="390465" y="3781454"/>
                    <a:pt x="409190" y="3809374"/>
                  </a:cubicBezTo>
                  <a:close/>
                  <a:moveTo>
                    <a:pt x="2280628" y="130"/>
                  </a:moveTo>
                  <a:cubicBezTo>
                    <a:pt x="1953068" y="21745"/>
                    <a:pt x="1643092" y="107787"/>
                    <a:pt x="1363363" y="245646"/>
                  </a:cubicBezTo>
                  <a:cubicBezTo>
                    <a:pt x="1333236" y="260476"/>
                    <a:pt x="1321953" y="297703"/>
                    <a:pt x="1338757" y="326824"/>
                  </a:cubicBezTo>
                  <a:lnTo>
                    <a:pt x="1831058" y="1179854"/>
                  </a:lnTo>
                  <a:cubicBezTo>
                    <a:pt x="1987156" y="1101858"/>
                    <a:pt x="2160058" y="1052683"/>
                    <a:pt x="2342683" y="1038633"/>
                  </a:cubicBezTo>
                  <a:lnTo>
                    <a:pt x="2342683" y="58071"/>
                  </a:lnTo>
                  <a:cubicBezTo>
                    <a:pt x="2342683" y="24447"/>
                    <a:pt x="2314176" y="-2092"/>
                    <a:pt x="2280688" y="130"/>
                  </a:cubicBezTo>
                  <a:close/>
                  <a:moveTo>
                    <a:pt x="1080454" y="409443"/>
                  </a:moveTo>
                  <a:cubicBezTo>
                    <a:pt x="815489" y="587530"/>
                    <a:pt x="587193" y="815933"/>
                    <a:pt x="409310" y="1081023"/>
                  </a:cubicBezTo>
                  <a:cubicBezTo>
                    <a:pt x="390585" y="1108943"/>
                    <a:pt x="399347" y="1146950"/>
                    <a:pt x="428455" y="1163762"/>
                  </a:cubicBezTo>
                  <a:lnTo>
                    <a:pt x="1288525" y="1660557"/>
                  </a:lnTo>
                  <a:cubicBezTo>
                    <a:pt x="1386049" y="1512671"/>
                    <a:pt x="1511120" y="1384360"/>
                    <a:pt x="1656475" y="1283428"/>
                  </a:cubicBezTo>
                  <a:lnTo>
                    <a:pt x="1163154" y="428596"/>
                  </a:lnTo>
                  <a:cubicBezTo>
                    <a:pt x="1146350" y="399476"/>
                    <a:pt x="1108361" y="390709"/>
                    <a:pt x="1080454" y="409443"/>
                  </a:cubicBezTo>
                  <a:close/>
                  <a:moveTo>
                    <a:pt x="245530" y="1364005"/>
                  </a:moveTo>
                  <a:cubicBezTo>
                    <a:pt x="107676" y="1643865"/>
                    <a:pt x="21735" y="1953987"/>
                    <a:pt x="130" y="2281701"/>
                  </a:cubicBezTo>
                  <a:cubicBezTo>
                    <a:pt x="-2091" y="2315265"/>
                    <a:pt x="24496" y="2343726"/>
                    <a:pt x="58044" y="2343726"/>
                  </a:cubicBezTo>
                  <a:lnTo>
                    <a:pt x="1061489" y="2343726"/>
                  </a:lnTo>
                  <a:cubicBezTo>
                    <a:pt x="1072052" y="2163657"/>
                    <a:pt x="1116703" y="1992835"/>
                    <a:pt x="1189321" y="1837684"/>
                  </a:cubicBezTo>
                  <a:lnTo>
                    <a:pt x="326670" y="1339388"/>
                  </a:lnTo>
                  <a:cubicBezTo>
                    <a:pt x="297622" y="1322576"/>
                    <a:pt x="260353" y="1333924"/>
                    <a:pt x="245530" y="1364005"/>
                  </a:cubicBezTo>
                  <a:close/>
                  <a:moveTo>
                    <a:pt x="3182949" y="3116598"/>
                  </a:moveTo>
                  <a:cubicBezTo>
                    <a:pt x="3203114" y="3093782"/>
                    <a:pt x="3199753" y="3058537"/>
                    <a:pt x="3175927" y="3039623"/>
                  </a:cubicBezTo>
                  <a:lnTo>
                    <a:pt x="2816259" y="2753819"/>
                  </a:lnTo>
                  <a:cubicBezTo>
                    <a:pt x="2785472" y="2729382"/>
                    <a:pt x="2740941" y="2729802"/>
                    <a:pt x="2712194" y="2756581"/>
                  </a:cubicBezTo>
                  <a:cubicBezTo>
                    <a:pt x="2630994" y="2832235"/>
                    <a:pt x="2524528" y="2874565"/>
                    <a:pt x="2411580" y="2874565"/>
                  </a:cubicBezTo>
                  <a:cubicBezTo>
                    <a:pt x="2153397" y="2874565"/>
                    <a:pt x="1946226" y="2651806"/>
                    <a:pt x="1971972" y="2388278"/>
                  </a:cubicBezTo>
                  <a:cubicBezTo>
                    <a:pt x="1991957" y="2183891"/>
                    <a:pt x="2154717" y="2017513"/>
                    <a:pt x="2358587" y="1993735"/>
                  </a:cubicBezTo>
                  <a:cubicBezTo>
                    <a:pt x="2490499" y="1978364"/>
                    <a:pt x="2617670" y="2021055"/>
                    <a:pt x="2711353" y="2107937"/>
                  </a:cubicBezTo>
                  <a:cubicBezTo>
                    <a:pt x="2740701" y="2135137"/>
                    <a:pt x="2786012" y="2135497"/>
                    <a:pt x="2817279" y="2110639"/>
                  </a:cubicBezTo>
                  <a:lnTo>
                    <a:pt x="3175867" y="1825675"/>
                  </a:lnTo>
                  <a:cubicBezTo>
                    <a:pt x="3199753" y="1806702"/>
                    <a:pt x="3203054" y="1771396"/>
                    <a:pt x="3182829" y="1748580"/>
                  </a:cubicBezTo>
                  <a:cubicBezTo>
                    <a:pt x="2976018" y="1514773"/>
                    <a:pt x="2677385" y="1387542"/>
                    <a:pt x="2360928" y="1402673"/>
                  </a:cubicBezTo>
                  <a:cubicBezTo>
                    <a:pt x="1816594" y="1428671"/>
                    <a:pt x="1382508" y="1884097"/>
                    <a:pt x="1380828" y="2429347"/>
                  </a:cubicBezTo>
                  <a:cubicBezTo>
                    <a:pt x="1379027" y="2999455"/>
                    <a:pt x="1842101" y="3463827"/>
                    <a:pt x="2411520" y="3463827"/>
                  </a:cubicBezTo>
                  <a:cubicBezTo>
                    <a:pt x="2709073" y="3463827"/>
                    <a:pt x="2987181" y="3337977"/>
                    <a:pt x="3182949" y="3116598"/>
                  </a:cubicBezTo>
                  <a:close/>
                </a:path>
              </a:pathLst>
            </a:custGeom>
            <a:gradFill>
              <a:gsLst>
                <a:gs pos="6000">
                  <a:srgbClr val="FF9248"/>
                </a:gs>
                <a:gs pos="78000">
                  <a:srgbClr val="D59DFF"/>
                </a:gs>
              </a:gsLst>
              <a:lin ang="3343960" scaled="1"/>
            </a:gradFill>
            <a:ln w="5992" cap="flat">
              <a:noFill/>
              <a:prstDash val="solid"/>
              <a:miter/>
            </a:ln>
            <a:effectLst>
              <a:outerShdw blurRad="127000" dist="38100" dir="2700000" sx="101000" sy="101000" algn="tl" rotWithShape="0">
                <a:prstClr val="black">
                  <a:alpha val="14845"/>
                </a:prstClr>
              </a:outerShdw>
            </a:effectLst>
          </p:spPr>
          <p:txBody>
            <a:bodyPr rtlCol="0" anchor="ctr"/>
            <a:lstStyle/>
            <a:p>
              <a:pPr lvl="0"/>
              <a:endParaRPr lang="en-US"/>
            </a:p>
          </p:txBody>
        </p:sp>
      </p:grpSp>
      <p:sp>
        <p:nvSpPr>
          <p:cNvPr id="9" name="Title 1"/>
          <p:cNvSpPr>
            <a:spLocks noGrp="1"/>
          </p:cNvSpPr>
          <p:nvPr>
            <p:ph type="title" hasCustomPrompt="1"/>
          </p:nvPr>
        </p:nvSpPr>
        <p:spPr>
          <a:xfrm>
            <a:off x="584200" y="3196750"/>
            <a:ext cx="5831114" cy="1231106"/>
          </a:xfrm>
          <a:noFill/>
        </p:spPr>
        <p:txBody>
          <a:bodyPr wrap="square" lIns="0" tIns="0" rIns="0" bIns="0" anchor="b" anchorCtr="0">
            <a:spAutoFit/>
          </a:bodyPr>
          <a:lstStyle>
            <a:lvl1pPr>
              <a:defRPr sz="4000" spc="-50" baseline="0">
                <a:gradFill flip="none" rotWithShape="1">
                  <a:gsLst>
                    <a:gs pos="0">
                      <a:schemeClr val="accent1"/>
                    </a:gs>
                    <a:gs pos="100000">
                      <a:schemeClr val="accent4"/>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4704080"/>
            <a:ext cx="4858698" cy="246221"/>
          </a:xfrm>
          <a:noFill/>
        </p:spPr>
        <p:txBody>
          <a:bodyPr wrap="square" lIns="0" tIns="0" rIns="0" bIns="0">
            <a:spAutoFit/>
          </a:bodyPr>
          <a:lstStyle>
            <a:lvl1pPr marL="0" indent="0">
              <a:spcBef>
                <a:spcPts val="0"/>
              </a:spcBef>
              <a:buNone/>
              <a:defRPr sz="1600" spc="0" baseline="0">
                <a:solidFill>
                  <a:schemeClr val="bg1"/>
                </a:solidFill>
                <a:latin typeface="+mn-lt"/>
                <a:cs typeface="Segoe UI" panose="020B0502040204020203" pitchFamily="34" charset="0"/>
              </a:defRPr>
            </a:lvl1pPr>
          </a:lstStyle>
          <a:p>
            <a:pPr lvl="0"/>
            <a:r>
              <a:rPr lang="en-US"/>
              <a:t>Speaker name or subtitle text</a:t>
            </a:r>
          </a:p>
        </p:txBody>
      </p:sp>
      <p:pic>
        <p:nvPicPr>
          <p:cNvPr id="95" name="MS logo gray - EMF" descr="Microsoft logo, gray text version">
            <a:extLst>
              <a:ext uri="{FF2B5EF4-FFF2-40B4-BE49-F238E27FC236}">
                <a16:creationId xmlns:a16="http://schemas.microsoft.com/office/drawing/2014/main" id="{1DD5F06E-A0A8-DE89-5B58-25F815043614}"/>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0210201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44">
          <p15:clr>
            <a:srgbClr val="5ACBF0"/>
          </p15:clr>
        </p15:guide>
        <p15:guide id="4" orient="horz" pos="21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Demo slide - gradient">
    <p:bg>
      <p:bgPr>
        <a:gradFill>
          <a:gsLst>
            <a:gs pos="0">
              <a:schemeClr val="bg1"/>
            </a:gs>
            <a:gs pos="100000">
              <a:schemeClr val="bg1">
                <a:lumMod val="85000"/>
                <a:alpha val="50000"/>
              </a:schemeClr>
            </a:gs>
          </a:gsLst>
          <a:lin ang="189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8127639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Title square photo 2">
    <p:bg>
      <p:bgPr>
        <a:solidFill>
          <a:schemeClr val="bg1"/>
        </a:solidFill>
        <a:effectLst/>
      </p:bgPr>
    </p:bg>
    <p:spTree>
      <p:nvGrpSpPr>
        <p:cNvPr id="1" name=""/>
        <p:cNvGrpSpPr/>
        <p:nvPr/>
      </p:nvGrpSpPr>
      <p:grpSpPr>
        <a:xfrm>
          <a:off x="0" y="0"/>
          <a:ext cx="0" cy="0"/>
          <a:chOff x="0" y="0"/>
          <a:chExt cx="0" cy="0"/>
        </a:xfrm>
      </p:grpSpPr>
      <p:pic>
        <p:nvPicPr>
          <p:cNvPr id="6" name="Picture 5" descr="A picture containing LEGO, toy&#10;&#10;Description automatically generated">
            <a:extLst>
              <a:ext uri="{FF2B5EF4-FFF2-40B4-BE49-F238E27FC236}">
                <a16:creationId xmlns:a16="http://schemas.microsoft.com/office/drawing/2014/main" id="{4325D2DC-DBD5-151D-81AC-69B993819652}"/>
              </a:ext>
            </a:extLst>
          </p:cNvPr>
          <p:cNvPicPr>
            <a:picLocks noChangeAspect="1"/>
          </p:cNvPicPr>
          <p:nvPr userDrawn="1"/>
        </p:nvPicPr>
        <p:blipFill rotWithShape="1">
          <a:blip r:embed="rId2"/>
          <a:srcRect l="14275" r="14275"/>
          <a:stretch/>
        </p:blipFill>
        <p:spPr>
          <a:xfrm>
            <a:off x="5334001" y="0"/>
            <a:ext cx="6858000"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302431"/>
            <a:ext cx="4167887" cy="1231106"/>
          </a:xfrm>
        </p:spPr>
        <p:txBody>
          <a:bodyPr anchor="b" anchorCtr="0">
            <a:spAutoFit/>
          </a:bodyPr>
          <a:lstStyle>
            <a:lvl1pPr>
              <a:defRPr sz="4000">
                <a:gradFill>
                  <a:gsLst>
                    <a:gs pos="0">
                      <a:schemeClr val="accent1"/>
                    </a:gs>
                    <a:gs pos="100000">
                      <a:schemeClr val="accent4"/>
                    </a:gs>
                  </a:gsLst>
                  <a:lin ang="2700000" scaled="1"/>
                </a:gra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4D1E6E7-6980-34C8-5B50-9BC3D2B8E201}"/>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459919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Title and Content - gradient">
    <p:bg>
      <p:bgPr>
        <a:gradFill>
          <a:gsLst>
            <a:gs pos="0">
              <a:schemeClr val="bg1"/>
            </a:gs>
            <a:gs pos="100000">
              <a:schemeClr val="bg1">
                <a:lumMod val="85000"/>
                <a:alpha val="50000"/>
              </a:schemeClr>
            </a:gs>
          </a:gsLst>
          <a:lin ang="1890000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6994842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Title &amp; Non-bulleted text - gradient">
    <p:bg>
      <p:bgPr>
        <a:gradFill>
          <a:gsLst>
            <a:gs pos="0">
              <a:schemeClr val="bg1"/>
            </a:gs>
            <a:gs pos="100000">
              <a:schemeClr val="bg1">
                <a:lumMod val="85000"/>
                <a:alpha val="50000"/>
              </a:schemeClr>
            </a:gs>
          </a:gsLst>
          <a:lin ang="18900000" scaled="1"/>
        </a:gra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0443093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Two Column Bullet text - gradient">
    <p:bg>
      <p:bgPr>
        <a:gradFill>
          <a:gsLst>
            <a:gs pos="0">
              <a:schemeClr val="bg1"/>
            </a:gs>
            <a:gs pos="100000">
              <a:schemeClr val="bg1">
                <a:lumMod val="85000"/>
                <a:alpha val="50000"/>
              </a:schemeClr>
            </a:gs>
          </a:gsLst>
          <a:lin ang="1890000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1924810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Two Column Non-bulleted text - gradient">
    <p:bg>
      <p:bgPr>
        <a:gradFill>
          <a:gsLst>
            <a:gs pos="0">
              <a:schemeClr val="bg1"/>
            </a:gs>
            <a:gs pos="100000">
              <a:schemeClr val="bg1">
                <a:lumMod val="85000"/>
                <a:alpha val="50000"/>
              </a:schemeClr>
            </a:gs>
          </a:gsLst>
          <a:lin ang="1890000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5883832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Two Column Bullet with Subheads - gradient">
    <p:bg>
      <p:bgPr>
        <a:gradFill>
          <a:gsLst>
            <a:gs pos="0">
              <a:schemeClr val="bg1"/>
            </a:gs>
            <a:gs pos="100000">
              <a:schemeClr val="bg1">
                <a:lumMod val="85000"/>
                <a:alpha val="50000"/>
              </a:schemeClr>
            </a:gs>
          </a:gsLst>
          <a:lin ang="1890000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3697842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Two Column Content with Subheads - gradient">
    <p:bg>
      <p:bgPr>
        <a:gradFill>
          <a:gsLst>
            <a:gs pos="0">
              <a:schemeClr val="bg1"/>
            </a:gs>
            <a:gs pos="100000">
              <a:schemeClr val="bg1">
                <a:lumMod val="85000"/>
                <a:alpha val="50000"/>
              </a:schemeClr>
            </a:gs>
          </a:gsLst>
          <a:lin ang="1890000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7238515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Three Column Bullet with Subtitles - gradient">
    <p:bg>
      <p:bgPr>
        <a:gradFill>
          <a:gsLst>
            <a:gs pos="0">
              <a:schemeClr val="bg1"/>
            </a:gs>
            <a:gs pos="100000">
              <a:schemeClr val="bg1">
                <a:lumMod val="85000"/>
                <a:alpha val="50000"/>
              </a:schemeClr>
            </a:gs>
          </a:gsLst>
          <a:lin ang="18900000" scaled="1"/>
        </a:gra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61092567"/>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Four Column Bullet with Subtitles - gradient">
    <p:bg>
      <p:bgPr>
        <a:gradFill>
          <a:gsLst>
            <a:gs pos="0">
              <a:schemeClr val="bg1"/>
            </a:gs>
            <a:gs pos="100000">
              <a:schemeClr val="bg1">
                <a:lumMod val="85000"/>
                <a:alpha val="50000"/>
              </a:schemeClr>
            </a:gs>
          </a:gsLst>
          <a:lin ang="18900000" scaled="1"/>
        </a:gra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1701905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Five Column Bullet with Subtitles - gradient">
    <p:bg>
      <p:bgPr>
        <a:gradFill>
          <a:gsLst>
            <a:gs pos="0">
              <a:schemeClr val="bg1"/>
            </a:gs>
            <a:gs pos="100000">
              <a:schemeClr val="bg1">
                <a:lumMod val="85000"/>
                <a:alpha val="50000"/>
              </a:schemeClr>
            </a:gs>
          </a:gsLst>
          <a:lin ang="18900000" scaled="1"/>
        </a:gra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6593230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2 - gradient">
    <p:bg>
      <p:bgPr>
        <a:gradFill>
          <a:gsLst>
            <a:gs pos="0">
              <a:schemeClr val="bg1"/>
            </a:gs>
            <a:gs pos="100000">
              <a:schemeClr val="bg1">
                <a:lumMod val="85000"/>
                <a:alpha val="50000"/>
              </a:schemeClr>
            </a:gs>
          </a:gsLst>
          <a:lin ang="189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3846281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Title Only - gradient">
    <p:bg>
      <p:bgPr>
        <a:gradFill>
          <a:gsLst>
            <a:gs pos="0">
              <a:schemeClr val="bg1"/>
            </a:gs>
            <a:gs pos="100000">
              <a:schemeClr val="bg1">
                <a:lumMod val="85000"/>
                <a:alpha val="50000"/>
              </a:schemeClr>
            </a:gs>
          </a:gsLst>
          <a:lin ang="1890000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3670011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Title Only - left side  - gradient">
    <p:bg>
      <p:bgPr>
        <a:gradFill>
          <a:gsLst>
            <a:gs pos="0">
              <a:schemeClr val="bg1"/>
            </a:gs>
            <a:gs pos="100000">
              <a:schemeClr val="bg1">
                <a:lumMod val="85000"/>
                <a:alpha val="50000"/>
              </a:schemeClr>
            </a:gs>
          </a:gsLst>
          <a:lin ang="1890000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24778304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Small title - half page - gradient">
    <p:bg>
      <p:bgPr>
        <a:gradFill>
          <a:gsLst>
            <a:gs pos="0">
              <a:schemeClr val="bg1"/>
            </a:gs>
            <a:gs pos="100000">
              <a:schemeClr val="bg1">
                <a:lumMod val="85000"/>
                <a:alpha val="50000"/>
              </a:schemeClr>
            </a:gs>
          </a:gsLst>
          <a:lin ang="18900000" scaled="1"/>
        </a:gra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67427382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Demo slide - gradient">
    <p:bg>
      <p:bgPr>
        <a:gradFill>
          <a:gsLst>
            <a:gs pos="0">
              <a:schemeClr val="bg1"/>
            </a:gs>
            <a:gs pos="100000">
              <a:schemeClr val="bg1">
                <a:lumMod val="85000"/>
                <a:alpha val="50000"/>
              </a:schemeClr>
            </a:gs>
          </a:gsLst>
          <a:lin ang="189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7677235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Section Title 2 - gradient">
    <p:bg>
      <p:bgPr>
        <a:gradFill>
          <a:gsLst>
            <a:gs pos="0">
              <a:schemeClr val="bg1"/>
            </a:gs>
            <a:gs pos="100000">
              <a:schemeClr val="bg1">
                <a:lumMod val="85000"/>
                <a:alpha val="50000"/>
              </a:schemeClr>
            </a:gs>
          </a:gsLst>
          <a:lin ang="189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2401849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Title and text side by side - gradient">
    <p:bg>
      <p:bgPr>
        <a:gradFill>
          <a:gsLst>
            <a:gs pos="0">
              <a:schemeClr val="bg1"/>
            </a:gs>
            <a:gs pos="100000">
              <a:schemeClr val="bg1">
                <a:lumMod val="85000"/>
                <a:alpha val="50000"/>
              </a:schemeClr>
            </a:gs>
          </a:gsLst>
          <a:lin ang="1890000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4988838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Title and text side by side 2 - gradient">
    <p:bg>
      <p:bgPr>
        <a:gradFill>
          <a:gsLst>
            <a:gs pos="0">
              <a:schemeClr val="bg1"/>
            </a:gs>
            <a:gs pos="100000">
              <a:schemeClr val="bg1">
                <a:lumMod val="85000"/>
                <a:alpha val="50000"/>
              </a:schemeClr>
            </a:gs>
          </a:gsLst>
          <a:lin ang="1890000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1078503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Blank - gradient">
    <p:bg>
      <p:bgPr>
        <a:gradFill>
          <a:gsLst>
            <a:gs pos="0">
              <a:schemeClr val="bg1"/>
            </a:gs>
            <a:gs pos="100000">
              <a:schemeClr val="bg1">
                <a:lumMod val="85000"/>
                <a:alpha val="50000"/>
              </a:schemeClr>
            </a:gs>
          </a:gsLst>
          <a:lin ang="18900000" scaled="1"/>
        </a:gra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1208583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F61C1D9A-5BAF-D30D-27F3-0286DA113845}"/>
              </a:ext>
            </a:extLst>
          </p:cNvPr>
          <p:cNvGrpSpPr/>
          <p:nvPr userDrawn="1"/>
        </p:nvGrpSpPr>
        <p:grpSpPr>
          <a:xfrm>
            <a:off x="11207931" y="114223"/>
            <a:ext cx="984069" cy="1526510"/>
            <a:chOff x="11207931" y="114223"/>
            <a:chExt cx="984069" cy="1526510"/>
          </a:xfrm>
        </p:grpSpPr>
        <p:sp>
          <p:nvSpPr>
            <p:cNvPr id="5" name="Freeform 4">
              <a:extLst>
                <a:ext uri="{FF2B5EF4-FFF2-40B4-BE49-F238E27FC236}">
                  <a16:creationId xmlns:a16="http://schemas.microsoft.com/office/drawing/2014/main" id="{C0F0AF5D-5B93-D319-E38F-9356324AC043}"/>
                </a:ext>
              </a:extLst>
            </p:cNvPr>
            <p:cNvSpPr/>
            <p:nvPr/>
          </p:nvSpPr>
          <p:spPr bwMode="auto">
            <a:xfrm>
              <a:off x="11683516" y="209494"/>
              <a:ext cx="508484" cy="1049410"/>
            </a:xfrm>
            <a:custGeom>
              <a:avLst/>
              <a:gdLst>
                <a:gd name="connsiteX0" fmla="*/ 508484 w 508484"/>
                <a:gd name="connsiteY0" fmla="*/ 0 h 1049410"/>
                <a:gd name="connsiteX1" fmla="*/ 508484 w 508484"/>
                <a:gd name="connsiteY1" fmla="*/ 1049410 h 1049410"/>
                <a:gd name="connsiteX2" fmla="*/ 420411 w 508484"/>
                <a:gd name="connsiteY2" fmla="*/ 1040532 h 1049410"/>
                <a:gd name="connsiteX3" fmla="*/ 0 w 508484"/>
                <a:gd name="connsiteY3" fmla="*/ 524705 h 1049410"/>
                <a:gd name="connsiteX4" fmla="*/ 420411 w 508484"/>
                <a:gd name="connsiteY4" fmla="*/ 8878 h 1049410"/>
                <a:gd name="connsiteX5" fmla="*/ 508484 w 508484"/>
                <a:gd name="connsiteY5" fmla="*/ 0 h 1049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8484" h="1049410">
                  <a:moveTo>
                    <a:pt x="508484" y="0"/>
                  </a:moveTo>
                  <a:lnTo>
                    <a:pt x="508484" y="1049410"/>
                  </a:lnTo>
                  <a:lnTo>
                    <a:pt x="420411" y="1040532"/>
                  </a:lnTo>
                  <a:cubicBezTo>
                    <a:pt x="180483" y="991436"/>
                    <a:pt x="0" y="779147"/>
                    <a:pt x="0" y="524705"/>
                  </a:cubicBezTo>
                  <a:cubicBezTo>
                    <a:pt x="0" y="270263"/>
                    <a:pt x="180483" y="57975"/>
                    <a:pt x="420411" y="8878"/>
                  </a:cubicBezTo>
                  <a:lnTo>
                    <a:pt x="508484" y="0"/>
                  </a:lnTo>
                  <a:close/>
                </a:path>
              </a:pathLst>
            </a:custGeom>
            <a:solidFill>
              <a:schemeClr val="accent5">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7" name="Freeform 6">
              <a:extLst>
                <a:ext uri="{FF2B5EF4-FFF2-40B4-BE49-F238E27FC236}">
                  <a16:creationId xmlns:a16="http://schemas.microsoft.com/office/drawing/2014/main" id="{569E0FCA-DB69-4CC5-E321-EED10C1C3EE4}"/>
                </a:ext>
              </a:extLst>
            </p:cNvPr>
            <p:cNvSpPr/>
            <p:nvPr/>
          </p:nvSpPr>
          <p:spPr>
            <a:xfrm>
              <a:off x="11593087" y="114223"/>
              <a:ext cx="598913" cy="1253024"/>
            </a:xfrm>
            <a:custGeom>
              <a:avLst/>
              <a:gdLst>
                <a:gd name="connsiteX0" fmla="*/ 579415 w 733022"/>
                <a:gd name="connsiteY0" fmla="*/ 1154516 h 1533601"/>
                <a:gd name="connsiteX1" fmla="*/ 654140 w 733022"/>
                <a:gd name="connsiteY1" fmla="*/ 1182331 h 1533601"/>
                <a:gd name="connsiteX2" fmla="*/ 733022 w 733022"/>
                <a:gd name="connsiteY2" fmla="*/ 1195890 h 1533601"/>
                <a:gd name="connsiteX3" fmla="*/ 733022 w 733022"/>
                <a:gd name="connsiteY3" fmla="*/ 1519078 h 1533601"/>
                <a:gd name="connsiteX4" fmla="*/ 728849 w 733022"/>
                <a:gd name="connsiteY4" fmla="*/ 1528684 h 1533601"/>
                <a:gd name="connsiteX5" fmla="*/ 715183 w 733022"/>
                <a:gd name="connsiteY5" fmla="*/ 1533561 h 1533601"/>
                <a:gd name="connsiteX6" fmla="*/ 427500 w 733022"/>
                <a:gd name="connsiteY6" fmla="*/ 1456569 h 1533601"/>
                <a:gd name="connsiteX7" fmla="*/ 427481 w 733022"/>
                <a:gd name="connsiteY7" fmla="*/ 1456569 h 1533601"/>
                <a:gd name="connsiteX8" fmla="*/ 419765 w 733022"/>
                <a:gd name="connsiteY8" fmla="*/ 1431112 h 1533601"/>
                <a:gd name="connsiteX9" fmla="*/ 409753 w 733022"/>
                <a:gd name="connsiteY9" fmla="*/ 1009571 h 1533601"/>
                <a:gd name="connsiteX10" fmla="*/ 524291 w 733022"/>
                <a:gd name="connsiteY10" fmla="*/ 1122789 h 1533601"/>
                <a:gd name="connsiteX11" fmla="*/ 364754 w 733022"/>
                <a:gd name="connsiteY11" fmla="*/ 1399179 h 1533601"/>
                <a:gd name="connsiteX12" fmla="*/ 338820 w 733022"/>
                <a:gd name="connsiteY12" fmla="*/ 1405185 h 1533601"/>
                <a:gd name="connsiteX13" fmla="*/ 128318 w 733022"/>
                <a:gd name="connsiteY13" fmla="*/ 1194584 h 1533601"/>
                <a:gd name="connsiteX14" fmla="*/ 134321 w 733022"/>
                <a:gd name="connsiteY14" fmla="*/ 1168637 h 1533601"/>
                <a:gd name="connsiteX15" fmla="*/ 18202 w 733022"/>
                <a:gd name="connsiteY15" fmla="*/ 798631 h 1533601"/>
                <a:gd name="connsiteX16" fmla="*/ 333739 w 733022"/>
                <a:gd name="connsiteY16" fmla="*/ 798631 h 1533601"/>
                <a:gd name="connsiteX17" fmla="*/ 377363 w 733022"/>
                <a:gd name="connsiteY17" fmla="*/ 954723 h 1533601"/>
                <a:gd name="connsiteX18" fmla="*/ 102441 w 733022"/>
                <a:gd name="connsiteY18" fmla="*/ 1113544 h 1533601"/>
                <a:gd name="connsiteX19" fmla="*/ 76996 w 733022"/>
                <a:gd name="connsiteY19" fmla="*/ 1105824 h 1533601"/>
                <a:gd name="connsiteX20" fmla="*/ 41 w 733022"/>
                <a:gd name="connsiteY20" fmla="*/ 818081 h 1533601"/>
                <a:gd name="connsiteX21" fmla="*/ 18202 w 733022"/>
                <a:gd name="connsiteY21" fmla="*/ 798631 h 1533601"/>
                <a:gd name="connsiteX22" fmla="*/ 733022 w 733022"/>
                <a:gd name="connsiteY22" fmla="*/ 440947 h 1533601"/>
                <a:gd name="connsiteX23" fmla="*/ 733022 w 733022"/>
                <a:gd name="connsiteY23" fmla="*/ 627192 h 1533601"/>
                <a:gd name="connsiteX24" fmla="*/ 694597 w 733022"/>
                <a:gd name="connsiteY24" fmla="*/ 638681 h 1533601"/>
                <a:gd name="connsiteX25" fmla="*/ 618391 w 733022"/>
                <a:gd name="connsiteY25" fmla="*/ 748942 h 1533601"/>
                <a:gd name="connsiteX26" fmla="*/ 699416 w 733022"/>
                <a:gd name="connsiteY26" fmla="*/ 889231 h 1533601"/>
                <a:gd name="connsiteX27" fmla="*/ 733022 w 733022"/>
                <a:gd name="connsiteY27" fmla="*/ 896448 h 1533601"/>
                <a:gd name="connsiteX28" fmla="*/ 733022 w 733022"/>
                <a:gd name="connsiteY28" fmla="*/ 1083871 h 1533601"/>
                <a:gd name="connsiteX29" fmla="*/ 691051 w 733022"/>
                <a:gd name="connsiteY29" fmla="*/ 1079617 h 1533601"/>
                <a:gd name="connsiteX30" fmla="*/ 433014 w 733022"/>
                <a:gd name="connsiteY30" fmla="*/ 761820 h 1533601"/>
                <a:gd name="connsiteX31" fmla="*/ 678170 w 733022"/>
                <a:gd name="connsiteY31" fmla="*/ 449027 h 1533601"/>
                <a:gd name="connsiteX32" fmla="*/ 88045 w 733022"/>
                <a:gd name="connsiteY32" fmla="*/ 418365 h 1533601"/>
                <a:gd name="connsiteX33" fmla="*/ 102441 w 733022"/>
                <a:gd name="connsiteY33" fmla="*/ 420020 h 1533601"/>
                <a:gd name="connsiteX34" fmla="*/ 372960 w 733022"/>
                <a:gd name="connsiteY34" fmla="*/ 576281 h 1533601"/>
                <a:gd name="connsiteX35" fmla="*/ 332873 w 733022"/>
                <a:gd name="connsiteY35" fmla="*/ 734971 h 1533601"/>
                <a:gd name="connsiteX36" fmla="*/ 18202 w 733022"/>
                <a:gd name="connsiteY36" fmla="*/ 734971 h 1533601"/>
                <a:gd name="connsiteX37" fmla="*/ 41 w 733022"/>
                <a:gd name="connsiteY37" fmla="*/ 715520 h 1533601"/>
                <a:gd name="connsiteX38" fmla="*/ 76996 w 733022"/>
                <a:gd name="connsiteY38" fmla="*/ 427739 h 1533601"/>
                <a:gd name="connsiteX39" fmla="*/ 88045 w 733022"/>
                <a:gd name="connsiteY39" fmla="*/ 418365 h 1533601"/>
                <a:gd name="connsiteX40" fmla="*/ 353092 w 733022"/>
                <a:gd name="connsiteY40" fmla="*/ 125773 h 1533601"/>
                <a:gd name="connsiteX41" fmla="*/ 364754 w 733022"/>
                <a:gd name="connsiteY41" fmla="*/ 134404 h 1533601"/>
                <a:gd name="connsiteX42" fmla="*/ 519455 w 733022"/>
                <a:gd name="connsiteY42" fmla="*/ 402471 h 1533601"/>
                <a:gd name="connsiteX43" fmla="*/ 404069 w 733022"/>
                <a:gd name="connsiteY43" fmla="*/ 520735 h 1533601"/>
                <a:gd name="connsiteX44" fmla="*/ 134359 w 733022"/>
                <a:gd name="connsiteY44" fmla="*/ 364945 h 1533601"/>
                <a:gd name="connsiteX45" fmla="*/ 128356 w 733022"/>
                <a:gd name="connsiteY45" fmla="*/ 338999 h 1533601"/>
                <a:gd name="connsiteX46" fmla="*/ 338820 w 733022"/>
                <a:gd name="connsiteY46" fmla="*/ 128398 h 1533601"/>
                <a:gd name="connsiteX47" fmla="*/ 353092 w 733022"/>
                <a:gd name="connsiteY47" fmla="*/ 125773 h 1533601"/>
                <a:gd name="connsiteX48" fmla="*/ 715183 w 733022"/>
                <a:gd name="connsiteY48" fmla="*/ 41 h 1533601"/>
                <a:gd name="connsiteX49" fmla="*/ 715202 w 733022"/>
                <a:gd name="connsiteY49" fmla="*/ 41 h 1533601"/>
                <a:gd name="connsiteX50" fmla="*/ 728860 w 733022"/>
                <a:gd name="connsiteY50" fmla="*/ 4910 h 1533601"/>
                <a:gd name="connsiteX51" fmla="*/ 733022 w 733022"/>
                <a:gd name="connsiteY51" fmla="*/ 14482 h 1533601"/>
                <a:gd name="connsiteX52" fmla="*/ 733022 w 733022"/>
                <a:gd name="connsiteY52" fmla="*/ 325990 h 1533601"/>
                <a:gd name="connsiteX53" fmla="*/ 651303 w 733022"/>
                <a:gd name="connsiteY53" fmla="*/ 340329 h 1533601"/>
                <a:gd name="connsiteX54" fmla="*/ 574202 w 733022"/>
                <a:gd name="connsiteY54" fmla="*/ 369991 h 1533601"/>
                <a:gd name="connsiteX55" fmla="*/ 419821 w 733022"/>
                <a:gd name="connsiteY55" fmla="*/ 102489 h 1533601"/>
                <a:gd name="connsiteX56" fmla="*/ 427538 w 733022"/>
                <a:gd name="connsiteY56" fmla="*/ 77032 h 1533601"/>
                <a:gd name="connsiteX57" fmla="*/ 715183 w 733022"/>
                <a:gd name="connsiteY57" fmla="*/ 41 h 1533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733022" h="1533601">
                  <a:moveTo>
                    <a:pt x="579415" y="1154516"/>
                  </a:moveTo>
                  <a:cubicBezTo>
                    <a:pt x="603213" y="1165954"/>
                    <a:pt x="628197" y="1175308"/>
                    <a:pt x="654140" y="1182331"/>
                  </a:cubicBezTo>
                  <a:lnTo>
                    <a:pt x="733022" y="1195890"/>
                  </a:lnTo>
                  <a:lnTo>
                    <a:pt x="733022" y="1519078"/>
                  </a:lnTo>
                  <a:lnTo>
                    <a:pt x="728849" y="1528684"/>
                  </a:lnTo>
                  <a:cubicBezTo>
                    <a:pt x="725303" y="1531998"/>
                    <a:pt x="720443" y="1533909"/>
                    <a:pt x="715183" y="1533561"/>
                  </a:cubicBezTo>
                  <a:cubicBezTo>
                    <a:pt x="612463" y="1526782"/>
                    <a:pt x="515258" y="1499819"/>
                    <a:pt x="427500" y="1456569"/>
                  </a:cubicBezTo>
                  <a:lnTo>
                    <a:pt x="427481" y="1456569"/>
                  </a:lnTo>
                  <a:cubicBezTo>
                    <a:pt x="418052" y="1451918"/>
                    <a:pt x="414495" y="1440226"/>
                    <a:pt x="419765" y="1431112"/>
                  </a:cubicBezTo>
                  <a:close/>
                  <a:moveTo>
                    <a:pt x="409753" y="1009571"/>
                  </a:moveTo>
                  <a:cubicBezTo>
                    <a:pt x="440580" y="1054045"/>
                    <a:pt x="479424" y="1092456"/>
                    <a:pt x="524291" y="1122789"/>
                  </a:cubicBezTo>
                  <a:lnTo>
                    <a:pt x="364754" y="1399179"/>
                  </a:lnTo>
                  <a:cubicBezTo>
                    <a:pt x="359484" y="1408311"/>
                    <a:pt x="347571" y="1411060"/>
                    <a:pt x="338820" y="1405185"/>
                  </a:cubicBezTo>
                  <a:cubicBezTo>
                    <a:pt x="255730" y="1349376"/>
                    <a:pt x="184100" y="1277751"/>
                    <a:pt x="128318" y="1194584"/>
                  </a:cubicBezTo>
                  <a:cubicBezTo>
                    <a:pt x="122446" y="1185828"/>
                    <a:pt x="125194" y="1173910"/>
                    <a:pt x="134321" y="1168637"/>
                  </a:cubicBezTo>
                  <a:close/>
                  <a:moveTo>
                    <a:pt x="18202" y="798631"/>
                  </a:moveTo>
                  <a:lnTo>
                    <a:pt x="333739" y="798631"/>
                  </a:lnTo>
                  <a:cubicBezTo>
                    <a:pt x="338462" y="854289"/>
                    <a:pt x="353650" y="906991"/>
                    <a:pt x="377363" y="954723"/>
                  </a:cubicBezTo>
                  <a:lnTo>
                    <a:pt x="102441" y="1113544"/>
                  </a:lnTo>
                  <a:cubicBezTo>
                    <a:pt x="93331" y="1118816"/>
                    <a:pt x="81644" y="1115258"/>
                    <a:pt x="76996" y="1105824"/>
                  </a:cubicBezTo>
                  <a:cubicBezTo>
                    <a:pt x="33766" y="1018063"/>
                    <a:pt x="6816" y="920849"/>
                    <a:pt x="41" y="818081"/>
                  </a:cubicBezTo>
                  <a:cubicBezTo>
                    <a:pt x="-656" y="807556"/>
                    <a:pt x="7682" y="798631"/>
                    <a:pt x="18202" y="798631"/>
                  </a:cubicBezTo>
                  <a:close/>
                  <a:moveTo>
                    <a:pt x="733022" y="440947"/>
                  </a:moveTo>
                  <a:lnTo>
                    <a:pt x="733022" y="627192"/>
                  </a:lnTo>
                  <a:lnTo>
                    <a:pt x="694597" y="638681"/>
                  </a:lnTo>
                  <a:cubicBezTo>
                    <a:pt x="652977" y="659505"/>
                    <a:pt x="623092" y="700871"/>
                    <a:pt x="618391" y="748942"/>
                  </a:cubicBezTo>
                  <a:cubicBezTo>
                    <a:pt x="612336" y="810922"/>
                    <a:pt x="647367" y="865710"/>
                    <a:pt x="699416" y="889231"/>
                  </a:cubicBezTo>
                  <a:lnTo>
                    <a:pt x="733022" y="896448"/>
                  </a:lnTo>
                  <a:lnTo>
                    <a:pt x="733022" y="1083871"/>
                  </a:lnTo>
                  <a:lnTo>
                    <a:pt x="691051" y="1079617"/>
                  </a:lnTo>
                  <a:cubicBezTo>
                    <a:pt x="543639" y="1049300"/>
                    <a:pt x="432521" y="918253"/>
                    <a:pt x="433014" y="761820"/>
                  </a:cubicBezTo>
                  <a:cubicBezTo>
                    <a:pt x="433475" y="612208"/>
                    <a:pt x="537754" y="484162"/>
                    <a:pt x="678170" y="449027"/>
                  </a:cubicBezTo>
                  <a:close/>
                  <a:moveTo>
                    <a:pt x="88045" y="418365"/>
                  </a:moveTo>
                  <a:cubicBezTo>
                    <a:pt x="92687" y="416955"/>
                    <a:pt x="97886" y="417384"/>
                    <a:pt x="102441" y="420020"/>
                  </a:cubicBezTo>
                  <a:lnTo>
                    <a:pt x="372960" y="576281"/>
                  </a:lnTo>
                  <a:cubicBezTo>
                    <a:pt x="350187" y="624934"/>
                    <a:pt x="336185" y="678503"/>
                    <a:pt x="332873" y="734971"/>
                  </a:cubicBezTo>
                  <a:lnTo>
                    <a:pt x="18202" y="734971"/>
                  </a:lnTo>
                  <a:cubicBezTo>
                    <a:pt x="7682" y="734971"/>
                    <a:pt x="-656" y="726045"/>
                    <a:pt x="41" y="715520"/>
                  </a:cubicBezTo>
                  <a:cubicBezTo>
                    <a:pt x="6816" y="612752"/>
                    <a:pt x="33766" y="515501"/>
                    <a:pt x="76996" y="427739"/>
                  </a:cubicBezTo>
                  <a:cubicBezTo>
                    <a:pt x="79320" y="423023"/>
                    <a:pt x="83404" y="419775"/>
                    <a:pt x="88045" y="418365"/>
                  </a:cubicBezTo>
                  <a:close/>
                  <a:moveTo>
                    <a:pt x="353092" y="125773"/>
                  </a:moveTo>
                  <a:cubicBezTo>
                    <a:pt x="357823" y="126868"/>
                    <a:pt x="362119" y="129838"/>
                    <a:pt x="364754" y="134404"/>
                  </a:cubicBezTo>
                  <a:lnTo>
                    <a:pt x="519455" y="402471"/>
                  </a:lnTo>
                  <a:cubicBezTo>
                    <a:pt x="473873" y="434122"/>
                    <a:pt x="434652" y="474359"/>
                    <a:pt x="404069" y="520735"/>
                  </a:cubicBezTo>
                  <a:lnTo>
                    <a:pt x="134359" y="364945"/>
                  </a:lnTo>
                  <a:cubicBezTo>
                    <a:pt x="125231" y="359673"/>
                    <a:pt x="122484" y="347754"/>
                    <a:pt x="128356" y="338999"/>
                  </a:cubicBezTo>
                  <a:cubicBezTo>
                    <a:pt x="184138" y="255869"/>
                    <a:pt x="255730" y="184244"/>
                    <a:pt x="338820" y="128398"/>
                  </a:cubicBezTo>
                  <a:cubicBezTo>
                    <a:pt x="343196" y="125460"/>
                    <a:pt x="348362" y="124679"/>
                    <a:pt x="353092" y="125773"/>
                  </a:cubicBezTo>
                  <a:close/>
                  <a:moveTo>
                    <a:pt x="715183" y="41"/>
                  </a:moveTo>
                  <a:lnTo>
                    <a:pt x="715202" y="41"/>
                  </a:lnTo>
                  <a:cubicBezTo>
                    <a:pt x="720453" y="-308"/>
                    <a:pt x="725313" y="1599"/>
                    <a:pt x="728860" y="4910"/>
                  </a:cubicBezTo>
                  <a:lnTo>
                    <a:pt x="733022" y="14482"/>
                  </a:lnTo>
                  <a:lnTo>
                    <a:pt x="733022" y="325990"/>
                  </a:lnTo>
                  <a:lnTo>
                    <a:pt x="651303" y="340329"/>
                  </a:lnTo>
                  <a:cubicBezTo>
                    <a:pt x="624470" y="347792"/>
                    <a:pt x="598678" y="357762"/>
                    <a:pt x="574202" y="369991"/>
                  </a:cubicBezTo>
                  <a:lnTo>
                    <a:pt x="419821" y="102489"/>
                  </a:lnTo>
                  <a:cubicBezTo>
                    <a:pt x="414552" y="93357"/>
                    <a:pt x="418090" y="81683"/>
                    <a:pt x="427538" y="77032"/>
                  </a:cubicBezTo>
                  <a:cubicBezTo>
                    <a:pt x="515258" y="33801"/>
                    <a:pt x="612463" y="6819"/>
                    <a:pt x="715183" y="41"/>
                  </a:cubicBezTo>
                  <a:close/>
                </a:path>
              </a:pathLst>
            </a:custGeom>
            <a:gradFill>
              <a:gsLst>
                <a:gs pos="6000">
                  <a:srgbClr val="FF9248">
                    <a:alpha val="34000"/>
                  </a:srgbClr>
                </a:gs>
                <a:gs pos="77000">
                  <a:schemeClr val="accent4">
                    <a:alpha val="29000"/>
                  </a:schemeClr>
                </a:gs>
              </a:gsLst>
              <a:lin ang="3343960" scaled="1"/>
            </a:gradFill>
            <a:ln w="5992" cap="flat">
              <a:noFill/>
              <a:prstDash val="solid"/>
              <a:miter/>
            </a:ln>
          </p:spPr>
          <p:txBody>
            <a:bodyPr wrap="square" rtlCol="0" anchor="ctr">
              <a:noAutofit/>
            </a:bodyPr>
            <a:lstStyle/>
            <a:p>
              <a:endParaRPr lang="en-US"/>
            </a:p>
          </p:txBody>
        </p:sp>
        <p:sp>
          <p:nvSpPr>
            <p:cNvPr id="8" name="Donut 7">
              <a:extLst>
                <a:ext uri="{FF2B5EF4-FFF2-40B4-BE49-F238E27FC236}">
                  <a16:creationId xmlns:a16="http://schemas.microsoft.com/office/drawing/2014/main" id="{A9F35E60-70A0-D050-1795-A45CC550C35D}"/>
                </a:ext>
              </a:extLst>
            </p:cNvPr>
            <p:cNvSpPr/>
            <p:nvPr/>
          </p:nvSpPr>
          <p:spPr bwMode="auto">
            <a:xfrm>
              <a:off x="11207931" y="1255577"/>
              <a:ext cx="385156" cy="385156"/>
            </a:xfrm>
            <a:prstGeom prst="donut">
              <a:avLst/>
            </a:prstGeom>
            <a:gradFill>
              <a:gsLst>
                <a:gs pos="6000">
                  <a:srgbClr val="FF9248">
                    <a:alpha val="34000"/>
                  </a:srgbClr>
                </a:gs>
                <a:gs pos="77000">
                  <a:schemeClr val="accent4">
                    <a:alpha val="29000"/>
                  </a:schemeClr>
                </a:gs>
              </a:gsLst>
              <a:lin ang="3343960" scaled="1"/>
            </a:gradFill>
            <a:ln w="5992" cap="flat">
              <a:noFill/>
              <a:prstDash val="solid"/>
              <a:miter/>
            </a:ln>
          </p:spPr>
          <p:txBody>
            <a:bodyPr wrap="square" rtlCol="0" anchor="ctr">
              <a:noAutofit/>
            </a:bodyPr>
            <a:lstStyle/>
            <a:p>
              <a:endParaRPr lang="en-US">
                <a:solidFill>
                  <a:schemeClr val="tx1"/>
                </a:solidFill>
              </a:endParaRPr>
            </a:p>
          </p:txBody>
        </p:sp>
      </p:gr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5276541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1_Title &amp; Non-bulleted text">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FEC4C24E-9C4D-542A-EE6B-DAA8AE94C982}"/>
              </a:ext>
            </a:extLst>
          </p:cNvPr>
          <p:cNvGrpSpPr/>
          <p:nvPr userDrawn="1"/>
        </p:nvGrpSpPr>
        <p:grpSpPr>
          <a:xfrm>
            <a:off x="11207931" y="114223"/>
            <a:ext cx="984069" cy="1526510"/>
            <a:chOff x="11207931" y="114223"/>
            <a:chExt cx="984069" cy="1526510"/>
          </a:xfrm>
        </p:grpSpPr>
        <p:sp>
          <p:nvSpPr>
            <p:cNvPr id="3" name="Freeform 2">
              <a:extLst>
                <a:ext uri="{FF2B5EF4-FFF2-40B4-BE49-F238E27FC236}">
                  <a16:creationId xmlns:a16="http://schemas.microsoft.com/office/drawing/2014/main" id="{CB0E3E2C-C5D2-0AA9-52D8-6C9184AC2BFA}"/>
                </a:ext>
              </a:extLst>
            </p:cNvPr>
            <p:cNvSpPr/>
            <p:nvPr/>
          </p:nvSpPr>
          <p:spPr bwMode="auto">
            <a:xfrm>
              <a:off x="11683516" y="209494"/>
              <a:ext cx="508484" cy="1049410"/>
            </a:xfrm>
            <a:custGeom>
              <a:avLst/>
              <a:gdLst>
                <a:gd name="connsiteX0" fmla="*/ 508484 w 508484"/>
                <a:gd name="connsiteY0" fmla="*/ 0 h 1049410"/>
                <a:gd name="connsiteX1" fmla="*/ 508484 w 508484"/>
                <a:gd name="connsiteY1" fmla="*/ 1049410 h 1049410"/>
                <a:gd name="connsiteX2" fmla="*/ 420411 w 508484"/>
                <a:gd name="connsiteY2" fmla="*/ 1040532 h 1049410"/>
                <a:gd name="connsiteX3" fmla="*/ 0 w 508484"/>
                <a:gd name="connsiteY3" fmla="*/ 524705 h 1049410"/>
                <a:gd name="connsiteX4" fmla="*/ 420411 w 508484"/>
                <a:gd name="connsiteY4" fmla="*/ 8878 h 1049410"/>
                <a:gd name="connsiteX5" fmla="*/ 508484 w 508484"/>
                <a:gd name="connsiteY5" fmla="*/ 0 h 1049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8484" h="1049410">
                  <a:moveTo>
                    <a:pt x="508484" y="0"/>
                  </a:moveTo>
                  <a:lnTo>
                    <a:pt x="508484" y="1049410"/>
                  </a:lnTo>
                  <a:lnTo>
                    <a:pt x="420411" y="1040532"/>
                  </a:lnTo>
                  <a:cubicBezTo>
                    <a:pt x="180483" y="991436"/>
                    <a:pt x="0" y="779147"/>
                    <a:pt x="0" y="524705"/>
                  </a:cubicBezTo>
                  <a:cubicBezTo>
                    <a:pt x="0" y="270263"/>
                    <a:pt x="180483" y="57975"/>
                    <a:pt x="420411" y="8878"/>
                  </a:cubicBezTo>
                  <a:lnTo>
                    <a:pt x="508484" y="0"/>
                  </a:lnTo>
                  <a:close/>
                </a:path>
              </a:pathLst>
            </a:custGeom>
            <a:solidFill>
              <a:schemeClr val="accent5">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5" name="Freeform 4">
              <a:extLst>
                <a:ext uri="{FF2B5EF4-FFF2-40B4-BE49-F238E27FC236}">
                  <a16:creationId xmlns:a16="http://schemas.microsoft.com/office/drawing/2014/main" id="{5FF268D8-356E-B724-0AA6-2DE0C9CCAE1B}"/>
                </a:ext>
              </a:extLst>
            </p:cNvPr>
            <p:cNvSpPr/>
            <p:nvPr/>
          </p:nvSpPr>
          <p:spPr>
            <a:xfrm>
              <a:off x="11593087" y="114223"/>
              <a:ext cx="598913" cy="1253024"/>
            </a:xfrm>
            <a:custGeom>
              <a:avLst/>
              <a:gdLst>
                <a:gd name="connsiteX0" fmla="*/ 579415 w 733022"/>
                <a:gd name="connsiteY0" fmla="*/ 1154516 h 1533601"/>
                <a:gd name="connsiteX1" fmla="*/ 654140 w 733022"/>
                <a:gd name="connsiteY1" fmla="*/ 1182331 h 1533601"/>
                <a:gd name="connsiteX2" fmla="*/ 733022 w 733022"/>
                <a:gd name="connsiteY2" fmla="*/ 1195890 h 1533601"/>
                <a:gd name="connsiteX3" fmla="*/ 733022 w 733022"/>
                <a:gd name="connsiteY3" fmla="*/ 1519078 h 1533601"/>
                <a:gd name="connsiteX4" fmla="*/ 728849 w 733022"/>
                <a:gd name="connsiteY4" fmla="*/ 1528684 h 1533601"/>
                <a:gd name="connsiteX5" fmla="*/ 715183 w 733022"/>
                <a:gd name="connsiteY5" fmla="*/ 1533561 h 1533601"/>
                <a:gd name="connsiteX6" fmla="*/ 427500 w 733022"/>
                <a:gd name="connsiteY6" fmla="*/ 1456569 h 1533601"/>
                <a:gd name="connsiteX7" fmla="*/ 427481 w 733022"/>
                <a:gd name="connsiteY7" fmla="*/ 1456569 h 1533601"/>
                <a:gd name="connsiteX8" fmla="*/ 419765 w 733022"/>
                <a:gd name="connsiteY8" fmla="*/ 1431112 h 1533601"/>
                <a:gd name="connsiteX9" fmla="*/ 409753 w 733022"/>
                <a:gd name="connsiteY9" fmla="*/ 1009571 h 1533601"/>
                <a:gd name="connsiteX10" fmla="*/ 524291 w 733022"/>
                <a:gd name="connsiteY10" fmla="*/ 1122789 h 1533601"/>
                <a:gd name="connsiteX11" fmla="*/ 364754 w 733022"/>
                <a:gd name="connsiteY11" fmla="*/ 1399179 h 1533601"/>
                <a:gd name="connsiteX12" fmla="*/ 338820 w 733022"/>
                <a:gd name="connsiteY12" fmla="*/ 1405185 h 1533601"/>
                <a:gd name="connsiteX13" fmla="*/ 128318 w 733022"/>
                <a:gd name="connsiteY13" fmla="*/ 1194584 h 1533601"/>
                <a:gd name="connsiteX14" fmla="*/ 134321 w 733022"/>
                <a:gd name="connsiteY14" fmla="*/ 1168637 h 1533601"/>
                <a:gd name="connsiteX15" fmla="*/ 18202 w 733022"/>
                <a:gd name="connsiteY15" fmla="*/ 798631 h 1533601"/>
                <a:gd name="connsiteX16" fmla="*/ 333739 w 733022"/>
                <a:gd name="connsiteY16" fmla="*/ 798631 h 1533601"/>
                <a:gd name="connsiteX17" fmla="*/ 377363 w 733022"/>
                <a:gd name="connsiteY17" fmla="*/ 954723 h 1533601"/>
                <a:gd name="connsiteX18" fmla="*/ 102441 w 733022"/>
                <a:gd name="connsiteY18" fmla="*/ 1113544 h 1533601"/>
                <a:gd name="connsiteX19" fmla="*/ 76996 w 733022"/>
                <a:gd name="connsiteY19" fmla="*/ 1105824 h 1533601"/>
                <a:gd name="connsiteX20" fmla="*/ 41 w 733022"/>
                <a:gd name="connsiteY20" fmla="*/ 818081 h 1533601"/>
                <a:gd name="connsiteX21" fmla="*/ 18202 w 733022"/>
                <a:gd name="connsiteY21" fmla="*/ 798631 h 1533601"/>
                <a:gd name="connsiteX22" fmla="*/ 733022 w 733022"/>
                <a:gd name="connsiteY22" fmla="*/ 440947 h 1533601"/>
                <a:gd name="connsiteX23" fmla="*/ 733022 w 733022"/>
                <a:gd name="connsiteY23" fmla="*/ 627192 h 1533601"/>
                <a:gd name="connsiteX24" fmla="*/ 694597 w 733022"/>
                <a:gd name="connsiteY24" fmla="*/ 638681 h 1533601"/>
                <a:gd name="connsiteX25" fmla="*/ 618391 w 733022"/>
                <a:gd name="connsiteY25" fmla="*/ 748942 h 1533601"/>
                <a:gd name="connsiteX26" fmla="*/ 699416 w 733022"/>
                <a:gd name="connsiteY26" fmla="*/ 889231 h 1533601"/>
                <a:gd name="connsiteX27" fmla="*/ 733022 w 733022"/>
                <a:gd name="connsiteY27" fmla="*/ 896448 h 1533601"/>
                <a:gd name="connsiteX28" fmla="*/ 733022 w 733022"/>
                <a:gd name="connsiteY28" fmla="*/ 1083871 h 1533601"/>
                <a:gd name="connsiteX29" fmla="*/ 691051 w 733022"/>
                <a:gd name="connsiteY29" fmla="*/ 1079617 h 1533601"/>
                <a:gd name="connsiteX30" fmla="*/ 433014 w 733022"/>
                <a:gd name="connsiteY30" fmla="*/ 761820 h 1533601"/>
                <a:gd name="connsiteX31" fmla="*/ 678170 w 733022"/>
                <a:gd name="connsiteY31" fmla="*/ 449027 h 1533601"/>
                <a:gd name="connsiteX32" fmla="*/ 88045 w 733022"/>
                <a:gd name="connsiteY32" fmla="*/ 418365 h 1533601"/>
                <a:gd name="connsiteX33" fmla="*/ 102441 w 733022"/>
                <a:gd name="connsiteY33" fmla="*/ 420020 h 1533601"/>
                <a:gd name="connsiteX34" fmla="*/ 372960 w 733022"/>
                <a:gd name="connsiteY34" fmla="*/ 576281 h 1533601"/>
                <a:gd name="connsiteX35" fmla="*/ 332873 w 733022"/>
                <a:gd name="connsiteY35" fmla="*/ 734971 h 1533601"/>
                <a:gd name="connsiteX36" fmla="*/ 18202 w 733022"/>
                <a:gd name="connsiteY36" fmla="*/ 734971 h 1533601"/>
                <a:gd name="connsiteX37" fmla="*/ 41 w 733022"/>
                <a:gd name="connsiteY37" fmla="*/ 715520 h 1533601"/>
                <a:gd name="connsiteX38" fmla="*/ 76996 w 733022"/>
                <a:gd name="connsiteY38" fmla="*/ 427739 h 1533601"/>
                <a:gd name="connsiteX39" fmla="*/ 88045 w 733022"/>
                <a:gd name="connsiteY39" fmla="*/ 418365 h 1533601"/>
                <a:gd name="connsiteX40" fmla="*/ 353092 w 733022"/>
                <a:gd name="connsiteY40" fmla="*/ 125773 h 1533601"/>
                <a:gd name="connsiteX41" fmla="*/ 364754 w 733022"/>
                <a:gd name="connsiteY41" fmla="*/ 134404 h 1533601"/>
                <a:gd name="connsiteX42" fmla="*/ 519455 w 733022"/>
                <a:gd name="connsiteY42" fmla="*/ 402471 h 1533601"/>
                <a:gd name="connsiteX43" fmla="*/ 404069 w 733022"/>
                <a:gd name="connsiteY43" fmla="*/ 520735 h 1533601"/>
                <a:gd name="connsiteX44" fmla="*/ 134359 w 733022"/>
                <a:gd name="connsiteY44" fmla="*/ 364945 h 1533601"/>
                <a:gd name="connsiteX45" fmla="*/ 128356 w 733022"/>
                <a:gd name="connsiteY45" fmla="*/ 338999 h 1533601"/>
                <a:gd name="connsiteX46" fmla="*/ 338820 w 733022"/>
                <a:gd name="connsiteY46" fmla="*/ 128398 h 1533601"/>
                <a:gd name="connsiteX47" fmla="*/ 353092 w 733022"/>
                <a:gd name="connsiteY47" fmla="*/ 125773 h 1533601"/>
                <a:gd name="connsiteX48" fmla="*/ 715183 w 733022"/>
                <a:gd name="connsiteY48" fmla="*/ 41 h 1533601"/>
                <a:gd name="connsiteX49" fmla="*/ 715202 w 733022"/>
                <a:gd name="connsiteY49" fmla="*/ 41 h 1533601"/>
                <a:gd name="connsiteX50" fmla="*/ 728860 w 733022"/>
                <a:gd name="connsiteY50" fmla="*/ 4910 h 1533601"/>
                <a:gd name="connsiteX51" fmla="*/ 733022 w 733022"/>
                <a:gd name="connsiteY51" fmla="*/ 14482 h 1533601"/>
                <a:gd name="connsiteX52" fmla="*/ 733022 w 733022"/>
                <a:gd name="connsiteY52" fmla="*/ 325990 h 1533601"/>
                <a:gd name="connsiteX53" fmla="*/ 651303 w 733022"/>
                <a:gd name="connsiteY53" fmla="*/ 340329 h 1533601"/>
                <a:gd name="connsiteX54" fmla="*/ 574202 w 733022"/>
                <a:gd name="connsiteY54" fmla="*/ 369991 h 1533601"/>
                <a:gd name="connsiteX55" fmla="*/ 419821 w 733022"/>
                <a:gd name="connsiteY55" fmla="*/ 102489 h 1533601"/>
                <a:gd name="connsiteX56" fmla="*/ 427538 w 733022"/>
                <a:gd name="connsiteY56" fmla="*/ 77032 h 1533601"/>
                <a:gd name="connsiteX57" fmla="*/ 715183 w 733022"/>
                <a:gd name="connsiteY57" fmla="*/ 41 h 1533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733022" h="1533601">
                  <a:moveTo>
                    <a:pt x="579415" y="1154516"/>
                  </a:moveTo>
                  <a:cubicBezTo>
                    <a:pt x="603213" y="1165954"/>
                    <a:pt x="628197" y="1175308"/>
                    <a:pt x="654140" y="1182331"/>
                  </a:cubicBezTo>
                  <a:lnTo>
                    <a:pt x="733022" y="1195890"/>
                  </a:lnTo>
                  <a:lnTo>
                    <a:pt x="733022" y="1519078"/>
                  </a:lnTo>
                  <a:lnTo>
                    <a:pt x="728849" y="1528684"/>
                  </a:lnTo>
                  <a:cubicBezTo>
                    <a:pt x="725303" y="1531998"/>
                    <a:pt x="720443" y="1533909"/>
                    <a:pt x="715183" y="1533561"/>
                  </a:cubicBezTo>
                  <a:cubicBezTo>
                    <a:pt x="612463" y="1526782"/>
                    <a:pt x="515258" y="1499819"/>
                    <a:pt x="427500" y="1456569"/>
                  </a:cubicBezTo>
                  <a:lnTo>
                    <a:pt x="427481" y="1456569"/>
                  </a:lnTo>
                  <a:cubicBezTo>
                    <a:pt x="418052" y="1451918"/>
                    <a:pt x="414495" y="1440226"/>
                    <a:pt x="419765" y="1431112"/>
                  </a:cubicBezTo>
                  <a:close/>
                  <a:moveTo>
                    <a:pt x="409753" y="1009571"/>
                  </a:moveTo>
                  <a:cubicBezTo>
                    <a:pt x="440580" y="1054045"/>
                    <a:pt x="479424" y="1092456"/>
                    <a:pt x="524291" y="1122789"/>
                  </a:cubicBezTo>
                  <a:lnTo>
                    <a:pt x="364754" y="1399179"/>
                  </a:lnTo>
                  <a:cubicBezTo>
                    <a:pt x="359484" y="1408311"/>
                    <a:pt x="347571" y="1411060"/>
                    <a:pt x="338820" y="1405185"/>
                  </a:cubicBezTo>
                  <a:cubicBezTo>
                    <a:pt x="255730" y="1349376"/>
                    <a:pt x="184100" y="1277751"/>
                    <a:pt x="128318" y="1194584"/>
                  </a:cubicBezTo>
                  <a:cubicBezTo>
                    <a:pt x="122446" y="1185828"/>
                    <a:pt x="125194" y="1173910"/>
                    <a:pt x="134321" y="1168637"/>
                  </a:cubicBezTo>
                  <a:close/>
                  <a:moveTo>
                    <a:pt x="18202" y="798631"/>
                  </a:moveTo>
                  <a:lnTo>
                    <a:pt x="333739" y="798631"/>
                  </a:lnTo>
                  <a:cubicBezTo>
                    <a:pt x="338462" y="854289"/>
                    <a:pt x="353650" y="906991"/>
                    <a:pt x="377363" y="954723"/>
                  </a:cubicBezTo>
                  <a:lnTo>
                    <a:pt x="102441" y="1113544"/>
                  </a:lnTo>
                  <a:cubicBezTo>
                    <a:pt x="93331" y="1118816"/>
                    <a:pt x="81644" y="1115258"/>
                    <a:pt x="76996" y="1105824"/>
                  </a:cubicBezTo>
                  <a:cubicBezTo>
                    <a:pt x="33766" y="1018063"/>
                    <a:pt x="6816" y="920849"/>
                    <a:pt x="41" y="818081"/>
                  </a:cubicBezTo>
                  <a:cubicBezTo>
                    <a:pt x="-656" y="807556"/>
                    <a:pt x="7682" y="798631"/>
                    <a:pt x="18202" y="798631"/>
                  </a:cubicBezTo>
                  <a:close/>
                  <a:moveTo>
                    <a:pt x="733022" y="440947"/>
                  </a:moveTo>
                  <a:lnTo>
                    <a:pt x="733022" y="627192"/>
                  </a:lnTo>
                  <a:lnTo>
                    <a:pt x="694597" y="638681"/>
                  </a:lnTo>
                  <a:cubicBezTo>
                    <a:pt x="652977" y="659505"/>
                    <a:pt x="623092" y="700871"/>
                    <a:pt x="618391" y="748942"/>
                  </a:cubicBezTo>
                  <a:cubicBezTo>
                    <a:pt x="612336" y="810922"/>
                    <a:pt x="647367" y="865710"/>
                    <a:pt x="699416" y="889231"/>
                  </a:cubicBezTo>
                  <a:lnTo>
                    <a:pt x="733022" y="896448"/>
                  </a:lnTo>
                  <a:lnTo>
                    <a:pt x="733022" y="1083871"/>
                  </a:lnTo>
                  <a:lnTo>
                    <a:pt x="691051" y="1079617"/>
                  </a:lnTo>
                  <a:cubicBezTo>
                    <a:pt x="543639" y="1049300"/>
                    <a:pt x="432521" y="918253"/>
                    <a:pt x="433014" y="761820"/>
                  </a:cubicBezTo>
                  <a:cubicBezTo>
                    <a:pt x="433475" y="612208"/>
                    <a:pt x="537754" y="484162"/>
                    <a:pt x="678170" y="449027"/>
                  </a:cubicBezTo>
                  <a:close/>
                  <a:moveTo>
                    <a:pt x="88045" y="418365"/>
                  </a:moveTo>
                  <a:cubicBezTo>
                    <a:pt x="92687" y="416955"/>
                    <a:pt x="97886" y="417384"/>
                    <a:pt x="102441" y="420020"/>
                  </a:cubicBezTo>
                  <a:lnTo>
                    <a:pt x="372960" y="576281"/>
                  </a:lnTo>
                  <a:cubicBezTo>
                    <a:pt x="350187" y="624934"/>
                    <a:pt x="336185" y="678503"/>
                    <a:pt x="332873" y="734971"/>
                  </a:cubicBezTo>
                  <a:lnTo>
                    <a:pt x="18202" y="734971"/>
                  </a:lnTo>
                  <a:cubicBezTo>
                    <a:pt x="7682" y="734971"/>
                    <a:pt x="-656" y="726045"/>
                    <a:pt x="41" y="715520"/>
                  </a:cubicBezTo>
                  <a:cubicBezTo>
                    <a:pt x="6816" y="612752"/>
                    <a:pt x="33766" y="515501"/>
                    <a:pt x="76996" y="427739"/>
                  </a:cubicBezTo>
                  <a:cubicBezTo>
                    <a:pt x="79320" y="423023"/>
                    <a:pt x="83404" y="419775"/>
                    <a:pt x="88045" y="418365"/>
                  </a:cubicBezTo>
                  <a:close/>
                  <a:moveTo>
                    <a:pt x="353092" y="125773"/>
                  </a:moveTo>
                  <a:cubicBezTo>
                    <a:pt x="357823" y="126868"/>
                    <a:pt x="362119" y="129838"/>
                    <a:pt x="364754" y="134404"/>
                  </a:cubicBezTo>
                  <a:lnTo>
                    <a:pt x="519455" y="402471"/>
                  </a:lnTo>
                  <a:cubicBezTo>
                    <a:pt x="473873" y="434122"/>
                    <a:pt x="434652" y="474359"/>
                    <a:pt x="404069" y="520735"/>
                  </a:cubicBezTo>
                  <a:lnTo>
                    <a:pt x="134359" y="364945"/>
                  </a:lnTo>
                  <a:cubicBezTo>
                    <a:pt x="125231" y="359673"/>
                    <a:pt x="122484" y="347754"/>
                    <a:pt x="128356" y="338999"/>
                  </a:cubicBezTo>
                  <a:cubicBezTo>
                    <a:pt x="184138" y="255869"/>
                    <a:pt x="255730" y="184244"/>
                    <a:pt x="338820" y="128398"/>
                  </a:cubicBezTo>
                  <a:cubicBezTo>
                    <a:pt x="343196" y="125460"/>
                    <a:pt x="348362" y="124679"/>
                    <a:pt x="353092" y="125773"/>
                  </a:cubicBezTo>
                  <a:close/>
                  <a:moveTo>
                    <a:pt x="715183" y="41"/>
                  </a:moveTo>
                  <a:lnTo>
                    <a:pt x="715202" y="41"/>
                  </a:lnTo>
                  <a:cubicBezTo>
                    <a:pt x="720453" y="-308"/>
                    <a:pt x="725313" y="1599"/>
                    <a:pt x="728860" y="4910"/>
                  </a:cubicBezTo>
                  <a:lnTo>
                    <a:pt x="733022" y="14482"/>
                  </a:lnTo>
                  <a:lnTo>
                    <a:pt x="733022" y="325990"/>
                  </a:lnTo>
                  <a:lnTo>
                    <a:pt x="651303" y="340329"/>
                  </a:lnTo>
                  <a:cubicBezTo>
                    <a:pt x="624470" y="347792"/>
                    <a:pt x="598678" y="357762"/>
                    <a:pt x="574202" y="369991"/>
                  </a:cubicBezTo>
                  <a:lnTo>
                    <a:pt x="419821" y="102489"/>
                  </a:lnTo>
                  <a:cubicBezTo>
                    <a:pt x="414552" y="93357"/>
                    <a:pt x="418090" y="81683"/>
                    <a:pt x="427538" y="77032"/>
                  </a:cubicBezTo>
                  <a:cubicBezTo>
                    <a:pt x="515258" y="33801"/>
                    <a:pt x="612463" y="6819"/>
                    <a:pt x="715183" y="41"/>
                  </a:cubicBezTo>
                  <a:close/>
                </a:path>
              </a:pathLst>
            </a:custGeom>
            <a:gradFill>
              <a:gsLst>
                <a:gs pos="6000">
                  <a:srgbClr val="FF9248">
                    <a:alpha val="34000"/>
                  </a:srgbClr>
                </a:gs>
                <a:gs pos="77000">
                  <a:schemeClr val="accent4">
                    <a:alpha val="29000"/>
                  </a:schemeClr>
                </a:gs>
              </a:gsLst>
              <a:lin ang="3343960" scaled="1"/>
            </a:gradFill>
            <a:ln w="5992" cap="flat">
              <a:noFill/>
              <a:prstDash val="solid"/>
              <a:miter/>
            </a:ln>
          </p:spPr>
          <p:txBody>
            <a:bodyPr wrap="square" rtlCol="0" anchor="ctr">
              <a:noAutofit/>
            </a:bodyPr>
            <a:lstStyle/>
            <a:p>
              <a:endParaRPr lang="en-US"/>
            </a:p>
          </p:txBody>
        </p:sp>
        <p:sp>
          <p:nvSpPr>
            <p:cNvPr id="6" name="Donut 5">
              <a:extLst>
                <a:ext uri="{FF2B5EF4-FFF2-40B4-BE49-F238E27FC236}">
                  <a16:creationId xmlns:a16="http://schemas.microsoft.com/office/drawing/2014/main" id="{13890EE9-DA5E-C486-7E14-FD18702016A9}"/>
                </a:ext>
              </a:extLst>
            </p:cNvPr>
            <p:cNvSpPr/>
            <p:nvPr/>
          </p:nvSpPr>
          <p:spPr bwMode="auto">
            <a:xfrm>
              <a:off x="11207931" y="1255577"/>
              <a:ext cx="385156" cy="385156"/>
            </a:xfrm>
            <a:prstGeom prst="donut">
              <a:avLst/>
            </a:prstGeom>
            <a:gradFill>
              <a:gsLst>
                <a:gs pos="6000">
                  <a:srgbClr val="FF9248">
                    <a:alpha val="34000"/>
                  </a:srgbClr>
                </a:gs>
                <a:gs pos="77000">
                  <a:schemeClr val="accent4">
                    <a:alpha val="29000"/>
                  </a:schemeClr>
                </a:gs>
              </a:gsLst>
              <a:lin ang="3343960" scaled="1"/>
            </a:gradFill>
            <a:ln w="5992" cap="flat">
              <a:noFill/>
              <a:prstDash val="solid"/>
              <a:miter/>
            </a:ln>
          </p:spPr>
          <p:txBody>
            <a:bodyPr wrap="square" rtlCol="0" anchor="ctr">
              <a:noAutofit/>
            </a:bodyPr>
            <a:lstStyle/>
            <a:p>
              <a:endParaRPr lang="en-US">
                <a:solidFill>
                  <a:schemeClr val="tx1"/>
                </a:solidFill>
              </a:endParaRPr>
            </a:p>
          </p:txBody>
        </p:sp>
      </p:grpSp>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5055730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and text side by side - gradient">
    <p:bg>
      <p:bgPr>
        <a:gradFill>
          <a:gsLst>
            <a:gs pos="0">
              <a:schemeClr val="bg1"/>
            </a:gs>
            <a:gs pos="100000">
              <a:schemeClr val="bg1">
                <a:lumMod val="85000"/>
                <a:alpha val="50000"/>
              </a:schemeClr>
            </a:gs>
          </a:gsLst>
          <a:lin ang="1890000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9721736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1_Two Column Bullet text">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243EEFD7-7823-20FE-9267-CC95C9CC7F8E}"/>
              </a:ext>
            </a:extLst>
          </p:cNvPr>
          <p:cNvGrpSpPr/>
          <p:nvPr userDrawn="1"/>
        </p:nvGrpSpPr>
        <p:grpSpPr>
          <a:xfrm>
            <a:off x="11207931" y="114223"/>
            <a:ext cx="984069" cy="1526510"/>
            <a:chOff x="11207931" y="114223"/>
            <a:chExt cx="984069" cy="1526510"/>
          </a:xfrm>
        </p:grpSpPr>
        <p:sp>
          <p:nvSpPr>
            <p:cNvPr id="4" name="Freeform 3">
              <a:extLst>
                <a:ext uri="{FF2B5EF4-FFF2-40B4-BE49-F238E27FC236}">
                  <a16:creationId xmlns:a16="http://schemas.microsoft.com/office/drawing/2014/main" id="{35283B6A-8DE6-5857-08F4-4B92A5C98120}"/>
                </a:ext>
              </a:extLst>
            </p:cNvPr>
            <p:cNvSpPr/>
            <p:nvPr/>
          </p:nvSpPr>
          <p:spPr bwMode="auto">
            <a:xfrm>
              <a:off x="11683516" y="209494"/>
              <a:ext cx="508484" cy="1049410"/>
            </a:xfrm>
            <a:custGeom>
              <a:avLst/>
              <a:gdLst>
                <a:gd name="connsiteX0" fmla="*/ 508484 w 508484"/>
                <a:gd name="connsiteY0" fmla="*/ 0 h 1049410"/>
                <a:gd name="connsiteX1" fmla="*/ 508484 w 508484"/>
                <a:gd name="connsiteY1" fmla="*/ 1049410 h 1049410"/>
                <a:gd name="connsiteX2" fmla="*/ 420411 w 508484"/>
                <a:gd name="connsiteY2" fmla="*/ 1040532 h 1049410"/>
                <a:gd name="connsiteX3" fmla="*/ 0 w 508484"/>
                <a:gd name="connsiteY3" fmla="*/ 524705 h 1049410"/>
                <a:gd name="connsiteX4" fmla="*/ 420411 w 508484"/>
                <a:gd name="connsiteY4" fmla="*/ 8878 h 1049410"/>
                <a:gd name="connsiteX5" fmla="*/ 508484 w 508484"/>
                <a:gd name="connsiteY5" fmla="*/ 0 h 1049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8484" h="1049410">
                  <a:moveTo>
                    <a:pt x="508484" y="0"/>
                  </a:moveTo>
                  <a:lnTo>
                    <a:pt x="508484" y="1049410"/>
                  </a:lnTo>
                  <a:lnTo>
                    <a:pt x="420411" y="1040532"/>
                  </a:lnTo>
                  <a:cubicBezTo>
                    <a:pt x="180483" y="991436"/>
                    <a:pt x="0" y="779147"/>
                    <a:pt x="0" y="524705"/>
                  </a:cubicBezTo>
                  <a:cubicBezTo>
                    <a:pt x="0" y="270263"/>
                    <a:pt x="180483" y="57975"/>
                    <a:pt x="420411" y="8878"/>
                  </a:cubicBezTo>
                  <a:lnTo>
                    <a:pt x="508484" y="0"/>
                  </a:lnTo>
                  <a:close/>
                </a:path>
              </a:pathLst>
            </a:custGeom>
            <a:solidFill>
              <a:schemeClr val="accent5">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7" name="Freeform 6">
              <a:extLst>
                <a:ext uri="{FF2B5EF4-FFF2-40B4-BE49-F238E27FC236}">
                  <a16:creationId xmlns:a16="http://schemas.microsoft.com/office/drawing/2014/main" id="{AB6464FB-E6A2-5622-166E-621C960A69EA}"/>
                </a:ext>
              </a:extLst>
            </p:cNvPr>
            <p:cNvSpPr/>
            <p:nvPr/>
          </p:nvSpPr>
          <p:spPr>
            <a:xfrm>
              <a:off x="11593087" y="114223"/>
              <a:ext cx="598913" cy="1253024"/>
            </a:xfrm>
            <a:custGeom>
              <a:avLst/>
              <a:gdLst>
                <a:gd name="connsiteX0" fmla="*/ 579415 w 733022"/>
                <a:gd name="connsiteY0" fmla="*/ 1154516 h 1533601"/>
                <a:gd name="connsiteX1" fmla="*/ 654140 w 733022"/>
                <a:gd name="connsiteY1" fmla="*/ 1182331 h 1533601"/>
                <a:gd name="connsiteX2" fmla="*/ 733022 w 733022"/>
                <a:gd name="connsiteY2" fmla="*/ 1195890 h 1533601"/>
                <a:gd name="connsiteX3" fmla="*/ 733022 w 733022"/>
                <a:gd name="connsiteY3" fmla="*/ 1519078 h 1533601"/>
                <a:gd name="connsiteX4" fmla="*/ 728849 w 733022"/>
                <a:gd name="connsiteY4" fmla="*/ 1528684 h 1533601"/>
                <a:gd name="connsiteX5" fmla="*/ 715183 w 733022"/>
                <a:gd name="connsiteY5" fmla="*/ 1533561 h 1533601"/>
                <a:gd name="connsiteX6" fmla="*/ 427500 w 733022"/>
                <a:gd name="connsiteY6" fmla="*/ 1456569 h 1533601"/>
                <a:gd name="connsiteX7" fmla="*/ 427481 w 733022"/>
                <a:gd name="connsiteY7" fmla="*/ 1456569 h 1533601"/>
                <a:gd name="connsiteX8" fmla="*/ 419765 w 733022"/>
                <a:gd name="connsiteY8" fmla="*/ 1431112 h 1533601"/>
                <a:gd name="connsiteX9" fmla="*/ 409753 w 733022"/>
                <a:gd name="connsiteY9" fmla="*/ 1009571 h 1533601"/>
                <a:gd name="connsiteX10" fmla="*/ 524291 w 733022"/>
                <a:gd name="connsiteY10" fmla="*/ 1122789 h 1533601"/>
                <a:gd name="connsiteX11" fmla="*/ 364754 w 733022"/>
                <a:gd name="connsiteY11" fmla="*/ 1399179 h 1533601"/>
                <a:gd name="connsiteX12" fmla="*/ 338820 w 733022"/>
                <a:gd name="connsiteY12" fmla="*/ 1405185 h 1533601"/>
                <a:gd name="connsiteX13" fmla="*/ 128318 w 733022"/>
                <a:gd name="connsiteY13" fmla="*/ 1194584 h 1533601"/>
                <a:gd name="connsiteX14" fmla="*/ 134321 w 733022"/>
                <a:gd name="connsiteY14" fmla="*/ 1168637 h 1533601"/>
                <a:gd name="connsiteX15" fmla="*/ 18202 w 733022"/>
                <a:gd name="connsiteY15" fmla="*/ 798631 h 1533601"/>
                <a:gd name="connsiteX16" fmla="*/ 333739 w 733022"/>
                <a:gd name="connsiteY16" fmla="*/ 798631 h 1533601"/>
                <a:gd name="connsiteX17" fmla="*/ 377363 w 733022"/>
                <a:gd name="connsiteY17" fmla="*/ 954723 h 1533601"/>
                <a:gd name="connsiteX18" fmla="*/ 102441 w 733022"/>
                <a:gd name="connsiteY18" fmla="*/ 1113544 h 1533601"/>
                <a:gd name="connsiteX19" fmla="*/ 76996 w 733022"/>
                <a:gd name="connsiteY19" fmla="*/ 1105824 h 1533601"/>
                <a:gd name="connsiteX20" fmla="*/ 41 w 733022"/>
                <a:gd name="connsiteY20" fmla="*/ 818081 h 1533601"/>
                <a:gd name="connsiteX21" fmla="*/ 18202 w 733022"/>
                <a:gd name="connsiteY21" fmla="*/ 798631 h 1533601"/>
                <a:gd name="connsiteX22" fmla="*/ 733022 w 733022"/>
                <a:gd name="connsiteY22" fmla="*/ 440947 h 1533601"/>
                <a:gd name="connsiteX23" fmla="*/ 733022 w 733022"/>
                <a:gd name="connsiteY23" fmla="*/ 627192 h 1533601"/>
                <a:gd name="connsiteX24" fmla="*/ 694597 w 733022"/>
                <a:gd name="connsiteY24" fmla="*/ 638681 h 1533601"/>
                <a:gd name="connsiteX25" fmla="*/ 618391 w 733022"/>
                <a:gd name="connsiteY25" fmla="*/ 748942 h 1533601"/>
                <a:gd name="connsiteX26" fmla="*/ 699416 w 733022"/>
                <a:gd name="connsiteY26" fmla="*/ 889231 h 1533601"/>
                <a:gd name="connsiteX27" fmla="*/ 733022 w 733022"/>
                <a:gd name="connsiteY27" fmla="*/ 896448 h 1533601"/>
                <a:gd name="connsiteX28" fmla="*/ 733022 w 733022"/>
                <a:gd name="connsiteY28" fmla="*/ 1083871 h 1533601"/>
                <a:gd name="connsiteX29" fmla="*/ 691051 w 733022"/>
                <a:gd name="connsiteY29" fmla="*/ 1079617 h 1533601"/>
                <a:gd name="connsiteX30" fmla="*/ 433014 w 733022"/>
                <a:gd name="connsiteY30" fmla="*/ 761820 h 1533601"/>
                <a:gd name="connsiteX31" fmla="*/ 678170 w 733022"/>
                <a:gd name="connsiteY31" fmla="*/ 449027 h 1533601"/>
                <a:gd name="connsiteX32" fmla="*/ 88045 w 733022"/>
                <a:gd name="connsiteY32" fmla="*/ 418365 h 1533601"/>
                <a:gd name="connsiteX33" fmla="*/ 102441 w 733022"/>
                <a:gd name="connsiteY33" fmla="*/ 420020 h 1533601"/>
                <a:gd name="connsiteX34" fmla="*/ 372960 w 733022"/>
                <a:gd name="connsiteY34" fmla="*/ 576281 h 1533601"/>
                <a:gd name="connsiteX35" fmla="*/ 332873 w 733022"/>
                <a:gd name="connsiteY35" fmla="*/ 734971 h 1533601"/>
                <a:gd name="connsiteX36" fmla="*/ 18202 w 733022"/>
                <a:gd name="connsiteY36" fmla="*/ 734971 h 1533601"/>
                <a:gd name="connsiteX37" fmla="*/ 41 w 733022"/>
                <a:gd name="connsiteY37" fmla="*/ 715520 h 1533601"/>
                <a:gd name="connsiteX38" fmla="*/ 76996 w 733022"/>
                <a:gd name="connsiteY38" fmla="*/ 427739 h 1533601"/>
                <a:gd name="connsiteX39" fmla="*/ 88045 w 733022"/>
                <a:gd name="connsiteY39" fmla="*/ 418365 h 1533601"/>
                <a:gd name="connsiteX40" fmla="*/ 353092 w 733022"/>
                <a:gd name="connsiteY40" fmla="*/ 125773 h 1533601"/>
                <a:gd name="connsiteX41" fmla="*/ 364754 w 733022"/>
                <a:gd name="connsiteY41" fmla="*/ 134404 h 1533601"/>
                <a:gd name="connsiteX42" fmla="*/ 519455 w 733022"/>
                <a:gd name="connsiteY42" fmla="*/ 402471 h 1533601"/>
                <a:gd name="connsiteX43" fmla="*/ 404069 w 733022"/>
                <a:gd name="connsiteY43" fmla="*/ 520735 h 1533601"/>
                <a:gd name="connsiteX44" fmla="*/ 134359 w 733022"/>
                <a:gd name="connsiteY44" fmla="*/ 364945 h 1533601"/>
                <a:gd name="connsiteX45" fmla="*/ 128356 w 733022"/>
                <a:gd name="connsiteY45" fmla="*/ 338999 h 1533601"/>
                <a:gd name="connsiteX46" fmla="*/ 338820 w 733022"/>
                <a:gd name="connsiteY46" fmla="*/ 128398 h 1533601"/>
                <a:gd name="connsiteX47" fmla="*/ 353092 w 733022"/>
                <a:gd name="connsiteY47" fmla="*/ 125773 h 1533601"/>
                <a:gd name="connsiteX48" fmla="*/ 715183 w 733022"/>
                <a:gd name="connsiteY48" fmla="*/ 41 h 1533601"/>
                <a:gd name="connsiteX49" fmla="*/ 715202 w 733022"/>
                <a:gd name="connsiteY49" fmla="*/ 41 h 1533601"/>
                <a:gd name="connsiteX50" fmla="*/ 728860 w 733022"/>
                <a:gd name="connsiteY50" fmla="*/ 4910 h 1533601"/>
                <a:gd name="connsiteX51" fmla="*/ 733022 w 733022"/>
                <a:gd name="connsiteY51" fmla="*/ 14482 h 1533601"/>
                <a:gd name="connsiteX52" fmla="*/ 733022 w 733022"/>
                <a:gd name="connsiteY52" fmla="*/ 325990 h 1533601"/>
                <a:gd name="connsiteX53" fmla="*/ 651303 w 733022"/>
                <a:gd name="connsiteY53" fmla="*/ 340329 h 1533601"/>
                <a:gd name="connsiteX54" fmla="*/ 574202 w 733022"/>
                <a:gd name="connsiteY54" fmla="*/ 369991 h 1533601"/>
                <a:gd name="connsiteX55" fmla="*/ 419821 w 733022"/>
                <a:gd name="connsiteY55" fmla="*/ 102489 h 1533601"/>
                <a:gd name="connsiteX56" fmla="*/ 427538 w 733022"/>
                <a:gd name="connsiteY56" fmla="*/ 77032 h 1533601"/>
                <a:gd name="connsiteX57" fmla="*/ 715183 w 733022"/>
                <a:gd name="connsiteY57" fmla="*/ 41 h 1533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733022" h="1533601">
                  <a:moveTo>
                    <a:pt x="579415" y="1154516"/>
                  </a:moveTo>
                  <a:cubicBezTo>
                    <a:pt x="603213" y="1165954"/>
                    <a:pt x="628197" y="1175308"/>
                    <a:pt x="654140" y="1182331"/>
                  </a:cubicBezTo>
                  <a:lnTo>
                    <a:pt x="733022" y="1195890"/>
                  </a:lnTo>
                  <a:lnTo>
                    <a:pt x="733022" y="1519078"/>
                  </a:lnTo>
                  <a:lnTo>
                    <a:pt x="728849" y="1528684"/>
                  </a:lnTo>
                  <a:cubicBezTo>
                    <a:pt x="725303" y="1531998"/>
                    <a:pt x="720443" y="1533909"/>
                    <a:pt x="715183" y="1533561"/>
                  </a:cubicBezTo>
                  <a:cubicBezTo>
                    <a:pt x="612463" y="1526782"/>
                    <a:pt x="515258" y="1499819"/>
                    <a:pt x="427500" y="1456569"/>
                  </a:cubicBezTo>
                  <a:lnTo>
                    <a:pt x="427481" y="1456569"/>
                  </a:lnTo>
                  <a:cubicBezTo>
                    <a:pt x="418052" y="1451918"/>
                    <a:pt x="414495" y="1440226"/>
                    <a:pt x="419765" y="1431112"/>
                  </a:cubicBezTo>
                  <a:close/>
                  <a:moveTo>
                    <a:pt x="409753" y="1009571"/>
                  </a:moveTo>
                  <a:cubicBezTo>
                    <a:pt x="440580" y="1054045"/>
                    <a:pt x="479424" y="1092456"/>
                    <a:pt x="524291" y="1122789"/>
                  </a:cubicBezTo>
                  <a:lnTo>
                    <a:pt x="364754" y="1399179"/>
                  </a:lnTo>
                  <a:cubicBezTo>
                    <a:pt x="359484" y="1408311"/>
                    <a:pt x="347571" y="1411060"/>
                    <a:pt x="338820" y="1405185"/>
                  </a:cubicBezTo>
                  <a:cubicBezTo>
                    <a:pt x="255730" y="1349376"/>
                    <a:pt x="184100" y="1277751"/>
                    <a:pt x="128318" y="1194584"/>
                  </a:cubicBezTo>
                  <a:cubicBezTo>
                    <a:pt x="122446" y="1185828"/>
                    <a:pt x="125194" y="1173910"/>
                    <a:pt x="134321" y="1168637"/>
                  </a:cubicBezTo>
                  <a:close/>
                  <a:moveTo>
                    <a:pt x="18202" y="798631"/>
                  </a:moveTo>
                  <a:lnTo>
                    <a:pt x="333739" y="798631"/>
                  </a:lnTo>
                  <a:cubicBezTo>
                    <a:pt x="338462" y="854289"/>
                    <a:pt x="353650" y="906991"/>
                    <a:pt x="377363" y="954723"/>
                  </a:cubicBezTo>
                  <a:lnTo>
                    <a:pt x="102441" y="1113544"/>
                  </a:lnTo>
                  <a:cubicBezTo>
                    <a:pt x="93331" y="1118816"/>
                    <a:pt x="81644" y="1115258"/>
                    <a:pt x="76996" y="1105824"/>
                  </a:cubicBezTo>
                  <a:cubicBezTo>
                    <a:pt x="33766" y="1018063"/>
                    <a:pt x="6816" y="920849"/>
                    <a:pt x="41" y="818081"/>
                  </a:cubicBezTo>
                  <a:cubicBezTo>
                    <a:pt x="-656" y="807556"/>
                    <a:pt x="7682" y="798631"/>
                    <a:pt x="18202" y="798631"/>
                  </a:cubicBezTo>
                  <a:close/>
                  <a:moveTo>
                    <a:pt x="733022" y="440947"/>
                  </a:moveTo>
                  <a:lnTo>
                    <a:pt x="733022" y="627192"/>
                  </a:lnTo>
                  <a:lnTo>
                    <a:pt x="694597" y="638681"/>
                  </a:lnTo>
                  <a:cubicBezTo>
                    <a:pt x="652977" y="659505"/>
                    <a:pt x="623092" y="700871"/>
                    <a:pt x="618391" y="748942"/>
                  </a:cubicBezTo>
                  <a:cubicBezTo>
                    <a:pt x="612336" y="810922"/>
                    <a:pt x="647367" y="865710"/>
                    <a:pt x="699416" y="889231"/>
                  </a:cubicBezTo>
                  <a:lnTo>
                    <a:pt x="733022" y="896448"/>
                  </a:lnTo>
                  <a:lnTo>
                    <a:pt x="733022" y="1083871"/>
                  </a:lnTo>
                  <a:lnTo>
                    <a:pt x="691051" y="1079617"/>
                  </a:lnTo>
                  <a:cubicBezTo>
                    <a:pt x="543639" y="1049300"/>
                    <a:pt x="432521" y="918253"/>
                    <a:pt x="433014" y="761820"/>
                  </a:cubicBezTo>
                  <a:cubicBezTo>
                    <a:pt x="433475" y="612208"/>
                    <a:pt x="537754" y="484162"/>
                    <a:pt x="678170" y="449027"/>
                  </a:cubicBezTo>
                  <a:close/>
                  <a:moveTo>
                    <a:pt x="88045" y="418365"/>
                  </a:moveTo>
                  <a:cubicBezTo>
                    <a:pt x="92687" y="416955"/>
                    <a:pt x="97886" y="417384"/>
                    <a:pt x="102441" y="420020"/>
                  </a:cubicBezTo>
                  <a:lnTo>
                    <a:pt x="372960" y="576281"/>
                  </a:lnTo>
                  <a:cubicBezTo>
                    <a:pt x="350187" y="624934"/>
                    <a:pt x="336185" y="678503"/>
                    <a:pt x="332873" y="734971"/>
                  </a:cubicBezTo>
                  <a:lnTo>
                    <a:pt x="18202" y="734971"/>
                  </a:lnTo>
                  <a:cubicBezTo>
                    <a:pt x="7682" y="734971"/>
                    <a:pt x="-656" y="726045"/>
                    <a:pt x="41" y="715520"/>
                  </a:cubicBezTo>
                  <a:cubicBezTo>
                    <a:pt x="6816" y="612752"/>
                    <a:pt x="33766" y="515501"/>
                    <a:pt x="76996" y="427739"/>
                  </a:cubicBezTo>
                  <a:cubicBezTo>
                    <a:pt x="79320" y="423023"/>
                    <a:pt x="83404" y="419775"/>
                    <a:pt x="88045" y="418365"/>
                  </a:cubicBezTo>
                  <a:close/>
                  <a:moveTo>
                    <a:pt x="353092" y="125773"/>
                  </a:moveTo>
                  <a:cubicBezTo>
                    <a:pt x="357823" y="126868"/>
                    <a:pt x="362119" y="129838"/>
                    <a:pt x="364754" y="134404"/>
                  </a:cubicBezTo>
                  <a:lnTo>
                    <a:pt x="519455" y="402471"/>
                  </a:lnTo>
                  <a:cubicBezTo>
                    <a:pt x="473873" y="434122"/>
                    <a:pt x="434652" y="474359"/>
                    <a:pt x="404069" y="520735"/>
                  </a:cubicBezTo>
                  <a:lnTo>
                    <a:pt x="134359" y="364945"/>
                  </a:lnTo>
                  <a:cubicBezTo>
                    <a:pt x="125231" y="359673"/>
                    <a:pt x="122484" y="347754"/>
                    <a:pt x="128356" y="338999"/>
                  </a:cubicBezTo>
                  <a:cubicBezTo>
                    <a:pt x="184138" y="255869"/>
                    <a:pt x="255730" y="184244"/>
                    <a:pt x="338820" y="128398"/>
                  </a:cubicBezTo>
                  <a:cubicBezTo>
                    <a:pt x="343196" y="125460"/>
                    <a:pt x="348362" y="124679"/>
                    <a:pt x="353092" y="125773"/>
                  </a:cubicBezTo>
                  <a:close/>
                  <a:moveTo>
                    <a:pt x="715183" y="41"/>
                  </a:moveTo>
                  <a:lnTo>
                    <a:pt x="715202" y="41"/>
                  </a:lnTo>
                  <a:cubicBezTo>
                    <a:pt x="720453" y="-308"/>
                    <a:pt x="725313" y="1599"/>
                    <a:pt x="728860" y="4910"/>
                  </a:cubicBezTo>
                  <a:lnTo>
                    <a:pt x="733022" y="14482"/>
                  </a:lnTo>
                  <a:lnTo>
                    <a:pt x="733022" y="325990"/>
                  </a:lnTo>
                  <a:lnTo>
                    <a:pt x="651303" y="340329"/>
                  </a:lnTo>
                  <a:cubicBezTo>
                    <a:pt x="624470" y="347792"/>
                    <a:pt x="598678" y="357762"/>
                    <a:pt x="574202" y="369991"/>
                  </a:cubicBezTo>
                  <a:lnTo>
                    <a:pt x="419821" y="102489"/>
                  </a:lnTo>
                  <a:cubicBezTo>
                    <a:pt x="414552" y="93357"/>
                    <a:pt x="418090" y="81683"/>
                    <a:pt x="427538" y="77032"/>
                  </a:cubicBezTo>
                  <a:cubicBezTo>
                    <a:pt x="515258" y="33801"/>
                    <a:pt x="612463" y="6819"/>
                    <a:pt x="715183" y="41"/>
                  </a:cubicBezTo>
                  <a:close/>
                </a:path>
              </a:pathLst>
            </a:custGeom>
            <a:gradFill>
              <a:gsLst>
                <a:gs pos="6000">
                  <a:srgbClr val="FF9248">
                    <a:alpha val="34000"/>
                  </a:srgbClr>
                </a:gs>
                <a:gs pos="77000">
                  <a:schemeClr val="accent4">
                    <a:alpha val="29000"/>
                  </a:schemeClr>
                </a:gs>
              </a:gsLst>
              <a:lin ang="3343960" scaled="1"/>
            </a:gradFill>
            <a:ln w="5992" cap="flat">
              <a:noFill/>
              <a:prstDash val="solid"/>
              <a:miter/>
            </a:ln>
          </p:spPr>
          <p:txBody>
            <a:bodyPr wrap="square" rtlCol="0" anchor="ctr">
              <a:noAutofit/>
            </a:bodyPr>
            <a:lstStyle/>
            <a:p>
              <a:endParaRPr lang="en-US"/>
            </a:p>
          </p:txBody>
        </p:sp>
        <p:sp>
          <p:nvSpPr>
            <p:cNvPr id="8" name="Donut 7">
              <a:extLst>
                <a:ext uri="{FF2B5EF4-FFF2-40B4-BE49-F238E27FC236}">
                  <a16:creationId xmlns:a16="http://schemas.microsoft.com/office/drawing/2014/main" id="{0F7C416D-805C-DD02-0EE6-47278DC893F6}"/>
                </a:ext>
              </a:extLst>
            </p:cNvPr>
            <p:cNvSpPr/>
            <p:nvPr/>
          </p:nvSpPr>
          <p:spPr bwMode="auto">
            <a:xfrm>
              <a:off x="11207931" y="1255577"/>
              <a:ext cx="385156" cy="385156"/>
            </a:xfrm>
            <a:prstGeom prst="donut">
              <a:avLst/>
            </a:prstGeom>
            <a:gradFill>
              <a:gsLst>
                <a:gs pos="6000">
                  <a:srgbClr val="FF9248">
                    <a:alpha val="34000"/>
                  </a:srgbClr>
                </a:gs>
                <a:gs pos="77000">
                  <a:schemeClr val="accent4">
                    <a:alpha val="29000"/>
                  </a:schemeClr>
                </a:gs>
              </a:gsLst>
              <a:lin ang="3343960" scaled="1"/>
            </a:gradFill>
            <a:ln w="5992" cap="flat">
              <a:noFill/>
              <a:prstDash val="solid"/>
              <a:miter/>
            </a:ln>
          </p:spPr>
          <p:txBody>
            <a:bodyPr wrap="square" rtlCol="0" anchor="ctr">
              <a:noAutofit/>
            </a:bodyPr>
            <a:lstStyle/>
            <a:p>
              <a:endParaRPr lang="en-US">
                <a:solidFill>
                  <a:schemeClr val="tx1"/>
                </a:solidFill>
              </a:endParaRPr>
            </a:p>
          </p:txBody>
        </p:sp>
      </p:grpSp>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560070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1_Two Column Non-bulleted text">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7A6AD8A-0DFA-39AB-D0D0-6F10B3920A29}"/>
              </a:ext>
            </a:extLst>
          </p:cNvPr>
          <p:cNvGrpSpPr/>
          <p:nvPr userDrawn="1"/>
        </p:nvGrpSpPr>
        <p:grpSpPr>
          <a:xfrm>
            <a:off x="11207931" y="114223"/>
            <a:ext cx="984069" cy="1526510"/>
            <a:chOff x="11207931" y="114223"/>
            <a:chExt cx="984069" cy="1526510"/>
          </a:xfrm>
        </p:grpSpPr>
        <p:sp>
          <p:nvSpPr>
            <p:cNvPr id="5" name="Freeform 4">
              <a:extLst>
                <a:ext uri="{FF2B5EF4-FFF2-40B4-BE49-F238E27FC236}">
                  <a16:creationId xmlns:a16="http://schemas.microsoft.com/office/drawing/2014/main" id="{4807EF07-61B5-59AB-395C-C87FC3BCFF4B}"/>
                </a:ext>
              </a:extLst>
            </p:cNvPr>
            <p:cNvSpPr/>
            <p:nvPr/>
          </p:nvSpPr>
          <p:spPr bwMode="auto">
            <a:xfrm>
              <a:off x="11683516" y="209494"/>
              <a:ext cx="508484" cy="1049410"/>
            </a:xfrm>
            <a:custGeom>
              <a:avLst/>
              <a:gdLst>
                <a:gd name="connsiteX0" fmla="*/ 508484 w 508484"/>
                <a:gd name="connsiteY0" fmla="*/ 0 h 1049410"/>
                <a:gd name="connsiteX1" fmla="*/ 508484 w 508484"/>
                <a:gd name="connsiteY1" fmla="*/ 1049410 h 1049410"/>
                <a:gd name="connsiteX2" fmla="*/ 420411 w 508484"/>
                <a:gd name="connsiteY2" fmla="*/ 1040532 h 1049410"/>
                <a:gd name="connsiteX3" fmla="*/ 0 w 508484"/>
                <a:gd name="connsiteY3" fmla="*/ 524705 h 1049410"/>
                <a:gd name="connsiteX4" fmla="*/ 420411 w 508484"/>
                <a:gd name="connsiteY4" fmla="*/ 8878 h 1049410"/>
                <a:gd name="connsiteX5" fmla="*/ 508484 w 508484"/>
                <a:gd name="connsiteY5" fmla="*/ 0 h 1049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8484" h="1049410">
                  <a:moveTo>
                    <a:pt x="508484" y="0"/>
                  </a:moveTo>
                  <a:lnTo>
                    <a:pt x="508484" y="1049410"/>
                  </a:lnTo>
                  <a:lnTo>
                    <a:pt x="420411" y="1040532"/>
                  </a:lnTo>
                  <a:cubicBezTo>
                    <a:pt x="180483" y="991436"/>
                    <a:pt x="0" y="779147"/>
                    <a:pt x="0" y="524705"/>
                  </a:cubicBezTo>
                  <a:cubicBezTo>
                    <a:pt x="0" y="270263"/>
                    <a:pt x="180483" y="57975"/>
                    <a:pt x="420411" y="8878"/>
                  </a:cubicBezTo>
                  <a:lnTo>
                    <a:pt x="508484" y="0"/>
                  </a:lnTo>
                  <a:close/>
                </a:path>
              </a:pathLst>
            </a:custGeom>
            <a:solidFill>
              <a:schemeClr val="accent5">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7" name="Freeform 6">
              <a:extLst>
                <a:ext uri="{FF2B5EF4-FFF2-40B4-BE49-F238E27FC236}">
                  <a16:creationId xmlns:a16="http://schemas.microsoft.com/office/drawing/2014/main" id="{B3323AA7-01E9-FFEF-481F-F020E035B0D8}"/>
                </a:ext>
              </a:extLst>
            </p:cNvPr>
            <p:cNvSpPr/>
            <p:nvPr/>
          </p:nvSpPr>
          <p:spPr>
            <a:xfrm>
              <a:off x="11593087" y="114223"/>
              <a:ext cx="598913" cy="1253024"/>
            </a:xfrm>
            <a:custGeom>
              <a:avLst/>
              <a:gdLst>
                <a:gd name="connsiteX0" fmla="*/ 579415 w 733022"/>
                <a:gd name="connsiteY0" fmla="*/ 1154516 h 1533601"/>
                <a:gd name="connsiteX1" fmla="*/ 654140 w 733022"/>
                <a:gd name="connsiteY1" fmla="*/ 1182331 h 1533601"/>
                <a:gd name="connsiteX2" fmla="*/ 733022 w 733022"/>
                <a:gd name="connsiteY2" fmla="*/ 1195890 h 1533601"/>
                <a:gd name="connsiteX3" fmla="*/ 733022 w 733022"/>
                <a:gd name="connsiteY3" fmla="*/ 1519078 h 1533601"/>
                <a:gd name="connsiteX4" fmla="*/ 728849 w 733022"/>
                <a:gd name="connsiteY4" fmla="*/ 1528684 h 1533601"/>
                <a:gd name="connsiteX5" fmla="*/ 715183 w 733022"/>
                <a:gd name="connsiteY5" fmla="*/ 1533561 h 1533601"/>
                <a:gd name="connsiteX6" fmla="*/ 427500 w 733022"/>
                <a:gd name="connsiteY6" fmla="*/ 1456569 h 1533601"/>
                <a:gd name="connsiteX7" fmla="*/ 427481 w 733022"/>
                <a:gd name="connsiteY7" fmla="*/ 1456569 h 1533601"/>
                <a:gd name="connsiteX8" fmla="*/ 419765 w 733022"/>
                <a:gd name="connsiteY8" fmla="*/ 1431112 h 1533601"/>
                <a:gd name="connsiteX9" fmla="*/ 409753 w 733022"/>
                <a:gd name="connsiteY9" fmla="*/ 1009571 h 1533601"/>
                <a:gd name="connsiteX10" fmla="*/ 524291 w 733022"/>
                <a:gd name="connsiteY10" fmla="*/ 1122789 h 1533601"/>
                <a:gd name="connsiteX11" fmla="*/ 364754 w 733022"/>
                <a:gd name="connsiteY11" fmla="*/ 1399179 h 1533601"/>
                <a:gd name="connsiteX12" fmla="*/ 338820 w 733022"/>
                <a:gd name="connsiteY12" fmla="*/ 1405185 h 1533601"/>
                <a:gd name="connsiteX13" fmla="*/ 128318 w 733022"/>
                <a:gd name="connsiteY13" fmla="*/ 1194584 h 1533601"/>
                <a:gd name="connsiteX14" fmla="*/ 134321 w 733022"/>
                <a:gd name="connsiteY14" fmla="*/ 1168637 h 1533601"/>
                <a:gd name="connsiteX15" fmla="*/ 18202 w 733022"/>
                <a:gd name="connsiteY15" fmla="*/ 798631 h 1533601"/>
                <a:gd name="connsiteX16" fmla="*/ 333739 w 733022"/>
                <a:gd name="connsiteY16" fmla="*/ 798631 h 1533601"/>
                <a:gd name="connsiteX17" fmla="*/ 377363 w 733022"/>
                <a:gd name="connsiteY17" fmla="*/ 954723 h 1533601"/>
                <a:gd name="connsiteX18" fmla="*/ 102441 w 733022"/>
                <a:gd name="connsiteY18" fmla="*/ 1113544 h 1533601"/>
                <a:gd name="connsiteX19" fmla="*/ 76996 w 733022"/>
                <a:gd name="connsiteY19" fmla="*/ 1105824 h 1533601"/>
                <a:gd name="connsiteX20" fmla="*/ 41 w 733022"/>
                <a:gd name="connsiteY20" fmla="*/ 818081 h 1533601"/>
                <a:gd name="connsiteX21" fmla="*/ 18202 w 733022"/>
                <a:gd name="connsiteY21" fmla="*/ 798631 h 1533601"/>
                <a:gd name="connsiteX22" fmla="*/ 733022 w 733022"/>
                <a:gd name="connsiteY22" fmla="*/ 440947 h 1533601"/>
                <a:gd name="connsiteX23" fmla="*/ 733022 w 733022"/>
                <a:gd name="connsiteY23" fmla="*/ 627192 h 1533601"/>
                <a:gd name="connsiteX24" fmla="*/ 694597 w 733022"/>
                <a:gd name="connsiteY24" fmla="*/ 638681 h 1533601"/>
                <a:gd name="connsiteX25" fmla="*/ 618391 w 733022"/>
                <a:gd name="connsiteY25" fmla="*/ 748942 h 1533601"/>
                <a:gd name="connsiteX26" fmla="*/ 699416 w 733022"/>
                <a:gd name="connsiteY26" fmla="*/ 889231 h 1533601"/>
                <a:gd name="connsiteX27" fmla="*/ 733022 w 733022"/>
                <a:gd name="connsiteY27" fmla="*/ 896448 h 1533601"/>
                <a:gd name="connsiteX28" fmla="*/ 733022 w 733022"/>
                <a:gd name="connsiteY28" fmla="*/ 1083871 h 1533601"/>
                <a:gd name="connsiteX29" fmla="*/ 691051 w 733022"/>
                <a:gd name="connsiteY29" fmla="*/ 1079617 h 1533601"/>
                <a:gd name="connsiteX30" fmla="*/ 433014 w 733022"/>
                <a:gd name="connsiteY30" fmla="*/ 761820 h 1533601"/>
                <a:gd name="connsiteX31" fmla="*/ 678170 w 733022"/>
                <a:gd name="connsiteY31" fmla="*/ 449027 h 1533601"/>
                <a:gd name="connsiteX32" fmla="*/ 88045 w 733022"/>
                <a:gd name="connsiteY32" fmla="*/ 418365 h 1533601"/>
                <a:gd name="connsiteX33" fmla="*/ 102441 w 733022"/>
                <a:gd name="connsiteY33" fmla="*/ 420020 h 1533601"/>
                <a:gd name="connsiteX34" fmla="*/ 372960 w 733022"/>
                <a:gd name="connsiteY34" fmla="*/ 576281 h 1533601"/>
                <a:gd name="connsiteX35" fmla="*/ 332873 w 733022"/>
                <a:gd name="connsiteY35" fmla="*/ 734971 h 1533601"/>
                <a:gd name="connsiteX36" fmla="*/ 18202 w 733022"/>
                <a:gd name="connsiteY36" fmla="*/ 734971 h 1533601"/>
                <a:gd name="connsiteX37" fmla="*/ 41 w 733022"/>
                <a:gd name="connsiteY37" fmla="*/ 715520 h 1533601"/>
                <a:gd name="connsiteX38" fmla="*/ 76996 w 733022"/>
                <a:gd name="connsiteY38" fmla="*/ 427739 h 1533601"/>
                <a:gd name="connsiteX39" fmla="*/ 88045 w 733022"/>
                <a:gd name="connsiteY39" fmla="*/ 418365 h 1533601"/>
                <a:gd name="connsiteX40" fmla="*/ 353092 w 733022"/>
                <a:gd name="connsiteY40" fmla="*/ 125773 h 1533601"/>
                <a:gd name="connsiteX41" fmla="*/ 364754 w 733022"/>
                <a:gd name="connsiteY41" fmla="*/ 134404 h 1533601"/>
                <a:gd name="connsiteX42" fmla="*/ 519455 w 733022"/>
                <a:gd name="connsiteY42" fmla="*/ 402471 h 1533601"/>
                <a:gd name="connsiteX43" fmla="*/ 404069 w 733022"/>
                <a:gd name="connsiteY43" fmla="*/ 520735 h 1533601"/>
                <a:gd name="connsiteX44" fmla="*/ 134359 w 733022"/>
                <a:gd name="connsiteY44" fmla="*/ 364945 h 1533601"/>
                <a:gd name="connsiteX45" fmla="*/ 128356 w 733022"/>
                <a:gd name="connsiteY45" fmla="*/ 338999 h 1533601"/>
                <a:gd name="connsiteX46" fmla="*/ 338820 w 733022"/>
                <a:gd name="connsiteY46" fmla="*/ 128398 h 1533601"/>
                <a:gd name="connsiteX47" fmla="*/ 353092 w 733022"/>
                <a:gd name="connsiteY47" fmla="*/ 125773 h 1533601"/>
                <a:gd name="connsiteX48" fmla="*/ 715183 w 733022"/>
                <a:gd name="connsiteY48" fmla="*/ 41 h 1533601"/>
                <a:gd name="connsiteX49" fmla="*/ 715202 w 733022"/>
                <a:gd name="connsiteY49" fmla="*/ 41 h 1533601"/>
                <a:gd name="connsiteX50" fmla="*/ 728860 w 733022"/>
                <a:gd name="connsiteY50" fmla="*/ 4910 h 1533601"/>
                <a:gd name="connsiteX51" fmla="*/ 733022 w 733022"/>
                <a:gd name="connsiteY51" fmla="*/ 14482 h 1533601"/>
                <a:gd name="connsiteX52" fmla="*/ 733022 w 733022"/>
                <a:gd name="connsiteY52" fmla="*/ 325990 h 1533601"/>
                <a:gd name="connsiteX53" fmla="*/ 651303 w 733022"/>
                <a:gd name="connsiteY53" fmla="*/ 340329 h 1533601"/>
                <a:gd name="connsiteX54" fmla="*/ 574202 w 733022"/>
                <a:gd name="connsiteY54" fmla="*/ 369991 h 1533601"/>
                <a:gd name="connsiteX55" fmla="*/ 419821 w 733022"/>
                <a:gd name="connsiteY55" fmla="*/ 102489 h 1533601"/>
                <a:gd name="connsiteX56" fmla="*/ 427538 w 733022"/>
                <a:gd name="connsiteY56" fmla="*/ 77032 h 1533601"/>
                <a:gd name="connsiteX57" fmla="*/ 715183 w 733022"/>
                <a:gd name="connsiteY57" fmla="*/ 41 h 1533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733022" h="1533601">
                  <a:moveTo>
                    <a:pt x="579415" y="1154516"/>
                  </a:moveTo>
                  <a:cubicBezTo>
                    <a:pt x="603213" y="1165954"/>
                    <a:pt x="628197" y="1175308"/>
                    <a:pt x="654140" y="1182331"/>
                  </a:cubicBezTo>
                  <a:lnTo>
                    <a:pt x="733022" y="1195890"/>
                  </a:lnTo>
                  <a:lnTo>
                    <a:pt x="733022" y="1519078"/>
                  </a:lnTo>
                  <a:lnTo>
                    <a:pt x="728849" y="1528684"/>
                  </a:lnTo>
                  <a:cubicBezTo>
                    <a:pt x="725303" y="1531998"/>
                    <a:pt x="720443" y="1533909"/>
                    <a:pt x="715183" y="1533561"/>
                  </a:cubicBezTo>
                  <a:cubicBezTo>
                    <a:pt x="612463" y="1526782"/>
                    <a:pt x="515258" y="1499819"/>
                    <a:pt x="427500" y="1456569"/>
                  </a:cubicBezTo>
                  <a:lnTo>
                    <a:pt x="427481" y="1456569"/>
                  </a:lnTo>
                  <a:cubicBezTo>
                    <a:pt x="418052" y="1451918"/>
                    <a:pt x="414495" y="1440226"/>
                    <a:pt x="419765" y="1431112"/>
                  </a:cubicBezTo>
                  <a:close/>
                  <a:moveTo>
                    <a:pt x="409753" y="1009571"/>
                  </a:moveTo>
                  <a:cubicBezTo>
                    <a:pt x="440580" y="1054045"/>
                    <a:pt x="479424" y="1092456"/>
                    <a:pt x="524291" y="1122789"/>
                  </a:cubicBezTo>
                  <a:lnTo>
                    <a:pt x="364754" y="1399179"/>
                  </a:lnTo>
                  <a:cubicBezTo>
                    <a:pt x="359484" y="1408311"/>
                    <a:pt x="347571" y="1411060"/>
                    <a:pt x="338820" y="1405185"/>
                  </a:cubicBezTo>
                  <a:cubicBezTo>
                    <a:pt x="255730" y="1349376"/>
                    <a:pt x="184100" y="1277751"/>
                    <a:pt x="128318" y="1194584"/>
                  </a:cubicBezTo>
                  <a:cubicBezTo>
                    <a:pt x="122446" y="1185828"/>
                    <a:pt x="125194" y="1173910"/>
                    <a:pt x="134321" y="1168637"/>
                  </a:cubicBezTo>
                  <a:close/>
                  <a:moveTo>
                    <a:pt x="18202" y="798631"/>
                  </a:moveTo>
                  <a:lnTo>
                    <a:pt x="333739" y="798631"/>
                  </a:lnTo>
                  <a:cubicBezTo>
                    <a:pt x="338462" y="854289"/>
                    <a:pt x="353650" y="906991"/>
                    <a:pt x="377363" y="954723"/>
                  </a:cubicBezTo>
                  <a:lnTo>
                    <a:pt x="102441" y="1113544"/>
                  </a:lnTo>
                  <a:cubicBezTo>
                    <a:pt x="93331" y="1118816"/>
                    <a:pt x="81644" y="1115258"/>
                    <a:pt x="76996" y="1105824"/>
                  </a:cubicBezTo>
                  <a:cubicBezTo>
                    <a:pt x="33766" y="1018063"/>
                    <a:pt x="6816" y="920849"/>
                    <a:pt x="41" y="818081"/>
                  </a:cubicBezTo>
                  <a:cubicBezTo>
                    <a:pt x="-656" y="807556"/>
                    <a:pt x="7682" y="798631"/>
                    <a:pt x="18202" y="798631"/>
                  </a:cubicBezTo>
                  <a:close/>
                  <a:moveTo>
                    <a:pt x="733022" y="440947"/>
                  </a:moveTo>
                  <a:lnTo>
                    <a:pt x="733022" y="627192"/>
                  </a:lnTo>
                  <a:lnTo>
                    <a:pt x="694597" y="638681"/>
                  </a:lnTo>
                  <a:cubicBezTo>
                    <a:pt x="652977" y="659505"/>
                    <a:pt x="623092" y="700871"/>
                    <a:pt x="618391" y="748942"/>
                  </a:cubicBezTo>
                  <a:cubicBezTo>
                    <a:pt x="612336" y="810922"/>
                    <a:pt x="647367" y="865710"/>
                    <a:pt x="699416" y="889231"/>
                  </a:cubicBezTo>
                  <a:lnTo>
                    <a:pt x="733022" y="896448"/>
                  </a:lnTo>
                  <a:lnTo>
                    <a:pt x="733022" y="1083871"/>
                  </a:lnTo>
                  <a:lnTo>
                    <a:pt x="691051" y="1079617"/>
                  </a:lnTo>
                  <a:cubicBezTo>
                    <a:pt x="543639" y="1049300"/>
                    <a:pt x="432521" y="918253"/>
                    <a:pt x="433014" y="761820"/>
                  </a:cubicBezTo>
                  <a:cubicBezTo>
                    <a:pt x="433475" y="612208"/>
                    <a:pt x="537754" y="484162"/>
                    <a:pt x="678170" y="449027"/>
                  </a:cubicBezTo>
                  <a:close/>
                  <a:moveTo>
                    <a:pt x="88045" y="418365"/>
                  </a:moveTo>
                  <a:cubicBezTo>
                    <a:pt x="92687" y="416955"/>
                    <a:pt x="97886" y="417384"/>
                    <a:pt x="102441" y="420020"/>
                  </a:cubicBezTo>
                  <a:lnTo>
                    <a:pt x="372960" y="576281"/>
                  </a:lnTo>
                  <a:cubicBezTo>
                    <a:pt x="350187" y="624934"/>
                    <a:pt x="336185" y="678503"/>
                    <a:pt x="332873" y="734971"/>
                  </a:cubicBezTo>
                  <a:lnTo>
                    <a:pt x="18202" y="734971"/>
                  </a:lnTo>
                  <a:cubicBezTo>
                    <a:pt x="7682" y="734971"/>
                    <a:pt x="-656" y="726045"/>
                    <a:pt x="41" y="715520"/>
                  </a:cubicBezTo>
                  <a:cubicBezTo>
                    <a:pt x="6816" y="612752"/>
                    <a:pt x="33766" y="515501"/>
                    <a:pt x="76996" y="427739"/>
                  </a:cubicBezTo>
                  <a:cubicBezTo>
                    <a:pt x="79320" y="423023"/>
                    <a:pt x="83404" y="419775"/>
                    <a:pt x="88045" y="418365"/>
                  </a:cubicBezTo>
                  <a:close/>
                  <a:moveTo>
                    <a:pt x="353092" y="125773"/>
                  </a:moveTo>
                  <a:cubicBezTo>
                    <a:pt x="357823" y="126868"/>
                    <a:pt x="362119" y="129838"/>
                    <a:pt x="364754" y="134404"/>
                  </a:cubicBezTo>
                  <a:lnTo>
                    <a:pt x="519455" y="402471"/>
                  </a:lnTo>
                  <a:cubicBezTo>
                    <a:pt x="473873" y="434122"/>
                    <a:pt x="434652" y="474359"/>
                    <a:pt x="404069" y="520735"/>
                  </a:cubicBezTo>
                  <a:lnTo>
                    <a:pt x="134359" y="364945"/>
                  </a:lnTo>
                  <a:cubicBezTo>
                    <a:pt x="125231" y="359673"/>
                    <a:pt x="122484" y="347754"/>
                    <a:pt x="128356" y="338999"/>
                  </a:cubicBezTo>
                  <a:cubicBezTo>
                    <a:pt x="184138" y="255869"/>
                    <a:pt x="255730" y="184244"/>
                    <a:pt x="338820" y="128398"/>
                  </a:cubicBezTo>
                  <a:cubicBezTo>
                    <a:pt x="343196" y="125460"/>
                    <a:pt x="348362" y="124679"/>
                    <a:pt x="353092" y="125773"/>
                  </a:cubicBezTo>
                  <a:close/>
                  <a:moveTo>
                    <a:pt x="715183" y="41"/>
                  </a:moveTo>
                  <a:lnTo>
                    <a:pt x="715202" y="41"/>
                  </a:lnTo>
                  <a:cubicBezTo>
                    <a:pt x="720453" y="-308"/>
                    <a:pt x="725313" y="1599"/>
                    <a:pt x="728860" y="4910"/>
                  </a:cubicBezTo>
                  <a:lnTo>
                    <a:pt x="733022" y="14482"/>
                  </a:lnTo>
                  <a:lnTo>
                    <a:pt x="733022" y="325990"/>
                  </a:lnTo>
                  <a:lnTo>
                    <a:pt x="651303" y="340329"/>
                  </a:lnTo>
                  <a:cubicBezTo>
                    <a:pt x="624470" y="347792"/>
                    <a:pt x="598678" y="357762"/>
                    <a:pt x="574202" y="369991"/>
                  </a:cubicBezTo>
                  <a:lnTo>
                    <a:pt x="419821" y="102489"/>
                  </a:lnTo>
                  <a:cubicBezTo>
                    <a:pt x="414552" y="93357"/>
                    <a:pt x="418090" y="81683"/>
                    <a:pt x="427538" y="77032"/>
                  </a:cubicBezTo>
                  <a:cubicBezTo>
                    <a:pt x="515258" y="33801"/>
                    <a:pt x="612463" y="6819"/>
                    <a:pt x="715183" y="41"/>
                  </a:cubicBezTo>
                  <a:close/>
                </a:path>
              </a:pathLst>
            </a:custGeom>
            <a:gradFill>
              <a:gsLst>
                <a:gs pos="6000">
                  <a:srgbClr val="FF9248">
                    <a:alpha val="34000"/>
                  </a:srgbClr>
                </a:gs>
                <a:gs pos="77000">
                  <a:schemeClr val="accent4">
                    <a:alpha val="29000"/>
                  </a:schemeClr>
                </a:gs>
              </a:gsLst>
              <a:lin ang="3343960" scaled="1"/>
            </a:gradFill>
            <a:ln w="5992" cap="flat">
              <a:noFill/>
              <a:prstDash val="solid"/>
              <a:miter/>
            </a:ln>
          </p:spPr>
          <p:txBody>
            <a:bodyPr wrap="square" rtlCol="0" anchor="ctr">
              <a:noAutofit/>
            </a:bodyPr>
            <a:lstStyle/>
            <a:p>
              <a:endParaRPr lang="en-US"/>
            </a:p>
          </p:txBody>
        </p:sp>
        <p:sp>
          <p:nvSpPr>
            <p:cNvPr id="8" name="Donut 7">
              <a:extLst>
                <a:ext uri="{FF2B5EF4-FFF2-40B4-BE49-F238E27FC236}">
                  <a16:creationId xmlns:a16="http://schemas.microsoft.com/office/drawing/2014/main" id="{B082FF4E-307F-633F-9A70-0B2CEA55EF14}"/>
                </a:ext>
              </a:extLst>
            </p:cNvPr>
            <p:cNvSpPr/>
            <p:nvPr/>
          </p:nvSpPr>
          <p:spPr bwMode="auto">
            <a:xfrm>
              <a:off x="11207931" y="1255577"/>
              <a:ext cx="385156" cy="385156"/>
            </a:xfrm>
            <a:prstGeom prst="donut">
              <a:avLst/>
            </a:prstGeom>
            <a:gradFill>
              <a:gsLst>
                <a:gs pos="6000">
                  <a:srgbClr val="FF9248">
                    <a:alpha val="34000"/>
                  </a:srgbClr>
                </a:gs>
                <a:gs pos="77000">
                  <a:schemeClr val="accent4">
                    <a:alpha val="29000"/>
                  </a:schemeClr>
                </a:gs>
              </a:gsLst>
              <a:lin ang="3343960" scaled="1"/>
            </a:gradFill>
            <a:ln w="5992" cap="flat">
              <a:noFill/>
              <a:prstDash val="solid"/>
              <a:miter/>
            </a:ln>
          </p:spPr>
          <p:txBody>
            <a:bodyPr wrap="square" rtlCol="0" anchor="ctr">
              <a:noAutofit/>
            </a:bodyPr>
            <a:lstStyle/>
            <a:p>
              <a:endParaRPr lang="en-US">
                <a:solidFill>
                  <a:schemeClr val="tx1"/>
                </a:solidFill>
              </a:endParaRPr>
            </a:p>
          </p:txBody>
        </p:sp>
      </p:gr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4559216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1_Two Column Bullet with Subheads">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FFF5CD7-6F2E-C9FA-DFA5-66B9CFB0E1E2}"/>
              </a:ext>
            </a:extLst>
          </p:cNvPr>
          <p:cNvGrpSpPr/>
          <p:nvPr userDrawn="1"/>
        </p:nvGrpSpPr>
        <p:grpSpPr>
          <a:xfrm>
            <a:off x="11207931" y="114223"/>
            <a:ext cx="984069" cy="1526510"/>
            <a:chOff x="11207931" y="114223"/>
            <a:chExt cx="984069" cy="1526510"/>
          </a:xfrm>
        </p:grpSpPr>
        <p:sp>
          <p:nvSpPr>
            <p:cNvPr id="4" name="Freeform 3">
              <a:extLst>
                <a:ext uri="{FF2B5EF4-FFF2-40B4-BE49-F238E27FC236}">
                  <a16:creationId xmlns:a16="http://schemas.microsoft.com/office/drawing/2014/main" id="{06B833D0-0FC0-975A-6470-532B53607820}"/>
                </a:ext>
              </a:extLst>
            </p:cNvPr>
            <p:cNvSpPr/>
            <p:nvPr/>
          </p:nvSpPr>
          <p:spPr bwMode="auto">
            <a:xfrm>
              <a:off x="11683516" y="209494"/>
              <a:ext cx="508484" cy="1049410"/>
            </a:xfrm>
            <a:custGeom>
              <a:avLst/>
              <a:gdLst>
                <a:gd name="connsiteX0" fmla="*/ 508484 w 508484"/>
                <a:gd name="connsiteY0" fmla="*/ 0 h 1049410"/>
                <a:gd name="connsiteX1" fmla="*/ 508484 w 508484"/>
                <a:gd name="connsiteY1" fmla="*/ 1049410 h 1049410"/>
                <a:gd name="connsiteX2" fmla="*/ 420411 w 508484"/>
                <a:gd name="connsiteY2" fmla="*/ 1040532 h 1049410"/>
                <a:gd name="connsiteX3" fmla="*/ 0 w 508484"/>
                <a:gd name="connsiteY3" fmla="*/ 524705 h 1049410"/>
                <a:gd name="connsiteX4" fmla="*/ 420411 w 508484"/>
                <a:gd name="connsiteY4" fmla="*/ 8878 h 1049410"/>
                <a:gd name="connsiteX5" fmla="*/ 508484 w 508484"/>
                <a:gd name="connsiteY5" fmla="*/ 0 h 1049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8484" h="1049410">
                  <a:moveTo>
                    <a:pt x="508484" y="0"/>
                  </a:moveTo>
                  <a:lnTo>
                    <a:pt x="508484" y="1049410"/>
                  </a:lnTo>
                  <a:lnTo>
                    <a:pt x="420411" y="1040532"/>
                  </a:lnTo>
                  <a:cubicBezTo>
                    <a:pt x="180483" y="991436"/>
                    <a:pt x="0" y="779147"/>
                    <a:pt x="0" y="524705"/>
                  </a:cubicBezTo>
                  <a:cubicBezTo>
                    <a:pt x="0" y="270263"/>
                    <a:pt x="180483" y="57975"/>
                    <a:pt x="420411" y="8878"/>
                  </a:cubicBezTo>
                  <a:lnTo>
                    <a:pt x="508484" y="0"/>
                  </a:lnTo>
                  <a:close/>
                </a:path>
              </a:pathLst>
            </a:custGeom>
            <a:solidFill>
              <a:schemeClr val="accent5">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5" name="Freeform 4">
              <a:extLst>
                <a:ext uri="{FF2B5EF4-FFF2-40B4-BE49-F238E27FC236}">
                  <a16:creationId xmlns:a16="http://schemas.microsoft.com/office/drawing/2014/main" id="{88C81A58-4F13-F08D-5B3F-4480D2677260}"/>
                </a:ext>
              </a:extLst>
            </p:cNvPr>
            <p:cNvSpPr/>
            <p:nvPr/>
          </p:nvSpPr>
          <p:spPr>
            <a:xfrm>
              <a:off x="11593087" y="114223"/>
              <a:ext cx="598913" cy="1253024"/>
            </a:xfrm>
            <a:custGeom>
              <a:avLst/>
              <a:gdLst>
                <a:gd name="connsiteX0" fmla="*/ 579415 w 733022"/>
                <a:gd name="connsiteY0" fmla="*/ 1154516 h 1533601"/>
                <a:gd name="connsiteX1" fmla="*/ 654140 w 733022"/>
                <a:gd name="connsiteY1" fmla="*/ 1182331 h 1533601"/>
                <a:gd name="connsiteX2" fmla="*/ 733022 w 733022"/>
                <a:gd name="connsiteY2" fmla="*/ 1195890 h 1533601"/>
                <a:gd name="connsiteX3" fmla="*/ 733022 w 733022"/>
                <a:gd name="connsiteY3" fmla="*/ 1519078 h 1533601"/>
                <a:gd name="connsiteX4" fmla="*/ 728849 w 733022"/>
                <a:gd name="connsiteY4" fmla="*/ 1528684 h 1533601"/>
                <a:gd name="connsiteX5" fmla="*/ 715183 w 733022"/>
                <a:gd name="connsiteY5" fmla="*/ 1533561 h 1533601"/>
                <a:gd name="connsiteX6" fmla="*/ 427500 w 733022"/>
                <a:gd name="connsiteY6" fmla="*/ 1456569 h 1533601"/>
                <a:gd name="connsiteX7" fmla="*/ 427481 w 733022"/>
                <a:gd name="connsiteY7" fmla="*/ 1456569 h 1533601"/>
                <a:gd name="connsiteX8" fmla="*/ 419765 w 733022"/>
                <a:gd name="connsiteY8" fmla="*/ 1431112 h 1533601"/>
                <a:gd name="connsiteX9" fmla="*/ 409753 w 733022"/>
                <a:gd name="connsiteY9" fmla="*/ 1009571 h 1533601"/>
                <a:gd name="connsiteX10" fmla="*/ 524291 w 733022"/>
                <a:gd name="connsiteY10" fmla="*/ 1122789 h 1533601"/>
                <a:gd name="connsiteX11" fmla="*/ 364754 w 733022"/>
                <a:gd name="connsiteY11" fmla="*/ 1399179 h 1533601"/>
                <a:gd name="connsiteX12" fmla="*/ 338820 w 733022"/>
                <a:gd name="connsiteY12" fmla="*/ 1405185 h 1533601"/>
                <a:gd name="connsiteX13" fmla="*/ 128318 w 733022"/>
                <a:gd name="connsiteY13" fmla="*/ 1194584 h 1533601"/>
                <a:gd name="connsiteX14" fmla="*/ 134321 w 733022"/>
                <a:gd name="connsiteY14" fmla="*/ 1168637 h 1533601"/>
                <a:gd name="connsiteX15" fmla="*/ 18202 w 733022"/>
                <a:gd name="connsiteY15" fmla="*/ 798631 h 1533601"/>
                <a:gd name="connsiteX16" fmla="*/ 333739 w 733022"/>
                <a:gd name="connsiteY16" fmla="*/ 798631 h 1533601"/>
                <a:gd name="connsiteX17" fmla="*/ 377363 w 733022"/>
                <a:gd name="connsiteY17" fmla="*/ 954723 h 1533601"/>
                <a:gd name="connsiteX18" fmla="*/ 102441 w 733022"/>
                <a:gd name="connsiteY18" fmla="*/ 1113544 h 1533601"/>
                <a:gd name="connsiteX19" fmla="*/ 76996 w 733022"/>
                <a:gd name="connsiteY19" fmla="*/ 1105824 h 1533601"/>
                <a:gd name="connsiteX20" fmla="*/ 41 w 733022"/>
                <a:gd name="connsiteY20" fmla="*/ 818081 h 1533601"/>
                <a:gd name="connsiteX21" fmla="*/ 18202 w 733022"/>
                <a:gd name="connsiteY21" fmla="*/ 798631 h 1533601"/>
                <a:gd name="connsiteX22" fmla="*/ 733022 w 733022"/>
                <a:gd name="connsiteY22" fmla="*/ 440947 h 1533601"/>
                <a:gd name="connsiteX23" fmla="*/ 733022 w 733022"/>
                <a:gd name="connsiteY23" fmla="*/ 627192 h 1533601"/>
                <a:gd name="connsiteX24" fmla="*/ 694597 w 733022"/>
                <a:gd name="connsiteY24" fmla="*/ 638681 h 1533601"/>
                <a:gd name="connsiteX25" fmla="*/ 618391 w 733022"/>
                <a:gd name="connsiteY25" fmla="*/ 748942 h 1533601"/>
                <a:gd name="connsiteX26" fmla="*/ 699416 w 733022"/>
                <a:gd name="connsiteY26" fmla="*/ 889231 h 1533601"/>
                <a:gd name="connsiteX27" fmla="*/ 733022 w 733022"/>
                <a:gd name="connsiteY27" fmla="*/ 896448 h 1533601"/>
                <a:gd name="connsiteX28" fmla="*/ 733022 w 733022"/>
                <a:gd name="connsiteY28" fmla="*/ 1083871 h 1533601"/>
                <a:gd name="connsiteX29" fmla="*/ 691051 w 733022"/>
                <a:gd name="connsiteY29" fmla="*/ 1079617 h 1533601"/>
                <a:gd name="connsiteX30" fmla="*/ 433014 w 733022"/>
                <a:gd name="connsiteY30" fmla="*/ 761820 h 1533601"/>
                <a:gd name="connsiteX31" fmla="*/ 678170 w 733022"/>
                <a:gd name="connsiteY31" fmla="*/ 449027 h 1533601"/>
                <a:gd name="connsiteX32" fmla="*/ 88045 w 733022"/>
                <a:gd name="connsiteY32" fmla="*/ 418365 h 1533601"/>
                <a:gd name="connsiteX33" fmla="*/ 102441 w 733022"/>
                <a:gd name="connsiteY33" fmla="*/ 420020 h 1533601"/>
                <a:gd name="connsiteX34" fmla="*/ 372960 w 733022"/>
                <a:gd name="connsiteY34" fmla="*/ 576281 h 1533601"/>
                <a:gd name="connsiteX35" fmla="*/ 332873 w 733022"/>
                <a:gd name="connsiteY35" fmla="*/ 734971 h 1533601"/>
                <a:gd name="connsiteX36" fmla="*/ 18202 w 733022"/>
                <a:gd name="connsiteY36" fmla="*/ 734971 h 1533601"/>
                <a:gd name="connsiteX37" fmla="*/ 41 w 733022"/>
                <a:gd name="connsiteY37" fmla="*/ 715520 h 1533601"/>
                <a:gd name="connsiteX38" fmla="*/ 76996 w 733022"/>
                <a:gd name="connsiteY38" fmla="*/ 427739 h 1533601"/>
                <a:gd name="connsiteX39" fmla="*/ 88045 w 733022"/>
                <a:gd name="connsiteY39" fmla="*/ 418365 h 1533601"/>
                <a:gd name="connsiteX40" fmla="*/ 353092 w 733022"/>
                <a:gd name="connsiteY40" fmla="*/ 125773 h 1533601"/>
                <a:gd name="connsiteX41" fmla="*/ 364754 w 733022"/>
                <a:gd name="connsiteY41" fmla="*/ 134404 h 1533601"/>
                <a:gd name="connsiteX42" fmla="*/ 519455 w 733022"/>
                <a:gd name="connsiteY42" fmla="*/ 402471 h 1533601"/>
                <a:gd name="connsiteX43" fmla="*/ 404069 w 733022"/>
                <a:gd name="connsiteY43" fmla="*/ 520735 h 1533601"/>
                <a:gd name="connsiteX44" fmla="*/ 134359 w 733022"/>
                <a:gd name="connsiteY44" fmla="*/ 364945 h 1533601"/>
                <a:gd name="connsiteX45" fmla="*/ 128356 w 733022"/>
                <a:gd name="connsiteY45" fmla="*/ 338999 h 1533601"/>
                <a:gd name="connsiteX46" fmla="*/ 338820 w 733022"/>
                <a:gd name="connsiteY46" fmla="*/ 128398 h 1533601"/>
                <a:gd name="connsiteX47" fmla="*/ 353092 w 733022"/>
                <a:gd name="connsiteY47" fmla="*/ 125773 h 1533601"/>
                <a:gd name="connsiteX48" fmla="*/ 715183 w 733022"/>
                <a:gd name="connsiteY48" fmla="*/ 41 h 1533601"/>
                <a:gd name="connsiteX49" fmla="*/ 715202 w 733022"/>
                <a:gd name="connsiteY49" fmla="*/ 41 h 1533601"/>
                <a:gd name="connsiteX50" fmla="*/ 728860 w 733022"/>
                <a:gd name="connsiteY50" fmla="*/ 4910 h 1533601"/>
                <a:gd name="connsiteX51" fmla="*/ 733022 w 733022"/>
                <a:gd name="connsiteY51" fmla="*/ 14482 h 1533601"/>
                <a:gd name="connsiteX52" fmla="*/ 733022 w 733022"/>
                <a:gd name="connsiteY52" fmla="*/ 325990 h 1533601"/>
                <a:gd name="connsiteX53" fmla="*/ 651303 w 733022"/>
                <a:gd name="connsiteY53" fmla="*/ 340329 h 1533601"/>
                <a:gd name="connsiteX54" fmla="*/ 574202 w 733022"/>
                <a:gd name="connsiteY54" fmla="*/ 369991 h 1533601"/>
                <a:gd name="connsiteX55" fmla="*/ 419821 w 733022"/>
                <a:gd name="connsiteY55" fmla="*/ 102489 h 1533601"/>
                <a:gd name="connsiteX56" fmla="*/ 427538 w 733022"/>
                <a:gd name="connsiteY56" fmla="*/ 77032 h 1533601"/>
                <a:gd name="connsiteX57" fmla="*/ 715183 w 733022"/>
                <a:gd name="connsiteY57" fmla="*/ 41 h 1533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733022" h="1533601">
                  <a:moveTo>
                    <a:pt x="579415" y="1154516"/>
                  </a:moveTo>
                  <a:cubicBezTo>
                    <a:pt x="603213" y="1165954"/>
                    <a:pt x="628197" y="1175308"/>
                    <a:pt x="654140" y="1182331"/>
                  </a:cubicBezTo>
                  <a:lnTo>
                    <a:pt x="733022" y="1195890"/>
                  </a:lnTo>
                  <a:lnTo>
                    <a:pt x="733022" y="1519078"/>
                  </a:lnTo>
                  <a:lnTo>
                    <a:pt x="728849" y="1528684"/>
                  </a:lnTo>
                  <a:cubicBezTo>
                    <a:pt x="725303" y="1531998"/>
                    <a:pt x="720443" y="1533909"/>
                    <a:pt x="715183" y="1533561"/>
                  </a:cubicBezTo>
                  <a:cubicBezTo>
                    <a:pt x="612463" y="1526782"/>
                    <a:pt x="515258" y="1499819"/>
                    <a:pt x="427500" y="1456569"/>
                  </a:cubicBezTo>
                  <a:lnTo>
                    <a:pt x="427481" y="1456569"/>
                  </a:lnTo>
                  <a:cubicBezTo>
                    <a:pt x="418052" y="1451918"/>
                    <a:pt x="414495" y="1440226"/>
                    <a:pt x="419765" y="1431112"/>
                  </a:cubicBezTo>
                  <a:close/>
                  <a:moveTo>
                    <a:pt x="409753" y="1009571"/>
                  </a:moveTo>
                  <a:cubicBezTo>
                    <a:pt x="440580" y="1054045"/>
                    <a:pt x="479424" y="1092456"/>
                    <a:pt x="524291" y="1122789"/>
                  </a:cubicBezTo>
                  <a:lnTo>
                    <a:pt x="364754" y="1399179"/>
                  </a:lnTo>
                  <a:cubicBezTo>
                    <a:pt x="359484" y="1408311"/>
                    <a:pt x="347571" y="1411060"/>
                    <a:pt x="338820" y="1405185"/>
                  </a:cubicBezTo>
                  <a:cubicBezTo>
                    <a:pt x="255730" y="1349376"/>
                    <a:pt x="184100" y="1277751"/>
                    <a:pt x="128318" y="1194584"/>
                  </a:cubicBezTo>
                  <a:cubicBezTo>
                    <a:pt x="122446" y="1185828"/>
                    <a:pt x="125194" y="1173910"/>
                    <a:pt x="134321" y="1168637"/>
                  </a:cubicBezTo>
                  <a:close/>
                  <a:moveTo>
                    <a:pt x="18202" y="798631"/>
                  </a:moveTo>
                  <a:lnTo>
                    <a:pt x="333739" y="798631"/>
                  </a:lnTo>
                  <a:cubicBezTo>
                    <a:pt x="338462" y="854289"/>
                    <a:pt x="353650" y="906991"/>
                    <a:pt x="377363" y="954723"/>
                  </a:cubicBezTo>
                  <a:lnTo>
                    <a:pt x="102441" y="1113544"/>
                  </a:lnTo>
                  <a:cubicBezTo>
                    <a:pt x="93331" y="1118816"/>
                    <a:pt x="81644" y="1115258"/>
                    <a:pt x="76996" y="1105824"/>
                  </a:cubicBezTo>
                  <a:cubicBezTo>
                    <a:pt x="33766" y="1018063"/>
                    <a:pt x="6816" y="920849"/>
                    <a:pt x="41" y="818081"/>
                  </a:cubicBezTo>
                  <a:cubicBezTo>
                    <a:pt x="-656" y="807556"/>
                    <a:pt x="7682" y="798631"/>
                    <a:pt x="18202" y="798631"/>
                  </a:cubicBezTo>
                  <a:close/>
                  <a:moveTo>
                    <a:pt x="733022" y="440947"/>
                  </a:moveTo>
                  <a:lnTo>
                    <a:pt x="733022" y="627192"/>
                  </a:lnTo>
                  <a:lnTo>
                    <a:pt x="694597" y="638681"/>
                  </a:lnTo>
                  <a:cubicBezTo>
                    <a:pt x="652977" y="659505"/>
                    <a:pt x="623092" y="700871"/>
                    <a:pt x="618391" y="748942"/>
                  </a:cubicBezTo>
                  <a:cubicBezTo>
                    <a:pt x="612336" y="810922"/>
                    <a:pt x="647367" y="865710"/>
                    <a:pt x="699416" y="889231"/>
                  </a:cubicBezTo>
                  <a:lnTo>
                    <a:pt x="733022" y="896448"/>
                  </a:lnTo>
                  <a:lnTo>
                    <a:pt x="733022" y="1083871"/>
                  </a:lnTo>
                  <a:lnTo>
                    <a:pt x="691051" y="1079617"/>
                  </a:lnTo>
                  <a:cubicBezTo>
                    <a:pt x="543639" y="1049300"/>
                    <a:pt x="432521" y="918253"/>
                    <a:pt x="433014" y="761820"/>
                  </a:cubicBezTo>
                  <a:cubicBezTo>
                    <a:pt x="433475" y="612208"/>
                    <a:pt x="537754" y="484162"/>
                    <a:pt x="678170" y="449027"/>
                  </a:cubicBezTo>
                  <a:close/>
                  <a:moveTo>
                    <a:pt x="88045" y="418365"/>
                  </a:moveTo>
                  <a:cubicBezTo>
                    <a:pt x="92687" y="416955"/>
                    <a:pt x="97886" y="417384"/>
                    <a:pt x="102441" y="420020"/>
                  </a:cubicBezTo>
                  <a:lnTo>
                    <a:pt x="372960" y="576281"/>
                  </a:lnTo>
                  <a:cubicBezTo>
                    <a:pt x="350187" y="624934"/>
                    <a:pt x="336185" y="678503"/>
                    <a:pt x="332873" y="734971"/>
                  </a:cubicBezTo>
                  <a:lnTo>
                    <a:pt x="18202" y="734971"/>
                  </a:lnTo>
                  <a:cubicBezTo>
                    <a:pt x="7682" y="734971"/>
                    <a:pt x="-656" y="726045"/>
                    <a:pt x="41" y="715520"/>
                  </a:cubicBezTo>
                  <a:cubicBezTo>
                    <a:pt x="6816" y="612752"/>
                    <a:pt x="33766" y="515501"/>
                    <a:pt x="76996" y="427739"/>
                  </a:cubicBezTo>
                  <a:cubicBezTo>
                    <a:pt x="79320" y="423023"/>
                    <a:pt x="83404" y="419775"/>
                    <a:pt x="88045" y="418365"/>
                  </a:cubicBezTo>
                  <a:close/>
                  <a:moveTo>
                    <a:pt x="353092" y="125773"/>
                  </a:moveTo>
                  <a:cubicBezTo>
                    <a:pt x="357823" y="126868"/>
                    <a:pt x="362119" y="129838"/>
                    <a:pt x="364754" y="134404"/>
                  </a:cubicBezTo>
                  <a:lnTo>
                    <a:pt x="519455" y="402471"/>
                  </a:lnTo>
                  <a:cubicBezTo>
                    <a:pt x="473873" y="434122"/>
                    <a:pt x="434652" y="474359"/>
                    <a:pt x="404069" y="520735"/>
                  </a:cubicBezTo>
                  <a:lnTo>
                    <a:pt x="134359" y="364945"/>
                  </a:lnTo>
                  <a:cubicBezTo>
                    <a:pt x="125231" y="359673"/>
                    <a:pt x="122484" y="347754"/>
                    <a:pt x="128356" y="338999"/>
                  </a:cubicBezTo>
                  <a:cubicBezTo>
                    <a:pt x="184138" y="255869"/>
                    <a:pt x="255730" y="184244"/>
                    <a:pt x="338820" y="128398"/>
                  </a:cubicBezTo>
                  <a:cubicBezTo>
                    <a:pt x="343196" y="125460"/>
                    <a:pt x="348362" y="124679"/>
                    <a:pt x="353092" y="125773"/>
                  </a:cubicBezTo>
                  <a:close/>
                  <a:moveTo>
                    <a:pt x="715183" y="41"/>
                  </a:moveTo>
                  <a:lnTo>
                    <a:pt x="715202" y="41"/>
                  </a:lnTo>
                  <a:cubicBezTo>
                    <a:pt x="720453" y="-308"/>
                    <a:pt x="725313" y="1599"/>
                    <a:pt x="728860" y="4910"/>
                  </a:cubicBezTo>
                  <a:lnTo>
                    <a:pt x="733022" y="14482"/>
                  </a:lnTo>
                  <a:lnTo>
                    <a:pt x="733022" y="325990"/>
                  </a:lnTo>
                  <a:lnTo>
                    <a:pt x="651303" y="340329"/>
                  </a:lnTo>
                  <a:cubicBezTo>
                    <a:pt x="624470" y="347792"/>
                    <a:pt x="598678" y="357762"/>
                    <a:pt x="574202" y="369991"/>
                  </a:cubicBezTo>
                  <a:lnTo>
                    <a:pt x="419821" y="102489"/>
                  </a:lnTo>
                  <a:cubicBezTo>
                    <a:pt x="414552" y="93357"/>
                    <a:pt x="418090" y="81683"/>
                    <a:pt x="427538" y="77032"/>
                  </a:cubicBezTo>
                  <a:cubicBezTo>
                    <a:pt x="515258" y="33801"/>
                    <a:pt x="612463" y="6819"/>
                    <a:pt x="715183" y="41"/>
                  </a:cubicBezTo>
                  <a:close/>
                </a:path>
              </a:pathLst>
            </a:custGeom>
            <a:gradFill>
              <a:gsLst>
                <a:gs pos="6000">
                  <a:srgbClr val="FF9248">
                    <a:alpha val="34000"/>
                  </a:srgbClr>
                </a:gs>
                <a:gs pos="77000">
                  <a:schemeClr val="accent4">
                    <a:alpha val="29000"/>
                  </a:schemeClr>
                </a:gs>
              </a:gsLst>
              <a:lin ang="3343960" scaled="1"/>
            </a:gradFill>
            <a:ln w="5992" cap="flat">
              <a:noFill/>
              <a:prstDash val="solid"/>
              <a:miter/>
            </a:ln>
          </p:spPr>
          <p:txBody>
            <a:bodyPr wrap="square" rtlCol="0" anchor="ctr">
              <a:noAutofit/>
            </a:bodyPr>
            <a:lstStyle/>
            <a:p>
              <a:endParaRPr lang="en-US"/>
            </a:p>
          </p:txBody>
        </p:sp>
        <p:sp>
          <p:nvSpPr>
            <p:cNvPr id="6" name="Donut 5">
              <a:extLst>
                <a:ext uri="{FF2B5EF4-FFF2-40B4-BE49-F238E27FC236}">
                  <a16:creationId xmlns:a16="http://schemas.microsoft.com/office/drawing/2014/main" id="{3B548AB9-4F73-F6FA-1155-30F4952F1A23}"/>
                </a:ext>
              </a:extLst>
            </p:cNvPr>
            <p:cNvSpPr/>
            <p:nvPr/>
          </p:nvSpPr>
          <p:spPr bwMode="auto">
            <a:xfrm>
              <a:off x="11207931" y="1255577"/>
              <a:ext cx="385156" cy="385156"/>
            </a:xfrm>
            <a:prstGeom prst="donut">
              <a:avLst/>
            </a:prstGeom>
            <a:gradFill>
              <a:gsLst>
                <a:gs pos="6000">
                  <a:srgbClr val="FF9248">
                    <a:alpha val="34000"/>
                  </a:srgbClr>
                </a:gs>
                <a:gs pos="77000">
                  <a:schemeClr val="accent4">
                    <a:alpha val="29000"/>
                  </a:schemeClr>
                </a:gs>
              </a:gsLst>
              <a:lin ang="3343960" scaled="1"/>
            </a:gradFill>
            <a:ln w="5992" cap="flat">
              <a:noFill/>
              <a:prstDash val="solid"/>
              <a:miter/>
            </a:ln>
          </p:spPr>
          <p:txBody>
            <a:bodyPr wrap="square" rtlCol="0" anchor="ctr">
              <a:noAutofit/>
            </a:bodyPr>
            <a:lstStyle/>
            <a:p>
              <a:endParaRPr lang="en-US">
                <a:solidFill>
                  <a:schemeClr val="tx1"/>
                </a:solidFill>
              </a:endParaRPr>
            </a:p>
          </p:txBody>
        </p:sp>
      </p:gr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5345537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1_Two Column Content with Subheads">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FA2FC0D4-3B11-6A5D-4877-CAC9DD1C961D}"/>
              </a:ext>
            </a:extLst>
          </p:cNvPr>
          <p:cNvGrpSpPr/>
          <p:nvPr userDrawn="1"/>
        </p:nvGrpSpPr>
        <p:grpSpPr>
          <a:xfrm>
            <a:off x="11207931" y="114223"/>
            <a:ext cx="984069" cy="1526510"/>
            <a:chOff x="11207931" y="114223"/>
            <a:chExt cx="984069" cy="1526510"/>
          </a:xfrm>
        </p:grpSpPr>
        <p:sp>
          <p:nvSpPr>
            <p:cNvPr id="5" name="Freeform 4">
              <a:extLst>
                <a:ext uri="{FF2B5EF4-FFF2-40B4-BE49-F238E27FC236}">
                  <a16:creationId xmlns:a16="http://schemas.microsoft.com/office/drawing/2014/main" id="{71A6F00C-2DE7-BA31-C876-7600CF4173AC}"/>
                </a:ext>
              </a:extLst>
            </p:cNvPr>
            <p:cNvSpPr/>
            <p:nvPr/>
          </p:nvSpPr>
          <p:spPr bwMode="auto">
            <a:xfrm>
              <a:off x="11683516" y="209494"/>
              <a:ext cx="508484" cy="1049410"/>
            </a:xfrm>
            <a:custGeom>
              <a:avLst/>
              <a:gdLst>
                <a:gd name="connsiteX0" fmla="*/ 508484 w 508484"/>
                <a:gd name="connsiteY0" fmla="*/ 0 h 1049410"/>
                <a:gd name="connsiteX1" fmla="*/ 508484 w 508484"/>
                <a:gd name="connsiteY1" fmla="*/ 1049410 h 1049410"/>
                <a:gd name="connsiteX2" fmla="*/ 420411 w 508484"/>
                <a:gd name="connsiteY2" fmla="*/ 1040532 h 1049410"/>
                <a:gd name="connsiteX3" fmla="*/ 0 w 508484"/>
                <a:gd name="connsiteY3" fmla="*/ 524705 h 1049410"/>
                <a:gd name="connsiteX4" fmla="*/ 420411 w 508484"/>
                <a:gd name="connsiteY4" fmla="*/ 8878 h 1049410"/>
                <a:gd name="connsiteX5" fmla="*/ 508484 w 508484"/>
                <a:gd name="connsiteY5" fmla="*/ 0 h 1049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8484" h="1049410">
                  <a:moveTo>
                    <a:pt x="508484" y="0"/>
                  </a:moveTo>
                  <a:lnTo>
                    <a:pt x="508484" y="1049410"/>
                  </a:lnTo>
                  <a:lnTo>
                    <a:pt x="420411" y="1040532"/>
                  </a:lnTo>
                  <a:cubicBezTo>
                    <a:pt x="180483" y="991436"/>
                    <a:pt x="0" y="779147"/>
                    <a:pt x="0" y="524705"/>
                  </a:cubicBezTo>
                  <a:cubicBezTo>
                    <a:pt x="0" y="270263"/>
                    <a:pt x="180483" y="57975"/>
                    <a:pt x="420411" y="8878"/>
                  </a:cubicBezTo>
                  <a:lnTo>
                    <a:pt x="508484" y="0"/>
                  </a:lnTo>
                  <a:close/>
                </a:path>
              </a:pathLst>
            </a:custGeom>
            <a:solidFill>
              <a:schemeClr val="accent5">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6" name="Freeform 5">
              <a:extLst>
                <a:ext uri="{FF2B5EF4-FFF2-40B4-BE49-F238E27FC236}">
                  <a16:creationId xmlns:a16="http://schemas.microsoft.com/office/drawing/2014/main" id="{D8579AF3-831E-1A45-FC7A-63305474E1C5}"/>
                </a:ext>
              </a:extLst>
            </p:cNvPr>
            <p:cNvSpPr/>
            <p:nvPr/>
          </p:nvSpPr>
          <p:spPr>
            <a:xfrm>
              <a:off x="11593087" y="114223"/>
              <a:ext cx="598913" cy="1253024"/>
            </a:xfrm>
            <a:custGeom>
              <a:avLst/>
              <a:gdLst>
                <a:gd name="connsiteX0" fmla="*/ 579415 w 733022"/>
                <a:gd name="connsiteY0" fmla="*/ 1154516 h 1533601"/>
                <a:gd name="connsiteX1" fmla="*/ 654140 w 733022"/>
                <a:gd name="connsiteY1" fmla="*/ 1182331 h 1533601"/>
                <a:gd name="connsiteX2" fmla="*/ 733022 w 733022"/>
                <a:gd name="connsiteY2" fmla="*/ 1195890 h 1533601"/>
                <a:gd name="connsiteX3" fmla="*/ 733022 w 733022"/>
                <a:gd name="connsiteY3" fmla="*/ 1519078 h 1533601"/>
                <a:gd name="connsiteX4" fmla="*/ 728849 w 733022"/>
                <a:gd name="connsiteY4" fmla="*/ 1528684 h 1533601"/>
                <a:gd name="connsiteX5" fmla="*/ 715183 w 733022"/>
                <a:gd name="connsiteY5" fmla="*/ 1533561 h 1533601"/>
                <a:gd name="connsiteX6" fmla="*/ 427500 w 733022"/>
                <a:gd name="connsiteY6" fmla="*/ 1456569 h 1533601"/>
                <a:gd name="connsiteX7" fmla="*/ 427481 w 733022"/>
                <a:gd name="connsiteY7" fmla="*/ 1456569 h 1533601"/>
                <a:gd name="connsiteX8" fmla="*/ 419765 w 733022"/>
                <a:gd name="connsiteY8" fmla="*/ 1431112 h 1533601"/>
                <a:gd name="connsiteX9" fmla="*/ 409753 w 733022"/>
                <a:gd name="connsiteY9" fmla="*/ 1009571 h 1533601"/>
                <a:gd name="connsiteX10" fmla="*/ 524291 w 733022"/>
                <a:gd name="connsiteY10" fmla="*/ 1122789 h 1533601"/>
                <a:gd name="connsiteX11" fmla="*/ 364754 w 733022"/>
                <a:gd name="connsiteY11" fmla="*/ 1399179 h 1533601"/>
                <a:gd name="connsiteX12" fmla="*/ 338820 w 733022"/>
                <a:gd name="connsiteY12" fmla="*/ 1405185 h 1533601"/>
                <a:gd name="connsiteX13" fmla="*/ 128318 w 733022"/>
                <a:gd name="connsiteY13" fmla="*/ 1194584 h 1533601"/>
                <a:gd name="connsiteX14" fmla="*/ 134321 w 733022"/>
                <a:gd name="connsiteY14" fmla="*/ 1168637 h 1533601"/>
                <a:gd name="connsiteX15" fmla="*/ 18202 w 733022"/>
                <a:gd name="connsiteY15" fmla="*/ 798631 h 1533601"/>
                <a:gd name="connsiteX16" fmla="*/ 333739 w 733022"/>
                <a:gd name="connsiteY16" fmla="*/ 798631 h 1533601"/>
                <a:gd name="connsiteX17" fmla="*/ 377363 w 733022"/>
                <a:gd name="connsiteY17" fmla="*/ 954723 h 1533601"/>
                <a:gd name="connsiteX18" fmla="*/ 102441 w 733022"/>
                <a:gd name="connsiteY18" fmla="*/ 1113544 h 1533601"/>
                <a:gd name="connsiteX19" fmla="*/ 76996 w 733022"/>
                <a:gd name="connsiteY19" fmla="*/ 1105824 h 1533601"/>
                <a:gd name="connsiteX20" fmla="*/ 41 w 733022"/>
                <a:gd name="connsiteY20" fmla="*/ 818081 h 1533601"/>
                <a:gd name="connsiteX21" fmla="*/ 18202 w 733022"/>
                <a:gd name="connsiteY21" fmla="*/ 798631 h 1533601"/>
                <a:gd name="connsiteX22" fmla="*/ 733022 w 733022"/>
                <a:gd name="connsiteY22" fmla="*/ 440947 h 1533601"/>
                <a:gd name="connsiteX23" fmla="*/ 733022 w 733022"/>
                <a:gd name="connsiteY23" fmla="*/ 627192 h 1533601"/>
                <a:gd name="connsiteX24" fmla="*/ 694597 w 733022"/>
                <a:gd name="connsiteY24" fmla="*/ 638681 h 1533601"/>
                <a:gd name="connsiteX25" fmla="*/ 618391 w 733022"/>
                <a:gd name="connsiteY25" fmla="*/ 748942 h 1533601"/>
                <a:gd name="connsiteX26" fmla="*/ 699416 w 733022"/>
                <a:gd name="connsiteY26" fmla="*/ 889231 h 1533601"/>
                <a:gd name="connsiteX27" fmla="*/ 733022 w 733022"/>
                <a:gd name="connsiteY27" fmla="*/ 896448 h 1533601"/>
                <a:gd name="connsiteX28" fmla="*/ 733022 w 733022"/>
                <a:gd name="connsiteY28" fmla="*/ 1083871 h 1533601"/>
                <a:gd name="connsiteX29" fmla="*/ 691051 w 733022"/>
                <a:gd name="connsiteY29" fmla="*/ 1079617 h 1533601"/>
                <a:gd name="connsiteX30" fmla="*/ 433014 w 733022"/>
                <a:gd name="connsiteY30" fmla="*/ 761820 h 1533601"/>
                <a:gd name="connsiteX31" fmla="*/ 678170 w 733022"/>
                <a:gd name="connsiteY31" fmla="*/ 449027 h 1533601"/>
                <a:gd name="connsiteX32" fmla="*/ 88045 w 733022"/>
                <a:gd name="connsiteY32" fmla="*/ 418365 h 1533601"/>
                <a:gd name="connsiteX33" fmla="*/ 102441 w 733022"/>
                <a:gd name="connsiteY33" fmla="*/ 420020 h 1533601"/>
                <a:gd name="connsiteX34" fmla="*/ 372960 w 733022"/>
                <a:gd name="connsiteY34" fmla="*/ 576281 h 1533601"/>
                <a:gd name="connsiteX35" fmla="*/ 332873 w 733022"/>
                <a:gd name="connsiteY35" fmla="*/ 734971 h 1533601"/>
                <a:gd name="connsiteX36" fmla="*/ 18202 w 733022"/>
                <a:gd name="connsiteY36" fmla="*/ 734971 h 1533601"/>
                <a:gd name="connsiteX37" fmla="*/ 41 w 733022"/>
                <a:gd name="connsiteY37" fmla="*/ 715520 h 1533601"/>
                <a:gd name="connsiteX38" fmla="*/ 76996 w 733022"/>
                <a:gd name="connsiteY38" fmla="*/ 427739 h 1533601"/>
                <a:gd name="connsiteX39" fmla="*/ 88045 w 733022"/>
                <a:gd name="connsiteY39" fmla="*/ 418365 h 1533601"/>
                <a:gd name="connsiteX40" fmla="*/ 353092 w 733022"/>
                <a:gd name="connsiteY40" fmla="*/ 125773 h 1533601"/>
                <a:gd name="connsiteX41" fmla="*/ 364754 w 733022"/>
                <a:gd name="connsiteY41" fmla="*/ 134404 h 1533601"/>
                <a:gd name="connsiteX42" fmla="*/ 519455 w 733022"/>
                <a:gd name="connsiteY42" fmla="*/ 402471 h 1533601"/>
                <a:gd name="connsiteX43" fmla="*/ 404069 w 733022"/>
                <a:gd name="connsiteY43" fmla="*/ 520735 h 1533601"/>
                <a:gd name="connsiteX44" fmla="*/ 134359 w 733022"/>
                <a:gd name="connsiteY44" fmla="*/ 364945 h 1533601"/>
                <a:gd name="connsiteX45" fmla="*/ 128356 w 733022"/>
                <a:gd name="connsiteY45" fmla="*/ 338999 h 1533601"/>
                <a:gd name="connsiteX46" fmla="*/ 338820 w 733022"/>
                <a:gd name="connsiteY46" fmla="*/ 128398 h 1533601"/>
                <a:gd name="connsiteX47" fmla="*/ 353092 w 733022"/>
                <a:gd name="connsiteY47" fmla="*/ 125773 h 1533601"/>
                <a:gd name="connsiteX48" fmla="*/ 715183 w 733022"/>
                <a:gd name="connsiteY48" fmla="*/ 41 h 1533601"/>
                <a:gd name="connsiteX49" fmla="*/ 715202 w 733022"/>
                <a:gd name="connsiteY49" fmla="*/ 41 h 1533601"/>
                <a:gd name="connsiteX50" fmla="*/ 728860 w 733022"/>
                <a:gd name="connsiteY50" fmla="*/ 4910 h 1533601"/>
                <a:gd name="connsiteX51" fmla="*/ 733022 w 733022"/>
                <a:gd name="connsiteY51" fmla="*/ 14482 h 1533601"/>
                <a:gd name="connsiteX52" fmla="*/ 733022 w 733022"/>
                <a:gd name="connsiteY52" fmla="*/ 325990 h 1533601"/>
                <a:gd name="connsiteX53" fmla="*/ 651303 w 733022"/>
                <a:gd name="connsiteY53" fmla="*/ 340329 h 1533601"/>
                <a:gd name="connsiteX54" fmla="*/ 574202 w 733022"/>
                <a:gd name="connsiteY54" fmla="*/ 369991 h 1533601"/>
                <a:gd name="connsiteX55" fmla="*/ 419821 w 733022"/>
                <a:gd name="connsiteY55" fmla="*/ 102489 h 1533601"/>
                <a:gd name="connsiteX56" fmla="*/ 427538 w 733022"/>
                <a:gd name="connsiteY56" fmla="*/ 77032 h 1533601"/>
                <a:gd name="connsiteX57" fmla="*/ 715183 w 733022"/>
                <a:gd name="connsiteY57" fmla="*/ 41 h 1533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733022" h="1533601">
                  <a:moveTo>
                    <a:pt x="579415" y="1154516"/>
                  </a:moveTo>
                  <a:cubicBezTo>
                    <a:pt x="603213" y="1165954"/>
                    <a:pt x="628197" y="1175308"/>
                    <a:pt x="654140" y="1182331"/>
                  </a:cubicBezTo>
                  <a:lnTo>
                    <a:pt x="733022" y="1195890"/>
                  </a:lnTo>
                  <a:lnTo>
                    <a:pt x="733022" y="1519078"/>
                  </a:lnTo>
                  <a:lnTo>
                    <a:pt x="728849" y="1528684"/>
                  </a:lnTo>
                  <a:cubicBezTo>
                    <a:pt x="725303" y="1531998"/>
                    <a:pt x="720443" y="1533909"/>
                    <a:pt x="715183" y="1533561"/>
                  </a:cubicBezTo>
                  <a:cubicBezTo>
                    <a:pt x="612463" y="1526782"/>
                    <a:pt x="515258" y="1499819"/>
                    <a:pt x="427500" y="1456569"/>
                  </a:cubicBezTo>
                  <a:lnTo>
                    <a:pt x="427481" y="1456569"/>
                  </a:lnTo>
                  <a:cubicBezTo>
                    <a:pt x="418052" y="1451918"/>
                    <a:pt x="414495" y="1440226"/>
                    <a:pt x="419765" y="1431112"/>
                  </a:cubicBezTo>
                  <a:close/>
                  <a:moveTo>
                    <a:pt x="409753" y="1009571"/>
                  </a:moveTo>
                  <a:cubicBezTo>
                    <a:pt x="440580" y="1054045"/>
                    <a:pt x="479424" y="1092456"/>
                    <a:pt x="524291" y="1122789"/>
                  </a:cubicBezTo>
                  <a:lnTo>
                    <a:pt x="364754" y="1399179"/>
                  </a:lnTo>
                  <a:cubicBezTo>
                    <a:pt x="359484" y="1408311"/>
                    <a:pt x="347571" y="1411060"/>
                    <a:pt x="338820" y="1405185"/>
                  </a:cubicBezTo>
                  <a:cubicBezTo>
                    <a:pt x="255730" y="1349376"/>
                    <a:pt x="184100" y="1277751"/>
                    <a:pt x="128318" y="1194584"/>
                  </a:cubicBezTo>
                  <a:cubicBezTo>
                    <a:pt x="122446" y="1185828"/>
                    <a:pt x="125194" y="1173910"/>
                    <a:pt x="134321" y="1168637"/>
                  </a:cubicBezTo>
                  <a:close/>
                  <a:moveTo>
                    <a:pt x="18202" y="798631"/>
                  </a:moveTo>
                  <a:lnTo>
                    <a:pt x="333739" y="798631"/>
                  </a:lnTo>
                  <a:cubicBezTo>
                    <a:pt x="338462" y="854289"/>
                    <a:pt x="353650" y="906991"/>
                    <a:pt x="377363" y="954723"/>
                  </a:cubicBezTo>
                  <a:lnTo>
                    <a:pt x="102441" y="1113544"/>
                  </a:lnTo>
                  <a:cubicBezTo>
                    <a:pt x="93331" y="1118816"/>
                    <a:pt x="81644" y="1115258"/>
                    <a:pt x="76996" y="1105824"/>
                  </a:cubicBezTo>
                  <a:cubicBezTo>
                    <a:pt x="33766" y="1018063"/>
                    <a:pt x="6816" y="920849"/>
                    <a:pt x="41" y="818081"/>
                  </a:cubicBezTo>
                  <a:cubicBezTo>
                    <a:pt x="-656" y="807556"/>
                    <a:pt x="7682" y="798631"/>
                    <a:pt x="18202" y="798631"/>
                  </a:cubicBezTo>
                  <a:close/>
                  <a:moveTo>
                    <a:pt x="733022" y="440947"/>
                  </a:moveTo>
                  <a:lnTo>
                    <a:pt x="733022" y="627192"/>
                  </a:lnTo>
                  <a:lnTo>
                    <a:pt x="694597" y="638681"/>
                  </a:lnTo>
                  <a:cubicBezTo>
                    <a:pt x="652977" y="659505"/>
                    <a:pt x="623092" y="700871"/>
                    <a:pt x="618391" y="748942"/>
                  </a:cubicBezTo>
                  <a:cubicBezTo>
                    <a:pt x="612336" y="810922"/>
                    <a:pt x="647367" y="865710"/>
                    <a:pt x="699416" y="889231"/>
                  </a:cubicBezTo>
                  <a:lnTo>
                    <a:pt x="733022" y="896448"/>
                  </a:lnTo>
                  <a:lnTo>
                    <a:pt x="733022" y="1083871"/>
                  </a:lnTo>
                  <a:lnTo>
                    <a:pt x="691051" y="1079617"/>
                  </a:lnTo>
                  <a:cubicBezTo>
                    <a:pt x="543639" y="1049300"/>
                    <a:pt x="432521" y="918253"/>
                    <a:pt x="433014" y="761820"/>
                  </a:cubicBezTo>
                  <a:cubicBezTo>
                    <a:pt x="433475" y="612208"/>
                    <a:pt x="537754" y="484162"/>
                    <a:pt x="678170" y="449027"/>
                  </a:cubicBezTo>
                  <a:close/>
                  <a:moveTo>
                    <a:pt x="88045" y="418365"/>
                  </a:moveTo>
                  <a:cubicBezTo>
                    <a:pt x="92687" y="416955"/>
                    <a:pt x="97886" y="417384"/>
                    <a:pt x="102441" y="420020"/>
                  </a:cubicBezTo>
                  <a:lnTo>
                    <a:pt x="372960" y="576281"/>
                  </a:lnTo>
                  <a:cubicBezTo>
                    <a:pt x="350187" y="624934"/>
                    <a:pt x="336185" y="678503"/>
                    <a:pt x="332873" y="734971"/>
                  </a:cubicBezTo>
                  <a:lnTo>
                    <a:pt x="18202" y="734971"/>
                  </a:lnTo>
                  <a:cubicBezTo>
                    <a:pt x="7682" y="734971"/>
                    <a:pt x="-656" y="726045"/>
                    <a:pt x="41" y="715520"/>
                  </a:cubicBezTo>
                  <a:cubicBezTo>
                    <a:pt x="6816" y="612752"/>
                    <a:pt x="33766" y="515501"/>
                    <a:pt x="76996" y="427739"/>
                  </a:cubicBezTo>
                  <a:cubicBezTo>
                    <a:pt x="79320" y="423023"/>
                    <a:pt x="83404" y="419775"/>
                    <a:pt x="88045" y="418365"/>
                  </a:cubicBezTo>
                  <a:close/>
                  <a:moveTo>
                    <a:pt x="353092" y="125773"/>
                  </a:moveTo>
                  <a:cubicBezTo>
                    <a:pt x="357823" y="126868"/>
                    <a:pt x="362119" y="129838"/>
                    <a:pt x="364754" y="134404"/>
                  </a:cubicBezTo>
                  <a:lnTo>
                    <a:pt x="519455" y="402471"/>
                  </a:lnTo>
                  <a:cubicBezTo>
                    <a:pt x="473873" y="434122"/>
                    <a:pt x="434652" y="474359"/>
                    <a:pt x="404069" y="520735"/>
                  </a:cubicBezTo>
                  <a:lnTo>
                    <a:pt x="134359" y="364945"/>
                  </a:lnTo>
                  <a:cubicBezTo>
                    <a:pt x="125231" y="359673"/>
                    <a:pt x="122484" y="347754"/>
                    <a:pt x="128356" y="338999"/>
                  </a:cubicBezTo>
                  <a:cubicBezTo>
                    <a:pt x="184138" y="255869"/>
                    <a:pt x="255730" y="184244"/>
                    <a:pt x="338820" y="128398"/>
                  </a:cubicBezTo>
                  <a:cubicBezTo>
                    <a:pt x="343196" y="125460"/>
                    <a:pt x="348362" y="124679"/>
                    <a:pt x="353092" y="125773"/>
                  </a:cubicBezTo>
                  <a:close/>
                  <a:moveTo>
                    <a:pt x="715183" y="41"/>
                  </a:moveTo>
                  <a:lnTo>
                    <a:pt x="715202" y="41"/>
                  </a:lnTo>
                  <a:cubicBezTo>
                    <a:pt x="720453" y="-308"/>
                    <a:pt x="725313" y="1599"/>
                    <a:pt x="728860" y="4910"/>
                  </a:cubicBezTo>
                  <a:lnTo>
                    <a:pt x="733022" y="14482"/>
                  </a:lnTo>
                  <a:lnTo>
                    <a:pt x="733022" y="325990"/>
                  </a:lnTo>
                  <a:lnTo>
                    <a:pt x="651303" y="340329"/>
                  </a:lnTo>
                  <a:cubicBezTo>
                    <a:pt x="624470" y="347792"/>
                    <a:pt x="598678" y="357762"/>
                    <a:pt x="574202" y="369991"/>
                  </a:cubicBezTo>
                  <a:lnTo>
                    <a:pt x="419821" y="102489"/>
                  </a:lnTo>
                  <a:cubicBezTo>
                    <a:pt x="414552" y="93357"/>
                    <a:pt x="418090" y="81683"/>
                    <a:pt x="427538" y="77032"/>
                  </a:cubicBezTo>
                  <a:cubicBezTo>
                    <a:pt x="515258" y="33801"/>
                    <a:pt x="612463" y="6819"/>
                    <a:pt x="715183" y="41"/>
                  </a:cubicBezTo>
                  <a:close/>
                </a:path>
              </a:pathLst>
            </a:custGeom>
            <a:gradFill>
              <a:gsLst>
                <a:gs pos="6000">
                  <a:srgbClr val="FF9248">
                    <a:alpha val="34000"/>
                  </a:srgbClr>
                </a:gs>
                <a:gs pos="77000">
                  <a:schemeClr val="accent4">
                    <a:alpha val="29000"/>
                  </a:schemeClr>
                </a:gs>
              </a:gsLst>
              <a:lin ang="3343960" scaled="1"/>
            </a:gradFill>
            <a:ln w="5992" cap="flat">
              <a:noFill/>
              <a:prstDash val="solid"/>
              <a:miter/>
            </a:ln>
          </p:spPr>
          <p:txBody>
            <a:bodyPr wrap="square" rtlCol="0" anchor="ctr">
              <a:noAutofit/>
            </a:bodyPr>
            <a:lstStyle/>
            <a:p>
              <a:endParaRPr lang="en-US"/>
            </a:p>
          </p:txBody>
        </p:sp>
        <p:sp>
          <p:nvSpPr>
            <p:cNvPr id="7" name="Donut 6">
              <a:extLst>
                <a:ext uri="{FF2B5EF4-FFF2-40B4-BE49-F238E27FC236}">
                  <a16:creationId xmlns:a16="http://schemas.microsoft.com/office/drawing/2014/main" id="{82DDE61C-CB47-6C95-1D02-DBDCB18ADC26}"/>
                </a:ext>
              </a:extLst>
            </p:cNvPr>
            <p:cNvSpPr/>
            <p:nvPr/>
          </p:nvSpPr>
          <p:spPr bwMode="auto">
            <a:xfrm>
              <a:off x="11207931" y="1255577"/>
              <a:ext cx="385156" cy="385156"/>
            </a:xfrm>
            <a:prstGeom prst="donut">
              <a:avLst/>
            </a:prstGeom>
            <a:gradFill>
              <a:gsLst>
                <a:gs pos="6000">
                  <a:srgbClr val="FF9248">
                    <a:alpha val="34000"/>
                  </a:srgbClr>
                </a:gs>
                <a:gs pos="77000">
                  <a:schemeClr val="accent4">
                    <a:alpha val="29000"/>
                  </a:schemeClr>
                </a:gs>
              </a:gsLst>
              <a:lin ang="3343960" scaled="1"/>
            </a:gradFill>
            <a:ln w="5992" cap="flat">
              <a:noFill/>
              <a:prstDash val="solid"/>
              <a:miter/>
            </a:ln>
          </p:spPr>
          <p:txBody>
            <a:bodyPr wrap="square" rtlCol="0" anchor="ctr">
              <a:noAutofit/>
            </a:bodyPr>
            <a:lstStyle/>
            <a:p>
              <a:endParaRPr lang="en-US">
                <a:solidFill>
                  <a:schemeClr val="tx1"/>
                </a:solidFill>
              </a:endParaRPr>
            </a:p>
          </p:txBody>
        </p:sp>
      </p:gr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2359796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1_Three Column Bullet with Subtitles">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CA335B40-4663-EFBB-D7FF-A2005EB585A9}"/>
              </a:ext>
            </a:extLst>
          </p:cNvPr>
          <p:cNvGrpSpPr/>
          <p:nvPr userDrawn="1"/>
        </p:nvGrpSpPr>
        <p:grpSpPr>
          <a:xfrm>
            <a:off x="11207931" y="114223"/>
            <a:ext cx="984069" cy="1526510"/>
            <a:chOff x="11207931" y="114223"/>
            <a:chExt cx="984069" cy="1526510"/>
          </a:xfrm>
        </p:grpSpPr>
        <p:sp>
          <p:nvSpPr>
            <p:cNvPr id="4" name="Freeform 3">
              <a:extLst>
                <a:ext uri="{FF2B5EF4-FFF2-40B4-BE49-F238E27FC236}">
                  <a16:creationId xmlns:a16="http://schemas.microsoft.com/office/drawing/2014/main" id="{0010139C-AA38-D4D9-1934-285600DA1128}"/>
                </a:ext>
              </a:extLst>
            </p:cNvPr>
            <p:cNvSpPr/>
            <p:nvPr/>
          </p:nvSpPr>
          <p:spPr bwMode="auto">
            <a:xfrm>
              <a:off x="11683516" y="209494"/>
              <a:ext cx="508484" cy="1049410"/>
            </a:xfrm>
            <a:custGeom>
              <a:avLst/>
              <a:gdLst>
                <a:gd name="connsiteX0" fmla="*/ 508484 w 508484"/>
                <a:gd name="connsiteY0" fmla="*/ 0 h 1049410"/>
                <a:gd name="connsiteX1" fmla="*/ 508484 w 508484"/>
                <a:gd name="connsiteY1" fmla="*/ 1049410 h 1049410"/>
                <a:gd name="connsiteX2" fmla="*/ 420411 w 508484"/>
                <a:gd name="connsiteY2" fmla="*/ 1040532 h 1049410"/>
                <a:gd name="connsiteX3" fmla="*/ 0 w 508484"/>
                <a:gd name="connsiteY3" fmla="*/ 524705 h 1049410"/>
                <a:gd name="connsiteX4" fmla="*/ 420411 w 508484"/>
                <a:gd name="connsiteY4" fmla="*/ 8878 h 1049410"/>
                <a:gd name="connsiteX5" fmla="*/ 508484 w 508484"/>
                <a:gd name="connsiteY5" fmla="*/ 0 h 1049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8484" h="1049410">
                  <a:moveTo>
                    <a:pt x="508484" y="0"/>
                  </a:moveTo>
                  <a:lnTo>
                    <a:pt x="508484" y="1049410"/>
                  </a:lnTo>
                  <a:lnTo>
                    <a:pt x="420411" y="1040532"/>
                  </a:lnTo>
                  <a:cubicBezTo>
                    <a:pt x="180483" y="991436"/>
                    <a:pt x="0" y="779147"/>
                    <a:pt x="0" y="524705"/>
                  </a:cubicBezTo>
                  <a:cubicBezTo>
                    <a:pt x="0" y="270263"/>
                    <a:pt x="180483" y="57975"/>
                    <a:pt x="420411" y="8878"/>
                  </a:cubicBezTo>
                  <a:lnTo>
                    <a:pt x="508484" y="0"/>
                  </a:lnTo>
                  <a:close/>
                </a:path>
              </a:pathLst>
            </a:custGeom>
            <a:solidFill>
              <a:schemeClr val="accent5">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5" name="Freeform 4">
              <a:extLst>
                <a:ext uri="{FF2B5EF4-FFF2-40B4-BE49-F238E27FC236}">
                  <a16:creationId xmlns:a16="http://schemas.microsoft.com/office/drawing/2014/main" id="{4BA0644E-0050-4E34-83F3-D7859C917449}"/>
                </a:ext>
              </a:extLst>
            </p:cNvPr>
            <p:cNvSpPr/>
            <p:nvPr/>
          </p:nvSpPr>
          <p:spPr>
            <a:xfrm>
              <a:off x="11593087" y="114223"/>
              <a:ext cx="598913" cy="1253024"/>
            </a:xfrm>
            <a:custGeom>
              <a:avLst/>
              <a:gdLst>
                <a:gd name="connsiteX0" fmla="*/ 579415 w 733022"/>
                <a:gd name="connsiteY0" fmla="*/ 1154516 h 1533601"/>
                <a:gd name="connsiteX1" fmla="*/ 654140 w 733022"/>
                <a:gd name="connsiteY1" fmla="*/ 1182331 h 1533601"/>
                <a:gd name="connsiteX2" fmla="*/ 733022 w 733022"/>
                <a:gd name="connsiteY2" fmla="*/ 1195890 h 1533601"/>
                <a:gd name="connsiteX3" fmla="*/ 733022 w 733022"/>
                <a:gd name="connsiteY3" fmla="*/ 1519078 h 1533601"/>
                <a:gd name="connsiteX4" fmla="*/ 728849 w 733022"/>
                <a:gd name="connsiteY4" fmla="*/ 1528684 h 1533601"/>
                <a:gd name="connsiteX5" fmla="*/ 715183 w 733022"/>
                <a:gd name="connsiteY5" fmla="*/ 1533561 h 1533601"/>
                <a:gd name="connsiteX6" fmla="*/ 427500 w 733022"/>
                <a:gd name="connsiteY6" fmla="*/ 1456569 h 1533601"/>
                <a:gd name="connsiteX7" fmla="*/ 427481 w 733022"/>
                <a:gd name="connsiteY7" fmla="*/ 1456569 h 1533601"/>
                <a:gd name="connsiteX8" fmla="*/ 419765 w 733022"/>
                <a:gd name="connsiteY8" fmla="*/ 1431112 h 1533601"/>
                <a:gd name="connsiteX9" fmla="*/ 409753 w 733022"/>
                <a:gd name="connsiteY9" fmla="*/ 1009571 h 1533601"/>
                <a:gd name="connsiteX10" fmla="*/ 524291 w 733022"/>
                <a:gd name="connsiteY10" fmla="*/ 1122789 h 1533601"/>
                <a:gd name="connsiteX11" fmla="*/ 364754 w 733022"/>
                <a:gd name="connsiteY11" fmla="*/ 1399179 h 1533601"/>
                <a:gd name="connsiteX12" fmla="*/ 338820 w 733022"/>
                <a:gd name="connsiteY12" fmla="*/ 1405185 h 1533601"/>
                <a:gd name="connsiteX13" fmla="*/ 128318 w 733022"/>
                <a:gd name="connsiteY13" fmla="*/ 1194584 h 1533601"/>
                <a:gd name="connsiteX14" fmla="*/ 134321 w 733022"/>
                <a:gd name="connsiteY14" fmla="*/ 1168637 h 1533601"/>
                <a:gd name="connsiteX15" fmla="*/ 18202 w 733022"/>
                <a:gd name="connsiteY15" fmla="*/ 798631 h 1533601"/>
                <a:gd name="connsiteX16" fmla="*/ 333739 w 733022"/>
                <a:gd name="connsiteY16" fmla="*/ 798631 h 1533601"/>
                <a:gd name="connsiteX17" fmla="*/ 377363 w 733022"/>
                <a:gd name="connsiteY17" fmla="*/ 954723 h 1533601"/>
                <a:gd name="connsiteX18" fmla="*/ 102441 w 733022"/>
                <a:gd name="connsiteY18" fmla="*/ 1113544 h 1533601"/>
                <a:gd name="connsiteX19" fmla="*/ 76996 w 733022"/>
                <a:gd name="connsiteY19" fmla="*/ 1105824 h 1533601"/>
                <a:gd name="connsiteX20" fmla="*/ 41 w 733022"/>
                <a:gd name="connsiteY20" fmla="*/ 818081 h 1533601"/>
                <a:gd name="connsiteX21" fmla="*/ 18202 w 733022"/>
                <a:gd name="connsiteY21" fmla="*/ 798631 h 1533601"/>
                <a:gd name="connsiteX22" fmla="*/ 733022 w 733022"/>
                <a:gd name="connsiteY22" fmla="*/ 440947 h 1533601"/>
                <a:gd name="connsiteX23" fmla="*/ 733022 w 733022"/>
                <a:gd name="connsiteY23" fmla="*/ 627192 h 1533601"/>
                <a:gd name="connsiteX24" fmla="*/ 694597 w 733022"/>
                <a:gd name="connsiteY24" fmla="*/ 638681 h 1533601"/>
                <a:gd name="connsiteX25" fmla="*/ 618391 w 733022"/>
                <a:gd name="connsiteY25" fmla="*/ 748942 h 1533601"/>
                <a:gd name="connsiteX26" fmla="*/ 699416 w 733022"/>
                <a:gd name="connsiteY26" fmla="*/ 889231 h 1533601"/>
                <a:gd name="connsiteX27" fmla="*/ 733022 w 733022"/>
                <a:gd name="connsiteY27" fmla="*/ 896448 h 1533601"/>
                <a:gd name="connsiteX28" fmla="*/ 733022 w 733022"/>
                <a:gd name="connsiteY28" fmla="*/ 1083871 h 1533601"/>
                <a:gd name="connsiteX29" fmla="*/ 691051 w 733022"/>
                <a:gd name="connsiteY29" fmla="*/ 1079617 h 1533601"/>
                <a:gd name="connsiteX30" fmla="*/ 433014 w 733022"/>
                <a:gd name="connsiteY30" fmla="*/ 761820 h 1533601"/>
                <a:gd name="connsiteX31" fmla="*/ 678170 w 733022"/>
                <a:gd name="connsiteY31" fmla="*/ 449027 h 1533601"/>
                <a:gd name="connsiteX32" fmla="*/ 88045 w 733022"/>
                <a:gd name="connsiteY32" fmla="*/ 418365 h 1533601"/>
                <a:gd name="connsiteX33" fmla="*/ 102441 w 733022"/>
                <a:gd name="connsiteY33" fmla="*/ 420020 h 1533601"/>
                <a:gd name="connsiteX34" fmla="*/ 372960 w 733022"/>
                <a:gd name="connsiteY34" fmla="*/ 576281 h 1533601"/>
                <a:gd name="connsiteX35" fmla="*/ 332873 w 733022"/>
                <a:gd name="connsiteY35" fmla="*/ 734971 h 1533601"/>
                <a:gd name="connsiteX36" fmla="*/ 18202 w 733022"/>
                <a:gd name="connsiteY36" fmla="*/ 734971 h 1533601"/>
                <a:gd name="connsiteX37" fmla="*/ 41 w 733022"/>
                <a:gd name="connsiteY37" fmla="*/ 715520 h 1533601"/>
                <a:gd name="connsiteX38" fmla="*/ 76996 w 733022"/>
                <a:gd name="connsiteY38" fmla="*/ 427739 h 1533601"/>
                <a:gd name="connsiteX39" fmla="*/ 88045 w 733022"/>
                <a:gd name="connsiteY39" fmla="*/ 418365 h 1533601"/>
                <a:gd name="connsiteX40" fmla="*/ 353092 w 733022"/>
                <a:gd name="connsiteY40" fmla="*/ 125773 h 1533601"/>
                <a:gd name="connsiteX41" fmla="*/ 364754 w 733022"/>
                <a:gd name="connsiteY41" fmla="*/ 134404 h 1533601"/>
                <a:gd name="connsiteX42" fmla="*/ 519455 w 733022"/>
                <a:gd name="connsiteY42" fmla="*/ 402471 h 1533601"/>
                <a:gd name="connsiteX43" fmla="*/ 404069 w 733022"/>
                <a:gd name="connsiteY43" fmla="*/ 520735 h 1533601"/>
                <a:gd name="connsiteX44" fmla="*/ 134359 w 733022"/>
                <a:gd name="connsiteY44" fmla="*/ 364945 h 1533601"/>
                <a:gd name="connsiteX45" fmla="*/ 128356 w 733022"/>
                <a:gd name="connsiteY45" fmla="*/ 338999 h 1533601"/>
                <a:gd name="connsiteX46" fmla="*/ 338820 w 733022"/>
                <a:gd name="connsiteY46" fmla="*/ 128398 h 1533601"/>
                <a:gd name="connsiteX47" fmla="*/ 353092 w 733022"/>
                <a:gd name="connsiteY47" fmla="*/ 125773 h 1533601"/>
                <a:gd name="connsiteX48" fmla="*/ 715183 w 733022"/>
                <a:gd name="connsiteY48" fmla="*/ 41 h 1533601"/>
                <a:gd name="connsiteX49" fmla="*/ 715202 w 733022"/>
                <a:gd name="connsiteY49" fmla="*/ 41 h 1533601"/>
                <a:gd name="connsiteX50" fmla="*/ 728860 w 733022"/>
                <a:gd name="connsiteY50" fmla="*/ 4910 h 1533601"/>
                <a:gd name="connsiteX51" fmla="*/ 733022 w 733022"/>
                <a:gd name="connsiteY51" fmla="*/ 14482 h 1533601"/>
                <a:gd name="connsiteX52" fmla="*/ 733022 w 733022"/>
                <a:gd name="connsiteY52" fmla="*/ 325990 h 1533601"/>
                <a:gd name="connsiteX53" fmla="*/ 651303 w 733022"/>
                <a:gd name="connsiteY53" fmla="*/ 340329 h 1533601"/>
                <a:gd name="connsiteX54" fmla="*/ 574202 w 733022"/>
                <a:gd name="connsiteY54" fmla="*/ 369991 h 1533601"/>
                <a:gd name="connsiteX55" fmla="*/ 419821 w 733022"/>
                <a:gd name="connsiteY55" fmla="*/ 102489 h 1533601"/>
                <a:gd name="connsiteX56" fmla="*/ 427538 w 733022"/>
                <a:gd name="connsiteY56" fmla="*/ 77032 h 1533601"/>
                <a:gd name="connsiteX57" fmla="*/ 715183 w 733022"/>
                <a:gd name="connsiteY57" fmla="*/ 41 h 1533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733022" h="1533601">
                  <a:moveTo>
                    <a:pt x="579415" y="1154516"/>
                  </a:moveTo>
                  <a:cubicBezTo>
                    <a:pt x="603213" y="1165954"/>
                    <a:pt x="628197" y="1175308"/>
                    <a:pt x="654140" y="1182331"/>
                  </a:cubicBezTo>
                  <a:lnTo>
                    <a:pt x="733022" y="1195890"/>
                  </a:lnTo>
                  <a:lnTo>
                    <a:pt x="733022" y="1519078"/>
                  </a:lnTo>
                  <a:lnTo>
                    <a:pt x="728849" y="1528684"/>
                  </a:lnTo>
                  <a:cubicBezTo>
                    <a:pt x="725303" y="1531998"/>
                    <a:pt x="720443" y="1533909"/>
                    <a:pt x="715183" y="1533561"/>
                  </a:cubicBezTo>
                  <a:cubicBezTo>
                    <a:pt x="612463" y="1526782"/>
                    <a:pt x="515258" y="1499819"/>
                    <a:pt x="427500" y="1456569"/>
                  </a:cubicBezTo>
                  <a:lnTo>
                    <a:pt x="427481" y="1456569"/>
                  </a:lnTo>
                  <a:cubicBezTo>
                    <a:pt x="418052" y="1451918"/>
                    <a:pt x="414495" y="1440226"/>
                    <a:pt x="419765" y="1431112"/>
                  </a:cubicBezTo>
                  <a:close/>
                  <a:moveTo>
                    <a:pt x="409753" y="1009571"/>
                  </a:moveTo>
                  <a:cubicBezTo>
                    <a:pt x="440580" y="1054045"/>
                    <a:pt x="479424" y="1092456"/>
                    <a:pt x="524291" y="1122789"/>
                  </a:cubicBezTo>
                  <a:lnTo>
                    <a:pt x="364754" y="1399179"/>
                  </a:lnTo>
                  <a:cubicBezTo>
                    <a:pt x="359484" y="1408311"/>
                    <a:pt x="347571" y="1411060"/>
                    <a:pt x="338820" y="1405185"/>
                  </a:cubicBezTo>
                  <a:cubicBezTo>
                    <a:pt x="255730" y="1349376"/>
                    <a:pt x="184100" y="1277751"/>
                    <a:pt x="128318" y="1194584"/>
                  </a:cubicBezTo>
                  <a:cubicBezTo>
                    <a:pt x="122446" y="1185828"/>
                    <a:pt x="125194" y="1173910"/>
                    <a:pt x="134321" y="1168637"/>
                  </a:cubicBezTo>
                  <a:close/>
                  <a:moveTo>
                    <a:pt x="18202" y="798631"/>
                  </a:moveTo>
                  <a:lnTo>
                    <a:pt x="333739" y="798631"/>
                  </a:lnTo>
                  <a:cubicBezTo>
                    <a:pt x="338462" y="854289"/>
                    <a:pt x="353650" y="906991"/>
                    <a:pt x="377363" y="954723"/>
                  </a:cubicBezTo>
                  <a:lnTo>
                    <a:pt x="102441" y="1113544"/>
                  </a:lnTo>
                  <a:cubicBezTo>
                    <a:pt x="93331" y="1118816"/>
                    <a:pt x="81644" y="1115258"/>
                    <a:pt x="76996" y="1105824"/>
                  </a:cubicBezTo>
                  <a:cubicBezTo>
                    <a:pt x="33766" y="1018063"/>
                    <a:pt x="6816" y="920849"/>
                    <a:pt x="41" y="818081"/>
                  </a:cubicBezTo>
                  <a:cubicBezTo>
                    <a:pt x="-656" y="807556"/>
                    <a:pt x="7682" y="798631"/>
                    <a:pt x="18202" y="798631"/>
                  </a:cubicBezTo>
                  <a:close/>
                  <a:moveTo>
                    <a:pt x="733022" y="440947"/>
                  </a:moveTo>
                  <a:lnTo>
                    <a:pt x="733022" y="627192"/>
                  </a:lnTo>
                  <a:lnTo>
                    <a:pt x="694597" y="638681"/>
                  </a:lnTo>
                  <a:cubicBezTo>
                    <a:pt x="652977" y="659505"/>
                    <a:pt x="623092" y="700871"/>
                    <a:pt x="618391" y="748942"/>
                  </a:cubicBezTo>
                  <a:cubicBezTo>
                    <a:pt x="612336" y="810922"/>
                    <a:pt x="647367" y="865710"/>
                    <a:pt x="699416" y="889231"/>
                  </a:cubicBezTo>
                  <a:lnTo>
                    <a:pt x="733022" y="896448"/>
                  </a:lnTo>
                  <a:lnTo>
                    <a:pt x="733022" y="1083871"/>
                  </a:lnTo>
                  <a:lnTo>
                    <a:pt x="691051" y="1079617"/>
                  </a:lnTo>
                  <a:cubicBezTo>
                    <a:pt x="543639" y="1049300"/>
                    <a:pt x="432521" y="918253"/>
                    <a:pt x="433014" y="761820"/>
                  </a:cubicBezTo>
                  <a:cubicBezTo>
                    <a:pt x="433475" y="612208"/>
                    <a:pt x="537754" y="484162"/>
                    <a:pt x="678170" y="449027"/>
                  </a:cubicBezTo>
                  <a:close/>
                  <a:moveTo>
                    <a:pt x="88045" y="418365"/>
                  </a:moveTo>
                  <a:cubicBezTo>
                    <a:pt x="92687" y="416955"/>
                    <a:pt x="97886" y="417384"/>
                    <a:pt x="102441" y="420020"/>
                  </a:cubicBezTo>
                  <a:lnTo>
                    <a:pt x="372960" y="576281"/>
                  </a:lnTo>
                  <a:cubicBezTo>
                    <a:pt x="350187" y="624934"/>
                    <a:pt x="336185" y="678503"/>
                    <a:pt x="332873" y="734971"/>
                  </a:cubicBezTo>
                  <a:lnTo>
                    <a:pt x="18202" y="734971"/>
                  </a:lnTo>
                  <a:cubicBezTo>
                    <a:pt x="7682" y="734971"/>
                    <a:pt x="-656" y="726045"/>
                    <a:pt x="41" y="715520"/>
                  </a:cubicBezTo>
                  <a:cubicBezTo>
                    <a:pt x="6816" y="612752"/>
                    <a:pt x="33766" y="515501"/>
                    <a:pt x="76996" y="427739"/>
                  </a:cubicBezTo>
                  <a:cubicBezTo>
                    <a:pt x="79320" y="423023"/>
                    <a:pt x="83404" y="419775"/>
                    <a:pt x="88045" y="418365"/>
                  </a:cubicBezTo>
                  <a:close/>
                  <a:moveTo>
                    <a:pt x="353092" y="125773"/>
                  </a:moveTo>
                  <a:cubicBezTo>
                    <a:pt x="357823" y="126868"/>
                    <a:pt x="362119" y="129838"/>
                    <a:pt x="364754" y="134404"/>
                  </a:cubicBezTo>
                  <a:lnTo>
                    <a:pt x="519455" y="402471"/>
                  </a:lnTo>
                  <a:cubicBezTo>
                    <a:pt x="473873" y="434122"/>
                    <a:pt x="434652" y="474359"/>
                    <a:pt x="404069" y="520735"/>
                  </a:cubicBezTo>
                  <a:lnTo>
                    <a:pt x="134359" y="364945"/>
                  </a:lnTo>
                  <a:cubicBezTo>
                    <a:pt x="125231" y="359673"/>
                    <a:pt x="122484" y="347754"/>
                    <a:pt x="128356" y="338999"/>
                  </a:cubicBezTo>
                  <a:cubicBezTo>
                    <a:pt x="184138" y="255869"/>
                    <a:pt x="255730" y="184244"/>
                    <a:pt x="338820" y="128398"/>
                  </a:cubicBezTo>
                  <a:cubicBezTo>
                    <a:pt x="343196" y="125460"/>
                    <a:pt x="348362" y="124679"/>
                    <a:pt x="353092" y="125773"/>
                  </a:cubicBezTo>
                  <a:close/>
                  <a:moveTo>
                    <a:pt x="715183" y="41"/>
                  </a:moveTo>
                  <a:lnTo>
                    <a:pt x="715202" y="41"/>
                  </a:lnTo>
                  <a:cubicBezTo>
                    <a:pt x="720453" y="-308"/>
                    <a:pt x="725313" y="1599"/>
                    <a:pt x="728860" y="4910"/>
                  </a:cubicBezTo>
                  <a:lnTo>
                    <a:pt x="733022" y="14482"/>
                  </a:lnTo>
                  <a:lnTo>
                    <a:pt x="733022" y="325990"/>
                  </a:lnTo>
                  <a:lnTo>
                    <a:pt x="651303" y="340329"/>
                  </a:lnTo>
                  <a:cubicBezTo>
                    <a:pt x="624470" y="347792"/>
                    <a:pt x="598678" y="357762"/>
                    <a:pt x="574202" y="369991"/>
                  </a:cubicBezTo>
                  <a:lnTo>
                    <a:pt x="419821" y="102489"/>
                  </a:lnTo>
                  <a:cubicBezTo>
                    <a:pt x="414552" y="93357"/>
                    <a:pt x="418090" y="81683"/>
                    <a:pt x="427538" y="77032"/>
                  </a:cubicBezTo>
                  <a:cubicBezTo>
                    <a:pt x="515258" y="33801"/>
                    <a:pt x="612463" y="6819"/>
                    <a:pt x="715183" y="41"/>
                  </a:cubicBezTo>
                  <a:close/>
                </a:path>
              </a:pathLst>
            </a:custGeom>
            <a:gradFill>
              <a:gsLst>
                <a:gs pos="6000">
                  <a:srgbClr val="FF9248">
                    <a:alpha val="34000"/>
                  </a:srgbClr>
                </a:gs>
                <a:gs pos="77000">
                  <a:schemeClr val="accent4">
                    <a:alpha val="29000"/>
                  </a:schemeClr>
                </a:gs>
              </a:gsLst>
              <a:lin ang="3343960" scaled="1"/>
            </a:gradFill>
            <a:ln w="5992" cap="flat">
              <a:noFill/>
              <a:prstDash val="solid"/>
              <a:miter/>
            </a:ln>
          </p:spPr>
          <p:txBody>
            <a:bodyPr wrap="square" rtlCol="0" anchor="ctr">
              <a:noAutofit/>
            </a:bodyPr>
            <a:lstStyle/>
            <a:p>
              <a:endParaRPr lang="en-US"/>
            </a:p>
          </p:txBody>
        </p:sp>
        <p:sp>
          <p:nvSpPr>
            <p:cNvPr id="6" name="Donut 5">
              <a:extLst>
                <a:ext uri="{FF2B5EF4-FFF2-40B4-BE49-F238E27FC236}">
                  <a16:creationId xmlns:a16="http://schemas.microsoft.com/office/drawing/2014/main" id="{F9B25F74-D488-3925-A81C-2079010E937A}"/>
                </a:ext>
              </a:extLst>
            </p:cNvPr>
            <p:cNvSpPr/>
            <p:nvPr/>
          </p:nvSpPr>
          <p:spPr bwMode="auto">
            <a:xfrm>
              <a:off x="11207931" y="1255577"/>
              <a:ext cx="385156" cy="385156"/>
            </a:xfrm>
            <a:prstGeom prst="donut">
              <a:avLst/>
            </a:prstGeom>
            <a:gradFill>
              <a:gsLst>
                <a:gs pos="6000">
                  <a:srgbClr val="FF9248">
                    <a:alpha val="34000"/>
                  </a:srgbClr>
                </a:gs>
                <a:gs pos="77000">
                  <a:schemeClr val="accent4">
                    <a:alpha val="29000"/>
                  </a:schemeClr>
                </a:gs>
              </a:gsLst>
              <a:lin ang="3343960" scaled="1"/>
            </a:gradFill>
            <a:ln w="5992" cap="flat">
              <a:noFill/>
              <a:prstDash val="solid"/>
              <a:miter/>
            </a:ln>
          </p:spPr>
          <p:txBody>
            <a:bodyPr wrap="square" rtlCol="0" anchor="ctr">
              <a:noAutofit/>
            </a:bodyPr>
            <a:lstStyle/>
            <a:p>
              <a:endParaRPr lang="en-US">
                <a:solidFill>
                  <a:schemeClr val="tx1"/>
                </a:solidFill>
              </a:endParaRPr>
            </a:p>
          </p:txBody>
        </p:sp>
      </p:grpSp>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18939618"/>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1_Four Column Bullet with Subtitles">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B4DEA25-6407-9964-DC65-D693175C0E35}"/>
              </a:ext>
            </a:extLst>
          </p:cNvPr>
          <p:cNvGrpSpPr/>
          <p:nvPr userDrawn="1"/>
        </p:nvGrpSpPr>
        <p:grpSpPr>
          <a:xfrm>
            <a:off x="11207931" y="114223"/>
            <a:ext cx="984069" cy="1526510"/>
            <a:chOff x="11207931" y="114223"/>
            <a:chExt cx="984069" cy="1526510"/>
          </a:xfrm>
        </p:grpSpPr>
        <p:sp>
          <p:nvSpPr>
            <p:cNvPr id="4" name="Freeform 3">
              <a:extLst>
                <a:ext uri="{FF2B5EF4-FFF2-40B4-BE49-F238E27FC236}">
                  <a16:creationId xmlns:a16="http://schemas.microsoft.com/office/drawing/2014/main" id="{44574031-667D-5762-F008-0C6E5B741A66}"/>
                </a:ext>
              </a:extLst>
            </p:cNvPr>
            <p:cNvSpPr/>
            <p:nvPr/>
          </p:nvSpPr>
          <p:spPr bwMode="auto">
            <a:xfrm>
              <a:off x="11683516" y="209494"/>
              <a:ext cx="508484" cy="1049410"/>
            </a:xfrm>
            <a:custGeom>
              <a:avLst/>
              <a:gdLst>
                <a:gd name="connsiteX0" fmla="*/ 508484 w 508484"/>
                <a:gd name="connsiteY0" fmla="*/ 0 h 1049410"/>
                <a:gd name="connsiteX1" fmla="*/ 508484 w 508484"/>
                <a:gd name="connsiteY1" fmla="*/ 1049410 h 1049410"/>
                <a:gd name="connsiteX2" fmla="*/ 420411 w 508484"/>
                <a:gd name="connsiteY2" fmla="*/ 1040532 h 1049410"/>
                <a:gd name="connsiteX3" fmla="*/ 0 w 508484"/>
                <a:gd name="connsiteY3" fmla="*/ 524705 h 1049410"/>
                <a:gd name="connsiteX4" fmla="*/ 420411 w 508484"/>
                <a:gd name="connsiteY4" fmla="*/ 8878 h 1049410"/>
                <a:gd name="connsiteX5" fmla="*/ 508484 w 508484"/>
                <a:gd name="connsiteY5" fmla="*/ 0 h 1049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8484" h="1049410">
                  <a:moveTo>
                    <a:pt x="508484" y="0"/>
                  </a:moveTo>
                  <a:lnTo>
                    <a:pt x="508484" y="1049410"/>
                  </a:lnTo>
                  <a:lnTo>
                    <a:pt x="420411" y="1040532"/>
                  </a:lnTo>
                  <a:cubicBezTo>
                    <a:pt x="180483" y="991436"/>
                    <a:pt x="0" y="779147"/>
                    <a:pt x="0" y="524705"/>
                  </a:cubicBezTo>
                  <a:cubicBezTo>
                    <a:pt x="0" y="270263"/>
                    <a:pt x="180483" y="57975"/>
                    <a:pt x="420411" y="8878"/>
                  </a:cubicBezTo>
                  <a:lnTo>
                    <a:pt x="508484" y="0"/>
                  </a:lnTo>
                  <a:close/>
                </a:path>
              </a:pathLst>
            </a:custGeom>
            <a:solidFill>
              <a:schemeClr val="accent5">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5" name="Freeform 4">
              <a:extLst>
                <a:ext uri="{FF2B5EF4-FFF2-40B4-BE49-F238E27FC236}">
                  <a16:creationId xmlns:a16="http://schemas.microsoft.com/office/drawing/2014/main" id="{E1489DB5-E2B1-9CFA-4EA9-B71DA0E91D36}"/>
                </a:ext>
              </a:extLst>
            </p:cNvPr>
            <p:cNvSpPr/>
            <p:nvPr/>
          </p:nvSpPr>
          <p:spPr>
            <a:xfrm>
              <a:off x="11593087" y="114223"/>
              <a:ext cx="598913" cy="1253024"/>
            </a:xfrm>
            <a:custGeom>
              <a:avLst/>
              <a:gdLst>
                <a:gd name="connsiteX0" fmla="*/ 579415 w 733022"/>
                <a:gd name="connsiteY0" fmla="*/ 1154516 h 1533601"/>
                <a:gd name="connsiteX1" fmla="*/ 654140 w 733022"/>
                <a:gd name="connsiteY1" fmla="*/ 1182331 h 1533601"/>
                <a:gd name="connsiteX2" fmla="*/ 733022 w 733022"/>
                <a:gd name="connsiteY2" fmla="*/ 1195890 h 1533601"/>
                <a:gd name="connsiteX3" fmla="*/ 733022 w 733022"/>
                <a:gd name="connsiteY3" fmla="*/ 1519078 h 1533601"/>
                <a:gd name="connsiteX4" fmla="*/ 728849 w 733022"/>
                <a:gd name="connsiteY4" fmla="*/ 1528684 h 1533601"/>
                <a:gd name="connsiteX5" fmla="*/ 715183 w 733022"/>
                <a:gd name="connsiteY5" fmla="*/ 1533561 h 1533601"/>
                <a:gd name="connsiteX6" fmla="*/ 427500 w 733022"/>
                <a:gd name="connsiteY6" fmla="*/ 1456569 h 1533601"/>
                <a:gd name="connsiteX7" fmla="*/ 427481 w 733022"/>
                <a:gd name="connsiteY7" fmla="*/ 1456569 h 1533601"/>
                <a:gd name="connsiteX8" fmla="*/ 419765 w 733022"/>
                <a:gd name="connsiteY8" fmla="*/ 1431112 h 1533601"/>
                <a:gd name="connsiteX9" fmla="*/ 409753 w 733022"/>
                <a:gd name="connsiteY9" fmla="*/ 1009571 h 1533601"/>
                <a:gd name="connsiteX10" fmla="*/ 524291 w 733022"/>
                <a:gd name="connsiteY10" fmla="*/ 1122789 h 1533601"/>
                <a:gd name="connsiteX11" fmla="*/ 364754 w 733022"/>
                <a:gd name="connsiteY11" fmla="*/ 1399179 h 1533601"/>
                <a:gd name="connsiteX12" fmla="*/ 338820 w 733022"/>
                <a:gd name="connsiteY12" fmla="*/ 1405185 h 1533601"/>
                <a:gd name="connsiteX13" fmla="*/ 128318 w 733022"/>
                <a:gd name="connsiteY13" fmla="*/ 1194584 h 1533601"/>
                <a:gd name="connsiteX14" fmla="*/ 134321 w 733022"/>
                <a:gd name="connsiteY14" fmla="*/ 1168637 h 1533601"/>
                <a:gd name="connsiteX15" fmla="*/ 18202 w 733022"/>
                <a:gd name="connsiteY15" fmla="*/ 798631 h 1533601"/>
                <a:gd name="connsiteX16" fmla="*/ 333739 w 733022"/>
                <a:gd name="connsiteY16" fmla="*/ 798631 h 1533601"/>
                <a:gd name="connsiteX17" fmla="*/ 377363 w 733022"/>
                <a:gd name="connsiteY17" fmla="*/ 954723 h 1533601"/>
                <a:gd name="connsiteX18" fmla="*/ 102441 w 733022"/>
                <a:gd name="connsiteY18" fmla="*/ 1113544 h 1533601"/>
                <a:gd name="connsiteX19" fmla="*/ 76996 w 733022"/>
                <a:gd name="connsiteY19" fmla="*/ 1105824 h 1533601"/>
                <a:gd name="connsiteX20" fmla="*/ 41 w 733022"/>
                <a:gd name="connsiteY20" fmla="*/ 818081 h 1533601"/>
                <a:gd name="connsiteX21" fmla="*/ 18202 w 733022"/>
                <a:gd name="connsiteY21" fmla="*/ 798631 h 1533601"/>
                <a:gd name="connsiteX22" fmla="*/ 733022 w 733022"/>
                <a:gd name="connsiteY22" fmla="*/ 440947 h 1533601"/>
                <a:gd name="connsiteX23" fmla="*/ 733022 w 733022"/>
                <a:gd name="connsiteY23" fmla="*/ 627192 h 1533601"/>
                <a:gd name="connsiteX24" fmla="*/ 694597 w 733022"/>
                <a:gd name="connsiteY24" fmla="*/ 638681 h 1533601"/>
                <a:gd name="connsiteX25" fmla="*/ 618391 w 733022"/>
                <a:gd name="connsiteY25" fmla="*/ 748942 h 1533601"/>
                <a:gd name="connsiteX26" fmla="*/ 699416 w 733022"/>
                <a:gd name="connsiteY26" fmla="*/ 889231 h 1533601"/>
                <a:gd name="connsiteX27" fmla="*/ 733022 w 733022"/>
                <a:gd name="connsiteY27" fmla="*/ 896448 h 1533601"/>
                <a:gd name="connsiteX28" fmla="*/ 733022 w 733022"/>
                <a:gd name="connsiteY28" fmla="*/ 1083871 h 1533601"/>
                <a:gd name="connsiteX29" fmla="*/ 691051 w 733022"/>
                <a:gd name="connsiteY29" fmla="*/ 1079617 h 1533601"/>
                <a:gd name="connsiteX30" fmla="*/ 433014 w 733022"/>
                <a:gd name="connsiteY30" fmla="*/ 761820 h 1533601"/>
                <a:gd name="connsiteX31" fmla="*/ 678170 w 733022"/>
                <a:gd name="connsiteY31" fmla="*/ 449027 h 1533601"/>
                <a:gd name="connsiteX32" fmla="*/ 88045 w 733022"/>
                <a:gd name="connsiteY32" fmla="*/ 418365 h 1533601"/>
                <a:gd name="connsiteX33" fmla="*/ 102441 w 733022"/>
                <a:gd name="connsiteY33" fmla="*/ 420020 h 1533601"/>
                <a:gd name="connsiteX34" fmla="*/ 372960 w 733022"/>
                <a:gd name="connsiteY34" fmla="*/ 576281 h 1533601"/>
                <a:gd name="connsiteX35" fmla="*/ 332873 w 733022"/>
                <a:gd name="connsiteY35" fmla="*/ 734971 h 1533601"/>
                <a:gd name="connsiteX36" fmla="*/ 18202 w 733022"/>
                <a:gd name="connsiteY36" fmla="*/ 734971 h 1533601"/>
                <a:gd name="connsiteX37" fmla="*/ 41 w 733022"/>
                <a:gd name="connsiteY37" fmla="*/ 715520 h 1533601"/>
                <a:gd name="connsiteX38" fmla="*/ 76996 w 733022"/>
                <a:gd name="connsiteY38" fmla="*/ 427739 h 1533601"/>
                <a:gd name="connsiteX39" fmla="*/ 88045 w 733022"/>
                <a:gd name="connsiteY39" fmla="*/ 418365 h 1533601"/>
                <a:gd name="connsiteX40" fmla="*/ 353092 w 733022"/>
                <a:gd name="connsiteY40" fmla="*/ 125773 h 1533601"/>
                <a:gd name="connsiteX41" fmla="*/ 364754 w 733022"/>
                <a:gd name="connsiteY41" fmla="*/ 134404 h 1533601"/>
                <a:gd name="connsiteX42" fmla="*/ 519455 w 733022"/>
                <a:gd name="connsiteY42" fmla="*/ 402471 h 1533601"/>
                <a:gd name="connsiteX43" fmla="*/ 404069 w 733022"/>
                <a:gd name="connsiteY43" fmla="*/ 520735 h 1533601"/>
                <a:gd name="connsiteX44" fmla="*/ 134359 w 733022"/>
                <a:gd name="connsiteY44" fmla="*/ 364945 h 1533601"/>
                <a:gd name="connsiteX45" fmla="*/ 128356 w 733022"/>
                <a:gd name="connsiteY45" fmla="*/ 338999 h 1533601"/>
                <a:gd name="connsiteX46" fmla="*/ 338820 w 733022"/>
                <a:gd name="connsiteY46" fmla="*/ 128398 h 1533601"/>
                <a:gd name="connsiteX47" fmla="*/ 353092 w 733022"/>
                <a:gd name="connsiteY47" fmla="*/ 125773 h 1533601"/>
                <a:gd name="connsiteX48" fmla="*/ 715183 w 733022"/>
                <a:gd name="connsiteY48" fmla="*/ 41 h 1533601"/>
                <a:gd name="connsiteX49" fmla="*/ 715202 w 733022"/>
                <a:gd name="connsiteY49" fmla="*/ 41 h 1533601"/>
                <a:gd name="connsiteX50" fmla="*/ 728860 w 733022"/>
                <a:gd name="connsiteY50" fmla="*/ 4910 h 1533601"/>
                <a:gd name="connsiteX51" fmla="*/ 733022 w 733022"/>
                <a:gd name="connsiteY51" fmla="*/ 14482 h 1533601"/>
                <a:gd name="connsiteX52" fmla="*/ 733022 w 733022"/>
                <a:gd name="connsiteY52" fmla="*/ 325990 h 1533601"/>
                <a:gd name="connsiteX53" fmla="*/ 651303 w 733022"/>
                <a:gd name="connsiteY53" fmla="*/ 340329 h 1533601"/>
                <a:gd name="connsiteX54" fmla="*/ 574202 w 733022"/>
                <a:gd name="connsiteY54" fmla="*/ 369991 h 1533601"/>
                <a:gd name="connsiteX55" fmla="*/ 419821 w 733022"/>
                <a:gd name="connsiteY55" fmla="*/ 102489 h 1533601"/>
                <a:gd name="connsiteX56" fmla="*/ 427538 w 733022"/>
                <a:gd name="connsiteY56" fmla="*/ 77032 h 1533601"/>
                <a:gd name="connsiteX57" fmla="*/ 715183 w 733022"/>
                <a:gd name="connsiteY57" fmla="*/ 41 h 1533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733022" h="1533601">
                  <a:moveTo>
                    <a:pt x="579415" y="1154516"/>
                  </a:moveTo>
                  <a:cubicBezTo>
                    <a:pt x="603213" y="1165954"/>
                    <a:pt x="628197" y="1175308"/>
                    <a:pt x="654140" y="1182331"/>
                  </a:cubicBezTo>
                  <a:lnTo>
                    <a:pt x="733022" y="1195890"/>
                  </a:lnTo>
                  <a:lnTo>
                    <a:pt x="733022" y="1519078"/>
                  </a:lnTo>
                  <a:lnTo>
                    <a:pt x="728849" y="1528684"/>
                  </a:lnTo>
                  <a:cubicBezTo>
                    <a:pt x="725303" y="1531998"/>
                    <a:pt x="720443" y="1533909"/>
                    <a:pt x="715183" y="1533561"/>
                  </a:cubicBezTo>
                  <a:cubicBezTo>
                    <a:pt x="612463" y="1526782"/>
                    <a:pt x="515258" y="1499819"/>
                    <a:pt x="427500" y="1456569"/>
                  </a:cubicBezTo>
                  <a:lnTo>
                    <a:pt x="427481" y="1456569"/>
                  </a:lnTo>
                  <a:cubicBezTo>
                    <a:pt x="418052" y="1451918"/>
                    <a:pt x="414495" y="1440226"/>
                    <a:pt x="419765" y="1431112"/>
                  </a:cubicBezTo>
                  <a:close/>
                  <a:moveTo>
                    <a:pt x="409753" y="1009571"/>
                  </a:moveTo>
                  <a:cubicBezTo>
                    <a:pt x="440580" y="1054045"/>
                    <a:pt x="479424" y="1092456"/>
                    <a:pt x="524291" y="1122789"/>
                  </a:cubicBezTo>
                  <a:lnTo>
                    <a:pt x="364754" y="1399179"/>
                  </a:lnTo>
                  <a:cubicBezTo>
                    <a:pt x="359484" y="1408311"/>
                    <a:pt x="347571" y="1411060"/>
                    <a:pt x="338820" y="1405185"/>
                  </a:cubicBezTo>
                  <a:cubicBezTo>
                    <a:pt x="255730" y="1349376"/>
                    <a:pt x="184100" y="1277751"/>
                    <a:pt x="128318" y="1194584"/>
                  </a:cubicBezTo>
                  <a:cubicBezTo>
                    <a:pt x="122446" y="1185828"/>
                    <a:pt x="125194" y="1173910"/>
                    <a:pt x="134321" y="1168637"/>
                  </a:cubicBezTo>
                  <a:close/>
                  <a:moveTo>
                    <a:pt x="18202" y="798631"/>
                  </a:moveTo>
                  <a:lnTo>
                    <a:pt x="333739" y="798631"/>
                  </a:lnTo>
                  <a:cubicBezTo>
                    <a:pt x="338462" y="854289"/>
                    <a:pt x="353650" y="906991"/>
                    <a:pt x="377363" y="954723"/>
                  </a:cubicBezTo>
                  <a:lnTo>
                    <a:pt x="102441" y="1113544"/>
                  </a:lnTo>
                  <a:cubicBezTo>
                    <a:pt x="93331" y="1118816"/>
                    <a:pt x="81644" y="1115258"/>
                    <a:pt x="76996" y="1105824"/>
                  </a:cubicBezTo>
                  <a:cubicBezTo>
                    <a:pt x="33766" y="1018063"/>
                    <a:pt x="6816" y="920849"/>
                    <a:pt x="41" y="818081"/>
                  </a:cubicBezTo>
                  <a:cubicBezTo>
                    <a:pt x="-656" y="807556"/>
                    <a:pt x="7682" y="798631"/>
                    <a:pt x="18202" y="798631"/>
                  </a:cubicBezTo>
                  <a:close/>
                  <a:moveTo>
                    <a:pt x="733022" y="440947"/>
                  </a:moveTo>
                  <a:lnTo>
                    <a:pt x="733022" y="627192"/>
                  </a:lnTo>
                  <a:lnTo>
                    <a:pt x="694597" y="638681"/>
                  </a:lnTo>
                  <a:cubicBezTo>
                    <a:pt x="652977" y="659505"/>
                    <a:pt x="623092" y="700871"/>
                    <a:pt x="618391" y="748942"/>
                  </a:cubicBezTo>
                  <a:cubicBezTo>
                    <a:pt x="612336" y="810922"/>
                    <a:pt x="647367" y="865710"/>
                    <a:pt x="699416" y="889231"/>
                  </a:cubicBezTo>
                  <a:lnTo>
                    <a:pt x="733022" y="896448"/>
                  </a:lnTo>
                  <a:lnTo>
                    <a:pt x="733022" y="1083871"/>
                  </a:lnTo>
                  <a:lnTo>
                    <a:pt x="691051" y="1079617"/>
                  </a:lnTo>
                  <a:cubicBezTo>
                    <a:pt x="543639" y="1049300"/>
                    <a:pt x="432521" y="918253"/>
                    <a:pt x="433014" y="761820"/>
                  </a:cubicBezTo>
                  <a:cubicBezTo>
                    <a:pt x="433475" y="612208"/>
                    <a:pt x="537754" y="484162"/>
                    <a:pt x="678170" y="449027"/>
                  </a:cubicBezTo>
                  <a:close/>
                  <a:moveTo>
                    <a:pt x="88045" y="418365"/>
                  </a:moveTo>
                  <a:cubicBezTo>
                    <a:pt x="92687" y="416955"/>
                    <a:pt x="97886" y="417384"/>
                    <a:pt x="102441" y="420020"/>
                  </a:cubicBezTo>
                  <a:lnTo>
                    <a:pt x="372960" y="576281"/>
                  </a:lnTo>
                  <a:cubicBezTo>
                    <a:pt x="350187" y="624934"/>
                    <a:pt x="336185" y="678503"/>
                    <a:pt x="332873" y="734971"/>
                  </a:cubicBezTo>
                  <a:lnTo>
                    <a:pt x="18202" y="734971"/>
                  </a:lnTo>
                  <a:cubicBezTo>
                    <a:pt x="7682" y="734971"/>
                    <a:pt x="-656" y="726045"/>
                    <a:pt x="41" y="715520"/>
                  </a:cubicBezTo>
                  <a:cubicBezTo>
                    <a:pt x="6816" y="612752"/>
                    <a:pt x="33766" y="515501"/>
                    <a:pt x="76996" y="427739"/>
                  </a:cubicBezTo>
                  <a:cubicBezTo>
                    <a:pt x="79320" y="423023"/>
                    <a:pt x="83404" y="419775"/>
                    <a:pt x="88045" y="418365"/>
                  </a:cubicBezTo>
                  <a:close/>
                  <a:moveTo>
                    <a:pt x="353092" y="125773"/>
                  </a:moveTo>
                  <a:cubicBezTo>
                    <a:pt x="357823" y="126868"/>
                    <a:pt x="362119" y="129838"/>
                    <a:pt x="364754" y="134404"/>
                  </a:cubicBezTo>
                  <a:lnTo>
                    <a:pt x="519455" y="402471"/>
                  </a:lnTo>
                  <a:cubicBezTo>
                    <a:pt x="473873" y="434122"/>
                    <a:pt x="434652" y="474359"/>
                    <a:pt x="404069" y="520735"/>
                  </a:cubicBezTo>
                  <a:lnTo>
                    <a:pt x="134359" y="364945"/>
                  </a:lnTo>
                  <a:cubicBezTo>
                    <a:pt x="125231" y="359673"/>
                    <a:pt x="122484" y="347754"/>
                    <a:pt x="128356" y="338999"/>
                  </a:cubicBezTo>
                  <a:cubicBezTo>
                    <a:pt x="184138" y="255869"/>
                    <a:pt x="255730" y="184244"/>
                    <a:pt x="338820" y="128398"/>
                  </a:cubicBezTo>
                  <a:cubicBezTo>
                    <a:pt x="343196" y="125460"/>
                    <a:pt x="348362" y="124679"/>
                    <a:pt x="353092" y="125773"/>
                  </a:cubicBezTo>
                  <a:close/>
                  <a:moveTo>
                    <a:pt x="715183" y="41"/>
                  </a:moveTo>
                  <a:lnTo>
                    <a:pt x="715202" y="41"/>
                  </a:lnTo>
                  <a:cubicBezTo>
                    <a:pt x="720453" y="-308"/>
                    <a:pt x="725313" y="1599"/>
                    <a:pt x="728860" y="4910"/>
                  </a:cubicBezTo>
                  <a:lnTo>
                    <a:pt x="733022" y="14482"/>
                  </a:lnTo>
                  <a:lnTo>
                    <a:pt x="733022" y="325990"/>
                  </a:lnTo>
                  <a:lnTo>
                    <a:pt x="651303" y="340329"/>
                  </a:lnTo>
                  <a:cubicBezTo>
                    <a:pt x="624470" y="347792"/>
                    <a:pt x="598678" y="357762"/>
                    <a:pt x="574202" y="369991"/>
                  </a:cubicBezTo>
                  <a:lnTo>
                    <a:pt x="419821" y="102489"/>
                  </a:lnTo>
                  <a:cubicBezTo>
                    <a:pt x="414552" y="93357"/>
                    <a:pt x="418090" y="81683"/>
                    <a:pt x="427538" y="77032"/>
                  </a:cubicBezTo>
                  <a:cubicBezTo>
                    <a:pt x="515258" y="33801"/>
                    <a:pt x="612463" y="6819"/>
                    <a:pt x="715183" y="41"/>
                  </a:cubicBezTo>
                  <a:close/>
                </a:path>
              </a:pathLst>
            </a:custGeom>
            <a:gradFill>
              <a:gsLst>
                <a:gs pos="6000">
                  <a:srgbClr val="FF9248">
                    <a:alpha val="34000"/>
                  </a:srgbClr>
                </a:gs>
                <a:gs pos="77000">
                  <a:schemeClr val="accent4">
                    <a:alpha val="29000"/>
                  </a:schemeClr>
                </a:gs>
              </a:gsLst>
              <a:lin ang="3343960" scaled="1"/>
            </a:gradFill>
            <a:ln w="5992" cap="flat">
              <a:noFill/>
              <a:prstDash val="solid"/>
              <a:miter/>
            </a:ln>
          </p:spPr>
          <p:txBody>
            <a:bodyPr wrap="square" rtlCol="0" anchor="ctr">
              <a:noAutofit/>
            </a:bodyPr>
            <a:lstStyle/>
            <a:p>
              <a:endParaRPr lang="en-US"/>
            </a:p>
          </p:txBody>
        </p:sp>
        <p:sp>
          <p:nvSpPr>
            <p:cNvPr id="6" name="Donut 5">
              <a:extLst>
                <a:ext uri="{FF2B5EF4-FFF2-40B4-BE49-F238E27FC236}">
                  <a16:creationId xmlns:a16="http://schemas.microsoft.com/office/drawing/2014/main" id="{643323DE-DDE7-789E-DEEC-38356D3C09F7}"/>
                </a:ext>
              </a:extLst>
            </p:cNvPr>
            <p:cNvSpPr/>
            <p:nvPr/>
          </p:nvSpPr>
          <p:spPr bwMode="auto">
            <a:xfrm>
              <a:off x="11207931" y="1255577"/>
              <a:ext cx="385156" cy="385156"/>
            </a:xfrm>
            <a:prstGeom prst="donut">
              <a:avLst/>
            </a:prstGeom>
            <a:gradFill>
              <a:gsLst>
                <a:gs pos="6000">
                  <a:srgbClr val="FF9248">
                    <a:alpha val="34000"/>
                  </a:srgbClr>
                </a:gs>
                <a:gs pos="77000">
                  <a:schemeClr val="accent4">
                    <a:alpha val="29000"/>
                  </a:schemeClr>
                </a:gs>
              </a:gsLst>
              <a:lin ang="3343960" scaled="1"/>
            </a:gradFill>
            <a:ln w="5992" cap="flat">
              <a:noFill/>
              <a:prstDash val="solid"/>
              <a:miter/>
            </a:ln>
          </p:spPr>
          <p:txBody>
            <a:bodyPr wrap="square" rtlCol="0" anchor="ctr">
              <a:noAutofit/>
            </a:bodyPr>
            <a:lstStyle/>
            <a:p>
              <a:endParaRPr lang="en-US">
                <a:solidFill>
                  <a:schemeClr val="tx1"/>
                </a:solidFill>
              </a:endParaRPr>
            </a:p>
          </p:txBody>
        </p:sp>
      </p:gr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56528282"/>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1_Five Column Bullet with Subtitles">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D046CCE3-D099-8A95-8359-4B3E9742D416}"/>
              </a:ext>
            </a:extLst>
          </p:cNvPr>
          <p:cNvGrpSpPr/>
          <p:nvPr userDrawn="1"/>
        </p:nvGrpSpPr>
        <p:grpSpPr>
          <a:xfrm>
            <a:off x="11207931" y="114223"/>
            <a:ext cx="984069" cy="1526510"/>
            <a:chOff x="11207931" y="114223"/>
            <a:chExt cx="984069" cy="1526510"/>
          </a:xfrm>
        </p:grpSpPr>
        <p:sp>
          <p:nvSpPr>
            <p:cNvPr id="4" name="Freeform 3">
              <a:extLst>
                <a:ext uri="{FF2B5EF4-FFF2-40B4-BE49-F238E27FC236}">
                  <a16:creationId xmlns:a16="http://schemas.microsoft.com/office/drawing/2014/main" id="{D76EAFF2-E5EA-8848-55B4-95531AE508A7}"/>
                </a:ext>
              </a:extLst>
            </p:cNvPr>
            <p:cNvSpPr/>
            <p:nvPr/>
          </p:nvSpPr>
          <p:spPr bwMode="auto">
            <a:xfrm>
              <a:off x="11683516" y="209494"/>
              <a:ext cx="508484" cy="1049410"/>
            </a:xfrm>
            <a:custGeom>
              <a:avLst/>
              <a:gdLst>
                <a:gd name="connsiteX0" fmla="*/ 508484 w 508484"/>
                <a:gd name="connsiteY0" fmla="*/ 0 h 1049410"/>
                <a:gd name="connsiteX1" fmla="*/ 508484 w 508484"/>
                <a:gd name="connsiteY1" fmla="*/ 1049410 h 1049410"/>
                <a:gd name="connsiteX2" fmla="*/ 420411 w 508484"/>
                <a:gd name="connsiteY2" fmla="*/ 1040532 h 1049410"/>
                <a:gd name="connsiteX3" fmla="*/ 0 w 508484"/>
                <a:gd name="connsiteY3" fmla="*/ 524705 h 1049410"/>
                <a:gd name="connsiteX4" fmla="*/ 420411 w 508484"/>
                <a:gd name="connsiteY4" fmla="*/ 8878 h 1049410"/>
                <a:gd name="connsiteX5" fmla="*/ 508484 w 508484"/>
                <a:gd name="connsiteY5" fmla="*/ 0 h 1049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8484" h="1049410">
                  <a:moveTo>
                    <a:pt x="508484" y="0"/>
                  </a:moveTo>
                  <a:lnTo>
                    <a:pt x="508484" y="1049410"/>
                  </a:lnTo>
                  <a:lnTo>
                    <a:pt x="420411" y="1040532"/>
                  </a:lnTo>
                  <a:cubicBezTo>
                    <a:pt x="180483" y="991436"/>
                    <a:pt x="0" y="779147"/>
                    <a:pt x="0" y="524705"/>
                  </a:cubicBezTo>
                  <a:cubicBezTo>
                    <a:pt x="0" y="270263"/>
                    <a:pt x="180483" y="57975"/>
                    <a:pt x="420411" y="8878"/>
                  </a:cubicBezTo>
                  <a:lnTo>
                    <a:pt x="508484" y="0"/>
                  </a:lnTo>
                  <a:close/>
                </a:path>
              </a:pathLst>
            </a:custGeom>
            <a:solidFill>
              <a:schemeClr val="accent5">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5" name="Freeform 4">
              <a:extLst>
                <a:ext uri="{FF2B5EF4-FFF2-40B4-BE49-F238E27FC236}">
                  <a16:creationId xmlns:a16="http://schemas.microsoft.com/office/drawing/2014/main" id="{C44B97DE-1742-2D09-7E22-D46393FB2C4B}"/>
                </a:ext>
              </a:extLst>
            </p:cNvPr>
            <p:cNvSpPr/>
            <p:nvPr/>
          </p:nvSpPr>
          <p:spPr>
            <a:xfrm>
              <a:off x="11593087" y="114223"/>
              <a:ext cx="598913" cy="1253024"/>
            </a:xfrm>
            <a:custGeom>
              <a:avLst/>
              <a:gdLst>
                <a:gd name="connsiteX0" fmla="*/ 579415 w 733022"/>
                <a:gd name="connsiteY0" fmla="*/ 1154516 h 1533601"/>
                <a:gd name="connsiteX1" fmla="*/ 654140 w 733022"/>
                <a:gd name="connsiteY1" fmla="*/ 1182331 h 1533601"/>
                <a:gd name="connsiteX2" fmla="*/ 733022 w 733022"/>
                <a:gd name="connsiteY2" fmla="*/ 1195890 h 1533601"/>
                <a:gd name="connsiteX3" fmla="*/ 733022 w 733022"/>
                <a:gd name="connsiteY3" fmla="*/ 1519078 h 1533601"/>
                <a:gd name="connsiteX4" fmla="*/ 728849 w 733022"/>
                <a:gd name="connsiteY4" fmla="*/ 1528684 h 1533601"/>
                <a:gd name="connsiteX5" fmla="*/ 715183 w 733022"/>
                <a:gd name="connsiteY5" fmla="*/ 1533561 h 1533601"/>
                <a:gd name="connsiteX6" fmla="*/ 427500 w 733022"/>
                <a:gd name="connsiteY6" fmla="*/ 1456569 h 1533601"/>
                <a:gd name="connsiteX7" fmla="*/ 427481 w 733022"/>
                <a:gd name="connsiteY7" fmla="*/ 1456569 h 1533601"/>
                <a:gd name="connsiteX8" fmla="*/ 419765 w 733022"/>
                <a:gd name="connsiteY8" fmla="*/ 1431112 h 1533601"/>
                <a:gd name="connsiteX9" fmla="*/ 409753 w 733022"/>
                <a:gd name="connsiteY9" fmla="*/ 1009571 h 1533601"/>
                <a:gd name="connsiteX10" fmla="*/ 524291 w 733022"/>
                <a:gd name="connsiteY10" fmla="*/ 1122789 h 1533601"/>
                <a:gd name="connsiteX11" fmla="*/ 364754 w 733022"/>
                <a:gd name="connsiteY11" fmla="*/ 1399179 h 1533601"/>
                <a:gd name="connsiteX12" fmla="*/ 338820 w 733022"/>
                <a:gd name="connsiteY12" fmla="*/ 1405185 h 1533601"/>
                <a:gd name="connsiteX13" fmla="*/ 128318 w 733022"/>
                <a:gd name="connsiteY13" fmla="*/ 1194584 h 1533601"/>
                <a:gd name="connsiteX14" fmla="*/ 134321 w 733022"/>
                <a:gd name="connsiteY14" fmla="*/ 1168637 h 1533601"/>
                <a:gd name="connsiteX15" fmla="*/ 18202 w 733022"/>
                <a:gd name="connsiteY15" fmla="*/ 798631 h 1533601"/>
                <a:gd name="connsiteX16" fmla="*/ 333739 w 733022"/>
                <a:gd name="connsiteY16" fmla="*/ 798631 h 1533601"/>
                <a:gd name="connsiteX17" fmla="*/ 377363 w 733022"/>
                <a:gd name="connsiteY17" fmla="*/ 954723 h 1533601"/>
                <a:gd name="connsiteX18" fmla="*/ 102441 w 733022"/>
                <a:gd name="connsiteY18" fmla="*/ 1113544 h 1533601"/>
                <a:gd name="connsiteX19" fmla="*/ 76996 w 733022"/>
                <a:gd name="connsiteY19" fmla="*/ 1105824 h 1533601"/>
                <a:gd name="connsiteX20" fmla="*/ 41 w 733022"/>
                <a:gd name="connsiteY20" fmla="*/ 818081 h 1533601"/>
                <a:gd name="connsiteX21" fmla="*/ 18202 w 733022"/>
                <a:gd name="connsiteY21" fmla="*/ 798631 h 1533601"/>
                <a:gd name="connsiteX22" fmla="*/ 733022 w 733022"/>
                <a:gd name="connsiteY22" fmla="*/ 440947 h 1533601"/>
                <a:gd name="connsiteX23" fmla="*/ 733022 w 733022"/>
                <a:gd name="connsiteY23" fmla="*/ 627192 h 1533601"/>
                <a:gd name="connsiteX24" fmla="*/ 694597 w 733022"/>
                <a:gd name="connsiteY24" fmla="*/ 638681 h 1533601"/>
                <a:gd name="connsiteX25" fmla="*/ 618391 w 733022"/>
                <a:gd name="connsiteY25" fmla="*/ 748942 h 1533601"/>
                <a:gd name="connsiteX26" fmla="*/ 699416 w 733022"/>
                <a:gd name="connsiteY26" fmla="*/ 889231 h 1533601"/>
                <a:gd name="connsiteX27" fmla="*/ 733022 w 733022"/>
                <a:gd name="connsiteY27" fmla="*/ 896448 h 1533601"/>
                <a:gd name="connsiteX28" fmla="*/ 733022 w 733022"/>
                <a:gd name="connsiteY28" fmla="*/ 1083871 h 1533601"/>
                <a:gd name="connsiteX29" fmla="*/ 691051 w 733022"/>
                <a:gd name="connsiteY29" fmla="*/ 1079617 h 1533601"/>
                <a:gd name="connsiteX30" fmla="*/ 433014 w 733022"/>
                <a:gd name="connsiteY30" fmla="*/ 761820 h 1533601"/>
                <a:gd name="connsiteX31" fmla="*/ 678170 w 733022"/>
                <a:gd name="connsiteY31" fmla="*/ 449027 h 1533601"/>
                <a:gd name="connsiteX32" fmla="*/ 88045 w 733022"/>
                <a:gd name="connsiteY32" fmla="*/ 418365 h 1533601"/>
                <a:gd name="connsiteX33" fmla="*/ 102441 w 733022"/>
                <a:gd name="connsiteY33" fmla="*/ 420020 h 1533601"/>
                <a:gd name="connsiteX34" fmla="*/ 372960 w 733022"/>
                <a:gd name="connsiteY34" fmla="*/ 576281 h 1533601"/>
                <a:gd name="connsiteX35" fmla="*/ 332873 w 733022"/>
                <a:gd name="connsiteY35" fmla="*/ 734971 h 1533601"/>
                <a:gd name="connsiteX36" fmla="*/ 18202 w 733022"/>
                <a:gd name="connsiteY36" fmla="*/ 734971 h 1533601"/>
                <a:gd name="connsiteX37" fmla="*/ 41 w 733022"/>
                <a:gd name="connsiteY37" fmla="*/ 715520 h 1533601"/>
                <a:gd name="connsiteX38" fmla="*/ 76996 w 733022"/>
                <a:gd name="connsiteY38" fmla="*/ 427739 h 1533601"/>
                <a:gd name="connsiteX39" fmla="*/ 88045 w 733022"/>
                <a:gd name="connsiteY39" fmla="*/ 418365 h 1533601"/>
                <a:gd name="connsiteX40" fmla="*/ 353092 w 733022"/>
                <a:gd name="connsiteY40" fmla="*/ 125773 h 1533601"/>
                <a:gd name="connsiteX41" fmla="*/ 364754 w 733022"/>
                <a:gd name="connsiteY41" fmla="*/ 134404 h 1533601"/>
                <a:gd name="connsiteX42" fmla="*/ 519455 w 733022"/>
                <a:gd name="connsiteY42" fmla="*/ 402471 h 1533601"/>
                <a:gd name="connsiteX43" fmla="*/ 404069 w 733022"/>
                <a:gd name="connsiteY43" fmla="*/ 520735 h 1533601"/>
                <a:gd name="connsiteX44" fmla="*/ 134359 w 733022"/>
                <a:gd name="connsiteY44" fmla="*/ 364945 h 1533601"/>
                <a:gd name="connsiteX45" fmla="*/ 128356 w 733022"/>
                <a:gd name="connsiteY45" fmla="*/ 338999 h 1533601"/>
                <a:gd name="connsiteX46" fmla="*/ 338820 w 733022"/>
                <a:gd name="connsiteY46" fmla="*/ 128398 h 1533601"/>
                <a:gd name="connsiteX47" fmla="*/ 353092 w 733022"/>
                <a:gd name="connsiteY47" fmla="*/ 125773 h 1533601"/>
                <a:gd name="connsiteX48" fmla="*/ 715183 w 733022"/>
                <a:gd name="connsiteY48" fmla="*/ 41 h 1533601"/>
                <a:gd name="connsiteX49" fmla="*/ 715202 w 733022"/>
                <a:gd name="connsiteY49" fmla="*/ 41 h 1533601"/>
                <a:gd name="connsiteX50" fmla="*/ 728860 w 733022"/>
                <a:gd name="connsiteY50" fmla="*/ 4910 h 1533601"/>
                <a:gd name="connsiteX51" fmla="*/ 733022 w 733022"/>
                <a:gd name="connsiteY51" fmla="*/ 14482 h 1533601"/>
                <a:gd name="connsiteX52" fmla="*/ 733022 w 733022"/>
                <a:gd name="connsiteY52" fmla="*/ 325990 h 1533601"/>
                <a:gd name="connsiteX53" fmla="*/ 651303 w 733022"/>
                <a:gd name="connsiteY53" fmla="*/ 340329 h 1533601"/>
                <a:gd name="connsiteX54" fmla="*/ 574202 w 733022"/>
                <a:gd name="connsiteY54" fmla="*/ 369991 h 1533601"/>
                <a:gd name="connsiteX55" fmla="*/ 419821 w 733022"/>
                <a:gd name="connsiteY55" fmla="*/ 102489 h 1533601"/>
                <a:gd name="connsiteX56" fmla="*/ 427538 w 733022"/>
                <a:gd name="connsiteY56" fmla="*/ 77032 h 1533601"/>
                <a:gd name="connsiteX57" fmla="*/ 715183 w 733022"/>
                <a:gd name="connsiteY57" fmla="*/ 41 h 1533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733022" h="1533601">
                  <a:moveTo>
                    <a:pt x="579415" y="1154516"/>
                  </a:moveTo>
                  <a:cubicBezTo>
                    <a:pt x="603213" y="1165954"/>
                    <a:pt x="628197" y="1175308"/>
                    <a:pt x="654140" y="1182331"/>
                  </a:cubicBezTo>
                  <a:lnTo>
                    <a:pt x="733022" y="1195890"/>
                  </a:lnTo>
                  <a:lnTo>
                    <a:pt x="733022" y="1519078"/>
                  </a:lnTo>
                  <a:lnTo>
                    <a:pt x="728849" y="1528684"/>
                  </a:lnTo>
                  <a:cubicBezTo>
                    <a:pt x="725303" y="1531998"/>
                    <a:pt x="720443" y="1533909"/>
                    <a:pt x="715183" y="1533561"/>
                  </a:cubicBezTo>
                  <a:cubicBezTo>
                    <a:pt x="612463" y="1526782"/>
                    <a:pt x="515258" y="1499819"/>
                    <a:pt x="427500" y="1456569"/>
                  </a:cubicBezTo>
                  <a:lnTo>
                    <a:pt x="427481" y="1456569"/>
                  </a:lnTo>
                  <a:cubicBezTo>
                    <a:pt x="418052" y="1451918"/>
                    <a:pt x="414495" y="1440226"/>
                    <a:pt x="419765" y="1431112"/>
                  </a:cubicBezTo>
                  <a:close/>
                  <a:moveTo>
                    <a:pt x="409753" y="1009571"/>
                  </a:moveTo>
                  <a:cubicBezTo>
                    <a:pt x="440580" y="1054045"/>
                    <a:pt x="479424" y="1092456"/>
                    <a:pt x="524291" y="1122789"/>
                  </a:cubicBezTo>
                  <a:lnTo>
                    <a:pt x="364754" y="1399179"/>
                  </a:lnTo>
                  <a:cubicBezTo>
                    <a:pt x="359484" y="1408311"/>
                    <a:pt x="347571" y="1411060"/>
                    <a:pt x="338820" y="1405185"/>
                  </a:cubicBezTo>
                  <a:cubicBezTo>
                    <a:pt x="255730" y="1349376"/>
                    <a:pt x="184100" y="1277751"/>
                    <a:pt x="128318" y="1194584"/>
                  </a:cubicBezTo>
                  <a:cubicBezTo>
                    <a:pt x="122446" y="1185828"/>
                    <a:pt x="125194" y="1173910"/>
                    <a:pt x="134321" y="1168637"/>
                  </a:cubicBezTo>
                  <a:close/>
                  <a:moveTo>
                    <a:pt x="18202" y="798631"/>
                  </a:moveTo>
                  <a:lnTo>
                    <a:pt x="333739" y="798631"/>
                  </a:lnTo>
                  <a:cubicBezTo>
                    <a:pt x="338462" y="854289"/>
                    <a:pt x="353650" y="906991"/>
                    <a:pt x="377363" y="954723"/>
                  </a:cubicBezTo>
                  <a:lnTo>
                    <a:pt x="102441" y="1113544"/>
                  </a:lnTo>
                  <a:cubicBezTo>
                    <a:pt x="93331" y="1118816"/>
                    <a:pt x="81644" y="1115258"/>
                    <a:pt x="76996" y="1105824"/>
                  </a:cubicBezTo>
                  <a:cubicBezTo>
                    <a:pt x="33766" y="1018063"/>
                    <a:pt x="6816" y="920849"/>
                    <a:pt x="41" y="818081"/>
                  </a:cubicBezTo>
                  <a:cubicBezTo>
                    <a:pt x="-656" y="807556"/>
                    <a:pt x="7682" y="798631"/>
                    <a:pt x="18202" y="798631"/>
                  </a:cubicBezTo>
                  <a:close/>
                  <a:moveTo>
                    <a:pt x="733022" y="440947"/>
                  </a:moveTo>
                  <a:lnTo>
                    <a:pt x="733022" y="627192"/>
                  </a:lnTo>
                  <a:lnTo>
                    <a:pt x="694597" y="638681"/>
                  </a:lnTo>
                  <a:cubicBezTo>
                    <a:pt x="652977" y="659505"/>
                    <a:pt x="623092" y="700871"/>
                    <a:pt x="618391" y="748942"/>
                  </a:cubicBezTo>
                  <a:cubicBezTo>
                    <a:pt x="612336" y="810922"/>
                    <a:pt x="647367" y="865710"/>
                    <a:pt x="699416" y="889231"/>
                  </a:cubicBezTo>
                  <a:lnTo>
                    <a:pt x="733022" y="896448"/>
                  </a:lnTo>
                  <a:lnTo>
                    <a:pt x="733022" y="1083871"/>
                  </a:lnTo>
                  <a:lnTo>
                    <a:pt x="691051" y="1079617"/>
                  </a:lnTo>
                  <a:cubicBezTo>
                    <a:pt x="543639" y="1049300"/>
                    <a:pt x="432521" y="918253"/>
                    <a:pt x="433014" y="761820"/>
                  </a:cubicBezTo>
                  <a:cubicBezTo>
                    <a:pt x="433475" y="612208"/>
                    <a:pt x="537754" y="484162"/>
                    <a:pt x="678170" y="449027"/>
                  </a:cubicBezTo>
                  <a:close/>
                  <a:moveTo>
                    <a:pt x="88045" y="418365"/>
                  </a:moveTo>
                  <a:cubicBezTo>
                    <a:pt x="92687" y="416955"/>
                    <a:pt x="97886" y="417384"/>
                    <a:pt x="102441" y="420020"/>
                  </a:cubicBezTo>
                  <a:lnTo>
                    <a:pt x="372960" y="576281"/>
                  </a:lnTo>
                  <a:cubicBezTo>
                    <a:pt x="350187" y="624934"/>
                    <a:pt x="336185" y="678503"/>
                    <a:pt x="332873" y="734971"/>
                  </a:cubicBezTo>
                  <a:lnTo>
                    <a:pt x="18202" y="734971"/>
                  </a:lnTo>
                  <a:cubicBezTo>
                    <a:pt x="7682" y="734971"/>
                    <a:pt x="-656" y="726045"/>
                    <a:pt x="41" y="715520"/>
                  </a:cubicBezTo>
                  <a:cubicBezTo>
                    <a:pt x="6816" y="612752"/>
                    <a:pt x="33766" y="515501"/>
                    <a:pt x="76996" y="427739"/>
                  </a:cubicBezTo>
                  <a:cubicBezTo>
                    <a:pt x="79320" y="423023"/>
                    <a:pt x="83404" y="419775"/>
                    <a:pt x="88045" y="418365"/>
                  </a:cubicBezTo>
                  <a:close/>
                  <a:moveTo>
                    <a:pt x="353092" y="125773"/>
                  </a:moveTo>
                  <a:cubicBezTo>
                    <a:pt x="357823" y="126868"/>
                    <a:pt x="362119" y="129838"/>
                    <a:pt x="364754" y="134404"/>
                  </a:cubicBezTo>
                  <a:lnTo>
                    <a:pt x="519455" y="402471"/>
                  </a:lnTo>
                  <a:cubicBezTo>
                    <a:pt x="473873" y="434122"/>
                    <a:pt x="434652" y="474359"/>
                    <a:pt x="404069" y="520735"/>
                  </a:cubicBezTo>
                  <a:lnTo>
                    <a:pt x="134359" y="364945"/>
                  </a:lnTo>
                  <a:cubicBezTo>
                    <a:pt x="125231" y="359673"/>
                    <a:pt x="122484" y="347754"/>
                    <a:pt x="128356" y="338999"/>
                  </a:cubicBezTo>
                  <a:cubicBezTo>
                    <a:pt x="184138" y="255869"/>
                    <a:pt x="255730" y="184244"/>
                    <a:pt x="338820" y="128398"/>
                  </a:cubicBezTo>
                  <a:cubicBezTo>
                    <a:pt x="343196" y="125460"/>
                    <a:pt x="348362" y="124679"/>
                    <a:pt x="353092" y="125773"/>
                  </a:cubicBezTo>
                  <a:close/>
                  <a:moveTo>
                    <a:pt x="715183" y="41"/>
                  </a:moveTo>
                  <a:lnTo>
                    <a:pt x="715202" y="41"/>
                  </a:lnTo>
                  <a:cubicBezTo>
                    <a:pt x="720453" y="-308"/>
                    <a:pt x="725313" y="1599"/>
                    <a:pt x="728860" y="4910"/>
                  </a:cubicBezTo>
                  <a:lnTo>
                    <a:pt x="733022" y="14482"/>
                  </a:lnTo>
                  <a:lnTo>
                    <a:pt x="733022" y="325990"/>
                  </a:lnTo>
                  <a:lnTo>
                    <a:pt x="651303" y="340329"/>
                  </a:lnTo>
                  <a:cubicBezTo>
                    <a:pt x="624470" y="347792"/>
                    <a:pt x="598678" y="357762"/>
                    <a:pt x="574202" y="369991"/>
                  </a:cubicBezTo>
                  <a:lnTo>
                    <a:pt x="419821" y="102489"/>
                  </a:lnTo>
                  <a:cubicBezTo>
                    <a:pt x="414552" y="93357"/>
                    <a:pt x="418090" y="81683"/>
                    <a:pt x="427538" y="77032"/>
                  </a:cubicBezTo>
                  <a:cubicBezTo>
                    <a:pt x="515258" y="33801"/>
                    <a:pt x="612463" y="6819"/>
                    <a:pt x="715183" y="41"/>
                  </a:cubicBezTo>
                  <a:close/>
                </a:path>
              </a:pathLst>
            </a:custGeom>
            <a:gradFill>
              <a:gsLst>
                <a:gs pos="6000">
                  <a:srgbClr val="FF9248">
                    <a:alpha val="34000"/>
                  </a:srgbClr>
                </a:gs>
                <a:gs pos="77000">
                  <a:schemeClr val="accent4">
                    <a:alpha val="29000"/>
                  </a:schemeClr>
                </a:gs>
              </a:gsLst>
              <a:lin ang="3343960" scaled="1"/>
            </a:gradFill>
            <a:ln w="5992" cap="flat">
              <a:noFill/>
              <a:prstDash val="solid"/>
              <a:miter/>
            </a:ln>
          </p:spPr>
          <p:txBody>
            <a:bodyPr wrap="square" rtlCol="0" anchor="ctr">
              <a:noAutofit/>
            </a:bodyPr>
            <a:lstStyle/>
            <a:p>
              <a:endParaRPr lang="en-US"/>
            </a:p>
          </p:txBody>
        </p:sp>
        <p:sp>
          <p:nvSpPr>
            <p:cNvPr id="6" name="Donut 5">
              <a:extLst>
                <a:ext uri="{FF2B5EF4-FFF2-40B4-BE49-F238E27FC236}">
                  <a16:creationId xmlns:a16="http://schemas.microsoft.com/office/drawing/2014/main" id="{A5E28ECD-6A1C-0ED3-DF34-0610281608F8}"/>
                </a:ext>
              </a:extLst>
            </p:cNvPr>
            <p:cNvSpPr/>
            <p:nvPr/>
          </p:nvSpPr>
          <p:spPr bwMode="auto">
            <a:xfrm>
              <a:off x="11207931" y="1255577"/>
              <a:ext cx="385156" cy="385156"/>
            </a:xfrm>
            <a:prstGeom prst="donut">
              <a:avLst/>
            </a:prstGeom>
            <a:gradFill>
              <a:gsLst>
                <a:gs pos="6000">
                  <a:srgbClr val="FF9248">
                    <a:alpha val="34000"/>
                  </a:srgbClr>
                </a:gs>
                <a:gs pos="77000">
                  <a:schemeClr val="accent4">
                    <a:alpha val="29000"/>
                  </a:schemeClr>
                </a:gs>
              </a:gsLst>
              <a:lin ang="3343960" scaled="1"/>
            </a:gradFill>
            <a:ln w="5992" cap="flat">
              <a:noFill/>
              <a:prstDash val="solid"/>
              <a:miter/>
            </a:ln>
          </p:spPr>
          <p:txBody>
            <a:bodyPr wrap="square" rtlCol="0" anchor="ctr">
              <a:noAutofit/>
            </a:bodyPr>
            <a:lstStyle/>
            <a:p>
              <a:endParaRPr lang="en-US">
                <a:solidFill>
                  <a:schemeClr val="tx1"/>
                </a:solidFill>
              </a:endParaRPr>
            </a:p>
          </p:txBody>
        </p:sp>
      </p:gr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14151648"/>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2DD53F1-50D2-3934-EFC6-EA051B9CF68E}"/>
              </a:ext>
            </a:extLst>
          </p:cNvPr>
          <p:cNvGrpSpPr/>
          <p:nvPr userDrawn="1"/>
        </p:nvGrpSpPr>
        <p:grpSpPr>
          <a:xfrm>
            <a:off x="11207931" y="114223"/>
            <a:ext cx="984069" cy="1526510"/>
            <a:chOff x="11207931" y="114223"/>
            <a:chExt cx="984069" cy="1526510"/>
          </a:xfrm>
        </p:grpSpPr>
        <p:sp>
          <p:nvSpPr>
            <p:cNvPr id="4" name="Freeform 3">
              <a:extLst>
                <a:ext uri="{FF2B5EF4-FFF2-40B4-BE49-F238E27FC236}">
                  <a16:creationId xmlns:a16="http://schemas.microsoft.com/office/drawing/2014/main" id="{68CC995B-96FE-7C79-4158-F78CC96419B4}"/>
                </a:ext>
              </a:extLst>
            </p:cNvPr>
            <p:cNvSpPr/>
            <p:nvPr/>
          </p:nvSpPr>
          <p:spPr bwMode="auto">
            <a:xfrm>
              <a:off x="11683516" y="209494"/>
              <a:ext cx="508484" cy="1049410"/>
            </a:xfrm>
            <a:custGeom>
              <a:avLst/>
              <a:gdLst>
                <a:gd name="connsiteX0" fmla="*/ 508484 w 508484"/>
                <a:gd name="connsiteY0" fmla="*/ 0 h 1049410"/>
                <a:gd name="connsiteX1" fmla="*/ 508484 w 508484"/>
                <a:gd name="connsiteY1" fmla="*/ 1049410 h 1049410"/>
                <a:gd name="connsiteX2" fmla="*/ 420411 w 508484"/>
                <a:gd name="connsiteY2" fmla="*/ 1040532 h 1049410"/>
                <a:gd name="connsiteX3" fmla="*/ 0 w 508484"/>
                <a:gd name="connsiteY3" fmla="*/ 524705 h 1049410"/>
                <a:gd name="connsiteX4" fmla="*/ 420411 w 508484"/>
                <a:gd name="connsiteY4" fmla="*/ 8878 h 1049410"/>
                <a:gd name="connsiteX5" fmla="*/ 508484 w 508484"/>
                <a:gd name="connsiteY5" fmla="*/ 0 h 1049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8484" h="1049410">
                  <a:moveTo>
                    <a:pt x="508484" y="0"/>
                  </a:moveTo>
                  <a:lnTo>
                    <a:pt x="508484" y="1049410"/>
                  </a:lnTo>
                  <a:lnTo>
                    <a:pt x="420411" y="1040532"/>
                  </a:lnTo>
                  <a:cubicBezTo>
                    <a:pt x="180483" y="991436"/>
                    <a:pt x="0" y="779147"/>
                    <a:pt x="0" y="524705"/>
                  </a:cubicBezTo>
                  <a:cubicBezTo>
                    <a:pt x="0" y="270263"/>
                    <a:pt x="180483" y="57975"/>
                    <a:pt x="420411" y="8878"/>
                  </a:cubicBezTo>
                  <a:lnTo>
                    <a:pt x="508484" y="0"/>
                  </a:lnTo>
                  <a:close/>
                </a:path>
              </a:pathLst>
            </a:custGeom>
            <a:solidFill>
              <a:schemeClr val="accent5">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5" name="Freeform 4">
              <a:extLst>
                <a:ext uri="{FF2B5EF4-FFF2-40B4-BE49-F238E27FC236}">
                  <a16:creationId xmlns:a16="http://schemas.microsoft.com/office/drawing/2014/main" id="{FEAAE522-EB7F-E0D1-9780-C0859F8A81DA}"/>
                </a:ext>
              </a:extLst>
            </p:cNvPr>
            <p:cNvSpPr/>
            <p:nvPr/>
          </p:nvSpPr>
          <p:spPr>
            <a:xfrm>
              <a:off x="11593087" y="114223"/>
              <a:ext cx="598913" cy="1253024"/>
            </a:xfrm>
            <a:custGeom>
              <a:avLst/>
              <a:gdLst>
                <a:gd name="connsiteX0" fmla="*/ 579415 w 733022"/>
                <a:gd name="connsiteY0" fmla="*/ 1154516 h 1533601"/>
                <a:gd name="connsiteX1" fmla="*/ 654140 w 733022"/>
                <a:gd name="connsiteY1" fmla="*/ 1182331 h 1533601"/>
                <a:gd name="connsiteX2" fmla="*/ 733022 w 733022"/>
                <a:gd name="connsiteY2" fmla="*/ 1195890 h 1533601"/>
                <a:gd name="connsiteX3" fmla="*/ 733022 w 733022"/>
                <a:gd name="connsiteY3" fmla="*/ 1519078 h 1533601"/>
                <a:gd name="connsiteX4" fmla="*/ 728849 w 733022"/>
                <a:gd name="connsiteY4" fmla="*/ 1528684 h 1533601"/>
                <a:gd name="connsiteX5" fmla="*/ 715183 w 733022"/>
                <a:gd name="connsiteY5" fmla="*/ 1533561 h 1533601"/>
                <a:gd name="connsiteX6" fmla="*/ 427500 w 733022"/>
                <a:gd name="connsiteY6" fmla="*/ 1456569 h 1533601"/>
                <a:gd name="connsiteX7" fmla="*/ 427481 w 733022"/>
                <a:gd name="connsiteY7" fmla="*/ 1456569 h 1533601"/>
                <a:gd name="connsiteX8" fmla="*/ 419765 w 733022"/>
                <a:gd name="connsiteY8" fmla="*/ 1431112 h 1533601"/>
                <a:gd name="connsiteX9" fmla="*/ 409753 w 733022"/>
                <a:gd name="connsiteY9" fmla="*/ 1009571 h 1533601"/>
                <a:gd name="connsiteX10" fmla="*/ 524291 w 733022"/>
                <a:gd name="connsiteY10" fmla="*/ 1122789 h 1533601"/>
                <a:gd name="connsiteX11" fmla="*/ 364754 w 733022"/>
                <a:gd name="connsiteY11" fmla="*/ 1399179 h 1533601"/>
                <a:gd name="connsiteX12" fmla="*/ 338820 w 733022"/>
                <a:gd name="connsiteY12" fmla="*/ 1405185 h 1533601"/>
                <a:gd name="connsiteX13" fmla="*/ 128318 w 733022"/>
                <a:gd name="connsiteY13" fmla="*/ 1194584 h 1533601"/>
                <a:gd name="connsiteX14" fmla="*/ 134321 w 733022"/>
                <a:gd name="connsiteY14" fmla="*/ 1168637 h 1533601"/>
                <a:gd name="connsiteX15" fmla="*/ 18202 w 733022"/>
                <a:gd name="connsiteY15" fmla="*/ 798631 h 1533601"/>
                <a:gd name="connsiteX16" fmla="*/ 333739 w 733022"/>
                <a:gd name="connsiteY16" fmla="*/ 798631 h 1533601"/>
                <a:gd name="connsiteX17" fmla="*/ 377363 w 733022"/>
                <a:gd name="connsiteY17" fmla="*/ 954723 h 1533601"/>
                <a:gd name="connsiteX18" fmla="*/ 102441 w 733022"/>
                <a:gd name="connsiteY18" fmla="*/ 1113544 h 1533601"/>
                <a:gd name="connsiteX19" fmla="*/ 76996 w 733022"/>
                <a:gd name="connsiteY19" fmla="*/ 1105824 h 1533601"/>
                <a:gd name="connsiteX20" fmla="*/ 41 w 733022"/>
                <a:gd name="connsiteY20" fmla="*/ 818081 h 1533601"/>
                <a:gd name="connsiteX21" fmla="*/ 18202 w 733022"/>
                <a:gd name="connsiteY21" fmla="*/ 798631 h 1533601"/>
                <a:gd name="connsiteX22" fmla="*/ 733022 w 733022"/>
                <a:gd name="connsiteY22" fmla="*/ 440947 h 1533601"/>
                <a:gd name="connsiteX23" fmla="*/ 733022 w 733022"/>
                <a:gd name="connsiteY23" fmla="*/ 627192 h 1533601"/>
                <a:gd name="connsiteX24" fmla="*/ 694597 w 733022"/>
                <a:gd name="connsiteY24" fmla="*/ 638681 h 1533601"/>
                <a:gd name="connsiteX25" fmla="*/ 618391 w 733022"/>
                <a:gd name="connsiteY25" fmla="*/ 748942 h 1533601"/>
                <a:gd name="connsiteX26" fmla="*/ 699416 w 733022"/>
                <a:gd name="connsiteY26" fmla="*/ 889231 h 1533601"/>
                <a:gd name="connsiteX27" fmla="*/ 733022 w 733022"/>
                <a:gd name="connsiteY27" fmla="*/ 896448 h 1533601"/>
                <a:gd name="connsiteX28" fmla="*/ 733022 w 733022"/>
                <a:gd name="connsiteY28" fmla="*/ 1083871 h 1533601"/>
                <a:gd name="connsiteX29" fmla="*/ 691051 w 733022"/>
                <a:gd name="connsiteY29" fmla="*/ 1079617 h 1533601"/>
                <a:gd name="connsiteX30" fmla="*/ 433014 w 733022"/>
                <a:gd name="connsiteY30" fmla="*/ 761820 h 1533601"/>
                <a:gd name="connsiteX31" fmla="*/ 678170 w 733022"/>
                <a:gd name="connsiteY31" fmla="*/ 449027 h 1533601"/>
                <a:gd name="connsiteX32" fmla="*/ 88045 w 733022"/>
                <a:gd name="connsiteY32" fmla="*/ 418365 h 1533601"/>
                <a:gd name="connsiteX33" fmla="*/ 102441 w 733022"/>
                <a:gd name="connsiteY33" fmla="*/ 420020 h 1533601"/>
                <a:gd name="connsiteX34" fmla="*/ 372960 w 733022"/>
                <a:gd name="connsiteY34" fmla="*/ 576281 h 1533601"/>
                <a:gd name="connsiteX35" fmla="*/ 332873 w 733022"/>
                <a:gd name="connsiteY35" fmla="*/ 734971 h 1533601"/>
                <a:gd name="connsiteX36" fmla="*/ 18202 w 733022"/>
                <a:gd name="connsiteY36" fmla="*/ 734971 h 1533601"/>
                <a:gd name="connsiteX37" fmla="*/ 41 w 733022"/>
                <a:gd name="connsiteY37" fmla="*/ 715520 h 1533601"/>
                <a:gd name="connsiteX38" fmla="*/ 76996 w 733022"/>
                <a:gd name="connsiteY38" fmla="*/ 427739 h 1533601"/>
                <a:gd name="connsiteX39" fmla="*/ 88045 w 733022"/>
                <a:gd name="connsiteY39" fmla="*/ 418365 h 1533601"/>
                <a:gd name="connsiteX40" fmla="*/ 353092 w 733022"/>
                <a:gd name="connsiteY40" fmla="*/ 125773 h 1533601"/>
                <a:gd name="connsiteX41" fmla="*/ 364754 w 733022"/>
                <a:gd name="connsiteY41" fmla="*/ 134404 h 1533601"/>
                <a:gd name="connsiteX42" fmla="*/ 519455 w 733022"/>
                <a:gd name="connsiteY42" fmla="*/ 402471 h 1533601"/>
                <a:gd name="connsiteX43" fmla="*/ 404069 w 733022"/>
                <a:gd name="connsiteY43" fmla="*/ 520735 h 1533601"/>
                <a:gd name="connsiteX44" fmla="*/ 134359 w 733022"/>
                <a:gd name="connsiteY44" fmla="*/ 364945 h 1533601"/>
                <a:gd name="connsiteX45" fmla="*/ 128356 w 733022"/>
                <a:gd name="connsiteY45" fmla="*/ 338999 h 1533601"/>
                <a:gd name="connsiteX46" fmla="*/ 338820 w 733022"/>
                <a:gd name="connsiteY46" fmla="*/ 128398 h 1533601"/>
                <a:gd name="connsiteX47" fmla="*/ 353092 w 733022"/>
                <a:gd name="connsiteY47" fmla="*/ 125773 h 1533601"/>
                <a:gd name="connsiteX48" fmla="*/ 715183 w 733022"/>
                <a:gd name="connsiteY48" fmla="*/ 41 h 1533601"/>
                <a:gd name="connsiteX49" fmla="*/ 715202 w 733022"/>
                <a:gd name="connsiteY49" fmla="*/ 41 h 1533601"/>
                <a:gd name="connsiteX50" fmla="*/ 728860 w 733022"/>
                <a:gd name="connsiteY50" fmla="*/ 4910 h 1533601"/>
                <a:gd name="connsiteX51" fmla="*/ 733022 w 733022"/>
                <a:gd name="connsiteY51" fmla="*/ 14482 h 1533601"/>
                <a:gd name="connsiteX52" fmla="*/ 733022 w 733022"/>
                <a:gd name="connsiteY52" fmla="*/ 325990 h 1533601"/>
                <a:gd name="connsiteX53" fmla="*/ 651303 w 733022"/>
                <a:gd name="connsiteY53" fmla="*/ 340329 h 1533601"/>
                <a:gd name="connsiteX54" fmla="*/ 574202 w 733022"/>
                <a:gd name="connsiteY54" fmla="*/ 369991 h 1533601"/>
                <a:gd name="connsiteX55" fmla="*/ 419821 w 733022"/>
                <a:gd name="connsiteY55" fmla="*/ 102489 h 1533601"/>
                <a:gd name="connsiteX56" fmla="*/ 427538 w 733022"/>
                <a:gd name="connsiteY56" fmla="*/ 77032 h 1533601"/>
                <a:gd name="connsiteX57" fmla="*/ 715183 w 733022"/>
                <a:gd name="connsiteY57" fmla="*/ 41 h 1533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733022" h="1533601">
                  <a:moveTo>
                    <a:pt x="579415" y="1154516"/>
                  </a:moveTo>
                  <a:cubicBezTo>
                    <a:pt x="603213" y="1165954"/>
                    <a:pt x="628197" y="1175308"/>
                    <a:pt x="654140" y="1182331"/>
                  </a:cubicBezTo>
                  <a:lnTo>
                    <a:pt x="733022" y="1195890"/>
                  </a:lnTo>
                  <a:lnTo>
                    <a:pt x="733022" y="1519078"/>
                  </a:lnTo>
                  <a:lnTo>
                    <a:pt x="728849" y="1528684"/>
                  </a:lnTo>
                  <a:cubicBezTo>
                    <a:pt x="725303" y="1531998"/>
                    <a:pt x="720443" y="1533909"/>
                    <a:pt x="715183" y="1533561"/>
                  </a:cubicBezTo>
                  <a:cubicBezTo>
                    <a:pt x="612463" y="1526782"/>
                    <a:pt x="515258" y="1499819"/>
                    <a:pt x="427500" y="1456569"/>
                  </a:cubicBezTo>
                  <a:lnTo>
                    <a:pt x="427481" y="1456569"/>
                  </a:lnTo>
                  <a:cubicBezTo>
                    <a:pt x="418052" y="1451918"/>
                    <a:pt x="414495" y="1440226"/>
                    <a:pt x="419765" y="1431112"/>
                  </a:cubicBezTo>
                  <a:close/>
                  <a:moveTo>
                    <a:pt x="409753" y="1009571"/>
                  </a:moveTo>
                  <a:cubicBezTo>
                    <a:pt x="440580" y="1054045"/>
                    <a:pt x="479424" y="1092456"/>
                    <a:pt x="524291" y="1122789"/>
                  </a:cubicBezTo>
                  <a:lnTo>
                    <a:pt x="364754" y="1399179"/>
                  </a:lnTo>
                  <a:cubicBezTo>
                    <a:pt x="359484" y="1408311"/>
                    <a:pt x="347571" y="1411060"/>
                    <a:pt x="338820" y="1405185"/>
                  </a:cubicBezTo>
                  <a:cubicBezTo>
                    <a:pt x="255730" y="1349376"/>
                    <a:pt x="184100" y="1277751"/>
                    <a:pt x="128318" y="1194584"/>
                  </a:cubicBezTo>
                  <a:cubicBezTo>
                    <a:pt x="122446" y="1185828"/>
                    <a:pt x="125194" y="1173910"/>
                    <a:pt x="134321" y="1168637"/>
                  </a:cubicBezTo>
                  <a:close/>
                  <a:moveTo>
                    <a:pt x="18202" y="798631"/>
                  </a:moveTo>
                  <a:lnTo>
                    <a:pt x="333739" y="798631"/>
                  </a:lnTo>
                  <a:cubicBezTo>
                    <a:pt x="338462" y="854289"/>
                    <a:pt x="353650" y="906991"/>
                    <a:pt x="377363" y="954723"/>
                  </a:cubicBezTo>
                  <a:lnTo>
                    <a:pt x="102441" y="1113544"/>
                  </a:lnTo>
                  <a:cubicBezTo>
                    <a:pt x="93331" y="1118816"/>
                    <a:pt x="81644" y="1115258"/>
                    <a:pt x="76996" y="1105824"/>
                  </a:cubicBezTo>
                  <a:cubicBezTo>
                    <a:pt x="33766" y="1018063"/>
                    <a:pt x="6816" y="920849"/>
                    <a:pt x="41" y="818081"/>
                  </a:cubicBezTo>
                  <a:cubicBezTo>
                    <a:pt x="-656" y="807556"/>
                    <a:pt x="7682" y="798631"/>
                    <a:pt x="18202" y="798631"/>
                  </a:cubicBezTo>
                  <a:close/>
                  <a:moveTo>
                    <a:pt x="733022" y="440947"/>
                  </a:moveTo>
                  <a:lnTo>
                    <a:pt x="733022" y="627192"/>
                  </a:lnTo>
                  <a:lnTo>
                    <a:pt x="694597" y="638681"/>
                  </a:lnTo>
                  <a:cubicBezTo>
                    <a:pt x="652977" y="659505"/>
                    <a:pt x="623092" y="700871"/>
                    <a:pt x="618391" y="748942"/>
                  </a:cubicBezTo>
                  <a:cubicBezTo>
                    <a:pt x="612336" y="810922"/>
                    <a:pt x="647367" y="865710"/>
                    <a:pt x="699416" y="889231"/>
                  </a:cubicBezTo>
                  <a:lnTo>
                    <a:pt x="733022" y="896448"/>
                  </a:lnTo>
                  <a:lnTo>
                    <a:pt x="733022" y="1083871"/>
                  </a:lnTo>
                  <a:lnTo>
                    <a:pt x="691051" y="1079617"/>
                  </a:lnTo>
                  <a:cubicBezTo>
                    <a:pt x="543639" y="1049300"/>
                    <a:pt x="432521" y="918253"/>
                    <a:pt x="433014" y="761820"/>
                  </a:cubicBezTo>
                  <a:cubicBezTo>
                    <a:pt x="433475" y="612208"/>
                    <a:pt x="537754" y="484162"/>
                    <a:pt x="678170" y="449027"/>
                  </a:cubicBezTo>
                  <a:close/>
                  <a:moveTo>
                    <a:pt x="88045" y="418365"/>
                  </a:moveTo>
                  <a:cubicBezTo>
                    <a:pt x="92687" y="416955"/>
                    <a:pt x="97886" y="417384"/>
                    <a:pt x="102441" y="420020"/>
                  </a:cubicBezTo>
                  <a:lnTo>
                    <a:pt x="372960" y="576281"/>
                  </a:lnTo>
                  <a:cubicBezTo>
                    <a:pt x="350187" y="624934"/>
                    <a:pt x="336185" y="678503"/>
                    <a:pt x="332873" y="734971"/>
                  </a:cubicBezTo>
                  <a:lnTo>
                    <a:pt x="18202" y="734971"/>
                  </a:lnTo>
                  <a:cubicBezTo>
                    <a:pt x="7682" y="734971"/>
                    <a:pt x="-656" y="726045"/>
                    <a:pt x="41" y="715520"/>
                  </a:cubicBezTo>
                  <a:cubicBezTo>
                    <a:pt x="6816" y="612752"/>
                    <a:pt x="33766" y="515501"/>
                    <a:pt x="76996" y="427739"/>
                  </a:cubicBezTo>
                  <a:cubicBezTo>
                    <a:pt x="79320" y="423023"/>
                    <a:pt x="83404" y="419775"/>
                    <a:pt x="88045" y="418365"/>
                  </a:cubicBezTo>
                  <a:close/>
                  <a:moveTo>
                    <a:pt x="353092" y="125773"/>
                  </a:moveTo>
                  <a:cubicBezTo>
                    <a:pt x="357823" y="126868"/>
                    <a:pt x="362119" y="129838"/>
                    <a:pt x="364754" y="134404"/>
                  </a:cubicBezTo>
                  <a:lnTo>
                    <a:pt x="519455" y="402471"/>
                  </a:lnTo>
                  <a:cubicBezTo>
                    <a:pt x="473873" y="434122"/>
                    <a:pt x="434652" y="474359"/>
                    <a:pt x="404069" y="520735"/>
                  </a:cubicBezTo>
                  <a:lnTo>
                    <a:pt x="134359" y="364945"/>
                  </a:lnTo>
                  <a:cubicBezTo>
                    <a:pt x="125231" y="359673"/>
                    <a:pt x="122484" y="347754"/>
                    <a:pt x="128356" y="338999"/>
                  </a:cubicBezTo>
                  <a:cubicBezTo>
                    <a:pt x="184138" y="255869"/>
                    <a:pt x="255730" y="184244"/>
                    <a:pt x="338820" y="128398"/>
                  </a:cubicBezTo>
                  <a:cubicBezTo>
                    <a:pt x="343196" y="125460"/>
                    <a:pt x="348362" y="124679"/>
                    <a:pt x="353092" y="125773"/>
                  </a:cubicBezTo>
                  <a:close/>
                  <a:moveTo>
                    <a:pt x="715183" y="41"/>
                  </a:moveTo>
                  <a:lnTo>
                    <a:pt x="715202" y="41"/>
                  </a:lnTo>
                  <a:cubicBezTo>
                    <a:pt x="720453" y="-308"/>
                    <a:pt x="725313" y="1599"/>
                    <a:pt x="728860" y="4910"/>
                  </a:cubicBezTo>
                  <a:lnTo>
                    <a:pt x="733022" y="14482"/>
                  </a:lnTo>
                  <a:lnTo>
                    <a:pt x="733022" y="325990"/>
                  </a:lnTo>
                  <a:lnTo>
                    <a:pt x="651303" y="340329"/>
                  </a:lnTo>
                  <a:cubicBezTo>
                    <a:pt x="624470" y="347792"/>
                    <a:pt x="598678" y="357762"/>
                    <a:pt x="574202" y="369991"/>
                  </a:cubicBezTo>
                  <a:lnTo>
                    <a:pt x="419821" y="102489"/>
                  </a:lnTo>
                  <a:cubicBezTo>
                    <a:pt x="414552" y="93357"/>
                    <a:pt x="418090" y="81683"/>
                    <a:pt x="427538" y="77032"/>
                  </a:cubicBezTo>
                  <a:cubicBezTo>
                    <a:pt x="515258" y="33801"/>
                    <a:pt x="612463" y="6819"/>
                    <a:pt x="715183" y="41"/>
                  </a:cubicBezTo>
                  <a:close/>
                </a:path>
              </a:pathLst>
            </a:custGeom>
            <a:gradFill>
              <a:gsLst>
                <a:gs pos="6000">
                  <a:srgbClr val="FF9248">
                    <a:alpha val="34000"/>
                  </a:srgbClr>
                </a:gs>
                <a:gs pos="77000">
                  <a:schemeClr val="accent4">
                    <a:alpha val="29000"/>
                  </a:schemeClr>
                </a:gs>
              </a:gsLst>
              <a:lin ang="3343960" scaled="1"/>
            </a:gradFill>
            <a:ln w="5992" cap="flat">
              <a:noFill/>
              <a:prstDash val="solid"/>
              <a:miter/>
            </a:ln>
          </p:spPr>
          <p:txBody>
            <a:bodyPr wrap="square" rtlCol="0" anchor="ctr">
              <a:noAutofit/>
            </a:bodyPr>
            <a:lstStyle/>
            <a:p>
              <a:endParaRPr lang="en-US"/>
            </a:p>
          </p:txBody>
        </p:sp>
        <p:sp>
          <p:nvSpPr>
            <p:cNvPr id="6" name="Donut 5">
              <a:extLst>
                <a:ext uri="{FF2B5EF4-FFF2-40B4-BE49-F238E27FC236}">
                  <a16:creationId xmlns:a16="http://schemas.microsoft.com/office/drawing/2014/main" id="{4E651CB7-7E9B-6BDD-E07D-D434D5536434}"/>
                </a:ext>
              </a:extLst>
            </p:cNvPr>
            <p:cNvSpPr/>
            <p:nvPr/>
          </p:nvSpPr>
          <p:spPr bwMode="auto">
            <a:xfrm>
              <a:off x="11207931" y="1255577"/>
              <a:ext cx="385156" cy="385156"/>
            </a:xfrm>
            <a:prstGeom prst="donut">
              <a:avLst/>
            </a:prstGeom>
            <a:gradFill>
              <a:gsLst>
                <a:gs pos="6000">
                  <a:srgbClr val="FF9248">
                    <a:alpha val="34000"/>
                  </a:srgbClr>
                </a:gs>
                <a:gs pos="77000">
                  <a:schemeClr val="accent4">
                    <a:alpha val="29000"/>
                  </a:schemeClr>
                </a:gs>
              </a:gsLst>
              <a:lin ang="3343960" scaled="1"/>
            </a:gradFill>
            <a:ln w="5992" cap="flat">
              <a:noFill/>
              <a:prstDash val="solid"/>
              <a:miter/>
            </a:ln>
          </p:spPr>
          <p:txBody>
            <a:bodyPr wrap="square" rtlCol="0" anchor="ctr">
              <a:noAutofit/>
            </a:bodyPr>
            <a:lstStyle/>
            <a:p>
              <a:endParaRPr lang="en-US">
                <a:solidFill>
                  <a:schemeClr val="tx1"/>
                </a:solidFill>
              </a:endParaRPr>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8679043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1_Title Only - left side ">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786BF969-9ED1-6FFC-1D9D-D2706ED26054}"/>
              </a:ext>
            </a:extLst>
          </p:cNvPr>
          <p:cNvGrpSpPr/>
          <p:nvPr userDrawn="1"/>
        </p:nvGrpSpPr>
        <p:grpSpPr>
          <a:xfrm>
            <a:off x="11207931" y="114223"/>
            <a:ext cx="984069" cy="1526510"/>
            <a:chOff x="11207931" y="114223"/>
            <a:chExt cx="984069" cy="1526510"/>
          </a:xfrm>
        </p:grpSpPr>
        <p:sp>
          <p:nvSpPr>
            <p:cNvPr id="4" name="Freeform 3">
              <a:extLst>
                <a:ext uri="{FF2B5EF4-FFF2-40B4-BE49-F238E27FC236}">
                  <a16:creationId xmlns:a16="http://schemas.microsoft.com/office/drawing/2014/main" id="{BB33D7BE-3160-3D51-CBF6-07D825EFB968}"/>
                </a:ext>
              </a:extLst>
            </p:cNvPr>
            <p:cNvSpPr/>
            <p:nvPr/>
          </p:nvSpPr>
          <p:spPr bwMode="auto">
            <a:xfrm>
              <a:off x="11683516" y="209494"/>
              <a:ext cx="508484" cy="1049410"/>
            </a:xfrm>
            <a:custGeom>
              <a:avLst/>
              <a:gdLst>
                <a:gd name="connsiteX0" fmla="*/ 508484 w 508484"/>
                <a:gd name="connsiteY0" fmla="*/ 0 h 1049410"/>
                <a:gd name="connsiteX1" fmla="*/ 508484 w 508484"/>
                <a:gd name="connsiteY1" fmla="*/ 1049410 h 1049410"/>
                <a:gd name="connsiteX2" fmla="*/ 420411 w 508484"/>
                <a:gd name="connsiteY2" fmla="*/ 1040532 h 1049410"/>
                <a:gd name="connsiteX3" fmla="*/ 0 w 508484"/>
                <a:gd name="connsiteY3" fmla="*/ 524705 h 1049410"/>
                <a:gd name="connsiteX4" fmla="*/ 420411 w 508484"/>
                <a:gd name="connsiteY4" fmla="*/ 8878 h 1049410"/>
                <a:gd name="connsiteX5" fmla="*/ 508484 w 508484"/>
                <a:gd name="connsiteY5" fmla="*/ 0 h 1049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8484" h="1049410">
                  <a:moveTo>
                    <a:pt x="508484" y="0"/>
                  </a:moveTo>
                  <a:lnTo>
                    <a:pt x="508484" y="1049410"/>
                  </a:lnTo>
                  <a:lnTo>
                    <a:pt x="420411" y="1040532"/>
                  </a:lnTo>
                  <a:cubicBezTo>
                    <a:pt x="180483" y="991436"/>
                    <a:pt x="0" y="779147"/>
                    <a:pt x="0" y="524705"/>
                  </a:cubicBezTo>
                  <a:cubicBezTo>
                    <a:pt x="0" y="270263"/>
                    <a:pt x="180483" y="57975"/>
                    <a:pt x="420411" y="8878"/>
                  </a:cubicBezTo>
                  <a:lnTo>
                    <a:pt x="508484" y="0"/>
                  </a:lnTo>
                  <a:close/>
                </a:path>
              </a:pathLst>
            </a:custGeom>
            <a:solidFill>
              <a:schemeClr val="accent5">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5" name="Freeform 4">
              <a:extLst>
                <a:ext uri="{FF2B5EF4-FFF2-40B4-BE49-F238E27FC236}">
                  <a16:creationId xmlns:a16="http://schemas.microsoft.com/office/drawing/2014/main" id="{3714CA5B-8020-0BFF-E478-62C88B430535}"/>
                </a:ext>
              </a:extLst>
            </p:cNvPr>
            <p:cNvSpPr/>
            <p:nvPr/>
          </p:nvSpPr>
          <p:spPr>
            <a:xfrm>
              <a:off x="11593087" y="114223"/>
              <a:ext cx="598913" cy="1253024"/>
            </a:xfrm>
            <a:custGeom>
              <a:avLst/>
              <a:gdLst>
                <a:gd name="connsiteX0" fmla="*/ 579415 w 733022"/>
                <a:gd name="connsiteY0" fmla="*/ 1154516 h 1533601"/>
                <a:gd name="connsiteX1" fmla="*/ 654140 w 733022"/>
                <a:gd name="connsiteY1" fmla="*/ 1182331 h 1533601"/>
                <a:gd name="connsiteX2" fmla="*/ 733022 w 733022"/>
                <a:gd name="connsiteY2" fmla="*/ 1195890 h 1533601"/>
                <a:gd name="connsiteX3" fmla="*/ 733022 w 733022"/>
                <a:gd name="connsiteY3" fmla="*/ 1519078 h 1533601"/>
                <a:gd name="connsiteX4" fmla="*/ 728849 w 733022"/>
                <a:gd name="connsiteY4" fmla="*/ 1528684 h 1533601"/>
                <a:gd name="connsiteX5" fmla="*/ 715183 w 733022"/>
                <a:gd name="connsiteY5" fmla="*/ 1533561 h 1533601"/>
                <a:gd name="connsiteX6" fmla="*/ 427500 w 733022"/>
                <a:gd name="connsiteY6" fmla="*/ 1456569 h 1533601"/>
                <a:gd name="connsiteX7" fmla="*/ 427481 w 733022"/>
                <a:gd name="connsiteY7" fmla="*/ 1456569 h 1533601"/>
                <a:gd name="connsiteX8" fmla="*/ 419765 w 733022"/>
                <a:gd name="connsiteY8" fmla="*/ 1431112 h 1533601"/>
                <a:gd name="connsiteX9" fmla="*/ 409753 w 733022"/>
                <a:gd name="connsiteY9" fmla="*/ 1009571 h 1533601"/>
                <a:gd name="connsiteX10" fmla="*/ 524291 w 733022"/>
                <a:gd name="connsiteY10" fmla="*/ 1122789 h 1533601"/>
                <a:gd name="connsiteX11" fmla="*/ 364754 w 733022"/>
                <a:gd name="connsiteY11" fmla="*/ 1399179 h 1533601"/>
                <a:gd name="connsiteX12" fmla="*/ 338820 w 733022"/>
                <a:gd name="connsiteY12" fmla="*/ 1405185 h 1533601"/>
                <a:gd name="connsiteX13" fmla="*/ 128318 w 733022"/>
                <a:gd name="connsiteY13" fmla="*/ 1194584 h 1533601"/>
                <a:gd name="connsiteX14" fmla="*/ 134321 w 733022"/>
                <a:gd name="connsiteY14" fmla="*/ 1168637 h 1533601"/>
                <a:gd name="connsiteX15" fmla="*/ 18202 w 733022"/>
                <a:gd name="connsiteY15" fmla="*/ 798631 h 1533601"/>
                <a:gd name="connsiteX16" fmla="*/ 333739 w 733022"/>
                <a:gd name="connsiteY16" fmla="*/ 798631 h 1533601"/>
                <a:gd name="connsiteX17" fmla="*/ 377363 w 733022"/>
                <a:gd name="connsiteY17" fmla="*/ 954723 h 1533601"/>
                <a:gd name="connsiteX18" fmla="*/ 102441 w 733022"/>
                <a:gd name="connsiteY18" fmla="*/ 1113544 h 1533601"/>
                <a:gd name="connsiteX19" fmla="*/ 76996 w 733022"/>
                <a:gd name="connsiteY19" fmla="*/ 1105824 h 1533601"/>
                <a:gd name="connsiteX20" fmla="*/ 41 w 733022"/>
                <a:gd name="connsiteY20" fmla="*/ 818081 h 1533601"/>
                <a:gd name="connsiteX21" fmla="*/ 18202 w 733022"/>
                <a:gd name="connsiteY21" fmla="*/ 798631 h 1533601"/>
                <a:gd name="connsiteX22" fmla="*/ 733022 w 733022"/>
                <a:gd name="connsiteY22" fmla="*/ 440947 h 1533601"/>
                <a:gd name="connsiteX23" fmla="*/ 733022 w 733022"/>
                <a:gd name="connsiteY23" fmla="*/ 627192 h 1533601"/>
                <a:gd name="connsiteX24" fmla="*/ 694597 w 733022"/>
                <a:gd name="connsiteY24" fmla="*/ 638681 h 1533601"/>
                <a:gd name="connsiteX25" fmla="*/ 618391 w 733022"/>
                <a:gd name="connsiteY25" fmla="*/ 748942 h 1533601"/>
                <a:gd name="connsiteX26" fmla="*/ 699416 w 733022"/>
                <a:gd name="connsiteY26" fmla="*/ 889231 h 1533601"/>
                <a:gd name="connsiteX27" fmla="*/ 733022 w 733022"/>
                <a:gd name="connsiteY27" fmla="*/ 896448 h 1533601"/>
                <a:gd name="connsiteX28" fmla="*/ 733022 w 733022"/>
                <a:gd name="connsiteY28" fmla="*/ 1083871 h 1533601"/>
                <a:gd name="connsiteX29" fmla="*/ 691051 w 733022"/>
                <a:gd name="connsiteY29" fmla="*/ 1079617 h 1533601"/>
                <a:gd name="connsiteX30" fmla="*/ 433014 w 733022"/>
                <a:gd name="connsiteY30" fmla="*/ 761820 h 1533601"/>
                <a:gd name="connsiteX31" fmla="*/ 678170 w 733022"/>
                <a:gd name="connsiteY31" fmla="*/ 449027 h 1533601"/>
                <a:gd name="connsiteX32" fmla="*/ 88045 w 733022"/>
                <a:gd name="connsiteY32" fmla="*/ 418365 h 1533601"/>
                <a:gd name="connsiteX33" fmla="*/ 102441 w 733022"/>
                <a:gd name="connsiteY33" fmla="*/ 420020 h 1533601"/>
                <a:gd name="connsiteX34" fmla="*/ 372960 w 733022"/>
                <a:gd name="connsiteY34" fmla="*/ 576281 h 1533601"/>
                <a:gd name="connsiteX35" fmla="*/ 332873 w 733022"/>
                <a:gd name="connsiteY35" fmla="*/ 734971 h 1533601"/>
                <a:gd name="connsiteX36" fmla="*/ 18202 w 733022"/>
                <a:gd name="connsiteY36" fmla="*/ 734971 h 1533601"/>
                <a:gd name="connsiteX37" fmla="*/ 41 w 733022"/>
                <a:gd name="connsiteY37" fmla="*/ 715520 h 1533601"/>
                <a:gd name="connsiteX38" fmla="*/ 76996 w 733022"/>
                <a:gd name="connsiteY38" fmla="*/ 427739 h 1533601"/>
                <a:gd name="connsiteX39" fmla="*/ 88045 w 733022"/>
                <a:gd name="connsiteY39" fmla="*/ 418365 h 1533601"/>
                <a:gd name="connsiteX40" fmla="*/ 353092 w 733022"/>
                <a:gd name="connsiteY40" fmla="*/ 125773 h 1533601"/>
                <a:gd name="connsiteX41" fmla="*/ 364754 w 733022"/>
                <a:gd name="connsiteY41" fmla="*/ 134404 h 1533601"/>
                <a:gd name="connsiteX42" fmla="*/ 519455 w 733022"/>
                <a:gd name="connsiteY42" fmla="*/ 402471 h 1533601"/>
                <a:gd name="connsiteX43" fmla="*/ 404069 w 733022"/>
                <a:gd name="connsiteY43" fmla="*/ 520735 h 1533601"/>
                <a:gd name="connsiteX44" fmla="*/ 134359 w 733022"/>
                <a:gd name="connsiteY44" fmla="*/ 364945 h 1533601"/>
                <a:gd name="connsiteX45" fmla="*/ 128356 w 733022"/>
                <a:gd name="connsiteY45" fmla="*/ 338999 h 1533601"/>
                <a:gd name="connsiteX46" fmla="*/ 338820 w 733022"/>
                <a:gd name="connsiteY46" fmla="*/ 128398 h 1533601"/>
                <a:gd name="connsiteX47" fmla="*/ 353092 w 733022"/>
                <a:gd name="connsiteY47" fmla="*/ 125773 h 1533601"/>
                <a:gd name="connsiteX48" fmla="*/ 715183 w 733022"/>
                <a:gd name="connsiteY48" fmla="*/ 41 h 1533601"/>
                <a:gd name="connsiteX49" fmla="*/ 715202 w 733022"/>
                <a:gd name="connsiteY49" fmla="*/ 41 h 1533601"/>
                <a:gd name="connsiteX50" fmla="*/ 728860 w 733022"/>
                <a:gd name="connsiteY50" fmla="*/ 4910 h 1533601"/>
                <a:gd name="connsiteX51" fmla="*/ 733022 w 733022"/>
                <a:gd name="connsiteY51" fmla="*/ 14482 h 1533601"/>
                <a:gd name="connsiteX52" fmla="*/ 733022 w 733022"/>
                <a:gd name="connsiteY52" fmla="*/ 325990 h 1533601"/>
                <a:gd name="connsiteX53" fmla="*/ 651303 w 733022"/>
                <a:gd name="connsiteY53" fmla="*/ 340329 h 1533601"/>
                <a:gd name="connsiteX54" fmla="*/ 574202 w 733022"/>
                <a:gd name="connsiteY54" fmla="*/ 369991 h 1533601"/>
                <a:gd name="connsiteX55" fmla="*/ 419821 w 733022"/>
                <a:gd name="connsiteY55" fmla="*/ 102489 h 1533601"/>
                <a:gd name="connsiteX56" fmla="*/ 427538 w 733022"/>
                <a:gd name="connsiteY56" fmla="*/ 77032 h 1533601"/>
                <a:gd name="connsiteX57" fmla="*/ 715183 w 733022"/>
                <a:gd name="connsiteY57" fmla="*/ 41 h 1533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733022" h="1533601">
                  <a:moveTo>
                    <a:pt x="579415" y="1154516"/>
                  </a:moveTo>
                  <a:cubicBezTo>
                    <a:pt x="603213" y="1165954"/>
                    <a:pt x="628197" y="1175308"/>
                    <a:pt x="654140" y="1182331"/>
                  </a:cubicBezTo>
                  <a:lnTo>
                    <a:pt x="733022" y="1195890"/>
                  </a:lnTo>
                  <a:lnTo>
                    <a:pt x="733022" y="1519078"/>
                  </a:lnTo>
                  <a:lnTo>
                    <a:pt x="728849" y="1528684"/>
                  </a:lnTo>
                  <a:cubicBezTo>
                    <a:pt x="725303" y="1531998"/>
                    <a:pt x="720443" y="1533909"/>
                    <a:pt x="715183" y="1533561"/>
                  </a:cubicBezTo>
                  <a:cubicBezTo>
                    <a:pt x="612463" y="1526782"/>
                    <a:pt x="515258" y="1499819"/>
                    <a:pt x="427500" y="1456569"/>
                  </a:cubicBezTo>
                  <a:lnTo>
                    <a:pt x="427481" y="1456569"/>
                  </a:lnTo>
                  <a:cubicBezTo>
                    <a:pt x="418052" y="1451918"/>
                    <a:pt x="414495" y="1440226"/>
                    <a:pt x="419765" y="1431112"/>
                  </a:cubicBezTo>
                  <a:close/>
                  <a:moveTo>
                    <a:pt x="409753" y="1009571"/>
                  </a:moveTo>
                  <a:cubicBezTo>
                    <a:pt x="440580" y="1054045"/>
                    <a:pt x="479424" y="1092456"/>
                    <a:pt x="524291" y="1122789"/>
                  </a:cubicBezTo>
                  <a:lnTo>
                    <a:pt x="364754" y="1399179"/>
                  </a:lnTo>
                  <a:cubicBezTo>
                    <a:pt x="359484" y="1408311"/>
                    <a:pt x="347571" y="1411060"/>
                    <a:pt x="338820" y="1405185"/>
                  </a:cubicBezTo>
                  <a:cubicBezTo>
                    <a:pt x="255730" y="1349376"/>
                    <a:pt x="184100" y="1277751"/>
                    <a:pt x="128318" y="1194584"/>
                  </a:cubicBezTo>
                  <a:cubicBezTo>
                    <a:pt x="122446" y="1185828"/>
                    <a:pt x="125194" y="1173910"/>
                    <a:pt x="134321" y="1168637"/>
                  </a:cubicBezTo>
                  <a:close/>
                  <a:moveTo>
                    <a:pt x="18202" y="798631"/>
                  </a:moveTo>
                  <a:lnTo>
                    <a:pt x="333739" y="798631"/>
                  </a:lnTo>
                  <a:cubicBezTo>
                    <a:pt x="338462" y="854289"/>
                    <a:pt x="353650" y="906991"/>
                    <a:pt x="377363" y="954723"/>
                  </a:cubicBezTo>
                  <a:lnTo>
                    <a:pt x="102441" y="1113544"/>
                  </a:lnTo>
                  <a:cubicBezTo>
                    <a:pt x="93331" y="1118816"/>
                    <a:pt x="81644" y="1115258"/>
                    <a:pt x="76996" y="1105824"/>
                  </a:cubicBezTo>
                  <a:cubicBezTo>
                    <a:pt x="33766" y="1018063"/>
                    <a:pt x="6816" y="920849"/>
                    <a:pt x="41" y="818081"/>
                  </a:cubicBezTo>
                  <a:cubicBezTo>
                    <a:pt x="-656" y="807556"/>
                    <a:pt x="7682" y="798631"/>
                    <a:pt x="18202" y="798631"/>
                  </a:cubicBezTo>
                  <a:close/>
                  <a:moveTo>
                    <a:pt x="733022" y="440947"/>
                  </a:moveTo>
                  <a:lnTo>
                    <a:pt x="733022" y="627192"/>
                  </a:lnTo>
                  <a:lnTo>
                    <a:pt x="694597" y="638681"/>
                  </a:lnTo>
                  <a:cubicBezTo>
                    <a:pt x="652977" y="659505"/>
                    <a:pt x="623092" y="700871"/>
                    <a:pt x="618391" y="748942"/>
                  </a:cubicBezTo>
                  <a:cubicBezTo>
                    <a:pt x="612336" y="810922"/>
                    <a:pt x="647367" y="865710"/>
                    <a:pt x="699416" y="889231"/>
                  </a:cubicBezTo>
                  <a:lnTo>
                    <a:pt x="733022" y="896448"/>
                  </a:lnTo>
                  <a:lnTo>
                    <a:pt x="733022" y="1083871"/>
                  </a:lnTo>
                  <a:lnTo>
                    <a:pt x="691051" y="1079617"/>
                  </a:lnTo>
                  <a:cubicBezTo>
                    <a:pt x="543639" y="1049300"/>
                    <a:pt x="432521" y="918253"/>
                    <a:pt x="433014" y="761820"/>
                  </a:cubicBezTo>
                  <a:cubicBezTo>
                    <a:pt x="433475" y="612208"/>
                    <a:pt x="537754" y="484162"/>
                    <a:pt x="678170" y="449027"/>
                  </a:cubicBezTo>
                  <a:close/>
                  <a:moveTo>
                    <a:pt x="88045" y="418365"/>
                  </a:moveTo>
                  <a:cubicBezTo>
                    <a:pt x="92687" y="416955"/>
                    <a:pt x="97886" y="417384"/>
                    <a:pt x="102441" y="420020"/>
                  </a:cubicBezTo>
                  <a:lnTo>
                    <a:pt x="372960" y="576281"/>
                  </a:lnTo>
                  <a:cubicBezTo>
                    <a:pt x="350187" y="624934"/>
                    <a:pt x="336185" y="678503"/>
                    <a:pt x="332873" y="734971"/>
                  </a:cubicBezTo>
                  <a:lnTo>
                    <a:pt x="18202" y="734971"/>
                  </a:lnTo>
                  <a:cubicBezTo>
                    <a:pt x="7682" y="734971"/>
                    <a:pt x="-656" y="726045"/>
                    <a:pt x="41" y="715520"/>
                  </a:cubicBezTo>
                  <a:cubicBezTo>
                    <a:pt x="6816" y="612752"/>
                    <a:pt x="33766" y="515501"/>
                    <a:pt x="76996" y="427739"/>
                  </a:cubicBezTo>
                  <a:cubicBezTo>
                    <a:pt x="79320" y="423023"/>
                    <a:pt x="83404" y="419775"/>
                    <a:pt x="88045" y="418365"/>
                  </a:cubicBezTo>
                  <a:close/>
                  <a:moveTo>
                    <a:pt x="353092" y="125773"/>
                  </a:moveTo>
                  <a:cubicBezTo>
                    <a:pt x="357823" y="126868"/>
                    <a:pt x="362119" y="129838"/>
                    <a:pt x="364754" y="134404"/>
                  </a:cubicBezTo>
                  <a:lnTo>
                    <a:pt x="519455" y="402471"/>
                  </a:lnTo>
                  <a:cubicBezTo>
                    <a:pt x="473873" y="434122"/>
                    <a:pt x="434652" y="474359"/>
                    <a:pt x="404069" y="520735"/>
                  </a:cubicBezTo>
                  <a:lnTo>
                    <a:pt x="134359" y="364945"/>
                  </a:lnTo>
                  <a:cubicBezTo>
                    <a:pt x="125231" y="359673"/>
                    <a:pt x="122484" y="347754"/>
                    <a:pt x="128356" y="338999"/>
                  </a:cubicBezTo>
                  <a:cubicBezTo>
                    <a:pt x="184138" y="255869"/>
                    <a:pt x="255730" y="184244"/>
                    <a:pt x="338820" y="128398"/>
                  </a:cubicBezTo>
                  <a:cubicBezTo>
                    <a:pt x="343196" y="125460"/>
                    <a:pt x="348362" y="124679"/>
                    <a:pt x="353092" y="125773"/>
                  </a:cubicBezTo>
                  <a:close/>
                  <a:moveTo>
                    <a:pt x="715183" y="41"/>
                  </a:moveTo>
                  <a:lnTo>
                    <a:pt x="715202" y="41"/>
                  </a:lnTo>
                  <a:cubicBezTo>
                    <a:pt x="720453" y="-308"/>
                    <a:pt x="725313" y="1599"/>
                    <a:pt x="728860" y="4910"/>
                  </a:cubicBezTo>
                  <a:lnTo>
                    <a:pt x="733022" y="14482"/>
                  </a:lnTo>
                  <a:lnTo>
                    <a:pt x="733022" y="325990"/>
                  </a:lnTo>
                  <a:lnTo>
                    <a:pt x="651303" y="340329"/>
                  </a:lnTo>
                  <a:cubicBezTo>
                    <a:pt x="624470" y="347792"/>
                    <a:pt x="598678" y="357762"/>
                    <a:pt x="574202" y="369991"/>
                  </a:cubicBezTo>
                  <a:lnTo>
                    <a:pt x="419821" y="102489"/>
                  </a:lnTo>
                  <a:cubicBezTo>
                    <a:pt x="414552" y="93357"/>
                    <a:pt x="418090" y="81683"/>
                    <a:pt x="427538" y="77032"/>
                  </a:cubicBezTo>
                  <a:cubicBezTo>
                    <a:pt x="515258" y="33801"/>
                    <a:pt x="612463" y="6819"/>
                    <a:pt x="715183" y="41"/>
                  </a:cubicBezTo>
                  <a:close/>
                </a:path>
              </a:pathLst>
            </a:custGeom>
            <a:gradFill>
              <a:gsLst>
                <a:gs pos="6000">
                  <a:srgbClr val="FF9248">
                    <a:alpha val="34000"/>
                  </a:srgbClr>
                </a:gs>
                <a:gs pos="77000">
                  <a:schemeClr val="accent4">
                    <a:alpha val="29000"/>
                  </a:schemeClr>
                </a:gs>
              </a:gsLst>
              <a:lin ang="3343960" scaled="1"/>
            </a:gradFill>
            <a:ln w="5992" cap="flat">
              <a:noFill/>
              <a:prstDash val="solid"/>
              <a:miter/>
            </a:ln>
          </p:spPr>
          <p:txBody>
            <a:bodyPr wrap="square" rtlCol="0" anchor="ctr">
              <a:noAutofit/>
            </a:bodyPr>
            <a:lstStyle/>
            <a:p>
              <a:endParaRPr lang="en-US"/>
            </a:p>
          </p:txBody>
        </p:sp>
        <p:sp>
          <p:nvSpPr>
            <p:cNvPr id="6" name="Donut 5">
              <a:extLst>
                <a:ext uri="{FF2B5EF4-FFF2-40B4-BE49-F238E27FC236}">
                  <a16:creationId xmlns:a16="http://schemas.microsoft.com/office/drawing/2014/main" id="{B3485D96-A0FD-51C1-35E0-6FE95B7880C0}"/>
                </a:ext>
              </a:extLst>
            </p:cNvPr>
            <p:cNvSpPr/>
            <p:nvPr/>
          </p:nvSpPr>
          <p:spPr bwMode="auto">
            <a:xfrm>
              <a:off x="11207931" y="1255577"/>
              <a:ext cx="385156" cy="385156"/>
            </a:xfrm>
            <a:prstGeom prst="donut">
              <a:avLst/>
            </a:prstGeom>
            <a:gradFill>
              <a:gsLst>
                <a:gs pos="6000">
                  <a:srgbClr val="FF9248">
                    <a:alpha val="34000"/>
                  </a:srgbClr>
                </a:gs>
                <a:gs pos="77000">
                  <a:schemeClr val="accent4">
                    <a:alpha val="29000"/>
                  </a:schemeClr>
                </a:gs>
              </a:gsLst>
              <a:lin ang="3343960" scaled="1"/>
            </a:gradFill>
            <a:ln w="5992" cap="flat">
              <a:noFill/>
              <a:prstDash val="solid"/>
              <a:miter/>
            </a:ln>
          </p:spPr>
          <p:txBody>
            <a:bodyPr wrap="square" rtlCol="0" anchor="ctr">
              <a:noAutofit/>
            </a:bodyPr>
            <a:lstStyle/>
            <a:p>
              <a:endParaRPr lang="en-US">
                <a:solidFill>
                  <a:schemeClr val="tx1"/>
                </a:solidFill>
              </a:endParaRPr>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55736713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1_Small title - half page">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237A9F4-2981-ED87-87E3-0A437EB3DFE6}"/>
              </a:ext>
            </a:extLst>
          </p:cNvPr>
          <p:cNvGrpSpPr/>
          <p:nvPr userDrawn="1"/>
        </p:nvGrpSpPr>
        <p:grpSpPr>
          <a:xfrm>
            <a:off x="11207931" y="114223"/>
            <a:ext cx="984069" cy="1526510"/>
            <a:chOff x="11207931" y="114223"/>
            <a:chExt cx="984069" cy="1526510"/>
          </a:xfrm>
        </p:grpSpPr>
        <p:sp>
          <p:nvSpPr>
            <p:cNvPr id="4" name="Freeform 3">
              <a:extLst>
                <a:ext uri="{FF2B5EF4-FFF2-40B4-BE49-F238E27FC236}">
                  <a16:creationId xmlns:a16="http://schemas.microsoft.com/office/drawing/2014/main" id="{77F65D75-DF4E-7E71-4E5E-C5FCD7FA0C6C}"/>
                </a:ext>
              </a:extLst>
            </p:cNvPr>
            <p:cNvSpPr/>
            <p:nvPr/>
          </p:nvSpPr>
          <p:spPr bwMode="auto">
            <a:xfrm>
              <a:off x="11683516" y="209494"/>
              <a:ext cx="508484" cy="1049410"/>
            </a:xfrm>
            <a:custGeom>
              <a:avLst/>
              <a:gdLst>
                <a:gd name="connsiteX0" fmla="*/ 508484 w 508484"/>
                <a:gd name="connsiteY0" fmla="*/ 0 h 1049410"/>
                <a:gd name="connsiteX1" fmla="*/ 508484 w 508484"/>
                <a:gd name="connsiteY1" fmla="*/ 1049410 h 1049410"/>
                <a:gd name="connsiteX2" fmla="*/ 420411 w 508484"/>
                <a:gd name="connsiteY2" fmla="*/ 1040532 h 1049410"/>
                <a:gd name="connsiteX3" fmla="*/ 0 w 508484"/>
                <a:gd name="connsiteY3" fmla="*/ 524705 h 1049410"/>
                <a:gd name="connsiteX4" fmla="*/ 420411 w 508484"/>
                <a:gd name="connsiteY4" fmla="*/ 8878 h 1049410"/>
                <a:gd name="connsiteX5" fmla="*/ 508484 w 508484"/>
                <a:gd name="connsiteY5" fmla="*/ 0 h 1049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8484" h="1049410">
                  <a:moveTo>
                    <a:pt x="508484" y="0"/>
                  </a:moveTo>
                  <a:lnTo>
                    <a:pt x="508484" y="1049410"/>
                  </a:lnTo>
                  <a:lnTo>
                    <a:pt x="420411" y="1040532"/>
                  </a:lnTo>
                  <a:cubicBezTo>
                    <a:pt x="180483" y="991436"/>
                    <a:pt x="0" y="779147"/>
                    <a:pt x="0" y="524705"/>
                  </a:cubicBezTo>
                  <a:cubicBezTo>
                    <a:pt x="0" y="270263"/>
                    <a:pt x="180483" y="57975"/>
                    <a:pt x="420411" y="8878"/>
                  </a:cubicBezTo>
                  <a:lnTo>
                    <a:pt x="508484" y="0"/>
                  </a:lnTo>
                  <a:close/>
                </a:path>
              </a:pathLst>
            </a:custGeom>
            <a:solidFill>
              <a:schemeClr val="accent5">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5" name="Freeform 4">
              <a:extLst>
                <a:ext uri="{FF2B5EF4-FFF2-40B4-BE49-F238E27FC236}">
                  <a16:creationId xmlns:a16="http://schemas.microsoft.com/office/drawing/2014/main" id="{B33967AA-DD7E-7027-77AA-F3BDD8543B66}"/>
                </a:ext>
              </a:extLst>
            </p:cNvPr>
            <p:cNvSpPr/>
            <p:nvPr/>
          </p:nvSpPr>
          <p:spPr>
            <a:xfrm>
              <a:off x="11593087" y="114223"/>
              <a:ext cx="598913" cy="1253024"/>
            </a:xfrm>
            <a:custGeom>
              <a:avLst/>
              <a:gdLst>
                <a:gd name="connsiteX0" fmla="*/ 579415 w 733022"/>
                <a:gd name="connsiteY0" fmla="*/ 1154516 h 1533601"/>
                <a:gd name="connsiteX1" fmla="*/ 654140 w 733022"/>
                <a:gd name="connsiteY1" fmla="*/ 1182331 h 1533601"/>
                <a:gd name="connsiteX2" fmla="*/ 733022 w 733022"/>
                <a:gd name="connsiteY2" fmla="*/ 1195890 h 1533601"/>
                <a:gd name="connsiteX3" fmla="*/ 733022 w 733022"/>
                <a:gd name="connsiteY3" fmla="*/ 1519078 h 1533601"/>
                <a:gd name="connsiteX4" fmla="*/ 728849 w 733022"/>
                <a:gd name="connsiteY4" fmla="*/ 1528684 h 1533601"/>
                <a:gd name="connsiteX5" fmla="*/ 715183 w 733022"/>
                <a:gd name="connsiteY5" fmla="*/ 1533561 h 1533601"/>
                <a:gd name="connsiteX6" fmla="*/ 427500 w 733022"/>
                <a:gd name="connsiteY6" fmla="*/ 1456569 h 1533601"/>
                <a:gd name="connsiteX7" fmla="*/ 427481 w 733022"/>
                <a:gd name="connsiteY7" fmla="*/ 1456569 h 1533601"/>
                <a:gd name="connsiteX8" fmla="*/ 419765 w 733022"/>
                <a:gd name="connsiteY8" fmla="*/ 1431112 h 1533601"/>
                <a:gd name="connsiteX9" fmla="*/ 409753 w 733022"/>
                <a:gd name="connsiteY9" fmla="*/ 1009571 h 1533601"/>
                <a:gd name="connsiteX10" fmla="*/ 524291 w 733022"/>
                <a:gd name="connsiteY10" fmla="*/ 1122789 h 1533601"/>
                <a:gd name="connsiteX11" fmla="*/ 364754 w 733022"/>
                <a:gd name="connsiteY11" fmla="*/ 1399179 h 1533601"/>
                <a:gd name="connsiteX12" fmla="*/ 338820 w 733022"/>
                <a:gd name="connsiteY12" fmla="*/ 1405185 h 1533601"/>
                <a:gd name="connsiteX13" fmla="*/ 128318 w 733022"/>
                <a:gd name="connsiteY13" fmla="*/ 1194584 h 1533601"/>
                <a:gd name="connsiteX14" fmla="*/ 134321 w 733022"/>
                <a:gd name="connsiteY14" fmla="*/ 1168637 h 1533601"/>
                <a:gd name="connsiteX15" fmla="*/ 18202 w 733022"/>
                <a:gd name="connsiteY15" fmla="*/ 798631 h 1533601"/>
                <a:gd name="connsiteX16" fmla="*/ 333739 w 733022"/>
                <a:gd name="connsiteY16" fmla="*/ 798631 h 1533601"/>
                <a:gd name="connsiteX17" fmla="*/ 377363 w 733022"/>
                <a:gd name="connsiteY17" fmla="*/ 954723 h 1533601"/>
                <a:gd name="connsiteX18" fmla="*/ 102441 w 733022"/>
                <a:gd name="connsiteY18" fmla="*/ 1113544 h 1533601"/>
                <a:gd name="connsiteX19" fmla="*/ 76996 w 733022"/>
                <a:gd name="connsiteY19" fmla="*/ 1105824 h 1533601"/>
                <a:gd name="connsiteX20" fmla="*/ 41 w 733022"/>
                <a:gd name="connsiteY20" fmla="*/ 818081 h 1533601"/>
                <a:gd name="connsiteX21" fmla="*/ 18202 w 733022"/>
                <a:gd name="connsiteY21" fmla="*/ 798631 h 1533601"/>
                <a:gd name="connsiteX22" fmla="*/ 733022 w 733022"/>
                <a:gd name="connsiteY22" fmla="*/ 440947 h 1533601"/>
                <a:gd name="connsiteX23" fmla="*/ 733022 w 733022"/>
                <a:gd name="connsiteY23" fmla="*/ 627192 h 1533601"/>
                <a:gd name="connsiteX24" fmla="*/ 694597 w 733022"/>
                <a:gd name="connsiteY24" fmla="*/ 638681 h 1533601"/>
                <a:gd name="connsiteX25" fmla="*/ 618391 w 733022"/>
                <a:gd name="connsiteY25" fmla="*/ 748942 h 1533601"/>
                <a:gd name="connsiteX26" fmla="*/ 699416 w 733022"/>
                <a:gd name="connsiteY26" fmla="*/ 889231 h 1533601"/>
                <a:gd name="connsiteX27" fmla="*/ 733022 w 733022"/>
                <a:gd name="connsiteY27" fmla="*/ 896448 h 1533601"/>
                <a:gd name="connsiteX28" fmla="*/ 733022 w 733022"/>
                <a:gd name="connsiteY28" fmla="*/ 1083871 h 1533601"/>
                <a:gd name="connsiteX29" fmla="*/ 691051 w 733022"/>
                <a:gd name="connsiteY29" fmla="*/ 1079617 h 1533601"/>
                <a:gd name="connsiteX30" fmla="*/ 433014 w 733022"/>
                <a:gd name="connsiteY30" fmla="*/ 761820 h 1533601"/>
                <a:gd name="connsiteX31" fmla="*/ 678170 w 733022"/>
                <a:gd name="connsiteY31" fmla="*/ 449027 h 1533601"/>
                <a:gd name="connsiteX32" fmla="*/ 88045 w 733022"/>
                <a:gd name="connsiteY32" fmla="*/ 418365 h 1533601"/>
                <a:gd name="connsiteX33" fmla="*/ 102441 w 733022"/>
                <a:gd name="connsiteY33" fmla="*/ 420020 h 1533601"/>
                <a:gd name="connsiteX34" fmla="*/ 372960 w 733022"/>
                <a:gd name="connsiteY34" fmla="*/ 576281 h 1533601"/>
                <a:gd name="connsiteX35" fmla="*/ 332873 w 733022"/>
                <a:gd name="connsiteY35" fmla="*/ 734971 h 1533601"/>
                <a:gd name="connsiteX36" fmla="*/ 18202 w 733022"/>
                <a:gd name="connsiteY36" fmla="*/ 734971 h 1533601"/>
                <a:gd name="connsiteX37" fmla="*/ 41 w 733022"/>
                <a:gd name="connsiteY37" fmla="*/ 715520 h 1533601"/>
                <a:gd name="connsiteX38" fmla="*/ 76996 w 733022"/>
                <a:gd name="connsiteY38" fmla="*/ 427739 h 1533601"/>
                <a:gd name="connsiteX39" fmla="*/ 88045 w 733022"/>
                <a:gd name="connsiteY39" fmla="*/ 418365 h 1533601"/>
                <a:gd name="connsiteX40" fmla="*/ 353092 w 733022"/>
                <a:gd name="connsiteY40" fmla="*/ 125773 h 1533601"/>
                <a:gd name="connsiteX41" fmla="*/ 364754 w 733022"/>
                <a:gd name="connsiteY41" fmla="*/ 134404 h 1533601"/>
                <a:gd name="connsiteX42" fmla="*/ 519455 w 733022"/>
                <a:gd name="connsiteY42" fmla="*/ 402471 h 1533601"/>
                <a:gd name="connsiteX43" fmla="*/ 404069 w 733022"/>
                <a:gd name="connsiteY43" fmla="*/ 520735 h 1533601"/>
                <a:gd name="connsiteX44" fmla="*/ 134359 w 733022"/>
                <a:gd name="connsiteY44" fmla="*/ 364945 h 1533601"/>
                <a:gd name="connsiteX45" fmla="*/ 128356 w 733022"/>
                <a:gd name="connsiteY45" fmla="*/ 338999 h 1533601"/>
                <a:gd name="connsiteX46" fmla="*/ 338820 w 733022"/>
                <a:gd name="connsiteY46" fmla="*/ 128398 h 1533601"/>
                <a:gd name="connsiteX47" fmla="*/ 353092 w 733022"/>
                <a:gd name="connsiteY47" fmla="*/ 125773 h 1533601"/>
                <a:gd name="connsiteX48" fmla="*/ 715183 w 733022"/>
                <a:gd name="connsiteY48" fmla="*/ 41 h 1533601"/>
                <a:gd name="connsiteX49" fmla="*/ 715202 w 733022"/>
                <a:gd name="connsiteY49" fmla="*/ 41 h 1533601"/>
                <a:gd name="connsiteX50" fmla="*/ 728860 w 733022"/>
                <a:gd name="connsiteY50" fmla="*/ 4910 h 1533601"/>
                <a:gd name="connsiteX51" fmla="*/ 733022 w 733022"/>
                <a:gd name="connsiteY51" fmla="*/ 14482 h 1533601"/>
                <a:gd name="connsiteX52" fmla="*/ 733022 w 733022"/>
                <a:gd name="connsiteY52" fmla="*/ 325990 h 1533601"/>
                <a:gd name="connsiteX53" fmla="*/ 651303 w 733022"/>
                <a:gd name="connsiteY53" fmla="*/ 340329 h 1533601"/>
                <a:gd name="connsiteX54" fmla="*/ 574202 w 733022"/>
                <a:gd name="connsiteY54" fmla="*/ 369991 h 1533601"/>
                <a:gd name="connsiteX55" fmla="*/ 419821 w 733022"/>
                <a:gd name="connsiteY55" fmla="*/ 102489 h 1533601"/>
                <a:gd name="connsiteX56" fmla="*/ 427538 w 733022"/>
                <a:gd name="connsiteY56" fmla="*/ 77032 h 1533601"/>
                <a:gd name="connsiteX57" fmla="*/ 715183 w 733022"/>
                <a:gd name="connsiteY57" fmla="*/ 41 h 1533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733022" h="1533601">
                  <a:moveTo>
                    <a:pt x="579415" y="1154516"/>
                  </a:moveTo>
                  <a:cubicBezTo>
                    <a:pt x="603213" y="1165954"/>
                    <a:pt x="628197" y="1175308"/>
                    <a:pt x="654140" y="1182331"/>
                  </a:cubicBezTo>
                  <a:lnTo>
                    <a:pt x="733022" y="1195890"/>
                  </a:lnTo>
                  <a:lnTo>
                    <a:pt x="733022" y="1519078"/>
                  </a:lnTo>
                  <a:lnTo>
                    <a:pt x="728849" y="1528684"/>
                  </a:lnTo>
                  <a:cubicBezTo>
                    <a:pt x="725303" y="1531998"/>
                    <a:pt x="720443" y="1533909"/>
                    <a:pt x="715183" y="1533561"/>
                  </a:cubicBezTo>
                  <a:cubicBezTo>
                    <a:pt x="612463" y="1526782"/>
                    <a:pt x="515258" y="1499819"/>
                    <a:pt x="427500" y="1456569"/>
                  </a:cubicBezTo>
                  <a:lnTo>
                    <a:pt x="427481" y="1456569"/>
                  </a:lnTo>
                  <a:cubicBezTo>
                    <a:pt x="418052" y="1451918"/>
                    <a:pt x="414495" y="1440226"/>
                    <a:pt x="419765" y="1431112"/>
                  </a:cubicBezTo>
                  <a:close/>
                  <a:moveTo>
                    <a:pt x="409753" y="1009571"/>
                  </a:moveTo>
                  <a:cubicBezTo>
                    <a:pt x="440580" y="1054045"/>
                    <a:pt x="479424" y="1092456"/>
                    <a:pt x="524291" y="1122789"/>
                  </a:cubicBezTo>
                  <a:lnTo>
                    <a:pt x="364754" y="1399179"/>
                  </a:lnTo>
                  <a:cubicBezTo>
                    <a:pt x="359484" y="1408311"/>
                    <a:pt x="347571" y="1411060"/>
                    <a:pt x="338820" y="1405185"/>
                  </a:cubicBezTo>
                  <a:cubicBezTo>
                    <a:pt x="255730" y="1349376"/>
                    <a:pt x="184100" y="1277751"/>
                    <a:pt x="128318" y="1194584"/>
                  </a:cubicBezTo>
                  <a:cubicBezTo>
                    <a:pt x="122446" y="1185828"/>
                    <a:pt x="125194" y="1173910"/>
                    <a:pt x="134321" y="1168637"/>
                  </a:cubicBezTo>
                  <a:close/>
                  <a:moveTo>
                    <a:pt x="18202" y="798631"/>
                  </a:moveTo>
                  <a:lnTo>
                    <a:pt x="333739" y="798631"/>
                  </a:lnTo>
                  <a:cubicBezTo>
                    <a:pt x="338462" y="854289"/>
                    <a:pt x="353650" y="906991"/>
                    <a:pt x="377363" y="954723"/>
                  </a:cubicBezTo>
                  <a:lnTo>
                    <a:pt x="102441" y="1113544"/>
                  </a:lnTo>
                  <a:cubicBezTo>
                    <a:pt x="93331" y="1118816"/>
                    <a:pt x="81644" y="1115258"/>
                    <a:pt x="76996" y="1105824"/>
                  </a:cubicBezTo>
                  <a:cubicBezTo>
                    <a:pt x="33766" y="1018063"/>
                    <a:pt x="6816" y="920849"/>
                    <a:pt x="41" y="818081"/>
                  </a:cubicBezTo>
                  <a:cubicBezTo>
                    <a:pt x="-656" y="807556"/>
                    <a:pt x="7682" y="798631"/>
                    <a:pt x="18202" y="798631"/>
                  </a:cubicBezTo>
                  <a:close/>
                  <a:moveTo>
                    <a:pt x="733022" y="440947"/>
                  </a:moveTo>
                  <a:lnTo>
                    <a:pt x="733022" y="627192"/>
                  </a:lnTo>
                  <a:lnTo>
                    <a:pt x="694597" y="638681"/>
                  </a:lnTo>
                  <a:cubicBezTo>
                    <a:pt x="652977" y="659505"/>
                    <a:pt x="623092" y="700871"/>
                    <a:pt x="618391" y="748942"/>
                  </a:cubicBezTo>
                  <a:cubicBezTo>
                    <a:pt x="612336" y="810922"/>
                    <a:pt x="647367" y="865710"/>
                    <a:pt x="699416" y="889231"/>
                  </a:cubicBezTo>
                  <a:lnTo>
                    <a:pt x="733022" y="896448"/>
                  </a:lnTo>
                  <a:lnTo>
                    <a:pt x="733022" y="1083871"/>
                  </a:lnTo>
                  <a:lnTo>
                    <a:pt x="691051" y="1079617"/>
                  </a:lnTo>
                  <a:cubicBezTo>
                    <a:pt x="543639" y="1049300"/>
                    <a:pt x="432521" y="918253"/>
                    <a:pt x="433014" y="761820"/>
                  </a:cubicBezTo>
                  <a:cubicBezTo>
                    <a:pt x="433475" y="612208"/>
                    <a:pt x="537754" y="484162"/>
                    <a:pt x="678170" y="449027"/>
                  </a:cubicBezTo>
                  <a:close/>
                  <a:moveTo>
                    <a:pt x="88045" y="418365"/>
                  </a:moveTo>
                  <a:cubicBezTo>
                    <a:pt x="92687" y="416955"/>
                    <a:pt x="97886" y="417384"/>
                    <a:pt x="102441" y="420020"/>
                  </a:cubicBezTo>
                  <a:lnTo>
                    <a:pt x="372960" y="576281"/>
                  </a:lnTo>
                  <a:cubicBezTo>
                    <a:pt x="350187" y="624934"/>
                    <a:pt x="336185" y="678503"/>
                    <a:pt x="332873" y="734971"/>
                  </a:cubicBezTo>
                  <a:lnTo>
                    <a:pt x="18202" y="734971"/>
                  </a:lnTo>
                  <a:cubicBezTo>
                    <a:pt x="7682" y="734971"/>
                    <a:pt x="-656" y="726045"/>
                    <a:pt x="41" y="715520"/>
                  </a:cubicBezTo>
                  <a:cubicBezTo>
                    <a:pt x="6816" y="612752"/>
                    <a:pt x="33766" y="515501"/>
                    <a:pt x="76996" y="427739"/>
                  </a:cubicBezTo>
                  <a:cubicBezTo>
                    <a:pt x="79320" y="423023"/>
                    <a:pt x="83404" y="419775"/>
                    <a:pt x="88045" y="418365"/>
                  </a:cubicBezTo>
                  <a:close/>
                  <a:moveTo>
                    <a:pt x="353092" y="125773"/>
                  </a:moveTo>
                  <a:cubicBezTo>
                    <a:pt x="357823" y="126868"/>
                    <a:pt x="362119" y="129838"/>
                    <a:pt x="364754" y="134404"/>
                  </a:cubicBezTo>
                  <a:lnTo>
                    <a:pt x="519455" y="402471"/>
                  </a:lnTo>
                  <a:cubicBezTo>
                    <a:pt x="473873" y="434122"/>
                    <a:pt x="434652" y="474359"/>
                    <a:pt x="404069" y="520735"/>
                  </a:cubicBezTo>
                  <a:lnTo>
                    <a:pt x="134359" y="364945"/>
                  </a:lnTo>
                  <a:cubicBezTo>
                    <a:pt x="125231" y="359673"/>
                    <a:pt x="122484" y="347754"/>
                    <a:pt x="128356" y="338999"/>
                  </a:cubicBezTo>
                  <a:cubicBezTo>
                    <a:pt x="184138" y="255869"/>
                    <a:pt x="255730" y="184244"/>
                    <a:pt x="338820" y="128398"/>
                  </a:cubicBezTo>
                  <a:cubicBezTo>
                    <a:pt x="343196" y="125460"/>
                    <a:pt x="348362" y="124679"/>
                    <a:pt x="353092" y="125773"/>
                  </a:cubicBezTo>
                  <a:close/>
                  <a:moveTo>
                    <a:pt x="715183" y="41"/>
                  </a:moveTo>
                  <a:lnTo>
                    <a:pt x="715202" y="41"/>
                  </a:lnTo>
                  <a:cubicBezTo>
                    <a:pt x="720453" y="-308"/>
                    <a:pt x="725313" y="1599"/>
                    <a:pt x="728860" y="4910"/>
                  </a:cubicBezTo>
                  <a:lnTo>
                    <a:pt x="733022" y="14482"/>
                  </a:lnTo>
                  <a:lnTo>
                    <a:pt x="733022" y="325990"/>
                  </a:lnTo>
                  <a:lnTo>
                    <a:pt x="651303" y="340329"/>
                  </a:lnTo>
                  <a:cubicBezTo>
                    <a:pt x="624470" y="347792"/>
                    <a:pt x="598678" y="357762"/>
                    <a:pt x="574202" y="369991"/>
                  </a:cubicBezTo>
                  <a:lnTo>
                    <a:pt x="419821" y="102489"/>
                  </a:lnTo>
                  <a:cubicBezTo>
                    <a:pt x="414552" y="93357"/>
                    <a:pt x="418090" y="81683"/>
                    <a:pt x="427538" y="77032"/>
                  </a:cubicBezTo>
                  <a:cubicBezTo>
                    <a:pt x="515258" y="33801"/>
                    <a:pt x="612463" y="6819"/>
                    <a:pt x="715183" y="41"/>
                  </a:cubicBezTo>
                  <a:close/>
                </a:path>
              </a:pathLst>
            </a:custGeom>
            <a:gradFill>
              <a:gsLst>
                <a:gs pos="6000">
                  <a:srgbClr val="FF9248">
                    <a:alpha val="34000"/>
                  </a:srgbClr>
                </a:gs>
                <a:gs pos="77000">
                  <a:schemeClr val="accent4">
                    <a:alpha val="29000"/>
                  </a:schemeClr>
                </a:gs>
              </a:gsLst>
              <a:lin ang="3343960" scaled="1"/>
            </a:gradFill>
            <a:ln w="5992" cap="flat">
              <a:noFill/>
              <a:prstDash val="solid"/>
              <a:miter/>
            </a:ln>
          </p:spPr>
          <p:txBody>
            <a:bodyPr wrap="square" rtlCol="0" anchor="ctr">
              <a:noAutofit/>
            </a:bodyPr>
            <a:lstStyle/>
            <a:p>
              <a:endParaRPr lang="en-US"/>
            </a:p>
          </p:txBody>
        </p:sp>
        <p:sp>
          <p:nvSpPr>
            <p:cNvPr id="6" name="Donut 5">
              <a:extLst>
                <a:ext uri="{FF2B5EF4-FFF2-40B4-BE49-F238E27FC236}">
                  <a16:creationId xmlns:a16="http://schemas.microsoft.com/office/drawing/2014/main" id="{5E0C065C-63D7-DBB5-BB94-0A7BC6ABE7F3}"/>
                </a:ext>
              </a:extLst>
            </p:cNvPr>
            <p:cNvSpPr/>
            <p:nvPr/>
          </p:nvSpPr>
          <p:spPr bwMode="auto">
            <a:xfrm>
              <a:off x="11207931" y="1255577"/>
              <a:ext cx="385156" cy="385156"/>
            </a:xfrm>
            <a:prstGeom prst="donut">
              <a:avLst/>
            </a:prstGeom>
            <a:gradFill>
              <a:gsLst>
                <a:gs pos="6000">
                  <a:srgbClr val="FF9248">
                    <a:alpha val="34000"/>
                  </a:srgbClr>
                </a:gs>
                <a:gs pos="77000">
                  <a:schemeClr val="accent4">
                    <a:alpha val="29000"/>
                  </a:schemeClr>
                </a:gs>
              </a:gsLst>
              <a:lin ang="3343960" scaled="1"/>
            </a:gradFill>
            <a:ln w="5992" cap="flat">
              <a:noFill/>
              <a:prstDash val="solid"/>
              <a:miter/>
            </a:ln>
          </p:spPr>
          <p:txBody>
            <a:bodyPr wrap="square" rtlCol="0" anchor="ctr">
              <a:noAutofit/>
            </a:bodyPr>
            <a:lstStyle/>
            <a:p>
              <a:endParaRPr lang="en-US">
                <a:solidFill>
                  <a:schemeClr val="tx1"/>
                </a:solidFill>
              </a:endParaRPr>
            </a:p>
          </p:txBody>
        </p:sp>
      </p:grpSp>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22595024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and text side by side 2 - gradient">
    <p:bg>
      <p:bgPr>
        <a:gradFill>
          <a:gsLst>
            <a:gs pos="0">
              <a:schemeClr val="bg1"/>
            </a:gs>
            <a:gs pos="100000">
              <a:schemeClr val="bg1">
                <a:lumMod val="85000"/>
                <a:alpha val="50000"/>
              </a:schemeClr>
            </a:gs>
          </a:gsLst>
          <a:lin ang="1890000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5442284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1_Demo slide 2">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grpSp>
        <p:nvGrpSpPr>
          <p:cNvPr id="3" name="Group 2">
            <a:extLst>
              <a:ext uri="{FF2B5EF4-FFF2-40B4-BE49-F238E27FC236}">
                <a16:creationId xmlns:a16="http://schemas.microsoft.com/office/drawing/2014/main" id="{BF6F26E9-04F5-1E5C-929C-43C2DA492ECB}"/>
              </a:ext>
            </a:extLst>
          </p:cNvPr>
          <p:cNvGrpSpPr/>
          <p:nvPr userDrawn="1"/>
        </p:nvGrpSpPr>
        <p:grpSpPr>
          <a:xfrm>
            <a:off x="11207931" y="114223"/>
            <a:ext cx="984069" cy="1526510"/>
            <a:chOff x="11207931" y="114223"/>
            <a:chExt cx="984069" cy="1526510"/>
          </a:xfrm>
        </p:grpSpPr>
        <p:sp>
          <p:nvSpPr>
            <p:cNvPr id="4" name="Freeform 3">
              <a:extLst>
                <a:ext uri="{FF2B5EF4-FFF2-40B4-BE49-F238E27FC236}">
                  <a16:creationId xmlns:a16="http://schemas.microsoft.com/office/drawing/2014/main" id="{5BCD68EF-E41E-6D54-6514-00428B126C35}"/>
                </a:ext>
              </a:extLst>
            </p:cNvPr>
            <p:cNvSpPr/>
            <p:nvPr/>
          </p:nvSpPr>
          <p:spPr bwMode="auto">
            <a:xfrm>
              <a:off x="11683516" y="209494"/>
              <a:ext cx="508484" cy="1049410"/>
            </a:xfrm>
            <a:custGeom>
              <a:avLst/>
              <a:gdLst>
                <a:gd name="connsiteX0" fmla="*/ 508484 w 508484"/>
                <a:gd name="connsiteY0" fmla="*/ 0 h 1049410"/>
                <a:gd name="connsiteX1" fmla="*/ 508484 w 508484"/>
                <a:gd name="connsiteY1" fmla="*/ 1049410 h 1049410"/>
                <a:gd name="connsiteX2" fmla="*/ 420411 w 508484"/>
                <a:gd name="connsiteY2" fmla="*/ 1040532 h 1049410"/>
                <a:gd name="connsiteX3" fmla="*/ 0 w 508484"/>
                <a:gd name="connsiteY3" fmla="*/ 524705 h 1049410"/>
                <a:gd name="connsiteX4" fmla="*/ 420411 w 508484"/>
                <a:gd name="connsiteY4" fmla="*/ 8878 h 1049410"/>
                <a:gd name="connsiteX5" fmla="*/ 508484 w 508484"/>
                <a:gd name="connsiteY5" fmla="*/ 0 h 1049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8484" h="1049410">
                  <a:moveTo>
                    <a:pt x="508484" y="0"/>
                  </a:moveTo>
                  <a:lnTo>
                    <a:pt x="508484" y="1049410"/>
                  </a:lnTo>
                  <a:lnTo>
                    <a:pt x="420411" y="1040532"/>
                  </a:lnTo>
                  <a:cubicBezTo>
                    <a:pt x="180483" y="991436"/>
                    <a:pt x="0" y="779147"/>
                    <a:pt x="0" y="524705"/>
                  </a:cubicBezTo>
                  <a:cubicBezTo>
                    <a:pt x="0" y="270263"/>
                    <a:pt x="180483" y="57975"/>
                    <a:pt x="420411" y="8878"/>
                  </a:cubicBezTo>
                  <a:lnTo>
                    <a:pt x="508484" y="0"/>
                  </a:lnTo>
                  <a:close/>
                </a:path>
              </a:pathLst>
            </a:custGeom>
            <a:solidFill>
              <a:schemeClr val="accent5">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6" name="Freeform 5">
              <a:extLst>
                <a:ext uri="{FF2B5EF4-FFF2-40B4-BE49-F238E27FC236}">
                  <a16:creationId xmlns:a16="http://schemas.microsoft.com/office/drawing/2014/main" id="{92140320-85FC-8781-93BB-1C7BDB557CD3}"/>
                </a:ext>
              </a:extLst>
            </p:cNvPr>
            <p:cNvSpPr/>
            <p:nvPr/>
          </p:nvSpPr>
          <p:spPr>
            <a:xfrm>
              <a:off x="11593087" y="114223"/>
              <a:ext cx="598913" cy="1253024"/>
            </a:xfrm>
            <a:custGeom>
              <a:avLst/>
              <a:gdLst>
                <a:gd name="connsiteX0" fmla="*/ 579415 w 733022"/>
                <a:gd name="connsiteY0" fmla="*/ 1154516 h 1533601"/>
                <a:gd name="connsiteX1" fmla="*/ 654140 w 733022"/>
                <a:gd name="connsiteY1" fmla="*/ 1182331 h 1533601"/>
                <a:gd name="connsiteX2" fmla="*/ 733022 w 733022"/>
                <a:gd name="connsiteY2" fmla="*/ 1195890 h 1533601"/>
                <a:gd name="connsiteX3" fmla="*/ 733022 w 733022"/>
                <a:gd name="connsiteY3" fmla="*/ 1519078 h 1533601"/>
                <a:gd name="connsiteX4" fmla="*/ 728849 w 733022"/>
                <a:gd name="connsiteY4" fmla="*/ 1528684 h 1533601"/>
                <a:gd name="connsiteX5" fmla="*/ 715183 w 733022"/>
                <a:gd name="connsiteY5" fmla="*/ 1533561 h 1533601"/>
                <a:gd name="connsiteX6" fmla="*/ 427500 w 733022"/>
                <a:gd name="connsiteY6" fmla="*/ 1456569 h 1533601"/>
                <a:gd name="connsiteX7" fmla="*/ 427481 w 733022"/>
                <a:gd name="connsiteY7" fmla="*/ 1456569 h 1533601"/>
                <a:gd name="connsiteX8" fmla="*/ 419765 w 733022"/>
                <a:gd name="connsiteY8" fmla="*/ 1431112 h 1533601"/>
                <a:gd name="connsiteX9" fmla="*/ 409753 w 733022"/>
                <a:gd name="connsiteY9" fmla="*/ 1009571 h 1533601"/>
                <a:gd name="connsiteX10" fmla="*/ 524291 w 733022"/>
                <a:gd name="connsiteY10" fmla="*/ 1122789 h 1533601"/>
                <a:gd name="connsiteX11" fmla="*/ 364754 w 733022"/>
                <a:gd name="connsiteY11" fmla="*/ 1399179 h 1533601"/>
                <a:gd name="connsiteX12" fmla="*/ 338820 w 733022"/>
                <a:gd name="connsiteY12" fmla="*/ 1405185 h 1533601"/>
                <a:gd name="connsiteX13" fmla="*/ 128318 w 733022"/>
                <a:gd name="connsiteY13" fmla="*/ 1194584 h 1533601"/>
                <a:gd name="connsiteX14" fmla="*/ 134321 w 733022"/>
                <a:gd name="connsiteY14" fmla="*/ 1168637 h 1533601"/>
                <a:gd name="connsiteX15" fmla="*/ 18202 w 733022"/>
                <a:gd name="connsiteY15" fmla="*/ 798631 h 1533601"/>
                <a:gd name="connsiteX16" fmla="*/ 333739 w 733022"/>
                <a:gd name="connsiteY16" fmla="*/ 798631 h 1533601"/>
                <a:gd name="connsiteX17" fmla="*/ 377363 w 733022"/>
                <a:gd name="connsiteY17" fmla="*/ 954723 h 1533601"/>
                <a:gd name="connsiteX18" fmla="*/ 102441 w 733022"/>
                <a:gd name="connsiteY18" fmla="*/ 1113544 h 1533601"/>
                <a:gd name="connsiteX19" fmla="*/ 76996 w 733022"/>
                <a:gd name="connsiteY19" fmla="*/ 1105824 h 1533601"/>
                <a:gd name="connsiteX20" fmla="*/ 41 w 733022"/>
                <a:gd name="connsiteY20" fmla="*/ 818081 h 1533601"/>
                <a:gd name="connsiteX21" fmla="*/ 18202 w 733022"/>
                <a:gd name="connsiteY21" fmla="*/ 798631 h 1533601"/>
                <a:gd name="connsiteX22" fmla="*/ 733022 w 733022"/>
                <a:gd name="connsiteY22" fmla="*/ 440947 h 1533601"/>
                <a:gd name="connsiteX23" fmla="*/ 733022 w 733022"/>
                <a:gd name="connsiteY23" fmla="*/ 627192 h 1533601"/>
                <a:gd name="connsiteX24" fmla="*/ 694597 w 733022"/>
                <a:gd name="connsiteY24" fmla="*/ 638681 h 1533601"/>
                <a:gd name="connsiteX25" fmla="*/ 618391 w 733022"/>
                <a:gd name="connsiteY25" fmla="*/ 748942 h 1533601"/>
                <a:gd name="connsiteX26" fmla="*/ 699416 w 733022"/>
                <a:gd name="connsiteY26" fmla="*/ 889231 h 1533601"/>
                <a:gd name="connsiteX27" fmla="*/ 733022 w 733022"/>
                <a:gd name="connsiteY27" fmla="*/ 896448 h 1533601"/>
                <a:gd name="connsiteX28" fmla="*/ 733022 w 733022"/>
                <a:gd name="connsiteY28" fmla="*/ 1083871 h 1533601"/>
                <a:gd name="connsiteX29" fmla="*/ 691051 w 733022"/>
                <a:gd name="connsiteY29" fmla="*/ 1079617 h 1533601"/>
                <a:gd name="connsiteX30" fmla="*/ 433014 w 733022"/>
                <a:gd name="connsiteY30" fmla="*/ 761820 h 1533601"/>
                <a:gd name="connsiteX31" fmla="*/ 678170 w 733022"/>
                <a:gd name="connsiteY31" fmla="*/ 449027 h 1533601"/>
                <a:gd name="connsiteX32" fmla="*/ 88045 w 733022"/>
                <a:gd name="connsiteY32" fmla="*/ 418365 h 1533601"/>
                <a:gd name="connsiteX33" fmla="*/ 102441 w 733022"/>
                <a:gd name="connsiteY33" fmla="*/ 420020 h 1533601"/>
                <a:gd name="connsiteX34" fmla="*/ 372960 w 733022"/>
                <a:gd name="connsiteY34" fmla="*/ 576281 h 1533601"/>
                <a:gd name="connsiteX35" fmla="*/ 332873 w 733022"/>
                <a:gd name="connsiteY35" fmla="*/ 734971 h 1533601"/>
                <a:gd name="connsiteX36" fmla="*/ 18202 w 733022"/>
                <a:gd name="connsiteY36" fmla="*/ 734971 h 1533601"/>
                <a:gd name="connsiteX37" fmla="*/ 41 w 733022"/>
                <a:gd name="connsiteY37" fmla="*/ 715520 h 1533601"/>
                <a:gd name="connsiteX38" fmla="*/ 76996 w 733022"/>
                <a:gd name="connsiteY38" fmla="*/ 427739 h 1533601"/>
                <a:gd name="connsiteX39" fmla="*/ 88045 w 733022"/>
                <a:gd name="connsiteY39" fmla="*/ 418365 h 1533601"/>
                <a:gd name="connsiteX40" fmla="*/ 353092 w 733022"/>
                <a:gd name="connsiteY40" fmla="*/ 125773 h 1533601"/>
                <a:gd name="connsiteX41" fmla="*/ 364754 w 733022"/>
                <a:gd name="connsiteY41" fmla="*/ 134404 h 1533601"/>
                <a:gd name="connsiteX42" fmla="*/ 519455 w 733022"/>
                <a:gd name="connsiteY42" fmla="*/ 402471 h 1533601"/>
                <a:gd name="connsiteX43" fmla="*/ 404069 w 733022"/>
                <a:gd name="connsiteY43" fmla="*/ 520735 h 1533601"/>
                <a:gd name="connsiteX44" fmla="*/ 134359 w 733022"/>
                <a:gd name="connsiteY44" fmla="*/ 364945 h 1533601"/>
                <a:gd name="connsiteX45" fmla="*/ 128356 w 733022"/>
                <a:gd name="connsiteY45" fmla="*/ 338999 h 1533601"/>
                <a:gd name="connsiteX46" fmla="*/ 338820 w 733022"/>
                <a:gd name="connsiteY46" fmla="*/ 128398 h 1533601"/>
                <a:gd name="connsiteX47" fmla="*/ 353092 w 733022"/>
                <a:gd name="connsiteY47" fmla="*/ 125773 h 1533601"/>
                <a:gd name="connsiteX48" fmla="*/ 715183 w 733022"/>
                <a:gd name="connsiteY48" fmla="*/ 41 h 1533601"/>
                <a:gd name="connsiteX49" fmla="*/ 715202 w 733022"/>
                <a:gd name="connsiteY49" fmla="*/ 41 h 1533601"/>
                <a:gd name="connsiteX50" fmla="*/ 728860 w 733022"/>
                <a:gd name="connsiteY50" fmla="*/ 4910 h 1533601"/>
                <a:gd name="connsiteX51" fmla="*/ 733022 w 733022"/>
                <a:gd name="connsiteY51" fmla="*/ 14482 h 1533601"/>
                <a:gd name="connsiteX52" fmla="*/ 733022 w 733022"/>
                <a:gd name="connsiteY52" fmla="*/ 325990 h 1533601"/>
                <a:gd name="connsiteX53" fmla="*/ 651303 w 733022"/>
                <a:gd name="connsiteY53" fmla="*/ 340329 h 1533601"/>
                <a:gd name="connsiteX54" fmla="*/ 574202 w 733022"/>
                <a:gd name="connsiteY54" fmla="*/ 369991 h 1533601"/>
                <a:gd name="connsiteX55" fmla="*/ 419821 w 733022"/>
                <a:gd name="connsiteY55" fmla="*/ 102489 h 1533601"/>
                <a:gd name="connsiteX56" fmla="*/ 427538 w 733022"/>
                <a:gd name="connsiteY56" fmla="*/ 77032 h 1533601"/>
                <a:gd name="connsiteX57" fmla="*/ 715183 w 733022"/>
                <a:gd name="connsiteY57" fmla="*/ 41 h 1533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733022" h="1533601">
                  <a:moveTo>
                    <a:pt x="579415" y="1154516"/>
                  </a:moveTo>
                  <a:cubicBezTo>
                    <a:pt x="603213" y="1165954"/>
                    <a:pt x="628197" y="1175308"/>
                    <a:pt x="654140" y="1182331"/>
                  </a:cubicBezTo>
                  <a:lnTo>
                    <a:pt x="733022" y="1195890"/>
                  </a:lnTo>
                  <a:lnTo>
                    <a:pt x="733022" y="1519078"/>
                  </a:lnTo>
                  <a:lnTo>
                    <a:pt x="728849" y="1528684"/>
                  </a:lnTo>
                  <a:cubicBezTo>
                    <a:pt x="725303" y="1531998"/>
                    <a:pt x="720443" y="1533909"/>
                    <a:pt x="715183" y="1533561"/>
                  </a:cubicBezTo>
                  <a:cubicBezTo>
                    <a:pt x="612463" y="1526782"/>
                    <a:pt x="515258" y="1499819"/>
                    <a:pt x="427500" y="1456569"/>
                  </a:cubicBezTo>
                  <a:lnTo>
                    <a:pt x="427481" y="1456569"/>
                  </a:lnTo>
                  <a:cubicBezTo>
                    <a:pt x="418052" y="1451918"/>
                    <a:pt x="414495" y="1440226"/>
                    <a:pt x="419765" y="1431112"/>
                  </a:cubicBezTo>
                  <a:close/>
                  <a:moveTo>
                    <a:pt x="409753" y="1009571"/>
                  </a:moveTo>
                  <a:cubicBezTo>
                    <a:pt x="440580" y="1054045"/>
                    <a:pt x="479424" y="1092456"/>
                    <a:pt x="524291" y="1122789"/>
                  </a:cubicBezTo>
                  <a:lnTo>
                    <a:pt x="364754" y="1399179"/>
                  </a:lnTo>
                  <a:cubicBezTo>
                    <a:pt x="359484" y="1408311"/>
                    <a:pt x="347571" y="1411060"/>
                    <a:pt x="338820" y="1405185"/>
                  </a:cubicBezTo>
                  <a:cubicBezTo>
                    <a:pt x="255730" y="1349376"/>
                    <a:pt x="184100" y="1277751"/>
                    <a:pt x="128318" y="1194584"/>
                  </a:cubicBezTo>
                  <a:cubicBezTo>
                    <a:pt x="122446" y="1185828"/>
                    <a:pt x="125194" y="1173910"/>
                    <a:pt x="134321" y="1168637"/>
                  </a:cubicBezTo>
                  <a:close/>
                  <a:moveTo>
                    <a:pt x="18202" y="798631"/>
                  </a:moveTo>
                  <a:lnTo>
                    <a:pt x="333739" y="798631"/>
                  </a:lnTo>
                  <a:cubicBezTo>
                    <a:pt x="338462" y="854289"/>
                    <a:pt x="353650" y="906991"/>
                    <a:pt x="377363" y="954723"/>
                  </a:cubicBezTo>
                  <a:lnTo>
                    <a:pt x="102441" y="1113544"/>
                  </a:lnTo>
                  <a:cubicBezTo>
                    <a:pt x="93331" y="1118816"/>
                    <a:pt x="81644" y="1115258"/>
                    <a:pt x="76996" y="1105824"/>
                  </a:cubicBezTo>
                  <a:cubicBezTo>
                    <a:pt x="33766" y="1018063"/>
                    <a:pt x="6816" y="920849"/>
                    <a:pt x="41" y="818081"/>
                  </a:cubicBezTo>
                  <a:cubicBezTo>
                    <a:pt x="-656" y="807556"/>
                    <a:pt x="7682" y="798631"/>
                    <a:pt x="18202" y="798631"/>
                  </a:cubicBezTo>
                  <a:close/>
                  <a:moveTo>
                    <a:pt x="733022" y="440947"/>
                  </a:moveTo>
                  <a:lnTo>
                    <a:pt x="733022" y="627192"/>
                  </a:lnTo>
                  <a:lnTo>
                    <a:pt x="694597" y="638681"/>
                  </a:lnTo>
                  <a:cubicBezTo>
                    <a:pt x="652977" y="659505"/>
                    <a:pt x="623092" y="700871"/>
                    <a:pt x="618391" y="748942"/>
                  </a:cubicBezTo>
                  <a:cubicBezTo>
                    <a:pt x="612336" y="810922"/>
                    <a:pt x="647367" y="865710"/>
                    <a:pt x="699416" y="889231"/>
                  </a:cubicBezTo>
                  <a:lnTo>
                    <a:pt x="733022" y="896448"/>
                  </a:lnTo>
                  <a:lnTo>
                    <a:pt x="733022" y="1083871"/>
                  </a:lnTo>
                  <a:lnTo>
                    <a:pt x="691051" y="1079617"/>
                  </a:lnTo>
                  <a:cubicBezTo>
                    <a:pt x="543639" y="1049300"/>
                    <a:pt x="432521" y="918253"/>
                    <a:pt x="433014" y="761820"/>
                  </a:cubicBezTo>
                  <a:cubicBezTo>
                    <a:pt x="433475" y="612208"/>
                    <a:pt x="537754" y="484162"/>
                    <a:pt x="678170" y="449027"/>
                  </a:cubicBezTo>
                  <a:close/>
                  <a:moveTo>
                    <a:pt x="88045" y="418365"/>
                  </a:moveTo>
                  <a:cubicBezTo>
                    <a:pt x="92687" y="416955"/>
                    <a:pt x="97886" y="417384"/>
                    <a:pt x="102441" y="420020"/>
                  </a:cubicBezTo>
                  <a:lnTo>
                    <a:pt x="372960" y="576281"/>
                  </a:lnTo>
                  <a:cubicBezTo>
                    <a:pt x="350187" y="624934"/>
                    <a:pt x="336185" y="678503"/>
                    <a:pt x="332873" y="734971"/>
                  </a:cubicBezTo>
                  <a:lnTo>
                    <a:pt x="18202" y="734971"/>
                  </a:lnTo>
                  <a:cubicBezTo>
                    <a:pt x="7682" y="734971"/>
                    <a:pt x="-656" y="726045"/>
                    <a:pt x="41" y="715520"/>
                  </a:cubicBezTo>
                  <a:cubicBezTo>
                    <a:pt x="6816" y="612752"/>
                    <a:pt x="33766" y="515501"/>
                    <a:pt x="76996" y="427739"/>
                  </a:cubicBezTo>
                  <a:cubicBezTo>
                    <a:pt x="79320" y="423023"/>
                    <a:pt x="83404" y="419775"/>
                    <a:pt x="88045" y="418365"/>
                  </a:cubicBezTo>
                  <a:close/>
                  <a:moveTo>
                    <a:pt x="353092" y="125773"/>
                  </a:moveTo>
                  <a:cubicBezTo>
                    <a:pt x="357823" y="126868"/>
                    <a:pt x="362119" y="129838"/>
                    <a:pt x="364754" y="134404"/>
                  </a:cubicBezTo>
                  <a:lnTo>
                    <a:pt x="519455" y="402471"/>
                  </a:lnTo>
                  <a:cubicBezTo>
                    <a:pt x="473873" y="434122"/>
                    <a:pt x="434652" y="474359"/>
                    <a:pt x="404069" y="520735"/>
                  </a:cubicBezTo>
                  <a:lnTo>
                    <a:pt x="134359" y="364945"/>
                  </a:lnTo>
                  <a:cubicBezTo>
                    <a:pt x="125231" y="359673"/>
                    <a:pt x="122484" y="347754"/>
                    <a:pt x="128356" y="338999"/>
                  </a:cubicBezTo>
                  <a:cubicBezTo>
                    <a:pt x="184138" y="255869"/>
                    <a:pt x="255730" y="184244"/>
                    <a:pt x="338820" y="128398"/>
                  </a:cubicBezTo>
                  <a:cubicBezTo>
                    <a:pt x="343196" y="125460"/>
                    <a:pt x="348362" y="124679"/>
                    <a:pt x="353092" y="125773"/>
                  </a:cubicBezTo>
                  <a:close/>
                  <a:moveTo>
                    <a:pt x="715183" y="41"/>
                  </a:moveTo>
                  <a:lnTo>
                    <a:pt x="715202" y="41"/>
                  </a:lnTo>
                  <a:cubicBezTo>
                    <a:pt x="720453" y="-308"/>
                    <a:pt x="725313" y="1599"/>
                    <a:pt x="728860" y="4910"/>
                  </a:cubicBezTo>
                  <a:lnTo>
                    <a:pt x="733022" y="14482"/>
                  </a:lnTo>
                  <a:lnTo>
                    <a:pt x="733022" y="325990"/>
                  </a:lnTo>
                  <a:lnTo>
                    <a:pt x="651303" y="340329"/>
                  </a:lnTo>
                  <a:cubicBezTo>
                    <a:pt x="624470" y="347792"/>
                    <a:pt x="598678" y="357762"/>
                    <a:pt x="574202" y="369991"/>
                  </a:cubicBezTo>
                  <a:lnTo>
                    <a:pt x="419821" y="102489"/>
                  </a:lnTo>
                  <a:cubicBezTo>
                    <a:pt x="414552" y="93357"/>
                    <a:pt x="418090" y="81683"/>
                    <a:pt x="427538" y="77032"/>
                  </a:cubicBezTo>
                  <a:cubicBezTo>
                    <a:pt x="515258" y="33801"/>
                    <a:pt x="612463" y="6819"/>
                    <a:pt x="715183" y="41"/>
                  </a:cubicBezTo>
                  <a:close/>
                </a:path>
              </a:pathLst>
            </a:custGeom>
            <a:gradFill>
              <a:gsLst>
                <a:gs pos="6000">
                  <a:srgbClr val="FF9248">
                    <a:alpha val="34000"/>
                  </a:srgbClr>
                </a:gs>
                <a:gs pos="77000">
                  <a:schemeClr val="accent4">
                    <a:alpha val="29000"/>
                  </a:schemeClr>
                </a:gs>
              </a:gsLst>
              <a:lin ang="3343960" scaled="1"/>
            </a:gradFill>
            <a:ln w="5992" cap="flat">
              <a:noFill/>
              <a:prstDash val="solid"/>
              <a:miter/>
            </a:ln>
          </p:spPr>
          <p:txBody>
            <a:bodyPr wrap="square" rtlCol="0" anchor="ctr">
              <a:noAutofit/>
            </a:bodyPr>
            <a:lstStyle/>
            <a:p>
              <a:endParaRPr lang="en-US"/>
            </a:p>
          </p:txBody>
        </p:sp>
        <p:sp>
          <p:nvSpPr>
            <p:cNvPr id="7" name="Donut 6">
              <a:extLst>
                <a:ext uri="{FF2B5EF4-FFF2-40B4-BE49-F238E27FC236}">
                  <a16:creationId xmlns:a16="http://schemas.microsoft.com/office/drawing/2014/main" id="{E26BD039-3E55-15FE-4B05-31B8816A0D04}"/>
                </a:ext>
              </a:extLst>
            </p:cNvPr>
            <p:cNvSpPr/>
            <p:nvPr/>
          </p:nvSpPr>
          <p:spPr bwMode="auto">
            <a:xfrm>
              <a:off x="11207931" y="1255577"/>
              <a:ext cx="385156" cy="385156"/>
            </a:xfrm>
            <a:prstGeom prst="donut">
              <a:avLst/>
            </a:prstGeom>
            <a:gradFill>
              <a:gsLst>
                <a:gs pos="6000">
                  <a:srgbClr val="FF9248">
                    <a:alpha val="34000"/>
                  </a:srgbClr>
                </a:gs>
                <a:gs pos="77000">
                  <a:schemeClr val="accent4">
                    <a:alpha val="29000"/>
                  </a:schemeClr>
                </a:gs>
              </a:gsLst>
              <a:lin ang="3343960" scaled="1"/>
            </a:gradFill>
            <a:ln w="5992" cap="flat">
              <a:noFill/>
              <a:prstDash val="solid"/>
              <a:miter/>
            </a:ln>
          </p:spPr>
          <p:txBody>
            <a:bodyPr wrap="square" rtlCol="0" anchor="ctr">
              <a:noAutofit/>
            </a:bodyPr>
            <a:lstStyle/>
            <a:p>
              <a:endParaRPr lang="en-US">
                <a:solidFill>
                  <a:schemeClr val="tx1"/>
                </a:solidFill>
              </a:endParaRPr>
            </a:p>
          </p:txBody>
        </p:sp>
      </p:grpSp>
    </p:spTree>
    <p:extLst>
      <p:ext uri="{BB962C8B-B14F-4D97-AF65-F5344CB8AC3E}">
        <p14:creationId xmlns:p14="http://schemas.microsoft.com/office/powerpoint/2010/main" val="2489188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1_Section Title 2">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3" name="Group 2">
            <a:extLst>
              <a:ext uri="{FF2B5EF4-FFF2-40B4-BE49-F238E27FC236}">
                <a16:creationId xmlns:a16="http://schemas.microsoft.com/office/drawing/2014/main" id="{9071F57A-34A9-1C5C-02BD-B78498DB2A87}"/>
              </a:ext>
            </a:extLst>
          </p:cNvPr>
          <p:cNvGrpSpPr/>
          <p:nvPr userDrawn="1"/>
        </p:nvGrpSpPr>
        <p:grpSpPr>
          <a:xfrm>
            <a:off x="11207931" y="114223"/>
            <a:ext cx="984069" cy="1526510"/>
            <a:chOff x="11207931" y="114223"/>
            <a:chExt cx="984069" cy="1526510"/>
          </a:xfrm>
        </p:grpSpPr>
        <p:sp>
          <p:nvSpPr>
            <p:cNvPr id="4" name="Freeform 3">
              <a:extLst>
                <a:ext uri="{FF2B5EF4-FFF2-40B4-BE49-F238E27FC236}">
                  <a16:creationId xmlns:a16="http://schemas.microsoft.com/office/drawing/2014/main" id="{50408A46-A032-8546-D1D3-A65A80C3B4B1}"/>
                </a:ext>
              </a:extLst>
            </p:cNvPr>
            <p:cNvSpPr/>
            <p:nvPr/>
          </p:nvSpPr>
          <p:spPr bwMode="auto">
            <a:xfrm>
              <a:off x="11683516" y="209494"/>
              <a:ext cx="508484" cy="1049410"/>
            </a:xfrm>
            <a:custGeom>
              <a:avLst/>
              <a:gdLst>
                <a:gd name="connsiteX0" fmla="*/ 508484 w 508484"/>
                <a:gd name="connsiteY0" fmla="*/ 0 h 1049410"/>
                <a:gd name="connsiteX1" fmla="*/ 508484 w 508484"/>
                <a:gd name="connsiteY1" fmla="*/ 1049410 h 1049410"/>
                <a:gd name="connsiteX2" fmla="*/ 420411 w 508484"/>
                <a:gd name="connsiteY2" fmla="*/ 1040532 h 1049410"/>
                <a:gd name="connsiteX3" fmla="*/ 0 w 508484"/>
                <a:gd name="connsiteY3" fmla="*/ 524705 h 1049410"/>
                <a:gd name="connsiteX4" fmla="*/ 420411 w 508484"/>
                <a:gd name="connsiteY4" fmla="*/ 8878 h 1049410"/>
                <a:gd name="connsiteX5" fmla="*/ 508484 w 508484"/>
                <a:gd name="connsiteY5" fmla="*/ 0 h 1049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8484" h="1049410">
                  <a:moveTo>
                    <a:pt x="508484" y="0"/>
                  </a:moveTo>
                  <a:lnTo>
                    <a:pt x="508484" y="1049410"/>
                  </a:lnTo>
                  <a:lnTo>
                    <a:pt x="420411" y="1040532"/>
                  </a:lnTo>
                  <a:cubicBezTo>
                    <a:pt x="180483" y="991436"/>
                    <a:pt x="0" y="779147"/>
                    <a:pt x="0" y="524705"/>
                  </a:cubicBezTo>
                  <a:cubicBezTo>
                    <a:pt x="0" y="270263"/>
                    <a:pt x="180483" y="57975"/>
                    <a:pt x="420411" y="8878"/>
                  </a:cubicBezTo>
                  <a:lnTo>
                    <a:pt x="508484" y="0"/>
                  </a:lnTo>
                  <a:close/>
                </a:path>
              </a:pathLst>
            </a:custGeom>
            <a:solidFill>
              <a:schemeClr val="accent5">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5" name="Freeform 4">
              <a:extLst>
                <a:ext uri="{FF2B5EF4-FFF2-40B4-BE49-F238E27FC236}">
                  <a16:creationId xmlns:a16="http://schemas.microsoft.com/office/drawing/2014/main" id="{53FABC3B-C175-BDF0-CFD9-E4AFB53A35F8}"/>
                </a:ext>
              </a:extLst>
            </p:cNvPr>
            <p:cNvSpPr/>
            <p:nvPr/>
          </p:nvSpPr>
          <p:spPr>
            <a:xfrm>
              <a:off x="11593087" y="114223"/>
              <a:ext cx="598913" cy="1253024"/>
            </a:xfrm>
            <a:custGeom>
              <a:avLst/>
              <a:gdLst>
                <a:gd name="connsiteX0" fmla="*/ 579415 w 733022"/>
                <a:gd name="connsiteY0" fmla="*/ 1154516 h 1533601"/>
                <a:gd name="connsiteX1" fmla="*/ 654140 w 733022"/>
                <a:gd name="connsiteY1" fmla="*/ 1182331 h 1533601"/>
                <a:gd name="connsiteX2" fmla="*/ 733022 w 733022"/>
                <a:gd name="connsiteY2" fmla="*/ 1195890 h 1533601"/>
                <a:gd name="connsiteX3" fmla="*/ 733022 w 733022"/>
                <a:gd name="connsiteY3" fmla="*/ 1519078 h 1533601"/>
                <a:gd name="connsiteX4" fmla="*/ 728849 w 733022"/>
                <a:gd name="connsiteY4" fmla="*/ 1528684 h 1533601"/>
                <a:gd name="connsiteX5" fmla="*/ 715183 w 733022"/>
                <a:gd name="connsiteY5" fmla="*/ 1533561 h 1533601"/>
                <a:gd name="connsiteX6" fmla="*/ 427500 w 733022"/>
                <a:gd name="connsiteY6" fmla="*/ 1456569 h 1533601"/>
                <a:gd name="connsiteX7" fmla="*/ 427481 w 733022"/>
                <a:gd name="connsiteY7" fmla="*/ 1456569 h 1533601"/>
                <a:gd name="connsiteX8" fmla="*/ 419765 w 733022"/>
                <a:gd name="connsiteY8" fmla="*/ 1431112 h 1533601"/>
                <a:gd name="connsiteX9" fmla="*/ 409753 w 733022"/>
                <a:gd name="connsiteY9" fmla="*/ 1009571 h 1533601"/>
                <a:gd name="connsiteX10" fmla="*/ 524291 w 733022"/>
                <a:gd name="connsiteY10" fmla="*/ 1122789 h 1533601"/>
                <a:gd name="connsiteX11" fmla="*/ 364754 w 733022"/>
                <a:gd name="connsiteY11" fmla="*/ 1399179 h 1533601"/>
                <a:gd name="connsiteX12" fmla="*/ 338820 w 733022"/>
                <a:gd name="connsiteY12" fmla="*/ 1405185 h 1533601"/>
                <a:gd name="connsiteX13" fmla="*/ 128318 w 733022"/>
                <a:gd name="connsiteY13" fmla="*/ 1194584 h 1533601"/>
                <a:gd name="connsiteX14" fmla="*/ 134321 w 733022"/>
                <a:gd name="connsiteY14" fmla="*/ 1168637 h 1533601"/>
                <a:gd name="connsiteX15" fmla="*/ 18202 w 733022"/>
                <a:gd name="connsiteY15" fmla="*/ 798631 h 1533601"/>
                <a:gd name="connsiteX16" fmla="*/ 333739 w 733022"/>
                <a:gd name="connsiteY16" fmla="*/ 798631 h 1533601"/>
                <a:gd name="connsiteX17" fmla="*/ 377363 w 733022"/>
                <a:gd name="connsiteY17" fmla="*/ 954723 h 1533601"/>
                <a:gd name="connsiteX18" fmla="*/ 102441 w 733022"/>
                <a:gd name="connsiteY18" fmla="*/ 1113544 h 1533601"/>
                <a:gd name="connsiteX19" fmla="*/ 76996 w 733022"/>
                <a:gd name="connsiteY19" fmla="*/ 1105824 h 1533601"/>
                <a:gd name="connsiteX20" fmla="*/ 41 w 733022"/>
                <a:gd name="connsiteY20" fmla="*/ 818081 h 1533601"/>
                <a:gd name="connsiteX21" fmla="*/ 18202 w 733022"/>
                <a:gd name="connsiteY21" fmla="*/ 798631 h 1533601"/>
                <a:gd name="connsiteX22" fmla="*/ 733022 w 733022"/>
                <a:gd name="connsiteY22" fmla="*/ 440947 h 1533601"/>
                <a:gd name="connsiteX23" fmla="*/ 733022 w 733022"/>
                <a:gd name="connsiteY23" fmla="*/ 627192 h 1533601"/>
                <a:gd name="connsiteX24" fmla="*/ 694597 w 733022"/>
                <a:gd name="connsiteY24" fmla="*/ 638681 h 1533601"/>
                <a:gd name="connsiteX25" fmla="*/ 618391 w 733022"/>
                <a:gd name="connsiteY25" fmla="*/ 748942 h 1533601"/>
                <a:gd name="connsiteX26" fmla="*/ 699416 w 733022"/>
                <a:gd name="connsiteY26" fmla="*/ 889231 h 1533601"/>
                <a:gd name="connsiteX27" fmla="*/ 733022 w 733022"/>
                <a:gd name="connsiteY27" fmla="*/ 896448 h 1533601"/>
                <a:gd name="connsiteX28" fmla="*/ 733022 w 733022"/>
                <a:gd name="connsiteY28" fmla="*/ 1083871 h 1533601"/>
                <a:gd name="connsiteX29" fmla="*/ 691051 w 733022"/>
                <a:gd name="connsiteY29" fmla="*/ 1079617 h 1533601"/>
                <a:gd name="connsiteX30" fmla="*/ 433014 w 733022"/>
                <a:gd name="connsiteY30" fmla="*/ 761820 h 1533601"/>
                <a:gd name="connsiteX31" fmla="*/ 678170 w 733022"/>
                <a:gd name="connsiteY31" fmla="*/ 449027 h 1533601"/>
                <a:gd name="connsiteX32" fmla="*/ 88045 w 733022"/>
                <a:gd name="connsiteY32" fmla="*/ 418365 h 1533601"/>
                <a:gd name="connsiteX33" fmla="*/ 102441 w 733022"/>
                <a:gd name="connsiteY33" fmla="*/ 420020 h 1533601"/>
                <a:gd name="connsiteX34" fmla="*/ 372960 w 733022"/>
                <a:gd name="connsiteY34" fmla="*/ 576281 h 1533601"/>
                <a:gd name="connsiteX35" fmla="*/ 332873 w 733022"/>
                <a:gd name="connsiteY35" fmla="*/ 734971 h 1533601"/>
                <a:gd name="connsiteX36" fmla="*/ 18202 w 733022"/>
                <a:gd name="connsiteY36" fmla="*/ 734971 h 1533601"/>
                <a:gd name="connsiteX37" fmla="*/ 41 w 733022"/>
                <a:gd name="connsiteY37" fmla="*/ 715520 h 1533601"/>
                <a:gd name="connsiteX38" fmla="*/ 76996 w 733022"/>
                <a:gd name="connsiteY38" fmla="*/ 427739 h 1533601"/>
                <a:gd name="connsiteX39" fmla="*/ 88045 w 733022"/>
                <a:gd name="connsiteY39" fmla="*/ 418365 h 1533601"/>
                <a:gd name="connsiteX40" fmla="*/ 353092 w 733022"/>
                <a:gd name="connsiteY40" fmla="*/ 125773 h 1533601"/>
                <a:gd name="connsiteX41" fmla="*/ 364754 w 733022"/>
                <a:gd name="connsiteY41" fmla="*/ 134404 h 1533601"/>
                <a:gd name="connsiteX42" fmla="*/ 519455 w 733022"/>
                <a:gd name="connsiteY42" fmla="*/ 402471 h 1533601"/>
                <a:gd name="connsiteX43" fmla="*/ 404069 w 733022"/>
                <a:gd name="connsiteY43" fmla="*/ 520735 h 1533601"/>
                <a:gd name="connsiteX44" fmla="*/ 134359 w 733022"/>
                <a:gd name="connsiteY44" fmla="*/ 364945 h 1533601"/>
                <a:gd name="connsiteX45" fmla="*/ 128356 w 733022"/>
                <a:gd name="connsiteY45" fmla="*/ 338999 h 1533601"/>
                <a:gd name="connsiteX46" fmla="*/ 338820 w 733022"/>
                <a:gd name="connsiteY46" fmla="*/ 128398 h 1533601"/>
                <a:gd name="connsiteX47" fmla="*/ 353092 w 733022"/>
                <a:gd name="connsiteY47" fmla="*/ 125773 h 1533601"/>
                <a:gd name="connsiteX48" fmla="*/ 715183 w 733022"/>
                <a:gd name="connsiteY48" fmla="*/ 41 h 1533601"/>
                <a:gd name="connsiteX49" fmla="*/ 715202 w 733022"/>
                <a:gd name="connsiteY49" fmla="*/ 41 h 1533601"/>
                <a:gd name="connsiteX50" fmla="*/ 728860 w 733022"/>
                <a:gd name="connsiteY50" fmla="*/ 4910 h 1533601"/>
                <a:gd name="connsiteX51" fmla="*/ 733022 w 733022"/>
                <a:gd name="connsiteY51" fmla="*/ 14482 h 1533601"/>
                <a:gd name="connsiteX52" fmla="*/ 733022 w 733022"/>
                <a:gd name="connsiteY52" fmla="*/ 325990 h 1533601"/>
                <a:gd name="connsiteX53" fmla="*/ 651303 w 733022"/>
                <a:gd name="connsiteY53" fmla="*/ 340329 h 1533601"/>
                <a:gd name="connsiteX54" fmla="*/ 574202 w 733022"/>
                <a:gd name="connsiteY54" fmla="*/ 369991 h 1533601"/>
                <a:gd name="connsiteX55" fmla="*/ 419821 w 733022"/>
                <a:gd name="connsiteY55" fmla="*/ 102489 h 1533601"/>
                <a:gd name="connsiteX56" fmla="*/ 427538 w 733022"/>
                <a:gd name="connsiteY56" fmla="*/ 77032 h 1533601"/>
                <a:gd name="connsiteX57" fmla="*/ 715183 w 733022"/>
                <a:gd name="connsiteY57" fmla="*/ 41 h 1533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733022" h="1533601">
                  <a:moveTo>
                    <a:pt x="579415" y="1154516"/>
                  </a:moveTo>
                  <a:cubicBezTo>
                    <a:pt x="603213" y="1165954"/>
                    <a:pt x="628197" y="1175308"/>
                    <a:pt x="654140" y="1182331"/>
                  </a:cubicBezTo>
                  <a:lnTo>
                    <a:pt x="733022" y="1195890"/>
                  </a:lnTo>
                  <a:lnTo>
                    <a:pt x="733022" y="1519078"/>
                  </a:lnTo>
                  <a:lnTo>
                    <a:pt x="728849" y="1528684"/>
                  </a:lnTo>
                  <a:cubicBezTo>
                    <a:pt x="725303" y="1531998"/>
                    <a:pt x="720443" y="1533909"/>
                    <a:pt x="715183" y="1533561"/>
                  </a:cubicBezTo>
                  <a:cubicBezTo>
                    <a:pt x="612463" y="1526782"/>
                    <a:pt x="515258" y="1499819"/>
                    <a:pt x="427500" y="1456569"/>
                  </a:cubicBezTo>
                  <a:lnTo>
                    <a:pt x="427481" y="1456569"/>
                  </a:lnTo>
                  <a:cubicBezTo>
                    <a:pt x="418052" y="1451918"/>
                    <a:pt x="414495" y="1440226"/>
                    <a:pt x="419765" y="1431112"/>
                  </a:cubicBezTo>
                  <a:close/>
                  <a:moveTo>
                    <a:pt x="409753" y="1009571"/>
                  </a:moveTo>
                  <a:cubicBezTo>
                    <a:pt x="440580" y="1054045"/>
                    <a:pt x="479424" y="1092456"/>
                    <a:pt x="524291" y="1122789"/>
                  </a:cubicBezTo>
                  <a:lnTo>
                    <a:pt x="364754" y="1399179"/>
                  </a:lnTo>
                  <a:cubicBezTo>
                    <a:pt x="359484" y="1408311"/>
                    <a:pt x="347571" y="1411060"/>
                    <a:pt x="338820" y="1405185"/>
                  </a:cubicBezTo>
                  <a:cubicBezTo>
                    <a:pt x="255730" y="1349376"/>
                    <a:pt x="184100" y="1277751"/>
                    <a:pt x="128318" y="1194584"/>
                  </a:cubicBezTo>
                  <a:cubicBezTo>
                    <a:pt x="122446" y="1185828"/>
                    <a:pt x="125194" y="1173910"/>
                    <a:pt x="134321" y="1168637"/>
                  </a:cubicBezTo>
                  <a:close/>
                  <a:moveTo>
                    <a:pt x="18202" y="798631"/>
                  </a:moveTo>
                  <a:lnTo>
                    <a:pt x="333739" y="798631"/>
                  </a:lnTo>
                  <a:cubicBezTo>
                    <a:pt x="338462" y="854289"/>
                    <a:pt x="353650" y="906991"/>
                    <a:pt x="377363" y="954723"/>
                  </a:cubicBezTo>
                  <a:lnTo>
                    <a:pt x="102441" y="1113544"/>
                  </a:lnTo>
                  <a:cubicBezTo>
                    <a:pt x="93331" y="1118816"/>
                    <a:pt x="81644" y="1115258"/>
                    <a:pt x="76996" y="1105824"/>
                  </a:cubicBezTo>
                  <a:cubicBezTo>
                    <a:pt x="33766" y="1018063"/>
                    <a:pt x="6816" y="920849"/>
                    <a:pt x="41" y="818081"/>
                  </a:cubicBezTo>
                  <a:cubicBezTo>
                    <a:pt x="-656" y="807556"/>
                    <a:pt x="7682" y="798631"/>
                    <a:pt x="18202" y="798631"/>
                  </a:cubicBezTo>
                  <a:close/>
                  <a:moveTo>
                    <a:pt x="733022" y="440947"/>
                  </a:moveTo>
                  <a:lnTo>
                    <a:pt x="733022" y="627192"/>
                  </a:lnTo>
                  <a:lnTo>
                    <a:pt x="694597" y="638681"/>
                  </a:lnTo>
                  <a:cubicBezTo>
                    <a:pt x="652977" y="659505"/>
                    <a:pt x="623092" y="700871"/>
                    <a:pt x="618391" y="748942"/>
                  </a:cubicBezTo>
                  <a:cubicBezTo>
                    <a:pt x="612336" y="810922"/>
                    <a:pt x="647367" y="865710"/>
                    <a:pt x="699416" y="889231"/>
                  </a:cubicBezTo>
                  <a:lnTo>
                    <a:pt x="733022" y="896448"/>
                  </a:lnTo>
                  <a:lnTo>
                    <a:pt x="733022" y="1083871"/>
                  </a:lnTo>
                  <a:lnTo>
                    <a:pt x="691051" y="1079617"/>
                  </a:lnTo>
                  <a:cubicBezTo>
                    <a:pt x="543639" y="1049300"/>
                    <a:pt x="432521" y="918253"/>
                    <a:pt x="433014" y="761820"/>
                  </a:cubicBezTo>
                  <a:cubicBezTo>
                    <a:pt x="433475" y="612208"/>
                    <a:pt x="537754" y="484162"/>
                    <a:pt x="678170" y="449027"/>
                  </a:cubicBezTo>
                  <a:close/>
                  <a:moveTo>
                    <a:pt x="88045" y="418365"/>
                  </a:moveTo>
                  <a:cubicBezTo>
                    <a:pt x="92687" y="416955"/>
                    <a:pt x="97886" y="417384"/>
                    <a:pt x="102441" y="420020"/>
                  </a:cubicBezTo>
                  <a:lnTo>
                    <a:pt x="372960" y="576281"/>
                  </a:lnTo>
                  <a:cubicBezTo>
                    <a:pt x="350187" y="624934"/>
                    <a:pt x="336185" y="678503"/>
                    <a:pt x="332873" y="734971"/>
                  </a:cubicBezTo>
                  <a:lnTo>
                    <a:pt x="18202" y="734971"/>
                  </a:lnTo>
                  <a:cubicBezTo>
                    <a:pt x="7682" y="734971"/>
                    <a:pt x="-656" y="726045"/>
                    <a:pt x="41" y="715520"/>
                  </a:cubicBezTo>
                  <a:cubicBezTo>
                    <a:pt x="6816" y="612752"/>
                    <a:pt x="33766" y="515501"/>
                    <a:pt x="76996" y="427739"/>
                  </a:cubicBezTo>
                  <a:cubicBezTo>
                    <a:pt x="79320" y="423023"/>
                    <a:pt x="83404" y="419775"/>
                    <a:pt x="88045" y="418365"/>
                  </a:cubicBezTo>
                  <a:close/>
                  <a:moveTo>
                    <a:pt x="353092" y="125773"/>
                  </a:moveTo>
                  <a:cubicBezTo>
                    <a:pt x="357823" y="126868"/>
                    <a:pt x="362119" y="129838"/>
                    <a:pt x="364754" y="134404"/>
                  </a:cubicBezTo>
                  <a:lnTo>
                    <a:pt x="519455" y="402471"/>
                  </a:lnTo>
                  <a:cubicBezTo>
                    <a:pt x="473873" y="434122"/>
                    <a:pt x="434652" y="474359"/>
                    <a:pt x="404069" y="520735"/>
                  </a:cubicBezTo>
                  <a:lnTo>
                    <a:pt x="134359" y="364945"/>
                  </a:lnTo>
                  <a:cubicBezTo>
                    <a:pt x="125231" y="359673"/>
                    <a:pt x="122484" y="347754"/>
                    <a:pt x="128356" y="338999"/>
                  </a:cubicBezTo>
                  <a:cubicBezTo>
                    <a:pt x="184138" y="255869"/>
                    <a:pt x="255730" y="184244"/>
                    <a:pt x="338820" y="128398"/>
                  </a:cubicBezTo>
                  <a:cubicBezTo>
                    <a:pt x="343196" y="125460"/>
                    <a:pt x="348362" y="124679"/>
                    <a:pt x="353092" y="125773"/>
                  </a:cubicBezTo>
                  <a:close/>
                  <a:moveTo>
                    <a:pt x="715183" y="41"/>
                  </a:moveTo>
                  <a:lnTo>
                    <a:pt x="715202" y="41"/>
                  </a:lnTo>
                  <a:cubicBezTo>
                    <a:pt x="720453" y="-308"/>
                    <a:pt x="725313" y="1599"/>
                    <a:pt x="728860" y="4910"/>
                  </a:cubicBezTo>
                  <a:lnTo>
                    <a:pt x="733022" y="14482"/>
                  </a:lnTo>
                  <a:lnTo>
                    <a:pt x="733022" y="325990"/>
                  </a:lnTo>
                  <a:lnTo>
                    <a:pt x="651303" y="340329"/>
                  </a:lnTo>
                  <a:cubicBezTo>
                    <a:pt x="624470" y="347792"/>
                    <a:pt x="598678" y="357762"/>
                    <a:pt x="574202" y="369991"/>
                  </a:cubicBezTo>
                  <a:lnTo>
                    <a:pt x="419821" y="102489"/>
                  </a:lnTo>
                  <a:cubicBezTo>
                    <a:pt x="414552" y="93357"/>
                    <a:pt x="418090" y="81683"/>
                    <a:pt x="427538" y="77032"/>
                  </a:cubicBezTo>
                  <a:cubicBezTo>
                    <a:pt x="515258" y="33801"/>
                    <a:pt x="612463" y="6819"/>
                    <a:pt x="715183" y="41"/>
                  </a:cubicBezTo>
                  <a:close/>
                </a:path>
              </a:pathLst>
            </a:custGeom>
            <a:gradFill>
              <a:gsLst>
                <a:gs pos="6000">
                  <a:srgbClr val="FF9248">
                    <a:alpha val="34000"/>
                  </a:srgbClr>
                </a:gs>
                <a:gs pos="77000">
                  <a:schemeClr val="accent4">
                    <a:alpha val="29000"/>
                  </a:schemeClr>
                </a:gs>
              </a:gsLst>
              <a:lin ang="3343960" scaled="1"/>
            </a:gradFill>
            <a:ln w="5992" cap="flat">
              <a:noFill/>
              <a:prstDash val="solid"/>
              <a:miter/>
            </a:ln>
          </p:spPr>
          <p:txBody>
            <a:bodyPr wrap="square" rtlCol="0" anchor="ctr">
              <a:noAutofit/>
            </a:bodyPr>
            <a:lstStyle/>
            <a:p>
              <a:endParaRPr lang="en-US"/>
            </a:p>
          </p:txBody>
        </p:sp>
        <p:sp>
          <p:nvSpPr>
            <p:cNvPr id="6" name="Donut 5">
              <a:extLst>
                <a:ext uri="{FF2B5EF4-FFF2-40B4-BE49-F238E27FC236}">
                  <a16:creationId xmlns:a16="http://schemas.microsoft.com/office/drawing/2014/main" id="{32B84E0D-D23F-29F6-1B8D-B4821F63F40C}"/>
                </a:ext>
              </a:extLst>
            </p:cNvPr>
            <p:cNvSpPr/>
            <p:nvPr/>
          </p:nvSpPr>
          <p:spPr bwMode="auto">
            <a:xfrm>
              <a:off x="11207931" y="1255577"/>
              <a:ext cx="385156" cy="385156"/>
            </a:xfrm>
            <a:prstGeom prst="donut">
              <a:avLst/>
            </a:prstGeom>
            <a:gradFill>
              <a:gsLst>
                <a:gs pos="6000">
                  <a:srgbClr val="FF9248">
                    <a:alpha val="34000"/>
                  </a:srgbClr>
                </a:gs>
                <a:gs pos="77000">
                  <a:schemeClr val="accent4">
                    <a:alpha val="29000"/>
                  </a:schemeClr>
                </a:gs>
              </a:gsLst>
              <a:lin ang="3343960" scaled="1"/>
            </a:gradFill>
            <a:ln w="5992" cap="flat">
              <a:noFill/>
              <a:prstDash val="solid"/>
              <a:miter/>
            </a:ln>
          </p:spPr>
          <p:txBody>
            <a:bodyPr wrap="square" rtlCol="0" anchor="ctr">
              <a:noAutofit/>
            </a:bodyPr>
            <a:lstStyle/>
            <a:p>
              <a:endParaRPr lang="en-US">
                <a:solidFill>
                  <a:schemeClr val="tx1"/>
                </a:solidFill>
              </a:endParaRPr>
            </a:p>
          </p:txBody>
        </p:sp>
      </p:grpSp>
    </p:spTree>
    <p:extLst>
      <p:ext uri="{BB962C8B-B14F-4D97-AF65-F5344CB8AC3E}">
        <p14:creationId xmlns:p14="http://schemas.microsoft.com/office/powerpoint/2010/main" val="18290852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1_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2F3163B-B8CA-9B58-F102-FFD76688C442}"/>
              </a:ext>
            </a:extLst>
          </p:cNvPr>
          <p:cNvGrpSpPr/>
          <p:nvPr userDrawn="1"/>
        </p:nvGrpSpPr>
        <p:grpSpPr>
          <a:xfrm>
            <a:off x="11207931" y="114223"/>
            <a:ext cx="984069" cy="1526510"/>
            <a:chOff x="11207931" y="114223"/>
            <a:chExt cx="984069" cy="1526510"/>
          </a:xfrm>
        </p:grpSpPr>
        <p:sp>
          <p:nvSpPr>
            <p:cNvPr id="4" name="Freeform 3">
              <a:extLst>
                <a:ext uri="{FF2B5EF4-FFF2-40B4-BE49-F238E27FC236}">
                  <a16:creationId xmlns:a16="http://schemas.microsoft.com/office/drawing/2014/main" id="{4058B9BA-5181-3861-7600-06DB19A31645}"/>
                </a:ext>
              </a:extLst>
            </p:cNvPr>
            <p:cNvSpPr/>
            <p:nvPr/>
          </p:nvSpPr>
          <p:spPr bwMode="auto">
            <a:xfrm>
              <a:off x="11683516" y="209494"/>
              <a:ext cx="508484" cy="1049410"/>
            </a:xfrm>
            <a:custGeom>
              <a:avLst/>
              <a:gdLst>
                <a:gd name="connsiteX0" fmla="*/ 508484 w 508484"/>
                <a:gd name="connsiteY0" fmla="*/ 0 h 1049410"/>
                <a:gd name="connsiteX1" fmla="*/ 508484 w 508484"/>
                <a:gd name="connsiteY1" fmla="*/ 1049410 h 1049410"/>
                <a:gd name="connsiteX2" fmla="*/ 420411 w 508484"/>
                <a:gd name="connsiteY2" fmla="*/ 1040532 h 1049410"/>
                <a:gd name="connsiteX3" fmla="*/ 0 w 508484"/>
                <a:gd name="connsiteY3" fmla="*/ 524705 h 1049410"/>
                <a:gd name="connsiteX4" fmla="*/ 420411 w 508484"/>
                <a:gd name="connsiteY4" fmla="*/ 8878 h 1049410"/>
                <a:gd name="connsiteX5" fmla="*/ 508484 w 508484"/>
                <a:gd name="connsiteY5" fmla="*/ 0 h 1049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8484" h="1049410">
                  <a:moveTo>
                    <a:pt x="508484" y="0"/>
                  </a:moveTo>
                  <a:lnTo>
                    <a:pt x="508484" y="1049410"/>
                  </a:lnTo>
                  <a:lnTo>
                    <a:pt x="420411" y="1040532"/>
                  </a:lnTo>
                  <a:cubicBezTo>
                    <a:pt x="180483" y="991436"/>
                    <a:pt x="0" y="779147"/>
                    <a:pt x="0" y="524705"/>
                  </a:cubicBezTo>
                  <a:cubicBezTo>
                    <a:pt x="0" y="270263"/>
                    <a:pt x="180483" y="57975"/>
                    <a:pt x="420411" y="8878"/>
                  </a:cubicBezTo>
                  <a:lnTo>
                    <a:pt x="508484" y="0"/>
                  </a:lnTo>
                  <a:close/>
                </a:path>
              </a:pathLst>
            </a:custGeom>
            <a:solidFill>
              <a:schemeClr val="accent5">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9" name="Freeform 8">
              <a:extLst>
                <a:ext uri="{FF2B5EF4-FFF2-40B4-BE49-F238E27FC236}">
                  <a16:creationId xmlns:a16="http://schemas.microsoft.com/office/drawing/2014/main" id="{35F66938-84F3-829F-A9B1-3766D0E23956}"/>
                </a:ext>
              </a:extLst>
            </p:cNvPr>
            <p:cNvSpPr/>
            <p:nvPr/>
          </p:nvSpPr>
          <p:spPr>
            <a:xfrm>
              <a:off x="11593087" y="114223"/>
              <a:ext cx="598913" cy="1253024"/>
            </a:xfrm>
            <a:custGeom>
              <a:avLst/>
              <a:gdLst>
                <a:gd name="connsiteX0" fmla="*/ 579415 w 733022"/>
                <a:gd name="connsiteY0" fmla="*/ 1154516 h 1533601"/>
                <a:gd name="connsiteX1" fmla="*/ 654140 w 733022"/>
                <a:gd name="connsiteY1" fmla="*/ 1182331 h 1533601"/>
                <a:gd name="connsiteX2" fmla="*/ 733022 w 733022"/>
                <a:gd name="connsiteY2" fmla="*/ 1195890 h 1533601"/>
                <a:gd name="connsiteX3" fmla="*/ 733022 w 733022"/>
                <a:gd name="connsiteY3" fmla="*/ 1519078 h 1533601"/>
                <a:gd name="connsiteX4" fmla="*/ 728849 w 733022"/>
                <a:gd name="connsiteY4" fmla="*/ 1528684 h 1533601"/>
                <a:gd name="connsiteX5" fmla="*/ 715183 w 733022"/>
                <a:gd name="connsiteY5" fmla="*/ 1533561 h 1533601"/>
                <a:gd name="connsiteX6" fmla="*/ 427500 w 733022"/>
                <a:gd name="connsiteY6" fmla="*/ 1456569 h 1533601"/>
                <a:gd name="connsiteX7" fmla="*/ 427481 w 733022"/>
                <a:gd name="connsiteY7" fmla="*/ 1456569 h 1533601"/>
                <a:gd name="connsiteX8" fmla="*/ 419765 w 733022"/>
                <a:gd name="connsiteY8" fmla="*/ 1431112 h 1533601"/>
                <a:gd name="connsiteX9" fmla="*/ 409753 w 733022"/>
                <a:gd name="connsiteY9" fmla="*/ 1009571 h 1533601"/>
                <a:gd name="connsiteX10" fmla="*/ 524291 w 733022"/>
                <a:gd name="connsiteY10" fmla="*/ 1122789 h 1533601"/>
                <a:gd name="connsiteX11" fmla="*/ 364754 w 733022"/>
                <a:gd name="connsiteY11" fmla="*/ 1399179 h 1533601"/>
                <a:gd name="connsiteX12" fmla="*/ 338820 w 733022"/>
                <a:gd name="connsiteY12" fmla="*/ 1405185 h 1533601"/>
                <a:gd name="connsiteX13" fmla="*/ 128318 w 733022"/>
                <a:gd name="connsiteY13" fmla="*/ 1194584 h 1533601"/>
                <a:gd name="connsiteX14" fmla="*/ 134321 w 733022"/>
                <a:gd name="connsiteY14" fmla="*/ 1168637 h 1533601"/>
                <a:gd name="connsiteX15" fmla="*/ 18202 w 733022"/>
                <a:gd name="connsiteY15" fmla="*/ 798631 h 1533601"/>
                <a:gd name="connsiteX16" fmla="*/ 333739 w 733022"/>
                <a:gd name="connsiteY16" fmla="*/ 798631 h 1533601"/>
                <a:gd name="connsiteX17" fmla="*/ 377363 w 733022"/>
                <a:gd name="connsiteY17" fmla="*/ 954723 h 1533601"/>
                <a:gd name="connsiteX18" fmla="*/ 102441 w 733022"/>
                <a:gd name="connsiteY18" fmla="*/ 1113544 h 1533601"/>
                <a:gd name="connsiteX19" fmla="*/ 76996 w 733022"/>
                <a:gd name="connsiteY19" fmla="*/ 1105824 h 1533601"/>
                <a:gd name="connsiteX20" fmla="*/ 41 w 733022"/>
                <a:gd name="connsiteY20" fmla="*/ 818081 h 1533601"/>
                <a:gd name="connsiteX21" fmla="*/ 18202 w 733022"/>
                <a:gd name="connsiteY21" fmla="*/ 798631 h 1533601"/>
                <a:gd name="connsiteX22" fmla="*/ 733022 w 733022"/>
                <a:gd name="connsiteY22" fmla="*/ 440947 h 1533601"/>
                <a:gd name="connsiteX23" fmla="*/ 733022 w 733022"/>
                <a:gd name="connsiteY23" fmla="*/ 627192 h 1533601"/>
                <a:gd name="connsiteX24" fmla="*/ 694597 w 733022"/>
                <a:gd name="connsiteY24" fmla="*/ 638681 h 1533601"/>
                <a:gd name="connsiteX25" fmla="*/ 618391 w 733022"/>
                <a:gd name="connsiteY25" fmla="*/ 748942 h 1533601"/>
                <a:gd name="connsiteX26" fmla="*/ 699416 w 733022"/>
                <a:gd name="connsiteY26" fmla="*/ 889231 h 1533601"/>
                <a:gd name="connsiteX27" fmla="*/ 733022 w 733022"/>
                <a:gd name="connsiteY27" fmla="*/ 896448 h 1533601"/>
                <a:gd name="connsiteX28" fmla="*/ 733022 w 733022"/>
                <a:gd name="connsiteY28" fmla="*/ 1083871 h 1533601"/>
                <a:gd name="connsiteX29" fmla="*/ 691051 w 733022"/>
                <a:gd name="connsiteY29" fmla="*/ 1079617 h 1533601"/>
                <a:gd name="connsiteX30" fmla="*/ 433014 w 733022"/>
                <a:gd name="connsiteY30" fmla="*/ 761820 h 1533601"/>
                <a:gd name="connsiteX31" fmla="*/ 678170 w 733022"/>
                <a:gd name="connsiteY31" fmla="*/ 449027 h 1533601"/>
                <a:gd name="connsiteX32" fmla="*/ 88045 w 733022"/>
                <a:gd name="connsiteY32" fmla="*/ 418365 h 1533601"/>
                <a:gd name="connsiteX33" fmla="*/ 102441 w 733022"/>
                <a:gd name="connsiteY33" fmla="*/ 420020 h 1533601"/>
                <a:gd name="connsiteX34" fmla="*/ 372960 w 733022"/>
                <a:gd name="connsiteY34" fmla="*/ 576281 h 1533601"/>
                <a:gd name="connsiteX35" fmla="*/ 332873 w 733022"/>
                <a:gd name="connsiteY35" fmla="*/ 734971 h 1533601"/>
                <a:gd name="connsiteX36" fmla="*/ 18202 w 733022"/>
                <a:gd name="connsiteY36" fmla="*/ 734971 h 1533601"/>
                <a:gd name="connsiteX37" fmla="*/ 41 w 733022"/>
                <a:gd name="connsiteY37" fmla="*/ 715520 h 1533601"/>
                <a:gd name="connsiteX38" fmla="*/ 76996 w 733022"/>
                <a:gd name="connsiteY38" fmla="*/ 427739 h 1533601"/>
                <a:gd name="connsiteX39" fmla="*/ 88045 w 733022"/>
                <a:gd name="connsiteY39" fmla="*/ 418365 h 1533601"/>
                <a:gd name="connsiteX40" fmla="*/ 353092 w 733022"/>
                <a:gd name="connsiteY40" fmla="*/ 125773 h 1533601"/>
                <a:gd name="connsiteX41" fmla="*/ 364754 w 733022"/>
                <a:gd name="connsiteY41" fmla="*/ 134404 h 1533601"/>
                <a:gd name="connsiteX42" fmla="*/ 519455 w 733022"/>
                <a:gd name="connsiteY42" fmla="*/ 402471 h 1533601"/>
                <a:gd name="connsiteX43" fmla="*/ 404069 w 733022"/>
                <a:gd name="connsiteY43" fmla="*/ 520735 h 1533601"/>
                <a:gd name="connsiteX44" fmla="*/ 134359 w 733022"/>
                <a:gd name="connsiteY44" fmla="*/ 364945 h 1533601"/>
                <a:gd name="connsiteX45" fmla="*/ 128356 w 733022"/>
                <a:gd name="connsiteY45" fmla="*/ 338999 h 1533601"/>
                <a:gd name="connsiteX46" fmla="*/ 338820 w 733022"/>
                <a:gd name="connsiteY46" fmla="*/ 128398 h 1533601"/>
                <a:gd name="connsiteX47" fmla="*/ 353092 w 733022"/>
                <a:gd name="connsiteY47" fmla="*/ 125773 h 1533601"/>
                <a:gd name="connsiteX48" fmla="*/ 715183 w 733022"/>
                <a:gd name="connsiteY48" fmla="*/ 41 h 1533601"/>
                <a:gd name="connsiteX49" fmla="*/ 715202 w 733022"/>
                <a:gd name="connsiteY49" fmla="*/ 41 h 1533601"/>
                <a:gd name="connsiteX50" fmla="*/ 728860 w 733022"/>
                <a:gd name="connsiteY50" fmla="*/ 4910 h 1533601"/>
                <a:gd name="connsiteX51" fmla="*/ 733022 w 733022"/>
                <a:gd name="connsiteY51" fmla="*/ 14482 h 1533601"/>
                <a:gd name="connsiteX52" fmla="*/ 733022 w 733022"/>
                <a:gd name="connsiteY52" fmla="*/ 325990 h 1533601"/>
                <a:gd name="connsiteX53" fmla="*/ 651303 w 733022"/>
                <a:gd name="connsiteY53" fmla="*/ 340329 h 1533601"/>
                <a:gd name="connsiteX54" fmla="*/ 574202 w 733022"/>
                <a:gd name="connsiteY54" fmla="*/ 369991 h 1533601"/>
                <a:gd name="connsiteX55" fmla="*/ 419821 w 733022"/>
                <a:gd name="connsiteY55" fmla="*/ 102489 h 1533601"/>
                <a:gd name="connsiteX56" fmla="*/ 427538 w 733022"/>
                <a:gd name="connsiteY56" fmla="*/ 77032 h 1533601"/>
                <a:gd name="connsiteX57" fmla="*/ 715183 w 733022"/>
                <a:gd name="connsiteY57" fmla="*/ 41 h 1533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733022" h="1533601">
                  <a:moveTo>
                    <a:pt x="579415" y="1154516"/>
                  </a:moveTo>
                  <a:cubicBezTo>
                    <a:pt x="603213" y="1165954"/>
                    <a:pt x="628197" y="1175308"/>
                    <a:pt x="654140" y="1182331"/>
                  </a:cubicBezTo>
                  <a:lnTo>
                    <a:pt x="733022" y="1195890"/>
                  </a:lnTo>
                  <a:lnTo>
                    <a:pt x="733022" y="1519078"/>
                  </a:lnTo>
                  <a:lnTo>
                    <a:pt x="728849" y="1528684"/>
                  </a:lnTo>
                  <a:cubicBezTo>
                    <a:pt x="725303" y="1531998"/>
                    <a:pt x="720443" y="1533909"/>
                    <a:pt x="715183" y="1533561"/>
                  </a:cubicBezTo>
                  <a:cubicBezTo>
                    <a:pt x="612463" y="1526782"/>
                    <a:pt x="515258" y="1499819"/>
                    <a:pt x="427500" y="1456569"/>
                  </a:cubicBezTo>
                  <a:lnTo>
                    <a:pt x="427481" y="1456569"/>
                  </a:lnTo>
                  <a:cubicBezTo>
                    <a:pt x="418052" y="1451918"/>
                    <a:pt x="414495" y="1440226"/>
                    <a:pt x="419765" y="1431112"/>
                  </a:cubicBezTo>
                  <a:close/>
                  <a:moveTo>
                    <a:pt x="409753" y="1009571"/>
                  </a:moveTo>
                  <a:cubicBezTo>
                    <a:pt x="440580" y="1054045"/>
                    <a:pt x="479424" y="1092456"/>
                    <a:pt x="524291" y="1122789"/>
                  </a:cubicBezTo>
                  <a:lnTo>
                    <a:pt x="364754" y="1399179"/>
                  </a:lnTo>
                  <a:cubicBezTo>
                    <a:pt x="359484" y="1408311"/>
                    <a:pt x="347571" y="1411060"/>
                    <a:pt x="338820" y="1405185"/>
                  </a:cubicBezTo>
                  <a:cubicBezTo>
                    <a:pt x="255730" y="1349376"/>
                    <a:pt x="184100" y="1277751"/>
                    <a:pt x="128318" y="1194584"/>
                  </a:cubicBezTo>
                  <a:cubicBezTo>
                    <a:pt x="122446" y="1185828"/>
                    <a:pt x="125194" y="1173910"/>
                    <a:pt x="134321" y="1168637"/>
                  </a:cubicBezTo>
                  <a:close/>
                  <a:moveTo>
                    <a:pt x="18202" y="798631"/>
                  </a:moveTo>
                  <a:lnTo>
                    <a:pt x="333739" y="798631"/>
                  </a:lnTo>
                  <a:cubicBezTo>
                    <a:pt x="338462" y="854289"/>
                    <a:pt x="353650" y="906991"/>
                    <a:pt x="377363" y="954723"/>
                  </a:cubicBezTo>
                  <a:lnTo>
                    <a:pt x="102441" y="1113544"/>
                  </a:lnTo>
                  <a:cubicBezTo>
                    <a:pt x="93331" y="1118816"/>
                    <a:pt x="81644" y="1115258"/>
                    <a:pt x="76996" y="1105824"/>
                  </a:cubicBezTo>
                  <a:cubicBezTo>
                    <a:pt x="33766" y="1018063"/>
                    <a:pt x="6816" y="920849"/>
                    <a:pt x="41" y="818081"/>
                  </a:cubicBezTo>
                  <a:cubicBezTo>
                    <a:pt x="-656" y="807556"/>
                    <a:pt x="7682" y="798631"/>
                    <a:pt x="18202" y="798631"/>
                  </a:cubicBezTo>
                  <a:close/>
                  <a:moveTo>
                    <a:pt x="733022" y="440947"/>
                  </a:moveTo>
                  <a:lnTo>
                    <a:pt x="733022" y="627192"/>
                  </a:lnTo>
                  <a:lnTo>
                    <a:pt x="694597" y="638681"/>
                  </a:lnTo>
                  <a:cubicBezTo>
                    <a:pt x="652977" y="659505"/>
                    <a:pt x="623092" y="700871"/>
                    <a:pt x="618391" y="748942"/>
                  </a:cubicBezTo>
                  <a:cubicBezTo>
                    <a:pt x="612336" y="810922"/>
                    <a:pt x="647367" y="865710"/>
                    <a:pt x="699416" y="889231"/>
                  </a:cubicBezTo>
                  <a:lnTo>
                    <a:pt x="733022" y="896448"/>
                  </a:lnTo>
                  <a:lnTo>
                    <a:pt x="733022" y="1083871"/>
                  </a:lnTo>
                  <a:lnTo>
                    <a:pt x="691051" y="1079617"/>
                  </a:lnTo>
                  <a:cubicBezTo>
                    <a:pt x="543639" y="1049300"/>
                    <a:pt x="432521" y="918253"/>
                    <a:pt x="433014" y="761820"/>
                  </a:cubicBezTo>
                  <a:cubicBezTo>
                    <a:pt x="433475" y="612208"/>
                    <a:pt x="537754" y="484162"/>
                    <a:pt x="678170" y="449027"/>
                  </a:cubicBezTo>
                  <a:close/>
                  <a:moveTo>
                    <a:pt x="88045" y="418365"/>
                  </a:moveTo>
                  <a:cubicBezTo>
                    <a:pt x="92687" y="416955"/>
                    <a:pt x="97886" y="417384"/>
                    <a:pt x="102441" y="420020"/>
                  </a:cubicBezTo>
                  <a:lnTo>
                    <a:pt x="372960" y="576281"/>
                  </a:lnTo>
                  <a:cubicBezTo>
                    <a:pt x="350187" y="624934"/>
                    <a:pt x="336185" y="678503"/>
                    <a:pt x="332873" y="734971"/>
                  </a:cubicBezTo>
                  <a:lnTo>
                    <a:pt x="18202" y="734971"/>
                  </a:lnTo>
                  <a:cubicBezTo>
                    <a:pt x="7682" y="734971"/>
                    <a:pt x="-656" y="726045"/>
                    <a:pt x="41" y="715520"/>
                  </a:cubicBezTo>
                  <a:cubicBezTo>
                    <a:pt x="6816" y="612752"/>
                    <a:pt x="33766" y="515501"/>
                    <a:pt x="76996" y="427739"/>
                  </a:cubicBezTo>
                  <a:cubicBezTo>
                    <a:pt x="79320" y="423023"/>
                    <a:pt x="83404" y="419775"/>
                    <a:pt x="88045" y="418365"/>
                  </a:cubicBezTo>
                  <a:close/>
                  <a:moveTo>
                    <a:pt x="353092" y="125773"/>
                  </a:moveTo>
                  <a:cubicBezTo>
                    <a:pt x="357823" y="126868"/>
                    <a:pt x="362119" y="129838"/>
                    <a:pt x="364754" y="134404"/>
                  </a:cubicBezTo>
                  <a:lnTo>
                    <a:pt x="519455" y="402471"/>
                  </a:lnTo>
                  <a:cubicBezTo>
                    <a:pt x="473873" y="434122"/>
                    <a:pt x="434652" y="474359"/>
                    <a:pt x="404069" y="520735"/>
                  </a:cubicBezTo>
                  <a:lnTo>
                    <a:pt x="134359" y="364945"/>
                  </a:lnTo>
                  <a:cubicBezTo>
                    <a:pt x="125231" y="359673"/>
                    <a:pt x="122484" y="347754"/>
                    <a:pt x="128356" y="338999"/>
                  </a:cubicBezTo>
                  <a:cubicBezTo>
                    <a:pt x="184138" y="255869"/>
                    <a:pt x="255730" y="184244"/>
                    <a:pt x="338820" y="128398"/>
                  </a:cubicBezTo>
                  <a:cubicBezTo>
                    <a:pt x="343196" y="125460"/>
                    <a:pt x="348362" y="124679"/>
                    <a:pt x="353092" y="125773"/>
                  </a:cubicBezTo>
                  <a:close/>
                  <a:moveTo>
                    <a:pt x="715183" y="41"/>
                  </a:moveTo>
                  <a:lnTo>
                    <a:pt x="715202" y="41"/>
                  </a:lnTo>
                  <a:cubicBezTo>
                    <a:pt x="720453" y="-308"/>
                    <a:pt x="725313" y="1599"/>
                    <a:pt x="728860" y="4910"/>
                  </a:cubicBezTo>
                  <a:lnTo>
                    <a:pt x="733022" y="14482"/>
                  </a:lnTo>
                  <a:lnTo>
                    <a:pt x="733022" y="325990"/>
                  </a:lnTo>
                  <a:lnTo>
                    <a:pt x="651303" y="340329"/>
                  </a:lnTo>
                  <a:cubicBezTo>
                    <a:pt x="624470" y="347792"/>
                    <a:pt x="598678" y="357762"/>
                    <a:pt x="574202" y="369991"/>
                  </a:cubicBezTo>
                  <a:lnTo>
                    <a:pt x="419821" y="102489"/>
                  </a:lnTo>
                  <a:cubicBezTo>
                    <a:pt x="414552" y="93357"/>
                    <a:pt x="418090" y="81683"/>
                    <a:pt x="427538" y="77032"/>
                  </a:cubicBezTo>
                  <a:cubicBezTo>
                    <a:pt x="515258" y="33801"/>
                    <a:pt x="612463" y="6819"/>
                    <a:pt x="715183" y="41"/>
                  </a:cubicBezTo>
                  <a:close/>
                </a:path>
              </a:pathLst>
            </a:custGeom>
            <a:gradFill>
              <a:gsLst>
                <a:gs pos="6000">
                  <a:srgbClr val="FF9248">
                    <a:alpha val="34000"/>
                  </a:srgbClr>
                </a:gs>
                <a:gs pos="77000">
                  <a:schemeClr val="accent4">
                    <a:alpha val="29000"/>
                  </a:schemeClr>
                </a:gs>
              </a:gsLst>
              <a:lin ang="3343960" scaled="1"/>
            </a:gradFill>
            <a:ln w="5992" cap="flat">
              <a:noFill/>
              <a:prstDash val="solid"/>
              <a:miter/>
            </a:ln>
          </p:spPr>
          <p:txBody>
            <a:bodyPr wrap="square" rtlCol="0" anchor="ctr">
              <a:noAutofit/>
            </a:bodyPr>
            <a:lstStyle/>
            <a:p>
              <a:endParaRPr lang="en-US"/>
            </a:p>
          </p:txBody>
        </p:sp>
        <p:sp>
          <p:nvSpPr>
            <p:cNvPr id="10" name="Donut 9">
              <a:extLst>
                <a:ext uri="{FF2B5EF4-FFF2-40B4-BE49-F238E27FC236}">
                  <a16:creationId xmlns:a16="http://schemas.microsoft.com/office/drawing/2014/main" id="{F68C3F1E-1254-A4C0-2466-20ECA857761F}"/>
                </a:ext>
              </a:extLst>
            </p:cNvPr>
            <p:cNvSpPr/>
            <p:nvPr/>
          </p:nvSpPr>
          <p:spPr bwMode="auto">
            <a:xfrm>
              <a:off x="11207931" y="1255577"/>
              <a:ext cx="385156" cy="385156"/>
            </a:xfrm>
            <a:prstGeom prst="donut">
              <a:avLst/>
            </a:prstGeom>
            <a:gradFill>
              <a:gsLst>
                <a:gs pos="6000">
                  <a:srgbClr val="FF9248">
                    <a:alpha val="34000"/>
                  </a:srgbClr>
                </a:gs>
                <a:gs pos="77000">
                  <a:schemeClr val="accent4">
                    <a:alpha val="29000"/>
                  </a:schemeClr>
                </a:gs>
              </a:gsLst>
              <a:lin ang="3343960" scaled="1"/>
            </a:gradFill>
            <a:ln w="5992" cap="flat">
              <a:noFill/>
              <a:prstDash val="solid"/>
              <a:miter/>
            </a:ln>
          </p:spPr>
          <p:txBody>
            <a:bodyPr wrap="square" rtlCol="0" anchor="ctr">
              <a:noAutofit/>
            </a:bodyPr>
            <a:lstStyle/>
            <a:p>
              <a:endParaRPr lang="en-US">
                <a:solidFill>
                  <a:schemeClr val="tx1"/>
                </a:solidFill>
              </a:endParaRPr>
            </a:p>
          </p:txBody>
        </p:sp>
      </p:grpSp>
    </p:spTree>
    <p:extLst>
      <p:ext uri="{BB962C8B-B14F-4D97-AF65-F5344CB8AC3E}">
        <p14:creationId xmlns:p14="http://schemas.microsoft.com/office/powerpoint/2010/main" val="217535164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1_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grpSp>
        <p:nvGrpSpPr>
          <p:cNvPr id="4" name="Group 3">
            <a:extLst>
              <a:ext uri="{FF2B5EF4-FFF2-40B4-BE49-F238E27FC236}">
                <a16:creationId xmlns:a16="http://schemas.microsoft.com/office/drawing/2014/main" id="{EBFE3060-4EE2-2A85-F731-15C7A543F46A}"/>
              </a:ext>
            </a:extLst>
          </p:cNvPr>
          <p:cNvGrpSpPr/>
          <p:nvPr userDrawn="1"/>
        </p:nvGrpSpPr>
        <p:grpSpPr>
          <a:xfrm>
            <a:off x="11207931" y="114223"/>
            <a:ext cx="984069" cy="1526510"/>
            <a:chOff x="11207931" y="114223"/>
            <a:chExt cx="984069" cy="1526510"/>
          </a:xfrm>
        </p:grpSpPr>
        <p:sp>
          <p:nvSpPr>
            <p:cNvPr id="7" name="Freeform 6">
              <a:extLst>
                <a:ext uri="{FF2B5EF4-FFF2-40B4-BE49-F238E27FC236}">
                  <a16:creationId xmlns:a16="http://schemas.microsoft.com/office/drawing/2014/main" id="{12AA18F0-5593-667F-41A3-079BCEF063B6}"/>
                </a:ext>
              </a:extLst>
            </p:cNvPr>
            <p:cNvSpPr/>
            <p:nvPr/>
          </p:nvSpPr>
          <p:spPr bwMode="auto">
            <a:xfrm>
              <a:off x="11683516" y="209494"/>
              <a:ext cx="508484" cy="1049410"/>
            </a:xfrm>
            <a:custGeom>
              <a:avLst/>
              <a:gdLst>
                <a:gd name="connsiteX0" fmla="*/ 508484 w 508484"/>
                <a:gd name="connsiteY0" fmla="*/ 0 h 1049410"/>
                <a:gd name="connsiteX1" fmla="*/ 508484 w 508484"/>
                <a:gd name="connsiteY1" fmla="*/ 1049410 h 1049410"/>
                <a:gd name="connsiteX2" fmla="*/ 420411 w 508484"/>
                <a:gd name="connsiteY2" fmla="*/ 1040532 h 1049410"/>
                <a:gd name="connsiteX3" fmla="*/ 0 w 508484"/>
                <a:gd name="connsiteY3" fmla="*/ 524705 h 1049410"/>
                <a:gd name="connsiteX4" fmla="*/ 420411 w 508484"/>
                <a:gd name="connsiteY4" fmla="*/ 8878 h 1049410"/>
                <a:gd name="connsiteX5" fmla="*/ 508484 w 508484"/>
                <a:gd name="connsiteY5" fmla="*/ 0 h 1049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8484" h="1049410">
                  <a:moveTo>
                    <a:pt x="508484" y="0"/>
                  </a:moveTo>
                  <a:lnTo>
                    <a:pt x="508484" y="1049410"/>
                  </a:lnTo>
                  <a:lnTo>
                    <a:pt x="420411" y="1040532"/>
                  </a:lnTo>
                  <a:cubicBezTo>
                    <a:pt x="180483" y="991436"/>
                    <a:pt x="0" y="779147"/>
                    <a:pt x="0" y="524705"/>
                  </a:cubicBezTo>
                  <a:cubicBezTo>
                    <a:pt x="0" y="270263"/>
                    <a:pt x="180483" y="57975"/>
                    <a:pt x="420411" y="8878"/>
                  </a:cubicBezTo>
                  <a:lnTo>
                    <a:pt x="508484" y="0"/>
                  </a:lnTo>
                  <a:close/>
                </a:path>
              </a:pathLst>
            </a:custGeom>
            <a:solidFill>
              <a:schemeClr val="accent5">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Freeform 7">
              <a:extLst>
                <a:ext uri="{FF2B5EF4-FFF2-40B4-BE49-F238E27FC236}">
                  <a16:creationId xmlns:a16="http://schemas.microsoft.com/office/drawing/2014/main" id="{20D409E2-F81C-EC7E-ED19-0AFCE22017E1}"/>
                </a:ext>
              </a:extLst>
            </p:cNvPr>
            <p:cNvSpPr/>
            <p:nvPr/>
          </p:nvSpPr>
          <p:spPr>
            <a:xfrm>
              <a:off x="11593087" y="114223"/>
              <a:ext cx="598913" cy="1253024"/>
            </a:xfrm>
            <a:custGeom>
              <a:avLst/>
              <a:gdLst>
                <a:gd name="connsiteX0" fmla="*/ 579415 w 733022"/>
                <a:gd name="connsiteY0" fmla="*/ 1154516 h 1533601"/>
                <a:gd name="connsiteX1" fmla="*/ 654140 w 733022"/>
                <a:gd name="connsiteY1" fmla="*/ 1182331 h 1533601"/>
                <a:gd name="connsiteX2" fmla="*/ 733022 w 733022"/>
                <a:gd name="connsiteY2" fmla="*/ 1195890 h 1533601"/>
                <a:gd name="connsiteX3" fmla="*/ 733022 w 733022"/>
                <a:gd name="connsiteY3" fmla="*/ 1519078 h 1533601"/>
                <a:gd name="connsiteX4" fmla="*/ 728849 w 733022"/>
                <a:gd name="connsiteY4" fmla="*/ 1528684 h 1533601"/>
                <a:gd name="connsiteX5" fmla="*/ 715183 w 733022"/>
                <a:gd name="connsiteY5" fmla="*/ 1533561 h 1533601"/>
                <a:gd name="connsiteX6" fmla="*/ 427500 w 733022"/>
                <a:gd name="connsiteY6" fmla="*/ 1456569 h 1533601"/>
                <a:gd name="connsiteX7" fmla="*/ 427481 w 733022"/>
                <a:gd name="connsiteY7" fmla="*/ 1456569 h 1533601"/>
                <a:gd name="connsiteX8" fmla="*/ 419765 w 733022"/>
                <a:gd name="connsiteY8" fmla="*/ 1431112 h 1533601"/>
                <a:gd name="connsiteX9" fmla="*/ 409753 w 733022"/>
                <a:gd name="connsiteY9" fmla="*/ 1009571 h 1533601"/>
                <a:gd name="connsiteX10" fmla="*/ 524291 w 733022"/>
                <a:gd name="connsiteY10" fmla="*/ 1122789 h 1533601"/>
                <a:gd name="connsiteX11" fmla="*/ 364754 w 733022"/>
                <a:gd name="connsiteY11" fmla="*/ 1399179 h 1533601"/>
                <a:gd name="connsiteX12" fmla="*/ 338820 w 733022"/>
                <a:gd name="connsiteY12" fmla="*/ 1405185 h 1533601"/>
                <a:gd name="connsiteX13" fmla="*/ 128318 w 733022"/>
                <a:gd name="connsiteY13" fmla="*/ 1194584 h 1533601"/>
                <a:gd name="connsiteX14" fmla="*/ 134321 w 733022"/>
                <a:gd name="connsiteY14" fmla="*/ 1168637 h 1533601"/>
                <a:gd name="connsiteX15" fmla="*/ 18202 w 733022"/>
                <a:gd name="connsiteY15" fmla="*/ 798631 h 1533601"/>
                <a:gd name="connsiteX16" fmla="*/ 333739 w 733022"/>
                <a:gd name="connsiteY16" fmla="*/ 798631 h 1533601"/>
                <a:gd name="connsiteX17" fmla="*/ 377363 w 733022"/>
                <a:gd name="connsiteY17" fmla="*/ 954723 h 1533601"/>
                <a:gd name="connsiteX18" fmla="*/ 102441 w 733022"/>
                <a:gd name="connsiteY18" fmla="*/ 1113544 h 1533601"/>
                <a:gd name="connsiteX19" fmla="*/ 76996 w 733022"/>
                <a:gd name="connsiteY19" fmla="*/ 1105824 h 1533601"/>
                <a:gd name="connsiteX20" fmla="*/ 41 w 733022"/>
                <a:gd name="connsiteY20" fmla="*/ 818081 h 1533601"/>
                <a:gd name="connsiteX21" fmla="*/ 18202 w 733022"/>
                <a:gd name="connsiteY21" fmla="*/ 798631 h 1533601"/>
                <a:gd name="connsiteX22" fmla="*/ 733022 w 733022"/>
                <a:gd name="connsiteY22" fmla="*/ 440947 h 1533601"/>
                <a:gd name="connsiteX23" fmla="*/ 733022 w 733022"/>
                <a:gd name="connsiteY23" fmla="*/ 627192 h 1533601"/>
                <a:gd name="connsiteX24" fmla="*/ 694597 w 733022"/>
                <a:gd name="connsiteY24" fmla="*/ 638681 h 1533601"/>
                <a:gd name="connsiteX25" fmla="*/ 618391 w 733022"/>
                <a:gd name="connsiteY25" fmla="*/ 748942 h 1533601"/>
                <a:gd name="connsiteX26" fmla="*/ 699416 w 733022"/>
                <a:gd name="connsiteY26" fmla="*/ 889231 h 1533601"/>
                <a:gd name="connsiteX27" fmla="*/ 733022 w 733022"/>
                <a:gd name="connsiteY27" fmla="*/ 896448 h 1533601"/>
                <a:gd name="connsiteX28" fmla="*/ 733022 w 733022"/>
                <a:gd name="connsiteY28" fmla="*/ 1083871 h 1533601"/>
                <a:gd name="connsiteX29" fmla="*/ 691051 w 733022"/>
                <a:gd name="connsiteY29" fmla="*/ 1079617 h 1533601"/>
                <a:gd name="connsiteX30" fmla="*/ 433014 w 733022"/>
                <a:gd name="connsiteY30" fmla="*/ 761820 h 1533601"/>
                <a:gd name="connsiteX31" fmla="*/ 678170 w 733022"/>
                <a:gd name="connsiteY31" fmla="*/ 449027 h 1533601"/>
                <a:gd name="connsiteX32" fmla="*/ 88045 w 733022"/>
                <a:gd name="connsiteY32" fmla="*/ 418365 h 1533601"/>
                <a:gd name="connsiteX33" fmla="*/ 102441 w 733022"/>
                <a:gd name="connsiteY33" fmla="*/ 420020 h 1533601"/>
                <a:gd name="connsiteX34" fmla="*/ 372960 w 733022"/>
                <a:gd name="connsiteY34" fmla="*/ 576281 h 1533601"/>
                <a:gd name="connsiteX35" fmla="*/ 332873 w 733022"/>
                <a:gd name="connsiteY35" fmla="*/ 734971 h 1533601"/>
                <a:gd name="connsiteX36" fmla="*/ 18202 w 733022"/>
                <a:gd name="connsiteY36" fmla="*/ 734971 h 1533601"/>
                <a:gd name="connsiteX37" fmla="*/ 41 w 733022"/>
                <a:gd name="connsiteY37" fmla="*/ 715520 h 1533601"/>
                <a:gd name="connsiteX38" fmla="*/ 76996 w 733022"/>
                <a:gd name="connsiteY38" fmla="*/ 427739 h 1533601"/>
                <a:gd name="connsiteX39" fmla="*/ 88045 w 733022"/>
                <a:gd name="connsiteY39" fmla="*/ 418365 h 1533601"/>
                <a:gd name="connsiteX40" fmla="*/ 353092 w 733022"/>
                <a:gd name="connsiteY40" fmla="*/ 125773 h 1533601"/>
                <a:gd name="connsiteX41" fmla="*/ 364754 w 733022"/>
                <a:gd name="connsiteY41" fmla="*/ 134404 h 1533601"/>
                <a:gd name="connsiteX42" fmla="*/ 519455 w 733022"/>
                <a:gd name="connsiteY42" fmla="*/ 402471 h 1533601"/>
                <a:gd name="connsiteX43" fmla="*/ 404069 w 733022"/>
                <a:gd name="connsiteY43" fmla="*/ 520735 h 1533601"/>
                <a:gd name="connsiteX44" fmla="*/ 134359 w 733022"/>
                <a:gd name="connsiteY44" fmla="*/ 364945 h 1533601"/>
                <a:gd name="connsiteX45" fmla="*/ 128356 w 733022"/>
                <a:gd name="connsiteY45" fmla="*/ 338999 h 1533601"/>
                <a:gd name="connsiteX46" fmla="*/ 338820 w 733022"/>
                <a:gd name="connsiteY46" fmla="*/ 128398 h 1533601"/>
                <a:gd name="connsiteX47" fmla="*/ 353092 w 733022"/>
                <a:gd name="connsiteY47" fmla="*/ 125773 h 1533601"/>
                <a:gd name="connsiteX48" fmla="*/ 715183 w 733022"/>
                <a:gd name="connsiteY48" fmla="*/ 41 h 1533601"/>
                <a:gd name="connsiteX49" fmla="*/ 715202 w 733022"/>
                <a:gd name="connsiteY49" fmla="*/ 41 h 1533601"/>
                <a:gd name="connsiteX50" fmla="*/ 728860 w 733022"/>
                <a:gd name="connsiteY50" fmla="*/ 4910 h 1533601"/>
                <a:gd name="connsiteX51" fmla="*/ 733022 w 733022"/>
                <a:gd name="connsiteY51" fmla="*/ 14482 h 1533601"/>
                <a:gd name="connsiteX52" fmla="*/ 733022 w 733022"/>
                <a:gd name="connsiteY52" fmla="*/ 325990 h 1533601"/>
                <a:gd name="connsiteX53" fmla="*/ 651303 w 733022"/>
                <a:gd name="connsiteY53" fmla="*/ 340329 h 1533601"/>
                <a:gd name="connsiteX54" fmla="*/ 574202 w 733022"/>
                <a:gd name="connsiteY54" fmla="*/ 369991 h 1533601"/>
                <a:gd name="connsiteX55" fmla="*/ 419821 w 733022"/>
                <a:gd name="connsiteY55" fmla="*/ 102489 h 1533601"/>
                <a:gd name="connsiteX56" fmla="*/ 427538 w 733022"/>
                <a:gd name="connsiteY56" fmla="*/ 77032 h 1533601"/>
                <a:gd name="connsiteX57" fmla="*/ 715183 w 733022"/>
                <a:gd name="connsiteY57" fmla="*/ 41 h 1533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733022" h="1533601">
                  <a:moveTo>
                    <a:pt x="579415" y="1154516"/>
                  </a:moveTo>
                  <a:cubicBezTo>
                    <a:pt x="603213" y="1165954"/>
                    <a:pt x="628197" y="1175308"/>
                    <a:pt x="654140" y="1182331"/>
                  </a:cubicBezTo>
                  <a:lnTo>
                    <a:pt x="733022" y="1195890"/>
                  </a:lnTo>
                  <a:lnTo>
                    <a:pt x="733022" y="1519078"/>
                  </a:lnTo>
                  <a:lnTo>
                    <a:pt x="728849" y="1528684"/>
                  </a:lnTo>
                  <a:cubicBezTo>
                    <a:pt x="725303" y="1531998"/>
                    <a:pt x="720443" y="1533909"/>
                    <a:pt x="715183" y="1533561"/>
                  </a:cubicBezTo>
                  <a:cubicBezTo>
                    <a:pt x="612463" y="1526782"/>
                    <a:pt x="515258" y="1499819"/>
                    <a:pt x="427500" y="1456569"/>
                  </a:cubicBezTo>
                  <a:lnTo>
                    <a:pt x="427481" y="1456569"/>
                  </a:lnTo>
                  <a:cubicBezTo>
                    <a:pt x="418052" y="1451918"/>
                    <a:pt x="414495" y="1440226"/>
                    <a:pt x="419765" y="1431112"/>
                  </a:cubicBezTo>
                  <a:close/>
                  <a:moveTo>
                    <a:pt x="409753" y="1009571"/>
                  </a:moveTo>
                  <a:cubicBezTo>
                    <a:pt x="440580" y="1054045"/>
                    <a:pt x="479424" y="1092456"/>
                    <a:pt x="524291" y="1122789"/>
                  </a:cubicBezTo>
                  <a:lnTo>
                    <a:pt x="364754" y="1399179"/>
                  </a:lnTo>
                  <a:cubicBezTo>
                    <a:pt x="359484" y="1408311"/>
                    <a:pt x="347571" y="1411060"/>
                    <a:pt x="338820" y="1405185"/>
                  </a:cubicBezTo>
                  <a:cubicBezTo>
                    <a:pt x="255730" y="1349376"/>
                    <a:pt x="184100" y="1277751"/>
                    <a:pt x="128318" y="1194584"/>
                  </a:cubicBezTo>
                  <a:cubicBezTo>
                    <a:pt x="122446" y="1185828"/>
                    <a:pt x="125194" y="1173910"/>
                    <a:pt x="134321" y="1168637"/>
                  </a:cubicBezTo>
                  <a:close/>
                  <a:moveTo>
                    <a:pt x="18202" y="798631"/>
                  </a:moveTo>
                  <a:lnTo>
                    <a:pt x="333739" y="798631"/>
                  </a:lnTo>
                  <a:cubicBezTo>
                    <a:pt x="338462" y="854289"/>
                    <a:pt x="353650" y="906991"/>
                    <a:pt x="377363" y="954723"/>
                  </a:cubicBezTo>
                  <a:lnTo>
                    <a:pt x="102441" y="1113544"/>
                  </a:lnTo>
                  <a:cubicBezTo>
                    <a:pt x="93331" y="1118816"/>
                    <a:pt x="81644" y="1115258"/>
                    <a:pt x="76996" y="1105824"/>
                  </a:cubicBezTo>
                  <a:cubicBezTo>
                    <a:pt x="33766" y="1018063"/>
                    <a:pt x="6816" y="920849"/>
                    <a:pt x="41" y="818081"/>
                  </a:cubicBezTo>
                  <a:cubicBezTo>
                    <a:pt x="-656" y="807556"/>
                    <a:pt x="7682" y="798631"/>
                    <a:pt x="18202" y="798631"/>
                  </a:cubicBezTo>
                  <a:close/>
                  <a:moveTo>
                    <a:pt x="733022" y="440947"/>
                  </a:moveTo>
                  <a:lnTo>
                    <a:pt x="733022" y="627192"/>
                  </a:lnTo>
                  <a:lnTo>
                    <a:pt x="694597" y="638681"/>
                  </a:lnTo>
                  <a:cubicBezTo>
                    <a:pt x="652977" y="659505"/>
                    <a:pt x="623092" y="700871"/>
                    <a:pt x="618391" y="748942"/>
                  </a:cubicBezTo>
                  <a:cubicBezTo>
                    <a:pt x="612336" y="810922"/>
                    <a:pt x="647367" y="865710"/>
                    <a:pt x="699416" y="889231"/>
                  </a:cubicBezTo>
                  <a:lnTo>
                    <a:pt x="733022" y="896448"/>
                  </a:lnTo>
                  <a:lnTo>
                    <a:pt x="733022" y="1083871"/>
                  </a:lnTo>
                  <a:lnTo>
                    <a:pt x="691051" y="1079617"/>
                  </a:lnTo>
                  <a:cubicBezTo>
                    <a:pt x="543639" y="1049300"/>
                    <a:pt x="432521" y="918253"/>
                    <a:pt x="433014" y="761820"/>
                  </a:cubicBezTo>
                  <a:cubicBezTo>
                    <a:pt x="433475" y="612208"/>
                    <a:pt x="537754" y="484162"/>
                    <a:pt x="678170" y="449027"/>
                  </a:cubicBezTo>
                  <a:close/>
                  <a:moveTo>
                    <a:pt x="88045" y="418365"/>
                  </a:moveTo>
                  <a:cubicBezTo>
                    <a:pt x="92687" y="416955"/>
                    <a:pt x="97886" y="417384"/>
                    <a:pt x="102441" y="420020"/>
                  </a:cubicBezTo>
                  <a:lnTo>
                    <a:pt x="372960" y="576281"/>
                  </a:lnTo>
                  <a:cubicBezTo>
                    <a:pt x="350187" y="624934"/>
                    <a:pt x="336185" y="678503"/>
                    <a:pt x="332873" y="734971"/>
                  </a:cubicBezTo>
                  <a:lnTo>
                    <a:pt x="18202" y="734971"/>
                  </a:lnTo>
                  <a:cubicBezTo>
                    <a:pt x="7682" y="734971"/>
                    <a:pt x="-656" y="726045"/>
                    <a:pt x="41" y="715520"/>
                  </a:cubicBezTo>
                  <a:cubicBezTo>
                    <a:pt x="6816" y="612752"/>
                    <a:pt x="33766" y="515501"/>
                    <a:pt x="76996" y="427739"/>
                  </a:cubicBezTo>
                  <a:cubicBezTo>
                    <a:pt x="79320" y="423023"/>
                    <a:pt x="83404" y="419775"/>
                    <a:pt x="88045" y="418365"/>
                  </a:cubicBezTo>
                  <a:close/>
                  <a:moveTo>
                    <a:pt x="353092" y="125773"/>
                  </a:moveTo>
                  <a:cubicBezTo>
                    <a:pt x="357823" y="126868"/>
                    <a:pt x="362119" y="129838"/>
                    <a:pt x="364754" y="134404"/>
                  </a:cubicBezTo>
                  <a:lnTo>
                    <a:pt x="519455" y="402471"/>
                  </a:lnTo>
                  <a:cubicBezTo>
                    <a:pt x="473873" y="434122"/>
                    <a:pt x="434652" y="474359"/>
                    <a:pt x="404069" y="520735"/>
                  </a:cubicBezTo>
                  <a:lnTo>
                    <a:pt x="134359" y="364945"/>
                  </a:lnTo>
                  <a:cubicBezTo>
                    <a:pt x="125231" y="359673"/>
                    <a:pt x="122484" y="347754"/>
                    <a:pt x="128356" y="338999"/>
                  </a:cubicBezTo>
                  <a:cubicBezTo>
                    <a:pt x="184138" y="255869"/>
                    <a:pt x="255730" y="184244"/>
                    <a:pt x="338820" y="128398"/>
                  </a:cubicBezTo>
                  <a:cubicBezTo>
                    <a:pt x="343196" y="125460"/>
                    <a:pt x="348362" y="124679"/>
                    <a:pt x="353092" y="125773"/>
                  </a:cubicBezTo>
                  <a:close/>
                  <a:moveTo>
                    <a:pt x="715183" y="41"/>
                  </a:moveTo>
                  <a:lnTo>
                    <a:pt x="715202" y="41"/>
                  </a:lnTo>
                  <a:cubicBezTo>
                    <a:pt x="720453" y="-308"/>
                    <a:pt x="725313" y="1599"/>
                    <a:pt x="728860" y="4910"/>
                  </a:cubicBezTo>
                  <a:lnTo>
                    <a:pt x="733022" y="14482"/>
                  </a:lnTo>
                  <a:lnTo>
                    <a:pt x="733022" y="325990"/>
                  </a:lnTo>
                  <a:lnTo>
                    <a:pt x="651303" y="340329"/>
                  </a:lnTo>
                  <a:cubicBezTo>
                    <a:pt x="624470" y="347792"/>
                    <a:pt x="598678" y="357762"/>
                    <a:pt x="574202" y="369991"/>
                  </a:cubicBezTo>
                  <a:lnTo>
                    <a:pt x="419821" y="102489"/>
                  </a:lnTo>
                  <a:cubicBezTo>
                    <a:pt x="414552" y="93357"/>
                    <a:pt x="418090" y="81683"/>
                    <a:pt x="427538" y="77032"/>
                  </a:cubicBezTo>
                  <a:cubicBezTo>
                    <a:pt x="515258" y="33801"/>
                    <a:pt x="612463" y="6819"/>
                    <a:pt x="715183" y="41"/>
                  </a:cubicBezTo>
                  <a:close/>
                </a:path>
              </a:pathLst>
            </a:custGeom>
            <a:gradFill>
              <a:gsLst>
                <a:gs pos="6000">
                  <a:srgbClr val="FF9248">
                    <a:alpha val="34000"/>
                  </a:srgbClr>
                </a:gs>
                <a:gs pos="77000">
                  <a:schemeClr val="accent4">
                    <a:alpha val="29000"/>
                  </a:schemeClr>
                </a:gs>
              </a:gsLst>
              <a:lin ang="3343960" scaled="1"/>
            </a:gradFill>
            <a:ln w="5992" cap="flat">
              <a:noFill/>
              <a:prstDash val="solid"/>
              <a:miter/>
            </a:ln>
          </p:spPr>
          <p:txBody>
            <a:bodyPr wrap="square" rtlCol="0" anchor="ctr">
              <a:noAutofit/>
            </a:bodyPr>
            <a:lstStyle/>
            <a:p>
              <a:endParaRPr lang="en-US"/>
            </a:p>
          </p:txBody>
        </p:sp>
        <p:sp>
          <p:nvSpPr>
            <p:cNvPr id="9" name="Donut 8">
              <a:extLst>
                <a:ext uri="{FF2B5EF4-FFF2-40B4-BE49-F238E27FC236}">
                  <a16:creationId xmlns:a16="http://schemas.microsoft.com/office/drawing/2014/main" id="{87AFC666-7BA8-AA4B-580B-0DF4A47709AB}"/>
                </a:ext>
              </a:extLst>
            </p:cNvPr>
            <p:cNvSpPr/>
            <p:nvPr/>
          </p:nvSpPr>
          <p:spPr bwMode="auto">
            <a:xfrm>
              <a:off x="11207931" y="1255577"/>
              <a:ext cx="385156" cy="385156"/>
            </a:xfrm>
            <a:prstGeom prst="donut">
              <a:avLst/>
            </a:prstGeom>
            <a:gradFill>
              <a:gsLst>
                <a:gs pos="6000">
                  <a:srgbClr val="FF9248">
                    <a:alpha val="34000"/>
                  </a:srgbClr>
                </a:gs>
                <a:gs pos="77000">
                  <a:schemeClr val="accent4">
                    <a:alpha val="29000"/>
                  </a:schemeClr>
                </a:gs>
              </a:gsLst>
              <a:lin ang="3343960" scaled="1"/>
            </a:gradFill>
            <a:ln w="5992" cap="flat">
              <a:noFill/>
              <a:prstDash val="solid"/>
              <a:miter/>
            </a:ln>
          </p:spPr>
          <p:txBody>
            <a:bodyPr wrap="square" rtlCol="0" anchor="ctr">
              <a:noAutofit/>
            </a:bodyPr>
            <a:lstStyle/>
            <a:p>
              <a:endParaRPr lang="en-US">
                <a:solidFill>
                  <a:schemeClr val="tx1"/>
                </a:solidFill>
              </a:endParaRPr>
            </a:p>
          </p:txBody>
        </p:sp>
      </p:grpSp>
    </p:spTree>
    <p:extLst>
      <p:ext uri="{BB962C8B-B14F-4D97-AF65-F5344CB8AC3E}">
        <p14:creationId xmlns:p14="http://schemas.microsoft.com/office/powerpoint/2010/main" val="408075849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1_Blank">
    <p:bg>
      <p:bgPr>
        <a:solidFill>
          <a:schemeClr val="bg1"/>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10CBB6B4-66DA-4519-5FB5-EB6DEA459E88}"/>
              </a:ext>
            </a:extLst>
          </p:cNvPr>
          <p:cNvGrpSpPr/>
          <p:nvPr userDrawn="1"/>
        </p:nvGrpSpPr>
        <p:grpSpPr>
          <a:xfrm>
            <a:off x="11207931" y="114223"/>
            <a:ext cx="984069" cy="1526510"/>
            <a:chOff x="11207931" y="114223"/>
            <a:chExt cx="984069" cy="1526510"/>
          </a:xfrm>
        </p:grpSpPr>
        <p:sp>
          <p:nvSpPr>
            <p:cNvPr id="3" name="Freeform 2">
              <a:extLst>
                <a:ext uri="{FF2B5EF4-FFF2-40B4-BE49-F238E27FC236}">
                  <a16:creationId xmlns:a16="http://schemas.microsoft.com/office/drawing/2014/main" id="{E9C76425-C8BB-F4BB-3D35-968EE98E6B21}"/>
                </a:ext>
              </a:extLst>
            </p:cNvPr>
            <p:cNvSpPr/>
            <p:nvPr/>
          </p:nvSpPr>
          <p:spPr bwMode="auto">
            <a:xfrm>
              <a:off x="11683516" y="209494"/>
              <a:ext cx="508484" cy="1049410"/>
            </a:xfrm>
            <a:custGeom>
              <a:avLst/>
              <a:gdLst>
                <a:gd name="connsiteX0" fmla="*/ 508484 w 508484"/>
                <a:gd name="connsiteY0" fmla="*/ 0 h 1049410"/>
                <a:gd name="connsiteX1" fmla="*/ 508484 w 508484"/>
                <a:gd name="connsiteY1" fmla="*/ 1049410 h 1049410"/>
                <a:gd name="connsiteX2" fmla="*/ 420411 w 508484"/>
                <a:gd name="connsiteY2" fmla="*/ 1040532 h 1049410"/>
                <a:gd name="connsiteX3" fmla="*/ 0 w 508484"/>
                <a:gd name="connsiteY3" fmla="*/ 524705 h 1049410"/>
                <a:gd name="connsiteX4" fmla="*/ 420411 w 508484"/>
                <a:gd name="connsiteY4" fmla="*/ 8878 h 1049410"/>
                <a:gd name="connsiteX5" fmla="*/ 508484 w 508484"/>
                <a:gd name="connsiteY5" fmla="*/ 0 h 1049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8484" h="1049410">
                  <a:moveTo>
                    <a:pt x="508484" y="0"/>
                  </a:moveTo>
                  <a:lnTo>
                    <a:pt x="508484" y="1049410"/>
                  </a:lnTo>
                  <a:lnTo>
                    <a:pt x="420411" y="1040532"/>
                  </a:lnTo>
                  <a:cubicBezTo>
                    <a:pt x="180483" y="991436"/>
                    <a:pt x="0" y="779147"/>
                    <a:pt x="0" y="524705"/>
                  </a:cubicBezTo>
                  <a:cubicBezTo>
                    <a:pt x="0" y="270263"/>
                    <a:pt x="180483" y="57975"/>
                    <a:pt x="420411" y="8878"/>
                  </a:cubicBezTo>
                  <a:lnTo>
                    <a:pt x="508484" y="0"/>
                  </a:lnTo>
                  <a:close/>
                </a:path>
              </a:pathLst>
            </a:custGeom>
            <a:solidFill>
              <a:schemeClr val="accent5">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4" name="Freeform 3">
              <a:extLst>
                <a:ext uri="{FF2B5EF4-FFF2-40B4-BE49-F238E27FC236}">
                  <a16:creationId xmlns:a16="http://schemas.microsoft.com/office/drawing/2014/main" id="{36C9734C-18B8-1E65-9A13-5D41E3CCC43E}"/>
                </a:ext>
              </a:extLst>
            </p:cNvPr>
            <p:cNvSpPr/>
            <p:nvPr/>
          </p:nvSpPr>
          <p:spPr>
            <a:xfrm>
              <a:off x="11593087" y="114223"/>
              <a:ext cx="598913" cy="1253024"/>
            </a:xfrm>
            <a:custGeom>
              <a:avLst/>
              <a:gdLst>
                <a:gd name="connsiteX0" fmla="*/ 579415 w 733022"/>
                <a:gd name="connsiteY0" fmla="*/ 1154516 h 1533601"/>
                <a:gd name="connsiteX1" fmla="*/ 654140 w 733022"/>
                <a:gd name="connsiteY1" fmla="*/ 1182331 h 1533601"/>
                <a:gd name="connsiteX2" fmla="*/ 733022 w 733022"/>
                <a:gd name="connsiteY2" fmla="*/ 1195890 h 1533601"/>
                <a:gd name="connsiteX3" fmla="*/ 733022 w 733022"/>
                <a:gd name="connsiteY3" fmla="*/ 1519078 h 1533601"/>
                <a:gd name="connsiteX4" fmla="*/ 728849 w 733022"/>
                <a:gd name="connsiteY4" fmla="*/ 1528684 h 1533601"/>
                <a:gd name="connsiteX5" fmla="*/ 715183 w 733022"/>
                <a:gd name="connsiteY5" fmla="*/ 1533561 h 1533601"/>
                <a:gd name="connsiteX6" fmla="*/ 427500 w 733022"/>
                <a:gd name="connsiteY6" fmla="*/ 1456569 h 1533601"/>
                <a:gd name="connsiteX7" fmla="*/ 427481 w 733022"/>
                <a:gd name="connsiteY7" fmla="*/ 1456569 h 1533601"/>
                <a:gd name="connsiteX8" fmla="*/ 419765 w 733022"/>
                <a:gd name="connsiteY8" fmla="*/ 1431112 h 1533601"/>
                <a:gd name="connsiteX9" fmla="*/ 409753 w 733022"/>
                <a:gd name="connsiteY9" fmla="*/ 1009571 h 1533601"/>
                <a:gd name="connsiteX10" fmla="*/ 524291 w 733022"/>
                <a:gd name="connsiteY10" fmla="*/ 1122789 h 1533601"/>
                <a:gd name="connsiteX11" fmla="*/ 364754 w 733022"/>
                <a:gd name="connsiteY11" fmla="*/ 1399179 h 1533601"/>
                <a:gd name="connsiteX12" fmla="*/ 338820 w 733022"/>
                <a:gd name="connsiteY12" fmla="*/ 1405185 h 1533601"/>
                <a:gd name="connsiteX13" fmla="*/ 128318 w 733022"/>
                <a:gd name="connsiteY13" fmla="*/ 1194584 h 1533601"/>
                <a:gd name="connsiteX14" fmla="*/ 134321 w 733022"/>
                <a:gd name="connsiteY14" fmla="*/ 1168637 h 1533601"/>
                <a:gd name="connsiteX15" fmla="*/ 18202 w 733022"/>
                <a:gd name="connsiteY15" fmla="*/ 798631 h 1533601"/>
                <a:gd name="connsiteX16" fmla="*/ 333739 w 733022"/>
                <a:gd name="connsiteY16" fmla="*/ 798631 h 1533601"/>
                <a:gd name="connsiteX17" fmla="*/ 377363 w 733022"/>
                <a:gd name="connsiteY17" fmla="*/ 954723 h 1533601"/>
                <a:gd name="connsiteX18" fmla="*/ 102441 w 733022"/>
                <a:gd name="connsiteY18" fmla="*/ 1113544 h 1533601"/>
                <a:gd name="connsiteX19" fmla="*/ 76996 w 733022"/>
                <a:gd name="connsiteY19" fmla="*/ 1105824 h 1533601"/>
                <a:gd name="connsiteX20" fmla="*/ 41 w 733022"/>
                <a:gd name="connsiteY20" fmla="*/ 818081 h 1533601"/>
                <a:gd name="connsiteX21" fmla="*/ 18202 w 733022"/>
                <a:gd name="connsiteY21" fmla="*/ 798631 h 1533601"/>
                <a:gd name="connsiteX22" fmla="*/ 733022 w 733022"/>
                <a:gd name="connsiteY22" fmla="*/ 440947 h 1533601"/>
                <a:gd name="connsiteX23" fmla="*/ 733022 w 733022"/>
                <a:gd name="connsiteY23" fmla="*/ 627192 h 1533601"/>
                <a:gd name="connsiteX24" fmla="*/ 694597 w 733022"/>
                <a:gd name="connsiteY24" fmla="*/ 638681 h 1533601"/>
                <a:gd name="connsiteX25" fmla="*/ 618391 w 733022"/>
                <a:gd name="connsiteY25" fmla="*/ 748942 h 1533601"/>
                <a:gd name="connsiteX26" fmla="*/ 699416 w 733022"/>
                <a:gd name="connsiteY26" fmla="*/ 889231 h 1533601"/>
                <a:gd name="connsiteX27" fmla="*/ 733022 w 733022"/>
                <a:gd name="connsiteY27" fmla="*/ 896448 h 1533601"/>
                <a:gd name="connsiteX28" fmla="*/ 733022 w 733022"/>
                <a:gd name="connsiteY28" fmla="*/ 1083871 h 1533601"/>
                <a:gd name="connsiteX29" fmla="*/ 691051 w 733022"/>
                <a:gd name="connsiteY29" fmla="*/ 1079617 h 1533601"/>
                <a:gd name="connsiteX30" fmla="*/ 433014 w 733022"/>
                <a:gd name="connsiteY30" fmla="*/ 761820 h 1533601"/>
                <a:gd name="connsiteX31" fmla="*/ 678170 w 733022"/>
                <a:gd name="connsiteY31" fmla="*/ 449027 h 1533601"/>
                <a:gd name="connsiteX32" fmla="*/ 88045 w 733022"/>
                <a:gd name="connsiteY32" fmla="*/ 418365 h 1533601"/>
                <a:gd name="connsiteX33" fmla="*/ 102441 w 733022"/>
                <a:gd name="connsiteY33" fmla="*/ 420020 h 1533601"/>
                <a:gd name="connsiteX34" fmla="*/ 372960 w 733022"/>
                <a:gd name="connsiteY34" fmla="*/ 576281 h 1533601"/>
                <a:gd name="connsiteX35" fmla="*/ 332873 w 733022"/>
                <a:gd name="connsiteY35" fmla="*/ 734971 h 1533601"/>
                <a:gd name="connsiteX36" fmla="*/ 18202 w 733022"/>
                <a:gd name="connsiteY36" fmla="*/ 734971 h 1533601"/>
                <a:gd name="connsiteX37" fmla="*/ 41 w 733022"/>
                <a:gd name="connsiteY37" fmla="*/ 715520 h 1533601"/>
                <a:gd name="connsiteX38" fmla="*/ 76996 w 733022"/>
                <a:gd name="connsiteY38" fmla="*/ 427739 h 1533601"/>
                <a:gd name="connsiteX39" fmla="*/ 88045 w 733022"/>
                <a:gd name="connsiteY39" fmla="*/ 418365 h 1533601"/>
                <a:gd name="connsiteX40" fmla="*/ 353092 w 733022"/>
                <a:gd name="connsiteY40" fmla="*/ 125773 h 1533601"/>
                <a:gd name="connsiteX41" fmla="*/ 364754 w 733022"/>
                <a:gd name="connsiteY41" fmla="*/ 134404 h 1533601"/>
                <a:gd name="connsiteX42" fmla="*/ 519455 w 733022"/>
                <a:gd name="connsiteY42" fmla="*/ 402471 h 1533601"/>
                <a:gd name="connsiteX43" fmla="*/ 404069 w 733022"/>
                <a:gd name="connsiteY43" fmla="*/ 520735 h 1533601"/>
                <a:gd name="connsiteX44" fmla="*/ 134359 w 733022"/>
                <a:gd name="connsiteY44" fmla="*/ 364945 h 1533601"/>
                <a:gd name="connsiteX45" fmla="*/ 128356 w 733022"/>
                <a:gd name="connsiteY45" fmla="*/ 338999 h 1533601"/>
                <a:gd name="connsiteX46" fmla="*/ 338820 w 733022"/>
                <a:gd name="connsiteY46" fmla="*/ 128398 h 1533601"/>
                <a:gd name="connsiteX47" fmla="*/ 353092 w 733022"/>
                <a:gd name="connsiteY47" fmla="*/ 125773 h 1533601"/>
                <a:gd name="connsiteX48" fmla="*/ 715183 w 733022"/>
                <a:gd name="connsiteY48" fmla="*/ 41 h 1533601"/>
                <a:gd name="connsiteX49" fmla="*/ 715202 w 733022"/>
                <a:gd name="connsiteY49" fmla="*/ 41 h 1533601"/>
                <a:gd name="connsiteX50" fmla="*/ 728860 w 733022"/>
                <a:gd name="connsiteY50" fmla="*/ 4910 h 1533601"/>
                <a:gd name="connsiteX51" fmla="*/ 733022 w 733022"/>
                <a:gd name="connsiteY51" fmla="*/ 14482 h 1533601"/>
                <a:gd name="connsiteX52" fmla="*/ 733022 w 733022"/>
                <a:gd name="connsiteY52" fmla="*/ 325990 h 1533601"/>
                <a:gd name="connsiteX53" fmla="*/ 651303 w 733022"/>
                <a:gd name="connsiteY53" fmla="*/ 340329 h 1533601"/>
                <a:gd name="connsiteX54" fmla="*/ 574202 w 733022"/>
                <a:gd name="connsiteY54" fmla="*/ 369991 h 1533601"/>
                <a:gd name="connsiteX55" fmla="*/ 419821 w 733022"/>
                <a:gd name="connsiteY55" fmla="*/ 102489 h 1533601"/>
                <a:gd name="connsiteX56" fmla="*/ 427538 w 733022"/>
                <a:gd name="connsiteY56" fmla="*/ 77032 h 1533601"/>
                <a:gd name="connsiteX57" fmla="*/ 715183 w 733022"/>
                <a:gd name="connsiteY57" fmla="*/ 41 h 1533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733022" h="1533601">
                  <a:moveTo>
                    <a:pt x="579415" y="1154516"/>
                  </a:moveTo>
                  <a:cubicBezTo>
                    <a:pt x="603213" y="1165954"/>
                    <a:pt x="628197" y="1175308"/>
                    <a:pt x="654140" y="1182331"/>
                  </a:cubicBezTo>
                  <a:lnTo>
                    <a:pt x="733022" y="1195890"/>
                  </a:lnTo>
                  <a:lnTo>
                    <a:pt x="733022" y="1519078"/>
                  </a:lnTo>
                  <a:lnTo>
                    <a:pt x="728849" y="1528684"/>
                  </a:lnTo>
                  <a:cubicBezTo>
                    <a:pt x="725303" y="1531998"/>
                    <a:pt x="720443" y="1533909"/>
                    <a:pt x="715183" y="1533561"/>
                  </a:cubicBezTo>
                  <a:cubicBezTo>
                    <a:pt x="612463" y="1526782"/>
                    <a:pt x="515258" y="1499819"/>
                    <a:pt x="427500" y="1456569"/>
                  </a:cubicBezTo>
                  <a:lnTo>
                    <a:pt x="427481" y="1456569"/>
                  </a:lnTo>
                  <a:cubicBezTo>
                    <a:pt x="418052" y="1451918"/>
                    <a:pt x="414495" y="1440226"/>
                    <a:pt x="419765" y="1431112"/>
                  </a:cubicBezTo>
                  <a:close/>
                  <a:moveTo>
                    <a:pt x="409753" y="1009571"/>
                  </a:moveTo>
                  <a:cubicBezTo>
                    <a:pt x="440580" y="1054045"/>
                    <a:pt x="479424" y="1092456"/>
                    <a:pt x="524291" y="1122789"/>
                  </a:cubicBezTo>
                  <a:lnTo>
                    <a:pt x="364754" y="1399179"/>
                  </a:lnTo>
                  <a:cubicBezTo>
                    <a:pt x="359484" y="1408311"/>
                    <a:pt x="347571" y="1411060"/>
                    <a:pt x="338820" y="1405185"/>
                  </a:cubicBezTo>
                  <a:cubicBezTo>
                    <a:pt x="255730" y="1349376"/>
                    <a:pt x="184100" y="1277751"/>
                    <a:pt x="128318" y="1194584"/>
                  </a:cubicBezTo>
                  <a:cubicBezTo>
                    <a:pt x="122446" y="1185828"/>
                    <a:pt x="125194" y="1173910"/>
                    <a:pt x="134321" y="1168637"/>
                  </a:cubicBezTo>
                  <a:close/>
                  <a:moveTo>
                    <a:pt x="18202" y="798631"/>
                  </a:moveTo>
                  <a:lnTo>
                    <a:pt x="333739" y="798631"/>
                  </a:lnTo>
                  <a:cubicBezTo>
                    <a:pt x="338462" y="854289"/>
                    <a:pt x="353650" y="906991"/>
                    <a:pt x="377363" y="954723"/>
                  </a:cubicBezTo>
                  <a:lnTo>
                    <a:pt x="102441" y="1113544"/>
                  </a:lnTo>
                  <a:cubicBezTo>
                    <a:pt x="93331" y="1118816"/>
                    <a:pt x="81644" y="1115258"/>
                    <a:pt x="76996" y="1105824"/>
                  </a:cubicBezTo>
                  <a:cubicBezTo>
                    <a:pt x="33766" y="1018063"/>
                    <a:pt x="6816" y="920849"/>
                    <a:pt x="41" y="818081"/>
                  </a:cubicBezTo>
                  <a:cubicBezTo>
                    <a:pt x="-656" y="807556"/>
                    <a:pt x="7682" y="798631"/>
                    <a:pt x="18202" y="798631"/>
                  </a:cubicBezTo>
                  <a:close/>
                  <a:moveTo>
                    <a:pt x="733022" y="440947"/>
                  </a:moveTo>
                  <a:lnTo>
                    <a:pt x="733022" y="627192"/>
                  </a:lnTo>
                  <a:lnTo>
                    <a:pt x="694597" y="638681"/>
                  </a:lnTo>
                  <a:cubicBezTo>
                    <a:pt x="652977" y="659505"/>
                    <a:pt x="623092" y="700871"/>
                    <a:pt x="618391" y="748942"/>
                  </a:cubicBezTo>
                  <a:cubicBezTo>
                    <a:pt x="612336" y="810922"/>
                    <a:pt x="647367" y="865710"/>
                    <a:pt x="699416" y="889231"/>
                  </a:cubicBezTo>
                  <a:lnTo>
                    <a:pt x="733022" y="896448"/>
                  </a:lnTo>
                  <a:lnTo>
                    <a:pt x="733022" y="1083871"/>
                  </a:lnTo>
                  <a:lnTo>
                    <a:pt x="691051" y="1079617"/>
                  </a:lnTo>
                  <a:cubicBezTo>
                    <a:pt x="543639" y="1049300"/>
                    <a:pt x="432521" y="918253"/>
                    <a:pt x="433014" y="761820"/>
                  </a:cubicBezTo>
                  <a:cubicBezTo>
                    <a:pt x="433475" y="612208"/>
                    <a:pt x="537754" y="484162"/>
                    <a:pt x="678170" y="449027"/>
                  </a:cubicBezTo>
                  <a:close/>
                  <a:moveTo>
                    <a:pt x="88045" y="418365"/>
                  </a:moveTo>
                  <a:cubicBezTo>
                    <a:pt x="92687" y="416955"/>
                    <a:pt x="97886" y="417384"/>
                    <a:pt x="102441" y="420020"/>
                  </a:cubicBezTo>
                  <a:lnTo>
                    <a:pt x="372960" y="576281"/>
                  </a:lnTo>
                  <a:cubicBezTo>
                    <a:pt x="350187" y="624934"/>
                    <a:pt x="336185" y="678503"/>
                    <a:pt x="332873" y="734971"/>
                  </a:cubicBezTo>
                  <a:lnTo>
                    <a:pt x="18202" y="734971"/>
                  </a:lnTo>
                  <a:cubicBezTo>
                    <a:pt x="7682" y="734971"/>
                    <a:pt x="-656" y="726045"/>
                    <a:pt x="41" y="715520"/>
                  </a:cubicBezTo>
                  <a:cubicBezTo>
                    <a:pt x="6816" y="612752"/>
                    <a:pt x="33766" y="515501"/>
                    <a:pt x="76996" y="427739"/>
                  </a:cubicBezTo>
                  <a:cubicBezTo>
                    <a:pt x="79320" y="423023"/>
                    <a:pt x="83404" y="419775"/>
                    <a:pt x="88045" y="418365"/>
                  </a:cubicBezTo>
                  <a:close/>
                  <a:moveTo>
                    <a:pt x="353092" y="125773"/>
                  </a:moveTo>
                  <a:cubicBezTo>
                    <a:pt x="357823" y="126868"/>
                    <a:pt x="362119" y="129838"/>
                    <a:pt x="364754" y="134404"/>
                  </a:cubicBezTo>
                  <a:lnTo>
                    <a:pt x="519455" y="402471"/>
                  </a:lnTo>
                  <a:cubicBezTo>
                    <a:pt x="473873" y="434122"/>
                    <a:pt x="434652" y="474359"/>
                    <a:pt x="404069" y="520735"/>
                  </a:cubicBezTo>
                  <a:lnTo>
                    <a:pt x="134359" y="364945"/>
                  </a:lnTo>
                  <a:cubicBezTo>
                    <a:pt x="125231" y="359673"/>
                    <a:pt x="122484" y="347754"/>
                    <a:pt x="128356" y="338999"/>
                  </a:cubicBezTo>
                  <a:cubicBezTo>
                    <a:pt x="184138" y="255869"/>
                    <a:pt x="255730" y="184244"/>
                    <a:pt x="338820" y="128398"/>
                  </a:cubicBezTo>
                  <a:cubicBezTo>
                    <a:pt x="343196" y="125460"/>
                    <a:pt x="348362" y="124679"/>
                    <a:pt x="353092" y="125773"/>
                  </a:cubicBezTo>
                  <a:close/>
                  <a:moveTo>
                    <a:pt x="715183" y="41"/>
                  </a:moveTo>
                  <a:lnTo>
                    <a:pt x="715202" y="41"/>
                  </a:lnTo>
                  <a:cubicBezTo>
                    <a:pt x="720453" y="-308"/>
                    <a:pt x="725313" y="1599"/>
                    <a:pt x="728860" y="4910"/>
                  </a:cubicBezTo>
                  <a:lnTo>
                    <a:pt x="733022" y="14482"/>
                  </a:lnTo>
                  <a:lnTo>
                    <a:pt x="733022" y="325990"/>
                  </a:lnTo>
                  <a:lnTo>
                    <a:pt x="651303" y="340329"/>
                  </a:lnTo>
                  <a:cubicBezTo>
                    <a:pt x="624470" y="347792"/>
                    <a:pt x="598678" y="357762"/>
                    <a:pt x="574202" y="369991"/>
                  </a:cubicBezTo>
                  <a:lnTo>
                    <a:pt x="419821" y="102489"/>
                  </a:lnTo>
                  <a:cubicBezTo>
                    <a:pt x="414552" y="93357"/>
                    <a:pt x="418090" y="81683"/>
                    <a:pt x="427538" y="77032"/>
                  </a:cubicBezTo>
                  <a:cubicBezTo>
                    <a:pt x="515258" y="33801"/>
                    <a:pt x="612463" y="6819"/>
                    <a:pt x="715183" y="41"/>
                  </a:cubicBezTo>
                  <a:close/>
                </a:path>
              </a:pathLst>
            </a:custGeom>
            <a:gradFill>
              <a:gsLst>
                <a:gs pos="6000">
                  <a:srgbClr val="FF9248">
                    <a:alpha val="34000"/>
                  </a:srgbClr>
                </a:gs>
                <a:gs pos="77000">
                  <a:schemeClr val="accent4">
                    <a:alpha val="29000"/>
                  </a:schemeClr>
                </a:gs>
              </a:gsLst>
              <a:lin ang="3343960" scaled="1"/>
            </a:gradFill>
            <a:ln w="5992" cap="flat">
              <a:noFill/>
              <a:prstDash val="solid"/>
              <a:miter/>
            </a:ln>
          </p:spPr>
          <p:txBody>
            <a:bodyPr wrap="square" rtlCol="0" anchor="ctr">
              <a:noAutofit/>
            </a:bodyPr>
            <a:lstStyle/>
            <a:p>
              <a:endParaRPr lang="en-US"/>
            </a:p>
          </p:txBody>
        </p:sp>
        <p:sp>
          <p:nvSpPr>
            <p:cNvPr id="5" name="Donut 4">
              <a:extLst>
                <a:ext uri="{FF2B5EF4-FFF2-40B4-BE49-F238E27FC236}">
                  <a16:creationId xmlns:a16="http://schemas.microsoft.com/office/drawing/2014/main" id="{B544600C-5772-9B24-F16C-7F1A2D255B23}"/>
                </a:ext>
              </a:extLst>
            </p:cNvPr>
            <p:cNvSpPr/>
            <p:nvPr/>
          </p:nvSpPr>
          <p:spPr bwMode="auto">
            <a:xfrm>
              <a:off x="11207931" y="1255577"/>
              <a:ext cx="385156" cy="385156"/>
            </a:xfrm>
            <a:prstGeom prst="donut">
              <a:avLst/>
            </a:prstGeom>
            <a:gradFill>
              <a:gsLst>
                <a:gs pos="6000">
                  <a:srgbClr val="FF9248">
                    <a:alpha val="34000"/>
                  </a:srgbClr>
                </a:gs>
                <a:gs pos="77000">
                  <a:schemeClr val="accent4">
                    <a:alpha val="29000"/>
                  </a:schemeClr>
                </a:gs>
              </a:gsLst>
              <a:lin ang="3343960" scaled="1"/>
            </a:gradFill>
            <a:ln w="5992" cap="flat">
              <a:noFill/>
              <a:prstDash val="solid"/>
              <a:miter/>
            </a:ln>
          </p:spPr>
          <p:txBody>
            <a:bodyPr wrap="square" rtlCol="0" anchor="ctr">
              <a:noAutofit/>
            </a:bodyPr>
            <a:lstStyle/>
            <a:p>
              <a:endParaRPr lang="en-US">
                <a:solidFill>
                  <a:schemeClr val="tx1"/>
                </a:solidFill>
              </a:endParaRPr>
            </a:p>
          </p:txBody>
        </p:sp>
      </p:grpSp>
    </p:spTree>
    <p:extLst>
      <p:ext uri="{BB962C8B-B14F-4D97-AF65-F5344CB8AC3E}">
        <p14:creationId xmlns:p14="http://schemas.microsoft.com/office/powerpoint/2010/main" val="267439034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Divider - Colorful 1">
    <p:spTree>
      <p:nvGrpSpPr>
        <p:cNvPr id="1" name=""/>
        <p:cNvGrpSpPr/>
        <p:nvPr/>
      </p:nvGrpSpPr>
      <p:grpSpPr>
        <a:xfrm>
          <a:off x="0" y="0"/>
          <a:ext cx="0" cy="0"/>
          <a:chOff x="0" y="0"/>
          <a:chExt cx="0" cy="0"/>
        </a:xfrm>
      </p:grpSpPr>
      <p:pic>
        <p:nvPicPr>
          <p:cNvPr id="3" name="Picture 2" descr="Logo&#10;&#10;Description automatically generated">
            <a:extLst>
              <a:ext uri="{FF2B5EF4-FFF2-40B4-BE49-F238E27FC236}">
                <a16:creationId xmlns:a16="http://schemas.microsoft.com/office/drawing/2014/main" id="{177703DE-10A8-D6F1-5099-2D62C2C90F0B}"/>
              </a:ext>
            </a:extLst>
          </p:cNvPr>
          <p:cNvPicPr>
            <a:picLocks noChangeAspect="1"/>
          </p:cNvPicPr>
          <p:nvPr userDrawn="1"/>
        </p:nvPicPr>
        <p:blipFill rotWithShape="1">
          <a:blip r:embed="rId2"/>
          <a:srcRect l="4902" t="15055" b="10077"/>
          <a:stretch/>
        </p:blipFill>
        <p:spPr>
          <a:xfrm flipH="1">
            <a:off x="0" y="0"/>
            <a:ext cx="12192000" cy="6858000"/>
          </a:xfrm>
          <a:prstGeom prst="rect">
            <a:avLst/>
          </a:prstGeom>
        </p:spPr>
      </p:pic>
      <p:sp>
        <p:nvSpPr>
          <p:cNvPr id="5" name="Title 2">
            <a:extLst>
              <a:ext uri="{FF2B5EF4-FFF2-40B4-BE49-F238E27FC236}">
                <a16:creationId xmlns:a16="http://schemas.microsoft.com/office/drawing/2014/main" id="{E480FBEB-13AC-B141-F0B4-2F484F44930A}"/>
              </a:ext>
            </a:extLst>
          </p:cNvPr>
          <p:cNvSpPr>
            <a:spLocks noGrp="1"/>
          </p:cNvSpPr>
          <p:nvPr>
            <p:ph type="title" hasCustomPrompt="1"/>
          </p:nvPr>
        </p:nvSpPr>
        <p:spPr bwMode="ltGray">
          <a:xfrm>
            <a:off x="-4" y="0"/>
            <a:ext cx="11274139" cy="6858000"/>
          </a:xfrm>
          <a:gradFill flip="none" rotWithShape="1">
            <a:gsLst>
              <a:gs pos="13000">
                <a:srgbClr val="8661C5">
                  <a:alpha val="55000"/>
                </a:srgbClr>
              </a:gs>
              <a:gs pos="100000">
                <a:srgbClr val="8661C5">
                  <a:alpha val="0"/>
                </a:srgbClr>
              </a:gs>
            </a:gsLst>
            <a:lin ang="0" scaled="1"/>
            <a:tileRect/>
          </a:gradFill>
        </p:spPr>
        <p:txBody>
          <a:bodyPr lIns="585216" tIns="585216" rIns="585216" bIns="585216" anchor="ctr">
            <a:noAutofit/>
          </a:bodyPr>
          <a:lstStyle>
            <a:lvl1pPr>
              <a:defRPr sz="4400" spc="0">
                <a:solidFill>
                  <a:srgbClr val="FFFFFF"/>
                </a:solidFill>
                <a:effectLst>
                  <a:outerShdw blurRad="189175" algn="ctr" rotWithShape="0">
                    <a:prstClr val="black">
                      <a:alpha val="34922"/>
                    </a:prstClr>
                  </a:outerShdw>
                </a:effectLst>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208498551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Divider - Colorful 2">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FC4B566-45B5-C432-FC63-24B5A3F05930}"/>
              </a:ext>
            </a:extLst>
          </p:cNvPr>
          <p:cNvPicPr>
            <a:picLocks noChangeAspect="1"/>
          </p:cNvPicPr>
          <p:nvPr userDrawn="1"/>
        </p:nvPicPr>
        <p:blipFill>
          <a:blip r:embed="rId2"/>
          <a:srcRect t="3125" b="3125"/>
          <a:stretch/>
        </p:blipFill>
        <p:spPr>
          <a:xfrm flipH="1">
            <a:off x="0" y="0"/>
            <a:ext cx="12192000" cy="6858000"/>
          </a:xfrm>
          <a:prstGeom prst="rect">
            <a:avLst/>
          </a:prstGeom>
        </p:spPr>
      </p:pic>
      <p:sp>
        <p:nvSpPr>
          <p:cNvPr id="5" name="Title 2">
            <a:extLst>
              <a:ext uri="{FF2B5EF4-FFF2-40B4-BE49-F238E27FC236}">
                <a16:creationId xmlns:a16="http://schemas.microsoft.com/office/drawing/2014/main" id="{F07CED65-5A56-05C4-6117-09881CA52ADE}"/>
              </a:ext>
            </a:extLst>
          </p:cNvPr>
          <p:cNvSpPr>
            <a:spLocks noGrp="1"/>
          </p:cNvSpPr>
          <p:nvPr>
            <p:ph type="title" hasCustomPrompt="1"/>
          </p:nvPr>
        </p:nvSpPr>
        <p:spPr bwMode="ltGray">
          <a:xfrm>
            <a:off x="-4" y="0"/>
            <a:ext cx="11274139" cy="6858000"/>
          </a:xfrm>
          <a:gradFill flip="none" rotWithShape="1">
            <a:gsLst>
              <a:gs pos="13000">
                <a:srgbClr val="8661C5">
                  <a:alpha val="55000"/>
                </a:srgbClr>
              </a:gs>
              <a:gs pos="100000">
                <a:srgbClr val="8661C5">
                  <a:alpha val="0"/>
                </a:srgbClr>
              </a:gs>
            </a:gsLst>
            <a:lin ang="0" scaled="1"/>
            <a:tileRect/>
          </a:gradFill>
        </p:spPr>
        <p:txBody>
          <a:bodyPr lIns="585216" tIns="585216" rIns="585216" bIns="585216" anchor="ctr">
            <a:noAutofit/>
          </a:bodyPr>
          <a:lstStyle>
            <a:lvl1pPr>
              <a:defRPr sz="4400" spc="0">
                <a:solidFill>
                  <a:srgbClr val="FFFFFF"/>
                </a:solidFill>
                <a:effectLst>
                  <a:outerShdw blurRad="189175" algn="ctr" rotWithShape="0">
                    <a:prstClr val="black">
                      <a:alpha val="34922"/>
                    </a:prstClr>
                  </a:outerShdw>
                </a:effectLst>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344926336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Divider - Colorful 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9F70E06-178D-1E5F-E69C-6A0E69545970}"/>
              </a:ext>
            </a:extLst>
          </p:cNvPr>
          <p:cNvPicPr>
            <a:picLocks noChangeAspect="1"/>
          </p:cNvPicPr>
          <p:nvPr userDrawn="1"/>
        </p:nvPicPr>
        <p:blipFill rotWithShape="1">
          <a:blip r:embed="rId2"/>
          <a:srcRect l="10212" t="7841" r="7870"/>
          <a:stretch/>
        </p:blipFill>
        <p:spPr>
          <a:xfrm flipH="1">
            <a:off x="0" y="0"/>
            <a:ext cx="12192000" cy="6858000"/>
          </a:xfrm>
          <a:prstGeom prst="rect">
            <a:avLst/>
          </a:prstGeom>
        </p:spPr>
      </p:pic>
      <p:sp>
        <p:nvSpPr>
          <p:cNvPr id="5" name="Title 2">
            <a:extLst>
              <a:ext uri="{FF2B5EF4-FFF2-40B4-BE49-F238E27FC236}">
                <a16:creationId xmlns:a16="http://schemas.microsoft.com/office/drawing/2014/main" id="{35323EB0-CF3C-3C69-4A60-1148846A4A3E}"/>
              </a:ext>
            </a:extLst>
          </p:cNvPr>
          <p:cNvSpPr>
            <a:spLocks noGrp="1"/>
          </p:cNvSpPr>
          <p:nvPr>
            <p:ph type="title" hasCustomPrompt="1"/>
          </p:nvPr>
        </p:nvSpPr>
        <p:spPr bwMode="ltGray">
          <a:xfrm>
            <a:off x="-4" y="0"/>
            <a:ext cx="11274139" cy="6858000"/>
          </a:xfrm>
          <a:gradFill flip="none" rotWithShape="1">
            <a:gsLst>
              <a:gs pos="13000">
                <a:srgbClr val="8661C5">
                  <a:alpha val="55000"/>
                </a:srgbClr>
              </a:gs>
              <a:gs pos="100000">
                <a:srgbClr val="8661C5">
                  <a:alpha val="0"/>
                </a:srgbClr>
              </a:gs>
            </a:gsLst>
            <a:lin ang="0" scaled="1"/>
            <a:tileRect/>
          </a:gradFill>
        </p:spPr>
        <p:txBody>
          <a:bodyPr lIns="585216" tIns="585216" rIns="585216" bIns="585216" anchor="ctr">
            <a:noAutofit/>
          </a:bodyPr>
          <a:lstStyle>
            <a:lvl1pPr>
              <a:defRPr sz="4400" spc="0">
                <a:solidFill>
                  <a:srgbClr val="FFFFFF"/>
                </a:solidFill>
                <a:effectLst>
                  <a:outerShdw blurRad="189175" algn="ctr" rotWithShape="0">
                    <a:prstClr val="black">
                      <a:alpha val="34922"/>
                    </a:prstClr>
                  </a:outerShdw>
                </a:effectLst>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264824231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Divider - Colorful 4">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A147E53-3529-6D7F-446C-4B68489006D6}"/>
              </a:ext>
            </a:extLst>
          </p:cNvPr>
          <p:cNvPicPr>
            <a:picLocks noChangeAspect="1"/>
          </p:cNvPicPr>
          <p:nvPr userDrawn="1"/>
        </p:nvPicPr>
        <p:blipFill>
          <a:blip r:embed="rId2"/>
          <a:srcRect t="10526" b="10526"/>
          <a:stretch/>
        </p:blipFill>
        <p:spPr>
          <a:xfrm flipH="1">
            <a:off x="0" y="0"/>
            <a:ext cx="12192000" cy="6858000"/>
          </a:xfrm>
          <a:prstGeom prst="rect">
            <a:avLst/>
          </a:prstGeom>
        </p:spPr>
      </p:pic>
      <p:sp>
        <p:nvSpPr>
          <p:cNvPr id="5" name="Title 2">
            <a:extLst>
              <a:ext uri="{FF2B5EF4-FFF2-40B4-BE49-F238E27FC236}">
                <a16:creationId xmlns:a16="http://schemas.microsoft.com/office/drawing/2014/main" id="{02C941F9-FA62-6828-BF2A-5BCA2C46BF0B}"/>
              </a:ext>
            </a:extLst>
          </p:cNvPr>
          <p:cNvSpPr>
            <a:spLocks noGrp="1"/>
          </p:cNvSpPr>
          <p:nvPr>
            <p:ph type="title" hasCustomPrompt="1"/>
          </p:nvPr>
        </p:nvSpPr>
        <p:spPr bwMode="ltGray">
          <a:xfrm>
            <a:off x="-4" y="0"/>
            <a:ext cx="11274139" cy="6858000"/>
          </a:xfrm>
          <a:gradFill flip="none" rotWithShape="1">
            <a:gsLst>
              <a:gs pos="13000">
                <a:srgbClr val="8661C5">
                  <a:alpha val="55000"/>
                </a:srgbClr>
              </a:gs>
              <a:gs pos="100000">
                <a:srgbClr val="8661C5">
                  <a:alpha val="0"/>
                </a:srgbClr>
              </a:gs>
            </a:gsLst>
            <a:lin ang="0" scaled="1"/>
            <a:tileRect/>
          </a:gradFill>
        </p:spPr>
        <p:txBody>
          <a:bodyPr lIns="585216" tIns="585216" rIns="585216" bIns="585216" anchor="ctr">
            <a:noAutofit/>
          </a:bodyPr>
          <a:lstStyle>
            <a:lvl1pPr>
              <a:defRPr sz="4400" spc="0">
                <a:solidFill>
                  <a:srgbClr val="FFFFFF"/>
                </a:solidFill>
                <a:effectLst>
                  <a:outerShdw blurRad="189175" algn="ctr" rotWithShape="0">
                    <a:prstClr val="black">
                      <a:alpha val="34922"/>
                    </a:prstClr>
                  </a:outerShdw>
                </a:effectLst>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241738403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Divider - Colorful 5">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F8DB090-6B12-C8AA-D966-3E5FEE421847}"/>
              </a:ext>
            </a:extLst>
          </p:cNvPr>
          <p:cNvPicPr>
            <a:picLocks noChangeAspect="1"/>
          </p:cNvPicPr>
          <p:nvPr userDrawn="1"/>
        </p:nvPicPr>
        <p:blipFill rotWithShape="1">
          <a:blip r:embed="rId2"/>
          <a:srcRect l="4956" t="7926" b="2970"/>
          <a:stretch/>
        </p:blipFill>
        <p:spPr>
          <a:xfrm flipH="1">
            <a:off x="0" y="0"/>
            <a:ext cx="12192000" cy="6858000"/>
          </a:xfrm>
          <a:prstGeom prst="rect">
            <a:avLst/>
          </a:prstGeom>
        </p:spPr>
      </p:pic>
      <p:sp>
        <p:nvSpPr>
          <p:cNvPr id="5" name="Title 2">
            <a:extLst>
              <a:ext uri="{FF2B5EF4-FFF2-40B4-BE49-F238E27FC236}">
                <a16:creationId xmlns:a16="http://schemas.microsoft.com/office/drawing/2014/main" id="{E96E425D-D9BE-B478-20F9-1925CA9A18B8}"/>
              </a:ext>
            </a:extLst>
          </p:cNvPr>
          <p:cNvSpPr>
            <a:spLocks noGrp="1"/>
          </p:cNvSpPr>
          <p:nvPr>
            <p:ph type="title" hasCustomPrompt="1"/>
          </p:nvPr>
        </p:nvSpPr>
        <p:spPr bwMode="ltGray">
          <a:xfrm>
            <a:off x="-4" y="0"/>
            <a:ext cx="11274139" cy="6858000"/>
          </a:xfrm>
          <a:gradFill flip="none" rotWithShape="1">
            <a:gsLst>
              <a:gs pos="13000">
                <a:srgbClr val="8661C5">
                  <a:alpha val="55000"/>
                </a:srgbClr>
              </a:gs>
              <a:gs pos="100000">
                <a:srgbClr val="8661C5">
                  <a:alpha val="0"/>
                </a:srgbClr>
              </a:gs>
            </a:gsLst>
            <a:lin ang="0" scaled="1"/>
            <a:tileRect/>
          </a:gradFill>
        </p:spPr>
        <p:txBody>
          <a:bodyPr lIns="585216" tIns="585216" rIns="585216" bIns="585216" anchor="ctr">
            <a:noAutofit/>
          </a:bodyPr>
          <a:lstStyle>
            <a:lvl1pPr>
              <a:defRPr sz="4400" spc="0">
                <a:solidFill>
                  <a:srgbClr val="FFFFFF"/>
                </a:solidFill>
                <a:effectLst>
                  <a:outerShdw blurRad="189175" algn="ctr" rotWithShape="0">
                    <a:prstClr val="black">
                      <a:alpha val="34922"/>
                    </a:prstClr>
                  </a:outerShdw>
                </a:effectLst>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46353431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lank - gradient">
    <p:bg>
      <p:bgPr>
        <a:gradFill>
          <a:gsLst>
            <a:gs pos="0">
              <a:schemeClr val="bg1"/>
            </a:gs>
            <a:gs pos="100000">
              <a:schemeClr val="bg1">
                <a:lumMod val="85000"/>
                <a:alpha val="50000"/>
              </a:schemeClr>
            </a:gs>
          </a:gsLst>
          <a:lin ang="18900000" scaled="1"/>
        </a:gra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685359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7465906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4501667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0686117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95435157"/>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575167"/>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30309496"/>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58501770"/>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85703590"/>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0044780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2569999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quare photo 2">
    <p:bg>
      <p:bgPr>
        <a:solidFill>
          <a:schemeClr val="bg1"/>
        </a:solidFill>
        <a:effectLst/>
      </p:bgPr>
    </p:bg>
    <p:spTree>
      <p:nvGrpSpPr>
        <p:cNvPr id="1" name=""/>
        <p:cNvGrpSpPr/>
        <p:nvPr/>
      </p:nvGrpSpPr>
      <p:grpSpPr>
        <a:xfrm>
          <a:off x="0" y="0"/>
          <a:ext cx="0" cy="0"/>
          <a:chOff x="0" y="0"/>
          <a:chExt cx="0" cy="0"/>
        </a:xfrm>
      </p:grpSpPr>
      <p:pic>
        <p:nvPicPr>
          <p:cNvPr id="6" name="Picture 5" descr="A picture containing LEGO, toy&#10;&#10;Description automatically generated">
            <a:extLst>
              <a:ext uri="{FF2B5EF4-FFF2-40B4-BE49-F238E27FC236}">
                <a16:creationId xmlns:a16="http://schemas.microsoft.com/office/drawing/2014/main" id="{4325D2DC-DBD5-151D-81AC-69B993819652}"/>
              </a:ext>
            </a:extLst>
          </p:cNvPr>
          <p:cNvPicPr>
            <a:picLocks noChangeAspect="1"/>
          </p:cNvPicPr>
          <p:nvPr userDrawn="1"/>
        </p:nvPicPr>
        <p:blipFill rotWithShape="1">
          <a:blip r:embed="rId2"/>
          <a:srcRect l="14275" r="14275"/>
          <a:stretch/>
        </p:blipFill>
        <p:spPr>
          <a:xfrm>
            <a:off x="5334001" y="0"/>
            <a:ext cx="6858000"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302431"/>
            <a:ext cx="4167887" cy="1231106"/>
          </a:xfrm>
        </p:spPr>
        <p:txBody>
          <a:bodyPr anchor="b" anchorCtr="0">
            <a:spAutoFit/>
          </a:bodyPr>
          <a:lstStyle>
            <a:lvl1pPr>
              <a:defRPr sz="4000">
                <a:gradFill>
                  <a:gsLst>
                    <a:gs pos="0">
                      <a:schemeClr val="accent1"/>
                    </a:gs>
                    <a:gs pos="100000">
                      <a:schemeClr val="accent4"/>
                    </a:gs>
                  </a:gsLst>
                  <a:lin ang="2700000" scaled="1"/>
                </a:gra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4D1E6E7-6980-34C8-5B50-9BC3D2B8E201}"/>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665198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F61C1D9A-5BAF-D30D-27F3-0286DA113845}"/>
              </a:ext>
            </a:extLst>
          </p:cNvPr>
          <p:cNvGrpSpPr/>
          <p:nvPr userDrawn="1"/>
        </p:nvGrpSpPr>
        <p:grpSpPr>
          <a:xfrm>
            <a:off x="11207931" y="114223"/>
            <a:ext cx="984069" cy="1526510"/>
            <a:chOff x="11207931" y="114223"/>
            <a:chExt cx="984069" cy="1526510"/>
          </a:xfrm>
        </p:grpSpPr>
        <p:sp>
          <p:nvSpPr>
            <p:cNvPr id="5" name="Freeform 4">
              <a:extLst>
                <a:ext uri="{FF2B5EF4-FFF2-40B4-BE49-F238E27FC236}">
                  <a16:creationId xmlns:a16="http://schemas.microsoft.com/office/drawing/2014/main" id="{C0F0AF5D-5B93-D319-E38F-9356324AC043}"/>
                </a:ext>
              </a:extLst>
            </p:cNvPr>
            <p:cNvSpPr/>
            <p:nvPr/>
          </p:nvSpPr>
          <p:spPr bwMode="auto">
            <a:xfrm>
              <a:off x="11683516" y="209494"/>
              <a:ext cx="508484" cy="1049410"/>
            </a:xfrm>
            <a:custGeom>
              <a:avLst/>
              <a:gdLst>
                <a:gd name="connsiteX0" fmla="*/ 508484 w 508484"/>
                <a:gd name="connsiteY0" fmla="*/ 0 h 1049410"/>
                <a:gd name="connsiteX1" fmla="*/ 508484 w 508484"/>
                <a:gd name="connsiteY1" fmla="*/ 1049410 h 1049410"/>
                <a:gd name="connsiteX2" fmla="*/ 420411 w 508484"/>
                <a:gd name="connsiteY2" fmla="*/ 1040532 h 1049410"/>
                <a:gd name="connsiteX3" fmla="*/ 0 w 508484"/>
                <a:gd name="connsiteY3" fmla="*/ 524705 h 1049410"/>
                <a:gd name="connsiteX4" fmla="*/ 420411 w 508484"/>
                <a:gd name="connsiteY4" fmla="*/ 8878 h 1049410"/>
                <a:gd name="connsiteX5" fmla="*/ 508484 w 508484"/>
                <a:gd name="connsiteY5" fmla="*/ 0 h 1049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8484" h="1049410">
                  <a:moveTo>
                    <a:pt x="508484" y="0"/>
                  </a:moveTo>
                  <a:lnTo>
                    <a:pt x="508484" y="1049410"/>
                  </a:lnTo>
                  <a:lnTo>
                    <a:pt x="420411" y="1040532"/>
                  </a:lnTo>
                  <a:cubicBezTo>
                    <a:pt x="180483" y="991436"/>
                    <a:pt x="0" y="779147"/>
                    <a:pt x="0" y="524705"/>
                  </a:cubicBezTo>
                  <a:cubicBezTo>
                    <a:pt x="0" y="270263"/>
                    <a:pt x="180483" y="57975"/>
                    <a:pt x="420411" y="8878"/>
                  </a:cubicBezTo>
                  <a:lnTo>
                    <a:pt x="508484" y="0"/>
                  </a:lnTo>
                  <a:close/>
                </a:path>
              </a:pathLst>
            </a:custGeom>
            <a:solidFill>
              <a:schemeClr val="accent5">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7" name="Freeform 6">
              <a:extLst>
                <a:ext uri="{FF2B5EF4-FFF2-40B4-BE49-F238E27FC236}">
                  <a16:creationId xmlns:a16="http://schemas.microsoft.com/office/drawing/2014/main" id="{569E0FCA-DB69-4CC5-E321-EED10C1C3EE4}"/>
                </a:ext>
              </a:extLst>
            </p:cNvPr>
            <p:cNvSpPr/>
            <p:nvPr/>
          </p:nvSpPr>
          <p:spPr>
            <a:xfrm>
              <a:off x="11593087" y="114223"/>
              <a:ext cx="598913" cy="1253024"/>
            </a:xfrm>
            <a:custGeom>
              <a:avLst/>
              <a:gdLst>
                <a:gd name="connsiteX0" fmla="*/ 579415 w 733022"/>
                <a:gd name="connsiteY0" fmla="*/ 1154516 h 1533601"/>
                <a:gd name="connsiteX1" fmla="*/ 654140 w 733022"/>
                <a:gd name="connsiteY1" fmla="*/ 1182331 h 1533601"/>
                <a:gd name="connsiteX2" fmla="*/ 733022 w 733022"/>
                <a:gd name="connsiteY2" fmla="*/ 1195890 h 1533601"/>
                <a:gd name="connsiteX3" fmla="*/ 733022 w 733022"/>
                <a:gd name="connsiteY3" fmla="*/ 1519078 h 1533601"/>
                <a:gd name="connsiteX4" fmla="*/ 728849 w 733022"/>
                <a:gd name="connsiteY4" fmla="*/ 1528684 h 1533601"/>
                <a:gd name="connsiteX5" fmla="*/ 715183 w 733022"/>
                <a:gd name="connsiteY5" fmla="*/ 1533561 h 1533601"/>
                <a:gd name="connsiteX6" fmla="*/ 427500 w 733022"/>
                <a:gd name="connsiteY6" fmla="*/ 1456569 h 1533601"/>
                <a:gd name="connsiteX7" fmla="*/ 427481 w 733022"/>
                <a:gd name="connsiteY7" fmla="*/ 1456569 h 1533601"/>
                <a:gd name="connsiteX8" fmla="*/ 419765 w 733022"/>
                <a:gd name="connsiteY8" fmla="*/ 1431112 h 1533601"/>
                <a:gd name="connsiteX9" fmla="*/ 409753 w 733022"/>
                <a:gd name="connsiteY9" fmla="*/ 1009571 h 1533601"/>
                <a:gd name="connsiteX10" fmla="*/ 524291 w 733022"/>
                <a:gd name="connsiteY10" fmla="*/ 1122789 h 1533601"/>
                <a:gd name="connsiteX11" fmla="*/ 364754 w 733022"/>
                <a:gd name="connsiteY11" fmla="*/ 1399179 h 1533601"/>
                <a:gd name="connsiteX12" fmla="*/ 338820 w 733022"/>
                <a:gd name="connsiteY12" fmla="*/ 1405185 h 1533601"/>
                <a:gd name="connsiteX13" fmla="*/ 128318 w 733022"/>
                <a:gd name="connsiteY13" fmla="*/ 1194584 h 1533601"/>
                <a:gd name="connsiteX14" fmla="*/ 134321 w 733022"/>
                <a:gd name="connsiteY14" fmla="*/ 1168637 h 1533601"/>
                <a:gd name="connsiteX15" fmla="*/ 18202 w 733022"/>
                <a:gd name="connsiteY15" fmla="*/ 798631 h 1533601"/>
                <a:gd name="connsiteX16" fmla="*/ 333739 w 733022"/>
                <a:gd name="connsiteY16" fmla="*/ 798631 h 1533601"/>
                <a:gd name="connsiteX17" fmla="*/ 377363 w 733022"/>
                <a:gd name="connsiteY17" fmla="*/ 954723 h 1533601"/>
                <a:gd name="connsiteX18" fmla="*/ 102441 w 733022"/>
                <a:gd name="connsiteY18" fmla="*/ 1113544 h 1533601"/>
                <a:gd name="connsiteX19" fmla="*/ 76996 w 733022"/>
                <a:gd name="connsiteY19" fmla="*/ 1105824 h 1533601"/>
                <a:gd name="connsiteX20" fmla="*/ 41 w 733022"/>
                <a:gd name="connsiteY20" fmla="*/ 818081 h 1533601"/>
                <a:gd name="connsiteX21" fmla="*/ 18202 w 733022"/>
                <a:gd name="connsiteY21" fmla="*/ 798631 h 1533601"/>
                <a:gd name="connsiteX22" fmla="*/ 733022 w 733022"/>
                <a:gd name="connsiteY22" fmla="*/ 440947 h 1533601"/>
                <a:gd name="connsiteX23" fmla="*/ 733022 w 733022"/>
                <a:gd name="connsiteY23" fmla="*/ 627192 h 1533601"/>
                <a:gd name="connsiteX24" fmla="*/ 694597 w 733022"/>
                <a:gd name="connsiteY24" fmla="*/ 638681 h 1533601"/>
                <a:gd name="connsiteX25" fmla="*/ 618391 w 733022"/>
                <a:gd name="connsiteY25" fmla="*/ 748942 h 1533601"/>
                <a:gd name="connsiteX26" fmla="*/ 699416 w 733022"/>
                <a:gd name="connsiteY26" fmla="*/ 889231 h 1533601"/>
                <a:gd name="connsiteX27" fmla="*/ 733022 w 733022"/>
                <a:gd name="connsiteY27" fmla="*/ 896448 h 1533601"/>
                <a:gd name="connsiteX28" fmla="*/ 733022 w 733022"/>
                <a:gd name="connsiteY28" fmla="*/ 1083871 h 1533601"/>
                <a:gd name="connsiteX29" fmla="*/ 691051 w 733022"/>
                <a:gd name="connsiteY29" fmla="*/ 1079617 h 1533601"/>
                <a:gd name="connsiteX30" fmla="*/ 433014 w 733022"/>
                <a:gd name="connsiteY30" fmla="*/ 761820 h 1533601"/>
                <a:gd name="connsiteX31" fmla="*/ 678170 w 733022"/>
                <a:gd name="connsiteY31" fmla="*/ 449027 h 1533601"/>
                <a:gd name="connsiteX32" fmla="*/ 88045 w 733022"/>
                <a:gd name="connsiteY32" fmla="*/ 418365 h 1533601"/>
                <a:gd name="connsiteX33" fmla="*/ 102441 w 733022"/>
                <a:gd name="connsiteY33" fmla="*/ 420020 h 1533601"/>
                <a:gd name="connsiteX34" fmla="*/ 372960 w 733022"/>
                <a:gd name="connsiteY34" fmla="*/ 576281 h 1533601"/>
                <a:gd name="connsiteX35" fmla="*/ 332873 w 733022"/>
                <a:gd name="connsiteY35" fmla="*/ 734971 h 1533601"/>
                <a:gd name="connsiteX36" fmla="*/ 18202 w 733022"/>
                <a:gd name="connsiteY36" fmla="*/ 734971 h 1533601"/>
                <a:gd name="connsiteX37" fmla="*/ 41 w 733022"/>
                <a:gd name="connsiteY37" fmla="*/ 715520 h 1533601"/>
                <a:gd name="connsiteX38" fmla="*/ 76996 w 733022"/>
                <a:gd name="connsiteY38" fmla="*/ 427739 h 1533601"/>
                <a:gd name="connsiteX39" fmla="*/ 88045 w 733022"/>
                <a:gd name="connsiteY39" fmla="*/ 418365 h 1533601"/>
                <a:gd name="connsiteX40" fmla="*/ 353092 w 733022"/>
                <a:gd name="connsiteY40" fmla="*/ 125773 h 1533601"/>
                <a:gd name="connsiteX41" fmla="*/ 364754 w 733022"/>
                <a:gd name="connsiteY41" fmla="*/ 134404 h 1533601"/>
                <a:gd name="connsiteX42" fmla="*/ 519455 w 733022"/>
                <a:gd name="connsiteY42" fmla="*/ 402471 h 1533601"/>
                <a:gd name="connsiteX43" fmla="*/ 404069 w 733022"/>
                <a:gd name="connsiteY43" fmla="*/ 520735 h 1533601"/>
                <a:gd name="connsiteX44" fmla="*/ 134359 w 733022"/>
                <a:gd name="connsiteY44" fmla="*/ 364945 h 1533601"/>
                <a:gd name="connsiteX45" fmla="*/ 128356 w 733022"/>
                <a:gd name="connsiteY45" fmla="*/ 338999 h 1533601"/>
                <a:gd name="connsiteX46" fmla="*/ 338820 w 733022"/>
                <a:gd name="connsiteY46" fmla="*/ 128398 h 1533601"/>
                <a:gd name="connsiteX47" fmla="*/ 353092 w 733022"/>
                <a:gd name="connsiteY47" fmla="*/ 125773 h 1533601"/>
                <a:gd name="connsiteX48" fmla="*/ 715183 w 733022"/>
                <a:gd name="connsiteY48" fmla="*/ 41 h 1533601"/>
                <a:gd name="connsiteX49" fmla="*/ 715202 w 733022"/>
                <a:gd name="connsiteY49" fmla="*/ 41 h 1533601"/>
                <a:gd name="connsiteX50" fmla="*/ 728860 w 733022"/>
                <a:gd name="connsiteY50" fmla="*/ 4910 h 1533601"/>
                <a:gd name="connsiteX51" fmla="*/ 733022 w 733022"/>
                <a:gd name="connsiteY51" fmla="*/ 14482 h 1533601"/>
                <a:gd name="connsiteX52" fmla="*/ 733022 w 733022"/>
                <a:gd name="connsiteY52" fmla="*/ 325990 h 1533601"/>
                <a:gd name="connsiteX53" fmla="*/ 651303 w 733022"/>
                <a:gd name="connsiteY53" fmla="*/ 340329 h 1533601"/>
                <a:gd name="connsiteX54" fmla="*/ 574202 w 733022"/>
                <a:gd name="connsiteY54" fmla="*/ 369991 h 1533601"/>
                <a:gd name="connsiteX55" fmla="*/ 419821 w 733022"/>
                <a:gd name="connsiteY55" fmla="*/ 102489 h 1533601"/>
                <a:gd name="connsiteX56" fmla="*/ 427538 w 733022"/>
                <a:gd name="connsiteY56" fmla="*/ 77032 h 1533601"/>
                <a:gd name="connsiteX57" fmla="*/ 715183 w 733022"/>
                <a:gd name="connsiteY57" fmla="*/ 41 h 1533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733022" h="1533601">
                  <a:moveTo>
                    <a:pt x="579415" y="1154516"/>
                  </a:moveTo>
                  <a:cubicBezTo>
                    <a:pt x="603213" y="1165954"/>
                    <a:pt x="628197" y="1175308"/>
                    <a:pt x="654140" y="1182331"/>
                  </a:cubicBezTo>
                  <a:lnTo>
                    <a:pt x="733022" y="1195890"/>
                  </a:lnTo>
                  <a:lnTo>
                    <a:pt x="733022" y="1519078"/>
                  </a:lnTo>
                  <a:lnTo>
                    <a:pt x="728849" y="1528684"/>
                  </a:lnTo>
                  <a:cubicBezTo>
                    <a:pt x="725303" y="1531998"/>
                    <a:pt x="720443" y="1533909"/>
                    <a:pt x="715183" y="1533561"/>
                  </a:cubicBezTo>
                  <a:cubicBezTo>
                    <a:pt x="612463" y="1526782"/>
                    <a:pt x="515258" y="1499819"/>
                    <a:pt x="427500" y="1456569"/>
                  </a:cubicBezTo>
                  <a:lnTo>
                    <a:pt x="427481" y="1456569"/>
                  </a:lnTo>
                  <a:cubicBezTo>
                    <a:pt x="418052" y="1451918"/>
                    <a:pt x="414495" y="1440226"/>
                    <a:pt x="419765" y="1431112"/>
                  </a:cubicBezTo>
                  <a:close/>
                  <a:moveTo>
                    <a:pt x="409753" y="1009571"/>
                  </a:moveTo>
                  <a:cubicBezTo>
                    <a:pt x="440580" y="1054045"/>
                    <a:pt x="479424" y="1092456"/>
                    <a:pt x="524291" y="1122789"/>
                  </a:cubicBezTo>
                  <a:lnTo>
                    <a:pt x="364754" y="1399179"/>
                  </a:lnTo>
                  <a:cubicBezTo>
                    <a:pt x="359484" y="1408311"/>
                    <a:pt x="347571" y="1411060"/>
                    <a:pt x="338820" y="1405185"/>
                  </a:cubicBezTo>
                  <a:cubicBezTo>
                    <a:pt x="255730" y="1349376"/>
                    <a:pt x="184100" y="1277751"/>
                    <a:pt x="128318" y="1194584"/>
                  </a:cubicBezTo>
                  <a:cubicBezTo>
                    <a:pt x="122446" y="1185828"/>
                    <a:pt x="125194" y="1173910"/>
                    <a:pt x="134321" y="1168637"/>
                  </a:cubicBezTo>
                  <a:close/>
                  <a:moveTo>
                    <a:pt x="18202" y="798631"/>
                  </a:moveTo>
                  <a:lnTo>
                    <a:pt x="333739" y="798631"/>
                  </a:lnTo>
                  <a:cubicBezTo>
                    <a:pt x="338462" y="854289"/>
                    <a:pt x="353650" y="906991"/>
                    <a:pt x="377363" y="954723"/>
                  </a:cubicBezTo>
                  <a:lnTo>
                    <a:pt x="102441" y="1113544"/>
                  </a:lnTo>
                  <a:cubicBezTo>
                    <a:pt x="93331" y="1118816"/>
                    <a:pt x="81644" y="1115258"/>
                    <a:pt x="76996" y="1105824"/>
                  </a:cubicBezTo>
                  <a:cubicBezTo>
                    <a:pt x="33766" y="1018063"/>
                    <a:pt x="6816" y="920849"/>
                    <a:pt x="41" y="818081"/>
                  </a:cubicBezTo>
                  <a:cubicBezTo>
                    <a:pt x="-656" y="807556"/>
                    <a:pt x="7682" y="798631"/>
                    <a:pt x="18202" y="798631"/>
                  </a:cubicBezTo>
                  <a:close/>
                  <a:moveTo>
                    <a:pt x="733022" y="440947"/>
                  </a:moveTo>
                  <a:lnTo>
                    <a:pt x="733022" y="627192"/>
                  </a:lnTo>
                  <a:lnTo>
                    <a:pt x="694597" y="638681"/>
                  </a:lnTo>
                  <a:cubicBezTo>
                    <a:pt x="652977" y="659505"/>
                    <a:pt x="623092" y="700871"/>
                    <a:pt x="618391" y="748942"/>
                  </a:cubicBezTo>
                  <a:cubicBezTo>
                    <a:pt x="612336" y="810922"/>
                    <a:pt x="647367" y="865710"/>
                    <a:pt x="699416" y="889231"/>
                  </a:cubicBezTo>
                  <a:lnTo>
                    <a:pt x="733022" y="896448"/>
                  </a:lnTo>
                  <a:lnTo>
                    <a:pt x="733022" y="1083871"/>
                  </a:lnTo>
                  <a:lnTo>
                    <a:pt x="691051" y="1079617"/>
                  </a:lnTo>
                  <a:cubicBezTo>
                    <a:pt x="543639" y="1049300"/>
                    <a:pt x="432521" y="918253"/>
                    <a:pt x="433014" y="761820"/>
                  </a:cubicBezTo>
                  <a:cubicBezTo>
                    <a:pt x="433475" y="612208"/>
                    <a:pt x="537754" y="484162"/>
                    <a:pt x="678170" y="449027"/>
                  </a:cubicBezTo>
                  <a:close/>
                  <a:moveTo>
                    <a:pt x="88045" y="418365"/>
                  </a:moveTo>
                  <a:cubicBezTo>
                    <a:pt x="92687" y="416955"/>
                    <a:pt x="97886" y="417384"/>
                    <a:pt x="102441" y="420020"/>
                  </a:cubicBezTo>
                  <a:lnTo>
                    <a:pt x="372960" y="576281"/>
                  </a:lnTo>
                  <a:cubicBezTo>
                    <a:pt x="350187" y="624934"/>
                    <a:pt x="336185" y="678503"/>
                    <a:pt x="332873" y="734971"/>
                  </a:cubicBezTo>
                  <a:lnTo>
                    <a:pt x="18202" y="734971"/>
                  </a:lnTo>
                  <a:cubicBezTo>
                    <a:pt x="7682" y="734971"/>
                    <a:pt x="-656" y="726045"/>
                    <a:pt x="41" y="715520"/>
                  </a:cubicBezTo>
                  <a:cubicBezTo>
                    <a:pt x="6816" y="612752"/>
                    <a:pt x="33766" y="515501"/>
                    <a:pt x="76996" y="427739"/>
                  </a:cubicBezTo>
                  <a:cubicBezTo>
                    <a:pt x="79320" y="423023"/>
                    <a:pt x="83404" y="419775"/>
                    <a:pt x="88045" y="418365"/>
                  </a:cubicBezTo>
                  <a:close/>
                  <a:moveTo>
                    <a:pt x="353092" y="125773"/>
                  </a:moveTo>
                  <a:cubicBezTo>
                    <a:pt x="357823" y="126868"/>
                    <a:pt x="362119" y="129838"/>
                    <a:pt x="364754" y="134404"/>
                  </a:cubicBezTo>
                  <a:lnTo>
                    <a:pt x="519455" y="402471"/>
                  </a:lnTo>
                  <a:cubicBezTo>
                    <a:pt x="473873" y="434122"/>
                    <a:pt x="434652" y="474359"/>
                    <a:pt x="404069" y="520735"/>
                  </a:cubicBezTo>
                  <a:lnTo>
                    <a:pt x="134359" y="364945"/>
                  </a:lnTo>
                  <a:cubicBezTo>
                    <a:pt x="125231" y="359673"/>
                    <a:pt x="122484" y="347754"/>
                    <a:pt x="128356" y="338999"/>
                  </a:cubicBezTo>
                  <a:cubicBezTo>
                    <a:pt x="184138" y="255869"/>
                    <a:pt x="255730" y="184244"/>
                    <a:pt x="338820" y="128398"/>
                  </a:cubicBezTo>
                  <a:cubicBezTo>
                    <a:pt x="343196" y="125460"/>
                    <a:pt x="348362" y="124679"/>
                    <a:pt x="353092" y="125773"/>
                  </a:cubicBezTo>
                  <a:close/>
                  <a:moveTo>
                    <a:pt x="715183" y="41"/>
                  </a:moveTo>
                  <a:lnTo>
                    <a:pt x="715202" y="41"/>
                  </a:lnTo>
                  <a:cubicBezTo>
                    <a:pt x="720453" y="-308"/>
                    <a:pt x="725313" y="1599"/>
                    <a:pt x="728860" y="4910"/>
                  </a:cubicBezTo>
                  <a:lnTo>
                    <a:pt x="733022" y="14482"/>
                  </a:lnTo>
                  <a:lnTo>
                    <a:pt x="733022" y="325990"/>
                  </a:lnTo>
                  <a:lnTo>
                    <a:pt x="651303" y="340329"/>
                  </a:lnTo>
                  <a:cubicBezTo>
                    <a:pt x="624470" y="347792"/>
                    <a:pt x="598678" y="357762"/>
                    <a:pt x="574202" y="369991"/>
                  </a:cubicBezTo>
                  <a:lnTo>
                    <a:pt x="419821" y="102489"/>
                  </a:lnTo>
                  <a:cubicBezTo>
                    <a:pt x="414552" y="93357"/>
                    <a:pt x="418090" y="81683"/>
                    <a:pt x="427538" y="77032"/>
                  </a:cubicBezTo>
                  <a:cubicBezTo>
                    <a:pt x="515258" y="33801"/>
                    <a:pt x="612463" y="6819"/>
                    <a:pt x="715183" y="41"/>
                  </a:cubicBezTo>
                  <a:close/>
                </a:path>
              </a:pathLst>
            </a:custGeom>
            <a:gradFill>
              <a:gsLst>
                <a:gs pos="6000">
                  <a:srgbClr val="FF9248">
                    <a:alpha val="34000"/>
                  </a:srgbClr>
                </a:gs>
                <a:gs pos="77000">
                  <a:schemeClr val="accent4">
                    <a:alpha val="29000"/>
                  </a:schemeClr>
                </a:gs>
              </a:gsLst>
              <a:lin ang="3343960" scaled="1"/>
            </a:gradFill>
            <a:ln w="5992" cap="flat">
              <a:noFill/>
              <a:prstDash val="solid"/>
              <a:miter/>
            </a:ln>
          </p:spPr>
          <p:txBody>
            <a:bodyPr wrap="square" rtlCol="0" anchor="ctr">
              <a:noAutofit/>
            </a:bodyPr>
            <a:lstStyle/>
            <a:p>
              <a:endParaRPr lang="en-US"/>
            </a:p>
          </p:txBody>
        </p:sp>
        <p:sp>
          <p:nvSpPr>
            <p:cNvPr id="8" name="Donut 7">
              <a:extLst>
                <a:ext uri="{FF2B5EF4-FFF2-40B4-BE49-F238E27FC236}">
                  <a16:creationId xmlns:a16="http://schemas.microsoft.com/office/drawing/2014/main" id="{A9F35E60-70A0-D050-1795-A45CC550C35D}"/>
                </a:ext>
              </a:extLst>
            </p:cNvPr>
            <p:cNvSpPr/>
            <p:nvPr/>
          </p:nvSpPr>
          <p:spPr bwMode="auto">
            <a:xfrm>
              <a:off x="11207931" y="1255577"/>
              <a:ext cx="385156" cy="385156"/>
            </a:xfrm>
            <a:prstGeom prst="donut">
              <a:avLst/>
            </a:prstGeom>
            <a:gradFill>
              <a:gsLst>
                <a:gs pos="6000">
                  <a:srgbClr val="FF9248">
                    <a:alpha val="34000"/>
                  </a:srgbClr>
                </a:gs>
                <a:gs pos="77000">
                  <a:schemeClr val="accent4">
                    <a:alpha val="29000"/>
                  </a:schemeClr>
                </a:gs>
              </a:gsLst>
              <a:lin ang="3343960" scaled="1"/>
            </a:gradFill>
            <a:ln w="5992" cap="flat">
              <a:noFill/>
              <a:prstDash val="solid"/>
              <a:miter/>
            </a:ln>
          </p:spPr>
          <p:txBody>
            <a:bodyPr wrap="square" rtlCol="0" anchor="ctr">
              <a:noAutofit/>
            </a:bodyPr>
            <a:lstStyle/>
            <a:p>
              <a:endParaRPr lang="en-US" err="1">
                <a:solidFill>
                  <a:schemeClr val="tx1"/>
                </a:solidFill>
              </a:endParaRPr>
            </a:p>
          </p:txBody>
        </p:sp>
      </p:gr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340844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57848788"/>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1714704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7399180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1941872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7278735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9297833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4905596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1632502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2195257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Black Notes slide Layout">
    <p:bg bwMode="gray">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63376218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1_Title &amp; Non-bulleted text">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FEC4C24E-9C4D-542A-EE6B-DAA8AE94C982}"/>
              </a:ext>
            </a:extLst>
          </p:cNvPr>
          <p:cNvGrpSpPr/>
          <p:nvPr userDrawn="1"/>
        </p:nvGrpSpPr>
        <p:grpSpPr>
          <a:xfrm>
            <a:off x="11207931" y="114223"/>
            <a:ext cx="984069" cy="1526510"/>
            <a:chOff x="11207931" y="114223"/>
            <a:chExt cx="984069" cy="1526510"/>
          </a:xfrm>
        </p:grpSpPr>
        <p:sp>
          <p:nvSpPr>
            <p:cNvPr id="3" name="Freeform 2">
              <a:extLst>
                <a:ext uri="{FF2B5EF4-FFF2-40B4-BE49-F238E27FC236}">
                  <a16:creationId xmlns:a16="http://schemas.microsoft.com/office/drawing/2014/main" id="{CB0E3E2C-C5D2-0AA9-52D8-6C9184AC2BFA}"/>
                </a:ext>
              </a:extLst>
            </p:cNvPr>
            <p:cNvSpPr/>
            <p:nvPr/>
          </p:nvSpPr>
          <p:spPr bwMode="auto">
            <a:xfrm>
              <a:off x="11683516" y="209494"/>
              <a:ext cx="508484" cy="1049410"/>
            </a:xfrm>
            <a:custGeom>
              <a:avLst/>
              <a:gdLst>
                <a:gd name="connsiteX0" fmla="*/ 508484 w 508484"/>
                <a:gd name="connsiteY0" fmla="*/ 0 h 1049410"/>
                <a:gd name="connsiteX1" fmla="*/ 508484 w 508484"/>
                <a:gd name="connsiteY1" fmla="*/ 1049410 h 1049410"/>
                <a:gd name="connsiteX2" fmla="*/ 420411 w 508484"/>
                <a:gd name="connsiteY2" fmla="*/ 1040532 h 1049410"/>
                <a:gd name="connsiteX3" fmla="*/ 0 w 508484"/>
                <a:gd name="connsiteY3" fmla="*/ 524705 h 1049410"/>
                <a:gd name="connsiteX4" fmla="*/ 420411 w 508484"/>
                <a:gd name="connsiteY4" fmla="*/ 8878 h 1049410"/>
                <a:gd name="connsiteX5" fmla="*/ 508484 w 508484"/>
                <a:gd name="connsiteY5" fmla="*/ 0 h 1049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8484" h="1049410">
                  <a:moveTo>
                    <a:pt x="508484" y="0"/>
                  </a:moveTo>
                  <a:lnTo>
                    <a:pt x="508484" y="1049410"/>
                  </a:lnTo>
                  <a:lnTo>
                    <a:pt x="420411" y="1040532"/>
                  </a:lnTo>
                  <a:cubicBezTo>
                    <a:pt x="180483" y="991436"/>
                    <a:pt x="0" y="779147"/>
                    <a:pt x="0" y="524705"/>
                  </a:cubicBezTo>
                  <a:cubicBezTo>
                    <a:pt x="0" y="270263"/>
                    <a:pt x="180483" y="57975"/>
                    <a:pt x="420411" y="8878"/>
                  </a:cubicBezTo>
                  <a:lnTo>
                    <a:pt x="508484" y="0"/>
                  </a:lnTo>
                  <a:close/>
                </a:path>
              </a:pathLst>
            </a:custGeom>
            <a:solidFill>
              <a:schemeClr val="accent5">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 name="Freeform 4">
              <a:extLst>
                <a:ext uri="{FF2B5EF4-FFF2-40B4-BE49-F238E27FC236}">
                  <a16:creationId xmlns:a16="http://schemas.microsoft.com/office/drawing/2014/main" id="{5FF268D8-356E-B724-0AA6-2DE0C9CCAE1B}"/>
                </a:ext>
              </a:extLst>
            </p:cNvPr>
            <p:cNvSpPr/>
            <p:nvPr/>
          </p:nvSpPr>
          <p:spPr>
            <a:xfrm>
              <a:off x="11593087" y="114223"/>
              <a:ext cx="598913" cy="1253024"/>
            </a:xfrm>
            <a:custGeom>
              <a:avLst/>
              <a:gdLst>
                <a:gd name="connsiteX0" fmla="*/ 579415 w 733022"/>
                <a:gd name="connsiteY0" fmla="*/ 1154516 h 1533601"/>
                <a:gd name="connsiteX1" fmla="*/ 654140 w 733022"/>
                <a:gd name="connsiteY1" fmla="*/ 1182331 h 1533601"/>
                <a:gd name="connsiteX2" fmla="*/ 733022 w 733022"/>
                <a:gd name="connsiteY2" fmla="*/ 1195890 h 1533601"/>
                <a:gd name="connsiteX3" fmla="*/ 733022 w 733022"/>
                <a:gd name="connsiteY3" fmla="*/ 1519078 h 1533601"/>
                <a:gd name="connsiteX4" fmla="*/ 728849 w 733022"/>
                <a:gd name="connsiteY4" fmla="*/ 1528684 h 1533601"/>
                <a:gd name="connsiteX5" fmla="*/ 715183 w 733022"/>
                <a:gd name="connsiteY5" fmla="*/ 1533561 h 1533601"/>
                <a:gd name="connsiteX6" fmla="*/ 427500 w 733022"/>
                <a:gd name="connsiteY6" fmla="*/ 1456569 h 1533601"/>
                <a:gd name="connsiteX7" fmla="*/ 427481 w 733022"/>
                <a:gd name="connsiteY7" fmla="*/ 1456569 h 1533601"/>
                <a:gd name="connsiteX8" fmla="*/ 419765 w 733022"/>
                <a:gd name="connsiteY8" fmla="*/ 1431112 h 1533601"/>
                <a:gd name="connsiteX9" fmla="*/ 409753 w 733022"/>
                <a:gd name="connsiteY9" fmla="*/ 1009571 h 1533601"/>
                <a:gd name="connsiteX10" fmla="*/ 524291 w 733022"/>
                <a:gd name="connsiteY10" fmla="*/ 1122789 h 1533601"/>
                <a:gd name="connsiteX11" fmla="*/ 364754 w 733022"/>
                <a:gd name="connsiteY11" fmla="*/ 1399179 h 1533601"/>
                <a:gd name="connsiteX12" fmla="*/ 338820 w 733022"/>
                <a:gd name="connsiteY12" fmla="*/ 1405185 h 1533601"/>
                <a:gd name="connsiteX13" fmla="*/ 128318 w 733022"/>
                <a:gd name="connsiteY13" fmla="*/ 1194584 h 1533601"/>
                <a:gd name="connsiteX14" fmla="*/ 134321 w 733022"/>
                <a:gd name="connsiteY14" fmla="*/ 1168637 h 1533601"/>
                <a:gd name="connsiteX15" fmla="*/ 18202 w 733022"/>
                <a:gd name="connsiteY15" fmla="*/ 798631 h 1533601"/>
                <a:gd name="connsiteX16" fmla="*/ 333739 w 733022"/>
                <a:gd name="connsiteY16" fmla="*/ 798631 h 1533601"/>
                <a:gd name="connsiteX17" fmla="*/ 377363 w 733022"/>
                <a:gd name="connsiteY17" fmla="*/ 954723 h 1533601"/>
                <a:gd name="connsiteX18" fmla="*/ 102441 w 733022"/>
                <a:gd name="connsiteY18" fmla="*/ 1113544 h 1533601"/>
                <a:gd name="connsiteX19" fmla="*/ 76996 w 733022"/>
                <a:gd name="connsiteY19" fmla="*/ 1105824 h 1533601"/>
                <a:gd name="connsiteX20" fmla="*/ 41 w 733022"/>
                <a:gd name="connsiteY20" fmla="*/ 818081 h 1533601"/>
                <a:gd name="connsiteX21" fmla="*/ 18202 w 733022"/>
                <a:gd name="connsiteY21" fmla="*/ 798631 h 1533601"/>
                <a:gd name="connsiteX22" fmla="*/ 733022 w 733022"/>
                <a:gd name="connsiteY22" fmla="*/ 440947 h 1533601"/>
                <a:gd name="connsiteX23" fmla="*/ 733022 w 733022"/>
                <a:gd name="connsiteY23" fmla="*/ 627192 h 1533601"/>
                <a:gd name="connsiteX24" fmla="*/ 694597 w 733022"/>
                <a:gd name="connsiteY24" fmla="*/ 638681 h 1533601"/>
                <a:gd name="connsiteX25" fmla="*/ 618391 w 733022"/>
                <a:gd name="connsiteY25" fmla="*/ 748942 h 1533601"/>
                <a:gd name="connsiteX26" fmla="*/ 699416 w 733022"/>
                <a:gd name="connsiteY26" fmla="*/ 889231 h 1533601"/>
                <a:gd name="connsiteX27" fmla="*/ 733022 w 733022"/>
                <a:gd name="connsiteY27" fmla="*/ 896448 h 1533601"/>
                <a:gd name="connsiteX28" fmla="*/ 733022 w 733022"/>
                <a:gd name="connsiteY28" fmla="*/ 1083871 h 1533601"/>
                <a:gd name="connsiteX29" fmla="*/ 691051 w 733022"/>
                <a:gd name="connsiteY29" fmla="*/ 1079617 h 1533601"/>
                <a:gd name="connsiteX30" fmla="*/ 433014 w 733022"/>
                <a:gd name="connsiteY30" fmla="*/ 761820 h 1533601"/>
                <a:gd name="connsiteX31" fmla="*/ 678170 w 733022"/>
                <a:gd name="connsiteY31" fmla="*/ 449027 h 1533601"/>
                <a:gd name="connsiteX32" fmla="*/ 88045 w 733022"/>
                <a:gd name="connsiteY32" fmla="*/ 418365 h 1533601"/>
                <a:gd name="connsiteX33" fmla="*/ 102441 w 733022"/>
                <a:gd name="connsiteY33" fmla="*/ 420020 h 1533601"/>
                <a:gd name="connsiteX34" fmla="*/ 372960 w 733022"/>
                <a:gd name="connsiteY34" fmla="*/ 576281 h 1533601"/>
                <a:gd name="connsiteX35" fmla="*/ 332873 w 733022"/>
                <a:gd name="connsiteY35" fmla="*/ 734971 h 1533601"/>
                <a:gd name="connsiteX36" fmla="*/ 18202 w 733022"/>
                <a:gd name="connsiteY36" fmla="*/ 734971 h 1533601"/>
                <a:gd name="connsiteX37" fmla="*/ 41 w 733022"/>
                <a:gd name="connsiteY37" fmla="*/ 715520 h 1533601"/>
                <a:gd name="connsiteX38" fmla="*/ 76996 w 733022"/>
                <a:gd name="connsiteY38" fmla="*/ 427739 h 1533601"/>
                <a:gd name="connsiteX39" fmla="*/ 88045 w 733022"/>
                <a:gd name="connsiteY39" fmla="*/ 418365 h 1533601"/>
                <a:gd name="connsiteX40" fmla="*/ 353092 w 733022"/>
                <a:gd name="connsiteY40" fmla="*/ 125773 h 1533601"/>
                <a:gd name="connsiteX41" fmla="*/ 364754 w 733022"/>
                <a:gd name="connsiteY41" fmla="*/ 134404 h 1533601"/>
                <a:gd name="connsiteX42" fmla="*/ 519455 w 733022"/>
                <a:gd name="connsiteY42" fmla="*/ 402471 h 1533601"/>
                <a:gd name="connsiteX43" fmla="*/ 404069 w 733022"/>
                <a:gd name="connsiteY43" fmla="*/ 520735 h 1533601"/>
                <a:gd name="connsiteX44" fmla="*/ 134359 w 733022"/>
                <a:gd name="connsiteY44" fmla="*/ 364945 h 1533601"/>
                <a:gd name="connsiteX45" fmla="*/ 128356 w 733022"/>
                <a:gd name="connsiteY45" fmla="*/ 338999 h 1533601"/>
                <a:gd name="connsiteX46" fmla="*/ 338820 w 733022"/>
                <a:gd name="connsiteY46" fmla="*/ 128398 h 1533601"/>
                <a:gd name="connsiteX47" fmla="*/ 353092 w 733022"/>
                <a:gd name="connsiteY47" fmla="*/ 125773 h 1533601"/>
                <a:gd name="connsiteX48" fmla="*/ 715183 w 733022"/>
                <a:gd name="connsiteY48" fmla="*/ 41 h 1533601"/>
                <a:gd name="connsiteX49" fmla="*/ 715202 w 733022"/>
                <a:gd name="connsiteY49" fmla="*/ 41 h 1533601"/>
                <a:gd name="connsiteX50" fmla="*/ 728860 w 733022"/>
                <a:gd name="connsiteY50" fmla="*/ 4910 h 1533601"/>
                <a:gd name="connsiteX51" fmla="*/ 733022 w 733022"/>
                <a:gd name="connsiteY51" fmla="*/ 14482 h 1533601"/>
                <a:gd name="connsiteX52" fmla="*/ 733022 w 733022"/>
                <a:gd name="connsiteY52" fmla="*/ 325990 h 1533601"/>
                <a:gd name="connsiteX53" fmla="*/ 651303 w 733022"/>
                <a:gd name="connsiteY53" fmla="*/ 340329 h 1533601"/>
                <a:gd name="connsiteX54" fmla="*/ 574202 w 733022"/>
                <a:gd name="connsiteY54" fmla="*/ 369991 h 1533601"/>
                <a:gd name="connsiteX55" fmla="*/ 419821 w 733022"/>
                <a:gd name="connsiteY55" fmla="*/ 102489 h 1533601"/>
                <a:gd name="connsiteX56" fmla="*/ 427538 w 733022"/>
                <a:gd name="connsiteY56" fmla="*/ 77032 h 1533601"/>
                <a:gd name="connsiteX57" fmla="*/ 715183 w 733022"/>
                <a:gd name="connsiteY57" fmla="*/ 41 h 1533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733022" h="1533601">
                  <a:moveTo>
                    <a:pt x="579415" y="1154516"/>
                  </a:moveTo>
                  <a:cubicBezTo>
                    <a:pt x="603213" y="1165954"/>
                    <a:pt x="628197" y="1175308"/>
                    <a:pt x="654140" y="1182331"/>
                  </a:cubicBezTo>
                  <a:lnTo>
                    <a:pt x="733022" y="1195890"/>
                  </a:lnTo>
                  <a:lnTo>
                    <a:pt x="733022" y="1519078"/>
                  </a:lnTo>
                  <a:lnTo>
                    <a:pt x="728849" y="1528684"/>
                  </a:lnTo>
                  <a:cubicBezTo>
                    <a:pt x="725303" y="1531998"/>
                    <a:pt x="720443" y="1533909"/>
                    <a:pt x="715183" y="1533561"/>
                  </a:cubicBezTo>
                  <a:cubicBezTo>
                    <a:pt x="612463" y="1526782"/>
                    <a:pt x="515258" y="1499819"/>
                    <a:pt x="427500" y="1456569"/>
                  </a:cubicBezTo>
                  <a:lnTo>
                    <a:pt x="427481" y="1456569"/>
                  </a:lnTo>
                  <a:cubicBezTo>
                    <a:pt x="418052" y="1451918"/>
                    <a:pt x="414495" y="1440226"/>
                    <a:pt x="419765" y="1431112"/>
                  </a:cubicBezTo>
                  <a:close/>
                  <a:moveTo>
                    <a:pt x="409753" y="1009571"/>
                  </a:moveTo>
                  <a:cubicBezTo>
                    <a:pt x="440580" y="1054045"/>
                    <a:pt x="479424" y="1092456"/>
                    <a:pt x="524291" y="1122789"/>
                  </a:cubicBezTo>
                  <a:lnTo>
                    <a:pt x="364754" y="1399179"/>
                  </a:lnTo>
                  <a:cubicBezTo>
                    <a:pt x="359484" y="1408311"/>
                    <a:pt x="347571" y="1411060"/>
                    <a:pt x="338820" y="1405185"/>
                  </a:cubicBezTo>
                  <a:cubicBezTo>
                    <a:pt x="255730" y="1349376"/>
                    <a:pt x="184100" y="1277751"/>
                    <a:pt x="128318" y="1194584"/>
                  </a:cubicBezTo>
                  <a:cubicBezTo>
                    <a:pt x="122446" y="1185828"/>
                    <a:pt x="125194" y="1173910"/>
                    <a:pt x="134321" y="1168637"/>
                  </a:cubicBezTo>
                  <a:close/>
                  <a:moveTo>
                    <a:pt x="18202" y="798631"/>
                  </a:moveTo>
                  <a:lnTo>
                    <a:pt x="333739" y="798631"/>
                  </a:lnTo>
                  <a:cubicBezTo>
                    <a:pt x="338462" y="854289"/>
                    <a:pt x="353650" y="906991"/>
                    <a:pt x="377363" y="954723"/>
                  </a:cubicBezTo>
                  <a:lnTo>
                    <a:pt x="102441" y="1113544"/>
                  </a:lnTo>
                  <a:cubicBezTo>
                    <a:pt x="93331" y="1118816"/>
                    <a:pt x="81644" y="1115258"/>
                    <a:pt x="76996" y="1105824"/>
                  </a:cubicBezTo>
                  <a:cubicBezTo>
                    <a:pt x="33766" y="1018063"/>
                    <a:pt x="6816" y="920849"/>
                    <a:pt x="41" y="818081"/>
                  </a:cubicBezTo>
                  <a:cubicBezTo>
                    <a:pt x="-656" y="807556"/>
                    <a:pt x="7682" y="798631"/>
                    <a:pt x="18202" y="798631"/>
                  </a:cubicBezTo>
                  <a:close/>
                  <a:moveTo>
                    <a:pt x="733022" y="440947"/>
                  </a:moveTo>
                  <a:lnTo>
                    <a:pt x="733022" y="627192"/>
                  </a:lnTo>
                  <a:lnTo>
                    <a:pt x="694597" y="638681"/>
                  </a:lnTo>
                  <a:cubicBezTo>
                    <a:pt x="652977" y="659505"/>
                    <a:pt x="623092" y="700871"/>
                    <a:pt x="618391" y="748942"/>
                  </a:cubicBezTo>
                  <a:cubicBezTo>
                    <a:pt x="612336" y="810922"/>
                    <a:pt x="647367" y="865710"/>
                    <a:pt x="699416" y="889231"/>
                  </a:cubicBezTo>
                  <a:lnTo>
                    <a:pt x="733022" y="896448"/>
                  </a:lnTo>
                  <a:lnTo>
                    <a:pt x="733022" y="1083871"/>
                  </a:lnTo>
                  <a:lnTo>
                    <a:pt x="691051" y="1079617"/>
                  </a:lnTo>
                  <a:cubicBezTo>
                    <a:pt x="543639" y="1049300"/>
                    <a:pt x="432521" y="918253"/>
                    <a:pt x="433014" y="761820"/>
                  </a:cubicBezTo>
                  <a:cubicBezTo>
                    <a:pt x="433475" y="612208"/>
                    <a:pt x="537754" y="484162"/>
                    <a:pt x="678170" y="449027"/>
                  </a:cubicBezTo>
                  <a:close/>
                  <a:moveTo>
                    <a:pt x="88045" y="418365"/>
                  </a:moveTo>
                  <a:cubicBezTo>
                    <a:pt x="92687" y="416955"/>
                    <a:pt x="97886" y="417384"/>
                    <a:pt x="102441" y="420020"/>
                  </a:cubicBezTo>
                  <a:lnTo>
                    <a:pt x="372960" y="576281"/>
                  </a:lnTo>
                  <a:cubicBezTo>
                    <a:pt x="350187" y="624934"/>
                    <a:pt x="336185" y="678503"/>
                    <a:pt x="332873" y="734971"/>
                  </a:cubicBezTo>
                  <a:lnTo>
                    <a:pt x="18202" y="734971"/>
                  </a:lnTo>
                  <a:cubicBezTo>
                    <a:pt x="7682" y="734971"/>
                    <a:pt x="-656" y="726045"/>
                    <a:pt x="41" y="715520"/>
                  </a:cubicBezTo>
                  <a:cubicBezTo>
                    <a:pt x="6816" y="612752"/>
                    <a:pt x="33766" y="515501"/>
                    <a:pt x="76996" y="427739"/>
                  </a:cubicBezTo>
                  <a:cubicBezTo>
                    <a:pt x="79320" y="423023"/>
                    <a:pt x="83404" y="419775"/>
                    <a:pt x="88045" y="418365"/>
                  </a:cubicBezTo>
                  <a:close/>
                  <a:moveTo>
                    <a:pt x="353092" y="125773"/>
                  </a:moveTo>
                  <a:cubicBezTo>
                    <a:pt x="357823" y="126868"/>
                    <a:pt x="362119" y="129838"/>
                    <a:pt x="364754" y="134404"/>
                  </a:cubicBezTo>
                  <a:lnTo>
                    <a:pt x="519455" y="402471"/>
                  </a:lnTo>
                  <a:cubicBezTo>
                    <a:pt x="473873" y="434122"/>
                    <a:pt x="434652" y="474359"/>
                    <a:pt x="404069" y="520735"/>
                  </a:cubicBezTo>
                  <a:lnTo>
                    <a:pt x="134359" y="364945"/>
                  </a:lnTo>
                  <a:cubicBezTo>
                    <a:pt x="125231" y="359673"/>
                    <a:pt x="122484" y="347754"/>
                    <a:pt x="128356" y="338999"/>
                  </a:cubicBezTo>
                  <a:cubicBezTo>
                    <a:pt x="184138" y="255869"/>
                    <a:pt x="255730" y="184244"/>
                    <a:pt x="338820" y="128398"/>
                  </a:cubicBezTo>
                  <a:cubicBezTo>
                    <a:pt x="343196" y="125460"/>
                    <a:pt x="348362" y="124679"/>
                    <a:pt x="353092" y="125773"/>
                  </a:cubicBezTo>
                  <a:close/>
                  <a:moveTo>
                    <a:pt x="715183" y="41"/>
                  </a:moveTo>
                  <a:lnTo>
                    <a:pt x="715202" y="41"/>
                  </a:lnTo>
                  <a:cubicBezTo>
                    <a:pt x="720453" y="-308"/>
                    <a:pt x="725313" y="1599"/>
                    <a:pt x="728860" y="4910"/>
                  </a:cubicBezTo>
                  <a:lnTo>
                    <a:pt x="733022" y="14482"/>
                  </a:lnTo>
                  <a:lnTo>
                    <a:pt x="733022" y="325990"/>
                  </a:lnTo>
                  <a:lnTo>
                    <a:pt x="651303" y="340329"/>
                  </a:lnTo>
                  <a:cubicBezTo>
                    <a:pt x="624470" y="347792"/>
                    <a:pt x="598678" y="357762"/>
                    <a:pt x="574202" y="369991"/>
                  </a:cubicBezTo>
                  <a:lnTo>
                    <a:pt x="419821" y="102489"/>
                  </a:lnTo>
                  <a:cubicBezTo>
                    <a:pt x="414552" y="93357"/>
                    <a:pt x="418090" y="81683"/>
                    <a:pt x="427538" y="77032"/>
                  </a:cubicBezTo>
                  <a:cubicBezTo>
                    <a:pt x="515258" y="33801"/>
                    <a:pt x="612463" y="6819"/>
                    <a:pt x="715183" y="41"/>
                  </a:cubicBezTo>
                  <a:close/>
                </a:path>
              </a:pathLst>
            </a:custGeom>
            <a:gradFill>
              <a:gsLst>
                <a:gs pos="6000">
                  <a:srgbClr val="FF9248">
                    <a:alpha val="34000"/>
                  </a:srgbClr>
                </a:gs>
                <a:gs pos="77000">
                  <a:schemeClr val="accent4">
                    <a:alpha val="29000"/>
                  </a:schemeClr>
                </a:gs>
              </a:gsLst>
              <a:lin ang="3343960" scaled="1"/>
            </a:gradFill>
            <a:ln w="5992" cap="flat">
              <a:noFill/>
              <a:prstDash val="solid"/>
              <a:miter/>
            </a:ln>
          </p:spPr>
          <p:txBody>
            <a:bodyPr wrap="square" rtlCol="0" anchor="ctr">
              <a:noAutofit/>
            </a:bodyPr>
            <a:lstStyle/>
            <a:p>
              <a:endParaRPr lang="en-US"/>
            </a:p>
          </p:txBody>
        </p:sp>
        <p:sp>
          <p:nvSpPr>
            <p:cNvPr id="6" name="Donut 5">
              <a:extLst>
                <a:ext uri="{FF2B5EF4-FFF2-40B4-BE49-F238E27FC236}">
                  <a16:creationId xmlns:a16="http://schemas.microsoft.com/office/drawing/2014/main" id="{13890EE9-DA5E-C486-7E14-FD18702016A9}"/>
                </a:ext>
              </a:extLst>
            </p:cNvPr>
            <p:cNvSpPr/>
            <p:nvPr/>
          </p:nvSpPr>
          <p:spPr bwMode="auto">
            <a:xfrm>
              <a:off x="11207931" y="1255577"/>
              <a:ext cx="385156" cy="385156"/>
            </a:xfrm>
            <a:prstGeom prst="donut">
              <a:avLst/>
            </a:prstGeom>
            <a:gradFill>
              <a:gsLst>
                <a:gs pos="6000">
                  <a:srgbClr val="FF9248">
                    <a:alpha val="34000"/>
                  </a:srgbClr>
                </a:gs>
                <a:gs pos="77000">
                  <a:schemeClr val="accent4">
                    <a:alpha val="29000"/>
                  </a:schemeClr>
                </a:gs>
              </a:gsLst>
              <a:lin ang="3343960" scaled="1"/>
            </a:gradFill>
            <a:ln w="5992" cap="flat">
              <a:noFill/>
              <a:prstDash val="solid"/>
              <a:miter/>
            </a:ln>
          </p:spPr>
          <p:txBody>
            <a:bodyPr wrap="square" rtlCol="0" anchor="ctr">
              <a:noAutofit/>
            </a:bodyPr>
            <a:lstStyle/>
            <a:p>
              <a:endParaRPr lang="en-US" err="1">
                <a:solidFill>
                  <a:schemeClr val="tx1"/>
                </a:solidFill>
              </a:endParaRPr>
            </a:p>
          </p:txBody>
        </p:sp>
      </p:grpSp>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3122263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Sectio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14107C4-6566-AB37-BFB5-14BE4608C025}"/>
              </a:ext>
            </a:extLst>
          </p:cNvPr>
          <p:cNvSpPr/>
          <p:nvPr userDrawn="1"/>
        </p:nvSpPr>
        <p:spPr>
          <a:xfrm>
            <a:off x="0" y="1"/>
            <a:ext cx="12192000" cy="6857998"/>
          </a:xfrm>
          <a:prstGeom prst="rect">
            <a:avLst/>
          </a:prstGeom>
          <a:gradFill flip="none" rotWithShape="1">
            <a:gsLst>
              <a:gs pos="82000">
                <a:sysClr val="windowText" lastClr="000000"/>
              </a:gs>
              <a:gs pos="0">
                <a:srgbClr val="00CEF1"/>
              </a:gs>
            </a:gsLst>
            <a:path path="circle">
              <a:fillToRect l="100000" t="100000"/>
            </a:path>
            <a:tileRect r="-100000" b="-100000"/>
          </a:gra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7679FD0C-849F-3828-0868-3EE52F273D0E}"/>
              </a:ext>
            </a:extLst>
          </p:cNvPr>
          <p:cNvSpPr/>
          <p:nvPr userDrawn="1"/>
        </p:nvSpPr>
        <p:spPr>
          <a:xfrm>
            <a:off x="0" y="6753138"/>
            <a:ext cx="12192000" cy="104862"/>
          </a:xfrm>
          <a:prstGeom prst="rect">
            <a:avLst/>
          </a:prstGeom>
          <a:solidFill>
            <a:srgbClr val="007A8E"/>
          </a:solidFill>
          <a:ln w="12700" cap="flat" cmpd="sng" algn="ctr">
            <a:noFill/>
            <a:prstDash val="solid"/>
            <a:miter lim="800000"/>
          </a:ln>
          <a:effectLst>
            <a:outerShdw blurRad="228600" dist="114300" dir="16200000"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590389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Slide - Digital Acquisition">
    <p:bg>
      <p:bgRef idx="1001">
        <a:schemeClr val="bg1"/>
      </p:bgRef>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5AC3784D-3647-6B7A-E362-DA982CE99FD9}"/>
              </a:ext>
            </a:extLst>
          </p:cNvPr>
          <p:cNvSpPr/>
          <p:nvPr/>
        </p:nvSpPr>
        <p:spPr>
          <a:xfrm>
            <a:off x="0" y="1"/>
            <a:ext cx="12192000" cy="6857998"/>
          </a:xfrm>
          <a:prstGeom prst="rect">
            <a:avLst/>
          </a:prstGeom>
          <a:gradFill flip="none" rotWithShape="1">
            <a:gsLst>
              <a:gs pos="82000">
                <a:sysClr val="windowText" lastClr="000000"/>
              </a:gs>
              <a:gs pos="0">
                <a:srgbClr val="00CEF1"/>
              </a:gs>
            </a:gsLst>
            <a:path path="circle">
              <a:fillToRect l="100000" t="100000"/>
            </a:path>
            <a:tileRect r="-100000" b="-100000"/>
          </a:gra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18" name="Graphic 17">
            <a:extLst>
              <a:ext uri="{FF2B5EF4-FFF2-40B4-BE49-F238E27FC236}">
                <a16:creationId xmlns:a16="http://schemas.microsoft.com/office/drawing/2014/main" id="{5255E1A9-AAC8-5265-FEF4-91C49CEF03A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497589" y="832904"/>
            <a:ext cx="9633685" cy="5401744"/>
          </a:xfrm>
          <a:prstGeom prst="rect">
            <a:avLst/>
          </a:prstGeom>
          <a:effectLst>
            <a:outerShdw blurRad="228600" dist="38100" dir="5400000" sx="101000" sy="101000" algn="t" rotWithShape="0">
              <a:prstClr val="black">
                <a:alpha val="73000"/>
              </a:prstClr>
            </a:outerShdw>
          </a:effectLst>
        </p:spPr>
      </p:pic>
      <p:sp>
        <p:nvSpPr>
          <p:cNvPr id="26" name="Rectangle 25">
            <a:extLst>
              <a:ext uri="{FF2B5EF4-FFF2-40B4-BE49-F238E27FC236}">
                <a16:creationId xmlns:a16="http://schemas.microsoft.com/office/drawing/2014/main" id="{334694D7-ECE0-3744-47A8-62CAD2F19E83}"/>
              </a:ext>
            </a:extLst>
          </p:cNvPr>
          <p:cNvSpPr/>
          <p:nvPr userDrawn="1"/>
        </p:nvSpPr>
        <p:spPr bwMode="auto">
          <a:xfrm>
            <a:off x="60726" y="0"/>
            <a:ext cx="12131274" cy="6858000"/>
          </a:xfrm>
          <a:prstGeom prst="rect">
            <a:avLst/>
          </a:prstGeom>
          <a:gradFill>
            <a:gsLst>
              <a:gs pos="0">
                <a:schemeClr val="bg1">
                  <a:alpha val="91000"/>
                </a:schemeClr>
              </a:gs>
              <a:gs pos="94000">
                <a:schemeClr val="bg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600" err="1">
              <a:solidFill>
                <a:srgbClr val="000000"/>
              </a:solidFill>
              <a:ea typeface="Segoe UI" pitchFamily="34" charset="0"/>
              <a:cs typeface="Segoe UI" pitchFamily="34" charset="0"/>
            </a:endParaRPr>
          </a:p>
        </p:txBody>
      </p:sp>
      <p:pic>
        <p:nvPicPr>
          <p:cNvPr id="17" name="Picture 16">
            <a:extLst>
              <a:ext uri="{FF2B5EF4-FFF2-40B4-BE49-F238E27FC236}">
                <a16:creationId xmlns:a16="http://schemas.microsoft.com/office/drawing/2014/main" id="{5A01D4A7-B1B0-6585-0C96-F462BE6CD292}"/>
              </a:ext>
            </a:extLst>
          </p:cNvPr>
          <p:cNvPicPr>
            <a:picLocks noChangeAspect="1"/>
          </p:cNvPicPr>
          <p:nvPr/>
        </p:nvPicPr>
        <p:blipFill rotWithShape="1">
          <a:blip r:embed="rId4">
            <a:extLst>
              <a:ext uri="{28A0092B-C50C-407E-A947-70E740481C1C}">
                <a14:useLocalDpi xmlns:a14="http://schemas.microsoft.com/office/drawing/2010/main" val="0"/>
              </a:ext>
            </a:extLst>
          </a:blip>
          <a:srcRect l="34232"/>
          <a:stretch/>
        </p:blipFill>
        <p:spPr>
          <a:xfrm>
            <a:off x="584200" y="344158"/>
            <a:ext cx="1560907" cy="822115"/>
          </a:xfrm>
          <a:prstGeom prst="rect">
            <a:avLst/>
          </a:prstGeom>
        </p:spPr>
      </p:pic>
      <p:pic>
        <p:nvPicPr>
          <p:cNvPr id="8" name="MS logo white - EMF" descr="Microsoft logo white text version">
            <a:extLst>
              <a:ext uri="{FF2B5EF4-FFF2-40B4-BE49-F238E27FC236}">
                <a16:creationId xmlns:a16="http://schemas.microsoft.com/office/drawing/2014/main" id="{CEB907E8-8DF2-4BB3-87C9-9C2130FCB0FB}"/>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bwMode="black">
          <a:xfrm>
            <a:off x="584200" y="6140988"/>
            <a:ext cx="1366245" cy="292608"/>
          </a:xfrm>
          <a:prstGeom prst="rect">
            <a:avLst/>
          </a:prstGeom>
        </p:spPr>
      </p:pic>
      <p:sp>
        <p:nvSpPr>
          <p:cNvPr id="20" name="Rectangle 19">
            <a:extLst>
              <a:ext uri="{FF2B5EF4-FFF2-40B4-BE49-F238E27FC236}">
                <a16:creationId xmlns:a16="http://schemas.microsoft.com/office/drawing/2014/main" id="{D7EE74A8-E745-F725-8A1C-E9921B6FD806}"/>
              </a:ext>
            </a:extLst>
          </p:cNvPr>
          <p:cNvSpPr/>
          <p:nvPr/>
        </p:nvSpPr>
        <p:spPr>
          <a:xfrm>
            <a:off x="0" y="6753138"/>
            <a:ext cx="12192000" cy="104862"/>
          </a:xfrm>
          <a:prstGeom prst="rect">
            <a:avLst/>
          </a:prstGeom>
          <a:solidFill>
            <a:srgbClr val="007A8E"/>
          </a:solidFill>
          <a:ln w="12700" cap="flat" cmpd="sng" algn="ctr">
            <a:noFill/>
            <a:prstDash val="solid"/>
            <a:miter lim="800000"/>
          </a:ln>
          <a:effectLst>
            <a:outerShdw blurRad="228600" dist="114300" dir="16200000"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 name="Title 1"/>
          <p:cNvSpPr>
            <a:spLocks noGrp="1"/>
          </p:cNvSpPr>
          <p:nvPr>
            <p:ph type="title" hasCustomPrompt="1"/>
          </p:nvPr>
        </p:nvSpPr>
        <p:spPr>
          <a:xfrm>
            <a:off x="584199" y="2979778"/>
            <a:ext cx="4524695" cy="553998"/>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199" y="3962400"/>
            <a:ext cx="4524695" cy="369332"/>
          </a:xfrm>
          <a:prstGeom prst="rect">
            <a:avLst/>
          </a:prstGeom>
          <a:noFill/>
        </p:spPr>
        <p:txBody>
          <a:bodyPr wrap="square" lIns="0" tIns="0" rIns="0" bIns="0">
            <a:spAutoFit/>
          </a:bodyPr>
          <a:lstStyle>
            <a:lvl1pPr marL="0" indent="0">
              <a:spcBef>
                <a:spcPts val="0"/>
              </a:spcBef>
              <a:buNone/>
              <a:defRPr sz="2400" spc="0" baseline="0">
                <a:solidFill>
                  <a:schemeClr val="tx1"/>
                </a:solidFill>
                <a:latin typeface="+mn-lt"/>
                <a:cs typeface="Segoe UI" panose="020B0502040204020203" pitchFamily="34" charset="0"/>
              </a:defRPr>
            </a:lvl1pPr>
          </a:lstStyle>
          <a:p>
            <a:pPr lvl="0"/>
            <a:r>
              <a:rPr lang="en-US"/>
              <a:t>Speaker name or subtitle text</a:t>
            </a:r>
          </a:p>
        </p:txBody>
      </p:sp>
      <p:sp>
        <p:nvSpPr>
          <p:cNvPr id="27" name="Rectangle: Rounded Corners 26">
            <a:extLst>
              <a:ext uri="{FF2B5EF4-FFF2-40B4-BE49-F238E27FC236}">
                <a16:creationId xmlns:a16="http://schemas.microsoft.com/office/drawing/2014/main" id="{F157B11E-1B91-9CD7-3E00-9BBA42FFE51B}"/>
              </a:ext>
            </a:extLst>
          </p:cNvPr>
          <p:cNvSpPr/>
          <p:nvPr userDrawn="1"/>
        </p:nvSpPr>
        <p:spPr>
          <a:xfrm>
            <a:off x="10225683" y="-359770"/>
            <a:ext cx="1213528" cy="1359108"/>
          </a:xfrm>
          <a:prstGeom prst="roundRect">
            <a:avLst>
              <a:gd name="adj" fmla="val 10953"/>
            </a:avLst>
          </a:prstGeom>
          <a:solidFill>
            <a:srgbClr val="007A8E"/>
          </a:solidFill>
          <a:ln w="28575" cap="flat" cmpd="sng" algn="ctr">
            <a:solidFill>
              <a:sysClr val="window" lastClr="FFFFFF"/>
            </a:solidFill>
            <a:prstDash val="solid"/>
            <a:miter lim="800000"/>
          </a:ln>
          <a:effectLst>
            <a:outerShdw blurRad="101600" dist="101600" dir="5400000" algn="t" rotWithShape="0">
              <a:prstClr val="black">
                <a:alpha val="28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8" name="TextBox 27">
            <a:extLst>
              <a:ext uri="{FF2B5EF4-FFF2-40B4-BE49-F238E27FC236}">
                <a16:creationId xmlns:a16="http://schemas.microsoft.com/office/drawing/2014/main" id="{E506D644-6102-F831-9A03-5AD8AA1A6C54}"/>
              </a:ext>
            </a:extLst>
          </p:cNvPr>
          <p:cNvSpPr txBox="1"/>
          <p:nvPr userDrawn="1"/>
        </p:nvSpPr>
        <p:spPr>
          <a:xfrm>
            <a:off x="10379678" y="402016"/>
            <a:ext cx="1050008" cy="430887"/>
          </a:xfrm>
          <a:prstGeom prst="rect">
            <a:avLst/>
          </a:prstGeom>
          <a:noFill/>
        </p:spPr>
        <p:txBody>
          <a:bodyPr wrap="square" lIns="0" tIns="0" rIns="0" bIns="0" rtlCol="0">
            <a:spAutoFit/>
          </a:bodyPr>
          <a:lstStyle/>
          <a:p>
            <a:pPr defTabSz="914400"/>
            <a:r>
              <a:rPr lang="en-US" sz="1400">
                <a:solidFill>
                  <a:prstClr val="white"/>
                </a:solidFill>
                <a:latin typeface="Segoe UI Semibold" panose="020B0702040204020203" pitchFamily="34" charset="0"/>
                <a:cs typeface="Segoe UI Semibold" panose="020B0702040204020203" pitchFamily="34" charset="0"/>
              </a:rPr>
              <a:t>Digital</a:t>
            </a:r>
          </a:p>
          <a:p>
            <a:pPr defTabSz="914400"/>
            <a:r>
              <a:rPr lang="en-US" sz="1400">
                <a:solidFill>
                  <a:prstClr val="white"/>
                </a:solidFill>
                <a:latin typeface="Segoe UI Semibold" panose="020B0702040204020203" pitchFamily="34" charset="0"/>
                <a:cs typeface="Segoe UI Semibold" panose="020B0702040204020203" pitchFamily="34" charset="0"/>
              </a:rPr>
              <a:t>Acquisition</a:t>
            </a:r>
          </a:p>
        </p:txBody>
      </p:sp>
      <p:sp>
        <p:nvSpPr>
          <p:cNvPr id="29" name="Rectangle 28">
            <a:extLst>
              <a:ext uri="{FF2B5EF4-FFF2-40B4-BE49-F238E27FC236}">
                <a16:creationId xmlns:a16="http://schemas.microsoft.com/office/drawing/2014/main" id="{32D83E3C-3EFB-6867-0DF3-469DE5A16D3D}"/>
              </a:ext>
            </a:extLst>
          </p:cNvPr>
          <p:cNvSpPr/>
          <p:nvPr userDrawn="1"/>
        </p:nvSpPr>
        <p:spPr bwMode="auto">
          <a:xfrm>
            <a:off x="9920176" y="-435936"/>
            <a:ext cx="1828801" cy="435935"/>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600" err="1">
              <a:solidFill>
                <a:srgbClr val="000000"/>
              </a:solidFill>
              <a:ea typeface="Segoe UI" pitchFamily="34" charset="0"/>
              <a:cs typeface="Segoe UI" pitchFamily="34" charset="0"/>
            </a:endParaRPr>
          </a:p>
        </p:txBody>
      </p:sp>
    </p:spTree>
    <p:extLst>
      <p:ext uri="{BB962C8B-B14F-4D97-AF65-F5344CB8AC3E}">
        <p14:creationId xmlns:p14="http://schemas.microsoft.com/office/powerpoint/2010/main" val="16380331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hasCustomPrompt="1"/>
          </p:nvPr>
        </p:nvSpPr>
        <p:spPr>
          <a:xfrm>
            <a:off x="4936237" y="3242746"/>
            <a:ext cx="6667500" cy="369332"/>
          </a:xfrm>
          <a:prstGeom prst="rect">
            <a:avLst/>
          </a:prstGeom>
        </p:spPr>
        <p:txBody>
          <a:bodyPr anchor="ctr"/>
          <a:lstStyle>
            <a:lvl1pPr marL="342900" indent="-342900">
              <a:spcAft>
                <a:spcPts val="600"/>
              </a:spcAft>
              <a:buFont typeface="Arial" panose="020B0604020202020204" pitchFamily="34" charset="0"/>
              <a:buChar char="•"/>
              <a:defRPr sz="2400"/>
            </a:lvl1pPr>
          </a:lstStyle>
          <a:p>
            <a:pPr lvl="0"/>
            <a:r>
              <a:rPr lang="en-US"/>
              <a:t>Click to add text</a:t>
            </a:r>
          </a:p>
        </p:txBody>
      </p:sp>
      <p:sp>
        <p:nvSpPr>
          <p:cNvPr id="6" name="Rectangle 5">
            <a:extLst>
              <a:ext uri="{FF2B5EF4-FFF2-40B4-BE49-F238E27FC236}">
                <a16:creationId xmlns:a16="http://schemas.microsoft.com/office/drawing/2014/main" id="{3C66ABAD-D622-F73A-4697-E1BD8F01D69D}"/>
              </a:ext>
            </a:extLst>
          </p:cNvPr>
          <p:cNvSpPr/>
          <p:nvPr userDrawn="1"/>
        </p:nvSpPr>
        <p:spPr>
          <a:xfrm rot="16200000" flipV="1">
            <a:off x="976582" y="3377911"/>
            <a:ext cx="6859588" cy="100589"/>
          </a:xfrm>
          <a:prstGeom prst="rect">
            <a:avLst/>
          </a:prstGeom>
          <a:solidFill>
            <a:srgbClr val="007A8E"/>
          </a:solidFill>
          <a:ln w="12700" cap="flat" cmpd="sng" algn="ctr">
            <a:noFill/>
            <a:prstDash val="solid"/>
            <a:miter lim="800000"/>
          </a:ln>
          <a:effectLst>
            <a:outerShdw blurRad="228600" dist="114300" dir="16200000"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9E686B1B-7B14-F458-EBDE-4CAE18B9B24A}"/>
              </a:ext>
            </a:extLst>
          </p:cNvPr>
          <p:cNvSpPr/>
          <p:nvPr userDrawn="1"/>
        </p:nvSpPr>
        <p:spPr>
          <a:xfrm flipV="1">
            <a:off x="-16" y="-1588"/>
            <a:ext cx="4356097" cy="6859588"/>
          </a:xfrm>
          <a:prstGeom prst="rect">
            <a:avLst/>
          </a:prstGeom>
          <a:gradFill flip="none" rotWithShape="1">
            <a:gsLst>
              <a:gs pos="97000">
                <a:schemeClr val="accent3">
                  <a:lumMod val="50000"/>
                </a:schemeClr>
              </a:gs>
              <a:gs pos="17000">
                <a:schemeClr val="tx1"/>
              </a:gs>
            </a:gsLst>
            <a:path path="circle">
              <a:fillToRect r="100000" b="100000"/>
            </a:path>
            <a:tileRect l="-100000" t="-100000"/>
          </a:gra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 name="Title 1">
            <a:extLst>
              <a:ext uri="{FF2B5EF4-FFF2-40B4-BE49-F238E27FC236}">
                <a16:creationId xmlns:a16="http://schemas.microsoft.com/office/drawing/2014/main" id="{512ED300-2F22-DAC4-6306-091673E1FE8D}"/>
              </a:ext>
            </a:extLst>
          </p:cNvPr>
          <p:cNvSpPr>
            <a:spLocks noGrp="1"/>
          </p:cNvSpPr>
          <p:nvPr>
            <p:ph type="title" hasCustomPrompt="1"/>
          </p:nvPr>
        </p:nvSpPr>
        <p:spPr>
          <a:xfrm>
            <a:off x="588263" y="3150414"/>
            <a:ext cx="3182027" cy="553998"/>
          </a:xfrm>
        </p:spPr>
        <p:txBody>
          <a:bodyPr anchor="ctr"/>
          <a:lstStyle>
            <a:lvl1pPr>
              <a:defRPr>
                <a:solidFill>
                  <a:schemeClr val="bg1"/>
                </a:solidFill>
              </a:defRPr>
            </a:lvl1pPr>
          </a:lstStyle>
          <a:p>
            <a:r>
              <a:rPr lang="en-US"/>
              <a:t>Agenda</a:t>
            </a:r>
          </a:p>
        </p:txBody>
      </p:sp>
    </p:spTree>
    <p:extLst>
      <p:ext uri="{BB962C8B-B14F-4D97-AF65-F5344CB8AC3E}">
        <p14:creationId xmlns:p14="http://schemas.microsoft.com/office/powerpoint/2010/main" val="231724891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69332"/>
          </a:xfrm>
        </p:spPr>
        <p:txBody>
          <a:bodyPr anchor="t"/>
          <a:lstStyle>
            <a:lvl1pPr>
              <a:defRPr sz="2400">
                <a:solidFill>
                  <a:schemeClr val="tx1"/>
                </a:solidFill>
                <a:latin typeface="+mn-lt"/>
              </a:defRPr>
            </a:lvl1pPr>
          </a:lstStyle>
          <a:p>
            <a:r>
              <a:rPr lang="en-US"/>
              <a:t>Meeting purpos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hasCustomPrompt="1"/>
          </p:nvPr>
        </p:nvSpPr>
        <p:spPr>
          <a:xfrm>
            <a:off x="4356100" y="2309812"/>
            <a:ext cx="7253288" cy="369332"/>
          </a:xfrm>
          <a:prstGeom prst="rect">
            <a:avLst/>
          </a:prstGeom>
        </p:spPr>
        <p:txBody>
          <a:bodyPr anchor="t"/>
          <a:lstStyle>
            <a:lvl1pPr marL="342900" indent="-342900">
              <a:spcAft>
                <a:spcPts val="600"/>
              </a:spcAft>
              <a:buFont typeface="Arial" panose="020B0604020202020204" pitchFamily="34" charset="0"/>
              <a:buChar char="•"/>
              <a:defRPr sz="2400"/>
            </a:lvl1pPr>
          </a:lstStyle>
          <a:p>
            <a:pPr marL="342900" marR="0" lvl="0" indent="-342900" algn="l" defTabSz="932742" rtl="0" eaLnBrk="1" fontAlgn="auto" latinLnBrk="0" hangingPunct="1">
              <a:lnSpc>
                <a:spcPct val="100000"/>
              </a:lnSpc>
              <a:spcBef>
                <a:spcPts val="600"/>
              </a:spcBef>
              <a:spcAft>
                <a:spcPts val="600"/>
              </a:spcAft>
              <a:buClrTx/>
              <a:buSzPct val="90000"/>
              <a:tabLst/>
              <a:defRPr/>
            </a:pPr>
            <a:r>
              <a:rPr lang="en-US"/>
              <a:t>Click to add text</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48155"/>
            <a:ext cx="3182112" cy="0"/>
          </a:xfrm>
          <a:prstGeom prst="line">
            <a:avLst/>
          </a:prstGeom>
          <a:ln w="28575">
            <a:solidFill>
              <a:schemeClr val="accent3">
                <a:lumMod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itle 1">
            <a:extLst>
              <a:ext uri="{FF2B5EF4-FFF2-40B4-BE49-F238E27FC236}">
                <a16:creationId xmlns:a16="http://schemas.microsoft.com/office/drawing/2014/main" id="{6C6F5935-A43A-0161-B7C0-0A38A4296B88}"/>
              </a:ext>
            </a:extLst>
          </p:cNvPr>
          <p:cNvSpPr txBox="1">
            <a:spLocks/>
          </p:cNvSpPr>
          <p:nvPr userDrawn="1"/>
        </p:nvSpPr>
        <p:spPr>
          <a:xfrm>
            <a:off x="585216" y="1474408"/>
            <a:ext cx="3182027" cy="498598"/>
          </a:xfrm>
          <a:prstGeom prst="rect">
            <a:avLst/>
          </a:prstGeom>
        </p:spPr>
        <p:txBody>
          <a:bodyPr vert="horz" wrap="square" lIns="0" tIns="0" rIns="0" bIns="0" rtlCol="0" anchor="ctr">
            <a:spAutoFit/>
          </a:bodyPr>
          <a:lstStyle>
            <a:lvl1pPr algn="l" defTabSz="932742" rtl="0" eaLnBrk="1" latinLnBrk="0" hangingPunct="1">
              <a:lnSpc>
                <a:spcPct val="9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r>
              <a:rPr lang="en-US"/>
              <a:t>Agenda</a:t>
            </a:r>
          </a:p>
        </p:txBody>
      </p:sp>
      <p:cxnSp>
        <p:nvCxnSpPr>
          <p:cNvPr id="3" name="Straight Connector 2">
            <a:extLst>
              <a:ext uri="{FF2B5EF4-FFF2-40B4-BE49-F238E27FC236}">
                <a16:creationId xmlns:a16="http://schemas.microsoft.com/office/drawing/2014/main" id="{F9A08C2D-B6C8-43C1-6C3D-607AB5C1CA9A}"/>
              </a:ext>
              <a:ext uri="{C183D7F6-B498-43B3-948B-1728B52AA6E4}">
                <adec:decorative xmlns:adec="http://schemas.microsoft.com/office/drawing/2017/decorative" val="1"/>
              </a:ext>
            </a:extLst>
          </p:cNvPr>
          <p:cNvCxnSpPr>
            <a:cxnSpLocks/>
          </p:cNvCxnSpPr>
          <p:nvPr userDrawn="1"/>
        </p:nvCxnSpPr>
        <p:spPr>
          <a:xfrm>
            <a:off x="4296362" y="2048155"/>
            <a:ext cx="7313026" cy="0"/>
          </a:xfrm>
          <a:prstGeom prst="line">
            <a:avLst/>
          </a:prstGeom>
          <a:ln w="28575">
            <a:solidFill>
              <a:schemeClr val="accent3">
                <a:lumMod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2278950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Speaker Intro">
    <p:spTree>
      <p:nvGrpSpPr>
        <p:cNvPr id="1" name=""/>
        <p:cNvGrpSpPr/>
        <p:nvPr/>
      </p:nvGrpSpPr>
      <p:grpSpPr>
        <a:xfrm>
          <a:off x="0" y="0"/>
          <a:ext cx="0" cy="0"/>
          <a:chOff x="0" y="0"/>
          <a:chExt cx="0" cy="0"/>
        </a:xfrm>
      </p:grpSpPr>
      <p:sp>
        <p:nvSpPr>
          <p:cNvPr id="15" name="Oval 14">
            <a:extLst>
              <a:ext uri="{FF2B5EF4-FFF2-40B4-BE49-F238E27FC236}">
                <a16:creationId xmlns:a16="http://schemas.microsoft.com/office/drawing/2014/main" id="{1A6E159D-3F43-509A-FA29-B6BA25055FA1}"/>
              </a:ext>
            </a:extLst>
          </p:cNvPr>
          <p:cNvSpPr/>
          <p:nvPr userDrawn="1"/>
        </p:nvSpPr>
        <p:spPr>
          <a:xfrm rot="10800000" flipV="1">
            <a:off x="5348844" y="1816894"/>
            <a:ext cx="2310991" cy="2249502"/>
          </a:xfrm>
          <a:prstGeom prst="ellipse">
            <a:avLst/>
          </a:prstGeom>
          <a:solidFill>
            <a:srgbClr val="007A8E"/>
          </a:solidFill>
          <a:ln w="12700" cap="flat" cmpd="sng" algn="ctr">
            <a:noFill/>
            <a:prstDash val="solid"/>
            <a:miter lim="800000"/>
          </a:ln>
          <a:effectLst>
            <a:outerShdw blurRad="228600" dist="114300" dir="16200000"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6" name="Oval 15">
            <a:extLst>
              <a:ext uri="{FF2B5EF4-FFF2-40B4-BE49-F238E27FC236}">
                <a16:creationId xmlns:a16="http://schemas.microsoft.com/office/drawing/2014/main" id="{AAF37BFD-3A77-8972-817B-EC68CBFC17B9}"/>
              </a:ext>
            </a:extLst>
          </p:cNvPr>
          <p:cNvSpPr/>
          <p:nvPr userDrawn="1"/>
        </p:nvSpPr>
        <p:spPr>
          <a:xfrm rot="10800000" flipV="1">
            <a:off x="8936422" y="1816894"/>
            <a:ext cx="2310991" cy="2249502"/>
          </a:xfrm>
          <a:prstGeom prst="ellipse">
            <a:avLst/>
          </a:prstGeom>
          <a:solidFill>
            <a:srgbClr val="007A8E"/>
          </a:solidFill>
          <a:ln w="12700" cap="flat" cmpd="sng" algn="ctr">
            <a:noFill/>
            <a:prstDash val="solid"/>
            <a:miter lim="800000"/>
          </a:ln>
          <a:effectLst>
            <a:outerShdw blurRad="228600" dist="114300" dir="16200000"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0" name="Text Placeholder 24">
            <a:extLst>
              <a:ext uri="{FF2B5EF4-FFF2-40B4-BE49-F238E27FC236}">
                <a16:creationId xmlns:a16="http://schemas.microsoft.com/office/drawing/2014/main" id="{0B57611E-E7C7-324D-8BF8-320980FF4F27}"/>
              </a:ext>
            </a:extLst>
          </p:cNvPr>
          <p:cNvSpPr>
            <a:spLocks noGrp="1"/>
          </p:cNvSpPr>
          <p:nvPr>
            <p:ph type="body" sz="quarter" idx="14" hasCustomPrompt="1"/>
          </p:nvPr>
        </p:nvSpPr>
        <p:spPr>
          <a:xfrm>
            <a:off x="5424340" y="4203522"/>
            <a:ext cx="2160000" cy="276999"/>
          </a:xfrm>
          <a:prstGeom prst="rect">
            <a:avLst/>
          </a:prstGeom>
        </p:spPr>
        <p:txBody>
          <a:bodyPr/>
          <a:lstStyle>
            <a:lvl1pPr marL="0" indent="0" algn="ctr">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a:t>Name</a:t>
            </a:r>
          </a:p>
        </p:txBody>
      </p:sp>
      <p:sp>
        <p:nvSpPr>
          <p:cNvPr id="31" name="Text Placeholder 26">
            <a:extLst>
              <a:ext uri="{FF2B5EF4-FFF2-40B4-BE49-F238E27FC236}">
                <a16:creationId xmlns:a16="http://schemas.microsoft.com/office/drawing/2014/main" id="{3340D410-0B5B-4B4B-AEA6-2655A1EB04FD}"/>
              </a:ext>
            </a:extLst>
          </p:cNvPr>
          <p:cNvSpPr>
            <a:spLocks noGrp="1"/>
          </p:cNvSpPr>
          <p:nvPr>
            <p:ph type="body" sz="quarter" idx="15" hasCustomPrompt="1"/>
          </p:nvPr>
        </p:nvSpPr>
        <p:spPr>
          <a:xfrm>
            <a:off x="5424340" y="4568106"/>
            <a:ext cx="2160000" cy="215444"/>
          </a:xfrm>
          <a:prstGeom prst="rect">
            <a:avLst/>
          </a:prstGeom>
        </p:spPr>
        <p:txBody>
          <a:bodyPr/>
          <a:lstStyle>
            <a:lvl1pPr marL="0" indent="0" algn="ctr">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6" name="Rectangle 5">
            <a:extLst>
              <a:ext uri="{FF2B5EF4-FFF2-40B4-BE49-F238E27FC236}">
                <a16:creationId xmlns:a16="http://schemas.microsoft.com/office/drawing/2014/main" id="{58EA4554-FBA9-A00B-420E-ACB7F963531E}"/>
              </a:ext>
            </a:extLst>
          </p:cNvPr>
          <p:cNvSpPr/>
          <p:nvPr userDrawn="1"/>
        </p:nvSpPr>
        <p:spPr>
          <a:xfrm>
            <a:off x="-16" y="-1588"/>
            <a:ext cx="4356097" cy="6859588"/>
          </a:xfrm>
          <a:prstGeom prst="rect">
            <a:avLst/>
          </a:prstGeom>
          <a:gradFill flip="none" rotWithShape="1">
            <a:gsLst>
              <a:gs pos="97000">
                <a:schemeClr val="accent3">
                  <a:lumMod val="50000"/>
                </a:schemeClr>
              </a:gs>
              <a:gs pos="17000">
                <a:schemeClr val="tx1"/>
              </a:gs>
            </a:gsLst>
            <a:path path="circle">
              <a:fillToRect r="100000" b="100000"/>
            </a:path>
            <a:tileRect l="-100000" t="-100000"/>
          </a:gra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7" name="Title 1">
            <a:extLst>
              <a:ext uri="{FF2B5EF4-FFF2-40B4-BE49-F238E27FC236}">
                <a16:creationId xmlns:a16="http://schemas.microsoft.com/office/drawing/2014/main" id="{FEFF77B6-99C1-F98F-6579-3D5CC7F12768}"/>
              </a:ext>
            </a:extLst>
          </p:cNvPr>
          <p:cNvSpPr>
            <a:spLocks noGrp="1"/>
          </p:cNvSpPr>
          <p:nvPr>
            <p:ph type="title" hasCustomPrompt="1"/>
          </p:nvPr>
        </p:nvSpPr>
        <p:spPr>
          <a:xfrm>
            <a:off x="563550" y="3137008"/>
            <a:ext cx="2824862" cy="583985"/>
          </a:xfrm>
        </p:spPr>
        <p:txBody>
          <a:bodyPr anchor="t">
            <a:noAutofit/>
          </a:bodyPr>
          <a:lstStyle>
            <a:lvl1pPr>
              <a:defRPr>
                <a:solidFill>
                  <a:schemeClr val="bg1"/>
                </a:solidFill>
              </a:defRPr>
            </a:lvl1pPr>
          </a:lstStyle>
          <a:p>
            <a:r>
              <a:rPr lang="en-US"/>
              <a:t>Hello</a:t>
            </a:r>
          </a:p>
        </p:txBody>
      </p:sp>
      <p:sp>
        <p:nvSpPr>
          <p:cNvPr id="10" name="Rectangle 9">
            <a:extLst>
              <a:ext uri="{FF2B5EF4-FFF2-40B4-BE49-F238E27FC236}">
                <a16:creationId xmlns:a16="http://schemas.microsoft.com/office/drawing/2014/main" id="{73482A68-3021-2C61-2885-981D2C7E4931}"/>
              </a:ext>
            </a:extLst>
          </p:cNvPr>
          <p:cNvSpPr/>
          <p:nvPr userDrawn="1"/>
        </p:nvSpPr>
        <p:spPr>
          <a:xfrm rot="16200000" flipV="1">
            <a:off x="976582" y="3377911"/>
            <a:ext cx="6859588" cy="100589"/>
          </a:xfrm>
          <a:prstGeom prst="rect">
            <a:avLst/>
          </a:prstGeom>
          <a:solidFill>
            <a:srgbClr val="007A8E"/>
          </a:solidFill>
          <a:ln w="12700" cap="flat" cmpd="sng" algn="ctr">
            <a:noFill/>
            <a:prstDash val="solid"/>
            <a:miter lim="800000"/>
          </a:ln>
          <a:effectLst>
            <a:outerShdw blurRad="228600" dist="114300" dir="16200000"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1" name="Picture Placeholder 16">
            <a:extLst>
              <a:ext uri="{FF2B5EF4-FFF2-40B4-BE49-F238E27FC236}">
                <a16:creationId xmlns:a16="http://schemas.microsoft.com/office/drawing/2014/main" id="{DE32BC9B-0441-B3A2-7421-7798FEE2906F}"/>
              </a:ext>
            </a:extLst>
          </p:cNvPr>
          <p:cNvSpPr>
            <a:spLocks noGrp="1"/>
          </p:cNvSpPr>
          <p:nvPr>
            <p:ph type="pic" sz="quarter" idx="25"/>
          </p:nvPr>
        </p:nvSpPr>
        <p:spPr>
          <a:xfrm>
            <a:off x="5424340" y="1862653"/>
            <a:ext cx="2160000" cy="2157984"/>
          </a:xfrm>
          <a:prstGeom prst="ellipse">
            <a:avLst/>
          </a:prstGeom>
          <a:ln>
            <a:noFill/>
          </a:ln>
        </p:spPr>
        <p:txBody>
          <a:bodyPr/>
          <a:lstStyle>
            <a:lvl1pPr marL="0" indent="0" algn="ctr">
              <a:buNone/>
              <a:defRPr/>
            </a:lvl1pPr>
          </a:lstStyle>
          <a:p>
            <a:r>
              <a:rPr lang="en-US"/>
              <a:t>Click icon to add picture</a:t>
            </a:r>
          </a:p>
        </p:txBody>
      </p:sp>
      <p:sp>
        <p:nvSpPr>
          <p:cNvPr id="12" name="Text Placeholder 24">
            <a:extLst>
              <a:ext uri="{FF2B5EF4-FFF2-40B4-BE49-F238E27FC236}">
                <a16:creationId xmlns:a16="http://schemas.microsoft.com/office/drawing/2014/main" id="{B2DE6A0B-5097-C88B-E37E-B25160029B62}"/>
              </a:ext>
            </a:extLst>
          </p:cNvPr>
          <p:cNvSpPr>
            <a:spLocks noGrp="1"/>
          </p:cNvSpPr>
          <p:nvPr>
            <p:ph type="body" sz="quarter" idx="26" hasCustomPrompt="1"/>
          </p:nvPr>
        </p:nvSpPr>
        <p:spPr>
          <a:xfrm>
            <a:off x="9011918" y="4203522"/>
            <a:ext cx="2160000" cy="276999"/>
          </a:xfrm>
          <a:prstGeom prst="rect">
            <a:avLst/>
          </a:prstGeom>
        </p:spPr>
        <p:txBody>
          <a:bodyPr/>
          <a:lstStyle>
            <a:lvl1pPr marL="0" indent="0" algn="ctr">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a:t>Name</a:t>
            </a:r>
          </a:p>
        </p:txBody>
      </p:sp>
      <p:sp>
        <p:nvSpPr>
          <p:cNvPr id="13" name="Text Placeholder 26">
            <a:extLst>
              <a:ext uri="{FF2B5EF4-FFF2-40B4-BE49-F238E27FC236}">
                <a16:creationId xmlns:a16="http://schemas.microsoft.com/office/drawing/2014/main" id="{E5D79FD9-1675-06D3-B7FF-FF4ECCCB8E38}"/>
              </a:ext>
            </a:extLst>
          </p:cNvPr>
          <p:cNvSpPr>
            <a:spLocks noGrp="1"/>
          </p:cNvSpPr>
          <p:nvPr>
            <p:ph type="body" sz="quarter" idx="27" hasCustomPrompt="1"/>
          </p:nvPr>
        </p:nvSpPr>
        <p:spPr>
          <a:xfrm>
            <a:off x="9011918" y="4568106"/>
            <a:ext cx="2160000" cy="215444"/>
          </a:xfrm>
          <a:prstGeom prst="rect">
            <a:avLst/>
          </a:prstGeom>
        </p:spPr>
        <p:txBody>
          <a:bodyPr/>
          <a:lstStyle>
            <a:lvl1pPr marL="0" indent="0" algn="ctr">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14" name="Picture Placeholder 16">
            <a:extLst>
              <a:ext uri="{FF2B5EF4-FFF2-40B4-BE49-F238E27FC236}">
                <a16:creationId xmlns:a16="http://schemas.microsoft.com/office/drawing/2014/main" id="{CF269ECB-426D-1F51-D765-51F9DCB50FA2}"/>
              </a:ext>
            </a:extLst>
          </p:cNvPr>
          <p:cNvSpPr>
            <a:spLocks noGrp="1"/>
          </p:cNvSpPr>
          <p:nvPr>
            <p:ph type="pic" sz="quarter" idx="28"/>
          </p:nvPr>
        </p:nvSpPr>
        <p:spPr>
          <a:xfrm>
            <a:off x="9011918" y="1862653"/>
            <a:ext cx="2160000" cy="2157984"/>
          </a:xfrm>
          <a:prstGeom prst="ellipse">
            <a:avLst/>
          </a:prstGeom>
          <a:ln>
            <a:noFill/>
          </a:ln>
        </p:spPr>
        <p:txBody>
          <a:bodyPr/>
          <a:lstStyle>
            <a:lvl1pPr marL="0" indent="0" algn="ctr">
              <a:buNone/>
              <a:defRPr/>
            </a:lvl1pPr>
          </a:lstStyle>
          <a:p>
            <a:r>
              <a:rPr lang="en-US"/>
              <a:t>Click icon to add picture</a:t>
            </a:r>
          </a:p>
        </p:txBody>
      </p:sp>
    </p:spTree>
    <p:extLst>
      <p:ext uri="{BB962C8B-B14F-4D97-AF65-F5344CB8AC3E}">
        <p14:creationId xmlns:p14="http://schemas.microsoft.com/office/powerpoint/2010/main" val="4112070615"/>
      </p:ext>
    </p:extLst>
  </p:cSld>
  <p:clrMapOvr>
    <a:masterClrMapping/>
  </p:clrMapOvr>
  <p:transition>
    <p:fade/>
  </p:transition>
  <p:extLst>
    <p:ext uri="{DCECCB84-F9BA-43D5-87BE-67443E8EF086}">
      <p15:sldGuideLst xmlns:p15="http://schemas.microsoft.com/office/powerpoint/2012/main">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8" pos="4342">
          <p15:clr>
            <a:srgbClr val="A4A3A4"/>
          </p15:clr>
        </p15:guide>
        <p15:guide id="19" pos="4531">
          <p15:clr>
            <a:srgbClr val="A4A3A4"/>
          </p15:clr>
        </p15:guide>
        <p15:guide id="28" orient="horz" pos="905">
          <p15:clr>
            <a:srgbClr val="5ACBF0"/>
          </p15:clr>
        </p15:guide>
        <p15:guide id="30" orient="horz" pos="288">
          <p15:clr>
            <a:srgbClr val="5ACBF0"/>
          </p15:clr>
        </p15:guide>
        <p15:guide id="31" orient="horz" pos="2704">
          <p15:clr>
            <a:srgbClr val="5ACBF0"/>
          </p15:clr>
        </p15:guide>
        <p15:guide id="32" pos="6947">
          <p15:clr>
            <a:srgbClr val="FBAE4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eam intro">
    <p:spTree>
      <p:nvGrpSpPr>
        <p:cNvPr id="1" name=""/>
        <p:cNvGrpSpPr/>
        <p:nvPr/>
      </p:nvGrpSpPr>
      <p:grpSpPr>
        <a:xfrm>
          <a:off x="0" y="0"/>
          <a:ext cx="0" cy="0"/>
          <a:chOff x="0" y="0"/>
          <a:chExt cx="0" cy="0"/>
        </a:xfrm>
      </p:grpSpPr>
      <p:sp>
        <p:nvSpPr>
          <p:cNvPr id="4" name="Text Placeholder 24">
            <a:extLst>
              <a:ext uri="{FF2B5EF4-FFF2-40B4-BE49-F238E27FC236}">
                <a16:creationId xmlns:a16="http://schemas.microsoft.com/office/drawing/2014/main" id="{DAB7DD0E-9CE8-8B49-86A4-00493B0A2C63}"/>
              </a:ext>
            </a:extLst>
          </p:cNvPr>
          <p:cNvSpPr>
            <a:spLocks noGrp="1"/>
          </p:cNvSpPr>
          <p:nvPr>
            <p:ph type="body" sz="quarter" idx="11" hasCustomPrompt="1"/>
          </p:nvPr>
        </p:nvSpPr>
        <p:spPr>
          <a:xfrm>
            <a:off x="601664" y="4183620"/>
            <a:ext cx="2520950" cy="276999"/>
          </a:xfrm>
          <a:prstGeom prst="rect">
            <a:avLst/>
          </a:prstGeom>
        </p:spPr>
        <p:txBody>
          <a:bodyPr/>
          <a:lstStyle>
            <a:lvl1pPr marL="0" indent="0" algn="ctr">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a:t>Name</a:t>
            </a:r>
          </a:p>
        </p:txBody>
      </p:sp>
      <p:sp>
        <p:nvSpPr>
          <p:cNvPr id="5" name="Text Placeholder 26">
            <a:extLst>
              <a:ext uri="{FF2B5EF4-FFF2-40B4-BE49-F238E27FC236}">
                <a16:creationId xmlns:a16="http://schemas.microsoft.com/office/drawing/2014/main" id="{5B9FC220-0063-D14C-BAC7-29C374D5E3B9}"/>
              </a:ext>
            </a:extLst>
          </p:cNvPr>
          <p:cNvSpPr>
            <a:spLocks noGrp="1"/>
          </p:cNvSpPr>
          <p:nvPr>
            <p:ph type="body" sz="quarter" idx="12" hasCustomPrompt="1"/>
          </p:nvPr>
        </p:nvSpPr>
        <p:spPr>
          <a:xfrm>
            <a:off x="601664" y="4548204"/>
            <a:ext cx="2520950" cy="215444"/>
          </a:xfrm>
          <a:prstGeom prst="rect">
            <a:avLst/>
          </a:prstGeom>
        </p:spPr>
        <p:txBody>
          <a:bodyPr/>
          <a:lstStyle>
            <a:lvl1pPr marL="0" indent="0" algn="ctr">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6" name="Text Placeholder 28">
            <a:extLst>
              <a:ext uri="{FF2B5EF4-FFF2-40B4-BE49-F238E27FC236}">
                <a16:creationId xmlns:a16="http://schemas.microsoft.com/office/drawing/2014/main" id="{F06C21F1-452A-864F-9F3D-BF7065232F59}"/>
              </a:ext>
            </a:extLst>
          </p:cNvPr>
          <p:cNvSpPr>
            <a:spLocks noGrp="1"/>
          </p:cNvSpPr>
          <p:nvPr>
            <p:ph type="body" sz="quarter" idx="13" hasCustomPrompt="1"/>
          </p:nvPr>
        </p:nvSpPr>
        <p:spPr>
          <a:xfrm>
            <a:off x="601664" y="4946874"/>
            <a:ext cx="2520950" cy="923330"/>
          </a:xfrm>
          <a:prstGeom prst="rect">
            <a:avLst/>
          </a:prstGeom>
        </p:spPr>
        <p:txBody>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7" name="Text Placeholder 24">
            <a:extLst>
              <a:ext uri="{FF2B5EF4-FFF2-40B4-BE49-F238E27FC236}">
                <a16:creationId xmlns:a16="http://schemas.microsoft.com/office/drawing/2014/main" id="{CBF991A4-66F2-0E4F-8612-F380FB5985B0}"/>
              </a:ext>
            </a:extLst>
          </p:cNvPr>
          <p:cNvSpPr>
            <a:spLocks noGrp="1"/>
          </p:cNvSpPr>
          <p:nvPr>
            <p:ph type="body" sz="quarter" idx="14" hasCustomPrompt="1"/>
          </p:nvPr>
        </p:nvSpPr>
        <p:spPr>
          <a:xfrm>
            <a:off x="3413125" y="4175829"/>
            <a:ext cx="2520950" cy="276999"/>
          </a:xfrm>
          <a:prstGeom prst="rect">
            <a:avLst/>
          </a:prstGeom>
        </p:spPr>
        <p:txBody>
          <a:bodyPr/>
          <a:lstStyle>
            <a:lvl1pPr marL="0" indent="0" algn="ctr">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a:t>Name</a:t>
            </a:r>
          </a:p>
        </p:txBody>
      </p:sp>
      <p:sp>
        <p:nvSpPr>
          <p:cNvPr id="8" name="Text Placeholder 26">
            <a:extLst>
              <a:ext uri="{FF2B5EF4-FFF2-40B4-BE49-F238E27FC236}">
                <a16:creationId xmlns:a16="http://schemas.microsoft.com/office/drawing/2014/main" id="{B204FDE1-FBCB-1E43-8DBA-A33A86502D94}"/>
              </a:ext>
            </a:extLst>
          </p:cNvPr>
          <p:cNvSpPr>
            <a:spLocks noGrp="1"/>
          </p:cNvSpPr>
          <p:nvPr>
            <p:ph type="body" sz="quarter" idx="15" hasCustomPrompt="1"/>
          </p:nvPr>
        </p:nvSpPr>
        <p:spPr>
          <a:xfrm>
            <a:off x="3413125" y="4540413"/>
            <a:ext cx="2520950" cy="215444"/>
          </a:xfrm>
          <a:prstGeom prst="rect">
            <a:avLst/>
          </a:prstGeom>
        </p:spPr>
        <p:txBody>
          <a:bodyPr/>
          <a:lstStyle>
            <a:lvl1pPr marL="0" indent="0" algn="ctr">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9" name="Text Placeholder 28">
            <a:extLst>
              <a:ext uri="{FF2B5EF4-FFF2-40B4-BE49-F238E27FC236}">
                <a16:creationId xmlns:a16="http://schemas.microsoft.com/office/drawing/2014/main" id="{48D95D5C-AD2C-964E-B8BB-ECD883345B16}"/>
              </a:ext>
            </a:extLst>
          </p:cNvPr>
          <p:cNvSpPr>
            <a:spLocks noGrp="1"/>
          </p:cNvSpPr>
          <p:nvPr>
            <p:ph type="body" sz="quarter" idx="16" hasCustomPrompt="1"/>
          </p:nvPr>
        </p:nvSpPr>
        <p:spPr>
          <a:xfrm>
            <a:off x="3413125" y="4939083"/>
            <a:ext cx="2520950" cy="923330"/>
          </a:xfrm>
          <a:prstGeom prst="rect">
            <a:avLst/>
          </a:prstGeom>
        </p:spPr>
        <p:txBody>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10" name="Text Placeholder 24">
            <a:extLst>
              <a:ext uri="{FF2B5EF4-FFF2-40B4-BE49-F238E27FC236}">
                <a16:creationId xmlns:a16="http://schemas.microsoft.com/office/drawing/2014/main" id="{B7C50AAD-D67F-C045-84A8-3B74373D32E9}"/>
              </a:ext>
            </a:extLst>
          </p:cNvPr>
          <p:cNvSpPr>
            <a:spLocks noGrp="1"/>
          </p:cNvSpPr>
          <p:nvPr>
            <p:ph type="body" sz="quarter" idx="17" hasCustomPrompt="1"/>
          </p:nvPr>
        </p:nvSpPr>
        <p:spPr>
          <a:xfrm>
            <a:off x="6256338" y="4175829"/>
            <a:ext cx="2520950" cy="276999"/>
          </a:xfrm>
          <a:prstGeom prst="rect">
            <a:avLst/>
          </a:prstGeom>
        </p:spPr>
        <p:txBody>
          <a:bodyPr/>
          <a:lstStyle>
            <a:lvl1pPr marL="0" indent="0" algn="ctr">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a:t>Name</a:t>
            </a:r>
          </a:p>
        </p:txBody>
      </p:sp>
      <p:sp>
        <p:nvSpPr>
          <p:cNvPr id="11" name="Text Placeholder 26">
            <a:extLst>
              <a:ext uri="{FF2B5EF4-FFF2-40B4-BE49-F238E27FC236}">
                <a16:creationId xmlns:a16="http://schemas.microsoft.com/office/drawing/2014/main" id="{7B3F54B5-7211-D041-822C-DDBBC93FDE34}"/>
              </a:ext>
            </a:extLst>
          </p:cNvPr>
          <p:cNvSpPr>
            <a:spLocks noGrp="1"/>
          </p:cNvSpPr>
          <p:nvPr>
            <p:ph type="body" sz="quarter" idx="18" hasCustomPrompt="1"/>
          </p:nvPr>
        </p:nvSpPr>
        <p:spPr>
          <a:xfrm>
            <a:off x="6256338" y="4540413"/>
            <a:ext cx="2520950" cy="215444"/>
          </a:xfrm>
          <a:prstGeom prst="rect">
            <a:avLst/>
          </a:prstGeom>
        </p:spPr>
        <p:txBody>
          <a:bodyPr/>
          <a:lstStyle>
            <a:lvl1pPr marL="0" indent="0" algn="ctr">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12" name="Text Placeholder 28">
            <a:extLst>
              <a:ext uri="{FF2B5EF4-FFF2-40B4-BE49-F238E27FC236}">
                <a16:creationId xmlns:a16="http://schemas.microsoft.com/office/drawing/2014/main" id="{A80F42EC-DE4B-5144-99F7-4F92622AAE27}"/>
              </a:ext>
            </a:extLst>
          </p:cNvPr>
          <p:cNvSpPr>
            <a:spLocks noGrp="1"/>
          </p:cNvSpPr>
          <p:nvPr>
            <p:ph type="body" sz="quarter" idx="19" hasCustomPrompt="1"/>
          </p:nvPr>
        </p:nvSpPr>
        <p:spPr>
          <a:xfrm>
            <a:off x="6256338" y="4939083"/>
            <a:ext cx="2520950" cy="923330"/>
          </a:xfrm>
          <a:prstGeom prst="rect">
            <a:avLst/>
          </a:prstGeom>
        </p:spPr>
        <p:txBody>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13" name="Text Placeholder 24">
            <a:extLst>
              <a:ext uri="{FF2B5EF4-FFF2-40B4-BE49-F238E27FC236}">
                <a16:creationId xmlns:a16="http://schemas.microsoft.com/office/drawing/2014/main" id="{96B9F418-E7FC-8B4D-B6DF-D05F59C88194}"/>
              </a:ext>
            </a:extLst>
          </p:cNvPr>
          <p:cNvSpPr>
            <a:spLocks noGrp="1"/>
          </p:cNvSpPr>
          <p:nvPr>
            <p:ph type="body" sz="quarter" idx="20" hasCustomPrompt="1"/>
          </p:nvPr>
        </p:nvSpPr>
        <p:spPr>
          <a:xfrm>
            <a:off x="9070975" y="4175829"/>
            <a:ext cx="2520950" cy="276999"/>
          </a:xfrm>
          <a:prstGeom prst="rect">
            <a:avLst/>
          </a:prstGeom>
        </p:spPr>
        <p:txBody>
          <a:bodyPr/>
          <a:lstStyle>
            <a:lvl1pPr marL="0" indent="0" algn="ctr">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a:t>Name</a:t>
            </a:r>
          </a:p>
        </p:txBody>
      </p:sp>
      <p:sp>
        <p:nvSpPr>
          <p:cNvPr id="14" name="Text Placeholder 26">
            <a:extLst>
              <a:ext uri="{FF2B5EF4-FFF2-40B4-BE49-F238E27FC236}">
                <a16:creationId xmlns:a16="http://schemas.microsoft.com/office/drawing/2014/main" id="{3C77D641-147C-1940-8BCB-2C5F61CDAA9A}"/>
              </a:ext>
            </a:extLst>
          </p:cNvPr>
          <p:cNvSpPr>
            <a:spLocks noGrp="1"/>
          </p:cNvSpPr>
          <p:nvPr>
            <p:ph type="body" sz="quarter" idx="21" hasCustomPrompt="1"/>
          </p:nvPr>
        </p:nvSpPr>
        <p:spPr>
          <a:xfrm>
            <a:off x="9070975" y="4540413"/>
            <a:ext cx="2520950" cy="215444"/>
          </a:xfrm>
          <a:prstGeom prst="rect">
            <a:avLst/>
          </a:prstGeom>
        </p:spPr>
        <p:txBody>
          <a:bodyPr/>
          <a:lstStyle>
            <a:lvl1pPr marL="0" indent="0" algn="ctr">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15" name="Text Placeholder 28">
            <a:extLst>
              <a:ext uri="{FF2B5EF4-FFF2-40B4-BE49-F238E27FC236}">
                <a16:creationId xmlns:a16="http://schemas.microsoft.com/office/drawing/2014/main" id="{68B31C8F-F786-E643-88DC-4AE14C437072}"/>
              </a:ext>
            </a:extLst>
          </p:cNvPr>
          <p:cNvSpPr>
            <a:spLocks noGrp="1"/>
          </p:cNvSpPr>
          <p:nvPr>
            <p:ph type="body" sz="quarter" idx="22" hasCustomPrompt="1"/>
          </p:nvPr>
        </p:nvSpPr>
        <p:spPr>
          <a:xfrm>
            <a:off x="9070975" y="4939083"/>
            <a:ext cx="2520950" cy="923330"/>
          </a:xfrm>
          <a:prstGeom prst="rect">
            <a:avLst/>
          </a:prstGeom>
        </p:spPr>
        <p:txBody>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24" name="Picture Placeholder 16">
            <a:extLst>
              <a:ext uri="{FF2B5EF4-FFF2-40B4-BE49-F238E27FC236}">
                <a16:creationId xmlns:a16="http://schemas.microsoft.com/office/drawing/2014/main" id="{8644B5A4-4C62-164B-9FCA-E1A62ECDC6A0}"/>
              </a:ext>
            </a:extLst>
          </p:cNvPr>
          <p:cNvSpPr>
            <a:spLocks noGrp="1"/>
          </p:cNvSpPr>
          <p:nvPr>
            <p:ph type="pic" sz="quarter" idx="23"/>
          </p:nvPr>
        </p:nvSpPr>
        <p:spPr>
          <a:xfrm>
            <a:off x="782139" y="1785409"/>
            <a:ext cx="2160000" cy="2157984"/>
          </a:xfrm>
          <a:prstGeom prst="ellipse">
            <a:avLst/>
          </a:prstGeom>
          <a:ln>
            <a:noFill/>
          </a:ln>
        </p:spPr>
        <p:txBody>
          <a:bodyPr/>
          <a:lstStyle>
            <a:lvl1pPr marL="0" indent="0" algn="ctr">
              <a:buNone/>
              <a:defRPr/>
            </a:lvl1pPr>
          </a:lstStyle>
          <a:p>
            <a:r>
              <a:rPr lang="en-US"/>
              <a:t>Click icon to add picture</a:t>
            </a:r>
          </a:p>
        </p:txBody>
      </p:sp>
      <p:sp>
        <p:nvSpPr>
          <p:cNvPr id="26" name="Picture Placeholder 16">
            <a:extLst>
              <a:ext uri="{FF2B5EF4-FFF2-40B4-BE49-F238E27FC236}">
                <a16:creationId xmlns:a16="http://schemas.microsoft.com/office/drawing/2014/main" id="{7216C99D-59E0-D148-8FD5-A06B5D098A96}"/>
              </a:ext>
            </a:extLst>
          </p:cNvPr>
          <p:cNvSpPr>
            <a:spLocks noGrp="1"/>
          </p:cNvSpPr>
          <p:nvPr>
            <p:ph type="pic" sz="quarter" idx="24"/>
          </p:nvPr>
        </p:nvSpPr>
        <p:spPr>
          <a:xfrm>
            <a:off x="3593600" y="1785409"/>
            <a:ext cx="2160000" cy="2157984"/>
          </a:xfrm>
          <a:prstGeom prst="ellipse">
            <a:avLst/>
          </a:prstGeom>
          <a:ln>
            <a:noFill/>
          </a:ln>
        </p:spPr>
        <p:txBody>
          <a:bodyPr/>
          <a:lstStyle>
            <a:lvl1pPr marL="0" indent="0" algn="ctr">
              <a:buNone/>
              <a:defRPr/>
            </a:lvl1pPr>
          </a:lstStyle>
          <a:p>
            <a:r>
              <a:rPr lang="en-US"/>
              <a:t>Click icon to add picture</a:t>
            </a:r>
          </a:p>
        </p:txBody>
      </p:sp>
      <p:sp>
        <p:nvSpPr>
          <p:cNvPr id="28" name="Picture Placeholder 16">
            <a:extLst>
              <a:ext uri="{FF2B5EF4-FFF2-40B4-BE49-F238E27FC236}">
                <a16:creationId xmlns:a16="http://schemas.microsoft.com/office/drawing/2014/main" id="{D4B99A33-76D9-4843-8919-AD5FEF9A31F2}"/>
              </a:ext>
            </a:extLst>
          </p:cNvPr>
          <p:cNvSpPr>
            <a:spLocks noGrp="1"/>
          </p:cNvSpPr>
          <p:nvPr>
            <p:ph type="pic" sz="quarter" idx="25"/>
          </p:nvPr>
        </p:nvSpPr>
        <p:spPr>
          <a:xfrm>
            <a:off x="6436813" y="1785409"/>
            <a:ext cx="2160000" cy="2157984"/>
          </a:xfrm>
          <a:prstGeom prst="ellipse">
            <a:avLst/>
          </a:prstGeom>
          <a:ln>
            <a:noFill/>
          </a:ln>
        </p:spPr>
        <p:txBody>
          <a:bodyPr/>
          <a:lstStyle>
            <a:lvl1pPr marL="0" indent="0" algn="ctr">
              <a:buNone/>
              <a:defRPr/>
            </a:lvl1pPr>
          </a:lstStyle>
          <a:p>
            <a:r>
              <a:rPr lang="en-US"/>
              <a:t>Click icon to add picture</a:t>
            </a:r>
          </a:p>
        </p:txBody>
      </p:sp>
      <p:sp>
        <p:nvSpPr>
          <p:cNvPr id="30" name="Picture Placeholder 16">
            <a:extLst>
              <a:ext uri="{FF2B5EF4-FFF2-40B4-BE49-F238E27FC236}">
                <a16:creationId xmlns:a16="http://schemas.microsoft.com/office/drawing/2014/main" id="{961589AC-2E68-5C4F-BF84-D883C8663119}"/>
              </a:ext>
            </a:extLst>
          </p:cNvPr>
          <p:cNvSpPr>
            <a:spLocks noGrp="1"/>
          </p:cNvSpPr>
          <p:nvPr>
            <p:ph type="pic" sz="quarter" idx="26"/>
          </p:nvPr>
        </p:nvSpPr>
        <p:spPr>
          <a:xfrm>
            <a:off x="9251450" y="1785409"/>
            <a:ext cx="2160000" cy="2157984"/>
          </a:xfrm>
          <a:prstGeom prst="ellipse">
            <a:avLst/>
          </a:prstGeom>
          <a:ln>
            <a:noFill/>
          </a:ln>
        </p:spPr>
        <p:txBody>
          <a:bodyPr/>
          <a:lstStyle>
            <a:lvl1pPr marL="0" indent="0" algn="ctr">
              <a:buNone/>
              <a:defRPr/>
            </a:lvl1pPr>
          </a:lstStyle>
          <a:p>
            <a:r>
              <a:rPr lang="en-US"/>
              <a:t>Click icon to add picture</a:t>
            </a:r>
          </a:p>
        </p:txBody>
      </p:sp>
      <p:sp>
        <p:nvSpPr>
          <p:cNvPr id="17" name="Rectangle 16">
            <a:extLst>
              <a:ext uri="{FF2B5EF4-FFF2-40B4-BE49-F238E27FC236}">
                <a16:creationId xmlns:a16="http://schemas.microsoft.com/office/drawing/2014/main" id="{8EE771EF-AC5F-273D-2B84-2CC74F56EBF5}"/>
              </a:ext>
            </a:extLst>
          </p:cNvPr>
          <p:cNvSpPr/>
          <p:nvPr userDrawn="1"/>
        </p:nvSpPr>
        <p:spPr>
          <a:xfrm>
            <a:off x="588263" y="1097111"/>
            <a:ext cx="11064240" cy="45719"/>
          </a:xfrm>
          <a:prstGeom prst="rect">
            <a:avLst/>
          </a:prstGeom>
          <a:solidFill>
            <a:schemeClr val="accent3">
              <a:lumMod val="50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8" name="Title 1">
            <a:extLst>
              <a:ext uri="{FF2B5EF4-FFF2-40B4-BE49-F238E27FC236}">
                <a16:creationId xmlns:a16="http://schemas.microsoft.com/office/drawing/2014/main" id="{DE7A7A56-6AED-519B-49CD-440447D9E416}"/>
              </a:ext>
            </a:extLst>
          </p:cNvPr>
          <p:cNvSpPr>
            <a:spLocks noGrp="1"/>
          </p:cNvSpPr>
          <p:nvPr>
            <p:ph type="title" hasCustomPrompt="1"/>
          </p:nvPr>
        </p:nvSpPr>
        <p:spPr>
          <a:xfrm>
            <a:off x="588263" y="457200"/>
            <a:ext cx="11018520" cy="553998"/>
          </a:xfrm>
        </p:spPr>
        <p:txBody>
          <a:bodyPr anchor="ctr"/>
          <a:lstStyle>
            <a:lvl1pPr>
              <a:defRPr>
                <a:solidFill>
                  <a:schemeClr val="tx1"/>
                </a:solidFill>
              </a:defRPr>
            </a:lvl1pPr>
          </a:lstStyle>
          <a:p>
            <a:r>
              <a:rPr lang="en-US"/>
              <a:t>Meet the Team</a:t>
            </a:r>
          </a:p>
        </p:txBody>
      </p:sp>
    </p:spTree>
    <p:extLst>
      <p:ext uri="{BB962C8B-B14F-4D97-AF65-F5344CB8AC3E}">
        <p14:creationId xmlns:p14="http://schemas.microsoft.com/office/powerpoint/2010/main" val="279153532"/>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0" pos="1967">
          <p15:clr>
            <a:srgbClr val="A4A3A4"/>
          </p15:clr>
        </p15:guide>
        <p15:guide id="11" pos="2150">
          <p15:clr>
            <a:srgbClr val="A4A3A4"/>
          </p15:clr>
        </p15:guide>
        <p15:guide id="16" pos="3749">
          <p15:clr>
            <a:srgbClr val="A4A3A4"/>
          </p15:clr>
        </p15:guide>
        <p15:guide id="17" pos="3932">
          <p15:clr>
            <a:srgbClr val="A4A3A4"/>
          </p15:clr>
        </p15:guide>
        <p15:guide id="22" pos="5529">
          <p15:clr>
            <a:srgbClr val="A4A3A4"/>
          </p15:clr>
        </p15:guide>
        <p15:guide id="23" pos="5714">
          <p15:clr>
            <a:srgbClr val="A4A3A4"/>
          </p15:clr>
        </p15:guide>
        <p15:guide id="28" pos="3840">
          <p15:clr>
            <a:srgbClr val="F26B43"/>
          </p15:clr>
        </p15:guide>
        <p15:guide id="29" pos="5576">
          <p15:clr>
            <a:srgbClr val="F26B43"/>
          </p15:clr>
        </p15:guide>
        <p15:guide id="30" pos="2105">
          <p15:clr>
            <a:srgbClr val="F26B43"/>
          </p15:clr>
        </p15:guide>
        <p15:guide id="31" orient="horz" pos="2772">
          <p15:clr>
            <a:srgbClr val="FBAE4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14107C4-6566-AB37-BFB5-14BE4608C025}"/>
              </a:ext>
            </a:extLst>
          </p:cNvPr>
          <p:cNvSpPr/>
          <p:nvPr userDrawn="1"/>
        </p:nvSpPr>
        <p:spPr>
          <a:xfrm>
            <a:off x="0" y="1"/>
            <a:ext cx="12192000" cy="6857998"/>
          </a:xfrm>
          <a:prstGeom prst="rect">
            <a:avLst/>
          </a:prstGeom>
          <a:gradFill flip="none" rotWithShape="1">
            <a:gsLst>
              <a:gs pos="82000">
                <a:sysClr val="windowText" lastClr="000000"/>
              </a:gs>
              <a:gs pos="0">
                <a:srgbClr val="00CEF1"/>
              </a:gs>
            </a:gsLst>
            <a:path path="circle">
              <a:fillToRect l="100000" t="100000"/>
            </a:path>
            <a:tileRect r="-100000" b="-100000"/>
          </a:gra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7679FD0C-849F-3828-0868-3EE52F273D0E}"/>
              </a:ext>
            </a:extLst>
          </p:cNvPr>
          <p:cNvSpPr/>
          <p:nvPr userDrawn="1"/>
        </p:nvSpPr>
        <p:spPr>
          <a:xfrm>
            <a:off x="0" y="6753138"/>
            <a:ext cx="12192000" cy="104862"/>
          </a:xfrm>
          <a:prstGeom prst="rect">
            <a:avLst/>
          </a:prstGeom>
          <a:solidFill>
            <a:srgbClr val="007A8E"/>
          </a:solidFill>
          <a:ln w="12700" cap="flat" cmpd="sng" algn="ctr">
            <a:noFill/>
            <a:prstDash val="solid"/>
            <a:miter lim="800000"/>
          </a:ln>
          <a:effectLst>
            <a:outerShdw blurRad="228600" dist="114300" dir="16200000"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338020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Layout 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260626F-CEB8-F265-F246-1EAEC11568D2}"/>
              </a:ext>
            </a:extLst>
          </p:cNvPr>
          <p:cNvSpPr/>
          <p:nvPr userDrawn="1"/>
        </p:nvSpPr>
        <p:spPr>
          <a:xfrm>
            <a:off x="0" y="1"/>
            <a:ext cx="12192000" cy="1219199"/>
          </a:xfrm>
          <a:prstGeom prst="rect">
            <a:avLst/>
          </a:prstGeom>
          <a:gradFill flip="none" rotWithShape="1">
            <a:gsLst>
              <a:gs pos="97000">
                <a:schemeClr val="accent3">
                  <a:lumMod val="50000"/>
                </a:schemeClr>
              </a:gs>
              <a:gs pos="0">
                <a:schemeClr val="tx1"/>
              </a:gs>
            </a:gsLst>
            <a:lin ang="0" scaled="1"/>
            <a:tileRect/>
          </a:gra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11018520" cy="553998"/>
          </a:xfrm>
        </p:spPr>
        <p:txBody>
          <a:bodyPr anchor="ctr"/>
          <a:lstStyle>
            <a:lvl1pPr>
              <a:defRPr>
                <a:solidFill>
                  <a:schemeClr val="bg1"/>
                </a:solidFill>
              </a:defRPr>
            </a:lvl1pPr>
          </a:lstStyle>
          <a:p>
            <a:r>
              <a:rPr lang="en-US"/>
              <a:t>Click to edit</a:t>
            </a:r>
          </a:p>
        </p:txBody>
      </p:sp>
      <p:sp>
        <p:nvSpPr>
          <p:cNvPr id="11" name="Content Placeholder 10">
            <a:extLst>
              <a:ext uri="{FF2B5EF4-FFF2-40B4-BE49-F238E27FC236}">
                <a16:creationId xmlns:a16="http://schemas.microsoft.com/office/drawing/2014/main" id="{C7AF206F-F048-10DD-6656-6FF0458D4D2C}"/>
              </a:ext>
            </a:extLst>
          </p:cNvPr>
          <p:cNvSpPr>
            <a:spLocks noGrp="1"/>
          </p:cNvSpPr>
          <p:nvPr>
            <p:ph sz="quarter" idx="10" hasCustomPrompt="1"/>
          </p:nvPr>
        </p:nvSpPr>
        <p:spPr>
          <a:xfrm>
            <a:off x="588263" y="1367481"/>
            <a:ext cx="11018520" cy="5141807"/>
          </a:xfrm>
        </p:spPr>
        <p:txBody>
          <a:bodyPr/>
          <a:lstStyle>
            <a:lvl1pPr marL="0" indent="0">
              <a:buNone/>
              <a:defRPr/>
            </a:lvl1pPr>
          </a:lstStyle>
          <a:p>
            <a:pPr lvl="0"/>
            <a:r>
              <a:rPr lang="en-US"/>
              <a:t>Segoe UI, size 24</a:t>
            </a:r>
          </a:p>
          <a:p>
            <a:pPr lvl="1"/>
            <a:r>
              <a:rPr lang="en-US"/>
              <a:t>Segoe UI, size 20</a:t>
            </a:r>
          </a:p>
          <a:p>
            <a:pPr lvl="2"/>
            <a:r>
              <a:rPr lang="en-US"/>
              <a:t>Segoe UI, size 18</a:t>
            </a:r>
          </a:p>
          <a:p>
            <a:pPr lvl="3"/>
            <a:r>
              <a:rPr lang="en-US"/>
              <a:t>Segoe UI, size 16</a:t>
            </a:r>
          </a:p>
        </p:txBody>
      </p:sp>
    </p:spTree>
    <p:extLst>
      <p:ext uri="{BB962C8B-B14F-4D97-AF65-F5344CB8AC3E}">
        <p14:creationId xmlns:p14="http://schemas.microsoft.com/office/powerpoint/2010/main" val="1210567107"/>
      </p:ext>
    </p:extLst>
  </p:cSld>
  <p:clrMapOvr>
    <a:masterClrMapping/>
  </p:clrMapOvr>
  <p:transition>
    <p:fade/>
  </p:transition>
  <p:extLst>
    <p:ext uri="{DCECCB84-F9BA-43D5-87BE-67443E8EF086}">
      <p15:sldGuideLst xmlns:p15="http://schemas.microsoft.com/office/powerpoint/2012/main">
        <p15:guide id="2" orient="horz" pos="1162">
          <p15:clr>
            <a:srgbClr val="5ACBF0"/>
          </p15:clr>
        </p15:guide>
        <p15:guide id="3" orient="horz" pos="288">
          <p15:clr>
            <a:srgbClr val="5ACBF0"/>
          </p15:clr>
        </p15:guide>
        <p15:guide id="5" orient="horz" pos="904">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Layout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F2E2CE6-C87F-4D6F-6988-94FF83F1B6D3}"/>
              </a:ext>
            </a:extLst>
          </p:cNvPr>
          <p:cNvSpPr/>
          <p:nvPr userDrawn="1"/>
        </p:nvSpPr>
        <p:spPr>
          <a:xfrm>
            <a:off x="0" y="1"/>
            <a:ext cx="12192000" cy="1219199"/>
          </a:xfrm>
          <a:prstGeom prst="rect">
            <a:avLst/>
          </a:prstGeom>
          <a:gradFill flip="none" rotWithShape="1">
            <a:gsLst>
              <a:gs pos="97000">
                <a:schemeClr val="accent3">
                  <a:lumMod val="50000"/>
                </a:schemeClr>
              </a:gs>
              <a:gs pos="0">
                <a:schemeClr val="tx1"/>
              </a:gs>
            </a:gsLst>
            <a:lin ang="0" scaled="1"/>
            <a:tileRect/>
          </a:gra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1" name="Title 1">
            <a:extLst>
              <a:ext uri="{FF2B5EF4-FFF2-40B4-BE49-F238E27FC236}">
                <a16:creationId xmlns:a16="http://schemas.microsoft.com/office/drawing/2014/main" id="{2C5471B5-F6EE-7992-DCFC-1E665D9872A0}"/>
              </a:ext>
            </a:extLst>
          </p:cNvPr>
          <p:cNvSpPr>
            <a:spLocks noGrp="1"/>
          </p:cNvSpPr>
          <p:nvPr>
            <p:ph type="title"/>
          </p:nvPr>
        </p:nvSpPr>
        <p:spPr>
          <a:xfrm>
            <a:off x="588263" y="457200"/>
            <a:ext cx="11018520" cy="553998"/>
          </a:xfrm>
        </p:spPr>
        <p:txBody>
          <a:bodyPr anchor="ctr"/>
          <a:lstStyle>
            <a:lvl1pPr>
              <a:defRPr>
                <a:solidFill>
                  <a:schemeClr val="bg1"/>
                </a:solidFill>
              </a:defRPr>
            </a:lvl1pPr>
          </a:lstStyle>
          <a:p>
            <a:r>
              <a:rPr lang="en-US"/>
              <a:t>Click to edit</a:t>
            </a:r>
          </a:p>
        </p:txBody>
      </p:sp>
      <p:sp>
        <p:nvSpPr>
          <p:cNvPr id="12" name="Content Placeholder 10">
            <a:extLst>
              <a:ext uri="{FF2B5EF4-FFF2-40B4-BE49-F238E27FC236}">
                <a16:creationId xmlns:a16="http://schemas.microsoft.com/office/drawing/2014/main" id="{B5A992C0-6DCD-6BD9-A8DA-464B24E77ED2}"/>
              </a:ext>
            </a:extLst>
          </p:cNvPr>
          <p:cNvSpPr>
            <a:spLocks noGrp="1"/>
          </p:cNvSpPr>
          <p:nvPr>
            <p:ph sz="quarter" idx="10" hasCustomPrompt="1"/>
          </p:nvPr>
        </p:nvSpPr>
        <p:spPr>
          <a:xfrm>
            <a:off x="588263" y="1334531"/>
            <a:ext cx="5370835" cy="5174758"/>
          </a:xfrm>
        </p:spPr>
        <p:txBody>
          <a:bodyPr/>
          <a:lstStyle>
            <a:lvl1pPr marL="342900" indent="-342900">
              <a:buFont typeface="Arial" panose="020B0604020202020204" pitchFamily="34" charset="0"/>
              <a:buChar char="•"/>
              <a:defRPr/>
            </a:lvl1pPr>
          </a:lstStyle>
          <a:p>
            <a:pPr lvl="0"/>
            <a:r>
              <a:rPr lang="en-US"/>
              <a:t>Segoe UI, size 24</a:t>
            </a:r>
          </a:p>
          <a:p>
            <a:pPr lvl="1"/>
            <a:r>
              <a:rPr lang="en-US"/>
              <a:t>Segoe UI, size 20</a:t>
            </a:r>
          </a:p>
          <a:p>
            <a:pPr lvl="2"/>
            <a:r>
              <a:rPr lang="en-US"/>
              <a:t>Segoe UI, size 18</a:t>
            </a:r>
          </a:p>
          <a:p>
            <a:pPr lvl="3"/>
            <a:r>
              <a:rPr lang="en-US"/>
              <a:t>Segoe UI, size 16</a:t>
            </a:r>
          </a:p>
        </p:txBody>
      </p:sp>
      <p:sp>
        <p:nvSpPr>
          <p:cNvPr id="13" name="Content Placeholder 10">
            <a:extLst>
              <a:ext uri="{FF2B5EF4-FFF2-40B4-BE49-F238E27FC236}">
                <a16:creationId xmlns:a16="http://schemas.microsoft.com/office/drawing/2014/main" id="{ADCC7E84-E146-7B5C-6365-266AE674CBFD}"/>
              </a:ext>
            </a:extLst>
          </p:cNvPr>
          <p:cNvSpPr>
            <a:spLocks noGrp="1"/>
          </p:cNvSpPr>
          <p:nvPr>
            <p:ph sz="quarter" idx="11" hasCustomPrompt="1"/>
          </p:nvPr>
        </p:nvSpPr>
        <p:spPr>
          <a:xfrm>
            <a:off x="6238070" y="1334531"/>
            <a:ext cx="5370835" cy="5174758"/>
          </a:xfrm>
        </p:spPr>
        <p:txBody>
          <a:bodyPr/>
          <a:lstStyle>
            <a:lvl1pPr marL="342900" indent="-342900">
              <a:buFont typeface="Arial" panose="020B0604020202020204" pitchFamily="34" charset="0"/>
              <a:buChar char="•"/>
              <a:defRPr/>
            </a:lvl1pPr>
          </a:lstStyle>
          <a:p>
            <a:pPr lvl="0"/>
            <a:r>
              <a:rPr lang="en-US"/>
              <a:t>Segoe UI, size 24</a:t>
            </a:r>
          </a:p>
          <a:p>
            <a:pPr lvl="1"/>
            <a:r>
              <a:rPr lang="en-US"/>
              <a:t>Segoe UI, size 20</a:t>
            </a:r>
          </a:p>
          <a:p>
            <a:pPr lvl="2"/>
            <a:r>
              <a:rPr lang="en-US"/>
              <a:t>Segoe UI, size 18</a:t>
            </a:r>
          </a:p>
          <a:p>
            <a:pPr lvl="3"/>
            <a:r>
              <a:rPr lang="en-US"/>
              <a:t>Segoe UI, size 16</a:t>
            </a:r>
          </a:p>
        </p:txBody>
      </p:sp>
    </p:spTree>
    <p:extLst>
      <p:ext uri="{BB962C8B-B14F-4D97-AF65-F5344CB8AC3E}">
        <p14:creationId xmlns:p14="http://schemas.microsoft.com/office/powerpoint/2010/main" val="17960542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Layout 4">
    <p:spTree>
      <p:nvGrpSpPr>
        <p:cNvPr id="1" name=""/>
        <p:cNvGrpSpPr/>
        <p:nvPr/>
      </p:nvGrpSpPr>
      <p:grpSpPr>
        <a:xfrm>
          <a:off x="0" y="0"/>
          <a:ext cx="0" cy="0"/>
          <a:chOff x="0" y="0"/>
          <a:chExt cx="0" cy="0"/>
        </a:xfrm>
      </p:grpSpPr>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340554"/>
            <a:ext cx="5219700" cy="430887"/>
          </a:xfrm>
          <a:prstGeom prst="rect">
            <a:avLst/>
          </a:prstGeom>
        </p:spPr>
        <p:txBody>
          <a:bodyPr anchor="t"/>
          <a:lstStyle>
            <a:lvl1pPr marL="0" indent="0">
              <a:spcBef>
                <a:spcPts val="0"/>
              </a:spcBef>
              <a:buNone/>
              <a:defRPr sz="2800">
                <a:solidFill>
                  <a:schemeClr val="tx1"/>
                </a:solidFill>
                <a:latin typeface="+mj-lt"/>
              </a:defRPr>
            </a:lvl1pPr>
          </a:lstStyle>
          <a:p>
            <a:pPr lvl="0"/>
            <a:r>
              <a:rPr lang="en-US"/>
              <a:t>Click to edit</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hasCustomPrompt="1"/>
          </p:nvPr>
        </p:nvSpPr>
        <p:spPr>
          <a:xfrm>
            <a:off x="588963" y="1985079"/>
            <a:ext cx="5214937" cy="4004590"/>
          </a:xfrm>
          <a:prstGeom prst="rect">
            <a:avLst/>
          </a:prstGeom>
        </p:spPr>
        <p:txBody>
          <a:bodyPr/>
          <a:lstStyle>
            <a:lvl1pPr>
              <a:defRPr sz="2400"/>
            </a:lvl1pPr>
          </a:lstStyle>
          <a:p>
            <a:pPr lvl="0"/>
            <a:r>
              <a:rPr lang="en-US"/>
              <a:t>Segoe UI, size 24</a:t>
            </a:r>
          </a:p>
          <a:p>
            <a:pPr lvl="1"/>
            <a:r>
              <a:rPr lang="en-US"/>
              <a:t>Segoe UI, size 20</a:t>
            </a:r>
          </a:p>
          <a:p>
            <a:pPr lvl="2"/>
            <a:r>
              <a:rPr lang="en-US"/>
              <a:t>Segoe UI, size 18</a:t>
            </a:r>
          </a:p>
          <a:p>
            <a:pPr lvl="3"/>
            <a:r>
              <a:rPr lang="en-US"/>
              <a:t>Segoe UI, size 16</a:t>
            </a:r>
          </a:p>
        </p:txBody>
      </p:sp>
      <p:sp>
        <p:nvSpPr>
          <p:cNvPr id="2" name="Rectangle 1">
            <a:extLst>
              <a:ext uri="{FF2B5EF4-FFF2-40B4-BE49-F238E27FC236}">
                <a16:creationId xmlns:a16="http://schemas.microsoft.com/office/drawing/2014/main" id="{6AC22910-4C7A-6451-BF4F-5677BFC2B077}"/>
              </a:ext>
            </a:extLst>
          </p:cNvPr>
          <p:cNvSpPr/>
          <p:nvPr userDrawn="1"/>
        </p:nvSpPr>
        <p:spPr>
          <a:xfrm>
            <a:off x="0" y="1"/>
            <a:ext cx="12192000" cy="1219199"/>
          </a:xfrm>
          <a:prstGeom prst="rect">
            <a:avLst/>
          </a:prstGeom>
          <a:gradFill flip="none" rotWithShape="1">
            <a:gsLst>
              <a:gs pos="97000">
                <a:schemeClr val="accent3">
                  <a:lumMod val="50000"/>
                </a:schemeClr>
              </a:gs>
              <a:gs pos="0">
                <a:schemeClr val="tx1"/>
              </a:gs>
            </a:gsLst>
            <a:lin ang="0" scaled="1"/>
            <a:tileRect/>
          </a:gra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334068"/>
            <a:ext cx="5219700" cy="430887"/>
          </a:xfrm>
          <a:prstGeom prst="rect">
            <a:avLst/>
          </a:prstGeom>
        </p:spPr>
        <p:txBody>
          <a:bodyPr anchor="t"/>
          <a:lstStyle>
            <a:lvl1pPr marL="0" indent="0">
              <a:spcBef>
                <a:spcPts val="0"/>
              </a:spcBef>
              <a:buNone/>
              <a:defRPr sz="2800">
                <a:solidFill>
                  <a:schemeClr val="tx1"/>
                </a:solidFill>
                <a:latin typeface="+mj-lt"/>
              </a:defRPr>
            </a:lvl1pPr>
          </a:lstStyle>
          <a:p>
            <a:pPr lvl="0"/>
            <a:r>
              <a:rPr lang="en-US"/>
              <a:t>Click to edit</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hasCustomPrompt="1"/>
          </p:nvPr>
        </p:nvSpPr>
        <p:spPr>
          <a:xfrm>
            <a:off x="6394451" y="1978593"/>
            <a:ext cx="5214937" cy="4004590"/>
          </a:xfrm>
          <a:prstGeom prst="rect">
            <a:avLst/>
          </a:prstGeom>
        </p:spPr>
        <p:txBody>
          <a:bodyPr/>
          <a:lstStyle>
            <a:lvl1pPr>
              <a:defRPr sz="2400"/>
            </a:lvl1pPr>
            <a:lvl5pPr marL="855663" indent="0">
              <a:buNone/>
              <a:defRPr/>
            </a:lvl5pPr>
          </a:lstStyle>
          <a:p>
            <a:pPr lvl="0"/>
            <a:r>
              <a:rPr lang="en-US"/>
              <a:t>Segoe UI, size 24</a:t>
            </a:r>
          </a:p>
          <a:p>
            <a:pPr lvl="1"/>
            <a:r>
              <a:rPr lang="en-US"/>
              <a:t>Segoe UI, size 20</a:t>
            </a:r>
          </a:p>
          <a:p>
            <a:pPr lvl="2"/>
            <a:r>
              <a:rPr lang="en-US"/>
              <a:t>Segoe UI, size 18</a:t>
            </a:r>
          </a:p>
          <a:p>
            <a:pPr lvl="3"/>
            <a:r>
              <a:rPr lang="en-US"/>
              <a:t>Segoe UI, size 16</a:t>
            </a:r>
          </a:p>
        </p:txBody>
      </p:sp>
      <p:sp>
        <p:nvSpPr>
          <p:cNvPr id="6" name="Title 1">
            <a:extLst>
              <a:ext uri="{FF2B5EF4-FFF2-40B4-BE49-F238E27FC236}">
                <a16:creationId xmlns:a16="http://schemas.microsoft.com/office/drawing/2014/main" id="{38D50048-2EDB-722E-1DF2-243D3052FB43}"/>
              </a:ext>
            </a:extLst>
          </p:cNvPr>
          <p:cNvSpPr>
            <a:spLocks noGrp="1"/>
          </p:cNvSpPr>
          <p:nvPr>
            <p:ph type="title"/>
          </p:nvPr>
        </p:nvSpPr>
        <p:spPr>
          <a:xfrm>
            <a:off x="588263" y="457200"/>
            <a:ext cx="11018520" cy="553998"/>
          </a:xfrm>
        </p:spPr>
        <p:txBody>
          <a:bodyPr anchor="ctr"/>
          <a:lstStyle>
            <a:lvl1pPr>
              <a:defRPr>
                <a:solidFill>
                  <a:schemeClr val="bg1"/>
                </a:solidFill>
              </a:defRPr>
            </a:lvl1pPr>
          </a:lstStyle>
          <a:p>
            <a:r>
              <a:rPr lang="en-US"/>
              <a:t>Click to edit</a:t>
            </a:r>
          </a:p>
        </p:txBody>
      </p:sp>
    </p:spTree>
    <p:extLst>
      <p:ext uri="{BB962C8B-B14F-4D97-AF65-F5344CB8AC3E}">
        <p14:creationId xmlns:p14="http://schemas.microsoft.com/office/powerpoint/2010/main" val="212851622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1_Two Column Bullet text">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243EEFD7-7823-20FE-9267-CC95C9CC7F8E}"/>
              </a:ext>
            </a:extLst>
          </p:cNvPr>
          <p:cNvGrpSpPr/>
          <p:nvPr userDrawn="1"/>
        </p:nvGrpSpPr>
        <p:grpSpPr>
          <a:xfrm>
            <a:off x="11207931" y="114223"/>
            <a:ext cx="984069" cy="1526510"/>
            <a:chOff x="11207931" y="114223"/>
            <a:chExt cx="984069" cy="1526510"/>
          </a:xfrm>
        </p:grpSpPr>
        <p:sp>
          <p:nvSpPr>
            <p:cNvPr id="4" name="Freeform 3">
              <a:extLst>
                <a:ext uri="{FF2B5EF4-FFF2-40B4-BE49-F238E27FC236}">
                  <a16:creationId xmlns:a16="http://schemas.microsoft.com/office/drawing/2014/main" id="{35283B6A-8DE6-5857-08F4-4B92A5C98120}"/>
                </a:ext>
              </a:extLst>
            </p:cNvPr>
            <p:cNvSpPr/>
            <p:nvPr/>
          </p:nvSpPr>
          <p:spPr bwMode="auto">
            <a:xfrm>
              <a:off x="11683516" y="209494"/>
              <a:ext cx="508484" cy="1049410"/>
            </a:xfrm>
            <a:custGeom>
              <a:avLst/>
              <a:gdLst>
                <a:gd name="connsiteX0" fmla="*/ 508484 w 508484"/>
                <a:gd name="connsiteY0" fmla="*/ 0 h 1049410"/>
                <a:gd name="connsiteX1" fmla="*/ 508484 w 508484"/>
                <a:gd name="connsiteY1" fmla="*/ 1049410 h 1049410"/>
                <a:gd name="connsiteX2" fmla="*/ 420411 w 508484"/>
                <a:gd name="connsiteY2" fmla="*/ 1040532 h 1049410"/>
                <a:gd name="connsiteX3" fmla="*/ 0 w 508484"/>
                <a:gd name="connsiteY3" fmla="*/ 524705 h 1049410"/>
                <a:gd name="connsiteX4" fmla="*/ 420411 w 508484"/>
                <a:gd name="connsiteY4" fmla="*/ 8878 h 1049410"/>
                <a:gd name="connsiteX5" fmla="*/ 508484 w 508484"/>
                <a:gd name="connsiteY5" fmla="*/ 0 h 1049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8484" h="1049410">
                  <a:moveTo>
                    <a:pt x="508484" y="0"/>
                  </a:moveTo>
                  <a:lnTo>
                    <a:pt x="508484" y="1049410"/>
                  </a:lnTo>
                  <a:lnTo>
                    <a:pt x="420411" y="1040532"/>
                  </a:lnTo>
                  <a:cubicBezTo>
                    <a:pt x="180483" y="991436"/>
                    <a:pt x="0" y="779147"/>
                    <a:pt x="0" y="524705"/>
                  </a:cubicBezTo>
                  <a:cubicBezTo>
                    <a:pt x="0" y="270263"/>
                    <a:pt x="180483" y="57975"/>
                    <a:pt x="420411" y="8878"/>
                  </a:cubicBezTo>
                  <a:lnTo>
                    <a:pt x="508484" y="0"/>
                  </a:lnTo>
                  <a:close/>
                </a:path>
              </a:pathLst>
            </a:custGeom>
            <a:solidFill>
              <a:schemeClr val="accent5">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7" name="Freeform 6">
              <a:extLst>
                <a:ext uri="{FF2B5EF4-FFF2-40B4-BE49-F238E27FC236}">
                  <a16:creationId xmlns:a16="http://schemas.microsoft.com/office/drawing/2014/main" id="{AB6464FB-E6A2-5622-166E-621C960A69EA}"/>
                </a:ext>
              </a:extLst>
            </p:cNvPr>
            <p:cNvSpPr/>
            <p:nvPr/>
          </p:nvSpPr>
          <p:spPr>
            <a:xfrm>
              <a:off x="11593087" y="114223"/>
              <a:ext cx="598913" cy="1253024"/>
            </a:xfrm>
            <a:custGeom>
              <a:avLst/>
              <a:gdLst>
                <a:gd name="connsiteX0" fmla="*/ 579415 w 733022"/>
                <a:gd name="connsiteY0" fmla="*/ 1154516 h 1533601"/>
                <a:gd name="connsiteX1" fmla="*/ 654140 w 733022"/>
                <a:gd name="connsiteY1" fmla="*/ 1182331 h 1533601"/>
                <a:gd name="connsiteX2" fmla="*/ 733022 w 733022"/>
                <a:gd name="connsiteY2" fmla="*/ 1195890 h 1533601"/>
                <a:gd name="connsiteX3" fmla="*/ 733022 w 733022"/>
                <a:gd name="connsiteY3" fmla="*/ 1519078 h 1533601"/>
                <a:gd name="connsiteX4" fmla="*/ 728849 w 733022"/>
                <a:gd name="connsiteY4" fmla="*/ 1528684 h 1533601"/>
                <a:gd name="connsiteX5" fmla="*/ 715183 w 733022"/>
                <a:gd name="connsiteY5" fmla="*/ 1533561 h 1533601"/>
                <a:gd name="connsiteX6" fmla="*/ 427500 w 733022"/>
                <a:gd name="connsiteY6" fmla="*/ 1456569 h 1533601"/>
                <a:gd name="connsiteX7" fmla="*/ 427481 w 733022"/>
                <a:gd name="connsiteY7" fmla="*/ 1456569 h 1533601"/>
                <a:gd name="connsiteX8" fmla="*/ 419765 w 733022"/>
                <a:gd name="connsiteY8" fmla="*/ 1431112 h 1533601"/>
                <a:gd name="connsiteX9" fmla="*/ 409753 w 733022"/>
                <a:gd name="connsiteY9" fmla="*/ 1009571 h 1533601"/>
                <a:gd name="connsiteX10" fmla="*/ 524291 w 733022"/>
                <a:gd name="connsiteY10" fmla="*/ 1122789 h 1533601"/>
                <a:gd name="connsiteX11" fmla="*/ 364754 w 733022"/>
                <a:gd name="connsiteY11" fmla="*/ 1399179 h 1533601"/>
                <a:gd name="connsiteX12" fmla="*/ 338820 w 733022"/>
                <a:gd name="connsiteY12" fmla="*/ 1405185 h 1533601"/>
                <a:gd name="connsiteX13" fmla="*/ 128318 w 733022"/>
                <a:gd name="connsiteY13" fmla="*/ 1194584 h 1533601"/>
                <a:gd name="connsiteX14" fmla="*/ 134321 w 733022"/>
                <a:gd name="connsiteY14" fmla="*/ 1168637 h 1533601"/>
                <a:gd name="connsiteX15" fmla="*/ 18202 w 733022"/>
                <a:gd name="connsiteY15" fmla="*/ 798631 h 1533601"/>
                <a:gd name="connsiteX16" fmla="*/ 333739 w 733022"/>
                <a:gd name="connsiteY16" fmla="*/ 798631 h 1533601"/>
                <a:gd name="connsiteX17" fmla="*/ 377363 w 733022"/>
                <a:gd name="connsiteY17" fmla="*/ 954723 h 1533601"/>
                <a:gd name="connsiteX18" fmla="*/ 102441 w 733022"/>
                <a:gd name="connsiteY18" fmla="*/ 1113544 h 1533601"/>
                <a:gd name="connsiteX19" fmla="*/ 76996 w 733022"/>
                <a:gd name="connsiteY19" fmla="*/ 1105824 h 1533601"/>
                <a:gd name="connsiteX20" fmla="*/ 41 w 733022"/>
                <a:gd name="connsiteY20" fmla="*/ 818081 h 1533601"/>
                <a:gd name="connsiteX21" fmla="*/ 18202 w 733022"/>
                <a:gd name="connsiteY21" fmla="*/ 798631 h 1533601"/>
                <a:gd name="connsiteX22" fmla="*/ 733022 w 733022"/>
                <a:gd name="connsiteY22" fmla="*/ 440947 h 1533601"/>
                <a:gd name="connsiteX23" fmla="*/ 733022 w 733022"/>
                <a:gd name="connsiteY23" fmla="*/ 627192 h 1533601"/>
                <a:gd name="connsiteX24" fmla="*/ 694597 w 733022"/>
                <a:gd name="connsiteY24" fmla="*/ 638681 h 1533601"/>
                <a:gd name="connsiteX25" fmla="*/ 618391 w 733022"/>
                <a:gd name="connsiteY25" fmla="*/ 748942 h 1533601"/>
                <a:gd name="connsiteX26" fmla="*/ 699416 w 733022"/>
                <a:gd name="connsiteY26" fmla="*/ 889231 h 1533601"/>
                <a:gd name="connsiteX27" fmla="*/ 733022 w 733022"/>
                <a:gd name="connsiteY27" fmla="*/ 896448 h 1533601"/>
                <a:gd name="connsiteX28" fmla="*/ 733022 w 733022"/>
                <a:gd name="connsiteY28" fmla="*/ 1083871 h 1533601"/>
                <a:gd name="connsiteX29" fmla="*/ 691051 w 733022"/>
                <a:gd name="connsiteY29" fmla="*/ 1079617 h 1533601"/>
                <a:gd name="connsiteX30" fmla="*/ 433014 w 733022"/>
                <a:gd name="connsiteY30" fmla="*/ 761820 h 1533601"/>
                <a:gd name="connsiteX31" fmla="*/ 678170 w 733022"/>
                <a:gd name="connsiteY31" fmla="*/ 449027 h 1533601"/>
                <a:gd name="connsiteX32" fmla="*/ 88045 w 733022"/>
                <a:gd name="connsiteY32" fmla="*/ 418365 h 1533601"/>
                <a:gd name="connsiteX33" fmla="*/ 102441 w 733022"/>
                <a:gd name="connsiteY33" fmla="*/ 420020 h 1533601"/>
                <a:gd name="connsiteX34" fmla="*/ 372960 w 733022"/>
                <a:gd name="connsiteY34" fmla="*/ 576281 h 1533601"/>
                <a:gd name="connsiteX35" fmla="*/ 332873 w 733022"/>
                <a:gd name="connsiteY35" fmla="*/ 734971 h 1533601"/>
                <a:gd name="connsiteX36" fmla="*/ 18202 w 733022"/>
                <a:gd name="connsiteY36" fmla="*/ 734971 h 1533601"/>
                <a:gd name="connsiteX37" fmla="*/ 41 w 733022"/>
                <a:gd name="connsiteY37" fmla="*/ 715520 h 1533601"/>
                <a:gd name="connsiteX38" fmla="*/ 76996 w 733022"/>
                <a:gd name="connsiteY38" fmla="*/ 427739 h 1533601"/>
                <a:gd name="connsiteX39" fmla="*/ 88045 w 733022"/>
                <a:gd name="connsiteY39" fmla="*/ 418365 h 1533601"/>
                <a:gd name="connsiteX40" fmla="*/ 353092 w 733022"/>
                <a:gd name="connsiteY40" fmla="*/ 125773 h 1533601"/>
                <a:gd name="connsiteX41" fmla="*/ 364754 w 733022"/>
                <a:gd name="connsiteY41" fmla="*/ 134404 h 1533601"/>
                <a:gd name="connsiteX42" fmla="*/ 519455 w 733022"/>
                <a:gd name="connsiteY42" fmla="*/ 402471 h 1533601"/>
                <a:gd name="connsiteX43" fmla="*/ 404069 w 733022"/>
                <a:gd name="connsiteY43" fmla="*/ 520735 h 1533601"/>
                <a:gd name="connsiteX44" fmla="*/ 134359 w 733022"/>
                <a:gd name="connsiteY44" fmla="*/ 364945 h 1533601"/>
                <a:gd name="connsiteX45" fmla="*/ 128356 w 733022"/>
                <a:gd name="connsiteY45" fmla="*/ 338999 h 1533601"/>
                <a:gd name="connsiteX46" fmla="*/ 338820 w 733022"/>
                <a:gd name="connsiteY46" fmla="*/ 128398 h 1533601"/>
                <a:gd name="connsiteX47" fmla="*/ 353092 w 733022"/>
                <a:gd name="connsiteY47" fmla="*/ 125773 h 1533601"/>
                <a:gd name="connsiteX48" fmla="*/ 715183 w 733022"/>
                <a:gd name="connsiteY48" fmla="*/ 41 h 1533601"/>
                <a:gd name="connsiteX49" fmla="*/ 715202 w 733022"/>
                <a:gd name="connsiteY49" fmla="*/ 41 h 1533601"/>
                <a:gd name="connsiteX50" fmla="*/ 728860 w 733022"/>
                <a:gd name="connsiteY50" fmla="*/ 4910 h 1533601"/>
                <a:gd name="connsiteX51" fmla="*/ 733022 w 733022"/>
                <a:gd name="connsiteY51" fmla="*/ 14482 h 1533601"/>
                <a:gd name="connsiteX52" fmla="*/ 733022 w 733022"/>
                <a:gd name="connsiteY52" fmla="*/ 325990 h 1533601"/>
                <a:gd name="connsiteX53" fmla="*/ 651303 w 733022"/>
                <a:gd name="connsiteY53" fmla="*/ 340329 h 1533601"/>
                <a:gd name="connsiteX54" fmla="*/ 574202 w 733022"/>
                <a:gd name="connsiteY54" fmla="*/ 369991 h 1533601"/>
                <a:gd name="connsiteX55" fmla="*/ 419821 w 733022"/>
                <a:gd name="connsiteY55" fmla="*/ 102489 h 1533601"/>
                <a:gd name="connsiteX56" fmla="*/ 427538 w 733022"/>
                <a:gd name="connsiteY56" fmla="*/ 77032 h 1533601"/>
                <a:gd name="connsiteX57" fmla="*/ 715183 w 733022"/>
                <a:gd name="connsiteY57" fmla="*/ 41 h 1533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733022" h="1533601">
                  <a:moveTo>
                    <a:pt x="579415" y="1154516"/>
                  </a:moveTo>
                  <a:cubicBezTo>
                    <a:pt x="603213" y="1165954"/>
                    <a:pt x="628197" y="1175308"/>
                    <a:pt x="654140" y="1182331"/>
                  </a:cubicBezTo>
                  <a:lnTo>
                    <a:pt x="733022" y="1195890"/>
                  </a:lnTo>
                  <a:lnTo>
                    <a:pt x="733022" y="1519078"/>
                  </a:lnTo>
                  <a:lnTo>
                    <a:pt x="728849" y="1528684"/>
                  </a:lnTo>
                  <a:cubicBezTo>
                    <a:pt x="725303" y="1531998"/>
                    <a:pt x="720443" y="1533909"/>
                    <a:pt x="715183" y="1533561"/>
                  </a:cubicBezTo>
                  <a:cubicBezTo>
                    <a:pt x="612463" y="1526782"/>
                    <a:pt x="515258" y="1499819"/>
                    <a:pt x="427500" y="1456569"/>
                  </a:cubicBezTo>
                  <a:lnTo>
                    <a:pt x="427481" y="1456569"/>
                  </a:lnTo>
                  <a:cubicBezTo>
                    <a:pt x="418052" y="1451918"/>
                    <a:pt x="414495" y="1440226"/>
                    <a:pt x="419765" y="1431112"/>
                  </a:cubicBezTo>
                  <a:close/>
                  <a:moveTo>
                    <a:pt x="409753" y="1009571"/>
                  </a:moveTo>
                  <a:cubicBezTo>
                    <a:pt x="440580" y="1054045"/>
                    <a:pt x="479424" y="1092456"/>
                    <a:pt x="524291" y="1122789"/>
                  </a:cubicBezTo>
                  <a:lnTo>
                    <a:pt x="364754" y="1399179"/>
                  </a:lnTo>
                  <a:cubicBezTo>
                    <a:pt x="359484" y="1408311"/>
                    <a:pt x="347571" y="1411060"/>
                    <a:pt x="338820" y="1405185"/>
                  </a:cubicBezTo>
                  <a:cubicBezTo>
                    <a:pt x="255730" y="1349376"/>
                    <a:pt x="184100" y="1277751"/>
                    <a:pt x="128318" y="1194584"/>
                  </a:cubicBezTo>
                  <a:cubicBezTo>
                    <a:pt x="122446" y="1185828"/>
                    <a:pt x="125194" y="1173910"/>
                    <a:pt x="134321" y="1168637"/>
                  </a:cubicBezTo>
                  <a:close/>
                  <a:moveTo>
                    <a:pt x="18202" y="798631"/>
                  </a:moveTo>
                  <a:lnTo>
                    <a:pt x="333739" y="798631"/>
                  </a:lnTo>
                  <a:cubicBezTo>
                    <a:pt x="338462" y="854289"/>
                    <a:pt x="353650" y="906991"/>
                    <a:pt x="377363" y="954723"/>
                  </a:cubicBezTo>
                  <a:lnTo>
                    <a:pt x="102441" y="1113544"/>
                  </a:lnTo>
                  <a:cubicBezTo>
                    <a:pt x="93331" y="1118816"/>
                    <a:pt x="81644" y="1115258"/>
                    <a:pt x="76996" y="1105824"/>
                  </a:cubicBezTo>
                  <a:cubicBezTo>
                    <a:pt x="33766" y="1018063"/>
                    <a:pt x="6816" y="920849"/>
                    <a:pt x="41" y="818081"/>
                  </a:cubicBezTo>
                  <a:cubicBezTo>
                    <a:pt x="-656" y="807556"/>
                    <a:pt x="7682" y="798631"/>
                    <a:pt x="18202" y="798631"/>
                  </a:cubicBezTo>
                  <a:close/>
                  <a:moveTo>
                    <a:pt x="733022" y="440947"/>
                  </a:moveTo>
                  <a:lnTo>
                    <a:pt x="733022" y="627192"/>
                  </a:lnTo>
                  <a:lnTo>
                    <a:pt x="694597" y="638681"/>
                  </a:lnTo>
                  <a:cubicBezTo>
                    <a:pt x="652977" y="659505"/>
                    <a:pt x="623092" y="700871"/>
                    <a:pt x="618391" y="748942"/>
                  </a:cubicBezTo>
                  <a:cubicBezTo>
                    <a:pt x="612336" y="810922"/>
                    <a:pt x="647367" y="865710"/>
                    <a:pt x="699416" y="889231"/>
                  </a:cubicBezTo>
                  <a:lnTo>
                    <a:pt x="733022" y="896448"/>
                  </a:lnTo>
                  <a:lnTo>
                    <a:pt x="733022" y="1083871"/>
                  </a:lnTo>
                  <a:lnTo>
                    <a:pt x="691051" y="1079617"/>
                  </a:lnTo>
                  <a:cubicBezTo>
                    <a:pt x="543639" y="1049300"/>
                    <a:pt x="432521" y="918253"/>
                    <a:pt x="433014" y="761820"/>
                  </a:cubicBezTo>
                  <a:cubicBezTo>
                    <a:pt x="433475" y="612208"/>
                    <a:pt x="537754" y="484162"/>
                    <a:pt x="678170" y="449027"/>
                  </a:cubicBezTo>
                  <a:close/>
                  <a:moveTo>
                    <a:pt x="88045" y="418365"/>
                  </a:moveTo>
                  <a:cubicBezTo>
                    <a:pt x="92687" y="416955"/>
                    <a:pt x="97886" y="417384"/>
                    <a:pt x="102441" y="420020"/>
                  </a:cubicBezTo>
                  <a:lnTo>
                    <a:pt x="372960" y="576281"/>
                  </a:lnTo>
                  <a:cubicBezTo>
                    <a:pt x="350187" y="624934"/>
                    <a:pt x="336185" y="678503"/>
                    <a:pt x="332873" y="734971"/>
                  </a:cubicBezTo>
                  <a:lnTo>
                    <a:pt x="18202" y="734971"/>
                  </a:lnTo>
                  <a:cubicBezTo>
                    <a:pt x="7682" y="734971"/>
                    <a:pt x="-656" y="726045"/>
                    <a:pt x="41" y="715520"/>
                  </a:cubicBezTo>
                  <a:cubicBezTo>
                    <a:pt x="6816" y="612752"/>
                    <a:pt x="33766" y="515501"/>
                    <a:pt x="76996" y="427739"/>
                  </a:cubicBezTo>
                  <a:cubicBezTo>
                    <a:pt x="79320" y="423023"/>
                    <a:pt x="83404" y="419775"/>
                    <a:pt x="88045" y="418365"/>
                  </a:cubicBezTo>
                  <a:close/>
                  <a:moveTo>
                    <a:pt x="353092" y="125773"/>
                  </a:moveTo>
                  <a:cubicBezTo>
                    <a:pt x="357823" y="126868"/>
                    <a:pt x="362119" y="129838"/>
                    <a:pt x="364754" y="134404"/>
                  </a:cubicBezTo>
                  <a:lnTo>
                    <a:pt x="519455" y="402471"/>
                  </a:lnTo>
                  <a:cubicBezTo>
                    <a:pt x="473873" y="434122"/>
                    <a:pt x="434652" y="474359"/>
                    <a:pt x="404069" y="520735"/>
                  </a:cubicBezTo>
                  <a:lnTo>
                    <a:pt x="134359" y="364945"/>
                  </a:lnTo>
                  <a:cubicBezTo>
                    <a:pt x="125231" y="359673"/>
                    <a:pt x="122484" y="347754"/>
                    <a:pt x="128356" y="338999"/>
                  </a:cubicBezTo>
                  <a:cubicBezTo>
                    <a:pt x="184138" y="255869"/>
                    <a:pt x="255730" y="184244"/>
                    <a:pt x="338820" y="128398"/>
                  </a:cubicBezTo>
                  <a:cubicBezTo>
                    <a:pt x="343196" y="125460"/>
                    <a:pt x="348362" y="124679"/>
                    <a:pt x="353092" y="125773"/>
                  </a:cubicBezTo>
                  <a:close/>
                  <a:moveTo>
                    <a:pt x="715183" y="41"/>
                  </a:moveTo>
                  <a:lnTo>
                    <a:pt x="715202" y="41"/>
                  </a:lnTo>
                  <a:cubicBezTo>
                    <a:pt x="720453" y="-308"/>
                    <a:pt x="725313" y="1599"/>
                    <a:pt x="728860" y="4910"/>
                  </a:cubicBezTo>
                  <a:lnTo>
                    <a:pt x="733022" y="14482"/>
                  </a:lnTo>
                  <a:lnTo>
                    <a:pt x="733022" y="325990"/>
                  </a:lnTo>
                  <a:lnTo>
                    <a:pt x="651303" y="340329"/>
                  </a:lnTo>
                  <a:cubicBezTo>
                    <a:pt x="624470" y="347792"/>
                    <a:pt x="598678" y="357762"/>
                    <a:pt x="574202" y="369991"/>
                  </a:cubicBezTo>
                  <a:lnTo>
                    <a:pt x="419821" y="102489"/>
                  </a:lnTo>
                  <a:cubicBezTo>
                    <a:pt x="414552" y="93357"/>
                    <a:pt x="418090" y="81683"/>
                    <a:pt x="427538" y="77032"/>
                  </a:cubicBezTo>
                  <a:cubicBezTo>
                    <a:pt x="515258" y="33801"/>
                    <a:pt x="612463" y="6819"/>
                    <a:pt x="715183" y="41"/>
                  </a:cubicBezTo>
                  <a:close/>
                </a:path>
              </a:pathLst>
            </a:custGeom>
            <a:gradFill>
              <a:gsLst>
                <a:gs pos="6000">
                  <a:srgbClr val="FF9248">
                    <a:alpha val="34000"/>
                  </a:srgbClr>
                </a:gs>
                <a:gs pos="77000">
                  <a:schemeClr val="accent4">
                    <a:alpha val="29000"/>
                  </a:schemeClr>
                </a:gs>
              </a:gsLst>
              <a:lin ang="3343960" scaled="1"/>
            </a:gradFill>
            <a:ln w="5992" cap="flat">
              <a:noFill/>
              <a:prstDash val="solid"/>
              <a:miter/>
            </a:ln>
          </p:spPr>
          <p:txBody>
            <a:bodyPr wrap="square" rtlCol="0" anchor="ctr">
              <a:noAutofit/>
            </a:bodyPr>
            <a:lstStyle/>
            <a:p>
              <a:endParaRPr lang="en-US"/>
            </a:p>
          </p:txBody>
        </p:sp>
        <p:sp>
          <p:nvSpPr>
            <p:cNvPr id="8" name="Donut 7">
              <a:extLst>
                <a:ext uri="{FF2B5EF4-FFF2-40B4-BE49-F238E27FC236}">
                  <a16:creationId xmlns:a16="http://schemas.microsoft.com/office/drawing/2014/main" id="{0F7C416D-805C-DD02-0EE6-47278DC893F6}"/>
                </a:ext>
              </a:extLst>
            </p:cNvPr>
            <p:cNvSpPr/>
            <p:nvPr/>
          </p:nvSpPr>
          <p:spPr bwMode="auto">
            <a:xfrm>
              <a:off x="11207931" y="1255577"/>
              <a:ext cx="385156" cy="385156"/>
            </a:xfrm>
            <a:prstGeom prst="donut">
              <a:avLst/>
            </a:prstGeom>
            <a:gradFill>
              <a:gsLst>
                <a:gs pos="6000">
                  <a:srgbClr val="FF9248">
                    <a:alpha val="34000"/>
                  </a:srgbClr>
                </a:gs>
                <a:gs pos="77000">
                  <a:schemeClr val="accent4">
                    <a:alpha val="29000"/>
                  </a:schemeClr>
                </a:gs>
              </a:gsLst>
              <a:lin ang="3343960" scaled="1"/>
            </a:gradFill>
            <a:ln w="5992" cap="flat">
              <a:noFill/>
              <a:prstDash val="solid"/>
              <a:miter/>
            </a:ln>
          </p:spPr>
          <p:txBody>
            <a:bodyPr wrap="square" rtlCol="0" anchor="ctr">
              <a:noAutofit/>
            </a:bodyPr>
            <a:lstStyle/>
            <a:p>
              <a:endParaRPr lang="en-US" err="1">
                <a:solidFill>
                  <a:schemeClr val="tx1"/>
                </a:solidFill>
              </a:endParaRPr>
            </a:p>
          </p:txBody>
        </p:sp>
      </p:grpSp>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8208514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Layout 5">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EB57A00-8583-36F6-81D5-7D9997C22381}"/>
              </a:ext>
            </a:extLst>
          </p:cNvPr>
          <p:cNvSpPr/>
          <p:nvPr userDrawn="1"/>
        </p:nvSpPr>
        <p:spPr>
          <a:xfrm>
            <a:off x="0" y="1"/>
            <a:ext cx="12192000" cy="1219199"/>
          </a:xfrm>
          <a:prstGeom prst="rect">
            <a:avLst/>
          </a:prstGeom>
          <a:gradFill flip="none" rotWithShape="1">
            <a:gsLst>
              <a:gs pos="97000">
                <a:schemeClr val="accent3">
                  <a:lumMod val="50000"/>
                </a:schemeClr>
              </a:gs>
              <a:gs pos="0">
                <a:schemeClr val="tx1"/>
              </a:gs>
            </a:gsLst>
            <a:lin ang="0" scaled="1"/>
            <a:tileRect/>
          </a:gra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6" name="Title 1">
            <a:extLst>
              <a:ext uri="{FF2B5EF4-FFF2-40B4-BE49-F238E27FC236}">
                <a16:creationId xmlns:a16="http://schemas.microsoft.com/office/drawing/2014/main" id="{285E62E7-0D93-1BAB-0011-928CC89A92AF}"/>
              </a:ext>
            </a:extLst>
          </p:cNvPr>
          <p:cNvSpPr>
            <a:spLocks noGrp="1"/>
          </p:cNvSpPr>
          <p:nvPr>
            <p:ph type="title"/>
          </p:nvPr>
        </p:nvSpPr>
        <p:spPr>
          <a:xfrm>
            <a:off x="588263" y="457200"/>
            <a:ext cx="11018520" cy="553998"/>
          </a:xfrm>
        </p:spPr>
        <p:txBody>
          <a:bodyPr anchor="ctr"/>
          <a:lstStyle>
            <a:lvl1pPr>
              <a:defRPr>
                <a:solidFill>
                  <a:schemeClr val="bg1"/>
                </a:solidFill>
              </a:defRPr>
            </a:lvl1pPr>
          </a:lstStyle>
          <a:p>
            <a:r>
              <a:rPr lang="en-US"/>
              <a:t>Click to edit</a:t>
            </a:r>
          </a:p>
        </p:txBody>
      </p:sp>
      <p:sp>
        <p:nvSpPr>
          <p:cNvPr id="11" name="Text Placeholder 11">
            <a:extLst>
              <a:ext uri="{FF2B5EF4-FFF2-40B4-BE49-F238E27FC236}">
                <a16:creationId xmlns:a16="http://schemas.microsoft.com/office/drawing/2014/main" id="{A954E92F-1911-7F32-32EE-79FBA1AF227E}"/>
              </a:ext>
            </a:extLst>
          </p:cNvPr>
          <p:cNvSpPr>
            <a:spLocks noGrp="1"/>
          </p:cNvSpPr>
          <p:nvPr>
            <p:ph type="body" sz="quarter" idx="22" hasCustomPrompt="1"/>
          </p:nvPr>
        </p:nvSpPr>
        <p:spPr>
          <a:xfrm>
            <a:off x="586805" y="1366531"/>
            <a:ext cx="3535744" cy="369332"/>
          </a:xfrm>
          <a:prstGeom prst="rect">
            <a:avLst/>
          </a:prstGeom>
        </p:spPr>
        <p:txBody>
          <a:bodyPr anchor="t"/>
          <a:lstStyle>
            <a:lvl1pPr marL="0" indent="0">
              <a:spcBef>
                <a:spcPts val="0"/>
              </a:spcBef>
              <a:buNone/>
              <a:defRPr sz="2400">
                <a:solidFill>
                  <a:schemeClr val="tx1"/>
                </a:solidFill>
                <a:latin typeface="+mj-lt"/>
              </a:defRPr>
            </a:lvl1pPr>
          </a:lstStyle>
          <a:p>
            <a:pPr lvl="0"/>
            <a:r>
              <a:rPr lang="en-US"/>
              <a:t>Segoe UI </a:t>
            </a:r>
            <a:r>
              <a:rPr lang="en-US" err="1"/>
              <a:t>Semibold</a:t>
            </a:r>
            <a:endParaRPr lang="en-US"/>
          </a:p>
        </p:txBody>
      </p:sp>
      <p:sp>
        <p:nvSpPr>
          <p:cNvPr id="12" name="Text Placeholder 9">
            <a:extLst>
              <a:ext uri="{FF2B5EF4-FFF2-40B4-BE49-F238E27FC236}">
                <a16:creationId xmlns:a16="http://schemas.microsoft.com/office/drawing/2014/main" id="{212D2888-3206-B30A-C3C0-47E472ED3AEE}"/>
              </a:ext>
            </a:extLst>
          </p:cNvPr>
          <p:cNvSpPr>
            <a:spLocks noGrp="1"/>
          </p:cNvSpPr>
          <p:nvPr>
            <p:ph type="body" sz="quarter" idx="23" hasCustomPrompt="1"/>
          </p:nvPr>
        </p:nvSpPr>
        <p:spPr>
          <a:xfrm>
            <a:off x="586805" y="1863772"/>
            <a:ext cx="3533529" cy="1138773"/>
          </a:xfrm>
          <a:prstGeom prst="rect">
            <a:avLst/>
          </a:prstGeom>
        </p:spPr>
        <p:txBody>
          <a:bodyPr wrap="square">
            <a:spAutoFit/>
          </a:bodyPr>
          <a:lstStyle>
            <a:lvl1pPr marL="0" indent="0">
              <a:buNone/>
              <a:defRPr lang="en-US" sz="1800" dirty="0"/>
            </a:lvl1pPr>
            <a:lvl2pPr marL="285750" indent="-125413">
              <a:defRPr lang="en-US" sz="2000" dirty="0"/>
            </a:lvl2pPr>
            <a:lvl3pPr marL="438150" indent="-133350">
              <a:defRPr lang="en-US" dirty="0"/>
            </a:lvl3pPr>
            <a:lvl4pPr marL="566738" indent="-114300">
              <a:defRPr lang="en-US" dirty="0"/>
            </a:lvl4pPr>
            <a:lvl5pPr marL="685800" indent="-109538">
              <a:defRPr lang="en-US" dirty="0"/>
            </a:lvl5pPr>
          </a:lstStyle>
          <a:p>
            <a:pPr lvl="1"/>
            <a:r>
              <a:rPr lang="en-US"/>
              <a:t>Segoe UI, size 20</a:t>
            </a:r>
          </a:p>
          <a:p>
            <a:pPr lvl="2"/>
            <a:r>
              <a:rPr lang="en-US"/>
              <a:t>Segoe UI, size 18</a:t>
            </a:r>
          </a:p>
          <a:p>
            <a:pPr lvl="3"/>
            <a:r>
              <a:rPr lang="en-US"/>
              <a:t>Segoe UI, size 16</a:t>
            </a:r>
          </a:p>
        </p:txBody>
      </p:sp>
      <p:sp>
        <p:nvSpPr>
          <p:cNvPr id="13" name="Text Placeholder 11">
            <a:extLst>
              <a:ext uri="{FF2B5EF4-FFF2-40B4-BE49-F238E27FC236}">
                <a16:creationId xmlns:a16="http://schemas.microsoft.com/office/drawing/2014/main" id="{2E24DC43-46DA-027E-B327-54574039A0E1}"/>
              </a:ext>
            </a:extLst>
          </p:cNvPr>
          <p:cNvSpPr>
            <a:spLocks noGrp="1"/>
          </p:cNvSpPr>
          <p:nvPr>
            <p:ph type="body" sz="quarter" idx="24" hasCustomPrompt="1"/>
          </p:nvPr>
        </p:nvSpPr>
        <p:spPr>
          <a:xfrm>
            <a:off x="4328128" y="1366531"/>
            <a:ext cx="3535744" cy="369332"/>
          </a:xfrm>
          <a:prstGeom prst="rect">
            <a:avLst/>
          </a:prstGeom>
        </p:spPr>
        <p:txBody>
          <a:bodyPr anchor="t"/>
          <a:lstStyle>
            <a:lvl1pPr marL="0" indent="0">
              <a:spcBef>
                <a:spcPts val="0"/>
              </a:spcBef>
              <a:buNone/>
              <a:defRPr sz="2400">
                <a:solidFill>
                  <a:schemeClr val="tx1"/>
                </a:solidFill>
                <a:latin typeface="+mj-lt"/>
              </a:defRPr>
            </a:lvl1pPr>
          </a:lstStyle>
          <a:p>
            <a:pPr lvl="0"/>
            <a:r>
              <a:rPr lang="en-US"/>
              <a:t>Segoe UI </a:t>
            </a:r>
            <a:r>
              <a:rPr lang="en-US" err="1"/>
              <a:t>Semibold</a:t>
            </a:r>
            <a:endParaRPr lang="en-US"/>
          </a:p>
        </p:txBody>
      </p:sp>
      <p:sp>
        <p:nvSpPr>
          <p:cNvPr id="14" name="Text Placeholder 9">
            <a:extLst>
              <a:ext uri="{FF2B5EF4-FFF2-40B4-BE49-F238E27FC236}">
                <a16:creationId xmlns:a16="http://schemas.microsoft.com/office/drawing/2014/main" id="{7AD9A513-E2D7-82D3-56D9-7D0B425D8A26}"/>
              </a:ext>
            </a:extLst>
          </p:cNvPr>
          <p:cNvSpPr>
            <a:spLocks noGrp="1"/>
          </p:cNvSpPr>
          <p:nvPr>
            <p:ph type="body" sz="quarter" idx="25" hasCustomPrompt="1"/>
          </p:nvPr>
        </p:nvSpPr>
        <p:spPr>
          <a:xfrm>
            <a:off x="4328128" y="1863772"/>
            <a:ext cx="3533529" cy="1138773"/>
          </a:xfrm>
          <a:prstGeom prst="rect">
            <a:avLst/>
          </a:prstGeom>
        </p:spPr>
        <p:txBody>
          <a:bodyPr wrap="square">
            <a:spAutoFit/>
          </a:bodyPr>
          <a:lstStyle>
            <a:lvl1pPr marL="0" indent="0">
              <a:buNone/>
              <a:defRPr lang="en-US" sz="1800" dirty="0"/>
            </a:lvl1pPr>
            <a:lvl2pPr marL="285750" indent="-125413">
              <a:defRPr lang="en-US" sz="2000" dirty="0"/>
            </a:lvl2pPr>
            <a:lvl3pPr marL="438150" indent="-133350">
              <a:defRPr lang="en-US" dirty="0"/>
            </a:lvl3pPr>
            <a:lvl4pPr marL="566738" indent="-114300">
              <a:defRPr lang="en-US" dirty="0"/>
            </a:lvl4pPr>
            <a:lvl5pPr marL="685800" indent="-109538">
              <a:defRPr lang="en-US" dirty="0"/>
            </a:lvl5pPr>
          </a:lstStyle>
          <a:p>
            <a:pPr lvl="1"/>
            <a:r>
              <a:rPr lang="en-US"/>
              <a:t>Segoe UI, size 20</a:t>
            </a:r>
          </a:p>
          <a:p>
            <a:pPr lvl="2"/>
            <a:r>
              <a:rPr lang="en-US"/>
              <a:t>Segoe UI, size 18</a:t>
            </a:r>
          </a:p>
          <a:p>
            <a:pPr lvl="3"/>
            <a:r>
              <a:rPr lang="en-US"/>
              <a:t>Segoe UI, size 16</a:t>
            </a:r>
          </a:p>
        </p:txBody>
      </p:sp>
      <p:sp>
        <p:nvSpPr>
          <p:cNvPr id="15" name="Text Placeholder 11">
            <a:extLst>
              <a:ext uri="{FF2B5EF4-FFF2-40B4-BE49-F238E27FC236}">
                <a16:creationId xmlns:a16="http://schemas.microsoft.com/office/drawing/2014/main" id="{50C7C334-CC11-BC7B-C912-AE6A0D17E9A0}"/>
              </a:ext>
            </a:extLst>
          </p:cNvPr>
          <p:cNvSpPr>
            <a:spLocks noGrp="1"/>
          </p:cNvSpPr>
          <p:nvPr>
            <p:ph type="body" sz="quarter" idx="26" hasCustomPrompt="1"/>
          </p:nvPr>
        </p:nvSpPr>
        <p:spPr>
          <a:xfrm>
            <a:off x="8071666" y="1366531"/>
            <a:ext cx="3535744" cy="369332"/>
          </a:xfrm>
          <a:prstGeom prst="rect">
            <a:avLst/>
          </a:prstGeom>
        </p:spPr>
        <p:txBody>
          <a:bodyPr anchor="t"/>
          <a:lstStyle>
            <a:lvl1pPr marL="0" indent="0">
              <a:spcBef>
                <a:spcPts val="0"/>
              </a:spcBef>
              <a:buNone/>
              <a:defRPr sz="2400">
                <a:solidFill>
                  <a:schemeClr val="tx1"/>
                </a:solidFill>
                <a:latin typeface="+mj-lt"/>
              </a:defRPr>
            </a:lvl1pPr>
          </a:lstStyle>
          <a:p>
            <a:pPr lvl="0"/>
            <a:r>
              <a:rPr lang="en-US"/>
              <a:t>Segoe UI </a:t>
            </a:r>
            <a:r>
              <a:rPr lang="en-US" err="1"/>
              <a:t>Semibold</a:t>
            </a:r>
            <a:endParaRPr lang="en-US"/>
          </a:p>
        </p:txBody>
      </p:sp>
      <p:sp>
        <p:nvSpPr>
          <p:cNvPr id="16" name="Text Placeholder 9">
            <a:extLst>
              <a:ext uri="{FF2B5EF4-FFF2-40B4-BE49-F238E27FC236}">
                <a16:creationId xmlns:a16="http://schemas.microsoft.com/office/drawing/2014/main" id="{BBE12D5F-229C-EFD9-1C91-A8A4480271A3}"/>
              </a:ext>
            </a:extLst>
          </p:cNvPr>
          <p:cNvSpPr>
            <a:spLocks noGrp="1"/>
          </p:cNvSpPr>
          <p:nvPr>
            <p:ph type="body" sz="quarter" idx="27" hasCustomPrompt="1"/>
          </p:nvPr>
        </p:nvSpPr>
        <p:spPr>
          <a:xfrm>
            <a:off x="8071666" y="1863772"/>
            <a:ext cx="3533529" cy="1138773"/>
          </a:xfrm>
          <a:prstGeom prst="rect">
            <a:avLst/>
          </a:prstGeom>
        </p:spPr>
        <p:txBody>
          <a:bodyPr wrap="square">
            <a:spAutoFit/>
          </a:bodyPr>
          <a:lstStyle>
            <a:lvl1pPr marL="0" indent="0">
              <a:buNone/>
              <a:defRPr lang="en-US" sz="1800" dirty="0"/>
            </a:lvl1pPr>
            <a:lvl2pPr marL="285750" indent="-125413">
              <a:defRPr lang="en-US" sz="2000" dirty="0"/>
            </a:lvl2pPr>
            <a:lvl3pPr marL="438150" indent="-133350">
              <a:defRPr lang="en-US" dirty="0"/>
            </a:lvl3pPr>
            <a:lvl4pPr marL="566738" indent="-114300">
              <a:defRPr lang="en-US" dirty="0"/>
            </a:lvl4pPr>
            <a:lvl5pPr marL="685800" indent="-109538">
              <a:defRPr lang="en-US" dirty="0"/>
            </a:lvl5pPr>
          </a:lstStyle>
          <a:p>
            <a:pPr lvl="1"/>
            <a:r>
              <a:rPr lang="en-US"/>
              <a:t>Segoe UI, size 20</a:t>
            </a:r>
          </a:p>
          <a:p>
            <a:pPr lvl="2"/>
            <a:r>
              <a:rPr lang="en-US"/>
              <a:t>Segoe UI, size 18</a:t>
            </a:r>
          </a:p>
          <a:p>
            <a:pPr lvl="3"/>
            <a:r>
              <a:rPr lang="en-US"/>
              <a:t>Segoe UI, size 16</a:t>
            </a:r>
          </a:p>
        </p:txBody>
      </p:sp>
    </p:spTree>
    <p:extLst>
      <p:ext uri="{BB962C8B-B14F-4D97-AF65-F5344CB8AC3E}">
        <p14:creationId xmlns:p14="http://schemas.microsoft.com/office/powerpoint/2010/main" val="996271746"/>
      </p:ext>
    </p:extLst>
  </p:cSld>
  <p:clrMapOvr>
    <a:masterClrMapping/>
  </p:clrMapOvr>
  <p:transition>
    <p:fade/>
  </p:transition>
  <p:extLst>
    <p:ext uri="{DCECCB84-F9BA-43D5-87BE-67443E8EF086}">
      <p15:sldGuideLst xmlns:p15="http://schemas.microsoft.com/office/powerpoint/2012/main">
        <p15:guide id="3" orient="horz" pos="1162">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Layout 6">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AE06C96-A462-BBC6-B81B-0F13A17AE004}"/>
              </a:ext>
            </a:extLst>
          </p:cNvPr>
          <p:cNvSpPr/>
          <p:nvPr userDrawn="1"/>
        </p:nvSpPr>
        <p:spPr>
          <a:xfrm>
            <a:off x="0" y="1"/>
            <a:ext cx="12192000" cy="1219199"/>
          </a:xfrm>
          <a:prstGeom prst="rect">
            <a:avLst/>
          </a:prstGeom>
          <a:gradFill flip="none" rotWithShape="1">
            <a:gsLst>
              <a:gs pos="97000">
                <a:schemeClr val="accent3">
                  <a:lumMod val="50000"/>
                </a:schemeClr>
              </a:gs>
              <a:gs pos="0">
                <a:schemeClr val="tx1"/>
              </a:gs>
            </a:gsLst>
            <a:lin ang="0" scaled="1"/>
            <a:tileRect/>
          </a:gra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9073132" y="1465385"/>
            <a:ext cx="2573843" cy="738664"/>
          </a:xfrm>
          <a:prstGeom prst="rect">
            <a:avLst/>
          </a:prstGeom>
        </p:spPr>
        <p:txBody>
          <a:bodyPr anchor="t"/>
          <a:lstStyle>
            <a:lvl1pPr marL="0" indent="0">
              <a:spcBef>
                <a:spcPts val="0"/>
              </a:spcBef>
              <a:buNone/>
              <a:defRPr sz="2400">
                <a:solidFill>
                  <a:schemeClr val="tx1"/>
                </a:solidFill>
                <a:latin typeface="+mj-lt"/>
              </a:defRPr>
            </a:lvl1pPr>
          </a:lstStyle>
          <a:p>
            <a:pPr lvl="0"/>
            <a:r>
              <a:rPr lang="en-US"/>
              <a:t>Segoe UI </a:t>
            </a:r>
            <a:r>
              <a:rPr lang="en-US" err="1"/>
              <a:t>Semibold</a:t>
            </a:r>
            <a:endParaRPr lang="en-US"/>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hasCustomPrompt="1"/>
          </p:nvPr>
        </p:nvSpPr>
        <p:spPr>
          <a:xfrm>
            <a:off x="9073133" y="2303585"/>
            <a:ext cx="2573842" cy="1138773"/>
          </a:xfrm>
          <a:prstGeom prst="rect">
            <a:avLst/>
          </a:prstGeom>
        </p:spPr>
        <p:txBody>
          <a:bodyPr wrap="square">
            <a:spAutoFit/>
          </a:bodyPr>
          <a:lstStyle>
            <a:lvl1pPr marL="0" indent="0">
              <a:buNone/>
              <a:defRPr lang="en-US" sz="1800" dirty="0"/>
            </a:lvl1pPr>
            <a:lvl2pPr marL="285750" indent="-125413">
              <a:defRPr lang="en-US" sz="2000" dirty="0"/>
            </a:lvl2pPr>
            <a:lvl3pPr marL="438150" indent="-133350">
              <a:defRPr lang="en-US" dirty="0"/>
            </a:lvl3pPr>
            <a:lvl4pPr marL="566738" indent="-114300">
              <a:defRPr lang="en-US" dirty="0"/>
            </a:lvl4pPr>
            <a:lvl5pPr marL="685800" indent="-109538">
              <a:defRPr lang="en-US" dirty="0"/>
            </a:lvl5pPr>
          </a:lstStyle>
          <a:p>
            <a:pPr lvl="1"/>
            <a:r>
              <a:rPr lang="en-US"/>
              <a:t>Segoe UI, size 20</a:t>
            </a:r>
          </a:p>
          <a:p>
            <a:pPr lvl="2"/>
            <a:r>
              <a:rPr lang="en-US"/>
              <a:t>Segoe UI, size 18</a:t>
            </a:r>
          </a:p>
          <a:p>
            <a:pPr lvl="3"/>
            <a:r>
              <a:rPr lang="en-US"/>
              <a:t>Segoe UI, size 16</a:t>
            </a:r>
          </a:p>
        </p:txBody>
      </p:sp>
      <p:sp>
        <p:nvSpPr>
          <p:cNvPr id="6" name="Title 1">
            <a:extLst>
              <a:ext uri="{FF2B5EF4-FFF2-40B4-BE49-F238E27FC236}">
                <a16:creationId xmlns:a16="http://schemas.microsoft.com/office/drawing/2014/main" id="{C12DA74A-BB65-A229-B8C5-11C9B9C28B57}"/>
              </a:ext>
            </a:extLst>
          </p:cNvPr>
          <p:cNvSpPr>
            <a:spLocks noGrp="1"/>
          </p:cNvSpPr>
          <p:nvPr>
            <p:ph type="title"/>
          </p:nvPr>
        </p:nvSpPr>
        <p:spPr>
          <a:xfrm>
            <a:off x="588263" y="457200"/>
            <a:ext cx="11018520" cy="553998"/>
          </a:xfrm>
        </p:spPr>
        <p:txBody>
          <a:bodyPr anchor="ctr"/>
          <a:lstStyle>
            <a:lvl1pPr>
              <a:defRPr>
                <a:solidFill>
                  <a:schemeClr val="bg1"/>
                </a:solidFill>
              </a:defRPr>
            </a:lvl1pPr>
          </a:lstStyle>
          <a:p>
            <a:r>
              <a:rPr lang="en-US"/>
              <a:t>Click to edit</a:t>
            </a:r>
          </a:p>
        </p:txBody>
      </p:sp>
      <p:sp>
        <p:nvSpPr>
          <p:cNvPr id="8" name="Text Placeholder 11">
            <a:extLst>
              <a:ext uri="{FF2B5EF4-FFF2-40B4-BE49-F238E27FC236}">
                <a16:creationId xmlns:a16="http://schemas.microsoft.com/office/drawing/2014/main" id="{681294FB-7087-B362-D2C6-ED62D198337B}"/>
              </a:ext>
            </a:extLst>
          </p:cNvPr>
          <p:cNvSpPr>
            <a:spLocks noGrp="1"/>
          </p:cNvSpPr>
          <p:nvPr>
            <p:ph type="body" sz="quarter" idx="22" hasCustomPrompt="1"/>
          </p:nvPr>
        </p:nvSpPr>
        <p:spPr>
          <a:xfrm>
            <a:off x="6244208" y="1465385"/>
            <a:ext cx="2533650" cy="738664"/>
          </a:xfrm>
          <a:prstGeom prst="rect">
            <a:avLst/>
          </a:prstGeom>
        </p:spPr>
        <p:txBody>
          <a:bodyPr anchor="t"/>
          <a:lstStyle>
            <a:lvl1pPr marL="0" indent="0">
              <a:spcBef>
                <a:spcPts val="0"/>
              </a:spcBef>
              <a:buNone/>
              <a:defRPr sz="2400">
                <a:solidFill>
                  <a:schemeClr val="tx1"/>
                </a:solidFill>
                <a:latin typeface="+mj-lt"/>
              </a:defRPr>
            </a:lvl1pPr>
          </a:lstStyle>
          <a:p>
            <a:pPr lvl="0"/>
            <a:r>
              <a:rPr lang="en-US"/>
              <a:t>Segoe UI </a:t>
            </a:r>
            <a:r>
              <a:rPr lang="en-US" err="1"/>
              <a:t>Semibold</a:t>
            </a:r>
            <a:endParaRPr lang="en-US"/>
          </a:p>
        </p:txBody>
      </p:sp>
      <p:sp>
        <p:nvSpPr>
          <p:cNvPr id="9" name="Text Placeholder 9">
            <a:extLst>
              <a:ext uri="{FF2B5EF4-FFF2-40B4-BE49-F238E27FC236}">
                <a16:creationId xmlns:a16="http://schemas.microsoft.com/office/drawing/2014/main" id="{5FE2534D-3DCB-3714-BFBA-D3078EEE8DF6}"/>
              </a:ext>
            </a:extLst>
          </p:cNvPr>
          <p:cNvSpPr>
            <a:spLocks noGrp="1"/>
          </p:cNvSpPr>
          <p:nvPr>
            <p:ph type="body" sz="quarter" idx="23" hasCustomPrompt="1"/>
          </p:nvPr>
        </p:nvSpPr>
        <p:spPr>
          <a:xfrm>
            <a:off x="6244208" y="2303585"/>
            <a:ext cx="2532063" cy="1138773"/>
          </a:xfrm>
          <a:prstGeom prst="rect">
            <a:avLst/>
          </a:prstGeom>
        </p:spPr>
        <p:txBody>
          <a:bodyPr wrap="square">
            <a:spAutoFit/>
          </a:bodyPr>
          <a:lstStyle>
            <a:lvl1pPr marL="0" indent="0">
              <a:buNone/>
              <a:defRPr lang="en-US" sz="1800" dirty="0"/>
            </a:lvl1pPr>
            <a:lvl2pPr marL="285750" indent="-125413">
              <a:defRPr lang="en-US" sz="2000" dirty="0"/>
            </a:lvl2pPr>
            <a:lvl3pPr marL="438150" indent="-133350">
              <a:defRPr lang="en-US" dirty="0"/>
            </a:lvl3pPr>
            <a:lvl4pPr marL="566738" indent="-114300">
              <a:defRPr lang="en-US" dirty="0"/>
            </a:lvl4pPr>
            <a:lvl5pPr marL="685800" indent="-109538">
              <a:defRPr lang="en-US" dirty="0"/>
            </a:lvl5pPr>
          </a:lstStyle>
          <a:p>
            <a:pPr lvl="1"/>
            <a:r>
              <a:rPr lang="en-US"/>
              <a:t>Segoe UI, size 20</a:t>
            </a:r>
          </a:p>
          <a:p>
            <a:pPr lvl="2"/>
            <a:r>
              <a:rPr lang="en-US"/>
              <a:t>Segoe UI, size 18</a:t>
            </a:r>
          </a:p>
          <a:p>
            <a:pPr lvl="3"/>
            <a:r>
              <a:rPr lang="en-US"/>
              <a:t>Segoe UI, size 16</a:t>
            </a:r>
          </a:p>
        </p:txBody>
      </p:sp>
      <p:sp>
        <p:nvSpPr>
          <p:cNvPr id="10" name="Text Placeholder 11">
            <a:extLst>
              <a:ext uri="{FF2B5EF4-FFF2-40B4-BE49-F238E27FC236}">
                <a16:creationId xmlns:a16="http://schemas.microsoft.com/office/drawing/2014/main" id="{C3559D52-66B7-16EF-0B73-01AA4E4F0452}"/>
              </a:ext>
            </a:extLst>
          </p:cNvPr>
          <p:cNvSpPr>
            <a:spLocks noGrp="1"/>
          </p:cNvSpPr>
          <p:nvPr>
            <p:ph type="body" sz="quarter" idx="24" hasCustomPrompt="1"/>
          </p:nvPr>
        </p:nvSpPr>
        <p:spPr>
          <a:xfrm>
            <a:off x="3411538" y="1465385"/>
            <a:ext cx="2533650" cy="738664"/>
          </a:xfrm>
          <a:prstGeom prst="rect">
            <a:avLst/>
          </a:prstGeom>
        </p:spPr>
        <p:txBody>
          <a:bodyPr anchor="t"/>
          <a:lstStyle>
            <a:lvl1pPr marL="0" indent="0">
              <a:spcBef>
                <a:spcPts val="0"/>
              </a:spcBef>
              <a:buNone/>
              <a:defRPr sz="2400">
                <a:solidFill>
                  <a:schemeClr val="tx1"/>
                </a:solidFill>
                <a:latin typeface="+mj-lt"/>
              </a:defRPr>
            </a:lvl1pPr>
          </a:lstStyle>
          <a:p>
            <a:pPr lvl="0"/>
            <a:r>
              <a:rPr lang="en-US"/>
              <a:t>Segoe UI </a:t>
            </a:r>
            <a:r>
              <a:rPr lang="en-US" err="1"/>
              <a:t>Semibold</a:t>
            </a:r>
            <a:endParaRPr lang="en-US"/>
          </a:p>
        </p:txBody>
      </p:sp>
      <p:sp>
        <p:nvSpPr>
          <p:cNvPr id="12" name="Text Placeholder 9">
            <a:extLst>
              <a:ext uri="{FF2B5EF4-FFF2-40B4-BE49-F238E27FC236}">
                <a16:creationId xmlns:a16="http://schemas.microsoft.com/office/drawing/2014/main" id="{38EF4A0A-9C3C-CB9D-5415-59A069A0791A}"/>
              </a:ext>
            </a:extLst>
          </p:cNvPr>
          <p:cNvSpPr>
            <a:spLocks noGrp="1"/>
          </p:cNvSpPr>
          <p:nvPr>
            <p:ph type="body" sz="quarter" idx="25" hasCustomPrompt="1"/>
          </p:nvPr>
        </p:nvSpPr>
        <p:spPr>
          <a:xfrm>
            <a:off x="3411538" y="2303585"/>
            <a:ext cx="2532063" cy="1138773"/>
          </a:xfrm>
          <a:prstGeom prst="rect">
            <a:avLst/>
          </a:prstGeom>
        </p:spPr>
        <p:txBody>
          <a:bodyPr wrap="square">
            <a:spAutoFit/>
          </a:bodyPr>
          <a:lstStyle>
            <a:lvl1pPr marL="0" indent="0">
              <a:buNone/>
              <a:defRPr lang="en-US" sz="1800" dirty="0"/>
            </a:lvl1pPr>
            <a:lvl2pPr marL="285750" indent="-125413">
              <a:defRPr lang="en-US" sz="2000" dirty="0"/>
            </a:lvl2pPr>
            <a:lvl3pPr marL="438150" indent="-133350">
              <a:defRPr lang="en-US" dirty="0"/>
            </a:lvl3pPr>
            <a:lvl4pPr marL="566738" indent="-114300">
              <a:defRPr lang="en-US" dirty="0"/>
            </a:lvl4pPr>
            <a:lvl5pPr marL="685800" indent="-109538">
              <a:defRPr lang="en-US" dirty="0"/>
            </a:lvl5pPr>
          </a:lstStyle>
          <a:p>
            <a:pPr lvl="1"/>
            <a:r>
              <a:rPr lang="en-US"/>
              <a:t>Segoe UI, size 20</a:t>
            </a:r>
          </a:p>
          <a:p>
            <a:pPr lvl="2"/>
            <a:r>
              <a:rPr lang="en-US"/>
              <a:t>Segoe UI, size 18</a:t>
            </a:r>
          </a:p>
          <a:p>
            <a:pPr lvl="3"/>
            <a:r>
              <a:rPr lang="en-US"/>
              <a:t>Segoe UI, size 16</a:t>
            </a:r>
          </a:p>
        </p:txBody>
      </p:sp>
      <p:sp>
        <p:nvSpPr>
          <p:cNvPr id="13" name="Text Placeholder 11">
            <a:extLst>
              <a:ext uri="{FF2B5EF4-FFF2-40B4-BE49-F238E27FC236}">
                <a16:creationId xmlns:a16="http://schemas.microsoft.com/office/drawing/2014/main" id="{18BC7EC4-7C46-32FA-13E5-69E27BDC97A8}"/>
              </a:ext>
            </a:extLst>
          </p:cNvPr>
          <p:cNvSpPr>
            <a:spLocks noGrp="1"/>
          </p:cNvSpPr>
          <p:nvPr>
            <p:ph type="body" sz="quarter" idx="26" hasCustomPrompt="1"/>
          </p:nvPr>
        </p:nvSpPr>
        <p:spPr>
          <a:xfrm>
            <a:off x="585787" y="1465385"/>
            <a:ext cx="2533650" cy="738664"/>
          </a:xfrm>
          <a:prstGeom prst="rect">
            <a:avLst/>
          </a:prstGeom>
        </p:spPr>
        <p:txBody>
          <a:bodyPr anchor="t"/>
          <a:lstStyle>
            <a:lvl1pPr marL="0" indent="0">
              <a:spcBef>
                <a:spcPts val="0"/>
              </a:spcBef>
              <a:buNone/>
              <a:defRPr sz="2400">
                <a:solidFill>
                  <a:schemeClr val="tx1"/>
                </a:solidFill>
                <a:latin typeface="+mj-lt"/>
              </a:defRPr>
            </a:lvl1pPr>
          </a:lstStyle>
          <a:p>
            <a:pPr lvl="0"/>
            <a:r>
              <a:rPr lang="en-US"/>
              <a:t>Segoe UI </a:t>
            </a:r>
            <a:r>
              <a:rPr lang="en-US" err="1"/>
              <a:t>Semibold</a:t>
            </a:r>
            <a:endParaRPr lang="en-US"/>
          </a:p>
        </p:txBody>
      </p:sp>
      <p:sp>
        <p:nvSpPr>
          <p:cNvPr id="14" name="Text Placeholder 9">
            <a:extLst>
              <a:ext uri="{FF2B5EF4-FFF2-40B4-BE49-F238E27FC236}">
                <a16:creationId xmlns:a16="http://schemas.microsoft.com/office/drawing/2014/main" id="{1076D85C-CD42-BF99-E99C-87FAA00E82A8}"/>
              </a:ext>
            </a:extLst>
          </p:cNvPr>
          <p:cNvSpPr>
            <a:spLocks noGrp="1"/>
          </p:cNvSpPr>
          <p:nvPr>
            <p:ph type="body" sz="quarter" idx="27" hasCustomPrompt="1"/>
          </p:nvPr>
        </p:nvSpPr>
        <p:spPr>
          <a:xfrm>
            <a:off x="585787" y="2303585"/>
            <a:ext cx="2532063" cy="1138773"/>
          </a:xfrm>
          <a:prstGeom prst="rect">
            <a:avLst/>
          </a:prstGeom>
        </p:spPr>
        <p:txBody>
          <a:bodyPr wrap="square">
            <a:spAutoFit/>
          </a:bodyPr>
          <a:lstStyle>
            <a:lvl1pPr marL="0" indent="0">
              <a:buNone/>
              <a:defRPr lang="en-US" sz="1800" dirty="0"/>
            </a:lvl1pPr>
            <a:lvl2pPr marL="285750" indent="-125413">
              <a:defRPr lang="en-US" sz="2000" dirty="0"/>
            </a:lvl2pPr>
            <a:lvl3pPr marL="438150" indent="-133350">
              <a:defRPr lang="en-US" dirty="0"/>
            </a:lvl3pPr>
            <a:lvl4pPr marL="566738" indent="-114300">
              <a:defRPr lang="en-US" dirty="0"/>
            </a:lvl4pPr>
            <a:lvl5pPr marL="685800" indent="-109538">
              <a:defRPr lang="en-US" dirty="0"/>
            </a:lvl5pPr>
          </a:lstStyle>
          <a:p>
            <a:pPr lvl="1"/>
            <a:r>
              <a:rPr lang="en-US"/>
              <a:t>Segoe UI, size 20</a:t>
            </a:r>
          </a:p>
          <a:p>
            <a:pPr lvl="2"/>
            <a:r>
              <a:rPr lang="en-US"/>
              <a:t>Segoe UI, size 18</a:t>
            </a:r>
          </a:p>
          <a:p>
            <a:pPr lvl="3"/>
            <a:r>
              <a:rPr lang="en-US"/>
              <a:t>Segoe UI, size 16</a:t>
            </a:r>
          </a:p>
        </p:txBody>
      </p:sp>
    </p:spTree>
    <p:extLst>
      <p:ext uri="{BB962C8B-B14F-4D97-AF65-F5344CB8AC3E}">
        <p14:creationId xmlns:p14="http://schemas.microsoft.com/office/powerpoint/2010/main" val="3152734251"/>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162">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Layout 7">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260626F-CEB8-F265-F246-1EAEC11568D2}"/>
              </a:ext>
            </a:extLst>
          </p:cNvPr>
          <p:cNvSpPr/>
          <p:nvPr userDrawn="1"/>
        </p:nvSpPr>
        <p:spPr>
          <a:xfrm>
            <a:off x="588263" y="1097111"/>
            <a:ext cx="11064240" cy="45719"/>
          </a:xfrm>
          <a:prstGeom prst="rect">
            <a:avLst/>
          </a:prstGeom>
          <a:solidFill>
            <a:schemeClr val="accent3">
              <a:lumMod val="50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11018520" cy="553998"/>
          </a:xfrm>
        </p:spPr>
        <p:txBody>
          <a:bodyPr anchor="ctr"/>
          <a:lstStyle>
            <a:lvl1pPr>
              <a:defRPr>
                <a:solidFill>
                  <a:schemeClr val="tx1"/>
                </a:solidFill>
              </a:defRPr>
            </a:lvl1pPr>
          </a:lstStyle>
          <a:p>
            <a:r>
              <a:rPr lang="en-US"/>
              <a:t>Click to edit</a:t>
            </a:r>
          </a:p>
        </p:txBody>
      </p:sp>
      <p:sp>
        <p:nvSpPr>
          <p:cNvPr id="11" name="Content Placeholder 10">
            <a:extLst>
              <a:ext uri="{FF2B5EF4-FFF2-40B4-BE49-F238E27FC236}">
                <a16:creationId xmlns:a16="http://schemas.microsoft.com/office/drawing/2014/main" id="{C7AF206F-F048-10DD-6656-6FF0458D4D2C}"/>
              </a:ext>
            </a:extLst>
          </p:cNvPr>
          <p:cNvSpPr>
            <a:spLocks noGrp="1"/>
          </p:cNvSpPr>
          <p:nvPr>
            <p:ph sz="quarter" idx="10" hasCustomPrompt="1"/>
          </p:nvPr>
        </p:nvSpPr>
        <p:spPr>
          <a:xfrm>
            <a:off x="588263" y="1228743"/>
            <a:ext cx="11018520" cy="5280545"/>
          </a:xfrm>
        </p:spPr>
        <p:txBody>
          <a:bodyPr/>
          <a:lstStyle>
            <a:lvl1pPr marL="0" indent="0">
              <a:buNone/>
              <a:defRPr/>
            </a:lvl1pPr>
          </a:lstStyle>
          <a:p>
            <a:pPr lvl="0"/>
            <a:r>
              <a:rPr lang="en-US"/>
              <a:t>Segoe UI, size 24</a:t>
            </a:r>
          </a:p>
          <a:p>
            <a:pPr lvl="1"/>
            <a:r>
              <a:rPr lang="en-US"/>
              <a:t>Segoe UI, size 20</a:t>
            </a:r>
          </a:p>
          <a:p>
            <a:pPr lvl="2"/>
            <a:r>
              <a:rPr lang="en-US"/>
              <a:t>Segoe UI, size 18</a:t>
            </a:r>
          </a:p>
          <a:p>
            <a:pPr lvl="3"/>
            <a:r>
              <a:rPr lang="en-US"/>
              <a:t>Segoe UI, size 16</a:t>
            </a:r>
          </a:p>
        </p:txBody>
      </p:sp>
    </p:spTree>
    <p:extLst>
      <p:ext uri="{BB962C8B-B14F-4D97-AF65-F5344CB8AC3E}">
        <p14:creationId xmlns:p14="http://schemas.microsoft.com/office/powerpoint/2010/main" val="1028433862"/>
      </p:ext>
    </p:extLst>
  </p:cSld>
  <p:clrMapOvr>
    <a:masterClrMapping/>
  </p:clrMapOvr>
  <p:transition>
    <p:fade/>
  </p:transition>
  <p:extLst>
    <p:ext uri="{DCECCB84-F9BA-43D5-87BE-67443E8EF086}">
      <p15:sldGuideLst xmlns:p15="http://schemas.microsoft.com/office/powerpoint/2012/main">
        <p15:guide id="2" orient="horz" pos="1162">
          <p15:clr>
            <a:srgbClr val="5ACBF0"/>
          </p15:clr>
        </p15:guide>
        <p15:guide id="3" orient="horz" pos="288">
          <p15:clr>
            <a:srgbClr val="5ACBF0"/>
          </p15:clr>
        </p15:guide>
        <p15:guide id="5" orient="horz" pos="904">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Layout 8">
    <p:spTree>
      <p:nvGrpSpPr>
        <p:cNvPr id="1" name=""/>
        <p:cNvGrpSpPr/>
        <p:nvPr/>
      </p:nvGrpSpPr>
      <p:grpSpPr>
        <a:xfrm>
          <a:off x="0" y="0"/>
          <a:ext cx="0" cy="0"/>
          <a:chOff x="0" y="0"/>
          <a:chExt cx="0" cy="0"/>
        </a:xfrm>
      </p:grpSpPr>
      <p:sp>
        <p:nvSpPr>
          <p:cNvPr id="12" name="Content Placeholder 10">
            <a:extLst>
              <a:ext uri="{FF2B5EF4-FFF2-40B4-BE49-F238E27FC236}">
                <a16:creationId xmlns:a16="http://schemas.microsoft.com/office/drawing/2014/main" id="{B5A992C0-6DCD-6BD9-A8DA-464B24E77ED2}"/>
              </a:ext>
            </a:extLst>
          </p:cNvPr>
          <p:cNvSpPr>
            <a:spLocks noGrp="1"/>
          </p:cNvSpPr>
          <p:nvPr>
            <p:ph sz="quarter" idx="10" hasCustomPrompt="1"/>
          </p:nvPr>
        </p:nvSpPr>
        <p:spPr>
          <a:xfrm>
            <a:off x="588263" y="1228743"/>
            <a:ext cx="5370835" cy="5280545"/>
          </a:xfrm>
        </p:spPr>
        <p:txBody>
          <a:bodyPr/>
          <a:lstStyle>
            <a:lvl1pPr marL="342900" indent="-342900">
              <a:buFont typeface="Arial" panose="020B0604020202020204" pitchFamily="34" charset="0"/>
              <a:buChar char="•"/>
              <a:defRPr/>
            </a:lvl1pPr>
          </a:lstStyle>
          <a:p>
            <a:pPr lvl="0"/>
            <a:r>
              <a:rPr lang="en-US"/>
              <a:t>Segoe UI, size 24</a:t>
            </a:r>
          </a:p>
          <a:p>
            <a:pPr lvl="1"/>
            <a:r>
              <a:rPr lang="en-US"/>
              <a:t>Segoe UI, size 20</a:t>
            </a:r>
          </a:p>
          <a:p>
            <a:pPr lvl="2"/>
            <a:r>
              <a:rPr lang="en-US"/>
              <a:t>Segoe UI, size 18</a:t>
            </a:r>
          </a:p>
          <a:p>
            <a:pPr lvl="3"/>
            <a:r>
              <a:rPr lang="en-US"/>
              <a:t>Segoe UI, size 16</a:t>
            </a:r>
          </a:p>
        </p:txBody>
      </p:sp>
      <p:sp>
        <p:nvSpPr>
          <p:cNvPr id="13" name="Content Placeholder 10">
            <a:extLst>
              <a:ext uri="{FF2B5EF4-FFF2-40B4-BE49-F238E27FC236}">
                <a16:creationId xmlns:a16="http://schemas.microsoft.com/office/drawing/2014/main" id="{ADCC7E84-E146-7B5C-6365-266AE674CBFD}"/>
              </a:ext>
            </a:extLst>
          </p:cNvPr>
          <p:cNvSpPr>
            <a:spLocks noGrp="1"/>
          </p:cNvSpPr>
          <p:nvPr>
            <p:ph sz="quarter" idx="11" hasCustomPrompt="1"/>
          </p:nvPr>
        </p:nvSpPr>
        <p:spPr>
          <a:xfrm>
            <a:off x="6238070" y="1228743"/>
            <a:ext cx="5370835" cy="5280545"/>
          </a:xfrm>
        </p:spPr>
        <p:txBody>
          <a:bodyPr/>
          <a:lstStyle>
            <a:lvl1pPr marL="342900" indent="-342900">
              <a:buFont typeface="Arial" panose="020B0604020202020204" pitchFamily="34" charset="0"/>
              <a:buChar char="•"/>
              <a:defRPr/>
            </a:lvl1pPr>
          </a:lstStyle>
          <a:p>
            <a:pPr lvl="0"/>
            <a:r>
              <a:rPr lang="en-US"/>
              <a:t>Segoe UI, size 24</a:t>
            </a:r>
          </a:p>
          <a:p>
            <a:pPr lvl="1"/>
            <a:r>
              <a:rPr lang="en-US"/>
              <a:t>Segoe UI, size 20</a:t>
            </a:r>
          </a:p>
          <a:p>
            <a:pPr lvl="2"/>
            <a:r>
              <a:rPr lang="en-US"/>
              <a:t>Segoe UI, size 18</a:t>
            </a:r>
          </a:p>
          <a:p>
            <a:pPr lvl="3"/>
            <a:r>
              <a:rPr lang="en-US"/>
              <a:t>Segoe UI, size 16</a:t>
            </a:r>
          </a:p>
        </p:txBody>
      </p:sp>
      <p:sp>
        <p:nvSpPr>
          <p:cNvPr id="2" name="Rectangle 1">
            <a:extLst>
              <a:ext uri="{FF2B5EF4-FFF2-40B4-BE49-F238E27FC236}">
                <a16:creationId xmlns:a16="http://schemas.microsoft.com/office/drawing/2014/main" id="{0BB89FDF-9773-F828-2BFF-1C1992727A80}"/>
              </a:ext>
            </a:extLst>
          </p:cNvPr>
          <p:cNvSpPr/>
          <p:nvPr userDrawn="1"/>
        </p:nvSpPr>
        <p:spPr>
          <a:xfrm>
            <a:off x="588263" y="1097111"/>
            <a:ext cx="11064240" cy="45719"/>
          </a:xfrm>
          <a:prstGeom prst="rect">
            <a:avLst/>
          </a:prstGeom>
          <a:solidFill>
            <a:schemeClr val="accent3">
              <a:lumMod val="50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 name="Title 1">
            <a:extLst>
              <a:ext uri="{FF2B5EF4-FFF2-40B4-BE49-F238E27FC236}">
                <a16:creationId xmlns:a16="http://schemas.microsoft.com/office/drawing/2014/main" id="{69A6F6A9-DCFE-D263-CD49-1711675E517E}"/>
              </a:ext>
            </a:extLst>
          </p:cNvPr>
          <p:cNvSpPr>
            <a:spLocks noGrp="1"/>
          </p:cNvSpPr>
          <p:nvPr>
            <p:ph type="title"/>
          </p:nvPr>
        </p:nvSpPr>
        <p:spPr>
          <a:xfrm>
            <a:off x="588263" y="457200"/>
            <a:ext cx="11018520" cy="553998"/>
          </a:xfrm>
        </p:spPr>
        <p:txBody>
          <a:bodyPr anchor="ctr"/>
          <a:lstStyle>
            <a:lvl1pPr>
              <a:defRPr>
                <a:solidFill>
                  <a:schemeClr val="tx1"/>
                </a:solidFill>
              </a:defRPr>
            </a:lvl1pPr>
          </a:lstStyle>
          <a:p>
            <a:r>
              <a:rPr lang="en-US"/>
              <a:t>Click to edit</a:t>
            </a:r>
          </a:p>
        </p:txBody>
      </p:sp>
    </p:spTree>
    <p:extLst>
      <p:ext uri="{BB962C8B-B14F-4D97-AF65-F5344CB8AC3E}">
        <p14:creationId xmlns:p14="http://schemas.microsoft.com/office/powerpoint/2010/main" val="170891057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Layout 10">
    <p:spTree>
      <p:nvGrpSpPr>
        <p:cNvPr id="1" name=""/>
        <p:cNvGrpSpPr/>
        <p:nvPr/>
      </p:nvGrpSpPr>
      <p:grpSpPr>
        <a:xfrm>
          <a:off x="0" y="0"/>
          <a:ext cx="0" cy="0"/>
          <a:chOff x="0" y="0"/>
          <a:chExt cx="0" cy="0"/>
        </a:xfrm>
      </p:grpSpPr>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8263" y="1235229"/>
            <a:ext cx="5219700" cy="430887"/>
          </a:xfrm>
          <a:prstGeom prst="rect">
            <a:avLst/>
          </a:prstGeom>
        </p:spPr>
        <p:txBody>
          <a:bodyPr anchor="t"/>
          <a:lstStyle>
            <a:lvl1pPr marL="0" indent="0">
              <a:spcBef>
                <a:spcPts val="0"/>
              </a:spcBef>
              <a:buNone/>
              <a:defRPr sz="2800">
                <a:solidFill>
                  <a:schemeClr val="tx1"/>
                </a:solidFill>
                <a:latin typeface="+mj-lt"/>
              </a:defRPr>
            </a:lvl1pPr>
          </a:lstStyle>
          <a:p>
            <a:pPr lvl="0"/>
            <a:r>
              <a:rPr lang="en-US"/>
              <a:t>Click to edit</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hasCustomPrompt="1"/>
          </p:nvPr>
        </p:nvSpPr>
        <p:spPr>
          <a:xfrm>
            <a:off x="593026" y="1879754"/>
            <a:ext cx="5214937" cy="4004590"/>
          </a:xfrm>
          <a:prstGeom prst="rect">
            <a:avLst/>
          </a:prstGeom>
        </p:spPr>
        <p:txBody>
          <a:bodyPr/>
          <a:lstStyle>
            <a:lvl1pPr>
              <a:defRPr sz="2400"/>
            </a:lvl1pPr>
          </a:lstStyle>
          <a:p>
            <a:pPr lvl="0"/>
            <a:r>
              <a:rPr lang="en-US"/>
              <a:t>Segoe UI, size 24</a:t>
            </a:r>
          </a:p>
          <a:p>
            <a:pPr lvl="1"/>
            <a:r>
              <a:rPr lang="en-US"/>
              <a:t>Segoe UI, size 20</a:t>
            </a:r>
          </a:p>
          <a:p>
            <a:pPr lvl="2"/>
            <a:r>
              <a:rPr lang="en-US"/>
              <a:t>Segoe UI, size 18</a:t>
            </a:r>
          </a:p>
          <a:p>
            <a:pPr lvl="3"/>
            <a:r>
              <a:rPr lang="en-US"/>
              <a:t>Segoe UI, size 16</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401688" y="1228743"/>
            <a:ext cx="5219700" cy="430887"/>
          </a:xfrm>
          <a:prstGeom prst="rect">
            <a:avLst/>
          </a:prstGeom>
        </p:spPr>
        <p:txBody>
          <a:bodyPr anchor="t"/>
          <a:lstStyle>
            <a:lvl1pPr marL="0" indent="0">
              <a:spcBef>
                <a:spcPts val="0"/>
              </a:spcBef>
              <a:buNone/>
              <a:defRPr sz="2800">
                <a:solidFill>
                  <a:schemeClr val="tx1"/>
                </a:solidFill>
                <a:latin typeface="+mj-lt"/>
              </a:defRPr>
            </a:lvl1pPr>
          </a:lstStyle>
          <a:p>
            <a:pPr lvl="0"/>
            <a:r>
              <a:rPr lang="en-US"/>
              <a:t>Click to edit</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hasCustomPrompt="1"/>
          </p:nvPr>
        </p:nvSpPr>
        <p:spPr>
          <a:xfrm>
            <a:off x="6398514" y="1873268"/>
            <a:ext cx="5214937" cy="4004590"/>
          </a:xfrm>
          <a:prstGeom prst="rect">
            <a:avLst/>
          </a:prstGeom>
        </p:spPr>
        <p:txBody>
          <a:bodyPr/>
          <a:lstStyle>
            <a:lvl1pPr>
              <a:defRPr sz="2400"/>
            </a:lvl1pPr>
            <a:lvl5pPr marL="855663" indent="0">
              <a:buNone/>
              <a:defRPr/>
            </a:lvl5pPr>
          </a:lstStyle>
          <a:p>
            <a:pPr lvl="0"/>
            <a:r>
              <a:rPr lang="en-US"/>
              <a:t>Segoe UI, size 24</a:t>
            </a:r>
          </a:p>
          <a:p>
            <a:pPr lvl="1"/>
            <a:r>
              <a:rPr lang="en-US"/>
              <a:t>Segoe UI, size 20</a:t>
            </a:r>
          </a:p>
          <a:p>
            <a:pPr lvl="2"/>
            <a:r>
              <a:rPr lang="en-US"/>
              <a:t>Segoe UI, size 18</a:t>
            </a:r>
          </a:p>
          <a:p>
            <a:pPr lvl="3"/>
            <a:r>
              <a:rPr lang="en-US"/>
              <a:t>Segoe UI, size 16</a:t>
            </a:r>
          </a:p>
        </p:txBody>
      </p:sp>
      <p:sp>
        <p:nvSpPr>
          <p:cNvPr id="2" name="Rectangle 1">
            <a:extLst>
              <a:ext uri="{FF2B5EF4-FFF2-40B4-BE49-F238E27FC236}">
                <a16:creationId xmlns:a16="http://schemas.microsoft.com/office/drawing/2014/main" id="{F18F01D4-4600-EF03-5FE6-C72227C65DE8}"/>
              </a:ext>
            </a:extLst>
          </p:cNvPr>
          <p:cNvSpPr/>
          <p:nvPr userDrawn="1"/>
        </p:nvSpPr>
        <p:spPr>
          <a:xfrm>
            <a:off x="588263" y="1097111"/>
            <a:ext cx="11064240" cy="45719"/>
          </a:xfrm>
          <a:prstGeom prst="rect">
            <a:avLst/>
          </a:prstGeom>
          <a:solidFill>
            <a:schemeClr val="accent3">
              <a:lumMod val="50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 name="Title 1">
            <a:extLst>
              <a:ext uri="{FF2B5EF4-FFF2-40B4-BE49-F238E27FC236}">
                <a16:creationId xmlns:a16="http://schemas.microsoft.com/office/drawing/2014/main" id="{61C041C6-176E-A39B-FE66-599E7933EDA3}"/>
              </a:ext>
            </a:extLst>
          </p:cNvPr>
          <p:cNvSpPr>
            <a:spLocks noGrp="1"/>
          </p:cNvSpPr>
          <p:nvPr>
            <p:ph type="title"/>
          </p:nvPr>
        </p:nvSpPr>
        <p:spPr>
          <a:xfrm>
            <a:off x="588263" y="457200"/>
            <a:ext cx="11018520" cy="553998"/>
          </a:xfrm>
        </p:spPr>
        <p:txBody>
          <a:bodyPr anchor="ctr"/>
          <a:lstStyle>
            <a:lvl1pPr>
              <a:defRPr>
                <a:solidFill>
                  <a:schemeClr val="tx1"/>
                </a:solidFill>
              </a:defRPr>
            </a:lvl1pPr>
          </a:lstStyle>
          <a:p>
            <a:r>
              <a:rPr lang="en-US"/>
              <a:t>Click to edit</a:t>
            </a:r>
          </a:p>
        </p:txBody>
      </p:sp>
    </p:spTree>
    <p:extLst>
      <p:ext uri="{BB962C8B-B14F-4D97-AF65-F5344CB8AC3E}">
        <p14:creationId xmlns:p14="http://schemas.microsoft.com/office/powerpoint/2010/main" val="148288672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Layout 11">
    <p:spTree>
      <p:nvGrpSpPr>
        <p:cNvPr id="1" name=""/>
        <p:cNvGrpSpPr/>
        <p:nvPr/>
      </p:nvGrpSpPr>
      <p:grpSpPr>
        <a:xfrm>
          <a:off x="0" y="0"/>
          <a:ext cx="0" cy="0"/>
          <a:chOff x="0" y="0"/>
          <a:chExt cx="0" cy="0"/>
        </a:xfrm>
      </p:grpSpPr>
      <p:sp>
        <p:nvSpPr>
          <p:cNvPr id="11" name="Text Placeholder 11">
            <a:extLst>
              <a:ext uri="{FF2B5EF4-FFF2-40B4-BE49-F238E27FC236}">
                <a16:creationId xmlns:a16="http://schemas.microsoft.com/office/drawing/2014/main" id="{A954E92F-1911-7F32-32EE-79FBA1AF227E}"/>
              </a:ext>
            </a:extLst>
          </p:cNvPr>
          <p:cNvSpPr>
            <a:spLocks noGrp="1"/>
          </p:cNvSpPr>
          <p:nvPr>
            <p:ph type="body" sz="quarter" idx="22" hasCustomPrompt="1"/>
          </p:nvPr>
        </p:nvSpPr>
        <p:spPr>
          <a:xfrm>
            <a:off x="588263" y="1228743"/>
            <a:ext cx="3535744" cy="369332"/>
          </a:xfrm>
          <a:prstGeom prst="rect">
            <a:avLst/>
          </a:prstGeom>
        </p:spPr>
        <p:txBody>
          <a:bodyPr anchor="t"/>
          <a:lstStyle>
            <a:lvl1pPr marL="0" indent="0">
              <a:spcBef>
                <a:spcPts val="0"/>
              </a:spcBef>
              <a:buNone/>
              <a:defRPr sz="2400">
                <a:solidFill>
                  <a:schemeClr val="tx1"/>
                </a:solidFill>
                <a:latin typeface="+mj-lt"/>
              </a:defRPr>
            </a:lvl1pPr>
          </a:lstStyle>
          <a:p>
            <a:pPr lvl="0"/>
            <a:r>
              <a:rPr lang="en-US"/>
              <a:t>Segoe UI </a:t>
            </a:r>
            <a:r>
              <a:rPr lang="en-US" err="1"/>
              <a:t>Semibold</a:t>
            </a:r>
            <a:endParaRPr lang="en-US"/>
          </a:p>
        </p:txBody>
      </p:sp>
      <p:sp>
        <p:nvSpPr>
          <p:cNvPr id="12" name="Text Placeholder 9">
            <a:extLst>
              <a:ext uri="{FF2B5EF4-FFF2-40B4-BE49-F238E27FC236}">
                <a16:creationId xmlns:a16="http://schemas.microsoft.com/office/drawing/2014/main" id="{212D2888-3206-B30A-C3C0-47E472ED3AEE}"/>
              </a:ext>
            </a:extLst>
          </p:cNvPr>
          <p:cNvSpPr>
            <a:spLocks noGrp="1"/>
          </p:cNvSpPr>
          <p:nvPr>
            <p:ph type="body" sz="quarter" idx="23" hasCustomPrompt="1"/>
          </p:nvPr>
        </p:nvSpPr>
        <p:spPr>
          <a:xfrm>
            <a:off x="588263" y="1725984"/>
            <a:ext cx="3533529" cy="1138773"/>
          </a:xfrm>
          <a:prstGeom prst="rect">
            <a:avLst/>
          </a:prstGeom>
        </p:spPr>
        <p:txBody>
          <a:bodyPr wrap="square">
            <a:spAutoFit/>
          </a:bodyPr>
          <a:lstStyle>
            <a:lvl1pPr marL="0" indent="0">
              <a:buNone/>
              <a:defRPr lang="en-US" sz="1800" dirty="0"/>
            </a:lvl1pPr>
            <a:lvl2pPr marL="285750" indent="-125413">
              <a:defRPr lang="en-US" sz="2000" dirty="0"/>
            </a:lvl2pPr>
            <a:lvl3pPr marL="438150" indent="-133350">
              <a:defRPr lang="en-US" dirty="0"/>
            </a:lvl3pPr>
            <a:lvl4pPr marL="566738" indent="-114300">
              <a:defRPr lang="en-US" dirty="0"/>
            </a:lvl4pPr>
            <a:lvl5pPr marL="685800" indent="-109538">
              <a:defRPr lang="en-US" dirty="0"/>
            </a:lvl5pPr>
          </a:lstStyle>
          <a:p>
            <a:pPr lvl="1"/>
            <a:r>
              <a:rPr lang="en-US"/>
              <a:t>Segoe UI, size 20</a:t>
            </a:r>
          </a:p>
          <a:p>
            <a:pPr lvl="2"/>
            <a:r>
              <a:rPr lang="en-US"/>
              <a:t>Segoe UI, size 18</a:t>
            </a:r>
          </a:p>
          <a:p>
            <a:pPr lvl="3"/>
            <a:r>
              <a:rPr lang="en-US"/>
              <a:t>Segoe UI, size 16</a:t>
            </a:r>
          </a:p>
        </p:txBody>
      </p:sp>
      <p:sp>
        <p:nvSpPr>
          <p:cNvPr id="13" name="Text Placeholder 11">
            <a:extLst>
              <a:ext uri="{FF2B5EF4-FFF2-40B4-BE49-F238E27FC236}">
                <a16:creationId xmlns:a16="http://schemas.microsoft.com/office/drawing/2014/main" id="{2E24DC43-46DA-027E-B327-54574039A0E1}"/>
              </a:ext>
            </a:extLst>
          </p:cNvPr>
          <p:cNvSpPr>
            <a:spLocks noGrp="1"/>
          </p:cNvSpPr>
          <p:nvPr>
            <p:ph type="body" sz="quarter" idx="24" hasCustomPrompt="1"/>
          </p:nvPr>
        </p:nvSpPr>
        <p:spPr>
          <a:xfrm>
            <a:off x="4329586" y="1228743"/>
            <a:ext cx="3535744" cy="369332"/>
          </a:xfrm>
          <a:prstGeom prst="rect">
            <a:avLst/>
          </a:prstGeom>
        </p:spPr>
        <p:txBody>
          <a:bodyPr anchor="t"/>
          <a:lstStyle>
            <a:lvl1pPr marL="0" indent="0">
              <a:spcBef>
                <a:spcPts val="0"/>
              </a:spcBef>
              <a:buNone/>
              <a:defRPr sz="2400">
                <a:solidFill>
                  <a:schemeClr val="tx1"/>
                </a:solidFill>
                <a:latin typeface="+mj-lt"/>
              </a:defRPr>
            </a:lvl1pPr>
          </a:lstStyle>
          <a:p>
            <a:pPr lvl="0"/>
            <a:r>
              <a:rPr lang="en-US"/>
              <a:t>Segoe UI </a:t>
            </a:r>
            <a:r>
              <a:rPr lang="en-US" err="1"/>
              <a:t>Semibold</a:t>
            </a:r>
            <a:endParaRPr lang="en-US"/>
          </a:p>
        </p:txBody>
      </p:sp>
      <p:sp>
        <p:nvSpPr>
          <p:cNvPr id="14" name="Text Placeholder 9">
            <a:extLst>
              <a:ext uri="{FF2B5EF4-FFF2-40B4-BE49-F238E27FC236}">
                <a16:creationId xmlns:a16="http://schemas.microsoft.com/office/drawing/2014/main" id="{7AD9A513-E2D7-82D3-56D9-7D0B425D8A26}"/>
              </a:ext>
            </a:extLst>
          </p:cNvPr>
          <p:cNvSpPr>
            <a:spLocks noGrp="1"/>
          </p:cNvSpPr>
          <p:nvPr>
            <p:ph type="body" sz="quarter" idx="25" hasCustomPrompt="1"/>
          </p:nvPr>
        </p:nvSpPr>
        <p:spPr>
          <a:xfrm>
            <a:off x="4329586" y="1725984"/>
            <a:ext cx="3533529" cy="1138773"/>
          </a:xfrm>
          <a:prstGeom prst="rect">
            <a:avLst/>
          </a:prstGeom>
        </p:spPr>
        <p:txBody>
          <a:bodyPr wrap="square">
            <a:spAutoFit/>
          </a:bodyPr>
          <a:lstStyle>
            <a:lvl1pPr marL="0" indent="0">
              <a:buNone/>
              <a:defRPr lang="en-US" sz="1800" dirty="0"/>
            </a:lvl1pPr>
            <a:lvl2pPr marL="285750" indent="-125413">
              <a:defRPr lang="en-US" sz="2000" dirty="0"/>
            </a:lvl2pPr>
            <a:lvl3pPr marL="438150" indent="-133350">
              <a:defRPr lang="en-US" dirty="0"/>
            </a:lvl3pPr>
            <a:lvl4pPr marL="566738" indent="-114300">
              <a:defRPr lang="en-US" dirty="0"/>
            </a:lvl4pPr>
            <a:lvl5pPr marL="685800" indent="-109538">
              <a:defRPr lang="en-US" dirty="0"/>
            </a:lvl5pPr>
          </a:lstStyle>
          <a:p>
            <a:pPr lvl="1"/>
            <a:r>
              <a:rPr lang="en-US"/>
              <a:t>Segoe UI, size 20</a:t>
            </a:r>
          </a:p>
          <a:p>
            <a:pPr lvl="2"/>
            <a:r>
              <a:rPr lang="en-US"/>
              <a:t>Segoe UI, size 18</a:t>
            </a:r>
          </a:p>
          <a:p>
            <a:pPr lvl="3"/>
            <a:r>
              <a:rPr lang="en-US"/>
              <a:t>Segoe UI, size 16</a:t>
            </a:r>
          </a:p>
        </p:txBody>
      </p:sp>
      <p:sp>
        <p:nvSpPr>
          <p:cNvPr id="15" name="Text Placeholder 11">
            <a:extLst>
              <a:ext uri="{FF2B5EF4-FFF2-40B4-BE49-F238E27FC236}">
                <a16:creationId xmlns:a16="http://schemas.microsoft.com/office/drawing/2014/main" id="{50C7C334-CC11-BC7B-C912-AE6A0D17E9A0}"/>
              </a:ext>
            </a:extLst>
          </p:cNvPr>
          <p:cNvSpPr>
            <a:spLocks noGrp="1"/>
          </p:cNvSpPr>
          <p:nvPr>
            <p:ph type="body" sz="quarter" idx="26" hasCustomPrompt="1"/>
          </p:nvPr>
        </p:nvSpPr>
        <p:spPr>
          <a:xfrm>
            <a:off x="8073124" y="1228743"/>
            <a:ext cx="3535744" cy="369332"/>
          </a:xfrm>
          <a:prstGeom prst="rect">
            <a:avLst/>
          </a:prstGeom>
        </p:spPr>
        <p:txBody>
          <a:bodyPr anchor="t"/>
          <a:lstStyle>
            <a:lvl1pPr marL="0" indent="0">
              <a:spcBef>
                <a:spcPts val="0"/>
              </a:spcBef>
              <a:buNone/>
              <a:defRPr sz="2400">
                <a:solidFill>
                  <a:schemeClr val="tx1"/>
                </a:solidFill>
                <a:latin typeface="+mj-lt"/>
              </a:defRPr>
            </a:lvl1pPr>
          </a:lstStyle>
          <a:p>
            <a:pPr lvl="0"/>
            <a:r>
              <a:rPr lang="en-US"/>
              <a:t>Segoe UI </a:t>
            </a:r>
            <a:r>
              <a:rPr lang="en-US" err="1"/>
              <a:t>Semibold</a:t>
            </a:r>
            <a:endParaRPr lang="en-US"/>
          </a:p>
        </p:txBody>
      </p:sp>
      <p:sp>
        <p:nvSpPr>
          <p:cNvPr id="16" name="Text Placeholder 9">
            <a:extLst>
              <a:ext uri="{FF2B5EF4-FFF2-40B4-BE49-F238E27FC236}">
                <a16:creationId xmlns:a16="http://schemas.microsoft.com/office/drawing/2014/main" id="{BBE12D5F-229C-EFD9-1C91-A8A4480271A3}"/>
              </a:ext>
            </a:extLst>
          </p:cNvPr>
          <p:cNvSpPr>
            <a:spLocks noGrp="1"/>
          </p:cNvSpPr>
          <p:nvPr>
            <p:ph type="body" sz="quarter" idx="27" hasCustomPrompt="1"/>
          </p:nvPr>
        </p:nvSpPr>
        <p:spPr>
          <a:xfrm>
            <a:off x="8073124" y="1725984"/>
            <a:ext cx="3533529" cy="1138773"/>
          </a:xfrm>
          <a:prstGeom prst="rect">
            <a:avLst/>
          </a:prstGeom>
        </p:spPr>
        <p:txBody>
          <a:bodyPr wrap="square">
            <a:spAutoFit/>
          </a:bodyPr>
          <a:lstStyle>
            <a:lvl1pPr marL="0" indent="0">
              <a:buNone/>
              <a:defRPr lang="en-US" sz="1800" dirty="0"/>
            </a:lvl1pPr>
            <a:lvl2pPr marL="285750" indent="-125413">
              <a:defRPr lang="en-US" sz="2000" dirty="0"/>
            </a:lvl2pPr>
            <a:lvl3pPr marL="438150" indent="-133350">
              <a:defRPr lang="en-US" dirty="0"/>
            </a:lvl3pPr>
            <a:lvl4pPr marL="566738" indent="-114300">
              <a:defRPr lang="en-US" dirty="0"/>
            </a:lvl4pPr>
            <a:lvl5pPr marL="685800" indent="-109538">
              <a:defRPr lang="en-US" dirty="0"/>
            </a:lvl5pPr>
          </a:lstStyle>
          <a:p>
            <a:pPr lvl="1"/>
            <a:r>
              <a:rPr lang="en-US"/>
              <a:t>Segoe UI, size 20</a:t>
            </a:r>
          </a:p>
          <a:p>
            <a:pPr lvl="2"/>
            <a:r>
              <a:rPr lang="en-US"/>
              <a:t>Segoe UI, size 18</a:t>
            </a:r>
          </a:p>
          <a:p>
            <a:pPr lvl="3"/>
            <a:r>
              <a:rPr lang="en-US"/>
              <a:t>Segoe UI, size 16</a:t>
            </a:r>
          </a:p>
        </p:txBody>
      </p:sp>
      <p:sp>
        <p:nvSpPr>
          <p:cNvPr id="3" name="Rectangle 2">
            <a:extLst>
              <a:ext uri="{FF2B5EF4-FFF2-40B4-BE49-F238E27FC236}">
                <a16:creationId xmlns:a16="http://schemas.microsoft.com/office/drawing/2014/main" id="{E1CAA9E5-B8E4-73D1-6D57-4BDF1DAE301F}"/>
              </a:ext>
            </a:extLst>
          </p:cNvPr>
          <p:cNvSpPr/>
          <p:nvPr userDrawn="1"/>
        </p:nvSpPr>
        <p:spPr>
          <a:xfrm>
            <a:off x="588263" y="1097111"/>
            <a:ext cx="11064240" cy="45719"/>
          </a:xfrm>
          <a:prstGeom prst="rect">
            <a:avLst/>
          </a:prstGeom>
          <a:solidFill>
            <a:schemeClr val="accent3">
              <a:lumMod val="50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 name="Title 1">
            <a:extLst>
              <a:ext uri="{FF2B5EF4-FFF2-40B4-BE49-F238E27FC236}">
                <a16:creationId xmlns:a16="http://schemas.microsoft.com/office/drawing/2014/main" id="{6F668EAF-A1DA-AE0B-5F50-CC239304ED09}"/>
              </a:ext>
            </a:extLst>
          </p:cNvPr>
          <p:cNvSpPr>
            <a:spLocks noGrp="1"/>
          </p:cNvSpPr>
          <p:nvPr>
            <p:ph type="title"/>
          </p:nvPr>
        </p:nvSpPr>
        <p:spPr>
          <a:xfrm>
            <a:off x="588263" y="457200"/>
            <a:ext cx="11018520" cy="553998"/>
          </a:xfrm>
        </p:spPr>
        <p:txBody>
          <a:bodyPr anchor="ctr"/>
          <a:lstStyle>
            <a:lvl1pPr>
              <a:defRPr>
                <a:solidFill>
                  <a:schemeClr val="tx1"/>
                </a:solidFill>
              </a:defRPr>
            </a:lvl1pPr>
          </a:lstStyle>
          <a:p>
            <a:r>
              <a:rPr lang="en-US"/>
              <a:t>Click to edit</a:t>
            </a:r>
          </a:p>
        </p:txBody>
      </p:sp>
    </p:spTree>
    <p:extLst>
      <p:ext uri="{BB962C8B-B14F-4D97-AF65-F5344CB8AC3E}">
        <p14:creationId xmlns:p14="http://schemas.microsoft.com/office/powerpoint/2010/main" val="2623275635"/>
      </p:ext>
    </p:extLst>
  </p:cSld>
  <p:clrMapOvr>
    <a:masterClrMapping/>
  </p:clrMapOvr>
  <p:transition>
    <p:fade/>
  </p:transition>
  <p:extLst>
    <p:ext uri="{DCECCB84-F9BA-43D5-87BE-67443E8EF086}">
      <p15:sldGuideLst xmlns:p15="http://schemas.microsoft.com/office/powerpoint/2012/main">
        <p15:guide id="3" orient="horz" pos="1162">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Layout 12">
    <p:spTree>
      <p:nvGrpSpPr>
        <p:cNvPr id="1" name=""/>
        <p:cNvGrpSpPr/>
        <p:nvPr/>
      </p:nvGrpSpPr>
      <p:grpSpPr>
        <a:xfrm>
          <a:off x="0" y="0"/>
          <a:ext cx="0" cy="0"/>
          <a:chOff x="0" y="0"/>
          <a:chExt cx="0" cy="0"/>
        </a:xfrm>
      </p:grpSpPr>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9073133" y="1228743"/>
            <a:ext cx="2533650" cy="738664"/>
          </a:xfrm>
          <a:prstGeom prst="rect">
            <a:avLst/>
          </a:prstGeom>
        </p:spPr>
        <p:txBody>
          <a:bodyPr anchor="t"/>
          <a:lstStyle>
            <a:lvl1pPr marL="0" indent="0">
              <a:spcBef>
                <a:spcPts val="0"/>
              </a:spcBef>
              <a:buNone/>
              <a:defRPr sz="2400">
                <a:solidFill>
                  <a:schemeClr val="tx1"/>
                </a:solidFill>
                <a:latin typeface="+mj-lt"/>
              </a:defRPr>
            </a:lvl1pPr>
          </a:lstStyle>
          <a:p>
            <a:pPr lvl="0"/>
            <a:r>
              <a:rPr lang="en-US"/>
              <a:t>Segoe UI </a:t>
            </a:r>
            <a:r>
              <a:rPr lang="en-US" err="1"/>
              <a:t>Semibold</a:t>
            </a:r>
            <a:endParaRPr lang="en-US"/>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hasCustomPrompt="1"/>
          </p:nvPr>
        </p:nvSpPr>
        <p:spPr>
          <a:xfrm>
            <a:off x="9073133" y="2066943"/>
            <a:ext cx="2532063" cy="1138773"/>
          </a:xfrm>
          <a:prstGeom prst="rect">
            <a:avLst/>
          </a:prstGeom>
        </p:spPr>
        <p:txBody>
          <a:bodyPr wrap="square">
            <a:spAutoFit/>
          </a:bodyPr>
          <a:lstStyle>
            <a:lvl1pPr marL="0" indent="0">
              <a:buNone/>
              <a:defRPr lang="en-US" sz="1800" dirty="0"/>
            </a:lvl1pPr>
            <a:lvl2pPr marL="285750" indent="-125413">
              <a:defRPr lang="en-US" sz="2000" dirty="0"/>
            </a:lvl2pPr>
            <a:lvl3pPr marL="438150" indent="-133350">
              <a:defRPr lang="en-US" dirty="0"/>
            </a:lvl3pPr>
            <a:lvl4pPr marL="566738" indent="-114300">
              <a:defRPr lang="en-US" dirty="0"/>
            </a:lvl4pPr>
            <a:lvl5pPr marL="685800" indent="-109538">
              <a:defRPr lang="en-US" dirty="0"/>
            </a:lvl5pPr>
          </a:lstStyle>
          <a:p>
            <a:pPr lvl="1"/>
            <a:r>
              <a:rPr lang="en-US"/>
              <a:t>Segoe UI, size 20</a:t>
            </a:r>
          </a:p>
          <a:p>
            <a:pPr lvl="2"/>
            <a:r>
              <a:rPr lang="en-US"/>
              <a:t>Segoe UI, size 18</a:t>
            </a:r>
          </a:p>
          <a:p>
            <a:pPr lvl="3"/>
            <a:r>
              <a:rPr lang="en-US"/>
              <a:t>Segoe UI, size 16</a:t>
            </a:r>
          </a:p>
        </p:txBody>
      </p:sp>
      <p:sp>
        <p:nvSpPr>
          <p:cNvPr id="8" name="Text Placeholder 11">
            <a:extLst>
              <a:ext uri="{FF2B5EF4-FFF2-40B4-BE49-F238E27FC236}">
                <a16:creationId xmlns:a16="http://schemas.microsoft.com/office/drawing/2014/main" id="{681294FB-7087-B362-D2C6-ED62D198337B}"/>
              </a:ext>
            </a:extLst>
          </p:cNvPr>
          <p:cNvSpPr>
            <a:spLocks noGrp="1"/>
          </p:cNvSpPr>
          <p:nvPr>
            <p:ph type="body" sz="quarter" idx="22" hasCustomPrompt="1"/>
          </p:nvPr>
        </p:nvSpPr>
        <p:spPr>
          <a:xfrm>
            <a:off x="6244208" y="1228743"/>
            <a:ext cx="2533650" cy="738664"/>
          </a:xfrm>
          <a:prstGeom prst="rect">
            <a:avLst/>
          </a:prstGeom>
        </p:spPr>
        <p:txBody>
          <a:bodyPr anchor="t"/>
          <a:lstStyle>
            <a:lvl1pPr marL="0" indent="0">
              <a:spcBef>
                <a:spcPts val="0"/>
              </a:spcBef>
              <a:buNone/>
              <a:defRPr sz="2400">
                <a:solidFill>
                  <a:schemeClr val="tx1"/>
                </a:solidFill>
                <a:latin typeface="+mj-lt"/>
              </a:defRPr>
            </a:lvl1pPr>
          </a:lstStyle>
          <a:p>
            <a:pPr lvl="0"/>
            <a:r>
              <a:rPr lang="en-US"/>
              <a:t>Segoe UI </a:t>
            </a:r>
            <a:r>
              <a:rPr lang="en-US" err="1"/>
              <a:t>Semibold</a:t>
            </a:r>
            <a:endParaRPr lang="en-US"/>
          </a:p>
        </p:txBody>
      </p:sp>
      <p:sp>
        <p:nvSpPr>
          <p:cNvPr id="9" name="Text Placeholder 9">
            <a:extLst>
              <a:ext uri="{FF2B5EF4-FFF2-40B4-BE49-F238E27FC236}">
                <a16:creationId xmlns:a16="http://schemas.microsoft.com/office/drawing/2014/main" id="{5FE2534D-3DCB-3714-BFBA-D3078EEE8DF6}"/>
              </a:ext>
            </a:extLst>
          </p:cNvPr>
          <p:cNvSpPr>
            <a:spLocks noGrp="1"/>
          </p:cNvSpPr>
          <p:nvPr>
            <p:ph type="body" sz="quarter" idx="23" hasCustomPrompt="1"/>
          </p:nvPr>
        </p:nvSpPr>
        <p:spPr>
          <a:xfrm>
            <a:off x="6244208" y="2066943"/>
            <a:ext cx="2532063" cy="1138773"/>
          </a:xfrm>
          <a:prstGeom prst="rect">
            <a:avLst/>
          </a:prstGeom>
        </p:spPr>
        <p:txBody>
          <a:bodyPr wrap="square">
            <a:spAutoFit/>
          </a:bodyPr>
          <a:lstStyle>
            <a:lvl1pPr marL="0" indent="0">
              <a:buNone/>
              <a:defRPr lang="en-US" sz="1800" dirty="0"/>
            </a:lvl1pPr>
            <a:lvl2pPr marL="285750" indent="-125413">
              <a:defRPr lang="en-US" sz="2000" dirty="0"/>
            </a:lvl2pPr>
            <a:lvl3pPr marL="438150" indent="-133350">
              <a:defRPr lang="en-US" dirty="0"/>
            </a:lvl3pPr>
            <a:lvl4pPr marL="566738" indent="-114300">
              <a:defRPr lang="en-US" dirty="0"/>
            </a:lvl4pPr>
            <a:lvl5pPr marL="685800" indent="-109538">
              <a:defRPr lang="en-US" dirty="0"/>
            </a:lvl5pPr>
          </a:lstStyle>
          <a:p>
            <a:pPr lvl="1"/>
            <a:r>
              <a:rPr lang="en-US"/>
              <a:t>Segoe UI, size 20</a:t>
            </a:r>
          </a:p>
          <a:p>
            <a:pPr lvl="2"/>
            <a:r>
              <a:rPr lang="en-US"/>
              <a:t>Segoe UI, size 18</a:t>
            </a:r>
          </a:p>
          <a:p>
            <a:pPr lvl="3"/>
            <a:r>
              <a:rPr lang="en-US"/>
              <a:t>Segoe UI, size 16</a:t>
            </a:r>
          </a:p>
        </p:txBody>
      </p:sp>
      <p:sp>
        <p:nvSpPr>
          <p:cNvPr id="10" name="Text Placeholder 11">
            <a:extLst>
              <a:ext uri="{FF2B5EF4-FFF2-40B4-BE49-F238E27FC236}">
                <a16:creationId xmlns:a16="http://schemas.microsoft.com/office/drawing/2014/main" id="{C3559D52-66B7-16EF-0B73-01AA4E4F0452}"/>
              </a:ext>
            </a:extLst>
          </p:cNvPr>
          <p:cNvSpPr>
            <a:spLocks noGrp="1"/>
          </p:cNvSpPr>
          <p:nvPr>
            <p:ph type="body" sz="quarter" idx="24" hasCustomPrompt="1"/>
          </p:nvPr>
        </p:nvSpPr>
        <p:spPr>
          <a:xfrm>
            <a:off x="3411538" y="1228743"/>
            <a:ext cx="2533650" cy="738664"/>
          </a:xfrm>
          <a:prstGeom prst="rect">
            <a:avLst/>
          </a:prstGeom>
        </p:spPr>
        <p:txBody>
          <a:bodyPr anchor="t"/>
          <a:lstStyle>
            <a:lvl1pPr marL="0" indent="0">
              <a:spcBef>
                <a:spcPts val="0"/>
              </a:spcBef>
              <a:buNone/>
              <a:defRPr sz="2400">
                <a:solidFill>
                  <a:schemeClr val="tx1"/>
                </a:solidFill>
                <a:latin typeface="+mj-lt"/>
              </a:defRPr>
            </a:lvl1pPr>
          </a:lstStyle>
          <a:p>
            <a:pPr lvl="0"/>
            <a:r>
              <a:rPr lang="en-US"/>
              <a:t>Segoe UI </a:t>
            </a:r>
            <a:r>
              <a:rPr lang="en-US" err="1"/>
              <a:t>Semibold</a:t>
            </a:r>
            <a:endParaRPr lang="en-US"/>
          </a:p>
        </p:txBody>
      </p:sp>
      <p:sp>
        <p:nvSpPr>
          <p:cNvPr id="12" name="Text Placeholder 9">
            <a:extLst>
              <a:ext uri="{FF2B5EF4-FFF2-40B4-BE49-F238E27FC236}">
                <a16:creationId xmlns:a16="http://schemas.microsoft.com/office/drawing/2014/main" id="{38EF4A0A-9C3C-CB9D-5415-59A069A0791A}"/>
              </a:ext>
            </a:extLst>
          </p:cNvPr>
          <p:cNvSpPr>
            <a:spLocks noGrp="1"/>
          </p:cNvSpPr>
          <p:nvPr>
            <p:ph type="body" sz="quarter" idx="25" hasCustomPrompt="1"/>
          </p:nvPr>
        </p:nvSpPr>
        <p:spPr>
          <a:xfrm>
            <a:off x="3411538" y="2066943"/>
            <a:ext cx="2532063" cy="1138773"/>
          </a:xfrm>
          <a:prstGeom prst="rect">
            <a:avLst/>
          </a:prstGeom>
        </p:spPr>
        <p:txBody>
          <a:bodyPr wrap="square">
            <a:spAutoFit/>
          </a:bodyPr>
          <a:lstStyle>
            <a:lvl1pPr marL="0" indent="0">
              <a:buNone/>
              <a:defRPr lang="en-US" sz="1800" dirty="0"/>
            </a:lvl1pPr>
            <a:lvl2pPr marL="285750" indent="-125413">
              <a:defRPr lang="en-US" sz="2000" dirty="0"/>
            </a:lvl2pPr>
            <a:lvl3pPr marL="438150" indent="-133350">
              <a:defRPr lang="en-US" dirty="0"/>
            </a:lvl3pPr>
            <a:lvl4pPr marL="566738" indent="-114300">
              <a:defRPr lang="en-US" dirty="0"/>
            </a:lvl4pPr>
            <a:lvl5pPr marL="685800" indent="-109538">
              <a:defRPr lang="en-US" dirty="0"/>
            </a:lvl5pPr>
          </a:lstStyle>
          <a:p>
            <a:pPr lvl="1"/>
            <a:r>
              <a:rPr lang="en-US"/>
              <a:t>Segoe UI, size 20</a:t>
            </a:r>
          </a:p>
          <a:p>
            <a:pPr lvl="2"/>
            <a:r>
              <a:rPr lang="en-US"/>
              <a:t>Segoe UI, size 18</a:t>
            </a:r>
          </a:p>
          <a:p>
            <a:pPr lvl="3"/>
            <a:r>
              <a:rPr lang="en-US"/>
              <a:t>Segoe UI, size 16</a:t>
            </a:r>
          </a:p>
        </p:txBody>
      </p:sp>
      <p:sp>
        <p:nvSpPr>
          <p:cNvPr id="13" name="Text Placeholder 11">
            <a:extLst>
              <a:ext uri="{FF2B5EF4-FFF2-40B4-BE49-F238E27FC236}">
                <a16:creationId xmlns:a16="http://schemas.microsoft.com/office/drawing/2014/main" id="{18BC7EC4-7C46-32FA-13E5-69E27BDC97A8}"/>
              </a:ext>
            </a:extLst>
          </p:cNvPr>
          <p:cNvSpPr>
            <a:spLocks noGrp="1"/>
          </p:cNvSpPr>
          <p:nvPr>
            <p:ph type="body" sz="quarter" idx="26" hasCustomPrompt="1"/>
          </p:nvPr>
        </p:nvSpPr>
        <p:spPr>
          <a:xfrm>
            <a:off x="585787" y="1228743"/>
            <a:ext cx="2533650" cy="738664"/>
          </a:xfrm>
          <a:prstGeom prst="rect">
            <a:avLst/>
          </a:prstGeom>
        </p:spPr>
        <p:txBody>
          <a:bodyPr anchor="t"/>
          <a:lstStyle>
            <a:lvl1pPr marL="0" indent="0">
              <a:spcBef>
                <a:spcPts val="0"/>
              </a:spcBef>
              <a:buNone/>
              <a:defRPr sz="2400">
                <a:solidFill>
                  <a:schemeClr val="tx1"/>
                </a:solidFill>
                <a:latin typeface="+mj-lt"/>
              </a:defRPr>
            </a:lvl1pPr>
          </a:lstStyle>
          <a:p>
            <a:pPr lvl="0"/>
            <a:r>
              <a:rPr lang="en-US"/>
              <a:t>Segoe UI </a:t>
            </a:r>
            <a:r>
              <a:rPr lang="en-US" err="1"/>
              <a:t>Semibold</a:t>
            </a:r>
            <a:endParaRPr lang="en-US"/>
          </a:p>
        </p:txBody>
      </p:sp>
      <p:sp>
        <p:nvSpPr>
          <p:cNvPr id="14" name="Text Placeholder 9">
            <a:extLst>
              <a:ext uri="{FF2B5EF4-FFF2-40B4-BE49-F238E27FC236}">
                <a16:creationId xmlns:a16="http://schemas.microsoft.com/office/drawing/2014/main" id="{1076D85C-CD42-BF99-E99C-87FAA00E82A8}"/>
              </a:ext>
            </a:extLst>
          </p:cNvPr>
          <p:cNvSpPr>
            <a:spLocks noGrp="1"/>
          </p:cNvSpPr>
          <p:nvPr>
            <p:ph type="body" sz="quarter" idx="27" hasCustomPrompt="1"/>
          </p:nvPr>
        </p:nvSpPr>
        <p:spPr>
          <a:xfrm>
            <a:off x="585787" y="2066943"/>
            <a:ext cx="2532063" cy="1138773"/>
          </a:xfrm>
          <a:prstGeom prst="rect">
            <a:avLst/>
          </a:prstGeom>
        </p:spPr>
        <p:txBody>
          <a:bodyPr wrap="square">
            <a:spAutoFit/>
          </a:bodyPr>
          <a:lstStyle>
            <a:lvl1pPr marL="0" indent="0">
              <a:buNone/>
              <a:defRPr lang="en-US" sz="1800" dirty="0"/>
            </a:lvl1pPr>
            <a:lvl2pPr marL="285750" indent="-125413">
              <a:defRPr lang="en-US" sz="2000" dirty="0"/>
            </a:lvl2pPr>
            <a:lvl3pPr marL="438150" indent="-133350">
              <a:defRPr lang="en-US" dirty="0"/>
            </a:lvl3pPr>
            <a:lvl4pPr marL="566738" indent="-114300">
              <a:defRPr lang="en-US" dirty="0"/>
            </a:lvl4pPr>
            <a:lvl5pPr marL="685800" indent="-109538">
              <a:defRPr lang="en-US" dirty="0"/>
            </a:lvl5pPr>
          </a:lstStyle>
          <a:p>
            <a:pPr lvl="1"/>
            <a:r>
              <a:rPr lang="en-US"/>
              <a:t>Segoe UI, size 20</a:t>
            </a:r>
          </a:p>
          <a:p>
            <a:pPr lvl="2"/>
            <a:r>
              <a:rPr lang="en-US"/>
              <a:t>Segoe UI, size 18</a:t>
            </a:r>
          </a:p>
          <a:p>
            <a:pPr lvl="3"/>
            <a:r>
              <a:rPr lang="en-US"/>
              <a:t>Segoe UI, size 16</a:t>
            </a:r>
          </a:p>
        </p:txBody>
      </p:sp>
      <p:sp>
        <p:nvSpPr>
          <p:cNvPr id="3" name="Rectangle 2">
            <a:extLst>
              <a:ext uri="{FF2B5EF4-FFF2-40B4-BE49-F238E27FC236}">
                <a16:creationId xmlns:a16="http://schemas.microsoft.com/office/drawing/2014/main" id="{73C83F09-FF8B-3B52-2FB6-110FA3125FA3}"/>
              </a:ext>
            </a:extLst>
          </p:cNvPr>
          <p:cNvSpPr/>
          <p:nvPr userDrawn="1"/>
        </p:nvSpPr>
        <p:spPr>
          <a:xfrm>
            <a:off x="588263" y="1097111"/>
            <a:ext cx="11064240" cy="45719"/>
          </a:xfrm>
          <a:prstGeom prst="rect">
            <a:avLst/>
          </a:prstGeom>
          <a:solidFill>
            <a:schemeClr val="accent3">
              <a:lumMod val="50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 name="Title 1">
            <a:extLst>
              <a:ext uri="{FF2B5EF4-FFF2-40B4-BE49-F238E27FC236}">
                <a16:creationId xmlns:a16="http://schemas.microsoft.com/office/drawing/2014/main" id="{387EF2B4-5A00-ED71-A6F5-B4A02B4C1A6A}"/>
              </a:ext>
            </a:extLst>
          </p:cNvPr>
          <p:cNvSpPr>
            <a:spLocks noGrp="1"/>
          </p:cNvSpPr>
          <p:nvPr>
            <p:ph type="title"/>
          </p:nvPr>
        </p:nvSpPr>
        <p:spPr>
          <a:xfrm>
            <a:off x="588263" y="457200"/>
            <a:ext cx="11018520" cy="553998"/>
          </a:xfrm>
        </p:spPr>
        <p:txBody>
          <a:bodyPr anchor="ctr"/>
          <a:lstStyle>
            <a:lvl1pPr>
              <a:defRPr>
                <a:solidFill>
                  <a:schemeClr val="tx1"/>
                </a:solidFill>
              </a:defRPr>
            </a:lvl1pPr>
          </a:lstStyle>
          <a:p>
            <a:r>
              <a:rPr lang="en-US"/>
              <a:t>Click to edit</a:t>
            </a:r>
          </a:p>
        </p:txBody>
      </p:sp>
    </p:spTree>
    <p:extLst>
      <p:ext uri="{BB962C8B-B14F-4D97-AF65-F5344CB8AC3E}">
        <p14:creationId xmlns:p14="http://schemas.microsoft.com/office/powerpoint/2010/main" val="1358134488"/>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162">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sequence 1">
    <p:bg>
      <p:bgPr>
        <a:solidFill>
          <a:schemeClr val="bg1"/>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436688"/>
            <a:ext cx="1595438" cy="581025"/>
          </a:xfrm>
          <a:prstGeom prst="rect">
            <a:avLst/>
          </a:prstGeom>
          <a:noFill/>
        </p:spPr>
        <p:txBody>
          <a:bodyPr wrap="square" lIns="90000" tIns="0" rIns="0" bIns="0" rtlCol="0">
            <a:noAutofit/>
          </a:bodyPr>
          <a:lstStyle/>
          <a:p>
            <a:pPr algn="l"/>
            <a:r>
              <a:rPr lang="en-US" sz="3600">
                <a:solidFill>
                  <a:schemeClr val="accent3">
                    <a:lumMod val="50000"/>
                  </a:schemeClr>
                </a:solidFill>
                <a:latin typeface="+mj-lt"/>
              </a:rPr>
              <a:t>1</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70150" y="1436688"/>
            <a:ext cx="1595438" cy="581025"/>
          </a:xfrm>
          <a:prstGeom prst="rect">
            <a:avLst/>
          </a:prstGeom>
          <a:noFill/>
        </p:spPr>
        <p:txBody>
          <a:bodyPr wrap="square" lIns="90000" tIns="0" rIns="0" bIns="0" rtlCol="0">
            <a:noAutofit/>
          </a:bodyPr>
          <a:lstStyle/>
          <a:p>
            <a:pPr algn="l"/>
            <a:r>
              <a:rPr lang="en-US" sz="3600">
                <a:solidFill>
                  <a:schemeClr val="accent3">
                    <a:lumMod val="50000"/>
                  </a:schemeClr>
                </a:solidFill>
                <a:latin typeface="+mj-lt"/>
              </a:rPr>
              <a:t>2</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67808" y="1436688"/>
            <a:ext cx="1595438" cy="581025"/>
          </a:xfrm>
          <a:prstGeom prst="rect">
            <a:avLst/>
          </a:prstGeom>
          <a:noFill/>
        </p:spPr>
        <p:txBody>
          <a:bodyPr wrap="square" lIns="90000" tIns="0" rIns="0" bIns="0" rtlCol="0">
            <a:noAutofit/>
          </a:bodyPr>
          <a:lstStyle/>
          <a:p>
            <a:pPr algn="l"/>
            <a:r>
              <a:rPr lang="en-US" sz="3600">
                <a:solidFill>
                  <a:schemeClr val="accent3">
                    <a:lumMod val="50000"/>
                  </a:schemeClr>
                </a:solidFill>
                <a:latin typeface="+mj-lt"/>
              </a:rPr>
              <a:t>3</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240016" y="1436688"/>
            <a:ext cx="1595438" cy="581025"/>
          </a:xfrm>
          <a:prstGeom prst="rect">
            <a:avLst/>
          </a:prstGeom>
          <a:noFill/>
        </p:spPr>
        <p:txBody>
          <a:bodyPr wrap="square" lIns="90000" tIns="0" rIns="0" bIns="0" rtlCol="0">
            <a:noAutofit/>
          </a:bodyPr>
          <a:lstStyle/>
          <a:p>
            <a:pPr algn="l"/>
            <a:r>
              <a:rPr lang="en-US" sz="3600">
                <a:solidFill>
                  <a:schemeClr val="accent3">
                    <a:lumMod val="50000"/>
                  </a:schemeClr>
                </a:solidFill>
                <a:latin typeface="+mj-lt"/>
              </a:rPr>
              <a:t>4</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127999" y="1436688"/>
            <a:ext cx="1592262" cy="581025"/>
          </a:xfrm>
          <a:prstGeom prst="rect">
            <a:avLst/>
          </a:prstGeom>
          <a:noFill/>
        </p:spPr>
        <p:txBody>
          <a:bodyPr wrap="square" lIns="90000" tIns="0" rIns="0" bIns="0" rtlCol="0">
            <a:noAutofit/>
          </a:bodyPr>
          <a:lstStyle/>
          <a:p>
            <a:pPr algn="l"/>
            <a:r>
              <a:rPr lang="en-US" sz="3600">
                <a:solidFill>
                  <a:schemeClr val="accent3">
                    <a:lumMod val="50000"/>
                  </a:schemeClr>
                </a:solidFill>
                <a:latin typeface="+mj-lt"/>
              </a:rPr>
              <a:t>5</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10013950" y="1436688"/>
            <a:ext cx="1595438" cy="581025"/>
          </a:xfrm>
          <a:prstGeom prst="rect">
            <a:avLst/>
          </a:prstGeom>
          <a:noFill/>
        </p:spPr>
        <p:txBody>
          <a:bodyPr wrap="square" lIns="90000" tIns="0" rIns="0" bIns="0" rtlCol="0">
            <a:noAutofit/>
          </a:bodyPr>
          <a:lstStyle/>
          <a:p>
            <a:pPr algn="l"/>
            <a:r>
              <a:rPr lang="en-US" sz="3600">
                <a:solidFill>
                  <a:schemeClr val="accent3">
                    <a:lumMod val="50000"/>
                  </a:schemeClr>
                </a:solidFill>
                <a:latin typeface="+mj-lt"/>
              </a:rPr>
              <a:t>6</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3789363"/>
            <a:ext cx="1595438" cy="581025"/>
          </a:xfrm>
          <a:prstGeom prst="rect">
            <a:avLst/>
          </a:prstGeom>
          <a:noFill/>
        </p:spPr>
        <p:txBody>
          <a:bodyPr wrap="square" lIns="90000" tIns="0" rIns="0" bIns="0" rtlCol="0">
            <a:noAutofit/>
          </a:bodyPr>
          <a:lstStyle/>
          <a:p>
            <a:pPr algn="l"/>
            <a:r>
              <a:rPr lang="en-US" sz="3600">
                <a:solidFill>
                  <a:schemeClr val="accent3">
                    <a:lumMod val="50000"/>
                  </a:schemeClr>
                </a:solidFill>
                <a:latin typeface="+mj-lt"/>
              </a:rPr>
              <a:t>7</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70150" y="3789363"/>
            <a:ext cx="1595438" cy="581025"/>
          </a:xfrm>
          <a:prstGeom prst="rect">
            <a:avLst/>
          </a:prstGeom>
          <a:noFill/>
        </p:spPr>
        <p:txBody>
          <a:bodyPr wrap="square" lIns="90000" tIns="0" rIns="0" bIns="0" rtlCol="0">
            <a:noAutofit/>
          </a:bodyPr>
          <a:lstStyle/>
          <a:p>
            <a:pPr algn="l"/>
            <a:r>
              <a:rPr lang="en-US" sz="3600">
                <a:solidFill>
                  <a:schemeClr val="accent3">
                    <a:lumMod val="50000"/>
                  </a:schemeClr>
                </a:solidFill>
                <a:latin typeface="+mj-lt"/>
              </a:rPr>
              <a:t>8</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67808" y="3789363"/>
            <a:ext cx="1595438" cy="581025"/>
          </a:xfrm>
          <a:prstGeom prst="rect">
            <a:avLst/>
          </a:prstGeom>
          <a:noFill/>
        </p:spPr>
        <p:txBody>
          <a:bodyPr wrap="square" lIns="90000" tIns="0" rIns="0" bIns="0" rtlCol="0">
            <a:noAutofit/>
          </a:bodyPr>
          <a:lstStyle/>
          <a:p>
            <a:pPr algn="l"/>
            <a:r>
              <a:rPr lang="en-US" sz="3600">
                <a:solidFill>
                  <a:schemeClr val="accent3">
                    <a:lumMod val="50000"/>
                  </a:schemeClr>
                </a:solidFill>
                <a:latin typeface="+mj-lt"/>
              </a:rPr>
              <a:t>9</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240016" y="3789363"/>
            <a:ext cx="1595438" cy="581025"/>
          </a:xfrm>
          <a:prstGeom prst="rect">
            <a:avLst/>
          </a:prstGeom>
          <a:noFill/>
        </p:spPr>
        <p:txBody>
          <a:bodyPr wrap="square" lIns="90000" tIns="0" rIns="0" bIns="0" rtlCol="0">
            <a:noAutofit/>
          </a:bodyPr>
          <a:lstStyle/>
          <a:p>
            <a:pPr algn="l"/>
            <a:r>
              <a:rPr lang="en-US" sz="3600">
                <a:solidFill>
                  <a:schemeClr val="accent3">
                    <a:lumMod val="50000"/>
                  </a:schemeClr>
                </a:solidFill>
                <a:latin typeface="+mj-lt"/>
              </a:rPr>
              <a:t>10</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127999" y="3789363"/>
            <a:ext cx="1592262" cy="581025"/>
          </a:xfrm>
          <a:prstGeom prst="rect">
            <a:avLst/>
          </a:prstGeom>
          <a:noFill/>
        </p:spPr>
        <p:txBody>
          <a:bodyPr wrap="square" lIns="90000" tIns="0" rIns="0" bIns="0" rtlCol="0">
            <a:noAutofit/>
          </a:bodyPr>
          <a:lstStyle/>
          <a:p>
            <a:pPr algn="l"/>
            <a:r>
              <a:rPr lang="en-US" sz="3600">
                <a:solidFill>
                  <a:schemeClr val="accent3">
                    <a:lumMod val="50000"/>
                  </a:schemeClr>
                </a:solidFill>
                <a:latin typeface="+mj-lt"/>
              </a:rPr>
              <a:t>11</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10013950" y="3789363"/>
            <a:ext cx="1595438" cy="581025"/>
          </a:xfrm>
          <a:prstGeom prst="rect">
            <a:avLst/>
          </a:prstGeom>
          <a:noFill/>
        </p:spPr>
        <p:txBody>
          <a:bodyPr wrap="square" lIns="90000" tIns="0" rIns="0" bIns="0" rtlCol="0">
            <a:noAutofit/>
          </a:bodyPr>
          <a:lstStyle/>
          <a:p>
            <a:pPr algn="l"/>
            <a:r>
              <a:rPr lang="en-US" sz="3600">
                <a:solidFill>
                  <a:schemeClr val="accent3">
                    <a:lumMod val="50000"/>
                  </a:schemeClr>
                </a:solidFill>
                <a:latin typeface="+mj-lt"/>
              </a:rPr>
              <a:t>12</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430887"/>
          </a:xfrm>
          <a:prstGeom prst="rect">
            <a:avLst/>
          </a:prstGeom>
        </p:spPr>
        <p:txBody>
          <a:bodyPr lIns="90000" anchor="t"/>
          <a:lstStyle>
            <a:lvl1pPr marL="0" indent="0">
              <a:buSzPct val="90000"/>
              <a:buFont typeface="Arial" panose="020B0604020202020204" pitchFamily="34" charset="0"/>
              <a:buNone/>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430887"/>
          </a:xfrm>
          <a:prstGeom prst="rect">
            <a:avLst/>
          </a:prstGeom>
        </p:spPr>
        <p:txBody>
          <a:bodyPr lIns="90000" anchor="t"/>
          <a:lstStyle>
            <a:lvl1pPr marL="0" indent="0">
              <a:buSzPct val="90000"/>
              <a:buFont typeface="Arial" panose="020B0604020202020204" pitchFamily="34" charset="0"/>
              <a:buNone/>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430887"/>
          </a:xfrm>
          <a:prstGeom prst="rect">
            <a:avLst/>
          </a:prstGeom>
        </p:spPr>
        <p:txBody>
          <a:bodyPr lIns="90000" anchor="t"/>
          <a:lstStyle>
            <a:lvl1pPr marL="0" indent="0">
              <a:buSzPct val="90000"/>
              <a:buFont typeface="Arial" panose="020B0604020202020204" pitchFamily="34" charset="0"/>
              <a:buNone/>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430887"/>
          </a:xfrm>
          <a:prstGeom prst="rect">
            <a:avLst/>
          </a:prstGeom>
        </p:spPr>
        <p:txBody>
          <a:bodyPr lIns="90000" anchor="t"/>
          <a:lstStyle>
            <a:lvl1pPr marL="0" indent="0">
              <a:buSzPct val="90000"/>
              <a:buFont typeface="Arial" panose="020B0604020202020204" pitchFamily="34" charset="0"/>
              <a:buNone/>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430887"/>
          </a:xfrm>
          <a:prstGeom prst="rect">
            <a:avLst/>
          </a:prstGeom>
        </p:spPr>
        <p:txBody>
          <a:bodyPr lIns="90000" anchor="t"/>
          <a:lstStyle>
            <a:lvl1pPr marL="0" indent="0">
              <a:buSzPct val="90000"/>
              <a:buFont typeface="Arial" panose="020B0604020202020204" pitchFamily="34" charset="0"/>
              <a:buNone/>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430887"/>
          </a:xfrm>
          <a:prstGeom prst="rect">
            <a:avLst/>
          </a:prstGeom>
        </p:spPr>
        <p:txBody>
          <a:bodyPr lIns="90000" anchor="t"/>
          <a:lstStyle>
            <a:lvl1pPr marL="0" indent="0">
              <a:buSzPct val="90000"/>
              <a:buFont typeface="Arial" panose="020B0604020202020204" pitchFamily="34" charset="0"/>
              <a:buNone/>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430887"/>
          </a:xfrm>
          <a:prstGeom prst="rect">
            <a:avLst/>
          </a:prstGeom>
        </p:spPr>
        <p:txBody>
          <a:bodyPr lIns="90000" anchor="t"/>
          <a:lstStyle>
            <a:lvl1pPr marL="0" indent="0">
              <a:buSzPct val="90000"/>
              <a:buFont typeface="Wingdings" pitchFamily="2" charset="2"/>
              <a:buNone/>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430887"/>
          </a:xfrm>
          <a:prstGeom prst="rect">
            <a:avLst/>
          </a:prstGeom>
        </p:spPr>
        <p:txBody>
          <a:bodyPr lIns="90000" anchor="t"/>
          <a:lstStyle>
            <a:lvl1pPr marL="0" indent="0">
              <a:buSzPct val="90000"/>
              <a:buFont typeface="Wingdings" pitchFamily="2" charset="2"/>
              <a:buNone/>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430887"/>
          </a:xfrm>
          <a:prstGeom prst="rect">
            <a:avLst/>
          </a:prstGeom>
        </p:spPr>
        <p:txBody>
          <a:bodyPr lIns="90000" anchor="t"/>
          <a:lstStyle>
            <a:lvl1pPr marL="0" indent="0">
              <a:buSzPct val="90000"/>
              <a:buFont typeface="Wingdings" pitchFamily="2" charset="2"/>
              <a:buNone/>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430887"/>
          </a:xfrm>
          <a:prstGeom prst="rect">
            <a:avLst/>
          </a:prstGeom>
        </p:spPr>
        <p:txBody>
          <a:bodyPr lIns="90000" anchor="t"/>
          <a:lstStyle>
            <a:lvl1pPr marL="0" indent="0">
              <a:buSzPct val="90000"/>
              <a:buFont typeface="Wingdings" pitchFamily="2" charset="2"/>
              <a:buNone/>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430887"/>
          </a:xfrm>
          <a:prstGeom prst="rect">
            <a:avLst/>
          </a:prstGeom>
        </p:spPr>
        <p:txBody>
          <a:bodyPr lIns="90000" anchor="t"/>
          <a:lstStyle>
            <a:lvl1pPr marL="0" indent="0">
              <a:buSzPct val="90000"/>
              <a:buFont typeface="Wingdings" pitchFamily="2" charset="2"/>
              <a:buNone/>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430887"/>
          </a:xfrm>
          <a:prstGeom prst="rect">
            <a:avLst/>
          </a:prstGeom>
        </p:spPr>
        <p:txBody>
          <a:bodyPr lIns="90000" anchor="t"/>
          <a:lstStyle>
            <a:lvl1pPr marL="0" indent="0">
              <a:buSzPct val="90000"/>
              <a:buFont typeface="Wingdings" pitchFamily="2" charset="2"/>
              <a:buNone/>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95600" y="2017713"/>
            <a:ext cx="1595438" cy="0"/>
          </a:xfrm>
          <a:prstGeom prst="line">
            <a:avLst/>
          </a:prstGeom>
          <a:ln w="254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07BF473F-E2DB-5149-4106-BD1C1976D1BD}"/>
              </a:ext>
            </a:extLst>
          </p:cNvPr>
          <p:cNvSpPr/>
          <p:nvPr userDrawn="1"/>
        </p:nvSpPr>
        <p:spPr>
          <a:xfrm>
            <a:off x="588263" y="1097111"/>
            <a:ext cx="11064240" cy="45719"/>
          </a:xfrm>
          <a:prstGeom prst="rect">
            <a:avLst/>
          </a:prstGeom>
          <a:solidFill>
            <a:schemeClr val="accent3">
              <a:lumMod val="50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2" name="Title 1">
            <a:extLst>
              <a:ext uri="{FF2B5EF4-FFF2-40B4-BE49-F238E27FC236}">
                <a16:creationId xmlns:a16="http://schemas.microsoft.com/office/drawing/2014/main" id="{042E2333-7428-6DB5-8054-403096187242}"/>
              </a:ext>
            </a:extLst>
          </p:cNvPr>
          <p:cNvSpPr>
            <a:spLocks noGrp="1"/>
          </p:cNvSpPr>
          <p:nvPr>
            <p:ph type="title"/>
          </p:nvPr>
        </p:nvSpPr>
        <p:spPr>
          <a:xfrm>
            <a:off x="588263" y="457200"/>
            <a:ext cx="11018520" cy="553998"/>
          </a:xfrm>
        </p:spPr>
        <p:txBody>
          <a:bodyPr anchor="ctr"/>
          <a:lstStyle>
            <a:lvl1pPr>
              <a:defRPr>
                <a:solidFill>
                  <a:schemeClr val="tx1"/>
                </a:solidFill>
              </a:defRPr>
            </a:lvl1pPr>
          </a:lstStyle>
          <a:p>
            <a:r>
              <a:rPr lang="en-US"/>
              <a:t>Click to edit</a:t>
            </a:r>
          </a:p>
        </p:txBody>
      </p:sp>
    </p:spTree>
    <p:extLst>
      <p:ext uri="{BB962C8B-B14F-4D97-AF65-F5344CB8AC3E}">
        <p14:creationId xmlns:p14="http://schemas.microsoft.com/office/powerpoint/2010/main" val="263795873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sequence 2">
    <p:bg>
      <p:bgPr>
        <a:solidFill>
          <a:schemeClr val="bg1"/>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436688"/>
            <a:ext cx="1595438" cy="581025"/>
          </a:xfrm>
          <a:prstGeom prst="rect">
            <a:avLst/>
          </a:prstGeom>
          <a:noFill/>
        </p:spPr>
        <p:txBody>
          <a:bodyPr wrap="square" lIns="90000" tIns="0" rIns="0" bIns="0" rtlCol="0" anchor="ctr">
            <a:noAutofit/>
          </a:bodyPr>
          <a:lstStyle/>
          <a:p>
            <a:pPr algn="l"/>
            <a:r>
              <a:rPr lang="en-US" sz="2800">
                <a:solidFill>
                  <a:schemeClr val="accent3">
                    <a:lumMod val="50000"/>
                  </a:schemeClr>
                </a:solidFill>
                <a:latin typeface="+mj-lt"/>
              </a:rPr>
              <a:t>Jan</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70150" y="1436688"/>
            <a:ext cx="1595438" cy="581025"/>
          </a:xfrm>
          <a:prstGeom prst="rect">
            <a:avLst/>
          </a:prstGeom>
          <a:noFill/>
        </p:spPr>
        <p:txBody>
          <a:bodyPr wrap="square" lIns="90000" tIns="0" rIns="0" bIns="0" rtlCol="0" anchor="ctr">
            <a:noAutofit/>
          </a:bodyPr>
          <a:lstStyle/>
          <a:p>
            <a:pPr algn="l"/>
            <a:r>
              <a:rPr lang="en-US" sz="2800">
                <a:solidFill>
                  <a:schemeClr val="accent3">
                    <a:lumMod val="50000"/>
                  </a:schemeClr>
                </a:solidFill>
                <a:latin typeface="+mj-lt"/>
              </a:rPr>
              <a:t>Feb</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67808" y="1436688"/>
            <a:ext cx="1595438" cy="581025"/>
          </a:xfrm>
          <a:prstGeom prst="rect">
            <a:avLst/>
          </a:prstGeom>
          <a:noFill/>
        </p:spPr>
        <p:txBody>
          <a:bodyPr wrap="square" lIns="90000" tIns="0" rIns="0" bIns="0" rtlCol="0" anchor="ctr">
            <a:noAutofit/>
          </a:bodyPr>
          <a:lstStyle/>
          <a:p>
            <a:pPr algn="l"/>
            <a:r>
              <a:rPr lang="en-US" sz="2800">
                <a:solidFill>
                  <a:schemeClr val="accent3">
                    <a:lumMod val="50000"/>
                  </a:schemeClr>
                </a:solidFill>
                <a:latin typeface="+mj-lt"/>
              </a:rPr>
              <a:t>Mar</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240016" y="1436688"/>
            <a:ext cx="1595438" cy="581025"/>
          </a:xfrm>
          <a:prstGeom prst="rect">
            <a:avLst/>
          </a:prstGeom>
          <a:noFill/>
        </p:spPr>
        <p:txBody>
          <a:bodyPr wrap="square" lIns="90000" tIns="0" rIns="0" bIns="0" rtlCol="0" anchor="ctr">
            <a:noAutofit/>
          </a:bodyPr>
          <a:lstStyle/>
          <a:p>
            <a:pPr algn="l"/>
            <a:r>
              <a:rPr lang="en-US" sz="2800">
                <a:solidFill>
                  <a:schemeClr val="accent3">
                    <a:lumMod val="50000"/>
                  </a:schemeClr>
                </a:solidFill>
                <a:latin typeface="+mj-lt"/>
              </a:rPr>
              <a:t>Apr</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127999" y="1436688"/>
            <a:ext cx="1592262" cy="581025"/>
          </a:xfrm>
          <a:prstGeom prst="rect">
            <a:avLst/>
          </a:prstGeom>
          <a:noFill/>
        </p:spPr>
        <p:txBody>
          <a:bodyPr wrap="square" lIns="90000" tIns="0" rIns="0" bIns="0" rtlCol="0" anchor="ctr">
            <a:noAutofit/>
          </a:bodyPr>
          <a:lstStyle/>
          <a:p>
            <a:pPr algn="l"/>
            <a:r>
              <a:rPr lang="en-US" sz="2800">
                <a:solidFill>
                  <a:schemeClr val="accent3">
                    <a:lumMod val="50000"/>
                  </a:schemeClr>
                </a:solidFill>
                <a:latin typeface="+mj-lt"/>
              </a:rPr>
              <a:t>May</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10013950" y="1436688"/>
            <a:ext cx="1595438" cy="581025"/>
          </a:xfrm>
          <a:prstGeom prst="rect">
            <a:avLst/>
          </a:prstGeom>
          <a:noFill/>
        </p:spPr>
        <p:txBody>
          <a:bodyPr wrap="square" lIns="90000" tIns="0" rIns="0" bIns="0" rtlCol="0" anchor="ctr">
            <a:noAutofit/>
          </a:bodyPr>
          <a:lstStyle/>
          <a:p>
            <a:pPr algn="l"/>
            <a:r>
              <a:rPr lang="en-US" sz="2800">
                <a:solidFill>
                  <a:schemeClr val="accent3">
                    <a:lumMod val="50000"/>
                  </a:schemeClr>
                </a:solidFill>
                <a:latin typeface="+mj-lt"/>
              </a:rPr>
              <a:t>Jun</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3789363"/>
            <a:ext cx="1595438" cy="581025"/>
          </a:xfrm>
          <a:prstGeom prst="rect">
            <a:avLst/>
          </a:prstGeom>
          <a:noFill/>
        </p:spPr>
        <p:txBody>
          <a:bodyPr wrap="square" lIns="90000" tIns="0" rIns="0" bIns="0" rtlCol="0" anchor="ctr">
            <a:noAutofit/>
          </a:bodyPr>
          <a:lstStyle/>
          <a:p>
            <a:pPr algn="l"/>
            <a:r>
              <a:rPr lang="en-US" sz="2800">
                <a:solidFill>
                  <a:schemeClr val="accent3">
                    <a:lumMod val="50000"/>
                  </a:schemeClr>
                </a:solidFill>
                <a:latin typeface="+mj-lt"/>
              </a:rPr>
              <a:t>Jul</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70150" y="3789363"/>
            <a:ext cx="1595438" cy="581025"/>
          </a:xfrm>
          <a:prstGeom prst="rect">
            <a:avLst/>
          </a:prstGeom>
          <a:noFill/>
        </p:spPr>
        <p:txBody>
          <a:bodyPr wrap="square" lIns="90000" tIns="0" rIns="0" bIns="0" rtlCol="0" anchor="ctr">
            <a:noAutofit/>
          </a:bodyPr>
          <a:lstStyle/>
          <a:p>
            <a:pPr algn="l"/>
            <a:r>
              <a:rPr lang="en-US" sz="2800">
                <a:solidFill>
                  <a:schemeClr val="accent3">
                    <a:lumMod val="50000"/>
                  </a:schemeClr>
                </a:solidFill>
                <a:latin typeface="+mj-lt"/>
              </a:rPr>
              <a:t>Aug</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67808" y="3789363"/>
            <a:ext cx="1595438" cy="581025"/>
          </a:xfrm>
          <a:prstGeom prst="rect">
            <a:avLst/>
          </a:prstGeom>
          <a:noFill/>
        </p:spPr>
        <p:txBody>
          <a:bodyPr wrap="square" lIns="90000" tIns="0" rIns="0" bIns="0" rtlCol="0" anchor="ctr">
            <a:noAutofit/>
          </a:bodyPr>
          <a:lstStyle/>
          <a:p>
            <a:pPr algn="l"/>
            <a:r>
              <a:rPr lang="en-US" sz="2800">
                <a:solidFill>
                  <a:schemeClr val="accent3">
                    <a:lumMod val="50000"/>
                  </a:schemeClr>
                </a:solidFill>
                <a:latin typeface="+mj-lt"/>
              </a:rPr>
              <a:t>Sep</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240016" y="3789363"/>
            <a:ext cx="1595438" cy="581025"/>
          </a:xfrm>
          <a:prstGeom prst="rect">
            <a:avLst/>
          </a:prstGeom>
          <a:noFill/>
        </p:spPr>
        <p:txBody>
          <a:bodyPr wrap="square" lIns="90000" tIns="0" rIns="0" bIns="0" rtlCol="0" anchor="ctr">
            <a:noAutofit/>
          </a:bodyPr>
          <a:lstStyle/>
          <a:p>
            <a:pPr algn="l"/>
            <a:r>
              <a:rPr lang="en-US" sz="2800">
                <a:solidFill>
                  <a:schemeClr val="accent3">
                    <a:lumMod val="50000"/>
                  </a:schemeClr>
                </a:solidFill>
                <a:latin typeface="+mj-lt"/>
              </a:rPr>
              <a:t>Oct</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127999" y="3789363"/>
            <a:ext cx="1592262" cy="581025"/>
          </a:xfrm>
          <a:prstGeom prst="rect">
            <a:avLst/>
          </a:prstGeom>
          <a:noFill/>
        </p:spPr>
        <p:txBody>
          <a:bodyPr wrap="square" lIns="90000" tIns="0" rIns="0" bIns="0" rtlCol="0" anchor="ctr">
            <a:noAutofit/>
          </a:bodyPr>
          <a:lstStyle/>
          <a:p>
            <a:pPr algn="l"/>
            <a:r>
              <a:rPr lang="en-US" sz="2800">
                <a:solidFill>
                  <a:schemeClr val="accent3">
                    <a:lumMod val="50000"/>
                  </a:schemeClr>
                </a:solidFill>
                <a:latin typeface="+mj-lt"/>
              </a:rPr>
              <a:t>Nov</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10013950" y="3789363"/>
            <a:ext cx="1595438" cy="581025"/>
          </a:xfrm>
          <a:prstGeom prst="rect">
            <a:avLst/>
          </a:prstGeom>
          <a:noFill/>
        </p:spPr>
        <p:txBody>
          <a:bodyPr wrap="square" lIns="90000" tIns="0" rIns="0" bIns="0" rtlCol="0" anchor="ctr">
            <a:noAutofit/>
          </a:bodyPr>
          <a:lstStyle/>
          <a:p>
            <a:pPr algn="l"/>
            <a:r>
              <a:rPr lang="en-US" sz="2800">
                <a:solidFill>
                  <a:schemeClr val="accent3">
                    <a:lumMod val="50000"/>
                  </a:schemeClr>
                </a:solidFill>
                <a:latin typeface="+mj-lt"/>
              </a:rPr>
              <a:t>Dec</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430887"/>
          </a:xfrm>
          <a:prstGeom prst="rect">
            <a:avLst/>
          </a:prstGeom>
        </p:spPr>
        <p:txBody>
          <a:bodyPr lIns="90000" anchor="t"/>
          <a:lstStyle>
            <a:lvl1pPr marL="0" indent="0">
              <a:buSzPct val="90000"/>
              <a:buFont typeface="Wingdings" pitchFamily="2" charset="2"/>
              <a:buNone/>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430887"/>
          </a:xfrm>
          <a:prstGeom prst="rect">
            <a:avLst/>
          </a:prstGeom>
        </p:spPr>
        <p:txBody>
          <a:bodyPr lIns="90000" anchor="t"/>
          <a:lstStyle>
            <a:lvl1pPr marL="0" indent="0">
              <a:buSzPct val="90000"/>
              <a:buFont typeface="Wingdings" pitchFamily="2" charset="2"/>
              <a:buNone/>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430887"/>
          </a:xfrm>
          <a:prstGeom prst="rect">
            <a:avLst/>
          </a:prstGeom>
        </p:spPr>
        <p:txBody>
          <a:bodyPr lIns="90000" anchor="t"/>
          <a:lstStyle>
            <a:lvl1pPr marL="0" indent="0">
              <a:buSzPct val="90000"/>
              <a:buFont typeface="Wingdings" pitchFamily="2" charset="2"/>
              <a:buNone/>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430887"/>
          </a:xfrm>
          <a:prstGeom prst="rect">
            <a:avLst/>
          </a:prstGeom>
        </p:spPr>
        <p:txBody>
          <a:bodyPr lIns="90000" anchor="t"/>
          <a:lstStyle>
            <a:lvl1pPr marL="0" indent="0">
              <a:buSzPct val="90000"/>
              <a:buFont typeface="Wingdings" pitchFamily="2" charset="2"/>
              <a:buNone/>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430887"/>
          </a:xfrm>
          <a:prstGeom prst="rect">
            <a:avLst/>
          </a:prstGeom>
        </p:spPr>
        <p:txBody>
          <a:bodyPr lIns="90000" anchor="t"/>
          <a:lstStyle>
            <a:lvl1pPr marL="0" indent="0">
              <a:buSzPct val="90000"/>
              <a:buFont typeface="Wingdings" pitchFamily="2" charset="2"/>
              <a:buNone/>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430887"/>
          </a:xfrm>
          <a:prstGeom prst="rect">
            <a:avLst/>
          </a:prstGeom>
        </p:spPr>
        <p:txBody>
          <a:bodyPr lIns="90000" anchor="t"/>
          <a:lstStyle>
            <a:lvl1pPr marL="0" indent="0">
              <a:buSzPct val="90000"/>
              <a:buFont typeface="Wingdings" pitchFamily="2" charset="2"/>
              <a:buNone/>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430887"/>
          </a:xfrm>
          <a:prstGeom prst="rect">
            <a:avLst/>
          </a:prstGeom>
        </p:spPr>
        <p:txBody>
          <a:bodyPr lIns="90000" anchor="t"/>
          <a:lstStyle>
            <a:lvl1pPr marL="0" indent="0">
              <a:buSzPct val="90000"/>
              <a:buFont typeface="Wingdings" pitchFamily="2" charset="2"/>
              <a:buNone/>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430887"/>
          </a:xfrm>
          <a:prstGeom prst="rect">
            <a:avLst/>
          </a:prstGeom>
        </p:spPr>
        <p:txBody>
          <a:bodyPr lIns="90000" anchor="t"/>
          <a:lstStyle>
            <a:lvl1pPr marL="0" indent="0">
              <a:buSzPct val="90000"/>
              <a:buFont typeface="Wingdings" pitchFamily="2" charset="2"/>
              <a:buNone/>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430887"/>
          </a:xfrm>
          <a:prstGeom prst="rect">
            <a:avLst/>
          </a:prstGeom>
        </p:spPr>
        <p:txBody>
          <a:bodyPr lIns="90000" anchor="t"/>
          <a:lstStyle>
            <a:lvl1pPr marL="0" indent="0">
              <a:buSzPct val="90000"/>
              <a:buFont typeface="Wingdings" pitchFamily="2" charset="2"/>
              <a:buNone/>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430887"/>
          </a:xfrm>
          <a:prstGeom prst="rect">
            <a:avLst/>
          </a:prstGeom>
        </p:spPr>
        <p:txBody>
          <a:bodyPr lIns="90000" anchor="t"/>
          <a:lstStyle>
            <a:lvl1pPr marL="0" indent="0">
              <a:buSzPct val="90000"/>
              <a:buFont typeface="Wingdings" pitchFamily="2" charset="2"/>
              <a:buNone/>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430887"/>
          </a:xfrm>
          <a:prstGeom prst="rect">
            <a:avLst/>
          </a:prstGeom>
        </p:spPr>
        <p:txBody>
          <a:bodyPr lIns="90000" anchor="t"/>
          <a:lstStyle>
            <a:lvl1pPr marL="0" indent="0">
              <a:buSzPct val="90000"/>
              <a:buFont typeface="Wingdings" pitchFamily="2" charset="2"/>
              <a:buNone/>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430887"/>
          </a:xfrm>
          <a:prstGeom prst="rect">
            <a:avLst/>
          </a:prstGeom>
        </p:spPr>
        <p:txBody>
          <a:bodyPr lIns="90000" anchor="t"/>
          <a:lstStyle>
            <a:lvl1pPr marL="0" indent="0">
              <a:buSzPct val="90000"/>
              <a:buFont typeface="Wingdings" pitchFamily="2" charset="2"/>
              <a:buNone/>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95600" y="2017713"/>
            <a:ext cx="1595438" cy="0"/>
          </a:xfrm>
          <a:prstGeom prst="line">
            <a:avLst/>
          </a:prstGeom>
          <a:ln w="254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48EEEF23-0756-06EA-70AA-0CD251B077CE}"/>
              </a:ext>
            </a:extLst>
          </p:cNvPr>
          <p:cNvSpPr/>
          <p:nvPr userDrawn="1"/>
        </p:nvSpPr>
        <p:spPr>
          <a:xfrm>
            <a:off x="588263" y="1097111"/>
            <a:ext cx="11064240" cy="45719"/>
          </a:xfrm>
          <a:prstGeom prst="rect">
            <a:avLst/>
          </a:prstGeom>
          <a:solidFill>
            <a:schemeClr val="accent3">
              <a:lumMod val="50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2" name="Title 1">
            <a:extLst>
              <a:ext uri="{FF2B5EF4-FFF2-40B4-BE49-F238E27FC236}">
                <a16:creationId xmlns:a16="http://schemas.microsoft.com/office/drawing/2014/main" id="{A35D72EA-D2DA-D2F7-8BA3-FF010DF4F5FB}"/>
              </a:ext>
            </a:extLst>
          </p:cNvPr>
          <p:cNvSpPr>
            <a:spLocks noGrp="1"/>
          </p:cNvSpPr>
          <p:nvPr>
            <p:ph type="title"/>
          </p:nvPr>
        </p:nvSpPr>
        <p:spPr>
          <a:xfrm>
            <a:off x="588263" y="457200"/>
            <a:ext cx="11018520" cy="553998"/>
          </a:xfrm>
        </p:spPr>
        <p:txBody>
          <a:bodyPr anchor="ctr"/>
          <a:lstStyle>
            <a:lvl1pPr>
              <a:defRPr>
                <a:solidFill>
                  <a:schemeClr val="tx1"/>
                </a:solidFill>
              </a:defRPr>
            </a:lvl1pPr>
          </a:lstStyle>
          <a:p>
            <a:r>
              <a:rPr lang="en-US"/>
              <a:t>Click to edit</a:t>
            </a:r>
          </a:p>
        </p:txBody>
      </p:sp>
    </p:spTree>
    <p:extLst>
      <p:ext uri="{BB962C8B-B14F-4D97-AF65-F5344CB8AC3E}">
        <p14:creationId xmlns:p14="http://schemas.microsoft.com/office/powerpoint/2010/main" val="251149388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sequence 3">
    <p:bg>
      <p:bgPr>
        <a:solidFill>
          <a:schemeClr val="bg1"/>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436688"/>
            <a:ext cx="1595438" cy="581025"/>
          </a:xfrm>
          <a:prstGeom prst="rect">
            <a:avLst/>
          </a:prstGeom>
          <a:noFill/>
        </p:spPr>
        <p:txBody>
          <a:bodyPr wrap="square" lIns="90000" tIns="0" rIns="0" bIns="0" rtlCol="0" anchor="ctr">
            <a:noAutofit/>
          </a:bodyPr>
          <a:lstStyle/>
          <a:p>
            <a:pPr marL="0" indent="0" algn="l">
              <a:buFont typeface="Arial" panose="020B0604020202020204" pitchFamily="34" charset="0"/>
              <a:buNone/>
            </a:pPr>
            <a:r>
              <a:rPr lang="en-US" sz="2000">
                <a:solidFill>
                  <a:schemeClr val="accent3">
                    <a:lumMod val="50000"/>
                  </a:schemeClr>
                </a:solidFill>
                <a:latin typeface="+mj-lt"/>
              </a:rPr>
              <a:t>Week 1</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70150" y="1436688"/>
            <a:ext cx="1595438" cy="581025"/>
          </a:xfrm>
          <a:prstGeom prst="rect">
            <a:avLst/>
          </a:prstGeom>
          <a:noFill/>
        </p:spPr>
        <p:txBody>
          <a:bodyPr wrap="square" lIns="90000" tIns="0" rIns="0" bIns="0" rtlCol="0" anchor="ctr">
            <a:noAutofit/>
          </a:bodyPr>
          <a:lstStyle/>
          <a:p>
            <a:pPr marL="0" indent="0" algn="l">
              <a:buFont typeface="Arial" panose="020B0604020202020204" pitchFamily="34" charset="0"/>
              <a:buNone/>
            </a:pPr>
            <a:r>
              <a:rPr lang="en-US" sz="2000">
                <a:solidFill>
                  <a:schemeClr val="accent3">
                    <a:lumMod val="50000"/>
                  </a:schemeClr>
                </a:solidFill>
                <a:latin typeface="+mj-lt"/>
              </a:rPr>
              <a:t>Week 2</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67808" y="1436688"/>
            <a:ext cx="1595438" cy="581025"/>
          </a:xfrm>
          <a:prstGeom prst="rect">
            <a:avLst/>
          </a:prstGeom>
          <a:noFill/>
        </p:spPr>
        <p:txBody>
          <a:bodyPr wrap="square" lIns="90000" tIns="0" rIns="0" bIns="0" rtlCol="0" anchor="ctr">
            <a:noAutofit/>
          </a:bodyPr>
          <a:lstStyle/>
          <a:p>
            <a:pPr marL="0" indent="0" algn="l">
              <a:buFont typeface="Arial" panose="020B0604020202020204" pitchFamily="34" charset="0"/>
              <a:buNone/>
            </a:pPr>
            <a:r>
              <a:rPr lang="en-US" sz="2000">
                <a:solidFill>
                  <a:schemeClr val="accent3">
                    <a:lumMod val="50000"/>
                  </a:schemeClr>
                </a:solidFill>
                <a:latin typeface="+mj-lt"/>
              </a:rPr>
              <a:t>Week 3</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240016" y="1436688"/>
            <a:ext cx="1595438" cy="581025"/>
          </a:xfrm>
          <a:prstGeom prst="rect">
            <a:avLst/>
          </a:prstGeom>
          <a:noFill/>
        </p:spPr>
        <p:txBody>
          <a:bodyPr wrap="square" lIns="90000" tIns="0" rIns="0" bIns="0" rtlCol="0" anchor="ctr">
            <a:noAutofit/>
          </a:bodyPr>
          <a:lstStyle/>
          <a:p>
            <a:pPr marL="0" indent="0" algn="l">
              <a:buFont typeface="Arial" panose="020B0604020202020204" pitchFamily="34" charset="0"/>
              <a:buNone/>
            </a:pPr>
            <a:r>
              <a:rPr lang="en-US" sz="2000">
                <a:solidFill>
                  <a:schemeClr val="accent3">
                    <a:lumMod val="50000"/>
                  </a:schemeClr>
                </a:solidFill>
                <a:latin typeface="+mj-lt"/>
              </a:rPr>
              <a:t>Week 4</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127999" y="1436688"/>
            <a:ext cx="1592262" cy="581025"/>
          </a:xfrm>
          <a:prstGeom prst="rect">
            <a:avLst/>
          </a:prstGeom>
          <a:noFill/>
        </p:spPr>
        <p:txBody>
          <a:bodyPr wrap="square" lIns="90000" tIns="0" rIns="0" bIns="0" rtlCol="0" anchor="ctr">
            <a:noAutofit/>
          </a:bodyPr>
          <a:lstStyle/>
          <a:p>
            <a:pPr marL="0" indent="0" algn="l">
              <a:buFont typeface="Arial" panose="020B0604020202020204" pitchFamily="34" charset="0"/>
              <a:buNone/>
            </a:pPr>
            <a:r>
              <a:rPr lang="en-US" sz="2000">
                <a:solidFill>
                  <a:schemeClr val="accent3">
                    <a:lumMod val="50000"/>
                  </a:schemeClr>
                </a:solidFill>
                <a:latin typeface="+mj-lt"/>
              </a:rPr>
              <a:t>Week 5</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10013950" y="1436688"/>
            <a:ext cx="1595438" cy="581025"/>
          </a:xfrm>
          <a:prstGeom prst="rect">
            <a:avLst/>
          </a:prstGeom>
          <a:noFill/>
        </p:spPr>
        <p:txBody>
          <a:bodyPr wrap="square" lIns="90000" tIns="0" rIns="0" bIns="0" rtlCol="0" anchor="ctr">
            <a:noAutofit/>
          </a:bodyPr>
          <a:lstStyle/>
          <a:p>
            <a:pPr marL="0" indent="0" algn="l">
              <a:buFont typeface="Arial" panose="020B0604020202020204" pitchFamily="34" charset="0"/>
              <a:buNone/>
            </a:pPr>
            <a:r>
              <a:rPr lang="en-US" sz="2000">
                <a:solidFill>
                  <a:schemeClr val="accent3">
                    <a:lumMod val="50000"/>
                  </a:schemeClr>
                </a:solidFill>
                <a:latin typeface="+mj-lt"/>
              </a:rPr>
              <a:t>Week 6</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3789363"/>
            <a:ext cx="1595438" cy="581025"/>
          </a:xfrm>
          <a:prstGeom prst="rect">
            <a:avLst/>
          </a:prstGeom>
          <a:noFill/>
        </p:spPr>
        <p:txBody>
          <a:bodyPr wrap="square" lIns="90000" tIns="0" rIns="0" bIns="0" rtlCol="0" anchor="ctr">
            <a:noAutofit/>
          </a:bodyPr>
          <a:lstStyle/>
          <a:p>
            <a:pPr marL="0" indent="0" algn="l">
              <a:buFont typeface="Arial" panose="020B0604020202020204" pitchFamily="34" charset="0"/>
              <a:buNone/>
            </a:pPr>
            <a:r>
              <a:rPr lang="en-US" sz="2000">
                <a:solidFill>
                  <a:schemeClr val="accent3">
                    <a:lumMod val="50000"/>
                  </a:schemeClr>
                </a:solidFill>
                <a:latin typeface="+mj-lt"/>
              </a:rPr>
              <a:t>Week 7</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70150" y="3789363"/>
            <a:ext cx="1595438" cy="581025"/>
          </a:xfrm>
          <a:prstGeom prst="rect">
            <a:avLst/>
          </a:prstGeom>
          <a:noFill/>
        </p:spPr>
        <p:txBody>
          <a:bodyPr wrap="square" lIns="90000" tIns="0" rIns="0" bIns="0" rtlCol="0" anchor="ctr">
            <a:noAutofit/>
          </a:bodyPr>
          <a:lstStyle/>
          <a:p>
            <a:pPr marL="0" indent="0" algn="l">
              <a:buFont typeface="Arial" panose="020B0604020202020204" pitchFamily="34" charset="0"/>
              <a:buNone/>
            </a:pPr>
            <a:r>
              <a:rPr lang="en-US" sz="2000">
                <a:solidFill>
                  <a:schemeClr val="accent3">
                    <a:lumMod val="50000"/>
                  </a:schemeClr>
                </a:solidFill>
                <a:latin typeface="+mj-lt"/>
              </a:rPr>
              <a:t>Week 8</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67808" y="3789363"/>
            <a:ext cx="1595438" cy="581025"/>
          </a:xfrm>
          <a:prstGeom prst="rect">
            <a:avLst/>
          </a:prstGeom>
          <a:noFill/>
        </p:spPr>
        <p:txBody>
          <a:bodyPr wrap="square" lIns="90000" tIns="0" rIns="0" bIns="0" rtlCol="0" anchor="ctr">
            <a:noAutofit/>
          </a:bodyPr>
          <a:lstStyle/>
          <a:p>
            <a:pPr marL="0" indent="0" algn="l">
              <a:buFont typeface="Arial" panose="020B0604020202020204" pitchFamily="34" charset="0"/>
              <a:buNone/>
            </a:pPr>
            <a:r>
              <a:rPr lang="en-US" sz="2000">
                <a:solidFill>
                  <a:schemeClr val="accent3">
                    <a:lumMod val="50000"/>
                  </a:schemeClr>
                </a:solidFill>
                <a:latin typeface="+mj-lt"/>
              </a:rPr>
              <a:t>Week 9</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240016" y="3789363"/>
            <a:ext cx="1595438" cy="581025"/>
          </a:xfrm>
          <a:prstGeom prst="rect">
            <a:avLst/>
          </a:prstGeom>
          <a:noFill/>
        </p:spPr>
        <p:txBody>
          <a:bodyPr wrap="square" lIns="90000" tIns="0" rIns="0" bIns="0" rtlCol="0" anchor="ctr">
            <a:noAutofit/>
          </a:bodyPr>
          <a:lstStyle/>
          <a:p>
            <a:pPr marL="0" indent="0" algn="l">
              <a:buFont typeface="Arial" panose="020B0604020202020204" pitchFamily="34" charset="0"/>
              <a:buNone/>
            </a:pPr>
            <a:r>
              <a:rPr lang="en-US" sz="2000">
                <a:solidFill>
                  <a:schemeClr val="accent3">
                    <a:lumMod val="50000"/>
                  </a:schemeClr>
                </a:solidFill>
                <a:latin typeface="+mj-lt"/>
              </a:rPr>
              <a:t>Week 10</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127999" y="3789363"/>
            <a:ext cx="1592262" cy="581025"/>
          </a:xfrm>
          <a:prstGeom prst="rect">
            <a:avLst/>
          </a:prstGeom>
          <a:noFill/>
        </p:spPr>
        <p:txBody>
          <a:bodyPr wrap="square" lIns="90000" tIns="0" rIns="0" bIns="0" rtlCol="0" anchor="ctr">
            <a:noAutofit/>
          </a:bodyPr>
          <a:lstStyle/>
          <a:p>
            <a:pPr marL="0" indent="0" algn="l">
              <a:buFont typeface="Arial" panose="020B0604020202020204" pitchFamily="34" charset="0"/>
              <a:buNone/>
            </a:pPr>
            <a:r>
              <a:rPr lang="en-US" sz="2000">
                <a:solidFill>
                  <a:schemeClr val="accent3">
                    <a:lumMod val="50000"/>
                  </a:schemeClr>
                </a:solidFill>
                <a:latin typeface="+mj-lt"/>
              </a:rPr>
              <a:t>Week 11</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10013950" y="3789363"/>
            <a:ext cx="1595438" cy="581025"/>
          </a:xfrm>
          <a:prstGeom prst="rect">
            <a:avLst/>
          </a:prstGeom>
          <a:noFill/>
        </p:spPr>
        <p:txBody>
          <a:bodyPr wrap="square" lIns="90000" tIns="0" rIns="0" bIns="0" rtlCol="0" anchor="ctr">
            <a:noAutofit/>
          </a:bodyPr>
          <a:lstStyle/>
          <a:p>
            <a:pPr marL="0" indent="0" algn="l">
              <a:buFont typeface="Arial" panose="020B0604020202020204" pitchFamily="34" charset="0"/>
              <a:buNone/>
            </a:pPr>
            <a:r>
              <a:rPr lang="en-US" sz="2000">
                <a:solidFill>
                  <a:schemeClr val="accent3">
                    <a:lumMod val="50000"/>
                  </a:schemeClr>
                </a:solidFill>
                <a:latin typeface="+mj-lt"/>
              </a:rPr>
              <a:t>Week 12</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430887"/>
          </a:xfrm>
          <a:prstGeom prst="rect">
            <a:avLst/>
          </a:prstGeom>
        </p:spPr>
        <p:txBody>
          <a:bodyPr lIns="90000" anchor="t"/>
          <a:lstStyle>
            <a:lvl1pPr marL="0" indent="0">
              <a:buSzPct val="90000"/>
              <a:buFont typeface="Wingdings" pitchFamily="2" charset="2"/>
              <a:buNone/>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430887"/>
          </a:xfrm>
          <a:prstGeom prst="rect">
            <a:avLst/>
          </a:prstGeom>
        </p:spPr>
        <p:txBody>
          <a:bodyPr lIns="90000" anchor="t"/>
          <a:lstStyle>
            <a:lvl1pPr marL="0" indent="0">
              <a:buSzPct val="90000"/>
              <a:buFont typeface="Wingdings" pitchFamily="2" charset="2"/>
              <a:buNone/>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430887"/>
          </a:xfrm>
          <a:prstGeom prst="rect">
            <a:avLst/>
          </a:prstGeom>
        </p:spPr>
        <p:txBody>
          <a:bodyPr lIns="90000" anchor="t"/>
          <a:lstStyle>
            <a:lvl1pPr marL="0" indent="0">
              <a:buSzPct val="90000"/>
              <a:buFont typeface="Wingdings" pitchFamily="2" charset="2"/>
              <a:buNone/>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430887"/>
          </a:xfrm>
          <a:prstGeom prst="rect">
            <a:avLst/>
          </a:prstGeom>
        </p:spPr>
        <p:txBody>
          <a:bodyPr lIns="90000" anchor="t"/>
          <a:lstStyle>
            <a:lvl1pPr marL="0" indent="0">
              <a:buSzPct val="90000"/>
              <a:buFont typeface="Wingdings" pitchFamily="2" charset="2"/>
              <a:buNone/>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430887"/>
          </a:xfrm>
          <a:prstGeom prst="rect">
            <a:avLst/>
          </a:prstGeom>
        </p:spPr>
        <p:txBody>
          <a:bodyPr lIns="90000" anchor="t"/>
          <a:lstStyle>
            <a:lvl1pPr marL="0" indent="0">
              <a:buSzPct val="90000"/>
              <a:buFont typeface="Wingdings" pitchFamily="2" charset="2"/>
              <a:buNone/>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430887"/>
          </a:xfrm>
          <a:prstGeom prst="rect">
            <a:avLst/>
          </a:prstGeom>
        </p:spPr>
        <p:txBody>
          <a:bodyPr lIns="90000" anchor="t"/>
          <a:lstStyle>
            <a:lvl1pPr marL="0" indent="0">
              <a:buSzPct val="90000"/>
              <a:buFont typeface="Wingdings" pitchFamily="2" charset="2"/>
              <a:buNone/>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430887"/>
          </a:xfrm>
          <a:prstGeom prst="rect">
            <a:avLst/>
          </a:prstGeom>
        </p:spPr>
        <p:txBody>
          <a:bodyPr lIns="90000" anchor="t"/>
          <a:lstStyle>
            <a:lvl1pPr marL="0" indent="0">
              <a:buSzPct val="90000"/>
              <a:buFont typeface="Wingdings" pitchFamily="2" charset="2"/>
              <a:buNone/>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430887"/>
          </a:xfrm>
          <a:prstGeom prst="rect">
            <a:avLst/>
          </a:prstGeom>
        </p:spPr>
        <p:txBody>
          <a:bodyPr lIns="90000" anchor="t"/>
          <a:lstStyle>
            <a:lvl1pPr marL="0" indent="0">
              <a:buSzPct val="90000"/>
              <a:buFont typeface="Wingdings" pitchFamily="2" charset="2"/>
              <a:buNone/>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430887"/>
          </a:xfrm>
          <a:prstGeom prst="rect">
            <a:avLst/>
          </a:prstGeom>
        </p:spPr>
        <p:txBody>
          <a:bodyPr lIns="90000" anchor="t"/>
          <a:lstStyle>
            <a:lvl1pPr marL="0" indent="0">
              <a:buSzPct val="90000"/>
              <a:buFont typeface="Wingdings" pitchFamily="2" charset="2"/>
              <a:buNone/>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430887"/>
          </a:xfrm>
          <a:prstGeom prst="rect">
            <a:avLst/>
          </a:prstGeom>
        </p:spPr>
        <p:txBody>
          <a:bodyPr lIns="90000" anchor="t"/>
          <a:lstStyle>
            <a:lvl1pPr marL="0" indent="0">
              <a:buSzPct val="90000"/>
              <a:buFont typeface="Wingdings" pitchFamily="2" charset="2"/>
              <a:buNone/>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430887"/>
          </a:xfrm>
          <a:prstGeom prst="rect">
            <a:avLst/>
          </a:prstGeom>
        </p:spPr>
        <p:txBody>
          <a:bodyPr lIns="90000" anchor="t"/>
          <a:lstStyle>
            <a:lvl1pPr marL="0" indent="0">
              <a:buSzPct val="90000"/>
              <a:buFont typeface="Wingdings" pitchFamily="2" charset="2"/>
              <a:buNone/>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430887"/>
          </a:xfrm>
          <a:prstGeom prst="rect">
            <a:avLst/>
          </a:prstGeom>
        </p:spPr>
        <p:txBody>
          <a:bodyPr lIns="90000" anchor="t"/>
          <a:lstStyle>
            <a:lvl1pPr marL="0" indent="0">
              <a:buSzPct val="90000"/>
              <a:buFont typeface="Wingdings" pitchFamily="2" charset="2"/>
              <a:buNone/>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95600" y="2017713"/>
            <a:ext cx="1595438" cy="0"/>
          </a:xfrm>
          <a:prstGeom prst="line">
            <a:avLst/>
          </a:prstGeom>
          <a:ln w="254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2F4E35C3-37D2-5386-9330-7C75C208A94E}"/>
              </a:ext>
            </a:extLst>
          </p:cNvPr>
          <p:cNvSpPr/>
          <p:nvPr userDrawn="1"/>
        </p:nvSpPr>
        <p:spPr>
          <a:xfrm>
            <a:off x="588263" y="1097111"/>
            <a:ext cx="11064240" cy="45719"/>
          </a:xfrm>
          <a:prstGeom prst="rect">
            <a:avLst/>
          </a:prstGeom>
          <a:solidFill>
            <a:schemeClr val="accent3">
              <a:lumMod val="50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2" name="Title 1">
            <a:extLst>
              <a:ext uri="{FF2B5EF4-FFF2-40B4-BE49-F238E27FC236}">
                <a16:creationId xmlns:a16="http://schemas.microsoft.com/office/drawing/2014/main" id="{D5859CCD-9EE3-A06E-1F3C-916EB0DEAEEB}"/>
              </a:ext>
            </a:extLst>
          </p:cNvPr>
          <p:cNvSpPr>
            <a:spLocks noGrp="1"/>
          </p:cNvSpPr>
          <p:nvPr>
            <p:ph type="title"/>
          </p:nvPr>
        </p:nvSpPr>
        <p:spPr>
          <a:xfrm>
            <a:off x="588263" y="457200"/>
            <a:ext cx="11018520" cy="553998"/>
          </a:xfrm>
        </p:spPr>
        <p:txBody>
          <a:bodyPr anchor="ctr"/>
          <a:lstStyle>
            <a:lvl1pPr>
              <a:defRPr>
                <a:solidFill>
                  <a:schemeClr val="tx1"/>
                </a:solidFill>
              </a:defRPr>
            </a:lvl1pPr>
          </a:lstStyle>
          <a:p>
            <a:r>
              <a:rPr lang="en-US"/>
              <a:t>Click to edit</a:t>
            </a:r>
          </a:p>
        </p:txBody>
      </p:sp>
    </p:spTree>
    <p:extLst>
      <p:ext uri="{BB962C8B-B14F-4D97-AF65-F5344CB8AC3E}">
        <p14:creationId xmlns:p14="http://schemas.microsoft.com/office/powerpoint/2010/main" val="11308774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1_Two Column Non-bulleted text">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7A6AD8A-0DFA-39AB-D0D0-6F10B3920A29}"/>
              </a:ext>
            </a:extLst>
          </p:cNvPr>
          <p:cNvGrpSpPr/>
          <p:nvPr userDrawn="1"/>
        </p:nvGrpSpPr>
        <p:grpSpPr>
          <a:xfrm>
            <a:off x="11207931" y="114223"/>
            <a:ext cx="984069" cy="1526510"/>
            <a:chOff x="11207931" y="114223"/>
            <a:chExt cx="984069" cy="1526510"/>
          </a:xfrm>
        </p:grpSpPr>
        <p:sp>
          <p:nvSpPr>
            <p:cNvPr id="5" name="Freeform 4">
              <a:extLst>
                <a:ext uri="{FF2B5EF4-FFF2-40B4-BE49-F238E27FC236}">
                  <a16:creationId xmlns:a16="http://schemas.microsoft.com/office/drawing/2014/main" id="{4807EF07-61B5-59AB-395C-C87FC3BCFF4B}"/>
                </a:ext>
              </a:extLst>
            </p:cNvPr>
            <p:cNvSpPr/>
            <p:nvPr/>
          </p:nvSpPr>
          <p:spPr bwMode="auto">
            <a:xfrm>
              <a:off x="11683516" y="209494"/>
              <a:ext cx="508484" cy="1049410"/>
            </a:xfrm>
            <a:custGeom>
              <a:avLst/>
              <a:gdLst>
                <a:gd name="connsiteX0" fmla="*/ 508484 w 508484"/>
                <a:gd name="connsiteY0" fmla="*/ 0 h 1049410"/>
                <a:gd name="connsiteX1" fmla="*/ 508484 w 508484"/>
                <a:gd name="connsiteY1" fmla="*/ 1049410 h 1049410"/>
                <a:gd name="connsiteX2" fmla="*/ 420411 w 508484"/>
                <a:gd name="connsiteY2" fmla="*/ 1040532 h 1049410"/>
                <a:gd name="connsiteX3" fmla="*/ 0 w 508484"/>
                <a:gd name="connsiteY3" fmla="*/ 524705 h 1049410"/>
                <a:gd name="connsiteX4" fmla="*/ 420411 w 508484"/>
                <a:gd name="connsiteY4" fmla="*/ 8878 h 1049410"/>
                <a:gd name="connsiteX5" fmla="*/ 508484 w 508484"/>
                <a:gd name="connsiteY5" fmla="*/ 0 h 1049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8484" h="1049410">
                  <a:moveTo>
                    <a:pt x="508484" y="0"/>
                  </a:moveTo>
                  <a:lnTo>
                    <a:pt x="508484" y="1049410"/>
                  </a:lnTo>
                  <a:lnTo>
                    <a:pt x="420411" y="1040532"/>
                  </a:lnTo>
                  <a:cubicBezTo>
                    <a:pt x="180483" y="991436"/>
                    <a:pt x="0" y="779147"/>
                    <a:pt x="0" y="524705"/>
                  </a:cubicBezTo>
                  <a:cubicBezTo>
                    <a:pt x="0" y="270263"/>
                    <a:pt x="180483" y="57975"/>
                    <a:pt x="420411" y="8878"/>
                  </a:cubicBezTo>
                  <a:lnTo>
                    <a:pt x="508484" y="0"/>
                  </a:lnTo>
                  <a:close/>
                </a:path>
              </a:pathLst>
            </a:custGeom>
            <a:solidFill>
              <a:schemeClr val="accent5">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7" name="Freeform 6">
              <a:extLst>
                <a:ext uri="{FF2B5EF4-FFF2-40B4-BE49-F238E27FC236}">
                  <a16:creationId xmlns:a16="http://schemas.microsoft.com/office/drawing/2014/main" id="{B3323AA7-01E9-FFEF-481F-F020E035B0D8}"/>
                </a:ext>
              </a:extLst>
            </p:cNvPr>
            <p:cNvSpPr/>
            <p:nvPr/>
          </p:nvSpPr>
          <p:spPr>
            <a:xfrm>
              <a:off x="11593087" y="114223"/>
              <a:ext cx="598913" cy="1253024"/>
            </a:xfrm>
            <a:custGeom>
              <a:avLst/>
              <a:gdLst>
                <a:gd name="connsiteX0" fmla="*/ 579415 w 733022"/>
                <a:gd name="connsiteY0" fmla="*/ 1154516 h 1533601"/>
                <a:gd name="connsiteX1" fmla="*/ 654140 w 733022"/>
                <a:gd name="connsiteY1" fmla="*/ 1182331 h 1533601"/>
                <a:gd name="connsiteX2" fmla="*/ 733022 w 733022"/>
                <a:gd name="connsiteY2" fmla="*/ 1195890 h 1533601"/>
                <a:gd name="connsiteX3" fmla="*/ 733022 w 733022"/>
                <a:gd name="connsiteY3" fmla="*/ 1519078 h 1533601"/>
                <a:gd name="connsiteX4" fmla="*/ 728849 w 733022"/>
                <a:gd name="connsiteY4" fmla="*/ 1528684 h 1533601"/>
                <a:gd name="connsiteX5" fmla="*/ 715183 w 733022"/>
                <a:gd name="connsiteY5" fmla="*/ 1533561 h 1533601"/>
                <a:gd name="connsiteX6" fmla="*/ 427500 w 733022"/>
                <a:gd name="connsiteY6" fmla="*/ 1456569 h 1533601"/>
                <a:gd name="connsiteX7" fmla="*/ 427481 w 733022"/>
                <a:gd name="connsiteY7" fmla="*/ 1456569 h 1533601"/>
                <a:gd name="connsiteX8" fmla="*/ 419765 w 733022"/>
                <a:gd name="connsiteY8" fmla="*/ 1431112 h 1533601"/>
                <a:gd name="connsiteX9" fmla="*/ 409753 w 733022"/>
                <a:gd name="connsiteY9" fmla="*/ 1009571 h 1533601"/>
                <a:gd name="connsiteX10" fmla="*/ 524291 w 733022"/>
                <a:gd name="connsiteY10" fmla="*/ 1122789 h 1533601"/>
                <a:gd name="connsiteX11" fmla="*/ 364754 w 733022"/>
                <a:gd name="connsiteY11" fmla="*/ 1399179 h 1533601"/>
                <a:gd name="connsiteX12" fmla="*/ 338820 w 733022"/>
                <a:gd name="connsiteY12" fmla="*/ 1405185 h 1533601"/>
                <a:gd name="connsiteX13" fmla="*/ 128318 w 733022"/>
                <a:gd name="connsiteY13" fmla="*/ 1194584 h 1533601"/>
                <a:gd name="connsiteX14" fmla="*/ 134321 w 733022"/>
                <a:gd name="connsiteY14" fmla="*/ 1168637 h 1533601"/>
                <a:gd name="connsiteX15" fmla="*/ 18202 w 733022"/>
                <a:gd name="connsiteY15" fmla="*/ 798631 h 1533601"/>
                <a:gd name="connsiteX16" fmla="*/ 333739 w 733022"/>
                <a:gd name="connsiteY16" fmla="*/ 798631 h 1533601"/>
                <a:gd name="connsiteX17" fmla="*/ 377363 w 733022"/>
                <a:gd name="connsiteY17" fmla="*/ 954723 h 1533601"/>
                <a:gd name="connsiteX18" fmla="*/ 102441 w 733022"/>
                <a:gd name="connsiteY18" fmla="*/ 1113544 h 1533601"/>
                <a:gd name="connsiteX19" fmla="*/ 76996 w 733022"/>
                <a:gd name="connsiteY19" fmla="*/ 1105824 h 1533601"/>
                <a:gd name="connsiteX20" fmla="*/ 41 w 733022"/>
                <a:gd name="connsiteY20" fmla="*/ 818081 h 1533601"/>
                <a:gd name="connsiteX21" fmla="*/ 18202 w 733022"/>
                <a:gd name="connsiteY21" fmla="*/ 798631 h 1533601"/>
                <a:gd name="connsiteX22" fmla="*/ 733022 w 733022"/>
                <a:gd name="connsiteY22" fmla="*/ 440947 h 1533601"/>
                <a:gd name="connsiteX23" fmla="*/ 733022 w 733022"/>
                <a:gd name="connsiteY23" fmla="*/ 627192 h 1533601"/>
                <a:gd name="connsiteX24" fmla="*/ 694597 w 733022"/>
                <a:gd name="connsiteY24" fmla="*/ 638681 h 1533601"/>
                <a:gd name="connsiteX25" fmla="*/ 618391 w 733022"/>
                <a:gd name="connsiteY25" fmla="*/ 748942 h 1533601"/>
                <a:gd name="connsiteX26" fmla="*/ 699416 w 733022"/>
                <a:gd name="connsiteY26" fmla="*/ 889231 h 1533601"/>
                <a:gd name="connsiteX27" fmla="*/ 733022 w 733022"/>
                <a:gd name="connsiteY27" fmla="*/ 896448 h 1533601"/>
                <a:gd name="connsiteX28" fmla="*/ 733022 w 733022"/>
                <a:gd name="connsiteY28" fmla="*/ 1083871 h 1533601"/>
                <a:gd name="connsiteX29" fmla="*/ 691051 w 733022"/>
                <a:gd name="connsiteY29" fmla="*/ 1079617 h 1533601"/>
                <a:gd name="connsiteX30" fmla="*/ 433014 w 733022"/>
                <a:gd name="connsiteY30" fmla="*/ 761820 h 1533601"/>
                <a:gd name="connsiteX31" fmla="*/ 678170 w 733022"/>
                <a:gd name="connsiteY31" fmla="*/ 449027 h 1533601"/>
                <a:gd name="connsiteX32" fmla="*/ 88045 w 733022"/>
                <a:gd name="connsiteY32" fmla="*/ 418365 h 1533601"/>
                <a:gd name="connsiteX33" fmla="*/ 102441 w 733022"/>
                <a:gd name="connsiteY33" fmla="*/ 420020 h 1533601"/>
                <a:gd name="connsiteX34" fmla="*/ 372960 w 733022"/>
                <a:gd name="connsiteY34" fmla="*/ 576281 h 1533601"/>
                <a:gd name="connsiteX35" fmla="*/ 332873 w 733022"/>
                <a:gd name="connsiteY35" fmla="*/ 734971 h 1533601"/>
                <a:gd name="connsiteX36" fmla="*/ 18202 w 733022"/>
                <a:gd name="connsiteY36" fmla="*/ 734971 h 1533601"/>
                <a:gd name="connsiteX37" fmla="*/ 41 w 733022"/>
                <a:gd name="connsiteY37" fmla="*/ 715520 h 1533601"/>
                <a:gd name="connsiteX38" fmla="*/ 76996 w 733022"/>
                <a:gd name="connsiteY38" fmla="*/ 427739 h 1533601"/>
                <a:gd name="connsiteX39" fmla="*/ 88045 w 733022"/>
                <a:gd name="connsiteY39" fmla="*/ 418365 h 1533601"/>
                <a:gd name="connsiteX40" fmla="*/ 353092 w 733022"/>
                <a:gd name="connsiteY40" fmla="*/ 125773 h 1533601"/>
                <a:gd name="connsiteX41" fmla="*/ 364754 w 733022"/>
                <a:gd name="connsiteY41" fmla="*/ 134404 h 1533601"/>
                <a:gd name="connsiteX42" fmla="*/ 519455 w 733022"/>
                <a:gd name="connsiteY42" fmla="*/ 402471 h 1533601"/>
                <a:gd name="connsiteX43" fmla="*/ 404069 w 733022"/>
                <a:gd name="connsiteY43" fmla="*/ 520735 h 1533601"/>
                <a:gd name="connsiteX44" fmla="*/ 134359 w 733022"/>
                <a:gd name="connsiteY44" fmla="*/ 364945 h 1533601"/>
                <a:gd name="connsiteX45" fmla="*/ 128356 w 733022"/>
                <a:gd name="connsiteY45" fmla="*/ 338999 h 1533601"/>
                <a:gd name="connsiteX46" fmla="*/ 338820 w 733022"/>
                <a:gd name="connsiteY46" fmla="*/ 128398 h 1533601"/>
                <a:gd name="connsiteX47" fmla="*/ 353092 w 733022"/>
                <a:gd name="connsiteY47" fmla="*/ 125773 h 1533601"/>
                <a:gd name="connsiteX48" fmla="*/ 715183 w 733022"/>
                <a:gd name="connsiteY48" fmla="*/ 41 h 1533601"/>
                <a:gd name="connsiteX49" fmla="*/ 715202 w 733022"/>
                <a:gd name="connsiteY49" fmla="*/ 41 h 1533601"/>
                <a:gd name="connsiteX50" fmla="*/ 728860 w 733022"/>
                <a:gd name="connsiteY50" fmla="*/ 4910 h 1533601"/>
                <a:gd name="connsiteX51" fmla="*/ 733022 w 733022"/>
                <a:gd name="connsiteY51" fmla="*/ 14482 h 1533601"/>
                <a:gd name="connsiteX52" fmla="*/ 733022 w 733022"/>
                <a:gd name="connsiteY52" fmla="*/ 325990 h 1533601"/>
                <a:gd name="connsiteX53" fmla="*/ 651303 w 733022"/>
                <a:gd name="connsiteY53" fmla="*/ 340329 h 1533601"/>
                <a:gd name="connsiteX54" fmla="*/ 574202 w 733022"/>
                <a:gd name="connsiteY54" fmla="*/ 369991 h 1533601"/>
                <a:gd name="connsiteX55" fmla="*/ 419821 w 733022"/>
                <a:gd name="connsiteY55" fmla="*/ 102489 h 1533601"/>
                <a:gd name="connsiteX56" fmla="*/ 427538 w 733022"/>
                <a:gd name="connsiteY56" fmla="*/ 77032 h 1533601"/>
                <a:gd name="connsiteX57" fmla="*/ 715183 w 733022"/>
                <a:gd name="connsiteY57" fmla="*/ 41 h 1533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733022" h="1533601">
                  <a:moveTo>
                    <a:pt x="579415" y="1154516"/>
                  </a:moveTo>
                  <a:cubicBezTo>
                    <a:pt x="603213" y="1165954"/>
                    <a:pt x="628197" y="1175308"/>
                    <a:pt x="654140" y="1182331"/>
                  </a:cubicBezTo>
                  <a:lnTo>
                    <a:pt x="733022" y="1195890"/>
                  </a:lnTo>
                  <a:lnTo>
                    <a:pt x="733022" y="1519078"/>
                  </a:lnTo>
                  <a:lnTo>
                    <a:pt x="728849" y="1528684"/>
                  </a:lnTo>
                  <a:cubicBezTo>
                    <a:pt x="725303" y="1531998"/>
                    <a:pt x="720443" y="1533909"/>
                    <a:pt x="715183" y="1533561"/>
                  </a:cubicBezTo>
                  <a:cubicBezTo>
                    <a:pt x="612463" y="1526782"/>
                    <a:pt x="515258" y="1499819"/>
                    <a:pt x="427500" y="1456569"/>
                  </a:cubicBezTo>
                  <a:lnTo>
                    <a:pt x="427481" y="1456569"/>
                  </a:lnTo>
                  <a:cubicBezTo>
                    <a:pt x="418052" y="1451918"/>
                    <a:pt x="414495" y="1440226"/>
                    <a:pt x="419765" y="1431112"/>
                  </a:cubicBezTo>
                  <a:close/>
                  <a:moveTo>
                    <a:pt x="409753" y="1009571"/>
                  </a:moveTo>
                  <a:cubicBezTo>
                    <a:pt x="440580" y="1054045"/>
                    <a:pt x="479424" y="1092456"/>
                    <a:pt x="524291" y="1122789"/>
                  </a:cubicBezTo>
                  <a:lnTo>
                    <a:pt x="364754" y="1399179"/>
                  </a:lnTo>
                  <a:cubicBezTo>
                    <a:pt x="359484" y="1408311"/>
                    <a:pt x="347571" y="1411060"/>
                    <a:pt x="338820" y="1405185"/>
                  </a:cubicBezTo>
                  <a:cubicBezTo>
                    <a:pt x="255730" y="1349376"/>
                    <a:pt x="184100" y="1277751"/>
                    <a:pt x="128318" y="1194584"/>
                  </a:cubicBezTo>
                  <a:cubicBezTo>
                    <a:pt x="122446" y="1185828"/>
                    <a:pt x="125194" y="1173910"/>
                    <a:pt x="134321" y="1168637"/>
                  </a:cubicBezTo>
                  <a:close/>
                  <a:moveTo>
                    <a:pt x="18202" y="798631"/>
                  </a:moveTo>
                  <a:lnTo>
                    <a:pt x="333739" y="798631"/>
                  </a:lnTo>
                  <a:cubicBezTo>
                    <a:pt x="338462" y="854289"/>
                    <a:pt x="353650" y="906991"/>
                    <a:pt x="377363" y="954723"/>
                  </a:cubicBezTo>
                  <a:lnTo>
                    <a:pt x="102441" y="1113544"/>
                  </a:lnTo>
                  <a:cubicBezTo>
                    <a:pt x="93331" y="1118816"/>
                    <a:pt x="81644" y="1115258"/>
                    <a:pt x="76996" y="1105824"/>
                  </a:cubicBezTo>
                  <a:cubicBezTo>
                    <a:pt x="33766" y="1018063"/>
                    <a:pt x="6816" y="920849"/>
                    <a:pt x="41" y="818081"/>
                  </a:cubicBezTo>
                  <a:cubicBezTo>
                    <a:pt x="-656" y="807556"/>
                    <a:pt x="7682" y="798631"/>
                    <a:pt x="18202" y="798631"/>
                  </a:cubicBezTo>
                  <a:close/>
                  <a:moveTo>
                    <a:pt x="733022" y="440947"/>
                  </a:moveTo>
                  <a:lnTo>
                    <a:pt x="733022" y="627192"/>
                  </a:lnTo>
                  <a:lnTo>
                    <a:pt x="694597" y="638681"/>
                  </a:lnTo>
                  <a:cubicBezTo>
                    <a:pt x="652977" y="659505"/>
                    <a:pt x="623092" y="700871"/>
                    <a:pt x="618391" y="748942"/>
                  </a:cubicBezTo>
                  <a:cubicBezTo>
                    <a:pt x="612336" y="810922"/>
                    <a:pt x="647367" y="865710"/>
                    <a:pt x="699416" y="889231"/>
                  </a:cubicBezTo>
                  <a:lnTo>
                    <a:pt x="733022" y="896448"/>
                  </a:lnTo>
                  <a:lnTo>
                    <a:pt x="733022" y="1083871"/>
                  </a:lnTo>
                  <a:lnTo>
                    <a:pt x="691051" y="1079617"/>
                  </a:lnTo>
                  <a:cubicBezTo>
                    <a:pt x="543639" y="1049300"/>
                    <a:pt x="432521" y="918253"/>
                    <a:pt x="433014" y="761820"/>
                  </a:cubicBezTo>
                  <a:cubicBezTo>
                    <a:pt x="433475" y="612208"/>
                    <a:pt x="537754" y="484162"/>
                    <a:pt x="678170" y="449027"/>
                  </a:cubicBezTo>
                  <a:close/>
                  <a:moveTo>
                    <a:pt x="88045" y="418365"/>
                  </a:moveTo>
                  <a:cubicBezTo>
                    <a:pt x="92687" y="416955"/>
                    <a:pt x="97886" y="417384"/>
                    <a:pt x="102441" y="420020"/>
                  </a:cubicBezTo>
                  <a:lnTo>
                    <a:pt x="372960" y="576281"/>
                  </a:lnTo>
                  <a:cubicBezTo>
                    <a:pt x="350187" y="624934"/>
                    <a:pt x="336185" y="678503"/>
                    <a:pt x="332873" y="734971"/>
                  </a:cubicBezTo>
                  <a:lnTo>
                    <a:pt x="18202" y="734971"/>
                  </a:lnTo>
                  <a:cubicBezTo>
                    <a:pt x="7682" y="734971"/>
                    <a:pt x="-656" y="726045"/>
                    <a:pt x="41" y="715520"/>
                  </a:cubicBezTo>
                  <a:cubicBezTo>
                    <a:pt x="6816" y="612752"/>
                    <a:pt x="33766" y="515501"/>
                    <a:pt x="76996" y="427739"/>
                  </a:cubicBezTo>
                  <a:cubicBezTo>
                    <a:pt x="79320" y="423023"/>
                    <a:pt x="83404" y="419775"/>
                    <a:pt x="88045" y="418365"/>
                  </a:cubicBezTo>
                  <a:close/>
                  <a:moveTo>
                    <a:pt x="353092" y="125773"/>
                  </a:moveTo>
                  <a:cubicBezTo>
                    <a:pt x="357823" y="126868"/>
                    <a:pt x="362119" y="129838"/>
                    <a:pt x="364754" y="134404"/>
                  </a:cubicBezTo>
                  <a:lnTo>
                    <a:pt x="519455" y="402471"/>
                  </a:lnTo>
                  <a:cubicBezTo>
                    <a:pt x="473873" y="434122"/>
                    <a:pt x="434652" y="474359"/>
                    <a:pt x="404069" y="520735"/>
                  </a:cubicBezTo>
                  <a:lnTo>
                    <a:pt x="134359" y="364945"/>
                  </a:lnTo>
                  <a:cubicBezTo>
                    <a:pt x="125231" y="359673"/>
                    <a:pt x="122484" y="347754"/>
                    <a:pt x="128356" y="338999"/>
                  </a:cubicBezTo>
                  <a:cubicBezTo>
                    <a:pt x="184138" y="255869"/>
                    <a:pt x="255730" y="184244"/>
                    <a:pt x="338820" y="128398"/>
                  </a:cubicBezTo>
                  <a:cubicBezTo>
                    <a:pt x="343196" y="125460"/>
                    <a:pt x="348362" y="124679"/>
                    <a:pt x="353092" y="125773"/>
                  </a:cubicBezTo>
                  <a:close/>
                  <a:moveTo>
                    <a:pt x="715183" y="41"/>
                  </a:moveTo>
                  <a:lnTo>
                    <a:pt x="715202" y="41"/>
                  </a:lnTo>
                  <a:cubicBezTo>
                    <a:pt x="720453" y="-308"/>
                    <a:pt x="725313" y="1599"/>
                    <a:pt x="728860" y="4910"/>
                  </a:cubicBezTo>
                  <a:lnTo>
                    <a:pt x="733022" y="14482"/>
                  </a:lnTo>
                  <a:lnTo>
                    <a:pt x="733022" y="325990"/>
                  </a:lnTo>
                  <a:lnTo>
                    <a:pt x="651303" y="340329"/>
                  </a:lnTo>
                  <a:cubicBezTo>
                    <a:pt x="624470" y="347792"/>
                    <a:pt x="598678" y="357762"/>
                    <a:pt x="574202" y="369991"/>
                  </a:cubicBezTo>
                  <a:lnTo>
                    <a:pt x="419821" y="102489"/>
                  </a:lnTo>
                  <a:cubicBezTo>
                    <a:pt x="414552" y="93357"/>
                    <a:pt x="418090" y="81683"/>
                    <a:pt x="427538" y="77032"/>
                  </a:cubicBezTo>
                  <a:cubicBezTo>
                    <a:pt x="515258" y="33801"/>
                    <a:pt x="612463" y="6819"/>
                    <a:pt x="715183" y="41"/>
                  </a:cubicBezTo>
                  <a:close/>
                </a:path>
              </a:pathLst>
            </a:custGeom>
            <a:gradFill>
              <a:gsLst>
                <a:gs pos="6000">
                  <a:srgbClr val="FF9248">
                    <a:alpha val="34000"/>
                  </a:srgbClr>
                </a:gs>
                <a:gs pos="77000">
                  <a:schemeClr val="accent4">
                    <a:alpha val="29000"/>
                  </a:schemeClr>
                </a:gs>
              </a:gsLst>
              <a:lin ang="3343960" scaled="1"/>
            </a:gradFill>
            <a:ln w="5992" cap="flat">
              <a:noFill/>
              <a:prstDash val="solid"/>
              <a:miter/>
            </a:ln>
          </p:spPr>
          <p:txBody>
            <a:bodyPr wrap="square" rtlCol="0" anchor="ctr">
              <a:noAutofit/>
            </a:bodyPr>
            <a:lstStyle/>
            <a:p>
              <a:endParaRPr lang="en-US"/>
            </a:p>
          </p:txBody>
        </p:sp>
        <p:sp>
          <p:nvSpPr>
            <p:cNvPr id="8" name="Donut 7">
              <a:extLst>
                <a:ext uri="{FF2B5EF4-FFF2-40B4-BE49-F238E27FC236}">
                  <a16:creationId xmlns:a16="http://schemas.microsoft.com/office/drawing/2014/main" id="{B082FF4E-307F-633F-9A70-0B2CEA55EF14}"/>
                </a:ext>
              </a:extLst>
            </p:cNvPr>
            <p:cNvSpPr/>
            <p:nvPr/>
          </p:nvSpPr>
          <p:spPr bwMode="auto">
            <a:xfrm>
              <a:off x="11207931" y="1255577"/>
              <a:ext cx="385156" cy="385156"/>
            </a:xfrm>
            <a:prstGeom prst="donut">
              <a:avLst/>
            </a:prstGeom>
            <a:gradFill>
              <a:gsLst>
                <a:gs pos="6000">
                  <a:srgbClr val="FF9248">
                    <a:alpha val="34000"/>
                  </a:srgbClr>
                </a:gs>
                <a:gs pos="77000">
                  <a:schemeClr val="accent4">
                    <a:alpha val="29000"/>
                  </a:schemeClr>
                </a:gs>
              </a:gsLst>
              <a:lin ang="3343960" scaled="1"/>
            </a:gradFill>
            <a:ln w="5992" cap="flat">
              <a:noFill/>
              <a:prstDash val="solid"/>
              <a:miter/>
            </a:ln>
          </p:spPr>
          <p:txBody>
            <a:bodyPr wrap="square" rtlCol="0" anchor="ctr">
              <a:noAutofit/>
            </a:bodyPr>
            <a:lstStyle/>
            <a:p>
              <a:endParaRPr lang="en-US" err="1">
                <a:solidFill>
                  <a:schemeClr val="tx1"/>
                </a:solidFill>
              </a:endParaRPr>
            </a:p>
          </p:txBody>
        </p:sp>
      </p:gr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9765112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sequence 4">
    <p:bg>
      <p:bgPr>
        <a:solidFill>
          <a:schemeClr val="bg1"/>
        </a:solidFill>
        <a:effectLst/>
      </p:bgPr>
    </p:bg>
    <p:spTree>
      <p:nvGrpSpPr>
        <p:cNvPr id="1" name=""/>
        <p:cNvGrpSpPr/>
        <p:nvPr/>
      </p:nvGrpSpPr>
      <p:grpSpPr>
        <a:xfrm>
          <a:off x="0" y="0"/>
          <a:ext cx="0" cy="0"/>
          <a:chOff x="0" y="0"/>
          <a:chExt cx="0" cy="0"/>
        </a:xfrm>
      </p:grpSpPr>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430887"/>
          </a:xfrm>
          <a:prstGeom prst="rect">
            <a:avLst/>
          </a:prstGeom>
        </p:spPr>
        <p:txBody>
          <a:bodyPr lIns="90000" anchor="t"/>
          <a:lstStyle>
            <a:lvl1pPr marL="0" indent="0">
              <a:buSzPct val="90000"/>
              <a:buFont typeface="Wingdings" pitchFamily="2" charset="2"/>
              <a:buNone/>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430887"/>
          </a:xfrm>
          <a:prstGeom prst="rect">
            <a:avLst/>
          </a:prstGeom>
        </p:spPr>
        <p:txBody>
          <a:bodyPr lIns="90000" anchor="t"/>
          <a:lstStyle>
            <a:lvl1pPr marL="0" indent="0">
              <a:buSzPct val="90000"/>
              <a:buFont typeface="Wingdings" pitchFamily="2" charset="2"/>
              <a:buNone/>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430887"/>
          </a:xfrm>
          <a:prstGeom prst="rect">
            <a:avLst/>
          </a:prstGeom>
        </p:spPr>
        <p:txBody>
          <a:bodyPr lIns="90000" anchor="t"/>
          <a:lstStyle>
            <a:lvl1pPr marL="0" indent="0">
              <a:buSzPct val="90000"/>
              <a:buFont typeface="Wingdings" pitchFamily="2" charset="2"/>
              <a:buNone/>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430887"/>
          </a:xfrm>
          <a:prstGeom prst="rect">
            <a:avLst/>
          </a:prstGeom>
        </p:spPr>
        <p:txBody>
          <a:bodyPr lIns="90000" anchor="t"/>
          <a:lstStyle>
            <a:lvl1pPr marL="0" indent="0">
              <a:buSzPct val="90000"/>
              <a:buFont typeface="Wingdings" pitchFamily="2" charset="2"/>
              <a:buNone/>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430887"/>
          </a:xfrm>
          <a:prstGeom prst="rect">
            <a:avLst/>
          </a:prstGeom>
        </p:spPr>
        <p:txBody>
          <a:bodyPr lIns="90000" anchor="t"/>
          <a:lstStyle>
            <a:lvl1pPr marL="0" indent="0">
              <a:buSzPct val="90000"/>
              <a:buFont typeface="Wingdings" pitchFamily="2" charset="2"/>
              <a:buNone/>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430887"/>
          </a:xfrm>
          <a:prstGeom prst="rect">
            <a:avLst/>
          </a:prstGeom>
        </p:spPr>
        <p:txBody>
          <a:bodyPr lIns="90000" anchor="t"/>
          <a:lstStyle>
            <a:lvl1pPr marL="0" indent="0">
              <a:buSzPct val="90000"/>
              <a:buFont typeface="Wingdings" pitchFamily="2" charset="2"/>
              <a:buNone/>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430887"/>
          </a:xfrm>
          <a:prstGeom prst="rect">
            <a:avLst/>
          </a:prstGeom>
        </p:spPr>
        <p:txBody>
          <a:bodyPr lIns="90000" anchor="t"/>
          <a:lstStyle>
            <a:lvl1pPr marL="0" indent="0">
              <a:buSzPct val="90000"/>
              <a:buFont typeface="Wingdings" pitchFamily="2" charset="2"/>
              <a:buNone/>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430887"/>
          </a:xfrm>
          <a:prstGeom prst="rect">
            <a:avLst/>
          </a:prstGeom>
        </p:spPr>
        <p:txBody>
          <a:bodyPr lIns="90000" anchor="t"/>
          <a:lstStyle>
            <a:lvl1pPr marL="0" indent="0">
              <a:buSzPct val="90000"/>
              <a:buFont typeface="Wingdings" pitchFamily="2" charset="2"/>
              <a:buNone/>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430887"/>
          </a:xfrm>
          <a:prstGeom prst="rect">
            <a:avLst/>
          </a:prstGeom>
        </p:spPr>
        <p:txBody>
          <a:bodyPr lIns="90000" anchor="t"/>
          <a:lstStyle>
            <a:lvl1pPr marL="0" indent="0">
              <a:buSzPct val="90000"/>
              <a:buFont typeface="Wingdings" pitchFamily="2" charset="2"/>
              <a:buNone/>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430887"/>
          </a:xfrm>
          <a:prstGeom prst="rect">
            <a:avLst/>
          </a:prstGeom>
        </p:spPr>
        <p:txBody>
          <a:bodyPr lIns="90000" anchor="t"/>
          <a:lstStyle>
            <a:lvl1pPr marL="0" indent="0">
              <a:buSzPct val="90000"/>
              <a:buFont typeface="Wingdings" pitchFamily="2" charset="2"/>
              <a:buNone/>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430887"/>
          </a:xfrm>
          <a:prstGeom prst="rect">
            <a:avLst/>
          </a:prstGeom>
        </p:spPr>
        <p:txBody>
          <a:bodyPr lIns="90000" anchor="t"/>
          <a:lstStyle>
            <a:lvl1pPr marL="0" indent="0">
              <a:buSzPct val="90000"/>
              <a:buFont typeface="Wingdings" pitchFamily="2" charset="2"/>
              <a:buNone/>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430887"/>
          </a:xfrm>
          <a:prstGeom prst="rect">
            <a:avLst/>
          </a:prstGeom>
        </p:spPr>
        <p:txBody>
          <a:bodyPr lIns="90000" anchor="t"/>
          <a:lstStyle>
            <a:lvl1pPr marL="0" indent="0">
              <a:buSzPct val="90000"/>
              <a:buFont typeface="Wingdings" pitchFamily="2" charset="2"/>
              <a:buNone/>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70150" y="2017713"/>
            <a:ext cx="1595438" cy="0"/>
          </a:xfrm>
          <a:prstGeom prst="line">
            <a:avLst/>
          </a:prstGeom>
          <a:ln w="254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9" name="Text Placeholder 28">
            <a:extLst>
              <a:ext uri="{FF2B5EF4-FFF2-40B4-BE49-F238E27FC236}">
                <a16:creationId xmlns:a16="http://schemas.microsoft.com/office/drawing/2014/main" id="{2B32F430-ED23-B440-BB46-25EFAA521E1A}"/>
              </a:ext>
            </a:extLst>
          </p:cNvPr>
          <p:cNvSpPr>
            <a:spLocks noGrp="1"/>
          </p:cNvSpPr>
          <p:nvPr>
            <p:ph type="body" sz="quarter" idx="22" hasCustomPrompt="1"/>
          </p:nvPr>
        </p:nvSpPr>
        <p:spPr>
          <a:xfrm>
            <a:off x="584200" y="1436688"/>
            <a:ext cx="1595439" cy="581025"/>
          </a:xfrm>
          <a:prstGeom prst="rect">
            <a:avLst/>
          </a:prstGeom>
        </p:spPr>
        <p:txBody>
          <a:bodyPr lIns="90000" tIns="46800" rIns="90000" bIns="46800" anchor="ctr">
            <a:noAutofit/>
          </a:bodyPr>
          <a:lstStyle>
            <a:lvl1pPr marL="0" indent="0">
              <a:buFont typeface="Arial" panose="020B0604020202020204" pitchFamily="34" charset="0"/>
              <a:buNone/>
              <a:defRPr sz="2000">
                <a:solidFill>
                  <a:schemeClr val="accent3">
                    <a:lumMod val="50000"/>
                  </a:schemeClr>
                </a:solidFill>
                <a:latin typeface="+mj-lt"/>
              </a:defRPr>
            </a:lvl1pPr>
            <a:lvl2pPr marL="228600" indent="0" algn="ctr">
              <a:buNone/>
              <a:defRPr>
                <a:solidFill>
                  <a:schemeClr val="bg1"/>
                </a:solidFill>
                <a:latin typeface="+mj-lt"/>
              </a:defRPr>
            </a:lvl2pPr>
          </a:lstStyle>
          <a:p>
            <a:pPr lvl="0"/>
            <a:r>
              <a:rPr lang="en-US"/>
              <a:t>Label</a:t>
            </a:r>
          </a:p>
        </p:txBody>
      </p:sp>
      <p:sp>
        <p:nvSpPr>
          <p:cNvPr id="41" name="Text Placeholder 28">
            <a:extLst>
              <a:ext uri="{FF2B5EF4-FFF2-40B4-BE49-F238E27FC236}">
                <a16:creationId xmlns:a16="http://schemas.microsoft.com/office/drawing/2014/main" id="{7BE96FEE-E6DA-2941-AEAC-A1C8FC164091}"/>
              </a:ext>
            </a:extLst>
          </p:cNvPr>
          <p:cNvSpPr>
            <a:spLocks noGrp="1"/>
          </p:cNvSpPr>
          <p:nvPr>
            <p:ph type="body" sz="quarter" idx="23" hasCustomPrompt="1"/>
          </p:nvPr>
        </p:nvSpPr>
        <p:spPr>
          <a:xfrm>
            <a:off x="2470150" y="1436688"/>
            <a:ext cx="1595438" cy="581025"/>
          </a:xfrm>
          <a:prstGeom prst="rect">
            <a:avLst/>
          </a:prstGeom>
        </p:spPr>
        <p:txBody>
          <a:bodyPr lIns="90000" tIns="46800" rIns="90000" bIns="46800" anchor="ctr">
            <a:noAutofit/>
          </a:bodyPr>
          <a:lstStyle>
            <a:lvl1pPr marL="0" indent="0">
              <a:buFont typeface="Arial" panose="020B0604020202020204" pitchFamily="34" charset="0"/>
              <a:buNone/>
              <a:defRPr sz="2000">
                <a:solidFill>
                  <a:schemeClr val="accent3">
                    <a:lumMod val="50000"/>
                  </a:schemeClr>
                </a:solidFill>
                <a:latin typeface="+mj-lt"/>
              </a:defRPr>
            </a:lvl1pPr>
            <a:lvl2pPr marL="228600" indent="0" algn="ctr">
              <a:buNone/>
              <a:defRPr>
                <a:solidFill>
                  <a:schemeClr val="bg1"/>
                </a:solidFill>
                <a:latin typeface="+mj-lt"/>
              </a:defRPr>
            </a:lvl2pPr>
          </a:lstStyle>
          <a:p>
            <a:pPr lvl="0"/>
            <a:r>
              <a:rPr lang="en-US"/>
              <a:t>Label</a:t>
            </a:r>
          </a:p>
        </p:txBody>
      </p:sp>
      <p:sp>
        <p:nvSpPr>
          <p:cNvPr id="42" name="Text Placeholder 28">
            <a:extLst>
              <a:ext uri="{FF2B5EF4-FFF2-40B4-BE49-F238E27FC236}">
                <a16:creationId xmlns:a16="http://schemas.microsoft.com/office/drawing/2014/main" id="{8732B004-72E3-4E45-A749-459DEFBC1733}"/>
              </a:ext>
            </a:extLst>
          </p:cNvPr>
          <p:cNvSpPr>
            <a:spLocks noGrp="1"/>
          </p:cNvSpPr>
          <p:nvPr>
            <p:ph type="body" sz="quarter" idx="24" hasCustomPrompt="1"/>
          </p:nvPr>
        </p:nvSpPr>
        <p:spPr>
          <a:xfrm>
            <a:off x="4367808" y="1436688"/>
            <a:ext cx="1595438" cy="581025"/>
          </a:xfrm>
          <a:prstGeom prst="rect">
            <a:avLst/>
          </a:prstGeom>
        </p:spPr>
        <p:txBody>
          <a:bodyPr lIns="90000" tIns="46800" rIns="90000" bIns="46800" anchor="ctr">
            <a:noAutofit/>
          </a:bodyPr>
          <a:lstStyle>
            <a:lvl1pPr marL="0" indent="0">
              <a:buFont typeface="Arial" panose="020B0604020202020204" pitchFamily="34" charset="0"/>
              <a:buNone/>
              <a:defRPr sz="2000">
                <a:solidFill>
                  <a:schemeClr val="accent3">
                    <a:lumMod val="50000"/>
                  </a:schemeClr>
                </a:solidFill>
                <a:latin typeface="+mj-lt"/>
              </a:defRPr>
            </a:lvl1pPr>
            <a:lvl2pPr marL="228600" indent="0" algn="ctr">
              <a:buNone/>
              <a:defRPr>
                <a:solidFill>
                  <a:schemeClr val="bg1"/>
                </a:solidFill>
                <a:latin typeface="+mj-lt"/>
              </a:defRPr>
            </a:lvl2pPr>
          </a:lstStyle>
          <a:p>
            <a:pPr lvl="0"/>
            <a:r>
              <a:rPr lang="en-US"/>
              <a:t>Label</a:t>
            </a:r>
          </a:p>
        </p:txBody>
      </p: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a:prstGeom prst="rect">
            <a:avLst/>
          </a:prstGeom>
        </p:spPr>
        <p:txBody>
          <a:bodyPr lIns="90000" tIns="46800" rIns="90000" bIns="46800" anchor="ctr">
            <a:noAutofit/>
          </a:bodyPr>
          <a:lstStyle>
            <a:lvl1pPr marL="0" indent="0">
              <a:buFont typeface="Arial" panose="020B0604020202020204" pitchFamily="34" charset="0"/>
              <a:buNone/>
              <a:defRPr sz="2000">
                <a:solidFill>
                  <a:schemeClr val="accent3">
                    <a:lumMod val="50000"/>
                  </a:schemeClr>
                </a:solidFill>
                <a:latin typeface="+mj-lt"/>
              </a:defRPr>
            </a:lvl1pPr>
            <a:lvl2pPr marL="228600" indent="0" algn="ctr">
              <a:buNone/>
              <a:defRPr>
                <a:solidFill>
                  <a:schemeClr val="bg1"/>
                </a:solidFill>
                <a:latin typeface="+mj-lt"/>
              </a:defRPr>
            </a:lvl2pPr>
          </a:lstStyle>
          <a:p>
            <a:pPr lvl="0"/>
            <a:r>
              <a:rPr lang="en-US"/>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a:prstGeom prst="rect">
            <a:avLst/>
          </a:prstGeom>
        </p:spPr>
        <p:txBody>
          <a:bodyPr lIns="90000" tIns="46800" rIns="90000" bIns="46800" anchor="ctr">
            <a:noAutofit/>
          </a:bodyPr>
          <a:lstStyle>
            <a:lvl1pPr marL="0" indent="0">
              <a:buFont typeface="Arial" panose="020B0604020202020204" pitchFamily="34" charset="0"/>
              <a:buNone/>
              <a:defRPr sz="2000">
                <a:solidFill>
                  <a:schemeClr val="accent3">
                    <a:lumMod val="50000"/>
                  </a:schemeClr>
                </a:solidFill>
                <a:latin typeface="+mj-lt"/>
              </a:defRPr>
            </a:lvl1pPr>
            <a:lvl2pPr marL="228600" indent="0" algn="ctr">
              <a:buNone/>
              <a:defRPr>
                <a:solidFill>
                  <a:schemeClr val="bg1"/>
                </a:solidFill>
                <a:latin typeface="+mj-lt"/>
              </a:defRPr>
            </a:lvl2pPr>
          </a:lstStyle>
          <a:p>
            <a:pPr lvl="0"/>
            <a:r>
              <a:rPr lang="en-US"/>
              <a:t>Label</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a:prstGeom prst="rect">
            <a:avLst/>
          </a:prstGeom>
        </p:spPr>
        <p:txBody>
          <a:bodyPr lIns="90000" tIns="46800" rIns="90000" bIns="46800" anchor="ctr">
            <a:noAutofit/>
          </a:bodyPr>
          <a:lstStyle>
            <a:lvl1pPr marL="0" indent="0">
              <a:buFont typeface="Arial" panose="020B0604020202020204" pitchFamily="34" charset="0"/>
              <a:buNone/>
              <a:defRPr sz="2000">
                <a:solidFill>
                  <a:schemeClr val="accent3">
                    <a:lumMod val="50000"/>
                  </a:schemeClr>
                </a:solidFill>
                <a:latin typeface="+mj-lt"/>
              </a:defRPr>
            </a:lvl1pPr>
            <a:lvl2pPr marL="228600" indent="0" algn="ctr">
              <a:buNone/>
              <a:defRPr>
                <a:solidFill>
                  <a:schemeClr val="bg1"/>
                </a:solidFill>
                <a:latin typeface="+mj-lt"/>
              </a:defRPr>
            </a:lvl2pPr>
          </a:lstStyle>
          <a:p>
            <a:pPr lvl="0"/>
            <a:r>
              <a:rPr lang="en-US"/>
              <a:t>Label</a:t>
            </a:r>
          </a:p>
        </p:txBody>
      </p:sp>
      <p:sp>
        <p:nvSpPr>
          <p:cNvPr id="46" name="Text Placeholder 28">
            <a:extLst>
              <a:ext uri="{FF2B5EF4-FFF2-40B4-BE49-F238E27FC236}">
                <a16:creationId xmlns:a16="http://schemas.microsoft.com/office/drawing/2014/main" id="{8172C080-65E1-3C46-99C0-978870D28AF8}"/>
              </a:ext>
            </a:extLst>
          </p:cNvPr>
          <p:cNvSpPr>
            <a:spLocks noGrp="1"/>
          </p:cNvSpPr>
          <p:nvPr>
            <p:ph type="body" sz="quarter" idx="28" hasCustomPrompt="1"/>
          </p:nvPr>
        </p:nvSpPr>
        <p:spPr>
          <a:xfrm>
            <a:off x="584200" y="3789040"/>
            <a:ext cx="1595439" cy="581025"/>
          </a:xfrm>
          <a:prstGeom prst="rect">
            <a:avLst/>
          </a:prstGeom>
        </p:spPr>
        <p:txBody>
          <a:bodyPr lIns="90000" tIns="46800" rIns="90000" bIns="46800" anchor="ctr">
            <a:noAutofit/>
          </a:bodyPr>
          <a:lstStyle>
            <a:lvl1pPr marL="0" indent="0">
              <a:buFont typeface="Arial" panose="020B0604020202020204" pitchFamily="34" charset="0"/>
              <a:buNone/>
              <a:defRPr sz="2000">
                <a:solidFill>
                  <a:schemeClr val="accent3">
                    <a:lumMod val="50000"/>
                  </a:schemeClr>
                </a:solidFill>
                <a:latin typeface="+mj-lt"/>
              </a:defRPr>
            </a:lvl1pPr>
            <a:lvl2pPr marL="228600" indent="0" algn="ctr">
              <a:buNone/>
              <a:defRPr>
                <a:solidFill>
                  <a:schemeClr val="bg1"/>
                </a:solidFill>
                <a:latin typeface="+mj-lt"/>
              </a:defRPr>
            </a:lvl2pPr>
          </a:lstStyle>
          <a:p>
            <a:pPr lvl="0"/>
            <a:r>
              <a:rPr lang="en-US"/>
              <a:t>Label</a:t>
            </a:r>
          </a:p>
        </p:txBody>
      </p:sp>
      <p:sp>
        <p:nvSpPr>
          <p:cNvPr id="47" name="Text Placeholder 28">
            <a:extLst>
              <a:ext uri="{FF2B5EF4-FFF2-40B4-BE49-F238E27FC236}">
                <a16:creationId xmlns:a16="http://schemas.microsoft.com/office/drawing/2014/main" id="{4928442B-3D98-0B48-9333-273D8587E0E3}"/>
              </a:ext>
            </a:extLst>
          </p:cNvPr>
          <p:cNvSpPr>
            <a:spLocks noGrp="1"/>
          </p:cNvSpPr>
          <p:nvPr>
            <p:ph type="body" sz="quarter" idx="29" hasCustomPrompt="1"/>
          </p:nvPr>
        </p:nvSpPr>
        <p:spPr>
          <a:xfrm>
            <a:off x="2470150" y="3789040"/>
            <a:ext cx="1595438" cy="581025"/>
          </a:xfrm>
          <a:prstGeom prst="rect">
            <a:avLst/>
          </a:prstGeom>
        </p:spPr>
        <p:txBody>
          <a:bodyPr lIns="90000" tIns="46800" rIns="90000" bIns="46800" anchor="ctr">
            <a:noAutofit/>
          </a:bodyPr>
          <a:lstStyle>
            <a:lvl1pPr marL="0" indent="0">
              <a:buFont typeface="Arial" panose="020B0604020202020204" pitchFamily="34" charset="0"/>
              <a:buNone/>
              <a:defRPr sz="2000">
                <a:solidFill>
                  <a:schemeClr val="accent3">
                    <a:lumMod val="50000"/>
                  </a:schemeClr>
                </a:solidFill>
                <a:latin typeface="+mj-lt"/>
              </a:defRPr>
            </a:lvl1pPr>
            <a:lvl2pPr marL="228600" indent="0" algn="ctr">
              <a:buNone/>
              <a:defRPr>
                <a:solidFill>
                  <a:schemeClr val="bg1"/>
                </a:solidFill>
                <a:latin typeface="+mj-lt"/>
              </a:defRPr>
            </a:lvl2pPr>
          </a:lstStyle>
          <a:p>
            <a:pPr lvl="0"/>
            <a:r>
              <a:rPr lang="en-US"/>
              <a:t>Label</a:t>
            </a:r>
          </a:p>
        </p:txBody>
      </p:sp>
      <p:sp>
        <p:nvSpPr>
          <p:cNvPr id="48" name="Text Placeholder 28">
            <a:extLst>
              <a:ext uri="{FF2B5EF4-FFF2-40B4-BE49-F238E27FC236}">
                <a16:creationId xmlns:a16="http://schemas.microsoft.com/office/drawing/2014/main" id="{2961F7B7-1EDB-2C43-951E-B36532A1E791}"/>
              </a:ext>
            </a:extLst>
          </p:cNvPr>
          <p:cNvSpPr>
            <a:spLocks noGrp="1"/>
          </p:cNvSpPr>
          <p:nvPr>
            <p:ph type="body" sz="quarter" idx="30" hasCustomPrompt="1"/>
          </p:nvPr>
        </p:nvSpPr>
        <p:spPr>
          <a:xfrm>
            <a:off x="4367808" y="3789040"/>
            <a:ext cx="1595438" cy="581025"/>
          </a:xfrm>
          <a:prstGeom prst="rect">
            <a:avLst/>
          </a:prstGeom>
        </p:spPr>
        <p:txBody>
          <a:bodyPr lIns="90000" tIns="46800" rIns="90000" bIns="46800" anchor="ctr">
            <a:noAutofit/>
          </a:bodyPr>
          <a:lstStyle>
            <a:lvl1pPr marL="0" indent="0">
              <a:buFont typeface="Arial" panose="020B0604020202020204" pitchFamily="34" charset="0"/>
              <a:buNone/>
              <a:defRPr sz="2000">
                <a:solidFill>
                  <a:schemeClr val="accent3">
                    <a:lumMod val="50000"/>
                  </a:schemeClr>
                </a:solidFill>
                <a:latin typeface="+mj-lt"/>
              </a:defRPr>
            </a:lvl1pPr>
            <a:lvl2pPr marL="228600" indent="0" algn="ctr">
              <a:buNone/>
              <a:defRPr>
                <a:solidFill>
                  <a:schemeClr val="bg1"/>
                </a:solidFill>
                <a:latin typeface="+mj-lt"/>
              </a:defRPr>
            </a:lvl2pPr>
          </a:lstStyle>
          <a:p>
            <a:pPr lvl="0"/>
            <a:r>
              <a:rPr lang="en-US"/>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a:prstGeom prst="rect">
            <a:avLst/>
          </a:prstGeom>
        </p:spPr>
        <p:txBody>
          <a:bodyPr lIns="90000" tIns="46800" rIns="90000" bIns="46800" anchor="ctr">
            <a:noAutofit/>
          </a:bodyPr>
          <a:lstStyle>
            <a:lvl1pPr marL="0" indent="0">
              <a:buFont typeface="Arial" panose="020B0604020202020204" pitchFamily="34" charset="0"/>
              <a:buNone/>
              <a:defRPr sz="2000">
                <a:solidFill>
                  <a:schemeClr val="accent3">
                    <a:lumMod val="50000"/>
                  </a:schemeClr>
                </a:solidFill>
                <a:latin typeface="+mj-lt"/>
              </a:defRPr>
            </a:lvl1pPr>
            <a:lvl2pPr marL="228600" indent="0" algn="ctr">
              <a:buNone/>
              <a:defRPr>
                <a:solidFill>
                  <a:schemeClr val="bg1"/>
                </a:solidFill>
                <a:latin typeface="+mj-lt"/>
              </a:defRPr>
            </a:lvl2pPr>
          </a:lstStyle>
          <a:p>
            <a:pPr lvl="0"/>
            <a:r>
              <a:rPr lang="en-US"/>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a:prstGeom prst="rect">
            <a:avLst/>
          </a:prstGeom>
        </p:spPr>
        <p:txBody>
          <a:bodyPr lIns="90000" tIns="46800" rIns="90000" bIns="46800" anchor="ctr">
            <a:noAutofit/>
          </a:bodyPr>
          <a:lstStyle>
            <a:lvl1pPr marL="0" indent="0">
              <a:buFont typeface="Arial" panose="020B0604020202020204" pitchFamily="34" charset="0"/>
              <a:buNone/>
              <a:defRPr sz="2000">
                <a:solidFill>
                  <a:schemeClr val="accent3">
                    <a:lumMod val="50000"/>
                  </a:schemeClr>
                </a:solidFill>
                <a:latin typeface="+mj-lt"/>
              </a:defRPr>
            </a:lvl1pPr>
            <a:lvl2pPr marL="228600" indent="0" algn="ctr">
              <a:buNone/>
              <a:defRPr>
                <a:solidFill>
                  <a:schemeClr val="bg1"/>
                </a:solidFill>
                <a:latin typeface="+mj-lt"/>
              </a:defRPr>
            </a:lvl2pPr>
          </a:lstStyle>
          <a:p>
            <a:pPr lvl="0"/>
            <a:r>
              <a:rPr lang="en-US"/>
              <a:t>Label</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a:prstGeom prst="rect">
            <a:avLst/>
          </a:prstGeom>
        </p:spPr>
        <p:txBody>
          <a:bodyPr lIns="90000" tIns="46800" rIns="90000" bIns="46800" anchor="ctr">
            <a:noAutofit/>
          </a:bodyPr>
          <a:lstStyle>
            <a:lvl1pPr marL="0" indent="0">
              <a:buFont typeface="Arial" panose="020B0604020202020204" pitchFamily="34" charset="0"/>
              <a:buNone/>
              <a:defRPr sz="2000">
                <a:solidFill>
                  <a:schemeClr val="accent3">
                    <a:lumMod val="50000"/>
                  </a:schemeClr>
                </a:solidFill>
                <a:latin typeface="+mj-lt"/>
              </a:defRPr>
            </a:lvl1pPr>
            <a:lvl2pPr marL="228600" indent="0" algn="ctr">
              <a:buNone/>
              <a:defRPr>
                <a:solidFill>
                  <a:schemeClr val="bg1"/>
                </a:solidFill>
                <a:latin typeface="+mj-lt"/>
              </a:defRPr>
            </a:lvl2pPr>
          </a:lstStyle>
          <a:p>
            <a:pPr lvl="0"/>
            <a:r>
              <a:rPr lang="en-US"/>
              <a:t>Label</a:t>
            </a:r>
          </a:p>
        </p:txBody>
      </p:sp>
      <p:sp>
        <p:nvSpPr>
          <p:cNvPr id="5" name="Rectangle 4">
            <a:extLst>
              <a:ext uri="{FF2B5EF4-FFF2-40B4-BE49-F238E27FC236}">
                <a16:creationId xmlns:a16="http://schemas.microsoft.com/office/drawing/2014/main" id="{C456F780-FE4E-4E4B-C6E8-AEFBE567DAFF}"/>
              </a:ext>
            </a:extLst>
          </p:cNvPr>
          <p:cNvSpPr/>
          <p:nvPr userDrawn="1"/>
        </p:nvSpPr>
        <p:spPr>
          <a:xfrm>
            <a:off x="588263" y="1097111"/>
            <a:ext cx="11064240" cy="45719"/>
          </a:xfrm>
          <a:prstGeom prst="rect">
            <a:avLst/>
          </a:prstGeom>
          <a:solidFill>
            <a:schemeClr val="accent3">
              <a:lumMod val="50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6" name="Title 1">
            <a:extLst>
              <a:ext uri="{FF2B5EF4-FFF2-40B4-BE49-F238E27FC236}">
                <a16:creationId xmlns:a16="http://schemas.microsoft.com/office/drawing/2014/main" id="{F584E010-C691-EA1E-E1DD-20379C29C9F1}"/>
              </a:ext>
            </a:extLst>
          </p:cNvPr>
          <p:cNvSpPr>
            <a:spLocks noGrp="1"/>
          </p:cNvSpPr>
          <p:nvPr>
            <p:ph type="title"/>
          </p:nvPr>
        </p:nvSpPr>
        <p:spPr>
          <a:xfrm>
            <a:off x="588263" y="457200"/>
            <a:ext cx="11018520" cy="553998"/>
          </a:xfrm>
        </p:spPr>
        <p:txBody>
          <a:bodyPr anchor="ctr"/>
          <a:lstStyle>
            <a:lvl1pPr>
              <a:defRPr>
                <a:solidFill>
                  <a:schemeClr val="tx1"/>
                </a:solidFill>
              </a:defRPr>
            </a:lvl1pPr>
          </a:lstStyle>
          <a:p>
            <a:r>
              <a:rPr lang="en-US"/>
              <a:t>Click to edit</a:t>
            </a:r>
          </a:p>
        </p:txBody>
      </p:sp>
    </p:spTree>
    <p:extLst>
      <p:ext uri="{BB962C8B-B14F-4D97-AF65-F5344CB8AC3E}">
        <p14:creationId xmlns:p14="http://schemas.microsoft.com/office/powerpoint/2010/main" val="3284565388"/>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project overview">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B2304FDD-17CA-A147-9CB2-F7A4E83816B0}"/>
              </a:ext>
            </a:extLst>
          </p:cNvPr>
          <p:cNvCxnSpPr>
            <a:cxnSpLocks/>
          </p:cNvCxnSpPr>
          <p:nvPr userDrawn="1"/>
        </p:nvCxnSpPr>
        <p:spPr>
          <a:xfrm>
            <a:off x="4608991" y="2017713"/>
            <a:ext cx="7239295"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2" name="Text Placeholder 31">
            <a:extLst>
              <a:ext uri="{FF2B5EF4-FFF2-40B4-BE49-F238E27FC236}">
                <a16:creationId xmlns:a16="http://schemas.microsoft.com/office/drawing/2014/main" id="{A0CD7186-AF1B-F240-9FA1-9EE24D7F044C}"/>
              </a:ext>
            </a:extLst>
          </p:cNvPr>
          <p:cNvSpPr>
            <a:spLocks noGrp="1"/>
          </p:cNvSpPr>
          <p:nvPr>
            <p:ph type="body" sz="quarter" idx="11" hasCustomPrompt="1"/>
          </p:nvPr>
        </p:nvSpPr>
        <p:spPr>
          <a:xfrm>
            <a:off x="4608991" y="584719"/>
            <a:ext cx="2153380" cy="647700"/>
          </a:xfrm>
          <a:prstGeom prst="rect">
            <a:avLst/>
          </a:prstGeo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2M</a:t>
            </a:r>
          </a:p>
        </p:txBody>
      </p:sp>
      <p:sp>
        <p:nvSpPr>
          <p:cNvPr id="33" name="Text Placeholder 31">
            <a:extLst>
              <a:ext uri="{FF2B5EF4-FFF2-40B4-BE49-F238E27FC236}">
                <a16:creationId xmlns:a16="http://schemas.microsoft.com/office/drawing/2014/main" id="{7587C738-B53A-F743-AF70-728C3FB00C7E}"/>
              </a:ext>
            </a:extLst>
          </p:cNvPr>
          <p:cNvSpPr>
            <a:spLocks noGrp="1"/>
          </p:cNvSpPr>
          <p:nvPr>
            <p:ph type="body" sz="quarter" idx="12" hasCustomPrompt="1"/>
          </p:nvPr>
        </p:nvSpPr>
        <p:spPr>
          <a:xfrm>
            <a:off x="7175645" y="581232"/>
            <a:ext cx="2104280" cy="647700"/>
          </a:xfrm>
          <a:prstGeom prst="rect">
            <a:avLst/>
          </a:prstGeo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70%</a:t>
            </a:r>
          </a:p>
        </p:txBody>
      </p:sp>
      <p:sp>
        <p:nvSpPr>
          <p:cNvPr id="34" name="Text Placeholder 31">
            <a:extLst>
              <a:ext uri="{FF2B5EF4-FFF2-40B4-BE49-F238E27FC236}">
                <a16:creationId xmlns:a16="http://schemas.microsoft.com/office/drawing/2014/main" id="{51CBA738-F416-D541-8E97-0F3A7416055D}"/>
              </a:ext>
            </a:extLst>
          </p:cNvPr>
          <p:cNvSpPr>
            <a:spLocks noGrp="1"/>
          </p:cNvSpPr>
          <p:nvPr>
            <p:ph type="body" sz="quarter" idx="13" hasCustomPrompt="1"/>
          </p:nvPr>
        </p:nvSpPr>
        <p:spPr>
          <a:xfrm>
            <a:off x="9693668" y="584719"/>
            <a:ext cx="2151240" cy="647700"/>
          </a:xfrm>
          <a:prstGeom prst="rect">
            <a:avLst/>
          </a:prstGeo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300</a:t>
            </a:r>
          </a:p>
        </p:txBody>
      </p:sp>
      <p:sp>
        <p:nvSpPr>
          <p:cNvPr id="36" name="Text Placeholder 35">
            <a:extLst>
              <a:ext uri="{FF2B5EF4-FFF2-40B4-BE49-F238E27FC236}">
                <a16:creationId xmlns:a16="http://schemas.microsoft.com/office/drawing/2014/main" id="{28B23554-69BF-764F-A44D-94C8151E6484}"/>
              </a:ext>
            </a:extLst>
          </p:cNvPr>
          <p:cNvSpPr>
            <a:spLocks noGrp="1"/>
          </p:cNvSpPr>
          <p:nvPr>
            <p:ph type="body" sz="quarter" idx="14" hasCustomPrompt="1"/>
          </p:nvPr>
        </p:nvSpPr>
        <p:spPr>
          <a:xfrm>
            <a:off x="4608991" y="1232420"/>
            <a:ext cx="2151240" cy="611186"/>
          </a:xfrm>
          <a:prstGeom prst="rect">
            <a:avLst/>
          </a:prstGeom>
        </p:spPr>
        <p:txBody>
          <a:bodyPr anchor="ctr">
            <a:noAutofit/>
          </a:bodyPr>
          <a:lstStyle>
            <a:lvl1pPr marL="0" indent="0" algn="ctr">
              <a:buNone/>
              <a:defRPr sz="1400">
                <a:solidFill>
                  <a:schemeClr val="accent6"/>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Financial</a:t>
            </a:r>
          </a:p>
          <a:p>
            <a:pPr lvl="0"/>
            <a:r>
              <a:rPr lang="en-US"/>
              <a:t>Value</a:t>
            </a:r>
          </a:p>
        </p:txBody>
      </p:sp>
      <p:sp>
        <p:nvSpPr>
          <p:cNvPr id="37" name="Text Placeholder 35">
            <a:extLst>
              <a:ext uri="{FF2B5EF4-FFF2-40B4-BE49-F238E27FC236}">
                <a16:creationId xmlns:a16="http://schemas.microsoft.com/office/drawing/2014/main" id="{F959484E-ADD1-F94C-8470-0C113E2E167A}"/>
              </a:ext>
            </a:extLst>
          </p:cNvPr>
          <p:cNvSpPr>
            <a:spLocks noGrp="1"/>
          </p:cNvSpPr>
          <p:nvPr>
            <p:ph type="body" sz="quarter" idx="15" hasCustomPrompt="1"/>
          </p:nvPr>
        </p:nvSpPr>
        <p:spPr>
          <a:xfrm>
            <a:off x="7171807" y="1228933"/>
            <a:ext cx="2119131" cy="611186"/>
          </a:xfrm>
          <a:prstGeom prst="rect">
            <a:avLst/>
          </a:prstGeom>
        </p:spPr>
        <p:txBody>
          <a:bodyPr anchor="ctr">
            <a:noAutofit/>
          </a:bodyPr>
          <a:lstStyle>
            <a:lvl1pPr marL="0" indent="0" algn="ctr">
              <a:buNone/>
              <a:defRPr sz="1400">
                <a:solidFill>
                  <a:schemeClr val="accent6"/>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Percentage</a:t>
            </a:r>
          </a:p>
          <a:p>
            <a:pPr lvl="0"/>
            <a:r>
              <a:rPr lang="en-US"/>
              <a:t>Value</a:t>
            </a:r>
          </a:p>
        </p:txBody>
      </p:sp>
      <p:sp>
        <p:nvSpPr>
          <p:cNvPr id="38" name="Text Placeholder 35">
            <a:extLst>
              <a:ext uri="{FF2B5EF4-FFF2-40B4-BE49-F238E27FC236}">
                <a16:creationId xmlns:a16="http://schemas.microsoft.com/office/drawing/2014/main" id="{3B6DEB9F-381E-D641-A8C9-29A7CC18D3E2}"/>
              </a:ext>
            </a:extLst>
          </p:cNvPr>
          <p:cNvSpPr>
            <a:spLocks noGrp="1"/>
          </p:cNvSpPr>
          <p:nvPr>
            <p:ph type="body" sz="quarter" idx="16" hasCustomPrompt="1"/>
          </p:nvPr>
        </p:nvSpPr>
        <p:spPr>
          <a:xfrm>
            <a:off x="9693667" y="1232420"/>
            <a:ext cx="2151240" cy="611186"/>
          </a:xfrm>
          <a:prstGeom prst="rect">
            <a:avLst/>
          </a:prstGeom>
        </p:spPr>
        <p:txBody>
          <a:bodyPr anchor="ctr">
            <a:noAutofit/>
          </a:bodyPr>
          <a:lstStyle>
            <a:lvl1pPr marL="0" indent="0" algn="ctr">
              <a:buNone/>
              <a:defRPr sz="1400">
                <a:solidFill>
                  <a:schemeClr val="accent6"/>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Additional</a:t>
            </a:r>
          </a:p>
          <a:p>
            <a:pPr lvl="0"/>
            <a:r>
              <a:rPr lang="en-US"/>
              <a:t>Value</a:t>
            </a:r>
          </a:p>
        </p:txBody>
      </p:sp>
      <p:sp>
        <p:nvSpPr>
          <p:cNvPr id="40" name="Text Placeholder 39">
            <a:extLst>
              <a:ext uri="{FF2B5EF4-FFF2-40B4-BE49-F238E27FC236}">
                <a16:creationId xmlns:a16="http://schemas.microsoft.com/office/drawing/2014/main" id="{F5A202A1-4A1F-5843-BD54-EC098D909269}"/>
              </a:ext>
            </a:extLst>
          </p:cNvPr>
          <p:cNvSpPr>
            <a:spLocks noGrp="1"/>
          </p:cNvSpPr>
          <p:nvPr>
            <p:ph type="body" sz="quarter" idx="17" hasCustomPrompt="1"/>
          </p:nvPr>
        </p:nvSpPr>
        <p:spPr>
          <a:xfrm>
            <a:off x="4608991" y="2017713"/>
            <a:ext cx="6013433" cy="704222"/>
          </a:xfrm>
          <a:prstGeom prst="rect">
            <a:avLst/>
          </a:prstGeom>
        </p:spPr>
        <p:txBody>
          <a:bodyPr lIns="90000" tIns="46800" rIns="90000" bIns="46800" anchor="b">
            <a:noAutofit/>
          </a:bodyPr>
          <a:lstStyle>
            <a:lvl1pPr marL="0" indent="0">
              <a:buNone/>
              <a:defRPr sz="2400">
                <a:latin typeface="+mj-lt"/>
              </a:defRPr>
            </a:lvl1pPr>
            <a:lvl2pPr marL="228600" indent="0">
              <a:buNone/>
              <a:defRPr>
                <a:latin typeface="+mj-lt"/>
              </a:defRPr>
            </a:lvl2pPr>
            <a:lvl3pPr marL="457200" indent="0">
              <a:buNone/>
              <a:defRPr>
                <a:latin typeface="+mj-lt"/>
              </a:defRPr>
            </a:lvl3pPr>
            <a:lvl4pPr marL="661988" indent="0">
              <a:buNone/>
              <a:defRPr>
                <a:latin typeface="+mj-lt"/>
              </a:defRPr>
            </a:lvl4pPr>
            <a:lvl5pPr marL="855663" indent="0">
              <a:buNone/>
              <a:defRPr>
                <a:latin typeface="+mj-lt"/>
              </a:defRPr>
            </a:lvl5pPr>
          </a:lstStyle>
          <a:p>
            <a:pPr lvl="0"/>
            <a:r>
              <a:rPr lang="en-US"/>
              <a:t>Project goals</a:t>
            </a:r>
          </a:p>
        </p:txBody>
      </p:sp>
      <p:sp>
        <p:nvSpPr>
          <p:cNvPr id="42" name="Text Placeholder 41">
            <a:extLst>
              <a:ext uri="{FF2B5EF4-FFF2-40B4-BE49-F238E27FC236}">
                <a16:creationId xmlns:a16="http://schemas.microsoft.com/office/drawing/2014/main" id="{9E4D6518-F39B-D540-BBC8-F615FE1B6AF1}"/>
              </a:ext>
            </a:extLst>
          </p:cNvPr>
          <p:cNvSpPr>
            <a:spLocks noGrp="1"/>
          </p:cNvSpPr>
          <p:nvPr>
            <p:ph type="body" sz="quarter" idx="18" hasCustomPrompt="1"/>
          </p:nvPr>
        </p:nvSpPr>
        <p:spPr>
          <a:xfrm>
            <a:off x="4608991" y="2733054"/>
            <a:ext cx="6947230" cy="1148317"/>
          </a:xfrm>
          <a:prstGeom prst="rect">
            <a:avLst/>
          </a:prstGeom>
        </p:spPr>
        <p:txBody>
          <a:bodyPr lIns="90000" tIns="46800" rIns="90000" bIns="46800">
            <a:noAutofit/>
          </a:bodyPr>
          <a:lstStyle>
            <a:lvl1pPr marL="0" indent="0">
              <a:buNone/>
              <a:defRPr sz="1400">
                <a:solidFill>
                  <a:schemeClr val="accent6"/>
                </a:solidFill>
              </a:defRPr>
            </a:lvl1pPr>
            <a:lvl2pPr marL="228600" indent="0">
              <a:buNone/>
              <a:defRPr>
                <a:solidFill>
                  <a:schemeClr val="accent6"/>
                </a:solidFill>
              </a:defRPr>
            </a:lvl2pPr>
            <a:lvl3pPr marL="457200" indent="0">
              <a:buNone/>
              <a:defRPr>
                <a:solidFill>
                  <a:schemeClr val="accent6"/>
                </a:solidFill>
              </a:defRPr>
            </a:lvl3pPr>
            <a:lvl4pPr marL="661988" indent="0">
              <a:buNone/>
              <a:defRPr>
                <a:solidFill>
                  <a:schemeClr val="accent6"/>
                </a:solidFill>
              </a:defRPr>
            </a:lvl4pPr>
            <a:lvl5pPr marL="855663" indent="0">
              <a:buNone/>
              <a:defRPr>
                <a:solidFill>
                  <a:schemeClr val="accent6"/>
                </a:solidFill>
              </a:defRPr>
            </a:lvl5pPr>
          </a:lstStyle>
          <a:p>
            <a:pPr lvl="0"/>
            <a:r>
              <a:rPr lang="en-US"/>
              <a:t>Descriptive text</a:t>
            </a:r>
          </a:p>
        </p:txBody>
      </p:sp>
      <p:sp>
        <p:nvSpPr>
          <p:cNvPr id="43" name="Text Placeholder 39">
            <a:extLst>
              <a:ext uri="{FF2B5EF4-FFF2-40B4-BE49-F238E27FC236}">
                <a16:creationId xmlns:a16="http://schemas.microsoft.com/office/drawing/2014/main" id="{BFD70A96-999C-1A46-83A7-D06801F55DB7}"/>
              </a:ext>
            </a:extLst>
          </p:cNvPr>
          <p:cNvSpPr>
            <a:spLocks noGrp="1"/>
          </p:cNvSpPr>
          <p:nvPr>
            <p:ph type="body" sz="quarter" idx="19" hasCustomPrompt="1"/>
          </p:nvPr>
        </p:nvSpPr>
        <p:spPr>
          <a:xfrm>
            <a:off x="4608991" y="4161319"/>
            <a:ext cx="6013434" cy="704222"/>
          </a:xfrm>
          <a:prstGeom prst="rect">
            <a:avLst/>
          </a:prstGeom>
        </p:spPr>
        <p:txBody>
          <a:bodyPr lIns="90000" tIns="46800" rIns="90000" bIns="46800" anchor="b">
            <a:noAutofit/>
          </a:bodyPr>
          <a:lstStyle>
            <a:lvl1pPr marL="0" indent="0">
              <a:buNone/>
              <a:defRPr sz="2400">
                <a:latin typeface="+mj-lt"/>
              </a:defRPr>
            </a:lvl1pPr>
            <a:lvl2pPr marL="228600" indent="0">
              <a:buNone/>
              <a:defRPr>
                <a:latin typeface="+mj-lt"/>
              </a:defRPr>
            </a:lvl2pPr>
            <a:lvl3pPr marL="457200" indent="0">
              <a:buNone/>
              <a:defRPr>
                <a:latin typeface="+mj-lt"/>
              </a:defRPr>
            </a:lvl3pPr>
            <a:lvl4pPr marL="661988" indent="0">
              <a:buNone/>
              <a:defRPr>
                <a:latin typeface="+mj-lt"/>
              </a:defRPr>
            </a:lvl4pPr>
            <a:lvl5pPr marL="855663" indent="0">
              <a:buNone/>
              <a:defRPr>
                <a:latin typeface="+mj-lt"/>
              </a:defRPr>
            </a:lvl5pPr>
          </a:lstStyle>
          <a:p>
            <a:pPr lvl="0"/>
            <a:r>
              <a:rPr lang="en-US"/>
              <a:t>Project metrics</a:t>
            </a:r>
          </a:p>
        </p:txBody>
      </p:sp>
      <p:sp>
        <p:nvSpPr>
          <p:cNvPr id="44" name="Text Placeholder 41">
            <a:extLst>
              <a:ext uri="{FF2B5EF4-FFF2-40B4-BE49-F238E27FC236}">
                <a16:creationId xmlns:a16="http://schemas.microsoft.com/office/drawing/2014/main" id="{F57534EE-A31A-3942-81EF-7420176EDD7B}"/>
              </a:ext>
            </a:extLst>
          </p:cNvPr>
          <p:cNvSpPr>
            <a:spLocks noGrp="1"/>
          </p:cNvSpPr>
          <p:nvPr>
            <p:ph type="body" sz="quarter" idx="20" hasCustomPrompt="1"/>
          </p:nvPr>
        </p:nvSpPr>
        <p:spPr>
          <a:xfrm>
            <a:off x="4608991" y="4865541"/>
            <a:ext cx="6946773" cy="1148317"/>
          </a:xfrm>
          <a:prstGeom prst="rect">
            <a:avLst/>
          </a:prstGeom>
        </p:spPr>
        <p:txBody>
          <a:bodyPr lIns="90000" tIns="46800" rIns="90000" bIns="46800">
            <a:noAutofit/>
          </a:bodyPr>
          <a:lstStyle>
            <a:lvl1pPr marL="0" indent="0">
              <a:buNone/>
              <a:defRPr sz="1400">
                <a:solidFill>
                  <a:schemeClr val="accent6"/>
                </a:solidFill>
              </a:defRPr>
            </a:lvl1pPr>
            <a:lvl2pPr marL="228600" indent="0">
              <a:buNone/>
              <a:defRPr>
                <a:solidFill>
                  <a:schemeClr val="accent6"/>
                </a:solidFill>
              </a:defRPr>
            </a:lvl2pPr>
            <a:lvl3pPr marL="457200" indent="0">
              <a:buNone/>
              <a:defRPr>
                <a:solidFill>
                  <a:schemeClr val="accent6"/>
                </a:solidFill>
              </a:defRPr>
            </a:lvl3pPr>
            <a:lvl4pPr marL="661988" indent="0">
              <a:buNone/>
              <a:defRPr>
                <a:solidFill>
                  <a:schemeClr val="accent6"/>
                </a:solidFill>
              </a:defRPr>
            </a:lvl4pPr>
            <a:lvl5pPr marL="855663" indent="0">
              <a:buNone/>
              <a:defRPr>
                <a:solidFill>
                  <a:schemeClr val="accent6"/>
                </a:solidFill>
              </a:defRPr>
            </a:lvl5pPr>
          </a:lstStyle>
          <a:p>
            <a:pPr lvl="0"/>
            <a:r>
              <a:rPr lang="en-US"/>
              <a:t>Descriptive text</a:t>
            </a:r>
          </a:p>
        </p:txBody>
      </p:sp>
      <p:sp>
        <p:nvSpPr>
          <p:cNvPr id="6" name="Rectangle 5">
            <a:extLst>
              <a:ext uri="{FF2B5EF4-FFF2-40B4-BE49-F238E27FC236}">
                <a16:creationId xmlns:a16="http://schemas.microsoft.com/office/drawing/2014/main" id="{31302291-6A36-2251-FEF1-980CA08B59A2}"/>
              </a:ext>
            </a:extLst>
          </p:cNvPr>
          <p:cNvSpPr/>
          <p:nvPr userDrawn="1"/>
        </p:nvSpPr>
        <p:spPr>
          <a:xfrm>
            <a:off x="-16" y="-1588"/>
            <a:ext cx="4356097" cy="6859588"/>
          </a:xfrm>
          <a:prstGeom prst="rect">
            <a:avLst/>
          </a:prstGeom>
          <a:gradFill flip="none" rotWithShape="1">
            <a:gsLst>
              <a:gs pos="97000">
                <a:schemeClr val="accent3">
                  <a:lumMod val="50000"/>
                </a:schemeClr>
              </a:gs>
              <a:gs pos="17000">
                <a:schemeClr val="tx1"/>
              </a:gs>
            </a:gsLst>
            <a:path path="circle">
              <a:fillToRect r="100000" b="100000"/>
            </a:path>
            <a:tileRect l="-100000" t="-100000"/>
          </a:gra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7" name="Title 1">
            <a:extLst>
              <a:ext uri="{FF2B5EF4-FFF2-40B4-BE49-F238E27FC236}">
                <a16:creationId xmlns:a16="http://schemas.microsoft.com/office/drawing/2014/main" id="{7B0F6FFB-43E2-257F-73D0-C928540BD102}"/>
              </a:ext>
            </a:extLst>
          </p:cNvPr>
          <p:cNvSpPr>
            <a:spLocks noGrp="1"/>
          </p:cNvSpPr>
          <p:nvPr>
            <p:ph type="title" hasCustomPrompt="1"/>
          </p:nvPr>
        </p:nvSpPr>
        <p:spPr>
          <a:xfrm>
            <a:off x="588264" y="585788"/>
            <a:ext cx="3703650" cy="850900"/>
          </a:xfrm>
        </p:spPr>
        <p:txBody>
          <a:bodyPr anchor="t">
            <a:noAutofit/>
          </a:bodyPr>
          <a:lstStyle>
            <a:lvl1pPr>
              <a:defRPr>
                <a:solidFill>
                  <a:schemeClr val="bg1"/>
                </a:solidFill>
              </a:defRPr>
            </a:lvl1pPr>
          </a:lstStyle>
          <a:p>
            <a:r>
              <a:rPr lang="en-US"/>
              <a:t>Project Name</a:t>
            </a:r>
          </a:p>
        </p:txBody>
      </p:sp>
      <p:sp>
        <p:nvSpPr>
          <p:cNvPr id="8" name="Text Placeholder 22">
            <a:extLst>
              <a:ext uri="{FF2B5EF4-FFF2-40B4-BE49-F238E27FC236}">
                <a16:creationId xmlns:a16="http://schemas.microsoft.com/office/drawing/2014/main" id="{88BF1E4E-5D54-9336-26F1-E3B730403527}"/>
              </a:ext>
            </a:extLst>
          </p:cNvPr>
          <p:cNvSpPr>
            <a:spLocks noGrp="1"/>
          </p:cNvSpPr>
          <p:nvPr>
            <p:ph type="body" sz="quarter" idx="10" hasCustomPrompt="1"/>
          </p:nvPr>
        </p:nvSpPr>
        <p:spPr>
          <a:xfrm>
            <a:off x="584201" y="2017713"/>
            <a:ext cx="3481387" cy="2579001"/>
          </a:xfrm>
          <a:prstGeom prst="rect">
            <a:avLst/>
          </a:prstGeom>
        </p:spPr>
        <p:txBody>
          <a:bodyPr/>
          <a:lstStyle>
            <a:lvl1pPr marL="0" indent="0">
              <a:lnSpc>
                <a:spcPct val="100000"/>
              </a:lnSpc>
              <a:buNone/>
              <a:defRPr sz="1800">
                <a:solidFill>
                  <a:schemeClr val="bg1"/>
                </a:solidFill>
              </a:defRPr>
            </a:lvl1pPr>
            <a:lvl2pPr marL="228600" indent="0">
              <a:buNone/>
              <a:defRPr sz="1800">
                <a:solidFill>
                  <a:schemeClr val="bg1"/>
                </a:solidFill>
              </a:defRPr>
            </a:lvl2pPr>
            <a:lvl3pPr marL="457200" indent="0">
              <a:buNone/>
              <a:defRPr sz="1800">
                <a:solidFill>
                  <a:schemeClr val="bg1"/>
                </a:solidFill>
              </a:defRPr>
            </a:lvl3pPr>
            <a:lvl4pPr marL="661988" indent="0">
              <a:buNone/>
              <a:defRPr sz="1800">
                <a:solidFill>
                  <a:schemeClr val="bg1"/>
                </a:solidFill>
              </a:defRPr>
            </a:lvl4pPr>
            <a:lvl5pPr marL="855663" indent="0">
              <a:buNone/>
              <a:defRPr sz="1800">
                <a:solidFill>
                  <a:schemeClr val="bg1"/>
                </a:solidFill>
              </a:defRPr>
            </a:lvl5pPr>
          </a:lstStyle>
          <a:p>
            <a:pPr>
              <a:lnSpc>
                <a:spcPct val="100000"/>
              </a:lnSpc>
            </a:pPr>
            <a:r>
              <a:rPr lang="en-US" sz="1800" b="0">
                <a:solidFill>
                  <a:schemeClr val="bg1"/>
                </a:solidFill>
                <a:latin typeface="Segoe UI" panose="020B0502040204020203" pitchFamily="34" charset="0"/>
                <a:cs typeface="Segoe UI" panose="020B0502040204020203" pitchFamily="34" charset="0"/>
              </a:rPr>
              <a:t>Provide more context and a detailed overview of what the project goals are, what you have or hope to accomplish.</a:t>
            </a:r>
          </a:p>
          <a:p>
            <a:pPr>
              <a:lnSpc>
                <a:spcPct val="100000"/>
              </a:lnSpc>
            </a:pPr>
            <a:endParaRPr lang="en-US" sz="1800" b="0">
              <a:solidFill>
                <a:schemeClr val="bg1"/>
              </a:solidFill>
              <a:latin typeface="Segoe UI" panose="020B0502040204020203" pitchFamily="34" charset="0"/>
              <a:cs typeface="Segoe UI" panose="020B0502040204020203" pitchFamily="34" charset="0"/>
            </a:endParaRPr>
          </a:p>
          <a:p>
            <a:pPr>
              <a:lnSpc>
                <a:spcPct val="100000"/>
              </a:lnSpc>
            </a:pPr>
            <a:r>
              <a:rPr lang="en-US" sz="1800" b="0">
                <a:solidFill>
                  <a:schemeClr val="bg1"/>
                </a:solidFill>
                <a:latin typeface="Segoe UI" panose="020B0502040204020203" pitchFamily="34" charset="0"/>
                <a:cs typeface="Segoe UI" panose="020B0502040204020203" pitchFamily="34" charset="0"/>
              </a:rPr>
              <a:t>This space accommodates multiple lines of text so there is enough room to give details.</a:t>
            </a:r>
          </a:p>
        </p:txBody>
      </p:sp>
    </p:spTree>
    <p:extLst>
      <p:ext uri="{BB962C8B-B14F-4D97-AF65-F5344CB8AC3E}">
        <p14:creationId xmlns:p14="http://schemas.microsoft.com/office/powerpoint/2010/main" val="1286376666"/>
      </p:ext>
    </p:extLst>
  </p:cSld>
  <p:clrMapOvr>
    <a:masterClrMapping/>
  </p:clrMapOvr>
  <p:transition>
    <p:fade/>
  </p:transition>
  <p:extLst>
    <p:ext uri="{DCECCB84-F9BA-43D5-87BE-67443E8EF086}">
      <p15:sldGuideLst xmlns:p15="http://schemas.microsoft.com/office/powerpoint/2012/main">
        <p15:guide id="16" pos="3754">
          <p15:clr>
            <a:srgbClr val="A4A3A4"/>
          </p15:clr>
        </p15:guide>
        <p15:guide id="17" pos="3931">
          <p15:clr>
            <a:srgbClr val="A4A3A4"/>
          </p15:clr>
        </p15:guide>
        <p15:guide id="20" pos="4937">
          <p15:clr>
            <a:srgbClr val="A4A3A4"/>
          </p15:clr>
        </p15:guide>
        <p15:guide id="21" pos="5133">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777">
          <p15:clr>
            <a:srgbClr val="FBAE40"/>
          </p15:clr>
        </p15:guide>
        <p15:guide id="32" orient="horz" pos="1162">
          <p15:clr>
            <a:srgbClr val="FBAE4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photos 1">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45E230E-6078-6BAD-2505-3E55A3872ACD}"/>
              </a:ext>
            </a:extLst>
          </p:cNvPr>
          <p:cNvSpPr/>
          <p:nvPr userDrawn="1"/>
        </p:nvSpPr>
        <p:spPr>
          <a:xfrm>
            <a:off x="0" y="1"/>
            <a:ext cx="12192000" cy="1219199"/>
          </a:xfrm>
          <a:prstGeom prst="rect">
            <a:avLst/>
          </a:prstGeom>
          <a:gradFill flip="none" rotWithShape="1">
            <a:gsLst>
              <a:gs pos="97000">
                <a:schemeClr val="accent3">
                  <a:lumMod val="50000"/>
                </a:schemeClr>
              </a:gs>
              <a:gs pos="0">
                <a:schemeClr val="tx1"/>
              </a:gs>
            </a:gsLst>
            <a:lin ang="0" scaled="1"/>
            <a:tileRect/>
          </a:gra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294393"/>
            <a:ext cx="5367528" cy="276999"/>
          </a:xfrm>
          <a:prstGeom prst="rect">
            <a:avLst/>
          </a:prstGeom>
        </p:spPr>
        <p:txBody>
          <a:bodyPr/>
          <a:lstStyle>
            <a:lvl1pPr marL="0" indent="0" algn="ctr">
              <a:spcBef>
                <a:spcPts val="0"/>
              </a:spcBef>
              <a:buNone/>
              <a:defRPr sz="1800">
                <a:latin typeface="+mj-lt"/>
              </a:defRPr>
            </a:lvl1pPr>
          </a:lstStyle>
          <a:p>
            <a:pPr lvl="0"/>
            <a:r>
              <a:rPr lang="en-US"/>
              <a:t>Click to edi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1630443"/>
            <a:ext cx="5367528" cy="3474720"/>
          </a:xfrm>
          <a:prstGeom prst="rect">
            <a:avLst/>
          </a:prstGeo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294393"/>
            <a:ext cx="5367528" cy="276999"/>
          </a:xfrm>
          <a:prstGeom prst="rect">
            <a:avLst/>
          </a:prstGeom>
        </p:spPr>
        <p:txBody>
          <a:bodyPr/>
          <a:lstStyle>
            <a:lvl1pPr marL="0" indent="0" algn="ctr">
              <a:spcBef>
                <a:spcPts val="0"/>
              </a:spcBef>
              <a:buNone/>
              <a:defRPr sz="1800">
                <a:latin typeface="+mj-lt"/>
              </a:defRPr>
            </a:lvl1pPr>
          </a:lstStyle>
          <a:p>
            <a:pPr lvl="0"/>
            <a:r>
              <a:rPr lang="en-US"/>
              <a:t>Click to edi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1630443"/>
            <a:ext cx="5367528" cy="3474720"/>
          </a:xfrm>
          <a:prstGeom prst="rect">
            <a:avLst/>
          </a:prstGeo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8" name="Title 1">
            <a:extLst>
              <a:ext uri="{FF2B5EF4-FFF2-40B4-BE49-F238E27FC236}">
                <a16:creationId xmlns:a16="http://schemas.microsoft.com/office/drawing/2014/main" id="{6A2BE561-8EC3-F1A6-1B30-D550751F30D0}"/>
              </a:ext>
            </a:extLst>
          </p:cNvPr>
          <p:cNvSpPr>
            <a:spLocks noGrp="1"/>
          </p:cNvSpPr>
          <p:nvPr>
            <p:ph type="title"/>
          </p:nvPr>
        </p:nvSpPr>
        <p:spPr>
          <a:xfrm>
            <a:off x="588263" y="457200"/>
            <a:ext cx="11018520" cy="553998"/>
          </a:xfrm>
        </p:spPr>
        <p:txBody>
          <a:bodyPr anchor="ctr"/>
          <a:lstStyle>
            <a:lvl1pPr>
              <a:defRPr>
                <a:solidFill>
                  <a:schemeClr val="bg1"/>
                </a:solidFill>
              </a:defRPr>
            </a:lvl1pPr>
          </a:lstStyle>
          <a:p>
            <a:r>
              <a:rPr lang="en-US"/>
              <a:t>Click to edit</a:t>
            </a:r>
          </a:p>
        </p:txBody>
      </p:sp>
    </p:spTree>
    <p:extLst>
      <p:ext uri="{BB962C8B-B14F-4D97-AF65-F5344CB8AC3E}">
        <p14:creationId xmlns:p14="http://schemas.microsoft.com/office/powerpoint/2010/main" val="176821154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photos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E3FD830-5057-683A-F11B-2E6B7EBDB3F8}"/>
              </a:ext>
            </a:extLst>
          </p:cNvPr>
          <p:cNvSpPr/>
          <p:nvPr userDrawn="1"/>
        </p:nvSpPr>
        <p:spPr>
          <a:xfrm>
            <a:off x="0" y="1"/>
            <a:ext cx="12192000" cy="1219199"/>
          </a:xfrm>
          <a:prstGeom prst="rect">
            <a:avLst/>
          </a:prstGeom>
          <a:gradFill flip="none" rotWithShape="1">
            <a:gsLst>
              <a:gs pos="97000">
                <a:schemeClr val="accent3">
                  <a:lumMod val="50000"/>
                </a:schemeClr>
              </a:gs>
              <a:gs pos="0">
                <a:schemeClr val="tx1"/>
              </a:gs>
            </a:gsLst>
            <a:lin ang="0" scaled="1"/>
            <a:tileRect/>
          </a:gra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302148"/>
            <a:ext cx="3475037" cy="276999"/>
          </a:xfrm>
          <a:prstGeom prst="rect">
            <a:avLst/>
          </a:prstGeom>
        </p:spPr>
        <p:txBody>
          <a:bodyPr/>
          <a:lstStyle>
            <a:lvl1pPr marL="0" indent="0" algn="ctr">
              <a:spcBef>
                <a:spcPts val="0"/>
              </a:spcBef>
              <a:buNone/>
              <a:defRPr sz="1800">
                <a:latin typeface="+mj-lt"/>
              </a:defRPr>
            </a:lvl1pPr>
          </a:lstStyle>
          <a:p>
            <a:pPr lvl="0"/>
            <a:r>
              <a:rPr lang="en-US"/>
              <a:t>Click to edi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1638198"/>
            <a:ext cx="3474720" cy="3474720"/>
          </a:xfrm>
          <a:prstGeom prst="rect">
            <a:avLst/>
          </a:prstGeo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302148"/>
            <a:ext cx="3475037" cy="276999"/>
          </a:xfrm>
          <a:prstGeom prst="rect">
            <a:avLst/>
          </a:prstGeom>
        </p:spPr>
        <p:txBody>
          <a:bodyPr/>
          <a:lstStyle>
            <a:lvl1pPr marL="0" indent="0" algn="ctr">
              <a:spcBef>
                <a:spcPts val="0"/>
              </a:spcBef>
              <a:buNone/>
              <a:defRPr sz="1800">
                <a:latin typeface="+mj-lt"/>
              </a:defRPr>
            </a:lvl1pPr>
          </a:lstStyle>
          <a:p>
            <a:pPr lvl="0"/>
            <a:r>
              <a:rPr lang="en-US"/>
              <a:t>Click to edi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1638198"/>
            <a:ext cx="3474720" cy="3474720"/>
          </a:xfrm>
          <a:prstGeom prst="rect">
            <a:avLst/>
          </a:prstGeo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302148"/>
            <a:ext cx="3475037" cy="276999"/>
          </a:xfrm>
          <a:prstGeom prst="rect">
            <a:avLst/>
          </a:prstGeom>
        </p:spPr>
        <p:txBody>
          <a:bodyPr/>
          <a:lstStyle>
            <a:lvl1pPr marL="0" indent="0" algn="ctr">
              <a:spcBef>
                <a:spcPts val="0"/>
              </a:spcBef>
              <a:buNone/>
              <a:defRPr sz="1800">
                <a:latin typeface="+mj-lt"/>
              </a:defRPr>
            </a:lvl1pPr>
          </a:lstStyle>
          <a:p>
            <a:pPr lvl="0"/>
            <a:r>
              <a:rPr lang="en-US"/>
              <a:t>Click to edi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1638198"/>
            <a:ext cx="3474720" cy="3474720"/>
          </a:xfrm>
          <a:prstGeom prst="rect">
            <a:avLst/>
          </a:prstGeo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itle 1">
            <a:extLst>
              <a:ext uri="{FF2B5EF4-FFF2-40B4-BE49-F238E27FC236}">
                <a16:creationId xmlns:a16="http://schemas.microsoft.com/office/drawing/2014/main" id="{AF91C127-4EA1-9E99-2C98-323E6A46D24E}"/>
              </a:ext>
            </a:extLst>
          </p:cNvPr>
          <p:cNvSpPr>
            <a:spLocks noGrp="1"/>
          </p:cNvSpPr>
          <p:nvPr>
            <p:ph type="title"/>
          </p:nvPr>
        </p:nvSpPr>
        <p:spPr>
          <a:xfrm>
            <a:off x="588263" y="457200"/>
            <a:ext cx="11018520" cy="553998"/>
          </a:xfrm>
        </p:spPr>
        <p:txBody>
          <a:bodyPr anchor="ctr"/>
          <a:lstStyle>
            <a:lvl1pPr>
              <a:defRPr>
                <a:solidFill>
                  <a:schemeClr val="bg1"/>
                </a:solidFill>
              </a:defRPr>
            </a:lvl1pPr>
          </a:lstStyle>
          <a:p>
            <a:r>
              <a:rPr lang="en-US"/>
              <a:t>Click to edit</a:t>
            </a:r>
          </a:p>
        </p:txBody>
      </p:sp>
    </p:spTree>
    <p:extLst>
      <p:ext uri="{BB962C8B-B14F-4D97-AF65-F5344CB8AC3E}">
        <p14:creationId xmlns:p14="http://schemas.microsoft.com/office/powerpoint/2010/main" val="284728595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photos 3">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C67DC04-59B7-2536-41E3-816D93C943C9}"/>
              </a:ext>
            </a:extLst>
          </p:cNvPr>
          <p:cNvSpPr/>
          <p:nvPr userDrawn="1"/>
        </p:nvSpPr>
        <p:spPr>
          <a:xfrm>
            <a:off x="0" y="1"/>
            <a:ext cx="12192000" cy="1219199"/>
          </a:xfrm>
          <a:prstGeom prst="rect">
            <a:avLst/>
          </a:prstGeom>
          <a:gradFill flip="none" rotWithShape="1">
            <a:gsLst>
              <a:gs pos="97000">
                <a:schemeClr val="accent3">
                  <a:lumMod val="50000"/>
                </a:schemeClr>
              </a:gs>
              <a:gs pos="0">
                <a:schemeClr val="tx1"/>
              </a:gs>
            </a:gsLst>
            <a:lin ang="0" scaled="1"/>
            <a:tileRect/>
          </a:gra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 name="Title 1">
            <a:extLst>
              <a:ext uri="{FF2B5EF4-FFF2-40B4-BE49-F238E27FC236}">
                <a16:creationId xmlns:a16="http://schemas.microsoft.com/office/drawing/2014/main" id="{15433F57-776D-329E-6085-AFE5C1BFAAFD}"/>
              </a:ext>
            </a:extLst>
          </p:cNvPr>
          <p:cNvSpPr>
            <a:spLocks noGrp="1"/>
          </p:cNvSpPr>
          <p:nvPr>
            <p:ph type="title"/>
          </p:nvPr>
        </p:nvSpPr>
        <p:spPr>
          <a:xfrm>
            <a:off x="588263" y="457200"/>
            <a:ext cx="11018520" cy="553998"/>
          </a:xfrm>
        </p:spPr>
        <p:txBody>
          <a:bodyPr anchor="ctr"/>
          <a:lstStyle>
            <a:lvl1pPr>
              <a:defRPr>
                <a:solidFill>
                  <a:schemeClr val="bg1"/>
                </a:solidFill>
              </a:defRPr>
            </a:lvl1pPr>
          </a:lstStyle>
          <a:p>
            <a:r>
              <a:rPr lang="en-US"/>
              <a:t>Click to edit</a:t>
            </a:r>
          </a:p>
        </p:txBody>
      </p:sp>
      <p:sp>
        <p:nvSpPr>
          <p:cNvPr id="10" name="Text Placeholder 3">
            <a:extLst>
              <a:ext uri="{FF2B5EF4-FFF2-40B4-BE49-F238E27FC236}">
                <a16:creationId xmlns:a16="http://schemas.microsoft.com/office/drawing/2014/main" id="{2150B9D7-D718-CD16-B077-A159C262A5C6}"/>
              </a:ext>
            </a:extLst>
          </p:cNvPr>
          <p:cNvSpPr>
            <a:spLocks noGrp="1"/>
          </p:cNvSpPr>
          <p:nvPr>
            <p:ph type="body" sz="quarter" idx="16"/>
          </p:nvPr>
        </p:nvSpPr>
        <p:spPr>
          <a:xfrm>
            <a:off x="580008" y="5025021"/>
            <a:ext cx="2532888" cy="276999"/>
          </a:xfrm>
          <a:prstGeom prst="rect">
            <a:avLst/>
          </a:prstGeom>
        </p:spPr>
        <p:txBody>
          <a:bodyPr/>
          <a:lstStyle>
            <a:lvl1pPr marL="0" indent="0" algn="ctr">
              <a:spcBef>
                <a:spcPts val="0"/>
              </a:spcBef>
              <a:buNone/>
              <a:defRPr sz="1800">
                <a:latin typeface="+mj-lt"/>
              </a:defRPr>
            </a:lvl1pPr>
          </a:lstStyle>
          <a:p>
            <a:pPr lvl="0"/>
            <a:r>
              <a:rPr lang="en-US"/>
              <a:t>Click to edi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BBB05FC-63EF-93E3-BC4D-4B5326C75E40}"/>
              </a:ext>
            </a:extLst>
          </p:cNvPr>
          <p:cNvSpPr>
            <a:spLocks noGrp="1"/>
          </p:cNvSpPr>
          <p:nvPr>
            <p:ph type="pic" sz="quarter" idx="13" hasCustomPrompt="1"/>
          </p:nvPr>
        </p:nvSpPr>
        <p:spPr bwMode="ltGray">
          <a:xfrm>
            <a:off x="580007" y="2296733"/>
            <a:ext cx="2532888" cy="2532888"/>
          </a:xfrm>
          <a:prstGeom prst="rect">
            <a:avLst/>
          </a:prstGeo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671B6BEF-EB49-56C3-4270-419C26351F80}"/>
              </a:ext>
            </a:extLst>
          </p:cNvPr>
          <p:cNvSpPr>
            <a:spLocks noGrp="1"/>
          </p:cNvSpPr>
          <p:nvPr>
            <p:ph type="body" sz="quarter" idx="17"/>
          </p:nvPr>
        </p:nvSpPr>
        <p:spPr>
          <a:xfrm>
            <a:off x="3411303" y="5025021"/>
            <a:ext cx="2532888" cy="276999"/>
          </a:xfrm>
          <a:prstGeom prst="rect">
            <a:avLst/>
          </a:prstGeom>
        </p:spPr>
        <p:txBody>
          <a:bodyPr/>
          <a:lstStyle>
            <a:lvl1pPr marL="0" indent="0" algn="ctr">
              <a:spcBef>
                <a:spcPts val="0"/>
              </a:spcBef>
              <a:buNone/>
              <a:defRPr sz="1800">
                <a:latin typeface="+mj-lt"/>
              </a:defRPr>
            </a:lvl1pPr>
          </a:lstStyle>
          <a:p>
            <a:pPr lvl="0"/>
            <a:r>
              <a:rPr lang="en-US"/>
              <a:t>Click to edit</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FCDDAC90-F4BC-9F19-42C4-4F129A2412CA}"/>
              </a:ext>
            </a:extLst>
          </p:cNvPr>
          <p:cNvSpPr>
            <a:spLocks noGrp="1"/>
          </p:cNvSpPr>
          <p:nvPr>
            <p:ph type="pic" sz="quarter" idx="14" hasCustomPrompt="1"/>
          </p:nvPr>
        </p:nvSpPr>
        <p:spPr bwMode="ltGray">
          <a:xfrm>
            <a:off x="3411303" y="2296733"/>
            <a:ext cx="2532888" cy="2532888"/>
          </a:xfrm>
          <a:prstGeom prst="rect">
            <a:avLst/>
          </a:prstGeo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FC3F831B-66EE-F0A8-4CBA-D7A9859F95BC}"/>
              </a:ext>
            </a:extLst>
          </p:cNvPr>
          <p:cNvSpPr>
            <a:spLocks noGrp="1"/>
          </p:cNvSpPr>
          <p:nvPr>
            <p:ph type="body" sz="quarter" idx="18"/>
          </p:nvPr>
        </p:nvSpPr>
        <p:spPr>
          <a:xfrm>
            <a:off x="6242599" y="5025021"/>
            <a:ext cx="2532888" cy="276999"/>
          </a:xfrm>
          <a:prstGeom prst="rect">
            <a:avLst/>
          </a:prstGeom>
        </p:spPr>
        <p:txBody>
          <a:bodyPr/>
          <a:lstStyle>
            <a:lvl1pPr marL="0" indent="0" algn="ctr">
              <a:spcBef>
                <a:spcPts val="0"/>
              </a:spcBef>
              <a:buNone/>
              <a:defRPr sz="1800">
                <a:latin typeface="+mj-lt"/>
              </a:defRPr>
            </a:lvl1pPr>
          </a:lstStyle>
          <a:p>
            <a:pPr lvl="0"/>
            <a:r>
              <a:rPr lang="en-US"/>
              <a:t>Click to edit</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03FE6ABF-9EF7-A5BC-A06C-930C7DCFEE10}"/>
              </a:ext>
            </a:extLst>
          </p:cNvPr>
          <p:cNvSpPr>
            <a:spLocks noGrp="1"/>
          </p:cNvSpPr>
          <p:nvPr>
            <p:ph type="pic" sz="quarter" idx="15" hasCustomPrompt="1"/>
          </p:nvPr>
        </p:nvSpPr>
        <p:spPr bwMode="ltGray">
          <a:xfrm>
            <a:off x="6242599" y="2296733"/>
            <a:ext cx="2532888" cy="2532888"/>
          </a:xfrm>
          <a:prstGeom prst="rect">
            <a:avLst/>
          </a:prstGeo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72AAF55A-3CBF-4BA3-AE8A-9E62F4403940}"/>
              </a:ext>
            </a:extLst>
          </p:cNvPr>
          <p:cNvSpPr>
            <a:spLocks noGrp="1"/>
          </p:cNvSpPr>
          <p:nvPr>
            <p:ph type="body" sz="quarter" idx="20"/>
          </p:nvPr>
        </p:nvSpPr>
        <p:spPr>
          <a:xfrm>
            <a:off x="9073895" y="5025021"/>
            <a:ext cx="2532888" cy="276999"/>
          </a:xfrm>
          <a:prstGeom prst="rect">
            <a:avLst/>
          </a:prstGeom>
        </p:spPr>
        <p:txBody>
          <a:bodyPr/>
          <a:lstStyle>
            <a:lvl1pPr marL="0" indent="0" algn="ctr">
              <a:spcBef>
                <a:spcPts val="0"/>
              </a:spcBef>
              <a:buNone/>
              <a:defRPr sz="1800">
                <a:latin typeface="+mj-lt"/>
              </a:defRPr>
            </a:lvl1pPr>
          </a:lstStyle>
          <a:p>
            <a:pPr lvl="0"/>
            <a:r>
              <a:rPr lang="en-US"/>
              <a:t>Click to edit</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4A9D36B-64A9-F753-060F-EC464A0E78F3}"/>
              </a:ext>
            </a:extLst>
          </p:cNvPr>
          <p:cNvSpPr>
            <a:spLocks noGrp="1"/>
          </p:cNvSpPr>
          <p:nvPr>
            <p:ph type="pic" sz="quarter" idx="19" hasCustomPrompt="1"/>
          </p:nvPr>
        </p:nvSpPr>
        <p:spPr bwMode="ltGray">
          <a:xfrm>
            <a:off x="9071290" y="2296733"/>
            <a:ext cx="2532888" cy="2532888"/>
          </a:xfrm>
          <a:prstGeom prst="rect">
            <a:avLst/>
          </a:prstGeo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50207800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photos 4">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E3FD830-5057-683A-F11B-2E6B7EBDB3F8}"/>
              </a:ext>
            </a:extLst>
          </p:cNvPr>
          <p:cNvSpPr/>
          <p:nvPr userDrawn="1"/>
        </p:nvSpPr>
        <p:spPr>
          <a:xfrm>
            <a:off x="0" y="1"/>
            <a:ext cx="12192000" cy="1219199"/>
          </a:xfrm>
          <a:prstGeom prst="rect">
            <a:avLst/>
          </a:prstGeom>
          <a:gradFill flip="none" rotWithShape="1">
            <a:gsLst>
              <a:gs pos="97000">
                <a:schemeClr val="accent3">
                  <a:lumMod val="50000"/>
                </a:schemeClr>
              </a:gs>
              <a:gs pos="0">
                <a:schemeClr val="tx1"/>
              </a:gs>
            </a:gsLst>
            <a:lin ang="0" scaled="1"/>
            <a:tileRect/>
          </a:gra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302148"/>
            <a:ext cx="3475037" cy="276999"/>
          </a:xfrm>
          <a:prstGeom prst="rect">
            <a:avLst/>
          </a:prstGeom>
        </p:spPr>
        <p:txBody>
          <a:bodyPr/>
          <a:lstStyle>
            <a:lvl1pPr marL="0" indent="0" algn="ctr">
              <a:spcBef>
                <a:spcPts val="0"/>
              </a:spcBef>
              <a:buNone/>
              <a:defRPr sz="1800">
                <a:latin typeface="+mj-lt"/>
              </a:defRPr>
            </a:lvl1pPr>
          </a:lstStyle>
          <a:p>
            <a:pPr lvl="0"/>
            <a:r>
              <a:rPr lang="en-US"/>
              <a:t>Click to edi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895650" y="2076626"/>
            <a:ext cx="2834640" cy="2834640"/>
          </a:xfrm>
          <a:prstGeom prst="ellipse">
            <a:avLst/>
          </a:prstGeo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302148"/>
            <a:ext cx="3475037" cy="276999"/>
          </a:xfrm>
          <a:prstGeom prst="rect">
            <a:avLst/>
          </a:prstGeom>
        </p:spPr>
        <p:txBody>
          <a:bodyPr/>
          <a:lstStyle>
            <a:lvl1pPr marL="0" indent="0" algn="ctr">
              <a:spcBef>
                <a:spcPts val="0"/>
              </a:spcBef>
              <a:buNone/>
              <a:defRPr sz="1800">
                <a:latin typeface="+mj-lt"/>
              </a:defRPr>
            </a:lvl1pPr>
          </a:lstStyle>
          <a:p>
            <a:pPr lvl="0"/>
            <a:r>
              <a:rPr lang="en-US"/>
              <a:t>Click to edi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671678" y="2076626"/>
            <a:ext cx="2834640" cy="2834640"/>
          </a:xfrm>
          <a:prstGeom prst="ellipse">
            <a:avLst/>
          </a:prstGeo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302148"/>
            <a:ext cx="3475037" cy="276999"/>
          </a:xfrm>
          <a:prstGeom prst="rect">
            <a:avLst/>
          </a:prstGeom>
        </p:spPr>
        <p:txBody>
          <a:bodyPr/>
          <a:lstStyle>
            <a:lvl1pPr marL="0" indent="0" algn="ctr">
              <a:spcBef>
                <a:spcPts val="0"/>
              </a:spcBef>
              <a:buNone/>
              <a:defRPr sz="1800">
                <a:latin typeface="+mj-lt"/>
              </a:defRPr>
            </a:lvl1pPr>
          </a:lstStyle>
          <a:p>
            <a:pPr lvl="0"/>
            <a:r>
              <a:rPr lang="en-US"/>
              <a:t>Click to edi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445101" y="2076626"/>
            <a:ext cx="2834640" cy="2834640"/>
          </a:xfrm>
          <a:prstGeom prst="ellipse">
            <a:avLst/>
          </a:prstGeo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itle 1">
            <a:extLst>
              <a:ext uri="{FF2B5EF4-FFF2-40B4-BE49-F238E27FC236}">
                <a16:creationId xmlns:a16="http://schemas.microsoft.com/office/drawing/2014/main" id="{AF91C127-4EA1-9E99-2C98-323E6A46D24E}"/>
              </a:ext>
            </a:extLst>
          </p:cNvPr>
          <p:cNvSpPr>
            <a:spLocks noGrp="1"/>
          </p:cNvSpPr>
          <p:nvPr>
            <p:ph type="title"/>
          </p:nvPr>
        </p:nvSpPr>
        <p:spPr>
          <a:xfrm>
            <a:off x="588263" y="457200"/>
            <a:ext cx="11018520" cy="553998"/>
          </a:xfrm>
        </p:spPr>
        <p:txBody>
          <a:bodyPr anchor="ctr"/>
          <a:lstStyle>
            <a:lvl1pPr>
              <a:defRPr>
                <a:solidFill>
                  <a:schemeClr val="bg1"/>
                </a:solidFill>
              </a:defRPr>
            </a:lvl1pPr>
          </a:lstStyle>
          <a:p>
            <a:r>
              <a:rPr lang="en-US"/>
              <a:t>Click to edit</a:t>
            </a:r>
          </a:p>
        </p:txBody>
      </p:sp>
    </p:spTree>
    <p:extLst>
      <p:ext uri="{BB962C8B-B14F-4D97-AF65-F5344CB8AC3E}">
        <p14:creationId xmlns:p14="http://schemas.microsoft.com/office/powerpoint/2010/main" val="180523465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photos 5">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C67DC04-59B7-2536-41E3-816D93C943C9}"/>
              </a:ext>
            </a:extLst>
          </p:cNvPr>
          <p:cNvSpPr/>
          <p:nvPr userDrawn="1"/>
        </p:nvSpPr>
        <p:spPr>
          <a:xfrm>
            <a:off x="0" y="1"/>
            <a:ext cx="12192000" cy="1219199"/>
          </a:xfrm>
          <a:prstGeom prst="rect">
            <a:avLst/>
          </a:prstGeom>
          <a:gradFill flip="none" rotWithShape="1">
            <a:gsLst>
              <a:gs pos="97000">
                <a:schemeClr val="accent3">
                  <a:lumMod val="50000"/>
                </a:schemeClr>
              </a:gs>
              <a:gs pos="0">
                <a:schemeClr val="tx1"/>
              </a:gs>
            </a:gsLst>
            <a:lin ang="0" scaled="1"/>
            <a:tileRect/>
          </a:gra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 name="Title 1">
            <a:extLst>
              <a:ext uri="{FF2B5EF4-FFF2-40B4-BE49-F238E27FC236}">
                <a16:creationId xmlns:a16="http://schemas.microsoft.com/office/drawing/2014/main" id="{15433F57-776D-329E-6085-AFE5C1BFAAFD}"/>
              </a:ext>
            </a:extLst>
          </p:cNvPr>
          <p:cNvSpPr>
            <a:spLocks noGrp="1"/>
          </p:cNvSpPr>
          <p:nvPr>
            <p:ph type="title"/>
          </p:nvPr>
        </p:nvSpPr>
        <p:spPr>
          <a:xfrm>
            <a:off x="588263" y="457200"/>
            <a:ext cx="11018520" cy="553998"/>
          </a:xfrm>
        </p:spPr>
        <p:txBody>
          <a:bodyPr anchor="ctr"/>
          <a:lstStyle>
            <a:lvl1pPr>
              <a:defRPr>
                <a:solidFill>
                  <a:schemeClr val="bg1"/>
                </a:solidFill>
              </a:defRPr>
            </a:lvl1pPr>
          </a:lstStyle>
          <a:p>
            <a:r>
              <a:rPr lang="en-US"/>
              <a:t>Click to edit</a:t>
            </a:r>
          </a:p>
        </p:txBody>
      </p:sp>
      <p:sp>
        <p:nvSpPr>
          <p:cNvPr id="10" name="Text Placeholder 3">
            <a:extLst>
              <a:ext uri="{FF2B5EF4-FFF2-40B4-BE49-F238E27FC236}">
                <a16:creationId xmlns:a16="http://schemas.microsoft.com/office/drawing/2014/main" id="{2150B9D7-D718-CD16-B077-A159C262A5C6}"/>
              </a:ext>
            </a:extLst>
          </p:cNvPr>
          <p:cNvSpPr>
            <a:spLocks noGrp="1"/>
          </p:cNvSpPr>
          <p:nvPr>
            <p:ph type="body" sz="quarter" idx="16"/>
          </p:nvPr>
        </p:nvSpPr>
        <p:spPr>
          <a:xfrm>
            <a:off x="580008" y="5025021"/>
            <a:ext cx="2532888" cy="276999"/>
          </a:xfrm>
          <a:prstGeom prst="rect">
            <a:avLst/>
          </a:prstGeom>
        </p:spPr>
        <p:txBody>
          <a:bodyPr/>
          <a:lstStyle>
            <a:lvl1pPr marL="0" indent="0" algn="ctr">
              <a:spcBef>
                <a:spcPts val="0"/>
              </a:spcBef>
              <a:buNone/>
              <a:defRPr sz="1800">
                <a:latin typeface="+mj-lt"/>
              </a:defRPr>
            </a:lvl1pPr>
          </a:lstStyle>
          <a:p>
            <a:pPr lvl="0"/>
            <a:r>
              <a:rPr lang="en-US"/>
              <a:t>Click to edi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BBB05FC-63EF-93E3-BC4D-4B5326C75E40}"/>
              </a:ext>
            </a:extLst>
          </p:cNvPr>
          <p:cNvSpPr>
            <a:spLocks noGrp="1"/>
          </p:cNvSpPr>
          <p:nvPr>
            <p:ph type="pic" sz="quarter" idx="13" hasCustomPrompt="1"/>
          </p:nvPr>
        </p:nvSpPr>
        <p:spPr bwMode="ltGray">
          <a:xfrm>
            <a:off x="580007" y="2296733"/>
            <a:ext cx="2532888" cy="2532888"/>
          </a:xfrm>
          <a:prstGeom prst="ellipse">
            <a:avLst/>
          </a:prstGeo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671B6BEF-EB49-56C3-4270-419C26351F80}"/>
              </a:ext>
            </a:extLst>
          </p:cNvPr>
          <p:cNvSpPr>
            <a:spLocks noGrp="1"/>
          </p:cNvSpPr>
          <p:nvPr>
            <p:ph type="body" sz="quarter" idx="17"/>
          </p:nvPr>
        </p:nvSpPr>
        <p:spPr>
          <a:xfrm>
            <a:off x="3411303" y="5025021"/>
            <a:ext cx="2532888" cy="276999"/>
          </a:xfrm>
          <a:prstGeom prst="rect">
            <a:avLst/>
          </a:prstGeom>
        </p:spPr>
        <p:txBody>
          <a:bodyPr/>
          <a:lstStyle>
            <a:lvl1pPr marL="0" indent="0" algn="ctr">
              <a:spcBef>
                <a:spcPts val="0"/>
              </a:spcBef>
              <a:buNone/>
              <a:defRPr sz="1800">
                <a:latin typeface="+mj-lt"/>
              </a:defRPr>
            </a:lvl1pPr>
          </a:lstStyle>
          <a:p>
            <a:pPr lvl="0"/>
            <a:r>
              <a:rPr lang="en-US"/>
              <a:t>Click to edit</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FCDDAC90-F4BC-9F19-42C4-4F129A2412CA}"/>
              </a:ext>
            </a:extLst>
          </p:cNvPr>
          <p:cNvSpPr>
            <a:spLocks noGrp="1"/>
          </p:cNvSpPr>
          <p:nvPr>
            <p:ph type="pic" sz="quarter" idx="14" hasCustomPrompt="1"/>
          </p:nvPr>
        </p:nvSpPr>
        <p:spPr bwMode="ltGray">
          <a:xfrm>
            <a:off x="3411303" y="2296733"/>
            <a:ext cx="2532888" cy="2532888"/>
          </a:xfrm>
          <a:prstGeom prst="ellipse">
            <a:avLst/>
          </a:prstGeo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FC3F831B-66EE-F0A8-4CBA-D7A9859F95BC}"/>
              </a:ext>
            </a:extLst>
          </p:cNvPr>
          <p:cNvSpPr>
            <a:spLocks noGrp="1"/>
          </p:cNvSpPr>
          <p:nvPr>
            <p:ph type="body" sz="quarter" idx="18"/>
          </p:nvPr>
        </p:nvSpPr>
        <p:spPr>
          <a:xfrm>
            <a:off x="6242599" y="5025021"/>
            <a:ext cx="2532888" cy="276999"/>
          </a:xfrm>
          <a:prstGeom prst="rect">
            <a:avLst/>
          </a:prstGeom>
        </p:spPr>
        <p:txBody>
          <a:bodyPr/>
          <a:lstStyle>
            <a:lvl1pPr marL="0" indent="0" algn="ctr">
              <a:spcBef>
                <a:spcPts val="0"/>
              </a:spcBef>
              <a:buNone/>
              <a:defRPr sz="1800">
                <a:latin typeface="+mj-lt"/>
              </a:defRPr>
            </a:lvl1pPr>
          </a:lstStyle>
          <a:p>
            <a:pPr lvl="0"/>
            <a:r>
              <a:rPr lang="en-US"/>
              <a:t>Click to edit</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03FE6ABF-9EF7-A5BC-A06C-930C7DCFEE10}"/>
              </a:ext>
            </a:extLst>
          </p:cNvPr>
          <p:cNvSpPr>
            <a:spLocks noGrp="1"/>
          </p:cNvSpPr>
          <p:nvPr>
            <p:ph type="pic" sz="quarter" idx="15" hasCustomPrompt="1"/>
          </p:nvPr>
        </p:nvSpPr>
        <p:spPr bwMode="ltGray">
          <a:xfrm>
            <a:off x="6242599" y="2296733"/>
            <a:ext cx="2532888" cy="2532888"/>
          </a:xfrm>
          <a:prstGeom prst="ellipse">
            <a:avLst/>
          </a:prstGeo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72AAF55A-3CBF-4BA3-AE8A-9E62F4403940}"/>
              </a:ext>
            </a:extLst>
          </p:cNvPr>
          <p:cNvSpPr>
            <a:spLocks noGrp="1"/>
          </p:cNvSpPr>
          <p:nvPr>
            <p:ph type="body" sz="quarter" idx="20"/>
          </p:nvPr>
        </p:nvSpPr>
        <p:spPr>
          <a:xfrm>
            <a:off x="9073895" y="5025021"/>
            <a:ext cx="2532888" cy="276999"/>
          </a:xfrm>
          <a:prstGeom prst="rect">
            <a:avLst/>
          </a:prstGeom>
        </p:spPr>
        <p:txBody>
          <a:bodyPr/>
          <a:lstStyle>
            <a:lvl1pPr marL="0" indent="0" algn="ctr">
              <a:spcBef>
                <a:spcPts val="0"/>
              </a:spcBef>
              <a:buNone/>
              <a:defRPr sz="1800">
                <a:latin typeface="+mj-lt"/>
              </a:defRPr>
            </a:lvl1pPr>
          </a:lstStyle>
          <a:p>
            <a:pPr lvl="0"/>
            <a:r>
              <a:rPr lang="en-US"/>
              <a:t>Click to edit</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4A9D36B-64A9-F753-060F-EC464A0E78F3}"/>
              </a:ext>
            </a:extLst>
          </p:cNvPr>
          <p:cNvSpPr>
            <a:spLocks noGrp="1"/>
          </p:cNvSpPr>
          <p:nvPr>
            <p:ph type="pic" sz="quarter" idx="19" hasCustomPrompt="1"/>
          </p:nvPr>
        </p:nvSpPr>
        <p:spPr bwMode="ltGray">
          <a:xfrm>
            <a:off x="9071290" y="2296733"/>
            <a:ext cx="2532888" cy="2532888"/>
          </a:xfrm>
          <a:prstGeom prst="ellipse">
            <a:avLst/>
          </a:prstGeo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60708477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photos 6">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C67DC04-59B7-2536-41E3-816D93C943C9}"/>
              </a:ext>
            </a:extLst>
          </p:cNvPr>
          <p:cNvSpPr/>
          <p:nvPr userDrawn="1"/>
        </p:nvSpPr>
        <p:spPr>
          <a:xfrm>
            <a:off x="0" y="1"/>
            <a:ext cx="12192000" cy="1219199"/>
          </a:xfrm>
          <a:prstGeom prst="rect">
            <a:avLst/>
          </a:prstGeom>
          <a:gradFill flip="none" rotWithShape="1">
            <a:gsLst>
              <a:gs pos="97000">
                <a:schemeClr val="accent3">
                  <a:lumMod val="50000"/>
                </a:schemeClr>
              </a:gs>
              <a:gs pos="0">
                <a:schemeClr val="tx1"/>
              </a:gs>
            </a:gsLst>
            <a:lin ang="0" scaled="1"/>
            <a:tileRect/>
          </a:gra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 name="Title 1">
            <a:extLst>
              <a:ext uri="{FF2B5EF4-FFF2-40B4-BE49-F238E27FC236}">
                <a16:creationId xmlns:a16="http://schemas.microsoft.com/office/drawing/2014/main" id="{15433F57-776D-329E-6085-AFE5C1BFAAFD}"/>
              </a:ext>
            </a:extLst>
          </p:cNvPr>
          <p:cNvSpPr>
            <a:spLocks noGrp="1"/>
          </p:cNvSpPr>
          <p:nvPr>
            <p:ph type="title"/>
          </p:nvPr>
        </p:nvSpPr>
        <p:spPr>
          <a:xfrm>
            <a:off x="588263" y="457200"/>
            <a:ext cx="11018520" cy="553998"/>
          </a:xfrm>
        </p:spPr>
        <p:txBody>
          <a:bodyPr anchor="ctr"/>
          <a:lstStyle>
            <a:lvl1pPr>
              <a:defRPr>
                <a:solidFill>
                  <a:schemeClr val="bg1"/>
                </a:solidFill>
              </a:defRPr>
            </a:lvl1pPr>
          </a:lstStyle>
          <a:p>
            <a:r>
              <a:rPr lang="en-US"/>
              <a:t>Click to edit</a:t>
            </a:r>
          </a:p>
        </p:txBody>
      </p:sp>
      <p:sp>
        <p:nvSpPr>
          <p:cNvPr id="10" name="Text Placeholder 3">
            <a:extLst>
              <a:ext uri="{FF2B5EF4-FFF2-40B4-BE49-F238E27FC236}">
                <a16:creationId xmlns:a16="http://schemas.microsoft.com/office/drawing/2014/main" id="{2150B9D7-D718-CD16-B077-A159C262A5C6}"/>
              </a:ext>
            </a:extLst>
          </p:cNvPr>
          <p:cNvSpPr>
            <a:spLocks noGrp="1"/>
          </p:cNvSpPr>
          <p:nvPr>
            <p:ph type="body" sz="quarter" idx="16"/>
          </p:nvPr>
        </p:nvSpPr>
        <p:spPr>
          <a:xfrm>
            <a:off x="588263" y="4825252"/>
            <a:ext cx="2094864" cy="276999"/>
          </a:xfrm>
          <a:prstGeom prst="rect">
            <a:avLst/>
          </a:prstGeom>
        </p:spPr>
        <p:txBody>
          <a:bodyPr/>
          <a:lstStyle>
            <a:lvl1pPr marL="0" indent="0" algn="ctr">
              <a:spcBef>
                <a:spcPts val="0"/>
              </a:spcBef>
              <a:buNone/>
              <a:defRPr sz="1800">
                <a:latin typeface="+mj-lt"/>
              </a:defRPr>
            </a:lvl1pPr>
          </a:lstStyle>
          <a:p>
            <a:pPr lvl="0"/>
            <a:r>
              <a:rPr lang="en-US"/>
              <a:t>Click to edi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BBB05FC-63EF-93E3-BC4D-4B5326C75E40}"/>
              </a:ext>
            </a:extLst>
          </p:cNvPr>
          <p:cNvSpPr>
            <a:spLocks noGrp="1"/>
          </p:cNvSpPr>
          <p:nvPr>
            <p:ph type="pic" sz="quarter" idx="13" hasCustomPrompt="1"/>
          </p:nvPr>
        </p:nvSpPr>
        <p:spPr bwMode="ltGray">
          <a:xfrm>
            <a:off x="580007" y="2296733"/>
            <a:ext cx="2103120" cy="2103120"/>
          </a:xfrm>
          <a:prstGeom prst="ellipse">
            <a:avLst/>
          </a:prstGeo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FCDDAC90-F4BC-9F19-42C4-4F129A2412CA}"/>
              </a:ext>
            </a:extLst>
          </p:cNvPr>
          <p:cNvSpPr>
            <a:spLocks noGrp="1"/>
          </p:cNvSpPr>
          <p:nvPr>
            <p:ph type="pic" sz="quarter" idx="14" hasCustomPrompt="1"/>
          </p:nvPr>
        </p:nvSpPr>
        <p:spPr bwMode="ltGray">
          <a:xfrm>
            <a:off x="2810921" y="2296733"/>
            <a:ext cx="2103120" cy="2103120"/>
          </a:xfrm>
          <a:prstGeom prst="ellipse">
            <a:avLst/>
          </a:prstGeo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03FE6ABF-9EF7-A5BC-A06C-930C7DCFEE10}"/>
              </a:ext>
            </a:extLst>
          </p:cNvPr>
          <p:cNvSpPr>
            <a:spLocks noGrp="1"/>
          </p:cNvSpPr>
          <p:nvPr>
            <p:ph type="pic" sz="quarter" idx="15" hasCustomPrompt="1"/>
          </p:nvPr>
        </p:nvSpPr>
        <p:spPr bwMode="ltGray">
          <a:xfrm>
            <a:off x="5041835" y="2296733"/>
            <a:ext cx="2103120" cy="2103120"/>
          </a:xfrm>
          <a:prstGeom prst="ellipse">
            <a:avLst/>
          </a:prstGeo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4A9D36B-64A9-F753-060F-EC464A0E78F3}"/>
              </a:ext>
            </a:extLst>
          </p:cNvPr>
          <p:cNvSpPr>
            <a:spLocks noGrp="1"/>
          </p:cNvSpPr>
          <p:nvPr>
            <p:ph type="pic" sz="quarter" idx="19" hasCustomPrompt="1"/>
          </p:nvPr>
        </p:nvSpPr>
        <p:spPr bwMode="ltGray">
          <a:xfrm>
            <a:off x="7272749" y="2296733"/>
            <a:ext cx="2103120" cy="2103120"/>
          </a:xfrm>
          <a:prstGeom prst="ellipse">
            <a:avLst/>
          </a:prstGeo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25C3B617-7244-4CD8-6BDE-107D0948A3BD}"/>
              </a:ext>
            </a:extLst>
          </p:cNvPr>
          <p:cNvSpPr>
            <a:spLocks noGrp="1"/>
          </p:cNvSpPr>
          <p:nvPr>
            <p:ph type="pic" sz="quarter" idx="21" hasCustomPrompt="1"/>
          </p:nvPr>
        </p:nvSpPr>
        <p:spPr bwMode="ltGray">
          <a:xfrm>
            <a:off x="9503663" y="2296733"/>
            <a:ext cx="2103120" cy="2103120"/>
          </a:xfrm>
          <a:prstGeom prst="ellipse">
            <a:avLst/>
          </a:prstGeo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 Placeholder 3">
            <a:extLst>
              <a:ext uri="{FF2B5EF4-FFF2-40B4-BE49-F238E27FC236}">
                <a16:creationId xmlns:a16="http://schemas.microsoft.com/office/drawing/2014/main" id="{EFD74DF3-73EF-E8A2-4249-5B7A15A26324}"/>
              </a:ext>
            </a:extLst>
          </p:cNvPr>
          <p:cNvSpPr>
            <a:spLocks noGrp="1"/>
          </p:cNvSpPr>
          <p:nvPr>
            <p:ph type="body" sz="quarter" idx="22"/>
          </p:nvPr>
        </p:nvSpPr>
        <p:spPr>
          <a:xfrm>
            <a:off x="2818416" y="4825252"/>
            <a:ext cx="2094864" cy="276999"/>
          </a:xfrm>
          <a:prstGeom prst="rect">
            <a:avLst/>
          </a:prstGeom>
        </p:spPr>
        <p:txBody>
          <a:bodyPr/>
          <a:lstStyle>
            <a:lvl1pPr marL="0" indent="0" algn="ctr">
              <a:spcBef>
                <a:spcPts val="0"/>
              </a:spcBef>
              <a:buNone/>
              <a:defRPr sz="1800">
                <a:latin typeface="+mj-lt"/>
              </a:defRPr>
            </a:lvl1pPr>
          </a:lstStyle>
          <a:p>
            <a:pPr lvl="0"/>
            <a:r>
              <a:rPr lang="en-US"/>
              <a:t>Click to edit</a:t>
            </a:r>
          </a:p>
        </p:txBody>
      </p:sp>
      <p:sp>
        <p:nvSpPr>
          <p:cNvPr id="6" name="Text Placeholder 3">
            <a:extLst>
              <a:ext uri="{FF2B5EF4-FFF2-40B4-BE49-F238E27FC236}">
                <a16:creationId xmlns:a16="http://schemas.microsoft.com/office/drawing/2014/main" id="{D4E1B24B-682E-2FA5-4DB4-84042D783E84}"/>
              </a:ext>
            </a:extLst>
          </p:cNvPr>
          <p:cNvSpPr>
            <a:spLocks noGrp="1"/>
          </p:cNvSpPr>
          <p:nvPr>
            <p:ph type="body" sz="quarter" idx="23"/>
          </p:nvPr>
        </p:nvSpPr>
        <p:spPr>
          <a:xfrm>
            <a:off x="5048569" y="4825252"/>
            <a:ext cx="2094864" cy="276999"/>
          </a:xfrm>
          <a:prstGeom prst="rect">
            <a:avLst/>
          </a:prstGeom>
        </p:spPr>
        <p:txBody>
          <a:bodyPr/>
          <a:lstStyle>
            <a:lvl1pPr marL="0" indent="0" algn="ctr">
              <a:spcBef>
                <a:spcPts val="0"/>
              </a:spcBef>
              <a:buNone/>
              <a:defRPr sz="1800">
                <a:latin typeface="+mj-lt"/>
              </a:defRPr>
            </a:lvl1pPr>
          </a:lstStyle>
          <a:p>
            <a:pPr lvl="0"/>
            <a:r>
              <a:rPr lang="en-US"/>
              <a:t>Click to edit</a:t>
            </a:r>
          </a:p>
        </p:txBody>
      </p:sp>
      <p:sp>
        <p:nvSpPr>
          <p:cNvPr id="7" name="Text Placeholder 3">
            <a:extLst>
              <a:ext uri="{FF2B5EF4-FFF2-40B4-BE49-F238E27FC236}">
                <a16:creationId xmlns:a16="http://schemas.microsoft.com/office/drawing/2014/main" id="{6B45AF44-B3EE-5415-63F2-F1386CC6BB7A}"/>
              </a:ext>
            </a:extLst>
          </p:cNvPr>
          <p:cNvSpPr>
            <a:spLocks noGrp="1"/>
          </p:cNvSpPr>
          <p:nvPr>
            <p:ph type="body" sz="quarter" idx="24"/>
          </p:nvPr>
        </p:nvSpPr>
        <p:spPr>
          <a:xfrm>
            <a:off x="7278722" y="4825252"/>
            <a:ext cx="2094864" cy="276999"/>
          </a:xfrm>
          <a:prstGeom prst="rect">
            <a:avLst/>
          </a:prstGeom>
        </p:spPr>
        <p:txBody>
          <a:bodyPr/>
          <a:lstStyle>
            <a:lvl1pPr marL="0" indent="0" algn="ctr">
              <a:spcBef>
                <a:spcPts val="0"/>
              </a:spcBef>
              <a:buNone/>
              <a:defRPr sz="1800">
                <a:latin typeface="+mj-lt"/>
              </a:defRPr>
            </a:lvl1pPr>
          </a:lstStyle>
          <a:p>
            <a:pPr lvl="0"/>
            <a:r>
              <a:rPr lang="en-US"/>
              <a:t>Click to edit</a:t>
            </a:r>
          </a:p>
        </p:txBody>
      </p:sp>
      <p:sp>
        <p:nvSpPr>
          <p:cNvPr id="8" name="Text Placeholder 3">
            <a:extLst>
              <a:ext uri="{FF2B5EF4-FFF2-40B4-BE49-F238E27FC236}">
                <a16:creationId xmlns:a16="http://schemas.microsoft.com/office/drawing/2014/main" id="{1B37FB42-DA95-CA23-5217-7D285CFE70EF}"/>
              </a:ext>
            </a:extLst>
          </p:cNvPr>
          <p:cNvSpPr>
            <a:spLocks noGrp="1"/>
          </p:cNvSpPr>
          <p:nvPr>
            <p:ph type="body" sz="quarter" idx="25"/>
          </p:nvPr>
        </p:nvSpPr>
        <p:spPr>
          <a:xfrm>
            <a:off x="9508873" y="4825252"/>
            <a:ext cx="2094864" cy="276999"/>
          </a:xfrm>
          <a:prstGeom prst="rect">
            <a:avLst/>
          </a:prstGeom>
        </p:spPr>
        <p:txBody>
          <a:bodyPr/>
          <a:lstStyle>
            <a:lvl1pPr marL="0" indent="0" algn="ctr">
              <a:spcBef>
                <a:spcPts val="0"/>
              </a:spcBef>
              <a:buNone/>
              <a:defRPr sz="1800">
                <a:latin typeface="+mj-lt"/>
              </a:defRPr>
            </a:lvl1pPr>
          </a:lstStyle>
          <a:p>
            <a:pPr lvl="0"/>
            <a:r>
              <a:rPr lang="en-US"/>
              <a:t>Click to edit</a:t>
            </a:r>
          </a:p>
        </p:txBody>
      </p:sp>
    </p:spTree>
    <p:extLst>
      <p:ext uri="{BB962C8B-B14F-4D97-AF65-F5344CB8AC3E}">
        <p14:creationId xmlns:p14="http://schemas.microsoft.com/office/powerpoint/2010/main" val="128428996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Closing">
    <p:bg>
      <p:bgPr>
        <a:solidFill>
          <a:schemeClr val="tx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1E157C2-E31D-0AF4-AD0A-C2DC1D4F47FE}"/>
              </a:ext>
            </a:extLst>
          </p:cNvPr>
          <p:cNvSpPr/>
          <p:nvPr userDrawn="1"/>
        </p:nvSpPr>
        <p:spPr>
          <a:xfrm>
            <a:off x="0" y="1"/>
            <a:ext cx="12192000" cy="6857998"/>
          </a:xfrm>
          <a:prstGeom prst="rect">
            <a:avLst/>
          </a:prstGeom>
          <a:gradFill flip="none" rotWithShape="1">
            <a:gsLst>
              <a:gs pos="82000">
                <a:sysClr val="windowText" lastClr="000000"/>
              </a:gs>
              <a:gs pos="0">
                <a:srgbClr val="00CEF1"/>
              </a:gs>
            </a:gsLst>
            <a:path path="circle">
              <a:fillToRect l="100000" t="100000"/>
            </a:path>
            <a:tileRect r="-100000" b="-100000"/>
          </a:gra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6" name="Graphic 5">
            <a:extLst>
              <a:ext uri="{FF2B5EF4-FFF2-40B4-BE49-F238E27FC236}">
                <a16:creationId xmlns:a16="http://schemas.microsoft.com/office/drawing/2014/main" id="{770E0BBA-B230-2586-28DC-4B3A8B8D670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266265" y="832904"/>
            <a:ext cx="9633685" cy="5401744"/>
          </a:xfrm>
          <a:prstGeom prst="rect">
            <a:avLst/>
          </a:prstGeom>
          <a:effectLst>
            <a:outerShdw blurRad="228600" dist="38100" dir="5400000" sx="101000" sy="101000" algn="t" rotWithShape="0">
              <a:prstClr val="black">
                <a:alpha val="73000"/>
              </a:prstClr>
            </a:outerShdw>
          </a:effectLst>
        </p:spPr>
      </p:pic>
      <p:sp>
        <p:nvSpPr>
          <p:cNvPr id="21" name="Rectangle 20">
            <a:extLst>
              <a:ext uri="{FF2B5EF4-FFF2-40B4-BE49-F238E27FC236}">
                <a16:creationId xmlns:a16="http://schemas.microsoft.com/office/drawing/2014/main" id="{4AF94044-6669-97D8-A127-BB0D71ED7266}"/>
              </a:ext>
            </a:extLst>
          </p:cNvPr>
          <p:cNvSpPr/>
          <p:nvPr userDrawn="1"/>
        </p:nvSpPr>
        <p:spPr bwMode="auto">
          <a:xfrm>
            <a:off x="2" y="0"/>
            <a:ext cx="11899948" cy="6858000"/>
          </a:xfrm>
          <a:prstGeom prst="rect">
            <a:avLst/>
          </a:prstGeom>
          <a:gradFill>
            <a:gsLst>
              <a:gs pos="0">
                <a:schemeClr val="bg1">
                  <a:alpha val="46000"/>
                </a:schemeClr>
              </a:gs>
              <a:gs pos="94000">
                <a:schemeClr val="bg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600">
              <a:solidFill>
                <a:srgbClr val="000000"/>
              </a:solidFill>
              <a:ea typeface="Segoe UI" pitchFamily="34" charset="0"/>
              <a:cs typeface="Segoe UI" pitchFamily="34" charset="0"/>
            </a:endParaRPr>
          </a:p>
        </p:txBody>
      </p:sp>
      <p:pic>
        <p:nvPicPr>
          <p:cNvPr id="22" name="Picture 21">
            <a:extLst>
              <a:ext uri="{FF2B5EF4-FFF2-40B4-BE49-F238E27FC236}">
                <a16:creationId xmlns:a16="http://schemas.microsoft.com/office/drawing/2014/main" id="{ECC53E46-0E85-7C7D-26C8-8BF8E9E1AA25}"/>
              </a:ext>
            </a:extLst>
          </p:cNvPr>
          <p:cNvPicPr>
            <a:picLocks noChangeAspect="1"/>
          </p:cNvPicPr>
          <p:nvPr userDrawn="1"/>
        </p:nvPicPr>
        <p:blipFill rotWithShape="1">
          <a:blip r:embed="rId4"/>
          <a:srcRect r="58465"/>
          <a:stretch/>
        </p:blipFill>
        <p:spPr>
          <a:xfrm>
            <a:off x="439473" y="1166273"/>
            <a:ext cx="1549718" cy="4592736"/>
          </a:xfrm>
          <a:prstGeom prst="rect">
            <a:avLst/>
          </a:prstGeom>
        </p:spPr>
      </p:pic>
      <p:pic>
        <p:nvPicPr>
          <p:cNvPr id="8" name="Picture 7">
            <a:extLst>
              <a:ext uri="{FF2B5EF4-FFF2-40B4-BE49-F238E27FC236}">
                <a16:creationId xmlns:a16="http://schemas.microsoft.com/office/drawing/2014/main" id="{5F56C21B-7B4D-57AC-E012-925865ED2FA6}"/>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l="34232"/>
          <a:stretch/>
        </p:blipFill>
        <p:spPr>
          <a:xfrm>
            <a:off x="584200" y="344158"/>
            <a:ext cx="1560907" cy="822115"/>
          </a:xfrm>
          <a:prstGeom prst="rect">
            <a:avLst/>
          </a:prstGeom>
        </p:spPr>
      </p:pic>
      <p:pic>
        <p:nvPicPr>
          <p:cNvPr id="9" name="MS logo white - EMF" descr="Microsoft logo white text version">
            <a:extLst>
              <a:ext uri="{FF2B5EF4-FFF2-40B4-BE49-F238E27FC236}">
                <a16:creationId xmlns:a16="http://schemas.microsoft.com/office/drawing/2014/main" id="{F4D13972-4F5A-5701-7246-8182B173FFE1}"/>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bwMode="black">
          <a:xfrm>
            <a:off x="584200" y="61409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7038163" y="6325874"/>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algn="r" defTabSz="932290" eaLnBrk="0" hangingPunct="0"/>
            <a:r>
              <a:rPr lang="en-US" sz="700">
                <a:solidFill>
                  <a:schemeClr val="tx1"/>
                </a:solidFill>
                <a:cs typeface="Segoe UI" pitchFamily="34" charset="0"/>
              </a:rPr>
              <a:t>© Copyright Microsoft Corporation. All rights reserved. </a:t>
            </a:r>
          </a:p>
        </p:txBody>
      </p:sp>
      <p:sp>
        <p:nvSpPr>
          <p:cNvPr id="3" name="Rectangle 2">
            <a:extLst>
              <a:ext uri="{FF2B5EF4-FFF2-40B4-BE49-F238E27FC236}">
                <a16:creationId xmlns:a16="http://schemas.microsoft.com/office/drawing/2014/main" id="{7C1E1585-61D2-9E72-C34D-70163DFC8EB9}"/>
              </a:ext>
            </a:extLst>
          </p:cNvPr>
          <p:cNvSpPr/>
          <p:nvPr userDrawn="1"/>
        </p:nvSpPr>
        <p:spPr>
          <a:xfrm>
            <a:off x="0" y="6753138"/>
            <a:ext cx="12192000" cy="104862"/>
          </a:xfrm>
          <a:prstGeom prst="rect">
            <a:avLst/>
          </a:prstGeom>
          <a:solidFill>
            <a:srgbClr val="007A8E"/>
          </a:solidFill>
          <a:ln w="12700" cap="flat" cmpd="sng" algn="ctr">
            <a:noFill/>
            <a:prstDash val="solid"/>
            <a:miter lim="800000"/>
          </a:ln>
          <a:effectLst>
            <a:outerShdw blurRad="228600" dist="114300" dir="16200000"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 name="Rectangle: Rounded Corners 4">
            <a:extLst>
              <a:ext uri="{FF2B5EF4-FFF2-40B4-BE49-F238E27FC236}">
                <a16:creationId xmlns:a16="http://schemas.microsoft.com/office/drawing/2014/main" id="{A308A878-4036-186F-1C2C-E72A415052F4}"/>
              </a:ext>
            </a:extLst>
          </p:cNvPr>
          <p:cNvSpPr/>
          <p:nvPr userDrawn="1"/>
        </p:nvSpPr>
        <p:spPr>
          <a:xfrm>
            <a:off x="10225683" y="-359770"/>
            <a:ext cx="1213528" cy="1359108"/>
          </a:xfrm>
          <a:prstGeom prst="roundRect">
            <a:avLst>
              <a:gd name="adj" fmla="val 10953"/>
            </a:avLst>
          </a:prstGeom>
          <a:solidFill>
            <a:srgbClr val="007A8E"/>
          </a:solidFill>
          <a:ln w="28575" cap="flat" cmpd="sng" algn="ctr">
            <a:solidFill>
              <a:sysClr val="window" lastClr="FFFFFF"/>
            </a:solidFill>
            <a:prstDash val="solid"/>
            <a:miter lim="800000"/>
          </a:ln>
          <a:effectLst>
            <a:outerShdw blurRad="101600" dist="101600" dir="5400000" algn="t" rotWithShape="0">
              <a:prstClr val="black">
                <a:alpha val="28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EA76896E-2220-C016-84BD-9E1BCDC4A2BE}"/>
              </a:ext>
            </a:extLst>
          </p:cNvPr>
          <p:cNvSpPr txBox="1"/>
          <p:nvPr userDrawn="1"/>
        </p:nvSpPr>
        <p:spPr>
          <a:xfrm>
            <a:off x="10379678" y="402016"/>
            <a:ext cx="1050008" cy="430887"/>
          </a:xfrm>
          <a:prstGeom prst="rect">
            <a:avLst/>
          </a:prstGeom>
          <a:noFill/>
        </p:spPr>
        <p:txBody>
          <a:bodyPr wrap="square" lIns="0" tIns="0" rIns="0" bIns="0" rtlCol="0">
            <a:spAutoFit/>
          </a:bodyPr>
          <a:lstStyle/>
          <a:p>
            <a:pPr defTabSz="914400"/>
            <a:r>
              <a:rPr lang="en-US" sz="1400">
                <a:solidFill>
                  <a:prstClr val="white"/>
                </a:solidFill>
                <a:latin typeface="Segoe UI Semibold" panose="020B0702040204020203" pitchFamily="34" charset="0"/>
                <a:cs typeface="Segoe UI Semibold" panose="020B0702040204020203" pitchFamily="34" charset="0"/>
              </a:rPr>
              <a:t>Digital</a:t>
            </a:r>
          </a:p>
          <a:p>
            <a:pPr defTabSz="914400"/>
            <a:r>
              <a:rPr lang="en-US" sz="1400">
                <a:solidFill>
                  <a:prstClr val="white"/>
                </a:solidFill>
                <a:latin typeface="Segoe UI Semibold" panose="020B0702040204020203" pitchFamily="34" charset="0"/>
                <a:cs typeface="Segoe UI Semibold" panose="020B0702040204020203" pitchFamily="34" charset="0"/>
              </a:rPr>
              <a:t>Acquisition</a:t>
            </a:r>
          </a:p>
        </p:txBody>
      </p:sp>
      <p:sp>
        <p:nvSpPr>
          <p:cNvPr id="11" name="Rectangle 10">
            <a:extLst>
              <a:ext uri="{FF2B5EF4-FFF2-40B4-BE49-F238E27FC236}">
                <a16:creationId xmlns:a16="http://schemas.microsoft.com/office/drawing/2014/main" id="{380A293B-F425-927F-6D5F-D68248EA816B}"/>
              </a:ext>
            </a:extLst>
          </p:cNvPr>
          <p:cNvSpPr/>
          <p:nvPr userDrawn="1"/>
        </p:nvSpPr>
        <p:spPr bwMode="auto">
          <a:xfrm>
            <a:off x="9920176" y="-435936"/>
            <a:ext cx="1828801" cy="435935"/>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600" err="1">
              <a:solidFill>
                <a:srgbClr val="000000"/>
              </a:solidFill>
              <a:ea typeface="Segoe UI" pitchFamily="34" charset="0"/>
              <a:cs typeface="Segoe UI" pitchFamily="34" charset="0"/>
            </a:endParaRPr>
          </a:p>
        </p:txBody>
      </p:sp>
    </p:spTree>
    <p:extLst>
      <p:ext uri="{BB962C8B-B14F-4D97-AF65-F5344CB8AC3E}">
        <p14:creationId xmlns:p14="http://schemas.microsoft.com/office/powerpoint/2010/main" val="36616536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userDrawn="1">
  <p:cSld name="Resources">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D01DAC0-74DD-2551-BBF4-8757E172AA93}"/>
              </a:ext>
            </a:extLst>
          </p:cNvPr>
          <p:cNvSpPr/>
          <p:nvPr userDrawn="1"/>
        </p:nvSpPr>
        <p:spPr>
          <a:xfrm>
            <a:off x="-16" y="-1588"/>
            <a:ext cx="4356097" cy="6859588"/>
          </a:xfrm>
          <a:prstGeom prst="rect">
            <a:avLst/>
          </a:prstGeom>
          <a:gradFill flip="none" rotWithShape="1">
            <a:gsLst>
              <a:gs pos="97000">
                <a:schemeClr val="accent3">
                  <a:lumMod val="50000"/>
                </a:schemeClr>
              </a:gs>
              <a:gs pos="17000">
                <a:schemeClr val="tx1"/>
              </a:gs>
            </a:gsLst>
            <a:path path="circle">
              <a:fillToRect r="100000" b="100000"/>
            </a:path>
            <a:tileRect l="-100000" t="-100000"/>
          </a:gra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6" name="Rectangle 5">
            <a:extLst>
              <a:ext uri="{FF2B5EF4-FFF2-40B4-BE49-F238E27FC236}">
                <a16:creationId xmlns:a16="http://schemas.microsoft.com/office/drawing/2014/main" id="{4804A57D-48B2-506F-B589-7B9A574FC6C6}"/>
              </a:ext>
            </a:extLst>
          </p:cNvPr>
          <p:cNvSpPr/>
          <p:nvPr userDrawn="1"/>
        </p:nvSpPr>
        <p:spPr>
          <a:xfrm rot="16200000" flipV="1">
            <a:off x="976582" y="3377911"/>
            <a:ext cx="6859588" cy="100589"/>
          </a:xfrm>
          <a:prstGeom prst="rect">
            <a:avLst/>
          </a:prstGeom>
          <a:solidFill>
            <a:srgbClr val="007A8E"/>
          </a:solidFill>
          <a:ln w="12700" cap="flat" cmpd="sng" algn="ctr">
            <a:noFill/>
            <a:prstDash val="solid"/>
            <a:miter lim="800000"/>
          </a:ln>
          <a:effectLst>
            <a:outerShdw blurRad="228600" dist="114300" dir="16200000"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7" name="Title 1">
            <a:extLst>
              <a:ext uri="{FF2B5EF4-FFF2-40B4-BE49-F238E27FC236}">
                <a16:creationId xmlns:a16="http://schemas.microsoft.com/office/drawing/2014/main" id="{2998733A-3541-85F4-72ED-CCEDAAC32B50}"/>
              </a:ext>
            </a:extLst>
          </p:cNvPr>
          <p:cNvSpPr>
            <a:spLocks noGrp="1"/>
          </p:cNvSpPr>
          <p:nvPr>
            <p:ph type="title" hasCustomPrompt="1"/>
          </p:nvPr>
        </p:nvSpPr>
        <p:spPr>
          <a:xfrm>
            <a:off x="582512" y="2765961"/>
            <a:ext cx="3182027" cy="625634"/>
          </a:xfrm>
        </p:spPr>
        <p:txBody>
          <a:bodyPr anchor="t">
            <a:noAutofit/>
          </a:bodyPr>
          <a:lstStyle>
            <a:lvl1pPr>
              <a:defRPr>
                <a:solidFill>
                  <a:schemeClr val="bg1"/>
                </a:solidFill>
              </a:defRPr>
            </a:lvl1pPr>
          </a:lstStyle>
          <a:p>
            <a:r>
              <a:rPr lang="en-US"/>
              <a:t>Resources</a:t>
            </a:r>
          </a:p>
        </p:txBody>
      </p:sp>
      <p:sp>
        <p:nvSpPr>
          <p:cNvPr id="8" name="Text Placeholder 4">
            <a:extLst>
              <a:ext uri="{FF2B5EF4-FFF2-40B4-BE49-F238E27FC236}">
                <a16:creationId xmlns:a16="http://schemas.microsoft.com/office/drawing/2014/main" id="{6D49EC9F-67B8-1884-8B42-67E2FE532942}"/>
              </a:ext>
            </a:extLst>
          </p:cNvPr>
          <p:cNvSpPr>
            <a:spLocks noGrp="1"/>
          </p:cNvSpPr>
          <p:nvPr>
            <p:ph type="body" sz="quarter" idx="12" hasCustomPrompt="1"/>
          </p:nvPr>
        </p:nvSpPr>
        <p:spPr>
          <a:xfrm>
            <a:off x="8688289" y="718472"/>
            <a:ext cx="2921100" cy="549890"/>
          </a:xfrm>
          <a:prstGeom prst="rect">
            <a:avLst/>
          </a:prstGeo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9" name="Text Placeholder 7">
            <a:extLst>
              <a:ext uri="{FF2B5EF4-FFF2-40B4-BE49-F238E27FC236}">
                <a16:creationId xmlns:a16="http://schemas.microsoft.com/office/drawing/2014/main" id="{89C3A844-DC07-2C7E-DCB9-1B512057FCCB}"/>
              </a:ext>
            </a:extLst>
          </p:cNvPr>
          <p:cNvSpPr>
            <a:spLocks noGrp="1"/>
          </p:cNvSpPr>
          <p:nvPr>
            <p:ph type="body" sz="quarter" idx="13" hasCustomPrompt="1"/>
          </p:nvPr>
        </p:nvSpPr>
        <p:spPr>
          <a:xfrm>
            <a:off x="8688288" y="1346404"/>
            <a:ext cx="2921101" cy="686759"/>
          </a:xfrm>
          <a:prstGeom prst="rect">
            <a:avLst/>
          </a:prstGeo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10" name="Text Placeholder 4">
            <a:extLst>
              <a:ext uri="{FF2B5EF4-FFF2-40B4-BE49-F238E27FC236}">
                <a16:creationId xmlns:a16="http://schemas.microsoft.com/office/drawing/2014/main" id="{DD32D3F1-02DC-272C-0B7D-D48027BEA91A}"/>
              </a:ext>
            </a:extLst>
          </p:cNvPr>
          <p:cNvSpPr>
            <a:spLocks noGrp="1"/>
          </p:cNvSpPr>
          <p:nvPr>
            <p:ph type="body" sz="quarter" idx="14" hasCustomPrompt="1"/>
          </p:nvPr>
        </p:nvSpPr>
        <p:spPr>
          <a:xfrm>
            <a:off x="4943872" y="718472"/>
            <a:ext cx="2921100" cy="549890"/>
          </a:xfrm>
          <a:prstGeom prst="rect">
            <a:avLst/>
          </a:prstGeo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11" name="Text Placeholder 7">
            <a:extLst>
              <a:ext uri="{FF2B5EF4-FFF2-40B4-BE49-F238E27FC236}">
                <a16:creationId xmlns:a16="http://schemas.microsoft.com/office/drawing/2014/main" id="{E002A754-587F-8147-6A4A-5A49CB37A476}"/>
              </a:ext>
            </a:extLst>
          </p:cNvPr>
          <p:cNvSpPr>
            <a:spLocks noGrp="1"/>
          </p:cNvSpPr>
          <p:nvPr>
            <p:ph type="body" sz="quarter" idx="15" hasCustomPrompt="1"/>
          </p:nvPr>
        </p:nvSpPr>
        <p:spPr>
          <a:xfrm>
            <a:off x="4943871" y="1346404"/>
            <a:ext cx="2921101" cy="686759"/>
          </a:xfrm>
          <a:prstGeom prst="rect">
            <a:avLst/>
          </a:prstGeo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12" name="Text Placeholder 4">
            <a:extLst>
              <a:ext uri="{FF2B5EF4-FFF2-40B4-BE49-F238E27FC236}">
                <a16:creationId xmlns:a16="http://schemas.microsoft.com/office/drawing/2014/main" id="{98691295-815D-5023-AB89-677EA6F11F30}"/>
              </a:ext>
            </a:extLst>
          </p:cNvPr>
          <p:cNvSpPr>
            <a:spLocks noGrp="1"/>
          </p:cNvSpPr>
          <p:nvPr>
            <p:ph type="body" sz="quarter" idx="16" hasCustomPrompt="1"/>
          </p:nvPr>
        </p:nvSpPr>
        <p:spPr>
          <a:xfrm>
            <a:off x="8688388" y="2528888"/>
            <a:ext cx="2921100" cy="549890"/>
          </a:xfrm>
          <a:prstGeom prst="rect">
            <a:avLst/>
          </a:prstGeo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13" name="Text Placeholder 7">
            <a:extLst>
              <a:ext uri="{FF2B5EF4-FFF2-40B4-BE49-F238E27FC236}">
                <a16:creationId xmlns:a16="http://schemas.microsoft.com/office/drawing/2014/main" id="{8C568053-0275-6F12-9C9E-B772B18D7EC3}"/>
              </a:ext>
            </a:extLst>
          </p:cNvPr>
          <p:cNvSpPr>
            <a:spLocks noGrp="1"/>
          </p:cNvSpPr>
          <p:nvPr>
            <p:ph type="body" sz="quarter" idx="17" hasCustomPrompt="1"/>
          </p:nvPr>
        </p:nvSpPr>
        <p:spPr>
          <a:xfrm>
            <a:off x="8688387" y="3156820"/>
            <a:ext cx="2921101" cy="686759"/>
          </a:xfrm>
          <a:prstGeom prst="rect">
            <a:avLst/>
          </a:prstGeo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14" name="Text Placeholder 4">
            <a:extLst>
              <a:ext uri="{FF2B5EF4-FFF2-40B4-BE49-F238E27FC236}">
                <a16:creationId xmlns:a16="http://schemas.microsoft.com/office/drawing/2014/main" id="{5230BD7A-C2E2-78E7-8B06-B2EF3406A955}"/>
              </a:ext>
            </a:extLst>
          </p:cNvPr>
          <p:cNvSpPr>
            <a:spLocks noGrp="1"/>
          </p:cNvSpPr>
          <p:nvPr>
            <p:ph type="body" sz="quarter" idx="18" hasCustomPrompt="1"/>
          </p:nvPr>
        </p:nvSpPr>
        <p:spPr>
          <a:xfrm>
            <a:off x="4943971" y="2528888"/>
            <a:ext cx="2921100" cy="549890"/>
          </a:xfrm>
          <a:prstGeom prst="rect">
            <a:avLst/>
          </a:prstGeo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15" name="Text Placeholder 7">
            <a:extLst>
              <a:ext uri="{FF2B5EF4-FFF2-40B4-BE49-F238E27FC236}">
                <a16:creationId xmlns:a16="http://schemas.microsoft.com/office/drawing/2014/main" id="{1BCB84BC-3743-4D0C-BCF0-44C882C13E1E}"/>
              </a:ext>
            </a:extLst>
          </p:cNvPr>
          <p:cNvSpPr>
            <a:spLocks noGrp="1"/>
          </p:cNvSpPr>
          <p:nvPr>
            <p:ph type="body" sz="quarter" idx="19" hasCustomPrompt="1"/>
          </p:nvPr>
        </p:nvSpPr>
        <p:spPr>
          <a:xfrm>
            <a:off x="4943970" y="3156820"/>
            <a:ext cx="2921101" cy="686759"/>
          </a:xfrm>
          <a:prstGeom prst="rect">
            <a:avLst/>
          </a:prstGeo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16" name="Text Placeholder 4">
            <a:extLst>
              <a:ext uri="{FF2B5EF4-FFF2-40B4-BE49-F238E27FC236}">
                <a16:creationId xmlns:a16="http://schemas.microsoft.com/office/drawing/2014/main" id="{DEC6B264-6E63-37A3-689D-2E76478FA2BA}"/>
              </a:ext>
            </a:extLst>
          </p:cNvPr>
          <p:cNvSpPr>
            <a:spLocks noGrp="1"/>
          </p:cNvSpPr>
          <p:nvPr>
            <p:ph type="body" sz="quarter" idx="20" hasCustomPrompt="1"/>
          </p:nvPr>
        </p:nvSpPr>
        <p:spPr>
          <a:xfrm>
            <a:off x="8688388" y="4508500"/>
            <a:ext cx="2921100" cy="549890"/>
          </a:xfrm>
          <a:prstGeom prst="rect">
            <a:avLst/>
          </a:prstGeo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17" name="Text Placeholder 7">
            <a:extLst>
              <a:ext uri="{FF2B5EF4-FFF2-40B4-BE49-F238E27FC236}">
                <a16:creationId xmlns:a16="http://schemas.microsoft.com/office/drawing/2014/main" id="{91CAEDEB-58BA-4582-FB6B-E3A8E9FC22F0}"/>
              </a:ext>
            </a:extLst>
          </p:cNvPr>
          <p:cNvSpPr>
            <a:spLocks noGrp="1"/>
          </p:cNvSpPr>
          <p:nvPr>
            <p:ph type="body" sz="quarter" idx="21" hasCustomPrompt="1"/>
          </p:nvPr>
        </p:nvSpPr>
        <p:spPr>
          <a:xfrm>
            <a:off x="8688387" y="5136432"/>
            <a:ext cx="2921101" cy="686759"/>
          </a:xfrm>
          <a:prstGeom prst="rect">
            <a:avLst/>
          </a:prstGeo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18" name="Text Placeholder 4">
            <a:extLst>
              <a:ext uri="{FF2B5EF4-FFF2-40B4-BE49-F238E27FC236}">
                <a16:creationId xmlns:a16="http://schemas.microsoft.com/office/drawing/2014/main" id="{9DB6188A-6946-EF89-8439-54762F75813F}"/>
              </a:ext>
            </a:extLst>
          </p:cNvPr>
          <p:cNvSpPr>
            <a:spLocks noGrp="1"/>
          </p:cNvSpPr>
          <p:nvPr>
            <p:ph type="body" sz="quarter" idx="22" hasCustomPrompt="1"/>
          </p:nvPr>
        </p:nvSpPr>
        <p:spPr>
          <a:xfrm>
            <a:off x="4943971" y="4508500"/>
            <a:ext cx="2921100" cy="549890"/>
          </a:xfrm>
          <a:prstGeom prst="rect">
            <a:avLst/>
          </a:prstGeo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19" name="Text Placeholder 7">
            <a:extLst>
              <a:ext uri="{FF2B5EF4-FFF2-40B4-BE49-F238E27FC236}">
                <a16:creationId xmlns:a16="http://schemas.microsoft.com/office/drawing/2014/main" id="{2FF58A4E-4EA7-006F-0457-203EC476E66D}"/>
              </a:ext>
            </a:extLst>
          </p:cNvPr>
          <p:cNvSpPr>
            <a:spLocks noGrp="1"/>
          </p:cNvSpPr>
          <p:nvPr>
            <p:ph type="body" sz="quarter" idx="23" hasCustomPrompt="1"/>
          </p:nvPr>
        </p:nvSpPr>
        <p:spPr>
          <a:xfrm>
            <a:off x="4943970" y="5136432"/>
            <a:ext cx="2921101" cy="686759"/>
          </a:xfrm>
          <a:prstGeom prst="rect">
            <a:avLst/>
          </a:prstGeo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Tree>
    <p:extLst>
      <p:ext uri="{BB962C8B-B14F-4D97-AF65-F5344CB8AC3E}">
        <p14:creationId xmlns:p14="http://schemas.microsoft.com/office/powerpoint/2010/main" val="13869700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Two Column Bullet with Subheads">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FFF5CD7-6F2E-C9FA-DFA5-66B9CFB0E1E2}"/>
              </a:ext>
            </a:extLst>
          </p:cNvPr>
          <p:cNvGrpSpPr/>
          <p:nvPr userDrawn="1"/>
        </p:nvGrpSpPr>
        <p:grpSpPr>
          <a:xfrm>
            <a:off x="11207931" y="114223"/>
            <a:ext cx="984069" cy="1526510"/>
            <a:chOff x="11207931" y="114223"/>
            <a:chExt cx="984069" cy="1526510"/>
          </a:xfrm>
        </p:grpSpPr>
        <p:sp>
          <p:nvSpPr>
            <p:cNvPr id="4" name="Freeform 3">
              <a:extLst>
                <a:ext uri="{FF2B5EF4-FFF2-40B4-BE49-F238E27FC236}">
                  <a16:creationId xmlns:a16="http://schemas.microsoft.com/office/drawing/2014/main" id="{06B833D0-0FC0-975A-6470-532B53607820}"/>
                </a:ext>
              </a:extLst>
            </p:cNvPr>
            <p:cNvSpPr/>
            <p:nvPr/>
          </p:nvSpPr>
          <p:spPr bwMode="auto">
            <a:xfrm>
              <a:off x="11683516" y="209494"/>
              <a:ext cx="508484" cy="1049410"/>
            </a:xfrm>
            <a:custGeom>
              <a:avLst/>
              <a:gdLst>
                <a:gd name="connsiteX0" fmla="*/ 508484 w 508484"/>
                <a:gd name="connsiteY0" fmla="*/ 0 h 1049410"/>
                <a:gd name="connsiteX1" fmla="*/ 508484 w 508484"/>
                <a:gd name="connsiteY1" fmla="*/ 1049410 h 1049410"/>
                <a:gd name="connsiteX2" fmla="*/ 420411 w 508484"/>
                <a:gd name="connsiteY2" fmla="*/ 1040532 h 1049410"/>
                <a:gd name="connsiteX3" fmla="*/ 0 w 508484"/>
                <a:gd name="connsiteY3" fmla="*/ 524705 h 1049410"/>
                <a:gd name="connsiteX4" fmla="*/ 420411 w 508484"/>
                <a:gd name="connsiteY4" fmla="*/ 8878 h 1049410"/>
                <a:gd name="connsiteX5" fmla="*/ 508484 w 508484"/>
                <a:gd name="connsiteY5" fmla="*/ 0 h 1049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8484" h="1049410">
                  <a:moveTo>
                    <a:pt x="508484" y="0"/>
                  </a:moveTo>
                  <a:lnTo>
                    <a:pt x="508484" y="1049410"/>
                  </a:lnTo>
                  <a:lnTo>
                    <a:pt x="420411" y="1040532"/>
                  </a:lnTo>
                  <a:cubicBezTo>
                    <a:pt x="180483" y="991436"/>
                    <a:pt x="0" y="779147"/>
                    <a:pt x="0" y="524705"/>
                  </a:cubicBezTo>
                  <a:cubicBezTo>
                    <a:pt x="0" y="270263"/>
                    <a:pt x="180483" y="57975"/>
                    <a:pt x="420411" y="8878"/>
                  </a:cubicBezTo>
                  <a:lnTo>
                    <a:pt x="508484" y="0"/>
                  </a:lnTo>
                  <a:close/>
                </a:path>
              </a:pathLst>
            </a:custGeom>
            <a:solidFill>
              <a:schemeClr val="accent5">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 name="Freeform 4">
              <a:extLst>
                <a:ext uri="{FF2B5EF4-FFF2-40B4-BE49-F238E27FC236}">
                  <a16:creationId xmlns:a16="http://schemas.microsoft.com/office/drawing/2014/main" id="{88C81A58-4F13-F08D-5B3F-4480D2677260}"/>
                </a:ext>
              </a:extLst>
            </p:cNvPr>
            <p:cNvSpPr/>
            <p:nvPr/>
          </p:nvSpPr>
          <p:spPr>
            <a:xfrm>
              <a:off x="11593087" y="114223"/>
              <a:ext cx="598913" cy="1253024"/>
            </a:xfrm>
            <a:custGeom>
              <a:avLst/>
              <a:gdLst>
                <a:gd name="connsiteX0" fmla="*/ 579415 w 733022"/>
                <a:gd name="connsiteY0" fmla="*/ 1154516 h 1533601"/>
                <a:gd name="connsiteX1" fmla="*/ 654140 w 733022"/>
                <a:gd name="connsiteY1" fmla="*/ 1182331 h 1533601"/>
                <a:gd name="connsiteX2" fmla="*/ 733022 w 733022"/>
                <a:gd name="connsiteY2" fmla="*/ 1195890 h 1533601"/>
                <a:gd name="connsiteX3" fmla="*/ 733022 w 733022"/>
                <a:gd name="connsiteY3" fmla="*/ 1519078 h 1533601"/>
                <a:gd name="connsiteX4" fmla="*/ 728849 w 733022"/>
                <a:gd name="connsiteY4" fmla="*/ 1528684 h 1533601"/>
                <a:gd name="connsiteX5" fmla="*/ 715183 w 733022"/>
                <a:gd name="connsiteY5" fmla="*/ 1533561 h 1533601"/>
                <a:gd name="connsiteX6" fmla="*/ 427500 w 733022"/>
                <a:gd name="connsiteY6" fmla="*/ 1456569 h 1533601"/>
                <a:gd name="connsiteX7" fmla="*/ 427481 w 733022"/>
                <a:gd name="connsiteY7" fmla="*/ 1456569 h 1533601"/>
                <a:gd name="connsiteX8" fmla="*/ 419765 w 733022"/>
                <a:gd name="connsiteY8" fmla="*/ 1431112 h 1533601"/>
                <a:gd name="connsiteX9" fmla="*/ 409753 w 733022"/>
                <a:gd name="connsiteY9" fmla="*/ 1009571 h 1533601"/>
                <a:gd name="connsiteX10" fmla="*/ 524291 w 733022"/>
                <a:gd name="connsiteY10" fmla="*/ 1122789 h 1533601"/>
                <a:gd name="connsiteX11" fmla="*/ 364754 w 733022"/>
                <a:gd name="connsiteY11" fmla="*/ 1399179 h 1533601"/>
                <a:gd name="connsiteX12" fmla="*/ 338820 w 733022"/>
                <a:gd name="connsiteY12" fmla="*/ 1405185 h 1533601"/>
                <a:gd name="connsiteX13" fmla="*/ 128318 w 733022"/>
                <a:gd name="connsiteY13" fmla="*/ 1194584 h 1533601"/>
                <a:gd name="connsiteX14" fmla="*/ 134321 w 733022"/>
                <a:gd name="connsiteY14" fmla="*/ 1168637 h 1533601"/>
                <a:gd name="connsiteX15" fmla="*/ 18202 w 733022"/>
                <a:gd name="connsiteY15" fmla="*/ 798631 h 1533601"/>
                <a:gd name="connsiteX16" fmla="*/ 333739 w 733022"/>
                <a:gd name="connsiteY16" fmla="*/ 798631 h 1533601"/>
                <a:gd name="connsiteX17" fmla="*/ 377363 w 733022"/>
                <a:gd name="connsiteY17" fmla="*/ 954723 h 1533601"/>
                <a:gd name="connsiteX18" fmla="*/ 102441 w 733022"/>
                <a:gd name="connsiteY18" fmla="*/ 1113544 h 1533601"/>
                <a:gd name="connsiteX19" fmla="*/ 76996 w 733022"/>
                <a:gd name="connsiteY19" fmla="*/ 1105824 h 1533601"/>
                <a:gd name="connsiteX20" fmla="*/ 41 w 733022"/>
                <a:gd name="connsiteY20" fmla="*/ 818081 h 1533601"/>
                <a:gd name="connsiteX21" fmla="*/ 18202 w 733022"/>
                <a:gd name="connsiteY21" fmla="*/ 798631 h 1533601"/>
                <a:gd name="connsiteX22" fmla="*/ 733022 w 733022"/>
                <a:gd name="connsiteY22" fmla="*/ 440947 h 1533601"/>
                <a:gd name="connsiteX23" fmla="*/ 733022 w 733022"/>
                <a:gd name="connsiteY23" fmla="*/ 627192 h 1533601"/>
                <a:gd name="connsiteX24" fmla="*/ 694597 w 733022"/>
                <a:gd name="connsiteY24" fmla="*/ 638681 h 1533601"/>
                <a:gd name="connsiteX25" fmla="*/ 618391 w 733022"/>
                <a:gd name="connsiteY25" fmla="*/ 748942 h 1533601"/>
                <a:gd name="connsiteX26" fmla="*/ 699416 w 733022"/>
                <a:gd name="connsiteY26" fmla="*/ 889231 h 1533601"/>
                <a:gd name="connsiteX27" fmla="*/ 733022 w 733022"/>
                <a:gd name="connsiteY27" fmla="*/ 896448 h 1533601"/>
                <a:gd name="connsiteX28" fmla="*/ 733022 w 733022"/>
                <a:gd name="connsiteY28" fmla="*/ 1083871 h 1533601"/>
                <a:gd name="connsiteX29" fmla="*/ 691051 w 733022"/>
                <a:gd name="connsiteY29" fmla="*/ 1079617 h 1533601"/>
                <a:gd name="connsiteX30" fmla="*/ 433014 w 733022"/>
                <a:gd name="connsiteY30" fmla="*/ 761820 h 1533601"/>
                <a:gd name="connsiteX31" fmla="*/ 678170 w 733022"/>
                <a:gd name="connsiteY31" fmla="*/ 449027 h 1533601"/>
                <a:gd name="connsiteX32" fmla="*/ 88045 w 733022"/>
                <a:gd name="connsiteY32" fmla="*/ 418365 h 1533601"/>
                <a:gd name="connsiteX33" fmla="*/ 102441 w 733022"/>
                <a:gd name="connsiteY33" fmla="*/ 420020 h 1533601"/>
                <a:gd name="connsiteX34" fmla="*/ 372960 w 733022"/>
                <a:gd name="connsiteY34" fmla="*/ 576281 h 1533601"/>
                <a:gd name="connsiteX35" fmla="*/ 332873 w 733022"/>
                <a:gd name="connsiteY35" fmla="*/ 734971 h 1533601"/>
                <a:gd name="connsiteX36" fmla="*/ 18202 w 733022"/>
                <a:gd name="connsiteY36" fmla="*/ 734971 h 1533601"/>
                <a:gd name="connsiteX37" fmla="*/ 41 w 733022"/>
                <a:gd name="connsiteY37" fmla="*/ 715520 h 1533601"/>
                <a:gd name="connsiteX38" fmla="*/ 76996 w 733022"/>
                <a:gd name="connsiteY38" fmla="*/ 427739 h 1533601"/>
                <a:gd name="connsiteX39" fmla="*/ 88045 w 733022"/>
                <a:gd name="connsiteY39" fmla="*/ 418365 h 1533601"/>
                <a:gd name="connsiteX40" fmla="*/ 353092 w 733022"/>
                <a:gd name="connsiteY40" fmla="*/ 125773 h 1533601"/>
                <a:gd name="connsiteX41" fmla="*/ 364754 w 733022"/>
                <a:gd name="connsiteY41" fmla="*/ 134404 h 1533601"/>
                <a:gd name="connsiteX42" fmla="*/ 519455 w 733022"/>
                <a:gd name="connsiteY42" fmla="*/ 402471 h 1533601"/>
                <a:gd name="connsiteX43" fmla="*/ 404069 w 733022"/>
                <a:gd name="connsiteY43" fmla="*/ 520735 h 1533601"/>
                <a:gd name="connsiteX44" fmla="*/ 134359 w 733022"/>
                <a:gd name="connsiteY44" fmla="*/ 364945 h 1533601"/>
                <a:gd name="connsiteX45" fmla="*/ 128356 w 733022"/>
                <a:gd name="connsiteY45" fmla="*/ 338999 h 1533601"/>
                <a:gd name="connsiteX46" fmla="*/ 338820 w 733022"/>
                <a:gd name="connsiteY46" fmla="*/ 128398 h 1533601"/>
                <a:gd name="connsiteX47" fmla="*/ 353092 w 733022"/>
                <a:gd name="connsiteY47" fmla="*/ 125773 h 1533601"/>
                <a:gd name="connsiteX48" fmla="*/ 715183 w 733022"/>
                <a:gd name="connsiteY48" fmla="*/ 41 h 1533601"/>
                <a:gd name="connsiteX49" fmla="*/ 715202 w 733022"/>
                <a:gd name="connsiteY49" fmla="*/ 41 h 1533601"/>
                <a:gd name="connsiteX50" fmla="*/ 728860 w 733022"/>
                <a:gd name="connsiteY50" fmla="*/ 4910 h 1533601"/>
                <a:gd name="connsiteX51" fmla="*/ 733022 w 733022"/>
                <a:gd name="connsiteY51" fmla="*/ 14482 h 1533601"/>
                <a:gd name="connsiteX52" fmla="*/ 733022 w 733022"/>
                <a:gd name="connsiteY52" fmla="*/ 325990 h 1533601"/>
                <a:gd name="connsiteX53" fmla="*/ 651303 w 733022"/>
                <a:gd name="connsiteY53" fmla="*/ 340329 h 1533601"/>
                <a:gd name="connsiteX54" fmla="*/ 574202 w 733022"/>
                <a:gd name="connsiteY54" fmla="*/ 369991 h 1533601"/>
                <a:gd name="connsiteX55" fmla="*/ 419821 w 733022"/>
                <a:gd name="connsiteY55" fmla="*/ 102489 h 1533601"/>
                <a:gd name="connsiteX56" fmla="*/ 427538 w 733022"/>
                <a:gd name="connsiteY56" fmla="*/ 77032 h 1533601"/>
                <a:gd name="connsiteX57" fmla="*/ 715183 w 733022"/>
                <a:gd name="connsiteY57" fmla="*/ 41 h 1533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733022" h="1533601">
                  <a:moveTo>
                    <a:pt x="579415" y="1154516"/>
                  </a:moveTo>
                  <a:cubicBezTo>
                    <a:pt x="603213" y="1165954"/>
                    <a:pt x="628197" y="1175308"/>
                    <a:pt x="654140" y="1182331"/>
                  </a:cubicBezTo>
                  <a:lnTo>
                    <a:pt x="733022" y="1195890"/>
                  </a:lnTo>
                  <a:lnTo>
                    <a:pt x="733022" y="1519078"/>
                  </a:lnTo>
                  <a:lnTo>
                    <a:pt x="728849" y="1528684"/>
                  </a:lnTo>
                  <a:cubicBezTo>
                    <a:pt x="725303" y="1531998"/>
                    <a:pt x="720443" y="1533909"/>
                    <a:pt x="715183" y="1533561"/>
                  </a:cubicBezTo>
                  <a:cubicBezTo>
                    <a:pt x="612463" y="1526782"/>
                    <a:pt x="515258" y="1499819"/>
                    <a:pt x="427500" y="1456569"/>
                  </a:cubicBezTo>
                  <a:lnTo>
                    <a:pt x="427481" y="1456569"/>
                  </a:lnTo>
                  <a:cubicBezTo>
                    <a:pt x="418052" y="1451918"/>
                    <a:pt x="414495" y="1440226"/>
                    <a:pt x="419765" y="1431112"/>
                  </a:cubicBezTo>
                  <a:close/>
                  <a:moveTo>
                    <a:pt x="409753" y="1009571"/>
                  </a:moveTo>
                  <a:cubicBezTo>
                    <a:pt x="440580" y="1054045"/>
                    <a:pt x="479424" y="1092456"/>
                    <a:pt x="524291" y="1122789"/>
                  </a:cubicBezTo>
                  <a:lnTo>
                    <a:pt x="364754" y="1399179"/>
                  </a:lnTo>
                  <a:cubicBezTo>
                    <a:pt x="359484" y="1408311"/>
                    <a:pt x="347571" y="1411060"/>
                    <a:pt x="338820" y="1405185"/>
                  </a:cubicBezTo>
                  <a:cubicBezTo>
                    <a:pt x="255730" y="1349376"/>
                    <a:pt x="184100" y="1277751"/>
                    <a:pt x="128318" y="1194584"/>
                  </a:cubicBezTo>
                  <a:cubicBezTo>
                    <a:pt x="122446" y="1185828"/>
                    <a:pt x="125194" y="1173910"/>
                    <a:pt x="134321" y="1168637"/>
                  </a:cubicBezTo>
                  <a:close/>
                  <a:moveTo>
                    <a:pt x="18202" y="798631"/>
                  </a:moveTo>
                  <a:lnTo>
                    <a:pt x="333739" y="798631"/>
                  </a:lnTo>
                  <a:cubicBezTo>
                    <a:pt x="338462" y="854289"/>
                    <a:pt x="353650" y="906991"/>
                    <a:pt x="377363" y="954723"/>
                  </a:cubicBezTo>
                  <a:lnTo>
                    <a:pt x="102441" y="1113544"/>
                  </a:lnTo>
                  <a:cubicBezTo>
                    <a:pt x="93331" y="1118816"/>
                    <a:pt x="81644" y="1115258"/>
                    <a:pt x="76996" y="1105824"/>
                  </a:cubicBezTo>
                  <a:cubicBezTo>
                    <a:pt x="33766" y="1018063"/>
                    <a:pt x="6816" y="920849"/>
                    <a:pt x="41" y="818081"/>
                  </a:cubicBezTo>
                  <a:cubicBezTo>
                    <a:pt x="-656" y="807556"/>
                    <a:pt x="7682" y="798631"/>
                    <a:pt x="18202" y="798631"/>
                  </a:cubicBezTo>
                  <a:close/>
                  <a:moveTo>
                    <a:pt x="733022" y="440947"/>
                  </a:moveTo>
                  <a:lnTo>
                    <a:pt x="733022" y="627192"/>
                  </a:lnTo>
                  <a:lnTo>
                    <a:pt x="694597" y="638681"/>
                  </a:lnTo>
                  <a:cubicBezTo>
                    <a:pt x="652977" y="659505"/>
                    <a:pt x="623092" y="700871"/>
                    <a:pt x="618391" y="748942"/>
                  </a:cubicBezTo>
                  <a:cubicBezTo>
                    <a:pt x="612336" y="810922"/>
                    <a:pt x="647367" y="865710"/>
                    <a:pt x="699416" y="889231"/>
                  </a:cubicBezTo>
                  <a:lnTo>
                    <a:pt x="733022" y="896448"/>
                  </a:lnTo>
                  <a:lnTo>
                    <a:pt x="733022" y="1083871"/>
                  </a:lnTo>
                  <a:lnTo>
                    <a:pt x="691051" y="1079617"/>
                  </a:lnTo>
                  <a:cubicBezTo>
                    <a:pt x="543639" y="1049300"/>
                    <a:pt x="432521" y="918253"/>
                    <a:pt x="433014" y="761820"/>
                  </a:cubicBezTo>
                  <a:cubicBezTo>
                    <a:pt x="433475" y="612208"/>
                    <a:pt x="537754" y="484162"/>
                    <a:pt x="678170" y="449027"/>
                  </a:cubicBezTo>
                  <a:close/>
                  <a:moveTo>
                    <a:pt x="88045" y="418365"/>
                  </a:moveTo>
                  <a:cubicBezTo>
                    <a:pt x="92687" y="416955"/>
                    <a:pt x="97886" y="417384"/>
                    <a:pt x="102441" y="420020"/>
                  </a:cubicBezTo>
                  <a:lnTo>
                    <a:pt x="372960" y="576281"/>
                  </a:lnTo>
                  <a:cubicBezTo>
                    <a:pt x="350187" y="624934"/>
                    <a:pt x="336185" y="678503"/>
                    <a:pt x="332873" y="734971"/>
                  </a:cubicBezTo>
                  <a:lnTo>
                    <a:pt x="18202" y="734971"/>
                  </a:lnTo>
                  <a:cubicBezTo>
                    <a:pt x="7682" y="734971"/>
                    <a:pt x="-656" y="726045"/>
                    <a:pt x="41" y="715520"/>
                  </a:cubicBezTo>
                  <a:cubicBezTo>
                    <a:pt x="6816" y="612752"/>
                    <a:pt x="33766" y="515501"/>
                    <a:pt x="76996" y="427739"/>
                  </a:cubicBezTo>
                  <a:cubicBezTo>
                    <a:pt x="79320" y="423023"/>
                    <a:pt x="83404" y="419775"/>
                    <a:pt x="88045" y="418365"/>
                  </a:cubicBezTo>
                  <a:close/>
                  <a:moveTo>
                    <a:pt x="353092" y="125773"/>
                  </a:moveTo>
                  <a:cubicBezTo>
                    <a:pt x="357823" y="126868"/>
                    <a:pt x="362119" y="129838"/>
                    <a:pt x="364754" y="134404"/>
                  </a:cubicBezTo>
                  <a:lnTo>
                    <a:pt x="519455" y="402471"/>
                  </a:lnTo>
                  <a:cubicBezTo>
                    <a:pt x="473873" y="434122"/>
                    <a:pt x="434652" y="474359"/>
                    <a:pt x="404069" y="520735"/>
                  </a:cubicBezTo>
                  <a:lnTo>
                    <a:pt x="134359" y="364945"/>
                  </a:lnTo>
                  <a:cubicBezTo>
                    <a:pt x="125231" y="359673"/>
                    <a:pt x="122484" y="347754"/>
                    <a:pt x="128356" y="338999"/>
                  </a:cubicBezTo>
                  <a:cubicBezTo>
                    <a:pt x="184138" y="255869"/>
                    <a:pt x="255730" y="184244"/>
                    <a:pt x="338820" y="128398"/>
                  </a:cubicBezTo>
                  <a:cubicBezTo>
                    <a:pt x="343196" y="125460"/>
                    <a:pt x="348362" y="124679"/>
                    <a:pt x="353092" y="125773"/>
                  </a:cubicBezTo>
                  <a:close/>
                  <a:moveTo>
                    <a:pt x="715183" y="41"/>
                  </a:moveTo>
                  <a:lnTo>
                    <a:pt x="715202" y="41"/>
                  </a:lnTo>
                  <a:cubicBezTo>
                    <a:pt x="720453" y="-308"/>
                    <a:pt x="725313" y="1599"/>
                    <a:pt x="728860" y="4910"/>
                  </a:cubicBezTo>
                  <a:lnTo>
                    <a:pt x="733022" y="14482"/>
                  </a:lnTo>
                  <a:lnTo>
                    <a:pt x="733022" y="325990"/>
                  </a:lnTo>
                  <a:lnTo>
                    <a:pt x="651303" y="340329"/>
                  </a:lnTo>
                  <a:cubicBezTo>
                    <a:pt x="624470" y="347792"/>
                    <a:pt x="598678" y="357762"/>
                    <a:pt x="574202" y="369991"/>
                  </a:cubicBezTo>
                  <a:lnTo>
                    <a:pt x="419821" y="102489"/>
                  </a:lnTo>
                  <a:cubicBezTo>
                    <a:pt x="414552" y="93357"/>
                    <a:pt x="418090" y="81683"/>
                    <a:pt x="427538" y="77032"/>
                  </a:cubicBezTo>
                  <a:cubicBezTo>
                    <a:pt x="515258" y="33801"/>
                    <a:pt x="612463" y="6819"/>
                    <a:pt x="715183" y="41"/>
                  </a:cubicBezTo>
                  <a:close/>
                </a:path>
              </a:pathLst>
            </a:custGeom>
            <a:gradFill>
              <a:gsLst>
                <a:gs pos="6000">
                  <a:srgbClr val="FF9248">
                    <a:alpha val="34000"/>
                  </a:srgbClr>
                </a:gs>
                <a:gs pos="77000">
                  <a:schemeClr val="accent4">
                    <a:alpha val="29000"/>
                  </a:schemeClr>
                </a:gs>
              </a:gsLst>
              <a:lin ang="3343960" scaled="1"/>
            </a:gradFill>
            <a:ln w="5992" cap="flat">
              <a:noFill/>
              <a:prstDash val="solid"/>
              <a:miter/>
            </a:ln>
          </p:spPr>
          <p:txBody>
            <a:bodyPr wrap="square" rtlCol="0" anchor="ctr">
              <a:noAutofit/>
            </a:bodyPr>
            <a:lstStyle/>
            <a:p>
              <a:endParaRPr lang="en-US"/>
            </a:p>
          </p:txBody>
        </p:sp>
        <p:sp>
          <p:nvSpPr>
            <p:cNvPr id="6" name="Donut 5">
              <a:extLst>
                <a:ext uri="{FF2B5EF4-FFF2-40B4-BE49-F238E27FC236}">
                  <a16:creationId xmlns:a16="http://schemas.microsoft.com/office/drawing/2014/main" id="{3B548AB9-4F73-F6FA-1155-30F4952F1A23}"/>
                </a:ext>
              </a:extLst>
            </p:cNvPr>
            <p:cNvSpPr/>
            <p:nvPr/>
          </p:nvSpPr>
          <p:spPr bwMode="auto">
            <a:xfrm>
              <a:off x="11207931" y="1255577"/>
              <a:ext cx="385156" cy="385156"/>
            </a:xfrm>
            <a:prstGeom prst="donut">
              <a:avLst/>
            </a:prstGeom>
            <a:gradFill>
              <a:gsLst>
                <a:gs pos="6000">
                  <a:srgbClr val="FF9248">
                    <a:alpha val="34000"/>
                  </a:srgbClr>
                </a:gs>
                <a:gs pos="77000">
                  <a:schemeClr val="accent4">
                    <a:alpha val="29000"/>
                  </a:schemeClr>
                </a:gs>
              </a:gsLst>
              <a:lin ang="3343960" scaled="1"/>
            </a:gradFill>
            <a:ln w="5992" cap="flat">
              <a:noFill/>
              <a:prstDash val="solid"/>
              <a:miter/>
            </a:ln>
          </p:spPr>
          <p:txBody>
            <a:bodyPr wrap="square" rtlCol="0" anchor="ctr">
              <a:noAutofit/>
            </a:bodyPr>
            <a:lstStyle/>
            <a:p>
              <a:endParaRPr lang="en-US" err="1">
                <a:solidFill>
                  <a:schemeClr val="tx1"/>
                </a:solidFill>
              </a:endParaRPr>
            </a:p>
          </p:txBody>
        </p:sp>
      </p:gr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1854092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2144461"/>
      </p:ext>
    </p:extLst>
  </p:cSld>
  <p:clrMapOvr>
    <a:masterClrMapping/>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3" imgW="378" imgH="377" progId="TCLayout.ActiveDocument.1">
                  <p:embed/>
                </p:oleObj>
              </mc:Choice>
              <mc:Fallback>
                <p:oleObj name="think-cell Slide" r:id="rId3" imgW="378" imgH="377" progId="TCLayout.ActiveDocument.1">
                  <p:embed/>
                  <p:pic>
                    <p:nvPicPr>
                      <p:cNvPr id="2" name="Object 1" hidden="1"/>
                      <p:cNvPicPr/>
                      <p:nvPr/>
                    </p:nvPicPr>
                    <p:blipFill>
                      <a:blip r:embed="rId4"/>
                      <a:stretch>
                        <a:fillRect/>
                      </a:stretch>
                    </p:blipFill>
                    <p:spPr>
                      <a:xfrm>
                        <a:off x="1557" y="1558"/>
                        <a:ext cx="1556" cy="1556"/>
                      </a:xfrm>
                      <a:prstGeom prst="rect">
                        <a:avLst/>
                      </a:prstGeom>
                    </p:spPr>
                  </p:pic>
                </p:oleObj>
              </mc:Fallback>
            </mc:AlternateContent>
          </a:graphicData>
        </a:graphic>
      </p:graphicFrame>
      <p:sp>
        <p:nvSpPr>
          <p:cNvPr id="4" name="Text Placeholder 3"/>
          <p:cNvSpPr>
            <a:spLocks noGrp="1"/>
          </p:cNvSpPr>
          <p:nvPr>
            <p:ph type="body" sz="quarter" idx="10"/>
          </p:nvPr>
        </p:nvSpPr>
        <p:spPr>
          <a:xfrm>
            <a:off x="269240" y="1345720"/>
            <a:ext cx="11653523" cy="1985641"/>
          </a:xfrm>
        </p:spPr>
        <p:txBody>
          <a:bodyPr>
            <a:spAutoFit/>
          </a:bodyPr>
          <a:lstStyle>
            <a:lvl1pPr>
              <a:defRPr sz="352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29005230"/>
      </p:ext>
    </p:extLst>
  </p:cSld>
  <p:clrMapOvr>
    <a:masterClrMapping/>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7450796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userDrawn="1">
  <p:cSld name="4_HEADLINE ONLY">
    <p:spTree>
      <p:nvGrpSpPr>
        <p:cNvPr id="1" name=""/>
        <p:cNvGrpSpPr/>
        <p:nvPr/>
      </p:nvGrpSpPr>
      <p:grpSpPr>
        <a:xfrm>
          <a:off x="0" y="0"/>
          <a:ext cx="0" cy="0"/>
          <a:chOff x="0" y="0"/>
          <a:chExt cx="0" cy="0"/>
        </a:xfrm>
      </p:grpSpPr>
      <p:sp>
        <p:nvSpPr>
          <p:cNvPr id="17" name="Text Placeholder 2"/>
          <p:cNvSpPr>
            <a:spLocks noGrp="1"/>
          </p:cNvSpPr>
          <p:nvPr>
            <p:ph type="body" sz="quarter" idx="14"/>
          </p:nvPr>
        </p:nvSpPr>
        <p:spPr>
          <a:xfrm>
            <a:off x="387060" y="335067"/>
            <a:ext cx="10819785"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3529"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endParaRPr lang="en-US"/>
          </a:p>
        </p:txBody>
      </p:sp>
      <p:sp>
        <p:nvSpPr>
          <p:cNvPr id="2" name="Slide Number Placeholder 1">
            <a:extLst>
              <a:ext uri="{FF2B5EF4-FFF2-40B4-BE49-F238E27FC236}">
                <a16:creationId xmlns:a16="http://schemas.microsoft.com/office/drawing/2014/main" id="{4695C438-517B-4132-8E1E-259A169A43C2}"/>
              </a:ext>
            </a:extLst>
          </p:cNvPr>
          <p:cNvSpPr>
            <a:spLocks noGrp="1"/>
          </p:cNvSpPr>
          <p:nvPr>
            <p:ph type="sldNum" sz="quarter" idx="15"/>
          </p:nvPr>
        </p:nvSpPr>
        <p:spPr/>
        <p:txBody>
          <a:bodyPr/>
          <a:lstStyle/>
          <a:p>
            <a:fld id="{6917C22C-C5D7-4539-A137-217872CE6377}" type="slidenum">
              <a:rPr lang="en-US" smtClean="0"/>
              <a:pPr/>
              <a:t>‹#›</a:t>
            </a:fld>
            <a:endParaRPr lang="en-US"/>
          </a:p>
        </p:txBody>
      </p:sp>
    </p:spTree>
    <p:extLst>
      <p:ext uri="{BB962C8B-B14F-4D97-AF65-F5344CB8AC3E}">
        <p14:creationId xmlns:p14="http://schemas.microsoft.com/office/powerpoint/2010/main" val="38466727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360581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cSld name="Blank 12 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0645770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339057"/>
            <a:ext cx="11018520" cy="430887"/>
          </a:xfrm>
        </p:spPr>
        <p:txBody>
          <a:bodyPr/>
          <a:lstStyle>
            <a:lvl1pPr>
              <a:defRPr sz="2800"/>
            </a:lvl1pPr>
          </a:lstStyle>
          <a:p>
            <a:r>
              <a:rPr lang="en-US"/>
              <a:t>Click to edit Master title style</a:t>
            </a:r>
          </a:p>
        </p:txBody>
      </p:sp>
    </p:spTree>
    <p:extLst>
      <p:ext uri="{BB962C8B-B14F-4D97-AF65-F5344CB8AC3E}">
        <p14:creationId xmlns:p14="http://schemas.microsoft.com/office/powerpoint/2010/main" val="373018001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p:cSld name="1_Section Title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179663"/>
            <a:ext cx="5794056" cy="498674"/>
          </a:xfrm>
          <a:noFill/>
        </p:spPr>
        <p:txBody>
          <a:bodyPr wrap="square" lIns="0" tIns="0" rIns="0" bIns="0" anchor="ctr"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accent3"/>
                </a:solidFill>
                <a:effectLst/>
                <a:latin typeface="+mj-lt"/>
                <a:ea typeface="+mn-ea"/>
                <a:cs typeface="Segoe UI" pitchFamily="34" charset="0"/>
              </a:defRPr>
            </a:lvl1pPr>
          </a:lstStyle>
          <a:p>
            <a:r>
              <a:rPr lang="en-US"/>
              <a:t>Section title with no subtitle</a:t>
            </a:r>
          </a:p>
        </p:txBody>
      </p:sp>
      <p:sp>
        <p:nvSpPr>
          <p:cNvPr id="162" name="Rectangle 161">
            <a:extLst>
              <a:ext uri="{FF2B5EF4-FFF2-40B4-BE49-F238E27FC236}">
                <a16:creationId xmlns:a16="http://schemas.microsoft.com/office/drawing/2014/main" id="{0FD9F46C-0C7B-482C-8FBC-4CB29AE623AD}"/>
              </a:ext>
            </a:extLst>
          </p:cNvPr>
          <p:cNvSpPr/>
          <p:nvPr userDrawn="1"/>
        </p:nvSpPr>
        <p:spPr>
          <a:xfrm>
            <a:off x="588263" y="6598452"/>
            <a:ext cx="1232049" cy="135796"/>
          </a:xfrm>
          <a:prstGeom prst="rect">
            <a:avLst/>
          </a:prstGeom>
        </p:spPr>
        <p:txBody>
          <a:bodyPr wrap="none" lIns="0" tIns="0" rIns="0" bIns="0">
            <a:spAutoFit/>
          </a:bodyPr>
          <a:lstStyle/>
          <a:p>
            <a:pPr algn="ctr">
              <a:lnSpc>
                <a:spcPct val="90000"/>
              </a:lnSpc>
              <a:spcBef>
                <a:spcPts val="0"/>
              </a:spcBef>
              <a:spcAft>
                <a:spcPts val="0"/>
              </a:spcAft>
            </a:pPr>
            <a:r>
              <a:rPr lang="en-US" sz="980">
                <a:solidFill>
                  <a:schemeClr val="tx1"/>
                </a:solidFill>
                <a:latin typeface="+mn-lt"/>
              </a:rPr>
              <a:t>Microsoft Confidential</a:t>
            </a:r>
          </a:p>
        </p:txBody>
      </p:sp>
      <p:grpSp>
        <p:nvGrpSpPr>
          <p:cNvPr id="16" name="Group 15">
            <a:extLst>
              <a:ext uri="{FF2B5EF4-FFF2-40B4-BE49-F238E27FC236}">
                <a16:creationId xmlns:a16="http://schemas.microsoft.com/office/drawing/2014/main" id="{7FF4DC87-AA9F-421C-AC1E-122CB147C861}"/>
              </a:ext>
              <a:ext uri="{C183D7F6-B498-43B3-948B-1728B52AA6E4}">
                <adec:decorative xmlns:adec="http://schemas.microsoft.com/office/drawing/2017/decorative" val="1"/>
              </a:ext>
            </a:extLst>
          </p:cNvPr>
          <p:cNvGrpSpPr/>
          <p:nvPr userDrawn="1"/>
        </p:nvGrpSpPr>
        <p:grpSpPr>
          <a:xfrm>
            <a:off x="6774582" y="3"/>
            <a:ext cx="5223611" cy="7093674"/>
            <a:chOff x="6910426" y="2"/>
            <a:chExt cx="5328355" cy="7234891"/>
          </a:xfrm>
        </p:grpSpPr>
        <p:sp>
          <p:nvSpPr>
            <p:cNvPr id="17" name="Freeform: Shape 16">
              <a:extLst>
                <a:ext uri="{FF2B5EF4-FFF2-40B4-BE49-F238E27FC236}">
                  <a16:creationId xmlns:a16="http://schemas.microsoft.com/office/drawing/2014/main" id="{273795DB-6AB6-464F-A095-4F940D7CCEA3}"/>
                </a:ext>
              </a:extLst>
            </p:cNvPr>
            <p:cNvSpPr/>
            <p:nvPr/>
          </p:nvSpPr>
          <p:spPr>
            <a:xfrm rot="16200000" flipH="1">
              <a:off x="7498467" y="507905"/>
              <a:ext cx="5248218" cy="4232411"/>
            </a:xfrm>
            <a:custGeom>
              <a:avLst/>
              <a:gdLst>
                <a:gd name="connsiteX0" fmla="*/ 5236026 w 5248218"/>
                <a:gd name="connsiteY0" fmla="*/ 541982 h 4232411"/>
                <a:gd name="connsiteX1" fmla="*/ 5242307 w 5248218"/>
                <a:gd name="connsiteY1" fmla="*/ 543829 h 4232411"/>
                <a:gd name="connsiteX2" fmla="*/ 5248218 w 5248218"/>
                <a:gd name="connsiteY2" fmla="*/ 537918 h 4232411"/>
                <a:gd name="connsiteX3" fmla="*/ 5242307 w 5248218"/>
                <a:gd name="connsiteY3" fmla="*/ 532007 h 4232411"/>
                <a:gd name="connsiteX4" fmla="*/ 5236396 w 5248218"/>
                <a:gd name="connsiteY4" fmla="*/ 537918 h 4232411"/>
                <a:gd name="connsiteX5" fmla="*/ 5236026 w 5248218"/>
                <a:gd name="connsiteY5" fmla="*/ 541982 h 4232411"/>
                <a:gd name="connsiteX6" fmla="*/ 5230482 w 5248218"/>
                <a:gd name="connsiteY6" fmla="*/ 1223616 h 4232411"/>
                <a:gd name="connsiteX7" fmla="*/ 5233439 w 5248218"/>
                <a:gd name="connsiteY7" fmla="*/ 1226573 h 4232411"/>
                <a:gd name="connsiteX8" fmla="*/ 5236393 w 5248218"/>
                <a:gd name="connsiteY8" fmla="*/ 1223616 h 4232411"/>
                <a:gd name="connsiteX9" fmla="*/ 5233439 w 5248218"/>
                <a:gd name="connsiteY9" fmla="*/ 1220662 h 4232411"/>
                <a:gd name="connsiteX10" fmla="*/ 5230482 w 5248218"/>
                <a:gd name="connsiteY10" fmla="*/ 1223616 h 4232411"/>
                <a:gd name="connsiteX11" fmla="*/ 5192060 w 5248218"/>
                <a:gd name="connsiteY11" fmla="*/ 712300 h 4232411"/>
                <a:gd name="connsiteX12" fmla="*/ 5197972 w 5248218"/>
                <a:gd name="connsiteY12" fmla="*/ 718211 h 4232411"/>
                <a:gd name="connsiteX13" fmla="*/ 5203883 w 5248218"/>
                <a:gd name="connsiteY13" fmla="*/ 712300 h 4232411"/>
                <a:gd name="connsiteX14" fmla="*/ 5197972 w 5248218"/>
                <a:gd name="connsiteY14" fmla="*/ 706389 h 4232411"/>
                <a:gd name="connsiteX15" fmla="*/ 5192060 w 5248218"/>
                <a:gd name="connsiteY15" fmla="*/ 712300 h 4232411"/>
                <a:gd name="connsiteX16" fmla="*/ 5153636 w 5248218"/>
                <a:gd name="connsiteY16" fmla="*/ 1383218 h 4232411"/>
                <a:gd name="connsiteX17" fmla="*/ 5159547 w 5248218"/>
                <a:gd name="connsiteY17" fmla="*/ 1389129 h 4232411"/>
                <a:gd name="connsiteX18" fmla="*/ 5165459 w 5248218"/>
                <a:gd name="connsiteY18" fmla="*/ 1383218 h 4232411"/>
                <a:gd name="connsiteX19" fmla="*/ 5159547 w 5248218"/>
                <a:gd name="connsiteY19" fmla="*/ 1377307 h 4232411"/>
                <a:gd name="connsiteX20" fmla="*/ 5153636 w 5248218"/>
                <a:gd name="connsiteY20" fmla="*/ 1383218 h 4232411"/>
                <a:gd name="connsiteX21" fmla="*/ 5144771 w 5248218"/>
                <a:gd name="connsiteY21" fmla="*/ 883721 h 4232411"/>
                <a:gd name="connsiteX22" fmla="*/ 5147728 w 5248218"/>
                <a:gd name="connsiteY22" fmla="*/ 886678 h 4232411"/>
                <a:gd name="connsiteX23" fmla="*/ 5150682 w 5248218"/>
                <a:gd name="connsiteY23" fmla="*/ 883721 h 4232411"/>
                <a:gd name="connsiteX24" fmla="*/ 5147728 w 5248218"/>
                <a:gd name="connsiteY24" fmla="*/ 880767 h 4232411"/>
                <a:gd name="connsiteX25" fmla="*/ 5144771 w 5248218"/>
                <a:gd name="connsiteY25" fmla="*/ 883721 h 4232411"/>
                <a:gd name="connsiteX26" fmla="*/ 5093786 w 5248218"/>
                <a:gd name="connsiteY26" fmla="*/ 187681 h 4232411"/>
                <a:gd name="connsiteX27" fmla="*/ 5097481 w 5248218"/>
                <a:gd name="connsiteY27" fmla="*/ 189158 h 4232411"/>
                <a:gd name="connsiteX28" fmla="*/ 5100435 w 5248218"/>
                <a:gd name="connsiteY28" fmla="*/ 186204 h 4232411"/>
                <a:gd name="connsiteX29" fmla="*/ 5097481 w 5248218"/>
                <a:gd name="connsiteY29" fmla="*/ 183247 h 4232411"/>
                <a:gd name="connsiteX30" fmla="*/ 5094524 w 5248218"/>
                <a:gd name="connsiteY30" fmla="*/ 186204 h 4232411"/>
                <a:gd name="connsiteX31" fmla="*/ 5093786 w 5248218"/>
                <a:gd name="connsiteY31" fmla="*/ 187681 h 4232411"/>
                <a:gd name="connsiteX32" fmla="*/ 5084918 w 5248218"/>
                <a:gd name="connsiteY32" fmla="*/ 1054779 h 4232411"/>
                <a:gd name="connsiteX33" fmla="*/ 5088613 w 5248218"/>
                <a:gd name="connsiteY33" fmla="*/ 1055149 h 4232411"/>
                <a:gd name="connsiteX34" fmla="*/ 5091570 w 5248218"/>
                <a:gd name="connsiteY34" fmla="*/ 1052192 h 4232411"/>
                <a:gd name="connsiteX35" fmla="*/ 5088613 w 5248218"/>
                <a:gd name="connsiteY35" fmla="*/ 1049238 h 4232411"/>
                <a:gd name="connsiteX36" fmla="*/ 5085656 w 5248218"/>
                <a:gd name="connsiteY36" fmla="*/ 1052192 h 4232411"/>
                <a:gd name="connsiteX37" fmla="*/ 5084918 w 5248218"/>
                <a:gd name="connsiteY37" fmla="*/ 1054779 h 4232411"/>
                <a:gd name="connsiteX38" fmla="*/ 5064968 w 5248218"/>
                <a:gd name="connsiteY38" fmla="*/ 360582 h 4232411"/>
                <a:gd name="connsiteX39" fmla="*/ 5070879 w 5248218"/>
                <a:gd name="connsiteY39" fmla="*/ 366494 h 4232411"/>
                <a:gd name="connsiteX40" fmla="*/ 5076791 w 5248218"/>
                <a:gd name="connsiteY40" fmla="*/ 360582 h 4232411"/>
                <a:gd name="connsiteX41" fmla="*/ 5070879 w 5248218"/>
                <a:gd name="connsiteY41" fmla="*/ 354671 h 4232411"/>
                <a:gd name="connsiteX42" fmla="*/ 5064968 w 5248218"/>
                <a:gd name="connsiteY42" fmla="*/ 360582 h 4232411"/>
                <a:gd name="connsiteX43" fmla="*/ 5032458 w 5248218"/>
                <a:gd name="connsiteY43" fmla="*/ 534964 h 4232411"/>
                <a:gd name="connsiteX44" fmla="*/ 5038369 w 5248218"/>
                <a:gd name="connsiteY44" fmla="*/ 540875 h 4232411"/>
                <a:gd name="connsiteX45" fmla="*/ 5044281 w 5248218"/>
                <a:gd name="connsiteY45" fmla="*/ 534964 h 4232411"/>
                <a:gd name="connsiteX46" fmla="*/ 5038369 w 5248218"/>
                <a:gd name="connsiteY46" fmla="*/ 529053 h 4232411"/>
                <a:gd name="connsiteX47" fmla="*/ 5032458 w 5248218"/>
                <a:gd name="connsiteY47" fmla="*/ 534964 h 4232411"/>
                <a:gd name="connsiteX48" fmla="*/ 5014725 w 5248218"/>
                <a:gd name="connsiteY48" fmla="*/ 2009804 h 4232411"/>
                <a:gd name="connsiteX49" fmla="*/ 5023593 w 5248218"/>
                <a:gd name="connsiteY49" fmla="*/ 2018669 h 4232411"/>
                <a:gd name="connsiteX50" fmla="*/ 5032458 w 5248218"/>
                <a:gd name="connsiteY50" fmla="*/ 2009804 h 4232411"/>
                <a:gd name="connsiteX51" fmla="*/ 5023593 w 5248218"/>
                <a:gd name="connsiteY51" fmla="*/ 2000936 h 4232411"/>
                <a:gd name="connsiteX52" fmla="*/ 5014725 w 5248218"/>
                <a:gd name="connsiteY52" fmla="*/ 2009804 h 4232411"/>
                <a:gd name="connsiteX53" fmla="*/ 4994037 w 5248218"/>
                <a:gd name="connsiteY53" fmla="*/ 1217705 h 4232411"/>
                <a:gd name="connsiteX54" fmla="*/ 5017682 w 5248218"/>
                <a:gd name="connsiteY54" fmla="*/ 1241350 h 4232411"/>
                <a:gd name="connsiteX55" fmla="*/ 5041327 w 5248218"/>
                <a:gd name="connsiteY55" fmla="*/ 1217705 h 4232411"/>
                <a:gd name="connsiteX56" fmla="*/ 5017682 w 5248218"/>
                <a:gd name="connsiteY56" fmla="*/ 1194060 h 4232411"/>
                <a:gd name="connsiteX57" fmla="*/ 4994037 w 5248218"/>
                <a:gd name="connsiteY57" fmla="*/ 1217705 h 4232411"/>
                <a:gd name="connsiteX58" fmla="*/ 4982212 w 5248218"/>
                <a:gd name="connsiteY58" fmla="*/ 709343 h 4232411"/>
                <a:gd name="connsiteX59" fmla="*/ 4991080 w 5248218"/>
                <a:gd name="connsiteY59" fmla="*/ 718208 h 4232411"/>
                <a:gd name="connsiteX60" fmla="*/ 4999945 w 5248218"/>
                <a:gd name="connsiteY60" fmla="*/ 709343 h 4232411"/>
                <a:gd name="connsiteX61" fmla="*/ 4991080 w 5248218"/>
                <a:gd name="connsiteY61" fmla="*/ 700474 h 4232411"/>
                <a:gd name="connsiteX62" fmla="*/ 4982212 w 5248218"/>
                <a:gd name="connsiteY62" fmla="*/ 709343 h 4232411"/>
                <a:gd name="connsiteX63" fmla="*/ 4967435 w 5248218"/>
                <a:gd name="connsiteY63" fmla="*/ 1696508 h 4232411"/>
                <a:gd name="connsiteX64" fmla="*/ 4988126 w 5248218"/>
                <a:gd name="connsiteY64" fmla="*/ 1717199 h 4232411"/>
                <a:gd name="connsiteX65" fmla="*/ 5008814 w 5248218"/>
                <a:gd name="connsiteY65" fmla="*/ 1696508 h 4232411"/>
                <a:gd name="connsiteX66" fmla="*/ 4988126 w 5248218"/>
                <a:gd name="connsiteY66" fmla="*/ 1675821 h 4232411"/>
                <a:gd name="connsiteX67" fmla="*/ 4967435 w 5248218"/>
                <a:gd name="connsiteY67" fmla="*/ 1696508 h 4232411"/>
                <a:gd name="connsiteX68" fmla="*/ 4923100 w 5248218"/>
                <a:gd name="connsiteY68" fmla="*/ 880770 h 4232411"/>
                <a:gd name="connsiteX69" fmla="*/ 4937879 w 5248218"/>
                <a:gd name="connsiteY69" fmla="*/ 895547 h 4232411"/>
                <a:gd name="connsiteX70" fmla="*/ 4952656 w 5248218"/>
                <a:gd name="connsiteY70" fmla="*/ 880770 h 4232411"/>
                <a:gd name="connsiteX71" fmla="*/ 4937879 w 5248218"/>
                <a:gd name="connsiteY71" fmla="*/ 865991 h 4232411"/>
                <a:gd name="connsiteX72" fmla="*/ 4923100 w 5248218"/>
                <a:gd name="connsiteY72" fmla="*/ 880770 h 4232411"/>
                <a:gd name="connsiteX73" fmla="*/ 4911280 w 5248218"/>
                <a:gd name="connsiteY73" fmla="*/ 2151673 h 4232411"/>
                <a:gd name="connsiteX74" fmla="*/ 4917192 w 5248218"/>
                <a:gd name="connsiteY74" fmla="*/ 2157584 h 4232411"/>
                <a:gd name="connsiteX75" fmla="*/ 4923103 w 5248218"/>
                <a:gd name="connsiteY75" fmla="*/ 2151673 h 4232411"/>
                <a:gd name="connsiteX76" fmla="*/ 4917192 w 5248218"/>
                <a:gd name="connsiteY76" fmla="*/ 2145762 h 4232411"/>
                <a:gd name="connsiteX77" fmla="*/ 4911280 w 5248218"/>
                <a:gd name="connsiteY77" fmla="*/ 2151673 h 4232411"/>
                <a:gd name="connsiteX78" fmla="*/ 4905369 w 5248218"/>
                <a:gd name="connsiteY78" fmla="*/ 5911 h 4232411"/>
                <a:gd name="connsiteX79" fmla="*/ 4911280 w 5248218"/>
                <a:gd name="connsiteY79" fmla="*/ 11822 h 4232411"/>
                <a:gd name="connsiteX80" fmla="*/ 4917192 w 5248218"/>
                <a:gd name="connsiteY80" fmla="*/ 5911 h 4232411"/>
                <a:gd name="connsiteX81" fmla="*/ 4911280 w 5248218"/>
                <a:gd name="connsiteY81" fmla="*/ 0 h 4232411"/>
                <a:gd name="connsiteX82" fmla="*/ 4905369 w 5248218"/>
                <a:gd name="connsiteY82" fmla="*/ 5911 h 4232411"/>
                <a:gd name="connsiteX83" fmla="*/ 4902412 w 5248218"/>
                <a:gd name="connsiteY83" fmla="*/ 1377310 h 4232411"/>
                <a:gd name="connsiteX84" fmla="*/ 4940836 w 5248218"/>
                <a:gd name="connsiteY84" fmla="*/ 1415731 h 4232411"/>
                <a:gd name="connsiteX85" fmla="*/ 4979258 w 5248218"/>
                <a:gd name="connsiteY85" fmla="*/ 1377310 h 4232411"/>
                <a:gd name="connsiteX86" fmla="*/ 4940836 w 5248218"/>
                <a:gd name="connsiteY86" fmla="*/ 1338886 h 4232411"/>
                <a:gd name="connsiteX87" fmla="*/ 4902412 w 5248218"/>
                <a:gd name="connsiteY87" fmla="*/ 1377310 h 4232411"/>
                <a:gd name="connsiteX88" fmla="*/ 4890590 w 5248218"/>
                <a:gd name="connsiteY88" fmla="*/ 183247 h 4232411"/>
                <a:gd name="connsiteX89" fmla="*/ 4896501 w 5248218"/>
                <a:gd name="connsiteY89" fmla="*/ 189158 h 4232411"/>
                <a:gd name="connsiteX90" fmla="*/ 4902412 w 5248218"/>
                <a:gd name="connsiteY90" fmla="*/ 183247 h 4232411"/>
                <a:gd name="connsiteX91" fmla="*/ 4896501 w 5248218"/>
                <a:gd name="connsiteY91" fmla="*/ 177335 h 4232411"/>
                <a:gd name="connsiteX92" fmla="*/ 4890590 w 5248218"/>
                <a:gd name="connsiteY92" fmla="*/ 183247 h 4232411"/>
                <a:gd name="connsiteX93" fmla="*/ 4884679 w 5248218"/>
                <a:gd name="connsiteY93" fmla="*/ 1847248 h 4232411"/>
                <a:gd name="connsiteX94" fmla="*/ 4893544 w 5248218"/>
                <a:gd name="connsiteY94" fmla="*/ 1856113 h 4232411"/>
                <a:gd name="connsiteX95" fmla="*/ 4902412 w 5248218"/>
                <a:gd name="connsiteY95" fmla="*/ 1847248 h 4232411"/>
                <a:gd name="connsiteX96" fmla="*/ 4893544 w 5248218"/>
                <a:gd name="connsiteY96" fmla="*/ 1838380 h 4232411"/>
                <a:gd name="connsiteX97" fmla="*/ 4884679 w 5248218"/>
                <a:gd name="connsiteY97" fmla="*/ 1847248 h 4232411"/>
                <a:gd name="connsiteX98" fmla="*/ 4863988 w 5248218"/>
                <a:gd name="connsiteY98" fmla="*/ 360582 h 4232411"/>
                <a:gd name="connsiteX99" fmla="*/ 4869899 w 5248218"/>
                <a:gd name="connsiteY99" fmla="*/ 366494 h 4232411"/>
                <a:gd name="connsiteX100" fmla="*/ 4875810 w 5248218"/>
                <a:gd name="connsiteY100" fmla="*/ 360582 h 4232411"/>
                <a:gd name="connsiteX101" fmla="*/ 4869899 w 5248218"/>
                <a:gd name="connsiteY101" fmla="*/ 354671 h 4232411"/>
                <a:gd name="connsiteX102" fmla="*/ 4863988 w 5248218"/>
                <a:gd name="connsiteY102" fmla="*/ 360582 h 4232411"/>
                <a:gd name="connsiteX103" fmla="*/ 4849211 w 5248218"/>
                <a:gd name="connsiteY103" fmla="*/ 1049235 h 4232411"/>
                <a:gd name="connsiteX104" fmla="*/ 4872856 w 5248218"/>
                <a:gd name="connsiteY104" fmla="*/ 1072879 h 4232411"/>
                <a:gd name="connsiteX105" fmla="*/ 4896501 w 5248218"/>
                <a:gd name="connsiteY105" fmla="*/ 1049235 h 4232411"/>
                <a:gd name="connsiteX106" fmla="*/ 4872856 w 5248218"/>
                <a:gd name="connsiteY106" fmla="*/ 1025590 h 4232411"/>
                <a:gd name="connsiteX107" fmla="*/ 4849211 w 5248218"/>
                <a:gd name="connsiteY107" fmla="*/ 1049235 h 4232411"/>
                <a:gd name="connsiteX108" fmla="*/ 4828521 w 5248218"/>
                <a:gd name="connsiteY108" fmla="*/ 537915 h 4232411"/>
                <a:gd name="connsiteX109" fmla="*/ 4831478 w 5248218"/>
                <a:gd name="connsiteY109" fmla="*/ 540872 h 4232411"/>
                <a:gd name="connsiteX110" fmla="*/ 4834432 w 5248218"/>
                <a:gd name="connsiteY110" fmla="*/ 537915 h 4232411"/>
                <a:gd name="connsiteX111" fmla="*/ 4831478 w 5248218"/>
                <a:gd name="connsiteY111" fmla="*/ 534961 h 4232411"/>
                <a:gd name="connsiteX112" fmla="*/ 4828521 w 5248218"/>
                <a:gd name="connsiteY112" fmla="*/ 537915 h 4232411"/>
                <a:gd name="connsiteX113" fmla="*/ 4825567 w 5248218"/>
                <a:gd name="connsiteY113" fmla="*/ 1536909 h 4232411"/>
                <a:gd name="connsiteX114" fmla="*/ 4855123 w 5248218"/>
                <a:gd name="connsiteY114" fmla="*/ 1566465 h 4232411"/>
                <a:gd name="connsiteX115" fmla="*/ 4884679 w 5248218"/>
                <a:gd name="connsiteY115" fmla="*/ 1536909 h 4232411"/>
                <a:gd name="connsiteX116" fmla="*/ 4855123 w 5248218"/>
                <a:gd name="connsiteY116" fmla="*/ 1507353 h 4232411"/>
                <a:gd name="connsiteX117" fmla="*/ 4825567 w 5248218"/>
                <a:gd name="connsiteY117" fmla="*/ 1536909 h 4232411"/>
                <a:gd name="connsiteX118" fmla="*/ 4801922 w 5248218"/>
                <a:gd name="connsiteY118" fmla="*/ 2580236 h 4232411"/>
                <a:gd name="connsiteX119" fmla="*/ 4807833 w 5248218"/>
                <a:gd name="connsiteY119" fmla="*/ 2586146 h 4232411"/>
                <a:gd name="connsiteX120" fmla="*/ 4813744 w 5248218"/>
                <a:gd name="connsiteY120" fmla="*/ 2580236 h 4232411"/>
                <a:gd name="connsiteX121" fmla="*/ 4807833 w 5248218"/>
                <a:gd name="connsiteY121" fmla="*/ 2574324 h 4232411"/>
                <a:gd name="connsiteX122" fmla="*/ 4801922 w 5248218"/>
                <a:gd name="connsiteY122" fmla="*/ 2580236 h 4232411"/>
                <a:gd name="connsiteX123" fmla="*/ 4790100 w 5248218"/>
                <a:gd name="connsiteY123" fmla="*/ 2293541 h 4232411"/>
                <a:gd name="connsiteX124" fmla="*/ 4801922 w 5248218"/>
                <a:gd name="connsiteY124" fmla="*/ 2305364 h 4232411"/>
                <a:gd name="connsiteX125" fmla="*/ 4813744 w 5248218"/>
                <a:gd name="connsiteY125" fmla="*/ 2293541 h 4232411"/>
                <a:gd name="connsiteX126" fmla="*/ 4801922 w 5248218"/>
                <a:gd name="connsiteY126" fmla="*/ 2281719 h 4232411"/>
                <a:gd name="connsiteX127" fmla="*/ 4790100 w 5248218"/>
                <a:gd name="connsiteY127" fmla="*/ 2293541 h 4232411"/>
                <a:gd name="connsiteX128" fmla="*/ 4775320 w 5248218"/>
                <a:gd name="connsiteY128" fmla="*/ 1211794 h 4232411"/>
                <a:gd name="connsiteX129" fmla="*/ 4801922 w 5248218"/>
                <a:gd name="connsiteY129" fmla="*/ 1238393 h 4232411"/>
                <a:gd name="connsiteX130" fmla="*/ 4828521 w 5248218"/>
                <a:gd name="connsiteY130" fmla="*/ 1211794 h 4232411"/>
                <a:gd name="connsiteX131" fmla="*/ 4801922 w 5248218"/>
                <a:gd name="connsiteY131" fmla="*/ 1185192 h 4232411"/>
                <a:gd name="connsiteX132" fmla="*/ 4775320 w 5248218"/>
                <a:gd name="connsiteY132" fmla="*/ 1211794 h 4232411"/>
                <a:gd name="connsiteX133" fmla="*/ 4772366 w 5248218"/>
                <a:gd name="connsiteY133" fmla="*/ 709343 h 4232411"/>
                <a:gd name="connsiteX134" fmla="*/ 4784188 w 5248218"/>
                <a:gd name="connsiteY134" fmla="*/ 721165 h 4232411"/>
                <a:gd name="connsiteX135" fmla="*/ 4796011 w 5248218"/>
                <a:gd name="connsiteY135" fmla="*/ 709343 h 4232411"/>
                <a:gd name="connsiteX136" fmla="*/ 4784188 w 5248218"/>
                <a:gd name="connsiteY136" fmla="*/ 697520 h 4232411"/>
                <a:gd name="connsiteX137" fmla="*/ 4772366 w 5248218"/>
                <a:gd name="connsiteY137" fmla="*/ 709343 h 4232411"/>
                <a:gd name="connsiteX138" fmla="*/ 4751678 w 5248218"/>
                <a:gd name="connsiteY138" fmla="*/ 1992071 h 4232411"/>
                <a:gd name="connsiteX139" fmla="*/ 4787146 w 5248218"/>
                <a:gd name="connsiteY139" fmla="*/ 2027538 h 4232411"/>
                <a:gd name="connsiteX140" fmla="*/ 4822613 w 5248218"/>
                <a:gd name="connsiteY140" fmla="*/ 1992071 h 4232411"/>
                <a:gd name="connsiteX141" fmla="*/ 4787146 w 5248218"/>
                <a:gd name="connsiteY141" fmla="*/ 1956604 h 4232411"/>
                <a:gd name="connsiteX142" fmla="*/ 4751678 w 5248218"/>
                <a:gd name="connsiteY142" fmla="*/ 1992071 h 4232411"/>
                <a:gd name="connsiteX143" fmla="*/ 4730988 w 5248218"/>
                <a:gd name="connsiteY143" fmla="*/ 1687646 h 4232411"/>
                <a:gd name="connsiteX144" fmla="*/ 4760544 w 5248218"/>
                <a:gd name="connsiteY144" fmla="*/ 1717202 h 4232411"/>
                <a:gd name="connsiteX145" fmla="*/ 4790100 w 5248218"/>
                <a:gd name="connsiteY145" fmla="*/ 1687646 h 4232411"/>
                <a:gd name="connsiteX146" fmla="*/ 4760544 w 5248218"/>
                <a:gd name="connsiteY146" fmla="*/ 1658090 h 4232411"/>
                <a:gd name="connsiteX147" fmla="*/ 4730988 w 5248218"/>
                <a:gd name="connsiteY147" fmla="*/ 1687646 h 4232411"/>
                <a:gd name="connsiteX148" fmla="*/ 4707343 w 5248218"/>
                <a:gd name="connsiteY148" fmla="*/ 880767 h 4232411"/>
                <a:gd name="connsiteX149" fmla="*/ 4728034 w 5248218"/>
                <a:gd name="connsiteY149" fmla="*/ 901455 h 4232411"/>
                <a:gd name="connsiteX150" fmla="*/ 4748721 w 5248218"/>
                <a:gd name="connsiteY150" fmla="*/ 880767 h 4232411"/>
                <a:gd name="connsiteX151" fmla="*/ 4728034 w 5248218"/>
                <a:gd name="connsiteY151" fmla="*/ 860076 h 4232411"/>
                <a:gd name="connsiteX152" fmla="*/ 4707343 w 5248218"/>
                <a:gd name="connsiteY152" fmla="*/ 880767 h 4232411"/>
                <a:gd name="connsiteX153" fmla="*/ 4692567 w 5248218"/>
                <a:gd name="connsiteY153" fmla="*/ 183247 h 4232411"/>
                <a:gd name="connsiteX154" fmla="*/ 4695521 w 5248218"/>
                <a:gd name="connsiteY154" fmla="*/ 186204 h 4232411"/>
                <a:gd name="connsiteX155" fmla="*/ 4698478 w 5248218"/>
                <a:gd name="connsiteY155" fmla="*/ 183247 h 4232411"/>
                <a:gd name="connsiteX156" fmla="*/ 4695521 w 5248218"/>
                <a:gd name="connsiteY156" fmla="*/ 180293 h 4232411"/>
                <a:gd name="connsiteX157" fmla="*/ 4692567 w 5248218"/>
                <a:gd name="connsiteY157" fmla="*/ 183247 h 4232411"/>
                <a:gd name="connsiteX158" fmla="*/ 4683698 w 5248218"/>
                <a:gd name="connsiteY158" fmla="*/ 1371396 h 4232411"/>
                <a:gd name="connsiteX159" fmla="*/ 4719165 w 5248218"/>
                <a:gd name="connsiteY159" fmla="*/ 1406863 h 4232411"/>
                <a:gd name="connsiteX160" fmla="*/ 4754632 w 5248218"/>
                <a:gd name="connsiteY160" fmla="*/ 1371396 h 4232411"/>
                <a:gd name="connsiteX161" fmla="*/ 4719165 w 5248218"/>
                <a:gd name="connsiteY161" fmla="*/ 1335929 h 4232411"/>
                <a:gd name="connsiteX162" fmla="*/ 4683698 w 5248218"/>
                <a:gd name="connsiteY162" fmla="*/ 1371396 h 4232411"/>
                <a:gd name="connsiteX163" fmla="*/ 4671876 w 5248218"/>
                <a:gd name="connsiteY163" fmla="*/ 2426542 h 4232411"/>
                <a:gd name="connsiteX164" fmla="*/ 4683698 w 5248218"/>
                <a:gd name="connsiteY164" fmla="*/ 2438364 h 4232411"/>
                <a:gd name="connsiteX165" fmla="*/ 4695521 w 5248218"/>
                <a:gd name="connsiteY165" fmla="*/ 2426542 h 4232411"/>
                <a:gd name="connsiteX166" fmla="*/ 4683698 w 5248218"/>
                <a:gd name="connsiteY166" fmla="*/ 2414719 h 4232411"/>
                <a:gd name="connsiteX167" fmla="*/ 4671876 w 5248218"/>
                <a:gd name="connsiteY167" fmla="*/ 2426542 h 4232411"/>
                <a:gd name="connsiteX168" fmla="*/ 4651185 w 5248218"/>
                <a:gd name="connsiteY168" fmla="*/ 1043326 h 4232411"/>
                <a:gd name="connsiteX169" fmla="*/ 4660053 w 5248218"/>
                <a:gd name="connsiteY169" fmla="*/ 1052192 h 4232411"/>
                <a:gd name="connsiteX170" fmla="*/ 4668919 w 5248218"/>
                <a:gd name="connsiteY170" fmla="*/ 1043326 h 4232411"/>
                <a:gd name="connsiteX171" fmla="*/ 4660053 w 5248218"/>
                <a:gd name="connsiteY171" fmla="*/ 1034458 h 4232411"/>
                <a:gd name="connsiteX172" fmla="*/ 4651185 w 5248218"/>
                <a:gd name="connsiteY172" fmla="*/ 1043326 h 4232411"/>
                <a:gd name="connsiteX173" fmla="*/ 4648231 w 5248218"/>
                <a:gd name="connsiteY173" fmla="*/ 2133939 h 4232411"/>
                <a:gd name="connsiteX174" fmla="*/ 4674830 w 5248218"/>
                <a:gd name="connsiteY174" fmla="*/ 2160541 h 4232411"/>
                <a:gd name="connsiteX175" fmla="*/ 4701432 w 5248218"/>
                <a:gd name="connsiteY175" fmla="*/ 2133939 h 4232411"/>
                <a:gd name="connsiteX176" fmla="*/ 4674830 w 5248218"/>
                <a:gd name="connsiteY176" fmla="*/ 2107340 h 4232411"/>
                <a:gd name="connsiteX177" fmla="*/ 4648231 w 5248218"/>
                <a:gd name="connsiteY177" fmla="*/ 2133939 h 4232411"/>
                <a:gd name="connsiteX178" fmla="*/ 4639366 w 5248218"/>
                <a:gd name="connsiteY178" fmla="*/ 1832469 h 4232411"/>
                <a:gd name="connsiteX179" fmla="*/ 4657099 w 5248218"/>
                <a:gd name="connsiteY179" fmla="*/ 1850202 h 4232411"/>
                <a:gd name="connsiteX180" fmla="*/ 4674833 w 5248218"/>
                <a:gd name="connsiteY180" fmla="*/ 1832469 h 4232411"/>
                <a:gd name="connsiteX181" fmla="*/ 4657099 w 5248218"/>
                <a:gd name="connsiteY181" fmla="*/ 1814735 h 4232411"/>
                <a:gd name="connsiteX182" fmla="*/ 4639366 w 5248218"/>
                <a:gd name="connsiteY182" fmla="*/ 1832469 h 4232411"/>
                <a:gd name="connsiteX183" fmla="*/ 4612764 w 5248218"/>
                <a:gd name="connsiteY183" fmla="*/ 1525090 h 4232411"/>
                <a:gd name="connsiteX184" fmla="*/ 4627543 w 5248218"/>
                <a:gd name="connsiteY184" fmla="*/ 1539866 h 4232411"/>
                <a:gd name="connsiteX185" fmla="*/ 4642320 w 5248218"/>
                <a:gd name="connsiteY185" fmla="*/ 1525090 h 4232411"/>
                <a:gd name="connsiteX186" fmla="*/ 4627543 w 5248218"/>
                <a:gd name="connsiteY186" fmla="*/ 1510310 h 4232411"/>
                <a:gd name="connsiteX187" fmla="*/ 4612764 w 5248218"/>
                <a:gd name="connsiteY187" fmla="*/ 1525090 h 4232411"/>
                <a:gd name="connsiteX188" fmla="*/ 4571386 w 5248218"/>
                <a:gd name="connsiteY188" fmla="*/ 706386 h 4232411"/>
                <a:gd name="connsiteX189" fmla="*/ 4577297 w 5248218"/>
                <a:gd name="connsiteY189" fmla="*/ 712297 h 4232411"/>
                <a:gd name="connsiteX190" fmla="*/ 4583208 w 5248218"/>
                <a:gd name="connsiteY190" fmla="*/ 706386 h 4232411"/>
                <a:gd name="connsiteX191" fmla="*/ 4577297 w 5248218"/>
                <a:gd name="connsiteY191" fmla="*/ 700474 h 4232411"/>
                <a:gd name="connsiteX192" fmla="*/ 4571386 w 5248218"/>
                <a:gd name="connsiteY192" fmla="*/ 706386 h 4232411"/>
                <a:gd name="connsiteX193" fmla="*/ 4562517 w 5248218"/>
                <a:gd name="connsiteY193" fmla="*/ 1205883 h 4232411"/>
                <a:gd name="connsiteX194" fmla="*/ 4580251 w 5248218"/>
                <a:gd name="connsiteY194" fmla="*/ 1223616 h 4232411"/>
                <a:gd name="connsiteX195" fmla="*/ 4597984 w 5248218"/>
                <a:gd name="connsiteY195" fmla="*/ 1205883 h 4232411"/>
                <a:gd name="connsiteX196" fmla="*/ 4580251 w 5248218"/>
                <a:gd name="connsiteY196" fmla="*/ 1188149 h 4232411"/>
                <a:gd name="connsiteX197" fmla="*/ 4562517 w 5248218"/>
                <a:gd name="connsiteY197" fmla="*/ 1205883 h 4232411"/>
                <a:gd name="connsiteX198" fmla="*/ 4538872 w 5248218"/>
                <a:gd name="connsiteY198" fmla="*/ 2828506 h 4232411"/>
                <a:gd name="connsiteX199" fmla="*/ 4550695 w 5248218"/>
                <a:gd name="connsiteY199" fmla="*/ 2840328 h 4232411"/>
                <a:gd name="connsiteX200" fmla="*/ 4562517 w 5248218"/>
                <a:gd name="connsiteY200" fmla="*/ 2828506 h 4232411"/>
                <a:gd name="connsiteX201" fmla="*/ 4550695 w 5248218"/>
                <a:gd name="connsiteY201" fmla="*/ 2816683 h 4232411"/>
                <a:gd name="connsiteX202" fmla="*/ 4538872 w 5248218"/>
                <a:gd name="connsiteY202" fmla="*/ 2828506 h 4232411"/>
                <a:gd name="connsiteX203" fmla="*/ 4532961 w 5248218"/>
                <a:gd name="connsiteY203" fmla="*/ 2553634 h 4232411"/>
                <a:gd name="connsiteX204" fmla="*/ 4556606 w 5248218"/>
                <a:gd name="connsiteY204" fmla="*/ 2577278 h 4232411"/>
                <a:gd name="connsiteX205" fmla="*/ 4580251 w 5248218"/>
                <a:gd name="connsiteY205" fmla="*/ 2553634 h 4232411"/>
                <a:gd name="connsiteX206" fmla="*/ 4556606 w 5248218"/>
                <a:gd name="connsiteY206" fmla="*/ 2529988 h 4232411"/>
                <a:gd name="connsiteX207" fmla="*/ 4532961 w 5248218"/>
                <a:gd name="connsiteY207" fmla="*/ 2553634 h 4232411"/>
                <a:gd name="connsiteX208" fmla="*/ 4521142 w 5248218"/>
                <a:gd name="connsiteY208" fmla="*/ 2269897 h 4232411"/>
                <a:gd name="connsiteX209" fmla="*/ 4556609 w 5248218"/>
                <a:gd name="connsiteY209" fmla="*/ 2305364 h 4232411"/>
                <a:gd name="connsiteX210" fmla="*/ 4592076 w 5248218"/>
                <a:gd name="connsiteY210" fmla="*/ 2269897 h 4232411"/>
                <a:gd name="connsiteX211" fmla="*/ 4556609 w 5248218"/>
                <a:gd name="connsiteY211" fmla="*/ 2234429 h 4232411"/>
                <a:gd name="connsiteX212" fmla="*/ 4521142 w 5248218"/>
                <a:gd name="connsiteY212" fmla="*/ 2269897 h 4232411"/>
                <a:gd name="connsiteX213" fmla="*/ 4521142 w 5248218"/>
                <a:gd name="connsiteY213" fmla="*/ 1974337 h 4232411"/>
                <a:gd name="connsiteX214" fmla="*/ 4547741 w 5248218"/>
                <a:gd name="connsiteY214" fmla="*/ 2000936 h 4232411"/>
                <a:gd name="connsiteX215" fmla="*/ 4574343 w 5248218"/>
                <a:gd name="connsiteY215" fmla="*/ 1974337 h 4232411"/>
                <a:gd name="connsiteX216" fmla="*/ 4547741 w 5248218"/>
                <a:gd name="connsiteY216" fmla="*/ 1947735 h 4232411"/>
                <a:gd name="connsiteX217" fmla="*/ 4521142 w 5248218"/>
                <a:gd name="connsiteY217" fmla="*/ 1974337 h 4232411"/>
                <a:gd name="connsiteX218" fmla="*/ 4512274 w 5248218"/>
                <a:gd name="connsiteY218" fmla="*/ 1672866 h 4232411"/>
                <a:gd name="connsiteX219" fmla="*/ 4530007 w 5248218"/>
                <a:gd name="connsiteY219" fmla="*/ 1690600 h 4232411"/>
                <a:gd name="connsiteX220" fmla="*/ 4547741 w 5248218"/>
                <a:gd name="connsiteY220" fmla="*/ 1672866 h 4232411"/>
                <a:gd name="connsiteX221" fmla="*/ 4530007 w 5248218"/>
                <a:gd name="connsiteY221" fmla="*/ 1655133 h 4232411"/>
                <a:gd name="connsiteX222" fmla="*/ 4512274 w 5248218"/>
                <a:gd name="connsiteY222" fmla="*/ 1672866 h 4232411"/>
                <a:gd name="connsiteX223" fmla="*/ 4506363 w 5248218"/>
                <a:gd name="connsiteY223" fmla="*/ 874856 h 4232411"/>
                <a:gd name="connsiteX224" fmla="*/ 4515231 w 5248218"/>
                <a:gd name="connsiteY224" fmla="*/ 883724 h 4232411"/>
                <a:gd name="connsiteX225" fmla="*/ 4524096 w 5248218"/>
                <a:gd name="connsiteY225" fmla="*/ 874856 h 4232411"/>
                <a:gd name="connsiteX226" fmla="*/ 4515231 w 5248218"/>
                <a:gd name="connsiteY226" fmla="*/ 865991 h 4232411"/>
                <a:gd name="connsiteX227" fmla="*/ 4506363 w 5248218"/>
                <a:gd name="connsiteY227" fmla="*/ 874856 h 4232411"/>
                <a:gd name="connsiteX228" fmla="*/ 4479761 w 5248218"/>
                <a:gd name="connsiteY228" fmla="*/ 1359577 h 4232411"/>
                <a:gd name="connsiteX229" fmla="*/ 4494540 w 5248218"/>
                <a:gd name="connsiteY229" fmla="*/ 1374353 h 4232411"/>
                <a:gd name="connsiteX230" fmla="*/ 4509317 w 5248218"/>
                <a:gd name="connsiteY230" fmla="*/ 1359577 h 4232411"/>
                <a:gd name="connsiteX231" fmla="*/ 4494540 w 5248218"/>
                <a:gd name="connsiteY231" fmla="*/ 1344797 h 4232411"/>
                <a:gd name="connsiteX232" fmla="*/ 4479761 w 5248218"/>
                <a:gd name="connsiteY232" fmla="*/ 1359577 h 4232411"/>
                <a:gd name="connsiteX233" fmla="*/ 4408829 w 5248218"/>
                <a:gd name="connsiteY233" fmla="*/ 1814735 h 4232411"/>
                <a:gd name="connsiteX234" fmla="*/ 4420652 w 5248218"/>
                <a:gd name="connsiteY234" fmla="*/ 1826557 h 4232411"/>
                <a:gd name="connsiteX235" fmla="*/ 4432474 w 5248218"/>
                <a:gd name="connsiteY235" fmla="*/ 1814735 h 4232411"/>
                <a:gd name="connsiteX236" fmla="*/ 4420652 w 5248218"/>
                <a:gd name="connsiteY236" fmla="*/ 1802913 h 4232411"/>
                <a:gd name="connsiteX237" fmla="*/ 4408829 w 5248218"/>
                <a:gd name="connsiteY237" fmla="*/ 1814735 h 4232411"/>
                <a:gd name="connsiteX238" fmla="*/ 4405872 w 5248218"/>
                <a:gd name="connsiteY238" fmla="*/ 2110294 h 4232411"/>
                <a:gd name="connsiteX239" fmla="*/ 4432474 w 5248218"/>
                <a:gd name="connsiteY239" fmla="*/ 2136896 h 4232411"/>
                <a:gd name="connsiteX240" fmla="*/ 4459073 w 5248218"/>
                <a:gd name="connsiteY240" fmla="*/ 2110294 h 4232411"/>
                <a:gd name="connsiteX241" fmla="*/ 4432474 w 5248218"/>
                <a:gd name="connsiteY241" fmla="*/ 2083696 h 4232411"/>
                <a:gd name="connsiteX242" fmla="*/ 4405872 w 5248218"/>
                <a:gd name="connsiteY242" fmla="*/ 2110294 h 4232411"/>
                <a:gd name="connsiteX243" fmla="*/ 4394050 w 5248218"/>
                <a:gd name="connsiteY243" fmla="*/ 2943772 h 4232411"/>
                <a:gd name="connsiteX244" fmla="*/ 4411783 w 5248218"/>
                <a:gd name="connsiteY244" fmla="*/ 2961506 h 4232411"/>
                <a:gd name="connsiteX245" fmla="*/ 4429517 w 5248218"/>
                <a:gd name="connsiteY245" fmla="*/ 2943772 h 4232411"/>
                <a:gd name="connsiteX246" fmla="*/ 4411783 w 5248218"/>
                <a:gd name="connsiteY246" fmla="*/ 2926038 h 4232411"/>
                <a:gd name="connsiteX247" fmla="*/ 4394050 w 5248218"/>
                <a:gd name="connsiteY247" fmla="*/ 2943772 h 4232411"/>
                <a:gd name="connsiteX248" fmla="*/ 4394050 w 5248218"/>
                <a:gd name="connsiteY248" fmla="*/ 2671857 h 4232411"/>
                <a:gd name="connsiteX249" fmla="*/ 4426563 w 5248218"/>
                <a:gd name="connsiteY249" fmla="*/ 2704370 h 4232411"/>
                <a:gd name="connsiteX250" fmla="*/ 4459073 w 5248218"/>
                <a:gd name="connsiteY250" fmla="*/ 2671857 h 4232411"/>
                <a:gd name="connsiteX251" fmla="*/ 4426563 w 5248218"/>
                <a:gd name="connsiteY251" fmla="*/ 2639347 h 4232411"/>
                <a:gd name="connsiteX252" fmla="*/ 4394050 w 5248218"/>
                <a:gd name="connsiteY252" fmla="*/ 2671857 h 4232411"/>
                <a:gd name="connsiteX253" fmla="*/ 4394050 w 5248218"/>
                <a:gd name="connsiteY253" fmla="*/ 2394031 h 4232411"/>
                <a:gd name="connsiteX254" fmla="*/ 4432474 w 5248218"/>
                <a:gd name="connsiteY254" fmla="*/ 2432452 h 4232411"/>
                <a:gd name="connsiteX255" fmla="*/ 4470895 w 5248218"/>
                <a:gd name="connsiteY255" fmla="*/ 2394031 h 4232411"/>
                <a:gd name="connsiteX256" fmla="*/ 4432474 w 5248218"/>
                <a:gd name="connsiteY256" fmla="*/ 2355607 h 4232411"/>
                <a:gd name="connsiteX257" fmla="*/ 4394050 w 5248218"/>
                <a:gd name="connsiteY257" fmla="*/ 2394031 h 4232411"/>
                <a:gd name="connsiteX258" fmla="*/ 4391093 w 5248218"/>
                <a:gd name="connsiteY258" fmla="*/ 1513264 h 4232411"/>
                <a:gd name="connsiteX259" fmla="*/ 4397004 w 5248218"/>
                <a:gd name="connsiteY259" fmla="*/ 1519176 h 4232411"/>
                <a:gd name="connsiteX260" fmla="*/ 4402915 w 5248218"/>
                <a:gd name="connsiteY260" fmla="*/ 1513264 h 4232411"/>
                <a:gd name="connsiteX261" fmla="*/ 4397004 w 5248218"/>
                <a:gd name="connsiteY261" fmla="*/ 1507353 h 4232411"/>
                <a:gd name="connsiteX262" fmla="*/ 4391093 w 5248218"/>
                <a:gd name="connsiteY262" fmla="*/ 1513264 h 4232411"/>
                <a:gd name="connsiteX263" fmla="*/ 4388139 w 5248218"/>
                <a:gd name="connsiteY263" fmla="*/ 3209776 h 4232411"/>
                <a:gd name="connsiteX264" fmla="*/ 4394050 w 5248218"/>
                <a:gd name="connsiteY264" fmla="*/ 3215686 h 4232411"/>
                <a:gd name="connsiteX265" fmla="*/ 4399961 w 5248218"/>
                <a:gd name="connsiteY265" fmla="*/ 3209776 h 4232411"/>
                <a:gd name="connsiteX266" fmla="*/ 4394050 w 5248218"/>
                <a:gd name="connsiteY266" fmla="*/ 3203864 h 4232411"/>
                <a:gd name="connsiteX267" fmla="*/ 4388139 w 5248218"/>
                <a:gd name="connsiteY267" fmla="*/ 3209776 h 4232411"/>
                <a:gd name="connsiteX268" fmla="*/ 4287649 w 5248218"/>
                <a:gd name="connsiteY268" fmla="*/ 1953649 h 4232411"/>
                <a:gd name="connsiteX269" fmla="*/ 4305382 w 5248218"/>
                <a:gd name="connsiteY269" fmla="*/ 1971383 h 4232411"/>
                <a:gd name="connsiteX270" fmla="*/ 4323116 w 5248218"/>
                <a:gd name="connsiteY270" fmla="*/ 1953649 h 4232411"/>
                <a:gd name="connsiteX271" fmla="*/ 4305382 w 5248218"/>
                <a:gd name="connsiteY271" fmla="*/ 1935916 h 4232411"/>
                <a:gd name="connsiteX272" fmla="*/ 4287649 w 5248218"/>
                <a:gd name="connsiteY272" fmla="*/ 1953649 h 4232411"/>
                <a:gd name="connsiteX273" fmla="*/ 4281737 w 5248218"/>
                <a:gd name="connsiteY273" fmla="*/ 2240341 h 4232411"/>
                <a:gd name="connsiteX274" fmla="*/ 4308339 w 5248218"/>
                <a:gd name="connsiteY274" fmla="*/ 2266939 h 4232411"/>
                <a:gd name="connsiteX275" fmla="*/ 4334938 w 5248218"/>
                <a:gd name="connsiteY275" fmla="*/ 2240341 h 4232411"/>
                <a:gd name="connsiteX276" fmla="*/ 4308339 w 5248218"/>
                <a:gd name="connsiteY276" fmla="*/ 2213739 h 4232411"/>
                <a:gd name="connsiteX277" fmla="*/ 4281737 w 5248218"/>
                <a:gd name="connsiteY277" fmla="*/ 2240341 h 4232411"/>
                <a:gd name="connsiteX278" fmla="*/ 4281737 w 5248218"/>
                <a:gd name="connsiteY278" fmla="*/ 1655133 h 4232411"/>
                <a:gd name="connsiteX279" fmla="*/ 4293560 w 5248218"/>
                <a:gd name="connsiteY279" fmla="*/ 1666955 h 4232411"/>
                <a:gd name="connsiteX280" fmla="*/ 4305382 w 5248218"/>
                <a:gd name="connsiteY280" fmla="*/ 1655133 h 4232411"/>
                <a:gd name="connsiteX281" fmla="*/ 4293560 w 5248218"/>
                <a:gd name="connsiteY281" fmla="*/ 1643311 h 4232411"/>
                <a:gd name="connsiteX282" fmla="*/ 4281737 w 5248218"/>
                <a:gd name="connsiteY282" fmla="*/ 1655133 h 4232411"/>
                <a:gd name="connsiteX283" fmla="*/ 4264004 w 5248218"/>
                <a:gd name="connsiteY283" fmla="*/ 3053130 h 4232411"/>
                <a:gd name="connsiteX284" fmla="*/ 4269915 w 5248218"/>
                <a:gd name="connsiteY284" fmla="*/ 3059042 h 4232411"/>
                <a:gd name="connsiteX285" fmla="*/ 4275826 w 5248218"/>
                <a:gd name="connsiteY285" fmla="*/ 3053130 h 4232411"/>
                <a:gd name="connsiteX286" fmla="*/ 4269915 w 5248218"/>
                <a:gd name="connsiteY286" fmla="*/ 3047219 h 4232411"/>
                <a:gd name="connsiteX287" fmla="*/ 4264004 w 5248218"/>
                <a:gd name="connsiteY287" fmla="*/ 3053130 h 4232411"/>
                <a:gd name="connsiteX288" fmla="*/ 4263264 w 5248218"/>
                <a:gd name="connsiteY288" fmla="*/ 1353292 h 4232411"/>
                <a:gd name="connsiteX289" fmla="*/ 4266958 w 5248218"/>
                <a:gd name="connsiteY289" fmla="*/ 1353662 h 4232411"/>
                <a:gd name="connsiteX290" fmla="*/ 4269915 w 5248218"/>
                <a:gd name="connsiteY290" fmla="*/ 1350705 h 4232411"/>
                <a:gd name="connsiteX291" fmla="*/ 4266958 w 5248218"/>
                <a:gd name="connsiteY291" fmla="*/ 1347751 h 4232411"/>
                <a:gd name="connsiteX292" fmla="*/ 4264004 w 5248218"/>
                <a:gd name="connsiteY292" fmla="*/ 1350705 h 4232411"/>
                <a:gd name="connsiteX293" fmla="*/ 4263264 w 5248218"/>
                <a:gd name="connsiteY293" fmla="*/ 1353292 h 4232411"/>
                <a:gd name="connsiteX294" fmla="*/ 4258093 w 5248218"/>
                <a:gd name="connsiteY294" fmla="*/ 2518166 h 4232411"/>
                <a:gd name="connsiteX295" fmla="*/ 4302428 w 5248218"/>
                <a:gd name="connsiteY295" fmla="*/ 2562498 h 4232411"/>
                <a:gd name="connsiteX296" fmla="*/ 4346760 w 5248218"/>
                <a:gd name="connsiteY296" fmla="*/ 2518166 h 4232411"/>
                <a:gd name="connsiteX297" fmla="*/ 4302428 w 5248218"/>
                <a:gd name="connsiteY297" fmla="*/ 2473831 h 4232411"/>
                <a:gd name="connsiteX298" fmla="*/ 4258093 w 5248218"/>
                <a:gd name="connsiteY298" fmla="*/ 2518166 h 4232411"/>
                <a:gd name="connsiteX299" fmla="*/ 4255139 w 5248218"/>
                <a:gd name="connsiteY299" fmla="*/ 2787127 h 4232411"/>
                <a:gd name="connsiteX300" fmla="*/ 4287649 w 5248218"/>
                <a:gd name="connsiteY300" fmla="*/ 2819637 h 4232411"/>
                <a:gd name="connsiteX301" fmla="*/ 4320162 w 5248218"/>
                <a:gd name="connsiteY301" fmla="*/ 2787127 h 4232411"/>
                <a:gd name="connsiteX302" fmla="*/ 4287649 w 5248218"/>
                <a:gd name="connsiteY302" fmla="*/ 2754614 h 4232411"/>
                <a:gd name="connsiteX303" fmla="*/ 4255139 w 5248218"/>
                <a:gd name="connsiteY303" fmla="*/ 2787127 h 4232411"/>
                <a:gd name="connsiteX304" fmla="*/ 4237405 w 5248218"/>
                <a:gd name="connsiteY304" fmla="*/ 3310266 h 4232411"/>
                <a:gd name="connsiteX305" fmla="*/ 4249227 w 5248218"/>
                <a:gd name="connsiteY305" fmla="*/ 3322088 h 4232411"/>
                <a:gd name="connsiteX306" fmla="*/ 4261050 w 5248218"/>
                <a:gd name="connsiteY306" fmla="*/ 3310266 h 4232411"/>
                <a:gd name="connsiteX307" fmla="*/ 4249227 w 5248218"/>
                <a:gd name="connsiteY307" fmla="*/ 3298443 h 4232411"/>
                <a:gd name="connsiteX308" fmla="*/ 4237405 w 5248218"/>
                <a:gd name="connsiteY308" fmla="*/ 3310266 h 4232411"/>
                <a:gd name="connsiteX309" fmla="*/ 4169425 w 5248218"/>
                <a:gd name="connsiteY309" fmla="*/ 1797004 h 4232411"/>
                <a:gd name="connsiteX310" fmla="*/ 4178293 w 5248218"/>
                <a:gd name="connsiteY310" fmla="*/ 1805870 h 4232411"/>
                <a:gd name="connsiteX311" fmla="*/ 4187158 w 5248218"/>
                <a:gd name="connsiteY311" fmla="*/ 1797004 h 4232411"/>
                <a:gd name="connsiteX312" fmla="*/ 4178293 w 5248218"/>
                <a:gd name="connsiteY312" fmla="*/ 1788136 h 4232411"/>
                <a:gd name="connsiteX313" fmla="*/ 4169425 w 5248218"/>
                <a:gd name="connsiteY313" fmla="*/ 1797004 h 4232411"/>
                <a:gd name="connsiteX314" fmla="*/ 4160560 w 5248218"/>
                <a:gd name="connsiteY314" fmla="*/ 2083696 h 4232411"/>
                <a:gd name="connsiteX315" fmla="*/ 4181250 w 5248218"/>
                <a:gd name="connsiteY315" fmla="*/ 2104383 h 4232411"/>
                <a:gd name="connsiteX316" fmla="*/ 4201938 w 5248218"/>
                <a:gd name="connsiteY316" fmla="*/ 2083696 h 4232411"/>
                <a:gd name="connsiteX317" fmla="*/ 4181250 w 5248218"/>
                <a:gd name="connsiteY317" fmla="*/ 2063005 h 4232411"/>
                <a:gd name="connsiteX318" fmla="*/ 4160560 w 5248218"/>
                <a:gd name="connsiteY318" fmla="*/ 2083696 h 4232411"/>
                <a:gd name="connsiteX319" fmla="*/ 4145780 w 5248218"/>
                <a:gd name="connsiteY319" fmla="*/ 2361518 h 4232411"/>
                <a:gd name="connsiteX320" fmla="*/ 4178293 w 5248218"/>
                <a:gd name="connsiteY320" fmla="*/ 2394031 h 4232411"/>
                <a:gd name="connsiteX321" fmla="*/ 4210803 w 5248218"/>
                <a:gd name="connsiteY321" fmla="*/ 2361518 h 4232411"/>
                <a:gd name="connsiteX322" fmla="*/ 4178293 w 5248218"/>
                <a:gd name="connsiteY322" fmla="*/ 2329008 h 4232411"/>
                <a:gd name="connsiteX323" fmla="*/ 4145780 w 5248218"/>
                <a:gd name="connsiteY323" fmla="*/ 2361518 h 4232411"/>
                <a:gd name="connsiteX324" fmla="*/ 4125089 w 5248218"/>
                <a:gd name="connsiteY324" fmla="*/ 2630479 h 4232411"/>
                <a:gd name="connsiteX325" fmla="*/ 4163514 w 5248218"/>
                <a:gd name="connsiteY325" fmla="*/ 2668900 h 4232411"/>
                <a:gd name="connsiteX326" fmla="*/ 4201935 w 5248218"/>
                <a:gd name="connsiteY326" fmla="*/ 2630479 h 4232411"/>
                <a:gd name="connsiteX327" fmla="*/ 4163514 w 5248218"/>
                <a:gd name="connsiteY327" fmla="*/ 2592054 h 4232411"/>
                <a:gd name="connsiteX328" fmla="*/ 4125089 w 5248218"/>
                <a:gd name="connsiteY328" fmla="*/ 2630479 h 4232411"/>
                <a:gd name="connsiteX329" fmla="*/ 4101448 w 5248218"/>
                <a:gd name="connsiteY329" fmla="*/ 2896486 h 4232411"/>
                <a:gd name="connsiteX330" fmla="*/ 4145783 w 5248218"/>
                <a:gd name="connsiteY330" fmla="*/ 2940818 h 4232411"/>
                <a:gd name="connsiteX331" fmla="*/ 4190115 w 5248218"/>
                <a:gd name="connsiteY331" fmla="*/ 2896486 h 4232411"/>
                <a:gd name="connsiteX332" fmla="*/ 4145783 w 5248218"/>
                <a:gd name="connsiteY332" fmla="*/ 2852150 h 4232411"/>
                <a:gd name="connsiteX333" fmla="*/ 4101448 w 5248218"/>
                <a:gd name="connsiteY333" fmla="*/ 2896486 h 4232411"/>
                <a:gd name="connsiteX334" fmla="*/ 4098490 w 5248218"/>
                <a:gd name="connsiteY334" fmla="*/ 3153618 h 4232411"/>
                <a:gd name="connsiteX335" fmla="*/ 4125089 w 5248218"/>
                <a:gd name="connsiteY335" fmla="*/ 3180220 h 4232411"/>
                <a:gd name="connsiteX336" fmla="*/ 4151691 w 5248218"/>
                <a:gd name="connsiteY336" fmla="*/ 3153618 h 4232411"/>
                <a:gd name="connsiteX337" fmla="*/ 4125089 w 5248218"/>
                <a:gd name="connsiteY337" fmla="*/ 3127018 h 4232411"/>
                <a:gd name="connsiteX338" fmla="*/ 4098490 w 5248218"/>
                <a:gd name="connsiteY338" fmla="*/ 3153618 h 4232411"/>
                <a:gd name="connsiteX339" fmla="*/ 4086668 w 5248218"/>
                <a:gd name="connsiteY339" fmla="*/ 3407798 h 4232411"/>
                <a:gd name="connsiteX340" fmla="*/ 4098490 w 5248218"/>
                <a:gd name="connsiteY340" fmla="*/ 3419621 h 4232411"/>
                <a:gd name="connsiteX341" fmla="*/ 4110313 w 5248218"/>
                <a:gd name="connsiteY341" fmla="*/ 3407798 h 4232411"/>
                <a:gd name="connsiteX342" fmla="*/ 4098490 w 5248218"/>
                <a:gd name="connsiteY342" fmla="*/ 3395976 h 4232411"/>
                <a:gd name="connsiteX343" fmla="*/ 4086668 w 5248218"/>
                <a:gd name="connsiteY343" fmla="*/ 3407798 h 4232411"/>
                <a:gd name="connsiteX344" fmla="*/ 4048247 w 5248218"/>
                <a:gd name="connsiteY344" fmla="*/ 1927048 h 4232411"/>
                <a:gd name="connsiteX345" fmla="*/ 4057115 w 5248218"/>
                <a:gd name="connsiteY345" fmla="*/ 1935913 h 4232411"/>
                <a:gd name="connsiteX346" fmla="*/ 4065980 w 5248218"/>
                <a:gd name="connsiteY346" fmla="*/ 1927048 h 4232411"/>
                <a:gd name="connsiteX347" fmla="*/ 4057115 w 5248218"/>
                <a:gd name="connsiteY347" fmla="*/ 1918179 h 4232411"/>
                <a:gd name="connsiteX348" fmla="*/ 4048247 w 5248218"/>
                <a:gd name="connsiteY348" fmla="*/ 1927048 h 4232411"/>
                <a:gd name="connsiteX349" fmla="*/ 4048247 w 5248218"/>
                <a:gd name="connsiteY349" fmla="*/ 1637399 h 4232411"/>
                <a:gd name="connsiteX350" fmla="*/ 4051201 w 5248218"/>
                <a:gd name="connsiteY350" fmla="*/ 1640356 h 4232411"/>
                <a:gd name="connsiteX351" fmla="*/ 4054158 w 5248218"/>
                <a:gd name="connsiteY351" fmla="*/ 1637399 h 4232411"/>
                <a:gd name="connsiteX352" fmla="*/ 4051201 w 5248218"/>
                <a:gd name="connsiteY352" fmla="*/ 1634445 h 4232411"/>
                <a:gd name="connsiteX353" fmla="*/ 4048247 w 5248218"/>
                <a:gd name="connsiteY353" fmla="*/ 1637399 h 4232411"/>
                <a:gd name="connsiteX354" fmla="*/ 4036421 w 5248218"/>
                <a:gd name="connsiteY354" fmla="*/ 2204873 h 4232411"/>
                <a:gd name="connsiteX355" fmla="*/ 4054155 w 5248218"/>
                <a:gd name="connsiteY355" fmla="*/ 2222607 h 4232411"/>
                <a:gd name="connsiteX356" fmla="*/ 4071889 w 5248218"/>
                <a:gd name="connsiteY356" fmla="*/ 2204873 h 4232411"/>
                <a:gd name="connsiteX357" fmla="*/ 4054155 w 5248218"/>
                <a:gd name="connsiteY357" fmla="*/ 2187140 h 4232411"/>
                <a:gd name="connsiteX358" fmla="*/ 4036421 w 5248218"/>
                <a:gd name="connsiteY358" fmla="*/ 2204873 h 4232411"/>
                <a:gd name="connsiteX359" fmla="*/ 4030510 w 5248218"/>
                <a:gd name="connsiteY359" fmla="*/ 1335928 h 4232411"/>
                <a:gd name="connsiteX360" fmla="*/ 4033467 w 5248218"/>
                <a:gd name="connsiteY360" fmla="*/ 1338886 h 4232411"/>
                <a:gd name="connsiteX361" fmla="*/ 4036421 w 5248218"/>
                <a:gd name="connsiteY361" fmla="*/ 1335928 h 4232411"/>
                <a:gd name="connsiteX362" fmla="*/ 4033467 w 5248218"/>
                <a:gd name="connsiteY362" fmla="*/ 1332974 h 4232411"/>
                <a:gd name="connsiteX363" fmla="*/ 4030510 w 5248218"/>
                <a:gd name="connsiteY363" fmla="*/ 1335928 h 4232411"/>
                <a:gd name="connsiteX364" fmla="*/ 3995046 w 5248218"/>
                <a:gd name="connsiteY364" fmla="*/ 2476791 h 4232411"/>
                <a:gd name="connsiteX365" fmla="*/ 4039382 w 5248218"/>
                <a:gd name="connsiteY365" fmla="*/ 2521124 h 4232411"/>
                <a:gd name="connsiteX366" fmla="*/ 4083714 w 5248218"/>
                <a:gd name="connsiteY366" fmla="*/ 2476791 h 4232411"/>
                <a:gd name="connsiteX367" fmla="*/ 4039382 w 5248218"/>
                <a:gd name="connsiteY367" fmla="*/ 2432456 h 4232411"/>
                <a:gd name="connsiteX368" fmla="*/ 3995046 w 5248218"/>
                <a:gd name="connsiteY368" fmla="*/ 2476791 h 4232411"/>
                <a:gd name="connsiteX369" fmla="*/ 3968444 w 5248218"/>
                <a:gd name="connsiteY369" fmla="*/ 2742792 h 4232411"/>
                <a:gd name="connsiteX370" fmla="*/ 4021645 w 5248218"/>
                <a:gd name="connsiteY370" fmla="*/ 2795992 h 4232411"/>
                <a:gd name="connsiteX371" fmla="*/ 4074846 w 5248218"/>
                <a:gd name="connsiteY371" fmla="*/ 2742792 h 4232411"/>
                <a:gd name="connsiteX372" fmla="*/ 4021645 w 5248218"/>
                <a:gd name="connsiteY372" fmla="*/ 2689591 h 4232411"/>
                <a:gd name="connsiteX373" fmla="*/ 3968444 w 5248218"/>
                <a:gd name="connsiteY373" fmla="*/ 2742792 h 4232411"/>
                <a:gd name="connsiteX374" fmla="*/ 3953668 w 5248218"/>
                <a:gd name="connsiteY374" fmla="*/ 2999930 h 4232411"/>
                <a:gd name="connsiteX375" fmla="*/ 3998003 w 5248218"/>
                <a:gd name="connsiteY375" fmla="*/ 3044262 h 4232411"/>
                <a:gd name="connsiteX376" fmla="*/ 4042336 w 5248218"/>
                <a:gd name="connsiteY376" fmla="*/ 2999930 h 4232411"/>
                <a:gd name="connsiteX377" fmla="*/ 3998003 w 5248218"/>
                <a:gd name="connsiteY377" fmla="*/ 2955594 h 4232411"/>
                <a:gd name="connsiteX378" fmla="*/ 3953668 w 5248218"/>
                <a:gd name="connsiteY378" fmla="*/ 2999930 h 4232411"/>
                <a:gd name="connsiteX379" fmla="*/ 3932977 w 5248218"/>
                <a:gd name="connsiteY379" fmla="*/ 3248196 h 4232411"/>
                <a:gd name="connsiteX380" fmla="*/ 3971401 w 5248218"/>
                <a:gd name="connsiteY380" fmla="*/ 3286621 h 4232411"/>
                <a:gd name="connsiteX381" fmla="*/ 4009823 w 5248218"/>
                <a:gd name="connsiteY381" fmla="*/ 3248196 h 4232411"/>
                <a:gd name="connsiteX382" fmla="*/ 3971401 w 5248218"/>
                <a:gd name="connsiteY382" fmla="*/ 3209776 h 4232411"/>
                <a:gd name="connsiteX383" fmla="*/ 3932977 w 5248218"/>
                <a:gd name="connsiteY383" fmla="*/ 3248196 h 4232411"/>
                <a:gd name="connsiteX384" fmla="*/ 3930023 w 5248218"/>
                <a:gd name="connsiteY384" fmla="*/ 3496466 h 4232411"/>
                <a:gd name="connsiteX385" fmla="*/ 3941846 w 5248218"/>
                <a:gd name="connsiteY385" fmla="*/ 3508289 h 4232411"/>
                <a:gd name="connsiteX386" fmla="*/ 3953668 w 5248218"/>
                <a:gd name="connsiteY386" fmla="*/ 3496466 h 4232411"/>
                <a:gd name="connsiteX387" fmla="*/ 3941846 w 5248218"/>
                <a:gd name="connsiteY387" fmla="*/ 3484644 h 4232411"/>
                <a:gd name="connsiteX388" fmla="*/ 3930023 w 5248218"/>
                <a:gd name="connsiteY388" fmla="*/ 3496466 h 4232411"/>
                <a:gd name="connsiteX389" fmla="*/ 3924112 w 5248218"/>
                <a:gd name="connsiteY389" fmla="*/ 1767448 h 4232411"/>
                <a:gd name="connsiteX390" fmla="*/ 3932977 w 5248218"/>
                <a:gd name="connsiteY390" fmla="*/ 1776314 h 4232411"/>
                <a:gd name="connsiteX391" fmla="*/ 3941846 w 5248218"/>
                <a:gd name="connsiteY391" fmla="*/ 1767448 h 4232411"/>
                <a:gd name="connsiteX392" fmla="*/ 3932977 w 5248218"/>
                <a:gd name="connsiteY392" fmla="*/ 1758580 h 4232411"/>
                <a:gd name="connsiteX393" fmla="*/ 3924112 w 5248218"/>
                <a:gd name="connsiteY393" fmla="*/ 1767448 h 4232411"/>
                <a:gd name="connsiteX394" fmla="*/ 3921155 w 5248218"/>
                <a:gd name="connsiteY394" fmla="*/ 1477797 h 4232411"/>
                <a:gd name="connsiteX395" fmla="*/ 3924112 w 5248218"/>
                <a:gd name="connsiteY395" fmla="*/ 1480751 h 4232411"/>
                <a:gd name="connsiteX396" fmla="*/ 3927066 w 5248218"/>
                <a:gd name="connsiteY396" fmla="*/ 1477797 h 4232411"/>
                <a:gd name="connsiteX397" fmla="*/ 3924112 w 5248218"/>
                <a:gd name="connsiteY397" fmla="*/ 1474840 h 4232411"/>
                <a:gd name="connsiteX398" fmla="*/ 3921155 w 5248218"/>
                <a:gd name="connsiteY398" fmla="*/ 1477797 h 4232411"/>
                <a:gd name="connsiteX399" fmla="*/ 3909332 w 5248218"/>
                <a:gd name="connsiteY399" fmla="*/ 2048225 h 4232411"/>
                <a:gd name="connsiteX400" fmla="*/ 3927066 w 5248218"/>
                <a:gd name="connsiteY400" fmla="*/ 2065959 h 4232411"/>
                <a:gd name="connsiteX401" fmla="*/ 3944800 w 5248218"/>
                <a:gd name="connsiteY401" fmla="*/ 2048225 h 4232411"/>
                <a:gd name="connsiteX402" fmla="*/ 3927066 w 5248218"/>
                <a:gd name="connsiteY402" fmla="*/ 2030492 h 4232411"/>
                <a:gd name="connsiteX403" fmla="*/ 3909332 w 5248218"/>
                <a:gd name="connsiteY403" fmla="*/ 2048225 h 4232411"/>
                <a:gd name="connsiteX404" fmla="*/ 3882731 w 5248218"/>
                <a:gd name="connsiteY404" fmla="*/ 2323100 h 4232411"/>
                <a:gd name="connsiteX405" fmla="*/ 3915244 w 5248218"/>
                <a:gd name="connsiteY405" fmla="*/ 2355610 h 4232411"/>
                <a:gd name="connsiteX406" fmla="*/ 3947754 w 5248218"/>
                <a:gd name="connsiteY406" fmla="*/ 2323100 h 4232411"/>
                <a:gd name="connsiteX407" fmla="*/ 3915244 w 5248218"/>
                <a:gd name="connsiteY407" fmla="*/ 2290587 h 4232411"/>
                <a:gd name="connsiteX408" fmla="*/ 3882731 w 5248218"/>
                <a:gd name="connsiteY408" fmla="*/ 2323100 h 4232411"/>
                <a:gd name="connsiteX409" fmla="*/ 3853175 w 5248218"/>
                <a:gd name="connsiteY409" fmla="*/ 2583190 h 4232411"/>
                <a:gd name="connsiteX410" fmla="*/ 3897510 w 5248218"/>
                <a:gd name="connsiteY410" fmla="*/ 2627522 h 4232411"/>
                <a:gd name="connsiteX411" fmla="*/ 3941842 w 5248218"/>
                <a:gd name="connsiteY411" fmla="*/ 2583190 h 4232411"/>
                <a:gd name="connsiteX412" fmla="*/ 3897510 w 5248218"/>
                <a:gd name="connsiteY412" fmla="*/ 2538854 h 4232411"/>
                <a:gd name="connsiteX413" fmla="*/ 3853175 w 5248218"/>
                <a:gd name="connsiteY413" fmla="*/ 2583190 h 4232411"/>
                <a:gd name="connsiteX414" fmla="*/ 3829530 w 5248218"/>
                <a:gd name="connsiteY414" fmla="*/ 2843282 h 4232411"/>
                <a:gd name="connsiteX415" fmla="*/ 3873865 w 5248218"/>
                <a:gd name="connsiteY415" fmla="*/ 2887614 h 4232411"/>
                <a:gd name="connsiteX416" fmla="*/ 3918198 w 5248218"/>
                <a:gd name="connsiteY416" fmla="*/ 2843282 h 4232411"/>
                <a:gd name="connsiteX417" fmla="*/ 3873865 w 5248218"/>
                <a:gd name="connsiteY417" fmla="*/ 2798946 h 4232411"/>
                <a:gd name="connsiteX418" fmla="*/ 3829530 w 5248218"/>
                <a:gd name="connsiteY418" fmla="*/ 2843282 h 4232411"/>
                <a:gd name="connsiteX419" fmla="*/ 3805888 w 5248218"/>
                <a:gd name="connsiteY419" fmla="*/ 3094509 h 4232411"/>
                <a:gd name="connsiteX420" fmla="*/ 3847267 w 5248218"/>
                <a:gd name="connsiteY420" fmla="*/ 3135887 h 4232411"/>
                <a:gd name="connsiteX421" fmla="*/ 3888645 w 5248218"/>
                <a:gd name="connsiteY421" fmla="*/ 3094509 h 4232411"/>
                <a:gd name="connsiteX422" fmla="*/ 3847267 w 5248218"/>
                <a:gd name="connsiteY422" fmla="*/ 3053130 h 4232411"/>
                <a:gd name="connsiteX423" fmla="*/ 3805888 w 5248218"/>
                <a:gd name="connsiteY423" fmla="*/ 3094509 h 4232411"/>
                <a:gd name="connsiteX424" fmla="*/ 3799974 w 5248218"/>
                <a:gd name="connsiteY424" fmla="*/ 1610800 h 4232411"/>
                <a:gd name="connsiteX425" fmla="*/ 3805885 w 5248218"/>
                <a:gd name="connsiteY425" fmla="*/ 1616712 h 4232411"/>
                <a:gd name="connsiteX426" fmla="*/ 3811796 w 5248218"/>
                <a:gd name="connsiteY426" fmla="*/ 1610800 h 4232411"/>
                <a:gd name="connsiteX427" fmla="*/ 3805885 w 5248218"/>
                <a:gd name="connsiteY427" fmla="*/ 1604889 h 4232411"/>
                <a:gd name="connsiteX428" fmla="*/ 3799974 w 5248218"/>
                <a:gd name="connsiteY428" fmla="*/ 1610800 h 4232411"/>
                <a:gd name="connsiteX429" fmla="*/ 3791109 w 5248218"/>
                <a:gd name="connsiteY429" fmla="*/ 1894534 h 4232411"/>
                <a:gd name="connsiteX430" fmla="*/ 3802931 w 5248218"/>
                <a:gd name="connsiteY430" fmla="*/ 1906357 h 4232411"/>
                <a:gd name="connsiteX431" fmla="*/ 3814753 w 5248218"/>
                <a:gd name="connsiteY431" fmla="*/ 1894534 h 4232411"/>
                <a:gd name="connsiteX432" fmla="*/ 3802931 w 5248218"/>
                <a:gd name="connsiteY432" fmla="*/ 1882712 h 4232411"/>
                <a:gd name="connsiteX433" fmla="*/ 3791109 w 5248218"/>
                <a:gd name="connsiteY433" fmla="*/ 1894534 h 4232411"/>
                <a:gd name="connsiteX434" fmla="*/ 3782243 w 5248218"/>
                <a:gd name="connsiteY434" fmla="*/ 3336864 h 4232411"/>
                <a:gd name="connsiteX435" fmla="*/ 3817711 w 5248218"/>
                <a:gd name="connsiteY435" fmla="*/ 3372332 h 4232411"/>
                <a:gd name="connsiteX436" fmla="*/ 3853178 w 5248218"/>
                <a:gd name="connsiteY436" fmla="*/ 3336864 h 4232411"/>
                <a:gd name="connsiteX437" fmla="*/ 3817711 w 5248218"/>
                <a:gd name="connsiteY437" fmla="*/ 3301397 h 4232411"/>
                <a:gd name="connsiteX438" fmla="*/ 3782243 w 5248218"/>
                <a:gd name="connsiteY438" fmla="*/ 3336864 h 4232411"/>
                <a:gd name="connsiteX439" fmla="*/ 3773375 w 5248218"/>
                <a:gd name="connsiteY439" fmla="*/ 2166449 h 4232411"/>
                <a:gd name="connsiteX440" fmla="*/ 3791109 w 5248218"/>
                <a:gd name="connsiteY440" fmla="*/ 2184182 h 4232411"/>
                <a:gd name="connsiteX441" fmla="*/ 3808842 w 5248218"/>
                <a:gd name="connsiteY441" fmla="*/ 2166449 h 4232411"/>
                <a:gd name="connsiteX442" fmla="*/ 3791109 w 5248218"/>
                <a:gd name="connsiteY442" fmla="*/ 2148716 h 4232411"/>
                <a:gd name="connsiteX443" fmla="*/ 3773375 w 5248218"/>
                <a:gd name="connsiteY443" fmla="*/ 2166449 h 4232411"/>
                <a:gd name="connsiteX444" fmla="*/ 3755642 w 5248218"/>
                <a:gd name="connsiteY444" fmla="*/ 3579226 h 4232411"/>
                <a:gd name="connsiteX445" fmla="*/ 3785197 w 5248218"/>
                <a:gd name="connsiteY445" fmla="*/ 3608782 h 4232411"/>
                <a:gd name="connsiteX446" fmla="*/ 3814753 w 5248218"/>
                <a:gd name="connsiteY446" fmla="*/ 3579226 h 4232411"/>
                <a:gd name="connsiteX447" fmla="*/ 3785197 w 5248218"/>
                <a:gd name="connsiteY447" fmla="*/ 3549670 h 4232411"/>
                <a:gd name="connsiteX448" fmla="*/ 3755642 w 5248218"/>
                <a:gd name="connsiteY448" fmla="*/ 3579226 h 4232411"/>
                <a:gd name="connsiteX449" fmla="*/ 3740862 w 5248218"/>
                <a:gd name="connsiteY449" fmla="*/ 2429498 h 4232411"/>
                <a:gd name="connsiteX450" fmla="*/ 3773375 w 5248218"/>
                <a:gd name="connsiteY450" fmla="*/ 2462012 h 4232411"/>
                <a:gd name="connsiteX451" fmla="*/ 3805885 w 5248218"/>
                <a:gd name="connsiteY451" fmla="*/ 2429498 h 4232411"/>
                <a:gd name="connsiteX452" fmla="*/ 3773375 w 5248218"/>
                <a:gd name="connsiteY452" fmla="*/ 2396988 h 4232411"/>
                <a:gd name="connsiteX453" fmla="*/ 3740862 w 5248218"/>
                <a:gd name="connsiteY453" fmla="*/ 2429498 h 4232411"/>
                <a:gd name="connsiteX454" fmla="*/ 3702441 w 5248218"/>
                <a:gd name="connsiteY454" fmla="*/ 2686636 h 4232411"/>
                <a:gd name="connsiteX455" fmla="*/ 3749730 w 5248218"/>
                <a:gd name="connsiteY455" fmla="*/ 2733926 h 4232411"/>
                <a:gd name="connsiteX456" fmla="*/ 3797020 w 5248218"/>
                <a:gd name="connsiteY456" fmla="*/ 2686636 h 4232411"/>
                <a:gd name="connsiteX457" fmla="*/ 3749730 w 5248218"/>
                <a:gd name="connsiteY457" fmla="*/ 2639347 h 4232411"/>
                <a:gd name="connsiteX458" fmla="*/ 3702441 w 5248218"/>
                <a:gd name="connsiteY458" fmla="*/ 2686636 h 4232411"/>
                <a:gd name="connsiteX459" fmla="*/ 3675839 w 5248218"/>
                <a:gd name="connsiteY459" fmla="*/ 1737890 h 4232411"/>
                <a:gd name="connsiteX460" fmla="*/ 3678796 w 5248218"/>
                <a:gd name="connsiteY460" fmla="*/ 1740844 h 4232411"/>
                <a:gd name="connsiteX461" fmla="*/ 3681750 w 5248218"/>
                <a:gd name="connsiteY461" fmla="*/ 1737890 h 4232411"/>
                <a:gd name="connsiteX462" fmla="*/ 3678796 w 5248218"/>
                <a:gd name="connsiteY462" fmla="*/ 1734932 h 4232411"/>
                <a:gd name="connsiteX463" fmla="*/ 3675839 w 5248218"/>
                <a:gd name="connsiteY463" fmla="*/ 1737890 h 4232411"/>
                <a:gd name="connsiteX464" fmla="*/ 3675839 w 5248218"/>
                <a:gd name="connsiteY464" fmla="*/ 1454152 h 4232411"/>
                <a:gd name="connsiteX465" fmla="*/ 3681750 w 5248218"/>
                <a:gd name="connsiteY465" fmla="*/ 1460064 h 4232411"/>
                <a:gd name="connsiteX466" fmla="*/ 3687661 w 5248218"/>
                <a:gd name="connsiteY466" fmla="*/ 1454152 h 4232411"/>
                <a:gd name="connsiteX467" fmla="*/ 3681750 w 5248218"/>
                <a:gd name="connsiteY467" fmla="*/ 1448241 h 4232411"/>
                <a:gd name="connsiteX468" fmla="*/ 3675839 w 5248218"/>
                <a:gd name="connsiteY468" fmla="*/ 1454152 h 4232411"/>
                <a:gd name="connsiteX469" fmla="*/ 3666974 w 5248218"/>
                <a:gd name="connsiteY469" fmla="*/ 2934906 h 4232411"/>
                <a:gd name="connsiteX470" fmla="*/ 3720174 w 5248218"/>
                <a:gd name="connsiteY470" fmla="*/ 2988108 h 4232411"/>
                <a:gd name="connsiteX471" fmla="*/ 3773375 w 5248218"/>
                <a:gd name="connsiteY471" fmla="*/ 2934906 h 4232411"/>
                <a:gd name="connsiteX472" fmla="*/ 3720174 w 5248218"/>
                <a:gd name="connsiteY472" fmla="*/ 2881706 h 4232411"/>
                <a:gd name="connsiteX473" fmla="*/ 3666974 w 5248218"/>
                <a:gd name="connsiteY473" fmla="*/ 2934906 h 4232411"/>
                <a:gd name="connsiteX474" fmla="*/ 3658108 w 5248218"/>
                <a:gd name="connsiteY474" fmla="*/ 2009804 h 4232411"/>
                <a:gd name="connsiteX475" fmla="*/ 3666974 w 5248218"/>
                <a:gd name="connsiteY475" fmla="*/ 2018669 h 4232411"/>
                <a:gd name="connsiteX476" fmla="*/ 3675842 w 5248218"/>
                <a:gd name="connsiteY476" fmla="*/ 2009804 h 4232411"/>
                <a:gd name="connsiteX477" fmla="*/ 3666974 w 5248218"/>
                <a:gd name="connsiteY477" fmla="*/ 2000936 h 4232411"/>
                <a:gd name="connsiteX478" fmla="*/ 3658108 w 5248218"/>
                <a:gd name="connsiteY478" fmla="*/ 2009804 h 4232411"/>
                <a:gd name="connsiteX479" fmla="*/ 3649240 w 5248218"/>
                <a:gd name="connsiteY479" fmla="*/ 3180220 h 4232411"/>
                <a:gd name="connsiteX480" fmla="*/ 3690618 w 5248218"/>
                <a:gd name="connsiteY480" fmla="*/ 3221598 h 4232411"/>
                <a:gd name="connsiteX481" fmla="*/ 3731997 w 5248218"/>
                <a:gd name="connsiteY481" fmla="*/ 3180220 h 4232411"/>
                <a:gd name="connsiteX482" fmla="*/ 3690618 w 5248218"/>
                <a:gd name="connsiteY482" fmla="*/ 3138841 h 4232411"/>
                <a:gd name="connsiteX483" fmla="*/ 3649240 w 5248218"/>
                <a:gd name="connsiteY483" fmla="*/ 3180220 h 4232411"/>
                <a:gd name="connsiteX484" fmla="*/ 3622638 w 5248218"/>
                <a:gd name="connsiteY484" fmla="*/ 2269896 h 4232411"/>
                <a:gd name="connsiteX485" fmla="*/ 3649240 w 5248218"/>
                <a:gd name="connsiteY485" fmla="*/ 2296495 h 4232411"/>
                <a:gd name="connsiteX486" fmla="*/ 3675839 w 5248218"/>
                <a:gd name="connsiteY486" fmla="*/ 2269896 h 4232411"/>
                <a:gd name="connsiteX487" fmla="*/ 3649240 w 5248218"/>
                <a:gd name="connsiteY487" fmla="*/ 2243294 h 4232411"/>
                <a:gd name="connsiteX488" fmla="*/ 3622638 w 5248218"/>
                <a:gd name="connsiteY488" fmla="*/ 2269896 h 4232411"/>
                <a:gd name="connsiteX489" fmla="*/ 3613773 w 5248218"/>
                <a:gd name="connsiteY489" fmla="*/ 3656072 h 4232411"/>
                <a:gd name="connsiteX490" fmla="*/ 3622641 w 5248218"/>
                <a:gd name="connsiteY490" fmla="*/ 3664937 h 4232411"/>
                <a:gd name="connsiteX491" fmla="*/ 3631507 w 5248218"/>
                <a:gd name="connsiteY491" fmla="*/ 3656072 h 4232411"/>
                <a:gd name="connsiteX492" fmla="*/ 3622641 w 5248218"/>
                <a:gd name="connsiteY492" fmla="*/ 3647204 h 4232411"/>
                <a:gd name="connsiteX493" fmla="*/ 3613773 w 5248218"/>
                <a:gd name="connsiteY493" fmla="*/ 3656072 h 4232411"/>
                <a:gd name="connsiteX494" fmla="*/ 3610819 w 5248218"/>
                <a:gd name="connsiteY494" fmla="*/ 3419624 h 4232411"/>
                <a:gd name="connsiteX495" fmla="*/ 3658108 w 5248218"/>
                <a:gd name="connsiteY495" fmla="*/ 3466914 h 4232411"/>
                <a:gd name="connsiteX496" fmla="*/ 3705398 w 5248218"/>
                <a:gd name="connsiteY496" fmla="*/ 3419624 h 4232411"/>
                <a:gd name="connsiteX497" fmla="*/ 3658108 w 5248218"/>
                <a:gd name="connsiteY497" fmla="*/ 3372334 h 4232411"/>
                <a:gd name="connsiteX498" fmla="*/ 3610819 w 5248218"/>
                <a:gd name="connsiteY498" fmla="*/ 3419624 h 4232411"/>
                <a:gd name="connsiteX499" fmla="*/ 3593082 w 5248218"/>
                <a:gd name="connsiteY499" fmla="*/ 2529992 h 4232411"/>
                <a:gd name="connsiteX500" fmla="*/ 3625595 w 5248218"/>
                <a:gd name="connsiteY500" fmla="*/ 2562502 h 4232411"/>
                <a:gd name="connsiteX501" fmla="*/ 3658105 w 5248218"/>
                <a:gd name="connsiteY501" fmla="*/ 2529992 h 4232411"/>
                <a:gd name="connsiteX502" fmla="*/ 3625595 w 5248218"/>
                <a:gd name="connsiteY502" fmla="*/ 2497478 h 4232411"/>
                <a:gd name="connsiteX503" fmla="*/ 3593082 w 5248218"/>
                <a:gd name="connsiteY503" fmla="*/ 2529992 h 4232411"/>
                <a:gd name="connsiteX504" fmla="*/ 3551707 w 5248218"/>
                <a:gd name="connsiteY504" fmla="*/ 1297504 h 4232411"/>
                <a:gd name="connsiteX505" fmla="*/ 3554664 w 5248218"/>
                <a:gd name="connsiteY505" fmla="*/ 1300462 h 4232411"/>
                <a:gd name="connsiteX506" fmla="*/ 3557618 w 5248218"/>
                <a:gd name="connsiteY506" fmla="*/ 1297504 h 4232411"/>
                <a:gd name="connsiteX507" fmla="*/ 3554664 w 5248218"/>
                <a:gd name="connsiteY507" fmla="*/ 1294550 h 4232411"/>
                <a:gd name="connsiteX508" fmla="*/ 3551707 w 5248218"/>
                <a:gd name="connsiteY508" fmla="*/ 1297504 h 4232411"/>
                <a:gd name="connsiteX509" fmla="*/ 3548750 w 5248218"/>
                <a:gd name="connsiteY509" fmla="*/ 1581244 h 4232411"/>
                <a:gd name="connsiteX510" fmla="*/ 3554661 w 5248218"/>
                <a:gd name="connsiteY510" fmla="*/ 1587156 h 4232411"/>
                <a:gd name="connsiteX511" fmla="*/ 3560572 w 5248218"/>
                <a:gd name="connsiteY511" fmla="*/ 1581244 h 4232411"/>
                <a:gd name="connsiteX512" fmla="*/ 3554661 w 5248218"/>
                <a:gd name="connsiteY512" fmla="*/ 1575333 h 4232411"/>
                <a:gd name="connsiteX513" fmla="*/ 3548750 w 5248218"/>
                <a:gd name="connsiteY513" fmla="*/ 1581244 h 4232411"/>
                <a:gd name="connsiteX514" fmla="*/ 3545796 w 5248218"/>
                <a:gd name="connsiteY514" fmla="*/ 2775302 h 4232411"/>
                <a:gd name="connsiteX515" fmla="*/ 3596039 w 5248218"/>
                <a:gd name="connsiteY515" fmla="*/ 2825548 h 4232411"/>
                <a:gd name="connsiteX516" fmla="*/ 3646286 w 5248218"/>
                <a:gd name="connsiteY516" fmla="*/ 2775302 h 4232411"/>
                <a:gd name="connsiteX517" fmla="*/ 3596039 w 5248218"/>
                <a:gd name="connsiteY517" fmla="*/ 2725058 h 4232411"/>
                <a:gd name="connsiteX518" fmla="*/ 3545796 w 5248218"/>
                <a:gd name="connsiteY518" fmla="*/ 2775302 h 4232411"/>
                <a:gd name="connsiteX519" fmla="*/ 3533970 w 5248218"/>
                <a:gd name="connsiteY519" fmla="*/ 1853159 h 4232411"/>
                <a:gd name="connsiteX520" fmla="*/ 3542839 w 5248218"/>
                <a:gd name="connsiteY520" fmla="*/ 1862024 h 4232411"/>
                <a:gd name="connsiteX521" fmla="*/ 3551704 w 5248218"/>
                <a:gd name="connsiteY521" fmla="*/ 1853159 h 4232411"/>
                <a:gd name="connsiteX522" fmla="*/ 3542839 w 5248218"/>
                <a:gd name="connsiteY522" fmla="*/ 1844291 h 4232411"/>
                <a:gd name="connsiteX523" fmla="*/ 3533970 w 5248218"/>
                <a:gd name="connsiteY523" fmla="*/ 1853159 h 4232411"/>
                <a:gd name="connsiteX524" fmla="*/ 3510329 w 5248218"/>
                <a:gd name="connsiteY524" fmla="*/ 3020618 h 4232411"/>
                <a:gd name="connsiteX525" fmla="*/ 3563529 w 5248218"/>
                <a:gd name="connsiteY525" fmla="*/ 3073818 h 4232411"/>
                <a:gd name="connsiteX526" fmla="*/ 3616730 w 5248218"/>
                <a:gd name="connsiteY526" fmla="*/ 3020618 h 4232411"/>
                <a:gd name="connsiteX527" fmla="*/ 3563529 w 5248218"/>
                <a:gd name="connsiteY527" fmla="*/ 2967416 h 4232411"/>
                <a:gd name="connsiteX528" fmla="*/ 3510329 w 5248218"/>
                <a:gd name="connsiteY528" fmla="*/ 3020618 h 4232411"/>
                <a:gd name="connsiteX529" fmla="*/ 3510329 w 5248218"/>
                <a:gd name="connsiteY529" fmla="*/ 2116208 h 4232411"/>
                <a:gd name="connsiteX530" fmla="*/ 3525108 w 5248218"/>
                <a:gd name="connsiteY530" fmla="*/ 2130985 h 4232411"/>
                <a:gd name="connsiteX531" fmla="*/ 3539885 w 5248218"/>
                <a:gd name="connsiteY531" fmla="*/ 2116208 h 4232411"/>
                <a:gd name="connsiteX532" fmla="*/ 3525108 w 5248218"/>
                <a:gd name="connsiteY532" fmla="*/ 2101429 h 4232411"/>
                <a:gd name="connsiteX533" fmla="*/ 3510329 w 5248218"/>
                <a:gd name="connsiteY533" fmla="*/ 2116208 h 4232411"/>
                <a:gd name="connsiteX534" fmla="*/ 3483727 w 5248218"/>
                <a:gd name="connsiteY534" fmla="*/ 3260019 h 4232411"/>
                <a:gd name="connsiteX535" fmla="*/ 3531016 w 5248218"/>
                <a:gd name="connsiteY535" fmla="*/ 3307308 h 4232411"/>
                <a:gd name="connsiteX536" fmla="*/ 3578306 w 5248218"/>
                <a:gd name="connsiteY536" fmla="*/ 3260019 h 4232411"/>
                <a:gd name="connsiteX537" fmla="*/ 3531016 w 5248218"/>
                <a:gd name="connsiteY537" fmla="*/ 3212730 h 4232411"/>
                <a:gd name="connsiteX538" fmla="*/ 3483727 w 5248218"/>
                <a:gd name="connsiteY538" fmla="*/ 3260019 h 4232411"/>
                <a:gd name="connsiteX539" fmla="*/ 3471904 w 5248218"/>
                <a:gd name="connsiteY539" fmla="*/ 2370386 h 4232411"/>
                <a:gd name="connsiteX540" fmla="*/ 3498503 w 5248218"/>
                <a:gd name="connsiteY540" fmla="*/ 2396988 h 4232411"/>
                <a:gd name="connsiteX541" fmla="*/ 3525105 w 5248218"/>
                <a:gd name="connsiteY541" fmla="*/ 2370386 h 4232411"/>
                <a:gd name="connsiteX542" fmla="*/ 3498503 w 5248218"/>
                <a:gd name="connsiteY542" fmla="*/ 2343788 h 4232411"/>
                <a:gd name="connsiteX543" fmla="*/ 3471904 w 5248218"/>
                <a:gd name="connsiteY543" fmla="*/ 2370386 h 4232411"/>
                <a:gd name="connsiteX544" fmla="*/ 3454171 w 5248218"/>
                <a:gd name="connsiteY544" fmla="*/ 3493512 h 4232411"/>
                <a:gd name="connsiteX545" fmla="*/ 3495549 w 5248218"/>
                <a:gd name="connsiteY545" fmla="*/ 3534890 h 4232411"/>
                <a:gd name="connsiteX546" fmla="*/ 3536928 w 5248218"/>
                <a:gd name="connsiteY546" fmla="*/ 3493512 h 4232411"/>
                <a:gd name="connsiteX547" fmla="*/ 3495549 w 5248218"/>
                <a:gd name="connsiteY547" fmla="*/ 3452134 h 4232411"/>
                <a:gd name="connsiteX548" fmla="*/ 3454171 w 5248218"/>
                <a:gd name="connsiteY548" fmla="*/ 3493512 h 4232411"/>
                <a:gd name="connsiteX549" fmla="*/ 3430526 w 5248218"/>
                <a:gd name="connsiteY549" fmla="*/ 2618660 h 4232411"/>
                <a:gd name="connsiteX550" fmla="*/ 3468950 w 5248218"/>
                <a:gd name="connsiteY550" fmla="*/ 2657081 h 4232411"/>
                <a:gd name="connsiteX551" fmla="*/ 3507372 w 5248218"/>
                <a:gd name="connsiteY551" fmla="*/ 2618660 h 4232411"/>
                <a:gd name="connsiteX552" fmla="*/ 3468950 w 5248218"/>
                <a:gd name="connsiteY552" fmla="*/ 2580236 h 4232411"/>
                <a:gd name="connsiteX553" fmla="*/ 3430526 w 5248218"/>
                <a:gd name="connsiteY553" fmla="*/ 2618660 h 4232411"/>
                <a:gd name="connsiteX554" fmla="*/ 3424615 w 5248218"/>
                <a:gd name="connsiteY554" fmla="*/ 3724049 h 4232411"/>
                <a:gd name="connsiteX555" fmla="*/ 3457128 w 5248218"/>
                <a:gd name="connsiteY555" fmla="*/ 3756559 h 4232411"/>
                <a:gd name="connsiteX556" fmla="*/ 3489638 w 5248218"/>
                <a:gd name="connsiteY556" fmla="*/ 3724049 h 4232411"/>
                <a:gd name="connsiteX557" fmla="*/ 3457128 w 5248218"/>
                <a:gd name="connsiteY557" fmla="*/ 3691536 h 4232411"/>
                <a:gd name="connsiteX558" fmla="*/ 3424615 w 5248218"/>
                <a:gd name="connsiteY558" fmla="*/ 3724049 h 4232411"/>
                <a:gd name="connsiteX559" fmla="*/ 3415747 w 5248218"/>
                <a:gd name="connsiteY559" fmla="*/ 1699468 h 4232411"/>
                <a:gd name="connsiteX560" fmla="*/ 3418704 w 5248218"/>
                <a:gd name="connsiteY560" fmla="*/ 1702422 h 4232411"/>
                <a:gd name="connsiteX561" fmla="*/ 3421658 w 5248218"/>
                <a:gd name="connsiteY561" fmla="*/ 1699468 h 4232411"/>
                <a:gd name="connsiteX562" fmla="*/ 3418704 w 5248218"/>
                <a:gd name="connsiteY562" fmla="*/ 1696511 h 4232411"/>
                <a:gd name="connsiteX563" fmla="*/ 3415747 w 5248218"/>
                <a:gd name="connsiteY563" fmla="*/ 1699468 h 4232411"/>
                <a:gd name="connsiteX564" fmla="*/ 3389148 w 5248218"/>
                <a:gd name="connsiteY564" fmla="*/ 1962514 h 4232411"/>
                <a:gd name="connsiteX565" fmla="*/ 3400970 w 5248218"/>
                <a:gd name="connsiteY565" fmla="*/ 1974337 h 4232411"/>
                <a:gd name="connsiteX566" fmla="*/ 3412793 w 5248218"/>
                <a:gd name="connsiteY566" fmla="*/ 1962514 h 4232411"/>
                <a:gd name="connsiteX567" fmla="*/ 3400970 w 5248218"/>
                <a:gd name="connsiteY567" fmla="*/ 1950692 h 4232411"/>
                <a:gd name="connsiteX568" fmla="*/ 3389148 w 5248218"/>
                <a:gd name="connsiteY568" fmla="*/ 1962514 h 4232411"/>
                <a:gd name="connsiteX569" fmla="*/ 3386191 w 5248218"/>
                <a:gd name="connsiteY569" fmla="*/ 2861016 h 4232411"/>
                <a:gd name="connsiteX570" fmla="*/ 3439391 w 5248218"/>
                <a:gd name="connsiteY570" fmla="*/ 2914216 h 4232411"/>
                <a:gd name="connsiteX571" fmla="*/ 3492592 w 5248218"/>
                <a:gd name="connsiteY571" fmla="*/ 2861016 h 4232411"/>
                <a:gd name="connsiteX572" fmla="*/ 3439391 w 5248218"/>
                <a:gd name="connsiteY572" fmla="*/ 2807814 h 4232411"/>
                <a:gd name="connsiteX573" fmla="*/ 3386191 w 5248218"/>
                <a:gd name="connsiteY573" fmla="*/ 2861016 h 4232411"/>
                <a:gd name="connsiteX574" fmla="*/ 3353681 w 5248218"/>
                <a:gd name="connsiteY574" fmla="*/ 2213738 h 4232411"/>
                <a:gd name="connsiteX575" fmla="*/ 3374371 w 5248218"/>
                <a:gd name="connsiteY575" fmla="*/ 2234429 h 4232411"/>
                <a:gd name="connsiteX576" fmla="*/ 3395059 w 5248218"/>
                <a:gd name="connsiteY576" fmla="*/ 2213738 h 4232411"/>
                <a:gd name="connsiteX577" fmla="*/ 3374371 w 5248218"/>
                <a:gd name="connsiteY577" fmla="*/ 2193051 h 4232411"/>
                <a:gd name="connsiteX578" fmla="*/ 3353681 w 5248218"/>
                <a:gd name="connsiteY578" fmla="*/ 2213738 h 4232411"/>
                <a:gd name="connsiteX579" fmla="*/ 3350724 w 5248218"/>
                <a:gd name="connsiteY579" fmla="*/ 3097463 h 4232411"/>
                <a:gd name="connsiteX580" fmla="*/ 3403924 w 5248218"/>
                <a:gd name="connsiteY580" fmla="*/ 3150664 h 4232411"/>
                <a:gd name="connsiteX581" fmla="*/ 3457125 w 5248218"/>
                <a:gd name="connsiteY581" fmla="*/ 3097463 h 4232411"/>
                <a:gd name="connsiteX582" fmla="*/ 3403924 w 5248218"/>
                <a:gd name="connsiteY582" fmla="*/ 3044262 h 4232411"/>
                <a:gd name="connsiteX583" fmla="*/ 3350724 w 5248218"/>
                <a:gd name="connsiteY583" fmla="*/ 3097463 h 4232411"/>
                <a:gd name="connsiteX584" fmla="*/ 3318214 w 5248218"/>
                <a:gd name="connsiteY584" fmla="*/ 3330956 h 4232411"/>
                <a:gd name="connsiteX585" fmla="*/ 3365503 w 5248218"/>
                <a:gd name="connsiteY585" fmla="*/ 3378246 h 4232411"/>
                <a:gd name="connsiteX586" fmla="*/ 3412793 w 5248218"/>
                <a:gd name="connsiteY586" fmla="*/ 3330956 h 4232411"/>
                <a:gd name="connsiteX587" fmla="*/ 3365503 w 5248218"/>
                <a:gd name="connsiteY587" fmla="*/ 3283667 h 4232411"/>
                <a:gd name="connsiteX588" fmla="*/ 3318214 w 5248218"/>
                <a:gd name="connsiteY588" fmla="*/ 3330956 h 4232411"/>
                <a:gd name="connsiteX589" fmla="*/ 3306391 w 5248218"/>
                <a:gd name="connsiteY589" fmla="*/ 2459054 h 4232411"/>
                <a:gd name="connsiteX590" fmla="*/ 3344815 w 5248218"/>
                <a:gd name="connsiteY590" fmla="*/ 2497476 h 4232411"/>
                <a:gd name="connsiteX591" fmla="*/ 3383237 w 5248218"/>
                <a:gd name="connsiteY591" fmla="*/ 2459054 h 4232411"/>
                <a:gd name="connsiteX592" fmla="*/ 3344815 w 5248218"/>
                <a:gd name="connsiteY592" fmla="*/ 2420630 h 4232411"/>
                <a:gd name="connsiteX593" fmla="*/ 3306391 w 5248218"/>
                <a:gd name="connsiteY593" fmla="*/ 2459054 h 4232411"/>
                <a:gd name="connsiteX594" fmla="*/ 3279792 w 5248218"/>
                <a:gd name="connsiteY594" fmla="*/ 3561490 h 4232411"/>
                <a:gd name="connsiteX595" fmla="*/ 3327082 w 5248218"/>
                <a:gd name="connsiteY595" fmla="*/ 3608779 h 4232411"/>
                <a:gd name="connsiteX596" fmla="*/ 3374371 w 5248218"/>
                <a:gd name="connsiteY596" fmla="*/ 3561490 h 4232411"/>
                <a:gd name="connsiteX597" fmla="*/ 3327082 w 5248218"/>
                <a:gd name="connsiteY597" fmla="*/ 3514200 h 4232411"/>
                <a:gd name="connsiteX598" fmla="*/ 3279792 w 5248218"/>
                <a:gd name="connsiteY598" fmla="*/ 3561490 h 4232411"/>
                <a:gd name="connsiteX599" fmla="*/ 3270924 w 5248218"/>
                <a:gd name="connsiteY599" fmla="*/ 1805870 h 4232411"/>
                <a:gd name="connsiteX600" fmla="*/ 3273881 w 5248218"/>
                <a:gd name="connsiteY600" fmla="*/ 1808824 h 4232411"/>
                <a:gd name="connsiteX601" fmla="*/ 3276835 w 5248218"/>
                <a:gd name="connsiteY601" fmla="*/ 1805870 h 4232411"/>
                <a:gd name="connsiteX602" fmla="*/ 3273881 w 5248218"/>
                <a:gd name="connsiteY602" fmla="*/ 1802912 h 4232411"/>
                <a:gd name="connsiteX603" fmla="*/ 3270924 w 5248218"/>
                <a:gd name="connsiteY603" fmla="*/ 1805870 h 4232411"/>
                <a:gd name="connsiteX604" fmla="*/ 3265013 w 5248218"/>
                <a:gd name="connsiteY604" fmla="*/ 2701413 h 4232411"/>
                <a:gd name="connsiteX605" fmla="*/ 3312302 w 5248218"/>
                <a:gd name="connsiteY605" fmla="*/ 2748702 h 4232411"/>
                <a:gd name="connsiteX606" fmla="*/ 3359592 w 5248218"/>
                <a:gd name="connsiteY606" fmla="*/ 2701413 h 4232411"/>
                <a:gd name="connsiteX607" fmla="*/ 3312302 w 5248218"/>
                <a:gd name="connsiteY607" fmla="*/ 2654124 h 4232411"/>
                <a:gd name="connsiteX608" fmla="*/ 3265013 w 5248218"/>
                <a:gd name="connsiteY608" fmla="*/ 2701413 h 4232411"/>
                <a:gd name="connsiteX609" fmla="*/ 3256148 w 5248218"/>
                <a:gd name="connsiteY609" fmla="*/ 3786118 h 4232411"/>
                <a:gd name="connsiteX610" fmla="*/ 3288661 w 5248218"/>
                <a:gd name="connsiteY610" fmla="*/ 3818628 h 4232411"/>
                <a:gd name="connsiteX611" fmla="*/ 3321171 w 5248218"/>
                <a:gd name="connsiteY611" fmla="*/ 3786118 h 4232411"/>
                <a:gd name="connsiteX612" fmla="*/ 3288661 w 5248218"/>
                <a:gd name="connsiteY612" fmla="*/ 3753604 h 4232411"/>
                <a:gd name="connsiteX613" fmla="*/ 3256148 w 5248218"/>
                <a:gd name="connsiteY613" fmla="*/ 3786118 h 4232411"/>
                <a:gd name="connsiteX614" fmla="*/ 3244325 w 5248218"/>
                <a:gd name="connsiteY614" fmla="*/ 4010740 h 4232411"/>
                <a:gd name="connsiteX615" fmla="*/ 3247279 w 5248218"/>
                <a:gd name="connsiteY615" fmla="*/ 4013697 h 4232411"/>
                <a:gd name="connsiteX616" fmla="*/ 3250236 w 5248218"/>
                <a:gd name="connsiteY616" fmla="*/ 4010740 h 4232411"/>
                <a:gd name="connsiteX617" fmla="*/ 3247279 w 5248218"/>
                <a:gd name="connsiteY617" fmla="*/ 4007786 h 4232411"/>
                <a:gd name="connsiteX618" fmla="*/ 3244325 w 5248218"/>
                <a:gd name="connsiteY618" fmla="*/ 4010740 h 4232411"/>
                <a:gd name="connsiteX619" fmla="*/ 3229549 w 5248218"/>
                <a:gd name="connsiteY619" fmla="*/ 2057094 h 4232411"/>
                <a:gd name="connsiteX620" fmla="*/ 3250236 w 5248218"/>
                <a:gd name="connsiteY620" fmla="*/ 2077781 h 4232411"/>
                <a:gd name="connsiteX621" fmla="*/ 3270924 w 5248218"/>
                <a:gd name="connsiteY621" fmla="*/ 2057094 h 4232411"/>
                <a:gd name="connsiteX622" fmla="*/ 3250236 w 5248218"/>
                <a:gd name="connsiteY622" fmla="*/ 2036403 h 4232411"/>
                <a:gd name="connsiteX623" fmla="*/ 3229549 w 5248218"/>
                <a:gd name="connsiteY623" fmla="*/ 2057094 h 4232411"/>
                <a:gd name="connsiteX624" fmla="*/ 3223635 w 5248218"/>
                <a:gd name="connsiteY624" fmla="*/ 2934906 h 4232411"/>
                <a:gd name="connsiteX625" fmla="*/ 3276835 w 5248218"/>
                <a:gd name="connsiteY625" fmla="*/ 2988108 h 4232411"/>
                <a:gd name="connsiteX626" fmla="*/ 3330036 w 5248218"/>
                <a:gd name="connsiteY626" fmla="*/ 2934906 h 4232411"/>
                <a:gd name="connsiteX627" fmla="*/ 3276835 w 5248218"/>
                <a:gd name="connsiteY627" fmla="*/ 2881706 h 4232411"/>
                <a:gd name="connsiteX628" fmla="*/ 3223635 w 5248218"/>
                <a:gd name="connsiteY628" fmla="*/ 2934906 h 4232411"/>
                <a:gd name="connsiteX629" fmla="*/ 3191125 w 5248218"/>
                <a:gd name="connsiteY629" fmla="*/ 2302406 h 4232411"/>
                <a:gd name="connsiteX630" fmla="*/ 3217723 w 5248218"/>
                <a:gd name="connsiteY630" fmla="*/ 2329008 h 4232411"/>
                <a:gd name="connsiteX631" fmla="*/ 3244325 w 5248218"/>
                <a:gd name="connsiteY631" fmla="*/ 2302406 h 4232411"/>
                <a:gd name="connsiteX632" fmla="*/ 3217723 w 5248218"/>
                <a:gd name="connsiteY632" fmla="*/ 2275808 h 4232411"/>
                <a:gd name="connsiteX633" fmla="*/ 3191125 w 5248218"/>
                <a:gd name="connsiteY633" fmla="*/ 2302406 h 4232411"/>
                <a:gd name="connsiteX634" fmla="*/ 3182256 w 5248218"/>
                <a:gd name="connsiteY634" fmla="*/ 3168397 h 4232411"/>
                <a:gd name="connsiteX635" fmla="*/ 3238411 w 5248218"/>
                <a:gd name="connsiteY635" fmla="*/ 3224555 h 4232411"/>
                <a:gd name="connsiteX636" fmla="*/ 3294569 w 5248218"/>
                <a:gd name="connsiteY636" fmla="*/ 3168397 h 4232411"/>
                <a:gd name="connsiteX637" fmla="*/ 3238411 w 5248218"/>
                <a:gd name="connsiteY637" fmla="*/ 3112242 h 4232411"/>
                <a:gd name="connsiteX638" fmla="*/ 3182256 w 5248218"/>
                <a:gd name="connsiteY638" fmla="*/ 3168397 h 4232411"/>
                <a:gd name="connsiteX639" fmla="*/ 3152700 w 5248218"/>
                <a:gd name="connsiteY639" fmla="*/ 2541814 h 4232411"/>
                <a:gd name="connsiteX640" fmla="*/ 3185210 w 5248218"/>
                <a:gd name="connsiteY640" fmla="*/ 2574324 h 4232411"/>
                <a:gd name="connsiteX641" fmla="*/ 3217723 w 5248218"/>
                <a:gd name="connsiteY641" fmla="*/ 2541814 h 4232411"/>
                <a:gd name="connsiteX642" fmla="*/ 3185210 w 5248218"/>
                <a:gd name="connsiteY642" fmla="*/ 2509301 h 4232411"/>
                <a:gd name="connsiteX643" fmla="*/ 3152700 w 5248218"/>
                <a:gd name="connsiteY643" fmla="*/ 2541814 h 4232411"/>
                <a:gd name="connsiteX644" fmla="*/ 3146789 w 5248218"/>
                <a:gd name="connsiteY644" fmla="*/ 1649222 h 4232411"/>
                <a:gd name="connsiteX645" fmla="*/ 3149743 w 5248218"/>
                <a:gd name="connsiteY645" fmla="*/ 1652176 h 4232411"/>
                <a:gd name="connsiteX646" fmla="*/ 3152700 w 5248218"/>
                <a:gd name="connsiteY646" fmla="*/ 1649222 h 4232411"/>
                <a:gd name="connsiteX647" fmla="*/ 3149743 w 5248218"/>
                <a:gd name="connsiteY647" fmla="*/ 1646264 h 4232411"/>
                <a:gd name="connsiteX648" fmla="*/ 3146789 w 5248218"/>
                <a:gd name="connsiteY648" fmla="*/ 1649222 h 4232411"/>
                <a:gd name="connsiteX649" fmla="*/ 3143835 w 5248218"/>
                <a:gd name="connsiteY649" fmla="*/ 3395976 h 4232411"/>
                <a:gd name="connsiteX650" fmla="*/ 3199993 w 5248218"/>
                <a:gd name="connsiteY650" fmla="*/ 3452134 h 4232411"/>
                <a:gd name="connsiteX651" fmla="*/ 3256148 w 5248218"/>
                <a:gd name="connsiteY651" fmla="*/ 3395976 h 4232411"/>
                <a:gd name="connsiteX652" fmla="*/ 3199993 w 5248218"/>
                <a:gd name="connsiteY652" fmla="*/ 3339822 h 4232411"/>
                <a:gd name="connsiteX653" fmla="*/ 3143835 w 5248218"/>
                <a:gd name="connsiteY653" fmla="*/ 3395976 h 4232411"/>
                <a:gd name="connsiteX654" fmla="*/ 3114276 w 5248218"/>
                <a:gd name="connsiteY654" fmla="*/ 3842272 h 4232411"/>
                <a:gd name="connsiteX655" fmla="*/ 3117233 w 5248218"/>
                <a:gd name="connsiteY655" fmla="*/ 3845226 h 4232411"/>
                <a:gd name="connsiteX656" fmla="*/ 3120187 w 5248218"/>
                <a:gd name="connsiteY656" fmla="*/ 3842272 h 4232411"/>
                <a:gd name="connsiteX657" fmla="*/ 3117233 w 5248218"/>
                <a:gd name="connsiteY657" fmla="*/ 3839316 h 4232411"/>
                <a:gd name="connsiteX658" fmla="*/ 3114276 w 5248218"/>
                <a:gd name="connsiteY658" fmla="*/ 3842272 h 4232411"/>
                <a:gd name="connsiteX659" fmla="*/ 3108368 w 5248218"/>
                <a:gd name="connsiteY659" fmla="*/ 3620602 h 4232411"/>
                <a:gd name="connsiteX660" fmla="*/ 3158611 w 5248218"/>
                <a:gd name="connsiteY660" fmla="*/ 3670848 h 4232411"/>
                <a:gd name="connsiteX661" fmla="*/ 3208858 w 5248218"/>
                <a:gd name="connsiteY661" fmla="*/ 3620602 h 4232411"/>
                <a:gd name="connsiteX662" fmla="*/ 3158611 w 5248218"/>
                <a:gd name="connsiteY662" fmla="*/ 3570358 h 4232411"/>
                <a:gd name="connsiteX663" fmla="*/ 3108368 w 5248218"/>
                <a:gd name="connsiteY663" fmla="*/ 3620602 h 4232411"/>
                <a:gd name="connsiteX664" fmla="*/ 3108368 w 5248218"/>
                <a:gd name="connsiteY664" fmla="*/ 2775302 h 4232411"/>
                <a:gd name="connsiteX665" fmla="*/ 3146792 w 5248218"/>
                <a:gd name="connsiteY665" fmla="*/ 2813726 h 4232411"/>
                <a:gd name="connsiteX666" fmla="*/ 3185213 w 5248218"/>
                <a:gd name="connsiteY666" fmla="*/ 2775302 h 4232411"/>
                <a:gd name="connsiteX667" fmla="*/ 3146792 w 5248218"/>
                <a:gd name="connsiteY667" fmla="*/ 2736880 h 4232411"/>
                <a:gd name="connsiteX668" fmla="*/ 3108368 w 5248218"/>
                <a:gd name="connsiteY668" fmla="*/ 2775302 h 4232411"/>
                <a:gd name="connsiteX669" fmla="*/ 3108368 w 5248218"/>
                <a:gd name="connsiteY669" fmla="*/ 1897492 h 4232411"/>
                <a:gd name="connsiteX670" fmla="*/ 3123147 w 5248218"/>
                <a:gd name="connsiteY670" fmla="*/ 1912268 h 4232411"/>
                <a:gd name="connsiteX671" fmla="*/ 3137924 w 5248218"/>
                <a:gd name="connsiteY671" fmla="*/ 1897492 h 4232411"/>
                <a:gd name="connsiteX672" fmla="*/ 3123147 w 5248218"/>
                <a:gd name="connsiteY672" fmla="*/ 1882712 h 4232411"/>
                <a:gd name="connsiteX673" fmla="*/ 3108368 w 5248218"/>
                <a:gd name="connsiteY673" fmla="*/ 1897492 h 4232411"/>
                <a:gd name="connsiteX674" fmla="*/ 3069944 w 5248218"/>
                <a:gd name="connsiteY674" fmla="*/ 2142804 h 4232411"/>
                <a:gd name="connsiteX675" fmla="*/ 3090631 w 5248218"/>
                <a:gd name="connsiteY675" fmla="*/ 2163495 h 4232411"/>
                <a:gd name="connsiteX676" fmla="*/ 3111322 w 5248218"/>
                <a:gd name="connsiteY676" fmla="*/ 2142804 h 4232411"/>
                <a:gd name="connsiteX677" fmla="*/ 3090631 w 5248218"/>
                <a:gd name="connsiteY677" fmla="*/ 2122117 h 4232411"/>
                <a:gd name="connsiteX678" fmla="*/ 3069944 w 5248218"/>
                <a:gd name="connsiteY678" fmla="*/ 2142804 h 4232411"/>
                <a:gd name="connsiteX679" fmla="*/ 3055164 w 5248218"/>
                <a:gd name="connsiteY679" fmla="*/ 3002884 h 4232411"/>
                <a:gd name="connsiteX680" fmla="*/ 3108365 w 5248218"/>
                <a:gd name="connsiteY680" fmla="*/ 3056084 h 4232411"/>
                <a:gd name="connsiteX681" fmla="*/ 3161566 w 5248218"/>
                <a:gd name="connsiteY681" fmla="*/ 3002884 h 4232411"/>
                <a:gd name="connsiteX682" fmla="*/ 3108365 w 5248218"/>
                <a:gd name="connsiteY682" fmla="*/ 2949683 h 4232411"/>
                <a:gd name="connsiteX683" fmla="*/ 3055164 w 5248218"/>
                <a:gd name="connsiteY683" fmla="*/ 3002884 h 4232411"/>
                <a:gd name="connsiteX684" fmla="*/ 3037434 w 5248218"/>
                <a:gd name="connsiteY684" fmla="*/ 2379252 h 4232411"/>
                <a:gd name="connsiteX685" fmla="*/ 3058121 w 5248218"/>
                <a:gd name="connsiteY685" fmla="*/ 2399942 h 4232411"/>
                <a:gd name="connsiteX686" fmla="*/ 3078812 w 5248218"/>
                <a:gd name="connsiteY686" fmla="*/ 2379252 h 4232411"/>
                <a:gd name="connsiteX687" fmla="*/ 3058121 w 5248218"/>
                <a:gd name="connsiteY687" fmla="*/ 2358564 h 4232411"/>
                <a:gd name="connsiteX688" fmla="*/ 3037434 w 5248218"/>
                <a:gd name="connsiteY688" fmla="*/ 2379252 h 4232411"/>
                <a:gd name="connsiteX689" fmla="*/ 3010832 w 5248218"/>
                <a:gd name="connsiteY689" fmla="*/ 3230466 h 4232411"/>
                <a:gd name="connsiteX690" fmla="*/ 3069944 w 5248218"/>
                <a:gd name="connsiteY690" fmla="*/ 3289578 h 4232411"/>
                <a:gd name="connsiteX691" fmla="*/ 3129056 w 5248218"/>
                <a:gd name="connsiteY691" fmla="*/ 3230466 h 4232411"/>
                <a:gd name="connsiteX692" fmla="*/ 3069944 w 5248218"/>
                <a:gd name="connsiteY692" fmla="*/ 3171354 h 4232411"/>
                <a:gd name="connsiteX693" fmla="*/ 3010832 w 5248218"/>
                <a:gd name="connsiteY693" fmla="*/ 3230466 h 4232411"/>
                <a:gd name="connsiteX694" fmla="*/ 2996052 w 5248218"/>
                <a:gd name="connsiteY694" fmla="*/ 1743800 h 4232411"/>
                <a:gd name="connsiteX695" fmla="*/ 2999009 w 5248218"/>
                <a:gd name="connsiteY695" fmla="*/ 1746755 h 4232411"/>
                <a:gd name="connsiteX696" fmla="*/ 3001963 w 5248218"/>
                <a:gd name="connsiteY696" fmla="*/ 1743800 h 4232411"/>
                <a:gd name="connsiteX697" fmla="*/ 2999009 w 5248218"/>
                <a:gd name="connsiteY697" fmla="*/ 1740844 h 4232411"/>
                <a:gd name="connsiteX698" fmla="*/ 2996052 w 5248218"/>
                <a:gd name="connsiteY698" fmla="*/ 1743800 h 4232411"/>
                <a:gd name="connsiteX699" fmla="*/ 2990144 w 5248218"/>
                <a:gd name="connsiteY699" fmla="*/ 2609792 h 4232411"/>
                <a:gd name="connsiteX700" fmla="*/ 3019700 w 5248218"/>
                <a:gd name="connsiteY700" fmla="*/ 2639347 h 4232411"/>
                <a:gd name="connsiteX701" fmla="*/ 3049256 w 5248218"/>
                <a:gd name="connsiteY701" fmla="*/ 2609792 h 4232411"/>
                <a:gd name="connsiteX702" fmla="*/ 3019700 w 5248218"/>
                <a:gd name="connsiteY702" fmla="*/ 2580236 h 4232411"/>
                <a:gd name="connsiteX703" fmla="*/ 2990144 w 5248218"/>
                <a:gd name="connsiteY703" fmla="*/ 2609792 h 4232411"/>
                <a:gd name="connsiteX704" fmla="*/ 2972407 w 5248218"/>
                <a:gd name="connsiteY704" fmla="*/ 3449177 h 4232411"/>
                <a:gd name="connsiteX705" fmla="*/ 3028565 w 5248218"/>
                <a:gd name="connsiteY705" fmla="*/ 3505335 h 4232411"/>
                <a:gd name="connsiteX706" fmla="*/ 3084720 w 5248218"/>
                <a:gd name="connsiteY706" fmla="*/ 3449177 h 4232411"/>
                <a:gd name="connsiteX707" fmla="*/ 3028565 w 5248218"/>
                <a:gd name="connsiteY707" fmla="*/ 3393022 h 4232411"/>
                <a:gd name="connsiteX708" fmla="*/ 2972407 w 5248218"/>
                <a:gd name="connsiteY708" fmla="*/ 3449177 h 4232411"/>
                <a:gd name="connsiteX709" fmla="*/ 2957631 w 5248218"/>
                <a:gd name="connsiteY709" fmla="*/ 1983205 h 4232411"/>
                <a:gd name="connsiteX710" fmla="*/ 2966499 w 5248218"/>
                <a:gd name="connsiteY710" fmla="*/ 1992070 h 4232411"/>
                <a:gd name="connsiteX711" fmla="*/ 2975365 w 5248218"/>
                <a:gd name="connsiteY711" fmla="*/ 1983205 h 4232411"/>
                <a:gd name="connsiteX712" fmla="*/ 2966499 w 5248218"/>
                <a:gd name="connsiteY712" fmla="*/ 1974337 h 4232411"/>
                <a:gd name="connsiteX713" fmla="*/ 2957631 w 5248218"/>
                <a:gd name="connsiteY713" fmla="*/ 1983205 h 4232411"/>
                <a:gd name="connsiteX714" fmla="*/ 2945809 w 5248218"/>
                <a:gd name="connsiteY714" fmla="*/ 2837370 h 4232411"/>
                <a:gd name="connsiteX715" fmla="*/ 2981276 w 5248218"/>
                <a:gd name="connsiteY715" fmla="*/ 2872838 h 4232411"/>
                <a:gd name="connsiteX716" fmla="*/ 3016743 w 5248218"/>
                <a:gd name="connsiteY716" fmla="*/ 2837370 h 4232411"/>
                <a:gd name="connsiteX717" fmla="*/ 2981276 w 5248218"/>
                <a:gd name="connsiteY717" fmla="*/ 2801904 h 4232411"/>
                <a:gd name="connsiteX718" fmla="*/ 2945809 w 5248218"/>
                <a:gd name="connsiteY718" fmla="*/ 2837370 h 4232411"/>
                <a:gd name="connsiteX719" fmla="*/ 2936943 w 5248218"/>
                <a:gd name="connsiteY719" fmla="*/ 3670848 h 4232411"/>
                <a:gd name="connsiteX720" fmla="*/ 2987190 w 5248218"/>
                <a:gd name="connsiteY720" fmla="*/ 3721094 h 4232411"/>
                <a:gd name="connsiteX721" fmla="*/ 3037434 w 5248218"/>
                <a:gd name="connsiteY721" fmla="*/ 3670848 h 4232411"/>
                <a:gd name="connsiteX722" fmla="*/ 2987190 w 5248218"/>
                <a:gd name="connsiteY722" fmla="*/ 3620604 h 4232411"/>
                <a:gd name="connsiteX723" fmla="*/ 2936943 w 5248218"/>
                <a:gd name="connsiteY723" fmla="*/ 3670848 h 4232411"/>
                <a:gd name="connsiteX724" fmla="*/ 2928075 w 5248218"/>
                <a:gd name="connsiteY724" fmla="*/ 3886605 h 4232411"/>
                <a:gd name="connsiteX725" fmla="*/ 2945809 w 5248218"/>
                <a:gd name="connsiteY725" fmla="*/ 3904338 h 4232411"/>
                <a:gd name="connsiteX726" fmla="*/ 2963542 w 5248218"/>
                <a:gd name="connsiteY726" fmla="*/ 3886605 h 4232411"/>
                <a:gd name="connsiteX727" fmla="*/ 2945809 w 5248218"/>
                <a:gd name="connsiteY727" fmla="*/ 3868872 h 4232411"/>
                <a:gd name="connsiteX728" fmla="*/ 2928075 w 5248218"/>
                <a:gd name="connsiteY728" fmla="*/ 3886605 h 4232411"/>
                <a:gd name="connsiteX729" fmla="*/ 2913296 w 5248218"/>
                <a:gd name="connsiteY729" fmla="*/ 2216699 h 4232411"/>
                <a:gd name="connsiteX730" fmla="*/ 2928075 w 5248218"/>
                <a:gd name="connsiteY730" fmla="*/ 2231475 h 4232411"/>
                <a:gd name="connsiteX731" fmla="*/ 2942852 w 5248218"/>
                <a:gd name="connsiteY731" fmla="*/ 2216699 h 4232411"/>
                <a:gd name="connsiteX732" fmla="*/ 2928075 w 5248218"/>
                <a:gd name="connsiteY732" fmla="*/ 2201919 h 4232411"/>
                <a:gd name="connsiteX733" fmla="*/ 2913296 w 5248218"/>
                <a:gd name="connsiteY733" fmla="*/ 2216699 h 4232411"/>
                <a:gd name="connsiteX734" fmla="*/ 2880786 w 5248218"/>
                <a:gd name="connsiteY734" fmla="*/ 3061996 h 4232411"/>
                <a:gd name="connsiteX735" fmla="*/ 2939897 w 5248218"/>
                <a:gd name="connsiteY735" fmla="*/ 3121108 h 4232411"/>
                <a:gd name="connsiteX736" fmla="*/ 2999009 w 5248218"/>
                <a:gd name="connsiteY736" fmla="*/ 3061996 h 4232411"/>
                <a:gd name="connsiteX737" fmla="*/ 2939897 w 5248218"/>
                <a:gd name="connsiteY737" fmla="*/ 3002884 h 4232411"/>
                <a:gd name="connsiteX738" fmla="*/ 2880786 w 5248218"/>
                <a:gd name="connsiteY738" fmla="*/ 3061996 h 4232411"/>
                <a:gd name="connsiteX739" fmla="*/ 2863052 w 5248218"/>
                <a:gd name="connsiteY739" fmla="*/ 2444275 h 4232411"/>
                <a:gd name="connsiteX740" fmla="*/ 2892608 w 5248218"/>
                <a:gd name="connsiteY740" fmla="*/ 2473831 h 4232411"/>
                <a:gd name="connsiteX741" fmla="*/ 2922164 w 5248218"/>
                <a:gd name="connsiteY741" fmla="*/ 2444275 h 4232411"/>
                <a:gd name="connsiteX742" fmla="*/ 2892608 w 5248218"/>
                <a:gd name="connsiteY742" fmla="*/ 2414719 h 4232411"/>
                <a:gd name="connsiteX743" fmla="*/ 2863052 w 5248218"/>
                <a:gd name="connsiteY743" fmla="*/ 2444275 h 4232411"/>
                <a:gd name="connsiteX744" fmla="*/ 2836453 w 5248218"/>
                <a:gd name="connsiteY744" fmla="*/ 3283667 h 4232411"/>
                <a:gd name="connsiteX745" fmla="*/ 2898519 w 5248218"/>
                <a:gd name="connsiteY745" fmla="*/ 3345732 h 4232411"/>
                <a:gd name="connsiteX746" fmla="*/ 2960588 w 5248218"/>
                <a:gd name="connsiteY746" fmla="*/ 3283667 h 4232411"/>
                <a:gd name="connsiteX747" fmla="*/ 2898519 w 5248218"/>
                <a:gd name="connsiteY747" fmla="*/ 3221598 h 4232411"/>
                <a:gd name="connsiteX748" fmla="*/ 2836453 w 5248218"/>
                <a:gd name="connsiteY748" fmla="*/ 3283667 h 4232411"/>
                <a:gd name="connsiteX749" fmla="*/ 2821674 w 5248218"/>
                <a:gd name="connsiteY749" fmla="*/ 2671857 h 4232411"/>
                <a:gd name="connsiteX750" fmla="*/ 2851230 w 5248218"/>
                <a:gd name="connsiteY750" fmla="*/ 2701413 h 4232411"/>
                <a:gd name="connsiteX751" fmla="*/ 2880786 w 5248218"/>
                <a:gd name="connsiteY751" fmla="*/ 2671857 h 4232411"/>
                <a:gd name="connsiteX752" fmla="*/ 2851230 w 5248218"/>
                <a:gd name="connsiteY752" fmla="*/ 2642302 h 4232411"/>
                <a:gd name="connsiteX753" fmla="*/ 2821674 w 5248218"/>
                <a:gd name="connsiteY753" fmla="*/ 2671857 h 4232411"/>
                <a:gd name="connsiteX754" fmla="*/ 2800986 w 5248218"/>
                <a:gd name="connsiteY754" fmla="*/ 3499424 h 4232411"/>
                <a:gd name="connsiteX755" fmla="*/ 2857141 w 5248218"/>
                <a:gd name="connsiteY755" fmla="*/ 3555582 h 4232411"/>
                <a:gd name="connsiteX756" fmla="*/ 2913299 w 5248218"/>
                <a:gd name="connsiteY756" fmla="*/ 3499424 h 4232411"/>
                <a:gd name="connsiteX757" fmla="*/ 2857141 w 5248218"/>
                <a:gd name="connsiteY757" fmla="*/ 3443269 h 4232411"/>
                <a:gd name="connsiteX758" fmla="*/ 2800986 w 5248218"/>
                <a:gd name="connsiteY758" fmla="*/ 3499424 h 4232411"/>
                <a:gd name="connsiteX759" fmla="*/ 2795072 w 5248218"/>
                <a:gd name="connsiteY759" fmla="*/ 2054140 h 4232411"/>
                <a:gd name="connsiteX760" fmla="*/ 2800983 w 5248218"/>
                <a:gd name="connsiteY760" fmla="*/ 2060051 h 4232411"/>
                <a:gd name="connsiteX761" fmla="*/ 2806894 w 5248218"/>
                <a:gd name="connsiteY761" fmla="*/ 2054140 h 4232411"/>
                <a:gd name="connsiteX762" fmla="*/ 2800983 w 5248218"/>
                <a:gd name="connsiteY762" fmla="*/ 2048228 h 4232411"/>
                <a:gd name="connsiteX763" fmla="*/ 2795072 w 5248218"/>
                <a:gd name="connsiteY763" fmla="*/ 2054140 h 4232411"/>
                <a:gd name="connsiteX764" fmla="*/ 2771430 w 5248218"/>
                <a:gd name="connsiteY764" fmla="*/ 2890574 h 4232411"/>
                <a:gd name="connsiteX765" fmla="*/ 2809851 w 5248218"/>
                <a:gd name="connsiteY765" fmla="*/ 2928996 h 4232411"/>
                <a:gd name="connsiteX766" fmla="*/ 2848276 w 5248218"/>
                <a:gd name="connsiteY766" fmla="*/ 2890574 h 4232411"/>
                <a:gd name="connsiteX767" fmla="*/ 2809851 w 5248218"/>
                <a:gd name="connsiteY767" fmla="*/ 2852150 h 4232411"/>
                <a:gd name="connsiteX768" fmla="*/ 2771430 w 5248218"/>
                <a:gd name="connsiteY768" fmla="*/ 2890574 h 4232411"/>
                <a:gd name="connsiteX769" fmla="*/ 2762562 w 5248218"/>
                <a:gd name="connsiteY769" fmla="*/ 3715180 h 4232411"/>
                <a:gd name="connsiteX770" fmla="*/ 2815763 w 5248218"/>
                <a:gd name="connsiteY770" fmla="*/ 3768381 h 4232411"/>
                <a:gd name="connsiteX771" fmla="*/ 2868960 w 5248218"/>
                <a:gd name="connsiteY771" fmla="*/ 3715180 h 4232411"/>
                <a:gd name="connsiteX772" fmla="*/ 2815763 w 5248218"/>
                <a:gd name="connsiteY772" fmla="*/ 3661980 h 4232411"/>
                <a:gd name="connsiteX773" fmla="*/ 2762562 w 5248218"/>
                <a:gd name="connsiteY773" fmla="*/ 3715180 h 4232411"/>
                <a:gd name="connsiteX774" fmla="*/ 2747785 w 5248218"/>
                <a:gd name="connsiteY774" fmla="*/ 2281719 h 4232411"/>
                <a:gd name="connsiteX775" fmla="*/ 2762565 w 5248218"/>
                <a:gd name="connsiteY775" fmla="*/ 2296495 h 4232411"/>
                <a:gd name="connsiteX776" fmla="*/ 2777341 w 5248218"/>
                <a:gd name="connsiteY776" fmla="*/ 2281719 h 4232411"/>
                <a:gd name="connsiteX777" fmla="*/ 2762565 w 5248218"/>
                <a:gd name="connsiteY777" fmla="*/ 2266939 h 4232411"/>
                <a:gd name="connsiteX778" fmla="*/ 2747785 w 5248218"/>
                <a:gd name="connsiteY778" fmla="*/ 2281719 h 4232411"/>
                <a:gd name="connsiteX779" fmla="*/ 2738917 w 5248218"/>
                <a:gd name="connsiteY779" fmla="*/ 3927983 h 4232411"/>
                <a:gd name="connsiteX780" fmla="*/ 2771430 w 5248218"/>
                <a:gd name="connsiteY780" fmla="*/ 3960496 h 4232411"/>
                <a:gd name="connsiteX781" fmla="*/ 2803940 w 5248218"/>
                <a:gd name="connsiteY781" fmla="*/ 3927983 h 4232411"/>
                <a:gd name="connsiteX782" fmla="*/ 2771430 w 5248218"/>
                <a:gd name="connsiteY782" fmla="*/ 3895474 h 4232411"/>
                <a:gd name="connsiteX783" fmla="*/ 2738917 w 5248218"/>
                <a:gd name="connsiteY783" fmla="*/ 3927983 h 4232411"/>
                <a:gd name="connsiteX784" fmla="*/ 2712318 w 5248218"/>
                <a:gd name="connsiteY784" fmla="*/ 3109285 h 4232411"/>
                <a:gd name="connsiteX785" fmla="*/ 2768473 w 5248218"/>
                <a:gd name="connsiteY785" fmla="*/ 3165443 h 4232411"/>
                <a:gd name="connsiteX786" fmla="*/ 2824631 w 5248218"/>
                <a:gd name="connsiteY786" fmla="*/ 3109285 h 4232411"/>
                <a:gd name="connsiteX787" fmla="*/ 2768473 w 5248218"/>
                <a:gd name="connsiteY787" fmla="*/ 3053130 h 4232411"/>
                <a:gd name="connsiteX788" fmla="*/ 2712318 w 5248218"/>
                <a:gd name="connsiteY788" fmla="*/ 3109285 h 4232411"/>
                <a:gd name="connsiteX789" fmla="*/ 2691628 w 5248218"/>
                <a:gd name="connsiteY789" fmla="*/ 2503387 h 4232411"/>
                <a:gd name="connsiteX790" fmla="*/ 2721183 w 5248218"/>
                <a:gd name="connsiteY790" fmla="*/ 2532942 h 4232411"/>
                <a:gd name="connsiteX791" fmla="*/ 2750739 w 5248218"/>
                <a:gd name="connsiteY791" fmla="*/ 2503387 h 4232411"/>
                <a:gd name="connsiteX792" fmla="*/ 2721183 w 5248218"/>
                <a:gd name="connsiteY792" fmla="*/ 2473831 h 4232411"/>
                <a:gd name="connsiteX793" fmla="*/ 2691628 w 5248218"/>
                <a:gd name="connsiteY793" fmla="*/ 2503387 h 4232411"/>
                <a:gd name="connsiteX794" fmla="*/ 2667613 w 5248218"/>
                <a:gd name="connsiteY794" fmla="*/ 1895645 h 4232411"/>
                <a:gd name="connsiteX795" fmla="*/ 2673894 w 5248218"/>
                <a:gd name="connsiteY795" fmla="*/ 1897492 h 4232411"/>
                <a:gd name="connsiteX796" fmla="*/ 2679805 w 5248218"/>
                <a:gd name="connsiteY796" fmla="*/ 1891580 h 4232411"/>
                <a:gd name="connsiteX797" fmla="*/ 2673894 w 5248218"/>
                <a:gd name="connsiteY797" fmla="*/ 1885669 h 4232411"/>
                <a:gd name="connsiteX798" fmla="*/ 2667983 w 5248218"/>
                <a:gd name="connsiteY798" fmla="*/ 1891580 h 4232411"/>
                <a:gd name="connsiteX799" fmla="*/ 2667613 w 5248218"/>
                <a:gd name="connsiteY799" fmla="*/ 1895645 h 4232411"/>
                <a:gd name="connsiteX800" fmla="*/ 2662072 w 5248218"/>
                <a:gd name="connsiteY800" fmla="*/ 3325045 h 4232411"/>
                <a:gd name="connsiteX801" fmla="*/ 2727095 w 5248218"/>
                <a:gd name="connsiteY801" fmla="*/ 3390068 h 4232411"/>
                <a:gd name="connsiteX802" fmla="*/ 2792118 w 5248218"/>
                <a:gd name="connsiteY802" fmla="*/ 3325045 h 4232411"/>
                <a:gd name="connsiteX803" fmla="*/ 2727095 w 5248218"/>
                <a:gd name="connsiteY803" fmla="*/ 3260022 h 4232411"/>
                <a:gd name="connsiteX804" fmla="*/ 2662072 w 5248218"/>
                <a:gd name="connsiteY804" fmla="*/ 3325045 h 4232411"/>
                <a:gd name="connsiteX805" fmla="*/ 2650249 w 5248218"/>
                <a:gd name="connsiteY805" fmla="*/ 2719146 h 4232411"/>
                <a:gd name="connsiteX806" fmla="*/ 2679805 w 5248218"/>
                <a:gd name="connsiteY806" fmla="*/ 2748702 h 4232411"/>
                <a:gd name="connsiteX807" fmla="*/ 2709361 w 5248218"/>
                <a:gd name="connsiteY807" fmla="*/ 2719146 h 4232411"/>
                <a:gd name="connsiteX808" fmla="*/ 2679805 w 5248218"/>
                <a:gd name="connsiteY808" fmla="*/ 2689591 h 4232411"/>
                <a:gd name="connsiteX809" fmla="*/ 2650249 w 5248218"/>
                <a:gd name="connsiteY809" fmla="*/ 2719146 h 4232411"/>
                <a:gd name="connsiteX810" fmla="*/ 2626604 w 5248218"/>
                <a:gd name="connsiteY810" fmla="*/ 3540802 h 4232411"/>
                <a:gd name="connsiteX811" fmla="*/ 2682762 w 5248218"/>
                <a:gd name="connsiteY811" fmla="*/ 3596956 h 4232411"/>
                <a:gd name="connsiteX812" fmla="*/ 2738917 w 5248218"/>
                <a:gd name="connsiteY812" fmla="*/ 3540802 h 4232411"/>
                <a:gd name="connsiteX813" fmla="*/ 2682762 w 5248218"/>
                <a:gd name="connsiteY813" fmla="*/ 3484644 h 4232411"/>
                <a:gd name="connsiteX814" fmla="*/ 2626604 w 5248218"/>
                <a:gd name="connsiteY814" fmla="*/ 3540802 h 4232411"/>
                <a:gd name="connsiteX815" fmla="*/ 2623650 w 5248218"/>
                <a:gd name="connsiteY815" fmla="*/ 2113252 h 4232411"/>
                <a:gd name="connsiteX816" fmla="*/ 2632516 w 5248218"/>
                <a:gd name="connsiteY816" fmla="*/ 2122117 h 4232411"/>
                <a:gd name="connsiteX817" fmla="*/ 2641384 w 5248218"/>
                <a:gd name="connsiteY817" fmla="*/ 2113252 h 4232411"/>
                <a:gd name="connsiteX818" fmla="*/ 2632516 w 5248218"/>
                <a:gd name="connsiteY818" fmla="*/ 2104383 h 4232411"/>
                <a:gd name="connsiteX819" fmla="*/ 2623650 w 5248218"/>
                <a:gd name="connsiteY819" fmla="*/ 2113252 h 4232411"/>
                <a:gd name="connsiteX820" fmla="*/ 2597049 w 5248218"/>
                <a:gd name="connsiteY820" fmla="*/ 2937860 h 4232411"/>
                <a:gd name="connsiteX821" fmla="*/ 2638427 w 5248218"/>
                <a:gd name="connsiteY821" fmla="*/ 2979239 h 4232411"/>
                <a:gd name="connsiteX822" fmla="*/ 2679805 w 5248218"/>
                <a:gd name="connsiteY822" fmla="*/ 2937860 h 4232411"/>
                <a:gd name="connsiteX823" fmla="*/ 2638427 w 5248218"/>
                <a:gd name="connsiteY823" fmla="*/ 2896482 h 4232411"/>
                <a:gd name="connsiteX824" fmla="*/ 2597049 w 5248218"/>
                <a:gd name="connsiteY824" fmla="*/ 2937860 h 4232411"/>
                <a:gd name="connsiteX825" fmla="*/ 2591137 w 5248218"/>
                <a:gd name="connsiteY825" fmla="*/ 3750650 h 4232411"/>
                <a:gd name="connsiteX826" fmla="*/ 2638427 w 5248218"/>
                <a:gd name="connsiteY826" fmla="*/ 3797940 h 4232411"/>
                <a:gd name="connsiteX827" fmla="*/ 2685716 w 5248218"/>
                <a:gd name="connsiteY827" fmla="*/ 3750650 h 4232411"/>
                <a:gd name="connsiteX828" fmla="*/ 2638427 w 5248218"/>
                <a:gd name="connsiteY828" fmla="*/ 3703361 h 4232411"/>
                <a:gd name="connsiteX829" fmla="*/ 2591137 w 5248218"/>
                <a:gd name="connsiteY829" fmla="*/ 3750650 h 4232411"/>
                <a:gd name="connsiteX830" fmla="*/ 2579315 w 5248218"/>
                <a:gd name="connsiteY830" fmla="*/ 2334920 h 4232411"/>
                <a:gd name="connsiteX831" fmla="*/ 2591137 w 5248218"/>
                <a:gd name="connsiteY831" fmla="*/ 2346742 h 4232411"/>
                <a:gd name="connsiteX832" fmla="*/ 2602960 w 5248218"/>
                <a:gd name="connsiteY832" fmla="*/ 2334920 h 4232411"/>
                <a:gd name="connsiteX833" fmla="*/ 2591137 w 5248218"/>
                <a:gd name="connsiteY833" fmla="*/ 2323097 h 4232411"/>
                <a:gd name="connsiteX834" fmla="*/ 2579315 w 5248218"/>
                <a:gd name="connsiteY834" fmla="*/ 2334920 h 4232411"/>
                <a:gd name="connsiteX835" fmla="*/ 2546805 w 5248218"/>
                <a:gd name="connsiteY835" fmla="*/ 3960496 h 4232411"/>
                <a:gd name="connsiteX836" fmla="*/ 2594094 w 5248218"/>
                <a:gd name="connsiteY836" fmla="*/ 4007786 h 4232411"/>
                <a:gd name="connsiteX837" fmla="*/ 2641384 w 5248218"/>
                <a:gd name="connsiteY837" fmla="*/ 3960496 h 4232411"/>
                <a:gd name="connsiteX838" fmla="*/ 2594094 w 5248218"/>
                <a:gd name="connsiteY838" fmla="*/ 3913207 h 4232411"/>
                <a:gd name="connsiteX839" fmla="*/ 2546805 w 5248218"/>
                <a:gd name="connsiteY839" fmla="*/ 3960496 h 4232411"/>
                <a:gd name="connsiteX840" fmla="*/ 2540894 w 5248218"/>
                <a:gd name="connsiteY840" fmla="*/ 3150664 h 4232411"/>
                <a:gd name="connsiteX841" fmla="*/ 2594094 w 5248218"/>
                <a:gd name="connsiteY841" fmla="*/ 3203864 h 4232411"/>
                <a:gd name="connsiteX842" fmla="*/ 2647295 w 5248218"/>
                <a:gd name="connsiteY842" fmla="*/ 3150664 h 4232411"/>
                <a:gd name="connsiteX843" fmla="*/ 2594094 w 5248218"/>
                <a:gd name="connsiteY843" fmla="*/ 3097463 h 4232411"/>
                <a:gd name="connsiteX844" fmla="*/ 2540894 w 5248218"/>
                <a:gd name="connsiteY844" fmla="*/ 3150664 h 4232411"/>
                <a:gd name="connsiteX845" fmla="*/ 2532025 w 5248218"/>
                <a:gd name="connsiteY845" fmla="*/ 2547722 h 4232411"/>
                <a:gd name="connsiteX846" fmla="*/ 2549759 w 5248218"/>
                <a:gd name="connsiteY846" fmla="*/ 2565456 h 4232411"/>
                <a:gd name="connsiteX847" fmla="*/ 2567493 w 5248218"/>
                <a:gd name="connsiteY847" fmla="*/ 2547722 h 4232411"/>
                <a:gd name="connsiteX848" fmla="*/ 2549759 w 5248218"/>
                <a:gd name="connsiteY848" fmla="*/ 2529988 h 4232411"/>
                <a:gd name="connsiteX849" fmla="*/ 2532025 w 5248218"/>
                <a:gd name="connsiteY849" fmla="*/ 2547722 h 4232411"/>
                <a:gd name="connsiteX850" fmla="*/ 2496558 w 5248218"/>
                <a:gd name="connsiteY850" fmla="*/ 1944781 h 4232411"/>
                <a:gd name="connsiteX851" fmla="*/ 2502470 w 5248218"/>
                <a:gd name="connsiteY851" fmla="*/ 1950692 h 4232411"/>
                <a:gd name="connsiteX852" fmla="*/ 2508381 w 5248218"/>
                <a:gd name="connsiteY852" fmla="*/ 1944781 h 4232411"/>
                <a:gd name="connsiteX853" fmla="*/ 2502470 w 5248218"/>
                <a:gd name="connsiteY853" fmla="*/ 1938870 h 4232411"/>
                <a:gd name="connsiteX854" fmla="*/ 2496558 w 5248218"/>
                <a:gd name="connsiteY854" fmla="*/ 1944781 h 4232411"/>
                <a:gd name="connsiteX855" fmla="*/ 2490647 w 5248218"/>
                <a:gd name="connsiteY855" fmla="*/ 3360509 h 4232411"/>
                <a:gd name="connsiteX856" fmla="*/ 2549759 w 5248218"/>
                <a:gd name="connsiteY856" fmla="*/ 3419621 h 4232411"/>
                <a:gd name="connsiteX857" fmla="*/ 2608871 w 5248218"/>
                <a:gd name="connsiteY857" fmla="*/ 3360509 h 4232411"/>
                <a:gd name="connsiteX858" fmla="*/ 2549759 w 5248218"/>
                <a:gd name="connsiteY858" fmla="*/ 3301397 h 4232411"/>
                <a:gd name="connsiteX859" fmla="*/ 2490647 w 5248218"/>
                <a:gd name="connsiteY859" fmla="*/ 3360509 h 4232411"/>
                <a:gd name="connsiteX860" fmla="*/ 2481782 w 5248218"/>
                <a:gd name="connsiteY860" fmla="*/ 2760525 h 4232411"/>
                <a:gd name="connsiteX861" fmla="*/ 2505427 w 5248218"/>
                <a:gd name="connsiteY861" fmla="*/ 2784170 h 4232411"/>
                <a:gd name="connsiteX862" fmla="*/ 2529071 w 5248218"/>
                <a:gd name="connsiteY862" fmla="*/ 2760525 h 4232411"/>
                <a:gd name="connsiteX863" fmla="*/ 2505427 w 5248218"/>
                <a:gd name="connsiteY863" fmla="*/ 2736880 h 4232411"/>
                <a:gd name="connsiteX864" fmla="*/ 2481782 w 5248218"/>
                <a:gd name="connsiteY864" fmla="*/ 2760525 h 4232411"/>
                <a:gd name="connsiteX865" fmla="*/ 2449269 w 5248218"/>
                <a:gd name="connsiteY865" fmla="*/ 2157584 h 4232411"/>
                <a:gd name="connsiteX866" fmla="*/ 2461091 w 5248218"/>
                <a:gd name="connsiteY866" fmla="*/ 2169406 h 4232411"/>
                <a:gd name="connsiteX867" fmla="*/ 2472914 w 5248218"/>
                <a:gd name="connsiteY867" fmla="*/ 2157584 h 4232411"/>
                <a:gd name="connsiteX868" fmla="*/ 2461091 w 5248218"/>
                <a:gd name="connsiteY868" fmla="*/ 2145762 h 4232411"/>
                <a:gd name="connsiteX869" fmla="*/ 2449269 w 5248218"/>
                <a:gd name="connsiteY869" fmla="*/ 2157584 h 4232411"/>
                <a:gd name="connsiteX870" fmla="*/ 2446315 w 5248218"/>
                <a:gd name="connsiteY870" fmla="*/ 3570358 h 4232411"/>
                <a:gd name="connsiteX871" fmla="*/ 2505427 w 5248218"/>
                <a:gd name="connsiteY871" fmla="*/ 3629470 h 4232411"/>
                <a:gd name="connsiteX872" fmla="*/ 2564539 w 5248218"/>
                <a:gd name="connsiteY872" fmla="*/ 3570358 h 4232411"/>
                <a:gd name="connsiteX873" fmla="*/ 2505427 w 5248218"/>
                <a:gd name="connsiteY873" fmla="*/ 3511246 h 4232411"/>
                <a:gd name="connsiteX874" fmla="*/ 2446315 w 5248218"/>
                <a:gd name="connsiteY874" fmla="*/ 3570358 h 4232411"/>
                <a:gd name="connsiteX875" fmla="*/ 2422670 w 5248218"/>
                <a:gd name="connsiteY875" fmla="*/ 2973331 h 4232411"/>
                <a:gd name="connsiteX876" fmla="*/ 2461094 w 5248218"/>
                <a:gd name="connsiteY876" fmla="*/ 3011752 h 4232411"/>
                <a:gd name="connsiteX877" fmla="*/ 2499515 w 5248218"/>
                <a:gd name="connsiteY877" fmla="*/ 2973331 h 4232411"/>
                <a:gd name="connsiteX878" fmla="*/ 2461094 w 5248218"/>
                <a:gd name="connsiteY878" fmla="*/ 2934906 h 4232411"/>
                <a:gd name="connsiteX879" fmla="*/ 2422670 w 5248218"/>
                <a:gd name="connsiteY879" fmla="*/ 2973331 h 4232411"/>
                <a:gd name="connsiteX880" fmla="*/ 2407890 w 5248218"/>
                <a:gd name="connsiteY880" fmla="*/ 2373344 h 4232411"/>
                <a:gd name="connsiteX881" fmla="*/ 2416759 w 5248218"/>
                <a:gd name="connsiteY881" fmla="*/ 2382209 h 4232411"/>
                <a:gd name="connsiteX882" fmla="*/ 2425624 w 5248218"/>
                <a:gd name="connsiteY882" fmla="*/ 2373344 h 4232411"/>
                <a:gd name="connsiteX883" fmla="*/ 2416759 w 5248218"/>
                <a:gd name="connsiteY883" fmla="*/ 2364476 h 4232411"/>
                <a:gd name="connsiteX884" fmla="*/ 2407890 w 5248218"/>
                <a:gd name="connsiteY884" fmla="*/ 2373344 h 4232411"/>
                <a:gd name="connsiteX885" fmla="*/ 2404933 w 5248218"/>
                <a:gd name="connsiteY885" fmla="*/ 3780204 h 4232411"/>
                <a:gd name="connsiteX886" fmla="*/ 2461091 w 5248218"/>
                <a:gd name="connsiteY886" fmla="*/ 3836362 h 4232411"/>
                <a:gd name="connsiteX887" fmla="*/ 2517246 w 5248218"/>
                <a:gd name="connsiteY887" fmla="*/ 3780204 h 4232411"/>
                <a:gd name="connsiteX888" fmla="*/ 2461091 w 5248218"/>
                <a:gd name="connsiteY888" fmla="*/ 3724049 h 4232411"/>
                <a:gd name="connsiteX889" fmla="*/ 2404933 w 5248218"/>
                <a:gd name="connsiteY889" fmla="*/ 3780204 h 4232411"/>
                <a:gd name="connsiteX890" fmla="*/ 2369469 w 5248218"/>
                <a:gd name="connsiteY890" fmla="*/ 3180220 h 4232411"/>
                <a:gd name="connsiteX891" fmla="*/ 2416759 w 5248218"/>
                <a:gd name="connsiteY891" fmla="*/ 3227509 h 4232411"/>
                <a:gd name="connsiteX892" fmla="*/ 2464048 w 5248218"/>
                <a:gd name="connsiteY892" fmla="*/ 3180220 h 4232411"/>
                <a:gd name="connsiteX893" fmla="*/ 2416759 w 5248218"/>
                <a:gd name="connsiteY893" fmla="*/ 3132930 h 4232411"/>
                <a:gd name="connsiteX894" fmla="*/ 2369469 w 5248218"/>
                <a:gd name="connsiteY894" fmla="*/ 3180220 h 4232411"/>
                <a:gd name="connsiteX895" fmla="*/ 2360601 w 5248218"/>
                <a:gd name="connsiteY895" fmla="*/ 3984141 h 4232411"/>
                <a:gd name="connsiteX896" fmla="*/ 2419713 w 5248218"/>
                <a:gd name="connsiteY896" fmla="*/ 4043253 h 4232411"/>
                <a:gd name="connsiteX897" fmla="*/ 2478825 w 5248218"/>
                <a:gd name="connsiteY897" fmla="*/ 3984141 h 4232411"/>
                <a:gd name="connsiteX898" fmla="*/ 2419713 w 5248218"/>
                <a:gd name="connsiteY898" fmla="*/ 3925029 h 4232411"/>
                <a:gd name="connsiteX899" fmla="*/ 2360601 w 5248218"/>
                <a:gd name="connsiteY899" fmla="*/ 3984141 h 4232411"/>
                <a:gd name="connsiteX900" fmla="*/ 2354690 w 5248218"/>
                <a:gd name="connsiteY900" fmla="*/ 2583190 h 4232411"/>
                <a:gd name="connsiteX901" fmla="*/ 2372423 w 5248218"/>
                <a:gd name="connsiteY901" fmla="*/ 2600923 h 4232411"/>
                <a:gd name="connsiteX902" fmla="*/ 2390157 w 5248218"/>
                <a:gd name="connsiteY902" fmla="*/ 2583190 h 4232411"/>
                <a:gd name="connsiteX903" fmla="*/ 2372423 w 5248218"/>
                <a:gd name="connsiteY903" fmla="*/ 2565456 h 4232411"/>
                <a:gd name="connsiteX904" fmla="*/ 2354690 w 5248218"/>
                <a:gd name="connsiteY904" fmla="*/ 2583190 h 4232411"/>
                <a:gd name="connsiteX905" fmla="*/ 2319223 w 5248218"/>
                <a:gd name="connsiteY905" fmla="*/ 1983205 h 4232411"/>
                <a:gd name="connsiteX906" fmla="*/ 2328088 w 5248218"/>
                <a:gd name="connsiteY906" fmla="*/ 1992070 h 4232411"/>
                <a:gd name="connsiteX907" fmla="*/ 2336956 w 5248218"/>
                <a:gd name="connsiteY907" fmla="*/ 1983205 h 4232411"/>
                <a:gd name="connsiteX908" fmla="*/ 2328088 w 5248218"/>
                <a:gd name="connsiteY908" fmla="*/ 1974337 h 4232411"/>
                <a:gd name="connsiteX909" fmla="*/ 2319223 w 5248218"/>
                <a:gd name="connsiteY909" fmla="*/ 1983205 h 4232411"/>
                <a:gd name="connsiteX910" fmla="*/ 2313311 w 5248218"/>
                <a:gd name="connsiteY910" fmla="*/ 3387111 h 4232411"/>
                <a:gd name="connsiteX911" fmla="*/ 2372423 w 5248218"/>
                <a:gd name="connsiteY911" fmla="*/ 3446223 h 4232411"/>
                <a:gd name="connsiteX912" fmla="*/ 2431535 w 5248218"/>
                <a:gd name="connsiteY912" fmla="*/ 3387111 h 4232411"/>
                <a:gd name="connsiteX913" fmla="*/ 2372423 w 5248218"/>
                <a:gd name="connsiteY913" fmla="*/ 3327999 h 4232411"/>
                <a:gd name="connsiteX914" fmla="*/ 2313311 w 5248218"/>
                <a:gd name="connsiteY914" fmla="*/ 3387111 h 4232411"/>
                <a:gd name="connsiteX915" fmla="*/ 2307400 w 5248218"/>
                <a:gd name="connsiteY915" fmla="*/ 2793035 h 4232411"/>
                <a:gd name="connsiteX916" fmla="*/ 2328091 w 5248218"/>
                <a:gd name="connsiteY916" fmla="*/ 2813726 h 4232411"/>
                <a:gd name="connsiteX917" fmla="*/ 2348779 w 5248218"/>
                <a:gd name="connsiteY917" fmla="*/ 2793035 h 4232411"/>
                <a:gd name="connsiteX918" fmla="*/ 2328091 w 5248218"/>
                <a:gd name="connsiteY918" fmla="*/ 2772348 h 4232411"/>
                <a:gd name="connsiteX919" fmla="*/ 2307400 w 5248218"/>
                <a:gd name="connsiteY919" fmla="*/ 2793035 h 4232411"/>
                <a:gd name="connsiteX920" fmla="*/ 2271933 w 5248218"/>
                <a:gd name="connsiteY920" fmla="*/ 2193051 h 4232411"/>
                <a:gd name="connsiteX921" fmla="*/ 2283756 w 5248218"/>
                <a:gd name="connsiteY921" fmla="*/ 2204873 h 4232411"/>
                <a:gd name="connsiteX922" fmla="*/ 2295578 w 5248218"/>
                <a:gd name="connsiteY922" fmla="*/ 2193051 h 4232411"/>
                <a:gd name="connsiteX923" fmla="*/ 2283756 w 5248218"/>
                <a:gd name="connsiteY923" fmla="*/ 2181228 h 4232411"/>
                <a:gd name="connsiteX924" fmla="*/ 2271933 w 5248218"/>
                <a:gd name="connsiteY924" fmla="*/ 2193051 h 4232411"/>
                <a:gd name="connsiteX925" fmla="*/ 2266022 w 5248218"/>
                <a:gd name="connsiteY925" fmla="*/ 3594006 h 4232411"/>
                <a:gd name="connsiteX926" fmla="*/ 2328091 w 5248218"/>
                <a:gd name="connsiteY926" fmla="*/ 3656072 h 4232411"/>
                <a:gd name="connsiteX927" fmla="*/ 2390157 w 5248218"/>
                <a:gd name="connsiteY927" fmla="*/ 3594006 h 4232411"/>
                <a:gd name="connsiteX928" fmla="*/ 2328091 w 5248218"/>
                <a:gd name="connsiteY928" fmla="*/ 3531936 h 4232411"/>
                <a:gd name="connsiteX929" fmla="*/ 2266022 w 5248218"/>
                <a:gd name="connsiteY929" fmla="*/ 3594006 h 4232411"/>
                <a:gd name="connsiteX930" fmla="*/ 2245334 w 5248218"/>
                <a:gd name="connsiteY930" fmla="*/ 2996972 h 4232411"/>
                <a:gd name="connsiteX931" fmla="*/ 2283756 w 5248218"/>
                <a:gd name="connsiteY931" fmla="*/ 3035397 h 4232411"/>
                <a:gd name="connsiteX932" fmla="*/ 2322180 w 5248218"/>
                <a:gd name="connsiteY932" fmla="*/ 2996972 h 4232411"/>
                <a:gd name="connsiteX933" fmla="*/ 2283756 w 5248218"/>
                <a:gd name="connsiteY933" fmla="*/ 2958552 h 4232411"/>
                <a:gd name="connsiteX934" fmla="*/ 2245334 w 5248218"/>
                <a:gd name="connsiteY934" fmla="*/ 2996972 h 4232411"/>
                <a:gd name="connsiteX935" fmla="*/ 2227598 w 5248218"/>
                <a:gd name="connsiteY935" fmla="*/ 3797937 h 4232411"/>
                <a:gd name="connsiteX936" fmla="*/ 2283756 w 5248218"/>
                <a:gd name="connsiteY936" fmla="*/ 3854095 h 4232411"/>
                <a:gd name="connsiteX937" fmla="*/ 2339910 w 5248218"/>
                <a:gd name="connsiteY937" fmla="*/ 3797937 h 4232411"/>
                <a:gd name="connsiteX938" fmla="*/ 2283756 w 5248218"/>
                <a:gd name="connsiteY938" fmla="*/ 3741782 h 4232411"/>
                <a:gd name="connsiteX939" fmla="*/ 2227598 w 5248218"/>
                <a:gd name="connsiteY939" fmla="*/ 3797937 h 4232411"/>
                <a:gd name="connsiteX940" fmla="*/ 2224644 w 5248218"/>
                <a:gd name="connsiteY940" fmla="*/ 2399942 h 4232411"/>
                <a:gd name="connsiteX941" fmla="*/ 2239423 w 5248218"/>
                <a:gd name="connsiteY941" fmla="*/ 2414719 h 4232411"/>
                <a:gd name="connsiteX942" fmla="*/ 2254200 w 5248218"/>
                <a:gd name="connsiteY942" fmla="*/ 2399942 h 4232411"/>
                <a:gd name="connsiteX943" fmla="*/ 2239423 w 5248218"/>
                <a:gd name="connsiteY943" fmla="*/ 2385163 h 4232411"/>
                <a:gd name="connsiteX944" fmla="*/ 2224644 w 5248218"/>
                <a:gd name="connsiteY944" fmla="*/ 2399942 h 4232411"/>
                <a:gd name="connsiteX945" fmla="*/ 2192134 w 5248218"/>
                <a:gd name="connsiteY945" fmla="*/ 1802916 h 4232411"/>
                <a:gd name="connsiteX946" fmla="*/ 2195088 w 5248218"/>
                <a:gd name="connsiteY946" fmla="*/ 1805870 h 4232411"/>
                <a:gd name="connsiteX947" fmla="*/ 2198045 w 5248218"/>
                <a:gd name="connsiteY947" fmla="*/ 1802916 h 4232411"/>
                <a:gd name="connsiteX948" fmla="*/ 2195088 w 5248218"/>
                <a:gd name="connsiteY948" fmla="*/ 1799958 h 4232411"/>
                <a:gd name="connsiteX949" fmla="*/ 2192134 w 5248218"/>
                <a:gd name="connsiteY949" fmla="*/ 1802916 h 4232411"/>
                <a:gd name="connsiteX950" fmla="*/ 2189176 w 5248218"/>
                <a:gd name="connsiteY950" fmla="*/ 4205812 h 4232411"/>
                <a:gd name="connsiteX951" fmla="*/ 2195088 w 5248218"/>
                <a:gd name="connsiteY951" fmla="*/ 4211724 h 4232411"/>
                <a:gd name="connsiteX952" fmla="*/ 2200999 w 5248218"/>
                <a:gd name="connsiteY952" fmla="*/ 4205812 h 4232411"/>
                <a:gd name="connsiteX953" fmla="*/ 2195088 w 5248218"/>
                <a:gd name="connsiteY953" fmla="*/ 4199901 h 4232411"/>
                <a:gd name="connsiteX954" fmla="*/ 2189176 w 5248218"/>
                <a:gd name="connsiteY954" fmla="*/ 4205812 h 4232411"/>
                <a:gd name="connsiteX955" fmla="*/ 2186222 w 5248218"/>
                <a:gd name="connsiteY955" fmla="*/ 3200910 h 4232411"/>
                <a:gd name="connsiteX956" fmla="*/ 2239423 w 5248218"/>
                <a:gd name="connsiteY956" fmla="*/ 3254111 h 4232411"/>
                <a:gd name="connsiteX957" fmla="*/ 2292624 w 5248218"/>
                <a:gd name="connsiteY957" fmla="*/ 3200910 h 4232411"/>
                <a:gd name="connsiteX958" fmla="*/ 2239423 w 5248218"/>
                <a:gd name="connsiteY958" fmla="*/ 3147710 h 4232411"/>
                <a:gd name="connsiteX959" fmla="*/ 2186222 w 5248218"/>
                <a:gd name="connsiteY959" fmla="*/ 3200910 h 4232411"/>
                <a:gd name="connsiteX960" fmla="*/ 2180311 w 5248218"/>
                <a:gd name="connsiteY960" fmla="*/ 4004832 h 4232411"/>
                <a:gd name="connsiteX961" fmla="*/ 2239423 w 5248218"/>
                <a:gd name="connsiteY961" fmla="*/ 4063944 h 4232411"/>
                <a:gd name="connsiteX962" fmla="*/ 2298535 w 5248218"/>
                <a:gd name="connsiteY962" fmla="*/ 4004832 h 4232411"/>
                <a:gd name="connsiteX963" fmla="*/ 2239423 w 5248218"/>
                <a:gd name="connsiteY963" fmla="*/ 3945720 h 4232411"/>
                <a:gd name="connsiteX964" fmla="*/ 2180311 w 5248218"/>
                <a:gd name="connsiteY964" fmla="*/ 4004832 h 4232411"/>
                <a:gd name="connsiteX965" fmla="*/ 2174397 w 5248218"/>
                <a:gd name="connsiteY965" fmla="*/ 2606834 h 4232411"/>
                <a:gd name="connsiteX966" fmla="*/ 2195088 w 5248218"/>
                <a:gd name="connsiteY966" fmla="*/ 2627525 h 4232411"/>
                <a:gd name="connsiteX967" fmla="*/ 2215775 w 5248218"/>
                <a:gd name="connsiteY967" fmla="*/ 2606834 h 4232411"/>
                <a:gd name="connsiteX968" fmla="*/ 2195088 w 5248218"/>
                <a:gd name="connsiteY968" fmla="*/ 2586146 h 4232411"/>
                <a:gd name="connsiteX969" fmla="*/ 2174397 w 5248218"/>
                <a:gd name="connsiteY969" fmla="*/ 2606834 h 4232411"/>
                <a:gd name="connsiteX970" fmla="*/ 2144841 w 5248218"/>
                <a:gd name="connsiteY970" fmla="*/ 2009804 h 4232411"/>
                <a:gd name="connsiteX971" fmla="*/ 2150752 w 5248218"/>
                <a:gd name="connsiteY971" fmla="*/ 2015715 h 4232411"/>
                <a:gd name="connsiteX972" fmla="*/ 2156663 w 5248218"/>
                <a:gd name="connsiteY972" fmla="*/ 2009804 h 4232411"/>
                <a:gd name="connsiteX973" fmla="*/ 2150752 w 5248218"/>
                <a:gd name="connsiteY973" fmla="*/ 2003893 h 4232411"/>
                <a:gd name="connsiteX974" fmla="*/ 2144841 w 5248218"/>
                <a:gd name="connsiteY974" fmla="*/ 2009804 h 4232411"/>
                <a:gd name="connsiteX975" fmla="*/ 2135976 w 5248218"/>
                <a:gd name="connsiteY975" fmla="*/ 3407802 h 4232411"/>
                <a:gd name="connsiteX976" fmla="*/ 2195088 w 5248218"/>
                <a:gd name="connsiteY976" fmla="*/ 3466914 h 4232411"/>
                <a:gd name="connsiteX977" fmla="*/ 2254200 w 5248218"/>
                <a:gd name="connsiteY977" fmla="*/ 3407802 h 4232411"/>
                <a:gd name="connsiteX978" fmla="*/ 2195088 w 5248218"/>
                <a:gd name="connsiteY978" fmla="*/ 3348690 h 4232411"/>
                <a:gd name="connsiteX979" fmla="*/ 2135976 w 5248218"/>
                <a:gd name="connsiteY979" fmla="*/ 3407802 h 4232411"/>
                <a:gd name="connsiteX980" fmla="*/ 2127111 w 5248218"/>
                <a:gd name="connsiteY980" fmla="*/ 2810772 h 4232411"/>
                <a:gd name="connsiteX981" fmla="*/ 2150755 w 5248218"/>
                <a:gd name="connsiteY981" fmla="*/ 2834416 h 4232411"/>
                <a:gd name="connsiteX982" fmla="*/ 2174400 w 5248218"/>
                <a:gd name="connsiteY982" fmla="*/ 2810772 h 4232411"/>
                <a:gd name="connsiteX983" fmla="*/ 2150755 w 5248218"/>
                <a:gd name="connsiteY983" fmla="*/ 2787127 h 4232411"/>
                <a:gd name="connsiteX984" fmla="*/ 2127111 w 5248218"/>
                <a:gd name="connsiteY984" fmla="*/ 2810772 h 4232411"/>
                <a:gd name="connsiteX985" fmla="*/ 2097555 w 5248218"/>
                <a:gd name="connsiteY985" fmla="*/ 2210788 h 4232411"/>
                <a:gd name="connsiteX986" fmla="*/ 2106423 w 5248218"/>
                <a:gd name="connsiteY986" fmla="*/ 2219653 h 4232411"/>
                <a:gd name="connsiteX987" fmla="*/ 2115288 w 5248218"/>
                <a:gd name="connsiteY987" fmla="*/ 2210788 h 4232411"/>
                <a:gd name="connsiteX988" fmla="*/ 2106423 w 5248218"/>
                <a:gd name="connsiteY988" fmla="*/ 2201919 h 4232411"/>
                <a:gd name="connsiteX989" fmla="*/ 2097555 w 5248218"/>
                <a:gd name="connsiteY989" fmla="*/ 2210788 h 4232411"/>
                <a:gd name="connsiteX990" fmla="*/ 2082775 w 5248218"/>
                <a:gd name="connsiteY990" fmla="*/ 3608782 h 4232411"/>
                <a:gd name="connsiteX991" fmla="*/ 2150755 w 5248218"/>
                <a:gd name="connsiteY991" fmla="*/ 3676760 h 4232411"/>
                <a:gd name="connsiteX992" fmla="*/ 2218732 w 5248218"/>
                <a:gd name="connsiteY992" fmla="*/ 3608782 h 4232411"/>
                <a:gd name="connsiteX993" fmla="*/ 2150755 w 5248218"/>
                <a:gd name="connsiteY993" fmla="*/ 3540802 h 4232411"/>
                <a:gd name="connsiteX994" fmla="*/ 2082775 w 5248218"/>
                <a:gd name="connsiteY994" fmla="*/ 3608782 h 4232411"/>
                <a:gd name="connsiteX995" fmla="*/ 2062087 w 5248218"/>
                <a:gd name="connsiteY995" fmla="*/ 3011752 h 4232411"/>
                <a:gd name="connsiteX996" fmla="*/ 2106423 w 5248218"/>
                <a:gd name="connsiteY996" fmla="*/ 3056084 h 4232411"/>
                <a:gd name="connsiteX997" fmla="*/ 2150755 w 5248218"/>
                <a:gd name="connsiteY997" fmla="*/ 3011752 h 4232411"/>
                <a:gd name="connsiteX998" fmla="*/ 2106423 w 5248218"/>
                <a:gd name="connsiteY998" fmla="*/ 2967416 h 4232411"/>
                <a:gd name="connsiteX999" fmla="*/ 2062087 w 5248218"/>
                <a:gd name="connsiteY999" fmla="*/ 3011752 h 4232411"/>
                <a:gd name="connsiteX1000" fmla="*/ 2050262 w 5248218"/>
                <a:gd name="connsiteY1000" fmla="*/ 2414722 h 4232411"/>
                <a:gd name="connsiteX1001" fmla="*/ 2062084 w 5248218"/>
                <a:gd name="connsiteY1001" fmla="*/ 2426544 h 4232411"/>
                <a:gd name="connsiteX1002" fmla="*/ 2073907 w 5248218"/>
                <a:gd name="connsiteY1002" fmla="*/ 2414722 h 4232411"/>
                <a:gd name="connsiteX1003" fmla="*/ 2062084 w 5248218"/>
                <a:gd name="connsiteY1003" fmla="*/ 2402900 h 4232411"/>
                <a:gd name="connsiteX1004" fmla="*/ 2050262 w 5248218"/>
                <a:gd name="connsiteY1004" fmla="*/ 2414722 h 4232411"/>
                <a:gd name="connsiteX1005" fmla="*/ 2047308 w 5248218"/>
                <a:gd name="connsiteY1005" fmla="*/ 3812716 h 4232411"/>
                <a:gd name="connsiteX1006" fmla="*/ 2106420 w 5248218"/>
                <a:gd name="connsiteY1006" fmla="*/ 3871828 h 4232411"/>
                <a:gd name="connsiteX1007" fmla="*/ 2165532 w 5248218"/>
                <a:gd name="connsiteY1007" fmla="*/ 3812716 h 4232411"/>
                <a:gd name="connsiteX1008" fmla="*/ 2106420 w 5248218"/>
                <a:gd name="connsiteY1008" fmla="*/ 3753604 h 4232411"/>
                <a:gd name="connsiteX1009" fmla="*/ 2047308 w 5248218"/>
                <a:gd name="connsiteY1009" fmla="*/ 3812716 h 4232411"/>
                <a:gd name="connsiteX1010" fmla="*/ 2008887 w 5248218"/>
                <a:gd name="connsiteY1010" fmla="*/ 3215686 h 4232411"/>
                <a:gd name="connsiteX1011" fmla="*/ 2062087 w 5248218"/>
                <a:gd name="connsiteY1011" fmla="*/ 3268888 h 4232411"/>
                <a:gd name="connsiteX1012" fmla="*/ 2115288 w 5248218"/>
                <a:gd name="connsiteY1012" fmla="*/ 3215686 h 4232411"/>
                <a:gd name="connsiteX1013" fmla="*/ 2062087 w 5248218"/>
                <a:gd name="connsiteY1013" fmla="*/ 3162486 h 4232411"/>
                <a:gd name="connsiteX1014" fmla="*/ 2008887 w 5248218"/>
                <a:gd name="connsiteY1014" fmla="*/ 3215686 h 4232411"/>
                <a:gd name="connsiteX1015" fmla="*/ 2005929 w 5248218"/>
                <a:gd name="connsiteY1015" fmla="*/ 4010740 h 4232411"/>
                <a:gd name="connsiteX1016" fmla="*/ 2062087 w 5248218"/>
                <a:gd name="connsiteY1016" fmla="*/ 4066898 h 4232411"/>
                <a:gd name="connsiteX1017" fmla="*/ 2118242 w 5248218"/>
                <a:gd name="connsiteY1017" fmla="*/ 4010740 h 4232411"/>
                <a:gd name="connsiteX1018" fmla="*/ 2062087 w 5248218"/>
                <a:gd name="connsiteY1018" fmla="*/ 3954585 h 4232411"/>
                <a:gd name="connsiteX1019" fmla="*/ 2005929 w 5248218"/>
                <a:gd name="connsiteY1019" fmla="*/ 4010740 h 4232411"/>
                <a:gd name="connsiteX1020" fmla="*/ 2002975 w 5248218"/>
                <a:gd name="connsiteY1020" fmla="*/ 2618660 h 4232411"/>
                <a:gd name="connsiteX1021" fmla="*/ 2017755 w 5248218"/>
                <a:gd name="connsiteY1021" fmla="*/ 2633436 h 4232411"/>
                <a:gd name="connsiteX1022" fmla="*/ 2032531 w 5248218"/>
                <a:gd name="connsiteY1022" fmla="*/ 2618660 h 4232411"/>
                <a:gd name="connsiteX1023" fmla="*/ 2017755 w 5248218"/>
                <a:gd name="connsiteY1023" fmla="*/ 2603880 h 4232411"/>
                <a:gd name="connsiteX1024" fmla="*/ 2002975 w 5248218"/>
                <a:gd name="connsiteY1024" fmla="*/ 2618660 h 4232411"/>
                <a:gd name="connsiteX1025" fmla="*/ 1997061 w 5248218"/>
                <a:gd name="connsiteY1025" fmla="*/ 4211720 h 4232411"/>
                <a:gd name="connsiteX1026" fmla="*/ 2017752 w 5248218"/>
                <a:gd name="connsiteY1026" fmla="*/ 4232411 h 4232411"/>
                <a:gd name="connsiteX1027" fmla="*/ 2038440 w 5248218"/>
                <a:gd name="connsiteY1027" fmla="*/ 4211720 h 4232411"/>
                <a:gd name="connsiteX1028" fmla="*/ 2017752 w 5248218"/>
                <a:gd name="connsiteY1028" fmla="*/ 4191032 h 4232411"/>
                <a:gd name="connsiteX1029" fmla="*/ 1997061 w 5248218"/>
                <a:gd name="connsiteY1029" fmla="*/ 4211720 h 4232411"/>
                <a:gd name="connsiteX1030" fmla="*/ 1967138 w 5248218"/>
                <a:gd name="connsiteY1030" fmla="*/ 2025691 h 4232411"/>
                <a:gd name="connsiteX1031" fmla="*/ 1973420 w 5248218"/>
                <a:gd name="connsiteY1031" fmla="*/ 2027538 h 4232411"/>
                <a:gd name="connsiteX1032" fmla="*/ 1979331 w 5248218"/>
                <a:gd name="connsiteY1032" fmla="*/ 2021626 h 4232411"/>
                <a:gd name="connsiteX1033" fmla="*/ 1973420 w 5248218"/>
                <a:gd name="connsiteY1033" fmla="*/ 2015715 h 4232411"/>
                <a:gd name="connsiteX1034" fmla="*/ 1967508 w 5248218"/>
                <a:gd name="connsiteY1034" fmla="*/ 2021626 h 4232411"/>
                <a:gd name="connsiteX1035" fmla="*/ 1967138 w 5248218"/>
                <a:gd name="connsiteY1035" fmla="*/ 2025691 h 4232411"/>
                <a:gd name="connsiteX1036" fmla="*/ 1961594 w 5248218"/>
                <a:gd name="connsiteY1036" fmla="*/ 3416667 h 4232411"/>
                <a:gd name="connsiteX1037" fmla="*/ 2017752 w 5248218"/>
                <a:gd name="connsiteY1037" fmla="*/ 3472822 h 4232411"/>
                <a:gd name="connsiteX1038" fmla="*/ 2073907 w 5248218"/>
                <a:gd name="connsiteY1038" fmla="*/ 3416667 h 4232411"/>
                <a:gd name="connsiteX1039" fmla="*/ 2017752 w 5248218"/>
                <a:gd name="connsiteY1039" fmla="*/ 3360509 h 4232411"/>
                <a:gd name="connsiteX1040" fmla="*/ 1961594 w 5248218"/>
                <a:gd name="connsiteY1040" fmla="*/ 3416667 h 4232411"/>
                <a:gd name="connsiteX1041" fmla="*/ 1946818 w 5248218"/>
                <a:gd name="connsiteY1041" fmla="*/ 2816683 h 4232411"/>
                <a:gd name="connsiteX1042" fmla="*/ 1973420 w 5248218"/>
                <a:gd name="connsiteY1042" fmla="*/ 2843282 h 4232411"/>
                <a:gd name="connsiteX1043" fmla="*/ 2000018 w 5248218"/>
                <a:gd name="connsiteY1043" fmla="*/ 2816683 h 4232411"/>
                <a:gd name="connsiteX1044" fmla="*/ 1973420 w 5248218"/>
                <a:gd name="connsiteY1044" fmla="*/ 2790081 h 4232411"/>
                <a:gd name="connsiteX1045" fmla="*/ 1946818 w 5248218"/>
                <a:gd name="connsiteY1045" fmla="*/ 2816683 h 4232411"/>
                <a:gd name="connsiteX1046" fmla="*/ 1917262 w 5248218"/>
                <a:gd name="connsiteY1046" fmla="*/ 2219653 h 4232411"/>
                <a:gd name="connsiteX1047" fmla="*/ 1926130 w 5248218"/>
                <a:gd name="connsiteY1047" fmla="*/ 2228518 h 4232411"/>
                <a:gd name="connsiteX1048" fmla="*/ 1934995 w 5248218"/>
                <a:gd name="connsiteY1048" fmla="*/ 2219653 h 4232411"/>
                <a:gd name="connsiteX1049" fmla="*/ 1926130 w 5248218"/>
                <a:gd name="connsiteY1049" fmla="*/ 2210784 h 4232411"/>
                <a:gd name="connsiteX1050" fmla="*/ 1917262 w 5248218"/>
                <a:gd name="connsiteY1050" fmla="*/ 2219653 h 4232411"/>
                <a:gd name="connsiteX1051" fmla="*/ 1905439 w 5248218"/>
                <a:gd name="connsiteY1051" fmla="*/ 3614694 h 4232411"/>
                <a:gd name="connsiteX1052" fmla="*/ 1973420 w 5248218"/>
                <a:gd name="connsiteY1052" fmla="*/ 3682670 h 4232411"/>
                <a:gd name="connsiteX1053" fmla="*/ 2041397 w 5248218"/>
                <a:gd name="connsiteY1053" fmla="*/ 3614694 h 4232411"/>
                <a:gd name="connsiteX1054" fmla="*/ 1973420 w 5248218"/>
                <a:gd name="connsiteY1054" fmla="*/ 3546713 h 4232411"/>
                <a:gd name="connsiteX1055" fmla="*/ 1905439 w 5248218"/>
                <a:gd name="connsiteY1055" fmla="*/ 3614694 h 4232411"/>
                <a:gd name="connsiteX1056" fmla="*/ 1881795 w 5248218"/>
                <a:gd name="connsiteY1056" fmla="*/ 3017664 h 4232411"/>
                <a:gd name="connsiteX1057" fmla="*/ 1926130 w 5248218"/>
                <a:gd name="connsiteY1057" fmla="*/ 3061996 h 4232411"/>
                <a:gd name="connsiteX1058" fmla="*/ 1970462 w 5248218"/>
                <a:gd name="connsiteY1058" fmla="*/ 3017664 h 4232411"/>
                <a:gd name="connsiteX1059" fmla="*/ 1926130 w 5248218"/>
                <a:gd name="connsiteY1059" fmla="*/ 2973328 h 4232411"/>
                <a:gd name="connsiteX1060" fmla="*/ 1881795 w 5248218"/>
                <a:gd name="connsiteY1060" fmla="*/ 3017664 h 4232411"/>
                <a:gd name="connsiteX1061" fmla="*/ 1869972 w 5248218"/>
                <a:gd name="connsiteY1061" fmla="*/ 2417676 h 4232411"/>
                <a:gd name="connsiteX1062" fmla="*/ 1881795 w 5248218"/>
                <a:gd name="connsiteY1062" fmla="*/ 2429498 h 4232411"/>
                <a:gd name="connsiteX1063" fmla="*/ 1893617 w 5248218"/>
                <a:gd name="connsiteY1063" fmla="*/ 2417676 h 4232411"/>
                <a:gd name="connsiteX1064" fmla="*/ 1881795 w 5248218"/>
                <a:gd name="connsiteY1064" fmla="*/ 2405854 h 4232411"/>
                <a:gd name="connsiteX1065" fmla="*/ 1869972 w 5248218"/>
                <a:gd name="connsiteY1065" fmla="*/ 2417676 h 4232411"/>
                <a:gd name="connsiteX1066" fmla="*/ 1867018 w 5248218"/>
                <a:gd name="connsiteY1066" fmla="*/ 3815674 h 4232411"/>
                <a:gd name="connsiteX1067" fmla="*/ 1926130 w 5248218"/>
                <a:gd name="connsiteY1067" fmla="*/ 3874786 h 4232411"/>
                <a:gd name="connsiteX1068" fmla="*/ 1985242 w 5248218"/>
                <a:gd name="connsiteY1068" fmla="*/ 3815674 h 4232411"/>
                <a:gd name="connsiteX1069" fmla="*/ 1926130 w 5248218"/>
                <a:gd name="connsiteY1069" fmla="*/ 3756562 h 4232411"/>
                <a:gd name="connsiteX1070" fmla="*/ 1867018 w 5248218"/>
                <a:gd name="connsiteY1070" fmla="*/ 3815674 h 4232411"/>
                <a:gd name="connsiteX1071" fmla="*/ 1828594 w 5248218"/>
                <a:gd name="connsiteY1071" fmla="*/ 3218644 h 4232411"/>
                <a:gd name="connsiteX1072" fmla="*/ 1881795 w 5248218"/>
                <a:gd name="connsiteY1072" fmla="*/ 3271844 h 4232411"/>
                <a:gd name="connsiteX1073" fmla="*/ 1934995 w 5248218"/>
                <a:gd name="connsiteY1073" fmla="*/ 3218644 h 4232411"/>
                <a:gd name="connsiteX1074" fmla="*/ 1881795 w 5248218"/>
                <a:gd name="connsiteY1074" fmla="*/ 3165443 h 4232411"/>
                <a:gd name="connsiteX1075" fmla="*/ 1828594 w 5248218"/>
                <a:gd name="connsiteY1075" fmla="*/ 3218644 h 4232411"/>
                <a:gd name="connsiteX1076" fmla="*/ 1825640 w 5248218"/>
                <a:gd name="connsiteY1076" fmla="*/ 4013697 h 4232411"/>
                <a:gd name="connsiteX1077" fmla="*/ 1881795 w 5248218"/>
                <a:gd name="connsiteY1077" fmla="*/ 4069852 h 4232411"/>
                <a:gd name="connsiteX1078" fmla="*/ 1937952 w 5248218"/>
                <a:gd name="connsiteY1078" fmla="*/ 4013697 h 4232411"/>
                <a:gd name="connsiteX1079" fmla="*/ 1881795 w 5248218"/>
                <a:gd name="connsiteY1079" fmla="*/ 3957539 h 4232411"/>
                <a:gd name="connsiteX1080" fmla="*/ 1825640 w 5248218"/>
                <a:gd name="connsiteY1080" fmla="*/ 4013697 h 4232411"/>
                <a:gd name="connsiteX1081" fmla="*/ 1816771 w 5248218"/>
                <a:gd name="connsiteY1081" fmla="*/ 4211724 h 4232411"/>
                <a:gd name="connsiteX1082" fmla="*/ 1837462 w 5248218"/>
                <a:gd name="connsiteY1082" fmla="*/ 4232411 h 4232411"/>
                <a:gd name="connsiteX1083" fmla="*/ 1858150 w 5248218"/>
                <a:gd name="connsiteY1083" fmla="*/ 4211724 h 4232411"/>
                <a:gd name="connsiteX1084" fmla="*/ 1837462 w 5248218"/>
                <a:gd name="connsiteY1084" fmla="*/ 4191032 h 4232411"/>
                <a:gd name="connsiteX1085" fmla="*/ 1816771 w 5248218"/>
                <a:gd name="connsiteY1085" fmla="*/ 4211724 h 4232411"/>
                <a:gd name="connsiteX1086" fmla="*/ 1816771 w 5248218"/>
                <a:gd name="connsiteY1086" fmla="*/ 2618656 h 4232411"/>
                <a:gd name="connsiteX1087" fmla="*/ 1837459 w 5248218"/>
                <a:gd name="connsiteY1087" fmla="*/ 2639344 h 4232411"/>
                <a:gd name="connsiteX1088" fmla="*/ 1858150 w 5248218"/>
                <a:gd name="connsiteY1088" fmla="*/ 2618656 h 4232411"/>
                <a:gd name="connsiteX1089" fmla="*/ 1837459 w 5248218"/>
                <a:gd name="connsiteY1089" fmla="*/ 2597966 h 4232411"/>
                <a:gd name="connsiteX1090" fmla="*/ 1816771 w 5248218"/>
                <a:gd name="connsiteY1090" fmla="*/ 2618656 h 4232411"/>
                <a:gd name="connsiteX1091" fmla="*/ 1787216 w 5248218"/>
                <a:gd name="connsiteY1091" fmla="*/ 2015715 h 4232411"/>
                <a:gd name="connsiteX1092" fmla="*/ 1793127 w 5248218"/>
                <a:gd name="connsiteY1092" fmla="*/ 2021626 h 4232411"/>
                <a:gd name="connsiteX1093" fmla="*/ 1799038 w 5248218"/>
                <a:gd name="connsiteY1093" fmla="*/ 2015715 h 4232411"/>
                <a:gd name="connsiteX1094" fmla="*/ 1793127 w 5248218"/>
                <a:gd name="connsiteY1094" fmla="*/ 2009804 h 4232411"/>
                <a:gd name="connsiteX1095" fmla="*/ 1787216 w 5248218"/>
                <a:gd name="connsiteY1095" fmla="*/ 2015715 h 4232411"/>
                <a:gd name="connsiteX1096" fmla="*/ 1775393 w 5248218"/>
                <a:gd name="connsiteY1096" fmla="*/ 3416670 h 4232411"/>
                <a:gd name="connsiteX1097" fmla="*/ 1837462 w 5248218"/>
                <a:gd name="connsiteY1097" fmla="*/ 3478736 h 4232411"/>
                <a:gd name="connsiteX1098" fmla="*/ 1899528 w 5248218"/>
                <a:gd name="connsiteY1098" fmla="*/ 3416670 h 4232411"/>
                <a:gd name="connsiteX1099" fmla="*/ 1837462 w 5248218"/>
                <a:gd name="connsiteY1099" fmla="*/ 3354601 h 4232411"/>
                <a:gd name="connsiteX1100" fmla="*/ 1775393 w 5248218"/>
                <a:gd name="connsiteY1100" fmla="*/ 3416670 h 4232411"/>
                <a:gd name="connsiteX1101" fmla="*/ 1760614 w 5248218"/>
                <a:gd name="connsiteY1101" fmla="*/ 2816683 h 4232411"/>
                <a:gd name="connsiteX1102" fmla="*/ 1793127 w 5248218"/>
                <a:gd name="connsiteY1102" fmla="*/ 2849193 h 4232411"/>
                <a:gd name="connsiteX1103" fmla="*/ 1825637 w 5248218"/>
                <a:gd name="connsiteY1103" fmla="*/ 2816683 h 4232411"/>
                <a:gd name="connsiteX1104" fmla="*/ 1793127 w 5248218"/>
                <a:gd name="connsiteY1104" fmla="*/ 2784170 h 4232411"/>
                <a:gd name="connsiteX1105" fmla="*/ 1760614 w 5248218"/>
                <a:gd name="connsiteY1105" fmla="*/ 2816683 h 4232411"/>
                <a:gd name="connsiteX1106" fmla="*/ 1736972 w 5248218"/>
                <a:gd name="connsiteY1106" fmla="*/ 2213742 h 4232411"/>
                <a:gd name="connsiteX1107" fmla="*/ 1748794 w 5248218"/>
                <a:gd name="connsiteY1107" fmla="*/ 2225564 h 4232411"/>
                <a:gd name="connsiteX1108" fmla="*/ 1760616 w 5248218"/>
                <a:gd name="connsiteY1108" fmla="*/ 2213742 h 4232411"/>
                <a:gd name="connsiteX1109" fmla="*/ 1748794 w 5248218"/>
                <a:gd name="connsiteY1109" fmla="*/ 2201919 h 4232411"/>
                <a:gd name="connsiteX1110" fmla="*/ 1736972 w 5248218"/>
                <a:gd name="connsiteY1110" fmla="*/ 2213742 h 4232411"/>
                <a:gd name="connsiteX1111" fmla="*/ 1728104 w 5248218"/>
                <a:gd name="connsiteY1111" fmla="*/ 3611736 h 4232411"/>
                <a:gd name="connsiteX1112" fmla="*/ 1793127 w 5248218"/>
                <a:gd name="connsiteY1112" fmla="*/ 3676760 h 4232411"/>
                <a:gd name="connsiteX1113" fmla="*/ 1858150 w 5248218"/>
                <a:gd name="connsiteY1113" fmla="*/ 3611736 h 4232411"/>
                <a:gd name="connsiteX1114" fmla="*/ 1793127 w 5248218"/>
                <a:gd name="connsiteY1114" fmla="*/ 3546713 h 4232411"/>
                <a:gd name="connsiteX1115" fmla="*/ 1728104 w 5248218"/>
                <a:gd name="connsiteY1115" fmla="*/ 3611736 h 4232411"/>
                <a:gd name="connsiteX1116" fmla="*/ 1701502 w 5248218"/>
                <a:gd name="connsiteY1116" fmla="*/ 3011752 h 4232411"/>
                <a:gd name="connsiteX1117" fmla="*/ 1748791 w 5248218"/>
                <a:gd name="connsiteY1117" fmla="*/ 3059042 h 4232411"/>
                <a:gd name="connsiteX1118" fmla="*/ 1796081 w 5248218"/>
                <a:gd name="connsiteY1118" fmla="*/ 3011752 h 4232411"/>
                <a:gd name="connsiteX1119" fmla="*/ 1748791 w 5248218"/>
                <a:gd name="connsiteY1119" fmla="*/ 2964462 h 4232411"/>
                <a:gd name="connsiteX1120" fmla="*/ 1701502 w 5248218"/>
                <a:gd name="connsiteY1120" fmla="*/ 3011752 h 4232411"/>
                <a:gd name="connsiteX1121" fmla="*/ 1695590 w 5248218"/>
                <a:gd name="connsiteY1121" fmla="*/ 3812716 h 4232411"/>
                <a:gd name="connsiteX1122" fmla="*/ 1748791 w 5248218"/>
                <a:gd name="connsiteY1122" fmla="*/ 3865918 h 4232411"/>
                <a:gd name="connsiteX1123" fmla="*/ 1801992 w 5248218"/>
                <a:gd name="connsiteY1123" fmla="*/ 3812716 h 4232411"/>
                <a:gd name="connsiteX1124" fmla="*/ 1748791 w 5248218"/>
                <a:gd name="connsiteY1124" fmla="*/ 3759516 h 4232411"/>
                <a:gd name="connsiteX1125" fmla="*/ 1695590 w 5248218"/>
                <a:gd name="connsiteY1125" fmla="*/ 3812716 h 4232411"/>
                <a:gd name="connsiteX1126" fmla="*/ 1689682 w 5248218"/>
                <a:gd name="connsiteY1126" fmla="*/ 2408811 h 4232411"/>
                <a:gd name="connsiteX1127" fmla="*/ 1704462 w 5248218"/>
                <a:gd name="connsiteY1127" fmla="*/ 2423588 h 4232411"/>
                <a:gd name="connsiteX1128" fmla="*/ 1719238 w 5248218"/>
                <a:gd name="connsiteY1128" fmla="*/ 2408811 h 4232411"/>
                <a:gd name="connsiteX1129" fmla="*/ 1704462 w 5248218"/>
                <a:gd name="connsiteY1129" fmla="*/ 2394031 h 4232411"/>
                <a:gd name="connsiteX1130" fmla="*/ 1689682 w 5248218"/>
                <a:gd name="connsiteY1130" fmla="*/ 2408811 h 4232411"/>
                <a:gd name="connsiteX1131" fmla="*/ 1645347 w 5248218"/>
                <a:gd name="connsiteY1131" fmla="*/ 3206822 h 4232411"/>
                <a:gd name="connsiteX1132" fmla="*/ 1704459 w 5248218"/>
                <a:gd name="connsiteY1132" fmla="*/ 3265933 h 4232411"/>
                <a:gd name="connsiteX1133" fmla="*/ 1763571 w 5248218"/>
                <a:gd name="connsiteY1133" fmla="*/ 3206822 h 4232411"/>
                <a:gd name="connsiteX1134" fmla="*/ 1704459 w 5248218"/>
                <a:gd name="connsiteY1134" fmla="*/ 3147710 h 4232411"/>
                <a:gd name="connsiteX1135" fmla="*/ 1645347 w 5248218"/>
                <a:gd name="connsiteY1135" fmla="*/ 3206822 h 4232411"/>
                <a:gd name="connsiteX1136" fmla="*/ 1642390 w 5248218"/>
                <a:gd name="connsiteY1136" fmla="*/ 4202855 h 4232411"/>
                <a:gd name="connsiteX1137" fmla="*/ 1660123 w 5248218"/>
                <a:gd name="connsiteY1137" fmla="*/ 4220588 h 4232411"/>
                <a:gd name="connsiteX1138" fmla="*/ 1677857 w 5248218"/>
                <a:gd name="connsiteY1138" fmla="*/ 4202855 h 4232411"/>
                <a:gd name="connsiteX1139" fmla="*/ 1660123 w 5248218"/>
                <a:gd name="connsiteY1139" fmla="*/ 4185122 h 4232411"/>
                <a:gd name="connsiteX1140" fmla="*/ 1642390 w 5248218"/>
                <a:gd name="connsiteY1140" fmla="*/ 4202855 h 4232411"/>
                <a:gd name="connsiteX1141" fmla="*/ 1642390 w 5248218"/>
                <a:gd name="connsiteY1141" fmla="*/ 4007789 h 4232411"/>
                <a:gd name="connsiteX1142" fmla="*/ 1704459 w 5248218"/>
                <a:gd name="connsiteY1142" fmla="*/ 4069855 h 4232411"/>
                <a:gd name="connsiteX1143" fmla="*/ 1766525 w 5248218"/>
                <a:gd name="connsiteY1143" fmla="*/ 4007789 h 4232411"/>
                <a:gd name="connsiteX1144" fmla="*/ 1704459 w 5248218"/>
                <a:gd name="connsiteY1144" fmla="*/ 3945720 h 4232411"/>
                <a:gd name="connsiteX1145" fmla="*/ 1642390 w 5248218"/>
                <a:gd name="connsiteY1145" fmla="*/ 4007789 h 4232411"/>
                <a:gd name="connsiteX1146" fmla="*/ 1636479 w 5248218"/>
                <a:gd name="connsiteY1146" fmla="*/ 2606834 h 4232411"/>
                <a:gd name="connsiteX1147" fmla="*/ 1660123 w 5248218"/>
                <a:gd name="connsiteY1147" fmla="*/ 2630479 h 4232411"/>
                <a:gd name="connsiteX1148" fmla="*/ 1683768 w 5248218"/>
                <a:gd name="connsiteY1148" fmla="*/ 2606834 h 4232411"/>
                <a:gd name="connsiteX1149" fmla="*/ 1660123 w 5248218"/>
                <a:gd name="connsiteY1149" fmla="*/ 2583190 h 4232411"/>
                <a:gd name="connsiteX1150" fmla="*/ 1636479 w 5248218"/>
                <a:gd name="connsiteY1150" fmla="*/ 2606834 h 4232411"/>
                <a:gd name="connsiteX1151" fmla="*/ 1609880 w 5248218"/>
                <a:gd name="connsiteY1151" fmla="*/ 1997982 h 4232411"/>
                <a:gd name="connsiteX1152" fmla="*/ 1615791 w 5248218"/>
                <a:gd name="connsiteY1152" fmla="*/ 2003893 h 4232411"/>
                <a:gd name="connsiteX1153" fmla="*/ 1621702 w 5248218"/>
                <a:gd name="connsiteY1153" fmla="*/ 1997982 h 4232411"/>
                <a:gd name="connsiteX1154" fmla="*/ 1615791 w 5248218"/>
                <a:gd name="connsiteY1154" fmla="*/ 1992070 h 4232411"/>
                <a:gd name="connsiteX1155" fmla="*/ 1609880 w 5248218"/>
                <a:gd name="connsiteY1155" fmla="*/ 1997982 h 4232411"/>
                <a:gd name="connsiteX1156" fmla="*/ 1601015 w 5248218"/>
                <a:gd name="connsiteY1156" fmla="*/ 3404844 h 4232411"/>
                <a:gd name="connsiteX1157" fmla="*/ 1660127 w 5248218"/>
                <a:gd name="connsiteY1157" fmla="*/ 3463956 h 4232411"/>
                <a:gd name="connsiteX1158" fmla="*/ 1719238 w 5248218"/>
                <a:gd name="connsiteY1158" fmla="*/ 3404844 h 4232411"/>
                <a:gd name="connsiteX1159" fmla="*/ 1660127 w 5248218"/>
                <a:gd name="connsiteY1159" fmla="*/ 3345732 h 4232411"/>
                <a:gd name="connsiteX1160" fmla="*/ 1601015 w 5248218"/>
                <a:gd name="connsiteY1160" fmla="*/ 3404844 h 4232411"/>
                <a:gd name="connsiteX1161" fmla="*/ 1583278 w 5248218"/>
                <a:gd name="connsiteY1161" fmla="*/ 2801904 h 4232411"/>
                <a:gd name="connsiteX1162" fmla="*/ 1615791 w 5248218"/>
                <a:gd name="connsiteY1162" fmla="*/ 2834414 h 4232411"/>
                <a:gd name="connsiteX1163" fmla="*/ 1648301 w 5248218"/>
                <a:gd name="connsiteY1163" fmla="*/ 2801904 h 4232411"/>
                <a:gd name="connsiteX1164" fmla="*/ 1615791 w 5248218"/>
                <a:gd name="connsiteY1164" fmla="*/ 2769390 h 4232411"/>
                <a:gd name="connsiteX1165" fmla="*/ 1583278 w 5248218"/>
                <a:gd name="connsiteY1165" fmla="*/ 2801904 h 4232411"/>
                <a:gd name="connsiteX1166" fmla="*/ 1568502 w 5248218"/>
                <a:gd name="connsiteY1166" fmla="*/ 3602871 h 4232411"/>
                <a:gd name="connsiteX1167" fmla="*/ 1615791 w 5248218"/>
                <a:gd name="connsiteY1167" fmla="*/ 3650160 h 4232411"/>
                <a:gd name="connsiteX1168" fmla="*/ 1663081 w 5248218"/>
                <a:gd name="connsiteY1168" fmla="*/ 3602871 h 4232411"/>
                <a:gd name="connsiteX1169" fmla="*/ 1615791 w 5248218"/>
                <a:gd name="connsiteY1169" fmla="*/ 3555582 h 4232411"/>
                <a:gd name="connsiteX1170" fmla="*/ 1568502 w 5248218"/>
                <a:gd name="connsiteY1170" fmla="*/ 3602871 h 4232411"/>
                <a:gd name="connsiteX1171" fmla="*/ 1562590 w 5248218"/>
                <a:gd name="connsiteY1171" fmla="*/ 2193051 h 4232411"/>
                <a:gd name="connsiteX1172" fmla="*/ 1571459 w 5248218"/>
                <a:gd name="connsiteY1172" fmla="*/ 2201916 h 4232411"/>
                <a:gd name="connsiteX1173" fmla="*/ 1580324 w 5248218"/>
                <a:gd name="connsiteY1173" fmla="*/ 2193051 h 4232411"/>
                <a:gd name="connsiteX1174" fmla="*/ 1571459 w 5248218"/>
                <a:gd name="connsiteY1174" fmla="*/ 2184182 h 4232411"/>
                <a:gd name="connsiteX1175" fmla="*/ 1562590 w 5248218"/>
                <a:gd name="connsiteY1175" fmla="*/ 2193051 h 4232411"/>
                <a:gd name="connsiteX1176" fmla="*/ 1527123 w 5248218"/>
                <a:gd name="connsiteY1176" fmla="*/ 2999930 h 4232411"/>
                <a:gd name="connsiteX1177" fmla="*/ 1571456 w 5248218"/>
                <a:gd name="connsiteY1177" fmla="*/ 3044262 h 4232411"/>
                <a:gd name="connsiteX1178" fmla="*/ 1615791 w 5248218"/>
                <a:gd name="connsiteY1178" fmla="*/ 2999930 h 4232411"/>
                <a:gd name="connsiteX1179" fmla="*/ 1571456 w 5248218"/>
                <a:gd name="connsiteY1179" fmla="*/ 2955594 h 4232411"/>
                <a:gd name="connsiteX1180" fmla="*/ 1527123 w 5248218"/>
                <a:gd name="connsiteY1180" fmla="*/ 2999930 h 4232411"/>
                <a:gd name="connsiteX1181" fmla="*/ 1509390 w 5248218"/>
                <a:gd name="connsiteY1181" fmla="*/ 3797940 h 4232411"/>
                <a:gd name="connsiteX1182" fmla="*/ 1571459 w 5248218"/>
                <a:gd name="connsiteY1182" fmla="*/ 3860006 h 4232411"/>
                <a:gd name="connsiteX1183" fmla="*/ 1633525 w 5248218"/>
                <a:gd name="connsiteY1183" fmla="*/ 3797940 h 4232411"/>
                <a:gd name="connsiteX1184" fmla="*/ 1571459 w 5248218"/>
                <a:gd name="connsiteY1184" fmla="*/ 3735871 h 4232411"/>
                <a:gd name="connsiteX1185" fmla="*/ 1509390 w 5248218"/>
                <a:gd name="connsiteY1185" fmla="*/ 3797940 h 4232411"/>
                <a:gd name="connsiteX1186" fmla="*/ 1509390 w 5248218"/>
                <a:gd name="connsiteY1186" fmla="*/ 2388120 h 4232411"/>
                <a:gd name="connsiteX1187" fmla="*/ 1527123 w 5248218"/>
                <a:gd name="connsiteY1187" fmla="*/ 2405854 h 4232411"/>
                <a:gd name="connsiteX1188" fmla="*/ 1544857 w 5248218"/>
                <a:gd name="connsiteY1188" fmla="*/ 2388120 h 4232411"/>
                <a:gd name="connsiteX1189" fmla="*/ 1527123 w 5248218"/>
                <a:gd name="connsiteY1189" fmla="*/ 2370386 h 4232411"/>
                <a:gd name="connsiteX1190" fmla="*/ 1509390 w 5248218"/>
                <a:gd name="connsiteY1190" fmla="*/ 2388120 h 4232411"/>
                <a:gd name="connsiteX1191" fmla="*/ 1476880 w 5248218"/>
                <a:gd name="connsiteY1191" fmla="*/ 3192042 h 4232411"/>
                <a:gd name="connsiteX1192" fmla="*/ 1527123 w 5248218"/>
                <a:gd name="connsiteY1192" fmla="*/ 3242288 h 4232411"/>
                <a:gd name="connsiteX1193" fmla="*/ 1577370 w 5248218"/>
                <a:gd name="connsiteY1193" fmla="*/ 3192042 h 4232411"/>
                <a:gd name="connsiteX1194" fmla="*/ 1527123 w 5248218"/>
                <a:gd name="connsiteY1194" fmla="*/ 3141798 h 4232411"/>
                <a:gd name="connsiteX1195" fmla="*/ 1476880 w 5248218"/>
                <a:gd name="connsiteY1195" fmla="*/ 3192042 h 4232411"/>
                <a:gd name="connsiteX1196" fmla="*/ 1462100 w 5248218"/>
                <a:gd name="connsiteY1196" fmla="*/ 4188078 h 4232411"/>
                <a:gd name="connsiteX1197" fmla="*/ 1479834 w 5248218"/>
                <a:gd name="connsiteY1197" fmla="*/ 4205812 h 4232411"/>
                <a:gd name="connsiteX1198" fmla="*/ 1497567 w 5248218"/>
                <a:gd name="connsiteY1198" fmla="*/ 4188078 h 4232411"/>
                <a:gd name="connsiteX1199" fmla="*/ 1479834 w 5248218"/>
                <a:gd name="connsiteY1199" fmla="*/ 4170345 h 4232411"/>
                <a:gd name="connsiteX1200" fmla="*/ 1462100 w 5248218"/>
                <a:gd name="connsiteY1200" fmla="*/ 4188078 h 4232411"/>
                <a:gd name="connsiteX1201" fmla="*/ 1459143 w 5248218"/>
                <a:gd name="connsiteY1201" fmla="*/ 3995964 h 4232411"/>
                <a:gd name="connsiteX1202" fmla="*/ 1524166 w 5248218"/>
                <a:gd name="connsiteY1202" fmla="*/ 4060986 h 4232411"/>
                <a:gd name="connsiteX1203" fmla="*/ 1589189 w 5248218"/>
                <a:gd name="connsiteY1203" fmla="*/ 3995964 h 4232411"/>
                <a:gd name="connsiteX1204" fmla="*/ 1524166 w 5248218"/>
                <a:gd name="connsiteY1204" fmla="*/ 3930940 h 4232411"/>
                <a:gd name="connsiteX1205" fmla="*/ 1459143 w 5248218"/>
                <a:gd name="connsiteY1205" fmla="*/ 3995964 h 4232411"/>
                <a:gd name="connsiteX1206" fmla="*/ 1459143 w 5248218"/>
                <a:gd name="connsiteY1206" fmla="*/ 2583190 h 4232411"/>
                <a:gd name="connsiteX1207" fmla="*/ 1482788 w 5248218"/>
                <a:gd name="connsiteY1207" fmla="*/ 2606834 h 4232411"/>
                <a:gd name="connsiteX1208" fmla="*/ 1506433 w 5248218"/>
                <a:gd name="connsiteY1208" fmla="*/ 2583190 h 4232411"/>
                <a:gd name="connsiteX1209" fmla="*/ 1482788 w 5248218"/>
                <a:gd name="connsiteY1209" fmla="*/ 2559544 h 4232411"/>
                <a:gd name="connsiteX1210" fmla="*/ 1459143 w 5248218"/>
                <a:gd name="connsiteY1210" fmla="*/ 2583190 h 4232411"/>
                <a:gd name="connsiteX1211" fmla="*/ 1429587 w 5248218"/>
                <a:gd name="connsiteY1211" fmla="*/ 1965472 h 4232411"/>
                <a:gd name="connsiteX1212" fmla="*/ 1438455 w 5248218"/>
                <a:gd name="connsiteY1212" fmla="*/ 1974337 h 4232411"/>
                <a:gd name="connsiteX1213" fmla="*/ 1447321 w 5248218"/>
                <a:gd name="connsiteY1213" fmla="*/ 1965472 h 4232411"/>
                <a:gd name="connsiteX1214" fmla="*/ 1438455 w 5248218"/>
                <a:gd name="connsiteY1214" fmla="*/ 1956604 h 4232411"/>
                <a:gd name="connsiteX1215" fmla="*/ 1429587 w 5248218"/>
                <a:gd name="connsiteY1215" fmla="*/ 1965472 h 4232411"/>
                <a:gd name="connsiteX1216" fmla="*/ 1420722 w 5248218"/>
                <a:gd name="connsiteY1216" fmla="*/ 3387111 h 4232411"/>
                <a:gd name="connsiteX1217" fmla="*/ 1479834 w 5248218"/>
                <a:gd name="connsiteY1217" fmla="*/ 3446223 h 4232411"/>
                <a:gd name="connsiteX1218" fmla="*/ 1538945 w 5248218"/>
                <a:gd name="connsiteY1218" fmla="*/ 3387111 h 4232411"/>
                <a:gd name="connsiteX1219" fmla="*/ 1479834 w 5248218"/>
                <a:gd name="connsiteY1219" fmla="*/ 3327999 h 4232411"/>
                <a:gd name="connsiteX1220" fmla="*/ 1420722 w 5248218"/>
                <a:gd name="connsiteY1220" fmla="*/ 3387111 h 4232411"/>
                <a:gd name="connsiteX1221" fmla="*/ 1400031 w 5248218"/>
                <a:gd name="connsiteY1221" fmla="*/ 2775302 h 4232411"/>
                <a:gd name="connsiteX1222" fmla="*/ 1438455 w 5248218"/>
                <a:gd name="connsiteY1222" fmla="*/ 2813726 h 4232411"/>
                <a:gd name="connsiteX1223" fmla="*/ 1476877 w 5248218"/>
                <a:gd name="connsiteY1223" fmla="*/ 2775302 h 4232411"/>
                <a:gd name="connsiteX1224" fmla="*/ 1438455 w 5248218"/>
                <a:gd name="connsiteY1224" fmla="*/ 2736880 h 4232411"/>
                <a:gd name="connsiteX1225" fmla="*/ 1400031 w 5248218"/>
                <a:gd name="connsiteY1225" fmla="*/ 2775302 h 4232411"/>
                <a:gd name="connsiteX1226" fmla="*/ 1382298 w 5248218"/>
                <a:gd name="connsiteY1226" fmla="*/ 3585138 h 4232411"/>
                <a:gd name="connsiteX1227" fmla="*/ 1435498 w 5248218"/>
                <a:gd name="connsiteY1227" fmla="*/ 3638338 h 4232411"/>
                <a:gd name="connsiteX1228" fmla="*/ 1488699 w 5248218"/>
                <a:gd name="connsiteY1228" fmla="*/ 3585138 h 4232411"/>
                <a:gd name="connsiteX1229" fmla="*/ 1435498 w 5248218"/>
                <a:gd name="connsiteY1229" fmla="*/ 3531936 h 4232411"/>
                <a:gd name="connsiteX1230" fmla="*/ 1382298 w 5248218"/>
                <a:gd name="connsiteY1230" fmla="*/ 3585138 h 4232411"/>
                <a:gd name="connsiteX1231" fmla="*/ 1382298 w 5248218"/>
                <a:gd name="connsiteY1231" fmla="*/ 2160538 h 4232411"/>
                <a:gd name="connsiteX1232" fmla="*/ 1394120 w 5248218"/>
                <a:gd name="connsiteY1232" fmla="*/ 2172360 h 4232411"/>
                <a:gd name="connsiteX1233" fmla="*/ 1405942 w 5248218"/>
                <a:gd name="connsiteY1233" fmla="*/ 2160538 h 4232411"/>
                <a:gd name="connsiteX1234" fmla="*/ 1394120 w 5248218"/>
                <a:gd name="connsiteY1234" fmla="*/ 2148716 h 4232411"/>
                <a:gd name="connsiteX1235" fmla="*/ 1382298 w 5248218"/>
                <a:gd name="connsiteY1235" fmla="*/ 2160538 h 4232411"/>
                <a:gd name="connsiteX1236" fmla="*/ 1340919 w 5248218"/>
                <a:gd name="connsiteY1236" fmla="*/ 2970370 h 4232411"/>
                <a:gd name="connsiteX1237" fmla="*/ 1394120 w 5248218"/>
                <a:gd name="connsiteY1237" fmla="*/ 3023572 h 4232411"/>
                <a:gd name="connsiteX1238" fmla="*/ 1447321 w 5248218"/>
                <a:gd name="connsiteY1238" fmla="*/ 2970370 h 4232411"/>
                <a:gd name="connsiteX1239" fmla="*/ 1394120 w 5248218"/>
                <a:gd name="connsiteY1239" fmla="*/ 2917170 h 4232411"/>
                <a:gd name="connsiteX1240" fmla="*/ 1340919 w 5248218"/>
                <a:gd name="connsiteY1240" fmla="*/ 2970370 h 4232411"/>
                <a:gd name="connsiteX1241" fmla="*/ 1337965 w 5248218"/>
                <a:gd name="connsiteY1241" fmla="*/ 3777250 h 4232411"/>
                <a:gd name="connsiteX1242" fmla="*/ 1391166 w 5248218"/>
                <a:gd name="connsiteY1242" fmla="*/ 3830450 h 4232411"/>
                <a:gd name="connsiteX1243" fmla="*/ 1444367 w 5248218"/>
                <a:gd name="connsiteY1243" fmla="*/ 3777250 h 4232411"/>
                <a:gd name="connsiteX1244" fmla="*/ 1391166 w 5248218"/>
                <a:gd name="connsiteY1244" fmla="*/ 3724049 h 4232411"/>
                <a:gd name="connsiteX1245" fmla="*/ 1337965 w 5248218"/>
                <a:gd name="connsiteY1245" fmla="*/ 3777250 h 4232411"/>
                <a:gd name="connsiteX1246" fmla="*/ 1335011 w 5248218"/>
                <a:gd name="connsiteY1246" fmla="*/ 2352656 h 4232411"/>
                <a:gd name="connsiteX1247" fmla="*/ 1349790 w 5248218"/>
                <a:gd name="connsiteY1247" fmla="*/ 2367432 h 4232411"/>
                <a:gd name="connsiteX1248" fmla="*/ 1364567 w 5248218"/>
                <a:gd name="connsiteY1248" fmla="*/ 2352656 h 4232411"/>
                <a:gd name="connsiteX1249" fmla="*/ 1349790 w 5248218"/>
                <a:gd name="connsiteY1249" fmla="*/ 2337876 h 4232411"/>
                <a:gd name="connsiteX1250" fmla="*/ 1335011 w 5248218"/>
                <a:gd name="connsiteY1250" fmla="*/ 2352656 h 4232411"/>
                <a:gd name="connsiteX1251" fmla="*/ 1299544 w 5248218"/>
                <a:gd name="connsiteY1251" fmla="*/ 3165443 h 4232411"/>
                <a:gd name="connsiteX1252" fmla="*/ 1349788 w 5248218"/>
                <a:gd name="connsiteY1252" fmla="*/ 3215686 h 4232411"/>
                <a:gd name="connsiteX1253" fmla="*/ 1400034 w 5248218"/>
                <a:gd name="connsiteY1253" fmla="*/ 3165443 h 4232411"/>
                <a:gd name="connsiteX1254" fmla="*/ 1349788 w 5248218"/>
                <a:gd name="connsiteY1254" fmla="*/ 3115196 h 4232411"/>
                <a:gd name="connsiteX1255" fmla="*/ 1299544 w 5248218"/>
                <a:gd name="connsiteY1255" fmla="*/ 3165443 h 4232411"/>
                <a:gd name="connsiteX1256" fmla="*/ 1284764 w 5248218"/>
                <a:gd name="connsiteY1256" fmla="*/ 4170345 h 4232411"/>
                <a:gd name="connsiteX1257" fmla="*/ 1302498 w 5248218"/>
                <a:gd name="connsiteY1257" fmla="*/ 4188078 h 4232411"/>
                <a:gd name="connsiteX1258" fmla="*/ 1320232 w 5248218"/>
                <a:gd name="connsiteY1258" fmla="*/ 4170345 h 4232411"/>
                <a:gd name="connsiteX1259" fmla="*/ 1302498 w 5248218"/>
                <a:gd name="connsiteY1259" fmla="*/ 4152612 h 4232411"/>
                <a:gd name="connsiteX1260" fmla="*/ 1284764 w 5248218"/>
                <a:gd name="connsiteY1260" fmla="*/ 4170345 h 4232411"/>
                <a:gd name="connsiteX1261" fmla="*/ 1284764 w 5248218"/>
                <a:gd name="connsiteY1261" fmla="*/ 3975276 h 4232411"/>
                <a:gd name="connsiteX1262" fmla="*/ 1346830 w 5248218"/>
                <a:gd name="connsiteY1262" fmla="*/ 4037342 h 4232411"/>
                <a:gd name="connsiteX1263" fmla="*/ 1408899 w 5248218"/>
                <a:gd name="connsiteY1263" fmla="*/ 3975276 h 4232411"/>
                <a:gd name="connsiteX1264" fmla="*/ 1346830 w 5248218"/>
                <a:gd name="connsiteY1264" fmla="*/ 3913207 h 4232411"/>
                <a:gd name="connsiteX1265" fmla="*/ 1284764 w 5248218"/>
                <a:gd name="connsiteY1265" fmla="*/ 3975276 h 4232411"/>
                <a:gd name="connsiteX1266" fmla="*/ 1278853 w 5248218"/>
                <a:gd name="connsiteY1266" fmla="*/ 2547722 h 4232411"/>
                <a:gd name="connsiteX1267" fmla="*/ 1305455 w 5248218"/>
                <a:gd name="connsiteY1267" fmla="*/ 2574324 h 4232411"/>
                <a:gd name="connsiteX1268" fmla="*/ 1332054 w 5248218"/>
                <a:gd name="connsiteY1268" fmla="*/ 2547722 h 4232411"/>
                <a:gd name="connsiteX1269" fmla="*/ 1305455 w 5248218"/>
                <a:gd name="connsiteY1269" fmla="*/ 2521124 h 4232411"/>
                <a:gd name="connsiteX1270" fmla="*/ 1278853 w 5248218"/>
                <a:gd name="connsiteY1270" fmla="*/ 2547722 h 4232411"/>
                <a:gd name="connsiteX1271" fmla="*/ 1255209 w 5248218"/>
                <a:gd name="connsiteY1271" fmla="*/ 1918182 h 4232411"/>
                <a:gd name="connsiteX1272" fmla="*/ 1267031 w 5248218"/>
                <a:gd name="connsiteY1272" fmla="*/ 1930004 h 4232411"/>
                <a:gd name="connsiteX1273" fmla="*/ 1278853 w 5248218"/>
                <a:gd name="connsiteY1273" fmla="*/ 1918182 h 4232411"/>
                <a:gd name="connsiteX1274" fmla="*/ 1267031 w 5248218"/>
                <a:gd name="connsiteY1274" fmla="*/ 1906360 h 4232411"/>
                <a:gd name="connsiteX1275" fmla="*/ 1255209 w 5248218"/>
                <a:gd name="connsiteY1275" fmla="*/ 1918182 h 4232411"/>
                <a:gd name="connsiteX1276" fmla="*/ 1249297 w 5248218"/>
                <a:gd name="connsiteY1276" fmla="*/ 3363466 h 4232411"/>
                <a:gd name="connsiteX1277" fmla="*/ 1305455 w 5248218"/>
                <a:gd name="connsiteY1277" fmla="*/ 3419621 h 4232411"/>
                <a:gd name="connsiteX1278" fmla="*/ 1361610 w 5248218"/>
                <a:gd name="connsiteY1278" fmla="*/ 3363466 h 4232411"/>
                <a:gd name="connsiteX1279" fmla="*/ 1305455 w 5248218"/>
                <a:gd name="connsiteY1279" fmla="*/ 3307308 h 4232411"/>
                <a:gd name="connsiteX1280" fmla="*/ 1249297 w 5248218"/>
                <a:gd name="connsiteY1280" fmla="*/ 3363466 h 4232411"/>
                <a:gd name="connsiteX1281" fmla="*/ 1219741 w 5248218"/>
                <a:gd name="connsiteY1281" fmla="*/ 2742792 h 4232411"/>
                <a:gd name="connsiteX1282" fmla="*/ 1261120 w 5248218"/>
                <a:gd name="connsiteY1282" fmla="*/ 2784170 h 4232411"/>
                <a:gd name="connsiteX1283" fmla="*/ 1302498 w 5248218"/>
                <a:gd name="connsiteY1283" fmla="*/ 2742792 h 4232411"/>
                <a:gd name="connsiteX1284" fmla="*/ 1261120 w 5248218"/>
                <a:gd name="connsiteY1284" fmla="*/ 2701413 h 4232411"/>
                <a:gd name="connsiteX1285" fmla="*/ 1219741 w 5248218"/>
                <a:gd name="connsiteY1285" fmla="*/ 2742792 h 4232411"/>
                <a:gd name="connsiteX1286" fmla="*/ 1204962 w 5248218"/>
                <a:gd name="connsiteY1286" fmla="*/ 2113248 h 4232411"/>
                <a:gd name="connsiteX1287" fmla="*/ 1222695 w 5248218"/>
                <a:gd name="connsiteY1287" fmla="*/ 2130982 h 4232411"/>
                <a:gd name="connsiteX1288" fmla="*/ 1240429 w 5248218"/>
                <a:gd name="connsiteY1288" fmla="*/ 2113248 h 4232411"/>
                <a:gd name="connsiteX1289" fmla="*/ 1222695 w 5248218"/>
                <a:gd name="connsiteY1289" fmla="*/ 2095515 h 4232411"/>
                <a:gd name="connsiteX1290" fmla="*/ 1204962 w 5248218"/>
                <a:gd name="connsiteY1290" fmla="*/ 2113248 h 4232411"/>
                <a:gd name="connsiteX1291" fmla="*/ 1196097 w 5248218"/>
                <a:gd name="connsiteY1291" fmla="*/ 3558536 h 4232411"/>
                <a:gd name="connsiteX1292" fmla="*/ 1261120 w 5248218"/>
                <a:gd name="connsiteY1292" fmla="*/ 3623558 h 4232411"/>
                <a:gd name="connsiteX1293" fmla="*/ 1326143 w 5248218"/>
                <a:gd name="connsiteY1293" fmla="*/ 3558536 h 4232411"/>
                <a:gd name="connsiteX1294" fmla="*/ 1261120 w 5248218"/>
                <a:gd name="connsiteY1294" fmla="*/ 3493512 h 4232411"/>
                <a:gd name="connsiteX1295" fmla="*/ 1196097 w 5248218"/>
                <a:gd name="connsiteY1295" fmla="*/ 3558536 h 4232411"/>
                <a:gd name="connsiteX1296" fmla="*/ 1169498 w 5248218"/>
                <a:gd name="connsiteY1296" fmla="*/ 2937860 h 4232411"/>
                <a:gd name="connsiteX1297" fmla="*/ 1216787 w 5248218"/>
                <a:gd name="connsiteY1297" fmla="*/ 2985150 h 4232411"/>
                <a:gd name="connsiteX1298" fmla="*/ 1264077 w 5248218"/>
                <a:gd name="connsiteY1298" fmla="*/ 2937860 h 4232411"/>
                <a:gd name="connsiteX1299" fmla="*/ 1216787 w 5248218"/>
                <a:gd name="connsiteY1299" fmla="*/ 2890571 h 4232411"/>
                <a:gd name="connsiteX1300" fmla="*/ 1169498 w 5248218"/>
                <a:gd name="connsiteY1300" fmla="*/ 2937860 h 4232411"/>
                <a:gd name="connsiteX1301" fmla="*/ 1154718 w 5248218"/>
                <a:gd name="connsiteY1301" fmla="*/ 2308321 h 4232411"/>
                <a:gd name="connsiteX1302" fmla="*/ 1178363 w 5248218"/>
                <a:gd name="connsiteY1302" fmla="*/ 2331966 h 4232411"/>
                <a:gd name="connsiteX1303" fmla="*/ 1202008 w 5248218"/>
                <a:gd name="connsiteY1303" fmla="*/ 2308321 h 4232411"/>
                <a:gd name="connsiteX1304" fmla="*/ 1178363 w 5248218"/>
                <a:gd name="connsiteY1304" fmla="*/ 2284676 h 4232411"/>
                <a:gd name="connsiteX1305" fmla="*/ 1154718 w 5248218"/>
                <a:gd name="connsiteY1305" fmla="*/ 2308321 h 4232411"/>
                <a:gd name="connsiteX1306" fmla="*/ 1151764 w 5248218"/>
                <a:gd name="connsiteY1306" fmla="*/ 3750648 h 4232411"/>
                <a:gd name="connsiteX1307" fmla="*/ 1216787 w 5248218"/>
                <a:gd name="connsiteY1307" fmla="*/ 3815670 h 4232411"/>
                <a:gd name="connsiteX1308" fmla="*/ 1281810 w 5248218"/>
                <a:gd name="connsiteY1308" fmla="*/ 3750648 h 4232411"/>
                <a:gd name="connsiteX1309" fmla="*/ 1216787 w 5248218"/>
                <a:gd name="connsiteY1309" fmla="*/ 3685624 h 4232411"/>
                <a:gd name="connsiteX1310" fmla="*/ 1151764 w 5248218"/>
                <a:gd name="connsiteY1310" fmla="*/ 3750648 h 4232411"/>
                <a:gd name="connsiteX1311" fmla="*/ 1139942 w 5248218"/>
                <a:gd name="connsiteY1311" fmla="*/ 1661044 h 4232411"/>
                <a:gd name="connsiteX1312" fmla="*/ 1142896 w 5248218"/>
                <a:gd name="connsiteY1312" fmla="*/ 1664001 h 4232411"/>
                <a:gd name="connsiteX1313" fmla="*/ 1145853 w 5248218"/>
                <a:gd name="connsiteY1313" fmla="*/ 1661044 h 4232411"/>
                <a:gd name="connsiteX1314" fmla="*/ 1142896 w 5248218"/>
                <a:gd name="connsiteY1314" fmla="*/ 1658090 h 4232411"/>
                <a:gd name="connsiteX1315" fmla="*/ 1139942 w 5248218"/>
                <a:gd name="connsiteY1315" fmla="*/ 1661044 h 4232411"/>
                <a:gd name="connsiteX1316" fmla="*/ 1116294 w 5248218"/>
                <a:gd name="connsiteY1316" fmla="*/ 3129973 h 4232411"/>
                <a:gd name="connsiteX1317" fmla="*/ 1172452 w 5248218"/>
                <a:gd name="connsiteY1317" fmla="*/ 3186130 h 4232411"/>
                <a:gd name="connsiteX1318" fmla="*/ 1228606 w 5248218"/>
                <a:gd name="connsiteY1318" fmla="*/ 3129973 h 4232411"/>
                <a:gd name="connsiteX1319" fmla="*/ 1172452 w 5248218"/>
                <a:gd name="connsiteY1319" fmla="*/ 3073818 h 4232411"/>
                <a:gd name="connsiteX1320" fmla="*/ 1116294 w 5248218"/>
                <a:gd name="connsiteY1320" fmla="*/ 3129973 h 4232411"/>
                <a:gd name="connsiteX1321" fmla="*/ 1110386 w 5248218"/>
                <a:gd name="connsiteY1321" fmla="*/ 3942763 h 4232411"/>
                <a:gd name="connsiteX1322" fmla="*/ 1172452 w 5248218"/>
                <a:gd name="connsiteY1322" fmla="*/ 4004832 h 4232411"/>
                <a:gd name="connsiteX1323" fmla="*/ 1234521 w 5248218"/>
                <a:gd name="connsiteY1323" fmla="*/ 3942763 h 4232411"/>
                <a:gd name="connsiteX1324" fmla="*/ 1172452 w 5248218"/>
                <a:gd name="connsiteY1324" fmla="*/ 3880697 h 4232411"/>
                <a:gd name="connsiteX1325" fmla="*/ 1110386 w 5248218"/>
                <a:gd name="connsiteY1325" fmla="*/ 3942763 h 4232411"/>
                <a:gd name="connsiteX1326" fmla="*/ 1104475 w 5248218"/>
                <a:gd name="connsiteY1326" fmla="*/ 4140789 h 4232411"/>
                <a:gd name="connsiteX1327" fmla="*/ 1128120 w 5248218"/>
                <a:gd name="connsiteY1327" fmla="*/ 4164434 h 4232411"/>
                <a:gd name="connsiteX1328" fmla="*/ 1151764 w 5248218"/>
                <a:gd name="connsiteY1328" fmla="*/ 4140789 h 4232411"/>
                <a:gd name="connsiteX1329" fmla="*/ 1128120 w 5248218"/>
                <a:gd name="connsiteY1329" fmla="*/ 4117144 h 4232411"/>
                <a:gd name="connsiteX1330" fmla="*/ 1104475 w 5248218"/>
                <a:gd name="connsiteY1330" fmla="*/ 4140789 h 4232411"/>
                <a:gd name="connsiteX1331" fmla="*/ 1101518 w 5248218"/>
                <a:gd name="connsiteY1331" fmla="*/ 2503387 h 4232411"/>
                <a:gd name="connsiteX1332" fmla="*/ 1134028 w 5248218"/>
                <a:gd name="connsiteY1332" fmla="*/ 2535900 h 4232411"/>
                <a:gd name="connsiteX1333" fmla="*/ 1166541 w 5248218"/>
                <a:gd name="connsiteY1333" fmla="*/ 2503387 h 4232411"/>
                <a:gd name="connsiteX1334" fmla="*/ 1134028 w 5248218"/>
                <a:gd name="connsiteY1334" fmla="*/ 2470877 h 4232411"/>
                <a:gd name="connsiteX1335" fmla="*/ 1101518 w 5248218"/>
                <a:gd name="connsiteY1335" fmla="*/ 2503387 h 4232411"/>
                <a:gd name="connsiteX1336" fmla="*/ 1086738 w 5248218"/>
                <a:gd name="connsiteY1336" fmla="*/ 1859070 h 4232411"/>
                <a:gd name="connsiteX1337" fmla="*/ 1098560 w 5248218"/>
                <a:gd name="connsiteY1337" fmla="*/ 1870893 h 4232411"/>
                <a:gd name="connsiteX1338" fmla="*/ 1110383 w 5248218"/>
                <a:gd name="connsiteY1338" fmla="*/ 1859070 h 4232411"/>
                <a:gd name="connsiteX1339" fmla="*/ 1098560 w 5248218"/>
                <a:gd name="connsiteY1339" fmla="*/ 1847248 h 4232411"/>
                <a:gd name="connsiteX1340" fmla="*/ 1086738 w 5248218"/>
                <a:gd name="connsiteY1340" fmla="*/ 1859070 h 4232411"/>
                <a:gd name="connsiteX1341" fmla="*/ 1066051 w 5248218"/>
                <a:gd name="connsiteY1341" fmla="*/ 3325045 h 4232411"/>
                <a:gd name="connsiteX1342" fmla="*/ 1128116 w 5248218"/>
                <a:gd name="connsiteY1342" fmla="*/ 3387111 h 4232411"/>
                <a:gd name="connsiteX1343" fmla="*/ 1190185 w 5248218"/>
                <a:gd name="connsiteY1343" fmla="*/ 3325045 h 4232411"/>
                <a:gd name="connsiteX1344" fmla="*/ 1128116 w 5248218"/>
                <a:gd name="connsiteY1344" fmla="*/ 3262976 h 4232411"/>
                <a:gd name="connsiteX1345" fmla="*/ 1066051 w 5248218"/>
                <a:gd name="connsiteY1345" fmla="*/ 3325045 h 4232411"/>
                <a:gd name="connsiteX1346" fmla="*/ 1048317 w 5248218"/>
                <a:gd name="connsiteY1346" fmla="*/ 2698456 h 4232411"/>
                <a:gd name="connsiteX1347" fmla="*/ 1089695 w 5248218"/>
                <a:gd name="connsiteY1347" fmla="*/ 2739834 h 4232411"/>
                <a:gd name="connsiteX1348" fmla="*/ 1131074 w 5248218"/>
                <a:gd name="connsiteY1348" fmla="*/ 2698456 h 4232411"/>
                <a:gd name="connsiteX1349" fmla="*/ 1089695 w 5248218"/>
                <a:gd name="connsiteY1349" fmla="*/ 2657078 h 4232411"/>
                <a:gd name="connsiteX1350" fmla="*/ 1048317 w 5248218"/>
                <a:gd name="connsiteY1350" fmla="*/ 2698456 h 4232411"/>
                <a:gd name="connsiteX1351" fmla="*/ 1036494 w 5248218"/>
                <a:gd name="connsiteY1351" fmla="*/ 2054136 h 4232411"/>
                <a:gd name="connsiteX1352" fmla="*/ 1054228 w 5248218"/>
                <a:gd name="connsiteY1352" fmla="*/ 2071870 h 4232411"/>
                <a:gd name="connsiteX1353" fmla="*/ 1071961 w 5248218"/>
                <a:gd name="connsiteY1353" fmla="*/ 2054136 h 4232411"/>
                <a:gd name="connsiteX1354" fmla="*/ 1054228 w 5248218"/>
                <a:gd name="connsiteY1354" fmla="*/ 2036403 h 4232411"/>
                <a:gd name="connsiteX1355" fmla="*/ 1036494 w 5248218"/>
                <a:gd name="connsiteY1355" fmla="*/ 2054136 h 4232411"/>
                <a:gd name="connsiteX1356" fmla="*/ 1018761 w 5248218"/>
                <a:gd name="connsiteY1356" fmla="*/ 3520111 h 4232411"/>
                <a:gd name="connsiteX1357" fmla="*/ 1083784 w 5248218"/>
                <a:gd name="connsiteY1357" fmla="*/ 3585134 h 4232411"/>
                <a:gd name="connsiteX1358" fmla="*/ 1148807 w 5248218"/>
                <a:gd name="connsiteY1358" fmla="*/ 3520111 h 4232411"/>
                <a:gd name="connsiteX1359" fmla="*/ 1083784 w 5248218"/>
                <a:gd name="connsiteY1359" fmla="*/ 3455088 h 4232411"/>
                <a:gd name="connsiteX1360" fmla="*/ 1018761 w 5248218"/>
                <a:gd name="connsiteY1360" fmla="*/ 3520111 h 4232411"/>
                <a:gd name="connsiteX1361" fmla="*/ 995116 w 5248218"/>
                <a:gd name="connsiteY1361" fmla="*/ 2890571 h 4232411"/>
                <a:gd name="connsiteX1362" fmla="*/ 1045360 w 5248218"/>
                <a:gd name="connsiteY1362" fmla="*/ 2940818 h 4232411"/>
                <a:gd name="connsiteX1363" fmla="*/ 1095606 w 5248218"/>
                <a:gd name="connsiteY1363" fmla="*/ 2890571 h 4232411"/>
                <a:gd name="connsiteX1364" fmla="*/ 1045360 w 5248218"/>
                <a:gd name="connsiteY1364" fmla="*/ 2840328 h 4232411"/>
                <a:gd name="connsiteX1365" fmla="*/ 995116 w 5248218"/>
                <a:gd name="connsiteY1365" fmla="*/ 2890571 h 4232411"/>
                <a:gd name="connsiteX1366" fmla="*/ 977383 w 5248218"/>
                <a:gd name="connsiteY1366" fmla="*/ 2249209 h 4232411"/>
                <a:gd name="connsiteX1367" fmla="*/ 1006939 w 5248218"/>
                <a:gd name="connsiteY1367" fmla="*/ 2278765 h 4232411"/>
                <a:gd name="connsiteX1368" fmla="*/ 1036494 w 5248218"/>
                <a:gd name="connsiteY1368" fmla="*/ 2249209 h 4232411"/>
                <a:gd name="connsiteX1369" fmla="*/ 1006939 w 5248218"/>
                <a:gd name="connsiteY1369" fmla="*/ 2219653 h 4232411"/>
                <a:gd name="connsiteX1370" fmla="*/ 977383 w 5248218"/>
                <a:gd name="connsiteY1370" fmla="*/ 2249209 h 4232411"/>
                <a:gd name="connsiteX1371" fmla="*/ 965560 w 5248218"/>
                <a:gd name="connsiteY1371" fmla="*/ 3715184 h 4232411"/>
                <a:gd name="connsiteX1372" fmla="*/ 1039452 w 5248218"/>
                <a:gd name="connsiteY1372" fmla="*/ 3789072 h 4232411"/>
                <a:gd name="connsiteX1373" fmla="*/ 1113340 w 5248218"/>
                <a:gd name="connsiteY1373" fmla="*/ 3715184 h 4232411"/>
                <a:gd name="connsiteX1374" fmla="*/ 1039452 w 5248218"/>
                <a:gd name="connsiteY1374" fmla="*/ 3641292 h 4232411"/>
                <a:gd name="connsiteX1375" fmla="*/ 965560 w 5248218"/>
                <a:gd name="connsiteY1375" fmla="*/ 3715184 h 4232411"/>
                <a:gd name="connsiteX1376" fmla="*/ 938958 w 5248218"/>
                <a:gd name="connsiteY1376" fmla="*/ 3085640 h 4232411"/>
                <a:gd name="connsiteX1377" fmla="*/ 1001024 w 5248218"/>
                <a:gd name="connsiteY1377" fmla="*/ 3147710 h 4232411"/>
                <a:gd name="connsiteX1378" fmla="*/ 1063093 w 5248218"/>
                <a:gd name="connsiteY1378" fmla="*/ 3085640 h 4232411"/>
                <a:gd name="connsiteX1379" fmla="*/ 1001024 w 5248218"/>
                <a:gd name="connsiteY1379" fmla="*/ 3023574 h 4232411"/>
                <a:gd name="connsiteX1380" fmla="*/ 938958 w 5248218"/>
                <a:gd name="connsiteY1380" fmla="*/ 3085640 h 4232411"/>
                <a:gd name="connsiteX1381" fmla="*/ 930093 w 5248218"/>
                <a:gd name="connsiteY1381" fmla="*/ 1785179 h 4232411"/>
                <a:gd name="connsiteX1382" fmla="*/ 936004 w 5248218"/>
                <a:gd name="connsiteY1382" fmla="*/ 1791090 h 4232411"/>
                <a:gd name="connsiteX1383" fmla="*/ 941916 w 5248218"/>
                <a:gd name="connsiteY1383" fmla="*/ 1785179 h 4232411"/>
                <a:gd name="connsiteX1384" fmla="*/ 936004 w 5248218"/>
                <a:gd name="connsiteY1384" fmla="*/ 1779268 h 4232411"/>
                <a:gd name="connsiteX1385" fmla="*/ 930093 w 5248218"/>
                <a:gd name="connsiteY1385" fmla="*/ 1785179 h 4232411"/>
                <a:gd name="connsiteX1386" fmla="*/ 927136 w 5248218"/>
                <a:gd name="connsiteY1386" fmla="*/ 3907296 h 4232411"/>
                <a:gd name="connsiteX1387" fmla="*/ 995116 w 5248218"/>
                <a:gd name="connsiteY1387" fmla="*/ 3975272 h 4232411"/>
                <a:gd name="connsiteX1388" fmla="*/ 1063093 w 5248218"/>
                <a:gd name="connsiteY1388" fmla="*/ 3907296 h 4232411"/>
                <a:gd name="connsiteX1389" fmla="*/ 995116 w 5248218"/>
                <a:gd name="connsiteY1389" fmla="*/ 3839316 h 4232411"/>
                <a:gd name="connsiteX1390" fmla="*/ 927136 w 5248218"/>
                <a:gd name="connsiteY1390" fmla="*/ 3907296 h 4232411"/>
                <a:gd name="connsiteX1391" fmla="*/ 924182 w 5248218"/>
                <a:gd name="connsiteY1391" fmla="*/ 2447235 h 4232411"/>
                <a:gd name="connsiteX1392" fmla="*/ 962606 w 5248218"/>
                <a:gd name="connsiteY1392" fmla="*/ 2485656 h 4232411"/>
                <a:gd name="connsiteX1393" fmla="*/ 1001027 w 5248218"/>
                <a:gd name="connsiteY1393" fmla="*/ 2447235 h 4232411"/>
                <a:gd name="connsiteX1394" fmla="*/ 962606 w 5248218"/>
                <a:gd name="connsiteY1394" fmla="*/ 2408811 h 4232411"/>
                <a:gd name="connsiteX1395" fmla="*/ 924182 w 5248218"/>
                <a:gd name="connsiteY1395" fmla="*/ 2447235 h 4232411"/>
                <a:gd name="connsiteX1396" fmla="*/ 918271 w 5248218"/>
                <a:gd name="connsiteY1396" fmla="*/ 4102365 h 4232411"/>
                <a:gd name="connsiteX1397" fmla="*/ 950781 w 5248218"/>
                <a:gd name="connsiteY1397" fmla="*/ 4134875 h 4232411"/>
                <a:gd name="connsiteX1398" fmla="*/ 983294 w 5248218"/>
                <a:gd name="connsiteY1398" fmla="*/ 4102365 h 4232411"/>
                <a:gd name="connsiteX1399" fmla="*/ 950781 w 5248218"/>
                <a:gd name="connsiteY1399" fmla="*/ 4069852 h 4232411"/>
                <a:gd name="connsiteX1400" fmla="*/ 918271 w 5248218"/>
                <a:gd name="connsiteY1400" fmla="*/ 4102365 h 4232411"/>
                <a:gd name="connsiteX1401" fmla="*/ 894626 w 5248218"/>
                <a:gd name="connsiteY1401" fmla="*/ 3280710 h 4232411"/>
                <a:gd name="connsiteX1402" fmla="*/ 956692 w 5248218"/>
                <a:gd name="connsiteY1402" fmla="*/ 3342776 h 4232411"/>
                <a:gd name="connsiteX1403" fmla="*/ 1018761 w 5248218"/>
                <a:gd name="connsiteY1403" fmla="*/ 3280710 h 4232411"/>
                <a:gd name="connsiteX1404" fmla="*/ 956692 w 5248218"/>
                <a:gd name="connsiteY1404" fmla="*/ 3218640 h 4232411"/>
                <a:gd name="connsiteX1405" fmla="*/ 894626 w 5248218"/>
                <a:gd name="connsiteY1405" fmla="*/ 3280710 h 4232411"/>
                <a:gd name="connsiteX1406" fmla="*/ 876892 w 5248218"/>
                <a:gd name="connsiteY1406" fmla="*/ 1983202 h 4232411"/>
                <a:gd name="connsiteX1407" fmla="*/ 888715 w 5248218"/>
                <a:gd name="connsiteY1407" fmla="*/ 1995024 h 4232411"/>
                <a:gd name="connsiteX1408" fmla="*/ 900537 w 5248218"/>
                <a:gd name="connsiteY1408" fmla="*/ 1983202 h 4232411"/>
                <a:gd name="connsiteX1409" fmla="*/ 888715 w 5248218"/>
                <a:gd name="connsiteY1409" fmla="*/ 1971380 h 4232411"/>
                <a:gd name="connsiteX1410" fmla="*/ 876892 w 5248218"/>
                <a:gd name="connsiteY1410" fmla="*/ 1983202 h 4232411"/>
                <a:gd name="connsiteX1411" fmla="*/ 870981 w 5248218"/>
                <a:gd name="connsiteY1411" fmla="*/ 2642302 h 4232411"/>
                <a:gd name="connsiteX1412" fmla="*/ 918271 w 5248218"/>
                <a:gd name="connsiteY1412" fmla="*/ 2689591 h 4232411"/>
                <a:gd name="connsiteX1413" fmla="*/ 965560 w 5248218"/>
                <a:gd name="connsiteY1413" fmla="*/ 2642302 h 4232411"/>
                <a:gd name="connsiteX1414" fmla="*/ 918271 w 5248218"/>
                <a:gd name="connsiteY1414" fmla="*/ 2595012 h 4232411"/>
                <a:gd name="connsiteX1415" fmla="*/ 870981 w 5248218"/>
                <a:gd name="connsiteY1415" fmla="*/ 2642302 h 4232411"/>
                <a:gd name="connsiteX1416" fmla="*/ 844379 w 5248218"/>
                <a:gd name="connsiteY1416" fmla="*/ 3478736 h 4232411"/>
                <a:gd name="connsiteX1417" fmla="*/ 912359 w 5248218"/>
                <a:gd name="connsiteY1417" fmla="*/ 3546713 h 4232411"/>
                <a:gd name="connsiteX1418" fmla="*/ 980336 w 5248218"/>
                <a:gd name="connsiteY1418" fmla="*/ 3478736 h 4232411"/>
                <a:gd name="connsiteX1419" fmla="*/ 912359 w 5248218"/>
                <a:gd name="connsiteY1419" fmla="*/ 3410756 h 4232411"/>
                <a:gd name="connsiteX1420" fmla="*/ 844379 w 5248218"/>
                <a:gd name="connsiteY1420" fmla="*/ 3478736 h 4232411"/>
                <a:gd name="connsiteX1421" fmla="*/ 826649 w 5248218"/>
                <a:gd name="connsiteY1421" fmla="*/ 2840328 h 4232411"/>
                <a:gd name="connsiteX1422" fmla="*/ 873938 w 5248218"/>
                <a:gd name="connsiteY1422" fmla="*/ 2887617 h 4232411"/>
                <a:gd name="connsiteX1423" fmla="*/ 921228 w 5248218"/>
                <a:gd name="connsiteY1423" fmla="*/ 2840328 h 4232411"/>
                <a:gd name="connsiteX1424" fmla="*/ 873938 w 5248218"/>
                <a:gd name="connsiteY1424" fmla="*/ 2793038 h 4232411"/>
                <a:gd name="connsiteX1425" fmla="*/ 826649 w 5248218"/>
                <a:gd name="connsiteY1425" fmla="*/ 2840328 h 4232411"/>
                <a:gd name="connsiteX1426" fmla="*/ 826649 w 5248218"/>
                <a:gd name="connsiteY1426" fmla="*/ 1492577 h 4232411"/>
                <a:gd name="connsiteX1427" fmla="*/ 829603 w 5248218"/>
                <a:gd name="connsiteY1427" fmla="*/ 1495531 h 4232411"/>
                <a:gd name="connsiteX1428" fmla="*/ 832560 w 5248218"/>
                <a:gd name="connsiteY1428" fmla="*/ 1492577 h 4232411"/>
                <a:gd name="connsiteX1429" fmla="*/ 829603 w 5248218"/>
                <a:gd name="connsiteY1429" fmla="*/ 1489620 h 4232411"/>
                <a:gd name="connsiteX1430" fmla="*/ 826649 w 5248218"/>
                <a:gd name="connsiteY1430" fmla="*/ 1492577 h 4232411"/>
                <a:gd name="connsiteX1431" fmla="*/ 820735 w 5248218"/>
                <a:gd name="connsiteY1431" fmla="*/ 2181228 h 4232411"/>
                <a:gd name="connsiteX1432" fmla="*/ 844379 w 5248218"/>
                <a:gd name="connsiteY1432" fmla="*/ 2204873 h 4232411"/>
                <a:gd name="connsiteX1433" fmla="*/ 868024 w 5248218"/>
                <a:gd name="connsiteY1433" fmla="*/ 2181228 h 4232411"/>
                <a:gd name="connsiteX1434" fmla="*/ 844379 w 5248218"/>
                <a:gd name="connsiteY1434" fmla="*/ 2157584 h 4232411"/>
                <a:gd name="connsiteX1435" fmla="*/ 820735 w 5248218"/>
                <a:gd name="connsiteY1435" fmla="*/ 2181228 h 4232411"/>
                <a:gd name="connsiteX1436" fmla="*/ 797093 w 5248218"/>
                <a:gd name="connsiteY1436" fmla="*/ 3670848 h 4232411"/>
                <a:gd name="connsiteX1437" fmla="*/ 868027 w 5248218"/>
                <a:gd name="connsiteY1437" fmla="*/ 3741782 h 4232411"/>
                <a:gd name="connsiteX1438" fmla="*/ 938961 w 5248218"/>
                <a:gd name="connsiteY1438" fmla="*/ 3670848 h 4232411"/>
                <a:gd name="connsiteX1439" fmla="*/ 868027 w 5248218"/>
                <a:gd name="connsiteY1439" fmla="*/ 3599914 h 4232411"/>
                <a:gd name="connsiteX1440" fmla="*/ 797093 w 5248218"/>
                <a:gd name="connsiteY1440" fmla="*/ 3670848 h 4232411"/>
                <a:gd name="connsiteX1441" fmla="*/ 770491 w 5248218"/>
                <a:gd name="connsiteY1441" fmla="*/ 3032440 h 4232411"/>
                <a:gd name="connsiteX1442" fmla="*/ 829603 w 5248218"/>
                <a:gd name="connsiteY1442" fmla="*/ 3091552 h 4232411"/>
                <a:gd name="connsiteX1443" fmla="*/ 888715 w 5248218"/>
                <a:gd name="connsiteY1443" fmla="*/ 3032440 h 4232411"/>
                <a:gd name="connsiteX1444" fmla="*/ 829603 w 5248218"/>
                <a:gd name="connsiteY1444" fmla="*/ 2973328 h 4232411"/>
                <a:gd name="connsiteX1445" fmla="*/ 770491 w 5248218"/>
                <a:gd name="connsiteY1445" fmla="*/ 3032440 h 4232411"/>
                <a:gd name="connsiteX1446" fmla="*/ 770491 w 5248218"/>
                <a:gd name="connsiteY1446" fmla="*/ 1696511 h 4232411"/>
                <a:gd name="connsiteX1447" fmla="*/ 779356 w 5248218"/>
                <a:gd name="connsiteY1447" fmla="*/ 1705380 h 4232411"/>
                <a:gd name="connsiteX1448" fmla="*/ 788225 w 5248218"/>
                <a:gd name="connsiteY1448" fmla="*/ 1696511 h 4232411"/>
                <a:gd name="connsiteX1449" fmla="*/ 779356 w 5248218"/>
                <a:gd name="connsiteY1449" fmla="*/ 1687646 h 4232411"/>
                <a:gd name="connsiteX1450" fmla="*/ 770491 w 5248218"/>
                <a:gd name="connsiteY1450" fmla="*/ 1696511 h 4232411"/>
                <a:gd name="connsiteX1451" fmla="*/ 764580 w 5248218"/>
                <a:gd name="connsiteY1451" fmla="*/ 2379255 h 4232411"/>
                <a:gd name="connsiteX1452" fmla="*/ 797093 w 5248218"/>
                <a:gd name="connsiteY1452" fmla="*/ 2411765 h 4232411"/>
                <a:gd name="connsiteX1453" fmla="*/ 829603 w 5248218"/>
                <a:gd name="connsiteY1453" fmla="*/ 2379255 h 4232411"/>
                <a:gd name="connsiteX1454" fmla="*/ 797093 w 5248218"/>
                <a:gd name="connsiteY1454" fmla="*/ 2346742 h 4232411"/>
                <a:gd name="connsiteX1455" fmla="*/ 764580 w 5248218"/>
                <a:gd name="connsiteY1455" fmla="*/ 2379255 h 4232411"/>
                <a:gd name="connsiteX1456" fmla="*/ 758669 w 5248218"/>
                <a:gd name="connsiteY1456" fmla="*/ 4060984 h 4232411"/>
                <a:gd name="connsiteX1457" fmla="*/ 779359 w 5248218"/>
                <a:gd name="connsiteY1457" fmla="*/ 4081674 h 4232411"/>
                <a:gd name="connsiteX1458" fmla="*/ 800047 w 5248218"/>
                <a:gd name="connsiteY1458" fmla="*/ 4060984 h 4232411"/>
                <a:gd name="connsiteX1459" fmla="*/ 779359 w 5248218"/>
                <a:gd name="connsiteY1459" fmla="*/ 4040296 h 4232411"/>
                <a:gd name="connsiteX1460" fmla="*/ 758669 w 5248218"/>
                <a:gd name="connsiteY1460" fmla="*/ 4060984 h 4232411"/>
                <a:gd name="connsiteX1461" fmla="*/ 755715 w 5248218"/>
                <a:gd name="connsiteY1461" fmla="*/ 3862964 h 4232411"/>
                <a:gd name="connsiteX1462" fmla="*/ 823692 w 5248218"/>
                <a:gd name="connsiteY1462" fmla="*/ 3930940 h 4232411"/>
                <a:gd name="connsiteX1463" fmla="*/ 891672 w 5248218"/>
                <a:gd name="connsiteY1463" fmla="*/ 3862964 h 4232411"/>
                <a:gd name="connsiteX1464" fmla="*/ 823692 w 5248218"/>
                <a:gd name="connsiteY1464" fmla="*/ 3794983 h 4232411"/>
                <a:gd name="connsiteX1465" fmla="*/ 755715 w 5248218"/>
                <a:gd name="connsiteY1465" fmla="*/ 3862964 h 4232411"/>
                <a:gd name="connsiteX1466" fmla="*/ 723202 w 5248218"/>
                <a:gd name="connsiteY1466" fmla="*/ 3230466 h 4232411"/>
                <a:gd name="connsiteX1467" fmla="*/ 785267 w 5248218"/>
                <a:gd name="connsiteY1467" fmla="*/ 3292532 h 4232411"/>
                <a:gd name="connsiteX1468" fmla="*/ 847337 w 5248218"/>
                <a:gd name="connsiteY1468" fmla="*/ 3230466 h 4232411"/>
                <a:gd name="connsiteX1469" fmla="*/ 785267 w 5248218"/>
                <a:gd name="connsiteY1469" fmla="*/ 3168397 h 4232411"/>
                <a:gd name="connsiteX1470" fmla="*/ 723202 w 5248218"/>
                <a:gd name="connsiteY1470" fmla="*/ 3230466 h 4232411"/>
                <a:gd name="connsiteX1471" fmla="*/ 714336 w 5248218"/>
                <a:gd name="connsiteY1471" fmla="*/ 1897492 h 4232411"/>
                <a:gd name="connsiteX1472" fmla="*/ 732070 w 5248218"/>
                <a:gd name="connsiteY1472" fmla="*/ 1915225 h 4232411"/>
                <a:gd name="connsiteX1473" fmla="*/ 749803 w 5248218"/>
                <a:gd name="connsiteY1473" fmla="*/ 1897492 h 4232411"/>
                <a:gd name="connsiteX1474" fmla="*/ 732070 w 5248218"/>
                <a:gd name="connsiteY1474" fmla="*/ 1879758 h 4232411"/>
                <a:gd name="connsiteX1475" fmla="*/ 714336 w 5248218"/>
                <a:gd name="connsiteY1475" fmla="*/ 1897492 h 4232411"/>
                <a:gd name="connsiteX1476" fmla="*/ 708425 w 5248218"/>
                <a:gd name="connsiteY1476" fmla="*/ 2577278 h 4232411"/>
                <a:gd name="connsiteX1477" fmla="*/ 752761 w 5248218"/>
                <a:gd name="connsiteY1477" fmla="*/ 2621610 h 4232411"/>
                <a:gd name="connsiteX1478" fmla="*/ 797093 w 5248218"/>
                <a:gd name="connsiteY1478" fmla="*/ 2577278 h 4232411"/>
                <a:gd name="connsiteX1479" fmla="*/ 752761 w 5248218"/>
                <a:gd name="connsiteY1479" fmla="*/ 2532942 h 4232411"/>
                <a:gd name="connsiteX1480" fmla="*/ 708425 w 5248218"/>
                <a:gd name="connsiteY1480" fmla="*/ 2577278 h 4232411"/>
                <a:gd name="connsiteX1481" fmla="*/ 678869 w 5248218"/>
                <a:gd name="connsiteY1481" fmla="*/ 3425532 h 4232411"/>
                <a:gd name="connsiteX1482" fmla="*/ 740935 w 5248218"/>
                <a:gd name="connsiteY1482" fmla="*/ 3487601 h 4232411"/>
                <a:gd name="connsiteX1483" fmla="*/ 803004 w 5248218"/>
                <a:gd name="connsiteY1483" fmla="*/ 3425532 h 4232411"/>
                <a:gd name="connsiteX1484" fmla="*/ 740935 w 5248218"/>
                <a:gd name="connsiteY1484" fmla="*/ 3363466 h 4232411"/>
                <a:gd name="connsiteX1485" fmla="*/ 678869 w 5248218"/>
                <a:gd name="connsiteY1485" fmla="*/ 3425532 h 4232411"/>
                <a:gd name="connsiteX1486" fmla="*/ 661133 w 5248218"/>
                <a:gd name="connsiteY1486" fmla="*/ 2101429 h 4232411"/>
                <a:gd name="connsiteX1487" fmla="*/ 684777 w 5248218"/>
                <a:gd name="connsiteY1487" fmla="*/ 2125074 h 4232411"/>
                <a:gd name="connsiteX1488" fmla="*/ 708422 w 5248218"/>
                <a:gd name="connsiteY1488" fmla="*/ 2101429 h 4232411"/>
                <a:gd name="connsiteX1489" fmla="*/ 684777 w 5248218"/>
                <a:gd name="connsiteY1489" fmla="*/ 2077784 h 4232411"/>
                <a:gd name="connsiteX1490" fmla="*/ 661133 w 5248218"/>
                <a:gd name="connsiteY1490" fmla="*/ 2101429 h 4232411"/>
                <a:gd name="connsiteX1491" fmla="*/ 658178 w 5248218"/>
                <a:gd name="connsiteY1491" fmla="*/ 2775304 h 4232411"/>
                <a:gd name="connsiteX1492" fmla="*/ 705468 w 5248218"/>
                <a:gd name="connsiteY1492" fmla="*/ 2822594 h 4232411"/>
                <a:gd name="connsiteX1493" fmla="*/ 752757 w 5248218"/>
                <a:gd name="connsiteY1493" fmla="*/ 2775304 h 4232411"/>
                <a:gd name="connsiteX1494" fmla="*/ 705468 w 5248218"/>
                <a:gd name="connsiteY1494" fmla="*/ 2728015 h 4232411"/>
                <a:gd name="connsiteX1495" fmla="*/ 658178 w 5248218"/>
                <a:gd name="connsiteY1495" fmla="*/ 2775304 h 4232411"/>
                <a:gd name="connsiteX1496" fmla="*/ 625668 w 5248218"/>
                <a:gd name="connsiteY1496" fmla="*/ 3620604 h 4232411"/>
                <a:gd name="connsiteX1497" fmla="*/ 696603 w 5248218"/>
                <a:gd name="connsiteY1497" fmla="*/ 3691539 h 4232411"/>
                <a:gd name="connsiteX1498" fmla="*/ 767537 w 5248218"/>
                <a:gd name="connsiteY1498" fmla="*/ 3620604 h 4232411"/>
                <a:gd name="connsiteX1499" fmla="*/ 696603 w 5248218"/>
                <a:gd name="connsiteY1499" fmla="*/ 3549670 h 4232411"/>
                <a:gd name="connsiteX1500" fmla="*/ 625668 w 5248218"/>
                <a:gd name="connsiteY1500" fmla="*/ 3620604 h 4232411"/>
                <a:gd name="connsiteX1501" fmla="*/ 622711 w 5248218"/>
                <a:gd name="connsiteY1501" fmla="*/ 1596021 h 4232411"/>
                <a:gd name="connsiteX1502" fmla="*/ 631577 w 5248218"/>
                <a:gd name="connsiteY1502" fmla="*/ 1604886 h 4232411"/>
                <a:gd name="connsiteX1503" fmla="*/ 640445 w 5248218"/>
                <a:gd name="connsiteY1503" fmla="*/ 1596021 h 4232411"/>
                <a:gd name="connsiteX1504" fmla="*/ 631577 w 5248218"/>
                <a:gd name="connsiteY1504" fmla="*/ 1587152 h 4232411"/>
                <a:gd name="connsiteX1505" fmla="*/ 622711 w 5248218"/>
                <a:gd name="connsiteY1505" fmla="*/ 1596021 h 4232411"/>
                <a:gd name="connsiteX1506" fmla="*/ 604978 w 5248218"/>
                <a:gd name="connsiteY1506" fmla="*/ 2970370 h 4232411"/>
                <a:gd name="connsiteX1507" fmla="*/ 661133 w 5248218"/>
                <a:gd name="connsiteY1507" fmla="*/ 3026528 h 4232411"/>
                <a:gd name="connsiteX1508" fmla="*/ 717290 w 5248218"/>
                <a:gd name="connsiteY1508" fmla="*/ 2970370 h 4232411"/>
                <a:gd name="connsiteX1509" fmla="*/ 661133 w 5248218"/>
                <a:gd name="connsiteY1509" fmla="*/ 2914216 h 4232411"/>
                <a:gd name="connsiteX1510" fmla="*/ 604978 w 5248218"/>
                <a:gd name="connsiteY1510" fmla="*/ 2970370 h 4232411"/>
                <a:gd name="connsiteX1511" fmla="*/ 593155 w 5248218"/>
                <a:gd name="connsiteY1511" fmla="*/ 2302410 h 4232411"/>
                <a:gd name="connsiteX1512" fmla="*/ 637488 w 5248218"/>
                <a:gd name="connsiteY1512" fmla="*/ 2346742 h 4232411"/>
                <a:gd name="connsiteX1513" fmla="*/ 681823 w 5248218"/>
                <a:gd name="connsiteY1513" fmla="*/ 2302410 h 4232411"/>
                <a:gd name="connsiteX1514" fmla="*/ 637488 w 5248218"/>
                <a:gd name="connsiteY1514" fmla="*/ 2258074 h 4232411"/>
                <a:gd name="connsiteX1515" fmla="*/ 593155 w 5248218"/>
                <a:gd name="connsiteY1515" fmla="*/ 2302410 h 4232411"/>
                <a:gd name="connsiteX1516" fmla="*/ 587244 w 5248218"/>
                <a:gd name="connsiteY1516" fmla="*/ 3815674 h 4232411"/>
                <a:gd name="connsiteX1517" fmla="*/ 649313 w 5248218"/>
                <a:gd name="connsiteY1517" fmla="*/ 3877740 h 4232411"/>
                <a:gd name="connsiteX1518" fmla="*/ 711379 w 5248218"/>
                <a:gd name="connsiteY1518" fmla="*/ 3815674 h 4232411"/>
                <a:gd name="connsiteX1519" fmla="*/ 649313 w 5248218"/>
                <a:gd name="connsiteY1519" fmla="*/ 3753604 h 4232411"/>
                <a:gd name="connsiteX1520" fmla="*/ 587244 w 5248218"/>
                <a:gd name="connsiteY1520" fmla="*/ 3815674 h 4232411"/>
                <a:gd name="connsiteX1521" fmla="*/ 566557 w 5248218"/>
                <a:gd name="connsiteY1521" fmla="*/ 1802912 h 4232411"/>
                <a:gd name="connsiteX1522" fmla="*/ 578379 w 5248218"/>
                <a:gd name="connsiteY1522" fmla="*/ 1814735 h 4232411"/>
                <a:gd name="connsiteX1523" fmla="*/ 590201 w 5248218"/>
                <a:gd name="connsiteY1523" fmla="*/ 1802912 h 4232411"/>
                <a:gd name="connsiteX1524" fmla="*/ 578379 w 5248218"/>
                <a:gd name="connsiteY1524" fmla="*/ 1791090 h 4232411"/>
                <a:gd name="connsiteX1525" fmla="*/ 566557 w 5248218"/>
                <a:gd name="connsiteY1525" fmla="*/ 1802912 h 4232411"/>
                <a:gd name="connsiteX1526" fmla="*/ 554731 w 5248218"/>
                <a:gd name="connsiteY1526" fmla="*/ 4205812 h 4232411"/>
                <a:gd name="connsiteX1527" fmla="*/ 560642 w 5248218"/>
                <a:gd name="connsiteY1527" fmla="*/ 4211724 h 4232411"/>
                <a:gd name="connsiteX1528" fmla="*/ 566554 w 5248218"/>
                <a:gd name="connsiteY1528" fmla="*/ 4205812 h 4232411"/>
                <a:gd name="connsiteX1529" fmla="*/ 560642 w 5248218"/>
                <a:gd name="connsiteY1529" fmla="*/ 4199901 h 4232411"/>
                <a:gd name="connsiteX1530" fmla="*/ 554731 w 5248218"/>
                <a:gd name="connsiteY1530" fmla="*/ 4205812 h 4232411"/>
                <a:gd name="connsiteX1531" fmla="*/ 554731 w 5248218"/>
                <a:gd name="connsiteY1531" fmla="*/ 3168397 h 4232411"/>
                <a:gd name="connsiteX1532" fmla="*/ 616797 w 5248218"/>
                <a:gd name="connsiteY1532" fmla="*/ 3230466 h 4232411"/>
                <a:gd name="connsiteX1533" fmla="*/ 678866 w 5248218"/>
                <a:gd name="connsiteY1533" fmla="*/ 3168397 h 4232411"/>
                <a:gd name="connsiteX1534" fmla="*/ 616797 w 5248218"/>
                <a:gd name="connsiteY1534" fmla="*/ 3106331 h 4232411"/>
                <a:gd name="connsiteX1535" fmla="*/ 554731 w 5248218"/>
                <a:gd name="connsiteY1535" fmla="*/ 3168397 h 4232411"/>
                <a:gd name="connsiteX1536" fmla="*/ 542909 w 5248218"/>
                <a:gd name="connsiteY1536" fmla="*/ 1267948 h 4232411"/>
                <a:gd name="connsiteX1537" fmla="*/ 548820 w 5248218"/>
                <a:gd name="connsiteY1537" fmla="*/ 1273860 h 4232411"/>
                <a:gd name="connsiteX1538" fmla="*/ 554731 w 5248218"/>
                <a:gd name="connsiteY1538" fmla="*/ 1267948 h 4232411"/>
                <a:gd name="connsiteX1539" fmla="*/ 548820 w 5248218"/>
                <a:gd name="connsiteY1539" fmla="*/ 1262037 h 4232411"/>
                <a:gd name="connsiteX1540" fmla="*/ 542909 w 5248218"/>
                <a:gd name="connsiteY1540" fmla="*/ 1267948 h 4232411"/>
                <a:gd name="connsiteX1541" fmla="*/ 537001 w 5248218"/>
                <a:gd name="connsiteY1541" fmla="*/ 4010740 h 4232411"/>
                <a:gd name="connsiteX1542" fmla="*/ 604978 w 5248218"/>
                <a:gd name="connsiteY1542" fmla="*/ 4078720 h 4232411"/>
                <a:gd name="connsiteX1543" fmla="*/ 672958 w 5248218"/>
                <a:gd name="connsiteY1543" fmla="*/ 4010740 h 4232411"/>
                <a:gd name="connsiteX1544" fmla="*/ 604978 w 5248218"/>
                <a:gd name="connsiteY1544" fmla="*/ 3942763 h 4232411"/>
                <a:gd name="connsiteX1545" fmla="*/ 537001 w 5248218"/>
                <a:gd name="connsiteY1545" fmla="*/ 4010740 h 4232411"/>
                <a:gd name="connsiteX1546" fmla="*/ 537001 w 5248218"/>
                <a:gd name="connsiteY1546" fmla="*/ 2500433 h 4232411"/>
                <a:gd name="connsiteX1547" fmla="*/ 590201 w 5248218"/>
                <a:gd name="connsiteY1547" fmla="*/ 2553634 h 4232411"/>
                <a:gd name="connsiteX1548" fmla="*/ 643402 w 5248218"/>
                <a:gd name="connsiteY1548" fmla="*/ 2500433 h 4232411"/>
                <a:gd name="connsiteX1549" fmla="*/ 590201 w 5248218"/>
                <a:gd name="connsiteY1549" fmla="*/ 2447232 h 4232411"/>
                <a:gd name="connsiteX1550" fmla="*/ 537001 w 5248218"/>
                <a:gd name="connsiteY1550" fmla="*/ 2500433 h 4232411"/>
                <a:gd name="connsiteX1551" fmla="*/ 507445 w 5248218"/>
                <a:gd name="connsiteY1551" fmla="*/ 3363466 h 4232411"/>
                <a:gd name="connsiteX1552" fmla="*/ 572468 w 5248218"/>
                <a:gd name="connsiteY1552" fmla="*/ 3428490 h 4232411"/>
                <a:gd name="connsiteX1553" fmla="*/ 637491 w 5248218"/>
                <a:gd name="connsiteY1553" fmla="*/ 3363466 h 4232411"/>
                <a:gd name="connsiteX1554" fmla="*/ 572468 w 5248218"/>
                <a:gd name="connsiteY1554" fmla="*/ 3298443 h 4232411"/>
                <a:gd name="connsiteX1555" fmla="*/ 507445 w 5248218"/>
                <a:gd name="connsiteY1555" fmla="*/ 3363466 h 4232411"/>
                <a:gd name="connsiteX1556" fmla="*/ 504488 w 5248218"/>
                <a:gd name="connsiteY1556" fmla="*/ 2009804 h 4232411"/>
                <a:gd name="connsiteX1557" fmla="*/ 531089 w 5248218"/>
                <a:gd name="connsiteY1557" fmla="*/ 2036406 h 4232411"/>
                <a:gd name="connsiteX1558" fmla="*/ 557688 w 5248218"/>
                <a:gd name="connsiteY1558" fmla="*/ 2009804 h 4232411"/>
                <a:gd name="connsiteX1559" fmla="*/ 531089 w 5248218"/>
                <a:gd name="connsiteY1559" fmla="*/ 1983205 h 4232411"/>
                <a:gd name="connsiteX1560" fmla="*/ 504488 w 5248218"/>
                <a:gd name="connsiteY1560" fmla="*/ 2009804 h 4232411"/>
                <a:gd name="connsiteX1561" fmla="*/ 489711 w 5248218"/>
                <a:gd name="connsiteY1561" fmla="*/ 2698459 h 4232411"/>
                <a:gd name="connsiteX1562" fmla="*/ 542912 w 5248218"/>
                <a:gd name="connsiteY1562" fmla="*/ 2751660 h 4232411"/>
                <a:gd name="connsiteX1563" fmla="*/ 596113 w 5248218"/>
                <a:gd name="connsiteY1563" fmla="*/ 2698459 h 4232411"/>
                <a:gd name="connsiteX1564" fmla="*/ 542912 w 5248218"/>
                <a:gd name="connsiteY1564" fmla="*/ 2645258 h 4232411"/>
                <a:gd name="connsiteX1565" fmla="*/ 489711 w 5248218"/>
                <a:gd name="connsiteY1565" fmla="*/ 2698459 h 4232411"/>
                <a:gd name="connsiteX1566" fmla="*/ 483797 w 5248218"/>
                <a:gd name="connsiteY1566" fmla="*/ 1483708 h 4232411"/>
                <a:gd name="connsiteX1567" fmla="*/ 492665 w 5248218"/>
                <a:gd name="connsiteY1567" fmla="*/ 1492574 h 4232411"/>
                <a:gd name="connsiteX1568" fmla="*/ 501530 w 5248218"/>
                <a:gd name="connsiteY1568" fmla="*/ 1483708 h 4232411"/>
                <a:gd name="connsiteX1569" fmla="*/ 492665 w 5248218"/>
                <a:gd name="connsiteY1569" fmla="*/ 1474840 h 4232411"/>
                <a:gd name="connsiteX1570" fmla="*/ 483797 w 5248218"/>
                <a:gd name="connsiteY1570" fmla="*/ 1483708 h 4232411"/>
                <a:gd name="connsiteX1571" fmla="*/ 466063 w 5248218"/>
                <a:gd name="connsiteY1571" fmla="*/ 3561492 h 4232411"/>
                <a:gd name="connsiteX1572" fmla="*/ 525175 w 5248218"/>
                <a:gd name="connsiteY1572" fmla="*/ 3620604 h 4232411"/>
                <a:gd name="connsiteX1573" fmla="*/ 584287 w 5248218"/>
                <a:gd name="connsiteY1573" fmla="*/ 3561492 h 4232411"/>
                <a:gd name="connsiteX1574" fmla="*/ 525175 w 5248218"/>
                <a:gd name="connsiteY1574" fmla="*/ 3502381 h 4232411"/>
                <a:gd name="connsiteX1575" fmla="*/ 466063 w 5248218"/>
                <a:gd name="connsiteY1575" fmla="*/ 3561492 h 4232411"/>
                <a:gd name="connsiteX1576" fmla="*/ 442422 w 5248218"/>
                <a:gd name="connsiteY1576" fmla="*/ 2899440 h 4232411"/>
                <a:gd name="connsiteX1577" fmla="*/ 498576 w 5248218"/>
                <a:gd name="connsiteY1577" fmla="*/ 2955594 h 4232411"/>
                <a:gd name="connsiteX1578" fmla="*/ 554734 w 5248218"/>
                <a:gd name="connsiteY1578" fmla="*/ 2899440 h 4232411"/>
                <a:gd name="connsiteX1579" fmla="*/ 498576 w 5248218"/>
                <a:gd name="connsiteY1579" fmla="*/ 2843282 h 4232411"/>
                <a:gd name="connsiteX1580" fmla="*/ 442422 w 5248218"/>
                <a:gd name="connsiteY1580" fmla="*/ 2899440 h 4232411"/>
                <a:gd name="connsiteX1581" fmla="*/ 442422 w 5248218"/>
                <a:gd name="connsiteY1581" fmla="*/ 2216696 h 4232411"/>
                <a:gd name="connsiteX1582" fmla="*/ 480843 w 5248218"/>
                <a:gd name="connsiteY1582" fmla="*/ 2255117 h 4232411"/>
                <a:gd name="connsiteX1583" fmla="*/ 519267 w 5248218"/>
                <a:gd name="connsiteY1583" fmla="*/ 2216696 h 4232411"/>
                <a:gd name="connsiteX1584" fmla="*/ 480843 w 5248218"/>
                <a:gd name="connsiteY1584" fmla="*/ 2178272 h 4232411"/>
                <a:gd name="connsiteX1585" fmla="*/ 442422 w 5248218"/>
                <a:gd name="connsiteY1585" fmla="*/ 2216696 h 4232411"/>
                <a:gd name="connsiteX1586" fmla="*/ 421731 w 5248218"/>
                <a:gd name="connsiteY1586" fmla="*/ 1696511 h 4232411"/>
                <a:gd name="connsiteX1587" fmla="*/ 436510 w 5248218"/>
                <a:gd name="connsiteY1587" fmla="*/ 1711288 h 4232411"/>
                <a:gd name="connsiteX1588" fmla="*/ 451287 w 5248218"/>
                <a:gd name="connsiteY1588" fmla="*/ 1696511 h 4232411"/>
                <a:gd name="connsiteX1589" fmla="*/ 436510 w 5248218"/>
                <a:gd name="connsiteY1589" fmla="*/ 1681732 h 4232411"/>
                <a:gd name="connsiteX1590" fmla="*/ 421731 w 5248218"/>
                <a:gd name="connsiteY1590" fmla="*/ 1696511 h 4232411"/>
                <a:gd name="connsiteX1591" fmla="*/ 418777 w 5248218"/>
                <a:gd name="connsiteY1591" fmla="*/ 3756562 h 4232411"/>
                <a:gd name="connsiteX1592" fmla="*/ 480843 w 5248218"/>
                <a:gd name="connsiteY1592" fmla="*/ 3818628 h 4232411"/>
                <a:gd name="connsiteX1593" fmla="*/ 542912 w 5248218"/>
                <a:gd name="connsiteY1593" fmla="*/ 3756562 h 4232411"/>
                <a:gd name="connsiteX1594" fmla="*/ 480843 w 5248218"/>
                <a:gd name="connsiteY1594" fmla="*/ 3694493 h 4232411"/>
                <a:gd name="connsiteX1595" fmla="*/ 418777 w 5248218"/>
                <a:gd name="connsiteY1595" fmla="*/ 3756562 h 4232411"/>
                <a:gd name="connsiteX1596" fmla="*/ 418777 w 5248218"/>
                <a:gd name="connsiteY1596" fmla="*/ 1137905 h 4232411"/>
                <a:gd name="connsiteX1597" fmla="*/ 424688 w 5248218"/>
                <a:gd name="connsiteY1597" fmla="*/ 1143816 h 4232411"/>
                <a:gd name="connsiteX1598" fmla="*/ 430599 w 5248218"/>
                <a:gd name="connsiteY1598" fmla="*/ 1137905 h 4232411"/>
                <a:gd name="connsiteX1599" fmla="*/ 424688 w 5248218"/>
                <a:gd name="connsiteY1599" fmla="*/ 1131994 h 4232411"/>
                <a:gd name="connsiteX1600" fmla="*/ 418777 w 5248218"/>
                <a:gd name="connsiteY1600" fmla="*/ 1137905 h 4232411"/>
                <a:gd name="connsiteX1601" fmla="*/ 386264 w 5248218"/>
                <a:gd name="connsiteY1601" fmla="*/ 3097463 h 4232411"/>
                <a:gd name="connsiteX1602" fmla="*/ 451287 w 5248218"/>
                <a:gd name="connsiteY1602" fmla="*/ 3162486 h 4232411"/>
                <a:gd name="connsiteX1603" fmla="*/ 516310 w 5248218"/>
                <a:gd name="connsiteY1603" fmla="*/ 3097463 h 4232411"/>
                <a:gd name="connsiteX1604" fmla="*/ 451287 w 5248218"/>
                <a:gd name="connsiteY1604" fmla="*/ 3032440 h 4232411"/>
                <a:gd name="connsiteX1605" fmla="*/ 386264 w 5248218"/>
                <a:gd name="connsiteY1605" fmla="*/ 3097463 h 4232411"/>
                <a:gd name="connsiteX1606" fmla="*/ 386264 w 5248218"/>
                <a:gd name="connsiteY1606" fmla="*/ 2417676 h 4232411"/>
                <a:gd name="connsiteX1607" fmla="*/ 433553 w 5248218"/>
                <a:gd name="connsiteY1607" fmla="*/ 2464966 h 4232411"/>
                <a:gd name="connsiteX1608" fmla="*/ 480843 w 5248218"/>
                <a:gd name="connsiteY1608" fmla="*/ 2417676 h 4232411"/>
                <a:gd name="connsiteX1609" fmla="*/ 433553 w 5248218"/>
                <a:gd name="connsiteY1609" fmla="*/ 2370386 h 4232411"/>
                <a:gd name="connsiteX1610" fmla="*/ 386264 w 5248218"/>
                <a:gd name="connsiteY1610" fmla="*/ 2417676 h 4232411"/>
                <a:gd name="connsiteX1611" fmla="*/ 383310 w 5248218"/>
                <a:gd name="connsiteY1611" fmla="*/ 3951628 h 4232411"/>
                <a:gd name="connsiteX1612" fmla="*/ 436510 w 5248218"/>
                <a:gd name="connsiteY1612" fmla="*/ 4004828 h 4232411"/>
                <a:gd name="connsiteX1613" fmla="*/ 489711 w 5248218"/>
                <a:gd name="connsiteY1613" fmla="*/ 3951628 h 4232411"/>
                <a:gd name="connsiteX1614" fmla="*/ 436510 w 5248218"/>
                <a:gd name="connsiteY1614" fmla="*/ 3898428 h 4232411"/>
                <a:gd name="connsiteX1615" fmla="*/ 383310 w 5248218"/>
                <a:gd name="connsiteY1615" fmla="*/ 3951628 h 4232411"/>
                <a:gd name="connsiteX1616" fmla="*/ 350797 w 5248218"/>
                <a:gd name="connsiteY1616" fmla="*/ 1906360 h 4232411"/>
                <a:gd name="connsiteX1617" fmla="*/ 383310 w 5248218"/>
                <a:gd name="connsiteY1617" fmla="*/ 1938870 h 4232411"/>
                <a:gd name="connsiteX1618" fmla="*/ 415820 w 5248218"/>
                <a:gd name="connsiteY1618" fmla="*/ 1906360 h 4232411"/>
                <a:gd name="connsiteX1619" fmla="*/ 383310 w 5248218"/>
                <a:gd name="connsiteY1619" fmla="*/ 1873847 h 4232411"/>
                <a:gd name="connsiteX1620" fmla="*/ 350797 w 5248218"/>
                <a:gd name="connsiteY1620" fmla="*/ 1906360 h 4232411"/>
                <a:gd name="connsiteX1621" fmla="*/ 350797 w 5248218"/>
                <a:gd name="connsiteY1621" fmla="*/ 1362530 h 4232411"/>
                <a:gd name="connsiteX1622" fmla="*/ 359665 w 5248218"/>
                <a:gd name="connsiteY1622" fmla="*/ 1371396 h 4232411"/>
                <a:gd name="connsiteX1623" fmla="*/ 368530 w 5248218"/>
                <a:gd name="connsiteY1623" fmla="*/ 1362530 h 4232411"/>
                <a:gd name="connsiteX1624" fmla="*/ 359665 w 5248218"/>
                <a:gd name="connsiteY1624" fmla="*/ 1353662 h 4232411"/>
                <a:gd name="connsiteX1625" fmla="*/ 350797 w 5248218"/>
                <a:gd name="connsiteY1625" fmla="*/ 1362530 h 4232411"/>
                <a:gd name="connsiteX1626" fmla="*/ 341931 w 5248218"/>
                <a:gd name="connsiteY1626" fmla="*/ 3295489 h 4232411"/>
                <a:gd name="connsiteX1627" fmla="*/ 406955 w 5248218"/>
                <a:gd name="connsiteY1627" fmla="*/ 3360512 h 4232411"/>
                <a:gd name="connsiteX1628" fmla="*/ 471978 w 5248218"/>
                <a:gd name="connsiteY1628" fmla="*/ 3295489 h 4232411"/>
                <a:gd name="connsiteX1629" fmla="*/ 406955 w 5248218"/>
                <a:gd name="connsiteY1629" fmla="*/ 3230466 h 4232411"/>
                <a:gd name="connsiteX1630" fmla="*/ 341931 w 5248218"/>
                <a:gd name="connsiteY1630" fmla="*/ 3295489 h 4232411"/>
                <a:gd name="connsiteX1631" fmla="*/ 330109 w 5248218"/>
                <a:gd name="connsiteY1631" fmla="*/ 2618656 h 4232411"/>
                <a:gd name="connsiteX1632" fmla="*/ 383310 w 5248218"/>
                <a:gd name="connsiteY1632" fmla="*/ 2671857 h 4232411"/>
                <a:gd name="connsiteX1633" fmla="*/ 433556 w 5248218"/>
                <a:gd name="connsiteY1633" fmla="*/ 2618656 h 4232411"/>
                <a:gd name="connsiteX1634" fmla="*/ 383310 w 5248218"/>
                <a:gd name="connsiteY1634" fmla="*/ 2565456 h 4232411"/>
                <a:gd name="connsiteX1635" fmla="*/ 330109 w 5248218"/>
                <a:gd name="connsiteY1635" fmla="*/ 2618656 h 4232411"/>
                <a:gd name="connsiteX1636" fmla="*/ 291685 w 5248218"/>
                <a:gd name="connsiteY1636" fmla="*/ 3493512 h 4232411"/>
                <a:gd name="connsiteX1637" fmla="*/ 359665 w 5248218"/>
                <a:gd name="connsiteY1637" fmla="*/ 3561492 h 4232411"/>
                <a:gd name="connsiteX1638" fmla="*/ 427642 w 5248218"/>
                <a:gd name="connsiteY1638" fmla="*/ 3493512 h 4232411"/>
                <a:gd name="connsiteX1639" fmla="*/ 359665 w 5248218"/>
                <a:gd name="connsiteY1639" fmla="*/ 3425536 h 4232411"/>
                <a:gd name="connsiteX1640" fmla="*/ 291685 w 5248218"/>
                <a:gd name="connsiteY1640" fmla="*/ 3493512 h 4232411"/>
                <a:gd name="connsiteX1641" fmla="*/ 288728 w 5248218"/>
                <a:gd name="connsiteY1641" fmla="*/ 2116206 h 4232411"/>
                <a:gd name="connsiteX1642" fmla="*/ 330106 w 5248218"/>
                <a:gd name="connsiteY1642" fmla="*/ 2157584 h 4232411"/>
                <a:gd name="connsiteX1643" fmla="*/ 371484 w 5248218"/>
                <a:gd name="connsiteY1643" fmla="*/ 2116206 h 4232411"/>
                <a:gd name="connsiteX1644" fmla="*/ 330106 w 5248218"/>
                <a:gd name="connsiteY1644" fmla="*/ 2074827 h 4232411"/>
                <a:gd name="connsiteX1645" fmla="*/ 288728 w 5248218"/>
                <a:gd name="connsiteY1645" fmla="*/ 2116206 h 4232411"/>
                <a:gd name="connsiteX1646" fmla="*/ 288728 w 5248218"/>
                <a:gd name="connsiteY1646" fmla="*/ 1581244 h 4232411"/>
                <a:gd name="connsiteX1647" fmla="*/ 300550 w 5248218"/>
                <a:gd name="connsiteY1647" fmla="*/ 1593067 h 4232411"/>
                <a:gd name="connsiteX1648" fmla="*/ 312372 w 5248218"/>
                <a:gd name="connsiteY1648" fmla="*/ 1581244 h 4232411"/>
                <a:gd name="connsiteX1649" fmla="*/ 300550 w 5248218"/>
                <a:gd name="connsiteY1649" fmla="*/ 1569422 h 4232411"/>
                <a:gd name="connsiteX1650" fmla="*/ 288728 w 5248218"/>
                <a:gd name="connsiteY1650" fmla="*/ 1581244 h 4232411"/>
                <a:gd name="connsiteX1651" fmla="*/ 279862 w 5248218"/>
                <a:gd name="connsiteY1651" fmla="*/ 2819637 h 4232411"/>
                <a:gd name="connsiteX1652" fmla="*/ 336017 w 5248218"/>
                <a:gd name="connsiteY1652" fmla="*/ 2875795 h 4232411"/>
                <a:gd name="connsiteX1653" fmla="*/ 392175 w 5248218"/>
                <a:gd name="connsiteY1653" fmla="*/ 2819637 h 4232411"/>
                <a:gd name="connsiteX1654" fmla="*/ 336017 w 5248218"/>
                <a:gd name="connsiteY1654" fmla="*/ 2763482 h 4232411"/>
                <a:gd name="connsiteX1655" fmla="*/ 279862 w 5248218"/>
                <a:gd name="connsiteY1655" fmla="*/ 2819637 h 4232411"/>
                <a:gd name="connsiteX1656" fmla="*/ 247349 w 5248218"/>
                <a:gd name="connsiteY1656" fmla="*/ 3691536 h 4232411"/>
                <a:gd name="connsiteX1657" fmla="*/ 315330 w 5248218"/>
                <a:gd name="connsiteY1657" fmla="*/ 3759516 h 4232411"/>
                <a:gd name="connsiteX1658" fmla="*/ 383307 w 5248218"/>
                <a:gd name="connsiteY1658" fmla="*/ 3691536 h 4232411"/>
                <a:gd name="connsiteX1659" fmla="*/ 315330 w 5248218"/>
                <a:gd name="connsiteY1659" fmla="*/ 3623558 h 4232411"/>
                <a:gd name="connsiteX1660" fmla="*/ 247349 w 5248218"/>
                <a:gd name="connsiteY1660" fmla="*/ 3691536 h 4232411"/>
                <a:gd name="connsiteX1661" fmla="*/ 244395 w 5248218"/>
                <a:gd name="connsiteY1661" fmla="*/ 3886605 h 4232411"/>
                <a:gd name="connsiteX1662" fmla="*/ 270997 w 5248218"/>
                <a:gd name="connsiteY1662" fmla="*/ 3913207 h 4232411"/>
                <a:gd name="connsiteX1663" fmla="*/ 297596 w 5248218"/>
                <a:gd name="connsiteY1663" fmla="*/ 3886605 h 4232411"/>
                <a:gd name="connsiteX1664" fmla="*/ 270997 w 5248218"/>
                <a:gd name="connsiteY1664" fmla="*/ 3860006 h 4232411"/>
                <a:gd name="connsiteX1665" fmla="*/ 244395 w 5248218"/>
                <a:gd name="connsiteY1665" fmla="*/ 3886605 h 4232411"/>
                <a:gd name="connsiteX1666" fmla="*/ 235530 w 5248218"/>
                <a:gd name="connsiteY1666" fmla="*/ 1229527 h 4232411"/>
                <a:gd name="connsiteX1667" fmla="*/ 241441 w 5248218"/>
                <a:gd name="connsiteY1667" fmla="*/ 1235438 h 4232411"/>
                <a:gd name="connsiteX1668" fmla="*/ 247352 w 5248218"/>
                <a:gd name="connsiteY1668" fmla="*/ 1229527 h 4232411"/>
                <a:gd name="connsiteX1669" fmla="*/ 241441 w 5248218"/>
                <a:gd name="connsiteY1669" fmla="*/ 1223616 h 4232411"/>
                <a:gd name="connsiteX1670" fmla="*/ 235530 w 5248218"/>
                <a:gd name="connsiteY1670" fmla="*/ 1229527 h 4232411"/>
                <a:gd name="connsiteX1671" fmla="*/ 229616 w 5248218"/>
                <a:gd name="connsiteY1671" fmla="*/ 3020618 h 4232411"/>
                <a:gd name="connsiteX1672" fmla="*/ 291682 w 5248218"/>
                <a:gd name="connsiteY1672" fmla="*/ 3082686 h 4232411"/>
                <a:gd name="connsiteX1673" fmla="*/ 353751 w 5248218"/>
                <a:gd name="connsiteY1673" fmla="*/ 3020618 h 4232411"/>
                <a:gd name="connsiteX1674" fmla="*/ 291682 w 5248218"/>
                <a:gd name="connsiteY1674" fmla="*/ 2958552 h 4232411"/>
                <a:gd name="connsiteX1675" fmla="*/ 229616 w 5248218"/>
                <a:gd name="connsiteY1675" fmla="*/ 3020618 h 4232411"/>
                <a:gd name="connsiteX1676" fmla="*/ 229616 w 5248218"/>
                <a:gd name="connsiteY1676" fmla="*/ 2323097 h 4232411"/>
                <a:gd name="connsiteX1677" fmla="*/ 279862 w 5248218"/>
                <a:gd name="connsiteY1677" fmla="*/ 2373341 h 4232411"/>
                <a:gd name="connsiteX1678" fmla="*/ 330106 w 5248218"/>
                <a:gd name="connsiteY1678" fmla="*/ 2323097 h 4232411"/>
                <a:gd name="connsiteX1679" fmla="*/ 279862 w 5248218"/>
                <a:gd name="connsiteY1679" fmla="*/ 2272850 h 4232411"/>
                <a:gd name="connsiteX1680" fmla="*/ 229616 w 5248218"/>
                <a:gd name="connsiteY1680" fmla="*/ 2323097 h 4232411"/>
                <a:gd name="connsiteX1681" fmla="*/ 223708 w 5248218"/>
                <a:gd name="connsiteY1681" fmla="*/ 1797001 h 4232411"/>
                <a:gd name="connsiteX1682" fmla="*/ 241441 w 5248218"/>
                <a:gd name="connsiteY1682" fmla="*/ 1814735 h 4232411"/>
                <a:gd name="connsiteX1683" fmla="*/ 259175 w 5248218"/>
                <a:gd name="connsiteY1683" fmla="*/ 1797001 h 4232411"/>
                <a:gd name="connsiteX1684" fmla="*/ 241441 w 5248218"/>
                <a:gd name="connsiteY1684" fmla="*/ 1779268 h 4232411"/>
                <a:gd name="connsiteX1685" fmla="*/ 223708 w 5248218"/>
                <a:gd name="connsiteY1685" fmla="*/ 1797001 h 4232411"/>
                <a:gd name="connsiteX1686" fmla="*/ 208928 w 5248218"/>
                <a:gd name="connsiteY1686" fmla="*/ 848257 h 4232411"/>
                <a:gd name="connsiteX1687" fmla="*/ 214839 w 5248218"/>
                <a:gd name="connsiteY1687" fmla="*/ 854168 h 4232411"/>
                <a:gd name="connsiteX1688" fmla="*/ 220751 w 5248218"/>
                <a:gd name="connsiteY1688" fmla="*/ 848257 h 4232411"/>
                <a:gd name="connsiteX1689" fmla="*/ 214839 w 5248218"/>
                <a:gd name="connsiteY1689" fmla="*/ 842346 h 4232411"/>
                <a:gd name="connsiteX1690" fmla="*/ 208928 w 5248218"/>
                <a:gd name="connsiteY1690" fmla="*/ 848257 h 4232411"/>
                <a:gd name="connsiteX1691" fmla="*/ 179372 w 5248218"/>
                <a:gd name="connsiteY1691" fmla="*/ 3218640 h 4232411"/>
                <a:gd name="connsiteX1692" fmla="*/ 244395 w 5248218"/>
                <a:gd name="connsiteY1692" fmla="*/ 3283664 h 4232411"/>
                <a:gd name="connsiteX1693" fmla="*/ 309418 w 5248218"/>
                <a:gd name="connsiteY1693" fmla="*/ 3218640 h 4232411"/>
                <a:gd name="connsiteX1694" fmla="*/ 244395 w 5248218"/>
                <a:gd name="connsiteY1694" fmla="*/ 3153618 h 4232411"/>
                <a:gd name="connsiteX1695" fmla="*/ 179372 w 5248218"/>
                <a:gd name="connsiteY1695" fmla="*/ 3218640 h 4232411"/>
                <a:gd name="connsiteX1696" fmla="*/ 173461 w 5248218"/>
                <a:gd name="connsiteY1696" fmla="*/ 2527032 h 4232411"/>
                <a:gd name="connsiteX1697" fmla="*/ 229619 w 5248218"/>
                <a:gd name="connsiteY1697" fmla="*/ 2583190 h 4232411"/>
                <a:gd name="connsiteX1698" fmla="*/ 285774 w 5248218"/>
                <a:gd name="connsiteY1698" fmla="*/ 2527032 h 4232411"/>
                <a:gd name="connsiteX1699" fmla="*/ 229619 w 5248218"/>
                <a:gd name="connsiteY1699" fmla="*/ 2470877 h 4232411"/>
                <a:gd name="connsiteX1700" fmla="*/ 173461 w 5248218"/>
                <a:gd name="connsiteY1700" fmla="*/ 2527032 h 4232411"/>
                <a:gd name="connsiteX1701" fmla="*/ 161639 w 5248218"/>
                <a:gd name="connsiteY1701" fmla="*/ 1454152 h 4232411"/>
                <a:gd name="connsiteX1702" fmla="*/ 173461 w 5248218"/>
                <a:gd name="connsiteY1702" fmla="*/ 1465975 h 4232411"/>
                <a:gd name="connsiteX1703" fmla="*/ 185283 w 5248218"/>
                <a:gd name="connsiteY1703" fmla="*/ 1454152 h 4232411"/>
                <a:gd name="connsiteX1704" fmla="*/ 173461 w 5248218"/>
                <a:gd name="connsiteY1704" fmla="*/ 1442330 h 4232411"/>
                <a:gd name="connsiteX1705" fmla="*/ 161639 w 5248218"/>
                <a:gd name="connsiteY1705" fmla="*/ 1454152 h 4232411"/>
                <a:gd name="connsiteX1706" fmla="*/ 152770 w 5248218"/>
                <a:gd name="connsiteY1706" fmla="*/ 2009804 h 4232411"/>
                <a:gd name="connsiteX1707" fmla="*/ 188237 w 5248218"/>
                <a:gd name="connsiteY1707" fmla="*/ 2045271 h 4232411"/>
                <a:gd name="connsiteX1708" fmla="*/ 223705 w 5248218"/>
                <a:gd name="connsiteY1708" fmla="*/ 2009804 h 4232411"/>
                <a:gd name="connsiteX1709" fmla="*/ 188237 w 5248218"/>
                <a:gd name="connsiteY1709" fmla="*/ 1974337 h 4232411"/>
                <a:gd name="connsiteX1710" fmla="*/ 152770 w 5248218"/>
                <a:gd name="connsiteY1710" fmla="*/ 2009804 h 4232411"/>
                <a:gd name="connsiteX1711" fmla="*/ 132083 w 5248218"/>
                <a:gd name="connsiteY1711" fmla="*/ 3419624 h 4232411"/>
                <a:gd name="connsiteX1712" fmla="*/ 197106 w 5248218"/>
                <a:gd name="connsiteY1712" fmla="*/ 3484647 h 4232411"/>
                <a:gd name="connsiteX1713" fmla="*/ 262129 w 5248218"/>
                <a:gd name="connsiteY1713" fmla="*/ 3419624 h 4232411"/>
                <a:gd name="connsiteX1714" fmla="*/ 197106 w 5248218"/>
                <a:gd name="connsiteY1714" fmla="*/ 3354601 h 4232411"/>
                <a:gd name="connsiteX1715" fmla="*/ 132083 w 5248218"/>
                <a:gd name="connsiteY1715" fmla="*/ 3419624 h 4232411"/>
                <a:gd name="connsiteX1716" fmla="*/ 126171 w 5248218"/>
                <a:gd name="connsiteY1716" fmla="*/ 1087659 h 4232411"/>
                <a:gd name="connsiteX1717" fmla="*/ 132083 w 5248218"/>
                <a:gd name="connsiteY1717" fmla="*/ 1093570 h 4232411"/>
                <a:gd name="connsiteX1718" fmla="*/ 137994 w 5248218"/>
                <a:gd name="connsiteY1718" fmla="*/ 1087659 h 4232411"/>
                <a:gd name="connsiteX1719" fmla="*/ 132083 w 5248218"/>
                <a:gd name="connsiteY1719" fmla="*/ 1081748 h 4232411"/>
                <a:gd name="connsiteX1720" fmla="*/ 126171 w 5248218"/>
                <a:gd name="connsiteY1720" fmla="*/ 1087659 h 4232411"/>
                <a:gd name="connsiteX1721" fmla="*/ 117306 w 5248218"/>
                <a:gd name="connsiteY1721" fmla="*/ 2730969 h 4232411"/>
                <a:gd name="connsiteX1722" fmla="*/ 182329 w 5248218"/>
                <a:gd name="connsiteY1722" fmla="*/ 2795992 h 4232411"/>
                <a:gd name="connsiteX1723" fmla="*/ 247352 w 5248218"/>
                <a:gd name="connsiteY1723" fmla="*/ 2730969 h 4232411"/>
                <a:gd name="connsiteX1724" fmla="*/ 182329 w 5248218"/>
                <a:gd name="connsiteY1724" fmla="*/ 2665946 h 4232411"/>
                <a:gd name="connsiteX1725" fmla="*/ 117306 w 5248218"/>
                <a:gd name="connsiteY1725" fmla="*/ 2730969 h 4232411"/>
                <a:gd name="connsiteX1726" fmla="*/ 93662 w 5248218"/>
                <a:gd name="connsiteY1726" fmla="*/ 1675824 h 4232411"/>
                <a:gd name="connsiteX1727" fmla="*/ 111395 w 5248218"/>
                <a:gd name="connsiteY1727" fmla="*/ 1693557 h 4232411"/>
                <a:gd name="connsiteX1728" fmla="*/ 129129 w 5248218"/>
                <a:gd name="connsiteY1728" fmla="*/ 1675824 h 4232411"/>
                <a:gd name="connsiteX1729" fmla="*/ 111395 w 5248218"/>
                <a:gd name="connsiteY1729" fmla="*/ 1658090 h 4232411"/>
                <a:gd name="connsiteX1730" fmla="*/ 93662 w 5248218"/>
                <a:gd name="connsiteY1730" fmla="*/ 1675824 h 4232411"/>
                <a:gd name="connsiteX1731" fmla="*/ 90704 w 5248218"/>
                <a:gd name="connsiteY1731" fmla="*/ 2219653 h 4232411"/>
                <a:gd name="connsiteX1732" fmla="*/ 135040 w 5248218"/>
                <a:gd name="connsiteY1732" fmla="*/ 2263985 h 4232411"/>
                <a:gd name="connsiteX1733" fmla="*/ 179372 w 5248218"/>
                <a:gd name="connsiteY1733" fmla="*/ 2219653 h 4232411"/>
                <a:gd name="connsiteX1734" fmla="*/ 135040 w 5248218"/>
                <a:gd name="connsiteY1734" fmla="*/ 2175318 h 4232411"/>
                <a:gd name="connsiteX1735" fmla="*/ 90704 w 5248218"/>
                <a:gd name="connsiteY1735" fmla="*/ 2219653 h 4232411"/>
                <a:gd name="connsiteX1736" fmla="*/ 87750 w 5248218"/>
                <a:gd name="connsiteY1736" fmla="*/ 3617648 h 4232411"/>
                <a:gd name="connsiteX1737" fmla="*/ 152773 w 5248218"/>
                <a:gd name="connsiteY1737" fmla="*/ 3682670 h 4232411"/>
                <a:gd name="connsiteX1738" fmla="*/ 217796 w 5248218"/>
                <a:gd name="connsiteY1738" fmla="*/ 3617648 h 4232411"/>
                <a:gd name="connsiteX1739" fmla="*/ 152773 w 5248218"/>
                <a:gd name="connsiteY1739" fmla="*/ 3552624 h 4232411"/>
                <a:gd name="connsiteX1740" fmla="*/ 87750 w 5248218"/>
                <a:gd name="connsiteY1740" fmla="*/ 3617648 h 4232411"/>
                <a:gd name="connsiteX1741" fmla="*/ 67060 w 5248218"/>
                <a:gd name="connsiteY1741" fmla="*/ 2934906 h 4232411"/>
                <a:gd name="connsiteX1742" fmla="*/ 132083 w 5248218"/>
                <a:gd name="connsiteY1742" fmla="*/ 2999930 h 4232411"/>
                <a:gd name="connsiteX1743" fmla="*/ 197106 w 5248218"/>
                <a:gd name="connsiteY1743" fmla="*/ 2934906 h 4232411"/>
                <a:gd name="connsiteX1744" fmla="*/ 132083 w 5248218"/>
                <a:gd name="connsiteY1744" fmla="*/ 2869884 h 4232411"/>
                <a:gd name="connsiteX1745" fmla="*/ 67060 w 5248218"/>
                <a:gd name="connsiteY1745" fmla="*/ 2934906 h 4232411"/>
                <a:gd name="connsiteX1746" fmla="*/ 58194 w 5248218"/>
                <a:gd name="connsiteY1746" fmla="*/ 529050 h 4232411"/>
                <a:gd name="connsiteX1747" fmla="*/ 61148 w 5248218"/>
                <a:gd name="connsiteY1747" fmla="*/ 532007 h 4232411"/>
                <a:gd name="connsiteX1748" fmla="*/ 64106 w 5248218"/>
                <a:gd name="connsiteY1748" fmla="*/ 529050 h 4232411"/>
                <a:gd name="connsiteX1749" fmla="*/ 61148 w 5248218"/>
                <a:gd name="connsiteY1749" fmla="*/ 526096 h 4232411"/>
                <a:gd name="connsiteX1750" fmla="*/ 58194 w 5248218"/>
                <a:gd name="connsiteY1750" fmla="*/ 529050 h 4232411"/>
                <a:gd name="connsiteX1751" fmla="*/ 55237 w 5248218"/>
                <a:gd name="connsiteY1751" fmla="*/ 4013697 h 4232411"/>
                <a:gd name="connsiteX1752" fmla="*/ 61148 w 5248218"/>
                <a:gd name="connsiteY1752" fmla="*/ 4019608 h 4232411"/>
                <a:gd name="connsiteX1753" fmla="*/ 67060 w 5248218"/>
                <a:gd name="connsiteY1753" fmla="*/ 4013697 h 4232411"/>
                <a:gd name="connsiteX1754" fmla="*/ 61148 w 5248218"/>
                <a:gd name="connsiteY1754" fmla="*/ 4007786 h 4232411"/>
                <a:gd name="connsiteX1755" fmla="*/ 55237 w 5248218"/>
                <a:gd name="connsiteY1755" fmla="*/ 4013697 h 4232411"/>
                <a:gd name="connsiteX1756" fmla="*/ 51913 w 5248218"/>
                <a:gd name="connsiteY1756" fmla="*/ 1325216 h 4232411"/>
                <a:gd name="connsiteX1757" fmla="*/ 58194 w 5248218"/>
                <a:gd name="connsiteY1757" fmla="*/ 1327063 h 4232411"/>
                <a:gd name="connsiteX1758" fmla="*/ 64106 w 5248218"/>
                <a:gd name="connsiteY1758" fmla="*/ 1321152 h 4232411"/>
                <a:gd name="connsiteX1759" fmla="*/ 58194 w 5248218"/>
                <a:gd name="connsiteY1759" fmla="*/ 1315241 h 4232411"/>
                <a:gd name="connsiteX1760" fmla="*/ 52283 w 5248218"/>
                <a:gd name="connsiteY1760" fmla="*/ 1321152 h 4232411"/>
                <a:gd name="connsiteX1761" fmla="*/ 51913 w 5248218"/>
                <a:gd name="connsiteY1761" fmla="*/ 1325216 h 4232411"/>
                <a:gd name="connsiteX1762" fmla="*/ 34550 w 5248218"/>
                <a:gd name="connsiteY1762" fmla="*/ 3815670 h 4232411"/>
                <a:gd name="connsiteX1763" fmla="*/ 105484 w 5248218"/>
                <a:gd name="connsiteY1763" fmla="*/ 3886605 h 4232411"/>
                <a:gd name="connsiteX1764" fmla="*/ 176418 w 5248218"/>
                <a:gd name="connsiteY1764" fmla="*/ 3815670 h 4232411"/>
                <a:gd name="connsiteX1765" fmla="*/ 105484 w 5248218"/>
                <a:gd name="connsiteY1765" fmla="*/ 3744736 h 4232411"/>
                <a:gd name="connsiteX1766" fmla="*/ 34550 w 5248218"/>
                <a:gd name="connsiteY1766" fmla="*/ 3815670 h 4232411"/>
                <a:gd name="connsiteX1767" fmla="*/ 31592 w 5248218"/>
                <a:gd name="connsiteY1767" fmla="*/ 2426544 h 4232411"/>
                <a:gd name="connsiteX1768" fmla="*/ 81836 w 5248218"/>
                <a:gd name="connsiteY1768" fmla="*/ 2476788 h 4232411"/>
                <a:gd name="connsiteX1769" fmla="*/ 132083 w 5248218"/>
                <a:gd name="connsiteY1769" fmla="*/ 2426544 h 4232411"/>
                <a:gd name="connsiteX1770" fmla="*/ 81836 w 5248218"/>
                <a:gd name="connsiteY1770" fmla="*/ 2376298 h 4232411"/>
                <a:gd name="connsiteX1771" fmla="*/ 31592 w 5248218"/>
                <a:gd name="connsiteY1771" fmla="*/ 2426544 h 4232411"/>
                <a:gd name="connsiteX1772" fmla="*/ 25681 w 5248218"/>
                <a:gd name="connsiteY1772" fmla="*/ 936922 h 4232411"/>
                <a:gd name="connsiteX1773" fmla="*/ 34550 w 5248218"/>
                <a:gd name="connsiteY1773" fmla="*/ 945790 h 4232411"/>
                <a:gd name="connsiteX1774" fmla="*/ 43415 w 5248218"/>
                <a:gd name="connsiteY1774" fmla="*/ 936922 h 4232411"/>
                <a:gd name="connsiteX1775" fmla="*/ 34550 w 5248218"/>
                <a:gd name="connsiteY1775" fmla="*/ 928056 h 4232411"/>
                <a:gd name="connsiteX1776" fmla="*/ 25681 w 5248218"/>
                <a:gd name="connsiteY1776" fmla="*/ 936922 h 4232411"/>
                <a:gd name="connsiteX1777" fmla="*/ 19770 w 5248218"/>
                <a:gd name="connsiteY1777" fmla="*/ 3135884 h 4232411"/>
                <a:gd name="connsiteX1778" fmla="*/ 84793 w 5248218"/>
                <a:gd name="connsiteY1778" fmla="*/ 3200907 h 4232411"/>
                <a:gd name="connsiteX1779" fmla="*/ 149816 w 5248218"/>
                <a:gd name="connsiteY1779" fmla="*/ 3135884 h 4232411"/>
                <a:gd name="connsiteX1780" fmla="*/ 84793 w 5248218"/>
                <a:gd name="connsiteY1780" fmla="*/ 3070861 h 4232411"/>
                <a:gd name="connsiteX1781" fmla="*/ 19770 w 5248218"/>
                <a:gd name="connsiteY1781" fmla="*/ 3135884 h 4232411"/>
                <a:gd name="connsiteX1782" fmla="*/ 13859 w 5248218"/>
                <a:gd name="connsiteY1782" fmla="*/ 1894538 h 4232411"/>
                <a:gd name="connsiteX1783" fmla="*/ 52280 w 5248218"/>
                <a:gd name="connsiteY1783" fmla="*/ 1932959 h 4232411"/>
                <a:gd name="connsiteX1784" fmla="*/ 90704 w 5248218"/>
                <a:gd name="connsiteY1784" fmla="*/ 1894538 h 4232411"/>
                <a:gd name="connsiteX1785" fmla="*/ 52280 w 5248218"/>
                <a:gd name="connsiteY1785" fmla="*/ 1856113 h 4232411"/>
                <a:gd name="connsiteX1786" fmla="*/ 13859 w 5248218"/>
                <a:gd name="connsiteY1786" fmla="*/ 1894538 h 4232411"/>
                <a:gd name="connsiteX1787" fmla="*/ 0 w 5248218"/>
                <a:gd name="connsiteY1787" fmla="*/ 3728807 h 4232411"/>
                <a:gd name="connsiteX1788" fmla="*/ 0 w 5248218"/>
                <a:gd name="connsiteY1788" fmla="*/ 3748849 h 4232411"/>
                <a:gd name="connsiteX1789" fmla="*/ 2037 w 5248218"/>
                <a:gd name="connsiteY1789" fmla="*/ 3738828 h 4232411"/>
                <a:gd name="connsiteX1790" fmla="*/ 0 w 5248218"/>
                <a:gd name="connsiteY1790" fmla="*/ 3477794 h 4232411"/>
                <a:gd name="connsiteX1791" fmla="*/ 0 w 5248218"/>
                <a:gd name="connsiteY1791" fmla="*/ 3603810 h 4232411"/>
                <a:gd name="connsiteX1792" fmla="*/ 15337 w 5248218"/>
                <a:gd name="connsiteY1792" fmla="*/ 3600653 h 4232411"/>
                <a:gd name="connsiteX1793" fmla="*/ 55237 w 5248218"/>
                <a:gd name="connsiteY1793" fmla="*/ 3540802 h 4232411"/>
                <a:gd name="connsiteX1794" fmla="*/ 15337 w 5248218"/>
                <a:gd name="connsiteY1794" fmla="*/ 3480951 h 4232411"/>
                <a:gd name="connsiteX1795" fmla="*/ 0 w 5248218"/>
                <a:gd name="connsiteY1795" fmla="*/ 3292249 h 4232411"/>
                <a:gd name="connsiteX1796" fmla="*/ 0 w 5248218"/>
                <a:gd name="connsiteY1796" fmla="*/ 3380812 h 4232411"/>
                <a:gd name="connsiteX1797" fmla="*/ 14968 w 5248218"/>
                <a:gd name="connsiteY1797" fmla="*/ 3391312 h 4232411"/>
                <a:gd name="connsiteX1798" fmla="*/ 37504 w 5248218"/>
                <a:gd name="connsiteY1798" fmla="*/ 3395976 h 4232411"/>
                <a:gd name="connsiteX1799" fmla="*/ 96616 w 5248218"/>
                <a:gd name="connsiteY1799" fmla="*/ 3336864 h 4232411"/>
                <a:gd name="connsiteX1800" fmla="*/ 37504 w 5248218"/>
                <a:gd name="connsiteY1800" fmla="*/ 3277752 h 4232411"/>
                <a:gd name="connsiteX1801" fmla="*/ 14552 w 5248218"/>
                <a:gd name="connsiteY1801" fmla="*/ 3282417 h 4232411"/>
                <a:gd name="connsiteX1802" fmla="*/ 0 w 5248218"/>
                <a:gd name="connsiteY1802" fmla="*/ 2782098 h 4232411"/>
                <a:gd name="connsiteX1803" fmla="*/ 0 w 5248218"/>
                <a:gd name="connsiteY1803" fmla="*/ 2904465 h 4232411"/>
                <a:gd name="connsiteX1804" fmla="*/ 6472 w 5248218"/>
                <a:gd name="connsiteY1804" fmla="*/ 2903133 h 4232411"/>
                <a:gd name="connsiteX1805" fmla="*/ 46372 w 5248218"/>
                <a:gd name="connsiteY1805" fmla="*/ 2843282 h 4232411"/>
                <a:gd name="connsiteX1806" fmla="*/ 6472 w 5248218"/>
                <a:gd name="connsiteY1806" fmla="*/ 2783430 h 4232411"/>
                <a:gd name="connsiteX1807" fmla="*/ 0 w 5248218"/>
                <a:gd name="connsiteY1807" fmla="*/ 2587781 h 4232411"/>
                <a:gd name="connsiteX1808" fmla="*/ 0 w 5248218"/>
                <a:gd name="connsiteY1808" fmla="*/ 2685000 h 4232411"/>
                <a:gd name="connsiteX1809" fmla="*/ 8641 w 5248218"/>
                <a:gd name="connsiteY1809" fmla="*/ 2690838 h 4232411"/>
                <a:gd name="connsiteX1810" fmla="*/ 31592 w 5248218"/>
                <a:gd name="connsiteY1810" fmla="*/ 2695502 h 4232411"/>
                <a:gd name="connsiteX1811" fmla="*/ 90704 w 5248218"/>
                <a:gd name="connsiteY1811" fmla="*/ 2636390 h 4232411"/>
                <a:gd name="connsiteX1812" fmla="*/ 31592 w 5248218"/>
                <a:gd name="connsiteY1812" fmla="*/ 2577278 h 4232411"/>
                <a:gd name="connsiteX1813" fmla="*/ 8641 w 5248218"/>
                <a:gd name="connsiteY1813" fmla="*/ 2581943 h 4232411"/>
                <a:gd name="connsiteX1814" fmla="*/ 0 w 5248218"/>
                <a:gd name="connsiteY1814" fmla="*/ 2058460 h 4232411"/>
                <a:gd name="connsiteX1815" fmla="*/ 0 w 5248218"/>
                <a:gd name="connsiteY1815" fmla="*/ 2162129 h 4232411"/>
                <a:gd name="connsiteX1816" fmla="*/ 13953 w 5248218"/>
                <a:gd name="connsiteY1816" fmla="*/ 2159339 h 4232411"/>
                <a:gd name="connsiteX1817" fmla="*/ 46372 w 5248218"/>
                <a:gd name="connsiteY1817" fmla="*/ 2110294 h 4232411"/>
                <a:gd name="connsiteX1818" fmla="*/ 13953 w 5248218"/>
                <a:gd name="connsiteY1818" fmla="*/ 2061250 h 4232411"/>
                <a:gd name="connsiteX1819" fmla="*/ 0 w 5248218"/>
                <a:gd name="connsiteY1819" fmla="*/ 1540407 h 4232411"/>
                <a:gd name="connsiteX1820" fmla="*/ 0 w 5248218"/>
                <a:gd name="connsiteY1820" fmla="*/ 1551146 h 4232411"/>
                <a:gd name="connsiteX1821" fmla="*/ 2037 w 5248218"/>
                <a:gd name="connsiteY1821" fmla="*/ 1545777 h 4232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Lst>
              <a:rect l="l" t="t" r="r" b="b"/>
              <a:pathLst>
                <a:path w="5248218" h="4232411">
                  <a:moveTo>
                    <a:pt x="5236026" y="541982"/>
                  </a:moveTo>
                  <a:cubicBezTo>
                    <a:pt x="5237134" y="543090"/>
                    <a:pt x="5239352" y="543829"/>
                    <a:pt x="5242307" y="543829"/>
                  </a:cubicBezTo>
                  <a:cubicBezTo>
                    <a:pt x="5245261" y="543829"/>
                    <a:pt x="5248218" y="540875"/>
                    <a:pt x="5248218" y="537918"/>
                  </a:cubicBezTo>
                  <a:cubicBezTo>
                    <a:pt x="5248218" y="534961"/>
                    <a:pt x="5245261" y="532007"/>
                    <a:pt x="5242307" y="532007"/>
                  </a:cubicBezTo>
                  <a:cubicBezTo>
                    <a:pt x="5239350" y="532007"/>
                    <a:pt x="5236396" y="534961"/>
                    <a:pt x="5236396" y="537918"/>
                  </a:cubicBezTo>
                  <a:cubicBezTo>
                    <a:pt x="5234917" y="539396"/>
                    <a:pt x="5234917" y="540874"/>
                    <a:pt x="5236026" y="541982"/>
                  </a:cubicBezTo>
                  <a:close/>
                  <a:moveTo>
                    <a:pt x="5230482" y="1223616"/>
                  </a:moveTo>
                  <a:cubicBezTo>
                    <a:pt x="5230482" y="1223616"/>
                    <a:pt x="5230482" y="1226573"/>
                    <a:pt x="5233439" y="1226573"/>
                  </a:cubicBezTo>
                  <a:cubicBezTo>
                    <a:pt x="5236393" y="1226573"/>
                    <a:pt x="5236393" y="1223616"/>
                    <a:pt x="5236393" y="1223616"/>
                  </a:cubicBezTo>
                  <a:cubicBezTo>
                    <a:pt x="5236393" y="1220662"/>
                    <a:pt x="5233439" y="1220662"/>
                    <a:pt x="5233439" y="1220662"/>
                  </a:cubicBezTo>
                  <a:cubicBezTo>
                    <a:pt x="5230482" y="1220662"/>
                    <a:pt x="5230482" y="1223616"/>
                    <a:pt x="5230482" y="1223616"/>
                  </a:cubicBezTo>
                  <a:close/>
                  <a:moveTo>
                    <a:pt x="5192060" y="712300"/>
                  </a:moveTo>
                  <a:cubicBezTo>
                    <a:pt x="5192060" y="715254"/>
                    <a:pt x="5195018" y="718211"/>
                    <a:pt x="5197972" y="718211"/>
                  </a:cubicBezTo>
                  <a:cubicBezTo>
                    <a:pt x="5200926" y="718211"/>
                    <a:pt x="5203883" y="715254"/>
                    <a:pt x="5203883" y="712300"/>
                  </a:cubicBezTo>
                  <a:cubicBezTo>
                    <a:pt x="5203883" y="709343"/>
                    <a:pt x="5200926" y="706389"/>
                    <a:pt x="5197972" y="706389"/>
                  </a:cubicBezTo>
                  <a:cubicBezTo>
                    <a:pt x="5195018" y="706389"/>
                    <a:pt x="5192060" y="709343"/>
                    <a:pt x="5192060" y="712300"/>
                  </a:cubicBezTo>
                  <a:close/>
                  <a:moveTo>
                    <a:pt x="5153636" y="1383218"/>
                  </a:moveTo>
                  <a:cubicBezTo>
                    <a:pt x="5153636" y="1386172"/>
                    <a:pt x="5156593" y="1389129"/>
                    <a:pt x="5159547" y="1389129"/>
                  </a:cubicBezTo>
                  <a:cubicBezTo>
                    <a:pt x="5162504" y="1389129"/>
                    <a:pt x="5165459" y="1386172"/>
                    <a:pt x="5165459" y="1383218"/>
                  </a:cubicBezTo>
                  <a:cubicBezTo>
                    <a:pt x="5165459" y="1380261"/>
                    <a:pt x="5162504" y="1377307"/>
                    <a:pt x="5159547" y="1377307"/>
                  </a:cubicBezTo>
                  <a:cubicBezTo>
                    <a:pt x="5156593" y="1377307"/>
                    <a:pt x="5153636" y="1380261"/>
                    <a:pt x="5153636" y="1383218"/>
                  </a:cubicBezTo>
                  <a:close/>
                  <a:moveTo>
                    <a:pt x="5144771" y="883721"/>
                  </a:moveTo>
                  <a:cubicBezTo>
                    <a:pt x="5144771" y="886678"/>
                    <a:pt x="5144771" y="886678"/>
                    <a:pt x="5147728" y="886678"/>
                  </a:cubicBezTo>
                  <a:cubicBezTo>
                    <a:pt x="5150682" y="886678"/>
                    <a:pt x="5150682" y="883721"/>
                    <a:pt x="5150682" y="883721"/>
                  </a:cubicBezTo>
                  <a:cubicBezTo>
                    <a:pt x="5150682" y="880767"/>
                    <a:pt x="5147728" y="880767"/>
                    <a:pt x="5147728" y="880767"/>
                  </a:cubicBezTo>
                  <a:cubicBezTo>
                    <a:pt x="5144771" y="880767"/>
                    <a:pt x="5144771" y="883721"/>
                    <a:pt x="5144771" y="883721"/>
                  </a:cubicBezTo>
                  <a:close/>
                  <a:moveTo>
                    <a:pt x="5093786" y="187681"/>
                  </a:moveTo>
                  <a:cubicBezTo>
                    <a:pt x="5094525" y="188419"/>
                    <a:pt x="5096003" y="189158"/>
                    <a:pt x="5097481" y="189158"/>
                  </a:cubicBezTo>
                  <a:cubicBezTo>
                    <a:pt x="5100435" y="189158"/>
                    <a:pt x="5100435" y="186204"/>
                    <a:pt x="5100435" y="186204"/>
                  </a:cubicBezTo>
                  <a:cubicBezTo>
                    <a:pt x="5100435" y="183247"/>
                    <a:pt x="5097481" y="183247"/>
                    <a:pt x="5097481" y="183247"/>
                  </a:cubicBezTo>
                  <a:cubicBezTo>
                    <a:pt x="5097481" y="183247"/>
                    <a:pt x="5094524" y="186204"/>
                    <a:pt x="5094524" y="186204"/>
                  </a:cubicBezTo>
                  <a:cubicBezTo>
                    <a:pt x="5093047" y="186204"/>
                    <a:pt x="5093047" y="186942"/>
                    <a:pt x="5093786" y="187681"/>
                  </a:cubicBezTo>
                  <a:close/>
                  <a:moveTo>
                    <a:pt x="5084918" y="1054779"/>
                  </a:moveTo>
                  <a:cubicBezTo>
                    <a:pt x="5085657" y="1055149"/>
                    <a:pt x="5087134" y="1055149"/>
                    <a:pt x="5088613" y="1055149"/>
                  </a:cubicBezTo>
                  <a:cubicBezTo>
                    <a:pt x="5091570" y="1055149"/>
                    <a:pt x="5091570" y="1052192"/>
                    <a:pt x="5091570" y="1052192"/>
                  </a:cubicBezTo>
                  <a:cubicBezTo>
                    <a:pt x="5091570" y="1049238"/>
                    <a:pt x="5088613" y="1049238"/>
                    <a:pt x="5088613" y="1049238"/>
                  </a:cubicBezTo>
                  <a:cubicBezTo>
                    <a:pt x="5085656" y="1049238"/>
                    <a:pt x="5085656" y="1052192"/>
                    <a:pt x="5085656" y="1052192"/>
                  </a:cubicBezTo>
                  <a:cubicBezTo>
                    <a:pt x="5084179" y="1053670"/>
                    <a:pt x="5084179" y="1054410"/>
                    <a:pt x="5084918" y="1054779"/>
                  </a:cubicBezTo>
                  <a:close/>
                  <a:moveTo>
                    <a:pt x="5064968" y="360582"/>
                  </a:moveTo>
                  <a:cubicBezTo>
                    <a:pt x="5064968" y="366494"/>
                    <a:pt x="5067925" y="366494"/>
                    <a:pt x="5070879" y="366494"/>
                  </a:cubicBezTo>
                  <a:cubicBezTo>
                    <a:pt x="5073837" y="366494"/>
                    <a:pt x="5076791" y="363540"/>
                    <a:pt x="5076791" y="360582"/>
                  </a:cubicBezTo>
                  <a:cubicBezTo>
                    <a:pt x="5076791" y="357625"/>
                    <a:pt x="5073837" y="354671"/>
                    <a:pt x="5070879" y="354671"/>
                  </a:cubicBezTo>
                  <a:cubicBezTo>
                    <a:pt x="5067925" y="354671"/>
                    <a:pt x="5064968" y="357625"/>
                    <a:pt x="5064968" y="360582"/>
                  </a:cubicBezTo>
                  <a:close/>
                  <a:moveTo>
                    <a:pt x="5032458" y="534964"/>
                  </a:moveTo>
                  <a:cubicBezTo>
                    <a:pt x="5032458" y="540875"/>
                    <a:pt x="5035412" y="540875"/>
                    <a:pt x="5038369" y="540875"/>
                  </a:cubicBezTo>
                  <a:cubicBezTo>
                    <a:pt x="5041324" y="540875"/>
                    <a:pt x="5044281" y="537918"/>
                    <a:pt x="5044281" y="534964"/>
                  </a:cubicBezTo>
                  <a:cubicBezTo>
                    <a:pt x="5044281" y="532007"/>
                    <a:pt x="5041324" y="529053"/>
                    <a:pt x="5038369" y="529053"/>
                  </a:cubicBezTo>
                  <a:cubicBezTo>
                    <a:pt x="5035412" y="529053"/>
                    <a:pt x="5032458" y="532007"/>
                    <a:pt x="5032458" y="534964"/>
                  </a:cubicBezTo>
                  <a:close/>
                  <a:moveTo>
                    <a:pt x="5014725" y="2009804"/>
                  </a:moveTo>
                  <a:cubicBezTo>
                    <a:pt x="5014725" y="2015715"/>
                    <a:pt x="5017682" y="2018669"/>
                    <a:pt x="5023593" y="2018669"/>
                  </a:cubicBezTo>
                  <a:cubicBezTo>
                    <a:pt x="5026547" y="2018669"/>
                    <a:pt x="5032458" y="2015715"/>
                    <a:pt x="5032458" y="2009804"/>
                  </a:cubicBezTo>
                  <a:cubicBezTo>
                    <a:pt x="5032458" y="2006847"/>
                    <a:pt x="5029504" y="2000936"/>
                    <a:pt x="5023593" y="2000936"/>
                  </a:cubicBezTo>
                  <a:cubicBezTo>
                    <a:pt x="5020636" y="2000936"/>
                    <a:pt x="5014725" y="2003893"/>
                    <a:pt x="5014725" y="2009804"/>
                  </a:cubicBezTo>
                  <a:close/>
                  <a:moveTo>
                    <a:pt x="4994037" y="1217705"/>
                  </a:moveTo>
                  <a:cubicBezTo>
                    <a:pt x="4994037" y="1229527"/>
                    <a:pt x="5005860" y="1241350"/>
                    <a:pt x="5017682" y="1241350"/>
                  </a:cubicBezTo>
                  <a:cubicBezTo>
                    <a:pt x="5029504" y="1241350"/>
                    <a:pt x="5041327" y="1229527"/>
                    <a:pt x="5041327" y="1217705"/>
                  </a:cubicBezTo>
                  <a:cubicBezTo>
                    <a:pt x="5041327" y="1205883"/>
                    <a:pt x="5029504" y="1194060"/>
                    <a:pt x="5017682" y="1194060"/>
                  </a:cubicBezTo>
                  <a:cubicBezTo>
                    <a:pt x="5005860" y="1194060"/>
                    <a:pt x="4994037" y="1205883"/>
                    <a:pt x="4994037" y="1217705"/>
                  </a:cubicBezTo>
                  <a:close/>
                  <a:moveTo>
                    <a:pt x="4982212" y="709343"/>
                  </a:moveTo>
                  <a:cubicBezTo>
                    <a:pt x="4982212" y="715254"/>
                    <a:pt x="4988123" y="718208"/>
                    <a:pt x="4991080" y="718208"/>
                  </a:cubicBezTo>
                  <a:cubicBezTo>
                    <a:pt x="4994034" y="718208"/>
                    <a:pt x="4999945" y="715254"/>
                    <a:pt x="4999945" y="709343"/>
                  </a:cubicBezTo>
                  <a:cubicBezTo>
                    <a:pt x="4999945" y="703432"/>
                    <a:pt x="4996991" y="700474"/>
                    <a:pt x="4991080" y="700474"/>
                  </a:cubicBezTo>
                  <a:cubicBezTo>
                    <a:pt x="4988123" y="700474"/>
                    <a:pt x="4982212" y="703432"/>
                    <a:pt x="4982212" y="709343"/>
                  </a:cubicBezTo>
                  <a:close/>
                  <a:moveTo>
                    <a:pt x="4967435" y="1696508"/>
                  </a:moveTo>
                  <a:cubicBezTo>
                    <a:pt x="4970392" y="1708334"/>
                    <a:pt x="4979258" y="1717199"/>
                    <a:pt x="4988126" y="1717199"/>
                  </a:cubicBezTo>
                  <a:cubicBezTo>
                    <a:pt x="4999948" y="1717199"/>
                    <a:pt x="5008814" y="1708334"/>
                    <a:pt x="5008814" y="1696508"/>
                  </a:cubicBezTo>
                  <a:cubicBezTo>
                    <a:pt x="5008814" y="1684689"/>
                    <a:pt x="4999948" y="1675821"/>
                    <a:pt x="4988126" y="1675821"/>
                  </a:cubicBezTo>
                  <a:cubicBezTo>
                    <a:pt x="4976304" y="1675821"/>
                    <a:pt x="4967435" y="1684689"/>
                    <a:pt x="4967435" y="1696508"/>
                  </a:cubicBezTo>
                  <a:close/>
                  <a:moveTo>
                    <a:pt x="4923100" y="880770"/>
                  </a:moveTo>
                  <a:cubicBezTo>
                    <a:pt x="4923100" y="889636"/>
                    <a:pt x="4929011" y="895547"/>
                    <a:pt x="4937879" y="895547"/>
                  </a:cubicBezTo>
                  <a:cubicBezTo>
                    <a:pt x="4946745" y="895547"/>
                    <a:pt x="4952656" y="889636"/>
                    <a:pt x="4952656" y="880770"/>
                  </a:cubicBezTo>
                  <a:cubicBezTo>
                    <a:pt x="4952656" y="871902"/>
                    <a:pt x="4946745" y="865991"/>
                    <a:pt x="4937879" y="865991"/>
                  </a:cubicBezTo>
                  <a:cubicBezTo>
                    <a:pt x="4929011" y="865991"/>
                    <a:pt x="4923100" y="871902"/>
                    <a:pt x="4923100" y="880770"/>
                  </a:cubicBezTo>
                  <a:close/>
                  <a:moveTo>
                    <a:pt x="4911280" y="2151673"/>
                  </a:moveTo>
                  <a:cubicBezTo>
                    <a:pt x="4911280" y="2157584"/>
                    <a:pt x="4914238" y="2157584"/>
                    <a:pt x="4917192" y="2157584"/>
                  </a:cubicBezTo>
                  <a:cubicBezTo>
                    <a:pt x="4920149" y="2157584"/>
                    <a:pt x="4923103" y="2154627"/>
                    <a:pt x="4923103" y="2151673"/>
                  </a:cubicBezTo>
                  <a:cubicBezTo>
                    <a:pt x="4923103" y="2148716"/>
                    <a:pt x="4920149" y="2145762"/>
                    <a:pt x="4917192" y="2145762"/>
                  </a:cubicBezTo>
                  <a:cubicBezTo>
                    <a:pt x="4914238" y="2145762"/>
                    <a:pt x="4911280" y="2148716"/>
                    <a:pt x="4911280" y="2151673"/>
                  </a:cubicBezTo>
                  <a:close/>
                  <a:moveTo>
                    <a:pt x="4905369" y="5911"/>
                  </a:moveTo>
                  <a:cubicBezTo>
                    <a:pt x="4905369" y="8868"/>
                    <a:pt x="4908323" y="11822"/>
                    <a:pt x="4911280" y="11822"/>
                  </a:cubicBezTo>
                  <a:cubicBezTo>
                    <a:pt x="4914238" y="11822"/>
                    <a:pt x="4917192" y="8868"/>
                    <a:pt x="4917192" y="5911"/>
                  </a:cubicBezTo>
                  <a:cubicBezTo>
                    <a:pt x="4917192" y="2954"/>
                    <a:pt x="4914238" y="0"/>
                    <a:pt x="4911280" y="0"/>
                  </a:cubicBezTo>
                  <a:cubicBezTo>
                    <a:pt x="4908323" y="0"/>
                    <a:pt x="4905369" y="2954"/>
                    <a:pt x="4905369" y="5911"/>
                  </a:cubicBezTo>
                  <a:close/>
                  <a:moveTo>
                    <a:pt x="4902412" y="1377310"/>
                  </a:moveTo>
                  <a:cubicBezTo>
                    <a:pt x="4902412" y="1397998"/>
                    <a:pt x="4920146" y="1415731"/>
                    <a:pt x="4940836" y="1415731"/>
                  </a:cubicBezTo>
                  <a:cubicBezTo>
                    <a:pt x="4961524" y="1415731"/>
                    <a:pt x="4979258" y="1397998"/>
                    <a:pt x="4979258" y="1377310"/>
                  </a:cubicBezTo>
                  <a:cubicBezTo>
                    <a:pt x="4979258" y="1356619"/>
                    <a:pt x="4961524" y="1338886"/>
                    <a:pt x="4940836" y="1338886"/>
                  </a:cubicBezTo>
                  <a:cubicBezTo>
                    <a:pt x="4920146" y="1338886"/>
                    <a:pt x="4902412" y="1356619"/>
                    <a:pt x="4902412" y="1377310"/>
                  </a:cubicBezTo>
                  <a:close/>
                  <a:moveTo>
                    <a:pt x="4890590" y="183247"/>
                  </a:moveTo>
                  <a:cubicBezTo>
                    <a:pt x="4890590" y="186204"/>
                    <a:pt x="4893544" y="189158"/>
                    <a:pt x="4896501" y="189158"/>
                  </a:cubicBezTo>
                  <a:cubicBezTo>
                    <a:pt x="4899458" y="189158"/>
                    <a:pt x="4902412" y="186204"/>
                    <a:pt x="4902412" y="183247"/>
                  </a:cubicBezTo>
                  <a:cubicBezTo>
                    <a:pt x="4902412" y="180290"/>
                    <a:pt x="4899458" y="177335"/>
                    <a:pt x="4896501" y="177335"/>
                  </a:cubicBezTo>
                  <a:cubicBezTo>
                    <a:pt x="4893544" y="177335"/>
                    <a:pt x="4890590" y="180290"/>
                    <a:pt x="4890590" y="183247"/>
                  </a:cubicBezTo>
                  <a:close/>
                  <a:moveTo>
                    <a:pt x="4884679" y="1847248"/>
                  </a:moveTo>
                  <a:cubicBezTo>
                    <a:pt x="4884679" y="1853159"/>
                    <a:pt x="4887633" y="1856113"/>
                    <a:pt x="4893544" y="1856113"/>
                  </a:cubicBezTo>
                  <a:cubicBezTo>
                    <a:pt x="4896501" y="1856113"/>
                    <a:pt x="4902412" y="1853159"/>
                    <a:pt x="4902412" y="1847248"/>
                  </a:cubicBezTo>
                  <a:cubicBezTo>
                    <a:pt x="4902412" y="1844291"/>
                    <a:pt x="4899458" y="1838380"/>
                    <a:pt x="4893544" y="1838380"/>
                  </a:cubicBezTo>
                  <a:cubicBezTo>
                    <a:pt x="4890590" y="1838380"/>
                    <a:pt x="4884679" y="1841337"/>
                    <a:pt x="4884679" y="1847248"/>
                  </a:cubicBezTo>
                  <a:close/>
                  <a:moveTo>
                    <a:pt x="4863988" y="360582"/>
                  </a:moveTo>
                  <a:cubicBezTo>
                    <a:pt x="4863988" y="363540"/>
                    <a:pt x="4866945" y="366494"/>
                    <a:pt x="4869899" y="366494"/>
                  </a:cubicBezTo>
                  <a:cubicBezTo>
                    <a:pt x="4872856" y="366494"/>
                    <a:pt x="4875810" y="363540"/>
                    <a:pt x="4875810" y="360582"/>
                  </a:cubicBezTo>
                  <a:cubicBezTo>
                    <a:pt x="4875810" y="357625"/>
                    <a:pt x="4872856" y="354671"/>
                    <a:pt x="4869899" y="354671"/>
                  </a:cubicBezTo>
                  <a:cubicBezTo>
                    <a:pt x="4866945" y="354671"/>
                    <a:pt x="4863988" y="357625"/>
                    <a:pt x="4863988" y="360582"/>
                  </a:cubicBezTo>
                  <a:close/>
                  <a:moveTo>
                    <a:pt x="4849211" y="1049235"/>
                  </a:moveTo>
                  <a:cubicBezTo>
                    <a:pt x="4852169" y="1061057"/>
                    <a:pt x="4861034" y="1072879"/>
                    <a:pt x="4872856" y="1072879"/>
                  </a:cubicBezTo>
                  <a:cubicBezTo>
                    <a:pt x="4884679" y="1072879"/>
                    <a:pt x="4896501" y="1061057"/>
                    <a:pt x="4896501" y="1049235"/>
                  </a:cubicBezTo>
                  <a:cubicBezTo>
                    <a:pt x="4896501" y="1037412"/>
                    <a:pt x="4884679" y="1025590"/>
                    <a:pt x="4872856" y="1025590"/>
                  </a:cubicBezTo>
                  <a:cubicBezTo>
                    <a:pt x="4861034" y="1025590"/>
                    <a:pt x="4849211" y="1037412"/>
                    <a:pt x="4849211" y="1049235"/>
                  </a:cubicBezTo>
                  <a:close/>
                  <a:moveTo>
                    <a:pt x="4828521" y="537915"/>
                  </a:moveTo>
                  <a:cubicBezTo>
                    <a:pt x="4828521" y="537915"/>
                    <a:pt x="4831478" y="540872"/>
                    <a:pt x="4831478" y="540872"/>
                  </a:cubicBezTo>
                  <a:cubicBezTo>
                    <a:pt x="4834432" y="540872"/>
                    <a:pt x="4834432" y="537915"/>
                    <a:pt x="4834432" y="537915"/>
                  </a:cubicBezTo>
                  <a:cubicBezTo>
                    <a:pt x="4834432" y="534961"/>
                    <a:pt x="4831478" y="534961"/>
                    <a:pt x="4831478" y="534961"/>
                  </a:cubicBezTo>
                  <a:cubicBezTo>
                    <a:pt x="4828521" y="534961"/>
                    <a:pt x="4828521" y="537915"/>
                    <a:pt x="4828521" y="537915"/>
                  </a:cubicBezTo>
                  <a:close/>
                  <a:moveTo>
                    <a:pt x="4825567" y="1536909"/>
                  </a:moveTo>
                  <a:cubicBezTo>
                    <a:pt x="4825567" y="1551689"/>
                    <a:pt x="4837389" y="1566465"/>
                    <a:pt x="4855123" y="1566465"/>
                  </a:cubicBezTo>
                  <a:cubicBezTo>
                    <a:pt x="4872856" y="1566465"/>
                    <a:pt x="4884679" y="1551689"/>
                    <a:pt x="4884679" y="1536909"/>
                  </a:cubicBezTo>
                  <a:cubicBezTo>
                    <a:pt x="4884679" y="1519176"/>
                    <a:pt x="4869902" y="1507353"/>
                    <a:pt x="4855123" y="1507353"/>
                  </a:cubicBezTo>
                  <a:cubicBezTo>
                    <a:pt x="4837389" y="1507353"/>
                    <a:pt x="4825567" y="1522133"/>
                    <a:pt x="4825567" y="1536909"/>
                  </a:cubicBezTo>
                  <a:close/>
                  <a:moveTo>
                    <a:pt x="4801922" y="2580236"/>
                  </a:moveTo>
                  <a:cubicBezTo>
                    <a:pt x="4804876" y="2586146"/>
                    <a:pt x="4807833" y="2586146"/>
                    <a:pt x="4807833" y="2586146"/>
                  </a:cubicBezTo>
                  <a:cubicBezTo>
                    <a:pt x="4810790" y="2586146"/>
                    <a:pt x="4813744" y="2583190"/>
                    <a:pt x="4813744" y="2580236"/>
                  </a:cubicBezTo>
                  <a:cubicBezTo>
                    <a:pt x="4813744" y="2577278"/>
                    <a:pt x="4810790" y="2574324"/>
                    <a:pt x="4807833" y="2574324"/>
                  </a:cubicBezTo>
                  <a:cubicBezTo>
                    <a:pt x="4804876" y="2574324"/>
                    <a:pt x="4801922" y="2577278"/>
                    <a:pt x="4801922" y="2580236"/>
                  </a:cubicBezTo>
                  <a:close/>
                  <a:moveTo>
                    <a:pt x="4790100" y="2293541"/>
                  </a:moveTo>
                  <a:cubicBezTo>
                    <a:pt x="4790100" y="2300070"/>
                    <a:pt x="4795393" y="2305364"/>
                    <a:pt x="4801922" y="2305364"/>
                  </a:cubicBezTo>
                  <a:cubicBezTo>
                    <a:pt x="4808451" y="2305364"/>
                    <a:pt x="4813744" y="2300070"/>
                    <a:pt x="4813744" y="2293541"/>
                  </a:cubicBezTo>
                  <a:cubicBezTo>
                    <a:pt x="4813744" y="2287013"/>
                    <a:pt x="4808451" y="2281719"/>
                    <a:pt x="4801922" y="2281719"/>
                  </a:cubicBezTo>
                  <a:cubicBezTo>
                    <a:pt x="4795393" y="2281719"/>
                    <a:pt x="4790100" y="2287013"/>
                    <a:pt x="4790100" y="2293541"/>
                  </a:cubicBezTo>
                  <a:close/>
                  <a:moveTo>
                    <a:pt x="4775320" y="1211794"/>
                  </a:moveTo>
                  <a:cubicBezTo>
                    <a:pt x="4775320" y="1226570"/>
                    <a:pt x="4787142" y="1238393"/>
                    <a:pt x="4801922" y="1238393"/>
                  </a:cubicBezTo>
                  <a:cubicBezTo>
                    <a:pt x="4816698" y="1238393"/>
                    <a:pt x="4828521" y="1226570"/>
                    <a:pt x="4828521" y="1211794"/>
                  </a:cubicBezTo>
                  <a:cubicBezTo>
                    <a:pt x="4828521" y="1197014"/>
                    <a:pt x="4816698" y="1185192"/>
                    <a:pt x="4801922" y="1185192"/>
                  </a:cubicBezTo>
                  <a:cubicBezTo>
                    <a:pt x="4787142" y="1185192"/>
                    <a:pt x="4775320" y="1197014"/>
                    <a:pt x="4775320" y="1211794"/>
                  </a:cubicBezTo>
                  <a:close/>
                  <a:moveTo>
                    <a:pt x="4772366" y="709343"/>
                  </a:moveTo>
                  <a:cubicBezTo>
                    <a:pt x="4772366" y="715254"/>
                    <a:pt x="4778277" y="721165"/>
                    <a:pt x="4784188" y="721165"/>
                  </a:cubicBezTo>
                  <a:cubicBezTo>
                    <a:pt x="4790100" y="721165"/>
                    <a:pt x="4796011" y="715254"/>
                    <a:pt x="4796011" y="709343"/>
                  </a:cubicBezTo>
                  <a:cubicBezTo>
                    <a:pt x="4796011" y="703432"/>
                    <a:pt x="4790100" y="697520"/>
                    <a:pt x="4784188" y="697520"/>
                  </a:cubicBezTo>
                  <a:cubicBezTo>
                    <a:pt x="4778277" y="697520"/>
                    <a:pt x="4772366" y="703432"/>
                    <a:pt x="4772366" y="709343"/>
                  </a:cubicBezTo>
                  <a:close/>
                  <a:moveTo>
                    <a:pt x="4751678" y="1992071"/>
                  </a:moveTo>
                  <a:cubicBezTo>
                    <a:pt x="4754632" y="2012761"/>
                    <a:pt x="4769412" y="2027538"/>
                    <a:pt x="4787146" y="2027538"/>
                  </a:cubicBezTo>
                  <a:cubicBezTo>
                    <a:pt x="4804879" y="2027538"/>
                    <a:pt x="4822613" y="2012761"/>
                    <a:pt x="4822613" y="1992071"/>
                  </a:cubicBezTo>
                  <a:cubicBezTo>
                    <a:pt x="4822613" y="1974337"/>
                    <a:pt x="4807833" y="1956604"/>
                    <a:pt x="4787146" y="1956604"/>
                  </a:cubicBezTo>
                  <a:cubicBezTo>
                    <a:pt x="4769412" y="1956604"/>
                    <a:pt x="4751678" y="1971383"/>
                    <a:pt x="4751678" y="1992071"/>
                  </a:cubicBezTo>
                  <a:close/>
                  <a:moveTo>
                    <a:pt x="4730988" y="1687646"/>
                  </a:moveTo>
                  <a:cubicBezTo>
                    <a:pt x="4730988" y="1705380"/>
                    <a:pt x="4742810" y="1717202"/>
                    <a:pt x="4760544" y="1717202"/>
                  </a:cubicBezTo>
                  <a:cubicBezTo>
                    <a:pt x="4778277" y="1717202"/>
                    <a:pt x="4790100" y="1702426"/>
                    <a:pt x="4790100" y="1687646"/>
                  </a:cubicBezTo>
                  <a:cubicBezTo>
                    <a:pt x="4790100" y="1669912"/>
                    <a:pt x="4775323" y="1658090"/>
                    <a:pt x="4760544" y="1658090"/>
                  </a:cubicBezTo>
                  <a:cubicBezTo>
                    <a:pt x="4742810" y="1658090"/>
                    <a:pt x="4730988" y="1672870"/>
                    <a:pt x="4730988" y="1687646"/>
                  </a:cubicBezTo>
                  <a:close/>
                  <a:moveTo>
                    <a:pt x="4707343" y="880767"/>
                  </a:moveTo>
                  <a:cubicBezTo>
                    <a:pt x="4704386" y="889632"/>
                    <a:pt x="4716208" y="901455"/>
                    <a:pt x="4728034" y="901455"/>
                  </a:cubicBezTo>
                  <a:cubicBezTo>
                    <a:pt x="4739853" y="901455"/>
                    <a:pt x="4748721" y="892586"/>
                    <a:pt x="4748721" y="880767"/>
                  </a:cubicBezTo>
                  <a:cubicBezTo>
                    <a:pt x="4748721" y="868945"/>
                    <a:pt x="4739853" y="860076"/>
                    <a:pt x="4728034" y="860076"/>
                  </a:cubicBezTo>
                  <a:cubicBezTo>
                    <a:pt x="4716208" y="860076"/>
                    <a:pt x="4707343" y="868945"/>
                    <a:pt x="4707343" y="880767"/>
                  </a:cubicBezTo>
                  <a:close/>
                  <a:moveTo>
                    <a:pt x="4692567" y="183247"/>
                  </a:moveTo>
                  <a:cubicBezTo>
                    <a:pt x="4692567" y="184882"/>
                    <a:pt x="4693888" y="186204"/>
                    <a:pt x="4695521" y="186204"/>
                  </a:cubicBezTo>
                  <a:cubicBezTo>
                    <a:pt x="4697156" y="186204"/>
                    <a:pt x="4698478" y="184882"/>
                    <a:pt x="4698478" y="183247"/>
                  </a:cubicBezTo>
                  <a:cubicBezTo>
                    <a:pt x="4698478" y="181614"/>
                    <a:pt x="4697153" y="180293"/>
                    <a:pt x="4695521" y="180293"/>
                  </a:cubicBezTo>
                  <a:cubicBezTo>
                    <a:pt x="4693888" y="180293"/>
                    <a:pt x="4692567" y="181614"/>
                    <a:pt x="4692567" y="183247"/>
                  </a:cubicBezTo>
                  <a:close/>
                  <a:moveTo>
                    <a:pt x="4683698" y="1371396"/>
                  </a:moveTo>
                  <a:cubicBezTo>
                    <a:pt x="4683698" y="1389129"/>
                    <a:pt x="4698478" y="1406863"/>
                    <a:pt x="4719165" y="1406863"/>
                  </a:cubicBezTo>
                  <a:cubicBezTo>
                    <a:pt x="4739853" y="1406863"/>
                    <a:pt x="4754632" y="1389129"/>
                    <a:pt x="4754632" y="1371396"/>
                  </a:cubicBezTo>
                  <a:cubicBezTo>
                    <a:pt x="4754632" y="1350708"/>
                    <a:pt x="4736899" y="1335929"/>
                    <a:pt x="4719165" y="1335929"/>
                  </a:cubicBezTo>
                  <a:cubicBezTo>
                    <a:pt x="4698478" y="1335929"/>
                    <a:pt x="4683698" y="1353662"/>
                    <a:pt x="4683698" y="1371396"/>
                  </a:cubicBezTo>
                  <a:close/>
                  <a:moveTo>
                    <a:pt x="4671876" y="2426542"/>
                  </a:moveTo>
                  <a:cubicBezTo>
                    <a:pt x="4671876" y="2432452"/>
                    <a:pt x="4677787" y="2438364"/>
                    <a:pt x="4683698" y="2438364"/>
                  </a:cubicBezTo>
                  <a:cubicBezTo>
                    <a:pt x="4689609" y="2438364"/>
                    <a:pt x="4695521" y="2432452"/>
                    <a:pt x="4695521" y="2426542"/>
                  </a:cubicBezTo>
                  <a:cubicBezTo>
                    <a:pt x="4695521" y="2420630"/>
                    <a:pt x="4689609" y="2414719"/>
                    <a:pt x="4683698" y="2414719"/>
                  </a:cubicBezTo>
                  <a:cubicBezTo>
                    <a:pt x="4677787" y="2414719"/>
                    <a:pt x="4671876" y="2420630"/>
                    <a:pt x="4671876" y="2426542"/>
                  </a:cubicBezTo>
                  <a:close/>
                  <a:moveTo>
                    <a:pt x="4651185" y="1043326"/>
                  </a:moveTo>
                  <a:cubicBezTo>
                    <a:pt x="4651185" y="1049238"/>
                    <a:pt x="4654142" y="1052192"/>
                    <a:pt x="4660053" y="1052192"/>
                  </a:cubicBezTo>
                  <a:cubicBezTo>
                    <a:pt x="4663007" y="1052192"/>
                    <a:pt x="4668919" y="1049238"/>
                    <a:pt x="4668919" y="1043326"/>
                  </a:cubicBezTo>
                  <a:cubicBezTo>
                    <a:pt x="4668919" y="1040369"/>
                    <a:pt x="4665965" y="1034458"/>
                    <a:pt x="4660053" y="1034458"/>
                  </a:cubicBezTo>
                  <a:cubicBezTo>
                    <a:pt x="4657096" y="1034458"/>
                    <a:pt x="4651185" y="1037412"/>
                    <a:pt x="4651185" y="1043326"/>
                  </a:cubicBezTo>
                  <a:close/>
                  <a:moveTo>
                    <a:pt x="4648231" y="2133939"/>
                  </a:moveTo>
                  <a:cubicBezTo>
                    <a:pt x="4648231" y="2148719"/>
                    <a:pt x="4660053" y="2160541"/>
                    <a:pt x="4674830" y="2160541"/>
                  </a:cubicBezTo>
                  <a:cubicBezTo>
                    <a:pt x="4689609" y="2160541"/>
                    <a:pt x="4701432" y="2148719"/>
                    <a:pt x="4701432" y="2133939"/>
                  </a:cubicBezTo>
                  <a:cubicBezTo>
                    <a:pt x="4701432" y="2119163"/>
                    <a:pt x="4689609" y="2107340"/>
                    <a:pt x="4674830" y="2107340"/>
                  </a:cubicBezTo>
                  <a:cubicBezTo>
                    <a:pt x="4660053" y="2107340"/>
                    <a:pt x="4648231" y="2119163"/>
                    <a:pt x="4648231" y="2133939"/>
                  </a:cubicBezTo>
                  <a:close/>
                  <a:moveTo>
                    <a:pt x="4639366" y="1832469"/>
                  </a:moveTo>
                  <a:cubicBezTo>
                    <a:pt x="4642320" y="1844291"/>
                    <a:pt x="4648234" y="1850202"/>
                    <a:pt x="4657099" y="1850202"/>
                  </a:cubicBezTo>
                  <a:cubicBezTo>
                    <a:pt x="4665965" y="1850202"/>
                    <a:pt x="4674833" y="1841337"/>
                    <a:pt x="4674833" y="1832469"/>
                  </a:cubicBezTo>
                  <a:cubicBezTo>
                    <a:pt x="4674833" y="1823603"/>
                    <a:pt x="4665965" y="1814735"/>
                    <a:pt x="4657099" y="1814735"/>
                  </a:cubicBezTo>
                  <a:cubicBezTo>
                    <a:pt x="4648234" y="1814735"/>
                    <a:pt x="4639366" y="1823603"/>
                    <a:pt x="4639366" y="1832469"/>
                  </a:cubicBezTo>
                  <a:close/>
                  <a:moveTo>
                    <a:pt x="4612764" y="1525090"/>
                  </a:moveTo>
                  <a:cubicBezTo>
                    <a:pt x="4612764" y="1533955"/>
                    <a:pt x="4618675" y="1539866"/>
                    <a:pt x="4627543" y="1539866"/>
                  </a:cubicBezTo>
                  <a:cubicBezTo>
                    <a:pt x="4636409" y="1539866"/>
                    <a:pt x="4642320" y="1533955"/>
                    <a:pt x="4642320" y="1525090"/>
                  </a:cubicBezTo>
                  <a:cubicBezTo>
                    <a:pt x="4642320" y="1516222"/>
                    <a:pt x="4636409" y="1510310"/>
                    <a:pt x="4627543" y="1510310"/>
                  </a:cubicBezTo>
                  <a:cubicBezTo>
                    <a:pt x="4618675" y="1510310"/>
                    <a:pt x="4612764" y="1516222"/>
                    <a:pt x="4612764" y="1525090"/>
                  </a:cubicBezTo>
                  <a:close/>
                  <a:moveTo>
                    <a:pt x="4571386" y="706386"/>
                  </a:moveTo>
                  <a:cubicBezTo>
                    <a:pt x="4571386" y="709343"/>
                    <a:pt x="4571386" y="712297"/>
                    <a:pt x="4577297" y="712297"/>
                  </a:cubicBezTo>
                  <a:cubicBezTo>
                    <a:pt x="4580254" y="712297"/>
                    <a:pt x="4583208" y="709343"/>
                    <a:pt x="4583208" y="706386"/>
                  </a:cubicBezTo>
                  <a:cubicBezTo>
                    <a:pt x="4583208" y="703432"/>
                    <a:pt x="4580254" y="700474"/>
                    <a:pt x="4577297" y="700474"/>
                  </a:cubicBezTo>
                  <a:cubicBezTo>
                    <a:pt x="4574343" y="700474"/>
                    <a:pt x="4571386" y="703432"/>
                    <a:pt x="4571386" y="706386"/>
                  </a:cubicBezTo>
                  <a:close/>
                  <a:moveTo>
                    <a:pt x="4562517" y="1205883"/>
                  </a:moveTo>
                  <a:cubicBezTo>
                    <a:pt x="4565474" y="1214751"/>
                    <a:pt x="4571386" y="1223616"/>
                    <a:pt x="4580251" y="1223616"/>
                  </a:cubicBezTo>
                  <a:cubicBezTo>
                    <a:pt x="4589119" y="1223616"/>
                    <a:pt x="4597984" y="1214751"/>
                    <a:pt x="4597984" y="1205883"/>
                  </a:cubicBezTo>
                  <a:cubicBezTo>
                    <a:pt x="4597984" y="1197017"/>
                    <a:pt x="4589119" y="1188149"/>
                    <a:pt x="4580251" y="1188149"/>
                  </a:cubicBezTo>
                  <a:cubicBezTo>
                    <a:pt x="4571386" y="1188149"/>
                    <a:pt x="4562517" y="1197017"/>
                    <a:pt x="4562517" y="1205883"/>
                  </a:cubicBezTo>
                  <a:close/>
                  <a:moveTo>
                    <a:pt x="4538872" y="2828506"/>
                  </a:moveTo>
                  <a:cubicBezTo>
                    <a:pt x="4538872" y="2837370"/>
                    <a:pt x="4544784" y="2840328"/>
                    <a:pt x="4550695" y="2840328"/>
                  </a:cubicBezTo>
                  <a:cubicBezTo>
                    <a:pt x="4556606" y="2840328"/>
                    <a:pt x="4562517" y="2834416"/>
                    <a:pt x="4562517" y="2828506"/>
                  </a:cubicBezTo>
                  <a:cubicBezTo>
                    <a:pt x="4562517" y="2822594"/>
                    <a:pt x="4556606" y="2816683"/>
                    <a:pt x="4550695" y="2816683"/>
                  </a:cubicBezTo>
                  <a:cubicBezTo>
                    <a:pt x="4544784" y="2816683"/>
                    <a:pt x="4538872" y="2822594"/>
                    <a:pt x="4538872" y="2828506"/>
                  </a:cubicBezTo>
                  <a:close/>
                  <a:moveTo>
                    <a:pt x="4532961" y="2553634"/>
                  </a:moveTo>
                  <a:cubicBezTo>
                    <a:pt x="4532961" y="2565456"/>
                    <a:pt x="4544784" y="2577278"/>
                    <a:pt x="4556606" y="2577278"/>
                  </a:cubicBezTo>
                  <a:cubicBezTo>
                    <a:pt x="4568428" y="2577278"/>
                    <a:pt x="4580251" y="2565456"/>
                    <a:pt x="4580251" y="2553634"/>
                  </a:cubicBezTo>
                  <a:cubicBezTo>
                    <a:pt x="4580251" y="2541811"/>
                    <a:pt x="4568428" y="2529988"/>
                    <a:pt x="4556606" y="2529988"/>
                  </a:cubicBezTo>
                  <a:cubicBezTo>
                    <a:pt x="4544784" y="2529988"/>
                    <a:pt x="4532961" y="2541811"/>
                    <a:pt x="4532961" y="2553634"/>
                  </a:cubicBezTo>
                  <a:close/>
                  <a:moveTo>
                    <a:pt x="4521142" y="2269897"/>
                  </a:moveTo>
                  <a:cubicBezTo>
                    <a:pt x="4521142" y="2287630"/>
                    <a:pt x="4538876" y="2305364"/>
                    <a:pt x="4556609" y="2305364"/>
                  </a:cubicBezTo>
                  <a:cubicBezTo>
                    <a:pt x="4577297" y="2305364"/>
                    <a:pt x="4592076" y="2287630"/>
                    <a:pt x="4592076" y="2269897"/>
                  </a:cubicBezTo>
                  <a:cubicBezTo>
                    <a:pt x="4592076" y="2249209"/>
                    <a:pt x="4574343" y="2234429"/>
                    <a:pt x="4556609" y="2234429"/>
                  </a:cubicBezTo>
                  <a:cubicBezTo>
                    <a:pt x="4535922" y="2234429"/>
                    <a:pt x="4521142" y="2252163"/>
                    <a:pt x="4521142" y="2269897"/>
                  </a:cubicBezTo>
                  <a:close/>
                  <a:moveTo>
                    <a:pt x="4521142" y="1974337"/>
                  </a:moveTo>
                  <a:cubicBezTo>
                    <a:pt x="4521142" y="1989114"/>
                    <a:pt x="4532964" y="2000936"/>
                    <a:pt x="4547741" y="2000936"/>
                  </a:cubicBezTo>
                  <a:cubicBezTo>
                    <a:pt x="4562520" y="2000936"/>
                    <a:pt x="4574343" y="1989114"/>
                    <a:pt x="4574343" y="1974337"/>
                  </a:cubicBezTo>
                  <a:cubicBezTo>
                    <a:pt x="4574343" y="1959558"/>
                    <a:pt x="4562520" y="1947735"/>
                    <a:pt x="4547741" y="1947735"/>
                  </a:cubicBezTo>
                  <a:cubicBezTo>
                    <a:pt x="4532964" y="1947735"/>
                    <a:pt x="4521142" y="1959558"/>
                    <a:pt x="4521142" y="1974337"/>
                  </a:cubicBezTo>
                  <a:close/>
                  <a:moveTo>
                    <a:pt x="4512274" y="1672866"/>
                  </a:moveTo>
                  <a:cubicBezTo>
                    <a:pt x="4512274" y="1681732"/>
                    <a:pt x="4518185" y="1690600"/>
                    <a:pt x="4530007" y="1690600"/>
                  </a:cubicBezTo>
                  <a:cubicBezTo>
                    <a:pt x="4538872" y="1690600"/>
                    <a:pt x="4547741" y="1681732"/>
                    <a:pt x="4547741" y="1672866"/>
                  </a:cubicBezTo>
                  <a:cubicBezTo>
                    <a:pt x="4547741" y="1664001"/>
                    <a:pt x="4538872" y="1655133"/>
                    <a:pt x="4530007" y="1655133"/>
                  </a:cubicBezTo>
                  <a:cubicBezTo>
                    <a:pt x="4521142" y="1655133"/>
                    <a:pt x="4512274" y="1664001"/>
                    <a:pt x="4512274" y="1672866"/>
                  </a:cubicBezTo>
                  <a:close/>
                  <a:moveTo>
                    <a:pt x="4506363" y="874856"/>
                  </a:moveTo>
                  <a:cubicBezTo>
                    <a:pt x="4506363" y="880770"/>
                    <a:pt x="4509317" y="883724"/>
                    <a:pt x="4515231" y="883724"/>
                  </a:cubicBezTo>
                  <a:cubicBezTo>
                    <a:pt x="4518185" y="883724"/>
                    <a:pt x="4524096" y="880770"/>
                    <a:pt x="4524096" y="874856"/>
                  </a:cubicBezTo>
                  <a:cubicBezTo>
                    <a:pt x="4524096" y="871902"/>
                    <a:pt x="4521142" y="865991"/>
                    <a:pt x="4515231" y="865991"/>
                  </a:cubicBezTo>
                  <a:cubicBezTo>
                    <a:pt x="4509317" y="865991"/>
                    <a:pt x="4506363" y="868945"/>
                    <a:pt x="4506363" y="874856"/>
                  </a:cubicBezTo>
                  <a:close/>
                  <a:moveTo>
                    <a:pt x="4479761" y="1359577"/>
                  </a:moveTo>
                  <a:cubicBezTo>
                    <a:pt x="4479761" y="1368442"/>
                    <a:pt x="4485672" y="1374353"/>
                    <a:pt x="4494540" y="1374353"/>
                  </a:cubicBezTo>
                  <a:cubicBezTo>
                    <a:pt x="4503405" y="1374353"/>
                    <a:pt x="4509317" y="1368442"/>
                    <a:pt x="4509317" y="1359577"/>
                  </a:cubicBezTo>
                  <a:cubicBezTo>
                    <a:pt x="4509317" y="1350708"/>
                    <a:pt x="4503405" y="1344797"/>
                    <a:pt x="4494540" y="1344797"/>
                  </a:cubicBezTo>
                  <a:cubicBezTo>
                    <a:pt x="4485672" y="1344797"/>
                    <a:pt x="4479761" y="1350708"/>
                    <a:pt x="4479761" y="1359577"/>
                  </a:cubicBezTo>
                  <a:close/>
                  <a:moveTo>
                    <a:pt x="4408829" y="1814735"/>
                  </a:moveTo>
                  <a:cubicBezTo>
                    <a:pt x="4411787" y="1823600"/>
                    <a:pt x="4414741" y="1826557"/>
                    <a:pt x="4420652" y="1826557"/>
                  </a:cubicBezTo>
                  <a:cubicBezTo>
                    <a:pt x="4426563" y="1826557"/>
                    <a:pt x="4432474" y="1820646"/>
                    <a:pt x="4432474" y="1814735"/>
                  </a:cubicBezTo>
                  <a:cubicBezTo>
                    <a:pt x="4432474" y="1808824"/>
                    <a:pt x="4426563" y="1802913"/>
                    <a:pt x="4420652" y="1802913"/>
                  </a:cubicBezTo>
                  <a:cubicBezTo>
                    <a:pt x="4414741" y="1802913"/>
                    <a:pt x="4408829" y="1808824"/>
                    <a:pt x="4408829" y="1814735"/>
                  </a:cubicBezTo>
                  <a:close/>
                  <a:moveTo>
                    <a:pt x="4405872" y="2110294"/>
                  </a:moveTo>
                  <a:cubicBezTo>
                    <a:pt x="4405872" y="2125074"/>
                    <a:pt x="4417695" y="2136896"/>
                    <a:pt x="4432474" y="2136896"/>
                  </a:cubicBezTo>
                  <a:cubicBezTo>
                    <a:pt x="4447251" y="2136896"/>
                    <a:pt x="4459073" y="2125074"/>
                    <a:pt x="4459073" y="2110294"/>
                  </a:cubicBezTo>
                  <a:cubicBezTo>
                    <a:pt x="4459073" y="2095518"/>
                    <a:pt x="4447251" y="2083696"/>
                    <a:pt x="4432474" y="2083696"/>
                  </a:cubicBezTo>
                  <a:cubicBezTo>
                    <a:pt x="4417695" y="2083696"/>
                    <a:pt x="4405872" y="2095518"/>
                    <a:pt x="4405872" y="2110294"/>
                  </a:cubicBezTo>
                  <a:close/>
                  <a:moveTo>
                    <a:pt x="4394050" y="2943772"/>
                  </a:moveTo>
                  <a:cubicBezTo>
                    <a:pt x="4397007" y="2955594"/>
                    <a:pt x="4402918" y="2961506"/>
                    <a:pt x="4411783" y="2961506"/>
                  </a:cubicBezTo>
                  <a:cubicBezTo>
                    <a:pt x="4420649" y="2961506"/>
                    <a:pt x="4429517" y="2952637"/>
                    <a:pt x="4429517" y="2943772"/>
                  </a:cubicBezTo>
                  <a:cubicBezTo>
                    <a:pt x="4429517" y="2934906"/>
                    <a:pt x="4420649" y="2926038"/>
                    <a:pt x="4411783" y="2926038"/>
                  </a:cubicBezTo>
                  <a:cubicBezTo>
                    <a:pt x="4402918" y="2926038"/>
                    <a:pt x="4394050" y="2934906"/>
                    <a:pt x="4394050" y="2943772"/>
                  </a:cubicBezTo>
                  <a:close/>
                  <a:moveTo>
                    <a:pt x="4394050" y="2671857"/>
                  </a:moveTo>
                  <a:cubicBezTo>
                    <a:pt x="4394050" y="2692548"/>
                    <a:pt x="4408829" y="2704370"/>
                    <a:pt x="4426563" y="2704370"/>
                  </a:cubicBezTo>
                  <a:cubicBezTo>
                    <a:pt x="4444293" y="2704370"/>
                    <a:pt x="4459073" y="2689591"/>
                    <a:pt x="4459073" y="2671857"/>
                  </a:cubicBezTo>
                  <a:cubicBezTo>
                    <a:pt x="4459073" y="2654127"/>
                    <a:pt x="4444293" y="2639347"/>
                    <a:pt x="4426563" y="2639347"/>
                  </a:cubicBezTo>
                  <a:cubicBezTo>
                    <a:pt x="4408829" y="2639347"/>
                    <a:pt x="4394050" y="2654127"/>
                    <a:pt x="4394050" y="2671857"/>
                  </a:cubicBezTo>
                  <a:close/>
                  <a:moveTo>
                    <a:pt x="4394050" y="2394031"/>
                  </a:moveTo>
                  <a:cubicBezTo>
                    <a:pt x="4397007" y="2417676"/>
                    <a:pt x="4411783" y="2432452"/>
                    <a:pt x="4432474" y="2432452"/>
                  </a:cubicBezTo>
                  <a:cubicBezTo>
                    <a:pt x="4453162" y="2432452"/>
                    <a:pt x="4470895" y="2414719"/>
                    <a:pt x="4470895" y="2394031"/>
                  </a:cubicBezTo>
                  <a:cubicBezTo>
                    <a:pt x="4470895" y="2373341"/>
                    <a:pt x="4453162" y="2355607"/>
                    <a:pt x="4432474" y="2355607"/>
                  </a:cubicBezTo>
                  <a:cubicBezTo>
                    <a:pt x="4411783" y="2355607"/>
                    <a:pt x="4394050" y="2373341"/>
                    <a:pt x="4394050" y="2394031"/>
                  </a:cubicBezTo>
                  <a:close/>
                  <a:moveTo>
                    <a:pt x="4391093" y="1513264"/>
                  </a:moveTo>
                  <a:cubicBezTo>
                    <a:pt x="4391093" y="1516222"/>
                    <a:pt x="4394050" y="1519176"/>
                    <a:pt x="4397004" y="1519176"/>
                  </a:cubicBezTo>
                  <a:cubicBezTo>
                    <a:pt x="4399961" y="1519176"/>
                    <a:pt x="4402915" y="1516222"/>
                    <a:pt x="4402915" y="1513264"/>
                  </a:cubicBezTo>
                  <a:cubicBezTo>
                    <a:pt x="4402915" y="1510310"/>
                    <a:pt x="4399961" y="1507353"/>
                    <a:pt x="4397004" y="1507353"/>
                  </a:cubicBezTo>
                  <a:cubicBezTo>
                    <a:pt x="4394050" y="1507353"/>
                    <a:pt x="4391093" y="1510310"/>
                    <a:pt x="4391093" y="1513264"/>
                  </a:cubicBezTo>
                  <a:close/>
                  <a:moveTo>
                    <a:pt x="4388139" y="3209776"/>
                  </a:moveTo>
                  <a:cubicBezTo>
                    <a:pt x="4388139" y="3212732"/>
                    <a:pt x="4391093" y="3215686"/>
                    <a:pt x="4394050" y="3215686"/>
                  </a:cubicBezTo>
                  <a:cubicBezTo>
                    <a:pt x="4397007" y="3215686"/>
                    <a:pt x="4399961" y="3212732"/>
                    <a:pt x="4399961" y="3209776"/>
                  </a:cubicBezTo>
                  <a:cubicBezTo>
                    <a:pt x="4399961" y="3206822"/>
                    <a:pt x="4397007" y="3203864"/>
                    <a:pt x="4394050" y="3203864"/>
                  </a:cubicBezTo>
                  <a:cubicBezTo>
                    <a:pt x="4391093" y="3203864"/>
                    <a:pt x="4388139" y="3206822"/>
                    <a:pt x="4388139" y="3209776"/>
                  </a:cubicBezTo>
                  <a:close/>
                  <a:moveTo>
                    <a:pt x="4287649" y="1953649"/>
                  </a:moveTo>
                  <a:cubicBezTo>
                    <a:pt x="4287649" y="1962515"/>
                    <a:pt x="4296517" y="1971383"/>
                    <a:pt x="4305382" y="1971383"/>
                  </a:cubicBezTo>
                  <a:cubicBezTo>
                    <a:pt x="4314250" y="1971383"/>
                    <a:pt x="4323116" y="1962515"/>
                    <a:pt x="4323116" y="1953649"/>
                  </a:cubicBezTo>
                  <a:cubicBezTo>
                    <a:pt x="4323116" y="1944784"/>
                    <a:pt x="4314250" y="1935916"/>
                    <a:pt x="4305382" y="1935916"/>
                  </a:cubicBezTo>
                  <a:cubicBezTo>
                    <a:pt x="4296517" y="1935916"/>
                    <a:pt x="4287649" y="1944784"/>
                    <a:pt x="4287649" y="1953649"/>
                  </a:cubicBezTo>
                  <a:close/>
                  <a:moveTo>
                    <a:pt x="4281737" y="2240341"/>
                  </a:moveTo>
                  <a:cubicBezTo>
                    <a:pt x="4281737" y="2255117"/>
                    <a:pt x="4293560" y="2266939"/>
                    <a:pt x="4308339" y="2266939"/>
                  </a:cubicBezTo>
                  <a:cubicBezTo>
                    <a:pt x="4323116" y="2266939"/>
                    <a:pt x="4334938" y="2255117"/>
                    <a:pt x="4334938" y="2240341"/>
                  </a:cubicBezTo>
                  <a:cubicBezTo>
                    <a:pt x="4334938" y="2225561"/>
                    <a:pt x="4323116" y="2213739"/>
                    <a:pt x="4308339" y="2213739"/>
                  </a:cubicBezTo>
                  <a:cubicBezTo>
                    <a:pt x="4293560" y="2213739"/>
                    <a:pt x="4281737" y="2225561"/>
                    <a:pt x="4281737" y="2240341"/>
                  </a:cubicBezTo>
                  <a:close/>
                  <a:moveTo>
                    <a:pt x="4281737" y="1655133"/>
                  </a:moveTo>
                  <a:cubicBezTo>
                    <a:pt x="4281737" y="1663998"/>
                    <a:pt x="4287649" y="1666955"/>
                    <a:pt x="4293560" y="1666955"/>
                  </a:cubicBezTo>
                  <a:cubicBezTo>
                    <a:pt x="4299471" y="1666955"/>
                    <a:pt x="4305382" y="1661044"/>
                    <a:pt x="4305382" y="1655133"/>
                  </a:cubicBezTo>
                  <a:cubicBezTo>
                    <a:pt x="4305382" y="1649222"/>
                    <a:pt x="4299471" y="1643311"/>
                    <a:pt x="4293560" y="1643311"/>
                  </a:cubicBezTo>
                  <a:cubicBezTo>
                    <a:pt x="4287649" y="1643311"/>
                    <a:pt x="4281737" y="1649222"/>
                    <a:pt x="4281737" y="1655133"/>
                  </a:cubicBezTo>
                  <a:close/>
                  <a:moveTo>
                    <a:pt x="4264004" y="3053130"/>
                  </a:moveTo>
                  <a:cubicBezTo>
                    <a:pt x="4264004" y="3056084"/>
                    <a:pt x="4266958" y="3059042"/>
                    <a:pt x="4269915" y="3059042"/>
                  </a:cubicBezTo>
                  <a:cubicBezTo>
                    <a:pt x="4272869" y="3059042"/>
                    <a:pt x="4275826" y="3056084"/>
                    <a:pt x="4275826" y="3053130"/>
                  </a:cubicBezTo>
                  <a:cubicBezTo>
                    <a:pt x="4275826" y="3050174"/>
                    <a:pt x="4272869" y="3047219"/>
                    <a:pt x="4269915" y="3047219"/>
                  </a:cubicBezTo>
                  <a:cubicBezTo>
                    <a:pt x="4266958" y="3047219"/>
                    <a:pt x="4264004" y="3050174"/>
                    <a:pt x="4264004" y="3053130"/>
                  </a:cubicBezTo>
                  <a:close/>
                  <a:moveTo>
                    <a:pt x="4263264" y="1353292"/>
                  </a:moveTo>
                  <a:cubicBezTo>
                    <a:pt x="4264003" y="1353662"/>
                    <a:pt x="4265481" y="1353662"/>
                    <a:pt x="4266958" y="1353662"/>
                  </a:cubicBezTo>
                  <a:cubicBezTo>
                    <a:pt x="4269915" y="1353662"/>
                    <a:pt x="4269915" y="1350705"/>
                    <a:pt x="4269915" y="1350705"/>
                  </a:cubicBezTo>
                  <a:cubicBezTo>
                    <a:pt x="4269915" y="1347751"/>
                    <a:pt x="4266958" y="1347751"/>
                    <a:pt x="4266958" y="1347751"/>
                  </a:cubicBezTo>
                  <a:cubicBezTo>
                    <a:pt x="4266958" y="1347751"/>
                    <a:pt x="4264004" y="1350705"/>
                    <a:pt x="4264004" y="1350705"/>
                  </a:cubicBezTo>
                  <a:cubicBezTo>
                    <a:pt x="4262525" y="1352184"/>
                    <a:pt x="4262525" y="1352923"/>
                    <a:pt x="4263264" y="1353292"/>
                  </a:cubicBezTo>
                  <a:close/>
                  <a:moveTo>
                    <a:pt x="4258093" y="2518166"/>
                  </a:moveTo>
                  <a:cubicBezTo>
                    <a:pt x="4258093" y="2541811"/>
                    <a:pt x="4278783" y="2562498"/>
                    <a:pt x="4302428" y="2562498"/>
                  </a:cubicBezTo>
                  <a:cubicBezTo>
                    <a:pt x="4326073" y="2562498"/>
                    <a:pt x="4346760" y="2541811"/>
                    <a:pt x="4346760" y="2518166"/>
                  </a:cubicBezTo>
                  <a:cubicBezTo>
                    <a:pt x="4346760" y="2494518"/>
                    <a:pt x="4326073" y="2473831"/>
                    <a:pt x="4302428" y="2473831"/>
                  </a:cubicBezTo>
                  <a:cubicBezTo>
                    <a:pt x="4278783" y="2473831"/>
                    <a:pt x="4258093" y="2494518"/>
                    <a:pt x="4258093" y="2518166"/>
                  </a:cubicBezTo>
                  <a:close/>
                  <a:moveTo>
                    <a:pt x="4255139" y="2787127"/>
                  </a:moveTo>
                  <a:cubicBezTo>
                    <a:pt x="4258093" y="2804858"/>
                    <a:pt x="4272872" y="2819637"/>
                    <a:pt x="4287649" y="2819637"/>
                  </a:cubicBezTo>
                  <a:cubicBezTo>
                    <a:pt x="4305382" y="2819637"/>
                    <a:pt x="4320162" y="2804858"/>
                    <a:pt x="4320162" y="2787127"/>
                  </a:cubicBezTo>
                  <a:cubicBezTo>
                    <a:pt x="4320162" y="2769394"/>
                    <a:pt x="4305382" y="2754614"/>
                    <a:pt x="4287649" y="2754614"/>
                  </a:cubicBezTo>
                  <a:cubicBezTo>
                    <a:pt x="4269918" y="2754614"/>
                    <a:pt x="4255139" y="2769394"/>
                    <a:pt x="4255139" y="2787127"/>
                  </a:cubicBezTo>
                  <a:close/>
                  <a:moveTo>
                    <a:pt x="4237405" y="3310266"/>
                  </a:moveTo>
                  <a:cubicBezTo>
                    <a:pt x="4237405" y="3316794"/>
                    <a:pt x="4242699" y="3322088"/>
                    <a:pt x="4249227" y="3322088"/>
                  </a:cubicBezTo>
                  <a:cubicBezTo>
                    <a:pt x="4255756" y="3322088"/>
                    <a:pt x="4261050" y="3316794"/>
                    <a:pt x="4261050" y="3310266"/>
                  </a:cubicBezTo>
                  <a:cubicBezTo>
                    <a:pt x="4261050" y="3303737"/>
                    <a:pt x="4255756" y="3298443"/>
                    <a:pt x="4249227" y="3298443"/>
                  </a:cubicBezTo>
                  <a:cubicBezTo>
                    <a:pt x="4242699" y="3298443"/>
                    <a:pt x="4237405" y="3303737"/>
                    <a:pt x="4237405" y="3310266"/>
                  </a:cubicBezTo>
                  <a:close/>
                  <a:moveTo>
                    <a:pt x="4169425" y="1797004"/>
                  </a:moveTo>
                  <a:cubicBezTo>
                    <a:pt x="4169425" y="1799958"/>
                    <a:pt x="4172382" y="1805870"/>
                    <a:pt x="4178293" y="1805870"/>
                  </a:cubicBezTo>
                  <a:cubicBezTo>
                    <a:pt x="4184204" y="1805870"/>
                    <a:pt x="4187158" y="1799958"/>
                    <a:pt x="4187158" y="1797004"/>
                  </a:cubicBezTo>
                  <a:cubicBezTo>
                    <a:pt x="4187158" y="1791093"/>
                    <a:pt x="4181247" y="1788136"/>
                    <a:pt x="4178293" y="1788136"/>
                  </a:cubicBezTo>
                  <a:cubicBezTo>
                    <a:pt x="4172382" y="1788136"/>
                    <a:pt x="4169425" y="1794047"/>
                    <a:pt x="4169425" y="1797004"/>
                  </a:cubicBezTo>
                  <a:close/>
                  <a:moveTo>
                    <a:pt x="4160560" y="2083696"/>
                  </a:moveTo>
                  <a:cubicBezTo>
                    <a:pt x="4160560" y="2095121"/>
                    <a:pt x="4169822" y="2104383"/>
                    <a:pt x="4181250" y="2104383"/>
                  </a:cubicBezTo>
                  <a:cubicBezTo>
                    <a:pt x="4192675" y="2104383"/>
                    <a:pt x="4201938" y="2095121"/>
                    <a:pt x="4201938" y="2083696"/>
                  </a:cubicBezTo>
                  <a:cubicBezTo>
                    <a:pt x="4201938" y="2072267"/>
                    <a:pt x="4192675" y="2063005"/>
                    <a:pt x="4181250" y="2063005"/>
                  </a:cubicBezTo>
                  <a:cubicBezTo>
                    <a:pt x="4169822" y="2063005"/>
                    <a:pt x="4160560" y="2072267"/>
                    <a:pt x="4160560" y="2083696"/>
                  </a:cubicBezTo>
                  <a:close/>
                  <a:moveTo>
                    <a:pt x="4145780" y="2361518"/>
                  </a:moveTo>
                  <a:cubicBezTo>
                    <a:pt x="4142826" y="2379252"/>
                    <a:pt x="4157602" y="2394031"/>
                    <a:pt x="4178293" y="2394031"/>
                  </a:cubicBezTo>
                  <a:cubicBezTo>
                    <a:pt x="4196027" y="2394031"/>
                    <a:pt x="4210803" y="2379252"/>
                    <a:pt x="4210803" y="2361518"/>
                  </a:cubicBezTo>
                  <a:cubicBezTo>
                    <a:pt x="4210803" y="2343788"/>
                    <a:pt x="4196027" y="2329008"/>
                    <a:pt x="4178293" y="2329008"/>
                  </a:cubicBezTo>
                  <a:cubicBezTo>
                    <a:pt x="4160560" y="2329008"/>
                    <a:pt x="4145780" y="2343788"/>
                    <a:pt x="4145780" y="2361518"/>
                  </a:cubicBezTo>
                  <a:close/>
                  <a:moveTo>
                    <a:pt x="4125089" y="2630479"/>
                  </a:moveTo>
                  <a:cubicBezTo>
                    <a:pt x="4128046" y="2654124"/>
                    <a:pt x="4142823" y="2668900"/>
                    <a:pt x="4163514" y="2668900"/>
                  </a:cubicBezTo>
                  <a:cubicBezTo>
                    <a:pt x="4184201" y="2668900"/>
                    <a:pt x="4201935" y="2651166"/>
                    <a:pt x="4201935" y="2630479"/>
                  </a:cubicBezTo>
                  <a:cubicBezTo>
                    <a:pt x="4201935" y="2609788"/>
                    <a:pt x="4184201" y="2592054"/>
                    <a:pt x="4163514" y="2592054"/>
                  </a:cubicBezTo>
                  <a:cubicBezTo>
                    <a:pt x="4142823" y="2592054"/>
                    <a:pt x="4125089" y="2609788"/>
                    <a:pt x="4125089" y="2630479"/>
                  </a:cubicBezTo>
                  <a:close/>
                  <a:moveTo>
                    <a:pt x="4101448" y="2896486"/>
                  </a:moveTo>
                  <a:cubicBezTo>
                    <a:pt x="4101448" y="2923084"/>
                    <a:pt x="4122135" y="2940818"/>
                    <a:pt x="4145783" y="2940818"/>
                  </a:cubicBezTo>
                  <a:cubicBezTo>
                    <a:pt x="4169425" y="2940818"/>
                    <a:pt x="4190115" y="2920130"/>
                    <a:pt x="4190115" y="2896486"/>
                  </a:cubicBezTo>
                  <a:cubicBezTo>
                    <a:pt x="4190115" y="2872838"/>
                    <a:pt x="4169425" y="2852150"/>
                    <a:pt x="4145783" y="2852150"/>
                  </a:cubicBezTo>
                  <a:cubicBezTo>
                    <a:pt x="4122135" y="2852150"/>
                    <a:pt x="4101448" y="2872838"/>
                    <a:pt x="4101448" y="2896486"/>
                  </a:cubicBezTo>
                  <a:close/>
                  <a:moveTo>
                    <a:pt x="4098490" y="3153618"/>
                  </a:moveTo>
                  <a:cubicBezTo>
                    <a:pt x="4098490" y="3168397"/>
                    <a:pt x="4110313" y="3180220"/>
                    <a:pt x="4125089" y="3180220"/>
                  </a:cubicBezTo>
                  <a:cubicBezTo>
                    <a:pt x="4139869" y="3180220"/>
                    <a:pt x="4151691" y="3168397"/>
                    <a:pt x="4151691" y="3153618"/>
                  </a:cubicBezTo>
                  <a:cubicBezTo>
                    <a:pt x="4151691" y="3138841"/>
                    <a:pt x="4139869" y="3127018"/>
                    <a:pt x="4125089" y="3127018"/>
                  </a:cubicBezTo>
                  <a:cubicBezTo>
                    <a:pt x="4110313" y="3127018"/>
                    <a:pt x="4098490" y="3138841"/>
                    <a:pt x="4098490" y="3153618"/>
                  </a:cubicBezTo>
                  <a:close/>
                  <a:moveTo>
                    <a:pt x="4086668" y="3407798"/>
                  </a:moveTo>
                  <a:cubicBezTo>
                    <a:pt x="4086668" y="3413710"/>
                    <a:pt x="4089622" y="3419621"/>
                    <a:pt x="4098490" y="3419621"/>
                  </a:cubicBezTo>
                  <a:cubicBezTo>
                    <a:pt x="4104402" y="3419621"/>
                    <a:pt x="4110313" y="3413710"/>
                    <a:pt x="4110313" y="3407798"/>
                  </a:cubicBezTo>
                  <a:cubicBezTo>
                    <a:pt x="4110313" y="3401888"/>
                    <a:pt x="4104402" y="3395976"/>
                    <a:pt x="4098490" y="3395976"/>
                  </a:cubicBezTo>
                  <a:cubicBezTo>
                    <a:pt x="4092579" y="3395976"/>
                    <a:pt x="4086668" y="3401888"/>
                    <a:pt x="4086668" y="3407798"/>
                  </a:cubicBezTo>
                  <a:close/>
                  <a:moveTo>
                    <a:pt x="4048247" y="1927048"/>
                  </a:moveTo>
                  <a:cubicBezTo>
                    <a:pt x="4048247" y="1932959"/>
                    <a:pt x="4051201" y="1935913"/>
                    <a:pt x="4057115" y="1935913"/>
                  </a:cubicBezTo>
                  <a:cubicBezTo>
                    <a:pt x="4063026" y="1935913"/>
                    <a:pt x="4065980" y="1930002"/>
                    <a:pt x="4065980" y="1927048"/>
                  </a:cubicBezTo>
                  <a:cubicBezTo>
                    <a:pt x="4065980" y="1921136"/>
                    <a:pt x="4060069" y="1918179"/>
                    <a:pt x="4057115" y="1918179"/>
                  </a:cubicBezTo>
                  <a:cubicBezTo>
                    <a:pt x="4051201" y="1918179"/>
                    <a:pt x="4048247" y="1924090"/>
                    <a:pt x="4048247" y="1927048"/>
                  </a:cubicBezTo>
                  <a:close/>
                  <a:moveTo>
                    <a:pt x="4048247" y="1637399"/>
                  </a:moveTo>
                  <a:cubicBezTo>
                    <a:pt x="4048247" y="1640356"/>
                    <a:pt x="4051201" y="1640356"/>
                    <a:pt x="4051201" y="1640356"/>
                  </a:cubicBezTo>
                  <a:cubicBezTo>
                    <a:pt x="4054158" y="1640356"/>
                    <a:pt x="4054158" y="1637399"/>
                    <a:pt x="4054158" y="1637399"/>
                  </a:cubicBezTo>
                  <a:cubicBezTo>
                    <a:pt x="4054158" y="1634445"/>
                    <a:pt x="4051201" y="1634445"/>
                    <a:pt x="4051201" y="1634445"/>
                  </a:cubicBezTo>
                  <a:cubicBezTo>
                    <a:pt x="4048247" y="1634445"/>
                    <a:pt x="4048247" y="1637399"/>
                    <a:pt x="4048247" y="1637399"/>
                  </a:cubicBezTo>
                  <a:close/>
                  <a:moveTo>
                    <a:pt x="4036421" y="2204873"/>
                  </a:moveTo>
                  <a:cubicBezTo>
                    <a:pt x="4036421" y="2213738"/>
                    <a:pt x="4042333" y="2222607"/>
                    <a:pt x="4054155" y="2222607"/>
                  </a:cubicBezTo>
                  <a:cubicBezTo>
                    <a:pt x="4063023" y="2222607"/>
                    <a:pt x="4071889" y="2216696"/>
                    <a:pt x="4071889" y="2204873"/>
                  </a:cubicBezTo>
                  <a:cubicBezTo>
                    <a:pt x="4071889" y="2196008"/>
                    <a:pt x="4063023" y="2187140"/>
                    <a:pt x="4054155" y="2187140"/>
                  </a:cubicBezTo>
                  <a:cubicBezTo>
                    <a:pt x="4045290" y="2187140"/>
                    <a:pt x="4036421" y="2196008"/>
                    <a:pt x="4036421" y="2204873"/>
                  </a:cubicBezTo>
                  <a:close/>
                  <a:moveTo>
                    <a:pt x="4030510" y="1335928"/>
                  </a:moveTo>
                  <a:cubicBezTo>
                    <a:pt x="4030510" y="1338886"/>
                    <a:pt x="4033467" y="1338886"/>
                    <a:pt x="4033467" y="1338886"/>
                  </a:cubicBezTo>
                  <a:cubicBezTo>
                    <a:pt x="4036421" y="1338886"/>
                    <a:pt x="4036421" y="1335928"/>
                    <a:pt x="4036421" y="1335928"/>
                  </a:cubicBezTo>
                  <a:cubicBezTo>
                    <a:pt x="4036421" y="1332974"/>
                    <a:pt x="4033467" y="1332974"/>
                    <a:pt x="4033467" y="1332974"/>
                  </a:cubicBezTo>
                  <a:cubicBezTo>
                    <a:pt x="4033467" y="1332974"/>
                    <a:pt x="4030510" y="1335928"/>
                    <a:pt x="4030510" y="1335928"/>
                  </a:cubicBezTo>
                  <a:close/>
                  <a:moveTo>
                    <a:pt x="3995046" y="2476791"/>
                  </a:moveTo>
                  <a:cubicBezTo>
                    <a:pt x="3995046" y="2500436"/>
                    <a:pt x="4015734" y="2521124"/>
                    <a:pt x="4039382" y="2521124"/>
                  </a:cubicBezTo>
                  <a:cubicBezTo>
                    <a:pt x="4063026" y="2521124"/>
                    <a:pt x="4083714" y="2500436"/>
                    <a:pt x="4083714" y="2476791"/>
                  </a:cubicBezTo>
                  <a:cubicBezTo>
                    <a:pt x="4083714" y="2453143"/>
                    <a:pt x="4063026" y="2432456"/>
                    <a:pt x="4039382" y="2432456"/>
                  </a:cubicBezTo>
                  <a:cubicBezTo>
                    <a:pt x="4015734" y="2432456"/>
                    <a:pt x="3995046" y="2453143"/>
                    <a:pt x="3995046" y="2476791"/>
                  </a:cubicBezTo>
                  <a:close/>
                  <a:moveTo>
                    <a:pt x="3968444" y="2742792"/>
                  </a:moveTo>
                  <a:cubicBezTo>
                    <a:pt x="3968444" y="2772348"/>
                    <a:pt x="3992089" y="2795992"/>
                    <a:pt x="4021645" y="2795992"/>
                  </a:cubicBezTo>
                  <a:cubicBezTo>
                    <a:pt x="4051201" y="2795992"/>
                    <a:pt x="4074846" y="2772348"/>
                    <a:pt x="4074846" y="2742792"/>
                  </a:cubicBezTo>
                  <a:cubicBezTo>
                    <a:pt x="4074846" y="2713236"/>
                    <a:pt x="4051201" y="2689591"/>
                    <a:pt x="4021645" y="2689591"/>
                  </a:cubicBezTo>
                  <a:cubicBezTo>
                    <a:pt x="3992089" y="2689591"/>
                    <a:pt x="3968444" y="2713236"/>
                    <a:pt x="3968444" y="2742792"/>
                  </a:cubicBezTo>
                  <a:close/>
                  <a:moveTo>
                    <a:pt x="3953668" y="2999930"/>
                  </a:moveTo>
                  <a:cubicBezTo>
                    <a:pt x="3953668" y="3023574"/>
                    <a:pt x="3974356" y="3044262"/>
                    <a:pt x="3998003" y="3044262"/>
                  </a:cubicBezTo>
                  <a:cubicBezTo>
                    <a:pt x="4024602" y="3044262"/>
                    <a:pt x="4042336" y="3023574"/>
                    <a:pt x="4042336" y="2999930"/>
                  </a:cubicBezTo>
                  <a:cubicBezTo>
                    <a:pt x="4042336" y="2976282"/>
                    <a:pt x="4021645" y="2955594"/>
                    <a:pt x="3998003" y="2955594"/>
                  </a:cubicBezTo>
                  <a:cubicBezTo>
                    <a:pt x="3971401" y="2955594"/>
                    <a:pt x="3953668" y="2976282"/>
                    <a:pt x="3953668" y="2999930"/>
                  </a:cubicBezTo>
                  <a:close/>
                  <a:moveTo>
                    <a:pt x="3932977" y="3248196"/>
                  </a:moveTo>
                  <a:cubicBezTo>
                    <a:pt x="3935934" y="3271842"/>
                    <a:pt x="3950711" y="3286621"/>
                    <a:pt x="3971401" y="3286621"/>
                  </a:cubicBezTo>
                  <a:cubicBezTo>
                    <a:pt x="3992089" y="3286621"/>
                    <a:pt x="4009823" y="3268888"/>
                    <a:pt x="4009823" y="3248196"/>
                  </a:cubicBezTo>
                  <a:cubicBezTo>
                    <a:pt x="4009823" y="3227509"/>
                    <a:pt x="3992089" y="3209776"/>
                    <a:pt x="3971401" y="3209776"/>
                  </a:cubicBezTo>
                  <a:cubicBezTo>
                    <a:pt x="3950711" y="3209776"/>
                    <a:pt x="3932977" y="3227509"/>
                    <a:pt x="3932977" y="3248196"/>
                  </a:cubicBezTo>
                  <a:close/>
                  <a:moveTo>
                    <a:pt x="3930023" y="3496466"/>
                  </a:moveTo>
                  <a:cubicBezTo>
                    <a:pt x="3932977" y="3502378"/>
                    <a:pt x="3935934" y="3508289"/>
                    <a:pt x="3941846" y="3508289"/>
                  </a:cubicBezTo>
                  <a:cubicBezTo>
                    <a:pt x="3947757" y="3508289"/>
                    <a:pt x="3953668" y="3502378"/>
                    <a:pt x="3953668" y="3496466"/>
                  </a:cubicBezTo>
                  <a:cubicBezTo>
                    <a:pt x="3953668" y="3490556"/>
                    <a:pt x="3947757" y="3484644"/>
                    <a:pt x="3941846" y="3484644"/>
                  </a:cubicBezTo>
                  <a:cubicBezTo>
                    <a:pt x="3935934" y="3484644"/>
                    <a:pt x="3930023" y="3490556"/>
                    <a:pt x="3930023" y="3496466"/>
                  </a:cubicBezTo>
                  <a:close/>
                  <a:moveTo>
                    <a:pt x="3924112" y="1767448"/>
                  </a:moveTo>
                  <a:cubicBezTo>
                    <a:pt x="3924112" y="1773360"/>
                    <a:pt x="3927066" y="1776314"/>
                    <a:pt x="3932977" y="1776314"/>
                  </a:cubicBezTo>
                  <a:cubicBezTo>
                    <a:pt x="3938891" y="1776314"/>
                    <a:pt x="3941846" y="1773360"/>
                    <a:pt x="3941846" y="1767448"/>
                  </a:cubicBezTo>
                  <a:cubicBezTo>
                    <a:pt x="3941846" y="1761537"/>
                    <a:pt x="3938891" y="1758580"/>
                    <a:pt x="3932977" y="1758580"/>
                  </a:cubicBezTo>
                  <a:cubicBezTo>
                    <a:pt x="3927066" y="1758580"/>
                    <a:pt x="3924112" y="1761537"/>
                    <a:pt x="3924112" y="1767448"/>
                  </a:cubicBezTo>
                  <a:close/>
                  <a:moveTo>
                    <a:pt x="3921155" y="1477797"/>
                  </a:moveTo>
                  <a:cubicBezTo>
                    <a:pt x="3921155" y="1480751"/>
                    <a:pt x="3924112" y="1480751"/>
                    <a:pt x="3924112" y="1480751"/>
                  </a:cubicBezTo>
                  <a:cubicBezTo>
                    <a:pt x="3927066" y="1480751"/>
                    <a:pt x="3927066" y="1477797"/>
                    <a:pt x="3927066" y="1477797"/>
                  </a:cubicBezTo>
                  <a:cubicBezTo>
                    <a:pt x="3927066" y="1474840"/>
                    <a:pt x="3924112" y="1474840"/>
                    <a:pt x="3924112" y="1474840"/>
                  </a:cubicBezTo>
                  <a:cubicBezTo>
                    <a:pt x="3921155" y="1474840"/>
                    <a:pt x="3921155" y="1477797"/>
                    <a:pt x="3921155" y="1477797"/>
                  </a:cubicBezTo>
                  <a:close/>
                  <a:moveTo>
                    <a:pt x="3909332" y="2048225"/>
                  </a:moveTo>
                  <a:cubicBezTo>
                    <a:pt x="3912286" y="2060048"/>
                    <a:pt x="3918198" y="2065959"/>
                    <a:pt x="3927066" y="2065959"/>
                  </a:cubicBezTo>
                  <a:cubicBezTo>
                    <a:pt x="3935931" y="2065959"/>
                    <a:pt x="3944800" y="2057094"/>
                    <a:pt x="3944800" y="2048225"/>
                  </a:cubicBezTo>
                  <a:cubicBezTo>
                    <a:pt x="3944800" y="2039360"/>
                    <a:pt x="3935931" y="2030492"/>
                    <a:pt x="3927066" y="2030492"/>
                  </a:cubicBezTo>
                  <a:cubicBezTo>
                    <a:pt x="3918198" y="2030492"/>
                    <a:pt x="3909332" y="2039360"/>
                    <a:pt x="3909332" y="2048225"/>
                  </a:cubicBezTo>
                  <a:close/>
                  <a:moveTo>
                    <a:pt x="3882731" y="2323100"/>
                  </a:moveTo>
                  <a:cubicBezTo>
                    <a:pt x="3882731" y="2340831"/>
                    <a:pt x="3897510" y="2355610"/>
                    <a:pt x="3915244" y="2355610"/>
                  </a:cubicBezTo>
                  <a:cubicBezTo>
                    <a:pt x="3932974" y="2355610"/>
                    <a:pt x="3947754" y="2340831"/>
                    <a:pt x="3947754" y="2323100"/>
                  </a:cubicBezTo>
                  <a:cubicBezTo>
                    <a:pt x="3947754" y="2305367"/>
                    <a:pt x="3932974" y="2290587"/>
                    <a:pt x="3915244" y="2290587"/>
                  </a:cubicBezTo>
                  <a:cubicBezTo>
                    <a:pt x="3897510" y="2290587"/>
                    <a:pt x="3882731" y="2305367"/>
                    <a:pt x="3882731" y="2323100"/>
                  </a:cubicBezTo>
                  <a:close/>
                  <a:moveTo>
                    <a:pt x="3853175" y="2583190"/>
                  </a:moveTo>
                  <a:cubicBezTo>
                    <a:pt x="3853175" y="2609788"/>
                    <a:pt x="3873862" y="2627522"/>
                    <a:pt x="3897510" y="2627522"/>
                  </a:cubicBezTo>
                  <a:cubicBezTo>
                    <a:pt x="3921155" y="2627522"/>
                    <a:pt x="3941842" y="2606834"/>
                    <a:pt x="3941842" y="2583190"/>
                  </a:cubicBezTo>
                  <a:cubicBezTo>
                    <a:pt x="3941842" y="2559544"/>
                    <a:pt x="3921155" y="2538854"/>
                    <a:pt x="3897510" y="2538854"/>
                  </a:cubicBezTo>
                  <a:cubicBezTo>
                    <a:pt x="3873862" y="2538854"/>
                    <a:pt x="3853175" y="2559544"/>
                    <a:pt x="3853175" y="2583190"/>
                  </a:cubicBezTo>
                  <a:close/>
                  <a:moveTo>
                    <a:pt x="3829530" y="2843282"/>
                  </a:moveTo>
                  <a:cubicBezTo>
                    <a:pt x="3829530" y="2866926"/>
                    <a:pt x="3850221" y="2887614"/>
                    <a:pt x="3873865" y="2887614"/>
                  </a:cubicBezTo>
                  <a:cubicBezTo>
                    <a:pt x="3900464" y="2887614"/>
                    <a:pt x="3918198" y="2866926"/>
                    <a:pt x="3918198" y="2843282"/>
                  </a:cubicBezTo>
                  <a:cubicBezTo>
                    <a:pt x="3918198" y="2816680"/>
                    <a:pt x="3897510" y="2798946"/>
                    <a:pt x="3873865" y="2798946"/>
                  </a:cubicBezTo>
                  <a:cubicBezTo>
                    <a:pt x="3847263" y="2798946"/>
                    <a:pt x="3829530" y="2819634"/>
                    <a:pt x="3829530" y="2843282"/>
                  </a:cubicBezTo>
                  <a:close/>
                  <a:moveTo>
                    <a:pt x="3805888" y="3094509"/>
                  </a:moveTo>
                  <a:cubicBezTo>
                    <a:pt x="3805888" y="3115196"/>
                    <a:pt x="3823622" y="3135887"/>
                    <a:pt x="3847267" y="3135887"/>
                  </a:cubicBezTo>
                  <a:cubicBezTo>
                    <a:pt x="3870911" y="3135887"/>
                    <a:pt x="3888645" y="3118154"/>
                    <a:pt x="3888645" y="3094509"/>
                  </a:cubicBezTo>
                  <a:cubicBezTo>
                    <a:pt x="3888645" y="3070864"/>
                    <a:pt x="3870911" y="3053130"/>
                    <a:pt x="3847267" y="3053130"/>
                  </a:cubicBezTo>
                  <a:cubicBezTo>
                    <a:pt x="3823622" y="3053130"/>
                    <a:pt x="3805888" y="3070864"/>
                    <a:pt x="3805888" y="3094509"/>
                  </a:cubicBezTo>
                  <a:close/>
                  <a:moveTo>
                    <a:pt x="3799974" y="1610800"/>
                  </a:moveTo>
                  <a:cubicBezTo>
                    <a:pt x="3802931" y="1613758"/>
                    <a:pt x="3802931" y="1616712"/>
                    <a:pt x="3805885" y="1616712"/>
                  </a:cubicBezTo>
                  <a:cubicBezTo>
                    <a:pt x="3808842" y="1616712"/>
                    <a:pt x="3811796" y="1613758"/>
                    <a:pt x="3811796" y="1610800"/>
                  </a:cubicBezTo>
                  <a:cubicBezTo>
                    <a:pt x="3811796" y="1607843"/>
                    <a:pt x="3808842" y="1604889"/>
                    <a:pt x="3805885" y="1604889"/>
                  </a:cubicBezTo>
                  <a:cubicBezTo>
                    <a:pt x="3802931" y="1604889"/>
                    <a:pt x="3799974" y="1607843"/>
                    <a:pt x="3799974" y="1610800"/>
                  </a:cubicBezTo>
                  <a:close/>
                  <a:moveTo>
                    <a:pt x="3791109" y="1894534"/>
                  </a:moveTo>
                  <a:cubicBezTo>
                    <a:pt x="3791109" y="1900446"/>
                    <a:pt x="3797020" y="1906357"/>
                    <a:pt x="3802931" y="1906357"/>
                  </a:cubicBezTo>
                  <a:cubicBezTo>
                    <a:pt x="3808842" y="1906357"/>
                    <a:pt x="3814753" y="1900446"/>
                    <a:pt x="3814753" y="1894534"/>
                  </a:cubicBezTo>
                  <a:cubicBezTo>
                    <a:pt x="3814753" y="1888623"/>
                    <a:pt x="3808842" y="1882712"/>
                    <a:pt x="3802931" y="1882712"/>
                  </a:cubicBezTo>
                  <a:cubicBezTo>
                    <a:pt x="3797020" y="1882712"/>
                    <a:pt x="3791109" y="1888623"/>
                    <a:pt x="3791109" y="1894534"/>
                  </a:cubicBezTo>
                  <a:close/>
                  <a:moveTo>
                    <a:pt x="3782243" y="3336864"/>
                  </a:moveTo>
                  <a:cubicBezTo>
                    <a:pt x="3782243" y="3357555"/>
                    <a:pt x="3797023" y="3372332"/>
                    <a:pt x="3817711" y="3372332"/>
                  </a:cubicBezTo>
                  <a:cubicBezTo>
                    <a:pt x="3835444" y="3372332"/>
                    <a:pt x="3853178" y="3357555"/>
                    <a:pt x="3853178" y="3336864"/>
                  </a:cubicBezTo>
                  <a:cubicBezTo>
                    <a:pt x="3853178" y="3319131"/>
                    <a:pt x="3838398" y="3301397"/>
                    <a:pt x="3817711" y="3301397"/>
                  </a:cubicBezTo>
                  <a:cubicBezTo>
                    <a:pt x="3799977" y="3301397"/>
                    <a:pt x="3782243" y="3316177"/>
                    <a:pt x="3782243" y="3336864"/>
                  </a:cubicBezTo>
                  <a:close/>
                  <a:moveTo>
                    <a:pt x="3773375" y="2166449"/>
                  </a:moveTo>
                  <a:cubicBezTo>
                    <a:pt x="3773375" y="2175318"/>
                    <a:pt x="3782243" y="2184182"/>
                    <a:pt x="3791109" y="2184182"/>
                  </a:cubicBezTo>
                  <a:cubicBezTo>
                    <a:pt x="3799974" y="2184182"/>
                    <a:pt x="3808842" y="2175318"/>
                    <a:pt x="3808842" y="2166449"/>
                  </a:cubicBezTo>
                  <a:cubicBezTo>
                    <a:pt x="3808842" y="2157584"/>
                    <a:pt x="3799974" y="2148716"/>
                    <a:pt x="3791109" y="2148716"/>
                  </a:cubicBezTo>
                  <a:cubicBezTo>
                    <a:pt x="3782243" y="2148716"/>
                    <a:pt x="3773375" y="2157584"/>
                    <a:pt x="3773375" y="2166449"/>
                  </a:cubicBezTo>
                  <a:close/>
                  <a:moveTo>
                    <a:pt x="3755642" y="3579226"/>
                  </a:moveTo>
                  <a:cubicBezTo>
                    <a:pt x="3755642" y="3594006"/>
                    <a:pt x="3767464" y="3608782"/>
                    <a:pt x="3785197" y="3608782"/>
                  </a:cubicBezTo>
                  <a:cubicBezTo>
                    <a:pt x="3802931" y="3608782"/>
                    <a:pt x="3814753" y="3594006"/>
                    <a:pt x="3814753" y="3579226"/>
                  </a:cubicBezTo>
                  <a:cubicBezTo>
                    <a:pt x="3814753" y="3564450"/>
                    <a:pt x="3799977" y="3549670"/>
                    <a:pt x="3785197" y="3549670"/>
                  </a:cubicBezTo>
                  <a:cubicBezTo>
                    <a:pt x="3767464" y="3549670"/>
                    <a:pt x="3755642" y="3564450"/>
                    <a:pt x="3755642" y="3579226"/>
                  </a:cubicBezTo>
                  <a:close/>
                  <a:moveTo>
                    <a:pt x="3740862" y="2429498"/>
                  </a:moveTo>
                  <a:cubicBezTo>
                    <a:pt x="3740862" y="2447232"/>
                    <a:pt x="3755642" y="2462012"/>
                    <a:pt x="3773375" y="2462012"/>
                  </a:cubicBezTo>
                  <a:cubicBezTo>
                    <a:pt x="3791109" y="2462012"/>
                    <a:pt x="3805885" y="2447232"/>
                    <a:pt x="3805885" y="2429498"/>
                  </a:cubicBezTo>
                  <a:cubicBezTo>
                    <a:pt x="3805885" y="2411768"/>
                    <a:pt x="3791109" y="2396988"/>
                    <a:pt x="3773375" y="2396988"/>
                  </a:cubicBezTo>
                  <a:cubicBezTo>
                    <a:pt x="3755642" y="2396988"/>
                    <a:pt x="3740862" y="2411768"/>
                    <a:pt x="3740862" y="2429498"/>
                  </a:cubicBezTo>
                  <a:close/>
                  <a:moveTo>
                    <a:pt x="3702441" y="2686636"/>
                  </a:moveTo>
                  <a:cubicBezTo>
                    <a:pt x="3699484" y="2713238"/>
                    <a:pt x="3723128" y="2733926"/>
                    <a:pt x="3749730" y="2733926"/>
                  </a:cubicBezTo>
                  <a:cubicBezTo>
                    <a:pt x="3776329" y="2733926"/>
                    <a:pt x="3797020" y="2713238"/>
                    <a:pt x="3797020" y="2686636"/>
                  </a:cubicBezTo>
                  <a:cubicBezTo>
                    <a:pt x="3797020" y="2660035"/>
                    <a:pt x="3776329" y="2639347"/>
                    <a:pt x="3749730" y="2639347"/>
                  </a:cubicBezTo>
                  <a:cubicBezTo>
                    <a:pt x="3723128" y="2639347"/>
                    <a:pt x="3702441" y="2660035"/>
                    <a:pt x="3702441" y="2686636"/>
                  </a:cubicBezTo>
                  <a:close/>
                  <a:moveTo>
                    <a:pt x="3675839" y="1737890"/>
                  </a:moveTo>
                  <a:cubicBezTo>
                    <a:pt x="3675839" y="1740844"/>
                    <a:pt x="3675839" y="1740844"/>
                    <a:pt x="3678796" y="1740844"/>
                  </a:cubicBezTo>
                  <a:cubicBezTo>
                    <a:pt x="3681750" y="1740844"/>
                    <a:pt x="3681750" y="1737890"/>
                    <a:pt x="3681750" y="1737890"/>
                  </a:cubicBezTo>
                  <a:cubicBezTo>
                    <a:pt x="3681750" y="1734932"/>
                    <a:pt x="3678796" y="1734932"/>
                    <a:pt x="3678796" y="1734932"/>
                  </a:cubicBezTo>
                  <a:cubicBezTo>
                    <a:pt x="3675839" y="1734932"/>
                    <a:pt x="3675839" y="1737890"/>
                    <a:pt x="3675839" y="1737890"/>
                  </a:cubicBezTo>
                  <a:close/>
                  <a:moveTo>
                    <a:pt x="3675839" y="1454152"/>
                  </a:moveTo>
                  <a:cubicBezTo>
                    <a:pt x="3675839" y="1457110"/>
                    <a:pt x="3678796" y="1460064"/>
                    <a:pt x="3681750" y="1460064"/>
                  </a:cubicBezTo>
                  <a:cubicBezTo>
                    <a:pt x="3684707" y="1460064"/>
                    <a:pt x="3687661" y="1457110"/>
                    <a:pt x="3687661" y="1454152"/>
                  </a:cubicBezTo>
                  <a:cubicBezTo>
                    <a:pt x="3687661" y="1451198"/>
                    <a:pt x="3684707" y="1448241"/>
                    <a:pt x="3681750" y="1448241"/>
                  </a:cubicBezTo>
                  <a:cubicBezTo>
                    <a:pt x="3678796" y="1448241"/>
                    <a:pt x="3675839" y="1451198"/>
                    <a:pt x="3675839" y="1454152"/>
                  </a:cubicBezTo>
                  <a:close/>
                  <a:moveTo>
                    <a:pt x="3666974" y="2934906"/>
                  </a:moveTo>
                  <a:cubicBezTo>
                    <a:pt x="3666974" y="2964462"/>
                    <a:pt x="3693576" y="2988108"/>
                    <a:pt x="3720174" y="2988108"/>
                  </a:cubicBezTo>
                  <a:cubicBezTo>
                    <a:pt x="3749730" y="2988108"/>
                    <a:pt x="3773375" y="2964462"/>
                    <a:pt x="3773375" y="2934906"/>
                  </a:cubicBezTo>
                  <a:cubicBezTo>
                    <a:pt x="3773375" y="2905350"/>
                    <a:pt x="3749730" y="2881706"/>
                    <a:pt x="3720174" y="2881706"/>
                  </a:cubicBezTo>
                  <a:cubicBezTo>
                    <a:pt x="3690618" y="2881706"/>
                    <a:pt x="3666974" y="2905350"/>
                    <a:pt x="3666974" y="2934906"/>
                  </a:cubicBezTo>
                  <a:close/>
                  <a:moveTo>
                    <a:pt x="3658108" y="2009804"/>
                  </a:moveTo>
                  <a:cubicBezTo>
                    <a:pt x="3658108" y="2015715"/>
                    <a:pt x="3664020" y="2018669"/>
                    <a:pt x="3666974" y="2018669"/>
                  </a:cubicBezTo>
                  <a:cubicBezTo>
                    <a:pt x="3672888" y="2018669"/>
                    <a:pt x="3675842" y="2015715"/>
                    <a:pt x="3675842" y="2009804"/>
                  </a:cubicBezTo>
                  <a:cubicBezTo>
                    <a:pt x="3675842" y="2003893"/>
                    <a:pt x="3672888" y="2000936"/>
                    <a:pt x="3666974" y="2000936"/>
                  </a:cubicBezTo>
                  <a:cubicBezTo>
                    <a:pt x="3661063" y="2000936"/>
                    <a:pt x="3658108" y="2003893"/>
                    <a:pt x="3658108" y="2009804"/>
                  </a:cubicBezTo>
                  <a:close/>
                  <a:moveTo>
                    <a:pt x="3649240" y="3180220"/>
                  </a:moveTo>
                  <a:cubicBezTo>
                    <a:pt x="3649240" y="3203864"/>
                    <a:pt x="3666974" y="3221598"/>
                    <a:pt x="3690618" y="3221598"/>
                  </a:cubicBezTo>
                  <a:cubicBezTo>
                    <a:pt x="3714263" y="3221598"/>
                    <a:pt x="3731997" y="3203864"/>
                    <a:pt x="3731997" y="3180220"/>
                  </a:cubicBezTo>
                  <a:cubicBezTo>
                    <a:pt x="3731997" y="3156574"/>
                    <a:pt x="3714263" y="3138841"/>
                    <a:pt x="3690618" y="3138841"/>
                  </a:cubicBezTo>
                  <a:cubicBezTo>
                    <a:pt x="3666974" y="3138841"/>
                    <a:pt x="3649240" y="3156574"/>
                    <a:pt x="3649240" y="3180220"/>
                  </a:cubicBezTo>
                  <a:close/>
                  <a:moveTo>
                    <a:pt x="3622638" y="2269896"/>
                  </a:moveTo>
                  <a:cubicBezTo>
                    <a:pt x="3622638" y="2287630"/>
                    <a:pt x="3634461" y="2296495"/>
                    <a:pt x="3649240" y="2296495"/>
                  </a:cubicBezTo>
                  <a:cubicBezTo>
                    <a:pt x="3664017" y="2296495"/>
                    <a:pt x="3675839" y="2284673"/>
                    <a:pt x="3675839" y="2269896"/>
                  </a:cubicBezTo>
                  <a:cubicBezTo>
                    <a:pt x="3675839" y="2255117"/>
                    <a:pt x="3664017" y="2243294"/>
                    <a:pt x="3649240" y="2243294"/>
                  </a:cubicBezTo>
                  <a:cubicBezTo>
                    <a:pt x="3634461" y="2243294"/>
                    <a:pt x="3622638" y="2255117"/>
                    <a:pt x="3622638" y="2269896"/>
                  </a:cubicBezTo>
                  <a:close/>
                  <a:moveTo>
                    <a:pt x="3613773" y="3656072"/>
                  </a:moveTo>
                  <a:cubicBezTo>
                    <a:pt x="3610819" y="3661983"/>
                    <a:pt x="3616730" y="3664937"/>
                    <a:pt x="3622641" y="3664937"/>
                  </a:cubicBezTo>
                  <a:cubicBezTo>
                    <a:pt x="3628553" y="3664937"/>
                    <a:pt x="3631507" y="3659026"/>
                    <a:pt x="3631507" y="3656072"/>
                  </a:cubicBezTo>
                  <a:cubicBezTo>
                    <a:pt x="3631507" y="3650160"/>
                    <a:pt x="3625595" y="3647204"/>
                    <a:pt x="3622641" y="3647204"/>
                  </a:cubicBezTo>
                  <a:cubicBezTo>
                    <a:pt x="3619684" y="3647204"/>
                    <a:pt x="3613773" y="3653114"/>
                    <a:pt x="3613773" y="3656072"/>
                  </a:cubicBezTo>
                  <a:close/>
                  <a:moveTo>
                    <a:pt x="3610819" y="3419624"/>
                  </a:moveTo>
                  <a:cubicBezTo>
                    <a:pt x="3610819" y="3446226"/>
                    <a:pt x="3631507" y="3466914"/>
                    <a:pt x="3658108" y="3466914"/>
                  </a:cubicBezTo>
                  <a:cubicBezTo>
                    <a:pt x="3684710" y="3466914"/>
                    <a:pt x="3705398" y="3446226"/>
                    <a:pt x="3705398" y="3419624"/>
                  </a:cubicBezTo>
                  <a:cubicBezTo>
                    <a:pt x="3705398" y="3393022"/>
                    <a:pt x="3684710" y="3372334"/>
                    <a:pt x="3658108" y="3372334"/>
                  </a:cubicBezTo>
                  <a:cubicBezTo>
                    <a:pt x="3631507" y="3372334"/>
                    <a:pt x="3610819" y="3393022"/>
                    <a:pt x="3610819" y="3419624"/>
                  </a:cubicBezTo>
                  <a:close/>
                  <a:moveTo>
                    <a:pt x="3593082" y="2529992"/>
                  </a:moveTo>
                  <a:cubicBezTo>
                    <a:pt x="3590128" y="2547722"/>
                    <a:pt x="3604905" y="2562502"/>
                    <a:pt x="3625595" y="2562502"/>
                  </a:cubicBezTo>
                  <a:cubicBezTo>
                    <a:pt x="3643329" y="2562502"/>
                    <a:pt x="3658105" y="2547722"/>
                    <a:pt x="3658105" y="2529992"/>
                  </a:cubicBezTo>
                  <a:cubicBezTo>
                    <a:pt x="3658105" y="2512258"/>
                    <a:pt x="3643329" y="2497478"/>
                    <a:pt x="3625595" y="2497478"/>
                  </a:cubicBezTo>
                  <a:cubicBezTo>
                    <a:pt x="3607862" y="2497478"/>
                    <a:pt x="3593082" y="2512258"/>
                    <a:pt x="3593082" y="2529992"/>
                  </a:cubicBezTo>
                  <a:close/>
                  <a:moveTo>
                    <a:pt x="3551707" y="1297504"/>
                  </a:moveTo>
                  <a:cubicBezTo>
                    <a:pt x="3551707" y="1300462"/>
                    <a:pt x="3551707" y="1300462"/>
                    <a:pt x="3554664" y="1300462"/>
                  </a:cubicBezTo>
                  <a:cubicBezTo>
                    <a:pt x="3557618" y="1300462"/>
                    <a:pt x="3557618" y="1297504"/>
                    <a:pt x="3557618" y="1297504"/>
                  </a:cubicBezTo>
                  <a:cubicBezTo>
                    <a:pt x="3557618" y="1294550"/>
                    <a:pt x="3554664" y="1294550"/>
                    <a:pt x="3554664" y="1294550"/>
                  </a:cubicBezTo>
                  <a:cubicBezTo>
                    <a:pt x="3551707" y="1294550"/>
                    <a:pt x="3551707" y="1297504"/>
                    <a:pt x="3551707" y="1297504"/>
                  </a:cubicBezTo>
                  <a:close/>
                  <a:moveTo>
                    <a:pt x="3548750" y="1581244"/>
                  </a:moveTo>
                  <a:cubicBezTo>
                    <a:pt x="3548750" y="1584202"/>
                    <a:pt x="3551707" y="1587156"/>
                    <a:pt x="3554661" y="1587156"/>
                  </a:cubicBezTo>
                  <a:cubicBezTo>
                    <a:pt x="3557618" y="1587156"/>
                    <a:pt x="3560572" y="1584202"/>
                    <a:pt x="3560572" y="1581244"/>
                  </a:cubicBezTo>
                  <a:cubicBezTo>
                    <a:pt x="3560572" y="1578287"/>
                    <a:pt x="3557618" y="1575333"/>
                    <a:pt x="3554661" y="1575333"/>
                  </a:cubicBezTo>
                  <a:cubicBezTo>
                    <a:pt x="3551707" y="1575333"/>
                    <a:pt x="3548750" y="1578287"/>
                    <a:pt x="3548750" y="1581244"/>
                  </a:cubicBezTo>
                  <a:close/>
                  <a:moveTo>
                    <a:pt x="3545796" y="2775302"/>
                  </a:moveTo>
                  <a:cubicBezTo>
                    <a:pt x="3545796" y="2804858"/>
                    <a:pt x="3569441" y="2825548"/>
                    <a:pt x="3596039" y="2825548"/>
                  </a:cubicBezTo>
                  <a:cubicBezTo>
                    <a:pt x="3622641" y="2825548"/>
                    <a:pt x="3646286" y="2804858"/>
                    <a:pt x="3646286" y="2775302"/>
                  </a:cubicBezTo>
                  <a:cubicBezTo>
                    <a:pt x="3646286" y="2748702"/>
                    <a:pt x="3625595" y="2725058"/>
                    <a:pt x="3596039" y="2725058"/>
                  </a:cubicBezTo>
                  <a:cubicBezTo>
                    <a:pt x="3566483" y="2725058"/>
                    <a:pt x="3545796" y="2745746"/>
                    <a:pt x="3545796" y="2775302"/>
                  </a:cubicBezTo>
                  <a:close/>
                  <a:moveTo>
                    <a:pt x="3533970" y="1853159"/>
                  </a:moveTo>
                  <a:cubicBezTo>
                    <a:pt x="3533970" y="1859070"/>
                    <a:pt x="3539882" y="1862024"/>
                    <a:pt x="3542839" y="1862024"/>
                  </a:cubicBezTo>
                  <a:cubicBezTo>
                    <a:pt x="3548750" y="1862024"/>
                    <a:pt x="3551704" y="1859070"/>
                    <a:pt x="3551704" y="1853159"/>
                  </a:cubicBezTo>
                  <a:cubicBezTo>
                    <a:pt x="3551704" y="1847248"/>
                    <a:pt x="3548750" y="1844291"/>
                    <a:pt x="3542839" y="1844291"/>
                  </a:cubicBezTo>
                  <a:cubicBezTo>
                    <a:pt x="3536928" y="1844291"/>
                    <a:pt x="3533970" y="1847248"/>
                    <a:pt x="3533970" y="1853159"/>
                  </a:cubicBezTo>
                  <a:close/>
                  <a:moveTo>
                    <a:pt x="3510329" y="3020618"/>
                  </a:moveTo>
                  <a:cubicBezTo>
                    <a:pt x="3510329" y="3050174"/>
                    <a:pt x="3536928" y="3073818"/>
                    <a:pt x="3563529" y="3073818"/>
                  </a:cubicBezTo>
                  <a:cubicBezTo>
                    <a:pt x="3593085" y="3073818"/>
                    <a:pt x="3616730" y="3050174"/>
                    <a:pt x="3616730" y="3020618"/>
                  </a:cubicBezTo>
                  <a:cubicBezTo>
                    <a:pt x="3616730" y="2991062"/>
                    <a:pt x="3593085" y="2967416"/>
                    <a:pt x="3563529" y="2967416"/>
                  </a:cubicBezTo>
                  <a:cubicBezTo>
                    <a:pt x="3533974" y="2967416"/>
                    <a:pt x="3510329" y="2991062"/>
                    <a:pt x="3510329" y="3020618"/>
                  </a:cubicBezTo>
                  <a:close/>
                  <a:moveTo>
                    <a:pt x="3510329" y="2116208"/>
                  </a:moveTo>
                  <a:cubicBezTo>
                    <a:pt x="3510329" y="2125074"/>
                    <a:pt x="3516240" y="2130985"/>
                    <a:pt x="3525108" y="2130985"/>
                  </a:cubicBezTo>
                  <a:cubicBezTo>
                    <a:pt x="3533974" y="2130985"/>
                    <a:pt x="3539885" y="2125074"/>
                    <a:pt x="3539885" y="2116208"/>
                  </a:cubicBezTo>
                  <a:cubicBezTo>
                    <a:pt x="3539885" y="2107340"/>
                    <a:pt x="3533974" y="2101429"/>
                    <a:pt x="3525108" y="2101429"/>
                  </a:cubicBezTo>
                  <a:cubicBezTo>
                    <a:pt x="3516240" y="2101429"/>
                    <a:pt x="3510329" y="2107340"/>
                    <a:pt x="3510329" y="2116208"/>
                  </a:cubicBezTo>
                  <a:close/>
                  <a:moveTo>
                    <a:pt x="3483727" y="3260019"/>
                  </a:moveTo>
                  <a:cubicBezTo>
                    <a:pt x="3483727" y="3286621"/>
                    <a:pt x="3504414" y="3307308"/>
                    <a:pt x="3531016" y="3307308"/>
                  </a:cubicBezTo>
                  <a:cubicBezTo>
                    <a:pt x="3557618" y="3307308"/>
                    <a:pt x="3578306" y="3286621"/>
                    <a:pt x="3578306" y="3260019"/>
                  </a:cubicBezTo>
                  <a:cubicBezTo>
                    <a:pt x="3578306" y="3233417"/>
                    <a:pt x="3557618" y="3212730"/>
                    <a:pt x="3531016" y="3212730"/>
                  </a:cubicBezTo>
                  <a:cubicBezTo>
                    <a:pt x="3504414" y="3212730"/>
                    <a:pt x="3483727" y="3233417"/>
                    <a:pt x="3483727" y="3260019"/>
                  </a:cubicBezTo>
                  <a:close/>
                  <a:moveTo>
                    <a:pt x="3471904" y="2370386"/>
                  </a:moveTo>
                  <a:cubicBezTo>
                    <a:pt x="3471904" y="2385166"/>
                    <a:pt x="3486684" y="2396988"/>
                    <a:pt x="3498503" y="2396988"/>
                  </a:cubicBezTo>
                  <a:cubicBezTo>
                    <a:pt x="3513283" y="2396988"/>
                    <a:pt x="3525105" y="2385166"/>
                    <a:pt x="3525105" y="2370386"/>
                  </a:cubicBezTo>
                  <a:cubicBezTo>
                    <a:pt x="3525105" y="2355610"/>
                    <a:pt x="3513283" y="2343788"/>
                    <a:pt x="3498503" y="2343788"/>
                  </a:cubicBezTo>
                  <a:cubicBezTo>
                    <a:pt x="3483727" y="2343788"/>
                    <a:pt x="3471904" y="2355610"/>
                    <a:pt x="3471904" y="2370386"/>
                  </a:cubicBezTo>
                  <a:close/>
                  <a:moveTo>
                    <a:pt x="3454171" y="3493512"/>
                  </a:moveTo>
                  <a:cubicBezTo>
                    <a:pt x="3454171" y="3516366"/>
                    <a:pt x="3472696" y="3534890"/>
                    <a:pt x="3495549" y="3534890"/>
                  </a:cubicBezTo>
                  <a:cubicBezTo>
                    <a:pt x="3518403" y="3534890"/>
                    <a:pt x="3536928" y="3516366"/>
                    <a:pt x="3536928" y="3493512"/>
                  </a:cubicBezTo>
                  <a:cubicBezTo>
                    <a:pt x="3536928" y="3470659"/>
                    <a:pt x="3518403" y="3452134"/>
                    <a:pt x="3495549" y="3452134"/>
                  </a:cubicBezTo>
                  <a:cubicBezTo>
                    <a:pt x="3472696" y="3452134"/>
                    <a:pt x="3454171" y="3470659"/>
                    <a:pt x="3454171" y="3493512"/>
                  </a:cubicBezTo>
                  <a:close/>
                  <a:moveTo>
                    <a:pt x="3430526" y="2618660"/>
                  </a:moveTo>
                  <a:cubicBezTo>
                    <a:pt x="3433483" y="2639347"/>
                    <a:pt x="3448260" y="2657081"/>
                    <a:pt x="3468950" y="2657081"/>
                  </a:cubicBezTo>
                  <a:cubicBezTo>
                    <a:pt x="3489638" y="2657081"/>
                    <a:pt x="3507372" y="2639347"/>
                    <a:pt x="3507372" y="2618660"/>
                  </a:cubicBezTo>
                  <a:cubicBezTo>
                    <a:pt x="3507372" y="2597969"/>
                    <a:pt x="3489638" y="2580236"/>
                    <a:pt x="3468950" y="2580236"/>
                  </a:cubicBezTo>
                  <a:cubicBezTo>
                    <a:pt x="3448260" y="2580236"/>
                    <a:pt x="3430526" y="2597969"/>
                    <a:pt x="3430526" y="2618660"/>
                  </a:cubicBezTo>
                  <a:close/>
                  <a:moveTo>
                    <a:pt x="3424615" y="3724049"/>
                  </a:moveTo>
                  <a:cubicBezTo>
                    <a:pt x="3424615" y="3741782"/>
                    <a:pt x="3439394" y="3756559"/>
                    <a:pt x="3457128" y="3756559"/>
                  </a:cubicBezTo>
                  <a:cubicBezTo>
                    <a:pt x="3474859" y="3756559"/>
                    <a:pt x="3489638" y="3741782"/>
                    <a:pt x="3489638" y="3724049"/>
                  </a:cubicBezTo>
                  <a:cubicBezTo>
                    <a:pt x="3489638" y="3706315"/>
                    <a:pt x="3474859" y="3691536"/>
                    <a:pt x="3457128" y="3691536"/>
                  </a:cubicBezTo>
                  <a:cubicBezTo>
                    <a:pt x="3439394" y="3691536"/>
                    <a:pt x="3424615" y="3706315"/>
                    <a:pt x="3424615" y="3724049"/>
                  </a:cubicBezTo>
                  <a:close/>
                  <a:moveTo>
                    <a:pt x="3415747" y="1699468"/>
                  </a:moveTo>
                  <a:cubicBezTo>
                    <a:pt x="3415747" y="1699468"/>
                    <a:pt x="3415747" y="1702422"/>
                    <a:pt x="3418704" y="1702422"/>
                  </a:cubicBezTo>
                  <a:cubicBezTo>
                    <a:pt x="3421658" y="1702422"/>
                    <a:pt x="3421658" y="1699468"/>
                    <a:pt x="3421658" y="1699468"/>
                  </a:cubicBezTo>
                  <a:cubicBezTo>
                    <a:pt x="3421658" y="1696511"/>
                    <a:pt x="3418704" y="1696511"/>
                    <a:pt x="3418704" y="1696511"/>
                  </a:cubicBezTo>
                  <a:cubicBezTo>
                    <a:pt x="3415747" y="1696511"/>
                    <a:pt x="3415747" y="1699468"/>
                    <a:pt x="3415747" y="1699468"/>
                  </a:cubicBezTo>
                  <a:close/>
                  <a:moveTo>
                    <a:pt x="3389148" y="1962514"/>
                  </a:moveTo>
                  <a:cubicBezTo>
                    <a:pt x="3386191" y="1968426"/>
                    <a:pt x="3392102" y="1974337"/>
                    <a:pt x="3400970" y="1974337"/>
                  </a:cubicBezTo>
                  <a:cubicBezTo>
                    <a:pt x="3406881" y="1974337"/>
                    <a:pt x="3412793" y="1968426"/>
                    <a:pt x="3412793" y="1962514"/>
                  </a:cubicBezTo>
                  <a:cubicBezTo>
                    <a:pt x="3412793" y="1956604"/>
                    <a:pt x="3406881" y="1950692"/>
                    <a:pt x="3400970" y="1950692"/>
                  </a:cubicBezTo>
                  <a:cubicBezTo>
                    <a:pt x="3395059" y="1950692"/>
                    <a:pt x="3389148" y="1956604"/>
                    <a:pt x="3389148" y="1962514"/>
                  </a:cubicBezTo>
                  <a:close/>
                  <a:moveTo>
                    <a:pt x="3386191" y="2861016"/>
                  </a:moveTo>
                  <a:cubicBezTo>
                    <a:pt x="3386191" y="2890571"/>
                    <a:pt x="3409835" y="2914216"/>
                    <a:pt x="3439391" y="2914216"/>
                  </a:cubicBezTo>
                  <a:cubicBezTo>
                    <a:pt x="3468947" y="2914216"/>
                    <a:pt x="3492592" y="2890571"/>
                    <a:pt x="3492592" y="2861016"/>
                  </a:cubicBezTo>
                  <a:cubicBezTo>
                    <a:pt x="3492592" y="2831460"/>
                    <a:pt x="3468947" y="2807814"/>
                    <a:pt x="3439391" y="2807814"/>
                  </a:cubicBezTo>
                  <a:cubicBezTo>
                    <a:pt x="3409835" y="2807814"/>
                    <a:pt x="3386191" y="2831460"/>
                    <a:pt x="3386191" y="2861016"/>
                  </a:cubicBezTo>
                  <a:close/>
                  <a:moveTo>
                    <a:pt x="3353681" y="2213738"/>
                  </a:moveTo>
                  <a:cubicBezTo>
                    <a:pt x="3353681" y="2225167"/>
                    <a:pt x="3362943" y="2234429"/>
                    <a:pt x="3374371" y="2234429"/>
                  </a:cubicBezTo>
                  <a:cubicBezTo>
                    <a:pt x="3385797" y="2234429"/>
                    <a:pt x="3395059" y="2225167"/>
                    <a:pt x="3395059" y="2213738"/>
                  </a:cubicBezTo>
                  <a:cubicBezTo>
                    <a:pt x="3395059" y="2202313"/>
                    <a:pt x="3385797" y="2193051"/>
                    <a:pt x="3374371" y="2193051"/>
                  </a:cubicBezTo>
                  <a:cubicBezTo>
                    <a:pt x="3362943" y="2193051"/>
                    <a:pt x="3353681" y="2202313"/>
                    <a:pt x="3353681" y="2213738"/>
                  </a:cubicBezTo>
                  <a:close/>
                  <a:moveTo>
                    <a:pt x="3350724" y="3097463"/>
                  </a:moveTo>
                  <a:cubicBezTo>
                    <a:pt x="3350724" y="3127018"/>
                    <a:pt x="3374368" y="3150664"/>
                    <a:pt x="3403924" y="3150664"/>
                  </a:cubicBezTo>
                  <a:cubicBezTo>
                    <a:pt x="3433480" y="3150664"/>
                    <a:pt x="3457125" y="3127018"/>
                    <a:pt x="3457125" y="3097463"/>
                  </a:cubicBezTo>
                  <a:cubicBezTo>
                    <a:pt x="3457125" y="3067907"/>
                    <a:pt x="3433480" y="3044262"/>
                    <a:pt x="3403924" y="3044262"/>
                  </a:cubicBezTo>
                  <a:cubicBezTo>
                    <a:pt x="3374368" y="3044262"/>
                    <a:pt x="3350724" y="3067907"/>
                    <a:pt x="3350724" y="3097463"/>
                  </a:cubicBezTo>
                  <a:close/>
                  <a:moveTo>
                    <a:pt x="3318214" y="3330956"/>
                  </a:moveTo>
                  <a:cubicBezTo>
                    <a:pt x="3321168" y="3357558"/>
                    <a:pt x="3341858" y="3378246"/>
                    <a:pt x="3365503" y="3378246"/>
                  </a:cubicBezTo>
                  <a:cubicBezTo>
                    <a:pt x="3392105" y="3378246"/>
                    <a:pt x="3412793" y="3357558"/>
                    <a:pt x="3412793" y="3330956"/>
                  </a:cubicBezTo>
                  <a:cubicBezTo>
                    <a:pt x="3412793" y="3304354"/>
                    <a:pt x="3392105" y="3283667"/>
                    <a:pt x="3365503" y="3283667"/>
                  </a:cubicBezTo>
                  <a:cubicBezTo>
                    <a:pt x="3338901" y="3283667"/>
                    <a:pt x="3318214" y="3304354"/>
                    <a:pt x="3318214" y="3330956"/>
                  </a:cubicBezTo>
                  <a:close/>
                  <a:moveTo>
                    <a:pt x="3306391" y="2459054"/>
                  </a:moveTo>
                  <a:cubicBezTo>
                    <a:pt x="3306391" y="2482699"/>
                    <a:pt x="3324125" y="2497476"/>
                    <a:pt x="3344815" y="2497476"/>
                  </a:cubicBezTo>
                  <a:cubicBezTo>
                    <a:pt x="3365503" y="2497476"/>
                    <a:pt x="3383237" y="2479742"/>
                    <a:pt x="3383237" y="2459054"/>
                  </a:cubicBezTo>
                  <a:cubicBezTo>
                    <a:pt x="3383237" y="2438364"/>
                    <a:pt x="3365503" y="2420630"/>
                    <a:pt x="3344815" y="2420630"/>
                  </a:cubicBezTo>
                  <a:cubicBezTo>
                    <a:pt x="3324125" y="2420630"/>
                    <a:pt x="3306391" y="2438364"/>
                    <a:pt x="3306391" y="2459054"/>
                  </a:cubicBezTo>
                  <a:close/>
                  <a:moveTo>
                    <a:pt x="3279792" y="3561490"/>
                  </a:moveTo>
                  <a:cubicBezTo>
                    <a:pt x="3279792" y="3588092"/>
                    <a:pt x="3300480" y="3608779"/>
                    <a:pt x="3327082" y="3608779"/>
                  </a:cubicBezTo>
                  <a:cubicBezTo>
                    <a:pt x="3353684" y="3608779"/>
                    <a:pt x="3374371" y="3588092"/>
                    <a:pt x="3374371" y="3561490"/>
                  </a:cubicBezTo>
                  <a:cubicBezTo>
                    <a:pt x="3374371" y="3534890"/>
                    <a:pt x="3353684" y="3514200"/>
                    <a:pt x="3327082" y="3514200"/>
                  </a:cubicBezTo>
                  <a:cubicBezTo>
                    <a:pt x="3300480" y="3514200"/>
                    <a:pt x="3279792" y="3534890"/>
                    <a:pt x="3279792" y="3561490"/>
                  </a:cubicBezTo>
                  <a:close/>
                  <a:moveTo>
                    <a:pt x="3270924" y="1805870"/>
                  </a:moveTo>
                  <a:cubicBezTo>
                    <a:pt x="3270924" y="1805870"/>
                    <a:pt x="3273881" y="1808824"/>
                    <a:pt x="3273881" y="1808824"/>
                  </a:cubicBezTo>
                  <a:cubicBezTo>
                    <a:pt x="3276835" y="1808824"/>
                    <a:pt x="3276835" y="1805870"/>
                    <a:pt x="3276835" y="1805870"/>
                  </a:cubicBezTo>
                  <a:cubicBezTo>
                    <a:pt x="3276835" y="1802912"/>
                    <a:pt x="3273881" y="1802912"/>
                    <a:pt x="3273881" y="1802912"/>
                  </a:cubicBezTo>
                  <a:cubicBezTo>
                    <a:pt x="3270924" y="1802912"/>
                    <a:pt x="3270924" y="1805870"/>
                    <a:pt x="3270924" y="1805870"/>
                  </a:cubicBezTo>
                  <a:close/>
                  <a:moveTo>
                    <a:pt x="3265013" y="2701413"/>
                  </a:moveTo>
                  <a:cubicBezTo>
                    <a:pt x="3265013" y="2728015"/>
                    <a:pt x="3285700" y="2748702"/>
                    <a:pt x="3312302" y="2748702"/>
                  </a:cubicBezTo>
                  <a:cubicBezTo>
                    <a:pt x="3338904" y="2748702"/>
                    <a:pt x="3359592" y="2728015"/>
                    <a:pt x="3359592" y="2701413"/>
                  </a:cubicBezTo>
                  <a:cubicBezTo>
                    <a:pt x="3359592" y="2674812"/>
                    <a:pt x="3338904" y="2654124"/>
                    <a:pt x="3312302" y="2654124"/>
                  </a:cubicBezTo>
                  <a:cubicBezTo>
                    <a:pt x="3285700" y="2654124"/>
                    <a:pt x="3265013" y="2674812"/>
                    <a:pt x="3265013" y="2701413"/>
                  </a:cubicBezTo>
                  <a:close/>
                  <a:moveTo>
                    <a:pt x="3256148" y="3786118"/>
                  </a:moveTo>
                  <a:cubicBezTo>
                    <a:pt x="3259105" y="3803848"/>
                    <a:pt x="3270927" y="3818628"/>
                    <a:pt x="3288661" y="3818628"/>
                  </a:cubicBezTo>
                  <a:cubicBezTo>
                    <a:pt x="3306391" y="3818628"/>
                    <a:pt x="3321171" y="3803848"/>
                    <a:pt x="3321171" y="3786118"/>
                  </a:cubicBezTo>
                  <a:cubicBezTo>
                    <a:pt x="3321171" y="3768384"/>
                    <a:pt x="3306391" y="3753604"/>
                    <a:pt x="3288661" y="3753604"/>
                  </a:cubicBezTo>
                  <a:cubicBezTo>
                    <a:pt x="3270927" y="3753604"/>
                    <a:pt x="3256148" y="3768384"/>
                    <a:pt x="3256148" y="3786118"/>
                  </a:cubicBezTo>
                  <a:close/>
                  <a:moveTo>
                    <a:pt x="3244325" y="4010740"/>
                  </a:moveTo>
                  <a:cubicBezTo>
                    <a:pt x="3244325" y="4010740"/>
                    <a:pt x="3247279" y="4013697"/>
                    <a:pt x="3247279" y="4013697"/>
                  </a:cubicBezTo>
                  <a:cubicBezTo>
                    <a:pt x="3250236" y="4013697"/>
                    <a:pt x="3250236" y="4010740"/>
                    <a:pt x="3250236" y="4010740"/>
                  </a:cubicBezTo>
                  <a:cubicBezTo>
                    <a:pt x="3250236" y="4007786"/>
                    <a:pt x="3247279" y="4007786"/>
                    <a:pt x="3247279" y="4007786"/>
                  </a:cubicBezTo>
                  <a:cubicBezTo>
                    <a:pt x="3244325" y="4007786"/>
                    <a:pt x="3244325" y="4010740"/>
                    <a:pt x="3244325" y="4010740"/>
                  </a:cubicBezTo>
                  <a:close/>
                  <a:moveTo>
                    <a:pt x="3229549" y="2057094"/>
                  </a:moveTo>
                  <a:cubicBezTo>
                    <a:pt x="3226592" y="2068916"/>
                    <a:pt x="3235457" y="2077781"/>
                    <a:pt x="3250236" y="2077781"/>
                  </a:cubicBezTo>
                  <a:cubicBezTo>
                    <a:pt x="3262059" y="2077781"/>
                    <a:pt x="3270924" y="2068916"/>
                    <a:pt x="3270924" y="2057094"/>
                  </a:cubicBezTo>
                  <a:cubicBezTo>
                    <a:pt x="3270924" y="2045271"/>
                    <a:pt x="3262059" y="2036403"/>
                    <a:pt x="3250236" y="2036403"/>
                  </a:cubicBezTo>
                  <a:cubicBezTo>
                    <a:pt x="3238414" y="2036403"/>
                    <a:pt x="3229549" y="2045271"/>
                    <a:pt x="3229549" y="2057094"/>
                  </a:cubicBezTo>
                  <a:close/>
                  <a:moveTo>
                    <a:pt x="3223635" y="2934906"/>
                  </a:moveTo>
                  <a:cubicBezTo>
                    <a:pt x="3223635" y="2964462"/>
                    <a:pt x="3247279" y="2988108"/>
                    <a:pt x="3276835" y="2988108"/>
                  </a:cubicBezTo>
                  <a:cubicBezTo>
                    <a:pt x="3306391" y="2988108"/>
                    <a:pt x="3330036" y="2964462"/>
                    <a:pt x="3330036" y="2934906"/>
                  </a:cubicBezTo>
                  <a:cubicBezTo>
                    <a:pt x="3330036" y="2905350"/>
                    <a:pt x="3306391" y="2881706"/>
                    <a:pt x="3276835" y="2881706"/>
                  </a:cubicBezTo>
                  <a:cubicBezTo>
                    <a:pt x="3247279" y="2881706"/>
                    <a:pt x="3223635" y="2905350"/>
                    <a:pt x="3223635" y="2934906"/>
                  </a:cubicBezTo>
                  <a:close/>
                  <a:moveTo>
                    <a:pt x="3191125" y="2302406"/>
                  </a:moveTo>
                  <a:cubicBezTo>
                    <a:pt x="3191125" y="2317186"/>
                    <a:pt x="3202947" y="2329008"/>
                    <a:pt x="3217723" y="2329008"/>
                  </a:cubicBezTo>
                  <a:cubicBezTo>
                    <a:pt x="3232503" y="2329008"/>
                    <a:pt x="3244325" y="2317186"/>
                    <a:pt x="3244325" y="2302406"/>
                  </a:cubicBezTo>
                  <a:cubicBezTo>
                    <a:pt x="3244325" y="2287630"/>
                    <a:pt x="3232503" y="2275808"/>
                    <a:pt x="3217723" y="2275808"/>
                  </a:cubicBezTo>
                  <a:cubicBezTo>
                    <a:pt x="3202947" y="2275808"/>
                    <a:pt x="3191125" y="2287630"/>
                    <a:pt x="3191125" y="2302406"/>
                  </a:cubicBezTo>
                  <a:close/>
                  <a:moveTo>
                    <a:pt x="3182256" y="3168397"/>
                  </a:moveTo>
                  <a:cubicBezTo>
                    <a:pt x="3182256" y="3197953"/>
                    <a:pt x="3205901" y="3224555"/>
                    <a:pt x="3238411" y="3224555"/>
                  </a:cubicBezTo>
                  <a:cubicBezTo>
                    <a:pt x="3270924" y="3224555"/>
                    <a:pt x="3294569" y="3197953"/>
                    <a:pt x="3294569" y="3168397"/>
                  </a:cubicBezTo>
                  <a:cubicBezTo>
                    <a:pt x="3294569" y="3135887"/>
                    <a:pt x="3267967" y="3112242"/>
                    <a:pt x="3238411" y="3112242"/>
                  </a:cubicBezTo>
                  <a:cubicBezTo>
                    <a:pt x="3208855" y="3112242"/>
                    <a:pt x="3182256" y="3138841"/>
                    <a:pt x="3182256" y="3168397"/>
                  </a:cubicBezTo>
                  <a:close/>
                  <a:moveTo>
                    <a:pt x="3152700" y="2541814"/>
                  </a:moveTo>
                  <a:cubicBezTo>
                    <a:pt x="3152700" y="2559768"/>
                    <a:pt x="3167256" y="2574324"/>
                    <a:pt x="3185210" y="2574324"/>
                  </a:cubicBezTo>
                  <a:cubicBezTo>
                    <a:pt x="3203167" y="2574324"/>
                    <a:pt x="3217723" y="2559768"/>
                    <a:pt x="3217723" y="2541814"/>
                  </a:cubicBezTo>
                  <a:cubicBezTo>
                    <a:pt x="3217723" y="2523857"/>
                    <a:pt x="3203167" y="2509301"/>
                    <a:pt x="3185210" y="2509301"/>
                  </a:cubicBezTo>
                  <a:cubicBezTo>
                    <a:pt x="3167256" y="2509301"/>
                    <a:pt x="3152700" y="2523857"/>
                    <a:pt x="3152700" y="2541814"/>
                  </a:cubicBezTo>
                  <a:close/>
                  <a:moveTo>
                    <a:pt x="3146789" y="1649222"/>
                  </a:moveTo>
                  <a:cubicBezTo>
                    <a:pt x="3146789" y="1649222"/>
                    <a:pt x="3146789" y="1652176"/>
                    <a:pt x="3149743" y="1652176"/>
                  </a:cubicBezTo>
                  <a:cubicBezTo>
                    <a:pt x="3152700" y="1652176"/>
                    <a:pt x="3152700" y="1649222"/>
                    <a:pt x="3152700" y="1649222"/>
                  </a:cubicBezTo>
                  <a:cubicBezTo>
                    <a:pt x="3152700" y="1646264"/>
                    <a:pt x="3149743" y="1646264"/>
                    <a:pt x="3149743" y="1646264"/>
                  </a:cubicBezTo>
                  <a:cubicBezTo>
                    <a:pt x="3146789" y="1646264"/>
                    <a:pt x="3146789" y="1649222"/>
                    <a:pt x="3146789" y="1649222"/>
                  </a:cubicBezTo>
                  <a:close/>
                  <a:moveTo>
                    <a:pt x="3143835" y="3395976"/>
                  </a:moveTo>
                  <a:cubicBezTo>
                    <a:pt x="3143835" y="3426990"/>
                    <a:pt x="3168979" y="3452134"/>
                    <a:pt x="3199993" y="3452134"/>
                  </a:cubicBezTo>
                  <a:cubicBezTo>
                    <a:pt x="3231004" y="3452134"/>
                    <a:pt x="3256148" y="3426990"/>
                    <a:pt x="3256148" y="3395976"/>
                  </a:cubicBezTo>
                  <a:cubicBezTo>
                    <a:pt x="3256148" y="3364965"/>
                    <a:pt x="3231007" y="3339822"/>
                    <a:pt x="3199993" y="3339822"/>
                  </a:cubicBezTo>
                  <a:cubicBezTo>
                    <a:pt x="3168979" y="3339822"/>
                    <a:pt x="3143835" y="3364962"/>
                    <a:pt x="3143835" y="3395976"/>
                  </a:cubicBezTo>
                  <a:close/>
                  <a:moveTo>
                    <a:pt x="3114276" y="3842272"/>
                  </a:moveTo>
                  <a:cubicBezTo>
                    <a:pt x="3114276" y="3842272"/>
                    <a:pt x="3117233" y="3845226"/>
                    <a:pt x="3117233" y="3845226"/>
                  </a:cubicBezTo>
                  <a:cubicBezTo>
                    <a:pt x="3120187" y="3845226"/>
                    <a:pt x="3120187" y="3842272"/>
                    <a:pt x="3120187" y="3842272"/>
                  </a:cubicBezTo>
                  <a:cubicBezTo>
                    <a:pt x="3120187" y="3839316"/>
                    <a:pt x="3117233" y="3839316"/>
                    <a:pt x="3117233" y="3839316"/>
                  </a:cubicBezTo>
                  <a:cubicBezTo>
                    <a:pt x="3114276" y="3839316"/>
                    <a:pt x="3114276" y="3842272"/>
                    <a:pt x="3114276" y="3842272"/>
                  </a:cubicBezTo>
                  <a:close/>
                  <a:moveTo>
                    <a:pt x="3108368" y="3620602"/>
                  </a:moveTo>
                  <a:cubicBezTo>
                    <a:pt x="3108368" y="3647204"/>
                    <a:pt x="3132013" y="3670848"/>
                    <a:pt x="3158611" y="3670848"/>
                  </a:cubicBezTo>
                  <a:cubicBezTo>
                    <a:pt x="3185213" y="3670848"/>
                    <a:pt x="3208858" y="3647204"/>
                    <a:pt x="3208858" y="3620602"/>
                  </a:cubicBezTo>
                  <a:cubicBezTo>
                    <a:pt x="3208858" y="3594002"/>
                    <a:pt x="3185213" y="3570358"/>
                    <a:pt x="3158611" y="3570358"/>
                  </a:cubicBezTo>
                  <a:cubicBezTo>
                    <a:pt x="3132013" y="3570358"/>
                    <a:pt x="3108368" y="3594002"/>
                    <a:pt x="3108368" y="3620602"/>
                  </a:cubicBezTo>
                  <a:close/>
                  <a:moveTo>
                    <a:pt x="3108368" y="2775302"/>
                  </a:moveTo>
                  <a:cubicBezTo>
                    <a:pt x="3108368" y="2795992"/>
                    <a:pt x="3126101" y="2813726"/>
                    <a:pt x="3146792" y="2813726"/>
                  </a:cubicBezTo>
                  <a:cubicBezTo>
                    <a:pt x="3167480" y="2813726"/>
                    <a:pt x="3185213" y="2795992"/>
                    <a:pt x="3185213" y="2775302"/>
                  </a:cubicBezTo>
                  <a:cubicBezTo>
                    <a:pt x="3185213" y="2754614"/>
                    <a:pt x="3167480" y="2736880"/>
                    <a:pt x="3146792" y="2736880"/>
                  </a:cubicBezTo>
                  <a:cubicBezTo>
                    <a:pt x="3126101" y="2736880"/>
                    <a:pt x="3108368" y="2754614"/>
                    <a:pt x="3108368" y="2775302"/>
                  </a:cubicBezTo>
                  <a:close/>
                  <a:moveTo>
                    <a:pt x="3108368" y="1897492"/>
                  </a:moveTo>
                  <a:cubicBezTo>
                    <a:pt x="3108368" y="1906357"/>
                    <a:pt x="3114279" y="1912268"/>
                    <a:pt x="3123147" y="1912268"/>
                  </a:cubicBezTo>
                  <a:cubicBezTo>
                    <a:pt x="3132013" y="1912268"/>
                    <a:pt x="3137924" y="1906357"/>
                    <a:pt x="3137924" y="1897492"/>
                  </a:cubicBezTo>
                  <a:cubicBezTo>
                    <a:pt x="3137924" y="1888623"/>
                    <a:pt x="3132013" y="1882712"/>
                    <a:pt x="3123147" y="1882712"/>
                  </a:cubicBezTo>
                  <a:cubicBezTo>
                    <a:pt x="3114279" y="1882712"/>
                    <a:pt x="3108368" y="1888623"/>
                    <a:pt x="3108368" y="1897492"/>
                  </a:cubicBezTo>
                  <a:close/>
                  <a:moveTo>
                    <a:pt x="3069944" y="2142804"/>
                  </a:moveTo>
                  <a:cubicBezTo>
                    <a:pt x="3069944" y="2154627"/>
                    <a:pt x="3078812" y="2163495"/>
                    <a:pt x="3090631" y="2163495"/>
                  </a:cubicBezTo>
                  <a:cubicBezTo>
                    <a:pt x="3102457" y="2163495"/>
                    <a:pt x="3111322" y="2154627"/>
                    <a:pt x="3111322" y="2142804"/>
                  </a:cubicBezTo>
                  <a:cubicBezTo>
                    <a:pt x="3111322" y="2130985"/>
                    <a:pt x="3102457" y="2122117"/>
                    <a:pt x="3090631" y="2122117"/>
                  </a:cubicBezTo>
                  <a:cubicBezTo>
                    <a:pt x="3078812" y="2122117"/>
                    <a:pt x="3069944" y="2130985"/>
                    <a:pt x="3069944" y="2142804"/>
                  </a:cubicBezTo>
                  <a:close/>
                  <a:moveTo>
                    <a:pt x="3055164" y="3002884"/>
                  </a:moveTo>
                  <a:cubicBezTo>
                    <a:pt x="3058121" y="3032440"/>
                    <a:pt x="3081766" y="3056084"/>
                    <a:pt x="3108365" y="3056084"/>
                  </a:cubicBezTo>
                  <a:cubicBezTo>
                    <a:pt x="3137921" y="3056084"/>
                    <a:pt x="3161566" y="3032440"/>
                    <a:pt x="3161566" y="3002884"/>
                  </a:cubicBezTo>
                  <a:cubicBezTo>
                    <a:pt x="3161566" y="2973328"/>
                    <a:pt x="3137921" y="2949683"/>
                    <a:pt x="3108365" y="2949683"/>
                  </a:cubicBezTo>
                  <a:cubicBezTo>
                    <a:pt x="3078809" y="2949683"/>
                    <a:pt x="3055164" y="2973328"/>
                    <a:pt x="3055164" y="3002884"/>
                  </a:cubicBezTo>
                  <a:close/>
                  <a:moveTo>
                    <a:pt x="3037434" y="2379252"/>
                  </a:moveTo>
                  <a:cubicBezTo>
                    <a:pt x="3037434" y="2391074"/>
                    <a:pt x="3046299" y="2399942"/>
                    <a:pt x="3058121" y="2399942"/>
                  </a:cubicBezTo>
                  <a:cubicBezTo>
                    <a:pt x="3069944" y="2399942"/>
                    <a:pt x="3078812" y="2391074"/>
                    <a:pt x="3078812" y="2379252"/>
                  </a:cubicBezTo>
                  <a:cubicBezTo>
                    <a:pt x="3078812" y="2367432"/>
                    <a:pt x="3069944" y="2358564"/>
                    <a:pt x="3058121" y="2358564"/>
                  </a:cubicBezTo>
                  <a:cubicBezTo>
                    <a:pt x="3046299" y="2358564"/>
                    <a:pt x="3037434" y="2367432"/>
                    <a:pt x="3037434" y="2379252"/>
                  </a:cubicBezTo>
                  <a:close/>
                  <a:moveTo>
                    <a:pt x="3010832" y="3230466"/>
                  </a:moveTo>
                  <a:cubicBezTo>
                    <a:pt x="3010832" y="3262976"/>
                    <a:pt x="3037434" y="3289578"/>
                    <a:pt x="3069944" y="3289578"/>
                  </a:cubicBezTo>
                  <a:cubicBezTo>
                    <a:pt x="3102457" y="3289578"/>
                    <a:pt x="3129056" y="3262976"/>
                    <a:pt x="3129056" y="3230466"/>
                  </a:cubicBezTo>
                  <a:cubicBezTo>
                    <a:pt x="3129056" y="3197953"/>
                    <a:pt x="3102457" y="3171354"/>
                    <a:pt x="3069944" y="3171354"/>
                  </a:cubicBezTo>
                  <a:cubicBezTo>
                    <a:pt x="3037434" y="3171354"/>
                    <a:pt x="3010832" y="3197953"/>
                    <a:pt x="3010832" y="3230466"/>
                  </a:cubicBezTo>
                  <a:close/>
                  <a:moveTo>
                    <a:pt x="2996052" y="1743800"/>
                  </a:moveTo>
                  <a:cubicBezTo>
                    <a:pt x="2996052" y="1743800"/>
                    <a:pt x="2996052" y="1746755"/>
                    <a:pt x="2999009" y="1746755"/>
                  </a:cubicBezTo>
                  <a:cubicBezTo>
                    <a:pt x="3001963" y="1746755"/>
                    <a:pt x="3001963" y="1743800"/>
                    <a:pt x="3001963" y="1743800"/>
                  </a:cubicBezTo>
                  <a:cubicBezTo>
                    <a:pt x="3001963" y="1743800"/>
                    <a:pt x="2999009" y="1740844"/>
                    <a:pt x="2999009" y="1740844"/>
                  </a:cubicBezTo>
                  <a:cubicBezTo>
                    <a:pt x="2996052" y="1740844"/>
                    <a:pt x="2996052" y="1743800"/>
                    <a:pt x="2996052" y="1743800"/>
                  </a:cubicBezTo>
                  <a:close/>
                  <a:moveTo>
                    <a:pt x="2990144" y="2609792"/>
                  </a:moveTo>
                  <a:cubicBezTo>
                    <a:pt x="2990144" y="2627525"/>
                    <a:pt x="3004924" y="2639347"/>
                    <a:pt x="3019700" y="2639347"/>
                  </a:cubicBezTo>
                  <a:cubicBezTo>
                    <a:pt x="3034480" y="2639347"/>
                    <a:pt x="3049256" y="2627525"/>
                    <a:pt x="3049256" y="2609792"/>
                  </a:cubicBezTo>
                  <a:cubicBezTo>
                    <a:pt x="3049256" y="2592058"/>
                    <a:pt x="3037434" y="2580236"/>
                    <a:pt x="3019700" y="2580236"/>
                  </a:cubicBezTo>
                  <a:cubicBezTo>
                    <a:pt x="3004924" y="2580236"/>
                    <a:pt x="2990144" y="2592058"/>
                    <a:pt x="2990144" y="2609792"/>
                  </a:cubicBezTo>
                  <a:close/>
                  <a:moveTo>
                    <a:pt x="2972407" y="3449177"/>
                  </a:moveTo>
                  <a:cubicBezTo>
                    <a:pt x="2975365" y="3481690"/>
                    <a:pt x="2999009" y="3505335"/>
                    <a:pt x="3028565" y="3505335"/>
                  </a:cubicBezTo>
                  <a:cubicBezTo>
                    <a:pt x="3058121" y="3505335"/>
                    <a:pt x="3084720" y="3481690"/>
                    <a:pt x="3084720" y="3449177"/>
                  </a:cubicBezTo>
                  <a:cubicBezTo>
                    <a:pt x="3084720" y="3419621"/>
                    <a:pt x="3061075" y="3393022"/>
                    <a:pt x="3028565" y="3393022"/>
                  </a:cubicBezTo>
                  <a:cubicBezTo>
                    <a:pt x="2999009" y="3393022"/>
                    <a:pt x="2972407" y="3416667"/>
                    <a:pt x="2972407" y="3449177"/>
                  </a:cubicBezTo>
                  <a:close/>
                  <a:moveTo>
                    <a:pt x="2957631" y="1983205"/>
                  </a:moveTo>
                  <a:cubicBezTo>
                    <a:pt x="2954677" y="1989116"/>
                    <a:pt x="2960588" y="1992070"/>
                    <a:pt x="2966499" y="1992070"/>
                  </a:cubicBezTo>
                  <a:cubicBezTo>
                    <a:pt x="2972411" y="1992070"/>
                    <a:pt x="2975365" y="1986159"/>
                    <a:pt x="2975365" y="1983205"/>
                  </a:cubicBezTo>
                  <a:cubicBezTo>
                    <a:pt x="2975365" y="1977291"/>
                    <a:pt x="2969453" y="1974337"/>
                    <a:pt x="2966499" y="1974337"/>
                  </a:cubicBezTo>
                  <a:cubicBezTo>
                    <a:pt x="2960588" y="1974337"/>
                    <a:pt x="2957631" y="1980248"/>
                    <a:pt x="2957631" y="1983205"/>
                  </a:cubicBezTo>
                  <a:close/>
                  <a:moveTo>
                    <a:pt x="2945809" y="2837370"/>
                  </a:moveTo>
                  <a:cubicBezTo>
                    <a:pt x="2945809" y="2858058"/>
                    <a:pt x="2960588" y="2872838"/>
                    <a:pt x="2981276" y="2872838"/>
                  </a:cubicBezTo>
                  <a:cubicBezTo>
                    <a:pt x="3001963" y="2872838"/>
                    <a:pt x="3016743" y="2858058"/>
                    <a:pt x="3016743" y="2837370"/>
                  </a:cubicBezTo>
                  <a:cubicBezTo>
                    <a:pt x="3016743" y="2816683"/>
                    <a:pt x="3001963" y="2801904"/>
                    <a:pt x="2981276" y="2801904"/>
                  </a:cubicBezTo>
                  <a:cubicBezTo>
                    <a:pt x="2960588" y="2801904"/>
                    <a:pt x="2945809" y="2816683"/>
                    <a:pt x="2945809" y="2837370"/>
                  </a:cubicBezTo>
                  <a:close/>
                  <a:moveTo>
                    <a:pt x="2936943" y="3670848"/>
                  </a:moveTo>
                  <a:cubicBezTo>
                    <a:pt x="2936943" y="3698598"/>
                    <a:pt x="2959440" y="3721094"/>
                    <a:pt x="2987190" y="3721094"/>
                  </a:cubicBezTo>
                  <a:cubicBezTo>
                    <a:pt x="3014940" y="3721094"/>
                    <a:pt x="3037434" y="3698598"/>
                    <a:pt x="3037434" y="3670848"/>
                  </a:cubicBezTo>
                  <a:cubicBezTo>
                    <a:pt x="3037434" y="3643101"/>
                    <a:pt x="3014940" y="3620604"/>
                    <a:pt x="2987190" y="3620604"/>
                  </a:cubicBezTo>
                  <a:cubicBezTo>
                    <a:pt x="2959440" y="3620604"/>
                    <a:pt x="2936943" y="3643101"/>
                    <a:pt x="2936943" y="3670848"/>
                  </a:cubicBezTo>
                  <a:close/>
                  <a:moveTo>
                    <a:pt x="2928075" y="3886605"/>
                  </a:moveTo>
                  <a:cubicBezTo>
                    <a:pt x="2928075" y="3898428"/>
                    <a:pt x="2936943" y="3904338"/>
                    <a:pt x="2945809" y="3904338"/>
                  </a:cubicBezTo>
                  <a:cubicBezTo>
                    <a:pt x="2954677" y="3904338"/>
                    <a:pt x="2963542" y="3895474"/>
                    <a:pt x="2963542" y="3886605"/>
                  </a:cubicBezTo>
                  <a:cubicBezTo>
                    <a:pt x="2963542" y="3877740"/>
                    <a:pt x="2957631" y="3868872"/>
                    <a:pt x="2945809" y="3868872"/>
                  </a:cubicBezTo>
                  <a:cubicBezTo>
                    <a:pt x="2936943" y="3868872"/>
                    <a:pt x="2928075" y="3877740"/>
                    <a:pt x="2928075" y="3886605"/>
                  </a:cubicBezTo>
                  <a:close/>
                  <a:moveTo>
                    <a:pt x="2913296" y="2216699"/>
                  </a:moveTo>
                  <a:cubicBezTo>
                    <a:pt x="2916253" y="2225564"/>
                    <a:pt x="2922164" y="2231475"/>
                    <a:pt x="2928075" y="2231475"/>
                  </a:cubicBezTo>
                  <a:cubicBezTo>
                    <a:pt x="2936940" y="2231475"/>
                    <a:pt x="2942852" y="2225564"/>
                    <a:pt x="2942852" y="2216699"/>
                  </a:cubicBezTo>
                  <a:cubicBezTo>
                    <a:pt x="2942852" y="2207830"/>
                    <a:pt x="2936940" y="2201919"/>
                    <a:pt x="2928075" y="2201919"/>
                  </a:cubicBezTo>
                  <a:cubicBezTo>
                    <a:pt x="2919207" y="2201919"/>
                    <a:pt x="2913296" y="2207830"/>
                    <a:pt x="2913296" y="2216699"/>
                  </a:cubicBezTo>
                  <a:close/>
                  <a:moveTo>
                    <a:pt x="2880786" y="3061996"/>
                  </a:moveTo>
                  <a:cubicBezTo>
                    <a:pt x="2880786" y="3094506"/>
                    <a:pt x="2907384" y="3121108"/>
                    <a:pt x="2939897" y="3121108"/>
                  </a:cubicBezTo>
                  <a:cubicBezTo>
                    <a:pt x="2972407" y="3121108"/>
                    <a:pt x="2999009" y="3094506"/>
                    <a:pt x="2999009" y="3061996"/>
                  </a:cubicBezTo>
                  <a:cubicBezTo>
                    <a:pt x="2999009" y="3029482"/>
                    <a:pt x="2972407" y="3002884"/>
                    <a:pt x="2939897" y="3002884"/>
                  </a:cubicBezTo>
                  <a:cubicBezTo>
                    <a:pt x="2907384" y="3002884"/>
                    <a:pt x="2880786" y="3029482"/>
                    <a:pt x="2880786" y="3061996"/>
                  </a:cubicBezTo>
                  <a:close/>
                  <a:moveTo>
                    <a:pt x="2863052" y="2444275"/>
                  </a:moveTo>
                  <a:cubicBezTo>
                    <a:pt x="2863052" y="2462008"/>
                    <a:pt x="2874874" y="2473831"/>
                    <a:pt x="2892608" y="2473831"/>
                  </a:cubicBezTo>
                  <a:cubicBezTo>
                    <a:pt x="2907387" y="2473831"/>
                    <a:pt x="2922164" y="2462008"/>
                    <a:pt x="2922164" y="2444275"/>
                  </a:cubicBezTo>
                  <a:cubicBezTo>
                    <a:pt x="2922164" y="2429498"/>
                    <a:pt x="2910342" y="2414719"/>
                    <a:pt x="2892608" y="2414719"/>
                  </a:cubicBezTo>
                  <a:cubicBezTo>
                    <a:pt x="2874874" y="2414719"/>
                    <a:pt x="2863052" y="2426542"/>
                    <a:pt x="2863052" y="2444275"/>
                  </a:cubicBezTo>
                  <a:close/>
                  <a:moveTo>
                    <a:pt x="2836453" y="3283667"/>
                  </a:moveTo>
                  <a:cubicBezTo>
                    <a:pt x="2836453" y="3316177"/>
                    <a:pt x="2863052" y="3345732"/>
                    <a:pt x="2898519" y="3345732"/>
                  </a:cubicBezTo>
                  <a:cubicBezTo>
                    <a:pt x="2933989" y="3345732"/>
                    <a:pt x="2960588" y="3316177"/>
                    <a:pt x="2960588" y="3283667"/>
                  </a:cubicBezTo>
                  <a:cubicBezTo>
                    <a:pt x="2960588" y="3248196"/>
                    <a:pt x="2931032" y="3221598"/>
                    <a:pt x="2898519" y="3221598"/>
                  </a:cubicBezTo>
                  <a:cubicBezTo>
                    <a:pt x="2863052" y="3221598"/>
                    <a:pt x="2836453" y="3251154"/>
                    <a:pt x="2836453" y="3283667"/>
                  </a:cubicBezTo>
                  <a:close/>
                  <a:moveTo>
                    <a:pt x="2821674" y="2671857"/>
                  </a:moveTo>
                  <a:cubicBezTo>
                    <a:pt x="2821674" y="2686636"/>
                    <a:pt x="2836453" y="2701413"/>
                    <a:pt x="2851230" y="2701413"/>
                  </a:cubicBezTo>
                  <a:cubicBezTo>
                    <a:pt x="2866009" y="2701413"/>
                    <a:pt x="2880786" y="2689591"/>
                    <a:pt x="2880786" y="2671857"/>
                  </a:cubicBezTo>
                  <a:cubicBezTo>
                    <a:pt x="2880786" y="2657081"/>
                    <a:pt x="2868963" y="2642302"/>
                    <a:pt x="2851230" y="2642302"/>
                  </a:cubicBezTo>
                  <a:cubicBezTo>
                    <a:pt x="2836453" y="2642302"/>
                    <a:pt x="2821674" y="2654124"/>
                    <a:pt x="2821674" y="2671857"/>
                  </a:cubicBezTo>
                  <a:close/>
                  <a:moveTo>
                    <a:pt x="2800986" y="3499424"/>
                  </a:moveTo>
                  <a:cubicBezTo>
                    <a:pt x="2800986" y="3528980"/>
                    <a:pt x="2824631" y="3555582"/>
                    <a:pt x="2857141" y="3555582"/>
                  </a:cubicBezTo>
                  <a:cubicBezTo>
                    <a:pt x="2889654" y="3555582"/>
                    <a:pt x="2913299" y="3528980"/>
                    <a:pt x="2913299" y="3499424"/>
                  </a:cubicBezTo>
                  <a:cubicBezTo>
                    <a:pt x="2913299" y="3469868"/>
                    <a:pt x="2886697" y="3443269"/>
                    <a:pt x="2857141" y="3443269"/>
                  </a:cubicBezTo>
                  <a:cubicBezTo>
                    <a:pt x="2824631" y="3443269"/>
                    <a:pt x="2800986" y="3469868"/>
                    <a:pt x="2800986" y="3499424"/>
                  </a:cubicBezTo>
                  <a:close/>
                  <a:moveTo>
                    <a:pt x="2795072" y="2054140"/>
                  </a:moveTo>
                  <a:cubicBezTo>
                    <a:pt x="2795072" y="2057097"/>
                    <a:pt x="2798029" y="2060051"/>
                    <a:pt x="2800983" y="2060051"/>
                  </a:cubicBezTo>
                  <a:cubicBezTo>
                    <a:pt x="2803940" y="2060051"/>
                    <a:pt x="2806894" y="2057097"/>
                    <a:pt x="2806894" y="2054140"/>
                  </a:cubicBezTo>
                  <a:cubicBezTo>
                    <a:pt x="2806894" y="2051182"/>
                    <a:pt x="2803940" y="2048228"/>
                    <a:pt x="2800983" y="2048228"/>
                  </a:cubicBezTo>
                  <a:cubicBezTo>
                    <a:pt x="2798029" y="2048228"/>
                    <a:pt x="2795072" y="2051182"/>
                    <a:pt x="2795072" y="2054140"/>
                  </a:cubicBezTo>
                  <a:close/>
                  <a:moveTo>
                    <a:pt x="2771430" y="2890574"/>
                  </a:moveTo>
                  <a:cubicBezTo>
                    <a:pt x="2771430" y="2914219"/>
                    <a:pt x="2789164" y="2928996"/>
                    <a:pt x="2809851" y="2928996"/>
                  </a:cubicBezTo>
                  <a:cubicBezTo>
                    <a:pt x="2830542" y="2928996"/>
                    <a:pt x="2848276" y="2911262"/>
                    <a:pt x="2848276" y="2890574"/>
                  </a:cubicBezTo>
                  <a:cubicBezTo>
                    <a:pt x="2848276" y="2869884"/>
                    <a:pt x="2830542" y="2852150"/>
                    <a:pt x="2809851" y="2852150"/>
                  </a:cubicBezTo>
                  <a:cubicBezTo>
                    <a:pt x="2789164" y="2852150"/>
                    <a:pt x="2771430" y="2869884"/>
                    <a:pt x="2771430" y="2890574"/>
                  </a:cubicBezTo>
                  <a:close/>
                  <a:moveTo>
                    <a:pt x="2762562" y="3715180"/>
                  </a:moveTo>
                  <a:cubicBezTo>
                    <a:pt x="2759605" y="3744736"/>
                    <a:pt x="2786207" y="3768381"/>
                    <a:pt x="2815763" y="3768381"/>
                  </a:cubicBezTo>
                  <a:cubicBezTo>
                    <a:pt x="2845318" y="3768381"/>
                    <a:pt x="2868960" y="3744736"/>
                    <a:pt x="2868960" y="3715180"/>
                  </a:cubicBezTo>
                  <a:cubicBezTo>
                    <a:pt x="2868960" y="3685624"/>
                    <a:pt x="2845318" y="3661980"/>
                    <a:pt x="2815763" y="3661980"/>
                  </a:cubicBezTo>
                  <a:cubicBezTo>
                    <a:pt x="2786207" y="3661980"/>
                    <a:pt x="2762562" y="3685624"/>
                    <a:pt x="2762562" y="3715180"/>
                  </a:cubicBezTo>
                  <a:close/>
                  <a:moveTo>
                    <a:pt x="2747785" y="2281719"/>
                  </a:moveTo>
                  <a:cubicBezTo>
                    <a:pt x="2747785" y="2290584"/>
                    <a:pt x="2753697" y="2296495"/>
                    <a:pt x="2762565" y="2296495"/>
                  </a:cubicBezTo>
                  <a:cubicBezTo>
                    <a:pt x="2771430" y="2296495"/>
                    <a:pt x="2777341" y="2290584"/>
                    <a:pt x="2777341" y="2281719"/>
                  </a:cubicBezTo>
                  <a:cubicBezTo>
                    <a:pt x="2777341" y="2272850"/>
                    <a:pt x="2771430" y="2266939"/>
                    <a:pt x="2762565" y="2266939"/>
                  </a:cubicBezTo>
                  <a:cubicBezTo>
                    <a:pt x="2753697" y="2266939"/>
                    <a:pt x="2747785" y="2272850"/>
                    <a:pt x="2747785" y="2281719"/>
                  </a:cubicBezTo>
                  <a:close/>
                  <a:moveTo>
                    <a:pt x="2738917" y="3927983"/>
                  </a:moveTo>
                  <a:cubicBezTo>
                    <a:pt x="2738917" y="3945717"/>
                    <a:pt x="2753697" y="3960496"/>
                    <a:pt x="2771430" y="3960496"/>
                  </a:cubicBezTo>
                  <a:cubicBezTo>
                    <a:pt x="2789161" y="3960496"/>
                    <a:pt x="2803940" y="3945717"/>
                    <a:pt x="2803940" y="3927983"/>
                  </a:cubicBezTo>
                  <a:cubicBezTo>
                    <a:pt x="2803940" y="3910253"/>
                    <a:pt x="2789161" y="3895474"/>
                    <a:pt x="2771430" y="3895474"/>
                  </a:cubicBezTo>
                  <a:cubicBezTo>
                    <a:pt x="2753697" y="3895474"/>
                    <a:pt x="2738917" y="3910253"/>
                    <a:pt x="2738917" y="3927983"/>
                  </a:cubicBezTo>
                  <a:close/>
                  <a:moveTo>
                    <a:pt x="2712318" y="3109285"/>
                  </a:moveTo>
                  <a:cubicBezTo>
                    <a:pt x="2712318" y="3141798"/>
                    <a:pt x="2735963" y="3165443"/>
                    <a:pt x="2768473" y="3165443"/>
                  </a:cubicBezTo>
                  <a:cubicBezTo>
                    <a:pt x="2800986" y="3165443"/>
                    <a:pt x="2824631" y="3138841"/>
                    <a:pt x="2824631" y="3109285"/>
                  </a:cubicBezTo>
                  <a:cubicBezTo>
                    <a:pt x="2824631" y="3076775"/>
                    <a:pt x="2798029" y="3053130"/>
                    <a:pt x="2768473" y="3053130"/>
                  </a:cubicBezTo>
                  <a:cubicBezTo>
                    <a:pt x="2735963" y="3053130"/>
                    <a:pt x="2712318" y="3079729"/>
                    <a:pt x="2712318" y="3109285"/>
                  </a:cubicBezTo>
                  <a:close/>
                  <a:moveTo>
                    <a:pt x="2691628" y="2503387"/>
                  </a:moveTo>
                  <a:cubicBezTo>
                    <a:pt x="2691628" y="2521120"/>
                    <a:pt x="2706407" y="2532942"/>
                    <a:pt x="2721183" y="2532942"/>
                  </a:cubicBezTo>
                  <a:cubicBezTo>
                    <a:pt x="2735963" y="2532942"/>
                    <a:pt x="2750739" y="2521120"/>
                    <a:pt x="2750739" y="2503387"/>
                  </a:cubicBezTo>
                  <a:cubicBezTo>
                    <a:pt x="2750739" y="2485653"/>
                    <a:pt x="2738917" y="2473831"/>
                    <a:pt x="2721183" y="2473831"/>
                  </a:cubicBezTo>
                  <a:cubicBezTo>
                    <a:pt x="2706407" y="2473831"/>
                    <a:pt x="2691628" y="2485653"/>
                    <a:pt x="2691628" y="2503387"/>
                  </a:cubicBezTo>
                  <a:close/>
                  <a:moveTo>
                    <a:pt x="2667613" y="1895645"/>
                  </a:moveTo>
                  <a:cubicBezTo>
                    <a:pt x="2668721" y="1896753"/>
                    <a:pt x="2670938" y="1897492"/>
                    <a:pt x="2673894" y="1897492"/>
                  </a:cubicBezTo>
                  <a:cubicBezTo>
                    <a:pt x="2676848" y="1897492"/>
                    <a:pt x="2679805" y="1894538"/>
                    <a:pt x="2679805" y="1891580"/>
                  </a:cubicBezTo>
                  <a:cubicBezTo>
                    <a:pt x="2679805" y="1888623"/>
                    <a:pt x="2676848" y="1885669"/>
                    <a:pt x="2673894" y="1885669"/>
                  </a:cubicBezTo>
                  <a:cubicBezTo>
                    <a:pt x="2670937" y="1885669"/>
                    <a:pt x="2667983" y="1888623"/>
                    <a:pt x="2667983" y="1891580"/>
                  </a:cubicBezTo>
                  <a:cubicBezTo>
                    <a:pt x="2666504" y="1893059"/>
                    <a:pt x="2666504" y="1894537"/>
                    <a:pt x="2667613" y="1895645"/>
                  </a:cubicBezTo>
                  <a:close/>
                  <a:moveTo>
                    <a:pt x="2662072" y="3325045"/>
                  </a:moveTo>
                  <a:cubicBezTo>
                    <a:pt x="2662072" y="3360512"/>
                    <a:pt x="2691628" y="3390068"/>
                    <a:pt x="2727095" y="3390068"/>
                  </a:cubicBezTo>
                  <a:cubicBezTo>
                    <a:pt x="2762562" y="3390068"/>
                    <a:pt x="2792118" y="3360512"/>
                    <a:pt x="2792118" y="3325045"/>
                  </a:cubicBezTo>
                  <a:cubicBezTo>
                    <a:pt x="2792118" y="3289578"/>
                    <a:pt x="2762562" y="3260022"/>
                    <a:pt x="2727095" y="3260022"/>
                  </a:cubicBezTo>
                  <a:cubicBezTo>
                    <a:pt x="2691628" y="3260022"/>
                    <a:pt x="2662072" y="3289578"/>
                    <a:pt x="2662072" y="3325045"/>
                  </a:cubicBezTo>
                  <a:close/>
                  <a:moveTo>
                    <a:pt x="2650249" y="2719146"/>
                  </a:moveTo>
                  <a:cubicBezTo>
                    <a:pt x="2650249" y="2736880"/>
                    <a:pt x="2665029" y="2748702"/>
                    <a:pt x="2679805" y="2748702"/>
                  </a:cubicBezTo>
                  <a:cubicBezTo>
                    <a:pt x="2694585" y="2748702"/>
                    <a:pt x="2709361" y="2736880"/>
                    <a:pt x="2709361" y="2719146"/>
                  </a:cubicBezTo>
                  <a:cubicBezTo>
                    <a:pt x="2709361" y="2704370"/>
                    <a:pt x="2697539" y="2689591"/>
                    <a:pt x="2679805" y="2689591"/>
                  </a:cubicBezTo>
                  <a:cubicBezTo>
                    <a:pt x="2665029" y="2689591"/>
                    <a:pt x="2650249" y="2701413"/>
                    <a:pt x="2650249" y="2719146"/>
                  </a:cubicBezTo>
                  <a:close/>
                  <a:moveTo>
                    <a:pt x="2626604" y="3540802"/>
                  </a:moveTo>
                  <a:cubicBezTo>
                    <a:pt x="2626604" y="3570358"/>
                    <a:pt x="2650249" y="3596956"/>
                    <a:pt x="2682762" y="3596956"/>
                  </a:cubicBezTo>
                  <a:cubicBezTo>
                    <a:pt x="2715272" y="3596956"/>
                    <a:pt x="2738917" y="3570358"/>
                    <a:pt x="2738917" y="3540802"/>
                  </a:cubicBezTo>
                  <a:cubicBezTo>
                    <a:pt x="2738917" y="3508289"/>
                    <a:pt x="2712318" y="3484644"/>
                    <a:pt x="2682762" y="3484644"/>
                  </a:cubicBezTo>
                  <a:cubicBezTo>
                    <a:pt x="2650249" y="3484644"/>
                    <a:pt x="2626604" y="3511246"/>
                    <a:pt x="2626604" y="3540802"/>
                  </a:cubicBezTo>
                  <a:close/>
                  <a:moveTo>
                    <a:pt x="2623650" y="2113252"/>
                  </a:moveTo>
                  <a:cubicBezTo>
                    <a:pt x="2623650" y="2119163"/>
                    <a:pt x="2626604" y="2122117"/>
                    <a:pt x="2632516" y="2122117"/>
                  </a:cubicBezTo>
                  <a:cubicBezTo>
                    <a:pt x="2638430" y="2122117"/>
                    <a:pt x="2641384" y="2119163"/>
                    <a:pt x="2641384" y="2113252"/>
                  </a:cubicBezTo>
                  <a:cubicBezTo>
                    <a:pt x="2641384" y="2107340"/>
                    <a:pt x="2638430" y="2104383"/>
                    <a:pt x="2632516" y="2104383"/>
                  </a:cubicBezTo>
                  <a:cubicBezTo>
                    <a:pt x="2626604" y="2104383"/>
                    <a:pt x="2623650" y="2107340"/>
                    <a:pt x="2623650" y="2113252"/>
                  </a:cubicBezTo>
                  <a:close/>
                  <a:moveTo>
                    <a:pt x="2597049" y="2937860"/>
                  </a:moveTo>
                  <a:cubicBezTo>
                    <a:pt x="2597049" y="2958552"/>
                    <a:pt x="2614782" y="2979239"/>
                    <a:pt x="2638427" y="2979239"/>
                  </a:cubicBezTo>
                  <a:cubicBezTo>
                    <a:pt x="2662072" y="2979239"/>
                    <a:pt x="2679805" y="2961506"/>
                    <a:pt x="2679805" y="2937860"/>
                  </a:cubicBezTo>
                  <a:cubicBezTo>
                    <a:pt x="2679805" y="2914216"/>
                    <a:pt x="2662072" y="2896482"/>
                    <a:pt x="2638427" y="2896482"/>
                  </a:cubicBezTo>
                  <a:cubicBezTo>
                    <a:pt x="2614782" y="2896482"/>
                    <a:pt x="2597049" y="2914216"/>
                    <a:pt x="2597049" y="2937860"/>
                  </a:cubicBezTo>
                  <a:close/>
                  <a:moveTo>
                    <a:pt x="2591137" y="3750650"/>
                  </a:moveTo>
                  <a:cubicBezTo>
                    <a:pt x="2591137" y="3777252"/>
                    <a:pt x="2611825" y="3797940"/>
                    <a:pt x="2638427" y="3797940"/>
                  </a:cubicBezTo>
                  <a:cubicBezTo>
                    <a:pt x="2665029" y="3797940"/>
                    <a:pt x="2685716" y="3777252"/>
                    <a:pt x="2685716" y="3750650"/>
                  </a:cubicBezTo>
                  <a:cubicBezTo>
                    <a:pt x="2685716" y="3724049"/>
                    <a:pt x="2665029" y="3703361"/>
                    <a:pt x="2638427" y="3703361"/>
                  </a:cubicBezTo>
                  <a:cubicBezTo>
                    <a:pt x="2611825" y="3703361"/>
                    <a:pt x="2591137" y="3724049"/>
                    <a:pt x="2591137" y="3750650"/>
                  </a:cubicBezTo>
                  <a:close/>
                  <a:moveTo>
                    <a:pt x="2579315" y="2334920"/>
                  </a:moveTo>
                  <a:cubicBezTo>
                    <a:pt x="2579315" y="2340831"/>
                    <a:pt x="2585226" y="2346742"/>
                    <a:pt x="2591137" y="2346742"/>
                  </a:cubicBezTo>
                  <a:cubicBezTo>
                    <a:pt x="2597049" y="2346742"/>
                    <a:pt x="2602960" y="2340831"/>
                    <a:pt x="2602960" y="2334920"/>
                  </a:cubicBezTo>
                  <a:cubicBezTo>
                    <a:pt x="2602960" y="2329008"/>
                    <a:pt x="2597049" y="2323097"/>
                    <a:pt x="2591137" y="2323097"/>
                  </a:cubicBezTo>
                  <a:cubicBezTo>
                    <a:pt x="2585226" y="2323097"/>
                    <a:pt x="2579315" y="2329008"/>
                    <a:pt x="2579315" y="2334920"/>
                  </a:cubicBezTo>
                  <a:close/>
                  <a:moveTo>
                    <a:pt x="2546805" y="3960496"/>
                  </a:moveTo>
                  <a:cubicBezTo>
                    <a:pt x="2546805" y="3987098"/>
                    <a:pt x="2570450" y="4007786"/>
                    <a:pt x="2594094" y="4007786"/>
                  </a:cubicBezTo>
                  <a:cubicBezTo>
                    <a:pt x="2620696" y="4007786"/>
                    <a:pt x="2641384" y="3987098"/>
                    <a:pt x="2641384" y="3960496"/>
                  </a:cubicBezTo>
                  <a:cubicBezTo>
                    <a:pt x="2641384" y="3933898"/>
                    <a:pt x="2620696" y="3913207"/>
                    <a:pt x="2594094" y="3913207"/>
                  </a:cubicBezTo>
                  <a:cubicBezTo>
                    <a:pt x="2567493" y="3913207"/>
                    <a:pt x="2546805" y="3933898"/>
                    <a:pt x="2546805" y="3960496"/>
                  </a:cubicBezTo>
                  <a:close/>
                  <a:moveTo>
                    <a:pt x="2540894" y="3150664"/>
                  </a:moveTo>
                  <a:cubicBezTo>
                    <a:pt x="2540894" y="3180220"/>
                    <a:pt x="2564539" y="3203864"/>
                    <a:pt x="2594094" y="3203864"/>
                  </a:cubicBezTo>
                  <a:cubicBezTo>
                    <a:pt x="2623650" y="3203864"/>
                    <a:pt x="2647295" y="3180220"/>
                    <a:pt x="2647295" y="3150664"/>
                  </a:cubicBezTo>
                  <a:cubicBezTo>
                    <a:pt x="2647295" y="3121108"/>
                    <a:pt x="2623650" y="3097463"/>
                    <a:pt x="2594094" y="3097463"/>
                  </a:cubicBezTo>
                  <a:cubicBezTo>
                    <a:pt x="2564539" y="3097463"/>
                    <a:pt x="2540894" y="3121108"/>
                    <a:pt x="2540894" y="3150664"/>
                  </a:cubicBezTo>
                  <a:close/>
                  <a:moveTo>
                    <a:pt x="2532025" y="2547722"/>
                  </a:moveTo>
                  <a:cubicBezTo>
                    <a:pt x="2532025" y="2556588"/>
                    <a:pt x="2537937" y="2565456"/>
                    <a:pt x="2549759" y="2565456"/>
                  </a:cubicBezTo>
                  <a:cubicBezTo>
                    <a:pt x="2558624" y="2565456"/>
                    <a:pt x="2567493" y="2556588"/>
                    <a:pt x="2567493" y="2547722"/>
                  </a:cubicBezTo>
                  <a:cubicBezTo>
                    <a:pt x="2567493" y="2538854"/>
                    <a:pt x="2558624" y="2529988"/>
                    <a:pt x="2549759" y="2529988"/>
                  </a:cubicBezTo>
                  <a:cubicBezTo>
                    <a:pt x="2540894" y="2529988"/>
                    <a:pt x="2532025" y="2538854"/>
                    <a:pt x="2532025" y="2547722"/>
                  </a:cubicBezTo>
                  <a:close/>
                  <a:moveTo>
                    <a:pt x="2496558" y="1944781"/>
                  </a:moveTo>
                  <a:cubicBezTo>
                    <a:pt x="2496558" y="1947735"/>
                    <a:pt x="2499512" y="1950692"/>
                    <a:pt x="2502470" y="1950692"/>
                  </a:cubicBezTo>
                  <a:cubicBezTo>
                    <a:pt x="2505427" y="1950692"/>
                    <a:pt x="2508381" y="1947735"/>
                    <a:pt x="2508381" y="1944781"/>
                  </a:cubicBezTo>
                  <a:cubicBezTo>
                    <a:pt x="2508381" y="1941824"/>
                    <a:pt x="2505427" y="1938870"/>
                    <a:pt x="2502470" y="1938870"/>
                  </a:cubicBezTo>
                  <a:cubicBezTo>
                    <a:pt x="2499512" y="1938870"/>
                    <a:pt x="2496558" y="1941824"/>
                    <a:pt x="2496558" y="1944781"/>
                  </a:cubicBezTo>
                  <a:close/>
                  <a:moveTo>
                    <a:pt x="2490647" y="3360509"/>
                  </a:moveTo>
                  <a:cubicBezTo>
                    <a:pt x="2493601" y="3393022"/>
                    <a:pt x="2517246" y="3419621"/>
                    <a:pt x="2549759" y="3419621"/>
                  </a:cubicBezTo>
                  <a:cubicBezTo>
                    <a:pt x="2582269" y="3419621"/>
                    <a:pt x="2608871" y="3393022"/>
                    <a:pt x="2608871" y="3360509"/>
                  </a:cubicBezTo>
                  <a:cubicBezTo>
                    <a:pt x="2608871" y="3327999"/>
                    <a:pt x="2582269" y="3301397"/>
                    <a:pt x="2549759" y="3301397"/>
                  </a:cubicBezTo>
                  <a:cubicBezTo>
                    <a:pt x="2517246" y="3301397"/>
                    <a:pt x="2490647" y="3327999"/>
                    <a:pt x="2490647" y="3360509"/>
                  </a:cubicBezTo>
                  <a:close/>
                  <a:moveTo>
                    <a:pt x="2481782" y="2760525"/>
                  </a:moveTo>
                  <a:cubicBezTo>
                    <a:pt x="2481782" y="2775302"/>
                    <a:pt x="2493604" y="2784170"/>
                    <a:pt x="2505427" y="2784170"/>
                  </a:cubicBezTo>
                  <a:cubicBezTo>
                    <a:pt x="2517249" y="2784170"/>
                    <a:pt x="2529071" y="2772348"/>
                    <a:pt x="2529071" y="2760525"/>
                  </a:cubicBezTo>
                  <a:cubicBezTo>
                    <a:pt x="2529071" y="2748702"/>
                    <a:pt x="2520206" y="2736880"/>
                    <a:pt x="2505427" y="2736880"/>
                  </a:cubicBezTo>
                  <a:cubicBezTo>
                    <a:pt x="2493604" y="2736880"/>
                    <a:pt x="2481782" y="2748702"/>
                    <a:pt x="2481782" y="2760525"/>
                  </a:cubicBezTo>
                  <a:close/>
                  <a:moveTo>
                    <a:pt x="2449269" y="2157584"/>
                  </a:moveTo>
                  <a:cubicBezTo>
                    <a:pt x="2449269" y="2166449"/>
                    <a:pt x="2455180" y="2169406"/>
                    <a:pt x="2461091" y="2169406"/>
                  </a:cubicBezTo>
                  <a:cubicBezTo>
                    <a:pt x="2467002" y="2169406"/>
                    <a:pt x="2472914" y="2163495"/>
                    <a:pt x="2472914" y="2157584"/>
                  </a:cubicBezTo>
                  <a:cubicBezTo>
                    <a:pt x="2472914" y="2151673"/>
                    <a:pt x="2467002" y="2145762"/>
                    <a:pt x="2461091" y="2145762"/>
                  </a:cubicBezTo>
                  <a:cubicBezTo>
                    <a:pt x="2455180" y="2145762"/>
                    <a:pt x="2449269" y="2151673"/>
                    <a:pt x="2449269" y="2157584"/>
                  </a:cubicBezTo>
                  <a:close/>
                  <a:moveTo>
                    <a:pt x="2446315" y="3570358"/>
                  </a:moveTo>
                  <a:cubicBezTo>
                    <a:pt x="2449269" y="3602868"/>
                    <a:pt x="2475871" y="3629470"/>
                    <a:pt x="2505427" y="3629470"/>
                  </a:cubicBezTo>
                  <a:cubicBezTo>
                    <a:pt x="2537937" y="3629470"/>
                    <a:pt x="2564539" y="3602868"/>
                    <a:pt x="2564539" y="3570358"/>
                  </a:cubicBezTo>
                  <a:cubicBezTo>
                    <a:pt x="2564539" y="3537845"/>
                    <a:pt x="2537937" y="3511246"/>
                    <a:pt x="2505427" y="3511246"/>
                  </a:cubicBezTo>
                  <a:cubicBezTo>
                    <a:pt x="2472914" y="3511246"/>
                    <a:pt x="2446315" y="3537845"/>
                    <a:pt x="2446315" y="3570358"/>
                  </a:cubicBezTo>
                  <a:close/>
                  <a:moveTo>
                    <a:pt x="2422670" y="2973331"/>
                  </a:moveTo>
                  <a:cubicBezTo>
                    <a:pt x="2422670" y="2994018"/>
                    <a:pt x="2440404" y="3011752"/>
                    <a:pt x="2461094" y="3011752"/>
                  </a:cubicBezTo>
                  <a:cubicBezTo>
                    <a:pt x="2481782" y="3011752"/>
                    <a:pt x="2499515" y="2994018"/>
                    <a:pt x="2499515" y="2973331"/>
                  </a:cubicBezTo>
                  <a:cubicBezTo>
                    <a:pt x="2499515" y="2952640"/>
                    <a:pt x="2481782" y="2934906"/>
                    <a:pt x="2461094" y="2934906"/>
                  </a:cubicBezTo>
                  <a:cubicBezTo>
                    <a:pt x="2440404" y="2934906"/>
                    <a:pt x="2422670" y="2952640"/>
                    <a:pt x="2422670" y="2973331"/>
                  </a:cubicBezTo>
                  <a:close/>
                  <a:moveTo>
                    <a:pt x="2407890" y="2373344"/>
                  </a:moveTo>
                  <a:cubicBezTo>
                    <a:pt x="2407890" y="2376298"/>
                    <a:pt x="2410845" y="2382209"/>
                    <a:pt x="2416759" y="2382209"/>
                  </a:cubicBezTo>
                  <a:cubicBezTo>
                    <a:pt x="2422670" y="2382209"/>
                    <a:pt x="2425624" y="2379255"/>
                    <a:pt x="2425624" y="2373344"/>
                  </a:cubicBezTo>
                  <a:cubicBezTo>
                    <a:pt x="2425624" y="2367432"/>
                    <a:pt x="2422670" y="2364476"/>
                    <a:pt x="2416759" y="2364476"/>
                  </a:cubicBezTo>
                  <a:cubicBezTo>
                    <a:pt x="2410845" y="2364476"/>
                    <a:pt x="2407890" y="2367432"/>
                    <a:pt x="2407890" y="2373344"/>
                  </a:cubicBezTo>
                  <a:close/>
                  <a:moveTo>
                    <a:pt x="2404933" y="3780204"/>
                  </a:moveTo>
                  <a:cubicBezTo>
                    <a:pt x="2404933" y="3809760"/>
                    <a:pt x="2431535" y="3836362"/>
                    <a:pt x="2461091" y="3836362"/>
                  </a:cubicBezTo>
                  <a:cubicBezTo>
                    <a:pt x="2493601" y="3836362"/>
                    <a:pt x="2517246" y="3809760"/>
                    <a:pt x="2517246" y="3780204"/>
                  </a:cubicBezTo>
                  <a:cubicBezTo>
                    <a:pt x="2517246" y="3747694"/>
                    <a:pt x="2490647" y="3724049"/>
                    <a:pt x="2461091" y="3724049"/>
                  </a:cubicBezTo>
                  <a:cubicBezTo>
                    <a:pt x="2428578" y="3724049"/>
                    <a:pt x="2404933" y="3750648"/>
                    <a:pt x="2404933" y="3780204"/>
                  </a:cubicBezTo>
                  <a:close/>
                  <a:moveTo>
                    <a:pt x="2369469" y="3180220"/>
                  </a:moveTo>
                  <a:cubicBezTo>
                    <a:pt x="2372426" y="3206822"/>
                    <a:pt x="2393114" y="3227509"/>
                    <a:pt x="2416759" y="3227509"/>
                  </a:cubicBezTo>
                  <a:cubicBezTo>
                    <a:pt x="2443361" y="3227509"/>
                    <a:pt x="2464048" y="3206822"/>
                    <a:pt x="2464048" y="3180220"/>
                  </a:cubicBezTo>
                  <a:cubicBezTo>
                    <a:pt x="2464048" y="3153618"/>
                    <a:pt x="2443361" y="3132930"/>
                    <a:pt x="2416759" y="3132930"/>
                  </a:cubicBezTo>
                  <a:cubicBezTo>
                    <a:pt x="2390157" y="3132930"/>
                    <a:pt x="2369469" y="3153618"/>
                    <a:pt x="2369469" y="3180220"/>
                  </a:cubicBezTo>
                  <a:close/>
                  <a:moveTo>
                    <a:pt x="2360601" y="3984141"/>
                  </a:moveTo>
                  <a:cubicBezTo>
                    <a:pt x="2360601" y="4016651"/>
                    <a:pt x="2384246" y="4043253"/>
                    <a:pt x="2419713" y="4043253"/>
                  </a:cubicBezTo>
                  <a:cubicBezTo>
                    <a:pt x="2452226" y="4043253"/>
                    <a:pt x="2478825" y="4016651"/>
                    <a:pt x="2478825" y="3984141"/>
                  </a:cubicBezTo>
                  <a:cubicBezTo>
                    <a:pt x="2478825" y="3951628"/>
                    <a:pt x="2452226" y="3925029"/>
                    <a:pt x="2419713" y="3925029"/>
                  </a:cubicBezTo>
                  <a:cubicBezTo>
                    <a:pt x="2387203" y="3925029"/>
                    <a:pt x="2360601" y="3951628"/>
                    <a:pt x="2360601" y="3984141"/>
                  </a:cubicBezTo>
                  <a:close/>
                  <a:moveTo>
                    <a:pt x="2354690" y="2583190"/>
                  </a:moveTo>
                  <a:cubicBezTo>
                    <a:pt x="2354690" y="2592054"/>
                    <a:pt x="2363558" y="2600923"/>
                    <a:pt x="2372423" y="2600923"/>
                  </a:cubicBezTo>
                  <a:cubicBezTo>
                    <a:pt x="2381289" y="2600923"/>
                    <a:pt x="2390157" y="2592054"/>
                    <a:pt x="2390157" y="2583190"/>
                  </a:cubicBezTo>
                  <a:cubicBezTo>
                    <a:pt x="2390157" y="2574324"/>
                    <a:pt x="2381289" y="2565456"/>
                    <a:pt x="2372423" y="2565456"/>
                  </a:cubicBezTo>
                  <a:cubicBezTo>
                    <a:pt x="2363558" y="2565456"/>
                    <a:pt x="2354690" y="2574324"/>
                    <a:pt x="2354690" y="2583190"/>
                  </a:cubicBezTo>
                  <a:close/>
                  <a:moveTo>
                    <a:pt x="2319223" y="1983205"/>
                  </a:moveTo>
                  <a:cubicBezTo>
                    <a:pt x="2319223" y="1988102"/>
                    <a:pt x="2323191" y="1992070"/>
                    <a:pt x="2328088" y="1992070"/>
                  </a:cubicBezTo>
                  <a:cubicBezTo>
                    <a:pt x="2332988" y="1992070"/>
                    <a:pt x="2336956" y="1988102"/>
                    <a:pt x="2336956" y="1983205"/>
                  </a:cubicBezTo>
                  <a:cubicBezTo>
                    <a:pt x="2336956" y="1978306"/>
                    <a:pt x="2332988" y="1974337"/>
                    <a:pt x="2328088" y="1974337"/>
                  </a:cubicBezTo>
                  <a:cubicBezTo>
                    <a:pt x="2323191" y="1974337"/>
                    <a:pt x="2319223" y="1978306"/>
                    <a:pt x="2319223" y="1983205"/>
                  </a:cubicBezTo>
                  <a:close/>
                  <a:moveTo>
                    <a:pt x="2313311" y="3387111"/>
                  </a:moveTo>
                  <a:cubicBezTo>
                    <a:pt x="2316266" y="3419621"/>
                    <a:pt x="2339910" y="3446223"/>
                    <a:pt x="2372423" y="3446223"/>
                  </a:cubicBezTo>
                  <a:cubicBezTo>
                    <a:pt x="2404933" y="3446223"/>
                    <a:pt x="2431535" y="3419621"/>
                    <a:pt x="2431535" y="3387111"/>
                  </a:cubicBezTo>
                  <a:cubicBezTo>
                    <a:pt x="2431535" y="3354598"/>
                    <a:pt x="2404933" y="3327999"/>
                    <a:pt x="2372423" y="3327999"/>
                  </a:cubicBezTo>
                  <a:cubicBezTo>
                    <a:pt x="2339910" y="3327999"/>
                    <a:pt x="2313311" y="3354598"/>
                    <a:pt x="2313311" y="3387111"/>
                  </a:cubicBezTo>
                  <a:close/>
                  <a:moveTo>
                    <a:pt x="2307400" y="2793035"/>
                  </a:moveTo>
                  <a:cubicBezTo>
                    <a:pt x="2307400" y="2801904"/>
                    <a:pt x="2316269" y="2813726"/>
                    <a:pt x="2328091" y="2813726"/>
                  </a:cubicBezTo>
                  <a:cubicBezTo>
                    <a:pt x="2339913" y="2813726"/>
                    <a:pt x="2348779" y="2804858"/>
                    <a:pt x="2348779" y="2793035"/>
                  </a:cubicBezTo>
                  <a:cubicBezTo>
                    <a:pt x="2348779" y="2781216"/>
                    <a:pt x="2339913" y="2772348"/>
                    <a:pt x="2328091" y="2772348"/>
                  </a:cubicBezTo>
                  <a:cubicBezTo>
                    <a:pt x="2316269" y="2772348"/>
                    <a:pt x="2307400" y="2781216"/>
                    <a:pt x="2307400" y="2793035"/>
                  </a:cubicBezTo>
                  <a:close/>
                  <a:moveTo>
                    <a:pt x="2271933" y="2193051"/>
                  </a:moveTo>
                  <a:cubicBezTo>
                    <a:pt x="2271933" y="2198962"/>
                    <a:pt x="2277844" y="2204873"/>
                    <a:pt x="2283756" y="2204873"/>
                  </a:cubicBezTo>
                  <a:cubicBezTo>
                    <a:pt x="2289667" y="2204873"/>
                    <a:pt x="2295578" y="2198962"/>
                    <a:pt x="2295578" y="2193051"/>
                  </a:cubicBezTo>
                  <a:cubicBezTo>
                    <a:pt x="2295578" y="2187140"/>
                    <a:pt x="2289667" y="2181228"/>
                    <a:pt x="2283756" y="2181228"/>
                  </a:cubicBezTo>
                  <a:cubicBezTo>
                    <a:pt x="2277844" y="2181228"/>
                    <a:pt x="2271933" y="2187140"/>
                    <a:pt x="2271933" y="2193051"/>
                  </a:cubicBezTo>
                  <a:close/>
                  <a:moveTo>
                    <a:pt x="2266022" y="3594006"/>
                  </a:moveTo>
                  <a:cubicBezTo>
                    <a:pt x="2268979" y="3626516"/>
                    <a:pt x="2295578" y="3656072"/>
                    <a:pt x="2328091" y="3656072"/>
                  </a:cubicBezTo>
                  <a:cubicBezTo>
                    <a:pt x="2363558" y="3656072"/>
                    <a:pt x="2390157" y="3629473"/>
                    <a:pt x="2390157" y="3594006"/>
                  </a:cubicBezTo>
                  <a:cubicBezTo>
                    <a:pt x="2390157" y="3558536"/>
                    <a:pt x="2363558" y="3531936"/>
                    <a:pt x="2328091" y="3531936"/>
                  </a:cubicBezTo>
                  <a:cubicBezTo>
                    <a:pt x="2292621" y="3531936"/>
                    <a:pt x="2266022" y="3558536"/>
                    <a:pt x="2266022" y="3594006"/>
                  </a:cubicBezTo>
                  <a:close/>
                  <a:moveTo>
                    <a:pt x="2245334" y="2996972"/>
                  </a:moveTo>
                  <a:cubicBezTo>
                    <a:pt x="2245334" y="3018194"/>
                    <a:pt x="2262537" y="3035397"/>
                    <a:pt x="2283756" y="3035397"/>
                  </a:cubicBezTo>
                  <a:cubicBezTo>
                    <a:pt x="2304977" y="3035397"/>
                    <a:pt x="2322180" y="3018194"/>
                    <a:pt x="2322180" y="2996972"/>
                  </a:cubicBezTo>
                  <a:cubicBezTo>
                    <a:pt x="2322180" y="2975754"/>
                    <a:pt x="2304977" y="2958552"/>
                    <a:pt x="2283756" y="2958552"/>
                  </a:cubicBezTo>
                  <a:cubicBezTo>
                    <a:pt x="2262537" y="2958552"/>
                    <a:pt x="2245334" y="2975754"/>
                    <a:pt x="2245334" y="2996972"/>
                  </a:cubicBezTo>
                  <a:close/>
                  <a:moveTo>
                    <a:pt x="2227598" y="3797937"/>
                  </a:moveTo>
                  <a:cubicBezTo>
                    <a:pt x="2227598" y="3830450"/>
                    <a:pt x="2254200" y="3854095"/>
                    <a:pt x="2283756" y="3854095"/>
                  </a:cubicBezTo>
                  <a:cubicBezTo>
                    <a:pt x="2316266" y="3854095"/>
                    <a:pt x="2339910" y="3827493"/>
                    <a:pt x="2339910" y="3797937"/>
                  </a:cubicBezTo>
                  <a:cubicBezTo>
                    <a:pt x="2339910" y="3765427"/>
                    <a:pt x="2313311" y="3741782"/>
                    <a:pt x="2283756" y="3741782"/>
                  </a:cubicBezTo>
                  <a:cubicBezTo>
                    <a:pt x="2251242" y="3741782"/>
                    <a:pt x="2227598" y="3768381"/>
                    <a:pt x="2227598" y="3797937"/>
                  </a:cubicBezTo>
                  <a:close/>
                  <a:moveTo>
                    <a:pt x="2224644" y="2399942"/>
                  </a:moveTo>
                  <a:cubicBezTo>
                    <a:pt x="2224644" y="2408808"/>
                    <a:pt x="2230555" y="2414719"/>
                    <a:pt x="2239423" y="2414719"/>
                  </a:cubicBezTo>
                  <a:cubicBezTo>
                    <a:pt x="2248288" y="2414719"/>
                    <a:pt x="2254200" y="2408808"/>
                    <a:pt x="2254200" y="2399942"/>
                  </a:cubicBezTo>
                  <a:cubicBezTo>
                    <a:pt x="2254200" y="2391074"/>
                    <a:pt x="2248288" y="2385163"/>
                    <a:pt x="2239423" y="2385163"/>
                  </a:cubicBezTo>
                  <a:cubicBezTo>
                    <a:pt x="2230555" y="2385163"/>
                    <a:pt x="2224644" y="2391074"/>
                    <a:pt x="2224644" y="2399942"/>
                  </a:cubicBezTo>
                  <a:close/>
                  <a:moveTo>
                    <a:pt x="2192134" y="1802916"/>
                  </a:moveTo>
                  <a:cubicBezTo>
                    <a:pt x="2192134" y="1804548"/>
                    <a:pt x="2193456" y="1805870"/>
                    <a:pt x="2195088" y="1805870"/>
                  </a:cubicBezTo>
                  <a:cubicBezTo>
                    <a:pt x="2196723" y="1805870"/>
                    <a:pt x="2198045" y="1804545"/>
                    <a:pt x="2198045" y="1802916"/>
                  </a:cubicBezTo>
                  <a:cubicBezTo>
                    <a:pt x="2198045" y="1801280"/>
                    <a:pt x="2196720" y="1799958"/>
                    <a:pt x="2195088" y="1799958"/>
                  </a:cubicBezTo>
                  <a:cubicBezTo>
                    <a:pt x="2193456" y="1799958"/>
                    <a:pt x="2192134" y="1801284"/>
                    <a:pt x="2192134" y="1802916"/>
                  </a:cubicBezTo>
                  <a:close/>
                  <a:moveTo>
                    <a:pt x="2189176" y="4205812"/>
                  </a:moveTo>
                  <a:cubicBezTo>
                    <a:pt x="2189176" y="4209076"/>
                    <a:pt x="2191823" y="4211724"/>
                    <a:pt x="2195088" y="4211724"/>
                  </a:cubicBezTo>
                  <a:cubicBezTo>
                    <a:pt x="2198352" y="4211724"/>
                    <a:pt x="2200999" y="4209076"/>
                    <a:pt x="2200999" y="4205812"/>
                  </a:cubicBezTo>
                  <a:cubicBezTo>
                    <a:pt x="2200999" y="4202548"/>
                    <a:pt x="2198352" y="4199901"/>
                    <a:pt x="2195088" y="4199901"/>
                  </a:cubicBezTo>
                  <a:cubicBezTo>
                    <a:pt x="2191823" y="4199901"/>
                    <a:pt x="2189176" y="4202548"/>
                    <a:pt x="2189176" y="4205812"/>
                  </a:cubicBezTo>
                  <a:close/>
                  <a:moveTo>
                    <a:pt x="2186222" y="3200910"/>
                  </a:moveTo>
                  <a:cubicBezTo>
                    <a:pt x="2186222" y="3230466"/>
                    <a:pt x="2209867" y="3254111"/>
                    <a:pt x="2239423" y="3254111"/>
                  </a:cubicBezTo>
                  <a:cubicBezTo>
                    <a:pt x="2268979" y="3254111"/>
                    <a:pt x="2292624" y="3230466"/>
                    <a:pt x="2292624" y="3200910"/>
                  </a:cubicBezTo>
                  <a:cubicBezTo>
                    <a:pt x="2292624" y="3171354"/>
                    <a:pt x="2268979" y="3147710"/>
                    <a:pt x="2239423" y="3147710"/>
                  </a:cubicBezTo>
                  <a:cubicBezTo>
                    <a:pt x="2209867" y="3147710"/>
                    <a:pt x="2186222" y="3171354"/>
                    <a:pt x="2186222" y="3200910"/>
                  </a:cubicBezTo>
                  <a:close/>
                  <a:moveTo>
                    <a:pt x="2180311" y="4004832"/>
                  </a:moveTo>
                  <a:cubicBezTo>
                    <a:pt x="2180311" y="4034388"/>
                    <a:pt x="2206910" y="4063944"/>
                    <a:pt x="2239423" y="4063944"/>
                  </a:cubicBezTo>
                  <a:cubicBezTo>
                    <a:pt x="2271933" y="4063944"/>
                    <a:pt x="2298535" y="4037345"/>
                    <a:pt x="2298535" y="4004832"/>
                  </a:cubicBezTo>
                  <a:cubicBezTo>
                    <a:pt x="2298535" y="3972318"/>
                    <a:pt x="2271933" y="3945720"/>
                    <a:pt x="2239423" y="3945720"/>
                  </a:cubicBezTo>
                  <a:cubicBezTo>
                    <a:pt x="2206910" y="3945720"/>
                    <a:pt x="2180311" y="3972318"/>
                    <a:pt x="2180311" y="4004832"/>
                  </a:cubicBezTo>
                  <a:close/>
                  <a:moveTo>
                    <a:pt x="2174397" y="2606834"/>
                  </a:moveTo>
                  <a:cubicBezTo>
                    <a:pt x="2174397" y="2618660"/>
                    <a:pt x="2183265" y="2627525"/>
                    <a:pt x="2195088" y="2627525"/>
                  </a:cubicBezTo>
                  <a:cubicBezTo>
                    <a:pt x="2206910" y="2627525"/>
                    <a:pt x="2215775" y="2618660"/>
                    <a:pt x="2215775" y="2606834"/>
                  </a:cubicBezTo>
                  <a:cubicBezTo>
                    <a:pt x="2215775" y="2595015"/>
                    <a:pt x="2206910" y="2586146"/>
                    <a:pt x="2195088" y="2586146"/>
                  </a:cubicBezTo>
                  <a:cubicBezTo>
                    <a:pt x="2183265" y="2586146"/>
                    <a:pt x="2174397" y="2595015"/>
                    <a:pt x="2174397" y="2606834"/>
                  </a:cubicBezTo>
                  <a:close/>
                  <a:moveTo>
                    <a:pt x="2144841" y="2009804"/>
                  </a:moveTo>
                  <a:cubicBezTo>
                    <a:pt x="2144841" y="2012761"/>
                    <a:pt x="2147798" y="2015715"/>
                    <a:pt x="2150752" y="2015715"/>
                  </a:cubicBezTo>
                  <a:cubicBezTo>
                    <a:pt x="2153709" y="2015715"/>
                    <a:pt x="2156663" y="2012761"/>
                    <a:pt x="2156663" y="2009804"/>
                  </a:cubicBezTo>
                  <a:cubicBezTo>
                    <a:pt x="2156663" y="2006847"/>
                    <a:pt x="2153709" y="2003893"/>
                    <a:pt x="2150752" y="2003893"/>
                  </a:cubicBezTo>
                  <a:cubicBezTo>
                    <a:pt x="2147798" y="2003893"/>
                    <a:pt x="2144841" y="2006847"/>
                    <a:pt x="2144841" y="2009804"/>
                  </a:cubicBezTo>
                  <a:close/>
                  <a:moveTo>
                    <a:pt x="2135976" y="3407802"/>
                  </a:moveTo>
                  <a:cubicBezTo>
                    <a:pt x="2135976" y="3440312"/>
                    <a:pt x="2162575" y="3466914"/>
                    <a:pt x="2195088" y="3466914"/>
                  </a:cubicBezTo>
                  <a:cubicBezTo>
                    <a:pt x="2227598" y="3466914"/>
                    <a:pt x="2254200" y="3440312"/>
                    <a:pt x="2254200" y="3407802"/>
                  </a:cubicBezTo>
                  <a:cubicBezTo>
                    <a:pt x="2254200" y="3375288"/>
                    <a:pt x="2227598" y="3348690"/>
                    <a:pt x="2195088" y="3348690"/>
                  </a:cubicBezTo>
                  <a:cubicBezTo>
                    <a:pt x="2162575" y="3348690"/>
                    <a:pt x="2135976" y="3375288"/>
                    <a:pt x="2135976" y="3407802"/>
                  </a:cubicBezTo>
                  <a:close/>
                  <a:moveTo>
                    <a:pt x="2127111" y="2810772"/>
                  </a:moveTo>
                  <a:cubicBezTo>
                    <a:pt x="2127111" y="2822594"/>
                    <a:pt x="2138933" y="2834416"/>
                    <a:pt x="2150755" y="2834416"/>
                  </a:cubicBezTo>
                  <a:cubicBezTo>
                    <a:pt x="2162578" y="2834416"/>
                    <a:pt x="2174400" y="2822594"/>
                    <a:pt x="2174400" y="2810772"/>
                  </a:cubicBezTo>
                  <a:cubicBezTo>
                    <a:pt x="2174400" y="2798950"/>
                    <a:pt x="2162578" y="2787127"/>
                    <a:pt x="2150755" y="2787127"/>
                  </a:cubicBezTo>
                  <a:cubicBezTo>
                    <a:pt x="2138933" y="2787127"/>
                    <a:pt x="2127111" y="2798950"/>
                    <a:pt x="2127111" y="2810772"/>
                  </a:cubicBezTo>
                  <a:close/>
                  <a:moveTo>
                    <a:pt x="2097555" y="2210788"/>
                  </a:moveTo>
                  <a:cubicBezTo>
                    <a:pt x="2097555" y="2216699"/>
                    <a:pt x="2100509" y="2219653"/>
                    <a:pt x="2106423" y="2219653"/>
                  </a:cubicBezTo>
                  <a:cubicBezTo>
                    <a:pt x="2112334" y="2219653"/>
                    <a:pt x="2115288" y="2216699"/>
                    <a:pt x="2115288" y="2210788"/>
                  </a:cubicBezTo>
                  <a:cubicBezTo>
                    <a:pt x="2115288" y="2207830"/>
                    <a:pt x="2112334" y="2201919"/>
                    <a:pt x="2106423" y="2201919"/>
                  </a:cubicBezTo>
                  <a:cubicBezTo>
                    <a:pt x="2103466" y="2201919"/>
                    <a:pt x="2097555" y="2204876"/>
                    <a:pt x="2097555" y="2210788"/>
                  </a:cubicBezTo>
                  <a:close/>
                  <a:moveTo>
                    <a:pt x="2082775" y="3608782"/>
                  </a:moveTo>
                  <a:cubicBezTo>
                    <a:pt x="2082775" y="3647204"/>
                    <a:pt x="2112331" y="3676760"/>
                    <a:pt x="2150755" y="3676760"/>
                  </a:cubicBezTo>
                  <a:cubicBezTo>
                    <a:pt x="2189176" y="3676760"/>
                    <a:pt x="2218732" y="3647204"/>
                    <a:pt x="2218732" y="3608782"/>
                  </a:cubicBezTo>
                  <a:cubicBezTo>
                    <a:pt x="2218732" y="3570358"/>
                    <a:pt x="2189176" y="3540802"/>
                    <a:pt x="2150755" y="3540802"/>
                  </a:cubicBezTo>
                  <a:cubicBezTo>
                    <a:pt x="2112331" y="3540802"/>
                    <a:pt x="2082775" y="3570358"/>
                    <a:pt x="2082775" y="3608782"/>
                  </a:cubicBezTo>
                  <a:close/>
                  <a:moveTo>
                    <a:pt x="2062087" y="3011752"/>
                  </a:moveTo>
                  <a:cubicBezTo>
                    <a:pt x="2062087" y="3035397"/>
                    <a:pt x="2082775" y="3056084"/>
                    <a:pt x="2106423" y="3056084"/>
                  </a:cubicBezTo>
                  <a:cubicBezTo>
                    <a:pt x="2130065" y="3056084"/>
                    <a:pt x="2150755" y="3035397"/>
                    <a:pt x="2150755" y="3011752"/>
                  </a:cubicBezTo>
                  <a:cubicBezTo>
                    <a:pt x="2150755" y="2988108"/>
                    <a:pt x="2130065" y="2967416"/>
                    <a:pt x="2106423" y="2967416"/>
                  </a:cubicBezTo>
                  <a:cubicBezTo>
                    <a:pt x="2082775" y="2967416"/>
                    <a:pt x="2062087" y="2988108"/>
                    <a:pt x="2062087" y="3011752"/>
                  </a:cubicBezTo>
                  <a:close/>
                  <a:moveTo>
                    <a:pt x="2050262" y="2414722"/>
                  </a:moveTo>
                  <a:cubicBezTo>
                    <a:pt x="2050262" y="2420634"/>
                    <a:pt x="2056173" y="2426544"/>
                    <a:pt x="2062084" y="2426544"/>
                  </a:cubicBezTo>
                  <a:cubicBezTo>
                    <a:pt x="2067995" y="2426544"/>
                    <a:pt x="2073907" y="2420634"/>
                    <a:pt x="2073907" y="2414722"/>
                  </a:cubicBezTo>
                  <a:cubicBezTo>
                    <a:pt x="2073907" y="2408811"/>
                    <a:pt x="2067995" y="2402900"/>
                    <a:pt x="2062084" y="2402900"/>
                  </a:cubicBezTo>
                  <a:cubicBezTo>
                    <a:pt x="2056173" y="2402900"/>
                    <a:pt x="2050262" y="2408811"/>
                    <a:pt x="2050262" y="2414722"/>
                  </a:cubicBezTo>
                  <a:close/>
                  <a:moveTo>
                    <a:pt x="2047308" y="3812716"/>
                  </a:moveTo>
                  <a:cubicBezTo>
                    <a:pt x="2047308" y="3845230"/>
                    <a:pt x="2073907" y="3871828"/>
                    <a:pt x="2106420" y="3871828"/>
                  </a:cubicBezTo>
                  <a:cubicBezTo>
                    <a:pt x="2138930" y="3871828"/>
                    <a:pt x="2165532" y="3845230"/>
                    <a:pt x="2165532" y="3812716"/>
                  </a:cubicBezTo>
                  <a:cubicBezTo>
                    <a:pt x="2165532" y="3780204"/>
                    <a:pt x="2138930" y="3753604"/>
                    <a:pt x="2106420" y="3753604"/>
                  </a:cubicBezTo>
                  <a:cubicBezTo>
                    <a:pt x="2073907" y="3753604"/>
                    <a:pt x="2047308" y="3780204"/>
                    <a:pt x="2047308" y="3812716"/>
                  </a:cubicBezTo>
                  <a:close/>
                  <a:moveTo>
                    <a:pt x="2008887" y="3215686"/>
                  </a:moveTo>
                  <a:cubicBezTo>
                    <a:pt x="2008887" y="3245242"/>
                    <a:pt x="2032531" y="3268888"/>
                    <a:pt x="2062087" y="3268888"/>
                  </a:cubicBezTo>
                  <a:cubicBezTo>
                    <a:pt x="2091643" y="3268888"/>
                    <a:pt x="2115288" y="3245242"/>
                    <a:pt x="2115288" y="3215686"/>
                  </a:cubicBezTo>
                  <a:cubicBezTo>
                    <a:pt x="2115288" y="3186130"/>
                    <a:pt x="2091643" y="3162486"/>
                    <a:pt x="2062087" y="3162486"/>
                  </a:cubicBezTo>
                  <a:cubicBezTo>
                    <a:pt x="2032531" y="3162486"/>
                    <a:pt x="2008887" y="3186130"/>
                    <a:pt x="2008887" y="3215686"/>
                  </a:cubicBezTo>
                  <a:close/>
                  <a:moveTo>
                    <a:pt x="2005929" y="4010740"/>
                  </a:moveTo>
                  <a:cubicBezTo>
                    <a:pt x="2005929" y="4043253"/>
                    <a:pt x="2029574" y="4066898"/>
                    <a:pt x="2062087" y="4066898"/>
                  </a:cubicBezTo>
                  <a:cubicBezTo>
                    <a:pt x="2094597" y="4066898"/>
                    <a:pt x="2118242" y="4040296"/>
                    <a:pt x="2118242" y="4010740"/>
                  </a:cubicBezTo>
                  <a:cubicBezTo>
                    <a:pt x="2118242" y="3978230"/>
                    <a:pt x="2091643" y="3954585"/>
                    <a:pt x="2062087" y="3954585"/>
                  </a:cubicBezTo>
                  <a:cubicBezTo>
                    <a:pt x="2029574" y="3954585"/>
                    <a:pt x="2005929" y="3981184"/>
                    <a:pt x="2005929" y="4010740"/>
                  </a:cubicBezTo>
                  <a:close/>
                  <a:moveTo>
                    <a:pt x="2002975" y="2618660"/>
                  </a:moveTo>
                  <a:cubicBezTo>
                    <a:pt x="2002975" y="2624568"/>
                    <a:pt x="2008887" y="2633436"/>
                    <a:pt x="2017755" y="2633436"/>
                  </a:cubicBezTo>
                  <a:cubicBezTo>
                    <a:pt x="2026620" y="2633436"/>
                    <a:pt x="2032531" y="2627525"/>
                    <a:pt x="2032531" y="2618660"/>
                  </a:cubicBezTo>
                  <a:cubicBezTo>
                    <a:pt x="2032531" y="2609792"/>
                    <a:pt x="2026620" y="2603880"/>
                    <a:pt x="2017755" y="2603880"/>
                  </a:cubicBezTo>
                  <a:cubicBezTo>
                    <a:pt x="2008887" y="2603880"/>
                    <a:pt x="2002975" y="2609792"/>
                    <a:pt x="2002975" y="2618660"/>
                  </a:cubicBezTo>
                  <a:close/>
                  <a:moveTo>
                    <a:pt x="1997061" y="4211720"/>
                  </a:moveTo>
                  <a:cubicBezTo>
                    <a:pt x="1997061" y="4223542"/>
                    <a:pt x="2005929" y="4232411"/>
                    <a:pt x="2017752" y="4232411"/>
                  </a:cubicBezTo>
                  <a:cubicBezTo>
                    <a:pt x="2029574" y="4232411"/>
                    <a:pt x="2038440" y="4223542"/>
                    <a:pt x="2038440" y="4211720"/>
                  </a:cubicBezTo>
                  <a:cubicBezTo>
                    <a:pt x="2038440" y="4199901"/>
                    <a:pt x="2029574" y="4191032"/>
                    <a:pt x="2017752" y="4191032"/>
                  </a:cubicBezTo>
                  <a:cubicBezTo>
                    <a:pt x="2005929" y="4191032"/>
                    <a:pt x="1997061" y="4199901"/>
                    <a:pt x="1997061" y="4211720"/>
                  </a:cubicBezTo>
                  <a:close/>
                  <a:moveTo>
                    <a:pt x="1967138" y="2025691"/>
                  </a:moveTo>
                  <a:cubicBezTo>
                    <a:pt x="1968247" y="2026800"/>
                    <a:pt x="1970464" y="2027538"/>
                    <a:pt x="1973420" y="2027538"/>
                  </a:cubicBezTo>
                  <a:cubicBezTo>
                    <a:pt x="1976374" y="2027538"/>
                    <a:pt x="1979331" y="2024584"/>
                    <a:pt x="1979331" y="2021626"/>
                  </a:cubicBezTo>
                  <a:cubicBezTo>
                    <a:pt x="1979331" y="2018672"/>
                    <a:pt x="1976374" y="2015715"/>
                    <a:pt x="1973420" y="2015715"/>
                  </a:cubicBezTo>
                  <a:cubicBezTo>
                    <a:pt x="1970462" y="2015715"/>
                    <a:pt x="1967508" y="2018672"/>
                    <a:pt x="1967508" y="2021626"/>
                  </a:cubicBezTo>
                  <a:cubicBezTo>
                    <a:pt x="1966030" y="2023105"/>
                    <a:pt x="1966030" y="2024583"/>
                    <a:pt x="1967138" y="2025691"/>
                  </a:cubicBezTo>
                  <a:close/>
                  <a:moveTo>
                    <a:pt x="1961594" y="3416667"/>
                  </a:moveTo>
                  <a:cubicBezTo>
                    <a:pt x="1958640" y="3446223"/>
                    <a:pt x="1985239" y="3472822"/>
                    <a:pt x="2017752" y="3472822"/>
                  </a:cubicBezTo>
                  <a:cubicBezTo>
                    <a:pt x="2050262" y="3472822"/>
                    <a:pt x="2073907" y="3446223"/>
                    <a:pt x="2073907" y="3416667"/>
                  </a:cubicBezTo>
                  <a:cubicBezTo>
                    <a:pt x="2073907" y="3384154"/>
                    <a:pt x="2047308" y="3360509"/>
                    <a:pt x="2017752" y="3360509"/>
                  </a:cubicBezTo>
                  <a:cubicBezTo>
                    <a:pt x="1985239" y="3360509"/>
                    <a:pt x="1961594" y="3387111"/>
                    <a:pt x="1961594" y="3416667"/>
                  </a:cubicBezTo>
                  <a:close/>
                  <a:moveTo>
                    <a:pt x="1946818" y="2816683"/>
                  </a:moveTo>
                  <a:cubicBezTo>
                    <a:pt x="1946818" y="2831460"/>
                    <a:pt x="1958640" y="2843282"/>
                    <a:pt x="1973420" y="2843282"/>
                  </a:cubicBezTo>
                  <a:cubicBezTo>
                    <a:pt x="1988196" y="2843282"/>
                    <a:pt x="2000018" y="2831460"/>
                    <a:pt x="2000018" y="2816683"/>
                  </a:cubicBezTo>
                  <a:cubicBezTo>
                    <a:pt x="2000018" y="2801904"/>
                    <a:pt x="1988196" y="2790081"/>
                    <a:pt x="1973420" y="2790081"/>
                  </a:cubicBezTo>
                  <a:cubicBezTo>
                    <a:pt x="1958640" y="2790081"/>
                    <a:pt x="1946818" y="2801904"/>
                    <a:pt x="1946818" y="2816683"/>
                  </a:cubicBezTo>
                  <a:close/>
                  <a:moveTo>
                    <a:pt x="1917262" y="2219653"/>
                  </a:moveTo>
                  <a:cubicBezTo>
                    <a:pt x="1920219" y="2225564"/>
                    <a:pt x="1923173" y="2228518"/>
                    <a:pt x="1926130" y="2228518"/>
                  </a:cubicBezTo>
                  <a:cubicBezTo>
                    <a:pt x="1929084" y="2228518"/>
                    <a:pt x="1934995" y="2225564"/>
                    <a:pt x="1934995" y="2219653"/>
                  </a:cubicBezTo>
                  <a:cubicBezTo>
                    <a:pt x="1934995" y="2216696"/>
                    <a:pt x="1932041" y="2210784"/>
                    <a:pt x="1926130" y="2210784"/>
                  </a:cubicBezTo>
                  <a:cubicBezTo>
                    <a:pt x="1920219" y="2210784"/>
                    <a:pt x="1917262" y="2213738"/>
                    <a:pt x="1917262" y="2219653"/>
                  </a:cubicBezTo>
                  <a:close/>
                  <a:moveTo>
                    <a:pt x="1905439" y="3614694"/>
                  </a:moveTo>
                  <a:cubicBezTo>
                    <a:pt x="1905439" y="3653114"/>
                    <a:pt x="1934995" y="3682670"/>
                    <a:pt x="1973420" y="3682670"/>
                  </a:cubicBezTo>
                  <a:cubicBezTo>
                    <a:pt x="2011841" y="3682670"/>
                    <a:pt x="2041397" y="3653114"/>
                    <a:pt x="2041397" y="3614694"/>
                  </a:cubicBezTo>
                  <a:cubicBezTo>
                    <a:pt x="2041397" y="3576269"/>
                    <a:pt x="2011841" y="3546713"/>
                    <a:pt x="1973420" y="3546713"/>
                  </a:cubicBezTo>
                  <a:cubicBezTo>
                    <a:pt x="1934995" y="3546713"/>
                    <a:pt x="1905439" y="3576269"/>
                    <a:pt x="1905439" y="3614694"/>
                  </a:cubicBezTo>
                  <a:close/>
                  <a:moveTo>
                    <a:pt x="1881795" y="3017664"/>
                  </a:moveTo>
                  <a:cubicBezTo>
                    <a:pt x="1881795" y="3041305"/>
                    <a:pt x="1902482" y="3061996"/>
                    <a:pt x="1926130" y="3061996"/>
                  </a:cubicBezTo>
                  <a:cubicBezTo>
                    <a:pt x="1949775" y="3061996"/>
                    <a:pt x="1970462" y="3041305"/>
                    <a:pt x="1970462" y="3017664"/>
                  </a:cubicBezTo>
                  <a:cubicBezTo>
                    <a:pt x="1970462" y="2994016"/>
                    <a:pt x="1949775" y="2973328"/>
                    <a:pt x="1926130" y="2973328"/>
                  </a:cubicBezTo>
                  <a:cubicBezTo>
                    <a:pt x="1902482" y="2973328"/>
                    <a:pt x="1881795" y="2994016"/>
                    <a:pt x="1881795" y="3017664"/>
                  </a:cubicBezTo>
                  <a:close/>
                  <a:moveTo>
                    <a:pt x="1869972" y="2417676"/>
                  </a:moveTo>
                  <a:cubicBezTo>
                    <a:pt x="1872926" y="2423588"/>
                    <a:pt x="1875883" y="2429498"/>
                    <a:pt x="1881795" y="2429498"/>
                  </a:cubicBezTo>
                  <a:cubicBezTo>
                    <a:pt x="1887706" y="2429498"/>
                    <a:pt x="1893617" y="2423588"/>
                    <a:pt x="1893617" y="2417676"/>
                  </a:cubicBezTo>
                  <a:cubicBezTo>
                    <a:pt x="1893617" y="2411765"/>
                    <a:pt x="1887706" y="2405854"/>
                    <a:pt x="1881795" y="2405854"/>
                  </a:cubicBezTo>
                  <a:cubicBezTo>
                    <a:pt x="1875883" y="2405854"/>
                    <a:pt x="1869972" y="2411765"/>
                    <a:pt x="1869972" y="2417676"/>
                  </a:cubicBezTo>
                  <a:close/>
                  <a:moveTo>
                    <a:pt x="1867018" y="3815674"/>
                  </a:moveTo>
                  <a:cubicBezTo>
                    <a:pt x="1867018" y="3848184"/>
                    <a:pt x="1893617" y="3874786"/>
                    <a:pt x="1926130" y="3874786"/>
                  </a:cubicBezTo>
                  <a:cubicBezTo>
                    <a:pt x="1958643" y="3874786"/>
                    <a:pt x="1985242" y="3848184"/>
                    <a:pt x="1985242" y="3815674"/>
                  </a:cubicBezTo>
                  <a:cubicBezTo>
                    <a:pt x="1985242" y="3783160"/>
                    <a:pt x="1958643" y="3756562"/>
                    <a:pt x="1926130" y="3756562"/>
                  </a:cubicBezTo>
                  <a:cubicBezTo>
                    <a:pt x="1893617" y="3756562"/>
                    <a:pt x="1867018" y="3783160"/>
                    <a:pt x="1867018" y="3815674"/>
                  </a:cubicBezTo>
                  <a:close/>
                  <a:moveTo>
                    <a:pt x="1828594" y="3218644"/>
                  </a:moveTo>
                  <a:cubicBezTo>
                    <a:pt x="1828594" y="3245242"/>
                    <a:pt x="1852239" y="3271844"/>
                    <a:pt x="1881795" y="3271844"/>
                  </a:cubicBezTo>
                  <a:cubicBezTo>
                    <a:pt x="1911351" y="3271844"/>
                    <a:pt x="1934995" y="3248200"/>
                    <a:pt x="1934995" y="3218644"/>
                  </a:cubicBezTo>
                  <a:cubicBezTo>
                    <a:pt x="1934995" y="3189088"/>
                    <a:pt x="1911351" y="3165443"/>
                    <a:pt x="1881795" y="3165443"/>
                  </a:cubicBezTo>
                  <a:cubicBezTo>
                    <a:pt x="1852239" y="3165443"/>
                    <a:pt x="1828594" y="3189088"/>
                    <a:pt x="1828594" y="3218644"/>
                  </a:cubicBezTo>
                  <a:close/>
                  <a:moveTo>
                    <a:pt x="1825640" y="4013697"/>
                  </a:moveTo>
                  <a:cubicBezTo>
                    <a:pt x="1825640" y="4043253"/>
                    <a:pt x="1852239" y="4069852"/>
                    <a:pt x="1881795" y="4069852"/>
                  </a:cubicBezTo>
                  <a:cubicBezTo>
                    <a:pt x="1914308" y="4069852"/>
                    <a:pt x="1937952" y="4043253"/>
                    <a:pt x="1937952" y="4013697"/>
                  </a:cubicBezTo>
                  <a:cubicBezTo>
                    <a:pt x="1937952" y="3984141"/>
                    <a:pt x="1911351" y="3957539"/>
                    <a:pt x="1881795" y="3957539"/>
                  </a:cubicBezTo>
                  <a:cubicBezTo>
                    <a:pt x="1849285" y="3957539"/>
                    <a:pt x="1825640" y="3984141"/>
                    <a:pt x="1825640" y="4013697"/>
                  </a:cubicBezTo>
                  <a:close/>
                  <a:moveTo>
                    <a:pt x="1816771" y="4211724"/>
                  </a:moveTo>
                  <a:cubicBezTo>
                    <a:pt x="1816771" y="4223148"/>
                    <a:pt x="1826034" y="4232411"/>
                    <a:pt x="1837462" y="4232411"/>
                  </a:cubicBezTo>
                  <a:cubicBezTo>
                    <a:pt x="1848887" y="4232411"/>
                    <a:pt x="1858150" y="4223148"/>
                    <a:pt x="1858150" y="4211724"/>
                  </a:cubicBezTo>
                  <a:cubicBezTo>
                    <a:pt x="1858150" y="4200295"/>
                    <a:pt x="1848887" y="4191032"/>
                    <a:pt x="1837462" y="4191032"/>
                  </a:cubicBezTo>
                  <a:cubicBezTo>
                    <a:pt x="1826034" y="4191032"/>
                    <a:pt x="1816771" y="4200295"/>
                    <a:pt x="1816771" y="4211724"/>
                  </a:cubicBezTo>
                  <a:close/>
                  <a:moveTo>
                    <a:pt x="1816771" y="2618656"/>
                  </a:moveTo>
                  <a:cubicBezTo>
                    <a:pt x="1816771" y="2627522"/>
                    <a:pt x="1825640" y="2639344"/>
                    <a:pt x="1837459" y="2639344"/>
                  </a:cubicBezTo>
                  <a:cubicBezTo>
                    <a:pt x="1849281" y="2639344"/>
                    <a:pt x="1858150" y="2630479"/>
                    <a:pt x="1858150" y="2618656"/>
                  </a:cubicBezTo>
                  <a:cubicBezTo>
                    <a:pt x="1858150" y="2606834"/>
                    <a:pt x="1849281" y="2597966"/>
                    <a:pt x="1837459" y="2597966"/>
                  </a:cubicBezTo>
                  <a:cubicBezTo>
                    <a:pt x="1825640" y="2597966"/>
                    <a:pt x="1816771" y="2606834"/>
                    <a:pt x="1816771" y="2618656"/>
                  </a:cubicBezTo>
                  <a:close/>
                  <a:moveTo>
                    <a:pt x="1787216" y="2015715"/>
                  </a:moveTo>
                  <a:cubicBezTo>
                    <a:pt x="1787216" y="2018980"/>
                    <a:pt x="1789862" y="2021626"/>
                    <a:pt x="1793127" y="2021626"/>
                  </a:cubicBezTo>
                  <a:cubicBezTo>
                    <a:pt x="1796391" y="2021626"/>
                    <a:pt x="1799038" y="2018980"/>
                    <a:pt x="1799038" y="2015715"/>
                  </a:cubicBezTo>
                  <a:cubicBezTo>
                    <a:pt x="1799038" y="2012451"/>
                    <a:pt x="1796391" y="2009804"/>
                    <a:pt x="1793127" y="2009804"/>
                  </a:cubicBezTo>
                  <a:cubicBezTo>
                    <a:pt x="1789862" y="2009804"/>
                    <a:pt x="1787216" y="2012451"/>
                    <a:pt x="1787216" y="2015715"/>
                  </a:cubicBezTo>
                  <a:close/>
                  <a:moveTo>
                    <a:pt x="1775393" y="3416670"/>
                  </a:moveTo>
                  <a:cubicBezTo>
                    <a:pt x="1775393" y="3449180"/>
                    <a:pt x="1801995" y="3478736"/>
                    <a:pt x="1837462" y="3478736"/>
                  </a:cubicBezTo>
                  <a:cubicBezTo>
                    <a:pt x="1872929" y="3478736"/>
                    <a:pt x="1899528" y="3449180"/>
                    <a:pt x="1899528" y="3416670"/>
                  </a:cubicBezTo>
                  <a:cubicBezTo>
                    <a:pt x="1899528" y="3381200"/>
                    <a:pt x="1869972" y="3354601"/>
                    <a:pt x="1837462" y="3354601"/>
                  </a:cubicBezTo>
                  <a:cubicBezTo>
                    <a:pt x="1801995" y="3354601"/>
                    <a:pt x="1775393" y="3384157"/>
                    <a:pt x="1775393" y="3416670"/>
                  </a:cubicBezTo>
                  <a:close/>
                  <a:moveTo>
                    <a:pt x="1760614" y="2816683"/>
                  </a:moveTo>
                  <a:cubicBezTo>
                    <a:pt x="1760614" y="2834414"/>
                    <a:pt x="1775393" y="2849193"/>
                    <a:pt x="1793127" y="2849193"/>
                  </a:cubicBezTo>
                  <a:cubicBezTo>
                    <a:pt x="1810860" y="2849193"/>
                    <a:pt x="1825637" y="2834414"/>
                    <a:pt x="1825637" y="2816683"/>
                  </a:cubicBezTo>
                  <a:cubicBezTo>
                    <a:pt x="1825637" y="2798950"/>
                    <a:pt x="1810860" y="2784170"/>
                    <a:pt x="1793127" y="2784170"/>
                  </a:cubicBezTo>
                  <a:cubicBezTo>
                    <a:pt x="1775393" y="2784170"/>
                    <a:pt x="1760614" y="2798950"/>
                    <a:pt x="1760614" y="2816683"/>
                  </a:cubicBezTo>
                  <a:close/>
                  <a:moveTo>
                    <a:pt x="1736972" y="2213742"/>
                  </a:moveTo>
                  <a:cubicBezTo>
                    <a:pt x="1736972" y="2219653"/>
                    <a:pt x="1742883" y="2225564"/>
                    <a:pt x="1748794" y="2225564"/>
                  </a:cubicBezTo>
                  <a:cubicBezTo>
                    <a:pt x="1754706" y="2225564"/>
                    <a:pt x="1760616" y="2219653"/>
                    <a:pt x="1760616" y="2213742"/>
                  </a:cubicBezTo>
                  <a:cubicBezTo>
                    <a:pt x="1760616" y="2207830"/>
                    <a:pt x="1754706" y="2201919"/>
                    <a:pt x="1748794" y="2201919"/>
                  </a:cubicBezTo>
                  <a:cubicBezTo>
                    <a:pt x="1742883" y="2201919"/>
                    <a:pt x="1736972" y="2207830"/>
                    <a:pt x="1736972" y="2213742"/>
                  </a:cubicBezTo>
                  <a:close/>
                  <a:moveTo>
                    <a:pt x="1728104" y="3611736"/>
                  </a:moveTo>
                  <a:cubicBezTo>
                    <a:pt x="1728104" y="3647204"/>
                    <a:pt x="1757660" y="3676760"/>
                    <a:pt x="1793127" y="3676760"/>
                  </a:cubicBezTo>
                  <a:cubicBezTo>
                    <a:pt x="1828594" y="3676760"/>
                    <a:pt x="1858150" y="3647204"/>
                    <a:pt x="1858150" y="3611736"/>
                  </a:cubicBezTo>
                  <a:cubicBezTo>
                    <a:pt x="1858150" y="3576269"/>
                    <a:pt x="1828594" y="3546713"/>
                    <a:pt x="1793127" y="3546713"/>
                  </a:cubicBezTo>
                  <a:cubicBezTo>
                    <a:pt x="1757660" y="3546713"/>
                    <a:pt x="1728104" y="3576269"/>
                    <a:pt x="1728104" y="3611736"/>
                  </a:cubicBezTo>
                  <a:close/>
                  <a:moveTo>
                    <a:pt x="1701502" y="3011752"/>
                  </a:moveTo>
                  <a:cubicBezTo>
                    <a:pt x="1701502" y="3038354"/>
                    <a:pt x="1722192" y="3059042"/>
                    <a:pt x="1748791" y="3059042"/>
                  </a:cubicBezTo>
                  <a:cubicBezTo>
                    <a:pt x="1775393" y="3059042"/>
                    <a:pt x="1796081" y="3038354"/>
                    <a:pt x="1796081" y="3011752"/>
                  </a:cubicBezTo>
                  <a:cubicBezTo>
                    <a:pt x="1796081" y="2985150"/>
                    <a:pt x="1775393" y="2964462"/>
                    <a:pt x="1748791" y="2964462"/>
                  </a:cubicBezTo>
                  <a:cubicBezTo>
                    <a:pt x="1722192" y="2964462"/>
                    <a:pt x="1701502" y="2985150"/>
                    <a:pt x="1701502" y="3011752"/>
                  </a:cubicBezTo>
                  <a:close/>
                  <a:moveTo>
                    <a:pt x="1695590" y="3812716"/>
                  </a:moveTo>
                  <a:cubicBezTo>
                    <a:pt x="1695590" y="3839316"/>
                    <a:pt x="1719235" y="3865918"/>
                    <a:pt x="1748791" y="3865918"/>
                  </a:cubicBezTo>
                  <a:cubicBezTo>
                    <a:pt x="1778347" y="3865918"/>
                    <a:pt x="1801992" y="3842272"/>
                    <a:pt x="1801992" y="3812716"/>
                  </a:cubicBezTo>
                  <a:cubicBezTo>
                    <a:pt x="1801992" y="3783160"/>
                    <a:pt x="1778347" y="3759516"/>
                    <a:pt x="1748791" y="3759516"/>
                  </a:cubicBezTo>
                  <a:cubicBezTo>
                    <a:pt x="1719235" y="3759516"/>
                    <a:pt x="1695590" y="3783160"/>
                    <a:pt x="1695590" y="3812716"/>
                  </a:cubicBezTo>
                  <a:close/>
                  <a:moveTo>
                    <a:pt x="1689682" y="2408811"/>
                  </a:moveTo>
                  <a:cubicBezTo>
                    <a:pt x="1689682" y="2417676"/>
                    <a:pt x="1695594" y="2423588"/>
                    <a:pt x="1704462" y="2423588"/>
                  </a:cubicBezTo>
                  <a:cubicBezTo>
                    <a:pt x="1713327" y="2423588"/>
                    <a:pt x="1719238" y="2417676"/>
                    <a:pt x="1719238" y="2408811"/>
                  </a:cubicBezTo>
                  <a:cubicBezTo>
                    <a:pt x="1719238" y="2399942"/>
                    <a:pt x="1713327" y="2394031"/>
                    <a:pt x="1704462" y="2394031"/>
                  </a:cubicBezTo>
                  <a:cubicBezTo>
                    <a:pt x="1695594" y="2394031"/>
                    <a:pt x="1689682" y="2399942"/>
                    <a:pt x="1689682" y="2408811"/>
                  </a:cubicBezTo>
                  <a:close/>
                  <a:moveTo>
                    <a:pt x="1645347" y="3206822"/>
                  </a:moveTo>
                  <a:cubicBezTo>
                    <a:pt x="1645347" y="3242288"/>
                    <a:pt x="1671946" y="3265933"/>
                    <a:pt x="1704459" y="3265933"/>
                  </a:cubicBezTo>
                  <a:cubicBezTo>
                    <a:pt x="1736972" y="3265933"/>
                    <a:pt x="1763571" y="3239334"/>
                    <a:pt x="1763571" y="3206822"/>
                  </a:cubicBezTo>
                  <a:cubicBezTo>
                    <a:pt x="1763571" y="3174308"/>
                    <a:pt x="1736972" y="3147710"/>
                    <a:pt x="1704459" y="3147710"/>
                  </a:cubicBezTo>
                  <a:cubicBezTo>
                    <a:pt x="1671946" y="3147710"/>
                    <a:pt x="1645347" y="3174308"/>
                    <a:pt x="1645347" y="3206822"/>
                  </a:cubicBezTo>
                  <a:close/>
                  <a:moveTo>
                    <a:pt x="1642390" y="4202855"/>
                  </a:moveTo>
                  <a:cubicBezTo>
                    <a:pt x="1642390" y="4214678"/>
                    <a:pt x="1651258" y="4220588"/>
                    <a:pt x="1660123" y="4220588"/>
                  </a:cubicBezTo>
                  <a:cubicBezTo>
                    <a:pt x="1668992" y="4220588"/>
                    <a:pt x="1677857" y="4211720"/>
                    <a:pt x="1677857" y="4202855"/>
                  </a:cubicBezTo>
                  <a:cubicBezTo>
                    <a:pt x="1677857" y="4193986"/>
                    <a:pt x="1668992" y="4185122"/>
                    <a:pt x="1660123" y="4185122"/>
                  </a:cubicBezTo>
                  <a:cubicBezTo>
                    <a:pt x="1651258" y="4185122"/>
                    <a:pt x="1642390" y="4193986"/>
                    <a:pt x="1642390" y="4202855"/>
                  </a:cubicBezTo>
                  <a:close/>
                  <a:moveTo>
                    <a:pt x="1642390" y="4007789"/>
                  </a:moveTo>
                  <a:cubicBezTo>
                    <a:pt x="1642390" y="4043256"/>
                    <a:pt x="1668992" y="4069855"/>
                    <a:pt x="1704459" y="4069855"/>
                  </a:cubicBezTo>
                  <a:cubicBezTo>
                    <a:pt x="1739926" y="4069855"/>
                    <a:pt x="1766525" y="4043256"/>
                    <a:pt x="1766525" y="4007789"/>
                  </a:cubicBezTo>
                  <a:cubicBezTo>
                    <a:pt x="1766525" y="3972318"/>
                    <a:pt x="1739926" y="3945720"/>
                    <a:pt x="1704459" y="3945720"/>
                  </a:cubicBezTo>
                  <a:cubicBezTo>
                    <a:pt x="1668992" y="3945720"/>
                    <a:pt x="1642390" y="3972318"/>
                    <a:pt x="1642390" y="4007789"/>
                  </a:cubicBezTo>
                  <a:close/>
                  <a:moveTo>
                    <a:pt x="1636479" y="2606834"/>
                  </a:moveTo>
                  <a:cubicBezTo>
                    <a:pt x="1636479" y="2618656"/>
                    <a:pt x="1645347" y="2630479"/>
                    <a:pt x="1660123" y="2630479"/>
                  </a:cubicBezTo>
                  <a:cubicBezTo>
                    <a:pt x="1671946" y="2630479"/>
                    <a:pt x="1683768" y="2618656"/>
                    <a:pt x="1683768" y="2606834"/>
                  </a:cubicBezTo>
                  <a:cubicBezTo>
                    <a:pt x="1683768" y="2595012"/>
                    <a:pt x="1671946" y="2583190"/>
                    <a:pt x="1660123" y="2583190"/>
                  </a:cubicBezTo>
                  <a:cubicBezTo>
                    <a:pt x="1648301" y="2583190"/>
                    <a:pt x="1636479" y="2595012"/>
                    <a:pt x="1636479" y="2606834"/>
                  </a:cubicBezTo>
                  <a:close/>
                  <a:moveTo>
                    <a:pt x="1609880" y="1997982"/>
                  </a:moveTo>
                  <a:cubicBezTo>
                    <a:pt x="1609880" y="2000939"/>
                    <a:pt x="1612834" y="2003893"/>
                    <a:pt x="1615791" y="2003893"/>
                  </a:cubicBezTo>
                  <a:cubicBezTo>
                    <a:pt x="1618748" y="2003893"/>
                    <a:pt x="1621702" y="2000939"/>
                    <a:pt x="1621702" y="1997982"/>
                  </a:cubicBezTo>
                  <a:cubicBezTo>
                    <a:pt x="1621702" y="1995028"/>
                    <a:pt x="1618748" y="1992070"/>
                    <a:pt x="1615791" y="1992070"/>
                  </a:cubicBezTo>
                  <a:cubicBezTo>
                    <a:pt x="1612834" y="1992070"/>
                    <a:pt x="1609880" y="1995028"/>
                    <a:pt x="1609880" y="1997982"/>
                  </a:cubicBezTo>
                  <a:close/>
                  <a:moveTo>
                    <a:pt x="1601015" y="3404844"/>
                  </a:moveTo>
                  <a:cubicBezTo>
                    <a:pt x="1601015" y="3437358"/>
                    <a:pt x="1627613" y="3463956"/>
                    <a:pt x="1660127" y="3463956"/>
                  </a:cubicBezTo>
                  <a:cubicBezTo>
                    <a:pt x="1692640" y="3463956"/>
                    <a:pt x="1719238" y="3437358"/>
                    <a:pt x="1719238" y="3404844"/>
                  </a:cubicBezTo>
                  <a:cubicBezTo>
                    <a:pt x="1719238" y="3372334"/>
                    <a:pt x="1692640" y="3345732"/>
                    <a:pt x="1660127" y="3345732"/>
                  </a:cubicBezTo>
                  <a:cubicBezTo>
                    <a:pt x="1627613" y="3345732"/>
                    <a:pt x="1601015" y="3372334"/>
                    <a:pt x="1601015" y="3404844"/>
                  </a:cubicBezTo>
                  <a:close/>
                  <a:moveTo>
                    <a:pt x="1583278" y="2801904"/>
                  </a:moveTo>
                  <a:cubicBezTo>
                    <a:pt x="1580324" y="2819634"/>
                    <a:pt x="1595100" y="2834414"/>
                    <a:pt x="1615791" y="2834414"/>
                  </a:cubicBezTo>
                  <a:cubicBezTo>
                    <a:pt x="1633525" y="2834414"/>
                    <a:pt x="1648301" y="2819634"/>
                    <a:pt x="1648301" y="2801904"/>
                  </a:cubicBezTo>
                  <a:cubicBezTo>
                    <a:pt x="1648301" y="2784170"/>
                    <a:pt x="1633525" y="2769390"/>
                    <a:pt x="1615791" y="2769390"/>
                  </a:cubicBezTo>
                  <a:cubicBezTo>
                    <a:pt x="1598057" y="2769390"/>
                    <a:pt x="1583278" y="2784170"/>
                    <a:pt x="1583278" y="2801904"/>
                  </a:cubicBezTo>
                  <a:close/>
                  <a:moveTo>
                    <a:pt x="1568502" y="3602871"/>
                  </a:moveTo>
                  <a:cubicBezTo>
                    <a:pt x="1568502" y="3628989"/>
                    <a:pt x="1589673" y="3650160"/>
                    <a:pt x="1615791" y="3650160"/>
                  </a:cubicBezTo>
                  <a:cubicBezTo>
                    <a:pt x="1641909" y="3650160"/>
                    <a:pt x="1663081" y="3628989"/>
                    <a:pt x="1663081" y="3602871"/>
                  </a:cubicBezTo>
                  <a:cubicBezTo>
                    <a:pt x="1663081" y="3576753"/>
                    <a:pt x="1641909" y="3555582"/>
                    <a:pt x="1615791" y="3555582"/>
                  </a:cubicBezTo>
                  <a:cubicBezTo>
                    <a:pt x="1589673" y="3555582"/>
                    <a:pt x="1568502" y="3576753"/>
                    <a:pt x="1568502" y="3602871"/>
                  </a:cubicBezTo>
                  <a:close/>
                  <a:moveTo>
                    <a:pt x="1562590" y="2193051"/>
                  </a:moveTo>
                  <a:cubicBezTo>
                    <a:pt x="1559636" y="2198962"/>
                    <a:pt x="1565548" y="2201916"/>
                    <a:pt x="1571459" y="2201916"/>
                  </a:cubicBezTo>
                  <a:cubicBezTo>
                    <a:pt x="1577370" y="2201916"/>
                    <a:pt x="1580324" y="2196005"/>
                    <a:pt x="1580324" y="2193051"/>
                  </a:cubicBezTo>
                  <a:cubicBezTo>
                    <a:pt x="1580324" y="2187140"/>
                    <a:pt x="1574413" y="2184182"/>
                    <a:pt x="1571459" y="2184182"/>
                  </a:cubicBezTo>
                  <a:cubicBezTo>
                    <a:pt x="1565548" y="2184182"/>
                    <a:pt x="1562590" y="2190094"/>
                    <a:pt x="1562590" y="2193051"/>
                  </a:cubicBezTo>
                  <a:close/>
                  <a:moveTo>
                    <a:pt x="1527123" y="2999930"/>
                  </a:moveTo>
                  <a:cubicBezTo>
                    <a:pt x="1524166" y="3023574"/>
                    <a:pt x="1544857" y="3044262"/>
                    <a:pt x="1571456" y="3044262"/>
                  </a:cubicBezTo>
                  <a:cubicBezTo>
                    <a:pt x="1598057" y="3044262"/>
                    <a:pt x="1615791" y="3023574"/>
                    <a:pt x="1615791" y="2999930"/>
                  </a:cubicBezTo>
                  <a:cubicBezTo>
                    <a:pt x="1615791" y="2973328"/>
                    <a:pt x="1595100" y="2955594"/>
                    <a:pt x="1571456" y="2955594"/>
                  </a:cubicBezTo>
                  <a:cubicBezTo>
                    <a:pt x="1547811" y="2955594"/>
                    <a:pt x="1527123" y="2976282"/>
                    <a:pt x="1527123" y="2999930"/>
                  </a:cubicBezTo>
                  <a:close/>
                  <a:moveTo>
                    <a:pt x="1509390" y="3797940"/>
                  </a:moveTo>
                  <a:cubicBezTo>
                    <a:pt x="1509390" y="3833408"/>
                    <a:pt x="1535992" y="3860006"/>
                    <a:pt x="1571459" y="3860006"/>
                  </a:cubicBezTo>
                  <a:cubicBezTo>
                    <a:pt x="1603969" y="3860006"/>
                    <a:pt x="1633525" y="3833408"/>
                    <a:pt x="1633525" y="3797940"/>
                  </a:cubicBezTo>
                  <a:cubicBezTo>
                    <a:pt x="1633525" y="3765427"/>
                    <a:pt x="1606926" y="3735871"/>
                    <a:pt x="1571459" y="3735871"/>
                  </a:cubicBezTo>
                  <a:cubicBezTo>
                    <a:pt x="1538945" y="3735871"/>
                    <a:pt x="1509390" y="3762473"/>
                    <a:pt x="1509390" y="3797940"/>
                  </a:cubicBezTo>
                  <a:close/>
                  <a:moveTo>
                    <a:pt x="1509390" y="2388120"/>
                  </a:moveTo>
                  <a:cubicBezTo>
                    <a:pt x="1509390" y="2396988"/>
                    <a:pt x="1518258" y="2405854"/>
                    <a:pt x="1527123" y="2405854"/>
                  </a:cubicBezTo>
                  <a:cubicBezTo>
                    <a:pt x="1535992" y="2405854"/>
                    <a:pt x="1544857" y="2396988"/>
                    <a:pt x="1544857" y="2388120"/>
                  </a:cubicBezTo>
                  <a:cubicBezTo>
                    <a:pt x="1544857" y="2379255"/>
                    <a:pt x="1535992" y="2370386"/>
                    <a:pt x="1527123" y="2370386"/>
                  </a:cubicBezTo>
                  <a:cubicBezTo>
                    <a:pt x="1518258" y="2370386"/>
                    <a:pt x="1509390" y="2379255"/>
                    <a:pt x="1509390" y="2388120"/>
                  </a:cubicBezTo>
                  <a:close/>
                  <a:moveTo>
                    <a:pt x="1476880" y="3192042"/>
                  </a:moveTo>
                  <a:cubicBezTo>
                    <a:pt x="1476880" y="3218644"/>
                    <a:pt x="1497567" y="3242288"/>
                    <a:pt x="1527123" y="3242288"/>
                  </a:cubicBezTo>
                  <a:cubicBezTo>
                    <a:pt x="1553725" y="3242288"/>
                    <a:pt x="1577370" y="3218644"/>
                    <a:pt x="1577370" y="3192042"/>
                  </a:cubicBezTo>
                  <a:cubicBezTo>
                    <a:pt x="1577370" y="3165443"/>
                    <a:pt x="1553725" y="3141798"/>
                    <a:pt x="1527123" y="3141798"/>
                  </a:cubicBezTo>
                  <a:cubicBezTo>
                    <a:pt x="1500524" y="3141798"/>
                    <a:pt x="1476880" y="3165443"/>
                    <a:pt x="1476880" y="3192042"/>
                  </a:cubicBezTo>
                  <a:close/>
                  <a:moveTo>
                    <a:pt x="1462100" y="4188078"/>
                  </a:moveTo>
                  <a:cubicBezTo>
                    <a:pt x="1465054" y="4199901"/>
                    <a:pt x="1470968" y="4205812"/>
                    <a:pt x="1479834" y="4205812"/>
                  </a:cubicBezTo>
                  <a:cubicBezTo>
                    <a:pt x="1488699" y="4205812"/>
                    <a:pt x="1497567" y="4196944"/>
                    <a:pt x="1497567" y="4188078"/>
                  </a:cubicBezTo>
                  <a:cubicBezTo>
                    <a:pt x="1497567" y="4179210"/>
                    <a:pt x="1488699" y="4170345"/>
                    <a:pt x="1479834" y="4170345"/>
                  </a:cubicBezTo>
                  <a:cubicBezTo>
                    <a:pt x="1470968" y="4170345"/>
                    <a:pt x="1462100" y="4179210"/>
                    <a:pt x="1462100" y="4188078"/>
                  </a:cubicBezTo>
                  <a:close/>
                  <a:moveTo>
                    <a:pt x="1459143" y="3995964"/>
                  </a:moveTo>
                  <a:cubicBezTo>
                    <a:pt x="1459143" y="4031430"/>
                    <a:pt x="1488699" y="4060986"/>
                    <a:pt x="1524166" y="4060986"/>
                  </a:cubicBezTo>
                  <a:cubicBezTo>
                    <a:pt x="1559633" y="4060986"/>
                    <a:pt x="1589189" y="4031430"/>
                    <a:pt x="1589189" y="3995964"/>
                  </a:cubicBezTo>
                  <a:cubicBezTo>
                    <a:pt x="1589189" y="3960496"/>
                    <a:pt x="1559633" y="3930940"/>
                    <a:pt x="1524166" y="3930940"/>
                  </a:cubicBezTo>
                  <a:cubicBezTo>
                    <a:pt x="1488699" y="3930940"/>
                    <a:pt x="1459143" y="3960496"/>
                    <a:pt x="1459143" y="3995964"/>
                  </a:cubicBezTo>
                  <a:close/>
                  <a:moveTo>
                    <a:pt x="1459143" y="2583190"/>
                  </a:moveTo>
                  <a:cubicBezTo>
                    <a:pt x="1459143" y="2595012"/>
                    <a:pt x="1468011" y="2606834"/>
                    <a:pt x="1482788" y="2606834"/>
                  </a:cubicBezTo>
                  <a:cubicBezTo>
                    <a:pt x="1494610" y="2606834"/>
                    <a:pt x="1506433" y="2595012"/>
                    <a:pt x="1506433" y="2583190"/>
                  </a:cubicBezTo>
                  <a:cubicBezTo>
                    <a:pt x="1506433" y="2571367"/>
                    <a:pt x="1494610" y="2559544"/>
                    <a:pt x="1482788" y="2559544"/>
                  </a:cubicBezTo>
                  <a:cubicBezTo>
                    <a:pt x="1470965" y="2559544"/>
                    <a:pt x="1459143" y="2571367"/>
                    <a:pt x="1459143" y="2583190"/>
                  </a:cubicBezTo>
                  <a:close/>
                  <a:moveTo>
                    <a:pt x="1429587" y="1965472"/>
                  </a:moveTo>
                  <a:cubicBezTo>
                    <a:pt x="1429587" y="1971383"/>
                    <a:pt x="1432544" y="1974337"/>
                    <a:pt x="1438455" y="1974337"/>
                  </a:cubicBezTo>
                  <a:cubicBezTo>
                    <a:pt x="1444367" y="1974337"/>
                    <a:pt x="1447321" y="1968426"/>
                    <a:pt x="1447321" y="1965472"/>
                  </a:cubicBezTo>
                  <a:cubicBezTo>
                    <a:pt x="1447321" y="1959560"/>
                    <a:pt x="1441409" y="1956604"/>
                    <a:pt x="1438455" y="1956604"/>
                  </a:cubicBezTo>
                  <a:cubicBezTo>
                    <a:pt x="1432544" y="1956604"/>
                    <a:pt x="1429587" y="1962514"/>
                    <a:pt x="1429587" y="1965472"/>
                  </a:cubicBezTo>
                  <a:close/>
                  <a:moveTo>
                    <a:pt x="1420722" y="3387111"/>
                  </a:moveTo>
                  <a:cubicBezTo>
                    <a:pt x="1423679" y="3419621"/>
                    <a:pt x="1450278" y="3446223"/>
                    <a:pt x="1479834" y="3446223"/>
                  </a:cubicBezTo>
                  <a:cubicBezTo>
                    <a:pt x="1512347" y="3446223"/>
                    <a:pt x="1538945" y="3419621"/>
                    <a:pt x="1538945" y="3387111"/>
                  </a:cubicBezTo>
                  <a:cubicBezTo>
                    <a:pt x="1538945" y="3354598"/>
                    <a:pt x="1512347" y="3327999"/>
                    <a:pt x="1479834" y="3327999"/>
                  </a:cubicBezTo>
                  <a:cubicBezTo>
                    <a:pt x="1447324" y="3327999"/>
                    <a:pt x="1420722" y="3354598"/>
                    <a:pt x="1420722" y="3387111"/>
                  </a:cubicBezTo>
                  <a:close/>
                  <a:moveTo>
                    <a:pt x="1400031" y="2775302"/>
                  </a:moveTo>
                  <a:cubicBezTo>
                    <a:pt x="1400031" y="2798946"/>
                    <a:pt x="1417765" y="2813726"/>
                    <a:pt x="1438455" y="2813726"/>
                  </a:cubicBezTo>
                  <a:cubicBezTo>
                    <a:pt x="1459143" y="2813726"/>
                    <a:pt x="1476877" y="2795992"/>
                    <a:pt x="1476877" y="2775302"/>
                  </a:cubicBezTo>
                  <a:cubicBezTo>
                    <a:pt x="1476877" y="2754614"/>
                    <a:pt x="1459143" y="2736880"/>
                    <a:pt x="1438455" y="2736880"/>
                  </a:cubicBezTo>
                  <a:cubicBezTo>
                    <a:pt x="1417765" y="2736880"/>
                    <a:pt x="1400031" y="2754614"/>
                    <a:pt x="1400031" y="2775302"/>
                  </a:cubicBezTo>
                  <a:close/>
                  <a:moveTo>
                    <a:pt x="1382298" y="3585138"/>
                  </a:moveTo>
                  <a:cubicBezTo>
                    <a:pt x="1382298" y="3614694"/>
                    <a:pt x="1405942" y="3638338"/>
                    <a:pt x="1435498" y="3638338"/>
                  </a:cubicBezTo>
                  <a:cubicBezTo>
                    <a:pt x="1465054" y="3638338"/>
                    <a:pt x="1488699" y="3614694"/>
                    <a:pt x="1488699" y="3585138"/>
                  </a:cubicBezTo>
                  <a:cubicBezTo>
                    <a:pt x="1488699" y="3555582"/>
                    <a:pt x="1465054" y="3531936"/>
                    <a:pt x="1435498" y="3531936"/>
                  </a:cubicBezTo>
                  <a:cubicBezTo>
                    <a:pt x="1405942" y="3531936"/>
                    <a:pt x="1382298" y="3555582"/>
                    <a:pt x="1382298" y="3585138"/>
                  </a:cubicBezTo>
                  <a:close/>
                  <a:moveTo>
                    <a:pt x="1382298" y="2160538"/>
                  </a:moveTo>
                  <a:cubicBezTo>
                    <a:pt x="1382298" y="2166449"/>
                    <a:pt x="1388209" y="2172360"/>
                    <a:pt x="1394120" y="2172360"/>
                  </a:cubicBezTo>
                  <a:cubicBezTo>
                    <a:pt x="1400031" y="2172360"/>
                    <a:pt x="1405942" y="2166449"/>
                    <a:pt x="1405942" y="2160538"/>
                  </a:cubicBezTo>
                  <a:cubicBezTo>
                    <a:pt x="1405942" y="2154627"/>
                    <a:pt x="1400031" y="2148716"/>
                    <a:pt x="1394120" y="2148716"/>
                  </a:cubicBezTo>
                  <a:cubicBezTo>
                    <a:pt x="1388209" y="2148716"/>
                    <a:pt x="1382298" y="2154627"/>
                    <a:pt x="1382298" y="2160538"/>
                  </a:cubicBezTo>
                  <a:close/>
                  <a:moveTo>
                    <a:pt x="1340919" y="2970370"/>
                  </a:moveTo>
                  <a:cubicBezTo>
                    <a:pt x="1340919" y="2999926"/>
                    <a:pt x="1364564" y="3023572"/>
                    <a:pt x="1394120" y="3023572"/>
                  </a:cubicBezTo>
                  <a:cubicBezTo>
                    <a:pt x="1423676" y="3023572"/>
                    <a:pt x="1447321" y="2999926"/>
                    <a:pt x="1447321" y="2970370"/>
                  </a:cubicBezTo>
                  <a:cubicBezTo>
                    <a:pt x="1447321" y="2940814"/>
                    <a:pt x="1423676" y="2917170"/>
                    <a:pt x="1394120" y="2917170"/>
                  </a:cubicBezTo>
                  <a:cubicBezTo>
                    <a:pt x="1364564" y="2917170"/>
                    <a:pt x="1340919" y="2940814"/>
                    <a:pt x="1340919" y="2970370"/>
                  </a:cubicBezTo>
                  <a:close/>
                  <a:moveTo>
                    <a:pt x="1337965" y="3777250"/>
                  </a:moveTo>
                  <a:cubicBezTo>
                    <a:pt x="1340919" y="3806806"/>
                    <a:pt x="1364567" y="3830450"/>
                    <a:pt x="1391166" y="3830450"/>
                  </a:cubicBezTo>
                  <a:cubicBezTo>
                    <a:pt x="1420722" y="3830450"/>
                    <a:pt x="1444367" y="3806806"/>
                    <a:pt x="1444367" y="3777250"/>
                  </a:cubicBezTo>
                  <a:cubicBezTo>
                    <a:pt x="1444367" y="3747694"/>
                    <a:pt x="1420722" y="3724049"/>
                    <a:pt x="1391166" y="3724049"/>
                  </a:cubicBezTo>
                  <a:cubicBezTo>
                    <a:pt x="1361610" y="3724049"/>
                    <a:pt x="1337965" y="3747694"/>
                    <a:pt x="1337965" y="3777250"/>
                  </a:cubicBezTo>
                  <a:close/>
                  <a:moveTo>
                    <a:pt x="1335011" y="2352656"/>
                  </a:moveTo>
                  <a:cubicBezTo>
                    <a:pt x="1335011" y="2361521"/>
                    <a:pt x="1343879" y="2367432"/>
                    <a:pt x="1349790" y="2367432"/>
                  </a:cubicBezTo>
                  <a:cubicBezTo>
                    <a:pt x="1358656" y="2367432"/>
                    <a:pt x="1364567" y="2361521"/>
                    <a:pt x="1364567" y="2352656"/>
                  </a:cubicBezTo>
                  <a:cubicBezTo>
                    <a:pt x="1364567" y="2343788"/>
                    <a:pt x="1358656" y="2337876"/>
                    <a:pt x="1349790" y="2337876"/>
                  </a:cubicBezTo>
                  <a:cubicBezTo>
                    <a:pt x="1340922" y="2337876"/>
                    <a:pt x="1335011" y="2343788"/>
                    <a:pt x="1335011" y="2352656"/>
                  </a:cubicBezTo>
                  <a:close/>
                  <a:moveTo>
                    <a:pt x="1299544" y="3165443"/>
                  </a:moveTo>
                  <a:cubicBezTo>
                    <a:pt x="1299544" y="3194999"/>
                    <a:pt x="1320232" y="3215686"/>
                    <a:pt x="1349788" y="3215686"/>
                  </a:cubicBezTo>
                  <a:cubicBezTo>
                    <a:pt x="1376389" y="3215686"/>
                    <a:pt x="1400034" y="3192042"/>
                    <a:pt x="1400034" y="3165443"/>
                  </a:cubicBezTo>
                  <a:cubicBezTo>
                    <a:pt x="1400034" y="3138841"/>
                    <a:pt x="1376389" y="3115196"/>
                    <a:pt x="1349788" y="3115196"/>
                  </a:cubicBezTo>
                  <a:cubicBezTo>
                    <a:pt x="1323189" y="3115196"/>
                    <a:pt x="1299544" y="3138841"/>
                    <a:pt x="1299544" y="3165443"/>
                  </a:cubicBezTo>
                  <a:close/>
                  <a:moveTo>
                    <a:pt x="1284764" y="4170345"/>
                  </a:moveTo>
                  <a:cubicBezTo>
                    <a:pt x="1284764" y="4179210"/>
                    <a:pt x="1293630" y="4188078"/>
                    <a:pt x="1302498" y="4188078"/>
                  </a:cubicBezTo>
                  <a:cubicBezTo>
                    <a:pt x="1311363" y="4188078"/>
                    <a:pt x="1320232" y="4179210"/>
                    <a:pt x="1320232" y="4170345"/>
                  </a:cubicBezTo>
                  <a:cubicBezTo>
                    <a:pt x="1320232" y="4161480"/>
                    <a:pt x="1311363" y="4152612"/>
                    <a:pt x="1302498" y="4152612"/>
                  </a:cubicBezTo>
                  <a:cubicBezTo>
                    <a:pt x="1293630" y="4152612"/>
                    <a:pt x="1284764" y="4161480"/>
                    <a:pt x="1284764" y="4170345"/>
                  </a:cubicBezTo>
                  <a:close/>
                  <a:moveTo>
                    <a:pt x="1284764" y="3975276"/>
                  </a:moveTo>
                  <a:cubicBezTo>
                    <a:pt x="1284764" y="4007786"/>
                    <a:pt x="1314320" y="4037342"/>
                    <a:pt x="1346830" y="4037342"/>
                  </a:cubicBezTo>
                  <a:cubicBezTo>
                    <a:pt x="1382298" y="4037342"/>
                    <a:pt x="1408899" y="4007786"/>
                    <a:pt x="1408899" y="3975276"/>
                  </a:cubicBezTo>
                  <a:cubicBezTo>
                    <a:pt x="1408899" y="3939808"/>
                    <a:pt x="1379344" y="3913207"/>
                    <a:pt x="1346830" y="3913207"/>
                  </a:cubicBezTo>
                  <a:cubicBezTo>
                    <a:pt x="1311363" y="3913207"/>
                    <a:pt x="1284764" y="3942763"/>
                    <a:pt x="1284764" y="3975276"/>
                  </a:cubicBezTo>
                  <a:close/>
                  <a:moveTo>
                    <a:pt x="1278853" y="2547722"/>
                  </a:moveTo>
                  <a:cubicBezTo>
                    <a:pt x="1281807" y="2562502"/>
                    <a:pt x="1293633" y="2574324"/>
                    <a:pt x="1305455" y="2574324"/>
                  </a:cubicBezTo>
                  <a:cubicBezTo>
                    <a:pt x="1320232" y="2574324"/>
                    <a:pt x="1332054" y="2562502"/>
                    <a:pt x="1332054" y="2547722"/>
                  </a:cubicBezTo>
                  <a:cubicBezTo>
                    <a:pt x="1332054" y="2532946"/>
                    <a:pt x="1320232" y="2521124"/>
                    <a:pt x="1305455" y="2521124"/>
                  </a:cubicBezTo>
                  <a:cubicBezTo>
                    <a:pt x="1290676" y="2521124"/>
                    <a:pt x="1278853" y="2532946"/>
                    <a:pt x="1278853" y="2547722"/>
                  </a:cubicBezTo>
                  <a:close/>
                  <a:moveTo>
                    <a:pt x="1255209" y="1918182"/>
                  </a:moveTo>
                  <a:cubicBezTo>
                    <a:pt x="1255209" y="1924094"/>
                    <a:pt x="1261120" y="1930004"/>
                    <a:pt x="1267031" y="1930004"/>
                  </a:cubicBezTo>
                  <a:cubicBezTo>
                    <a:pt x="1272942" y="1930004"/>
                    <a:pt x="1278853" y="1924094"/>
                    <a:pt x="1278853" y="1918182"/>
                  </a:cubicBezTo>
                  <a:cubicBezTo>
                    <a:pt x="1278853" y="1912271"/>
                    <a:pt x="1272942" y="1906360"/>
                    <a:pt x="1267031" y="1906360"/>
                  </a:cubicBezTo>
                  <a:cubicBezTo>
                    <a:pt x="1261120" y="1906360"/>
                    <a:pt x="1255209" y="1912271"/>
                    <a:pt x="1255209" y="1918182"/>
                  </a:cubicBezTo>
                  <a:close/>
                  <a:moveTo>
                    <a:pt x="1249297" y="3363466"/>
                  </a:moveTo>
                  <a:cubicBezTo>
                    <a:pt x="1246343" y="3393022"/>
                    <a:pt x="1272942" y="3419621"/>
                    <a:pt x="1305455" y="3419621"/>
                  </a:cubicBezTo>
                  <a:cubicBezTo>
                    <a:pt x="1337965" y="3419621"/>
                    <a:pt x="1361610" y="3393022"/>
                    <a:pt x="1361610" y="3363466"/>
                  </a:cubicBezTo>
                  <a:cubicBezTo>
                    <a:pt x="1361610" y="3330953"/>
                    <a:pt x="1335011" y="3307308"/>
                    <a:pt x="1305455" y="3307308"/>
                  </a:cubicBezTo>
                  <a:cubicBezTo>
                    <a:pt x="1272942" y="3307308"/>
                    <a:pt x="1249297" y="3333910"/>
                    <a:pt x="1249297" y="3363466"/>
                  </a:cubicBezTo>
                  <a:close/>
                  <a:moveTo>
                    <a:pt x="1219741" y="2742792"/>
                  </a:moveTo>
                  <a:cubicBezTo>
                    <a:pt x="1219741" y="2766436"/>
                    <a:pt x="1240432" y="2784170"/>
                    <a:pt x="1261120" y="2784170"/>
                  </a:cubicBezTo>
                  <a:cubicBezTo>
                    <a:pt x="1284764" y="2784170"/>
                    <a:pt x="1302498" y="2766436"/>
                    <a:pt x="1302498" y="2742792"/>
                  </a:cubicBezTo>
                  <a:cubicBezTo>
                    <a:pt x="1302498" y="2719146"/>
                    <a:pt x="1284764" y="2701413"/>
                    <a:pt x="1261120" y="2701413"/>
                  </a:cubicBezTo>
                  <a:cubicBezTo>
                    <a:pt x="1237475" y="2701413"/>
                    <a:pt x="1219741" y="2719146"/>
                    <a:pt x="1219741" y="2742792"/>
                  </a:cubicBezTo>
                  <a:close/>
                  <a:moveTo>
                    <a:pt x="1204962" y="2113248"/>
                  </a:moveTo>
                  <a:cubicBezTo>
                    <a:pt x="1204962" y="2122117"/>
                    <a:pt x="1213830" y="2130982"/>
                    <a:pt x="1222695" y="2130982"/>
                  </a:cubicBezTo>
                  <a:cubicBezTo>
                    <a:pt x="1231564" y="2130982"/>
                    <a:pt x="1240429" y="2122117"/>
                    <a:pt x="1240429" y="2113248"/>
                  </a:cubicBezTo>
                  <a:cubicBezTo>
                    <a:pt x="1240429" y="2104383"/>
                    <a:pt x="1231564" y="2095515"/>
                    <a:pt x="1222695" y="2095515"/>
                  </a:cubicBezTo>
                  <a:cubicBezTo>
                    <a:pt x="1213830" y="2095515"/>
                    <a:pt x="1204962" y="2104383"/>
                    <a:pt x="1204962" y="2113248"/>
                  </a:cubicBezTo>
                  <a:close/>
                  <a:moveTo>
                    <a:pt x="1196097" y="3558536"/>
                  </a:moveTo>
                  <a:cubicBezTo>
                    <a:pt x="1193140" y="3594002"/>
                    <a:pt x="1222695" y="3623558"/>
                    <a:pt x="1261120" y="3623558"/>
                  </a:cubicBezTo>
                  <a:cubicBezTo>
                    <a:pt x="1296587" y="3623558"/>
                    <a:pt x="1326143" y="3594002"/>
                    <a:pt x="1326143" y="3558536"/>
                  </a:cubicBezTo>
                  <a:cubicBezTo>
                    <a:pt x="1326143" y="3523068"/>
                    <a:pt x="1296587" y="3493512"/>
                    <a:pt x="1261120" y="3493512"/>
                  </a:cubicBezTo>
                  <a:cubicBezTo>
                    <a:pt x="1225653" y="3493512"/>
                    <a:pt x="1196097" y="3523068"/>
                    <a:pt x="1196097" y="3558536"/>
                  </a:cubicBezTo>
                  <a:close/>
                  <a:moveTo>
                    <a:pt x="1169498" y="2937860"/>
                  </a:moveTo>
                  <a:cubicBezTo>
                    <a:pt x="1169498" y="2964462"/>
                    <a:pt x="1190185" y="2985150"/>
                    <a:pt x="1216787" y="2985150"/>
                  </a:cubicBezTo>
                  <a:cubicBezTo>
                    <a:pt x="1243389" y="2985150"/>
                    <a:pt x="1264077" y="2964462"/>
                    <a:pt x="1264077" y="2937860"/>
                  </a:cubicBezTo>
                  <a:cubicBezTo>
                    <a:pt x="1264077" y="2911259"/>
                    <a:pt x="1243389" y="2890571"/>
                    <a:pt x="1216787" y="2890571"/>
                  </a:cubicBezTo>
                  <a:cubicBezTo>
                    <a:pt x="1190185" y="2890571"/>
                    <a:pt x="1169498" y="2911259"/>
                    <a:pt x="1169498" y="2937860"/>
                  </a:cubicBezTo>
                  <a:close/>
                  <a:moveTo>
                    <a:pt x="1154718" y="2308321"/>
                  </a:moveTo>
                  <a:cubicBezTo>
                    <a:pt x="1154718" y="2320143"/>
                    <a:pt x="1163584" y="2331966"/>
                    <a:pt x="1178363" y="2331966"/>
                  </a:cubicBezTo>
                  <a:cubicBezTo>
                    <a:pt x="1190185" y="2331966"/>
                    <a:pt x="1202008" y="2320143"/>
                    <a:pt x="1202008" y="2308321"/>
                  </a:cubicBezTo>
                  <a:cubicBezTo>
                    <a:pt x="1202008" y="2296498"/>
                    <a:pt x="1190185" y="2284676"/>
                    <a:pt x="1178363" y="2284676"/>
                  </a:cubicBezTo>
                  <a:cubicBezTo>
                    <a:pt x="1166541" y="2284676"/>
                    <a:pt x="1154718" y="2296498"/>
                    <a:pt x="1154718" y="2308321"/>
                  </a:cubicBezTo>
                  <a:close/>
                  <a:moveTo>
                    <a:pt x="1151764" y="3750648"/>
                  </a:moveTo>
                  <a:cubicBezTo>
                    <a:pt x="1148807" y="3786114"/>
                    <a:pt x="1178363" y="3815670"/>
                    <a:pt x="1216787" y="3815670"/>
                  </a:cubicBezTo>
                  <a:cubicBezTo>
                    <a:pt x="1252255" y="3815670"/>
                    <a:pt x="1281810" y="3786114"/>
                    <a:pt x="1281810" y="3750648"/>
                  </a:cubicBezTo>
                  <a:cubicBezTo>
                    <a:pt x="1281810" y="3715180"/>
                    <a:pt x="1252255" y="3685624"/>
                    <a:pt x="1216787" y="3685624"/>
                  </a:cubicBezTo>
                  <a:cubicBezTo>
                    <a:pt x="1181320" y="3685624"/>
                    <a:pt x="1151764" y="3715180"/>
                    <a:pt x="1151764" y="3750648"/>
                  </a:cubicBezTo>
                  <a:close/>
                  <a:moveTo>
                    <a:pt x="1139942" y="1661044"/>
                  </a:moveTo>
                  <a:cubicBezTo>
                    <a:pt x="1139942" y="1664001"/>
                    <a:pt x="1142896" y="1664001"/>
                    <a:pt x="1142896" y="1664001"/>
                  </a:cubicBezTo>
                  <a:cubicBezTo>
                    <a:pt x="1145853" y="1664001"/>
                    <a:pt x="1145853" y="1661044"/>
                    <a:pt x="1145853" y="1661044"/>
                  </a:cubicBezTo>
                  <a:cubicBezTo>
                    <a:pt x="1145853" y="1658090"/>
                    <a:pt x="1142896" y="1658090"/>
                    <a:pt x="1142896" y="1658090"/>
                  </a:cubicBezTo>
                  <a:cubicBezTo>
                    <a:pt x="1139942" y="1658090"/>
                    <a:pt x="1139942" y="1661044"/>
                    <a:pt x="1139942" y="1661044"/>
                  </a:cubicBezTo>
                  <a:close/>
                  <a:moveTo>
                    <a:pt x="1116294" y="3129973"/>
                  </a:moveTo>
                  <a:cubicBezTo>
                    <a:pt x="1119248" y="3162486"/>
                    <a:pt x="1142896" y="3186130"/>
                    <a:pt x="1172452" y="3186130"/>
                  </a:cubicBezTo>
                  <a:cubicBezTo>
                    <a:pt x="1202008" y="3186130"/>
                    <a:pt x="1228606" y="3162486"/>
                    <a:pt x="1228606" y="3129973"/>
                  </a:cubicBezTo>
                  <a:cubicBezTo>
                    <a:pt x="1228606" y="3100417"/>
                    <a:pt x="1204962" y="3073818"/>
                    <a:pt x="1172452" y="3073818"/>
                  </a:cubicBezTo>
                  <a:cubicBezTo>
                    <a:pt x="1142896" y="3073818"/>
                    <a:pt x="1116294" y="3097463"/>
                    <a:pt x="1116294" y="3129973"/>
                  </a:cubicBezTo>
                  <a:close/>
                  <a:moveTo>
                    <a:pt x="1110386" y="3942763"/>
                  </a:moveTo>
                  <a:cubicBezTo>
                    <a:pt x="1110386" y="3978233"/>
                    <a:pt x="1136988" y="4004832"/>
                    <a:pt x="1172452" y="4004832"/>
                  </a:cubicBezTo>
                  <a:cubicBezTo>
                    <a:pt x="1204965" y="4004832"/>
                    <a:pt x="1234521" y="3978233"/>
                    <a:pt x="1234521" y="3942763"/>
                  </a:cubicBezTo>
                  <a:cubicBezTo>
                    <a:pt x="1234521" y="3910253"/>
                    <a:pt x="1207919" y="3880697"/>
                    <a:pt x="1172452" y="3880697"/>
                  </a:cubicBezTo>
                  <a:cubicBezTo>
                    <a:pt x="1139942" y="3880697"/>
                    <a:pt x="1110386" y="3907296"/>
                    <a:pt x="1110386" y="3942763"/>
                  </a:cubicBezTo>
                  <a:close/>
                  <a:moveTo>
                    <a:pt x="1104475" y="4140789"/>
                  </a:moveTo>
                  <a:cubicBezTo>
                    <a:pt x="1101518" y="4152612"/>
                    <a:pt x="1113340" y="4164434"/>
                    <a:pt x="1128120" y="4164434"/>
                  </a:cubicBezTo>
                  <a:cubicBezTo>
                    <a:pt x="1139942" y="4164434"/>
                    <a:pt x="1151764" y="4152612"/>
                    <a:pt x="1151764" y="4140789"/>
                  </a:cubicBezTo>
                  <a:cubicBezTo>
                    <a:pt x="1151764" y="4128967"/>
                    <a:pt x="1139942" y="4117144"/>
                    <a:pt x="1128120" y="4117144"/>
                  </a:cubicBezTo>
                  <a:cubicBezTo>
                    <a:pt x="1116297" y="4117144"/>
                    <a:pt x="1104475" y="4128967"/>
                    <a:pt x="1104475" y="4140789"/>
                  </a:cubicBezTo>
                  <a:close/>
                  <a:moveTo>
                    <a:pt x="1101518" y="2503387"/>
                  </a:moveTo>
                  <a:cubicBezTo>
                    <a:pt x="1101518" y="2521120"/>
                    <a:pt x="1116297" y="2535900"/>
                    <a:pt x="1134028" y="2535900"/>
                  </a:cubicBezTo>
                  <a:cubicBezTo>
                    <a:pt x="1151764" y="2535900"/>
                    <a:pt x="1166541" y="2521120"/>
                    <a:pt x="1166541" y="2503387"/>
                  </a:cubicBezTo>
                  <a:cubicBezTo>
                    <a:pt x="1166541" y="2485656"/>
                    <a:pt x="1151764" y="2470877"/>
                    <a:pt x="1134028" y="2470877"/>
                  </a:cubicBezTo>
                  <a:cubicBezTo>
                    <a:pt x="1116297" y="2470877"/>
                    <a:pt x="1101518" y="2485656"/>
                    <a:pt x="1101518" y="2503387"/>
                  </a:cubicBezTo>
                  <a:close/>
                  <a:moveTo>
                    <a:pt x="1086738" y="1859070"/>
                  </a:moveTo>
                  <a:cubicBezTo>
                    <a:pt x="1086738" y="1864982"/>
                    <a:pt x="1092649" y="1870893"/>
                    <a:pt x="1098560" y="1870893"/>
                  </a:cubicBezTo>
                  <a:cubicBezTo>
                    <a:pt x="1104472" y="1870893"/>
                    <a:pt x="1110383" y="1864982"/>
                    <a:pt x="1110383" y="1859070"/>
                  </a:cubicBezTo>
                  <a:cubicBezTo>
                    <a:pt x="1110383" y="1853159"/>
                    <a:pt x="1104472" y="1847248"/>
                    <a:pt x="1098560" y="1847248"/>
                  </a:cubicBezTo>
                  <a:cubicBezTo>
                    <a:pt x="1092649" y="1847248"/>
                    <a:pt x="1086738" y="1853159"/>
                    <a:pt x="1086738" y="1859070"/>
                  </a:cubicBezTo>
                  <a:close/>
                  <a:moveTo>
                    <a:pt x="1066051" y="3325045"/>
                  </a:moveTo>
                  <a:cubicBezTo>
                    <a:pt x="1066051" y="3360512"/>
                    <a:pt x="1095606" y="3387111"/>
                    <a:pt x="1128116" y="3387111"/>
                  </a:cubicBezTo>
                  <a:cubicBezTo>
                    <a:pt x="1163584" y="3387111"/>
                    <a:pt x="1190185" y="3360512"/>
                    <a:pt x="1190185" y="3325045"/>
                  </a:cubicBezTo>
                  <a:cubicBezTo>
                    <a:pt x="1190185" y="3289578"/>
                    <a:pt x="1163584" y="3262976"/>
                    <a:pt x="1128116" y="3262976"/>
                  </a:cubicBezTo>
                  <a:cubicBezTo>
                    <a:pt x="1092652" y="3262976"/>
                    <a:pt x="1066051" y="3289578"/>
                    <a:pt x="1066051" y="3325045"/>
                  </a:cubicBezTo>
                  <a:close/>
                  <a:moveTo>
                    <a:pt x="1048317" y="2698456"/>
                  </a:moveTo>
                  <a:cubicBezTo>
                    <a:pt x="1048317" y="2719146"/>
                    <a:pt x="1066051" y="2739834"/>
                    <a:pt x="1089695" y="2739834"/>
                  </a:cubicBezTo>
                  <a:cubicBezTo>
                    <a:pt x="1113340" y="2739834"/>
                    <a:pt x="1131074" y="2722101"/>
                    <a:pt x="1131074" y="2698456"/>
                  </a:cubicBezTo>
                  <a:cubicBezTo>
                    <a:pt x="1131074" y="2674812"/>
                    <a:pt x="1113340" y="2657078"/>
                    <a:pt x="1089695" y="2657078"/>
                  </a:cubicBezTo>
                  <a:cubicBezTo>
                    <a:pt x="1066051" y="2657078"/>
                    <a:pt x="1048317" y="2674812"/>
                    <a:pt x="1048317" y="2698456"/>
                  </a:cubicBezTo>
                  <a:close/>
                  <a:moveTo>
                    <a:pt x="1036494" y="2054136"/>
                  </a:moveTo>
                  <a:cubicBezTo>
                    <a:pt x="1036494" y="2063005"/>
                    <a:pt x="1045360" y="2071870"/>
                    <a:pt x="1054228" y="2071870"/>
                  </a:cubicBezTo>
                  <a:cubicBezTo>
                    <a:pt x="1063096" y="2071870"/>
                    <a:pt x="1071961" y="2063005"/>
                    <a:pt x="1071961" y="2054136"/>
                  </a:cubicBezTo>
                  <a:cubicBezTo>
                    <a:pt x="1071961" y="2045271"/>
                    <a:pt x="1063096" y="2036403"/>
                    <a:pt x="1054228" y="2036403"/>
                  </a:cubicBezTo>
                  <a:cubicBezTo>
                    <a:pt x="1045360" y="2036403"/>
                    <a:pt x="1036494" y="2045271"/>
                    <a:pt x="1036494" y="2054136"/>
                  </a:cubicBezTo>
                  <a:close/>
                  <a:moveTo>
                    <a:pt x="1018761" y="3520111"/>
                  </a:moveTo>
                  <a:cubicBezTo>
                    <a:pt x="1018761" y="3555578"/>
                    <a:pt x="1048317" y="3585134"/>
                    <a:pt x="1083784" y="3585134"/>
                  </a:cubicBezTo>
                  <a:cubicBezTo>
                    <a:pt x="1119251" y="3585134"/>
                    <a:pt x="1148807" y="3555578"/>
                    <a:pt x="1148807" y="3520111"/>
                  </a:cubicBezTo>
                  <a:cubicBezTo>
                    <a:pt x="1148807" y="3484644"/>
                    <a:pt x="1119251" y="3455088"/>
                    <a:pt x="1083784" y="3455088"/>
                  </a:cubicBezTo>
                  <a:cubicBezTo>
                    <a:pt x="1048317" y="3455088"/>
                    <a:pt x="1018761" y="3484644"/>
                    <a:pt x="1018761" y="3520111"/>
                  </a:cubicBezTo>
                  <a:close/>
                  <a:moveTo>
                    <a:pt x="995116" y="2890571"/>
                  </a:moveTo>
                  <a:cubicBezTo>
                    <a:pt x="995116" y="2920127"/>
                    <a:pt x="1015804" y="2940818"/>
                    <a:pt x="1045360" y="2940818"/>
                  </a:cubicBezTo>
                  <a:cubicBezTo>
                    <a:pt x="1071961" y="2940818"/>
                    <a:pt x="1095606" y="2917173"/>
                    <a:pt x="1095606" y="2890571"/>
                  </a:cubicBezTo>
                  <a:cubicBezTo>
                    <a:pt x="1095606" y="2863972"/>
                    <a:pt x="1071961" y="2840328"/>
                    <a:pt x="1045360" y="2840328"/>
                  </a:cubicBezTo>
                  <a:cubicBezTo>
                    <a:pt x="1018761" y="2840328"/>
                    <a:pt x="995116" y="2863972"/>
                    <a:pt x="995116" y="2890571"/>
                  </a:cubicBezTo>
                  <a:close/>
                  <a:moveTo>
                    <a:pt x="977383" y="2249209"/>
                  </a:moveTo>
                  <a:cubicBezTo>
                    <a:pt x="977383" y="2266942"/>
                    <a:pt x="992162" y="2278765"/>
                    <a:pt x="1006939" y="2278765"/>
                  </a:cubicBezTo>
                  <a:cubicBezTo>
                    <a:pt x="1021718" y="2278765"/>
                    <a:pt x="1036494" y="2266942"/>
                    <a:pt x="1036494" y="2249209"/>
                  </a:cubicBezTo>
                  <a:cubicBezTo>
                    <a:pt x="1036494" y="2231475"/>
                    <a:pt x="1024672" y="2219653"/>
                    <a:pt x="1006939" y="2219653"/>
                  </a:cubicBezTo>
                  <a:cubicBezTo>
                    <a:pt x="992162" y="2219653"/>
                    <a:pt x="977383" y="2231475"/>
                    <a:pt x="977383" y="2249209"/>
                  </a:cubicBezTo>
                  <a:close/>
                  <a:moveTo>
                    <a:pt x="965560" y="3715184"/>
                  </a:moveTo>
                  <a:cubicBezTo>
                    <a:pt x="965560" y="3756562"/>
                    <a:pt x="998070" y="3789072"/>
                    <a:pt x="1039452" y="3789072"/>
                  </a:cubicBezTo>
                  <a:cubicBezTo>
                    <a:pt x="1080830" y="3789072"/>
                    <a:pt x="1113340" y="3756562"/>
                    <a:pt x="1113340" y="3715184"/>
                  </a:cubicBezTo>
                  <a:cubicBezTo>
                    <a:pt x="1113340" y="3673805"/>
                    <a:pt x="1080830" y="3641292"/>
                    <a:pt x="1039452" y="3641292"/>
                  </a:cubicBezTo>
                  <a:cubicBezTo>
                    <a:pt x="998070" y="3641292"/>
                    <a:pt x="965560" y="3673805"/>
                    <a:pt x="965560" y="3715184"/>
                  </a:cubicBezTo>
                  <a:close/>
                  <a:moveTo>
                    <a:pt x="938958" y="3085640"/>
                  </a:moveTo>
                  <a:cubicBezTo>
                    <a:pt x="938958" y="3121110"/>
                    <a:pt x="965560" y="3147710"/>
                    <a:pt x="1001024" y="3147710"/>
                  </a:cubicBezTo>
                  <a:cubicBezTo>
                    <a:pt x="1036494" y="3147710"/>
                    <a:pt x="1063093" y="3121110"/>
                    <a:pt x="1063093" y="3085640"/>
                  </a:cubicBezTo>
                  <a:cubicBezTo>
                    <a:pt x="1063093" y="3050174"/>
                    <a:pt x="1036494" y="3023574"/>
                    <a:pt x="1001024" y="3023574"/>
                  </a:cubicBezTo>
                  <a:cubicBezTo>
                    <a:pt x="965560" y="3023574"/>
                    <a:pt x="938958" y="3050174"/>
                    <a:pt x="938958" y="3085640"/>
                  </a:cubicBezTo>
                  <a:close/>
                  <a:moveTo>
                    <a:pt x="930093" y="1785179"/>
                  </a:moveTo>
                  <a:cubicBezTo>
                    <a:pt x="930093" y="1788136"/>
                    <a:pt x="933047" y="1791090"/>
                    <a:pt x="936004" y="1791090"/>
                  </a:cubicBezTo>
                  <a:cubicBezTo>
                    <a:pt x="938958" y="1791090"/>
                    <a:pt x="941916" y="1788136"/>
                    <a:pt x="941916" y="1785179"/>
                  </a:cubicBezTo>
                  <a:cubicBezTo>
                    <a:pt x="941916" y="1782225"/>
                    <a:pt x="938958" y="1779268"/>
                    <a:pt x="936004" y="1779268"/>
                  </a:cubicBezTo>
                  <a:cubicBezTo>
                    <a:pt x="933047" y="1779268"/>
                    <a:pt x="930093" y="1782225"/>
                    <a:pt x="930093" y="1785179"/>
                  </a:cubicBezTo>
                  <a:close/>
                  <a:moveTo>
                    <a:pt x="927136" y="3907296"/>
                  </a:moveTo>
                  <a:cubicBezTo>
                    <a:pt x="927136" y="3945717"/>
                    <a:pt x="959649" y="3975272"/>
                    <a:pt x="995116" y="3975272"/>
                  </a:cubicBezTo>
                  <a:cubicBezTo>
                    <a:pt x="1033537" y="3975272"/>
                    <a:pt x="1063093" y="3945717"/>
                    <a:pt x="1063093" y="3907296"/>
                  </a:cubicBezTo>
                  <a:cubicBezTo>
                    <a:pt x="1063093" y="3868872"/>
                    <a:pt x="1033537" y="3839316"/>
                    <a:pt x="995116" y="3839316"/>
                  </a:cubicBezTo>
                  <a:cubicBezTo>
                    <a:pt x="956692" y="3839316"/>
                    <a:pt x="927136" y="3868872"/>
                    <a:pt x="927136" y="3907296"/>
                  </a:cubicBezTo>
                  <a:close/>
                  <a:moveTo>
                    <a:pt x="924182" y="2447235"/>
                  </a:moveTo>
                  <a:cubicBezTo>
                    <a:pt x="927136" y="2467923"/>
                    <a:pt x="941916" y="2485656"/>
                    <a:pt x="962606" y="2485656"/>
                  </a:cubicBezTo>
                  <a:cubicBezTo>
                    <a:pt x="983294" y="2485656"/>
                    <a:pt x="1001027" y="2467923"/>
                    <a:pt x="1001027" y="2447235"/>
                  </a:cubicBezTo>
                  <a:cubicBezTo>
                    <a:pt x="1001027" y="2426544"/>
                    <a:pt x="983294" y="2408811"/>
                    <a:pt x="962606" y="2408811"/>
                  </a:cubicBezTo>
                  <a:cubicBezTo>
                    <a:pt x="941916" y="2408811"/>
                    <a:pt x="924182" y="2426544"/>
                    <a:pt x="924182" y="2447235"/>
                  </a:cubicBezTo>
                  <a:close/>
                  <a:moveTo>
                    <a:pt x="918271" y="4102365"/>
                  </a:moveTo>
                  <a:cubicBezTo>
                    <a:pt x="918271" y="4120096"/>
                    <a:pt x="933050" y="4134875"/>
                    <a:pt x="950781" y="4134875"/>
                  </a:cubicBezTo>
                  <a:cubicBezTo>
                    <a:pt x="968514" y="4134875"/>
                    <a:pt x="983294" y="4120096"/>
                    <a:pt x="983294" y="4102365"/>
                  </a:cubicBezTo>
                  <a:cubicBezTo>
                    <a:pt x="983294" y="4084632"/>
                    <a:pt x="968514" y="4069852"/>
                    <a:pt x="950781" y="4069852"/>
                  </a:cubicBezTo>
                  <a:cubicBezTo>
                    <a:pt x="933050" y="4069852"/>
                    <a:pt x="918271" y="4084632"/>
                    <a:pt x="918271" y="4102365"/>
                  </a:cubicBezTo>
                  <a:close/>
                  <a:moveTo>
                    <a:pt x="894626" y="3280710"/>
                  </a:moveTo>
                  <a:cubicBezTo>
                    <a:pt x="894626" y="3316177"/>
                    <a:pt x="921228" y="3342776"/>
                    <a:pt x="956692" y="3342776"/>
                  </a:cubicBezTo>
                  <a:cubicBezTo>
                    <a:pt x="989205" y="3342776"/>
                    <a:pt x="1018761" y="3316177"/>
                    <a:pt x="1018761" y="3280710"/>
                  </a:cubicBezTo>
                  <a:cubicBezTo>
                    <a:pt x="1018761" y="3248196"/>
                    <a:pt x="992162" y="3218640"/>
                    <a:pt x="956692" y="3218640"/>
                  </a:cubicBezTo>
                  <a:cubicBezTo>
                    <a:pt x="924182" y="3218640"/>
                    <a:pt x="894626" y="3245242"/>
                    <a:pt x="894626" y="3280710"/>
                  </a:cubicBezTo>
                  <a:close/>
                  <a:moveTo>
                    <a:pt x="876892" y="1983202"/>
                  </a:moveTo>
                  <a:cubicBezTo>
                    <a:pt x="876892" y="1989114"/>
                    <a:pt x="882804" y="1995024"/>
                    <a:pt x="888715" y="1995024"/>
                  </a:cubicBezTo>
                  <a:cubicBezTo>
                    <a:pt x="894626" y="1995024"/>
                    <a:pt x="900537" y="1989114"/>
                    <a:pt x="900537" y="1983202"/>
                  </a:cubicBezTo>
                  <a:cubicBezTo>
                    <a:pt x="900537" y="1977291"/>
                    <a:pt x="894626" y="1971380"/>
                    <a:pt x="888715" y="1971380"/>
                  </a:cubicBezTo>
                  <a:cubicBezTo>
                    <a:pt x="882804" y="1971380"/>
                    <a:pt x="876892" y="1977291"/>
                    <a:pt x="876892" y="1983202"/>
                  </a:cubicBezTo>
                  <a:close/>
                  <a:moveTo>
                    <a:pt x="870981" y="2642302"/>
                  </a:moveTo>
                  <a:cubicBezTo>
                    <a:pt x="870981" y="2668903"/>
                    <a:pt x="891669" y="2689591"/>
                    <a:pt x="918271" y="2689591"/>
                  </a:cubicBezTo>
                  <a:cubicBezTo>
                    <a:pt x="944873" y="2689591"/>
                    <a:pt x="965560" y="2668903"/>
                    <a:pt x="965560" y="2642302"/>
                  </a:cubicBezTo>
                  <a:cubicBezTo>
                    <a:pt x="965560" y="2615700"/>
                    <a:pt x="944873" y="2595012"/>
                    <a:pt x="918271" y="2595012"/>
                  </a:cubicBezTo>
                  <a:cubicBezTo>
                    <a:pt x="891669" y="2595012"/>
                    <a:pt x="870981" y="2615700"/>
                    <a:pt x="870981" y="2642302"/>
                  </a:cubicBezTo>
                  <a:close/>
                  <a:moveTo>
                    <a:pt x="844379" y="3478736"/>
                  </a:moveTo>
                  <a:cubicBezTo>
                    <a:pt x="841425" y="3514203"/>
                    <a:pt x="873935" y="3546713"/>
                    <a:pt x="912359" y="3546713"/>
                  </a:cubicBezTo>
                  <a:cubicBezTo>
                    <a:pt x="950781" y="3546713"/>
                    <a:pt x="980336" y="3517157"/>
                    <a:pt x="980336" y="3478736"/>
                  </a:cubicBezTo>
                  <a:cubicBezTo>
                    <a:pt x="980336" y="3440312"/>
                    <a:pt x="950781" y="3410756"/>
                    <a:pt x="912359" y="3410756"/>
                  </a:cubicBezTo>
                  <a:cubicBezTo>
                    <a:pt x="873935" y="3410756"/>
                    <a:pt x="844379" y="3440312"/>
                    <a:pt x="844379" y="3478736"/>
                  </a:cubicBezTo>
                  <a:close/>
                  <a:moveTo>
                    <a:pt x="826649" y="2840328"/>
                  </a:moveTo>
                  <a:cubicBezTo>
                    <a:pt x="826649" y="2863972"/>
                    <a:pt x="847337" y="2887617"/>
                    <a:pt x="873938" y="2887617"/>
                  </a:cubicBezTo>
                  <a:cubicBezTo>
                    <a:pt x="900540" y="2887617"/>
                    <a:pt x="921228" y="2866930"/>
                    <a:pt x="921228" y="2840328"/>
                  </a:cubicBezTo>
                  <a:cubicBezTo>
                    <a:pt x="921228" y="2813726"/>
                    <a:pt x="900540" y="2793038"/>
                    <a:pt x="873938" y="2793038"/>
                  </a:cubicBezTo>
                  <a:cubicBezTo>
                    <a:pt x="847337" y="2793038"/>
                    <a:pt x="826649" y="2813726"/>
                    <a:pt x="826649" y="2840328"/>
                  </a:cubicBezTo>
                  <a:close/>
                  <a:moveTo>
                    <a:pt x="826649" y="1492577"/>
                  </a:moveTo>
                  <a:cubicBezTo>
                    <a:pt x="826649" y="1492577"/>
                    <a:pt x="826649" y="1495531"/>
                    <a:pt x="829603" y="1495531"/>
                  </a:cubicBezTo>
                  <a:cubicBezTo>
                    <a:pt x="832560" y="1495531"/>
                    <a:pt x="832560" y="1492577"/>
                    <a:pt x="832560" y="1492577"/>
                  </a:cubicBezTo>
                  <a:cubicBezTo>
                    <a:pt x="832560" y="1489620"/>
                    <a:pt x="829603" y="1489620"/>
                    <a:pt x="829603" y="1489620"/>
                  </a:cubicBezTo>
                  <a:cubicBezTo>
                    <a:pt x="826649" y="1489620"/>
                    <a:pt x="826649" y="1492577"/>
                    <a:pt x="826649" y="1492577"/>
                  </a:cubicBezTo>
                  <a:close/>
                  <a:moveTo>
                    <a:pt x="820735" y="2181228"/>
                  </a:moveTo>
                  <a:cubicBezTo>
                    <a:pt x="820735" y="2193051"/>
                    <a:pt x="829603" y="2204873"/>
                    <a:pt x="844379" y="2204873"/>
                  </a:cubicBezTo>
                  <a:cubicBezTo>
                    <a:pt x="856202" y="2204873"/>
                    <a:pt x="868024" y="2193051"/>
                    <a:pt x="868024" y="2181228"/>
                  </a:cubicBezTo>
                  <a:cubicBezTo>
                    <a:pt x="868024" y="2169406"/>
                    <a:pt x="856202" y="2157584"/>
                    <a:pt x="844379" y="2157584"/>
                  </a:cubicBezTo>
                  <a:cubicBezTo>
                    <a:pt x="832557" y="2157584"/>
                    <a:pt x="820735" y="2169406"/>
                    <a:pt x="820735" y="2181228"/>
                  </a:cubicBezTo>
                  <a:close/>
                  <a:moveTo>
                    <a:pt x="797093" y="3670848"/>
                  </a:moveTo>
                  <a:cubicBezTo>
                    <a:pt x="797093" y="3709270"/>
                    <a:pt x="829603" y="3741782"/>
                    <a:pt x="868027" y="3741782"/>
                  </a:cubicBezTo>
                  <a:cubicBezTo>
                    <a:pt x="906448" y="3741782"/>
                    <a:pt x="938961" y="3709270"/>
                    <a:pt x="938961" y="3670848"/>
                  </a:cubicBezTo>
                  <a:cubicBezTo>
                    <a:pt x="938961" y="3632424"/>
                    <a:pt x="906448" y="3599914"/>
                    <a:pt x="868027" y="3599914"/>
                  </a:cubicBezTo>
                  <a:cubicBezTo>
                    <a:pt x="829603" y="3599914"/>
                    <a:pt x="797093" y="3632424"/>
                    <a:pt x="797093" y="3670848"/>
                  </a:cubicBezTo>
                  <a:close/>
                  <a:moveTo>
                    <a:pt x="770491" y="3032440"/>
                  </a:moveTo>
                  <a:cubicBezTo>
                    <a:pt x="770491" y="3064950"/>
                    <a:pt x="797093" y="3091552"/>
                    <a:pt x="829603" y="3091552"/>
                  </a:cubicBezTo>
                  <a:cubicBezTo>
                    <a:pt x="862113" y="3091552"/>
                    <a:pt x="888715" y="3064950"/>
                    <a:pt x="888715" y="3032440"/>
                  </a:cubicBezTo>
                  <a:cubicBezTo>
                    <a:pt x="888715" y="2999926"/>
                    <a:pt x="862113" y="2973328"/>
                    <a:pt x="829603" y="2973328"/>
                  </a:cubicBezTo>
                  <a:cubicBezTo>
                    <a:pt x="797093" y="2973328"/>
                    <a:pt x="770491" y="2999926"/>
                    <a:pt x="770491" y="3032440"/>
                  </a:cubicBezTo>
                  <a:close/>
                  <a:moveTo>
                    <a:pt x="770491" y="1696511"/>
                  </a:moveTo>
                  <a:cubicBezTo>
                    <a:pt x="770491" y="1702426"/>
                    <a:pt x="776402" y="1705380"/>
                    <a:pt x="779356" y="1705380"/>
                  </a:cubicBezTo>
                  <a:cubicBezTo>
                    <a:pt x="785271" y="1705380"/>
                    <a:pt x="788225" y="1702426"/>
                    <a:pt x="788225" y="1696511"/>
                  </a:cubicBezTo>
                  <a:cubicBezTo>
                    <a:pt x="788225" y="1690600"/>
                    <a:pt x="785271" y="1687646"/>
                    <a:pt x="779356" y="1687646"/>
                  </a:cubicBezTo>
                  <a:cubicBezTo>
                    <a:pt x="773445" y="1687646"/>
                    <a:pt x="770491" y="1690600"/>
                    <a:pt x="770491" y="1696511"/>
                  </a:cubicBezTo>
                  <a:close/>
                  <a:moveTo>
                    <a:pt x="764580" y="2379255"/>
                  </a:moveTo>
                  <a:cubicBezTo>
                    <a:pt x="767537" y="2396988"/>
                    <a:pt x="779359" y="2411765"/>
                    <a:pt x="797093" y="2411765"/>
                  </a:cubicBezTo>
                  <a:cubicBezTo>
                    <a:pt x="814827" y="2411765"/>
                    <a:pt x="829603" y="2396988"/>
                    <a:pt x="829603" y="2379255"/>
                  </a:cubicBezTo>
                  <a:cubicBezTo>
                    <a:pt x="829603" y="2361521"/>
                    <a:pt x="814827" y="2346742"/>
                    <a:pt x="797093" y="2346742"/>
                  </a:cubicBezTo>
                  <a:cubicBezTo>
                    <a:pt x="779359" y="2346742"/>
                    <a:pt x="764580" y="2361521"/>
                    <a:pt x="764580" y="2379255"/>
                  </a:cubicBezTo>
                  <a:close/>
                  <a:moveTo>
                    <a:pt x="758669" y="4060984"/>
                  </a:moveTo>
                  <a:cubicBezTo>
                    <a:pt x="755715" y="4072809"/>
                    <a:pt x="767537" y="4081674"/>
                    <a:pt x="779359" y="4081674"/>
                  </a:cubicBezTo>
                  <a:cubicBezTo>
                    <a:pt x="791182" y="4081674"/>
                    <a:pt x="800047" y="4072809"/>
                    <a:pt x="800047" y="4060984"/>
                  </a:cubicBezTo>
                  <a:cubicBezTo>
                    <a:pt x="800047" y="4049164"/>
                    <a:pt x="791182" y="4040296"/>
                    <a:pt x="779359" y="4040296"/>
                  </a:cubicBezTo>
                  <a:cubicBezTo>
                    <a:pt x="767537" y="4040296"/>
                    <a:pt x="758669" y="4049164"/>
                    <a:pt x="758669" y="4060984"/>
                  </a:cubicBezTo>
                  <a:close/>
                  <a:moveTo>
                    <a:pt x="755715" y="3862964"/>
                  </a:moveTo>
                  <a:cubicBezTo>
                    <a:pt x="755715" y="3901384"/>
                    <a:pt x="785271" y="3930940"/>
                    <a:pt x="823692" y="3930940"/>
                  </a:cubicBezTo>
                  <a:cubicBezTo>
                    <a:pt x="862116" y="3930940"/>
                    <a:pt x="891672" y="3901384"/>
                    <a:pt x="891672" y="3862964"/>
                  </a:cubicBezTo>
                  <a:cubicBezTo>
                    <a:pt x="891672" y="3824539"/>
                    <a:pt x="862116" y="3794983"/>
                    <a:pt x="823692" y="3794983"/>
                  </a:cubicBezTo>
                  <a:cubicBezTo>
                    <a:pt x="785271" y="3794983"/>
                    <a:pt x="755715" y="3824539"/>
                    <a:pt x="755715" y="3862964"/>
                  </a:cubicBezTo>
                  <a:close/>
                  <a:moveTo>
                    <a:pt x="723202" y="3230466"/>
                  </a:moveTo>
                  <a:cubicBezTo>
                    <a:pt x="720244" y="3262976"/>
                    <a:pt x="749800" y="3292532"/>
                    <a:pt x="785267" y="3292532"/>
                  </a:cubicBezTo>
                  <a:cubicBezTo>
                    <a:pt x="820735" y="3292532"/>
                    <a:pt x="847337" y="3262976"/>
                    <a:pt x="847337" y="3230466"/>
                  </a:cubicBezTo>
                  <a:cubicBezTo>
                    <a:pt x="847337" y="3194999"/>
                    <a:pt x="817780" y="3168397"/>
                    <a:pt x="785267" y="3168397"/>
                  </a:cubicBezTo>
                  <a:cubicBezTo>
                    <a:pt x="749800" y="3168397"/>
                    <a:pt x="723202" y="3197953"/>
                    <a:pt x="723202" y="3230466"/>
                  </a:cubicBezTo>
                  <a:close/>
                  <a:moveTo>
                    <a:pt x="714336" y="1897492"/>
                  </a:moveTo>
                  <a:cubicBezTo>
                    <a:pt x="714336" y="1909314"/>
                    <a:pt x="723204" y="1915225"/>
                    <a:pt x="732070" y="1915225"/>
                  </a:cubicBezTo>
                  <a:cubicBezTo>
                    <a:pt x="740938" y="1915225"/>
                    <a:pt x="749803" y="1906357"/>
                    <a:pt x="749803" y="1897492"/>
                  </a:cubicBezTo>
                  <a:cubicBezTo>
                    <a:pt x="749803" y="1888623"/>
                    <a:pt x="740938" y="1879758"/>
                    <a:pt x="732070" y="1879758"/>
                  </a:cubicBezTo>
                  <a:cubicBezTo>
                    <a:pt x="723204" y="1879758"/>
                    <a:pt x="714336" y="1888623"/>
                    <a:pt x="714336" y="1897492"/>
                  </a:cubicBezTo>
                  <a:close/>
                  <a:moveTo>
                    <a:pt x="708425" y="2577278"/>
                  </a:moveTo>
                  <a:cubicBezTo>
                    <a:pt x="708425" y="2600923"/>
                    <a:pt x="726159" y="2621610"/>
                    <a:pt x="752761" y="2621610"/>
                  </a:cubicBezTo>
                  <a:cubicBezTo>
                    <a:pt x="776402" y="2621610"/>
                    <a:pt x="797093" y="2600923"/>
                    <a:pt x="797093" y="2577278"/>
                  </a:cubicBezTo>
                  <a:cubicBezTo>
                    <a:pt x="797093" y="2553630"/>
                    <a:pt x="776402" y="2532942"/>
                    <a:pt x="752761" y="2532942"/>
                  </a:cubicBezTo>
                  <a:cubicBezTo>
                    <a:pt x="729113" y="2532942"/>
                    <a:pt x="708425" y="2553630"/>
                    <a:pt x="708425" y="2577278"/>
                  </a:cubicBezTo>
                  <a:close/>
                  <a:moveTo>
                    <a:pt x="678869" y="3425532"/>
                  </a:moveTo>
                  <a:cubicBezTo>
                    <a:pt x="678869" y="3458046"/>
                    <a:pt x="705468" y="3487601"/>
                    <a:pt x="740935" y="3487601"/>
                  </a:cubicBezTo>
                  <a:cubicBezTo>
                    <a:pt x="776402" y="3487601"/>
                    <a:pt x="803004" y="3461002"/>
                    <a:pt x="803004" y="3425532"/>
                  </a:cubicBezTo>
                  <a:cubicBezTo>
                    <a:pt x="803004" y="3390065"/>
                    <a:pt x="776402" y="3363466"/>
                    <a:pt x="740935" y="3363466"/>
                  </a:cubicBezTo>
                  <a:cubicBezTo>
                    <a:pt x="705468" y="3363466"/>
                    <a:pt x="678869" y="3390065"/>
                    <a:pt x="678869" y="3425532"/>
                  </a:cubicBezTo>
                  <a:close/>
                  <a:moveTo>
                    <a:pt x="661133" y="2101429"/>
                  </a:moveTo>
                  <a:cubicBezTo>
                    <a:pt x="661133" y="2113252"/>
                    <a:pt x="670001" y="2125074"/>
                    <a:pt x="684777" y="2125074"/>
                  </a:cubicBezTo>
                  <a:cubicBezTo>
                    <a:pt x="696600" y="2125074"/>
                    <a:pt x="708422" y="2113252"/>
                    <a:pt x="708422" y="2101429"/>
                  </a:cubicBezTo>
                  <a:cubicBezTo>
                    <a:pt x="708422" y="2089607"/>
                    <a:pt x="696600" y="2077784"/>
                    <a:pt x="684777" y="2077784"/>
                  </a:cubicBezTo>
                  <a:cubicBezTo>
                    <a:pt x="672955" y="2077784"/>
                    <a:pt x="661133" y="2089607"/>
                    <a:pt x="661133" y="2101429"/>
                  </a:cubicBezTo>
                  <a:close/>
                  <a:moveTo>
                    <a:pt x="658178" y="2775304"/>
                  </a:moveTo>
                  <a:cubicBezTo>
                    <a:pt x="658178" y="2801906"/>
                    <a:pt x="678869" y="2822594"/>
                    <a:pt x="705468" y="2822594"/>
                  </a:cubicBezTo>
                  <a:cubicBezTo>
                    <a:pt x="732070" y="2822594"/>
                    <a:pt x="752757" y="2801906"/>
                    <a:pt x="752757" y="2775304"/>
                  </a:cubicBezTo>
                  <a:cubicBezTo>
                    <a:pt x="752757" y="2748702"/>
                    <a:pt x="732070" y="2728015"/>
                    <a:pt x="705468" y="2728015"/>
                  </a:cubicBezTo>
                  <a:cubicBezTo>
                    <a:pt x="678869" y="2728015"/>
                    <a:pt x="658178" y="2748702"/>
                    <a:pt x="658178" y="2775304"/>
                  </a:cubicBezTo>
                  <a:close/>
                  <a:moveTo>
                    <a:pt x="625668" y="3620604"/>
                  </a:moveTo>
                  <a:cubicBezTo>
                    <a:pt x="625668" y="3659780"/>
                    <a:pt x="657428" y="3691539"/>
                    <a:pt x="696603" y="3691539"/>
                  </a:cubicBezTo>
                  <a:cubicBezTo>
                    <a:pt x="735778" y="3691539"/>
                    <a:pt x="767537" y="3659780"/>
                    <a:pt x="767537" y="3620604"/>
                  </a:cubicBezTo>
                  <a:cubicBezTo>
                    <a:pt x="767537" y="3581430"/>
                    <a:pt x="735778" y="3549670"/>
                    <a:pt x="696603" y="3549670"/>
                  </a:cubicBezTo>
                  <a:cubicBezTo>
                    <a:pt x="657428" y="3549670"/>
                    <a:pt x="625668" y="3581430"/>
                    <a:pt x="625668" y="3620604"/>
                  </a:cubicBezTo>
                  <a:close/>
                  <a:moveTo>
                    <a:pt x="622711" y="1596021"/>
                  </a:moveTo>
                  <a:cubicBezTo>
                    <a:pt x="622711" y="1601932"/>
                    <a:pt x="625665" y="1604886"/>
                    <a:pt x="631577" y="1604886"/>
                  </a:cubicBezTo>
                  <a:cubicBezTo>
                    <a:pt x="637491" y="1604886"/>
                    <a:pt x="640445" y="1601932"/>
                    <a:pt x="640445" y="1596021"/>
                  </a:cubicBezTo>
                  <a:cubicBezTo>
                    <a:pt x="640445" y="1593064"/>
                    <a:pt x="637491" y="1587152"/>
                    <a:pt x="631577" y="1587152"/>
                  </a:cubicBezTo>
                  <a:cubicBezTo>
                    <a:pt x="628623" y="1587152"/>
                    <a:pt x="622711" y="1590110"/>
                    <a:pt x="622711" y="1596021"/>
                  </a:cubicBezTo>
                  <a:close/>
                  <a:moveTo>
                    <a:pt x="604978" y="2970370"/>
                  </a:moveTo>
                  <a:cubicBezTo>
                    <a:pt x="604978" y="2999926"/>
                    <a:pt x="631577" y="3026528"/>
                    <a:pt x="661133" y="3026528"/>
                  </a:cubicBezTo>
                  <a:cubicBezTo>
                    <a:pt x="693645" y="3026528"/>
                    <a:pt x="717290" y="2999926"/>
                    <a:pt x="717290" y="2970370"/>
                  </a:cubicBezTo>
                  <a:cubicBezTo>
                    <a:pt x="717290" y="2940814"/>
                    <a:pt x="690688" y="2914216"/>
                    <a:pt x="661133" y="2914216"/>
                  </a:cubicBezTo>
                  <a:cubicBezTo>
                    <a:pt x="628623" y="2914216"/>
                    <a:pt x="604978" y="2940814"/>
                    <a:pt x="604978" y="2970370"/>
                  </a:cubicBezTo>
                  <a:close/>
                  <a:moveTo>
                    <a:pt x="593155" y="2302410"/>
                  </a:moveTo>
                  <a:cubicBezTo>
                    <a:pt x="590198" y="2326054"/>
                    <a:pt x="610889" y="2346742"/>
                    <a:pt x="637488" y="2346742"/>
                  </a:cubicBezTo>
                  <a:cubicBezTo>
                    <a:pt x="664090" y="2346742"/>
                    <a:pt x="681823" y="2326054"/>
                    <a:pt x="681823" y="2302410"/>
                  </a:cubicBezTo>
                  <a:cubicBezTo>
                    <a:pt x="681823" y="2275808"/>
                    <a:pt x="661133" y="2258074"/>
                    <a:pt x="637488" y="2258074"/>
                  </a:cubicBezTo>
                  <a:cubicBezTo>
                    <a:pt x="610889" y="2258074"/>
                    <a:pt x="593155" y="2278765"/>
                    <a:pt x="593155" y="2302410"/>
                  </a:cubicBezTo>
                  <a:close/>
                  <a:moveTo>
                    <a:pt x="587244" y="3815674"/>
                  </a:moveTo>
                  <a:cubicBezTo>
                    <a:pt x="587244" y="3848184"/>
                    <a:pt x="616800" y="3877740"/>
                    <a:pt x="649313" y="3877740"/>
                  </a:cubicBezTo>
                  <a:cubicBezTo>
                    <a:pt x="684780" y="3877740"/>
                    <a:pt x="711379" y="3848184"/>
                    <a:pt x="711379" y="3815674"/>
                  </a:cubicBezTo>
                  <a:cubicBezTo>
                    <a:pt x="711379" y="3780204"/>
                    <a:pt x="681823" y="3753604"/>
                    <a:pt x="649313" y="3753604"/>
                  </a:cubicBezTo>
                  <a:cubicBezTo>
                    <a:pt x="613846" y="3753604"/>
                    <a:pt x="587244" y="3783160"/>
                    <a:pt x="587244" y="3815674"/>
                  </a:cubicBezTo>
                  <a:close/>
                  <a:moveTo>
                    <a:pt x="566557" y="1802912"/>
                  </a:moveTo>
                  <a:cubicBezTo>
                    <a:pt x="566557" y="1809441"/>
                    <a:pt x="571850" y="1814735"/>
                    <a:pt x="578379" y="1814735"/>
                  </a:cubicBezTo>
                  <a:cubicBezTo>
                    <a:pt x="584908" y="1814735"/>
                    <a:pt x="590201" y="1809441"/>
                    <a:pt x="590201" y="1802912"/>
                  </a:cubicBezTo>
                  <a:cubicBezTo>
                    <a:pt x="590201" y="1796384"/>
                    <a:pt x="584908" y="1791090"/>
                    <a:pt x="578379" y="1791090"/>
                  </a:cubicBezTo>
                  <a:cubicBezTo>
                    <a:pt x="571850" y="1791090"/>
                    <a:pt x="566557" y="1796384"/>
                    <a:pt x="566557" y="1802912"/>
                  </a:cubicBezTo>
                  <a:close/>
                  <a:moveTo>
                    <a:pt x="554731" y="4205812"/>
                  </a:moveTo>
                  <a:cubicBezTo>
                    <a:pt x="554731" y="4208766"/>
                    <a:pt x="557685" y="4211724"/>
                    <a:pt x="560642" y="4211724"/>
                  </a:cubicBezTo>
                  <a:cubicBezTo>
                    <a:pt x="563599" y="4211724"/>
                    <a:pt x="566554" y="4208766"/>
                    <a:pt x="566554" y="4205812"/>
                  </a:cubicBezTo>
                  <a:cubicBezTo>
                    <a:pt x="566554" y="4202855"/>
                    <a:pt x="563599" y="4199901"/>
                    <a:pt x="560642" y="4199901"/>
                  </a:cubicBezTo>
                  <a:cubicBezTo>
                    <a:pt x="557685" y="4199901"/>
                    <a:pt x="554731" y="4202855"/>
                    <a:pt x="554731" y="4205812"/>
                  </a:cubicBezTo>
                  <a:close/>
                  <a:moveTo>
                    <a:pt x="554731" y="3168397"/>
                  </a:moveTo>
                  <a:cubicBezTo>
                    <a:pt x="554731" y="3203864"/>
                    <a:pt x="581333" y="3230466"/>
                    <a:pt x="616797" y="3230466"/>
                  </a:cubicBezTo>
                  <a:cubicBezTo>
                    <a:pt x="652267" y="3230466"/>
                    <a:pt x="678866" y="3200910"/>
                    <a:pt x="678866" y="3168397"/>
                  </a:cubicBezTo>
                  <a:cubicBezTo>
                    <a:pt x="678866" y="3132930"/>
                    <a:pt x="649310" y="3106331"/>
                    <a:pt x="616797" y="3106331"/>
                  </a:cubicBezTo>
                  <a:cubicBezTo>
                    <a:pt x="584287" y="3106331"/>
                    <a:pt x="554731" y="3135887"/>
                    <a:pt x="554731" y="3168397"/>
                  </a:cubicBezTo>
                  <a:close/>
                  <a:moveTo>
                    <a:pt x="542909" y="1267948"/>
                  </a:moveTo>
                  <a:cubicBezTo>
                    <a:pt x="542909" y="1270906"/>
                    <a:pt x="545866" y="1273860"/>
                    <a:pt x="548820" y="1273860"/>
                  </a:cubicBezTo>
                  <a:cubicBezTo>
                    <a:pt x="551777" y="1273860"/>
                    <a:pt x="554731" y="1270906"/>
                    <a:pt x="554731" y="1267948"/>
                  </a:cubicBezTo>
                  <a:cubicBezTo>
                    <a:pt x="554731" y="1264994"/>
                    <a:pt x="551777" y="1262037"/>
                    <a:pt x="548820" y="1262037"/>
                  </a:cubicBezTo>
                  <a:cubicBezTo>
                    <a:pt x="545866" y="1262037"/>
                    <a:pt x="542909" y="1264994"/>
                    <a:pt x="542909" y="1267948"/>
                  </a:cubicBezTo>
                  <a:close/>
                  <a:moveTo>
                    <a:pt x="537001" y="4010740"/>
                  </a:moveTo>
                  <a:cubicBezTo>
                    <a:pt x="537001" y="4048286"/>
                    <a:pt x="567435" y="4078720"/>
                    <a:pt x="604978" y="4078720"/>
                  </a:cubicBezTo>
                  <a:cubicBezTo>
                    <a:pt x="642524" y="4078720"/>
                    <a:pt x="672958" y="4048286"/>
                    <a:pt x="672958" y="4010740"/>
                  </a:cubicBezTo>
                  <a:cubicBezTo>
                    <a:pt x="672958" y="3973197"/>
                    <a:pt x="642524" y="3942763"/>
                    <a:pt x="604978" y="3942763"/>
                  </a:cubicBezTo>
                  <a:cubicBezTo>
                    <a:pt x="567435" y="3942763"/>
                    <a:pt x="537001" y="3973197"/>
                    <a:pt x="537001" y="4010740"/>
                  </a:cubicBezTo>
                  <a:close/>
                  <a:moveTo>
                    <a:pt x="537001" y="2500433"/>
                  </a:moveTo>
                  <a:cubicBezTo>
                    <a:pt x="537001" y="2529988"/>
                    <a:pt x="560645" y="2553634"/>
                    <a:pt x="590201" y="2553634"/>
                  </a:cubicBezTo>
                  <a:cubicBezTo>
                    <a:pt x="619757" y="2553634"/>
                    <a:pt x="643402" y="2529988"/>
                    <a:pt x="643402" y="2500433"/>
                  </a:cubicBezTo>
                  <a:cubicBezTo>
                    <a:pt x="643402" y="2470877"/>
                    <a:pt x="619757" y="2447232"/>
                    <a:pt x="590201" y="2447232"/>
                  </a:cubicBezTo>
                  <a:cubicBezTo>
                    <a:pt x="560645" y="2447232"/>
                    <a:pt x="537001" y="2470877"/>
                    <a:pt x="537001" y="2500433"/>
                  </a:cubicBezTo>
                  <a:close/>
                  <a:moveTo>
                    <a:pt x="507445" y="3363466"/>
                  </a:moveTo>
                  <a:cubicBezTo>
                    <a:pt x="507445" y="3398934"/>
                    <a:pt x="537001" y="3428490"/>
                    <a:pt x="572468" y="3428490"/>
                  </a:cubicBezTo>
                  <a:cubicBezTo>
                    <a:pt x="607935" y="3428490"/>
                    <a:pt x="637491" y="3398934"/>
                    <a:pt x="637491" y="3363466"/>
                  </a:cubicBezTo>
                  <a:cubicBezTo>
                    <a:pt x="637491" y="3327999"/>
                    <a:pt x="607935" y="3298443"/>
                    <a:pt x="572468" y="3298443"/>
                  </a:cubicBezTo>
                  <a:cubicBezTo>
                    <a:pt x="537001" y="3298443"/>
                    <a:pt x="507445" y="3327999"/>
                    <a:pt x="507445" y="3363466"/>
                  </a:cubicBezTo>
                  <a:close/>
                  <a:moveTo>
                    <a:pt x="504488" y="2009804"/>
                  </a:moveTo>
                  <a:cubicBezTo>
                    <a:pt x="504488" y="2024584"/>
                    <a:pt x="516310" y="2036406"/>
                    <a:pt x="531089" y="2036406"/>
                  </a:cubicBezTo>
                  <a:cubicBezTo>
                    <a:pt x="545866" y="2036406"/>
                    <a:pt x="557688" y="2024584"/>
                    <a:pt x="557688" y="2009804"/>
                  </a:cubicBezTo>
                  <a:cubicBezTo>
                    <a:pt x="557688" y="1995028"/>
                    <a:pt x="545866" y="1983205"/>
                    <a:pt x="531089" y="1983205"/>
                  </a:cubicBezTo>
                  <a:cubicBezTo>
                    <a:pt x="516310" y="1983205"/>
                    <a:pt x="504488" y="1995028"/>
                    <a:pt x="504488" y="2009804"/>
                  </a:cubicBezTo>
                  <a:close/>
                  <a:moveTo>
                    <a:pt x="489711" y="2698459"/>
                  </a:moveTo>
                  <a:cubicBezTo>
                    <a:pt x="492665" y="2730969"/>
                    <a:pt x="516313" y="2751660"/>
                    <a:pt x="542912" y="2751660"/>
                  </a:cubicBezTo>
                  <a:cubicBezTo>
                    <a:pt x="572468" y="2751660"/>
                    <a:pt x="596113" y="2728015"/>
                    <a:pt x="596113" y="2698459"/>
                  </a:cubicBezTo>
                  <a:cubicBezTo>
                    <a:pt x="596113" y="2668903"/>
                    <a:pt x="572468" y="2645258"/>
                    <a:pt x="542912" y="2645258"/>
                  </a:cubicBezTo>
                  <a:cubicBezTo>
                    <a:pt x="513356" y="2645258"/>
                    <a:pt x="489711" y="2668903"/>
                    <a:pt x="489711" y="2698459"/>
                  </a:cubicBezTo>
                  <a:close/>
                  <a:moveTo>
                    <a:pt x="483797" y="1483708"/>
                  </a:moveTo>
                  <a:cubicBezTo>
                    <a:pt x="483797" y="1489620"/>
                    <a:pt x="486754" y="1492574"/>
                    <a:pt x="492665" y="1492574"/>
                  </a:cubicBezTo>
                  <a:cubicBezTo>
                    <a:pt x="495619" y="1492574"/>
                    <a:pt x="501530" y="1489620"/>
                    <a:pt x="501530" y="1483708"/>
                  </a:cubicBezTo>
                  <a:cubicBezTo>
                    <a:pt x="501530" y="1480751"/>
                    <a:pt x="498576" y="1474840"/>
                    <a:pt x="492665" y="1474840"/>
                  </a:cubicBezTo>
                  <a:cubicBezTo>
                    <a:pt x="486754" y="1474840"/>
                    <a:pt x="483797" y="1477797"/>
                    <a:pt x="483797" y="1483708"/>
                  </a:cubicBezTo>
                  <a:close/>
                  <a:moveTo>
                    <a:pt x="466063" y="3561492"/>
                  </a:moveTo>
                  <a:cubicBezTo>
                    <a:pt x="466063" y="3594006"/>
                    <a:pt x="492665" y="3620604"/>
                    <a:pt x="525175" y="3620604"/>
                  </a:cubicBezTo>
                  <a:cubicBezTo>
                    <a:pt x="557685" y="3620604"/>
                    <a:pt x="584287" y="3594006"/>
                    <a:pt x="584287" y="3561492"/>
                  </a:cubicBezTo>
                  <a:cubicBezTo>
                    <a:pt x="584287" y="3528980"/>
                    <a:pt x="557685" y="3502381"/>
                    <a:pt x="525175" y="3502381"/>
                  </a:cubicBezTo>
                  <a:cubicBezTo>
                    <a:pt x="492665" y="3502381"/>
                    <a:pt x="466063" y="3528980"/>
                    <a:pt x="466063" y="3561492"/>
                  </a:cubicBezTo>
                  <a:close/>
                  <a:moveTo>
                    <a:pt x="442422" y="2899440"/>
                  </a:moveTo>
                  <a:cubicBezTo>
                    <a:pt x="442422" y="2931950"/>
                    <a:pt x="466066" y="2955594"/>
                    <a:pt x="498576" y="2955594"/>
                  </a:cubicBezTo>
                  <a:cubicBezTo>
                    <a:pt x="531089" y="2955594"/>
                    <a:pt x="554734" y="2928996"/>
                    <a:pt x="554734" y="2899440"/>
                  </a:cubicBezTo>
                  <a:cubicBezTo>
                    <a:pt x="554734" y="2866926"/>
                    <a:pt x="528132" y="2843282"/>
                    <a:pt x="498576" y="2843282"/>
                  </a:cubicBezTo>
                  <a:cubicBezTo>
                    <a:pt x="466066" y="2843282"/>
                    <a:pt x="442422" y="2869884"/>
                    <a:pt x="442422" y="2899440"/>
                  </a:cubicBezTo>
                  <a:close/>
                  <a:moveTo>
                    <a:pt x="442422" y="2216696"/>
                  </a:moveTo>
                  <a:cubicBezTo>
                    <a:pt x="439464" y="2237383"/>
                    <a:pt x="457198" y="2255117"/>
                    <a:pt x="480843" y="2255117"/>
                  </a:cubicBezTo>
                  <a:cubicBezTo>
                    <a:pt x="501534" y="2255117"/>
                    <a:pt x="519267" y="2237383"/>
                    <a:pt x="519267" y="2216696"/>
                  </a:cubicBezTo>
                  <a:cubicBezTo>
                    <a:pt x="519267" y="2196005"/>
                    <a:pt x="501534" y="2178272"/>
                    <a:pt x="480843" y="2178272"/>
                  </a:cubicBezTo>
                  <a:cubicBezTo>
                    <a:pt x="460155" y="2178272"/>
                    <a:pt x="442422" y="2196005"/>
                    <a:pt x="442422" y="2216696"/>
                  </a:cubicBezTo>
                  <a:close/>
                  <a:moveTo>
                    <a:pt x="421731" y="1696511"/>
                  </a:moveTo>
                  <a:cubicBezTo>
                    <a:pt x="421731" y="1705376"/>
                    <a:pt x="427642" y="1711288"/>
                    <a:pt x="436510" y="1711288"/>
                  </a:cubicBezTo>
                  <a:cubicBezTo>
                    <a:pt x="445376" y="1711288"/>
                    <a:pt x="451287" y="1705376"/>
                    <a:pt x="451287" y="1696511"/>
                  </a:cubicBezTo>
                  <a:cubicBezTo>
                    <a:pt x="451287" y="1687643"/>
                    <a:pt x="445376" y="1681732"/>
                    <a:pt x="436510" y="1681732"/>
                  </a:cubicBezTo>
                  <a:cubicBezTo>
                    <a:pt x="427642" y="1681732"/>
                    <a:pt x="421731" y="1687643"/>
                    <a:pt x="421731" y="1696511"/>
                  </a:cubicBezTo>
                  <a:close/>
                  <a:moveTo>
                    <a:pt x="418777" y="3756562"/>
                  </a:moveTo>
                  <a:cubicBezTo>
                    <a:pt x="418777" y="3789072"/>
                    <a:pt x="445379" y="3818628"/>
                    <a:pt x="480843" y="3818628"/>
                  </a:cubicBezTo>
                  <a:cubicBezTo>
                    <a:pt x="516313" y="3818628"/>
                    <a:pt x="542912" y="3789072"/>
                    <a:pt x="542912" y="3756562"/>
                  </a:cubicBezTo>
                  <a:cubicBezTo>
                    <a:pt x="542912" y="3724049"/>
                    <a:pt x="513356" y="3694493"/>
                    <a:pt x="480843" y="3694493"/>
                  </a:cubicBezTo>
                  <a:cubicBezTo>
                    <a:pt x="448333" y="3694493"/>
                    <a:pt x="418777" y="3724049"/>
                    <a:pt x="418777" y="3756562"/>
                  </a:cubicBezTo>
                  <a:close/>
                  <a:moveTo>
                    <a:pt x="418777" y="1137905"/>
                  </a:moveTo>
                  <a:cubicBezTo>
                    <a:pt x="418777" y="1140860"/>
                    <a:pt x="424688" y="1143816"/>
                    <a:pt x="424688" y="1143816"/>
                  </a:cubicBezTo>
                  <a:cubicBezTo>
                    <a:pt x="427645" y="1143816"/>
                    <a:pt x="430599" y="1140860"/>
                    <a:pt x="430599" y="1137905"/>
                  </a:cubicBezTo>
                  <a:cubicBezTo>
                    <a:pt x="430599" y="1134948"/>
                    <a:pt x="427645" y="1131994"/>
                    <a:pt x="424688" y="1131994"/>
                  </a:cubicBezTo>
                  <a:cubicBezTo>
                    <a:pt x="421731" y="1131994"/>
                    <a:pt x="418777" y="1134948"/>
                    <a:pt x="418777" y="1137905"/>
                  </a:cubicBezTo>
                  <a:close/>
                  <a:moveTo>
                    <a:pt x="386264" y="3097463"/>
                  </a:moveTo>
                  <a:cubicBezTo>
                    <a:pt x="386264" y="3132930"/>
                    <a:pt x="415820" y="3162486"/>
                    <a:pt x="451287" y="3162486"/>
                  </a:cubicBezTo>
                  <a:cubicBezTo>
                    <a:pt x="486754" y="3162486"/>
                    <a:pt x="516310" y="3132930"/>
                    <a:pt x="516310" y="3097463"/>
                  </a:cubicBezTo>
                  <a:cubicBezTo>
                    <a:pt x="516310" y="3061996"/>
                    <a:pt x="486754" y="3032440"/>
                    <a:pt x="451287" y="3032440"/>
                  </a:cubicBezTo>
                  <a:cubicBezTo>
                    <a:pt x="415820" y="3032440"/>
                    <a:pt x="386264" y="3061996"/>
                    <a:pt x="386264" y="3097463"/>
                  </a:cubicBezTo>
                  <a:close/>
                  <a:moveTo>
                    <a:pt x="386264" y="2417676"/>
                  </a:moveTo>
                  <a:cubicBezTo>
                    <a:pt x="386264" y="2444278"/>
                    <a:pt x="406951" y="2464966"/>
                    <a:pt x="433553" y="2464966"/>
                  </a:cubicBezTo>
                  <a:cubicBezTo>
                    <a:pt x="460155" y="2464966"/>
                    <a:pt x="480843" y="2444278"/>
                    <a:pt x="480843" y="2417676"/>
                  </a:cubicBezTo>
                  <a:cubicBezTo>
                    <a:pt x="480843" y="2391074"/>
                    <a:pt x="460155" y="2370386"/>
                    <a:pt x="433553" y="2370386"/>
                  </a:cubicBezTo>
                  <a:cubicBezTo>
                    <a:pt x="406951" y="2370386"/>
                    <a:pt x="386264" y="2391074"/>
                    <a:pt x="386264" y="2417676"/>
                  </a:cubicBezTo>
                  <a:close/>
                  <a:moveTo>
                    <a:pt x="383310" y="3951628"/>
                  </a:moveTo>
                  <a:cubicBezTo>
                    <a:pt x="383310" y="3981184"/>
                    <a:pt x="406955" y="4004828"/>
                    <a:pt x="436510" y="4004828"/>
                  </a:cubicBezTo>
                  <a:cubicBezTo>
                    <a:pt x="466066" y="4004828"/>
                    <a:pt x="489711" y="3981184"/>
                    <a:pt x="489711" y="3951628"/>
                  </a:cubicBezTo>
                  <a:cubicBezTo>
                    <a:pt x="489711" y="3922072"/>
                    <a:pt x="466066" y="3898428"/>
                    <a:pt x="436510" y="3898428"/>
                  </a:cubicBezTo>
                  <a:cubicBezTo>
                    <a:pt x="406955" y="3898428"/>
                    <a:pt x="383310" y="3922072"/>
                    <a:pt x="383310" y="3951628"/>
                  </a:cubicBezTo>
                  <a:close/>
                  <a:moveTo>
                    <a:pt x="350797" y="1906360"/>
                  </a:moveTo>
                  <a:cubicBezTo>
                    <a:pt x="350797" y="1927048"/>
                    <a:pt x="365576" y="1938870"/>
                    <a:pt x="383310" y="1938870"/>
                  </a:cubicBezTo>
                  <a:cubicBezTo>
                    <a:pt x="401043" y="1938870"/>
                    <a:pt x="415820" y="1924094"/>
                    <a:pt x="415820" y="1906360"/>
                  </a:cubicBezTo>
                  <a:cubicBezTo>
                    <a:pt x="415820" y="1888626"/>
                    <a:pt x="401043" y="1873847"/>
                    <a:pt x="383310" y="1873847"/>
                  </a:cubicBezTo>
                  <a:cubicBezTo>
                    <a:pt x="365576" y="1873847"/>
                    <a:pt x="350797" y="1888626"/>
                    <a:pt x="350797" y="1906360"/>
                  </a:cubicBezTo>
                  <a:close/>
                  <a:moveTo>
                    <a:pt x="350797" y="1362530"/>
                  </a:moveTo>
                  <a:cubicBezTo>
                    <a:pt x="353754" y="1368442"/>
                    <a:pt x="356708" y="1371396"/>
                    <a:pt x="359665" y="1371396"/>
                  </a:cubicBezTo>
                  <a:cubicBezTo>
                    <a:pt x="365576" y="1371396"/>
                    <a:pt x="368530" y="1368442"/>
                    <a:pt x="368530" y="1362530"/>
                  </a:cubicBezTo>
                  <a:cubicBezTo>
                    <a:pt x="368530" y="1356616"/>
                    <a:pt x="365576" y="1353662"/>
                    <a:pt x="359665" y="1353662"/>
                  </a:cubicBezTo>
                  <a:cubicBezTo>
                    <a:pt x="353754" y="1353662"/>
                    <a:pt x="350797" y="1356616"/>
                    <a:pt x="350797" y="1362530"/>
                  </a:cubicBezTo>
                  <a:close/>
                  <a:moveTo>
                    <a:pt x="341931" y="3295489"/>
                  </a:moveTo>
                  <a:cubicBezTo>
                    <a:pt x="338974" y="3333914"/>
                    <a:pt x="368530" y="3360512"/>
                    <a:pt x="406955" y="3360512"/>
                  </a:cubicBezTo>
                  <a:cubicBezTo>
                    <a:pt x="442422" y="3360512"/>
                    <a:pt x="471978" y="3330956"/>
                    <a:pt x="471978" y="3295489"/>
                  </a:cubicBezTo>
                  <a:cubicBezTo>
                    <a:pt x="471978" y="3260022"/>
                    <a:pt x="442422" y="3230466"/>
                    <a:pt x="406955" y="3230466"/>
                  </a:cubicBezTo>
                  <a:cubicBezTo>
                    <a:pt x="371487" y="3230466"/>
                    <a:pt x="341931" y="3260022"/>
                    <a:pt x="341931" y="3295489"/>
                  </a:cubicBezTo>
                  <a:close/>
                  <a:moveTo>
                    <a:pt x="330109" y="2618656"/>
                  </a:moveTo>
                  <a:cubicBezTo>
                    <a:pt x="333063" y="2648212"/>
                    <a:pt x="356711" y="2671857"/>
                    <a:pt x="383310" y="2671857"/>
                  </a:cubicBezTo>
                  <a:cubicBezTo>
                    <a:pt x="412866" y="2671857"/>
                    <a:pt x="433556" y="2648212"/>
                    <a:pt x="433556" y="2618656"/>
                  </a:cubicBezTo>
                  <a:cubicBezTo>
                    <a:pt x="433556" y="2589100"/>
                    <a:pt x="409909" y="2565456"/>
                    <a:pt x="383310" y="2565456"/>
                  </a:cubicBezTo>
                  <a:cubicBezTo>
                    <a:pt x="353754" y="2565456"/>
                    <a:pt x="330109" y="2589100"/>
                    <a:pt x="330109" y="2618656"/>
                  </a:cubicBezTo>
                  <a:close/>
                  <a:moveTo>
                    <a:pt x="291685" y="3493512"/>
                  </a:moveTo>
                  <a:cubicBezTo>
                    <a:pt x="291685" y="3531058"/>
                    <a:pt x="322119" y="3561492"/>
                    <a:pt x="359665" y="3561492"/>
                  </a:cubicBezTo>
                  <a:cubicBezTo>
                    <a:pt x="397208" y="3561492"/>
                    <a:pt x="427642" y="3531058"/>
                    <a:pt x="427642" y="3493512"/>
                  </a:cubicBezTo>
                  <a:cubicBezTo>
                    <a:pt x="427642" y="3455970"/>
                    <a:pt x="397208" y="3425536"/>
                    <a:pt x="359665" y="3425536"/>
                  </a:cubicBezTo>
                  <a:cubicBezTo>
                    <a:pt x="322119" y="3425536"/>
                    <a:pt x="291685" y="3455970"/>
                    <a:pt x="291685" y="3493512"/>
                  </a:cubicBezTo>
                  <a:close/>
                  <a:moveTo>
                    <a:pt x="288728" y="2116206"/>
                  </a:moveTo>
                  <a:cubicBezTo>
                    <a:pt x="288728" y="2139850"/>
                    <a:pt x="306461" y="2157584"/>
                    <a:pt x="330106" y="2157584"/>
                  </a:cubicBezTo>
                  <a:cubicBezTo>
                    <a:pt x="353751" y="2157584"/>
                    <a:pt x="371484" y="2139850"/>
                    <a:pt x="371484" y="2116206"/>
                  </a:cubicBezTo>
                  <a:cubicBezTo>
                    <a:pt x="371484" y="2092561"/>
                    <a:pt x="353751" y="2074827"/>
                    <a:pt x="330106" y="2074827"/>
                  </a:cubicBezTo>
                  <a:cubicBezTo>
                    <a:pt x="306461" y="2074827"/>
                    <a:pt x="288728" y="2092561"/>
                    <a:pt x="288728" y="2116206"/>
                  </a:cubicBezTo>
                  <a:close/>
                  <a:moveTo>
                    <a:pt x="288728" y="1581244"/>
                  </a:moveTo>
                  <a:cubicBezTo>
                    <a:pt x="288728" y="1587156"/>
                    <a:pt x="294639" y="1593067"/>
                    <a:pt x="300550" y="1593067"/>
                  </a:cubicBezTo>
                  <a:cubicBezTo>
                    <a:pt x="306461" y="1593067"/>
                    <a:pt x="312372" y="1587156"/>
                    <a:pt x="312372" y="1581244"/>
                  </a:cubicBezTo>
                  <a:cubicBezTo>
                    <a:pt x="312372" y="1575333"/>
                    <a:pt x="306461" y="1569422"/>
                    <a:pt x="300550" y="1569422"/>
                  </a:cubicBezTo>
                  <a:cubicBezTo>
                    <a:pt x="294639" y="1569422"/>
                    <a:pt x="288728" y="1575333"/>
                    <a:pt x="288728" y="1581244"/>
                  </a:cubicBezTo>
                  <a:close/>
                  <a:moveTo>
                    <a:pt x="279862" y="2819637"/>
                  </a:moveTo>
                  <a:cubicBezTo>
                    <a:pt x="282816" y="2852150"/>
                    <a:pt x="306461" y="2875795"/>
                    <a:pt x="336017" y="2875795"/>
                  </a:cubicBezTo>
                  <a:cubicBezTo>
                    <a:pt x="365573" y="2875795"/>
                    <a:pt x="392175" y="2852150"/>
                    <a:pt x="392175" y="2819637"/>
                  </a:cubicBezTo>
                  <a:cubicBezTo>
                    <a:pt x="392175" y="2790081"/>
                    <a:pt x="368530" y="2763482"/>
                    <a:pt x="336017" y="2763482"/>
                  </a:cubicBezTo>
                  <a:cubicBezTo>
                    <a:pt x="306461" y="2763482"/>
                    <a:pt x="279862" y="2787127"/>
                    <a:pt x="279862" y="2819637"/>
                  </a:cubicBezTo>
                  <a:close/>
                  <a:moveTo>
                    <a:pt x="247349" y="3691536"/>
                  </a:moveTo>
                  <a:cubicBezTo>
                    <a:pt x="247349" y="3729960"/>
                    <a:pt x="276905" y="3759516"/>
                    <a:pt x="315330" y="3759516"/>
                  </a:cubicBezTo>
                  <a:cubicBezTo>
                    <a:pt x="353751" y="3759516"/>
                    <a:pt x="383307" y="3729960"/>
                    <a:pt x="383307" y="3691536"/>
                  </a:cubicBezTo>
                  <a:cubicBezTo>
                    <a:pt x="383307" y="3653114"/>
                    <a:pt x="353751" y="3623558"/>
                    <a:pt x="315330" y="3623558"/>
                  </a:cubicBezTo>
                  <a:cubicBezTo>
                    <a:pt x="276905" y="3623558"/>
                    <a:pt x="247349" y="3653114"/>
                    <a:pt x="247349" y="3691536"/>
                  </a:cubicBezTo>
                  <a:close/>
                  <a:moveTo>
                    <a:pt x="244395" y="3886605"/>
                  </a:moveTo>
                  <a:cubicBezTo>
                    <a:pt x="244395" y="3901384"/>
                    <a:pt x="256218" y="3913207"/>
                    <a:pt x="270997" y="3913207"/>
                  </a:cubicBezTo>
                  <a:cubicBezTo>
                    <a:pt x="285774" y="3913207"/>
                    <a:pt x="297596" y="3901384"/>
                    <a:pt x="297596" y="3886605"/>
                  </a:cubicBezTo>
                  <a:cubicBezTo>
                    <a:pt x="297596" y="3871828"/>
                    <a:pt x="285774" y="3860006"/>
                    <a:pt x="270997" y="3860006"/>
                  </a:cubicBezTo>
                  <a:cubicBezTo>
                    <a:pt x="256218" y="3860006"/>
                    <a:pt x="244395" y="3871828"/>
                    <a:pt x="244395" y="3886605"/>
                  </a:cubicBezTo>
                  <a:close/>
                  <a:moveTo>
                    <a:pt x="235530" y="1229527"/>
                  </a:moveTo>
                  <a:cubicBezTo>
                    <a:pt x="235530" y="1232481"/>
                    <a:pt x="238484" y="1235438"/>
                    <a:pt x="241441" y="1235438"/>
                  </a:cubicBezTo>
                  <a:cubicBezTo>
                    <a:pt x="244395" y="1235438"/>
                    <a:pt x="247352" y="1232481"/>
                    <a:pt x="247352" y="1229527"/>
                  </a:cubicBezTo>
                  <a:cubicBezTo>
                    <a:pt x="247352" y="1226570"/>
                    <a:pt x="244395" y="1223616"/>
                    <a:pt x="241441" y="1223616"/>
                  </a:cubicBezTo>
                  <a:cubicBezTo>
                    <a:pt x="238484" y="1223616"/>
                    <a:pt x="235530" y="1226570"/>
                    <a:pt x="235530" y="1229527"/>
                  </a:cubicBezTo>
                  <a:close/>
                  <a:moveTo>
                    <a:pt x="229616" y="3020618"/>
                  </a:moveTo>
                  <a:cubicBezTo>
                    <a:pt x="229616" y="3053130"/>
                    <a:pt x="256218" y="3082686"/>
                    <a:pt x="291682" y="3082686"/>
                  </a:cubicBezTo>
                  <a:cubicBezTo>
                    <a:pt x="324195" y="3082686"/>
                    <a:pt x="353751" y="3056084"/>
                    <a:pt x="353751" y="3020618"/>
                  </a:cubicBezTo>
                  <a:cubicBezTo>
                    <a:pt x="353751" y="2988108"/>
                    <a:pt x="327152" y="2958552"/>
                    <a:pt x="291682" y="2958552"/>
                  </a:cubicBezTo>
                  <a:cubicBezTo>
                    <a:pt x="259172" y="2958552"/>
                    <a:pt x="229616" y="2985150"/>
                    <a:pt x="229616" y="3020618"/>
                  </a:cubicBezTo>
                  <a:close/>
                  <a:moveTo>
                    <a:pt x="229616" y="2323097"/>
                  </a:moveTo>
                  <a:cubicBezTo>
                    <a:pt x="229616" y="2349696"/>
                    <a:pt x="253260" y="2373341"/>
                    <a:pt x="279862" y="2373341"/>
                  </a:cubicBezTo>
                  <a:cubicBezTo>
                    <a:pt x="306461" y="2373341"/>
                    <a:pt x="330106" y="2352653"/>
                    <a:pt x="330106" y="2323097"/>
                  </a:cubicBezTo>
                  <a:cubicBezTo>
                    <a:pt x="330106" y="2296495"/>
                    <a:pt x="309418" y="2272850"/>
                    <a:pt x="279862" y="2272850"/>
                  </a:cubicBezTo>
                  <a:cubicBezTo>
                    <a:pt x="253260" y="2272850"/>
                    <a:pt x="229616" y="2293541"/>
                    <a:pt x="229616" y="2323097"/>
                  </a:cubicBezTo>
                  <a:close/>
                  <a:moveTo>
                    <a:pt x="223708" y="1797001"/>
                  </a:moveTo>
                  <a:cubicBezTo>
                    <a:pt x="226662" y="1805870"/>
                    <a:pt x="232573" y="1814735"/>
                    <a:pt x="241441" y="1814735"/>
                  </a:cubicBezTo>
                  <a:cubicBezTo>
                    <a:pt x="250310" y="1814735"/>
                    <a:pt x="259175" y="1805870"/>
                    <a:pt x="259175" y="1797001"/>
                  </a:cubicBezTo>
                  <a:cubicBezTo>
                    <a:pt x="259175" y="1788136"/>
                    <a:pt x="250310" y="1779268"/>
                    <a:pt x="241441" y="1779268"/>
                  </a:cubicBezTo>
                  <a:cubicBezTo>
                    <a:pt x="232573" y="1779268"/>
                    <a:pt x="223708" y="1788136"/>
                    <a:pt x="223708" y="1797001"/>
                  </a:cubicBezTo>
                  <a:close/>
                  <a:moveTo>
                    <a:pt x="208928" y="848257"/>
                  </a:moveTo>
                  <a:cubicBezTo>
                    <a:pt x="211882" y="851214"/>
                    <a:pt x="214839" y="854168"/>
                    <a:pt x="214839" y="854168"/>
                  </a:cubicBezTo>
                  <a:cubicBezTo>
                    <a:pt x="217793" y="854168"/>
                    <a:pt x="220751" y="851214"/>
                    <a:pt x="220751" y="848257"/>
                  </a:cubicBezTo>
                  <a:cubicBezTo>
                    <a:pt x="220751" y="845300"/>
                    <a:pt x="217793" y="842346"/>
                    <a:pt x="214839" y="842346"/>
                  </a:cubicBezTo>
                  <a:cubicBezTo>
                    <a:pt x="211882" y="842346"/>
                    <a:pt x="208928" y="845300"/>
                    <a:pt x="208928" y="848257"/>
                  </a:cubicBezTo>
                  <a:close/>
                  <a:moveTo>
                    <a:pt x="179372" y="3218640"/>
                  </a:moveTo>
                  <a:cubicBezTo>
                    <a:pt x="179372" y="3254108"/>
                    <a:pt x="208928" y="3283664"/>
                    <a:pt x="244395" y="3283664"/>
                  </a:cubicBezTo>
                  <a:cubicBezTo>
                    <a:pt x="279862" y="3283664"/>
                    <a:pt x="309418" y="3254108"/>
                    <a:pt x="309418" y="3218640"/>
                  </a:cubicBezTo>
                  <a:cubicBezTo>
                    <a:pt x="309418" y="3183174"/>
                    <a:pt x="279862" y="3153618"/>
                    <a:pt x="244395" y="3153618"/>
                  </a:cubicBezTo>
                  <a:cubicBezTo>
                    <a:pt x="208928" y="3153618"/>
                    <a:pt x="179372" y="3183174"/>
                    <a:pt x="179372" y="3218640"/>
                  </a:cubicBezTo>
                  <a:close/>
                  <a:moveTo>
                    <a:pt x="173461" y="2527032"/>
                  </a:moveTo>
                  <a:cubicBezTo>
                    <a:pt x="173461" y="2559544"/>
                    <a:pt x="200063" y="2583190"/>
                    <a:pt x="229619" y="2583190"/>
                  </a:cubicBezTo>
                  <a:cubicBezTo>
                    <a:pt x="259175" y="2583190"/>
                    <a:pt x="285774" y="2559544"/>
                    <a:pt x="285774" y="2527032"/>
                  </a:cubicBezTo>
                  <a:cubicBezTo>
                    <a:pt x="285774" y="2497476"/>
                    <a:pt x="262129" y="2470877"/>
                    <a:pt x="229619" y="2470877"/>
                  </a:cubicBezTo>
                  <a:cubicBezTo>
                    <a:pt x="200063" y="2470877"/>
                    <a:pt x="173461" y="2494522"/>
                    <a:pt x="173461" y="2527032"/>
                  </a:cubicBezTo>
                  <a:close/>
                  <a:moveTo>
                    <a:pt x="161639" y="1454152"/>
                  </a:moveTo>
                  <a:cubicBezTo>
                    <a:pt x="164593" y="1460064"/>
                    <a:pt x="167550" y="1465975"/>
                    <a:pt x="173461" y="1465975"/>
                  </a:cubicBezTo>
                  <a:cubicBezTo>
                    <a:pt x="179372" y="1465975"/>
                    <a:pt x="185283" y="1460064"/>
                    <a:pt x="185283" y="1454152"/>
                  </a:cubicBezTo>
                  <a:cubicBezTo>
                    <a:pt x="185283" y="1448241"/>
                    <a:pt x="179372" y="1442330"/>
                    <a:pt x="173461" y="1442330"/>
                  </a:cubicBezTo>
                  <a:cubicBezTo>
                    <a:pt x="167550" y="1442330"/>
                    <a:pt x="161639" y="1448241"/>
                    <a:pt x="161639" y="1454152"/>
                  </a:cubicBezTo>
                  <a:close/>
                  <a:moveTo>
                    <a:pt x="152770" y="2009804"/>
                  </a:moveTo>
                  <a:cubicBezTo>
                    <a:pt x="149816" y="2030492"/>
                    <a:pt x="167550" y="2045271"/>
                    <a:pt x="188237" y="2045271"/>
                  </a:cubicBezTo>
                  <a:cubicBezTo>
                    <a:pt x="208928" y="2045271"/>
                    <a:pt x="223705" y="2027538"/>
                    <a:pt x="223705" y="2009804"/>
                  </a:cubicBezTo>
                  <a:cubicBezTo>
                    <a:pt x="223705" y="1989116"/>
                    <a:pt x="205971" y="1974337"/>
                    <a:pt x="188237" y="1974337"/>
                  </a:cubicBezTo>
                  <a:cubicBezTo>
                    <a:pt x="167550" y="1974337"/>
                    <a:pt x="152770" y="1992070"/>
                    <a:pt x="152770" y="2009804"/>
                  </a:cubicBezTo>
                  <a:close/>
                  <a:moveTo>
                    <a:pt x="132083" y="3419624"/>
                  </a:moveTo>
                  <a:cubicBezTo>
                    <a:pt x="132083" y="3455092"/>
                    <a:pt x="161639" y="3484647"/>
                    <a:pt x="197106" y="3484647"/>
                  </a:cubicBezTo>
                  <a:cubicBezTo>
                    <a:pt x="232573" y="3484647"/>
                    <a:pt x="262129" y="3455092"/>
                    <a:pt x="262129" y="3419624"/>
                  </a:cubicBezTo>
                  <a:cubicBezTo>
                    <a:pt x="262129" y="3384157"/>
                    <a:pt x="232573" y="3354601"/>
                    <a:pt x="197106" y="3354601"/>
                  </a:cubicBezTo>
                  <a:cubicBezTo>
                    <a:pt x="161639" y="3354601"/>
                    <a:pt x="132083" y="3384157"/>
                    <a:pt x="132083" y="3419624"/>
                  </a:cubicBezTo>
                  <a:close/>
                  <a:moveTo>
                    <a:pt x="126171" y="1087659"/>
                  </a:moveTo>
                  <a:cubicBezTo>
                    <a:pt x="126171" y="1090616"/>
                    <a:pt x="129126" y="1093570"/>
                    <a:pt x="132083" y="1093570"/>
                  </a:cubicBezTo>
                  <a:cubicBezTo>
                    <a:pt x="135040" y="1093570"/>
                    <a:pt x="137994" y="1090616"/>
                    <a:pt x="137994" y="1087659"/>
                  </a:cubicBezTo>
                  <a:cubicBezTo>
                    <a:pt x="137994" y="1084702"/>
                    <a:pt x="135040" y="1081748"/>
                    <a:pt x="132083" y="1081748"/>
                  </a:cubicBezTo>
                  <a:cubicBezTo>
                    <a:pt x="129126" y="1081748"/>
                    <a:pt x="126171" y="1084702"/>
                    <a:pt x="126171" y="1087659"/>
                  </a:cubicBezTo>
                  <a:close/>
                  <a:moveTo>
                    <a:pt x="117306" y="2730969"/>
                  </a:moveTo>
                  <a:cubicBezTo>
                    <a:pt x="117306" y="2766436"/>
                    <a:pt x="146862" y="2795992"/>
                    <a:pt x="182329" y="2795992"/>
                  </a:cubicBezTo>
                  <a:cubicBezTo>
                    <a:pt x="217796" y="2795992"/>
                    <a:pt x="247352" y="2766436"/>
                    <a:pt x="247352" y="2730969"/>
                  </a:cubicBezTo>
                  <a:cubicBezTo>
                    <a:pt x="247352" y="2695502"/>
                    <a:pt x="217796" y="2665946"/>
                    <a:pt x="182329" y="2665946"/>
                  </a:cubicBezTo>
                  <a:cubicBezTo>
                    <a:pt x="146862" y="2665946"/>
                    <a:pt x="117306" y="2695502"/>
                    <a:pt x="117306" y="2730969"/>
                  </a:cubicBezTo>
                  <a:close/>
                  <a:moveTo>
                    <a:pt x="93662" y="1675824"/>
                  </a:moveTo>
                  <a:cubicBezTo>
                    <a:pt x="93662" y="1684689"/>
                    <a:pt x="102530" y="1693557"/>
                    <a:pt x="111395" y="1693557"/>
                  </a:cubicBezTo>
                  <a:cubicBezTo>
                    <a:pt x="120263" y="1693557"/>
                    <a:pt x="129129" y="1684689"/>
                    <a:pt x="129129" y="1675824"/>
                  </a:cubicBezTo>
                  <a:cubicBezTo>
                    <a:pt x="129129" y="1666955"/>
                    <a:pt x="120263" y="1658090"/>
                    <a:pt x="111395" y="1658090"/>
                  </a:cubicBezTo>
                  <a:cubicBezTo>
                    <a:pt x="102530" y="1658090"/>
                    <a:pt x="93662" y="1666955"/>
                    <a:pt x="93662" y="1675824"/>
                  </a:cubicBezTo>
                  <a:close/>
                  <a:moveTo>
                    <a:pt x="90704" y="2219653"/>
                  </a:moveTo>
                  <a:cubicBezTo>
                    <a:pt x="90704" y="2244136"/>
                    <a:pt x="110554" y="2263985"/>
                    <a:pt x="135040" y="2263985"/>
                  </a:cubicBezTo>
                  <a:cubicBezTo>
                    <a:pt x="159522" y="2263985"/>
                    <a:pt x="179372" y="2244136"/>
                    <a:pt x="179372" y="2219653"/>
                  </a:cubicBezTo>
                  <a:cubicBezTo>
                    <a:pt x="179372" y="2195167"/>
                    <a:pt x="159522" y="2175318"/>
                    <a:pt x="135040" y="2175318"/>
                  </a:cubicBezTo>
                  <a:cubicBezTo>
                    <a:pt x="110554" y="2175318"/>
                    <a:pt x="90704" y="2195167"/>
                    <a:pt x="90704" y="2219653"/>
                  </a:cubicBezTo>
                  <a:close/>
                  <a:moveTo>
                    <a:pt x="87750" y="3617648"/>
                  </a:moveTo>
                  <a:cubicBezTo>
                    <a:pt x="87750" y="3653114"/>
                    <a:pt x="117306" y="3682670"/>
                    <a:pt x="152773" y="3682670"/>
                  </a:cubicBezTo>
                  <a:cubicBezTo>
                    <a:pt x="188241" y="3682670"/>
                    <a:pt x="217796" y="3653114"/>
                    <a:pt x="217796" y="3617648"/>
                  </a:cubicBezTo>
                  <a:cubicBezTo>
                    <a:pt x="217796" y="3582180"/>
                    <a:pt x="188241" y="3552624"/>
                    <a:pt x="152773" y="3552624"/>
                  </a:cubicBezTo>
                  <a:cubicBezTo>
                    <a:pt x="117306" y="3552624"/>
                    <a:pt x="87750" y="3582180"/>
                    <a:pt x="87750" y="3617648"/>
                  </a:cubicBezTo>
                  <a:close/>
                  <a:moveTo>
                    <a:pt x="67060" y="2934906"/>
                  </a:moveTo>
                  <a:cubicBezTo>
                    <a:pt x="70014" y="2970374"/>
                    <a:pt x="96616" y="2999930"/>
                    <a:pt x="132083" y="2999930"/>
                  </a:cubicBezTo>
                  <a:cubicBezTo>
                    <a:pt x="167550" y="2999930"/>
                    <a:pt x="197106" y="2970374"/>
                    <a:pt x="197106" y="2934906"/>
                  </a:cubicBezTo>
                  <a:cubicBezTo>
                    <a:pt x="197106" y="2899440"/>
                    <a:pt x="167550" y="2869884"/>
                    <a:pt x="132083" y="2869884"/>
                  </a:cubicBezTo>
                  <a:cubicBezTo>
                    <a:pt x="96616" y="2869884"/>
                    <a:pt x="67060" y="2899440"/>
                    <a:pt x="67060" y="2934906"/>
                  </a:cubicBezTo>
                  <a:close/>
                  <a:moveTo>
                    <a:pt x="58194" y="529050"/>
                  </a:moveTo>
                  <a:cubicBezTo>
                    <a:pt x="58194" y="529050"/>
                    <a:pt x="58194" y="532007"/>
                    <a:pt x="61148" y="532007"/>
                  </a:cubicBezTo>
                  <a:cubicBezTo>
                    <a:pt x="64106" y="532007"/>
                    <a:pt x="64106" y="529050"/>
                    <a:pt x="64106" y="529050"/>
                  </a:cubicBezTo>
                  <a:cubicBezTo>
                    <a:pt x="64106" y="526096"/>
                    <a:pt x="61148" y="526096"/>
                    <a:pt x="61148" y="526096"/>
                  </a:cubicBezTo>
                  <a:cubicBezTo>
                    <a:pt x="58194" y="526096"/>
                    <a:pt x="58194" y="529050"/>
                    <a:pt x="58194" y="529050"/>
                  </a:cubicBezTo>
                  <a:close/>
                  <a:moveTo>
                    <a:pt x="55237" y="4013697"/>
                  </a:moveTo>
                  <a:cubicBezTo>
                    <a:pt x="55237" y="4016651"/>
                    <a:pt x="58194" y="4019608"/>
                    <a:pt x="61148" y="4019608"/>
                  </a:cubicBezTo>
                  <a:cubicBezTo>
                    <a:pt x="64106" y="4019608"/>
                    <a:pt x="67060" y="4016651"/>
                    <a:pt x="67060" y="4013697"/>
                  </a:cubicBezTo>
                  <a:cubicBezTo>
                    <a:pt x="67060" y="4010740"/>
                    <a:pt x="64106" y="4007786"/>
                    <a:pt x="61148" y="4007786"/>
                  </a:cubicBezTo>
                  <a:cubicBezTo>
                    <a:pt x="58194" y="4007786"/>
                    <a:pt x="55237" y="4010740"/>
                    <a:pt x="55237" y="4013697"/>
                  </a:cubicBezTo>
                  <a:close/>
                  <a:moveTo>
                    <a:pt x="51913" y="1325216"/>
                  </a:moveTo>
                  <a:cubicBezTo>
                    <a:pt x="53022" y="1326324"/>
                    <a:pt x="55239" y="1327063"/>
                    <a:pt x="58194" y="1327063"/>
                  </a:cubicBezTo>
                  <a:cubicBezTo>
                    <a:pt x="61148" y="1327063"/>
                    <a:pt x="64106" y="1324109"/>
                    <a:pt x="64106" y="1321152"/>
                  </a:cubicBezTo>
                  <a:cubicBezTo>
                    <a:pt x="64106" y="1318198"/>
                    <a:pt x="61148" y="1315241"/>
                    <a:pt x="58194" y="1315241"/>
                  </a:cubicBezTo>
                  <a:cubicBezTo>
                    <a:pt x="55237" y="1315241"/>
                    <a:pt x="52283" y="1318198"/>
                    <a:pt x="52283" y="1321152"/>
                  </a:cubicBezTo>
                  <a:cubicBezTo>
                    <a:pt x="50805" y="1322630"/>
                    <a:pt x="50805" y="1324108"/>
                    <a:pt x="51913" y="1325216"/>
                  </a:cubicBezTo>
                  <a:close/>
                  <a:moveTo>
                    <a:pt x="34550" y="3815670"/>
                  </a:moveTo>
                  <a:cubicBezTo>
                    <a:pt x="34550" y="3857049"/>
                    <a:pt x="67060" y="3886605"/>
                    <a:pt x="105484" y="3886605"/>
                  </a:cubicBezTo>
                  <a:cubicBezTo>
                    <a:pt x="143905" y="3886605"/>
                    <a:pt x="176418" y="3854092"/>
                    <a:pt x="176418" y="3815670"/>
                  </a:cubicBezTo>
                  <a:cubicBezTo>
                    <a:pt x="176418" y="3777250"/>
                    <a:pt x="143905" y="3744736"/>
                    <a:pt x="105484" y="3744736"/>
                  </a:cubicBezTo>
                  <a:cubicBezTo>
                    <a:pt x="67060" y="3744736"/>
                    <a:pt x="34550" y="3777250"/>
                    <a:pt x="34550" y="3815670"/>
                  </a:cubicBezTo>
                  <a:close/>
                  <a:moveTo>
                    <a:pt x="31592" y="2426544"/>
                  </a:moveTo>
                  <a:cubicBezTo>
                    <a:pt x="31592" y="2456100"/>
                    <a:pt x="55237" y="2476788"/>
                    <a:pt x="81836" y="2476788"/>
                  </a:cubicBezTo>
                  <a:cubicBezTo>
                    <a:pt x="108438" y="2476788"/>
                    <a:pt x="132083" y="2456100"/>
                    <a:pt x="132083" y="2426544"/>
                  </a:cubicBezTo>
                  <a:cubicBezTo>
                    <a:pt x="132083" y="2399942"/>
                    <a:pt x="111392" y="2376298"/>
                    <a:pt x="81836" y="2376298"/>
                  </a:cubicBezTo>
                  <a:cubicBezTo>
                    <a:pt x="55237" y="2376298"/>
                    <a:pt x="31592" y="2396988"/>
                    <a:pt x="31592" y="2426544"/>
                  </a:cubicBezTo>
                  <a:close/>
                  <a:moveTo>
                    <a:pt x="25681" y="936922"/>
                  </a:moveTo>
                  <a:cubicBezTo>
                    <a:pt x="28638" y="939879"/>
                    <a:pt x="31592" y="945790"/>
                    <a:pt x="34550" y="945790"/>
                  </a:cubicBezTo>
                  <a:cubicBezTo>
                    <a:pt x="37504" y="945790"/>
                    <a:pt x="43415" y="942836"/>
                    <a:pt x="43415" y="936922"/>
                  </a:cubicBezTo>
                  <a:cubicBezTo>
                    <a:pt x="43415" y="931011"/>
                    <a:pt x="40461" y="928056"/>
                    <a:pt x="34550" y="928056"/>
                  </a:cubicBezTo>
                  <a:cubicBezTo>
                    <a:pt x="31592" y="928056"/>
                    <a:pt x="25681" y="931011"/>
                    <a:pt x="25681" y="936922"/>
                  </a:cubicBezTo>
                  <a:close/>
                  <a:moveTo>
                    <a:pt x="19770" y="3135884"/>
                  </a:moveTo>
                  <a:cubicBezTo>
                    <a:pt x="19770" y="3171351"/>
                    <a:pt x="49326" y="3200907"/>
                    <a:pt x="84793" y="3200907"/>
                  </a:cubicBezTo>
                  <a:cubicBezTo>
                    <a:pt x="120260" y="3200907"/>
                    <a:pt x="149816" y="3171351"/>
                    <a:pt x="149816" y="3135884"/>
                  </a:cubicBezTo>
                  <a:cubicBezTo>
                    <a:pt x="149816" y="3100417"/>
                    <a:pt x="120260" y="3070861"/>
                    <a:pt x="84793" y="3070861"/>
                  </a:cubicBezTo>
                  <a:cubicBezTo>
                    <a:pt x="49326" y="3070861"/>
                    <a:pt x="19770" y="3100417"/>
                    <a:pt x="19770" y="3135884"/>
                  </a:cubicBezTo>
                  <a:close/>
                  <a:moveTo>
                    <a:pt x="13859" y="1894538"/>
                  </a:moveTo>
                  <a:cubicBezTo>
                    <a:pt x="13859" y="1915225"/>
                    <a:pt x="28638" y="1932959"/>
                    <a:pt x="52280" y="1932959"/>
                  </a:cubicBezTo>
                  <a:cubicBezTo>
                    <a:pt x="72971" y="1932959"/>
                    <a:pt x="90704" y="1915225"/>
                    <a:pt x="90704" y="1894538"/>
                  </a:cubicBezTo>
                  <a:cubicBezTo>
                    <a:pt x="90704" y="1873847"/>
                    <a:pt x="72971" y="1856113"/>
                    <a:pt x="52280" y="1856113"/>
                  </a:cubicBezTo>
                  <a:cubicBezTo>
                    <a:pt x="31592" y="1856113"/>
                    <a:pt x="13859" y="1873847"/>
                    <a:pt x="13859" y="1894538"/>
                  </a:cubicBezTo>
                  <a:close/>
                  <a:moveTo>
                    <a:pt x="0" y="3728807"/>
                  </a:moveTo>
                  <a:lnTo>
                    <a:pt x="0" y="3748849"/>
                  </a:lnTo>
                  <a:lnTo>
                    <a:pt x="2037" y="3738828"/>
                  </a:lnTo>
                  <a:close/>
                  <a:moveTo>
                    <a:pt x="0" y="3477794"/>
                  </a:moveTo>
                  <a:lnTo>
                    <a:pt x="0" y="3603810"/>
                  </a:lnTo>
                  <a:lnTo>
                    <a:pt x="15337" y="3600653"/>
                  </a:lnTo>
                  <a:cubicBezTo>
                    <a:pt x="38612" y="3590678"/>
                    <a:pt x="55237" y="3567402"/>
                    <a:pt x="55237" y="3540802"/>
                  </a:cubicBezTo>
                  <a:cubicBezTo>
                    <a:pt x="55237" y="3514202"/>
                    <a:pt x="38612" y="3490926"/>
                    <a:pt x="15337" y="3480951"/>
                  </a:cubicBezTo>
                  <a:close/>
                  <a:moveTo>
                    <a:pt x="0" y="3292249"/>
                  </a:moveTo>
                  <a:lnTo>
                    <a:pt x="0" y="3380812"/>
                  </a:lnTo>
                  <a:lnTo>
                    <a:pt x="14968" y="3391312"/>
                  </a:lnTo>
                  <a:cubicBezTo>
                    <a:pt x="21803" y="3394314"/>
                    <a:pt x="29376" y="3395976"/>
                    <a:pt x="37504" y="3395976"/>
                  </a:cubicBezTo>
                  <a:cubicBezTo>
                    <a:pt x="70014" y="3395976"/>
                    <a:pt x="96616" y="3369378"/>
                    <a:pt x="96616" y="3336864"/>
                  </a:cubicBezTo>
                  <a:cubicBezTo>
                    <a:pt x="96616" y="3304354"/>
                    <a:pt x="70014" y="3277752"/>
                    <a:pt x="37504" y="3277752"/>
                  </a:cubicBezTo>
                  <a:cubicBezTo>
                    <a:pt x="29376" y="3277752"/>
                    <a:pt x="21618" y="3279415"/>
                    <a:pt x="14552" y="3282417"/>
                  </a:cubicBezTo>
                  <a:close/>
                  <a:moveTo>
                    <a:pt x="0" y="2782098"/>
                  </a:moveTo>
                  <a:lnTo>
                    <a:pt x="0" y="2904465"/>
                  </a:lnTo>
                  <a:lnTo>
                    <a:pt x="6472" y="2903133"/>
                  </a:lnTo>
                  <a:cubicBezTo>
                    <a:pt x="29747" y="2893158"/>
                    <a:pt x="46372" y="2869882"/>
                    <a:pt x="46372" y="2843282"/>
                  </a:cubicBezTo>
                  <a:cubicBezTo>
                    <a:pt x="46372" y="2816681"/>
                    <a:pt x="29747" y="2793405"/>
                    <a:pt x="6472" y="2783430"/>
                  </a:cubicBezTo>
                  <a:close/>
                  <a:moveTo>
                    <a:pt x="0" y="2587781"/>
                  </a:moveTo>
                  <a:lnTo>
                    <a:pt x="0" y="2685000"/>
                  </a:lnTo>
                  <a:lnTo>
                    <a:pt x="8641" y="2690838"/>
                  </a:lnTo>
                  <a:cubicBezTo>
                    <a:pt x="15707" y="2693840"/>
                    <a:pt x="23465" y="2695502"/>
                    <a:pt x="31592" y="2695502"/>
                  </a:cubicBezTo>
                  <a:cubicBezTo>
                    <a:pt x="64102" y="2695502"/>
                    <a:pt x="90704" y="2668903"/>
                    <a:pt x="90704" y="2636390"/>
                  </a:cubicBezTo>
                  <a:cubicBezTo>
                    <a:pt x="90704" y="2603880"/>
                    <a:pt x="64102" y="2577278"/>
                    <a:pt x="31592" y="2577278"/>
                  </a:cubicBezTo>
                  <a:cubicBezTo>
                    <a:pt x="23465" y="2577278"/>
                    <a:pt x="15707" y="2578941"/>
                    <a:pt x="8641" y="2581943"/>
                  </a:cubicBezTo>
                  <a:close/>
                  <a:moveTo>
                    <a:pt x="0" y="2058460"/>
                  </a:moveTo>
                  <a:lnTo>
                    <a:pt x="0" y="2162129"/>
                  </a:lnTo>
                  <a:lnTo>
                    <a:pt x="13953" y="2159339"/>
                  </a:lnTo>
                  <a:cubicBezTo>
                    <a:pt x="33072" y="2151303"/>
                    <a:pt x="46372" y="2132461"/>
                    <a:pt x="46372" y="2110294"/>
                  </a:cubicBezTo>
                  <a:cubicBezTo>
                    <a:pt x="46372" y="2088127"/>
                    <a:pt x="33072" y="2069286"/>
                    <a:pt x="13953" y="2061250"/>
                  </a:cubicBezTo>
                  <a:close/>
                  <a:moveTo>
                    <a:pt x="0" y="1540407"/>
                  </a:moveTo>
                  <a:lnTo>
                    <a:pt x="0" y="1551146"/>
                  </a:lnTo>
                  <a:lnTo>
                    <a:pt x="2037" y="1545777"/>
                  </a:lnTo>
                  <a:close/>
                </a:path>
              </a:pathLst>
            </a:custGeom>
            <a:gradFill flip="none" rotWithShape="1">
              <a:gsLst>
                <a:gs pos="24000">
                  <a:schemeClr val="bg2">
                    <a:alpha val="0"/>
                  </a:schemeClr>
                </a:gs>
                <a:gs pos="60000">
                  <a:schemeClr val="accent1"/>
                </a:gs>
                <a:gs pos="100000">
                  <a:schemeClr val="tx1"/>
                </a:gs>
              </a:gsLst>
              <a:lin ang="6000000" scaled="0"/>
              <a:tileRect/>
            </a:gra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1765"/>
            </a:p>
          </p:txBody>
        </p:sp>
        <p:sp>
          <p:nvSpPr>
            <p:cNvPr id="19" name="Freeform: Shape 18">
              <a:extLst>
                <a:ext uri="{FF2B5EF4-FFF2-40B4-BE49-F238E27FC236}">
                  <a16:creationId xmlns:a16="http://schemas.microsoft.com/office/drawing/2014/main" id="{50740EA1-76BD-4C69-8F74-0D1E8618EF0B}"/>
                </a:ext>
              </a:extLst>
            </p:cNvPr>
            <p:cNvSpPr/>
            <p:nvPr/>
          </p:nvSpPr>
          <p:spPr>
            <a:xfrm rot="5400000">
              <a:off x="6396053" y="2084355"/>
              <a:ext cx="5664911" cy="4636166"/>
            </a:xfrm>
            <a:custGeom>
              <a:avLst/>
              <a:gdLst>
                <a:gd name="connsiteX0" fmla="*/ 1386840 w 2370773"/>
                <a:gd name="connsiteY0" fmla="*/ 1929765 h 1940242"/>
                <a:gd name="connsiteX1" fmla="*/ 1388745 w 2370773"/>
                <a:gd name="connsiteY1" fmla="*/ 1931670 h 1940242"/>
                <a:gd name="connsiteX2" fmla="*/ 1386840 w 2370773"/>
                <a:gd name="connsiteY2" fmla="*/ 1933575 h 1940242"/>
                <a:gd name="connsiteX3" fmla="*/ 1384935 w 2370773"/>
                <a:gd name="connsiteY3" fmla="*/ 1931670 h 1940242"/>
                <a:gd name="connsiteX4" fmla="*/ 1386840 w 2370773"/>
                <a:gd name="connsiteY4" fmla="*/ 1929765 h 1940242"/>
                <a:gd name="connsiteX5" fmla="*/ 860107 w 2370773"/>
                <a:gd name="connsiteY5" fmla="*/ 1929765 h 1940242"/>
                <a:gd name="connsiteX6" fmla="*/ 862012 w 2370773"/>
                <a:gd name="connsiteY6" fmla="*/ 1931670 h 1940242"/>
                <a:gd name="connsiteX7" fmla="*/ 860107 w 2370773"/>
                <a:gd name="connsiteY7" fmla="*/ 1933575 h 1940242"/>
                <a:gd name="connsiteX8" fmla="*/ 858202 w 2370773"/>
                <a:gd name="connsiteY8" fmla="*/ 1931670 h 1940242"/>
                <a:gd name="connsiteX9" fmla="*/ 860107 w 2370773"/>
                <a:gd name="connsiteY9" fmla="*/ 1929765 h 1940242"/>
                <a:gd name="connsiteX10" fmla="*/ 1329690 w 2370773"/>
                <a:gd name="connsiteY10" fmla="*/ 1926907 h 1940242"/>
                <a:gd name="connsiteX11" fmla="*/ 1336357 w 2370773"/>
                <a:gd name="connsiteY11" fmla="*/ 1933574 h 1940242"/>
                <a:gd name="connsiteX12" fmla="*/ 1329690 w 2370773"/>
                <a:gd name="connsiteY12" fmla="*/ 1940242 h 1940242"/>
                <a:gd name="connsiteX13" fmla="*/ 1323022 w 2370773"/>
                <a:gd name="connsiteY13" fmla="*/ 1933574 h 1940242"/>
                <a:gd name="connsiteX14" fmla="*/ 1329690 w 2370773"/>
                <a:gd name="connsiteY14" fmla="*/ 1926907 h 1940242"/>
                <a:gd name="connsiteX15" fmla="*/ 1271588 w 2370773"/>
                <a:gd name="connsiteY15" fmla="*/ 1926907 h 1940242"/>
                <a:gd name="connsiteX16" fmla="*/ 1278255 w 2370773"/>
                <a:gd name="connsiteY16" fmla="*/ 1933575 h 1940242"/>
                <a:gd name="connsiteX17" fmla="*/ 1271588 w 2370773"/>
                <a:gd name="connsiteY17" fmla="*/ 1940242 h 1940242"/>
                <a:gd name="connsiteX18" fmla="*/ 1264920 w 2370773"/>
                <a:gd name="connsiteY18" fmla="*/ 1933575 h 1940242"/>
                <a:gd name="connsiteX19" fmla="*/ 1271588 w 2370773"/>
                <a:gd name="connsiteY19" fmla="*/ 1926907 h 1940242"/>
                <a:gd name="connsiteX20" fmla="*/ 1214437 w 2370773"/>
                <a:gd name="connsiteY20" fmla="*/ 1925002 h 1940242"/>
                <a:gd name="connsiteX21" fmla="*/ 1220152 w 2370773"/>
                <a:gd name="connsiteY21" fmla="*/ 1930717 h 1940242"/>
                <a:gd name="connsiteX22" fmla="*/ 1214437 w 2370773"/>
                <a:gd name="connsiteY22" fmla="*/ 1936432 h 1940242"/>
                <a:gd name="connsiteX23" fmla="*/ 1208722 w 2370773"/>
                <a:gd name="connsiteY23" fmla="*/ 1930717 h 1940242"/>
                <a:gd name="connsiteX24" fmla="*/ 1214437 w 2370773"/>
                <a:gd name="connsiteY24" fmla="*/ 1925002 h 1940242"/>
                <a:gd name="connsiteX25" fmla="*/ 1156335 w 2370773"/>
                <a:gd name="connsiteY25" fmla="*/ 1920240 h 1940242"/>
                <a:gd name="connsiteX26" fmla="*/ 1162050 w 2370773"/>
                <a:gd name="connsiteY26" fmla="*/ 1925955 h 1940242"/>
                <a:gd name="connsiteX27" fmla="*/ 1156335 w 2370773"/>
                <a:gd name="connsiteY27" fmla="*/ 1931670 h 1940242"/>
                <a:gd name="connsiteX28" fmla="*/ 1150620 w 2370773"/>
                <a:gd name="connsiteY28" fmla="*/ 1925955 h 1940242"/>
                <a:gd name="connsiteX29" fmla="*/ 1156335 w 2370773"/>
                <a:gd name="connsiteY29" fmla="*/ 1920240 h 1940242"/>
                <a:gd name="connsiteX30" fmla="*/ 1099185 w 2370773"/>
                <a:gd name="connsiteY30" fmla="*/ 1914525 h 1940242"/>
                <a:gd name="connsiteX31" fmla="*/ 1104900 w 2370773"/>
                <a:gd name="connsiteY31" fmla="*/ 1920240 h 1940242"/>
                <a:gd name="connsiteX32" fmla="*/ 1099185 w 2370773"/>
                <a:gd name="connsiteY32" fmla="*/ 1925955 h 1940242"/>
                <a:gd name="connsiteX33" fmla="*/ 1093470 w 2370773"/>
                <a:gd name="connsiteY33" fmla="*/ 1920240 h 1940242"/>
                <a:gd name="connsiteX34" fmla="*/ 1099185 w 2370773"/>
                <a:gd name="connsiteY34" fmla="*/ 1914525 h 1940242"/>
                <a:gd name="connsiteX35" fmla="*/ 1042988 w 2370773"/>
                <a:gd name="connsiteY35" fmla="*/ 1903095 h 1940242"/>
                <a:gd name="connsiteX36" fmla="*/ 1050608 w 2370773"/>
                <a:gd name="connsiteY36" fmla="*/ 1910715 h 1940242"/>
                <a:gd name="connsiteX37" fmla="*/ 1042988 w 2370773"/>
                <a:gd name="connsiteY37" fmla="*/ 1918335 h 1940242"/>
                <a:gd name="connsiteX38" fmla="*/ 1035368 w 2370773"/>
                <a:gd name="connsiteY38" fmla="*/ 1910715 h 1940242"/>
                <a:gd name="connsiteX39" fmla="*/ 1042988 w 2370773"/>
                <a:gd name="connsiteY39" fmla="*/ 1903095 h 1940242"/>
                <a:gd name="connsiteX40" fmla="*/ 985837 w 2370773"/>
                <a:gd name="connsiteY40" fmla="*/ 1887854 h 1940242"/>
                <a:gd name="connsiteX41" fmla="*/ 996315 w 2370773"/>
                <a:gd name="connsiteY41" fmla="*/ 1898332 h 1940242"/>
                <a:gd name="connsiteX42" fmla="*/ 985837 w 2370773"/>
                <a:gd name="connsiteY42" fmla="*/ 1908809 h 1940242"/>
                <a:gd name="connsiteX43" fmla="*/ 975360 w 2370773"/>
                <a:gd name="connsiteY43" fmla="*/ 1898332 h 1940242"/>
                <a:gd name="connsiteX44" fmla="*/ 985837 w 2370773"/>
                <a:gd name="connsiteY44" fmla="*/ 1887854 h 1940242"/>
                <a:gd name="connsiteX45" fmla="*/ 930593 w 2370773"/>
                <a:gd name="connsiteY45" fmla="*/ 1878329 h 1940242"/>
                <a:gd name="connsiteX46" fmla="*/ 937260 w 2370773"/>
                <a:gd name="connsiteY46" fmla="*/ 1884996 h 1940242"/>
                <a:gd name="connsiteX47" fmla="*/ 930593 w 2370773"/>
                <a:gd name="connsiteY47" fmla="*/ 1891664 h 1940242"/>
                <a:gd name="connsiteX48" fmla="*/ 923925 w 2370773"/>
                <a:gd name="connsiteY48" fmla="*/ 1884996 h 1940242"/>
                <a:gd name="connsiteX49" fmla="*/ 930593 w 2370773"/>
                <a:gd name="connsiteY49" fmla="*/ 1878329 h 1940242"/>
                <a:gd name="connsiteX50" fmla="*/ 1725930 w 2370773"/>
                <a:gd name="connsiteY50" fmla="*/ 1867852 h 1940242"/>
                <a:gd name="connsiteX51" fmla="*/ 1726883 w 2370773"/>
                <a:gd name="connsiteY51" fmla="*/ 1868804 h 1940242"/>
                <a:gd name="connsiteX52" fmla="*/ 1725930 w 2370773"/>
                <a:gd name="connsiteY52" fmla="*/ 1869757 h 1940242"/>
                <a:gd name="connsiteX53" fmla="*/ 1724978 w 2370773"/>
                <a:gd name="connsiteY53" fmla="*/ 1868804 h 1940242"/>
                <a:gd name="connsiteX54" fmla="*/ 1725930 w 2370773"/>
                <a:gd name="connsiteY54" fmla="*/ 1867852 h 1940242"/>
                <a:gd name="connsiteX55" fmla="*/ 699135 w 2370773"/>
                <a:gd name="connsiteY55" fmla="*/ 1867852 h 1940242"/>
                <a:gd name="connsiteX56" fmla="*/ 701040 w 2370773"/>
                <a:gd name="connsiteY56" fmla="*/ 1869757 h 1940242"/>
                <a:gd name="connsiteX57" fmla="*/ 699135 w 2370773"/>
                <a:gd name="connsiteY57" fmla="*/ 1871662 h 1940242"/>
                <a:gd name="connsiteX58" fmla="*/ 697230 w 2370773"/>
                <a:gd name="connsiteY58" fmla="*/ 1869757 h 1940242"/>
                <a:gd name="connsiteX59" fmla="*/ 699135 w 2370773"/>
                <a:gd name="connsiteY59" fmla="*/ 1867852 h 1940242"/>
                <a:gd name="connsiteX60" fmla="*/ 1285875 w 2370773"/>
                <a:gd name="connsiteY60" fmla="*/ 1851659 h 1940242"/>
                <a:gd name="connsiteX61" fmla="*/ 1303973 w 2370773"/>
                <a:gd name="connsiteY61" fmla="*/ 1869757 h 1940242"/>
                <a:gd name="connsiteX62" fmla="*/ 1285875 w 2370773"/>
                <a:gd name="connsiteY62" fmla="*/ 1887854 h 1940242"/>
                <a:gd name="connsiteX63" fmla="*/ 1267778 w 2370773"/>
                <a:gd name="connsiteY63" fmla="*/ 1869757 h 1940242"/>
                <a:gd name="connsiteX64" fmla="*/ 1285875 w 2370773"/>
                <a:gd name="connsiteY64" fmla="*/ 1851659 h 1940242"/>
                <a:gd name="connsiteX65" fmla="*/ 1343978 w 2370773"/>
                <a:gd name="connsiteY65" fmla="*/ 1850707 h 1940242"/>
                <a:gd name="connsiteX66" fmla="*/ 1362075 w 2370773"/>
                <a:gd name="connsiteY66" fmla="*/ 1868804 h 1940242"/>
                <a:gd name="connsiteX67" fmla="*/ 1343978 w 2370773"/>
                <a:gd name="connsiteY67" fmla="*/ 1886902 h 1940242"/>
                <a:gd name="connsiteX68" fmla="*/ 1325880 w 2370773"/>
                <a:gd name="connsiteY68" fmla="*/ 1868804 h 1940242"/>
                <a:gd name="connsiteX69" fmla="*/ 1343978 w 2370773"/>
                <a:gd name="connsiteY69" fmla="*/ 1850707 h 1940242"/>
                <a:gd name="connsiteX70" fmla="*/ 1401128 w 2370773"/>
                <a:gd name="connsiteY70" fmla="*/ 1847850 h 1940242"/>
                <a:gd name="connsiteX71" fmla="*/ 1420178 w 2370773"/>
                <a:gd name="connsiteY71" fmla="*/ 1866900 h 1940242"/>
                <a:gd name="connsiteX72" fmla="*/ 1401128 w 2370773"/>
                <a:gd name="connsiteY72" fmla="*/ 1885950 h 1940242"/>
                <a:gd name="connsiteX73" fmla="*/ 1382078 w 2370773"/>
                <a:gd name="connsiteY73" fmla="*/ 1866900 h 1940242"/>
                <a:gd name="connsiteX74" fmla="*/ 1401128 w 2370773"/>
                <a:gd name="connsiteY74" fmla="*/ 1847850 h 1940242"/>
                <a:gd name="connsiteX75" fmla="*/ 1228725 w 2370773"/>
                <a:gd name="connsiteY75" fmla="*/ 1847850 h 1940242"/>
                <a:gd name="connsiteX76" fmla="*/ 1248727 w 2370773"/>
                <a:gd name="connsiteY76" fmla="*/ 1867853 h 1940242"/>
                <a:gd name="connsiteX77" fmla="*/ 1228725 w 2370773"/>
                <a:gd name="connsiteY77" fmla="*/ 1887855 h 1940242"/>
                <a:gd name="connsiteX78" fmla="*/ 1208722 w 2370773"/>
                <a:gd name="connsiteY78" fmla="*/ 1867853 h 1940242"/>
                <a:gd name="connsiteX79" fmla="*/ 1228725 w 2370773"/>
                <a:gd name="connsiteY79" fmla="*/ 1847850 h 1940242"/>
                <a:gd name="connsiteX80" fmla="*/ 874395 w 2370773"/>
                <a:gd name="connsiteY80" fmla="*/ 1846897 h 1940242"/>
                <a:gd name="connsiteX81" fmla="*/ 896303 w 2370773"/>
                <a:gd name="connsiteY81" fmla="*/ 1868804 h 1940242"/>
                <a:gd name="connsiteX82" fmla="*/ 874395 w 2370773"/>
                <a:gd name="connsiteY82" fmla="*/ 1890712 h 1940242"/>
                <a:gd name="connsiteX83" fmla="*/ 852488 w 2370773"/>
                <a:gd name="connsiteY83" fmla="*/ 1868804 h 1940242"/>
                <a:gd name="connsiteX84" fmla="*/ 874395 w 2370773"/>
                <a:gd name="connsiteY84" fmla="*/ 1846897 h 1940242"/>
                <a:gd name="connsiteX85" fmla="*/ 1170622 w 2370773"/>
                <a:gd name="connsiteY85" fmla="*/ 1843087 h 1940242"/>
                <a:gd name="connsiteX86" fmla="*/ 1191577 w 2370773"/>
                <a:gd name="connsiteY86" fmla="*/ 1864042 h 1940242"/>
                <a:gd name="connsiteX87" fmla="*/ 1170622 w 2370773"/>
                <a:gd name="connsiteY87" fmla="*/ 1884997 h 1940242"/>
                <a:gd name="connsiteX88" fmla="*/ 1149667 w 2370773"/>
                <a:gd name="connsiteY88" fmla="*/ 1864042 h 1940242"/>
                <a:gd name="connsiteX89" fmla="*/ 1170622 w 2370773"/>
                <a:gd name="connsiteY89" fmla="*/ 1843087 h 1940242"/>
                <a:gd name="connsiteX90" fmla="*/ 646747 w 2370773"/>
                <a:gd name="connsiteY90" fmla="*/ 1843087 h 1940242"/>
                <a:gd name="connsiteX91" fmla="*/ 648652 w 2370773"/>
                <a:gd name="connsiteY91" fmla="*/ 1844992 h 1940242"/>
                <a:gd name="connsiteX92" fmla="*/ 646747 w 2370773"/>
                <a:gd name="connsiteY92" fmla="*/ 1846897 h 1940242"/>
                <a:gd name="connsiteX93" fmla="*/ 644842 w 2370773"/>
                <a:gd name="connsiteY93" fmla="*/ 1844992 h 1940242"/>
                <a:gd name="connsiteX94" fmla="*/ 646747 w 2370773"/>
                <a:gd name="connsiteY94" fmla="*/ 1843087 h 1940242"/>
                <a:gd name="connsiteX95" fmla="*/ 1459230 w 2370773"/>
                <a:gd name="connsiteY95" fmla="*/ 1841182 h 1940242"/>
                <a:gd name="connsiteX96" fmla="*/ 1478280 w 2370773"/>
                <a:gd name="connsiteY96" fmla="*/ 1860232 h 1940242"/>
                <a:gd name="connsiteX97" fmla="*/ 1459230 w 2370773"/>
                <a:gd name="connsiteY97" fmla="*/ 1879282 h 1940242"/>
                <a:gd name="connsiteX98" fmla="*/ 1440180 w 2370773"/>
                <a:gd name="connsiteY98" fmla="*/ 1860232 h 1940242"/>
                <a:gd name="connsiteX99" fmla="*/ 1459230 w 2370773"/>
                <a:gd name="connsiteY99" fmla="*/ 1841182 h 1940242"/>
                <a:gd name="connsiteX100" fmla="*/ 1515428 w 2370773"/>
                <a:gd name="connsiteY100" fmla="*/ 1837372 h 1940242"/>
                <a:gd name="connsiteX101" fmla="*/ 1530668 w 2370773"/>
                <a:gd name="connsiteY101" fmla="*/ 1852612 h 1940242"/>
                <a:gd name="connsiteX102" fmla="*/ 1515428 w 2370773"/>
                <a:gd name="connsiteY102" fmla="*/ 1867852 h 1940242"/>
                <a:gd name="connsiteX103" fmla="*/ 1500188 w 2370773"/>
                <a:gd name="connsiteY103" fmla="*/ 1852612 h 1940242"/>
                <a:gd name="connsiteX104" fmla="*/ 1515428 w 2370773"/>
                <a:gd name="connsiteY104" fmla="*/ 1837372 h 1940242"/>
                <a:gd name="connsiteX105" fmla="*/ 1113472 w 2370773"/>
                <a:gd name="connsiteY105" fmla="*/ 1837372 h 1940242"/>
                <a:gd name="connsiteX106" fmla="*/ 1133475 w 2370773"/>
                <a:gd name="connsiteY106" fmla="*/ 1857375 h 1940242"/>
                <a:gd name="connsiteX107" fmla="*/ 1113472 w 2370773"/>
                <a:gd name="connsiteY107" fmla="*/ 1877377 h 1940242"/>
                <a:gd name="connsiteX108" fmla="*/ 1093470 w 2370773"/>
                <a:gd name="connsiteY108" fmla="*/ 1857375 h 1940242"/>
                <a:gd name="connsiteX109" fmla="*/ 1113472 w 2370773"/>
                <a:gd name="connsiteY109" fmla="*/ 1837372 h 1940242"/>
                <a:gd name="connsiteX110" fmla="*/ 820103 w 2370773"/>
                <a:gd name="connsiteY110" fmla="*/ 1832609 h 1940242"/>
                <a:gd name="connsiteX111" fmla="*/ 837248 w 2370773"/>
                <a:gd name="connsiteY111" fmla="*/ 1849754 h 1940242"/>
                <a:gd name="connsiteX112" fmla="*/ 820103 w 2370773"/>
                <a:gd name="connsiteY112" fmla="*/ 1866899 h 1940242"/>
                <a:gd name="connsiteX113" fmla="*/ 802958 w 2370773"/>
                <a:gd name="connsiteY113" fmla="*/ 1849754 h 1940242"/>
                <a:gd name="connsiteX114" fmla="*/ 820103 w 2370773"/>
                <a:gd name="connsiteY114" fmla="*/ 1832609 h 1940242"/>
                <a:gd name="connsiteX115" fmla="*/ 1572578 w 2370773"/>
                <a:gd name="connsiteY115" fmla="*/ 1831657 h 1940242"/>
                <a:gd name="connsiteX116" fmla="*/ 1583055 w 2370773"/>
                <a:gd name="connsiteY116" fmla="*/ 1842134 h 1940242"/>
                <a:gd name="connsiteX117" fmla="*/ 1572578 w 2370773"/>
                <a:gd name="connsiteY117" fmla="*/ 1852612 h 1940242"/>
                <a:gd name="connsiteX118" fmla="*/ 1562100 w 2370773"/>
                <a:gd name="connsiteY118" fmla="*/ 1842134 h 1940242"/>
                <a:gd name="connsiteX119" fmla="*/ 1572578 w 2370773"/>
                <a:gd name="connsiteY119" fmla="*/ 1831657 h 1940242"/>
                <a:gd name="connsiteX120" fmla="*/ 1057275 w 2370773"/>
                <a:gd name="connsiteY120" fmla="*/ 1826895 h 1940242"/>
                <a:gd name="connsiteX121" fmla="*/ 1077278 w 2370773"/>
                <a:gd name="connsiteY121" fmla="*/ 1846897 h 1940242"/>
                <a:gd name="connsiteX122" fmla="*/ 1057275 w 2370773"/>
                <a:gd name="connsiteY122" fmla="*/ 1866900 h 1940242"/>
                <a:gd name="connsiteX123" fmla="*/ 1037273 w 2370773"/>
                <a:gd name="connsiteY123" fmla="*/ 1846897 h 1940242"/>
                <a:gd name="connsiteX124" fmla="*/ 1057275 w 2370773"/>
                <a:gd name="connsiteY124" fmla="*/ 1826895 h 1940242"/>
                <a:gd name="connsiteX125" fmla="*/ 1628775 w 2370773"/>
                <a:gd name="connsiteY125" fmla="*/ 1823084 h 1940242"/>
                <a:gd name="connsiteX126" fmla="*/ 1634490 w 2370773"/>
                <a:gd name="connsiteY126" fmla="*/ 1828799 h 1940242"/>
                <a:gd name="connsiteX127" fmla="*/ 1628775 w 2370773"/>
                <a:gd name="connsiteY127" fmla="*/ 1834514 h 1940242"/>
                <a:gd name="connsiteX128" fmla="*/ 1623060 w 2370773"/>
                <a:gd name="connsiteY128" fmla="*/ 1828799 h 1940242"/>
                <a:gd name="connsiteX129" fmla="*/ 1628775 w 2370773"/>
                <a:gd name="connsiteY129" fmla="*/ 1823084 h 1940242"/>
                <a:gd name="connsiteX130" fmla="*/ 766763 w 2370773"/>
                <a:gd name="connsiteY130" fmla="*/ 1820227 h 1940242"/>
                <a:gd name="connsiteX131" fmla="*/ 775335 w 2370773"/>
                <a:gd name="connsiteY131" fmla="*/ 1828799 h 1940242"/>
                <a:gd name="connsiteX132" fmla="*/ 766763 w 2370773"/>
                <a:gd name="connsiteY132" fmla="*/ 1837372 h 1940242"/>
                <a:gd name="connsiteX133" fmla="*/ 758190 w 2370773"/>
                <a:gd name="connsiteY133" fmla="*/ 1828799 h 1940242"/>
                <a:gd name="connsiteX134" fmla="*/ 766763 w 2370773"/>
                <a:gd name="connsiteY134" fmla="*/ 1820227 h 1940242"/>
                <a:gd name="connsiteX135" fmla="*/ 1684020 w 2370773"/>
                <a:gd name="connsiteY135" fmla="*/ 1813559 h 1940242"/>
                <a:gd name="connsiteX136" fmla="*/ 1684972 w 2370773"/>
                <a:gd name="connsiteY136" fmla="*/ 1814512 h 1940242"/>
                <a:gd name="connsiteX137" fmla="*/ 1684020 w 2370773"/>
                <a:gd name="connsiteY137" fmla="*/ 1815464 h 1940242"/>
                <a:gd name="connsiteX138" fmla="*/ 1683067 w 2370773"/>
                <a:gd name="connsiteY138" fmla="*/ 1814512 h 1940242"/>
                <a:gd name="connsiteX139" fmla="*/ 1684020 w 2370773"/>
                <a:gd name="connsiteY139" fmla="*/ 1813559 h 1940242"/>
                <a:gd name="connsiteX140" fmla="*/ 1000125 w 2370773"/>
                <a:gd name="connsiteY140" fmla="*/ 1813559 h 1940242"/>
                <a:gd name="connsiteX141" fmla="*/ 1022032 w 2370773"/>
                <a:gd name="connsiteY141" fmla="*/ 1835467 h 1940242"/>
                <a:gd name="connsiteX142" fmla="*/ 1000125 w 2370773"/>
                <a:gd name="connsiteY142" fmla="*/ 1857374 h 1940242"/>
                <a:gd name="connsiteX143" fmla="*/ 978217 w 2370773"/>
                <a:gd name="connsiteY143" fmla="*/ 1835467 h 1940242"/>
                <a:gd name="connsiteX144" fmla="*/ 1000125 w 2370773"/>
                <a:gd name="connsiteY144" fmla="*/ 1813559 h 1940242"/>
                <a:gd name="connsiteX145" fmla="*/ 944880 w 2370773"/>
                <a:gd name="connsiteY145" fmla="*/ 1799272 h 1940242"/>
                <a:gd name="connsiteX146" fmla="*/ 966788 w 2370773"/>
                <a:gd name="connsiteY146" fmla="*/ 1821180 h 1940242"/>
                <a:gd name="connsiteX147" fmla="*/ 944880 w 2370773"/>
                <a:gd name="connsiteY147" fmla="*/ 1843087 h 1940242"/>
                <a:gd name="connsiteX148" fmla="*/ 922973 w 2370773"/>
                <a:gd name="connsiteY148" fmla="*/ 1821180 h 1940242"/>
                <a:gd name="connsiteX149" fmla="*/ 944880 w 2370773"/>
                <a:gd name="connsiteY149" fmla="*/ 1799272 h 1940242"/>
                <a:gd name="connsiteX150" fmla="*/ 544829 w 2370773"/>
                <a:gd name="connsiteY150" fmla="*/ 1789747 h 1940242"/>
                <a:gd name="connsiteX151" fmla="*/ 545782 w 2370773"/>
                <a:gd name="connsiteY151" fmla="*/ 1790700 h 1940242"/>
                <a:gd name="connsiteX152" fmla="*/ 544829 w 2370773"/>
                <a:gd name="connsiteY152" fmla="*/ 1791652 h 1940242"/>
                <a:gd name="connsiteX153" fmla="*/ 543877 w 2370773"/>
                <a:gd name="connsiteY153" fmla="*/ 1790700 h 1940242"/>
                <a:gd name="connsiteX154" fmla="*/ 544829 w 2370773"/>
                <a:gd name="connsiteY154" fmla="*/ 1789747 h 1940242"/>
                <a:gd name="connsiteX155" fmla="*/ 1243012 w 2370773"/>
                <a:gd name="connsiteY155" fmla="*/ 1787842 h 1940242"/>
                <a:gd name="connsiteX156" fmla="*/ 1260157 w 2370773"/>
                <a:gd name="connsiteY156" fmla="*/ 1804987 h 1940242"/>
                <a:gd name="connsiteX157" fmla="*/ 1243012 w 2370773"/>
                <a:gd name="connsiteY157" fmla="*/ 1822132 h 1940242"/>
                <a:gd name="connsiteX158" fmla="*/ 1225867 w 2370773"/>
                <a:gd name="connsiteY158" fmla="*/ 1804987 h 1940242"/>
                <a:gd name="connsiteX159" fmla="*/ 1243012 w 2370773"/>
                <a:gd name="connsiteY159" fmla="*/ 1787842 h 1940242"/>
                <a:gd name="connsiteX160" fmla="*/ 1300163 w 2370773"/>
                <a:gd name="connsiteY160" fmla="*/ 1786890 h 1940242"/>
                <a:gd name="connsiteX161" fmla="*/ 1319213 w 2370773"/>
                <a:gd name="connsiteY161" fmla="*/ 1805940 h 1940242"/>
                <a:gd name="connsiteX162" fmla="*/ 1300163 w 2370773"/>
                <a:gd name="connsiteY162" fmla="*/ 1824990 h 1940242"/>
                <a:gd name="connsiteX163" fmla="*/ 1281113 w 2370773"/>
                <a:gd name="connsiteY163" fmla="*/ 1805940 h 1940242"/>
                <a:gd name="connsiteX164" fmla="*/ 1300163 w 2370773"/>
                <a:gd name="connsiteY164" fmla="*/ 1786890 h 1940242"/>
                <a:gd name="connsiteX165" fmla="*/ 1739266 w 2370773"/>
                <a:gd name="connsiteY165" fmla="*/ 1785937 h 1940242"/>
                <a:gd name="connsiteX166" fmla="*/ 1749743 w 2370773"/>
                <a:gd name="connsiteY166" fmla="*/ 1796415 h 1940242"/>
                <a:gd name="connsiteX167" fmla="*/ 1739266 w 2370773"/>
                <a:gd name="connsiteY167" fmla="*/ 1806892 h 1940242"/>
                <a:gd name="connsiteX168" fmla="*/ 1728788 w 2370773"/>
                <a:gd name="connsiteY168" fmla="*/ 1796415 h 1940242"/>
                <a:gd name="connsiteX169" fmla="*/ 1739266 w 2370773"/>
                <a:gd name="connsiteY169" fmla="*/ 1785937 h 1940242"/>
                <a:gd name="connsiteX170" fmla="*/ 1358265 w 2370773"/>
                <a:gd name="connsiteY170" fmla="*/ 1785937 h 1940242"/>
                <a:gd name="connsiteX171" fmla="*/ 1377315 w 2370773"/>
                <a:gd name="connsiteY171" fmla="*/ 1804987 h 1940242"/>
                <a:gd name="connsiteX172" fmla="*/ 1358265 w 2370773"/>
                <a:gd name="connsiteY172" fmla="*/ 1824037 h 1940242"/>
                <a:gd name="connsiteX173" fmla="*/ 1339215 w 2370773"/>
                <a:gd name="connsiteY173" fmla="*/ 1804987 h 1940242"/>
                <a:gd name="connsiteX174" fmla="*/ 1358265 w 2370773"/>
                <a:gd name="connsiteY174" fmla="*/ 1785937 h 1940242"/>
                <a:gd name="connsiteX175" fmla="*/ 888683 w 2370773"/>
                <a:gd name="connsiteY175" fmla="*/ 1785937 h 1940242"/>
                <a:gd name="connsiteX176" fmla="*/ 908685 w 2370773"/>
                <a:gd name="connsiteY176" fmla="*/ 1805940 h 1940242"/>
                <a:gd name="connsiteX177" fmla="*/ 888683 w 2370773"/>
                <a:gd name="connsiteY177" fmla="*/ 1825942 h 1940242"/>
                <a:gd name="connsiteX178" fmla="*/ 868680 w 2370773"/>
                <a:gd name="connsiteY178" fmla="*/ 1805940 h 1940242"/>
                <a:gd name="connsiteX179" fmla="*/ 888683 w 2370773"/>
                <a:gd name="connsiteY179" fmla="*/ 1785937 h 1940242"/>
                <a:gd name="connsiteX180" fmla="*/ 713423 w 2370773"/>
                <a:gd name="connsiteY180" fmla="*/ 1783079 h 1940242"/>
                <a:gd name="connsiteX181" fmla="*/ 736283 w 2370773"/>
                <a:gd name="connsiteY181" fmla="*/ 1805939 h 1940242"/>
                <a:gd name="connsiteX182" fmla="*/ 713423 w 2370773"/>
                <a:gd name="connsiteY182" fmla="*/ 1828799 h 1940242"/>
                <a:gd name="connsiteX183" fmla="*/ 690563 w 2370773"/>
                <a:gd name="connsiteY183" fmla="*/ 1805939 h 1940242"/>
                <a:gd name="connsiteX184" fmla="*/ 713423 w 2370773"/>
                <a:gd name="connsiteY184" fmla="*/ 1783079 h 1940242"/>
                <a:gd name="connsiteX185" fmla="*/ 1415415 w 2370773"/>
                <a:gd name="connsiteY185" fmla="*/ 1782127 h 1940242"/>
                <a:gd name="connsiteX186" fmla="*/ 1433512 w 2370773"/>
                <a:gd name="connsiteY186" fmla="*/ 1800224 h 1940242"/>
                <a:gd name="connsiteX187" fmla="*/ 1415415 w 2370773"/>
                <a:gd name="connsiteY187" fmla="*/ 1818322 h 1940242"/>
                <a:gd name="connsiteX188" fmla="*/ 1397317 w 2370773"/>
                <a:gd name="connsiteY188" fmla="*/ 1800224 h 1940242"/>
                <a:gd name="connsiteX189" fmla="*/ 1415415 w 2370773"/>
                <a:gd name="connsiteY189" fmla="*/ 1782127 h 1940242"/>
                <a:gd name="connsiteX190" fmla="*/ 1185863 w 2370773"/>
                <a:gd name="connsiteY190" fmla="*/ 1780222 h 1940242"/>
                <a:gd name="connsiteX191" fmla="*/ 1205865 w 2370773"/>
                <a:gd name="connsiteY191" fmla="*/ 1800225 h 1940242"/>
                <a:gd name="connsiteX192" fmla="*/ 1185863 w 2370773"/>
                <a:gd name="connsiteY192" fmla="*/ 1820227 h 1940242"/>
                <a:gd name="connsiteX193" fmla="*/ 1165860 w 2370773"/>
                <a:gd name="connsiteY193" fmla="*/ 1800225 h 1940242"/>
                <a:gd name="connsiteX194" fmla="*/ 1185863 w 2370773"/>
                <a:gd name="connsiteY194" fmla="*/ 1780222 h 1940242"/>
                <a:gd name="connsiteX195" fmla="*/ 1472565 w 2370773"/>
                <a:gd name="connsiteY195" fmla="*/ 1776412 h 1940242"/>
                <a:gd name="connsiteX196" fmla="*/ 1490662 w 2370773"/>
                <a:gd name="connsiteY196" fmla="*/ 1794509 h 1940242"/>
                <a:gd name="connsiteX197" fmla="*/ 1472565 w 2370773"/>
                <a:gd name="connsiteY197" fmla="*/ 1812607 h 1940242"/>
                <a:gd name="connsiteX198" fmla="*/ 1454467 w 2370773"/>
                <a:gd name="connsiteY198" fmla="*/ 1794509 h 1940242"/>
                <a:gd name="connsiteX199" fmla="*/ 1472565 w 2370773"/>
                <a:gd name="connsiteY199" fmla="*/ 1776412 h 1940242"/>
                <a:gd name="connsiteX200" fmla="*/ 1127760 w 2370773"/>
                <a:gd name="connsiteY200" fmla="*/ 1776412 h 1940242"/>
                <a:gd name="connsiteX201" fmla="*/ 1144905 w 2370773"/>
                <a:gd name="connsiteY201" fmla="*/ 1793557 h 1940242"/>
                <a:gd name="connsiteX202" fmla="*/ 1127760 w 2370773"/>
                <a:gd name="connsiteY202" fmla="*/ 1810702 h 1940242"/>
                <a:gd name="connsiteX203" fmla="*/ 1110615 w 2370773"/>
                <a:gd name="connsiteY203" fmla="*/ 1793557 h 1940242"/>
                <a:gd name="connsiteX204" fmla="*/ 1127760 w 2370773"/>
                <a:gd name="connsiteY204" fmla="*/ 1776412 h 1940242"/>
                <a:gd name="connsiteX205" fmla="*/ 1529715 w 2370773"/>
                <a:gd name="connsiteY205" fmla="*/ 1769745 h 1940242"/>
                <a:gd name="connsiteX206" fmla="*/ 1544955 w 2370773"/>
                <a:gd name="connsiteY206" fmla="*/ 1784985 h 1940242"/>
                <a:gd name="connsiteX207" fmla="*/ 1529715 w 2370773"/>
                <a:gd name="connsiteY207" fmla="*/ 1800225 h 1940242"/>
                <a:gd name="connsiteX208" fmla="*/ 1514475 w 2370773"/>
                <a:gd name="connsiteY208" fmla="*/ 1784985 h 1940242"/>
                <a:gd name="connsiteX209" fmla="*/ 1529715 w 2370773"/>
                <a:gd name="connsiteY209" fmla="*/ 1769745 h 1940242"/>
                <a:gd name="connsiteX210" fmla="*/ 834390 w 2370773"/>
                <a:gd name="connsiteY210" fmla="*/ 1766887 h 1940242"/>
                <a:gd name="connsiteX211" fmla="*/ 854393 w 2370773"/>
                <a:gd name="connsiteY211" fmla="*/ 1786890 h 1940242"/>
                <a:gd name="connsiteX212" fmla="*/ 834390 w 2370773"/>
                <a:gd name="connsiteY212" fmla="*/ 1806892 h 1940242"/>
                <a:gd name="connsiteX213" fmla="*/ 814388 w 2370773"/>
                <a:gd name="connsiteY213" fmla="*/ 1786890 h 1940242"/>
                <a:gd name="connsiteX214" fmla="*/ 834390 w 2370773"/>
                <a:gd name="connsiteY214" fmla="*/ 1766887 h 1940242"/>
                <a:gd name="connsiteX215" fmla="*/ 1793558 w 2370773"/>
                <a:gd name="connsiteY215" fmla="*/ 1765934 h 1940242"/>
                <a:gd name="connsiteX216" fmla="*/ 1804035 w 2370773"/>
                <a:gd name="connsiteY216" fmla="*/ 1776412 h 1940242"/>
                <a:gd name="connsiteX217" fmla="*/ 1793558 w 2370773"/>
                <a:gd name="connsiteY217" fmla="*/ 1786889 h 1940242"/>
                <a:gd name="connsiteX218" fmla="*/ 1783080 w 2370773"/>
                <a:gd name="connsiteY218" fmla="*/ 1776412 h 1940242"/>
                <a:gd name="connsiteX219" fmla="*/ 1793558 w 2370773"/>
                <a:gd name="connsiteY219" fmla="*/ 1765934 h 1940242"/>
                <a:gd name="connsiteX220" fmla="*/ 1071563 w 2370773"/>
                <a:gd name="connsiteY220" fmla="*/ 1764029 h 1940242"/>
                <a:gd name="connsiteX221" fmla="*/ 1092518 w 2370773"/>
                <a:gd name="connsiteY221" fmla="*/ 1784984 h 1940242"/>
                <a:gd name="connsiteX222" fmla="*/ 1071563 w 2370773"/>
                <a:gd name="connsiteY222" fmla="*/ 1805939 h 1940242"/>
                <a:gd name="connsiteX223" fmla="*/ 1050608 w 2370773"/>
                <a:gd name="connsiteY223" fmla="*/ 1784984 h 1940242"/>
                <a:gd name="connsiteX224" fmla="*/ 1071563 w 2370773"/>
                <a:gd name="connsiteY224" fmla="*/ 1764029 h 1940242"/>
                <a:gd name="connsiteX225" fmla="*/ 661035 w 2370773"/>
                <a:gd name="connsiteY225" fmla="*/ 1762125 h 1940242"/>
                <a:gd name="connsiteX226" fmla="*/ 680085 w 2370773"/>
                <a:gd name="connsiteY226" fmla="*/ 1781175 h 1940242"/>
                <a:gd name="connsiteX227" fmla="*/ 661035 w 2370773"/>
                <a:gd name="connsiteY227" fmla="*/ 1800225 h 1940242"/>
                <a:gd name="connsiteX228" fmla="*/ 641985 w 2370773"/>
                <a:gd name="connsiteY228" fmla="*/ 1781175 h 1940242"/>
                <a:gd name="connsiteX229" fmla="*/ 661035 w 2370773"/>
                <a:gd name="connsiteY229" fmla="*/ 1762125 h 1940242"/>
                <a:gd name="connsiteX230" fmla="*/ 1586865 w 2370773"/>
                <a:gd name="connsiteY230" fmla="*/ 1756409 h 1940242"/>
                <a:gd name="connsiteX231" fmla="*/ 1604009 w 2370773"/>
                <a:gd name="connsiteY231" fmla="*/ 1773554 h 1940242"/>
                <a:gd name="connsiteX232" fmla="*/ 1586865 w 2370773"/>
                <a:gd name="connsiteY232" fmla="*/ 1790699 h 1940242"/>
                <a:gd name="connsiteX233" fmla="*/ 1569720 w 2370773"/>
                <a:gd name="connsiteY233" fmla="*/ 1773554 h 1940242"/>
                <a:gd name="connsiteX234" fmla="*/ 1586865 w 2370773"/>
                <a:gd name="connsiteY234" fmla="*/ 1756409 h 1940242"/>
                <a:gd name="connsiteX235" fmla="*/ 1846898 w 2370773"/>
                <a:gd name="connsiteY235" fmla="*/ 1751647 h 1940242"/>
                <a:gd name="connsiteX236" fmla="*/ 1849755 w 2370773"/>
                <a:gd name="connsiteY236" fmla="*/ 1754505 h 1940242"/>
                <a:gd name="connsiteX237" fmla="*/ 1846898 w 2370773"/>
                <a:gd name="connsiteY237" fmla="*/ 1757362 h 1940242"/>
                <a:gd name="connsiteX238" fmla="*/ 1844040 w 2370773"/>
                <a:gd name="connsiteY238" fmla="*/ 1754505 h 1940242"/>
                <a:gd name="connsiteX239" fmla="*/ 1846898 w 2370773"/>
                <a:gd name="connsiteY239" fmla="*/ 1751647 h 1940242"/>
                <a:gd name="connsiteX240" fmla="*/ 1014413 w 2370773"/>
                <a:gd name="connsiteY240" fmla="*/ 1749742 h 1940242"/>
                <a:gd name="connsiteX241" fmla="*/ 1038225 w 2370773"/>
                <a:gd name="connsiteY241" fmla="*/ 1773555 h 1940242"/>
                <a:gd name="connsiteX242" fmla="*/ 1014413 w 2370773"/>
                <a:gd name="connsiteY242" fmla="*/ 1797367 h 1940242"/>
                <a:gd name="connsiteX243" fmla="*/ 990600 w 2370773"/>
                <a:gd name="connsiteY243" fmla="*/ 1773555 h 1940242"/>
                <a:gd name="connsiteX244" fmla="*/ 1014413 w 2370773"/>
                <a:gd name="connsiteY244" fmla="*/ 1749742 h 1940242"/>
                <a:gd name="connsiteX245" fmla="*/ 610552 w 2370773"/>
                <a:gd name="connsiteY245" fmla="*/ 1746884 h 1940242"/>
                <a:gd name="connsiteX246" fmla="*/ 616267 w 2370773"/>
                <a:gd name="connsiteY246" fmla="*/ 1753552 h 1940242"/>
                <a:gd name="connsiteX247" fmla="*/ 610552 w 2370773"/>
                <a:gd name="connsiteY247" fmla="*/ 1760219 h 1940242"/>
                <a:gd name="connsiteX248" fmla="*/ 603885 w 2370773"/>
                <a:gd name="connsiteY248" fmla="*/ 1753552 h 1940242"/>
                <a:gd name="connsiteX249" fmla="*/ 610552 w 2370773"/>
                <a:gd name="connsiteY249" fmla="*/ 1746884 h 1940242"/>
                <a:gd name="connsiteX250" fmla="*/ 781050 w 2370773"/>
                <a:gd name="connsiteY250" fmla="*/ 1744027 h 1940242"/>
                <a:gd name="connsiteX251" fmla="*/ 802957 w 2370773"/>
                <a:gd name="connsiteY251" fmla="*/ 1765934 h 1940242"/>
                <a:gd name="connsiteX252" fmla="*/ 781050 w 2370773"/>
                <a:gd name="connsiteY252" fmla="*/ 1787842 h 1940242"/>
                <a:gd name="connsiteX253" fmla="*/ 759142 w 2370773"/>
                <a:gd name="connsiteY253" fmla="*/ 1765934 h 1940242"/>
                <a:gd name="connsiteX254" fmla="*/ 781050 w 2370773"/>
                <a:gd name="connsiteY254" fmla="*/ 1744027 h 1940242"/>
                <a:gd name="connsiteX255" fmla="*/ 1642111 w 2370773"/>
                <a:gd name="connsiteY255" fmla="*/ 1743075 h 1940242"/>
                <a:gd name="connsiteX256" fmla="*/ 1658303 w 2370773"/>
                <a:gd name="connsiteY256" fmla="*/ 1759267 h 1940242"/>
                <a:gd name="connsiteX257" fmla="*/ 1642111 w 2370773"/>
                <a:gd name="connsiteY257" fmla="*/ 1775460 h 1940242"/>
                <a:gd name="connsiteX258" fmla="*/ 1625918 w 2370773"/>
                <a:gd name="connsiteY258" fmla="*/ 1759267 h 1940242"/>
                <a:gd name="connsiteX259" fmla="*/ 1642111 w 2370773"/>
                <a:gd name="connsiteY259" fmla="*/ 1743075 h 1940242"/>
                <a:gd name="connsiteX260" fmla="*/ 959168 w 2370773"/>
                <a:gd name="connsiteY260" fmla="*/ 1736407 h 1940242"/>
                <a:gd name="connsiteX261" fmla="*/ 982028 w 2370773"/>
                <a:gd name="connsiteY261" fmla="*/ 1759267 h 1940242"/>
                <a:gd name="connsiteX262" fmla="*/ 959168 w 2370773"/>
                <a:gd name="connsiteY262" fmla="*/ 1782127 h 1940242"/>
                <a:gd name="connsiteX263" fmla="*/ 936308 w 2370773"/>
                <a:gd name="connsiteY263" fmla="*/ 1759267 h 1940242"/>
                <a:gd name="connsiteX264" fmla="*/ 959168 w 2370773"/>
                <a:gd name="connsiteY264" fmla="*/ 1736407 h 1940242"/>
                <a:gd name="connsiteX265" fmla="*/ 1697355 w 2370773"/>
                <a:gd name="connsiteY265" fmla="*/ 1726882 h 1940242"/>
                <a:gd name="connsiteX266" fmla="*/ 1713548 w 2370773"/>
                <a:gd name="connsiteY266" fmla="*/ 1743074 h 1940242"/>
                <a:gd name="connsiteX267" fmla="*/ 1697355 w 2370773"/>
                <a:gd name="connsiteY267" fmla="*/ 1759267 h 1940242"/>
                <a:gd name="connsiteX268" fmla="*/ 1681163 w 2370773"/>
                <a:gd name="connsiteY268" fmla="*/ 1743074 h 1940242"/>
                <a:gd name="connsiteX269" fmla="*/ 1697355 w 2370773"/>
                <a:gd name="connsiteY269" fmla="*/ 1726882 h 1940242"/>
                <a:gd name="connsiteX270" fmla="*/ 1200150 w 2370773"/>
                <a:gd name="connsiteY270" fmla="*/ 1722120 h 1940242"/>
                <a:gd name="connsiteX271" fmla="*/ 1215390 w 2370773"/>
                <a:gd name="connsiteY271" fmla="*/ 1737360 h 1940242"/>
                <a:gd name="connsiteX272" fmla="*/ 1200150 w 2370773"/>
                <a:gd name="connsiteY272" fmla="*/ 1752600 h 1940242"/>
                <a:gd name="connsiteX273" fmla="*/ 1184910 w 2370773"/>
                <a:gd name="connsiteY273" fmla="*/ 1737360 h 1940242"/>
                <a:gd name="connsiteX274" fmla="*/ 1200150 w 2370773"/>
                <a:gd name="connsiteY274" fmla="*/ 1722120 h 1940242"/>
                <a:gd name="connsiteX275" fmla="*/ 728663 w 2370773"/>
                <a:gd name="connsiteY275" fmla="*/ 1721167 h 1940242"/>
                <a:gd name="connsiteX276" fmla="*/ 749618 w 2370773"/>
                <a:gd name="connsiteY276" fmla="*/ 1742122 h 1940242"/>
                <a:gd name="connsiteX277" fmla="*/ 728663 w 2370773"/>
                <a:gd name="connsiteY277" fmla="*/ 1763077 h 1940242"/>
                <a:gd name="connsiteX278" fmla="*/ 707708 w 2370773"/>
                <a:gd name="connsiteY278" fmla="*/ 1742122 h 1940242"/>
                <a:gd name="connsiteX279" fmla="*/ 728663 w 2370773"/>
                <a:gd name="connsiteY279" fmla="*/ 1721167 h 1940242"/>
                <a:gd name="connsiteX280" fmla="*/ 1899285 w 2370773"/>
                <a:gd name="connsiteY280" fmla="*/ 1720215 h 1940242"/>
                <a:gd name="connsiteX281" fmla="*/ 1908810 w 2370773"/>
                <a:gd name="connsiteY281" fmla="*/ 1729740 h 1940242"/>
                <a:gd name="connsiteX282" fmla="*/ 1899285 w 2370773"/>
                <a:gd name="connsiteY282" fmla="*/ 1739265 h 1940242"/>
                <a:gd name="connsiteX283" fmla="*/ 1889760 w 2370773"/>
                <a:gd name="connsiteY283" fmla="*/ 1729740 h 1940242"/>
                <a:gd name="connsiteX284" fmla="*/ 1899285 w 2370773"/>
                <a:gd name="connsiteY284" fmla="*/ 1720215 h 1940242"/>
                <a:gd name="connsiteX285" fmla="*/ 903923 w 2370773"/>
                <a:gd name="connsiteY285" fmla="*/ 1720215 h 1940242"/>
                <a:gd name="connsiteX286" fmla="*/ 926783 w 2370773"/>
                <a:gd name="connsiteY286" fmla="*/ 1743075 h 1940242"/>
                <a:gd name="connsiteX287" fmla="*/ 903923 w 2370773"/>
                <a:gd name="connsiteY287" fmla="*/ 1765935 h 1940242"/>
                <a:gd name="connsiteX288" fmla="*/ 881063 w 2370773"/>
                <a:gd name="connsiteY288" fmla="*/ 1743075 h 1940242"/>
                <a:gd name="connsiteX289" fmla="*/ 903923 w 2370773"/>
                <a:gd name="connsiteY289" fmla="*/ 1720215 h 1940242"/>
                <a:gd name="connsiteX290" fmla="*/ 1315403 w 2370773"/>
                <a:gd name="connsiteY290" fmla="*/ 1719262 h 1940242"/>
                <a:gd name="connsiteX291" fmla="*/ 1337310 w 2370773"/>
                <a:gd name="connsiteY291" fmla="*/ 1741170 h 1940242"/>
                <a:gd name="connsiteX292" fmla="*/ 1315403 w 2370773"/>
                <a:gd name="connsiteY292" fmla="*/ 1763077 h 1940242"/>
                <a:gd name="connsiteX293" fmla="*/ 1293495 w 2370773"/>
                <a:gd name="connsiteY293" fmla="*/ 1741170 h 1940242"/>
                <a:gd name="connsiteX294" fmla="*/ 1315403 w 2370773"/>
                <a:gd name="connsiteY294" fmla="*/ 1719262 h 1940242"/>
                <a:gd name="connsiteX295" fmla="*/ 1257300 w 2370773"/>
                <a:gd name="connsiteY295" fmla="*/ 1719262 h 1940242"/>
                <a:gd name="connsiteX296" fmla="*/ 1278255 w 2370773"/>
                <a:gd name="connsiteY296" fmla="*/ 1740217 h 1940242"/>
                <a:gd name="connsiteX297" fmla="*/ 1257300 w 2370773"/>
                <a:gd name="connsiteY297" fmla="*/ 1761172 h 1940242"/>
                <a:gd name="connsiteX298" fmla="*/ 1236345 w 2370773"/>
                <a:gd name="connsiteY298" fmla="*/ 1740217 h 1940242"/>
                <a:gd name="connsiteX299" fmla="*/ 1257300 w 2370773"/>
                <a:gd name="connsiteY299" fmla="*/ 1719262 h 1940242"/>
                <a:gd name="connsiteX300" fmla="*/ 1372553 w 2370773"/>
                <a:gd name="connsiteY300" fmla="*/ 1717357 h 1940242"/>
                <a:gd name="connsiteX301" fmla="*/ 1394460 w 2370773"/>
                <a:gd name="connsiteY301" fmla="*/ 1739265 h 1940242"/>
                <a:gd name="connsiteX302" fmla="*/ 1372553 w 2370773"/>
                <a:gd name="connsiteY302" fmla="*/ 1761172 h 1940242"/>
                <a:gd name="connsiteX303" fmla="*/ 1350645 w 2370773"/>
                <a:gd name="connsiteY303" fmla="*/ 1739265 h 1940242"/>
                <a:gd name="connsiteX304" fmla="*/ 1372553 w 2370773"/>
                <a:gd name="connsiteY304" fmla="*/ 1717357 h 1940242"/>
                <a:gd name="connsiteX305" fmla="*/ 1429703 w 2370773"/>
                <a:gd name="connsiteY305" fmla="*/ 1714500 h 1940242"/>
                <a:gd name="connsiteX306" fmla="*/ 1449705 w 2370773"/>
                <a:gd name="connsiteY306" fmla="*/ 1734503 h 1940242"/>
                <a:gd name="connsiteX307" fmla="*/ 1429703 w 2370773"/>
                <a:gd name="connsiteY307" fmla="*/ 1754505 h 1940242"/>
                <a:gd name="connsiteX308" fmla="*/ 1409700 w 2370773"/>
                <a:gd name="connsiteY308" fmla="*/ 1734503 h 1940242"/>
                <a:gd name="connsiteX309" fmla="*/ 1429703 w 2370773"/>
                <a:gd name="connsiteY309" fmla="*/ 1714500 h 1940242"/>
                <a:gd name="connsiteX310" fmla="*/ 1142047 w 2370773"/>
                <a:gd name="connsiteY310" fmla="*/ 1714500 h 1940242"/>
                <a:gd name="connsiteX311" fmla="*/ 1159192 w 2370773"/>
                <a:gd name="connsiteY311" fmla="*/ 1731645 h 1940242"/>
                <a:gd name="connsiteX312" fmla="*/ 1142047 w 2370773"/>
                <a:gd name="connsiteY312" fmla="*/ 1748790 h 1940242"/>
                <a:gd name="connsiteX313" fmla="*/ 1124902 w 2370773"/>
                <a:gd name="connsiteY313" fmla="*/ 1731645 h 1940242"/>
                <a:gd name="connsiteX314" fmla="*/ 1142047 w 2370773"/>
                <a:gd name="connsiteY314" fmla="*/ 1714500 h 1940242"/>
                <a:gd name="connsiteX315" fmla="*/ 561022 w 2370773"/>
                <a:gd name="connsiteY315" fmla="*/ 1713547 h 1940242"/>
                <a:gd name="connsiteX316" fmla="*/ 572452 w 2370773"/>
                <a:gd name="connsiteY316" fmla="*/ 1724977 h 1940242"/>
                <a:gd name="connsiteX317" fmla="*/ 561022 w 2370773"/>
                <a:gd name="connsiteY317" fmla="*/ 1736407 h 1940242"/>
                <a:gd name="connsiteX318" fmla="*/ 549592 w 2370773"/>
                <a:gd name="connsiteY318" fmla="*/ 1724977 h 1940242"/>
                <a:gd name="connsiteX319" fmla="*/ 561022 w 2370773"/>
                <a:gd name="connsiteY319" fmla="*/ 1713547 h 1940242"/>
                <a:gd name="connsiteX320" fmla="*/ 1751648 w 2370773"/>
                <a:gd name="connsiteY320" fmla="*/ 1708784 h 1940242"/>
                <a:gd name="connsiteX321" fmla="*/ 1766888 w 2370773"/>
                <a:gd name="connsiteY321" fmla="*/ 1724024 h 1940242"/>
                <a:gd name="connsiteX322" fmla="*/ 1751648 w 2370773"/>
                <a:gd name="connsiteY322" fmla="*/ 1739264 h 1940242"/>
                <a:gd name="connsiteX323" fmla="*/ 1736408 w 2370773"/>
                <a:gd name="connsiteY323" fmla="*/ 1724024 h 1940242"/>
                <a:gd name="connsiteX324" fmla="*/ 1751648 w 2370773"/>
                <a:gd name="connsiteY324" fmla="*/ 1708784 h 1940242"/>
                <a:gd name="connsiteX325" fmla="*/ 1486853 w 2370773"/>
                <a:gd name="connsiteY325" fmla="*/ 1707832 h 1940242"/>
                <a:gd name="connsiteX326" fmla="*/ 1505903 w 2370773"/>
                <a:gd name="connsiteY326" fmla="*/ 1726882 h 1940242"/>
                <a:gd name="connsiteX327" fmla="*/ 1486853 w 2370773"/>
                <a:gd name="connsiteY327" fmla="*/ 1745932 h 1940242"/>
                <a:gd name="connsiteX328" fmla="*/ 1467803 w 2370773"/>
                <a:gd name="connsiteY328" fmla="*/ 1726882 h 1940242"/>
                <a:gd name="connsiteX329" fmla="*/ 1486853 w 2370773"/>
                <a:gd name="connsiteY329" fmla="*/ 1707832 h 1940242"/>
                <a:gd name="connsiteX330" fmla="*/ 848677 w 2370773"/>
                <a:gd name="connsiteY330" fmla="*/ 1704975 h 1940242"/>
                <a:gd name="connsiteX331" fmla="*/ 867727 w 2370773"/>
                <a:gd name="connsiteY331" fmla="*/ 1724025 h 1940242"/>
                <a:gd name="connsiteX332" fmla="*/ 848677 w 2370773"/>
                <a:gd name="connsiteY332" fmla="*/ 1743075 h 1940242"/>
                <a:gd name="connsiteX333" fmla="*/ 829627 w 2370773"/>
                <a:gd name="connsiteY333" fmla="*/ 1724025 h 1940242"/>
                <a:gd name="connsiteX334" fmla="*/ 848677 w 2370773"/>
                <a:gd name="connsiteY334" fmla="*/ 1704975 h 1940242"/>
                <a:gd name="connsiteX335" fmla="*/ 1085850 w 2370773"/>
                <a:gd name="connsiteY335" fmla="*/ 1702117 h 1940242"/>
                <a:gd name="connsiteX336" fmla="*/ 1106805 w 2370773"/>
                <a:gd name="connsiteY336" fmla="*/ 1723072 h 1940242"/>
                <a:gd name="connsiteX337" fmla="*/ 1085850 w 2370773"/>
                <a:gd name="connsiteY337" fmla="*/ 1744027 h 1940242"/>
                <a:gd name="connsiteX338" fmla="*/ 1064895 w 2370773"/>
                <a:gd name="connsiteY338" fmla="*/ 1723072 h 1940242"/>
                <a:gd name="connsiteX339" fmla="*/ 1085850 w 2370773"/>
                <a:gd name="connsiteY339" fmla="*/ 1702117 h 1940242"/>
                <a:gd name="connsiteX340" fmla="*/ 1949768 w 2370773"/>
                <a:gd name="connsiteY340" fmla="*/ 1699259 h 1940242"/>
                <a:gd name="connsiteX341" fmla="*/ 1953578 w 2370773"/>
                <a:gd name="connsiteY341" fmla="*/ 1703069 h 1940242"/>
                <a:gd name="connsiteX342" fmla="*/ 1949768 w 2370773"/>
                <a:gd name="connsiteY342" fmla="*/ 1706879 h 1940242"/>
                <a:gd name="connsiteX343" fmla="*/ 1945958 w 2370773"/>
                <a:gd name="connsiteY343" fmla="*/ 1703069 h 1940242"/>
                <a:gd name="connsiteX344" fmla="*/ 1949768 w 2370773"/>
                <a:gd name="connsiteY344" fmla="*/ 1699259 h 1940242"/>
                <a:gd name="connsiteX345" fmla="*/ 1544003 w 2370773"/>
                <a:gd name="connsiteY345" fmla="*/ 1699259 h 1940242"/>
                <a:gd name="connsiteX346" fmla="*/ 1562100 w 2370773"/>
                <a:gd name="connsiteY346" fmla="*/ 1717357 h 1940242"/>
                <a:gd name="connsiteX347" fmla="*/ 1544003 w 2370773"/>
                <a:gd name="connsiteY347" fmla="*/ 1735454 h 1940242"/>
                <a:gd name="connsiteX348" fmla="*/ 1525905 w 2370773"/>
                <a:gd name="connsiteY348" fmla="*/ 1717357 h 1940242"/>
                <a:gd name="connsiteX349" fmla="*/ 1544003 w 2370773"/>
                <a:gd name="connsiteY349" fmla="*/ 1699259 h 1940242"/>
                <a:gd name="connsiteX350" fmla="*/ 676275 w 2370773"/>
                <a:gd name="connsiteY350" fmla="*/ 1696402 h 1940242"/>
                <a:gd name="connsiteX351" fmla="*/ 697230 w 2370773"/>
                <a:gd name="connsiteY351" fmla="*/ 1717357 h 1940242"/>
                <a:gd name="connsiteX352" fmla="*/ 676275 w 2370773"/>
                <a:gd name="connsiteY352" fmla="*/ 1738312 h 1940242"/>
                <a:gd name="connsiteX353" fmla="*/ 655320 w 2370773"/>
                <a:gd name="connsiteY353" fmla="*/ 1717357 h 1940242"/>
                <a:gd name="connsiteX354" fmla="*/ 676275 w 2370773"/>
                <a:gd name="connsiteY354" fmla="*/ 1696402 h 1940242"/>
                <a:gd name="connsiteX355" fmla="*/ 512445 w 2370773"/>
                <a:gd name="connsiteY355" fmla="*/ 1690687 h 1940242"/>
                <a:gd name="connsiteX356" fmla="*/ 515303 w 2370773"/>
                <a:gd name="connsiteY356" fmla="*/ 1693545 h 1940242"/>
                <a:gd name="connsiteX357" fmla="*/ 512445 w 2370773"/>
                <a:gd name="connsiteY357" fmla="*/ 1696402 h 1940242"/>
                <a:gd name="connsiteX358" fmla="*/ 509588 w 2370773"/>
                <a:gd name="connsiteY358" fmla="*/ 1693545 h 1940242"/>
                <a:gd name="connsiteX359" fmla="*/ 512445 w 2370773"/>
                <a:gd name="connsiteY359" fmla="*/ 1690687 h 1940242"/>
                <a:gd name="connsiteX360" fmla="*/ 1028700 w 2370773"/>
                <a:gd name="connsiteY360" fmla="*/ 1689734 h 1940242"/>
                <a:gd name="connsiteX361" fmla="*/ 1049655 w 2370773"/>
                <a:gd name="connsiteY361" fmla="*/ 1710689 h 1940242"/>
                <a:gd name="connsiteX362" fmla="*/ 1028700 w 2370773"/>
                <a:gd name="connsiteY362" fmla="*/ 1731644 h 1940242"/>
                <a:gd name="connsiteX363" fmla="*/ 1007745 w 2370773"/>
                <a:gd name="connsiteY363" fmla="*/ 1710689 h 1940242"/>
                <a:gd name="connsiteX364" fmla="*/ 1028700 w 2370773"/>
                <a:gd name="connsiteY364" fmla="*/ 1689734 h 1940242"/>
                <a:gd name="connsiteX365" fmla="*/ 1805940 w 2370773"/>
                <a:gd name="connsiteY365" fmla="*/ 1688782 h 1940242"/>
                <a:gd name="connsiteX366" fmla="*/ 1819275 w 2370773"/>
                <a:gd name="connsiteY366" fmla="*/ 1702117 h 1940242"/>
                <a:gd name="connsiteX367" fmla="*/ 1805940 w 2370773"/>
                <a:gd name="connsiteY367" fmla="*/ 1715452 h 1940242"/>
                <a:gd name="connsiteX368" fmla="*/ 1792605 w 2370773"/>
                <a:gd name="connsiteY368" fmla="*/ 1702117 h 1940242"/>
                <a:gd name="connsiteX369" fmla="*/ 1805940 w 2370773"/>
                <a:gd name="connsiteY369" fmla="*/ 1688782 h 1940242"/>
                <a:gd name="connsiteX370" fmla="*/ 1600200 w 2370773"/>
                <a:gd name="connsiteY370" fmla="*/ 1685925 h 1940242"/>
                <a:gd name="connsiteX371" fmla="*/ 1618298 w 2370773"/>
                <a:gd name="connsiteY371" fmla="*/ 1704022 h 1940242"/>
                <a:gd name="connsiteX372" fmla="*/ 1600200 w 2370773"/>
                <a:gd name="connsiteY372" fmla="*/ 1722120 h 1940242"/>
                <a:gd name="connsiteX373" fmla="*/ 1582103 w 2370773"/>
                <a:gd name="connsiteY373" fmla="*/ 1704022 h 1940242"/>
                <a:gd name="connsiteX374" fmla="*/ 1600200 w 2370773"/>
                <a:gd name="connsiteY374" fmla="*/ 1685925 h 1940242"/>
                <a:gd name="connsiteX375" fmla="*/ 795338 w 2370773"/>
                <a:gd name="connsiteY375" fmla="*/ 1680210 h 1940242"/>
                <a:gd name="connsiteX376" fmla="*/ 817245 w 2370773"/>
                <a:gd name="connsiteY376" fmla="*/ 1702117 h 1940242"/>
                <a:gd name="connsiteX377" fmla="*/ 795338 w 2370773"/>
                <a:gd name="connsiteY377" fmla="*/ 1724025 h 1940242"/>
                <a:gd name="connsiteX378" fmla="*/ 773430 w 2370773"/>
                <a:gd name="connsiteY378" fmla="*/ 1702117 h 1940242"/>
                <a:gd name="connsiteX379" fmla="*/ 795338 w 2370773"/>
                <a:gd name="connsiteY379" fmla="*/ 1680210 h 1940242"/>
                <a:gd name="connsiteX380" fmla="*/ 973455 w 2370773"/>
                <a:gd name="connsiteY380" fmla="*/ 1675447 h 1940242"/>
                <a:gd name="connsiteX381" fmla="*/ 995362 w 2370773"/>
                <a:gd name="connsiteY381" fmla="*/ 1697355 h 1940242"/>
                <a:gd name="connsiteX382" fmla="*/ 973455 w 2370773"/>
                <a:gd name="connsiteY382" fmla="*/ 1719262 h 1940242"/>
                <a:gd name="connsiteX383" fmla="*/ 951547 w 2370773"/>
                <a:gd name="connsiteY383" fmla="*/ 1697355 h 1940242"/>
                <a:gd name="connsiteX384" fmla="*/ 973455 w 2370773"/>
                <a:gd name="connsiteY384" fmla="*/ 1675447 h 1940242"/>
                <a:gd name="connsiteX385" fmla="*/ 2000250 w 2370773"/>
                <a:gd name="connsiteY385" fmla="*/ 1670684 h 1940242"/>
                <a:gd name="connsiteX386" fmla="*/ 2004060 w 2370773"/>
                <a:gd name="connsiteY386" fmla="*/ 1674494 h 1940242"/>
                <a:gd name="connsiteX387" fmla="*/ 2000250 w 2370773"/>
                <a:gd name="connsiteY387" fmla="*/ 1678304 h 1940242"/>
                <a:gd name="connsiteX388" fmla="*/ 1996440 w 2370773"/>
                <a:gd name="connsiteY388" fmla="*/ 1674494 h 1940242"/>
                <a:gd name="connsiteX389" fmla="*/ 2000250 w 2370773"/>
                <a:gd name="connsiteY389" fmla="*/ 1670684 h 1940242"/>
                <a:gd name="connsiteX390" fmla="*/ 1655445 w 2370773"/>
                <a:gd name="connsiteY390" fmla="*/ 1669732 h 1940242"/>
                <a:gd name="connsiteX391" fmla="*/ 1673542 w 2370773"/>
                <a:gd name="connsiteY391" fmla="*/ 1687829 h 1940242"/>
                <a:gd name="connsiteX392" fmla="*/ 1655445 w 2370773"/>
                <a:gd name="connsiteY392" fmla="*/ 1705927 h 1940242"/>
                <a:gd name="connsiteX393" fmla="*/ 1637347 w 2370773"/>
                <a:gd name="connsiteY393" fmla="*/ 1687829 h 1940242"/>
                <a:gd name="connsiteX394" fmla="*/ 1655445 w 2370773"/>
                <a:gd name="connsiteY394" fmla="*/ 1669732 h 1940242"/>
                <a:gd name="connsiteX395" fmla="*/ 625792 w 2370773"/>
                <a:gd name="connsiteY395" fmla="*/ 1666875 h 1940242"/>
                <a:gd name="connsiteX396" fmla="*/ 647700 w 2370773"/>
                <a:gd name="connsiteY396" fmla="*/ 1688783 h 1940242"/>
                <a:gd name="connsiteX397" fmla="*/ 625792 w 2370773"/>
                <a:gd name="connsiteY397" fmla="*/ 1710690 h 1940242"/>
                <a:gd name="connsiteX398" fmla="*/ 603885 w 2370773"/>
                <a:gd name="connsiteY398" fmla="*/ 1688783 h 1940242"/>
                <a:gd name="connsiteX399" fmla="*/ 625792 w 2370773"/>
                <a:gd name="connsiteY399" fmla="*/ 1666875 h 1940242"/>
                <a:gd name="connsiteX400" fmla="*/ 1858328 w 2370773"/>
                <a:gd name="connsiteY400" fmla="*/ 1663065 h 1940242"/>
                <a:gd name="connsiteX401" fmla="*/ 1873568 w 2370773"/>
                <a:gd name="connsiteY401" fmla="*/ 1678305 h 1940242"/>
                <a:gd name="connsiteX402" fmla="*/ 1858328 w 2370773"/>
                <a:gd name="connsiteY402" fmla="*/ 1693545 h 1940242"/>
                <a:gd name="connsiteX403" fmla="*/ 1843088 w 2370773"/>
                <a:gd name="connsiteY403" fmla="*/ 1678305 h 1940242"/>
                <a:gd name="connsiteX404" fmla="*/ 1858328 w 2370773"/>
                <a:gd name="connsiteY404" fmla="*/ 1663065 h 1940242"/>
                <a:gd name="connsiteX405" fmla="*/ 918210 w 2370773"/>
                <a:gd name="connsiteY405" fmla="*/ 1660207 h 1940242"/>
                <a:gd name="connsiteX406" fmla="*/ 938213 w 2370773"/>
                <a:gd name="connsiteY406" fmla="*/ 1680209 h 1940242"/>
                <a:gd name="connsiteX407" fmla="*/ 918210 w 2370773"/>
                <a:gd name="connsiteY407" fmla="*/ 1700212 h 1940242"/>
                <a:gd name="connsiteX408" fmla="*/ 898208 w 2370773"/>
                <a:gd name="connsiteY408" fmla="*/ 1680209 h 1940242"/>
                <a:gd name="connsiteX409" fmla="*/ 918210 w 2370773"/>
                <a:gd name="connsiteY409" fmla="*/ 1660207 h 1940242"/>
                <a:gd name="connsiteX410" fmla="*/ 1329690 w 2370773"/>
                <a:gd name="connsiteY410" fmla="*/ 1659254 h 1940242"/>
                <a:gd name="connsiteX411" fmla="*/ 1347787 w 2370773"/>
                <a:gd name="connsiteY411" fmla="*/ 1677352 h 1940242"/>
                <a:gd name="connsiteX412" fmla="*/ 1329690 w 2370773"/>
                <a:gd name="connsiteY412" fmla="*/ 1695449 h 1940242"/>
                <a:gd name="connsiteX413" fmla="*/ 1311592 w 2370773"/>
                <a:gd name="connsiteY413" fmla="*/ 1677352 h 1940242"/>
                <a:gd name="connsiteX414" fmla="*/ 1329690 w 2370773"/>
                <a:gd name="connsiteY414" fmla="*/ 1659254 h 1940242"/>
                <a:gd name="connsiteX415" fmla="*/ 1271588 w 2370773"/>
                <a:gd name="connsiteY415" fmla="*/ 1657350 h 1940242"/>
                <a:gd name="connsiteX416" fmla="*/ 1291590 w 2370773"/>
                <a:gd name="connsiteY416" fmla="*/ 1677353 h 1940242"/>
                <a:gd name="connsiteX417" fmla="*/ 1271588 w 2370773"/>
                <a:gd name="connsiteY417" fmla="*/ 1697355 h 1940242"/>
                <a:gd name="connsiteX418" fmla="*/ 1251585 w 2370773"/>
                <a:gd name="connsiteY418" fmla="*/ 1677353 h 1940242"/>
                <a:gd name="connsiteX419" fmla="*/ 1271588 w 2370773"/>
                <a:gd name="connsiteY419" fmla="*/ 1657350 h 1940242"/>
                <a:gd name="connsiteX420" fmla="*/ 742950 w 2370773"/>
                <a:gd name="connsiteY420" fmla="*/ 1657350 h 1940242"/>
                <a:gd name="connsiteX421" fmla="*/ 763905 w 2370773"/>
                <a:gd name="connsiteY421" fmla="*/ 1678305 h 1940242"/>
                <a:gd name="connsiteX422" fmla="*/ 742950 w 2370773"/>
                <a:gd name="connsiteY422" fmla="*/ 1699260 h 1940242"/>
                <a:gd name="connsiteX423" fmla="*/ 721995 w 2370773"/>
                <a:gd name="connsiteY423" fmla="*/ 1678305 h 1940242"/>
                <a:gd name="connsiteX424" fmla="*/ 742950 w 2370773"/>
                <a:gd name="connsiteY424" fmla="*/ 1657350 h 1940242"/>
                <a:gd name="connsiteX425" fmla="*/ 357187 w 2370773"/>
                <a:gd name="connsiteY425" fmla="*/ 1657350 h 1940242"/>
                <a:gd name="connsiteX426" fmla="*/ 358140 w 2370773"/>
                <a:gd name="connsiteY426" fmla="*/ 1658303 h 1940242"/>
                <a:gd name="connsiteX427" fmla="*/ 357187 w 2370773"/>
                <a:gd name="connsiteY427" fmla="*/ 1659255 h 1940242"/>
                <a:gd name="connsiteX428" fmla="*/ 356235 w 2370773"/>
                <a:gd name="connsiteY428" fmla="*/ 1658303 h 1940242"/>
                <a:gd name="connsiteX429" fmla="*/ 357187 w 2370773"/>
                <a:gd name="connsiteY429" fmla="*/ 1657350 h 1940242"/>
                <a:gd name="connsiteX430" fmla="*/ 1386840 w 2370773"/>
                <a:gd name="connsiteY430" fmla="*/ 1655445 h 1940242"/>
                <a:gd name="connsiteX431" fmla="*/ 1405890 w 2370773"/>
                <a:gd name="connsiteY431" fmla="*/ 1674495 h 1940242"/>
                <a:gd name="connsiteX432" fmla="*/ 1386840 w 2370773"/>
                <a:gd name="connsiteY432" fmla="*/ 1693545 h 1940242"/>
                <a:gd name="connsiteX433" fmla="*/ 1367790 w 2370773"/>
                <a:gd name="connsiteY433" fmla="*/ 1674495 h 1940242"/>
                <a:gd name="connsiteX434" fmla="*/ 1386840 w 2370773"/>
                <a:gd name="connsiteY434" fmla="*/ 1655445 h 1940242"/>
                <a:gd name="connsiteX435" fmla="*/ 1214438 w 2370773"/>
                <a:gd name="connsiteY435" fmla="*/ 1654492 h 1940242"/>
                <a:gd name="connsiteX436" fmla="*/ 1233488 w 2370773"/>
                <a:gd name="connsiteY436" fmla="*/ 1673542 h 1940242"/>
                <a:gd name="connsiteX437" fmla="*/ 1214438 w 2370773"/>
                <a:gd name="connsiteY437" fmla="*/ 1692592 h 1940242"/>
                <a:gd name="connsiteX438" fmla="*/ 1195388 w 2370773"/>
                <a:gd name="connsiteY438" fmla="*/ 1673542 h 1940242"/>
                <a:gd name="connsiteX439" fmla="*/ 1214438 w 2370773"/>
                <a:gd name="connsiteY439" fmla="*/ 1654492 h 1940242"/>
                <a:gd name="connsiteX440" fmla="*/ 1710691 w 2370773"/>
                <a:gd name="connsiteY440" fmla="*/ 1652587 h 1940242"/>
                <a:gd name="connsiteX441" fmla="*/ 1728788 w 2370773"/>
                <a:gd name="connsiteY441" fmla="*/ 1670684 h 1940242"/>
                <a:gd name="connsiteX442" fmla="*/ 1710691 w 2370773"/>
                <a:gd name="connsiteY442" fmla="*/ 1688782 h 1940242"/>
                <a:gd name="connsiteX443" fmla="*/ 1692593 w 2370773"/>
                <a:gd name="connsiteY443" fmla="*/ 1670684 h 1940242"/>
                <a:gd name="connsiteX444" fmla="*/ 1710691 w 2370773"/>
                <a:gd name="connsiteY444" fmla="*/ 1652587 h 1940242"/>
                <a:gd name="connsiteX445" fmla="*/ 1443990 w 2370773"/>
                <a:gd name="connsiteY445" fmla="*/ 1648777 h 1940242"/>
                <a:gd name="connsiteX446" fmla="*/ 1463040 w 2370773"/>
                <a:gd name="connsiteY446" fmla="*/ 1667827 h 1940242"/>
                <a:gd name="connsiteX447" fmla="*/ 1443990 w 2370773"/>
                <a:gd name="connsiteY447" fmla="*/ 1686877 h 1940242"/>
                <a:gd name="connsiteX448" fmla="*/ 1424940 w 2370773"/>
                <a:gd name="connsiteY448" fmla="*/ 1667827 h 1940242"/>
                <a:gd name="connsiteX449" fmla="*/ 1443990 w 2370773"/>
                <a:gd name="connsiteY449" fmla="*/ 1648777 h 1940242"/>
                <a:gd name="connsiteX450" fmla="*/ 1156335 w 2370773"/>
                <a:gd name="connsiteY450" fmla="*/ 1648777 h 1940242"/>
                <a:gd name="connsiteX451" fmla="*/ 1175385 w 2370773"/>
                <a:gd name="connsiteY451" fmla="*/ 1667827 h 1940242"/>
                <a:gd name="connsiteX452" fmla="*/ 1156335 w 2370773"/>
                <a:gd name="connsiteY452" fmla="*/ 1686877 h 1940242"/>
                <a:gd name="connsiteX453" fmla="*/ 1137285 w 2370773"/>
                <a:gd name="connsiteY453" fmla="*/ 1667827 h 1940242"/>
                <a:gd name="connsiteX454" fmla="*/ 1156335 w 2370773"/>
                <a:gd name="connsiteY454" fmla="*/ 1648777 h 1940242"/>
                <a:gd name="connsiteX455" fmla="*/ 1100138 w 2370773"/>
                <a:gd name="connsiteY455" fmla="*/ 1642109 h 1940242"/>
                <a:gd name="connsiteX456" fmla="*/ 1118235 w 2370773"/>
                <a:gd name="connsiteY456" fmla="*/ 1660207 h 1940242"/>
                <a:gd name="connsiteX457" fmla="*/ 1100138 w 2370773"/>
                <a:gd name="connsiteY457" fmla="*/ 1678304 h 1940242"/>
                <a:gd name="connsiteX458" fmla="*/ 1082040 w 2370773"/>
                <a:gd name="connsiteY458" fmla="*/ 1660207 h 1940242"/>
                <a:gd name="connsiteX459" fmla="*/ 1100138 w 2370773"/>
                <a:gd name="connsiteY459" fmla="*/ 1642109 h 1940242"/>
                <a:gd name="connsiteX460" fmla="*/ 1909763 w 2370773"/>
                <a:gd name="connsiteY460" fmla="*/ 1640204 h 1940242"/>
                <a:gd name="connsiteX461" fmla="*/ 1921193 w 2370773"/>
                <a:gd name="connsiteY461" fmla="*/ 1651634 h 1940242"/>
                <a:gd name="connsiteX462" fmla="*/ 1909763 w 2370773"/>
                <a:gd name="connsiteY462" fmla="*/ 1663064 h 1940242"/>
                <a:gd name="connsiteX463" fmla="*/ 1898333 w 2370773"/>
                <a:gd name="connsiteY463" fmla="*/ 1651634 h 1940242"/>
                <a:gd name="connsiteX464" fmla="*/ 1909763 w 2370773"/>
                <a:gd name="connsiteY464" fmla="*/ 1640204 h 1940242"/>
                <a:gd name="connsiteX465" fmla="*/ 1501140 w 2370773"/>
                <a:gd name="connsiteY465" fmla="*/ 1640204 h 1940242"/>
                <a:gd name="connsiteX466" fmla="*/ 1520190 w 2370773"/>
                <a:gd name="connsiteY466" fmla="*/ 1659254 h 1940242"/>
                <a:gd name="connsiteX467" fmla="*/ 1501140 w 2370773"/>
                <a:gd name="connsiteY467" fmla="*/ 1678304 h 1940242"/>
                <a:gd name="connsiteX468" fmla="*/ 1482090 w 2370773"/>
                <a:gd name="connsiteY468" fmla="*/ 1659254 h 1940242"/>
                <a:gd name="connsiteX469" fmla="*/ 1501140 w 2370773"/>
                <a:gd name="connsiteY469" fmla="*/ 1640204 h 1940242"/>
                <a:gd name="connsiteX470" fmla="*/ 464820 w 2370773"/>
                <a:gd name="connsiteY470" fmla="*/ 1640204 h 1940242"/>
                <a:gd name="connsiteX471" fmla="*/ 484823 w 2370773"/>
                <a:gd name="connsiteY471" fmla="*/ 1660207 h 1940242"/>
                <a:gd name="connsiteX472" fmla="*/ 464820 w 2370773"/>
                <a:gd name="connsiteY472" fmla="*/ 1680209 h 1940242"/>
                <a:gd name="connsiteX473" fmla="*/ 444818 w 2370773"/>
                <a:gd name="connsiteY473" fmla="*/ 1660207 h 1940242"/>
                <a:gd name="connsiteX474" fmla="*/ 464820 w 2370773"/>
                <a:gd name="connsiteY474" fmla="*/ 1640204 h 1940242"/>
                <a:gd name="connsiteX475" fmla="*/ 2048828 w 2370773"/>
                <a:gd name="connsiteY475" fmla="*/ 1639252 h 1940242"/>
                <a:gd name="connsiteX476" fmla="*/ 2052638 w 2370773"/>
                <a:gd name="connsiteY476" fmla="*/ 1643062 h 1940242"/>
                <a:gd name="connsiteX477" fmla="*/ 2048828 w 2370773"/>
                <a:gd name="connsiteY477" fmla="*/ 1646872 h 1940242"/>
                <a:gd name="connsiteX478" fmla="*/ 2045018 w 2370773"/>
                <a:gd name="connsiteY478" fmla="*/ 1643062 h 1940242"/>
                <a:gd name="connsiteX479" fmla="*/ 2048828 w 2370773"/>
                <a:gd name="connsiteY479" fmla="*/ 1639252 h 1940242"/>
                <a:gd name="connsiteX480" fmla="*/ 863918 w 2370773"/>
                <a:gd name="connsiteY480" fmla="*/ 1639252 h 1940242"/>
                <a:gd name="connsiteX481" fmla="*/ 884873 w 2370773"/>
                <a:gd name="connsiteY481" fmla="*/ 1660207 h 1940242"/>
                <a:gd name="connsiteX482" fmla="*/ 863918 w 2370773"/>
                <a:gd name="connsiteY482" fmla="*/ 1681162 h 1940242"/>
                <a:gd name="connsiteX483" fmla="*/ 842963 w 2370773"/>
                <a:gd name="connsiteY483" fmla="*/ 1660207 h 1940242"/>
                <a:gd name="connsiteX484" fmla="*/ 863918 w 2370773"/>
                <a:gd name="connsiteY484" fmla="*/ 1639252 h 1940242"/>
                <a:gd name="connsiteX485" fmla="*/ 576263 w 2370773"/>
                <a:gd name="connsiteY485" fmla="*/ 1637347 h 1940242"/>
                <a:gd name="connsiteX486" fmla="*/ 598170 w 2370773"/>
                <a:gd name="connsiteY486" fmla="*/ 1659255 h 1940242"/>
                <a:gd name="connsiteX487" fmla="*/ 576263 w 2370773"/>
                <a:gd name="connsiteY487" fmla="*/ 1681162 h 1940242"/>
                <a:gd name="connsiteX488" fmla="*/ 554355 w 2370773"/>
                <a:gd name="connsiteY488" fmla="*/ 1659255 h 1940242"/>
                <a:gd name="connsiteX489" fmla="*/ 576263 w 2370773"/>
                <a:gd name="connsiteY489" fmla="*/ 1637347 h 1940242"/>
                <a:gd name="connsiteX490" fmla="*/ 1764030 w 2370773"/>
                <a:gd name="connsiteY490" fmla="*/ 1634490 h 1940242"/>
                <a:gd name="connsiteX491" fmla="*/ 1779270 w 2370773"/>
                <a:gd name="connsiteY491" fmla="*/ 1649730 h 1940242"/>
                <a:gd name="connsiteX492" fmla="*/ 1764030 w 2370773"/>
                <a:gd name="connsiteY492" fmla="*/ 1664970 h 1940242"/>
                <a:gd name="connsiteX493" fmla="*/ 1748790 w 2370773"/>
                <a:gd name="connsiteY493" fmla="*/ 1649730 h 1940242"/>
                <a:gd name="connsiteX494" fmla="*/ 1764030 w 2370773"/>
                <a:gd name="connsiteY494" fmla="*/ 1634490 h 1940242"/>
                <a:gd name="connsiteX495" fmla="*/ 691515 w 2370773"/>
                <a:gd name="connsiteY495" fmla="*/ 1632584 h 1940242"/>
                <a:gd name="connsiteX496" fmla="*/ 710565 w 2370773"/>
                <a:gd name="connsiteY496" fmla="*/ 1651634 h 1940242"/>
                <a:gd name="connsiteX497" fmla="*/ 691515 w 2370773"/>
                <a:gd name="connsiteY497" fmla="*/ 1670684 h 1940242"/>
                <a:gd name="connsiteX498" fmla="*/ 672465 w 2370773"/>
                <a:gd name="connsiteY498" fmla="*/ 1651634 h 1940242"/>
                <a:gd name="connsiteX499" fmla="*/ 691515 w 2370773"/>
                <a:gd name="connsiteY499" fmla="*/ 1632584 h 1940242"/>
                <a:gd name="connsiteX500" fmla="*/ 1042987 w 2370773"/>
                <a:gd name="connsiteY500" fmla="*/ 1627822 h 1940242"/>
                <a:gd name="connsiteX501" fmla="*/ 1062990 w 2370773"/>
                <a:gd name="connsiteY501" fmla="*/ 1647825 h 1940242"/>
                <a:gd name="connsiteX502" fmla="*/ 1042987 w 2370773"/>
                <a:gd name="connsiteY502" fmla="*/ 1667827 h 1940242"/>
                <a:gd name="connsiteX503" fmla="*/ 1022985 w 2370773"/>
                <a:gd name="connsiteY503" fmla="*/ 1647825 h 1940242"/>
                <a:gd name="connsiteX504" fmla="*/ 1042987 w 2370773"/>
                <a:gd name="connsiteY504" fmla="*/ 1627822 h 1940242"/>
                <a:gd name="connsiteX505" fmla="*/ 1558290 w 2370773"/>
                <a:gd name="connsiteY505" fmla="*/ 1626870 h 1940242"/>
                <a:gd name="connsiteX506" fmla="*/ 1579245 w 2370773"/>
                <a:gd name="connsiteY506" fmla="*/ 1647825 h 1940242"/>
                <a:gd name="connsiteX507" fmla="*/ 1558290 w 2370773"/>
                <a:gd name="connsiteY507" fmla="*/ 1668780 h 1940242"/>
                <a:gd name="connsiteX508" fmla="*/ 1537335 w 2370773"/>
                <a:gd name="connsiteY508" fmla="*/ 1647825 h 1940242"/>
                <a:gd name="connsiteX509" fmla="*/ 1558290 w 2370773"/>
                <a:gd name="connsiteY509" fmla="*/ 1626870 h 1940242"/>
                <a:gd name="connsiteX510" fmla="*/ 810578 w 2370773"/>
                <a:gd name="connsiteY510" fmla="*/ 1617345 h 1940242"/>
                <a:gd name="connsiteX511" fmla="*/ 831533 w 2370773"/>
                <a:gd name="connsiteY511" fmla="*/ 1638300 h 1940242"/>
                <a:gd name="connsiteX512" fmla="*/ 810578 w 2370773"/>
                <a:gd name="connsiteY512" fmla="*/ 1659255 h 1940242"/>
                <a:gd name="connsiteX513" fmla="*/ 789623 w 2370773"/>
                <a:gd name="connsiteY513" fmla="*/ 1638300 h 1940242"/>
                <a:gd name="connsiteX514" fmla="*/ 810578 w 2370773"/>
                <a:gd name="connsiteY514" fmla="*/ 1617345 h 1940242"/>
                <a:gd name="connsiteX515" fmla="*/ 1613535 w 2370773"/>
                <a:gd name="connsiteY515" fmla="*/ 1614487 h 1940242"/>
                <a:gd name="connsiteX516" fmla="*/ 1633538 w 2370773"/>
                <a:gd name="connsiteY516" fmla="*/ 1634490 h 1940242"/>
                <a:gd name="connsiteX517" fmla="*/ 1613535 w 2370773"/>
                <a:gd name="connsiteY517" fmla="*/ 1654492 h 1940242"/>
                <a:gd name="connsiteX518" fmla="*/ 1593533 w 2370773"/>
                <a:gd name="connsiteY518" fmla="*/ 1634490 h 1940242"/>
                <a:gd name="connsiteX519" fmla="*/ 1613535 w 2370773"/>
                <a:gd name="connsiteY519" fmla="*/ 1614487 h 1940242"/>
                <a:gd name="connsiteX520" fmla="*/ 419100 w 2370773"/>
                <a:gd name="connsiteY520" fmla="*/ 1614487 h 1940242"/>
                <a:gd name="connsiteX521" fmla="*/ 430530 w 2370773"/>
                <a:gd name="connsiteY521" fmla="*/ 1625917 h 1940242"/>
                <a:gd name="connsiteX522" fmla="*/ 419100 w 2370773"/>
                <a:gd name="connsiteY522" fmla="*/ 1637347 h 1940242"/>
                <a:gd name="connsiteX523" fmla="*/ 407670 w 2370773"/>
                <a:gd name="connsiteY523" fmla="*/ 1625917 h 1940242"/>
                <a:gd name="connsiteX524" fmla="*/ 419100 w 2370773"/>
                <a:gd name="connsiteY524" fmla="*/ 1614487 h 1940242"/>
                <a:gd name="connsiteX525" fmla="*/ 987742 w 2370773"/>
                <a:gd name="connsiteY525" fmla="*/ 1613534 h 1940242"/>
                <a:gd name="connsiteX526" fmla="*/ 1007745 w 2370773"/>
                <a:gd name="connsiteY526" fmla="*/ 1633537 h 1940242"/>
                <a:gd name="connsiteX527" fmla="*/ 987742 w 2370773"/>
                <a:gd name="connsiteY527" fmla="*/ 1653539 h 1940242"/>
                <a:gd name="connsiteX528" fmla="*/ 967740 w 2370773"/>
                <a:gd name="connsiteY528" fmla="*/ 1633537 h 1940242"/>
                <a:gd name="connsiteX529" fmla="*/ 987742 w 2370773"/>
                <a:gd name="connsiteY529" fmla="*/ 1613534 h 1940242"/>
                <a:gd name="connsiteX530" fmla="*/ 1817370 w 2370773"/>
                <a:gd name="connsiteY530" fmla="*/ 1611629 h 1940242"/>
                <a:gd name="connsiteX531" fmla="*/ 1832610 w 2370773"/>
                <a:gd name="connsiteY531" fmla="*/ 1626869 h 1940242"/>
                <a:gd name="connsiteX532" fmla="*/ 1817370 w 2370773"/>
                <a:gd name="connsiteY532" fmla="*/ 1642109 h 1940242"/>
                <a:gd name="connsiteX533" fmla="*/ 1802130 w 2370773"/>
                <a:gd name="connsiteY533" fmla="*/ 1626869 h 1940242"/>
                <a:gd name="connsiteX534" fmla="*/ 1817370 w 2370773"/>
                <a:gd name="connsiteY534" fmla="*/ 1611629 h 1940242"/>
                <a:gd name="connsiteX535" fmla="*/ 1959293 w 2370773"/>
                <a:gd name="connsiteY535" fmla="*/ 1610677 h 1940242"/>
                <a:gd name="connsiteX536" fmla="*/ 1971675 w 2370773"/>
                <a:gd name="connsiteY536" fmla="*/ 1623059 h 1940242"/>
                <a:gd name="connsiteX537" fmla="*/ 1959293 w 2370773"/>
                <a:gd name="connsiteY537" fmla="*/ 1635442 h 1940242"/>
                <a:gd name="connsiteX538" fmla="*/ 1946910 w 2370773"/>
                <a:gd name="connsiteY538" fmla="*/ 1623059 h 1940242"/>
                <a:gd name="connsiteX539" fmla="*/ 1959293 w 2370773"/>
                <a:gd name="connsiteY539" fmla="*/ 1610677 h 1940242"/>
                <a:gd name="connsiteX540" fmla="*/ 2095500 w 2370773"/>
                <a:gd name="connsiteY540" fmla="*/ 1608772 h 1940242"/>
                <a:gd name="connsiteX541" fmla="*/ 2097405 w 2370773"/>
                <a:gd name="connsiteY541" fmla="*/ 1610677 h 1940242"/>
                <a:gd name="connsiteX542" fmla="*/ 2095500 w 2370773"/>
                <a:gd name="connsiteY542" fmla="*/ 1612582 h 1940242"/>
                <a:gd name="connsiteX543" fmla="*/ 2093595 w 2370773"/>
                <a:gd name="connsiteY543" fmla="*/ 1610677 h 1940242"/>
                <a:gd name="connsiteX544" fmla="*/ 2095500 w 2370773"/>
                <a:gd name="connsiteY544" fmla="*/ 1608772 h 1940242"/>
                <a:gd name="connsiteX545" fmla="*/ 528637 w 2370773"/>
                <a:gd name="connsiteY545" fmla="*/ 1605915 h 1940242"/>
                <a:gd name="connsiteX546" fmla="*/ 550545 w 2370773"/>
                <a:gd name="connsiteY546" fmla="*/ 1627822 h 1940242"/>
                <a:gd name="connsiteX547" fmla="*/ 528637 w 2370773"/>
                <a:gd name="connsiteY547" fmla="*/ 1649730 h 1940242"/>
                <a:gd name="connsiteX548" fmla="*/ 506730 w 2370773"/>
                <a:gd name="connsiteY548" fmla="*/ 1627822 h 1940242"/>
                <a:gd name="connsiteX549" fmla="*/ 528637 w 2370773"/>
                <a:gd name="connsiteY549" fmla="*/ 1605915 h 1940242"/>
                <a:gd name="connsiteX550" fmla="*/ 641985 w 2370773"/>
                <a:gd name="connsiteY550" fmla="*/ 1604009 h 1940242"/>
                <a:gd name="connsiteX551" fmla="*/ 661035 w 2370773"/>
                <a:gd name="connsiteY551" fmla="*/ 1623059 h 1940242"/>
                <a:gd name="connsiteX552" fmla="*/ 641985 w 2370773"/>
                <a:gd name="connsiteY552" fmla="*/ 1642109 h 1940242"/>
                <a:gd name="connsiteX553" fmla="*/ 622935 w 2370773"/>
                <a:gd name="connsiteY553" fmla="*/ 1623059 h 1940242"/>
                <a:gd name="connsiteX554" fmla="*/ 641985 w 2370773"/>
                <a:gd name="connsiteY554" fmla="*/ 1604009 h 1940242"/>
                <a:gd name="connsiteX555" fmla="*/ 1668780 w 2370773"/>
                <a:gd name="connsiteY555" fmla="*/ 1598295 h 1940242"/>
                <a:gd name="connsiteX556" fmla="*/ 1687830 w 2370773"/>
                <a:gd name="connsiteY556" fmla="*/ 1617345 h 1940242"/>
                <a:gd name="connsiteX557" fmla="*/ 1668780 w 2370773"/>
                <a:gd name="connsiteY557" fmla="*/ 1636395 h 1940242"/>
                <a:gd name="connsiteX558" fmla="*/ 1649730 w 2370773"/>
                <a:gd name="connsiteY558" fmla="*/ 1617345 h 1940242"/>
                <a:gd name="connsiteX559" fmla="*/ 1668780 w 2370773"/>
                <a:gd name="connsiteY559" fmla="*/ 1598295 h 1940242"/>
                <a:gd name="connsiteX560" fmla="*/ 932497 w 2370773"/>
                <a:gd name="connsiteY560" fmla="*/ 1597342 h 1940242"/>
                <a:gd name="connsiteX561" fmla="*/ 952500 w 2370773"/>
                <a:gd name="connsiteY561" fmla="*/ 1617345 h 1940242"/>
                <a:gd name="connsiteX562" fmla="*/ 932497 w 2370773"/>
                <a:gd name="connsiteY562" fmla="*/ 1637347 h 1940242"/>
                <a:gd name="connsiteX563" fmla="*/ 912495 w 2370773"/>
                <a:gd name="connsiteY563" fmla="*/ 1617345 h 1940242"/>
                <a:gd name="connsiteX564" fmla="*/ 932497 w 2370773"/>
                <a:gd name="connsiteY564" fmla="*/ 1597342 h 1940242"/>
                <a:gd name="connsiteX565" fmla="*/ 1285875 w 2370773"/>
                <a:gd name="connsiteY565" fmla="*/ 1596390 h 1940242"/>
                <a:gd name="connsiteX566" fmla="*/ 1303020 w 2370773"/>
                <a:gd name="connsiteY566" fmla="*/ 1613535 h 1940242"/>
                <a:gd name="connsiteX567" fmla="*/ 1285875 w 2370773"/>
                <a:gd name="connsiteY567" fmla="*/ 1630680 h 1940242"/>
                <a:gd name="connsiteX568" fmla="*/ 1268730 w 2370773"/>
                <a:gd name="connsiteY568" fmla="*/ 1613535 h 1940242"/>
                <a:gd name="connsiteX569" fmla="*/ 1285875 w 2370773"/>
                <a:gd name="connsiteY569" fmla="*/ 1596390 h 1940242"/>
                <a:gd name="connsiteX570" fmla="*/ 1343978 w 2370773"/>
                <a:gd name="connsiteY570" fmla="*/ 1595437 h 1940242"/>
                <a:gd name="connsiteX571" fmla="*/ 1361123 w 2370773"/>
                <a:gd name="connsiteY571" fmla="*/ 1612582 h 1940242"/>
                <a:gd name="connsiteX572" fmla="*/ 1343978 w 2370773"/>
                <a:gd name="connsiteY572" fmla="*/ 1629727 h 1940242"/>
                <a:gd name="connsiteX573" fmla="*/ 1326833 w 2370773"/>
                <a:gd name="connsiteY573" fmla="*/ 1612582 h 1940242"/>
                <a:gd name="connsiteX574" fmla="*/ 1343978 w 2370773"/>
                <a:gd name="connsiteY574" fmla="*/ 1595437 h 1940242"/>
                <a:gd name="connsiteX575" fmla="*/ 758190 w 2370773"/>
                <a:gd name="connsiteY575" fmla="*/ 1592579 h 1940242"/>
                <a:gd name="connsiteX576" fmla="*/ 779145 w 2370773"/>
                <a:gd name="connsiteY576" fmla="*/ 1613534 h 1940242"/>
                <a:gd name="connsiteX577" fmla="*/ 758190 w 2370773"/>
                <a:gd name="connsiteY577" fmla="*/ 1634489 h 1940242"/>
                <a:gd name="connsiteX578" fmla="*/ 737235 w 2370773"/>
                <a:gd name="connsiteY578" fmla="*/ 1613534 h 1940242"/>
                <a:gd name="connsiteX579" fmla="*/ 758190 w 2370773"/>
                <a:gd name="connsiteY579" fmla="*/ 1592579 h 1940242"/>
                <a:gd name="connsiteX580" fmla="*/ 1401128 w 2370773"/>
                <a:gd name="connsiteY580" fmla="*/ 1590675 h 1940242"/>
                <a:gd name="connsiteX581" fmla="*/ 1418273 w 2370773"/>
                <a:gd name="connsiteY581" fmla="*/ 1607820 h 1940242"/>
                <a:gd name="connsiteX582" fmla="*/ 1401128 w 2370773"/>
                <a:gd name="connsiteY582" fmla="*/ 1624965 h 1940242"/>
                <a:gd name="connsiteX583" fmla="*/ 1383983 w 2370773"/>
                <a:gd name="connsiteY583" fmla="*/ 1607820 h 1940242"/>
                <a:gd name="connsiteX584" fmla="*/ 1401128 w 2370773"/>
                <a:gd name="connsiteY584" fmla="*/ 1590675 h 1940242"/>
                <a:gd name="connsiteX585" fmla="*/ 1228725 w 2370773"/>
                <a:gd name="connsiteY585" fmla="*/ 1590675 h 1940242"/>
                <a:gd name="connsiteX586" fmla="*/ 1247775 w 2370773"/>
                <a:gd name="connsiteY586" fmla="*/ 1609725 h 1940242"/>
                <a:gd name="connsiteX587" fmla="*/ 1228725 w 2370773"/>
                <a:gd name="connsiteY587" fmla="*/ 1628775 h 1940242"/>
                <a:gd name="connsiteX588" fmla="*/ 1209675 w 2370773"/>
                <a:gd name="connsiteY588" fmla="*/ 1609725 h 1940242"/>
                <a:gd name="connsiteX589" fmla="*/ 1228725 w 2370773"/>
                <a:gd name="connsiteY589" fmla="*/ 1590675 h 1940242"/>
                <a:gd name="connsiteX590" fmla="*/ 1171575 w 2370773"/>
                <a:gd name="connsiteY590" fmla="*/ 1588770 h 1940242"/>
                <a:gd name="connsiteX591" fmla="*/ 1187768 w 2370773"/>
                <a:gd name="connsiteY591" fmla="*/ 1604962 h 1940242"/>
                <a:gd name="connsiteX592" fmla="*/ 1171575 w 2370773"/>
                <a:gd name="connsiteY592" fmla="*/ 1621155 h 1940242"/>
                <a:gd name="connsiteX593" fmla="*/ 1155383 w 2370773"/>
                <a:gd name="connsiteY593" fmla="*/ 1604962 h 1940242"/>
                <a:gd name="connsiteX594" fmla="*/ 1171575 w 2370773"/>
                <a:gd name="connsiteY594" fmla="*/ 1588770 h 1940242"/>
                <a:gd name="connsiteX595" fmla="*/ 1868805 w 2370773"/>
                <a:gd name="connsiteY595" fmla="*/ 1587817 h 1940242"/>
                <a:gd name="connsiteX596" fmla="*/ 1882140 w 2370773"/>
                <a:gd name="connsiteY596" fmla="*/ 1601152 h 1940242"/>
                <a:gd name="connsiteX597" fmla="*/ 1868805 w 2370773"/>
                <a:gd name="connsiteY597" fmla="*/ 1614487 h 1940242"/>
                <a:gd name="connsiteX598" fmla="*/ 1855470 w 2370773"/>
                <a:gd name="connsiteY598" fmla="*/ 1601152 h 1940242"/>
                <a:gd name="connsiteX599" fmla="*/ 1868805 w 2370773"/>
                <a:gd name="connsiteY599" fmla="*/ 1587817 h 1940242"/>
                <a:gd name="connsiteX600" fmla="*/ 1458278 w 2370773"/>
                <a:gd name="connsiteY600" fmla="*/ 1585912 h 1940242"/>
                <a:gd name="connsiteX601" fmla="*/ 1473518 w 2370773"/>
                <a:gd name="connsiteY601" fmla="*/ 1601152 h 1940242"/>
                <a:gd name="connsiteX602" fmla="*/ 1458278 w 2370773"/>
                <a:gd name="connsiteY602" fmla="*/ 1616392 h 1940242"/>
                <a:gd name="connsiteX603" fmla="*/ 1443038 w 2370773"/>
                <a:gd name="connsiteY603" fmla="*/ 1601152 h 1940242"/>
                <a:gd name="connsiteX604" fmla="*/ 1458278 w 2370773"/>
                <a:gd name="connsiteY604" fmla="*/ 1585912 h 1940242"/>
                <a:gd name="connsiteX605" fmla="*/ 2008822 w 2370773"/>
                <a:gd name="connsiteY605" fmla="*/ 1584007 h 1940242"/>
                <a:gd name="connsiteX606" fmla="*/ 2017395 w 2370773"/>
                <a:gd name="connsiteY606" fmla="*/ 1592579 h 1940242"/>
                <a:gd name="connsiteX607" fmla="*/ 2008822 w 2370773"/>
                <a:gd name="connsiteY607" fmla="*/ 1601152 h 1940242"/>
                <a:gd name="connsiteX608" fmla="*/ 2000250 w 2370773"/>
                <a:gd name="connsiteY608" fmla="*/ 1592579 h 1940242"/>
                <a:gd name="connsiteX609" fmla="*/ 2008822 w 2370773"/>
                <a:gd name="connsiteY609" fmla="*/ 1584007 h 1940242"/>
                <a:gd name="connsiteX610" fmla="*/ 1114425 w 2370773"/>
                <a:gd name="connsiteY610" fmla="*/ 1580197 h 1940242"/>
                <a:gd name="connsiteX611" fmla="*/ 1130618 w 2370773"/>
                <a:gd name="connsiteY611" fmla="*/ 1596390 h 1940242"/>
                <a:gd name="connsiteX612" fmla="*/ 1114425 w 2370773"/>
                <a:gd name="connsiteY612" fmla="*/ 1612582 h 1940242"/>
                <a:gd name="connsiteX613" fmla="*/ 1098233 w 2370773"/>
                <a:gd name="connsiteY613" fmla="*/ 1596390 h 1940242"/>
                <a:gd name="connsiteX614" fmla="*/ 1114425 w 2370773"/>
                <a:gd name="connsiteY614" fmla="*/ 1580197 h 1940242"/>
                <a:gd name="connsiteX615" fmla="*/ 1723072 w 2370773"/>
                <a:gd name="connsiteY615" fmla="*/ 1579245 h 1940242"/>
                <a:gd name="connsiteX616" fmla="*/ 1741170 w 2370773"/>
                <a:gd name="connsiteY616" fmla="*/ 1597342 h 1940242"/>
                <a:gd name="connsiteX617" fmla="*/ 1723072 w 2370773"/>
                <a:gd name="connsiteY617" fmla="*/ 1615440 h 1940242"/>
                <a:gd name="connsiteX618" fmla="*/ 1704975 w 2370773"/>
                <a:gd name="connsiteY618" fmla="*/ 1597342 h 1940242"/>
                <a:gd name="connsiteX619" fmla="*/ 1723072 w 2370773"/>
                <a:gd name="connsiteY619" fmla="*/ 1579245 h 1940242"/>
                <a:gd name="connsiteX620" fmla="*/ 878204 w 2370773"/>
                <a:gd name="connsiteY620" fmla="*/ 1577340 h 1940242"/>
                <a:gd name="connsiteX621" fmla="*/ 898207 w 2370773"/>
                <a:gd name="connsiteY621" fmla="*/ 1597342 h 1940242"/>
                <a:gd name="connsiteX622" fmla="*/ 878204 w 2370773"/>
                <a:gd name="connsiteY622" fmla="*/ 1617345 h 1940242"/>
                <a:gd name="connsiteX623" fmla="*/ 858202 w 2370773"/>
                <a:gd name="connsiteY623" fmla="*/ 1597342 h 1940242"/>
                <a:gd name="connsiteX624" fmla="*/ 878204 w 2370773"/>
                <a:gd name="connsiteY624" fmla="*/ 1577340 h 1940242"/>
                <a:gd name="connsiteX625" fmla="*/ 375285 w 2370773"/>
                <a:gd name="connsiteY625" fmla="*/ 1575434 h 1940242"/>
                <a:gd name="connsiteX626" fmla="*/ 388620 w 2370773"/>
                <a:gd name="connsiteY626" fmla="*/ 1588769 h 1940242"/>
                <a:gd name="connsiteX627" fmla="*/ 375285 w 2370773"/>
                <a:gd name="connsiteY627" fmla="*/ 1602104 h 1940242"/>
                <a:gd name="connsiteX628" fmla="*/ 361950 w 2370773"/>
                <a:gd name="connsiteY628" fmla="*/ 1588769 h 1940242"/>
                <a:gd name="connsiteX629" fmla="*/ 375285 w 2370773"/>
                <a:gd name="connsiteY629" fmla="*/ 1575434 h 1940242"/>
                <a:gd name="connsiteX630" fmla="*/ 1515428 w 2370773"/>
                <a:gd name="connsiteY630" fmla="*/ 1574482 h 1940242"/>
                <a:gd name="connsiteX631" fmla="*/ 1532573 w 2370773"/>
                <a:gd name="connsiteY631" fmla="*/ 1591627 h 1940242"/>
                <a:gd name="connsiteX632" fmla="*/ 1515428 w 2370773"/>
                <a:gd name="connsiteY632" fmla="*/ 1608772 h 1940242"/>
                <a:gd name="connsiteX633" fmla="*/ 1498283 w 2370773"/>
                <a:gd name="connsiteY633" fmla="*/ 1591627 h 1940242"/>
                <a:gd name="connsiteX634" fmla="*/ 1515428 w 2370773"/>
                <a:gd name="connsiteY634" fmla="*/ 1574482 h 1940242"/>
                <a:gd name="connsiteX635" fmla="*/ 592454 w 2370773"/>
                <a:gd name="connsiteY635" fmla="*/ 1573529 h 1940242"/>
                <a:gd name="connsiteX636" fmla="*/ 612457 w 2370773"/>
                <a:gd name="connsiteY636" fmla="*/ 1593532 h 1940242"/>
                <a:gd name="connsiteX637" fmla="*/ 592454 w 2370773"/>
                <a:gd name="connsiteY637" fmla="*/ 1613534 h 1940242"/>
                <a:gd name="connsiteX638" fmla="*/ 572452 w 2370773"/>
                <a:gd name="connsiteY638" fmla="*/ 1593532 h 1940242"/>
                <a:gd name="connsiteX639" fmla="*/ 592454 w 2370773"/>
                <a:gd name="connsiteY639" fmla="*/ 1573529 h 1940242"/>
                <a:gd name="connsiteX640" fmla="*/ 481965 w 2370773"/>
                <a:gd name="connsiteY640" fmla="*/ 1569720 h 1940242"/>
                <a:gd name="connsiteX641" fmla="*/ 504825 w 2370773"/>
                <a:gd name="connsiteY641" fmla="*/ 1592580 h 1940242"/>
                <a:gd name="connsiteX642" fmla="*/ 481965 w 2370773"/>
                <a:gd name="connsiteY642" fmla="*/ 1615440 h 1940242"/>
                <a:gd name="connsiteX643" fmla="*/ 459105 w 2370773"/>
                <a:gd name="connsiteY643" fmla="*/ 1592580 h 1940242"/>
                <a:gd name="connsiteX644" fmla="*/ 481965 w 2370773"/>
                <a:gd name="connsiteY644" fmla="*/ 1569720 h 1940242"/>
                <a:gd name="connsiteX645" fmla="*/ 1057275 w 2370773"/>
                <a:gd name="connsiteY645" fmla="*/ 1566862 h 1940242"/>
                <a:gd name="connsiteX646" fmla="*/ 1075372 w 2370773"/>
                <a:gd name="connsiteY646" fmla="*/ 1584959 h 1940242"/>
                <a:gd name="connsiteX647" fmla="*/ 1057275 w 2370773"/>
                <a:gd name="connsiteY647" fmla="*/ 1603057 h 1940242"/>
                <a:gd name="connsiteX648" fmla="*/ 1039177 w 2370773"/>
                <a:gd name="connsiteY648" fmla="*/ 1584959 h 1940242"/>
                <a:gd name="connsiteX649" fmla="*/ 1057275 w 2370773"/>
                <a:gd name="connsiteY649" fmla="*/ 1566862 h 1940242"/>
                <a:gd name="connsiteX650" fmla="*/ 706755 w 2370773"/>
                <a:gd name="connsiteY650" fmla="*/ 1565909 h 1940242"/>
                <a:gd name="connsiteX651" fmla="*/ 727710 w 2370773"/>
                <a:gd name="connsiteY651" fmla="*/ 1586864 h 1940242"/>
                <a:gd name="connsiteX652" fmla="*/ 706755 w 2370773"/>
                <a:gd name="connsiteY652" fmla="*/ 1607819 h 1940242"/>
                <a:gd name="connsiteX653" fmla="*/ 685800 w 2370773"/>
                <a:gd name="connsiteY653" fmla="*/ 1586864 h 1940242"/>
                <a:gd name="connsiteX654" fmla="*/ 706755 w 2370773"/>
                <a:gd name="connsiteY654" fmla="*/ 1565909 h 1940242"/>
                <a:gd name="connsiteX655" fmla="*/ 1919288 w 2370773"/>
                <a:gd name="connsiteY655" fmla="*/ 1560195 h 1940242"/>
                <a:gd name="connsiteX656" fmla="*/ 1932623 w 2370773"/>
                <a:gd name="connsiteY656" fmla="*/ 1573530 h 1940242"/>
                <a:gd name="connsiteX657" fmla="*/ 1919288 w 2370773"/>
                <a:gd name="connsiteY657" fmla="*/ 1586865 h 1940242"/>
                <a:gd name="connsiteX658" fmla="*/ 1905953 w 2370773"/>
                <a:gd name="connsiteY658" fmla="*/ 1573530 h 1940242"/>
                <a:gd name="connsiteX659" fmla="*/ 1919288 w 2370773"/>
                <a:gd name="connsiteY659" fmla="*/ 1560195 h 1940242"/>
                <a:gd name="connsiteX660" fmla="*/ 1571625 w 2370773"/>
                <a:gd name="connsiteY660" fmla="*/ 1560195 h 1940242"/>
                <a:gd name="connsiteX661" fmla="*/ 1589723 w 2370773"/>
                <a:gd name="connsiteY661" fmla="*/ 1578292 h 1940242"/>
                <a:gd name="connsiteX662" fmla="*/ 1571625 w 2370773"/>
                <a:gd name="connsiteY662" fmla="*/ 1596390 h 1940242"/>
                <a:gd name="connsiteX663" fmla="*/ 1553528 w 2370773"/>
                <a:gd name="connsiteY663" fmla="*/ 1578292 h 1940242"/>
                <a:gd name="connsiteX664" fmla="*/ 1571625 w 2370773"/>
                <a:gd name="connsiteY664" fmla="*/ 1560195 h 1940242"/>
                <a:gd name="connsiteX665" fmla="*/ 2055495 w 2370773"/>
                <a:gd name="connsiteY665" fmla="*/ 1558290 h 1940242"/>
                <a:gd name="connsiteX666" fmla="*/ 2057400 w 2370773"/>
                <a:gd name="connsiteY666" fmla="*/ 1560195 h 1940242"/>
                <a:gd name="connsiteX667" fmla="*/ 2055495 w 2370773"/>
                <a:gd name="connsiteY667" fmla="*/ 1562100 h 1940242"/>
                <a:gd name="connsiteX668" fmla="*/ 2053590 w 2370773"/>
                <a:gd name="connsiteY668" fmla="*/ 1560195 h 1940242"/>
                <a:gd name="connsiteX669" fmla="*/ 2055495 w 2370773"/>
                <a:gd name="connsiteY669" fmla="*/ 1558290 h 1940242"/>
                <a:gd name="connsiteX670" fmla="*/ 1776412 w 2370773"/>
                <a:gd name="connsiteY670" fmla="*/ 1557337 h 1940242"/>
                <a:gd name="connsiteX671" fmla="*/ 1793557 w 2370773"/>
                <a:gd name="connsiteY671" fmla="*/ 1574482 h 1940242"/>
                <a:gd name="connsiteX672" fmla="*/ 1776412 w 2370773"/>
                <a:gd name="connsiteY672" fmla="*/ 1591627 h 1940242"/>
                <a:gd name="connsiteX673" fmla="*/ 1759267 w 2370773"/>
                <a:gd name="connsiteY673" fmla="*/ 1574482 h 1940242"/>
                <a:gd name="connsiteX674" fmla="*/ 1776412 w 2370773"/>
                <a:gd name="connsiteY674" fmla="*/ 1557337 h 1940242"/>
                <a:gd name="connsiteX675" fmla="*/ 824865 w 2370773"/>
                <a:gd name="connsiteY675" fmla="*/ 1553527 h 1940242"/>
                <a:gd name="connsiteX676" fmla="*/ 845820 w 2370773"/>
                <a:gd name="connsiteY676" fmla="*/ 1574482 h 1940242"/>
                <a:gd name="connsiteX677" fmla="*/ 824865 w 2370773"/>
                <a:gd name="connsiteY677" fmla="*/ 1595437 h 1940242"/>
                <a:gd name="connsiteX678" fmla="*/ 803910 w 2370773"/>
                <a:gd name="connsiteY678" fmla="*/ 1574482 h 1940242"/>
                <a:gd name="connsiteX679" fmla="*/ 824865 w 2370773"/>
                <a:gd name="connsiteY679" fmla="*/ 1553527 h 1940242"/>
                <a:gd name="connsiteX680" fmla="*/ 1002029 w 2370773"/>
                <a:gd name="connsiteY680" fmla="*/ 1550670 h 1940242"/>
                <a:gd name="connsiteX681" fmla="*/ 1022032 w 2370773"/>
                <a:gd name="connsiteY681" fmla="*/ 1570672 h 1940242"/>
                <a:gd name="connsiteX682" fmla="*/ 1002029 w 2370773"/>
                <a:gd name="connsiteY682" fmla="*/ 1590675 h 1940242"/>
                <a:gd name="connsiteX683" fmla="*/ 982027 w 2370773"/>
                <a:gd name="connsiteY683" fmla="*/ 1570672 h 1940242"/>
                <a:gd name="connsiteX684" fmla="*/ 1002029 w 2370773"/>
                <a:gd name="connsiteY684" fmla="*/ 1550670 h 1940242"/>
                <a:gd name="connsiteX685" fmla="*/ 1626870 w 2370773"/>
                <a:gd name="connsiteY685" fmla="*/ 1544002 h 1940242"/>
                <a:gd name="connsiteX686" fmla="*/ 1645920 w 2370773"/>
                <a:gd name="connsiteY686" fmla="*/ 1563052 h 1940242"/>
                <a:gd name="connsiteX687" fmla="*/ 1626870 w 2370773"/>
                <a:gd name="connsiteY687" fmla="*/ 1582102 h 1940242"/>
                <a:gd name="connsiteX688" fmla="*/ 1607820 w 2370773"/>
                <a:gd name="connsiteY688" fmla="*/ 1563052 h 1940242"/>
                <a:gd name="connsiteX689" fmla="*/ 1626870 w 2370773"/>
                <a:gd name="connsiteY689" fmla="*/ 1544002 h 1940242"/>
                <a:gd name="connsiteX690" fmla="*/ 545782 w 2370773"/>
                <a:gd name="connsiteY690" fmla="*/ 1539240 h 1940242"/>
                <a:gd name="connsiteX691" fmla="*/ 566737 w 2370773"/>
                <a:gd name="connsiteY691" fmla="*/ 1560195 h 1940242"/>
                <a:gd name="connsiteX692" fmla="*/ 545782 w 2370773"/>
                <a:gd name="connsiteY692" fmla="*/ 1581150 h 1940242"/>
                <a:gd name="connsiteX693" fmla="*/ 524827 w 2370773"/>
                <a:gd name="connsiteY693" fmla="*/ 1560195 h 1940242"/>
                <a:gd name="connsiteX694" fmla="*/ 545782 w 2370773"/>
                <a:gd name="connsiteY694" fmla="*/ 1539240 h 1940242"/>
                <a:gd name="connsiteX695" fmla="*/ 657225 w 2370773"/>
                <a:gd name="connsiteY695" fmla="*/ 1538287 h 1940242"/>
                <a:gd name="connsiteX696" fmla="*/ 677228 w 2370773"/>
                <a:gd name="connsiteY696" fmla="*/ 1558290 h 1940242"/>
                <a:gd name="connsiteX697" fmla="*/ 657225 w 2370773"/>
                <a:gd name="connsiteY697" fmla="*/ 1578292 h 1940242"/>
                <a:gd name="connsiteX698" fmla="*/ 637223 w 2370773"/>
                <a:gd name="connsiteY698" fmla="*/ 1558290 h 1940242"/>
                <a:gd name="connsiteX699" fmla="*/ 657225 w 2370773"/>
                <a:gd name="connsiteY699" fmla="*/ 1538287 h 1940242"/>
                <a:gd name="connsiteX700" fmla="*/ 437198 w 2370773"/>
                <a:gd name="connsiteY700" fmla="*/ 1538287 h 1940242"/>
                <a:gd name="connsiteX701" fmla="*/ 456248 w 2370773"/>
                <a:gd name="connsiteY701" fmla="*/ 1557337 h 1940242"/>
                <a:gd name="connsiteX702" fmla="*/ 437198 w 2370773"/>
                <a:gd name="connsiteY702" fmla="*/ 1576387 h 1940242"/>
                <a:gd name="connsiteX703" fmla="*/ 418148 w 2370773"/>
                <a:gd name="connsiteY703" fmla="*/ 1557337 h 1940242"/>
                <a:gd name="connsiteX704" fmla="*/ 437198 w 2370773"/>
                <a:gd name="connsiteY704" fmla="*/ 1538287 h 1940242"/>
                <a:gd name="connsiteX705" fmla="*/ 1300163 w 2370773"/>
                <a:gd name="connsiteY705" fmla="*/ 1534477 h 1940242"/>
                <a:gd name="connsiteX706" fmla="*/ 1314450 w 2370773"/>
                <a:gd name="connsiteY706" fmla="*/ 1548765 h 1940242"/>
                <a:gd name="connsiteX707" fmla="*/ 1300163 w 2370773"/>
                <a:gd name="connsiteY707" fmla="*/ 1563052 h 1940242"/>
                <a:gd name="connsiteX708" fmla="*/ 1285875 w 2370773"/>
                <a:gd name="connsiteY708" fmla="*/ 1548765 h 1940242"/>
                <a:gd name="connsiteX709" fmla="*/ 1300163 w 2370773"/>
                <a:gd name="connsiteY709" fmla="*/ 1534477 h 1940242"/>
                <a:gd name="connsiteX710" fmla="*/ 946785 w 2370773"/>
                <a:gd name="connsiteY710" fmla="*/ 1534477 h 1940242"/>
                <a:gd name="connsiteX711" fmla="*/ 965835 w 2370773"/>
                <a:gd name="connsiteY711" fmla="*/ 1553527 h 1940242"/>
                <a:gd name="connsiteX712" fmla="*/ 946785 w 2370773"/>
                <a:gd name="connsiteY712" fmla="*/ 1572577 h 1940242"/>
                <a:gd name="connsiteX713" fmla="*/ 927735 w 2370773"/>
                <a:gd name="connsiteY713" fmla="*/ 1553527 h 1940242"/>
                <a:gd name="connsiteX714" fmla="*/ 946785 w 2370773"/>
                <a:gd name="connsiteY714" fmla="*/ 1534477 h 1940242"/>
                <a:gd name="connsiteX715" fmla="*/ 1827848 w 2370773"/>
                <a:gd name="connsiteY715" fmla="*/ 1532572 h 1940242"/>
                <a:gd name="connsiteX716" fmla="*/ 1844993 w 2370773"/>
                <a:gd name="connsiteY716" fmla="*/ 1549717 h 1940242"/>
                <a:gd name="connsiteX717" fmla="*/ 1827848 w 2370773"/>
                <a:gd name="connsiteY717" fmla="*/ 1566862 h 1940242"/>
                <a:gd name="connsiteX718" fmla="*/ 1810703 w 2370773"/>
                <a:gd name="connsiteY718" fmla="*/ 1549717 h 1940242"/>
                <a:gd name="connsiteX719" fmla="*/ 1827848 w 2370773"/>
                <a:gd name="connsiteY719" fmla="*/ 1532572 h 1940242"/>
                <a:gd name="connsiteX720" fmla="*/ 1358266 w 2370773"/>
                <a:gd name="connsiteY720" fmla="*/ 1532572 h 1940242"/>
                <a:gd name="connsiteX721" fmla="*/ 1372553 w 2370773"/>
                <a:gd name="connsiteY721" fmla="*/ 1546860 h 1940242"/>
                <a:gd name="connsiteX722" fmla="*/ 1358266 w 2370773"/>
                <a:gd name="connsiteY722" fmla="*/ 1561147 h 1940242"/>
                <a:gd name="connsiteX723" fmla="*/ 1343978 w 2370773"/>
                <a:gd name="connsiteY723" fmla="*/ 1546860 h 1940242"/>
                <a:gd name="connsiteX724" fmla="*/ 1358266 w 2370773"/>
                <a:gd name="connsiteY724" fmla="*/ 1532572 h 1940242"/>
                <a:gd name="connsiteX725" fmla="*/ 1243012 w 2370773"/>
                <a:gd name="connsiteY725" fmla="*/ 1531620 h 1940242"/>
                <a:gd name="connsiteX726" fmla="*/ 1258252 w 2370773"/>
                <a:gd name="connsiteY726" fmla="*/ 1546860 h 1940242"/>
                <a:gd name="connsiteX727" fmla="*/ 1243012 w 2370773"/>
                <a:gd name="connsiteY727" fmla="*/ 1562100 h 1940242"/>
                <a:gd name="connsiteX728" fmla="*/ 1227772 w 2370773"/>
                <a:gd name="connsiteY728" fmla="*/ 1546860 h 1940242"/>
                <a:gd name="connsiteX729" fmla="*/ 1243012 w 2370773"/>
                <a:gd name="connsiteY729" fmla="*/ 1531620 h 1940242"/>
                <a:gd name="connsiteX730" fmla="*/ 332423 w 2370773"/>
                <a:gd name="connsiteY730" fmla="*/ 1530667 h 1940242"/>
                <a:gd name="connsiteX731" fmla="*/ 351473 w 2370773"/>
                <a:gd name="connsiteY731" fmla="*/ 1549717 h 1940242"/>
                <a:gd name="connsiteX732" fmla="*/ 332423 w 2370773"/>
                <a:gd name="connsiteY732" fmla="*/ 1568767 h 1940242"/>
                <a:gd name="connsiteX733" fmla="*/ 313373 w 2370773"/>
                <a:gd name="connsiteY733" fmla="*/ 1549717 h 1940242"/>
                <a:gd name="connsiteX734" fmla="*/ 332423 w 2370773"/>
                <a:gd name="connsiteY734" fmla="*/ 1530667 h 1940242"/>
                <a:gd name="connsiteX735" fmla="*/ 1415415 w 2370773"/>
                <a:gd name="connsiteY735" fmla="*/ 1529715 h 1940242"/>
                <a:gd name="connsiteX736" fmla="*/ 1427798 w 2370773"/>
                <a:gd name="connsiteY736" fmla="*/ 1542097 h 1940242"/>
                <a:gd name="connsiteX737" fmla="*/ 1415415 w 2370773"/>
                <a:gd name="connsiteY737" fmla="*/ 1554480 h 1940242"/>
                <a:gd name="connsiteX738" fmla="*/ 1403033 w 2370773"/>
                <a:gd name="connsiteY738" fmla="*/ 1542097 h 1940242"/>
                <a:gd name="connsiteX739" fmla="*/ 1415415 w 2370773"/>
                <a:gd name="connsiteY739" fmla="*/ 1529715 h 1940242"/>
                <a:gd name="connsiteX740" fmla="*/ 773429 w 2370773"/>
                <a:gd name="connsiteY740" fmla="*/ 1529715 h 1940242"/>
                <a:gd name="connsiteX741" fmla="*/ 793432 w 2370773"/>
                <a:gd name="connsiteY741" fmla="*/ 1549717 h 1940242"/>
                <a:gd name="connsiteX742" fmla="*/ 773429 w 2370773"/>
                <a:gd name="connsiteY742" fmla="*/ 1569720 h 1940242"/>
                <a:gd name="connsiteX743" fmla="*/ 753427 w 2370773"/>
                <a:gd name="connsiteY743" fmla="*/ 1549717 h 1940242"/>
                <a:gd name="connsiteX744" fmla="*/ 773429 w 2370773"/>
                <a:gd name="connsiteY744" fmla="*/ 1529715 h 1940242"/>
                <a:gd name="connsiteX745" fmla="*/ 1967866 w 2370773"/>
                <a:gd name="connsiteY745" fmla="*/ 1528762 h 1940242"/>
                <a:gd name="connsiteX746" fmla="*/ 1982153 w 2370773"/>
                <a:gd name="connsiteY746" fmla="*/ 1543050 h 1940242"/>
                <a:gd name="connsiteX747" fmla="*/ 1967866 w 2370773"/>
                <a:gd name="connsiteY747" fmla="*/ 1557337 h 1940242"/>
                <a:gd name="connsiteX748" fmla="*/ 1953578 w 2370773"/>
                <a:gd name="connsiteY748" fmla="*/ 1543050 h 1940242"/>
                <a:gd name="connsiteX749" fmla="*/ 1967866 w 2370773"/>
                <a:gd name="connsiteY749" fmla="*/ 1528762 h 1940242"/>
                <a:gd name="connsiteX750" fmla="*/ 1185862 w 2370773"/>
                <a:gd name="connsiteY750" fmla="*/ 1528762 h 1940242"/>
                <a:gd name="connsiteX751" fmla="*/ 1200150 w 2370773"/>
                <a:gd name="connsiteY751" fmla="*/ 1543050 h 1940242"/>
                <a:gd name="connsiteX752" fmla="*/ 1185862 w 2370773"/>
                <a:gd name="connsiteY752" fmla="*/ 1557337 h 1940242"/>
                <a:gd name="connsiteX753" fmla="*/ 1171575 w 2370773"/>
                <a:gd name="connsiteY753" fmla="*/ 1543050 h 1940242"/>
                <a:gd name="connsiteX754" fmla="*/ 1185862 w 2370773"/>
                <a:gd name="connsiteY754" fmla="*/ 1528762 h 1940242"/>
                <a:gd name="connsiteX755" fmla="*/ 1681162 w 2370773"/>
                <a:gd name="connsiteY755" fmla="*/ 1526857 h 1940242"/>
                <a:gd name="connsiteX756" fmla="*/ 1698307 w 2370773"/>
                <a:gd name="connsiteY756" fmla="*/ 1544002 h 1940242"/>
                <a:gd name="connsiteX757" fmla="*/ 1681162 w 2370773"/>
                <a:gd name="connsiteY757" fmla="*/ 1561147 h 1940242"/>
                <a:gd name="connsiteX758" fmla="*/ 1664017 w 2370773"/>
                <a:gd name="connsiteY758" fmla="*/ 1544002 h 1940242"/>
                <a:gd name="connsiteX759" fmla="*/ 1681162 w 2370773"/>
                <a:gd name="connsiteY759" fmla="*/ 1526857 h 1940242"/>
                <a:gd name="connsiteX760" fmla="*/ 1472566 w 2370773"/>
                <a:gd name="connsiteY760" fmla="*/ 1522095 h 1940242"/>
                <a:gd name="connsiteX761" fmla="*/ 1484948 w 2370773"/>
                <a:gd name="connsiteY761" fmla="*/ 1534478 h 1940242"/>
                <a:gd name="connsiteX762" fmla="*/ 1472566 w 2370773"/>
                <a:gd name="connsiteY762" fmla="*/ 1546860 h 1940242"/>
                <a:gd name="connsiteX763" fmla="*/ 1460183 w 2370773"/>
                <a:gd name="connsiteY763" fmla="*/ 1534478 h 1940242"/>
                <a:gd name="connsiteX764" fmla="*/ 1472566 w 2370773"/>
                <a:gd name="connsiteY764" fmla="*/ 1522095 h 1940242"/>
                <a:gd name="connsiteX765" fmla="*/ 2101215 w 2370773"/>
                <a:gd name="connsiteY765" fmla="*/ 1519237 h 1940242"/>
                <a:gd name="connsiteX766" fmla="*/ 2106930 w 2370773"/>
                <a:gd name="connsiteY766" fmla="*/ 1524952 h 1940242"/>
                <a:gd name="connsiteX767" fmla="*/ 2101215 w 2370773"/>
                <a:gd name="connsiteY767" fmla="*/ 1530667 h 1940242"/>
                <a:gd name="connsiteX768" fmla="*/ 2095500 w 2370773"/>
                <a:gd name="connsiteY768" fmla="*/ 1524952 h 1940242"/>
                <a:gd name="connsiteX769" fmla="*/ 2101215 w 2370773"/>
                <a:gd name="connsiteY769" fmla="*/ 1519237 h 1940242"/>
                <a:gd name="connsiteX770" fmla="*/ 1128712 w 2370773"/>
                <a:gd name="connsiteY770" fmla="*/ 1516379 h 1940242"/>
                <a:gd name="connsiteX771" fmla="*/ 1145857 w 2370773"/>
                <a:gd name="connsiteY771" fmla="*/ 1533524 h 1940242"/>
                <a:gd name="connsiteX772" fmla="*/ 1128712 w 2370773"/>
                <a:gd name="connsiteY772" fmla="*/ 1550669 h 1940242"/>
                <a:gd name="connsiteX773" fmla="*/ 1111567 w 2370773"/>
                <a:gd name="connsiteY773" fmla="*/ 1533524 h 1940242"/>
                <a:gd name="connsiteX774" fmla="*/ 1128712 w 2370773"/>
                <a:gd name="connsiteY774" fmla="*/ 1516379 h 1940242"/>
                <a:gd name="connsiteX775" fmla="*/ 892492 w 2370773"/>
                <a:gd name="connsiteY775" fmla="*/ 1515427 h 1940242"/>
                <a:gd name="connsiteX776" fmla="*/ 910590 w 2370773"/>
                <a:gd name="connsiteY776" fmla="*/ 1533524 h 1940242"/>
                <a:gd name="connsiteX777" fmla="*/ 892492 w 2370773"/>
                <a:gd name="connsiteY777" fmla="*/ 1551622 h 1940242"/>
                <a:gd name="connsiteX778" fmla="*/ 874395 w 2370773"/>
                <a:gd name="connsiteY778" fmla="*/ 1533524 h 1940242"/>
                <a:gd name="connsiteX779" fmla="*/ 892492 w 2370773"/>
                <a:gd name="connsiteY779" fmla="*/ 1515427 h 1940242"/>
                <a:gd name="connsiteX780" fmla="*/ 1529715 w 2370773"/>
                <a:gd name="connsiteY780" fmla="*/ 1509712 h 1940242"/>
                <a:gd name="connsiteX781" fmla="*/ 1543050 w 2370773"/>
                <a:gd name="connsiteY781" fmla="*/ 1523047 h 1940242"/>
                <a:gd name="connsiteX782" fmla="*/ 1529715 w 2370773"/>
                <a:gd name="connsiteY782" fmla="*/ 1536382 h 1940242"/>
                <a:gd name="connsiteX783" fmla="*/ 1516380 w 2370773"/>
                <a:gd name="connsiteY783" fmla="*/ 1523047 h 1940242"/>
                <a:gd name="connsiteX784" fmla="*/ 1529715 w 2370773"/>
                <a:gd name="connsiteY784" fmla="*/ 1509712 h 1940242"/>
                <a:gd name="connsiteX785" fmla="*/ 1071563 w 2370773"/>
                <a:gd name="connsiteY785" fmla="*/ 1507807 h 1940242"/>
                <a:gd name="connsiteX786" fmla="*/ 1086803 w 2370773"/>
                <a:gd name="connsiteY786" fmla="*/ 1523047 h 1940242"/>
                <a:gd name="connsiteX787" fmla="*/ 1071563 w 2370773"/>
                <a:gd name="connsiteY787" fmla="*/ 1538287 h 1940242"/>
                <a:gd name="connsiteX788" fmla="*/ 1056323 w 2370773"/>
                <a:gd name="connsiteY788" fmla="*/ 1523047 h 1940242"/>
                <a:gd name="connsiteX789" fmla="*/ 1071563 w 2370773"/>
                <a:gd name="connsiteY789" fmla="*/ 1507807 h 1940242"/>
                <a:gd name="connsiteX790" fmla="*/ 1878330 w 2370773"/>
                <a:gd name="connsiteY790" fmla="*/ 1504950 h 1940242"/>
                <a:gd name="connsiteX791" fmla="*/ 1895475 w 2370773"/>
                <a:gd name="connsiteY791" fmla="*/ 1522095 h 1940242"/>
                <a:gd name="connsiteX792" fmla="*/ 1878330 w 2370773"/>
                <a:gd name="connsiteY792" fmla="*/ 1539240 h 1940242"/>
                <a:gd name="connsiteX793" fmla="*/ 1861185 w 2370773"/>
                <a:gd name="connsiteY793" fmla="*/ 1522095 h 1940242"/>
                <a:gd name="connsiteX794" fmla="*/ 1878330 w 2370773"/>
                <a:gd name="connsiteY794" fmla="*/ 1504950 h 1940242"/>
                <a:gd name="connsiteX795" fmla="*/ 1735455 w 2370773"/>
                <a:gd name="connsiteY795" fmla="*/ 1504950 h 1940242"/>
                <a:gd name="connsiteX796" fmla="*/ 1752600 w 2370773"/>
                <a:gd name="connsiteY796" fmla="*/ 1522095 h 1940242"/>
                <a:gd name="connsiteX797" fmla="*/ 1735455 w 2370773"/>
                <a:gd name="connsiteY797" fmla="*/ 1539240 h 1940242"/>
                <a:gd name="connsiteX798" fmla="*/ 1718310 w 2370773"/>
                <a:gd name="connsiteY798" fmla="*/ 1522095 h 1940242"/>
                <a:gd name="connsiteX799" fmla="*/ 1735455 w 2370773"/>
                <a:gd name="connsiteY799" fmla="*/ 1504950 h 1940242"/>
                <a:gd name="connsiteX800" fmla="*/ 608647 w 2370773"/>
                <a:gd name="connsiteY800" fmla="*/ 1504950 h 1940242"/>
                <a:gd name="connsiteX801" fmla="*/ 629602 w 2370773"/>
                <a:gd name="connsiteY801" fmla="*/ 1525905 h 1940242"/>
                <a:gd name="connsiteX802" fmla="*/ 608647 w 2370773"/>
                <a:gd name="connsiteY802" fmla="*/ 1546860 h 1940242"/>
                <a:gd name="connsiteX803" fmla="*/ 587692 w 2370773"/>
                <a:gd name="connsiteY803" fmla="*/ 1525905 h 1940242"/>
                <a:gd name="connsiteX804" fmla="*/ 608647 w 2370773"/>
                <a:gd name="connsiteY804" fmla="*/ 1504950 h 1940242"/>
                <a:gd name="connsiteX805" fmla="*/ 499110 w 2370773"/>
                <a:gd name="connsiteY805" fmla="*/ 1504950 h 1940242"/>
                <a:gd name="connsiteX806" fmla="*/ 520065 w 2370773"/>
                <a:gd name="connsiteY806" fmla="*/ 1525905 h 1940242"/>
                <a:gd name="connsiteX807" fmla="*/ 499110 w 2370773"/>
                <a:gd name="connsiteY807" fmla="*/ 1546860 h 1940242"/>
                <a:gd name="connsiteX808" fmla="*/ 478155 w 2370773"/>
                <a:gd name="connsiteY808" fmla="*/ 1525905 h 1940242"/>
                <a:gd name="connsiteX809" fmla="*/ 499110 w 2370773"/>
                <a:gd name="connsiteY809" fmla="*/ 1504950 h 1940242"/>
                <a:gd name="connsiteX810" fmla="*/ 291465 w 2370773"/>
                <a:gd name="connsiteY810" fmla="*/ 1504950 h 1940242"/>
                <a:gd name="connsiteX811" fmla="*/ 296228 w 2370773"/>
                <a:gd name="connsiteY811" fmla="*/ 1509713 h 1940242"/>
                <a:gd name="connsiteX812" fmla="*/ 291465 w 2370773"/>
                <a:gd name="connsiteY812" fmla="*/ 1514475 h 1940242"/>
                <a:gd name="connsiteX813" fmla="*/ 286703 w 2370773"/>
                <a:gd name="connsiteY813" fmla="*/ 1509713 h 1940242"/>
                <a:gd name="connsiteX814" fmla="*/ 291465 w 2370773"/>
                <a:gd name="connsiteY814" fmla="*/ 1504950 h 1940242"/>
                <a:gd name="connsiteX815" fmla="*/ 721995 w 2370773"/>
                <a:gd name="connsiteY815" fmla="*/ 1501140 h 1940242"/>
                <a:gd name="connsiteX816" fmla="*/ 742950 w 2370773"/>
                <a:gd name="connsiteY816" fmla="*/ 1522095 h 1940242"/>
                <a:gd name="connsiteX817" fmla="*/ 721995 w 2370773"/>
                <a:gd name="connsiteY817" fmla="*/ 1543050 h 1940242"/>
                <a:gd name="connsiteX818" fmla="*/ 701040 w 2370773"/>
                <a:gd name="connsiteY818" fmla="*/ 1522095 h 1940242"/>
                <a:gd name="connsiteX819" fmla="*/ 721995 w 2370773"/>
                <a:gd name="connsiteY819" fmla="*/ 1501140 h 1940242"/>
                <a:gd name="connsiteX820" fmla="*/ 393382 w 2370773"/>
                <a:gd name="connsiteY820" fmla="*/ 1498282 h 1940242"/>
                <a:gd name="connsiteX821" fmla="*/ 414337 w 2370773"/>
                <a:gd name="connsiteY821" fmla="*/ 1519237 h 1940242"/>
                <a:gd name="connsiteX822" fmla="*/ 393382 w 2370773"/>
                <a:gd name="connsiteY822" fmla="*/ 1540192 h 1940242"/>
                <a:gd name="connsiteX823" fmla="*/ 372427 w 2370773"/>
                <a:gd name="connsiteY823" fmla="*/ 1519237 h 1940242"/>
                <a:gd name="connsiteX824" fmla="*/ 393382 w 2370773"/>
                <a:gd name="connsiteY824" fmla="*/ 1498282 h 1940242"/>
                <a:gd name="connsiteX825" fmla="*/ 2015491 w 2370773"/>
                <a:gd name="connsiteY825" fmla="*/ 1495425 h 1940242"/>
                <a:gd name="connsiteX826" fmla="*/ 2029778 w 2370773"/>
                <a:gd name="connsiteY826" fmla="*/ 1509713 h 1940242"/>
                <a:gd name="connsiteX827" fmla="*/ 2015491 w 2370773"/>
                <a:gd name="connsiteY827" fmla="*/ 1524000 h 1940242"/>
                <a:gd name="connsiteX828" fmla="*/ 2001203 w 2370773"/>
                <a:gd name="connsiteY828" fmla="*/ 1509713 h 1940242"/>
                <a:gd name="connsiteX829" fmla="*/ 2015491 w 2370773"/>
                <a:gd name="connsiteY829" fmla="*/ 1495425 h 1940242"/>
                <a:gd name="connsiteX830" fmla="*/ 1584960 w 2370773"/>
                <a:gd name="connsiteY830" fmla="*/ 1495425 h 1940242"/>
                <a:gd name="connsiteX831" fmla="*/ 1597343 w 2370773"/>
                <a:gd name="connsiteY831" fmla="*/ 1507808 h 1940242"/>
                <a:gd name="connsiteX832" fmla="*/ 1584960 w 2370773"/>
                <a:gd name="connsiteY832" fmla="*/ 1520190 h 1940242"/>
                <a:gd name="connsiteX833" fmla="*/ 1572578 w 2370773"/>
                <a:gd name="connsiteY833" fmla="*/ 1507808 h 1940242"/>
                <a:gd name="connsiteX834" fmla="*/ 1584960 w 2370773"/>
                <a:gd name="connsiteY834" fmla="*/ 1495425 h 1940242"/>
                <a:gd name="connsiteX835" fmla="*/ 840105 w 2370773"/>
                <a:gd name="connsiteY835" fmla="*/ 1492567 h 1940242"/>
                <a:gd name="connsiteX836" fmla="*/ 858203 w 2370773"/>
                <a:gd name="connsiteY836" fmla="*/ 1510665 h 1940242"/>
                <a:gd name="connsiteX837" fmla="*/ 840105 w 2370773"/>
                <a:gd name="connsiteY837" fmla="*/ 1528762 h 1940242"/>
                <a:gd name="connsiteX838" fmla="*/ 822008 w 2370773"/>
                <a:gd name="connsiteY838" fmla="*/ 1510665 h 1940242"/>
                <a:gd name="connsiteX839" fmla="*/ 840105 w 2370773"/>
                <a:gd name="connsiteY839" fmla="*/ 1492567 h 1940242"/>
                <a:gd name="connsiteX840" fmla="*/ 1016317 w 2370773"/>
                <a:gd name="connsiteY840" fmla="*/ 1491615 h 1940242"/>
                <a:gd name="connsiteX841" fmla="*/ 1032510 w 2370773"/>
                <a:gd name="connsiteY841" fmla="*/ 1507807 h 1940242"/>
                <a:gd name="connsiteX842" fmla="*/ 1016317 w 2370773"/>
                <a:gd name="connsiteY842" fmla="*/ 1524000 h 1940242"/>
                <a:gd name="connsiteX843" fmla="*/ 1000125 w 2370773"/>
                <a:gd name="connsiteY843" fmla="*/ 1507807 h 1940242"/>
                <a:gd name="connsiteX844" fmla="*/ 1016317 w 2370773"/>
                <a:gd name="connsiteY844" fmla="*/ 1491615 h 1940242"/>
                <a:gd name="connsiteX845" fmla="*/ 2145982 w 2370773"/>
                <a:gd name="connsiteY845" fmla="*/ 1483995 h 1940242"/>
                <a:gd name="connsiteX846" fmla="*/ 2149792 w 2370773"/>
                <a:gd name="connsiteY846" fmla="*/ 1487805 h 1940242"/>
                <a:gd name="connsiteX847" fmla="*/ 2145982 w 2370773"/>
                <a:gd name="connsiteY847" fmla="*/ 1491615 h 1940242"/>
                <a:gd name="connsiteX848" fmla="*/ 2142172 w 2370773"/>
                <a:gd name="connsiteY848" fmla="*/ 1487805 h 1940242"/>
                <a:gd name="connsiteX849" fmla="*/ 2145982 w 2370773"/>
                <a:gd name="connsiteY849" fmla="*/ 1483995 h 1940242"/>
                <a:gd name="connsiteX850" fmla="*/ 1787842 w 2370773"/>
                <a:gd name="connsiteY850" fmla="*/ 1481137 h 1940242"/>
                <a:gd name="connsiteX851" fmla="*/ 1804987 w 2370773"/>
                <a:gd name="connsiteY851" fmla="*/ 1498282 h 1940242"/>
                <a:gd name="connsiteX852" fmla="*/ 1787842 w 2370773"/>
                <a:gd name="connsiteY852" fmla="*/ 1515427 h 1940242"/>
                <a:gd name="connsiteX853" fmla="*/ 1770697 w 2370773"/>
                <a:gd name="connsiteY853" fmla="*/ 1498282 h 1940242"/>
                <a:gd name="connsiteX854" fmla="*/ 1787842 w 2370773"/>
                <a:gd name="connsiteY854" fmla="*/ 1481137 h 1940242"/>
                <a:gd name="connsiteX855" fmla="*/ 1640205 w 2370773"/>
                <a:gd name="connsiteY855" fmla="*/ 1479232 h 1940242"/>
                <a:gd name="connsiteX856" fmla="*/ 1651635 w 2370773"/>
                <a:gd name="connsiteY856" fmla="*/ 1490662 h 1940242"/>
                <a:gd name="connsiteX857" fmla="*/ 1640205 w 2370773"/>
                <a:gd name="connsiteY857" fmla="*/ 1502092 h 1940242"/>
                <a:gd name="connsiteX858" fmla="*/ 1628775 w 2370773"/>
                <a:gd name="connsiteY858" fmla="*/ 1490662 h 1940242"/>
                <a:gd name="connsiteX859" fmla="*/ 1640205 w 2370773"/>
                <a:gd name="connsiteY859" fmla="*/ 1479232 h 1940242"/>
                <a:gd name="connsiteX860" fmla="*/ 1927860 w 2370773"/>
                <a:gd name="connsiteY860" fmla="*/ 1478279 h 1940242"/>
                <a:gd name="connsiteX861" fmla="*/ 1942147 w 2370773"/>
                <a:gd name="connsiteY861" fmla="*/ 1492567 h 1940242"/>
                <a:gd name="connsiteX862" fmla="*/ 1927860 w 2370773"/>
                <a:gd name="connsiteY862" fmla="*/ 1506854 h 1940242"/>
                <a:gd name="connsiteX863" fmla="*/ 1913572 w 2370773"/>
                <a:gd name="connsiteY863" fmla="*/ 1492567 h 1940242"/>
                <a:gd name="connsiteX864" fmla="*/ 1927860 w 2370773"/>
                <a:gd name="connsiteY864" fmla="*/ 1478279 h 1940242"/>
                <a:gd name="connsiteX865" fmla="*/ 961073 w 2370773"/>
                <a:gd name="connsiteY865" fmla="*/ 1476375 h 1940242"/>
                <a:gd name="connsiteX866" fmla="*/ 976313 w 2370773"/>
                <a:gd name="connsiteY866" fmla="*/ 1491615 h 1940242"/>
                <a:gd name="connsiteX867" fmla="*/ 961073 w 2370773"/>
                <a:gd name="connsiteY867" fmla="*/ 1506855 h 1940242"/>
                <a:gd name="connsiteX868" fmla="*/ 945833 w 2370773"/>
                <a:gd name="connsiteY868" fmla="*/ 1491615 h 1940242"/>
                <a:gd name="connsiteX869" fmla="*/ 961073 w 2370773"/>
                <a:gd name="connsiteY869" fmla="*/ 1476375 h 1940242"/>
                <a:gd name="connsiteX870" fmla="*/ 1315403 w 2370773"/>
                <a:gd name="connsiteY870" fmla="*/ 1475422 h 1940242"/>
                <a:gd name="connsiteX871" fmla="*/ 1323975 w 2370773"/>
                <a:gd name="connsiteY871" fmla="*/ 1483995 h 1940242"/>
                <a:gd name="connsiteX872" fmla="*/ 1315403 w 2370773"/>
                <a:gd name="connsiteY872" fmla="*/ 1492567 h 1940242"/>
                <a:gd name="connsiteX873" fmla="*/ 1306830 w 2370773"/>
                <a:gd name="connsiteY873" fmla="*/ 1483995 h 1940242"/>
                <a:gd name="connsiteX874" fmla="*/ 1315403 w 2370773"/>
                <a:gd name="connsiteY874" fmla="*/ 1475422 h 1940242"/>
                <a:gd name="connsiteX875" fmla="*/ 1372553 w 2370773"/>
                <a:gd name="connsiteY875" fmla="*/ 1474470 h 1940242"/>
                <a:gd name="connsiteX876" fmla="*/ 1380173 w 2370773"/>
                <a:gd name="connsiteY876" fmla="*/ 1482090 h 1940242"/>
                <a:gd name="connsiteX877" fmla="*/ 1372553 w 2370773"/>
                <a:gd name="connsiteY877" fmla="*/ 1489710 h 1940242"/>
                <a:gd name="connsiteX878" fmla="*/ 1364933 w 2370773"/>
                <a:gd name="connsiteY878" fmla="*/ 1482090 h 1940242"/>
                <a:gd name="connsiteX879" fmla="*/ 1372553 w 2370773"/>
                <a:gd name="connsiteY879" fmla="*/ 1474470 h 1940242"/>
                <a:gd name="connsiteX880" fmla="*/ 1257300 w 2370773"/>
                <a:gd name="connsiteY880" fmla="*/ 1473517 h 1940242"/>
                <a:gd name="connsiteX881" fmla="*/ 1267777 w 2370773"/>
                <a:gd name="connsiteY881" fmla="*/ 1483995 h 1940242"/>
                <a:gd name="connsiteX882" fmla="*/ 1257300 w 2370773"/>
                <a:gd name="connsiteY882" fmla="*/ 1494472 h 1940242"/>
                <a:gd name="connsiteX883" fmla="*/ 1246822 w 2370773"/>
                <a:gd name="connsiteY883" fmla="*/ 1483995 h 1940242"/>
                <a:gd name="connsiteX884" fmla="*/ 1257300 w 2370773"/>
                <a:gd name="connsiteY884" fmla="*/ 1473517 h 1940242"/>
                <a:gd name="connsiteX885" fmla="*/ 673418 w 2370773"/>
                <a:gd name="connsiteY885" fmla="*/ 1471612 h 1940242"/>
                <a:gd name="connsiteX886" fmla="*/ 694373 w 2370773"/>
                <a:gd name="connsiteY886" fmla="*/ 1492567 h 1940242"/>
                <a:gd name="connsiteX887" fmla="*/ 673418 w 2370773"/>
                <a:gd name="connsiteY887" fmla="*/ 1513522 h 1940242"/>
                <a:gd name="connsiteX888" fmla="*/ 652463 w 2370773"/>
                <a:gd name="connsiteY888" fmla="*/ 1492567 h 1940242"/>
                <a:gd name="connsiteX889" fmla="*/ 673418 w 2370773"/>
                <a:gd name="connsiteY889" fmla="*/ 1471612 h 1940242"/>
                <a:gd name="connsiteX890" fmla="*/ 561975 w 2370773"/>
                <a:gd name="connsiteY890" fmla="*/ 1471612 h 1940242"/>
                <a:gd name="connsiteX891" fmla="*/ 582930 w 2370773"/>
                <a:gd name="connsiteY891" fmla="*/ 1492567 h 1940242"/>
                <a:gd name="connsiteX892" fmla="*/ 561975 w 2370773"/>
                <a:gd name="connsiteY892" fmla="*/ 1513522 h 1940242"/>
                <a:gd name="connsiteX893" fmla="*/ 541020 w 2370773"/>
                <a:gd name="connsiteY893" fmla="*/ 1492567 h 1940242"/>
                <a:gd name="connsiteX894" fmla="*/ 561975 w 2370773"/>
                <a:gd name="connsiteY894" fmla="*/ 1471612 h 1940242"/>
                <a:gd name="connsiteX895" fmla="*/ 1429703 w 2370773"/>
                <a:gd name="connsiteY895" fmla="*/ 1469707 h 1940242"/>
                <a:gd name="connsiteX896" fmla="*/ 1436370 w 2370773"/>
                <a:gd name="connsiteY896" fmla="*/ 1476374 h 1940242"/>
                <a:gd name="connsiteX897" fmla="*/ 1429703 w 2370773"/>
                <a:gd name="connsiteY897" fmla="*/ 1483042 h 1940242"/>
                <a:gd name="connsiteX898" fmla="*/ 1423035 w 2370773"/>
                <a:gd name="connsiteY898" fmla="*/ 1476374 h 1940242"/>
                <a:gd name="connsiteX899" fmla="*/ 1429703 w 2370773"/>
                <a:gd name="connsiteY899" fmla="*/ 1469707 h 1940242"/>
                <a:gd name="connsiteX900" fmla="*/ 1200150 w 2370773"/>
                <a:gd name="connsiteY900" fmla="*/ 1468754 h 1940242"/>
                <a:gd name="connsiteX901" fmla="*/ 1210627 w 2370773"/>
                <a:gd name="connsiteY901" fmla="*/ 1479232 h 1940242"/>
                <a:gd name="connsiteX902" fmla="*/ 1200150 w 2370773"/>
                <a:gd name="connsiteY902" fmla="*/ 1489709 h 1940242"/>
                <a:gd name="connsiteX903" fmla="*/ 1189672 w 2370773"/>
                <a:gd name="connsiteY903" fmla="*/ 1479232 h 1940242"/>
                <a:gd name="connsiteX904" fmla="*/ 1200150 w 2370773"/>
                <a:gd name="connsiteY904" fmla="*/ 1468754 h 1940242"/>
                <a:gd name="connsiteX905" fmla="*/ 455295 w 2370773"/>
                <a:gd name="connsiteY905" fmla="*/ 1467802 h 1940242"/>
                <a:gd name="connsiteX906" fmla="*/ 476250 w 2370773"/>
                <a:gd name="connsiteY906" fmla="*/ 1488757 h 1940242"/>
                <a:gd name="connsiteX907" fmla="*/ 455295 w 2370773"/>
                <a:gd name="connsiteY907" fmla="*/ 1509712 h 1940242"/>
                <a:gd name="connsiteX908" fmla="*/ 434340 w 2370773"/>
                <a:gd name="connsiteY908" fmla="*/ 1488757 h 1940242"/>
                <a:gd name="connsiteX909" fmla="*/ 455295 w 2370773"/>
                <a:gd name="connsiteY909" fmla="*/ 1467802 h 1940242"/>
                <a:gd name="connsiteX910" fmla="*/ 787717 w 2370773"/>
                <a:gd name="connsiteY910" fmla="*/ 1466850 h 1940242"/>
                <a:gd name="connsiteX911" fmla="*/ 805815 w 2370773"/>
                <a:gd name="connsiteY911" fmla="*/ 1484947 h 1940242"/>
                <a:gd name="connsiteX912" fmla="*/ 787717 w 2370773"/>
                <a:gd name="connsiteY912" fmla="*/ 1503045 h 1940242"/>
                <a:gd name="connsiteX913" fmla="*/ 769620 w 2370773"/>
                <a:gd name="connsiteY913" fmla="*/ 1484947 h 1940242"/>
                <a:gd name="connsiteX914" fmla="*/ 787717 w 2370773"/>
                <a:gd name="connsiteY914" fmla="*/ 1466850 h 1940242"/>
                <a:gd name="connsiteX915" fmla="*/ 251460 w 2370773"/>
                <a:gd name="connsiteY915" fmla="*/ 1465897 h 1940242"/>
                <a:gd name="connsiteX916" fmla="*/ 253365 w 2370773"/>
                <a:gd name="connsiteY916" fmla="*/ 1467802 h 1940242"/>
                <a:gd name="connsiteX917" fmla="*/ 251460 w 2370773"/>
                <a:gd name="connsiteY917" fmla="*/ 1469707 h 1940242"/>
                <a:gd name="connsiteX918" fmla="*/ 249555 w 2370773"/>
                <a:gd name="connsiteY918" fmla="*/ 1467802 h 1940242"/>
                <a:gd name="connsiteX919" fmla="*/ 251460 w 2370773"/>
                <a:gd name="connsiteY919" fmla="*/ 1465897 h 1940242"/>
                <a:gd name="connsiteX920" fmla="*/ 2061210 w 2370773"/>
                <a:gd name="connsiteY920" fmla="*/ 1463992 h 1940242"/>
                <a:gd name="connsiteX921" fmla="*/ 2071688 w 2370773"/>
                <a:gd name="connsiteY921" fmla="*/ 1474470 h 1940242"/>
                <a:gd name="connsiteX922" fmla="*/ 2061210 w 2370773"/>
                <a:gd name="connsiteY922" fmla="*/ 1484947 h 1940242"/>
                <a:gd name="connsiteX923" fmla="*/ 2050733 w 2370773"/>
                <a:gd name="connsiteY923" fmla="*/ 1474470 h 1940242"/>
                <a:gd name="connsiteX924" fmla="*/ 2061210 w 2370773"/>
                <a:gd name="connsiteY924" fmla="*/ 1463992 h 1940242"/>
                <a:gd name="connsiteX925" fmla="*/ 1693546 w 2370773"/>
                <a:gd name="connsiteY925" fmla="*/ 1458277 h 1940242"/>
                <a:gd name="connsiteX926" fmla="*/ 1705928 w 2370773"/>
                <a:gd name="connsiteY926" fmla="*/ 1470659 h 1940242"/>
                <a:gd name="connsiteX927" fmla="*/ 1693546 w 2370773"/>
                <a:gd name="connsiteY927" fmla="*/ 1483042 h 1940242"/>
                <a:gd name="connsiteX928" fmla="*/ 1681163 w 2370773"/>
                <a:gd name="connsiteY928" fmla="*/ 1470659 h 1940242"/>
                <a:gd name="connsiteX929" fmla="*/ 1693546 w 2370773"/>
                <a:gd name="connsiteY929" fmla="*/ 1458277 h 1940242"/>
                <a:gd name="connsiteX930" fmla="*/ 1486853 w 2370773"/>
                <a:gd name="connsiteY930" fmla="*/ 1458277 h 1940242"/>
                <a:gd name="connsiteX931" fmla="*/ 1494473 w 2370773"/>
                <a:gd name="connsiteY931" fmla="*/ 1465897 h 1940242"/>
                <a:gd name="connsiteX932" fmla="*/ 1486853 w 2370773"/>
                <a:gd name="connsiteY932" fmla="*/ 1473517 h 1940242"/>
                <a:gd name="connsiteX933" fmla="*/ 1479233 w 2370773"/>
                <a:gd name="connsiteY933" fmla="*/ 1465897 h 1940242"/>
                <a:gd name="connsiteX934" fmla="*/ 1486853 w 2370773"/>
                <a:gd name="connsiteY934" fmla="*/ 1458277 h 1940242"/>
                <a:gd name="connsiteX935" fmla="*/ 1143000 w 2370773"/>
                <a:gd name="connsiteY935" fmla="*/ 1458277 h 1940242"/>
                <a:gd name="connsiteX936" fmla="*/ 1155382 w 2370773"/>
                <a:gd name="connsiteY936" fmla="*/ 1470659 h 1940242"/>
                <a:gd name="connsiteX937" fmla="*/ 1143000 w 2370773"/>
                <a:gd name="connsiteY937" fmla="*/ 1483042 h 1940242"/>
                <a:gd name="connsiteX938" fmla="*/ 1130617 w 2370773"/>
                <a:gd name="connsiteY938" fmla="*/ 1470659 h 1940242"/>
                <a:gd name="connsiteX939" fmla="*/ 1143000 w 2370773"/>
                <a:gd name="connsiteY939" fmla="*/ 1458277 h 1940242"/>
                <a:gd name="connsiteX940" fmla="*/ 351473 w 2370773"/>
                <a:gd name="connsiteY940" fmla="*/ 1457325 h 1940242"/>
                <a:gd name="connsiteX941" fmla="*/ 373380 w 2370773"/>
                <a:gd name="connsiteY941" fmla="*/ 1479233 h 1940242"/>
                <a:gd name="connsiteX942" fmla="*/ 351473 w 2370773"/>
                <a:gd name="connsiteY942" fmla="*/ 1501140 h 1940242"/>
                <a:gd name="connsiteX943" fmla="*/ 329565 w 2370773"/>
                <a:gd name="connsiteY943" fmla="*/ 1479233 h 1940242"/>
                <a:gd name="connsiteX944" fmla="*/ 351473 w 2370773"/>
                <a:gd name="connsiteY944" fmla="*/ 1457325 h 1940242"/>
                <a:gd name="connsiteX945" fmla="*/ 906780 w 2370773"/>
                <a:gd name="connsiteY945" fmla="*/ 1455420 h 1940242"/>
                <a:gd name="connsiteX946" fmla="*/ 922020 w 2370773"/>
                <a:gd name="connsiteY946" fmla="*/ 1470660 h 1940242"/>
                <a:gd name="connsiteX947" fmla="*/ 906780 w 2370773"/>
                <a:gd name="connsiteY947" fmla="*/ 1485900 h 1940242"/>
                <a:gd name="connsiteX948" fmla="*/ 891540 w 2370773"/>
                <a:gd name="connsiteY948" fmla="*/ 1470660 h 1940242"/>
                <a:gd name="connsiteX949" fmla="*/ 906780 w 2370773"/>
                <a:gd name="connsiteY949" fmla="*/ 1455420 h 1940242"/>
                <a:gd name="connsiteX950" fmla="*/ 1838325 w 2370773"/>
                <a:gd name="connsiteY950" fmla="*/ 1454467 h 1940242"/>
                <a:gd name="connsiteX951" fmla="*/ 1854518 w 2370773"/>
                <a:gd name="connsiteY951" fmla="*/ 1470659 h 1940242"/>
                <a:gd name="connsiteX952" fmla="*/ 1838325 w 2370773"/>
                <a:gd name="connsiteY952" fmla="*/ 1486852 h 1940242"/>
                <a:gd name="connsiteX953" fmla="*/ 1822133 w 2370773"/>
                <a:gd name="connsiteY953" fmla="*/ 1470659 h 1940242"/>
                <a:gd name="connsiteX954" fmla="*/ 1838325 w 2370773"/>
                <a:gd name="connsiteY954" fmla="*/ 1454467 h 1940242"/>
                <a:gd name="connsiteX955" fmla="*/ 1085850 w 2370773"/>
                <a:gd name="connsiteY955" fmla="*/ 1446847 h 1940242"/>
                <a:gd name="connsiteX956" fmla="*/ 1099185 w 2370773"/>
                <a:gd name="connsiteY956" fmla="*/ 1460182 h 1940242"/>
                <a:gd name="connsiteX957" fmla="*/ 1085850 w 2370773"/>
                <a:gd name="connsiteY957" fmla="*/ 1473517 h 1940242"/>
                <a:gd name="connsiteX958" fmla="*/ 1072515 w 2370773"/>
                <a:gd name="connsiteY958" fmla="*/ 1460182 h 1940242"/>
                <a:gd name="connsiteX959" fmla="*/ 1085850 w 2370773"/>
                <a:gd name="connsiteY959" fmla="*/ 1446847 h 1940242"/>
                <a:gd name="connsiteX960" fmla="*/ 1975485 w 2370773"/>
                <a:gd name="connsiteY960" fmla="*/ 1443037 h 1940242"/>
                <a:gd name="connsiteX961" fmla="*/ 1992630 w 2370773"/>
                <a:gd name="connsiteY961" fmla="*/ 1460182 h 1940242"/>
                <a:gd name="connsiteX962" fmla="*/ 1975485 w 2370773"/>
                <a:gd name="connsiteY962" fmla="*/ 1477327 h 1940242"/>
                <a:gd name="connsiteX963" fmla="*/ 1958340 w 2370773"/>
                <a:gd name="connsiteY963" fmla="*/ 1460182 h 1940242"/>
                <a:gd name="connsiteX964" fmla="*/ 1975485 w 2370773"/>
                <a:gd name="connsiteY964" fmla="*/ 1443037 h 1940242"/>
                <a:gd name="connsiteX965" fmla="*/ 1543050 w 2370773"/>
                <a:gd name="connsiteY965" fmla="*/ 1443037 h 1940242"/>
                <a:gd name="connsiteX966" fmla="*/ 1552575 w 2370773"/>
                <a:gd name="connsiteY966" fmla="*/ 1452562 h 1940242"/>
                <a:gd name="connsiteX967" fmla="*/ 1543050 w 2370773"/>
                <a:gd name="connsiteY967" fmla="*/ 1462087 h 1940242"/>
                <a:gd name="connsiteX968" fmla="*/ 1533525 w 2370773"/>
                <a:gd name="connsiteY968" fmla="*/ 1452562 h 1940242"/>
                <a:gd name="connsiteX969" fmla="*/ 1543050 w 2370773"/>
                <a:gd name="connsiteY969" fmla="*/ 1443037 h 1940242"/>
                <a:gd name="connsiteX970" fmla="*/ 625792 w 2370773"/>
                <a:gd name="connsiteY970" fmla="*/ 1439227 h 1940242"/>
                <a:gd name="connsiteX971" fmla="*/ 645795 w 2370773"/>
                <a:gd name="connsiteY971" fmla="*/ 1459229 h 1940242"/>
                <a:gd name="connsiteX972" fmla="*/ 625792 w 2370773"/>
                <a:gd name="connsiteY972" fmla="*/ 1479232 h 1940242"/>
                <a:gd name="connsiteX973" fmla="*/ 605790 w 2370773"/>
                <a:gd name="connsiteY973" fmla="*/ 1459229 h 1940242"/>
                <a:gd name="connsiteX974" fmla="*/ 625792 w 2370773"/>
                <a:gd name="connsiteY974" fmla="*/ 1439227 h 1940242"/>
                <a:gd name="connsiteX975" fmla="*/ 517207 w 2370773"/>
                <a:gd name="connsiteY975" fmla="*/ 1437322 h 1940242"/>
                <a:gd name="connsiteX976" fmla="*/ 537210 w 2370773"/>
                <a:gd name="connsiteY976" fmla="*/ 1457325 h 1940242"/>
                <a:gd name="connsiteX977" fmla="*/ 517207 w 2370773"/>
                <a:gd name="connsiteY977" fmla="*/ 1477327 h 1940242"/>
                <a:gd name="connsiteX978" fmla="*/ 497205 w 2370773"/>
                <a:gd name="connsiteY978" fmla="*/ 1457325 h 1940242"/>
                <a:gd name="connsiteX979" fmla="*/ 517207 w 2370773"/>
                <a:gd name="connsiteY979" fmla="*/ 1437322 h 1940242"/>
                <a:gd name="connsiteX980" fmla="*/ 738188 w 2370773"/>
                <a:gd name="connsiteY980" fmla="*/ 1435417 h 1940242"/>
                <a:gd name="connsiteX981" fmla="*/ 759143 w 2370773"/>
                <a:gd name="connsiteY981" fmla="*/ 1456372 h 1940242"/>
                <a:gd name="connsiteX982" fmla="*/ 738188 w 2370773"/>
                <a:gd name="connsiteY982" fmla="*/ 1477327 h 1940242"/>
                <a:gd name="connsiteX983" fmla="*/ 717233 w 2370773"/>
                <a:gd name="connsiteY983" fmla="*/ 1456372 h 1940242"/>
                <a:gd name="connsiteX984" fmla="*/ 738188 w 2370773"/>
                <a:gd name="connsiteY984" fmla="*/ 1435417 h 1940242"/>
                <a:gd name="connsiteX985" fmla="*/ 1030605 w 2370773"/>
                <a:gd name="connsiteY985" fmla="*/ 1432559 h 1940242"/>
                <a:gd name="connsiteX986" fmla="*/ 1043940 w 2370773"/>
                <a:gd name="connsiteY986" fmla="*/ 1445894 h 1940242"/>
                <a:gd name="connsiteX987" fmla="*/ 1030605 w 2370773"/>
                <a:gd name="connsiteY987" fmla="*/ 1459229 h 1940242"/>
                <a:gd name="connsiteX988" fmla="*/ 1017270 w 2370773"/>
                <a:gd name="connsiteY988" fmla="*/ 1445894 h 1940242"/>
                <a:gd name="connsiteX989" fmla="*/ 1030605 w 2370773"/>
                <a:gd name="connsiteY989" fmla="*/ 1432559 h 1940242"/>
                <a:gd name="connsiteX990" fmla="*/ 1746885 w 2370773"/>
                <a:gd name="connsiteY990" fmla="*/ 1431607 h 1940242"/>
                <a:gd name="connsiteX991" fmla="*/ 1762125 w 2370773"/>
                <a:gd name="connsiteY991" fmla="*/ 1446847 h 1940242"/>
                <a:gd name="connsiteX992" fmla="*/ 1746885 w 2370773"/>
                <a:gd name="connsiteY992" fmla="*/ 1462087 h 1940242"/>
                <a:gd name="connsiteX993" fmla="*/ 1731645 w 2370773"/>
                <a:gd name="connsiteY993" fmla="*/ 1446847 h 1940242"/>
                <a:gd name="connsiteX994" fmla="*/ 1746885 w 2370773"/>
                <a:gd name="connsiteY994" fmla="*/ 1431607 h 1940242"/>
                <a:gd name="connsiteX995" fmla="*/ 854393 w 2370773"/>
                <a:gd name="connsiteY995" fmla="*/ 1428750 h 1940242"/>
                <a:gd name="connsiteX996" fmla="*/ 871538 w 2370773"/>
                <a:gd name="connsiteY996" fmla="*/ 1445895 h 1940242"/>
                <a:gd name="connsiteX997" fmla="*/ 854393 w 2370773"/>
                <a:gd name="connsiteY997" fmla="*/ 1463040 h 1940242"/>
                <a:gd name="connsiteX998" fmla="*/ 837248 w 2370773"/>
                <a:gd name="connsiteY998" fmla="*/ 1445895 h 1940242"/>
                <a:gd name="connsiteX999" fmla="*/ 854393 w 2370773"/>
                <a:gd name="connsiteY999" fmla="*/ 1428750 h 1940242"/>
                <a:gd name="connsiteX1000" fmla="*/ 1598295 w 2370773"/>
                <a:gd name="connsiteY1000" fmla="*/ 1427797 h 1940242"/>
                <a:gd name="connsiteX1001" fmla="*/ 1607820 w 2370773"/>
                <a:gd name="connsiteY1001" fmla="*/ 1437322 h 1940242"/>
                <a:gd name="connsiteX1002" fmla="*/ 1598295 w 2370773"/>
                <a:gd name="connsiteY1002" fmla="*/ 1446847 h 1940242"/>
                <a:gd name="connsiteX1003" fmla="*/ 1588770 w 2370773"/>
                <a:gd name="connsiteY1003" fmla="*/ 1437322 h 1940242"/>
                <a:gd name="connsiteX1004" fmla="*/ 1598295 w 2370773"/>
                <a:gd name="connsiteY1004" fmla="*/ 1427797 h 1940242"/>
                <a:gd name="connsiteX1005" fmla="*/ 412432 w 2370773"/>
                <a:gd name="connsiteY1005" fmla="*/ 1427797 h 1940242"/>
                <a:gd name="connsiteX1006" fmla="*/ 434340 w 2370773"/>
                <a:gd name="connsiteY1006" fmla="*/ 1449705 h 1940242"/>
                <a:gd name="connsiteX1007" fmla="*/ 412432 w 2370773"/>
                <a:gd name="connsiteY1007" fmla="*/ 1471612 h 1940242"/>
                <a:gd name="connsiteX1008" fmla="*/ 390525 w 2370773"/>
                <a:gd name="connsiteY1008" fmla="*/ 1449705 h 1940242"/>
                <a:gd name="connsiteX1009" fmla="*/ 412432 w 2370773"/>
                <a:gd name="connsiteY1009" fmla="*/ 1427797 h 1940242"/>
                <a:gd name="connsiteX1010" fmla="*/ 2105978 w 2370773"/>
                <a:gd name="connsiteY1010" fmla="*/ 1426845 h 1940242"/>
                <a:gd name="connsiteX1011" fmla="*/ 2116455 w 2370773"/>
                <a:gd name="connsiteY1011" fmla="*/ 1437322 h 1940242"/>
                <a:gd name="connsiteX1012" fmla="*/ 2105978 w 2370773"/>
                <a:gd name="connsiteY1012" fmla="*/ 1447800 h 1940242"/>
                <a:gd name="connsiteX1013" fmla="*/ 2095500 w 2370773"/>
                <a:gd name="connsiteY1013" fmla="*/ 1437322 h 1940242"/>
                <a:gd name="connsiteX1014" fmla="*/ 2105978 w 2370773"/>
                <a:gd name="connsiteY1014" fmla="*/ 1426845 h 1940242"/>
                <a:gd name="connsiteX1015" fmla="*/ 1887855 w 2370773"/>
                <a:gd name="connsiteY1015" fmla="*/ 1426845 h 1940242"/>
                <a:gd name="connsiteX1016" fmla="*/ 1903095 w 2370773"/>
                <a:gd name="connsiteY1016" fmla="*/ 1442085 h 1940242"/>
                <a:gd name="connsiteX1017" fmla="*/ 1887855 w 2370773"/>
                <a:gd name="connsiteY1017" fmla="*/ 1457325 h 1940242"/>
                <a:gd name="connsiteX1018" fmla="*/ 1872615 w 2370773"/>
                <a:gd name="connsiteY1018" fmla="*/ 1442085 h 1940242"/>
                <a:gd name="connsiteX1019" fmla="*/ 1887855 w 2370773"/>
                <a:gd name="connsiteY1019" fmla="*/ 1426845 h 1940242"/>
                <a:gd name="connsiteX1020" fmla="*/ 311468 w 2370773"/>
                <a:gd name="connsiteY1020" fmla="*/ 1421129 h 1940242"/>
                <a:gd name="connsiteX1021" fmla="*/ 328613 w 2370773"/>
                <a:gd name="connsiteY1021" fmla="*/ 1438274 h 1940242"/>
                <a:gd name="connsiteX1022" fmla="*/ 311468 w 2370773"/>
                <a:gd name="connsiteY1022" fmla="*/ 1455419 h 1940242"/>
                <a:gd name="connsiteX1023" fmla="*/ 294323 w 2370773"/>
                <a:gd name="connsiteY1023" fmla="*/ 1438274 h 1940242"/>
                <a:gd name="connsiteX1024" fmla="*/ 311468 w 2370773"/>
                <a:gd name="connsiteY1024" fmla="*/ 1421129 h 1940242"/>
                <a:gd name="connsiteX1025" fmla="*/ 213360 w 2370773"/>
                <a:gd name="connsiteY1025" fmla="*/ 1416367 h 1940242"/>
                <a:gd name="connsiteX1026" fmla="*/ 220980 w 2370773"/>
                <a:gd name="connsiteY1026" fmla="*/ 1423987 h 1940242"/>
                <a:gd name="connsiteX1027" fmla="*/ 213360 w 2370773"/>
                <a:gd name="connsiteY1027" fmla="*/ 1431607 h 1940242"/>
                <a:gd name="connsiteX1028" fmla="*/ 205740 w 2370773"/>
                <a:gd name="connsiteY1028" fmla="*/ 1423987 h 1940242"/>
                <a:gd name="connsiteX1029" fmla="*/ 213360 w 2370773"/>
                <a:gd name="connsiteY1029" fmla="*/ 1416367 h 1940242"/>
                <a:gd name="connsiteX1030" fmla="*/ 1329691 w 2370773"/>
                <a:gd name="connsiteY1030" fmla="*/ 1415415 h 1940242"/>
                <a:gd name="connsiteX1031" fmla="*/ 1334453 w 2370773"/>
                <a:gd name="connsiteY1031" fmla="*/ 1420178 h 1940242"/>
                <a:gd name="connsiteX1032" fmla="*/ 1329691 w 2370773"/>
                <a:gd name="connsiteY1032" fmla="*/ 1424940 h 1940242"/>
                <a:gd name="connsiteX1033" fmla="*/ 1324928 w 2370773"/>
                <a:gd name="connsiteY1033" fmla="*/ 1420178 h 1940242"/>
                <a:gd name="connsiteX1034" fmla="*/ 1329691 w 2370773"/>
                <a:gd name="connsiteY1034" fmla="*/ 1415415 h 1940242"/>
                <a:gd name="connsiteX1035" fmla="*/ 1271587 w 2370773"/>
                <a:gd name="connsiteY1035" fmla="*/ 1413509 h 1940242"/>
                <a:gd name="connsiteX1036" fmla="*/ 1278255 w 2370773"/>
                <a:gd name="connsiteY1036" fmla="*/ 1420177 h 1940242"/>
                <a:gd name="connsiteX1037" fmla="*/ 1271587 w 2370773"/>
                <a:gd name="connsiteY1037" fmla="*/ 1426844 h 1940242"/>
                <a:gd name="connsiteX1038" fmla="*/ 1264920 w 2370773"/>
                <a:gd name="connsiteY1038" fmla="*/ 1420177 h 1940242"/>
                <a:gd name="connsiteX1039" fmla="*/ 1271587 w 2370773"/>
                <a:gd name="connsiteY1039" fmla="*/ 1413509 h 1940242"/>
                <a:gd name="connsiteX1040" fmla="*/ 975360 w 2370773"/>
                <a:gd name="connsiteY1040" fmla="*/ 1412557 h 1940242"/>
                <a:gd name="connsiteX1041" fmla="*/ 990600 w 2370773"/>
                <a:gd name="connsiteY1041" fmla="*/ 1427797 h 1940242"/>
                <a:gd name="connsiteX1042" fmla="*/ 975360 w 2370773"/>
                <a:gd name="connsiteY1042" fmla="*/ 1443037 h 1940242"/>
                <a:gd name="connsiteX1043" fmla="*/ 960120 w 2370773"/>
                <a:gd name="connsiteY1043" fmla="*/ 1427797 h 1940242"/>
                <a:gd name="connsiteX1044" fmla="*/ 975360 w 2370773"/>
                <a:gd name="connsiteY1044" fmla="*/ 1412557 h 1940242"/>
                <a:gd name="connsiteX1045" fmla="*/ 2021205 w 2370773"/>
                <a:gd name="connsiteY1045" fmla="*/ 1411604 h 1940242"/>
                <a:gd name="connsiteX1046" fmla="*/ 2033587 w 2370773"/>
                <a:gd name="connsiteY1046" fmla="*/ 1423987 h 1940242"/>
                <a:gd name="connsiteX1047" fmla="*/ 2021205 w 2370773"/>
                <a:gd name="connsiteY1047" fmla="*/ 1436369 h 1940242"/>
                <a:gd name="connsiteX1048" fmla="*/ 2008822 w 2370773"/>
                <a:gd name="connsiteY1048" fmla="*/ 1423987 h 1940242"/>
                <a:gd name="connsiteX1049" fmla="*/ 2021205 w 2370773"/>
                <a:gd name="connsiteY1049" fmla="*/ 1411604 h 1940242"/>
                <a:gd name="connsiteX1050" fmla="*/ 1386840 w 2370773"/>
                <a:gd name="connsiteY1050" fmla="*/ 1409700 h 1940242"/>
                <a:gd name="connsiteX1051" fmla="*/ 1393507 w 2370773"/>
                <a:gd name="connsiteY1051" fmla="*/ 1416367 h 1940242"/>
                <a:gd name="connsiteX1052" fmla="*/ 1386840 w 2370773"/>
                <a:gd name="connsiteY1052" fmla="*/ 1423035 h 1940242"/>
                <a:gd name="connsiteX1053" fmla="*/ 1380172 w 2370773"/>
                <a:gd name="connsiteY1053" fmla="*/ 1416367 h 1940242"/>
                <a:gd name="connsiteX1054" fmla="*/ 1386840 w 2370773"/>
                <a:gd name="connsiteY1054" fmla="*/ 1409700 h 1940242"/>
                <a:gd name="connsiteX1055" fmla="*/ 1214437 w 2370773"/>
                <a:gd name="connsiteY1055" fmla="*/ 1408747 h 1940242"/>
                <a:gd name="connsiteX1056" fmla="*/ 1222057 w 2370773"/>
                <a:gd name="connsiteY1056" fmla="*/ 1416367 h 1940242"/>
                <a:gd name="connsiteX1057" fmla="*/ 1214437 w 2370773"/>
                <a:gd name="connsiteY1057" fmla="*/ 1423987 h 1940242"/>
                <a:gd name="connsiteX1058" fmla="*/ 1206817 w 2370773"/>
                <a:gd name="connsiteY1058" fmla="*/ 1416367 h 1940242"/>
                <a:gd name="connsiteX1059" fmla="*/ 1214437 w 2370773"/>
                <a:gd name="connsiteY1059" fmla="*/ 1408747 h 1940242"/>
                <a:gd name="connsiteX1060" fmla="*/ 1797368 w 2370773"/>
                <a:gd name="connsiteY1060" fmla="*/ 1407795 h 1940242"/>
                <a:gd name="connsiteX1061" fmla="*/ 1809750 w 2370773"/>
                <a:gd name="connsiteY1061" fmla="*/ 1420178 h 1940242"/>
                <a:gd name="connsiteX1062" fmla="*/ 1797368 w 2370773"/>
                <a:gd name="connsiteY1062" fmla="*/ 1432560 h 1940242"/>
                <a:gd name="connsiteX1063" fmla="*/ 1784985 w 2370773"/>
                <a:gd name="connsiteY1063" fmla="*/ 1420178 h 1940242"/>
                <a:gd name="connsiteX1064" fmla="*/ 1797368 w 2370773"/>
                <a:gd name="connsiteY1064" fmla="*/ 1407795 h 1940242"/>
                <a:gd name="connsiteX1065" fmla="*/ 1652588 w 2370773"/>
                <a:gd name="connsiteY1065" fmla="*/ 1407795 h 1940242"/>
                <a:gd name="connsiteX1066" fmla="*/ 1662113 w 2370773"/>
                <a:gd name="connsiteY1066" fmla="*/ 1417320 h 1940242"/>
                <a:gd name="connsiteX1067" fmla="*/ 1652588 w 2370773"/>
                <a:gd name="connsiteY1067" fmla="*/ 1426845 h 1940242"/>
                <a:gd name="connsiteX1068" fmla="*/ 1643063 w 2370773"/>
                <a:gd name="connsiteY1068" fmla="*/ 1417320 h 1940242"/>
                <a:gd name="connsiteX1069" fmla="*/ 1652588 w 2370773"/>
                <a:gd name="connsiteY1069" fmla="*/ 1407795 h 1940242"/>
                <a:gd name="connsiteX1070" fmla="*/ 689610 w 2370773"/>
                <a:gd name="connsiteY1070" fmla="*/ 1406842 h 1940242"/>
                <a:gd name="connsiteX1071" fmla="*/ 708660 w 2370773"/>
                <a:gd name="connsiteY1071" fmla="*/ 1425892 h 1940242"/>
                <a:gd name="connsiteX1072" fmla="*/ 689610 w 2370773"/>
                <a:gd name="connsiteY1072" fmla="*/ 1444942 h 1940242"/>
                <a:gd name="connsiteX1073" fmla="*/ 670560 w 2370773"/>
                <a:gd name="connsiteY1073" fmla="*/ 1425892 h 1940242"/>
                <a:gd name="connsiteX1074" fmla="*/ 689610 w 2370773"/>
                <a:gd name="connsiteY1074" fmla="*/ 1406842 h 1940242"/>
                <a:gd name="connsiteX1075" fmla="*/ 2228850 w 2370773"/>
                <a:gd name="connsiteY1075" fmla="*/ 1405890 h 1940242"/>
                <a:gd name="connsiteX1076" fmla="*/ 2230755 w 2370773"/>
                <a:gd name="connsiteY1076" fmla="*/ 1407795 h 1940242"/>
                <a:gd name="connsiteX1077" fmla="*/ 2228850 w 2370773"/>
                <a:gd name="connsiteY1077" fmla="*/ 1409700 h 1940242"/>
                <a:gd name="connsiteX1078" fmla="*/ 2226945 w 2370773"/>
                <a:gd name="connsiteY1078" fmla="*/ 1407795 h 1940242"/>
                <a:gd name="connsiteX1079" fmla="*/ 2228850 w 2370773"/>
                <a:gd name="connsiteY1079" fmla="*/ 1405890 h 1940242"/>
                <a:gd name="connsiteX1080" fmla="*/ 579120 w 2370773"/>
                <a:gd name="connsiteY1080" fmla="*/ 1405890 h 1940242"/>
                <a:gd name="connsiteX1081" fmla="*/ 598170 w 2370773"/>
                <a:gd name="connsiteY1081" fmla="*/ 1424940 h 1940242"/>
                <a:gd name="connsiteX1082" fmla="*/ 579120 w 2370773"/>
                <a:gd name="connsiteY1082" fmla="*/ 1443990 h 1940242"/>
                <a:gd name="connsiteX1083" fmla="*/ 560070 w 2370773"/>
                <a:gd name="connsiteY1083" fmla="*/ 1424940 h 1940242"/>
                <a:gd name="connsiteX1084" fmla="*/ 579120 w 2370773"/>
                <a:gd name="connsiteY1084" fmla="*/ 1405890 h 1940242"/>
                <a:gd name="connsiteX1085" fmla="*/ 1443990 w 2370773"/>
                <a:gd name="connsiteY1085" fmla="*/ 1403032 h 1940242"/>
                <a:gd name="connsiteX1086" fmla="*/ 1449705 w 2370773"/>
                <a:gd name="connsiteY1086" fmla="*/ 1408747 h 1940242"/>
                <a:gd name="connsiteX1087" fmla="*/ 1443990 w 2370773"/>
                <a:gd name="connsiteY1087" fmla="*/ 1414462 h 1940242"/>
                <a:gd name="connsiteX1088" fmla="*/ 1438275 w 2370773"/>
                <a:gd name="connsiteY1088" fmla="*/ 1408747 h 1940242"/>
                <a:gd name="connsiteX1089" fmla="*/ 1443990 w 2370773"/>
                <a:gd name="connsiteY1089" fmla="*/ 1403032 h 1940242"/>
                <a:gd name="connsiteX1090" fmla="*/ 802958 w 2370773"/>
                <a:gd name="connsiteY1090" fmla="*/ 1403032 h 1940242"/>
                <a:gd name="connsiteX1091" fmla="*/ 819151 w 2370773"/>
                <a:gd name="connsiteY1091" fmla="*/ 1420177 h 1940242"/>
                <a:gd name="connsiteX1092" fmla="*/ 802958 w 2370773"/>
                <a:gd name="connsiteY1092" fmla="*/ 1437322 h 1940242"/>
                <a:gd name="connsiteX1093" fmla="*/ 785813 w 2370773"/>
                <a:gd name="connsiteY1093" fmla="*/ 1420177 h 1940242"/>
                <a:gd name="connsiteX1094" fmla="*/ 802958 w 2370773"/>
                <a:gd name="connsiteY1094" fmla="*/ 1403032 h 1940242"/>
                <a:gd name="connsiteX1095" fmla="*/ 1157287 w 2370773"/>
                <a:gd name="connsiteY1095" fmla="*/ 1401127 h 1940242"/>
                <a:gd name="connsiteX1096" fmla="*/ 1164907 w 2370773"/>
                <a:gd name="connsiteY1096" fmla="*/ 1408747 h 1940242"/>
                <a:gd name="connsiteX1097" fmla="*/ 1157287 w 2370773"/>
                <a:gd name="connsiteY1097" fmla="*/ 1416367 h 1940242"/>
                <a:gd name="connsiteX1098" fmla="*/ 1149667 w 2370773"/>
                <a:gd name="connsiteY1098" fmla="*/ 1408747 h 1940242"/>
                <a:gd name="connsiteX1099" fmla="*/ 1157287 w 2370773"/>
                <a:gd name="connsiteY1099" fmla="*/ 1401127 h 1940242"/>
                <a:gd name="connsiteX1100" fmla="*/ 473393 w 2370773"/>
                <a:gd name="connsiteY1100" fmla="*/ 1399222 h 1940242"/>
                <a:gd name="connsiteX1101" fmla="*/ 493395 w 2370773"/>
                <a:gd name="connsiteY1101" fmla="*/ 1419225 h 1940242"/>
                <a:gd name="connsiteX1102" fmla="*/ 473393 w 2370773"/>
                <a:gd name="connsiteY1102" fmla="*/ 1439227 h 1940242"/>
                <a:gd name="connsiteX1103" fmla="*/ 453390 w 2370773"/>
                <a:gd name="connsiteY1103" fmla="*/ 1419225 h 1940242"/>
                <a:gd name="connsiteX1104" fmla="*/ 473393 w 2370773"/>
                <a:gd name="connsiteY1104" fmla="*/ 1399222 h 1940242"/>
                <a:gd name="connsiteX1105" fmla="*/ 1935480 w 2370773"/>
                <a:gd name="connsiteY1105" fmla="*/ 1394459 h 1940242"/>
                <a:gd name="connsiteX1106" fmla="*/ 1949767 w 2370773"/>
                <a:gd name="connsiteY1106" fmla="*/ 1408747 h 1940242"/>
                <a:gd name="connsiteX1107" fmla="*/ 1935480 w 2370773"/>
                <a:gd name="connsiteY1107" fmla="*/ 1423034 h 1940242"/>
                <a:gd name="connsiteX1108" fmla="*/ 1921192 w 2370773"/>
                <a:gd name="connsiteY1108" fmla="*/ 1408747 h 1940242"/>
                <a:gd name="connsiteX1109" fmla="*/ 1935480 w 2370773"/>
                <a:gd name="connsiteY1109" fmla="*/ 1394459 h 1940242"/>
                <a:gd name="connsiteX1110" fmla="*/ 922021 w 2370773"/>
                <a:gd name="connsiteY1110" fmla="*/ 1392554 h 1940242"/>
                <a:gd name="connsiteX1111" fmla="*/ 936308 w 2370773"/>
                <a:gd name="connsiteY1111" fmla="*/ 1406842 h 1940242"/>
                <a:gd name="connsiteX1112" fmla="*/ 922021 w 2370773"/>
                <a:gd name="connsiteY1112" fmla="*/ 1421129 h 1940242"/>
                <a:gd name="connsiteX1113" fmla="*/ 907733 w 2370773"/>
                <a:gd name="connsiteY1113" fmla="*/ 1406842 h 1940242"/>
                <a:gd name="connsiteX1114" fmla="*/ 922021 w 2370773"/>
                <a:gd name="connsiteY1114" fmla="*/ 1392554 h 1940242"/>
                <a:gd name="connsiteX1115" fmla="*/ 2147887 w 2370773"/>
                <a:gd name="connsiteY1115" fmla="*/ 1391602 h 1940242"/>
                <a:gd name="connsiteX1116" fmla="*/ 2155507 w 2370773"/>
                <a:gd name="connsiteY1116" fmla="*/ 1399222 h 1940242"/>
                <a:gd name="connsiteX1117" fmla="*/ 2147887 w 2370773"/>
                <a:gd name="connsiteY1117" fmla="*/ 1406842 h 1940242"/>
                <a:gd name="connsiteX1118" fmla="*/ 2140267 w 2370773"/>
                <a:gd name="connsiteY1118" fmla="*/ 1399222 h 1940242"/>
                <a:gd name="connsiteX1119" fmla="*/ 2147887 w 2370773"/>
                <a:gd name="connsiteY1119" fmla="*/ 1391602 h 1940242"/>
                <a:gd name="connsiteX1120" fmla="*/ 1501140 w 2370773"/>
                <a:gd name="connsiteY1120" fmla="*/ 1391602 h 1940242"/>
                <a:gd name="connsiteX1121" fmla="*/ 1506855 w 2370773"/>
                <a:gd name="connsiteY1121" fmla="*/ 1397317 h 1940242"/>
                <a:gd name="connsiteX1122" fmla="*/ 1501140 w 2370773"/>
                <a:gd name="connsiteY1122" fmla="*/ 1403032 h 1940242"/>
                <a:gd name="connsiteX1123" fmla="*/ 1495425 w 2370773"/>
                <a:gd name="connsiteY1123" fmla="*/ 1397317 h 1940242"/>
                <a:gd name="connsiteX1124" fmla="*/ 1501140 w 2370773"/>
                <a:gd name="connsiteY1124" fmla="*/ 1391602 h 1940242"/>
                <a:gd name="connsiteX1125" fmla="*/ 1100138 w 2370773"/>
                <a:gd name="connsiteY1125" fmla="*/ 1388745 h 1940242"/>
                <a:gd name="connsiteX1126" fmla="*/ 1108710 w 2370773"/>
                <a:gd name="connsiteY1126" fmla="*/ 1397317 h 1940242"/>
                <a:gd name="connsiteX1127" fmla="*/ 1100138 w 2370773"/>
                <a:gd name="connsiteY1127" fmla="*/ 1405890 h 1940242"/>
                <a:gd name="connsiteX1128" fmla="*/ 1091565 w 2370773"/>
                <a:gd name="connsiteY1128" fmla="*/ 1397317 h 1940242"/>
                <a:gd name="connsiteX1129" fmla="*/ 1100138 w 2370773"/>
                <a:gd name="connsiteY1129" fmla="*/ 1388745 h 1940242"/>
                <a:gd name="connsiteX1130" fmla="*/ 371475 w 2370773"/>
                <a:gd name="connsiteY1130" fmla="*/ 1387792 h 1940242"/>
                <a:gd name="connsiteX1131" fmla="*/ 392430 w 2370773"/>
                <a:gd name="connsiteY1131" fmla="*/ 1408747 h 1940242"/>
                <a:gd name="connsiteX1132" fmla="*/ 371475 w 2370773"/>
                <a:gd name="connsiteY1132" fmla="*/ 1429702 h 1940242"/>
                <a:gd name="connsiteX1133" fmla="*/ 350520 w 2370773"/>
                <a:gd name="connsiteY1133" fmla="*/ 1408747 h 1940242"/>
                <a:gd name="connsiteX1134" fmla="*/ 371475 w 2370773"/>
                <a:gd name="connsiteY1134" fmla="*/ 1387792 h 1940242"/>
                <a:gd name="connsiteX1135" fmla="*/ 1705927 w 2370773"/>
                <a:gd name="connsiteY1135" fmla="*/ 1384935 h 1940242"/>
                <a:gd name="connsiteX1136" fmla="*/ 1716405 w 2370773"/>
                <a:gd name="connsiteY1136" fmla="*/ 1395413 h 1940242"/>
                <a:gd name="connsiteX1137" fmla="*/ 1705927 w 2370773"/>
                <a:gd name="connsiteY1137" fmla="*/ 1405890 h 1940242"/>
                <a:gd name="connsiteX1138" fmla="*/ 1695450 w 2370773"/>
                <a:gd name="connsiteY1138" fmla="*/ 1395413 h 1940242"/>
                <a:gd name="connsiteX1139" fmla="*/ 1705927 w 2370773"/>
                <a:gd name="connsiteY1139" fmla="*/ 1384935 h 1940242"/>
                <a:gd name="connsiteX1140" fmla="*/ 1847850 w 2370773"/>
                <a:gd name="connsiteY1140" fmla="*/ 1381125 h 1940242"/>
                <a:gd name="connsiteX1141" fmla="*/ 1858327 w 2370773"/>
                <a:gd name="connsiteY1141" fmla="*/ 1391603 h 1940242"/>
                <a:gd name="connsiteX1142" fmla="*/ 1847850 w 2370773"/>
                <a:gd name="connsiteY1142" fmla="*/ 1402080 h 1940242"/>
                <a:gd name="connsiteX1143" fmla="*/ 1837372 w 2370773"/>
                <a:gd name="connsiteY1143" fmla="*/ 1391603 h 1940242"/>
                <a:gd name="connsiteX1144" fmla="*/ 1847850 w 2370773"/>
                <a:gd name="connsiteY1144" fmla="*/ 1381125 h 1940242"/>
                <a:gd name="connsiteX1145" fmla="*/ 273368 w 2370773"/>
                <a:gd name="connsiteY1145" fmla="*/ 1374457 h 1940242"/>
                <a:gd name="connsiteX1146" fmla="*/ 294323 w 2370773"/>
                <a:gd name="connsiteY1146" fmla="*/ 1395412 h 1940242"/>
                <a:gd name="connsiteX1147" fmla="*/ 273368 w 2370773"/>
                <a:gd name="connsiteY1147" fmla="*/ 1416367 h 1940242"/>
                <a:gd name="connsiteX1148" fmla="*/ 252413 w 2370773"/>
                <a:gd name="connsiteY1148" fmla="*/ 1395412 h 1940242"/>
                <a:gd name="connsiteX1149" fmla="*/ 273368 w 2370773"/>
                <a:gd name="connsiteY1149" fmla="*/ 1374457 h 1940242"/>
                <a:gd name="connsiteX1150" fmla="*/ 2065973 w 2370773"/>
                <a:gd name="connsiteY1150" fmla="*/ 1373504 h 1940242"/>
                <a:gd name="connsiteX1151" fmla="*/ 2080260 w 2370773"/>
                <a:gd name="connsiteY1151" fmla="*/ 1387792 h 1940242"/>
                <a:gd name="connsiteX1152" fmla="*/ 2065973 w 2370773"/>
                <a:gd name="connsiteY1152" fmla="*/ 1402079 h 1940242"/>
                <a:gd name="connsiteX1153" fmla="*/ 2051685 w 2370773"/>
                <a:gd name="connsiteY1153" fmla="*/ 1387792 h 1940242"/>
                <a:gd name="connsiteX1154" fmla="*/ 2065973 w 2370773"/>
                <a:gd name="connsiteY1154" fmla="*/ 1373504 h 1940242"/>
                <a:gd name="connsiteX1155" fmla="*/ 1556385 w 2370773"/>
                <a:gd name="connsiteY1155" fmla="*/ 1373504 h 1940242"/>
                <a:gd name="connsiteX1156" fmla="*/ 1565910 w 2370773"/>
                <a:gd name="connsiteY1156" fmla="*/ 1383029 h 1940242"/>
                <a:gd name="connsiteX1157" fmla="*/ 1556385 w 2370773"/>
                <a:gd name="connsiteY1157" fmla="*/ 1392554 h 1940242"/>
                <a:gd name="connsiteX1158" fmla="*/ 1546860 w 2370773"/>
                <a:gd name="connsiteY1158" fmla="*/ 1383029 h 1940242"/>
                <a:gd name="connsiteX1159" fmla="*/ 1556385 w 2370773"/>
                <a:gd name="connsiteY1159" fmla="*/ 1373504 h 1940242"/>
                <a:gd name="connsiteX1160" fmla="*/ 641985 w 2370773"/>
                <a:gd name="connsiteY1160" fmla="*/ 1373504 h 1940242"/>
                <a:gd name="connsiteX1161" fmla="*/ 661035 w 2370773"/>
                <a:gd name="connsiteY1161" fmla="*/ 1392554 h 1940242"/>
                <a:gd name="connsiteX1162" fmla="*/ 641985 w 2370773"/>
                <a:gd name="connsiteY1162" fmla="*/ 1411604 h 1940242"/>
                <a:gd name="connsiteX1163" fmla="*/ 622935 w 2370773"/>
                <a:gd name="connsiteY1163" fmla="*/ 1392554 h 1940242"/>
                <a:gd name="connsiteX1164" fmla="*/ 641985 w 2370773"/>
                <a:gd name="connsiteY1164" fmla="*/ 1373504 h 1940242"/>
                <a:gd name="connsiteX1165" fmla="*/ 1044892 w 2370773"/>
                <a:gd name="connsiteY1165" fmla="*/ 1372552 h 1940242"/>
                <a:gd name="connsiteX1166" fmla="*/ 1055370 w 2370773"/>
                <a:gd name="connsiteY1166" fmla="*/ 1383029 h 1940242"/>
                <a:gd name="connsiteX1167" fmla="*/ 1044892 w 2370773"/>
                <a:gd name="connsiteY1167" fmla="*/ 1393507 h 1940242"/>
                <a:gd name="connsiteX1168" fmla="*/ 1034415 w 2370773"/>
                <a:gd name="connsiteY1168" fmla="*/ 1383029 h 1940242"/>
                <a:gd name="connsiteX1169" fmla="*/ 1044892 w 2370773"/>
                <a:gd name="connsiteY1169" fmla="*/ 1372552 h 1940242"/>
                <a:gd name="connsiteX1170" fmla="*/ 753428 w 2370773"/>
                <a:gd name="connsiteY1170" fmla="*/ 1372552 h 1940242"/>
                <a:gd name="connsiteX1171" fmla="*/ 771525 w 2370773"/>
                <a:gd name="connsiteY1171" fmla="*/ 1390649 h 1940242"/>
                <a:gd name="connsiteX1172" fmla="*/ 753428 w 2370773"/>
                <a:gd name="connsiteY1172" fmla="*/ 1408747 h 1940242"/>
                <a:gd name="connsiteX1173" fmla="*/ 735330 w 2370773"/>
                <a:gd name="connsiteY1173" fmla="*/ 1390649 h 1940242"/>
                <a:gd name="connsiteX1174" fmla="*/ 753428 w 2370773"/>
                <a:gd name="connsiteY1174" fmla="*/ 1372552 h 1940242"/>
                <a:gd name="connsiteX1175" fmla="*/ 535304 w 2370773"/>
                <a:gd name="connsiteY1175" fmla="*/ 1367790 h 1940242"/>
                <a:gd name="connsiteX1176" fmla="*/ 555307 w 2370773"/>
                <a:gd name="connsiteY1176" fmla="*/ 1387792 h 1940242"/>
                <a:gd name="connsiteX1177" fmla="*/ 535304 w 2370773"/>
                <a:gd name="connsiteY1177" fmla="*/ 1407795 h 1940242"/>
                <a:gd name="connsiteX1178" fmla="*/ 515302 w 2370773"/>
                <a:gd name="connsiteY1178" fmla="*/ 1387792 h 1940242"/>
                <a:gd name="connsiteX1179" fmla="*/ 535304 w 2370773"/>
                <a:gd name="connsiteY1179" fmla="*/ 1367790 h 1940242"/>
                <a:gd name="connsiteX1180" fmla="*/ 869633 w 2370773"/>
                <a:gd name="connsiteY1180" fmla="*/ 1364932 h 1940242"/>
                <a:gd name="connsiteX1181" fmla="*/ 886778 w 2370773"/>
                <a:gd name="connsiteY1181" fmla="*/ 1382077 h 1940242"/>
                <a:gd name="connsiteX1182" fmla="*/ 869633 w 2370773"/>
                <a:gd name="connsiteY1182" fmla="*/ 1399222 h 1940242"/>
                <a:gd name="connsiteX1183" fmla="*/ 852488 w 2370773"/>
                <a:gd name="connsiteY1183" fmla="*/ 1382077 h 1940242"/>
                <a:gd name="connsiteX1184" fmla="*/ 869633 w 2370773"/>
                <a:gd name="connsiteY1184" fmla="*/ 1364932 h 1940242"/>
                <a:gd name="connsiteX1185" fmla="*/ 1981201 w 2370773"/>
                <a:gd name="connsiteY1185" fmla="*/ 1360170 h 1940242"/>
                <a:gd name="connsiteX1186" fmla="*/ 1995488 w 2370773"/>
                <a:gd name="connsiteY1186" fmla="*/ 1374458 h 1940242"/>
                <a:gd name="connsiteX1187" fmla="*/ 1981201 w 2370773"/>
                <a:gd name="connsiteY1187" fmla="*/ 1388745 h 1940242"/>
                <a:gd name="connsiteX1188" fmla="*/ 1966913 w 2370773"/>
                <a:gd name="connsiteY1188" fmla="*/ 1374458 h 1940242"/>
                <a:gd name="connsiteX1189" fmla="*/ 1981201 w 2370773"/>
                <a:gd name="connsiteY1189" fmla="*/ 1360170 h 1940242"/>
                <a:gd name="connsiteX1190" fmla="*/ 432435 w 2370773"/>
                <a:gd name="connsiteY1190" fmla="*/ 1357312 h 1940242"/>
                <a:gd name="connsiteX1191" fmla="*/ 453390 w 2370773"/>
                <a:gd name="connsiteY1191" fmla="*/ 1378267 h 1940242"/>
                <a:gd name="connsiteX1192" fmla="*/ 432435 w 2370773"/>
                <a:gd name="connsiteY1192" fmla="*/ 1399222 h 1940242"/>
                <a:gd name="connsiteX1193" fmla="*/ 411480 w 2370773"/>
                <a:gd name="connsiteY1193" fmla="*/ 1378267 h 1940242"/>
                <a:gd name="connsiteX1194" fmla="*/ 432435 w 2370773"/>
                <a:gd name="connsiteY1194" fmla="*/ 1357312 h 1940242"/>
                <a:gd name="connsiteX1195" fmla="*/ 1757363 w 2370773"/>
                <a:gd name="connsiteY1195" fmla="*/ 1356359 h 1940242"/>
                <a:gd name="connsiteX1196" fmla="*/ 1769745 w 2370773"/>
                <a:gd name="connsiteY1196" fmla="*/ 1368742 h 1940242"/>
                <a:gd name="connsiteX1197" fmla="*/ 1757363 w 2370773"/>
                <a:gd name="connsiteY1197" fmla="*/ 1381124 h 1940242"/>
                <a:gd name="connsiteX1198" fmla="*/ 1744980 w 2370773"/>
                <a:gd name="connsiteY1198" fmla="*/ 1368742 h 1940242"/>
                <a:gd name="connsiteX1199" fmla="*/ 1757363 w 2370773"/>
                <a:gd name="connsiteY1199" fmla="*/ 1356359 h 1940242"/>
                <a:gd name="connsiteX1200" fmla="*/ 2188845 w 2370773"/>
                <a:gd name="connsiteY1200" fmla="*/ 1354454 h 1940242"/>
                <a:gd name="connsiteX1201" fmla="*/ 2192655 w 2370773"/>
                <a:gd name="connsiteY1201" fmla="*/ 1358264 h 1940242"/>
                <a:gd name="connsiteX1202" fmla="*/ 2188845 w 2370773"/>
                <a:gd name="connsiteY1202" fmla="*/ 1362074 h 1940242"/>
                <a:gd name="connsiteX1203" fmla="*/ 2185035 w 2370773"/>
                <a:gd name="connsiteY1203" fmla="*/ 1358264 h 1940242"/>
                <a:gd name="connsiteX1204" fmla="*/ 2188845 w 2370773"/>
                <a:gd name="connsiteY1204" fmla="*/ 1354454 h 1940242"/>
                <a:gd name="connsiteX1205" fmla="*/ 1611630 w 2370773"/>
                <a:gd name="connsiteY1205" fmla="*/ 1354454 h 1940242"/>
                <a:gd name="connsiteX1206" fmla="*/ 1621155 w 2370773"/>
                <a:gd name="connsiteY1206" fmla="*/ 1363979 h 1940242"/>
                <a:gd name="connsiteX1207" fmla="*/ 1611630 w 2370773"/>
                <a:gd name="connsiteY1207" fmla="*/ 1373504 h 1940242"/>
                <a:gd name="connsiteX1208" fmla="*/ 1602105 w 2370773"/>
                <a:gd name="connsiteY1208" fmla="*/ 1363979 h 1940242"/>
                <a:gd name="connsiteX1209" fmla="*/ 1611630 w 2370773"/>
                <a:gd name="connsiteY1209" fmla="*/ 1354454 h 1940242"/>
                <a:gd name="connsiteX1210" fmla="*/ 989648 w 2370773"/>
                <a:gd name="connsiteY1210" fmla="*/ 1352550 h 1940242"/>
                <a:gd name="connsiteX1211" fmla="*/ 1002030 w 2370773"/>
                <a:gd name="connsiteY1211" fmla="*/ 1364933 h 1940242"/>
                <a:gd name="connsiteX1212" fmla="*/ 989648 w 2370773"/>
                <a:gd name="connsiteY1212" fmla="*/ 1377315 h 1940242"/>
                <a:gd name="connsiteX1213" fmla="*/ 977265 w 2370773"/>
                <a:gd name="connsiteY1213" fmla="*/ 1364933 h 1940242"/>
                <a:gd name="connsiteX1214" fmla="*/ 989648 w 2370773"/>
                <a:gd name="connsiteY1214" fmla="*/ 1352550 h 1940242"/>
                <a:gd name="connsiteX1215" fmla="*/ 1285875 w 2370773"/>
                <a:gd name="connsiteY1215" fmla="*/ 1351597 h 1940242"/>
                <a:gd name="connsiteX1216" fmla="*/ 1289685 w 2370773"/>
                <a:gd name="connsiteY1216" fmla="*/ 1355407 h 1940242"/>
                <a:gd name="connsiteX1217" fmla="*/ 1285875 w 2370773"/>
                <a:gd name="connsiteY1217" fmla="*/ 1359217 h 1940242"/>
                <a:gd name="connsiteX1218" fmla="*/ 1282065 w 2370773"/>
                <a:gd name="connsiteY1218" fmla="*/ 1355407 h 1940242"/>
                <a:gd name="connsiteX1219" fmla="*/ 1285875 w 2370773"/>
                <a:gd name="connsiteY1219" fmla="*/ 1351597 h 1940242"/>
                <a:gd name="connsiteX1220" fmla="*/ 1343977 w 2370773"/>
                <a:gd name="connsiteY1220" fmla="*/ 1350645 h 1940242"/>
                <a:gd name="connsiteX1221" fmla="*/ 1347787 w 2370773"/>
                <a:gd name="connsiteY1221" fmla="*/ 1354455 h 1940242"/>
                <a:gd name="connsiteX1222" fmla="*/ 1343977 w 2370773"/>
                <a:gd name="connsiteY1222" fmla="*/ 1358265 h 1940242"/>
                <a:gd name="connsiteX1223" fmla="*/ 1340167 w 2370773"/>
                <a:gd name="connsiteY1223" fmla="*/ 1354455 h 1940242"/>
                <a:gd name="connsiteX1224" fmla="*/ 1343977 w 2370773"/>
                <a:gd name="connsiteY1224" fmla="*/ 1350645 h 1940242"/>
                <a:gd name="connsiteX1225" fmla="*/ 1895475 w 2370773"/>
                <a:gd name="connsiteY1225" fmla="*/ 1348740 h 1940242"/>
                <a:gd name="connsiteX1226" fmla="*/ 1905952 w 2370773"/>
                <a:gd name="connsiteY1226" fmla="*/ 1359217 h 1940242"/>
                <a:gd name="connsiteX1227" fmla="*/ 1895475 w 2370773"/>
                <a:gd name="connsiteY1227" fmla="*/ 1369695 h 1940242"/>
                <a:gd name="connsiteX1228" fmla="*/ 1884997 w 2370773"/>
                <a:gd name="connsiteY1228" fmla="*/ 1359217 h 1940242"/>
                <a:gd name="connsiteX1229" fmla="*/ 1895475 w 2370773"/>
                <a:gd name="connsiteY1229" fmla="*/ 1348740 h 1940242"/>
                <a:gd name="connsiteX1230" fmla="*/ 1228726 w 2370773"/>
                <a:gd name="connsiteY1230" fmla="*/ 1347787 h 1940242"/>
                <a:gd name="connsiteX1231" fmla="*/ 1233488 w 2370773"/>
                <a:gd name="connsiteY1231" fmla="*/ 1352550 h 1940242"/>
                <a:gd name="connsiteX1232" fmla="*/ 1228726 w 2370773"/>
                <a:gd name="connsiteY1232" fmla="*/ 1357312 h 1940242"/>
                <a:gd name="connsiteX1233" fmla="*/ 1223963 w 2370773"/>
                <a:gd name="connsiteY1233" fmla="*/ 1352550 h 1940242"/>
                <a:gd name="connsiteX1234" fmla="*/ 1228726 w 2370773"/>
                <a:gd name="connsiteY1234" fmla="*/ 1347787 h 1940242"/>
                <a:gd name="connsiteX1235" fmla="*/ 1401128 w 2370773"/>
                <a:gd name="connsiteY1235" fmla="*/ 1344929 h 1940242"/>
                <a:gd name="connsiteX1236" fmla="*/ 1405890 w 2370773"/>
                <a:gd name="connsiteY1236" fmla="*/ 1349692 h 1940242"/>
                <a:gd name="connsiteX1237" fmla="*/ 1401128 w 2370773"/>
                <a:gd name="connsiteY1237" fmla="*/ 1354454 h 1940242"/>
                <a:gd name="connsiteX1238" fmla="*/ 1396365 w 2370773"/>
                <a:gd name="connsiteY1238" fmla="*/ 1349692 h 1940242"/>
                <a:gd name="connsiteX1239" fmla="*/ 1401128 w 2370773"/>
                <a:gd name="connsiteY1239" fmla="*/ 1344929 h 1940242"/>
                <a:gd name="connsiteX1240" fmla="*/ 333375 w 2370773"/>
                <a:gd name="connsiteY1240" fmla="*/ 1344929 h 1940242"/>
                <a:gd name="connsiteX1241" fmla="*/ 354330 w 2370773"/>
                <a:gd name="connsiteY1241" fmla="*/ 1365884 h 1940242"/>
                <a:gd name="connsiteX1242" fmla="*/ 333375 w 2370773"/>
                <a:gd name="connsiteY1242" fmla="*/ 1386839 h 1940242"/>
                <a:gd name="connsiteX1243" fmla="*/ 312420 w 2370773"/>
                <a:gd name="connsiteY1243" fmla="*/ 1365884 h 1940242"/>
                <a:gd name="connsiteX1244" fmla="*/ 333375 w 2370773"/>
                <a:gd name="connsiteY1244" fmla="*/ 1344929 h 1940242"/>
                <a:gd name="connsiteX1245" fmla="*/ 705802 w 2370773"/>
                <a:gd name="connsiteY1245" fmla="*/ 1342072 h 1940242"/>
                <a:gd name="connsiteX1246" fmla="*/ 721995 w 2370773"/>
                <a:gd name="connsiteY1246" fmla="*/ 1358265 h 1940242"/>
                <a:gd name="connsiteX1247" fmla="*/ 705802 w 2370773"/>
                <a:gd name="connsiteY1247" fmla="*/ 1374457 h 1940242"/>
                <a:gd name="connsiteX1248" fmla="*/ 689610 w 2370773"/>
                <a:gd name="connsiteY1248" fmla="*/ 1358265 h 1940242"/>
                <a:gd name="connsiteX1249" fmla="*/ 705802 w 2370773"/>
                <a:gd name="connsiteY1249" fmla="*/ 1342072 h 1940242"/>
                <a:gd name="connsiteX1250" fmla="*/ 1171575 w 2370773"/>
                <a:gd name="connsiteY1250" fmla="*/ 1340167 h 1940242"/>
                <a:gd name="connsiteX1251" fmla="*/ 1177290 w 2370773"/>
                <a:gd name="connsiteY1251" fmla="*/ 1345882 h 1940242"/>
                <a:gd name="connsiteX1252" fmla="*/ 1171575 w 2370773"/>
                <a:gd name="connsiteY1252" fmla="*/ 1351597 h 1940242"/>
                <a:gd name="connsiteX1253" fmla="*/ 1165860 w 2370773"/>
                <a:gd name="connsiteY1253" fmla="*/ 1345882 h 1940242"/>
                <a:gd name="connsiteX1254" fmla="*/ 1171575 w 2370773"/>
                <a:gd name="connsiteY1254" fmla="*/ 1340167 h 1940242"/>
                <a:gd name="connsiteX1255" fmla="*/ 819150 w 2370773"/>
                <a:gd name="connsiteY1255" fmla="*/ 1340167 h 1940242"/>
                <a:gd name="connsiteX1256" fmla="*/ 834390 w 2370773"/>
                <a:gd name="connsiteY1256" fmla="*/ 1355407 h 1940242"/>
                <a:gd name="connsiteX1257" fmla="*/ 819150 w 2370773"/>
                <a:gd name="connsiteY1257" fmla="*/ 1370647 h 1940242"/>
                <a:gd name="connsiteX1258" fmla="*/ 803910 w 2370773"/>
                <a:gd name="connsiteY1258" fmla="*/ 1355407 h 1940242"/>
                <a:gd name="connsiteX1259" fmla="*/ 819150 w 2370773"/>
                <a:gd name="connsiteY1259" fmla="*/ 1340167 h 1940242"/>
                <a:gd name="connsiteX1260" fmla="*/ 597218 w 2370773"/>
                <a:gd name="connsiteY1260" fmla="*/ 1339215 h 1940242"/>
                <a:gd name="connsiteX1261" fmla="*/ 614363 w 2370773"/>
                <a:gd name="connsiteY1261" fmla="*/ 1356360 h 1940242"/>
                <a:gd name="connsiteX1262" fmla="*/ 597218 w 2370773"/>
                <a:gd name="connsiteY1262" fmla="*/ 1373505 h 1940242"/>
                <a:gd name="connsiteX1263" fmla="*/ 580073 w 2370773"/>
                <a:gd name="connsiteY1263" fmla="*/ 1356360 h 1940242"/>
                <a:gd name="connsiteX1264" fmla="*/ 597218 w 2370773"/>
                <a:gd name="connsiteY1264" fmla="*/ 1339215 h 1940242"/>
                <a:gd name="connsiteX1265" fmla="*/ 1458278 w 2370773"/>
                <a:gd name="connsiteY1265" fmla="*/ 1338262 h 1940242"/>
                <a:gd name="connsiteX1266" fmla="*/ 1461135 w 2370773"/>
                <a:gd name="connsiteY1266" fmla="*/ 1341120 h 1940242"/>
                <a:gd name="connsiteX1267" fmla="*/ 1458278 w 2370773"/>
                <a:gd name="connsiteY1267" fmla="*/ 1343977 h 1940242"/>
                <a:gd name="connsiteX1268" fmla="*/ 1455420 w 2370773"/>
                <a:gd name="connsiteY1268" fmla="*/ 1341120 h 1940242"/>
                <a:gd name="connsiteX1269" fmla="*/ 1458278 w 2370773"/>
                <a:gd name="connsiteY1269" fmla="*/ 1338262 h 1940242"/>
                <a:gd name="connsiteX1270" fmla="*/ 1664970 w 2370773"/>
                <a:gd name="connsiteY1270" fmla="*/ 1336357 h 1940242"/>
                <a:gd name="connsiteX1271" fmla="*/ 1671638 w 2370773"/>
                <a:gd name="connsiteY1271" fmla="*/ 1343024 h 1940242"/>
                <a:gd name="connsiteX1272" fmla="*/ 1664970 w 2370773"/>
                <a:gd name="connsiteY1272" fmla="*/ 1349692 h 1940242"/>
                <a:gd name="connsiteX1273" fmla="*/ 1658303 w 2370773"/>
                <a:gd name="connsiteY1273" fmla="*/ 1343024 h 1940242"/>
                <a:gd name="connsiteX1274" fmla="*/ 1664970 w 2370773"/>
                <a:gd name="connsiteY1274" fmla="*/ 1336357 h 1940242"/>
                <a:gd name="connsiteX1275" fmla="*/ 2107883 w 2370773"/>
                <a:gd name="connsiteY1275" fmla="*/ 1335404 h 1940242"/>
                <a:gd name="connsiteX1276" fmla="*/ 2120265 w 2370773"/>
                <a:gd name="connsiteY1276" fmla="*/ 1347787 h 1940242"/>
                <a:gd name="connsiteX1277" fmla="*/ 2107883 w 2370773"/>
                <a:gd name="connsiteY1277" fmla="*/ 1360169 h 1940242"/>
                <a:gd name="connsiteX1278" fmla="*/ 2095500 w 2370773"/>
                <a:gd name="connsiteY1278" fmla="*/ 1347787 h 1940242"/>
                <a:gd name="connsiteX1279" fmla="*/ 2107883 w 2370773"/>
                <a:gd name="connsiteY1279" fmla="*/ 1335404 h 1940242"/>
                <a:gd name="connsiteX1280" fmla="*/ 237172 w 2370773"/>
                <a:gd name="connsiteY1280" fmla="*/ 1333500 h 1940242"/>
                <a:gd name="connsiteX1281" fmla="*/ 254317 w 2370773"/>
                <a:gd name="connsiteY1281" fmla="*/ 1350645 h 1940242"/>
                <a:gd name="connsiteX1282" fmla="*/ 237172 w 2370773"/>
                <a:gd name="connsiteY1282" fmla="*/ 1367790 h 1940242"/>
                <a:gd name="connsiteX1283" fmla="*/ 220027 w 2370773"/>
                <a:gd name="connsiteY1283" fmla="*/ 1350645 h 1940242"/>
                <a:gd name="connsiteX1284" fmla="*/ 237172 w 2370773"/>
                <a:gd name="connsiteY1284" fmla="*/ 1333500 h 1940242"/>
                <a:gd name="connsiteX1285" fmla="*/ 936308 w 2370773"/>
                <a:gd name="connsiteY1285" fmla="*/ 1332547 h 1940242"/>
                <a:gd name="connsiteX1286" fmla="*/ 946785 w 2370773"/>
                <a:gd name="connsiteY1286" fmla="*/ 1343025 h 1940242"/>
                <a:gd name="connsiteX1287" fmla="*/ 936308 w 2370773"/>
                <a:gd name="connsiteY1287" fmla="*/ 1353502 h 1940242"/>
                <a:gd name="connsiteX1288" fmla="*/ 925830 w 2370773"/>
                <a:gd name="connsiteY1288" fmla="*/ 1343025 h 1940242"/>
                <a:gd name="connsiteX1289" fmla="*/ 936308 w 2370773"/>
                <a:gd name="connsiteY1289" fmla="*/ 1332547 h 1940242"/>
                <a:gd name="connsiteX1290" fmla="*/ 1806892 w 2370773"/>
                <a:gd name="connsiteY1290" fmla="*/ 1331595 h 1940242"/>
                <a:gd name="connsiteX1291" fmla="*/ 1815465 w 2370773"/>
                <a:gd name="connsiteY1291" fmla="*/ 1340167 h 1940242"/>
                <a:gd name="connsiteX1292" fmla="*/ 1806892 w 2370773"/>
                <a:gd name="connsiteY1292" fmla="*/ 1348740 h 1940242"/>
                <a:gd name="connsiteX1293" fmla="*/ 1798320 w 2370773"/>
                <a:gd name="connsiteY1293" fmla="*/ 1340167 h 1940242"/>
                <a:gd name="connsiteX1294" fmla="*/ 1806892 w 2370773"/>
                <a:gd name="connsiteY1294" fmla="*/ 1331595 h 1940242"/>
                <a:gd name="connsiteX1295" fmla="*/ 493395 w 2370773"/>
                <a:gd name="connsiteY1295" fmla="*/ 1330642 h 1940242"/>
                <a:gd name="connsiteX1296" fmla="*/ 511493 w 2370773"/>
                <a:gd name="connsiteY1296" fmla="*/ 1348740 h 1940242"/>
                <a:gd name="connsiteX1297" fmla="*/ 493395 w 2370773"/>
                <a:gd name="connsiteY1297" fmla="*/ 1366837 h 1940242"/>
                <a:gd name="connsiteX1298" fmla="*/ 475298 w 2370773"/>
                <a:gd name="connsiteY1298" fmla="*/ 1348740 h 1940242"/>
                <a:gd name="connsiteX1299" fmla="*/ 493395 w 2370773"/>
                <a:gd name="connsiteY1299" fmla="*/ 1330642 h 1940242"/>
                <a:gd name="connsiteX1300" fmla="*/ 143827 w 2370773"/>
                <a:gd name="connsiteY1300" fmla="*/ 1330642 h 1940242"/>
                <a:gd name="connsiteX1301" fmla="*/ 145732 w 2370773"/>
                <a:gd name="connsiteY1301" fmla="*/ 1332547 h 1940242"/>
                <a:gd name="connsiteX1302" fmla="*/ 143827 w 2370773"/>
                <a:gd name="connsiteY1302" fmla="*/ 1334452 h 1940242"/>
                <a:gd name="connsiteX1303" fmla="*/ 141922 w 2370773"/>
                <a:gd name="connsiteY1303" fmla="*/ 1332547 h 1940242"/>
                <a:gd name="connsiteX1304" fmla="*/ 143827 w 2370773"/>
                <a:gd name="connsiteY1304" fmla="*/ 1330642 h 1940242"/>
                <a:gd name="connsiteX1305" fmla="*/ 1114426 w 2370773"/>
                <a:gd name="connsiteY1305" fmla="*/ 1329690 h 1940242"/>
                <a:gd name="connsiteX1306" fmla="*/ 1119188 w 2370773"/>
                <a:gd name="connsiteY1306" fmla="*/ 1334453 h 1940242"/>
                <a:gd name="connsiteX1307" fmla="*/ 1114426 w 2370773"/>
                <a:gd name="connsiteY1307" fmla="*/ 1339215 h 1940242"/>
                <a:gd name="connsiteX1308" fmla="*/ 1109663 w 2370773"/>
                <a:gd name="connsiteY1308" fmla="*/ 1334453 h 1940242"/>
                <a:gd name="connsiteX1309" fmla="*/ 1114426 w 2370773"/>
                <a:gd name="connsiteY1309" fmla="*/ 1329690 h 1940242"/>
                <a:gd name="connsiteX1310" fmla="*/ 2025968 w 2370773"/>
                <a:gd name="connsiteY1310" fmla="*/ 1326832 h 1940242"/>
                <a:gd name="connsiteX1311" fmla="*/ 2036445 w 2370773"/>
                <a:gd name="connsiteY1311" fmla="*/ 1337309 h 1940242"/>
                <a:gd name="connsiteX1312" fmla="*/ 2025968 w 2370773"/>
                <a:gd name="connsiteY1312" fmla="*/ 1347787 h 1940242"/>
                <a:gd name="connsiteX1313" fmla="*/ 2015490 w 2370773"/>
                <a:gd name="connsiteY1313" fmla="*/ 1337309 h 1940242"/>
                <a:gd name="connsiteX1314" fmla="*/ 2025968 w 2370773"/>
                <a:gd name="connsiteY1314" fmla="*/ 1326832 h 1940242"/>
                <a:gd name="connsiteX1315" fmla="*/ 1514475 w 2370773"/>
                <a:gd name="connsiteY1315" fmla="*/ 1324927 h 1940242"/>
                <a:gd name="connsiteX1316" fmla="*/ 1518285 w 2370773"/>
                <a:gd name="connsiteY1316" fmla="*/ 1328737 h 1940242"/>
                <a:gd name="connsiteX1317" fmla="*/ 1514475 w 2370773"/>
                <a:gd name="connsiteY1317" fmla="*/ 1332547 h 1940242"/>
                <a:gd name="connsiteX1318" fmla="*/ 1510665 w 2370773"/>
                <a:gd name="connsiteY1318" fmla="*/ 1328737 h 1940242"/>
                <a:gd name="connsiteX1319" fmla="*/ 1514475 w 2370773"/>
                <a:gd name="connsiteY1319" fmla="*/ 1324927 h 1940242"/>
                <a:gd name="connsiteX1320" fmla="*/ 392431 w 2370773"/>
                <a:gd name="connsiteY1320" fmla="*/ 1316355 h 1940242"/>
                <a:gd name="connsiteX1321" fmla="*/ 412433 w 2370773"/>
                <a:gd name="connsiteY1321" fmla="*/ 1336358 h 1940242"/>
                <a:gd name="connsiteX1322" fmla="*/ 392431 w 2370773"/>
                <a:gd name="connsiteY1322" fmla="*/ 1356360 h 1940242"/>
                <a:gd name="connsiteX1323" fmla="*/ 372428 w 2370773"/>
                <a:gd name="connsiteY1323" fmla="*/ 1336358 h 1940242"/>
                <a:gd name="connsiteX1324" fmla="*/ 392431 w 2370773"/>
                <a:gd name="connsiteY1324" fmla="*/ 1316355 h 1940242"/>
                <a:gd name="connsiteX1325" fmla="*/ 1941195 w 2370773"/>
                <a:gd name="connsiteY1325" fmla="*/ 1314450 h 1940242"/>
                <a:gd name="connsiteX1326" fmla="*/ 1951672 w 2370773"/>
                <a:gd name="connsiteY1326" fmla="*/ 1324928 h 1940242"/>
                <a:gd name="connsiteX1327" fmla="*/ 1941195 w 2370773"/>
                <a:gd name="connsiteY1327" fmla="*/ 1335405 h 1940242"/>
                <a:gd name="connsiteX1328" fmla="*/ 1930717 w 2370773"/>
                <a:gd name="connsiteY1328" fmla="*/ 1324928 h 1940242"/>
                <a:gd name="connsiteX1329" fmla="*/ 1941195 w 2370773"/>
                <a:gd name="connsiteY1329" fmla="*/ 1314450 h 1940242"/>
                <a:gd name="connsiteX1330" fmla="*/ 1059180 w 2370773"/>
                <a:gd name="connsiteY1330" fmla="*/ 1312545 h 1940242"/>
                <a:gd name="connsiteX1331" fmla="*/ 1066800 w 2370773"/>
                <a:gd name="connsiteY1331" fmla="*/ 1320165 h 1940242"/>
                <a:gd name="connsiteX1332" fmla="*/ 1059180 w 2370773"/>
                <a:gd name="connsiteY1332" fmla="*/ 1327785 h 1940242"/>
                <a:gd name="connsiteX1333" fmla="*/ 1051560 w 2370773"/>
                <a:gd name="connsiteY1333" fmla="*/ 1320165 h 1940242"/>
                <a:gd name="connsiteX1334" fmla="*/ 1059180 w 2370773"/>
                <a:gd name="connsiteY1334" fmla="*/ 1312545 h 1940242"/>
                <a:gd name="connsiteX1335" fmla="*/ 2226945 w 2370773"/>
                <a:gd name="connsiteY1335" fmla="*/ 1311592 h 1940242"/>
                <a:gd name="connsiteX1336" fmla="*/ 2230755 w 2370773"/>
                <a:gd name="connsiteY1336" fmla="*/ 1315402 h 1940242"/>
                <a:gd name="connsiteX1337" fmla="*/ 2226945 w 2370773"/>
                <a:gd name="connsiteY1337" fmla="*/ 1319212 h 1940242"/>
                <a:gd name="connsiteX1338" fmla="*/ 2223135 w 2370773"/>
                <a:gd name="connsiteY1338" fmla="*/ 1315402 h 1940242"/>
                <a:gd name="connsiteX1339" fmla="*/ 2226945 w 2370773"/>
                <a:gd name="connsiteY1339" fmla="*/ 1311592 h 1940242"/>
                <a:gd name="connsiteX1340" fmla="*/ 1716405 w 2370773"/>
                <a:gd name="connsiteY1340" fmla="*/ 1309687 h 1940242"/>
                <a:gd name="connsiteX1341" fmla="*/ 1724978 w 2370773"/>
                <a:gd name="connsiteY1341" fmla="*/ 1318259 h 1940242"/>
                <a:gd name="connsiteX1342" fmla="*/ 1716405 w 2370773"/>
                <a:gd name="connsiteY1342" fmla="*/ 1326832 h 1940242"/>
                <a:gd name="connsiteX1343" fmla="*/ 1707833 w 2370773"/>
                <a:gd name="connsiteY1343" fmla="*/ 1318259 h 1940242"/>
                <a:gd name="connsiteX1344" fmla="*/ 1716405 w 2370773"/>
                <a:gd name="connsiteY1344" fmla="*/ 1309687 h 1940242"/>
                <a:gd name="connsiteX1345" fmla="*/ 769620 w 2370773"/>
                <a:gd name="connsiteY1345" fmla="*/ 1308734 h 1940242"/>
                <a:gd name="connsiteX1346" fmla="*/ 785812 w 2370773"/>
                <a:gd name="connsiteY1346" fmla="*/ 1324927 h 1940242"/>
                <a:gd name="connsiteX1347" fmla="*/ 769620 w 2370773"/>
                <a:gd name="connsiteY1347" fmla="*/ 1341119 h 1940242"/>
                <a:gd name="connsiteX1348" fmla="*/ 753427 w 2370773"/>
                <a:gd name="connsiteY1348" fmla="*/ 1324927 h 1940242"/>
                <a:gd name="connsiteX1349" fmla="*/ 769620 w 2370773"/>
                <a:gd name="connsiteY1349" fmla="*/ 1308734 h 1940242"/>
                <a:gd name="connsiteX1350" fmla="*/ 1569721 w 2370773"/>
                <a:gd name="connsiteY1350" fmla="*/ 1306829 h 1940242"/>
                <a:gd name="connsiteX1351" fmla="*/ 1574483 w 2370773"/>
                <a:gd name="connsiteY1351" fmla="*/ 1311592 h 1940242"/>
                <a:gd name="connsiteX1352" fmla="*/ 1569721 w 2370773"/>
                <a:gd name="connsiteY1352" fmla="*/ 1316354 h 1940242"/>
                <a:gd name="connsiteX1353" fmla="*/ 1564958 w 2370773"/>
                <a:gd name="connsiteY1353" fmla="*/ 1311592 h 1940242"/>
                <a:gd name="connsiteX1354" fmla="*/ 1569721 w 2370773"/>
                <a:gd name="connsiteY1354" fmla="*/ 1306829 h 1940242"/>
                <a:gd name="connsiteX1355" fmla="*/ 660083 w 2370773"/>
                <a:gd name="connsiteY1355" fmla="*/ 1306829 h 1940242"/>
                <a:gd name="connsiteX1356" fmla="*/ 677228 w 2370773"/>
                <a:gd name="connsiteY1356" fmla="*/ 1323974 h 1940242"/>
                <a:gd name="connsiteX1357" fmla="*/ 660083 w 2370773"/>
                <a:gd name="connsiteY1357" fmla="*/ 1341119 h 1940242"/>
                <a:gd name="connsiteX1358" fmla="*/ 642938 w 2370773"/>
                <a:gd name="connsiteY1358" fmla="*/ 1323974 h 1940242"/>
                <a:gd name="connsiteX1359" fmla="*/ 660083 w 2370773"/>
                <a:gd name="connsiteY1359" fmla="*/ 1306829 h 1940242"/>
                <a:gd name="connsiteX1360" fmla="*/ 884872 w 2370773"/>
                <a:gd name="connsiteY1360" fmla="*/ 1303972 h 1940242"/>
                <a:gd name="connsiteX1361" fmla="*/ 899160 w 2370773"/>
                <a:gd name="connsiteY1361" fmla="*/ 1318260 h 1940242"/>
                <a:gd name="connsiteX1362" fmla="*/ 884872 w 2370773"/>
                <a:gd name="connsiteY1362" fmla="*/ 1332547 h 1940242"/>
                <a:gd name="connsiteX1363" fmla="*/ 870585 w 2370773"/>
                <a:gd name="connsiteY1363" fmla="*/ 1318260 h 1940242"/>
                <a:gd name="connsiteX1364" fmla="*/ 884872 w 2370773"/>
                <a:gd name="connsiteY1364" fmla="*/ 1303972 h 1940242"/>
                <a:gd name="connsiteX1365" fmla="*/ 296228 w 2370773"/>
                <a:gd name="connsiteY1365" fmla="*/ 1301115 h 1940242"/>
                <a:gd name="connsiteX1366" fmla="*/ 317183 w 2370773"/>
                <a:gd name="connsiteY1366" fmla="*/ 1322070 h 1940242"/>
                <a:gd name="connsiteX1367" fmla="*/ 296228 w 2370773"/>
                <a:gd name="connsiteY1367" fmla="*/ 1343025 h 1940242"/>
                <a:gd name="connsiteX1368" fmla="*/ 275273 w 2370773"/>
                <a:gd name="connsiteY1368" fmla="*/ 1322070 h 1940242"/>
                <a:gd name="connsiteX1369" fmla="*/ 296228 w 2370773"/>
                <a:gd name="connsiteY1369" fmla="*/ 1301115 h 1940242"/>
                <a:gd name="connsiteX1370" fmla="*/ 554355 w 2370773"/>
                <a:gd name="connsiteY1370" fmla="*/ 1300162 h 1940242"/>
                <a:gd name="connsiteX1371" fmla="*/ 572453 w 2370773"/>
                <a:gd name="connsiteY1371" fmla="*/ 1318259 h 1940242"/>
                <a:gd name="connsiteX1372" fmla="*/ 554355 w 2370773"/>
                <a:gd name="connsiteY1372" fmla="*/ 1336357 h 1940242"/>
                <a:gd name="connsiteX1373" fmla="*/ 536258 w 2370773"/>
                <a:gd name="connsiteY1373" fmla="*/ 1318259 h 1940242"/>
                <a:gd name="connsiteX1374" fmla="*/ 554355 w 2370773"/>
                <a:gd name="connsiteY1374" fmla="*/ 1300162 h 1940242"/>
                <a:gd name="connsiteX1375" fmla="*/ 1855470 w 2370773"/>
                <a:gd name="connsiteY1375" fmla="*/ 1299209 h 1940242"/>
                <a:gd name="connsiteX1376" fmla="*/ 1864042 w 2370773"/>
                <a:gd name="connsiteY1376" fmla="*/ 1307782 h 1940242"/>
                <a:gd name="connsiteX1377" fmla="*/ 1855470 w 2370773"/>
                <a:gd name="connsiteY1377" fmla="*/ 1316354 h 1940242"/>
                <a:gd name="connsiteX1378" fmla="*/ 1846897 w 2370773"/>
                <a:gd name="connsiteY1378" fmla="*/ 1307782 h 1940242"/>
                <a:gd name="connsiteX1379" fmla="*/ 1855470 w 2370773"/>
                <a:gd name="connsiteY1379" fmla="*/ 1299209 h 1940242"/>
                <a:gd name="connsiteX1380" fmla="*/ 2147888 w 2370773"/>
                <a:gd name="connsiteY1380" fmla="*/ 1296352 h 1940242"/>
                <a:gd name="connsiteX1381" fmla="*/ 2159318 w 2370773"/>
                <a:gd name="connsiteY1381" fmla="*/ 1307782 h 1940242"/>
                <a:gd name="connsiteX1382" fmla="*/ 2147888 w 2370773"/>
                <a:gd name="connsiteY1382" fmla="*/ 1319212 h 1940242"/>
                <a:gd name="connsiteX1383" fmla="*/ 2136458 w 2370773"/>
                <a:gd name="connsiteY1383" fmla="*/ 1307782 h 1940242"/>
                <a:gd name="connsiteX1384" fmla="*/ 2147888 w 2370773"/>
                <a:gd name="connsiteY1384" fmla="*/ 1296352 h 1940242"/>
                <a:gd name="connsiteX1385" fmla="*/ 1003935 w 2370773"/>
                <a:gd name="connsiteY1385" fmla="*/ 1291590 h 1940242"/>
                <a:gd name="connsiteX1386" fmla="*/ 1013460 w 2370773"/>
                <a:gd name="connsiteY1386" fmla="*/ 1301115 h 1940242"/>
                <a:gd name="connsiteX1387" fmla="*/ 1003935 w 2370773"/>
                <a:gd name="connsiteY1387" fmla="*/ 1310640 h 1940242"/>
                <a:gd name="connsiteX1388" fmla="*/ 994410 w 2370773"/>
                <a:gd name="connsiteY1388" fmla="*/ 1301115 h 1940242"/>
                <a:gd name="connsiteX1389" fmla="*/ 1003935 w 2370773"/>
                <a:gd name="connsiteY1389" fmla="*/ 1291590 h 1940242"/>
                <a:gd name="connsiteX1390" fmla="*/ 2067878 w 2370773"/>
                <a:gd name="connsiteY1390" fmla="*/ 1289684 h 1940242"/>
                <a:gd name="connsiteX1391" fmla="*/ 2076450 w 2370773"/>
                <a:gd name="connsiteY1391" fmla="*/ 1298257 h 1940242"/>
                <a:gd name="connsiteX1392" fmla="*/ 2067878 w 2370773"/>
                <a:gd name="connsiteY1392" fmla="*/ 1306829 h 1940242"/>
                <a:gd name="connsiteX1393" fmla="*/ 2059305 w 2370773"/>
                <a:gd name="connsiteY1393" fmla="*/ 1298257 h 1940242"/>
                <a:gd name="connsiteX1394" fmla="*/ 2067878 w 2370773"/>
                <a:gd name="connsiteY1394" fmla="*/ 1289684 h 1940242"/>
                <a:gd name="connsiteX1395" fmla="*/ 452438 w 2370773"/>
                <a:gd name="connsiteY1395" fmla="*/ 1289684 h 1940242"/>
                <a:gd name="connsiteX1396" fmla="*/ 470535 w 2370773"/>
                <a:gd name="connsiteY1396" fmla="*/ 1307782 h 1940242"/>
                <a:gd name="connsiteX1397" fmla="*/ 452438 w 2370773"/>
                <a:gd name="connsiteY1397" fmla="*/ 1325879 h 1940242"/>
                <a:gd name="connsiteX1398" fmla="*/ 434340 w 2370773"/>
                <a:gd name="connsiteY1398" fmla="*/ 1307782 h 1940242"/>
                <a:gd name="connsiteX1399" fmla="*/ 452438 w 2370773"/>
                <a:gd name="connsiteY1399" fmla="*/ 1289684 h 1940242"/>
                <a:gd name="connsiteX1400" fmla="*/ 1300163 w 2370773"/>
                <a:gd name="connsiteY1400" fmla="*/ 1288732 h 1940242"/>
                <a:gd name="connsiteX1401" fmla="*/ 1303020 w 2370773"/>
                <a:gd name="connsiteY1401" fmla="*/ 1291590 h 1940242"/>
                <a:gd name="connsiteX1402" fmla="*/ 1300163 w 2370773"/>
                <a:gd name="connsiteY1402" fmla="*/ 1294447 h 1940242"/>
                <a:gd name="connsiteX1403" fmla="*/ 1297305 w 2370773"/>
                <a:gd name="connsiteY1403" fmla="*/ 1291590 h 1940242"/>
                <a:gd name="connsiteX1404" fmla="*/ 1300163 w 2370773"/>
                <a:gd name="connsiteY1404" fmla="*/ 1288732 h 1940242"/>
                <a:gd name="connsiteX1405" fmla="*/ 201930 w 2370773"/>
                <a:gd name="connsiteY1405" fmla="*/ 1286827 h 1940242"/>
                <a:gd name="connsiteX1406" fmla="*/ 219075 w 2370773"/>
                <a:gd name="connsiteY1406" fmla="*/ 1303972 h 1940242"/>
                <a:gd name="connsiteX1407" fmla="*/ 201930 w 2370773"/>
                <a:gd name="connsiteY1407" fmla="*/ 1321117 h 1940242"/>
                <a:gd name="connsiteX1408" fmla="*/ 184785 w 2370773"/>
                <a:gd name="connsiteY1408" fmla="*/ 1303972 h 1940242"/>
                <a:gd name="connsiteX1409" fmla="*/ 201930 w 2370773"/>
                <a:gd name="connsiteY1409" fmla="*/ 1286827 h 1940242"/>
                <a:gd name="connsiteX1410" fmla="*/ 1623060 w 2370773"/>
                <a:gd name="connsiteY1410" fmla="*/ 1285875 h 1940242"/>
                <a:gd name="connsiteX1411" fmla="*/ 1627822 w 2370773"/>
                <a:gd name="connsiteY1411" fmla="*/ 1290638 h 1940242"/>
                <a:gd name="connsiteX1412" fmla="*/ 1623060 w 2370773"/>
                <a:gd name="connsiteY1412" fmla="*/ 1295400 h 1940242"/>
                <a:gd name="connsiteX1413" fmla="*/ 1618297 w 2370773"/>
                <a:gd name="connsiteY1413" fmla="*/ 1290638 h 1940242"/>
                <a:gd name="connsiteX1414" fmla="*/ 1623060 w 2370773"/>
                <a:gd name="connsiteY1414" fmla="*/ 1285875 h 1940242"/>
                <a:gd name="connsiteX1415" fmla="*/ 1358266 w 2370773"/>
                <a:gd name="connsiteY1415" fmla="*/ 1285875 h 1940242"/>
                <a:gd name="connsiteX1416" fmla="*/ 1361123 w 2370773"/>
                <a:gd name="connsiteY1416" fmla="*/ 1288733 h 1940242"/>
                <a:gd name="connsiteX1417" fmla="*/ 1358266 w 2370773"/>
                <a:gd name="connsiteY1417" fmla="*/ 1291590 h 1940242"/>
                <a:gd name="connsiteX1418" fmla="*/ 1355408 w 2370773"/>
                <a:gd name="connsiteY1418" fmla="*/ 1288733 h 1940242"/>
                <a:gd name="connsiteX1419" fmla="*/ 1358266 w 2370773"/>
                <a:gd name="connsiteY1419" fmla="*/ 1285875 h 1940242"/>
                <a:gd name="connsiteX1420" fmla="*/ 1243013 w 2370773"/>
                <a:gd name="connsiteY1420" fmla="*/ 1285875 h 1940242"/>
                <a:gd name="connsiteX1421" fmla="*/ 1246823 w 2370773"/>
                <a:gd name="connsiteY1421" fmla="*/ 1289685 h 1940242"/>
                <a:gd name="connsiteX1422" fmla="*/ 1243013 w 2370773"/>
                <a:gd name="connsiteY1422" fmla="*/ 1293495 h 1940242"/>
                <a:gd name="connsiteX1423" fmla="*/ 1239203 w 2370773"/>
                <a:gd name="connsiteY1423" fmla="*/ 1289685 h 1940242"/>
                <a:gd name="connsiteX1424" fmla="*/ 1243013 w 2370773"/>
                <a:gd name="connsiteY1424" fmla="*/ 1285875 h 1940242"/>
                <a:gd name="connsiteX1425" fmla="*/ 1766888 w 2370773"/>
                <a:gd name="connsiteY1425" fmla="*/ 1283017 h 1940242"/>
                <a:gd name="connsiteX1426" fmla="*/ 1773555 w 2370773"/>
                <a:gd name="connsiteY1426" fmla="*/ 1289684 h 1940242"/>
                <a:gd name="connsiteX1427" fmla="*/ 1766888 w 2370773"/>
                <a:gd name="connsiteY1427" fmla="*/ 1296352 h 1940242"/>
                <a:gd name="connsiteX1428" fmla="*/ 1760220 w 2370773"/>
                <a:gd name="connsiteY1428" fmla="*/ 1289684 h 1940242"/>
                <a:gd name="connsiteX1429" fmla="*/ 1766888 w 2370773"/>
                <a:gd name="connsiteY1429" fmla="*/ 1283017 h 1940242"/>
                <a:gd name="connsiteX1430" fmla="*/ 1985962 w 2370773"/>
                <a:gd name="connsiteY1430" fmla="*/ 1281112 h 1940242"/>
                <a:gd name="connsiteX1431" fmla="*/ 1991677 w 2370773"/>
                <a:gd name="connsiteY1431" fmla="*/ 1286827 h 1940242"/>
                <a:gd name="connsiteX1432" fmla="*/ 1985962 w 2370773"/>
                <a:gd name="connsiteY1432" fmla="*/ 1292542 h 1940242"/>
                <a:gd name="connsiteX1433" fmla="*/ 1980247 w 2370773"/>
                <a:gd name="connsiteY1433" fmla="*/ 1286827 h 1940242"/>
                <a:gd name="connsiteX1434" fmla="*/ 1985962 w 2370773"/>
                <a:gd name="connsiteY1434" fmla="*/ 1281112 h 1940242"/>
                <a:gd name="connsiteX1435" fmla="*/ 1185863 w 2370773"/>
                <a:gd name="connsiteY1435" fmla="*/ 1280159 h 1940242"/>
                <a:gd name="connsiteX1436" fmla="*/ 1188720 w 2370773"/>
                <a:gd name="connsiteY1436" fmla="*/ 1283017 h 1940242"/>
                <a:gd name="connsiteX1437" fmla="*/ 1185863 w 2370773"/>
                <a:gd name="connsiteY1437" fmla="*/ 1285874 h 1940242"/>
                <a:gd name="connsiteX1438" fmla="*/ 1183005 w 2370773"/>
                <a:gd name="connsiteY1438" fmla="*/ 1283017 h 1940242"/>
                <a:gd name="connsiteX1439" fmla="*/ 1185863 w 2370773"/>
                <a:gd name="connsiteY1439" fmla="*/ 1280159 h 1940242"/>
                <a:gd name="connsiteX1440" fmla="*/ 1415415 w 2370773"/>
                <a:gd name="connsiteY1440" fmla="*/ 1279207 h 1940242"/>
                <a:gd name="connsiteX1441" fmla="*/ 1419225 w 2370773"/>
                <a:gd name="connsiteY1441" fmla="*/ 1283017 h 1940242"/>
                <a:gd name="connsiteX1442" fmla="*/ 1415415 w 2370773"/>
                <a:gd name="connsiteY1442" fmla="*/ 1286827 h 1940242"/>
                <a:gd name="connsiteX1443" fmla="*/ 1411605 w 2370773"/>
                <a:gd name="connsiteY1443" fmla="*/ 1283017 h 1940242"/>
                <a:gd name="connsiteX1444" fmla="*/ 1415415 w 2370773"/>
                <a:gd name="connsiteY1444" fmla="*/ 1279207 h 1940242"/>
                <a:gd name="connsiteX1445" fmla="*/ 834390 w 2370773"/>
                <a:gd name="connsiteY1445" fmla="*/ 1278254 h 1940242"/>
                <a:gd name="connsiteX1446" fmla="*/ 846773 w 2370773"/>
                <a:gd name="connsiteY1446" fmla="*/ 1290637 h 1940242"/>
                <a:gd name="connsiteX1447" fmla="*/ 834390 w 2370773"/>
                <a:gd name="connsiteY1447" fmla="*/ 1303019 h 1940242"/>
                <a:gd name="connsiteX1448" fmla="*/ 822008 w 2370773"/>
                <a:gd name="connsiteY1448" fmla="*/ 1290637 h 1940242"/>
                <a:gd name="connsiteX1449" fmla="*/ 834390 w 2370773"/>
                <a:gd name="connsiteY1449" fmla="*/ 1278254 h 1940242"/>
                <a:gd name="connsiteX1450" fmla="*/ 722948 w 2370773"/>
                <a:gd name="connsiteY1450" fmla="*/ 1277302 h 1940242"/>
                <a:gd name="connsiteX1451" fmla="*/ 737235 w 2370773"/>
                <a:gd name="connsiteY1451" fmla="*/ 1291590 h 1940242"/>
                <a:gd name="connsiteX1452" fmla="*/ 722948 w 2370773"/>
                <a:gd name="connsiteY1452" fmla="*/ 1305877 h 1940242"/>
                <a:gd name="connsiteX1453" fmla="*/ 708660 w 2370773"/>
                <a:gd name="connsiteY1453" fmla="*/ 1291590 h 1940242"/>
                <a:gd name="connsiteX1454" fmla="*/ 722948 w 2370773"/>
                <a:gd name="connsiteY1454" fmla="*/ 1277302 h 1940242"/>
                <a:gd name="connsiteX1455" fmla="*/ 951547 w 2370773"/>
                <a:gd name="connsiteY1455" fmla="*/ 1271587 h 1940242"/>
                <a:gd name="connsiteX1456" fmla="*/ 959167 w 2370773"/>
                <a:gd name="connsiteY1456" fmla="*/ 1279207 h 1940242"/>
                <a:gd name="connsiteX1457" fmla="*/ 951547 w 2370773"/>
                <a:gd name="connsiteY1457" fmla="*/ 1286827 h 1940242"/>
                <a:gd name="connsiteX1458" fmla="*/ 943927 w 2370773"/>
                <a:gd name="connsiteY1458" fmla="*/ 1279207 h 1940242"/>
                <a:gd name="connsiteX1459" fmla="*/ 951547 w 2370773"/>
                <a:gd name="connsiteY1459" fmla="*/ 1271587 h 1940242"/>
                <a:gd name="connsiteX1460" fmla="*/ 355283 w 2370773"/>
                <a:gd name="connsiteY1460" fmla="*/ 1271587 h 1940242"/>
                <a:gd name="connsiteX1461" fmla="*/ 376238 w 2370773"/>
                <a:gd name="connsiteY1461" fmla="*/ 1292542 h 1940242"/>
                <a:gd name="connsiteX1462" fmla="*/ 355283 w 2370773"/>
                <a:gd name="connsiteY1462" fmla="*/ 1313497 h 1940242"/>
                <a:gd name="connsiteX1463" fmla="*/ 334328 w 2370773"/>
                <a:gd name="connsiteY1463" fmla="*/ 1292542 h 1940242"/>
                <a:gd name="connsiteX1464" fmla="*/ 355283 w 2370773"/>
                <a:gd name="connsiteY1464" fmla="*/ 1271587 h 1940242"/>
                <a:gd name="connsiteX1465" fmla="*/ 615315 w 2370773"/>
                <a:gd name="connsiteY1465" fmla="*/ 1268730 h 1940242"/>
                <a:gd name="connsiteX1466" fmla="*/ 633413 w 2370773"/>
                <a:gd name="connsiteY1466" fmla="*/ 1286828 h 1940242"/>
                <a:gd name="connsiteX1467" fmla="*/ 615315 w 2370773"/>
                <a:gd name="connsiteY1467" fmla="*/ 1304925 h 1940242"/>
                <a:gd name="connsiteX1468" fmla="*/ 597218 w 2370773"/>
                <a:gd name="connsiteY1468" fmla="*/ 1286828 h 1940242"/>
                <a:gd name="connsiteX1469" fmla="*/ 615315 w 2370773"/>
                <a:gd name="connsiteY1469" fmla="*/ 1268730 h 1940242"/>
                <a:gd name="connsiteX1470" fmla="*/ 1901190 w 2370773"/>
                <a:gd name="connsiteY1470" fmla="*/ 1268729 h 1940242"/>
                <a:gd name="connsiteX1471" fmla="*/ 1906905 w 2370773"/>
                <a:gd name="connsiteY1471" fmla="*/ 1274444 h 1940242"/>
                <a:gd name="connsiteX1472" fmla="*/ 1901190 w 2370773"/>
                <a:gd name="connsiteY1472" fmla="*/ 1280159 h 1940242"/>
                <a:gd name="connsiteX1473" fmla="*/ 1895475 w 2370773"/>
                <a:gd name="connsiteY1473" fmla="*/ 1274444 h 1940242"/>
                <a:gd name="connsiteX1474" fmla="*/ 1901190 w 2370773"/>
                <a:gd name="connsiteY1474" fmla="*/ 1268729 h 1940242"/>
                <a:gd name="connsiteX1475" fmla="*/ 1128712 w 2370773"/>
                <a:gd name="connsiteY1475" fmla="*/ 1268729 h 1940242"/>
                <a:gd name="connsiteX1476" fmla="*/ 1132522 w 2370773"/>
                <a:gd name="connsiteY1476" fmla="*/ 1272539 h 1940242"/>
                <a:gd name="connsiteX1477" fmla="*/ 1128712 w 2370773"/>
                <a:gd name="connsiteY1477" fmla="*/ 1276349 h 1940242"/>
                <a:gd name="connsiteX1478" fmla="*/ 1124902 w 2370773"/>
                <a:gd name="connsiteY1478" fmla="*/ 1272539 h 1940242"/>
                <a:gd name="connsiteX1479" fmla="*/ 1128712 w 2370773"/>
                <a:gd name="connsiteY1479" fmla="*/ 1268729 h 1940242"/>
                <a:gd name="connsiteX1480" fmla="*/ 2264093 w 2370773"/>
                <a:gd name="connsiteY1480" fmla="*/ 1267777 h 1940242"/>
                <a:gd name="connsiteX1481" fmla="*/ 2265998 w 2370773"/>
                <a:gd name="connsiteY1481" fmla="*/ 1269682 h 1940242"/>
                <a:gd name="connsiteX1482" fmla="*/ 2264093 w 2370773"/>
                <a:gd name="connsiteY1482" fmla="*/ 1271587 h 1940242"/>
                <a:gd name="connsiteX1483" fmla="*/ 2262188 w 2370773"/>
                <a:gd name="connsiteY1483" fmla="*/ 1269682 h 1940242"/>
                <a:gd name="connsiteX1484" fmla="*/ 2264093 w 2370773"/>
                <a:gd name="connsiteY1484" fmla="*/ 1267777 h 1940242"/>
                <a:gd name="connsiteX1485" fmla="*/ 1472565 w 2370773"/>
                <a:gd name="connsiteY1485" fmla="*/ 1267777 h 1940242"/>
                <a:gd name="connsiteX1486" fmla="*/ 1476375 w 2370773"/>
                <a:gd name="connsiteY1486" fmla="*/ 1271587 h 1940242"/>
                <a:gd name="connsiteX1487" fmla="*/ 1472565 w 2370773"/>
                <a:gd name="connsiteY1487" fmla="*/ 1275397 h 1940242"/>
                <a:gd name="connsiteX1488" fmla="*/ 1468755 w 2370773"/>
                <a:gd name="connsiteY1488" fmla="*/ 1271587 h 1940242"/>
                <a:gd name="connsiteX1489" fmla="*/ 1472565 w 2370773"/>
                <a:gd name="connsiteY1489" fmla="*/ 1267777 h 1940242"/>
                <a:gd name="connsiteX1490" fmla="*/ 1675447 w 2370773"/>
                <a:gd name="connsiteY1490" fmla="*/ 1260157 h 1940242"/>
                <a:gd name="connsiteX1491" fmla="*/ 1682115 w 2370773"/>
                <a:gd name="connsiteY1491" fmla="*/ 1266824 h 1940242"/>
                <a:gd name="connsiteX1492" fmla="*/ 1675447 w 2370773"/>
                <a:gd name="connsiteY1492" fmla="*/ 1273492 h 1940242"/>
                <a:gd name="connsiteX1493" fmla="*/ 1668780 w 2370773"/>
                <a:gd name="connsiteY1493" fmla="*/ 1266824 h 1940242"/>
                <a:gd name="connsiteX1494" fmla="*/ 1675447 w 2370773"/>
                <a:gd name="connsiteY1494" fmla="*/ 1260157 h 1940242"/>
                <a:gd name="connsiteX1495" fmla="*/ 513398 w 2370773"/>
                <a:gd name="connsiteY1495" fmla="*/ 1260157 h 1940242"/>
                <a:gd name="connsiteX1496" fmla="*/ 531495 w 2370773"/>
                <a:gd name="connsiteY1496" fmla="*/ 1278254 h 1940242"/>
                <a:gd name="connsiteX1497" fmla="*/ 513398 w 2370773"/>
                <a:gd name="connsiteY1497" fmla="*/ 1296352 h 1940242"/>
                <a:gd name="connsiteX1498" fmla="*/ 495300 w 2370773"/>
                <a:gd name="connsiteY1498" fmla="*/ 1278254 h 1940242"/>
                <a:gd name="connsiteX1499" fmla="*/ 513398 w 2370773"/>
                <a:gd name="connsiteY1499" fmla="*/ 1260157 h 1940242"/>
                <a:gd name="connsiteX1500" fmla="*/ 2185987 w 2370773"/>
                <a:gd name="connsiteY1500" fmla="*/ 1255395 h 1940242"/>
                <a:gd name="connsiteX1501" fmla="*/ 2194560 w 2370773"/>
                <a:gd name="connsiteY1501" fmla="*/ 1263967 h 1940242"/>
                <a:gd name="connsiteX1502" fmla="*/ 2185987 w 2370773"/>
                <a:gd name="connsiteY1502" fmla="*/ 1272540 h 1940242"/>
                <a:gd name="connsiteX1503" fmla="*/ 2177415 w 2370773"/>
                <a:gd name="connsiteY1503" fmla="*/ 1263967 h 1940242"/>
                <a:gd name="connsiteX1504" fmla="*/ 2185987 w 2370773"/>
                <a:gd name="connsiteY1504" fmla="*/ 1255395 h 1940242"/>
                <a:gd name="connsiteX1505" fmla="*/ 260985 w 2370773"/>
                <a:gd name="connsiteY1505" fmla="*/ 1255395 h 1940242"/>
                <a:gd name="connsiteX1506" fmla="*/ 281940 w 2370773"/>
                <a:gd name="connsiteY1506" fmla="*/ 1276350 h 1940242"/>
                <a:gd name="connsiteX1507" fmla="*/ 260985 w 2370773"/>
                <a:gd name="connsiteY1507" fmla="*/ 1297305 h 1940242"/>
                <a:gd name="connsiteX1508" fmla="*/ 240030 w 2370773"/>
                <a:gd name="connsiteY1508" fmla="*/ 1276350 h 1940242"/>
                <a:gd name="connsiteX1509" fmla="*/ 260985 w 2370773"/>
                <a:gd name="connsiteY1509" fmla="*/ 1255395 h 1940242"/>
                <a:gd name="connsiteX1510" fmla="*/ 1527810 w 2370773"/>
                <a:gd name="connsiteY1510" fmla="*/ 1254442 h 1940242"/>
                <a:gd name="connsiteX1511" fmla="*/ 1530668 w 2370773"/>
                <a:gd name="connsiteY1511" fmla="*/ 1257300 h 1940242"/>
                <a:gd name="connsiteX1512" fmla="*/ 1527810 w 2370773"/>
                <a:gd name="connsiteY1512" fmla="*/ 1260157 h 1940242"/>
                <a:gd name="connsiteX1513" fmla="*/ 1524953 w 2370773"/>
                <a:gd name="connsiteY1513" fmla="*/ 1257300 h 1940242"/>
                <a:gd name="connsiteX1514" fmla="*/ 1527810 w 2370773"/>
                <a:gd name="connsiteY1514" fmla="*/ 1254442 h 1940242"/>
                <a:gd name="connsiteX1515" fmla="*/ 1815466 w 2370773"/>
                <a:gd name="connsiteY1515" fmla="*/ 1253490 h 1940242"/>
                <a:gd name="connsiteX1516" fmla="*/ 1820228 w 2370773"/>
                <a:gd name="connsiteY1516" fmla="*/ 1258253 h 1940242"/>
                <a:gd name="connsiteX1517" fmla="*/ 1815466 w 2370773"/>
                <a:gd name="connsiteY1517" fmla="*/ 1263015 h 1940242"/>
                <a:gd name="connsiteX1518" fmla="*/ 1810703 w 2370773"/>
                <a:gd name="connsiteY1518" fmla="*/ 1258253 h 1940242"/>
                <a:gd name="connsiteX1519" fmla="*/ 1815466 w 2370773"/>
                <a:gd name="connsiteY1519" fmla="*/ 1253490 h 1940242"/>
                <a:gd name="connsiteX1520" fmla="*/ 1073467 w 2370773"/>
                <a:gd name="connsiteY1520" fmla="*/ 1251584 h 1940242"/>
                <a:gd name="connsiteX1521" fmla="*/ 1079182 w 2370773"/>
                <a:gd name="connsiteY1521" fmla="*/ 1257299 h 1940242"/>
                <a:gd name="connsiteX1522" fmla="*/ 1073467 w 2370773"/>
                <a:gd name="connsiteY1522" fmla="*/ 1263014 h 1940242"/>
                <a:gd name="connsiteX1523" fmla="*/ 1067752 w 2370773"/>
                <a:gd name="connsiteY1523" fmla="*/ 1257299 h 1940242"/>
                <a:gd name="connsiteX1524" fmla="*/ 1073467 w 2370773"/>
                <a:gd name="connsiteY1524" fmla="*/ 1251584 h 1940242"/>
                <a:gd name="connsiteX1525" fmla="*/ 2107883 w 2370773"/>
                <a:gd name="connsiteY1525" fmla="*/ 1247775 h 1940242"/>
                <a:gd name="connsiteX1526" fmla="*/ 2116455 w 2370773"/>
                <a:gd name="connsiteY1526" fmla="*/ 1256347 h 1940242"/>
                <a:gd name="connsiteX1527" fmla="*/ 2107883 w 2370773"/>
                <a:gd name="connsiteY1527" fmla="*/ 1264920 h 1940242"/>
                <a:gd name="connsiteX1528" fmla="*/ 2099310 w 2370773"/>
                <a:gd name="connsiteY1528" fmla="*/ 1256347 h 1940242"/>
                <a:gd name="connsiteX1529" fmla="*/ 2107883 w 2370773"/>
                <a:gd name="connsiteY1529" fmla="*/ 1247775 h 1940242"/>
                <a:gd name="connsiteX1530" fmla="*/ 169544 w 2370773"/>
                <a:gd name="connsiteY1530" fmla="*/ 1247775 h 1940242"/>
                <a:gd name="connsiteX1531" fmla="*/ 178117 w 2370773"/>
                <a:gd name="connsiteY1531" fmla="*/ 1256347 h 1940242"/>
                <a:gd name="connsiteX1532" fmla="*/ 169544 w 2370773"/>
                <a:gd name="connsiteY1532" fmla="*/ 1264920 h 1940242"/>
                <a:gd name="connsiteX1533" fmla="*/ 160972 w 2370773"/>
                <a:gd name="connsiteY1533" fmla="*/ 1256347 h 1940242"/>
                <a:gd name="connsiteX1534" fmla="*/ 169544 w 2370773"/>
                <a:gd name="connsiteY1534" fmla="*/ 1247775 h 1940242"/>
                <a:gd name="connsiteX1535" fmla="*/ 900112 w 2370773"/>
                <a:gd name="connsiteY1535" fmla="*/ 1245870 h 1940242"/>
                <a:gd name="connsiteX1536" fmla="*/ 907732 w 2370773"/>
                <a:gd name="connsiteY1536" fmla="*/ 1253490 h 1940242"/>
                <a:gd name="connsiteX1537" fmla="*/ 900112 w 2370773"/>
                <a:gd name="connsiteY1537" fmla="*/ 1261110 h 1940242"/>
                <a:gd name="connsiteX1538" fmla="*/ 892492 w 2370773"/>
                <a:gd name="connsiteY1538" fmla="*/ 1253490 h 1940242"/>
                <a:gd name="connsiteX1539" fmla="*/ 900112 w 2370773"/>
                <a:gd name="connsiteY1539" fmla="*/ 1245870 h 1940242"/>
                <a:gd name="connsiteX1540" fmla="*/ 785812 w 2370773"/>
                <a:gd name="connsiteY1540" fmla="*/ 1244917 h 1940242"/>
                <a:gd name="connsiteX1541" fmla="*/ 799147 w 2370773"/>
                <a:gd name="connsiteY1541" fmla="*/ 1258252 h 1940242"/>
                <a:gd name="connsiteX1542" fmla="*/ 785812 w 2370773"/>
                <a:gd name="connsiteY1542" fmla="*/ 1271587 h 1940242"/>
                <a:gd name="connsiteX1543" fmla="*/ 772477 w 2370773"/>
                <a:gd name="connsiteY1543" fmla="*/ 1258252 h 1940242"/>
                <a:gd name="connsiteX1544" fmla="*/ 785812 w 2370773"/>
                <a:gd name="connsiteY1544" fmla="*/ 1244917 h 1940242"/>
                <a:gd name="connsiteX1545" fmla="*/ 414338 w 2370773"/>
                <a:gd name="connsiteY1545" fmla="*/ 1244917 h 1940242"/>
                <a:gd name="connsiteX1546" fmla="*/ 433388 w 2370773"/>
                <a:gd name="connsiteY1546" fmla="*/ 1263967 h 1940242"/>
                <a:gd name="connsiteX1547" fmla="*/ 414338 w 2370773"/>
                <a:gd name="connsiteY1547" fmla="*/ 1283017 h 1940242"/>
                <a:gd name="connsiteX1548" fmla="*/ 395288 w 2370773"/>
                <a:gd name="connsiteY1548" fmla="*/ 1263967 h 1940242"/>
                <a:gd name="connsiteX1549" fmla="*/ 414338 w 2370773"/>
                <a:gd name="connsiteY1549" fmla="*/ 1244917 h 1940242"/>
                <a:gd name="connsiteX1550" fmla="*/ 2026921 w 2370773"/>
                <a:gd name="connsiteY1550" fmla="*/ 1241107 h 1940242"/>
                <a:gd name="connsiteX1551" fmla="*/ 2033588 w 2370773"/>
                <a:gd name="connsiteY1551" fmla="*/ 1247775 h 1940242"/>
                <a:gd name="connsiteX1552" fmla="*/ 2026921 w 2370773"/>
                <a:gd name="connsiteY1552" fmla="*/ 1254442 h 1940242"/>
                <a:gd name="connsiteX1553" fmla="*/ 2020253 w 2370773"/>
                <a:gd name="connsiteY1553" fmla="*/ 1247775 h 1940242"/>
                <a:gd name="connsiteX1554" fmla="*/ 2026921 w 2370773"/>
                <a:gd name="connsiteY1554" fmla="*/ 1241107 h 1940242"/>
                <a:gd name="connsiteX1555" fmla="*/ 677228 w 2370773"/>
                <a:gd name="connsiteY1555" fmla="*/ 1239202 h 1940242"/>
                <a:gd name="connsiteX1556" fmla="*/ 694373 w 2370773"/>
                <a:gd name="connsiteY1556" fmla="*/ 1256347 h 1940242"/>
                <a:gd name="connsiteX1557" fmla="*/ 677228 w 2370773"/>
                <a:gd name="connsiteY1557" fmla="*/ 1273492 h 1940242"/>
                <a:gd name="connsiteX1558" fmla="*/ 660083 w 2370773"/>
                <a:gd name="connsiteY1558" fmla="*/ 1256347 h 1940242"/>
                <a:gd name="connsiteX1559" fmla="*/ 677228 w 2370773"/>
                <a:gd name="connsiteY1559" fmla="*/ 1239202 h 1940242"/>
                <a:gd name="connsiteX1560" fmla="*/ 1582102 w 2370773"/>
                <a:gd name="connsiteY1560" fmla="*/ 1236345 h 1940242"/>
                <a:gd name="connsiteX1561" fmla="*/ 1584007 w 2370773"/>
                <a:gd name="connsiteY1561" fmla="*/ 1238250 h 1940242"/>
                <a:gd name="connsiteX1562" fmla="*/ 1582102 w 2370773"/>
                <a:gd name="connsiteY1562" fmla="*/ 1240155 h 1940242"/>
                <a:gd name="connsiteX1563" fmla="*/ 1580197 w 2370773"/>
                <a:gd name="connsiteY1563" fmla="*/ 1238250 h 1940242"/>
                <a:gd name="connsiteX1564" fmla="*/ 1582102 w 2370773"/>
                <a:gd name="connsiteY1564" fmla="*/ 1236345 h 1940242"/>
                <a:gd name="connsiteX1565" fmla="*/ 1726883 w 2370773"/>
                <a:gd name="connsiteY1565" fmla="*/ 1232534 h 1940242"/>
                <a:gd name="connsiteX1566" fmla="*/ 1733550 w 2370773"/>
                <a:gd name="connsiteY1566" fmla="*/ 1239202 h 1940242"/>
                <a:gd name="connsiteX1567" fmla="*/ 1726883 w 2370773"/>
                <a:gd name="connsiteY1567" fmla="*/ 1245869 h 1940242"/>
                <a:gd name="connsiteX1568" fmla="*/ 1720216 w 2370773"/>
                <a:gd name="connsiteY1568" fmla="*/ 1239202 h 1940242"/>
                <a:gd name="connsiteX1569" fmla="*/ 1726883 w 2370773"/>
                <a:gd name="connsiteY1569" fmla="*/ 1232534 h 1940242"/>
                <a:gd name="connsiteX1570" fmla="*/ 1019175 w 2370773"/>
                <a:gd name="connsiteY1570" fmla="*/ 1232534 h 1940242"/>
                <a:gd name="connsiteX1571" fmla="*/ 1024890 w 2370773"/>
                <a:gd name="connsiteY1571" fmla="*/ 1238249 h 1940242"/>
                <a:gd name="connsiteX1572" fmla="*/ 1019175 w 2370773"/>
                <a:gd name="connsiteY1572" fmla="*/ 1243964 h 1940242"/>
                <a:gd name="connsiteX1573" fmla="*/ 1013460 w 2370773"/>
                <a:gd name="connsiteY1573" fmla="*/ 1238249 h 1940242"/>
                <a:gd name="connsiteX1574" fmla="*/ 1019175 w 2370773"/>
                <a:gd name="connsiteY1574" fmla="*/ 1232534 h 1940242"/>
                <a:gd name="connsiteX1575" fmla="*/ 1945005 w 2370773"/>
                <a:gd name="connsiteY1575" fmla="*/ 1230629 h 1940242"/>
                <a:gd name="connsiteX1576" fmla="*/ 1950720 w 2370773"/>
                <a:gd name="connsiteY1576" fmla="*/ 1236344 h 1940242"/>
                <a:gd name="connsiteX1577" fmla="*/ 1945005 w 2370773"/>
                <a:gd name="connsiteY1577" fmla="*/ 1242059 h 1940242"/>
                <a:gd name="connsiteX1578" fmla="*/ 1939290 w 2370773"/>
                <a:gd name="connsiteY1578" fmla="*/ 1236344 h 1940242"/>
                <a:gd name="connsiteX1579" fmla="*/ 1945005 w 2370773"/>
                <a:gd name="connsiteY1579" fmla="*/ 1230629 h 1940242"/>
                <a:gd name="connsiteX1580" fmla="*/ 573405 w 2370773"/>
                <a:gd name="connsiteY1580" fmla="*/ 1229677 h 1940242"/>
                <a:gd name="connsiteX1581" fmla="*/ 591503 w 2370773"/>
                <a:gd name="connsiteY1581" fmla="*/ 1247774 h 1940242"/>
                <a:gd name="connsiteX1582" fmla="*/ 573405 w 2370773"/>
                <a:gd name="connsiteY1582" fmla="*/ 1265872 h 1940242"/>
                <a:gd name="connsiteX1583" fmla="*/ 555308 w 2370773"/>
                <a:gd name="connsiteY1583" fmla="*/ 1247774 h 1940242"/>
                <a:gd name="connsiteX1584" fmla="*/ 573405 w 2370773"/>
                <a:gd name="connsiteY1584" fmla="*/ 1229677 h 1940242"/>
                <a:gd name="connsiteX1585" fmla="*/ 320040 w 2370773"/>
                <a:gd name="connsiteY1585" fmla="*/ 1226820 h 1940242"/>
                <a:gd name="connsiteX1586" fmla="*/ 340995 w 2370773"/>
                <a:gd name="connsiteY1586" fmla="*/ 1247775 h 1940242"/>
                <a:gd name="connsiteX1587" fmla="*/ 320040 w 2370773"/>
                <a:gd name="connsiteY1587" fmla="*/ 1268730 h 1940242"/>
                <a:gd name="connsiteX1588" fmla="*/ 299085 w 2370773"/>
                <a:gd name="connsiteY1588" fmla="*/ 1247775 h 1940242"/>
                <a:gd name="connsiteX1589" fmla="*/ 320040 w 2370773"/>
                <a:gd name="connsiteY1589" fmla="*/ 1226820 h 1940242"/>
                <a:gd name="connsiteX1590" fmla="*/ 1315403 w 2370773"/>
                <a:gd name="connsiteY1590" fmla="*/ 1225867 h 1940242"/>
                <a:gd name="connsiteX1591" fmla="*/ 1317308 w 2370773"/>
                <a:gd name="connsiteY1591" fmla="*/ 1227772 h 1940242"/>
                <a:gd name="connsiteX1592" fmla="*/ 1315403 w 2370773"/>
                <a:gd name="connsiteY1592" fmla="*/ 1229677 h 1940242"/>
                <a:gd name="connsiteX1593" fmla="*/ 1313498 w 2370773"/>
                <a:gd name="connsiteY1593" fmla="*/ 1227772 h 1940242"/>
                <a:gd name="connsiteX1594" fmla="*/ 1315403 w 2370773"/>
                <a:gd name="connsiteY1594" fmla="*/ 1225867 h 1940242"/>
                <a:gd name="connsiteX1595" fmla="*/ 1257300 w 2370773"/>
                <a:gd name="connsiteY1595" fmla="*/ 1223962 h 1940242"/>
                <a:gd name="connsiteX1596" fmla="*/ 1259205 w 2370773"/>
                <a:gd name="connsiteY1596" fmla="*/ 1225867 h 1940242"/>
                <a:gd name="connsiteX1597" fmla="*/ 1257300 w 2370773"/>
                <a:gd name="connsiteY1597" fmla="*/ 1227772 h 1940242"/>
                <a:gd name="connsiteX1598" fmla="*/ 1255395 w 2370773"/>
                <a:gd name="connsiteY1598" fmla="*/ 1225867 h 1940242"/>
                <a:gd name="connsiteX1599" fmla="*/ 1257300 w 2370773"/>
                <a:gd name="connsiteY1599" fmla="*/ 1223962 h 1940242"/>
                <a:gd name="connsiteX1600" fmla="*/ 1372552 w 2370773"/>
                <a:gd name="connsiteY1600" fmla="*/ 1222057 h 1940242"/>
                <a:gd name="connsiteX1601" fmla="*/ 1374457 w 2370773"/>
                <a:gd name="connsiteY1601" fmla="*/ 1223962 h 1940242"/>
                <a:gd name="connsiteX1602" fmla="*/ 1372552 w 2370773"/>
                <a:gd name="connsiteY1602" fmla="*/ 1225867 h 1940242"/>
                <a:gd name="connsiteX1603" fmla="*/ 1370647 w 2370773"/>
                <a:gd name="connsiteY1603" fmla="*/ 1223962 h 1940242"/>
                <a:gd name="connsiteX1604" fmla="*/ 1372552 w 2370773"/>
                <a:gd name="connsiteY1604" fmla="*/ 1222057 h 1940242"/>
                <a:gd name="connsiteX1605" fmla="*/ 2298383 w 2370773"/>
                <a:gd name="connsiteY1605" fmla="*/ 1221104 h 1940242"/>
                <a:gd name="connsiteX1606" fmla="*/ 2301240 w 2370773"/>
                <a:gd name="connsiteY1606" fmla="*/ 1223962 h 1940242"/>
                <a:gd name="connsiteX1607" fmla="*/ 2298383 w 2370773"/>
                <a:gd name="connsiteY1607" fmla="*/ 1226819 h 1940242"/>
                <a:gd name="connsiteX1608" fmla="*/ 2295525 w 2370773"/>
                <a:gd name="connsiteY1608" fmla="*/ 1223962 h 1940242"/>
                <a:gd name="connsiteX1609" fmla="*/ 2298383 w 2370773"/>
                <a:gd name="connsiteY1609" fmla="*/ 1221104 h 1940242"/>
                <a:gd name="connsiteX1610" fmla="*/ 1861185 w 2370773"/>
                <a:gd name="connsiteY1610" fmla="*/ 1221104 h 1940242"/>
                <a:gd name="connsiteX1611" fmla="*/ 1864043 w 2370773"/>
                <a:gd name="connsiteY1611" fmla="*/ 1223962 h 1940242"/>
                <a:gd name="connsiteX1612" fmla="*/ 1861185 w 2370773"/>
                <a:gd name="connsiteY1612" fmla="*/ 1226819 h 1940242"/>
                <a:gd name="connsiteX1613" fmla="*/ 1858328 w 2370773"/>
                <a:gd name="connsiteY1613" fmla="*/ 1223962 h 1940242"/>
                <a:gd name="connsiteX1614" fmla="*/ 1861185 w 2370773"/>
                <a:gd name="connsiteY1614" fmla="*/ 1221104 h 1940242"/>
                <a:gd name="connsiteX1615" fmla="*/ 474345 w 2370773"/>
                <a:gd name="connsiteY1615" fmla="*/ 1219200 h 1940242"/>
                <a:gd name="connsiteX1616" fmla="*/ 490537 w 2370773"/>
                <a:gd name="connsiteY1616" fmla="*/ 1235392 h 1940242"/>
                <a:gd name="connsiteX1617" fmla="*/ 474345 w 2370773"/>
                <a:gd name="connsiteY1617" fmla="*/ 1251585 h 1940242"/>
                <a:gd name="connsiteX1618" fmla="*/ 458152 w 2370773"/>
                <a:gd name="connsiteY1618" fmla="*/ 1235392 h 1940242"/>
                <a:gd name="connsiteX1619" fmla="*/ 474345 w 2370773"/>
                <a:gd name="connsiteY1619" fmla="*/ 1219200 h 1940242"/>
                <a:gd name="connsiteX1620" fmla="*/ 1200150 w 2370773"/>
                <a:gd name="connsiteY1620" fmla="*/ 1218247 h 1940242"/>
                <a:gd name="connsiteX1621" fmla="*/ 1202055 w 2370773"/>
                <a:gd name="connsiteY1621" fmla="*/ 1220152 h 1940242"/>
                <a:gd name="connsiteX1622" fmla="*/ 1200150 w 2370773"/>
                <a:gd name="connsiteY1622" fmla="*/ 1222057 h 1940242"/>
                <a:gd name="connsiteX1623" fmla="*/ 1198245 w 2370773"/>
                <a:gd name="connsiteY1623" fmla="*/ 1220152 h 1940242"/>
                <a:gd name="connsiteX1624" fmla="*/ 1200150 w 2370773"/>
                <a:gd name="connsiteY1624" fmla="*/ 1218247 h 1940242"/>
                <a:gd name="connsiteX1625" fmla="*/ 850583 w 2370773"/>
                <a:gd name="connsiteY1625" fmla="*/ 1215390 h 1940242"/>
                <a:gd name="connsiteX1626" fmla="*/ 859155 w 2370773"/>
                <a:gd name="connsiteY1626" fmla="*/ 1223962 h 1940242"/>
                <a:gd name="connsiteX1627" fmla="*/ 850583 w 2370773"/>
                <a:gd name="connsiteY1627" fmla="*/ 1232535 h 1940242"/>
                <a:gd name="connsiteX1628" fmla="*/ 842010 w 2370773"/>
                <a:gd name="connsiteY1628" fmla="*/ 1223962 h 1940242"/>
                <a:gd name="connsiteX1629" fmla="*/ 850583 w 2370773"/>
                <a:gd name="connsiteY1629" fmla="*/ 1215390 h 1940242"/>
                <a:gd name="connsiteX1630" fmla="*/ 228600 w 2370773"/>
                <a:gd name="connsiteY1630" fmla="*/ 1213484 h 1940242"/>
                <a:gd name="connsiteX1631" fmla="*/ 243840 w 2370773"/>
                <a:gd name="connsiteY1631" fmla="*/ 1228724 h 1940242"/>
                <a:gd name="connsiteX1632" fmla="*/ 228600 w 2370773"/>
                <a:gd name="connsiteY1632" fmla="*/ 1243964 h 1940242"/>
                <a:gd name="connsiteX1633" fmla="*/ 213360 w 2370773"/>
                <a:gd name="connsiteY1633" fmla="*/ 1228724 h 1940242"/>
                <a:gd name="connsiteX1634" fmla="*/ 228600 w 2370773"/>
                <a:gd name="connsiteY1634" fmla="*/ 1213484 h 1940242"/>
                <a:gd name="connsiteX1635" fmla="*/ 1635443 w 2370773"/>
                <a:gd name="connsiteY1635" fmla="*/ 1212532 h 1940242"/>
                <a:gd name="connsiteX1636" fmla="*/ 1638300 w 2370773"/>
                <a:gd name="connsiteY1636" fmla="*/ 1215390 h 1940242"/>
                <a:gd name="connsiteX1637" fmla="*/ 1635443 w 2370773"/>
                <a:gd name="connsiteY1637" fmla="*/ 1218247 h 1940242"/>
                <a:gd name="connsiteX1638" fmla="*/ 1632585 w 2370773"/>
                <a:gd name="connsiteY1638" fmla="*/ 1215390 h 1940242"/>
                <a:gd name="connsiteX1639" fmla="*/ 1635443 w 2370773"/>
                <a:gd name="connsiteY1639" fmla="*/ 1212532 h 1940242"/>
                <a:gd name="connsiteX1640" fmla="*/ 1429702 w 2370773"/>
                <a:gd name="connsiteY1640" fmla="*/ 1212532 h 1940242"/>
                <a:gd name="connsiteX1641" fmla="*/ 1432560 w 2370773"/>
                <a:gd name="connsiteY1641" fmla="*/ 1215390 h 1940242"/>
                <a:gd name="connsiteX1642" fmla="*/ 1429702 w 2370773"/>
                <a:gd name="connsiteY1642" fmla="*/ 1218247 h 1940242"/>
                <a:gd name="connsiteX1643" fmla="*/ 1426845 w 2370773"/>
                <a:gd name="connsiteY1643" fmla="*/ 1215390 h 1940242"/>
                <a:gd name="connsiteX1644" fmla="*/ 1429702 w 2370773"/>
                <a:gd name="connsiteY1644" fmla="*/ 1212532 h 1940242"/>
                <a:gd name="connsiteX1645" fmla="*/ 740092 w 2370773"/>
                <a:gd name="connsiteY1645" fmla="*/ 1212532 h 1940242"/>
                <a:gd name="connsiteX1646" fmla="*/ 751522 w 2370773"/>
                <a:gd name="connsiteY1646" fmla="*/ 1223962 h 1940242"/>
                <a:gd name="connsiteX1647" fmla="*/ 740092 w 2370773"/>
                <a:gd name="connsiteY1647" fmla="*/ 1235392 h 1940242"/>
                <a:gd name="connsiteX1648" fmla="*/ 728662 w 2370773"/>
                <a:gd name="connsiteY1648" fmla="*/ 1223962 h 1940242"/>
                <a:gd name="connsiteX1649" fmla="*/ 740092 w 2370773"/>
                <a:gd name="connsiteY1649" fmla="*/ 1212532 h 1940242"/>
                <a:gd name="connsiteX1650" fmla="*/ 965835 w 2370773"/>
                <a:gd name="connsiteY1650" fmla="*/ 1211579 h 1940242"/>
                <a:gd name="connsiteX1651" fmla="*/ 969645 w 2370773"/>
                <a:gd name="connsiteY1651" fmla="*/ 1215389 h 1940242"/>
                <a:gd name="connsiteX1652" fmla="*/ 965835 w 2370773"/>
                <a:gd name="connsiteY1652" fmla="*/ 1219199 h 1940242"/>
                <a:gd name="connsiteX1653" fmla="*/ 962025 w 2370773"/>
                <a:gd name="connsiteY1653" fmla="*/ 1215389 h 1940242"/>
                <a:gd name="connsiteX1654" fmla="*/ 965835 w 2370773"/>
                <a:gd name="connsiteY1654" fmla="*/ 1211579 h 1940242"/>
                <a:gd name="connsiteX1655" fmla="*/ 2222183 w 2370773"/>
                <a:gd name="connsiteY1655" fmla="*/ 1206817 h 1940242"/>
                <a:gd name="connsiteX1656" fmla="*/ 2233613 w 2370773"/>
                <a:gd name="connsiteY1656" fmla="*/ 1218247 h 1940242"/>
                <a:gd name="connsiteX1657" fmla="*/ 2222183 w 2370773"/>
                <a:gd name="connsiteY1657" fmla="*/ 1229677 h 1940242"/>
                <a:gd name="connsiteX1658" fmla="*/ 2210753 w 2370773"/>
                <a:gd name="connsiteY1658" fmla="*/ 1218247 h 1940242"/>
                <a:gd name="connsiteX1659" fmla="*/ 2222183 w 2370773"/>
                <a:gd name="connsiteY1659" fmla="*/ 1206817 h 1940242"/>
                <a:gd name="connsiteX1660" fmla="*/ 1143000 w 2370773"/>
                <a:gd name="connsiteY1660" fmla="*/ 1206817 h 1940242"/>
                <a:gd name="connsiteX1661" fmla="*/ 1145857 w 2370773"/>
                <a:gd name="connsiteY1661" fmla="*/ 1209675 h 1940242"/>
                <a:gd name="connsiteX1662" fmla="*/ 1143000 w 2370773"/>
                <a:gd name="connsiteY1662" fmla="*/ 1212532 h 1940242"/>
                <a:gd name="connsiteX1663" fmla="*/ 1140142 w 2370773"/>
                <a:gd name="connsiteY1663" fmla="*/ 1209675 h 1940242"/>
                <a:gd name="connsiteX1664" fmla="*/ 1143000 w 2370773"/>
                <a:gd name="connsiteY1664" fmla="*/ 1206817 h 1940242"/>
                <a:gd name="connsiteX1665" fmla="*/ 1775460 w 2370773"/>
                <a:gd name="connsiteY1665" fmla="*/ 1204912 h 1940242"/>
                <a:gd name="connsiteX1666" fmla="*/ 1779270 w 2370773"/>
                <a:gd name="connsiteY1666" fmla="*/ 1208722 h 1940242"/>
                <a:gd name="connsiteX1667" fmla="*/ 1775460 w 2370773"/>
                <a:gd name="connsiteY1667" fmla="*/ 1212532 h 1940242"/>
                <a:gd name="connsiteX1668" fmla="*/ 1771650 w 2370773"/>
                <a:gd name="connsiteY1668" fmla="*/ 1208722 h 1940242"/>
                <a:gd name="connsiteX1669" fmla="*/ 1775460 w 2370773"/>
                <a:gd name="connsiteY1669" fmla="*/ 1204912 h 1940242"/>
                <a:gd name="connsiteX1670" fmla="*/ 2145030 w 2370773"/>
                <a:gd name="connsiteY1670" fmla="*/ 1203959 h 1940242"/>
                <a:gd name="connsiteX1671" fmla="*/ 2153603 w 2370773"/>
                <a:gd name="connsiteY1671" fmla="*/ 1212532 h 1940242"/>
                <a:gd name="connsiteX1672" fmla="*/ 2145030 w 2370773"/>
                <a:gd name="connsiteY1672" fmla="*/ 1221104 h 1940242"/>
                <a:gd name="connsiteX1673" fmla="*/ 2136458 w 2370773"/>
                <a:gd name="connsiteY1673" fmla="*/ 1212532 h 1940242"/>
                <a:gd name="connsiteX1674" fmla="*/ 2145030 w 2370773"/>
                <a:gd name="connsiteY1674" fmla="*/ 1203959 h 1940242"/>
                <a:gd name="connsiteX1675" fmla="*/ 1485900 w 2370773"/>
                <a:gd name="connsiteY1675" fmla="*/ 1201102 h 1940242"/>
                <a:gd name="connsiteX1676" fmla="*/ 1487805 w 2370773"/>
                <a:gd name="connsiteY1676" fmla="*/ 1203007 h 1940242"/>
                <a:gd name="connsiteX1677" fmla="*/ 1485900 w 2370773"/>
                <a:gd name="connsiteY1677" fmla="*/ 1204912 h 1940242"/>
                <a:gd name="connsiteX1678" fmla="*/ 1483995 w 2370773"/>
                <a:gd name="connsiteY1678" fmla="*/ 1203007 h 1940242"/>
                <a:gd name="connsiteX1679" fmla="*/ 1485900 w 2370773"/>
                <a:gd name="connsiteY1679" fmla="*/ 1201102 h 1940242"/>
                <a:gd name="connsiteX1680" fmla="*/ 634365 w 2370773"/>
                <a:gd name="connsiteY1680" fmla="*/ 1201102 h 1940242"/>
                <a:gd name="connsiteX1681" fmla="*/ 650558 w 2370773"/>
                <a:gd name="connsiteY1681" fmla="*/ 1217294 h 1940242"/>
                <a:gd name="connsiteX1682" fmla="*/ 634365 w 2370773"/>
                <a:gd name="connsiteY1682" fmla="*/ 1233487 h 1940242"/>
                <a:gd name="connsiteX1683" fmla="*/ 618173 w 2370773"/>
                <a:gd name="connsiteY1683" fmla="*/ 1217294 h 1940242"/>
                <a:gd name="connsiteX1684" fmla="*/ 634365 w 2370773"/>
                <a:gd name="connsiteY1684" fmla="*/ 1201102 h 1940242"/>
                <a:gd name="connsiteX1685" fmla="*/ 2066925 w 2370773"/>
                <a:gd name="connsiteY1685" fmla="*/ 1200150 h 1940242"/>
                <a:gd name="connsiteX1686" fmla="*/ 2072640 w 2370773"/>
                <a:gd name="connsiteY1686" fmla="*/ 1205865 h 1940242"/>
                <a:gd name="connsiteX1687" fmla="*/ 2066925 w 2370773"/>
                <a:gd name="connsiteY1687" fmla="*/ 1211580 h 1940242"/>
                <a:gd name="connsiteX1688" fmla="*/ 2061210 w 2370773"/>
                <a:gd name="connsiteY1688" fmla="*/ 1205865 h 1940242"/>
                <a:gd name="connsiteX1689" fmla="*/ 2066925 w 2370773"/>
                <a:gd name="connsiteY1689" fmla="*/ 1200150 h 1940242"/>
                <a:gd name="connsiteX1690" fmla="*/ 379095 w 2370773"/>
                <a:gd name="connsiteY1690" fmla="*/ 1199197 h 1940242"/>
                <a:gd name="connsiteX1691" fmla="*/ 399098 w 2370773"/>
                <a:gd name="connsiteY1691" fmla="*/ 1219200 h 1940242"/>
                <a:gd name="connsiteX1692" fmla="*/ 379095 w 2370773"/>
                <a:gd name="connsiteY1692" fmla="*/ 1239202 h 1940242"/>
                <a:gd name="connsiteX1693" fmla="*/ 359093 w 2370773"/>
                <a:gd name="connsiteY1693" fmla="*/ 1219200 h 1940242"/>
                <a:gd name="connsiteX1694" fmla="*/ 379095 w 2370773"/>
                <a:gd name="connsiteY1694" fmla="*/ 1199197 h 1940242"/>
                <a:gd name="connsiteX1695" fmla="*/ 139065 w 2370773"/>
                <a:gd name="connsiteY1695" fmla="*/ 1195387 h 1940242"/>
                <a:gd name="connsiteX1696" fmla="*/ 151447 w 2370773"/>
                <a:gd name="connsiteY1696" fmla="*/ 1207770 h 1940242"/>
                <a:gd name="connsiteX1697" fmla="*/ 139065 w 2370773"/>
                <a:gd name="connsiteY1697" fmla="*/ 1220152 h 1940242"/>
                <a:gd name="connsiteX1698" fmla="*/ 126682 w 2370773"/>
                <a:gd name="connsiteY1698" fmla="*/ 1207770 h 1940242"/>
                <a:gd name="connsiteX1699" fmla="*/ 139065 w 2370773"/>
                <a:gd name="connsiteY1699" fmla="*/ 1195387 h 1940242"/>
                <a:gd name="connsiteX1700" fmla="*/ 1986916 w 2370773"/>
                <a:gd name="connsiteY1700" fmla="*/ 1194434 h 1940242"/>
                <a:gd name="connsiteX1701" fmla="*/ 1989773 w 2370773"/>
                <a:gd name="connsiteY1701" fmla="*/ 1197292 h 1940242"/>
                <a:gd name="connsiteX1702" fmla="*/ 1986916 w 2370773"/>
                <a:gd name="connsiteY1702" fmla="*/ 1200149 h 1940242"/>
                <a:gd name="connsiteX1703" fmla="*/ 1984058 w 2370773"/>
                <a:gd name="connsiteY1703" fmla="*/ 1197292 h 1940242"/>
                <a:gd name="connsiteX1704" fmla="*/ 1986916 w 2370773"/>
                <a:gd name="connsiteY1704" fmla="*/ 1194434 h 1940242"/>
                <a:gd name="connsiteX1705" fmla="*/ 1087755 w 2370773"/>
                <a:gd name="connsiteY1705" fmla="*/ 1190625 h 1940242"/>
                <a:gd name="connsiteX1706" fmla="*/ 1091565 w 2370773"/>
                <a:gd name="connsiteY1706" fmla="*/ 1194435 h 1940242"/>
                <a:gd name="connsiteX1707" fmla="*/ 1087755 w 2370773"/>
                <a:gd name="connsiteY1707" fmla="*/ 1198245 h 1940242"/>
                <a:gd name="connsiteX1708" fmla="*/ 1083945 w 2370773"/>
                <a:gd name="connsiteY1708" fmla="*/ 1194435 h 1940242"/>
                <a:gd name="connsiteX1709" fmla="*/ 1087755 w 2370773"/>
                <a:gd name="connsiteY1709" fmla="*/ 1190625 h 1940242"/>
                <a:gd name="connsiteX1710" fmla="*/ 534352 w 2370773"/>
                <a:gd name="connsiteY1710" fmla="*/ 1186815 h 1940242"/>
                <a:gd name="connsiteX1711" fmla="*/ 552450 w 2370773"/>
                <a:gd name="connsiteY1711" fmla="*/ 1204912 h 1940242"/>
                <a:gd name="connsiteX1712" fmla="*/ 534352 w 2370773"/>
                <a:gd name="connsiteY1712" fmla="*/ 1223010 h 1940242"/>
                <a:gd name="connsiteX1713" fmla="*/ 516255 w 2370773"/>
                <a:gd name="connsiteY1713" fmla="*/ 1204912 h 1940242"/>
                <a:gd name="connsiteX1714" fmla="*/ 534352 w 2370773"/>
                <a:gd name="connsiteY1714" fmla="*/ 1186815 h 1940242"/>
                <a:gd name="connsiteX1715" fmla="*/ 1541145 w 2370773"/>
                <a:gd name="connsiteY1715" fmla="*/ 1183957 h 1940242"/>
                <a:gd name="connsiteX1716" fmla="*/ 1543050 w 2370773"/>
                <a:gd name="connsiteY1716" fmla="*/ 1185862 h 1940242"/>
                <a:gd name="connsiteX1717" fmla="*/ 1541145 w 2370773"/>
                <a:gd name="connsiteY1717" fmla="*/ 1187767 h 1940242"/>
                <a:gd name="connsiteX1718" fmla="*/ 1539240 w 2370773"/>
                <a:gd name="connsiteY1718" fmla="*/ 1185862 h 1940242"/>
                <a:gd name="connsiteX1719" fmla="*/ 1541145 w 2370773"/>
                <a:gd name="connsiteY1719" fmla="*/ 1183957 h 1940242"/>
                <a:gd name="connsiteX1720" fmla="*/ 1905000 w 2370773"/>
                <a:gd name="connsiteY1720" fmla="*/ 1183004 h 1940242"/>
                <a:gd name="connsiteX1721" fmla="*/ 1908810 w 2370773"/>
                <a:gd name="connsiteY1721" fmla="*/ 1186814 h 1940242"/>
                <a:gd name="connsiteX1722" fmla="*/ 1905000 w 2370773"/>
                <a:gd name="connsiteY1722" fmla="*/ 1190624 h 1940242"/>
                <a:gd name="connsiteX1723" fmla="*/ 1901190 w 2370773"/>
                <a:gd name="connsiteY1723" fmla="*/ 1186814 h 1940242"/>
                <a:gd name="connsiteX1724" fmla="*/ 1905000 w 2370773"/>
                <a:gd name="connsiteY1724" fmla="*/ 1183004 h 1940242"/>
                <a:gd name="connsiteX1725" fmla="*/ 1685926 w 2370773"/>
                <a:gd name="connsiteY1725" fmla="*/ 1183004 h 1940242"/>
                <a:gd name="connsiteX1726" fmla="*/ 1690688 w 2370773"/>
                <a:gd name="connsiteY1726" fmla="*/ 1187767 h 1940242"/>
                <a:gd name="connsiteX1727" fmla="*/ 1685926 w 2370773"/>
                <a:gd name="connsiteY1727" fmla="*/ 1192529 h 1940242"/>
                <a:gd name="connsiteX1728" fmla="*/ 1681163 w 2370773"/>
                <a:gd name="connsiteY1728" fmla="*/ 1187767 h 1940242"/>
                <a:gd name="connsiteX1729" fmla="*/ 1685926 w 2370773"/>
                <a:gd name="connsiteY1729" fmla="*/ 1183004 h 1940242"/>
                <a:gd name="connsiteX1730" fmla="*/ 915353 w 2370773"/>
                <a:gd name="connsiteY1730" fmla="*/ 1182052 h 1940242"/>
                <a:gd name="connsiteX1731" fmla="*/ 921068 w 2370773"/>
                <a:gd name="connsiteY1731" fmla="*/ 1187767 h 1940242"/>
                <a:gd name="connsiteX1732" fmla="*/ 915353 w 2370773"/>
                <a:gd name="connsiteY1732" fmla="*/ 1193482 h 1940242"/>
                <a:gd name="connsiteX1733" fmla="*/ 909638 w 2370773"/>
                <a:gd name="connsiteY1733" fmla="*/ 1187767 h 1940242"/>
                <a:gd name="connsiteX1734" fmla="*/ 915353 w 2370773"/>
                <a:gd name="connsiteY1734" fmla="*/ 1182052 h 1940242"/>
                <a:gd name="connsiteX1735" fmla="*/ 802958 w 2370773"/>
                <a:gd name="connsiteY1735" fmla="*/ 1180147 h 1940242"/>
                <a:gd name="connsiteX1736" fmla="*/ 813435 w 2370773"/>
                <a:gd name="connsiteY1736" fmla="*/ 1190625 h 1940242"/>
                <a:gd name="connsiteX1737" fmla="*/ 802958 w 2370773"/>
                <a:gd name="connsiteY1737" fmla="*/ 1201102 h 1940242"/>
                <a:gd name="connsiteX1738" fmla="*/ 792480 w 2370773"/>
                <a:gd name="connsiteY1738" fmla="*/ 1190625 h 1940242"/>
                <a:gd name="connsiteX1739" fmla="*/ 802958 w 2370773"/>
                <a:gd name="connsiteY1739" fmla="*/ 1180147 h 1940242"/>
                <a:gd name="connsiteX1740" fmla="*/ 286702 w 2370773"/>
                <a:gd name="connsiteY1740" fmla="*/ 1180147 h 1940242"/>
                <a:gd name="connsiteX1741" fmla="*/ 306705 w 2370773"/>
                <a:gd name="connsiteY1741" fmla="*/ 1200150 h 1940242"/>
                <a:gd name="connsiteX1742" fmla="*/ 286702 w 2370773"/>
                <a:gd name="connsiteY1742" fmla="*/ 1220152 h 1940242"/>
                <a:gd name="connsiteX1743" fmla="*/ 266700 w 2370773"/>
                <a:gd name="connsiteY1743" fmla="*/ 1200150 h 1940242"/>
                <a:gd name="connsiteX1744" fmla="*/ 286702 w 2370773"/>
                <a:gd name="connsiteY1744" fmla="*/ 1180147 h 1940242"/>
                <a:gd name="connsiteX1745" fmla="*/ 696277 w 2370773"/>
                <a:gd name="connsiteY1745" fmla="*/ 1174432 h 1940242"/>
                <a:gd name="connsiteX1746" fmla="*/ 708660 w 2370773"/>
                <a:gd name="connsiteY1746" fmla="*/ 1186815 h 1940242"/>
                <a:gd name="connsiteX1747" fmla="*/ 696277 w 2370773"/>
                <a:gd name="connsiteY1747" fmla="*/ 1199197 h 1940242"/>
                <a:gd name="connsiteX1748" fmla="*/ 683895 w 2370773"/>
                <a:gd name="connsiteY1748" fmla="*/ 1186815 h 1940242"/>
                <a:gd name="connsiteX1749" fmla="*/ 696277 w 2370773"/>
                <a:gd name="connsiteY1749" fmla="*/ 1174432 h 1940242"/>
                <a:gd name="connsiteX1750" fmla="*/ 438150 w 2370773"/>
                <a:gd name="connsiteY1750" fmla="*/ 1172527 h 1940242"/>
                <a:gd name="connsiteX1751" fmla="*/ 456247 w 2370773"/>
                <a:gd name="connsiteY1751" fmla="*/ 1190624 h 1940242"/>
                <a:gd name="connsiteX1752" fmla="*/ 438150 w 2370773"/>
                <a:gd name="connsiteY1752" fmla="*/ 1208722 h 1940242"/>
                <a:gd name="connsiteX1753" fmla="*/ 420052 w 2370773"/>
                <a:gd name="connsiteY1753" fmla="*/ 1190624 h 1940242"/>
                <a:gd name="connsiteX1754" fmla="*/ 438150 w 2370773"/>
                <a:gd name="connsiteY1754" fmla="*/ 1172527 h 1940242"/>
                <a:gd name="connsiteX1755" fmla="*/ 1033462 w 2370773"/>
                <a:gd name="connsiteY1755" fmla="*/ 1171575 h 1940242"/>
                <a:gd name="connsiteX1756" fmla="*/ 1037272 w 2370773"/>
                <a:gd name="connsiteY1756" fmla="*/ 1175385 h 1940242"/>
                <a:gd name="connsiteX1757" fmla="*/ 1033462 w 2370773"/>
                <a:gd name="connsiteY1757" fmla="*/ 1179195 h 1940242"/>
                <a:gd name="connsiteX1758" fmla="*/ 1029652 w 2370773"/>
                <a:gd name="connsiteY1758" fmla="*/ 1175385 h 1940242"/>
                <a:gd name="connsiteX1759" fmla="*/ 1033462 w 2370773"/>
                <a:gd name="connsiteY1759" fmla="*/ 1171575 h 1940242"/>
                <a:gd name="connsiteX1760" fmla="*/ 1821180 w 2370773"/>
                <a:gd name="connsiteY1760" fmla="*/ 1170622 h 1940242"/>
                <a:gd name="connsiteX1761" fmla="*/ 1824037 w 2370773"/>
                <a:gd name="connsiteY1761" fmla="*/ 1173480 h 1940242"/>
                <a:gd name="connsiteX1762" fmla="*/ 1821180 w 2370773"/>
                <a:gd name="connsiteY1762" fmla="*/ 1176337 h 1940242"/>
                <a:gd name="connsiteX1763" fmla="*/ 1818322 w 2370773"/>
                <a:gd name="connsiteY1763" fmla="*/ 1173480 h 1940242"/>
                <a:gd name="connsiteX1764" fmla="*/ 1821180 w 2370773"/>
                <a:gd name="connsiteY1764" fmla="*/ 1170622 h 1940242"/>
                <a:gd name="connsiteX1765" fmla="*/ 2256472 w 2370773"/>
                <a:gd name="connsiteY1765" fmla="*/ 1168717 h 1940242"/>
                <a:gd name="connsiteX1766" fmla="*/ 2259330 w 2370773"/>
                <a:gd name="connsiteY1766" fmla="*/ 1171575 h 1940242"/>
                <a:gd name="connsiteX1767" fmla="*/ 2256472 w 2370773"/>
                <a:gd name="connsiteY1767" fmla="*/ 1174432 h 1940242"/>
                <a:gd name="connsiteX1768" fmla="*/ 2253615 w 2370773"/>
                <a:gd name="connsiteY1768" fmla="*/ 1171575 h 1940242"/>
                <a:gd name="connsiteX1769" fmla="*/ 2256472 w 2370773"/>
                <a:gd name="connsiteY1769" fmla="*/ 1168717 h 1940242"/>
                <a:gd name="connsiteX1770" fmla="*/ 197168 w 2370773"/>
                <a:gd name="connsiteY1770" fmla="*/ 1163954 h 1940242"/>
                <a:gd name="connsiteX1771" fmla="*/ 212408 w 2370773"/>
                <a:gd name="connsiteY1771" fmla="*/ 1179194 h 1940242"/>
                <a:gd name="connsiteX1772" fmla="*/ 197168 w 2370773"/>
                <a:gd name="connsiteY1772" fmla="*/ 1194434 h 1940242"/>
                <a:gd name="connsiteX1773" fmla="*/ 181928 w 2370773"/>
                <a:gd name="connsiteY1773" fmla="*/ 1179194 h 1940242"/>
                <a:gd name="connsiteX1774" fmla="*/ 197168 w 2370773"/>
                <a:gd name="connsiteY1774" fmla="*/ 1163954 h 1940242"/>
                <a:gd name="connsiteX1775" fmla="*/ 2180273 w 2370773"/>
                <a:gd name="connsiteY1775" fmla="*/ 1161097 h 1940242"/>
                <a:gd name="connsiteX1776" fmla="*/ 2185988 w 2370773"/>
                <a:gd name="connsiteY1776" fmla="*/ 1166812 h 1940242"/>
                <a:gd name="connsiteX1777" fmla="*/ 2180273 w 2370773"/>
                <a:gd name="connsiteY1777" fmla="*/ 1172527 h 1940242"/>
                <a:gd name="connsiteX1778" fmla="*/ 2174558 w 2370773"/>
                <a:gd name="connsiteY1778" fmla="*/ 1166812 h 1940242"/>
                <a:gd name="connsiteX1779" fmla="*/ 2180273 w 2370773"/>
                <a:gd name="connsiteY1779" fmla="*/ 1161097 h 1940242"/>
                <a:gd name="connsiteX1780" fmla="*/ 594360 w 2370773"/>
                <a:gd name="connsiteY1780" fmla="*/ 1159192 h 1940242"/>
                <a:gd name="connsiteX1781" fmla="*/ 610552 w 2370773"/>
                <a:gd name="connsiteY1781" fmla="*/ 1175384 h 1940242"/>
                <a:gd name="connsiteX1782" fmla="*/ 594360 w 2370773"/>
                <a:gd name="connsiteY1782" fmla="*/ 1191577 h 1940242"/>
                <a:gd name="connsiteX1783" fmla="*/ 578167 w 2370773"/>
                <a:gd name="connsiteY1783" fmla="*/ 1175384 h 1940242"/>
                <a:gd name="connsiteX1784" fmla="*/ 594360 w 2370773"/>
                <a:gd name="connsiteY1784" fmla="*/ 1159192 h 1940242"/>
                <a:gd name="connsiteX1785" fmla="*/ 2104073 w 2370773"/>
                <a:gd name="connsiteY1785" fmla="*/ 1157287 h 1940242"/>
                <a:gd name="connsiteX1786" fmla="*/ 2107883 w 2370773"/>
                <a:gd name="connsiteY1786" fmla="*/ 1161097 h 1940242"/>
                <a:gd name="connsiteX1787" fmla="*/ 2104073 w 2370773"/>
                <a:gd name="connsiteY1787" fmla="*/ 1164907 h 1940242"/>
                <a:gd name="connsiteX1788" fmla="*/ 2100263 w 2370773"/>
                <a:gd name="connsiteY1788" fmla="*/ 1161097 h 1940242"/>
                <a:gd name="connsiteX1789" fmla="*/ 2104073 w 2370773"/>
                <a:gd name="connsiteY1789" fmla="*/ 1157287 h 1940242"/>
                <a:gd name="connsiteX1790" fmla="*/ 1734503 w 2370773"/>
                <a:gd name="connsiteY1790" fmla="*/ 1157287 h 1940242"/>
                <a:gd name="connsiteX1791" fmla="*/ 1735455 w 2370773"/>
                <a:gd name="connsiteY1791" fmla="*/ 1158240 h 1940242"/>
                <a:gd name="connsiteX1792" fmla="*/ 1734503 w 2370773"/>
                <a:gd name="connsiteY1792" fmla="*/ 1159192 h 1940242"/>
                <a:gd name="connsiteX1793" fmla="*/ 1733550 w 2370773"/>
                <a:gd name="connsiteY1793" fmla="*/ 1158240 h 1940242"/>
                <a:gd name="connsiteX1794" fmla="*/ 1734503 w 2370773"/>
                <a:gd name="connsiteY1794" fmla="*/ 1157287 h 1940242"/>
                <a:gd name="connsiteX1795" fmla="*/ 1386840 w 2370773"/>
                <a:gd name="connsiteY1795" fmla="*/ 1156335 h 1940242"/>
                <a:gd name="connsiteX1796" fmla="*/ 1387793 w 2370773"/>
                <a:gd name="connsiteY1796" fmla="*/ 1157288 h 1940242"/>
                <a:gd name="connsiteX1797" fmla="*/ 1386840 w 2370773"/>
                <a:gd name="connsiteY1797" fmla="*/ 1158240 h 1940242"/>
                <a:gd name="connsiteX1798" fmla="*/ 1385888 w 2370773"/>
                <a:gd name="connsiteY1798" fmla="*/ 1157288 h 1940242"/>
                <a:gd name="connsiteX1799" fmla="*/ 1386840 w 2370773"/>
                <a:gd name="connsiteY1799" fmla="*/ 1156335 h 1940242"/>
                <a:gd name="connsiteX1800" fmla="*/ 865823 w 2370773"/>
                <a:gd name="connsiteY1800" fmla="*/ 1153477 h 1940242"/>
                <a:gd name="connsiteX1801" fmla="*/ 869633 w 2370773"/>
                <a:gd name="connsiteY1801" fmla="*/ 1157287 h 1940242"/>
                <a:gd name="connsiteX1802" fmla="*/ 865823 w 2370773"/>
                <a:gd name="connsiteY1802" fmla="*/ 1161097 h 1940242"/>
                <a:gd name="connsiteX1803" fmla="*/ 862013 w 2370773"/>
                <a:gd name="connsiteY1803" fmla="*/ 1157287 h 1940242"/>
                <a:gd name="connsiteX1804" fmla="*/ 865823 w 2370773"/>
                <a:gd name="connsiteY1804" fmla="*/ 1153477 h 1940242"/>
                <a:gd name="connsiteX1805" fmla="*/ 111442 w 2370773"/>
                <a:gd name="connsiteY1805" fmla="*/ 1153477 h 1940242"/>
                <a:gd name="connsiteX1806" fmla="*/ 115252 w 2370773"/>
                <a:gd name="connsiteY1806" fmla="*/ 1157287 h 1940242"/>
                <a:gd name="connsiteX1807" fmla="*/ 111442 w 2370773"/>
                <a:gd name="connsiteY1807" fmla="*/ 1161097 h 1940242"/>
                <a:gd name="connsiteX1808" fmla="*/ 107632 w 2370773"/>
                <a:gd name="connsiteY1808" fmla="*/ 1157287 h 1940242"/>
                <a:gd name="connsiteX1809" fmla="*/ 111442 w 2370773"/>
                <a:gd name="connsiteY1809" fmla="*/ 1153477 h 1940242"/>
                <a:gd name="connsiteX1810" fmla="*/ 2025968 w 2370773"/>
                <a:gd name="connsiteY1810" fmla="*/ 1152525 h 1940242"/>
                <a:gd name="connsiteX1811" fmla="*/ 2028825 w 2370773"/>
                <a:gd name="connsiteY1811" fmla="*/ 1155383 h 1940242"/>
                <a:gd name="connsiteX1812" fmla="*/ 2025968 w 2370773"/>
                <a:gd name="connsiteY1812" fmla="*/ 1158240 h 1940242"/>
                <a:gd name="connsiteX1813" fmla="*/ 2023110 w 2370773"/>
                <a:gd name="connsiteY1813" fmla="*/ 1155383 h 1940242"/>
                <a:gd name="connsiteX1814" fmla="*/ 2025968 w 2370773"/>
                <a:gd name="connsiteY1814" fmla="*/ 1152525 h 1940242"/>
                <a:gd name="connsiteX1815" fmla="*/ 344805 w 2370773"/>
                <a:gd name="connsiteY1815" fmla="*/ 1151572 h 1940242"/>
                <a:gd name="connsiteX1816" fmla="*/ 364807 w 2370773"/>
                <a:gd name="connsiteY1816" fmla="*/ 1171575 h 1940242"/>
                <a:gd name="connsiteX1817" fmla="*/ 344805 w 2370773"/>
                <a:gd name="connsiteY1817" fmla="*/ 1191577 h 1940242"/>
                <a:gd name="connsiteX1818" fmla="*/ 324802 w 2370773"/>
                <a:gd name="connsiteY1818" fmla="*/ 1171575 h 1940242"/>
                <a:gd name="connsiteX1819" fmla="*/ 344805 w 2370773"/>
                <a:gd name="connsiteY1819" fmla="*/ 1151572 h 1940242"/>
                <a:gd name="connsiteX1820" fmla="*/ 981075 w 2370773"/>
                <a:gd name="connsiteY1820" fmla="*/ 1149667 h 1940242"/>
                <a:gd name="connsiteX1821" fmla="*/ 982980 w 2370773"/>
                <a:gd name="connsiteY1821" fmla="*/ 1151572 h 1940242"/>
                <a:gd name="connsiteX1822" fmla="*/ 981075 w 2370773"/>
                <a:gd name="connsiteY1822" fmla="*/ 1153477 h 1940242"/>
                <a:gd name="connsiteX1823" fmla="*/ 979170 w 2370773"/>
                <a:gd name="connsiteY1823" fmla="*/ 1151572 h 1940242"/>
                <a:gd name="connsiteX1824" fmla="*/ 981075 w 2370773"/>
                <a:gd name="connsiteY1824" fmla="*/ 1149667 h 1940242"/>
                <a:gd name="connsiteX1825" fmla="*/ 757238 w 2370773"/>
                <a:gd name="connsiteY1825" fmla="*/ 1149667 h 1940242"/>
                <a:gd name="connsiteX1826" fmla="*/ 762953 w 2370773"/>
                <a:gd name="connsiteY1826" fmla="*/ 1155382 h 1940242"/>
                <a:gd name="connsiteX1827" fmla="*/ 757238 w 2370773"/>
                <a:gd name="connsiteY1827" fmla="*/ 1161097 h 1940242"/>
                <a:gd name="connsiteX1828" fmla="*/ 751523 w 2370773"/>
                <a:gd name="connsiteY1828" fmla="*/ 1155382 h 1940242"/>
                <a:gd name="connsiteX1829" fmla="*/ 757238 w 2370773"/>
                <a:gd name="connsiteY1829" fmla="*/ 1149667 h 1940242"/>
                <a:gd name="connsiteX1830" fmla="*/ 497205 w 2370773"/>
                <a:gd name="connsiteY1830" fmla="*/ 1145857 h 1940242"/>
                <a:gd name="connsiteX1831" fmla="*/ 512445 w 2370773"/>
                <a:gd name="connsiteY1831" fmla="*/ 1161097 h 1940242"/>
                <a:gd name="connsiteX1832" fmla="*/ 497205 w 2370773"/>
                <a:gd name="connsiteY1832" fmla="*/ 1176337 h 1940242"/>
                <a:gd name="connsiteX1833" fmla="*/ 481965 w 2370773"/>
                <a:gd name="connsiteY1833" fmla="*/ 1161097 h 1940242"/>
                <a:gd name="connsiteX1834" fmla="*/ 497205 w 2370773"/>
                <a:gd name="connsiteY1834" fmla="*/ 1145857 h 1940242"/>
                <a:gd name="connsiteX1835" fmla="*/ 1946910 w 2370773"/>
                <a:gd name="connsiteY1835" fmla="*/ 1143000 h 1940242"/>
                <a:gd name="connsiteX1836" fmla="*/ 1949768 w 2370773"/>
                <a:gd name="connsiteY1836" fmla="*/ 1145858 h 1940242"/>
                <a:gd name="connsiteX1837" fmla="*/ 1946910 w 2370773"/>
                <a:gd name="connsiteY1837" fmla="*/ 1148715 h 1940242"/>
                <a:gd name="connsiteX1838" fmla="*/ 1944053 w 2370773"/>
                <a:gd name="connsiteY1838" fmla="*/ 1145858 h 1940242"/>
                <a:gd name="connsiteX1839" fmla="*/ 1946910 w 2370773"/>
                <a:gd name="connsiteY1839" fmla="*/ 1143000 h 1940242"/>
                <a:gd name="connsiteX1840" fmla="*/ 255270 w 2370773"/>
                <a:gd name="connsiteY1840" fmla="*/ 1138237 h 1940242"/>
                <a:gd name="connsiteX1841" fmla="*/ 269557 w 2370773"/>
                <a:gd name="connsiteY1841" fmla="*/ 1152525 h 1940242"/>
                <a:gd name="connsiteX1842" fmla="*/ 255270 w 2370773"/>
                <a:gd name="connsiteY1842" fmla="*/ 1166812 h 1940242"/>
                <a:gd name="connsiteX1843" fmla="*/ 240982 w 2370773"/>
                <a:gd name="connsiteY1843" fmla="*/ 1152525 h 1940242"/>
                <a:gd name="connsiteX1844" fmla="*/ 255270 w 2370773"/>
                <a:gd name="connsiteY1844" fmla="*/ 1138237 h 1940242"/>
                <a:gd name="connsiteX1845" fmla="*/ 1645920 w 2370773"/>
                <a:gd name="connsiteY1845" fmla="*/ 1137284 h 1940242"/>
                <a:gd name="connsiteX1846" fmla="*/ 1646872 w 2370773"/>
                <a:gd name="connsiteY1846" fmla="*/ 1138237 h 1940242"/>
                <a:gd name="connsiteX1847" fmla="*/ 1645920 w 2370773"/>
                <a:gd name="connsiteY1847" fmla="*/ 1139189 h 1940242"/>
                <a:gd name="connsiteX1848" fmla="*/ 1644967 w 2370773"/>
                <a:gd name="connsiteY1848" fmla="*/ 1138237 h 1940242"/>
                <a:gd name="connsiteX1849" fmla="*/ 1645920 w 2370773"/>
                <a:gd name="connsiteY1849" fmla="*/ 1137284 h 1940242"/>
                <a:gd name="connsiteX1850" fmla="*/ 654367 w 2370773"/>
                <a:gd name="connsiteY1850" fmla="*/ 1137284 h 1940242"/>
                <a:gd name="connsiteX1851" fmla="*/ 662940 w 2370773"/>
                <a:gd name="connsiteY1851" fmla="*/ 1145857 h 1940242"/>
                <a:gd name="connsiteX1852" fmla="*/ 654367 w 2370773"/>
                <a:gd name="connsiteY1852" fmla="*/ 1154429 h 1940242"/>
                <a:gd name="connsiteX1853" fmla="*/ 645795 w 2370773"/>
                <a:gd name="connsiteY1853" fmla="*/ 1145857 h 1940242"/>
                <a:gd name="connsiteX1854" fmla="*/ 654367 w 2370773"/>
                <a:gd name="connsiteY1854" fmla="*/ 1137284 h 1940242"/>
                <a:gd name="connsiteX1855" fmla="*/ 1864995 w 2370773"/>
                <a:gd name="connsiteY1855" fmla="*/ 1135379 h 1940242"/>
                <a:gd name="connsiteX1856" fmla="*/ 1865947 w 2370773"/>
                <a:gd name="connsiteY1856" fmla="*/ 1136332 h 1940242"/>
                <a:gd name="connsiteX1857" fmla="*/ 1864995 w 2370773"/>
                <a:gd name="connsiteY1857" fmla="*/ 1137284 h 1940242"/>
                <a:gd name="connsiteX1858" fmla="*/ 1864042 w 2370773"/>
                <a:gd name="connsiteY1858" fmla="*/ 1136332 h 1940242"/>
                <a:gd name="connsiteX1859" fmla="*/ 1864995 w 2370773"/>
                <a:gd name="connsiteY1859" fmla="*/ 1135379 h 1940242"/>
                <a:gd name="connsiteX1860" fmla="*/ 403861 w 2370773"/>
                <a:gd name="connsiteY1860" fmla="*/ 1126807 h 1940242"/>
                <a:gd name="connsiteX1861" fmla="*/ 420053 w 2370773"/>
                <a:gd name="connsiteY1861" fmla="*/ 1142999 h 1940242"/>
                <a:gd name="connsiteX1862" fmla="*/ 403861 w 2370773"/>
                <a:gd name="connsiteY1862" fmla="*/ 1159192 h 1940242"/>
                <a:gd name="connsiteX1863" fmla="*/ 387668 w 2370773"/>
                <a:gd name="connsiteY1863" fmla="*/ 1142999 h 1940242"/>
                <a:gd name="connsiteX1864" fmla="*/ 403861 w 2370773"/>
                <a:gd name="connsiteY1864" fmla="*/ 1126807 h 1940242"/>
                <a:gd name="connsiteX1865" fmla="*/ 1781175 w 2370773"/>
                <a:gd name="connsiteY1865" fmla="*/ 1122997 h 1940242"/>
                <a:gd name="connsiteX1866" fmla="*/ 1782127 w 2370773"/>
                <a:gd name="connsiteY1866" fmla="*/ 1123950 h 1940242"/>
                <a:gd name="connsiteX1867" fmla="*/ 1781175 w 2370773"/>
                <a:gd name="connsiteY1867" fmla="*/ 1124902 h 1940242"/>
                <a:gd name="connsiteX1868" fmla="*/ 1780222 w 2370773"/>
                <a:gd name="connsiteY1868" fmla="*/ 1123950 h 1940242"/>
                <a:gd name="connsiteX1869" fmla="*/ 1781175 w 2370773"/>
                <a:gd name="connsiteY1869" fmla="*/ 1122997 h 1940242"/>
                <a:gd name="connsiteX1870" fmla="*/ 556260 w 2370773"/>
                <a:gd name="connsiteY1870" fmla="*/ 1121092 h 1940242"/>
                <a:gd name="connsiteX1871" fmla="*/ 567690 w 2370773"/>
                <a:gd name="connsiteY1871" fmla="*/ 1132522 h 1940242"/>
                <a:gd name="connsiteX1872" fmla="*/ 556260 w 2370773"/>
                <a:gd name="connsiteY1872" fmla="*/ 1143952 h 1940242"/>
                <a:gd name="connsiteX1873" fmla="*/ 544830 w 2370773"/>
                <a:gd name="connsiteY1873" fmla="*/ 1132522 h 1940242"/>
                <a:gd name="connsiteX1874" fmla="*/ 556260 w 2370773"/>
                <a:gd name="connsiteY1874" fmla="*/ 1121092 h 1940242"/>
                <a:gd name="connsiteX1875" fmla="*/ 930592 w 2370773"/>
                <a:gd name="connsiteY1875" fmla="*/ 1120140 h 1940242"/>
                <a:gd name="connsiteX1876" fmla="*/ 933450 w 2370773"/>
                <a:gd name="connsiteY1876" fmla="*/ 1122997 h 1940242"/>
                <a:gd name="connsiteX1877" fmla="*/ 930592 w 2370773"/>
                <a:gd name="connsiteY1877" fmla="*/ 1125855 h 1940242"/>
                <a:gd name="connsiteX1878" fmla="*/ 927735 w 2370773"/>
                <a:gd name="connsiteY1878" fmla="*/ 1122997 h 1940242"/>
                <a:gd name="connsiteX1879" fmla="*/ 930592 w 2370773"/>
                <a:gd name="connsiteY1879" fmla="*/ 1120140 h 1940242"/>
                <a:gd name="connsiteX1880" fmla="*/ 820103 w 2370773"/>
                <a:gd name="connsiteY1880" fmla="*/ 1118234 h 1940242"/>
                <a:gd name="connsiteX1881" fmla="*/ 824865 w 2370773"/>
                <a:gd name="connsiteY1881" fmla="*/ 1122997 h 1940242"/>
                <a:gd name="connsiteX1882" fmla="*/ 820103 w 2370773"/>
                <a:gd name="connsiteY1882" fmla="*/ 1127759 h 1940242"/>
                <a:gd name="connsiteX1883" fmla="*/ 815340 w 2370773"/>
                <a:gd name="connsiteY1883" fmla="*/ 1122997 h 1940242"/>
                <a:gd name="connsiteX1884" fmla="*/ 820103 w 2370773"/>
                <a:gd name="connsiteY1884" fmla="*/ 1118234 h 1940242"/>
                <a:gd name="connsiteX1885" fmla="*/ 2286953 w 2370773"/>
                <a:gd name="connsiteY1885" fmla="*/ 1116329 h 1940242"/>
                <a:gd name="connsiteX1886" fmla="*/ 2293620 w 2370773"/>
                <a:gd name="connsiteY1886" fmla="*/ 1122996 h 1940242"/>
                <a:gd name="connsiteX1887" fmla="*/ 2286953 w 2370773"/>
                <a:gd name="connsiteY1887" fmla="*/ 1129664 h 1940242"/>
                <a:gd name="connsiteX1888" fmla="*/ 2280285 w 2370773"/>
                <a:gd name="connsiteY1888" fmla="*/ 1122996 h 1940242"/>
                <a:gd name="connsiteX1889" fmla="*/ 2286953 w 2370773"/>
                <a:gd name="connsiteY1889" fmla="*/ 1116329 h 1940242"/>
                <a:gd name="connsiteX1890" fmla="*/ 169545 w 2370773"/>
                <a:gd name="connsiteY1890" fmla="*/ 1116329 h 1940242"/>
                <a:gd name="connsiteX1891" fmla="*/ 182880 w 2370773"/>
                <a:gd name="connsiteY1891" fmla="*/ 1129664 h 1940242"/>
                <a:gd name="connsiteX1892" fmla="*/ 169545 w 2370773"/>
                <a:gd name="connsiteY1892" fmla="*/ 1142999 h 1940242"/>
                <a:gd name="connsiteX1893" fmla="*/ 156210 w 2370773"/>
                <a:gd name="connsiteY1893" fmla="*/ 1129664 h 1940242"/>
                <a:gd name="connsiteX1894" fmla="*/ 169545 w 2370773"/>
                <a:gd name="connsiteY1894" fmla="*/ 1116329 h 1940242"/>
                <a:gd name="connsiteX1895" fmla="*/ 2213610 w 2370773"/>
                <a:gd name="connsiteY1895" fmla="*/ 1110615 h 1940242"/>
                <a:gd name="connsiteX1896" fmla="*/ 2223135 w 2370773"/>
                <a:gd name="connsiteY1896" fmla="*/ 1120140 h 1940242"/>
                <a:gd name="connsiteX1897" fmla="*/ 2213610 w 2370773"/>
                <a:gd name="connsiteY1897" fmla="*/ 1129665 h 1940242"/>
                <a:gd name="connsiteX1898" fmla="*/ 2204085 w 2370773"/>
                <a:gd name="connsiteY1898" fmla="*/ 1120140 h 1940242"/>
                <a:gd name="connsiteX1899" fmla="*/ 2213610 w 2370773"/>
                <a:gd name="connsiteY1899" fmla="*/ 1110615 h 1940242"/>
                <a:gd name="connsiteX1900" fmla="*/ 1047750 w 2370773"/>
                <a:gd name="connsiteY1900" fmla="*/ 1110615 h 1940242"/>
                <a:gd name="connsiteX1901" fmla="*/ 1048703 w 2370773"/>
                <a:gd name="connsiteY1901" fmla="*/ 1111567 h 1940242"/>
                <a:gd name="connsiteX1902" fmla="*/ 1047750 w 2370773"/>
                <a:gd name="connsiteY1902" fmla="*/ 1112520 h 1940242"/>
                <a:gd name="connsiteX1903" fmla="*/ 1046798 w 2370773"/>
                <a:gd name="connsiteY1903" fmla="*/ 1111567 h 1940242"/>
                <a:gd name="connsiteX1904" fmla="*/ 1047750 w 2370773"/>
                <a:gd name="connsiteY1904" fmla="*/ 1110615 h 1940242"/>
                <a:gd name="connsiteX1905" fmla="*/ 715328 w 2370773"/>
                <a:gd name="connsiteY1905" fmla="*/ 1110615 h 1940242"/>
                <a:gd name="connsiteX1906" fmla="*/ 721043 w 2370773"/>
                <a:gd name="connsiteY1906" fmla="*/ 1116330 h 1940242"/>
                <a:gd name="connsiteX1907" fmla="*/ 715328 w 2370773"/>
                <a:gd name="connsiteY1907" fmla="*/ 1122045 h 1940242"/>
                <a:gd name="connsiteX1908" fmla="*/ 709613 w 2370773"/>
                <a:gd name="connsiteY1908" fmla="*/ 1116330 h 1940242"/>
                <a:gd name="connsiteX1909" fmla="*/ 715328 w 2370773"/>
                <a:gd name="connsiteY1909" fmla="*/ 1110615 h 1940242"/>
                <a:gd name="connsiteX1910" fmla="*/ 2139315 w 2370773"/>
                <a:gd name="connsiteY1910" fmla="*/ 1109662 h 1940242"/>
                <a:gd name="connsiteX1911" fmla="*/ 2145030 w 2370773"/>
                <a:gd name="connsiteY1911" fmla="*/ 1115377 h 1940242"/>
                <a:gd name="connsiteX1912" fmla="*/ 2139315 w 2370773"/>
                <a:gd name="connsiteY1912" fmla="*/ 1121092 h 1940242"/>
                <a:gd name="connsiteX1913" fmla="*/ 2133600 w 2370773"/>
                <a:gd name="connsiteY1913" fmla="*/ 1115377 h 1940242"/>
                <a:gd name="connsiteX1914" fmla="*/ 2139315 w 2370773"/>
                <a:gd name="connsiteY1914" fmla="*/ 1109662 h 1940242"/>
                <a:gd name="connsiteX1915" fmla="*/ 1694497 w 2370773"/>
                <a:gd name="connsiteY1915" fmla="*/ 1106804 h 1940242"/>
                <a:gd name="connsiteX1916" fmla="*/ 1695450 w 2370773"/>
                <a:gd name="connsiteY1916" fmla="*/ 1107757 h 1940242"/>
                <a:gd name="connsiteX1917" fmla="*/ 1694497 w 2370773"/>
                <a:gd name="connsiteY1917" fmla="*/ 1108709 h 1940242"/>
                <a:gd name="connsiteX1918" fmla="*/ 1693545 w 2370773"/>
                <a:gd name="connsiteY1918" fmla="*/ 1107757 h 1940242"/>
                <a:gd name="connsiteX1919" fmla="*/ 1694497 w 2370773"/>
                <a:gd name="connsiteY1919" fmla="*/ 1106804 h 1940242"/>
                <a:gd name="connsiteX1920" fmla="*/ 2063115 w 2370773"/>
                <a:gd name="connsiteY1920" fmla="*/ 1105852 h 1940242"/>
                <a:gd name="connsiteX1921" fmla="*/ 2066925 w 2370773"/>
                <a:gd name="connsiteY1921" fmla="*/ 1109662 h 1940242"/>
                <a:gd name="connsiteX1922" fmla="*/ 2063115 w 2370773"/>
                <a:gd name="connsiteY1922" fmla="*/ 1113472 h 1940242"/>
                <a:gd name="connsiteX1923" fmla="*/ 2059305 w 2370773"/>
                <a:gd name="connsiteY1923" fmla="*/ 1109662 h 1940242"/>
                <a:gd name="connsiteX1924" fmla="*/ 2063115 w 2370773"/>
                <a:gd name="connsiteY1924" fmla="*/ 1105852 h 1940242"/>
                <a:gd name="connsiteX1925" fmla="*/ 313372 w 2370773"/>
                <a:gd name="connsiteY1925" fmla="*/ 1105852 h 1940242"/>
                <a:gd name="connsiteX1926" fmla="*/ 330517 w 2370773"/>
                <a:gd name="connsiteY1926" fmla="*/ 1122997 h 1940242"/>
                <a:gd name="connsiteX1927" fmla="*/ 313372 w 2370773"/>
                <a:gd name="connsiteY1927" fmla="*/ 1140142 h 1940242"/>
                <a:gd name="connsiteX1928" fmla="*/ 296227 w 2370773"/>
                <a:gd name="connsiteY1928" fmla="*/ 1122997 h 1940242"/>
                <a:gd name="connsiteX1929" fmla="*/ 313372 w 2370773"/>
                <a:gd name="connsiteY1929" fmla="*/ 1105852 h 1940242"/>
                <a:gd name="connsiteX1930" fmla="*/ 1985010 w 2370773"/>
                <a:gd name="connsiteY1930" fmla="*/ 1102995 h 1940242"/>
                <a:gd name="connsiteX1931" fmla="*/ 1985963 w 2370773"/>
                <a:gd name="connsiteY1931" fmla="*/ 1103947 h 1940242"/>
                <a:gd name="connsiteX1932" fmla="*/ 1985010 w 2370773"/>
                <a:gd name="connsiteY1932" fmla="*/ 1104900 h 1940242"/>
                <a:gd name="connsiteX1933" fmla="*/ 1984058 w 2370773"/>
                <a:gd name="connsiteY1933" fmla="*/ 1103947 h 1940242"/>
                <a:gd name="connsiteX1934" fmla="*/ 1985010 w 2370773"/>
                <a:gd name="connsiteY1934" fmla="*/ 1102995 h 1940242"/>
                <a:gd name="connsiteX1935" fmla="*/ 461963 w 2370773"/>
                <a:gd name="connsiteY1935" fmla="*/ 1100137 h 1940242"/>
                <a:gd name="connsiteX1936" fmla="*/ 477203 w 2370773"/>
                <a:gd name="connsiteY1936" fmla="*/ 1115377 h 1940242"/>
                <a:gd name="connsiteX1937" fmla="*/ 461963 w 2370773"/>
                <a:gd name="connsiteY1937" fmla="*/ 1130617 h 1940242"/>
                <a:gd name="connsiteX1938" fmla="*/ 446723 w 2370773"/>
                <a:gd name="connsiteY1938" fmla="*/ 1115377 h 1940242"/>
                <a:gd name="connsiteX1939" fmla="*/ 461963 w 2370773"/>
                <a:gd name="connsiteY1939" fmla="*/ 1100137 h 1940242"/>
                <a:gd name="connsiteX1940" fmla="*/ 615315 w 2370773"/>
                <a:gd name="connsiteY1940" fmla="*/ 1097279 h 1940242"/>
                <a:gd name="connsiteX1941" fmla="*/ 621983 w 2370773"/>
                <a:gd name="connsiteY1941" fmla="*/ 1103946 h 1940242"/>
                <a:gd name="connsiteX1942" fmla="*/ 615315 w 2370773"/>
                <a:gd name="connsiteY1942" fmla="*/ 1110614 h 1940242"/>
                <a:gd name="connsiteX1943" fmla="*/ 608648 w 2370773"/>
                <a:gd name="connsiteY1943" fmla="*/ 1103946 h 1940242"/>
                <a:gd name="connsiteX1944" fmla="*/ 615315 w 2370773"/>
                <a:gd name="connsiteY1944" fmla="*/ 1097279 h 1940242"/>
                <a:gd name="connsiteX1945" fmla="*/ 84772 w 2370773"/>
                <a:gd name="connsiteY1945" fmla="*/ 1097279 h 1940242"/>
                <a:gd name="connsiteX1946" fmla="*/ 93345 w 2370773"/>
                <a:gd name="connsiteY1946" fmla="*/ 1105852 h 1940242"/>
                <a:gd name="connsiteX1947" fmla="*/ 84772 w 2370773"/>
                <a:gd name="connsiteY1947" fmla="*/ 1114424 h 1940242"/>
                <a:gd name="connsiteX1948" fmla="*/ 76200 w 2370773"/>
                <a:gd name="connsiteY1948" fmla="*/ 1105852 h 1940242"/>
                <a:gd name="connsiteX1949" fmla="*/ 84772 w 2370773"/>
                <a:gd name="connsiteY1949" fmla="*/ 1097279 h 1940242"/>
                <a:gd name="connsiteX1950" fmla="*/ 1905952 w 2370773"/>
                <a:gd name="connsiteY1950" fmla="*/ 1093470 h 1940242"/>
                <a:gd name="connsiteX1951" fmla="*/ 1907857 w 2370773"/>
                <a:gd name="connsiteY1951" fmla="*/ 1095375 h 1940242"/>
                <a:gd name="connsiteX1952" fmla="*/ 1905952 w 2370773"/>
                <a:gd name="connsiteY1952" fmla="*/ 1097280 h 1940242"/>
                <a:gd name="connsiteX1953" fmla="*/ 1904047 w 2370773"/>
                <a:gd name="connsiteY1953" fmla="*/ 1095375 h 1940242"/>
                <a:gd name="connsiteX1954" fmla="*/ 1905952 w 2370773"/>
                <a:gd name="connsiteY1954" fmla="*/ 1093470 h 1940242"/>
                <a:gd name="connsiteX1955" fmla="*/ 226695 w 2370773"/>
                <a:gd name="connsiteY1955" fmla="*/ 1090612 h 1940242"/>
                <a:gd name="connsiteX1956" fmla="*/ 238125 w 2370773"/>
                <a:gd name="connsiteY1956" fmla="*/ 1102042 h 1940242"/>
                <a:gd name="connsiteX1957" fmla="*/ 226695 w 2370773"/>
                <a:gd name="connsiteY1957" fmla="*/ 1113472 h 1940242"/>
                <a:gd name="connsiteX1958" fmla="*/ 215265 w 2370773"/>
                <a:gd name="connsiteY1958" fmla="*/ 1102042 h 1940242"/>
                <a:gd name="connsiteX1959" fmla="*/ 226695 w 2370773"/>
                <a:gd name="connsiteY1959" fmla="*/ 1090612 h 1940242"/>
                <a:gd name="connsiteX1960" fmla="*/ 882967 w 2370773"/>
                <a:gd name="connsiteY1960" fmla="*/ 1087754 h 1940242"/>
                <a:gd name="connsiteX1961" fmla="*/ 885825 w 2370773"/>
                <a:gd name="connsiteY1961" fmla="*/ 1090612 h 1940242"/>
                <a:gd name="connsiteX1962" fmla="*/ 882967 w 2370773"/>
                <a:gd name="connsiteY1962" fmla="*/ 1093469 h 1940242"/>
                <a:gd name="connsiteX1963" fmla="*/ 880110 w 2370773"/>
                <a:gd name="connsiteY1963" fmla="*/ 1090612 h 1940242"/>
                <a:gd name="connsiteX1964" fmla="*/ 882967 w 2370773"/>
                <a:gd name="connsiteY1964" fmla="*/ 1087754 h 1940242"/>
                <a:gd name="connsiteX1965" fmla="*/ 1824990 w 2370773"/>
                <a:gd name="connsiteY1965" fmla="*/ 1083945 h 1940242"/>
                <a:gd name="connsiteX1966" fmla="*/ 1826895 w 2370773"/>
                <a:gd name="connsiteY1966" fmla="*/ 1085850 h 1940242"/>
                <a:gd name="connsiteX1967" fmla="*/ 1824990 w 2370773"/>
                <a:gd name="connsiteY1967" fmla="*/ 1087755 h 1940242"/>
                <a:gd name="connsiteX1968" fmla="*/ 1823085 w 2370773"/>
                <a:gd name="connsiteY1968" fmla="*/ 1085850 h 1940242"/>
                <a:gd name="connsiteX1969" fmla="*/ 1824990 w 2370773"/>
                <a:gd name="connsiteY1969" fmla="*/ 1083945 h 1940242"/>
                <a:gd name="connsiteX1970" fmla="*/ 776287 w 2370773"/>
                <a:gd name="connsiteY1970" fmla="*/ 1082040 h 1940242"/>
                <a:gd name="connsiteX1971" fmla="*/ 780097 w 2370773"/>
                <a:gd name="connsiteY1971" fmla="*/ 1085850 h 1940242"/>
                <a:gd name="connsiteX1972" fmla="*/ 776287 w 2370773"/>
                <a:gd name="connsiteY1972" fmla="*/ 1089660 h 1940242"/>
                <a:gd name="connsiteX1973" fmla="*/ 772477 w 2370773"/>
                <a:gd name="connsiteY1973" fmla="*/ 1085850 h 1940242"/>
                <a:gd name="connsiteX1974" fmla="*/ 776287 w 2370773"/>
                <a:gd name="connsiteY1974" fmla="*/ 1082040 h 1940242"/>
                <a:gd name="connsiteX1975" fmla="*/ 372428 w 2370773"/>
                <a:gd name="connsiteY1975" fmla="*/ 1081087 h 1940242"/>
                <a:gd name="connsiteX1976" fmla="*/ 386715 w 2370773"/>
                <a:gd name="connsiteY1976" fmla="*/ 1095375 h 1940242"/>
                <a:gd name="connsiteX1977" fmla="*/ 372428 w 2370773"/>
                <a:gd name="connsiteY1977" fmla="*/ 1109662 h 1940242"/>
                <a:gd name="connsiteX1978" fmla="*/ 358140 w 2370773"/>
                <a:gd name="connsiteY1978" fmla="*/ 1095375 h 1940242"/>
                <a:gd name="connsiteX1979" fmla="*/ 372428 w 2370773"/>
                <a:gd name="connsiteY1979" fmla="*/ 1081087 h 1940242"/>
                <a:gd name="connsiteX1980" fmla="*/ 521018 w 2370773"/>
                <a:gd name="connsiteY1980" fmla="*/ 1077277 h 1940242"/>
                <a:gd name="connsiteX1981" fmla="*/ 530543 w 2370773"/>
                <a:gd name="connsiteY1981" fmla="*/ 1086802 h 1940242"/>
                <a:gd name="connsiteX1982" fmla="*/ 521018 w 2370773"/>
                <a:gd name="connsiteY1982" fmla="*/ 1096327 h 1940242"/>
                <a:gd name="connsiteX1983" fmla="*/ 511493 w 2370773"/>
                <a:gd name="connsiteY1983" fmla="*/ 1086802 h 1940242"/>
                <a:gd name="connsiteX1984" fmla="*/ 521018 w 2370773"/>
                <a:gd name="connsiteY1984" fmla="*/ 1077277 h 1940242"/>
                <a:gd name="connsiteX1985" fmla="*/ 675323 w 2370773"/>
                <a:gd name="connsiteY1985" fmla="*/ 1069657 h 1940242"/>
                <a:gd name="connsiteX1986" fmla="*/ 680085 w 2370773"/>
                <a:gd name="connsiteY1986" fmla="*/ 1074420 h 1940242"/>
                <a:gd name="connsiteX1987" fmla="*/ 675323 w 2370773"/>
                <a:gd name="connsiteY1987" fmla="*/ 1079182 h 1940242"/>
                <a:gd name="connsiteX1988" fmla="*/ 670560 w 2370773"/>
                <a:gd name="connsiteY1988" fmla="*/ 1074420 h 1940242"/>
                <a:gd name="connsiteX1989" fmla="*/ 675323 w 2370773"/>
                <a:gd name="connsiteY1989" fmla="*/ 1069657 h 1940242"/>
                <a:gd name="connsiteX1990" fmla="*/ 142875 w 2370773"/>
                <a:gd name="connsiteY1990" fmla="*/ 1065847 h 1940242"/>
                <a:gd name="connsiteX1991" fmla="*/ 155258 w 2370773"/>
                <a:gd name="connsiteY1991" fmla="*/ 1078230 h 1940242"/>
                <a:gd name="connsiteX1992" fmla="*/ 142875 w 2370773"/>
                <a:gd name="connsiteY1992" fmla="*/ 1090612 h 1940242"/>
                <a:gd name="connsiteX1993" fmla="*/ 130493 w 2370773"/>
                <a:gd name="connsiteY1993" fmla="*/ 1078230 h 1940242"/>
                <a:gd name="connsiteX1994" fmla="*/ 142875 w 2370773"/>
                <a:gd name="connsiteY1994" fmla="*/ 1065847 h 1940242"/>
                <a:gd name="connsiteX1995" fmla="*/ 2170748 w 2370773"/>
                <a:gd name="connsiteY1995" fmla="*/ 1062990 h 1940242"/>
                <a:gd name="connsiteX1996" fmla="*/ 2175510 w 2370773"/>
                <a:gd name="connsiteY1996" fmla="*/ 1067753 h 1940242"/>
                <a:gd name="connsiteX1997" fmla="*/ 2170748 w 2370773"/>
                <a:gd name="connsiteY1997" fmla="*/ 1072515 h 1940242"/>
                <a:gd name="connsiteX1998" fmla="*/ 2165985 w 2370773"/>
                <a:gd name="connsiteY1998" fmla="*/ 1067753 h 1940242"/>
                <a:gd name="connsiteX1999" fmla="*/ 2170748 w 2370773"/>
                <a:gd name="connsiteY1999" fmla="*/ 1062990 h 1940242"/>
                <a:gd name="connsiteX2000" fmla="*/ 2244090 w 2370773"/>
                <a:gd name="connsiteY2000" fmla="*/ 1062037 h 1940242"/>
                <a:gd name="connsiteX2001" fmla="*/ 2253615 w 2370773"/>
                <a:gd name="connsiteY2001" fmla="*/ 1071562 h 1940242"/>
                <a:gd name="connsiteX2002" fmla="*/ 2244090 w 2370773"/>
                <a:gd name="connsiteY2002" fmla="*/ 1081087 h 1940242"/>
                <a:gd name="connsiteX2003" fmla="*/ 2234565 w 2370773"/>
                <a:gd name="connsiteY2003" fmla="*/ 1071562 h 1940242"/>
                <a:gd name="connsiteX2004" fmla="*/ 2244090 w 2370773"/>
                <a:gd name="connsiteY2004" fmla="*/ 1062037 h 1940242"/>
                <a:gd name="connsiteX2005" fmla="*/ 2096452 w 2370773"/>
                <a:gd name="connsiteY2005" fmla="*/ 1062037 h 1940242"/>
                <a:gd name="connsiteX2006" fmla="*/ 2098357 w 2370773"/>
                <a:gd name="connsiteY2006" fmla="*/ 1063942 h 1940242"/>
                <a:gd name="connsiteX2007" fmla="*/ 2096452 w 2370773"/>
                <a:gd name="connsiteY2007" fmla="*/ 1065847 h 1940242"/>
                <a:gd name="connsiteX2008" fmla="*/ 2094547 w 2370773"/>
                <a:gd name="connsiteY2008" fmla="*/ 1063942 h 1940242"/>
                <a:gd name="connsiteX2009" fmla="*/ 2096452 w 2370773"/>
                <a:gd name="connsiteY2009" fmla="*/ 1062037 h 1940242"/>
                <a:gd name="connsiteX2010" fmla="*/ 284798 w 2370773"/>
                <a:gd name="connsiteY2010" fmla="*/ 1057275 h 1940242"/>
                <a:gd name="connsiteX2011" fmla="*/ 300990 w 2370773"/>
                <a:gd name="connsiteY2011" fmla="*/ 1073467 h 1940242"/>
                <a:gd name="connsiteX2012" fmla="*/ 284798 w 2370773"/>
                <a:gd name="connsiteY2012" fmla="*/ 1089660 h 1940242"/>
                <a:gd name="connsiteX2013" fmla="*/ 268605 w 2370773"/>
                <a:gd name="connsiteY2013" fmla="*/ 1073467 h 1940242"/>
                <a:gd name="connsiteX2014" fmla="*/ 284798 w 2370773"/>
                <a:gd name="connsiteY2014" fmla="*/ 1057275 h 1940242"/>
                <a:gd name="connsiteX2015" fmla="*/ 946785 w 2370773"/>
                <a:gd name="connsiteY2015" fmla="*/ 1056322 h 1940242"/>
                <a:gd name="connsiteX2016" fmla="*/ 947738 w 2370773"/>
                <a:gd name="connsiteY2016" fmla="*/ 1057275 h 1940242"/>
                <a:gd name="connsiteX2017" fmla="*/ 946785 w 2370773"/>
                <a:gd name="connsiteY2017" fmla="*/ 1058227 h 1940242"/>
                <a:gd name="connsiteX2018" fmla="*/ 945833 w 2370773"/>
                <a:gd name="connsiteY2018" fmla="*/ 1057275 h 1940242"/>
                <a:gd name="connsiteX2019" fmla="*/ 946785 w 2370773"/>
                <a:gd name="connsiteY2019" fmla="*/ 1056322 h 1940242"/>
                <a:gd name="connsiteX2020" fmla="*/ 580073 w 2370773"/>
                <a:gd name="connsiteY2020" fmla="*/ 1052512 h 1940242"/>
                <a:gd name="connsiteX2021" fmla="*/ 586740 w 2370773"/>
                <a:gd name="connsiteY2021" fmla="*/ 1059179 h 1940242"/>
                <a:gd name="connsiteX2022" fmla="*/ 580073 w 2370773"/>
                <a:gd name="connsiteY2022" fmla="*/ 1065847 h 1940242"/>
                <a:gd name="connsiteX2023" fmla="*/ 573405 w 2370773"/>
                <a:gd name="connsiteY2023" fmla="*/ 1059179 h 1940242"/>
                <a:gd name="connsiteX2024" fmla="*/ 580073 w 2370773"/>
                <a:gd name="connsiteY2024" fmla="*/ 1052512 h 1940242"/>
                <a:gd name="connsiteX2025" fmla="*/ 430530 w 2370773"/>
                <a:gd name="connsiteY2025" fmla="*/ 1052512 h 1940242"/>
                <a:gd name="connsiteX2026" fmla="*/ 445770 w 2370773"/>
                <a:gd name="connsiteY2026" fmla="*/ 1067752 h 1940242"/>
                <a:gd name="connsiteX2027" fmla="*/ 430530 w 2370773"/>
                <a:gd name="connsiteY2027" fmla="*/ 1082992 h 1940242"/>
                <a:gd name="connsiteX2028" fmla="*/ 415290 w 2370773"/>
                <a:gd name="connsiteY2028" fmla="*/ 1067752 h 1940242"/>
                <a:gd name="connsiteX2029" fmla="*/ 430530 w 2370773"/>
                <a:gd name="connsiteY2029" fmla="*/ 1052512 h 1940242"/>
                <a:gd name="connsiteX2030" fmla="*/ 1944053 w 2370773"/>
                <a:gd name="connsiteY2030" fmla="*/ 1051559 h 1940242"/>
                <a:gd name="connsiteX2031" fmla="*/ 1945005 w 2370773"/>
                <a:gd name="connsiteY2031" fmla="*/ 1052512 h 1940242"/>
                <a:gd name="connsiteX2032" fmla="*/ 1944053 w 2370773"/>
                <a:gd name="connsiteY2032" fmla="*/ 1053464 h 1940242"/>
                <a:gd name="connsiteX2033" fmla="*/ 1943100 w 2370773"/>
                <a:gd name="connsiteY2033" fmla="*/ 1052512 h 1940242"/>
                <a:gd name="connsiteX2034" fmla="*/ 1944053 w 2370773"/>
                <a:gd name="connsiteY2034" fmla="*/ 1051559 h 1940242"/>
                <a:gd name="connsiteX2035" fmla="*/ 838200 w 2370773"/>
                <a:gd name="connsiteY2035" fmla="*/ 1051559 h 1940242"/>
                <a:gd name="connsiteX2036" fmla="*/ 841057 w 2370773"/>
                <a:gd name="connsiteY2036" fmla="*/ 1054417 h 1940242"/>
                <a:gd name="connsiteX2037" fmla="*/ 838200 w 2370773"/>
                <a:gd name="connsiteY2037" fmla="*/ 1057274 h 1940242"/>
                <a:gd name="connsiteX2038" fmla="*/ 835342 w 2370773"/>
                <a:gd name="connsiteY2038" fmla="*/ 1054417 h 1940242"/>
                <a:gd name="connsiteX2039" fmla="*/ 838200 w 2370773"/>
                <a:gd name="connsiteY2039" fmla="*/ 1051559 h 1940242"/>
                <a:gd name="connsiteX2040" fmla="*/ 1865947 w 2370773"/>
                <a:gd name="connsiteY2040" fmla="*/ 1042987 h 1940242"/>
                <a:gd name="connsiteX2041" fmla="*/ 1867852 w 2370773"/>
                <a:gd name="connsiteY2041" fmla="*/ 1044892 h 1940242"/>
                <a:gd name="connsiteX2042" fmla="*/ 1865947 w 2370773"/>
                <a:gd name="connsiteY2042" fmla="*/ 1046797 h 1940242"/>
                <a:gd name="connsiteX2043" fmla="*/ 1864042 w 2370773"/>
                <a:gd name="connsiteY2043" fmla="*/ 1044892 h 1940242"/>
                <a:gd name="connsiteX2044" fmla="*/ 1865947 w 2370773"/>
                <a:gd name="connsiteY2044" fmla="*/ 1042987 h 1940242"/>
                <a:gd name="connsiteX2045" fmla="*/ 735330 w 2370773"/>
                <a:gd name="connsiteY2045" fmla="*/ 1041082 h 1940242"/>
                <a:gd name="connsiteX2046" fmla="*/ 739140 w 2370773"/>
                <a:gd name="connsiteY2046" fmla="*/ 1044892 h 1940242"/>
                <a:gd name="connsiteX2047" fmla="*/ 735330 w 2370773"/>
                <a:gd name="connsiteY2047" fmla="*/ 1048702 h 1940242"/>
                <a:gd name="connsiteX2048" fmla="*/ 731520 w 2370773"/>
                <a:gd name="connsiteY2048" fmla="*/ 1044892 h 1940242"/>
                <a:gd name="connsiteX2049" fmla="*/ 735330 w 2370773"/>
                <a:gd name="connsiteY2049" fmla="*/ 1041082 h 1940242"/>
                <a:gd name="connsiteX2050" fmla="*/ 200977 w 2370773"/>
                <a:gd name="connsiteY2050" fmla="*/ 1039177 h 1940242"/>
                <a:gd name="connsiteX2051" fmla="*/ 212407 w 2370773"/>
                <a:gd name="connsiteY2051" fmla="*/ 1050607 h 1940242"/>
                <a:gd name="connsiteX2052" fmla="*/ 200977 w 2370773"/>
                <a:gd name="connsiteY2052" fmla="*/ 1062037 h 1940242"/>
                <a:gd name="connsiteX2053" fmla="*/ 189547 w 2370773"/>
                <a:gd name="connsiteY2053" fmla="*/ 1050607 h 1940242"/>
                <a:gd name="connsiteX2054" fmla="*/ 200977 w 2370773"/>
                <a:gd name="connsiteY2054" fmla="*/ 1039177 h 1940242"/>
                <a:gd name="connsiteX2055" fmla="*/ 342901 w 2370773"/>
                <a:gd name="connsiteY2055" fmla="*/ 1031557 h 1940242"/>
                <a:gd name="connsiteX2056" fmla="*/ 357188 w 2370773"/>
                <a:gd name="connsiteY2056" fmla="*/ 1045845 h 1940242"/>
                <a:gd name="connsiteX2057" fmla="*/ 342901 w 2370773"/>
                <a:gd name="connsiteY2057" fmla="*/ 1060132 h 1940242"/>
                <a:gd name="connsiteX2058" fmla="*/ 328613 w 2370773"/>
                <a:gd name="connsiteY2058" fmla="*/ 1045845 h 1940242"/>
                <a:gd name="connsiteX2059" fmla="*/ 342901 w 2370773"/>
                <a:gd name="connsiteY2059" fmla="*/ 1031557 h 1940242"/>
                <a:gd name="connsiteX2060" fmla="*/ 488633 w 2370773"/>
                <a:gd name="connsiteY2060" fmla="*/ 1029652 h 1940242"/>
                <a:gd name="connsiteX2061" fmla="*/ 498158 w 2370773"/>
                <a:gd name="connsiteY2061" fmla="*/ 1039177 h 1940242"/>
                <a:gd name="connsiteX2062" fmla="*/ 488633 w 2370773"/>
                <a:gd name="connsiteY2062" fmla="*/ 1048702 h 1940242"/>
                <a:gd name="connsiteX2063" fmla="*/ 479108 w 2370773"/>
                <a:gd name="connsiteY2063" fmla="*/ 1039177 h 1940242"/>
                <a:gd name="connsiteX2064" fmla="*/ 488633 w 2370773"/>
                <a:gd name="connsiteY2064" fmla="*/ 1029652 h 1940242"/>
                <a:gd name="connsiteX2065" fmla="*/ 639128 w 2370773"/>
                <a:gd name="connsiteY2065" fmla="*/ 1026795 h 1940242"/>
                <a:gd name="connsiteX2066" fmla="*/ 642938 w 2370773"/>
                <a:gd name="connsiteY2066" fmla="*/ 1030605 h 1940242"/>
                <a:gd name="connsiteX2067" fmla="*/ 639128 w 2370773"/>
                <a:gd name="connsiteY2067" fmla="*/ 1034415 h 1940242"/>
                <a:gd name="connsiteX2068" fmla="*/ 635318 w 2370773"/>
                <a:gd name="connsiteY2068" fmla="*/ 1030605 h 1940242"/>
                <a:gd name="connsiteX2069" fmla="*/ 639128 w 2370773"/>
                <a:gd name="connsiteY2069" fmla="*/ 1026795 h 1940242"/>
                <a:gd name="connsiteX2070" fmla="*/ 2342197 w 2370773"/>
                <a:gd name="connsiteY2070" fmla="*/ 1020127 h 1940242"/>
                <a:gd name="connsiteX2071" fmla="*/ 2344102 w 2370773"/>
                <a:gd name="connsiteY2071" fmla="*/ 1022032 h 1940242"/>
                <a:gd name="connsiteX2072" fmla="*/ 2342197 w 2370773"/>
                <a:gd name="connsiteY2072" fmla="*/ 1023937 h 1940242"/>
                <a:gd name="connsiteX2073" fmla="*/ 2340292 w 2370773"/>
                <a:gd name="connsiteY2073" fmla="*/ 1022032 h 1940242"/>
                <a:gd name="connsiteX2074" fmla="*/ 2342197 w 2370773"/>
                <a:gd name="connsiteY2074" fmla="*/ 1020127 h 1940242"/>
                <a:gd name="connsiteX2075" fmla="*/ 119063 w 2370773"/>
                <a:gd name="connsiteY2075" fmla="*/ 1015365 h 1940242"/>
                <a:gd name="connsiteX2076" fmla="*/ 129540 w 2370773"/>
                <a:gd name="connsiteY2076" fmla="*/ 1025842 h 1940242"/>
                <a:gd name="connsiteX2077" fmla="*/ 119063 w 2370773"/>
                <a:gd name="connsiteY2077" fmla="*/ 1036320 h 1940242"/>
                <a:gd name="connsiteX2078" fmla="*/ 108585 w 2370773"/>
                <a:gd name="connsiteY2078" fmla="*/ 1025842 h 1940242"/>
                <a:gd name="connsiteX2079" fmla="*/ 119063 w 2370773"/>
                <a:gd name="connsiteY2079" fmla="*/ 1015365 h 1940242"/>
                <a:gd name="connsiteX2080" fmla="*/ 259080 w 2370773"/>
                <a:gd name="connsiteY2080" fmla="*/ 1013459 h 1940242"/>
                <a:gd name="connsiteX2081" fmla="*/ 268605 w 2370773"/>
                <a:gd name="connsiteY2081" fmla="*/ 1022984 h 1940242"/>
                <a:gd name="connsiteX2082" fmla="*/ 259080 w 2370773"/>
                <a:gd name="connsiteY2082" fmla="*/ 1032509 h 1940242"/>
                <a:gd name="connsiteX2083" fmla="*/ 249555 w 2370773"/>
                <a:gd name="connsiteY2083" fmla="*/ 1022984 h 1940242"/>
                <a:gd name="connsiteX2084" fmla="*/ 259080 w 2370773"/>
                <a:gd name="connsiteY2084" fmla="*/ 1013459 h 1940242"/>
                <a:gd name="connsiteX2085" fmla="*/ 795338 w 2370773"/>
                <a:gd name="connsiteY2085" fmla="*/ 1012507 h 1940242"/>
                <a:gd name="connsiteX2086" fmla="*/ 798195 w 2370773"/>
                <a:gd name="connsiteY2086" fmla="*/ 1015365 h 1940242"/>
                <a:gd name="connsiteX2087" fmla="*/ 795338 w 2370773"/>
                <a:gd name="connsiteY2087" fmla="*/ 1018222 h 1940242"/>
                <a:gd name="connsiteX2088" fmla="*/ 792480 w 2370773"/>
                <a:gd name="connsiteY2088" fmla="*/ 1015365 h 1940242"/>
                <a:gd name="connsiteX2089" fmla="*/ 795338 w 2370773"/>
                <a:gd name="connsiteY2089" fmla="*/ 1012507 h 1940242"/>
                <a:gd name="connsiteX2090" fmla="*/ 2054542 w 2370773"/>
                <a:gd name="connsiteY2090" fmla="*/ 1010602 h 1940242"/>
                <a:gd name="connsiteX2091" fmla="*/ 2055495 w 2370773"/>
                <a:gd name="connsiteY2091" fmla="*/ 1011554 h 1940242"/>
                <a:gd name="connsiteX2092" fmla="*/ 2054542 w 2370773"/>
                <a:gd name="connsiteY2092" fmla="*/ 1012507 h 1940242"/>
                <a:gd name="connsiteX2093" fmla="*/ 2053590 w 2370773"/>
                <a:gd name="connsiteY2093" fmla="*/ 1011554 h 1940242"/>
                <a:gd name="connsiteX2094" fmla="*/ 2054542 w 2370773"/>
                <a:gd name="connsiteY2094" fmla="*/ 1010602 h 1940242"/>
                <a:gd name="connsiteX2095" fmla="*/ 2127885 w 2370773"/>
                <a:gd name="connsiteY2095" fmla="*/ 1009650 h 1940242"/>
                <a:gd name="connsiteX2096" fmla="*/ 2132647 w 2370773"/>
                <a:gd name="connsiteY2096" fmla="*/ 1014413 h 1940242"/>
                <a:gd name="connsiteX2097" fmla="*/ 2127885 w 2370773"/>
                <a:gd name="connsiteY2097" fmla="*/ 1019175 h 1940242"/>
                <a:gd name="connsiteX2098" fmla="*/ 2123122 w 2370773"/>
                <a:gd name="connsiteY2098" fmla="*/ 1014413 h 1940242"/>
                <a:gd name="connsiteX2099" fmla="*/ 2127885 w 2370773"/>
                <a:gd name="connsiteY2099" fmla="*/ 1009650 h 1940242"/>
                <a:gd name="connsiteX2100" fmla="*/ 2271713 w 2370773"/>
                <a:gd name="connsiteY2100" fmla="*/ 1007745 h 1940242"/>
                <a:gd name="connsiteX2101" fmla="*/ 2284095 w 2370773"/>
                <a:gd name="connsiteY2101" fmla="*/ 1020128 h 1940242"/>
                <a:gd name="connsiteX2102" fmla="*/ 2271713 w 2370773"/>
                <a:gd name="connsiteY2102" fmla="*/ 1032510 h 1940242"/>
                <a:gd name="connsiteX2103" fmla="*/ 2259330 w 2370773"/>
                <a:gd name="connsiteY2103" fmla="*/ 1020128 h 1940242"/>
                <a:gd name="connsiteX2104" fmla="*/ 2271713 w 2370773"/>
                <a:gd name="connsiteY2104" fmla="*/ 1007745 h 1940242"/>
                <a:gd name="connsiteX2105" fmla="*/ 401002 w 2370773"/>
                <a:gd name="connsiteY2105" fmla="*/ 1007745 h 1940242"/>
                <a:gd name="connsiteX2106" fmla="*/ 411480 w 2370773"/>
                <a:gd name="connsiteY2106" fmla="*/ 1018222 h 1940242"/>
                <a:gd name="connsiteX2107" fmla="*/ 401002 w 2370773"/>
                <a:gd name="connsiteY2107" fmla="*/ 1028700 h 1940242"/>
                <a:gd name="connsiteX2108" fmla="*/ 390525 w 2370773"/>
                <a:gd name="connsiteY2108" fmla="*/ 1018222 h 1940242"/>
                <a:gd name="connsiteX2109" fmla="*/ 401002 w 2370773"/>
                <a:gd name="connsiteY2109" fmla="*/ 1007745 h 1940242"/>
                <a:gd name="connsiteX2110" fmla="*/ 2200275 w 2370773"/>
                <a:gd name="connsiteY2110" fmla="*/ 1006792 h 1940242"/>
                <a:gd name="connsiteX2111" fmla="*/ 2211705 w 2370773"/>
                <a:gd name="connsiteY2111" fmla="*/ 1018222 h 1940242"/>
                <a:gd name="connsiteX2112" fmla="*/ 2200275 w 2370773"/>
                <a:gd name="connsiteY2112" fmla="*/ 1029652 h 1940242"/>
                <a:gd name="connsiteX2113" fmla="*/ 2188845 w 2370773"/>
                <a:gd name="connsiteY2113" fmla="*/ 1018222 h 1940242"/>
                <a:gd name="connsiteX2114" fmla="*/ 2200275 w 2370773"/>
                <a:gd name="connsiteY2114" fmla="*/ 1006792 h 1940242"/>
                <a:gd name="connsiteX2115" fmla="*/ 1979295 w 2370773"/>
                <a:gd name="connsiteY2115" fmla="*/ 1005840 h 1940242"/>
                <a:gd name="connsiteX2116" fmla="*/ 1980247 w 2370773"/>
                <a:gd name="connsiteY2116" fmla="*/ 1006792 h 1940242"/>
                <a:gd name="connsiteX2117" fmla="*/ 1979295 w 2370773"/>
                <a:gd name="connsiteY2117" fmla="*/ 1007745 h 1940242"/>
                <a:gd name="connsiteX2118" fmla="*/ 1978342 w 2370773"/>
                <a:gd name="connsiteY2118" fmla="*/ 1006792 h 1940242"/>
                <a:gd name="connsiteX2119" fmla="*/ 1979295 w 2370773"/>
                <a:gd name="connsiteY2119" fmla="*/ 1005840 h 1940242"/>
                <a:gd name="connsiteX2120" fmla="*/ 546735 w 2370773"/>
                <a:gd name="connsiteY2120" fmla="*/ 1005840 h 1940242"/>
                <a:gd name="connsiteX2121" fmla="*/ 552450 w 2370773"/>
                <a:gd name="connsiteY2121" fmla="*/ 1011555 h 1940242"/>
                <a:gd name="connsiteX2122" fmla="*/ 546735 w 2370773"/>
                <a:gd name="connsiteY2122" fmla="*/ 1017270 h 1940242"/>
                <a:gd name="connsiteX2123" fmla="*/ 541020 w 2370773"/>
                <a:gd name="connsiteY2123" fmla="*/ 1011555 h 1940242"/>
                <a:gd name="connsiteX2124" fmla="*/ 546735 w 2370773"/>
                <a:gd name="connsiteY2124" fmla="*/ 1005840 h 1940242"/>
                <a:gd name="connsiteX2125" fmla="*/ 698183 w 2370773"/>
                <a:gd name="connsiteY2125" fmla="*/ 1000125 h 1940242"/>
                <a:gd name="connsiteX2126" fmla="*/ 700088 w 2370773"/>
                <a:gd name="connsiteY2126" fmla="*/ 1002030 h 1940242"/>
                <a:gd name="connsiteX2127" fmla="*/ 698183 w 2370773"/>
                <a:gd name="connsiteY2127" fmla="*/ 1003935 h 1940242"/>
                <a:gd name="connsiteX2128" fmla="*/ 696278 w 2370773"/>
                <a:gd name="connsiteY2128" fmla="*/ 1002030 h 1940242"/>
                <a:gd name="connsiteX2129" fmla="*/ 698183 w 2370773"/>
                <a:gd name="connsiteY2129" fmla="*/ 1000125 h 1940242"/>
                <a:gd name="connsiteX2130" fmla="*/ 1824991 w 2370773"/>
                <a:gd name="connsiteY2130" fmla="*/ 993457 h 1940242"/>
                <a:gd name="connsiteX2131" fmla="*/ 1825943 w 2370773"/>
                <a:gd name="connsiteY2131" fmla="*/ 994409 h 1940242"/>
                <a:gd name="connsiteX2132" fmla="*/ 1824991 w 2370773"/>
                <a:gd name="connsiteY2132" fmla="*/ 995362 h 1940242"/>
                <a:gd name="connsiteX2133" fmla="*/ 1824038 w 2370773"/>
                <a:gd name="connsiteY2133" fmla="*/ 994409 h 1940242"/>
                <a:gd name="connsiteX2134" fmla="*/ 1824991 w 2370773"/>
                <a:gd name="connsiteY2134" fmla="*/ 993457 h 1940242"/>
                <a:gd name="connsiteX2135" fmla="*/ 177166 w 2370773"/>
                <a:gd name="connsiteY2135" fmla="*/ 989647 h 1940242"/>
                <a:gd name="connsiteX2136" fmla="*/ 185738 w 2370773"/>
                <a:gd name="connsiteY2136" fmla="*/ 998220 h 1940242"/>
                <a:gd name="connsiteX2137" fmla="*/ 177166 w 2370773"/>
                <a:gd name="connsiteY2137" fmla="*/ 1006792 h 1940242"/>
                <a:gd name="connsiteX2138" fmla="*/ 168593 w 2370773"/>
                <a:gd name="connsiteY2138" fmla="*/ 998220 h 1940242"/>
                <a:gd name="connsiteX2139" fmla="*/ 177166 w 2370773"/>
                <a:gd name="connsiteY2139" fmla="*/ 989647 h 1940242"/>
                <a:gd name="connsiteX2140" fmla="*/ 316230 w 2370773"/>
                <a:gd name="connsiteY2140" fmla="*/ 984884 h 1940242"/>
                <a:gd name="connsiteX2141" fmla="*/ 325755 w 2370773"/>
                <a:gd name="connsiteY2141" fmla="*/ 994409 h 1940242"/>
                <a:gd name="connsiteX2142" fmla="*/ 316230 w 2370773"/>
                <a:gd name="connsiteY2142" fmla="*/ 1003934 h 1940242"/>
                <a:gd name="connsiteX2143" fmla="*/ 306705 w 2370773"/>
                <a:gd name="connsiteY2143" fmla="*/ 994409 h 1940242"/>
                <a:gd name="connsiteX2144" fmla="*/ 316230 w 2370773"/>
                <a:gd name="connsiteY2144" fmla="*/ 984884 h 1940242"/>
                <a:gd name="connsiteX2145" fmla="*/ 856297 w 2370773"/>
                <a:gd name="connsiteY2145" fmla="*/ 982979 h 1940242"/>
                <a:gd name="connsiteX2146" fmla="*/ 858202 w 2370773"/>
                <a:gd name="connsiteY2146" fmla="*/ 984884 h 1940242"/>
                <a:gd name="connsiteX2147" fmla="*/ 856297 w 2370773"/>
                <a:gd name="connsiteY2147" fmla="*/ 986789 h 1940242"/>
                <a:gd name="connsiteX2148" fmla="*/ 854392 w 2370773"/>
                <a:gd name="connsiteY2148" fmla="*/ 984884 h 1940242"/>
                <a:gd name="connsiteX2149" fmla="*/ 856297 w 2370773"/>
                <a:gd name="connsiteY2149" fmla="*/ 982979 h 1940242"/>
                <a:gd name="connsiteX2150" fmla="*/ 459105 w 2370773"/>
                <a:gd name="connsiteY2150" fmla="*/ 981075 h 1940242"/>
                <a:gd name="connsiteX2151" fmla="*/ 468630 w 2370773"/>
                <a:gd name="connsiteY2151" fmla="*/ 990600 h 1940242"/>
                <a:gd name="connsiteX2152" fmla="*/ 459105 w 2370773"/>
                <a:gd name="connsiteY2152" fmla="*/ 1000125 h 1940242"/>
                <a:gd name="connsiteX2153" fmla="*/ 449580 w 2370773"/>
                <a:gd name="connsiteY2153" fmla="*/ 990600 h 1940242"/>
                <a:gd name="connsiteX2154" fmla="*/ 459105 w 2370773"/>
                <a:gd name="connsiteY2154" fmla="*/ 981075 h 1940242"/>
                <a:gd name="connsiteX2155" fmla="*/ 604837 w 2370773"/>
                <a:gd name="connsiteY2155" fmla="*/ 979170 h 1940242"/>
                <a:gd name="connsiteX2156" fmla="*/ 608647 w 2370773"/>
                <a:gd name="connsiteY2156" fmla="*/ 982980 h 1940242"/>
                <a:gd name="connsiteX2157" fmla="*/ 604837 w 2370773"/>
                <a:gd name="connsiteY2157" fmla="*/ 986790 h 1940242"/>
                <a:gd name="connsiteX2158" fmla="*/ 601027 w 2370773"/>
                <a:gd name="connsiteY2158" fmla="*/ 982980 h 1940242"/>
                <a:gd name="connsiteX2159" fmla="*/ 604837 w 2370773"/>
                <a:gd name="connsiteY2159" fmla="*/ 979170 h 1940242"/>
                <a:gd name="connsiteX2160" fmla="*/ 757238 w 2370773"/>
                <a:gd name="connsiteY2160" fmla="*/ 970597 h 1940242"/>
                <a:gd name="connsiteX2161" fmla="*/ 759143 w 2370773"/>
                <a:gd name="connsiteY2161" fmla="*/ 972502 h 1940242"/>
                <a:gd name="connsiteX2162" fmla="*/ 757238 w 2370773"/>
                <a:gd name="connsiteY2162" fmla="*/ 974407 h 1940242"/>
                <a:gd name="connsiteX2163" fmla="*/ 755333 w 2370773"/>
                <a:gd name="connsiteY2163" fmla="*/ 972502 h 1940242"/>
                <a:gd name="connsiteX2164" fmla="*/ 757238 w 2370773"/>
                <a:gd name="connsiteY2164" fmla="*/ 970597 h 1940242"/>
                <a:gd name="connsiteX2165" fmla="*/ 2366010 w 2370773"/>
                <a:gd name="connsiteY2165" fmla="*/ 969645 h 1940242"/>
                <a:gd name="connsiteX2166" fmla="*/ 2366962 w 2370773"/>
                <a:gd name="connsiteY2166" fmla="*/ 970597 h 1940242"/>
                <a:gd name="connsiteX2167" fmla="*/ 2366010 w 2370773"/>
                <a:gd name="connsiteY2167" fmla="*/ 971550 h 1940242"/>
                <a:gd name="connsiteX2168" fmla="*/ 2365057 w 2370773"/>
                <a:gd name="connsiteY2168" fmla="*/ 970597 h 1940242"/>
                <a:gd name="connsiteX2169" fmla="*/ 2366010 w 2370773"/>
                <a:gd name="connsiteY2169" fmla="*/ 969645 h 1940242"/>
                <a:gd name="connsiteX2170" fmla="*/ 97156 w 2370773"/>
                <a:gd name="connsiteY2170" fmla="*/ 962025 h 1940242"/>
                <a:gd name="connsiteX2171" fmla="*/ 107633 w 2370773"/>
                <a:gd name="connsiteY2171" fmla="*/ 972502 h 1940242"/>
                <a:gd name="connsiteX2172" fmla="*/ 97156 w 2370773"/>
                <a:gd name="connsiteY2172" fmla="*/ 982980 h 1940242"/>
                <a:gd name="connsiteX2173" fmla="*/ 86678 w 2370773"/>
                <a:gd name="connsiteY2173" fmla="*/ 972502 h 1940242"/>
                <a:gd name="connsiteX2174" fmla="*/ 97156 w 2370773"/>
                <a:gd name="connsiteY2174" fmla="*/ 962025 h 1940242"/>
                <a:gd name="connsiteX2175" fmla="*/ 2296478 w 2370773"/>
                <a:gd name="connsiteY2175" fmla="*/ 961072 h 1940242"/>
                <a:gd name="connsiteX2176" fmla="*/ 2304098 w 2370773"/>
                <a:gd name="connsiteY2176" fmla="*/ 968692 h 1940242"/>
                <a:gd name="connsiteX2177" fmla="*/ 2296478 w 2370773"/>
                <a:gd name="connsiteY2177" fmla="*/ 976312 h 1940242"/>
                <a:gd name="connsiteX2178" fmla="*/ 2288858 w 2370773"/>
                <a:gd name="connsiteY2178" fmla="*/ 968692 h 1940242"/>
                <a:gd name="connsiteX2179" fmla="*/ 2296478 w 2370773"/>
                <a:gd name="connsiteY2179" fmla="*/ 961072 h 1940242"/>
                <a:gd name="connsiteX2180" fmla="*/ 235268 w 2370773"/>
                <a:gd name="connsiteY2180" fmla="*/ 961072 h 1940242"/>
                <a:gd name="connsiteX2181" fmla="*/ 243840 w 2370773"/>
                <a:gd name="connsiteY2181" fmla="*/ 969645 h 1940242"/>
                <a:gd name="connsiteX2182" fmla="*/ 235268 w 2370773"/>
                <a:gd name="connsiteY2182" fmla="*/ 978217 h 1940242"/>
                <a:gd name="connsiteX2183" fmla="*/ 226695 w 2370773"/>
                <a:gd name="connsiteY2183" fmla="*/ 969645 h 1940242"/>
                <a:gd name="connsiteX2184" fmla="*/ 235268 w 2370773"/>
                <a:gd name="connsiteY2184" fmla="*/ 961072 h 1940242"/>
                <a:gd name="connsiteX2185" fmla="*/ 2155507 w 2370773"/>
                <a:gd name="connsiteY2185" fmla="*/ 959167 h 1940242"/>
                <a:gd name="connsiteX2186" fmla="*/ 2161222 w 2370773"/>
                <a:gd name="connsiteY2186" fmla="*/ 964882 h 1940242"/>
                <a:gd name="connsiteX2187" fmla="*/ 2155507 w 2370773"/>
                <a:gd name="connsiteY2187" fmla="*/ 970597 h 1940242"/>
                <a:gd name="connsiteX2188" fmla="*/ 2149792 w 2370773"/>
                <a:gd name="connsiteY2188" fmla="*/ 964882 h 1940242"/>
                <a:gd name="connsiteX2189" fmla="*/ 2155507 w 2370773"/>
                <a:gd name="connsiteY2189" fmla="*/ 959167 h 1940242"/>
                <a:gd name="connsiteX2190" fmla="*/ 2226945 w 2370773"/>
                <a:gd name="connsiteY2190" fmla="*/ 958214 h 1940242"/>
                <a:gd name="connsiteX2191" fmla="*/ 2235517 w 2370773"/>
                <a:gd name="connsiteY2191" fmla="*/ 966787 h 1940242"/>
                <a:gd name="connsiteX2192" fmla="*/ 2226945 w 2370773"/>
                <a:gd name="connsiteY2192" fmla="*/ 975359 h 1940242"/>
                <a:gd name="connsiteX2193" fmla="*/ 2218372 w 2370773"/>
                <a:gd name="connsiteY2193" fmla="*/ 966787 h 1940242"/>
                <a:gd name="connsiteX2194" fmla="*/ 2226945 w 2370773"/>
                <a:gd name="connsiteY2194" fmla="*/ 958214 h 1940242"/>
                <a:gd name="connsiteX2195" fmla="*/ 517208 w 2370773"/>
                <a:gd name="connsiteY2195" fmla="*/ 957262 h 1940242"/>
                <a:gd name="connsiteX2196" fmla="*/ 521970 w 2370773"/>
                <a:gd name="connsiteY2196" fmla="*/ 962025 h 1940242"/>
                <a:gd name="connsiteX2197" fmla="*/ 517208 w 2370773"/>
                <a:gd name="connsiteY2197" fmla="*/ 966787 h 1940242"/>
                <a:gd name="connsiteX2198" fmla="*/ 512445 w 2370773"/>
                <a:gd name="connsiteY2198" fmla="*/ 962025 h 1940242"/>
                <a:gd name="connsiteX2199" fmla="*/ 517208 w 2370773"/>
                <a:gd name="connsiteY2199" fmla="*/ 957262 h 1940242"/>
                <a:gd name="connsiteX2200" fmla="*/ 374332 w 2370773"/>
                <a:gd name="connsiteY2200" fmla="*/ 955357 h 1940242"/>
                <a:gd name="connsiteX2201" fmla="*/ 385762 w 2370773"/>
                <a:gd name="connsiteY2201" fmla="*/ 966787 h 1940242"/>
                <a:gd name="connsiteX2202" fmla="*/ 374332 w 2370773"/>
                <a:gd name="connsiteY2202" fmla="*/ 978217 h 1940242"/>
                <a:gd name="connsiteX2203" fmla="*/ 362902 w 2370773"/>
                <a:gd name="connsiteY2203" fmla="*/ 966787 h 1940242"/>
                <a:gd name="connsiteX2204" fmla="*/ 374332 w 2370773"/>
                <a:gd name="connsiteY2204" fmla="*/ 955357 h 1940242"/>
                <a:gd name="connsiteX2205" fmla="*/ 663892 w 2370773"/>
                <a:gd name="connsiteY2205" fmla="*/ 951547 h 1940242"/>
                <a:gd name="connsiteX2206" fmla="*/ 666750 w 2370773"/>
                <a:gd name="connsiteY2206" fmla="*/ 954404 h 1940242"/>
                <a:gd name="connsiteX2207" fmla="*/ 663892 w 2370773"/>
                <a:gd name="connsiteY2207" fmla="*/ 957262 h 1940242"/>
                <a:gd name="connsiteX2208" fmla="*/ 661035 w 2370773"/>
                <a:gd name="connsiteY2208" fmla="*/ 954404 h 1940242"/>
                <a:gd name="connsiteX2209" fmla="*/ 663892 w 2370773"/>
                <a:gd name="connsiteY2209" fmla="*/ 951547 h 1940242"/>
                <a:gd name="connsiteX2210" fmla="*/ 20003 w 2370773"/>
                <a:gd name="connsiteY2210" fmla="*/ 944879 h 1940242"/>
                <a:gd name="connsiteX2211" fmla="*/ 20955 w 2370773"/>
                <a:gd name="connsiteY2211" fmla="*/ 945832 h 1940242"/>
                <a:gd name="connsiteX2212" fmla="*/ 20003 w 2370773"/>
                <a:gd name="connsiteY2212" fmla="*/ 946784 h 1940242"/>
                <a:gd name="connsiteX2213" fmla="*/ 19050 w 2370773"/>
                <a:gd name="connsiteY2213" fmla="*/ 945832 h 1940242"/>
                <a:gd name="connsiteX2214" fmla="*/ 20003 w 2370773"/>
                <a:gd name="connsiteY2214" fmla="*/ 944879 h 1940242"/>
                <a:gd name="connsiteX2215" fmla="*/ 816293 w 2370773"/>
                <a:gd name="connsiteY2215" fmla="*/ 941070 h 1940242"/>
                <a:gd name="connsiteX2216" fmla="*/ 818198 w 2370773"/>
                <a:gd name="connsiteY2216" fmla="*/ 942975 h 1940242"/>
                <a:gd name="connsiteX2217" fmla="*/ 816293 w 2370773"/>
                <a:gd name="connsiteY2217" fmla="*/ 944880 h 1940242"/>
                <a:gd name="connsiteX2218" fmla="*/ 814388 w 2370773"/>
                <a:gd name="connsiteY2218" fmla="*/ 942975 h 1940242"/>
                <a:gd name="connsiteX2219" fmla="*/ 816293 w 2370773"/>
                <a:gd name="connsiteY2219" fmla="*/ 941070 h 1940242"/>
                <a:gd name="connsiteX2220" fmla="*/ 156210 w 2370773"/>
                <a:gd name="connsiteY2220" fmla="*/ 935354 h 1940242"/>
                <a:gd name="connsiteX2221" fmla="*/ 164783 w 2370773"/>
                <a:gd name="connsiteY2221" fmla="*/ 943927 h 1940242"/>
                <a:gd name="connsiteX2222" fmla="*/ 156210 w 2370773"/>
                <a:gd name="connsiteY2222" fmla="*/ 952499 h 1940242"/>
                <a:gd name="connsiteX2223" fmla="*/ 147638 w 2370773"/>
                <a:gd name="connsiteY2223" fmla="*/ 943927 h 1940242"/>
                <a:gd name="connsiteX2224" fmla="*/ 156210 w 2370773"/>
                <a:gd name="connsiteY2224" fmla="*/ 935354 h 1940242"/>
                <a:gd name="connsiteX2225" fmla="*/ 293370 w 2370773"/>
                <a:gd name="connsiteY2225" fmla="*/ 931545 h 1940242"/>
                <a:gd name="connsiteX2226" fmla="*/ 303848 w 2370773"/>
                <a:gd name="connsiteY2226" fmla="*/ 942022 h 1940242"/>
                <a:gd name="connsiteX2227" fmla="*/ 293370 w 2370773"/>
                <a:gd name="connsiteY2227" fmla="*/ 952500 h 1940242"/>
                <a:gd name="connsiteX2228" fmla="*/ 282893 w 2370773"/>
                <a:gd name="connsiteY2228" fmla="*/ 942022 h 1940242"/>
                <a:gd name="connsiteX2229" fmla="*/ 293370 w 2370773"/>
                <a:gd name="connsiteY2229" fmla="*/ 931545 h 1940242"/>
                <a:gd name="connsiteX2230" fmla="*/ 575311 w 2370773"/>
                <a:gd name="connsiteY2230" fmla="*/ 929639 h 1940242"/>
                <a:gd name="connsiteX2231" fmla="*/ 580073 w 2370773"/>
                <a:gd name="connsiteY2231" fmla="*/ 934402 h 1940242"/>
                <a:gd name="connsiteX2232" fmla="*/ 575311 w 2370773"/>
                <a:gd name="connsiteY2232" fmla="*/ 939164 h 1940242"/>
                <a:gd name="connsiteX2233" fmla="*/ 570548 w 2370773"/>
                <a:gd name="connsiteY2233" fmla="*/ 934402 h 1940242"/>
                <a:gd name="connsiteX2234" fmla="*/ 575311 w 2370773"/>
                <a:gd name="connsiteY2234" fmla="*/ 929639 h 1940242"/>
                <a:gd name="connsiteX2235" fmla="*/ 432436 w 2370773"/>
                <a:gd name="connsiteY2235" fmla="*/ 929639 h 1940242"/>
                <a:gd name="connsiteX2236" fmla="*/ 441008 w 2370773"/>
                <a:gd name="connsiteY2236" fmla="*/ 938212 h 1940242"/>
                <a:gd name="connsiteX2237" fmla="*/ 432436 w 2370773"/>
                <a:gd name="connsiteY2237" fmla="*/ 946784 h 1940242"/>
                <a:gd name="connsiteX2238" fmla="*/ 423863 w 2370773"/>
                <a:gd name="connsiteY2238" fmla="*/ 938212 h 1940242"/>
                <a:gd name="connsiteX2239" fmla="*/ 432436 w 2370773"/>
                <a:gd name="connsiteY2239" fmla="*/ 929639 h 1940242"/>
                <a:gd name="connsiteX2240" fmla="*/ 721995 w 2370773"/>
                <a:gd name="connsiteY2240" fmla="*/ 924877 h 1940242"/>
                <a:gd name="connsiteX2241" fmla="*/ 723900 w 2370773"/>
                <a:gd name="connsiteY2241" fmla="*/ 926782 h 1940242"/>
                <a:gd name="connsiteX2242" fmla="*/ 721995 w 2370773"/>
                <a:gd name="connsiteY2242" fmla="*/ 928687 h 1940242"/>
                <a:gd name="connsiteX2243" fmla="*/ 720090 w 2370773"/>
                <a:gd name="connsiteY2243" fmla="*/ 926782 h 1940242"/>
                <a:gd name="connsiteX2244" fmla="*/ 721995 w 2370773"/>
                <a:gd name="connsiteY2244" fmla="*/ 924877 h 1940242"/>
                <a:gd name="connsiteX2245" fmla="*/ 2319337 w 2370773"/>
                <a:gd name="connsiteY2245" fmla="*/ 914400 h 1940242"/>
                <a:gd name="connsiteX2246" fmla="*/ 2320290 w 2370773"/>
                <a:gd name="connsiteY2246" fmla="*/ 915352 h 1940242"/>
                <a:gd name="connsiteX2247" fmla="*/ 2319337 w 2370773"/>
                <a:gd name="connsiteY2247" fmla="*/ 916305 h 1940242"/>
                <a:gd name="connsiteX2248" fmla="*/ 2318384 w 2370773"/>
                <a:gd name="connsiteY2248" fmla="*/ 915352 h 1940242"/>
                <a:gd name="connsiteX2249" fmla="*/ 2319337 w 2370773"/>
                <a:gd name="connsiteY2249" fmla="*/ 914400 h 1940242"/>
                <a:gd name="connsiteX2250" fmla="*/ 2181225 w 2370773"/>
                <a:gd name="connsiteY2250" fmla="*/ 909637 h 1940242"/>
                <a:gd name="connsiteX2251" fmla="*/ 2184082 w 2370773"/>
                <a:gd name="connsiteY2251" fmla="*/ 912495 h 1940242"/>
                <a:gd name="connsiteX2252" fmla="*/ 2181225 w 2370773"/>
                <a:gd name="connsiteY2252" fmla="*/ 915352 h 1940242"/>
                <a:gd name="connsiteX2253" fmla="*/ 2178367 w 2370773"/>
                <a:gd name="connsiteY2253" fmla="*/ 912495 h 1940242"/>
                <a:gd name="connsiteX2254" fmla="*/ 2181225 w 2370773"/>
                <a:gd name="connsiteY2254" fmla="*/ 909637 h 1940242"/>
                <a:gd name="connsiteX2255" fmla="*/ 214313 w 2370773"/>
                <a:gd name="connsiteY2255" fmla="*/ 907732 h 1940242"/>
                <a:gd name="connsiteX2256" fmla="*/ 222885 w 2370773"/>
                <a:gd name="connsiteY2256" fmla="*/ 916304 h 1940242"/>
                <a:gd name="connsiteX2257" fmla="*/ 214313 w 2370773"/>
                <a:gd name="connsiteY2257" fmla="*/ 924877 h 1940242"/>
                <a:gd name="connsiteX2258" fmla="*/ 205740 w 2370773"/>
                <a:gd name="connsiteY2258" fmla="*/ 916304 h 1940242"/>
                <a:gd name="connsiteX2259" fmla="*/ 214313 w 2370773"/>
                <a:gd name="connsiteY2259" fmla="*/ 907732 h 1940242"/>
                <a:gd name="connsiteX2260" fmla="*/ 78106 w 2370773"/>
                <a:gd name="connsiteY2260" fmla="*/ 907732 h 1940242"/>
                <a:gd name="connsiteX2261" fmla="*/ 88583 w 2370773"/>
                <a:gd name="connsiteY2261" fmla="*/ 918209 h 1940242"/>
                <a:gd name="connsiteX2262" fmla="*/ 78106 w 2370773"/>
                <a:gd name="connsiteY2262" fmla="*/ 928687 h 1940242"/>
                <a:gd name="connsiteX2263" fmla="*/ 67628 w 2370773"/>
                <a:gd name="connsiteY2263" fmla="*/ 918209 h 1940242"/>
                <a:gd name="connsiteX2264" fmla="*/ 78106 w 2370773"/>
                <a:gd name="connsiteY2264" fmla="*/ 907732 h 1940242"/>
                <a:gd name="connsiteX2265" fmla="*/ 2249805 w 2370773"/>
                <a:gd name="connsiteY2265" fmla="*/ 906779 h 1940242"/>
                <a:gd name="connsiteX2266" fmla="*/ 2257425 w 2370773"/>
                <a:gd name="connsiteY2266" fmla="*/ 914399 h 1940242"/>
                <a:gd name="connsiteX2267" fmla="*/ 2249805 w 2370773"/>
                <a:gd name="connsiteY2267" fmla="*/ 922019 h 1940242"/>
                <a:gd name="connsiteX2268" fmla="*/ 2242185 w 2370773"/>
                <a:gd name="connsiteY2268" fmla="*/ 914399 h 1940242"/>
                <a:gd name="connsiteX2269" fmla="*/ 2249805 w 2370773"/>
                <a:gd name="connsiteY2269" fmla="*/ 906779 h 1940242"/>
                <a:gd name="connsiteX2270" fmla="*/ 632460 w 2370773"/>
                <a:gd name="connsiteY2270" fmla="*/ 904875 h 1940242"/>
                <a:gd name="connsiteX2271" fmla="*/ 634365 w 2370773"/>
                <a:gd name="connsiteY2271" fmla="*/ 906780 h 1940242"/>
                <a:gd name="connsiteX2272" fmla="*/ 632460 w 2370773"/>
                <a:gd name="connsiteY2272" fmla="*/ 908685 h 1940242"/>
                <a:gd name="connsiteX2273" fmla="*/ 630555 w 2370773"/>
                <a:gd name="connsiteY2273" fmla="*/ 906780 h 1940242"/>
                <a:gd name="connsiteX2274" fmla="*/ 632460 w 2370773"/>
                <a:gd name="connsiteY2274" fmla="*/ 904875 h 1940242"/>
                <a:gd name="connsiteX2275" fmla="*/ 490538 w 2370773"/>
                <a:gd name="connsiteY2275" fmla="*/ 904875 h 1940242"/>
                <a:gd name="connsiteX2276" fmla="*/ 496253 w 2370773"/>
                <a:gd name="connsiteY2276" fmla="*/ 910590 h 1940242"/>
                <a:gd name="connsiteX2277" fmla="*/ 490538 w 2370773"/>
                <a:gd name="connsiteY2277" fmla="*/ 916305 h 1940242"/>
                <a:gd name="connsiteX2278" fmla="*/ 484823 w 2370773"/>
                <a:gd name="connsiteY2278" fmla="*/ 910590 h 1940242"/>
                <a:gd name="connsiteX2279" fmla="*/ 490538 w 2370773"/>
                <a:gd name="connsiteY2279" fmla="*/ 904875 h 1940242"/>
                <a:gd name="connsiteX2280" fmla="*/ 350520 w 2370773"/>
                <a:gd name="connsiteY2280" fmla="*/ 902970 h 1940242"/>
                <a:gd name="connsiteX2281" fmla="*/ 361950 w 2370773"/>
                <a:gd name="connsiteY2281" fmla="*/ 914400 h 1940242"/>
                <a:gd name="connsiteX2282" fmla="*/ 350520 w 2370773"/>
                <a:gd name="connsiteY2282" fmla="*/ 925830 h 1940242"/>
                <a:gd name="connsiteX2283" fmla="*/ 339090 w 2370773"/>
                <a:gd name="connsiteY2283" fmla="*/ 914400 h 1940242"/>
                <a:gd name="connsiteX2284" fmla="*/ 350520 w 2370773"/>
                <a:gd name="connsiteY2284" fmla="*/ 902970 h 1940242"/>
                <a:gd name="connsiteX2285" fmla="*/ 2858 w 2370773"/>
                <a:gd name="connsiteY2285" fmla="*/ 887729 h 1940242"/>
                <a:gd name="connsiteX2286" fmla="*/ 5715 w 2370773"/>
                <a:gd name="connsiteY2286" fmla="*/ 890587 h 1940242"/>
                <a:gd name="connsiteX2287" fmla="*/ 2858 w 2370773"/>
                <a:gd name="connsiteY2287" fmla="*/ 893444 h 1940242"/>
                <a:gd name="connsiteX2288" fmla="*/ 0 w 2370773"/>
                <a:gd name="connsiteY2288" fmla="*/ 890587 h 1940242"/>
                <a:gd name="connsiteX2289" fmla="*/ 2858 w 2370773"/>
                <a:gd name="connsiteY2289" fmla="*/ 887729 h 1940242"/>
                <a:gd name="connsiteX2290" fmla="*/ 137160 w 2370773"/>
                <a:gd name="connsiteY2290" fmla="*/ 882014 h 1940242"/>
                <a:gd name="connsiteX2291" fmla="*/ 144780 w 2370773"/>
                <a:gd name="connsiteY2291" fmla="*/ 889634 h 1940242"/>
                <a:gd name="connsiteX2292" fmla="*/ 137160 w 2370773"/>
                <a:gd name="connsiteY2292" fmla="*/ 897254 h 1940242"/>
                <a:gd name="connsiteX2293" fmla="*/ 129540 w 2370773"/>
                <a:gd name="connsiteY2293" fmla="*/ 889634 h 1940242"/>
                <a:gd name="connsiteX2294" fmla="*/ 137160 w 2370773"/>
                <a:gd name="connsiteY2294" fmla="*/ 882014 h 1940242"/>
                <a:gd name="connsiteX2295" fmla="*/ 547688 w 2370773"/>
                <a:gd name="connsiteY2295" fmla="*/ 880110 h 1940242"/>
                <a:gd name="connsiteX2296" fmla="*/ 550545 w 2370773"/>
                <a:gd name="connsiteY2296" fmla="*/ 882967 h 1940242"/>
                <a:gd name="connsiteX2297" fmla="*/ 547688 w 2370773"/>
                <a:gd name="connsiteY2297" fmla="*/ 885825 h 1940242"/>
                <a:gd name="connsiteX2298" fmla="*/ 544830 w 2370773"/>
                <a:gd name="connsiteY2298" fmla="*/ 882967 h 1940242"/>
                <a:gd name="connsiteX2299" fmla="*/ 547688 w 2370773"/>
                <a:gd name="connsiteY2299" fmla="*/ 880110 h 1940242"/>
                <a:gd name="connsiteX2300" fmla="*/ 408623 w 2370773"/>
                <a:gd name="connsiteY2300" fmla="*/ 880110 h 1940242"/>
                <a:gd name="connsiteX2301" fmla="*/ 415290 w 2370773"/>
                <a:gd name="connsiteY2301" fmla="*/ 886777 h 1940242"/>
                <a:gd name="connsiteX2302" fmla="*/ 408623 w 2370773"/>
                <a:gd name="connsiteY2302" fmla="*/ 893445 h 1940242"/>
                <a:gd name="connsiteX2303" fmla="*/ 401955 w 2370773"/>
                <a:gd name="connsiteY2303" fmla="*/ 886777 h 1940242"/>
                <a:gd name="connsiteX2304" fmla="*/ 408623 w 2370773"/>
                <a:gd name="connsiteY2304" fmla="*/ 880110 h 1940242"/>
                <a:gd name="connsiteX2305" fmla="*/ 272415 w 2370773"/>
                <a:gd name="connsiteY2305" fmla="*/ 879157 h 1940242"/>
                <a:gd name="connsiteX2306" fmla="*/ 280988 w 2370773"/>
                <a:gd name="connsiteY2306" fmla="*/ 887729 h 1940242"/>
                <a:gd name="connsiteX2307" fmla="*/ 272415 w 2370773"/>
                <a:gd name="connsiteY2307" fmla="*/ 896302 h 1940242"/>
                <a:gd name="connsiteX2308" fmla="*/ 263843 w 2370773"/>
                <a:gd name="connsiteY2308" fmla="*/ 887729 h 1940242"/>
                <a:gd name="connsiteX2309" fmla="*/ 272415 w 2370773"/>
                <a:gd name="connsiteY2309" fmla="*/ 879157 h 1940242"/>
                <a:gd name="connsiteX2310" fmla="*/ 690563 w 2370773"/>
                <a:gd name="connsiteY2310" fmla="*/ 875347 h 1940242"/>
                <a:gd name="connsiteX2311" fmla="*/ 693420 w 2370773"/>
                <a:gd name="connsiteY2311" fmla="*/ 878204 h 1940242"/>
                <a:gd name="connsiteX2312" fmla="*/ 690563 w 2370773"/>
                <a:gd name="connsiteY2312" fmla="*/ 881062 h 1940242"/>
                <a:gd name="connsiteX2313" fmla="*/ 687705 w 2370773"/>
                <a:gd name="connsiteY2313" fmla="*/ 878204 h 1940242"/>
                <a:gd name="connsiteX2314" fmla="*/ 690563 w 2370773"/>
                <a:gd name="connsiteY2314" fmla="*/ 875347 h 1940242"/>
                <a:gd name="connsiteX2315" fmla="*/ 2338388 w 2370773"/>
                <a:gd name="connsiteY2315" fmla="*/ 860107 h 1940242"/>
                <a:gd name="connsiteX2316" fmla="*/ 2339340 w 2370773"/>
                <a:gd name="connsiteY2316" fmla="*/ 861059 h 1940242"/>
                <a:gd name="connsiteX2317" fmla="*/ 2338388 w 2370773"/>
                <a:gd name="connsiteY2317" fmla="*/ 862012 h 1940242"/>
                <a:gd name="connsiteX2318" fmla="*/ 2337435 w 2370773"/>
                <a:gd name="connsiteY2318" fmla="*/ 861059 h 1940242"/>
                <a:gd name="connsiteX2319" fmla="*/ 2338388 w 2370773"/>
                <a:gd name="connsiteY2319" fmla="*/ 860107 h 1940242"/>
                <a:gd name="connsiteX2320" fmla="*/ 61913 w 2370773"/>
                <a:gd name="connsiteY2320" fmla="*/ 859154 h 1940242"/>
                <a:gd name="connsiteX2321" fmla="*/ 64770 w 2370773"/>
                <a:gd name="connsiteY2321" fmla="*/ 862012 h 1940242"/>
                <a:gd name="connsiteX2322" fmla="*/ 61913 w 2370773"/>
                <a:gd name="connsiteY2322" fmla="*/ 864869 h 1940242"/>
                <a:gd name="connsiteX2323" fmla="*/ 59055 w 2370773"/>
                <a:gd name="connsiteY2323" fmla="*/ 862012 h 1940242"/>
                <a:gd name="connsiteX2324" fmla="*/ 61913 w 2370773"/>
                <a:gd name="connsiteY2324" fmla="*/ 859154 h 1940242"/>
                <a:gd name="connsiteX2325" fmla="*/ 2270760 w 2370773"/>
                <a:gd name="connsiteY2325" fmla="*/ 855345 h 1940242"/>
                <a:gd name="connsiteX2326" fmla="*/ 2275522 w 2370773"/>
                <a:gd name="connsiteY2326" fmla="*/ 860108 h 1940242"/>
                <a:gd name="connsiteX2327" fmla="*/ 2270760 w 2370773"/>
                <a:gd name="connsiteY2327" fmla="*/ 864870 h 1940242"/>
                <a:gd name="connsiteX2328" fmla="*/ 2265997 w 2370773"/>
                <a:gd name="connsiteY2328" fmla="*/ 860108 h 1940242"/>
                <a:gd name="connsiteX2329" fmla="*/ 2270760 w 2370773"/>
                <a:gd name="connsiteY2329" fmla="*/ 855345 h 1940242"/>
                <a:gd name="connsiteX2330" fmla="*/ 2134553 w 2370773"/>
                <a:gd name="connsiteY2330" fmla="*/ 855345 h 1940242"/>
                <a:gd name="connsiteX2331" fmla="*/ 2137410 w 2370773"/>
                <a:gd name="connsiteY2331" fmla="*/ 858202 h 1940242"/>
                <a:gd name="connsiteX2332" fmla="*/ 2134553 w 2370773"/>
                <a:gd name="connsiteY2332" fmla="*/ 861060 h 1940242"/>
                <a:gd name="connsiteX2333" fmla="*/ 2131695 w 2370773"/>
                <a:gd name="connsiteY2333" fmla="*/ 858202 h 1940242"/>
                <a:gd name="connsiteX2334" fmla="*/ 2134553 w 2370773"/>
                <a:gd name="connsiteY2334" fmla="*/ 855345 h 1940242"/>
                <a:gd name="connsiteX2335" fmla="*/ 2203133 w 2370773"/>
                <a:gd name="connsiteY2335" fmla="*/ 853439 h 1940242"/>
                <a:gd name="connsiteX2336" fmla="*/ 2209800 w 2370773"/>
                <a:gd name="connsiteY2336" fmla="*/ 860107 h 1940242"/>
                <a:gd name="connsiteX2337" fmla="*/ 2203133 w 2370773"/>
                <a:gd name="connsiteY2337" fmla="*/ 866774 h 1940242"/>
                <a:gd name="connsiteX2338" fmla="*/ 2196465 w 2370773"/>
                <a:gd name="connsiteY2338" fmla="*/ 860107 h 1940242"/>
                <a:gd name="connsiteX2339" fmla="*/ 2203133 w 2370773"/>
                <a:gd name="connsiteY2339" fmla="*/ 853439 h 1940242"/>
                <a:gd name="connsiteX2340" fmla="*/ 605790 w 2370773"/>
                <a:gd name="connsiteY2340" fmla="*/ 853439 h 1940242"/>
                <a:gd name="connsiteX2341" fmla="*/ 607695 w 2370773"/>
                <a:gd name="connsiteY2341" fmla="*/ 855344 h 1940242"/>
                <a:gd name="connsiteX2342" fmla="*/ 605790 w 2370773"/>
                <a:gd name="connsiteY2342" fmla="*/ 857249 h 1940242"/>
                <a:gd name="connsiteX2343" fmla="*/ 603885 w 2370773"/>
                <a:gd name="connsiteY2343" fmla="*/ 855344 h 1940242"/>
                <a:gd name="connsiteX2344" fmla="*/ 605790 w 2370773"/>
                <a:gd name="connsiteY2344" fmla="*/ 853439 h 1940242"/>
                <a:gd name="connsiteX2345" fmla="*/ 466725 w 2370773"/>
                <a:gd name="connsiteY2345" fmla="*/ 852487 h 1940242"/>
                <a:gd name="connsiteX2346" fmla="*/ 472440 w 2370773"/>
                <a:gd name="connsiteY2346" fmla="*/ 858202 h 1940242"/>
                <a:gd name="connsiteX2347" fmla="*/ 466725 w 2370773"/>
                <a:gd name="connsiteY2347" fmla="*/ 863917 h 1940242"/>
                <a:gd name="connsiteX2348" fmla="*/ 461010 w 2370773"/>
                <a:gd name="connsiteY2348" fmla="*/ 858202 h 1940242"/>
                <a:gd name="connsiteX2349" fmla="*/ 466725 w 2370773"/>
                <a:gd name="connsiteY2349" fmla="*/ 852487 h 1940242"/>
                <a:gd name="connsiteX2350" fmla="*/ 195262 w 2370773"/>
                <a:gd name="connsiteY2350" fmla="*/ 852487 h 1940242"/>
                <a:gd name="connsiteX2351" fmla="*/ 203835 w 2370773"/>
                <a:gd name="connsiteY2351" fmla="*/ 861060 h 1940242"/>
                <a:gd name="connsiteX2352" fmla="*/ 195262 w 2370773"/>
                <a:gd name="connsiteY2352" fmla="*/ 869632 h 1940242"/>
                <a:gd name="connsiteX2353" fmla="*/ 186690 w 2370773"/>
                <a:gd name="connsiteY2353" fmla="*/ 861060 h 1940242"/>
                <a:gd name="connsiteX2354" fmla="*/ 195262 w 2370773"/>
                <a:gd name="connsiteY2354" fmla="*/ 852487 h 1940242"/>
                <a:gd name="connsiteX2355" fmla="*/ 330518 w 2370773"/>
                <a:gd name="connsiteY2355" fmla="*/ 850582 h 1940242"/>
                <a:gd name="connsiteX2356" fmla="*/ 340043 w 2370773"/>
                <a:gd name="connsiteY2356" fmla="*/ 860107 h 1940242"/>
                <a:gd name="connsiteX2357" fmla="*/ 330518 w 2370773"/>
                <a:gd name="connsiteY2357" fmla="*/ 869632 h 1940242"/>
                <a:gd name="connsiteX2358" fmla="*/ 320993 w 2370773"/>
                <a:gd name="connsiteY2358" fmla="*/ 860107 h 1940242"/>
                <a:gd name="connsiteX2359" fmla="*/ 330518 w 2370773"/>
                <a:gd name="connsiteY2359" fmla="*/ 850582 h 1940242"/>
                <a:gd name="connsiteX2360" fmla="*/ 748665 w 2370773"/>
                <a:gd name="connsiteY2360" fmla="*/ 847725 h 1940242"/>
                <a:gd name="connsiteX2361" fmla="*/ 750570 w 2370773"/>
                <a:gd name="connsiteY2361" fmla="*/ 849630 h 1940242"/>
                <a:gd name="connsiteX2362" fmla="*/ 748665 w 2370773"/>
                <a:gd name="connsiteY2362" fmla="*/ 851535 h 1940242"/>
                <a:gd name="connsiteX2363" fmla="*/ 746760 w 2370773"/>
                <a:gd name="connsiteY2363" fmla="*/ 849630 h 1940242"/>
                <a:gd name="connsiteX2364" fmla="*/ 748665 w 2370773"/>
                <a:gd name="connsiteY2364" fmla="*/ 847725 h 1940242"/>
                <a:gd name="connsiteX2365" fmla="*/ 524828 w 2370773"/>
                <a:gd name="connsiteY2365" fmla="*/ 828675 h 1940242"/>
                <a:gd name="connsiteX2366" fmla="*/ 526733 w 2370773"/>
                <a:gd name="connsiteY2366" fmla="*/ 830580 h 1940242"/>
                <a:gd name="connsiteX2367" fmla="*/ 524828 w 2370773"/>
                <a:gd name="connsiteY2367" fmla="*/ 832485 h 1940242"/>
                <a:gd name="connsiteX2368" fmla="*/ 522923 w 2370773"/>
                <a:gd name="connsiteY2368" fmla="*/ 830580 h 1940242"/>
                <a:gd name="connsiteX2369" fmla="*/ 524828 w 2370773"/>
                <a:gd name="connsiteY2369" fmla="*/ 828675 h 1940242"/>
                <a:gd name="connsiteX2370" fmla="*/ 388620 w 2370773"/>
                <a:gd name="connsiteY2370" fmla="*/ 826770 h 1940242"/>
                <a:gd name="connsiteX2371" fmla="*/ 394335 w 2370773"/>
                <a:gd name="connsiteY2371" fmla="*/ 832485 h 1940242"/>
                <a:gd name="connsiteX2372" fmla="*/ 388620 w 2370773"/>
                <a:gd name="connsiteY2372" fmla="*/ 838200 h 1940242"/>
                <a:gd name="connsiteX2373" fmla="*/ 382905 w 2370773"/>
                <a:gd name="connsiteY2373" fmla="*/ 832485 h 1940242"/>
                <a:gd name="connsiteX2374" fmla="*/ 388620 w 2370773"/>
                <a:gd name="connsiteY2374" fmla="*/ 826770 h 1940242"/>
                <a:gd name="connsiteX2375" fmla="*/ 254318 w 2370773"/>
                <a:gd name="connsiteY2375" fmla="*/ 826770 h 1940242"/>
                <a:gd name="connsiteX2376" fmla="*/ 260985 w 2370773"/>
                <a:gd name="connsiteY2376" fmla="*/ 833437 h 1940242"/>
                <a:gd name="connsiteX2377" fmla="*/ 254318 w 2370773"/>
                <a:gd name="connsiteY2377" fmla="*/ 840105 h 1940242"/>
                <a:gd name="connsiteX2378" fmla="*/ 247650 w 2370773"/>
                <a:gd name="connsiteY2378" fmla="*/ 833437 h 1940242"/>
                <a:gd name="connsiteX2379" fmla="*/ 254318 w 2370773"/>
                <a:gd name="connsiteY2379" fmla="*/ 826770 h 1940242"/>
                <a:gd name="connsiteX2380" fmla="*/ 663893 w 2370773"/>
                <a:gd name="connsiteY2380" fmla="*/ 825817 h 1940242"/>
                <a:gd name="connsiteX2381" fmla="*/ 665798 w 2370773"/>
                <a:gd name="connsiteY2381" fmla="*/ 827722 h 1940242"/>
                <a:gd name="connsiteX2382" fmla="*/ 663893 w 2370773"/>
                <a:gd name="connsiteY2382" fmla="*/ 829627 h 1940242"/>
                <a:gd name="connsiteX2383" fmla="*/ 661988 w 2370773"/>
                <a:gd name="connsiteY2383" fmla="*/ 827722 h 1940242"/>
                <a:gd name="connsiteX2384" fmla="*/ 663893 w 2370773"/>
                <a:gd name="connsiteY2384" fmla="*/ 825817 h 1940242"/>
                <a:gd name="connsiteX2385" fmla="*/ 120968 w 2370773"/>
                <a:gd name="connsiteY2385" fmla="*/ 824864 h 1940242"/>
                <a:gd name="connsiteX2386" fmla="*/ 129540 w 2370773"/>
                <a:gd name="connsiteY2386" fmla="*/ 833437 h 1940242"/>
                <a:gd name="connsiteX2387" fmla="*/ 120968 w 2370773"/>
                <a:gd name="connsiteY2387" fmla="*/ 842009 h 1940242"/>
                <a:gd name="connsiteX2388" fmla="*/ 112395 w 2370773"/>
                <a:gd name="connsiteY2388" fmla="*/ 833437 h 1940242"/>
                <a:gd name="connsiteX2389" fmla="*/ 120968 w 2370773"/>
                <a:gd name="connsiteY2389" fmla="*/ 824864 h 1940242"/>
                <a:gd name="connsiteX2390" fmla="*/ 2354580 w 2370773"/>
                <a:gd name="connsiteY2390" fmla="*/ 803910 h 1940242"/>
                <a:gd name="connsiteX2391" fmla="*/ 2356485 w 2370773"/>
                <a:gd name="connsiteY2391" fmla="*/ 805815 h 1940242"/>
                <a:gd name="connsiteX2392" fmla="*/ 2354580 w 2370773"/>
                <a:gd name="connsiteY2392" fmla="*/ 807720 h 1940242"/>
                <a:gd name="connsiteX2393" fmla="*/ 2352675 w 2370773"/>
                <a:gd name="connsiteY2393" fmla="*/ 805815 h 1940242"/>
                <a:gd name="connsiteX2394" fmla="*/ 2354580 w 2370773"/>
                <a:gd name="connsiteY2394" fmla="*/ 803910 h 1940242"/>
                <a:gd name="connsiteX2395" fmla="*/ 47625 w 2370773"/>
                <a:gd name="connsiteY2395" fmla="*/ 802957 h 1940242"/>
                <a:gd name="connsiteX2396" fmla="*/ 51435 w 2370773"/>
                <a:gd name="connsiteY2396" fmla="*/ 806767 h 1940242"/>
                <a:gd name="connsiteX2397" fmla="*/ 47625 w 2370773"/>
                <a:gd name="connsiteY2397" fmla="*/ 810577 h 1940242"/>
                <a:gd name="connsiteX2398" fmla="*/ 43815 w 2370773"/>
                <a:gd name="connsiteY2398" fmla="*/ 806767 h 1940242"/>
                <a:gd name="connsiteX2399" fmla="*/ 47625 w 2370773"/>
                <a:gd name="connsiteY2399" fmla="*/ 802957 h 1940242"/>
                <a:gd name="connsiteX2400" fmla="*/ 2287905 w 2370773"/>
                <a:gd name="connsiteY2400" fmla="*/ 802004 h 1940242"/>
                <a:gd name="connsiteX2401" fmla="*/ 2290762 w 2370773"/>
                <a:gd name="connsiteY2401" fmla="*/ 804862 h 1940242"/>
                <a:gd name="connsiteX2402" fmla="*/ 2287905 w 2370773"/>
                <a:gd name="connsiteY2402" fmla="*/ 807719 h 1940242"/>
                <a:gd name="connsiteX2403" fmla="*/ 2285047 w 2370773"/>
                <a:gd name="connsiteY2403" fmla="*/ 804862 h 1940242"/>
                <a:gd name="connsiteX2404" fmla="*/ 2287905 w 2370773"/>
                <a:gd name="connsiteY2404" fmla="*/ 802004 h 1940242"/>
                <a:gd name="connsiteX2405" fmla="*/ 2154555 w 2370773"/>
                <a:gd name="connsiteY2405" fmla="*/ 802004 h 1940242"/>
                <a:gd name="connsiteX2406" fmla="*/ 2156460 w 2370773"/>
                <a:gd name="connsiteY2406" fmla="*/ 803909 h 1940242"/>
                <a:gd name="connsiteX2407" fmla="*/ 2154555 w 2370773"/>
                <a:gd name="connsiteY2407" fmla="*/ 805814 h 1940242"/>
                <a:gd name="connsiteX2408" fmla="*/ 2152650 w 2370773"/>
                <a:gd name="connsiteY2408" fmla="*/ 803909 h 1940242"/>
                <a:gd name="connsiteX2409" fmla="*/ 2154555 w 2370773"/>
                <a:gd name="connsiteY2409" fmla="*/ 802004 h 1940242"/>
                <a:gd name="connsiteX2410" fmla="*/ 2221230 w 2370773"/>
                <a:gd name="connsiteY2410" fmla="*/ 801052 h 1940242"/>
                <a:gd name="connsiteX2411" fmla="*/ 2225040 w 2370773"/>
                <a:gd name="connsiteY2411" fmla="*/ 804862 h 1940242"/>
                <a:gd name="connsiteX2412" fmla="*/ 2221230 w 2370773"/>
                <a:gd name="connsiteY2412" fmla="*/ 808672 h 1940242"/>
                <a:gd name="connsiteX2413" fmla="*/ 2217420 w 2370773"/>
                <a:gd name="connsiteY2413" fmla="*/ 804862 h 1940242"/>
                <a:gd name="connsiteX2414" fmla="*/ 2221230 w 2370773"/>
                <a:gd name="connsiteY2414" fmla="*/ 801052 h 1940242"/>
                <a:gd name="connsiteX2415" fmla="*/ 582930 w 2370773"/>
                <a:gd name="connsiteY2415" fmla="*/ 800100 h 1940242"/>
                <a:gd name="connsiteX2416" fmla="*/ 584835 w 2370773"/>
                <a:gd name="connsiteY2416" fmla="*/ 802005 h 1940242"/>
                <a:gd name="connsiteX2417" fmla="*/ 582930 w 2370773"/>
                <a:gd name="connsiteY2417" fmla="*/ 803910 h 1940242"/>
                <a:gd name="connsiteX2418" fmla="*/ 581025 w 2370773"/>
                <a:gd name="connsiteY2418" fmla="*/ 802005 h 1940242"/>
                <a:gd name="connsiteX2419" fmla="*/ 582930 w 2370773"/>
                <a:gd name="connsiteY2419" fmla="*/ 800100 h 1940242"/>
                <a:gd name="connsiteX2420" fmla="*/ 446722 w 2370773"/>
                <a:gd name="connsiteY2420" fmla="*/ 798195 h 1940242"/>
                <a:gd name="connsiteX2421" fmla="*/ 452437 w 2370773"/>
                <a:gd name="connsiteY2421" fmla="*/ 803910 h 1940242"/>
                <a:gd name="connsiteX2422" fmla="*/ 446722 w 2370773"/>
                <a:gd name="connsiteY2422" fmla="*/ 809625 h 1940242"/>
                <a:gd name="connsiteX2423" fmla="*/ 441007 w 2370773"/>
                <a:gd name="connsiteY2423" fmla="*/ 803910 h 1940242"/>
                <a:gd name="connsiteX2424" fmla="*/ 446722 w 2370773"/>
                <a:gd name="connsiteY2424" fmla="*/ 798195 h 1940242"/>
                <a:gd name="connsiteX2425" fmla="*/ 180023 w 2370773"/>
                <a:gd name="connsiteY2425" fmla="*/ 798195 h 1940242"/>
                <a:gd name="connsiteX2426" fmla="*/ 187643 w 2370773"/>
                <a:gd name="connsiteY2426" fmla="*/ 805815 h 1940242"/>
                <a:gd name="connsiteX2427" fmla="*/ 180023 w 2370773"/>
                <a:gd name="connsiteY2427" fmla="*/ 813435 h 1940242"/>
                <a:gd name="connsiteX2428" fmla="*/ 172403 w 2370773"/>
                <a:gd name="connsiteY2428" fmla="*/ 805815 h 1940242"/>
                <a:gd name="connsiteX2429" fmla="*/ 180023 w 2370773"/>
                <a:gd name="connsiteY2429" fmla="*/ 798195 h 1940242"/>
                <a:gd name="connsiteX2430" fmla="*/ 312420 w 2370773"/>
                <a:gd name="connsiteY2430" fmla="*/ 794385 h 1940242"/>
                <a:gd name="connsiteX2431" fmla="*/ 322898 w 2370773"/>
                <a:gd name="connsiteY2431" fmla="*/ 804862 h 1940242"/>
                <a:gd name="connsiteX2432" fmla="*/ 312420 w 2370773"/>
                <a:gd name="connsiteY2432" fmla="*/ 815340 h 1940242"/>
                <a:gd name="connsiteX2433" fmla="*/ 301943 w 2370773"/>
                <a:gd name="connsiteY2433" fmla="*/ 804862 h 1940242"/>
                <a:gd name="connsiteX2434" fmla="*/ 312420 w 2370773"/>
                <a:gd name="connsiteY2434" fmla="*/ 794385 h 1940242"/>
                <a:gd name="connsiteX2435" fmla="*/ 641032 w 2370773"/>
                <a:gd name="connsiteY2435" fmla="*/ 772477 h 1940242"/>
                <a:gd name="connsiteX2436" fmla="*/ 642937 w 2370773"/>
                <a:gd name="connsiteY2436" fmla="*/ 774382 h 1940242"/>
                <a:gd name="connsiteX2437" fmla="*/ 641032 w 2370773"/>
                <a:gd name="connsiteY2437" fmla="*/ 776287 h 1940242"/>
                <a:gd name="connsiteX2438" fmla="*/ 639127 w 2370773"/>
                <a:gd name="connsiteY2438" fmla="*/ 774382 h 1940242"/>
                <a:gd name="connsiteX2439" fmla="*/ 641032 w 2370773"/>
                <a:gd name="connsiteY2439" fmla="*/ 772477 h 1940242"/>
                <a:gd name="connsiteX2440" fmla="*/ 505777 w 2370773"/>
                <a:gd name="connsiteY2440" fmla="*/ 772477 h 1940242"/>
                <a:gd name="connsiteX2441" fmla="*/ 508635 w 2370773"/>
                <a:gd name="connsiteY2441" fmla="*/ 775335 h 1940242"/>
                <a:gd name="connsiteX2442" fmla="*/ 505777 w 2370773"/>
                <a:gd name="connsiteY2442" fmla="*/ 778192 h 1940242"/>
                <a:gd name="connsiteX2443" fmla="*/ 502920 w 2370773"/>
                <a:gd name="connsiteY2443" fmla="*/ 775335 h 1940242"/>
                <a:gd name="connsiteX2444" fmla="*/ 505777 w 2370773"/>
                <a:gd name="connsiteY2444" fmla="*/ 772477 h 1940242"/>
                <a:gd name="connsiteX2445" fmla="*/ 239078 w 2370773"/>
                <a:gd name="connsiteY2445" fmla="*/ 771525 h 1940242"/>
                <a:gd name="connsiteX2446" fmla="*/ 244793 w 2370773"/>
                <a:gd name="connsiteY2446" fmla="*/ 777240 h 1940242"/>
                <a:gd name="connsiteX2447" fmla="*/ 239078 w 2370773"/>
                <a:gd name="connsiteY2447" fmla="*/ 782955 h 1940242"/>
                <a:gd name="connsiteX2448" fmla="*/ 233363 w 2370773"/>
                <a:gd name="connsiteY2448" fmla="*/ 777240 h 1940242"/>
                <a:gd name="connsiteX2449" fmla="*/ 239078 w 2370773"/>
                <a:gd name="connsiteY2449" fmla="*/ 771525 h 1940242"/>
                <a:gd name="connsiteX2450" fmla="*/ 371475 w 2370773"/>
                <a:gd name="connsiteY2450" fmla="*/ 770572 h 1940242"/>
                <a:gd name="connsiteX2451" fmla="*/ 378142 w 2370773"/>
                <a:gd name="connsiteY2451" fmla="*/ 777239 h 1940242"/>
                <a:gd name="connsiteX2452" fmla="*/ 371475 w 2370773"/>
                <a:gd name="connsiteY2452" fmla="*/ 783907 h 1940242"/>
                <a:gd name="connsiteX2453" fmla="*/ 364807 w 2370773"/>
                <a:gd name="connsiteY2453" fmla="*/ 777239 h 1940242"/>
                <a:gd name="connsiteX2454" fmla="*/ 371475 w 2370773"/>
                <a:gd name="connsiteY2454" fmla="*/ 770572 h 1940242"/>
                <a:gd name="connsiteX2455" fmla="*/ 107633 w 2370773"/>
                <a:gd name="connsiteY2455" fmla="*/ 770572 h 1940242"/>
                <a:gd name="connsiteX2456" fmla="*/ 115253 w 2370773"/>
                <a:gd name="connsiteY2456" fmla="*/ 778192 h 1940242"/>
                <a:gd name="connsiteX2457" fmla="*/ 107633 w 2370773"/>
                <a:gd name="connsiteY2457" fmla="*/ 785812 h 1940242"/>
                <a:gd name="connsiteX2458" fmla="*/ 100013 w 2370773"/>
                <a:gd name="connsiteY2458" fmla="*/ 778192 h 1940242"/>
                <a:gd name="connsiteX2459" fmla="*/ 107633 w 2370773"/>
                <a:gd name="connsiteY2459" fmla="*/ 770572 h 1940242"/>
                <a:gd name="connsiteX2460" fmla="*/ 2236470 w 2370773"/>
                <a:gd name="connsiteY2460" fmla="*/ 748664 h 1940242"/>
                <a:gd name="connsiteX2461" fmla="*/ 2237422 w 2370773"/>
                <a:gd name="connsiteY2461" fmla="*/ 749616 h 1940242"/>
                <a:gd name="connsiteX2462" fmla="*/ 2236470 w 2370773"/>
                <a:gd name="connsiteY2462" fmla="*/ 750569 h 1940242"/>
                <a:gd name="connsiteX2463" fmla="*/ 2235517 w 2370773"/>
                <a:gd name="connsiteY2463" fmla="*/ 749616 h 1940242"/>
                <a:gd name="connsiteX2464" fmla="*/ 2236470 w 2370773"/>
                <a:gd name="connsiteY2464" fmla="*/ 748664 h 1940242"/>
                <a:gd name="connsiteX2465" fmla="*/ 2368868 w 2370773"/>
                <a:gd name="connsiteY2465" fmla="*/ 747712 h 1940242"/>
                <a:gd name="connsiteX2466" fmla="*/ 2370773 w 2370773"/>
                <a:gd name="connsiteY2466" fmla="*/ 749617 h 1940242"/>
                <a:gd name="connsiteX2467" fmla="*/ 2368868 w 2370773"/>
                <a:gd name="connsiteY2467" fmla="*/ 751522 h 1940242"/>
                <a:gd name="connsiteX2468" fmla="*/ 2366963 w 2370773"/>
                <a:gd name="connsiteY2468" fmla="*/ 749617 h 1940242"/>
                <a:gd name="connsiteX2469" fmla="*/ 2368868 w 2370773"/>
                <a:gd name="connsiteY2469" fmla="*/ 747712 h 1940242"/>
                <a:gd name="connsiteX2470" fmla="*/ 2303145 w 2370773"/>
                <a:gd name="connsiteY2470" fmla="*/ 746760 h 1940242"/>
                <a:gd name="connsiteX2471" fmla="*/ 2305050 w 2370773"/>
                <a:gd name="connsiteY2471" fmla="*/ 748665 h 1940242"/>
                <a:gd name="connsiteX2472" fmla="*/ 2303145 w 2370773"/>
                <a:gd name="connsiteY2472" fmla="*/ 750570 h 1940242"/>
                <a:gd name="connsiteX2473" fmla="*/ 2301240 w 2370773"/>
                <a:gd name="connsiteY2473" fmla="*/ 748665 h 1940242"/>
                <a:gd name="connsiteX2474" fmla="*/ 2303145 w 2370773"/>
                <a:gd name="connsiteY2474" fmla="*/ 746760 h 1940242"/>
                <a:gd name="connsiteX2475" fmla="*/ 36196 w 2370773"/>
                <a:gd name="connsiteY2475" fmla="*/ 746760 h 1940242"/>
                <a:gd name="connsiteX2476" fmla="*/ 39053 w 2370773"/>
                <a:gd name="connsiteY2476" fmla="*/ 749617 h 1940242"/>
                <a:gd name="connsiteX2477" fmla="*/ 36196 w 2370773"/>
                <a:gd name="connsiteY2477" fmla="*/ 752475 h 1940242"/>
                <a:gd name="connsiteX2478" fmla="*/ 33338 w 2370773"/>
                <a:gd name="connsiteY2478" fmla="*/ 749617 h 1940242"/>
                <a:gd name="connsiteX2479" fmla="*/ 36196 w 2370773"/>
                <a:gd name="connsiteY2479" fmla="*/ 746760 h 1940242"/>
                <a:gd name="connsiteX2480" fmla="*/ 699135 w 2370773"/>
                <a:gd name="connsiteY2480" fmla="*/ 745807 h 1940242"/>
                <a:gd name="connsiteX2481" fmla="*/ 700088 w 2370773"/>
                <a:gd name="connsiteY2481" fmla="*/ 746759 h 1940242"/>
                <a:gd name="connsiteX2482" fmla="*/ 699135 w 2370773"/>
                <a:gd name="connsiteY2482" fmla="*/ 747712 h 1940242"/>
                <a:gd name="connsiteX2483" fmla="*/ 698183 w 2370773"/>
                <a:gd name="connsiteY2483" fmla="*/ 746759 h 1940242"/>
                <a:gd name="connsiteX2484" fmla="*/ 699135 w 2370773"/>
                <a:gd name="connsiteY2484" fmla="*/ 745807 h 1940242"/>
                <a:gd name="connsiteX2485" fmla="*/ 563880 w 2370773"/>
                <a:gd name="connsiteY2485" fmla="*/ 745807 h 1940242"/>
                <a:gd name="connsiteX2486" fmla="*/ 565785 w 2370773"/>
                <a:gd name="connsiteY2486" fmla="*/ 747712 h 1940242"/>
                <a:gd name="connsiteX2487" fmla="*/ 563880 w 2370773"/>
                <a:gd name="connsiteY2487" fmla="*/ 749617 h 1940242"/>
                <a:gd name="connsiteX2488" fmla="*/ 561975 w 2370773"/>
                <a:gd name="connsiteY2488" fmla="*/ 747712 h 1940242"/>
                <a:gd name="connsiteX2489" fmla="*/ 563880 w 2370773"/>
                <a:gd name="connsiteY2489" fmla="*/ 745807 h 1940242"/>
                <a:gd name="connsiteX2490" fmla="*/ 430530 w 2370773"/>
                <a:gd name="connsiteY2490" fmla="*/ 744854 h 1940242"/>
                <a:gd name="connsiteX2491" fmla="*/ 434340 w 2370773"/>
                <a:gd name="connsiteY2491" fmla="*/ 748664 h 1940242"/>
                <a:gd name="connsiteX2492" fmla="*/ 430530 w 2370773"/>
                <a:gd name="connsiteY2492" fmla="*/ 752474 h 1940242"/>
                <a:gd name="connsiteX2493" fmla="*/ 426720 w 2370773"/>
                <a:gd name="connsiteY2493" fmla="*/ 748664 h 1940242"/>
                <a:gd name="connsiteX2494" fmla="*/ 430530 w 2370773"/>
                <a:gd name="connsiteY2494" fmla="*/ 744854 h 1940242"/>
                <a:gd name="connsiteX2495" fmla="*/ 166688 w 2370773"/>
                <a:gd name="connsiteY2495" fmla="*/ 742950 h 1940242"/>
                <a:gd name="connsiteX2496" fmla="*/ 173355 w 2370773"/>
                <a:gd name="connsiteY2496" fmla="*/ 749617 h 1940242"/>
                <a:gd name="connsiteX2497" fmla="*/ 166688 w 2370773"/>
                <a:gd name="connsiteY2497" fmla="*/ 756285 h 1940242"/>
                <a:gd name="connsiteX2498" fmla="*/ 160020 w 2370773"/>
                <a:gd name="connsiteY2498" fmla="*/ 749617 h 1940242"/>
                <a:gd name="connsiteX2499" fmla="*/ 166688 w 2370773"/>
                <a:gd name="connsiteY2499" fmla="*/ 742950 h 1940242"/>
                <a:gd name="connsiteX2500" fmla="*/ 298133 w 2370773"/>
                <a:gd name="connsiteY2500" fmla="*/ 741997 h 1940242"/>
                <a:gd name="connsiteX2501" fmla="*/ 305753 w 2370773"/>
                <a:gd name="connsiteY2501" fmla="*/ 749617 h 1940242"/>
                <a:gd name="connsiteX2502" fmla="*/ 298133 w 2370773"/>
                <a:gd name="connsiteY2502" fmla="*/ 757237 h 1940242"/>
                <a:gd name="connsiteX2503" fmla="*/ 290513 w 2370773"/>
                <a:gd name="connsiteY2503" fmla="*/ 749617 h 1940242"/>
                <a:gd name="connsiteX2504" fmla="*/ 298133 w 2370773"/>
                <a:gd name="connsiteY2504" fmla="*/ 741997 h 1940242"/>
                <a:gd name="connsiteX2505" fmla="*/ 622935 w 2370773"/>
                <a:gd name="connsiteY2505" fmla="*/ 717232 h 1940242"/>
                <a:gd name="connsiteX2506" fmla="*/ 624840 w 2370773"/>
                <a:gd name="connsiteY2506" fmla="*/ 719137 h 1940242"/>
                <a:gd name="connsiteX2507" fmla="*/ 622935 w 2370773"/>
                <a:gd name="connsiteY2507" fmla="*/ 721042 h 1940242"/>
                <a:gd name="connsiteX2508" fmla="*/ 621030 w 2370773"/>
                <a:gd name="connsiteY2508" fmla="*/ 719137 h 1940242"/>
                <a:gd name="connsiteX2509" fmla="*/ 622935 w 2370773"/>
                <a:gd name="connsiteY2509" fmla="*/ 717232 h 1940242"/>
                <a:gd name="connsiteX2510" fmla="*/ 489585 w 2370773"/>
                <a:gd name="connsiteY2510" fmla="*/ 717232 h 1940242"/>
                <a:gd name="connsiteX2511" fmla="*/ 492442 w 2370773"/>
                <a:gd name="connsiteY2511" fmla="*/ 720089 h 1940242"/>
                <a:gd name="connsiteX2512" fmla="*/ 489585 w 2370773"/>
                <a:gd name="connsiteY2512" fmla="*/ 722947 h 1940242"/>
                <a:gd name="connsiteX2513" fmla="*/ 486727 w 2370773"/>
                <a:gd name="connsiteY2513" fmla="*/ 720089 h 1940242"/>
                <a:gd name="connsiteX2514" fmla="*/ 489585 w 2370773"/>
                <a:gd name="connsiteY2514" fmla="*/ 717232 h 1940242"/>
                <a:gd name="connsiteX2515" fmla="*/ 358140 w 2370773"/>
                <a:gd name="connsiteY2515" fmla="*/ 716279 h 1940242"/>
                <a:gd name="connsiteX2516" fmla="*/ 362902 w 2370773"/>
                <a:gd name="connsiteY2516" fmla="*/ 721042 h 1940242"/>
                <a:gd name="connsiteX2517" fmla="*/ 358140 w 2370773"/>
                <a:gd name="connsiteY2517" fmla="*/ 725804 h 1940242"/>
                <a:gd name="connsiteX2518" fmla="*/ 353377 w 2370773"/>
                <a:gd name="connsiteY2518" fmla="*/ 721042 h 1940242"/>
                <a:gd name="connsiteX2519" fmla="*/ 358140 w 2370773"/>
                <a:gd name="connsiteY2519" fmla="*/ 716279 h 1940242"/>
                <a:gd name="connsiteX2520" fmla="*/ 226695 w 2370773"/>
                <a:gd name="connsiteY2520" fmla="*/ 715327 h 1940242"/>
                <a:gd name="connsiteX2521" fmla="*/ 232410 w 2370773"/>
                <a:gd name="connsiteY2521" fmla="*/ 721042 h 1940242"/>
                <a:gd name="connsiteX2522" fmla="*/ 226695 w 2370773"/>
                <a:gd name="connsiteY2522" fmla="*/ 726757 h 1940242"/>
                <a:gd name="connsiteX2523" fmla="*/ 220980 w 2370773"/>
                <a:gd name="connsiteY2523" fmla="*/ 721042 h 1940242"/>
                <a:gd name="connsiteX2524" fmla="*/ 226695 w 2370773"/>
                <a:gd name="connsiteY2524" fmla="*/ 715327 h 1940242"/>
                <a:gd name="connsiteX2525" fmla="*/ 96202 w 2370773"/>
                <a:gd name="connsiteY2525" fmla="*/ 713422 h 1940242"/>
                <a:gd name="connsiteX2526" fmla="*/ 103822 w 2370773"/>
                <a:gd name="connsiteY2526" fmla="*/ 721042 h 1940242"/>
                <a:gd name="connsiteX2527" fmla="*/ 96202 w 2370773"/>
                <a:gd name="connsiteY2527" fmla="*/ 728662 h 1940242"/>
                <a:gd name="connsiteX2528" fmla="*/ 88582 w 2370773"/>
                <a:gd name="connsiteY2528" fmla="*/ 721042 h 1940242"/>
                <a:gd name="connsiteX2529" fmla="*/ 96202 w 2370773"/>
                <a:gd name="connsiteY2529" fmla="*/ 713422 h 1940242"/>
                <a:gd name="connsiteX2530" fmla="*/ 27622 w 2370773"/>
                <a:gd name="connsiteY2530" fmla="*/ 691514 h 1940242"/>
                <a:gd name="connsiteX2531" fmla="*/ 29527 w 2370773"/>
                <a:gd name="connsiteY2531" fmla="*/ 693419 h 1940242"/>
                <a:gd name="connsiteX2532" fmla="*/ 27622 w 2370773"/>
                <a:gd name="connsiteY2532" fmla="*/ 695324 h 1940242"/>
                <a:gd name="connsiteX2533" fmla="*/ 25717 w 2370773"/>
                <a:gd name="connsiteY2533" fmla="*/ 693419 h 1940242"/>
                <a:gd name="connsiteX2534" fmla="*/ 27622 w 2370773"/>
                <a:gd name="connsiteY2534" fmla="*/ 691514 h 1940242"/>
                <a:gd name="connsiteX2535" fmla="*/ 2313622 w 2370773"/>
                <a:gd name="connsiteY2535" fmla="*/ 690562 h 1940242"/>
                <a:gd name="connsiteX2536" fmla="*/ 2315527 w 2370773"/>
                <a:gd name="connsiteY2536" fmla="*/ 692467 h 1940242"/>
                <a:gd name="connsiteX2537" fmla="*/ 2313622 w 2370773"/>
                <a:gd name="connsiteY2537" fmla="*/ 694372 h 1940242"/>
                <a:gd name="connsiteX2538" fmla="*/ 2311717 w 2370773"/>
                <a:gd name="connsiteY2538" fmla="*/ 692467 h 1940242"/>
                <a:gd name="connsiteX2539" fmla="*/ 2313622 w 2370773"/>
                <a:gd name="connsiteY2539" fmla="*/ 690562 h 1940242"/>
                <a:gd name="connsiteX2540" fmla="*/ 2248852 w 2370773"/>
                <a:gd name="connsiteY2540" fmla="*/ 690562 h 1940242"/>
                <a:gd name="connsiteX2541" fmla="*/ 2250757 w 2370773"/>
                <a:gd name="connsiteY2541" fmla="*/ 692467 h 1940242"/>
                <a:gd name="connsiteX2542" fmla="*/ 2248852 w 2370773"/>
                <a:gd name="connsiteY2542" fmla="*/ 694372 h 1940242"/>
                <a:gd name="connsiteX2543" fmla="*/ 2246947 w 2370773"/>
                <a:gd name="connsiteY2543" fmla="*/ 692467 h 1940242"/>
                <a:gd name="connsiteX2544" fmla="*/ 2248852 w 2370773"/>
                <a:gd name="connsiteY2544" fmla="*/ 690562 h 1940242"/>
                <a:gd name="connsiteX2545" fmla="*/ 548640 w 2370773"/>
                <a:gd name="connsiteY2545" fmla="*/ 690562 h 1940242"/>
                <a:gd name="connsiteX2546" fmla="*/ 550545 w 2370773"/>
                <a:gd name="connsiteY2546" fmla="*/ 692467 h 1940242"/>
                <a:gd name="connsiteX2547" fmla="*/ 548640 w 2370773"/>
                <a:gd name="connsiteY2547" fmla="*/ 694372 h 1940242"/>
                <a:gd name="connsiteX2548" fmla="*/ 546735 w 2370773"/>
                <a:gd name="connsiteY2548" fmla="*/ 692467 h 1940242"/>
                <a:gd name="connsiteX2549" fmla="*/ 548640 w 2370773"/>
                <a:gd name="connsiteY2549" fmla="*/ 690562 h 1940242"/>
                <a:gd name="connsiteX2550" fmla="*/ 418148 w 2370773"/>
                <a:gd name="connsiteY2550" fmla="*/ 688657 h 1940242"/>
                <a:gd name="connsiteX2551" fmla="*/ 421958 w 2370773"/>
                <a:gd name="connsiteY2551" fmla="*/ 692467 h 1940242"/>
                <a:gd name="connsiteX2552" fmla="*/ 418148 w 2370773"/>
                <a:gd name="connsiteY2552" fmla="*/ 696277 h 1940242"/>
                <a:gd name="connsiteX2553" fmla="*/ 414338 w 2370773"/>
                <a:gd name="connsiteY2553" fmla="*/ 692467 h 1940242"/>
                <a:gd name="connsiteX2554" fmla="*/ 418148 w 2370773"/>
                <a:gd name="connsiteY2554" fmla="*/ 688657 h 1940242"/>
                <a:gd name="connsiteX2555" fmla="*/ 157163 w 2370773"/>
                <a:gd name="connsiteY2555" fmla="*/ 688657 h 1940242"/>
                <a:gd name="connsiteX2556" fmla="*/ 161925 w 2370773"/>
                <a:gd name="connsiteY2556" fmla="*/ 693420 h 1940242"/>
                <a:gd name="connsiteX2557" fmla="*/ 157163 w 2370773"/>
                <a:gd name="connsiteY2557" fmla="*/ 698182 h 1940242"/>
                <a:gd name="connsiteX2558" fmla="*/ 152400 w 2370773"/>
                <a:gd name="connsiteY2558" fmla="*/ 693420 h 1940242"/>
                <a:gd name="connsiteX2559" fmla="*/ 157163 w 2370773"/>
                <a:gd name="connsiteY2559" fmla="*/ 688657 h 1940242"/>
                <a:gd name="connsiteX2560" fmla="*/ 287655 w 2370773"/>
                <a:gd name="connsiteY2560" fmla="*/ 686752 h 1940242"/>
                <a:gd name="connsiteX2561" fmla="*/ 294322 w 2370773"/>
                <a:gd name="connsiteY2561" fmla="*/ 693420 h 1940242"/>
                <a:gd name="connsiteX2562" fmla="*/ 287655 w 2370773"/>
                <a:gd name="connsiteY2562" fmla="*/ 700087 h 1940242"/>
                <a:gd name="connsiteX2563" fmla="*/ 280987 w 2370773"/>
                <a:gd name="connsiteY2563" fmla="*/ 693420 h 1940242"/>
                <a:gd name="connsiteX2564" fmla="*/ 287655 w 2370773"/>
                <a:gd name="connsiteY2564" fmla="*/ 686752 h 1940242"/>
                <a:gd name="connsiteX2565" fmla="*/ 608647 w 2370773"/>
                <a:gd name="connsiteY2565" fmla="*/ 661987 h 1940242"/>
                <a:gd name="connsiteX2566" fmla="*/ 610552 w 2370773"/>
                <a:gd name="connsiteY2566" fmla="*/ 663892 h 1940242"/>
                <a:gd name="connsiteX2567" fmla="*/ 608647 w 2370773"/>
                <a:gd name="connsiteY2567" fmla="*/ 665797 h 1940242"/>
                <a:gd name="connsiteX2568" fmla="*/ 606742 w 2370773"/>
                <a:gd name="connsiteY2568" fmla="*/ 663892 h 1940242"/>
                <a:gd name="connsiteX2569" fmla="*/ 608647 w 2370773"/>
                <a:gd name="connsiteY2569" fmla="*/ 661987 h 1940242"/>
                <a:gd name="connsiteX2570" fmla="*/ 478155 w 2370773"/>
                <a:gd name="connsiteY2570" fmla="*/ 661035 h 1940242"/>
                <a:gd name="connsiteX2571" fmla="*/ 481013 w 2370773"/>
                <a:gd name="connsiteY2571" fmla="*/ 663892 h 1940242"/>
                <a:gd name="connsiteX2572" fmla="*/ 478155 w 2370773"/>
                <a:gd name="connsiteY2572" fmla="*/ 666750 h 1940242"/>
                <a:gd name="connsiteX2573" fmla="*/ 475298 w 2370773"/>
                <a:gd name="connsiteY2573" fmla="*/ 663892 h 1940242"/>
                <a:gd name="connsiteX2574" fmla="*/ 478155 w 2370773"/>
                <a:gd name="connsiteY2574" fmla="*/ 661035 h 1940242"/>
                <a:gd name="connsiteX2575" fmla="*/ 347663 w 2370773"/>
                <a:gd name="connsiteY2575" fmla="*/ 659129 h 1940242"/>
                <a:gd name="connsiteX2576" fmla="*/ 352425 w 2370773"/>
                <a:gd name="connsiteY2576" fmla="*/ 663892 h 1940242"/>
                <a:gd name="connsiteX2577" fmla="*/ 347663 w 2370773"/>
                <a:gd name="connsiteY2577" fmla="*/ 668654 h 1940242"/>
                <a:gd name="connsiteX2578" fmla="*/ 342900 w 2370773"/>
                <a:gd name="connsiteY2578" fmla="*/ 663892 h 1940242"/>
                <a:gd name="connsiteX2579" fmla="*/ 347663 w 2370773"/>
                <a:gd name="connsiteY2579" fmla="*/ 659129 h 1940242"/>
                <a:gd name="connsiteX2580" fmla="*/ 88582 w 2370773"/>
                <a:gd name="connsiteY2580" fmla="*/ 658177 h 1940242"/>
                <a:gd name="connsiteX2581" fmla="*/ 95250 w 2370773"/>
                <a:gd name="connsiteY2581" fmla="*/ 664845 h 1940242"/>
                <a:gd name="connsiteX2582" fmla="*/ 88582 w 2370773"/>
                <a:gd name="connsiteY2582" fmla="*/ 671512 h 1940242"/>
                <a:gd name="connsiteX2583" fmla="*/ 81915 w 2370773"/>
                <a:gd name="connsiteY2583" fmla="*/ 664845 h 1940242"/>
                <a:gd name="connsiteX2584" fmla="*/ 88582 w 2370773"/>
                <a:gd name="connsiteY2584" fmla="*/ 658177 h 1940242"/>
                <a:gd name="connsiteX2585" fmla="*/ 218123 w 2370773"/>
                <a:gd name="connsiteY2585" fmla="*/ 657225 h 1940242"/>
                <a:gd name="connsiteX2586" fmla="*/ 225743 w 2370773"/>
                <a:gd name="connsiteY2586" fmla="*/ 663892 h 1940242"/>
                <a:gd name="connsiteX2587" fmla="*/ 218123 w 2370773"/>
                <a:gd name="connsiteY2587" fmla="*/ 671513 h 1940242"/>
                <a:gd name="connsiteX2588" fmla="*/ 210503 w 2370773"/>
                <a:gd name="connsiteY2588" fmla="*/ 664845 h 1940242"/>
                <a:gd name="connsiteX2589" fmla="*/ 218123 w 2370773"/>
                <a:gd name="connsiteY2589" fmla="*/ 657225 h 1940242"/>
                <a:gd name="connsiteX2590" fmla="*/ 2322195 w 2370773"/>
                <a:gd name="connsiteY2590" fmla="*/ 635317 h 1940242"/>
                <a:gd name="connsiteX2591" fmla="*/ 2323147 w 2370773"/>
                <a:gd name="connsiteY2591" fmla="*/ 636270 h 1940242"/>
                <a:gd name="connsiteX2592" fmla="*/ 2322195 w 2370773"/>
                <a:gd name="connsiteY2592" fmla="*/ 637222 h 1940242"/>
                <a:gd name="connsiteX2593" fmla="*/ 2321242 w 2370773"/>
                <a:gd name="connsiteY2593" fmla="*/ 636270 h 1940242"/>
                <a:gd name="connsiteX2594" fmla="*/ 2322195 w 2370773"/>
                <a:gd name="connsiteY2594" fmla="*/ 635317 h 1940242"/>
                <a:gd name="connsiteX2595" fmla="*/ 20955 w 2370773"/>
                <a:gd name="connsiteY2595" fmla="*/ 635317 h 1940242"/>
                <a:gd name="connsiteX2596" fmla="*/ 21908 w 2370773"/>
                <a:gd name="connsiteY2596" fmla="*/ 636270 h 1940242"/>
                <a:gd name="connsiteX2597" fmla="*/ 20955 w 2370773"/>
                <a:gd name="connsiteY2597" fmla="*/ 637222 h 1940242"/>
                <a:gd name="connsiteX2598" fmla="*/ 20003 w 2370773"/>
                <a:gd name="connsiteY2598" fmla="*/ 636270 h 1940242"/>
                <a:gd name="connsiteX2599" fmla="*/ 20955 w 2370773"/>
                <a:gd name="connsiteY2599" fmla="*/ 635317 h 1940242"/>
                <a:gd name="connsiteX2600" fmla="*/ 2192655 w 2370773"/>
                <a:gd name="connsiteY2600" fmla="*/ 634365 h 1940242"/>
                <a:gd name="connsiteX2601" fmla="*/ 2193608 w 2370773"/>
                <a:gd name="connsiteY2601" fmla="*/ 635317 h 1940242"/>
                <a:gd name="connsiteX2602" fmla="*/ 2192655 w 2370773"/>
                <a:gd name="connsiteY2602" fmla="*/ 636270 h 1940242"/>
                <a:gd name="connsiteX2603" fmla="*/ 2191703 w 2370773"/>
                <a:gd name="connsiteY2603" fmla="*/ 635317 h 1940242"/>
                <a:gd name="connsiteX2604" fmla="*/ 2192655 w 2370773"/>
                <a:gd name="connsiteY2604" fmla="*/ 634365 h 1940242"/>
                <a:gd name="connsiteX2605" fmla="*/ 2257425 w 2370773"/>
                <a:gd name="connsiteY2605" fmla="*/ 633412 h 1940242"/>
                <a:gd name="connsiteX2606" fmla="*/ 2259330 w 2370773"/>
                <a:gd name="connsiteY2606" fmla="*/ 635317 h 1940242"/>
                <a:gd name="connsiteX2607" fmla="*/ 2257425 w 2370773"/>
                <a:gd name="connsiteY2607" fmla="*/ 637222 h 1940242"/>
                <a:gd name="connsiteX2608" fmla="*/ 2255520 w 2370773"/>
                <a:gd name="connsiteY2608" fmla="*/ 635317 h 1940242"/>
                <a:gd name="connsiteX2609" fmla="*/ 2257425 w 2370773"/>
                <a:gd name="connsiteY2609" fmla="*/ 633412 h 1940242"/>
                <a:gd name="connsiteX2610" fmla="*/ 538163 w 2370773"/>
                <a:gd name="connsiteY2610" fmla="*/ 633412 h 1940242"/>
                <a:gd name="connsiteX2611" fmla="*/ 540068 w 2370773"/>
                <a:gd name="connsiteY2611" fmla="*/ 635317 h 1940242"/>
                <a:gd name="connsiteX2612" fmla="*/ 538163 w 2370773"/>
                <a:gd name="connsiteY2612" fmla="*/ 637222 h 1940242"/>
                <a:gd name="connsiteX2613" fmla="*/ 536258 w 2370773"/>
                <a:gd name="connsiteY2613" fmla="*/ 635317 h 1940242"/>
                <a:gd name="connsiteX2614" fmla="*/ 538163 w 2370773"/>
                <a:gd name="connsiteY2614" fmla="*/ 633412 h 1940242"/>
                <a:gd name="connsiteX2615" fmla="*/ 408623 w 2370773"/>
                <a:gd name="connsiteY2615" fmla="*/ 630554 h 1940242"/>
                <a:gd name="connsiteX2616" fmla="*/ 413385 w 2370773"/>
                <a:gd name="connsiteY2616" fmla="*/ 635317 h 1940242"/>
                <a:gd name="connsiteX2617" fmla="*/ 408623 w 2370773"/>
                <a:gd name="connsiteY2617" fmla="*/ 640079 h 1940242"/>
                <a:gd name="connsiteX2618" fmla="*/ 403860 w 2370773"/>
                <a:gd name="connsiteY2618" fmla="*/ 635317 h 1940242"/>
                <a:gd name="connsiteX2619" fmla="*/ 408623 w 2370773"/>
                <a:gd name="connsiteY2619" fmla="*/ 630554 h 1940242"/>
                <a:gd name="connsiteX2620" fmla="*/ 279083 w 2370773"/>
                <a:gd name="connsiteY2620" fmla="*/ 629602 h 1940242"/>
                <a:gd name="connsiteX2621" fmla="*/ 285750 w 2370773"/>
                <a:gd name="connsiteY2621" fmla="*/ 636270 h 1940242"/>
                <a:gd name="connsiteX2622" fmla="*/ 279083 w 2370773"/>
                <a:gd name="connsiteY2622" fmla="*/ 642937 h 1940242"/>
                <a:gd name="connsiteX2623" fmla="*/ 272415 w 2370773"/>
                <a:gd name="connsiteY2623" fmla="*/ 636270 h 1940242"/>
                <a:gd name="connsiteX2624" fmla="*/ 279083 w 2370773"/>
                <a:gd name="connsiteY2624" fmla="*/ 629602 h 1940242"/>
                <a:gd name="connsiteX2625" fmla="*/ 149543 w 2370773"/>
                <a:gd name="connsiteY2625" fmla="*/ 629602 h 1940242"/>
                <a:gd name="connsiteX2626" fmla="*/ 155258 w 2370773"/>
                <a:gd name="connsiteY2626" fmla="*/ 635317 h 1940242"/>
                <a:gd name="connsiteX2627" fmla="*/ 149543 w 2370773"/>
                <a:gd name="connsiteY2627" fmla="*/ 641032 h 1940242"/>
                <a:gd name="connsiteX2628" fmla="*/ 143828 w 2370773"/>
                <a:gd name="connsiteY2628" fmla="*/ 635317 h 1940242"/>
                <a:gd name="connsiteX2629" fmla="*/ 149543 w 2370773"/>
                <a:gd name="connsiteY2629" fmla="*/ 629602 h 1940242"/>
                <a:gd name="connsiteX2630" fmla="*/ 599122 w 2370773"/>
                <a:gd name="connsiteY2630" fmla="*/ 606742 h 1940242"/>
                <a:gd name="connsiteX2631" fmla="*/ 600075 w 2370773"/>
                <a:gd name="connsiteY2631" fmla="*/ 607695 h 1940242"/>
                <a:gd name="connsiteX2632" fmla="*/ 599122 w 2370773"/>
                <a:gd name="connsiteY2632" fmla="*/ 608647 h 1940242"/>
                <a:gd name="connsiteX2633" fmla="*/ 598170 w 2370773"/>
                <a:gd name="connsiteY2633" fmla="*/ 607695 h 1940242"/>
                <a:gd name="connsiteX2634" fmla="*/ 599122 w 2370773"/>
                <a:gd name="connsiteY2634" fmla="*/ 606742 h 1940242"/>
                <a:gd name="connsiteX2635" fmla="*/ 469582 w 2370773"/>
                <a:gd name="connsiteY2635" fmla="*/ 605789 h 1940242"/>
                <a:gd name="connsiteX2636" fmla="*/ 471487 w 2370773"/>
                <a:gd name="connsiteY2636" fmla="*/ 607694 h 1940242"/>
                <a:gd name="connsiteX2637" fmla="*/ 469582 w 2370773"/>
                <a:gd name="connsiteY2637" fmla="*/ 609599 h 1940242"/>
                <a:gd name="connsiteX2638" fmla="*/ 467677 w 2370773"/>
                <a:gd name="connsiteY2638" fmla="*/ 607694 h 1940242"/>
                <a:gd name="connsiteX2639" fmla="*/ 469582 w 2370773"/>
                <a:gd name="connsiteY2639" fmla="*/ 605789 h 1940242"/>
                <a:gd name="connsiteX2640" fmla="*/ 340995 w 2370773"/>
                <a:gd name="connsiteY2640" fmla="*/ 601979 h 1940242"/>
                <a:gd name="connsiteX2641" fmla="*/ 345757 w 2370773"/>
                <a:gd name="connsiteY2641" fmla="*/ 606742 h 1940242"/>
                <a:gd name="connsiteX2642" fmla="*/ 340995 w 2370773"/>
                <a:gd name="connsiteY2642" fmla="*/ 611504 h 1940242"/>
                <a:gd name="connsiteX2643" fmla="*/ 336232 w 2370773"/>
                <a:gd name="connsiteY2643" fmla="*/ 606742 h 1940242"/>
                <a:gd name="connsiteX2644" fmla="*/ 340995 w 2370773"/>
                <a:gd name="connsiteY2644" fmla="*/ 601979 h 1940242"/>
                <a:gd name="connsiteX2645" fmla="*/ 211455 w 2370773"/>
                <a:gd name="connsiteY2645" fmla="*/ 601979 h 1940242"/>
                <a:gd name="connsiteX2646" fmla="*/ 217170 w 2370773"/>
                <a:gd name="connsiteY2646" fmla="*/ 607694 h 1940242"/>
                <a:gd name="connsiteX2647" fmla="*/ 211455 w 2370773"/>
                <a:gd name="connsiteY2647" fmla="*/ 613409 h 1940242"/>
                <a:gd name="connsiteX2648" fmla="*/ 205740 w 2370773"/>
                <a:gd name="connsiteY2648" fmla="*/ 607694 h 1940242"/>
                <a:gd name="connsiteX2649" fmla="*/ 211455 w 2370773"/>
                <a:gd name="connsiteY2649" fmla="*/ 601979 h 1940242"/>
                <a:gd name="connsiteX2650" fmla="*/ 82868 w 2370773"/>
                <a:gd name="connsiteY2650" fmla="*/ 601027 h 1940242"/>
                <a:gd name="connsiteX2651" fmla="*/ 89535 w 2370773"/>
                <a:gd name="connsiteY2651" fmla="*/ 607695 h 1940242"/>
                <a:gd name="connsiteX2652" fmla="*/ 82868 w 2370773"/>
                <a:gd name="connsiteY2652" fmla="*/ 614362 h 1940242"/>
                <a:gd name="connsiteX2653" fmla="*/ 76200 w 2370773"/>
                <a:gd name="connsiteY2653" fmla="*/ 607695 h 1940242"/>
                <a:gd name="connsiteX2654" fmla="*/ 82868 w 2370773"/>
                <a:gd name="connsiteY2654" fmla="*/ 601027 h 1940242"/>
                <a:gd name="connsiteX2655" fmla="*/ 2262188 w 2370773"/>
                <a:gd name="connsiteY2655" fmla="*/ 576262 h 1940242"/>
                <a:gd name="connsiteX2656" fmla="*/ 2264093 w 2370773"/>
                <a:gd name="connsiteY2656" fmla="*/ 578167 h 1940242"/>
                <a:gd name="connsiteX2657" fmla="*/ 2262188 w 2370773"/>
                <a:gd name="connsiteY2657" fmla="*/ 580072 h 1940242"/>
                <a:gd name="connsiteX2658" fmla="*/ 2260283 w 2370773"/>
                <a:gd name="connsiteY2658" fmla="*/ 578167 h 1940242"/>
                <a:gd name="connsiteX2659" fmla="*/ 2262188 w 2370773"/>
                <a:gd name="connsiteY2659" fmla="*/ 576262 h 1940242"/>
                <a:gd name="connsiteX2660" fmla="*/ 531495 w 2370773"/>
                <a:gd name="connsiteY2660" fmla="*/ 576262 h 1940242"/>
                <a:gd name="connsiteX2661" fmla="*/ 533400 w 2370773"/>
                <a:gd name="connsiteY2661" fmla="*/ 578167 h 1940242"/>
                <a:gd name="connsiteX2662" fmla="*/ 531495 w 2370773"/>
                <a:gd name="connsiteY2662" fmla="*/ 580072 h 1940242"/>
                <a:gd name="connsiteX2663" fmla="*/ 529590 w 2370773"/>
                <a:gd name="connsiteY2663" fmla="*/ 578167 h 1940242"/>
                <a:gd name="connsiteX2664" fmla="*/ 531495 w 2370773"/>
                <a:gd name="connsiteY2664" fmla="*/ 576262 h 1940242"/>
                <a:gd name="connsiteX2665" fmla="*/ 402908 w 2370773"/>
                <a:gd name="connsiteY2665" fmla="*/ 574357 h 1940242"/>
                <a:gd name="connsiteX2666" fmla="*/ 406718 w 2370773"/>
                <a:gd name="connsiteY2666" fmla="*/ 578167 h 1940242"/>
                <a:gd name="connsiteX2667" fmla="*/ 402908 w 2370773"/>
                <a:gd name="connsiteY2667" fmla="*/ 581977 h 1940242"/>
                <a:gd name="connsiteX2668" fmla="*/ 399098 w 2370773"/>
                <a:gd name="connsiteY2668" fmla="*/ 578167 h 1940242"/>
                <a:gd name="connsiteX2669" fmla="*/ 402908 w 2370773"/>
                <a:gd name="connsiteY2669" fmla="*/ 574357 h 1940242"/>
                <a:gd name="connsiteX2670" fmla="*/ 145732 w 2370773"/>
                <a:gd name="connsiteY2670" fmla="*/ 573405 h 1940242"/>
                <a:gd name="connsiteX2671" fmla="*/ 150495 w 2370773"/>
                <a:gd name="connsiteY2671" fmla="*/ 578167 h 1940242"/>
                <a:gd name="connsiteX2672" fmla="*/ 145732 w 2370773"/>
                <a:gd name="connsiteY2672" fmla="*/ 582930 h 1940242"/>
                <a:gd name="connsiteX2673" fmla="*/ 140970 w 2370773"/>
                <a:gd name="connsiteY2673" fmla="*/ 578167 h 1940242"/>
                <a:gd name="connsiteX2674" fmla="*/ 145732 w 2370773"/>
                <a:gd name="connsiteY2674" fmla="*/ 573405 h 1940242"/>
                <a:gd name="connsiteX2675" fmla="*/ 274320 w 2370773"/>
                <a:gd name="connsiteY2675" fmla="*/ 571500 h 1940242"/>
                <a:gd name="connsiteX2676" fmla="*/ 280987 w 2370773"/>
                <a:gd name="connsiteY2676" fmla="*/ 578167 h 1940242"/>
                <a:gd name="connsiteX2677" fmla="*/ 274320 w 2370773"/>
                <a:gd name="connsiteY2677" fmla="*/ 584835 h 1940242"/>
                <a:gd name="connsiteX2678" fmla="*/ 267652 w 2370773"/>
                <a:gd name="connsiteY2678" fmla="*/ 578167 h 1940242"/>
                <a:gd name="connsiteX2679" fmla="*/ 274320 w 2370773"/>
                <a:gd name="connsiteY2679" fmla="*/ 571500 h 1940242"/>
                <a:gd name="connsiteX2680" fmla="*/ 465773 w 2370773"/>
                <a:gd name="connsiteY2680" fmla="*/ 548639 h 1940242"/>
                <a:gd name="connsiteX2681" fmla="*/ 466725 w 2370773"/>
                <a:gd name="connsiteY2681" fmla="*/ 549591 h 1940242"/>
                <a:gd name="connsiteX2682" fmla="*/ 465773 w 2370773"/>
                <a:gd name="connsiteY2682" fmla="*/ 550544 h 1940242"/>
                <a:gd name="connsiteX2683" fmla="*/ 464820 w 2370773"/>
                <a:gd name="connsiteY2683" fmla="*/ 549591 h 1940242"/>
                <a:gd name="connsiteX2684" fmla="*/ 465773 w 2370773"/>
                <a:gd name="connsiteY2684" fmla="*/ 548639 h 1940242"/>
                <a:gd name="connsiteX2685" fmla="*/ 337186 w 2370773"/>
                <a:gd name="connsiteY2685" fmla="*/ 544829 h 1940242"/>
                <a:gd name="connsiteX2686" fmla="*/ 341948 w 2370773"/>
                <a:gd name="connsiteY2686" fmla="*/ 549592 h 1940242"/>
                <a:gd name="connsiteX2687" fmla="*/ 337186 w 2370773"/>
                <a:gd name="connsiteY2687" fmla="*/ 554354 h 1940242"/>
                <a:gd name="connsiteX2688" fmla="*/ 332423 w 2370773"/>
                <a:gd name="connsiteY2688" fmla="*/ 549592 h 1940242"/>
                <a:gd name="connsiteX2689" fmla="*/ 337186 w 2370773"/>
                <a:gd name="connsiteY2689" fmla="*/ 544829 h 1940242"/>
                <a:gd name="connsiteX2690" fmla="*/ 80010 w 2370773"/>
                <a:gd name="connsiteY2690" fmla="*/ 544829 h 1940242"/>
                <a:gd name="connsiteX2691" fmla="*/ 84772 w 2370773"/>
                <a:gd name="connsiteY2691" fmla="*/ 549592 h 1940242"/>
                <a:gd name="connsiteX2692" fmla="*/ 80010 w 2370773"/>
                <a:gd name="connsiteY2692" fmla="*/ 554354 h 1940242"/>
                <a:gd name="connsiteX2693" fmla="*/ 75247 w 2370773"/>
                <a:gd name="connsiteY2693" fmla="*/ 549592 h 1940242"/>
                <a:gd name="connsiteX2694" fmla="*/ 80010 w 2370773"/>
                <a:gd name="connsiteY2694" fmla="*/ 544829 h 1940242"/>
                <a:gd name="connsiteX2695" fmla="*/ 208597 w 2370773"/>
                <a:gd name="connsiteY2695" fmla="*/ 543877 h 1940242"/>
                <a:gd name="connsiteX2696" fmla="*/ 214312 w 2370773"/>
                <a:gd name="connsiteY2696" fmla="*/ 549592 h 1940242"/>
                <a:gd name="connsiteX2697" fmla="*/ 208597 w 2370773"/>
                <a:gd name="connsiteY2697" fmla="*/ 555307 h 1940242"/>
                <a:gd name="connsiteX2698" fmla="*/ 202882 w 2370773"/>
                <a:gd name="connsiteY2698" fmla="*/ 549592 h 1940242"/>
                <a:gd name="connsiteX2699" fmla="*/ 208597 w 2370773"/>
                <a:gd name="connsiteY2699" fmla="*/ 543877 h 1940242"/>
                <a:gd name="connsiteX2700" fmla="*/ 529590 w 2370773"/>
                <a:gd name="connsiteY2700" fmla="*/ 520064 h 1940242"/>
                <a:gd name="connsiteX2701" fmla="*/ 530543 w 2370773"/>
                <a:gd name="connsiteY2701" fmla="*/ 521016 h 1940242"/>
                <a:gd name="connsiteX2702" fmla="*/ 529590 w 2370773"/>
                <a:gd name="connsiteY2702" fmla="*/ 521969 h 1940242"/>
                <a:gd name="connsiteX2703" fmla="*/ 528638 w 2370773"/>
                <a:gd name="connsiteY2703" fmla="*/ 521016 h 1940242"/>
                <a:gd name="connsiteX2704" fmla="*/ 529590 w 2370773"/>
                <a:gd name="connsiteY2704" fmla="*/ 520064 h 1940242"/>
                <a:gd name="connsiteX2705" fmla="*/ 401002 w 2370773"/>
                <a:gd name="connsiteY2705" fmla="*/ 518160 h 1940242"/>
                <a:gd name="connsiteX2706" fmla="*/ 403860 w 2370773"/>
                <a:gd name="connsiteY2706" fmla="*/ 521017 h 1940242"/>
                <a:gd name="connsiteX2707" fmla="*/ 401002 w 2370773"/>
                <a:gd name="connsiteY2707" fmla="*/ 523875 h 1940242"/>
                <a:gd name="connsiteX2708" fmla="*/ 398145 w 2370773"/>
                <a:gd name="connsiteY2708" fmla="*/ 521017 h 1940242"/>
                <a:gd name="connsiteX2709" fmla="*/ 401002 w 2370773"/>
                <a:gd name="connsiteY2709" fmla="*/ 518160 h 1940242"/>
                <a:gd name="connsiteX2710" fmla="*/ 143828 w 2370773"/>
                <a:gd name="connsiteY2710" fmla="*/ 516254 h 1940242"/>
                <a:gd name="connsiteX2711" fmla="*/ 148590 w 2370773"/>
                <a:gd name="connsiteY2711" fmla="*/ 521017 h 1940242"/>
                <a:gd name="connsiteX2712" fmla="*/ 143828 w 2370773"/>
                <a:gd name="connsiteY2712" fmla="*/ 525779 h 1940242"/>
                <a:gd name="connsiteX2713" fmla="*/ 139065 w 2370773"/>
                <a:gd name="connsiteY2713" fmla="*/ 521017 h 1940242"/>
                <a:gd name="connsiteX2714" fmla="*/ 143828 w 2370773"/>
                <a:gd name="connsiteY2714" fmla="*/ 516254 h 1940242"/>
                <a:gd name="connsiteX2715" fmla="*/ 272415 w 2370773"/>
                <a:gd name="connsiteY2715" fmla="*/ 514350 h 1940242"/>
                <a:gd name="connsiteX2716" fmla="*/ 279083 w 2370773"/>
                <a:gd name="connsiteY2716" fmla="*/ 521017 h 1940242"/>
                <a:gd name="connsiteX2717" fmla="*/ 272415 w 2370773"/>
                <a:gd name="connsiteY2717" fmla="*/ 527685 h 1940242"/>
                <a:gd name="connsiteX2718" fmla="*/ 265748 w 2370773"/>
                <a:gd name="connsiteY2718" fmla="*/ 521017 h 1940242"/>
                <a:gd name="connsiteX2719" fmla="*/ 272415 w 2370773"/>
                <a:gd name="connsiteY2719" fmla="*/ 514350 h 1940242"/>
                <a:gd name="connsiteX2720" fmla="*/ 465773 w 2370773"/>
                <a:gd name="connsiteY2720" fmla="*/ 489585 h 1940242"/>
                <a:gd name="connsiteX2721" fmla="*/ 467678 w 2370773"/>
                <a:gd name="connsiteY2721" fmla="*/ 491490 h 1940242"/>
                <a:gd name="connsiteX2722" fmla="*/ 465773 w 2370773"/>
                <a:gd name="connsiteY2722" fmla="*/ 493395 h 1940242"/>
                <a:gd name="connsiteX2723" fmla="*/ 463868 w 2370773"/>
                <a:gd name="connsiteY2723" fmla="*/ 491490 h 1940242"/>
                <a:gd name="connsiteX2724" fmla="*/ 465773 w 2370773"/>
                <a:gd name="connsiteY2724" fmla="*/ 489585 h 1940242"/>
                <a:gd name="connsiteX2725" fmla="*/ 337185 w 2370773"/>
                <a:gd name="connsiteY2725" fmla="*/ 488632 h 1940242"/>
                <a:gd name="connsiteX2726" fmla="*/ 340995 w 2370773"/>
                <a:gd name="connsiteY2726" fmla="*/ 492442 h 1940242"/>
                <a:gd name="connsiteX2727" fmla="*/ 337185 w 2370773"/>
                <a:gd name="connsiteY2727" fmla="*/ 496252 h 1940242"/>
                <a:gd name="connsiteX2728" fmla="*/ 333375 w 2370773"/>
                <a:gd name="connsiteY2728" fmla="*/ 492442 h 1940242"/>
                <a:gd name="connsiteX2729" fmla="*/ 337185 w 2370773"/>
                <a:gd name="connsiteY2729" fmla="*/ 488632 h 1940242"/>
                <a:gd name="connsiteX2730" fmla="*/ 80010 w 2370773"/>
                <a:gd name="connsiteY2730" fmla="*/ 487679 h 1940242"/>
                <a:gd name="connsiteX2731" fmla="*/ 83820 w 2370773"/>
                <a:gd name="connsiteY2731" fmla="*/ 491489 h 1940242"/>
                <a:gd name="connsiteX2732" fmla="*/ 80010 w 2370773"/>
                <a:gd name="connsiteY2732" fmla="*/ 495299 h 1940242"/>
                <a:gd name="connsiteX2733" fmla="*/ 76200 w 2370773"/>
                <a:gd name="connsiteY2733" fmla="*/ 491489 h 1940242"/>
                <a:gd name="connsiteX2734" fmla="*/ 80010 w 2370773"/>
                <a:gd name="connsiteY2734" fmla="*/ 487679 h 1940242"/>
                <a:gd name="connsiteX2735" fmla="*/ 208597 w 2370773"/>
                <a:gd name="connsiteY2735" fmla="*/ 485775 h 1940242"/>
                <a:gd name="connsiteX2736" fmla="*/ 214312 w 2370773"/>
                <a:gd name="connsiteY2736" fmla="*/ 491490 h 1940242"/>
                <a:gd name="connsiteX2737" fmla="*/ 208597 w 2370773"/>
                <a:gd name="connsiteY2737" fmla="*/ 497205 h 1940242"/>
                <a:gd name="connsiteX2738" fmla="*/ 202882 w 2370773"/>
                <a:gd name="connsiteY2738" fmla="*/ 491490 h 1940242"/>
                <a:gd name="connsiteX2739" fmla="*/ 208597 w 2370773"/>
                <a:gd name="connsiteY2739" fmla="*/ 485775 h 1940242"/>
                <a:gd name="connsiteX2740" fmla="*/ 402907 w 2370773"/>
                <a:gd name="connsiteY2740" fmla="*/ 460057 h 1940242"/>
                <a:gd name="connsiteX2741" fmla="*/ 405765 w 2370773"/>
                <a:gd name="connsiteY2741" fmla="*/ 462914 h 1940242"/>
                <a:gd name="connsiteX2742" fmla="*/ 402907 w 2370773"/>
                <a:gd name="connsiteY2742" fmla="*/ 465772 h 1940242"/>
                <a:gd name="connsiteX2743" fmla="*/ 400050 w 2370773"/>
                <a:gd name="connsiteY2743" fmla="*/ 462914 h 1940242"/>
                <a:gd name="connsiteX2744" fmla="*/ 402907 w 2370773"/>
                <a:gd name="connsiteY2744" fmla="*/ 460057 h 1940242"/>
                <a:gd name="connsiteX2745" fmla="*/ 145733 w 2370773"/>
                <a:gd name="connsiteY2745" fmla="*/ 458152 h 1940242"/>
                <a:gd name="connsiteX2746" fmla="*/ 150495 w 2370773"/>
                <a:gd name="connsiteY2746" fmla="*/ 462915 h 1940242"/>
                <a:gd name="connsiteX2747" fmla="*/ 145733 w 2370773"/>
                <a:gd name="connsiteY2747" fmla="*/ 467677 h 1940242"/>
                <a:gd name="connsiteX2748" fmla="*/ 140970 w 2370773"/>
                <a:gd name="connsiteY2748" fmla="*/ 462915 h 1940242"/>
                <a:gd name="connsiteX2749" fmla="*/ 145733 w 2370773"/>
                <a:gd name="connsiteY2749" fmla="*/ 458152 h 1940242"/>
                <a:gd name="connsiteX2750" fmla="*/ 274320 w 2370773"/>
                <a:gd name="connsiteY2750" fmla="*/ 457200 h 1940242"/>
                <a:gd name="connsiteX2751" fmla="*/ 280035 w 2370773"/>
                <a:gd name="connsiteY2751" fmla="*/ 462915 h 1940242"/>
                <a:gd name="connsiteX2752" fmla="*/ 274320 w 2370773"/>
                <a:gd name="connsiteY2752" fmla="*/ 468630 h 1940242"/>
                <a:gd name="connsiteX2753" fmla="*/ 268605 w 2370773"/>
                <a:gd name="connsiteY2753" fmla="*/ 462915 h 1940242"/>
                <a:gd name="connsiteX2754" fmla="*/ 274320 w 2370773"/>
                <a:gd name="connsiteY2754" fmla="*/ 457200 h 1940242"/>
                <a:gd name="connsiteX2755" fmla="*/ 469582 w 2370773"/>
                <a:gd name="connsiteY2755" fmla="*/ 432435 h 1940242"/>
                <a:gd name="connsiteX2756" fmla="*/ 471487 w 2370773"/>
                <a:gd name="connsiteY2756" fmla="*/ 434340 h 1940242"/>
                <a:gd name="connsiteX2757" fmla="*/ 469582 w 2370773"/>
                <a:gd name="connsiteY2757" fmla="*/ 436245 h 1940242"/>
                <a:gd name="connsiteX2758" fmla="*/ 467677 w 2370773"/>
                <a:gd name="connsiteY2758" fmla="*/ 434340 h 1940242"/>
                <a:gd name="connsiteX2759" fmla="*/ 469582 w 2370773"/>
                <a:gd name="connsiteY2759" fmla="*/ 432435 h 1940242"/>
                <a:gd name="connsiteX2760" fmla="*/ 82868 w 2370773"/>
                <a:gd name="connsiteY2760" fmla="*/ 432435 h 1940242"/>
                <a:gd name="connsiteX2761" fmla="*/ 84773 w 2370773"/>
                <a:gd name="connsiteY2761" fmla="*/ 434340 h 1940242"/>
                <a:gd name="connsiteX2762" fmla="*/ 82868 w 2370773"/>
                <a:gd name="connsiteY2762" fmla="*/ 436245 h 1940242"/>
                <a:gd name="connsiteX2763" fmla="*/ 80963 w 2370773"/>
                <a:gd name="connsiteY2763" fmla="*/ 434340 h 1940242"/>
                <a:gd name="connsiteX2764" fmla="*/ 82868 w 2370773"/>
                <a:gd name="connsiteY2764" fmla="*/ 432435 h 1940242"/>
                <a:gd name="connsiteX2765" fmla="*/ 340995 w 2370773"/>
                <a:gd name="connsiteY2765" fmla="*/ 431482 h 1940242"/>
                <a:gd name="connsiteX2766" fmla="*/ 343852 w 2370773"/>
                <a:gd name="connsiteY2766" fmla="*/ 434339 h 1940242"/>
                <a:gd name="connsiteX2767" fmla="*/ 340995 w 2370773"/>
                <a:gd name="connsiteY2767" fmla="*/ 437197 h 1940242"/>
                <a:gd name="connsiteX2768" fmla="*/ 338137 w 2370773"/>
                <a:gd name="connsiteY2768" fmla="*/ 434339 h 1940242"/>
                <a:gd name="connsiteX2769" fmla="*/ 340995 w 2370773"/>
                <a:gd name="connsiteY2769" fmla="*/ 431482 h 1940242"/>
                <a:gd name="connsiteX2770" fmla="*/ 211456 w 2370773"/>
                <a:gd name="connsiteY2770" fmla="*/ 429577 h 1940242"/>
                <a:gd name="connsiteX2771" fmla="*/ 216218 w 2370773"/>
                <a:gd name="connsiteY2771" fmla="*/ 434340 h 1940242"/>
                <a:gd name="connsiteX2772" fmla="*/ 211456 w 2370773"/>
                <a:gd name="connsiteY2772" fmla="*/ 439102 h 1940242"/>
                <a:gd name="connsiteX2773" fmla="*/ 206693 w 2370773"/>
                <a:gd name="connsiteY2773" fmla="*/ 434340 h 1940242"/>
                <a:gd name="connsiteX2774" fmla="*/ 211456 w 2370773"/>
                <a:gd name="connsiteY2774" fmla="*/ 429577 h 1940242"/>
                <a:gd name="connsiteX2775" fmla="*/ 408623 w 2370773"/>
                <a:gd name="connsiteY2775" fmla="*/ 402907 h 1940242"/>
                <a:gd name="connsiteX2776" fmla="*/ 411480 w 2370773"/>
                <a:gd name="connsiteY2776" fmla="*/ 405764 h 1940242"/>
                <a:gd name="connsiteX2777" fmla="*/ 408623 w 2370773"/>
                <a:gd name="connsiteY2777" fmla="*/ 408622 h 1940242"/>
                <a:gd name="connsiteX2778" fmla="*/ 405765 w 2370773"/>
                <a:gd name="connsiteY2778" fmla="*/ 405764 h 1940242"/>
                <a:gd name="connsiteX2779" fmla="*/ 408623 w 2370773"/>
                <a:gd name="connsiteY2779" fmla="*/ 402907 h 1940242"/>
                <a:gd name="connsiteX2780" fmla="*/ 149543 w 2370773"/>
                <a:gd name="connsiteY2780" fmla="*/ 401002 h 1940242"/>
                <a:gd name="connsiteX2781" fmla="*/ 154305 w 2370773"/>
                <a:gd name="connsiteY2781" fmla="*/ 405765 h 1940242"/>
                <a:gd name="connsiteX2782" fmla="*/ 149543 w 2370773"/>
                <a:gd name="connsiteY2782" fmla="*/ 410527 h 1940242"/>
                <a:gd name="connsiteX2783" fmla="*/ 144780 w 2370773"/>
                <a:gd name="connsiteY2783" fmla="*/ 405765 h 1940242"/>
                <a:gd name="connsiteX2784" fmla="*/ 149543 w 2370773"/>
                <a:gd name="connsiteY2784" fmla="*/ 401002 h 1940242"/>
                <a:gd name="connsiteX2785" fmla="*/ 279083 w 2370773"/>
                <a:gd name="connsiteY2785" fmla="*/ 400050 h 1940242"/>
                <a:gd name="connsiteX2786" fmla="*/ 284798 w 2370773"/>
                <a:gd name="connsiteY2786" fmla="*/ 404813 h 1940242"/>
                <a:gd name="connsiteX2787" fmla="*/ 279083 w 2370773"/>
                <a:gd name="connsiteY2787" fmla="*/ 410527 h 1940242"/>
                <a:gd name="connsiteX2788" fmla="*/ 273368 w 2370773"/>
                <a:gd name="connsiteY2788" fmla="*/ 405765 h 1940242"/>
                <a:gd name="connsiteX2789" fmla="*/ 279083 w 2370773"/>
                <a:gd name="connsiteY2789" fmla="*/ 400050 h 1940242"/>
                <a:gd name="connsiteX2790" fmla="*/ 347662 w 2370773"/>
                <a:gd name="connsiteY2790" fmla="*/ 372427 h 1940242"/>
                <a:gd name="connsiteX2791" fmla="*/ 351472 w 2370773"/>
                <a:gd name="connsiteY2791" fmla="*/ 376237 h 1940242"/>
                <a:gd name="connsiteX2792" fmla="*/ 347662 w 2370773"/>
                <a:gd name="connsiteY2792" fmla="*/ 380047 h 1940242"/>
                <a:gd name="connsiteX2793" fmla="*/ 343852 w 2370773"/>
                <a:gd name="connsiteY2793" fmla="*/ 376237 h 1940242"/>
                <a:gd name="connsiteX2794" fmla="*/ 347662 w 2370773"/>
                <a:gd name="connsiteY2794" fmla="*/ 372427 h 1940242"/>
                <a:gd name="connsiteX2795" fmla="*/ 218122 w 2370773"/>
                <a:gd name="connsiteY2795" fmla="*/ 370522 h 1940242"/>
                <a:gd name="connsiteX2796" fmla="*/ 224790 w 2370773"/>
                <a:gd name="connsiteY2796" fmla="*/ 377189 h 1940242"/>
                <a:gd name="connsiteX2797" fmla="*/ 218122 w 2370773"/>
                <a:gd name="connsiteY2797" fmla="*/ 383857 h 1940242"/>
                <a:gd name="connsiteX2798" fmla="*/ 211455 w 2370773"/>
                <a:gd name="connsiteY2798" fmla="*/ 377189 h 1940242"/>
                <a:gd name="connsiteX2799" fmla="*/ 218122 w 2370773"/>
                <a:gd name="connsiteY2799" fmla="*/ 370522 h 1940242"/>
                <a:gd name="connsiteX2800" fmla="*/ 418148 w 2370773"/>
                <a:gd name="connsiteY2800" fmla="*/ 346710 h 1940242"/>
                <a:gd name="connsiteX2801" fmla="*/ 420053 w 2370773"/>
                <a:gd name="connsiteY2801" fmla="*/ 348615 h 1940242"/>
                <a:gd name="connsiteX2802" fmla="*/ 418148 w 2370773"/>
                <a:gd name="connsiteY2802" fmla="*/ 350520 h 1940242"/>
                <a:gd name="connsiteX2803" fmla="*/ 416243 w 2370773"/>
                <a:gd name="connsiteY2803" fmla="*/ 348615 h 1940242"/>
                <a:gd name="connsiteX2804" fmla="*/ 418148 w 2370773"/>
                <a:gd name="connsiteY2804" fmla="*/ 346710 h 1940242"/>
                <a:gd name="connsiteX2805" fmla="*/ 157163 w 2370773"/>
                <a:gd name="connsiteY2805" fmla="*/ 344805 h 1940242"/>
                <a:gd name="connsiteX2806" fmla="*/ 160973 w 2370773"/>
                <a:gd name="connsiteY2806" fmla="*/ 348615 h 1940242"/>
                <a:gd name="connsiteX2807" fmla="*/ 157163 w 2370773"/>
                <a:gd name="connsiteY2807" fmla="*/ 352425 h 1940242"/>
                <a:gd name="connsiteX2808" fmla="*/ 153353 w 2370773"/>
                <a:gd name="connsiteY2808" fmla="*/ 348615 h 1940242"/>
                <a:gd name="connsiteX2809" fmla="*/ 157163 w 2370773"/>
                <a:gd name="connsiteY2809" fmla="*/ 344805 h 1940242"/>
                <a:gd name="connsiteX2810" fmla="*/ 287655 w 2370773"/>
                <a:gd name="connsiteY2810" fmla="*/ 342900 h 1940242"/>
                <a:gd name="connsiteX2811" fmla="*/ 293370 w 2370773"/>
                <a:gd name="connsiteY2811" fmla="*/ 348615 h 1940242"/>
                <a:gd name="connsiteX2812" fmla="*/ 287655 w 2370773"/>
                <a:gd name="connsiteY2812" fmla="*/ 354330 h 1940242"/>
                <a:gd name="connsiteX2813" fmla="*/ 281940 w 2370773"/>
                <a:gd name="connsiteY2813" fmla="*/ 348615 h 1940242"/>
                <a:gd name="connsiteX2814" fmla="*/ 287655 w 2370773"/>
                <a:gd name="connsiteY2814" fmla="*/ 342900 h 1940242"/>
                <a:gd name="connsiteX2815" fmla="*/ 489585 w 2370773"/>
                <a:gd name="connsiteY2815" fmla="*/ 320039 h 1940242"/>
                <a:gd name="connsiteX2816" fmla="*/ 490537 w 2370773"/>
                <a:gd name="connsiteY2816" fmla="*/ 320992 h 1940242"/>
                <a:gd name="connsiteX2817" fmla="*/ 489585 w 2370773"/>
                <a:gd name="connsiteY2817" fmla="*/ 321944 h 1940242"/>
                <a:gd name="connsiteX2818" fmla="*/ 488632 w 2370773"/>
                <a:gd name="connsiteY2818" fmla="*/ 320992 h 1940242"/>
                <a:gd name="connsiteX2819" fmla="*/ 489585 w 2370773"/>
                <a:gd name="connsiteY2819" fmla="*/ 320039 h 1940242"/>
                <a:gd name="connsiteX2820" fmla="*/ 358140 w 2370773"/>
                <a:gd name="connsiteY2820" fmla="*/ 318135 h 1940242"/>
                <a:gd name="connsiteX2821" fmla="*/ 360997 w 2370773"/>
                <a:gd name="connsiteY2821" fmla="*/ 320992 h 1940242"/>
                <a:gd name="connsiteX2822" fmla="*/ 358140 w 2370773"/>
                <a:gd name="connsiteY2822" fmla="*/ 323850 h 1940242"/>
                <a:gd name="connsiteX2823" fmla="*/ 355282 w 2370773"/>
                <a:gd name="connsiteY2823" fmla="*/ 320992 h 1940242"/>
                <a:gd name="connsiteX2824" fmla="*/ 358140 w 2370773"/>
                <a:gd name="connsiteY2824" fmla="*/ 318135 h 1940242"/>
                <a:gd name="connsiteX2825" fmla="*/ 226695 w 2370773"/>
                <a:gd name="connsiteY2825" fmla="*/ 315277 h 1940242"/>
                <a:gd name="connsiteX2826" fmla="*/ 231457 w 2370773"/>
                <a:gd name="connsiteY2826" fmla="*/ 320040 h 1940242"/>
                <a:gd name="connsiteX2827" fmla="*/ 226695 w 2370773"/>
                <a:gd name="connsiteY2827" fmla="*/ 324802 h 1940242"/>
                <a:gd name="connsiteX2828" fmla="*/ 221932 w 2370773"/>
                <a:gd name="connsiteY2828" fmla="*/ 320040 h 1940242"/>
                <a:gd name="connsiteX2829" fmla="*/ 226695 w 2370773"/>
                <a:gd name="connsiteY2829" fmla="*/ 315277 h 1940242"/>
                <a:gd name="connsiteX2830" fmla="*/ 430530 w 2370773"/>
                <a:gd name="connsiteY2830" fmla="*/ 292417 h 1940242"/>
                <a:gd name="connsiteX2831" fmla="*/ 431482 w 2370773"/>
                <a:gd name="connsiteY2831" fmla="*/ 293369 h 1940242"/>
                <a:gd name="connsiteX2832" fmla="*/ 430530 w 2370773"/>
                <a:gd name="connsiteY2832" fmla="*/ 294322 h 1940242"/>
                <a:gd name="connsiteX2833" fmla="*/ 429577 w 2370773"/>
                <a:gd name="connsiteY2833" fmla="*/ 293369 h 1940242"/>
                <a:gd name="connsiteX2834" fmla="*/ 430530 w 2370773"/>
                <a:gd name="connsiteY2834" fmla="*/ 292417 h 1940242"/>
                <a:gd name="connsiteX2835" fmla="*/ 166687 w 2370773"/>
                <a:gd name="connsiteY2835" fmla="*/ 289560 h 1940242"/>
                <a:gd name="connsiteX2836" fmla="*/ 168592 w 2370773"/>
                <a:gd name="connsiteY2836" fmla="*/ 291465 h 1940242"/>
                <a:gd name="connsiteX2837" fmla="*/ 166687 w 2370773"/>
                <a:gd name="connsiteY2837" fmla="*/ 293370 h 1940242"/>
                <a:gd name="connsiteX2838" fmla="*/ 164782 w 2370773"/>
                <a:gd name="connsiteY2838" fmla="*/ 291465 h 1940242"/>
                <a:gd name="connsiteX2839" fmla="*/ 166687 w 2370773"/>
                <a:gd name="connsiteY2839" fmla="*/ 289560 h 1940242"/>
                <a:gd name="connsiteX2840" fmla="*/ 298133 w 2370773"/>
                <a:gd name="connsiteY2840" fmla="*/ 288607 h 1940242"/>
                <a:gd name="connsiteX2841" fmla="*/ 301943 w 2370773"/>
                <a:gd name="connsiteY2841" fmla="*/ 292417 h 1940242"/>
                <a:gd name="connsiteX2842" fmla="*/ 298133 w 2370773"/>
                <a:gd name="connsiteY2842" fmla="*/ 296227 h 1940242"/>
                <a:gd name="connsiteX2843" fmla="*/ 294323 w 2370773"/>
                <a:gd name="connsiteY2843" fmla="*/ 292417 h 1940242"/>
                <a:gd name="connsiteX2844" fmla="*/ 298133 w 2370773"/>
                <a:gd name="connsiteY2844" fmla="*/ 288607 h 1940242"/>
                <a:gd name="connsiteX2845" fmla="*/ 371475 w 2370773"/>
                <a:gd name="connsiteY2845" fmla="*/ 261937 h 1940242"/>
                <a:gd name="connsiteX2846" fmla="*/ 374333 w 2370773"/>
                <a:gd name="connsiteY2846" fmla="*/ 264794 h 1940242"/>
                <a:gd name="connsiteX2847" fmla="*/ 371475 w 2370773"/>
                <a:gd name="connsiteY2847" fmla="*/ 267652 h 1940242"/>
                <a:gd name="connsiteX2848" fmla="*/ 368618 w 2370773"/>
                <a:gd name="connsiteY2848" fmla="*/ 264794 h 1940242"/>
                <a:gd name="connsiteX2849" fmla="*/ 371475 w 2370773"/>
                <a:gd name="connsiteY2849" fmla="*/ 261937 h 1940242"/>
                <a:gd name="connsiteX2850" fmla="*/ 239077 w 2370773"/>
                <a:gd name="connsiteY2850" fmla="*/ 260985 h 1940242"/>
                <a:gd name="connsiteX2851" fmla="*/ 241935 w 2370773"/>
                <a:gd name="connsiteY2851" fmla="*/ 263842 h 1940242"/>
                <a:gd name="connsiteX2852" fmla="*/ 239077 w 2370773"/>
                <a:gd name="connsiteY2852" fmla="*/ 266700 h 1940242"/>
                <a:gd name="connsiteX2853" fmla="*/ 236220 w 2370773"/>
                <a:gd name="connsiteY2853" fmla="*/ 263842 h 1940242"/>
                <a:gd name="connsiteX2854" fmla="*/ 239077 w 2370773"/>
                <a:gd name="connsiteY2854" fmla="*/ 260985 h 1940242"/>
                <a:gd name="connsiteX2855" fmla="*/ 446723 w 2370773"/>
                <a:gd name="connsiteY2855" fmla="*/ 235267 h 1940242"/>
                <a:gd name="connsiteX2856" fmla="*/ 448628 w 2370773"/>
                <a:gd name="connsiteY2856" fmla="*/ 237172 h 1940242"/>
                <a:gd name="connsiteX2857" fmla="*/ 446723 w 2370773"/>
                <a:gd name="connsiteY2857" fmla="*/ 239077 h 1940242"/>
                <a:gd name="connsiteX2858" fmla="*/ 444818 w 2370773"/>
                <a:gd name="connsiteY2858" fmla="*/ 237172 h 1940242"/>
                <a:gd name="connsiteX2859" fmla="*/ 446723 w 2370773"/>
                <a:gd name="connsiteY2859" fmla="*/ 235267 h 1940242"/>
                <a:gd name="connsiteX2860" fmla="*/ 312420 w 2370773"/>
                <a:gd name="connsiteY2860" fmla="*/ 231457 h 1940242"/>
                <a:gd name="connsiteX2861" fmla="*/ 317182 w 2370773"/>
                <a:gd name="connsiteY2861" fmla="*/ 236220 h 1940242"/>
                <a:gd name="connsiteX2862" fmla="*/ 312420 w 2370773"/>
                <a:gd name="connsiteY2862" fmla="*/ 240982 h 1940242"/>
                <a:gd name="connsiteX2863" fmla="*/ 307657 w 2370773"/>
                <a:gd name="connsiteY2863" fmla="*/ 236220 h 1940242"/>
                <a:gd name="connsiteX2864" fmla="*/ 312420 w 2370773"/>
                <a:gd name="connsiteY2864" fmla="*/ 231457 h 1940242"/>
                <a:gd name="connsiteX2865" fmla="*/ 388620 w 2370773"/>
                <a:gd name="connsiteY2865" fmla="*/ 207644 h 1940242"/>
                <a:gd name="connsiteX2866" fmla="*/ 390525 w 2370773"/>
                <a:gd name="connsiteY2866" fmla="*/ 209549 h 1940242"/>
                <a:gd name="connsiteX2867" fmla="*/ 388620 w 2370773"/>
                <a:gd name="connsiteY2867" fmla="*/ 211454 h 1940242"/>
                <a:gd name="connsiteX2868" fmla="*/ 386715 w 2370773"/>
                <a:gd name="connsiteY2868" fmla="*/ 209549 h 1940242"/>
                <a:gd name="connsiteX2869" fmla="*/ 388620 w 2370773"/>
                <a:gd name="connsiteY2869" fmla="*/ 207644 h 1940242"/>
                <a:gd name="connsiteX2870" fmla="*/ 254318 w 2370773"/>
                <a:gd name="connsiteY2870" fmla="*/ 205739 h 1940242"/>
                <a:gd name="connsiteX2871" fmla="*/ 257175 w 2370773"/>
                <a:gd name="connsiteY2871" fmla="*/ 208597 h 1940242"/>
                <a:gd name="connsiteX2872" fmla="*/ 254318 w 2370773"/>
                <a:gd name="connsiteY2872" fmla="*/ 211454 h 1940242"/>
                <a:gd name="connsiteX2873" fmla="*/ 251460 w 2370773"/>
                <a:gd name="connsiteY2873" fmla="*/ 208597 h 1940242"/>
                <a:gd name="connsiteX2874" fmla="*/ 254318 w 2370773"/>
                <a:gd name="connsiteY2874" fmla="*/ 205739 h 1940242"/>
                <a:gd name="connsiteX2875" fmla="*/ 330517 w 2370773"/>
                <a:gd name="connsiteY2875" fmla="*/ 178117 h 1940242"/>
                <a:gd name="connsiteX2876" fmla="*/ 333375 w 2370773"/>
                <a:gd name="connsiteY2876" fmla="*/ 180974 h 1940242"/>
                <a:gd name="connsiteX2877" fmla="*/ 330517 w 2370773"/>
                <a:gd name="connsiteY2877" fmla="*/ 183832 h 1940242"/>
                <a:gd name="connsiteX2878" fmla="*/ 327660 w 2370773"/>
                <a:gd name="connsiteY2878" fmla="*/ 180974 h 1940242"/>
                <a:gd name="connsiteX2879" fmla="*/ 330517 w 2370773"/>
                <a:gd name="connsiteY2879" fmla="*/ 178117 h 1940242"/>
                <a:gd name="connsiteX2880" fmla="*/ 408623 w 2370773"/>
                <a:gd name="connsiteY2880" fmla="*/ 152400 h 1940242"/>
                <a:gd name="connsiteX2881" fmla="*/ 411480 w 2370773"/>
                <a:gd name="connsiteY2881" fmla="*/ 155257 h 1940242"/>
                <a:gd name="connsiteX2882" fmla="*/ 408623 w 2370773"/>
                <a:gd name="connsiteY2882" fmla="*/ 158115 h 1940242"/>
                <a:gd name="connsiteX2883" fmla="*/ 405765 w 2370773"/>
                <a:gd name="connsiteY2883" fmla="*/ 155257 h 1940242"/>
                <a:gd name="connsiteX2884" fmla="*/ 408623 w 2370773"/>
                <a:gd name="connsiteY2884" fmla="*/ 152400 h 1940242"/>
                <a:gd name="connsiteX2885" fmla="*/ 272415 w 2370773"/>
                <a:gd name="connsiteY2885" fmla="*/ 150494 h 1940242"/>
                <a:gd name="connsiteX2886" fmla="*/ 275272 w 2370773"/>
                <a:gd name="connsiteY2886" fmla="*/ 153351 h 1940242"/>
                <a:gd name="connsiteX2887" fmla="*/ 272415 w 2370773"/>
                <a:gd name="connsiteY2887" fmla="*/ 156209 h 1940242"/>
                <a:gd name="connsiteX2888" fmla="*/ 269557 w 2370773"/>
                <a:gd name="connsiteY2888" fmla="*/ 153351 h 1940242"/>
                <a:gd name="connsiteX2889" fmla="*/ 272415 w 2370773"/>
                <a:gd name="connsiteY2889" fmla="*/ 150494 h 1940242"/>
                <a:gd name="connsiteX2890" fmla="*/ 490537 w 2370773"/>
                <a:gd name="connsiteY2890" fmla="*/ 129539 h 1940242"/>
                <a:gd name="connsiteX2891" fmla="*/ 491490 w 2370773"/>
                <a:gd name="connsiteY2891" fmla="*/ 130492 h 1940242"/>
                <a:gd name="connsiteX2892" fmla="*/ 490537 w 2370773"/>
                <a:gd name="connsiteY2892" fmla="*/ 131444 h 1940242"/>
                <a:gd name="connsiteX2893" fmla="*/ 489585 w 2370773"/>
                <a:gd name="connsiteY2893" fmla="*/ 130492 h 1940242"/>
                <a:gd name="connsiteX2894" fmla="*/ 490537 w 2370773"/>
                <a:gd name="connsiteY2894" fmla="*/ 129539 h 1940242"/>
                <a:gd name="connsiteX2895" fmla="*/ 350520 w 2370773"/>
                <a:gd name="connsiteY2895" fmla="*/ 125730 h 1940242"/>
                <a:gd name="connsiteX2896" fmla="*/ 352425 w 2370773"/>
                <a:gd name="connsiteY2896" fmla="*/ 127635 h 1940242"/>
                <a:gd name="connsiteX2897" fmla="*/ 350520 w 2370773"/>
                <a:gd name="connsiteY2897" fmla="*/ 129540 h 1940242"/>
                <a:gd name="connsiteX2898" fmla="*/ 348615 w 2370773"/>
                <a:gd name="connsiteY2898" fmla="*/ 127635 h 1940242"/>
                <a:gd name="connsiteX2899" fmla="*/ 350520 w 2370773"/>
                <a:gd name="connsiteY2899" fmla="*/ 125730 h 1940242"/>
                <a:gd name="connsiteX2900" fmla="*/ 432435 w 2370773"/>
                <a:gd name="connsiteY2900" fmla="*/ 99060 h 1940242"/>
                <a:gd name="connsiteX2901" fmla="*/ 436245 w 2370773"/>
                <a:gd name="connsiteY2901" fmla="*/ 102870 h 1940242"/>
                <a:gd name="connsiteX2902" fmla="*/ 432435 w 2370773"/>
                <a:gd name="connsiteY2902" fmla="*/ 106680 h 1940242"/>
                <a:gd name="connsiteX2903" fmla="*/ 428625 w 2370773"/>
                <a:gd name="connsiteY2903" fmla="*/ 102870 h 1940242"/>
                <a:gd name="connsiteX2904" fmla="*/ 432435 w 2370773"/>
                <a:gd name="connsiteY2904" fmla="*/ 99060 h 1940242"/>
                <a:gd name="connsiteX2905" fmla="*/ 293370 w 2370773"/>
                <a:gd name="connsiteY2905" fmla="*/ 97155 h 1940242"/>
                <a:gd name="connsiteX2906" fmla="*/ 295275 w 2370773"/>
                <a:gd name="connsiteY2906" fmla="*/ 99060 h 1940242"/>
                <a:gd name="connsiteX2907" fmla="*/ 293370 w 2370773"/>
                <a:gd name="connsiteY2907" fmla="*/ 100965 h 1940242"/>
                <a:gd name="connsiteX2908" fmla="*/ 291465 w 2370773"/>
                <a:gd name="connsiteY2908" fmla="*/ 99060 h 1940242"/>
                <a:gd name="connsiteX2909" fmla="*/ 293370 w 2370773"/>
                <a:gd name="connsiteY2909" fmla="*/ 97155 h 1940242"/>
                <a:gd name="connsiteX2910" fmla="*/ 374332 w 2370773"/>
                <a:gd name="connsiteY2910" fmla="*/ 71437 h 1940242"/>
                <a:gd name="connsiteX2911" fmla="*/ 377190 w 2370773"/>
                <a:gd name="connsiteY2911" fmla="*/ 74294 h 1940242"/>
                <a:gd name="connsiteX2912" fmla="*/ 374332 w 2370773"/>
                <a:gd name="connsiteY2912" fmla="*/ 77152 h 1940242"/>
                <a:gd name="connsiteX2913" fmla="*/ 371475 w 2370773"/>
                <a:gd name="connsiteY2913" fmla="*/ 74294 h 1940242"/>
                <a:gd name="connsiteX2914" fmla="*/ 374332 w 2370773"/>
                <a:gd name="connsiteY2914" fmla="*/ 71437 h 1940242"/>
                <a:gd name="connsiteX2915" fmla="*/ 459105 w 2370773"/>
                <a:gd name="connsiteY2915" fmla="*/ 49530 h 1940242"/>
                <a:gd name="connsiteX2916" fmla="*/ 461010 w 2370773"/>
                <a:gd name="connsiteY2916" fmla="*/ 51435 h 1940242"/>
                <a:gd name="connsiteX2917" fmla="*/ 459105 w 2370773"/>
                <a:gd name="connsiteY2917" fmla="*/ 53340 h 1940242"/>
                <a:gd name="connsiteX2918" fmla="*/ 457200 w 2370773"/>
                <a:gd name="connsiteY2918" fmla="*/ 51435 h 1940242"/>
                <a:gd name="connsiteX2919" fmla="*/ 459105 w 2370773"/>
                <a:gd name="connsiteY2919" fmla="*/ 49530 h 1940242"/>
                <a:gd name="connsiteX2920" fmla="*/ 546735 w 2370773"/>
                <a:gd name="connsiteY2920" fmla="*/ 29527 h 1940242"/>
                <a:gd name="connsiteX2921" fmla="*/ 547688 w 2370773"/>
                <a:gd name="connsiteY2921" fmla="*/ 30480 h 1940242"/>
                <a:gd name="connsiteX2922" fmla="*/ 546735 w 2370773"/>
                <a:gd name="connsiteY2922" fmla="*/ 31432 h 1940242"/>
                <a:gd name="connsiteX2923" fmla="*/ 545783 w 2370773"/>
                <a:gd name="connsiteY2923" fmla="*/ 30480 h 1940242"/>
                <a:gd name="connsiteX2924" fmla="*/ 546735 w 2370773"/>
                <a:gd name="connsiteY2924" fmla="*/ 29527 h 1940242"/>
                <a:gd name="connsiteX2925" fmla="*/ 401002 w 2370773"/>
                <a:gd name="connsiteY2925" fmla="*/ 20955 h 1940242"/>
                <a:gd name="connsiteX2926" fmla="*/ 403860 w 2370773"/>
                <a:gd name="connsiteY2926" fmla="*/ 23812 h 1940242"/>
                <a:gd name="connsiteX2927" fmla="*/ 401002 w 2370773"/>
                <a:gd name="connsiteY2927" fmla="*/ 26670 h 1940242"/>
                <a:gd name="connsiteX2928" fmla="*/ 398145 w 2370773"/>
                <a:gd name="connsiteY2928" fmla="*/ 23812 h 1940242"/>
                <a:gd name="connsiteX2929" fmla="*/ 401002 w 2370773"/>
                <a:gd name="connsiteY2929" fmla="*/ 20955 h 1940242"/>
                <a:gd name="connsiteX2930" fmla="*/ 488632 w 2370773"/>
                <a:gd name="connsiteY2930" fmla="*/ 0 h 1940242"/>
                <a:gd name="connsiteX2931" fmla="*/ 490537 w 2370773"/>
                <a:gd name="connsiteY2931" fmla="*/ 1905 h 1940242"/>
                <a:gd name="connsiteX2932" fmla="*/ 488632 w 2370773"/>
                <a:gd name="connsiteY2932" fmla="*/ 3810 h 1940242"/>
                <a:gd name="connsiteX2933" fmla="*/ 486727 w 2370773"/>
                <a:gd name="connsiteY2933" fmla="*/ 1905 h 1940242"/>
                <a:gd name="connsiteX2934" fmla="*/ 488632 w 2370773"/>
                <a:gd name="connsiteY2934" fmla="*/ 0 h 1940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Lst>
              <a:rect l="l" t="t" r="r" b="b"/>
              <a:pathLst>
                <a:path w="2370773" h="1940242">
                  <a:moveTo>
                    <a:pt x="1386840" y="1929765"/>
                  </a:moveTo>
                  <a:cubicBezTo>
                    <a:pt x="1387892" y="1929765"/>
                    <a:pt x="1388745" y="1930618"/>
                    <a:pt x="1388745" y="1931670"/>
                  </a:cubicBezTo>
                  <a:cubicBezTo>
                    <a:pt x="1388745" y="1932722"/>
                    <a:pt x="1387892" y="1933575"/>
                    <a:pt x="1386840" y="1933575"/>
                  </a:cubicBezTo>
                  <a:cubicBezTo>
                    <a:pt x="1385788" y="1933575"/>
                    <a:pt x="1384935" y="1932722"/>
                    <a:pt x="1384935" y="1931670"/>
                  </a:cubicBezTo>
                  <a:cubicBezTo>
                    <a:pt x="1384935" y="1930618"/>
                    <a:pt x="1385788" y="1929765"/>
                    <a:pt x="1386840" y="1929765"/>
                  </a:cubicBezTo>
                  <a:close/>
                  <a:moveTo>
                    <a:pt x="860107" y="1929765"/>
                  </a:moveTo>
                  <a:cubicBezTo>
                    <a:pt x="861060" y="1929765"/>
                    <a:pt x="862012" y="1930717"/>
                    <a:pt x="862012" y="1931670"/>
                  </a:cubicBezTo>
                  <a:cubicBezTo>
                    <a:pt x="862012" y="1932622"/>
                    <a:pt x="861060" y="1933575"/>
                    <a:pt x="860107" y="1933575"/>
                  </a:cubicBezTo>
                  <a:cubicBezTo>
                    <a:pt x="859154" y="1933575"/>
                    <a:pt x="858202" y="1932622"/>
                    <a:pt x="858202" y="1931670"/>
                  </a:cubicBezTo>
                  <a:cubicBezTo>
                    <a:pt x="858202" y="1930717"/>
                    <a:pt x="859154" y="1929765"/>
                    <a:pt x="860107" y="1929765"/>
                  </a:cubicBezTo>
                  <a:close/>
                  <a:moveTo>
                    <a:pt x="1329690" y="1926907"/>
                  </a:moveTo>
                  <a:cubicBezTo>
                    <a:pt x="1333500" y="1926907"/>
                    <a:pt x="1336357" y="1929765"/>
                    <a:pt x="1336357" y="1933574"/>
                  </a:cubicBezTo>
                  <a:cubicBezTo>
                    <a:pt x="1336357" y="1937384"/>
                    <a:pt x="1333500" y="1940242"/>
                    <a:pt x="1329690" y="1940242"/>
                  </a:cubicBezTo>
                  <a:cubicBezTo>
                    <a:pt x="1325880" y="1940242"/>
                    <a:pt x="1323022" y="1937384"/>
                    <a:pt x="1323022" y="1933574"/>
                  </a:cubicBezTo>
                  <a:cubicBezTo>
                    <a:pt x="1323022" y="1929765"/>
                    <a:pt x="1325880" y="1926907"/>
                    <a:pt x="1329690" y="1926907"/>
                  </a:cubicBezTo>
                  <a:close/>
                  <a:moveTo>
                    <a:pt x="1271588" y="1926907"/>
                  </a:moveTo>
                  <a:cubicBezTo>
                    <a:pt x="1275270" y="1926907"/>
                    <a:pt x="1278255" y="1929892"/>
                    <a:pt x="1278255" y="1933575"/>
                  </a:cubicBezTo>
                  <a:cubicBezTo>
                    <a:pt x="1278255" y="1937257"/>
                    <a:pt x="1275270" y="1940242"/>
                    <a:pt x="1271588" y="1940242"/>
                  </a:cubicBezTo>
                  <a:cubicBezTo>
                    <a:pt x="1267905" y="1940242"/>
                    <a:pt x="1264920" y="1937257"/>
                    <a:pt x="1264920" y="1933575"/>
                  </a:cubicBezTo>
                  <a:cubicBezTo>
                    <a:pt x="1264920" y="1929892"/>
                    <a:pt x="1267905" y="1926907"/>
                    <a:pt x="1271588" y="1926907"/>
                  </a:cubicBezTo>
                  <a:close/>
                  <a:moveTo>
                    <a:pt x="1214437" y="1925002"/>
                  </a:moveTo>
                  <a:cubicBezTo>
                    <a:pt x="1217295" y="1925002"/>
                    <a:pt x="1220152" y="1927859"/>
                    <a:pt x="1220152" y="1930717"/>
                  </a:cubicBezTo>
                  <a:cubicBezTo>
                    <a:pt x="1220152" y="1933574"/>
                    <a:pt x="1217295" y="1936432"/>
                    <a:pt x="1214437" y="1936432"/>
                  </a:cubicBezTo>
                  <a:cubicBezTo>
                    <a:pt x="1211580" y="1936432"/>
                    <a:pt x="1208722" y="1934527"/>
                    <a:pt x="1208722" y="1930717"/>
                  </a:cubicBezTo>
                  <a:cubicBezTo>
                    <a:pt x="1208722" y="1927859"/>
                    <a:pt x="1211580" y="1925002"/>
                    <a:pt x="1214437" y="1925002"/>
                  </a:cubicBezTo>
                  <a:close/>
                  <a:moveTo>
                    <a:pt x="1156335" y="1920240"/>
                  </a:moveTo>
                  <a:cubicBezTo>
                    <a:pt x="1159192" y="1920240"/>
                    <a:pt x="1162050" y="1923097"/>
                    <a:pt x="1162050" y="1925955"/>
                  </a:cubicBezTo>
                  <a:cubicBezTo>
                    <a:pt x="1162050" y="1928812"/>
                    <a:pt x="1159192" y="1931670"/>
                    <a:pt x="1156335" y="1931670"/>
                  </a:cubicBezTo>
                  <a:cubicBezTo>
                    <a:pt x="1153478" y="1931670"/>
                    <a:pt x="1151572" y="1929765"/>
                    <a:pt x="1150620" y="1925955"/>
                  </a:cubicBezTo>
                  <a:cubicBezTo>
                    <a:pt x="1150620" y="1923097"/>
                    <a:pt x="1153478" y="1920240"/>
                    <a:pt x="1156335" y="1920240"/>
                  </a:cubicBezTo>
                  <a:close/>
                  <a:moveTo>
                    <a:pt x="1099185" y="1914525"/>
                  </a:moveTo>
                  <a:cubicBezTo>
                    <a:pt x="1102042" y="1914525"/>
                    <a:pt x="1104900" y="1917383"/>
                    <a:pt x="1104900" y="1920240"/>
                  </a:cubicBezTo>
                  <a:cubicBezTo>
                    <a:pt x="1104900" y="1923097"/>
                    <a:pt x="1102042" y="1925955"/>
                    <a:pt x="1099185" y="1925955"/>
                  </a:cubicBezTo>
                  <a:cubicBezTo>
                    <a:pt x="1096327" y="1925955"/>
                    <a:pt x="1093470" y="1923097"/>
                    <a:pt x="1093470" y="1920240"/>
                  </a:cubicBezTo>
                  <a:cubicBezTo>
                    <a:pt x="1093470" y="1917383"/>
                    <a:pt x="1096327" y="1914525"/>
                    <a:pt x="1099185" y="1914525"/>
                  </a:cubicBezTo>
                  <a:close/>
                  <a:moveTo>
                    <a:pt x="1042988" y="1903095"/>
                  </a:moveTo>
                  <a:cubicBezTo>
                    <a:pt x="1046798" y="1903095"/>
                    <a:pt x="1050608" y="1906905"/>
                    <a:pt x="1050608" y="1910715"/>
                  </a:cubicBezTo>
                  <a:cubicBezTo>
                    <a:pt x="1050608" y="1914525"/>
                    <a:pt x="1046798" y="1918335"/>
                    <a:pt x="1042988" y="1918335"/>
                  </a:cubicBezTo>
                  <a:cubicBezTo>
                    <a:pt x="1038225" y="1918335"/>
                    <a:pt x="1034415" y="1914525"/>
                    <a:pt x="1035368" y="1910715"/>
                  </a:cubicBezTo>
                  <a:cubicBezTo>
                    <a:pt x="1035368" y="1906905"/>
                    <a:pt x="1039178" y="1903095"/>
                    <a:pt x="1042988" y="1903095"/>
                  </a:cubicBezTo>
                  <a:close/>
                  <a:moveTo>
                    <a:pt x="985837" y="1887854"/>
                  </a:moveTo>
                  <a:cubicBezTo>
                    <a:pt x="991552" y="1887854"/>
                    <a:pt x="996315" y="1892617"/>
                    <a:pt x="996315" y="1898332"/>
                  </a:cubicBezTo>
                  <a:cubicBezTo>
                    <a:pt x="996315" y="1904046"/>
                    <a:pt x="991552" y="1908809"/>
                    <a:pt x="985837" y="1908809"/>
                  </a:cubicBezTo>
                  <a:cubicBezTo>
                    <a:pt x="980123" y="1908809"/>
                    <a:pt x="975360" y="1904046"/>
                    <a:pt x="975360" y="1898332"/>
                  </a:cubicBezTo>
                  <a:cubicBezTo>
                    <a:pt x="975360" y="1892617"/>
                    <a:pt x="980123" y="1887854"/>
                    <a:pt x="985837" y="1887854"/>
                  </a:cubicBezTo>
                  <a:close/>
                  <a:moveTo>
                    <a:pt x="930593" y="1878329"/>
                  </a:moveTo>
                  <a:cubicBezTo>
                    <a:pt x="934403" y="1878329"/>
                    <a:pt x="937260" y="1881187"/>
                    <a:pt x="937260" y="1884996"/>
                  </a:cubicBezTo>
                  <a:cubicBezTo>
                    <a:pt x="937260" y="1888807"/>
                    <a:pt x="934403" y="1891664"/>
                    <a:pt x="930593" y="1891664"/>
                  </a:cubicBezTo>
                  <a:cubicBezTo>
                    <a:pt x="926783" y="1891664"/>
                    <a:pt x="922973" y="1888807"/>
                    <a:pt x="923925" y="1884996"/>
                  </a:cubicBezTo>
                  <a:cubicBezTo>
                    <a:pt x="923925" y="1881187"/>
                    <a:pt x="926783" y="1878329"/>
                    <a:pt x="930593" y="1878329"/>
                  </a:cubicBezTo>
                  <a:close/>
                  <a:moveTo>
                    <a:pt x="1725930" y="1867852"/>
                  </a:moveTo>
                  <a:cubicBezTo>
                    <a:pt x="1725930" y="1867852"/>
                    <a:pt x="1726883" y="1867852"/>
                    <a:pt x="1726883" y="1868804"/>
                  </a:cubicBezTo>
                  <a:cubicBezTo>
                    <a:pt x="1726883" y="1868804"/>
                    <a:pt x="1726883" y="1869757"/>
                    <a:pt x="1725930" y="1869757"/>
                  </a:cubicBezTo>
                  <a:cubicBezTo>
                    <a:pt x="1725930" y="1869757"/>
                    <a:pt x="1724978" y="1868804"/>
                    <a:pt x="1724978" y="1868804"/>
                  </a:cubicBezTo>
                  <a:cubicBezTo>
                    <a:pt x="1724978" y="1868804"/>
                    <a:pt x="1724978" y="1867852"/>
                    <a:pt x="1725930" y="1867852"/>
                  </a:cubicBezTo>
                  <a:close/>
                  <a:moveTo>
                    <a:pt x="699135" y="1867852"/>
                  </a:moveTo>
                  <a:cubicBezTo>
                    <a:pt x="700088" y="1867852"/>
                    <a:pt x="701040" y="1868804"/>
                    <a:pt x="701040" y="1869757"/>
                  </a:cubicBezTo>
                  <a:cubicBezTo>
                    <a:pt x="701040" y="1870709"/>
                    <a:pt x="700088" y="1871662"/>
                    <a:pt x="699135" y="1871662"/>
                  </a:cubicBezTo>
                  <a:cubicBezTo>
                    <a:pt x="698183" y="1871662"/>
                    <a:pt x="697230" y="1870709"/>
                    <a:pt x="697230" y="1869757"/>
                  </a:cubicBezTo>
                  <a:cubicBezTo>
                    <a:pt x="697230" y="1868804"/>
                    <a:pt x="698183" y="1867852"/>
                    <a:pt x="699135" y="1867852"/>
                  </a:cubicBezTo>
                  <a:close/>
                  <a:moveTo>
                    <a:pt x="1285875" y="1851659"/>
                  </a:moveTo>
                  <a:cubicBezTo>
                    <a:pt x="1295400" y="1851659"/>
                    <a:pt x="1303973" y="1860232"/>
                    <a:pt x="1303973" y="1869757"/>
                  </a:cubicBezTo>
                  <a:cubicBezTo>
                    <a:pt x="1303973" y="1879282"/>
                    <a:pt x="1296353" y="1887854"/>
                    <a:pt x="1285875" y="1887854"/>
                  </a:cubicBezTo>
                  <a:cubicBezTo>
                    <a:pt x="1276350" y="1887854"/>
                    <a:pt x="1267778" y="1879282"/>
                    <a:pt x="1267778" y="1869757"/>
                  </a:cubicBezTo>
                  <a:cubicBezTo>
                    <a:pt x="1267778" y="1860232"/>
                    <a:pt x="1275398" y="1851659"/>
                    <a:pt x="1285875" y="1851659"/>
                  </a:cubicBezTo>
                  <a:close/>
                  <a:moveTo>
                    <a:pt x="1343978" y="1850707"/>
                  </a:moveTo>
                  <a:cubicBezTo>
                    <a:pt x="1353503" y="1850707"/>
                    <a:pt x="1362075" y="1858327"/>
                    <a:pt x="1362075" y="1868804"/>
                  </a:cubicBezTo>
                  <a:cubicBezTo>
                    <a:pt x="1362075" y="1878329"/>
                    <a:pt x="1354455" y="1886902"/>
                    <a:pt x="1343978" y="1886902"/>
                  </a:cubicBezTo>
                  <a:cubicBezTo>
                    <a:pt x="1333500" y="1886902"/>
                    <a:pt x="1325880" y="1879282"/>
                    <a:pt x="1325880" y="1868804"/>
                  </a:cubicBezTo>
                  <a:cubicBezTo>
                    <a:pt x="1325880" y="1859279"/>
                    <a:pt x="1333500" y="1850707"/>
                    <a:pt x="1343978" y="1850707"/>
                  </a:cubicBezTo>
                  <a:close/>
                  <a:moveTo>
                    <a:pt x="1401128" y="1847850"/>
                  </a:moveTo>
                  <a:cubicBezTo>
                    <a:pt x="1411605" y="1847850"/>
                    <a:pt x="1420178" y="1856422"/>
                    <a:pt x="1420178" y="1866900"/>
                  </a:cubicBezTo>
                  <a:cubicBezTo>
                    <a:pt x="1420178" y="1877378"/>
                    <a:pt x="1411605" y="1885950"/>
                    <a:pt x="1401128" y="1885950"/>
                  </a:cubicBezTo>
                  <a:cubicBezTo>
                    <a:pt x="1390650" y="1885950"/>
                    <a:pt x="1382078" y="1876425"/>
                    <a:pt x="1382078" y="1866900"/>
                  </a:cubicBezTo>
                  <a:cubicBezTo>
                    <a:pt x="1382078" y="1856422"/>
                    <a:pt x="1390650" y="1847850"/>
                    <a:pt x="1401128" y="1847850"/>
                  </a:cubicBezTo>
                  <a:close/>
                  <a:moveTo>
                    <a:pt x="1228725" y="1847850"/>
                  </a:moveTo>
                  <a:cubicBezTo>
                    <a:pt x="1240155" y="1847850"/>
                    <a:pt x="1248727" y="1856422"/>
                    <a:pt x="1248727" y="1867853"/>
                  </a:cubicBezTo>
                  <a:cubicBezTo>
                    <a:pt x="1248727" y="1879283"/>
                    <a:pt x="1240155" y="1887855"/>
                    <a:pt x="1228725" y="1887855"/>
                  </a:cubicBezTo>
                  <a:cubicBezTo>
                    <a:pt x="1217295" y="1887855"/>
                    <a:pt x="1208722" y="1879283"/>
                    <a:pt x="1208722" y="1867853"/>
                  </a:cubicBezTo>
                  <a:cubicBezTo>
                    <a:pt x="1208722" y="1856422"/>
                    <a:pt x="1217295" y="1847850"/>
                    <a:pt x="1228725" y="1847850"/>
                  </a:cubicBezTo>
                  <a:close/>
                  <a:moveTo>
                    <a:pt x="874395" y="1846897"/>
                  </a:moveTo>
                  <a:cubicBezTo>
                    <a:pt x="886495" y="1846897"/>
                    <a:pt x="896303" y="1856705"/>
                    <a:pt x="896303" y="1868804"/>
                  </a:cubicBezTo>
                  <a:cubicBezTo>
                    <a:pt x="896303" y="1880904"/>
                    <a:pt x="886495" y="1890712"/>
                    <a:pt x="874395" y="1890712"/>
                  </a:cubicBezTo>
                  <a:cubicBezTo>
                    <a:pt x="862296" y="1890712"/>
                    <a:pt x="852488" y="1880904"/>
                    <a:pt x="852488" y="1868804"/>
                  </a:cubicBezTo>
                  <a:cubicBezTo>
                    <a:pt x="852488" y="1856705"/>
                    <a:pt x="862296" y="1846897"/>
                    <a:pt x="874395" y="1846897"/>
                  </a:cubicBezTo>
                  <a:close/>
                  <a:moveTo>
                    <a:pt x="1170622" y="1843087"/>
                  </a:moveTo>
                  <a:cubicBezTo>
                    <a:pt x="1182052" y="1843087"/>
                    <a:pt x="1191577" y="1852612"/>
                    <a:pt x="1191577" y="1864042"/>
                  </a:cubicBezTo>
                  <a:cubicBezTo>
                    <a:pt x="1191577" y="1875472"/>
                    <a:pt x="1182052" y="1884997"/>
                    <a:pt x="1170622" y="1884997"/>
                  </a:cubicBezTo>
                  <a:cubicBezTo>
                    <a:pt x="1159192" y="1884997"/>
                    <a:pt x="1149667" y="1875472"/>
                    <a:pt x="1149667" y="1864042"/>
                  </a:cubicBezTo>
                  <a:cubicBezTo>
                    <a:pt x="1149667" y="1852612"/>
                    <a:pt x="1159192" y="1843087"/>
                    <a:pt x="1170622" y="1843087"/>
                  </a:cubicBezTo>
                  <a:close/>
                  <a:moveTo>
                    <a:pt x="646747" y="1843087"/>
                  </a:moveTo>
                  <a:cubicBezTo>
                    <a:pt x="647700" y="1843087"/>
                    <a:pt x="648652" y="1844040"/>
                    <a:pt x="648652" y="1844992"/>
                  </a:cubicBezTo>
                  <a:cubicBezTo>
                    <a:pt x="648652" y="1845945"/>
                    <a:pt x="647700" y="1846897"/>
                    <a:pt x="646747" y="1846897"/>
                  </a:cubicBezTo>
                  <a:cubicBezTo>
                    <a:pt x="645795" y="1846897"/>
                    <a:pt x="644842" y="1846897"/>
                    <a:pt x="644842" y="1844992"/>
                  </a:cubicBezTo>
                  <a:cubicBezTo>
                    <a:pt x="644842" y="1844040"/>
                    <a:pt x="645795" y="1843087"/>
                    <a:pt x="646747" y="1843087"/>
                  </a:cubicBezTo>
                  <a:close/>
                  <a:moveTo>
                    <a:pt x="1459230" y="1841182"/>
                  </a:moveTo>
                  <a:cubicBezTo>
                    <a:pt x="1469708" y="1841182"/>
                    <a:pt x="1478280" y="1849754"/>
                    <a:pt x="1478280" y="1860232"/>
                  </a:cubicBezTo>
                  <a:cubicBezTo>
                    <a:pt x="1478280" y="1870709"/>
                    <a:pt x="1469708" y="1879282"/>
                    <a:pt x="1459230" y="1879282"/>
                  </a:cubicBezTo>
                  <a:cubicBezTo>
                    <a:pt x="1447800" y="1879282"/>
                    <a:pt x="1440180" y="1870709"/>
                    <a:pt x="1440180" y="1860232"/>
                  </a:cubicBezTo>
                  <a:cubicBezTo>
                    <a:pt x="1440180" y="1849754"/>
                    <a:pt x="1448753" y="1841182"/>
                    <a:pt x="1459230" y="1841182"/>
                  </a:cubicBezTo>
                  <a:close/>
                  <a:moveTo>
                    <a:pt x="1515428" y="1837372"/>
                  </a:moveTo>
                  <a:cubicBezTo>
                    <a:pt x="1524001" y="1837372"/>
                    <a:pt x="1530668" y="1844040"/>
                    <a:pt x="1530668" y="1852612"/>
                  </a:cubicBezTo>
                  <a:cubicBezTo>
                    <a:pt x="1530668" y="1861185"/>
                    <a:pt x="1524001" y="1867852"/>
                    <a:pt x="1515428" y="1867852"/>
                  </a:cubicBezTo>
                  <a:cubicBezTo>
                    <a:pt x="1507808" y="1867852"/>
                    <a:pt x="1500188" y="1861185"/>
                    <a:pt x="1500188" y="1852612"/>
                  </a:cubicBezTo>
                  <a:cubicBezTo>
                    <a:pt x="1500188" y="1844040"/>
                    <a:pt x="1506855" y="1837372"/>
                    <a:pt x="1515428" y="1837372"/>
                  </a:cubicBezTo>
                  <a:close/>
                  <a:moveTo>
                    <a:pt x="1113472" y="1837372"/>
                  </a:moveTo>
                  <a:cubicBezTo>
                    <a:pt x="1123950" y="1837372"/>
                    <a:pt x="1133475" y="1845945"/>
                    <a:pt x="1133475" y="1857375"/>
                  </a:cubicBezTo>
                  <a:cubicBezTo>
                    <a:pt x="1133475" y="1867852"/>
                    <a:pt x="1124902" y="1877377"/>
                    <a:pt x="1113472" y="1877377"/>
                  </a:cubicBezTo>
                  <a:cubicBezTo>
                    <a:pt x="1102995" y="1877377"/>
                    <a:pt x="1093470" y="1867852"/>
                    <a:pt x="1093470" y="1857375"/>
                  </a:cubicBezTo>
                  <a:cubicBezTo>
                    <a:pt x="1093470" y="1846897"/>
                    <a:pt x="1102042" y="1837372"/>
                    <a:pt x="1113472" y="1837372"/>
                  </a:cubicBezTo>
                  <a:close/>
                  <a:moveTo>
                    <a:pt x="820103" y="1832609"/>
                  </a:moveTo>
                  <a:cubicBezTo>
                    <a:pt x="829628" y="1832609"/>
                    <a:pt x="837248" y="1840229"/>
                    <a:pt x="837248" y="1849754"/>
                  </a:cubicBezTo>
                  <a:cubicBezTo>
                    <a:pt x="837248" y="1859279"/>
                    <a:pt x="829628" y="1866899"/>
                    <a:pt x="820103" y="1866899"/>
                  </a:cubicBezTo>
                  <a:cubicBezTo>
                    <a:pt x="810578" y="1866899"/>
                    <a:pt x="802958" y="1859279"/>
                    <a:pt x="802958" y="1849754"/>
                  </a:cubicBezTo>
                  <a:cubicBezTo>
                    <a:pt x="802958" y="1840229"/>
                    <a:pt x="810578" y="1832609"/>
                    <a:pt x="820103" y="1832609"/>
                  </a:cubicBezTo>
                  <a:close/>
                  <a:moveTo>
                    <a:pt x="1572578" y="1831657"/>
                  </a:moveTo>
                  <a:cubicBezTo>
                    <a:pt x="1578292" y="1831657"/>
                    <a:pt x="1583055" y="1836420"/>
                    <a:pt x="1583055" y="1842134"/>
                  </a:cubicBezTo>
                  <a:cubicBezTo>
                    <a:pt x="1583055" y="1847849"/>
                    <a:pt x="1578292" y="1852612"/>
                    <a:pt x="1572578" y="1852612"/>
                  </a:cubicBezTo>
                  <a:cubicBezTo>
                    <a:pt x="1566863" y="1852612"/>
                    <a:pt x="1562100" y="1847849"/>
                    <a:pt x="1562100" y="1842134"/>
                  </a:cubicBezTo>
                  <a:cubicBezTo>
                    <a:pt x="1562100" y="1836420"/>
                    <a:pt x="1566863" y="1831657"/>
                    <a:pt x="1572578" y="1831657"/>
                  </a:cubicBezTo>
                  <a:close/>
                  <a:moveTo>
                    <a:pt x="1057275" y="1826895"/>
                  </a:moveTo>
                  <a:cubicBezTo>
                    <a:pt x="1068705" y="1826895"/>
                    <a:pt x="1077278" y="1836420"/>
                    <a:pt x="1077278" y="1846897"/>
                  </a:cubicBezTo>
                  <a:cubicBezTo>
                    <a:pt x="1077278" y="1858328"/>
                    <a:pt x="1067753" y="1866900"/>
                    <a:pt x="1057275" y="1866900"/>
                  </a:cubicBezTo>
                  <a:cubicBezTo>
                    <a:pt x="1045846" y="1866900"/>
                    <a:pt x="1037273" y="1858328"/>
                    <a:pt x="1037273" y="1846897"/>
                  </a:cubicBezTo>
                  <a:cubicBezTo>
                    <a:pt x="1037273" y="1835467"/>
                    <a:pt x="1046798" y="1826895"/>
                    <a:pt x="1057275" y="1826895"/>
                  </a:cubicBezTo>
                  <a:close/>
                  <a:moveTo>
                    <a:pt x="1628775" y="1823084"/>
                  </a:moveTo>
                  <a:cubicBezTo>
                    <a:pt x="1632585" y="1823084"/>
                    <a:pt x="1634490" y="1825942"/>
                    <a:pt x="1634490" y="1828799"/>
                  </a:cubicBezTo>
                  <a:cubicBezTo>
                    <a:pt x="1634490" y="1831657"/>
                    <a:pt x="1631633" y="1834514"/>
                    <a:pt x="1628775" y="1834514"/>
                  </a:cubicBezTo>
                  <a:cubicBezTo>
                    <a:pt x="1625918" y="1834514"/>
                    <a:pt x="1623060" y="1832609"/>
                    <a:pt x="1623060" y="1828799"/>
                  </a:cubicBezTo>
                  <a:cubicBezTo>
                    <a:pt x="1623060" y="1825942"/>
                    <a:pt x="1625918" y="1823084"/>
                    <a:pt x="1628775" y="1823084"/>
                  </a:cubicBezTo>
                  <a:close/>
                  <a:moveTo>
                    <a:pt x="766763" y="1820227"/>
                  </a:moveTo>
                  <a:cubicBezTo>
                    <a:pt x="771525" y="1820227"/>
                    <a:pt x="775335" y="1824037"/>
                    <a:pt x="775335" y="1828799"/>
                  </a:cubicBezTo>
                  <a:cubicBezTo>
                    <a:pt x="775335" y="1833562"/>
                    <a:pt x="771525" y="1837372"/>
                    <a:pt x="766763" y="1837372"/>
                  </a:cubicBezTo>
                  <a:cubicBezTo>
                    <a:pt x="762000" y="1837372"/>
                    <a:pt x="758190" y="1833562"/>
                    <a:pt x="758190" y="1828799"/>
                  </a:cubicBezTo>
                  <a:cubicBezTo>
                    <a:pt x="758190" y="1824037"/>
                    <a:pt x="762000" y="1820227"/>
                    <a:pt x="766763" y="1820227"/>
                  </a:cubicBezTo>
                  <a:close/>
                  <a:moveTo>
                    <a:pt x="1684020" y="1813559"/>
                  </a:moveTo>
                  <a:cubicBezTo>
                    <a:pt x="1684020" y="1813559"/>
                    <a:pt x="1684972" y="1813559"/>
                    <a:pt x="1684972" y="1814512"/>
                  </a:cubicBezTo>
                  <a:cubicBezTo>
                    <a:pt x="1684972" y="1814512"/>
                    <a:pt x="1684972" y="1815464"/>
                    <a:pt x="1684020" y="1815464"/>
                  </a:cubicBezTo>
                  <a:cubicBezTo>
                    <a:pt x="1684020" y="1815464"/>
                    <a:pt x="1683067" y="1814512"/>
                    <a:pt x="1683067" y="1814512"/>
                  </a:cubicBezTo>
                  <a:cubicBezTo>
                    <a:pt x="1683067" y="1814512"/>
                    <a:pt x="1683067" y="1813559"/>
                    <a:pt x="1684020" y="1813559"/>
                  </a:cubicBezTo>
                  <a:close/>
                  <a:moveTo>
                    <a:pt x="1000125" y="1813559"/>
                  </a:moveTo>
                  <a:cubicBezTo>
                    <a:pt x="1012507" y="1813559"/>
                    <a:pt x="1022032" y="1823084"/>
                    <a:pt x="1022032" y="1835467"/>
                  </a:cubicBezTo>
                  <a:cubicBezTo>
                    <a:pt x="1022032" y="1847849"/>
                    <a:pt x="1012507" y="1857374"/>
                    <a:pt x="1000125" y="1857374"/>
                  </a:cubicBezTo>
                  <a:cubicBezTo>
                    <a:pt x="988695" y="1857374"/>
                    <a:pt x="978217" y="1847849"/>
                    <a:pt x="978217" y="1835467"/>
                  </a:cubicBezTo>
                  <a:cubicBezTo>
                    <a:pt x="978217" y="1823084"/>
                    <a:pt x="987742" y="1813559"/>
                    <a:pt x="1000125" y="1813559"/>
                  </a:cubicBezTo>
                  <a:close/>
                  <a:moveTo>
                    <a:pt x="944880" y="1799272"/>
                  </a:moveTo>
                  <a:cubicBezTo>
                    <a:pt x="957263" y="1799272"/>
                    <a:pt x="966788" y="1808797"/>
                    <a:pt x="966788" y="1821180"/>
                  </a:cubicBezTo>
                  <a:cubicBezTo>
                    <a:pt x="966788" y="1833562"/>
                    <a:pt x="957263" y="1843087"/>
                    <a:pt x="944880" y="1843087"/>
                  </a:cubicBezTo>
                  <a:cubicBezTo>
                    <a:pt x="932498" y="1843087"/>
                    <a:pt x="922973" y="1833562"/>
                    <a:pt x="922973" y="1821180"/>
                  </a:cubicBezTo>
                  <a:cubicBezTo>
                    <a:pt x="922973" y="1808797"/>
                    <a:pt x="932498" y="1799272"/>
                    <a:pt x="944880" y="1799272"/>
                  </a:cubicBezTo>
                  <a:close/>
                  <a:moveTo>
                    <a:pt x="544829" y="1789747"/>
                  </a:moveTo>
                  <a:cubicBezTo>
                    <a:pt x="544829" y="1789747"/>
                    <a:pt x="545782" y="1789747"/>
                    <a:pt x="545782" y="1790700"/>
                  </a:cubicBezTo>
                  <a:cubicBezTo>
                    <a:pt x="545782" y="1790700"/>
                    <a:pt x="545782" y="1791652"/>
                    <a:pt x="544829" y="1791652"/>
                  </a:cubicBezTo>
                  <a:cubicBezTo>
                    <a:pt x="544829" y="1791652"/>
                    <a:pt x="543877" y="1791652"/>
                    <a:pt x="543877" y="1790700"/>
                  </a:cubicBezTo>
                  <a:cubicBezTo>
                    <a:pt x="543877" y="1790700"/>
                    <a:pt x="543877" y="1789747"/>
                    <a:pt x="544829" y="1789747"/>
                  </a:cubicBezTo>
                  <a:close/>
                  <a:moveTo>
                    <a:pt x="1243012" y="1787842"/>
                  </a:moveTo>
                  <a:cubicBezTo>
                    <a:pt x="1252537" y="1787842"/>
                    <a:pt x="1260157" y="1795462"/>
                    <a:pt x="1260157" y="1804987"/>
                  </a:cubicBezTo>
                  <a:cubicBezTo>
                    <a:pt x="1260157" y="1814512"/>
                    <a:pt x="1252537" y="1822132"/>
                    <a:pt x="1243012" y="1822132"/>
                  </a:cubicBezTo>
                  <a:cubicBezTo>
                    <a:pt x="1233487" y="1822132"/>
                    <a:pt x="1225867" y="1813559"/>
                    <a:pt x="1225867" y="1804987"/>
                  </a:cubicBezTo>
                  <a:cubicBezTo>
                    <a:pt x="1225867" y="1795462"/>
                    <a:pt x="1233487" y="1787842"/>
                    <a:pt x="1243012" y="1787842"/>
                  </a:cubicBezTo>
                  <a:close/>
                  <a:moveTo>
                    <a:pt x="1300163" y="1786890"/>
                  </a:moveTo>
                  <a:cubicBezTo>
                    <a:pt x="1310641" y="1786890"/>
                    <a:pt x="1319213" y="1795462"/>
                    <a:pt x="1319213" y="1805940"/>
                  </a:cubicBezTo>
                  <a:cubicBezTo>
                    <a:pt x="1319213" y="1816417"/>
                    <a:pt x="1310641" y="1824990"/>
                    <a:pt x="1300163" y="1824990"/>
                  </a:cubicBezTo>
                  <a:cubicBezTo>
                    <a:pt x="1289685" y="1824990"/>
                    <a:pt x="1281113" y="1816417"/>
                    <a:pt x="1281113" y="1805940"/>
                  </a:cubicBezTo>
                  <a:cubicBezTo>
                    <a:pt x="1281113" y="1795462"/>
                    <a:pt x="1289685" y="1786890"/>
                    <a:pt x="1300163" y="1786890"/>
                  </a:cubicBezTo>
                  <a:close/>
                  <a:moveTo>
                    <a:pt x="1739266" y="1785937"/>
                  </a:moveTo>
                  <a:cubicBezTo>
                    <a:pt x="1744980" y="1785937"/>
                    <a:pt x="1749743" y="1790700"/>
                    <a:pt x="1749743" y="1796415"/>
                  </a:cubicBezTo>
                  <a:cubicBezTo>
                    <a:pt x="1749743" y="1802129"/>
                    <a:pt x="1744980" y="1806892"/>
                    <a:pt x="1739266" y="1806892"/>
                  </a:cubicBezTo>
                  <a:cubicBezTo>
                    <a:pt x="1733551" y="1806892"/>
                    <a:pt x="1729741" y="1802129"/>
                    <a:pt x="1728788" y="1796415"/>
                  </a:cubicBezTo>
                  <a:cubicBezTo>
                    <a:pt x="1728788" y="1790700"/>
                    <a:pt x="1733551" y="1785937"/>
                    <a:pt x="1739266" y="1785937"/>
                  </a:cubicBezTo>
                  <a:close/>
                  <a:moveTo>
                    <a:pt x="1358265" y="1785937"/>
                  </a:moveTo>
                  <a:cubicBezTo>
                    <a:pt x="1368742" y="1785937"/>
                    <a:pt x="1377315" y="1794509"/>
                    <a:pt x="1377315" y="1804987"/>
                  </a:cubicBezTo>
                  <a:cubicBezTo>
                    <a:pt x="1377315" y="1815465"/>
                    <a:pt x="1368742" y="1824037"/>
                    <a:pt x="1358265" y="1824037"/>
                  </a:cubicBezTo>
                  <a:cubicBezTo>
                    <a:pt x="1347787" y="1824037"/>
                    <a:pt x="1339215" y="1815465"/>
                    <a:pt x="1339215" y="1804987"/>
                  </a:cubicBezTo>
                  <a:cubicBezTo>
                    <a:pt x="1339215" y="1794509"/>
                    <a:pt x="1347787" y="1785937"/>
                    <a:pt x="1358265" y="1785937"/>
                  </a:cubicBezTo>
                  <a:close/>
                  <a:moveTo>
                    <a:pt x="888683" y="1785937"/>
                  </a:moveTo>
                  <a:cubicBezTo>
                    <a:pt x="899160" y="1785937"/>
                    <a:pt x="908685" y="1794509"/>
                    <a:pt x="908685" y="1805940"/>
                  </a:cubicBezTo>
                  <a:cubicBezTo>
                    <a:pt x="908685" y="1816417"/>
                    <a:pt x="900113" y="1825942"/>
                    <a:pt x="888683" y="1825942"/>
                  </a:cubicBezTo>
                  <a:cubicBezTo>
                    <a:pt x="878205" y="1825942"/>
                    <a:pt x="868680" y="1816417"/>
                    <a:pt x="868680" y="1805940"/>
                  </a:cubicBezTo>
                  <a:cubicBezTo>
                    <a:pt x="868680" y="1795462"/>
                    <a:pt x="877253" y="1785937"/>
                    <a:pt x="888683" y="1785937"/>
                  </a:cubicBezTo>
                  <a:close/>
                  <a:moveTo>
                    <a:pt x="713423" y="1783079"/>
                  </a:moveTo>
                  <a:cubicBezTo>
                    <a:pt x="725805" y="1783079"/>
                    <a:pt x="736283" y="1793557"/>
                    <a:pt x="736283" y="1805939"/>
                  </a:cubicBezTo>
                  <a:cubicBezTo>
                    <a:pt x="736283" y="1818321"/>
                    <a:pt x="725805" y="1828799"/>
                    <a:pt x="713423" y="1828799"/>
                  </a:cubicBezTo>
                  <a:cubicBezTo>
                    <a:pt x="701040" y="1828799"/>
                    <a:pt x="690563" y="1819274"/>
                    <a:pt x="690563" y="1805939"/>
                  </a:cubicBezTo>
                  <a:cubicBezTo>
                    <a:pt x="690563" y="1793557"/>
                    <a:pt x="701040" y="1783079"/>
                    <a:pt x="713423" y="1783079"/>
                  </a:cubicBezTo>
                  <a:close/>
                  <a:moveTo>
                    <a:pt x="1415415" y="1782127"/>
                  </a:moveTo>
                  <a:cubicBezTo>
                    <a:pt x="1424940" y="1782127"/>
                    <a:pt x="1433512" y="1789747"/>
                    <a:pt x="1433512" y="1800224"/>
                  </a:cubicBezTo>
                  <a:cubicBezTo>
                    <a:pt x="1433512" y="1809749"/>
                    <a:pt x="1425892" y="1818322"/>
                    <a:pt x="1415415" y="1818322"/>
                  </a:cubicBezTo>
                  <a:cubicBezTo>
                    <a:pt x="1405890" y="1818322"/>
                    <a:pt x="1397317" y="1810702"/>
                    <a:pt x="1397317" y="1800224"/>
                  </a:cubicBezTo>
                  <a:cubicBezTo>
                    <a:pt x="1397317" y="1790699"/>
                    <a:pt x="1404937" y="1782127"/>
                    <a:pt x="1415415" y="1782127"/>
                  </a:cubicBezTo>
                  <a:close/>
                  <a:moveTo>
                    <a:pt x="1185863" y="1780222"/>
                  </a:moveTo>
                  <a:cubicBezTo>
                    <a:pt x="1197293" y="1780222"/>
                    <a:pt x="1205865" y="1789747"/>
                    <a:pt x="1205865" y="1800225"/>
                  </a:cubicBezTo>
                  <a:cubicBezTo>
                    <a:pt x="1205865" y="1811655"/>
                    <a:pt x="1196340" y="1820227"/>
                    <a:pt x="1185863" y="1820227"/>
                  </a:cubicBezTo>
                  <a:cubicBezTo>
                    <a:pt x="1174433" y="1820227"/>
                    <a:pt x="1165860" y="1811655"/>
                    <a:pt x="1165860" y="1800225"/>
                  </a:cubicBezTo>
                  <a:cubicBezTo>
                    <a:pt x="1165860" y="1788795"/>
                    <a:pt x="1175385" y="1780222"/>
                    <a:pt x="1185863" y="1780222"/>
                  </a:cubicBezTo>
                  <a:close/>
                  <a:moveTo>
                    <a:pt x="1472565" y="1776412"/>
                  </a:moveTo>
                  <a:cubicBezTo>
                    <a:pt x="1482090" y="1776412"/>
                    <a:pt x="1490662" y="1784032"/>
                    <a:pt x="1490662" y="1794509"/>
                  </a:cubicBezTo>
                  <a:cubicBezTo>
                    <a:pt x="1490662" y="1804034"/>
                    <a:pt x="1483042" y="1812607"/>
                    <a:pt x="1472565" y="1812607"/>
                  </a:cubicBezTo>
                  <a:cubicBezTo>
                    <a:pt x="1463040" y="1812607"/>
                    <a:pt x="1454467" y="1804034"/>
                    <a:pt x="1454467" y="1794509"/>
                  </a:cubicBezTo>
                  <a:cubicBezTo>
                    <a:pt x="1454467" y="1784984"/>
                    <a:pt x="1462087" y="1776412"/>
                    <a:pt x="1472565" y="1776412"/>
                  </a:cubicBezTo>
                  <a:close/>
                  <a:moveTo>
                    <a:pt x="1127760" y="1776412"/>
                  </a:moveTo>
                  <a:cubicBezTo>
                    <a:pt x="1137285" y="1776412"/>
                    <a:pt x="1144905" y="1784032"/>
                    <a:pt x="1144905" y="1793557"/>
                  </a:cubicBezTo>
                  <a:cubicBezTo>
                    <a:pt x="1144905" y="1803082"/>
                    <a:pt x="1137285" y="1810702"/>
                    <a:pt x="1127760" y="1810702"/>
                  </a:cubicBezTo>
                  <a:cubicBezTo>
                    <a:pt x="1119188" y="1810702"/>
                    <a:pt x="1111567" y="1803082"/>
                    <a:pt x="1110615" y="1793557"/>
                  </a:cubicBezTo>
                  <a:cubicBezTo>
                    <a:pt x="1110615" y="1784032"/>
                    <a:pt x="1118235" y="1776412"/>
                    <a:pt x="1127760" y="1776412"/>
                  </a:cubicBezTo>
                  <a:close/>
                  <a:moveTo>
                    <a:pt x="1529715" y="1769745"/>
                  </a:moveTo>
                  <a:cubicBezTo>
                    <a:pt x="1538288" y="1769745"/>
                    <a:pt x="1544955" y="1776412"/>
                    <a:pt x="1544955" y="1784985"/>
                  </a:cubicBezTo>
                  <a:cubicBezTo>
                    <a:pt x="1544955" y="1793558"/>
                    <a:pt x="1538288" y="1800225"/>
                    <a:pt x="1529715" y="1800225"/>
                  </a:cubicBezTo>
                  <a:cubicBezTo>
                    <a:pt x="1521142" y="1800225"/>
                    <a:pt x="1514475" y="1793558"/>
                    <a:pt x="1514475" y="1784985"/>
                  </a:cubicBezTo>
                  <a:cubicBezTo>
                    <a:pt x="1514475" y="1776412"/>
                    <a:pt x="1521142" y="1769745"/>
                    <a:pt x="1529715" y="1769745"/>
                  </a:cubicBezTo>
                  <a:close/>
                  <a:moveTo>
                    <a:pt x="834390" y="1766887"/>
                  </a:moveTo>
                  <a:cubicBezTo>
                    <a:pt x="844868" y="1766887"/>
                    <a:pt x="854393" y="1776412"/>
                    <a:pt x="854393" y="1786890"/>
                  </a:cubicBezTo>
                  <a:cubicBezTo>
                    <a:pt x="854393" y="1797367"/>
                    <a:pt x="845821" y="1806892"/>
                    <a:pt x="834390" y="1806892"/>
                  </a:cubicBezTo>
                  <a:cubicBezTo>
                    <a:pt x="822961" y="1806892"/>
                    <a:pt x="814388" y="1797367"/>
                    <a:pt x="814388" y="1786890"/>
                  </a:cubicBezTo>
                  <a:cubicBezTo>
                    <a:pt x="814388" y="1776412"/>
                    <a:pt x="823913" y="1766887"/>
                    <a:pt x="834390" y="1766887"/>
                  </a:cubicBezTo>
                  <a:close/>
                  <a:moveTo>
                    <a:pt x="1793558" y="1765934"/>
                  </a:moveTo>
                  <a:cubicBezTo>
                    <a:pt x="1799272" y="1765934"/>
                    <a:pt x="1804035" y="1770697"/>
                    <a:pt x="1804035" y="1776412"/>
                  </a:cubicBezTo>
                  <a:cubicBezTo>
                    <a:pt x="1804035" y="1782127"/>
                    <a:pt x="1799272" y="1786889"/>
                    <a:pt x="1793558" y="1786889"/>
                  </a:cubicBezTo>
                  <a:cubicBezTo>
                    <a:pt x="1787843" y="1786889"/>
                    <a:pt x="1783080" y="1782127"/>
                    <a:pt x="1783080" y="1776412"/>
                  </a:cubicBezTo>
                  <a:cubicBezTo>
                    <a:pt x="1783080" y="1770697"/>
                    <a:pt x="1787843" y="1765934"/>
                    <a:pt x="1793558" y="1765934"/>
                  </a:cubicBezTo>
                  <a:close/>
                  <a:moveTo>
                    <a:pt x="1071563" y="1764029"/>
                  </a:moveTo>
                  <a:cubicBezTo>
                    <a:pt x="1082993" y="1764029"/>
                    <a:pt x="1092518" y="1773554"/>
                    <a:pt x="1092518" y="1784984"/>
                  </a:cubicBezTo>
                  <a:cubicBezTo>
                    <a:pt x="1092518" y="1796414"/>
                    <a:pt x="1082993" y="1805939"/>
                    <a:pt x="1071563" y="1805939"/>
                  </a:cubicBezTo>
                  <a:cubicBezTo>
                    <a:pt x="1059180" y="1805939"/>
                    <a:pt x="1049655" y="1796414"/>
                    <a:pt x="1050608" y="1784984"/>
                  </a:cubicBezTo>
                  <a:cubicBezTo>
                    <a:pt x="1050608" y="1773554"/>
                    <a:pt x="1060133" y="1764029"/>
                    <a:pt x="1071563" y="1764029"/>
                  </a:cubicBezTo>
                  <a:close/>
                  <a:moveTo>
                    <a:pt x="661035" y="1762125"/>
                  </a:moveTo>
                  <a:cubicBezTo>
                    <a:pt x="671512" y="1762125"/>
                    <a:pt x="680085" y="1770697"/>
                    <a:pt x="680085" y="1781175"/>
                  </a:cubicBezTo>
                  <a:cubicBezTo>
                    <a:pt x="680085" y="1791653"/>
                    <a:pt x="671512" y="1800225"/>
                    <a:pt x="661035" y="1800225"/>
                  </a:cubicBezTo>
                  <a:cubicBezTo>
                    <a:pt x="651510" y="1800225"/>
                    <a:pt x="642937" y="1791653"/>
                    <a:pt x="641985" y="1781175"/>
                  </a:cubicBezTo>
                  <a:cubicBezTo>
                    <a:pt x="641985" y="1770697"/>
                    <a:pt x="650558" y="1762125"/>
                    <a:pt x="661035" y="1762125"/>
                  </a:cubicBezTo>
                  <a:close/>
                  <a:moveTo>
                    <a:pt x="1586865" y="1756409"/>
                  </a:moveTo>
                  <a:cubicBezTo>
                    <a:pt x="1596390" y="1756409"/>
                    <a:pt x="1604009" y="1764029"/>
                    <a:pt x="1604009" y="1773554"/>
                  </a:cubicBezTo>
                  <a:cubicBezTo>
                    <a:pt x="1604009" y="1783079"/>
                    <a:pt x="1596390" y="1790699"/>
                    <a:pt x="1586865" y="1790699"/>
                  </a:cubicBezTo>
                  <a:cubicBezTo>
                    <a:pt x="1577340" y="1790699"/>
                    <a:pt x="1568767" y="1783079"/>
                    <a:pt x="1569720" y="1773554"/>
                  </a:cubicBezTo>
                  <a:cubicBezTo>
                    <a:pt x="1569720" y="1764029"/>
                    <a:pt x="1577340" y="1756409"/>
                    <a:pt x="1586865" y="1756409"/>
                  </a:cubicBezTo>
                  <a:close/>
                  <a:moveTo>
                    <a:pt x="1846898" y="1751647"/>
                  </a:moveTo>
                  <a:cubicBezTo>
                    <a:pt x="1847850" y="1751647"/>
                    <a:pt x="1849755" y="1752600"/>
                    <a:pt x="1849755" y="1754505"/>
                  </a:cubicBezTo>
                  <a:cubicBezTo>
                    <a:pt x="1849755" y="1755457"/>
                    <a:pt x="1848803" y="1757362"/>
                    <a:pt x="1846898" y="1757362"/>
                  </a:cubicBezTo>
                  <a:cubicBezTo>
                    <a:pt x="1844993" y="1757362"/>
                    <a:pt x="1843088" y="1756410"/>
                    <a:pt x="1844040" y="1754505"/>
                  </a:cubicBezTo>
                  <a:cubicBezTo>
                    <a:pt x="1844040" y="1753552"/>
                    <a:pt x="1845945" y="1751647"/>
                    <a:pt x="1846898" y="1751647"/>
                  </a:cubicBezTo>
                  <a:close/>
                  <a:moveTo>
                    <a:pt x="1014413" y="1749742"/>
                  </a:moveTo>
                  <a:cubicBezTo>
                    <a:pt x="1027748" y="1749742"/>
                    <a:pt x="1038225" y="1760220"/>
                    <a:pt x="1038225" y="1773555"/>
                  </a:cubicBezTo>
                  <a:cubicBezTo>
                    <a:pt x="1038225" y="1786890"/>
                    <a:pt x="1027748" y="1797367"/>
                    <a:pt x="1014413" y="1797367"/>
                  </a:cubicBezTo>
                  <a:cubicBezTo>
                    <a:pt x="1001077" y="1797367"/>
                    <a:pt x="990600" y="1786890"/>
                    <a:pt x="990600" y="1773555"/>
                  </a:cubicBezTo>
                  <a:cubicBezTo>
                    <a:pt x="990600" y="1760220"/>
                    <a:pt x="1001077" y="1749742"/>
                    <a:pt x="1014413" y="1749742"/>
                  </a:cubicBezTo>
                  <a:close/>
                  <a:moveTo>
                    <a:pt x="610552" y="1746884"/>
                  </a:moveTo>
                  <a:cubicBezTo>
                    <a:pt x="613410" y="1746884"/>
                    <a:pt x="616267" y="1749742"/>
                    <a:pt x="616267" y="1753552"/>
                  </a:cubicBezTo>
                  <a:cubicBezTo>
                    <a:pt x="616267" y="1757362"/>
                    <a:pt x="614362" y="1760219"/>
                    <a:pt x="610552" y="1760219"/>
                  </a:cubicBezTo>
                  <a:cubicBezTo>
                    <a:pt x="606742" y="1760219"/>
                    <a:pt x="604837" y="1757362"/>
                    <a:pt x="603885" y="1753552"/>
                  </a:cubicBezTo>
                  <a:cubicBezTo>
                    <a:pt x="603885" y="1749742"/>
                    <a:pt x="606742" y="1746884"/>
                    <a:pt x="610552" y="1746884"/>
                  </a:cubicBezTo>
                  <a:close/>
                  <a:moveTo>
                    <a:pt x="781050" y="1744027"/>
                  </a:moveTo>
                  <a:cubicBezTo>
                    <a:pt x="793432" y="1744027"/>
                    <a:pt x="802957" y="1753552"/>
                    <a:pt x="802957" y="1765934"/>
                  </a:cubicBezTo>
                  <a:cubicBezTo>
                    <a:pt x="802957" y="1778317"/>
                    <a:pt x="793432" y="1787842"/>
                    <a:pt x="781050" y="1787842"/>
                  </a:cubicBezTo>
                  <a:cubicBezTo>
                    <a:pt x="768667" y="1787842"/>
                    <a:pt x="759142" y="1778317"/>
                    <a:pt x="759142" y="1765934"/>
                  </a:cubicBezTo>
                  <a:cubicBezTo>
                    <a:pt x="759142" y="1753552"/>
                    <a:pt x="768667" y="1744027"/>
                    <a:pt x="781050" y="1744027"/>
                  </a:cubicBezTo>
                  <a:close/>
                  <a:moveTo>
                    <a:pt x="1642111" y="1743075"/>
                  </a:moveTo>
                  <a:cubicBezTo>
                    <a:pt x="1651054" y="1743075"/>
                    <a:pt x="1658303" y="1750325"/>
                    <a:pt x="1658303" y="1759267"/>
                  </a:cubicBezTo>
                  <a:cubicBezTo>
                    <a:pt x="1658303" y="1768210"/>
                    <a:pt x="1651054" y="1775460"/>
                    <a:pt x="1642111" y="1775460"/>
                  </a:cubicBezTo>
                  <a:cubicBezTo>
                    <a:pt x="1633168" y="1775460"/>
                    <a:pt x="1625918" y="1768210"/>
                    <a:pt x="1625918" y="1759267"/>
                  </a:cubicBezTo>
                  <a:cubicBezTo>
                    <a:pt x="1625918" y="1750325"/>
                    <a:pt x="1633168" y="1743075"/>
                    <a:pt x="1642111" y="1743075"/>
                  </a:cubicBezTo>
                  <a:close/>
                  <a:moveTo>
                    <a:pt x="959168" y="1736407"/>
                  </a:moveTo>
                  <a:cubicBezTo>
                    <a:pt x="971550" y="1736407"/>
                    <a:pt x="982028" y="1746884"/>
                    <a:pt x="982028" y="1759267"/>
                  </a:cubicBezTo>
                  <a:cubicBezTo>
                    <a:pt x="982028" y="1771649"/>
                    <a:pt x="971550" y="1782127"/>
                    <a:pt x="959168" y="1782127"/>
                  </a:cubicBezTo>
                  <a:cubicBezTo>
                    <a:pt x="946785" y="1782127"/>
                    <a:pt x="936308" y="1771649"/>
                    <a:pt x="936308" y="1759267"/>
                  </a:cubicBezTo>
                  <a:cubicBezTo>
                    <a:pt x="936308" y="1746884"/>
                    <a:pt x="946785" y="1736407"/>
                    <a:pt x="959168" y="1736407"/>
                  </a:cubicBezTo>
                  <a:close/>
                  <a:moveTo>
                    <a:pt x="1697355" y="1726882"/>
                  </a:moveTo>
                  <a:cubicBezTo>
                    <a:pt x="1705928" y="1726882"/>
                    <a:pt x="1713548" y="1734502"/>
                    <a:pt x="1713548" y="1743074"/>
                  </a:cubicBezTo>
                  <a:cubicBezTo>
                    <a:pt x="1713548" y="1751647"/>
                    <a:pt x="1705928" y="1759267"/>
                    <a:pt x="1697355" y="1759267"/>
                  </a:cubicBezTo>
                  <a:cubicBezTo>
                    <a:pt x="1688783" y="1759267"/>
                    <a:pt x="1681163" y="1751647"/>
                    <a:pt x="1681163" y="1743074"/>
                  </a:cubicBezTo>
                  <a:cubicBezTo>
                    <a:pt x="1681163" y="1734502"/>
                    <a:pt x="1688783" y="1726882"/>
                    <a:pt x="1697355" y="1726882"/>
                  </a:cubicBezTo>
                  <a:close/>
                  <a:moveTo>
                    <a:pt x="1200150" y="1722120"/>
                  </a:moveTo>
                  <a:cubicBezTo>
                    <a:pt x="1208567" y="1722120"/>
                    <a:pt x="1215390" y="1728943"/>
                    <a:pt x="1215390" y="1737360"/>
                  </a:cubicBezTo>
                  <a:cubicBezTo>
                    <a:pt x="1215390" y="1745777"/>
                    <a:pt x="1208567" y="1752600"/>
                    <a:pt x="1200150" y="1752600"/>
                  </a:cubicBezTo>
                  <a:cubicBezTo>
                    <a:pt x="1191733" y="1752600"/>
                    <a:pt x="1184910" y="1745777"/>
                    <a:pt x="1184910" y="1737360"/>
                  </a:cubicBezTo>
                  <a:cubicBezTo>
                    <a:pt x="1184910" y="1728943"/>
                    <a:pt x="1191733" y="1722120"/>
                    <a:pt x="1200150" y="1722120"/>
                  </a:cubicBezTo>
                  <a:close/>
                  <a:moveTo>
                    <a:pt x="728663" y="1721167"/>
                  </a:moveTo>
                  <a:cubicBezTo>
                    <a:pt x="740093" y="1721167"/>
                    <a:pt x="749618" y="1730692"/>
                    <a:pt x="749618" y="1742122"/>
                  </a:cubicBezTo>
                  <a:cubicBezTo>
                    <a:pt x="749618" y="1753552"/>
                    <a:pt x="740093" y="1763077"/>
                    <a:pt x="728663" y="1763077"/>
                  </a:cubicBezTo>
                  <a:cubicBezTo>
                    <a:pt x="717233" y="1763077"/>
                    <a:pt x="707708" y="1753552"/>
                    <a:pt x="707708" y="1742122"/>
                  </a:cubicBezTo>
                  <a:cubicBezTo>
                    <a:pt x="707708" y="1730692"/>
                    <a:pt x="717233" y="1721167"/>
                    <a:pt x="728663" y="1721167"/>
                  </a:cubicBezTo>
                  <a:close/>
                  <a:moveTo>
                    <a:pt x="1899285" y="1720215"/>
                  </a:moveTo>
                  <a:cubicBezTo>
                    <a:pt x="1904048" y="1720215"/>
                    <a:pt x="1908810" y="1724978"/>
                    <a:pt x="1908810" y="1729740"/>
                  </a:cubicBezTo>
                  <a:cubicBezTo>
                    <a:pt x="1908810" y="1734503"/>
                    <a:pt x="1905000" y="1739265"/>
                    <a:pt x="1899285" y="1739265"/>
                  </a:cubicBezTo>
                  <a:cubicBezTo>
                    <a:pt x="1893570" y="1739265"/>
                    <a:pt x="1889760" y="1734503"/>
                    <a:pt x="1889760" y="1729740"/>
                  </a:cubicBezTo>
                  <a:cubicBezTo>
                    <a:pt x="1889760" y="1724978"/>
                    <a:pt x="1893570" y="1720215"/>
                    <a:pt x="1899285" y="1720215"/>
                  </a:cubicBezTo>
                  <a:close/>
                  <a:moveTo>
                    <a:pt x="903923" y="1720215"/>
                  </a:moveTo>
                  <a:cubicBezTo>
                    <a:pt x="916548" y="1720215"/>
                    <a:pt x="926783" y="1730450"/>
                    <a:pt x="926783" y="1743075"/>
                  </a:cubicBezTo>
                  <a:cubicBezTo>
                    <a:pt x="926783" y="1755700"/>
                    <a:pt x="916548" y="1765935"/>
                    <a:pt x="903923" y="1765935"/>
                  </a:cubicBezTo>
                  <a:cubicBezTo>
                    <a:pt x="891298" y="1765935"/>
                    <a:pt x="881063" y="1755700"/>
                    <a:pt x="881063" y="1743075"/>
                  </a:cubicBezTo>
                  <a:cubicBezTo>
                    <a:pt x="881063" y="1730450"/>
                    <a:pt x="891298" y="1720215"/>
                    <a:pt x="903923" y="1720215"/>
                  </a:cubicBezTo>
                  <a:close/>
                  <a:moveTo>
                    <a:pt x="1315403" y="1719262"/>
                  </a:moveTo>
                  <a:cubicBezTo>
                    <a:pt x="1327785" y="1719262"/>
                    <a:pt x="1337310" y="1728787"/>
                    <a:pt x="1337310" y="1741170"/>
                  </a:cubicBezTo>
                  <a:cubicBezTo>
                    <a:pt x="1337310" y="1753552"/>
                    <a:pt x="1327785" y="1763077"/>
                    <a:pt x="1315403" y="1763077"/>
                  </a:cubicBezTo>
                  <a:cubicBezTo>
                    <a:pt x="1303020" y="1763077"/>
                    <a:pt x="1293495" y="1753552"/>
                    <a:pt x="1293495" y="1741170"/>
                  </a:cubicBezTo>
                  <a:cubicBezTo>
                    <a:pt x="1293495" y="1728787"/>
                    <a:pt x="1303020" y="1719262"/>
                    <a:pt x="1315403" y="1719262"/>
                  </a:cubicBezTo>
                  <a:close/>
                  <a:moveTo>
                    <a:pt x="1257300" y="1719262"/>
                  </a:moveTo>
                  <a:cubicBezTo>
                    <a:pt x="1268730" y="1719262"/>
                    <a:pt x="1278255" y="1728787"/>
                    <a:pt x="1278255" y="1740217"/>
                  </a:cubicBezTo>
                  <a:cubicBezTo>
                    <a:pt x="1278255" y="1751647"/>
                    <a:pt x="1268730" y="1761172"/>
                    <a:pt x="1257300" y="1761172"/>
                  </a:cubicBezTo>
                  <a:cubicBezTo>
                    <a:pt x="1245870" y="1761172"/>
                    <a:pt x="1236345" y="1751647"/>
                    <a:pt x="1236345" y="1740217"/>
                  </a:cubicBezTo>
                  <a:cubicBezTo>
                    <a:pt x="1236345" y="1728787"/>
                    <a:pt x="1245870" y="1719262"/>
                    <a:pt x="1257300" y="1719262"/>
                  </a:cubicBezTo>
                  <a:close/>
                  <a:moveTo>
                    <a:pt x="1372553" y="1717357"/>
                  </a:moveTo>
                  <a:cubicBezTo>
                    <a:pt x="1384935" y="1717357"/>
                    <a:pt x="1394460" y="1726882"/>
                    <a:pt x="1394460" y="1739265"/>
                  </a:cubicBezTo>
                  <a:cubicBezTo>
                    <a:pt x="1394460" y="1751647"/>
                    <a:pt x="1384935" y="1761172"/>
                    <a:pt x="1372553" y="1761172"/>
                  </a:cubicBezTo>
                  <a:cubicBezTo>
                    <a:pt x="1360170" y="1761172"/>
                    <a:pt x="1350645" y="1751647"/>
                    <a:pt x="1350645" y="1739265"/>
                  </a:cubicBezTo>
                  <a:cubicBezTo>
                    <a:pt x="1350645" y="1726882"/>
                    <a:pt x="1360170" y="1717357"/>
                    <a:pt x="1372553" y="1717357"/>
                  </a:cubicBezTo>
                  <a:close/>
                  <a:moveTo>
                    <a:pt x="1429703" y="1714500"/>
                  </a:moveTo>
                  <a:cubicBezTo>
                    <a:pt x="1441133" y="1714500"/>
                    <a:pt x="1449705" y="1723072"/>
                    <a:pt x="1449705" y="1734503"/>
                  </a:cubicBezTo>
                  <a:cubicBezTo>
                    <a:pt x="1449705" y="1745933"/>
                    <a:pt x="1441133" y="1754505"/>
                    <a:pt x="1429703" y="1754505"/>
                  </a:cubicBezTo>
                  <a:cubicBezTo>
                    <a:pt x="1419225" y="1754505"/>
                    <a:pt x="1410653" y="1744980"/>
                    <a:pt x="1409700" y="1734503"/>
                  </a:cubicBezTo>
                  <a:cubicBezTo>
                    <a:pt x="1409700" y="1723072"/>
                    <a:pt x="1418272" y="1714500"/>
                    <a:pt x="1429703" y="1714500"/>
                  </a:cubicBezTo>
                  <a:close/>
                  <a:moveTo>
                    <a:pt x="1142047" y="1714500"/>
                  </a:moveTo>
                  <a:cubicBezTo>
                    <a:pt x="1151572" y="1714500"/>
                    <a:pt x="1159192" y="1722120"/>
                    <a:pt x="1159192" y="1731645"/>
                  </a:cubicBezTo>
                  <a:cubicBezTo>
                    <a:pt x="1159192" y="1741170"/>
                    <a:pt x="1151572" y="1748790"/>
                    <a:pt x="1142047" y="1748790"/>
                  </a:cubicBezTo>
                  <a:cubicBezTo>
                    <a:pt x="1132522" y="1748790"/>
                    <a:pt x="1124902" y="1741170"/>
                    <a:pt x="1124902" y="1731645"/>
                  </a:cubicBezTo>
                  <a:cubicBezTo>
                    <a:pt x="1124902" y="1722120"/>
                    <a:pt x="1132522" y="1714500"/>
                    <a:pt x="1142047" y="1714500"/>
                  </a:cubicBezTo>
                  <a:close/>
                  <a:moveTo>
                    <a:pt x="561022" y="1713547"/>
                  </a:moveTo>
                  <a:cubicBezTo>
                    <a:pt x="566737" y="1713547"/>
                    <a:pt x="572452" y="1718310"/>
                    <a:pt x="572452" y="1724977"/>
                  </a:cubicBezTo>
                  <a:cubicBezTo>
                    <a:pt x="572452" y="1730692"/>
                    <a:pt x="567690" y="1736407"/>
                    <a:pt x="561022" y="1736407"/>
                  </a:cubicBezTo>
                  <a:cubicBezTo>
                    <a:pt x="554355" y="1736407"/>
                    <a:pt x="548640" y="1731645"/>
                    <a:pt x="549592" y="1724977"/>
                  </a:cubicBezTo>
                  <a:cubicBezTo>
                    <a:pt x="549592" y="1719262"/>
                    <a:pt x="554355" y="1713547"/>
                    <a:pt x="561022" y="1713547"/>
                  </a:cubicBezTo>
                  <a:close/>
                  <a:moveTo>
                    <a:pt x="1751648" y="1708784"/>
                  </a:moveTo>
                  <a:cubicBezTo>
                    <a:pt x="1760221" y="1708784"/>
                    <a:pt x="1766888" y="1715452"/>
                    <a:pt x="1766888" y="1724024"/>
                  </a:cubicBezTo>
                  <a:cubicBezTo>
                    <a:pt x="1766888" y="1732597"/>
                    <a:pt x="1760221" y="1739264"/>
                    <a:pt x="1751648" y="1739264"/>
                  </a:cubicBezTo>
                  <a:cubicBezTo>
                    <a:pt x="1743075" y="1739264"/>
                    <a:pt x="1736408" y="1732597"/>
                    <a:pt x="1736408" y="1724024"/>
                  </a:cubicBezTo>
                  <a:cubicBezTo>
                    <a:pt x="1736408" y="1715452"/>
                    <a:pt x="1743075" y="1708784"/>
                    <a:pt x="1751648" y="1708784"/>
                  </a:cubicBezTo>
                  <a:close/>
                  <a:moveTo>
                    <a:pt x="1486853" y="1707832"/>
                  </a:moveTo>
                  <a:cubicBezTo>
                    <a:pt x="1497330" y="1707832"/>
                    <a:pt x="1505903" y="1716404"/>
                    <a:pt x="1505903" y="1726882"/>
                  </a:cubicBezTo>
                  <a:cubicBezTo>
                    <a:pt x="1505903" y="1737359"/>
                    <a:pt x="1497330" y="1745932"/>
                    <a:pt x="1486853" y="1745932"/>
                  </a:cubicBezTo>
                  <a:cubicBezTo>
                    <a:pt x="1477328" y="1745932"/>
                    <a:pt x="1468755" y="1737359"/>
                    <a:pt x="1467803" y="1726882"/>
                  </a:cubicBezTo>
                  <a:cubicBezTo>
                    <a:pt x="1467803" y="1716404"/>
                    <a:pt x="1476375" y="1707832"/>
                    <a:pt x="1486853" y="1707832"/>
                  </a:cubicBezTo>
                  <a:close/>
                  <a:moveTo>
                    <a:pt x="848677" y="1704975"/>
                  </a:moveTo>
                  <a:cubicBezTo>
                    <a:pt x="859154" y="1704975"/>
                    <a:pt x="867727" y="1713547"/>
                    <a:pt x="867727" y="1724025"/>
                  </a:cubicBezTo>
                  <a:cubicBezTo>
                    <a:pt x="867727" y="1734503"/>
                    <a:pt x="859154" y="1743075"/>
                    <a:pt x="848677" y="1743075"/>
                  </a:cubicBezTo>
                  <a:cubicBezTo>
                    <a:pt x="838200" y="1743075"/>
                    <a:pt x="829627" y="1734503"/>
                    <a:pt x="829627" y="1724025"/>
                  </a:cubicBezTo>
                  <a:cubicBezTo>
                    <a:pt x="829627" y="1713547"/>
                    <a:pt x="838200" y="1704975"/>
                    <a:pt x="848677" y="1704975"/>
                  </a:cubicBezTo>
                  <a:close/>
                  <a:moveTo>
                    <a:pt x="1085850" y="1702117"/>
                  </a:moveTo>
                  <a:cubicBezTo>
                    <a:pt x="1097280" y="1702117"/>
                    <a:pt x="1106805" y="1711642"/>
                    <a:pt x="1106805" y="1723072"/>
                  </a:cubicBezTo>
                  <a:cubicBezTo>
                    <a:pt x="1106805" y="1734502"/>
                    <a:pt x="1097280" y="1744027"/>
                    <a:pt x="1085850" y="1744027"/>
                  </a:cubicBezTo>
                  <a:cubicBezTo>
                    <a:pt x="1073467" y="1744027"/>
                    <a:pt x="1063942" y="1734502"/>
                    <a:pt x="1064895" y="1723072"/>
                  </a:cubicBezTo>
                  <a:cubicBezTo>
                    <a:pt x="1064895" y="1711642"/>
                    <a:pt x="1074420" y="1702117"/>
                    <a:pt x="1085850" y="1702117"/>
                  </a:cubicBezTo>
                  <a:close/>
                  <a:moveTo>
                    <a:pt x="1949768" y="1699259"/>
                  </a:moveTo>
                  <a:cubicBezTo>
                    <a:pt x="1951673" y="1699259"/>
                    <a:pt x="1953578" y="1701164"/>
                    <a:pt x="1953578" y="1703069"/>
                  </a:cubicBezTo>
                  <a:cubicBezTo>
                    <a:pt x="1953578" y="1704974"/>
                    <a:pt x="1951673" y="1706879"/>
                    <a:pt x="1949768" y="1706879"/>
                  </a:cubicBezTo>
                  <a:cubicBezTo>
                    <a:pt x="1947863" y="1706879"/>
                    <a:pt x="1946910" y="1704974"/>
                    <a:pt x="1945958" y="1703069"/>
                  </a:cubicBezTo>
                  <a:cubicBezTo>
                    <a:pt x="1945958" y="1701164"/>
                    <a:pt x="1947863" y="1699259"/>
                    <a:pt x="1949768" y="1699259"/>
                  </a:cubicBezTo>
                  <a:close/>
                  <a:moveTo>
                    <a:pt x="1544003" y="1699259"/>
                  </a:moveTo>
                  <a:cubicBezTo>
                    <a:pt x="1553528" y="1699259"/>
                    <a:pt x="1562100" y="1706879"/>
                    <a:pt x="1562100" y="1717357"/>
                  </a:cubicBezTo>
                  <a:cubicBezTo>
                    <a:pt x="1562100" y="1726882"/>
                    <a:pt x="1554480" y="1735454"/>
                    <a:pt x="1544003" y="1735454"/>
                  </a:cubicBezTo>
                  <a:cubicBezTo>
                    <a:pt x="1533525" y="1735454"/>
                    <a:pt x="1525905" y="1726882"/>
                    <a:pt x="1525905" y="1717357"/>
                  </a:cubicBezTo>
                  <a:cubicBezTo>
                    <a:pt x="1525905" y="1707832"/>
                    <a:pt x="1533525" y="1699259"/>
                    <a:pt x="1544003" y="1699259"/>
                  </a:cubicBezTo>
                  <a:close/>
                  <a:moveTo>
                    <a:pt x="676275" y="1696402"/>
                  </a:moveTo>
                  <a:cubicBezTo>
                    <a:pt x="687705" y="1696402"/>
                    <a:pt x="697230" y="1705927"/>
                    <a:pt x="697230" y="1717357"/>
                  </a:cubicBezTo>
                  <a:cubicBezTo>
                    <a:pt x="697230" y="1728787"/>
                    <a:pt x="687705" y="1738312"/>
                    <a:pt x="676275" y="1738312"/>
                  </a:cubicBezTo>
                  <a:cubicBezTo>
                    <a:pt x="664845" y="1738312"/>
                    <a:pt x="655320" y="1728787"/>
                    <a:pt x="655320" y="1717357"/>
                  </a:cubicBezTo>
                  <a:cubicBezTo>
                    <a:pt x="655320" y="1705927"/>
                    <a:pt x="664845" y="1696402"/>
                    <a:pt x="676275" y="1696402"/>
                  </a:cubicBezTo>
                  <a:close/>
                  <a:moveTo>
                    <a:pt x="512445" y="1690687"/>
                  </a:moveTo>
                  <a:cubicBezTo>
                    <a:pt x="514351" y="1690687"/>
                    <a:pt x="515303" y="1691640"/>
                    <a:pt x="515303" y="1693545"/>
                  </a:cubicBezTo>
                  <a:cubicBezTo>
                    <a:pt x="515303" y="1695450"/>
                    <a:pt x="514351" y="1696402"/>
                    <a:pt x="512445" y="1696402"/>
                  </a:cubicBezTo>
                  <a:cubicBezTo>
                    <a:pt x="510540" y="1696402"/>
                    <a:pt x="509588" y="1695450"/>
                    <a:pt x="509588" y="1693545"/>
                  </a:cubicBezTo>
                  <a:cubicBezTo>
                    <a:pt x="509588" y="1691640"/>
                    <a:pt x="510540" y="1690687"/>
                    <a:pt x="512445" y="1690687"/>
                  </a:cubicBezTo>
                  <a:close/>
                  <a:moveTo>
                    <a:pt x="1028700" y="1689734"/>
                  </a:moveTo>
                  <a:cubicBezTo>
                    <a:pt x="1040130" y="1689734"/>
                    <a:pt x="1049655" y="1699259"/>
                    <a:pt x="1049655" y="1710689"/>
                  </a:cubicBezTo>
                  <a:cubicBezTo>
                    <a:pt x="1049655" y="1722119"/>
                    <a:pt x="1040130" y="1731644"/>
                    <a:pt x="1028700" y="1731644"/>
                  </a:cubicBezTo>
                  <a:cubicBezTo>
                    <a:pt x="1017270" y="1731644"/>
                    <a:pt x="1007745" y="1722119"/>
                    <a:pt x="1007745" y="1710689"/>
                  </a:cubicBezTo>
                  <a:cubicBezTo>
                    <a:pt x="1007745" y="1699259"/>
                    <a:pt x="1017270" y="1689734"/>
                    <a:pt x="1028700" y="1689734"/>
                  </a:cubicBezTo>
                  <a:close/>
                  <a:moveTo>
                    <a:pt x="1805940" y="1688782"/>
                  </a:moveTo>
                  <a:cubicBezTo>
                    <a:pt x="1813305" y="1688782"/>
                    <a:pt x="1819275" y="1694752"/>
                    <a:pt x="1819275" y="1702117"/>
                  </a:cubicBezTo>
                  <a:cubicBezTo>
                    <a:pt x="1819275" y="1709482"/>
                    <a:pt x="1813305" y="1715452"/>
                    <a:pt x="1805940" y="1715452"/>
                  </a:cubicBezTo>
                  <a:cubicBezTo>
                    <a:pt x="1798575" y="1715452"/>
                    <a:pt x="1792605" y="1709482"/>
                    <a:pt x="1792605" y="1702117"/>
                  </a:cubicBezTo>
                  <a:cubicBezTo>
                    <a:pt x="1792605" y="1694752"/>
                    <a:pt x="1798575" y="1688782"/>
                    <a:pt x="1805940" y="1688782"/>
                  </a:cubicBezTo>
                  <a:close/>
                  <a:moveTo>
                    <a:pt x="1600200" y="1685925"/>
                  </a:moveTo>
                  <a:cubicBezTo>
                    <a:pt x="1609725" y="1685925"/>
                    <a:pt x="1618298" y="1694497"/>
                    <a:pt x="1618298" y="1704022"/>
                  </a:cubicBezTo>
                  <a:cubicBezTo>
                    <a:pt x="1618298" y="1713547"/>
                    <a:pt x="1610678" y="1722120"/>
                    <a:pt x="1600200" y="1722120"/>
                  </a:cubicBezTo>
                  <a:cubicBezTo>
                    <a:pt x="1589723" y="1722120"/>
                    <a:pt x="1582103" y="1713547"/>
                    <a:pt x="1582103" y="1704022"/>
                  </a:cubicBezTo>
                  <a:cubicBezTo>
                    <a:pt x="1582103" y="1694497"/>
                    <a:pt x="1589723" y="1685925"/>
                    <a:pt x="1600200" y="1685925"/>
                  </a:cubicBezTo>
                  <a:close/>
                  <a:moveTo>
                    <a:pt x="795338" y="1680210"/>
                  </a:moveTo>
                  <a:cubicBezTo>
                    <a:pt x="807437" y="1680210"/>
                    <a:pt x="817245" y="1690018"/>
                    <a:pt x="817245" y="1702117"/>
                  </a:cubicBezTo>
                  <a:cubicBezTo>
                    <a:pt x="817245" y="1714217"/>
                    <a:pt x="807437" y="1724025"/>
                    <a:pt x="795338" y="1724025"/>
                  </a:cubicBezTo>
                  <a:cubicBezTo>
                    <a:pt x="783238" y="1724025"/>
                    <a:pt x="773430" y="1714217"/>
                    <a:pt x="773430" y="1702117"/>
                  </a:cubicBezTo>
                  <a:cubicBezTo>
                    <a:pt x="773430" y="1690018"/>
                    <a:pt x="783238" y="1680210"/>
                    <a:pt x="795338" y="1680210"/>
                  </a:cubicBezTo>
                  <a:close/>
                  <a:moveTo>
                    <a:pt x="973455" y="1675447"/>
                  </a:moveTo>
                  <a:cubicBezTo>
                    <a:pt x="985837" y="1675447"/>
                    <a:pt x="995362" y="1684972"/>
                    <a:pt x="995362" y="1697355"/>
                  </a:cubicBezTo>
                  <a:cubicBezTo>
                    <a:pt x="995362" y="1709737"/>
                    <a:pt x="985837" y="1719262"/>
                    <a:pt x="973455" y="1719262"/>
                  </a:cubicBezTo>
                  <a:cubicBezTo>
                    <a:pt x="961072" y="1719262"/>
                    <a:pt x="950595" y="1708785"/>
                    <a:pt x="951547" y="1697355"/>
                  </a:cubicBezTo>
                  <a:cubicBezTo>
                    <a:pt x="951547" y="1684972"/>
                    <a:pt x="961072" y="1675447"/>
                    <a:pt x="973455" y="1675447"/>
                  </a:cubicBezTo>
                  <a:close/>
                  <a:moveTo>
                    <a:pt x="2000250" y="1670684"/>
                  </a:moveTo>
                  <a:cubicBezTo>
                    <a:pt x="2002155" y="1670684"/>
                    <a:pt x="2004060" y="1672589"/>
                    <a:pt x="2004060" y="1674494"/>
                  </a:cubicBezTo>
                  <a:cubicBezTo>
                    <a:pt x="2004060" y="1676399"/>
                    <a:pt x="2002155" y="1678304"/>
                    <a:pt x="2000250" y="1678304"/>
                  </a:cubicBezTo>
                  <a:cubicBezTo>
                    <a:pt x="1997392" y="1678304"/>
                    <a:pt x="1996440" y="1676399"/>
                    <a:pt x="1996440" y="1674494"/>
                  </a:cubicBezTo>
                  <a:cubicBezTo>
                    <a:pt x="1996440" y="1672589"/>
                    <a:pt x="1998345" y="1670684"/>
                    <a:pt x="2000250" y="1670684"/>
                  </a:cubicBezTo>
                  <a:close/>
                  <a:moveTo>
                    <a:pt x="1655445" y="1669732"/>
                  </a:moveTo>
                  <a:cubicBezTo>
                    <a:pt x="1665922" y="1669732"/>
                    <a:pt x="1673542" y="1678304"/>
                    <a:pt x="1673542" y="1687829"/>
                  </a:cubicBezTo>
                  <a:cubicBezTo>
                    <a:pt x="1673542" y="1698307"/>
                    <a:pt x="1664970" y="1705927"/>
                    <a:pt x="1655445" y="1705927"/>
                  </a:cubicBezTo>
                  <a:cubicBezTo>
                    <a:pt x="1645920" y="1705927"/>
                    <a:pt x="1638300" y="1698307"/>
                    <a:pt x="1637347" y="1687829"/>
                  </a:cubicBezTo>
                  <a:cubicBezTo>
                    <a:pt x="1637347" y="1677352"/>
                    <a:pt x="1645920" y="1669732"/>
                    <a:pt x="1655445" y="1669732"/>
                  </a:cubicBezTo>
                  <a:close/>
                  <a:moveTo>
                    <a:pt x="625792" y="1666875"/>
                  </a:moveTo>
                  <a:cubicBezTo>
                    <a:pt x="638175" y="1666875"/>
                    <a:pt x="647700" y="1676400"/>
                    <a:pt x="647700" y="1688783"/>
                  </a:cubicBezTo>
                  <a:cubicBezTo>
                    <a:pt x="647700" y="1701165"/>
                    <a:pt x="638175" y="1710690"/>
                    <a:pt x="625792" y="1710690"/>
                  </a:cubicBezTo>
                  <a:cubicBezTo>
                    <a:pt x="614362" y="1710690"/>
                    <a:pt x="604837" y="1701165"/>
                    <a:pt x="603885" y="1688783"/>
                  </a:cubicBezTo>
                  <a:cubicBezTo>
                    <a:pt x="603885" y="1676400"/>
                    <a:pt x="613410" y="1666875"/>
                    <a:pt x="625792" y="1666875"/>
                  </a:cubicBezTo>
                  <a:close/>
                  <a:moveTo>
                    <a:pt x="1858328" y="1663065"/>
                  </a:moveTo>
                  <a:cubicBezTo>
                    <a:pt x="1866901" y="1663065"/>
                    <a:pt x="1873568" y="1669732"/>
                    <a:pt x="1873568" y="1678305"/>
                  </a:cubicBezTo>
                  <a:cubicBezTo>
                    <a:pt x="1873568" y="1686878"/>
                    <a:pt x="1866901" y="1693545"/>
                    <a:pt x="1858328" y="1693545"/>
                  </a:cubicBezTo>
                  <a:cubicBezTo>
                    <a:pt x="1849755" y="1693545"/>
                    <a:pt x="1843088" y="1686878"/>
                    <a:pt x="1843088" y="1678305"/>
                  </a:cubicBezTo>
                  <a:cubicBezTo>
                    <a:pt x="1843088" y="1669732"/>
                    <a:pt x="1849755" y="1663065"/>
                    <a:pt x="1858328" y="1663065"/>
                  </a:cubicBezTo>
                  <a:close/>
                  <a:moveTo>
                    <a:pt x="918210" y="1660207"/>
                  </a:moveTo>
                  <a:cubicBezTo>
                    <a:pt x="929640" y="1660207"/>
                    <a:pt x="938213" y="1668779"/>
                    <a:pt x="938213" y="1680209"/>
                  </a:cubicBezTo>
                  <a:cubicBezTo>
                    <a:pt x="938213" y="1691640"/>
                    <a:pt x="929640" y="1700212"/>
                    <a:pt x="918210" y="1700212"/>
                  </a:cubicBezTo>
                  <a:cubicBezTo>
                    <a:pt x="906780" y="1700212"/>
                    <a:pt x="898208" y="1690687"/>
                    <a:pt x="898208" y="1680209"/>
                  </a:cubicBezTo>
                  <a:cubicBezTo>
                    <a:pt x="898208" y="1668779"/>
                    <a:pt x="906780" y="1660207"/>
                    <a:pt x="918210" y="1660207"/>
                  </a:cubicBezTo>
                  <a:close/>
                  <a:moveTo>
                    <a:pt x="1329690" y="1659254"/>
                  </a:moveTo>
                  <a:cubicBezTo>
                    <a:pt x="1339215" y="1659254"/>
                    <a:pt x="1347787" y="1666874"/>
                    <a:pt x="1347787" y="1677352"/>
                  </a:cubicBezTo>
                  <a:cubicBezTo>
                    <a:pt x="1347787" y="1686877"/>
                    <a:pt x="1340167" y="1695449"/>
                    <a:pt x="1329690" y="1695449"/>
                  </a:cubicBezTo>
                  <a:cubicBezTo>
                    <a:pt x="1319212" y="1695449"/>
                    <a:pt x="1310640" y="1686877"/>
                    <a:pt x="1311592" y="1677352"/>
                  </a:cubicBezTo>
                  <a:cubicBezTo>
                    <a:pt x="1311592" y="1667827"/>
                    <a:pt x="1319212" y="1659254"/>
                    <a:pt x="1329690" y="1659254"/>
                  </a:cubicBezTo>
                  <a:close/>
                  <a:moveTo>
                    <a:pt x="1271588" y="1657350"/>
                  </a:moveTo>
                  <a:cubicBezTo>
                    <a:pt x="1282065" y="1657350"/>
                    <a:pt x="1291590" y="1665922"/>
                    <a:pt x="1291590" y="1677353"/>
                  </a:cubicBezTo>
                  <a:cubicBezTo>
                    <a:pt x="1291590" y="1687830"/>
                    <a:pt x="1283018" y="1697355"/>
                    <a:pt x="1271588" y="1697355"/>
                  </a:cubicBezTo>
                  <a:cubicBezTo>
                    <a:pt x="1260158" y="1697355"/>
                    <a:pt x="1251585" y="1687830"/>
                    <a:pt x="1251585" y="1677353"/>
                  </a:cubicBezTo>
                  <a:cubicBezTo>
                    <a:pt x="1251585" y="1666875"/>
                    <a:pt x="1260158" y="1657350"/>
                    <a:pt x="1271588" y="1657350"/>
                  </a:cubicBezTo>
                  <a:close/>
                  <a:moveTo>
                    <a:pt x="742950" y="1657350"/>
                  </a:moveTo>
                  <a:cubicBezTo>
                    <a:pt x="754380" y="1657350"/>
                    <a:pt x="763905" y="1666875"/>
                    <a:pt x="763905" y="1678305"/>
                  </a:cubicBezTo>
                  <a:cubicBezTo>
                    <a:pt x="763905" y="1689735"/>
                    <a:pt x="754380" y="1699260"/>
                    <a:pt x="742950" y="1699260"/>
                  </a:cubicBezTo>
                  <a:cubicBezTo>
                    <a:pt x="731520" y="1699260"/>
                    <a:pt x="721995" y="1689735"/>
                    <a:pt x="721995" y="1678305"/>
                  </a:cubicBezTo>
                  <a:cubicBezTo>
                    <a:pt x="721995" y="1666875"/>
                    <a:pt x="731520" y="1657350"/>
                    <a:pt x="742950" y="1657350"/>
                  </a:cubicBezTo>
                  <a:close/>
                  <a:moveTo>
                    <a:pt x="357187" y="1657350"/>
                  </a:moveTo>
                  <a:cubicBezTo>
                    <a:pt x="357187" y="1657350"/>
                    <a:pt x="358140" y="1657350"/>
                    <a:pt x="358140" y="1658303"/>
                  </a:cubicBezTo>
                  <a:cubicBezTo>
                    <a:pt x="358140" y="1658303"/>
                    <a:pt x="358140" y="1659255"/>
                    <a:pt x="357187" y="1659255"/>
                  </a:cubicBezTo>
                  <a:cubicBezTo>
                    <a:pt x="356235" y="1659255"/>
                    <a:pt x="355282" y="1658303"/>
                    <a:pt x="356235" y="1658303"/>
                  </a:cubicBezTo>
                  <a:cubicBezTo>
                    <a:pt x="356235" y="1658303"/>
                    <a:pt x="356235" y="1657350"/>
                    <a:pt x="357187" y="1657350"/>
                  </a:cubicBezTo>
                  <a:close/>
                  <a:moveTo>
                    <a:pt x="1386840" y="1655445"/>
                  </a:moveTo>
                  <a:cubicBezTo>
                    <a:pt x="1397317" y="1655445"/>
                    <a:pt x="1405890" y="1664017"/>
                    <a:pt x="1405890" y="1674495"/>
                  </a:cubicBezTo>
                  <a:cubicBezTo>
                    <a:pt x="1405890" y="1684972"/>
                    <a:pt x="1397317" y="1693545"/>
                    <a:pt x="1386840" y="1693545"/>
                  </a:cubicBezTo>
                  <a:cubicBezTo>
                    <a:pt x="1376362" y="1693545"/>
                    <a:pt x="1367790" y="1684972"/>
                    <a:pt x="1367790" y="1674495"/>
                  </a:cubicBezTo>
                  <a:cubicBezTo>
                    <a:pt x="1367790" y="1664017"/>
                    <a:pt x="1376362" y="1655445"/>
                    <a:pt x="1386840" y="1655445"/>
                  </a:cubicBezTo>
                  <a:close/>
                  <a:moveTo>
                    <a:pt x="1214438" y="1654492"/>
                  </a:moveTo>
                  <a:cubicBezTo>
                    <a:pt x="1224916" y="1654492"/>
                    <a:pt x="1233488" y="1663065"/>
                    <a:pt x="1233488" y="1673542"/>
                  </a:cubicBezTo>
                  <a:cubicBezTo>
                    <a:pt x="1233488" y="1684020"/>
                    <a:pt x="1224916" y="1692592"/>
                    <a:pt x="1214438" y="1692592"/>
                  </a:cubicBezTo>
                  <a:cubicBezTo>
                    <a:pt x="1203960" y="1692592"/>
                    <a:pt x="1195388" y="1684020"/>
                    <a:pt x="1195388" y="1673542"/>
                  </a:cubicBezTo>
                  <a:cubicBezTo>
                    <a:pt x="1195388" y="1663065"/>
                    <a:pt x="1203960" y="1654492"/>
                    <a:pt x="1214438" y="1654492"/>
                  </a:cubicBezTo>
                  <a:close/>
                  <a:moveTo>
                    <a:pt x="1710691" y="1652587"/>
                  </a:moveTo>
                  <a:cubicBezTo>
                    <a:pt x="1720686" y="1652587"/>
                    <a:pt x="1728788" y="1660690"/>
                    <a:pt x="1728788" y="1670684"/>
                  </a:cubicBezTo>
                  <a:cubicBezTo>
                    <a:pt x="1728788" y="1680679"/>
                    <a:pt x="1720685" y="1688782"/>
                    <a:pt x="1710691" y="1688782"/>
                  </a:cubicBezTo>
                  <a:cubicBezTo>
                    <a:pt x="1700696" y="1688782"/>
                    <a:pt x="1692593" y="1680679"/>
                    <a:pt x="1692593" y="1670684"/>
                  </a:cubicBezTo>
                  <a:cubicBezTo>
                    <a:pt x="1692593" y="1660689"/>
                    <a:pt x="1700696" y="1652587"/>
                    <a:pt x="1710691" y="1652587"/>
                  </a:cubicBezTo>
                  <a:close/>
                  <a:moveTo>
                    <a:pt x="1443990" y="1648777"/>
                  </a:moveTo>
                  <a:cubicBezTo>
                    <a:pt x="1454467" y="1648777"/>
                    <a:pt x="1463040" y="1657349"/>
                    <a:pt x="1463040" y="1667827"/>
                  </a:cubicBezTo>
                  <a:cubicBezTo>
                    <a:pt x="1463040" y="1678304"/>
                    <a:pt x="1454467" y="1686877"/>
                    <a:pt x="1443990" y="1686877"/>
                  </a:cubicBezTo>
                  <a:cubicBezTo>
                    <a:pt x="1433512" y="1686877"/>
                    <a:pt x="1425892" y="1678304"/>
                    <a:pt x="1424940" y="1667827"/>
                  </a:cubicBezTo>
                  <a:cubicBezTo>
                    <a:pt x="1424940" y="1657349"/>
                    <a:pt x="1433512" y="1648777"/>
                    <a:pt x="1443990" y="1648777"/>
                  </a:cubicBezTo>
                  <a:close/>
                  <a:moveTo>
                    <a:pt x="1156335" y="1648777"/>
                  </a:moveTo>
                  <a:cubicBezTo>
                    <a:pt x="1166813" y="1648777"/>
                    <a:pt x="1175385" y="1657349"/>
                    <a:pt x="1175385" y="1667827"/>
                  </a:cubicBezTo>
                  <a:cubicBezTo>
                    <a:pt x="1175385" y="1678304"/>
                    <a:pt x="1166813" y="1686877"/>
                    <a:pt x="1156335" y="1686877"/>
                  </a:cubicBezTo>
                  <a:cubicBezTo>
                    <a:pt x="1146810" y="1686877"/>
                    <a:pt x="1138238" y="1678304"/>
                    <a:pt x="1137285" y="1667827"/>
                  </a:cubicBezTo>
                  <a:cubicBezTo>
                    <a:pt x="1137285" y="1657349"/>
                    <a:pt x="1145858" y="1648777"/>
                    <a:pt x="1156335" y="1648777"/>
                  </a:cubicBezTo>
                  <a:close/>
                  <a:moveTo>
                    <a:pt x="1100138" y="1642109"/>
                  </a:moveTo>
                  <a:cubicBezTo>
                    <a:pt x="1109663" y="1642109"/>
                    <a:pt x="1118235" y="1649729"/>
                    <a:pt x="1118235" y="1660207"/>
                  </a:cubicBezTo>
                  <a:cubicBezTo>
                    <a:pt x="1118235" y="1669732"/>
                    <a:pt x="1110615" y="1678304"/>
                    <a:pt x="1100138" y="1678304"/>
                  </a:cubicBezTo>
                  <a:cubicBezTo>
                    <a:pt x="1089660" y="1678304"/>
                    <a:pt x="1081088" y="1669732"/>
                    <a:pt x="1082040" y="1660207"/>
                  </a:cubicBezTo>
                  <a:cubicBezTo>
                    <a:pt x="1082040" y="1650682"/>
                    <a:pt x="1089660" y="1642109"/>
                    <a:pt x="1100138" y="1642109"/>
                  </a:cubicBezTo>
                  <a:close/>
                  <a:moveTo>
                    <a:pt x="1909763" y="1640204"/>
                  </a:moveTo>
                  <a:cubicBezTo>
                    <a:pt x="1916430" y="1640204"/>
                    <a:pt x="1921193" y="1645919"/>
                    <a:pt x="1921193" y="1651634"/>
                  </a:cubicBezTo>
                  <a:cubicBezTo>
                    <a:pt x="1921193" y="1658302"/>
                    <a:pt x="1915478" y="1663064"/>
                    <a:pt x="1909763" y="1663064"/>
                  </a:cubicBezTo>
                  <a:cubicBezTo>
                    <a:pt x="1903096" y="1663064"/>
                    <a:pt x="1898333" y="1658302"/>
                    <a:pt x="1898333" y="1651634"/>
                  </a:cubicBezTo>
                  <a:cubicBezTo>
                    <a:pt x="1898333" y="1644967"/>
                    <a:pt x="1904048" y="1640204"/>
                    <a:pt x="1909763" y="1640204"/>
                  </a:cubicBezTo>
                  <a:close/>
                  <a:moveTo>
                    <a:pt x="1501140" y="1640204"/>
                  </a:moveTo>
                  <a:cubicBezTo>
                    <a:pt x="1511617" y="1640204"/>
                    <a:pt x="1520190" y="1648777"/>
                    <a:pt x="1520190" y="1659254"/>
                  </a:cubicBezTo>
                  <a:cubicBezTo>
                    <a:pt x="1520190" y="1669732"/>
                    <a:pt x="1511617" y="1678304"/>
                    <a:pt x="1501140" y="1678304"/>
                  </a:cubicBezTo>
                  <a:cubicBezTo>
                    <a:pt x="1490662" y="1678304"/>
                    <a:pt x="1483042" y="1669732"/>
                    <a:pt x="1482090" y="1659254"/>
                  </a:cubicBezTo>
                  <a:cubicBezTo>
                    <a:pt x="1482090" y="1648777"/>
                    <a:pt x="1490662" y="1640204"/>
                    <a:pt x="1501140" y="1640204"/>
                  </a:cubicBezTo>
                  <a:close/>
                  <a:moveTo>
                    <a:pt x="464820" y="1640204"/>
                  </a:moveTo>
                  <a:cubicBezTo>
                    <a:pt x="476250" y="1640204"/>
                    <a:pt x="484823" y="1649729"/>
                    <a:pt x="484823" y="1660207"/>
                  </a:cubicBezTo>
                  <a:cubicBezTo>
                    <a:pt x="484823" y="1671637"/>
                    <a:pt x="475298" y="1680209"/>
                    <a:pt x="464820" y="1680209"/>
                  </a:cubicBezTo>
                  <a:cubicBezTo>
                    <a:pt x="454343" y="1680209"/>
                    <a:pt x="445770" y="1671637"/>
                    <a:pt x="444818" y="1660207"/>
                  </a:cubicBezTo>
                  <a:cubicBezTo>
                    <a:pt x="444818" y="1648777"/>
                    <a:pt x="454343" y="1640204"/>
                    <a:pt x="464820" y="1640204"/>
                  </a:cubicBezTo>
                  <a:close/>
                  <a:moveTo>
                    <a:pt x="2048828" y="1639252"/>
                  </a:moveTo>
                  <a:cubicBezTo>
                    <a:pt x="2050932" y="1639252"/>
                    <a:pt x="2052638" y="1640958"/>
                    <a:pt x="2052638" y="1643062"/>
                  </a:cubicBezTo>
                  <a:cubicBezTo>
                    <a:pt x="2052638" y="1645166"/>
                    <a:pt x="2050932" y="1646872"/>
                    <a:pt x="2048828" y="1646872"/>
                  </a:cubicBezTo>
                  <a:cubicBezTo>
                    <a:pt x="2046724" y="1646872"/>
                    <a:pt x="2045018" y="1645166"/>
                    <a:pt x="2045018" y="1643062"/>
                  </a:cubicBezTo>
                  <a:cubicBezTo>
                    <a:pt x="2045018" y="1640958"/>
                    <a:pt x="2046724" y="1639252"/>
                    <a:pt x="2048828" y="1639252"/>
                  </a:cubicBezTo>
                  <a:close/>
                  <a:moveTo>
                    <a:pt x="863918" y="1639252"/>
                  </a:moveTo>
                  <a:cubicBezTo>
                    <a:pt x="875348" y="1639252"/>
                    <a:pt x="884873" y="1648777"/>
                    <a:pt x="884873" y="1660207"/>
                  </a:cubicBezTo>
                  <a:cubicBezTo>
                    <a:pt x="884873" y="1671637"/>
                    <a:pt x="875348" y="1681162"/>
                    <a:pt x="863918" y="1681162"/>
                  </a:cubicBezTo>
                  <a:cubicBezTo>
                    <a:pt x="852488" y="1681162"/>
                    <a:pt x="842963" y="1671637"/>
                    <a:pt x="842963" y="1660207"/>
                  </a:cubicBezTo>
                  <a:cubicBezTo>
                    <a:pt x="842963" y="1648777"/>
                    <a:pt x="852488" y="1639252"/>
                    <a:pt x="863918" y="1639252"/>
                  </a:cubicBezTo>
                  <a:close/>
                  <a:moveTo>
                    <a:pt x="576263" y="1637347"/>
                  </a:moveTo>
                  <a:cubicBezTo>
                    <a:pt x="588645" y="1637347"/>
                    <a:pt x="598170" y="1646872"/>
                    <a:pt x="598170" y="1659255"/>
                  </a:cubicBezTo>
                  <a:cubicBezTo>
                    <a:pt x="598170" y="1671637"/>
                    <a:pt x="588645" y="1681162"/>
                    <a:pt x="576263" y="1681162"/>
                  </a:cubicBezTo>
                  <a:cubicBezTo>
                    <a:pt x="564833" y="1681162"/>
                    <a:pt x="554355" y="1671637"/>
                    <a:pt x="554355" y="1659255"/>
                  </a:cubicBezTo>
                  <a:cubicBezTo>
                    <a:pt x="554355" y="1646872"/>
                    <a:pt x="563880" y="1637347"/>
                    <a:pt x="576263" y="1637347"/>
                  </a:cubicBezTo>
                  <a:close/>
                  <a:moveTo>
                    <a:pt x="1764030" y="1634490"/>
                  </a:moveTo>
                  <a:cubicBezTo>
                    <a:pt x="1772603" y="1634490"/>
                    <a:pt x="1779270" y="1641157"/>
                    <a:pt x="1779270" y="1649730"/>
                  </a:cubicBezTo>
                  <a:cubicBezTo>
                    <a:pt x="1779270" y="1658303"/>
                    <a:pt x="1772603" y="1664970"/>
                    <a:pt x="1764030" y="1664970"/>
                  </a:cubicBezTo>
                  <a:cubicBezTo>
                    <a:pt x="1756410" y="1664970"/>
                    <a:pt x="1749742" y="1658303"/>
                    <a:pt x="1748790" y="1649730"/>
                  </a:cubicBezTo>
                  <a:cubicBezTo>
                    <a:pt x="1748790" y="1641157"/>
                    <a:pt x="1755457" y="1634490"/>
                    <a:pt x="1764030" y="1634490"/>
                  </a:cubicBezTo>
                  <a:close/>
                  <a:moveTo>
                    <a:pt x="691515" y="1632584"/>
                  </a:moveTo>
                  <a:cubicBezTo>
                    <a:pt x="701992" y="1632584"/>
                    <a:pt x="710565" y="1641157"/>
                    <a:pt x="710565" y="1651634"/>
                  </a:cubicBezTo>
                  <a:cubicBezTo>
                    <a:pt x="710565" y="1662112"/>
                    <a:pt x="701992" y="1670684"/>
                    <a:pt x="691515" y="1670684"/>
                  </a:cubicBezTo>
                  <a:cubicBezTo>
                    <a:pt x="681038" y="1670684"/>
                    <a:pt x="673417" y="1662112"/>
                    <a:pt x="672465" y="1651634"/>
                  </a:cubicBezTo>
                  <a:cubicBezTo>
                    <a:pt x="672465" y="1641157"/>
                    <a:pt x="681038" y="1632584"/>
                    <a:pt x="691515" y="1632584"/>
                  </a:cubicBezTo>
                  <a:close/>
                  <a:moveTo>
                    <a:pt x="1042987" y="1627822"/>
                  </a:moveTo>
                  <a:cubicBezTo>
                    <a:pt x="1054417" y="1627822"/>
                    <a:pt x="1062990" y="1636395"/>
                    <a:pt x="1062990" y="1647825"/>
                  </a:cubicBezTo>
                  <a:cubicBezTo>
                    <a:pt x="1062990" y="1659255"/>
                    <a:pt x="1054417" y="1667827"/>
                    <a:pt x="1042987" y="1667827"/>
                  </a:cubicBezTo>
                  <a:cubicBezTo>
                    <a:pt x="1032510" y="1667827"/>
                    <a:pt x="1022985" y="1659255"/>
                    <a:pt x="1022985" y="1647825"/>
                  </a:cubicBezTo>
                  <a:cubicBezTo>
                    <a:pt x="1022985" y="1636395"/>
                    <a:pt x="1031558" y="1627822"/>
                    <a:pt x="1042987" y="1627822"/>
                  </a:cubicBezTo>
                  <a:close/>
                  <a:moveTo>
                    <a:pt x="1558290" y="1626870"/>
                  </a:moveTo>
                  <a:cubicBezTo>
                    <a:pt x="1569720" y="1626870"/>
                    <a:pt x="1579245" y="1636395"/>
                    <a:pt x="1579245" y="1647825"/>
                  </a:cubicBezTo>
                  <a:cubicBezTo>
                    <a:pt x="1579245" y="1659255"/>
                    <a:pt x="1569720" y="1668780"/>
                    <a:pt x="1558290" y="1668780"/>
                  </a:cubicBezTo>
                  <a:cubicBezTo>
                    <a:pt x="1546860" y="1668780"/>
                    <a:pt x="1537335" y="1659255"/>
                    <a:pt x="1537335" y="1647825"/>
                  </a:cubicBezTo>
                  <a:cubicBezTo>
                    <a:pt x="1537335" y="1636395"/>
                    <a:pt x="1546860" y="1626870"/>
                    <a:pt x="1558290" y="1626870"/>
                  </a:cubicBezTo>
                  <a:close/>
                  <a:moveTo>
                    <a:pt x="810578" y="1617345"/>
                  </a:moveTo>
                  <a:cubicBezTo>
                    <a:pt x="822008" y="1617345"/>
                    <a:pt x="831533" y="1626870"/>
                    <a:pt x="831533" y="1638300"/>
                  </a:cubicBezTo>
                  <a:cubicBezTo>
                    <a:pt x="831533" y="1649730"/>
                    <a:pt x="822008" y="1659255"/>
                    <a:pt x="810578" y="1659255"/>
                  </a:cubicBezTo>
                  <a:cubicBezTo>
                    <a:pt x="798195" y="1659255"/>
                    <a:pt x="788670" y="1650683"/>
                    <a:pt x="789623" y="1638300"/>
                  </a:cubicBezTo>
                  <a:cubicBezTo>
                    <a:pt x="789623" y="1626870"/>
                    <a:pt x="799148" y="1617345"/>
                    <a:pt x="810578" y="1617345"/>
                  </a:cubicBezTo>
                  <a:close/>
                  <a:moveTo>
                    <a:pt x="1613535" y="1614487"/>
                  </a:moveTo>
                  <a:cubicBezTo>
                    <a:pt x="1624013" y="1614487"/>
                    <a:pt x="1633538" y="1623059"/>
                    <a:pt x="1633538" y="1634490"/>
                  </a:cubicBezTo>
                  <a:cubicBezTo>
                    <a:pt x="1633538" y="1644967"/>
                    <a:pt x="1624966" y="1654492"/>
                    <a:pt x="1613535" y="1654492"/>
                  </a:cubicBezTo>
                  <a:cubicBezTo>
                    <a:pt x="1602105" y="1654492"/>
                    <a:pt x="1593533" y="1644967"/>
                    <a:pt x="1593533" y="1634490"/>
                  </a:cubicBezTo>
                  <a:cubicBezTo>
                    <a:pt x="1593533" y="1624012"/>
                    <a:pt x="1602105" y="1614487"/>
                    <a:pt x="1613535" y="1614487"/>
                  </a:cubicBezTo>
                  <a:close/>
                  <a:moveTo>
                    <a:pt x="419100" y="1614487"/>
                  </a:moveTo>
                  <a:cubicBezTo>
                    <a:pt x="425768" y="1614487"/>
                    <a:pt x="430530" y="1619250"/>
                    <a:pt x="430530" y="1625917"/>
                  </a:cubicBezTo>
                  <a:cubicBezTo>
                    <a:pt x="430530" y="1632584"/>
                    <a:pt x="425768" y="1637347"/>
                    <a:pt x="419100" y="1637347"/>
                  </a:cubicBezTo>
                  <a:cubicBezTo>
                    <a:pt x="413385" y="1637347"/>
                    <a:pt x="407670" y="1631632"/>
                    <a:pt x="407670" y="1625917"/>
                  </a:cubicBezTo>
                  <a:cubicBezTo>
                    <a:pt x="407670" y="1619250"/>
                    <a:pt x="412433" y="1614487"/>
                    <a:pt x="419100" y="1614487"/>
                  </a:cubicBezTo>
                  <a:close/>
                  <a:moveTo>
                    <a:pt x="987742" y="1613534"/>
                  </a:moveTo>
                  <a:cubicBezTo>
                    <a:pt x="999173" y="1613534"/>
                    <a:pt x="1007745" y="1623059"/>
                    <a:pt x="1007745" y="1633537"/>
                  </a:cubicBezTo>
                  <a:cubicBezTo>
                    <a:pt x="1007745" y="1644967"/>
                    <a:pt x="998220" y="1653539"/>
                    <a:pt x="987742" y="1653539"/>
                  </a:cubicBezTo>
                  <a:cubicBezTo>
                    <a:pt x="976313" y="1653539"/>
                    <a:pt x="967740" y="1644967"/>
                    <a:pt x="967740" y="1633537"/>
                  </a:cubicBezTo>
                  <a:cubicBezTo>
                    <a:pt x="967740" y="1622107"/>
                    <a:pt x="977265" y="1613534"/>
                    <a:pt x="987742" y="1613534"/>
                  </a:cubicBezTo>
                  <a:close/>
                  <a:moveTo>
                    <a:pt x="1817370" y="1611629"/>
                  </a:moveTo>
                  <a:cubicBezTo>
                    <a:pt x="1825943" y="1611629"/>
                    <a:pt x="1832610" y="1618296"/>
                    <a:pt x="1832610" y="1626869"/>
                  </a:cubicBezTo>
                  <a:cubicBezTo>
                    <a:pt x="1832610" y="1635442"/>
                    <a:pt x="1825943" y="1642109"/>
                    <a:pt x="1817370" y="1642109"/>
                  </a:cubicBezTo>
                  <a:cubicBezTo>
                    <a:pt x="1808797" y="1642109"/>
                    <a:pt x="1802130" y="1635442"/>
                    <a:pt x="1802130" y="1626869"/>
                  </a:cubicBezTo>
                  <a:cubicBezTo>
                    <a:pt x="1802130" y="1618296"/>
                    <a:pt x="1808797" y="1611629"/>
                    <a:pt x="1817370" y="1611629"/>
                  </a:cubicBezTo>
                  <a:close/>
                  <a:moveTo>
                    <a:pt x="1959293" y="1610677"/>
                  </a:moveTo>
                  <a:cubicBezTo>
                    <a:pt x="1965960" y="1610677"/>
                    <a:pt x="1971675" y="1616392"/>
                    <a:pt x="1971675" y="1623059"/>
                  </a:cubicBezTo>
                  <a:cubicBezTo>
                    <a:pt x="1971675" y="1629727"/>
                    <a:pt x="1965960" y="1635442"/>
                    <a:pt x="1959293" y="1635442"/>
                  </a:cubicBezTo>
                  <a:cubicBezTo>
                    <a:pt x="1952625" y="1635442"/>
                    <a:pt x="1947863" y="1630679"/>
                    <a:pt x="1946910" y="1623059"/>
                  </a:cubicBezTo>
                  <a:cubicBezTo>
                    <a:pt x="1946910" y="1616392"/>
                    <a:pt x="1952625" y="1610677"/>
                    <a:pt x="1959293" y="1610677"/>
                  </a:cubicBezTo>
                  <a:close/>
                  <a:moveTo>
                    <a:pt x="2095500" y="1608772"/>
                  </a:moveTo>
                  <a:cubicBezTo>
                    <a:pt x="2096453" y="1608772"/>
                    <a:pt x="2097405" y="1609725"/>
                    <a:pt x="2097405" y="1610677"/>
                  </a:cubicBezTo>
                  <a:cubicBezTo>
                    <a:pt x="2097405" y="1611630"/>
                    <a:pt x="2096453" y="1612582"/>
                    <a:pt x="2095500" y="1612582"/>
                  </a:cubicBezTo>
                  <a:cubicBezTo>
                    <a:pt x="2094547" y="1612582"/>
                    <a:pt x="2093595" y="1611630"/>
                    <a:pt x="2093595" y="1610677"/>
                  </a:cubicBezTo>
                  <a:cubicBezTo>
                    <a:pt x="2093595" y="1609725"/>
                    <a:pt x="2094547" y="1608772"/>
                    <a:pt x="2095500" y="1608772"/>
                  </a:cubicBezTo>
                  <a:close/>
                  <a:moveTo>
                    <a:pt x="528637" y="1605915"/>
                  </a:moveTo>
                  <a:cubicBezTo>
                    <a:pt x="541020" y="1605915"/>
                    <a:pt x="550545" y="1615440"/>
                    <a:pt x="550545" y="1627822"/>
                  </a:cubicBezTo>
                  <a:cubicBezTo>
                    <a:pt x="550545" y="1640205"/>
                    <a:pt x="541020" y="1649730"/>
                    <a:pt x="528637" y="1649730"/>
                  </a:cubicBezTo>
                  <a:cubicBezTo>
                    <a:pt x="516255" y="1649730"/>
                    <a:pt x="506730" y="1639253"/>
                    <a:pt x="506730" y="1627822"/>
                  </a:cubicBezTo>
                  <a:cubicBezTo>
                    <a:pt x="506730" y="1615440"/>
                    <a:pt x="516255" y="1605915"/>
                    <a:pt x="528637" y="1605915"/>
                  </a:cubicBezTo>
                  <a:close/>
                  <a:moveTo>
                    <a:pt x="641985" y="1604009"/>
                  </a:moveTo>
                  <a:cubicBezTo>
                    <a:pt x="652462" y="1604009"/>
                    <a:pt x="661035" y="1612582"/>
                    <a:pt x="661035" y="1623059"/>
                  </a:cubicBezTo>
                  <a:cubicBezTo>
                    <a:pt x="661035" y="1633537"/>
                    <a:pt x="652462" y="1642109"/>
                    <a:pt x="641985" y="1642109"/>
                  </a:cubicBezTo>
                  <a:cubicBezTo>
                    <a:pt x="631508" y="1642109"/>
                    <a:pt x="622935" y="1633537"/>
                    <a:pt x="622935" y="1623059"/>
                  </a:cubicBezTo>
                  <a:cubicBezTo>
                    <a:pt x="622935" y="1612582"/>
                    <a:pt x="631508" y="1604009"/>
                    <a:pt x="641985" y="1604009"/>
                  </a:cubicBezTo>
                  <a:close/>
                  <a:moveTo>
                    <a:pt x="1668780" y="1598295"/>
                  </a:moveTo>
                  <a:cubicBezTo>
                    <a:pt x="1679258" y="1598295"/>
                    <a:pt x="1687830" y="1606867"/>
                    <a:pt x="1687830" y="1617345"/>
                  </a:cubicBezTo>
                  <a:cubicBezTo>
                    <a:pt x="1687830" y="1627822"/>
                    <a:pt x="1679258" y="1636395"/>
                    <a:pt x="1668780" y="1636395"/>
                  </a:cubicBezTo>
                  <a:cubicBezTo>
                    <a:pt x="1658303" y="1636395"/>
                    <a:pt x="1649730" y="1627822"/>
                    <a:pt x="1649730" y="1617345"/>
                  </a:cubicBezTo>
                  <a:cubicBezTo>
                    <a:pt x="1649730" y="1606867"/>
                    <a:pt x="1658303" y="1598295"/>
                    <a:pt x="1668780" y="1598295"/>
                  </a:cubicBezTo>
                  <a:close/>
                  <a:moveTo>
                    <a:pt x="932497" y="1597342"/>
                  </a:moveTo>
                  <a:cubicBezTo>
                    <a:pt x="942975" y="1597342"/>
                    <a:pt x="952500" y="1605915"/>
                    <a:pt x="952500" y="1617345"/>
                  </a:cubicBezTo>
                  <a:cubicBezTo>
                    <a:pt x="952500" y="1627822"/>
                    <a:pt x="943927" y="1637347"/>
                    <a:pt x="932497" y="1637347"/>
                  </a:cubicBezTo>
                  <a:cubicBezTo>
                    <a:pt x="921067" y="1637347"/>
                    <a:pt x="911542" y="1627822"/>
                    <a:pt x="912495" y="1617345"/>
                  </a:cubicBezTo>
                  <a:cubicBezTo>
                    <a:pt x="912495" y="1606867"/>
                    <a:pt x="921067" y="1597342"/>
                    <a:pt x="932497" y="1597342"/>
                  </a:cubicBezTo>
                  <a:close/>
                  <a:moveTo>
                    <a:pt x="1285875" y="1596390"/>
                  </a:moveTo>
                  <a:cubicBezTo>
                    <a:pt x="1295400" y="1596390"/>
                    <a:pt x="1303020" y="1604010"/>
                    <a:pt x="1303020" y="1613535"/>
                  </a:cubicBezTo>
                  <a:cubicBezTo>
                    <a:pt x="1303020" y="1623060"/>
                    <a:pt x="1295400" y="1630680"/>
                    <a:pt x="1285875" y="1630680"/>
                  </a:cubicBezTo>
                  <a:cubicBezTo>
                    <a:pt x="1276350" y="1630680"/>
                    <a:pt x="1268730" y="1622107"/>
                    <a:pt x="1268730" y="1613535"/>
                  </a:cubicBezTo>
                  <a:cubicBezTo>
                    <a:pt x="1268730" y="1604010"/>
                    <a:pt x="1276350" y="1596390"/>
                    <a:pt x="1285875" y="1596390"/>
                  </a:cubicBezTo>
                  <a:close/>
                  <a:moveTo>
                    <a:pt x="1343978" y="1595437"/>
                  </a:moveTo>
                  <a:cubicBezTo>
                    <a:pt x="1353503" y="1595437"/>
                    <a:pt x="1361123" y="1603057"/>
                    <a:pt x="1361123" y="1612582"/>
                  </a:cubicBezTo>
                  <a:cubicBezTo>
                    <a:pt x="1361123" y="1622107"/>
                    <a:pt x="1353503" y="1629727"/>
                    <a:pt x="1343978" y="1629727"/>
                  </a:cubicBezTo>
                  <a:cubicBezTo>
                    <a:pt x="1334453" y="1629727"/>
                    <a:pt x="1326833" y="1622107"/>
                    <a:pt x="1326833" y="1612582"/>
                  </a:cubicBezTo>
                  <a:cubicBezTo>
                    <a:pt x="1326833" y="1603057"/>
                    <a:pt x="1334453" y="1595437"/>
                    <a:pt x="1343978" y="1595437"/>
                  </a:cubicBezTo>
                  <a:close/>
                  <a:moveTo>
                    <a:pt x="758190" y="1592579"/>
                  </a:moveTo>
                  <a:cubicBezTo>
                    <a:pt x="769620" y="1592579"/>
                    <a:pt x="779145" y="1602104"/>
                    <a:pt x="779145" y="1613534"/>
                  </a:cubicBezTo>
                  <a:cubicBezTo>
                    <a:pt x="779145" y="1624964"/>
                    <a:pt x="769620" y="1634489"/>
                    <a:pt x="758190" y="1634489"/>
                  </a:cubicBezTo>
                  <a:cubicBezTo>
                    <a:pt x="746760" y="1634489"/>
                    <a:pt x="737235" y="1624964"/>
                    <a:pt x="737235" y="1613534"/>
                  </a:cubicBezTo>
                  <a:cubicBezTo>
                    <a:pt x="737235" y="1602104"/>
                    <a:pt x="746760" y="1592579"/>
                    <a:pt x="758190" y="1592579"/>
                  </a:cubicBezTo>
                  <a:close/>
                  <a:moveTo>
                    <a:pt x="1401128" y="1590675"/>
                  </a:moveTo>
                  <a:cubicBezTo>
                    <a:pt x="1410653" y="1590675"/>
                    <a:pt x="1418273" y="1598295"/>
                    <a:pt x="1418273" y="1607820"/>
                  </a:cubicBezTo>
                  <a:cubicBezTo>
                    <a:pt x="1418273" y="1617345"/>
                    <a:pt x="1410653" y="1624965"/>
                    <a:pt x="1401128" y="1624965"/>
                  </a:cubicBezTo>
                  <a:cubicBezTo>
                    <a:pt x="1391603" y="1624965"/>
                    <a:pt x="1383983" y="1617345"/>
                    <a:pt x="1383983" y="1607820"/>
                  </a:cubicBezTo>
                  <a:cubicBezTo>
                    <a:pt x="1383983" y="1598295"/>
                    <a:pt x="1391603" y="1590675"/>
                    <a:pt x="1401128" y="1590675"/>
                  </a:cubicBezTo>
                  <a:close/>
                  <a:moveTo>
                    <a:pt x="1228725" y="1590675"/>
                  </a:moveTo>
                  <a:cubicBezTo>
                    <a:pt x="1239203" y="1590675"/>
                    <a:pt x="1247775" y="1599247"/>
                    <a:pt x="1247775" y="1609725"/>
                  </a:cubicBezTo>
                  <a:cubicBezTo>
                    <a:pt x="1247775" y="1620203"/>
                    <a:pt x="1239203" y="1628775"/>
                    <a:pt x="1228725" y="1628775"/>
                  </a:cubicBezTo>
                  <a:cubicBezTo>
                    <a:pt x="1218247" y="1628775"/>
                    <a:pt x="1209675" y="1621155"/>
                    <a:pt x="1209675" y="1609725"/>
                  </a:cubicBezTo>
                  <a:cubicBezTo>
                    <a:pt x="1209675" y="1599247"/>
                    <a:pt x="1218247" y="1590675"/>
                    <a:pt x="1228725" y="1590675"/>
                  </a:cubicBezTo>
                  <a:close/>
                  <a:moveTo>
                    <a:pt x="1171575" y="1588770"/>
                  </a:moveTo>
                  <a:cubicBezTo>
                    <a:pt x="1180148" y="1588770"/>
                    <a:pt x="1187768" y="1596390"/>
                    <a:pt x="1187768" y="1604962"/>
                  </a:cubicBezTo>
                  <a:cubicBezTo>
                    <a:pt x="1187768" y="1613535"/>
                    <a:pt x="1180148" y="1621155"/>
                    <a:pt x="1171575" y="1621155"/>
                  </a:cubicBezTo>
                  <a:cubicBezTo>
                    <a:pt x="1162050" y="1621155"/>
                    <a:pt x="1155383" y="1613535"/>
                    <a:pt x="1155383" y="1604962"/>
                  </a:cubicBezTo>
                  <a:cubicBezTo>
                    <a:pt x="1155383" y="1596390"/>
                    <a:pt x="1163003" y="1588770"/>
                    <a:pt x="1171575" y="1588770"/>
                  </a:cubicBezTo>
                  <a:close/>
                  <a:moveTo>
                    <a:pt x="1868805" y="1587817"/>
                  </a:moveTo>
                  <a:cubicBezTo>
                    <a:pt x="1876425" y="1587817"/>
                    <a:pt x="1882140" y="1593532"/>
                    <a:pt x="1882140" y="1601152"/>
                  </a:cubicBezTo>
                  <a:cubicBezTo>
                    <a:pt x="1882140" y="1608772"/>
                    <a:pt x="1876425" y="1614487"/>
                    <a:pt x="1868805" y="1614487"/>
                  </a:cubicBezTo>
                  <a:cubicBezTo>
                    <a:pt x="1861185" y="1614487"/>
                    <a:pt x="1855470" y="1608772"/>
                    <a:pt x="1855470" y="1601152"/>
                  </a:cubicBezTo>
                  <a:cubicBezTo>
                    <a:pt x="1855470" y="1593532"/>
                    <a:pt x="1861185" y="1587817"/>
                    <a:pt x="1868805" y="1587817"/>
                  </a:cubicBezTo>
                  <a:close/>
                  <a:moveTo>
                    <a:pt x="1458278" y="1585912"/>
                  </a:moveTo>
                  <a:cubicBezTo>
                    <a:pt x="1466851" y="1585912"/>
                    <a:pt x="1473518" y="1592579"/>
                    <a:pt x="1473518" y="1601152"/>
                  </a:cubicBezTo>
                  <a:cubicBezTo>
                    <a:pt x="1473518" y="1609725"/>
                    <a:pt x="1466851" y="1616392"/>
                    <a:pt x="1458278" y="1616392"/>
                  </a:cubicBezTo>
                  <a:cubicBezTo>
                    <a:pt x="1450658" y="1616392"/>
                    <a:pt x="1443991" y="1609725"/>
                    <a:pt x="1443038" y="1601152"/>
                  </a:cubicBezTo>
                  <a:cubicBezTo>
                    <a:pt x="1443038" y="1592579"/>
                    <a:pt x="1449705" y="1585912"/>
                    <a:pt x="1458278" y="1585912"/>
                  </a:cubicBezTo>
                  <a:close/>
                  <a:moveTo>
                    <a:pt x="2008822" y="1584007"/>
                  </a:moveTo>
                  <a:cubicBezTo>
                    <a:pt x="2013585" y="1584007"/>
                    <a:pt x="2017395" y="1587817"/>
                    <a:pt x="2017395" y="1592579"/>
                  </a:cubicBezTo>
                  <a:cubicBezTo>
                    <a:pt x="2017395" y="1597342"/>
                    <a:pt x="2013585" y="1601152"/>
                    <a:pt x="2008822" y="1601152"/>
                  </a:cubicBezTo>
                  <a:cubicBezTo>
                    <a:pt x="2004060" y="1601152"/>
                    <a:pt x="2000250" y="1597342"/>
                    <a:pt x="2000250" y="1592579"/>
                  </a:cubicBezTo>
                  <a:cubicBezTo>
                    <a:pt x="2000250" y="1587817"/>
                    <a:pt x="2004060" y="1584007"/>
                    <a:pt x="2008822" y="1584007"/>
                  </a:cubicBezTo>
                  <a:close/>
                  <a:moveTo>
                    <a:pt x="1114425" y="1580197"/>
                  </a:moveTo>
                  <a:cubicBezTo>
                    <a:pt x="1122998" y="1580197"/>
                    <a:pt x="1130618" y="1587817"/>
                    <a:pt x="1130618" y="1596390"/>
                  </a:cubicBezTo>
                  <a:cubicBezTo>
                    <a:pt x="1130618" y="1604962"/>
                    <a:pt x="1122998" y="1612582"/>
                    <a:pt x="1114425" y="1612582"/>
                  </a:cubicBezTo>
                  <a:cubicBezTo>
                    <a:pt x="1104900" y="1612582"/>
                    <a:pt x="1098233" y="1605915"/>
                    <a:pt x="1098233" y="1596390"/>
                  </a:cubicBezTo>
                  <a:cubicBezTo>
                    <a:pt x="1098233" y="1587817"/>
                    <a:pt x="1105853" y="1580197"/>
                    <a:pt x="1114425" y="1580197"/>
                  </a:cubicBezTo>
                  <a:close/>
                  <a:moveTo>
                    <a:pt x="1723072" y="1579245"/>
                  </a:moveTo>
                  <a:cubicBezTo>
                    <a:pt x="1732597" y="1579245"/>
                    <a:pt x="1741170" y="1586865"/>
                    <a:pt x="1741170" y="1597342"/>
                  </a:cubicBezTo>
                  <a:cubicBezTo>
                    <a:pt x="1741170" y="1606867"/>
                    <a:pt x="1733550" y="1615440"/>
                    <a:pt x="1723072" y="1615440"/>
                  </a:cubicBezTo>
                  <a:cubicBezTo>
                    <a:pt x="1712595" y="1615440"/>
                    <a:pt x="1704975" y="1606867"/>
                    <a:pt x="1704975" y="1597342"/>
                  </a:cubicBezTo>
                  <a:cubicBezTo>
                    <a:pt x="1704975" y="1587817"/>
                    <a:pt x="1713547" y="1579245"/>
                    <a:pt x="1723072" y="1579245"/>
                  </a:cubicBezTo>
                  <a:close/>
                  <a:moveTo>
                    <a:pt x="878204" y="1577340"/>
                  </a:moveTo>
                  <a:cubicBezTo>
                    <a:pt x="888682" y="1577340"/>
                    <a:pt x="898207" y="1585912"/>
                    <a:pt x="898207" y="1597342"/>
                  </a:cubicBezTo>
                  <a:cubicBezTo>
                    <a:pt x="898207" y="1607820"/>
                    <a:pt x="889635" y="1617345"/>
                    <a:pt x="878204" y="1617345"/>
                  </a:cubicBezTo>
                  <a:cubicBezTo>
                    <a:pt x="866775" y="1617345"/>
                    <a:pt x="858202" y="1608772"/>
                    <a:pt x="858202" y="1597342"/>
                  </a:cubicBezTo>
                  <a:cubicBezTo>
                    <a:pt x="858202" y="1586865"/>
                    <a:pt x="867727" y="1577340"/>
                    <a:pt x="878204" y="1577340"/>
                  </a:cubicBezTo>
                  <a:close/>
                  <a:moveTo>
                    <a:pt x="375285" y="1575434"/>
                  </a:moveTo>
                  <a:cubicBezTo>
                    <a:pt x="382905" y="1575434"/>
                    <a:pt x="388620" y="1581149"/>
                    <a:pt x="388620" y="1588769"/>
                  </a:cubicBezTo>
                  <a:cubicBezTo>
                    <a:pt x="388620" y="1596389"/>
                    <a:pt x="382905" y="1602104"/>
                    <a:pt x="375285" y="1602104"/>
                  </a:cubicBezTo>
                  <a:cubicBezTo>
                    <a:pt x="367665" y="1602104"/>
                    <a:pt x="361950" y="1596389"/>
                    <a:pt x="361950" y="1588769"/>
                  </a:cubicBezTo>
                  <a:cubicBezTo>
                    <a:pt x="361950" y="1581149"/>
                    <a:pt x="367665" y="1575434"/>
                    <a:pt x="375285" y="1575434"/>
                  </a:cubicBezTo>
                  <a:close/>
                  <a:moveTo>
                    <a:pt x="1515428" y="1574482"/>
                  </a:moveTo>
                  <a:cubicBezTo>
                    <a:pt x="1524953" y="1574482"/>
                    <a:pt x="1532573" y="1582102"/>
                    <a:pt x="1532573" y="1591627"/>
                  </a:cubicBezTo>
                  <a:cubicBezTo>
                    <a:pt x="1532573" y="1601152"/>
                    <a:pt x="1524953" y="1608772"/>
                    <a:pt x="1515428" y="1608772"/>
                  </a:cubicBezTo>
                  <a:cubicBezTo>
                    <a:pt x="1505903" y="1608772"/>
                    <a:pt x="1498283" y="1601152"/>
                    <a:pt x="1498283" y="1591627"/>
                  </a:cubicBezTo>
                  <a:cubicBezTo>
                    <a:pt x="1498283" y="1582102"/>
                    <a:pt x="1505903" y="1574482"/>
                    <a:pt x="1515428" y="1574482"/>
                  </a:cubicBezTo>
                  <a:close/>
                  <a:moveTo>
                    <a:pt x="592454" y="1573529"/>
                  </a:moveTo>
                  <a:cubicBezTo>
                    <a:pt x="603885" y="1573529"/>
                    <a:pt x="612457" y="1582102"/>
                    <a:pt x="612457" y="1593532"/>
                  </a:cubicBezTo>
                  <a:cubicBezTo>
                    <a:pt x="612457" y="1604962"/>
                    <a:pt x="603885" y="1613534"/>
                    <a:pt x="592454" y="1613534"/>
                  </a:cubicBezTo>
                  <a:cubicBezTo>
                    <a:pt x="581977" y="1613534"/>
                    <a:pt x="572452" y="1604009"/>
                    <a:pt x="572452" y="1593532"/>
                  </a:cubicBezTo>
                  <a:cubicBezTo>
                    <a:pt x="572452" y="1582102"/>
                    <a:pt x="581025" y="1573529"/>
                    <a:pt x="592454" y="1573529"/>
                  </a:cubicBezTo>
                  <a:close/>
                  <a:moveTo>
                    <a:pt x="481965" y="1569720"/>
                  </a:moveTo>
                  <a:cubicBezTo>
                    <a:pt x="494348" y="1569720"/>
                    <a:pt x="504825" y="1580197"/>
                    <a:pt x="504825" y="1592580"/>
                  </a:cubicBezTo>
                  <a:cubicBezTo>
                    <a:pt x="504825" y="1604962"/>
                    <a:pt x="494348" y="1615440"/>
                    <a:pt x="481965" y="1615440"/>
                  </a:cubicBezTo>
                  <a:cubicBezTo>
                    <a:pt x="469582" y="1615440"/>
                    <a:pt x="460057" y="1605915"/>
                    <a:pt x="459105" y="1592580"/>
                  </a:cubicBezTo>
                  <a:cubicBezTo>
                    <a:pt x="459105" y="1580197"/>
                    <a:pt x="469582" y="1569720"/>
                    <a:pt x="481965" y="1569720"/>
                  </a:cubicBezTo>
                  <a:close/>
                  <a:moveTo>
                    <a:pt x="1057275" y="1566862"/>
                  </a:moveTo>
                  <a:cubicBezTo>
                    <a:pt x="1067752" y="1566862"/>
                    <a:pt x="1075372" y="1575434"/>
                    <a:pt x="1075372" y="1584959"/>
                  </a:cubicBezTo>
                  <a:cubicBezTo>
                    <a:pt x="1075372" y="1595437"/>
                    <a:pt x="1066800" y="1603057"/>
                    <a:pt x="1057275" y="1603057"/>
                  </a:cubicBezTo>
                  <a:cubicBezTo>
                    <a:pt x="1047750" y="1603057"/>
                    <a:pt x="1040129" y="1595437"/>
                    <a:pt x="1039177" y="1584959"/>
                  </a:cubicBezTo>
                  <a:cubicBezTo>
                    <a:pt x="1039177" y="1574482"/>
                    <a:pt x="1047750" y="1566862"/>
                    <a:pt x="1057275" y="1566862"/>
                  </a:cubicBezTo>
                  <a:close/>
                  <a:moveTo>
                    <a:pt x="706755" y="1565909"/>
                  </a:moveTo>
                  <a:cubicBezTo>
                    <a:pt x="718185" y="1565909"/>
                    <a:pt x="727710" y="1575434"/>
                    <a:pt x="727710" y="1586864"/>
                  </a:cubicBezTo>
                  <a:cubicBezTo>
                    <a:pt x="727710" y="1598294"/>
                    <a:pt x="718185" y="1607819"/>
                    <a:pt x="706755" y="1607819"/>
                  </a:cubicBezTo>
                  <a:cubicBezTo>
                    <a:pt x="695325" y="1607819"/>
                    <a:pt x="685800" y="1598294"/>
                    <a:pt x="685800" y="1586864"/>
                  </a:cubicBezTo>
                  <a:cubicBezTo>
                    <a:pt x="685800" y="1575434"/>
                    <a:pt x="695325" y="1565909"/>
                    <a:pt x="706755" y="1565909"/>
                  </a:cubicBezTo>
                  <a:close/>
                  <a:moveTo>
                    <a:pt x="1919288" y="1560195"/>
                  </a:moveTo>
                  <a:cubicBezTo>
                    <a:pt x="1926908" y="1560195"/>
                    <a:pt x="1932623" y="1565910"/>
                    <a:pt x="1932623" y="1573530"/>
                  </a:cubicBezTo>
                  <a:cubicBezTo>
                    <a:pt x="1932623" y="1581150"/>
                    <a:pt x="1926908" y="1586865"/>
                    <a:pt x="1919288" y="1586865"/>
                  </a:cubicBezTo>
                  <a:cubicBezTo>
                    <a:pt x="1911668" y="1586865"/>
                    <a:pt x="1905953" y="1580197"/>
                    <a:pt x="1905953" y="1573530"/>
                  </a:cubicBezTo>
                  <a:cubicBezTo>
                    <a:pt x="1905953" y="1565910"/>
                    <a:pt x="1911668" y="1560195"/>
                    <a:pt x="1919288" y="1560195"/>
                  </a:cubicBezTo>
                  <a:close/>
                  <a:moveTo>
                    <a:pt x="1571625" y="1560195"/>
                  </a:moveTo>
                  <a:cubicBezTo>
                    <a:pt x="1581150" y="1560195"/>
                    <a:pt x="1589723" y="1567815"/>
                    <a:pt x="1589723" y="1578292"/>
                  </a:cubicBezTo>
                  <a:cubicBezTo>
                    <a:pt x="1589723" y="1587817"/>
                    <a:pt x="1582103" y="1596390"/>
                    <a:pt x="1571625" y="1596390"/>
                  </a:cubicBezTo>
                  <a:cubicBezTo>
                    <a:pt x="1561148" y="1596390"/>
                    <a:pt x="1553528" y="1588770"/>
                    <a:pt x="1553528" y="1578292"/>
                  </a:cubicBezTo>
                  <a:cubicBezTo>
                    <a:pt x="1553528" y="1568767"/>
                    <a:pt x="1561148" y="1560195"/>
                    <a:pt x="1571625" y="1560195"/>
                  </a:cubicBezTo>
                  <a:close/>
                  <a:moveTo>
                    <a:pt x="2055495" y="1558290"/>
                  </a:moveTo>
                  <a:cubicBezTo>
                    <a:pt x="2056447" y="1558290"/>
                    <a:pt x="2057400" y="1559242"/>
                    <a:pt x="2057400" y="1560195"/>
                  </a:cubicBezTo>
                  <a:cubicBezTo>
                    <a:pt x="2057400" y="1561147"/>
                    <a:pt x="2056447" y="1562100"/>
                    <a:pt x="2055495" y="1562100"/>
                  </a:cubicBezTo>
                  <a:cubicBezTo>
                    <a:pt x="2054542" y="1562100"/>
                    <a:pt x="2053590" y="1561147"/>
                    <a:pt x="2053590" y="1560195"/>
                  </a:cubicBezTo>
                  <a:cubicBezTo>
                    <a:pt x="2053590" y="1559242"/>
                    <a:pt x="2054542" y="1558290"/>
                    <a:pt x="2055495" y="1558290"/>
                  </a:cubicBezTo>
                  <a:close/>
                  <a:moveTo>
                    <a:pt x="1776412" y="1557337"/>
                  </a:moveTo>
                  <a:cubicBezTo>
                    <a:pt x="1785937" y="1557337"/>
                    <a:pt x="1793557" y="1564957"/>
                    <a:pt x="1793557" y="1574482"/>
                  </a:cubicBezTo>
                  <a:cubicBezTo>
                    <a:pt x="1793557" y="1584007"/>
                    <a:pt x="1785937" y="1591627"/>
                    <a:pt x="1776412" y="1591627"/>
                  </a:cubicBezTo>
                  <a:cubicBezTo>
                    <a:pt x="1766887" y="1591627"/>
                    <a:pt x="1759267" y="1584007"/>
                    <a:pt x="1759267" y="1574482"/>
                  </a:cubicBezTo>
                  <a:cubicBezTo>
                    <a:pt x="1759267" y="1564957"/>
                    <a:pt x="1766887" y="1557337"/>
                    <a:pt x="1776412" y="1557337"/>
                  </a:cubicBezTo>
                  <a:close/>
                  <a:moveTo>
                    <a:pt x="824865" y="1553527"/>
                  </a:moveTo>
                  <a:cubicBezTo>
                    <a:pt x="836295" y="1553527"/>
                    <a:pt x="845820" y="1563052"/>
                    <a:pt x="845820" y="1574482"/>
                  </a:cubicBezTo>
                  <a:cubicBezTo>
                    <a:pt x="845820" y="1585912"/>
                    <a:pt x="836295" y="1595437"/>
                    <a:pt x="824865" y="1595437"/>
                  </a:cubicBezTo>
                  <a:cubicBezTo>
                    <a:pt x="813435" y="1595437"/>
                    <a:pt x="803910" y="1585912"/>
                    <a:pt x="803910" y="1574482"/>
                  </a:cubicBezTo>
                  <a:cubicBezTo>
                    <a:pt x="803910" y="1563052"/>
                    <a:pt x="813435" y="1553527"/>
                    <a:pt x="824865" y="1553527"/>
                  </a:cubicBezTo>
                  <a:close/>
                  <a:moveTo>
                    <a:pt x="1002029" y="1550670"/>
                  </a:moveTo>
                  <a:cubicBezTo>
                    <a:pt x="1013460" y="1550670"/>
                    <a:pt x="1022032" y="1559242"/>
                    <a:pt x="1022032" y="1570672"/>
                  </a:cubicBezTo>
                  <a:cubicBezTo>
                    <a:pt x="1022032" y="1582103"/>
                    <a:pt x="1013460" y="1590675"/>
                    <a:pt x="1002029" y="1590675"/>
                  </a:cubicBezTo>
                  <a:cubicBezTo>
                    <a:pt x="990600" y="1590675"/>
                    <a:pt x="982027" y="1582103"/>
                    <a:pt x="982027" y="1570672"/>
                  </a:cubicBezTo>
                  <a:cubicBezTo>
                    <a:pt x="982027" y="1559242"/>
                    <a:pt x="990600" y="1550670"/>
                    <a:pt x="1002029" y="1550670"/>
                  </a:cubicBezTo>
                  <a:close/>
                  <a:moveTo>
                    <a:pt x="1626870" y="1544002"/>
                  </a:moveTo>
                  <a:cubicBezTo>
                    <a:pt x="1637347" y="1544002"/>
                    <a:pt x="1645920" y="1552574"/>
                    <a:pt x="1645920" y="1563052"/>
                  </a:cubicBezTo>
                  <a:cubicBezTo>
                    <a:pt x="1645920" y="1573529"/>
                    <a:pt x="1637347" y="1582102"/>
                    <a:pt x="1626870" y="1582102"/>
                  </a:cubicBezTo>
                  <a:cubicBezTo>
                    <a:pt x="1616392" y="1582102"/>
                    <a:pt x="1607820" y="1573529"/>
                    <a:pt x="1607820" y="1563052"/>
                  </a:cubicBezTo>
                  <a:cubicBezTo>
                    <a:pt x="1607820" y="1552574"/>
                    <a:pt x="1616392" y="1544002"/>
                    <a:pt x="1626870" y="1544002"/>
                  </a:cubicBezTo>
                  <a:close/>
                  <a:moveTo>
                    <a:pt x="545782" y="1539240"/>
                  </a:moveTo>
                  <a:cubicBezTo>
                    <a:pt x="557212" y="1539240"/>
                    <a:pt x="566737" y="1548765"/>
                    <a:pt x="566737" y="1560195"/>
                  </a:cubicBezTo>
                  <a:cubicBezTo>
                    <a:pt x="566737" y="1571625"/>
                    <a:pt x="557212" y="1581150"/>
                    <a:pt x="545782" y="1581150"/>
                  </a:cubicBezTo>
                  <a:cubicBezTo>
                    <a:pt x="534352" y="1581150"/>
                    <a:pt x="524827" y="1571625"/>
                    <a:pt x="524827" y="1560195"/>
                  </a:cubicBezTo>
                  <a:cubicBezTo>
                    <a:pt x="524827" y="1548765"/>
                    <a:pt x="534352" y="1539240"/>
                    <a:pt x="545782" y="1539240"/>
                  </a:cubicBezTo>
                  <a:close/>
                  <a:moveTo>
                    <a:pt x="657225" y="1538287"/>
                  </a:moveTo>
                  <a:cubicBezTo>
                    <a:pt x="668655" y="1538287"/>
                    <a:pt x="677228" y="1546859"/>
                    <a:pt x="677228" y="1558290"/>
                  </a:cubicBezTo>
                  <a:cubicBezTo>
                    <a:pt x="677228" y="1569720"/>
                    <a:pt x="668655" y="1578292"/>
                    <a:pt x="657225" y="1578292"/>
                  </a:cubicBezTo>
                  <a:cubicBezTo>
                    <a:pt x="645796" y="1578292"/>
                    <a:pt x="637223" y="1568767"/>
                    <a:pt x="637223" y="1558290"/>
                  </a:cubicBezTo>
                  <a:cubicBezTo>
                    <a:pt x="637223" y="1546859"/>
                    <a:pt x="645796" y="1538287"/>
                    <a:pt x="657225" y="1538287"/>
                  </a:cubicBezTo>
                  <a:close/>
                  <a:moveTo>
                    <a:pt x="437198" y="1538287"/>
                  </a:moveTo>
                  <a:cubicBezTo>
                    <a:pt x="447675" y="1538287"/>
                    <a:pt x="456248" y="1546859"/>
                    <a:pt x="456248" y="1557337"/>
                  </a:cubicBezTo>
                  <a:cubicBezTo>
                    <a:pt x="456248" y="1567815"/>
                    <a:pt x="447675" y="1576387"/>
                    <a:pt x="437198" y="1576387"/>
                  </a:cubicBezTo>
                  <a:cubicBezTo>
                    <a:pt x="426720" y="1576387"/>
                    <a:pt x="418148" y="1567815"/>
                    <a:pt x="418148" y="1557337"/>
                  </a:cubicBezTo>
                  <a:cubicBezTo>
                    <a:pt x="418148" y="1546859"/>
                    <a:pt x="426720" y="1538287"/>
                    <a:pt x="437198" y="1538287"/>
                  </a:cubicBezTo>
                  <a:close/>
                  <a:moveTo>
                    <a:pt x="1300163" y="1534477"/>
                  </a:moveTo>
                  <a:cubicBezTo>
                    <a:pt x="1307783" y="1534477"/>
                    <a:pt x="1314450" y="1541144"/>
                    <a:pt x="1314450" y="1548765"/>
                  </a:cubicBezTo>
                  <a:cubicBezTo>
                    <a:pt x="1314450" y="1556384"/>
                    <a:pt x="1307783" y="1563052"/>
                    <a:pt x="1300163" y="1563052"/>
                  </a:cubicBezTo>
                  <a:cubicBezTo>
                    <a:pt x="1292542" y="1563052"/>
                    <a:pt x="1285875" y="1556384"/>
                    <a:pt x="1285875" y="1548765"/>
                  </a:cubicBezTo>
                  <a:cubicBezTo>
                    <a:pt x="1285875" y="1541144"/>
                    <a:pt x="1292542" y="1534477"/>
                    <a:pt x="1300163" y="1534477"/>
                  </a:cubicBezTo>
                  <a:close/>
                  <a:moveTo>
                    <a:pt x="946785" y="1534477"/>
                  </a:moveTo>
                  <a:cubicBezTo>
                    <a:pt x="957262" y="1534477"/>
                    <a:pt x="965835" y="1543049"/>
                    <a:pt x="965835" y="1553527"/>
                  </a:cubicBezTo>
                  <a:cubicBezTo>
                    <a:pt x="965835" y="1564004"/>
                    <a:pt x="957262" y="1572577"/>
                    <a:pt x="946785" y="1572577"/>
                  </a:cubicBezTo>
                  <a:cubicBezTo>
                    <a:pt x="936308" y="1572577"/>
                    <a:pt x="927735" y="1564004"/>
                    <a:pt x="927735" y="1553527"/>
                  </a:cubicBezTo>
                  <a:cubicBezTo>
                    <a:pt x="927735" y="1543049"/>
                    <a:pt x="936308" y="1534477"/>
                    <a:pt x="946785" y="1534477"/>
                  </a:cubicBezTo>
                  <a:close/>
                  <a:moveTo>
                    <a:pt x="1827848" y="1532572"/>
                  </a:moveTo>
                  <a:cubicBezTo>
                    <a:pt x="1837373" y="1532572"/>
                    <a:pt x="1844993" y="1540192"/>
                    <a:pt x="1844993" y="1549717"/>
                  </a:cubicBezTo>
                  <a:cubicBezTo>
                    <a:pt x="1844993" y="1559242"/>
                    <a:pt x="1837373" y="1566862"/>
                    <a:pt x="1827848" y="1566862"/>
                  </a:cubicBezTo>
                  <a:cubicBezTo>
                    <a:pt x="1819275" y="1566862"/>
                    <a:pt x="1810703" y="1559242"/>
                    <a:pt x="1810703" y="1549717"/>
                  </a:cubicBezTo>
                  <a:cubicBezTo>
                    <a:pt x="1810703" y="1540192"/>
                    <a:pt x="1818323" y="1532572"/>
                    <a:pt x="1827848" y="1532572"/>
                  </a:cubicBezTo>
                  <a:close/>
                  <a:moveTo>
                    <a:pt x="1358266" y="1532572"/>
                  </a:moveTo>
                  <a:cubicBezTo>
                    <a:pt x="1365885" y="1532572"/>
                    <a:pt x="1372553" y="1539240"/>
                    <a:pt x="1372553" y="1546860"/>
                  </a:cubicBezTo>
                  <a:cubicBezTo>
                    <a:pt x="1372553" y="1554480"/>
                    <a:pt x="1365885" y="1561147"/>
                    <a:pt x="1358266" y="1561147"/>
                  </a:cubicBezTo>
                  <a:cubicBezTo>
                    <a:pt x="1350645" y="1561147"/>
                    <a:pt x="1343978" y="1554480"/>
                    <a:pt x="1343978" y="1546860"/>
                  </a:cubicBezTo>
                  <a:cubicBezTo>
                    <a:pt x="1343978" y="1539240"/>
                    <a:pt x="1350645" y="1532572"/>
                    <a:pt x="1358266" y="1532572"/>
                  </a:cubicBezTo>
                  <a:close/>
                  <a:moveTo>
                    <a:pt x="1243012" y="1531620"/>
                  </a:moveTo>
                  <a:cubicBezTo>
                    <a:pt x="1251585" y="1531620"/>
                    <a:pt x="1258252" y="1538287"/>
                    <a:pt x="1258252" y="1546860"/>
                  </a:cubicBezTo>
                  <a:cubicBezTo>
                    <a:pt x="1258252" y="1555433"/>
                    <a:pt x="1251585" y="1562100"/>
                    <a:pt x="1243012" y="1562100"/>
                  </a:cubicBezTo>
                  <a:cubicBezTo>
                    <a:pt x="1234440" y="1562100"/>
                    <a:pt x="1227772" y="1555433"/>
                    <a:pt x="1227772" y="1546860"/>
                  </a:cubicBezTo>
                  <a:cubicBezTo>
                    <a:pt x="1227772" y="1538287"/>
                    <a:pt x="1234440" y="1531620"/>
                    <a:pt x="1243012" y="1531620"/>
                  </a:cubicBezTo>
                  <a:close/>
                  <a:moveTo>
                    <a:pt x="332423" y="1530667"/>
                  </a:moveTo>
                  <a:cubicBezTo>
                    <a:pt x="342900" y="1530667"/>
                    <a:pt x="351473" y="1539240"/>
                    <a:pt x="351473" y="1549717"/>
                  </a:cubicBezTo>
                  <a:cubicBezTo>
                    <a:pt x="351473" y="1560195"/>
                    <a:pt x="342900" y="1568767"/>
                    <a:pt x="332423" y="1568767"/>
                  </a:cubicBezTo>
                  <a:cubicBezTo>
                    <a:pt x="321945" y="1568767"/>
                    <a:pt x="313373" y="1560195"/>
                    <a:pt x="313373" y="1549717"/>
                  </a:cubicBezTo>
                  <a:cubicBezTo>
                    <a:pt x="313373" y="1539240"/>
                    <a:pt x="321945" y="1530667"/>
                    <a:pt x="332423" y="1530667"/>
                  </a:cubicBezTo>
                  <a:close/>
                  <a:moveTo>
                    <a:pt x="1415415" y="1529715"/>
                  </a:moveTo>
                  <a:cubicBezTo>
                    <a:pt x="1422254" y="1529715"/>
                    <a:pt x="1427798" y="1535259"/>
                    <a:pt x="1427798" y="1542097"/>
                  </a:cubicBezTo>
                  <a:cubicBezTo>
                    <a:pt x="1427798" y="1548936"/>
                    <a:pt x="1422254" y="1554480"/>
                    <a:pt x="1415415" y="1554480"/>
                  </a:cubicBezTo>
                  <a:cubicBezTo>
                    <a:pt x="1408577" y="1554480"/>
                    <a:pt x="1403033" y="1548936"/>
                    <a:pt x="1403033" y="1542097"/>
                  </a:cubicBezTo>
                  <a:cubicBezTo>
                    <a:pt x="1403033" y="1535259"/>
                    <a:pt x="1408577" y="1529715"/>
                    <a:pt x="1415415" y="1529715"/>
                  </a:cubicBezTo>
                  <a:close/>
                  <a:moveTo>
                    <a:pt x="773429" y="1529715"/>
                  </a:moveTo>
                  <a:cubicBezTo>
                    <a:pt x="784860" y="1529715"/>
                    <a:pt x="793432" y="1539240"/>
                    <a:pt x="793432" y="1549717"/>
                  </a:cubicBezTo>
                  <a:cubicBezTo>
                    <a:pt x="793432" y="1561147"/>
                    <a:pt x="783907" y="1569720"/>
                    <a:pt x="773429" y="1569720"/>
                  </a:cubicBezTo>
                  <a:cubicBezTo>
                    <a:pt x="762000" y="1569720"/>
                    <a:pt x="753427" y="1560195"/>
                    <a:pt x="753427" y="1549717"/>
                  </a:cubicBezTo>
                  <a:cubicBezTo>
                    <a:pt x="753427" y="1538287"/>
                    <a:pt x="762952" y="1529715"/>
                    <a:pt x="773429" y="1529715"/>
                  </a:cubicBezTo>
                  <a:close/>
                  <a:moveTo>
                    <a:pt x="1967866" y="1528762"/>
                  </a:moveTo>
                  <a:cubicBezTo>
                    <a:pt x="1975485" y="1528762"/>
                    <a:pt x="1982153" y="1535429"/>
                    <a:pt x="1982153" y="1543050"/>
                  </a:cubicBezTo>
                  <a:cubicBezTo>
                    <a:pt x="1982153" y="1550670"/>
                    <a:pt x="1976438" y="1557337"/>
                    <a:pt x="1967866" y="1557337"/>
                  </a:cubicBezTo>
                  <a:cubicBezTo>
                    <a:pt x="1960245" y="1557337"/>
                    <a:pt x="1953578" y="1550670"/>
                    <a:pt x="1953578" y="1543050"/>
                  </a:cubicBezTo>
                  <a:cubicBezTo>
                    <a:pt x="1953578" y="1535429"/>
                    <a:pt x="1959293" y="1528762"/>
                    <a:pt x="1967866" y="1528762"/>
                  </a:cubicBezTo>
                  <a:close/>
                  <a:moveTo>
                    <a:pt x="1185862" y="1528762"/>
                  </a:moveTo>
                  <a:cubicBezTo>
                    <a:pt x="1193482" y="1528762"/>
                    <a:pt x="1200150" y="1534477"/>
                    <a:pt x="1200150" y="1543050"/>
                  </a:cubicBezTo>
                  <a:cubicBezTo>
                    <a:pt x="1200150" y="1550670"/>
                    <a:pt x="1194435" y="1557337"/>
                    <a:pt x="1185862" y="1557337"/>
                  </a:cubicBezTo>
                  <a:cubicBezTo>
                    <a:pt x="1177290" y="1557337"/>
                    <a:pt x="1170622" y="1550670"/>
                    <a:pt x="1171575" y="1543050"/>
                  </a:cubicBezTo>
                  <a:cubicBezTo>
                    <a:pt x="1171575" y="1535429"/>
                    <a:pt x="1178242" y="1528762"/>
                    <a:pt x="1185862" y="1528762"/>
                  </a:cubicBezTo>
                  <a:close/>
                  <a:moveTo>
                    <a:pt x="1681162" y="1526857"/>
                  </a:moveTo>
                  <a:cubicBezTo>
                    <a:pt x="1690687" y="1526857"/>
                    <a:pt x="1698307" y="1534477"/>
                    <a:pt x="1698307" y="1544002"/>
                  </a:cubicBezTo>
                  <a:cubicBezTo>
                    <a:pt x="1698307" y="1553527"/>
                    <a:pt x="1690687" y="1561147"/>
                    <a:pt x="1681162" y="1561147"/>
                  </a:cubicBezTo>
                  <a:cubicBezTo>
                    <a:pt x="1672590" y="1561147"/>
                    <a:pt x="1664970" y="1553527"/>
                    <a:pt x="1664017" y="1544002"/>
                  </a:cubicBezTo>
                  <a:cubicBezTo>
                    <a:pt x="1664017" y="1534477"/>
                    <a:pt x="1671637" y="1526857"/>
                    <a:pt x="1681162" y="1526857"/>
                  </a:cubicBezTo>
                  <a:close/>
                  <a:moveTo>
                    <a:pt x="1472566" y="1522095"/>
                  </a:moveTo>
                  <a:cubicBezTo>
                    <a:pt x="1479233" y="1522095"/>
                    <a:pt x="1484948" y="1527810"/>
                    <a:pt x="1484948" y="1534478"/>
                  </a:cubicBezTo>
                  <a:cubicBezTo>
                    <a:pt x="1484948" y="1541145"/>
                    <a:pt x="1479233" y="1546860"/>
                    <a:pt x="1472566" y="1546860"/>
                  </a:cubicBezTo>
                  <a:cubicBezTo>
                    <a:pt x="1465898" y="1546860"/>
                    <a:pt x="1460183" y="1541145"/>
                    <a:pt x="1460183" y="1534478"/>
                  </a:cubicBezTo>
                  <a:cubicBezTo>
                    <a:pt x="1460183" y="1527810"/>
                    <a:pt x="1465898" y="1522095"/>
                    <a:pt x="1472566" y="1522095"/>
                  </a:cubicBezTo>
                  <a:close/>
                  <a:moveTo>
                    <a:pt x="2101215" y="1519237"/>
                  </a:moveTo>
                  <a:cubicBezTo>
                    <a:pt x="2104072" y="1519237"/>
                    <a:pt x="2106930" y="1522095"/>
                    <a:pt x="2106930" y="1524952"/>
                  </a:cubicBezTo>
                  <a:cubicBezTo>
                    <a:pt x="2106930" y="1527809"/>
                    <a:pt x="2104072" y="1530667"/>
                    <a:pt x="2101215" y="1530667"/>
                  </a:cubicBezTo>
                  <a:cubicBezTo>
                    <a:pt x="2098358" y="1530667"/>
                    <a:pt x="2096453" y="1528762"/>
                    <a:pt x="2095500" y="1524952"/>
                  </a:cubicBezTo>
                  <a:cubicBezTo>
                    <a:pt x="2095500" y="1522095"/>
                    <a:pt x="2098358" y="1519237"/>
                    <a:pt x="2101215" y="1519237"/>
                  </a:cubicBezTo>
                  <a:close/>
                  <a:moveTo>
                    <a:pt x="1128712" y="1516379"/>
                  </a:moveTo>
                  <a:cubicBezTo>
                    <a:pt x="1138237" y="1516379"/>
                    <a:pt x="1145857" y="1523999"/>
                    <a:pt x="1145857" y="1533524"/>
                  </a:cubicBezTo>
                  <a:cubicBezTo>
                    <a:pt x="1145857" y="1543049"/>
                    <a:pt x="1138237" y="1550669"/>
                    <a:pt x="1128712" y="1550669"/>
                  </a:cubicBezTo>
                  <a:cubicBezTo>
                    <a:pt x="1119187" y="1550669"/>
                    <a:pt x="1111567" y="1543049"/>
                    <a:pt x="1111567" y="1533524"/>
                  </a:cubicBezTo>
                  <a:cubicBezTo>
                    <a:pt x="1111567" y="1523999"/>
                    <a:pt x="1119187" y="1516379"/>
                    <a:pt x="1128712" y="1516379"/>
                  </a:cubicBezTo>
                  <a:close/>
                  <a:moveTo>
                    <a:pt x="892492" y="1515427"/>
                  </a:moveTo>
                  <a:cubicBezTo>
                    <a:pt x="902017" y="1515427"/>
                    <a:pt x="910590" y="1523999"/>
                    <a:pt x="910590" y="1533524"/>
                  </a:cubicBezTo>
                  <a:cubicBezTo>
                    <a:pt x="910590" y="1543049"/>
                    <a:pt x="902970" y="1551622"/>
                    <a:pt x="892492" y="1551622"/>
                  </a:cubicBezTo>
                  <a:cubicBezTo>
                    <a:pt x="882967" y="1551622"/>
                    <a:pt x="874395" y="1543049"/>
                    <a:pt x="874395" y="1533524"/>
                  </a:cubicBezTo>
                  <a:cubicBezTo>
                    <a:pt x="874395" y="1523999"/>
                    <a:pt x="882015" y="1515427"/>
                    <a:pt x="892492" y="1515427"/>
                  </a:cubicBezTo>
                  <a:close/>
                  <a:moveTo>
                    <a:pt x="1529715" y="1509712"/>
                  </a:moveTo>
                  <a:cubicBezTo>
                    <a:pt x="1537335" y="1509712"/>
                    <a:pt x="1543050" y="1515427"/>
                    <a:pt x="1543050" y="1523047"/>
                  </a:cubicBezTo>
                  <a:cubicBezTo>
                    <a:pt x="1543050" y="1530667"/>
                    <a:pt x="1537335" y="1536382"/>
                    <a:pt x="1529715" y="1536382"/>
                  </a:cubicBezTo>
                  <a:cubicBezTo>
                    <a:pt x="1522095" y="1536382"/>
                    <a:pt x="1516380" y="1529715"/>
                    <a:pt x="1516380" y="1523047"/>
                  </a:cubicBezTo>
                  <a:cubicBezTo>
                    <a:pt x="1516380" y="1515427"/>
                    <a:pt x="1522095" y="1509712"/>
                    <a:pt x="1529715" y="1509712"/>
                  </a:cubicBezTo>
                  <a:close/>
                  <a:moveTo>
                    <a:pt x="1071563" y="1507807"/>
                  </a:moveTo>
                  <a:cubicBezTo>
                    <a:pt x="1080136" y="1507807"/>
                    <a:pt x="1086803" y="1514474"/>
                    <a:pt x="1086803" y="1523047"/>
                  </a:cubicBezTo>
                  <a:cubicBezTo>
                    <a:pt x="1086803" y="1531620"/>
                    <a:pt x="1080136" y="1538287"/>
                    <a:pt x="1071563" y="1538287"/>
                  </a:cubicBezTo>
                  <a:cubicBezTo>
                    <a:pt x="1062990" y="1538287"/>
                    <a:pt x="1056323" y="1531620"/>
                    <a:pt x="1056323" y="1523047"/>
                  </a:cubicBezTo>
                  <a:cubicBezTo>
                    <a:pt x="1056323" y="1514474"/>
                    <a:pt x="1062990" y="1507807"/>
                    <a:pt x="1071563" y="1507807"/>
                  </a:cubicBezTo>
                  <a:close/>
                  <a:moveTo>
                    <a:pt x="1878330" y="1504950"/>
                  </a:moveTo>
                  <a:cubicBezTo>
                    <a:pt x="1887855" y="1504950"/>
                    <a:pt x="1895475" y="1512570"/>
                    <a:pt x="1895475" y="1522095"/>
                  </a:cubicBezTo>
                  <a:cubicBezTo>
                    <a:pt x="1895475" y="1531620"/>
                    <a:pt x="1887855" y="1539240"/>
                    <a:pt x="1878330" y="1539240"/>
                  </a:cubicBezTo>
                  <a:cubicBezTo>
                    <a:pt x="1869758" y="1539240"/>
                    <a:pt x="1861185" y="1531620"/>
                    <a:pt x="1861185" y="1522095"/>
                  </a:cubicBezTo>
                  <a:cubicBezTo>
                    <a:pt x="1861185" y="1512570"/>
                    <a:pt x="1868805" y="1504950"/>
                    <a:pt x="1878330" y="1504950"/>
                  </a:cubicBezTo>
                  <a:close/>
                  <a:moveTo>
                    <a:pt x="1735455" y="1504950"/>
                  </a:moveTo>
                  <a:cubicBezTo>
                    <a:pt x="1744980" y="1504950"/>
                    <a:pt x="1752600" y="1512570"/>
                    <a:pt x="1752600" y="1522095"/>
                  </a:cubicBezTo>
                  <a:cubicBezTo>
                    <a:pt x="1752600" y="1531620"/>
                    <a:pt x="1744980" y="1539240"/>
                    <a:pt x="1735455" y="1539240"/>
                  </a:cubicBezTo>
                  <a:cubicBezTo>
                    <a:pt x="1725930" y="1539240"/>
                    <a:pt x="1718310" y="1531620"/>
                    <a:pt x="1718310" y="1522095"/>
                  </a:cubicBezTo>
                  <a:cubicBezTo>
                    <a:pt x="1718310" y="1512570"/>
                    <a:pt x="1725930" y="1504950"/>
                    <a:pt x="1735455" y="1504950"/>
                  </a:cubicBezTo>
                  <a:close/>
                  <a:moveTo>
                    <a:pt x="608647" y="1504950"/>
                  </a:moveTo>
                  <a:cubicBezTo>
                    <a:pt x="620077" y="1504950"/>
                    <a:pt x="629602" y="1514475"/>
                    <a:pt x="629602" y="1525905"/>
                  </a:cubicBezTo>
                  <a:cubicBezTo>
                    <a:pt x="629602" y="1537335"/>
                    <a:pt x="620077" y="1546860"/>
                    <a:pt x="608647" y="1546860"/>
                  </a:cubicBezTo>
                  <a:cubicBezTo>
                    <a:pt x="597217" y="1546860"/>
                    <a:pt x="588645" y="1538288"/>
                    <a:pt x="587692" y="1525905"/>
                  </a:cubicBezTo>
                  <a:cubicBezTo>
                    <a:pt x="587692" y="1514475"/>
                    <a:pt x="597217" y="1504950"/>
                    <a:pt x="608647" y="1504950"/>
                  </a:cubicBezTo>
                  <a:close/>
                  <a:moveTo>
                    <a:pt x="499110" y="1504950"/>
                  </a:moveTo>
                  <a:cubicBezTo>
                    <a:pt x="510540" y="1504950"/>
                    <a:pt x="520065" y="1514475"/>
                    <a:pt x="520065" y="1525905"/>
                  </a:cubicBezTo>
                  <a:cubicBezTo>
                    <a:pt x="520065" y="1537335"/>
                    <a:pt x="510540" y="1546860"/>
                    <a:pt x="499110" y="1546860"/>
                  </a:cubicBezTo>
                  <a:cubicBezTo>
                    <a:pt x="487680" y="1546860"/>
                    <a:pt x="478155" y="1537335"/>
                    <a:pt x="478155" y="1525905"/>
                  </a:cubicBezTo>
                  <a:cubicBezTo>
                    <a:pt x="478155" y="1514475"/>
                    <a:pt x="487680" y="1504950"/>
                    <a:pt x="499110" y="1504950"/>
                  </a:cubicBezTo>
                  <a:close/>
                  <a:moveTo>
                    <a:pt x="291465" y="1504950"/>
                  </a:moveTo>
                  <a:cubicBezTo>
                    <a:pt x="294323" y="1504950"/>
                    <a:pt x="296228" y="1506855"/>
                    <a:pt x="296228" y="1509713"/>
                  </a:cubicBezTo>
                  <a:cubicBezTo>
                    <a:pt x="296228" y="1512570"/>
                    <a:pt x="294323" y="1514475"/>
                    <a:pt x="291465" y="1514475"/>
                  </a:cubicBezTo>
                  <a:cubicBezTo>
                    <a:pt x="288608" y="1514475"/>
                    <a:pt x="285750" y="1512570"/>
                    <a:pt x="286703" y="1509713"/>
                  </a:cubicBezTo>
                  <a:cubicBezTo>
                    <a:pt x="286703" y="1506855"/>
                    <a:pt x="288608" y="1504950"/>
                    <a:pt x="291465" y="1504950"/>
                  </a:cubicBezTo>
                  <a:close/>
                  <a:moveTo>
                    <a:pt x="721995" y="1501140"/>
                  </a:moveTo>
                  <a:cubicBezTo>
                    <a:pt x="733425" y="1501140"/>
                    <a:pt x="742950" y="1510665"/>
                    <a:pt x="742950" y="1522095"/>
                  </a:cubicBezTo>
                  <a:cubicBezTo>
                    <a:pt x="742950" y="1533525"/>
                    <a:pt x="733425" y="1543050"/>
                    <a:pt x="721995" y="1543050"/>
                  </a:cubicBezTo>
                  <a:cubicBezTo>
                    <a:pt x="710565" y="1543050"/>
                    <a:pt x="701992" y="1533525"/>
                    <a:pt x="701040" y="1522095"/>
                  </a:cubicBezTo>
                  <a:cubicBezTo>
                    <a:pt x="701040" y="1510665"/>
                    <a:pt x="710565" y="1501140"/>
                    <a:pt x="721995" y="1501140"/>
                  </a:cubicBezTo>
                  <a:close/>
                  <a:moveTo>
                    <a:pt x="393382" y="1498282"/>
                  </a:moveTo>
                  <a:cubicBezTo>
                    <a:pt x="404812" y="1498282"/>
                    <a:pt x="414337" y="1507807"/>
                    <a:pt x="414337" y="1519237"/>
                  </a:cubicBezTo>
                  <a:cubicBezTo>
                    <a:pt x="414337" y="1530667"/>
                    <a:pt x="404812" y="1540192"/>
                    <a:pt x="393382" y="1540192"/>
                  </a:cubicBezTo>
                  <a:cubicBezTo>
                    <a:pt x="381952" y="1540192"/>
                    <a:pt x="372427" y="1530667"/>
                    <a:pt x="372427" y="1519237"/>
                  </a:cubicBezTo>
                  <a:cubicBezTo>
                    <a:pt x="372427" y="1507807"/>
                    <a:pt x="381952" y="1498282"/>
                    <a:pt x="393382" y="1498282"/>
                  </a:cubicBezTo>
                  <a:close/>
                  <a:moveTo>
                    <a:pt x="2015491" y="1495425"/>
                  </a:moveTo>
                  <a:cubicBezTo>
                    <a:pt x="2023110" y="1495425"/>
                    <a:pt x="2029778" y="1502092"/>
                    <a:pt x="2029778" y="1509713"/>
                  </a:cubicBezTo>
                  <a:cubicBezTo>
                    <a:pt x="2029778" y="1517333"/>
                    <a:pt x="2023110" y="1524000"/>
                    <a:pt x="2015491" y="1524000"/>
                  </a:cubicBezTo>
                  <a:cubicBezTo>
                    <a:pt x="2007870" y="1524000"/>
                    <a:pt x="2001203" y="1518285"/>
                    <a:pt x="2001203" y="1509713"/>
                  </a:cubicBezTo>
                  <a:cubicBezTo>
                    <a:pt x="2001203" y="1502092"/>
                    <a:pt x="2007870" y="1495425"/>
                    <a:pt x="2015491" y="1495425"/>
                  </a:cubicBezTo>
                  <a:close/>
                  <a:moveTo>
                    <a:pt x="1584960" y="1495425"/>
                  </a:moveTo>
                  <a:cubicBezTo>
                    <a:pt x="1591628" y="1495425"/>
                    <a:pt x="1597343" y="1501140"/>
                    <a:pt x="1597343" y="1507808"/>
                  </a:cubicBezTo>
                  <a:cubicBezTo>
                    <a:pt x="1597343" y="1514475"/>
                    <a:pt x="1591628" y="1520190"/>
                    <a:pt x="1584960" y="1520190"/>
                  </a:cubicBezTo>
                  <a:cubicBezTo>
                    <a:pt x="1578293" y="1520190"/>
                    <a:pt x="1572578" y="1515428"/>
                    <a:pt x="1572578" y="1507808"/>
                  </a:cubicBezTo>
                  <a:cubicBezTo>
                    <a:pt x="1572578" y="1501140"/>
                    <a:pt x="1578293" y="1495425"/>
                    <a:pt x="1584960" y="1495425"/>
                  </a:cubicBezTo>
                  <a:close/>
                  <a:moveTo>
                    <a:pt x="840105" y="1492567"/>
                  </a:moveTo>
                  <a:cubicBezTo>
                    <a:pt x="849630" y="1492567"/>
                    <a:pt x="858203" y="1500187"/>
                    <a:pt x="858203" y="1510665"/>
                  </a:cubicBezTo>
                  <a:cubicBezTo>
                    <a:pt x="858203" y="1520190"/>
                    <a:pt x="850583" y="1528762"/>
                    <a:pt x="840105" y="1528762"/>
                  </a:cubicBezTo>
                  <a:cubicBezTo>
                    <a:pt x="829628" y="1528762"/>
                    <a:pt x="822008" y="1521142"/>
                    <a:pt x="822008" y="1510665"/>
                  </a:cubicBezTo>
                  <a:cubicBezTo>
                    <a:pt x="822008" y="1501140"/>
                    <a:pt x="829628" y="1492567"/>
                    <a:pt x="840105" y="1492567"/>
                  </a:cubicBezTo>
                  <a:close/>
                  <a:moveTo>
                    <a:pt x="1016317" y="1491615"/>
                  </a:moveTo>
                  <a:cubicBezTo>
                    <a:pt x="1024890" y="1491615"/>
                    <a:pt x="1032510" y="1499235"/>
                    <a:pt x="1032510" y="1507807"/>
                  </a:cubicBezTo>
                  <a:cubicBezTo>
                    <a:pt x="1032510" y="1516380"/>
                    <a:pt x="1024890" y="1524000"/>
                    <a:pt x="1016317" y="1524000"/>
                  </a:cubicBezTo>
                  <a:cubicBezTo>
                    <a:pt x="1006792" y="1524000"/>
                    <a:pt x="1000125" y="1517332"/>
                    <a:pt x="1000125" y="1507807"/>
                  </a:cubicBezTo>
                  <a:cubicBezTo>
                    <a:pt x="1000125" y="1499235"/>
                    <a:pt x="1007745" y="1491615"/>
                    <a:pt x="1016317" y="1491615"/>
                  </a:cubicBezTo>
                  <a:close/>
                  <a:moveTo>
                    <a:pt x="2145982" y="1483995"/>
                  </a:moveTo>
                  <a:cubicBezTo>
                    <a:pt x="2147887" y="1483995"/>
                    <a:pt x="2149792" y="1485900"/>
                    <a:pt x="2149792" y="1487805"/>
                  </a:cubicBezTo>
                  <a:cubicBezTo>
                    <a:pt x="2149792" y="1489710"/>
                    <a:pt x="2147887" y="1491615"/>
                    <a:pt x="2145982" y="1491615"/>
                  </a:cubicBezTo>
                  <a:cubicBezTo>
                    <a:pt x="2144077" y="1491615"/>
                    <a:pt x="2142172" y="1490662"/>
                    <a:pt x="2142172" y="1487805"/>
                  </a:cubicBezTo>
                  <a:cubicBezTo>
                    <a:pt x="2142172" y="1485900"/>
                    <a:pt x="2144077" y="1483995"/>
                    <a:pt x="2145982" y="1483995"/>
                  </a:cubicBezTo>
                  <a:close/>
                  <a:moveTo>
                    <a:pt x="1787842" y="1481137"/>
                  </a:moveTo>
                  <a:cubicBezTo>
                    <a:pt x="1797367" y="1481137"/>
                    <a:pt x="1804987" y="1488757"/>
                    <a:pt x="1804987" y="1498282"/>
                  </a:cubicBezTo>
                  <a:cubicBezTo>
                    <a:pt x="1804987" y="1507807"/>
                    <a:pt x="1797367" y="1515427"/>
                    <a:pt x="1787842" y="1515427"/>
                  </a:cubicBezTo>
                  <a:cubicBezTo>
                    <a:pt x="1778317" y="1515427"/>
                    <a:pt x="1770697" y="1507807"/>
                    <a:pt x="1770697" y="1498282"/>
                  </a:cubicBezTo>
                  <a:cubicBezTo>
                    <a:pt x="1770697" y="1488757"/>
                    <a:pt x="1778317" y="1481137"/>
                    <a:pt x="1787842" y="1481137"/>
                  </a:cubicBezTo>
                  <a:close/>
                  <a:moveTo>
                    <a:pt x="1640205" y="1479232"/>
                  </a:moveTo>
                  <a:cubicBezTo>
                    <a:pt x="1646872" y="1479232"/>
                    <a:pt x="1651635" y="1483995"/>
                    <a:pt x="1651635" y="1490662"/>
                  </a:cubicBezTo>
                  <a:cubicBezTo>
                    <a:pt x="1651635" y="1497329"/>
                    <a:pt x="1646872" y="1502092"/>
                    <a:pt x="1640205" y="1502092"/>
                  </a:cubicBezTo>
                  <a:cubicBezTo>
                    <a:pt x="1633538" y="1502092"/>
                    <a:pt x="1628775" y="1497329"/>
                    <a:pt x="1628775" y="1490662"/>
                  </a:cubicBezTo>
                  <a:cubicBezTo>
                    <a:pt x="1628775" y="1483995"/>
                    <a:pt x="1633538" y="1479232"/>
                    <a:pt x="1640205" y="1479232"/>
                  </a:cubicBezTo>
                  <a:close/>
                  <a:moveTo>
                    <a:pt x="1927860" y="1478279"/>
                  </a:moveTo>
                  <a:cubicBezTo>
                    <a:pt x="1935480" y="1478279"/>
                    <a:pt x="1942147" y="1483994"/>
                    <a:pt x="1942147" y="1492567"/>
                  </a:cubicBezTo>
                  <a:cubicBezTo>
                    <a:pt x="1942147" y="1500187"/>
                    <a:pt x="1936432" y="1506854"/>
                    <a:pt x="1927860" y="1506854"/>
                  </a:cubicBezTo>
                  <a:cubicBezTo>
                    <a:pt x="1920240" y="1506854"/>
                    <a:pt x="1913572" y="1500187"/>
                    <a:pt x="1913572" y="1492567"/>
                  </a:cubicBezTo>
                  <a:cubicBezTo>
                    <a:pt x="1913572" y="1484946"/>
                    <a:pt x="1919287" y="1478279"/>
                    <a:pt x="1927860" y="1478279"/>
                  </a:cubicBezTo>
                  <a:close/>
                  <a:moveTo>
                    <a:pt x="961073" y="1476375"/>
                  </a:moveTo>
                  <a:cubicBezTo>
                    <a:pt x="969646" y="1476375"/>
                    <a:pt x="976313" y="1483042"/>
                    <a:pt x="976313" y="1491615"/>
                  </a:cubicBezTo>
                  <a:cubicBezTo>
                    <a:pt x="976313" y="1500188"/>
                    <a:pt x="969646" y="1506855"/>
                    <a:pt x="961073" y="1506855"/>
                  </a:cubicBezTo>
                  <a:cubicBezTo>
                    <a:pt x="952500" y="1506855"/>
                    <a:pt x="945833" y="1499235"/>
                    <a:pt x="945833" y="1491615"/>
                  </a:cubicBezTo>
                  <a:cubicBezTo>
                    <a:pt x="945833" y="1483042"/>
                    <a:pt x="952500" y="1476375"/>
                    <a:pt x="961073" y="1476375"/>
                  </a:cubicBezTo>
                  <a:close/>
                  <a:moveTo>
                    <a:pt x="1315403" y="1475422"/>
                  </a:moveTo>
                  <a:cubicBezTo>
                    <a:pt x="1320165" y="1475422"/>
                    <a:pt x="1323975" y="1479232"/>
                    <a:pt x="1323975" y="1483995"/>
                  </a:cubicBezTo>
                  <a:cubicBezTo>
                    <a:pt x="1323975" y="1488757"/>
                    <a:pt x="1320165" y="1492567"/>
                    <a:pt x="1315403" y="1492567"/>
                  </a:cubicBezTo>
                  <a:cubicBezTo>
                    <a:pt x="1310640" y="1492567"/>
                    <a:pt x="1306830" y="1488757"/>
                    <a:pt x="1306830" y="1483995"/>
                  </a:cubicBezTo>
                  <a:cubicBezTo>
                    <a:pt x="1306830" y="1479232"/>
                    <a:pt x="1310640" y="1475422"/>
                    <a:pt x="1315403" y="1475422"/>
                  </a:cubicBezTo>
                  <a:close/>
                  <a:moveTo>
                    <a:pt x="1372553" y="1474470"/>
                  </a:moveTo>
                  <a:cubicBezTo>
                    <a:pt x="1376363" y="1474470"/>
                    <a:pt x="1380173" y="1478280"/>
                    <a:pt x="1380173" y="1482090"/>
                  </a:cubicBezTo>
                  <a:cubicBezTo>
                    <a:pt x="1380173" y="1485900"/>
                    <a:pt x="1376363" y="1489710"/>
                    <a:pt x="1372553" y="1489710"/>
                  </a:cubicBezTo>
                  <a:cubicBezTo>
                    <a:pt x="1368743" y="1489710"/>
                    <a:pt x="1364933" y="1485900"/>
                    <a:pt x="1364933" y="1482090"/>
                  </a:cubicBezTo>
                  <a:cubicBezTo>
                    <a:pt x="1364933" y="1478280"/>
                    <a:pt x="1368743" y="1474470"/>
                    <a:pt x="1372553" y="1474470"/>
                  </a:cubicBezTo>
                  <a:close/>
                  <a:moveTo>
                    <a:pt x="1257300" y="1473517"/>
                  </a:moveTo>
                  <a:cubicBezTo>
                    <a:pt x="1263015" y="1473517"/>
                    <a:pt x="1267777" y="1478280"/>
                    <a:pt x="1267777" y="1483995"/>
                  </a:cubicBezTo>
                  <a:cubicBezTo>
                    <a:pt x="1267777" y="1489709"/>
                    <a:pt x="1263015" y="1494472"/>
                    <a:pt x="1257300" y="1494472"/>
                  </a:cubicBezTo>
                  <a:cubicBezTo>
                    <a:pt x="1251585" y="1494472"/>
                    <a:pt x="1246822" y="1489709"/>
                    <a:pt x="1246822" y="1483995"/>
                  </a:cubicBezTo>
                  <a:cubicBezTo>
                    <a:pt x="1246822" y="1478280"/>
                    <a:pt x="1251585" y="1473517"/>
                    <a:pt x="1257300" y="1473517"/>
                  </a:cubicBezTo>
                  <a:close/>
                  <a:moveTo>
                    <a:pt x="673418" y="1471612"/>
                  </a:moveTo>
                  <a:cubicBezTo>
                    <a:pt x="684848" y="1471612"/>
                    <a:pt x="694373" y="1481137"/>
                    <a:pt x="694373" y="1492567"/>
                  </a:cubicBezTo>
                  <a:cubicBezTo>
                    <a:pt x="694373" y="1503997"/>
                    <a:pt x="684848" y="1513522"/>
                    <a:pt x="673418" y="1513522"/>
                  </a:cubicBezTo>
                  <a:cubicBezTo>
                    <a:pt x="661988" y="1513522"/>
                    <a:pt x="652463" y="1503997"/>
                    <a:pt x="652463" y="1492567"/>
                  </a:cubicBezTo>
                  <a:cubicBezTo>
                    <a:pt x="652463" y="1481137"/>
                    <a:pt x="661988" y="1471612"/>
                    <a:pt x="673418" y="1471612"/>
                  </a:cubicBezTo>
                  <a:close/>
                  <a:moveTo>
                    <a:pt x="561975" y="1471612"/>
                  </a:moveTo>
                  <a:cubicBezTo>
                    <a:pt x="573405" y="1471612"/>
                    <a:pt x="582930" y="1481137"/>
                    <a:pt x="582930" y="1492567"/>
                  </a:cubicBezTo>
                  <a:cubicBezTo>
                    <a:pt x="582930" y="1503997"/>
                    <a:pt x="573405" y="1513522"/>
                    <a:pt x="561975" y="1513522"/>
                  </a:cubicBezTo>
                  <a:cubicBezTo>
                    <a:pt x="550545" y="1513522"/>
                    <a:pt x="541972" y="1503997"/>
                    <a:pt x="541020" y="1492567"/>
                  </a:cubicBezTo>
                  <a:cubicBezTo>
                    <a:pt x="541020" y="1481137"/>
                    <a:pt x="550545" y="1471612"/>
                    <a:pt x="561975" y="1471612"/>
                  </a:cubicBezTo>
                  <a:close/>
                  <a:moveTo>
                    <a:pt x="1429703" y="1469707"/>
                  </a:moveTo>
                  <a:cubicBezTo>
                    <a:pt x="1433513" y="1469707"/>
                    <a:pt x="1436370" y="1472565"/>
                    <a:pt x="1436370" y="1476374"/>
                  </a:cubicBezTo>
                  <a:cubicBezTo>
                    <a:pt x="1436370" y="1480184"/>
                    <a:pt x="1433513" y="1483042"/>
                    <a:pt x="1429703" y="1483042"/>
                  </a:cubicBezTo>
                  <a:cubicBezTo>
                    <a:pt x="1425893" y="1483042"/>
                    <a:pt x="1423035" y="1479232"/>
                    <a:pt x="1423035" y="1476374"/>
                  </a:cubicBezTo>
                  <a:cubicBezTo>
                    <a:pt x="1423035" y="1472565"/>
                    <a:pt x="1425893" y="1469707"/>
                    <a:pt x="1429703" y="1469707"/>
                  </a:cubicBezTo>
                  <a:close/>
                  <a:moveTo>
                    <a:pt x="1200150" y="1468754"/>
                  </a:moveTo>
                  <a:cubicBezTo>
                    <a:pt x="1205865" y="1468754"/>
                    <a:pt x="1210627" y="1473517"/>
                    <a:pt x="1210627" y="1479232"/>
                  </a:cubicBezTo>
                  <a:cubicBezTo>
                    <a:pt x="1210627" y="1484946"/>
                    <a:pt x="1205865" y="1489709"/>
                    <a:pt x="1200150" y="1489709"/>
                  </a:cubicBezTo>
                  <a:cubicBezTo>
                    <a:pt x="1193482" y="1489709"/>
                    <a:pt x="1188720" y="1484946"/>
                    <a:pt x="1189672" y="1479232"/>
                  </a:cubicBezTo>
                  <a:cubicBezTo>
                    <a:pt x="1189672" y="1473517"/>
                    <a:pt x="1194435" y="1468754"/>
                    <a:pt x="1200150" y="1468754"/>
                  </a:cubicBezTo>
                  <a:close/>
                  <a:moveTo>
                    <a:pt x="455295" y="1467802"/>
                  </a:moveTo>
                  <a:cubicBezTo>
                    <a:pt x="466725" y="1467802"/>
                    <a:pt x="476250" y="1477327"/>
                    <a:pt x="476250" y="1488757"/>
                  </a:cubicBezTo>
                  <a:cubicBezTo>
                    <a:pt x="476250" y="1500187"/>
                    <a:pt x="466725" y="1509712"/>
                    <a:pt x="455295" y="1509712"/>
                  </a:cubicBezTo>
                  <a:cubicBezTo>
                    <a:pt x="443865" y="1509712"/>
                    <a:pt x="434340" y="1500187"/>
                    <a:pt x="434340" y="1488757"/>
                  </a:cubicBezTo>
                  <a:cubicBezTo>
                    <a:pt x="434340" y="1477327"/>
                    <a:pt x="443865" y="1467802"/>
                    <a:pt x="455295" y="1467802"/>
                  </a:cubicBezTo>
                  <a:close/>
                  <a:moveTo>
                    <a:pt x="787717" y="1466850"/>
                  </a:moveTo>
                  <a:cubicBezTo>
                    <a:pt x="798195" y="1466850"/>
                    <a:pt x="805815" y="1475422"/>
                    <a:pt x="805815" y="1484947"/>
                  </a:cubicBezTo>
                  <a:cubicBezTo>
                    <a:pt x="805815" y="1495425"/>
                    <a:pt x="797242" y="1503045"/>
                    <a:pt x="787717" y="1503045"/>
                  </a:cubicBezTo>
                  <a:cubicBezTo>
                    <a:pt x="778192" y="1503045"/>
                    <a:pt x="770572" y="1495425"/>
                    <a:pt x="769620" y="1484947"/>
                  </a:cubicBezTo>
                  <a:cubicBezTo>
                    <a:pt x="769620" y="1474470"/>
                    <a:pt x="778192" y="1466850"/>
                    <a:pt x="787717" y="1466850"/>
                  </a:cubicBezTo>
                  <a:close/>
                  <a:moveTo>
                    <a:pt x="251460" y="1465897"/>
                  </a:moveTo>
                  <a:cubicBezTo>
                    <a:pt x="252412" y="1465897"/>
                    <a:pt x="253365" y="1466850"/>
                    <a:pt x="253365" y="1467802"/>
                  </a:cubicBezTo>
                  <a:cubicBezTo>
                    <a:pt x="253365" y="1468755"/>
                    <a:pt x="252412" y="1469707"/>
                    <a:pt x="251460" y="1469707"/>
                  </a:cubicBezTo>
                  <a:cubicBezTo>
                    <a:pt x="250507" y="1469707"/>
                    <a:pt x="249555" y="1468755"/>
                    <a:pt x="249555" y="1467802"/>
                  </a:cubicBezTo>
                  <a:cubicBezTo>
                    <a:pt x="249555" y="1466850"/>
                    <a:pt x="250507" y="1465897"/>
                    <a:pt x="251460" y="1465897"/>
                  </a:cubicBezTo>
                  <a:close/>
                  <a:moveTo>
                    <a:pt x="2061210" y="1463992"/>
                  </a:moveTo>
                  <a:cubicBezTo>
                    <a:pt x="2066925" y="1463992"/>
                    <a:pt x="2071688" y="1468755"/>
                    <a:pt x="2071688" y="1474470"/>
                  </a:cubicBezTo>
                  <a:cubicBezTo>
                    <a:pt x="2071688" y="1480184"/>
                    <a:pt x="2066925" y="1484947"/>
                    <a:pt x="2061210" y="1484947"/>
                  </a:cubicBezTo>
                  <a:cubicBezTo>
                    <a:pt x="2056448" y="1484947"/>
                    <a:pt x="2051685" y="1480184"/>
                    <a:pt x="2050733" y="1474470"/>
                  </a:cubicBezTo>
                  <a:cubicBezTo>
                    <a:pt x="2050733" y="1468755"/>
                    <a:pt x="2055496" y="1463992"/>
                    <a:pt x="2061210" y="1463992"/>
                  </a:cubicBezTo>
                  <a:close/>
                  <a:moveTo>
                    <a:pt x="1693546" y="1458277"/>
                  </a:moveTo>
                  <a:cubicBezTo>
                    <a:pt x="1700213" y="1458277"/>
                    <a:pt x="1705928" y="1463992"/>
                    <a:pt x="1705928" y="1470659"/>
                  </a:cubicBezTo>
                  <a:cubicBezTo>
                    <a:pt x="1705928" y="1477327"/>
                    <a:pt x="1700213" y="1483042"/>
                    <a:pt x="1693546" y="1483042"/>
                  </a:cubicBezTo>
                  <a:cubicBezTo>
                    <a:pt x="1686878" y="1483042"/>
                    <a:pt x="1681163" y="1477327"/>
                    <a:pt x="1681163" y="1470659"/>
                  </a:cubicBezTo>
                  <a:cubicBezTo>
                    <a:pt x="1681163" y="1463992"/>
                    <a:pt x="1686878" y="1458277"/>
                    <a:pt x="1693546" y="1458277"/>
                  </a:cubicBezTo>
                  <a:close/>
                  <a:moveTo>
                    <a:pt x="1486853" y="1458277"/>
                  </a:moveTo>
                  <a:cubicBezTo>
                    <a:pt x="1491616" y="1458277"/>
                    <a:pt x="1494473" y="1462087"/>
                    <a:pt x="1494473" y="1465897"/>
                  </a:cubicBezTo>
                  <a:cubicBezTo>
                    <a:pt x="1494473" y="1469707"/>
                    <a:pt x="1490663" y="1473517"/>
                    <a:pt x="1486853" y="1473517"/>
                  </a:cubicBezTo>
                  <a:cubicBezTo>
                    <a:pt x="1483043" y="1473517"/>
                    <a:pt x="1479233" y="1470659"/>
                    <a:pt x="1479233" y="1465897"/>
                  </a:cubicBezTo>
                  <a:cubicBezTo>
                    <a:pt x="1479233" y="1462087"/>
                    <a:pt x="1483043" y="1458277"/>
                    <a:pt x="1486853" y="1458277"/>
                  </a:cubicBezTo>
                  <a:close/>
                  <a:moveTo>
                    <a:pt x="1143000" y="1458277"/>
                  </a:moveTo>
                  <a:cubicBezTo>
                    <a:pt x="1149667" y="1458277"/>
                    <a:pt x="1155382" y="1463992"/>
                    <a:pt x="1155382" y="1470659"/>
                  </a:cubicBezTo>
                  <a:cubicBezTo>
                    <a:pt x="1155382" y="1477327"/>
                    <a:pt x="1149667" y="1483042"/>
                    <a:pt x="1143000" y="1483042"/>
                  </a:cubicBezTo>
                  <a:cubicBezTo>
                    <a:pt x="1136332" y="1483042"/>
                    <a:pt x="1130617" y="1478279"/>
                    <a:pt x="1130617" y="1470659"/>
                  </a:cubicBezTo>
                  <a:cubicBezTo>
                    <a:pt x="1130617" y="1463992"/>
                    <a:pt x="1136332" y="1458277"/>
                    <a:pt x="1143000" y="1458277"/>
                  </a:cubicBezTo>
                  <a:close/>
                  <a:moveTo>
                    <a:pt x="351473" y="1457325"/>
                  </a:moveTo>
                  <a:cubicBezTo>
                    <a:pt x="363855" y="1457325"/>
                    <a:pt x="373380" y="1466850"/>
                    <a:pt x="373380" y="1479233"/>
                  </a:cubicBezTo>
                  <a:cubicBezTo>
                    <a:pt x="373380" y="1491615"/>
                    <a:pt x="363855" y="1501140"/>
                    <a:pt x="351473" y="1501140"/>
                  </a:cubicBezTo>
                  <a:cubicBezTo>
                    <a:pt x="340043" y="1501140"/>
                    <a:pt x="329565" y="1491615"/>
                    <a:pt x="329565" y="1479233"/>
                  </a:cubicBezTo>
                  <a:cubicBezTo>
                    <a:pt x="329565" y="1466850"/>
                    <a:pt x="339090" y="1457325"/>
                    <a:pt x="351473" y="1457325"/>
                  </a:cubicBezTo>
                  <a:close/>
                  <a:moveTo>
                    <a:pt x="906780" y="1455420"/>
                  </a:moveTo>
                  <a:cubicBezTo>
                    <a:pt x="915353" y="1455420"/>
                    <a:pt x="922020" y="1462087"/>
                    <a:pt x="922020" y="1470660"/>
                  </a:cubicBezTo>
                  <a:cubicBezTo>
                    <a:pt x="922020" y="1479233"/>
                    <a:pt x="915353" y="1485900"/>
                    <a:pt x="906780" y="1485900"/>
                  </a:cubicBezTo>
                  <a:cubicBezTo>
                    <a:pt x="898208" y="1485900"/>
                    <a:pt x="891540" y="1479233"/>
                    <a:pt x="891540" y="1470660"/>
                  </a:cubicBezTo>
                  <a:cubicBezTo>
                    <a:pt x="891540" y="1462087"/>
                    <a:pt x="898208" y="1455420"/>
                    <a:pt x="906780" y="1455420"/>
                  </a:cubicBezTo>
                  <a:close/>
                  <a:moveTo>
                    <a:pt x="1838325" y="1454467"/>
                  </a:moveTo>
                  <a:cubicBezTo>
                    <a:pt x="1847850" y="1454467"/>
                    <a:pt x="1854518" y="1462087"/>
                    <a:pt x="1854518" y="1470659"/>
                  </a:cubicBezTo>
                  <a:cubicBezTo>
                    <a:pt x="1854518" y="1480184"/>
                    <a:pt x="1846898" y="1486852"/>
                    <a:pt x="1838325" y="1486852"/>
                  </a:cubicBezTo>
                  <a:cubicBezTo>
                    <a:pt x="1829753" y="1486852"/>
                    <a:pt x="1822133" y="1480184"/>
                    <a:pt x="1822133" y="1470659"/>
                  </a:cubicBezTo>
                  <a:cubicBezTo>
                    <a:pt x="1822133" y="1461134"/>
                    <a:pt x="1828800" y="1454467"/>
                    <a:pt x="1838325" y="1454467"/>
                  </a:cubicBezTo>
                  <a:close/>
                  <a:moveTo>
                    <a:pt x="1085850" y="1446847"/>
                  </a:moveTo>
                  <a:cubicBezTo>
                    <a:pt x="1093470" y="1446847"/>
                    <a:pt x="1099185" y="1452562"/>
                    <a:pt x="1099185" y="1460182"/>
                  </a:cubicBezTo>
                  <a:cubicBezTo>
                    <a:pt x="1099185" y="1467802"/>
                    <a:pt x="1093470" y="1473517"/>
                    <a:pt x="1085850" y="1473517"/>
                  </a:cubicBezTo>
                  <a:cubicBezTo>
                    <a:pt x="1079183" y="1473517"/>
                    <a:pt x="1072515" y="1467802"/>
                    <a:pt x="1072515" y="1460182"/>
                  </a:cubicBezTo>
                  <a:cubicBezTo>
                    <a:pt x="1072515" y="1452562"/>
                    <a:pt x="1078230" y="1446847"/>
                    <a:pt x="1085850" y="1446847"/>
                  </a:cubicBezTo>
                  <a:close/>
                  <a:moveTo>
                    <a:pt x="1975485" y="1443037"/>
                  </a:moveTo>
                  <a:cubicBezTo>
                    <a:pt x="1985010" y="1443037"/>
                    <a:pt x="1992630" y="1450657"/>
                    <a:pt x="1992630" y="1460182"/>
                  </a:cubicBezTo>
                  <a:cubicBezTo>
                    <a:pt x="1992630" y="1469707"/>
                    <a:pt x="1985010" y="1477327"/>
                    <a:pt x="1975485" y="1477327"/>
                  </a:cubicBezTo>
                  <a:cubicBezTo>
                    <a:pt x="1965960" y="1477327"/>
                    <a:pt x="1958340" y="1469707"/>
                    <a:pt x="1958340" y="1460182"/>
                  </a:cubicBezTo>
                  <a:cubicBezTo>
                    <a:pt x="1958340" y="1450657"/>
                    <a:pt x="1965960" y="1443037"/>
                    <a:pt x="1975485" y="1443037"/>
                  </a:cubicBezTo>
                  <a:close/>
                  <a:moveTo>
                    <a:pt x="1543050" y="1443037"/>
                  </a:moveTo>
                  <a:cubicBezTo>
                    <a:pt x="1548765" y="1443037"/>
                    <a:pt x="1552575" y="1447800"/>
                    <a:pt x="1552575" y="1452562"/>
                  </a:cubicBezTo>
                  <a:cubicBezTo>
                    <a:pt x="1552575" y="1458277"/>
                    <a:pt x="1547813" y="1462087"/>
                    <a:pt x="1543050" y="1462087"/>
                  </a:cubicBezTo>
                  <a:cubicBezTo>
                    <a:pt x="1538288" y="1462087"/>
                    <a:pt x="1533525" y="1458277"/>
                    <a:pt x="1533525" y="1452562"/>
                  </a:cubicBezTo>
                  <a:cubicBezTo>
                    <a:pt x="1533525" y="1446847"/>
                    <a:pt x="1538288" y="1443037"/>
                    <a:pt x="1543050" y="1443037"/>
                  </a:cubicBezTo>
                  <a:close/>
                  <a:moveTo>
                    <a:pt x="625792" y="1439227"/>
                  </a:moveTo>
                  <a:cubicBezTo>
                    <a:pt x="637223" y="1439227"/>
                    <a:pt x="645795" y="1448752"/>
                    <a:pt x="645795" y="1459229"/>
                  </a:cubicBezTo>
                  <a:cubicBezTo>
                    <a:pt x="645795" y="1470659"/>
                    <a:pt x="636270" y="1479232"/>
                    <a:pt x="625792" y="1479232"/>
                  </a:cubicBezTo>
                  <a:cubicBezTo>
                    <a:pt x="614363" y="1479232"/>
                    <a:pt x="605790" y="1470659"/>
                    <a:pt x="605790" y="1459229"/>
                  </a:cubicBezTo>
                  <a:cubicBezTo>
                    <a:pt x="605790" y="1447799"/>
                    <a:pt x="615315" y="1439227"/>
                    <a:pt x="625792" y="1439227"/>
                  </a:cubicBezTo>
                  <a:close/>
                  <a:moveTo>
                    <a:pt x="517207" y="1437322"/>
                  </a:moveTo>
                  <a:cubicBezTo>
                    <a:pt x="527685" y="1437322"/>
                    <a:pt x="537210" y="1445895"/>
                    <a:pt x="537210" y="1457325"/>
                  </a:cubicBezTo>
                  <a:cubicBezTo>
                    <a:pt x="537210" y="1467802"/>
                    <a:pt x="528637" y="1477327"/>
                    <a:pt x="517207" y="1477327"/>
                  </a:cubicBezTo>
                  <a:cubicBezTo>
                    <a:pt x="505777" y="1477327"/>
                    <a:pt x="497205" y="1467802"/>
                    <a:pt x="497205" y="1457325"/>
                  </a:cubicBezTo>
                  <a:cubicBezTo>
                    <a:pt x="497205" y="1446847"/>
                    <a:pt x="505777" y="1437322"/>
                    <a:pt x="517207" y="1437322"/>
                  </a:cubicBezTo>
                  <a:close/>
                  <a:moveTo>
                    <a:pt x="738188" y="1435417"/>
                  </a:moveTo>
                  <a:cubicBezTo>
                    <a:pt x="749618" y="1435417"/>
                    <a:pt x="759143" y="1444942"/>
                    <a:pt x="759143" y="1456372"/>
                  </a:cubicBezTo>
                  <a:cubicBezTo>
                    <a:pt x="759143" y="1467802"/>
                    <a:pt x="749618" y="1477327"/>
                    <a:pt x="738188" y="1477327"/>
                  </a:cubicBezTo>
                  <a:cubicBezTo>
                    <a:pt x="726758" y="1477327"/>
                    <a:pt x="717233" y="1467802"/>
                    <a:pt x="717233" y="1456372"/>
                  </a:cubicBezTo>
                  <a:cubicBezTo>
                    <a:pt x="717233" y="1444942"/>
                    <a:pt x="726758" y="1435417"/>
                    <a:pt x="738188" y="1435417"/>
                  </a:cubicBezTo>
                  <a:close/>
                  <a:moveTo>
                    <a:pt x="1030605" y="1432559"/>
                  </a:moveTo>
                  <a:cubicBezTo>
                    <a:pt x="1038225" y="1432559"/>
                    <a:pt x="1043940" y="1438274"/>
                    <a:pt x="1043940" y="1445894"/>
                  </a:cubicBezTo>
                  <a:cubicBezTo>
                    <a:pt x="1043940" y="1453514"/>
                    <a:pt x="1038225" y="1459229"/>
                    <a:pt x="1030605" y="1459229"/>
                  </a:cubicBezTo>
                  <a:cubicBezTo>
                    <a:pt x="1022985" y="1459229"/>
                    <a:pt x="1017270" y="1452562"/>
                    <a:pt x="1017270" y="1445894"/>
                  </a:cubicBezTo>
                  <a:cubicBezTo>
                    <a:pt x="1017270" y="1438274"/>
                    <a:pt x="1022985" y="1432559"/>
                    <a:pt x="1030605" y="1432559"/>
                  </a:cubicBezTo>
                  <a:close/>
                  <a:moveTo>
                    <a:pt x="1746885" y="1431607"/>
                  </a:moveTo>
                  <a:cubicBezTo>
                    <a:pt x="1755458" y="1431607"/>
                    <a:pt x="1762125" y="1438274"/>
                    <a:pt x="1762125" y="1446847"/>
                  </a:cubicBezTo>
                  <a:cubicBezTo>
                    <a:pt x="1762125" y="1455420"/>
                    <a:pt x="1755458" y="1462087"/>
                    <a:pt x="1746885" y="1462087"/>
                  </a:cubicBezTo>
                  <a:cubicBezTo>
                    <a:pt x="1738312" y="1462087"/>
                    <a:pt x="1731645" y="1455420"/>
                    <a:pt x="1731645" y="1446847"/>
                  </a:cubicBezTo>
                  <a:cubicBezTo>
                    <a:pt x="1731645" y="1438274"/>
                    <a:pt x="1738312" y="1431607"/>
                    <a:pt x="1746885" y="1431607"/>
                  </a:cubicBezTo>
                  <a:close/>
                  <a:moveTo>
                    <a:pt x="854393" y="1428750"/>
                  </a:moveTo>
                  <a:cubicBezTo>
                    <a:pt x="863918" y="1428750"/>
                    <a:pt x="871538" y="1436370"/>
                    <a:pt x="871538" y="1445895"/>
                  </a:cubicBezTo>
                  <a:cubicBezTo>
                    <a:pt x="871538" y="1455420"/>
                    <a:pt x="863918" y="1463040"/>
                    <a:pt x="854393" y="1463040"/>
                  </a:cubicBezTo>
                  <a:cubicBezTo>
                    <a:pt x="845821" y="1463040"/>
                    <a:pt x="838200" y="1456372"/>
                    <a:pt x="837248" y="1445895"/>
                  </a:cubicBezTo>
                  <a:cubicBezTo>
                    <a:pt x="837248" y="1436370"/>
                    <a:pt x="844868" y="1428750"/>
                    <a:pt x="854393" y="1428750"/>
                  </a:cubicBezTo>
                  <a:close/>
                  <a:moveTo>
                    <a:pt x="1598295" y="1427797"/>
                  </a:moveTo>
                  <a:cubicBezTo>
                    <a:pt x="1604010" y="1427797"/>
                    <a:pt x="1607820" y="1432560"/>
                    <a:pt x="1607820" y="1437322"/>
                  </a:cubicBezTo>
                  <a:cubicBezTo>
                    <a:pt x="1607820" y="1443037"/>
                    <a:pt x="1603058" y="1446847"/>
                    <a:pt x="1598295" y="1446847"/>
                  </a:cubicBezTo>
                  <a:cubicBezTo>
                    <a:pt x="1593533" y="1446847"/>
                    <a:pt x="1588770" y="1442085"/>
                    <a:pt x="1588770" y="1437322"/>
                  </a:cubicBezTo>
                  <a:cubicBezTo>
                    <a:pt x="1588770" y="1431607"/>
                    <a:pt x="1593533" y="1427797"/>
                    <a:pt x="1598295" y="1427797"/>
                  </a:cubicBezTo>
                  <a:close/>
                  <a:moveTo>
                    <a:pt x="412432" y="1427797"/>
                  </a:moveTo>
                  <a:cubicBezTo>
                    <a:pt x="424815" y="1427797"/>
                    <a:pt x="434340" y="1437322"/>
                    <a:pt x="434340" y="1449705"/>
                  </a:cubicBezTo>
                  <a:cubicBezTo>
                    <a:pt x="434340" y="1462087"/>
                    <a:pt x="424815" y="1471612"/>
                    <a:pt x="412432" y="1471612"/>
                  </a:cubicBezTo>
                  <a:cubicBezTo>
                    <a:pt x="401002" y="1471612"/>
                    <a:pt x="390525" y="1461135"/>
                    <a:pt x="390525" y="1449705"/>
                  </a:cubicBezTo>
                  <a:cubicBezTo>
                    <a:pt x="390525" y="1437322"/>
                    <a:pt x="400050" y="1427797"/>
                    <a:pt x="412432" y="1427797"/>
                  </a:cubicBezTo>
                  <a:close/>
                  <a:moveTo>
                    <a:pt x="2105978" y="1426845"/>
                  </a:moveTo>
                  <a:cubicBezTo>
                    <a:pt x="2111692" y="1426845"/>
                    <a:pt x="2116455" y="1431608"/>
                    <a:pt x="2116455" y="1437322"/>
                  </a:cubicBezTo>
                  <a:cubicBezTo>
                    <a:pt x="2116455" y="1443037"/>
                    <a:pt x="2111692" y="1447800"/>
                    <a:pt x="2105978" y="1447800"/>
                  </a:cubicBezTo>
                  <a:cubicBezTo>
                    <a:pt x="2100263" y="1447800"/>
                    <a:pt x="2095500" y="1443990"/>
                    <a:pt x="2095500" y="1437322"/>
                  </a:cubicBezTo>
                  <a:cubicBezTo>
                    <a:pt x="2095500" y="1431608"/>
                    <a:pt x="2100263" y="1426845"/>
                    <a:pt x="2105978" y="1426845"/>
                  </a:cubicBezTo>
                  <a:close/>
                  <a:moveTo>
                    <a:pt x="1887855" y="1426845"/>
                  </a:moveTo>
                  <a:cubicBezTo>
                    <a:pt x="1896427" y="1426845"/>
                    <a:pt x="1903095" y="1433512"/>
                    <a:pt x="1903095" y="1442085"/>
                  </a:cubicBezTo>
                  <a:cubicBezTo>
                    <a:pt x="1903095" y="1450658"/>
                    <a:pt x="1896427" y="1457325"/>
                    <a:pt x="1887855" y="1457325"/>
                  </a:cubicBezTo>
                  <a:cubicBezTo>
                    <a:pt x="1879282" y="1457325"/>
                    <a:pt x="1871662" y="1450658"/>
                    <a:pt x="1872615" y="1442085"/>
                  </a:cubicBezTo>
                  <a:cubicBezTo>
                    <a:pt x="1872615" y="1433512"/>
                    <a:pt x="1879282" y="1426845"/>
                    <a:pt x="1887855" y="1426845"/>
                  </a:cubicBezTo>
                  <a:close/>
                  <a:moveTo>
                    <a:pt x="311468" y="1421129"/>
                  </a:moveTo>
                  <a:cubicBezTo>
                    <a:pt x="320993" y="1421129"/>
                    <a:pt x="328613" y="1428749"/>
                    <a:pt x="328613" y="1438274"/>
                  </a:cubicBezTo>
                  <a:cubicBezTo>
                    <a:pt x="328613" y="1447799"/>
                    <a:pt x="320993" y="1455419"/>
                    <a:pt x="311468" y="1455419"/>
                  </a:cubicBezTo>
                  <a:cubicBezTo>
                    <a:pt x="301943" y="1455419"/>
                    <a:pt x="295275" y="1447799"/>
                    <a:pt x="294323" y="1438274"/>
                  </a:cubicBezTo>
                  <a:cubicBezTo>
                    <a:pt x="294323" y="1428749"/>
                    <a:pt x="301943" y="1421129"/>
                    <a:pt x="311468" y="1421129"/>
                  </a:cubicBezTo>
                  <a:close/>
                  <a:moveTo>
                    <a:pt x="213360" y="1416367"/>
                  </a:moveTo>
                  <a:cubicBezTo>
                    <a:pt x="217170" y="1416367"/>
                    <a:pt x="220980" y="1420177"/>
                    <a:pt x="220980" y="1423987"/>
                  </a:cubicBezTo>
                  <a:cubicBezTo>
                    <a:pt x="220980" y="1427797"/>
                    <a:pt x="217170" y="1431607"/>
                    <a:pt x="213360" y="1431607"/>
                  </a:cubicBezTo>
                  <a:cubicBezTo>
                    <a:pt x="209550" y="1431607"/>
                    <a:pt x="206693" y="1428750"/>
                    <a:pt x="205740" y="1423987"/>
                  </a:cubicBezTo>
                  <a:cubicBezTo>
                    <a:pt x="205740" y="1420177"/>
                    <a:pt x="209550" y="1416367"/>
                    <a:pt x="213360" y="1416367"/>
                  </a:cubicBezTo>
                  <a:close/>
                  <a:moveTo>
                    <a:pt x="1329691" y="1415415"/>
                  </a:moveTo>
                  <a:cubicBezTo>
                    <a:pt x="1332548" y="1415415"/>
                    <a:pt x="1334453" y="1417320"/>
                    <a:pt x="1334453" y="1420178"/>
                  </a:cubicBezTo>
                  <a:cubicBezTo>
                    <a:pt x="1334453" y="1423035"/>
                    <a:pt x="1332548" y="1424940"/>
                    <a:pt x="1329691" y="1424940"/>
                  </a:cubicBezTo>
                  <a:cubicBezTo>
                    <a:pt x="1326833" y="1424940"/>
                    <a:pt x="1324928" y="1422082"/>
                    <a:pt x="1324928" y="1420178"/>
                  </a:cubicBezTo>
                  <a:cubicBezTo>
                    <a:pt x="1324928" y="1417320"/>
                    <a:pt x="1326833" y="1415415"/>
                    <a:pt x="1329691" y="1415415"/>
                  </a:cubicBezTo>
                  <a:close/>
                  <a:moveTo>
                    <a:pt x="1271587" y="1413509"/>
                  </a:moveTo>
                  <a:cubicBezTo>
                    <a:pt x="1275397" y="1413509"/>
                    <a:pt x="1278255" y="1416367"/>
                    <a:pt x="1278255" y="1420177"/>
                  </a:cubicBezTo>
                  <a:cubicBezTo>
                    <a:pt x="1278255" y="1423987"/>
                    <a:pt x="1275397" y="1426844"/>
                    <a:pt x="1271587" y="1426844"/>
                  </a:cubicBezTo>
                  <a:cubicBezTo>
                    <a:pt x="1267778" y="1426844"/>
                    <a:pt x="1264920" y="1423034"/>
                    <a:pt x="1264920" y="1420177"/>
                  </a:cubicBezTo>
                  <a:cubicBezTo>
                    <a:pt x="1264920" y="1416367"/>
                    <a:pt x="1267778" y="1413509"/>
                    <a:pt x="1271587" y="1413509"/>
                  </a:cubicBezTo>
                  <a:close/>
                  <a:moveTo>
                    <a:pt x="975360" y="1412557"/>
                  </a:moveTo>
                  <a:cubicBezTo>
                    <a:pt x="983933" y="1412557"/>
                    <a:pt x="990600" y="1419224"/>
                    <a:pt x="990600" y="1427797"/>
                  </a:cubicBezTo>
                  <a:cubicBezTo>
                    <a:pt x="990600" y="1436370"/>
                    <a:pt x="983933" y="1443037"/>
                    <a:pt x="975360" y="1443037"/>
                  </a:cubicBezTo>
                  <a:cubicBezTo>
                    <a:pt x="966787" y="1443037"/>
                    <a:pt x="960120" y="1436370"/>
                    <a:pt x="960120" y="1427797"/>
                  </a:cubicBezTo>
                  <a:cubicBezTo>
                    <a:pt x="960120" y="1419224"/>
                    <a:pt x="966787" y="1412557"/>
                    <a:pt x="975360" y="1412557"/>
                  </a:cubicBezTo>
                  <a:close/>
                  <a:moveTo>
                    <a:pt x="2021205" y="1411604"/>
                  </a:moveTo>
                  <a:cubicBezTo>
                    <a:pt x="2027872" y="1411604"/>
                    <a:pt x="2033587" y="1417319"/>
                    <a:pt x="2033587" y="1423987"/>
                  </a:cubicBezTo>
                  <a:cubicBezTo>
                    <a:pt x="2033587" y="1430654"/>
                    <a:pt x="2027872" y="1436369"/>
                    <a:pt x="2021205" y="1436369"/>
                  </a:cubicBezTo>
                  <a:cubicBezTo>
                    <a:pt x="2014537" y="1436369"/>
                    <a:pt x="2009775" y="1431607"/>
                    <a:pt x="2008822" y="1423987"/>
                  </a:cubicBezTo>
                  <a:cubicBezTo>
                    <a:pt x="2008822" y="1417319"/>
                    <a:pt x="2014537" y="1411604"/>
                    <a:pt x="2021205" y="1411604"/>
                  </a:cubicBezTo>
                  <a:close/>
                  <a:moveTo>
                    <a:pt x="1386840" y="1409700"/>
                  </a:moveTo>
                  <a:cubicBezTo>
                    <a:pt x="1390650" y="1409700"/>
                    <a:pt x="1393507" y="1412558"/>
                    <a:pt x="1393507" y="1416367"/>
                  </a:cubicBezTo>
                  <a:cubicBezTo>
                    <a:pt x="1393507" y="1420178"/>
                    <a:pt x="1390650" y="1423035"/>
                    <a:pt x="1386840" y="1423035"/>
                  </a:cubicBezTo>
                  <a:cubicBezTo>
                    <a:pt x="1383030" y="1423035"/>
                    <a:pt x="1380172" y="1420178"/>
                    <a:pt x="1380172" y="1416367"/>
                  </a:cubicBezTo>
                  <a:cubicBezTo>
                    <a:pt x="1380172" y="1412558"/>
                    <a:pt x="1383030" y="1409700"/>
                    <a:pt x="1386840" y="1409700"/>
                  </a:cubicBezTo>
                  <a:close/>
                  <a:moveTo>
                    <a:pt x="1214437" y="1408747"/>
                  </a:moveTo>
                  <a:cubicBezTo>
                    <a:pt x="1218247" y="1408747"/>
                    <a:pt x="1222057" y="1412557"/>
                    <a:pt x="1222057" y="1416367"/>
                  </a:cubicBezTo>
                  <a:cubicBezTo>
                    <a:pt x="1222057" y="1420177"/>
                    <a:pt x="1218247" y="1423987"/>
                    <a:pt x="1214437" y="1423987"/>
                  </a:cubicBezTo>
                  <a:cubicBezTo>
                    <a:pt x="1209675" y="1423987"/>
                    <a:pt x="1206817" y="1420177"/>
                    <a:pt x="1206817" y="1416367"/>
                  </a:cubicBezTo>
                  <a:cubicBezTo>
                    <a:pt x="1206817" y="1412557"/>
                    <a:pt x="1210627" y="1408747"/>
                    <a:pt x="1214437" y="1408747"/>
                  </a:cubicBezTo>
                  <a:close/>
                  <a:moveTo>
                    <a:pt x="1797368" y="1407795"/>
                  </a:moveTo>
                  <a:cubicBezTo>
                    <a:pt x="1804035" y="1407795"/>
                    <a:pt x="1809750" y="1413510"/>
                    <a:pt x="1809750" y="1420178"/>
                  </a:cubicBezTo>
                  <a:cubicBezTo>
                    <a:pt x="1809750" y="1426845"/>
                    <a:pt x="1804035" y="1432560"/>
                    <a:pt x="1797368" y="1432560"/>
                  </a:cubicBezTo>
                  <a:cubicBezTo>
                    <a:pt x="1790700" y="1432560"/>
                    <a:pt x="1785938" y="1426845"/>
                    <a:pt x="1784985" y="1420178"/>
                  </a:cubicBezTo>
                  <a:cubicBezTo>
                    <a:pt x="1784985" y="1413510"/>
                    <a:pt x="1790700" y="1407795"/>
                    <a:pt x="1797368" y="1407795"/>
                  </a:cubicBezTo>
                  <a:close/>
                  <a:moveTo>
                    <a:pt x="1652588" y="1407795"/>
                  </a:moveTo>
                  <a:cubicBezTo>
                    <a:pt x="1658303" y="1407795"/>
                    <a:pt x="1662113" y="1411605"/>
                    <a:pt x="1662113" y="1417320"/>
                  </a:cubicBezTo>
                  <a:cubicBezTo>
                    <a:pt x="1662113" y="1423035"/>
                    <a:pt x="1657351" y="1426845"/>
                    <a:pt x="1652588" y="1426845"/>
                  </a:cubicBezTo>
                  <a:cubicBezTo>
                    <a:pt x="1647826" y="1426845"/>
                    <a:pt x="1643063" y="1423035"/>
                    <a:pt x="1643063" y="1417320"/>
                  </a:cubicBezTo>
                  <a:cubicBezTo>
                    <a:pt x="1643063" y="1411605"/>
                    <a:pt x="1647826" y="1407795"/>
                    <a:pt x="1652588" y="1407795"/>
                  </a:cubicBezTo>
                  <a:close/>
                  <a:moveTo>
                    <a:pt x="689610" y="1406842"/>
                  </a:moveTo>
                  <a:cubicBezTo>
                    <a:pt x="700087" y="1406842"/>
                    <a:pt x="708660" y="1415415"/>
                    <a:pt x="708660" y="1425892"/>
                  </a:cubicBezTo>
                  <a:cubicBezTo>
                    <a:pt x="708660" y="1436370"/>
                    <a:pt x="700087" y="1444942"/>
                    <a:pt x="689610" y="1444942"/>
                  </a:cubicBezTo>
                  <a:cubicBezTo>
                    <a:pt x="679133" y="1444942"/>
                    <a:pt x="670560" y="1436370"/>
                    <a:pt x="670560" y="1425892"/>
                  </a:cubicBezTo>
                  <a:cubicBezTo>
                    <a:pt x="670560" y="1415415"/>
                    <a:pt x="679133" y="1406842"/>
                    <a:pt x="689610" y="1406842"/>
                  </a:cubicBezTo>
                  <a:close/>
                  <a:moveTo>
                    <a:pt x="2228850" y="1405890"/>
                  </a:moveTo>
                  <a:cubicBezTo>
                    <a:pt x="2229803" y="1405890"/>
                    <a:pt x="2230755" y="1406842"/>
                    <a:pt x="2230755" y="1407795"/>
                  </a:cubicBezTo>
                  <a:cubicBezTo>
                    <a:pt x="2230755" y="1408747"/>
                    <a:pt x="2229803" y="1409700"/>
                    <a:pt x="2228850" y="1409700"/>
                  </a:cubicBezTo>
                  <a:cubicBezTo>
                    <a:pt x="2228850" y="1409700"/>
                    <a:pt x="2227897" y="1409700"/>
                    <a:pt x="2226945" y="1407795"/>
                  </a:cubicBezTo>
                  <a:cubicBezTo>
                    <a:pt x="2226945" y="1406842"/>
                    <a:pt x="2227897" y="1405890"/>
                    <a:pt x="2228850" y="1405890"/>
                  </a:cubicBezTo>
                  <a:close/>
                  <a:moveTo>
                    <a:pt x="579120" y="1405890"/>
                  </a:moveTo>
                  <a:cubicBezTo>
                    <a:pt x="589597" y="1405890"/>
                    <a:pt x="598170" y="1414462"/>
                    <a:pt x="598170" y="1424940"/>
                  </a:cubicBezTo>
                  <a:cubicBezTo>
                    <a:pt x="598170" y="1435417"/>
                    <a:pt x="589597" y="1443990"/>
                    <a:pt x="579120" y="1443990"/>
                  </a:cubicBezTo>
                  <a:cubicBezTo>
                    <a:pt x="568642" y="1443990"/>
                    <a:pt x="560070" y="1435417"/>
                    <a:pt x="560070" y="1424940"/>
                  </a:cubicBezTo>
                  <a:cubicBezTo>
                    <a:pt x="560070" y="1414462"/>
                    <a:pt x="568642" y="1405890"/>
                    <a:pt x="579120" y="1405890"/>
                  </a:cubicBezTo>
                  <a:close/>
                  <a:moveTo>
                    <a:pt x="1443990" y="1403032"/>
                  </a:moveTo>
                  <a:cubicBezTo>
                    <a:pt x="1446847" y="1403032"/>
                    <a:pt x="1449705" y="1405890"/>
                    <a:pt x="1449705" y="1408747"/>
                  </a:cubicBezTo>
                  <a:cubicBezTo>
                    <a:pt x="1449705" y="1411604"/>
                    <a:pt x="1446847" y="1414462"/>
                    <a:pt x="1443990" y="1414462"/>
                  </a:cubicBezTo>
                  <a:cubicBezTo>
                    <a:pt x="1441133" y="1414462"/>
                    <a:pt x="1438275" y="1411604"/>
                    <a:pt x="1438275" y="1408747"/>
                  </a:cubicBezTo>
                  <a:cubicBezTo>
                    <a:pt x="1438275" y="1405890"/>
                    <a:pt x="1441133" y="1403032"/>
                    <a:pt x="1443990" y="1403032"/>
                  </a:cubicBezTo>
                  <a:close/>
                  <a:moveTo>
                    <a:pt x="802958" y="1403032"/>
                  </a:moveTo>
                  <a:cubicBezTo>
                    <a:pt x="811530" y="1403032"/>
                    <a:pt x="819151" y="1410652"/>
                    <a:pt x="819151" y="1420177"/>
                  </a:cubicBezTo>
                  <a:cubicBezTo>
                    <a:pt x="819151" y="1429702"/>
                    <a:pt x="812483" y="1437322"/>
                    <a:pt x="802958" y="1437322"/>
                  </a:cubicBezTo>
                  <a:cubicBezTo>
                    <a:pt x="794386" y="1437322"/>
                    <a:pt x="786765" y="1429702"/>
                    <a:pt x="785813" y="1420177"/>
                  </a:cubicBezTo>
                  <a:cubicBezTo>
                    <a:pt x="785813" y="1410652"/>
                    <a:pt x="793433" y="1403032"/>
                    <a:pt x="802958" y="1403032"/>
                  </a:cubicBezTo>
                  <a:close/>
                  <a:moveTo>
                    <a:pt x="1157287" y="1401127"/>
                  </a:moveTo>
                  <a:cubicBezTo>
                    <a:pt x="1161097" y="1401127"/>
                    <a:pt x="1164907" y="1404937"/>
                    <a:pt x="1164907" y="1408747"/>
                  </a:cubicBezTo>
                  <a:cubicBezTo>
                    <a:pt x="1164907" y="1412557"/>
                    <a:pt x="1161097" y="1416367"/>
                    <a:pt x="1157287" y="1416367"/>
                  </a:cubicBezTo>
                  <a:cubicBezTo>
                    <a:pt x="1152525" y="1416367"/>
                    <a:pt x="1149667" y="1412557"/>
                    <a:pt x="1149667" y="1408747"/>
                  </a:cubicBezTo>
                  <a:cubicBezTo>
                    <a:pt x="1149667" y="1404937"/>
                    <a:pt x="1153477" y="1401127"/>
                    <a:pt x="1157287" y="1401127"/>
                  </a:cubicBezTo>
                  <a:close/>
                  <a:moveTo>
                    <a:pt x="473393" y="1399222"/>
                  </a:moveTo>
                  <a:cubicBezTo>
                    <a:pt x="484823" y="1399222"/>
                    <a:pt x="493395" y="1407795"/>
                    <a:pt x="493395" y="1419225"/>
                  </a:cubicBezTo>
                  <a:cubicBezTo>
                    <a:pt x="493395" y="1430655"/>
                    <a:pt x="484823" y="1439227"/>
                    <a:pt x="473393" y="1439227"/>
                  </a:cubicBezTo>
                  <a:cubicBezTo>
                    <a:pt x="462915" y="1439227"/>
                    <a:pt x="453390" y="1429702"/>
                    <a:pt x="453390" y="1419225"/>
                  </a:cubicBezTo>
                  <a:cubicBezTo>
                    <a:pt x="453390" y="1407795"/>
                    <a:pt x="461963" y="1399222"/>
                    <a:pt x="473393" y="1399222"/>
                  </a:cubicBezTo>
                  <a:close/>
                  <a:moveTo>
                    <a:pt x="1935480" y="1394459"/>
                  </a:moveTo>
                  <a:cubicBezTo>
                    <a:pt x="1943100" y="1394459"/>
                    <a:pt x="1949767" y="1401127"/>
                    <a:pt x="1949767" y="1408747"/>
                  </a:cubicBezTo>
                  <a:cubicBezTo>
                    <a:pt x="1949767" y="1416367"/>
                    <a:pt x="1943100" y="1423034"/>
                    <a:pt x="1935480" y="1423034"/>
                  </a:cubicBezTo>
                  <a:cubicBezTo>
                    <a:pt x="1927859" y="1423034"/>
                    <a:pt x="1921192" y="1417319"/>
                    <a:pt x="1921192" y="1408747"/>
                  </a:cubicBezTo>
                  <a:cubicBezTo>
                    <a:pt x="1921192" y="1401127"/>
                    <a:pt x="1927859" y="1394459"/>
                    <a:pt x="1935480" y="1394459"/>
                  </a:cubicBezTo>
                  <a:close/>
                  <a:moveTo>
                    <a:pt x="922021" y="1392554"/>
                  </a:moveTo>
                  <a:cubicBezTo>
                    <a:pt x="929640" y="1392554"/>
                    <a:pt x="936308" y="1399221"/>
                    <a:pt x="936308" y="1406842"/>
                  </a:cubicBezTo>
                  <a:cubicBezTo>
                    <a:pt x="936308" y="1414462"/>
                    <a:pt x="929640" y="1421129"/>
                    <a:pt x="922021" y="1421129"/>
                  </a:cubicBezTo>
                  <a:cubicBezTo>
                    <a:pt x="913448" y="1421129"/>
                    <a:pt x="907733" y="1414462"/>
                    <a:pt x="907733" y="1406842"/>
                  </a:cubicBezTo>
                  <a:cubicBezTo>
                    <a:pt x="907733" y="1399221"/>
                    <a:pt x="914400" y="1392554"/>
                    <a:pt x="922021" y="1392554"/>
                  </a:cubicBezTo>
                  <a:close/>
                  <a:moveTo>
                    <a:pt x="2147887" y="1391602"/>
                  </a:moveTo>
                  <a:cubicBezTo>
                    <a:pt x="2151697" y="1391602"/>
                    <a:pt x="2155507" y="1395412"/>
                    <a:pt x="2155507" y="1399222"/>
                  </a:cubicBezTo>
                  <a:cubicBezTo>
                    <a:pt x="2155507" y="1403032"/>
                    <a:pt x="2151697" y="1406842"/>
                    <a:pt x="2147887" y="1406842"/>
                  </a:cubicBezTo>
                  <a:cubicBezTo>
                    <a:pt x="2144077" y="1406842"/>
                    <a:pt x="2140267" y="1403032"/>
                    <a:pt x="2140267" y="1399222"/>
                  </a:cubicBezTo>
                  <a:cubicBezTo>
                    <a:pt x="2140267" y="1395412"/>
                    <a:pt x="2144077" y="1391602"/>
                    <a:pt x="2147887" y="1391602"/>
                  </a:cubicBezTo>
                  <a:close/>
                  <a:moveTo>
                    <a:pt x="1501140" y="1391602"/>
                  </a:moveTo>
                  <a:cubicBezTo>
                    <a:pt x="1503997" y="1391602"/>
                    <a:pt x="1506855" y="1394459"/>
                    <a:pt x="1506855" y="1397317"/>
                  </a:cubicBezTo>
                  <a:cubicBezTo>
                    <a:pt x="1506855" y="1400174"/>
                    <a:pt x="1503997" y="1403032"/>
                    <a:pt x="1501140" y="1403032"/>
                  </a:cubicBezTo>
                  <a:cubicBezTo>
                    <a:pt x="1497330" y="1403032"/>
                    <a:pt x="1495425" y="1400174"/>
                    <a:pt x="1495425" y="1397317"/>
                  </a:cubicBezTo>
                  <a:cubicBezTo>
                    <a:pt x="1495425" y="1394459"/>
                    <a:pt x="1498283" y="1391602"/>
                    <a:pt x="1501140" y="1391602"/>
                  </a:cubicBezTo>
                  <a:close/>
                  <a:moveTo>
                    <a:pt x="1100138" y="1388745"/>
                  </a:moveTo>
                  <a:cubicBezTo>
                    <a:pt x="1104900" y="1388745"/>
                    <a:pt x="1108710" y="1392555"/>
                    <a:pt x="1108710" y="1397317"/>
                  </a:cubicBezTo>
                  <a:cubicBezTo>
                    <a:pt x="1108710" y="1402080"/>
                    <a:pt x="1104900" y="1405890"/>
                    <a:pt x="1100138" y="1405890"/>
                  </a:cubicBezTo>
                  <a:cubicBezTo>
                    <a:pt x="1096328" y="1405890"/>
                    <a:pt x="1092517" y="1402080"/>
                    <a:pt x="1091565" y="1397317"/>
                  </a:cubicBezTo>
                  <a:cubicBezTo>
                    <a:pt x="1091565" y="1392555"/>
                    <a:pt x="1095375" y="1388745"/>
                    <a:pt x="1100138" y="1388745"/>
                  </a:cubicBezTo>
                  <a:close/>
                  <a:moveTo>
                    <a:pt x="371475" y="1387792"/>
                  </a:moveTo>
                  <a:cubicBezTo>
                    <a:pt x="383048" y="1387792"/>
                    <a:pt x="392430" y="1397174"/>
                    <a:pt x="392430" y="1408747"/>
                  </a:cubicBezTo>
                  <a:cubicBezTo>
                    <a:pt x="392430" y="1420320"/>
                    <a:pt x="383048" y="1429702"/>
                    <a:pt x="371475" y="1429702"/>
                  </a:cubicBezTo>
                  <a:cubicBezTo>
                    <a:pt x="359902" y="1429702"/>
                    <a:pt x="350520" y="1420320"/>
                    <a:pt x="350520" y="1408747"/>
                  </a:cubicBezTo>
                  <a:cubicBezTo>
                    <a:pt x="350520" y="1397174"/>
                    <a:pt x="359902" y="1387792"/>
                    <a:pt x="371475" y="1387792"/>
                  </a:cubicBezTo>
                  <a:close/>
                  <a:moveTo>
                    <a:pt x="1705927" y="1384935"/>
                  </a:moveTo>
                  <a:cubicBezTo>
                    <a:pt x="1711714" y="1384935"/>
                    <a:pt x="1716405" y="1389626"/>
                    <a:pt x="1716405" y="1395413"/>
                  </a:cubicBezTo>
                  <a:cubicBezTo>
                    <a:pt x="1716405" y="1401199"/>
                    <a:pt x="1711714" y="1405890"/>
                    <a:pt x="1705927" y="1405890"/>
                  </a:cubicBezTo>
                  <a:cubicBezTo>
                    <a:pt x="1700141" y="1405890"/>
                    <a:pt x="1695450" y="1401199"/>
                    <a:pt x="1695450" y="1395413"/>
                  </a:cubicBezTo>
                  <a:cubicBezTo>
                    <a:pt x="1695450" y="1389626"/>
                    <a:pt x="1700141" y="1384935"/>
                    <a:pt x="1705927" y="1384935"/>
                  </a:cubicBezTo>
                  <a:close/>
                  <a:moveTo>
                    <a:pt x="1847850" y="1381125"/>
                  </a:moveTo>
                  <a:cubicBezTo>
                    <a:pt x="1853565" y="1381125"/>
                    <a:pt x="1858327" y="1385888"/>
                    <a:pt x="1858327" y="1391603"/>
                  </a:cubicBezTo>
                  <a:cubicBezTo>
                    <a:pt x="1858327" y="1397317"/>
                    <a:pt x="1853565" y="1402080"/>
                    <a:pt x="1847850" y="1402080"/>
                  </a:cubicBezTo>
                  <a:cubicBezTo>
                    <a:pt x="1841182" y="1402080"/>
                    <a:pt x="1836420" y="1397317"/>
                    <a:pt x="1837372" y="1391603"/>
                  </a:cubicBezTo>
                  <a:cubicBezTo>
                    <a:pt x="1837372" y="1385888"/>
                    <a:pt x="1842135" y="1381125"/>
                    <a:pt x="1847850" y="1381125"/>
                  </a:cubicBezTo>
                  <a:close/>
                  <a:moveTo>
                    <a:pt x="273368" y="1374457"/>
                  </a:moveTo>
                  <a:cubicBezTo>
                    <a:pt x="284798" y="1374457"/>
                    <a:pt x="294323" y="1383982"/>
                    <a:pt x="294323" y="1395412"/>
                  </a:cubicBezTo>
                  <a:cubicBezTo>
                    <a:pt x="294323" y="1406842"/>
                    <a:pt x="284798" y="1416367"/>
                    <a:pt x="273368" y="1416367"/>
                  </a:cubicBezTo>
                  <a:cubicBezTo>
                    <a:pt x="261938" y="1416367"/>
                    <a:pt x="252413" y="1406842"/>
                    <a:pt x="252413" y="1395412"/>
                  </a:cubicBezTo>
                  <a:cubicBezTo>
                    <a:pt x="252413" y="1383982"/>
                    <a:pt x="261938" y="1374457"/>
                    <a:pt x="273368" y="1374457"/>
                  </a:cubicBezTo>
                  <a:close/>
                  <a:moveTo>
                    <a:pt x="2065973" y="1373504"/>
                  </a:moveTo>
                  <a:cubicBezTo>
                    <a:pt x="2073593" y="1373504"/>
                    <a:pt x="2080260" y="1380171"/>
                    <a:pt x="2080260" y="1387792"/>
                  </a:cubicBezTo>
                  <a:cubicBezTo>
                    <a:pt x="2080260" y="1395412"/>
                    <a:pt x="2073593" y="1402079"/>
                    <a:pt x="2065973" y="1402079"/>
                  </a:cubicBezTo>
                  <a:cubicBezTo>
                    <a:pt x="2058353" y="1402079"/>
                    <a:pt x="2051685" y="1395412"/>
                    <a:pt x="2051685" y="1387792"/>
                  </a:cubicBezTo>
                  <a:cubicBezTo>
                    <a:pt x="2051685" y="1380171"/>
                    <a:pt x="2058353" y="1373504"/>
                    <a:pt x="2065973" y="1373504"/>
                  </a:cubicBezTo>
                  <a:close/>
                  <a:moveTo>
                    <a:pt x="1556385" y="1373504"/>
                  </a:moveTo>
                  <a:cubicBezTo>
                    <a:pt x="1562100" y="1373504"/>
                    <a:pt x="1565910" y="1377314"/>
                    <a:pt x="1565910" y="1383029"/>
                  </a:cubicBezTo>
                  <a:cubicBezTo>
                    <a:pt x="1565910" y="1388744"/>
                    <a:pt x="1561148" y="1392554"/>
                    <a:pt x="1556385" y="1392554"/>
                  </a:cubicBezTo>
                  <a:cubicBezTo>
                    <a:pt x="1551623" y="1392554"/>
                    <a:pt x="1546860" y="1388744"/>
                    <a:pt x="1546860" y="1383029"/>
                  </a:cubicBezTo>
                  <a:cubicBezTo>
                    <a:pt x="1546860" y="1377314"/>
                    <a:pt x="1551623" y="1373504"/>
                    <a:pt x="1556385" y="1373504"/>
                  </a:cubicBezTo>
                  <a:close/>
                  <a:moveTo>
                    <a:pt x="641985" y="1373504"/>
                  </a:moveTo>
                  <a:cubicBezTo>
                    <a:pt x="652462" y="1373504"/>
                    <a:pt x="661035" y="1382077"/>
                    <a:pt x="661035" y="1392554"/>
                  </a:cubicBezTo>
                  <a:cubicBezTo>
                    <a:pt x="661035" y="1403032"/>
                    <a:pt x="652462" y="1411604"/>
                    <a:pt x="641985" y="1411604"/>
                  </a:cubicBezTo>
                  <a:cubicBezTo>
                    <a:pt x="631508" y="1411604"/>
                    <a:pt x="622935" y="1403032"/>
                    <a:pt x="622935" y="1392554"/>
                  </a:cubicBezTo>
                  <a:cubicBezTo>
                    <a:pt x="622935" y="1382077"/>
                    <a:pt x="631508" y="1373504"/>
                    <a:pt x="641985" y="1373504"/>
                  </a:cubicBezTo>
                  <a:close/>
                  <a:moveTo>
                    <a:pt x="1044892" y="1372552"/>
                  </a:moveTo>
                  <a:cubicBezTo>
                    <a:pt x="1050608" y="1372552"/>
                    <a:pt x="1055370" y="1377315"/>
                    <a:pt x="1055370" y="1383029"/>
                  </a:cubicBezTo>
                  <a:cubicBezTo>
                    <a:pt x="1055370" y="1388744"/>
                    <a:pt x="1050608" y="1393507"/>
                    <a:pt x="1044892" y="1393507"/>
                  </a:cubicBezTo>
                  <a:cubicBezTo>
                    <a:pt x="1039178" y="1393507"/>
                    <a:pt x="1034415" y="1388744"/>
                    <a:pt x="1034415" y="1383029"/>
                  </a:cubicBezTo>
                  <a:cubicBezTo>
                    <a:pt x="1034415" y="1377315"/>
                    <a:pt x="1039178" y="1372552"/>
                    <a:pt x="1044892" y="1372552"/>
                  </a:cubicBezTo>
                  <a:close/>
                  <a:moveTo>
                    <a:pt x="753428" y="1372552"/>
                  </a:moveTo>
                  <a:cubicBezTo>
                    <a:pt x="763905" y="1372552"/>
                    <a:pt x="771525" y="1381124"/>
                    <a:pt x="771525" y="1390649"/>
                  </a:cubicBezTo>
                  <a:cubicBezTo>
                    <a:pt x="771525" y="1401127"/>
                    <a:pt x="762953" y="1408747"/>
                    <a:pt x="753428" y="1408747"/>
                  </a:cubicBezTo>
                  <a:cubicBezTo>
                    <a:pt x="743903" y="1408747"/>
                    <a:pt x="735330" y="1401127"/>
                    <a:pt x="735330" y="1390649"/>
                  </a:cubicBezTo>
                  <a:cubicBezTo>
                    <a:pt x="735330" y="1380172"/>
                    <a:pt x="743903" y="1372552"/>
                    <a:pt x="753428" y="1372552"/>
                  </a:cubicBezTo>
                  <a:close/>
                  <a:moveTo>
                    <a:pt x="535304" y="1367790"/>
                  </a:moveTo>
                  <a:cubicBezTo>
                    <a:pt x="546735" y="1367790"/>
                    <a:pt x="555307" y="1377315"/>
                    <a:pt x="555307" y="1387792"/>
                  </a:cubicBezTo>
                  <a:cubicBezTo>
                    <a:pt x="555307" y="1399222"/>
                    <a:pt x="545782" y="1407795"/>
                    <a:pt x="535304" y="1407795"/>
                  </a:cubicBezTo>
                  <a:cubicBezTo>
                    <a:pt x="524827" y="1407795"/>
                    <a:pt x="515302" y="1398270"/>
                    <a:pt x="515302" y="1387792"/>
                  </a:cubicBezTo>
                  <a:cubicBezTo>
                    <a:pt x="515302" y="1376362"/>
                    <a:pt x="523875" y="1367790"/>
                    <a:pt x="535304" y="1367790"/>
                  </a:cubicBezTo>
                  <a:close/>
                  <a:moveTo>
                    <a:pt x="869633" y="1364932"/>
                  </a:moveTo>
                  <a:cubicBezTo>
                    <a:pt x="879158" y="1364932"/>
                    <a:pt x="886778" y="1372552"/>
                    <a:pt x="886778" y="1382077"/>
                  </a:cubicBezTo>
                  <a:cubicBezTo>
                    <a:pt x="886778" y="1391602"/>
                    <a:pt x="879158" y="1399222"/>
                    <a:pt x="869633" y="1399222"/>
                  </a:cubicBezTo>
                  <a:cubicBezTo>
                    <a:pt x="860108" y="1399222"/>
                    <a:pt x="852488" y="1391602"/>
                    <a:pt x="852488" y="1382077"/>
                  </a:cubicBezTo>
                  <a:cubicBezTo>
                    <a:pt x="852488" y="1372552"/>
                    <a:pt x="860108" y="1364932"/>
                    <a:pt x="869633" y="1364932"/>
                  </a:cubicBezTo>
                  <a:close/>
                  <a:moveTo>
                    <a:pt x="1981201" y="1360170"/>
                  </a:moveTo>
                  <a:cubicBezTo>
                    <a:pt x="1988821" y="1360170"/>
                    <a:pt x="1995488" y="1366837"/>
                    <a:pt x="1995488" y="1374458"/>
                  </a:cubicBezTo>
                  <a:cubicBezTo>
                    <a:pt x="1995488" y="1382078"/>
                    <a:pt x="1988821" y="1388745"/>
                    <a:pt x="1981201" y="1388745"/>
                  </a:cubicBezTo>
                  <a:cubicBezTo>
                    <a:pt x="1973580" y="1388745"/>
                    <a:pt x="1966913" y="1382078"/>
                    <a:pt x="1966913" y="1374458"/>
                  </a:cubicBezTo>
                  <a:cubicBezTo>
                    <a:pt x="1966913" y="1366837"/>
                    <a:pt x="1973580" y="1360170"/>
                    <a:pt x="1981201" y="1360170"/>
                  </a:cubicBezTo>
                  <a:close/>
                  <a:moveTo>
                    <a:pt x="432435" y="1357312"/>
                  </a:moveTo>
                  <a:cubicBezTo>
                    <a:pt x="444008" y="1357312"/>
                    <a:pt x="453390" y="1366694"/>
                    <a:pt x="453390" y="1378267"/>
                  </a:cubicBezTo>
                  <a:cubicBezTo>
                    <a:pt x="453390" y="1389840"/>
                    <a:pt x="444008" y="1399222"/>
                    <a:pt x="432435" y="1399222"/>
                  </a:cubicBezTo>
                  <a:cubicBezTo>
                    <a:pt x="420862" y="1399222"/>
                    <a:pt x="411480" y="1389840"/>
                    <a:pt x="411480" y="1378267"/>
                  </a:cubicBezTo>
                  <a:cubicBezTo>
                    <a:pt x="411480" y="1366694"/>
                    <a:pt x="420862" y="1357312"/>
                    <a:pt x="432435" y="1357312"/>
                  </a:cubicBezTo>
                  <a:close/>
                  <a:moveTo>
                    <a:pt x="1757363" y="1356359"/>
                  </a:moveTo>
                  <a:cubicBezTo>
                    <a:pt x="1764030" y="1356359"/>
                    <a:pt x="1769745" y="1362074"/>
                    <a:pt x="1769745" y="1368742"/>
                  </a:cubicBezTo>
                  <a:cubicBezTo>
                    <a:pt x="1769745" y="1375409"/>
                    <a:pt x="1764030" y="1381124"/>
                    <a:pt x="1757363" y="1381124"/>
                  </a:cubicBezTo>
                  <a:cubicBezTo>
                    <a:pt x="1750695" y="1381124"/>
                    <a:pt x="1744980" y="1376362"/>
                    <a:pt x="1744980" y="1368742"/>
                  </a:cubicBezTo>
                  <a:cubicBezTo>
                    <a:pt x="1744980" y="1362074"/>
                    <a:pt x="1750695" y="1356359"/>
                    <a:pt x="1757363" y="1356359"/>
                  </a:cubicBezTo>
                  <a:close/>
                  <a:moveTo>
                    <a:pt x="2188845" y="1354454"/>
                  </a:moveTo>
                  <a:cubicBezTo>
                    <a:pt x="2190750" y="1354454"/>
                    <a:pt x="2192655" y="1356359"/>
                    <a:pt x="2192655" y="1358264"/>
                  </a:cubicBezTo>
                  <a:cubicBezTo>
                    <a:pt x="2192655" y="1360169"/>
                    <a:pt x="2190750" y="1362074"/>
                    <a:pt x="2188845" y="1362074"/>
                  </a:cubicBezTo>
                  <a:cubicBezTo>
                    <a:pt x="2186940" y="1362074"/>
                    <a:pt x="2185035" y="1360169"/>
                    <a:pt x="2185035" y="1358264"/>
                  </a:cubicBezTo>
                  <a:cubicBezTo>
                    <a:pt x="2185035" y="1356359"/>
                    <a:pt x="2186940" y="1354454"/>
                    <a:pt x="2188845" y="1354454"/>
                  </a:cubicBezTo>
                  <a:close/>
                  <a:moveTo>
                    <a:pt x="1611630" y="1354454"/>
                  </a:moveTo>
                  <a:cubicBezTo>
                    <a:pt x="1617345" y="1354454"/>
                    <a:pt x="1621155" y="1359217"/>
                    <a:pt x="1621155" y="1363979"/>
                  </a:cubicBezTo>
                  <a:cubicBezTo>
                    <a:pt x="1621155" y="1369694"/>
                    <a:pt x="1616393" y="1373504"/>
                    <a:pt x="1611630" y="1373504"/>
                  </a:cubicBezTo>
                  <a:cubicBezTo>
                    <a:pt x="1605915" y="1373504"/>
                    <a:pt x="1602105" y="1369694"/>
                    <a:pt x="1602105" y="1363979"/>
                  </a:cubicBezTo>
                  <a:cubicBezTo>
                    <a:pt x="1602105" y="1358264"/>
                    <a:pt x="1605915" y="1354454"/>
                    <a:pt x="1611630" y="1354454"/>
                  </a:cubicBezTo>
                  <a:close/>
                  <a:moveTo>
                    <a:pt x="989648" y="1352550"/>
                  </a:moveTo>
                  <a:cubicBezTo>
                    <a:pt x="996315" y="1352550"/>
                    <a:pt x="1002030" y="1358265"/>
                    <a:pt x="1002030" y="1364933"/>
                  </a:cubicBezTo>
                  <a:cubicBezTo>
                    <a:pt x="1002030" y="1371600"/>
                    <a:pt x="996315" y="1377315"/>
                    <a:pt x="989648" y="1377315"/>
                  </a:cubicBezTo>
                  <a:cubicBezTo>
                    <a:pt x="982980" y="1377315"/>
                    <a:pt x="978217" y="1371600"/>
                    <a:pt x="977265" y="1364933"/>
                  </a:cubicBezTo>
                  <a:cubicBezTo>
                    <a:pt x="977265" y="1358265"/>
                    <a:pt x="982980" y="1352550"/>
                    <a:pt x="989648" y="1352550"/>
                  </a:cubicBezTo>
                  <a:close/>
                  <a:moveTo>
                    <a:pt x="1285875" y="1351597"/>
                  </a:moveTo>
                  <a:cubicBezTo>
                    <a:pt x="1287780" y="1351597"/>
                    <a:pt x="1289685" y="1353502"/>
                    <a:pt x="1289685" y="1355407"/>
                  </a:cubicBezTo>
                  <a:cubicBezTo>
                    <a:pt x="1289685" y="1357312"/>
                    <a:pt x="1287780" y="1359217"/>
                    <a:pt x="1285875" y="1359217"/>
                  </a:cubicBezTo>
                  <a:cubicBezTo>
                    <a:pt x="1283970" y="1359217"/>
                    <a:pt x="1283017" y="1357312"/>
                    <a:pt x="1282065" y="1355407"/>
                  </a:cubicBezTo>
                  <a:cubicBezTo>
                    <a:pt x="1282065" y="1353502"/>
                    <a:pt x="1283970" y="1351597"/>
                    <a:pt x="1285875" y="1351597"/>
                  </a:cubicBezTo>
                  <a:close/>
                  <a:moveTo>
                    <a:pt x="1343977" y="1350645"/>
                  </a:moveTo>
                  <a:cubicBezTo>
                    <a:pt x="1345882" y="1350645"/>
                    <a:pt x="1347787" y="1352550"/>
                    <a:pt x="1347787" y="1354455"/>
                  </a:cubicBezTo>
                  <a:cubicBezTo>
                    <a:pt x="1347787" y="1356360"/>
                    <a:pt x="1345882" y="1358265"/>
                    <a:pt x="1343977" y="1358265"/>
                  </a:cubicBezTo>
                  <a:cubicBezTo>
                    <a:pt x="1342072" y="1358265"/>
                    <a:pt x="1340167" y="1356360"/>
                    <a:pt x="1340167" y="1354455"/>
                  </a:cubicBezTo>
                  <a:cubicBezTo>
                    <a:pt x="1340167" y="1352550"/>
                    <a:pt x="1342072" y="1350645"/>
                    <a:pt x="1343977" y="1350645"/>
                  </a:cubicBezTo>
                  <a:close/>
                  <a:moveTo>
                    <a:pt x="1895475" y="1348740"/>
                  </a:moveTo>
                  <a:cubicBezTo>
                    <a:pt x="1901190" y="1348740"/>
                    <a:pt x="1905952" y="1353503"/>
                    <a:pt x="1905952" y="1359217"/>
                  </a:cubicBezTo>
                  <a:cubicBezTo>
                    <a:pt x="1905952" y="1364932"/>
                    <a:pt x="1901190" y="1369695"/>
                    <a:pt x="1895475" y="1369695"/>
                  </a:cubicBezTo>
                  <a:cubicBezTo>
                    <a:pt x="1889760" y="1369695"/>
                    <a:pt x="1884997" y="1364932"/>
                    <a:pt x="1884997" y="1359217"/>
                  </a:cubicBezTo>
                  <a:cubicBezTo>
                    <a:pt x="1884997" y="1353503"/>
                    <a:pt x="1889760" y="1348740"/>
                    <a:pt x="1895475" y="1348740"/>
                  </a:cubicBezTo>
                  <a:close/>
                  <a:moveTo>
                    <a:pt x="1228726" y="1347787"/>
                  </a:moveTo>
                  <a:cubicBezTo>
                    <a:pt x="1231583" y="1347787"/>
                    <a:pt x="1233488" y="1349692"/>
                    <a:pt x="1233488" y="1352550"/>
                  </a:cubicBezTo>
                  <a:cubicBezTo>
                    <a:pt x="1233488" y="1355407"/>
                    <a:pt x="1231583" y="1357312"/>
                    <a:pt x="1228726" y="1357312"/>
                  </a:cubicBezTo>
                  <a:cubicBezTo>
                    <a:pt x="1225868" y="1357312"/>
                    <a:pt x="1223963" y="1355407"/>
                    <a:pt x="1223963" y="1352550"/>
                  </a:cubicBezTo>
                  <a:cubicBezTo>
                    <a:pt x="1223963" y="1349692"/>
                    <a:pt x="1225868" y="1347787"/>
                    <a:pt x="1228726" y="1347787"/>
                  </a:cubicBezTo>
                  <a:close/>
                  <a:moveTo>
                    <a:pt x="1401128" y="1344929"/>
                  </a:moveTo>
                  <a:cubicBezTo>
                    <a:pt x="1403985" y="1344929"/>
                    <a:pt x="1405890" y="1346834"/>
                    <a:pt x="1405890" y="1349692"/>
                  </a:cubicBezTo>
                  <a:cubicBezTo>
                    <a:pt x="1405890" y="1352549"/>
                    <a:pt x="1403985" y="1354454"/>
                    <a:pt x="1401128" y="1354454"/>
                  </a:cubicBezTo>
                  <a:cubicBezTo>
                    <a:pt x="1398270" y="1354454"/>
                    <a:pt x="1396365" y="1352549"/>
                    <a:pt x="1396365" y="1349692"/>
                  </a:cubicBezTo>
                  <a:cubicBezTo>
                    <a:pt x="1396365" y="1346834"/>
                    <a:pt x="1398270" y="1344929"/>
                    <a:pt x="1401128" y="1344929"/>
                  </a:cubicBezTo>
                  <a:close/>
                  <a:moveTo>
                    <a:pt x="333375" y="1344929"/>
                  </a:moveTo>
                  <a:cubicBezTo>
                    <a:pt x="344805" y="1344929"/>
                    <a:pt x="354330" y="1354454"/>
                    <a:pt x="354330" y="1365884"/>
                  </a:cubicBezTo>
                  <a:cubicBezTo>
                    <a:pt x="354330" y="1377314"/>
                    <a:pt x="344805" y="1386839"/>
                    <a:pt x="333375" y="1386839"/>
                  </a:cubicBezTo>
                  <a:cubicBezTo>
                    <a:pt x="320993" y="1386839"/>
                    <a:pt x="312420" y="1377314"/>
                    <a:pt x="312420" y="1365884"/>
                  </a:cubicBezTo>
                  <a:cubicBezTo>
                    <a:pt x="312420" y="1354454"/>
                    <a:pt x="321945" y="1344929"/>
                    <a:pt x="333375" y="1344929"/>
                  </a:cubicBezTo>
                  <a:close/>
                  <a:moveTo>
                    <a:pt x="705802" y="1342072"/>
                  </a:moveTo>
                  <a:cubicBezTo>
                    <a:pt x="715327" y="1342072"/>
                    <a:pt x="721995" y="1349692"/>
                    <a:pt x="721995" y="1358265"/>
                  </a:cubicBezTo>
                  <a:cubicBezTo>
                    <a:pt x="721995" y="1367790"/>
                    <a:pt x="714375" y="1374457"/>
                    <a:pt x="705802" y="1374457"/>
                  </a:cubicBezTo>
                  <a:cubicBezTo>
                    <a:pt x="697230" y="1374457"/>
                    <a:pt x="689610" y="1367790"/>
                    <a:pt x="689610" y="1358265"/>
                  </a:cubicBezTo>
                  <a:cubicBezTo>
                    <a:pt x="689610" y="1348740"/>
                    <a:pt x="697230" y="1342072"/>
                    <a:pt x="705802" y="1342072"/>
                  </a:cubicBezTo>
                  <a:close/>
                  <a:moveTo>
                    <a:pt x="1171575" y="1340167"/>
                  </a:moveTo>
                  <a:cubicBezTo>
                    <a:pt x="1174433" y="1340167"/>
                    <a:pt x="1177290" y="1343025"/>
                    <a:pt x="1177290" y="1345882"/>
                  </a:cubicBezTo>
                  <a:cubicBezTo>
                    <a:pt x="1177290" y="1348740"/>
                    <a:pt x="1174433" y="1351597"/>
                    <a:pt x="1171575" y="1351597"/>
                  </a:cubicBezTo>
                  <a:cubicBezTo>
                    <a:pt x="1168718" y="1351597"/>
                    <a:pt x="1165860" y="1348740"/>
                    <a:pt x="1165860" y="1345882"/>
                  </a:cubicBezTo>
                  <a:cubicBezTo>
                    <a:pt x="1165860" y="1343025"/>
                    <a:pt x="1168718" y="1340167"/>
                    <a:pt x="1171575" y="1340167"/>
                  </a:cubicBezTo>
                  <a:close/>
                  <a:moveTo>
                    <a:pt x="819150" y="1340167"/>
                  </a:moveTo>
                  <a:cubicBezTo>
                    <a:pt x="827723" y="1340167"/>
                    <a:pt x="834390" y="1346834"/>
                    <a:pt x="834390" y="1355407"/>
                  </a:cubicBezTo>
                  <a:cubicBezTo>
                    <a:pt x="834390" y="1363980"/>
                    <a:pt x="827723" y="1370647"/>
                    <a:pt x="819150" y="1370647"/>
                  </a:cubicBezTo>
                  <a:cubicBezTo>
                    <a:pt x="810577" y="1370647"/>
                    <a:pt x="803910" y="1363980"/>
                    <a:pt x="803910" y="1355407"/>
                  </a:cubicBezTo>
                  <a:cubicBezTo>
                    <a:pt x="803910" y="1346834"/>
                    <a:pt x="810577" y="1340167"/>
                    <a:pt x="819150" y="1340167"/>
                  </a:cubicBezTo>
                  <a:close/>
                  <a:moveTo>
                    <a:pt x="597218" y="1339215"/>
                  </a:moveTo>
                  <a:cubicBezTo>
                    <a:pt x="606743" y="1339215"/>
                    <a:pt x="614363" y="1346835"/>
                    <a:pt x="614363" y="1356360"/>
                  </a:cubicBezTo>
                  <a:cubicBezTo>
                    <a:pt x="614363" y="1365885"/>
                    <a:pt x="606743" y="1373505"/>
                    <a:pt x="597218" y="1373505"/>
                  </a:cubicBezTo>
                  <a:cubicBezTo>
                    <a:pt x="587693" y="1373505"/>
                    <a:pt x="580073" y="1365885"/>
                    <a:pt x="580073" y="1356360"/>
                  </a:cubicBezTo>
                  <a:cubicBezTo>
                    <a:pt x="580073" y="1346835"/>
                    <a:pt x="587693" y="1339215"/>
                    <a:pt x="597218" y="1339215"/>
                  </a:cubicBezTo>
                  <a:close/>
                  <a:moveTo>
                    <a:pt x="1458278" y="1338262"/>
                  </a:moveTo>
                  <a:cubicBezTo>
                    <a:pt x="1460183" y="1338262"/>
                    <a:pt x="1461135" y="1339215"/>
                    <a:pt x="1461135" y="1341120"/>
                  </a:cubicBezTo>
                  <a:cubicBezTo>
                    <a:pt x="1461135" y="1343025"/>
                    <a:pt x="1460183" y="1343977"/>
                    <a:pt x="1458278" y="1343977"/>
                  </a:cubicBezTo>
                  <a:cubicBezTo>
                    <a:pt x="1456372" y="1343977"/>
                    <a:pt x="1455420" y="1342072"/>
                    <a:pt x="1455420" y="1341120"/>
                  </a:cubicBezTo>
                  <a:cubicBezTo>
                    <a:pt x="1455420" y="1339215"/>
                    <a:pt x="1456372" y="1338262"/>
                    <a:pt x="1458278" y="1338262"/>
                  </a:cubicBezTo>
                  <a:close/>
                  <a:moveTo>
                    <a:pt x="1664970" y="1336357"/>
                  </a:moveTo>
                  <a:cubicBezTo>
                    <a:pt x="1668780" y="1336357"/>
                    <a:pt x="1671638" y="1339215"/>
                    <a:pt x="1671638" y="1343024"/>
                  </a:cubicBezTo>
                  <a:cubicBezTo>
                    <a:pt x="1671638" y="1346834"/>
                    <a:pt x="1668780" y="1349692"/>
                    <a:pt x="1664970" y="1349692"/>
                  </a:cubicBezTo>
                  <a:cubicBezTo>
                    <a:pt x="1661160" y="1349692"/>
                    <a:pt x="1658303" y="1346834"/>
                    <a:pt x="1658303" y="1343024"/>
                  </a:cubicBezTo>
                  <a:cubicBezTo>
                    <a:pt x="1658303" y="1339215"/>
                    <a:pt x="1661160" y="1336357"/>
                    <a:pt x="1664970" y="1336357"/>
                  </a:cubicBezTo>
                  <a:close/>
                  <a:moveTo>
                    <a:pt x="2107883" y="1335404"/>
                  </a:moveTo>
                  <a:cubicBezTo>
                    <a:pt x="2114550" y="1335404"/>
                    <a:pt x="2120265" y="1341119"/>
                    <a:pt x="2120265" y="1347787"/>
                  </a:cubicBezTo>
                  <a:cubicBezTo>
                    <a:pt x="2120265" y="1354454"/>
                    <a:pt x="2114550" y="1360169"/>
                    <a:pt x="2107883" y="1360169"/>
                  </a:cubicBezTo>
                  <a:cubicBezTo>
                    <a:pt x="2101215" y="1360169"/>
                    <a:pt x="2096453" y="1355407"/>
                    <a:pt x="2095500" y="1347787"/>
                  </a:cubicBezTo>
                  <a:cubicBezTo>
                    <a:pt x="2095500" y="1341119"/>
                    <a:pt x="2101215" y="1335404"/>
                    <a:pt x="2107883" y="1335404"/>
                  </a:cubicBezTo>
                  <a:close/>
                  <a:moveTo>
                    <a:pt x="237172" y="1333500"/>
                  </a:moveTo>
                  <a:cubicBezTo>
                    <a:pt x="246697" y="1333500"/>
                    <a:pt x="254317" y="1341120"/>
                    <a:pt x="254317" y="1350645"/>
                  </a:cubicBezTo>
                  <a:cubicBezTo>
                    <a:pt x="254317" y="1360170"/>
                    <a:pt x="246697" y="1367790"/>
                    <a:pt x="237172" y="1367790"/>
                  </a:cubicBezTo>
                  <a:cubicBezTo>
                    <a:pt x="227647" y="1367790"/>
                    <a:pt x="220027" y="1360170"/>
                    <a:pt x="220027" y="1350645"/>
                  </a:cubicBezTo>
                  <a:cubicBezTo>
                    <a:pt x="220027" y="1341120"/>
                    <a:pt x="227647" y="1333500"/>
                    <a:pt x="237172" y="1333500"/>
                  </a:cubicBezTo>
                  <a:close/>
                  <a:moveTo>
                    <a:pt x="936308" y="1332547"/>
                  </a:moveTo>
                  <a:cubicBezTo>
                    <a:pt x="942023" y="1332547"/>
                    <a:pt x="946785" y="1337310"/>
                    <a:pt x="946785" y="1343025"/>
                  </a:cubicBezTo>
                  <a:cubicBezTo>
                    <a:pt x="946785" y="1348740"/>
                    <a:pt x="942023" y="1353502"/>
                    <a:pt x="936308" y="1353502"/>
                  </a:cubicBezTo>
                  <a:cubicBezTo>
                    <a:pt x="930593" y="1353502"/>
                    <a:pt x="926783" y="1348740"/>
                    <a:pt x="925830" y="1343025"/>
                  </a:cubicBezTo>
                  <a:cubicBezTo>
                    <a:pt x="925830" y="1337310"/>
                    <a:pt x="930593" y="1332547"/>
                    <a:pt x="936308" y="1332547"/>
                  </a:cubicBezTo>
                  <a:close/>
                  <a:moveTo>
                    <a:pt x="1806892" y="1331595"/>
                  </a:moveTo>
                  <a:cubicBezTo>
                    <a:pt x="1811655" y="1331595"/>
                    <a:pt x="1815465" y="1335405"/>
                    <a:pt x="1815465" y="1340167"/>
                  </a:cubicBezTo>
                  <a:cubicBezTo>
                    <a:pt x="1815465" y="1344930"/>
                    <a:pt x="1811655" y="1348740"/>
                    <a:pt x="1806892" y="1348740"/>
                  </a:cubicBezTo>
                  <a:cubicBezTo>
                    <a:pt x="1803083" y="1348740"/>
                    <a:pt x="1798320" y="1344930"/>
                    <a:pt x="1798320" y="1340167"/>
                  </a:cubicBezTo>
                  <a:cubicBezTo>
                    <a:pt x="1798320" y="1335405"/>
                    <a:pt x="1802130" y="1331595"/>
                    <a:pt x="1806892" y="1331595"/>
                  </a:cubicBezTo>
                  <a:close/>
                  <a:moveTo>
                    <a:pt x="493395" y="1330642"/>
                  </a:moveTo>
                  <a:cubicBezTo>
                    <a:pt x="502920" y="1330642"/>
                    <a:pt x="511493" y="1338262"/>
                    <a:pt x="511493" y="1348740"/>
                  </a:cubicBezTo>
                  <a:cubicBezTo>
                    <a:pt x="511493" y="1358265"/>
                    <a:pt x="503873" y="1366837"/>
                    <a:pt x="493395" y="1366837"/>
                  </a:cubicBezTo>
                  <a:cubicBezTo>
                    <a:pt x="482918" y="1366837"/>
                    <a:pt x="475298" y="1358265"/>
                    <a:pt x="475298" y="1348740"/>
                  </a:cubicBezTo>
                  <a:cubicBezTo>
                    <a:pt x="475298" y="1339215"/>
                    <a:pt x="482918" y="1330642"/>
                    <a:pt x="493395" y="1330642"/>
                  </a:cubicBezTo>
                  <a:close/>
                  <a:moveTo>
                    <a:pt x="143827" y="1330642"/>
                  </a:moveTo>
                  <a:cubicBezTo>
                    <a:pt x="144780" y="1330642"/>
                    <a:pt x="145732" y="1331595"/>
                    <a:pt x="145732" y="1332547"/>
                  </a:cubicBezTo>
                  <a:cubicBezTo>
                    <a:pt x="145732" y="1333500"/>
                    <a:pt x="144780" y="1334452"/>
                    <a:pt x="143827" y="1334452"/>
                  </a:cubicBezTo>
                  <a:cubicBezTo>
                    <a:pt x="142875" y="1334452"/>
                    <a:pt x="141922" y="1333500"/>
                    <a:pt x="141922" y="1332547"/>
                  </a:cubicBezTo>
                  <a:cubicBezTo>
                    <a:pt x="141922" y="1331595"/>
                    <a:pt x="142875" y="1330642"/>
                    <a:pt x="143827" y="1330642"/>
                  </a:cubicBezTo>
                  <a:close/>
                  <a:moveTo>
                    <a:pt x="1114426" y="1329690"/>
                  </a:moveTo>
                  <a:cubicBezTo>
                    <a:pt x="1117283" y="1329690"/>
                    <a:pt x="1119188" y="1331595"/>
                    <a:pt x="1119188" y="1334453"/>
                  </a:cubicBezTo>
                  <a:cubicBezTo>
                    <a:pt x="1119188" y="1337310"/>
                    <a:pt x="1117283" y="1339215"/>
                    <a:pt x="1114426" y="1339215"/>
                  </a:cubicBezTo>
                  <a:cubicBezTo>
                    <a:pt x="1112521" y="1339215"/>
                    <a:pt x="1109663" y="1337310"/>
                    <a:pt x="1109663" y="1334453"/>
                  </a:cubicBezTo>
                  <a:cubicBezTo>
                    <a:pt x="1109663" y="1331595"/>
                    <a:pt x="1111568" y="1329690"/>
                    <a:pt x="1114426" y="1329690"/>
                  </a:cubicBezTo>
                  <a:close/>
                  <a:moveTo>
                    <a:pt x="2025968" y="1326832"/>
                  </a:moveTo>
                  <a:cubicBezTo>
                    <a:pt x="2031683" y="1326832"/>
                    <a:pt x="2036445" y="1331595"/>
                    <a:pt x="2036445" y="1337309"/>
                  </a:cubicBezTo>
                  <a:cubicBezTo>
                    <a:pt x="2036445" y="1343024"/>
                    <a:pt x="2031683" y="1347787"/>
                    <a:pt x="2025968" y="1347787"/>
                  </a:cubicBezTo>
                  <a:cubicBezTo>
                    <a:pt x="2019300" y="1347787"/>
                    <a:pt x="2014538" y="1343024"/>
                    <a:pt x="2015490" y="1337309"/>
                  </a:cubicBezTo>
                  <a:cubicBezTo>
                    <a:pt x="2015490" y="1331595"/>
                    <a:pt x="2020253" y="1326832"/>
                    <a:pt x="2025968" y="1326832"/>
                  </a:cubicBezTo>
                  <a:close/>
                  <a:moveTo>
                    <a:pt x="1514475" y="1324927"/>
                  </a:moveTo>
                  <a:cubicBezTo>
                    <a:pt x="1516380" y="1324927"/>
                    <a:pt x="1518285" y="1326832"/>
                    <a:pt x="1518285" y="1328737"/>
                  </a:cubicBezTo>
                  <a:cubicBezTo>
                    <a:pt x="1518285" y="1330642"/>
                    <a:pt x="1516380" y="1332547"/>
                    <a:pt x="1514475" y="1332547"/>
                  </a:cubicBezTo>
                  <a:cubicBezTo>
                    <a:pt x="1512570" y="1332547"/>
                    <a:pt x="1510665" y="1330642"/>
                    <a:pt x="1510665" y="1328737"/>
                  </a:cubicBezTo>
                  <a:cubicBezTo>
                    <a:pt x="1510665" y="1326832"/>
                    <a:pt x="1512570" y="1324927"/>
                    <a:pt x="1514475" y="1324927"/>
                  </a:cubicBezTo>
                  <a:close/>
                  <a:moveTo>
                    <a:pt x="392431" y="1316355"/>
                  </a:moveTo>
                  <a:cubicBezTo>
                    <a:pt x="403478" y="1316355"/>
                    <a:pt x="412433" y="1325310"/>
                    <a:pt x="412433" y="1336358"/>
                  </a:cubicBezTo>
                  <a:cubicBezTo>
                    <a:pt x="412433" y="1347405"/>
                    <a:pt x="403478" y="1356360"/>
                    <a:pt x="392431" y="1356360"/>
                  </a:cubicBezTo>
                  <a:cubicBezTo>
                    <a:pt x="381383" y="1356360"/>
                    <a:pt x="372428" y="1347405"/>
                    <a:pt x="372428" y="1336358"/>
                  </a:cubicBezTo>
                  <a:cubicBezTo>
                    <a:pt x="372428" y="1325310"/>
                    <a:pt x="381383" y="1316355"/>
                    <a:pt x="392431" y="1316355"/>
                  </a:cubicBezTo>
                  <a:close/>
                  <a:moveTo>
                    <a:pt x="1941195" y="1314450"/>
                  </a:moveTo>
                  <a:cubicBezTo>
                    <a:pt x="1946909" y="1314450"/>
                    <a:pt x="1951672" y="1319213"/>
                    <a:pt x="1951672" y="1324928"/>
                  </a:cubicBezTo>
                  <a:cubicBezTo>
                    <a:pt x="1951672" y="1330642"/>
                    <a:pt x="1946909" y="1335405"/>
                    <a:pt x="1941195" y="1335405"/>
                  </a:cubicBezTo>
                  <a:cubicBezTo>
                    <a:pt x="1935480" y="1335405"/>
                    <a:pt x="1930717" y="1330642"/>
                    <a:pt x="1930717" y="1324928"/>
                  </a:cubicBezTo>
                  <a:cubicBezTo>
                    <a:pt x="1930717" y="1319213"/>
                    <a:pt x="1935480" y="1314450"/>
                    <a:pt x="1941195" y="1314450"/>
                  </a:cubicBezTo>
                  <a:close/>
                  <a:moveTo>
                    <a:pt x="1059180" y="1312545"/>
                  </a:moveTo>
                  <a:cubicBezTo>
                    <a:pt x="1062990" y="1312545"/>
                    <a:pt x="1066800" y="1316355"/>
                    <a:pt x="1066800" y="1320165"/>
                  </a:cubicBezTo>
                  <a:cubicBezTo>
                    <a:pt x="1066800" y="1323975"/>
                    <a:pt x="1062990" y="1327785"/>
                    <a:pt x="1059180" y="1327785"/>
                  </a:cubicBezTo>
                  <a:cubicBezTo>
                    <a:pt x="1054417" y="1327785"/>
                    <a:pt x="1051560" y="1323975"/>
                    <a:pt x="1051560" y="1320165"/>
                  </a:cubicBezTo>
                  <a:cubicBezTo>
                    <a:pt x="1051560" y="1316355"/>
                    <a:pt x="1055370" y="1312545"/>
                    <a:pt x="1059180" y="1312545"/>
                  </a:cubicBezTo>
                  <a:close/>
                  <a:moveTo>
                    <a:pt x="2226945" y="1311592"/>
                  </a:moveTo>
                  <a:cubicBezTo>
                    <a:pt x="2229049" y="1311592"/>
                    <a:pt x="2230755" y="1313298"/>
                    <a:pt x="2230755" y="1315402"/>
                  </a:cubicBezTo>
                  <a:cubicBezTo>
                    <a:pt x="2230755" y="1317506"/>
                    <a:pt x="2229049" y="1319212"/>
                    <a:pt x="2226945" y="1319212"/>
                  </a:cubicBezTo>
                  <a:cubicBezTo>
                    <a:pt x="2224841" y="1319212"/>
                    <a:pt x="2223135" y="1317506"/>
                    <a:pt x="2223135" y="1315402"/>
                  </a:cubicBezTo>
                  <a:cubicBezTo>
                    <a:pt x="2223135" y="1313298"/>
                    <a:pt x="2224841" y="1311592"/>
                    <a:pt x="2226945" y="1311592"/>
                  </a:cubicBezTo>
                  <a:close/>
                  <a:moveTo>
                    <a:pt x="1716405" y="1309687"/>
                  </a:moveTo>
                  <a:cubicBezTo>
                    <a:pt x="1721168" y="1309687"/>
                    <a:pt x="1724978" y="1313497"/>
                    <a:pt x="1724978" y="1318259"/>
                  </a:cubicBezTo>
                  <a:cubicBezTo>
                    <a:pt x="1724978" y="1323022"/>
                    <a:pt x="1721168" y="1326832"/>
                    <a:pt x="1716405" y="1326832"/>
                  </a:cubicBezTo>
                  <a:cubicBezTo>
                    <a:pt x="1711643" y="1326832"/>
                    <a:pt x="1707833" y="1323022"/>
                    <a:pt x="1707833" y="1318259"/>
                  </a:cubicBezTo>
                  <a:cubicBezTo>
                    <a:pt x="1707833" y="1313497"/>
                    <a:pt x="1711643" y="1309687"/>
                    <a:pt x="1716405" y="1309687"/>
                  </a:cubicBezTo>
                  <a:close/>
                  <a:moveTo>
                    <a:pt x="769620" y="1308734"/>
                  </a:moveTo>
                  <a:cubicBezTo>
                    <a:pt x="779145" y="1308734"/>
                    <a:pt x="785812" y="1316354"/>
                    <a:pt x="785812" y="1324927"/>
                  </a:cubicBezTo>
                  <a:cubicBezTo>
                    <a:pt x="785812" y="1334452"/>
                    <a:pt x="778192" y="1341119"/>
                    <a:pt x="769620" y="1341119"/>
                  </a:cubicBezTo>
                  <a:cubicBezTo>
                    <a:pt x="761047" y="1341119"/>
                    <a:pt x="753427" y="1333499"/>
                    <a:pt x="753427" y="1324927"/>
                  </a:cubicBezTo>
                  <a:cubicBezTo>
                    <a:pt x="753427" y="1315402"/>
                    <a:pt x="761047" y="1308734"/>
                    <a:pt x="769620" y="1308734"/>
                  </a:cubicBezTo>
                  <a:close/>
                  <a:moveTo>
                    <a:pt x="1569721" y="1306829"/>
                  </a:moveTo>
                  <a:cubicBezTo>
                    <a:pt x="1572578" y="1306829"/>
                    <a:pt x="1574483" y="1308734"/>
                    <a:pt x="1574483" y="1311592"/>
                  </a:cubicBezTo>
                  <a:cubicBezTo>
                    <a:pt x="1574483" y="1314449"/>
                    <a:pt x="1572578" y="1316354"/>
                    <a:pt x="1569721" y="1316354"/>
                  </a:cubicBezTo>
                  <a:cubicBezTo>
                    <a:pt x="1566863" y="1316354"/>
                    <a:pt x="1564958" y="1314449"/>
                    <a:pt x="1564958" y="1311592"/>
                  </a:cubicBezTo>
                  <a:cubicBezTo>
                    <a:pt x="1564958" y="1308734"/>
                    <a:pt x="1566863" y="1306829"/>
                    <a:pt x="1569721" y="1306829"/>
                  </a:cubicBezTo>
                  <a:close/>
                  <a:moveTo>
                    <a:pt x="660083" y="1306829"/>
                  </a:moveTo>
                  <a:cubicBezTo>
                    <a:pt x="669608" y="1306829"/>
                    <a:pt x="677228" y="1314449"/>
                    <a:pt x="677228" y="1323974"/>
                  </a:cubicBezTo>
                  <a:cubicBezTo>
                    <a:pt x="677228" y="1333499"/>
                    <a:pt x="669608" y="1341119"/>
                    <a:pt x="660083" y="1341119"/>
                  </a:cubicBezTo>
                  <a:cubicBezTo>
                    <a:pt x="650558" y="1341119"/>
                    <a:pt x="642938" y="1333499"/>
                    <a:pt x="642938" y="1323974"/>
                  </a:cubicBezTo>
                  <a:cubicBezTo>
                    <a:pt x="642938" y="1314449"/>
                    <a:pt x="650558" y="1306829"/>
                    <a:pt x="660083" y="1306829"/>
                  </a:cubicBezTo>
                  <a:close/>
                  <a:moveTo>
                    <a:pt x="884872" y="1303972"/>
                  </a:moveTo>
                  <a:cubicBezTo>
                    <a:pt x="892492" y="1303972"/>
                    <a:pt x="899160" y="1309687"/>
                    <a:pt x="899160" y="1318260"/>
                  </a:cubicBezTo>
                  <a:cubicBezTo>
                    <a:pt x="899160" y="1325880"/>
                    <a:pt x="893445" y="1332547"/>
                    <a:pt x="884872" y="1332547"/>
                  </a:cubicBezTo>
                  <a:cubicBezTo>
                    <a:pt x="876300" y="1332547"/>
                    <a:pt x="869632" y="1325880"/>
                    <a:pt x="870585" y="1318260"/>
                  </a:cubicBezTo>
                  <a:cubicBezTo>
                    <a:pt x="870585" y="1310640"/>
                    <a:pt x="876300" y="1303972"/>
                    <a:pt x="884872" y="1303972"/>
                  </a:cubicBezTo>
                  <a:close/>
                  <a:moveTo>
                    <a:pt x="296228" y="1301115"/>
                  </a:moveTo>
                  <a:cubicBezTo>
                    <a:pt x="307658" y="1301115"/>
                    <a:pt x="317183" y="1310640"/>
                    <a:pt x="317183" y="1322070"/>
                  </a:cubicBezTo>
                  <a:cubicBezTo>
                    <a:pt x="317183" y="1333500"/>
                    <a:pt x="307658" y="1343025"/>
                    <a:pt x="296228" y="1343025"/>
                  </a:cubicBezTo>
                  <a:cubicBezTo>
                    <a:pt x="284798" y="1343025"/>
                    <a:pt x="275273" y="1333500"/>
                    <a:pt x="275273" y="1322070"/>
                  </a:cubicBezTo>
                  <a:cubicBezTo>
                    <a:pt x="275273" y="1310640"/>
                    <a:pt x="284798" y="1301115"/>
                    <a:pt x="296228" y="1301115"/>
                  </a:cubicBezTo>
                  <a:close/>
                  <a:moveTo>
                    <a:pt x="554355" y="1300162"/>
                  </a:moveTo>
                  <a:cubicBezTo>
                    <a:pt x="563880" y="1300162"/>
                    <a:pt x="572453" y="1307782"/>
                    <a:pt x="572453" y="1318259"/>
                  </a:cubicBezTo>
                  <a:cubicBezTo>
                    <a:pt x="572453" y="1327784"/>
                    <a:pt x="564833" y="1336357"/>
                    <a:pt x="554355" y="1336357"/>
                  </a:cubicBezTo>
                  <a:cubicBezTo>
                    <a:pt x="543878" y="1336357"/>
                    <a:pt x="536258" y="1327784"/>
                    <a:pt x="536258" y="1318259"/>
                  </a:cubicBezTo>
                  <a:cubicBezTo>
                    <a:pt x="536258" y="1308734"/>
                    <a:pt x="544830" y="1300162"/>
                    <a:pt x="554355" y="1300162"/>
                  </a:cubicBezTo>
                  <a:close/>
                  <a:moveTo>
                    <a:pt x="1855470" y="1299209"/>
                  </a:moveTo>
                  <a:cubicBezTo>
                    <a:pt x="1860232" y="1299209"/>
                    <a:pt x="1864042" y="1303019"/>
                    <a:pt x="1864042" y="1307782"/>
                  </a:cubicBezTo>
                  <a:cubicBezTo>
                    <a:pt x="1864042" y="1312544"/>
                    <a:pt x="1860232" y="1316354"/>
                    <a:pt x="1855470" y="1316354"/>
                  </a:cubicBezTo>
                  <a:cubicBezTo>
                    <a:pt x="1850707" y="1316354"/>
                    <a:pt x="1846897" y="1313497"/>
                    <a:pt x="1846897" y="1307782"/>
                  </a:cubicBezTo>
                  <a:cubicBezTo>
                    <a:pt x="1846897" y="1303019"/>
                    <a:pt x="1850707" y="1299209"/>
                    <a:pt x="1855470" y="1299209"/>
                  </a:cubicBezTo>
                  <a:close/>
                  <a:moveTo>
                    <a:pt x="2147888" y="1296352"/>
                  </a:moveTo>
                  <a:cubicBezTo>
                    <a:pt x="2153603" y="1296352"/>
                    <a:pt x="2159318" y="1301115"/>
                    <a:pt x="2159318" y="1307782"/>
                  </a:cubicBezTo>
                  <a:cubicBezTo>
                    <a:pt x="2159318" y="1313497"/>
                    <a:pt x="2154555" y="1319212"/>
                    <a:pt x="2147888" y="1319212"/>
                  </a:cubicBezTo>
                  <a:cubicBezTo>
                    <a:pt x="2142173" y="1319212"/>
                    <a:pt x="2136458" y="1313497"/>
                    <a:pt x="2136458" y="1307782"/>
                  </a:cubicBezTo>
                  <a:cubicBezTo>
                    <a:pt x="2136458" y="1302067"/>
                    <a:pt x="2141221" y="1296352"/>
                    <a:pt x="2147888" y="1296352"/>
                  </a:cubicBezTo>
                  <a:close/>
                  <a:moveTo>
                    <a:pt x="1003935" y="1291590"/>
                  </a:moveTo>
                  <a:cubicBezTo>
                    <a:pt x="1009650" y="1291590"/>
                    <a:pt x="1013460" y="1295400"/>
                    <a:pt x="1013460" y="1301115"/>
                  </a:cubicBezTo>
                  <a:cubicBezTo>
                    <a:pt x="1013460" y="1306830"/>
                    <a:pt x="1008698" y="1310640"/>
                    <a:pt x="1003935" y="1310640"/>
                  </a:cubicBezTo>
                  <a:cubicBezTo>
                    <a:pt x="999173" y="1310640"/>
                    <a:pt x="994410" y="1306830"/>
                    <a:pt x="994410" y="1301115"/>
                  </a:cubicBezTo>
                  <a:cubicBezTo>
                    <a:pt x="994410" y="1295400"/>
                    <a:pt x="999173" y="1291590"/>
                    <a:pt x="1003935" y="1291590"/>
                  </a:cubicBezTo>
                  <a:close/>
                  <a:moveTo>
                    <a:pt x="2067878" y="1289684"/>
                  </a:moveTo>
                  <a:cubicBezTo>
                    <a:pt x="2072640" y="1289684"/>
                    <a:pt x="2076450" y="1293494"/>
                    <a:pt x="2076450" y="1298257"/>
                  </a:cubicBezTo>
                  <a:cubicBezTo>
                    <a:pt x="2076450" y="1303019"/>
                    <a:pt x="2072640" y="1306829"/>
                    <a:pt x="2067878" y="1306829"/>
                  </a:cubicBezTo>
                  <a:cubicBezTo>
                    <a:pt x="2063115" y="1306829"/>
                    <a:pt x="2059305" y="1303019"/>
                    <a:pt x="2059305" y="1298257"/>
                  </a:cubicBezTo>
                  <a:cubicBezTo>
                    <a:pt x="2059305" y="1293494"/>
                    <a:pt x="2063115" y="1289684"/>
                    <a:pt x="2067878" y="1289684"/>
                  </a:cubicBezTo>
                  <a:close/>
                  <a:moveTo>
                    <a:pt x="452438" y="1289684"/>
                  </a:moveTo>
                  <a:cubicBezTo>
                    <a:pt x="461963" y="1289684"/>
                    <a:pt x="470535" y="1297304"/>
                    <a:pt x="470535" y="1307782"/>
                  </a:cubicBezTo>
                  <a:cubicBezTo>
                    <a:pt x="470535" y="1317307"/>
                    <a:pt x="462915" y="1325879"/>
                    <a:pt x="452438" y="1325879"/>
                  </a:cubicBezTo>
                  <a:cubicBezTo>
                    <a:pt x="442913" y="1325879"/>
                    <a:pt x="434340" y="1317307"/>
                    <a:pt x="434340" y="1307782"/>
                  </a:cubicBezTo>
                  <a:cubicBezTo>
                    <a:pt x="434340" y="1298257"/>
                    <a:pt x="441960" y="1289684"/>
                    <a:pt x="452438" y="1289684"/>
                  </a:cubicBezTo>
                  <a:close/>
                  <a:moveTo>
                    <a:pt x="1300163" y="1288732"/>
                  </a:moveTo>
                  <a:cubicBezTo>
                    <a:pt x="1302068" y="1288732"/>
                    <a:pt x="1303020" y="1290637"/>
                    <a:pt x="1303020" y="1291590"/>
                  </a:cubicBezTo>
                  <a:cubicBezTo>
                    <a:pt x="1303020" y="1293495"/>
                    <a:pt x="1301115" y="1294447"/>
                    <a:pt x="1300163" y="1294447"/>
                  </a:cubicBezTo>
                  <a:cubicBezTo>
                    <a:pt x="1299210" y="1294447"/>
                    <a:pt x="1298258" y="1293495"/>
                    <a:pt x="1297305" y="1291590"/>
                  </a:cubicBezTo>
                  <a:cubicBezTo>
                    <a:pt x="1297305" y="1289684"/>
                    <a:pt x="1298258" y="1288732"/>
                    <a:pt x="1300163" y="1288732"/>
                  </a:cubicBezTo>
                  <a:close/>
                  <a:moveTo>
                    <a:pt x="201930" y="1286827"/>
                  </a:moveTo>
                  <a:cubicBezTo>
                    <a:pt x="211455" y="1286827"/>
                    <a:pt x="219075" y="1294447"/>
                    <a:pt x="219075" y="1303972"/>
                  </a:cubicBezTo>
                  <a:cubicBezTo>
                    <a:pt x="219075" y="1313497"/>
                    <a:pt x="211455" y="1321117"/>
                    <a:pt x="201930" y="1321117"/>
                  </a:cubicBezTo>
                  <a:cubicBezTo>
                    <a:pt x="193357" y="1321117"/>
                    <a:pt x="185738" y="1313497"/>
                    <a:pt x="184785" y="1303972"/>
                  </a:cubicBezTo>
                  <a:cubicBezTo>
                    <a:pt x="184785" y="1294447"/>
                    <a:pt x="192405" y="1286827"/>
                    <a:pt x="201930" y="1286827"/>
                  </a:cubicBezTo>
                  <a:close/>
                  <a:moveTo>
                    <a:pt x="1623060" y="1285875"/>
                  </a:moveTo>
                  <a:cubicBezTo>
                    <a:pt x="1625917" y="1285875"/>
                    <a:pt x="1627822" y="1287780"/>
                    <a:pt x="1627822" y="1290638"/>
                  </a:cubicBezTo>
                  <a:cubicBezTo>
                    <a:pt x="1627822" y="1293495"/>
                    <a:pt x="1625917" y="1295400"/>
                    <a:pt x="1623060" y="1295400"/>
                  </a:cubicBezTo>
                  <a:cubicBezTo>
                    <a:pt x="1621155" y="1295400"/>
                    <a:pt x="1619250" y="1293495"/>
                    <a:pt x="1618297" y="1290638"/>
                  </a:cubicBezTo>
                  <a:cubicBezTo>
                    <a:pt x="1618297" y="1287780"/>
                    <a:pt x="1620202" y="1285875"/>
                    <a:pt x="1623060" y="1285875"/>
                  </a:cubicBezTo>
                  <a:close/>
                  <a:moveTo>
                    <a:pt x="1358266" y="1285875"/>
                  </a:moveTo>
                  <a:cubicBezTo>
                    <a:pt x="1360171" y="1285875"/>
                    <a:pt x="1361123" y="1287780"/>
                    <a:pt x="1361123" y="1288733"/>
                  </a:cubicBezTo>
                  <a:cubicBezTo>
                    <a:pt x="1361123" y="1290638"/>
                    <a:pt x="1360171" y="1291590"/>
                    <a:pt x="1358266" y="1291590"/>
                  </a:cubicBezTo>
                  <a:cubicBezTo>
                    <a:pt x="1356360" y="1291590"/>
                    <a:pt x="1355408" y="1290638"/>
                    <a:pt x="1355408" y="1288733"/>
                  </a:cubicBezTo>
                  <a:cubicBezTo>
                    <a:pt x="1355408" y="1286828"/>
                    <a:pt x="1357313" y="1285875"/>
                    <a:pt x="1358266" y="1285875"/>
                  </a:cubicBezTo>
                  <a:close/>
                  <a:moveTo>
                    <a:pt x="1243013" y="1285875"/>
                  </a:moveTo>
                  <a:cubicBezTo>
                    <a:pt x="1244918" y="1285875"/>
                    <a:pt x="1246823" y="1287780"/>
                    <a:pt x="1246823" y="1289685"/>
                  </a:cubicBezTo>
                  <a:cubicBezTo>
                    <a:pt x="1246823" y="1291590"/>
                    <a:pt x="1244918" y="1293495"/>
                    <a:pt x="1243013" y="1293495"/>
                  </a:cubicBezTo>
                  <a:cubicBezTo>
                    <a:pt x="1241108" y="1293495"/>
                    <a:pt x="1239203" y="1291590"/>
                    <a:pt x="1239203" y="1289685"/>
                  </a:cubicBezTo>
                  <a:cubicBezTo>
                    <a:pt x="1239203" y="1287780"/>
                    <a:pt x="1241108" y="1285875"/>
                    <a:pt x="1243013" y="1285875"/>
                  </a:cubicBezTo>
                  <a:close/>
                  <a:moveTo>
                    <a:pt x="1766888" y="1283017"/>
                  </a:moveTo>
                  <a:cubicBezTo>
                    <a:pt x="1770570" y="1283017"/>
                    <a:pt x="1773555" y="1286002"/>
                    <a:pt x="1773555" y="1289684"/>
                  </a:cubicBezTo>
                  <a:cubicBezTo>
                    <a:pt x="1773555" y="1293367"/>
                    <a:pt x="1770570" y="1296352"/>
                    <a:pt x="1766888" y="1296352"/>
                  </a:cubicBezTo>
                  <a:cubicBezTo>
                    <a:pt x="1763205" y="1296352"/>
                    <a:pt x="1760220" y="1293367"/>
                    <a:pt x="1760220" y="1289684"/>
                  </a:cubicBezTo>
                  <a:cubicBezTo>
                    <a:pt x="1760220" y="1286002"/>
                    <a:pt x="1763205" y="1283017"/>
                    <a:pt x="1766888" y="1283017"/>
                  </a:cubicBezTo>
                  <a:close/>
                  <a:moveTo>
                    <a:pt x="1985962" y="1281112"/>
                  </a:moveTo>
                  <a:cubicBezTo>
                    <a:pt x="1988820" y="1281112"/>
                    <a:pt x="1991677" y="1283970"/>
                    <a:pt x="1991677" y="1286827"/>
                  </a:cubicBezTo>
                  <a:cubicBezTo>
                    <a:pt x="1991677" y="1290637"/>
                    <a:pt x="1988820" y="1292542"/>
                    <a:pt x="1985962" y="1292542"/>
                  </a:cubicBezTo>
                  <a:cubicBezTo>
                    <a:pt x="1982152" y="1292542"/>
                    <a:pt x="1980247" y="1289684"/>
                    <a:pt x="1980247" y="1286827"/>
                  </a:cubicBezTo>
                  <a:cubicBezTo>
                    <a:pt x="1980247" y="1283970"/>
                    <a:pt x="1983105" y="1281112"/>
                    <a:pt x="1985962" y="1281112"/>
                  </a:cubicBezTo>
                  <a:close/>
                  <a:moveTo>
                    <a:pt x="1185863" y="1280159"/>
                  </a:moveTo>
                  <a:cubicBezTo>
                    <a:pt x="1186815" y="1280159"/>
                    <a:pt x="1188720" y="1281112"/>
                    <a:pt x="1188720" y="1283017"/>
                  </a:cubicBezTo>
                  <a:cubicBezTo>
                    <a:pt x="1188720" y="1283969"/>
                    <a:pt x="1187768" y="1285874"/>
                    <a:pt x="1185863" y="1285874"/>
                  </a:cubicBezTo>
                  <a:cubicBezTo>
                    <a:pt x="1183958" y="1285874"/>
                    <a:pt x="1182053" y="1284922"/>
                    <a:pt x="1183005" y="1283017"/>
                  </a:cubicBezTo>
                  <a:cubicBezTo>
                    <a:pt x="1183005" y="1282064"/>
                    <a:pt x="1183958" y="1280159"/>
                    <a:pt x="1185863" y="1280159"/>
                  </a:cubicBezTo>
                  <a:close/>
                  <a:moveTo>
                    <a:pt x="1415415" y="1279207"/>
                  </a:moveTo>
                  <a:cubicBezTo>
                    <a:pt x="1417320" y="1279207"/>
                    <a:pt x="1419225" y="1281112"/>
                    <a:pt x="1419225" y="1283017"/>
                  </a:cubicBezTo>
                  <a:cubicBezTo>
                    <a:pt x="1419225" y="1284922"/>
                    <a:pt x="1417320" y="1286827"/>
                    <a:pt x="1415415" y="1286827"/>
                  </a:cubicBezTo>
                  <a:cubicBezTo>
                    <a:pt x="1413510" y="1286827"/>
                    <a:pt x="1411605" y="1284922"/>
                    <a:pt x="1411605" y="1283017"/>
                  </a:cubicBezTo>
                  <a:cubicBezTo>
                    <a:pt x="1411605" y="1281112"/>
                    <a:pt x="1413510" y="1279207"/>
                    <a:pt x="1415415" y="1279207"/>
                  </a:cubicBezTo>
                  <a:close/>
                  <a:moveTo>
                    <a:pt x="834390" y="1278254"/>
                  </a:moveTo>
                  <a:cubicBezTo>
                    <a:pt x="841058" y="1278254"/>
                    <a:pt x="846773" y="1283969"/>
                    <a:pt x="846773" y="1290637"/>
                  </a:cubicBezTo>
                  <a:cubicBezTo>
                    <a:pt x="846773" y="1297304"/>
                    <a:pt x="841058" y="1303019"/>
                    <a:pt x="834390" y="1303019"/>
                  </a:cubicBezTo>
                  <a:cubicBezTo>
                    <a:pt x="826770" y="1303019"/>
                    <a:pt x="821055" y="1297304"/>
                    <a:pt x="822008" y="1290637"/>
                  </a:cubicBezTo>
                  <a:cubicBezTo>
                    <a:pt x="822008" y="1283969"/>
                    <a:pt x="827723" y="1278254"/>
                    <a:pt x="834390" y="1278254"/>
                  </a:cubicBezTo>
                  <a:close/>
                  <a:moveTo>
                    <a:pt x="722948" y="1277302"/>
                  </a:moveTo>
                  <a:cubicBezTo>
                    <a:pt x="730838" y="1277302"/>
                    <a:pt x="737235" y="1283699"/>
                    <a:pt x="737235" y="1291590"/>
                  </a:cubicBezTo>
                  <a:cubicBezTo>
                    <a:pt x="737235" y="1299480"/>
                    <a:pt x="730838" y="1305877"/>
                    <a:pt x="722948" y="1305877"/>
                  </a:cubicBezTo>
                  <a:cubicBezTo>
                    <a:pt x="715057" y="1305877"/>
                    <a:pt x="708660" y="1299480"/>
                    <a:pt x="708660" y="1291590"/>
                  </a:cubicBezTo>
                  <a:cubicBezTo>
                    <a:pt x="708660" y="1283699"/>
                    <a:pt x="715057" y="1277302"/>
                    <a:pt x="722948" y="1277302"/>
                  </a:cubicBezTo>
                  <a:close/>
                  <a:moveTo>
                    <a:pt x="951547" y="1271587"/>
                  </a:moveTo>
                  <a:cubicBezTo>
                    <a:pt x="955357" y="1271587"/>
                    <a:pt x="959167" y="1275397"/>
                    <a:pt x="959167" y="1279207"/>
                  </a:cubicBezTo>
                  <a:cubicBezTo>
                    <a:pt x="959167" y="1283017"/>
                    <a:pt x="955357" y="1286827"/>
                    <a:pt x="951547" y="1286827"/>
                  </a:cubicBezTo>
                  <a:cubicBezTo>
                    <a:pt x="946785" y="1286827"/>
                    <a:pt x="943927" y="1283017"/>
                    <a:pt x="943927" y="1279207"/>
                  </a:cubicBezTo>
                  <a:cubicBezTo>
                    <a:pt x="943927" y="1275397"/>
                    <a:pt x="947737" y="1271587"/>
                    <a:pt x="951547" y="1271587"/>
                  </a:cubicBezTo>
                  <a:close/>
                  <a:moveTo>
                    <a:pt x="355283" y="1271587"/>
                  </a:moveTo>
                  <a:cubicBezTo>
                    <a:pt x="366856" y="1271587"/>
                    <a:pt x="376238" y="1280969"/>
                    <a:pt x="376238" y="1292542"/>
                  </a:cubicBezTo>
                  <a:cubicBezTo>
                    <a:pt x="376238" y="1304115"/>
                    <a:pt x="366856" y="1313497"/>
                    <a:pt x="355283" y="1313497"/>
                  </a:cubicBezTo>
                  <a:cubicBezTo>
                    <a:pt x="343710" y="1313497"/>
                    <a:pt x="334328" y="1304115"/>
                    <a:pt x="334328" y="1292542"/>
                  </a:cubicBezTo>
                  <a:cubicBezTo>
                    <a:pt x="334328" y="1280969"/>
                    <a:pt x="343710" y="1271587"/>
                    <a:pt x="355283" y="1271587"/>
                  </a:cubicBezTo>
                  <a:close/>
                  <a:moveTo>
                    <a:pt x="615315" y="1268730"/>
                  </a:moveTo>
                  <a:cubicBezTo>
                    <a:pt x="625310" y="1268730"/>
                    <a:pt x="633413" y="1276833"/>
                    <a:pt x="633413" y="1286828"/>
                  </a:cubicBezTo>
                  <a:cubicBezTo>
                    <a:pt x="633413" y="1296823"/>
                    <a:pt x="625310" y="1304925"/>
                    <a:pt x="615315" y="1304925"/>
                  </a:cubicBezTo>
                  <a:cubicBezTo>
                    <a:pt x="605321" y="1304925"/>
                    <a:pt x="597218" y="1296822"/>
                    <a:pt x="597218" y="1286828"/>
                  </a:cubicBezTo>
                  <a:cubicBezTo>
                    <a:pt x="597218" y="1276833"/>
                    <a:pt x="605321" y="1268730"/>
                    <a:pt x="615315" y="1268730"/>
                  </a:cubicBezTo>
                  <a:close/>
                  <a:moveTo>
                    <a:pt x="1901190" y="1268729"/>
                  </a:moveTo>
                  <a:cubicBezTo>
                    <a:pt x="1904047" y="1268729"/>
                    <a:pt x="1906905" y="1271587"/>
                    <a:pt x="1906905" y="1274444"/>
                  </a:cubicBezTo>
                  <a:cubicBezTo>
                    <a:pt x="1906905" y="1277302"/>
                    <a:pt x="1904047" y="1280159"/>
                    <a:pt x="1901190" y="1280159"/>
                  </a:cubicBezTo>
                  <a:cubicBezTo>
                    <a:pt x="1898333" y="1280159"/>
                    <a:pt x="1895475" y="1277302"/>
                    <a:pt x="1895475" y="1274444"/>
                  </a:cubicBezTo>
                  <a:cubicBezTo>
                    <a:pt x="1895475" y="1271587"/>
                    <a:pt x="1898333" y="1268729"/>
                    <a:pt x="1901190" y="1268729"/>
                  </a:cubicBezTo>
                  <a:close/>
                  <a:moveTo>
                    <a:pt x="1128712" y="1268729"/>
                  </a:moveTo>
                  <a:cubicBezTo>
                    <a:pt x="1130617" y="1268729"/>
                    <a:pt x="1132522" y="1270634"/>
                    <a:pt x="1132522" y="1272539"/>
                  </a:cubicBezTo>
                  <a:cubicBezTo>
                    <a:pt x="1132522" y="1274444"/>
                    <a:pt x="1130617" y="1276349"/>
                    <a:pt x="1128712" y="1276349"/>
                  </a:cubicBezTo>
                  <a:cubicBezTo>
                    <a:pt x="1126807" y="1276349"/>
                    <a:pt x="1124902" y="1274444"/>
                    <a:pt x="1124902" y="1272539"/>
                  </a:cubicBezTo>
                  <a:cubicBezTo>
                    <a:pt x="1124902" y="1270634"/>
                    <a:pt x="1126807" y="1268729"/>
                    <a:pt x="1128712" y="1268729"/>
                  </a:cubicBezTo>
                  <a:close/>
                  <a:moveTo>
                    <a:pt x="2264093" y="1267777"/>
                  </a:moveTo>
                  <a:cubicBezTo>
                    <a:pt x="2265046" y="1267777"/>
                    <a:pt x="2265998" y="1268729"/>
                    <a:pt x="2265998" y="1269682"/>
                  </a:cubicBezTo>
                  <a:cubicBezTo>
                    <a:pt x="2265998" y="1270634"/>
                    <a:pt x="2265046" y="1271587"/>
                    <a:pt x="2264093" y="1271587"/>
                  </a:cubicBezTo>
                  <a:cubicBezTo>
                    <a:pt x="2263141" y="1271587"/>
                    <a:pt x="2262188" y="1271587"/>
                    <a:pt x="2262188" y="1269682"/>
                  </a:cubicBezTo>
                  <a:cubicBezTo>
                    <a:pt x="2262188" y="1268729"/>
                    <a:pt x="2263141" y="1267777"/>
                    <a:pt x="2264093" y="1267777"/>
                  </a:cubicBezTo>
                  <a:close/>
                  <a:moveTo>
                    <a:pt x="1472565" y="1267777"/>
                  </a:moveTo>
                  <a:cubicBezTo>
                    <a:pt x="1474470" y="1267777"/>
                    <a:pt x="1476375" y="1269682"/>
                    <a:pt x="1476375" y="1271587"/>
                  </a:cubicBezTo>
                  <a:cubicBezTo>
                    <a:pt x="1476375" y="1273492"/>
                    <a:pt x="1474470" y="1275397"/>
                    <a:pt x="1472565" y="1275397"/>
                  </a:cubicBezTo>
                  <a:cubicBezTo>
                    <a:pt x="1470660" y="1275397"/>
                    <a:pt x="1468755" y="1274444"/>
                    <a:pt x="1468755" y="1271587"/>
                  </a:cubicBezTo>
                  <a:cubicBezTo>
                    <a:pt x="1468755" y="1269682"/>
                    <a:pt x="1470660" y="1267777"/>
                    <a:pt x="1472565" y="1267777"/>
                  </a:cubicBezTo>
                  <a:close/>
                  <a:moveTo>
                    <a:pt x="1675447" y="1260157"/>
                  </a:moveTo>
                  <a:cubicBezTo>
                    <a:pt x="1679258" y="1260157"/>
                    <a:pt x="1682115" y="1263015"/>
                    <a:pt x="1682115" y="1266824"/>
                  </a:cubicBezTo>
                  <a:cubicBezTo>
                    <a:pt x="1682115" y="1270634"/>
                    <a:pt x="1679258" y="1273492"/>
                    <a:pt x="1675447" y="1273492"/>
                  </a:cubicBezTo>
                  <a:cubicBezTo>
                    <a:pt x="1671638" y="1273492"/>
                    <a:pt x="1668780" y="1270634"/>
                    <a:pt x="1668780" y="1266824"/>
                  </a:cubicBezTo>
                  <a:cubicBezTo>
                    <a:pt x="1668780" y="1263015"/>
                    <a:pt x="1671638" y="1260157"/>
                    <a:pt x="1675447" y="1260157"/>
                  </a:cubicBezTo>
                  <a:close/>
                  <a:moveTo>
                    <a:pt x="513398" y="1260157"/>
                  </a:moveTo>
                  <a:cubicBezTo>
                    <a:pt x="522923" y="1260157"/>
                    <a:pt x="531495" y="1267777"/>
                    <a:pt x="531495" y="1278254"/>
                  </a:cubicBezTo>
                  <a:cubicBezTo>
                    <a:pt x="531495" y="1287779"/>
                    <a:pt x="523875" y="1296352"/>
                    <a:pt x="513398" y="1296352"/>
                  </a:cubicBezTo>
                  <a:cubicBezTo>
                    <a:pt x="502920" y="1296352"/>
                    <a:pt x="494348" y="1287779"/>
                    <a:pt x="495300" y="1278254"/>
                  </a:cubicBezTo>
                  <a:cubicBezTo>
                    <a:pt x="495300" y="1268729"/>
                    <a:pt x="502920" y="1260157"/>
                    <a:pt x="513398" y="1260157"/>
                  </a:cubicBezTo>
                  <a:close/>
                  <a:moveTo>
                    <a:pt x="2185987" y="1255395"/>
                  </a:moveTo>
                  <a:cubicBezTo>
                    <a:pt x="2190750" y="1255395"/>
                    <a:pt x="2194560" y="1259205"/>
                    <a:pt x="2194560" y="1263967"/>
                  </a:cubicBezTo>
                  <a:cubicBezTo>
                    <a:pt x="2194560" y="1268730"/>
                    <a:pt x="2190750" y="1272540"/>
                    <a:pt x="2185987" y="1272540"/>
                  </a:cubicBezTo>
                  <a:cubicBezTo>
                    <a:pt x="2181225" y="1272540"/>
                    <a:pt x="2177415" y="1268730"/>
                    <a:pt x="2177415" y="1263967"/>
                  </a:cubicBezTo>
                  <a:cubicBezTo>
                    <a:pt x="2177415" y="1259205"/>
                    <a:pt x="2181225" y="1255395"/>
                    <a:pt x="2185987" y="1255395"/>
                  </a:cubicBezTo>
                  <a:close/>
                  <a:moveTo>
                    <a:pt x="260985" y="1255395"/>
                  </a:moveTo>
                  <a:cubicBezTo>
                    <a:pt x="272415" y="1255395"/>
                    <a:pt x="281940" y="1264920"/>
                    <a:pt x="281940" y="1276350"/>
                  </a:cubicBezTo>
                  <a:cubicBezTo>
                    <a:pt x="281940" y="1287780"/>
                    <a:pt x="272415" y="1297305"/>
                    <a:pt x="260985" y="1297305"/>
                  </a:cubicBezTo>
                  <a:cubicBezTo>
                    <a:pt x="249555" y="1297305"/>
                    <a:pt x="240030" y="1287780"/>
                    <a:pt x="240030" y="1276350"/>
                  </a:cubicBezTo>
                  <a:cubicBezTo>
                    <a:pt x="240030" y="1264920"/>
                    <a:pt x="249555" y="1255395"/>
                    <a:pt x="260985" y="1255395"/>
                  </a:cubicBezTo>
                  <a:close/>
                  <a:moveTo>
                    <a:pt x="1527810" y="1254442"/>
                  </a:moveTo>
                  <a:cubicBezTo>
                    <a:pt x="1529716" y="1254442"/>
                    <a:pt x="1530668" y="1255395"/>
                    <a:pt x="1530668" y="1257300"/>
                  </a:cubicBezTo>
                  <a:cubicBezTo>
                    <a:pt x="1530668" y="1259205"/>
                    <a:pt x="1529716" y="1260157"/>
                    <a:pt x="1527810" y="1260157"/>
                  </a:cubicBezTo>
                  <a:cubicBezTo>
                    <a:pt x="1525905" y="1260157"/>
                    <a:pt x="1524953" y="1259205"/>
                    <a:pt x="1524953" y="1257300"/>
                  </a:cubicBezTo>
                  <a:cubicBezTo>
                    <a:pt x="1524953" y="1255395"/>
                    <a:pt x="1525905" y="1254442"/>
                    <a:pt x="1527810" y="1254442"/>
                  </a:cubicBezTo>
                  <a:close/>
                  <a:moveTo>
                    <a:pt x="1815466" y="1253490"/>
                  </a:moveTo>
                  <a:cubicBezTo>
                    <a:pt x="1818323" y="1253490"/>
                    <a:pt x="1820228" y="1255395"/>
                    <a:pt x="1820228" y="1258253"/>
                  </a:cubicBezTo>
                  <a:cubicBezTo>
                    <a:pt x="1820228" y="1261110"/>
                    <a:pt x="1818323" y="1263015"/>
                    <a:pt x="1815466" y="1263015"/>
                  </a:cubicBezTo>
                  <a:cubicBezTo>
                    <a:pt x="1812608" y="1263015"/>
                    <a:pt x="1810703" y="1261110"/>
                    <a:pt x="1810703" y="1258253"/>
                  </a:cubicBezTo>
                  <a:cubicBezTo>
                    <a:pt x="1810703" y="1255395"/>
                    <a:pt x="1812608" y="1253490"/>
                    <a:pt x="1815466" y="1253490"/>
                  </a:cubicBezTo>
                  <a:close/>
                  <a:moveTo>
                    <a:pt x="1073467" y="1251584"/>
                  </a:moveTo>
                  <a:cubicBezTo>
                    <a:pt x="1076325" y="1251584"/>
                    <a:pt x="1079182" y="1254442"/>
                    <a:pt x="1079182" y="1257299"/>
                  </a:cubicBezTo>
                  <a:cubicBezTo>
                    <a:pt x="1079182" y="1260157"/>
                    <a:pt x="1076325" y="1263014"/>
                    <a:pt x="1073467" y="1263014"/>
                  </a:cubicBezTo>
                  <a:cubicBezTo>
                    <a:pt x="1070610" y="1263014"/>
                    <a:pt x="1067752" y="1260157"/>
                    <a:pt x="1067752" y="1257299"/>
                  </a:cubicBezTo>
                  <a:cubicBezTo>
                    <a:pt x="1067752" y="1254442"/>
                    <a:pt x="1070610" y="1251584"/>
                    <a:pt x="1073467" y="1251584"/>
                  </a:cubicBezTo>
                  <a:close/>
                  <a:moveTo>
                    <a:pt x="2107883" y="1247775"/>
                  </a:moveTo>
                  <a:cubicBezTo>
                    <a:pt x="2112645" y="1247775"/>
                    <a:pt x="2116455" y="1251585"/>
                    <a:pt x="2116455" y="1256347"/>
                  </a:cubicBezTo>
                  <a:cubicBezTo>
                    <a:pt x="2116455" y="1261110"/>
                    <a:pt x="2112645" y="1264920"/>
                    <a:pt x="2107883" y="1264920"/>
                  </a:cubicBezTo>
                  <a:cubicBezTo>
                    <a:pt x="2103120" y="1264920"/>
                    <a:pt x="2099310" y="1261110"/>
                    <a:pt x="2099310" y="1256347"/>
                  </a:cubicBezTo>
                  <a:cubicBezTo>
                    <a:pt x="2099310" y="1251585"/>
                    <a:pt x="2103120" y="1247775"/>
                    <a:pt x="2107883" y="1247775"/>
                  </a:cubicBezTo>
                  <a:close/>
                  <a:moveTo>
                    <a:pt x="169544" y="1247775"/>
                  </a:moveTo>
                  <a:cubicBezTo>
                    <a:pt x="174307" y="1247775"/>
                    <a:pt x="178117" y="1251585"/>
                    <a:pt x="178117" y="1256347"/>
                  </a:cubicBezTo>
                  <a:cubicBezTo>
                    <a:pt x="178117" y="1261110"/>
                    <a:pt x="174307" y="1264920"/>
                    <a:pt x="169544" y="1264920"/>
                  </a:cubicBezTo>
                  <a:cubicBezTo>
                    <a:pt x="165735" y="1264920"/>
                    <a:pt x="161925" y="1261110"/>
                    <a:pt x="160972" y="1256347"/>
                  </a:cubicBezTo>
                  <a:cubicBezTo>
                    <a:pt x="160972" y="1251585"/>
                    <a:pt x="164782" y="1247775"/>
                    <a:pt x="169544" y="1247775"/>
                  </a:cubicBezTo>
                  <a:close/>
                  <a:moveTo>
                    <a:pt x="900112" y="1245870"/>
                  </a:moveTo>
                  <a:cubicBezTo>
                    <a:pt x="903922" y="1245870"/>
                    <a:pt x="907732" y="1249680"/>
                    <a:pt x="907732" y="1253490"/>
                  </a:cubicBezTo>
                  <a:cubicBezTo>
                    <a:pt x="907732" y="1257300"/>
                    <a:pt x="903922" y="1261110"/>
                    <a:pt x="900112" y="1261110"/>
                  </a:cubicBezTo>
                  <a:cubicBezTo>
                    <a:pt x="895350" y="1261110"/>
                    <a:pt x="892492" y="1257300"/>
                    <a:pt x="892492" y="1253490"/>
                  </a:cubicBezTo>
                  <a:cubicBezTo>
                    <a:pt x="892492" y="1249680"/>
                    <a:pt x="896302" y="1245870"/>
                    <a:pt x="900112" y="1245870"/>
                  </a:cubicBezTo>
                  <a:close/>
                  <a:moveTo>
                    <a:pt x="785812" y="1244917"/>
                  </a:moveTo>
                  <a:cubicBezTo>
                    <a:pt x="793432" y="1244917"/>
                    <a:pt x="799147" y="1250632"/>
                    <a:pt x="799147" y="1258252"/>
                  </a:cubicBezTo>
                  <a:cubicBezTo>
                    <a:pt x="799147" y="1265872"/>
                    <a:pt x="793432" y="1271587"/>
                    <a:pt x="785812" y="1271587"/>
                  </a:cubicBezTo>
                  <a:cubicBezTo>
                    <a:pt x="778192" y="1271587"/>
                    <a:pt x="772477" y="1265872"/>
                    <a:pt x="772477" y="1258252"/>
                  </a:cubicBezTo>
                  <a:cubicBezTo>
                    <a:pt x="772477" y="1250632"/>
                    <a:pt x="778192" y="1244917"/>
                    <a:pt x="785812" y="1244917"/>
                  </a:cubicBezTo>
                  <a:close/>
                  <a:moveTo>
                    <a:pt x="414338" y="1244917"/>
                  </a:moveTo>
                  <a:cubicBezTo>
                    <a:pt x="424815" y="1244917"/>
                    <a:pt x="433388" y="1253490"/>
                    <a:pt x="433388" y="1263967"/>
                  </a:cubicBezTo>
                  <a:cubicBezTo>
                    <a:pt x="433388" y="1274445"/>
                    <a:pt x="424815" y="1283017"/>
                    <a:pt x="414338" y="1283017"/>
                  </a:cubicBezTo>
                  <a:cubicBezTo>
                    <a:pt x="403861" y="1283017"/>
                    <a:pt x="395288" y="1274445"/>
                    <a:pt x="395288" y="1263967"/>
                  </a:cubicBezTo>
                  <a:cubicBezTo>
                    <a:pt x="395288" y="1253490"/>
                    <a:pt x="403861" y="1244917"/>
                    <a:pt x="414338" y="1244917"/>
                  </a:cubicBezTo>
                  <a:close/>
                  <a:moveTo>
                    <a:pt x="2026921" y="1241107"/>
                  </a:moveTo>
                  <a:cubicBezTo>
                    <a:pt x="2030603" y="1241107"/>
                    <a:pt x="2033588" y="1244092"/>
                    <a:pt x="2033588" y="1247775"/>
                  </a:cubicBezTo>
                  <a:cubicBezTo>
                    <a:pt x="2033588" y="1251457"/>
                    <a:pt x="2030603" y="1254442"/>
                    <a:pt x="2026921" y="1254442"/>
                  </a:cubicBezTo>
                  <a:cubicBezTo>
                    <a:pt x="2023238" y="1254442"/>
                    <a:pt x="2020253" y="1251457"/>
                    <a:pt x="2020253" y="1247775"/>
                  </a:cubicBezTo>
                  <a:cubicBezTo>
                    <a:pt x="2020253" y="1244092"/>
                    <a:pt x="2023238" y="1241107"/>
                    <a:pt x="2026921" y="1241107"/>
                  </a:cubicBezTo>
                  <a:close/>
                  <a:moveTo>
                    <a:pt x="677228" y="1239202"/>
                  </a:moveTo>
                  <a:cubicBezTo>
                    <a:pt x="686753" y="1239202"/>
                    <a:pt x="694373" y="1246822"/>
                    <a:pt x="694373" y="1256347"/>
                  </a:cubicBezTo>
                  <a:cubicBezTo>
                    <a:pt x="694373" y="1265872"/>
                    <a:pt x="686753" y="1273492"/>
                    <a:pt x="677228" y="1273492"/>
                  </a:cubicBezTo>
                  <a:cubicBezTo>
                    <a:pt x="667703" y="1273492"/>
                    <a:pt x="660083" y="1264919"/>
                    <a:pt x="660083" y="1256347"/>
                  </a:cubicBezTo>
                  <a:cubicBezTo>
                    <a:pt x="660083" y="1246822"/>
                    <a:pt x="667703" y="1239202"/>
                    <a:pt x="677228" y="1239202"/>
                  </a:cubicBezTo>
                  <a:close/>
                  <a:moveTo>
                    <a:pt x="1582102" y="1236345"/>
                  </a:moveTo>
                  <a:cubicBezTo>
                    <a:pt x="1583055" y="1236345"/>
                    <a:pt x="1584007" y="1237297"/>
                    <a:pt x="1584007" y="1238250"/>
                  </a:cubicBezTo>
                  <a:cubicBezTo>
                    <a:pt x="1584007" y="1239203"/>
                    <a:pt x="1583055" y="1240155"/>
                    <a:pt x="1582102" y="1240155"/>
                  </a:cubicBezTo>
                  <a:cubicBezTo>
                    <a:pt x="1581150" y="1240155"/>
                    <a:pt x="1580197" y="1239203"/>
                    <a:pt x="1580197" y="1238250"/>
                  </a:cubicBezTo>
                  <a:cubicBezTo>
                    <a:pt x="1580197" y="1237297"/>
                    <a:pt x="1581150" y="1236345"/>
                    <a:pt x="1582102" y="1236345"/>
                  </a:cubicBezTo>
                  <a:close/>
                  <a:moveTo>
                    <a:pt x="1726883" y="1232534"/>
                  </a:moveTo>
                  <a:cubicBezTo>
                    <a:pt x="1730693" y="1232534"/>
                    <a:pt x="1733550" y="1235392"/>
                    <a:pt x="1733550" y="1239202"/>
                  </a:cubicBezTo>
                  <a:cubicBezTo>
                    <a:pt x="1733550" y="1243012"/>
                    <a:pt x="1730693" y="1245869"/>
                    <a:pt x="1726883" y="1245869"/>
                  </a:cubicBezTo>
                  <a:cubicBezTo>
                    <a:pt x="1722120" y="1245869"/>
                    <a:pt x="1719263" y="1243012"/>
                    <a:pt x="1720216" y="1239202"/>
                  </a:cubicBezTo>
                  <a:cubicBezTo>
                    <a:pt x="1720216" y="1235392"/>
                    <a:pt x="1723073" y="1232534"/>
                    <a:pt x="1726883" y="1232534"/>
                  </a:cubicBezTo>
                  <a:close/>
                  <a:moveTo>
                    <a:pt x="1019175" y="1232534"/>
                  </a:moveTo>
                  <a:cubicBezTo>
                    <a:pt x="1022033" y="1232534"/>
                    <a:pt x="1024890" y="1235392"/>
                    <a:pt x="1024890" y="1238249"/>
                  </a:cubicBezTo>
                  <a:cubicBezTo>
                    <a:pt x="1024890" y="1241107"/>
                    <a:pt x="1022033" y="1243964"/>
                    <a:pt x="1019175" y="1243964"/>
                  </a:cubicBezTo>
                  <a:cubicBezTo>
                    <a:pt x="1016317" y="1243964"/>
                    <a:pt x="1013460" y="1241107"/>
                    <a:pt x="1013460" y="1238249"/>
                  </a:cubicBezTo>
                  <a:cubicBezTo>
                    <a:pt x="1013460" y="1235392"/>
                    <a:pt x="1016317" y="1232534"/>
                    <a:pt x="1019175" y="1232534"/>
                  </a:cubicBezTo>
                  <a:close/>
                  <a:moveTo>
                    <a:pt x="1945005" y="1230629"/>
                  </a:moveTo>
                  <a:cubicBezTo>
                    <a:pt x="1947862" y="1230629"/>
                    <a:pt x="1950720" y="1233487"/>
                    <a:pt x="1950720" y="1236344"/>
                  </a:cubicBezTo>
                  <a:cubicBezTo>
                    <a:pt x="1950720" y="1239202"/>
                    <a:pt x="1947862" y="1242059"/>
                    <a:pt x="1945005" y="1242059"/>
                  </a:cubicBezTo>
                  <a:cubicBezTo>
                    <a:pt x="1942147" y="1242059"/>
                    <a:pt x="1940242" y="1240154"/>
                    <a:pt x="1939290" y="1236344"/>
                  </a:cubicBezTo>
                  <a:cubicBezTo>
                    <a:pt x="1939290" y="1233487"/>
                    <a:pt x="1942147" y="1230629"/>
                    <a:pt x="1945005" y="1230629"/>
                  </a:cubicBezTo>
                  <a:close/>
                  <a:moveTo>
                    <a:pt x="573405" y="1229677"/>
                  </a:moveTo>
                  <a:cubicBezTo>
                    <a:pt x="582930" y="1229677"/>
                    <a:pt x="591503" y="1238249"/>
                    <a:pt x="591503" y="1247774"/>
                  </a:cubicBezTo>
                  <a:cubicBezTo>
                    <a:pt x="591503" y="1257299"/>
                    <a:pt x="583883" y="1265872"/>
                    <a:pt x="573405" y="1265872"/>
                  </a:cubicBezTo>
                  <a:cubicBezTo>
                    <a:pt x="563880" y="1265872"/>
                    <a:pt x="555308" y="1257299"/>
                    <a:pt x="555308" y="1247774"/>
                  </a:cubicBezTo>
                  <a:cubicBezTo>
                    <a:pt x="555308" y="1238249"/>
                    <a:pt x="562928" y="1229677"/>
                    <a:pt x="573405" y="1229677"/>
                  </a:cubicBezTo>
                  <a:close/>
                  <a:moveTo>
                    <a:pt x="320040" y="1226820"/>
                  </a:moveTo>
                  <a:cubicBezTo>
                    <a:pt x="331470" y="1226820"/>
                    <a:pt x="340995" y="1236345"/>
                    <a:pt x="340995" y="1247775"/>
                  </a:cubicBezTo>
                  <a:cubicBezTo>
                    <a:pt x="340995" y="1259205"/>
                    <a:pt x="331470" y="1268730"/>
                    <a:pt x="320040" y="1268730"/>
                  </a:cubicBezTo>
                  <a:cubicBezTo>
                    <a:pt x="307657" y="1268730"/>
                    <a:pt x="298132" y="1259205"/>
                    <a:pt x="299085" y="1247775"/>
                  </a:cubicBezTo>
                  <a:cubicBezTo>
                    <a:pt x="299085" y="1236345"/>
                    <a:pt x="308610" y="1226820"/>
                    <a:pt x="320040" y="1226820"/>
                  </a:cubicBezTo>
                  <a:close/>
                  <a:moveTo>
                    <a:pt x="1315403" y="1225867"/>
                  </a:moveTo>
                  <a:cubicBezTo>
                    <a:pt x="1316355" y="1225867"/>
                    <a:pt x="1317308" y="1226820"/>
                    <a:pt x="1317308" y="1227772"/>
                  </a:cubicBezTo>
                  <a:cubicBezTo>
                    <a:pt x="1317308" y="1228725"/>
                    <a:pt x="1316355" y="1229677"/>
                    <a:pt x="1315403" y="1229677"/>
                  </a:cubicBezTo>
                  <a:cubicBezTo>
                    <a:pt x="1313498" y="1229677"/>
                    <a:pt x="1312545" y="1228725"/>
                    <a:pt x="1313498" y="1227772"/>
                  </a:cubicBezTo>
                  <a:cubicBezTo>
                    <a:pt x="1313498" y="1226820"/>
                    <a:pt x="1314450" y="1225867"/>
                    <a:pt x="1315403" y="1225867"/>
                  </a:cubicBezTo>
                  <a:close/>
                  <a:moveTo>
                    <a:pt x="1257300" y="1223962"/>
                  </a:moveTo>
                  <a:cubicBezTo>
                    <a:pt x="1258352" y="1223962"/>
                    <a:pt x="1259205" y="1224815"/>
                    <a:pt x="1259205" y="1225867"/>
                  </a:cubicBezTo>
                  <a:cubicBezTo>
                    <a:pt x="1259205" y="1226919"/>
                    <a:pt x="1258352" y="1227772"/>
                    <a:pt x="1257300" y="1227772"/>
                  </a:cubicBezTo>
                  <a:cubicBezTo>
                    <a:pt x="1256248" y="1227772"/>
                    <a:pt x="1255395" y="1226919"/>
                    <a:pt x="1255395" y="1225867"/>
                  </a:cubicBezTo>
                  <a:cubicBezTo>
                    <a:pt x="1255395" y="1224815"/>
                    <a:pt x="1256248" y="1223962"/>
                    <a:pt x="1257300" y="1223962"/>
                  </a:cubicBezTo>
                  <a:close/>
                  <a:moveTo>
                    <a:pt x="1372552" y="1222057"/>
                  </a:moveTo>
                  <a:cubicBezTo>
                    <a:pt x="1373505" y="1222057"/>
                    <a:pt x="1374457" y="1223009"/>
                    <a:pt x="1374457" y="1223962"/>
                  </a:cubicBezTo>
                  <a:cubicBezTo>
                    <a:pt x="1374457" y="1224915"/>
                    <a:pt x="1373505" y="1225867"/>
                    <a:pt x="1372552" y="1225867"/>
                  </a:cubicBezTo>
                  <a:cubicBezTo>
                    <a:pt x="1371600" y="1225867"/>
                    <a:pt x="1370647" y="1224915"/>
                    <a:pt x="1370647" y="1223962"/>
                  </a:cubicBezTo>
                  <a:cubicBezTo>
                    <a:pt x="1370647" y="1223009"/>
                    <a:pt x="1371600" y="1222057"/>
                    <a:pt x="1372552" y="1222057"/>
                  </a:cubicBezTo>
                  <a:close/>
                  <a:moveTo>
                    <a:pt x="2298383" y="1221104"/>
                  </a:moveTo>
                  <a:cubicBezTo>
                    <a:pt x="2300288" y="1221104"/>
                    <a:pt x="2301240" y="1223009"/>
                    <a:pt x="2301240" y="1223962"/>
                  </a:cubicBezTo>
                  <a:cubicBezTo>
                    <a:pt x="2301240" y="1225867"/>
                    <a:pt x="2299335" y="1226819"/>
                    <a:pt x="2298383" y="1226819"/>
                  </a:cubicBezTo>
                  <a:cubicBezTo>
                    <a:pt x="2296478" y="1226819"/>
                    <a:pt x="2295525" y="1225867"/>
                    <a:pt x="2295525" y="1223962"/>
                  </a:cubicBezTo>
                  <a:cubicBezTo>
                    <a:pt x="2295525" y="1222057"/>
                    <a:pt x="2297430" y="1221104"/>
                    <a:pt x="2298383" y="1221104"/>
                  </a:cubicBezTo>
                  <a:close/>
                  <a:moveTo>
                    <a:pt x="1861185" y="1221104"/>
                  </a:moveTo>
                  <a:cubicBezTo>
                    <a:pt x="1863091" y="1221104"/>
                    <a:pt x="1864043" y="1222057"/>
                    <a:pt x="1864043" y="1223962"/>
                  </a:cubicBezTo>
                  <a:cubicBezTo>
                    <a:pt x="1864043" y="1225867"/>
                    <a:pt x="1863091" y="1226819"/>
                    <a:pt x="1861185" y="1226819"/>
                  </a:cubicBezTo>
                  <a:cubicBezTo>
                    <a:pt x="1860233" y="1226819"/>
                    <a:pt x="1858328" y="1225867"/>
                    <a:pt x="1858328" y="1223962"/>
                  </a:cubicBezTo>
                  <a:cubicBezTo>
                    <a:pt x="1858328" y="1222057"/>
                    <a:pt x="1859280" y="1221104"/>
                    <a:pt x="1861185" y="1221104"/>
                  </a:cubicBezTo>
                  <a:close/>
                  <a:moveTo>
                    <a:pt x="474345" y="1219200"/>
                  </a:moveTo>
                  <a:cubicBezTo>
                    <a:pt x="482917" y="1219200"/>
                    <a:pt x="490537" y="1225867"/>
                    <a:pt x="490537" y="1235392"/>
                  </a:cubicBezTo>
                  <a:cubicBezTo>
                    <a:pt x="490537" y="1243965"/>
                    <a:pt x="483870" y="1251585"/>
                    <a:pt x="474345" y="1251585"/>
                  </a:cubicBezTo>
                  <a:cubicBezTo>
                    <a:pt x="464820" y="1251585"/>
                    <a:pt x="458152" y="1243965"/>
                    <a:pt x="458152" y="1235392"/>
                  </a:cubicBezTo>
                  <a:cubicBezTo>
                    <a:pt x="458152" y="1226820"/>
                    <a:pt x="464820" y="1219200"/>
                    <a:pt x="474345" y="1219200"/>
                  </a:cubicBezTo>
                  <a:close/>
                  <a:moveTo>
                    <a:pt x="1200150" y="1218247"/>
                  </a:moveTo>
                  <a:cubicBezTo>
                    <a:pt x="1201103" y="1218247"/>
                    <a:pt x="1202055" y="1219200"/>
                    <a:pt x="1202055" y="1220152"/>
                  </a:cubicBezTo>
                  <a:cubicBezTo>
                    <a:pt x="1202055" y="1221105"/>
                    <a:pt x="1201103" y="1222057"/>
                    <a:pt x="1200150" y="1222057"/>
                  </a:cubicBezTo>
                  <a:cubicBezTo>
                    <a:pt x="1199197" y="1222057"/>
                    <a:pt x="1198245" y="1221105"/>
                    <a:pt x="1198245" y="1220152"/>
                  </a:cubicBezTo>
                  <a:cubicBezTo>
                    <a:pt x="1198245" y="1219200"/>
                    <a:pt x="1199197" y="1218247"/>
                    <a:pt x="1200150" y="1218247"/>
                  </a:cubicBezTo>
                  <a:close/>
                  <a:moveTo>
                    <a:pt x="850583" y="1215390"/>
                  </a:moveTo>
                  <a:cubicBezTo>
                    <a:pt x="855345" y="1215390"/>
                    <a:pt x="859155" y="1219200"/>
                    <a:pt x="859155" y="1223962"/>
                  </a:cubicBezTo>
                  <a:cubicBezTo>
                    <a:pt x="859155" y="1228725"/>
                    <a:pt x="855345" y="1232535"/>
                    <a:pt x="850583" y="1232535"/>
                  </a:cubicBezTo>
                  <a:cubicBezTo>
                    <a:pt x="845820" y="1232535"/>
                    <a:pt x="842010" y="1228725"/>
                    <a:pt x="842010" y="1223962"/>
                  </a:cubicBezTo>
                  <a:cubicBezTo>
                    <a:pt x="842010" y="1219200"/>
                    <a:pt x="845820" y="1215390"/>
                    <a:pt x="850583" y="1215390"/>
                  </a:cubicBezTo>
                  <a:close/>
                  <a:moveTo>
                    <a:pt x="228600" y="1213484"/>
                  </a:moveTo>
                  <a:cubicBezTo>
                    <a:pt x="237173" y="1213484"/>
                    <a:pt x="243840" y="1220152"/>
                    <a:pt x="243840" y="1228724"/>
                  </a:cubicBezTo>
                  <a:cubicBezTo>
                    <a:pt x="243840" y="1237297"/>
                    <a:pt x="237173" y="1243964"/>
                    <a:pt x="228600" y="1243964"/>
                  </a:cubicBezTo>
                  <a:cubicBezTo>
                    <a:pt x="220027" y="1243964"/>
                    <a:pt x="213360" y="1237297"/>
                    <a:pt x="213360" y="1228724"/>
                  </a:cubicBezTo>
                  <a:cubicBezTo>
                    <a:pt x="213360" y="1220152"/>
                    <a:pt x="220027" y="1213484"/>
                    <a:pt x="228600" y="1213484"/>
                  </a:cubicBezTo>
                  <a:close/>
                  <a:moveTo>
                    <a:pt x="1635443" y="1212532"/>
                  </a:moveTo>
                  <a:cubicBezTo>
                    <a:pt x="1636395" y="1212532"/>
                    <a:pt x="1638300" y="1213484"/>
                    <a:pt x="1638300" y="1215390"/>
                  </a:cubicBezTo>
                  <a:cubicBezTo>
                    <a:pt x="1638300" y="1216342"/>
                    <a:pt x="1637348" y="1218247"/>
                    <a:pt x="1635443" y="1218247"/>
                  </a:cubicBezTo>
                  <a:cubicBezTo>
                    <a:pt x="1633538" y="1218247"/>
                    <a:pt x="1631633" y="1217295"/>
                    <a:pt x="1632585" y="1215390"/>
                  </a:cubicBezTo>
                  <a:cubicBezTo>
                    <a:pt x="1632585" y="1214437"/>
                    <a:pt x="1633538" y="1212532"/>
                    <a:pt x="1635443" y="1212532"/>
                  </a:cubicBezTo>
                  <a:close/>
                  <a:moveTo>
                    <a:pt x="1429702" y="1212532"/>
                  </a:moveTo>
                  <a:cubicBezTo>
                    <a:pt x="1431281" y="1212532"/>
                    <a:pt x="1432560" y="1213811"/>
                    <a:pt x="1432560" y="1215390"/>
                  </a:cubicBezTo>
                  <a:cubicBezTo>
                    <a:pt x="1432560" y="1216968"/>
                    <a:pt x="1431281" y="1218247"/>
                    <a:pt x="1429702" y="1218247"/>
                  </a:cubicBezTo>
                  <a:cubicBezTo>
                    <a:pt x="1428124" y="1218247"/>
                    <a:pt x="1426845" y="1216968"/>
                    <a:pt x="1426845" y="1215390"/>
                  </a:cubicBezTo>
                  <a:cubicBezTo>
                    <a:pt x="1426845" y="1213811"/>
                    <a:pt x="1428124" y="1212532"/>
                    <a:pt x="1429702" y="1212532"/>
                  </a:cubicBezTo>
                  <a:close/>
                  <a:moveTo>
                    <a:pt x="740092" y="1212532"/>
                  </a:moveTo>
                  <a:cubicBezTo>
                    <a:pt x="745807" y="1212532"/>
                    <a:pt x="751522" y="1217295"/>
                    <a:pt x="751522" y="1223962"/>
                  </a:cubicBezTo>
                  <a:cubicBezTo>
                    <a:pt x="751522" y="1229677"/>
                    <a:pt x="746760" y="1235392"/>
                    <a:pt x="740092" y="1235392"/>
                  </a:cubicBezTo>
                  <a:cubicBezTo>
                    <a:pt x="733425" y="1235392"/>
                    <a:pt x="727710" y="1230629"/>
                    <a:pt x="728662" y="1223962"/>
                  </a:cubicBezTo>
                  <a:cubicBezTo>
                    <a:pt x="728662" y="1218247"/>
                    <a:pt x="733425" y="1212532"/>
                    <a:pt x="740092" y="1212532"/>
                  </a:cubicBezTo>
                  <a:close/>
                  <a:moveTo>
                    <a:pt x="965835" y="1211579"/>
                  </a:moveTo>
                  <a:cubicBezTo>
                    <a:pt x="967740" y="1211579"/>
                    <a:pt x="969645" y="1213484"/>
                    <a:pt x="969645" y="1215389"/>
                  </a:cubicBezTo>
                  <a:cubicBezTo>
                    <a:pt x="969645" y="1217294"/>
                    <a:pt x="967740" y="1219199"/>
                    <a:pt x="965835" y="1219199"/>
                  </a:cubicBezTo>
                  <a:cubicBezTo>
                    <a:pt x="963930" y="1219199"/>
                    <a:pt x="962025" y="1217294"/>
                    <a:pt x="962025" y="1215389"/>
                  </a:cubicBezTo>
                  <a:cubicBezTo>
                    <a:pt x="962025" y="1213484"/>
                    <a:pt x="963930" y="1211579"/>
                    <a:pt x="965835" y="1211579"/>
                  </a:cubicBezTo>
                  <a:close/>
                  <a:moveTo>
                    <a:pt x="2222183" y="1206817"/>
                  </a:moveTo>
                  <a:cubicBezTo>
                    <a:pt x="2228850" y="1206817"/>
                    <a:pt x="2233613" y="1212532"/>
                    <a:pt x="2233613" y="1218247"/>
                  </a:cubicBezTo>
                  <a:cubicBezTo>
                    <a:pt x="2233613" y="1224915"/>
                    <a:pt x="2227898" y="1229677"/>
                    <a:pt x="2222183" y="1229677"/>
                  </a:cubicBezTo>
                  <a:cubicBezTo>
                    <a:pt x="2216468" y="1229677"/>
                    <a:pt x="2211705" y="1224915"/>
                    <a:pt x="2210753" y="1218247"/>
                  </a:cubicBezTo>
                  <a:cubicBezTo>
                    <a:pt x="2210753" y="1211580"/>
                    <a:pt x="2216468" y="1206817"/>
                    <a:pt x="2222183" y="1206817"/>
                  </a:cubicBezTo>
                  <a:close/>
                  <a:moveTo>
                    <a:pt x="1143000" y="1206817"/>
                  </a:moveTo>
                  <a:cubicBezTo>
                    <a:pt x="1143952" y="1206817"/>
                    <a:pt x="1145857" y="1207770"/>
                    <a:pt x="1145857" y="1209675"/>
                  </a:cubicBezTo>
                  <a:cubicBezTo>
                    <a:pt x="1145857" y="1210627"/>
                    <a:pt x="1144905" y="1212532"/>
                    <a:pt x="1143000" y="1212532"/>
                  </a:cubicBezTo>
                  <a:cubicBezTo>
                    <a:pt x="1141095" y="1212532"/>
                    <a:pt x="1140142" y="1211580"/>
                    <a:pt x="1140142" y="1209675"/>
                  </a:cubicBezTo>
                  <a:cubicBezTo>
                    <a:pt x="1140142" y="1208722"/>
                    <a:pt x="1141095" y="1206817"/>
                    <a:pt x="1143000" y="1206817"/>
                  </a:cubicBezTo>
                  <a:close/>
                  <a:moveTo>
                    <a:pt x="1775460" y="1204912"/>
                  </a:moveTo>
                  <a:cubicBezTo>
                    <a:pt x="1777365" y="1204912"/>
                    <a:pt x="1779270" y="1206817"/>
                    <a:pt x="1779270" y="1208722"/>
                  </a:cubicBezTo>
                  <a:cubicBezTo>
                    <a:pt x="1779270" y="1210627"/>
                    <a:pt x="1777365" y="1212532"/>
                    <a:pt x="1775460" y="1212532"/>
                  </a:cubicBezTo>
                  <a:cubicBezTo>
                    <a:pt x="1772602" y="1212532"/>
                    <a:pt x="1770697" y="1210627"/>
                    <a:pt x="1771650" y="1208722"/>
                  </a:cubicBezTo>
                  <a:cubicBezTo>
                    <a:pt x="1771650" y="1206817"/>
                    <a:pt x="1773555" y="1204912"/>
                    <a:pt x="1775460" y="1204912"/>
                  </a:cubicBezTo>
                  <a:close/>
                  <a:moveTo>
                    <a:pt x="2145030" y="1203959"/>
                  </a:moveTo>
                  <a:cubicBezTo>
                    <a:pt x="2149793" y="1203959"/>
                    <a:pt x="2153603" y="1207769"/>
                    <a:pt x="2153603" y="1212532"/>
                  </a:cubicBezTo>
                  <a:cubicBezTo>
                    <a:pt x="2153603" y="1217294"/>
                    <a:pt x="2149793" y="1221104"/>
                    <a:pt x="2145030" y="1221104"/>
                  </a:cubicBezTo>
                  <a:cubicBezTo>
                    <a:pt x="2140268" y="1221104"/>
                    <a:pt x="2136458" y="1217294"/>
                    <a:pt x="2136458" y="1212532"/>
                  </a:cubicBezTo>
                  <a:cubicBezTo>
                    <a:pt x="2136458" y="1207769"/>
                    <a:pt x="2140268" y="1203959"/>
                    <a:pt x="2145030" y="1203959"/>
                  </a:cubicBezTo>
                  <a:close/>
                  <a:moveTo>
                    <a:pt x="1485900" y="1201102"/>
                  </a:moveTo>
                  <a:cubicBezTo>
                    <a:pt x="1486853" y="1201102"/>
                    <a:pt x="1487805" y="1202054"/>
                    <a:pt x="1487805" y="1203007"/>
                  </a:cubicBezTo>
                  <a:cubicBezTo>
                    <a:pt x="1487805" y="1203959"/>
                    <a:pt x="1486853" y="1204912"/>
                    <a:pt x="1485900" y="1204912"/>
                  </a:cubicBezTo>
                  <a:cubicBezTo>
                    <a:pt x="1484947" y="1204912"/>
                    <a:pt x="1483995" y="1203959"/>
                    <a:pt x="1483995" y="1203007"/>
                  </a:cubicBezTo>
                  <a:cubicBezTo>
                    <a:pt x="1483995" y="1202054"/>
                    <a:pt x="1484947" y="1201102"/>
                    <a:pt x="1485900" y="1201102"/>
                  </a:cubicBezTo>
                  <a:close/>
                  <a:moveTo>
                    <a:pt x="634365" y="1201102"/>
                  </a:moveTo>
                  <a:cubicBezTo>
                    <a:pt x="643890" y="1201102"/>
                    <a:pt x="650558" y="1208722"/>
                    <a:pt x="650558" y="1217294"/>
                  </a:cubicBezTo>
                  <a:cubicBezTo>
                    <a:pt x="650558" y="1226819"/>
                    <a:pt x="642938" y="1233487"/>
                    <a:pt x="634365" y="1233487"/>
                  </a:cubicBezTo>
                  <a:cubicBezTo>
                    <a:pt x="625793" y="1233487"/>
                    <a:pt x="619125" y="1225867"/>
                    <a:pt x="618173" y="1217294"/>
                  </a:cubicBezTo>
                  <a:cubicBezTo>
                    <a:pt x="618173" y="1207769"/>
                    <a:pt x="625793" y="1201102"/>
                    <a:pt x="634365" y="1201102"/>
                  </a:cubicBezTo>
                  <a:close/>
                  <a:moveTo>
                    <a:pt x="2066925" y="1200150"/>
                  </a:moveTo>
                  <a:cubicBezTo>
                    <a:pt x="2069783" y="1200150"/>
                    <a:pt x="2072640" y="1203008"/>
                    <a:pt x="2072640" y="1205865"/>
                  </a:cubicBezTo>
                  <a:cubicBezTo>
                    <a:pt x="2072640" y="1208722"/>
                    <a:pt x="2069783" y="1211580"/>
                    <a:pt x="2066925" y="1211580"/>
                  </a:cubicBezTo>
                  <a:cubicBezTo>
                    <a:pt x="2064068" y="1211580"/>
                    <a:pt x="2061210" y="1208722"/>
                    <a:pt x="2061210" y="1205865"/>
                  </a:cubicBezTo>
                  <a:cubicBezTo>
                    <a:pt x="2061210" y="1203008"/>
                    <a:pt x="2064068" y="1200150"/>
                    <a:pt x="2066925" y="1200150"/>
                  </a:cubicBezTo>
                  <a:close/>
                  <a:moveTo>
                    <a:pt x="379095" y="1199197"/>
                  </a:moveTo>
                  <a:cubicBezTo>
                    <a:pt x="390525" y="1199197"/>
                    <a:pt x="399098" y="1207770"/>
                    <a:pt x="399098" y="1219200"/>
                  </a:cubicBezTo>
                  <a:cubicBezTo>
                    <a:pt x="399098" y="1230630"/>
                    <a:pt x="390525" y="1239202"/>
                    <a:pt x="379095" y="1239202"/>
                  </a:cubicBezTo>
                  <a:cubicBezTo>
                    <a:pt x="367665" y="1239202"/>
                    <a:pt x="359093" y="1229677"/>
                    <a:pt x="359093" y="1219200"/>
                  </a:cubicBezTo>
                  <a:cubicBezTo>
                    <a:pt x="359093" y="1207770"/>
                    <a:pt x="367665" y="1199197"/>
                    <a:pt x="379095" y="1199197"/>
                  </a:cubicBezTo>
                  <a:close/>
                  <a:moveTo>
                    <a:pt x="139065" y="1195387"/>
                  </a:moveTo>
                  <a:cubicBezTo>
                    <a:pt x="145732" y="1195387"/>
                    <a:pt x="151447" y="1201102"/>
                    <a:pt x="151447" y="1207770"/>
                  </a:cubicBezTo>
                  <a:cubicBezTo>
                    <a:pt x="151447" y="1214437"/>
                    <a:pt x="145732" y="1220152"/>
                    <a:pt x="139065" y="1220152"/>
                  </a:cubicBezTo>
                  <a:cubicBezTo>
                    <a:pt x="132397" y="1220152"/>
                    <a:pt x="126682" y="1214437"/>
                    <a:pt x="126682" y="1207770"/>
                  </a:cubicBezTo>
                  <a:cubicBezTo>
                    <a:pt x="126682" y="1201102"/>
                    <a:pt x="132397" y="1195387"/>
                    <a:pt x="139065" y="1195387"/>
                  </a:cubicBezTo>
                  <a:close/>
                  <a:moveTo>
                    <a:pt x="1986916" y="1194434"/>
                  </a:moveTo>
                  <a:cubicBezTo>
                    <a:pt x="1987868" y="1194434"/>
                    <a:pt x="1989773" y="1195387"/>
                    <a:pt x="1989773" y="1197292"/>
                  </a:cubicBezTo>
                  <a:cubicBezTo>
                    <a:pt x="1989773" y="1198244"/>
                    <a:pt x="1988821" y="1200149"/>
                    <a:pt x="1986916" y="1200149"/>
                  </a:cubicBezTo>
                  <a:cubicBezTo>
                    <a:pt x="1985010" y="1200149"/>
                    <a:pt x="1984058" y="1199197"/>
                    <a:pt x="1984058" y="1197292"/>
                  </a:cubicBezTo>
                  <a:cubicBezTo>
                    <a:pt x="1984058" y="1196339"/>
                    <a:pt x="1985010" y="1194434"/>
                    <a:pt x="1986916" y="1194434"/>
                  </a:cubicBezTo>
                  <a:close/>
                  <a:moveTo>
                    <a:pt x="1087755" y="1190625"/>
                  </a:moveTo>
                  <a:cubicBezTo>
                    <a:pt x="1089660" y="1190625"/>
                    <a:pt x="1091565" y="1192530"/>
                    <a:pt x="1091565" y="1194435"/>
                  </a:cubicBezTo>
                  <a:cubicBezTo>
                    <a:pt x="1091565" y="1196340"/>
                    <a:pt x="1089660" y="1198245"/>
                    <a:pt x="1087755" y="1198245"/>
                  </a:cubicBezTo>
                  <a:cubicBezTo>
                    <a:pt x="1085850" y="1198245"/>
                    <a:pt x="1083945" y="1196340"/>
                    <a:pt x="1083945" y="1194435"/>
                  </a:cubicBezTo>
                  <a:cubicBezTo>
                    <a:pt x="1083945" y="1192530"/>
                    <a:pt x="1085850" y="1190625"/>
                    <a:pt x="1087755" y="1190625"/>
                  </a:cubicBezTo>
                  <a:close/>
                  <a:moveTo>
                    <a:pt x="534352" y="1186815"/>
                  </a:moveTo>
                  <a:cubicBezTo>
                    <a:pt x="544830" y="1186815"/>
                    <a:pt x="552450" y="1195387"/>
                    <a:pt x="552450" y="1204912"/>
                  </a:cubicBezTo>
                  <a:cubicBezTo>
                    <a:pt x="552450" y="1215390"/>
                    <a:pt x="543877" y="1223010"/>
                    <a:pt x="534352" y="1223010"/>
                  </a:cubicBezTo>
                  <a:cubicBezTo>
                    <a:pt x="523875" y="1223010"/>
                    <a:pt x="516255" y="1215390"/>
                    <a:pt x="516255" y="1204912"/>
                  </a:cubicBezTo>
                  <a:cubicBezTo>
                    <a:pt x="516255" y="1194435"/>
                    <a:pt x="524827" y="1186815"/>
                    <a:pt x="534352" y="1186815"/>
                  </a:cubicBezTo>
                  <a:close/>
                  <a:moveTo>
                    <a:pt x="1541145" y="1183957"/>
                  </a:moveTo>
                  <a:cubicBezTo>
                    <a:pt x="1542097" y="1183957"/>
                    <a:pt x="1543050" y="1184909"/>
                    <a:pt x="1543050" y="1185862"/>
                  </a:cubicBezTo>
                  <a:cubicBezTo>
                    <a:pt x="1543050" y="1186815"/>
                    <a:pt x="1542097" y="1187767"/>
                    <a:pt x="1541145" y="1187767"/>
                  </a:cubicBezTo>
                  <a:cubicBezTo>
                    <a:pt x="1539240" y="1187767"/>
                    <a:pt x="1538287" y="1186815"/>
                    <a:pt x="1539240" y="1185862"/>
                  </a:cubicBezTo>
                  <a:cubicBezTo>
                    <a:pt x="1539240" y="1184909"/>
                    <a:pt x="1540192" y="1183957"/>
                    <a:pt x="1541145" y="1183957"/>
                  </a:cubicBezTo>
                  <a:close/>
                  <a:moveTo>
                    <a:pt x="1905000" y="1183004"/>
                  </a:moveTo>
                  <a:cubicBezTo>
                    <a:pt x="1906905" y="1183004"/>
                    <a:pt x="1908810" y="1184909"/>
                    <a:pt x="1908810" y="1186814"/>
                  </a:cubicBezTo>
                  <a:cubicBezTo>
                    <a:pt x="1908810" y="1188719"/>
                    <a:pt x="1906905" y="1190624"/>
                    <a:pt x="1905000" y="1190624"/>
                  </a:cubicBezTo>
                  <a:cubicBezTo>
                    <a:pt x="1903095" y="1190624"/>
                    <a:pt x="1901190" y="1188719"/>
                    <a:pt x="1901190" y="1186814"/>
                  </a:cubicBezTo>
                  <a:cubicBezTo>
                    <a:pt x="1901190" y="1184909"/>
                    <a:pt x="1903095" y="1183004"/>
                    <a:pt x="1905000" y="1183004"/>
                  </a:cubicBezTo>
                  <a:close/>
                  <a:moveTo>
                    <a:pt x="1685926" y="1183004"/>
                  </a:moveTo>
                  <a:cubicBezTo>
                    <a:pt x="1688783" y="1183004"/>
                    <a:pt x="1690688" y="1184909"/>
                    <a:pt x="1690688" y="1187767"/>
                  </a:cubicBezTo>
                  <a:cubicBezTo>
                    <a:pt x="1690688" y="1190624"/>
                    <a:pt x="1688783" y="1192529"/>
                    <a:pt x="1685926" y="1192529"/>
                  </a:cubicBezTo>
                  <a:cubicBezTo>
                    <a:pt x="1683068" y="1192529"/>
                    <a:pt x="1681163" y="1190624"/>
                    <a:pt x="1681163" y="1187767"/>
                  </a:cubicBezTo>
                  <a:cubicBezTo>
                    <a:pt x="1681163" y="1184909"/>
                    <a:pt x="1683068" y="1183004"/>
                    <a:pt x="1685926" y="1183004"/>
                  </a:cubicBezTo>
                  <a:close/>
                  <a:moveTo>
                    <a:pt x="915353" y="1182052"/>
                  </a:moveTo>
                  <a:cubicBezTo>
                    <a:pt x="918211" y="1182052"/>
                    <a:pt x="921068" y="1184909"/>
                    <a:pt x="921068" y="1187767"/>
                  </a:cubicBezTo>
                  <a:cubicBezTo>
                    <a:pt x="921068" y="1190624"/>
                    <a:pt x="918211" y="1193482"/>
                    <a:pt x="915353" y="1193482"/>
                  </a:cubicBezTo>
                  <a:cubicBezTo>
                    <a:pt x="912496" y="1193482"/>
                    <a:pt x="909638" y="1191577"/>
                    <a:pt x="909638" y="1187767"/>
                  </a:cubicBezTo>
                  <a:cubicBezTo>
                    <a:pt x="909638" y="1184909"/>
                    <a:pt x="912496" y="1182052"/>
                    <a:pt x="915353" y="1182052"/>
                  </a:cubicBezTo>
                  <a:close/>
                  <a:moveTo>
                    <a:pt x="802958" y="1180147"/>
                  </a:moveTo>
                  <a:cubicBezTo>
                    <a:pt x="808673" y="1180147"/>
                    <a:pt x="813435" y="1184910"/>
                    <a:pt x="813435" y="1190625"/>
                  </a:cubicBezTo>
                  <a:cubicBezTo>
                    <a:pt x="813435" y="1196340"/>
                    <a:pt x="808673" y="1201102"/>
                    <a:pt x="802958" y="1201102"/>
                  </a:cubicBezTo>
                  <a:cubicBezTo>
                    <a:pt x="797243" y="1201102"/>
                    <a:pt x="792480" y="1197292"/>
                    <a:pt x="792480" y="1190625"/>
                  </a:cubicBezTo>
                  <a:cubicBezTo>
                    <a:pt x="792480" y="1184910"/>
                    <a:pt x="797243" y="1180147"/>
                    <a:pt x="802958" y="1180147"/>
                  </a:cubicBezTo>
                  <a:close/>
                  <a:moveTo>
                    <a:pt x="286702" y="1180147"/>
                  </a:moveTo>
                  <a:cubicBezTo>
                    <a:pt x="298132" y="1180147"/>
                    <a:pt x="306705" y="1188720"/>
                    <a:pt x="306705" y="1200150"/>
                  </a:cubicBezTo>
                  <a:cubicBezTo>
                    <a:pt x="306705" y="1211580"/>
                    <a:pt x="298132" y="1220152"/>
                    <a:pt x="286702" y="1220152"/>
                  </a:cubicBezTo>
                  <a:cubicBezTo>
                    <a:pt x="275273" y="1220152"/>
                    <a:pt x="266700" y="1211580"/>
                    <a:pt x="266700" y="1200150"/>
                  </a:cubicBezTo>
                  <a:cubicBezTo>
                    <a:pt x="266700" y="1188720"/>
                    <a:pt x="275273" y="1180147"/>
                    <a:pt x="286702" y="1180147"/>
                  </a:cubicBezTo>
                  <a:close/>
                  <a:moveTo>
                    <a:pt x="696277" y="1174432"/>
                  </a:moveTo>
                  <a:cubicBezTo>
                    <a:pt x="702945" y="1174432"/>
                    <a:pt x="708660" y="1180147"/>
                    <a:pt x="708660" y="1186815"/>
                  </a:cubicBezTo>
                  <a:cubicBezTo>
                    <a:pt x="708660" y="1193482"/>
                    <a:pt x="702945" y="1199197"/>
                    <a:pt x="696277" y="1199197"/>
                  </a:cubicBezTo>
                  <a:cubicBezTo>
                    <a:pt x="688658" y="1199197"/>
                    <a:pt x="683895" y="1193482"/>
                    <a:pt x="683895" y="1186815"/>
                  </a:cubicBezTo>
                  <a:cubicBezTo>
                    <a:pt x="683895" y="1180147"/>
                    <a:pt x="689610" y="1174432"/>
                    <a:pt x="696277" y="1174432"/>
                  </a:cubicBezTo>
                  <a:close/>
                  <a:moveTo>
                    <a:pt x="438150" y="1172527"/>
                  </a:moveTo>
                  <a:cubicBezTo>
                    <a:pt x="447675" y="1172527"/>
                    <a:pt x="456247" y="1180147"/>
                    <a:pt x="456247" y="1190624"/>
                  </a:cubicBezTo>
                  <a:cubicBezTo>
                    <a:pt x="456247" y="1200149"/>
                    <a:pt x="448627" y="1208722"/>
                    <a:pt x="438150" y="1208722"/>
                  </a:cubicBezTo>
                  <a:cubicBezTo>
                    <a:pt x="427672" y="1208722"/>
                    <a:pt x="420052" y="1200149"/>
                    <a:pt x="420052" y="1190624"/>
                  </a:cubicBezTo>
                  <a:cubicBezTo>
                    <a:pt x="420052" y="1181099"/>
                    <a:pt x="427672" y="1172527"/>
                    <a:pt x="438150" y="1172527"/>
                  </a:cubicBezTo>
                  <a:close/>
                  <a:moveTo>
                    <a:pt x="1033462" y="1171575"/>
                  </a:moveTo>
                  <a:cubicBezTo>
                    <a:pt x="1035367" y="1171575"/>
                    <a:pt x="1037272" y="1173480"/>
                    <a:pt x="1037272" y="1175385"/>
                  </a:cubicBezTo>
                  <a:cubicBezTo>
                    <a:pt x="1037272" y="1177290"/>
                    <a:pt x="1035367" y="1179195"/>
                    <a:pt x="1033462" y="1179195"/>
                  </a:cubicBezTo>
                  <a:cubicBezTo>
                    <a:pt x="1031557" y="1179195"/>
                    <a:pt x="1029652" y="1177290"/>
                    <a:pt x="1029652" y="1175385"/>
                  </a:cubicBezTo>
                  <a:cubicBezTo>
                    <a:pt x="1029652" y="1173480"/>
                    <a:pt x="1031557" y="1171575"/>
                    <a:pt x="1033462" y="1171575"/>
                  </a:cubicBezTo>
                  <a:close/>
                  <a:moveTo>
                    <a:pt x="1821180" y="1170622"/>
                  </a:moveTo>
                  <a:cubicBezTo>
                    <a:pt x="1823085" y="1170622"/>
                    <a:pt x="1824037" y="1171575"/>
                    <a:pt x="1824037" y="1173480"/>
                  </a:cubicBezTo>
                  <a:cubicBezTo>
                    <a:pt x="1824037" y="1175385"/>
                    <a:pt x="1823085" y="1176337"/>
                    <a:pt x="1821180" y="1176337"/>
                  </a:cubicBezTo>
                  <a:cubicBezTo>
                    <a:pt x="1820227" y="1176337"/>
                    <a:pt x="1818322" y="1175385"/>
                    <a:pt x="1818322" y="1173480"/>
                  </a:cubicBezTo>
                  <a:cubicBezTo>
                    <a:pt x="1818322" y="1171575"/>
                    <a:pt x="1819275" y="1170622"/>
                    <a:pt x="1821180" y="1170622"/>
                  </a:cubicBezTo>
                  <a:close/>
                  <a:moveTo>
                    <a:pt x="2256472" y="1168717"/>
                  </a:moveTo>
                  <a:cubicBezTo>
                    <a:pt x="2258378" y="1168717"/>
                    <a:pt x="2259330" y="1170622"/>
                    <a:pt x="2259330" y="1171575"/>
                  </a:cubicBezTo>
                  <a:cubicBezTo>
                    <a:pt x="2259330" y="1173480"/>
                    <a:pt x="2257425" y="1174432"/>
                    <a:pt x="2256472" y="1174432"/>
                  </a:cubicBezTo>
                  <a:cubicBezTo>
                    <a:pt x="2254567" y="1174432"/>
                    <a:pt x="2253615" y="1173480"/>
                    <a:pt x="2253615" y="1171575"/>
                  </a:cubicBezTo>
                  <a:cubicBezTo>
                    <a:pt x="2253615" y="1169670"/>
                    <a:pt x="2255520" y="1168717"/>
                    <a:pt x="2256472" y="1168717"/>
                  </a:cubicBezTo>
                  <a:close/>
                  <a:moveTo>
                    <a:pt x="197168" y="1163954"/>
                  </a:moveTo>
                  <a:cubicBezTo>
                    <a:pt x="205741" y="1163954"/>
                    <a:pt x="212408" y="1170621"/>
                    <a:pt x="212408" y="1179194"/>
                  </a:cubicBezTo>
                  <a:cubicBezTo>
                    <a:pt x="212408" y="1187767"/>
                    <a:pt x="205741" y="1194434"/>
                    <a:pt x="197168" y="1194434"/>
                  </a:cubicBezTo>
                  <a:cubicBezTo>
                    <a:pt x="189548" y="1194434"/>
                    <a:pt x="181928" y="1187767"/>
                    <a:pt x="181928" y="1179194"/>
                  </a:cubicBezTo>
                  <a:cubicBezTo>
                    <a:pt x="181928" y="1170621"/>
                    <a:pt x="188595" y="1163954"/>
                    <a:pt x="197168" y="1163954"/>
                  </a:cubicBezTo>
                  <a:close/>
                  <a:moveTo>
                    <a:pt x="2180273" y="1161097"/>
                  </a:moveTo>
                  <a:cubicBezTo>
                    <a:pt x="2183130" y="1161097"/>
                    <a:pt x="2185988" y="1163955"/>
                    <a:pt x="2185988" y="1166812"/>
                  </a:cubicBezTo>
                  <a:cubicBezTo>
                    <a:pt x="2185988" y="1169670"/>
                    <a:pt x="2183130" y="1172527"/>
                    <a:pt x="2180273" y="1172527"/>
                  </a:cubicBezTo>
                  <a:cubicBezTo>
                    <a:pt x="2177416" y="1172527"/>
                    <a:pt x="2175510" y="1170622"/>
                    <a:pt x="2174558" y="1166812"/>
                  </a:cubicBezTo>
                  <a:cubicBezTo>
                    <a:pt x="2174558" y="1163955"/>
                    <a:pt x="2177416" y="1161097"/>
                    <a:pt x="2180273" y="1161097"/>
                  </a:cubicBezTo>
                  <a:close/>
                  <a:moveTo>
                    <a:pt x="594360" y="1159192"/>
                  </a:moveTo>
                  <a:cubicBezTo>
                    <a:pt x="603885" y="1159192"/>
                    <a:pt x="610552" y="1166812"/>
                    <a:pt x="610552" y="1175384"/>
                  </a:cubicBezTo>
                  <a:cubicBezTo>
                    <a:pt x="610552" y="1184909"/>
                    <a:pt x="602932" y="1191577"/>
                    <a:pt x="594360" y="1191577"/>
                  </a:cubicBezTo>
                  <a:cubicBezTo>
                    <a:pt x="585787" y="1191577"/>
                    <a:pt x="578167" y="1184909"/>
                    <a:pt x="578167" y="1175384"/>
                  </a:cubicBezTo>
                  <a:cubicBezTo>
                    <a:pt x="578167" y="1165859"/>
                    <a:pt x="585787" y="1159192"/>
                    <a:pt x="594360" y="1159192"/>
                  </a:cubicBezTo>
                  <a:close/>
                  <a:moveTo>
                    <a:pt x="2104073" y="1157287"/>
                  </a:moveTo>
                  <a:cubicBezTo>
                    <a:pt x="2105978" y="1157287"/>
                    <a:pt x="2107883" y="1159192"/>
                    <a:pt x="2107883" y="1161097"/>
                  </a:cubicBezTo>
                  <a:cubicBezTo>
                    <a:pt x="2107883" y="1163002"/>
                    <a:pt x="2105978" y="1164907"/>
                    <a:pt x="2104073" y="1164907"/>
                  </a:cubicBezTo>
                  <a:cubicBezTo>
                    <a:pt x="2102168" y="1164907"/>
                    <a:pt x="2101216" y="1163954"/>
                    <a:pt x="2100263" y="1161097"/>
                  </a:cubicBezTo>
                  <a:cubicBezTo>
                    <a:pt x="2100263" y="1159192"/>
                    <a:pt x="2102168" y="1157287"/>
                    <a:pt x="2104073" y="1157287"/>
                  </a:cubicBezTo>
                  <a:close/>
                  <a:moveTo>
                    <a:pt x="1734503" y="1157287"/>
                  </a:moveTo>
                  <a:cubicBezTo>
                    <a:pt x="1734503" y="1157287"/>
                    <a:pt x="1735455" y="1157287"/>
                    <a:pt x="1735455" y="1158240"/>
                  </a:cubicBezTo>
                  <a:cubicBezTo>
                    <a:pt x="1735455" y="1158240"/>
                    <a:pt x="1735455" y="1159192"/>
                    <a:pt x="1734503" y="1159192"/>
                  </a:cubicBezTo>
                  <a:cubicBezTo>
                    <a:pt x="1734503" y="1159192"/>
                    <a:pt x="1733550" y="1158240"/>
                    <a:pt x="1733550" y="1158240"/>
                  </a:cubicBezTo>
                  <a:cubicBezTo>
                    <a:pt x="1733550" y="1158240"/>
                    <a:pt x="1733550" y="1157287"/>
                    <a:pt x="1734503" y="1157287"/>
                  </a:cubicBezTo>
                  <a:close/>
                  <a:moveTo>
                    <a:pt x="1386840" y="1156335"/>
                  </a:moveTo>
                  <a:cubicBezTo>
                    <a:pt x="1387366" y="1156335"/>
                    <a:pt x="1387793" y="1156761"/>
                    <a:pt x="1387793" y="1157288"/>
                  </a:cubicBezTo>
                  <a:cubicBezTo>
                    <a:pt x="1387793" y="1157813"/>
                    <a:pt x="1387367" y="1158240"/>
                    <a:pt x="1386840" y="1158240"/>
                  </a:cubicBezTo>
                  <a:cubicBezTo>
                    <a:pt x="1386314" y="1158240"/>
                    <a:pt x="1385888" y="1157814"/>
                    <a:pt x="1385888" y="1157288"/>
                  </a:cubicBezTo>
                  <a:cubicBezTo>
                    <a:pt x="1385888" y="1156762"/>
                    <a:pt x="1386314" y="1156335"/>
                    <a:pt x="1386840" y="1156335"/>
                  </a:cubicBezTo>
                  <a:close/>
                  <a:moveTo>
                    <a:pt x="865823" y="1153477"/>
                  </a:moveTo>
                  <a:cubicBezTo>
                    <a:pt x="867927" y="1153477"/>
                    <a:pt x="869633" y="1155183"/>
                    <a:pt x="869633" y="1157287"/>
                  </a:cubicBezTo>
                  <a:cubicBezTo>
                    <a:pt x="869633" y="1159391"/>
                    <a:pt x="867927" y="1161097"/>
                    <a:pt x="865823" y="1161097"/>
                  </a:cubicBezTo>
                  <a:cubicBezTo>
                    <a:pt x="863719" y="1161097"/>
                    <a:pt x="862013" y="1159391"/>
                    <a:pt x="862013" y="1157287"/>
                  </a:cubicBezTo>
                  <a:cubicBezTo>
                    <a:pt x="862013" y="1155183"/>
                    <a:pt x="863719" y="1153477"/>
                    <a:pt x="865823" y="1153477"/>
                  </a:cubicBezTo>
                  <a:close/>
                  <a:moveTo>
                    <a:pt x="111442" y="1153477"/>
                  </a:moveTo>
                  <a:cubicBezTo>
                    <a:pt x="113347" y="1153477"/>
                    <a:pt x="115252" y="1155382"/>
                    <a:pt x="115252" y="1157287"/>
                  </a:cubicBezTo>
                  <a:cubicBezTo>
                    <a:pt x="115252" y="1159192"/>
                    <a:pt x="113347" y="1161097"/>
                    <a:pt x="111442" y="1161097"/>
                  </a:cubicBezTo>
                  <a:cubicBezTo>
                    <a:pt x="108585" y="1161097"/>
                    <a:pt x="107632" y="1159192"/>
                    <a:pt x="107632" y="1157287"/>
                  </a:cubicBezTo>
                  <a:cubicBezTo>
                    <a:pt x="107632" y="1155382"/>
                    <a:pt x="109537" y="1153477"/>
                    <a:pt x="111442" y="1153477"/>
                  </a:cubicBezTo>
                  <a:close/>
                  <a:moveTo>
                    <a:pt x="2025968" y="1152525"/>
                  </a:moveTo>
                  <a:cubicBezTo>
                    <a:pt x="2026920" y="1152525"/>
                    <a:pt x="2028825" y="1153478"/>
                    <a:pt x="2028825" y="1155383"/>
                  </a:cubicBezTo>
                  <a:cubicBezTo>
                    <a:pt x="2028825" y="1156335"/>
                    <a:pt x="2027873" y="1158240"/>
                    <a:pt x="2025968" y="1158240"/>
                  </a:cubicBezTo>
                  <a:cubicBezTo>
                    <a:pt x="2024063" y="1158240"/>
                    <a:pt x="2023110" y="1156335"/>
                    <a:pt x="2023110" y="1155383"/>
                  </a:cubicBezTo>
                  <a:cubicBezTo>
                    <a:pt x="2023110" y="1154430"/>
                    <a:pt x="2024063" y="1152525"/>
                    <a:pt x="2025968" y="1152525"/>
                  </a:cubicBezTo>
                  <a:close/>
                  <a:moveTo>
                    <a:pt x="344805" y="1151572"/>
                  </a:moveTo>
                  <a:cubicBezTo>
                    <a:pt x="356235" y="1151572"/>
                    <a:pt x="364807" y="1160145"/>
                    <a:pt x="364807" y="1171575"/>
                  </a:cubicBezTo>
                  <a:cubicBezTo>
                    <a:pt x="364807" y="1183005"/>
                    <a:pt x="356235" y="1191577"/>
                    <a:pt x="344805" y="1191577"/>
                  </a:cubicBezTo>
                  <a:cubicBezTo>
                    <a:pt x="334327" y="1191577"/>
                    <a:pt x="324802" y="1183005"/>
                    <a:pt x="324802" y="1171575"/>
                  </a:cubicBezTo>
                  <a:cubicBezTo>
                    <a:pt x="324802" y="1160145"/>
                    <a:pt x="333375" y="1151572"/>
                    <a:pt x="344805" y="1151572"/>
                  </a:cubicBezTo>
                  <a:close/>
                  <a:moveTo>
                    <a:pt x="981075" y="1149667"/>
                  </a:moveTo>
                  <a:cubicBezTo>
                    <a:pt x="982027" y="1149667"/>
                    <a:pt x="982980" y="1150620"/>
                    <a:pt x="982980" y="1151572"/>
                  </a:cubicBezTo>
                  <a:cubicBezTo>
                    <a:pt x="982980" y="1152525"/>
                    <a:pt x="982027" y="1153477"/>
                    <a:pt x="981075" y="1153477"/>
                  </a:cubicBezTo>
                  <a:cubicBezTo>
                    <a:pt x="980122" y="1153477"/>
                    <a:pt x="979170" y="1152525"/>
                    <a:pt x="979170" y="1151572"/>
                  </a:cubicBezTo>
                  <a:cubicBezTo>
                    <a:pt x="979170" y="1150620"/>
                    <a:pt x="980122" y="1149667"/>
                    <a:pt x="981075" y="1149667"/>
                  </a:cubicBezTo>
                  <a:close/>
                  <a:moveTo>
                    <a:pt x="757238" y="1149667"/>
                  </a:moveTo>
                  <a:cubicBezTo>
                    <a:pt x="760096" y="1149667"/>
                    <a:pt x="762953" y="1152525"/>
                    <a:pt x="762953" y="1155382"/>
                  </a:cubicBezTo>
                  <a:cubicBezTo>
                    <a:pt x="762953" y="1158240"/>
                    <a:pt x="760096" y="1161097"/>
                    <a:pt x="757238" y="1161097"/>
                  </a:cubicBezTo>
                  <a:cubicBezTo>
                    <a:pt x="754380" y="1161097"/>
                    <a:pt x="752475" y="1158240"/>
                    <a:pt x="751523" y="1155382"/>
                  </a:cubicBezTo>
                  <a:cubicBezTo>
                    <a:pt x="751523" y="1152525"/>
                    <a:pt x="754380" y="1149667"/>
                    <a:pt x="757238" y="1149667"/>
                  </a:cubicBezTo>
                  <a:close/>
                  <a:moveTo>
                    <a:pt x="497205" y="1145857"/>
                  </a:moveTo>
                  <a:cubicBezTo>
                    <a:pt x="505778" y="1145857"/>
                    <a:pt x="512445" y="1152524"/>
                    <a:pt x="512445" y="1161097"/>
                  </a:cubicBezTo>
                  <a:cubicBezTo>
                    <a:pt x="512445" y="1169670"/>
                    <a:pt x="505778" y="1176337"/>
                    <a:pt x="497205" y="1176337"/>
                  </a:cubicBezTo>
                  <a:cubicBezTo>
                    <a:pt x="488633" y="1176337"/>
                    <a:pt x="481965" y="1169670"/>
                    <a:pt x="481965" y="1161097"/>
                  </a:cubicBezTo>
                  <a:cubicBezTo>
                    <a:pt x="481965" y="1152524"/>
                    <a:pt x="488633" y="1145857"/>
                    <a:pt x="497205" y="1145857"/>
                  </a:cubicBezTo>
                  <a:close/>
                  <a:moveTo>
                    <a:pt x="1946910" y="1143000"/>
                  </a:moveTo>
                  <a:cubicBezTo>
                    <a:pt x="1948816" y="1143000"/>
                    <a:pt x="1949768" y="1143953"/>
                    <a:pt x="1949768" y="1145858"/>
                  </a:cubicBezTo>
                  <a:cubicBezTo>
                    <a:pt x="1949768" y="1147763"/>
                    <a:pt x="1948816" y="1148715"/>
                    <a:pt x="1946910" y="1148715"/>
                  </a:cubicBezTo>
                  <a:cubicBezTo>
                    <a:pt x="1945005" y="1148715"/>
                    <a:pt x="1944053" y="1147763"/>
                    <a:pt x="1944053" y="1145858"/>
                  </a:cubicBezTo>
                  <a:cubicBezTo>
                    <a:pt x="1944053" y="1143953"/>
                    <a:pt x="1945005" y="1143000"/>
                    <a:pt x="1946910" y="1143000"/>
                  </a:cubicBezTo>
                  <a:close/>
                  <a:moveTo>
                    <a:pt x="255270" y="1138237"/>
                  </a:moveTo>
                  <a:cubicBezTo>
                    <a:pt x="262889" y="1138237"/>
                    <a:pt x="269557" y="1143952"/>
                    <a:pt x="269557" y="1152525"/>
                  </a:cubicBezTo>
                  <a:cubicBezTo>
                    <a:pt x="269557" y="1160145"/>
                    <a:pt x="263842" y="1166812"/>
                    <a:pt x="255270" y="1166812"/>
                  </a:cubicBezTo>
                  <a:cubicBezTo>
                    <a:pt x="247650" y="1166812"/>
                    <a:pt x="240982" y="1160145"/>
                    <a:pt x="240982" y="1152525"/>
                  </a:cubicBezTo>
                  <a:cubicBezTo>
                    <a:pt x="240982" y="1144904"/>
                    <a:pt x="246697" y="1138237"/>
                    <a:pt x="255270" y="1138237"/>
                  </a:cubicBezTo>
                  <a:close/>
                  <a:moveTo>
                    <a:pt x="1645920" y="1137284"/>
                  </a:moveTo>
                  <a:cubicBezTo>
                    <a:pt x="1645920" y="1137284"/>
                    <a:pt x="1646872" y="1138237"/>
                    <a:pt x="1646872" y="1138237"/>
                  </a:cubicBezTo>
                  <a:cubicBezTo>
                    <a:pt x="1646872" y="1138237"/>
                    <a:pt x="1646872" y="1139189"/>
                    <a:pt x="1645920" y="1139189"/>
                  </a:cubicBezTo>
                  <a:cubicBezTo>
                    <a:pt x="1644967" y="1139189"/>
                    <a:pt x="1644967" y="1138237"/>
                    <a:pt x="1644967" y="1138237"/>
                  </a:cubicBezTo>
                  <a:cubicBezTo>
                    <a:pt x="1644967" y="1138237"/>
                    <a:pt x="1644967" y="1137284"/>
                    <a:pt x="1645920" y="1137284"/>
                  </a:cubicBezTo>
                  <a:close/>
                  <a:moveTo>
                    <a:pt x="654367" y="1137284"/>
                  </a:moveTo>
                  <a:cubicBezTo>
                    <a:pt x="659130" y="1137284"/>
                    <a:pt x="662940" y="1141094"/>
                    <a:pt x="662940" y="1145857"/>
                  </a:cubicBezTo>
                  <a:cubicBezTo>
                    <a:pt x="662940" y="1150619"/>
                    <a:pt x="659130" y="1154429"/>
                    <a:pt x="654367" y="1154429"/>
                  </a:cubicBezTo>
                  <a:cubicBezTo>
                    <a:pt x="649605" y="1154429"/>
                    <a:pt x="646747" y="1150619"/>
                    <a:pt x="645795" y="1145857"/>
                  </a:cubicBezTo>
                  <a:cubicBezTo>
                    <a:pt x="645795" y="1141094"/>
                    <a:pt x="649605" y="1137284"/>
                    <a:pt x="654367" y="1137284"/>
                  </a:cubicBezTo>
                  <a:close/>
                  <a:moveTo>
                    <a:pt x="1864995" y="1135379"/>
                  </a:moveTo>
                  <a:cubicBezTo>
                    <a:pt x="1864995" y="1135379"/>
                    <a:pt x="1865947" y="1135379"/>
                    <a:pt x="1865947" y="1136332"/>
                  </a:cubicBezTo>
                  <a:cubicBezTo>
                    <a:pt x="1865947" y="1136332"/>
                    <a:pt x="1865947" y="1137284"/>
                    <a:pt x="1864995" y="1137284"/>
                  </a:cubicBezTo>
                  <a:cubicBezTo>
                    <a:pt x="1864042" y="1137284"/>
                    <a:pt x="1864042" y="1137284"/>
                    <a:pt x="1864042" y="1136332"/>
                  </a:cubicBezTo>
                  <a:cubicBezTo>
                    <a:pt x="1864042" y="1136332"/>
                    <a:pt x="1864042" y="1135379"/>
                    <a:pt x="1864995" y="1135379"/>
                  </a:cubicBezTo>
                  <a:close/>
                  <a:moveTo>
                    <a:pt x="403861" y="1126807"/>
                  </a:moveTo>
                  <a:cubicBezTo>
                    <a:pt x="413386" y="1126807"/>
                    <a:pt x="420053" y="1134427"/>
                    <a:pt x="420053" y="1142999"/>
                  </a:cubicBezTo>
                  <a:cubicBezTo>
                    <a:pt x="420053" y="1152524"/>
                    <a:pt x="412433" y="1159192"/>
                    <a:pt x="403861" y="1159192"/>
                  </a:cubicBezTo>
                  <a:cubicBezTo>
                    <a:pt x="395288" y="1159192"/>
                    <a:pt x="387668" y="1152524"/>
                    <a:pt x="387668" y="1142999"/>
                  </a:cubicBezTo>
                  <a:cubicBezTo>
                    <a:pt x="387668" y="1133474"/>
                    <a:pt x="395288" y="1126807"/>
                    <a:pt x="403861" y="1126807"/>
                  </a:cubicBezTo>
                  <a:close/>
                  <a:moveTo>
                    <a:pt x="1781175" y="1122997"/>
                  </a:moveTo>
                  <a:cubicBezTo>
                    <a:pt x="1781175" y="1122997"/>
                    <a:pt x="1782127" y="1122997"/>
                    <a:pt x="1782127" y="1123950"/>
                  </a:cubicBezTo>
                  <a:cubicBezTo>
                    <a:pt x="1782127" y="1123950"/>
                    <a:pt x="1782127" y="1124902"/>
                    <a:pt x="1781175" y="1124902"/>
                  </a:cubicBezTo>
                  <a:cubicBezTo>
                    <a:pt x="1780222" y="1124902"/>
                    <a:pt x="1780222" y="1123950"/>
                    <a:pt x="1780222" y="1123950"/>
                  </a:cubicBezTo>
                  <a:cubicBezTo>
                    <a:pt x="1780222" y="1123950"/>
                    <a:pt x="1780222" y="1122997"/>
                    <a:pt x="1781175" y="1122997"/>
                  </a:cubicBezTo>
                  <a:close/>
                  <a:moveTo>
                    <a:pt x="556260" y="1121092"/>
                  </a:moveTo>
                  <a:cubicBezTo>
                    <a:pt x="562928" y="1121092"/>
                    <a:pt x="567690" y="1125855"/>
                    <a:pt x="567690" y="1132522"/>
                  </a:cubicBezTo>
                  <a:cubicBezTo>
                    <a:pt x="567690" y="1139190"/>
                    <a:pt x="562928" y="1143952"/>
                    <a:pt x="556260" y="1143952"/>
                  </a:cubicBezTo>
                  <a:cubicBezTo>
                    <a:pt x="549593" y="1143952"/>
                    <a:pt x="544830" y="1139190"/>
                    <a:pt x="544830" y="1132522"/>
                  </a:cubicBezTo>
                  <a:cubicBezTo>
                    <a:pt x="544830" y="1125855"/>
                    <a:pt x="549593" y="1121092"/>
                    <a:pt x="556260" y="1121092"/>
                  </a:cubicBezTo>
                  <a:close/>
                  <a:moveTo>
                    <a:pt x="930592" y="1120140"/>
                  </a:moveTo>
                  <a:cubicBezTo>
                    <a:pt x="932498" y="1120140"/>
                    <a:pt x="933450" y="1121092"/>
                    <a:pt x="933450" y="1122997"/>
                  </a:cubicBezTo>
                  <a:cubicBezTo>
                    <a:pt x="933450" y="1124903"/>
                    <a:pt x="932498" y="1125855"/>
                    <a:pt x="930592" y="1125855"/>
                  </a:cubicBezTo>
                  <a:cubicBezTo>
                    <a:pt x="929640" y="1125855"/>
                    <a:pt x="927735" y="1124903"/>
                    <a:pt x="927735" y="1122997"/>
                  </a:cubicBezTo>
                  <a:cubicBezTo>
                    <a:pt x="927735" y="1121092"/>
                    <a:pt x="928687" y="1120140"/>
                    <a:pt x="930592" y="1120140"/>
                  </a:cubicBezTo>
                  <a:close/>
                  <a:moveTo>
                    <a:pt x="820103" y="1118234"/>
                  </a:moveTo>
                  <a:cubicBezTo>
                    <a:pt x="822960" y="1118234"/>
                    <a:pt x="824865" y="1120139"/>
                    <a:pt x="824865" y="1122997"/>
                  </a:cubicBezTo>
                  <a:cubicBezTo>
                    <a:pt x="824865" y="1125854"/>
                    <a:pt x="822960" y="1127759"/>
                    <a:pt x="820103" y="1127759"/>
                  </a:cubicBezTo>
                  <a:cubicBezTo>
                    <a:pt x="817245" y="1127759"/>
                    <a:pt x="815340" y="1125854"/>
                    <a:pt x="815340" y="1122997"/>
                  </a:cubicBezTo>
                  <a:cubicBezTo>
                    <a:pt x="815340" y="1120139"/>
                    <a:pt x="817245" y="1118234"/>
                    <a:pt x="820103" y="1118234"/>
                  </a:cubicBezTo>
                  <a:close/>
                  <a:moveTo>
                    <a:pt x="2286953" y="1116329"/>
                  </a:moveTo>
                  <a:cubicBezTo>
                    <a:pt x="2290763" y="1116329"/>
                    <a:pt x="2293620" y="1119187"/>
                    <a:pt x="2293620" y="1122996"/>
                  </a:cubicBezTo>
                  <a:cubicBezTo>
                    <a:pt x="2293620" y="1126807"/>
                    <a:pt x="2290763" y="1129664"/>
                    <a:pt x="2286953" y="1129664"/>
                  </a:cubicBezTo>
                  <a:cubicBezTo>
                    <a:pt x="2284095" y="1129664"/>
                    <a:pt x="2281238" y="1126807"/>
                    <a:pt x="2280285" y="1122996"/>
                  </a:cubicBezTo>
                  <a:cubicBezTo>
                    <a:pt x="2280285" y="1119187"/>
                    <a:pt x="2283143" y="1116329"/>
                    <a:pt x="2286953" y="1116329"/>
                  </a:cubicBezTo>
                  <a:close/>
                  <a:moveTo>
                    <a:pt x="169545" y="1116329"/>
                  </a:moveTo>
                  <a:cubicBezTo>
                    <a:pt x="177165" y="1116329"/>
                    <a:pt x="182880" y="1122044"/>
                    <a:pt x="182880" y="1129664"/>
                  </a:cubicBezTo>
                  <a:cubicBezTo>
                    <a:pt x="182880" y="1137284"/>
                    <a:pt x="177165" y="1142999"/>
                    <a:pt x="169545" y="1142999"/>
                  </a:cubicBezTo>
                  <a:cubicBezTo>
                    <a:pt x="161925" y="1142999"/>
                    <a:pt x="155257" y="1137284"/>
                    <a:pt x="156210" y="1129664"/>
                  </a:cubicBezTo>
                  <a:cubicBezTo>
                    <a:pt x="156210" y="1122044"/>
                    <a:pt x="161925" y="1116329"/>
                    <a:pt x="169545" y="1116329"/>
                  </a:cubicBezTo>
                  <a:close/>
                  <a:moveTo>
                    <a:pt x="2213610" y="1110615"/>
                  </a:moveTo>
                  <a:cubicBezTo>
                    <a:pt x="2218373" y="1110615"/>
                    <a:pt x="2223135" y="1114425"/>
                    <a:pt x="2223135" y="1120140"/>
                  </a:cubicBezTo>
                  <a:cubicBezTo>
                    <a:pt x="2223135" y="1124903"/>
                    <a:pt x="2219325" y="1129665"/>
                    <a:pt x="2213610" y="1129665"/>
                  </a:cubicBezTo>
                  <a:cubicBezTo>
                    <a:pt x="2207895" y="1129665"/>
                    <a:pt x="2204085" y="1125855"/>
                    <a:pt x="2204085" y="1120140"/>
                  </a:cubicBezTo>
                  <a:cubicBezTo>
                    <a:pt x="2204085" y="1115378"/>
                    <a:pt x="2207895" y="1110615"/>
                    <a:pt x="2213610" y="1110615"/>
                  </a:cubicBezTo>
                  <a:close/>
                  <a:moveTo>
                    <a:pt x="1047750" y="1110615"/>
                  </a:moveTo>
                  <a:cubicBezTo>
                    <a:pt x="1047750" y="1110615"/>
                    <a:pt x="1048703" y="1110615"/>
                    <a:pt x="1048703" y="1111567"/>
                  </a:cubicBezTo>
                  <a:cubicBezTo>
                    <a:pt x="1048703" y="1111567"/>
                    <a:pt x="1048703" y="1112520"/>
                    <a:pt x="1047750" y="1112520"/>
                  </a:cubicBezTo>
                  <a:cubicBezTo>
                    <a:pt x="1047750" y="1112520"/>
                    <a:pt x="1046798" y="1112520"/>
                    <a:pt x="1046798" y="1111567"/>
                  </a:cubicBezTo>
                  <a:cubicBezTo>
                    <a:pt x="1046798" y="1111567"/>
                    <a:pt x="1046798" y="1110615"/>
                    <a:pt x="1047750" y="1110615"/>
                  </a:cubicBezTo>
                  <a:close/>
                  <a:moveTo>
                    <a:pt x="715328" y="1110615"/>
                  </a:moveTo>
                  <a:cubicBezTo>
                    <a:pt x="718186" y="1110615"/>
                    <a:pt x="721043" y="1113472"/>
                    <a:pt x="721043" y="1116330"/>
                  </a:cubicBezTo>
                  <a:cubicBezTo>
                    <a:pt x="721043" y="1119187"/>
                    <a:pt x="718186" y="1122045"/>
                    <a:pt x="715328" y="1122045"/>
                  </a:cubicBezTo>
                  <a:cubicBezTo>
                    <a:pt x="712471" y="1122045"/>
                    <a:pt x="709613" y="1119187"/>
                    <a:pt x="709613" y="1116330"/>
                  </a:cubicBezTo>
                  <a:cubicBezTo>
                    <a:pt x="709613" y="1113472"/>
                    <a:pt x="712471" y="1110615"/>
                    <a:pt x="715328" y="1110615"/>
                  </a:cubicBezTo>
                  <a:close/>
                  <a:moveTo>
                    <a:pt x="2139315" y="1109662"/>
                  </a:moveTo>
                  <a:cubicBezTo>
                    <a:pt x="2142172" y="1109662"/>
                    <a:pt x="2145030" y="1112520"/>
                    <a:pt x="2145030" y="1115377"/>
                  </a:cubicBezTo>
                  <a:cubicBezTo>
                    <a:pt x="2145030" y="1118234"/>
                    <a:pt x="2142172" y="1121092"/>
                    <a:pt x="2139315" y="1121092"/>
                  </a:cubicBezTo>
                  <a:cubicBezTo>
                    <a:pt x="2135505" y="1121092"/>
                    <a:pt x="2133600" y="1118234"/>
                    <a:pt x="2133600" y="1115377"/>
                  </a:cubicBezTo>
                  <a:cubicBezTo>
                    <a:pt x="2133600" y="1112520"/>
                    <a:pt x="2136458" y="1109662"/>
                    <a:pt x="2139315" y="1109662"/>
                  </a:cubicBezTo>
                  <a:close/>
                  <a:moveTo>
                    <a:pt x="1694497" y="1106804"/>
                  </a:moveTo>
                  <a:cubicBezTo>
                    <a:pt x="1694497" y="1106804"/>
                    <a:pt x="1695450" y="1106804"/>
                    <a:pt x="1695450" y="1107757"/>
                  </a:cubicBezTo>
                  <a:cubicBezTo>
                    <a:pt x="1695450" y="1107757"/>
                    <a:pt x="1695450" y="1108709"/>
                    <a:pt x="1694497" y="1108709"/>
                  </a:cubicBezTo>
                  <a:cubicBezTo>
                    <a:pt x="1693545" y="1108709"/>
                    <a:pt x="1693545" y="1107757"/>
                    <a:pt x="1693545" y="1107757"/>
                  </a:cubicBezTo>
                  <a:cubicBezTo>
                    <a:pt x="1693545" y="1107757"/>
                    <a:pt x="1693545" y="1106804"/>
                    <a:pt x="1694497" y="1106804"/>
                  </a:cubicBezTo>
                  <a:close/>
                  <a:moveTo>
                    <a:pt x="2063115" y="1105852"/>
                  </a:moveTo>
                  <a:cubicBezTo>
                    <a:pt x="2065020" y="1105852"/>
                    <a:pt x="2066925" y="1107757"/>
                    <a:pt x="2066925" y="1109662"/>
                  </a:cubicBezTo>
                  <a:cubicBezTo>
                    <a:pt x="2066925" y="1111567"/>
                    <a:pt x="2065020" y="1113472"/>
                    <a:pt x="2063115" y="1113472"/>
                  </a:cubicBezTo>
                  <a:cubicBezTo>
                    <a:pt x="2061210" y="1113472"/>
                    <a:pt x="2059305" y="1112519"/>
                    <a:pt x="2059305" y="1109662"/>
                  </a:cubicBezTo>
                  <a:cubicBezTo>
                    <a:pt x="2059305" y="1107757"/>
                    <a:pt x="2061210" y="1105852"/>
                    <a:pt x="2063115" y="1105852"/>
                  </a:cubicBezTo>
                  <a:close/>
                  <a:moveTo>
                    <a:pt x="313372" y="1105852"/>
                  </a:moveTo>
                  <a:cubicBezTo>
                    <a:pt x="322897" y="1105852"/>
                    <a:pt x="330517" y="1113472"/>
                    <a:pt x="330517" y="1122997"/>
                  </a:cubicBezTo>
                  <a:cubicBezTo>
                    <a:pt x="330517" y="1132522"/>
                    <a:pt x="322897" y="1140142"/>
                    <a:pt x="313372" y="1140142"/>
                  </a:cubicBezTo>
                  <a:cubicBezTo>
                    <a:pt x="304800" y="1140142"/>
                    <a:pt x="297180" y="1132522"/>
                    <a:pt x="296227" y="1122997"/>
                  </a:cubicBezTo>
                  <a:cubicBezTo>
                    <a:pt x="296227" y="1113472"/>
                    <a:pt x="303847" y="1105852"/>
                    <a:pt x="313372" y="1105852"/>
                  </a:cubicBezTo>
                  <a:close/>
                  <a:moveTo>
                    <a:pt x="1985010" y="1102995"/>
                  </a:moveTo>
                  <a:cubicBezTo>
                    <a:pt x="1985010" y="1102995"/>
                    <a:pt x="1985963" y="1102995"/>
                    <a:pt x="1985963" y="1103947"/>
                  </a:cubicBezTo>
                  <a:cubicBezTo>
                    <a:pt x="1985963" y="1103947"/>
                    <a:pt x="1985963" y="1104900"/>
                    <a:pt x="1985010" y="1104900"/>
                  </a:cubicBezTo>
                  <a:cubicBezTo>
                    <a:pt x="1985010" y="1104900"/>
                    <a:pt x="1984058" y="1104900"/>
                    <a:pt x="1984058" y="1103947"/>
                  </a:cubicBezTo>
                  <a:cubicBezTo>
                    <a:pt x="1984058" y="1103947"/>
                    <a:pt x="1984058" y="1102995"/>
                    <a:pt x="1985010" y="1102995"/>
                  </a:cubicBezTo>
                  <a:close/>
                  <a:moveTo>
                    <a:pt x="461963" y="1100137"/>
                  </a:moveTo>
                  <a:cubicBezTo>
                    <a:pt x="470536" y="1100137"/>
                    <a:pt x="477203" y="1106804"/>
                    <a:pt x="477203" y="1115377"/>
                  </a:cubicBezTo>
                  <a:cubicBezTo>
                    <a:pt x="477203" y="1123950"/>
                    <a:pt x="470536" y="1130617"/>
                    <a:pt x="461963" y="1130617"/>
                  </a:cubicBezTo>
                  <a:cubicBezTo>
                    <a:pt x="454343" y="1130617"/>
                    <a:pt x="446723" y="1123950"/>
                    <a:pt x="446723" y="1115377"/>
                  </a:cubicBezTo>
                  <a:cubicBezTo>
                    <a:pt x="446723" y="1106804"/>
                    <a:pt x="453390" y="1100137"/>
                    <a:pt x="461963" y="1100137"/>
                  </a:cubicBezTo>
                  <a:close/>
                  <a:moveTo>
                    <a:pt x="615315" y="1097279"/>
                  </a:moveTo>
                  <a:cubicBezTo>
                    <a:pt x="619125" y="1097279"/>
                    <a:pt x="621983" y="1100137"/>
                    <a:pt x="621983" y="1103946"/>
                  </a:cubicBezTo>
                  <a:cubicBezTo>
                    <a:pt x="621983" y="1107757"/>
                    <a:pt x="619125" y="1110614"/>
                    <a:pt x="615315" y="1110614"/>
                  </a:cubicBezTo>
                  <a:cubicBezTo>
                    <a:pt x="611505" y="1110614"/>
                    <a:pt x="608648" y="1107757"/>
                    <a:pt x="608648" y="1103946"/>
                  </a:cubicBezTo>
                  <a:cubicBezTo>
                    <a:pt x="608648" y="1100137"/>
                    <a:pt x="611505" y="1097279"/>
                    <a:pt x="615315" y="1097279"/>
                  </a:cubicBezTo>
                  <a:close/>
                  <a:moveTo>
                    <a:pt x="84772" y="1097279"/>
                  </a:moveTo>
                  <a:cubicBezTo>
                    <a:pt x="89535" y="1097279"/>
                    <a:pt x="93345" y="1101089"/>
                    <a:pt x="93345" y="1105852"/>
                  </a:cubicBezTo>
                  <a:cubicBezTo>
                    <a:pt x="93345" y="1110614"/>
                    <a:pt x="89535" y="1114424"/>
                    <a:pt x="84772" y="1114424"/>
                  </a:cubicBezTo>
                  <a:cubicBezTo>
                    <a:pt x="80963" y="1114424"/>
                    <a:pt x="76200" y="1110614"/>
                    <a:pt x="76200" y="1105852"/>
                  </a:cubicBezTo>
                  <a:cubicBezTo>
                    <a:pt x="76200" y="1101089"/>
                    <a:pt x="80010" y="1097279"/>
                    <a:pt x="84772" y="1097279"/>
                  </a:cubicBezTo>
                  <a:close/>
                  <a:moveTo>
                    <a:pt x="1905952" y="1093470"/>
                  </a:moveTo>
                  <a:cubicBezTo>
                    <a:pt x="1906905" y="1093470"/>
                    <a:pt x="1907857" y="1094422"/>
                    <a:pt x="1907857" y="1095375"/>
                  </a:cubicBezTo>
                  <a:cubicBezTo>
                    <a:pt x="1907857" y="1096328"/>
                    <a:pt x="1906905" y="1097280"/>
                    <a:pt x="1905952" y="1097280"/>
                  </a:cubicBezTo>
                  <a:cubicBezTo>
                    <a:pt x="1905000" y="1097280"/>
                    <a:pt x="1905000" y="1096328"/>
                    <a:pt x="1904047" y="1095375"/>
                  </a:cubicBezTo>
                  <a:cubicBezTo>
                    <a:pt x="1904047" y="1094422"/>
                    <a:pt x="1905000" y="1093470"/>
                    <a:pt x="1905952" y="1093470"/>
                  </a:cubicBezTo>
                  <a:close/>
                  <a:moveTo>
                    <a:pt x="226695" y="1090612"/>
                  </a:moveTo>
                  <a:cubicBezTo>
                    <a:pt x="232410" y="1090612"/>
                    <a:pt x="238125" y="1095375"/>
                    <a:pt x="238125" y="1102042"/>
                  </a:cubicBezTo>
                  <a:cubicBezTo>
                    <a:pt x="238125" y="1107757"/>
                    <a:pt x="233363" y="1113472"/>
                    <a:pt x="226695" y="1113472"/>
                  </a:cubicBezTo>
                  <a:cubicBezTo>
                    <a:pt x="220980" y="1113472"/>
                    <a:pt x="215265" y="1107757"/>
                    <a:pt x="215265" y="1102042"/>
                  </a:cubicBezTo>
                  <a:cubicBezTo>
                    <a:pt x="215265" y="1096327"/>
                    <a:pt x="220028" y="1090612"/>
                    <a:pt x="226695" y="1090612"/>
                  </a:cubicBezTo>
                  <a:close/>
                  <a:moveTo>
                    <a:pt x="882967" y="1087754"/>
                  </a:moveTo>
                  <a:cubicBezTo>
                    <a:pt x="884873" y="1087754"/>
                    <a:pt x="885825" y="1089659"/>
                    <a:pt x="885825" y="1090612"/>
                  </a:cubicBezTo>
                  <a:cubicBezTo>
                    <a:pt x="885825" y="1092517"/>
                    <a:pt x="884873" y="1093469"/>
                    <a:pt x="882967" y="1093469"/>
                  </a:cubicBezTo>
                  <a:cubicBezTo>
                    <a:pt x="881062" y="1093469"/>
                    <a:pt x="880110" y="1092517"/>
                    <a:pt x="880110" y="1090612"/>
                  </a:cubicBezTo>
                  <a:cubicBezTo>
                    <a:pt x="880110" y="1088707"/>
                    <a:pt x="882015" y="1087754"/>
                    <a:pt x="882967" y="1087754"/>
                  </a:cubicBezTo>
                  <a:close/>
                  <a:moveTo>
                    <a:pt x="1824990" y="1083945"/>
                  </a:moveTo>
                  <a:cubicBezTo>
                    <a:pt x="1825943" y="1083945"/>
                    <a:pt x="1826895" y="1084897"/>
                    <a:pt x="1826895" y="1085850"/>
                  </a:cubicBezTo>
                  <a:cubicBezTo>
                    <a:pt x="1826895" y="1086803"/>
                    <a:pt x="1825943" y="1087755"/>
                    <a:pt x="1824990" y="1087755"/>
                  </a:cubicBezTo>
                  <a:cubicBezTo>
                    <a:pt x="1824038" y="1087755"/>
                    <a:pt x="1823085" y="1086803"/>
                    <a:pt x="1823085" y="1085850"/>
                  </a:cubicBezTo>
                  <a:cubicBezTo>
                    <a:pt x="1823085" y="1084897"/>
                    <a:pt x="1824038" y="1083945"/>
                    <a:pt x="1824990" y="1083945"/>
                  </a:cubicBezTo>
                  <a:close/>
                  <a:moveTo>
                    <a:pt x="776287" y="1082040"/>
                  </a:moveTo>
                  <a:cubicBezTo>
                    <a:pt x="778192" y="1082040"/>
                    <a:pt x="780097" y="1083945"/>
                    <a:pt x="780097" y="1085850"/>
                  </a:cubicBezTo>
                  <a:cubicBezTo>
                    <a:pt x="780097" y="1087755"/>
                    <a:pt x="778192" y="1089660"/>
                    <a:pt x="776287" y="1089660"/>
                  </a:cubicBezTo>
                  <a:cubicBezTo>
                    <a:pt x="774382" y="1089660"/>
                    <a:pt x="772477" y="1087755"/>
                    <a:pt x="772477" y="1085850"/>
                  </a:cubicBezTo>
                  <a:cubicBezTo>
                    <a:pt x="772477" y="1083945"/>
                    <a:pt x="774382" y="1082040"/>
                    <a:pt x="776287" y="1082040"/>
                  </a:cubicBezTo>
                  <a:close/>
                  <a:moveTo>
                    <a:pt x="372428" y="1081087"/>
                  </a:moveTo>
                  <a:cubicBezTo>
                    <a:pt x="380048" y="1081087"/>
                    <a:pt x="386715" y="1087754"/>
                    <a:pt x="386715" y="1095375"/>
                  </a:cubicBezTo>
                  <a:cubicBezTo>
                    <a:pt x="386715" y="1102995"/>
                    <a:pt x="380048" y="1109662"/>
                    <a:pt x="372428" y="1109662"/>
                  </a:cubicBezTo>
                  <a:cubicBezTo>
                    <a:pt x="364808" y="1109662"/>
                    <a:pt x="358140" y="1102995"/>
                    <a:pt x="358140" y="1095375"/>
                  </a:cubicBezTo>
                  <a:cubicBezTo>
                    <a:pt x="358140" y="1087754"/>
                    <a:pt x="364808" y="1081087"/>
                    <a:pt x="372428" y="1081087"/>
                  </a:cubicBezTo>
                  <a:close/>
                  <a:moveTo>
                    <a:pt x="521018" y="1077277"/>
                  </a:moveTo>
                  <a:cubicBezTo>
                    <a:pt x="526733" y="1077277"/>
                    <a:pt x="530543" y="1081087"/>
                    <a:pt x="530543" y="1086802"/>
                  </a:cubicBezTo>
                  <a:cubicBezTo>
                    <a:pt x="530543" y="1092517"/>
                    <a:pt x="525780" y="1096327"/>
                    <a:pt x="521018" y="1096327"/>
                  </a:cubicBezTo>
                  <a:cubicBezTo>
                    <a:pt x="516256" y="1096327"/>
                    <a:pt x="511493" y="1092517"/>
                    <a:pt x="511493" y="1086802"/>
                  </a:cubicBezTo>
                  <a:cubicBezTo>
                    <a:pt x="511493" y="1081087"/>
                    <a:pt x="516256" y="1077277"/>
                    <a:pt x="521018" y="1077277"/>
                  </a:cubicBezTo>
                  <a:close/>
                  <a:moveTo>
                    <a:pt x="675323" y="1069657"/>
                  </a:moveTo>
                  <a:cubicBezTo>
                    <a:pt x="678180" y="1069657"/>
                    <a:pt x="680085" y="1071562"/>
                    <a:pt x="680085" y="1074420"/>
                  </a:cubicBezTo>
                  <a:cubicBezTo>
                    <a:pt x="680085" y="1077277"/>
                    <a:pt x="678180" y="1079182"/>
                    <a:pt x="675323" y="1079182"/>
                  </a:cubicBezTo>
                  <a:cubicBezTo>
                    <a:pt x="673417" y="1079182"/>
                    <a:pt x="670560" y="1077277"/>
                    <a:pt x="670560" y="1074420"/>
                  </a:cubicBezTo>
                  <a:cubicBezTo>
                    <a:pt x="670560" y="1071562"/>
                    <a:pt x="672465" y="1069657"/>
                    <a:pt x="675323" y="1069657"/>
                  </a:cubicBezTo>
                  <a:close/>
                  <a:moveTo>
                    <a:pt x="142875" y="1065847"/>
                  </a:moveTo>
                  <a:cubicBezTo>
                    <a:pt x="149543" y="1065847"/>
                    <a:pt x="155258" y="1071562"/>
                    <a:pt x="155258" y="1078230"/>
                  </a:cubicBezTo>
                  <a:cubicBezTo>
                    <a:pt x="155258" y="1084897"/>
                    <a:pt x="149543" y="1090612"/>
                    <a:pt x="142875" y="1090612"/>
                  </a:cubicBezTo>
                  <a:cubicBezTo>
                    <a:pt x="136208" y="1090612"/>
                    <a:pt x="130493" y="1084897"/>
                    <a:pt x="130493" y="1078230"/>
                  </a:cubicBezTo>
                  <a:cubicBezTo>
                    <a:pt x="130493" y="1071562"/>
                    <a:pt x="136208" y="1065847"/>
                    <a:pt x="142875" y="1065847"/>
                  </a:cubicBezTo>
                  <a:close/>
                  <a:moveTo>
                    <a:pt x="2170748" y="1062990"/>
                  </a:moveTo>
                  <a:cubicBezTo>
                    <a:pt x="2173605" y="1062990"/>
                    <a:pt x="2175510" y="1064895"/>
                    <a:pt x="2175510" y="1067753"/>
                  </a:cubicBezTo>
                  <a:cubicBezTo>
                    <a:pt x="2175510" y="1070610"/>
                    <a:pt x="2173605" y="1072515"/>
                    <a:pt x="2170748" y="1072515"/>
                  </a:cubicBezTo>
                  <a:cubicBezTo>
                    <a:pt x="2167890" y="1072515"/>
                    <a:pt x="2165985" y="1070610"/>
                    <a:pt x="2165985" y="1067753"/>
                  </a:cubicBezTo>
                  <a:cubicBezTo>
                    <a:pt x="2165985" y="1064895"/>
                    <a:pt x="2167890" y="1062990"/>
                    <a:pt x="2170748" y="1062990"/>
                  </a:cubicBezTo>
                  <a:close/>
                  <a:moveTo>
                    <a:pt x="2244090" y="1062037"/>
                  </a:moveTo>
                  <a:cubicBezTo>
                    <a:pt x="2248853" y="1062037"/>
                    <a:pt x="2253615" y="1065847"/>
                    <a:pt x="2253615" y="1071562"/>
                  </a:cubicBezTo>
                  <a:cubicBezTo>
                    <a:pt x="2253615" y="1076325"/>
                    <a:pt x="2249805" y="1081087"/>
                    <a:pt x="2244090" y="1081087"/>
                  </a:cubicBezTo>
                  <a:cubicBezTo>
                    <a:pt x="2238375" y="1081087"/>
                    <a:pt x="2234565" y="1076325"/>
                    <a:pt x="2234565" y="1071562"/>
                  </a:cubicBezTo>
                  <a:cubicBezTo>
                    <a:pt x="2234565" y="1066800"/>
                    <a:pt x="2238375" y="1062037"/>
                    <a:pt x="2244090" y="1062037"/>
                  </a:cubicBezTo>
                  <a:close/>
                  <a:moveTo>
                    <a:pt x="2096452" y="1062037"/>
                  </a:moveTo>
                  <a:cubicBezTo>
                    <a:pt x="2097405" y="1062037"/>
                    <a:pt x="2098357" y="1062990"/>
                    <a:pt x="2098357" y="1063942"/>
                  </a:cubicBezTo>
                  <a:cubicBezTo>
                    <a:pt x="2098357" y="1064895"/>
                    <a:pt x="2097405" y="1065847"/>
                    <a:pt x="2096452" y="1065847"/>
                  </a:cubicBezTo>
                  <a:cubicBezTo>
                    <a:pt x="2095500" y="1065847"/>
                    <a:pt x="2094547" y="1064895"/>
                    <a:pt x="2094547" y="1063942"/>
                  </a:cubicBezTo>
                  <a:cubicBezTo>
                    <a:pt x="2094547" y="1062990"/>
                    <a:pt x="2095500" y="1062037"/>
                    <a:pt x="2096452" y="1062037"/>
                  </a:cubicBezTo>
                  <a:close/>
                  <a:moveTo>
                    <a:pt x="284798" y="1057275"/>
                  </a:moveTo>
                  <a:cubicBezTo>
                    <a:pt x="293370" y="1057275"/>
                    <a:pt x="300990" y="1064895"/>
                    <a:pt x="300990" y="1073467"/>
                  </a:cubicBezTo>
                  <a:cubicBezTo>
                    <a:pt x="300990" y="1082040"/>
                    <a:pt x="293370" y="1089660"/>
                    <a:pt x="284798" y="1089660"/>
                  </a:cubicBezTo>
                  <a:cubicBezTo>
                    <a:pt x="276225" y="1089660"/>
                    <a:pt x="268605" y="1082992"/>
                    <a:pt x="268605" y="1073467"/>
                  </a:cubicBezTo>
                  <a:cubicBezTo>
                    <a:pt x="268605" y="1064895"/>
                    <a:pt x="276225" y="1057275"/>
                    <a:pt x="284798" y="1057275"/>
                  </a:cubicBezTo>
                  <a:close/>
                  <a:moveTo>
                    <a:pt x="946785" y="1056322"/>
                  </a:moveTo>
                  <a:cubicBezTo>
                    <a:pt x="946785" y="1056322"/>
                    <a:pt x="947738" y="1056322"/>
                    <a:pt x="947738" y="1057275"/>
                  </a:cubicBezTo>
                  <a:cubicBezTo>
                    <a:pt x="947738" y="1057275"/>
                    <a:pt x="947738" y="1058227"/>
                    <a:pt x="946785" y="1058227"/>
                  </a:cubicBezTo>
                  <a:cubicBezTo>
                    <a:pt x="945833" y="1058227"/>
                    <a:pt x="945833" y="1057275"/>
                    <a:pt x="945833" y="1057275"/>
                  </a:cubicBezTo>
                  <a:cubicBezTo>
                    <a:pt x="945833" y="1057275"/>
                    <a:pt x="945833" y="1056322"/>
                    <a:pt x="946785" y="1056322"/>
                  </a:cubicBezTo>
                  <a:close/>
                  <a:moveTo>
                    <a:pt x="580073" y="1052512"/>
                  </a:moveTo>
                  <a:cubicBezTo>
                    <a:pt x="583883" y="1052512"/>
                    <a:pt x="586740" y="1055370"/>
                    <a:pt x="586740" y="1059179"/>
                  </a:cubicBezTo>
                  <a:cubicBezTo>
                    <a:pt x="586740" y="1062990"/>
                    <a:pt x="583883" y="1065847"/>
                    <a:pt x="580073" y="1065847"/>
                  </a:cubicBezTo>
                  <a:cubicBezTo>
                    <a:pt x="576263" y="1065847"/>
                    <a:pt x="573405" y="1062037"/>
                    <a:pt x="573405" y="1059179"/>
                  </a:cubicBezTo>
                  <a:cubicBezTo>
                    <a:pt x="573405" y="1055370"/>
                    <a:pt x="576263" y="1052512"/>
                    <a:pt x="580073" y="1052512"/>
                  </a:cubicBezTo>
                  <a:close/>
                  <a:moveTo>
                    <a:pt x="430530" y="1052512"/>
                  </a:moveTo>
                  <a:cubicBezTo>
                    <a:pt x="439103" y="1052512"/>
                    <a:pt x="445770" y="1059179"/>
                    <a:pt x="445770" y="1067752"/>
                  </a:cubicBezTo>
                  <a:cubicBezTo>
                    <a:pt x="445770" y="1076325"/>
                    <a:pt x="439103" y="1082992"/>
                    <a:pt x="430530" y="1082992"/>
                  </a:cubicBezTo>
                  <a:cubicBezTo>
                    <a:pt x="421958" y="1082992"/>
                    <a:pt x="415290" y="1076325"/>
                    <a:pt x="415290" y="1067752"/>
                  </a:cubicBezTo>
                  <a:cubicBezTo>
                    <a:pt x="415290" y="1059179"/>
                    <a:pt x="421958" y="1052512"/>
                    <a:pt x="430530" y="1052512"/>
                  </a:cubicBezTo>
                  <a:close/>
                  <a:moveTo>
                    <a:pt x="1944053" y="1051559"/>
                  </a:moveTo>
                  <a:cubicBezTo>
                    <a:pt x="1944053" y="1051559"/>
                    <a:pt x="1945005" y="1051559"/>
                    <a:pt x="1945005" y="1052512"/>
                  </a:cubicBezTo>
                  <a:cubicBezTo>
                    <a:pt x="1945005" y="1052512"/>
                    <a:pt x="1945005" y="1053464"/>
                    <a:pt x="1944053" y="1053464"/>
                  </a:cubicBezTo>
                  <a:cubicBezTo>
                    <a:pt x="1944053" y="1053464"/>
                    <a:pt x="1943100" y="1053464"/>
                    <a:pt x="1943100" y="1052512"/>
                  </a:cubicBezTo>
                  <a:cubicBezTo>
                    <a:pt x="1943100" y="1052512"/>
                    <a:pt x="1943100" y="1051559"/>
                    <a:pt x="1944053" y="1051559"/>
                  </a:cubicBezTo>
                  <a:close/>
                  <a:moveTo>
                    <a:pt x="838200" y="1051559"/>
                  </a:moveTo>
                  <a:cubicBezTo>
                    <a:pt x="840105" y="1051559"/>
                    <a:pt x="841057" y="1053464"/>
                    <a:pt x="841057" y="1054417"/>
                  </a:cubicBezTo>
                  <a:cubicBezTo>
                    <a:pt x="841057" y="1056322"/>
                    <a:pt x="839152" y="1057274"/>
                    <a:pt x="838200" y="1057274"/>
                  </a:cubicBezTo>
                  <a:cubicBezTo>
                    <a:pt x="836295" y="1057274"/>
                    <a:pt x="835342" y="1056322"/>
                    <a:pt x="835342" y="1054417"/>
                  </a:cubicBezTo>
                  <a:cubicBezTo>
                    <a:pt x="835342" y="1052512"/>
                    <a:pt x="836295" y="1051559"/>
                    <a:pt x="838200" y="1051559"/>
                  </a:cubicBezTo>
                  <a:close/>
                  <a:moveTo>
                    <a:pt x="1865947" y="1042987"/>
                  </a:moveTo>
                  <a:cubicBezTo>
                    <a:pt x="1866900" y="1042987"/>
                    <a:pt x="1867852" y="1043940"/>
                    <a:pt x="1867852" y="1044892"/>
                  </a:cubicBezTo>
                  <a:cubicBezTo>
                    <a:pt x="1867852" y="1045845"/>
                    <a:pt x="1866900" y="1046797"/>
                    <a:pt x="1865947" y="1046797"/>
                  </a:cubicBezTo>
                  <a:cubicBezTo>
                    <a:pt x="1864995" y="1046797"/>
                    <a:pt x="1864042" y="1045845"/>
                    <a:pt x="1864042" y="1044892"/>
                  </a:cubicBezTo>
                  <a:cubicBezTo>
                    <a:pt x="1864042" y="1043940"/>
                    <a:pt x="1864995" y="1042987"/>
                    <a:pt x="1865947" y="1042987"/>
                  </a:cubicBezTo>
                  <a:close/>
                  <a:moveTo>
                    <a:pt x="735330" y="1041082"/>
                  </a:moveTo>
                  <a:cubicBezTo>
                    <a:pt x="737235" y="1041082"/>
                    <a:pt x="739140" y="1042987"/>
                    <a:pt x="739140" y="1044892"/>
                  </a:cubicBezTo>
                  <a:cubicBezTo>
                    <a:pt x="739140" y="1046797"/>
                    <a:pt x="737235" y="1048702"/>
                    <a:pt x="735330" y="1048702"/>
                  </a:cubicBezTo>
                  <a:cubicBezTo>
                    <a:pt x="733425" y="1048702"/>
                    <a:pt x="732472" y="1046797"/>
                    <a:pt x="731520" y="1044892"/>
                  </a:cubicBezTo>
                  <a:cubicBezTo>
                    <a:pt x="731520" y="1042987"/>
                    <a:pt x="733425" y="1041082"/>
                    <a:pt x="735330" y="1041082"/>
                  </a:cubicBezTo>
                  <a:close/>
                  <a:moveTo>
                    <a:pt x="200977" y="1039177"/>
                  </a:moveTo>
                  <a:cubicBezTo>
                    <a:pt x="206692" y="1039177"/>
                    <a:pt x="212407" y="1043940"/>
                    <a:pt x="212407" y="1050607"/>
                  </a:cubicBezTo>
                  <a:cubicBezTo>
                    <a:pt x="212407" y="1056322"/>
                    <a:pt x="207645" y="1062037"/>
                    <a:pt x="200977" y="1062037"/>
                  </a:cubicBezTo>
                  <a:cubicBezTo>
                    <a:pt x="194310" y="1062037"/>
                    <a:pt x="188595" y="1057274"/>
                    <a:pt x="189547" y="1050607"/>
                  </a:cubicBezTo>
                  <a:cubicBezTo>
                    <a:pt x="189547" y="1044892"/>
                    <a:pt x="194310" y="1039177"/>
                    <a:pt x="200977" y="1039177"/>
                  </a:cubicBezTo>
                  <a:close/>
                  <a:moveTo>
                    <a:pt x="342901" y="1031557"/>
                  </a:moveTo>
                  <a:cubicBezTo>
                    <a:pt x="350520" y="1031557"/>
                    <a:pt x="357188" y="1038224"/>
                    <a:pt x="357188" y="1045845"/>
                  </a:cubicBezTo>
                  <a:cubicBezTo>
                    <a:pt x="357188" y="1053465"/>
                    <a:pt x="350520" y="1060132"/>
                    <a:pt x="342901" y="1060132"/>
                  </a:cubicBezTo>
                  <a:cubicBezTo>
                    <a:pt x="335281" y="1060132"/>
                    <a:pt x="328613" y="1053465"/>
                    <a:pt x="328613" y="1045845"/>
                  </a:cubicBezTo>
                  <a:cubicBezTo>
                    <a:pt x="328613" y="1038224"/>
                    <a:pt x="335281" y="1031557"/>
                    <a:pt x="342901" y="1031557"/>
                  </a:cubicBezTo>
                  <a:close/>
                  <a:moveTo>
                    <a:pt x="488633" y="1029652"/>
                  </a:moveTo>
                  <a:cubicBezTo>
                    <a:pt x="493894" y="1029652"/>
                    <a:pt x="498158" y="1033916"/>
                    <a:pt x="498158" y="1039177"/>
                  </a:cubicBezTo>
                  <a:cubicBezTo>
                    <a:pt x="498158" y="1044438"/>
                    <a:pt x="493894" y="1048702"/>
                    <a:pt x="488633" y="1048702"/>
                  </a:cubicBezTo>
                  <a:cubicBezTo>
                    <a:pt x="483372" y="1048702"/>
                    <a:pt x="479108" y="1044438"/>
                    <a:pt x="479108" y="1039177"/>
                  </a:cubicBezTo>
                  <a:cubicBezTo>
                    <a:pt x="479108" y="1033916"/>
                    <a:pt x="483372" y="1029652"/>
                    <a:pt x="488633" y="1029652"/>
                  </a:cubicBezTo>
                  <a:close/>
                  <a:moveTo>
                    <a:pt x="639128" y="1026795"/>
                  </a:moveTo>
                  <a:cubicBezTo>
                    <a:pt x="641033" y="1026795"/>
                    <a:pt x="642938" y="1028700"/>
                    <a:pt x="642938" y="1030605"/>
                  </a:cubicBezTo>
                  <a:cubicBezTo>
                    <a:pt x="642938" y="1032510"/>
                    <a:pt x="641033" y="1034415"/>
                    <a:pt x="639128" y="1034415"/>
                  </a:cubicBezTo>
                  <a:cubicBezTo>
                    <a:pt x="636270" y="1034415"/>
                    <a:pt x="634365" y="1032510"/>
                    <a:pt x="635318" y="1030605"/>
                  </a:cubicBezTo>
                  <a:cubicBezTo>
                    <a:pt x="635318" y="1028700"/>
                    <a:pt x="637223" y="1026795"/>
                    <a:pt x="639128" y="1026795"/>
                  </a:cubicBezTo>
                  <a:close/>
                  <a:moveTo>
                    <a:pt x="2342197" y="1020127"/>
                  </a:moveTo>
                  <a:cubicBezTo>
                    <a:pt x="2343150" y="1020127"/>
                    <a:pt x="2344102" y="1021079"/>
                    <a:pt x="2344102" y="1022032"/>
                  </a:cubicBezTo>
                  <a:cubicBezTo>
                    <a:pt x="2344102" y="1022984"/>
                    <a:pt x="2343150" y="1023937"/>
                    <a:pt x="2342197" y="1023937"/>
                  </a:cubicBezTo>
                  <a:cubicBezTo>
                    <a:pt x="2341245" y="1023937"/>
                    <a:pt x="2340292" y="1022984"/>
                    <a:pt x="2340292" y="1022032"/>
                  </a:cubicBezTo>
                  <a:cubicBezTo>
                    <a:pt x="2340292" y="1021079"/>
                    <a:pt x="2341245" y="1020127"/>
                    <a:pt x="2342197" y="1020127"/>
                  </a:cubicBezTo>
                  <a:close/>
                  <a:moveTo>
                    <a:pt x="119063" y="1015365"/>
                  </a:moveTo>
                  <a:cubicBezTo>
                    <a:pt x="124778" y="1015365"/>
                    <a:pt x="129540" y="1020128"/>
                    <a:pt x="129540" y="1025842"/>
                  </a:cubicBezTo>
                  <a:cubicBezTo>
                    <a:pt x="129540" y="1031557"/>
                    <a:pt x="124778" y="1036320"/>
                    <a:pt x="119063" y="1036320"/>
                  </a:cubicBezTo>
                  <a:cubicBezTo>
                    <a:pt x="113348" y="1036320"/>
                    <a:pt x="108585" y="1031557"/>
                    <a:pt x="108585" y="1025842"/>
                  </a:cubicBezTo>
                  <a:cubicBezTo>
                    <a:pt x="108585" y="1020128"/>
                    <a:pt x="113348" y="1015365"/>
                    <a:pt x="119063" y="1015365"/>
                  </a:cubicBezTo>
                  <a:close/>
                  <a:moveTo>
                    <a:pt x="259080" y="1013459"/>
                  </a:moveTo>
                  <a:cubicBezTo>
                    <a:pt x="263842" y="1013459"/>
                    <a:pt x="268605" y="1017269"/>
                    <a:pt x="268605" y="1022984"/>
                  </a:cubicBezTo>
                  <a:cubicBezTo>
                    <a:pt x="268605" y="1027747"/>
                    <a:pt x="264795" y="1032509"/>
                    <a:pt x="259080" y="1032509"/>
                  </a:cubicBezTo>
                  <a:cubicBezTo>
                    <a:pt x="253365" y="1032509"/>
                    <a:pt x="248602" y="1027747"/>
                    <a:pt x="249555" y="1022984"/>
                  </a:cubicBezTo>
                  <a:cubicBezTo>
                    <a:pt x="249555" y="1018222"/>
                    <a:pt x="253365" y="1013459"/>
                    <a:pt x="259080" y="1013459"/>
                  </a:cubicBezTo>
                  <a:close/>
                  <a:moveTo>
                    <a:pt x="795338" y="1012507"/>
                  </a:moveTo>
                  <a:cubicBezTo>
                    <a:pt x="797243" y="1012507"/>
                    <a:pt x="798195" y="1013459"/>
                    <a:pt x="798195" y="1015365"/>
                  </a:cubicBezTo>
                  <a:cubicBezTo>
                    <a:pt x="798195" y="1017270"/>
                    <a:pt x="797243" y="1018222"/>
                    <a:pt x="795338" y="1018222"/>
                  </a:cubicBezTo>
                  <a:cubicBezTo>
                    <a:pt x="794385" y="1018222"/>
                    <a:pt x="793433" y="1017270"/>
                    <a:pt x="792480" y="1015365"/>
                  </a:cubicBezTo>
                  <a:cubicBezTo>
                    <a:pt x="792480" y="1013459"/>
                    <a:pt x="793433" y="1012507"/>
                    <a:pt x="795338" y="1012507"/>
                  </a:cubicBezTo>
                  <a:close/>
                  <a:moveTo>
                    <a:pt x="2054542" y="1010602"/>
                  </a:moveTo>
                  <a:cubicBezTo>
                    <a:pt x="2054542" y="1010602"/>
                    <a:pt x="2055495" y="1010602"/>
                    <a:pt x="2055495" y="1011554"/>
                  </a:cubicBezTo>
                  <a:cubicBezTo>
                    <a:pt x="2055495" y="1011554"/>
                    <a:pt x="2055495" y="1012507"/>
                    <a:pt x="2054542" y="1012507"/>
                  </a:cubicBezTo>
                  <a:cubicBezTo>
                    <a:pt x="2053590" y="1012507"/>
                    <a:pt x="2052637" y="1012507"/>
                    <a:pt x="2053590" y="1011554"/>
                  </a:cubicBezTo>
                  <a:cubicBezTo>
                    <a:pt x="2053590" y="1011554"/>
                    <a:pt x="2054542" y="1010602"/>
                    <a:pt x="2054542" y="1010602"/>
                  </a:cubicBezTo>
                  <a:close/>
                  <a:moveTo>
                    <a:pt x="2127885" y="1009650"/>
                  </a:moveTo>
                  <a:cubicBezTo>
                    <a:pt x="2130742" y="1009650"/>
                    <a:pt x="2132647" y="1011555"/>
                    <a:pt x="2132647" y="1014413"/>
                  </a:cubicBezTo>
                  <a:cubicBezTo>
                    <a:pt x="2132647" y="1017270"/>
                    <a:pt x="2130742" y="1019175"/>
                    <a:pt x="2127885" y="1019175"/>
                  </a:cubicBezTo>
                  <a:cubicBezTo>
                    <a:pt x="2125027" y="1019175"/>
                    <a:pt x="2123122" y="1017270"/>
                    <a:pt x="2123122" y="1014413"/>
                  </a:cubicBezTo>
                  <a:cubicBezTo>
                    <a:pt x="2123122" y="1011555"/>
                    <a:pt x="2125027" y="1009650"/>
                    <a:pt x="2127885" y="1009650"/>
                  </a:cubicBezTo>
                  <a:close/>
                  <a:moveTo>
                    <a:pt x="2271713" y="1007745"/>
                  </a:moveTo>
                  <a:cubicBezTo>
                    <a:pt x="2278380" y="1007745"/>
                    <a:pt x="2284095" y="1013460"/>
                    <a:pt x="2284095" y="1020128"/>
                  </a:cubicBezTo>
                  <a:cubicBezTo>
                    <a:pt x="2284095" y="1026795"/>
                    <a:pt x="2278380" y="1032510"/>
                    <a:pt x="2271713" y="1032510"/>
                  </a:cubicBezTo>
                  <a:cubicBezTo>
                    <a:pt x="2265045" y="1032510"/>
                    <a:pt x="2259330" y="1026795"/>
                    <a:pt x="2259330" y="1020128"/>
                  </a:cubicBezTo>
                  <a:cubicBezTo>
                    <a:pt x="2259330" y="1013460"/>
                    <a:pt x="2265045" y="1007745"/>
                    <a:pt x="2271713" y="1007745"/>
                  </a:cubicBezTo>
                  <a:close/>
                  <a:moveTo>
                    <a:pt x="401002" y="1007745"/>
                  </a:moveTo>
                  <a:cubicBezTo>
                    <a:pt x="406717" y="1007745"/>
                    <a:pt x="411480" y="1012508"/>
                    <a:pt x="411480" y="1018222"/>
                  </a:cubicBezTo>
                  <a:cubicBezTo>
                    <a:pt x="411480" y="1023937"/>
                    <a:pt x="406717" y="1028700"/>
                    <a:pt x="401002" y="1028700"/>
                  </a:cubicBezTo>
                  <a:cubicBezTo>
                    <a:pt x="395287" y="1028700"/>
                    <a:pt x="389572" y="1023937"/>
                    <a:pt x="390525" y="1018222"/>
                  </a:cubicBezTo>
                  <a:cubicBezTo>
                    <a:pt x="390525" y="1012508"/>
                    <a:pt x="395287" y="1007745"/>
                    <a:pt x="401002" y="1007745"/>
                  </a:cubicBezTo>
                  <a:close/>
                  <a:moveTo>
                    <a:pt x="2200275" y="1006792"/>
                  </a:moveTo>
                  <a:cubicBezTo>
                    <a:pt x="2205990" y="1006792"/>
                    <a:pt x="2211705" y="1011555"/>
                    <a:pt x="2211705" y="1018222"/>
                  </a:cubicBezTo>
                  <a:cubicBezTo>
                    <a:pt x="2211705" y="1023937"/>
                    <a:pt x="2206942" y="1029652"/>
                    <a:pt x="2200275" y="1029652"/>
                  </a:cubicBezTo>
                  <a:cubicBezTo>
                    <a:pt x="2193608" y="1029652"/>
                    <a:pt x="2188845" y="1023937"/>
                    <a:pt x="2188845" y="1018222"/>
                  </a:cubicBezTo>
                  <a:cubicBezTo>
                    <a:pt x="2188845" y="1012507"/>
                    <a:pt x="2193608" y="1006792"/>
                    <a:pt x="2200275" y="1006792"/>
                  </a:cubicBezTo>
                  <a:close/>
                  <a:moveTo>
                    <a:pt x="1979295" y="1005840"/>
                  </a:moveTo>
                  <a:cubicBezTo>
                    <a:pt x="1979295" y="1005840"/>
                    <a:pt x="1980247" y="1005840"/>
                    <a:pt x="1980247" y="1006792"/>
                  </a:cubicBezTo>
                  <a:cubicBezTo>
                    <a:pt x="1980247" y="1006792"/>
                    <a:pt x="1980247" y="1007745"/>
                    <a:pt x="1979295" y="1007745"/>
                  </a:cubicBezTo>
                  <a:cubicBezTo>
                    <a:pt x="1979295" y="1007745"/>
                    <a:pt x="1978342" y="1007745"/>
                    <a:pt x="1978342" y="1006792"/>
                  </a:cubicBezTo>
                  <a:cubicBezTo>
                    <a:pt x="1978342" y="1006792"/>
                    <a:pt x="1979295" y="1005840"/>
                    <a:pt x="1979295" y="1005840"/>
                  </a:cubicBezTo>
                  <a:close/>
                  <a:moveTo>
                    <a:pt x="546735" y="1005840"/>
                  </a:moveTo>
                  <a:cubicBezTo>
                    <a:pt x="549592" y="1005840"/>
                    <a:pt x="552450" y="1008697"/>
                    <a:pt x="552450" y="1011555"/>
                  </a:cubicBezTo>
                  <a:cubicBezTo>
                    <a:pt x="552450" y="1014412"/>
                    <a:pt x="549592" y="1017270"/>
                    <a:pt x="546735" y="1017270"/>
                  </a:cubicBezTo>
                  <a:cubicBezTo>
                    <a:pt x="543877" y="1017270"/>
                    <a:pt x="541020" y="1014412"/>
                    <a:pt x="541020" y="1011555"/>
                  </a:cubicBezTo>
                  <a:cubicBezTo>
                    <a:pt x="541020" y="1008697"/>
                    <a:pt x="543877" y="1005840"/>
                    <a:pt x="546735" y="1005840"/>
                  </a:cubicBezTo>
                  <a:close/>
                  <a:moveTo>
                    <a:pt x="698183" y="1000125"/>
                  </a:moveTo>
                  <a:cubicBezTo>
                    <a:pt x="699135" y="1000125"/>
                    <a:pt x="700088" y="1001078"/>
                    <a:pt x="700088" y="1002030"/>
                  </a:cubicBezTo>
                  <a:cubicBezTo>
                    <a:pt x="700088" y="1002983"/>
                    <a:pt x="699135" y="1003935"/>
                    <a:pt x="698183" y="1003935"/>
                  </a:cubicBezTo>
                  <a:cubicBezTo>
                    <a:pt x="696278" y="1003935"/>
                    <a:pt x="695325" y="1002983"/>
                    <a:pt x="696278" y="1002030"/>
                  </a:cubicBezTo>
                  <a:cubicBezTo>
                    <a:pt x="696278" y="1001078"/>
                    <a:pt x="697230" y="1000125"/>
                    <a:pt x="698183" y="1000125"/>
                  </a:cubicBezTo>
                  <a:close/>
                  <a:moveTo>
                    <a:pt x="1824991" y="993457"/>
                  </a:moveTo>
                  <a:cubicBezTo>
                    <a:pt x="1824991" y="993457"/>
                    <a:pt x="1825943" y="993457"/>
                    <a:pt x="1825943" y="994409"/>
                  </a:cubicBezTo>
                  <a:cubicBezTo>
                    <a:pt x="1825943" y="994409"/>
                    <a:pt x="1825943" y="995362"/>
                    <a:pt x="1824991" y="995362"/>
                  </a:cubicBezTo>
                  <a:cubicBezTo>
                    <a:pt x="1824038" y="995362"/>
                    <a:pt x="1824038" y="995362"/>
                    <a:pt x="1824038" y="994409"/>
                  </a:cubicBezTo>
                  <a:cubicBezTo>
                    <a:pt x="1824038" y="994409"/>
                    <a:pt x="1824038" y="993457"/>
                    <a:pt x="1824991" y="993457"/>
                  </a:cubicBezTo>
                  <a:close/>
                  <a:moveTo>
                    <a:pt x="177166" y="989647"/>
                  </a:moveTo>
                  <a:cubicBezTo>
                    <a:pt x="181900" y="989647"/>
                    <a:pt x="185738" y="993485"/>
                    <a:pt x="185738" y="998220"/>
                  </a:cubicBezTo>
                  <a:cubicBezTo>
                    <a:pt x="185738" y="1002954"/>
                    <a:pt x="181900" y="1006792"/>
                    <a:pt x="177166" y="1006792"/>
                  </a:cubicBezTo>
                  <a:cubicBezTo>
                    <a:pt x="172431" y="1006792"/>
                    <a:pt x="168593" y="1002954"/>
                    <a:pt x="168593" y="998220"/>
                  </a:cubicBezTo>
                  <a:cubicBezTo>
                    <a:pt x="168593" y="993485"/>
                    <a:pt x="172431" y="989647"/>
                    <a:pt x="177166" y="989647"/>
                  </a:cubicBezTo>
                  <a:close/>
                  <a:moveTo>
                    <a:pt x="316230" y="984884"/>
                  </a:moveTo>
                  <a:cubicBezTo>
                    <a:pt x="320993" y="984884"/>
                    <a:pt x="325755" y="988694"/>
                    <a:pt x="325755" y="994409"/>
                  </a:cubicBezTo>
                  <a:cubicBezTo>
                    <a:pt x="325755" y="999172"/>
                    <a:pt x="321945" y="1003934"/>
                    <a:pt x="316230" y="1003934"/>
                  </a:cubicBezTo>
                  <a:cubicBezTo>
                    <a:pt x="311468" y="1003934"/>
                    <a:pt x="306705" y="1000124"/>
                    <a:pt x="306705" y="994409"/>
                  </a:cubicBezTo>
                  <a:cubicBezTo>
                    <a:pt x="306705" y="989647"/>
                    <a:pt x="310515" y="984884"/>
                    <a:pt x="316230" y="984884"/>
                  </a:cubicBezTo>
                  <a:close/>
                  <a:moveTo>
                    <a:pt x="856297" y="982979"/>
                  </a:moveTo>
                  <a:cubicBezTo>
                    <a:pt x="857250" y="982979"/>
                    <a:pt x="858202" y="983932"/>
                    <a:pt x="858202" y="984884"/>
                  </a:cubicBezTo>
                  <a:cubicBezTo>
                    <a:pt x="858202" y="985837"/>
                    <a:pt x="857250" y="986789"/>
                    <a:pt x="856297" y="986789"/>
                  </a:cubicBezTo>
                  <a:cubicBezTo>
                    <a:pt x="855345" y="986789"/>
                    <a:pt x="854392" y="985837"/>
                    <a:pt x="854392" y="984884"/>
                  </a:cubicBezTo>
                  <a:cubicBezTo>
                    <a:pt x="854392" y="983932"/>
                    <a:pt x="855345" y="982979"/>
                    <a:pt x="856297" y="982979"/>
                  </a:cubicBezTo>
                  <a:close/>
                  <a:moveTo>
                    <a:pt x="459105" y="981075"/>
                  </a:moveTo>
                  <a:cubicBezTo>
                    <a:pt x="463867" y="981075"/>
                    <a:pt x="468630" y="984885"/>
                    <a:pt x="468630" y="990600"/>
                  </a:cubicBezTo>
                  <a:cubicBezTo>
                    <a:pt x="468630" y="995363"/>
                    <a:pt x="464820" y="1000125"/>
                    <a:pt x="459105" y="1000125"/>
                  </a:cubicBezTo>
                  <a:cubicBezTo>
                    <a:pt x="453390" y="1000125"/>
                    <a:pt x="448627" y="995363"/>
                    <a:pt x="449580" y="990600"/>
                  </a:cubicBezTo>
                  <a:cubicBezTo>
                    <a:pt x="449580" y="985838"/>
                    <a:pt x="454342" y="981075"/>
                    <a:pt x="459105" y="981075"/>
                  </a:cubicBezTo>
                  <a:close/>
                  <a:moveTo>
                    <a:pt x="604837" y="979170"/>
                  </a:moveTo>
                  <a:cubicBezTo>
                    <a:pt x="606742" y="979170"/>
                    <a:pt x="608647" y="981075"/>
                    <a:pt x="608647" y="982980"/>
                  </a:cubicBezTo>
                  <a:cubicBezTo>
                    <a:pt x="608647" y="984885"/>
                    <a:pt x="606742" y="986790"/>
                    <a:pt x="604837" y="986790"/>
                  </a:cubicBezTo>
                  <a:cubicBezTo>
                    <a:pt x="602932" y="986790"/>
                    <a:pt x="601027" y="985837"/>
                    <a:pt x="601027" y="982980"/>
                  </a:cubicBezTo>
                  <a:cubicBezTo>
                    <a:pt x="601027" y="981075"/>
                    <a:pt x="602932" y="979170"/>
                    <a:pt x="604837" y="979170"/>
                  </a:cubicBezTo>
                  <a:close/>
                  <a:moveTo>
                    <a:pt x="757238" y="970597"/>
                  </a:moveTo>
                  <a:cubicBezTo>
                    <a:pt x="758190" y="970597"/>
                    <a:pt x="759143" y="971549"/>
                    <a:pt x="759143" y="972502"/>
                  </a:cubicBezTo>
                  <a:cubicBezTo>
                    <a:pt x="759143" y="973454"/>
                    <a:pt x="758190" y="974407"/>
                    <a:pt x="757238" y="974407"/>
                  </a:cubicBezTo>
                  <a:cubicBezTo>
                    <a:pt x="756285" y="974407"/>
                    <a:pt x="755333" y="973454"/>
                    <a:pt x="755333" y="972502"/>
                  </a:cubicBezTo>
                  <a:cubicBezTo>
                    <a:pt x="755333" y="971549"/>
                    <a:pt x="756285" y="970597"/>
                    <a:pt x="757238" y="970597"/>
                  </a:cubicBezTo>
                  <a:close/>
                  <a:moveTo>
                    <a:pt x="2366010" y="969645"/>
                  </a:moveTo>
                  <a:cubicBezTo>
                    <a:pt x="2366010" y="969645"/>
                    <a:pt x="2366962" y="969645"/>
                    <a:pt x="2366962" y="970597"/>
                  </a:cubicBezTo>
                  <a:cubicBezTo>
                    <a:pt x="2366962" y="970597"/>
                    <a:pt x="2366962" y="971550"/>
                    <a:pt x="2366010" y="971550"/>
                  </a:cubicBezTo>
                  <a:cubicBezTo>
                    <a:pt x="2365057" y="971550"/>
                    <a:pt x="2365057" y="970597"/>
                    <a:pt x="2365057" y="970597"/>
                  </a:cubicBezTo>
                  <a:cubicBezTo>
                    <a:pt x="2365057" y="970597"/>
                    <a:pt x="2365057" y="969645"/>
                    <a:pt x="2366010" y="969645"/>
                  </a:cubicBezTo>
                  <a:close/>
                  <a:moveTo>
                    <a:pt x="97156" y="962025"/>
                  </a:moveTo>
                  <a:cubicBezTo>
                    <a:pt x="102870" y="962025"/>
                    <a:pt x="107633" y="966788"/>
                    <a:pt x="107633" y="972502"/>
                  </a:cubicBezTo>
                  <a:cubicBezTo>
                    <a:pt x="107633" y="978217"/>
                    <a:pt x="102870" y="982980"/>
                    <a:pt x="97156" y="982980"/>
                  </a:cubicBezTo>
                  <a:cubicBezTo>
                    <a:pt x="91441" y="982980"/>
                    <a:pt x="86678" y="978217"/>
                    <a:pt x="86678" y="972502"/>
                  </a:cubicBezTo>
                  <a:cubicBezTo>
                    <a:pt x="86678" y="966788"/>
                    <a:pt x="91441" y="962025"/>
                    <a:pt x="97156" y="962025"/>
                  </a:cubicBezTo>
                  <a:close/>
                  <a:moveTo>
                    <a:pt x="2296478" y="961072"/>
                  </a:moveTo>
                  <a:cubicBezTo>
                    <a:pt x="2300288" y="961072"/>
                    <a:pt x="2304098" y="964882"/>
                    <a:pt x="2304098" y="968692"/>
                  </a:cubicBezTo>
                  <a:cubicBezTo>
                    <a:pt x="2304098" y="972502"/>
                    <a:pt x="2300288" y="976312"/>
                    <a:pt x="2296478" y="976312"/>
                  </a:cubicBezTo>
                  <a:cubicBezTo>
                    <a:pt x="2292668" y="976312"/>
                    <a:pt x="2288858" y="972502"/>
                    <a:pt x="2288858" y="968692"/>
                  </a:cubicBezTo>
                  <a:cubicBezTo>
                    <a:pt x="2288858" y="964882"/>
                    <a:pt x="2292668" y="961072"/>
                    <a:pt x="2296478" y="961072"/>
                  </a:cubicBezTo>
                  <a:close/>
                  <a:moveTo>
                    <a:pt x="235268" y="961072"/>
                  </a:moveTo>
                  <a:cubicBezTo>
                    <a:pt x="240030" y="961072"/>
                    <a:pt x="243840" y="964882"/>
                    <a:pt x="243840" y="969645"/>
                  </a:cubicBezTo>
                  <a:cubicBezTo>
                    <a:pt x="243840" y="974407"/>
                    <a:pt x="240030" y="978217"/>
                    <a:pt x="235268" y="978217"/>
                  </a:cubicBezTo>
                  <a:cubicBezTo>
                    <a:pt x="230505" y="978217"/>
                    <a:pt x="226695" y="974407"/>
                    <a:pt x="226695" y="969645"/>
                  </a:cubicBezTo>
                  <a:cubicBezTo>
                    <a:pt x="226695" y="964882"/>
                    <a:pt x="230505" y="961072"/>
                    <a:pt x="235268" y="961072"/>
                  </a:cubicBezTo>
                  <a:close/>
                  <a:moveTo>
                    <a:pt x="2155507" y="959167"/>
                  </a:moveTo>
                  <a:cubicBezTo>
                    <a:pt x="2158365" y="959167"/>
                    <a:pt x="2161222" y="962025"/>
                    <a:pt x="2161222" y="964882"/>
                  </a:cubicBezTo>
                  <a:cubicBezTo>
                    <a:pt x="2161222" y="967740"/>
                    <a:pt x="2158365" y="970597"/>
                    <a:pt x="2155507" y="970597"/>
                  </a:cubicBezTo>
                  <a:cubicBezTo>
                    <a:pt x="2152650" y="970597"/>
                    <a:pt x="2150745" y="967740"/>
                    <a:pt x="2149792" y="964882"/>
                  </a:cubicBezTo>
                  <a:cubicBezTo>
                    <a:pt x="2149792" y="962025"/>
                    <a:pt x="2152650" y="959167"/>
                    <a:pt x="2155507" y="959167"/>
                  </a:cubicBezTo>
                  <a:close/>
                  <a:moveTo>
                    <a:pt x="2226945" y="958214"/>
                  </a:moveTo>
                  <a:cubicBezTo>
                    <a:pt x="2231707" y="958214"/>
                    <a:pt x="2235517" y="962024"/>
                    <a:pt x="2235517" y="966787"/>
                  </a:cubicBezTo>
                  <a:cubicBezTo>
                    <a:pt x="2235517" y="971549"/>
                    <a:pt x="2231707" y="975359"/>
                    <a:pt x="2226945" y="975359"/>
                  </a:cubicBezTo>
                  <a:cubicBezTo>
                    <a:pt x="2222182" y="975359"/>
                    <a:pt x="2218372" y="971549"/>
                    <a:pt x="2218372" y="966787"/>
                  </a:cubicBezTo>
                  <a:cubicBezTo>
                    <a:pt x="2218372" y="962024"/>
                    <a:pt x="2222182" y="958214"/>
                    <a:pt x="2226945" y="958214"/>
                  </a:cubicBezTo>
                  <a:close/>
                  <a:moveTo>
                    <a:pt x="517208" y="957262"/>
                  </a:moveTo>
                  <a:cubicBezTo>
                    <a:pt x="520065" y="957262"/>
                    <a:pt x="521970" y="959167"/>
                    <a:pt x="521970" y="962025"/>
                  </a:cubicBezTo>
                  <a:cubicBezTo>
                    <a:pt x="521970" y="964882"/>
                    <a:pt x="520065" y="966787"/>
                    <a:pt x="517208" y="966787"/>
                  </a:cubicBezTo>
                  <a:cubicBezTo>
                    <a:pt x="514350" y="966787"/>
                    <a:pt x="512445" y="964882"/>
                    <a:pt x="512445" y="962025"/>
                  </a:cubicBezTo>
                  <a:cubicBezTo>
                    <a:pt x="512445" y="959167"/>
                    <a:pt x="514350" y="957262"/>
                    <a:pt x="517208" y="957262"/>
                  </a:cubicBezTo>
                  <a:close/>
                  <a:moveTo>
                    <a:pt x="374332" y="955357"/>
                  </a:moveTo>
                  <a:cubicBezTo>
                    <a:pt x="380047" y="955357"/>
                    <a:pt x="385762" y="960120"/>
                    <a:pt x="385762" y="966787"/>
                  </a:cubicBezTo>
                  <a:cubicBezTo>
                    <a:pt x="385762" y="972502"/>
                    <a:pt x="381000" y="978217"/>
                    <a:pt x="374332" y="978217"/>
                  </a:cubicBezTo>
                  <a:cubicBezTo>
                    <a:pt x="367665" y="978217"/>
                    <a:pt x="362902" y="973454"/>
                    <a:pt x="362902" y="966787"/>
                  </a:cubicBezTo>
                  <a:cubicBezTo>
                    <a:pt x="362902" y="961072"/>
                    <a:pt x="368617" y="955357"/>
                    <a:pt x="374332" y="955357"/>
                  </a:cubicBezTo>
                  <a:close/>
                  <a:moveTo>
                    <a:pt x="663892" y="951547"/>
                  </a:moveTo>
                  <a:cubicBezTo>
                    <a:pt x="665798" y="951547"/>
                    <a:pt x="666750" y="953452"/>
                    <a:pt x="666750" y="954404"/>
                  </a:cubicBezTo>
                  <a:cubicBezTo>
                    <a:pt x="666750" y="956310"/>
                    <a:pt x="665798" y="957262"/>
                    <a:pt x="663892" y="957262"/>
                  </a:cubicBezTo>
                  <a:cubicBezTo>
                    <a:pt x="661987" y="957262"/>
                    <a:pt x="661035" y="956310"/>
                    <a:pt x="661035" y="954404"/>
                  </a:cubicBezTo>
                  <a:cubicBezTo>
                    <a:pt x="661035" y="952499"/>
                    <a:pt x="662940" y="951547"/>
                    <a:pt x="663892" y="951547"/>
                  </a:cubicBezTo>
                  <a:close/>
                  <a:moveTo>
                    <a:pt x="20003" y="944879"/>
                  </a:moveTo>
                  <a:cubicBezTo>
                    <a:pt x="20003" y="944879"/>
                    <a:pt x="20955" y="944879"/>
                    <a:pt x="20955" y="945832"/>
                  </a:cubicBezTo>
                  <a:cubicBezTo>
                    <a:pt x="20955" y="945832"/>
                    <a:pt x="20955" y="946784"/>
                    <a:pt x="20003" y="946784"/>
                  </a:cubicBezTo>
                  <a:cubicBezTo>
                    <a:pt x="19050" y="946784"/>
                    <a:pt x="19050" y="946784"/>
                    <a:pt x="19050" y="945832"/>
                  </a:cubicBezTo>
                  <a:cubicBezTo>
                    <a:pt x="19050" y="945832"/>
                    <a:pt x="20003" y="944879"/>
                    <a:pt x="20003" y="944879"/>
                  </a:cubicBezTo>
                  <a:close/>
                  <a:moveTo>
                    <a:pt x="816293" y="941070"/>
                  </a:moveTo>
                  <a:cubicBezTo>
                    <a:pt x="817246" y="941070"/>
                    <a:pt x="818198" y="942022"/>
                    <a:pt x="818198" y="942975"/>
                  </a:cubicBezTo>
                  <a:cubicBezTo>
                    <a:pt x="818198" y="943927"/>
                    <a:pt x="817246" y="944880"/>
                    <a:pt x="816293" y="944880"/>
                  </a:cubicBezTo>
                  <a:cubicBezTo>
                    <a:pt x="816293" y="944880"/>
                    <a:pt x="814388" y="943927"/>
                    <a:pt x="814388" y="942975"/>
                  </a:cubicBezTo>
                  <a:cubicBezTo>
                    <a:pt x="814388" y="942022"/>
                    <a:pt x="815340" y="941070"/>
                    <a:pt x="816293" y="941070"/>
                  </a:cubicBezTo>
                  <a:close/>
                  <a:moveTo>
                    <a:pt x="156210" y="935354"/>
                  </a:moveTo>
                  <a:cubicBezTo>
                    <a:pt x="160973" y="935354"/>
                    <a:pt x="164783" y="939164"/>
                    <a:pt x="164783" y="943927"/>
                  </a:cubicBezTo>
                  <a:cubicBezTo>
                    <a:pt x="164783" y="948689"/>
                    <a:pt x="160973" y="952499"/>
                    <a:pt x="156210" y="952499"/>
                  </a:cubicBezTo>
                  <a:cubicBezTo>
                    <a:pt x="151448" y="952499"/>
                    <a:pt x="147638" y="948689"/>
                    <a:pt x="147638" y="943927"/>
                  </a:cubicBezTo>
                  <a:cubicBezTo>
                    <a:pt x="147638" y="939164"/>
                    <a:pt x="151448" y="935354"/>
                    <a:pt x="156210" y="935354"/>
                  </a:cubicBezTo>
                  <a:close/>
                  <a:moveTo>
                    <a:pt x="293370" y="931545"/>
                  </a:moveTo>
                  <a:cubicBezTo>
                    <a:pt x="299086" y="931545"/>
                    <a:pt x="303848" y="936308"/>
                    <a:pt x="303848" y="942022"/>
                  </a:cubicBezTo>
                  <a:cubicBezTo>
                    <a:pt x="303848" y="947737"/>
                    <a:pt x="299086" y="952500"/>
                    <a:pt x="293370" y="952500"/>
                  </a:cubicBezTo>
                  <a:cubicBezTo>
                    <a:pt x="286703" y="952500"/>
                    <a:pt x="282893" y="947737"/>
                    <a:pt x="282893" y="942022"/>
                  </a:cubicBezTo>
                  <a:cubicBezTo>
                    <a:pt x="282893" y="936308"/>
                    <a:pt x="287656" y="931545"/>
                    <a:pt x="293370" y="931545"/>
                  </a:cubicBezTo>
                  <a:close/>
                  <a:moveTo>
                    <a:pt x="575311" y="929639"/>
                  </a:moveTo>
                  <a:cubicBezTo>
                    <a:pt x="578168" y="929639"/>
                    <a:pt x="580073" y="931544"/>
                    <a:pt x="580073" y="934402"/>
                  </a:cubicBezTo>
                  <a:cubicBezTo>
                    <a:pt x="580073" y="937259"/>
                    <a:pt x="578168" y="939164"/>
                    <a:pt x="575311" y="939164"/>
                  </a:cubicBezTo>
                  <a:cubicBezTo>
                    <a:pt x="572453" y="939164"/>
                    <a:pt x="570548" y="936307"/>
                    <a:pt x="570548" y="934402"/>
                  </a:cubicBezTo>
                  <a:cubicBezTo>
                    <a:pt x="570548" y="931544"/>
                    <a:pt x="572453" y="929639"/>
                    <a:pt x="575311" y="929639"/>
                  </a:cubicBezTo>
                  <a:close/>
                  <a:moveTo>
                    <a:pt x="432436" y="929639"/>
                  </a:moveTo>
                  <a:cubicBezTo>
                    <a:pt x="437198" y="929639"/>
                    <a:pt x="441008" y="933449"/>
                    <a:pt x="441008" y="938212"/>
                  </a:cubicBezTo>
                  <a:cubicBezTo>
                    <a:pt x="441008" y="942974"/>
                    <a:pt x="437198" y="946784"/>
                    <a:pt x="432436" y="946784"/>
                  </a:cubicBezTo>
                  <a:cubicBezTo>
                    <a:pt x="427673" y="946784"/>
                    <a:pt x="423863" y="942974"/>
                    <a:pt x="423863" y="938212"/>
                  </a:cubicBezTo>
                  <a:cubicBezTo>
                    <a:pt x="423863" y="933449"/>
                    <a:pt x="427673" y="929639"/>
                    <a:pt x="432436" y="929639"/>
                  </a:cubicBezTo>
                  <a:close/>
                  <a:moveTo>
                    <a:pt x="721995" y="924877"/>
                  </a:moveTo>
                  <a:cubicBezTo>
                    <a:pt x="722948" y="924877"/>
                    <a:pt x="723900" y="925829"/>
                    <a:pt x="723900" y="926782"/>
                  </a:cubicBezTo>
                  <a:cubicBezTo>
                    <a:pt x="723900" y="927735"/>
                    <a:pt x="722948" y="928687"/>
                    <a:pt x="721995" y="928687"/>
                  </a:cubicBezTo>
                  <a:cubicBezTo>
                    <a:pt x="721042" y="928687"/>
                    <a:pt x="720090" y="927735"/>
                    <a:pt x="720090" y="926782"/>
                  </a:cubicBezTo>
                  <a:cubicBezTo>
                    <a:pt x="720090" y="925829"/>
                    <a:pt x="721042" y="924877"/>
                    <a:pt x="721995" y="924877"/>
                  </a:cubicBezTo>
                  <a:close/>
                  <a:moveTo>
                    <a:pt x="2319337" y="914400"/>
                  </a:moveTo>
                  <a:cubicBezTo>
                    <a:pt x="2319337" y="914400"/>
                    <a:pt x="2320290" y="914400"/>
                    <a:pt x="2320290" y="915352"/>
                  </a:cubicBezTo>
                  <a:cubicBezTo>
                    <a:pt x="2320290" y="915352"/>
                    <a:pt x="2320290" y="916305"/>
                    <a:pt x="2319337" y="916305"/>
                  </a:cubicBezTo>
                  <a:cubicBezTo>
                    <a:pt x="2318384" y="916305"/>
                    <a:pt x="2317432" y="916305"/>
                    <a:pt x="2318384" y="915352"/>
                  </a:cubicBezTo>
                  <a:cubicBezTo>
                    <a:pt x="2318384" y="915352"/>
                    <a:pt x="2318384" y="914400"/>
                    <a:pt x="2319337" y="914400"/>
                  </a:cubicBezTo>
                  <a:close/>
                  <a:moveTo>
                    <a:pt x="2181225" y="909637"/>
                  </a:moveTo>
                  <a:cubicBezTo>
                    <a:pt x="2183130" y="909637"/>
                    <a:pt x="2184082" y="911542"/>
                    <a:pt x="2184082" y="912495"/>
                  </a:cubicBezTo>
                  <a:cubicBezTo>
                    <a:pt x="2184082" y="914400"/>
                    <a:pt x="2182177" y="915352"/>
                    <a:pt x="2181225" y="915352"/>
                  </a:cubicBezTo>
                  <a:cubicBezTo>
                    <a:pt x="2179320" y="915352"/>
                    <a:pt x="2178367" y="914400"/>
                    <a:pt x="2178367" y="912495"/>
                  </a:cubicBezTo>
                  <a:cubicBezTo>
                    <a:pt x="2178367" y="910589"/>
                    <a:pt x="2180272" y="909637"/>
                    <a:pt x="2181225" y="909637"/>
                  </a:cubicBezTo>
                  <a:close/>
                  <a:moveTo>
                    <a:pt x="214313" y="907732"/>
                  </a:moveTo>
                  <a:cubicBezTo>
                    <a:pt x="219047" y="907732"/>
                    <a:pt x="222885" y="911570"/>
                    <a:pt x="222885" y="916304"/>
                  </a:cubicBezTo>
                  <a:cubicBezTo>
                    <a:pt x="222885" y="921039"/>
                    <a:pt x="219047" y="924877"/>
                    <a:pt x="214313" y="924877"/>
                  </a:cubicBezTo>
                  <a:cubicBezTo>
                    <a:pt x="209578" y="924877"/>
                    <a:pt x="205740" y="921039"/>
                    <a:pt x="205740" y="916304"/>
                  </a:cubicBezTo>
                  <a:cubicBezTo>
                    <a:pt x="205740" y="911570"/>
                    <a:pt x="209578" y="907732"/>
                    <a:pt x="214313" y="907732"/>
                  </a:cubicBezTo>
                  <a:close/>
                  <a:moveTo>
                    <a:pt x="78106" y="907732"/>
                  </a:moveTo>
                  <a:cubicBezTo>
                    <a:pt x="83820" y="907732"/>
                    <a:pt x="88583" y="912495"/>
                    <a:pt x="88583" y="918209"/>
                  </a:cubicBezTo>
                  <a:cubicBezTo>
                    <a:pt x="88583" y="923924"/>
                    <a:pt x="83820" y="928687"/>
                    <a:pt x="78106" y="928687"/>
                  </a:cubicBezTo>
                  <a:cubicBezTo>
                    <a:pt x="72391" y="928687"/>
                    <a:pt x="67628" y="923924"/>
                    <a:pt x="67628" y="918209"/>
                  </a:cubicBezTo>
                  <a:cubicBezTo>
                    <a:pt x="67628" y="912495"/>
                    <a:pt x="72391" y="907732"/>
                    <a:pt x="78106" y="907732"/>
                  </a:cubicBezTo>
                  <a:close/>
                  <a:moveTo>
                    <a:pt x="2249805" y="906779"/>
                  </a:moveTo>
                  <a:cubicBezTo>
                    <a:pt x="2253615" y="906779"/>
                    <a:pt x="2257425" y="910589"/>
                    <a:pt x="2257425" y="914399"/>
                  </a:cubicBezTo>
                  <a:cubicBezTo>
                    <a:pt x="2257425" y="918209"/>
                    <a:pt x="2253615" y="922019"/>
                    <a:pt x="2249805" y="922019"/>
                  </a:cubicBezTo>
                  <a:cubicBezTo>
                    <a:pt x="2245995" y="922019"/>
                    <a:pt x="2243138" y="918209"/>
                    <a:pt x="2242185" y="914399"/>
                  </a:cubicBezTo>
                  <a:cubicBezTo>
                    <a:pt x="2242185" y="910589"/>
                    <a:pt x="2245995" y="906779"/>
                    <a:pt x="2249805" y="906779"/>
                  </a:cubicBezTo>
                  <a:close/>
                  <a:moveTo>
                    <a:pt x="632460" y="904875"/>
                  </a:moveTo>
                  <a:cubicBezTo>
                    <a:pt x="633413" y="904875"/>
                    <a:pt x="634365" y="905827"/>
                    <a:pt x="634365" y="906780"/>
                  </a:cubicBezTo>
                  <a:cubicBezTo>
                    <a:pt x="634365" y="907733"/>
                    <a:pt x="633413" y="908685"/>
                    <a:pt x="632460" y="908685"/>
                  </a:cubicBezTo>
                  <a:cubicBezTo>
                    <a:pt x="631508" y="908685"/>
                    <a:pt x="630555" y="907733"/>
                    <a:pt x="630555" y="906780"/>
                  </a:cubicBezTo>
                  <a:cubicBezTo>
                    <a:pt x="630555" y="905827"/>
                    <a:pt x="631508" y="904875"/>
                    <a:pt x="632460" y="904875"/>
                  </a:cubicBezTo>
                  <a:close/>
                  <a:moveTo>
                    <a:pt x="490538" y="904875"/>
                  </a:moveTo>
                  <a:cubicBezTo>
                    <a:pt x="494348" y="904875"/>
                    <a:pt x="496253" y="907733"/>
                    <a:pt x="496253" y="910590"/>
                  </a:cubicBezTo>
                  <a:cubicBezTo>
                    <a:pt x="496253" y="913448"/>
                    <a:pt x="493395" y="916305"/>
                    <a:pt x="490538" y="916305"/>
                  </a:cubicBezTo>
                  <a:cubicBezTo>
                    <a:pt x="487680" y="916305"/>
                    <a:pt x="484823" y="913448"/>
                    <a:pt x="484823" y="910590"/>
                  </a:cubicBezTo>
                  <a:cubicBezTo>
                    <a:pt x="484823" y="907733"/>
                    <a:pt x="487680" y="904875"/>
                    <a:pt x="490538" y="904875"/>
                  </a:cubicBezTo>
                  <a:close/>
                  <a:moveTo>
                    <a:pt x="350520" y="902970"/>
                  </a:moveTo>
                  <a:cubicBezTo>
                    <a:pt x="356235" y="902970"/>
                    <a:pt x="361950" y="907733"/>
                    <a:pt x="361950" y="914400"/>
                  </a:cubicBezTo>
                  <a:cubicBezTo>
                    <a:pt x="361950" y="920115"/>
                    <a:pt x="357188" y="925830"/>
                    <a:pt x="350520" y="925830"/>
                  </a:cubicBezTo>
                  <a:cubicBezTo>
                    <a:pt x="344805" y="925830"/>
                    <a:pt x="339090" y="920115"/>
                    <a:pt x="339090" y="914400"/>
                  </a:cubicBezTo>
                  <a:cubicBezTo>
                    <a:pt x="339090" y="908685"/>
                    <a:pt x="343853" y="902970"/>
                    <a:pt x="350520" y="902970"/>
                  </a:cubicBezTo>
                  <a:close/>
                  <a:moveTo>
                    <a:pt x="2858" y="887729"/>
                  </a:moveTo>
                  <a:cubicBezTo>
                    <a:pt x="4763" y="887729"/>
                    <a:pt x="5715" y="888682"/>
                    <a:pt x="5715" y="890587"/>
                  </a:cubicBezTo>
                  <a:cubicBezTo>
                    <a:pt x="5715" y="892492"/>
                    <a:pt x="4763" y="893444"/>
                    <a:pt x="2858" y="893444"/>
                  </a:cubicBezTo>
                  <a:cubicBezTo>
                    <a:pt x="1905" y="893444"/>
                    <a:pt x="0" y="892492"/>
                    <a:pt x="0" y="890587"/>
                  </a:cubicBezTo>
                  <a:cubicBezTo>
                    <a:pt x="0" y="888682"/>
                    <a:pt x="953" y="887729"/>
                    <a:pt x="2858" y="887729"/>
                  </a:cubicBezTo>
                  <a:close/>
                  <a:moveTo>
                    <a:pt x="137160" y="882014"/>
                  </a:moveTo>
                  <a:cubicBezTo>
                    <a:pt x="140970" y="882014"/>
                    <a:pt x="144780" y="885824"/>
                    <a:pt x="144780" y="889634"/>
                  </a:cubicBezTo>
                  <a:cubicBezTo>
                    <a:pt x="144780" y="893444"/>
                    <a:pt x="140970" y="897254"/>
                    <a:pt x="137160" y="897254"/>
                  </a:cubicBezTo>
                  <a:cubicBezTo>
                    <a:pt x="133350" y="897254"/>
                    <a:pt x="129540" y="893444"/>
                    <a:pt x="129540" y="889634"/>
                  </a:cubicBezTo>
                  <a:cubicBezTo>
                    <a:pt x="129540" y="885824"/>
                    <a:pt x="133350" y="882014"/>
                    <a:pt x="137160" y="882014"/>
                  </a:cubicBezTo>
                  <a:close/>
                  <a:moveTo>
                    <a:pt x="547688" y="880110"/>
                  </a:moveTo>
                  <a:cubicBezTo>
                    <a:pt x="548640" y="880110"/>
                    <a:pt x="550545" y="881062"/>
                    <a:pt x="550545" y="882967"/>
                  </a:cubicBezTo>
                  <a:cubicBezTo>
                    <a:pt x="550545" y="883920"/>
                    <a:pt x="549593" y="885825"/>
                    <a:pt x="547688" y="885825"/>
                  </a:cubicBezTo>
                  <a:cubicBezTo>
                    <a:pt x="546735" y="885825"/>
                    <a:pt x="544830" y="884873"/>
                    <a:pt x="544830" y="882967"/>
                  </a:cubicBezTo>
                  <a:cubicBezTo>
                    <a:pt x="544830" y="882015"/>
                    <a:pt x="545783" y="880110"/>
                    <a:pt x="547688" y="880110"/>
                  </a:cubicBezTo>
                  <a:close/>
                  <a:moveTo>
                    <a:pt x="408623" y="880110"/>
                  </a:moveTo>
                  <a:cubicBezTo>
                    <a:pt x="412432" y="880110"/>
                    <a:pt x="415290" y="882967"/>
                    <a:pt x="415290" y="886777"/>
                  </a:cubicBezTo>
                  <a:cubicBezTo>
                    <a:pt x="415290" y="890587"/>
                    <a:pt x="412432" y="893445"/>
                    <a:pt x="408623" y="893445"/>
                  </a:cubicBezTo>
                  <a:cubicBezTo>
                    <a:pt x="404812" y="893445"/>
                    <a:pt x="401955" y="889635"/>
                    <a:pt x="401955" y="886777"/>
                  </a:cubicBezTo>
                  <a:cubicBezTo>
                    <a:pt x="401955" y="882967"/>
                    <a:pt x="404812" y="880110"/>
                    <a:pt x="408623" y="880110"/>
                  </a:cubicBezTo>
                  <a:close/>
                  <a:moveTo>
                    <a:pt x="272415" y="879157"/>
                  </a:moveTo>
                  <a:cubicBezTo>
                    <a:pt x="277178" y="879157"/>
                    <a:pt x="280988" y="882967"/>
                    <a:pt x="280988" y="887729"/>
                  </a:cubicBezTo>
                  <a:cubicBezTo>
                    <a:pt x="280988" y="892492"/>
                    <a:pt x="277178" y="896302"/>
                    <a:pt x="272415" y="896302"/>
                  </a:cubicBezTo>
                  <a:cubicBezTo>
                    <a:pt x="267653" y="896302"/>
                    <a:pt x="263843" y="892492"/>
                    <a:pt x="263843" y="887729"/>
                  </a:cubicBezTo>
                  <a:cubicBezTo>
                    <a:pt x="263843" y="882967"/>
                    <a:pt x="267653" y="879157"/>
                    <a:pt x="272415" y="879157"/>
                  </a:cubicBezTo>
                  <a:close/>
                  <a:moveTo>
                    <a:pt x="690563" y="875347"/>
                  </a:moveTo>
                  <a:cubicBezTo>
                    <a:pt x="692468" y="875347"/>
                    <a:pt x="693420" y="876299"/>
                    <a:pt x="693420" y="878204"/>
                  </a:cubicBezTo>
                  <a:cubicBezTo>
                    <a:pt x="693420" y="880110"/>
                    <a:pt x="691515" y="881062"/>
                    <a:pt x="690563" y="881062"/>
                  </a:cubicBezTo>
                  <a:cubicBezTo>
                    <a:pt x="689610" y="881062"/>
                    <a:pt x="688658" y="879157"/>
                    <a:pt x="687705" y="878204"/>
                  </a:cubicBezTo>
                  <a:cubicBezTo>
                    <a:pt x="687705" y="876299"/>
                    <a:pt x="689610" y="875347"/>
                    <a:pt x="690563" y="875347"/>
                  </a:cubicBezTo>
                  <a:close/>
                  <a:moveTo>
                    <a:pt x="2338388" y="860107"/>
                  </a:moveTo>
                  <a:cubicBezTo>
                    <a:pt x="2338388" y="860107"/>
                    <a:pt x="2339340" y="860107"/>
                    <a:pt x="2339340" y="861059"/>
                  </a:cubicBezTo>
                  <a:cubicBezTo>
                    <a:pt x="2339340" y="861059"/>
                    <a:pt x="2339340" y="862012"/>
                    <a:pt x="2338388" y="862012"/>
                  </a:cubicBezTo>
                  <a:cubicBezTo>
                    <a:pt x="2337435" y="862012"/>
                    <a:pt x="2337435" y="862012"/>
                    <a:pt x="2337435" y="861059"/>
                  </a:cubicBezTo>
                  <a:cubicBezTo>
                    <a:pt x="2337435" y="861059"/>
                    <a:pt x="2337435" y="860107"/>
                    <a:pt x="2338388" y="860107"/>
                  </a:cubicBezTo>
                  <a:close/>
                  <a:moveTo>
                    <a:pt x="61913" y="859154"/>
                  </a:moveTo>
                  <a:cubicBezTo>
                    <a:pt x="63818" y="859154"/>
                    <a:pt x="64770" y="860107"/>
                    <a:pt x="64770" y="862012"/>
                  </a:cubicBezTo>
                  <a:cubicBezTo>
                    <a:pt x="64770" y="863917"/>
                    <a:pt x="63818" y="864869"/>
                    <a:pt x="61913" y="864869"/>
                  </a:cubicBezTo>
                  <a:cubicBezTo>
                    <a:pt x="60008" y="864869"/>
                    <a:pt x="59055" y="863917"/>
                    <a:pt x="59055" y="862012"/>
                  </a:cubicBezTo>
                  <a:cubicBezTo>
                    <a:pt x="59055" y="860107"/>
                    <a:pt x="60008" y="859154"/>
                    <a:pt x="61913" y="859154"/>
                  </a:cubicBezTo>
                  <a:close/>
                  <a:moveTo>
                    <a:pt x="2270760" y="855345"/>
                  </a:moveTo>
                  <a:cubicBezTo>
                    <a:pt x="2273617" y="855345"/>
                    <a:pt x="2275522" y="857250"/>
                    <a:pt x="2275522" y="860108"/>
                  </a:cubicBezTo>
                  <a:cubicBezTo>
                    <a:pt x="2275522" y="862965"/>
                    <a:pt x="2273617" y="864870"/>
                    <a:pt x="2270760" y="864870"/>
                  </a:cubicBezTo>
                  <a:cubicBezTo>
                    <a:pt x="2267902" y="864870"/>
                    <a:pt x="2265997" y="862965"/>
                    <a:pt x="2265997" y="860108"/>
                  </a:cubicBezTo>
                  <a:cubicBezTo>
                    <a:pt x="2265997" y="857250"/>
                    <a:pt x="2267902" y="855345"/>
                    <a:pt x="2270760" y="855345"/>
                  </a:cubicBezTo>
                  <a:close/>
                  <a:moveTo>
                    <a:pt x="2134553" y="855345"/>
                  </a:moveTo>
                  <a:cubicBezTo>
                    <a:pt x="2136458" y="855345"/>
                    <a:pt x="2137410" y="857250"/>
                    <a:pt x="2137410" y="858202"/>
                  </a:cubicBezTo>
                  <a:cubicBezTo>
                    <a:pt x="2137410" y="860108"/>
                    <a:pt x="2135505" y="861060"/>
                    <a:pt x="2134553" y="861060"/>
                  </a:cubicBezTo>
                  <a:cubicBezTo>
                    <a:pt x="2132647" y="861060"/>
                    <a:pt x="2131695" y="860108"/>
                    <a:pt x="2131695" y="858202"/>
                  </a:cubicBezTo>
                  <a:cubicBezTo>
                    <a:pt x="2131695" y="856297"/>
                    <a:pt x="2132647" y="855345"/>
                    <a:pt x="2134553" y="855345"/>
                  </a:cubicBezTo>
                  <a:close/>
                  <a:moveTo>
                    <a:pt x="2203133" y="853439"/>
                  </a:moveTo>
                  <a:cubicBezTo>
                    <a:pt x="2206942" y="853439"/>
                    <a:pt x="2209800" y="856297"/>
                    <a:pt x="2209800" y="860107"/>
                  </a:cubicBezTo>
                  <a:cubicBezTo>
                    <a:pt x="2209800" y="863916"/>
                    <a:pt x="2206942" y="866774"/>
                    <a:pt x="2203133" y="866774"/>
                  </a:cubicBezTo>
                  <a:cubicBezTo>
                    <a:pt x="2199322" y="866774"/>
                    <a:pt x="2195512" y="862964"/>
                    <a:pt x="2196465" y="860107"/>
                  </a:cubicBezTo>
                  <a:cubicBezTo>
                    <a:pt x="2196465" y="856297"/>
                    <a:pt x="2199322" y="853439"/>
                    <a:pt x="2203133" y="853439"/>
                  </a:cubicBezTo>
                  <a:close/>
                  <a:moveTo>
                    <a:pt x="605790" y="853439"/>
                  </a:moveTo>
                  <a:cubicBezTo>
                    <a:pt x="606742" y="853439"/>
                    <a:pt x="607695" y="854391"/>
                    <a:pt x="607695" y="855344"/>
                  </a:cubicBezTo>
                  <a:cubicBezTo>
                    <a:pt x="607695" y="856297"/>
                    <a:pt x="606742" y="857249"/>
                    <a:pt x="605790" y="857249"/>
                  </a:cubicBezTo>
                  <a:cubicBezTo>
                    <a:pt x="604837" y="857249"/>
                    <a:pt x="603885" y="856297"/>
                    <a:pt x="603885" y="855344"/>
                  </a:cubicBezTo>
                  <a:cubicBezTo>
                    <a:pt x="603885" y="854391"/>
                    <a:pt x="604837" y="853439"/>
                    <a:pt x="605790" y="853439"/>
                  </a:cubicBezTo>
                  <a:close/>
                  <a:moveTo>
                    <a:pt x="466725" y="852487"/>
                  </a:moveTo>
                  <a:cubicBezTo>
                    <a:pt x="469582" y="852487"/>
                    <a:pt x="472440" y="855345"/>
                    <a:pt x="472440" y="858202"/>
                  </a:cubicBezTo>
                  <a:cubicBezTo>
                    <a:pt x="472440" y="861060"/>
                    <a:pt x="469582" y="863917"/>
                    <a:pt x="466725" y="863917"/>
                  </a:cubicBezTo>
                  <a:cubicBezTo>
                    <a:pt x="463867" y="863917"/>
                    <a:pt x="461962" y="861060"/>
                    <a:pt x="461010" y="858202"/>
                  </a:cubicBezTo>
                  <a:cubicBezTo>
                    <a:pt x="461010" y="855345"/>
                    <a:pt x="463867" y="852487"/>
                    <a:pt x="466725" y="852487"/>
                  </a:cubicBezTo>
                  <a:close/>
                  <a:moveTo>
                    <a:pt x="195262" y="852487"/>
                  </a:moveTo>
                  <a:cubicBezTo>
                    <a:pt x="200025" y="852487"/>
                    <a:pt x="203835" y="856297"/>
                    <a:pt x="203835" y="861060"/>
                  </a:cubicBezTo>
                  <a:cubicBezTo>
                    <a:pt x="203835" y="865822"/>
                    <a:pt x="200025" y="869632"/>
                    <a:pt x="195262" y="869632"/>
                  </a:cubicBezTo>
                  <a:cubicBezTo>
                    <a:pt x="190500" y="869632"/>
                    <a:pt x="187643" y="865822"/>
                    <a:pt x="186690" y="861060"/>
                  </a:cubicBezTo>
                  <a:cubicBezTo>
                    <a:pt x="186690" y="856297"/>
                    <a:pt x="190500" y="852487"/>
                    <a:pt x="195262" y="852487"/>
                  </a:cubicBezTo>
                  <a:close/>
                  <a:moveTo>
                    <a:pt x="330518" y="850582"/>
                  </a:moveTo>
                  <a:cubicBezTo>
                    <a:pt x="336233" y="850582"/>
                    <a:pt x="340043" y="855345"/>
                    <a:pt x="340043" y="860107"/>
                  </a:cubicBezTo>
                  <a:cubicBezTo>
                    <a:pt x="340043" y="865822"/>
                    <a:pt x="335281" y="869632"/>
                    <a:pt x="330518" y="869632"/>
                  </a:cubicBezTo>
                  <a:cubicBezTo>
                    <a:pt x="324803" y="869632"/>
                    <a:pt x="320993" y="865822"/>
                    <a:pt x="320993" y="860107"/>
                  </a:cubicBezTo>
                  <a:cubicBezTo>
                    <a:pt x="320993" y="854392"/>
                    <a:pt x="325756" y="850582"/>
                    <a:pt x="330518" y="850582"/>
                  </a:cubicBezTo>
                  <a:close/>
                  <a:moveTo>
                    <a:pt x="748665" y="847725"/>
                  </a:moveTo>
                  <a:cubicBezTo>
                    <a:pt x="749617" y="847725"/>
                    <a:pt x="750570" y="848677"/>
                    <a:pt x="750570" y="849630"/>
                  </a:cubicBezTo>
                  <a:cubicBezTo>
                    <a:pt x="750570" y="850583"/>
                    <a:pt x="749617" y="851535"/>
                    <a:pt x="748665" y="851535"/>
                  </a:cubicBezTo>
                  <a:cubicBezTo>
                    <a:pt x="748665" y="851535"/>
                    <a:pt x="747712" y="850583"/>
                    <a:pt x="746760" y="849630"/>
                  </a:cubicBezTo>
                  <a:cubicBezTo>
                    <a:pt x="746760" y="848677"/>
                    <a:pt x="747712" y="847725"/>
                    <a:pt x="748665" y="847725"/>
                  </a:cubicBezTo>
                  <a:close/>
                  <a:moveTo>
                    <a:pt x="524828" y="828675"/>
                  </a:moveTo>
                  <a:cubicBezTo>
                    <a:pt x="525780" y="828675"/>
                    <a:pt x="526733" y="829627"/>
                    <a:pt x="526733" y="830580"/>
                  </a:cubicBezTo>
                  <a:cubicBezTo>
                    <a:pt x="526733" y="831533"/>
                    <a:pt x="525780" y="832485"/>
                    <a:pt x="524828" y="832485"/>
                  </a:cubicBezTo>
                  <a:cubicBezTo>
                    <a:pt x="523875" y="832485"/>
                    <a:pt x="522923" y="831533"/>
                    <a:pt x="522923" y="830580"/>
                  </a:cubicBezTo>
                  <a:cubicBezTo>
                    <a:pt x="522923" y="829627"/>
                    <a:pt x="523875" y="828675"/>
                    <a:pt x="524828" y="828675"/>
                  </a:cubicBezTo>
                  <a:close/>
                  <a:moveTo>
                    <a:pt x="388620" y="826770"/>
                  </a:moveTo>
                  <a:cubicBezTo>
                    <a:pt x="391477" y="826770"/>
                    <a:pt x="394335" y="829627"/>
                    <a:pt x="394335" y="832485"/>
                  </a:cubicBezTo>
                  <a:cubicBezTo>
                    <a:pt x="394335" y="835342"/>
                    <a:pt x="391477" y="838200"/>
                    <a:pt x="388620" y="838200"/>
                  </a:cubicBezTo>
                  <a:cubicBezTo>
                    <a:pt x="385762" y="838200"/>
                    <a:pt x="382905" y="835342"/>
                    <a:pt x="382905" y="832485"/>
                  </a:cubicBezTo>
                  <a:cubicBezTo>
                    <a:pt x="382905" y="829627"/>
                    <a:pt x="385762" y="826770"/>
                    <a:pt x="388620" y="826770"/>
                  </a:cubicBezTo>
                  <a:close/>
                  <a:moveTo>
                    <a:pt x="254318" y="826770"/>
                  </a:moveTo>
                  <a:cubicBezTo>
                    <a:pt x="258127" y="826770"/>
                    <a:pt x="260985" y="829627"/>
                    <a:pt x="260985" y="833437"/>
                  </a:cubicBezTo>
                  <a:cubicBezTo>
                    <a:pt x="260985" y="837247"/>
                    <a:pt x="258127" y="840105"/>
                    <a:pt x="254318" y="840105"/>
                  </a:cubicBezTo>
                  <a:cubicBezTo>
                    <a:pt x="250507" y="840105"/>
                    <a:pt x="247650" y="837247"/>
                    <a:pt x="247650" y="833437"/>
                  </a:cubicBezTo>
                  <a:cubicBezTo>
                    <a:pt x="247650" y="829627"/>
                    <a:pt x="250507" y="826770"/>
                    <a:pt x="254318" y="826770"/>
                  </a:cubicBezTo>
                  <a:close/>
                  <a:moveTo>
                    <a:pt x="663893" y="825817"/>
                  </a:moveTo>
                  <a:cubicBezTo>
                    <a:pt x="664846" y="825817"/>
                    <a:pt x="665798" y="826770"/>
                    <a:pt x="665798" y="827722"/>
                  </a:cubicBezTo>
                  <a:cubicBezTo>
                    <a:pt x="665798" y="828675"/>
                    <a:pt x="664846" y="829627"/>
                    <a:pt x="663893" y="829627"/>
                  </a:cubicBezTo>
                  <a:cubicBezTo>
                    <a:pt x="662940" y="829627"/>
                    <a:pt x="661988" y="828675"/>
                    <a:pt x="661988" y="827722"/>
                  </a:cubicBezTo>
                  <a:cubicBezTo>
                    <a:pt x="661988" y="826770"/>
                    <a:pt x="662940" y="825817"/>
                    <a:pt x="663893" y="825817"/>
                  </a:cubicBezTo>
                  <a:close/>
                  <a:moveTo>
                    <a:pt x="120968" y="824864"/>
                  </a:moveTo>
                  <a:cubicBezTo>
                    <a:pt x="125730" y="824864"/>
                    <a:pt x="129540" y="828674"/>
                    <a:pt x="129540" y="833437"/>
                  </a:cubicBezTo>
                  <a:cubicBezTo>
                    <a:pt x="129540" y="838199"/>
                    <a:pt x="125730" y="842009"/>
                    <a:pt x="120968" y="842009"/>
                  </a:cubicBezTo>
                  <a:cubicBezTo>
                    <a:pt x="116205" y="842009"/>
                    <a:pt x="112395" y="839152"/>
                    <a:pt x="112395" y="833437"/>
                  </a:cubicBezTo>
                  <a:cubicBezTo>
                    <a:pt x="112395" y="828674"/>
                    <a:pt x="116205" y="824864"/>
                    <a:pt x="120968" y="824864"/>
                  </a:cubicBezTo>
                  <a:close/>
                  <a:moveTo>
                    <a:pt x="2354580" y="803910"/>
                  </a:moveTo>
                  <a:cubicBezTo>
                    <a:pt x="2355532" y="803910"/>
                    <a:pt x="2356485" y="804862"/>
                    <a:pt x="2356485" y="805815"/>
                  </a:cubicBezTo>
                  <a:cubicBezTo>
                    <a:pt x="2356485" y="806767"/>
                    <a:pt x="2355532" y="807720"/>
                    <a:pt x="2354580" y="807720"/>
                  </a:cubicBezTo>
                  <a:cubicBezTo>
                    <a:pt x="2353628" y="807720"/>
                    <a:pt x="2352675" y="806767"/>
                    <a:pt x="2352675" y="805815"/>
                  </a:cubicBezTo>
                  <a:cubicBezTo>
                    <a:pt x="2352675" y="804862"/>
                    <a:pt x="2353628" y="803910"/>
                    <a:pt x="2354580" y="803910"/>
                  </a:cubicBezTo>
                  <a:close/>
                  <a:moveTo>
                    <a:pt x="47625" y="802957"/>
                  </a:moveTo>
                  <a:cubicBezTo>
                    <a:pt x="49729" y="802957"/>
                    <a:pt x="51435" y="804663"/>
                    <a:pt x="51435" y="806767"/>
                  </a:cubicBezTo>
                  <a:cubicBezTo>
                    <a:pt x="51435" y="808871"/>
                    <a:pt x="49729" y="810577"/>
                    <a:pt x="47625" y="810577"/>
                  </a:cubicBezTo>
                  <a:cubicBezTo>
                    <a:pt x="45521" y="810577"/>
                    <a:pt x="43815" y="808871"/>
                    <a:pt x="43815" y="806767"/>
                  </a:cubicBezTo>
                  <a:cubicBezTo>
                    <a:pt x="43815" y="804663"/>
                    <a:pt x="45521" y="802957"/>
                    <a:pt x="47625" y="802957"/>
                  </a:cubicBezTo>
                  <a:close/>
                  <a:moveTo>
                    <a:pt x="2287905" y="802004"/>
                  </a:moveTo>
                  <a:cubicBezTo>
                    <a:pt x="2289810" y="802004"/>
                    <a:pt x="2290762" y="802957"/>
                    <a:pt x="2290762" y="804862"/>
                  </a:cubicBezTo>
                  <a:cubicBezTo>
                    <a:pt x="2290762" y="806767"/>
                    <a:pt x="2288857" y="807719"/>
                    <a:pt x="2287905" y="807719"/>
                  </a:cubicBezTo>
                  <a:cubicBezTo>
                    <a:pt x="2286952" y="807719"/>
                    <a:pt x="2285047" y="806767"/>
                    <a:pt x="2285047" y="804862"/>
                  </a:cubicBezTo>
                  <a:cubicBezTo>
                    <a:pt x="2285047" y="802957"/>
                    <a:pt x="2286952" y="802004"/>
                    <a:pt x="2287905" y="802004"/>
                  </a:cubicBezTo>
                  <a:close/>
                  <a:moveTo>
                    <a:pt x="2154555" y="802004"/>
                  </a:moveTo>
                  <a:cubicBezTo>
                    <a:pt x="2155508" y="802004"/>
                    <a:pt x="2156460" y="802957"/>
                    <a:pt x="2156460" y="803909"/>
                  </a:cubicBezTo>
                  <a:cubicBezTo>
                    <a:pt x="2156460" y="804862"/>
                    <a:pt x="2155508" y="805814"/>
                    <a:pt x="2154555" y="805814"/>
                  </a:cubicBezTo>
                  <a:cubicBezTo>
                    <a:pt x="2152650" y="805814"/>
                    <a:pt x="2152650" y="804862"/>
                    <a:pt x="2152650" y="803909"/>
                  </a:cubicBezTo>
                  <a:cubicBezTo>
                    <a:pt x="2152650" y="802957"/>
                    <a:pt x="2153603" y="802004"/>
                    <a:pt x="2154555" y="802004"/>
                  </a:cubicBezTo>
                  <a:close/>
                  <a:moveTo>
                    <a:pt x="2221230" y="801052"/>
                  </a:moveTo>
                  <a:cubicBezTo>
                    <a:pt x="2223135" y="801052"/>
                    <a:pt x="2225040" y="802957"/>
                    <a:pt x="2225040" y="804862"/>
                  </a:cubicBezTo>
                  <a:cubicBezTo>
                    <a:pt x="2225040" y="806767"/>
                    <a:pt x="2223135" y="808672"/>
                    <a:pt x="2221230" y="808672"/>
                  </a:cubicBezTo>
                  <a:cubicBezTo>
                    <a:pt x="2219325" y="808672"/>
                    <a:pt x="2217420" y="806767"/>
                    <a:pt x="2217420" y="804862"/>
                  </a:cubicBezTo>
                  <a:cubicBezTo>
                    <a:pt x="2217420" y="802957"/>
                    <a:pt x="2219325" y="801052"/>
                    <a:pt x="2221230" y="801052"/>
                  </a:cubicBezTo>
                  <a:close/>
                  <a:moveTo>
                    <a:pt x="582930" y="800100"/>
                  </a:moveTo>
                  <a:cubicBezTo>
                    <a:pt x="583883" y="800100"/>
                    <a:pt x="584835" y="801052"/>
                    <a:pt x="584835" y="802005"/>
                  </a:cubicBezTo>
                  <a:cubicBezTo>
                    <a:pt x="584835" y="802958"/>
                    <a:pt x="583883" y="803910"/>
                    <a:pt x="582930" y="803910"/>
                  </a:cubicBezTo>
                  <a:cubicBezTo>
                    <a:pt x="581977" y="803910"/>
                    <a:pt x="581025" y="802958"/>
                    <a:pt x="581025" y="802005"/>
                  </a:cubicBezTo>
                  <a:cubicBezTo>
                    <a:pt x="581025" y="801052"/>
                    <a:pt x="581977" y="800100"/>
                    <a:pt x="582930" y="800100"/>
                  </a:cubicBezTo>
                  <a:close/>
                  <a:moveTo>
                    <a:pt x="446722" y="798195"/>
                  </a:moveTo>
                  <a:cubicBezTo>
                    <a:pt x="449580" y="798195"/>
                    <a:pt x="452437" y="801052"/>
                    <a:pt x="452437" y="803910"/>
                  </a:cubicBezTo>
                  <a:cubicBezTo>
                    <a:pt x="452437" y="806767"/>
                    <a:pt x="449580" y="809625"/>
                    <a:pt x="446722" y="809625"/>
                  </a:cubicBezTo>
                  <a:cubicBezTo>
                    <a:pt x="443864" y="809625"/>
                    <a:pt x="441007" y="806767"/>
                    <a:pt x="441007" y="803910"/>
                  </a:cubicBezTo>
                  <a:cubicBezTo>
                    <a:pt x="441007" y="801052"/>
                    <a:pt x="443864" y="798195"/>
                    <a:pt x="446722" y="798195"/>
                  </a:cubicBezTo>
                  <a:close/>
                  <a:moveTo>
                    <a:pt x="180023" y="798195"/>
                  </a:moveTo>
                  <a:cubicBezTo>
                    <a:pt x="183833" y="798195"/>
                    <a:pt x="187643" y="802005"/>
                    <a:pt x="187643" y="805815"/>
                  </a:cubicBezTo>
                  <a:cubicBezTo>
                    <a:pt x="187643" y="809625"/>
                    <a:pt x="183833" y="813435"/>
                    <a:pt x="180023" y="813435"/>
                  </a:cubicBezTo>
                  <a:cubicBezTo>
                    <a:pt x="176213" y="813435"/>
                    <a:pt x="172403" y="810577"/>
                    <a:pt x="172403" y="805815"/>
                  </a:cubicBezTo>
                  <a:cubicBezTo>
                    <a:pt x="172403" y="802005"/>
                    <a:pt x="176213" y="798195"/>
                    <a:pt x="180023" y="798195"/>
                  </a:cubicBezTo>
                  <a:close/>
                  <a:moveTo>
                    <a:pt x="312420" y="794385"/>
                  </a:moveTo>
                  <a:cubicBezTo>
                    <a:pt x="318136" y="794385"/>
                    <a:pt x="322898" y="799148"/>
                    <a:pt x="322898" y="804862"/>
                  </a:cubicBezTo>
                  <a:cubicBezTo>
                    <a:pt x="322898" y="810577"/>
                    <a:pt x="318136" y="815340"/>
                    <a:pt x="312420" y="815340"/>
                  </a:cubicBezTo>
                  <a:cubicBezTo>
                    <a:pt x="306706" y="815340"/>
                    <a:pt x="302895" y="810577"/>
                    <a:pt x="301943" y="804862"/>
                  </a:cubicBezTo>
                  <a:cubicBezTo>
                    <a:pt x="301943" y="799148"/>
                    <a:pt x="306706" y="794385"/>
                    <a:pt x="312420" y="794385"/>
                  </a:cubicBezTo>
                  <a:close/>
                  <a:moveTo>
                    <a:pt x="641032" y="772477"/>
                  </a:moveTo>
                  <a:cubicBezTo>
                    <a:pt x="641985" y="772477"/>
                    <a:pt x="642937" y="773429"/>
                    <a:pt x="642937" y="774382"/>
                  </a:cubicBezTo>
                  <a:cubicBezTo>
                    <a:pt x="642937" y="775335"/>
                    <a:pt x="641985" y="776287"/>
                    <a:pt x="641032" y="776287"/>
                  </a:cubicBezTo>
                  <a:cubicBezTo>
                    <a:pt x="640079" y="776287"/>
                    <a:pt x="639127" y="775335"/>
                    <a:pt x="639127" y="774382"/>
                  </a:cubicBezTo>
                  <a:cubicBezTo>
                    <a:pt x="639127" y="773429"/>
                    <a:pt x="640079" y="772477"/>
                    <a:pt x="641032" y="772477"/>
                  </a:cubicBezTo>
                  <a:close/>
                  <a:moveTo>
                    <a:pt x="505777" y="772477"/>
                  </a:moveTo>
                  <a:cubicBezTo>
                    <a:pt x="507683" y="772477"/>
                    <a:pt x="508635" y="774382"/>
                    <a:pt x="508635" y="775335"/>
                  </a:cubicBezTo>
                  <a:cubicBezTo>
                    <a:pt x="508635" y="777240"/>
                    <a:pt x="506730" y="778192"/>
                    <a:pt x="505777" y="778192"/>
                  </a:cubicBezTo>
                  <a:cubicBezTo>
                    <a:pt x="503873" y="778192"/>
                    <a:pt x="502920" y="777240"/>
                    <a:pt x="502920" y="775335"/>
                  </a:cubicBezTo>
                  <a:cubicBezTo>
                    <a:pt x="502920" y="773429"/>
                    <a:pt x="504825" y="772477"/>
                    <a:pt x="505777" y="772477"/>
                  </a:cubicBezTo>
                  <a:close/>
                  <a:moveTo>
                    <a:pt x="239078" y="771525"/>
                  </a:moveTo>
                  <a:cubicBezTo>
                    <a:pt x="242888" y="771525"/>
                    <a:pt x="244793" y="774383"/>
                    <a:pt x="244793" y="777240"/>
                  </a:cubicBezTo>
                  <a:cubicBezTo>
                    <a:pt x="244793" y="780098"/>
                    <a:pt x="241936" y="782955"/>
                    <a:pt x="239078" y="782955"/>
                  </a:cubicBezTo>
                  <a:cubicBezTo>
                    <a:pt x="236220" y="782955"/>
                    <a:pt x="233363" y="781050"/>
                    <a:pt x="233363" y="777240"/>
                  </a:cubicBezTo>
                  <a:cubicBezTo>
                    <a:pt x="233363" y="774383"/>
                    <a:pt x="236220" y="771525"/>
                    <a:pt x="239078" y="771525"/>
                  </a:cubicBezTo>
                  <a:close/>
                  <a:moveTo>
                    <a:pt x="371475" y="770572"/>
                  </a:moveTo>
                  <a:cubicBezTo>
                    <a:pt x="375285" y="770572"/>
                    <a:pt x="378142" y="773429"/>
                    <a:pt x="378142" y="777239"/>
                  </a:cubicBezTo>
                  <a:cubicBezTo>
                    <a:pt x="378142" y="781049"/>
                    <a:pt x="375285" y="783907"/>
                    <a:pt x="371475" y="783907"/>
                  </a:cubicBezTo>
                  <a:cubicBezTo>
                    <a:pt x="367664" y="783907"/>
                    <a:pt x="364807" y="781049"/>
                    <a:pt x="364807" y="777239"/>
                  </a:cubicBezTo>
                  <a:cubicBezTo>
                    <a:pt x="364807" y="773429"/>
                    <a:pt x="367664" y="770572"/>
                    <a:pt x="371475" y="770572"/>
                  </a:cubicBezTo>
                  <a:close/>
                  <a:moveTo>
                    <a:pt x="107633" y="770572"/>
                  </a:moveTo>
                  <a:cubicBezTo>
                    <a:pt x="111443" y="770572"/>
                    <a:pt x="115253" y="774382"/>
                    <a:pt x="115253" y="778192"/>
                  </a:cubicBezTo>
                  <a:cubicBezTo>
                    <a:pt x="115253" y="782002"/>
                    <a:pt x="111443" y="785812"/>
                    <a:pt x="107633" y="785812"/>
                  </a:cubicBezTo>
                  <a:cubicBezTo>
                    <a:pt x="102870" y="785812"/>
                    <a:pt x="100013" y="782002"/>
                    <a:pt x="100013" y="778192"/>
                  </a:cubicBezTo>
                  <a:cubicBezTo>
                    <a:pt x="100013" y="774382"/>
                    <a:pt x="103823" y="770572"/>
                    <a:pt x="107633" y="770572"/>
                  </a:cubicBezTo>
                  <a:close/>
                  <a:moveTo>
                    <a:pt x="2236470" y="748664"/>
                  </a:moveTo>
                  <a:cubicBezTo>
                    <a:pt x="2236470" y="748664"/>
                    <a:pt x="2237422" y="748664"/>
                    <a:pt x="2237422" y="749616"/>
                  </a:cubicBezTo>
                  <a:cubicBezTo>
                    <a:pt x="2237422" y="749616"/>
                    <a:pt x="2237422" y="750569"/>
                    <a:pt x="2236470" y="750569"/>
                  </a:cubicBezTo>
                  <a:cubicBezTo>
                    <a:pt x="2236470" y="750569"/>
                    <a:pt x="2235517" y="749616"/>
                    <a:pt x="2235517" y="749616"/>
                  </a:cubicBezTo>
                  <a:cubicBezTo>
                    <a:pt x="2235517" y="749616"/>
                    <a:pt x="2235517" y="748664"/>
                    <a:pt x="2236470" y="748664"/>
                  </a:cubicBezTo>
                  <a:close/>
                  <a:moveTo>
                    <a:pt x="2368868" y="747712"/>
                  </a:moveTo>
                  <a:cubicBezTo>
                    <a:pt x="2369820" y="747712"/>
                    <a:pt x="2370773" y="748664"/>
                    <a:pt x="2370773" y="749617"/>
                  </a:cubicBezTo>
                  <a:cubicBezTo>
                    <a:pt x="2370773" y="750570"/>
                    <a:pt x="2369820" y="751522"/>
                    <a:pt x="2368868" y="751522"/>
                  </a:cubicBezTo>
                  <a:cubicBezTo>
                    <a:pt x="2366963" y="751522"/>
                    <a:pt x="2366010" y="750570"/>
                    <a:pt x="2366963" y="749617"/>
                  </a:cubicBezTo>
                  <a:cubicBezTo>
                    <a:pt x="2366963" y="748664"/>
                    <a:pt x="2367915" y="747712"/>
                    <a:pt x="2368868" y="747712"/>
                  </a:cubicBezTo>
                  <a:close/>
                  <a:moveTo>
                    <a:pt x="2303145" y="746760"/>
                  </a:moveTo>
                  <a:cubicBezTo>
                    <a:pt x="2304097" y="746760"/>
                    <a:pt x="2305050" y="747712"/>
                    <a:pt x="2305050" y="748665"/>
                  </a:cubicBezTo>
                  <a:cubicBezTo>
                    <a:pt x="2305050" y="749617"/>
                    <a:pt x="2304097" y="750570"/>
                    <a:pt x="2303145" y="750570"/>
                  </a:cubicBezTo>
                  <a:cubicBezTo>
                    <a:pt x="2302192" y="750570"/>
                    <a:pt x="2301240" y="750570"/>
                    <a:pt x="2301240" y="748665"/>
                  </a:cubicBezTo>
                  <a:cubicBezTo>
                    <a:pt x="2301240" y="747712"/>
                    <a:pt x="2302192" y="746760"/>
                    <a:pt x="2303145" y="746760"/>
                  </a:cubicBezTo>
                  <a:close/>
                  <a:moveTo>
                    <a:pt x="36196" y="746760"/>
                  </a:moveTo>
                  <a:cubicBezTo>
                    <a:pt x="38101" y="746760"/>
                    <a:pt x="39053" y="748665"/>
                    <a:pt x="39053" y="749617"/>
                  </a:cubicBezTo>
                  <a:cubicBezTo>
                    <a:pt x="39053" y="751523"/>
                    <a:pt x="37148" y="752475"/>
                    <a:pt x="36196" y="752475"/>
                  </a:cubicBezTo>
                  <a:cubicBezTo>
                    <a:pt x="35243" y="752475"/>
                    <a:pt x="33338" y="751523"/>
                    <a:pt x="33338" y="749617"/>
                  </a:cubicBezTo>
                  <a:cubicBezTo>
                    <a:pt x="33338" y="747712"/>
                    <a:pt x="35243" y="746760"/>
                    <a:pt x="36196" y="746760"/>
                  </a:cubicBezTo>
                  <a:close/>
                  <a:moveTo>
                    <a:pt x="699135" y="745807"/>
                  </a:moveTo>
                  <a:cubicBezTo>
                    <a:pt x="699135" y="745807"/>
                    <a:pt x="700088" y="745807"/>
                    <a:pt x="700088" y="746759"/>
                  </a:cubicBezTo>
                  <a:cubicBezTo>
                    <a:pt x="700088" y="746759"/>
                    <a:pt x="700088" y="747712"/>
                    <a:pt x="699135" y="747712"/>
                  </a:cubicBezTo>
                  <a:cubicBezTo>
                    <a:pt x="698183" y="747712"/>
                    <a:pt x="698183" y="746759"/>
                    <a:pt x="698183" y="746759"/>
                  </a:cubicBezTo>
                  <a:cubicBezTo>
                    <a:pt x="698183" y="746759"/>
                    <a:pt x="698183" y="745807"/>
                    <a:pt x="699135" y="745807"/>
                  </a:cubicBezTo>
                  <a:close/>
                  <a:moveTo>
                    <a:pt x="563880" y="745807"/>
                  </a:moveTo>
                  <a:cubicBezTo>
                    <a:pt x="564833" y="745807"/>
                    <a:pt x="565785" y="746759"/>
                    <a:pt x="565785" y="747712"/>
                  </a:cubicBezTo>
                  <a:cubicBezTo>
                    <a:pt x="565785" y="748664"/>
                    <a:pt x="564833" y="749617"/>
                    <a:pt x="563880" y="749617"/>
                  </a:cubicBezTo>
                  <a:cubicBezTo>
                    <a:pt x="562927" y="749617"/>
                    <a:pt x="561975" y="748664"/>
                    <a:pt x="561975" y="747712"/>
                  </a:cubicBezTo>
                  <a:cubicBezTo>
                    <a:pt x="561975" y="746759"/>
                    <a:pt x="562927" y="745807"/>
                    <a:pt x="563880" y="745807"/>
                  </a:cubicBezTo>
                  <a:close/>
                  <a:moveTo>
                    <a:pt x="430530" y="744854"/>
                  </a:moveTo>
                  <a:cubicBezTo>
                    <a:pt x="432435" y="744854"/>
                    <a:pt x="434340" y="746759"/>
                    <a:pt x="434340" y="748664"/>
                  </a:cubicBezTo>
                  <a:cubicBezTo>
                    <a:pt x="434340" y="750569"/>
                    <a:pt x="432435" y="752474"/>
                    <a:pt x="430530" y="752474"/>
                  </a:cubicBezTo>
                  <a:cubicBezTo>
                    <a:pt x="428625" y="752474"/>
                    <a:pt x="426720" y="751522"/>
                    <a:pt x="426720" y="748664"/>
                  </a:cubicBezTo>
                  <a:cubicBezTo>
                    <a:pt x="426720" y="746759"/>
                    <a:pt x="428625" y="744854"/>
                    <a:pt x="430530" y="744854"/>
                  </a:cubicBezTo>
                  <a:close/>
                  <a:moveTo>
                    <a:pt x="166688" y="742950"/>
                  </a:moveTo>
                  <a:cubicBezTo>
                    <a:pt x="170498" y="742950"/>
                    <a:pt x="173355" y="745808"/>
                    <a:pt x="173355" y="749617"/>
                  </a:cubicBezTo>
                  <a:cubicBezTo>
                    <a:pt x="173355" y="753427"/>
                    <a:pt x="170498" y="756285"/>
                    <a:pt x="166688" y="756285"/>
                  </a:cubicBezTo>
                  <a:cubicBezTo>
                    <a:pt x="163830" y="756285"/>
                    <a:pt x="160020" y="753427"/>
                    <a:pt x="160020" y="749617"/>
                  </a:cubicBezTo>
                  <a:cubicBezTo>
                    <a:pt x="160020" y="745808"/>
                    <a:pt x="162878" y="742950"/>
                    <a:pt x="166688" y="742950"/>
                  </a:cubicBezTo>
                  <a:close/>
                  <a:moveTo>
                    <a:pt x="298133" y="741997"/>
                  </a:moveTo>
                  <a:cubicBezTo>
                    <a:pt x="301943" y="741997"/>
                    <a:pt x="305753" y="745807"/>
                    <a:pt x="305753" y="749617"/>
                  </a:cubicBezTo>
                  <a:cubicBezTo>
                    <a:pt x="305753" y="753427"/>
                    <a:pt x="301943" y="757237"/>
                    <a:pt x="298133" y="757237"/>
                  </a:cubicBezTo>
                  <a:cubicBezTo>
                    <a:pt x="294323" y="757237"/>
                    <a:pt x="290513" y="753427"/>
                    <a:pt x="290513" y="749617"/>
                  </a:cubicBezTo>
                  <a:cubicBezTo>
                    <a:pt x="290513" y="745807"/>
                    <a:pt x="294323" y="741997"/>
                    <a:pt x="298133" y="741997"/>
                  </a:cubicBezTo>
                  <a:close/>
                  <a:moveTo>
                    <a:pt x="622935" y="717232"/>
                  </a:moveTo>
                  <a:cubicBezTo>
                    <a:pt x="623888" y="717232"/>
                    <a:pt x="624840" y="718184"/>
                    <a:pt x="624840" y="719137"/>
                  </a:cubicBezTo>
                  <a:cubicBezTo>
                    <a:pt x="624840" y="720089"/>
                    <a:pt x="623888" y="721042"/>
                    <a:pt x="622935" y="721042"/>
                  </a:cubicBezTo>
                  <a:cubicBezTo>
                    <a:pt x="621983" y="721042"/>
                    <a:pt x="621030" y="720089"/>
                    <a:pt x="621030" y="719137"/>
                  </a:cubicBezTo>
                  <a:cubicBezTo>
                    <a:pt x="621030" y="718184"/>
                    <a:pt x="621983" y="717232"/>
                    <a:pt x="622935" y="717232"/>
                  </a:cubicBezTo>
                  <a:close/>
                  <a:moveTo>
                    <a:pt x="489585" y="717232"/>
                  </a:moveTo>
                  <a:cubicBezTo>
                    <a:pt x="491490" y="717232"/>
                    <a:pt x="492442" y="718184"/>
                    <a:pt x="492442" y="720089"/>
                  </a:cubicBezTo>
                  <a:cubicBezTo>
                    <a:pt x="492442" y="721995"/>
                    <a:pt x="490537" y="722947"/>
                    <a:pt x="489585" y="722947"/>
                  </a:cubicBezTo>
                  <a:cubicBezTo>
                    <a:pt x="488632" y="722947"/>
                    <a:pt x="486727" y="721995"/>
                    <a:pt x="486727" y="720089"/>
                  </a:cubicBezTo>
                  <a:cubicBezTo>
                    <a:pt x="486727" y="718184"/>
                    <a:pt x="487680" y="717232"/>
                    <a:pt x="489585" y="717232"/>
                  </a:cubicBezTo>
                  <a:close/>
                  <a:moveTo>
                    <a:pt x="358140" y="716279"/>
                  </a:moveTo>
                  <a:cubicBezTo>
                    <a:pt x="360997" y="716279"/>
                    <a:pt x="362902" y="718184"/>
                    <a:pt x="362902" y="721042"/>
                  </a:cubicBezTo>
                  <a:cubicBezTo>
                    <a:pt x="362902" y="723899"/>
                    <a:pt x="360997" y="725804"/>
                    <a:pt x="358140" y="725804"/>
                  </a:cubicBezTo>
                  <a:cubicBezTo>
                    <a:pt x="355282" y="725804"/>
                    <a:pt x="353377" y="723899"/>
                    <a:pt x="353377" y="721042"/>
                  </a:cubicBezTo>
                  <a:cubicBezTo>
                    <a:pt x="353377" y="718184"/>
                    <a:pt x="355282" y="716279"/>
                    <a:pt x="358140" y="716279"/>
                  </a:cubicBezTo>
                  <a:close/>
                  <a:moveTo>
                    <a:pt x="226695" y="715327"/>
                  </a:moveTo>
                  <a:cubicBezTo>
                    <a:pt x="229552" y="715327"/>
                    <a:pt x="232410" y="718185"/>
                    <a:pt x="232410" y="721042"/>
                  </a:cubicBezTo>
                  <a:cubicBezTo>
                    <a:pt x="232410" y="723900"/>
                    <a:pt x="229552" y="726757"/>
                    <a:pt x="226695" y="726757"/>
                  </a:cubicBezTo>
                  <a:cubicBezTo>
                    <a:pt x="223837" y="726757"/>
                    <a:pt x="221932" y="723900"/>
                    <a:pt x="220980" y="721042"/>
                  </a:cubicBezTo>
                  <a:cubicBezTo>
                    <a:pt x="220980" y="718185"/>
                    <a:pt x="223837" y="715327"/>
                    <a:pt x="226695" y="715327"/>
                  </a:cubicBezTo>
                  <a:close/>
                  <a:moveTo>
                    <a:pt x="96202" y="713422"/>
                  </a:moveTo>
                  <a:cubicBezTo>
                    <a:pt x="100965" y="713422"/>
                    <a:pt x="103822" y="717232"/>
                    <a:pt x="103822" y="721042"/>
                  </a:cubicBezTo>
                  <a:cubicBezTo>
                    <a:pt x="103822" y="724852"/>
                    <a:pt x="100012" y="728662"/>
                    <a:pt x="96202" y="728662"/>
                  </a:cubicBezTo>
                  <a:cubicBezTo>
                    <a:pt x="92392" y="728662"/>
                    <a:pt x="89535" y="725804"/>
                    <a:pt x="88582" y="721042"/>
                  </a:cubicBezTo>
                  <a:cubicBezTo>
                    <a:pt x="88582" y="717232"/>
                    <a:pt x="92392" y="713422"/>
                    <a:pt x="96202" y="713422"/>
                  </a:cubicBezTo>
                  <a:close/>
                  <a:moveTo>
                    <a:pt x="27622" y="691514"/>
                  </a:moveTo>
                  <a:cubicBezTo>
                    <a:pt x="28575" y="691514"/>
                    <a:pt x="29527" y="692466"/>
                    <a:pt x="29527" y="693419"/>
                  </a:cubicBezTo>
                  <a:cubicBezTo>
                    <a:pt x="29527" y="694372"/>
                    <a:pt x="28575" y="695324"/>
                    <a:pt x="27622" y="695324"/>
                  </a:cubicBezTo>
                  <a:cubicBezTo>
                    <a:pt x="26670" y="695324"/>
                    <a:pt x="25717" y="694372"/>
                    <a:pt x="25717" y="693419"/>
                  </a:cubicBezTo>
                  <a:cubicBezTo>
                    <a:pt x="25717" y="692466"/>
                    <a:pt x="26670" y="691514"/>
                    <a:pt x="27622" y="691514"/>
                  </a:cubicBezTo>
                  <a:close/>
                  <a:moveTo>
                    <a:pt x="2313622" y="690562"/>
                  </a:moveTo>
                  <a:cubicBezTo>
                    <a:pt x="2314575" y="690562"/>
                    <a:pt x="2315527" y="691514"/>
                    <a:pt x="2315527" y="692467"/>
                  </a:cubicBezTo>
                  <a:cubicBezTo>
                    <a:pt x="2315527" y="693420"/>
                    <a:pt x="2314575" y="694372"/>
                    <a:pt x="2313622" y="694372"/>
                  </a:cubicBezTo>
                  <a:cubicBezTo>
                    <a:pt x="2312670" y="694372"/>
                    <a:pt x="2311717" y="694372"/>
                    <a:pt x="2311717" y="692467"/>
                  </a:cubicBezTo>
                  <a:cubicBezTo>
                    <a:pt x="2311717" y="691514"/>
                    <a:pt x="2312670" y="690562"/>
                    <a:pt x="2313622" y="690562"/>
                  </a:cubicBezTo>
                  <a:close/>
                  <a:moveTo>
                    <a:pt x="2248852" y="690562"/>
                  </a:moveTo>
                  <a:cubicBezTo>
                    <a:pt x="2249805" y="690562"/>
                    <a:pt x="2250757" y="691514"/>
                    <a:pt x="2250757" y="692467"/>
                  </a:cubicBezTo>
                  <a:cubicBezTo>
                    <a:pt x="2250757" y="693420"/>
                    <a:pt x="2249805" y="694372"/>
                    <a:pt x="2248852" y="694372"/>
                  </a:cubicBezTo>
                  <a:cubicBezTo>
                    <a:pt x="2247900" y="694372"/>
                    <a:pt x="2246947" y="693420"/>
                    <a:pt x="2246947" y="692467"/>
                  </a:cubicBezTo>
                  <a:cubicBezTo>
                    <a:pt x="2246947" y="691514"/>
                    <a:pt x="2247900" y="690562"/>
                    <a:pt x="2248852" y="690562"/>
                  </a:cubicBezTo>
                  <a:close/>
                  <a:moveTo>
                    <a:pt x="548640" y="690562"/>
                  </a:moveTo>
                  <a:cubicBezTo>
                    <a:pt x="549592" y="690562"/>
                    <a:pt x="550545" y="691514"/>
                    <a:pt x="550545" y="692467"/>
                  </a:cubicBezTo>
                  <a:cubicBezTo>
                    <a:pt x="550545" y="693420"/>
                    <a:pt x="549592" y="694372"/>
                    <a:pt x="548640" y="694372"/>
                  </a:cubicBezTo>
                  <a:cubicBezTo>
                    <a:pt x="547687" y="694372"/>
                    <a:pt x="546735" y="693420"/>
                    <a:pt x="546735" y="692467"/>
                  </a:cubicBezTo>
                  <a:cubicBezTo>
                    <a:pt x="546735" y="691514"/>
                    <a:pt x="547687" y="690562"/>
                    <a:pt x="548640" y="690562"/>
                  </a:cubicBezTo>
                  <a:close/>
                  <a:moveTo>
                    <a:pt x="418148" y="688657"/>
                  </a:moveTo>
                  <a:cubicBezTo>
                    <a:pt x="420252" y="688657"/>
                    <a:pt x="421958" y="690363"/>
                    <a:pt x="421958" y="692467"/>
                  </a:cubicBezTo>
                  <a:cubicBezTo>
                    <a:pt x="421958" y="694571"/>
                    <a:pt x="420252" y="696277"/>
                    <a:pt x="418148" y="696277"/>
                  </a:cubicBezTo>
                  <a:cubicBezTo>
                    <a:pt x="416044" y="696277"/>
                    <a:pt x="414338" y="694571"/>
                    <a:pt x="414338" y="692467"/>
                  </a:cubicBezTo>
                  <a:cubicBezTo>
                    <a:pt x="414338" y="690363"/>
                    <a:pt x="416044" y="688657"/>
                    <a:pt x="418148" y="688657"/>
                  </a:cubicBezTo>
                  <a:close/>
                  <a:moveTo>
                    <a:pt x="157163" y="688657"/>
                  </a:moveTo>
                  <a:cubicBezTo>
                    <a:pt x="159793" y="688657"/>
                    <a:pt x="161925" y="690789"/>
                    <a:pt x="161925" y="693420"/>
                  </a:cubicBezTo>
                  <a:cubicBezTo>
                    <a:pt x="161925" y="696050"/>
                    <a:pt x="159793" y="698182"/>
                    <a:pt x="157163" y="698182"/>
                  </a:cubicBezTo>
                  <a:cubicBezTo>
                    <a:pt x="154532" y="698182"/>
                    <a:pt x="152400" y="696050"/>
                    <a:pt x="152400" y="693420"/>
                  </a:cubicBezTo>
                  <a:cubicBezTo>
                    <a:pt x="152400" y="690789"/>
                    <a:pt x="154532" y="688657"/>
                    <a:pt x="157163" y="688657"/>
                  </a:cubicBezTo>
                  <a:close/>
                  <a:moveTo>
                    <a:pt x="287655" y="686752"/>
                  </a:moveTo>
                  <a:cubicBezTo>
                    <a:pt x="291465" y="686752"/>
                    <a:pt x="294322" y="689610"/>
                    <a:pt x="294322" y="693420"/>
                  </a:cubicBezTo>
                  <a:cubicBezTo>
                    <a:pt x="294322" y="697229"/>
                    <a:pt x="291465" y="700087"/>
                    <a:pt x="287655" y="700087"/>
                  </a:cubicBezTo>
                  <a:cubicBezTo>
                    <a:pt x="283845" y="700087"/>
                    <a:pt x="280035" y="696277"/>
                    <a:pt x="280987" y="693420"/>
                  </a:cubicBezTo>
                  <a:cubicBezTo>
                    <a:pt x="280987" y="689610"/>
                    <a:pt x="283845" y="686752"/>
                    <a:pt x="287655" y="686752"/>
                  </a:cubicBezTo>
                  <a:close/>
                  <a:moveTo>
                    <a:pt x="608647" y="661987"/>
                  </a:moveTo>
                  <a:cubicBezTo>
                    <a:pt x="609600" y="661987"/>
                    <a:pt x="610552" y="662939"/>
                    <a:pt x="610552" y="663892"/>
                  </a:cubicBezTo>
                  <a:cubicBezTo>
                    <a:pt x="610552" y="664845"/>
                    <a:pt x="609600" y="665797"/>
                    <a:pt x="608647" y="665797"/>
                  </a:cubicBezTo>
                  <a:cubicBezTo>
                    <a:pt x="607695" y="665797"/>
                    <a:pt x="606742" y="664845"/>
                    <a:pt x="606742" y="663892"/>
                  </a:cubicBezTo>
                  <a:cubicBezTo>
                    <a:pt x="606742" y="662939"/>
                    <a:pt x="607695" y="661987"/>
                    <a:pt x="608647" y="661987"/>
                  </a:cubicBezTo>
                  <a:close/>
                  <a:moveTo>
                    <a:pt x="478155" y="661035"/>
                  </a:moveTo>
                  <a:cubicBezTo>
                    <a:pt x="480061" y="661035"/>
                    <a:pt x="481013" y="662940"/>
                    <a:pt x="481013" y="663892"/>
                  </a:cubicBezTo>
                  <a:cubicBezTo>
                    <a:pt x="481013" y="665798"/>
                    <a:pt x="479108" y="666750"/>
                    <a:pt x="478155" y="666750"/>
                  </a:cubicBezTo>
                  <a:cubicBezTo>
                    <a:pt x="476250" y="666750"/>
                    <a:pt x="475298" y="665798"/>
                    <a:pt x="475298" y="663892"/>
                  </a:cubicBezTo>
                  <a:cubicBezTo>
                    <a:pt x="475298" y="661987"/>
                    <a:pt x="476250" y="661035"/>
                    <a:pt x="478155" y="661035"/>
                  </a:cubicBezTo>
                  <a:close/>
                  <a:moveTo>
                    <a:pt x="347663" y="659129"/>
                  </a:moveTo>
                  <a:cubicBezTo>
                    <a:pt x="350520" y="659129"/>
                    <a:pt x="352425" y="661034"/>
                    <a:pt x="352425" y="663892"/>
                  </a:cubicBezTo>
                  <a:cubicBezTo>
                    <a:pt x="352425" y="666749"/>
                    <a:pt x="350520" y="668654"/>
                    <a:pt x="347663" y="668654"/>
                  </a:cubicBezTo>
                  <a:cubicBezTo>
                    <a:pt x="344805" y="668654"/>
                    <a:pt x="342900" y="666749"/>
                    <a:pt x="342900" y="663892"/>
                  </a:cubicBezTo>
                  <a:cubicBezTo>
                    <a:pt x="342900" y="661034"/>
                    <a:pt x="344805" y="659129"/>
                    <a:pt x="347663" y="659129"/>
                  </a:cubicBezTo>
                  <a:close/>
                  <a:moveTo>
                    <a:pt x="88582" y="658177"/>
                  </a:moveTo>
                  <a:cubicBezTo>
                    <a:pt x="92393" y="658177"/>
                    <a:pt x="95250" y="661035"/>
                    <a:pt x="95250" y="664845"/>
                  </a:cubicBezTo>
                  <a:cubicBezTo>
                    <a:pt x="95250" y="668654"/>
                    <a:pt x="92393" y="671512"/>
                    <a:pt x="88582" y="671512"/>
                  </a:cubicBezTo>
                  <a:cubicBezTo>
                    <a:pt x="84772" y="671512"/>
                    <a:pt x="81915" y="668654"/>
                    <a:pt x="81915" y="664845"/>
                  </a:cubicBezTo>
                  <a:cubicBezTo>
                    <a:pt x="81915" y="661035"/>
                    <a:pt x="84772" y="658177"/>
                    <a:pt x="88582" y="658177"/>
                  </a:cubicBezTo>
                  <a:close/>
                  <a:moveTo>
                    <a:pt x="218123" y="657225"/>
                  </a:moveTo>
                  <a:cubicBezTo>
                    <a:pt x="221933" y="657225"/>
                    <a:pt x="225743" y="660083"/>
                    <a:pt x="225743" y="663892"/>
                  </a:cubicBezTo>
                  <a:cubicBezTo>
                    <a:pt x="225743" y="667702"/>
                    <a:pt x="221933" y="671513"/>
                    <a:pt x="218123" y="671513"/>
                  </a:cubicBezTo>
                  <a:cubicBezTo>
                    <a:pt x="213360" y="671513"/>
                    <a:pt x="210503" y="668655"/>
                    <a:pt x="210503" y="664845"/>
                  </a:cubicBezTo>
                  <a:cubicBezTo>
                    <a:pt x="210503" y="661035"/>
                    <a:pt x="214313" y="657225"/>
                    <a:pt x="218123" y="657225"/>
                  </a:cubicBezTo>
                  <a:close/>
                  <a:moveTo>
                    <a:pt x="2322195" y="635317"/>
                  </a:moveTo>
                  <a:cubicBezTo>
                    <a:pt x="2322195" y="635317"/>
                    <a:pt x="2323147" y="635317"/>
                    <a:pt x="2323147" y="636270"/>
                  </a:cubicBezTo>
                  <a:cubicBezTo>
                    <a:pt x="2323147" y="636270"/>
                    <a:pt x="2323147" y="637222"/>
                    <a:pt x="2322195" y="637222"/>
                  </a:cubicBezTo>
                  <a:cubicBezTo>
                    <a:pt x="2321242" y="637222"/>
                    <a:pt x="2320290" y="636270"/>
                    <a:pt x="2321242" y="636270"/>
                  </a:cubicBezTo>
                  <a:cubicBezTo>
                    <a:pt x="2321242" y="636270"/>
                    <a:pt x="2322195" y="635317"/>
                    <a:pt x="2322195" y="635317"/>
                  </a:cubicBezTo>
                  <a:close/>
                  <a:moveTo>
                    <a:pt x="20955" y="635317"/>
                  </a:moveTo>
                  <a:cubicBezTo>
                    <a:pt x="20955" y="635317"/>
                    <a:pt x="21908" y="635317"/>
                    <a:pt x="21908" y="636270"/>
                  </a:cubicBezTo>
                  <a:cubicBezTo>
                    <a:pt x="21908" y="636270"/>
                    <a:pt x="21908" y="637222"/>
                    <a:pt x="20955" y="637222"/>
                  </a:cubicBezTo>
                  <a:cubicBezTo>
                    <a:pt x="20003" y="637222"/>
                    <a:pt x="20003" y="636270"/>
                    <a:pt x="20003" y="636270"/>
                  </a:cubicBezTo>
                  <a:cubicBezTo>
                    <a:pt x="20003" y="636270"/>
                    <a:pt x="20003" y="635317"/>
                    <a:pt x="20955" y="635317"/>
                  </a:cubicBezTo>
                  <a:close/>
                  <a:moveTo>
                    <a:pt x="2192655" y="634365"/>
                  </a:moveTo>
                  <a:cubicBezTo>
                    <a:pt x="2193181" y="634365"/>
                    <a:pt x="2193608" y="634791"/>
                    <a:pt x="2193608" y="635317"/>
                  </a:cubicBezTo>
                  <a:cubicBezTo>
                    <a:pt x="2193608" y="635844"/>
                    <a:pt x="2193182" y="636270"/>
                    <a:pt x="2192655" y="636270"/>
                  </a:cubicBezTo>
                  <a:cubicBezTo>
                    <a:pt x="2192129" y="636270"/>
                    <a:pt x="2191703" y="635844"/>
                    <a:pt x="2191703" y="635317"/>
                  </a:cubicBezTo>
                  <a:cubicBezTo>
                    <a:pt x="2191703" y="634791"/>
                    <a:pt x="2192129" y="634365"/>
                    <a:pt x="2192655" y="634365"/>
                  </a:cubicBezTo>
                  <a:close/>
                  <a:moveTo>
                    <a:pt x="2257425" y="633412"/>
                  </a:moveTo>
                  <a:cubicBezTo>
                    <a:pt x="2258378" y="633412"/>
                    <a:pt x="2259330" y="634364"/>
                    <a:pt x="2259330" y="635317"/>
                  </a:cubicBezTo>
                  <a:cubicBezTo>
                    <a:pt x="2259330" y="636270"/>
                    <a:pt x="2258378" y="637222"/>
                    <a:pt x="2257425" y="637222"/>
                  </a:cubicBezTo>
                  <a:cubicBezTo>
                    <a:pt x="2256472" y="637222"/>
                    <a:pt x="2255520" y="636270"/>
                    <a:pt x="2255520" y="635317"/>
                  </a:cubicBezTo>
                  <a:cubicBezTo>
                    <a:pt x="2255520" y="634364"/>
                    <a:pt x="2256472" y="633412"/>
                    <a:pt x="2257425" y="633412"/>
                  </a:cubicBezTo>
                  <a:close/>
                  <a:moveTo>
                    <a:pt x="538163" y="633412"/>
                  </a:moveTo>
                  <a:cubicBezTo>
                    <a:pt x="539115" y="633412"/>
                    <a:pt x="540068" y="634364"/>
                    <a:pt x="540068" y="635317"/>
                  </a:cubicBezTo>
                  <a:cubicBezTo>
                    <a:pt x="540068" y="636270"/>
                    <a:pt x="539115" y="637222"/>
                    <a:pt x="538163" y="637222"/>
                  </a:cubicBezTo>
                  <a:cubicBezTo>
                    <a:pt x="537210" y="637222"/>
                    <a:pt x="536258" y="636270"/>
                    <a:pt x="536258" y="635317"/>
                  </a:cubicBezTo>
                  <a:cubicBezTo>
                    <a:pt x="536258" y="634364"/>
                    <a:pt x="537210" y="633412"/>
                    <a:pt x="538163" y="633412"/>
                  </a:cubicBezTo>
                  <a:close/>
                  <a:moveTo>
                    <a:pt x="408623" y="630554"/>
                  </a:moveTo>
                  <a:cubicBezTo>
                    <a:pt x="411480" y="630554"/>
                    <a:pt x="413385" y="632459"/>
                    <a:pt x="413385" y="635317"/>
                  </a:cubicBezTo>
                  <a:cubicBezTo>
                    <a:pt x="413385" y="638174"/>
                    <a:pt x="411480" y="640079"/>
                    <a:pt x="408623" y="640079"/>
                  </a:cubicBezTo>
                  <a:cubicBezTo>
                    <a:pt x="405765" y="640079"/>
                    <a:pt x="403860" y="638174"/>
                    <a:pt x="403860" y="635317"/>
                  </a:cubicBezTo>
                  <a:cubicBezTo>
                    <a:pt x="403860" y="632459"/>
                    <a:pt x="405765" y="630554"/>
                    <a:pt x="408623" y="630554"/>
                  </a:cubicBezTo>
                  <a:close/>
                  <a:moveTo>
                    <a:pt x="279083" y="629602"/>
                  </a:moveTo>
                  <a:cubicBezTo>
                    <a:pt x="282893" y="629602"/>
                    <a:pt x="285750" y="632460"/>
                    <a:pt x="285750" y="636270"/>
                  </a:cubicBezTo>
                  <a:cubicBezTo>
                    <a:pt x="285750" y="640079"/>
                    <a:pt x="282893" y="642937"/>
                    <a:pt x="279083" y="642937"/>
                  </a:cubicBezTo>
                  <a:cubicBezTo>
                    <a:pt x="275273" y="642937"/>
                    <a:pt x="272415" y="640079"/>
                    <a:pt x="272415" y="636270"/>
                  </a:cubicBezTo>
                  <a:cubicBezTo>
                    <a:pt x="272415" y="632460"/>
                    <a:pt x="275273" y="629602"/>
                    <a:pt x="279083" y="629602"/>
                  </a:cubicBezTo>
                  <a:close/>
                  <a:moveTo>
                    <a:pt x="149543" y="629602"/>
                  </a:moveTo>
                  <a:cubicBezTo>
                    <a:pt x="152400" y="629602"/>
                    <a:pt x="155258" y="632460"/>
                    <a:pt x="155258" y="635317"/>
                  </a:cubicBezTo>
                  <a:cubicBezTo>
                    <a:pt x="155258" y="639127"/>
                    <a:pt x="152400" y="641032"/>
                    <a:pt x="149543" y="641032"/>
                  </a:cubicBezTo>
                  <a:cubicBezTo>
                    <a:pt x="146685" y="641032"/>
                    <a:pt x="144781" y="639127"/>
                    <a:pt x="143828" y="635317"/>
                  </a:cubicBezTo>
                  <a:cubicBezTo>
                    <a:pt x="143828" y="632460"/>
                    <a:pt x="146685" y="629602"/>
                    <a:pt x="149543" y="629602"/>
                  </a:cubicBezTo>
                  <a:close/>
                  <a:moveTo>
                    <a:pt x="599122" y="606742"/>
                  </a:moveTo>
                  <a:cubicBezTo>
                    <a:pt x="599122" y="606742"/>
                    <a:pt x="600075" y="606742"/>
                    <a:pt x="600075" y="607695"/>
                  </a:cubicBezTo>
                  <a:cubicBezTo>
                    <a:pt x="600075" y="607695"/>
                    <a:pt x="600075" y="608647"/>
                    <a:pt x="599122" y="608647"/>
                  </a:cubicBezTo>
                  <a:cubicBezTo>
                    <a:pt x="598170" y="608647"/>
                    <a:pt x="598170" y="607695"/>
                    <a:pt x="598170" y="607695"/>
                  </a:cubicBezTo>
                  <a:cubicBezTo>
                    <a:pt x="598170" y="607695"/>
                    <a:pt x="598170" y="606742"/>
                    <a:pt x="599122" y="606742"/>
                  </a:cubicBezTo>
                  <a:close/>
                  <a:moveTo>
                    <a:pt x="469582" y="605789"/>
                  </a:moveTo>
                  <a:cubicBezTo>
                    <a:pt x="470535" y="605789"/>
                    <a:pt x="471487" y="606741"/>
                    <a:pt x="471487" y="607694"/>
                  </a:cubicBezTo>
                  <a:cubicBezTo>
                    <a:pt x="471487" y="608647"/>
                    <a:pt x="470535" y="609599"/>
                    <a:pt x="469582" y="609599"/>
                  </a:cubicBezTo>
                  <a:cubicBezTo>
                    <a:pt x="468630" y="609599"/>
                    <a:pt x="467677" y="608647"/>
                    <a:pt x="467677" y="607694"/>
                  </a:cubicBezTo>
                  <a:cubicBezTo>
                    <a:pt x="467677" y="606741"/>
                    <a:pt x="468630" y="605789"/>
                    <a:pt x="469582" y="605789"/>
                  </a:cubicBezTo>
                  <a:close/>
                  <a:moveTo>
                    <a:pt x="340995" y="601979"/>
                  </a:moveTo>
                  <a:cubicBezTo>
                    <a:pt x="343852" y="601979"/>
                    <a:pt x="345757" y="603884"/>
                    <a:pt x="345757" y="606742"/>
                  </a:cubicBezTo>
                  <a:cubicBezTo>
                    <a:pt x="345757" y="609599"/>
                    <a:pt x="343852" y="611504"/>
                    <a:pt x="340995" y="611504"/>
                  </a:cubicBezTo>
                  <a:cubicBezTo>
                    <a:pt x="338137" y="611504"/>
                    <a:pt x="336232" y="609599"/>
                    <a:pt x="336232" y="606742"/>
                  </a:cubicBezTo>
                  <a:cubicBezTo>
                    <a:pt x="336232" y="603884"/>
                    <a:pt x="338137" y="601979"/>
                    <a:pt x="340995" y="601979"/>
                  </a:cubicBezTo>
                  <a:close/>
                  <a:moveTo>
                    <a:pt x="211455" y="601979"/>
                  </a:moveTo>
                  <a:cubicBezTo>
                    <a:pt x="214312" y="601979"/>
                    <a:pt x="217170" y="604837"/>
                    <a:pt x="217170" y="607694"/>
                  </a:cubicBezTo>
                  <a:cubicBezTo>
                    <a:pt x="217170" y="610552"/>
                    <a:pt x="214312" y="613409"/>
                    <a:pt x="211455" y="613409"/>
                  </a:cubicBezTo>
                  <a:cubicBezTo>
                    <a:pt x="208597" y="613409"/>
                    <a:pt x="205740" y="610552"/>
                    <a:pt x="205740" y="607694"/>
                  </a:cubicBezTo>
                  <a:cubicBezTo>
                    <a:pt x="205740" y="604837"/>
                    <a:pt x="208597" y="601979"/>
                    <a:pt x="211455" y="601979"/>
                  </a:cubicBezTo>
                  <a:close/>
                  <a:moveTo>
                    <a:pt x="82868" y="601027"/>
                  </a:moveTo>
                  <a:cubicBezTo>
                    <a:pt x="86678" y="601027"/>
                    <a:pt x="89535" y="603885"/>
                    <a:pt x="89535" y="607695"/>
                  </a:cubicBezTo>
                  <a:cubicBezTo>
                    <a:pt x="89535" y="611504"/>
                    <a:pt x="86678" y="614362"/>
                    <a:pt x="82868" y="614362"/>
                  </a:cubicBezTo>
                  <a:cubicBezTo>
                    <a:pt x="79057" y="614362"/>
                    <a:pt x="76200" y="610552"/>
                    <a:pt x="76200" y="607695"/>
                  </a:cubicBezTo>
                  <a:cubicBezTo>
                    <a:pt x="76200" y="603885"/>
                    <a:pt x="79057" y="601027"/>
                    <a:pt x="82868" y="601027"/>
                  </a:cubicBezTo>
                  <a:close/>
                  <a:moveTo>
                    <a:pt x="2262188" y="576262"/>
                  </a:moveTo>
                  <a:cubicBezTo>
                    <a:pt x="2263141" y="576262"/>
                    <a:pt x="2264093" y="577214"/>
                    <a:pt x="2264093" y="578167"/>
                  </a:cubicBezTo>
                  <a:cubicBezTo>
                    <a:pt x="2264093" y="579120"/>
                    <a:pt x="2263141" y="580072"/>
                    <a:pt x="2262188" y="580072"/>
                  </a:cubicBezTo>
                  <a:cubicBezTo>
                    <a:pt x="2261235" y="580072"/>
                    <a:pt x="2260283" y="579120"/>
                    <a:pt x="2260283" y="578167"/>
                  </a:cubicBezTo>
                  <a:cubicBezTo>
                    <a:pt x="2260283" y="577214"/>
                    <a:pt x="2261235" y="576262"/>
                    <a:pt x="2262188" y="576262"/>
                  </a:cubicBezTo>
                  <a:close/>
                  <a:moveTo>
                    <a:pt x="531495" y="576262"/>
                  </a:moveTo>
                  <a:cubicBezTo>
                    <a:pt x="532448" y="576262"/>
                    <a:pt x="533400" y="577214"/>
                    <a:pt x="533400" y="578167"/>
                  </a:cubicBezTo>
                  <a:cubicBezTo>
                    <a:pt x="533400" y="579120"/>
                    <a:pt x="532448" y="580072"/>
                    <a:pt x="531495" y="580072"/>
                  </a:cubicBezTo>
                  <a:cubicBezTo>
                    <a:pt x="530542" y="580072"/>
                    <a:pt x="529590" y="579120"/>
                    <a:pt x="529590" y="578167"/>
                  </a:cubicBezTo>
                  <a:cubicBezTo>
                    <a:pt x="529590" y="577214"/>
                    <a:pt x="530542" y="576262"/>
                    <a:pt x="531495" y="576262"/>
                  </a:cubicBezTo>
                  <a:close/>
                  <a:moveTo>
                    <a:pt x="402908" y="574357"/>
                  </a:moveTo>
                  <a:cubicBezTo>
                    <a:pt x="404813" y="574357"/>
                    <a:pt x="406718" y="576262"/>
                    <a:pt x="406718" y="578167"/>
                  </a:cubicBezTo>
                  <a:cubicBezTo>
                    <a:pt x="406718" y="580072"/>
                    <a:pt x="404813" y="581977"/>
                    <a:pt x="402908" y="581977"/>
                  </a:cubicBezTo>
                  <a:cubicBezTo>
                    <a:pt x="401003" y="581977"/>
                    <a:pt x="400050" y="580072"/>
                    <a:pt x="399098" y="578167"/>
                  </a:cubicBezTo>
                  <a:cubicBezTo>
                    <a:pt x="399098" y="576262"/>
                    <a:pt x="401003" y="574357"/>
                    <a:pt x="402908" y="574357"/>
                  </a:cubicBezTo>
                  <a:close/>
                  <a:moveTo>
                    <a:pt x="145732" y="573405"/>
                  </a:moveTo>
                  <a:cubicBezTo>
                    <a:pt x="148363" y="573405"/>
                    <a:pt x="150495" y="575537"/>
                    <a:pt x="150495" y="578167"/>
                  </a:cubicBezTo>
                  <a:cubicBezTo>
                    <a:pt x="150495" y="580798"/>
                    <a:pt x="148363" y="582930"/>
                    <a:pt x="145732" y="582930"/>
                  </a:cubicBezTo>
                  <a:cubicBezTo>
                    <a:pt x="143102" y="582930"/>
                    <a:pt x="140970" y="580798"/>
                    <a:pt x="140970" y="578167"/>
                  </a:cubicBezTo>
                  <a:cubicBezTo>
                    <a:pt x="140970" y="575537"/>
                    <a:pt x="143102" y="573405"/>
                    <a:pt x="145732" y="573405"/>
                  </a:cubicBezTo>
                  <a:close/>
                  <a:moveTo>
                    <a:pt x="274320" y="571500"/>
                  </a:moveTo>
                  <a:cubicBezTo>
                    <a:pt x="278130" y="571500"/>
                    <a:pt x="280987" y="574358"/>
                    <a:pt x="280987" y="578167"/>
                  </a:cubicBezTo>
                  <a:cubicBezTo>
                    <a:pt x="280987" y="581977"/>
                    <a:pt x="278130" y="584835"/>
                    <a:pt x="274320" y="584835"/>
                  </a:cubicBezTo>
                  <a:cubicBezTo>
                    <a:pt x="270510" y="584835"/>
                    <a:pt x="267652" y="581977"/>
                    <a:pt x="267652" y="578167"/>
                  </a:cubicBezTo>
                  <a:cubicBezTo>
                    <a:pt x="267652" y="574358"/>
                    <a:pt x="270510" y="571500"/>
                    <a:pt x="274320" y="571500"/>
                  </a:cubicBezTo>
                  <a:close/>
                  <a:moveTo>
                    <a:pt x="465773" y="548639"/>
                  </a:moveTo>
                  <a:cubicBezTo>
                    <a:pt x="465773" y="548639"/>
                    <a:pt x="466725" y="548639"/>
                    <a:pt x="466725" y="549591"/>
                  </a:cubicBezTo>
                  <a:cubicBezTo>
                    <a:pt x="466725" y="549591"/>
                    <a:pt x="466725" y="550544"/>
                    <a:pt x="465773" y="550544"/>
                  </a:cubicBezTo>
                  <a:cubicBezTo>
                    <a:pt x="464820" y="550544"/>
                    <a:pt x="464820" y="550544"/>
                    <a:pt x="464820" y="549591"/>
                  </a:cubicBezTo>
                  <a:cubicBezTo>
                    <a:pt x="464820" y="549591"/>
                    <a:pt x="464820" y="548639"/>
                    <a:pt x="465773" y="548639"/>
                  </a:cubicBezTo>
                  <a:close/>
                  <a:moveTo>
                    <a:pt x="337186" y="544829"/>
                  </a:moveTo>
                  <a:cubicBezTo>
                    <a:pt x="340043" y="544829"/>
                    <a:pt x="341948" y="546734"/>
                    <a:pt x="341948" y="549592"/>
                  </a:cubicBezTo>
                  <a:cubicBezTo>
                    <a:pt x="341948" y="552449"/>
                    <a:pt x="340043" y="554354"/>
                    <a:pt x="337186" y="554354"/>
                  </a:cubicBezTo>
                  <a:cubicBezTo>
                    <a:pt x="335280" y="554354"/>
                    <a:pt x="332423" y="552449"/>
                    <a:pt x="332423" y="549592"/>
                  </a:cubicBezTo>
                  <a:cubicBezTo>
                    <a:pt x="332423" y="546734"/>
                    <a:pt x="334328" y="544829"/>
                    <a:pt x="337186" y="544829"/>
                  </a:cubicBezTo>
                  <a:close/>
                  <a:moveTo>
                    <a:pt x="80010" y="544829"/>
                  </a:moveTo>
                  <a:cubicBezTo>
                    <a:pt x="82867" y="544829"/>
                    <a:pt x="84772" y="546734"/>
                    <a:pt x="84772" y="549592"/>
                  </a:cubicBezTo>
                  <a:cubicBezTo>
                    <a:pt x="84772" y="552449"/>
                    <a:pt x="82867" y="554354"/>
                    <a:pt x="80010" y="554354"/>
                  </a:cubicBezTo>
                  <a:cubicBezTo>
                    <a:pt x="78105" y="554354"/>
                    <a:pt x="76200" y="552449"/>
                    <a:pt x="75247" y="549592"/>
                  </a:cubicBezTo>
                  <a:cubicBezTo>
                    <a:pt x="75247" y="546734"/>
                    <a:pt x="77152" y="544829"/>
                    <a:pt x="80010" y="544829"/>
                  </a:cubicBezTo>
                  <a:close/>
                  <a:moveTo>
                    <a:pt x="208597" y="543877"/>
                  </a:moveTo>
                  <a:cubicBezTo>
                    <a:pt x="211455" y="543877"/>
                    <a:pt x="214312" y="546735"/>
                    <a:pt x="214312" y="549592"/>
                  </a:cubicBezTo>
                  <a:cubicBezTo>
                    <a:pt x="214312" y="552450"/>
                    <a:pt x="211455" y="555307"/>
                    <a:pt x="208597" y="555307"/>
                  </a:cubicBezTo>
                  <a:cubicBezTo>
                    <a:pt x="205740" y="555307"/>
                    <a:pt x="203835" y="552450"/>
                    <a:pt x="202882" y="549592"/>
                  </a:cubicBezTo>
                  <a:cubicBezTo>
                    <a:pt x="202882" y="546735"/>
                    <a:pt x="205740" y="543877"/>
                    <a:pt x="208597" y="543877"/>
                  </a:cubicBezTo>
                  <a:close/>
                  <a:moveTo>
                    <a:pt x="529590" y="520064"/>
                  </a:moveTo>
                  <a:cubicBezTo>
                    <a:pt x="529590" y="520064"/>
                    <a:pt x="530543" y="521016"/>
                    <a:pt x="530543" y="521016"/>
                  </a:cubicBezTo>
                  <a:cubicBezTo>
                    <a:pt x="530543" y="521016"/>
                    <a:pt x="530543" y="521969"/>
                    <a:pt x="529590" y="521969"/>
                  </a:cubicBezTo>
                  <a:cubicBezTo>
                    <a:pt x="528638" y="521969"/>
                    <a:pt x="528638" y="521016"/>
                    <a:pt x="528638" y="521016"/>
                  </a:cubicBezTo>
                  <a:cubicBezTo>
                    <a:pt x="528638" y="521016"/>
                    <a:pt x="528638" y="520064"/>
                    <a:pt x="529590" y="520064"/>
                  </a:cubicBezTo>
                  <a:close/>
                  <a:moveTo>
                    <a:pt x="401002" y="518160"/>
                  </a:moveTo>
                  <a:cubicBezTo>
                    <a:pt x="401955" y="518160"/>
                    <a:pt x="403860" y="519112"/>
                    <a:pt x="403860" y="521017"/>
                  </a:cubicBezTo>
                  <a:cubicBezTo>
                    <a:pt x="403860" y="521970"/>
                    <a:pt x="402908" y="523875"/>
                    <a:pt x="401002" y="523875"/>
                  </a:cubicBezTo>
                  <a:cubicBezTo>
                    <a:pt x="399098" y="523875"/>
                    <a:pt x="398145" y="522923"/>
                    <a:pt x="398145" y="521017"/>
                  </a:cubicBezTo>
                  <a:cubicBezTo>
                    <a:pt x="398145" y="520065"/>
                    <a:pt x="399098" y="518160"/>
                    <a:pt x="401002" y="518160"/>
                  </a:cubicBezTo>
                  <a:close/>
                  <a:moveTo>
                    <a:pt x="143828" y="516254"/>
                  </a:moveTo>
                  <a:cubicBezTo>
                    <a:pt x="146685" y="516254"/>
                    <a:pt x="148590" y="518159"/>
                    <a:pt x="148590" y="521017"/>
                  </a:cubicBezTo>
                  <a:cubicBezTo>
                    <a:pt x="148590" y="523874"/>
                    <a:pt x="146685" y="525779"/>
                    <a:pt x="143828" y="525779"/>
                  </a:cubicBezTo>
                  <a:cubicBezTo>
                    <a:pt x="141922" y="525779"/>
                    <a:pt x="139065" y="522922"/>
                    <a:pt x="139065" y="521017"/>
                  </a:cubicBezTo>
                  <a:cubicBezTo>
                    <a:pt x="139065" y="518159"/>
                    <a:pt x="140970" y="516254"/>
                    <a:pt x="143828" y="516254"/>
                  </a:cubicBezTo>
                  <a:close/>
                  <a:moveTo>
                    <a:pt x="272415" y="514350"/>
                  </a:moveTo>
                  <a:cubicBezTo>
                    <a:pt x="276225" y="514350"/>
                    <a:pt x="279083" y="517208"/>
                    <a:pt x="279083" y="521017"/>
                  </a:cubicBezTo>
                  <a:cubicBezTo>
                    <a:pt x="279083" y="524827"/>
                    <a:pt x="276225" y="527685"/>
                    <a:pt x="272415" y="527685"/>
                  </a:cubicBezTo>
                  <a:cubicBezTo>
                    <a:pt x="268605" y="527685"/>
                    <a:pt x="265748" y="524827"/>
                    <a:pt x="265748" y="521017"/>
                  </a:cubicBezTo>
                  <a:cubicBezTo>
                    <a:pt x="265748" y="517208"/>
                    <a:pt x="268605" y="514350"/>
                    <a:pt x="272415" y="514350"/>
                  </a:cubicBezTo>
                  <a:close/>
                  <a:moveTo>
                    <a:pt x="465773" y="489585"/>
                  </a:moveTo>
                  <a:cubicBezTo>
                    <a:pt x="466725" y="489585"/>
                    <a:pt x="467678" y="490537"/>
                    <a:pt x="467678" y="491490"/>
                  </a:cubicBezTo>
                  <a:cubicBezTo>
                    <a:pt x="467678" y="492442"/>
                    <a:pt x="466725" y="493395"/>
                    <a:pt x="465773" y="493395"/>
                  </a:cubicBezTo>
                  <a:cubicBezTo>
                    <a:pt x="464820" y="493395"/>
                    <a:pt x="463868" y="493395"/>
                    <a:pt x="463868" y="491490"/>
                  </a:cubicBezTo>
                  <a:cubicBezTo>
                    <a:pt x="463868" y="490537"/>
                    <a:pt x="464820" y="489585"/>
                    <a:pt x="465773" y="489585"/>
                  </a:cubicBezTo>
                  <a:close/>
                  <a:moveTo>
                    <a:pt x="337185" y="488632"/>
                  </a:moveTo>
                  <a:cubicBezTo>
                    <a:pt x="339090" y="488632"/>
                    <a:pt x="340995" y="490537"/>
                    <a:pt x="340995" y="492442"/>
                  </a:cubicBezTo>
                  <a:cubicBezTo>
                    <a:pt x="340995" y="494347"/>
                    <a:pt x="339090" y="496252"/>
                    <a:pt x="337185" y="496252"/>
                  </a:cubicBezTo>
                  <a:cubicBezTo>
                    <a:pt x="335280" y="496252"/>
                    <a:pt x="333375" y="494347"/>
                    <a:pt x="333375" y="492442"/>
                  </a:cubicBezTo>
                  <a:cubicBezTo>
                    <a:pt x="333375" y="490537"/>
                    <a:pt x="335280" y="488632"/>
                    <a:pt x="337185" y="488632"/>
                  </a:cubicBezTo>
                  <a:close/>
                  <a:moveTo>
                    <a:pt x="80010" y="487679"/>
                  </a:moveTo>
                  <a:cubicBezTo>
                    <a:pt x="81915" y="487679"/>
                    <a:pt x="83820" y="489584"/>
                    <a:pt x="83820" y="491489"/>
                  </a:cubicBezTo>
                  <a:cubicBezTo>
                    <a:pt x="83820" y="493394"/>
                    <a:pt x="81915" y="495299"/>
                    <a:pt x="80010" y="495299"/>
                  </a:cubicBezTo>
                  <a:cubicBezTo>
                    <a:pt x="78105" y="495299"/>
                    <a:pt x="76200" y="494347"/>
                    <a:pt x="76200" y="491489"/>
                  </a:cubicBezTo>
                  <a:cubicBezTo>
                    <a:pt x="76200" y="489584"/>
                    <a:pt x="78105" y="487679"/>
                    <a:pt x="80010" y="487679"/>
                  </a:cubicBezTo>
                  <a:close/>
                  <a:moveTo>
                    <a:pt x="208597" y="485775"/>
                  </a:moveTo>
                  <a:cubicBezTo>
                    <a:pt x="211455" y="485775"/>
                    <a:pt x="214312" y="488633"/>
                    <a:pt x="214312" y="491490"/>
                  </a:cubicBezTo>
                  <a:cubicBezTo>
                    <a:pt x="214312" y="494348"/>
                    <a:pt x="211455" y="497205"/>
                    <a:pt x="208597" y="497205"/>
                  </a:cubicBezTo>
                  <a:cubicBezTo>
                    <a:pt x="205740" y="497205"/>
                    <a:pt x="202882" y="495300"/>
                    <a:pt x="202882" y="491490"/>
                  </a:cubicBezTo>
                  <a:cubicBezTo>
                    <a:pt x="202882" y="488633"/>
                    <a:pt x="205740" y="485775"/>
                    <a:pt x="208597" y="485775"/>
                  </a:cubicBezTo>
                  <a:close/>
                  <a:moveTo>
                    <a:pt x="402907" y="460057"/>
                  </a:moveTo>
                  <a:cubicBezTo>
                    <a:pt x="404813" y="460057"/>
                    <a:pt x="405765" y="461009"/>
                    <a:pt x="405765" y="462914"/>
                  </a:cubicBezTo>
                  <a:cubicBezTo>
                    <a:pt x="405765" y="464820"/>
                    <a:pt x="404813" y="465772"/>
                    <a:pt x="402907" y="465772"/>
                  </a:cubicBezTo>
                  <a:cubicBezTo>
                    <a:pt x="401002" y="465772"/>
                    <a:pt x="400050" y="464820"/>
                    <a:pt x="400050" y="462914"/>
                  </a:cubicBezTo>
                  <a:cubicBezTo>
                    <a:pt x="400050" y="461009"/>
                    <a:pt x="401002" y="460057"/>
                    <a:pt x="402907" y="460057"/>
                  </a:cubicBezTo>
                  <a:close/>
                  <a:moveTo>
                    <a:pt x="145733" y="458152"/>
                  </a:moveTo>
                  <a:cubicBezTo>
                    <a:pt x="148590" y="458152"/>
                    <a:pt x="150495" y="460057"/>
                    <a:pt x="150495" y="462915"/>
                  </a:cubicBezTo>
                  <a:cubicBezTo>
                    <a:pt x="150495" y="465772"/>
                    <a:pt x="148590" y="467677"/>
                    <a:pt x="145733" y="467677"/>
                  </a:cubicBezTo>
                  <a:cubicBezTo>
                    <a:pt x="142875" y="467677"/>
                    <a:pt x="140970" y="465772"/>
                    <a:pt x="140970" y="462915"/>
                  </a:cubicBezTo>
                  <a:cubicBezTo>
                    <a:pt x="140970" y="460057"/>
                    <a:pt x="142875" y="458152"/>
                    <a:pt x="145733" y="458152"/>
                  </a:cubicBezTo>
                  <a:close/>
                  <a:moveTo>
                    <a:pt x="274320" y="457200"/>
                  </a:moveTo>
                  <a:cubicBezTo>
                    <a:pt x="277177" y="457200"/>
                    <a:pt x="280035" y="460058"/>
                    <a:pt x="280035" y="462915"/>
                  </a:cubicBezTo>
                  <a:cubicBezTo>
                    <a:pt x="280035" y="466725"/>
                    <a:pt x="277177" y="468630"/>
                    <a:pt x="274320" y="468630"/>
                  </a:cubicBezTo>
                  <a:cubicBezTo>
                    <a:pt x="271462" y="468630"/>
                    <a:pt x="268605" y="465773"/>
                    <a:pt x="268605" y="462915"/>
                  </a:cubicBezTo>
                  <a:cubicBezTo>
                    <a:pt x="268605" y="460058"/>
                    <a:pt x="271462" y="457200"/>
                    <a:pt x="274320" y="457200"/>
                  </a:cubicBezTo>
                  <a:close/>
                  <a:moveTo>
                    <a:pt x="469582" y="432435"/>
                  </a:moveTo>
                  <a:cubicBezTo>
                    <a:pt x="470535" y="432435"/>
                    <a:pt x="471487" y="433387"/>
                    <a:pt x="471487" y="434340"/>
                  </a:cubicBezTo>
                  <a:cubicBezTo>
                    <a:pt x="471487" y="435292"/>
                    <a:pt x="470535" y="436245"/>
                    <a:pt x="469582" y="436245"/>
                  </a:cubicBezTo>
                  <a:cubicBezTo>
                    <a:pt x="468630" y="436245"/>
                    <a:pt x="467677" y="435292"/>
                    <a:pt x="467677" y="434340"/>
                  </a:cubicBezTo>
                  <a:cubicBezTo>
                    <a:pt x="467677" y="433387"/>
                    <a:pt x="468630" y="432435"/>
                    <a:pt x="469582" y="432435"/>
                  </a:cubicBezTo>
                  <a:close/>
                  <a:moveTo>
                    <a:pt x="82868" y="432435"/>
                  </a:moveTo>
                  <a:cubicBezTo>
                    <a:pt x="83820" y="432435"/>
                    <a:pt x="84773" y="433387"/>
                    <a:pt x="84773" y="434340"/>
                  </a:cubicBezTo>
                  <a:cubicBezTo>
                    <a:pt x="84773" y="435292"/>
                    <a:pt x="83820" y="436245"/>
                    <a:pt x="82868" y="436245"/>
                  </a:cubicBezTo>
                  <a:cubicBezTo>
                    <a:pt x="81916" y="436245"/>
                    <a:pt x="80963" y="435292"/>
                    <a:pt x="80963" y="434340"/>
                  </a:cubicBezTo>
                  <a:cubicBezTo>
                    <a:pt x="80963" y="433387"/>
                    <a:pt x="81916" y="432435"/>
                    <a:pt x="82868" y="432435"/>
                  </a:cubicBezTo>
                  <a:close/>
                  <a:moveTo>
                    <a:pt x="340995" y="431482"/>
                  </a:moveTo>
                  <a:cubicBezTo>
                    <a:pt x="342900" y="431482"/>
                    <a:pt x="343852" y="432434"/>
                    <a:pt x="343852" y="434339"/>
                  </a:cubicBezTo>
                  <a:cubicBezTo>
                    <a:pt x="343852" y="435292"/>
                    <a:pt x="342900" y="437197"/>
                    <a:pt x="340995" y="437197"/>
                  </a:cubicBezTo>
                  <a:cubicBezTo>
                    <a:pt x="339090" y="437197"/>
                    <a:pt x="337185" y="436245"/>
                    <a:pt x="338137" y="434339"/>
                  </a:cubicBezTo>
                  <a:cubicBezTo>
                    <a:pt x="338137" y="433387"/>
                    <a:pt x="339090" y="431482"/>
                    <a:pt x="340995" y="431482"/>
                  </a:cubicBezTo>
                  <a:close/>
                  <a:moveTo>
                    <a:pt x="211456" y="429577"/>
                  </a:moveTo>
                  <a:cubicBezTo>
                    <a:pt x="214313" y="429577"/>
                    <a:pt x="216218" y="431482"/>
                    <a:pt x="216218" y="434340"/>
                  </a:cubicBezTo>
                  <a:cubicBezTo>
                    <a:pt x="216218" y="437197"/>
                    <a:pt x="214313" y="439102"/>
                    <a:pt x="211456" y="439102"/>
                  </a:cubicBezTo>
                  <a:cubicBezTo>
                    <a:pt x="209550" y="439102"/>
                    <a:pt x="206693" y="437197"/>
                    <a:pt x="206693" y="434340"/>
                  </a:cubicBezTo>
                  <a:cubicBezTo>
                    <a:pt x="206693" y="431482"/>
                    <a:pt x="208598" y="429577"/>
                    <a:pt x="211456" y="429577"/>
                  </a:cubicBezTo>
                  <a:close/>
                  <a:moveTo>
                    <a:pt x="408623" y="402907"/>
                  </a:moveTo>
                  <a:cubicBezTo>
                    <a:pt x="410528" y="402907"/>
                    <a:pt x="411480" y="403859"/>
                    <a:pt x="411480" y="405764"/>
                  </a:cubicBezTo>
                  <a:cubicBezTo>
                    <a:pt x="411480" y="407670"/>
                    <a:pt x="410528" y="408622"/>
                    <a:pt x="408623" y="408622"/>
                  </a:cubicBezTo>
                  <a:cubicBezTo>
                    <a:pt x="406718" y="408622"/>
                    <a:pt x="405765" y="407670"/>
                    <a:pt x="405765" y="405764"/>
                  </a:cubicBezTo>
                  <a:cubicBezTo>
                    <a:pt x="405765" y="403859"/>
                    <a:pt x="406718" y="402907"/>
                    <a:pt x="408623" y="402907"/>
                  </a:cubicBezTo>
                  <a:close/>
                  <a:moveTo>
                    <a:pt x="149543" y="401002"/>
                  </a:moveTo>
                  <a:cubicBezTo>
                    <a:pt x="152400" y="401002"/>
                    <a:pt x="154305" y="402907"/>
                    <a:pt x="154305" y="405765"/>
                  </a:cubicBezTo>
                  <a:cubicBezTo>
                    <a:pt x="154305" y="408622"/>
                    <a:pt x="152400" y="410527"/>
                    <a:pt x="149543" y="410527"/>
                  </a:cubicBezTo>
                  <a:cubicBezTo>
                    <a:pt x="147637" y="410527"/>
                    <a:pt x="145732" y="407670"/>
                    <a:pt x="144780" y="405765"/>
                  </a:cubicBezTo>
                  <a:cubicBezTo>
                    <a:pt x="144780" y="402907"/>
                    <a:pt x="146685" y="401002"/>
                    <a:pt x="149543" y="401002"/>
                  </a:cubicBezTo>
                  <a:close/>
                  <a:moveTo>
                    <a:pt x="279083" y="400050"/>
                  </a:moveTo>
                  <a:cubicBezTo>
                    <a:pt x="281940" y="400050"/>
                    <a:pt x="284798" y="401955"/>
                    <a:pt x="284798" y="404813"/>
                  </a:cubicBezTo>
                  <a:cubicBezTo>
                    <a:pt x="284798" y="407670"/>
                    <a:pt x="281940" y="410527"/>
                    <a:pt x="279083" y="410527"/>
                  </a:cubicBezTo>
                  <a:cubicBezTo>
                    <a:pt x="276225" y="410527"/>
                    <a:pt x="273368" y="408623"/>
                    <a:pt x="273368" y="405765"/>
                  </a:cubicBezTo>
                  <a:cubicBezTo>
                    <a:pt x="273368" y="402908"/>
                    <a:pt x="276225" y="400050"/>
                    <a:pt x="279083" y="400050"/>
                  </a:cubicBezTo>
                  <a:close/>
                  <a:moveTo>
                    <a:pt x="347662" y="372427"/>
                  </a:moveTo>
                  <a:cubicBezTo>
                    <a:pt x="349567" y="372427"/>
                    <a:pt x="351472" y="374332"/>
                    <a:pt x="351472" y="376237"/>
                  </a:cubicBezTo>
                  <a:cubicBezTo>
                    <a:pt x="351472" y="378142"/>
                    <a:pt x="349567" y="380047"/>
                    <a:pt x="347662" y="380047"/>
                  </a:cubicBezTo>
                  <a:cubicBezTo>
                    <a:pt x="345757" y="380047"/>
                    <a:pt x="343852" y="379095"/>
                    <a:pt x="343852" y="376237"/>
                  </a:cubicBezTo>
                  <a:cubicBezTo>
                    <a:pt x="343852" y="374332"/>
                    <a:pt x="345757" y="372427"/>
                    <a:pt x="347662" y="372427"/>
                  </a:cubicBezTo>
                  <a:close/>
                  <a:moveTo>
                    <a:pt x="218122" y="370522"/>
                  </a:moveTo>
                  <a:cubicBezTo>
                    <a:pt x="221805" y="370522"/>
                    <a:pt x="224790" y="373507"/>
                    <a:pt x="224790" y="377189"/>
                  </a:cubicBezTo>
                  <a:cubicBezTo>
                    <a:pt x="224790" y="380872"/>
                    <a:pt x="221805" y="383857"/>
                    <a:pt x="218122" y="383857"/>
                  </a:cubicBezTo>
                  <a:cubicBezTo>
                    <a:pt x="214440" y="383857"/>
                    <a:pt x="211455" y="380872"/>
                    <a:pt x="211455" y="377189"/>
                  </a:cubicBezTo>
                  <a:cubicBezTo>
                    <a:pt x="211455" y="373507"/>
                    <a:pt x="214440" y="370522"/>
                    <a:pt x="218122" y="370522"/>
                  </a:cubicBezTo>
                  <a:close/>
                  <a:moveTo>
                    <a:pt x="418148" y="346710"/>
                  </a:moveTo>
                  <a:cubicBezTo>
                    <a:pt x="419100" y="346710"/>
                    <a:pt x="420053" y="347662"/>
                    <a:pt x="420053" y="348615"/>
                  </a:cubicBezTo>
                  <a:cubicBezTo>
                    <a:pt x="420053" y="349567"/>
                    <a:pt x="419100" y="350520"/>
                    <a:pt x="418148" y="350520"/>
                  </a:cubicBezTo>
                  <a:cubicBezTo>
                    <a:pt x="416243" y="350520"/>
                    <a:pt x="415290" y="349567"/>
                    <a:pt x="416243" y="348615"/>
                  </a:cubicBezTo>
                  <a:cubicBezTo>
                    <a:pt x="416243" y="347662"/>
                    <a:pt x="417195" y="346710"/>
                    <a:pt x="418148" y="346710"/>
                  </a:cubicBezTo>
                  <a:close/>
                  <a:moveTo>
                    <a:pt x="157163" y="344805"/>
                  </a:moveTo>
                  <a:cubicBezTo>
                    <a:pt x="159267" y="344805"/>
                    <a:pt x="160973" y="346511"/>
                    <a:pt x="160973" y="348615"/>
                  </a:cubicBezTo>
                  <a:cubicBezTo>
                    <a:pt x="160973" y="350719"/>
                    <a:pt x="159267" y="352425"/>
                    <a:pt x="157163" y="352425"/>
                  </a:cubicBezTo>
                  <a:cubicBezTo>
                    <a:pt x="155059" y="352425"/>
                    <a:pt x="153353" y="350719"/>
                    <a:pt x="153353" y="348615"/>
                  </a:cubicBezTo>
                  <a:cubicBezTo>
                    <a:pt x="153353" y="346511"/>
                    <a:pt x="155059" y="344805"/>
                    <a:pt x="157163" y="344805"/>
                  </a:cubicBezTo>
                  <a:close/>
                  <a:moveTo>
                    <a:pt x="287655" y="342900"/>
                  </a:moveTo>
                  <a:cubicBezTo>
                    <a:pt x="291465" y="342900"/>
                    <a:pt x="293370" y="345757"/>
                    <a:pt x="293370" y="348615"/>
                  </a:cubicBezTo>
                  <a:cubicBezTo>
                    <a:pt x="293370" y="351473"/>
                    <a:pt x="290513" y="354330"/>
                    <a:pt x="287655" y="354330"/>
                  </a:cubicBezTo>
                  <a:cubicBezTo>
                    <a:pt x="283845" y="354330"/>
                    <a:pt x="281940" y="351473"/>
                    <a:pt x="281940" y="348615"/>
                  </a:cubicBezTo>
                  <a:cubicBezTo>
                    <a:pt x="281940" y="344805"/>
                    <a:pt x="284798" y="342900"/>
                    <a:pt x="287655" y="342900"/>
                  </a:cubicBezTo>
                  <a:close/>
                  <a:moveTo>
                    <a:pt x="489585" y="320039"/>
                  </a:moveTo>
                  <a:cubicBezTo>
                    <a:pt x="489585" y="320039"/>
                    <a:pt x="490537" y="320039"/>
                    <a:pt x="490537" y="320992"/>
                  </a:cubicBezTo>
                  <a:cubicBezTo>
                    <a:pt x="490537" y="320992"/>
                    <a:pt x="490537" y="321944"/>
                    <a:pt x="489585" y="321944"/>
                  </a:cubicBezTo>
                  <a:cubicBezTo>
                    <a:pt x="488632" y="321944"/>
                    <a:pt x="488632" y="321944"/>
                    <a:pt x="488632" y="320992"/>
                  </a:cubicBezTo>
                  <a:cubicBezTo>
                    <a:pt x="488632" y="320992"/>
                    <a:pt x="489585" y="320039"/>
                    <a:pt x="489585" y="320039"/>
                  </a:cubicBezTo>
                  <a:close/>
                  <a:moveTo>
                    <a:pt x="358140" y="318135"/>
                  </a:moveTo>
                  <a:cubicBezTo>
                    <a:pt x="359092" y="318135"/>
                    <a:pt x="360997" y="319087"/>
                    <a:pt x="360997" y="320992"/>
                  </a:cubicBezTo>
                  <a:cubicBezTo>
                    <a:pt x="360997" y="321945"/>
                    <a:pt x="360045" y="323850"/>
                    <a:pt x="358140" y="323850"/>
                  </a:cubicBezTo>
                  <a:cubicBezTo>
                    <a:pt x="356235" y="323850"/>
                    <a:pt x="354330" y="321945"/>
                    <a:pt x="355282" y="320992"/>
                  </a:cubicBezTo>
                  <a:cubicBezTo>
                    <a:pt x="355282" y="320040"/>
                    <a:pt x="356235" y="318135"/>
                    <a:pt x="358140" y="318135"/>
                  </a:cubicBezTo>
                  <a:close/>
                  <a:moveTo>
                    <a:pt x="226695" y="315277"/>
                  </a:moveTo>
                  <a:cubicBezTo>
                    <a:pt x="229552" y="315277"/>
                    <a:pt x="231457" y="317182"/>
                    <a:pt x="231457" y="320040"/>
                  </a:cubicBezTo>
                  <a:cubicBezTo>
                    <a:pt x="231457" y="322897"/>
                    <a:pt x="229552" y="324802"/>
                    <a:pt x="226695" y="324802"/>
                  </a:cubicBezTo>
                  <a:cubicBezTo>
                    <a:pt x="223837" y="324802"/>
                    <a:pt x="221932" y="322897"/>
                    <a:pt x="221932" y="320040"/>
                  </a:cubicBezTo>
                  <a:cubicBezTo>
                    <a:pt x="221932" y="317182"/>
                    <a:pt x="223837" y="315277"/>
                    <a:pt x="226695" y="315277"/>
                  </a:cubicBezTo>
                  <a:close/>
                  <a:moveTo>
                    <a:pt x="430530" y="292417"/>
                  </a:moveTo>
                  <a:cubicBezTo>
                    <a:pt x="430530" y="292417"/>
                    <a:pt x="431482" y="293369"/>
                    <a:pt x="431482" y="293369"/>
                  </a:cubicBezTo>
                  <a:cubicBezTo>
                    <a:pt x="431482" y="293369"/>
                    <a:pt x="431482" y="294322"/>
                    <a:pt x="430530" y="294322"/>
                  </a:cubicBezTo>
                  <a:cubicBezTo>
                    <a:pt x="429577" y="294322"/>
                    <a:pt x="429577" y="293369"/>
                    <a:pt x="429577" y="293369"/>
                  </a:cubicBezTo>
                  <a:cubicBezTo>
                    <a:pt x="429577" y="293369"/>
                    <a:pt x="429577" y="292417"/>
                    <a:pt x="430530" y="292417"/>
                  </a:cubicBezTo>
                  <a:close/>
                  <a:moveTo>
                    <a:pt x="166687" y="289560"/>
                  </a:moveTo>
                  <a:cubicBezTo>
                    <a:pt x="167640" y="289560"/>
                    <a:pt x="168592" y="290512"/>
                    <a:pt x="168592" y="291465"/>
                  </a:cubicBezTo>
                  <a:cubicBezTo>
                    <a:pt x="168592" y="292417"/>
                    <a:pt x="167640" y="293370"/>
                    <a:pt x="166687" y="293370"/>
                  </a:cubicBezTo>
                  <a:cubicBezTo>
                    <a:pt x="165735" y="293370"/>
                    <a:pt x="164782" y="292417"/>
                    <a:pt x="164782" y="291465"/>
                  </a:cubicBezTo>
                  <a:cubicBezTo>
                    <a:pt x="164782" y="290512"/>
                    <a:pt x="165735" y="289560"/>
                    <a:pt x="166687" y="289560"/>
                  </a:cubicBezTo>
                  <a:close/>
                  <a:moveTo>
                    <a:pt x="298133" y="288607"/>
                  </a:moveTo>
                  <a:cubicBezTo>
                    <a:pt x="300237" y="288607"/>
                    <a:pt x="301943" y="290313"/>
                    <a:pt x="301943" y="292417"/>
                  </a:cubicBezTo>
                  <a:cubicBezTo>
                    <a:pt x="301943" y="294521"/>
                    <a:pt x="300237" y="296227"/>
                    <a:pt x="298133" y="296227"/>
                  </a:cubicBezTo>
                  <a:cubicBezTo>
                    <a:pt x="296029" y="296227"/>
                    <a:pt x="294323" y="294521"/>
                    <a:pt x="294323" y="292417"/>
                  </a:cubicBezTo>
                  <a:cubicBezTo>
                    <a:pt x="294323" y="290313"/>
                    <a:pt x="296029" y="288607"/>
                    <a:pt x="298133" y="288607"/>
                  </a:cubicBezTo>
                  <a:close/>
                  <a:moveTo>
                    <a:pt x="371475" y="261937"/>
                  </a:moveTo>
                  <a:cubicBezTo>
                    <a:pt x="372428" y="261937"/>
                    <a:pt x="374333" y="262889"/>
                    <a:pt x="374333" y="264794"/>
                  </a:cubicBezTo>
                  <a:cubicBezTo>
                    <a:pt x="374333" y="265747"/>
                    <a:pt x="373381" y="267652"/>
                    <a:pt x="371475" y="267652"/>
                  </a:cubicBezTo>
                  <a:cubicBezTo>
                    <a:pt x="369570" y="267652"/>
                    <a:pt x="368618" y="265747"/>
                    <a:pt x="368618" y="264794"/>
                  </a:cubicBezTo>
                  <a:cubicBezTo>
                    <a:pt x="368618" y="263842"/>
                    <a:pt x="369570" y="261937"/>
                    <a:pt x="371475" y="261937"/>
                  </a:cubicBezTo>
                  <a:close/>
                  <a:moveTo>
                    <a:pt x="239077" y="260985"/>
                  </a:moveTo>
                  <a:cubicBezTo>
                    <a:pt x="240030" y="260985"/>
                    <a:pt x="241935" y="261937"/>
                    <a:pt x="241935" y="263842"/>
                  </a:cubicBezTo>
                  <a:cubicBezTo>
                    <a:pt x="241935" y="264795"/>
                    <a:pt x="240983" y="266700"/>
                    <a:pt x="239077" y="266700"/>
                  </a:cubicBezTo>
                  <a:cubicBezTo>
                    <a:pt x="237173" y="266700"/>
                    <a:pt x="236220" y="265748"/>
                    <a:pt x="236220" y="263842"/>
                  </a:cubicBezTo>
                  <a:cubicBezTo>
                    <a:pt x="236220" y="262890"/>
                    <a:pt x="237173" y="260985"/>
                    <a:pt x="239077" y="260985"/>
                  </a:cubicBezTo>
                  <a:close/>
                  <a:moveTo>
                    <a:pt x="446723" y="235267"/>
                  </a:moveTo>
                  <a:cubicBezTo>
                    <a:pt x="447775" y="235267"/>
                    <a:pt x="448628" y="236120"/>
                    <a:pt x="448628" y="237172"/>
                  </a:cubicBezTo>
                  <a:cubicBezTo>
                    <a:pt x="448628" y="238224"/>
                    <a:pt x="447775" y="239077"/>
                    <a:pt x="446723" y="239077"/>
                  </a:cubicBezTo>
                  <a:cubicBezTo>
                    <a:pt x="445671" y="239077"/>
                    <a:pt x="444818" y="238224"/>
                    <a:pt x="444818" y="237172"/>
                  </a:cubicBezTo>
                  <a:cubicBezTo>
                    <a:pt x="444818" y="236120"/>
                    <a:pt x="445671" y="235267"/>
                    <a:pt x="446723" y="235267"/>
                  </a:cubicBezTo>
                  <a:close/>
                  <a:moveTo>
                    <a:pt x="312420" y="231457"/>
                  </a:moveTo>
                  <a:cubicBezTo>
                    <a:pt x="315277" y="231457"/>
                    <a:pt x="317182" y="233362"/>
                    <a:pt x="317182" y="236220"/>
                  </a:cubicBezTo>
                  <a:cubicBezTo>
                    <a:pt x="317182" y="239077"/>
                    <a:pt x="315277" y="240982"/>
                    <a:pt x="312420" y="240982"/>
                  </a:cubicBezTo>
                  <a:cubicBezTo>
                    <a:pt x="310514" y="240982"/>
                    <a:pt x="307657" y="239077"/>
                    <a:pt x="307657" y="236220"/>
                  </a:cubicBezTo>
                  <a:cubicBezTo>
                    <a:pt x="307657" y="233362"/>
                    <a:pt x="309562" y="231457"/>
                    <a:pt x="312420" y="231457"/>
                  </a:cubicBezTo>
                  <a:close/>
                  <a:moveTo>
                    <a:pt x="388620" y="207644"/>
                  </a:moveTo>
                  <a:cubicBezTo>
                    <a:pt x="389573" y="207644"/>
                    <a:pt x="390525" y="208597"/>
                    <a:pt x="390525" y="209549"/>
                  </a:cubicBezTo>
                  <a:cubicBezTo>
                    <a:pt x="390525" y="210501"/>
                    <a:pt x="389573" y="211454"/>
                    <a:pt x="388620" y="211454"/>
                  </a:cubicBezTo>
                  <a:cubicBezTo>
                    <a:pt x="387668" y="211454"/>
                    <a:pt x="386715" y="210501"/>
                    <a:pt x="386715" y="209549"/>
                  </a:cubicBezTo>
                  <a:cubicBezTo>
                    <a:pt x="386715" y="208597"/>
                    <a:pt x="387668" y="207644"/>
                    <a:pt x="388620" y="207644"/>
                  </a:cubicBezTo>
                  <a:close/>
                  <a:moveTo>
                    <a:pt x="254318" y="205739"/>
                  </a:moveTo>
                  <a:cubicBezTo>
                    <a:pt x="255270" y="205739"/>
                    <a:pt x="257175" y="206692"/>
                    <a:pt x="257175" y="208597"/>
                  </a:cubicBezTo>
                  <a:cubicBezTo>
                    <a:pt x="257175" y="209549"/>
                    <a:pt x="256223" y="211454"/>
                    <a:pt x="254318" y="211454"/>
                  </a:cubicBezTo>
                  <a:cubicBezTo>
                    <a:pt x="252413" y="211454"/>
                    <a:pt x="250508" y="209549"/>
                    <a:pt x="251460" y="208597"/>
                  </a:cubicBezTo>
                  <a:cubicBezTo>
                    <a:pt x="251460" y="207644"/>
                    <a:pt x="252413" y="205739"/>
                    <a:pt x="254318" y="205739"/>
                  </a:cubicBezTo>
                  <a:close/>
                  <a:moveTo>
                    <a:pt x="330517" y="178117"/>
                  </a:moveTo>
                  <a:cubicBezTo>
                    <a:pt x="332423" y="178117"/>
                    <a:pt x="333375" y="179069"/>
                    <a:pt x="333375" y="180974"/>
                  </a:cubicBezTo>
                  <a:cubicBezTo>
                    <a:pt x="333375" y="182880"/>
                    <a:pt x="332423" y="183832"/>
                    <a:pt x="330517" y="183832"/>
                  </a:cubicBezTo>
                  <a:cubicBezTo>
                    <a:pt x="328612" y="183832"/>
                    <a:pt x="327660" y="182880"/>
                    <a:pt x="327660" y="180974"/>
                  </a:cubicBezTo>
                  <a:cubicBezTo>
                    <a:pt x="327660" y="179069"/>
                    <a:pt x="328612" y="178117"/>
                    <a:pt x="330517" y="178117"/>
                  </a:cubicBezTo>
                  <a:close/>
                  <a:moveTo>
                    <a:pt x="408623" y="152400"/>
                  </a:moveTo>
                  <a:cubicBezTo>
                    <a:pt x="410528" y="152400"/>
                    <a:pt x="411480" y="153352"/>
                    <a:pt x="411480" y="155257"/>
                  </a:cubicBezTo>
                  <a:cubicBezTo>
                    <a:pt x="411480" y="157163"/>
                    <a:pt x="409575" y="158115"/>
                    <a:pt x="408623" y="158115"/>
                  </a:cubicBezTo>
                  <a:cubicBezTo>
                    <a:pt x="407670" y="158115"/>
                    <a:pt x="405765" y="157163"/>
                    <a:pt x="405765" y="155257"/>
                  </a:cubicBezTo>
                  <a:cubicBezTo>
                    <a:pt x="405765" y="153352"/>
                    <a:pt x="407670" y="152400"/>
                    <a:pt x="408623" y="152400"/>
                  </a:cubicBezTo>
                  <a:close/>
                  <a:moveTo>
                    <a:pt x="272415" y="150494"/>
                  </a:moveTo>
                  <a:cubicBezTo>
                    <a:pt x="273367" y="150494"/>
                    <a:pt x="275272" y="151447"/>
                    <a:pt x="275272" y="153351"/>
                  </a:cubicBezTo>
                  <a:cubicBezTo>
                    <a:pt x="275272" y="154304"/>
                    <a:pt x="274320" y="156209"/>
                    <a:pt x="272415" y="156209"/>
                  </a:cubicBezTo>
                  <a:cubicBezTo>
                    <a:pt x="270510" y="156209"/>
                    <a:pt x="268605" y="155257"/>
                    <a:pt x="269557" y="153351"/>
                  </a:cubicBezTo>
                  <a:cubicBezTo>
                    <a:pt x="269557" y="152399"/>
                    <a:pt x="270510" y="150494"/>
                    <a:pt x="272415" y="150494"/>
                  </a:cubicBezTo>
                  <a:close/>
                  <a:moveTo>
                    <a:pt x="490537" y="129539"/>
                  </a:moveTo>
                  <a:cubicBezTo>
                    <a:pt x="490537" y="129539"/>
                    <a:pt x="491490" y="129539"/>
                    <a:pt x="491490" y="130492"/>
                  </a:cubicBezTo>
                  <a:cubicBezTo>
                    <a:pt x="491490" y="130492"/>
                    <a:pt x="491490" y="131444"/>
                    <a:pt x="490537" y="131444"/>
                  </a:cubicBezTo>
                  <a:cubicBezTo>
                    <a:pt x="489585" y="131444"/>
                    <a:pt x="488632" y="131444"/>
                    <a:pt x="489585" y="130492"/>
                  </a:cubicBezTo>
                  <a:cubicBezTo>
                    <a:pt x="489585" y="130492"/>
                    <a:pt x="490537" y="129539"/>
                    <a:pt x="490537" y="129539"/>
                  </a:cubicBezTo>
                  <a:close/>
                  <a:moveTo>
                    <a:pt x="350520" y="125730"/>
                  </a:moveTo>
                  <a:cubicBezTo>
                    <a:pt x="351473" y="125730"/>
                    <a:pt x="352425" y="126682"/>
                    <a:pt x="352425" y="127635"/>
                  </a:cubicBezTo>
                  <a:cubicBezTo>
                    <a:pt x="352425" y="128587"/>
                    <a:pt x="351473" y="129540"/>
                    <a:pt x="350520" y="129540"/>
                  </a:cubicBezTo>
                  <a:cubicBezTo>
                    <a:pt x="349568" y="129540"/>
                    <a:pt x="348615" y="128587"/>
                    <a:pt x="348615" y="127635"/>
                  </a:cubicBezTo>
                  <a:cubicBezTo>
                    <a:pt x="348615" y="126682"/>
                    <a:pt x="349568" y="125730"/>
                    <a:pt x="350520" y="125730"/>
                  </a:cubicBezTo>
                  <a:close/>
                  <a:moveTo>
                    <a:pt x="432435" y="99060"/>
                  </a:moveTo>
                  <a:cubicBezTo>
                    <a:pt x="434340" y="99060"/>
                    <a:pt x="436245" y="100965"/>
                    <a:pt x="436245" y="102870"/>
                  </a:cubicBezTo>
                  <a:cubicBezTo>
                    <a:pt x="436245" y="104775"/>
                    <a:pt x="434340" y="106680"/>
                    <a:pt x="432435" y="106680"/>
                  </a:cubicBezTo>
                  <a:cubicBezTo>
                    <a:pt x="430530" y="106680"/>
                    <a:pt x="428625" y="104775"/>
                    <a:pt x="428625" y="102870"/>
                  </a:cubicBezTo>
                  <a:cubicBezTo>
                    <a:pt x="428625" y="100965"/>
                    <a:pt x="430530" y="99060"/>
                    <a:pt x="432435" y="99060"/>
                  </a:cubicBezTo>
                  <a:close/>
                  <a:moveTo>
                    <a:pt x="293370" y="97155"/>
                  </a:moveTo>
                  <a:cubicBezTo>
                    <a:pt x="294323" y="97155"/>
                    <a:pt x="295275" y="98107"/>
                    <a:pt x="295275" y="99060"/>
                  </a:cubicBezTo>
                  <a:cubicBezTo>
                    <a:pt x="295275" y="100012"/>
                    <a:pt x="294323" y="100965"/>
                    <a:pt x="293370" y="100965"/>
                  </a:cubicBezTo>
                  <a:cubicBezTo>
                    <a:pt x="292418" y="100965"/>
                    <a:pt x="291465" y="100012"/>
                    <a:pt x="291465" y="99060"/>
                  </a:cubicBezTo>
                  <a:cubicBezTo>
                    <a:pt x="291465" y="98107"/>
                    <a:pt x="292418" y="97155"/>
                    <a:pt x="293370" y="97155"/>
                  </a:cubicBezTo>
                  <a:close/>
                  <a:moveTo>
                    <a:pt x="374332" y="71437"/>
                  </a:moveTo>
                  <a:cubicBezTo>
                    <a:pt x="376238" y="71437"/>
                    <a:pt x="377190" y="72389"/>
                    <a:pt x="377190" y="74294"/>
                  </a:cubicBezTo>
                  <a:cubicBezTo>
                    <a:pt x="377190" y="76200"/>
                    <a:pt x="376238" y="77152"/>
                    <a:pt x="374332" y="77152"/>
                  </a:cubicBezTo>
                  <a:cubicBezTo>
                    <a:pt x="373380" y="77152"/>
                    <a:pt x="371475" y="76200"/>
                    <a:pt x="371475" y="74294"/>
                  </a:cubicBezTo>
                  <a:cubicBezTo>
                    <a:pt x="371475" y="72389"/>
                    <a:pt x="372427" y="71437"/>
                    <a:pt x="374332" y="71437"/>
                  </a:cubicBezTo>
                  <a:close/>
                  <a:moveTo>
                    <a:pt x="459105" y="49530"/>
                  </a:moveTo>
                  <a:cubicBezTo>
                    <a:pt x="460057" y="49530"/>
                    <a:pt x="461010" y="50482"/>
                    <a:pt x="461010" y="51435"/>
                  </a:cubicBezTo>
                  <a:cubicBezTo>
                    <a:pt x="461010" y="52387"/>
                    <a:pt x="460057" y="53340"/>
                    <a:pt x="459105" y="53340"/>
                  </a:cubicBezTo>
                  <a:cubicBezTo>
                    <a:pt x="458152" y="53340"/>
                    <a:pt x="457200" y="52387"/>
                    <a:pt x="457200" y="51435"/>
                  </a:cubicBezTo>
                  <a:cubicBezTo>
                    <a:pt x="457200" y="50482"/>
                    <a:pt x="458152" y="49530"/>
                    <a:pt x="459105" y="49530"/>
                  </a:cubicBezTo>
                  <a:close/>
                  <a:moveTo>
                    <a:pt x="546735" y="29527"/>
                  </a:moveTo>
                  <a:cubicBezTo>
                    <a:pt x="546735" y="29527"/>
                    <a:pt x="547688" y="29527"/>
                    <a:pt x="547688" y="30480"/>
                  </a:cubicBezTo>
                  <a:cubicBezTo>
                    <a:pt x="547688" y="30480"/>
                    <a:pt x="547688" y="31432"/>
                    <a:pt x="546735" y="31432"/>
                  </a:cubicBezTo>
                  <a:cubicBezTo>
                    <a:pt x="545783" y="31432"/>
                    <a:pt x="545783" y="30480"/>
                    <a:pt x="545783" y="30480"/>
                  </a:cubicBezTo>
                  <a:cubicBezTo>
                    <a:pt x="545783" y="30480"/>
                    <a:pt x="545783" y="29527"/>
                    <a:pt x="546735" y="29527"/>
                  </a:cubicBezTo>
                  <a:close/>
                  <a:moveTo>
                    <a:pt x="401002" y="20955"/>
                  </a:moveTo>
                  <a:cubicBezTo>
                    <a:pt x="402908" y="20955"/>
                    <a:pt x="403860" y="21907"/>
                    <a:pt x="403860" y="23812"/>
                  </a:cubicBezTo>
                  <a:cubicBezTo>
                    <a:pt x="403860" y="25718"/>
                    <a:pt x="402908" y="26670"/>
                    <a:pt x="401002" y="26670"/>
                  </a:cubicBezTo>
                  <a:cubicBezTo>
                    <a:pt x="399098" y="26670"/>
                    <a:pt x="398145" y="24765"/>
                    <a:pt x="398145" y="23812"/>
                  </a:cubicBezTo>
                  <a:cubicBezTo>
                    <a:pt x="398145" y="21907"/>
                    <a:pt x="399098" y="20955"/>
                    <a:pt x="401002" y="20955"/>
                  </a:cubicBezTo>
                  <a:close/>
                  <a:moveTo>
                    <a:pt x="488632" y="0"/>
                  </a:moveTo>
                  <a:cubicBezTo>
                    <a:pt x="489585" y="0"/>
                    <a:pt x="490537" y="953"/>
                    <a:pt x="490537" y="1905"/>
                  </a:cubicBezTo>
                  <a:cubicBezTo>
                    <a:pt x="490537" y="2857"/>
                    <a:pt x="489585" y="3810"/>
                    <a:pt x="488632" y="3810"/>
                  </a:cubicBezTo>
                  <a:cubicBezTo>
                    <a:pt x="487680" y="3810"/>
                    <a:pt x="486727" y="2857"/>
                    <a:pt x="486727" y="1905"/>
                  </a:cubicBezTo>
                  <a:cubicBezTo>
                    <a:pt x="486727" y="953"/>
                    <a:pt x="487680" y="0"/>
                    <a:pt x="488632" y="0"/>
                  </a:cubicBezTo>
                  <a:close/>
                </a:path>
              </a:pathLst>
            </a:custGeom>
            <a:gradFill flip="none" rotWithShape="1">
              <a:gsLst>
                <a:gs pos="24000">
                  <a:schemeClr val="bg2">
                    <a:alpha val="0"/>
                  </a:schemeClr>
                </a:gs>
                <a:gs pos="60000">
                  <a:schemeClr val="accent1"/>
                </a:gs>
                <a:gs pos="100000">
                  <a:schemeClr val="tx1"/>
                </a:gs>
              </a:gsLst>
              <a:lin ang="6000000" scaled="0"/>
              <a:tileRect/>
            </a:gradFill>
            <a:ln w="9525" cap="flat">
              <a:noFill/>
              <a:prstDash val="solid"/>
              <a:miter/>
            </a:ln>
          </p:spPr>
          <p:txBody>
            <a:bodyPr rtlCol="0" anchor="ctr"/>
            <a:lstStyle/>
            <a:p>
              <a:endParaRPr lang="en-US" sz="1765"/>
            </a:p>
          </p:txBody>
        </p:sp>
        <p:sp>
          <p:nvSpPr>
            <p:cNvPr id="20" name="Arc 19">
              <a:extLst>
                <a:ext uri="{FF2B5EF4-FFF2-40B4-BE49-F238E27FC236}">
                  <a16:creationId xmlns:a16="http://schemas.microsoft.com/office/drawing/2014/main" id="{1B97DF40-6A86-422B-BB89-890185F87C7C}"/>
                </a:ext>
              </a:extLst>
            </p:cNvPr>
            <p:cNvSpPr/>
            <p:nvPr/>
          </p:nvSpPr>
          <p:spPr>
            <a:xfrm>
              <a:off x="8626032" y="3004457"/>
              <a:ext cx="3380472" cy="3380468"/>
            </a:xfrm>
            <a:prstGeom prst="arc">
              <a:avLst>
                <a:gd name="adj1" fmla="val 19456930"/>
                <a:gd name="adj2" fmla="val 15711231"/>
              </a:avLst>
            </a:prstGeom>
            <a:ln w="28575">
              <a:gradFill flip="none" rotWithShape="1">
                <a:gsLst>
                  <a:gs pos="0">
                    <a:schemeClr val="accent1">
                      <a:lumMod val="5000"/>
                      <a:lumOff val="95000"/>
                      <a:alpha val="18000"/>
                    </a:schemeClr>
                  </a:gs>
                  <a:gs pos="80000">
                    <a:schemeClr val="tx1">
                      <a:alpha val="0"/>
                    </a:schemeClr>
                  </a:gs>
                </a:gsLst>
                <a:lin ang="17400000" scaled="0"/>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65"/>
            </a:p>
          </p:txBody>
        </p:sp>
        <p:sp>
          <p:nvSpPr>
            <p:cNvPr id="21" name="Arc 20">
              <a:extLst>
                <a:ext uri="{FF2B5EF4-FFF2-40B4-BE49-F238E27FC236}">
                  <a16:creationId xmlns:a16="http://schemas.microsoft.com/office/drawing/2014/main" id="{712E344D-4A4F-424D-A7F9-27CC87CD8050}"/>
                </a:ext>
              </a:extLst>
            </p:cNvPr>
            <p:cNvSpPr/>
            <p:nvPr/>
          </p:nvSpPr>
          <p:spPr>
            <a:xfrm>
              <a:off x="9137222" y="3515646"/>
              <a:ext cx="2358092" cy="2358090"/>
            </a:xfrm>
            <a:prstGeom prst="arc">
              <a:avLst>
                <a:gd name="adj1" fmla="val 20014949"/>
                <a:gd name="adj2" fmla="val 15711231"/>
              </a:avLst>
            </a:prstGeom>
            <a:ln w="19050">
              <a:gradFill flip="none" rotWithShape="1">
                <a:gsLst>
                  <a:gs pos="0">
                    <a:schemeClr val="accent1">
                      <a:lumMod val="5000"/>
                      <a:lumOff val="95000"/>
                      <a:alpha val="56000"/>
                    </a:schemeClr>
                  </a:gs>
                  <a:gs pos="80000">
                    <a:schemeClr val="tx1">
                      <a:alpha val="0"/>
                    </a:schemeClr>
                  </a:gs>
                </a:gsLst>
                <a:lin ang="17400000" scaled="0"/>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65"/>
            </a:p>
          </p:txBody>
        </p:sp>
      </p:grpSp>
      <p:sp>
        <p:nvSpPr>
          <p:cNvPr id="4290" name="Freeform: Shape 4289">
            <a:extLst>
              <a:ext uri="{FF2B5EF4-FFF2-40B4-BE49-F238E27FC236}">
                <a16:creationId xmlns:a16="http://schemas.microsoft.com/office/drawing/2014/main" id="{10F9628C-3C9D-48EA-B9F4-10EBF3662526}"/>
              </a:ext>
              <a:ext uri="{C183D7F6-B498-43B3-948B-1728B52AA6E4}">
                <adec:decorative xmlns:adec="http://schemas.microsoft.com/office/drawing/2017/decorative" val="1"/>
              </a:ext>
            </a:extLst>
          </p:cNvPr>
          <p:cNvSpPr/>
          <p:nvPr/>
        </p:nvSpPr>
        <p:spPr>
          <a:xfrm>
            <a:off x="-14861" y="1"/>
            <a:ext cx="3828888" cy="3337197"/>
          </a:xfrm>
          <a:custGeom>
            <a:avLst/>
            <a:gdLst>
              <a:gd name="connsiteX0" fmla="*/ 59039 w 3905665"/>
              <a:gd name="connsiteY0" fmla="*/ 3396225 h 3403632"/>
              <a:gd name="connsiteX1" fmla="*/ 62742 w 3905665"/>
              <a:gd name="connsiteY1" fmla="*/ 3399928 h 3403632"/>
              <a:gd name="connsiteX2" fmla="*/ 59039 w 3905665"/>
              <a:gd name="connsiteY2" fmla="*/ 3403632 h 3403632"/>
              <a:gd name="connsiteX3" fmla="*/ 55336 w 3905665"/>
              <a:gd name="connsiteY3" fmla="*/ 3399928 h 3403632"/>
              <a:gd name="connsiteX4" fmla="*/ 59039 w 3905665"/>
              <a:gd name="connsiteY4" fmla="*/ 3396225 h 3403632"/>
              <a:gd name="connsiteX5" fmla="*/ 175052 w 3905665"/>
              <a:gd name="connsiteY5" fmla="*/ 3387585 h 3403632"/>
              <a:gd name="connsiteX6" fmla="*/ 179001 w 3905665"/>
              <a:gd name="connsiteY6" fmla="*/ 3391534 h 3403632"/>
              <a:gd name="connsiteX7" fmla="*/ 175052 w 3905665"/>
              <a:gd name="connsiteY7" fmla="*/ 3395484 h 3403632"/>
              <a:gd name="connsiteX8" fmla="*/ 171103 w 3905665"/>
              <a:gd name="connsiteY8" fmla="*/ 3391534 h 3403632"/>
              <a:gd name="connsiteX9" fmla="*/ 175052 w 3905665"/>
              <a:gd name="connsiteY9" fmla="*/ 3387585 h 3403632"/>
              <a:gd name="connsiteX10" fmla="*/ 290815 w 3905665"/>
              <a:gd name="connsiteY10" fmla="*/ 3375737 h 3403632"/>
              <a:gd name="connsiteX11" fmla="*/ 295013 w 3905665"/>
              <a:gd name="connsiteY11" fmla="*/ 3379933 h 3403632"/>
              <a:gd name="connsiteX12" fmla="*/ 290815 w 3905665"/>
              <a:gd name="connsiteY12" fmla="*/ 3384128 h 3403632"/>
              <a:gd name="connsiteX13" fmla="*/ 286620 w 3905665"/>
              <a:gd name="connsiteY13" fmla="*/ 3379933 h 3403632"/>
              <a:gd name="connsiteX14" fmla="*/ 290815 w 3905665"/>
              <a:gd name="connsiteY14" fmla="*/ 3375737 h 3403632"/>
              <a:gd name="connsiteX15" fmla="*/ 406333 w 3905665"/>
              <a:gd name="connsiteY15" fmla="*/ 3360435 h 3403632"/>
              <a:gd name="connsiteX16" fmla="*/ 410777 w 3905665"/>
              <a:gd name="connsiteY16" fmla="*/ 3364877 h 3403632"/>
              <a:gd name="connsiteX17" fmla="*/ 406333 w 3905665"/>
              <a:gd name="connsiteY17" fmla="*/ 3369321 h 3403632"/>
              <a:gd name="connsiteX18" fmla="*/ 401891 w 3905665"/>
              <a:gd name="connsiteY18" fmla="*/ 3364877 h 3403632"/>
              <a:gd name="connsiteX19" fmla="*/ 406333 w 3905665"/>
              <a:gd name="connsiteY19" fmla="*/ 3360435 h 3403632"/>
              <a:gd name="connsiteX20" fmla="*/ 521111 w 3905665"/>
              <a:gd name="connsiteY20" fmla="*/ 3341921 h 3403632"/>
              <a:gd name="connsiteX21" fmla="*/ 525799 w 3905665"/>
              <a:gd name="connsiteY21" fmla="*/ 3346611 h 3403632"/>
              <a:gd name="connsiteX22" fmla="*/ 521111 w 3905665"/>
              <a:gd name="connsiteY22" fmla="*/ 3351302 h 3403632"/>
              <a:gd name="connsiteX23" fmla="*/ 516421 w 3905665"/>
              <a:gd name="connsiteY23" fmla="*/ 3346611 h 3403632"/>
              <a:gd name="connsiteX24" fmla="*/ 521111 w 3905665"/>
              <a:gd name="connsiteY24" fmla="*/ 3341921 h 3403632"/>
              <a:gd name="connsiteX25" fmla="*/ 635402 w 3905665"/>
              <a:gd name="connsiteY25" fmla="*/ 3319951 h 3403632"/>
              <a:gd name="connsiteX26" fmla="*/ 640337 w 3905665"/>
              <a:gd name="connsiteY26" fmla="*/ 3324888 h 3403632"/>
              <a:gd name="connsiteX27" fmla="*/ 635402 w 3905665"/>
              <a:gd name="connsiteY27" fmla="*/ 3329825 h 3403632"/>
              <a:gd name="connsiteX28" fmla="*/ 630464 w 3905665"/>
              <a:gd name="connsiteY28" fmla="*/ 3324888 h 3403632"/>
              <a:gd name="connsiteX29" fmla="*/ 635402 w 3905665"/>
              <a:gd name="connsiteY29" fmla="*/ 3319951 h 3403632"/>
              <a:gd name="connsiteX30" fmla="*/ 749190 w 3905665"/>
              <a:gd name="connsiteY30" fmla="*/ 3295022 h 3403632"/>
              <a:gd name="connsiteX31" fmla="*/ 754377 w 3905665"/>
              <a:gd name="connsiteY31" fmla="*/ 3300205 h 3403632"/>
              <a:gd name="connsiteX32" fmla="*/ 749190 w 3905665"/>
              <a:gd name="connsiteY32" fmla="*/ 3305388 h 3403632"/>
              <a:gd name="connsiteX33" fmla="*/ 744008 w 3905665"/>
              <a:gd name="connsiteY33" fmla="*/ 3300205 h 3403632"/>
              <a:gd name="connsiteX34" fmla="*/ 749190 w 3905665"/>
              <a:gd name="connsiteY34" fmla="*/ 3295022 h 3403632"/>
              <a:gd name="connsiteX35" fmla="*/ 58542 w 3905665"/>
              <a:gd name="connsiteY35" fmla="*/ 3287864 h 3403632"/>
              <a:gd name="connsiteX36" fmla="*/ 61999 w 3905665"/>
              <a:gd name="connsiteY36" fmla="*/ 3291319 h 3403632"/>
              <a:gd name="connsiteX37" fmla="*/ 58542 w 3905665"/>
              <a:gd name="connsiteY37" fmla="*/ 3294776 h 3403632"/>
              <a:gd name="connsiteX38" fmla="*/ 55087 w 3905665"/>
              <a:gd name="connsiteY38" fmla="*/ 3291319 h 3403632"/>
              <a:gd name="connsiteX39" fmla="*/ 58542 w 3905665"/>
              <a:gd name="connsiteY39" fmla="*/ 3287864 h 3403632"/>
              <a:gd name="connsiteX40" fmla="*/ 174803 w 3905665"/>
              <a:gd name="connsiteY40" fmla="*/ 3278732 h 3403632"/>
              <a:gd name="connsiteX41" fmla="*/ 178507 w 3905665"/>
              <a:gd name="connsiteY41" fmla="*/ 3282435 h 3403632"/>
              <a:gd name="connsiteX42" fmla="*/ 174803 w 3905665"/>
              <a:gd name="connsiteY42" fmla="*/ 3286136 h 3403632"/>
              <a:gd name="connsiteX43" fmla="*/ 171100 w 3905665"/>
              <a:gd name="connsiteY43" fmla="*/ 3282435 h 3403632"/>
              <a:gd name="connsiteX44" fmla="*/ 174803 w 3905665"/>
              <a:gd name="connsiteY44" fmla="*/ 3278732 h 3403632"/>
              <a:gd name="connsiteX45" fmla="*/ 290567 w 3905665"/>
              <a:gd name="connsiteY45" fmla="*/ 3266884 h 3403632"/>
              <a:gd name="connsiteX46" fmla="*/ 294270 w 3905665"/>
              <a:gd name="connsiteY46" fmla="*/ 3270587 h 3403632"/>
              <a:gd name="connsiteX47" fmla="*/ 290567 w 3905665"/>
              <a:gd name="connsiteY47" fmla="*/ 3274288 h 3403632"/>
              <a:gd name="connsiteX48" fmla="*/ 286864 w 3905665"/>
              <a:gd name="connsiteY48" fmla="*/ 3270587 h 3403632"/>
              <a:gd name="connsiteX49" fmla="*/ 290567 w 3905665"/>
              <a:gd name="connsiteY49" fmla="*/ 3266884 h 3403632"/>
              <a:gd name="connsiteX50" fmla="*/ 861997 w 3905665"/>
              <a:gd name="connsiteY50" fmla="*/ 3266635 h 3403632"/>
              <a:gd name="connsiteX51" fmla="*/ 867426 w 3905665"/>
              <a:gd name="connsiteY51" fmla="*/ 3272067 h 3403632"/>
              <a:gd name="connsiteX52" fmla="*/ 861997 w 3905665"/>
              <a:gd name="connsiteY52" fmla="*/ 3277496 h 3403632"/>
              <a:gd name="connsiteX53" fmla="*/ 856564 w 3905665"/>
              <a:gd name="connsiteY53" fmla="*/ 3272067 h 3403632"/>
              <a:gd name="connsiteX54" fmla="*/ 861997 w 3905665"/>
              <a:gd name="connsiteY54" fmla="*/ 3266635 h 3403632"/>
              <a:gd name="connsiteX55" fmla="*/ 406084 w 3905665"/>
              <a:gd name="connsiteY55" fmla="*/ 3251333 h 3403632"/>
              <a:gd name="connsiteX56" fmla="*/ 409785 w 3905665"/>
              <a:gd name="connsiteY56" fmla="*/ 3255036 h 3403632"/>
              <a:gd name="connsiteX57" fmla="*/ 406084 w 3905665"/>
              <a:gd name="connsiteY57" fmla="*/ 3258737 h 3403632"/>
              <a:gd name="connsiteX58" fmla="*/ 402381 w 3905665"/>
              <a:gd name="connsiteY58" fmla="*/ 3255036 h 3403632"/>
              <a:gd name="connsiteX59" fmla="*/ 406084 w 3905665"/>
              <a:gd name="connsiteY59" fmla="*/ 3251333 h 3403632"/>
              <a:gd name="connsiteX60" fmla="*/ 974058 w 3905665"/>
              <a:gd name="connsiteY60" fmla="*/ 3235040 h 3403632"/>
              <a:gd name="connsiteX61" fmla="*/ 979734 w 3905665"/>
              <a:gd name="connsiteY61" fmla="*/ 3240718 h 3403632"/>
              <a:gd name="connsiteX62" fmla="*/ 974058 w 3905665"/>
              <a:gd name="connsiteY62" fmla="*/ 3246396 h 3403632"/>
              <a:gd name="connsiteX63" fmla="*/ 968380 w 3905665"/>
              <a:gd name="connsiteY63" fmla="*/ 3240718 h 3403632"/>
              <a:gd name="connsiteX64" fmla="*/ 974058 w 3905665"/>
              <a:gd name="connsiteY64" fmla="*/ 3235040 h 3403632"/>
              <a:gd name="connsiteX65" fmla="*/ 520860 w 3905665"/>
              <a:gd name="connsiteY65" fmla="*/ 3232327 h 3403632"/>
              <a:gd name="connsiteX66" fmla="*/ 524809 w 3905665"/>
              <a:gd name="connsiteY66" fmla="*/ 3236277 h 3403632"/>
              <a:gd name="connsiteX67" fmla="*/ 520860 w 3905665"/>
              <a:gd name="connsiteY67" fmla="*/ 3240226 h 3403632"/>
              <a:gd name="connsiteX68" fmla="*/ 516910 w 3905665"/>
              <a:gd name="connsiteY68" fmla="*/ 3236277 h 3403632"/>
              <a:gd name="connsiteX69" fmla="*/ 520860 w 3905665"/>
              <a:gd name="connsiteY69" fmla="*/ 3232327 h 3403632"/>
              <a:gd name="connsiteX70" fmla="*/ 635153 w 3905665"/>
              <a:gd name="connsiteY70" fmla="*/ 3210357 h 3403632"/>
              <a:gd name="connsiteX71" fmla="*/ 639099 w 3905665"/>
              <a:gd name="connsiteY71" fmla="*/ 3214307 h 3403632"/>
              <a:gd name="connsiteX72" fmla="*/ 635153 w 3905665"/>
              <a:gd name="connsiteY72" fmla="*/ 3218256 h 3403632"/>
              <a:gd name="connsiteX73" fmla="*/ 631202 w 3905665"/>
              <a:gd name="connsiteY73" fmla="*/ 3214307 h 3403632"/>
              <a:gd name="connsiteX74" fmla="*/ 635153 w 3905665"/>
              <a:gd name="connsiteY74" fmla="*/ 3210357 h 3403632"/>
              <a:gd name="connsiteX75" fmla="*/ 1085117 w 3905665"/>
              <a:gd name="connsiteY75" fmla="*/ 3200237 h 3403632"/>
              <a:gd name="connsiteX76" fmla="*/ 1091041 w 3905665"/>
              <a:gd name="connsiteY76" fmla="*/ 3206161 h 3403632"/>
              <a:gd name="connsiteX77" fmla="*/ 1085117 w 3905665"/>
              <a:gd name="connsiteY77" fmla="*/ 3212085 h 3403632"/>
              <a:gd name="connsiteX78" fmla="*/ 1079193 w 3905665"/>
              <a:gd name="connsiteY78" fmla="*/ 3206161 h 3403632"/>
              <a:gd name="connsiteX79" fmla="*/ 1085117 w 3905665"/>
              <a:gd name="connsiteY79" fmla="*/ 3200237 h 3403632"/>
              <a:gd name="connsiteX80" fmla="*/ 748941 w 3905665"/>
              <a:gd name="connsiteY80" fmla="*/ 3184440 h 3403632"/>
              <a:gd name="connsiteX81" fmla="*/ 752890 w 3905665"/>
              <a:gd name="connsiteY81" fmla="*/ 3188636 h 3403632"/>
              <a:gd name="connsiteX82" fmla="*/ 748941 w 3905665"/>
              <a:gd name="connsiteY82" fmla="*/ 3192831 h 3403632"/>
              <a:gd name="connsiteX83" fmla="*/ 744746 w 3905665"/>
              <a:gd name="connsiteY83" fmla="*/ 3188636 h 3403632"/>
              <a:gd name="connsiteX84" fmla="*/ 748941 w 3905665"/>
              <a:gd name="connsiteY84" fmla="*/ 3184440 h 3403632"/>
              <a:gd name="connsiteX85" fmla="*/ 58788 w 3905665"/>
              <a:gd name="connsiteY85" fmla="*/ 3178269 h 3403632"/>
              <a:gd name="connsiteX86" fmla="*/ 62984 w 3905665"/>
              <a:gd name="connsiteY86" fmla="*/ 3182465 h 3403632"/>
              <a:gd name="connsiteX87" fmla="*/ 58788 w 3905665"/>
              <a:gd name="connsiteY87" fmla="*/ 3186660 h 3403632"/>
              <a:gd name="connsiteX88" fmla="*/ 54593 w 3905665"/>
              <a:gd name="connsiteY88" fmla="*/ 3182465 h 3403632"/>
              <a:gd name="connsiteX89" fmla="*/ 58788 w 3905665"/>
              <a:gd name="connsiteY89" fmla="*/ 3178269 h 3403632"/>
              <a:gd name="connsiteX90" fmla="*/ 174798 w 3905665"/>
              <a:gd name="connsiteY90" fmla="*/ 3169137 h 3403632"/>
              <a:gd name="connsiteX91" fmla="*/ 179242 w 3905665"/>
              <a:gd name="connsiteY91" fmla="*/ 3173579 h 3403632"/>
              <a:gd name="connsiteX92" fmla="*/ 174798 w 3905665"/>
              <a:gd name="connsiteY92" fmla="*/ 3178023 h 3403632"/>
              <a:gd name="connsiteX93" fmla="*/ 170356 w 3905665"/>
              <a:gd name="connsiteY93" fmla="*/ 3173579 h 3403632"/>
              <a:gd name="connsiteX94" fmla="*/ 174798 w 3905665"/>
              <a:gd name="connsiteY94" fmla="*/ 3169137 h 3403632"/>
              <a:gd name="connsiteX95" fmla="*/ 1195210 w 3905665"/>
              <a:gd name="connsiteY95" fmla="*/ 3162472 h 3403632"/>
              <a:gd name="connsiteX96" fmla="*/ 1201383 w 3905665"/>
              <a:gd name="connsiteY96" fmla="*/ 3168642 h 3403632"/>
              <a:gd name="connsiteX97" fmla="*/ 1195210 w 3905665"/>
              <a:gd name="connsiteY97" fmla="*/ 3174815 h 3403632"/>
              <a:gd name="connsiteX98" fmla="*/ 1189040 w 3905665"/>
              <a:gd name="connsiteY98" fmla="*/ 3168642 h 3403632"/>
              <a:gd name="connsiteX99" fmla="*/ 1195210 w 3905665"/>
              <a:gd name="connsiteY99" fmla="*/ 3162472 h 3403632"/>
              <a:gd name="connsiteX100" fmla="*/ 290810 w 3905665"/>
              <a:gd name="connsiteY100" fmla="*/ 3156302 h 3403632"/>
              <a:gd name="connsiteX101" fmla="*/ 295746 w 3905665"/>
              <a:gd name="connsiteY101" fmla="*/ 3161239 h 3403632"/>
              <a:gd name="connsiteX102" fmla="*/ 290810 w 3905665"/>
              <a:gd name="connsiteY102" fmla="*/ 3166175 h 3403632"/>
              <a:gd name="connsiteX103" fmla="*/ 285873 w 3905665"/>
              <a:gd name="connsiteY103" fmla="*/ 3161239 h 3403632"/>
              <a:gd name="connsiteX104" fmla="*/ 290810 w 3905665"/>
              <a:gd name="connsiteY104" fmla="*/ 3156302 h 3403632"/>
              <a:gd name="connsiteX105" fmla="*/ 861745 w 3905665"/>
              <a:gd name="connsiteY105" fmla="*/ 3155561 h 3403632"/>
              <a:gd name="connsiteX106" fmla="*/ 865941 w 3905665"/>
              <a:gd name="connsiteY106" fmla="*/ 3159757 h 3403632"/>
              <a:gd name="connsiteX107" fmla="*/ 861745 w 3905665"/>
              <a:gd name="connsiteY107" fmla="*/ 3163952 h 3403632"/>
              <a:gd name="connsiteX108" fmla="*/ 857549 w 3905665"/>
              <a:gd name="connsiteY108" fmla="*/ 3159757 h 3403632"/>
              <a:gd name="connsiteX109" fmla="*/ 861745 w 3905665"/>
              <a:gd name="connsiteY109" fmla="*/ 3155561 h 3403632"/>
              <a:gd name="connsiteX110" fmla="*/ 406328 w 3905665"/>
              <a:gd name="connsiteY110" fmla="*/ 3140256 h 3403632"/>
              <a:gd name="connsiteX111" fmla="*/ 411514 w 3905665"/>
              <a:gd name="connsiteY111" fmla="*/ 3145439 h 3403632"/>
              <a:gd name="connsiteX112" fmla="*/ 406328 w 3905665"/>
              <a:gd name="connsiteY112" fmla="*/ 3150625 h 3403632"/>
              <a:gd name="connsiteX113" fmla="*/ 401145 w 3905665"/>
              <a:gd name="connsiteY113" fmla="*/ 3145439 h 3403632"/>
              <a:gd name="connsiteX114" fmla="*/ 406328 w 3905665"/>
              <a:gd name="connsiteY114" fmla="*/ 3140256 h 3403632"/>
              <a:gd name="connsiteX115" fmla="*/ 973560 w 3905665"/>
              <a:gd name="connsiteY115" fmla="*/ 3123473 h 3403632"/>
              <a:gd name="connsiteX116" fmla="*/ 977756 w 3905665"/>
              <a:gd name="connsiteY116" fmla="*/ 3127669 h 3403632"/>
              <a:gd name="connsiteX117" fmla="*/ 973560 w 3905665"/>
              <a:gd name="connsiteY117" fmla="*/ 3131864 h 3403632"/>
              <a:gd name="connsiteX118" fmla="*/ 969364 w 3905665"/>
              <a:gd name="connsiteY118" fmla="*/ 3127669 h 3403632"/>
              <a:gd name="connsiteX119" fmla="*/ 973560 w 3905665"/>
              <a:gd name="connsiteY119" fmla="*/ 3123473 h 3403632"/>
              <a:gd name="connsiteX120" fmla="*/ 1304315 w 3905665"/>
              <a:gd name="connsiteY120" fmla="*/ 3121496 h 3403632"/>
              <a:gd name="connsiteX121" fmla="*/ 1310732 w 3905665"/>
              <a:gd name="connsiteY121" fmla="*/ 3127915 h 3403632"/>
              <a:gd name="connsiteX122" fmla="*/ 1304315 w 3905665"/>
              <a:gd name="connsiteY122" fmla="*/ 3134086 h 3403632"/>
              <a:gd name="connsiteX123" fmla="*/ 1297897 w 3905665"/>
              <a:gd name="connsiteY123" fmla="*/ 3127915 h 3403632"/>
              <a:gd name="connsiteX124" fmla="*/ 1304315 w 3905665"/>
              <a:gd name="connsiteY124" fmla="*/ 3121496 h 3403632"/>
              <a:gd name="connsiteX125" fmla="*/ 521104 w 3905665"/>
              <a:gd name="connsiteY125" fmla="*/ 3120263 h 3403632"/>
              <a:gd name="connsiteX126" fmla="*/ 526782 w 3905665"/>
              <a:gd name="connsiteY126" fmla="*/ 3125941 h 3403632"/>
              <a:gd name="connsiteX127" fmla="*/ 521104 w 3905665"/>
              <a:gd name="connsiteY127" fmla="*/ 3131616 h 3403632"/>
              <a:gd name="connsiteX128" fmla="*/ 515426 w 3905665"/>
              <a:gd name="connsiteY128" fmla="*/ 3125941 h 3403632"/>
              <a:gd name="connsiteX129" fmla="*/ 521104 w 3905665"/>
              <a:gd name="connsiteY129" fmla="*/ 3120263 h 3403632"/>
              <a:gd name="connsiteX130" fmla="*/ 635396 w 3905665"/>
              <a:gd name="connsiteY130" fmla="*/ 3096813 h 3403632"/>
              <a:gd name="connsiteX131" fmla="*/ 641319 w 3905665"/>
              <a:gd name="connsiteY131" fmla="*/ 3102983 h 3403632"/>
              <a:gd name="connsiteX132" fmla="*/ 635396 w 3905665"/>
              <a:gd name="connsiteY132" fmla="*/ 3109156 h 3403632"/>
              <a:gd name="connsiteX133" fmla="*/ 629226 w 3905665"/>
              <a:gd name="connsiteY133" fmla="*/ 3102983 h 3403632"/>
              <a:gd name="connsiteX134" fmla="*/ 635396 w 3905665"/>
              <a:gd name="connsiteY134" fmla="*/ 3096813 h 3403632"/>
              <a:gd name="connsiteX135" fmla="*/ 1084377 w 3905665"/>
              <a:gd name="connsiteY135" fmla="*/ 3087681 h 3403632"/>
              <a:gd name="connsiteX136" fmla="*/ 1088818 w 3905665"/>
              <a:gd name="connsiteY136" fmla="*/ 3092125 h 3403632"/>
              <a:gd name="connsiteX137" fmla="*/ 1084377 w 3905665"/>
              <a:gd name="connsiteY137" fmla="*/ 3096567 h 3403632"/>
              <a:gd name="connsiteX138" fmla="*/ 1079932 w 3905665"/>
              <a:gd name="connsiteY138" fmla="*/ 3092125 h 3403632"/>
              <a:gd name="connsiteX139" fmla="*/ 1084377 w 3905665"/>
              <a:gd name="connsiteY139" fmla="*/ 3087681 h 3403632"/>
              <a:gd name="connsiteX140" fmla="*/ 1411939 w 3905665"/>
              <a:gd name="connsiteY140" fmla="*/ 3077066 h 3403632"/>
              <a:gd name="connsiteX141" fmla="*/ 1418602 w 3905665"/>
              <a:gd name="connsiteY141" fmla="*/ 3083731 h 3403632"/>
              <a:gd name="connsiteX142" fmla="*/ 1411939 w 3905665"/>
              <a:gd name="connsiteY142" fmla="*/ 3090397 h 3403632"/>
              <a:gd name="connsiteX143" fmla="*/ 1405274 w 3905665"/>
              <a:gd name="connsiteY143" fmla="*/ 3083731 h 3403632"/>
              <a:gd name="connsiteX144" fmla="*/ 1411939 w 3905665"/>
              <a:gd name="connsiteY144" fmla="*/ 3077066 h 3403632"/>
              <a:gd name="connsiteX145" fmla="*/ 748939 w 3905665"/>
              <a:gd name="connsiteY145" fmla="*/ 3070650 h 3403632"/>
              <a:gd name="connsiteX146" fmla="*/ 755356 w 3905665"/>
              <a:gd name="connsiteY146" fmla="*/ 3077069 h 3403632"/>
              <a:gd name="connsiteX147" fmla="*/ 748939 w 3905665"/>
              <a:gd name="connsiteY147" fmla="*/ 3083485 h 3403632"/>
              <a:gd name="connsiteX148" fmla="*/ 742520 w 3905665"/>
              <a:gd name="connsiteY148" fmla="*/ 3077069 h 3403632"/>
              <a:gd name="connsiteX149" fmla="*/ 748939 w 3905665"/>
              <a:gd name="connsiteY149" fmla="*/ 3070650 h 3403632"/>
              <a:gd name="connsiteX150" fmla="*/ 57552 w 3905665"/>
              <a:gd name="connsiteY150" fmla="*/ 3069662 h 3403632"/>
              <a:gd name="connsiteX151" fmla="*/ 61502 w 3905665"/>
              <a:gd name="connsiteY151" fmla="*/ 3073611 h 3403632"/>
              <a:gd name="connsiteX152" fmla="*/ 57552 w 3905665"/>
              <a:gd name="connsiteY152" fmla="*/ 3077561 h 3403632"/>
              <a:gd name="connsiteX153" fmla="*/ 53603 w 3905665"/>
              <a:gd name="connsiteY153" fmla="*/ 3073611 h 3403632"/>
              <a:gd name="connsiteX154" fmla="*/ 57552 w 3905665"/>
              <a:gd name="connsiteY154" fmla="*/ 3069662 h 3403632"/>
              <a:gd name="connsiteX155" fmla="*/ 173069 w 3905665"/>
              <a:gd name="connsiteY155" fmla="*/ 3060530 h 3403632"/>
              <a:gd name="connsiteX156" fmla="*/ 177265 w 3905665"/>
              <a:gd name="connsiteY156" fmla="*/ 3064726 h 3403632"/>
              <a:gd name="connsiteX157" fmla="*/ 173069 w 3905665"/>
              <a:gd name="connsiteY157" fmla="*/ 3068921 h 3403632"/>
              <a:gd name="connsiteX158" fmla="*/ 168874 w 3905665"/>
              <a:gd name="connsiteY158" fmla="*/ 3064726 h 3403632"/>
              <a:gd name="connsiteX159" fmla="*/ 173069 w 3905665"/>
              <a:gd name="connsiteY159" fmla="*/ 3060530 h 3403632"/>
              <a:gd name="connsiteX160" fmla="*/ 1194221 w 3905665"/>
              <a:gd name="connsiteY160" fmla="*/ 3049174 h 3403632"/>
              <a:gd name="connsiteX161" fmla="*/ 1198665 w 3905665"/>
              <a:gd name="connsiteY161" fmla="*/ 3053616 h 3403632"/>
              <a:gd name="connsiteX162" fmla="*/ 1194221 w 3905665"/>
              <a:gd name="connsiteY162" fmla="*/ 3058060 h 3403632"/>
              <a:gd name="connsiteX163" fmla="*/ 1189779 w 3905665"/>
              <a:gd name="connsiteY163" fmla="*/ 3053616 h 3403632"/>
              <a:gd name="connsiteX164" fmla="*/ 1194221 w 3905665"/>
              <a:gd name="connsiteY164" fmla="*/ 3049174 h 3403632"/>
              <a:gd name="connsiteX165" fmla="*/ 288585 w 3905665"/>
              <a:gd name="connsiteY165" fmla="*/ 3047695 h 3403632"/>
              <a:gd name="connsiteX166" fmla="*/ 293029 w 3905665"/>
              <a:gd name="connsiteY166" fmla="*/ 3052137 h 3403632"/>
              <a:gd name="connsiteX167" fmla="*/ 288585 w 3905665"/>
              <a:gd name="connsiteY167" fmla="*/ 3056581 h 3403632"/>
              <a:gd name="connsiteX168" fmla="*/ 284143 w 3905665"/>
              <a:gd name="connsiteY168" fmla="*/ 3052137 h 3403632"/>
              <a:gd name="connsiteX169" fmla="*/ 288585 w 3905665"/>
              <a:gd name="connsiteY169" fmla="*/ 3047695 h 3403632"/>
              <a:gd name="connsiteX170" fmla="*/ 861496 w 3905665"/>
              <a:gd name="connsiteY170" fmla="*/ 3040288 h 3403632"/>
              <a:gd name="connsiteX171" fmla="*/ 868407 w 3905665"/>
              <a:gd name="connsiteY171" fmla="*/ 3047199 h 3403632"/>
              <a:gd name="connsiteX172" fmla="*/ 861496 w 3905665"/>
              <a:gd name="connsiteY172" fmla="*/ 3054111 h 3403632"/>
              <a:gd name="connsiteX173" fmla="*/ 854584 w 3905665"/>
              <a:gd name="connsiteY173" fmla="*/ 3047199 h 3403632"/>
              <a:gd name="connsiteX174" fmla="*/ 861496 w 3905665"/>
              <a:gd name="connsiteY174" fmla="*/ 3040288 h 3403632"/>
              <a:gd name="connsiteX175" fmla="*/ 403364 w 3905665"/>
              <a:gd name="connsiteY175" fmla="*/ 3031402 h 3403632"/>
              <a:gd name="connsiteX176" fmla="*/ 408054 w 3905665"/>
              <a:gd name="connsiteY176" fmla="*/ 3036092 h 3403632"/>
              <a:gd name="connsiteX177" fmla="*/ 403364 w 3905665"/>
              <a:gd name="connsiteY177" fmla="*/ 3040783 h 3403632"/>
              <a:gd name="connsiteX178" fmla="*/ 398673 w 3905665"/>
              <a:gd name="connsiteY178" fmla="*/ 3036092 h 3403632"/>
              <a:gd name="connsiteX179" fmla="*/ 403364 w 3905665"/>
              <a:gd name="connsiteY179" fmla="*/ 3031402 h 3403632"/>
              <a:gd name="connsiteX180" fmla="*/ 1518326 w 3905665"/>
              <a:gd name="connsiteY180" fmla="*/ 3030169 h 3403632"/>
              <a:gd name="connsiteX181" fmla="*/ 1524991 w 3905665"/>
              <a:gd name="connsiteY181" fmla="*/ 3036834 h 3403632"/>
              <a:gd name="connsiteX182" fmla="*/ 1518326 w 3905665"/>
              <a:gd name="connsiteY182" fmla="*/ 3043746 h 3403632"/>
              <a:gd name="connsiteX183" fmla="*/ 1511414 w 3905665"/>
              <a:gd name="connsiteY183" fmla="*/ 3036834 h 3403632"/>
              <a:gd name="connsiteX184" fmla="*/ 1518326 w 3905665"/>
              <a:gd name="connsiteY184" fmla="*/ 3030169 h 3403632"/>
              <a:gd name="connsiteX185" fmla="*/ 517648 w 3905665"/>
              <a:gd name="connsiteY185" fmla="*/ 3011163 h 3403632"/>
              <a:gd name="connsiteX186" fmla="*/ 522831 w 3905665"/>
              <a:gd name="connsiteY186" fmla="*/ 3016100 h 3403632"/>
              <a:gd name="connsiteX187" fmla="*/ 517648 w 3905665"/>
              <a:gd name="connsiteY187" fmla="*/ 3021283 h 3403632"/>
              <a:gd name="connsiteX188" fmla="*/ 512465 w 3905665"/>
              <a:gd name="connsiteY188" fmla="*/ 3016100 h 3403632"/>
              <a:gd name="connsiteX189" fmla="*/ 517648 w 3905665"/>
              <a:gd name="connsiteY189" fmla="*/ 3011163 h 3403632"/>
              <a:gd name="connsiteX190" fmla="*/ 973311 w 3905665"/>
              <a:gd name="connsiteY190" fmla="*/ 3006968 h 3403632"/>
              <a:gd name="connsiteX191" fmla="*/ 980472 w 3905665"/>
              <a:gd name="connsiteY191" fmla="*/ 3014126 h 3403632"/>
              <a:gd name="connsiteX192" fmla="*/ 973311 w 3905665"/>
              <a:gd name="connsiteY192" fmla="*/ 3021283 h 3403632"/>
              <a:gd name="connsiteX193" fmla="*/ 966154 w 3905665"/>
              <a:gd name="connsiteY193" fmla="*/ 3014126 h 3403632"/>
              <a:gd name="connsiteX194" fmla="*/ 973311 w 3905665"/>
              <a:gd name="connsiteY194" fmla="*/ 3006968 h 3403632"/>
              <a:gd name="connsiteX195" fmla="*/ 1302830 w 3905665"/>
              <a:gd name="connsiteY195" fmla="*/ 3006719 h 3403632"/>
              <a:gd name="connsiteX196" fmla="*/ 1307518 w 3905665"/>
              <a:gd name="connsiteY196" fmla="*/ 3011409 h 3403632"/>
              <a:gd name="connsiteX197" fmla="*/ 1302830 w 3905665"/>
              <a:gd name="connsiteY197" fmla="*/ 3016100 h 3403632"/>
              <a:gd name="connsiteX198" fmla="*/ 1298140 w 3905665"/>
              <a:gd name="connsiteY198" fmla="*/ 3011409 h 3403632"/>
              <a:gd name="connsiteX199" fmla="*/ 1302830 w 3905665"/>
              <a:gd name="connsiteY199" fmla="*/ 3006719 h 3403632"/>
              <a:gd name="connsiteX200" fmla="*/ 631443 w 3905665"/>
              <a:gd name="connsiteY200" fmla="*/ 2987467 h 3403632"/>
              <a:gd name="connsiteX201" fmla="*/ 636873 w 3905665"/>
              <a:gd name="connsiteY201" fmla="*/ 2992899 h 3403632"/>
              <a:gd name="connsiteX202" fmla="*/ 631443 w 3905665"/>
              <a:gd name="connsiteY202" fmla="*/ 2998328 h 3403632"/>
              <a:gd name="connsiteX203" fmla="*/ 626012 w 3905665"/>
              <a:gd name="connsiteY203" fmla="*/ 2992899 h 3403632"/>
              <a:gd name="connsiteX204" fmla="*/ 631443 w 3905665"/>
              <a:gd name="connsiteY204" fmla="*/ 2987467 h 3403632"/>
              <a:gd name="connsiteX205" fmla="*/ 1623482 w 3905665"/>
              <a:gd name="connsiteY205" fmla="*/ 2980061 h 3403632"/>
              <a:gd name="connsiteX206" fmla="*/ 1630639 w 3905665"/>
              <a:gd name="connsiteY206" fmla="*/ 2986973 h 3403632"/>
              <a:gd name="connsiteX207" fmla="*/ 1623482 w 3905665"/>
              <a:gd name="connsiteY207" fmla="*/ 2994130 h 3403632"/>
              <a:gd name="connsiteX208" fmla="*/ 1616570 w 3905665"/>
              <a:gd name="connsiteY208" fmla="*/ 2986973 h 3403632"/>
              <a:gd name="connsiteX209" fmla="*/ 1623482 w 3905665"/>
              <a:gd name="connsiteY209" fmla="*/ 2980061 h 3403632"/>
              <a:gd name="connsiteX210" fmla="*/ 1083879 w 3905665"/>
              <a:gd name="connsiteY210" fmla="*/ 2969941 h 3403632"/>
              <a:gd name="connsiteX211" fmla="*/ 1091530 w 3905665"/>
              <a:gd name="connsiteY211" fmla="*/ 2977593 h 3403632"/>
              <a:gd name="connsiteX212" fmla="*/ 1083879 w 3905665"/>
              <a:gd name="connsiteY212" fmla="*/ 2985243 h 3403632"/>
              <a:gd name="connsiteX213" fmla="*/ 1076228 w 3905665"/>
              <a:gd name="connsiteY213" fmla="*/ 2977593 h 3403632"/>
              <a:gd name="connsiteX214" fmla="*/ 1083879 w 3905665"/>
              <a:gd name="connsiteY214" fmla="*/ 2969941 h 3403632"/>
              <a:gd name="connsiteX215" fmla="*/ 1410208 w 3905665"/>
              <a:gd name="connsiteY215" fmla="*/ 2961796 h 3403632"/>
              <a:gd name="connsiteX216" fmla="*/ 1414898 w 3905665"/>
              <a:gd name="connsiteY216" fmla="*/ 2966484 h 3403632"/>
              <a:gd name="connsiteX217" fmla="*/ 1410208 w 3905665"/>
              <a:gd name="connsiteY217" fmla="*/ 2971174 h 3403632"/>
              <a:gd name="connsiteX218" fmla="*/ 1405517 w 3905665"/>
              <a:gd name="connsiteY218" fmla="*/ 2966484 h 3403632"/>
              <a:gd name="connsiteX219" fmla="*/ 1410208 w 3905665"/>
              <a:gd name="connsiteY219" fmla="*/ 2961796 h 3403632"/>
              <a:gd name="connsiteX220" fmla="*/ 57055 w 3905665"/>
              <a:gd name="connsiteY220" fmla="*/ 2961550 h 3403632"/>
              <a:gd name="connsiteX221" fmla="*/ 60758 w 3905665"/>
              <a:gd name="connsiteY221" fmla="*/ 2965005 h 3403632"/>
              <a:gd name="connsiteX222" fmla="*/ 57055 w 3905665"/>
              <a:gd name="connsiteY222" fmla="*/ 2968708 h 3403632"/>
              <a:gd name="connsiteX223" fmla="*/ 53352 w 3905665"/>
              <a:gd name="connsiteY223" fmla="*/ 2965005 h 3403632"/>
              <a:gd name="connsiteX224" fmla="*/ 57055 w 3905665"/>
              <a:gd name="connsiteY224" fmla="*/ 2961550 h 3403632"/>
              <a:gd name="connsiteX225" fmla="*/ 744248 w 3905665"/>
              <a:gd name="connsiteY225" fmla="*/ 2960314 h 3403632"/>
              <a:gd name="connsiteX226" fmla="*/ 749923 w 3905665"/>
              <a:gd name="connsiteY226" fmla="*/ 2965992 h 3403632"/>
              <a:gd name="connsiteX227" fmla="*/ 744248 w 3905665"/>
              <a:gd name="connsiteY227" fmla="*/ 2971670 h 3403632"/>
              <a:gd name="connsiteX228" fmla="*/ 738570 w 3905665"/>
              <a:gd name="connsiteY228" fmla="*/ 2965992 h 3403632"/>
              <a:gd name="connsiteX229" fmla="*/ 744248 w 3905665"/>
              <a:gd name="connsiteY229" fmla="*/ 2960314 h 3403632"/>
              <a:gd name="connsiteX230" fmla="*/ 172821 w 3905665"/>
              <a:gd name="connsiteY230" fmla="*/ 2951923 h 3403632"/>
              <a:gd name="connsiteX231" fmla="*/ 176524 w 3905665"/>
              <a:gd name="connsiteY231" fmla="*/ 2955626 h 3403632"/>
              <a:gd name="connsiteX232" fmla="*/ 172821 w 3905665"/>
              <a:gd name="connsiteY232" fmla="*/ 2959330 h 3403632"/>
              <a:gd name="connsiteX233" fmla="*/ 169118 w 3905665"/>
              <a:gd name="connsiteY233" fmla="*/ 2955626 h 3403632"/>
              <a:gd name="connsiteX234" fmla="*/ 172821 w 3905665"/>
              <a:gd name="connsiteY234" fmla="*/ 2951923 h 3403632"/>
              <a:gd name="connsiteX235" fmla="*/ 288336 w 3905665"/>
              <a:gd name="connsiteY235" fmla="*/ 2938592 h 3403632"/>
              <a:gd name="connsiteX236" fmla="*/ 292286 w 3905665"/>
              <a:gd name="connsiteY236" fmla="*/ 2942541 h 3403632"/>
              <a:gd name="connsiteX237" fmla="*/ 288336 w 3905665"/>
              <a:gd name="connsiteY237" fmla="*/ 2946491 h 3403632"/>
              <a:gd name="connsiteX238" fmla="*/ 284387 w 3905665"/>
              <a:gd name="connsiteY238" fmla="*/ 2942541 h 3403632"/>
              <a:gd name="connsiteX239" fmla="*/ 288336 w 3905665"/>
              <a:gd name="connsiteY239" fmla="*/ 2938592 h 3403632"/>
              <a:gd name="connsiteX240" fmla="*/ 1193231 w 3905665"/>
              <a:gd name="connsiteY240" fmla="*/ 2929955 h 3403632"/>
              <a:gd name="connsiteX241" fmla="*/ 1201376 w 3905665"/>
              <a:gd name="connsiteY241" fmla="*/ 2937854 h 3403632"/>
              <a:gd name="connsiteX242" fmla="*/ 1193231 w 3905665"/>
              <a:gd name="connsiteY242" fmla="*/ 2945999 h 3403632"/>
              <a:gd name="connsiteX243" fmla="*/ 1185332 w 3905665"/>
              <a:gd name="connsiteY243" fmla="*/ 2937854 h 3403632"/>
              <a:gd name="connsiteX244" fmla="*/ 1193231 w 3905665"/>
              <a:gd name="connsiteY244" fmla="*/ 2929955 h 3403632"/>
              <a:gd name="connsiteX245" fmla="*/ 856310 w 3905665"/>
              <a:gd name="connsiteY245" fmla="*/ 2929955 h 3403632"/>
              <a:gd name="connsiteX246" fmla="*/ 862235 w 3905665"/>
              <a:gd name="connsiteY246" fmla="*/ 2935879 h 3403632"/>
              <a:gd name="connsiteX247" fmla="*/ 856310 w 3905665"/>
              <a:gd name="connsiteY247" fmla="*/ 2941803 h 3403632"/>
              <a:gd name="connsiteX248" fmla="*/ 850386 w 3905665"/>
              <a:gd name="connsiteY248" fmla="*/ 2935879 h 3403632"/>
              <a:gd name="connsiteX249" fmla="*/ 856310 w 3905665"/>
              <a:gd name="connsiteY249" fmla="*/ 2929955 h 3403632"/>
              <a:gd name="connsiteX250" fmla="*/ 1726904 w 3905665"/>
              <a:gd name="connsiteY250" fmla="*/ 2926993 h 3403632"/>
              <a:gd name="connsiteX251" fmla="*/ 1734063 w 3905665"/>
              <a:gd name="connsiteY251" fmla="*/ 2934151 h 3403632"/>
              <a:gd name="connsiteX252" fmla="*/ 1726904 w 3905665"/>
              <a:gd name="connsiteY252" fmla="*/ 2941308 h 3403632"/>
              <a:gd name="connsiteX253" fmla="*/ 1719746 w 3905665"/>
              <a:gd name="connsiteY253" fmla="*/ 2934151 h 3403632"/>
              <a:gd name="connsiteX254" fmla="*/ 1726904 w 3905665"/>
              <a:gd name="connsiteY254" fmla="*/ 2926993 h 3403632"/>
              <a:gd name="connsiteX255" fmla="*/ 403115 w 3905665"/>
              <a:gd name="connsiteY255" fmla="*/ 2922054 h 3403632"/>
              <a:gd name="connsiteX256" fmla="*/ 407064 w 3905665"/>
              <a:gd name="connsiteY256" fmla="*/ 2926004 h 3403632"/>
              <a:gd name="connsiteX257" fmla="*/ 403115 w 3905665"/>
              <a:gd name="connsiteY257" fmla="*/ 2929953 h 3403632"/>
              <a:gd name="connsiteX258" fmla="*/ 399166 w 3905665"/>
              <a:gd name="connsiteY258" fmla="*/ 2926004 h 3403632"/>
              <a:gd name="connsiteX259" fmla="*/ 403115 w 3905665"/>
              <a:gd name="connsiteY259" fmla="*/ 2922054 h 3403632"/>
              <a:gd name="connsiteX260" fmla="*/ 1516102 w 3905665"/>
              <a:gd name="connsiteY260" fmla="*/ 2913417 h 3403632"/>
              <a:gd name="connsiteX261" fmla="*/ 1520793 w 3905665"/>
              <a:gd name="connsiteY261" fmla="*/ 2918108 h 3403632"/>
              <a:gd name="connsiteX262" fmla="*/ 1516102 w 3905665"/>
              <a:gd name="connsiteY262" fmla="*/ 2923045 h 3403632"/>
              <a:gd name="connsiteX263" fmla="*/ 1511165 w 3905665"/>
              <a:gd name="connsiteY263" fmla="*/ 2918108 h 3403632"/>
              <a:gd name="connsiteX264" fmla="*/ 1516102 w 3905665"/>
              <a:gd name="connsiteY264" fmla="*/ 2913417 h 3403632"/>
              <a:gd name="connsiteX265" fmla="*/ 517396 w 3905665"/>
              <a:gd name="connsiteY265" fmla="*/ 2901569 h 3403632"/>
              <a:gd name="connsiteX266" fmla="*/ 521592 w 3905665"/>
              <a:gd name="connsiteY266" fmla="*/ 2905765 h 3403632"/>
              <a:gd name="connsiteX267" fmla="*/ 517396 w 3905665"/>
              <a:gd name="connsiteY267" fmla="*/ 2909960 h 3403632"/>
              <a:gd name="connsiteX268" fmla="*/ 513201 w 3905665"/>
              <a:gd name="connsiteY268" fmla="*/ 2905765 h 3403632"/>
              <a:gd name="connsiteX269" fmla="*/ 517396 w 3905665"/>
              <a:gd name="connsiteY269" fmla="*/ 2901569 h 3403632"/>
              <a:gd name="connsiteX270" fmla="*/ 967385 w 3905665"/>
              <a:gd name="connsiteY270" fmla="*/ 2896137 h 3403632"/>
              <a:gd name="connsiteX271" fmla="*/ 973557 w 3905665"/>
              <a:gd name="connsiteY271" fmla="*/ 2902307 h 3403632"/>
              <a:gd name="connsiteX272" fmla="*/ 967385 w 3905665"/>
              <a:gd name="connsiteY272" fmla="*/ 2908480 h 3403632"/>
              <a:gd name="connsiteX273" fmla="*/ 961215 w 3905665"/>
              <a:gd name="connsiteY273" fmla="*/ 2902307 h 3403632"/>
              <a:gd name="connsiteX274" fmla="*/ 967385 w 3905665"/>
              <a:gd name="connsiteY274" fmla="*/ 2896137 h 3403632"/>
              <a:gd name="connsiteX275" fmla="*/ 1301595 w 3905665"/>
              <a:gd name="connsiteY275" fmla="*/ 2886510 h 3403632"/>
              <a:gd name="connsiteX276" fmla="*/ 1309986 w 3905665"/>
              <a:gd name="connsiteY276" fmla="*/ 2894901 h 3403632"/>
              <a:gd name="connsiteX277" fmla="*/ 1301595 w 3905665"/>
              <a:gd name="connsiteY277" fmla="*/ 2903295 h 3403632"/>
              <a:gd name="connsiteX278" fmla="*/ 1293201 w 3905665"/>
              <a:gd name="connsiteY278" fmla="*/ 2894901 h 3403632"/>
              <a:gd name="connsiteX279" fmla="*/ 1301595 w 3905665"/>
              <a:gd name="connsiteY279" fmla="*/ 2886510 h 3403632"/>
              <a:gd name="connsiteX280" fmla="*/ 630946 w 3905665"/>
              <a:gd name="connsiteY280" fmla="*/ 2877626 h 3403632"/>
              <a:gd name="connsiteX281" fmla="*/ 635391 w 3905665"/>
              <a:gd name="connsiteY281" fmla="*/ 2881822 h 3403632"/>
              <a:gd name="connsiteX282" fmla="*/ 630946 w 3905665"/>
              <a:gd name="connsiteY282" fmla="*/ 2886017 h 3403632"/>
              <a:gd name="connsiteX283" fmla="*/ 626750 w 3905665"/>
              <a:gd name="connsiteY283" fmla="*/ 2881822 h 3403632"/>
              <a:gd name="connsiteX284" fmla="*/ 630946 w 3905665"/>
              <a:gd name="connsiteY284" fmla="*/ 2877626 h 3403632"/>
              <a:gd name="connsiteX285" fmla="*/ 1829091 w 3905665"/>
              <a:gd name="connsiteY285" fmla="*/ 2870961 h 3403632"/>
              <a:gd name="connsiteX286" fmla="*/ 1836491 w 3905665"/>
              <a:gd name="connsiteY286" fmla="*/ 2878367 h 3403632"/>
              <a:gd name="connsiteX287" fmla="*/ 1829091 w 3905665"/>
              <a:gd name="connsiteY287" fmla="*/ 2885771 h 3403632"/>
              <a:gd name="connsiteX288" fmla="*/ 1821682 w 3905665"/>
              <a:gd name="connsiteY288" fmla="*/ 2878367 h 3403632"/>
              <a:gd name="connsiteX289" fmla="*/ 1829091 w 3905665"/>
              <a:gd name="connsiteY289" fmla="*/ 2870961 h 3403632"/>
              <a:gd name="connsiteX290" fmla="*/ 1620517 w 3905665"/>
              <a:gd name="connsiteY290" fmla="*/ 2862075 h 3403632"/>
              <a:gd name="connsiteX291" fmla="*/ 1625454 w 3905665"/>
              <a:gd name="connsiteY291" fmla="*/ 2867012 h 3403632"/>
              <a:gd name="connsiteX292" fmla="*/ 1620517 w 3905665"/>
              <a:gd name="connsiteY292" fmla="*/ 2871949 h 3403632"/>
              <a:gd name="connsiteX293" fmla="*/ 1615580 w 3905665"/>
              <a:gd name="connsiteY293" fmla="*/ 2867012 h 3403632"/>
              <a:gd name="connsiteX294" fmla="*/ 1620517 w 3905665"/>
              <a:gd name="connsiteY294" fmla="*/ 2862075 h 3403632"/>
              <a:gd name="connsiteX295" fmla="*/ 1077215 w 3905665"/>
              <a:gd name="connsiteY295" fmla="*/ 2858372 h 3403632"/>
              <a:gd name="connsiteX296" fmla="*/ 1083879 w 3905665"/>
              <a:gd name="connsiteY296" fmla="*/ 2865038 h 3403632"/>
              <a:gd name="connsiteX297" fmla="*/ 1077215 w 3905665"/>
              <a:gd name="connsiteY297" fmla="*/ 2871454 h 3403632"/>
              <a:gd name="connsiteX298" fmla="*/ 1070550 w 3905665"/>
              <a:gd name="connsiteY298" fmla="*/ 2865038 h 3403632"/>
              <a:gd name="connsiteX299" fmla="*/ 1077215 w 3905665"/>
              <a:gd name="connsiteY299" fmla="*/ 2858372 h 3403632"/>
              <a:gd name="connsiteX300" fmla="*/ 56804 w 3905665"/>
              <a:gd name="connsiteY300" fmla="*/ 2852943 h 3403632"/>
              <a:gd name="connsiteX301" fmla="*/ 60014 w 3905665"/>
              <a:gd name="connsiteY301" fmla="*/ 2856152 h 3403632"/>
              <a:gd name="connsiteX302" fmla="*/ 56804 w 3905665"/>
              <a:gd name="connsiteY302" fmla="*/ 2859609 h 3403632"/>
              <a:gd name="connsiteX303" fmla="*/ 53349 w 3905665"/>
              <a:gd name="connsiteY303" fmla="*/ 2856152 h 3403632"/>
              <a:gd name="connsiteX304" fmla="*/ 56804 w 3905665"/>
              <a:gd name="connsiteY304" fmla="*/ 2852943 h 3403632"/>
              <a:gd name="connsiteX305" fmla="*/ 743749 w 3905665"/>
              <a:gd name="connsiteY305" fmla="*/ 2849732 h 3403632"/>
              <a:gd name="connsiteX306" fmla="*/ 748193 w 3905665"/>
              <a:gd name="connsiteY306" fmla="*/ 2854174 h 3403632"/>
              <a:gd name="connsiteX307" fmla="*/ 743749 w 3905665"/>
              <a:gd name="connsiteY307" fmla="*/ 2858618 h 3403632"/>
              <a:gd name="connsiteX308" fmla="*/ 739307 w 3905665"/>
              <a:gd name="connsiteY308" fmla="*/ 2854174 h 3403632"/>
              <a:gd name="connsiteX309" fmla="*/ 743749 w 3905665"/>
              <a:gd name="connsiteY309" fmla="*/ 2849732 h 3403632"/>
              <a:gd name="connsiteX310" fmla="*/ 172570 w 3905665"/>
              <a:gd name="connsiteY310" fmla="*/ 2843067 h 3403632"/>
              <a:gd name="connsiteX311" fmla="*/ 176027 w 3905665"/>
              <a:gd name="connsiteY311" fmla="*/ 2846524 h 3403632"/>
              <a:gd name="connsiteX312" fmla="*/ 172570 w 3905665"/>
              <a:gd name="connsiteY312" fmla="*/ 2849979 h 3403632"/>
              <a:gd name="connsiteX313" fmla="*/ 169115 w 3905665"/>
              <a:gd name="connsiteY313" fmla="*/ 2846524 h 3403632"/>
              <a:gd name="connsiteX314" fmla="*/ 172570 w 3905665"/>
              <a:gd name="connsiteY314" fmla="*/ 2843067 h 3403632"/>
              <a:gd name="connsiteX315" fmla="*/ 1408477 w 3905665"/>
              <a:gd name="connsiteY315" fmla="*/ 2839612 h 3403632"/>
              <a:gd name="connsiteX316" fmla="*/ 1417363 w 3905665"/>
              <a:gd name="connsiteY316" fmla="*/ 2848498 h 3403632"/>
              <a:gd name="connsiteX317" fmla="*/ 1408477 w 3905665"/>
              <a:gd name="connsiteY317" fmla="*/ 2857384 h 3403632"/>
              <a:gd name="connsiteX318" fmla="*/ 1399591 w 3905665"/>
              <a:gd name="connsiteY318" fmla="*/ 2848498 h 3403632"/>
              <a:gd name="connsiteX319" fmla="*/ 1408477 w 3905665"/>
              <a:gd name="connsiteY319" fmla="*/ 2839612 h 3403632"/>
              <a:gd name="connsiteX320" fmla="*/ 288088 w 3905665"/>
              <a:gd name="connsiteY320" fmla="*/ 2829739 h 3403632"/>
              <a:gd name="connsiteX321" fmla="*/ 291545 w 3905665"/>
              <a:gd name="connsiteY321" fmla="*/ 2833194 h 3403632"/>
              <a:gd name="connsiteX322" fmla="*/ 288088 w 3905665"/>
              <a:gd name="connsiteY322" fmla="*/ 2836651 h 3403632"/>
              <a:gd name="connsiteX323" fmla="*/ 284633 w 3905665"/>
              <a:gd name="connsiteY323" fmla="*/ 2833194 h 3403632"/>
              <a:gd name="connsiteX324" fmla="*/ 288088 w 3905665"/>
              <a:gd name="connsiteY324" fmla="*/ 2829739 h 3403632"/>
              <a:gd name="connsiteX325" fmla="*/ 855566 w 3905665"/>
              <a:gd name="connsiteY325" fmla="*/ 2818383 h 3403632"/>
              <a:gd name="connsiteX326" fmla="*/ 860008 w 3905665"/>
              <a:gd name="connsiteY326" fmla="*/ 2822827 h 3403632"/>
              <a:gd name="connsiteX327" fmla="*/ 855566 w 3905665"/>
              <a:gd name="connsiteY327" fmla="*/ 2827515 h 3403632"/>
              <a:gd name="connsiteX328" fmla="*/ 850876 w 3905665"/>
              <a:gd name="connsiteY328" fmla="*/ 2822827 h 3403632"/>
              <a:gd name="connsiteX329" fmla="*/ 855566 w 3905665"/>
              <a:gd name="connsiteY329" fmla="*/ 2818383 h 3403632"/>
              <a:gd name="connsiteX330" fmla="*/ 1185825 w 3905665"/>
              <a:gd name="connsiteY330" fmla="*/ 2817399 h 3403632"/>
              <a:gd name="connsiteX331" fmla="*/ 1192737 w 3905665"/>
              <a:gd name="connsiteY331" fmla="*/ 2824310 h 3403632"/>
              <a:gd name="connsiteX332" fmla="*/ 1185825 w 3905665"/>
              <a:gd name="connsiteY332" fmla="*/ 2831222 h 3403632"/>
              <a:gd name="connsiteX333" fmla="*/ 1178914 w 3905665"/>
              <a:gd name="connsiteY333" fmla="*/ 2824310 h 3403632"/>
              <a:gd name="connsiteX334" fmla="*/ 1185825 w 3905665"/>
              <a:gd name="connsiteY334" fmla="*/ 2817399 h 3403632"/>
              <a:gd name="connsiteX335" fmla="*/ 402864 w 3905665"/>
              <a:gd name="connsiteY335" fmla="*/ 2812459 h 3403632"/>
              <a:gd name="connsiteX336" fmla="*/ 406321 w 3905665"/>
              <a:gd name="connsiteY336" fmla="*/ 2815916 h 3403632"/>
              <a:gd name="connsiteX337" fmla="*/ 402864 w 3905665"/>
              <a:gd name="connsiteY337" fmla="*/ 2819371 h 3403632"/>
              <a:gd name="connsiteX338" fmla="*/ 399409 w 3905665"/>
              <a:gd name="connsiteY338" fmla="*/ 2815916 h 3403632"/>
              <a:gd name="connsiteX339" fmla="*/ 402864 w 3905665"/>
              <a:gd name="connsiteY339" fmla="*/ 2812459 h 3403632"/>
              <a:gd name="connsiteX340" fmla="*/ 1929299 w 3905665"/>
              <a:gd name="connsiteY340" fmla="*/ 2811967 h 3403632"/>
              <a:gd name="connsiteX341" fmla="*/ 1936943 w 3905665"/>
              <a:gd name="connsiteY341" fmla="*/ 2819619 h 3403632"/>
              <a:gd name="connsiteX342" fmla="*/ 1929299 w 3905665"/>
              <a:gd name="connsiteY342" fmla="*/ 2827269 h 3403632"/>
              <a:gd name="connsiteX343" fmla="*/ 1921652 w 3905665"/>
              <a:gd name="connsiteY343" fmla="*/ 2819619 h 3403632"/>
              <a:gd name="connsiteX344" fmla="*/ 1929299 w 3905665"/>
              <a:gd name="connsiteY344" fmla="*/ 2811967 h 3403632"/>
              <a:gd name="connsiteX345" fmla="*/ 1723447 w 3905665"/>
              <a:gd name="connsiteY345" fmla="*/ 2807771 h 3403632"/>
              <a:gd name="connsiteX346" fmla="*/ 1728381 w 3905665"/>
              <a:gd name="connsiteY346" fmla="*/ 2812708 h 3403632"/>
              <a:gd name="connsiteX347" fmla="*/ 1723447 w 3905665"/>
              <a:gd name="connsiteY347" fmla="*/ 2817645 h 3403632"/>
              <a:gd name="connsiteX348" fmla="*/ 1718509 w 3905665"/>
              <a:gd name="connsiteY348" fmla="*/ 2812708 h 3403632"/>
              <a:gd name="connsiteX349" fmla="*/ 1723447 w 3905665"/>
              <a:gd name="connsiteY349" fmla="*/ 2807771 h 3403632"/>
              <a:gd name="connsiteX350" fmla="*/ 517148 w 3905665"/>
              <a:gd name="connsiteY350" fmla="*/ 2791728 h 3403632"/>
              <a:gd name="connsiteX351" fmla="*/ 520605 w 3905665"/>
              <a:gd name="connsiteY351" fmla="*/ 2795185 h 3403632"/>
              <a:gd name="connsiteX352" fmla="*/ 517148 w 3905665"/>
              <a:gd name="connsiteY352" fmla="*/ 2798640 h 3403632"/>
              <a:gd name="connsiteX353" fmla="*/ 513693 w 3905665"/>
              <a:gd name="connsiteY353" fmla="*/ 2795185 h 3403632"/>
              <a:gd name="connsiteX354" fmla="*/ 517148 w 3905665"/>
              <a:gd name="connsiteY354" fmla="*/ 2791728 h 3403632"/>
              <a:gd name="connsiteX355" fmla="*/ 1513876 w 3905665"/>
              <a:gd name="connsiteY355" fmla="*/ 2789999 h 3403632"/>
              <a:gd name="connsiteX356" fmla="*/ 1523011 w 3905665"/>
              <a:gd name="connsiteY356" fmla="*/ 2799131 h 3403632"/>
              <a:gd name="connsiteX357" fmla="*/ 1513876 w 3905665"/>
              <a:gd name="connsiteY357" fmla="*/ 2808266 h 3403632"/>
              <a:gd name="connsiteX358" fmla="*/ 1504743 w 3905665"/>
              <a:gd name="connsiteY358" fmla="*/ 2799131 h 3403632"/>
              <a:gd name="connsiteX359" fmla="*/ 1513876 w 3905665"/>
              <a:gd name="connsiteY359" fmla="*/ 2789999 h 3403632"/>
              <a:gd name="connsiteX360" fmla="*/ 966395 w 3905665"/>
              <a:gd name="connsiteY360" fmla="*/ 2783580 h 3403632"/>
              <a:gd name="connsiteX361" fmla="*/ 971085 w 3905665"/>
              <a:gd name="connsiteY361" fmla="*/ 2788268 h 3403632"/>
              <a:gd name="connsiteX362" fmla="*/ 966395 w 3905665"/>
              <a:gd name="connsiteY362" fmla="*/ 2792958 h 3403632"/>
              <a:gd name="connsiteX363" fmla="*/ 961704 w 3905665"/>
              <a:gd name="connsiteY363" fmla="*/ 2788268 h 3403632"/>
              <a:gd name="connsiteX364" fmla="*/ 966395 w 3905665"/>
              <a:gd name="connsiteY364" fmla="*/ 2783580 h 3403632"/>
              <a:gd name="connsiteX365" fmla="*/ 1293199 w 3905665"/>
              <a:gd name="connsiteY365" fmla="*/ 2773215 h 3403632"/>
              <a:gd name="connsiteX366" fmla="*/ 1300359 w 3905665"/>
              <a:gd name="connsiteY366" fmla="*/ 2780373 h 3403632"/>
              <a:gd name="connsiteX367" fmla="*/ 1293199 w 3905665"/>
              <a:gd name="connsiteY367" fmla="*/ 2787530 h 3403632"/>
              <a:gd name="connsiteX368" fmla="*/ 1286042 w 3905665"/>
              <a:gd name="connsiteY368" fmla="*/ 2780373 h 3403632"/>
              <a:gd name="connsiteX369" fmla="*/ 1293199 w 3905665"/>
              <a:gd name="connsiteY369" fmla="*/ 2773215 h 3403632"/>
              <a:gd name="connsiteX370" fmla="*/ 630697 w 3905665"/>
              <a:gd name="connsiteY370" fmla="*/ 2767044 h 3403632"/>
              <a:gd name="connsiteX371" fmla="*/ 634156 w 3905665"/>
              <a:gd name="connsiteY371" fmla="*/ 2770501 h 3403632"/>
              <a:gd name="connsiteX372" fmla="*/ 630697 w 3905665"/>
              <a:gd name="connsiteY372" fmla="*/ 2773956 h 3403632"/>
              <a:gd name="connsiteX373" fmla="*/ 627243 w 3905665"/>
              <a:gd name="connsiteY373" fmla="*/ 2770501 h 3403632"/>
              <a:gd name="connsiteX374" fmla="*/ 630697 w 3905665"/>
              <a:gd name="connsiteY374" fmla="*/ 2767044 h 3403632"/>
              <a:gd name="connsiteX375" fmla="*/ 1824888 w 3905665"/>
              <a:gd name="connsiteY375" fmla="*/ 2750260 h 3403632"/>
              <a:gd name="connsiteX376" fmla="*/ 1830073 w 3905665"/>
              <a:gd name="connsiteY376" fmla="*/ 2755443 h 3403632"/>
              <a:gd name="connsiteX377" fmla="*/ 1824888 w 3905665"/>
              <a:gd name="connsiteY377" fmla="*/ 2760626 h 3403632"/>
              <a:gd name="connsiteX378" fmla="*/ 1819690 w 3905665"/>
              <a:gd name="connsiteY378" fmla="*/ 2755443 h 3403632"/>
              <a:gd name="connsiteX379" fmla="*/ 1824888 w 3905665"/>
              <a:gd name="connsiteY379" fmla="*/ 2750260 h 3403632"/>
              <a:gd name="connsiteX380" fmla="*/ 2027996 w 3905665"/>
              <a:gd name="connsiteY380" fmla="*/ 2749518 h 3403632"/>
              <a:gd name="connsiteX381" fmla="*/ 2036387 w 3905665"/>
              <a:gd name="connsiteY381" fmla="*/ 2757909 h 3403632"/>
              <a:gd name="connsiteX382" fmla="*/ 2027996 w 3905665"/>
              <a:gd name="connsiteY382" fmla="*/ 2766303 h 3403632"/>
              <a:gd name="connsiteX383" fmla="*/ 2019602 w 3905665"/>
              <a:gd name="connsiteY383" fmla="*/ 2757909 h 3403632"/>
              <a:gd name="connsiteX384" fmla="*/ 2027996 w 3905665"/>
              <a:gd name="connsiteY384" fmla="*/ 2749518 h 3403632"/>
              <a:gd name="connsiteX385" fmla="*/ 1075977 w 3905665"/>
              <a:gd name="connsiteY385" fmla="*/ 2745074 h 3403632"/>
              <a:gd name="connsiteX386" fmla="*/ 1080914 w 3905665"/>
              <a:gd name="connsiteY386" fmla="*/ 2750011 h 3403632"/>
              <a:gd name="connsiteX387" fmla="*/ 1075977 w 3905665"/>
              <a:gd name="connsiteY387" fmla="*/ 2754947 h 3403632"/>
              <a:gd name="connsiteX388" fmla="*/ 1071040 w 3905665"/>
              <a:gd name="connsiteY388" fmla="*/ 2750011 h 3403632"/>
              <a:gd name="connsiteX389" fmla="*/ 1075977 w 3905665"/>
              <a:gd name="connsiteY389" fmla="*/ 2745074 h 3403632"/>
              <a:gd name="connsiteX390" fmla="*/ 56804 w 3905665"/>
              <a:gd name="connsiteY390" fmla="*/ 2744333 h 3403632"/>
              <a:gd name="connsiteX391" fmla="*/ 59765 w 3905665"/>
              <a:gd name="connsiteY391" fmla="*/ 2747295 h 3403632"/>
              <a:gd name="connsiteX392" fmla="*/ 56804 w 3905665"/>
              <a:gd name="connsiteY392" fmla="*/ 2750257 h 3403632"/>
              <a:gd name="connsiteX393" fmla="*/ 54088 w 3905665"/>
              <a:gd name="connsiteY393" fmla="*/ 2747295 h 3403632"/>
              <a:gd name="connsiteX394" fmla="*/ 56804 w 3905665"/>
              <a:gd name="connsiteY394" fmla="*/ 2744333 h 3403632"/>
              <a:gd name="connsiteX395" fmla="*/ 743255 w 3905665"/>
              <a:gd name="connsiteY395" fmla="*/ 2738409 h 3403632"/>
              <a:gd name="connsiteX396" fmla="*/ 746711 w 3905665"/>
              <a:gd name="connsiteY396" fmla="*/ 2741866 h 3403632"/>
              <a:gd name="connsiteX397" fmla="*/ 743255 w 3905665"/>
              <a:gd name="connsiteY397" fmla="*/ 2745321 h 3403632"/>
              <a:gd name="connsiteX398" fmla="*/ 739799 w 3905665"/>
              <a:gd name="connsiteY398" fmla="*/ 2741866 h 3403632"/>
              <a:gd name="connsiteX399" fmla="*/ 743255 w 3905665"/>
              <a:gd name="connsiteY399" fmla="*/ 2738409 h 3403632"/>
              <a:gd name="connsiteX400" fmla="*/ 1617798 w 3905665"/>
              <a:gd name="connsiteY400" fmla="*/ 2736683 h 3403632"/>
              <a:gd name="connsiteX401" fmla="*/ 1627423 w 3905665"/>
              <a:gd name="connsiteY401" fmla="*/ 2746310 h 3403632"/>
              <a:gd name="connsiteX402" fmla="*/ 1617798 w 3905665"/>
              <a:gd name="connsiteY402" fmla="*/ 2755935 h 3403632"/>
              <a:gd name="connsiteX403" fmla="*/ 1608170 w 3905665"/>
              <a:gd name="connsiteY403" fmla="*/ 2746310 h 3403632"/>
              <a:gd name="connsiteX404" fmla="*/ 1617798 w 3905665"/>
              <a:gd name="connsiteY404" fmla="*/ 2736683 h 3403632"/>
              <a:gd name="connsiteX405" fmla="*/ 172570 w 3905665"/>
              <a:gd name="connsiteY405" fmla="*/ 2734708 h 3403632"/>
              <a:gd name="connsiteX406" fmla="*/ 175283 w 3905665"/>
              <a:gd name="connsiteY406" fmla="*/ 2737424 h 3403632"/>
              <a:gd name="connsiteX407" fmla="*/ 172570 w 3905665"/>
              <a:gd name="connsiteY407" fmla="*/ 2740140 h 3403632"/>
              <a:gd name="connsiteX408" fmla="*/ 170100 w 3905665"/>
              <a:gd name="connsiteY408" fmla="*/ 2737424 h 3403632"/>
              <a:gd name="connsiteX409" fmla="*/ 172570 w 3905665"/>
              <a:gd name="connsiteY409" fmla="*/ 2734708 h 3403632"/>
              <a:gd name="connsiteX410" fmla="*/ 1399096 w 3905665"/>
              <a:gd name="connsiteY410" fmla="*/ 2726068 h 3403632"/>
              <a:gd name="connsiteX411" fmla="*/ 1406499 w 3905665"/>
              <a:gd name="connsiteY411" fmla="*/ 2733474 h 3403632"/>
              <a:gd name="connsiteX412" fmla="*/ 1399096 w 3905665"/>
              <a:gd name="connsiteY412" fmla="*/ 2740878 h 3403632"/>
              <a:gd name="connsiteX413" fmla="*/ 1391689 w 3905665"/>
              <a:gd name="connsiteY413" fmla="*/ 2733474 h 3403632"/>
              <a:gd name="connsiteX414" fmla="*/ 1399096 w 3905665"/>
              <a:gd name="connsiteY414" fmla="*/ 2726068 h 3403632"/>
              <a:gd name="connsiteX415" fmla="*/ 288088 w 3905665"/>
              <a:gd name="connsiteY415" fmla="*/ 2721132 h 3403632"/>
              <a:gd name="connsiteX416" fmla="*/ 290555 w 3905665"/>
              <a:gd name="connsiteY416" fmla="*/ 2723599 h 3403632"/>
              <a:gd name="connsiteX417" fmla="*/ 288088 w 3905665"/>
              <a:gd name="connsiteY417" fmla="*/ 2726069 h 3403632"/>
              <a:gd name="connsiteX418" fmla="*/ 285618 w 3905665"/>
              <a:gd name="connsiteY418" fmla="*/ 2723599 h 3403632"/>
              <a:gd name="connsiteX419" fmla="*/ 288088 w 3905665"/>
              <a:gd name="connsiteY419" fmla="*/ 2721132 h 3403632"/>
              <a:gd name="connsiteX420" fmla="*/ 855068 w 3905665"/>
              <a:gd name="connsiteY420" fmla="*/ 2706322 h 3403632"/>
              <a:gd name="connsiteX421" fmla="*/ 858526 w 3905665"/>
              <a:gd name="connsiteY421" fmla="*/ 2709777 h 3403632"/>
              <a:gd name="connsiteX422" fmla="*/ 855068 w 3905665"/>
              <a:gd name="connsiteY422" fmla="*/ 2713234 h 3403632"/>
              <a:gd name="connsiteX423" fmla="*/ 851614 w 3905665"/>
              <a:gd name="connsiteY423" fmla="*/ 2709777 h 3403632"/>
              <a:gd name="connsiteX424" fmla="*/ 855068 w 3905665"/>
              <a:gd name="connsiteY424" fmla="*/ 2706322 h 3403632"/>
              <a:gd name="connsiteX425" fmla="*/ 403108 w 3905665"/>
              <a:gd name="connsiteY425" fmla="*/ 2703606 h 3403632"/>
              <a:gd name="connsiteX426" fmla="*/ 405332 w 3905665"/>
              <a:gd name="connsiteY426" fmla="*/ 2705827 h 3403632"/>
              <a:gd name="connsiteX427" fmla="*/ 403108 w 3905665"/>
              <a:gd name="connsiteY427" fmla="*/ 2708048 h 3403632"/>
              <a:gd name="connsiteX428" fmla="*/ 400887 w 3905665"/>
              <a:gd name="connsiteY428" fmla="*/ 2705827 h 3403632"/>
              <a:gd name="connsiteX429" fmla="*/ 403108 w 3905665"/>
              <a:gd name="connsiteY429" fmla="*/ 2703606 h 3403632"/>
              <a:gd name="connsiteX430" fmla="*/ 1184341 w 3905665"/>
              <a:gd name="connsiteY430" fmla="*/ 2703360 h 3403632"/>
              <a:gd name="connsiteX431" fmla="*/ 1189278 w 3905665"/>
              <a:gd name="connsiteY431" fmla="*/ 2708297 h 3403632"/>
              <a:gd name="connsiteX432" fmla="*/ 1184341 w 3905665"/>
              <a:gd name="connsiteY432" fmla="*/ 2713234 h 3403632"/>
              <a:gd name="connsiteX433" fmla="*/ 1179404 w 3905665"/>
              <a:gd name="connsiteY433" fmla="*/ 2708297 h 3403632"/>
              <a:gd name="connsiteX434" fmla="*/ 1184341 w 3905665"/>
              <a:gd name="connsiteY434" fmla="*/ 2703360 h 3403632"/>
              <a:gd name="connsiteX435" fmla="*/ 1924364 w 3905665"/>
              <a:gd name="connsiteY435" fmla="*/ 2689783 h 3403632"/>
              <a:gd name="connsiteX436" fmla="*/ 1930034 w 3905665"/>
              <a:gd name="connsiteY436" fmla="*/ 2695215 h 3403632"/>
              <a:gd name="connsiteX437" fmla="*/ 1924364 w 3905665"/>
              <a:gd name="connsiteY437" fmla="*/ 2700644 h 3403632"/>
              <a:gd name="connsiteX438" fmla="*/ 1918936 w 3905665"/>
              <a:gd name="connsiteY438" fmla="*/ 2695215 h 3403632"/>
              <a:gd name="connsiteX439" fmla="*/ 1924364 w 3905665"/>
              <a:gd name="connsiteY439" fmla="*/ 2689783 h 3403632"/>
              <a:gd name="connsiteX440" fmla="*/ 2125001 w 3905665"/>
              <a:gd name="connsiteY440" fmla="*/ 2684600 h 3403632"/>
              <a:gd name="connsiteX441" fmla="*/ 2134133 w 3905665"/>
              <a:gd name="connsiteY441" fmla="*/ 2693732 h 3403632"/>
              <a:gd name="connsiteX442" fmla="*/ 2125001 w 3905665"/>
              <a:gd name="connsiteY442" fmla="*/ 2702864 h 3403632"/>
              <a:gd name="connsiteX443" fmla="*/ 2115869 w 3905665"/>
              <a:gd name="connsiteY443" fmla="*/ 2693732 h 3403632"/>
              <a:gd name="connsiteX444" fmla="*/ 2125001 w 3905665"/>
              <a:gd name="connsiteY444" fmla="*/ 2684600 h 3403632"/>
              <a:gd name="connsiteX445" fmla="*/ 517146 w 3905665"/>
              <a:gd name="connsiteY445" fmla="*/ 2682379 h 3403632"/>
              <a:gd name="connsiteX446" fmla="*/ 519120 w 3905665"/>
              <a:gd name="connsiteY446" fmla="*/ 2684354 h 3403632"/>
              <a:gd name="connsiteX447" fmla="*/ 517146 w 3905665"/>
              <a:gd name="connsiteY447" fmla="*/ 2686328 h 3403632"/>
              <a:gd name="connsiteX448" fmla="*/ 515172 w 3905665"/>
              <a:gd name="connsiteY448" fmla="*/ 2684354 h 3403632"/>
              <a:gd name="connsiteX449" fmla="*/ 517146 w 3905665"/>
              <a:gd name="connsiteY449" fmla="*/ 2682379 h 3403632"/>
              <a:gd name="connsiteX450" fmla="*/ 1719988 w 3905665"/>
              <a:gd name="connsiteY450" fmla="*/ 2680405 h 3403632"/>
              <a:gd name="connsiteX451" fmla="*/ 1730110 w 3905665"/>
              <a:gd name="connsiteY451" fmla="*/ 2690525 h 3403632"/>
              <a:gd name="connsiteX452" fmla="*/ 1719988 w 3905665"/>
              <a:gd name="connsiteY452" fmla="*/ 2700398 h 3403632"/>
              <a:gd name="connsiteX453" fmla="*/ 1710116 w 3905665"/>
              <a:gd name="connsiteY453" fmla="*/ 2690525 h 3403632"/>
              <a:gd name="connsiteX454" fmla="*/ 1719988 w 3905665"/>
              <a:gd name="connsiteY454" fmla="*/ 2680405 h 3403632"/>
              <a:gd name="connsiteX455" fmla="*/ 1503507 w 3905665"/>
              <a:gd name="connsiteY455" fmla="*/ 2675219 h 3403632"/>
              <a:gd name="connsiteX456" fmla="*/ 1511157 w 3905665"/>
              <a:gd name="connsiteY456" fmla="*/ 2682871 h 3403632"/>
              <a:gd name="connsiteX457" fmla="*/ 1503507 w 3905665"/>
              <a:gd name="connsiteY457" fmla="*/ 2690521 h 3403632"/>
              <a:gd name="connsiteX458" fmla="*/ 1495855 w 3905665"/>
              <a:gd name="connsiteY458" fmla="*/ 2682871 h 3403632"/>
              <a:gd name="connsiteX459" fmla="*/ 1503507 w 3905665"/>
              <a:gd name="connsiteY459" fmla="*/ 2675219 h 3403632"/>
              <a:gd name="connsiteX460" fmla="*/ 965405 w 3905665"/>
              <a:gd name="connsiteY460" fmla="*/ 2670531 h 3403632"/>
              <a:gd name="connsiteX461" fmla="*/ 968862 w 3905665"/>
              <a:gd name="connsiteY461" fmla="*/ 2673988 h 3403632"/>
              <a:gd name="connsiteX462" fmla="*/ 965405 w 3905665"/>
              <a:gd name="connsiteY462" fmla="*/ 2677443 h 3403632"/>
              <a:gd name="connsiteX463" fmla="*/ 961951 w 3905665"/>
              <a:gd name="connsiteY463" fmla="*/ 2673988 h 3403632"/>
              <a:gd name="connsiteX464" fmla="*/ 965405 w 3905665"/>
              <a:gd name="connsiteY464" fmla="*/ 2670531 h 3403632"/>
              <a:gd name="connsiteX465" fmla="*/ 1291222 w 3905665"/>
              <a:gd name="connsiteY465" fmla="*/ 2657942 h 3403632"/>
              <a:gd name="connsiteX466" fmla="*/ 1296406 w 3905665"/>
              <a:gd name="connsiteY466" fmla="*/ 2663125 h 3403632"/>
              <a:gd name="connsiteX467" fmla="*/ 1291222 w 3905665"/>
              <a:gd name="connsiteY467" fmla="*/ 2668311 h 3403632"/>
              <a:gd name="connsiteX468" fmla="*/ 1286039 w 3905665"/>
              <a:gd name="connsiteY468" fmla="*/ 2663125 h 3403632"/>
              <a:gd name="connsiteX469" fmla="*/ 1291222 w 3905665"/>
              <a:gd name="connsiteY469" fmla="*/ 2657942 h 3403632"/>
              <a:gd name="connsiteX470" fmla="*/ 630698 w 3905665"/>
              <a:gd name="connsiteY470" fmla="*/ 2656955 h 3403632"/>
              <a:gd name="connsiteX471" fmla="*/ 632424 w 3905665"/>
              <a:gd name="connsiteY471" fmla="*/ 2658683 h 3403632"/>
              <a:gd name="connsiteX472" fmla="*/ 630698 w 3905665"/>
              <a:gd name="connsiteY472" fmla="*/ 2660409 h 3403632"/>
              <a:gd name="connsiteX473" fmla="*/ 628969 w 3905665"/>
              <a:gd name="connsiteY473" fmla="*/ 2658683 h 3403632"/>
              <a:gd name="connsiteX474" fmla="*/ 630698 w 3905665"/>
              <a:gd name="connsiteY474" fmla="*/ 2656955 h 3403632"/>
              <a:gd name="connsiteX475" fmla="*/ 56060 w 3905665"/>
              <a:gd name="connsiteY475" fmla="*/ 2635974 h 3403632"/>
              <a:gd name="connsiteX476" fmla="*/ 58776 w 3905665"/>
              <a:gd name="connsiteY476" fmla="*/ 2638690 h 3403632"/>
              <a:gd name="connsiteX477" fmla="*/ 56060 w 3905665"/>
              <a:gd name="connsiteY477" fmla="*/ 2641406 h 3403632"/>
              <a:gd name="connsiteX478" fmla="*/ 53345 w 3905665"/>
              <a:gd name="connsiteY478" fmla="*/ 2638690 h 3403632"/>
              <a:gd name="connsiteX479" fmla="*/ 56060 w 3905665"/>
              <a:gd name="connsiteY479" fmla="*/ 2635974 h 3403632"/>
              <a:gd name="connsiteX480" fmla="*/ 1074743 w 3905665"/>
              <a:gd name="connsiteY480" fmla="*/ 2631038 h 3403632"/>
              <a:gd name="connsiteX481" fmla="*/ 1078197 w 3905665"/>
              <a:gd name="connsiteY481" fmla="*/ 2634495 h 3403632"/>
              <a:gd name="connsiteX482" fmla="*/ 1074743 w 3905665"/>
              <a:gd name="connsiteY482" fmla="*/ 2638196 h 3403632"/>
              <a:gd name="connsiteX483" fmla="*/ 1071039 w 3905665"/>
              <a:gd name="connsiteY483" fmla="*/ 2634495 h 3403632"/>
              <a:gd name="connsiteX484" fmla="*/ 1074743 w 3905665"/>
              <a:gd name="connsiteY484" fmla="*/ 2631038 h 3403632"/>
              <a:gd name="connsiteX485" fmla="*/ 743006 w 3905665"/>
              <a:gd name="connsiteY485" fmla="*/ 2628076 h 3403632"/>
              <a:gd name="connsiteX486" fmla="*/ 744487 w 3905665"/>
              <a:gd name="connsiteY486" fmla="*/ 2629556 h 3403632"/>
              <a:gd name="connsiteX487" fmla="*/ 743006 w 3905665"/>
              <a:gd name="connsiteY487" fmla="*/ 2631038 h 3403632"/>
              <a:gd name="connsiteX488" fmla="*/ 741522 w 3905665"/>
              <a:gd name="connsiteY488" fmla="*/ 2629556 h 3403632"/>
              <a:gd name="connsiteX489" fmla="*/ 743006 w 3905665"/>
              <a:gd name="connsiteY489" fmla="*/ 2628076 h 3403632"/>
              <a:gd name="connsiteX490" fmla="*/ 2022072 w 3905665"/>
              <a:gd name="connsiteY490" fmla="*/ 2626101 h 3403632"/>
              <a:gd name="connsiteX491" fmla="*/ 2027996 w 3905665"/>
              <a:gd name="connsiteY491" fmla="*/ 2632025 h 3403632"/>
              <a:gd name="connsiteX492" fmla="*/ 2022072 w 3905665"/>
              <a:gd name="connsiteY492" fmla="*/ 2637949 h 3403632"/>
              <a:gd name="connsiteX493" fmla="*/ 2016148 w 3905665"/>
              <a:gd name="connsiteY493" fmla="*/ 2632025 h 3403632"/>
              <a:gd name="connsiteX494" fmla="*/ 2022072 w 3905665"/>
              <a:gd name="connsiteY494" fmla="*/ 2626101 h 3403632"/>
              <a:gd name="connsiteX495" fmla="*/ 172070 w 3905665"/>
              <a:gd name="connsiteY495" fmla="*/ 2626101 h 3403632"/>
              <a:gd name="connsiteX496" fmla="*/ 174539 w 3905665"/>
              <a:gd name="connsiteY496" fmla="*/ 2628571 h 3403632"/>
              <a:gd name="connsiteX497" fmla="*/ 172070 w 3905665"/>
              <a:gd name="connsiteY497" fmla="*/ 2631038 h 3403632"/>
              <a:gd name="connsiteX498" fmla="*/ 169603 w 3905665"/>
              <a:gd name="connsiteY498" fmla="*/ 2628571 h 3403632"/>
              <a:gd name="connsiteX499" fmla="*/ 172070 w 3905665"/>
              <a:gd name="connsiteY499" fmla="*/ 2626101 h 3403632"/>
              <a:gd name="connsiteX500" fmla="*/ 1820442 w 3905665"/>
              <a:gd name="connsiteY500" fmla="*/ 2621411 h 3403632"/>
              <a:gd name="connsiteX501" fmla="*/ 1830813 w 3905665"/>
              <a:gd name="connsiteY501" fmla="*/ 2631777 h 3403632"/>
              <a:gd name="connsiteX502" fmla="*/ 1820442 w 3905665"/>
              <a:gd name="connsiteY502" fmla="*/ 2642146 h 3403632"/>
              <a:gd name="connsiteX503" fmla="*/ 1810081 w 3905665"/>
              <a:gd name="connsiteY503" fmla="*/ 2631777 h 3403632"/>
              <a:gd name="connsiteX504" fmla="*/ 1820442 w 3905665"/>
              <a:gd name="connsiteY504" fmla="*/ 2621411 h 3403632"/>
              <a:gd name="connsiteX505" fmla="*/ 1606442 w 3905665"/>
              <a:gd name="connsiteY505" fmla="*/ 2621164 h 3403632"/>
              <a:gd name="connsiteX506" fmla="*/ 1614588 w 3905665"/>
              <a:gd name="connsiteY506" fmla="*/ 2629309 h 3403632"/>
              <a:gd name="connsiteX507" fmla="*/ 1606442 w 3905665"/>
              <a:gd name="connsiteY507" fmla="*/ 2637208 h 3403632"/>
              <a:gd name="connsiteX508" fmla="*/ 1598543 w 3905665"/>
              <a:gd name="connsiteY508" fmla="*/ 2629309 h 3403632"/>
              <a:gd name="connsiteX509" fmla="*/ 1606442 w 3905665"/>
              <a:gd name="connsiteY509" fmla="*/ 2621164 h 3403632"/>
              <a:gd name="connsiteX510" fmla="*/ 2220032 w 3905665"/>
              <a:gd name="connsiteY510" fmla="*/ 2616228 h 3403632"/>
              <a:gd name="connsiteX511" fmla="*/ 2230154 w 3905665"/>
              <a:gd name="connsiteY511" fmla="*/ 2626348 h 3403632"/>
              <a:gd name="connsiteX512" fmla="*/ 2220032 w 3905665"/>
              <a:gd name="connsiteY512" fmla="*/ 2636467 h 3403632"/>
              <a:gd name="connsiteX513" fmla="*/ 2209912 w 3905665"/>
              <a:gd name="connsiteY513" fmla="*/ 2626348 h 3403632"/>
              <a:gd name="connsiteX514" fmla="*/ 2220032 w 3905665"/>
              <a:gd name="connsiteY514" fmla="*/ 2616228 h 3403632"/>
              <a:gd name="connsiteX515" fmla="*/ 287591 w 3905665"/>
              <a:gd name="connsiteY515" fmla="*/ 2612032 h 3403632"/>
              <a:gd name="connsiteX516" fmla="*/ 289812 w 3905665"/>
              <a:gd name="connsiteY516" fmla="*/ 2614253 h 3403632"/>
              <a:gd name="connsiteX517" fmla="*/ 287591 w 3905665"/>
              <a:gd name="connsiteY517" fmla="*/ 2616474 h 3403632"/>
              <a:gd name="connsiteX518" fmla="*/ 285370 w 3905665"/>
              <a:gd name="connsiteY518" fmla="*/ 2614253 h 3403632"/>
              <a:gd name="connsiteX519" fmla="*/ 287591 w 3905665"/>
              <a:gd name="connsiteY519" fmla="*/ 2612032 h 3403632"/>
              <a:gd name="connsiteX520" fmla="*/ 1396624 w 3905665"/>
              <a:gd name="connsiteY520" fmla="*/ 2609316 h 3403632"/>
              <a:gd name="connsiteX521" fmla="*/ 1402053 w 3905665"/>
              <a:gd name="connsiteY521" fmla="*/ 2614748 h 3403632"/>
              <a:gd name="connsiteX522" fmla="*/ 1396624 w 3905665"/>
              <a:gd name="connsiteY522" fmla="*/ 2619931 h 3403632"/>
              <a:gd name="connsiteX523" fmla="*/ 1391192 w 3905665"/>
              <a:gd name="connsiteY523" fmla="*/ 2614748 h 3403632"/>
              <a:gd name="connsiteX524" fmla="*/ 1396624 w 3905665"/>
              <a:gd name="connsiteY524" fmla="*/ 2609316 h 3403632"/>
              <a:gd name="connsiteX525" fmla="*/ 402367 w 3905665"/>
              <a:gd name="connsiteY525" fmla="*/ 2593765 h 3403632"/>
              <a:gd name="connsiteX526" fmla="*/ 404341 w 3905665"/>
              <a:gd name="connsiteY526" fmla="*/ 2595740 h 3403632"/>
              <a:gd name="connsiteX527" fmla="*/ 402367 w 3905665"/>
              <a:gd name="connsiteY527" fmla="*/ 2597714 h 3403632"/>
              <a:gd name="connsiteX528" fmla="*/ 400392 w 3905665"/>
              <a:gd name="connsiteY528" fmla="*/ 2595740 h 3403632"/>
              <a:gd name="connsiteX529" fmla="*/ 402367 w 3905665"/>
              <a:gd name="connsiteY529" fmla="*/ 2593765 h 3403632"/>
              <a:gd name="connsiteX530" fmla="*/ 854575 w 3905665"/>
              <a:gd name="connsiteY530" fmla="*/ 2592778 h 3403632"/>
              <a:gd name="connsiteX531" fmla="*/ 858032 w 3905665"/>
              <a:gd name="connsiteY531" fmla="*/ 2596233 h 3403632"/>
              <a:gd name="connsiteX532" fmla="*/ 854575 w 3905665"/>
              <a:gd name="connsiteY532" fmla="*/ 2599690 h 3403632"/>
              <a:gd name="connsiteX533" fmla="*/ 851120 w 3905665"/>
              <a:gd name="connsiteY533" fmla="*/ 2596233 h 3403632"/>
              <a:gd name="connsiteX534" fmla="*/ 854575 w 3905665"/>
              <a:gd name="connsiteY534" fmla="*/ 2592778 h 3403632"/>
              <a:gd name="connsiteX535" fmla="*/ 1182613 w 3905665"/>
              <a:gd name="connsiteY535" fmla="*/ 2588087 h 3403632"/>
              <a:gd name="connsiteX536" fmla="*/ 1186068 w 3905665"/>
              <a:gd name="connsiteY536" fmla="*/ 2591791 h 3403632"/>
              <a:gd name="connsiteX537" fmla="*/ 1182613 w 3905665"/>
              <a:gd name="connsiteY537" fmla="*/ 2595245 h 3403632"/>
              <a:gd name="connsiteX538" fmla="*/ 1178910 w 3905665"/>
              <a:gd name="connsiteY538" fmla="*/ 2591791 h 3403632"/>
              <a:gd name="connsiteX539" fmla="*/ 1182613 w 3905665"/>
              <a:gd name="connsiteY539" fmla="*/ 2588087 h 3403632"/>
              <a:gd name="connsiteX540" fmla="*/ 516652 w 3905665"/>
              <a:gd name="connsiteY540" fmla="*/ 2571798 h 3403632"/>
              <a:gd name="connsiteX541" fmla="*/ 518378 w 3905665"/>
              <a:gd name="connsiteY541" fmla="*/ 2573526 h 3403632"/>
              <a:gd name="connsiteX542" fmla="*/ 516652 w 3905665"/>
              <a:gd name="connsiteY542" fmla="*/ 2575255 h 3403632"/>
              <a:gd name="connsiteX543" fmla="*/ 514924 w 3905665"/>
              <a:gd name="connsiteY543" fmla="*/ 2573526 h 3403632"/>
              <a:gd name="connsiteX544" fmla="*/ 516652 w 3905665"/>
              <a:gd name="connsiteY544" fmla="*/ 2571798 h 3403632"/>
              <a:gd name="connsiteX545" fmla="*/ 1707644 w 3905665"/>
              <a:gd name="connsiteY545" fmla="*/ 2563899 h 3403632"/>
              <a:gd name="connsiteX546" fmla="*/ 1716037 w 3905665"/>
              <a:gd name="connsiteY546" fmla="*/ 2572290 h 3403632"/>
              <a:gd name="connsiteX547" fmla="*/ 1707644 w 3905665"/>
              <a:gd name="connsiteY547" fmla="*/ 2580684 h 3403632"/>
              <a:gd name="connsiteX548" fmla="*/ 1699253 w 3905665"/>
              <a:gd name="connsiteY548" fmla="*/ 2572290 h 3403632"/>
              <a:gd name="connsiteX549" fmla="*/ 1707644 w 3905665"/>
              <a:gd name="connsiteY549" fmla="*/ 2563899 h 3403632"/>
              <a:gd name="connsiteX550" fmla="*/ 2118090 w 3905665"/>
              <a:gd name="connsiteY550" fmla="*/ 2559703 h 3403632"/>
              <a:gd name="connsiteX551" fmla="*/ 2124507 w 3905665"/>
              <a:gd name="connsiteY551" fmla="*/ 2566120 h 3403632"/>
              <a:gd name="connsiteX552" fmla="*/ 2118090 w 3905665"/>
              <a:gd name="connsiteY552" fmla="*/ 2572539 h 3403632"/>
              <a:gd name="connsiteX553" fmla="*/ 2111671 w 3905665"/>
              <a:gd name="connsiteY553" fmla="*/ 2566120 h 3403632"/>
              <a:gd name="connsiteX554" fmla="*/ 2118090 w 3905665"/>
              <a:gd name="connsiteY554" fmla="*/ 2559703 h 3403632"/>
              <a:gd name="connsiteX555" fmla="*/ 1919180 w 3905665"/>
              <a:gd name="connsiteY555" fmla="*/ 2558713 h 3403632"/>
              <a:gd name="connsiteX556" fmla="*/ 1930281 w 3905665"/>
              <a:gd name="connsiteY556" fmla="*/ 2569820 h 3403632"/>
              <a:gd name="connsiteX557" fmla="*/ 1919180 w 3905665"/>
              <a:gd name="connsiteY557" fmla="*/ 2580927 h 3403632"/>
              <a:gd name="connsiteX558" fmla="*/ 1908080 w 3905665"/>
              <a:gd name="connsiteY558" fmla="*/ 2569820 h 3403632"/>
              <a:gd name="connsiteX559" fmla="*/ 1919180 w 3905665"/>
              <a:gd name="connsiteY559" fmla="*/ 2558713 h 3403632"/>
              <a:gd name="connsiteX560" fmla="*/ 1500545 w 3905665"/>
              <a:gd name="connsiteY560" fmla="*/ 2557234 h 3403632"/>
              <a:gd name="connsiteX561" fmla="*/ 1505975 w 3905665"/>
              <a:gd name="connsiteY561" fmla="*/ 2562666 h 3403632"/>
              <a:gd name="connsiteX562" fmla="*/ 1500545 w 3905665"/>
              <a:gd name="connsiteY562" fmla="*/ 2568095 h 3403632"/>
              <a:gd name="connsiteX563" fmla="*/ 1495113 w 3905665"/>
              <a:gd name="connsiteY563" fmla="*/ 2562666 h 3403632"/>
              <a:gd name="connsiteX564" fmla="*/ 1500545 w 3905665"/>
              <a:gd name="connsiteY564" fmla="*/ 2557234 h 3403632"/>
              <a:gd name="connsiteX565" fmla="*/ 964662 w 3905665"/>
              <a:gd name="connsiteY565" fmla="*/ 2556000 h 3403632"/>
              <a:gd name="connsiteX566" fmla="*/ 967869 w 3905665"/>
              <a:gd name="connsiteY566" fmla="*/ 2559208 h 3403632"/>
              <a:gd name="connsiteX567" fmla="*/ 964662 w 3905665"/>
              <a:gd name="connsiteY567" fmla="*/ 2562416 h 3403632"/>
              <a:gd name="connsiteX568" fmla="*/ 961453 w 3905665"/>
              <a:gd name="connsiteY568" fmla="*/ 2559208 h 3403632"/>
              <a:gd name="connsiteX569" fmla="*/ 964662 w 3905665"/>
              <a:gd name="connsiteY569" fmla="*/ 2556000 h 3403632"/>
              <a:gd name="connsiteX570" fmla="*/ 2313088 w 3905665"/>
              <a:gd name="connsiteY570" fmla="*/ 2545881 h 3403632"/>
              <a:gd name="connsiteX571" fmla="*/ 2323948 w 3905665"/>
              <a:gd name="connsiteY571" fmla="*/ 2556742 h 3403632"/>
              <a:gd name="connsiteX572" fmla="*/ 2313088 w 3905665"/>
              <a:gd name="connsiteY572" fmla="*/ 2567602 h 3403632"/>
              <a:gd name="connsiteX573" fmla="*/ 2302227 w 3905665"/>
              <a:gd name="connsiteY573" fmla="*/ 2556742 h 3403632"/>
              <a:gd name="connsiteX574" fmla="*/ 2313088 w 3905665"/>
              <a:gd name="connsiteY574" fmla="*/ 2545881 h 3403632"/>
              <a:gd name="connsiteX575" fmla="*/ 629951 w 3905665"/>
              <a:gd name="connsiteY575" fmla="*/ 2545632 h 3403632"/>
              <a:gd name="connsiteX576" fmla="*/ 631433 w 3905665"/>
              <a:gd name="connsiteY576" fmla="*/ 2547112 h 3403632"/>
              <a:gd name="connsiteX577" fmla="*/ 629951 w 3905665"/>
              <a:gd name="connsiteY577" fmla="*/ 2548594 h 3403632"/>
              <a:gd name="connsiteX578" fmla="*/ 628472 w 3905665"/>
              <a:gd name="connsiteY578" fmla="*/ 2547112 h 3403632"/>
              <a:gd name="connsiteX579" fmla="*/ 629951 w 3905665"/>
              <a:gd name="connsiteY579" fmla="*/ 2545632 h 3403632"/>
              <a:gd name="connsiteX580" fmla="*/ 1289000 w 3905665"/>
              <a:gd name="connsiteY580" fmla="*/ 2541190 h 3403632"/>
              <a:gd name="connsiteX581" fmla="*/ 1292703 w 3905665"/>
              <a:gd name="connsiteY581" fmla="*/ 2544893 h 3403632"/>
              <a:gd name="connsiteX582" fmla="*/ 1289000 w 3905665"/>
              <a:gd name="connsiteY582" fmla="*/ 2548594 h 3403632"/>
              <a:gd name="connsiteX583" fmla="*/ 1285296 w 3905665"/>
              <a:gd name="connsiteY583" fmla="*/ 2544893 h 3403632"/>
              <a:gd name="connsiteX584" fmla="*/ 1289000 w 3905665"/>
              <a:gd name="connsiteY584" fmla="*/ 2541190 h 3403632"/>
              <a:gd name="connsiteX585" fmla="*/ 56799 w 3905665"/>
              <a:gd name="connsiteY585" fmla="*/ 2526872 h 3403632"/>
              <a:gd name="connsiteX586" fmla="*/ 59761 w 3905665"/>
              <a:gd name="connsiteY586" fmla="*/ 2529834 h 3403632"/>
              <a:gd name="connsiteX587" fmla="*/ 56799 w 3905665"/>
              <a:gd name="connsiteY587" fmla="*/ 2532796 h 3403632"/>
              <a:gd name="connsiteX588" fmla="*/ 53838 w 3905665"/>
              <a:gd name="connsiteY588" fmla="*/ 2529834 h 3403632"/>
              <a:gd name="connsiteX589" fmla="*/ 56799 w 3905665"/>
              <a:gd name="connsiteY589" fmla="*/ 2526872 h 3403632"/>
              <a:gd name="connsiteX590" fmla="*/ 172812 w 3905665"/>
              <a:gd name="connsiteY590" fmla="*/ 2516507 h 3403632"/>
              <a:gd name="connsiteX591" fmla="*/ 175527 w 3905665"/>
              <a:gd name="connsiteY591" fmla="*/ 2519223 h 3403632"/>
              <a:gd name="connsiteX592" fmla="*/ 172812 w 3905665"/>
              <a:gd name="connsiteY592" fmla="*/ 2521939 h 3403632"/>
              <a:gd name="connsiteX593" fmla="*/ 170096 w 3905665"/>
              <a:gd name="connsiteY593" fmla="*/ 2519223 h 3403632"/>
              <a:gd name="connsiteX594" fmla="*/ 172812 w 3905665"/>
              <a:gd name="connsiteY594" fmla="*/ 2516507 h 3403632"/>
              <a:gd name="connsiteX595" fmla="*/ 1073753 w 3905665"/>
              <a:gd name="connsiteY595" fmla="*/ 2515765 h 3403632"/>
              <a:gd name="connsiteX596" fmla="*/ 1076715 w 3905665"/>
              <a:gd name="connsiteY596" fmla="*/ 2518727 h 3403632"/>
              <a:gd name="connsiteX597" fmla="*/ 1073753 w 3905665"/>
              <a:gd name="connsiteY597" fmla="*/ 2521689 h 3403632"/>
              <a:gd name="connsiteX598" fmla="*/ 1070792 w 3905665"/>
              <a:gd name="connsiteY598" fmla="*/ 2518727 h 3403632"/>
              <a:gd name="connsiteX599" fmla="*/ 1073753 w 3905665"/>
              <a:gd name="connsiteY599" fmla="*/ 2515765 h 3403632"/>
              <a:gd name="connsiteX600" fmla="*/ 742260 w 3905665"/>
              <a:gd name="connsiteY600" fmla="*/ 2513545 h 3403632"/>
              <a:gd name="connsiteX601" fmla="*/ 745471 w 3905665"/>
              <a:gd name="connsiteY601" fmla="*/ 2517000 h 3403632"/>
              <a:gd name="connsiteX602" fmla="*/ 742260 w 3905665"/>
              <a:gd name="connsiteY602" fmla="*/ 2520211 h 3403632"/>
              <a:gd name="connsiteX603" fmla="*/ 739053 w 3905665"/>
              <a:gd name="connsiteY603" fmla="*/ 2517000 h 3403632"/>
              <a:gd name="connsiteX604" fmla="*/ 742260 w 3905665"/>
              <a:gd name="connsiteY604" fmla="*/ 2513545 h 3403632"/>
              <a:gd name="connsiteX605" fmla="*/ 1806867 w 3905665"/>
              <a:gd name="connsiteY605" fmla="*/ 2503671 h 3403632"/>
              <a:gd name="connsiteX606" fmla="*/ 1815753 w 3905665"/>
              <a:gd name="connsiteY606" fmla="*/ 2512557 h 3403632"/>
              <a:gd name="connsiteX607" fmla="*/ 1806867 w 3905665"/>
              <a:gd name="connsiteY607" fmla="*/ 2521443 h 3403632"/>
              <a:gd name="connsiteX608" fmla="*/ 1797989 w 3905665"/>
              <a:gd name="connsiteY608" fmla="*/ 2512557 h 3403632"/>
              <a:gd name="connsiteX609" fmla="*/ 1806867 w 3905665"/>
              <a:gd name="connsiteY609" fmla="*/ 2503671 h 3403632"/>
              <a:gd name="connsiteX610" fmla="*/ 288330 w 3905665"/>
              <a:gd name="connsiteY610" fmla="*/ 2501943 h 3403632"/>
              <a:gd name="connsiteX611" fmla="*/ 290797 w 3905665"/>
              <a:gd name="connsiteY611" fmla="*/ 2504410 h 3403632"/>
              <a:gd name="connsiteX612" fmla="*/ 288330 w 3905665"/>
              <a:gd name="connsiteY612" fmla="*/ 2506880 h 3403632"/>
              <a:gd name="connsiteX613" fmla="*/ 285860 w 3905665"/>
              <a:gd name="connsiteY613" fmla="*/ 2504410 h 3403632"/>
              <a:gd name="connsiteX614" fmla="*/ 288330 w 3905665"/>
              <a:gd name="connsiteY614" fmla="*/ 2501943 h 3403632"/>
              <a:gd name="connsiteX615" fmla="*/ 1602490 w 3905665"/>
              <a:gd name="connsiteY615" fmla="*/ 2501696 h 3403632"/>
              <a:gd name="connsiteX616" fmla="*/ 1608168 w 3905665"/>
              <a:gd name="connsiteY616" fmla="*/ 2507374 h 3403632"/>
              <a:gd name="connsiteX617" fmla="*/ 1602490 w 3905665"/>
              <a:gd name="connsiteY617" fmla="*/ 2513049 h 3403632"/>
              <a:gd name="connsiteX618" fmla="*/ 1596812 w 3905665"/>
              <a:gd name="connsiteY618" fmla="*/ 2507374 h 3403632"/>
              <a:gd name="connsiteX619" fmla="*/ 1602490 w 3905665"/>
              <a:gd name="connsiteY619" fmla="*/ 2501696 h 3403632"/>
              <a:gd name="connsiteX620" fmla="*/ 2015899 w 3905665"/>
              <a:gd name="connsiteY620" fmla="*/ 2493057 h 3403632"/>
              <a:gd name="connsiteX621" fmla="*/ 2027996 w 3905665"/>
              <a:gd name="connsiteY621" fmla="*/ 2505151 h 3403632"/>
              <a:gd name="connsiteX622" fmla="*/ 2015899 w 3905665"/>
              <a:gd name="connsiteY622" fmla="*/ 2517248 h 3403632"/>
              <a:gd name="connsiteX623" fmla="*/ 2003805 w 3905665"/>
              <a:gd name="connsiteY623" fmla="*/ 2505151 h 3403632"/>
              <a:gd name="connsiteX624" fmla="*/ 2015899 w 3905665"/>
              <a:gd name="connsiteY624" fmla="*/ 2493057 h 3403632"/>
              <a:gd name="connsiteX625" fmla="*/ 1393908 w 3905665"/>
              <a:gd name="connsiteY625" fmla="*/ 2491328 h 3403632"/>
              <a:gd name="connsiteX626" fmla="*/ 1397611 w 3905665"/>
              <a:gd name="connsiteY626" fmla="*/ 2495031 h 3403632"/>
              <a:gd name="connsiteX627" fmla="*/ 1393908 w 3905665"/>
              <a:gd name="connsiteY627" fmla="*/ 2498735 h 3403632"/>
              <a:gd name="connsiteX628" fmla="*/ 1390205 w 3905665"/>
              <a:gd name="connsiteY628" fmla="*/ 2495031 h 3403632"/>
              <a:gd name="connsiteX629" fmla="*/ 1393908 w 3905665"/>
              <a:gd name="connsiteY629" fmla="*/ 2491328 h 3403632"/>
              <a:gd name="connsiteX630" fmla="*/ 2211887 w 3905665"/>
              <a:gd name="connsiteY630" fmla="*/ 2490587 h 3403632"/>
              <a:gd name="connsiteX631" fmla="*/ 2218799 w 3905665"/>
              <a:gd name="connsiteY631" fmla="*/ 2497498 h 3403632"/>
              <a:gd name="connsiteX632" fmla="*/ 2211887 w 3905665"/>
              <a:gd name="connsiteY632" fmla="*/ 2504410 h 3403632"/>
              <a:gd name="connsiteX633" fmla="*/ 2204976 w 3905665"/>
              <a:gd name="connsiteY633" fmla="*/ 2497498 h 3403632"/>
              <a:gd name="connsiteX634" fmla="*/ 2211887 w 3905665"/>
              <a:gd name="connsiteY634" fmla="*/ 2490587 h 3403632"/>
              <a:gd name="connsiteX635" fmla="*/ 403353 w 3905665"/>
              <a:gd name="connsiteY635" fmla="*/ 2483183 h 3403632"/>
              <a:gd name="connsiteX636" fmla="*/ 405577 w 3905665"/>
              <a:gd name="connsiteY636" fmla="*/ 2485404 h 3403632"/>
              <a:gd name="connsiteX637" fmla="*/ 403353 w 3905665"/>
              <a:gd name="connsiteY637" fmla="*/ 2487625 h 3403632"/>
              <a:gd name="connsiteX638" fmla="*/ 401132 w 3905665"/>
              <a:gd name="connsiteY638" fmla="*/ 2485404 h 3403632"/>
              <a:gd name="connsiteX639" fmla="*/ 403353 w 3905665"/>
              <a:gd name="connsiteY639" fmla="*/ 2483183 h 3403632"/>
              <a:gd name="connsiteX640" fmla="*/ 853339 w 3905665"/>
              <a:gd name="connsiteY640" fmla="*/ 2479726 h 3403632"/>
              <a:gd name="connsiteX641" fmla="*/ 856301 w 3905665"/>
              <a:gd name="connsiteY641" fmla="*/ 2482688 h 3403632"/>
              <a:gd name="connsiteX642" fmla="*/ 853339 w 3905665"/>
              <a:gd name="connsiteY642" fmla="*/ 2485650 h 3403632"/>
              <a:gd name="connsiteX643" fmla="*/ 850377 w 3905665"/>
              <a:gd name="connsiteY643" fmla="*/ 2482688 h 3403632"/>
              <a:gd name="connsiteX644" fmla="*/ 853339 w 3905665"/>
              <a:gd name="connsiteY644" fmla="*/ 2479726 h 3403632"/>
              <a:gd name="connsiteX645" fmla="*/ 2404172 w 3905665"/>
              <a:gd name="connsiteY645" fmla="*/ 2472815 h 3403632"/>
              <a:gd name="connsiteX646" fmla="*/ 2415774 w 3905665"/>
              <a:gd name="connsiteY646" fmla="*/ 2484417 h 3403632"/>
              <a:gd name="connsiteX647" fmla="*/ 2404172 w 3905665"/>
              <a:gd name="connsiteY647" fmla="*/ 2496019 h 3403632"/>
              <a:gd name="connsiteX648" fmla="*/ 2392570 w 3905665"/>
              <a:gd name="connsiteY648" fmla="*/ 2484417 h 3403632"/>
              <a:gd name="connsiteX649" fmla="*/ 2404172 w 3905665"/>
              <a:gd name="connsiteY649" fmla="*/ 2472815 h 3403632"/>
              <a:gd name="connsiteX650" fmla="*/ 1181129 w 3905665"/>
              <a:gd name="connsiteY650" fmla="*/ 2471581 h 3403632"/>
              <a:gd name="connsiteX651" fmla="*/ 1183845 w 3905665"/>
              <a:gd name="connsiteY651" fmla="*/ 2474297 h 3403632"/>
              <a:gd name="connsiteX652" fmla="*/ 1181129 w 3905665"/>
              <a:gd name="connsiteY652" fmla="*/ 2477013 h 3403632"/>
              <a:gd name="connsiteX653" fmla="*/ 1178413 w 3905665"/>
              <a:gd name="connsiteY653" fmla="*/ 2474297 h 3403632"/>
              <a:gd name="connsiteX654" fmla="*/ 1181129 w 3905665"/>
              <a:gd name="connsiteY654" fmla="*/ 2471581 h 3403632"/>
              <a:gd name="connsiteX655" fmla="*/ 517388 w 3905665"/>
              <a:gd name="connsiteY655" fmla="*/ 2460228 h 3403632"/>
              <a:gd name="connsiteX656" fmla="*/ 519363 w 3905665"/>
              <a:gd name="connsiteY656" fmla="*/ 2462203 h 3403632"/>
              <a:gd name="connsiteX657" fmla="*/ 517388 w 3905665"/>
              <a:gd name="connsiteY657" fmla="*/ 2464424 h 3403632"/>
              <a:gd name="connsiteX658" fmla="*/ 515414 w 3905665"/>
              <a:gd name="connsiteY658" fmla="*/ 2462203 h 3403632"/>
              <a:gd name="connsiteX659" fmla="*/ 517388 w 3905665"/>
              <a:gd name="connsiteY659" fmla="*/ 2460228 h 3403632"/>
              <a:gd name="connsiteX660" fmla="*/ 1702954 w 3905665"/>
              <a:gd name="connsiteY660" fmla="*/ 2443444 h 3403632"/>
              <a:gd name="connsiteX661" fmla="*/ 1708629 w 3905665"/>
              <a:gd name="connsiteY661" fmla="*/ 2449122 h 3403632"/>
              <a:gd name="connsiteX662" fmla="*/ 1702954 w 3905665"/>
              <a:gd name="connsiteY662" fmla="*/ 2454797 h 3403632"/>
              <a:gd name="connsiteX663" fmla="*/ 1697276 w 3905665"/>
              <a:gd name="connsiteY663" fmla="*/ 2449122 h 3403632"/>
              <a:gd name="connsiteX664" fmla="*/ 1702954 w 3905665"/>
              <a:gd name="connsiteY664" fmla="*/ 2443444 h 3403632"/>
              <a:gd name="connsiteX665" fmla="*/ 963428 w 3905665"/>
              <a:gd name="connsiteY665" fmla="*/ 2441715 h 3403632"/>
              <a:gd name="connsiteX666" fmla="*/ 966141 w 3905665"/>
              <a:gd name="connsiteY666" fmla="*/ 2444431 h 3403632"/>
              <a:gd name="connsiteX667" fmla="*/ 963428 w 3905665"/>
              <a:gd name="connsiteY667" fmla="*/ 2447147 h 3403632"/>
              <a:gd name="connsiteX668" fmla="*/ 960712 w 3905665"/>
              <a:gd name="connsiteY668" fmla="*/ 2444431 h 3403632"/>
              <a:gd name="connsiteX669" fmla="*/ 963428 w 3905665"/>
              <a:gd name="connsiteY669" fmla="*/ 2441715 h 3403632"/>
              <a:gd name="connsiteX670" fmla="*/ 1904378 w 3905665"/>
              <a:gd name="connsiteY670" fmla="*/ 2440235 h 3403632"/>
              <a:gd name="connsiteX671" fmla="*/ 1913997 w 3905665"/>
              <a:gd name="connsiteY671" fmla="*/ 2449862 h 3403632"/>
              <a:gd name="connsiteX672" fmla="*/ 1904378 w 3905665"/>
              <a:gd name="connsiteY672" fmla="*/ 2459487 h 3403632"/>
              <a:gd name="connsiteX673" fmla="*/ 1894743 w 3905665"/>
              <a:gd name="connsiteY673" fmla="*/ 2449862 h 3403632"/>
              <a:gd name="connsiteX674" fmla="*/ 1904378 w 3905665"/>
              <a:gd name="connsiteY674" fmla="*/ 2440235 h 3403632"/>
              <a:gd name="connsiteX675" fmla="*/ 1497086 w 3905665"/>
              <a:gd name="connsiteY675" fmla="*/ 2438012 h 3403632"/>
              <a:gd name="connsiteX676" fmla="*/ 1500790 w 3905665"/>
              <a:gd name="connsiteY676" fmla="*/ 2441715 h 3403632"/>
              <a:gd name="connsiteX677" fmla="*/ 1497086 w 3905665"/>
              <a:gd name="connsiteY677" fmla="*/ 2445416 h 3403632"/>
              <a:gd name="connsiteX678" fmla="*/ 1493383 w 3905665"/>
              <a:gd name="connsiteY678" fmla="*/ 2441715 h 3403632"/>
              <a:gd name="connsiteX679" fmla="*/ 1497086 w 3905665"/>
              <a:gd name="connsiteY679" fmla="*/ 2438012 h 3403632"/>
              <a:gd name="connsiteX680" fmla="*/ 630444 w 3905665"/>
              <a:gd name="connsiteY680" fmla="*/ 2432829 h 3403632"/>
              <a:gd name="connsiteX681" fmla="*/ 632419 w 3905665"/>
              <a:gd name="connsiteY681" fmla="*/ 2434804 h 3403632"/>
              <a:gd name="connsiteX682" fmla="*/ 630444 w 3905665"/>
              <a:gd name="connsiteY682" fmla="*/ 2436778 h 3403632"/>
              <a:gd name="connsiteX683" fmla="*/ 628470 w 3905665"/>
              <a:gd name="connsiteY683" fmla="*/ 2434804 h 3403632"/>
              <a:gd name="connsiteX684" fmla="*/ 630444 w 3905665"/>
              <a:gd name="connsiteY684" fmla="*/ 2432829 h 3403632"/>
              <a:gd name="connsiteX685" fmla="*/ 2110684 w 3905665"/>
              <a:gd name="connsiteY685" fmla="*/ 2424435 h 3403632"/>
              <a:gd name="connsiteX686" fmla="*/ 2123765 w 3905665"/>
              <a:gd name="connsiteY686" fmla="*/ 2437517 h 3403632"/>
              <a:gd name="connsiteX687" fmla="*/ 2110684 w 3905665"/>
              <a:gd name="connsiteY687" fmla="*/ 2450598 h 3403632"/>
              <a:gd name="connsiteX688" fmla="*/ 2097602 w 3905665"/>
              <a:gd name="connsiteY688" fmla="*/ 2437517 h 3403632"/>
              <a:gd name="connsiteX689" fmla="*/ 2110684 w 3905665"/>
              <a:gd name="connsiteY689" fmla="*/ 2424435 h 3403632"/>
              <a:gd name="connsiteX690" fmla="*/ 1287022 w 3905665"/>
              <a:gd name="connsiteY690" fmla="*/ 2423943 h 3403632"/>
              <a:gd name="connsiteX691" fmla="*/ 1289492 w 3905665"/>
              <a:gd name="connsiteY691" fmla="*/ 2426413 h 3403632"/>
              <a:gd name="connsiteX692" fmla="*/ 1287022 w 3905665"/>
              <a:gd name="connsiteY692" fmla="*/ 2428880 h 3403632"/>
              <a:gd name="connsiteX693" fmla="*/ 1284555 w 3905665"/>
              <a:gd name="connsiteY693" fmla="*/ 2426413 h 3403632"/>
              <a:gd name="connsiteX694" fmla="*/ 1287022 w 3905665"/>
              <a:gd name="connsiteY694" fmla="*/ 2423943 h 3403632"/>
              <a:gd name="connsiteX695" fmla="*/ 2303955 w 3905665"/>
              <a:gd name="connsiteY695" fmla="*/ 2418760 h 3403632"/>
              <a:gd name="connsiteX696" fmla="*/ 2311359 w 3905665"/>
              <a:gd name="connsiteY696" fmla="*/ 2425918 h 3403632"/>
              <a:gd name="connsiteX697" fmla="*/ 2303955 w 3905665"/>
              <a:gd name="connsiteY697" fmla="*/ 2433324 h 3403632"/>
              <a:gd name="connsiteX698" fmla="*/ 2296549 w 3905665"/>
              <a:gd name="connsiteY698" fmla="*/ 2425918 h 3403632"/>
              <a:gd name="connsiteX699" fmla="*/ 2303955 w 3905665"/>
              <a:gd name="connsiteY699" fmla="*/ 2418760 h 3403632"/>
              <a:gd name="connsiteX700" fmla="*/ 57043 w 3905665"/>
              <a:gd name="connsiteY700" fmla="*/ 2418019 h 3403632"/>
              <a:gd name="connsiteX701" fmla="*/ 60005 w 3905665"/>
              <a:gd name="connsiteY701" fmla="*/ 2420981 h 3403632"/>
              <a:gd name="connsiteX702" fmla="*/ 57043 w 3905665"/>
              <a:gd name="connsiteY702" fmla="*/ 2423943 h 3403632"/>
              <a:gd name="connsiteX703" fmla="*/ 54081 w 3905665"/>
              <a:gd name="connsiteY703" fmla="*/ 2420981 h 3403632"/>
              <a:gd name="connsiteX704" fmla="*/ 57043 w 3905665"/>
              <a:gd name="connsiteY704" fmla="*/ 2418019 h 3403632"/>
              <a:gd name="connsiteX705" fmla="*/ 173057 w 3905665"/>
              <a:gd name="connsiteY705" fmla="*/ 2407158 h 3403632"/>
              <a:gd name="connsiteX706" fmla="*/ 175772 w 3905665"/>
              <a:gd name="connsiteY706" fmla="*/ 2409874 h 3403632"/>
              <a:gd name="connsiteX707" fmla="*/ 173057 w 3905665"/>
              <a:gd name="connsiteY707" fmla="*/ 2412590 h 3403632"/>
              <a:gd name="connsiteX708" fmla="*/ 170341 w 3905665"/>
              <a:gd name="connsiteY708" fmla="*/ 2409874 h 3403632"/>
              <a:gd name="connsiteX709" fmla="*/ 173057 w 3905665"/>
              <a:gd name="connsiteY709" fmla="*/ 2407158 h 3403632"/>
              <a:gd name="connsiteX710" fmla="*/ 742755 w 3905665"/>
              <a:gd name="connsiteY710" fmla="*/ 2401729 h 3403632"/>
              <a:gd name="connsiteX711" fmla="*/ 744479 w 3905665"/>
              <a:gd name="connsiteY711" fmla="*/ 2403457 h 3403632"/>
              <a:gd name="connsiteX712" fmla="*/ 742755 w 3905665"/>
              <a:gd name="connsiteY712" fmla="*/ 2405183 h 3403632"/>
              <a:gd name="connsiteX713" fmla="*/ 741024 w 3905665"/>
              <a:gd name="connsiteY713" fmla="*/ 2403457 h 3403632"/>
              <a:gd name="connsiteX714" fmla="*/ 742755 w 3905665"/>
              <a:gd name="connsiteY714" fmla="*/ 2401729 h 3403632"/>
              <a:gd name="connsiteX715" fmla="*/ 1071779 w 3905665"/>
              <a:gd name="connsiteY715" fmla="*/ 2400001 h 3403632"/>
              <a:gd name="connsiteX716" fmla="*/ 1074246 w 3905665"/>
              <a:gd name="connsiteY716" fmla="*/ 2402471 h 3403632"/>
              <a:gd name="connsiteX717" fmla="*/ 1071779 w 3905665"/>
              <a:gd name="connsiteY717" fmla="*/ 2404938 h 3403632"/>
              <a:gd name="connsiteX718" fmla="*/ 1069310 w 3905665"/>
              <a:gd name="connsiteY718" fmla="*/ 2402471 h 3403632"/>
              <a:gd name="connsiteX719" fmla="*/ 1071779 w 3905665"/>
              <a:gd name="connsiteY719" fmla="*/ 2400001 h 3403632"/>
              <a:gd name="connsiteX720" fmla="*/ 2493273 w 3905665"/>
              <a:gd name="connsiteY720" fmla="*/ 2397285 h 3403632"/>
              <a:gd name="connsiteX721" fmla="*/ 2505616 w 3905665"/>
              <a:gd name="connsiteY721" fmla="*/ 2409625 h 3403632"/>
              <a:gd name="connsiteX722" fmla="*/ 2493273 w 3905665"/>
              <a:gd name="connsiteY722" fmla="*/ 2421968 h 3403632"/>
              <a:gd name="connsiteX723" fmla="*/ 2480933 w 3905665"/>
              <a:gd name="connsiteY723" fmla="*/ 2409625 h 3403632"/>
              <a:gd name="connsiteX724" fmla="*/ 2493273 w 3905665"/>
              <a:gd name="connsiteY724" fmla="*/ 2397285 h 3403632"/>
              <a:gd name="connsiteX725" fmla="*/ 288571 w 3905665"/>
              <a:gd name="connsiteY725" fmla="*/ 2392102 h 3403632"/>
              <a:gd name="connsiteX726" fmla="*/ 291041 w 3905665"/>
              <a:gd name="connsiteY726" fmla="*/ 2394572 h 3403632"/>
              <a:gd name="connsiteX727" fmla="*/ 288571 w 3905665"/>
              <a:gd name="connsiteY727" fmla="*/ 2397039 h 3403632"/>
              <a:gd name="connsiteX728" fmla="*/ 286104 w 3905665"/>
              <a:gd name="connsiteY728" fmla="*/ 2394572 h 3403632"/>
              <a:gd name="connsiteX729" fmla="*/ 288571 w 3905665"/>
              <a:gd name="connsiteY729" fmla="*/ 2392102 h 3403632"/>
              <a:gd name="connsiteX730" fmla="*/ 1801188 w 3905665"/>
              <a:gd name="connsiteY730" fmla="*/ 2381241 h 3403632"/>
              <a:gd name="connsiteX731" fmla="*/ 1807603 w 3905665"/>
              <a:gd name="connsiteY731" fmla="*/ 2387660 h 3403632"/>
              <a:gd name="connsiteX732" fmla="*/ 1801188 w 3905665"/>
              <a:gd name="connsiteY732" fmla="*/ 2393831 h 3403632"/>
              <a:gd name="connsiteX733" fmla="*/ 1794772 w 3905665"/>
              <a:gd name="connsiteY733" fmla="*/ 2387660 h 3403632"/>
              <a:gd name="connsiteX734" fmla="*/ 1801188 w 3905665"/>
              <a:gd name="connsiteY734" fmla="*/ 2381241 h 3403632"/>
              <a:gd name="connsiteX735" fmla="*/ 1598289 w 3905665"/>
              <a:gd name="connsiteY735" fmla="*/ 2381241 h 3403632"/>
              <a:gd name="connsiteX736" fmla="*/ 1601993 w 3905665"/>
              <a:gd name="connsiteY736" fmla="*/ 2384944 h 3403632"/>
              <a:gd name="connsiteX737" fmla="*/ 1598289 w 3905665"/>
              <a:gd name="connsiteY737" fmla="*/ 2388648 h 3403632"/>
              <a:gd name="connsiteX738" fmla="*/ 1594586 w 3905665"/>
              <a:gd name="connsiteY738" fmla="*/ 2384944 h 3403632"/>
              <a:gd name="connsiteX739" fmla="*/ 1598289 w 3905665"/>
              <a:gd name="connsiteY739" fmla="*/ 2381241 h 3403632"/>
              <a:gd name="connsiteX740" fmla="*/ 1999855 w 3905665"/>
              <a:gd name="connsiteY740" fmla="*/ 2373342 h 3403632"/>
              <a:gd name="connsiteX741" fmla="*/ 2010467 w 3905665"/>
              <a:gd name="connsiteY741" fmla="*/ 2383957 h 3403632"/>
              <a:gd name="connsiteX742" fmla="*/ 1999855 w 3905665"/>
              <a:gd name="connsiteY742" fmla="*/ 2394322 h 3403632"/>
              <a:gd name="connsiteX743" fmla="*/ 1989241 w 3905665"/>
              <a:gd name="connsiteY743" fmla="*/ 2383957 h 3403632"/>
              <a:gd name="connsiteX744" fmla="*/ 1999855 w 3905665"/>
              <a:gd name="connsiteY744" fmla="*/ 2373342 h 3403632"/>
              <a:gd name="connsiteX745" fmla="*/ 403352 w 3905665"/>
              <a:gd name="connsiteY745" fmla="*/ 2372848 h 3403632"/>
              <a:gd name="connsiteX746" fmla="*/ 405575 w 3905665"/>
              <a:gd name="connsiteY746" fmla="*/ 2375069 h 3403632"/>
              <a:gd name="connsiteX747" fmla="*/ 403352 w 3905665"/>
              <a:gd name="connsiteY747" fmla="*/ 2377290 h 3403632"/>
              <a:gd name="connsiteX748" fmla="*/ 401131 w 3905665"/>
              <a:gd name="connsiteY748" fmla="*/ 2375069 h 3403632"/>
              <a:gd name="connsiteX749" fmla="*/ 403352 w 3905665"/>
              <a:gd name="connsiteY749" fmla="*/ 2372848 h 3403632"/>
              <a:gd name="connsiteX750" fmla="*/ 1391187 w 3905665"/>
              <a:gd name="connsiteY750" fmla="*/ 2372601 h 3403632"/>
              <a:gd name="connsiteX751" fmla="*/ 1393411 w 3905665"/>
              <a:gd name="connsiteY751" fmla="*/ 2374822 h 3403632"/>
              <a:gd name="connsiteX752" fmla="*/ 1391187 w 3905665"/>
              <a:gd name="connsiteY752" fmla="*/ 2377046 h 3403632"/>
              <a:gd name="connsiteX753" fmla="*/ 1388967 w 3905665"/>
              <a:gd name="connsiteY753" fmla="*/ 2374822 h 3403632"/>
              <a:gd name="connsiteX754" fmla="*/ 1391187 w 3905665"/>
              <a:gd name="connsiteY754" fmla="*/ 2372601 h 3403632"/>
              <a:gd name="connsiteX755" fmla="*/ 853579 w 3905665"/>
              <a:gd name="connsiteY755" fmla="*/ 2366677 h 3403632"/>
              <a:gd name="connsiteX756" fmla="*/ 855061 w 3905665"/>
              <a:gd name="connsiteY756" fmla="*/ 2368157 h 3403632"/>
              <a:gd name="connsiteX757" fmla="*/ 853579 w 3905665"/>
              <a:gd name="connsiteY757" fmla="*/ 2369639 h 3403632"/>
              <a:gd name="connsiteX758" fmla="*/ 852099 w 3905665"/>
              <a:gd name="connsiteY758" fmla="*/ 2368157 h 3403632"/>
              <a:gd name="connsiteX759" fmla="*/ 853579 w 3905665"/>
              <a:gd name="connsiteY759" fmla="*/ 2366677 h 3403632"/>
              <a:gd name="connsiteX760" fmla="*/ 1178658 w 3905665"/>
              <a:gd name="connsiteY760" fmla="*/ 2354583 h 3403632"/>
              <a:gd name="connsiteX761" fmla="*/ 1180881 w 3905665"/>
              <a:gd name="connsiteY761" fmla="*/ 2356804 h 3403632"/>
              <a:gd name="connsiteX762" fmla="*/ 1178658 w 3905665"/>
              <a:gd name="connsiteY762" fmla="*/ 2359025 h 3403632"/>
              <a:gd name="connsiteX763" fmla="*/ 1176437 w 3905665"/>
              <a:gd name="connsiteY763" fmla="*/ 2356804 h 3403632"/>
              <a:gd name="connsiteX764" fmla="*/ 1178658 w 3905665"/>
              <a:gd name="connsiteY764" fmla="*/ 2354583 h 3403632"/>
              <a:gd name="connsiteX765" fmla="*/ 2203494 w 3905665"/>
              <a:gd name="connsiteY765" fmla="*/ 2353347 h 3403632"/>
              <a:gd name="connsiteX766" fmla="*/ 2217317 w 3905665"/>
              <a:gd name="connsiteY766" fmla="*/ 2367170 h 3403632"/>
              <a:gd name="connsiteX767" fmla="*/ 2203494 w 3905665"/>
              <a:gd name="connsiteY767" fmla="*/ 2380993 h 3403632"/>
              <a:gd name="connsiteX768" fmla="*/ 2189671 w 3905665"/>
              <a:gd name="connsiteY768" fmla="*/ 2367170 h 3403632"/>
              <a:gd name="connsiteX769" fmla="*/ 2203494 w 3905665"/>
              <a:gd name="connsiteY769" fmla="*/ 2353347 h 3403632"/>
              <a:gd name="connsiteX770" fmla="*/ 517387 w 3905665"/>
              <a:gd name="connsiteY770" fmla="*/ 2348659 h 3403632"/>
              <a:gd name="connsiteX771" fmla="*/ 519362 w 3905665"/>
              <a:gd name="connsiteY771" fmla="*/ 2350883 h 3403632"/>
              <a:gd name="connsiteX772" fmla="*/ 517387 w 3905665"/>
              <a:gd name="connsiteY772" fmla="*/ 2353104 h 3403632"/>
              <a:gd name="connsiteX773" fmla="*/ 515412 w 3905665"/>
              <a:gd name="connsiteY773" fmla="*/ 2350883 h 3403632"/>
              <a:gd name="connsiteX774" fmla="*/ 517387 w 3905665"/>
              <a:gd name="connsiteY774" fmla="*/ 2348659 h 3403632"/>
              <a:gd name="connsiteX775" fmla="*/ 2393804 w 3905665"/>
              <a:gd name="connsiteY775" fmla="*/ 2344463 h 3403632"/>
              <a:gd name="connsiteX776" fmla="*/ 2401703 w 3905665"/>
              <a:gd name="connsiteY776" fmla="*/ 2352115 h 3403632"/>
              <a:gd name="connsiteX777" fmla="*/ 2393804 w 3905665"/>
              <a:gd name="connsiteY777" fmla="*/ 2359765 h 3403632"/>
              <a:gd name="connsiteX778" fmla="*/ 2386151 w 3905665"/>
              <a:gd name="connsiteY778" fmla="*/ 2352115 h 3403632"/>
              <a:gd name="connsiteX779" fmla="*/ 2393804 w 3905665"/>
              <a:gd name="connsiteY779" fmla="*/ 2344463 h 3403632"/>
              <a:gd name="connsiteX780" fmla="*/ 963174 w 3905665"/>
              <a:gd name="connsiteY780" fmla="*/ 2325209 h 3403632"/>
              <a:gd name="connsiteX781" fmla="*/ 966631 w 3905665"/>
              <a:gd name="connsiteY781" fmla="*/ 2328664 h 3403632"/>
              <a:gd name="connsiteX782" fmla="*/ 963174 w 3905665"/>
              <a:gd name="connsiteY782" fmla="*/ 2332121 h 3403632"/>
              <a:gd name="connsiteX783" fmla="*/ 959720 w 3905665"/>
              <a:gd name="connsiteY783" fmla="*/ 2328664 h 3403632"/>
              <a:gd name="connsiteX784" fmla="*/ 963174 w 3905665"/>
              <a:gd name="connsiteY784" fmla="*/ 2325209 h 3403632"/>
              <a:gd name="connsiteX785" fmla="*/ 1697765 w 3905665"/>
              <a:gd name="connsiteY785" fmla="*/ 2320767 h 3403632"/>
              <a:gd name="connsiteX786" fmla="*/ 1701962 w 3905665"/>
              <a:gd name="connsiteY786" fmla="*/ 2324963 h 3403632"/>
              <a:gd name="connsiteX787" fmla="*/ 1697765 w 3905665"/>
              <a:gd name="connsiteY787" fmla="*/ 2329161 h 3403632"/>
              <a:gd name="connsiteX788" fmla="*/ 1693570 w 3905665"/>
              <a:gd name="connsiteY788" fmla="*/ 2324963 h 3403632"/>
              <a:gd name="connsiteX789" fmla="*/ 1697765 w 3905665"/>
              <a:gd name="connsiteY789" fmla="*/ 2320767 h 3403632"/>
              <a:gd name="connsiteX790" fmla="*/ 630442 w 3905665"/>
              <a:gd name="connsiteY790" fmla="*/ 2320519 h 3403632"/>
              <a:gd name="connsiteX791" fmla="*/ 632417 w 3905665"/>
              <a:gd name="connsiteY791" fmla="*/ 2322494 h 3403632"/>
              <a:gd name="connsiteX792" fmla="*/ 630442 w 3905665"/>
              <a:gd name="connsiteY792" fmla="*/ 2324468 h 3403632"/>
              <a:gd name="connsiteX793" fmla="*/ 628468 w 3905665"/>
              <a:gd name="connsiteY793" fmla="*/ 2322494 h 3403632"/>
              <a:gd name="connsiteX794" fmla="*/ 630442 w 3905665"/>
              <a:gd name="connsiteY794" fmla="*/ 2320519 h 3403632"/>
              <a:gd name="connsiteX795" fmla="*/ 2580162 w 3905665"/>
              <a:gd name="connsiteY795" fmla="*/ 2319285 h 3403632"/>
              <a:gd name="connsiteX796" fmla="*/ 2593243 w 3905665"/>
              <a:gd name="connsiteY796" fmla="*/ 2332369 h 3403632"/>
              <a:gd name="connsiteX797" fmla="*/ 2580162 w 3905665"/>
              <a:gd name="connsiteY797" fmla="*/ 2345451 h 3403632"/>
              <a:gd name="connsiteX798" fmla="*/ 2567080 w 3905665"/>
              <a:gd name="connsiteY798" fmla="*/ 2332369 h 3403632"/>
              <a:gd name="connsiteX799" fmla="*/ 2580162 w 3905665"/>
              <a:gd name="connsiteY799" fmla="*/ 2319285 h 3403632"/>
              <a:gd name="connsiteX800" fmla="*/ 1493381 w 3905665"/>
              <a:gd name="connsiteY800" fmla="*/ 2318052 h 3403632"/>
              <a:gd name="connsiteX801" fmla="*/ 1495355 w 3905665"/>
              <a:gd name="connsiteY801" fmla="*/ 2320027 h 3403632"/>
              <a:gd name="connsiteX802" fmla="*/ 1493381 w 3905665"/>
              <a:gd name="connsiteY802" fmla="*/ 2322001 h 3403632"/>
              <a:gd name="connsiteX803" fmla="*/ 1491406 w 3905665"/>
              <a:gd name="connsiteY803" fmla="*/ 2320027 h 3403632"/>
              <a:gd name="connsiteX804" fmla="*/ 1493381 w 3905665"/>
              <a:gd name="connsiteY804" fmla="*/ 2318052 h 3403632"/>
              <a:gd name="connsiteX805" fmla="*/ 1897702 w 3905665"/>
              <a:gd name="connsiteY805" fmla="*/ 2315831 h 3403632"/>
              <a:gd name="connsiteX806" fmla="*/ 1904619 w 3905665"/>
              <a:gd name="connsiteY806" fmla="*/ 2322989 h 3403632"/>
              <a:gd name="connsiteX807" fmla="*/ 1897702 w 3905665"/>
              <a:gd name="connsiteY807" fmla="*/ 2330146 h 3403632"/>
              <a:gd name="connsiteX808" fmla="*/ 1890543 w 3905665"/>
              <a:gd name="connsiteY808" fmla="*/ 2322989 h 3403632"/>
              <a:gd name="connsiteX809" fmla="*/ 1897702 w 3905665"/>
              <a:gd name="connsiteY809" fmla="*/ 2315831 h 3403632"/>
              <a:gd name="connsiteX810" fmla="*/ 55069 w 3905665"/>
              <a:gd name="connsiteY810" fmla="*/ 2309658 h 3403632"/>
              <a:gd name="connsiteX811" fmla="*/ 57536 w 3905665"/>
              <a:gd name="connsiteY811" fmla="*/ 2312128 h 3403632"/>
              <a:gd name="connsiteX812" fmla="*/ 55069 w 3905665"/>
              <a:gd name="connsiteY812" fmla="*/ 2314595 h 3403632"/>
              <a:gd name="connsiteX813" fmla="*/ 52599 w 3905665"/>
              <a:gd name="connsiteY813" fmla="*/ 2312128 h 3403632"/>
              <a:gd name="connsiteX814" fmla="*/ 55069 w 3905665"/>
              <a:gd name="connsiteY814" fmla="*/ 2309658 h 3403632"/>
              <a:gd name="connsiteX815" fmla="*/ 1284059 w 3905665"/>
              <a:gd name="connsiteY815" fmla="*/ 2305216 h 3403632"/>
              <a:gd name="connsiteX816" fmla="*/ 1286033 w 3905665"/>
              <a:gd name="connsiteY816" fmla="*/ 2307191 h 3403632"/>
              <a:gd name="connsiteX817" fmla="*/ 1284059 w 3905665"/>
              <a:gd name="connsiteY817" fmla="*/ 2309165 h 3403632"/>
              <a:gd name="connsiteX818" fmla="*/ 1282084 w 3905665"/>
              <a:gd name="connsiteY818" fmla="*/ 2307191 h 3403632"/>
              <a:gd name="connsiteX819" fmla="*/ 1284059 w 3905665"/>
              <a:gd name="connsiteY819" fmla="*/ 2305216 h 3403632"/>
              <a:gd name="connsiteX820" fmla="*/ 2093158 w 3905665"/>
              <a:gd name="connsiteY820" fmla="*/ 2303734 h 3403632"/>
              <a:gd name="connsiteX821" fmla="*/ 2104514 w 3905665"/>
              <a:gd name="connsiteY821" fmla="*/ 2315087 h 3403632"/>
              <a:gd name="connsiteX822" fmla="*/ 2093158 w 3905665"/>
              <a:gd name="connsiteY822" fmla="*/ 2326443 h 3403632"/>
              <a:gd name="connsiteX823" fmla="*/ 2081805 w 3905665"/>
              <a:gd name="connsiteY823" fmla="*/ 2315087 h 3403632"/>
              <a:gd name="connsiteX824" fmla="*/ 2093158 w 3905665"/>
              <a:gd name="connsiteY824" fmla="*/ 2303734 h 3403632"/>
              <a:gd name="connsiteX825" fmla="*/ 170584 w 3905665"/>
              <a:gd name="connsiteY825" fmla="*/ 2299046 h 3403632"/>
              <a:gd name="connsiteX826" fmla="*/ 172559 w 3905665"/>
              <a:gd name="connsiteY826" fmla="*/ 2301021 h 3403632"/>
              <a:gd name="connsiteX827" fmla="*/ 170584 w 3905665"/>
              <a:gd name="connsiteY827" fmla="*/ 2302995 h 3403632"/>
              <a:gd name="connsiteX828" fmla="*/ 168610 w 3905665"/>
              <a:gd name="connsiteY828" fmla="*/ 2301021 h 3403632"/>
              <a:gd name="connsiteX829" fmla="*/ 170584 w 3905665"/>
              <a:gd name="connsiteY829" fmla="*/ 2299046 h 3403632"/>
              <a:gd name="connsiteX830" fmla="*/ 742506 w 3905665"/>
              <a:gd name="connsiteY830" fmla="*/ 2288431 h 3403632"/>
              <a:gd name="connsiteX831" fmla="*/ 744232 w 3905665"/>
              <a:gd name="connsiteY831" fmla="*/ 2290159 h 3403632"/>
              <a:gd name="connsiteX832" fmla="*/ 742506 w 3905665"/>
              <a:gd name="connsiteY832" fmla="*/ 2291888 h 3403632"/>
              <a:gd name="connsiteX833" fmla="*/ 740777 w 3905665"/>
              <a:gd name="connsiteY833" fmla="*/ 2290159 h 3403632"/>
              <a:gd name="connsiteX834" fmla="*/ 742506 w 3905665"/>
              <a:gd name="connsiteY834" fmla="*/ 2288431 h 3403632"/>
              <a:gd name="connsiteX835" fmla="*/ 285365 w 3905665"/>
              <a:gd name="connsiteY835" fmla="*/ 2283495 h 3403632"/>
              <a:gd name="connsiteX836" fmla="*/ 287090 w 3905665"/>
              <a:gd name="connsiteY836" fmla="*/ 2285224 h 3403632"/>
              <a:gd name="connsiteX837" fmla="*/ 285365 w 3905665"/>
              <a:gd name="connsiteY837" fmla="*/ 2286703 h 3403632"/>
              <a:gd name="connsiteX838" fmla="*/ 283882 w 3905665"/>
              <a:gd name="connsiteY838" fmla="*/ 2285224 h 3403632"/>
              <a:gd name="connsiteX839" fmla="*/ 285365 w 3905665"/>
              <a:gd name="connsiteY839" fmla="*/ 2283495 h 3403632"/>
              <a:gd name="connsiteX840" fmla="*/ 1071034 w 3905665"/>
              <a:gd name="connsiteY840" fmla="*/ 2282012 h 3403632"/>
              <a:gd name="connsiteX841" fmla="*/ 1074242 w 3905665"/>
              <a:gd name="connsiteY841" fmla="*/ 2285220 h 3403632"/>
              <a:gd name="connsiteX842" fmla="*/ 1071034 w 3905665"/>
              <a:gd name="connsiteY842" fmla="*/ 2288428 h 3403632"/>
              <a:gd name="connsiteX843" fmla="*/ 1067826 w 3905665"/>
              <a:gd name="connsiteY843" fmla="*/ 2285220 h 3403632"/>
              <a:gd name="connsiteX844" fmla="*/ 1071034 w 3905665"/>
              <a:gd name="connsiteY844" fmla="*/ 2282012 h 3403632"/>
              <a:gd name="connsiteX845" fmla="*/ 2294328 w 3905665"/>
              <a:gd name="connsiteY845" fmla="*/ 2279050 h 3403632"/>
              <a:gd name="connsiteX846" fmla="*/ 2309139 w 3905665"/>
              <a:gd name="connsiteY846" fmla="*/ 2293860 h 3403632"/>
              <a:gd name="connsiteX847" fmla="*/ 2294328 w 3905665"/>
              <a:gd name="connsiteY847" fmla="*/ 2308671 h 3403632"/>
              <a:gd name="connsiteX848" fmla="*/ 2279518 w 3905665"/>
              <a:gd name="connsiteY848" fmla="*/ 2293860 h 3403632"/>
              <a:gd name="connsiteX849" fmla="*/ 2294328 w 3905665"/>
              <a:gd name="connsiteY849" fmla="*/ 2279050 h 3403632"/>
              <a:gd name="connsiteX850" fmla="*/ 2481425 w 3905665"/>
              <a:gd name="connsiteY850" fmla="*/ 2267202 h 3403632"/>
              <a:gd name="connsiteX851" fmla="*/ 2489573 w 3905665"/>
              <a:gd name="connsiteY851" fmla="*/ 2275347 h 3403632"/>
              <a:gd name="connsiteX852" fmla="*/ 2481425 w 3905665"/>
              <a:gd name="connsiteY852" fmla="*/ 2283495 h 3403632"/>
              <a:gd name="connsiteX853" fmla="*/ 2473280 w 3905665"/>
              <a:gd name="connsiteY853" fmla="*/ 2275347 h 3403632"/>
              <a:gd name="connsiteX854" fmla="*/ 2481425 w 3905665"/>
              <a:gd name="connsiteY854" fmla="*/ 2267202 h 3403632"/>
              <a:gd name="connsiteX855" fmla="*/ 399646 w 3905665"/>
              <a:gd name="connsiteY855" fmla="*/ 2262019 h 3403632"/>
              <a:gd name="connsiteX856" fmla="*/ 402854 w 3905665"/>
              <a:gd name="connsiteY856" fmla="*/ 2265227 h 3403632"/>
              <a:gd name="connsiteX857" fmla="*/ 399646 w 3905665"/>
              <a:gd name="connsiteY857" fmla="*/ 2268435 h 3403632"/>
              <a:gd name="connsiteX858" fmla="*/ 396438 w 3905665"/>
              <a:gd name="connsiteY858" fmla="*/ 2265227 h 3403632"/>
              <a:gd name="connsiteX859" fmla="*/ 399646 w 3905665"/>
              <a:gd name="connsiteY859" fmla="*/ 2262019 h 3403632"/>
              <a:gd name="connsiteX860" fmla="*/ 1593845 w 3905665"/>
              <a:gd name="connsiteY860" fmla="*/ 2258562 h 3403632"/>
              <a:gd name="connsiteX861" fmla="*/ 1596560 w 3905665"/>
              <a:gd name="connsiteY861" fmla="*/ 2261278 h 3403632"/>
              <a:gd name="connsiteX862" fmla="*/ 1593845 w 3905665"/>
              <a:gd name="connsiteY862" fmla="*/ 2263994 h 3403632"/>
              <a:gd name="connsiteX863" fmla="*/ 1591129 w 3905665"/>
              <a:gd name="connsiteY863" fmla="*/ 2261278 h 3403632"/>
              <a:gd name="connsiteX864" fmla="*/ 1593845 w 3905665"/>
              <a:gd name="connsiteY864" fmla="*/ 2258562 h 3403632"/>
              <a:gd name="connsiteX865" fmla="*/ 1795267 w 3905665"/>
              <a:gd name="connsiteY865" fmla="*/ 2256837 h 3403632"/>
              <a:gd name="connsiteX866" fmla="*/ 1799956 w 3905665"/>
              <a:gd name="connsiteY866" fmla="*/ 2261527 h 3403632"/>
              <a:gd name="connsiteX867" fmla="*/ 1795267 w 3905665"/>
              <a:gd name="connsiteY867" fmla="*/ 2266218 h 3403632"/>
              <a:gd name="connsiteX868" fmla="*/ 1790575 w 3905665"/>
              <a:gd name="connsiteY868" fmla="*/ 2261527 h 3403632"/>
              <a:gd name="connsiteX869" fmla="*/ 1795267 w 3905665"/>
              <a:gd name="connsiteY869" fmla="*/ 2256837 h 3403632"/>
              <a:gd name="connsiteX870" fmla="*/ 1387485 w 3905665"/>
              <a:gd name="connsiteY870" fmla="*/ 2252392 h 3403632"/>
              <a:gd name="connsiteX871" fmla="*/ 1389213 w 3905665"/>
              <a:gd name="connsiteY871" fmla="*/ 2254120 h 3403632"/>
              <a:gd name="connsiteX872" fmla="*/ 1387485 w 3905665"/>
              <a:gd name="connsiteY872" fmla="*/ 2255849 h 3403632"/>
              <a:gd name="connsiteX873" fmla="*/ 1385756 w 3905665"/>
              <a:gd name="connsiteY873" fmla="*/ 2254120 h 3403632"/>
              <a:gd name="connsiteX874" fmla="*/ 1387485 w 3905665"/>
              <a:gd name="connsiteY874" fmla="*/ 2252392 h 3403632"/>
              <a:gd name="connsiteX875" fmla="*/ 853088 w 3905665"/>
              <a:gd name="connsiteY875" fmla="*/ 2251900 h 3403632"/>
              <a:gd name="connsiteX876" fmla="*/ 854568 w 3905665"/>
              <a:gd name="connsiteY876" fmla="*/ 2253380 h 3403632"/>
              <a:gd name="connsiteX877" fmla="*/ 853088 w 3905665"/>
              <a:gd name="connsiteY877" fmla="*/ 2254862 h 3403632"/>
              <a:gd name="connsiteX878" fmla="*/ 851605 w 3905665"/>
              <a:gd name="connsiteY878" fmla="*/ 2253380 h 3403632"/>
              <a:gd name="connsiteX879" fmla="*/ 853088 w 3905665"/>
              <a:gd name="connsiteY879" fmla="*/ 2251900 h 3403632"/>
              <a:gd name="connsiteX880" fmla="*/ 1991957 w 3905665"/>
              <a:gd name="connsiteY880" fmla="*/ 2247456 h 3403632"/>
              <a:gd name="connsiteX881" fmla="*/ 1999856 w 3905665"/>
              <a:gd name="connsiteY881" fmla="*/ 2255355 h 3403632"/>
              <a:gd name="connsiteX882" fmla="*/ 1991957 w 3905665"/>
              <a:gd name="connsiteY882" fmla="*/ 2263254 h 3403632"/>
              <a:gd name="connsiteX883" fmla="*/ 1984058 w 3905665"/>
              <a:gd name="connsiteY883" fmla="*/ 2255355 h 3403632"/>
              <a:gd name="connsiteX884" fmla="*/ 1991957 w 3905665"/>
              <a:gd name="connsiteY884" fmla="*/ 2247456 h 3403632"/>
              <a:gd name="connsiteX885" fmla="*/ 2664827 w 3905665"/>
              <a:gd name="connsiteY885" fmla="*/ 2238569 h 3403632"/>
              <a:gd name="connsiteX886" fmla="*/ 2678650 w 3905665"/>
              <a:gd name="connsiteY886" fmla="*/ 2252638 h 3403632"/>
              <a:gd name="connsiteX887" fmla="*/ 2664827 w 3905665"/>
              <a:gd name="connsiteY887" fmla="*/ 2266461 h 3403632"/>
              <a:gd name="connsiteX888" fmla="*/ 2651004 w 3905665"/>
              <a:gd name="connsiteY888" fmla="*/ 2252638 h 3403632"/>
              <a:gd name="connsiteX889" fmla="*/ 2664827 w 3905665"/>
              <a:gd name="connsiteY889" fmla="*/ 2238569 h 3403632"/>
              <a:gd name="connsiteX890" fmla="*/ 512943 w 3905665"/>
              <a:gd name="connsiteY890" fmla="*/ 2237336 h 3403632"/>
              <a:gd name="connsiteX891" fmla="*/ 515905 w 3905665"/>
              <a:gd name="connsiteY891" fmla="*/ 2240298 h 3403632"/>
              <a:gd name="connsiteX892" fmla="*/ 512943 w 3905665"/>
              <a:gd name="connsiteY892" fmla="*/ 2243260 h 3403632"/>
              <a:gd name="connsiteX893" fmla="*/ 509981 w 3905665"/>
              <a:gd name="connsiteY893" fmla="*/ 2240298 h 3403632"/>
              <a:gd name="connsiteX894" fmla="*/ 512943 w 3905665"/>
              <a:gd name="connsiteY894" fmla="*/ 2237336 h 3403632"/>
              <a:gd name="connsiteX895" fmla="*/ 1177423 w 3905665"/>
              <a:gd name="connsiteY895" fmla="*/ 2235115 h 3403632"/>
              <a:gd name="connsiteX896" fmla="*/ 1180385 w 3905665"/>
              <a:gd name="connsiteY896" fmla="*/ 2238077 h 3403632"/>
              <a:gd name="connsiteX897" fmla="*/ 1177423 w 3905665"/>
              <a:gd name="connsiteY897" fmla="*/ 2241039 h 3403632"/>
              <a:gd name="connsiteX898" fmla="*/ 1174461 w 3905665"/>
              <a:gd name="connsiteY898" fmla="*/ 2238077 h 3403632"/>
              <a:gd name="connsiteX899" fmla="*/ 1177423 w 3905665"/>
              <a:gd name="connsiteY899" fmla="*/ 2235115 h 3403632"/>
              <a:gd name="connsiteX900" fmla="*/ 2184488 w 3905665"/>
              <a:gd name="connsiteY900" fmla="*/ 2231412 h 3403632"/>
              <a:gd name="connsiteX901" fmla="*/ 2196585 w 3905665"/>
              <a:gd name="connsiteY901" fmla="*/ 2243506 h 3403632"/>
              <a:gd name="connsiteX902" fmla="*/ 2184488 w 3905665"/>
              <a:gd name="connsiteY902" fmla="*/ 2255603 h 3403632"/>
              <a:gd name="connsiteX903" fmla="*/ 2172394 w 3905665"/>
              <a:gd name="connsiteY903" fmla="*/ 2243506 h 3403632"/>
              <a:gd name="connsiteX904" fmla="*/ 2184488 w 3905665"/>
              <a:gd name="connsiteY904" fmla="*/ 2231412 h 3403632"/>
              <a:gd name="connsiteX905" fmla="*/ 962188 w 3905665"/>
              <a:gd name="connsiteY905" fmla="*/ 2209196 h 3403632"/>
              <a:gd name="connsiteX906" fmla="*/ 965645 w 3905665"/>
              <a:gd name="connsiteY906" fmla="*/ 2212653 h 3403632"/>
              <a:gd name="connsiteX907" fmla="*/ 962188 w 3905665"/>
              <a:gd name="connsiteY907" fmla="*/ 2216108 h 3403632"/>
              <a:gd name="connsiteX908" fmla="*/ 958734 w 3905665"/>
              <a:gd name="connsiteY908" fmla="*/ 2212653 h 3403632"/>
              <a:gd name="connsiteX909" fmla="*/ 962188 w 3905665"/>
              <a:gd name="connsiteY909" fmla="*/ 2209196 h 3403632"/>
              <a:gd name="connsiteX910" fmla="*/ 625011 w 3905665"/>
              <a:gd name="connsiteY910" fmla="*/ 2208949 h 3403632"/>
              <a:gd name="connsiteX911" fmla="*/ 627479 w 3905665"/>
              <a:gd name="connsiteY911" fmla="*/ 2211416 h 3403632"/>
              <a:gd name="connsiteX912" fmla="*/ 625011 w 3905665"/>
              <a:gd name="connsiteY912" fmla="*/ 2213886 h 3403632"/>
              <a:gd name="connsiteX913" fmla="*/ 622542 w 3905665"/>
              <a:gd name="connsiteY913" fmla="*/ 2211416 h 3403632"/>
              <a:gd name="connsiteX914" fmla="*/ 625011 w 3905665"/>
              <a:gd name="connsiteY914" fmla="*/ 2208949 h 3403632"/>
              <a:gd name="connsiteX915" fmla="*/ 2382696 w 3905665"/>
              <a:gd name="connsiteY915" fmla="*/ 2202284 h 3403632"/>
              <a:gd name="connsiteX916" fmla="*/ 2398494 w 3905665"/>
              <a:gd name="connsiteY916" fmla="*/ 2218081 h 3403632"/>
              <a:gd name="connsiteX917" fmla="*/ 2382696 w 3905665"/>
              <a:gd name="connsiteY917" fmla="*/ 2233879 h 3403632"/>
              <a:gd name="connsiteX918" fmla="*/ 2366899 w 3905665"/>
              <a:gd name="connsiteY918" fmla="*/ 2218081 h 3403632"/>
              <a:gd name="connsiteX919" fmla="*/ 2382696 w 3905665"/>
              <a:gd name="connsiteY919" fmla="*/ 2202284 h 3403632"/>
              <a:gd name="connsiteX920" fmla="*/ 55067 w 3905665"/>
              <a:gd name="connsiteY920" fmla="*/ 2201297 h 3403632"/>
              <a:gd name="connsiteX921" fmla="*/ 57288 w 3905665"/>
              <a:gd name="connsiteY921" fmla="*/ 2203521 h 3403632"/>
              <a:gd name="connsiteX922" fmla="*/ 55067 w 3905665"/>
              <a:gd name="connsiteY922" fmla="*/ 2205742 h 3403632"/>
              <a:gd name="connsiteX923" fmla="*/ 52598 w 3905665"/>
              <a:gd name="connsiteY923" fmla="*/ 2203521 h 3403632"/>
              <a:gd name="connsiteX924" fmla="*/ 55067 w 3905665"/>
              <a:gd name="connsiteY924" fmla="*/ 2201297 h 3403632"/>
              <a:gd name="connsiteX925" fmla="*/ 1692331 w 3905665"/>
              <a:gd name="connsiteY925" fmla="*/ 2196363 h 3403632"/>
              <a:gd name="connsiteX926" fmla="*/ 1695540 w 3905665"/>
              <a:gd name="connsiteY926" fmla="*/ 2199571 h 3403632"/>
              <a:gd name="connsiteX927" fmla="*/ 1692331 w 3905665"/>
              <a:gd name="connsiteY927" fmla="*/ 2202782 h 3403632"/>
              <a:gd name="connsiteX928" fmla="*/ 1689123 w 3905665"/>
              <a:gd name="connsiteY928" fmla="*/ 2199571 h 3403632"/>
              <a:gd name="connsiteX929" fmla="*/ 1692331 w 3905665"/>
              <a:gd name="connsiteY929" fmla="*/ 2196363 h 3403632"/>
              <a:gd name="connsiteX930" fmla="*/ 1488934 w 3905665"/>
              <a:gd name="connsiteY930" fmla="*/ 2195373 h 3403632"/>
              <a:gd name="connsiteX931" fmla="*/ 1490909 w 3905665"/>
              <a:gd name="connsiteY931" fmla="*/ 2197348 h 3403632"/>
              <a:gd name="connsiteX932" fmla="*/ 1488934 w 3905665"/>
              <a:gd name="connsiteY932" fmla="*/ 2199322 h 3403632"/>
              <a:gd name="connsiteX933" fmla="*/ 1486959 w 3905665"/>
              <a:gd name="connsiteY933" fmla="*/ 2197348 h 3403632"/>
              <a:gd name="connsiteX934" fmla="*/ 1488934 w 3905665"/>
              <a:gd name="connsiteY934" fmla="*/ 2195373 h 3403632"/>
              <a:gd name="connsiteX935" fmla="*/ 1890541 w 3905665"/>
              <a:gd name="connsiteY935" fmla="*/ 2189944 h 3403632"/>
              <a:gd name="connsiteX936" fmla="*/ 1895477 w 3905665"/>
              <a:gd name="connsiteY936" fmla="*/ 2195127 h 3403632"/>
              <a:gd name="connsiteX937" fmla="*/ 1890541 w 3905665"/>
              <a:gd name="connsiteY937" fmla="*/ 2200313 h 3403632"/>
              <a:gd name="connsiteX938" fmla="*/ 1885359 w 3905665"/>
              <a:gd name="connsiteY938" fmla="*/ 2195127 h 3403632"/>
              <a:gd name="connsiteX939" fmla="*/ 1890541 w 3905665"/>
              <a:gd name="connsiteY939" fmla="*/ 2189944 h 3403632"/>
              <a:gd name="connsiteX940" fmla="*/ 170586 w 3905665"/>
              <a:gd name="connsiteY940" fmla="*/ 2189698 h 3403632"/>
              <a:gd name="connsiteX941" fmla="*/ 172561 w 3905665"/>
              <a:gd name="connsiteY941" fmla="*/ 2191427 h 3403632"/>
              <a:gd name="connsiteX942" fmla="*/ 170586 w 3905665"/>
              <a:gd name="connsiteY942" fmla="*/ 2193402 h 3403632"/>
              <a:gd name="connsiteX943" fmla="*/ 168857 w 3905665"/>
              <a:gd name="connsiteY943" fmla="*/ 2191427 h 3403632"/>
              <a:gd name="connsiteX944" fmla="*/ 170586 w 3905665"/>
              <a:gd name="connsiteY944" fmla="*/ 2189698 h 3403632"/>
              <a:gd name="connsiteX945" fmla="*/ 2566831 w 3905665"/>
              <a:gd name="connsiteY945" fmla="*/ 2187723 h 3403632"/>
              <a:gd name="connsiteX946" fmla="*/ 2575471 w 3905665"/>
              <a:gd name="connsiteY946" fmla="*/ 2196363 h 3403632"/>
              <a:gd name="connsiteX947" fmla="*/ 2566831 w 3905665"/>
              <a:gd name="connsiteY947" fmla="*/ 2205003 h 3403632"/>
              <a:gd name="connsiteX948" fmla="*/ 2558191 w 3905665"/>
              <a:gd name="connsiteY948" fmla="*/ 2196363 h 3403632"/>
              <a:gd name="connsiteX949" fmla="*/ 2566831 w 3905665"/>
              <a:gd name="connsiteY949" fmla="*/ 2187723 h 3403632"/>
              <a:gd name="connsiteX950" fmla="*/ 1282082 w 3905665"/>
              <a:gd name="connsiteY950" fmla="*/ 2184266 h 3403632"/>
              <a:gd name="connsiteX951" fmla="*/ 1284799 w 3905665"/>
              <a:gd name="connsiteY951" fmla="*/ 2186982 h 3403632"/>
              <a:gd name="connsiteX952" fmla="*/ 1282082 w 3905665"/>
              <a:gd name="connsiteY952" fmla="*/ 2189695 h 3403632"/>
              <a:gd name="connsiteX953" fmla="*/ 1279367 w 3905665"/>
              <a:gd name="connsiteY953" fmla="*/ 2186982 h 3403632"/>
              <a:gd name="connsiteX954" fmla="*/ 1282082 w 3905665"/>
              <a:gd name="connsiteY954" fmla="*/ 2184266 h 3403632"/>
              <a:gd name="connsiteX955" fmla="*/ 736084 w 3905665"/>
              <a:gd name="connsiteY955" fmla="*/ 2176367 h 3403632"/>
              <a:gd name="connsiteX956" fmla="*/ 738059 w 3905665"/>
              <a:gd name="connsiteY956" fmla="*/ 2178342 h 3403632"/>
              <a:gd name="connsiteX957" fmla="*/ 736084 w 3905665"/>
              <a:gd name="connsiteY957" fmla="*/ 2180316 h 3403632"/>
              <a:gd name="connsiteX958" fmla="*/ 734111 w 3905665"/>
              <a:gd name="connsiteY958" fmla="*/ 2178342 h 3403632"/>
              <a:gd name="connsiteX959" fmla="*/ 736084 w 3905665"/>
              <a:gd name="connsiteY959" fmla="*/ 2176367 h 3403632"/>
              <a:gd name="connsiteX960" fmla="*/ 2084274 w 3905665"/>
              <a:gd name="connsiteY960" fmla="*/ 2176121 h 3403632"/>
              <a:gd name="connsiteX961" fmla="*/ 2092911 w 3905665"/>
              <a:gd name="connsiteY961" fmla="*/ 2184761 h 3403632"/>
              <a:gd name="connsiteX962" fmla="*/ 2084274 w 3905665"/>
              <a:gd name="connsiteY962" fmla="*/ 2193401 h 3403632"/>
              <a:gd name="connsiteX963" fmla="*/ 2075634 w 3905665"/>
              <a:gd name="connsiteY963" fmla="*/ 2184761 h 3403632"/>
              <a:gd name="connsiteX964" fmla="*/ 2084274 w 3905665"/>
              <a:gd name="connsiteY964" fmla="*/ 2176121 h 3403632"/>
              <a:gd name="connsiteX965" fmla="*/ 285360 w 3905665"/>
              <a:gd name="connsiteY965" fmla="*/ 2171925 h 3403632"/>
              <a:gd name="connsiteX966" fmla="*/ 288817 w 3905665"/>
              <a:gd name="connsiteY966" fmla="*/ 2175380 h 3403632"/>
              <a:gd name="connsiteX967" fmla="*/ 285360 w 3905665"/>
              <a:gd name="connsiteY967" fmla="*/ 2178837 h 3403632"/>
              <a:gd name="connsiteX968" fmla="*/ 281906 w 3905665"/>
              <a:gd name="connsiteY968" fmla="*/ 2175380 h 3403632"/>
              <a:gd name="connsiteX969" fmla="*/ 285360 w 3905665"/>
              <a:gd name="connsiteY969" fmla="*/ 2171925 h 3403632"/>
              <a:gd name="connsiteX970" fmla="*/ 1069553 w 3905665"/>
              <a:gd name="connsiteY970" fmla="*/ 2164519 h 3403632"/>
              <a:gd name="connsiteX971" fmla="*/ 1072761 w 3905665"/>
              <a:gd name="connsiteY971" fmla="*/ 2167727 h 3403632"/>
              <a:gd name="connsiteX972" fmla="*/ 1069553 w 3905665"/>
              <a:gd name="connsiteY972" fmla="*/ 2170938 h 3403632"/>
              <a:gd name="connsiteX973" fmla="*/ 1066345 w 3905665"/>
              <a:gd name="connsiteY973" fmla="*/ 2167727 h 3403632"/>
              <a:gd name="connsiteX974" fmla="*/ 1069553 w 3905665"/>
              <a:gd name="connsiteY974" fmla="*/ 2164519 h 3403632"/>
              <a:gd name="connsiteX975" fmla="*/ 2273595 w 3905665"/>
              <a:gd name="connsiteY975" fmla="*/ 2156620 h 3403632"/>
              <a:gd name="connsiteX976" fmla="*/ 2286430 w 3905665"/>
              <a:gd name="connsiteY976" fmla="*/ 2169456 h 3403632"/>
              <a:gd name="connsiteX977" fmla="*/ 2273595 w 3905665"/>
              <a:gd name="connsiteY977" fmla="*/ 2182291 h 3403632"/>
              <a:gd name="connsiteX978" fmla="*/ 2260759 w 3905665"/>
              <a:gd name="connsiteY978" fmla="*/ 2169456 h 3403632"/>
              <a:gd name="connsiteX979" fmla="*/ 2273595 w 3905665"/>
              <a:gd name="connsiteY979" fmla="*/ 2156620 h 3403632"/>
              <a:gd name="connsiteX980" fmla="*/ 2747268 w 3905665"/>
              <a:gd name="connsiteY980" fmla="*/ 2155633 h 3403632"/>
              <a:gd name="connsiteX981" fmla="*/ 2762078 w 3905665"/>
              <a:gd name="connsiteY981" fmla="*/ 2170443 h 3403632"/>
              <a:gd name="connsiteX982" fmla="*/ 2747268 w 3905665"/>
              <a:gd name="connsiteY982" fmla="*/ 2185254 h 3403632"/>
              <a:gd name="connsiteX983" fmla="*/ 2732458 w 3905665"/>
              <a:gd name="connsiteY983" fmla="*/ 2170443 h 3403632"/>
              <a:gd name="connsiteX984" fmla="*/ 2747268 w 3905665"/>
              <a:gd name="connsiteY984" fmla="*/ 2155633 h 3403632"/>
              <a:gd name="connsiteX985" fmla="*/ 399644 w 3905665"/>
              <a:gd name="connsiteY985" fmla="*/ 2151438 h 3403632"/>
              <a:gd name="connsiteX986" fmla="*/ 402606 w 3905665"/>
              <a:gd name="connsiteY986" fmla="*/ 2154400 h 3403632"/>
              <a:gd name="connsiteX987" fmla="*/ 399644 w 3905665"/>
              <a:gd name="connsiteY987" fmla="*/ 2157362 h 3403632"/>
              <a:gd name="connsiteX988" fmla="*/ 396682 w 3905665"/>
              <a:gd name="connsiteY988" fmla="*/ 2154400 h 3403632"/>
              <a:gd name="connsiteX989" fmla="*/ 399644 w 3905665"/>
              <a:gd name="connsiteY989" fmla="*/ 2151438 h 3403632"/>
              <a:gd name="connsiteX990" fmla="*/ 845679 w 3905665"/>
              <a:gd name="connsiteY990" fmla="*/ 2139094 h 3403632"/>
              <a:gd name="connsiteX991" fmla="*/ 847408 w 3905665"/>
              <a:gd name="connsiteY991" fmla="*/ 2140574 h 3403632"/>
              <a:gd name="connsiteX992" fmla="*/ 845679 w 3905665"/>
              <a:gd name="connsiteY992" fmla="*/ 2142302 h 3403632"/>
              <a:gd name="connsiteX993" fmla="*/ 844200 w 3905665"/>
              <a:gd name="connsiteY993" fmla="*/ 2140574 h 3403632"/>
              <a:gd name="connsiteX994" fmla="*/ 845679 w 3905665"/>
              <a:gd name="connsiteY994" fmla="*/ 2139094 h 3403632"/>
              <a:gd name="connsiteX995" fmla="*/ 1588411 w 3905665"/>
              <a:gd name="connsiteY995" fmla="*/ 2135145 h 3403632"/>
              <a:gd name="connsiteX996" fmla="*/ 1590632 w 3905665"/>
              <a:gd name="connsiteY996" fmla="*/ 2137366 h 3403632"/>
              <a:gd name="connsiteX997" fmla="*/ 1588411 w 3905665"/>
              <a:gd name="connsiteY997" fmla="*/ 2139587 h 3403632"/>
              <a:gd name="connsiteX998" fmla="*/ 1586190 w 3905665"/>
              <a:gd name="connsiteY998" fmla="*/ 2137366 h 3403632"/>
              <a:gd name="connsiteX999" fmla="*/ 1588411 w 3905665"/>
              <a:gd name="connsiteY999" fmla="*/ 2135145 h 3403632"/>
              <a:gd name="connsiteX1000" fmla="*/ 1788597 w 3905665"/>
              <a:gd name="connsiteY1000" fmla="*/ 2132678 h 3403632"/>
              <a:gd name="connsiteX1001" fmla="*/ 1790326 w 3905665"/>
              <a:gd name="connsiteY1001" fmla="*/ 2134406 h 3403632"/>
              <a:gd name="connsiteX1002" fmla="*/ 1788597 w 3905665"/>
              <a:gd name="connsiteY1002" fmla="*/ 2136135 h 3403632"/>
              <a:gd name="connsiteX1003" fmla="*/ 1786869 w 3905665"/>
              <a:gd name="connsiteY1003" fmla="*/ 2134406 h 3403632"/>
              <a:gd name="connsiteX1004" fmla="*/ 1788597 w 3905665"/>
              <a:gd name="connsiteY1004" fmla="*/ 2132678 h 3403632"/>
              <a:gd name="connsiteX1005" fmla="*/ 1384767 w 3905665"/>
              <a:gd name="connsiteY1005" fmla="*/ 2129470 h 3403632"/>
              <a:gd name="connsiteX1006" fmla="*/ 1387481 w 3905665"/>
              <a:gd name="connsiteY1006" fmla="*/ 2131937 h 3403632"/>
              <a:gd name="connsiteX1007" fmla="*/ 1384767 w 3905665"/>
              <a:gd name="connsiteY1007" fmla="*/ 2134653 h 3403632"/>
              <a:gd name="connsiteX1008" fmla="*/ 1382298 w 3905665"/>
              <a:gd name="connsiteY1008" fmla="*/ 2131937 h 3403632"/>
              <a:gd name="connsiteX1009" fmla="*/ 1384767 w 3905665"/>
              <a:gd name="connsiteY1009" fmla="*/ 2129470 h 3403632"/>
              <a:gd name="connsiteX1010" fmla="*/ 512692 w 3905665"/>
              <a:gd name="connsiteY1010" fmla="*/ 2126508 h 3403632"/>
              <a:gd name="connsiteX1011" fmla="*/ 515162 w 3905665"/>
              <a:gd name="connsiteY1011" fmla="*/ 2128978 h 3403632"/>
              <a:gd name="connsiteX1012" fmla="*/ 512692 w 3905665"/>
              <a:gd name="connsiteY1012" fmla="*/ 2131445 h 3403632"/>
              <a:gd name="connsiteX1013" fmla="*/ 510225 w 3905665"/>
              <a:gd name="connsiteY1013" fmla="*/ 2128978 h 3403632"/>
              <a:gd name="connsiteX1014" fmla="*/ 512692 w 3905665"/>
              <a:gd name="connsiteY1014" fmla="*/ 2126508 h 3403632"/>
              <a:gd name="connsiteX1015" fmla="*/ 2468839 w 3905665"/>
              <a:gd name="connsiteY1015" fmla="*/ 2122805 h 3403632"/>
              <a:gd name="connsiteX1016" fmla="*/ 2485624 w 3905665"/>
              <a:gd name="connsiteY1016" fmla="*/ 2139590 h 3403632"/>
              <a:gd name="connsiteX1017" fmla="*/ 2468839 w 3905665"/>
              <a:gd name="connsiteY1017" fmla="*/ 2156375 h 3403632"/>
              <a:gd name="connsiteX1018" fmla="*/ 2452054 w 3905665"/>
              <a:gd name="connsiteY1018" fmla="*/ 2139590 h 3403632"/>
              <a:gd name="connsiteX1019" fmla="*/ 2468839 w 3905665"/>
              <a:gd name="connsiteY1019" fmla="*/ 2122805 h 3403632"/>
              <a:gd name="connsiteX1020" fmla="*/ 1983566 w 3905665"/>
              <a:gd name="connsiteY1020" fmla="*/ 2120584 h 3403632"/>
              <a:gd name="connsiteX1021" fmla="*/ 1988995 w 3905665"/>
              <a:gd name="connsiteY1021" fmla="*/ 2126016 h 3403632"/>
              <a:gd name="connsiteX1022" fmla="*/ 1983566 w 3905665"/>
              <a:gd name="connsiteY1022" fmla="*/ 2131445 h 3403632"/>
              <a:gd name="connsiteX1023" fmla="*/ 1978134 w 3905665"/>
              <a:gd name="connsiteY1023" fmla="*/ 2126016 h 3403632"/>
              <a:gd name="connsiteX1024" fmla="*/ 1983566 w 3905665"/>
              <a:gd name="connsiteY1024" fmla="*/ 2120584 h 3403632"/>
              <a:gd name="connsiteX1025" fmla="*/ 1175447 w 3905665"/>
              <a:gd name="connsiteY1025" fmla="*/ 2115893 h 3403632"/>
              <a:gd name="connsiteX1026" fmla="*/ 1178408 w 3905665"/>
              <a:gd name="connsiteY1026" fmla="*/ 2118855 h 3403632"/>
              <a:gd name="connsiteX1027" fmla="*/ 1175447 w 3905665"/>
              <a:gd name="connsiteY1027" fmla="*/ 2121817 h 3403632"/>
              <a:gd name="connsiteX1028" fmla="*/ 1172484 w 3905665"/>
              <a:gd name="connsiteY1028" fmla="*/ 2118855 h 3403632"/>
              <a:gd name="connsiteX1029" fmla="*/ 1175447 w 3905665"/>
              <a:gd name="connsiteY1029" fmla="*/ 2115893 h 3403632"/>
              <a:gd name="connsiteX1030" fmla="*/ 2649770 w 3905665"/>
              <a:gd name="connsiteY1030" fmla="*/ 2105279 h 3403632"/>
              <a:gd name="connsiteX1031" fmla="*/ 2659149 w 3905665"/>
              <a:gd name="connsiteY1031" fmla="*/ 2114660 h 3403632"/>
              <a:gd name="connsiteX1032" fmla="*/ 2649770 w 3905665"/>
              <a:gd name="connsiteY1032" fmla="*/ 2124038 h 3403632"/>
              <a:gd name="connsiteX1033" fmla="*/ 2640389 w 3905665"/>
              <a:gd name="connsiteY1033" fmla="*/ 2114660 h 3403632"/>
              <a:gd name="connsiteX1034" fmla="*/ 2649770 w 3905665"/>
              <a:gd name="connsiteY1034" fmla="*/ 2105279 h 3403632"/>
              <a:gd name="connsiteX1035" fmla="*/ 2174122 w 3905665"/>
              <a:gd name="connsiteY1035" fmla="*/ 2102071 h 3403632"/>
              <a:gd name="connsiteX1036" fmla="*/ 2183500 w 3905665"/>
              <a:gd name="connsiteY1036" fmla="*/ 2111452 h 3403632"/>
              <a:gd name="connsiteX1037" fmla="*/ 2174122 w 3905665"/>
              <a:gd name="connsiteY1037" fmla="*/ 2120830 h 3403632"/>
              <a:gd name="connsiteX1038" fmla="*/ 2164741 w 3905665"/>
              <a:gd name="connsiteY1038" fmla="*/ 2111452 h 3403632"/>
              <a:gd name="connsiteX1039" fmla="*/ 2174122 w 3905665"/>
              <a:gd name="connsiteY1039" fmla="*/ 2102071 h 3403632"/>
              <a:gd name="connsiteX1040" fmla="*/ 953792 w 3905665"/>
              <a:gd name="connsiteY1040" fmla="*/ 2097629 h 3403632"/>
              <a:gd name="connsiteX1041" fmla="*/ 955026 w 3905665"/>
              <a:gd name="connsiteY1041" fmla="*/ 2098863 h 3403632"/>
              <a:gd name="connsiteX1042" fmla="*/ 953792 w 3905665"/>
              <a:gd name="connsiteY1042" fmla="*/ 2100099 h 3403632"/>
              <a:gd name="connsiteX1043" fmla="*/ 952559 w 3905665"/>
              <a:gd name="connsiteY1043" fmla="*/ 2098863 h 3403632"/>
              <a:gd name="connsiteX1044" fmla="*/ 953792 w 3905665"/>
              <a:gd name="connsiteY1044" fmla="*/ 2097629 h 3403632"/>
              <a:gd name="connsiteX1045" fmla="*/ 624760 w 3905665"/>
              <a:gd name="connsiteY1045" fmla="*/ 2096888 h 3403632"/>
              <a:gd name="connsiteX1046" fmla="*/ 626735 w 3905665"/>
              <a:gd name="connsiteY1046" fmla="*/ 2098863 h 3403632"/>
              <a:gd name="connsiteX1047" fmla="*/ 624760 w 3905665"/>
              <a:gd name="connsiteY1047" fmla="*/ 2100837 h 3403632"/>
              <a:gd name="connsiteX1048" fmla="*/ 622785 w 3905665"/>
              <a:gd name="connsiteY1048" fmla="*/ 2098863 h 3403632"/>
              <a:gd name="connsiteX1049" fmla="*/ 624760 w 3905665"/>
              <a:gd name="connsiteY1049" fmla="*/ 2096888 h 3403632"/>
              <a:gd name="connsiteX1050" fmla="*/ 54817 w 3905665"/>
              <a:gd name="connsiteY1050" fmla="*/ 2091705 h 3403632"/>
              <a:gd name="connsiteX1051" fmla="*/ 57532 w 3905665"/>
              <a:gd name="connsiteY1051" fmla="*/ 2094421 h 3403632"/>
              <a:gd name="connsiteX1052" fmla="*/ 54817 w 3905665"/>
              <a:gd name="connsiteY1052" fmla="*/ 2097134 h 3403632"/>
              <a:gd name="connsiteX1053" fmla="*/ 52101 w 3905665"/>
              <a:gd name="connsiteY1053" fmla="*/ 2094421 h 3403632"/>
              <a:gd name="connsiteX1054" fmla="*/ 54817 w 3905665"/>
              <a:gd name="connsiteY1054" fmla="*/ 2091705 h 3403632"/>
              <a:gd name="connsiteX1055" fmla="*/ 170335 w 3905665"/>
              <a:gd name="connsiteY1055" fmla="*/ 2079857 h 3403632"/>
              <a:gd name="connsiteX1056" fmla="*/ 172556 w 3905665"/>
              <a:gd name="connsiteY1056" fmla="*/ 2082327 h 3403632"/>
              <a:gd name="connsiteX1057" fmla="*/ 170335 w 3905665"/>
              <a:gd name="connsiteY1057" fmla="*/ 2084548 h 3403632"/>
              <a:gd name="connsiteX1058" fmla="*/ 167865 w 3905665"/>
              <a:gd name="connsiteY1058" fmla="*/ 2082327 h 3403632"/>
              <a:gd name="connsiteX1059" fmla="*/ 170335 w 3905665"/>
              <a:gd name="connsiteY1059" fmla="*/ 2079857 h 3403632"/>
              <a:gd name="connsiteX1060" fmla="*/ 2360234 w 3905665"/>
              <a:gd name="connsiteY1060" fmla="*/ 2078374 h 3403632"/>
              <a:gd name="connsiteX1061" fmla="*/ 2374057 w 3905665"/>
              <a:gd name="connsiteY1061" fmla="*/ 2092197 h 3403632"/>
              <a:gd name="connsiteX1062" fmla="*/ 2360234 w 3905665"/>
              <a:gd name="connsiteY1062" fmla="*/ 2106020 h 3403632"/>
              <a:gd name="connsiteX1063" fmla="*/ 2346411 w 3905665"/>
              <a:gd name="connsiteY1063" fmla="*/ 2092197 h 3403632"/>
              <a:gd name="connsiteX1064" fmla="*/ 2360234 w 3905665"/>
              <a:gd name="connsiteY1064" fmla="*/ 2078374 h 3403632"/>
              <a:gd name="connsiteX1065" fmla="*/ 1485231 w 3905665"/>
              <a:gd name="connsiteY1065" fmla="*/ 2070968 h 3403632"/>
              <a:gd name="connsiteX1066" fmla="*/ 1487698 w 3905665"/>
              <a:gd name="connsiteY1066" fmla="*/ 2073438 h 3403632"/>
              <a:gd name="connsiteX1067" fmla="*/ 1485231 w 3905665"/>
              <a:gd name="connsiteY1067" fmla="*/ 2075905 h 3403632"/>
              <a:gd name="connsiteX1068" fmla="*/ 1482761 w 3905665"/>
              <a:gd name="connsiteY1068" fmla="*/ 2073438 h 3403632"/>
              <a:gd name="connsiteX1069" fmla="*/ 1485231 w 3905665"/>
              <a:gd name="connsiteY1069" fmla="*/ 2070968 h 3403632"/>
              <a:gd name="connsiteX1070" fmla="*/ 1685913 w 3905665"/>
              <a:gd name="connsiteY1070" fmla="*/ 2070722 h 3403632"/>
              <a:gd name="connsiteX1071" fmla="*/ 1688628 w 3905665"/>
              <a:gd name="connsiteY1071" fmla="*/ 2073438 h 3403632"/>
              <a:gd name="connsiteX1072" fmla="*/ 1685913 w 3905665"/>
              <a:gd name="connsiteY1072" fmla="*/ 2076154 h 3403632"/>
              <a:gd name="connsiteX1073" fmla="*/ 1683196 w 3905665"/>
              <a:gd name="connsiteY1073" fmla="*/ 2073438 h 3403632"/>
              <a:gd name="connsiteX1074" fmla="*/ 1685913 w 3905665"/>
              <a:gd name="connsiteY1074" fmla="*/ 2070722 h 3403632"/>
              <a:gd name="connsiteX1075" fmla="*/ 2827242 w 3905665"/>
              <a:gd name="connsiteY1075" fmla="*/ 2070476 h 3403632"/>
              <a:gd name="connsiteX1076" fmla="*/ 2842791 w 3905665"/>
              <a:gd name="connsiteY1076" fmla="*/ 2086027 h 3403632"/>
              <a:gd name="connsiteX1077" fmla="*/ 2827242 w 3905665"/>
              <a:gd name="connsiteY1077" fmla="*/ 2101579 h 3403632"/>
              <a:gd name="connsiteX1078" fmla="*/ 2811691 w 3905665"/>
              <a:gd name="connsiteY1078" fmla="*/ 2086027 h 3403632"/>
              <a:gd name="connsiteX1079" fmla="*/ 2827242 w 3905665"/>
              <a:gd name="connsiteY1079" fmla="*/ 2070476 h 3403632"/>
              <a:gd name="connsiteX1080" fmla="*/ 1882639 w 3905665"/>
              <a:gd name="connsiteY1080" fmla="*/ 2064057 h 3403632"/>
              <a:gd name="connsiteX1081" fmla="*/ 1884862 w 3905665"/>
              <a:gd name="connsiteY1081" fmla="*/ 2066278 h 3403632"/>
              <a:gd name="connsiteX1082" fmla="*/ 1882639 w 3905665"/>
              <a:gd name="connsiteY1082" fmla="*/ 2068502 h 3403632"/>
              <a:gd name="connsiteX1083" fmla="*/ 1880419 w 3905665"/>
              <a:gd name="connsiteY1083" fmla="*/ 2066278 h 3403632"/>
              <a:gd name="connsiteX1084" fmla="*/ 1882639 w 3905665"/>
              <a:gd name="connsiteY1084" fmla="*/ 2064057 h 3403632"/>
              <a:gd name="connsiteX1085" fmla="*/ 285111 w 3905665"/>
              <a:gd name="connsiteY1085" fmla="*/ 2063318 h 3403632"/>
              <a:gd name="connsiteX1086" fmla="*/ 287086 w 3905665"/>
              <a:gd name="connsiteY1086" fmla="*/ 2065293 h 3403632"/>
              <a:gd name="connsiteX1087" fmla="*/ 285111 w 3905665"/>
              <a:gd name="connsiteY1087" fmla="*/ 2067267 h 3403632"/>
              <a:gd name="connsiteX1088" fmla="*/ 283137 w 3905665"/>
              <a:gd name="connsiteY1088" fmla="*/ 2065293 h 3403632"/>
              <a:gd name="connsiteX1089" fmla="*/ 285111 w 3905665"/>
              <a:gd name="connsiteY1089" fmla="*/ 2063318 h 3403632"/>
              <a:gd name="connsiteX1090" fmla="*/ 1279119 w 3905665"/>
              <a:gd name="connsiteY1090" fmla="*/ 2063072 h 3403632"/>
              <a:gd name="connsiteX1091" fmla="*/ 1282081 w 3905665"/>
              <a:gd name="connsiteY1091" fmla="*/ 2066034 h 3403632"/>
              <a:gd name="connsiteX1092" fmla="*/ 1279119 w 3905665"/>
              <a:gd name="connsiteY1092" fmla="*/ 2068750 h 3403632"/>
              <a:gd name="connsiteX1093" fmla="*/ 1276403 w 3905665"/>
              <a:gd name="connsiteY1093" fmla="*/ 2066034 h 3403632"/>
              <a:gd name="connsiteX1094" fmla="*/ 1279119 w 3905665"/>
              <a:gd name="connsiteY1094" fmla="*/ 2063072 h 3403632"/>
              <a:gd name="connsiteX1095" fmla="*/ 735587 w 3905665"/>
              <a:gd name="connsiteY1095" fmla="*/ 2062823 h 3403632"/>
              <a:gd name="connsiteX1096" fmla="*/ 737069 w 3905665"/>
              <a:gd name="connsiteY1096" fmla="*/ 2064303 h 3403632"/>
              <a:gd name="connsiteX1097" fmla="*/ 735587 w 3905665"/>
              <a:gd name="connsiteY1097" fmla="*/ 2065785 h 3403632"/>
              <a:gd name="connsiteX1098" fmla="*/ 734109 w 3905665"/>
              <a:gd name="connsiteY1098" fmla="*/ 2064303 h 3403632"/>
              <a:gd name="connsiteX1099" fmla="*/ 735587 w 3905665"/>
              <a:gd name="connsiteY1099" fmla="*/ 2062823 h 3403632"/>
              <a:gd name="connsiteX1100" fmla="*/ 1060176 w 3905665"/>
              <a:gd name="connsiteY1100" fmla="*/ 2051716 h 3403632"/>
              <a:gd name="connsiteX1101" fmla="*/ 1061164 w 3905665"/>
              <a:gd name="connsiteY1101" fmla="*/ 2052704 h 3403632"/>
              <a:gd name="connsiteX1102" fmla="*/ 1060176 w 3905665"/>
              <a:gd name="connsiteY1102" fmla="*/ 2053691 h 3403632"/>
              <a:gd name="connsiteX1103" fmla="*/ 1059189 w 3905665"/>
              <a:gd name="connsiteY1103" fmla="*/ 2052704 h 3403632"/>
              <a:gd name="connsiteX1104" fmla="*/ 1060176 w 3905665"/>
              <a:gd name="connsiteY1104" fmla="*/ 2051716 h 3403632"/>
              <a:gd name="connsiteX1105" fmla="*/ 2074398 w 3905665"/>
              <a:gd name="connsiteY1105" fmla="*/ 2047521 h 3403632"/>
              <a:gd name="connsiteX1106" fmla="*/ 2080322 w 3905665"/>
              <a:gd name="connsiteY1106" fmla="*/ 2053445 h 3403632"/>
              <a:gd name="connsiteX1107" fmla="*/ 2074398 w 3905665"/>
              <a:gd name="connsiteY1107" fmla="*/ 2059369 h 3403632"/>
              <a:gd name="connsiteX1108" fmla="*/ 2068474 w 3905665"/>
              <a:gd name="connsiteY1108" fmla="*/ 2053445 h 3403632"/>
              <a:gd name="connsiteX1109" fmla="*/ 2074398 w 3905665"/>
              <a:gd name="connsiteY1109" fmla="*/ 2047521 h 3403632"/>
              <a:gd name="connsiteX1110" fmla="*/ 399150 w 3905665"/>
              <a:gd name="connsiteY1110" fmla="*/ 2041843 h 3403632"/>
              <a:gd name="connsiteX1111" fmla="*/ 400875 w 3905665"/>
              <a:gd name="connsiteY1111" fmla="*/ 2043571 h 3403632"/>
              <a:gd name="connsiteX1112" fmla="*/ 399150 w 3905665"/>
              <a:gd name="connsiteY1112" fmla="*/ 2045300 h 3403632"/>
              <a:gd name="connsiteX1113" fmla="*/ 397421 w 3905665"/>
              <a:gd name="connsiteY1113" fmla="*/ 2043571 h 3403632"/>
              <a:gd name="connsiteX1114" fmla="*/ 399150 w 3905665"/>
              <a:gd name="connsiteY1114" fmla="*/ 2041843 h 3403632"/>
              <a:gd name="connsiteX1115" fmla="*/ 2552516 w 3905665"/>
              <a:gd name="connsiteY1115" fmla="*/ 2041102 h 3403632"/>
              <a:gd name="connsiteX1116" fmla="*/ 2570288 w 3905665"/>
              <a:gd name="connsiteY1116" fmla="*/ 2058628 h 3403632"/>
              <a:gd name="connsiteX1117" fmla="*/ 2552516 w 3905665"/>
              <a:gd name="connsiteY1117" fmla="*/ 2076400 h 3403632"/>
              <a:gd name="connsiteX1118" fmla="*/ 2534744 w 3905665"/>
              <a:gd name="connsiteY1118" fmla="*/ 2058628 h 3403632"/>
              <a:gd name="connsiteX1119" fmla="*/ 2552516 w 3905665"/>
              <a:gd name="connsiteY1119" fmla="*/ 2041102 h 3403632"/>
              <a:gd name="connsiteX1120" fmla="*/ 2261747 w 3905665"/>
              <a:gd name="connsiteY1120" fmla="*/ 2025058 h 3403632"/>
              <a:gd name="connsiteX1121" fmla="*/ 2271866 w 3905665"/>
              <a:gd name="connsiteY1121" fmla="*/ 2035178 h 3403632"/>
              <a:gd name="connsiteX1122" fmla="*/ 2261747 w 3905665"/>
              <a:gd name="connsiteY1122" fmla="*/ 2045300 h 3403632"/>
              <a:gd name="connsiteX1123" fmla="*/ 2251627 w 3905665"/>
              <a:gd name="connsiteY1123" fmla="*/ 2035178 h 3403632"/>
              <a:gd name="connsiteX1124" fmla="*/ 2261747 w 3905665"/>
              <a:gd name="connsiteY1124" fmla="*/ 2025058 h 3403632"/>
              <a:gd name="connsiteX1125" fmla="*/ 844690 w 3905665"/>
              <a:gd name="connsiteY1125" fmla="*/ 2024317 h 3403632"/>
              <a:gd name="connsiteX1126" fmla="*/ 845678 w 3905665"/>
              <a:gd name="connsiteY1126" fmla="*/ 2025304 h 3403632"/>
              <a:gd name="connsiteX1127" fmla="*/ 844690 w 3905665"/>
              <a:gd name="connsiteY1127" fmla="*/ 2026292 h 3403632"/>
              <a:gd name="connsiteX1128" fmla="*/ 843703 w 3905665"/>
              <a:gd name="connsiteY1128" fmla="*/ 2025304 h 3403632"/>
              <a:gd name="connsiteX1129" fmla="*/ 844690 w 3905665"/>
              <a:gd name="connsiteY1129" fmla="*/ 2024317 h 3403632"/>
              <a:gd name="connsiteX1130" fmla="*/ 2730484 w 3905665"/>
              <a:gd name="connsiteY1130" fmla="*/ 2020368 h 3403632"/>
              <a:gd name="connsiteX1131" fmla="*/ 2740850 w 3905665"/>
              <a:gd name="connsiteY1131" fmla="*/ 2030737 h 3403632"/>
              <a:gd name="connsiteX1132" fmla="*/ 2730484 w 3905665"/>
              <a:gd name="connsiteY1132" fmla="*/ 2041103 h 3403632"/>
              <a:gd name="connsiteX1133" fmla="*/ 2720115 w 3905665"/>
              <a:gd name="connsiteY1133" fmla="*/ 2030737 h 3403632"/>
              <a:gd name="connsiteX1134" fmla="*/ 2730484 w 3905665"/>
              <a:gd name="connsiteY1134" fmla="*/ 2020368 h 3403632"/>
              <a:gd name="connsiteX1135" fmla="*/ 512199 w 3905665"/>
              <a:gd name="connsiteY1135" fmla="*/ 2013705 h 3403632"/>
              <a:gd name="connsiteX1136" fmla="*/ 515654 w 3905665"/>
              <a:gd name="connsiteY1136" fmla="*/ 2017160 h 3403632"/>
              <a:gd name="connsiteX1137" fmla="*/ 512199 w 3905665"/>
              <a:gd name="connsiteY1137" fmla="*/ 2020617 h 3403632"/>
              <a:gd name="connsiteX1138" fmla="*/ 508496 w 3905665"/>
              <a:gd name="connsiteY1138" fmla="*/ 2017160 h 3403632"/>
              <a:gd name="connsiteX1139" fmla="*/ 512199 w 3905665"/>
              <a:gd name="connsiteY1139" fmla="*/ 2013705 h 3403632"/>
              <a:gd name="connsiteX1140" fmla="*/ 1583718 w 3905665"/>
              <a:gd name="connsiteY1140" fmla="*/ 2009015 h 3403632"/>
              <a:gd name="connsiteX1141" fmla="*/ 1585939 w 3905665"/>
              <a:gd name="connsiteY1141" fmla="*/ 2011236 h 3403632"/>
              <a:gd name="connsiteX1142" fmla="*/ 1583718 w 3905665"/>
              <a:gd name="connsiteY1142" fmla="*/ 2013457 h 3403632"/>
              <a:gd name="connsiteX1143" fmla="*/ 1581497 w 3905665"/>
              <a:gd name="connsiteY1143" fmla="*/ 2011236 h 3403632"/>
              <a:gd name="connsiteX1144" fmla="*/ 1583718 w 3905665"/>
              <a:gd name="connsiteY1144" fmla="*/ 2009015 h 3403632"/>
              <a:gd name="connsiteX1145" fmla="*/ 1381064 w 3905665"/>
              <a:gd name="connsiteY1145" fmla="*/ 2006299 h 3403632"/>
              <a:gd name="connsiteX1146" fmla="*/ 1383780 w 3905665"/>
              <a:gd name="connsiteY1146" fmla="*/ 2009015 h 3403632"/>
              <a:gd name="connsiteX1147" fmla="*/ 1381064 w 3905665"/>
              <a:gd name="connsiteY1147" fmla="*/ 2011731 h 3403632"/>
              <a:gd name="connsiteX1148" fmla="*/ 1378349 w 3905665"/>
              <a:gd name="connsiteY1148" fmla="*/ 2009015 h 3403632"/>
              <a:gd name="connsiteX1149" fmla="*/ 1381064 w 3905665"/>
              <a:gd name="connsiteY1149" fmla="*/ 2006299 h 3403632"/>
              <a:gd name="connsiteX1150" fmla="*/ 1780944 w 3905665"/>
              <a:gd name="connsiteY1150" fmla="*/ 2003583 h 3403632"/>
              <a:gd name="connsiteX1151" fmla="*/ 1783905 w 3905665"/>
              <a:gd name="connsiteY1151" fmla="*/ 2006545 h 3403632"/>
              <a:gd name="connsiteX1152" fmla="*/ 1780944 w 3905665"/>
              <a:gd name="connsiteY1152" fmla="*/ 2009507 h 3403632"/>
              <a:gd name="connsiteX1153" fmla="*/ 1777982 w 3905665"/>
              <a:gd name="connsiteY1153" fmla="*/ 2006545 h 3403632"/>
              <a:gd name="connsiteX1154" fmla="*/ 1780944 w 3905665"/>
              <a:gd name="connsiteY1154" fmla="*/ 2003583 h 3403632"/>
              <a:gd name="connsiteX1155" fmla="*/ 1164830 w 3905665"/>
              <a:gd name="connsiteY1155" fmla="*/ 2001857 h 3403632"/>
              <a:gd name="connsiteX1156" fmla="*/ 1165818 w 3905665"/>
              <a:gd name="connsiteY1156" fmla="*/ 2002844 h 3403632"/>
              <a:gd name="connsiteX1157" fmla="*/ 1164830 w 3905665"/>
              <a:gd name="connsiteY1157" fmla="*/ 2003832 h 3403632"/>
              <a:gd name="connsiteX1158" fmla="*/ 1163843 w 3905665"/>
              <a:gd name="connsiteY1158" fmla="*/ 2002844 h 3403632"/>
              <a:gd name="connsiteX1159" fmla="*/ 1164830 w 3905665"/>
              <a:gd name="connsiteY1159" fmla="*/ 2001857 h 3403632"/>
              <a:gd name="connsiteX1160" fmla="*/ 2444650 w 3905665"/>
              <a:gd name="connsiteY1160" fmla="*/ 1998154 h 3403632"/>
              <a:gd name="connsiteX1161" fmla="*/ 2459214 w 3905665"/>
              <a:gd name="connsiteY1161" fmla="*/ 2012718 h 3403632"/>
              <a:gd name="connsiteX1162" fmla="*/ 2444650 w 3905665"/>
              <a:gd name="connsiteY1162" fmla="*/ 2027279 h 3403632"/>
              <a:gd name="connsiteX1163" fmla="*/ 2430086 w 3905665"/>
              <a:gd name="connsiteY1163" fmla="*/ 2012718 h 3403632"/>
              <a:gd name="connsiteX1164" fmla="*/ 2444650 w 3905665"/>
              <a:gd name="connsiteY1164" fmla="*/ 1998154 h 3403632"/>
              <a:gd name="connsiteX1165" fmla="*/ 1974437 w 3905665"/>
              <a:gd name="connsiteY1165" fmla="*/ 1991735 h 3403632"/>
              <a:gd name="connsiteX1166" fmla="*/ 1977401 w 3905665"/>
              <a:gd name="connsiteY1166" fmla="*/ 1994697 h 3403632"/>
              <a:gd name="connsiteX1167" fmla="*/ 1974437 w 3905665"/>
              <a:gd name="connsiteY1167" fmla="*/ 1997659 h 3403632"/>
              <a:gd name="connsiteX1168" fmla="*/ 1971473 w 3905665"/>
              <a:gd name="connsiteY1168" fmla="*/ 1994697 h 3403632"/>
              <a:gd name="connsiteX1169" fmla="*/ 1974437 w 3905665"/>
              <a:gd name="connsiteY1169" fmla="*/ 1991735 h 3403632"/>
              <a:gd name="connsiteX1170" fmla="*/ 2904996 w 3905665"/>
              <a:gd name="connsiteY1170" fmla="*/ 1983095 h 3403632"/>
              <a:gd name="connsiteX1171" fmla="*/ 2921286 w 3905665"/>
              <a:gd name="connsiteY1171" fmla="*/ 1999387 h 3403632"/>
              <a:gd name="connsiteX1172" fmla="*/ 2904996 w 3905665"/>
              <a:gd name="connsiteY1172" fmla="*/ 2015677 h 3403632"/>
              <a:gd name="connsiteX1173" fmla="*/ 2888704 w 3905665"/>
              <a:gd name="connsiteY1173" fmla="*/ 1999387 h 3403632"/>
              <a:gd name="connsiteX1174" fmla="*/ 2904996 w 3905665"/>
              <a:gd name="connsiteY1174" fmla="*/ 1983095 h 3403632"/>
              <a:gd name="connsiteX1175" fmla="*/ 624017 w 3905665"/>
              <a:gd name="connsiteY1175" fmla="*/ 1982603 h 3403632"/>
              <a:gd name="connsiteX1176" fmla="*/ 627225 w 3905665"/>
              <a:gd name="connsiteY1176" fmla="*/ 1985811 h 3403632"/>
              <a:gd name="connsiteX1177" fmla="*/ 624017 w 3905665"/>
              <a:gd name="connsiteY1177" fmla="*/ 1989022 h 3403632"/>
              <a:gd name="connsiteX1178" fmla="*/ 620809 w 3905665"/>
              <a:gd name="connsiteY1178" fmla="*/ 1985811 h 3403632"/>
              <a:gd name="connsiteX1179" fmla="*/ 624017 w 3905665"/>
              <a:gd name="connsiteY1179" fmla="*/ 1982603 h 3403632"/>
              <a:gd name="connsiteX1180" fmla="*/ 54569 w 3905665"/>
              <a:gd name="connsiteY1180" fmla="*/ 1982603 h 3403632"/>
              <a:gd name="connsiteX1181" fmla="*/ 57285 w 3905665"/>
              <a:gd name="connsiteY1181" fmla="*/ 1985319 h 3403632"/>
              <a:gd name="connsiteX1182" fmla="*/ 54569 w 3905665"/>
              <a:gd name="connsiteY1182" fmla="*/ 1988035 h 3403632"/>
              <a:gd name="connsiteX1183" fmla="*/ 51853 w 3905665"/>
              <a:gd name="connsiteY1183" fmla="*/ 1985319 h 3403632"/>
              <a:gd name="connsiteX1184" fmla="*/ 54569 w 3905665"/>
              <a:gd name="connsiteY1184" fmla="*/ 1982603 h 3403632"/>
              <a:gd name="connsiteX1185" fmla="*/ 952310 w 3905665"/>
              <a:gd name="connsiteY1185" fmla="*/ 1981123 h 3403632"/>
              <a:gd name="connsiteX1186" fmla="*/ 953049 w 3905665"/>
              <a:gd name="connsiteY1186" fmla="*/ 1981864 h 3403632"/>
              <a:gd name="connsiteX1187" fmla="*/ 952310 w 3905665"/>
              <a:gd name="connsiteY1187" fmla="*/ 1982603 h 3403632"/>
              <a:gd name="connsiteX1188" fmla="*/ 951569 w 3905665"/>
              <a:gd name="connsiteY1188" fmla="*/ 1981864 h 3403632"/>
              <a:gd name="connsiteX1189" fmla="*/ 952310 w 3905665"/>
              <a:gd name="connsiteY1189" fmla="*/ 1981123 h 3403632"/>
              <a:gd name="connsiteX1190" fmla="*/ 2162766 w 3905665"/>
              <a:gd name="connsiteY1190" fmla="*/ 1971742 h 3403632"/>
              <a:gd name="connsiteX1191" fmla="*/ 2169182 w 3905665"/>
              <a:gd name="connsiteY1191" fmla="*/ 1978161 h 3403632"/>
              <a:gd name="connsiteX1192" fmla="*/ 2162766 w 3905665"/>
              <a:gd name="connsiteY1192" fmla="*/ 1984332 h 3403632"/>
              <a:gd name="connsiteX1193" fmla="*/ 2156347 w 3905665"/>
              <a:gd name="connsiteY1193" fmla="*/ 1978161 h 3403632"/>
              <a:gd name="connsiteX1194" fmla="*/ 2162766 w 3905665"/>
              <a:gd name="connsiteY1194" fmla="*/ 1971742 h 3403632"/>
              <a:gd name="connsiteX1195" fmla="*/ 170333 w 3905665"/>
              <a:gd name="connsiteY1195" fmla="*/ 1970508 h 3403632"/>
              <a:gd name="connsiteX1196" fmla="*/ 172554 w 3905665"/>
              <a:gd name="connsiteY1196" fmla="*/ 1972729 h 3403632"/>
              <a:gd name="connsiteX1197" fmla="*/ 170333 w 3905665"/>
              <a:gd name="connsiteY1197" fmla="*/ 1975199 h 3403632"/>
              <a:gd name="connsiteX1198" fmla="*/ 167864 w 3905665"/>
              <a:gd name="connsiteY1198" fmla="*/ 1972729 h 3403632"/>
              <a:gd name="connsiteX1199" fmla="*/ 170333 w 3905665"/>
              <a:gd name="connsiteY1199" fmla="*/ 1970508 h 3403632"/>
              <a:gd name="connsiteX1200" fmla="*/ 2633973 w 3905665"/>
              <a:gd name="connsiteY1200" fmla="*/ 1956932 h 3403632"/>
              <a:gd name="connsiteX1201" fmla="*/ 2652487 w 3905665"/>
              <a:gd name="connsiteY1201" fmla="*/ 1975445 h 3403632"/>
              <a:gd name="connsiteX1202" fmla="*/ 2633973 w 3905665"/>
              <a:gd name="connsiteY1202" fmla="*/ 1993959 h 3403632"/>
              <a:gd name="connsiteX1203" fmla="*/ 2615460 w 3905665"/>
              <a:gd name="connsiteY1203" fmla="*/ 1975445 h 3403632"/>
              <a:gd name="connsiteX1204" fmla="*/ 2633973 w 3905665"/>
              <a:gd name="connsiteY1204" fmla="*/ 1956932 h 3403632"/>
              <a:gd name="connsiteX1205" fmla="*/ 285110 w 3905665"/>
              <a:gd name="connsiteY1205" fmla="*/ 1953229 h 3403632"/>
              <a:gd name="connsiteX1206" fmla="*/ 287084 w 3905665"/>
              <a:gd name="connsiteY1206" fmla="*/ 1955204 h 3403632"/>
              <a:gd name="connsiteX1207" fmla="*/ 285110 w 3905665"/>
              <a:gd name="connsiteY1207" fmla="*/ 1957178 h 3403632"/>
              <a:gd name="connsiteX1208" fmla="*/ 283135 w 3905665"/>
              <a:gd name="connsiteY1208" fmla="*/ 1955204 h 3403632"/>
              <a:gd name="connsiteX1209" fmla="*/ 285110 w 3905665"/>
              <a:gd name="connsiteY1209" fmla="*/ 1953229 h 3403632"/>
              <a:gd name="connsiteX1210" fmla="*/ 1267269 w 3905665"/>
              <a:gd name="connsiteY1210" fmla="*/ 1947800 h 3403632"/>
              <a:gd name="connsiteX1211" fmla="*/ 1268256 w 3905665"/>
              <a:gd name="connsiteY1211" fmla="*/ 1948788 h 3403632"/>
              <a:gd name="connsiteX1212" fmla="*/ 1267269 w 3905665"/>
              <a:gd name="connsiteY1212" fmla="*/ 1949775 h 3403632"/>
              <a:gd name="connsiteX1213" fmla="*/ 1266281 w 3905665"/>
              <a:gd name="connsiteY1213" fmla="*/ 1948788 h 3403632"/>
              <a:gd name="connsiteX1214" fmla="*/ 1267269 w 3905665"/>
              <a:gd name="connsiteY1214" fmla="*/ 1947800 h 3403632"/>
              <a:gd name="connsiteX1215" fmla="*/ 734352 w 3905665"/>
              <a:gd name="connsiteY1215" fmla="*/ 1946812 h 3403632"/>
              <a:gd name="connsiteX1216" fmla="*/ 737314 w 3905665"/>
              <a:gd name="connsiteY1216" fmla="*/ 1949774 h 3403632"/>
              <a:gd name="connsiteX1217" fmla="*/ 734352 w 3905665"/>
              <a:gd name="connsiteY1217" fmla="*/ 1952736 h 3403632"/>
              <a:gd name="connsiteX1218" fmla="*/ 731390 w 3905665"/>
              <a:gd name="connsiteY1218" fmla="*/ 1949774 h 3403632"/>
              <a:gd name="connsiteX1219" fmla="*/ 734352 w 3905665"/>
              <a:gd name="connsiteY1219" fmla="*/ 1946812 h 3403632"/>
              <a:gd name="connsiteX1220" fmla="*/ 1480539 w 3905665"/>
              <a:gd name="connsiteY1220" fmla="*/ 1946317 h 3403632"/>
              <a:gd name="connsiteX1221" fmla="*/ 1483006 w 3905665"/>
              <a:gd name="connsiteY1221" fmla="*/ 1948787 h 3403632"/>
              <a:gd name="connsiteX1222" fmla="*/ 1480539 w 3905665"/>
              <a:gd name="connsiteY1222" fmla="*/ 1951254 h 3403632"/>
              <a:gd name="connsiteX1223" fmla="*/ 1478069 w 3905665"/>
              <a:gd name="connsiteY1223" fmla="*/ 1948787 h 3403632"/>
              <a:gd name="connsiteX1224" fmla="*/ 1480539 w 3905665"/>
              <a:gd name="connsiteY1224" fmla="*/ 1946317 h 3403632"/>
              <a:gd name="connsiteX1225" fmla="*/ 2346658 w 3905665"/>
              <a:gd name="connsiteY1225" fmla="*/ 1945579 h 3403632"/>
              <a:gd name="connsiteX1226" fmla="*/ 2357519 w 3905665"/>
              <a:gd name="connsiteY1226" fmla="*/ 1956440 h 3403632"/>
              <a:gd name="connsiteX1227" fmla="*/ 2346658 w 3905665"/>
              <a:gd name="connsiteY1227" fmla="*/ 1967300 h 3403632"/>
              <a:gd name="connsiteX1228" fmla="*/ 2335797 w 3905665"/>
              <a:gd name="connsiteY1228" fmla="*/ 1956440 h 3403632"/>
              <a:gd name="connsiteX1229" fmla="*/ 2346658 w 3905665"/>
              <a:gd name="connsiteY1229" fmla="*/ 1945579 h 3403632"/>
              <a:gd name="connsiteX1230" fmla="*/ 1679740 w 3905665"/>
              <a:gd name="connsiteY1230" fmla="*/ 1943604 h 3403632"/>
              <a:gd name="connsiteX1231" fmla="*/ 1681715 w 3905665"/>
              <a:gd name="connsiteY1231" fmla="*/ 1945579 h 3403632"/>
              <a:gd name="connsiteX1232" fmla="*/ 1679740 w 3905665"/>
              <a:gd name="connsiteY1232" fmla="*/ 1947554 h 3403632"/>
              <a:gd name="connsiteX1233" fmla="*/ 1677766 w 3905665"/>
              <a:gd name="connsiteY1233" fmla="*/ 1945579 h 3403632"/>
              <a:gd name="connsiteX1234" fmla="*/ 1679740 w 3905665"/>
              <a:gd name="connsiteY1234" fmla="*/ 1943604 h 3403632"/>
              <a:gd name="connsiteX1235" fmla="*/ 2808729 w 3905665"/>
              <a:gd name="connsiteY1235" fmla="*/ 1933728 h 3403632"/>
              <a:gd name="connsiteX1236" fmla="*/ 2819836 w 3905665"/>
              <a:gd name="connsiteY1236" fmla="*/ 1944835 h 3403632"/>
              <a:gd name="connsiteX1237" fmla="*/ 2808729 w 3905665"/>
              <a:gd name="connsiteY1237" fmla="*/ 1955945 h 3403632"/>
              <a:gd name="connsiteX1238" fmla="*/ 2797622 w 3905665"/>
              <a:gd name="connsiteY1238" fmla="*/ 1944835 h 3403632"/>
              <a:gd name="connsiteX1239" fmla="*/ 2808729 w 3905665"/>
              <a:gd name="connsiteY1239" fmla="*/ 1933728 h 3403632"/>
              <a:gd name="connsiteX1240" fmla="*/ 1058203 w 3905665"/>
              <a:gd name="connsiteY1240" fmla="*/ 1933482 h 3403632"/>
              <a:gd name="connsiteX1241" fmla="*/ 1058941 w 3905665"/>
              <a:gd name="connsiteY1241" fmla="*/ 1934223 h 3403632"/>
              <a:gd name="connsiteX1242" fmla="*/ 1058203 w 3905665"/>
              <a:gd name="connsiteY1242" fmla="*/ 1934962 h 3403632"/>
              <a:gd name="connsiteX1243" fmla="*/ 1057461 w 3905665"/>
              <a:gd name="connsiteY1243" fmla="*/ 1934223 h 3403632"/>
              <a:gd name="connsiteX1244" fmla="*/ 1058203 w 3905665"/>
              <a:gd name="connsiteY1244" fmla="*/ 1933482 h 3403632"/>
              <a:gd name="connsiteX1245" fmla="*/ 1873751 w 3905665"/>
              <a:gd name="connsiteY1245" fmla="*/ 1932743 h 3403632"/>
              <a:gd name="connsiteX1246" fmla="*/ 1877208 w 3905665"/>
              <a:gd name="connsiteY1246" fmla="*/ 1936198 h 3403632"/>
              <a:gd name="connsiteX1247" fmla="*/ 1873751 w 3905665"/>
              <a:gd name="connsiteY1247" fmla="*/ 1939655 h 3403632"/>
              <a:gd name="connsiteX1248" fmla="*/ 1870294 w 3905665"/>
              <a:gd name="connsiteY1248" fmla="*/ 1936198 h 3403632"/>
              <a:gd name="connsiteX1249" fmla="*/ 1873751 w 3905665"/>
              <a:gd name="connsiteY1249" fmla="*/ 1932743 h 3403632"/>
              <a:gd name="connsiteX1250" fmla="*/ 399148 w 3905665"/>
              <a:gd name="connsiteY1250" fmla="*/ 1930766 h 3403632"/>
              <a:gd name="connsiteX1251" fmla="*/ 400874 w 3905665"/>
              <a:gd name="connsiteY1251" fmla="*/ 1932494 h 3403632"/>
              <a:gd name="connsiteX1252" fmla="*/ 399148 w 3905665"/>
              <a:gd name="connsiteY1252" fmla="*/ 1934223 h 3403632"/>
              <a:gd name="connsiteX1253" fmla="*/ 397420 w 3905665"/>
              <a:gd name="connsiteY1253" fmla="*/ 1932494 h 3403632"/>
              <a:gd name="connsiteX1254" fmla="*/ 399148 w 3905665"/>
              <a:gd name="connsiteY1254" fmla="*/ 1930766 h 3403632"/>
              <a:gd name="connsiteX1255" fmla="*/ 2063784 w 3905665"/>
              <a:gd name="connsiteY1255" fmla="*/ 1917192 h 3403632"/>
              <a:gd name="connsiteX1256" fmla="*/ 2067241 w 3905665"/>
              <a:gd name="connsiteY1256" fmla="*/ 1920647 h 3403632"/>
              <a:gd name="connsiteX1257" fmla="*/ 2063784 w 3905665"/>
              <a:gd name="connsiteY1257" fmla="*/ 1924104 h 3403632"/>
              <a:gd name="connsiteX1258" fmla="*/ 2060329 w 3905665"/>
              <a:gd name="connsiteY1258" fmla="*/ 1920647 h 3403632"/>
              <a:gd name="connsiteX1259" fmla="*/ 2063784 w 3905665"/>
              <a:gd name="connsiteY1259" fmla="*/ 1917192 h 3403632"/>
              <a:gd name="connsiteX1260" fmla="*/ 2526597 w 3905665"/>
              <a:gd name="connsiteY1260" fmla="*/ 1915217 h 3403632"/>
              <a:gd name="connsiteX1261" fmla="*/ 2541902 w 3905665"/>
              <a:gd name="connsiteY1261" fmla="*/ 1930519 h 3403632"/>
              <a:gd name="connsiteX1262" fmla="*/ 2526597 w 3905665"/>
              <a:gd name="connsiteY1262" fmla="*/ 1945824 h 3403632"/>
              <a:gd name="connsiteX1263" fmla="*/ 2511294 w 3905665"/>
              <a:gd name="connsiteY1263" fmla="*/ 1930519 h 3403632"/>
              <a:gd name="connsiteX1264" fmla="*/ 2526597 w 3905665"/>
              <a:gd name="connsiteY1264" fmla="*/ 1915217 h 3403632"/>
              <a:gd name="connsiteX1265" fmla="*/ 843209 w 3905665"/>
              <a:gd name="connsiteY1265" fmla="*/ 1907073 h 3403632"/>
              <a:gd name="connsiteX1266" fmla="*/ 845676 w 3905665"/>
              <a:gd name="connsiteY1266" fmla="*/ 1909543 h 3403632"/>
              <a:gd name="connsiteX1267" fmla="*/ 843209 w 3905665"/>
              <a:gd name="connsiteY1267" fmla="*/ 1912010 h 3403632"/>
              <a:gd name="connsiteX1268" fmla="*/ 840493 w 3905665"/>
              <a:gd name="connsiteY1268" fmla="*/ 1909543 h 3403632"/>
              <a:gd name="connsiteX1269" fmla="*/ 843209 w 3905665"/>
              <a:gd name="connsiteY1269" fmla="*/ 1907073 h 3403632"/>
              <a:gd name="connsiteX1270" fmla="*/ 511949 w 3905665"/>
              <a:gd name="connsiteY1270" fmla="*/ 1901395 h 3403632"/>
              <a:gd name="connsiteX1271" fmla="*/ 515406 w 3905665"/>
              <a:gd name="connsiteY1271" fmla="*/ 1904852 h 3403632"/>
              <a:gd name="connsiteX1272" fmla="*/ 511949 w 3905665"/>
              <a:gd name="connsiteY1272" fmla="*/ 1908307 h 3403632"/>
              <a:gd name="connsiteX1273" fmla="*/ 508494 w 3905665"/>
              <a:gd name="connsiteY1273" fmla="*/ 1904852 h 3403632"/>
              <a:gd name="connsiteX1274" fmla="*/ 511949 w 3905665"/>
              <a:gd name="connsiteY1274" fmla="*/ 1901395 h 3403632"/>
              <a:gd name="connsiteX1275" fmla="*/ 2980280 w 3905665"/>
              <a:gd name="connsiteY1275" fmla="*/ 1893742 h 3403632"/>
              <a:gd name="connsiteX1276" fmla="*/ 2997314 w 3905665"/>
              <a:gd name="connsiteY1276" fmla="*/ 1910773 h 3403632"/>
              <a:gd name="connsiteX1277" fmla="*/ 2980280 w 3905665"/>
              <a:gd name="connsiteY1277" fmla="*/ 1927807 h 3403632"/>
              <a:gd name="connsiteX1278" fmla="*/ 2963249 w 3905665"/>
              <a:gd name="connsiteY1278" fmla="*/ 1910773 h 3403632"/>
              <a:gd name="connsiteX1279" fmla="*/ 2980280 w 3905665"/>
              <a:gd name="connsiteY1279" fmla="*/ 1893742 h 3403632"/>
              <a:gd name="connsiteX1280" fmla="*/ 2248665 w 3905665"/>
              <a:gd name="connsiteY1280" fmla="*/ 1893250 h 3403632"/>
              <a:gd name="connsiteX1281" fmla="*/ 2255576 w 3905665"/>
              <a:gd name="connsiteY1281" fmla="*/ 1899915 h 3403632"/>
              <a:gd name="connsiteX1282" fmla="*/ 2248665 w 3905665"/>
              <a:gd name="connsiteY1282" fmla="*/ 1906581 h 3403632"/>
              <a:gd name="connsiteX1283" fmla="*/ 2241753 w 3905665"/>
              <a:gd name="connsiteY1283" fmla="*/ 1899915 h 3403632"/>
              <a:gd name="connsiteX1284" fmla="*/ 2248665 w 3905665"/>
              <a:gd name="connsiteY1284" fmla="*/ 1893250 h 3403632"/>
              <a:gd name="connsiteX1285" fmla="*/ 1367732 w 3905665"/>
              <a:gd name="connsiteY1285" fmla="*/ 1890039 h 3403632"/>
              <a:gd name="connsiteX1286" fmla="*/ 1368720 w 3905665"/>
              <a:gd name="connsiteY1286" fmla="*/ 1891026 h 3403632"/>
              <a:gd name="connsiteX1287" fmla="*/ 1367732 w 3905665"/>
              <a:gd name="connsiteY1287" fmla="*/ 1892014 h 3403632"/>
              <a:gd name="connsiteX1288" fmla="*/ 1366745 w 3905665"/>
              <a:gd name="connsiteY1288" fmla="*/ 1891026 h 3403632"/>
              <a:gd name="connsiteX1289" fmla="*/ 1367732 w 3905665"/>
              <a:gd name="connsiteY1289" fmla="*/ 1890039 h 3403632"/>
              <a:gd name="connsiteX1290" fmla="*/ 1577792 w 3905665"/>
              <a:gd name="connsiteY1290" fmla="*/ 1882389 h 3403632"/>
              <a:gd name="connsiteX1291" fmla="*/ 1580016 w 3905665"/>
              <a:gd name="connsiteY1291" fmla="*/ 1884610 h 3403632"/>
              <a:gd name="connsiteX1292" fmla="*/ 1577792 w 3905665"/>
              <a:gd name="connsiteY1292" fmla="*/ 1886831 h 3403632"/>
              <a:gd name="connsiteX1293" fmla="*/ 1575571 w 3905665"/>
              <a:gd name="connsiteY1293" fmla="*/ 1884610 h 3403632"/>
              <a:gd name="connsiteX1294" fmla="*/ 1577792 w 3905665"/>
              <a:gd name="connsiteY1294" fmla="*/ 1882389 h 3403632"/>
              <a:gd name="connsiteX1295" fmla="*/ 1161869 w 3905665"/>
              <a:gd name="connsiteY1295" fmla="*/ 1881894 h 3403632"/>
              <a:gd name="connsiteX1296" fmla="*/ 1162361 w 3905665"/>
              <a:gd name="connsiteY1296" fmla="*/ 1882387 h 3403632"/>
              <a:gd name="connsiteX1297" fmla="*/ 1161869 w 3905665"/>
              <a:gd name="connsiteY1297" fmla="*/ 1882882 h 3403632"/>
              <a:gd name="connsiteX1298" fmla="*/ 1161374 w 3905665"/>
              <a:gd name="connsiteY1298" fmla="*/ 1882387 h 3403632"/>
              <a:gd name="connsiteX1299" fmla="*/ 1161869 w 3905665"/>
              <a:gd name="connsiteY1299" fmla="*/ 1881894 h 3403632"/>
              <a:gd name="connsiteX1300" fmla="*/ 1773533 w 3905665"/>
              <a:gd name="connsiteY1300" fmla="*/ 1874983 h 3403632"/>
              <a:gd name="connsiteX1301" fmla="*/ 1775260 w 3905665"/>
              <a:gd name="connsiteY1301" fmla="*/ 1876711 h 3403632"/>
              <a:gd name="connsiteX1302" fmla="*/ 1773533 w 3905665"/>
              <a:gd name="connsiteY1302" fmla="*/ 1878440 h 3403632"/>
              <a:gd name="connsiteX1303" fmla="*/ 1771807 w 3905665"/>
              <a:gd name="connsiteY1303" fmla="*/ 1876711 h 3403632"/>
              <a:gd name="connsiteX1304" fmla="*/ 1773533 w 3905665"/>
              <a:gd name="connsiteY1304" fmla="*/ 1874983 h 3403632"/>
              <a:gd name="connsiteX1305" fmla="*/ 56293 w 3905665"/>
              <a:gd name="connsiteY1305" fmla="*/ 1873500 h 3403632"/>
              <a:gd name="connsiteX1306" fmla="*/ 59255 w 3905665"/>
              <a:gd name="connsiteY1306" fmla="*/ 1876462 h 3403632"/>
              <a:gd name="connsiteX1307" fmla="*/ 56293 w 3905665"/>
              <a:gd name="connsiteY1307" fmla="*/ 1879424 h 3403632"/>
              <a:gd name="connsiteX1308" fmla="*/ 53331 w 3905665"/>
              <a:gd name="connsiteY1308" fmla="*/ 1876462 h 3403632"/>
              <a:gd name="connsiteX1309" fmla="*/ 56293 w 3905665"/>
              <a:gd name="connsiteY1309" fmla="*/ 1873500 h 3403632"/>
              <a:gd name="connsiteX1310" fmla="*/ 2712712 w 3905665"/>
              <a:gd name="connsiteY1310" fmla="*/ 1870046 h 3403632"/>
              <a:gd name="connsiteX1311" fmla="*/ 2732213 w 3905665"/>
              <a:gd name="connsiteY1311" fmla="*/ 1889547 h 3403632"/>
              <a:gd name="connsiteX1312" fmla="*/ 2712712 w 3905665"/>
              <a:gd name="connsiteY1312" fmla="*/ 1909045 h 3403632"/>
              <a:gd name="connsiteX1313" fmla="*/ 2693211 w 3905665"/>
              <a:gd name="connsiteY1313" fmla="*/ 1889547 h 3403632"/>
              <a:gd name="connsiteX1314" fmla="*/ 2712712 w 3905665"/>
              <a:gd name="connsiteY1314" fmla="*/ 1870046 h 3403632"/>
              <a:gd name="connsiteX1315" fmla="*/ 623523 w 3905665"/>
              <a:gd name="connsiteY1315" fmla="*/ 1869059 h 3403632"/>
              <a:gd name="connsiteX1316" fmla="*/ 626731 w 3905665"/>
              <a:gd name="connsiteY1316" fmla="*/ 1872267 h 3403632"/>
              <a:gd name="connsiteX1317" fmla="*/ 623523 w 3905665"/>
              <a:gd name="connsiteY1317" fmla="*/ 1875478 h 3403632"/>
              <a:gd name="connsiteX1318" fmla="*/ 620315 w 3905665"/>
              <a:gd name="connsiteY1318" fmla="*/ 1872267 h 3403632"/>
              <a:gd name="connsiteX1319" fmla="*/ 623523 w 3905665"/>
              <a:gd name="connsiteY1319" fmla="*/ 1869059 h 3403632"/>
              <a:gd name="connsiteX1320" fmla="*/ 2429345 w 3905665"/>
              <a:gd name="connsiteY1320" fmla="*/ 1863135 h 3403632"/>
              <a:gd name="connsiteX1321" fmla="*/ 2440947 w 3905665"/>
              <a:gd name="connsiteY1321" fmla="*/ 1874737 h 3403632"/>
              <a:gd name="connsiteX1322" fmla="*/ 2429345 w 3905665"/>
              <a:gd name="connsiteY1322" fmla="*/ 1886339 h 3403632"/>
              <a:gd name="connsiteX1323" fmla="*/ 2417743 w 3905665"/>
              <a:gd name="connsiteY1323" fmla="*/ 1874737 h 3403632"/>
              <a:gd name="connsiteX1324" fmla="*/ 2429345 w 3905665"/>
              <a:gd name="connsiteY1324" fmla="*/ 1863135 h 3403632"/>
              <a:gd name="connsiteX1325" fmla="*/ 950334 w 3905665"/>
              <a:gd name="connsiteY1325" fmla="*/ 1862147 h 3403632"/>
              <a:gd name="connsiteX1326" fmla="*/ 952558 w 3905665"/>
              <a:gd name="connsiteY1326" fmla="*/ 1864368 h 3403632"/>
              <a:gd name="connsiteX1327" fmla="*/ 950334 w 3905665"/>
              <a:gd name="connsiteY1327" fmla="*/ 1866589 h 3403632"/>
              <a:gd name="connsiteX1328" fmla="*/ 948113 w 3905665"/>
              <a:gd name="connsiteY1328" fmla="*/ 1864368 h 3403632"/>
              <a:gd name="connsiteX1329" fmla="*/ 950334 w 3905665"/>
              <a:gd name="connsiteY1329" fmla="*/ 1862147 h 3403632"/>
              <a:gd name="connsiteX1330" fmla="*/ 1963828 w 3905665"/>
              <a:gd name="connsiteY1330" fmla="*/ 1861406 h 3403632"/>
              <a:gd name="connsiteX1331" fmla="*/ 1965306 w 3905665"/>
              <a:gd name="connsiteY1331" fmla="*/ 1862886 h 3403632"/>
              <a:gd name="connsiteX1332" fmla="*/ 1963828 w 3905665"/>
              <a:gd name="connsiteY1332" fmla="*/ 1864614 h 3403632"/>
              <a:gd name="connsiteX1333" fmla="*/ 1962102 w 3905665"/>
              <a:gd name="connsiteY1333" fmla="*/ 1862886 h 3403632"/>
              <a:gd name="connsiteX1334" fmla="*/ 1963828 w 3905665"/>
              <a:gd name="connsiteY1334" fmla="*/ 1861406 h 3403632"/>
              <a:gd name="connsiteX1335" fmla="*/ 171814 w 3905665"/>
              <a:gd name="connsiteY1335" fmla="*/ 1859927 h 3403632"/>
              <a:gd name="connsiteX1336" fmla="*/ 174776 w 3905665"/>
              <a:gd name="connsiteY1336" fmla="*/ 1862889 h 3403632"/>
              <a:gd name="connsiteX1337" fmla="*/ 171814 w 3905665"/>
              <a:gd name="connsiteY1337" fmla="*/ 1865851 h 3403632"/>
              <a:gd name="connsiteX1338" fmla="*/ 168852 w 3905665"/>
              <a:gd name="connsiteY1338" fmla="*/ 1862889 h 3403632"/>
              <a:gd name="connsiteX1339" fmla="*/ 171814 w 3905665"/>
              <a:gd name="connsiteY1339" fmla="*/ 1859927 h 3403632"/>
              <a:gd name="connsiteX1340" fmla="*/ 2884508 w 3905665"/>
              <a:gd name="connsiteY1340" fmla="*/ 1844129 h 3403632"/>
              <a:gd name="connsiteX1341" fmla="*/ 2896605 w 3905665"/>
              <a:gd name="connsiteY1341" fmla="*/ 1856223 h 3403632"/>
              <a:gd name="connsiteX1342" fmla="*/ 2884508 w 3905665"/>
              <a:gd name="connsiteY1342" fmla="*/ 1868320 h 3403632"/>
              <a:gd name="connsiteX1343" fmla="*/ 2872414 w 3905665"/>
              <a:gd name="connsiteY1343" fmla="*/ 1856223 h 3403632"/>
              <a:gd name="connsiteX1344" fmla="*/ 2884508 w 3905665"/>
              <a:gd name="connsiteY1344" fmla="*/ 1844129 h 3403632"/>
              <a:gd name="connsiteX1345" fmla="*/ 286591 w 3905665"/>
              <a:gd name="connsiteY1345" fmla="*/ 1841906 h 3403632"/>
              <a:gd name="connsiteX1346" fmla="*/ 289307 w 3905665"/>
              <a:gd name="connsiteY1346" fmla="*/ 1844622 h 3403632"/>
              <a:gd name="connsiteX1347" fmla="*/ 286591 w 3905665"/>
              <a:gd name="connsiteY1347" fmla="*/ 1847338 h 3403632"/>
              <a:gd name="connsiteX1348" fmla="*/ 283876 w 3905665"/>
              <a:gd name="connsiteY1348" fmla="*/ 1844622 h 3403632"/>
              <a:gd name="connsiteX1349" fmla="*/ 286591 w 3905665"/>
              <a:gd name="connsiteY1349" fmla="*/ 1841906 h 3403632"/>
              <a:gd name="connsiteX1350" fmla="*/ 2150424 w 3905665"/>
              <a:gd name="connsiteY1350" fmla="*/ 1838944 h 3403632"/>
              <a:gd name="connsiteX1351" fmla="*/ 2154619 w 3905665"/>
              <a:gd name="connsiteY1351" fmla="*/ 1843140 h 3403632"/>
              <a:gd name="connsiteX1352" fmla="*/ 2150424 w 3905665"/>
              <a:gd name="connsiteY1352" fmla="*/ 1847335 h 3403632"/>
              <a:gd name="connsiteX1353" fmla="*/ 2146228 w 3905665"/>
              <a:gd name="connsiteY1353" fmla="*/ 1843140 h 3403632"/>
              <a:gd name="connsiteX1354" fmla="*/ 2150424 w 3905665"/>
              <a:gd name="connsiteY1354" fmla="*/ 1838944 h 3403632"/>
              <a:gd name="connsiteX1355" fmla="*/ 733609 w 3905665"/>
              <a:gd name="connsiteY1355" fmla="*/ 1832032 h 3403632"/>
              <a:gd name="connsiteX1356" fmla="*/ 736572 w 3905665"/>
              <a:gd name="connsiteY1356" fmla="*/ 1834748 h 3403632"/>
              <a:gd name="connsiteX1357" fmla="*/ 733609 w 3905665"/>
              <a:gd name="connsiteY1357" fmla="*/ 1837710 h 3403632"/>
              <a:gd name="connsiteX1358" fmla="*/ 730647 w 3905665"/>
              <a:gd name="connsiteY1358" fmla="*/ 1834748 h 3403632"/>
              <a:gd name="connsiteX1359" fmla="*/ 733609 w 3905665"/>
              <a:gd name="connsiteY1359" fmla="*/ 1832032 h 3403632"/>
              <a:gd name="connsiteX1360" fmla="*/ 2605830 w 3905665"/>
              <a:gd name="connsiteY1360" fmla="*/ 1829565 h 3403632"/>
              <a:gd name="connsiteX1361" fmla="*/ 2621876 w 3905665"/>
              <a:gd name="connsiteY1361" fmla="*/ 1845857 h 3403632"/>
              <a:gd name="connsiteX1362" fmla="*/ 2605830 w 3905665"/>
              <a:gd name="connsiteY1362" fmla="*/ 1862147 h 3403632"/>
              <a:gd name="connsiteX1363" fmla="*/ 2589540 w 3905665"/>
              <a:gd name="connsiteY1363" fmla="*/ 1845857 h 3403632"/>
              <a:gd name="connsiteX1364" fmla="*/ 2605830 w 3905665"/>
              <a:gd name="connsiteY1364" fmla="*/ 1829565 h 3403632"/>
              <a:gd name="connsiteX1365" fmla="*/ 1465727 w 3905665"/>
              <a:gd name="connsiteY1365" fmla="*/ 1827837 h 3403632"/>
              <a:gd name="connsiteX1366" fmla="*/ 1466963 w 3905665"/>
              <a:gd name="connsiteY1366" fmla="*/ 1829071 h 3403632"/>
              <a:gd name="connsiteX1367" fmla="*/ 1465727 w 3905665"/>
              <a:gd name="connsiteY1367" fmla="*/ 1830304 h 3403632"/>
              <a:gd name="connsiteX1368" fmla="*/ 1464493 w 3905665"/>
              <a:gd name="connsiteY1368" fmla="*/ 1829071 h 3403632"/>
              <a:gd name="connsiteX1369" fmla="*/ 1465727 w 3905665"/>
              <a:gd name="connsiteY1369" fmla="*/ 1827837 h 3403632"/>
              <a:gd name="connsiteX1370" fmla="*/ 1263318 w 3905665"/>
              <a:gd name="connsiteY1370" fmla="*/ 1825862 h 3403632"/>
              <a:gd name="connsiteX1371" fmla="*/ 1263810 w 3905665"/>
              <a:gd name="connsiteY1371" fmla="*/ 1826357 h 3403632"/>
              <a:gd name="connsiteX1372" fmla="*/ 1263318 w 3905665"/>
              <a:gd name="connsiteY1372" fmla="*/ 1826849 h 3403632"/>
              <a:gd name="connsiteX1373" fmla="*/ 1262823 w 3905665"/>
              <a:gd name="connsiteY1373" fmla="*/ 1826357 h 3403632"/>
              <a:gd name="connsiteX1374" fmla="*/ 1263318 w 3905665"/>
              <a:gd name="connsiteY1374" fmla="*/ 1825862 h 3403632"/>
              <a:gd name="connsiteX1375" fmla="*/ 400380 w 3905665"/>
              <a:gd name="connsiteY1375" fmla="*/ 1818458 h 3403632"/>
              <a:gd name="connsiteX1376" fmla="*/ 402850 w 3905665"/>
              <a:gd name="connsiteY1376" fmla="*/ 1820928 h 3403632"/>
              <a:gd name="connsiteX1377" fmla="*/ 400380 w 3905665"/>
              <a:gd name="connsiteY1377" fmla="*/ 1823395 h 3403632"/>
              <a:gd name="connsiteX1378" fmla="*/ 397913 w 3905665"/>
              <a:gd name="connsiteY1378" fmla="*/ 1820928 h 3403632"/>
              <a:gd name="connsiteX1379" fmla="*/ 400380 w 3905665"/>
              <a:gd name="connsiteY1379" fmla="*/ 1818458 h 3403632"/>
              <a:gd name="connsiteX1380" fmla="*/ 1672580 w 3905665"/>
              <a:gd name="connsiteY1380" fmla="*/ 1815001 h 3403632"/>
              <a:gd name="connsiteX1381" fmla="*/ 1674554 w 3905665"/>
              <a:gd name="connsiteY1381" fmla="*/ 1816976 h 3403632"/>
              <a:gd name="connsiteX1382" fmla="*/ 1672580 w 3905665"/>
              <a:gd name="connsiteY1382" fmla="*/ 1818950 h 3403632"/>
              <a:gd name="connsiteX1383" fmla="*/ 1670605 w 3905665"/>
              <a:gd name="connsiteY1383" fmla="*/ 1816976 h 3403632"/>
              <a:gd name="connsiteX1384" fmla="*/ 1672580 w 3905665"/>
              <a:gd name="connsiteY1384" fmla="*/ 1815001 h 3403632"/>
              <a:gd name="connsiteX1385" fmla="*/ 1055237 w 3905665"/>
              <a:gd name="connsiteY1385" fmla="*/ 1812780 h 3403632"/>
              <a:gd name="connsiteX1386" fmla="*/ 1057211 w 3905665"/>
              <a:gd name="connsiteY1386" fmla="*/ 1814755 h 3403632"/>
              <a:gd name="connsiteX1387" fmla="*/ 1055237 w 3905665"/>
              <a:gd name="connsiteY1387" fmla="*/ 1816729 h 3403632"/>
              <a:gd name="connsiteX1388" fmla="*/ 1053262 w 3905665"/>
              <a:gd name="connsiteY1388" fmla="*/ 1814755 h 3403632"/>
              <a:gd name="connsiteX1389" fmla="*/ 1055237 w 3905665"/>
              <a:gd name="connsiteY1389" fmla="*/ 1812780 h 3403632"/>
              <a:gd name="connsiteX1390" fmla="*/ 2331849 w 3905665"/>
              <a:gd name="connsiteY1390" fmla="*/ 1811298 h 3403632"/>
              <a:gd name="connsiteX1391" fmla="*/ 2339499 w 3905665"/>
              <a:gd name="connsiteY1391" fmla="*/ 1818950 h 3403632"/>
              <a:gd name="connsiteX1392" fmla="*/ 2331849 w 3905665"/>
              <a:gd name="connsiteY1392" fmla="*/ 1826600 h 3403632"/>
              <a:gd name="connsiteX1393" fmla="*/ 2324197 w 3905665"/>
              <a:gd name="connsiteY1393" fmla="*/ 1818950 h 3403632"/>
              <a:gd name="connsiteX1394" fmla="*/ 2331849 w 3905665"/>
              <a:gd name="connsiteY1394" fmla="*/ 1811298 h 3403632"/>
              <a:gd name="connsiteX1395" fmla="*/ 1864864 w 3905665"/>
              <a:gd name="connsiteY1395" fmla="*/ 1802661 h 3403632"/>
              <a:gd name="connsiteX1396" fmla="*/ 1866346 w 3905665"/>
              <a:gd name="connsiteY1396" fmla="*/ 1804389 h 3403632"/>
              <a:gd name="connsiteX1397" fmla="*/ 1864864 w 3905665"/>
              <a:gd name="connsiteY1397" fmla="*/ 1805869 h 3403632"/>
              <a:gd name="connsiteX1398" fmla="*/ 1863385 w 3905665"/>
              <a:gd name="connsiteY1398" fmla="*/ 1804389 h 3403632"/>
              <a:gd name="connsiteX1399" fmla="*/ 1864864 w 3905665"/>
              <a:gd name="connsiteY1399" fmla="*/ 1802661 h 3403632"/>
              <a:gd name="connsiteX1400" fmla="*/ 3052850 w 3905665"/>
              <a:gd name="connsiteY1400" fmla="*/ 1802166 h 3403632"/>
              <a:gd name="connsiteX1401" fmla="*/ 3070622 w 3905665"/>
              <a:gd name="connsiteY1401" fmla="*/ 1819938 h 3403632"/>
              <a:gd name="connsiteX1402" fmla="*/ 3052850 w 3905665"/>
              <a:gd name="connsiteY1402" fmla="*/ 1837710 h 3403632"/>
              <a:gd name="connsiteX1403" fmla="*/ 3035078 w 3905665"/>
              <a:gd name="connsiteY1403" fmla="*/ 1819938 h 3403632"/>
              <a:gd name="connsiteX1404" fmla="*/ 3052850 w 3905665"/>
              <a:gd name="connsiteY1404" fmla="*/ 1802166 h 3403632"/>
              <a:gd name="connsiteX1405" fmla="*/ 841725 w 3905665"/>
              <a:gd name="connsiteY1405" fmla="*/ 1790072 h 3403632"/>
              <a:gd name="connsiteX1406" fmla="*/ 844441 w 3905665"/>
              <a:gd name="connsiteY1406" fmla="*/ 1792788 h 3403632"/>
              <a:gd name="connsiteX1407" fmla="*/ 841725 w 3905665"/>
              <a:gd name="connsiteY1407" fmla="*/ 1795501 h 3403632"/>
              <a:gd name="connsiteX1408" fmla="*/ 839009 w 3905665"/>
              <a:gd name="connsiteY1408" fmla="*/ 1792788 h 3403632"/>
              <a:gd name="connsiteX1409" fmla="*/ 841725 w 3905665"/>
              <a:gd name="connsiteY1409" fmla="*/ 1790072 h 3403632"/>
              <a:gd name="connsiteX1410" fmla="*/ 513186 w 3905665"/>
              <a:gd name="connsiteY1410" fmla="*/ 1789331 h 3403632"/>
              <a:gd name="connsiteX1411" fmla="*/ 515653 w 3905665"/>
              <a:gd name="connsiteY1411" fmla="*/ 1791798 h 3403632"/>
              <a:gd name="connsiteX1412" fmla="*/ 513186 w 3905665"/>
              <a:gd name="connsiteY1412" fmla="*/ 1794268 h 3403632"/>
              <a:gd name="connsiteX1413" fmla="*/ 510716 w 3905665"/>
              <a:gd name="connsiteY1413" fmla="*/ 1791798 h 3403632"/>
              <a:gd name="connsiteX1414" fmla="*/ 513186 w 3905665"/>
              <a:gd name="connsiteY1414" fmla="*/ 1789331 h 3403632"/>
              <a:gd name="connsiteX1415" fmla="*/ 2051444 w 3905665"/>
              <a:gd name="connsiteY1415" fmla="*/ 1784394 h 3403632"/>
              <a:gd name="connsiteX1416" fmla="*/ 2053418 w 3905665"/>
              <a:gd name="connsiteY1416" fmla="*/ 1786369 h 3403632"/>
              <a:gd name="connsiteX1417" fmla="*/ 2051444 w 3905665"/>
              <a:gd name="connsiteY1417" fmla="*/ 1788343 h 3403632"/>
              <a:gd name="connsiteX1418" fmla="*/ 2049469 w 3905665"/>
              <a:gd name="connsiteY1418" fmla="*/ 1786369 h 3403632"/>
              <a:gd name="connsiteX1419" fmla="*/ 2051444 w 3905665"/>
              <a:gd name="connsiteY1419" fmla="*/ 1784394 h 3403632"/>
              <a:gd name="connsiteX1420" fmla="*/ 2788736 w 3905665"/>
              <a:gd name="connsiteY1420" fmla="*/ 1780939 h 3403632"/>
              <a:gd name="connsiteX1421" fmla="*/ 2809224 w 3905665"/>
              <a:gd name="connsiteY1421" fmla="*/ 1801427 h 3403632"/>
              <a:gd name="connsiteX1422" fmla="*/ 2788736 w 3905665"/>
              <a:gd name="connsiteY1422" fmla="*/ 1821915 h 3403632"/>
              <a:gd name="connsiteX1423" fmla="*/ 2768248 w 3905665"/>
              <a:gd name="connsiteY1423" fmla="*/ 1801427 h 3403632"/>
              <a:gd name="connsiteX1424" fmla="*/ 2788736 w 3905665"/>
              <a:gd name="connsiteY1424" fmla="*/ 1780939 h 3403632"/>
              <a:gd name="connsiteX1425" fmla="*/ 2509322 w 3905665"/>
              <a:gd name="connsiteY1425" fmla="*/ 1778470 h 3403632"/>
              <a:gd name="connsiteX1426" fmla="*/ 2521662 w 3905665"/>
              <a:gd name="connsiteY1426" fmla="*/ 1790813 h 3403632"/>
              <a:gd name="connsiteX1427" fmla="*/ 2509322 w 3905665"/>
              <a:gd name="connsiteY1427" fmla="*/ 1803153 h 3403632"/>
              <a:gd name="connsiteX1428" fmla="*/ 2496979 w 3905665"/>
              <a:gd name="connsiteY1428" fmla="*/ 1790813 h 3403632"/>
              <a:gd name="connsiteX1429" fmla="*/ 2509322 w 3905665"/>
              <a:gd name="connsiteY1429" fmla="*/ 1778470 h 3403632"/>
              <a:gd name="connsiteX1430" fmla="*/ 1362794 w 3905665"/>
              <a:gd name="connsiteY1430" fmla="*/ 1765883 h 3403632"/>
              <a:gd name="connsiteX1431" fmla="*/ 1363286 w 3905665"/>
              <a:gd name="connsiteY1431" fmla="*/ 1766375 h 3403632"/>
              <a:gd name="connsiteX1432" fmla="*/ 1362794 w 3905665"/>
              <a:gd name="connsiteY1432" fmla="*/ 1766870 h 3403632"/>
              <a:gd name="connsiteX1433" fmla="*/ 1362299 w 3905665"/>
              <a:gd name="connsiteY1433" fmla="*/ 1766375 h 3403632"/>
              <a:gd name="connsiteX1434" fmla="*/ 1362794 w 3905665"/>
              <a:gd name="connsiteY1434" fmla="*/ 1765883 h 3403632"/>
              <a:gd name="connsiteX1435" fmla="*/ 56540 w 3905665"/>
              <a:gd name="connsiteY1435" fmla="*/ 1762672 h 3403632"/>
              <a:gd name="connsiteX1436" fmla="*/ 61230 w 3905665"/>
              <a:gd name="connsiteY1436" fmla="*/ 1767362 h 3403632"/>
              <a:gd name="connsiteX1437" fmla="*/ 56540 w 3905665"/>
              <a:gd name="connsiteY1437" fmla="*/ 1772053 h 3403632"/>
              <a:gd name="connsiteX1438" fmla="*/ 51850 w 3905665"/>
              <a:gd name="connsiteY1438" fmla="*/ 1767362 h 3403632"/>
              <a:gd name="connsiteX1439" fmla="*/ 56540 w 3905665"/>
              <a:gd name="connsiteY1439" fmla="*/ 1762672 h 3403632"/>
              <a:gd name="connsiteX1440" fmla="*/ 1561254 w 3905665"/>
              <a:gd name="connsiteY1440" fmla="*/ 1762426 h 3403632"/>
              <a:gd name="connsiteX1441" fmla="*/ 1562488 w 3905665"/>
              <a:gd name="connsiteY1441" fmla="*/ 1763660 h 3403632"/>
              <a:gd name="connsiteX1442" fmla="*/ 1561254 w 3905665"/>
              <a:gd name="connsiteY1442" fmla="*/ 1764896 h 3403632"/>
              <a:gd name="connsiteX1443" fmla="*/ 1560021 w 3905665"/>
              <a:gd name="connsiteY1443" fmla="*/ 1763660 h 3403632"/>
              <a:gd name="connsiteX1444" fmla="*/ 1561254 w 3905665"/>
              <a:gd name="connsiteY1444" fmla="*/ 1762426 h 3403632"/>
              <a:gd name="connsiteX1445" fmla="*/ 1158165 w 3905665"/>
              <a:gd name="connsiteY1445" fmla="*/ 1759218 h 3403632"/>
              <a:gd name="connsiteX1446" fmla="*/ 1159891 w 3905665"/>
              <a:gd name="connsiteY1446" fmla="*/ 1760946 h 3403632"/>
              <a:gd name="connsiteX1447" fmla="*/ 1158165 w 3905665"/>
              <a:gd name="connsiteY1447" fmla="*/ 1762672 h 3403632"/>
              <a:gd name="connsiteX1448" fmla="*/ 1156683 w 3905665"/>
              <a:gd name="connsiteY1448" fmla="*/ 1760946 h 3403632"/>
              <a:gd name="connsiteX1449" fmla="*/ 1158165 w 3905665"/>
              <a:gd name="connsiteY1449" fmla="*/ 1759218 h 3403632"/>
              <a:gd name="connsiteX1450" fmla="*/ 2234595 w 3905665"/>
              <a:gd name="connsiteY1450" fmla="*/ 1758231 h 3403632"/>
              <a:gd name="connsiteX1451" fmla="*/ 2239286 w 3905665"/>
              <a:gd name="connsiteY1451" fmla="*/ 1762921 h 3403632"/>
              <a:gd name="connsiteX1452" fmla="*/ 2234595 w 3905665"/>
              <a:gd name="connsiteY1452" fmla="*/ 1767612 h 3403632"/>
              <a:gd name="connsiteX1453" fmla="*/ 2229905 w 3905665"/>
              <a:gd name="connsiteY1453" fmla="*/ 1762921 h 3403632"/>
              <a:gd name="connsiteX1454" fmla="*/ 2234595 w 3905665"/>
              <a:gd name="connsiteY1454" fmla="*/ 1758231 h 3403632"/>
              <a:gd name="connsiteX1455" fmla="*/ 624262 w 3905665"/>
              <a:gd name="connsiteY1455" fmla="*/ 1755761 h 3403632"/>
              <a:gd name="connsiteX1456" fmla="*/ 626483 w 3905665"/>
              <a:gd name="connsiteY1456" fmla="*/ 1757982 h 3403632"/>
              <a:gd name="connsiteX1457" fmla="*/ 624262 w 3905665"/>
              <a:gd name="connsiteY1457" fmla="*/ 1760203 h 3403632"/>
              <a:gd name="connsiteX1458" fmla="*/ 622041 w 3905665"/>
              <a:gd name="connsiteY1458" fmla="*/ 1757982 h 3403632"/>
              <a:gd name="connsiteX1459" fmla="*/ 624262 w 3905665"/>
              <a:gd name="connsiteY1459" fmla="*/ 1755761 h 3403632"/>
              <a:gd name="connsiteX1460" fmla="*/ 2957571 w 3905665"/>
              <a:gd name="connsiteY1460" fmla="*/ 1752553 h 3403632"/>
              <a:gd name="connsiteX1461" fmla="*/ 2970655 w 3905665"/>
              <a:gd name="connsiteY1461" fmla="*/ 1765635 h 3403632"/>
              <a:gd name="connsiteX1462" fmla="*/ 2957571 w 3905665"/>
              <a:gd name="connsiteY1462" fmla="*/ 1778716 h 3403632"/>
              <a:gd name="connsiteX1463" fmla="*/ 2944489 w 3905665"/>
              <a:gd name="connsiteY1463" fmla="*/ 1765635 h 3403632"/>
              <a:gd name="connsiteX1464" fmla="*/ 2957571 w 3905665"/>
              <a:gd name="connsiteY1464" fmla="*/ 1752553 h 3403632"/>
              <a:gd name="connsiteX1465" fmla="*/ 172058 w 3905665"/>
              <a:gd name="connsiteY1465" fmla="*/ 1747862 h 3403632"/>
              <a:gd name="connsiteX1466" fmla="*/ 177488 w 3905665"/>
              <a:gd name="connsiteY1466" fmla="*/ 1753294 h 3403632"/>
              <a:gd name="connsiteX1467" fmla="*/ 172058 w 3905665"/>
              <a:gd name="connsiteY1467" fmla="*/ 1758723 h 3403632"/>
              <a:gd name="connsiteX1468" fmla="*/ 166627 w 3905665"/>
              <a:gd name="connsiteY1468" fmla="*/ 1753294 h 3403632"/>
              <a:gd name="connsiteX1469" fmla="*/ 172058 w 3905665"/>
              <a:gd name="connsiteY1469" fmla="*/ 1747862 h 3403632"/>
              <a:gd name="connsiteX1470" fmla="*/ 1764894 w 3905665"/>
              <a:gd name="connsiteY1470" fmla="*/ 1743913 h 3403632"/>
              <a:gd name="connsiteX1471" fmla="*/ 1766621 w 3905665"/>
              <a:gd name="connsiteY1471" fmla="*/ 1745888 h 3403632"/>
              <a:gd name="connsiteX1472" fmla="*/ 1764894 w 3905665"/>
              <a:gd name="connsiteY1472" fmla="*/ 1747617 h 3403632"/>
              <a:gd name="connsiteX1473" fmla="*/ 1763165 w 3905665"/>
              <a:gd name="connsiteY1473" fmla="*/ 1745888 h 3403632"/>
              <a:gd name="connsiteX1474" fmla="*/ 1764894 w 3905665"/>
              <a:gd name="connsiteY1474" fmla="*/ 1743913 h 3403632"/>
              <a:gd name="connsiteX1475" fmla="*/ 948111 w 3905665"/>
              <a:gd name="connsiteY1475" fmla="*/ 1743421 h 3403632"/>
              <a:gd name="connsiteX1476" fmla="*/ 950827 w 3905665"/>
              <a:gd name="connsiteY1476" fmla="*/ 1746137 h 3403632"/>
              <a:gd name="connsiteX1477" fmla="*/ 948111 w 3905665"/>
              <a:gd name="connsiteY1477" fmla="*/ 1748853 h 3403632"/>
              <a:gd name="connsiteX1478" fmla="*/ 945395 w 3905665"/>
              <a:gd name="connsiteY1478" fmla="*/ 1746137 h 3403632"/>
              <a:gd name="connsiteX1479" fmla="*/ 948111 w 3905665"/>
              <a:gd name="connsiteY1479" fmla="*/ 1743421 h 3403632"/>
              <a:gd name="connsiteX1480" fmla="*/ 2682596 w 3905665"/>
              <a:gd name="connsiteY1480" fmla="*/ 1741692 h 3403632"/>
              <a:gd name="connsiteX1481" fmla="*/ 2699630 w 3905665"/>
              <a:gd name="connsiteY1481" fmla="*/ 1758723 h 3403632"/>
              <a:gd name="connsiteX1482" fmla="*/ 2682596 w 3905665"/>
              <a:gd name="connsiteY1482" fmla="*/ 1775757 h 3403632"/>
              <a:gd name="connsiteX1483" fmla="*/ 2665565 w 3905665"/>
              <a:gd name="connsiteY1483" fmla="*/ 1758723 h 3403632"/>
              <a:gd name="connsiteX1484" fmla="*/ 2682596 w 3905665"/>
              <a:gd name="connsiteY1484" fmla="*/ 1741692 h 3403632"/>
              <a:gd name="connsiteX1485" fmla="*/ 287082 w 3905665"/>
              <a:gd name="connsiteY1485" fmla="*/ 1727869 h 3403632"/>
              <a:gd name="connsiteX1486" fmla="*/ 293255 w 3905665"/>
              <a:gd name="connsiteY1486" fmla="*/ 1734039 h 3403632"/>
              <a:gd name="connsiteX1487" fmla="*/ 287082 w 3905665"/>
              <a:gd name="connsiteY1487" fmla="*/ 1740212 h 3403632"/>
              <a:gd name="connsiteX1488" fmla="*/ 280912 w 3905665"/>
              <a:gd name="connsiteY1488" fmla="*/ 1734039 h 3403632"/>
              <a:gd name="connsiteX1489" fmla="*/ 287082 w 3905665"/>
              <a:gd name="connsiteY1489" fmla="*/ 1727869 h 3403632"/>
              <a:gd name="connsiteX1490" fmla="*/ 1953224 w 3905665"/>
              <a:gd name="connsiteY1490" fmla="*/ 1727377 h 3403632"/>
              <a:gd name="connsiteX1491" fmla="*/ 1954704 w 3905665"/>
              <a:gd name="connsiteY1491" fmla="*/ 1728857 h 3403632"/>
              <a:gd name="connsiteX1492" fmla="*/ 1953224 w 3905665"/>
              <a:gd name="connsiteY1492" fmla="*/ 1730093 h 3403632"/>
              <a:gd name="connsiteX1493" fmla="*/ 1951743 w 3905665"/>
              <a:gd name="connsiteY1493" fmla="*/ 1728857 h 3403632"/>
              <a:gd name="connsiteX1494" fmla="*/ 1953224 w 3905665"/>
              <a:gd name="connsiteY1494" fmla="*/ 1727377 h 3403632"/>
              <a:gd name="connsiteX1495" fmla="*/ 2412563 w 3905665"/>
              <a:gd name="connsiteY1495" fmla="*/ 1726882 h 3403632"/>
              <a:gd name="connsiteX1496" fmla="*/ 2421203 w 3905665"/>
              <a:gd name="connsiteY1496" fmla="*/ 1735522 h 3403632"/>
              <a:gd name="connsiteX1497" fmla="*/ 2412563 w 3905665"/>
              <a:gd name="connsiteY1497" fmla="*/ 1744162 h 3403632"/>
              <a:gd name="connsiteX1498" fmla="*/ 2403923 w 3905665"/>
              <a:gd name="connsiteY1498" fmla="*/ 1735522 h 3403632"/>
              <a:gd name="connsiteX1499" fmla="*/ 2412563 w 3905665"/>
              <a:gd name="connsiteY1499" fmla="*/ 1726882 h 3403632"/>
              <a:gd name="connsiteX1500" fmla="*/ 733854 w 3905665"/>
              <a:gd name="connsiteY1500" fmla="*/ 1716762 h 3403632"/>
              <a:gd name="connsiteX1501" fmla="*/ 735828 w 3905665"/>
              <a:gd name="connsiteY1501" fmla="*/ 1718737 h 3403632"/>
              <a:gd name="connsiteX1502" fmla="*/ 733854 w 3905665"/>
              <a:gd name="connsiteY1502" fmla="*/ 1720958 h 3403632"/>
              <a:gd name="connsiteX1503" fmla="*/ 731632 w 3905665"/>
              <a:gd name="connsiteY1503" fmla="*/ 1718737 h 3403632"/>
              <a:gd name="connsiteX1504" fmla="*/ 733854 w 3905665"/>
              <a:gd name="connsiteY1504" fmla="*/ 1716762 h 3403632"/>
              <a:gd name="connsiteX1505" fmla="*/ 3122950 w 3905665"/>
              <a:gd name="connsiteY1505" fmla="*/ 1708369 h 3403632"/>
              <a:gd name="connsiteX1506" fmla="*/ 3141709 w 3905665"/>
              <a:gd name="connsiteY1506" fmla="*/ 1726882 h 3403632"/>
              <a:gd name="connsiteX1507" fmla="*/ 3122950 w 3905665"/>
              <a:gd name="connsiteY1507" fmla="*/ 1745642 h 3403632"/>
              <a:gd name="connsiteX1508" fmla="*/ 3104190 w 3905665"/>
              <a:gd name="connsiteY1508" fmla="*/ 1726882 h 3403632"/>
              <a:gd name="connsiteX1509" fmla="*/ 3122950 w 3905665"/>
              <a:gd name="connsiteY1509" fmla="*/ 1708369 h 3403632"/>
              <a:gd name="connsiteX1510" fmla="*/ 2136355 w 3905665"/>
              <a:gd name="connsiteY1510" fmla="*/ 1704666 h 3403632"/>
              <a:gd name="connsiteX1511" fmla="*/ 2138576 w 3905665"/>
              <a:gd name="connsiteY1511" fmla="*/ 1706887 h 3403632"/>
              <a:gd name="connsiteX1512" fmla="*/ 2136355 w 3905665"/>
              <a:gd name="connsiteY1512" fmla="*/ 1709357 h 3403632"/>
              <a:gd name="connsiteX1513" fmla="*/ 2134134 w 3905665"/>
              <a:gd name="connsiteY1513" fmla="*/ 1706887 h 3403632"/>
              <a:gd name="connsiteX1514" fmla="*/ 2136355 w 3905665"/>
              <a:gd name="connsiteY1514" fmla="*/ 1704666 h 3403632"/>
              <a:gd name="connsiteX1515" fmla="*/ 400871 w 3905665"/>
              <a:gd name="connsiteY1515" fmla="*/ 1702199 h 3403632"/>
              <a:gd name="connsiteX1516" fmla="*/ 407782 w 3905665"/>
              <a:gd name="connsiteY1516" fmla="*/ 1709111 h 3403632"/>
              <a:gd name="connsiteX1517" fmla="*/ 400871 w 3905665"/>
              <a:gd name="connsiteY1517" fmla="*/ 1716022 h 3403632"/>
              <a:gd name="connsiteX1518" fmla="*/ 393960 w 3905665"/>
              <a:gd name="connsiteY1518" fmla="*/ 1709111 h 3403632"/>
              <a:gd name="connsiteX1519" fmla="*/ 400871 w 3905665"/>
              <a:gd name="connsiteY1519" fmla="*/ 1702199 h 3403632"/>
              <a:gd name="connsiteX1520" fmla="*/ 1459554 w 3905665"/>
              <a:gd name="connsiteY1520" fmla="*/ 1701952 h 3403632"/>
              <a:gd name="connsiteX1521" fmla="*/ 1460046 w 3905665"/>
              <a:gd name="connsiteY1521" fmla="*/ 1702444 h 3403632"/>
              <a:gd name="connsiteX1522" fmla="*/ 1459554 w 3905665"/>
              <a:gd name="connsiteY1522" fmla="*/ 1702939 h 3403632"/>
              <a:gd name="connsiteX1523" fmla="*/ 1459059 w 3905665"/>
              <a:gd name="connsiteY1523" fmla="*/ 1702444 h 3403632"/>
              <a:gd name="connsiteX1524" fmla="*/ 1459554 w 3905665"/>
              <a:gd name="connsiteY1524" fmla="*/ 1701952 h 3403632"/>
              <a:gd name="connsiteX1525" fmla="*/ 1258625 w 3905665"/>
              <a:gd name="connsiteY1525" fmla="*/ 1701952 h 3403632"/>
              <a:gd name="connsiteX1526" fmla="*/ 1259862 w 3905665"/>
              <a:gd name="connsiteY1526" fmla="*/ 1703186 h 3403632"/>
              <a:gd name="connsiteX1527" fmla="*/ 1258625 w 3905665"/>
              <a:gd name="connsiteY1527" fmla="*/ 1704422 h 3403632"/>
              <a:gd name="connsiteX1528" fmla="*/ 1257392 w 3905665"/>
              <a:gd name="connsiteY1528" fmla="*/ 1703186 h 3403632"/>
              <a:gd name="connsiteX1529" fmla="*/ 1258625 w 3905665"/>
              <a:gd name="connsiteY1529" fmla="*/ 1701952 h 3403632"/>
              <a:gd name="connsiteX1530" fmla="*/ 1654311 w 3905665"/>
              <a:gd name="connsiteY1530" fmla="*/ 1693312 h 3403632"/>
              <a:gd name="connsiteX1531" fmla="*/ 1655547 w 3905665"/>
              <a:gd name="connsiteY1531" fmla="*/ 1694546 h 3403632"/>
              <a:gd name="connsiteX1532" fmla="*/ 1654311 w 3905665"/>
              <a:gd name="connsiteY1532" fmla="*/ 1695782 h 3403632"/>
              <a:gd name="connsiteX1533" fmla="*/ 1653078 w 3905665"/>
              <a:gd name="connsiteY1533" fmla="*/ 1694546 h 3403632"/>
              <a:gd name="connsiteX1534" fmla="*/ 1654311 w 3905665"/>
              <a:gd name="connsiteY1534" fmla="*/ 1693312 h 3403632"/>
              <a:gd name="connsiteX1535" fmla="*/ 1052273 w 3905665"/>
              <a:gd name="connsiteY1535" fmla="*/ 1692079 h 3403632"/>
              <a:gd name="connsiteX1536" fmla="*/ 1054989 w 3905665"/>
              <a:gd name="connsiteY1536" fmla="*/ 1694795 h 3403632"/>
              <a:gd name="connsiteX1537" fmla="*/ 1052273 w 3905665"/>
              <a:gd name="connsiteY1537" fmla="*/ 1697511 h 3403632"/>
              <a:gd name="connsiteX1538" fmla="*/ 1049311 w 3905665"/>
              <a:gd name="connsiteY1538" fmla="*/ 1694795 h 3403632"/>
              <a:gd name="connsiteX1539" fmla="*/ 1052273 w 3905665"/>
              <a:gd name="connsiteY1539" fmla="*/ 1692079 h 3403632"/>
              <a:gd name="connsiteX1540" fmla="*/ 2586578 w 3905665"/>
              <a:gd name="connsiteY1540" fmla="*/ 1691092 h 3403632"/>
              <a:gd name="connsiteX1541" fmla="*/ 2599659 w 3905665"/>
              <a:gd name="connsiteY1541" fmla="*/ 1704174 h 3403632"/>
              <a:gd name="connsiteX1542" fmla="*/ 2586578 w 3905665"/>
              <a:gd name="connsiteY1542" fmla="*/ 1717255 h 3403632"/>
              <a:gd name="connsiteX1543" fmla="*/ 2573496 w 3905665"/>
              <a:gd name="connsiteY1543" fmla="*/ 1704174 h 3403632"/>
              <a:gd name="connsiteX1544" fmla="*/ 2586578 w 3905665"/>
              <a:gd name="connsiteY1544" fmla="*/ 1691092 h 3403632"/>
              <a:gd name="connsiteX1545" fmla="*/ 2862294 w 3905665"/>
              <a:gd name="connsiteY1545" fmla="*/ 1689609 h 3403632"/>
              <a:gd name="connsiteX1546" fmla="*/ 2883767 w 3905665"/>
              <a:gd name="connsiteY1546" fmla="*/ 1711084 h 3403632"/>
              <a:gd name="connsiteX1547" fmla="*/ 2862294 w 3905665"/>
              <a:gd name="connsiteY1547" fmla="*/ 1732557 h 3403632"/>
              <a:gd name="connsiteX1548" fmla="*/ 2840819 w 3905665"/>
              <a:gd name="connsiteY1548" fmla="*/ 1711084 h 3403632"/>
              <a:gd name="connsiteX1549" fmla="*/ 2862294 w 3905665"/>
              <a:gd name="connsiteY1549" fmla="*/ 1689609 h 3403632"/>
              <a:gd name="connsiteX1550" fmla="*/ 2315804 w 3905665"/>
              <a:gd name="connsiteY1550" fmla="*/ 1674553 h 3403632"/>
              <a:gd name="connsiteX1551" fmla="*/ 2321236 w 3905665"/>
              <a:gd name="connsiteY1551" fmla="*/ 1679736 h 3403632"/>
              <a:gd name="connsiteX1552" fmla="*/ 2315804 w 3905665"/>
              <a:gd name="connsiteY1552" fmla="*/ 1685168 h 3403632"/>
              <a:gd name="connsiteX1553" fmla="*/ 2310621 w 3905665"/>
              <a:gd name="connsiteY1553" fmla="*/ 1679736 h 3403632"/>
              <a:gd name="connsiteX1554" fmla="*/ 2315804 w 3905665"/>
              <a:gd name="connsiteY1554" fmla="*/ 1674553 h 3403632"/>
              <a:gd name="connsiteX1555" fmla="*/ 841475 w 3905665"/>
              <a:gd name="connsiteY1555" fmla="*/ 1672825 h 3403632"/>
              <a:gd name="connsiteX1556" fmla="*/ 843698 w 3905665"/>
              <a:gd name="connsiteY1556" fmla="*/ 1675046 h 3403632"/>
              <a:gd name="connsiteX1557" fmla="*/ 841475 w 3905665"/>
              <a:gd name="connsiteY1557" fmla="*/ 1677267 h 3403632"/>
              <a:gd name="connsiteX1558" fmla="*/ 839254 w 3905665"/>
              <a:gd name="connsiteY1558" fmla="*/ 1675046 h 3403632"/>
              <a:gd name="connsiteX1559" fmla="*/ 841475 w 3905665"/>
              <a:gd name="connsiteY1559" fmla="*/ 1672825 h 3403632"/>
              <a:gd name="connsiteX1560" fmla="*/ 513184 w 3905665"/>
              <a:gd name="connsiteY1560" fmla="*/ 1671345 h 3403632"/>
              <a:gd name="connsiteX1561" fmla="*/ 520834 w 3905665"/>
              <a:gd name="connsiteY1561" fmla="*/ 1678997 h 3403632"/>
              <a:gd name="connsiteX1562" fmla="*/ 513184 w 3905665"/>
              <a:gd name="connsiteY1562" fmla="*/ 1686650 h 3403632"/>
              <a:gd name="connsiteX1563" fmla="*/ 505532 w 3905665"/>
              <a:gd name="connsiteY1563" fmla="*/ 1678997 h 3403632"/>
              <a:gd name="connsiteX1564" fmla="*/ 513184 w 3905665"/>
              <a:gd name="connsiteY1564" fmla="*/ 1671345 h 3403632"/>
              <a:gd name="connsiteX1565" fmla="*/ 1854497 w 3905665"/>
              <a:gd name="connsiteY1565" fmla="*/ 1669370 h 3403632"/>
              <a:gd name="connsiteX1566" fmla="*/ 1856222 w 3905665"/>
              <a:gd name="connsiteY1566" fmla="*/ 1671098 h 3403632"/>
              <a:gd name="connsiteX1567" fmla="*/ 1854497 w 3905665"/>
              <a:gd name="connsiteY1567" fmla="*/ 1672827 h 3403632"/>
              <a:gd name="connsiteX1568" fmla="*/ 1852771 w 3905665"/>
              <a:gd name="connsiteY1568" fmla="*/ 1671098 h 3403632"/>
              <a:gd name="connsiteX1569" fmla="*/ 1854497 w 3905665"/>
              <a:gd name="connsiteY1569" fmla="*/ 1669370 h 3403632"/>
              <a:gd name="connsiteX1570" fmla="*/ 3027918 w 3905665"/>
              <a:gd name="connsiteY1570" fmla="*/ 1659002 h 3403632"/>
              <a:gd name="connsiteX1571" fmla="*/ 3041741 w 3905665"/>
              <a:gd name="connsiteY1571" fmla="*/ 1673071 h 3403632"/>
              <a:gd name="connsiteX1572" fmla="*/ 3027918 w 3905665"/>
              <a:gd name="connsiteY1572" fmla="*/ 1686894 h 3403632"/>
              <a:gd name="connsiteX1573" fmla="*/ 3013849 w 3905665"/>
              <a:gd name="connsiteY1573" fmla="*/ 1673071 h 3403632"/>
              <a:gd name="connsiteX1574" fmla="*/ 3027918 w 3905665"/>
              <a:gd name="connsiteY1574" fmla="*/ 1659002 h 3403632"/>
              <a:gd name="connsiteX1575" fmla="*/ 57772 w 3905665"/>
              <a:gd name="connsiteY1575" fmla="*/ 1655299 h 3403632"/>
              <a:gd name="connsiteX1576" fmla="*/ 60488 w 3905665"/>
              <a:gd name="connsiteY1576" fmla="*/ 1658015 h 3403632"/>
              <a:gd name="connsiteX1577" fmla="*/ 57772 w 3905665"/>
              <a:gd name="connsiteY1577" fmla="*/ 1660731 h 3403632"/>
              <a:gd name="connsiteX1578" fmla="*/ 55056 w 3905665"/>
              <a:gd name="connsiteY1578" fmla="*/ 1658015 h 3403632"/>
              <a:gd name="connsiteX1579" fmla="*/ 57772 w 3905665"/>
              <a:gd name="connsiteY1579" fmla="*/ 1655299 h 3403632"/>
              <a:gd name="connsiteX1580" fmla="*/ 2756649 w 3905665"/>
              <a:gd name="connsiteY1580" fmla="*/ 1651844 h 3403632"/>
              <a:gd name="connsiteX1581" fmla="*/ 2774421 w 3905665"/>
              <a:gd name="connsiteY1581" fmla="*/ 1669616 h 3403632"/>
              <a:gd name="connsiteX1582" fmla="*/ 2756649 w 3905665"/>
              <a:gd name="connsiteY1582" fmla="*/ 1687388 h 3403632"/>
              <a:gd name="connsiteX1583" fmla="*/ 2738877 w 3905665"/>
              <a:gd name="connsiteY1583" fmla="*/ 1669616 h 3403632"/>
              <a:gd name="connsiteX1584" fmla="*/ 2756649 w 3905665"/>
              <a:gd name="connsiteY1584" fmla="*/ 1651844 h 3403632"/>
              <a:gd name="connsiteX1585" fmla="*/ 2039103 w 3905665"/>
              <a:gd name="connsiteY1585" fmla="*/ 1648636 h 3403632"/>
              <a:gd name="connsiteX1586" fmla="*/ 2040339 w 3905665"/>
              <a:gd name="connsiteY1586" fmla="*/ 1649870 h 3403632"/>
              <a:gd name="connsiteX1587" fmla="*/ 2039103 w 3905665"/>
              <a:gd name="connsiteY1587" fmla="*/ 1651106 h 3403632"/>
              <a:gd name="connsiteX1588" fmla="*/ 2037869 w 3905665"/>
              <a:gd name="connsiteY1588" fmla="*/ 1649870 h 3403632"/>
              <a:gd name="connsiteX1589" fmla="*/ 2039103 w 3905665"/>
              <a:gd name="connsiteY1589" fmla="*/ 1648636 h 3403632"/>
              <a:gd name="connsiteX1590" fmla="*/ 173291 w 3905665"/>
              <a:gd name="connsiteY1590" fmla="*/ 1640984 h 3403632"/>
              <a:gd name="connsiteX1591" fmla="*/ 175761 w 3905665"/>
              <a:gd name="connsiteY1591" fmla="*/ 1643454 h 3403632"/>
              <a:gd name="connsiteX1592" fmla="*/ 173291 w 3905665"/>
              <a:gd name="connsiteY1592" fmla="*/ 1645921 h 3403632"/>
              <a:gd name="connsiteX1593" fmla="*/ 170824 w 3905665"/>
              <a:gd name="connsiteY1593" fmla="*/ 1643454 h 3403632"/>
              <a:gd name="connsiteX1594" fmla="*/ 173291 w 3905665"/>
              <a:gd name="connsiteY1594" fmla="*/ 1640984 h 3403632"/>
              <a:gd name="connsiteX1595" fmla="*/ 1356869 w 3905665"/>
              <a:gd name="connsiteY1595" fmla="*/ 1639996 h 3403632"/>
              <a:gd name="connsiteX1596" fmla="*/ 1357856 w 3905665"/>
              <a:gd name="connsiteY1596" fmla="*/ 1640984 h 3403632"/>
              <a:gd name="connsiteX1597" fmla="*/ 1356869 w 3905665"/>
              <a:gd name="connsiteY1597" fmla="*/ 1641971 h 3403632"/>
              <a:gd name="connsiteX1598" fmla="*/ 1355881 w 3905665"/>
              <a:gd name="connsiteY1598" fmla="*/ 1640984 h 3403632"/>
              <a:gd name="connsiteX1599" fmla="*/ 1356869 w 3905665"/>
              <a:gd name="connsiteY1599" fmla="*/ 1639996 h 3403632"/>
              <a:gd name="connsiteX1600" fmla="*/ 2490560 w 3905665"/>
              <a:gd name="connsiteY1600" fmla="*/ 1639750 h 3403632"/>
              <a:gd name="connsiteX1601" fmla="*/ 2500185 w 3905665"/>
              <a:gd name="connsiteY1601" fmla="*/ 1649377 h 3403632"/>
              <a:gd name="connsiteX1602" fmla="*/ 2490560 w 3905665"/>
              <a:gd name="connsiteY1602" fmla="*/ 1659002 h 3403632"/>
              <a:gd name="connsiteX1603" fmla="*/ 2480933 w 3905665"/>
              <a:gd name="connsiteY1603" fmla="*/ 1649377 h 3403632"/>
              <a:gd name="connsiteX1604" fmla="*/ 2490560 w 3905665"/>
              <a:gd name="connsiteY1604" fmla="*/ 1639750 h 3403632"/>
              <a:gd name="connsiteX1605" fmla="*/ 1154214 w 3905665"/>
              <a:gd name="connsiteY1605" fmla="*/ 1636293 h 3403632"/>
              <a:gd name="connsiteX1606" fmla="*/ 1156930 w 3905665"/>
              <a:gd name="connsiteY1606" fmla="*/ 1639009 h 3403632"/>
              <a:gd name="connsiteX1607" fmla="*/ 1154214 w 3905665"/>
              <a:gd name="connsiteY1607" fmla="*/ 1641725 h 3403632"/>
              <a:gd name="connsiteX1608" fmla="*/ 1151499 w 3905665"/>
              <a:gd name="connsiteY1608" fmla="*/ 1639009 h 3403632"/>
              <a:gd name="connsiteX1609" fmla="*/ 1154214 w 3905665"/>
              <a:gd name="connsiteY1609" fmla="*/ 1636293 h 3403632"/>
              <a:gd name="connsiteX1610" fmla="*/ 624015 w 3905665"/>
              <a:gd name="connsiteY1610" fmla="*/ 1635060 h 3403632"/>
              <a:gd name="connsiteX1611" fmla="*/ 632406 w 3905665"/>
              <a:gd name="connsiteY1611" fmla="*/ 1643451 h 3403632"/>
              <a:gd name="connsiteX1612" fmla="*/ 624015 w 3905665"/>
              <a:gd name="connsiteY1612" fmla="*/ 1651845 h 3403632"/>
              <a:gd name="connsiteX1613" fmla="*/ 615620 w 3905665"/>
              <a:gd name="connsiteY1613" fmla="*/ 1643451 h 3403632"/>
              <a:gd name="connsiteX1614" fmla="*/ 624015 w 3905665"/>
              <a:gd name="connsiteY1614" fmla="*/ 1635060 h 3403632"/>
              <a:gd name="connsiteX1615" fmla="*/ 1553599 w 3905665"/>
              <a:gd name="connsiteY1615" fmla="*/ 1634318 h 3403632"/>
              <a:gd name="connsiteX1616" fmla="*/ 1554094 w 3905665"/>
              <a:gd name="connsiteY1616" fmla="*/ 1634813 h 3403632"/>
              <a:gd name="connsiteX1617" fmla="*/ 1553599 w 3905665"/>
              <a:gd name="connsiteY1617" fmla="*/ 1635305 h 3403632"/>
              <a:gd name="connsiteX1618" fmla="*/ 1553107 w 3905665"/>
              <a:gd name="connsiteY1618" fmla="*/ 1634813 h 3403632"/>
              <a:gd name="connsiteX1619" fmla="*/ 1553599 w 3905665"/>
              <a:gd name="connsiteY1619" fmla="*/ 1634318 h 3403632"/>
              <a:gd name="connsiteX1620" fmla="*/ 947120 w 3905665"/>
              <a:gd name="connsiteY1620" fmla="*/ 1623706 h 3403632"/>
              <a:gd name="connsiteX1621" fmla="*/ 949589 w 3905665"/>
              <a:gd name="connsiteY1621" fmla="*/ 1626173 h 3403632"/>
              <a:gd name="connsiteX1622" fmla="*/ 947120 w 3905665"/>
              <a:gd name="connsiteY1622" fmla="*/ 1628643 h 3403632"/>
              <a:gd name="connsiteX1623" fmla="*/ 944653 w 3905665"/>
              <a:gd name="connsiteY1623" fmla="*/ 1626173 h 3403632"/>
              <a:gd name="connsiteX1624" fmla="*/ 947120 w 3905665"/>
              <a:gd name="connsiteY1624" fmla="*/ 1623706 h 3403632"/>
              <a:gd name="connsiteX1625" fmla="*/ 2218552 w 3905665"/>
              <a:gd name="connsiteY1625" fmla="*/ 1621978 h 3403632"/>
              <a:gd name="connsiteX1626" fmla="*/ 2221268 w 3905665"/>
              <a:gd name="connsiteY1626" fmla="*/ 1624694 h 3403632"/>
              <a:gd name="connsiteX1627" fmla="*/ 2218552 w 3905665"/>
              <a:gd name="connsiteY1627" fmla="*/ 1627410 h 3403632"/>
              <a:gd name="connsiteX1628" fmla="*/ 2215836 w 3905665"/>
              <a:gd name="connsiteY1628" fmla="*/ 1624694 h 3403632"/>
              <a:gd name="connsiteX1629" fmla="*/ 2218552 w 3905665"/>
              <a:gd name="connsiteY1629" fmla="*/ 1621978 h 3403632"/>
              <a:gd name="connsiteX1630" fmla="*/ 288068 w 3905665"/>
              <a:gd name="connsiteY1630" fmla="*/ 1621237 h 3403632"/>
              <a:gd name="connsiteX1631" fmla="*/ 290043 w 3905665"/>
              <a:gd name="connsiteY1631" fmla="*/ 1623212 h 3403632"/>
              <a:gd name="connsiteX1632" fmla="*/ 288068 w 3905665"/>
              <a:gd name="connsiteY1632" fmla="*/ 1625186 h 3403632"/>
              <a:gd name="connsiteX1633" fmla="*/ 286093 w 3905665"/>
              <a:gd name="connsiteY1633" fmla="*/ 1623212 h 3403632"/>
              <a:gd name="connsiteX1634" fmla="*/ 288068 w 3905665"/>
              <a:gd name="connsiteY1634" fmla="*/ 1621237 h 3403632"/>
              <a:gd name="connsiteX1635" fmla="*/ 1744648 w 3905665"/>
              <a:gd name="connsiteY1635" fmla="*/ 1620496 h 3403632"/>
              <a:gd name="connsiteX1636" fmla="*/ 1746132 w 3905665"/>
              <a:gd name="connsiteY1636" fmla="*/ 1621729 h 3403632"/>
              <a:gd name="connsiteX1637" fmla="*/ 1744648 w 3905665"/>
              <a:gd name="connsiteY1637" fmla="*/ 1623212 h 3403632"/>
              <a:gd name="connsiteX1638" fmla="*/ 1743415 w 3905665"/>
              <a:gd name="connsiteY1638" fmla="*/ 1621729 h 3403632"/>
              <a:gd name="connsiteX1639" fmla="*/ 1744648 w 3905665"/>
              <a:gd name="connsiteY1639" fmla="*/ 1620496 h 3403632"/>
              <a:gd name="connsiteX1640" fmla="*/ 3190337 w 3905665"/>
              <a:gd name="connsiteY1640" fmla="*/ 1612597 h 3403632"/>
              <a:gd name="connsiteX1641" fmla="*/ 3209835 w 3905665"/>
              <a:gd name="connsiteY1641" fmla="*/ 1632098 h 3403632"/>
              <a:gd name="connsiteX1642" fmla="*/ 3190337 w 3905665"/>
              <a:gd name="connsiteY1642" fmla="*/ 1651596 h 3403632"/>
              <a:gd name="connsiteX1643" fmla="*/ 3170836 w 3905665"/>
              <a:gd name="connsiteY1643" fmla="*/ 1632098 h 3403632"/>
              <a:gd name="connsiteX1644" fmla="*/ 3190337 w 3905665"/>
              <a:gd name="connsiteY1644" fmla="*/ 1612597 h 3403632"/>
              <a:gd name="connsiteX1645" fmla="*/ 2661124 w 3905665"/>
              <a:gd name="connsiteY1645" fmla="*/ 1601523 h 3403632"/>
              <a:gd name="connsiteX1646" fmla="*/ 2674947 w 3905665"/>
              <a:gd name="connsiteY1646" fmla="*/ 1615313 h 3403632"/>
              <a:gd name="connsiteX1647" fmla="*/ 2661124 w 3905665"/>
              <a:gd name="connsiteY1647" fmla="*/ 1629136 h 3403632"/>
              <a:gd name="connsiteX1648" fmla="*/ 2647301 w 3905665"/>
              <a:gd name="connsiteY1648" fmla="*/ 1615313 h 3403632"/>
              <a:gd name="connsiteX1649" fmla="*/ 2661124 w 3905665"/>
              <a:gd name="connsiteY1649" fmla="*/ 1601523 h 3403632"/>
              <a:gd name="connsiteX1650" fmla="*/ 2933134 w 3905665"/>
              <a:gd name="connsiteY1650" fmla="*/ 1596098 h 3403632"/>
              <a:gd name="connsiteX1651" fmla="*/ 2955347 w 3905665"/>
              <a:gd name="connsiteY1651" fmla="*/ 1618521 h 3403632"/>
              <a:gd name="connsiteX1652" fmla="*/ 2933134 w 3905665"/>
              <a:gd name="connsiteY1652" fmla="*/ 1640984 h 3403632"/>
              <a:gd name="connsiteX1653" fmla="*/ 2910671 w 3905665"/>
              <a:gd name="connsiteY1653" fmla="*/ 1618521 h 3403632"/>
              <a:gd name="connsiteX1654" fmla="*/ 2933134 w 3905665"/>
              <a:gd name="connsiteY1654" fmla="*/ 1596098 h 3403632"/>
              <a:gd name="connsiteX1655" fmla="*/ 401614 w 3905665"/>
              <a:gd name="connsiteY1655" fmla="*/ 1595331 h 3403632"/>
              <a:gd name="connsiteX1656" fmla="*/ 403340 w 3905665"/>
              <a:gd name="connsiteY1656" fmla="*/ 1597059 h 3403632"/>
              <a:gd name="connsiteX1657" fmla="*/ 401614 w 3905665"/>
              <a:gd name="connsiteY1657" fmla="*/ 1598788 h 3403632"/>
              <a:gd name="connsiteX1658" fmla="*/ 399886 w 3905665"/>
              <a:gd name="connsiteY1658" fmla="*/ 1597059 h 3403632"/>
              <a:gd name="connsiteX1659" fmla="*/ 401614 w 3905665"/>
              <a:gd name="connsiteY1659" fmla="*/ 1595331 h 3403632"/>
              <a:gd name="connsiteX1660" fmla="*/ 733113 w 3905665"/>
              <a:gd name="connsiteY1660" fmla="*/ 1593603 h 3403632"/>
              <a:gd name="connsiteX1661" fmla="*/ 742248 w 3905665"/>
              <a:gd name="connsiteY1661" fmla="*/ 1602723 h 3403632"/>
              <a:gd name="connsiteX1662" fmla="*/ 733113 w 3905665"/>
              <a:gd name="connsiteY1662" fmla="*/ 1611858 h 3403632"/>
              <a:gd name="connsiteX1663" fmla="*/ 723981 w 3905665"/>
              <a:gd name="connsiteY1663" fmla="*/ 1602723 h 3403632"/>
              <a:gd name="connsiteX1664" fmla="*/ 733113 w 3905665"/>
              <a:gd name="connsiteY1664" fmla="*/ 1593603 h 3403632"/>
              <a:gd name="connsiteX1665" fmla="*/ 1941123 w 3905665"/>
              <a:gd name="connsiteY1665" fmla="*/ 1591888 h 3403632"/>
              <a:gd name="connsiteX1666" fmla="*/ 1942604 w 3905665"/>
              <a:gd name="connsiteY1666" fmla="*/ 1593366 h 3403632"/>
              <a:gd name="connsiteX1667" fmla="*/ 1941123 w 3905665"/>
              <a:gd name="connsiteY1667" fmla="*/ 1594847 h 3403632"/>
              <a:gd name="connsiteX1668" fmla="*/ 1939644 w 3905665"/>
              <a:gd name="connsiteY1668" fmla="*/ 1593366 h 3403632"/>
              <a:gd name="connsiteX1669" fmla="*/ 1941123 w 3905665"/>
              <a:gd name="connsiteY1669" fmla="*/ 1591888 h 3403632"/>
              <a:gd name="connsiteX1670" fmla="*/ 2394545 w 3905665"/>
              <a:gd name="connsiteY1670" fmla="*/ 1588190 h 3403632"/>
              <a:gd name="connsiteX1671" fmla="*/ 2400469 w 3905665"/>
              <a:gd name="connsiteY1671" fmla="*/ 1594113 h 3403632"/>
              <a:gd name="connsiteX1672" fmla="*/ 2394545 w 3905665"/>
              <a:gd name="connsiteY1672" fmla="*/ 1600035 h 3403632"/>
              <a:gd name="connsiteX1673" fmla="*/ 2388621 w 3905665"/>
              <a:gd name="connsiteY1673" fmla="*/ 1594113 h 3403632"/>
              <a:gd name="connsiteX1674" fmla="*/ 2394545 w 3905665"/>
              <a:gd name="connsiteY1674" fmla="*/ 1588190 h 3403632"/>
              <a:gd name="connsiteX1675" fmla="*/ 1253690 w 3905665"/>
              <a:gd name="connsiteY1675" fmla="*/ 1575835 h 3403632"/>
              <a:gd name="connsiteX1676" fmla="*/ 1256652 w 3905665"/>
              <a:gd name="connsiteY1676" fmla="*/ 1578797 h 3403632"/>
              <a:gd name="connsiteX1677" fmla="*/ 1253690 w 3905665"/>
              <a:gd name="connsiteY1677" fmla="*/ 1581514 h 3403632"/>
              <a:gd name="connsiteX1678" fmla="*/ 1250975 w 3905665"/>
              <a:gd name="connsiteY1678" fmla="*/ 1578797 h 3403632"/>
              <a:gd name="connsiteX1679" fmla="*/ 1253690 w 3905665"/>
              <a:gd name="connsiteY1679" fmla="*/ 1575835 h 3403632"/>
              <a:gd name="connsiteX1680" fmla="*/ 1452147 w 3905665"/>
              <a:gd name="connsiteY1680" fmla="*/ 1574110 h 3403632"/>
              <a:gd name="connsiteX1681" fmla="*/ 1452885 w 3905665"/>
              <a:gd name="connsiteY1681" fmla="*/ 1574851 h 3403632"/>
              <a:gd name="connsiteX1682" fmla="*/ 1452147 w 3905665"/>
              <a:gd name="connsiteY1682" fmla="*/ 1575589 h 3403632"/>
              <a:gd name="connsiteX1683" fmla="*/ 1451405 w 3905665"/>
              <a:gd name="connsiteY1683" fmla="*/ 1574851 h 3403632"/>
              <a:gd name="connsiteX1684" fmla="*/ 1452147 w 3905665"/>
              <a:gd name="connsiteY1684" fmla="*/ 1574110 h 3403632"/>
              <a:gd name="connsiteX1685" fmla="*/ 1050297 w 3905665"/>
              <a:gd name="connsiteY1685" fmla="*/ 1570403 h 3403632"/>
              <a:gd name="connsiteX1686" fmla="*/ 1052767 w 3905665"/>
              <a:gd name="connsiteY1686" fmla="*/ 1572873 h 3403632"/>
              <a:gd name="connsiteX1687" fmla="*/ 1050297 w 3905665"/>
              <a:gd name="connsiteY1687" fmla="*/ 1575339 h 3403632"/>
              <a:gd name="connsiteX1688" fmla="*/ 1047830 w 3905665"/>
              <a:gd name="connsiteY1688" fmla="*/ 1572873 h 3403632"/>
              <a:gd name="connsiteX1689" fmla="*/ 1050297 w 3905665"/>
              <a:gd name="connsiteY1689" fmla="*/ 1570403 h 3403632"/>
              <a:gd name="connsiteX1690" fmla="*/ 2122039 w 3905665"/>
              <a:gd name="connsiteY1690" fmla="*/ 1567453 h 3403632"/>
              <a:gd name="connsiteX1691" fmla="*/ 2123027 w 3905665"/>
              <a:gd name="connsiteY1691" fmla="*/ 1568440 h 3403632"/>
              <a:gd name="connsiteX1692" fmla="*/ 2122039 w 3905665"/>
              <a:gd name="connsiteY1692" fmla="*/ 1569428 h 3403632"/>
              <a:gd name="connsiteX1693" fmla="*/ 2121052 w 3905665"/>
              <a:gd name="connsiteY1693" fmla="*/ 1568440 h 3403632"/>
              <a:gd name="connsiteX1694" fmla="*/ 2122039 w 3905665"/>
              <a:gd name="connsiteY1694" fmla="*/ 1567453 h 3403632"/>
              <a:gd name="connsiteX1695" fmla="*/ 513922 w 3905665"/>
              <a:gd name="connsiteY1695" fmla="*/ 1563984 h 3403632"/>
              <a:gd name="connsiteX1696" fmla="*/ 515404 w 3905665"/>
              <a:gd name="connsiteY1696" fmla="*/ 1565463 h 3403632"/>
              <a:gd name="connsiteX1697" fmla="*/ 513922 w 3905665"/>
              <a:gd name="connsiteY1697" fmla="*/ 1566945 h 3403632"/>
              <a:gd name="connsiteX1698" fmla="*/ 512442 w 3905665"/>
              <a:gd name="connsiteY1698" fmla="*/ 1565463 h 3403632"/>
              <a:gd name="connsiteX1699" fmla="*/ 513922 w 3905665"/>
              <a:gd name="connsiteY1699" fmla="*/ 1563984 h 3403632"/>
              <a:gd name="connsiteX1700" fmla="*/ 3095798 w 3905665"/>
              <a:gd name="connsiteY1700" fmla="*/ 1563524 h 3403632"/>
              <a:gd name="connsiteX1701" fmla="*/ 3110608 w 3905665"/>
              <a:gd name="connsiteY1701" fmla="*/ 1578329 h 3403632"/>
              <a:gd name="connsiteX1702" fmla="*/ 3095798 w 3905665"/>
              <a:gd name="connsiteY1702" fmla="*/ 1593137 h 3403632"/>
              <a:gd name="connsiteX1703" fmla="*/ 3080988 w 3905665"/>
              <a:gd name="connsiteY1703" fmla="*/ 1578329 h 3403632"/>
              <a:gd name="connsiteX1704" fmla="*/ 3095798 w 3905665"/>
              <a:gd name="connsiteY1704" fmla="*/ 1563524 h 3403632"/>
              <a:gd name="connsiteX1705" fmla="*/ 1645174 w 3905665"/>
              <a:gd name="connsiteY1705" fmla="*/ 1563251 h 3403632"/>
              <a:gd name="connsiteX1706" fmla="*/ 1645422 w 3905665"/>
              <a:gd name="connsiteY1706" fmla="*/ 1563498 h 3403632"/>
              <a:gd name="connsiteX1707" fmla="*/ 1645174 w 3905665"/>
              <a:gd name="connsiteY1707" fmla="*/ 1563743 h 3403632"/>
              <a:gd name="connsiteX1708" fmla="*/ 1644928 w 3905665"/>
              <a:gd name="connsiteY1708" fmla="*/ 1563498 h 3403632"/>
              <a:gd name="connsiteX1709" fmla="*/ 1645174 w 3905665"/>
              <a:gd name="connsiteY1709" fmla="*/ 1563251 h 3403632"/>
              <a:gd name="connsiteX1710" fmla="*/ 2827983 w 3905665"/>
              <a:gd name="connsiteY1710" fmla="*/ 1559323 h 3403632"/>
              <a:gd name="connsiteX1711" fmla="*/ 2846497 w 3905665"/>
              <a:gd name="connsiteY1711" fmla="*/ 1578080 h 3403632"/>
              <a:gd name="connsiteX1712" fmla="*/ 2827983 w 3905665"/>
              <a:gd name="connsiteY1712" fmla="*/ 1596594 h 3403632"/>
              <a:gd name="connsiteX1713" fmla="*/ 2809470 w 3905665"/>
              <a:gd name="connsiteY1713" fmla="*/ 1578080 h 3403632"/>
              <a:gd name="connsiteX1714" fmla="*/ 2827983 w 3905665"/>
              <a:gd name="connsiteY1714" fmla="*/ 1559323 h 3403632"/>
              <a:gd name="connsiteX1715" fmla="*/ 2565598 w 3905665"/>
              <a:gd name="connsiteY1715" fmla="*/ 1549930 h 3403632"/>
              <a:gd name="connsiteX1716" fmla="*/ 2576212 w 3905665"/>
              <a:gd name="connsiteY1716" fmla="*/ 1560798 h 3403632"/>
              <a:gd name="connsiteX1717" fmla="*/ 2565598 w 3905665"/>
              <a:gd name="connsiteY1717" fmla="*/ 1571410 h 3403632"/>
              <a:gd name="connsiteX1718" fmla="*/ 2554983 w 3905665"/>
              <a:gd name="connsiteY1718" fmla="*/ 1560798 h 3403632"/>
              <a:gd name="connsiteX1719" fmla="*/ 2565598 w 3905665"/>
              <a:gd name="connsiteY1719" fmla="*/ 1549930 h 3403632"/>
              <a:gd name="connsiteX1720" fmla="*/ 839993 w 3905665"/>
              <a:gd name="connsiteY1720" fmla="*/ 1547199 h 3403632"/>
              <a:gd name="connsiteX1721" fmla="*/ 849866 w 3905665"/>
              <a:gd name="connsiteY1721" fmla="*/ 1556829 h 3403632"/>
              <a:gd name="connsiteX1722" fmla="*/ 839993 w 3905665"/>
              <a:gd name="connsiteY1722" fmla="*/ 1566700 h 3403632"/>
              <a:gd name="connsiteX1723" fmla="*/ 830366 w 3905665"/>
              <a:gd name="connsiteY1723" fmla="*/ 1556829 h 3403632"/>
              <a:gd name="connsiteX1724" fmla="*/ 839993 w 3905665"/>
              <a:gd name="connsiteY1724" fmla="*/ 1547199 h 3403632"/>
              <a:gd name="connsiteX1725" fmla="*/ 57771 w 3905665"/>
              <a:gd name="connsiteY1725" fmla="*/ 1545222 h 3403632"/>
              <a:gd name="connsiteX1726" fmla="*/ 61475 w 3905665"/>
              <a:gd name="connsiteY1726" fmla="*/ 1548926 h 3403632"/>
              <a:gd name="connsiteX1727" fmla="*/ 57771 w 3905665"/>
              <a:gd name="connsiteY1727" fmla="*/ 1552622 h 3403632"/>
              <a:gd name="connsiteX1728" fmla="*/ 54068 w 3905665"/>
              <a:gd name="connsiteY1728" fmla="*/ 1548926 h 3403632"/>
              <a:gd name="connsiteX1729" fmla="*/ 57771 w 3905665"/>
              <a:gd name="connsiteY1729" fmla="*/ 1545222 h 3403632"/>
              <a:gd name="connsiteX1730" fmla="*/ 1832279 w 3905665"/>
              <a:gd name="connsiteY1730" fmla="*/ 1544495 h 3403632"/>
              <a:gd name="connsiteX1731" fmla="*/ 1833756 w 3905665"/>
              <a:gd name="connsiteY1731" fmla="*/ 1545974 h 3403632"/>
              <a:gd name="connsiteX1732" fmla="*/ 1832279 w 3905665"/>
              <a:gd name="connsiteY1732" fmla="*/ 1547455 h 3403632"/>
              <a:gd name="connsiteX1733" fmla="*/ 1830795 w 3905665"/>
              <a:gd name="connsiteY1733" fmla="*/ 1545974 h 3403632"/>
              <a:gd name="connsiteX1734" fmla="*/ 1832279 w 3905665"/>
              <a:gd name="connsiteY1734" fmla="*/ 1544495 h 3403632"/>
              <a:gd name="connsiteX1735" fmla="*/ 2297785 w 3905665"/>
              <a:gd name="connsiteY1735" fmla="*/ 1536605 h 3403632"/>
              <a:gd name="connsiteX1736" fmla="*/ 2300747 w 3905665"/>
              <a:gd name="connsiteY1736" fmla="*/ 1539566 h 3403632"/>
              <a:gd name="connsiteX1737" fmla="*/ 2297785 w 3905665"/>
              <a:gd name="connsiteY1737" fmla="*/ 1542528 h 3403632"/>
              <a:gd name="connsiteX1738" fmla="*/ 2294823 w 3905665"/>
              <a:gd name="connsiteY1738" fmla="*/ 1539566 h 3403632"/>
              <a:gd name="connsiteX1739" fmla="*/ 2297785 w 3905665"/>
              <a:gd name="connsiteY1739" fmla="*/ 1536605 h 3403632"/>
              <a:gd name="connsiteX1740" fmla="*/ 173535 w 3905665"/>
              <a:gd name="connsiteY1740" fmla="*/ 1529673 h 3403632"/>
              <a:gd name="connsiteX1741" fmla="*/ 177484 w 3905665"/>
              <a:gd name="connsiteY1741" fmla="*/ 1533622 h 3403632"/>
              <a:gd name="connsiteX1742" fmla="*/ 173535 w 3905665"/>
              <a:gd name="connsiteY1742" fmla="*/ 1537325 h 3403632"/>
              <a:gd name="connsiteX1743" fmla="*/ 169586 w 3905665"/>
              <a:gd name="connsiteY1743" fmla="*/ 1533622 h 3403632"/>
              <a:gd name="connsiteX1744" fmla="*/ 173535 w 3905665"/>
              <a:gd name="connsiteY1744" fmla="*/ 1529673 h 3403632"/>
              <a:gd name="connsiteX1745" fmla="*/ 624256 w 3905665"/>
              <a:gd name="connsiteY1745" fmla="*/ 1524985 h 3403632"/>
              <a:gd name="connsiteX1746" fmla="*/ 627467 w 3905665"/>
              <a:gd name="connsiteY1746" fmla="*/ 1528192 h 3403632"/>
              <a:gd name="connsiteX1747" fmla="*/ 624256 w 3905665"/>
              <a:gd name="connsiteY1747" fmla="*/ 1531402 h 3403632"/>
              <a:gd name="connsiteX1748" fmla="*/ 621048 w 3905665"/>
              <a:gd name="connsiteY1748" fmla="*/ 1528192 h 3403632"/>
              <a:gd name="connsiteX1749" fmla="*/ 624256 w 3905665"/>
              <a:gd name="connsiteY1749" fmla="*/ 1524985 h 3403632"/>
              <a:gd name="connsiteX1750" fmla="*/ 3255009 w 3905665"/>
              <a:gd name="connsiteY1750" fmla="*/ 1515157 h 3403632"/>
              <a:gd name="connsiteX1751" fmla="*/ 3275248 w 3905665"/>
              <a:gd name="connsiteY1751" fmla="*/ 1535390 h 3403632"/>
              <a:gd name="connsiteX1752" fmla="*/ 3255009 w 3905665"/>
              <a:gd name="connsiteY1752" fmla="*/ 1555632 h 3403632"/>
              <a:gd name="connsiteX1753" fmla="*/ 3234767 w 3905665"/>
              <a:gd name="connsiteY1753" fmla="*/ 1535390 h 3403632"/>
              <a:gd name="connsiteX1754" fmla="*/ 3255009 w 3905665"/>
              <a:gd name="connsiteY1754" fmla="*/ 1515157 h 3403632"/>
              <a:gd name="connsiteX1755" fmla="*/ 1151002 w 3905665"/>
              <a:gd name="connsiteY1755" fmla="*/ 1511908 h 3403632"/>
              <a:gd name="connsiteX1756" fmla="*/ 1153718 w 3905665"/>
              <a:gd name="connsiteY1756" fmla="*/ 1514624 h 3403632"/>
              <a:gd name="connsiteX1757" fmla="*/ 1151002 w 3905665"/>
              <a:gd name="connsiteY1757" fmla="*/ 1517339 h 3403632"/>
              <a:gd name="connsiteX1758" fmla="*/ 1148286 w 3905665"/>
              <a:gd name="connsiteY1758" fmla="*/ 1514624 h 3403632"/>
              <a:gd name="connsiteX1759" fmla="*/ 1151002 w 3905665"/>
              <a:gd name="connsiteY1759" fmla="*/ 1511908 h 3403632"/>
              <a:gd name="connsiteX1760" fmla="*/ 1350202 w 3905665"/>
              <a:gd name="connsiteY1760" fmla="*/ 1511418 h 3403632"/>
              <a:gd name="connsiteX1761" fmla="*/ 1353164 w 3905665"/>
              <a:gd name="connsiteY1761" fmla="*/ 1514380 h 3403632"/>
              <a:gd name="connsiteX1762" fmla="*/ 1350202 w 3905665"/>
              <a:gd name="connsiteY1762" fmla="*/ 1517096 h 3403632"/>
              <a:gd name="connsiteX1763" fmla="*/ 1347239 w 3905665"/>
              <a:gd name="connsiteY1763" fmla="*/ 1514380 h 3403632"/>
              <a:gd name="connsiteX1764" fmla="*/ 1350202 w 3905665"/>
              <a:gd name="connsiteY1764" fmla="*/ 1511418 h 3403632"/>
              <a:gd name="connsiteX1765" fmla="*/ 2024786 w 3905665"/>
              <a:gd name="connsiteY1765" fmla="*/ 1511179 h 3403632"/>
              <a:gd name="connsiteX1766" fmla="*/ 2026022 w 3905665"/>
              <a:gd name="connsiteY1766" fmla="*/ 1512413 h 3403632"/>
              <a:gd name="connsiteX1767" fmla="*/ 2024786 w 3905665"/>
              <a:gd name="connsiteY1767" fmla="*/ 1513649 h 3403632"/>
              <a:gd name="connsiteX1768" fmla="*/ 2023552 w 3905665"/>
              <a:gd name="connsiteY1768" fmla="*/ 1512413 h 3403632"/>
              <a:gd name="connsiteX1769" fmla="*/ 2024786 w 3905665"/>
              <a:gd name="connsiteY1769" fmla="*/ 1511179 h 3403632"/>
              <a:gd name="connsiteX1770" fmla="*/ 2732953 w 3905665"/>
              <a:gd name="connsiteY1770" fmla="*/ 1509467 h 3403632"/>
              <a:gd name="connsiteX1771" fmla="*/ 2747514 w 3905665"/>
              <a:gd name="connsiteY1771" fmla="*/ 1524030 h 3403632"/>
              <a:gd name="connsiteX1772" fmla="*/ 2732953 w 3905665"/>
              <a:gd name="connsiteY1772" fmla="*/ 1538589 h 3403632"/>
              <a:gd name="connsiteX1773" fmla="*/ 2718389 w 3905665"/>
              <a:gd name="connsiteY1773" fmla="*/ 1524030 h 3403632"/>
              <a:gd name="connsiteX1774" fmla="*/ 2732953 w 3905665"/>
              <a:gd name="connsiteY1774" fmla="*/ 1509467 h 3403632"/>
              <a:gd name="connsiteX1775" fmla="*/ 288313 w 3905665"/>
              <a:gd name="connsiteY1775" fmla="*/ 1508201 h 3403632"/>
              <a:gd name="connsiteX1776" fmla="*/ 292263 w 3905665"/>
              <a:gd name="connsiteY1776" fmla="*/ 1512151 h 3403632"/>
              <a:gd name="connsiteX1777" fmla="*/ 288313 w 3905665"/>
              <a:gd name="connsiteY1777" fmla="*/ 1516100 h 3403632"/>
              <a:gd name="connsiteX1778" fmla="*/ 284364 w 3905665"/>
              <a:gd name="connsiteY1778" fmla="*/ 1512151 h 3403632"/>
              <a:gd name="connsiteX1779" fmla="*/ 288313 w 3905665"/>
              <a:gd name="connsiteY1779" fmla="*/ 1508201 h 3403632"/>
              <a:gd name="connsiteX1780" fmla="*/ 1544711 w 3905665"/>
              <a:gd name="connsiteY1780" fmla="*/ 1504259 h 3403632"/>
              <a:gd name="connsiteX1781" fmla="*/ 1544960 w 3905665"/>
              <a:gd name="connsiteY1781" fmla="*/ 1504754 h 3403632"/>
              <a:gd name="connsiteX1782" fmla="*/ 1544711 w 3905665"/>
              <a:gd name="connsiteY1782" fmla="*/ 1505246 h 3403632"/>
              <a:gd name="connsiteX1783" fmla="*/ 1544219 w 3905665"/>
              <a:gd name="connsiteY1783" fmla="*/ 1504754 h 3403632"/>
              <a:gd name="connsiteX1784" fmla="*/ 1544711 w 3905665"/>
              <a:gd name="connsiteY1784" fmla="*/ 1504259 h 3403632"/>
              <a:gd name="connsiteX1785" fmla="*/ 3001263 w 3905665"/>
              <a:gd name="connsiteY1785" fmla="*/ 1500833 h 3403632"/>
              <a:gd name="connsiteX1786" fmla="*/ 3024464 w 3905665"/>
              <a:gd name="connsiteY1786" fmla="*/ 1524037 h 3403632"/>
              <a:gd name="connsiteX1787" fmla="*/ 3001263 w 3905665"/>
              <a:gd name="connsiteY1787" fmla="*/ 1547229 h 3403632"/>
              <a:gd name="connsiteX1788" fmla="*/ 2978059 w 3905665"/>
              <a:gd name="connsiteY1788" fmla="*/ 1524037 h 3403632"/>
              <a:gd name="connsiteX1789" fmla="*/ 3001263 w 3905665"/>
              <a:gd name="connsiteY1789" fmla="*/ 1500833 h 3403632"/>
              <a:gd name="connsiteX1790" fmla="*/ 2470073 w 3905665"/>
              <a:gd name="connsiteY1790" fmla="*/ 1499586 h 3403632"/>
              <a:gd name="connsiteX1791" fmla="*/ 2476492 w 3905665"/>
              <a:gd name="connsiteY1791" fmla="*/ 1506005 h 3403632"/>
              <a:gd name="connsiteX1792" fmla="*/ 2470073 w 3905665"/>
              <a:gd name="connsiteY1792" fmla="*/ 1512424 h 3403632"/>
              <a:gd name="connsiteX1793" fmla="*/ 2463656 w 3905665"/>
              <a:gd name="connsiteY1793" fmla="*/ 1506005 h 3403632"/>
              <a:gd name="connsiteX1794" fmla="*/ 2470073 w 3905665"/>
              <a:gd name="connsiteY1794" fmla="*/ 1499586 h 3403632"/>
              <a:gd name="connsiteX1795" fmla="*/ 944651 w 3905665"/>
              <a:gd name="connsiteY1795" fmla="*/ 1495615 h 3403632"/>
              <a:gd name="connsiteX1796" fmla="*/ 955019 w 3905665"/>
              <a:gd name="connsiteY1796" fmla="*/ 1505982 h 3403632"/>
              <a:gd name="connsiteX1797" fmla="*/ 944651 w 3905665"/>
              <a:gd name="connsiteY1797" fmla="*/ 1516351 h 3403632"/>
              <a:gd name="connsiteX1798" fmla="*/ 934285 w 3905665"/>
              <a:gd name="connsiteY1798" fmla="*/ 1505982 h 3403632"/>
              <a:gd name="connsiteX1799" fmla="*/ 944651 w 3905665"/>
              <a:gd name="connsiteY1799" fmla="*/ 1495615 h 3403632"/>
              <a:gd name="connsiteX1800" fmla="*/ 1733542 w 3905665"/>
              <a:gd name="connsiteY1800" fmla="*/ 1488215 h 3403632"/>
              <a:gd name="connsiteX1801" fmla="*/ 1733790 w 3905665"/>
              <a:gd name="connsiteY1801" fmla="*/ 1488461 h 3403632"/>
              <a:gd name="connsiteX1802" fmla="*/ 1733542 w 3905665"/>
              <a:gd name="connsiteY1802" fmla="*/ 1488710 h 3403632"/>
              <a:gd name="connsiteX1803" fmla="*/ 1733296 w 3905665"/>
              <a:gd name="connsiteY1803" fmla="*/ 1488461 h 3403632"/>
              <a:gd name="connsiteX1804" fmla="*/ 1733542 w 3905665"/>
              <a:gd name="connsiteY1804" fmla="*/ 1488215 h 3403632"/>
              <a:gd name="connsiteX1805" fmla="*/ 2202014 w 3905665"/>
              <a:gd name="connsiteY1805" fmla="*/ 1483039 h 3403632"/>
              <a:gd name="connsiteX1806" fmla="*/ 2202753 w 3905665"/>
              <a:gd name="connsiteY1806" fmla="*/ 1483779 h 3403632"/>
              <a:gd name="connsiteX1807" fmla="*/ 2202014 w 3905665"/>
              <a:gd name="connsiteY1807" fmla="*/ 1484518 h 3403632"/>
              <a:gd name="connsiteX1808" fmla="*/ 2201273 w 3905665"/>
              <a:gd name="connsiteY1808" fmla="*/ 1483779 h 3403632"/>
              <a:gd name="connsiteX1809" fmla="*/ 2202014 w 3905665"/>
              <a:gd name="connsiteY1809" fmla="*/ 1483039 h 3403632"/>
              <a:gd name="connsiteX1810" fmla="*/ 732866 w 3905665"/>
              <a:gd name="connsiteY1810" fmla="*/ 1482530 h 3403632"/>
              <a:gd name="connsiteX1811" fmla="*/ 735828 w 3905665"/>
              <a:gd name="connsiteY1811" fmla="*/ 1485492 h 3403632"/>
              <a:gd name="connsiteX1812" fmla="*/ 732866 w 3905665"/>
              <a:gd name="connsiteY1812" fmla="*/ 1488454 h 3403632"/>
              <a:gd name="connsiteX1813" fmla="*/ 729904 w 3905665"/>
              <a:gd name="connsiteY1813" fmla="*/ 1485492 h 3403632"/>
              <a:gd name="connsiteX1814" fmla="*/ 732866 w 3905665"/>
              <a:gd name="connsiteY1814" fmla="*/ 1482530 h 3403632"/>
              <a:gd name="connsiteX1815" fmla="*/ 401610 w 3905665"/>
              <a:gd name="connsiteY1815" fmla="*/ 1480554 h 3403632"/>
              <a:gd name="connsiteX1816" fmla="*/ 405805 w 3905665"/>
              <a:gd name="connsiteY1816" fmla="*/ 1484749 h 3403632"/>
              <a:gd name="connsiteX1817" fmla="*/ 401610 w 3905665"/>
              <a:gd name="connsiteY1817" fmla="*/ 1488945 h 3403632"/>
              <a:gd name="connsiteX1818" fmla="*/ 397414 w 3905665"/>
              <a:gd name="connsiteY1818" fmla="*/ 1484749 h 3403632"/>
              <a:gd name="connsiteX1819" fmla="*/ 401610 w 3905665"/>
              <a:gd name="connsiteY1819" fmla="*/ 1480554 h 3403632"/>
              <a:gd name="connsiteX1820" fmla="*/ 3160716 w 3905665"/>
              <a:gd name="connsiteY1820" fmla="*/ 1465777 h 3403632"/>
              <a:gd name="connsiteX1821" fmla="*/ 3176514 w 3905665"/>
              <a:gd name="connsiteY1821" fmla="*/ 1481575 h 3403632"/>
              <a:gd name="connsiteX1822" fmla="*/ 3160716 w 3905665"/>
              <a:gd name="connsiteY1822" fmla="*/ 1497378 h 3403632"/>
              <a:gd name="connsiteX1823" fmla="*/ 3144919 w 3905665"/>
              <a:gd name="connsiteY1823" fmla="*/ 1481575 h 3403632"/>
              <a:gd name="connsiteX1824" fmla="*/ 3160716 w 3905665"/>
              <a:gd name="connsiteY1824" fmla="*/ 1465777 h 3403632"/>
              <a:gd name="connsiteX1825" fmla="*/ 1916693 w 3905665"/>
              <a:gd name="connsiteY1825" fmla="*/ 1465260 h 3403632"/>
              <a:gd name="connsiteX1826" fmla="*/ 1918175 w 3905665"/>
              <a:gd name="connsiteY1826" fmla="*/ 1466746 h 3403632"/>
              <a:gd name="connsiteX1827" fmla="*/ 1916693 w 3905665"/>
              <a:gd name="connsiteY1827" fmla="*/ 1468226 h 3403632"/>
              <a:gd name="connsiteX1828" fmla="*/ 1915214 w 3905665"/>
              <a:gd name="connsiteY1828" fmla="*/ 1466746 h 3403632"/>
              <a:gd name="connsiteX1829" fmla="*/ 1916693 w 3905665"/>
              <a:gd name="connsiteY1829" fmla="*/ 1465260 h 3403632"/>
              <a:gd name="connsiteX1830" fmla="*/ 2896357 w 3905665"/>
              <a:gd name="connsiteY1830" fmla="*/ 1464782 h 3403632"/>
              <a:gd name="connsiteX1831" fmla="*/ 2915858 w 3905665"/>
              <a:gd name="connsiteY1831" fmla="*/ 1484288 h 3403632"/>
              <a:gd name="connsiteX1832" fmla="*/ 2896357 w 3905665"/>
              <a:gd name="connsiteY1832" fmla="*/ 1503795 h 3403632"/>
              <a:gd name="connsiteX1833" fmla="*/ 2876856 w 3905665"/>
              <a:gd name="connsiteY1833" fmla="*/ 1484288 h 3403632"/>
              <a:gd name="connsiteX1834" fmla="*/ 2896357 w 3905665"/>
              <a:gd name="connsiteY1834" fmla="*/ 1464782 h 3403632"/>
              <a:gd name="connsiteX1835" fmla="*/ 2637674 w 3905665"/>
              <a:gd name="connsiteY1835" fmla="*/ 1457875 h 3403632"/>
              <a:gd name="connsiteX1836" fmla="*/ 2649522 w 3905665"/>
              <a:gd name="connsiteY1836" fmla="*/ 1469473 h 3403632"/>
              <a:gd name="connsiteX1837" fmla="*/ 2637674 w 3905665"/>
              <a:gd name="connsiteY1837" fmla="*/ 1481320 h 3403632"/>
              <a:gd name="connsiteX1838" fmla="*/ 2626072 w 3905665"/>
              <a:gd name="connsiteY1838" fmla="*/ 1469473 h 3403632"/>
              <a:gd name="connsiteX1839" fmla="*/ 2637674 w 3905665"/>
              <a:gd name="connsiteY1839" fmla="*/ 1457875 h 3403632"/>
              <a:gd name="connsiteX1840" fmla="*/ 2374057 w 3905665"/>
              <a:gd name="connsiteY1840" fmla="*/ 1448236 h 3403632"/>
              <a:gd name="connsiteX1841" fmla="*/ 2377512 w 3905665"/>
              <a:gd name="connsiteY1841" fmla="*/ 1451687 h 3403632"/>
              <a:gd name="connsiteX1842" fmla="*/ 2374057 w 3905665"/>
              <a:gd name="connsiteY1842" fmla="*/ 1455155 h 3403632"/>
              <a:gd name="connsiteX1843" fmla="*/ 2370600 w 3905665"/>
              <a:gd name="connsiteY1843" fmla="*/ 1451687 h 3403632"/>
              <a:gd name="connsiteX1844" fmla="*/ 2374057 w 3905665"/>
              <a:gd name="connsiteY1844" fmla="*/ 1448236 h 3403632"/>
              <a:gd name="connsiteX1845" fmla="*/ 1248999 w 3905665"/>
              <a:gd name="connsiteY1845" fmla="*/ 1448220 h 3403632"/>
              <a:gd name="connsiteX1846" fmla="*/ 1252699 w 3905665"/>
              <a:gd name="connsiteY1846" fmla="*/ 1451924 h 3403632"/>
              <a:gd name="connsiteX1847" fmla="*/ 1248999 w 3905665"/>
              <a:gd name="connsiteY1847" fmla="*/ 1455628 h 3403632"/>
              <a:gd name="connsiteX1848" fmla="*/ 1245295 w 3905665"/>
              <a:gd name="connsiteY1848" fmla="*/ 1451924 h 3403632"/>
              <a:gd name="connsiteX1849" fmla="*/ 1248999 w 3905665"/>
              <a:gd name="connsiteY1849" fmla="*/ 1448220 h 3403632"/>
              <a:gd name="connsiteX1850" fmla="*/ 513426 w 3905665"/>
              <a:gd name="connsiteY1850" fmla="*/ 1446986 h 3403632"/>
              <a:gd name="connsiteX1851" fmla="*/ 517870 w 3905665"/>
              <a:gd name="connsiteY1851" fmla="*/ 1451425 h 3403632"/>
              <a:gd name="connsiteX1852" fmla="*/ 513426 w 3905665"/>
              <a:gd name="connsiteY1852" fmla="*/ 1455873 h 3403632"/>
              <a:gd name="connsiteX1853" fmla="*/ 508984 w 3905665"/>
              <a:gd name="connsiteY1853" fmla="*/ 1451425 h 3403632"/>
              <a:gd name="connsiteX1854" fmla="*/ 513426 w 3905665"/>
              <a:gd name="connsiteY1854" fmla="*/ 1446986 h 3403632"/>
              <a:gd name="connsiteX1855" fmla="*/ 1444000 w 3905665"/>
              <a:gd name="connsiteY1855" fmla="*/ 1442548 h 3403632"/>
              <a:gd name="connsiteX1856" fmla="*/ 1446715 w 3905665"/>
              <a:gd name="connsiteY1856" fmla="*/ 1445510 h 3403632"/>
              <a:gd name="connsiteX1857" fmla="*/ 1444000 w 3905665"/>
              <a:gd name="connsiteY1857" fmla="*/ 1448470 h 3403632"/>
              <a:gd name="connsiteX1858" fmla="*/ 1441038 w 3905665"/>
              <a:gd name="connsiteY1858" fmla="*/ 1445510 h 3403632"/>
              <a:gd name="connsiteX1859" fmla="*/ 1444000 w 3905665"/>
              <a:gd name="connsiteY1859" fmla="*/ 1442548 h 3403632"/>
              <a:gd name="connsiteX1860" fmla="*/ 1046839 w 3905665"/>
              <a:gd name="connsiteY1860" fmla="*/ 1439086 h 3403632"/>
              <a:gd name="connsiteX1861" fmla="*/ 1057945 w 3905665"/>
              <a:gd name="connsiteY1861" fmla="*/ 1450193 h 3403632"/>
              <a:gd name="connsiteX1862" fmla="*/ 1046839 w 3905665"/>
              <a:gd name="connsiteY1862" fmla="*/ 1461303 h 3403632"/>
              <a:gd name="connsiteX1863" fmla="*/ 1035732 w 3905665"/>
              <a:gd name="connsiteY1863" fmla="*/ 1450193 h 3403632"/>
              <a:gd name="connsiteX1864" fmla="*/ 1046839 w 3905665"/>
              <a:gd name="connsiteY1864" fmla="*/ 1439086 h 3403632"/>
              <a:gd name="connsiteX1865" fmla="*/ 839004 w 3905665"/>
              <a:gd name="connsiteY1865" fmla="*/ 1434644 h 3403632"/>
              <a:gd name="connsiteX1866" fmla="*/ 841720 w 3905665"/>
              <a:gd name="connsiteY1866" fmla="*/ 1437359 h 3403632"/>
              <a:gd name="connsiteX1867" fmla="*/ 839004 w 3905665"/>
              <a:gd name="connsiteY1867" fmla="*/ 1440074 h 3403632"/>
              <a:gd name="connsiteX1868" fmla="*/ 836289 w 3905665"/>
              <a:gd name="connsiteY1868" fmla="*/ 1437359 h 3403632"/>
              <a:gd name="connsiteX1869" fmla="*/ 839004 w 3905665"/>
              <a:gd name="connsiteY1869" fmla="*/ 1434644 h 3403632"/>
              <a:gd name="connsiteX1870" fmla="*/ 1634314 w 3905665"/>
              <a:gd name="connsiteY1870" fmla="*/ 1430946 h 3403632"/>
              <a:gd name="connsiteX1871" fmla="*/ 1634560 w 3905665"/>
              <a:gd name="connsiteY1871" fmla="*/ 1431191 h 3403632"/>
              <a:gd name="connsiteX1872" fmla="*/ 1634314 w 3905665"/>
              <a:gd name="connsiteY1872" fmla="*/ 1431191 h 3403632"/>
              <a:gd name="connsiteX1873" fmla="*/ 2105501 w 3905665"/>
              <a:gd name="connsiteY1873" fmla="*/ 1427501 h 3403632"/>
              <a:gd name="connsiteX1874" fmla="*/ 2106488 w 3905665"/>
              <a:gd name="connsiteY1874" fmla="*/ 1428488 h 3403632"/>
              <a:gd name="connsiteX1875" fmla="*/ 2105501 w 3905665"/>
              <a:gd name="connsiteY1875" fmla="*/ 1429469 h 3403632"/>
              <a:gd name="connsiteX1876" fmla="*/ 2104513 w 3905665"/>
              <a:gd name="connsiteY1876" fmla="*/ 1428488 h 3403632"/>
              <a:gd name="connsiteX1877" fmla="*/ 2105501 w 3905665"/>
              <a:gd name="connsiteY1877" fmla="*/ 1427501 h 3403632"/>
              <a:gd name="connsiteX1878" fmla="*/ 3316963 w 3905665"/>
              <a:gd name="connsiteY1878" fmla="*/ 1415921 h 3403632"/>
              <a:gd name="connsiteX1879" fmla="*/ 3337943 w 3905665"/>
              <a:gd name="connsiteY1879" fmla="*/ 1436901 h 3403632"/>
              <a:gd name="connsiteX1880" fmla="*/ 3316963 w 3905665"/>
              <a:gd name="connsiteY1880" fmla="*/ 1457887 h 3403632"/>
              <a:gd name="connsiteX1881" fmla="*/ 3295982 w 3905665"/>
              <a:gd name="connsiteY1881" fmla="*/ 1436901 h 3403632"/>
              <a:gd name="connsiteX1882" fmla="*/ 3316963 w 3905665"/>
              <a:gd name="connsiteY1882" fmla="*/ 1415921 h 3403632"/>
              <a:gd name="connsiteX1883" fmla="*/ 2801817 w 3905665"/>
              <a:gd name="connsiteY1883" fmla="*/ 1415170 h 3403632"/>
              <a:gd name="connsiteX1884" fmla="*/ 2817122 w 3905665"/>
              <a:gd name="connsiteY1884" fmla="*/ 1430474 h 3403632"/>
              <a:gd name="connsiteX1885" fmla="*/ 2801817 w 3905665"/>
              <a:gd name="connsiteY1885" fmla="*/ 1445777 h 3403632"/>
              <a:gd name="connsiteX1886" fmla="*/ 2786515 w 3905665"/>
              <a:gd name="connsiteY1886" fmla="*/ 1430474 h 3403632"/>
              <a:gd name="connsiteX1887" fmla="*/ 2801817 w 3905665"/>
              <a:gd name="connsiteY1887" fmla="*/ 1415170 h 3403632"/>
              <a:gd name="connsiteX1888" fmla="*/ 623516 w 3905665"/>
              <a:gd name="connsiteY1888" fmla="*/ 1408229 h 3403632"/>
              <a:gd name="connsiteX1889" fmla="*/ 627958 w 3905665"/>
              <a:gd name="connsiteY1889" fmla="*/ 1412674 h 3403632"/>
              <a:gd name="connsiteX1890" fmla="*/ 623516 w 3905665"/>
              <a:gd name="connsiteY1890" fmla="*/ 1417116 h 3403632"/>
              <a:gd name="connsiteX1891" fmla="*/ 618826 w 3905665"/>
              <a:gd name="connsiteY1891" fmla="*/ 1412674 h 3403632"/>
              <a:gd name="connsiteX1892" fmla="*/ 623516 w 3905665"/>
              <a:gd name="connsiteY1892" fmla="*/ 1408229 h 3403632"/>
              <a:gd name="connsiteX1893" fmla="*/ 2542643 w 3905665"/>
              <a:gd name="connsiteY1893" fmla="*/ 1408007 h 3403632"/>
              <a:gd name="connsiteX1894" fmla="*/ 2549800 w 3905665"/>
              <a:gd name="connsiteY1894" fmla="*/ 1415166 h 3403632"/>
              <a:gd name="connsiteX1895" fmla="*/ 2542643 w 3905665"/>
              <a:gd name="connsiteY1895" fmla="*/ 1422326 h 3403632"/>
              <a:gd name="connsiteX1896" fmla="*/ 2535485 w 3905665"/>
              <a:gd name="connsiteY1896" fmla="*/ 1415166 h 3403632"/>
              <a:gd name="connsiteX1897" fmla="*/ 2542643 w 3905665"/>
              <a:gd name="connsiteY1897" fmla="*/ 1408007 h 3403632"/>
              <a:gd name="connsiteX1898" fmla="*/ 3066425 w 3905665"/>
              <a:gd name="connsiteY1898" fmla="*/ 1403327 h 3403632"/>
              <a:gd name="connsiteX1899" fmla="*/ 3090616 w 3905665"/>
              <a:gd name="connsiteY1899" fmla="*/ 1427517 h 3403632"/>
              <a:gd name="connsiteX1900" fmla="*/ 3066425 w 3905665"/>
              <a:gd name="connsiteY1900" fmla="*/ 1451699 h 3403632"/>
              <a:gd name="connsiteX1901" fmla="*/ 3042236 w 3905665"/>
              <a:gd name="connsiteY1901" fmla="*/ 1427517 h 3403632"/>
              <a:gd name="connsiteX1902" fmla="*/ 3066425 w 3905665"/>
              <a:gd name="connsiteY1902" fmla="*/ 1403327 h 3403632"/>
              <a:gd name="connsiteX1903" fmla="*/ 2278777 w 3905665"/>
              <a:gd name="connsiteY1903" fmla="*/ 1395906 h 3403632"/>
              <a:gd name="connsiteX1904" fmla="*/ 2279272 w 3905665"/>
              <a:gd name="connsiteY1904" fmla="*/ 1396402 h 3403632"/>
              <a:gd name="connsiteX1905" fmla="*/ 2278777 w 3905665"/>
              <a:gd name="connsiteY1905" fmla="*/ 1396893 h 3403632"/>
              <a:gd name="connsiteX1906" fmla="*/ 2278285 w 3905665"/>
              <a:gd name="connsiteY1906" fmla="*/ 1396402 h 3403632"/>
              <a:gd name="connsiteX1907" fmla="*/ 2278777 w 3905665"/>
              <a:gd name="connsiteY1907" fmla="*/ 1395906 h 3403632"/>
              <a:gd name="connsiteX1908" fmla="*/ 1998373 w 3905665"/>
              <a:gd name="connsiteY1908" fmla="*/ 1382818 h 3403632"/>
              <a:gd name="connsiteX1909" fmla="*/ 1999855 w 3905665"/>
              <a:gd name="connsiteY1909" fmla="*/ 1384298 h 3403632"/>
              <a:gd name="connsiteX1910" fmla="*/ 1998373 w 3905665"/>
              <a:gd name="connsiteY1910" fmla="*/ 1385779 h 3403632"/>
              <a:gd name="connsiteX1911" fmla="*/ 1996893 w 3905665"/>
              <a:gd name="connsiteY1911" fmla="*/ 1384298 h 3403632"/>
              <a:gd name="connsiteX1912" fmla="*/ 1998373 w 3905665"/>
              <a:gd name="connsiteY1912" fmla="*/ 1382818 h 3403632"/>
              <a:gd name="connsiteX1913" fmla="*/ 942675 w 3905665"/>
              <a:gd name="connsiteY1913" fmla="*/ 1381822 h 3403632"/>
              <a:gd name="connsiteX1914" fmla="*/ 944898 w 3905665"/>
              <a:gd name="connsiteY1914" fmla="*/ 1384043 h 3403632"/>
              <a:gd name="connsiteX1915" fmla="*/ 942675 w 3905665"/>
              <a:gd name="connsiteY1915" fmla="*/ 1386512 h 3403632"/>
              <a:gd name="connsiteX1916" fmla="*/ 940453 w 3905665"/>
              <a:gd name="connsiteY1916" fmla="*/ 1384043 h 3403632"/>
              <a:gd name="connsiteX1917" fmla="*/ 942675 w 3905665"/>
              <a:gd name="connsiteY1917" fmla="*/ 1381822 h 3403632"/>
              <a:gd name="connsiteX1918" fmla="*/ 1344276 w 3905665"/>
              <a:gd name="connsiteY1918" fmla="*/ 1380588 h 3403632"/>
              <a:gd name="connsiteX1919" fmla="*/ 1348720 w 3905665"/>
              <a:gd name="connsiteY1919" fmla="*/ 1385030 h 3403632"/>
              <a:gd name="connsiteX1920" fmla="*/ 1344276 w 3905665"/>
              <a:gd name="connsiteY1920" fmla="*/ 1389475 h 3403632"/>
              <a:gd name="connsiteX1921" fmla="*/ 1339834 w 3905665"/>
              <a:gd name="connsiteY1921" fmla="*/ 1385030 h 3403632"/>
              <a:gd name="connsiteX1922" fmla="*/ 1344276 w 3905665"/>
              <a:gd name="connsiteY1922" fmla="*/ 1380588 h 3403632"/>
              <a:gd name="connsiteX1923" fmla="*/ 1146310 w 3905665"/>
              <a:gd name="connsiteY1923" fmla="*/ 1377874 h 3403632"/>
              <a:gd name="connsiteX1924" fmla="*/ 1158158 w 3905665"/>
              <a:gd name="connsiteY1924" fmla="*/ 1389723 h 3403632"/>
              <a:gd name="connsiteX1925" fmla="*/ 1146310 w 3905665"/>
              <a:gd name="connsiteY1925" fmla="*/ 1401570 h 3403632"/>
              <a:gd name="connsiteX1926" fmla="*/ 1134462 w 3905665"/>
              <a:gd name="connsiteY1926" fmla="*/ 1389723 h 3403632"/>
              <a:gd name="connsiteX1927" fmla="*/ 1146310 w 3905665"/>
              <a:gd name="connsiteY1927" fmla="*/ 1377874 h 3403632"/>
              <a:gd name="connsiteX1928" fmla="*/ 1534836 w 3905665"/>
              <a:gd name="connsiteY1928" fmla="*/ 1370225 h 3403632"/>
              <a:gd name="connsiteX1929" fmla="*/ 1537798 w 3905665"/>
              <a:gd name="connsiteY1929" fmla="*/ 1372941 h 3403632"/>
              <a:gd name="connsiteX1930" fmla="*/ 1534836 w 3905665"/>
              <a:gd name="connsiteY1930" fmla="*/ 1375903 h 3403632"/>
              <a:gd name="connsiteX1931" fmla="*/ 1531874 w 3905665"/>
              <a:gd name="connsiteY1931" fmla="*/ 1372941 h 3403632"/>
              <a:gd name="connsiteX1932" fmla="*/ 1534836 w 3905665"/>
              <a:gd name="connsiteY1932" fmla="*/ 1370225 h 3403632"/>
              <a:gd name="connsiteX1933" fmla="*/ 2962016 w 3905665"/>
              <a:gd name="connsiteY1933" fmla="*/ 1368519 h 3403632"/>
              <a:gd name="connsiteX1934" fmla="*/ 2982255 w 3905665"/>
              <a:gd name="connsiteY1934" fmla="*/ 1388762 h 3403632"/>
              <a:gd name="connsiteX1935" fmla="*/ 2962016 w 3905665"/>
              <a:gd name="connsiteY1935" fmla="*/ 1409002 h 3403632"/>
              <a:gd name="connsiteX1936" fmla="*/ 2941774 w 3905665"/>
              <a:gd name="connsiteY1936" fmla="*/ 1388762 h 3403632"/>
              <a:gd name="connsiteX1937" fmla="*/ 2962016 w 3905665"/>
              <a:gd name="connsiteY1937" fmla="*/ 1368519 h 3403632"/>
              <a:gd name="connsiteX1938" fmla="*/ 3222673 w 3905665"/>
              <a:gd name="connsiteY1938" fmla="*/ 1366303 h 3403632"/>
              <a:gd name="connsiteX1939" fmla="*/ 3239458 w 3905665"/>
              <a:gd name="connsiteY1939" fmla="*/ 1383090 h 3403632"/>
              <a:gd name="connsiteX1940" fmla="*/ 3222673 w 3905665"/>
              <a:gd name="connsiteY1940" fmla="*/ 1399629 h 3403632"/>
              <a:gd name="connsiteX1941" fmla="*/ 3206134 w 3905665"/>
              <a:gd name="connsiteY1941" fmla="*/ 1383090 h 3403632"/>
              <a:gd name="connsiteX1942" fmla="*/ 3222673 w 3905665"/>
              <a:gd name="connsiteY1942" fmla="*/ 1366303 h 3403632"/>
              <a:gd name="connsiteX1943" fmla="*/ 2707034 w 3905665"/>
              <a:gd name="connsiteY1943" fmla="*/ 1363576 h 3403632"/>
              <a:gd name="connsiteX1944" fmla="*/ 2719869 w 3905665"/>
              <a:gd name="connsiteY1944" fmla="*/ 1376167 h 3403632"/>
              <a:gd name="connsiteX1945" fmla="*/ 2707034 w 3905665"/>
              <a:gd name="connsiteY1945" fmla="*/ 1389003 h 3403632"/>
              <a:gd name="connsiteX1946" fmla="*/ 2694198 w 3905665"/>
              <a:gd name="connsiteY1946" fmla="*/ 1376167 h 3403632"/>
              <a:gd name="connsiteX1947" fmla="*/ 2707034 w 3905665"/>
              <a:gd name="connsiteY1947" fmla="*/ 1363576 h 3403632"/>
              <a:gd name="connsiteX1948" fmla="*/ 731136 w 3905665"/>
              <a:gd name="connsiteY1948" fmla="*/ 1363058 h 3403632"/>
              <a:gd name="connsiteX1949" fmla="*/ 735827 w 3905665"/>
              <a:gd name="connsiteY1949" fmla="*/ 1367748 h 3403632"/>
              <a:gd name="connsiteX1950" fmla="*/ 731136 w 3905665"/>
              <a:gd name="connsiteY1950" fmla="*/ 1372439 h 3403632"/>
              <a:gd name="connsiteX1951" fmla="*/ 726445 w 3905665"/>
              <a:gd name="connsiteY1951" fmla="*/ 1367748 h 3403632"/>
              <a:gd name="connsiteX1952" fmla="*/ 731136 w 3905665"/>
              <a:gd name="connsiteY1952" fmla="*/ 1363058 h 3403632"/>
              <a:gd name="connsiteX1953" fmla="*/ 2447364 w 3905665"/>
              <a:gd name="connsiteY1953" fmla="*/ 1357647 h 3403632"/>
              <a:gd name="connsiteX1954" fmla="*/ 2451067 w 3905665"/>
              <a:gd name="connsiteY1954" fmla="*/ 1361350 h 3403632"/>
              <a:gd name="connsiteX1955" fmla="*/ 2447364 w 3905665"/>
              <a:gd name="connsiteY1955" fmla="*/ 1365054 h 3403632"/>
              <a:gd name="connsiteX1956" fmla="*/ 2443414 w 3905665"/>
              <a:gd name="connsiteY1956" fmla="*/ 1361350 h 3403632"/>
              <a:gd name="connsiteX1957" fmla="*/ 2447364 w 3905665"/>
              <a:gd name="connsiteY1957" fmla="*/ 1357647 h 3403632"/>
              <a:gd name="connsiteX1958" fmla="*/ 1720953 w 3905665"/>
              <a:gd name="connsiteY1958" fmla="*/ 1352946 h 3403632"/>
              <a:gd name="connsiteX1959" fmla="*/ 1721693 w 3905665"/>
              <a:gd name="connsiteY1959" fmla="*/ 1353687 h 3403632"/>
              <a:gd name="connsiteX1960" fmla="*/ 1720953 w 3905665"/>
              <a:gd name="connsiteY1960" fmla="*/ 1354426 h 3403632"/>
              <a:gd name="connsiteX1961" fmla="*/ 1720213 w 3905665"/>
              <a:gd name="connsiteY1961" fmla="*/ 1353687 h 3403632"/>
              <a:gd name="connsiteX1962" fmla="*/ 1720953 w 3905665"/>
              <a:gd name="connsiteY1962" fmla="*/ 1352946 h 3403632"/>
              <a:gd name="connsiteX1963" fmla="*/ 2183008 w 3905665"/>
              <a:gd name="connsiteY1963" fmla="*/ 1340609 h 3403632"/>
              <a:gd name="connsiteX1964" fmla="*/ 2183746 w 3905665"/>
              <a:gd name="connsiteY1964" fmla="*/ 1341351 h 3403632"/>
              <a:gd name="connsiteX1965" fmla="*/ 2183008 w 3905665"/>
              <a:gd name="connsiteY1965" fmla="*/ 1342090 h 3403632"/>
              <a:gd name="connsiteX1966" fmla="*/ 2182267 w 3905665"/>
              <a:gd name="connsiteY1966" fmla="*/ 1341351 h 3403632"/>
              <a:gd name="connsiteX1967" fmla="*/ 2183008 w 3905665"/>
              <a:gd name="connsiteY1967" fmla="*/ 1340609 h 3403632"/>
              <a:gd name="connsiteX1968" fmla="*/ 55795 w 3905665"/>
              <a:gd name="connsiteY1968" fmla="*/ 1328004 h 3403632"/>
              <a:gd name="connsiteX1969" fmla="*/ 58510 w 3905665"/>
              <a:gd name="connsiteY1969" fmla="*/ 1330720 h 3403632"/>
              <a:gd name="connsiteX1970" fmla="*/ 55795 w 3905665"/>
              <a:gd name="connsiteY1970" fmla="*/ 1333436 h 3403632"/>
              <a:gd name="connsiteX1971" fmla="*/ 53079 w 3905665"/>
              <a:gd name="connsiteY1971" fmla="*/ 1330720 h 3403632"/>
              <a:gd name="connsiteX1972" fmla="*/ 55795 w 3905665"/>
              <a:gd name="connsiteY1972" fmla="*/ 1328004 h 3403632"/>
              <a:gd name="connsiteX1973" fmla="*/ 1901392 w 3905665"/>
              <a:gd name="connsiteY1973" fmla="*/ 1327275 h 3403632"/>
              <a:gd name="connsiteX1974" fmla="*/ 1902380 w 3905665"/>
              <a:gd name="connsiteY1974" fmla="*/ 1328262 h 3403632"/>
              <a:gd name="connsiteX1975" fmla="*/ 1901392 w 3905665"/>
              <a:gd name="connsiteY1975" fmla="*/ 1329250 h 3403632"/>
              <a:gd name="connsiteX1976" fmla="*/ 1900404 w 3905665"/>
              <a:gd name="connsiteY1976" fmla="*/ 1328262 h 3403632"/>
              <a:gd name="connsiteX1977" fmla="*/ 1901392 w 3905665"/>
              <a:gd name="connsiteY1977" fmla="*/ 1327275 h 3403632"/>
              <a:gd name="connsiteX1978" fmla="*/ 1043383 w 3905665"/>
              <a:gd name="connsiteY1978" fmla="*/ 1324059 h 3403632"/>
              <a:gd name="connsiteX1979" fmla="*/ 1045358 w 3905665"/>
              <a:gd name="connsiteY1979" fmla="*/ 1326033 h 3403632"/>
              <a:gd name="connsiteX1980" fmla="*/ 1043383 w 3905665"/>
              <a:gd name="connsiteY1980" fmla="*/ 1328008 h 3403632"/>
              <a:gd name="connsiteX1981" fmla="*/ 1041408 w 3905665"/>
              <a:gd name="connsiteY1981" fmla="*/ 1326033 h 3403632"/>
              <a:gd name="connsiteX1982" fmla="*/ 1043383 w 3905665"/>
              <a:gd name="connsiteY1982" fmla="*/ 1324059 h 3403632"/>
              <a:gd name="connsiteX1983" fmla="*/ 2867475 w 3905665"/>
              <a:gd name="connsiteY1983" fmla="*/ 1318651 h 3403632"/>
              <a:gd name="connsiteX1984" fmla="*/ 2883518 w 3905665"/>
              <a:gd name="connsiteY1984" fmla="*/ 1334696 h 3403632"/>
              <a:gd name="connsiteX1985" fmla="*/ 2867475 w 3905665"/>
              <a:gd name="connsiteY1985" fmla="*/ 1350991 h 3403632"/>
              <a:gd name="connsiteX1986" fmla="*/ 2851431 w 3905665"/>
              <a:gd name="connsiteY1986" fmla="*/ 1334696 h 3403632"/>
              <a:gd name="connsiteX1987" fmla="*/ 2867475 w 3905665"/>
              <a:gd name="connsiteY1987" fmla="*/ 1318651 h 3403632"/>
              <a:gd name="connsiteX1988" fmla="*/ 3376203 w 3905665"/>
              <a:gd name="connsiteY1988" fmla="*/ 1314957 h 3403632"/>
              <a:gd name="connsiteX1989" fmla="*/ 3397924 w 3905665"/>
              <a:gd name="connsiteY1989" fmla="*/ 1336680 h 3403632"/>
              <a:gd name="connsiteX1990" fmla="*/ 3376203 w 3905665"/>
              <a:gd name="connsiteY1990" fmla="*/ 1358404 h 3403632"/>
              <a:gd name="connsiteX1991" fmla="*/ 3354481 w 3905665"/>
              <a:gd name="connsiteY1991" fmla="*/ 1336680 h 3403632"/>
              <a:gd name="connsiteX1992" fmla="*/ 3376203 w 3905665"/>
              <a:gd name="connsiteY1992" fmla="*/ 1314957 h 3403632"/>
              <a:gd name="connsiteX1993" fmla="*/ 2612248 w 3905665"/>
              <a:gd name="connsiteY1993" fmla="*/ 1314449 h 3403632"/>
              <a:gd name="connsiteX1994" fmla="*/ 2619898 w 3905665"/>
              <a:gd name="connsiteY1994" fmla="*/ 1322101 h 3403632"/>
              <a:gd name="connsiteX1995" fmla="*/ 2612248 w 3905665"/>
              <a:gd name="connsiteY1995" fmla="*/ 1329754 h 3403632"/>
              <a:gd name="connsiteX1996" fmla="*/ 2604596 w 3905665"/>
              <a:gd name="connsiteY1996" fmla="*/ 1322101 h 3403632"/>
              <a:gd name="connsiteX1997" fmla="*/ 2612248 w 3905665"/>
              <a:gd name="connsiteY1997" fmla="*/ 1314449 h 3403632"/>
              <a:gd name="connsiteX1998" fmla="*/ 836536 w 3905665"/>
              <a:gd name="connsiteY1998" fmla="*/ 1312455 h 3403632"/>
              <a:gd name="connsiteX1999" fmla="*/ 841473 w 3905665"/>
              <a:gd name="connsiteY1999" fmla="*/ 1317638 h 3403632"/>
              <a:gd name="connsiteX2000" fmla="*/ 836536 w 3905665"/>
              <a:gd name="connsiteY2000" fmla="*/ 1322575 h 3403632"/>
              <a:gd name="connsiteX2001" fmla="*/ 831353 w 3905665"/>
              <a:gd name="connsiteY2001" fmla="*/ 1317638 h 3403632"/>
              <a:gd name="connsiteX2002" fmla="*/ 836536 w 3905665"/>
              <a:gd name="connsiteY2002" fmla="*/ 1312455 h 3403632"/>
              <a:gd name="connsiteX2003" fmla="*/ 170571 w 3905665"/>
              <a:gd name="connsiteY2003" fmla="*/ 1312453 h 3403632"/>
              <a:gd name="connsiteX2004" fmla="*/ 172053 w 3905665"/>
              <a:gd name="connsiteY2004" fmla="*/ 1313932 h 3403632"/>
              <a:gd name="connsiteX2005" fmla="*/ 170571 w 3905665"/>
              <a:gd name="connsiteY2005" fmla="*/ 1315414 h 3403632"/>
              <a:gd name="connsiteX2006" fmla="*/ 169092 w 3905665"/>
              <a:gd name="connsiteY2006" fmla="*/ 1313932 h 3403632"/>
              <a:gd name="connsiteX2007" fmla="*/ 170571 w 3905665"/>
              <a:gd name="connsiteY2007" fmla="*/ 1312453 h 3403632"/>
              <a:gd name="connsiteX2008" fmla="*/ 1242827 w 3905665"/>
              <a:gd name="connsiteY2008" fmla="*/ 1311966 h 3403632"/>
              <a:gd name="connsiteX2009" fmla="*/ 1255414 w 3905665"/>
              <a:gd name="connsiteY2009" fmla="*/ 1324555 h 3403632"/>
              <a:gd name="connsiteX2010" fmla="*/ 1242827 w 3905665"/>
              <a:gd name="connsiteY2010" fmla="*/ 1337146 h 3403632"/>
              <a:gd name="connsiteX2011" fmla="*/ 1230238 w 3905665"/>
              <a:gd name="connsiteY2011" fmla="*/ 1324555 h 3403632"/>
              <a:gd name="connsiteX2012" fmla="*/ 1242827 w 3905665"/>
              <a:gd name="connsiteY2012" fmla="*/ 1311966 h 3403632"/>
              <a:gd name="connsiteX2013" fmla="*/ 1436099 w 3905665"/>
              <a:gd name="connsiteY2013" fmla="*/ 1308756 h 3403632"/>
              <a:gd name="connsiteX2014" fmla="*/ 1441282 w 3905665"/>
              <a:gd name="connsiteY2014" fmla="*/ 1313939 h 3403632"/>
              <a:gd name="connsiteX2015" fmla="*/ 1436099 w 3905665"/>
              <a:gd name="connsiteY2015" fmla="*/ 1319123 h 3403632"/>
              <a:gd name="connsiteX2016" fmla="*/ 1430916 w 3905665"/>
              <a:gd name="connsiteY2016" fmla="*/ 1313939 h 3403632"/>
              <a:gd name="connsiteX2017" fmla="*/ 1436099 w 3905665"/>
              <a:gd name="connsiteY2017" fmla="*/ 1308756 h 3403632"/>
              <a:gd name="connsiteX2018" fmla="*/ 2352581 w 3905665"/>
              <a:gd name="connsiteY2018" fmla="*/ 1305807 h 3403632"/>
              <a:gd name="connsiteX2019" fmla="*/ 2352827 w 3905665"/>
              <a:gd name="connsiteY2019" fmla="*/ 1306053 h 3403632"/>
              <a:gd name="connsiteX2020" fmla="*/ 2352581 w 3905665"/>
              <a:gd name="connsiteY2020" fmla="*/ 1306549 h 3403632"/>
              <a:gd name="connsiteX2021" fmla="*/ 2352335 w 3905665"/>
              <a:gd name="connsiteY2021" fmla="*/ 1306053 h 3403632"/>
              <a:gd name="connsiteX2022" fmla="*/ 2352581 w 3905665"/>
              <a:gd name="connsiteY2022" fmla="*/ 1305807 h 3403632"/>
              <a:gd name="connsiteX2023" fmla="*/ 3128629 w 3905665"/>
              <a:gd name="connsiteY2023" fmla="*/ 1303597 h 3403632"/>
              <a:gd name="connsiteX2024" fmla="*/ 3153805 w 3905665"/>
              <a:gd name="connsiteY2024" fmla="*/ 1328774 h 3403632"/>
              <a:gd name="connsiteX2025" fmla="*/ 3128629 w 3905665"/>
              <a:gd name="connsiteY2025" fmla="*/ 1353956 h 3403632"/>
              <a:gd name="connsiteX2026" fmla="*/ 3103451 w 3905665"/>
              <a:gd name="connsiteY2026" fmla="*/ 1328774 h 3403632"/>
              <a:gd name="connsiteX2027" fmla="*/ 3128629 w 3905665"/>
              <a:gd name="connsiteY2027" fmla="*/ 1303597 h 3403632"/>
              <a:gd name="connsiteX2028" fmla="*/ 616109 w 3905665"/>
              <a:gd name="connsiteY2028" fmla="*/ 1298633 h 3403632"/>
              <a:gd name="connsiteX2029" fmla="*/ 616354 w 3905665"/>
              <a:gd name="connsiteY2029" fmla="*/ 1298877 h 3403632"/>
              <a:gd name="connsiteX2030" fmla="*/ 616109 w 3905665"/>
              <a:gd name="connsiteY2030" fmla="*/ 1299126 h 3403632"/>
              <a:gd name="connsiteX2031" fmla="*/ 615863 w 3905665"/>
              <a:gd name="connsiteY2031" fmla="*/ 1298877 h 3403632"/>
              <a:gd name="connsiteX2032" fmla="*/ 616109 w 3905665"/>
              <a:gd name="connsiteY2032" fmla="*/ 1298633 h 3403632"/>
              <a:gd name="connsiteX2033" fmla="*/ 2076373 w 3905665"/>
              <a:gd name="connsiteY2033" fmla="*/ 1296667 h 3403632"/>
              <a:gd name="connsiteX2034" fmla="*/ 2078347 w 3905665"/>
              <a:gd name="connsiteY2034" fmla="*/ 1298645 h 3403632"/>
              <a:gd name="connsiteX2035" fmla="*/ 2076373 w 3905665"/>
              <a:gd name="connsiteY2035" fmla="*/ 1300618 h 3403632"/>
              <a:gd name="connsiteX2036" fmla="*/ 2074398 w 3905665"/>
              <a:gd name="connsiteY2036" fmla="*/ 1298645 h 3403632"/>
              <a:gd name="connsiteX2037" fmla="*/ 2076373 w 3905665"/>
              <a:gd name="connsiteY2037" fmla="*/ 1296667 h 3403632"/>
              <a:gd name="connsiteX2038" fmla="*/ 1622461 w 3905665"/>
              <a:gd name="connsiteY2038" fmla="*/ 1293702 h 3403632"/>
              <a:gd name="connsiteX2039" fmla="*/ 1625669 w 3905665"/>
              <a:gd name="connsiteY2039" fmla="*/ 1296908 h 3403632"/>
              <a:gd name="connsiteX2040" fmla="*/ 1622461 w 3905665"/>
              <a:gd name="connsiteY2040" fmla="*/ 1300121 h 3403632"/>
              <a:gd name="connsiteX2041" fmla="*/ 1619253 w 3905665"/>
              <a:gd name="connsiteY2041" fmla="*/ 1296908 h 3403632"/>
              <a:gd name="connsiteX2042" fmla="*/ 1622461 w 3905665"/>
              <a:gd name="connsiteY2042" fmla="*/ 1293702 h 3403632"/>
              <a:gd name="connsiteX2043" fmla="*/ 284118 w 3905665"/>
              <a:gd name="connsiteY2043" fmla="*/ 1289993 h 3403632"/>
              <a:gd name="connsiteX2044" fmla="*/ 284856 w 3905665"/>
              <a:gd name="connsiteY2044" fmla="*/ 1290734 h 3403632"/>
              <a:gd name="connsiteX2045" fmla="*/ 284118 w 3905665"/>
              <a:gd name="connsiteY2045" fmla="*/ 1291473 h 3403632"/>
              <a:gd name="connsiteX2046" fmla="*/ 283377 w 3905665"/>
              <a:gd name="connsiteY2046" fmla="*/ 1290734 h 3403632"/>
              <a:gd name="connsiteX2047" fmla="*/ 284118 w 3905665"/>
              <a:gd name="connsiteY2047" fmla="*/ 1289993 h 3403632"/>
              <a:gd name="connsiteX2048" fmla="*/ 1804134 w 3905665"/>
              <a:gd name="connsiteY2048" fmla="*/ 1270997 h 3403632"/>
              <a:gd name="connsiteX2049" fmla="*/ 1805860 w 3905665"/>
              <a:gd name="connsiteY2049" fmla="*/ 1272725 h 3403632"/>
              <a:gd name="connsiteX2050" fmla="*/ 1804134 w 3905665"/>
              <a:gd name="connsiteY2050" fmla="*/ 1274450 h 3403632"/>
              <a:gd name="connsiteX2051" fmla="*/ 1802407 w 3905665"/>
              <a:gd name="connsiteY2051" fmla="*/ 1272725 h 3403632"/>
              <a:gd name="connsiteX2052" fmla="*/ 1804134 w 3905665"/>
              <a:gd name="connsiteY2052" fmla="*/ 1270997 h 3403632"/>
              <a:gd name="connsiteX2053" fmla="*/ 3024711 w 3905665"/>
              <a:gd name="connsiteY2053" fmla="*/ 1270030 h 3403632"/>
              <a:gd name="connsiteX2054" fmla="*/ 3045694 w 3905665"/>
              <a:gd name="connsiteY2054" fmla="*/ 1291005 h 3403632"/>
              <a:gd name="connsiteX2055" fmla="*/ 3024711 w 3905665"/>
              <a:gd name="connsiteY2055" fmla="*/ 1311987 h 3403632"/>
              <a:gd name="connsiteX2056" fmla="*/ 3003484 w 3905665"/>
              <a:gd name="connsiteY2056" fmla="*/ 1291005 h 3403632"/>
              <a:gd name="connsiteX2057" fmla="*/ 3024711 w 3905665"/>
              <a:gd name="connsiteY2057" fmla="*/ 1270030 h 3403632"/>
              <a:gd name="connsiteX2058" fmla="*/ 2773185 w 3905665"/>
              <a:gd name="connsiteY2058" fmla="*/ 1266817 h 3403632"/>
              <a:gd name="connsiteX2059" fmla="*/ 2786762 w 3905665"/>
              <a:gd name="connsiteY2059" fmla="*/ 1280636 h 3403632"/>
              <a:gd name="connsiteX2060" fmla="*/ 2773185 w 3905665"/>
              <a:gd name="connsiteY2060" fmla="*/ 1294456 h 3403632"/>
              <a:gd name="connsiteX2061" fmla="*/ 2759362 w 3905665"/>
              <a:gd name="connsiteY2061" fmla="*/ 1280636 h 3403632"/>
              <a:gd name="connsiteX2062" fmla="*/ 2773185 w 3905665"/>
              <a:gd name="connsiteY2062" fmla="*/ 1266817 h 3403632"/>
              <a:gd name="connsiteX2063" fmla="*/ 3281913 w 3905665"/>
              <a:gd name="connsiteY2063" fmla="*/ 1265349 h 3403632"/>
              <a:gd name="connsiteX2064" fmla="*/ 3299436 w 3905665"/>
              <a:gd name="connsiteY2064" fmla="*/ 1282869 h 3403632"/>
              <a:gd name="connsiteX2065" fmla="*/ 3281913 w 3905665"/>
              <a:gd name="connsiteY2065" fmla="*/ 1300391 h 3403632"/>
              <a:gd name="connsiteX2066" fmla="*/ 3264387 w 3905665"/>
              <a:gd name="connsiteY2066" fmla="*/ 1282869 h 3403632"/>
              <a:gd name="connsiteX2067" fmla="*/ 3281913 w 3905665"/>
              <a:gd name="connsiteY2067" fmla="*/ 1265349 h 3403632"/>
              <a:gd name="connsiteX2068" fmla="*/ 2517219 w 3905665"/>
              <a:gd name="connsiteY2068" fmla="*/ 1264097 h 3403632"/>
              <a:gd name="connsiteX2069" fmla="*/ 2521414 w 3905665"/>
              <a:gd name="connsiteY2069" fmla="*/ 1268291 h 3403632"/>
              <a:gd name="connsiteX2070" fmla="*/ 2517219 w 3905665"/>
              <a:gd name="connsiteY2070" fmla="*/ 1272486 h 3403632"/>
              <a:gd name="connsiteX2071" fmla="*/ 2513023 w 3905665"/>
              <a:gd name="connsiteY2071" fmla="*/ 1268291 h 3403632"/>
              <a:gd name="connsiteX2072" fmla="*/ 2517219 w 3905665"/>
              <a:gd name="connsiteY2072" fmla="*/ 1264097 h 3403632"/>
              <a:gd name="connsiteX2073" fmla="*/ 1141375 w 3905665"/>
              <a:gd name="connsiteY2073" fmla="*/ 1261117 h 3403632"/>
              <a:gd name="connsiteX2074" fmla="*/ 1143101 w 3905665"/>
              <a:gd name="connsiteY2074" fmla="*/ 1262845 h 3403632"/>
              <a:gd name="connsiteX2075" fmla="*/ 1141375 w 3905665"/>
              <a:gd name="connsiteY2075" fmla="*/ 1264571 h 3403632"/>
              <a:gd name="connsiteX2076" fmla="*/ 1139647 w 3905665"/>
              <a:gd name="connsiteY2076" fmla="*/ 1262845 h 3403632"/>
              <a:gd name="connsiteX2077" fmla="*/ 1141375 w 3905665"/>
              <a:gd name="connsiteY2077" fmla="*/ 1261117 h 3403632"/>
              <a:gd name="connsiteX2078" fmla="*/ 396177 w 3905665"/>
              <a:gd name="connsiteY2078" fmla="*/ 1260375 h 3403632"/>
              <a:gd name="connsiteX2079" fmla="*/ 396672 w 3905665"/>
              <a:gd name="connsiteY2079" fmla="*/ 1260867 h 3403632"/>
              <a:gd name="connsiteX2080" fmla="*/ 396177 w 3905665"/>
              <a:gd name="connsiteY2080" fmla="*/ 1261362 h 3403632"/>
              <a:gd name="connsiteX2081" fmla="*/ 395684 w 3905665"/>
              <a:gd name="connsiteY2081" fmla="*/ 1260867 h 3403632"/>
              <a:gd name="connsiteX2082" fmla="*/ 396177 w 3905665"/>
              <a:gd name="connsiteY2082" fmla="*/ 1260375 h 3403632"/>
              <a:gd name="connsiteX2083" fmla="*/ 938973 w 3905665"/>
              <a:gd name="connsiteY2083" fmla="*/ 1256180 h 3403632"/>
              <a:gd name="connsiteX2084" fmla="*/ 944648 w 3905665"/>
              <a:gd name="connsiteY2084" fmla="*/ 1261857 h 3403632"/>
              <a:gd name="connsiteX2085" fmla="*/ 938973 w 3905665"/>
              <a:gd name="connsiteY2085" fmla="*/ 1267534 h 3403632"/>
              <a:gd name="connsiteX2086" fmla="*/ 933295 w 3905665"/>
              <a:gd name="connsiteY2086" fmla="*/ 1261857 h 3403632"/>
              <a:gd name="connsiteX2087" fmla="*/ 938973 w 3905665"/>
              <a:gd name="connsiteY2087" fmla="*/ 1256180 h 3403632"/>
              <a:gd name="connsiteX2088" fmla="*/ 722495 w 3905665"/>
              <a:gd name="connsiteY2088" fmla="*/ 1251736 h 3403632"/>
              <a:gd name="connsiteX2089" fmla="*/ 723234 w 3905665"/>
              <a:gd name="connsiteY2089" fmla="*/ 1252478 h 3403632"/>
              <a:gd name="connsiteX2090" fmla="*/ 722495 w 3905665"/>
              <a:gd name="connsiteY2090" fmla="*/ 1253216 h 3403632"/>
              <a:gd name="connsiteX2091" fmla="*/ 721754 w 3905665"/>
              <a:gd name="connsiteY2091" fmla="*/ 1252478 h 3403632"/>
              <a:gd name="connsiteX2092" fmla="*/ 722495 w 3905665"/>
              <a:gd name="connsiteY2092" fmla="*/ 1251736 h 3403632"/>
              <a:gd name="connsiteX2093" fmla="*/ 2257304 w 3905665"/>
              <a:gd name="connsiteY2093" fmla="*/ 1250768 h 3403632"/>
              <a:gd name="connsiteX2094" fmla="*/ 2258043 w 3905665"/>
              <a:gd name="connsiteY2094" fmla="*/ 1251509 h 3403632"/>
              <a:gd name="connsiteX2095" fmla="*/ 2257304 w 3905665"/>
              <a:gd name="connsiteY2095" fmla="*/ 1252247 h 3403632"/>
              <a:gd name="connsiteX2096" fmla="*/ 2256563 w 3905665"/>
              <a:gd name="connsiteY2096" fmla="*/ 1251509 h 3403632"/>
              <a:gd name="connsiteX2097" fmla="*/ 2257304 w 3905665"/>
              <a:gd name="connsiteY2097" fmla="*/ 1250768 h 3403632"/>
              <a:gd name="connsiteX2098" fmla="*/ 1980355 w 3905665"/>
              <a:gd name="connsiteY2098" fmla="*/ 1241627 h 3403632"/>
              <a:gd name="connsiteX2099" fmla="*/ 1982329 w 3905665"/>
              <a:gd name="connsiteY2099" fmla="*/ 1243602 h 3403632"/>
              <a:gd name="connsiteX2100" fmla="*/ 1980355 w 3905665"/>
              <a:gd name="connsiteY2100" fmla="*/ 1245577 h 3403632"/>
              <a:gd name="connsiteX2101" fmla="*/ 1978380 w 3905665"/>
              <a:gd name="connsiteY2101" fmla="*/ 1243602 h 3403632"/>
              <a:gd name="connsiteX2102" fmla="*/ 1980355 w 3905665"/>
              <a:gd name="connsiteY2102" fmla="*/ 1241627 h 3403632"/>
              <a:gd name="connsiteX2103" fmla="*/ 1336128 w 3905665"/>
              <a:gd name="connsiteY2103" fmla="*/ 1241619 h 3403632"/>
              <a:gd name="connsiteX2104" fmla="*/ 1349458 w 3905665"/>
              <a:gd name="connsiteY2104" fmla="*/ 1254949 h 3403632"/>
              <a:gd name="connsiteX2105" fmla="*/ 1336128 w 3905665"/>
              <a:gd name="connsiteY2105" fmla="*/ 1268276 h 3403632"/>
              <a:gd name="connsiteX2106" fmla="*/ 1322800 w 3905665"/>
              <a:gd name="connsiteY2106" fmla="*/ 1254949 h 3403632"/>
              <a:gd name="connsiteX2107" fmla="*/ 1336128 w 3905665"/>
              <a:gd name="connsiteY2107" fmla="*/ 1241619 h 3403632"/>
              <a:gd name="connsiteX2108" fmla="*/ 1524712 w 3905665"/>
              <a:gd name="connsiteY2108" fmla="*/ 1232488 h 3403632"/>
              <a:gd name="connsiteX2109" fmla="*/ 1530885 w 3905665"/>
              <a:gd name="connsiteY2109" fmla="*/ 1238659 h 3403632"/>
              <a:gd name="connsiteX2110" fmla="*/ 1524712 w 3905665"/>
              <a:gd name="connsiteY2110" fmla="*/ 1244832 h 3403632"/>
              <a:gd name="connsiteX2111" fmla="*/ 1518542 w 3905665"/>
              <a:gd name="connsiteY2111" fmla="*/ 1238659 h 3403632"/>
              <a:gd name="connsiteX2112" fmla="*/ 1524712 w 3905665"/>
              <a:gd name="connsiteY2112" fmla="*/ 1232488 h 3403632"/>
              <a:gd name="connsiteX2113" fmla="*/ 2930172 w 3905665"/>
              <a:gd name="connsiteY2113" fmla="*/ 1220412 h 3403632"/>
              <a:gd name="connsiteX2114" fmla="*/ 2947203 w 3905665"/>
              <a:gd name="connsiteY2114" fmla="*/ 1237202 h 3403632"/>
              <a:gd name="connsiteX2115" fmla="*/ 2930172 w 3905665"/>
              <a:gd name="connsiteY2115" fmla="*/ 1253988 h 3403632"/>
              <a:gd name="connsiteX2116" fmla="*/ 2913387 w 3905665"/>
              <a:gd name="connsiteY2116" fmla="*/ 1237202 h 3403632"/>
              <a:gd name="connsiteX2117" fmla="*/ 2930172 w 3905665"/>
              <a:gd name="connsiteY2117" fmla="*/ 1220412 h 3403632"/>
              <a:gd name="connsiteX2118" fmla="*/ 2678647 w 3905665"/>
              <a:gd name="connsiteY2118" fmla="*/ 1218433 h 3403632"/>
              <a:gd name="connsiteX2119" fmla="*/ 2687041 w 3905665"/>
              <a:gd name="connsiteY2119" fmla="*/ 1226828 h 3403632"/>
              <a:gd name="connsiteX2120" fmla="*/ 2678647 w 3905665"/>
              <a:gd name="connsiteY2120" fmla="*/ 1234975 h 3403632"/>
              <a:gd name="connsiteX2121" fmla="*/ 2670502 w 3905665"/>
              <a:gd name="connsiteY2121" fmla="*/ 1226828 h 3403632"/>
              <a:gd name="connsiteX2122" fmla="*/ 2678647 w 3905665"/>
              <a:gd name="connsiteY2122" fmla="*/ 1218433 h 3403632"/>
              <a:gd name="connsiteX2123" fmla="*/ 56040 w 3905665"/>
              <a:gd name="connsiteY2123" fmla="*/ 1218410 h 3403632"/>
              <a:gd name="connsiteX2124" fmla="*/ 58755 w 3905665"/>
              <a:gd name="connsiteY2124" fmla="*/ 1221125 h 3403632"/>
              <a:gd name="connsiteX2125" fmla="*/ 56040 w 3905665"/>
              <a:gd name="connsiteY2125" fmla="*/ 1224087 h 3403632"/>
              <a:gd name="connsiteX2126" fmla="*/ 53078 w 3905665"/>
              <a:gd name="connsiteY2126" fmla="*/ 1221125 h 3403632"/>
              <a:gd name="connsiteX2127" fmla="*/ 56040 w 3905665"/>
              <a:gd name="connsiteY2127" fmla="*/ 1218410 h 3403632"/>
              <a:gd name="connsiteX2128" fmla="*/ 1706632 w 3905665"/>
              <a:gd name="connsiteY2128" fmla="*/ 1214470 h 3403632"/>
              <a:gd name="connsiteX2129" fmla="*/ 1708858 w 3905665"/>
              <a:gd name="connsiteY2129" fmla="*/ 1216691 h 3403632"/>
              <a:gd name="connsiteX2130" fmla="*/ 1706632 w 3905665"/>
              <a:gd name="connsiteY2130" fmla="*/ 1218911 h 3403632"/>
              <a:gd name="connsiteX2131" fmla="*/ 1704413 w 3905665"/>
              <a:gd name="connsiteY2131" fmla="*/ 1216691 h 3403632"/>
              <a:gd name="connsiteX2132" fmla="*/ 1706632 w 3905665"/>
              <a:gd name="connsiteY2132" fmla="*/ 1214470 h 3403632"/>
              <a:gd name="connsiteX2133" fmla="*/ 2422929 w 3905665"/>
              <a:gd name="connsiteY2133" fmla="*/ 1213248 h 3403632"/>
              <a:gd name="connsiteX2134" fmla="*/ 2423175 w 3905665"/>
              <a:gd name="connsiteY2134" fmla="*/ 1213494 h 3403632"/>
              <a:gd name="connsiteX2135" fmla="*/ 2422929 w 3905665"/>
              <a:gd name="connsiteY2135" fmla="*/ 1213742 h 3403632"/>
              <a:gd name="connsiteX2136" fmla="*/ 2422929 w 3905665"/>
              <a:gd name="connsiteY2136" fmla="*/ 1213494 h 3403632"/>
              <a:gd name="connsiteX2137" fmla="*/ 3432481 w 3905665"/>
              <a:gd name="connsiteY2137" fmla="*/ 1212281 h 3403632"/>
              <a:gd name="connsiteX2138" fmla="*/ 3454944 w 3905665"/>
              <a:gd name="connsiteY2138" fmla="*/ 1234744 h 3403632"/>
              <a:gd name="connsiteX2139" fmla="*/ 3432481 w 3905665"/>
              <a:gd name="connsiteY2139" fmla="*/ 1257456 h 3403632"/>
              <a:gd name="connsiteX2140" fmla="*/ 3410018 w 3905665"/>
              <a:gd name="connsiteY2140" fmla="*/ 1234744 h 3403632"/>
              <a:gd name="connsiteX2141" fmla="*/ 3432481 w 3905665"/>
              <a:gd name="connsiteY2141" fmla="*/ 1212281 h 3403632"/>
              <a:gd name="connsiteX2142" fmla="*/ 2151413 w 3905665"/>
              <a:gd name="connsiteY2142" fmla="*/ 1207567 h 3403632"/>
              <a:gd name="connsiteX2143" fmla="*/ 2154129 w 3905665"/>
              <a:gd name="connsiteY2143" fmla="*/ 1210282 h 3403632"/>
              <a:gd name="connsiteX2144" fmla="*/ 2151413 w 3905665"/>
              <a:gd name="connsiteY2144" fmla="*/ 1212995 h 3403632"/>
              <a:gd name="connsiteX2145" fmla="*/ 2148697 w 3905665"/>
              <a:gd name="connsiteY2145" fmla="*/ 1210282 h 3403632"/>
              <a:gd name="connsiteX2146" fmla="*/ 2151413 w 3905665"/>
              <a:gd name="connsiteY2146" fmla="*/ 1207567 h 3403632"/>
              <a:gd name="connsiteX2147" fmla="*/ 3187867 w 3905665"/>
              <a:gd name="connsiteY2147" fmla="*/ 1202405 h 3403632"/>
              <a:gd name="connsiteX2148" fmla="*/ 3214033 w 3905665"/>
              <a:gd name="connsiteY2148" fmla="*/ 1228564 h 3403632"/>
              <a:gd name="connsiteX2149" fmla="*/ 3187867 w 3905665"/>
              <a:gd name="connsiteY2149" fmla="*/ 1254735 h 3403632"/>
              <a:gd name="connsiteX2150" fmla="*/ 3161704 w 3905665"/>
              <a:gd name="connsiteY2150" fmla="*/ 1228564 h 3403632"/>
              <a:gd name="connsiteX2151" fmla="*/ 3187867 w 3905665"/>
              <a:gd name="connsiteY2151" fmla="*/ 1202405 h 3403632"/>
              <a:gd name="connsiteX2152" fmla="*/ 825920 w 3905665"/>
              <a:gd name="connsiteY2152" fmla="*/ 1199406 h 3403632"/>
              <a:gd name="connsiteX2153" fmla="*/ 827156 w 3905665"/>
              <a:gd name="connsiteY2153" fmla="*/ 1200640 h 3403632"/>
              <a:gd name="connsiteX2154" fmla="*/ 825920 w 3905665"/>
              <a:gd name="connsiteY2154" fmla="*/ 1201874 h 3403632"/>
              <a:gd name="connsiteX2155" fmla="*/ 824441 w 3905665"/>
              <a:gd name="connsiteY2155" fmla="*/ 1200640 h 3403632"/>
              <a:gd name="connsiteX2156" fmla="*/ 825920 w 3905665"/>
              <a:gd name="connsiteY2156" fmla="*/ 1199406 h 3403632"/>
              <a:gd name="connsiteX2157" fmla="*/ 170819 w 3905665"/>
              <a:gd name="connsiteY2157" fmla="*/ 1198909 h 3403632"/>
              <a:gd name="connsiteX2158" fmla="*/ 175507 w 3905665"/>
              <a:gd name="connsiteY2158" fmla="*/ 1203600 h 3403632"/>
              <a:gd name="connsiteX2159" fmla="*/ 170819 w 3905665"/>
              <a:gd name="connsiteY2159" fmla="*/ 1208290 h 3403632"/>
              <a:gd name="connsiteX2160" fmla="*/ 166129 w 3905665"/>
              <a:gd name="connsiteY2160" fmla="*/ 1203600 h 3403632"/>
              <a:gd name="connsiteX2161" fmla="*/ 170819 w 3905665"/>
              <a:gd name="connsiteY2161" fmla="*/ 1198909 h 3403632"/>
              <a:gd name="connsiteX2162" fmla="*/ 1038445 w 3905665"/>
              <a:gd name="connsiteY2162" fmla="*/ 1194718 h 3403632"/>
              <a:gd name="connsiteX2163" fmla="*/ 1044617 w 3905665"/>
              <a:gd name="connsiteY2163" fmla="*/ 1200888 h 3403632"/>
              <a:gd name="connsiteX2164" fmla="*/ 1038445 w 3905665"/>
              <a:gd name="connsiteY2164" fmla="*/ 1207062 h 3403632"/>
              <a:gd name="connsiteX2165" fmla="*/ 1032275 w 3905665"/>
              <a:gd name="connsiteY2165" fmla="*/ 1200888 h 3403632"/>
              <a:gd name="connsiteX2166" fmla="*/ 1038445 w 3905665"/>
              <a:gd name="connsiteY2166" fmla="*/ 1194718 h 3403632"/>
              <a:gd name="connsiteX2167" fmla="*/ 1236157 w 3905665"/>
              <a:gd name="connsiteY2167" fmla="*/ 1193485 h 3403632"/>
              <a:gd name="connsiteX2168" fmla="*/ 1237639 w 3905665"/>
              <a:gd name="connsiteY2168" fmla="*/ 1194965 h 3403632"/>
              <a:gd name="connsiteX2169" fmla="*/ 1236157 w 3905665"/>
              <a:gd name="connsiteY2169" fmla="*/ 1196201 h 3403632"/>
              <a:gd name="connsiteX2170" fmla="*/ 1234678 w 3905665"/>
              <a:gd name="connsiteY2170" fmla="*/ 1194965 h 3403632"/>
              <a:gd name="connsiteX2171" fmla="*/ 1236157 w 3905665"/>
              <a:gd name="connsiteY2171" fmla="*/ 1193485 h 3403632"/>
              <a:gd name="connsiteX2172" fmla="*/ 1883864 w 3905665"/>
              <a:gd name="connsiteY2172" fmla="*/ 1185841 h 3403632"/>
              <a:gd name="connsiteX2173" fmla="*/ 1886580 w 3905665"/>
              <a:gd name="connsiteY2173" fmla="*/ 1188558 h 3403632"/>
              <a:gd name="connsiteX2174" fmla="*/ 1883864 w 3905665"/>
              <a:gd name="connsiteY2174" fmla="*/ 1191272 h 3403632"/>
              <a:gd name="connsiteX2175" fmla="*/ 1881147 w 3905665"/>
              <a:gd name="connsiteY2175" fmla="*/ 1188558 h 3403632"/>
              <a:gd name="connsiteX2176" fmla="*/ 1883864 w 3905665"/>
              <a:gd name="connsiteY2176" fmla="*/ 1185841 h 3403632"/>
              <a:gd name="connsiteX2177" fmla="*/ 614379 w 3905665"/>
              <a:gd name="connsiteY2177" fmla="*/ 1181879 h 3403632"/>
              <a:gd name="connsiteX2178" fmla="*/ 614628 w 3905665"/>
              <a:gd name="connsiteY2178" fmla="*/ 1182125 h 3403632"/>
              <a:gd name="connsiteX2179" fmla="*/ 614379 w 3905665"/>
              <a:gd name="connsiteY2179" fmla="*/ 1182374 h 3403632"/>
              <a:gd name="connsiteX2180" fmla="*/ 614133 w 3905665"/>
              <a:gd name="connsiteY2180" fmla="*/ 1182125 h 3403632"/>
              <a:gd name="connsiteX2181" fmla="*/ 614379 w 3905665"/>
              <a:gd name="connsiteY2181" fmla="*/ 1181879 h 3403632"/>
              <a:gd name="connsiteX2182" fmla="*/ 284114 w 3905665"/>
              <a:gd name="connsiteY2182" fmla="*/ 1172005 h 3403632"/>
              <a:gd name="connsiteX2183" fmla="*/ 291025 w 3905665"/>
              <a:gd name="connsiteY2183" fmla="*/ 1178917 h 3403632"/>
              <a:gd name="connsiteX2184" fmla="*/ 284114 w 3905665"/>
              <a:gd name="connsiteY2184" fmla="*/ 1185828 h 3403632"/>
              <a:gd name="connsiteX2185" fmla="*/ 277202 w 3905665"/>
              <a:gd name="connsiteY2185" fmla="*/ 1178917 h 3403632"/>
              <a:gd name="connsiteX2186" fmla="*/ 284114 w 3905665"/>
              <a:gd name="connsiteY2186" fmla="*/ 1172005 h 3403632"/>
              <a:gd name="connsiteX2187" fmla="*/ 3084197 w 3905665"/>
              <a:gd name="connsiteY2187" fmla="*/ 1169321 h 3403632"/>
              <a:gd name="connsiteX2188" fmla="*/ 3106164 w 3905665"/>
              <a:gd name="connsiteY2188" fmla="*/ 1191291 h 3403632"/>
              <a:gd name="connsiteX2189" fmla="*/ 3084197 w 3905665"/>
              <a:gd name="connsiteY2189" fmla="*/ 1213257 h 3403632"/>
              <a:gd name="connsiteX2190" fmla="*/ 3062229 w 3905665"/>
              <a:gd name="connsiteY2190" fmla="*/ 1191291 h 3403632"/>
              <a:gd name="connsiteX2191" fmla="*/ 3084197 w 3905665"/>
              <a:gd name="connsiteY2191" fmla="*/ 1169321 h 3403632"/>
              <a:gd name="connsiteX2192" fmla="*/ 2584111 w 3905665"/>
              <a:gd name="connsiteY2192" fmla="*/ 1168573 h 3403632"/>
              <a:gd name="connsiteX2193" fmla="*/ 2588553 w 3905665"/>
              <a:gd name="connsiteY2193" fmla="*/ 1173014 h 3403632"/>
              <a:gd name="connsiteX2194" fmla="*/ 2584111 w 3905665"/>
              <a:gd name="connsiteY2194" fmla="*/ 1177459 h 3403632"/>
              <a:gd name="connsiteX2195" fmla="*/ 2579667 w 3905665"/>
              <a:gd name="connsiteY2195" fmla="*/ 1173014 h 3403632"/>
              <a:gd name="connsiteX2196" fmla="*/ 2584111 w 3905665"/>
              <a:gd name="connsiteY2196" fmla="*/ 1168573 h 3403632"/>
              <a:gd name="connsiteX2197" fmla="*/ 2836128 w 3905665"/>
              <a:gd name="connsiteY2197" fmla="*/ 1168329 h 3403632"/>
              <a:gd name="connsiteX2198" fmla="*/ 2850938 w 3905665"/>
              <a:gd name="connsiteY2198" fmla="*/ 1183140 h 3403632"/>
              <a:gd name="connsiteX2199" fmla="*/ 2836128 w 3905665"/>
              <a:gd name="connsiteY2199" fmla="*/ 1197951 h 3403632"/>
              <a:gd name="connsiteX2200" fmla="*/ 2821318 w 3905665"/>
              <a:gd name="connsiteY2200" fmla="*/ 1183140 h 3403632"/>
              <a:gd name="connsiteX2201" fmla="*/ 2836128 w 3905665"/>
              <a:gd name="connsiteY2201" fmla="*/ 1168329 h 3403632"/>
              <a:gd name="connsiteX2202" fmla="*/ 1425979 w 3905665"/>
              <a:gd name="connsiteY2202" fmla="*/ 1166829 h 3403632"/>
              <a:gd name="connsiteX2203" fmla="*/ 1440048 w 3905665"/>
              <a:gd name="connsiteY2203" fmla="*/ 1180898 h 3403632"/>
              <a:gd name="connsiteX2204" fmla="*/ 1425979 w 3905665"/>
              <a:gd name="connsiteY2204" fmla="*/ 1194967 h 3403632"/>
              <a:gd name="connsiteX2205" fmla="*/ 1411910 w 3905665"/>
              <a:gd name="connsiteY2205" fmla="*/ 1180898 h 3403632"/>
              <a:gd name="connsiteX2206" fmla="*/ 1425979 w 3905665"/>
              <a:gd name="connsiteY2206" fmla="*/ 1166829 h 3403632"/>
              <a:gd name="connsiteX2207" fmla="*/ 3338192 w 3905665"/>
              <a:gd name="connsiteY2207" fmla="*/ 1161182 h 3403632"/>
              <a:gd name="connsiteX2208" fmla="*/ 3357939 w 3905665"/>
              <a:gd name="connsiteY2208" fmla="*/ 1180929 h 3403632"/>
              <a:gd name="connsiteX2209" fmla="*/ 3338192 w 3905665"/>
              <a:gd name="connsiteY2209" fmla="*/ 1200678 h 3403632"/>
              <a:gd name="connsiteX2210" fmla="*/ 3318445 w 3905665"/>
              <a:gd name="connsiteY2210" fmla="*/ 1180929 h 3403632"/>
              <a:gd name="connsiteX2211" fmla="*/ 3338192 w 3905665"/>
              <a:gd name="connsiteY2211" fmla="*/ 1161182 h 3403632"/>
              <a:gd name="connsiteX2212" fmla="*/ 2328390 w 3905665"/>
              <a:gd name="connsiteY2212" fmla="*/ 1158445 h 3403632"/>
              <a:gd name="connsiteX2213" fmla="*/ 2328885 w 3905665"/>
              <a:gd name="connsiteY2213" fmla="*/ 1158941 h 3403632"/>
              <a:gd name="connsiteX2214" fmla="*/ 2328390 w 3905665"/>
              <a:gd name="connsiteY2214" fmla="*/ 1159433 h 3403632"/>
              <a:gd name="connsiteX2215" fmla="*/ 2327898 w 3905665"/>
              <a:gd name="connsiteY2215" fmla="*/ 1158941 h 3403632"/>
              <a:gd name="connsiteX2216" fmla="*/ 2328390 w 3905665"/>
              <a:gd name="connsiteY2216" fmla="*/ 1158445 h 3403632"/>
              <a:gd name="connsiteX2217" fmla="*/ 2055888 w 3905665"/>
              <a:gd name="connsiteY2217" fmla="*/ 1153506 h 3403632"/>
              <a:gd name="connsiteX2218" fmla="*/ 2057862 w 3905665"/>
              <a:gd name="connsiteY2218" fmla="*/ 1155481 h 3403632"/>
              <a:gd name="connsiteX2219" fmla="*/ 2055888 w 3905665"/>
              <a:gd name="connsiteY2219" fmla="*/ 1157455 h 3403632"/>
              <a:gd name="connsiteX2220" fmla="*/ 2053913 w 3905665"/>
              <a:gd name="connsiteY2220" fmla="*/ 1155481 h 3403632"/>
              <a:gd name="connsiteX2221" fmla="*/ 2055888 w 3905665"/>
              <a:gd name="connsiteY2221" fmla="*/ 1153506 h 3403632"/>
              <a:gd name="connsiteX2222" fmla="*/ 1610121 w 3905665"/>
              <a:gd name="connsiteY2222" fmla="*/ 1151771 h 3403632"/>
              <a:gd name="connsiteX2223" fmla="*/ 1617771 w 3905665"/>
              <a:gd name="connsiteY2223" fmla="*/ 1159424 h 3403632"/>
              <a:gd name="connsiteX2224" fmla="*/ 1610121 w 3905665"/>
              <a:gd name="connsiteY2224" fmla="*/ 1167073 h 3403632"/>
              <a:gd name="connsiteX2225" fmla="*/ 1602469 w 3905665"/>
              <a:gd name="connsiteY2225" fmla="*/ 1159424 h 3403632"/>
              <a:gd name="connsiteX2226" fmla="*/ 1610121 w 3905665"/>
              <a:gd name="connsiteY2226" fmla="*/ 1151771 h 3403632"/>
              <a:gd name="connsiteX2227" fmla="*/ 926380 w 3905665"/>
              <a:gd name="connsiteY2227" fmla="*/ 1140656 h 3403632"/>
              <a:gd name="connsiteX2228" fmla="*/ 928849 w 3905665"/>
              <a:gd name="connsiteY2228" fmla="*/ 1143128 h 3403632"/>
              <a:gd name="connsiteX2229" fmla="*/ 926380 w 3905665"/>
              <a:gd name="connsiteY2229" fmla="*/ 1145350 h 3403632"/>
              <a:gd name="connsiteX2230" fmla="*/ 924159 w 3905665"/>
              <a:gd name="connsiteY2230" fmla="*/ 1143128 h 3403632"/>
              <a:gd name="connsiteX2231" fmla="*/ 926380 w 3905665"/>
              <a:gd name="connsiteY2231" fmla="*/ 1140656 h 3403632"/>
              <a:gd name="connsiteX2232" fmla="*/ 395933 w 3905665"/>
              <a:gd name="connsiteY2232" fmla="*/ 1137694 h 3403632"/>
              <a:gd name="connsiteX2233" fmla="*/ 405557 w 3905665"/>
              <a:gd name="connsiteY2233" fmla="*/ 1147321 h 3403632"/>
              <a:gd name="connsiteX2234" fmla="*/ 395933 w 3905665"/>
              <a:gd name="connsiteY2234" fmla="*/ 1156946 h 3403632"/>
              <a:gd name="connsiteX2235" fmla="*/ 386305 w 3905665"/>
              <a:gd name="connsiteY2235" fmla="*/ 1147321 h 3403632"/>
              <a:gd name="connsiteX2236" fmla="*/ 395933 w 3905665"/>
              <a:gd name="connsiteY2236" fmla="*/ 1137694 h 3403632"/>
              <a:gd name="connsiteX2237" fmla="*/ 719535 w 3905665"/>
              <a:gd name="connsiteY2237" fmla="*/ 1130784 h 3403632"/>
              <a:gd name="connsiteX2238" fmla="*/ 722002 w 3905665"/>
              <a:gd name="connsiteY2238" fmla="*/ 1133250 h 3403632"/>
              <a:gd name="connsiteX2239" fmla="*/ 719535 w 3905665"/>
              <a:gd name="connsiteY2239" fmla="*/ 1135719 h 3403632"/>
              <a:gd name="connsiteX2240" fmla="*/ 717065 w 3905665"/>
              <a:gd name="connsiteY2240" fmla="*/ 1133250 h 3403632"/>
              <a:gd name="connsiteX2241" fmla="*/ 719535 w 3905665"/>
              <a:gd name="connsiteY2241" fmla="*/ 1130784 h 3403632"/>
              <a:gd name="connsiteX2242" fmla="*/ 1787348 w 3905665"/>
              <a:gd name="connsiteY2242" fmla="*/ 1130051 h 3403632"/>
              <a:gd name="connsiteX2243" fmla="*/ 1790557 w 3905665"/>
              <a:gd name="connsiteY2243" fmla="*/ 1133255 h 3403632"/>
              <a:gd name="connsiteX2244" fmla="*/ 1787348 w 3905665"/>
              <a:gd name="connsiteY2244" fmla="*/ 1136461 h 3403632"/>
              <a:gd name="connsiteX2245" fmla="*/ 1784141 w 3905665"/>
              <a:gd name="connsiteY2245" fmla="*/ 1133255 h 3403632"/>
              <a:gd name="connsiteX2246" fmla="*/ 1787348 w 3905665"/>
              <a:gd name="connsiteY2246" fmla="*/ 1130051 h 3403632"/>
              <a:gd name="connsiteX2247" fmla="*/ 1134709 w 3905665"/>
              <a:gd name="connsiteY2247" fmla="*/ 1128318 h 3403632"/>
              <a:gd name="connsiteX2248" fmla="*/ 1141372 w 3905665"/>
              <a:gd name="connsiteY2248" fmla="*/ 1134978 h 3403632"/>
              <a:gd name="connsiteX2249" fmla="*/ 1134709 w 3905665"/>
              <a:gd name="connsiteY2249" fmla="*/ 1141649 h 3403632"/>
              <a:gd name="connsiteX2250" fmla="*/ 1128044 w 3905665"/>
              <a:gd name="connsiteY2250" fmla="*/ 1134978 h 3403632"/>
              <a:gd name="connsiteX2251" fmla="*/ 1134709 w 3905665"/>
              <a:gd name="connsiteY2251" fmla="*/ 1128318 h 3403632"/>
              <a:gd name="connsiteX2252" fmla="*/ 1327243 w 3905665"/>
              <a:gd name="connsiteY2252" fmla="*/ 1121407 h 3403632"/>
              <a:gd name="connsiteX2253" fmla="*/ 1328230 w 3905665"/>
              <a:gd name="connsiteY2253" fmla="*/ 1122396 h 3403632"/>
              <a:gd name="connsiteX2254" fmla="*/ 1327243 w 3905665"/>
              <a:gd name="connsiteY2254" fmla="*/ 1123383 h 3403632"/>
              <a:gd name="connsiteX2255" fmla="*/ 1326255 w 3905665"/>
              <a:gd name="connsiteY2255" fmla="*/ 1122396 h 3403632"/>
              <a:gd name="connsiteX2256" fmla="*/ 1327243 w 3905665"/>
              <a:gd name="connsiteY2256" fmla="*/ 1121407 h 3403632"/>
              <a:gd name="connsiteX2257" fmla="*/ 2741839 w 3905665"/>
              <a:gd name="connsiteY2257" fmla="*/ 1120190 h 3403632"/>
              <a:gd name="connsiteX2258" fmla="*/ 2750725 w 3905665"/>
              <a:gd name="connsiteY2258" fmla="*/ 1129075 h 3403632"/>
              <a:gd name="connsiteX2259" fmla="*/ 2741839 w 3905665"/>
              <a:gd name="connsiteY2259" fmla="*/ 1137947 h 3403632"/>
              <a:gd name="connsiteX2260" fmla="*/ 2732953 w 3905665"/>
              <a:gd name="connsiteY2260" fmla="*/ 1129075 h 3403632"/>
              <a:gd name="connsiteX2261" fmla="*/ 2741839 w 3905665"/>
              <a:gd name="connsiteY2261" fmla="*/ 1120190 h 3403632"/>
              <a:gd name="connsiteX2262" fmla="*/ 2989907 w 3905665"/>
              <a:gd name="connsiteY2262" fmla="*/ 1119947 h 3403632"/>
              <a:gd name="connsiteX2263" fmla="*/ 3007679 w 3905665"/>
              <a:gd name="connsiteY2263" fmla="*/ 1137457 h 3403632"/>
              <a:gd name="connsiteX2264" fmla="*/ 2989907 w 3905665"/>
              <a:gd name="connsiteY2264" fmla="*/ 1155000 h 3403632"/>
              <a:gd name="connsiteX2265" fmla="*/ 2972381 w 3905665"/>
              <a:gd name="connsiteY2265" fmla="*/ 1137457 h 3403632"/>
              <a:gd name="connsiteX2266" fmla="*/ 2989907 w 3905665"/>
              <a:gd name="connsiteY2266" fmla="*/ 1119947 h 3403632"/>
              <a:gd name="connsiteX2267" fmla="*/ 2490065 w 3905665"/>
              <a:gd name="connsiteY2267" fmla="*/ 1118210 h 3403632"/>
              <a:gd name="connsiteX2268" fmla="*/ 2490561 w 3905665"/>
              <a:gd name="connsiteY2268" fmla="*/ 1118456 h 3403632"/>
              <a:gd name="connsiteX2269" fmla="*/ 2490065 w 3905665"/>
              <a:gd name="connsiteY2269" fmla="*/ 1118707 h 3403632"/>
              <a:gd name="connsiteX2270" fmla="*/ 2489819 w 3905665"/>
              <a:gd name="connsiteY2270" fmla="*/ 1118456 h 3403632"/>
              <a:gd name="connsiteX2271" fmla="*/ 2490065 w 3905665"/>
              <a:gd name="connsiteY2271" fmla="*/ 1118210 h 3403632"/>
              <a:gd name="connsiteX2272" fmla="*/ 2222994 w 3905665"/>
              <a:gd name="connsiteY2272" fmla="*/ 1116484 h 3403632"/>
              <a:gd name="connsiteX2273" fmla="*/ 2225461 w 3905665"/>
              <a:gd name="connsiteY2273" fmla="*/ 1118949 h 3403632"/>
              <a:gd name="connsiteX2274" fmla="*/ 2222994 w 3905665"/>
              <a:gd name="connsiteY2274" fmla="*/ 1121417 h 3403632"/>
              <a:gd name="connsiteX2275" fmla="*/ 2220524 w 3905665"/>
              <a:gd name="connsiteY2275" fmla="*/ 1118949 h 3403632"/>
              <a:gd name="connsiteX2276" fmla="*/ 2222994 w 3905665"/>
              <a:gd name="connsiteY2276" fmla="*/ 1116484 h 3403632"/>
              <a:gd name="connsiteX2277" fmla="*/ 55051 w 3905665"/>
              <a:gd name="connsiteY2277" fmla="*/ 1111776 h 3403632"/>
              <a:gd name="connsiteX2278" fmla="*/ 55297 w 3905665"/>
              <a:gd name="connsiteY2278" fmla="*/ 1112021 h 3403632"/>
              <a:gd name="connsiteX2279" fmla="*/ 55051 w 3905665"/>
              <a:gd name="connsiteY2279" fmla="*/ 1112021 h 3403632"/>
              <a:gd name="connsiteX2280" fmla="*/ 3485797 w 3905665"/>
              <a:gd name="connsiteY2280" fmla="*/ 1107124 h 3403632"/>
              <a:gd name="connsiteX2281" fmla="*/ 3510235 w 3905665"/>
              <a:gd name="connsiteY2281" fmla="*/ 1131556 h 3403632"/>
              <a:gd name="connsiteX2282" fmla="*/ 3485797 w 3905665"/>
              <a:gd name="connsiteY2282" fmla="*/ 1155997 h 3403632"/>
              <a:gd name="connsiteX2283" fmla="*/ 3461360 w 3905665"/>
              <a:gd name="connsiteY2283" fmla="*/ 1131556 h 3403632"/>
              <a:gd name="connsiteX2284" fmla="*/ 3485797 w 3905665"/>
              <a:gd name="connsiteY2284" fmla="*/ 1107124 h 3403632"/>
              <a:gd name="connsiteX2285" fmla="*/ 3244145 w 3905665"/>
              <a:gd name="connsiteY2285" fmla="*/ 1099716 h 3403632"/>
              <a:gd name="connsiteX2286" fmla="*/ 3271050 w 3905665"/>
              <a:gd name="connsiteY2286" fmla="*/ 1126614 h 3403632"/>
              <a:gd name="connsiteX2287" fmla="*/ 3244145 w 3905665"/>
              <a:gd name="connsiteY2287" fmla="*/ 1153529 h 3403632"/>
              <a:gd name="connsiteX2288" fmla="*/ 3217241 w 3905665"/>
              <a:gd name="connsiteY2288" fmla="*/ 1126614 h 3403632"/>
              <a:gd name="connsiteX2289" fmla="*/ 3244145 w 3905665"/>
              <a:gd name="connsiteY2289" fmla="*/ 1099716 h 3403632"/>
              <a:gd name="connsiteX2290" fmla="*/ 1960124 w 3905665"/>
              <a:gd name="connsiteY2290" fmla="*/ 1097474 h 3403632"/>
              <a:gd name="connsiteX2291" fmla="*/ 1963578 w 3905665"/>
              <a:gd name="connsiteY2291" fmla="*/ 1100931 h 3403632"/>
              <a:gd name="connsiteX2292" fmla="*/ 1960124 w 3905665"/>
              <a:gd name="connsiteY2292" fmla="*/ 1104385 h 3403632"/>
              <a:gd name="connsiteX2293" fmla="*/ 1956672 w 3905665"/>
              <a:gd name="connsiteY2293" fmla="*/ 1100931 h 3403632"/>
              <a:gd name="connsiteX2294" fmla="*/ 1960124 w 3905665"/>
              <a:gd name="connsiteY2294" fmla="*/ 1097474 h 3403632"/>
              <a:gd name="connsiteX2295" fmla="*/ 505526 w 3905665"/>
              <a:gd name="connsiteY2295" fmla="*/ 1096721 h 3403632"/>
              <a:gd name="connsiteX2296" fmla="*/ 517866 w 3905665"/>
              <a:gd name="connsiteY2296" fmla="*/ 1109064 h 3403632"/>
              <a:gd name="connsiteX2297" fmla="*/ 505526 w 3905665"/>
              <a:gd name="connsiteY2297" fmla="*/ 1121402 h 3403632"/>
              <a:gd name="connsiteX2298" fmla="*/ 493183 w 3905665"/>
              <a:gd name="connsiteY2298" fmla="*/ 1109064 h 3403632"/>
              <a:gd name="connsiteX2299" fmla="*/ 505526 w 3905665"/>
              <a:gd name="connsiteY2299" fmla="*/ 1096721 h 3403632"/>
              <a:gd name="connsiteX2300" fmla="*/ 169831 w 3905665"/>
              <a:gd name="connsiteY2300" fmla="*/ 1092275 h 3403632"/>
              <a:gd name="connsiteX2301" fmla="*/ 170818 w 3905665"/>
              <a:gd name="connsiteY2301" fmla="*/ 1093263 h 3403632"/>
              <a:gd name="connsiteX2302" fmla="*/ 169831 w 3905665"/>
              <a:gd name="connsiteY2302" fmla="*/ 1094251 h 3403632"/>
              <a:gd name="connsiteX2303" fmla="*/ 168844 w 3905665"/>
              <a:gd name="connsiteY2303" fmla="*/ 1093263 h 3403632"/>
              <a:gd name="connsiteX2304" fmla="*/ 169831 w 3905665"/>
              <a:gd name="connsiteY2304" fmla="*/ 1092275 h 3403632"/>
              <a:gd name="connsiteX2305" fmla="*/ 1512370 w 3905665"/>
              <a:gd name="connsiteY2305" fmla="*/ 1088087 h 3403632"/>
              <a:gd name="connsiteX2306" fmla="*/ 1527180 w 3905665"/>
              <a:gd name="connsiteY2306" fmla="*/ 1102898 h 3403632"/>
              <a:gd name="connsiteX2307" fmla="*/ 1512370 w 3905665"/>
              <a:gd name="connsiteY2307" fmla="*/ 1117707 h 3403632"/>
              <a:gd name="connsiteX2308" fmla="*/ 1497559 w 3905665"/>
              <a:gd name="connsiteY2308" fmla="*/ 1102898 h 3403632"/>
              <a:gd name="connsiteX2309" fmla="*/ 1512370 w 3905665"/>
              <a:gd name="connsiteY2309" fmla="*/ 1088087 h 3403632"/>
              <a:gd name="connsiteX2310" fmla="*/ 1023882 w 3905665"/>
              <a:gd name="connsiteY2310" fmla="*/ 1078456 h 3403632"/>
              <a:gd name="connsiteX2311" fmla="*/ 1025857 w 3905665"/>
              <a:gd name="connsiteY2311" fmla="*/ 1080431 h 3403632"/>
              <a:gd name="connsiteX2312" fmla="*/ 1023882 w 3905665"/>
              <a:gd name="connsiteY2312" fmla="*/ 1082405 h 3403632"/>
              <a:gd name="connsiteX2313" fmla="*/ 1021908 w 3905665"/>
              <a:gd name="connsiteY2313" fmla="*/ 1080431 h 3403632"/>
              <a:gd name="connsiteX2314" fmla="*/ 1023882 w 3905665"/>
              <a:gd name="connsiteY2314" fmla="*/ 1078456 h 3403632"/>
              <a:gd name="connsiteX2315" fmla="*/ 821724 w 3905665"/>
              <a:gd name="connsiteY2315" fmla="*/ 1073764 h 3403632"/>
              <a:gd name="connsiteX2316" fmla="*/ 826414 w 3905665"/>
              <a:gd name="connsiteY2316" fmla="*/ 1078701 h 3403632"/>
              <a:gd name="connsiteX2317" fmla="*/ 821724 w 3905665"/>
              <a:gd name="connsiteY2317" fmla="*/ 1083637 h 3403632"/>
              <a:gd name="connsiteX2318" fmla="*/ 816787 w 3905665"/>
              <a:gd name="connsiteY2318" fmla="*/ 1078701 h 3403632"/>
              <a:gd name="connsiteX2319" fmla="*/ 821724 w 3905665"/>
              <a:gd name="connsiteY2319" fmla="*/ 1073764 h 3403632"/>
              <a:gd name="connsiteX2320" fmla="*/ 2647547 w 3905665"/>
              <a:gd name="connsiteY2320" fmla="*/ 1070085 h 3403632"/>
              <a:gd name="connsiteX2321" fmla="*/ 2652976 w 3905665"/>
              <a:gd name="connsiteY2321" fmla="*/ 1075516 h 3403632"/>
              <a:gd name="connsiteX2322" fmla="*/ 2647547 w 3905665"/>
              <a:gd name="connsiteY2322" fmla="*/ 1080945 h 3403632"/>
              <a:gd name="connsiteX2323" fmla="*/ 2642115 w 3905665"/>
              <a:gd name="connsiteY2323" fmla="*/ 1075516 h 3403632"/>
              <a:gd name="connsiteX2324" fmla="*/ 2647547 w 3905665"/>
              <a:gd name="connsiteY2324" fmla="*/ 1070085 h 3403632"/>
              <a:gd name="connsiteX2325" fmla="*/ 2895862 w 3905665"/>
              <a:gd name="connsiteY2325" fmla="*/ 1067373 h 3403632"/>
              <a:gd name="connsiteX2326" fmla="*/ 2912154 w 3905665"/>
              <a:gd name="connsiteY2326" fmla="*/ 1083666 h 3403632"/>
              <a:gd name="connsiteX2327" fmla="*/ 2895862 w 3905665"/>
              <a:gd name="connsiteY2327" fmla="*/ 1099709 h 3403632"/>
              <a:gd name="connsiteX2328" fmla="*/ 2879818 w 3905665"/>
              <a:gd name="connsiteY2328" fmla="*/ 1083666 h 3403632"/>
              <a:gd name="connsiteX2329" fmla="*/ 2895862 w 3905665"/>
              <a:gd name="connsiteY2329" fmla="*/ 1067373 h 3403632"/>
              <a:gd name="connsiteX2330" fmla="*/ 1691576 w 3905665"/>
              <a:gd name="connsiteY2330" fmla="*/ 1067355 h 3403632"/>
              <a:gd name="connsiteX2331" fmla="*/ 1700955 w 3905665"/>
              <a:gd name="connsiteY2331" fmla="*/ 1076736 h 3403632"/>
              <a:gd name="connsiteX2332" fmla="*/ 1691576 w 3905665"/>
              <a:gd name="connsiteY2332" fmla="*/ 1086115 h 3403632"/>
              <a:gd name="connsiteX2333" fmla="*/ 1682195 w 3905665"/>
              <a:gd name="connsiteY2333" fmla="*/ 1076736 h 3403632"/>
              <a:gd name="connsiteX2334" fmla="*/ 1691576 w 3905665"/>
              <a:gd name="connsiteY2334" fmla="*/ 1067355 h 3403632"/>
              <a:gd name="connsiteX2335" fmla="*/ 3140721 w 3905665"/>
              <a:gd name="connsiteY2335" fmla="*/ 1066883 h 3403632"/>
              <a:gd name="connsiteX2336" fmla="*/ 3163676 w 3905665"/>
              <a:gd name="connsiteY2336" fmla="*/ 1089838 h 3403632"/>
              <a:gd name="connsiteX2337" fmla="*/ 3140721 w 3905665"/>
              <a:gd name="connsiteY2337" fmla="*/ 1112796 h 3403632"/>
              <a:gd name="connsiteX2338" fmla="*/ 3117766 w 3905665"/>
              <a:gd name="connsiteY2338" fmla="*/ 1089838 h 3403632"/>
              <a:gd name="connsiteX2339" fmla="*/ 3140721 w 3905665"/>
              <a:gd name="connsiteY2339" fmla="*/ 1066883 h 3403632"/>
              <a:gd name="connsiteX2340" fmla="*/ 283127 w 3905665"/>
              <a:gd name="connsiteY2340" fmla="*/ 1064876 h 3403632"/>
              <a:gd name="connsiteX2341" fmla="*/ 285350 w 3905665"/>
              <a:gd name="connsiteY2341" fmla="*/ 1067097 h 3403632"/>
              <a:gd name="connsiteX2342" fmla="*/ 283127 w 3905665"/>
              <a:gd name="connsiteY2342" fmla="*/ 1069321 h 3403632"/>
              <a:gd name="connsiteX2343" fmla="*/ 280906 w 3905665"/>
              <a:gd name="connsiteY2343" fmla="*/ 1067097 h 3403632"/>
              <a:gd name="connsiteX2344" fmla="*/ 283127 w 3905665"/>
              <a:gd name="connsiteY2344" fmla="*/ 1064876 h 3403632"/>
              <a:gd name="connsiteX2345" fmla="*/ 2395781 w 3905665"/>
              <a:gd name="connsiteY2345" fmla="*/ 1063662 h 3403632"/>
              <a:gd name="connsiteX2346" fmla="*/ 2396027 w 3905665"/>
              <a:gd name="connsiteY2346" fmla="*/ 1063908 h 3403632"/>
              <a:gd name="connsiteX2347" fmla="*/ 2395781 w 3905665"/>
              <a:gd name="connsiteY2347" fmla="*/ 1064154 h 3403632"/>
              <a:gd name="connsiteX2348" fmla="*/ 2395781 w 3905665"/>
              <a:gd name="connsiteY2348" fmla="*/ 1063662 h 3403632"/>
              <a:gd name="connsiteX2349" fmla="*/ 2127963 w 3905665"/>
              <a:gd name="connsiteY2349" fmla="*/ 1059215 h 3403632"/>
              <a:gd name="connsiteX2350" fmla="*/ 2133146 w 3905665"/>
              <a:gd name="connsiteY2350" fmla="*/ 1064399 h 3403632"/>
              <a:gd name="connsiteX2351" fmla="*/ 2127963 w 3905665"/>
              <a:gd name="connsiteY2351" fmla="*/ 1069830 h 3403632"/>
              <a:gd name="connsiteX2352" fmla="*/ 2122780 w 3905665"/>
              <a:gd name="connsiteY2352" fmla="*/ 1064399 h 3403632"/>
              <a:gd name="connsiteX2353" fmla="*/ 2127963 w 3905665"/>
              <a:gd name="connsiteY2353" fmla="*/ 1059215 h 3403632"/>
              <a:gd name="connsiteX2354" fmla="*/ 1227273 w 3905665"/>
              <a:gd name="connsiteY2354" fmla="*/ 1056244 h 3403632"/>
              <a:gd name="connsiteX2355" fmla="*/ 1234925 w 3905665"/>
              <a:gd name="connsiteY2355" fmla="*/ 1063896 h 3403632"/>
              <a:gd name="connsiteX2356" fmla="*/ 1227273 w 3905665"/>
              <a:gd name="connsiteY2356" fmla="*/ 1071546 h 3403632"/>
              <a:gd name="connsiteX2357" fmla="*/ 1219620 w 3905665"/>
              <a:gd name="connsiteY2357" fmla="*/ 1063896 h 3403632"/>
              <a:gd name="connsiteX2358" fmla="*/ 1227273 w 3905665"/>
              <a:gd name="connsiteY2358" fmla="*/ 1056244 h 3403632"/>
              <a:gd name="connsiteX2359" fmla="*/ 3391507 w 3905665"/>
              <a:gd name="connsiteY2359" fmla="*/ 1053065 h 3403632"/>
              <a:gd name="connsiteX2360" fmla="*/ 3415696 w 3905665"/>
              <a:gd name="connsiteY2360" fmla="*/ 1077254 h 3403632"/>
              <a:gd name="connsiteX2361" fmla="*/ 3391507 w 3905665"/>
              <a:gd name="connsiteY2361" fmla="*/ 1101446 h 3403632"/>
              <a:gd name="connsiteX2362" fmla="*/ 3367316 w 3905665"/>
              <a:gd name="connsiteY2362" fmla="*/ 1077254 h 3403632"/>
              <a:gd name="connsiteX2363" fmla="*/ 3391507 w 3905665"/>
              <a:gd name="connsiteY2363" fmla="*/ 1053065 h 3403632"/>
              <a:gd name="connsiteX2364" fmla="*/ 612653 w 3905665"/>
              <a:gd name="connsiteY2364" fmla="*/ 1049080 h 3403632"/>
              <a:gd name="connsiteX2365" fmla="*/ 627712 w 3905665"/>
              <a:gd name="connsiteY2365" fmla="*/ 1064137 h 3403632"/>
              <a:gd name="connsiteX2366" fmla="*/ 612653 w 3905665"/>
              <a:gd name="connsiteY2366" fmla="*/ 1079195 h 3403632"/>
              <a:gd name="connsiteX2367" fmla="*/ 597596 w 3905665"/>
              <a:gd name="connsiteY2367" fmla="*/ 1064137 h 3403632"/>
              <a:gd name="connsiteX2368" fmla="*/ 612653 w 3905665"/>
              <a:gd name="connsiteY2368" fmla="*/ 1049080 h 3403632"/>
              <a:gd name="connsiteX2369" fmla="*/ 1414870 w 3905665"/>
              <a:gd name="connsiteY2369" fmla="*/ 1044643 h 3403632"/>
              <a:gd name="connsiteX2370" fmla="*/ 1415609 w 3905665"/>
              <a:gd name="connsiteY2370" fmla="*/ 1045384 h 3403632"/>
              <a:gd name="connsiteX2371" fmla="*/ 1414870 w 3905665"/>
              <a:gd name="connsiteY2371" fmla="*/ 1046123 h 3403632"/>
              <a:gd name="connsiteX2372" fmla="*/ 1414129 w 3905665"/>
              <a:gd name="connsiteY2372" fmla="*/ 1045384 h 3403632"/>
              <a:gd name="connsiteX2373" fmla="*/ 1414870 w 3905665"/>
              <a:gd name="connsiteY2373" fmla="*/ 1044643 h 3403632"/>
              <a:gd name="connsiteX2374" fmla="*/ 1864608 w 3905665"/>
              <a:gd name="connsiteY2374" fmla="*/ 1041194 h 3403632"/>
              <a:gd name="connsiteX2375" fmla="*/ 1869541 w 3905665"/>
              <a:gd name="connsiteY2375" fmla="*/ 1046131 h 3403632"/>
              <a:gd name="connsiteX2376" fmla="*/ 1864608 w 3905665"/>
              <a:gd name="connsiteY2376" fmla="*/ 1051068 h 3403632"/>
              <a:gd name="connsiteX2377" fmla="*/ 1859671 w 3905665"/>
              <a:gd name="connsiteY2377" fmla="*/ 1046131 h 3403632"/>
              <a:gd name="connsiteX2378" fmla="*/ 1864608 w 3905665"/>
              <a:gd name="connsiteY2378" fmla="*/ 1041194 h 3403632"/>
              <a:gd name="connsiteX2379" fmla="*/ 394448 w 3905665"/>
              <a:gd name="connsiteY2379" fmla="*/ 1030319 h 3403632"/>
              <a:gd name="connsiteX2380" fmla="*/ 397656 w 3905665"/>
              <a:gd name="connsiteY2380" fmla="*/ 1033527 h 3403632"/>
              <a:gd name="connsiteX2381" fmla="*/ 394448 w 3905665"/>
              <a:gd name="connsiteY2381" fmla="*/ 1036735 h 3403632"/>
              <a:gd name="connsiteX2382" fmla="*/ 391240 w 3905665"/>
              <a:gd name="connsiteY2382" fmla="*/ 1033527 h 3403632"/>
              <a:gd name="connsiteX2383" fmla="*/ 394448 w 3905665"/>
              <a:gd name="connsiteY2383" fmla="*/ 1030319 h 3403632"/>
              <a:gd name="connsiteX2384" fmla="*/ 2290874 w 3905665"/>
              <a:gd name="connsiteY2384" fmla="*/ 1019725 h 3403632"/>
              <a:gd name="connsiteX2385" fmla="*/ 2296057 w 3905665"/>
              <a:gd name="connsiteY2385" fmla="*/ 1024907 h 3403632"/>
              <a:gd name="connsiteX2386" fmla="*/ 2290874 w 3905665"/>
              <a:gd name="connsiteY2386" fmla="*/ 1030090 h 3403632"/>
              <a:gd name="connsiteX2387" fmla="*/ 2285691 w 3905665"/>
              <a:gd name="connsiteY2387" fmla="*/ 1024907 h 3403632"/>
              <a:gd name="connsiteX2388" fmla="*/ 2290874 w 3905665"/>
              <a:gd name="connsiteY2388" fmla="*/ 1019725 h 3403632"/>
              <a:gd name="connsiteX2389" fmla="*/ 2553750 w 3905665"/>
              <a:gd name="connsiteY2389" fmla="*/ 1018246 h 3403632"/>
              <a:gd name="connsiteX2390" fmla="*/ 2556217 w 3905665"/>
              <a:gd name="connsiteY2390" fmla="*/ 1020962 h 3403632"/>
              <a:gd name="connsiteX2391" fmla="*/ 2553750 w 3905665"/>
              <a:gd name="connsiteY2391" fmla="*/ 1023429 h 3403632"/>
              <a:gd name="connsiteX2392" fmla="*/ 2551280 w 3905665"/>
              <a:gd name="connsiteY2392" fmla="*/ 1020962 h 3403632"/>
              <a:gd name="connsiteX2393" fmla="*/ 2553750 w 3905665"/>
              <a:gd name="connsiteY2393" fmla="*/ 1018246 h 3403632"/>
              <a:gd name="connsiteX2394" fmla="*/ 2801818 w 3905665"/>
              <a:gd name="connsiteY2394" fmla="*/ 1018004 h 3403632"/>
              <a:gd name="connsiteX2395" fmla="*/ 2813420 w 3905665"/>
              <a:gd name="connsiteY2395" fmla="*/ 1029360 h 3403632"/>
              <a:gd name="connsiteX2396" fmla="*/ 2801818 w 3905665"/>
              <a:gd name="connsiteY2396" fmla="*/ 1040713 h 3403632"/>
              <a:gd name="connsiteX2397" fmla="*/ 2790465 w 3905665"/>
              <a:gd name="connsiteY2397" fmla="*/ 1029360 h 3403632"/>
              <a:gd name="connsiteX2398" fmla="*/ 2801818 w 3905665"/>
              <a:gd name="connsiteY2398" fmla="*/ 1018004 h 3403632"/>
              <a:gd name="connsiteX2399" fmla="*/ 3046432 w 3905665"/>
              <a:gd name="connsiteY2399" fmla="*/ 1017269 h 3403632"/>
              <a:gd name="connsiteX2400" fmla="*/ 3064945 w 3905665"/>
              <a:gd name="connsiteY2400" fmla="*/ 1035781 h 3403632"/>
              <a:gd name="connsiteX2401" fmla="*/ 3046432 w 3905665"/>
              <a:gd name="connsiteY2401" fmla="*/ 1054295 h 3403632"/>
              <a:gd name="connsiteX2402" fmla="*/ 3028167 w 3905665"/>
              <a:gd name="connsiteY2402" fmla="*/ 1035781 h 3403632"/>
              <a:gd name="connsiteX2403" fmla="*/ 3046432 w 3905665"/>
              <a:gd name="connsiteY2403" fmla="*/ 1017269 h 3403632"/>
              <a:gd name="connsiteX2404" fmla="*/ 1117677 w 3905665"/>
              <a:gd name="connsiteY2404" fmla="*/ 1008601 h 3403632"/>
              <a:gd name="connsiteX2405" fmla="*/ 1121381 w 3905665"/>
              <a:gd name="connsiteY2405" fmla="*/ 1012305 h 3403632"/>
              <a:gd name="connsiteX2406" fmla="*/ 1117677 w 3905665"/>
              <a:gd name="connsiteY2406" fmla="*/ 1016008 h 3403632"/>
              <a:gd name="connsiteX2407" fmla="*/ 1113974 w 3905665"/>
              <a:gd name="connsiteY2407" fmla="*/ 1012305 h 3403632"/>
              <a:gd name="connsiteX2408" fmla="*/ 1117677 w 3905665"/>
              <a:gd name="connsiteY2408" fmla="*/ 1008601 h 3403632"/>
              <a:gd name="connsiteX2409" fmla="*/ 920704 w 3905665"/>
              <a:gd name="connsiteY2409" fmla="*/ 1006874 h 3403632"/>
              <a:gd name="connsiteX2410" fmla="*/ 932305 w 3905665"/>
              <a:gd name="connsiteY2410" fmla="*/ 1018476 h 3403632"/>
              <a:gd name="connsiteX2411" fmla="*/ 920704 w 3905665"/>
              <a:gd name="connsiteY2411" fmla="*/ 1030078 h 3403632"/>
              <a:gd name="connsiteX2412" fmla="*/ 909102 w 3905665"/>
              <a:gd name="connsiteY2412" fmla="*/ 1018476 h 3403632"/>
              <a:gd name="connsiteX2413" fmla="*/ 920704 w 3905665"/>
              <a:gd name="connsiteY2413" fmla="*/ 1006874 h 3403632"/>
              <a:gd name="connsiteX2414" fmla="*/ 1595061 w 3905665"/>
              <a:gd name="connsiteY2414" fmla="*/ 1005397 h 3403632"/>
              <a:gd name="connsiteX2415" fmla="*/ 1610610 w 3905665"/>
              <a:gd name="connsiteY2415" fmla="*/ 1020949 h 3403632"/>
              <a:gd name="connsiteX2416" fmla="*/ 1595061 w 3905665"/>
              <a:gd name="connsiteY2416" fmla="*/ 1036498 h 3403632"/>
              <a:gd name="connsiteX2417" fmla="*/ 1579510 w 3905665"/>
              <a:gd name="connsiteY2417" fmla="*/ 1020949 h 3403632"/>
              <a:gd name="connsiteX2418" fmla="*/ 1595061 w 3905665"/>
              <a:gd name="connsiteY2418" fmla="*/ 1005397 h 3403632"/>
              <a:gd name="connsiteX2419" fmla="*/ 2032931 w 3905665"/>
              <a:gd name="connsiteY2419" fmla="*/ 1003922 h 3403632"/>
              <a:gd name="connsiteX2420" fmla="*/ 2039350 w 3905665"/>
              <a:gd name="connsiteY2420" fmla="*/ 1010339 h 3403632"/>
              <a:gd name="connsiteX2421" fmla="*/ 2032931 w 3905665"/>
              <a:gd name="connsiteY2421" fmla="*/ 1016758 h 3403632"/>
              <a:gd name="connsiteX2422" fmla="*/ 2026514 w 3905665"/>
              <a:gd name="connsiteY2422" fmla="*/ 1010339 h 3403632"/>
              <a:gd name="connsiteX2423" fmla="*/ 2032931 w 3905665"/>
              <a:gd name="connsiteY2423" fmla="*/ 1003922 h 3403632"/>
              <a:gd name="connsiteX2424" fmla="*/ 3536149 w 3905665"/>
              <a:gd name="connsiteY2424" fmla="*/ 997532 h 3403632"/>
              <a:gd name="connsiteX2425" fmla="*/ 3565277 w 3905665"/>
              <a:gd name="connsiteY2425" fmla="*/ 1026659 h 3403632"/>
              <a:gd name="connsiteX2426" fmla="*/ 3536149 w 3905665"/>
              <a:gd name="connsiteY2426" fmla="*/ 1055783 h 3403632"/>
              <a:gd name="connsiteX2427" fmla="*/ 3507024 w 3905665"/>
              <a:gd name="connsiteY2427" fmla="*/ 1026659 h 3403632"/>
              <a:gd name="connsiteX2428" fmla="*/ 3536149 w 3905665"/>
              <a:gd name="connsiteY2428" fmla="*/ 997532 h 3403632"/>
              <a:gd name="connsiteX2429" fmla="*/ 716816 w 3905665"/>
              <a:gd name="connsiteY2429" fmla="*/ 994779 h 3403632"/>
              <a:gd name="connsiteX2430" fmla="*/ 734834 w 3905665"/>
              <a:gd name="connsiteY2430" fmla="*/ 1012798 h 3403632"/>
              <a:gd name="connsiteX2431" fmla="*/ 716816 w 3905665"/>
              <a:gd name="connsiteY2431" fmla="*/ 1030816 h 3403632"/>
              <a:gd name="connsiteX2432" fmla="*/ 698798 w 3905665"/>
              <a:gd name="connsiteY2432" fmla="*/ 1012798 h 3403632"/>
              <a:gd name="connsiteX2433" fmla="*/ 716816 w 3905665"/>
              <a:gd name="connsiteY2433" fmla="*/ 994779 h 3403632"/>
              <a:gd name="connsiteX2434" fmla="*/ 3297216 w 3905665"/>
              <a:gd name="connsiteY2434" fmla="*/ 994565 h 3403632"/>
              <a:gd name="connsiteX2435" fmla="*/ 3325357 w 3905665"/>
              <a:gd name="connsiteY2435" fmla="*/ 1022704 h 3403632"/>
              <a:gd name="connsiteX2436" fmla="*/ 3297216 w 3905665"/>
              <a:gd name="connsiteY2436" fmla="*/ 1050842 h 3403632"/>
              <a:gd name="connsiteX2437" fmla="*/ 3269078 w 3905665"/>
              <a:gd name="connsiteY2437" fmla="*/ 1022704 h 3403632"/>
              <a:gd name="connsiteX2438" fmla="*/ 3297216 w 3905665"/>
              <a:gd name="connsiteY2438" fmla="*/ 994565 h 3403632"/>
              <a:gd name="connsiteX2439" fmla="*/ 503551 w 3905665"/>
              <a:gd name="connsiteY2439" fmla="*/ 986138 h 3403632"/>
              <a:gd name="connsiteX2440" fmla="*/ 510462 w 3905665"/>
              <a:gd name="connsiteY2440" fmla="*/ 993049 h 3403632"/>
              <a:gd name="connsiteX2441" fmla="*/ 503551 w 3905665"/>
              <a:gd name="connsiteY2441" fmla="*/ 999961 h 3403632"/>
              <a:gd name="connsiteX2442" fmla="*/ 496639 w 3905665"/>
              <a:gd name="connsiteY2442" fmla="*/ 993049 h 3403632"/>
              <a:gd name="connsiteX2443" fmla="*/ 503551 w 3905665"/>
              <a:gd name="connsiteY2443" fmla="*/ 986138 h 3403632"/>
              <a:gd name="connsiteX2444" fmla="*/ 54804 w 3905665"/>
              <a:gd name="connsiteY2444" fmla="*/ 984162 h 3403632"/>
              <a:gd name="connsiteX2445" fmla="*/ 73317 w 3905665"/>
              <a:gd name="connsiteY2445" fmla="*/ 1002675 h 3403632"/>
              <a:gd name="connsiteX2446" fmla="*/ 54804 w 3905665"/>
              <a:gd name="connsiteY2446" fmla="*/ 1021188 h 3403632"/>
              <a:gd name="connsiteX2447" fmla="*/ 36291 w 3905665"/>
              <a:gd name="connsiteY2447" fmla="*/ 1002675 h 3403632"/>
              <a:gd name="connsiteX2448" fmla="*/ 54804 w 3905665"/>
              <a:gd name="connsiteY2448" fmla="*/ 984162 h 3403632"/>
              <a:gd name="connsiteX2449" fmla="*/ 1316380 w 3905665"/>
              <a:gd name="connsiteY2449" fmla="*/ 979477 h 3403632"/>
              <a:gd name="connsiteX2450" fmla="*/ 1325266 w 3905665"/>
              <a:gd name="connsiteY2450" fmla="*/ 988364 h 3403632"/>
              <a:gd name="connsiteX2451" fmla="*/ 1316380 w 3905665"/>
              <a:gd name="connsiteY2451" fmla="*/ 997250 h 3403632"/>
              <a:gd name="connsiteX2452" fmla="*/ 1307494 w 3905665"/>
              <a:gd name="connsiteY2452" fmla="*/ 988364 h 3403632"/>
              <a:gd name="connsiteX2453" fmla="*/ 1316380 w 3905665"/>
              <a:gd name="connsiteY2453" fmla="*/ 979477 h 3403632"/>
              <a:gd name="connsiteX2454" fmla="*/ 1769573 w 3905665"/>
              <a:gd name="connsiteY2454" fmla="*/ 978741 h 3403632"/>
              <a:gd name="connsiteX2455" fmla="*/ 1781178 w 3905665"/>
              <a:gd name="connsiteY2455" fmla="*/ 990344 h 3403632"/>
              <a:gd name="connsiteX2456" fmla="*/ 1769573 w 3905665"/>
              <a:gd name="connsiteY2456" fmla="*/ 1001945 h 3403632"/>
              <a:gd name="connsiteX2457" fmla="*/ 1757974 w 3905665"/>
              <a:gd name="connsiteY2457" fmla="*/ 990344 h 3403632"/>
              <a:gd name="connsiteX2458" fmla="*/ 1769573 w 3905665"/>
              <a:gd name="connsiteY2458" fmla="*/ 978741 h 3403632"/>
              <a:gd name="connsiteX2459" fmla="*/ 2707529 w 3905665"/>
              <a:gd name="connsiteY2459" fmla="*/ 967894 h 3403632"/>
              <a:gd name="connsiteX2460" fmla="*/ 2715428 w 3905665"/>
              <a:gd name="connsiteY2460" fmla="*/ 975792 h 3403632"/>
              <a:gd name="connsiteX2461" fmla="*/ 2707529 w 3905665"/>
              <a:gd name="connsiteY2461" fmla="*/ 983692 h 3403632"/>
              <a:gd name="connsiteX2462" fmla="*/ 2699630 w 3905665"/>
              <a:gd name="connsiteY2462" fmla="*/ 975792 h 3403632"/>
              <a:gd name="connsiteX2463" fmla="*/ 2707529 w 3905665"/>
              <a:gd name="connsiteY2463" fmla="*/ 967894 h 3403632"/>
              <a:gd name="connsiteX2464" fmla="*/ 2459458 w 3905665"/>
              <a:gd name="connsiteY2464" fmla="*/ 966409 h 3403632"/>
              <a:gd name="connsiteX2465" fmla="*/ 2459704 w 3905665"/>
              <a:gd name="connsiteY2465" fmla="*/ 966409 h 3403632"/>
              <a:gd name="connsiteX2466" fmla="*/ 2459458 w 3905665"/>
              <a:gd name="connsiteY2466" fmla="*/ 966655 h 3403632"/>
              <a:gd name="connsiteX2467" fmla="*/ 1498548 w 3905665"/>
              <a:gd name="connsiteY2467" fmla="*/ 963927 h 3403632"/>
              <a:gd name="connsiteX2468" fmla="*/ 1499040 w 3905665"/>
              <a:gd name="connsiteY2468" fmla="*/ 964422 h 3403632"/>
              <a:gd name="connsiteX2469" fmla="*/ 1498548 w 3905665"/>
              <a:gd name="connsiteY2469" fmla="*/ 964915 h 3403632"/>
              <a:gd name="connsiteX2470" fmla="*/ 1498053 w 3905665"/>
              <a:gd name="connsiteY2470" fmla="*/ 964422 h 3403632"/>
              <a:gd name="connsiteX2471" fmla="*/ 1498548 w 3905665"/>
              <a:gd name="connsiteY2471" fmla="*/ 963927 h 3403632"/>
              <a:gd name="connsiteX2472" fmla="*/ 2952140 w 3905665"/>
              <a:gd name="connsiteY2472" fmla="*/ 962961 h 3403632"/>
              <a:gd name="connsiteX2473" fmla="*/ 2971148 w 3905665"/>
              <a:gd name="connsiteY2473" fmla="*/ 981967 h 3403632"/>
              <a:gd name="connsiteX2474" fmla="*/ 2952140 w 3905665"/>
              <a:gd name="connsiteY2474" fmla="*/ 1000973 h 3403632"/>
              <a:gd name="connsiteX2475" fmla="*/ 2933134 w 3905665"/>
              <a:gd name="connsiteY2475" fmla="*/ 981967 h 3403632"/>
              <a:gd name="connsiteX2476" fmla="*/ 2952140 w 3905665"/>
              <a:gd name="connsiteY2476" fmla="*/ 962961 h 3403632"/>
              <a:gd name="connsiteX2477" fmla="*/ 169335 w 3905665"/>
              <a:gd name="connsiteY2477" fmla="*/ 961700 h 3403632"/>
              <a:gd name="connsiteX2478" fmla="*/ 190316 w 3905665"/>
              <a:gd name="connsiteY2478" fmla="*/ 982680 h 3403632"/>
              <a:gd name="connsiteX2479" fmla="*/ 169335 w 3905665"/>
              <a:gd name="connsiteY2479" fmla="*/ 1003414 h 3403632"/>
              <a:gd name="connsiteX2480" fmla="*/ 148355 w 3905665"/>
              <a:gd name="connsiteY2480" fmla="*/ 982680 h 3403632"/>
              <a:gd name="connsiteX2481" fmla="*/ 169335 w 3905665"/>
              <a:gd name="connsiteY2481" fmla="*/ 961700 h 3403632"/>
              <a:gd name="connsiteX2482" fmla="*/ 2196336 w 3905665"/>
              <a:gd name="connsiteY2482" fmla="*/ 961469 h 3403632"/>
              <a:gd name="connsiteX2483" fmla="*/ 2205717 w 3905665"/>
              <a:gd name="connsiteY2483" fmla="*/ 970848 h 3403632"/>
              <a:gd name="connsiteX2484" fmla="*/ 2196336 w 3905665"/>
              <a:gd name="connsiteY2484" fmla="*/ 980229 h 3403632"/>
              <a:gd name="connsiteX2485" fmla="*/ 2186957 w 3905665"/>
              <a:gd name="connsiteY2485" fmla="*/ 970848 h 3403632"/>
              <a:gd name="connsiteX2486" fmla="*/ 2196336 w 3905665"/>
              <a:gd name="connsiteY2486" fmla="*/ 961469 h 3403632"/>
              <a:gd name="connsiteX2487" fmla="*/ 3194037 w 3905665"/>
              <a:gd name="connsiteY2487" fmla="*/ 960747 h 3403632"/>
              <a:gd name="connsiteX2488" fmla="*/ 3219954 w 3905665"/>
              <a:gd name="connsiteY2488" fmla="*/ 986664 h 3403632"/>
              <a:gd name="connsiteX2489" fmla="*/ 3194037 w 3905665"/>
              <a:gd name="connsiteY2489" fmla="*/ 1012828 h 3403632"/>
              <a:gd name="connsiteX2490" fmla="*/ 3168120 w 3905665"/>
              <a:gd name="connsiteY2490" fmla="*/ 986664 h 3403632"/>
              <a:gd name="connsiteX2491" fmla="*/ 3194037 w 3905665"/>
              <a:gd name="connsiteY2491" fmla="*/ 960747 h 3403632"/>
              <a:gd name="connsiteX2492" fmla="*/ 1937665 w 3905665"/>
              <a:gd name="connsiteY2492" fmla="*/ 948630 h 3403632"/>
              <a:gd name="connsiteX2493" fmla="*/ 1945070 w 3905665"/>
              <a:gd name="connsiteY2493" fmla="*/ 956036 h 3403632"/>
              <a:gd name="connsiteX2494" fmla="*/ 1937665 w 3905665"/>
              <a:gd name="connsiteY2494" fmla="*/ 963439 h 3403632"/>
              <a:gd name="connsiteX2495" fmla="*/ 1930263 w 3905665"/>
              <a:gd name="connsiteY2495" fmla="*/ 956036 h 3403632"/>
              <a:gd name="connsiteX2496" fmla="*/ 1937665 w 3905665"/>
              <a:gd name="connsiteY2496" fmla="*/ 948630 h 3403632"/>
              <a:gd name="connsiteX2497" fmla="*/ 3441615 w 3905665"/>
              <a:gd name="connsiteY2497" fmla="*/ 941005 h 3403632"/>
              <a:gd name="connsiteX2498" fmla="*/ 3472715 w 3905665"/>
              <a:gd name="connsiteY2498" fmla="*/ 972105 h 3403632"/>
              <a:gd name="connsiteX2499" fmla="*/ 3441615 w 3905665"/>
              <a:gd name="connsiteY2499" fmla="*/ 1003207 h 3403632"/>
              <a:gd name="connsiteX2500" fmla="*/ 3410513 w 3905665"/>
              <a:gd name="connsiteY2500" fmla="*/ 972105 h 3403632"/>
              <a:gd name="connsiteX2501" fmla="*/ 3441615 w 3905665"/>
              <a:gd name="connsiteY2501" fmla="*/ 941005 h 3403632"/>
              <a:gd name="connsiteX2502" fmla="*/ 817527 w 3905665"/>
              <a:gd name="connsiteY2502" fmla="*/ 934797 h 3403632"/>
              <a:gd name="connsiteX2503" fmla="*/ 838261 w 3905665"/>
              <a:gd name="connsiteY2503" fmla="*/ 955532 h 3403632"/>
              <a:gd name="connsiteX2504" fmla="*/ 817527 w 3905665"/>
              <a:gd name="connsiteY2504" fmla="*/ 976266 h 3403632"/>
              <a:gd name="connsiteX2505" fmla="*/ 796792 w 3905665"/>
              <a:gd name="connsiteY2505" fmla="*/ 955532 h 3403632"/>
              <a:gd name="connsiteX2506" fmla="*/ 817527 w 3905665"/>
              <a:gd name="connsiteY2506" fmla="*/ 934797 h 3403632"/>
              <a:gd name="connsiteX2507" fmla="*/ 1016229 w 3905665"/>
              <a:gd name="connsiteY2507" fmla="*/ 933811 h 3403632"/>
              <a:gd name="connsiteX2508" fmla="*/ 1035235 w 3905665"/>
              <a:gd name="connsiteY2508" fmla="*/ 952817 h 3403632"/>
              <a:gd name="connsiteX2509" fmla="*/ 1016229 w 3905665"/>
              <a:gd name="connsiteY2509" fmla="*/ 971825 h 3403632"/>
              <a:gd name="connsiteX2510" fmla="*/ 997224 w 3905665"/>
              <a:gd name="connsiteY2510" fmla="*/ 952817 h 3403632"/>
              <a:gd name="connsiteX2511" fmla="*/ 1016229 w 3905665"/>
              <a:gd name="connsiteY2511" fmla="*/ 933811 h 3403632"/>
              <a:gd name="connsiteX2512" fmla="*/ 609689 w 3905665"/>
              <a:gd name="connsiteY2512" fmla="*/ 933809 h 3403632"/>
              <a:gd name="connsiteX2513" fmla="*/ 621537 w 3905665"/>
              <a:gd name="connsiteY2513" fmla="*/ 945411 h 3403632"/>
              <a:gd name="connsiteX2514" fmla="*/ 609689 w 3905665"/>
              <a:gd name="connsiteY2514" fmla="*/ 957258 h 3403632"/>
              <a:gd name="connsiteX2515" fmla="*/ 598087 w 3905665"/>
              <a:gd name="connsiteY2515" fmla="*/ 945411 h 3403632"/>
              <a:gd name="connsiteX2516" fmla="*/ 609689 w 3905665"/>
              <a:gd name="connsiteY2516" fmla="*/ 933809 h 3403632"/>
              <a:gd name="connsiteX2517" fmla="*/ 1207525 w 3905665"/>
              <a:gd name="connsiteY2517" fmla="*/ 932825 h 3403632"/>
              <a:gd name="connsiteX2518" fmla="*/ 1213941 w 3905665"/>
              <a:gd name="connsiteY2518" fmla="*/ 939241 h 3403632"/>
              <a:gd name="connsiteX2519" fmla="*/ 1207525 w 3905665"/>
              <a:gd name="connsiteY2519" fmla="*/ 945660 h 3403632"/>
              <a:gd name="connsiteX2520" fmla="*/ 1201106 w 3905665"/>
              <a:gd name="connsiteY2520" fmla="*/ 939241 h 3403632"/>
              <a:gd name="connsiteX2521" fmla="*/ 1207525 w 3905665"/>
              <a:gd name="connsiteY2521" fmla="*/ 932825 h 3403632"/>
              <a:gd name="connsiteX2522" fmla="*/ 282384 w 3905665"/>
              <a:gd name="connsiteY2522" fmla="*/ 930351 h 3403632"/>
              <a:gd name="connsiteX2523" fmla="*/ 306576 w 3905665"/>
              <a:gd name="connsiteY2523" fmla="*/ 954542 h 3403632"/>
              <a:gd name="connsiteX2524" fmla="*/ 282384 w 3905665"/>
              <a:gd name="connsiteY2524" fmla="*/ 978731 h 3403632"/>
              <a:gd name="connsiteX2525" fmla="*/ 258196 w 3905665"/>
              <a:gd name="connsiteY2525" fmla="*/ 954542 h 3403632"/>
              <a:gd name="connsiteX2526" fmla="*/ 282384 w 3905665"/>
              <a:gd name="connsiteY2526" fmla="*/ 930351 h 3403632"/>
              <a:gd name="connsiteX2527" fmla="*/ 2355051 w 3905665"/>
              <a:gd name="connsiteY2527" fmla="*/ 919756 h 3403632"/>
              <a:gd name="connsiteX2528" fmla="*/ 2363937 w 3905665"/>
              <a:gd name="connsiteY2528" fmla="*/ 928642 h 3403632"/>
              <a:gd name="connsiteX2529" fmla="*/ 2355051 w 3905665"/>
              <a:gd name="connsiteY2529" fmla="*/ 937530 h 3403632"/>
              <a:gd name="connsiteX2530" fmla="*/ 2346165 w 3905665"/>
              <a:gd name="connsiteY2530" fmla="*/ 928642 h 3403632"/>
              <a:gd name="connsiteX2531" fmla="*/ 2355051 w 3905665"/>
              <a:gd name="connsiteY2531" fmla="*/ 919756 h 3403632"/>
              <a:gd name="connsiteX2532" fmla="*/ 1673803 w 3905665"/>
              <a:gd name="connsiteY2532" fmla="*/ 918757 h 3403632"/>
              <a:gd name="connsiteX2533" fmla="*/ 1690092 w 3905665"/>
              <a:gd name="connsiteY2533" fmla="*/ 935049 h 3403632"/>
              <a:gd name="connsiteX2534" fmla="*/ 1673803 w 3905665"/>
              <a:gd name="connsiteY2534" fmla="*/ 951340 h 3403632"/>
              <a:gd name="connsiteX2535" fmla="*/ 1657510 w 3905665"/>
              <a:gd name="connsiteY2535" fmla="*/ 935049 h 3403632"/>
              <a:gd name="connsiteX2536" fmla="*/ 1673803 w 3905665"/>
              <a:gd name="connsiteY2536" fmla="*/ 918757 h 3403632"/>
              <a:gd name="connsiteX2537" fmla="*/ 2613731 w 3905665"/>
              <a:gd name="connsiteY2537" fmla="*/ 915069 h 3403632"/>
              <a:gd name="connsiteX2538" fmla="*/ 2619655 w 3905665"/>
              <a:gd name="connsiteY2538" fmla="*/ 920994 h 3403632"/>
              <a:gd name="connsiteX2539" fmla="*/ 2613731 w 3905665"/>
              <a:gd name="connsiteY2539" fmla="*/ 926918 h 3403632"/>
              <a:gd name="connsiteX2540" fmla="*/ 2607807 w 3905665"/>
              <a:gd name="connsiteY2540" fmla="*/ 920994 h 3403632"/>
              <a:gd name="connsiteX2541" fmla="*/ 2613731 w 3905665"/>
              <a:gd name="connsiteY2541" fmla="*/ 915069 h 3403632"/>
              <a:gd name="connsiteX2542" fmla="*/ 3099748 w 3905665"/>
              <a:gd name="connsiteY2542" fmla="*/ 913102 h 3403632"/>
              <a:gd name="connsiteX2543" fmla="*/ 3119495 w 3905665"/>
              <a:gd name="connsiteY2543" fmla="*/ 932851 h 3403632"/>
              <a:gd name="connsiteX2544" fmla="*/ 3099748 w 3905665"/>
              <a:gd name="connsiteY2544" fmla="*/ 952599 h 3403632"/>
              <a:gd name="connsiteX2545" fmla="*/ 3080001 w 3905665"/>
              <a:gd name="connsiteY2545" fmla="*/ 932851 h 3403632"/>
              <a:gd name="connsiteX2546" fmla="*/ 3099748 w 3905665"/>
              <a:gd name="connsiteY2546" fmla="*/ 913102 h 3403632"/>
              <a:gd name="connsiteX2547" fmla="*/ 2858096 w 3905665"/>
              <a:gd name="connsiteY2547" fmla="*/ 910382 h 3403632"/>
              <a:gd name="connsiteX2548" fmla="*/ 2875376 w 3905665"/>
              <a:gd name="connsiteY2548" fmla="*/ 927660 h 3403632"/>
              <a:gd name="connsiteX2549" fmla="*/ 2858096 w 3905665"/>
              <a:gd name="connsiteY2549" fmla="*/ 944940 h 3403632"/>
              <a:gd name="connsiteX2550" fmla="*/ 2840819 w 3905665"/>
              <a:gd name="connsiteY2550" fmla="*/ 927660 h 3403632"/>
              <a:gd name="connsiteX2551" fmla="*/ 2858096 w 3905665"/>
              <a:gd name="connsiteY2551" fmla="*/ 910382 h 3403632"/>
              <a:gd name="connsiteX2552" fmla="*/ 2101551 w 3905665"/>
              <a:gd name="connsiteY2552" fmla="*/ 907164 h 3403632"/>
              <a:gd name="connsiteX2553" fmla="*/ 2111425 w 3905665"/>
              <a:gd name="connsiteY2553" fmla="*/ 916790 h 3403632"/>
              <a:gd name="connsiteX2554" fmla="*/ 2101551 w 3905665"/>
              <a:gd name="connsiteY2554" fmla="*/ 926664 h 3403632"/>
              <a:gd name="connsiteX2555" fmla="*/ 2091678 w 3905665"/>
              <a:gd name="connsiteY2555" fmla="*/ 916790 h 3403632"/>
              <a:gd name="connsiteX2556" fmla="*/ 2101551 w 3905665"/>
              <a:gd name="connsiteY2556" fmla="*/ 907164 h 3403632"/>
              <a:gd name="connsiteX2557" fmla="*/ 1401289 w 3905665"/>
              <a:gd name="connsiteY2557" fmla="*/ 898270 h 3403632"/>
              <a:gd name="connsiteX2558" fmla="*/ 1411411 w 3905665"/>
              <a:gd name="connsiteY2558" fmla="*/ 908389 h 3403632"/>
              <a:gd name="connsiteX2559" fmla="*/ 1401289 w 3905665"/>
              <a:gd name="connsiteY2559" fmla="*/ 918511 h 3403632"/>
              <a:gd name="connsiteX2560" fmla="*/ 1391170 w 3905665"/>
              <a:gd name="connsiteY2560" fmla="*/ 908389 h 3403632"/>
              <a:gd name="connsiteX2561" fmla="*/ 1401289 w 3905665"/>
              <a:gd name="connsiteY2561" fmla="*/ 898270 h 3403632"/>
              <a:gd name="connsiteX2562" fmla="*/ 393460 w 3905665"/>
              <a:gd name="connsiteY2562" fmla="*/ 891353 h 3403632"/>
              <a:gd name="connsiteX2563" fmla="*/ 421352 w 3905665"/>
              <a:gd name="connsiteY2563" fmla="*/ 919244 h 3403632"/>
              <a:gd name="connsiteX2564" fmla="*/ 393460 w 3905665"/>
              <a:gd name="connsiteY2564" fmla="*/ 947138 h 3403632"/>
              <a:gd name="connsiteX2565" fmla="*/ 365569 w 3905665"/>
              <a:gd name="connsiteY2565" fmla="*/ 919244 h 3403632"/>
              <a:gd name="connsiteX2566" fmla="*/ 393460 w 3905665"/>
              <a:gd name="connsiteY2566" fmla="*/ 891353 h 3403632"/>
              <a:gd name="connsiteX2567" fmla="*/ 54064 w 3905665"/>
              <a:gd name="connsiteY2567" fmla="*/ 887402 h 3403632"/>
              <a:gd name="connsiteX2568" fmla="*/ 59493 w 3905665"/>
              <a:gd name="connsiteY2568" fmla="*/ 893080 h 3403632"/>
              <a:gd name="connsiteX2569" fmla="*/ 54064 w 3905665"/>
              <a:gd name="connsiteY2569" fmla="*/ 898509 h 3403632"/>
              <a:gd name="connsiteX2570" fmla="*/ 48633 w 3905665"/>
              <a:gd name="connsiteY2570" fmla="*/ 893080 h 3403632"/>
              <a:gd name="connsiteX2571" fmla="*/ 54064 w 3905665"/>
              <a:gd name="connsiteY2571" fmla="*/ 887402 h 3403632"/>
              <a:gd name="connsiteX2572" fmla="*/ 3347324 w 3905665"/>
              <a:gd name="connsiteY2572" fmla="*/ 885957 h 3403632"/>
              <a:gd name="connsiteX2573" fmla="*/ 3378673 w 3905665"/>
              <a:gd name="connsiteY2573" fmla="*/ 917551 h 3403632"/>
              <a:gd name="connsiteX2574" fmla="*/ 3347324 w 3905665"/>
              <a:gd name="connsiteY2574" fmla="*/ 949147 h 3403632"/>
              <a:gd name="connsiteX2575" fmla="*/ 3315729 w 3905665"/>
              <a:gd name="connsiteY2575" fmla="*/ 917551 h 3403632"/>
              <a:gd name="connsiteX2576" fmla="*/ 3347324 w 3905665"/>
              <a:gd name="connsiteY2576" fmla="*/ 885957 h 3403632"/>
              <a:gd name="connsiteX2577" fmla="*/ 1843380 w 3905665"/>
              <a:gd name="connsiteY2577" fmla="*/ 885685 h 3403632"/>
              <a:gd name="connsiteX2578" fmla="*/ 1857941 w 3905665"/>
              <a:gd name="connsiteY2578" fmla="*/ 900249 h 3403632"/>
              <a:gd name="connsiteX2579" fmla="*/ 1843380 w 3905665"/>
              <a:gd name="connsiteY2579" fmla="*/ 914811 h 3403632"/>
              <a:gd name="connsiteX2580" fmla="*/ 1828815 w 3905665"/>
              <a:gd name="connsiteY2580" fmla="*/ 900249 h 3403632"/>
              <a:gd name="connsiteX2581" fmla="*/ 1843380 w 3905665"/>
              <a:gd name="connsiteY2581" fmla="*/ 885685 h 3403632"/>
              <a:gd name="connsiteX2582" fmla="*/ 3583544 w 3905665"/>
              <a:gd name="connsiteY2582" fmla="*/ 883987 h 3403632"/>
              <a:gd name="connsiteX2583" fmla="*/ 3619583 w 3905665"/>
              <a:gd name="connsiteY2583" fmla="*/ 920022 h 3403632"/>
              <a:gd name="connsiteX2584" fmla="*/ 3583544 w 3905665"/>
              <a:gd name="connsiteY2584" fmla="*/ 956063 h 3403632"/>
              <a:gd name="connsiteX2585" fmla="*/ 3547507 w 3905665"/>
              <a:gd name="connsiteY2585" fmla="*/ 920022 h 3403632"/>
              <a:gd name="connsiteX2586" fmla="*/ 3583544 w 3905665"/>
              <a:gd name="connsiteY2586" fmla="*/ 883987 h 3403632"/>
              <a:gd name="connsiteX2587" fmla="*/ 1578029 w 3905665"/>
              <a:gd name="connsiteY2587" fmla="*/ 879265 h 3403632"/>
              <a:gd name="connsiteX2588" fmla="*/ 1578275 w 3905665"/>
              <a:gd name="connsiteY2588" fmla="*/ 879265 h 3403632"/>
              <a:gd name="connsiteX2589" fmla="*/ 1578523 w 3905665"/>
              <a:gd name="connsiteY2589" fmla="*/ 879265 h 3403632"/>
              <a:gd name="connsiteX2590" fmla="*/ 1578275 w 3905665"/>
              <a:gd name="connsiteY2590" fmla="*/ 879511 h 3403632"/>
              <a:gd name="connsiteX2591" fmla="*/ 712373 w 3905665"/>
              <a:gd name="connsiteY2591" fmla="*/ 874815 h 3403632"/>
              <a:gd name="connsiteX2592" fmla="*/ 728912 w 3905665"/>
              <a:gd name="connsiteY2592" fmla="*/ 891354 h 3403632"/>
              <a:gd name="connsiteX2593" fmla="*/ 712373 w 3905665"/>
              <a:gd name="connsiteY2593" fmla="*/ 907890 h 3403632"/>
              <a:gd name="connsiteX2594" fmla="*/ 695834 w 3905665"/>
              <a:gd name="connsiteY2594" fmla="*/ 891354 h 3403632"/>
              <a:gd name="connsiteX2595" fmla="*/ 712373 w 3905665"/>
              <a:gd name="connsiteY2595" fmla="*/ 874815 h 3403632"/>
              <a:gd name="connsiteX2596" fmla="*/ 168842 w 3905665"/>
              <a:gd name="connsiteY2596" fmla="*/ 871110 h 3403632"/>
              <a:gd name="connsiteX2597" fmla="*/ 169335 w 3905665"/>
              <a:gd name="connsiteY2597" fmla="*/ 871605 h 3403632"/>
              <a:gd name="connsiteX2598" fmla="*/ 168842 w 3905665"/>
              <a:gd name="connsiteY2598" fmla="*/ 872098 h 3403632"/>
              <a:gd name="connsiteX2599" fmla="*/ 168347 w 3905665"/>
              <a:gd name="connsiteY2599" fmla="*/ 871605 h 3403632"/>
              <a:gd name="connsiteX2600" fmla="*/ 168842 w 3905665"/>
              <a:gd name="connsiteY2600" fmla="*/ 871110 h 3403632"/>
              <a:gd name="connsiteX2601" fmla="*/ 914779 w 3905665"/>
              <a:gd name="connsiteY2601" fmla="*/ 868151 h 3403632"/>
              <a:gd name="connsiteX2602" fmla="*/ 938475 w 3905665"/>
              <a:gd name="connsiteY2602" fmla="*/ 891848 h 3403632"/>
              <a:gd name="connsiteX2603" fmla="*/ 914779 w 3905665"/>
              <a:gd name="connsiteY2603" fmla="*/ 915543 h 3403632"/>
              <a:gd name="connsiteX2604" fmla="*/ 891083 w 3905665"/>
              <a:gd name="connsiteY2604" fmla="*/ 891848 h 3403632"/>
              <a:gd name="connsiteX2605" fmla="*/ 914779 w 3905665"/>
              <a:gd name="connsiteY2605" fmla="*/ 868151 h 3403632"/>
              <a:gd name="connsiteX2606" fmla="*/ 2519686 w 3905665"/>
              <a:gd name="connsiteY2606" fmla="*/ 865206 h 3403632"/>
              <a:gd name="connsiteX2607" fmla="*/ 2521168 w 3905665"/>
              <a:gd name="connsiteY2607" fmla="*/ 866686 h 3403632"/>
              <a:gd name="connsiteX2608" fmla="*/ 2519686 w 3905665"/>
              <a:gd name="connsiteY2608" fmla="*/ 868167 h 3403632"/>
              <a:gd name="connsiteX2609" fmla="*/ 2518206 w 3905665"/>
              <a:gd name="connsiteY2609" fmla="*/ 866686 h 3403632"/>
              <a:gd name="connsiteX2610" fmla="*/ 2519686 w 3905665"/>
              <a:gd name="connsiteY2610" fmla="*/ 865206 h 3403632"/>
              <a:gd name="connsiteX2611" fmla="*/ 2763807 w 3905665"/>
              <a:gd name="connsiteY2611" fmla="*/ 861262 h 3403632"/>
              <a:gd name="connsiteX2612" fmla="*/ 2776642 w 3905665"/>
              <a:gd name="connsiteY2612" fmla="*/ 874096 h 3403632"/>
              <a:gd name="connsiteX2613" fmla="*/ 2763807 w 3905665"/>
              <a:gd name="connsiteY2613" fmla="*/ 886932 h 3403632"/>
              <a:gd name="connsiteX2614" fmla="*/ 2750725 w 3905665"/>
              <a:gd name="connsiteY2614" fmla="*/ 874096 h 3403632"/>
              <a:gd name="connsiteX2615" fmla="*/ 2763807 w 3905665"/>
              <a:gd name="connsiteY2615" fmla="*/ 861262 h 3403632"/>
              <a:gd name="connsiteX2616" fmla="*/ 2261008 w 3905665"/>
              <a:gd name="connsiteY2616" fmla="*/ 860020 h 3403632"/>
              <a:gd name="connsiteX2617" fmla="*/ 2275323 w 3905665"/>
              <a:gd name="connsiteY2617" fmla="*/ 874337 h 3403632"/>
              <a:gd name="connsiteX2618" fmla="*/ 2261008 w 3905665"/>
              <a:gd name="connsiteY2618" fmla="*/ 888652 h 3403632"/>
              <a:gd name="connsiteX2619" fmla="*/ 2246690 w 3905665"/>
              <a:gd name="connsiteY2619" fmla="*/ 874337 h 3403632"/>
              <a:gd name="connsiteX2620" fmla="*/ 2261008 w 3905665"/>
              <a:gd name="connsiteY2620" fmla="*/ 860020 h 3403632"/>
              <a:gd name="connsiteX2621" fmla="*/ 1107800 w 3905665"/>
              <a:gd name="connsiteY2621" fmla="*/ 855563 h 3403632"/>
              <a:gd name="connsiteX2622" fmla="*/ 1133720 w 3905665"/>
              <a:gd name="connsiteY2622" fmla="*/ 881480 h 3403632"/>
              <a:gd name="connsiteX2623" fmla="*/ 1107800 w 3905665"/>
              <a:gd name="connsiteY2623" fmla="*/ 907400 h 3403632"/>
              <a:gd name="connsiteX2624" fmla="*/ 1081883 w 3905665"/>
              <a:gd name="connsiteY2624" fmla="*/ 881480 h 3403632"/>
              <a:gd name="connsiteX2625" fmla="*/ 1107800 w 3905665"/>
              <a:gd name="connsiteY2625" fmla="*/ 855563 h 3403632"/>
              <a:gd name="connsiteX2626" fmla="*/ 3005456 w 3905665"/>
              <a:gd name="connsiteY2626" fmla="*/ 854605 h 3403632"/>
              <a:gd name="connsiteX2627" fmla="*/ 3029401 w 3905665"/>
              <a:gd name="connsiteY2627" fmla="*/ 878546 h 3403632"/>
              <a:gd name="connsiteX2628" fmla="*/ 3005456 w 3905665"/>
              <a:gd name="connsiteY2628" fmla="*/ 902493 h 3403632"/>
              <a:gd name="connsiteX2629" fmla="*/ 2981513 w 3905665"/>
              <a:gd name="connsiteY2629" fmla="*/ 878546 h 3403632"/>
              <a:gd name="connsiteX2630" fmla="*/ 3005456 w 3905665"/>
              <a:gd name="connsiteY2630" fmla="*/ 854605 h 3403632"/>
              <a:gd name="connsiteX2631" fmla="*/ 2007014 w 3905665"/>
              <a:gd name="connsiteY2631" fmla="*/ 852858 h 3403632"/>
              <a:gd name="connsiteX2632" fmla="*/ 2016887 w 3905665"/>
              <a:gd name="connsiteY2632" fmla="*/ 862732 h 3403632"/>
              <a:gd name="connsiteX2633" fmla="*/ 2007014 w 3905665"/>
              <a:gd name="connsiteY2633" fmla="*/ 872605 h 3403632"/>
              <a:gd name="connsiteX2634" fmla="*/ 1997140 w 3905665"/>
              <a:gd name="connsiteY2634" fmla="*/ 862732 h 3403632"/>
              <a:gd name="connsiteX2635" fmla="*/ 2007014 w 3905665"/>
              <a:gd name="connsiteY2635" fmla="*/ 852858 h 3403632"/>
              <a:gd name="connsiteX2636" fmla="*/ 1293424 w 3905665"/>
              <a:gd name="connsiteY2636" fmla="*/ 852604 h 3403632"/>
              <a:gd name="connsiteX2637" fmla="*/ 1302803 w 3905665"/>
              <a:gd name="connsiteY2637" fmla="*/ 861986 h 3403632"/>
              <a:gd name="connsiteX2638" fmla="*/ 1293424 w 3905665"/>
              <a:gd name="connsiteY2638" fmla="*/ 871364 h 3403632"/>
              <a:gd name="connsiteX2639" fmla="*/ 1284043 w 3905665"/>
              <a:gd name="connsiteY2639" fmla="*/ 861986 h 3403632"/>
              <a:gd name="connsiteX2640" fmla="*/ 1293424 w 3905665"/>
              <a:gd name="connsiteY2640" fmla="*/ 852604 h 3403632"/>
              <a:gd name="connsiteX2641" fmla="*/ 3244148 w 3905665"/>
              <a:gd name="connsiteY2641" fmla="*/ 849917 h 3403632"/>
              <a:gd name="connsiteX2642" fmla="*/ 3276481 w 3905665"/>
              <a:gd name="connsiteY2642" fmla="*/ 882253 h 3403632"/>
              <a:gd name="connsiteX2643" fmla="*/ 3244148 w 3905665"/>
              <a:gd name="connsiteY2643" fmla="*/ 914583 h 3403632"/>
              <a:gd name="connsiteX2644" fmla="*/ 3211812 w 3905665"/>
              <a:gd name="connsiteY2644" fmla="*/ 882253 h 3403632"/>
              <a:gd name="connsiteX2645" fmla="*/ 3244148 w 3905665"/>
              <a:gd name="connsiteY2645" fmla="*/ 849917 h 3403632"/>
              <a:gd name="connsiteX2646" fmla="*/ 501572 w 3905665"/>
              <a:gd name="connsiteY2646" fmla="*/ 843960 h 3403632"/>
              <a:gd name="connsiteX2647" fmla="*/ 533413 w 3905665"/>
              <a:gd name="connsiteY2647" fmla="*/ 875801 h 3403632"/>
              <a:gd name="connsiteX2648" fmla="*/ 501572 w 3905665"/>
              <a:gd name="connsiteY2648" fmla="*/ 907645 h 3403632"/>
              <a:gd name="connsiteX2649" fmla="*/ 469731 w 3905665"/>
              <a:gd name="connsiteY2649" fmla="*/ 875801 h 3403632"/>
              <a:gd name="connsiteX2650" fmla="*/ 501572 w 3905665"/>
              <a:gd name="connsiteY2650" fmla="*/ 843960 h 3403632"/>
              <a:gd name="connsiteX2651" fmla="*/ 281642 w 3905665"/>
              <a:gd name="connsiteY2651" fmla="*/ 839515 h 3403632"/>
              <a:gd name="connsiteX2652" fmla="*/ 284111 w 3905665"/>
              <a:gd name="connsiteY2652" fmla="*/ 841736 h 3403632"/>
              <a:gd name="connsiteX2653" fmla="*/ 281642 w 3905665"/>
              <a:gd name="connsiteY2653" fmla="*/ 844206 h 3403632"/>
              <a:gd name="connsiteX2654" fmla="*/ 279175 w 3905665"/>
              <a:gd name="connsiteY2654" fmla="*/ 841736 h 3403632"/>
              <a:gd name="connsiteX2655" fmla="*/ 281642 w 3905665"/>
              <a:gd name="connsiteY2655" fmla="*/ 839515 h 3403632"/>
              <a:gd name="connsiteX2656" fmla="*/ 1748346 w 3905665"/>
              <a:gd name="connsiteY2656" fmla="*/ 828910 h 3403632"/>
              <a:gd name="connsiteX2657" fmla="*/ 1765376 w 3905665"/>
              <a:gd name="connsiteY2657" fmla="*/ 845695 h 3403632"/>
              <a:gd name="connsiteX2658" fmla="*/ 1748346 w 3905665"/>
              <a:gd name="connsiteY2658" fmla="*/ 862726 h 3403632"/>
              <a:gd name="connsiteX2659" fmla="*/ 1731560 w 3905665"/>
              <a:gd name="connsiteY2659" fmla="*/ 845695 h 3403632"/>
              <a:gd name="connsiteX2660" fmla="*/ 1748346 w 3905665"/>
              <a:gd name="connsiteY2660" fmla="*/ 828910 h 3403632"/>
              <a:gd name="connsiteX2661" fmla="*/ 3488759 w 3905665"/>
              <a:gd name="connsiteY2661" fmla="*/ 827955 h 3403632"/>
              <a:gd name="connsiteX2662" fmla="*/ 3526524 w 3905665"/>
              <a:gd name="connsiteY2662" fmla="*/ 865720 h 3403632"/>
              <a:gd name="connsiteX2663" fmla="*/ 3488759 w 3905665"/>
              <a:gd name="connsiteY2663" fmla="*/ 903488 h 3403632"/>
              <a:gd name="connsiteX2664" fmla="*/ 3450994 w 3905665"/>
              <a:gd name="connsiteY2664" fmla="*/ 865720 h 3403632"/>
              <a:gd name="connsiteX2665" fmla="*/ 3488759 w 3905665"/>
              <a:gd name="connsiteY2665" fmla="*/ 827955 h 3403632"/>
              <a:gd name="connsiteX2666" fmla="*/ 2415772 w 3905665"/>
              <a:gd name="connsiteY2666" fmla="*/ 816087 h 3403632"/>
              <a:gd name="connsiteX2667" fmla="*/ 2429349 w 3905665"/>
              <a:gd name="connsiteY2667" fmla="*/ 829663 h 3403632"/>
              <a:gd name="connsiteX2668" fmla="*/ 2415772 w 3905665"/>
              <a:gd name="connsiteY2668" fmla="*/ 843238 h 3403632"/>
              <a:gd name="connsiteX2669" fmla="*/ 2402195 w 3905665"/>
              <a:gd name="connsiteY2669" fmla="*/ 829663 h 3403632"/>
              <a:gd name="connsiteX2670" fmla="*/ 2415772 w 3905665"/>
              <a:gd name="connsiteY2670" fmla="*/ 816087 h 3403632"/>
              <a:gd name="connsiteX2671" fmla="*/ 1482008 w 3905665"/>
              <a:gd name="connsiteY2671" fmla="*/ 812618 h 3403632"/>
              <a:gd name="connsiteX2672" fmla="*/ 1493361 w 3905665"/>
              <a:gd name="connsiteY2672" fmla="*/ 824220 h 3403632"/>
              <a:gd name="connsiteX2673" fmla="*/ 1482008 w 3905665"/>
              <a:gd name="connsiteY2673" fmla="*/ 835573 h 3403632"/>
              <a:gd name="connsiteX2674" fmla="*/ 1470652 w 3905665"/>
              <a:gd name="connsiteY2674" fmla="*/ 824220 h 3403632"/>
              <a:gd name="connsiteX2675" fmla="*/ 1482008 w 3905665"/>
              <a:gd name="connsiteY2675" fmla="*/ 812618 h 3403632"/>
              <a:gd name="connsiteX2676" fmla="*/ 811602 w 3905665"/>
              <a:gd name="connsiteY2676" fmla="*/ 809156 h 3403632"/>
              <a:gd name="connsiteX2677" fmla="*/ 833074 w 3905665"/>
              <a:gd name="connsiteY2677" fmla="*/ 830632 h 3403632"/>
              <a:gd name="connsiteX2678" fmla="*/ 811602 w 3905665"/>
              <a:gd name="connsiteY2678" fmla="*/ 852107 h 3403632"/>
              <a:gd name="connsiteX2679" fmla="*/ 790126 w 3905665"/>
              <a:gd name="connsiteY2679" fmla="*/ 830632 h 3403632"/>
              <a:gd name="connsiteX2680" fmla="*/ 811602 w 3905665"/>
              <a:gd name="connsiteY2680" fmla="*/ 809156 h 3403632"/>
              <a:gd name="connsiteX2681" fmla="*/ 2166470 w 3905665"/>
              <a:gd name="connsiteY2681" fmla="*/ 806949 h 3403632"/>
              <a:gd name="connsiteX2682" fmla="*/ 2180044 w 3905665"/>
              <a:gd name="connsiteY2682" fmla="*/ 820524 h 3403632"/>
              <a:gd name="connsiteX2683" fmla="*/ 2166470 w 3905665"/>
              <a:gd name="connsiteY2683" fmla="*/ 834102 h 3403632"/>
              <a:gd name="connsiteX2684" fmla="*/ 2152893 w 3905665"/>
              <a:gd name="connsiteY2684" fmla="*/ 820524 h 3403632"/>
              <a:gd name="connsiteX2685" fmla="*/ 2166470 w 3905665"/>
              <a:gd name="connsiteY2685" fmla="*/ 806949 h 3403632"/>
              <a:gd name="connsiteX2686" fmla="*/ 2670007 w 3905665"/>
              <a:gd name="connsiteY2686" fmla="*/ 804737 h 3403632"/>
              <a:gd name="connsiteX2687" fmla="*/ 2684325 w 3905665"/>
              <a:gd name="connsiteY2687" fmla="*/ 819052 h 3403632"/>
              <a:gd name="connsiteX2688" fmla="*/ 2670007 w 3905665"/>
              <a:gd name="connsiteY2688" fmla="*/ 833368 h 3403632"/>
              <a:gd name="connsiteX2689" fmla="*/ 2655692 w 3905665"/>
              <a:gd name="connsiteY2689" fmla="*/ 819052 h 3403632"/>
              <a:gd name="connsiteX2690" fmla="*/ 2670007 w 3905665"/>
              <a:gd name="connsiteY2690" fmla="*/ 804737 h 3403632"/>
              <a:gd name="connsiteX2691" fmla="*/ 3149610 w 3905665"/>
              <a:gd name="connsiteY2691" fmla="*/ 801293 h 3403632"/>
              <a:gd name="connsiteX2692" fmla="*/ 3176268 w 3905665"/>
              <a:gd name="connsiteY2692" fmla="*/ 827947 h 3403632"/>
              <a:gd name="connsiteX2693" fmla="*/ 3149610 w 3905665"/>
              <a:gd name="connsiteY2693" fmla="*/ 854360 h 3403632"/>
              <a:gd name="connsiteX2694" fmla="*/ 3123198 w 3905665"/>
              <a:gd name="connsiteY2694" fmla="*/ 827947 h 3403632"/>
              <a:gd name="connsiteX2695" fmla="*/ 3149610 w 3905665"/>
              <a:gd name="connsiteY2695" fmla="*/ 801293 h 3403632"/>
              <a:gd name="connsiteX2696" fmla="*/ 2911166 w 3905665"/>
              <a:gd name="connsiteY2696" fmla="*/ 798325 h 3403632"/>
              <a:gd name="connsiteX2697" fmla="*/ 2937083 w 3905665"/>
              <a:gd name="connsiteY2697" fmla="*/ 824240 h 3403632"/>
              <a:gd name="connsiteX2698" fmla="*/ 2911166 w 3905665"/>
              <a:gd name="connsiteY2698" fmla="*/ 849911 h 3403632"/>
              <a:gd name="connsiteX2699" fmla="*/ 2885495 w 3905665"/>
              <a:gd name="connsiteY2699" fmla="*/ 824240 h 3403632"/>
              <a:gd name="connsiteX2700" fmla="*/ 2911166 w 3905665"/>
              <a:gd name="connsiteY2700" fmla="*/ 798325 h 3403632"/>
              <a:gd name="connsiteX2701" fmla="*/ 1008081 w 3905665"/>
              <a:gd name="connsiteY2701" fmla="*/ 795584 h 3403632"/>
              <a:gd name="connsiteX2702" fmla="*/ 1034988 w 3905665"/>
              <a:gd name="connsiteY2702" fmla="*/ 822488 h 3403632"/>
              <a:gd name="connsiteX2703" fmla="*/ 1008081 w 3905665"/>
              <a:gd name="connsiteY2703" fmla="*/ 849392 h 3403632"/>
              <a:gd name="connsiteX2704" fmla="*/ 981177 w 3905665"/>
              <a:gd name="connsiteY2704" fmla="*/ 822488 h 3403632"/>
              <a:gd name="connsiteX2705" fmla="*/ 1008081 w 3905665"/>
              <a:gd name="connsiteY2705" fmla="*/ 795584 h 3403632"/>
              <a:gd name="connsiteX2706" fmla="*/ 391980 w 3905665"/>
              <a:gd name="connsiteY2706" fmla="*/ 794097 h 3403632"/>
              <a:gd name="connsiteX2707" fmla="*/ 401605 w 3905665"/>
              <a:gd name="connsiteY2707" fmla="*/ 803725 h 3403632"/>
              <a:gd name="connsiteX2708" fmla="*/ 391980 w 3905665"/>
              <a:gd name="connsiteY2708" fmla="*/ 813349 h 3403632"/>
              <a:gd name="connsiteX2709" fmla="*/ 382353 w 3905665"/>
              <a:gd name="connsiteY2709" fmla="*/ 803725 h 3403632"/>
              <a:gd name="connsiteX2710" fmla="*/ 391980 w 3905665"/>
              <a:gd name="connsiteY2710" fmla="*/ 794097 h 3403632"/>
              <a:gd name="connsiteX2711" fmla="*/ 1653562 w 3905665"/>
              <a:gd name="connsiteY2711" fmla="*/ 789910 h 3403632"/>
              <a:gd name="connsiteX2712" fmla="*/ 1654054 w 3905665"/>
              <a:gd name="connsiteY2712" fmla="*/ 790405 h 3403632"/>
              <a:gd name="connsiteX2713" fmla="*/ 1653562 w 3905665"/>
              <a:gd name="connsiteY2713" fmla="*/ 790897 h 3403632"/>
              <a:gd name="connsiteX2714" fmla="*/ 1653067 w 3905665"/>
              <a:gd name="connsiteY2714" fmla="*/ 790405 h 3403632"/>
              <a:gd name="connsiteX2715" fmla="*/ 1653562 w 3905665"/>
              <a:gd name="connsiteY2715" fmla="*/ 789910 h 3403632"/>
              <a:gd name="connsiteX2716" fmla="*/ 606480 w 3905665"/>
              <a:gd name="connsiteY2716" fmla="*/ 789903 h 3403632"/>
              <a:gd name="connsiteX2717" fmla="*/ 642024 w 3905665"/>
              <a:gd name="connsiteY2717" fmla="*/ 825447 h 3403632"/>
              <a:gd name="connsiteX2718" fmla="*/ 606480 w 3905665"/>
              <a:gd name="connsiteY2718" fmla="*/ 860991 h 3403632"/>
              <a:gd name="connsiteX2719" fmla="*/ 570936 w 3905665"/>
              <a:gd name="connsiteY2719" fmla="*/ 825447 h 3403632"/>
              <a:gd name="connsiteX2720" fmla="*/ 606480 w 3905665"/>
              <a:gd name="connsiteY2720" fmla="*/ 789903 h 3403632"/>
              <a:gd name="connsiteX2721" fmla="*/ 1913233 w 3905665"/>
              <a:gd name="connsiteY2721" fmla="*/ 789667 h 3403632"/>
              <a:gd name="connsiteX2722" fmla="*/ 1931001 w 3905665"/>
              <a:gd name="connsiteY2722" fmla="*/ 807440 h 3403632"/>
              <a:gd name="connsiteX2723" fmla="*/ 1913233 w 3905665"/>
              <a:gd name="connsiteY2723" fmla="*/ 825212 h 3403632"/>
              <a:gd name="connsiteX2724" fmla="*/ 1895460 w 3905665"/>
              <a:gd name="connsiteY2724" fmla="*/ 807440 h 3403632"/>
              <a:gd name="connsiteX2725" fmla="*/ 1913233 w 3905665"/>
              <a:gd name="connsiteY2725" fmla="*/ 789667 h 3403632"/>
              <a:gd name="connsiteX2726" fmla="*/ 1195181 w 3905665"/>
              <a:gd name="connsiteY2726" fmla="*/ 773861 h 3403632"/>
              <a:gd name="connsiteX2727" fmla="*/ 1226528 w 3905665"/>
              <a:gd name="connsiteY2727" fmla="*/ 805212 h 3403632"/>
              <a:gd name="connsiteX2728" fmla="*/ 1195181 w 3905665"/>
              <a:gd name="connsiteY2728" fmla="*/ 836558 h 3403632"/>
              <a:gd name="connsiteX2729" fmla="*/ 1163832 w 3905665"/>
              <a:gd name="connsiteY2729" fmla="*/ 805212 h 3403632"/>
              <a:gd name="connsiteX2730" fmla="*/ 1195181 w 3905665"/>
              <a:gd name="connsiteY2730" fmla="*/ 773861 h 3403632"/>
              <a:gd name="connsiteX2731" fmla="*/ 3394221 w 3905665"/>
              <a:gd name="connsiteY2731" fmla="*/ 772902 h 3403632"/>
              <a:gd name="connsiteX2732" fmla="*/ 3431989 w 3905665"/>
              <a:gd name="connsiteY2732" fmla="*/ 810921 h 3403632"/>
              <a:gd name="connsiteX2733" fmla="*/ 3394221 w 3905665"/>
              <a:gd name="connsiteY2733" fmla="*/ 848687 h 3403632"/>
              <a:gd name="connsiteX2734" fmla="*/ 3356210 w 3905665"/>
              <a:gd name="connsiteY2734" fmla="*/ 810921 h 3403632"/>
              <a:gd name="connsiteX2735" fmla="*/ 3394221 w 3905665"/>
              <a:gd name="connsiteY2735" fmla="*/ 772902 h 3403632"/>
              <a:gd name="connsiteX2736" fmla="*/ 3627725 w 3905665"/>
              <a:gd name="connsiteY2736" fmla="*/ 769944 h 3403632"/>
              <a:gd name="connsiteX2737" fmla="*/ 3670427 w 3905665"/>
              <a:gd name="connsiteY2737" fmla="*/ 812654 h 3403632"/>
              <a:gd name="connsiteX2738" fmla="*/ 3627725 w 3905665"/>
              <a:gd name="connsiteY2738" fmla="*/ 855358 h 3403632"/>
              <a:gd name="connsiteX2739" fmla="*/ 3585023 w 3905665"/>
              <a:gd name="connsiteY2739" fmla="*/ 812654 h 3403632"/>
              <a:gd name="connsiteX2740" fmla="*/ 3627725 w 3905665"/>
              <a:gd name="connsiteY2740" fmla="*/ 769944 h 3403632"/>
              <a:gd name="connsiteX2741" fmla="*/ 1375128 w 3905665"/>
              <a:gd name="connsiteY2741" fmla="*/ 766951 h 3403632"/>
              <a:gd name="connsiteX2742" fmla="*/ 1387715 w 3905665"/>
              <a:gd name="connsiteY2742" fmla="*/ 779541 h 3403632"/>
              <a:gd name="connsiteX2743" fmla="*/ 1375128 w 3905665"/>
              <a:gd name="connsiteY2743" fmla="*/ 792131 h 3403632"/>
              <a:gd name="connsiteX2744" fmla="*/ 1362539 w 3905665"/>
              <a:gd name="connsiteY2744" fmla="*/ 779541 h 3403632"/>
              <a:gd name="connsiteX2745" fmla="*/ 1375128 w 3905665"/>
              <a:gd name="connsiteY2745" fmla="*/ 766951 h 3403632"/>
              <a:gd name="connsiteX2746" fmla="*/ 2576212 w 3905665"/>
              <a:gd name="connsiteY2746" fmla="*/ 758816 h 3403632"/>
              <a:gd name="connsiteX2747" fmla="*/ 2582136 w 3905665"/>
              <a:gd name="connsiteY2747" fmla="*/ 764739 h 3403632"/>
              <a:gd name="connsiteX2748" fmla="*/ 2576212 w 3905665"/>
              <a:gd name="connsiteY2748" fmla="*/ 770663 h 3403632"/>
              <a:gd name="connsiteX2749" fmla="*/ 2570288 w 3905665"/>
              <a:gd name="connsiteY2749" fmla="*/ 764739 h 3403632"/>
              <a:gd name="connsiteX2750" fmla="*/ 2576212 w 3905665"/>
              <a:gd name="connsiteY2750" fmla="*/ 758816 h 3403632"/>
              <a:gd name="connsiteX2751" fmla="*/ 2321728 w 3905665"/>
              <a:gd name="connsiteY2751" fmla="*/ 756347 h 3403632"/>
              <a:gd name="connsiteX2752" fmla="*/ 2340983 w 3905665"/>
              <a:gd name="connsiteY2752" fmla="*/ 775600 h 3403632"/>
              <a:gd name="connsiteX2753" fmla="*/ 2321728 w 3905665"/>
              <a:gd name="connsiteY2753" fmla="*/ 794855 h 3403632"/>
              <a:gd name="connsiteX2754" fmla="*/ 2302476 w 3905665"/>
              <a:gd name="connsiteY2754" fmla="*/ 775600 h 3403632"/>
              <a:gd name="connsiteX2755" fmla="*/ 2321728 w 3905665"/>
              <a:gd name="connsiteY2755" fmla="*/ 756347 h 3403632"/>
              <a:gd name="connsiteX2756" fmla="*/ 54307 w 3905665"/>
              <a:gd name="connsiteY2756" fmla="*/ 753369 h 3403632"/>
              <a:gd name="connsiteX2757" fmla="*/ 83927 w 3905665"/>
              <a:gd name="connsiteY2757" fmla="*/ 782989 h 3403632"/>
              <a:gd name="connsiteX2758" fmla="*/ 54307 w 3905665"/>
              <a:gd name="connsiteY2758" fmla="*/ 812609 h 3403632"/>
              <a:gd name="connsiteX2759" fmla="*/ 24687 w 3905665"/>
              <a:gd name="connsiteY2759" fmla="*/ 782989 h 3403632"/>
              <a:gd name="connsiteX2760" fmla="*/ 54307 w 3905665"/>
              <a:gd name="connsiteY2760" fmla="*/ 753369 h 3403632"/>
              <a:gd name="connsiteX2761" fmla="*/ 2072178 w 3905665"/>
              <a:gd name="connsiteY2761" fmla="*/ 752640 h 3403632"/>
              <a:gd name="connsiteX2762" fmla="*/ 2086001 w 3905665"/>
              <a:gd name="connsiteY2762" fmla="*/ 766461 h 3403632"/>
              <a:gd name="connsiteX2763" fmla="*/ 2072178 w 3905665"/>
              <a:gd name="connsiteY2763" fmla="*/ 780286 h 3403632"/>
              <a:gd name="connsiteX2764" fmla="*/ 2058355 w 3905665"/>
              <a:gd name="connsiteY2764" fmla="*/ 766461 h 3403632"/>
              <a:gd name="connsiteX2765" fmla="*/ 2072178 w 3905665"/>
              <a:gd name="connsiteY2765" fmla="*/ 752640 h 3403632"/>
              <a:gd name="connsiteX2766" fmla="*/ 2816628 w 3905665"/>
              <a:gd name="connsiteY2766" fmla="*/ 750431 h 3403632"/>
              <a:gd name="connsiteX2767" fmla="*/ 2836621 w 3905665"/>
              <a:gd name="connsiteY2767" fmla="*/ 770420 h 3403632"/>
              <a:gd name="connsiteX2768" fmla="*/ 2816628 w 3905665"/>
              <a:gd name="connsiteY2768" fmla="*/ 790419 h 3403632"/>
              <a:gd name="connsiteX2769" fmla="*/ 2796635 w 3905665"/>
              <a:gd name="connsiteY2769" fmla="*/ 770420 h 3403632"/>
              <a:gd name="connsiteX2770" fmla="*/ 2816628 w 3905665"/>
              <a:gd name="connsiteY2770" fmla="*/ 750431 h 3403632"/>
              <a:gd name="connsiteX2771" fmla="*/ 3055072 w 3905665"/>
              <a:gd name="connsiteY2771" fmla="*/ 743771 h 3403632"/>
              <a:gd name="connsiteX2772" fmla="*/ 3084938 w 3905665"/>
              <a:gd name="connsiteY2772" fmla="*/ 773634 h 3403632"/>
              <a:gd name="connsiteX2773" fmla="*/ 3055072 w 3905665"/>
              <a:gd name="connsiteY2773" fmla="*/ 803509 h 3403632"/>
              <a:gd name="connsiteX2774" fmla="*/ 3025205 w 3905665"/>
              <a:gd name="connsiteY2774" fmla="*/ 773634 h 3403632"/>
              <a:gd name="connsiteX2775" fmla="*/ 3055072 w 3905665"/>
              <a:gd name="connsiteY2775" fmla="*/ 743771 h 3403632"/>
              <a:gd name="connsiteX2776" fmla="*/ 906632 w 3905665"/>
              <a:gd name="connsiteY2776" fmla="*/ 737329 h 3403632"/>
              <a:gd name="connsiteX2777" fmla="*/ 933041 w 3905665"/>
              <a:gd name="connsiteY2777" fmla="*/ 763740 h 3403632"/>
              <a:gd name="connsiteX2778" fmla="*/ 906632 w 3905665"/>
              <a:gd name="connsiteY2778" fmla="*/ 790150 h 3403632"/>
              <a:gd name="connsiteX2779" fmla="*/ 880220 w 3905665"/>
              <a:gd name="connsiteY2779" fmla="*/ 763740 h 3403632"/>
              <a:gd name="connsiteX2780" fmla="*/ 906632 w 3905665"/>
              <a:gd name="connsiteY2780" fmla="*/ 737329 h 3403632"/>
              <a:gd name="connsiteX2781" fmla="*/ 3291046 w 3905665"/>
              <a:gd name="connsiteY2781" fmla="*/ 736618 h 3403632"/>
              <a:gd name="connsiteX2782" fmla="*/ 3330539 w 3905665"/>
              <a:gd name="connsiteY2782" fmla="*/ 776109 h 3403632"/>
              <a:gd name="connsiteX2783" fmla="*/ 3291046 w 3905665"/>
              <a:gd name="connsiteY2783" fmla="*/ 815609 h 3403632"/>
              <a:gd name="connsiteX2784" fmla="*/ 3251552 w 3905665"/>
              <a:gd name="connsiteY2784" fmla="*/ 776109 h 3403632"/>
              <a:gd name="connsiteX2785" fmla="*/ 3291046 w 3905665"/>
              <a:gd name="connsiteY2785" fmla="*/ 736618 h 3403632"/>
              <a:gd name="connsiteX2786" fmla="*/ 1818695 w 3905665"/>
              <a:gd name="connsiteY2786" fmla="*/ 735607 h 3403632"/>
              <a:gd name="connsiteX2787" fmla="*/ 1836215 w 3905665"/>
              <a:gd name="connsiteY2787" fmla="*/ 753132 h 3403632"/>
              <a:gd name="connsiteX2788" fmla="*/ 1818695 w 3905665"/>
              <a:gd name="connsiteY2788" fmla="*/ 770655 h 3403632"/>
              <a:gd name="connsiteX2789" fmla="*/ 1801168 w 3905665"/>
              <a:gd name="connsiteY2789" fmla="*/ 753132 h 3403632"/>
              <a:gd name="connsiteX2790" fmla="*/ 1818695 w 3905665"/>
              <a:gd name="connsiteY2790" fmla="*/ 735607 h 3403632"/>
              <a:gd name="connsiteX2791" fmla="*/ 499105 w 3905665"/>
              <a:gd name="connsiteY2791" fmla="*/ 734857 h 3403632"/>
              <a:gd name="connsiteX2792" fmla="*/ 522062 w 3905665"/>
              <a:gd name="connsiteY2792" fmla="*/ 757812 h 3403632"/>
              <a:gd name="connsiteX2793" fmla="*/ 499105 w 3905665"/>
              <a:gd name="connsiteY2793" fmla="*/ 780769 h 3403632"/>
              <a:gd name="connsiteX2794" fmla="*/ 476150 w 3905665"/>
              <a:gd name="connsiteY2794" fmla="*/ 757812 h 3403632"/>
              <a:gd name="connsiteX2795" fmla="*/ 499105 w 3905665"/>
              <a:gd name="connsiteY2795" fmla="*/ 734857 h 3403632"/>
              <a:gd name="connsiteX2796" fmla="*/ 707681 w 3905665"/>
              <a:gd name="connsiteY2796" fmla="*/ 728688 h 3403632"/>
              <a:gd name="connsiteX2797" fmla="*/ 746928 w 3905665"/>
              <a:gd name="connsiteY2797" fmla="*/ 767935 h 3403632"/>
              <a:gd name="connsiteX2798" fmla="*/ 707681 w 3905665"/>
              <a:gd name="connsiteY2798" fmla="*/ 807183 h 3403632"/>
              <a:gd name="connsiteX2799" fmla="*/ 668433 w 3905665"/>
              <a:gd name="connsiteY2799" fmla="*/ 767935 h 3403632"/>
              <a:gd name="connsiteX2800" fmla="*/ 707681 w 3905665"/>
              <a:gd name="connsiteY2800" fmla="*/ 728688 h 3403632"/>
              <a:gd name="connsiteX2801" fmla="*/ 168839 w 3905665"/>
              <a:gd name="connsiteY2801" fmla="*/ 724244 h 3403632"/>
              <a:gd name="connsiteX2802" fmla="*/ 204632 w 3905665"/>
              <a:gd name="connsiteY2802" fmla="*/ 760034 h 3403632"/>
              <a:gd name="connsiteX2803" fmla="*/ 168839 w 3905665"/>
              <a:gd name="connsiteY2803" fmla="*/ 796074 h 3403632"/>
              <a:gd name="connsiteX2804" fmla="*/ 133048 w 3905665"/>
              <a:gd name="connsiteY2804" fmla="*/ 760034 h 3403632"/>
              <a:gd name="connsiteX2805" fmla="*/ 168839 w 3905665"/>
              <a:gd name="connsiteY2805" fmla="*/ 724244 h 3403632"/>
              <a:gd name="connsiteX2806" fmla="*/ 1558281 w 3905665"/>
              <a:gd name="connsiteY2806" fmla="*/ 723016 h 3403632"/>
              <a:gd name="connsiteX2807" fmla="*/ 1571116 w 3905665"/>
              <a:gd name="connsiteY2807" fmla="*/ 735851 h 3403632"/>
              <a:gd name="connsiteX2808" fmla="*/ 1558281 w 3905665"/>
              <a:gd name="connsiteY2808" fmla="*/ 748686 h 3403632"/>
              <a:gd name="connsiteX2809" fmla="*/ 1545445 w 3905665"/>
              <a:gd name="connsiteY2809" fmla="*/ 735851 h 3403632"/>
              <a:gd name="connsiteX2810" fmla="*/ 1558281 w 3905665"/>
              <a:gd name="connsiteY2810" fmla="*/ 723016 h 3403632"/>
              <a:gd name="connsiteX2811" fmla="*/ 1096942 w 3905665"/>
              <a:gd name="connsiteY2811" fmla="*/ 717829 h 3403632"/>
              <a:gd name="connsiteX2812" fmla="*/ 1127054 w 3905665"/>
              <a:gd name="connsiteY2812" fmla="*/ 747944 h 3403632"/>
              <a:gd name="connsiteX2813" fmla="*/ 1096942 w 3905665"/>
              <a:gd name="connsiteY2813" fmla="*/ 778056 h 3403632"/>
              <a:gd name="connsiteX2814" fmla="*/ 1066827 w 3905665"/>
              <a:gd name="connsiteY2814" fmla="*/ 747944 h 3403632"/>
              <a:gd name="connsiteX2815" fmla="*/ 1096942 w 3905665"/>
              <a:gd name="connsiteY2815" fmla="*/ 717829 h 3403632"/>
              <a:gd name="connsiteX2816" fmla="*/ 3532695 w 3905665"/>
              <a:gd name="connsiteY2816" fmla="*/ 713177 h 3403632"/>
              <a:gd name="connsiteX2817" fmla="*/ 3577371 w 3905665"/>
              <a:gd name="connsiteY2817" fmla="*/ 757847 h 3403632"/>
              <a:gd name="connsiteX2818" fmla="*/ 3532695 w 3905665"/>
              <a:gd name="connsiteY2818" fmla="*/ 802536 h 3403632"/>
              <a:gd name="connsiteX2819" fmla="*/ 3488018 w 3905665"/>
              <a:gd name="connsiteY2819" fmla="*/ 757847 h 3403632"/>
              <a:gd name="connsiteX2820" fmla="*/ 3532695 w 3905665"/>
              <a:gd name="connsiteY2820" fmla="*/ 713177 h 3403632"/>
              <a:gd name="connsiteX2821" fmla="*/ 2472295 w 3905665"/>
              <a:gd name="connsiteY2821" fmla="*/ 710193 h 3403632"/>
              <a:gd name="connsiteX2822" fmla="*/ 2490809 w 3905665"/>
              <a:gd name="connsiteY2822" fmla="*/ 728706 h 3403632"/>
              <a:gd name="connsiteX2823" fmla="*/ 2472295 w 3905665"/>
              <a:gd name="connsiteY2823" fmla="*/ 747218 h 3403632"/>
              <a:gd name="connsiteX2824" fmla="*/ 2453782 w 3905665"/>
              <a:gd name="connsiteY2824" fmla="*/ 728706 h 3403632"/>
              <a:gd name="connsiteX2825" fmla="*/ 2472295 w 3905665"/>
              <a:gd name="connsiteY2825" fmla="*/ 710193 h 3403632"/>
              <a:gd name="connsiteX2826" fmla="*/ 2227436 w 3905665"/>
              <a:gd name="connsiteY2826" fmla="*/ 704759 h 3403632"/>
              <a:gd name="connsiteX2827" fmla="*/ 2244470 w 3905665"/>
              <a:gd name="connsiteY2827" fmla="*/ 721791 h 3403632"/>
              <a:gd name="connsiteX2828" fmla="*/ 2227436 w 3905665"/>
              <a:gd name="connsiteY2828" fmla="*/ 738823 h 3403632"/>
              <a:gd name="connsiteX2829" fmla="*/ 2210405 w 3905665"/>
              <a:gd name="connsiteY2829" fmla="*/ 721791 h 3403632"/>
              <a:gd name="connsiteX2830" fmla="*/ 2227436 w 3905665"/>
              <a:gd name="connsiteY2830" fmla="*/ 704759 h 3403632"/>
              <a:gd name="connsiteX2831" fmla="*/ 1724647 w 3905665"/>
              <a:gd name="connsiteY2831" fmla="*/ 695620 h 3403632"/>
              <a:gd name="connsiteX2832" fmla="*/ 1726868 w 3905665"/>
              <a:gd name="connsiteY2832" fmla="*/ 697841 h 3403632"/>
              <a:gd name="connsiteX2833" fmla="*/ 1724647 w 3905665"/>
              <a:gd name="connsiteY2833" fmla="*/ 700062 h 3403632"/>
              <a:gd name="connsiteX2834" fmla="*/ 1722427 w 3905665"/>
              <a:gd name="connsiteY2834" fmla="*/ 697841 h 3403632"/>
              <a:gd name="connsiteX2835" fmla="*/ 1724647 w 3905665"/>
              <a:gd name="connsiteY2835" fmla="*/ 695620 h 3403632"/>
              <a:gd name="connsiteX2836" fmla="*/ 2722830 w 3905665"/>
              <a:gd name="connsiteY2836" fmla="*/ 690697 h 3403632"/>
              <a:gd name="connsiteX2837" fmla="*/ 2747268 w 3905665"/>
              <a:gd name="connsiteY2837" fmla="*/ 715135 h 3403632"/>
              <a:gd name="connsiteX2838" fmla="*/ 2722830 w 3905665"/>
              <a:gd name="connsiteY2838" fmla="*/ 739568 h 3403632"/>
              <a:gd name="connsiteX2839" fmla="*/ 2698393 w 3905665"/>
              <a:gd name="connsiteY2839" fmla="*/ 715135 h 3403632"/>
              <a:gd name="connsiteX2840" fmla="*/ 2722830 w 3905665"/>
              <a:gd name="connsiteY2840" fmla="*/ 690697 h 3403632"/>
              <a:gd name="connsiteX2841" fmla="*/ 1978629 w 3905665"/>
              <a:gd name="connsiteY2841" fmla="*/ 689697 h 3403632"/>
              <a:gd name="connsiteX2842" fmla="*/ 2000597 w 3905665"/>
              <a:gd name="connsiteY2842" fmla="*/ 711419 h 3403632"/>
              <a:gd name="connsiteX2843" fmla="*/ 1978629 w 3905665"/>
              <a:gd name="connsiteY2843" fmla="*/ 733140 h 3403632"/>
              <a:gd name="connsiteX2844" fmla="*/ 1956918 w 3905665"/>
              <a:gd name="connsiteY2844" fmla="*/ 711419 h 3403632"/>
              <a:gd name="connsiteX2845" fmla="*/ 1978629 w 3905665"/>
              <a:gd name="connsiteY2845" fmla="*/ 689697 h 3403632"/>
              <a:gd name="connsiteX2846" fmla="*/ 1278118 w 3905665"/>
              <a:gd name="connsiteY2846" fmla="*/ 687469 h 3403632"/>
              <a:gd name="connsiteX2847" fmla="*/ 1314895 w 3905665"/>
              <a:gd name="connsiteY2847" fmla="*/ 724247 h 3403632"/>
              <a:gd name="connsiteX2848" fmla="*/ 1278118 w 3905665"/>
              <a:gd name="connsiteY2848" fmla="*/ 761023 h 3403632"/>
              <a:gd name="connsiteX2849" fmla="*/ 1241340 w 3905665"/>
              <a:gd name="connsiteY2849" fmla="*/ 724247 h 3403632"/>
              <a:gd name="connsiteX2850" fmla="*/ 1278118 w 3905665"/>
              <a:gd name="connsiteY2850" fmla="*/ 687469 h 3403632"/>
              <a:gd name="connsiteX2851" fmla="*/ 281149 w 3905665"/>
              <a:gd name="connsiteY2851" fmla="*/ 686971 h 3403632"/>
              <a:gd name="connsiteX2852" fmla="*/ 322371 w 3905665"/>
              <a:gd name="connsiteY2852" fmla="*/ 728193 h 3403632"/>
              <a:gd name="connsiteX2853" fmla="*/ 281149 w 3905665"/>
              <a:gd name="connsiteY2853" fmla="*/ 769414 h 3403632"/>
              <a:gd name="connsiteX2854" fmla="*/ 239927 w 3905665"/>
              <a:gd name="connsiteY2854" fmla="*/ 728193 h 3403632"/>
              <a:gd name="connsiteX2855" fmla="*/ 281149 w 3905665"/>
              <a:gd name="connsiteY2855" fmla="*/ 686971 h 3403632"/>
              <a:gd name="connsiteX2856" fmla="*/ 3196012 w 3905665"/>
              <a:gd name="connsiteY2856" fmla="*/ 684780 h 3403632"/>
              <a:gd name="connsiteX2857" fmla="*/ 3232792 w 3905665"/>
              <a:gd name="connsiteY2857" fmla="*/ 721559 h 3403632"/>
              <a:gd name="connsiteX2858" fmla="*/ 3196012 w 3905665"/>
              <a:gd name="connsiteY2858" fmla="*/ 758331 h 3403632"/>
              <a:gd name="connsiteX2859" fmla="*/ 3159234 w 3905665"/>
              <a:gd name="connsiteY2859" fmla="*/ 721559 h 3403632"/>
              <a:gd name="connsiteX2860" fmla="*/ 3196012 w 3905665"/>
              <a:gd name="connsiteY2860" fmla="*/ 684780 h 3403632"/>
              <a:gd name="connsiteX2861" fmla="*/ 2960533 w 3905665"/>
              <a:gd name="connsiteY2861" fmla="*/ 683791 h 3403632"/>
              <a:gd name="connsiteX2862" fmla="*/ 2995831 w 3905665"/>
              <a:gd name="connsiteY2862" fmla="*/ 719090 h 3403632"/>
              <a:gd name="connsiteX2863" fmla="*/ 2960533 w 3905665"/>
              <a:gd name="connsiteY2863" fmla="*/ 754381 h 3403632"/>
              <a:gd name="connsiteX2864" fmla="*/ 2925235 w 3905665"/>
              <a:gd name="connsiteY2864" fmla="*/ 719090 h 3403632"/>
              <a:gd name="connsiteX2865" fmla="*/ 2960533 w 3905665"/>
              <a:gd name="connsiteY2865" fmla="*/ 683791 h 3403632"/>
              <a:gd name="connsiteX2866" fmla="*/ 1452386 w 3905665"/>
              <a:gd name="connsiteY2866" fmla="*/ 677845 h 3403632"/>
              <a:gd name="connsiteX2867" fmla="*/ 1467935 w 3905665"/>
              <a:gd name="connsiteY2867" fmla="*/ 693396 h 3403632"/>
              <a:gd name="connsiteX2868" fmla="*/ 1452386 w 3905665"/>
              <a:gd name="connsiteY2868" fmla="*/ 708945 h 3403632"/>
              <a:gd name="connsiteX2869" fmla="*/ 1436835 w 3905665"/>
              <a:gd name="connsiteY2869" fmla="*/ 693396 h 3403632"/>
              <a:gd name="connsiteX2870" fmla="*/ 1452386 w 3905665"/>
              <a:gd name="connsiteY2870" fmla="*/ 677845 h 3403632"/>
              <a:gd name="connsiteX2871" fmla="*/ 602530 w 3905665"/>
              <a:gd name="connsiteY2871" fmla="*/ 670188 h 3403632"/>
              <a:gd name="connsiteX2872" fmla="*/ 636348 w 3905665"/>
              <a:gd name="connsiteY2872" fmla="*/ 704004 h 3403632"/>
              <a:gd name="connsiteX2873" fmla="*/ 602530 w 3905665"/>
              <a:gd name="connsiteY2873" fmla="*/ 737819 h 3403632"/>
              <a:gd name="connsiteX2874" fmla="*/ 568715 w 3905665"/>
              <a:gd name="connsiteY2874" fmla="*/ 704004 h 3403632"/>
              <a:gd name="connsiteX2875" fmla="*/ 602530 w 3905665"/>
              <a:gd name="connsiteY2875" fmla="*/ 670188 h 3403632"/>
              <a:gd name="connsiteX2876" fmla="*/ 804686 w 3905665"/>
              <a:gd name="connsiteY2876" fmla="*/ 661056 h 3403632"/>
              <a:gd name="connsiteX2877" fmla="*/ 847387 w 3905665"/>
              <a:gd name="connsiteY2877" fmla="*/ 703757 h 3403632"/>
              <a:gd name="connsiteX2878" fmla="*/ 804686 w 3905665"/>
              <a:gd name="connsiteY2878" fmla="*/ 746459 h 3403632"/>
              <a:gd name="connsiteX2879" fmla="*/ 761985 w 3905665"/>
              <a:gd name="connsiteY2879" fmla="*/ 703757 h 3403632"/>
              <a:gd name="connsiteX2880" fmla="*/ 804686 w 3905665"/>
              <a:gd name="connsiteY2880" fmla="*/ 661056 h 3403632"/>
              <a:gd name="connsiteX2881" fmla="*/ 3437664 w 3905665"/>
              <a:gd name="connsiteY2881" fmla="*/ 658126 h 3403632"/>
              <a:gd name="connsiteX2882" fmla="*/ 3482340 w 3905665"/>
              <a:gd name="connsiteY2882" fmla="*/ 702803 h 3403632"/>
              <a:gd name="connsiteX2883" fmla="*/ 3437664 w 3905665"/>
              <a:gd name="connsiteY2883" fmla="*/ 747479 h 3403632"/>
              <a:gd name="connsiteX2884" fmla="*/ 3392987 w 3905665"/>
              <a:gd name="connsiteY2884" fmla="*/ 702803 h 3403632"/>
              <a:gd name="connsiteX2885" fmla="*/ 3437664 w 3905665"/>
              <a:gd name="connsiteY2885" fmla="*/ 658126 h 3403632"/>
              <a:gd name="connsiteX2886" fmla="*/ 997219 w 3905665"/>
              <a:gd name="connsiteY2886" fmla="*/ 658093 h 3403632"/>
              <a:gd name="connsiteX2887" fmla="*/ 1030050 w 3905665"/>
              <a:gd name="connsiteY2887" fmla="*/ 690921 h 3403632"/>
              <a:gd name="connsiteX2888" fmla="*/ 997219 w 3905665"/>
              <a:gd name="connsiteY2888" fmla="*/ 723753 h 3403632"/>
              <a:gd name="connsiteX2889" fmla="*/ 964391 w 3905665"/>
              <a:gd name="connsiteY2889" fmla="*/ 690921 h 3403632"/>
              <a:gd name="connsiteX2890" fmla="*/ 997219 w 3905665"/>
              <a:gd name="connsiteY2890" fmla="*/ 658093 h 3403632"/>
              <a:gd name="connsiteX2891" fmla="*/ 3668947 w 3905665"/>
              <a:gd name="connsiteY2891" fmla="*/ 655170 h 3403632"/>
              <a:gd name="connsiteX2892" fmla="*/ 3717576 w 3905665"/>
              <a:gd name="connsiteY2892" fmla="*/ 703797 h 3403632"/>
              <a:gd name="connsiteX2893" fmla="*/ 3668947 w 3905665"/>
              <a:gd name="connsiteY2893" fmla="*/ 752423 h 3403632"/>
              <a:gd name="connsiteX2894" fmla="*/ 3620321 w 3905665"/>
              <a:gd name="connsiteY2894" fmla="*/ 703797 h 3403632"/>
              <a:gd name="connsiteX2895" fmla="*/ 3668947 w 3905665"/>
              <a:gd name="connsiteY2895" fmla="*/ 655170 h 3403632"/>
              <a:gd name="connsiteX2896" fmla="*/ 2378255 w 3905665"/>
              <a:gd name="connsiteY2896" fmla="*/ 650211 h 3403632"/>
              <a:gd name="connsiteX2897" fmla="*/ 2402444 w 3905665"/>
              <a:gd name="connsiteY2897" fmla="*/ 674399 h 3403632"/>
              <a:gd name="connsiteX2898" fmla="*/ 2378255 w 3905665"/>
              <a:gd name="connsiteY2898" fmla="*/ 698590 h 3403632"/>
              <a:gd name="connsiteX2899" fmla="*/ 2354064 w 3905665"/>
              <a:gd name="connsiteY2899" fmla="*/ 674399 h 3403632"/>
              <a:gd name="connsiteX2900" fmla="*/ 2378255 w 3905665"/>
              <a:gd name="connsiteY2900" fmla="*/ 650211 h 3403632"/>
              <a:gd name="connsiteX2901" fmla="*/ 2133392 w 3905665"/>
              <a:gd name="connsiteY2901" fmla="*/ 649712 h 3403632"/>
              <a:gd name="connsiteX2902" fmla="*/ 2151164 w 3905665"/>
              <a:gd name="connsiteY2902" fmla="*/ 667484 h 3403632"/>
              <a:gd name="connsiteX2903" fmla="*/ 2133392 w 3905665"/>
              <a:gd name="connsiteY2903" fmla="*/ 685256 h 3403632"/>
              <a:gd name="connsiteX2904" fmla="*/ 2115620 w 3905665"/>
              <a:gd name="connsiteY2904" fmla="*/ 667484 h 3403632"/>
              <a:gd name="connsiteX2905" fmla="*/ 2133392 w 3905665"/>
              <a:gd name="connsiteY2905" fmla="*/ 649712 h 3403632"/>
              <a:gd name="connsiteX2906" fmla="*/ 2628541 w 3905665"/>
              <a:gd name="connsiteY2906" fmla="*/ 643796 h 3403632"/>
              <a:gd name="connsiteX2907" fmla="*/ 2645326 w 3905665"/>
              <a:gd name="connsiteY2907" fmla="*/ 660580 h 3403632"/>
              <a:gd name="connsiteX2908" fmla="*/ 2628541 w 3905665"/>
              <a:gd name="connsiteY2908" fmla="*/ 677366 h 3403632"/>
              <a:gd name="connsiteX2909" fmla="*/ 2611756 w 3905665"/>
              <a:gd name="connsiteY2909" fmla="*/ 660580 h 3403632"/>
              <a:gd name="connsiteX2910" fmla="*/ 2628541 w 3905665"/>
              <a:gd name="connsiteY2910" fmla="*/ 643796 h 3403632"/>
              <a:gd name="connsiteX2911" fmla="*/ 390743 w 3905665"/>
              <a:gd name="connsiteY2911" fmla="*/ 641554 h 3403632"/>
              <a:gd name="connsiteX2912" fmla="*/ 436406 w 3905665"/>
              <a:gd name="connsiteY2912" fmla="*/ 687218 h 3403632"/>
              <a:gd name="connsiteX2913" fmla="*/ 390743 w 3905665"/>
              <a:gd name="connsiteY2913" fmla="*/ 732882 h 3403632"/>
              <a:gd name="connsiteX2914" fmla="*/ 345079 w 3905665"/>
              <a:gd name="connsiteY2914" fmla="*/ 687218 h 3403632"/>
              <a:gd name="connsiteX2915" fmla="*/ 390743 w 3905665"/>
              <a:gd name="connsiteY2915" fmla="*/ 641554 h 3403632"/>
              <a:gd name="connsiteX2916" fmla="*/ 1884598 w 3905665"/>
              <a:gd name="connsiteY2916" fmla="*/ 638357 h 3403632"/>
              <a:gd name="connsiteX2917" fmla="*/ 1903110 w 3905665"/>
              <a:gd name="connsiteY2917" fmla="*/ 656869 h 3403632"/>
              <a:gd name="connsiteX2918" fmla="*/ 1884598 w 3905665"/>
              <a:gd name="connsiteY2918" fmla="*/ 675380 h 3403632"/>
              <a:gd name="connsiteX2919" fmla="*/ 1866084 w 3905665"/>
              <a:gd name="connsiteY2919" fmla="*/ 656869 h 3403632"/>
              <a:gd name="connsiteX2920" fmla="*/ 1884598 w 3905665"/>
              <a:gd name="connsiteY2920" fmla="*/ 638357 h 3403632"/>
              <a:gd name="connsiteX2921" fmla="*/ 2865995 w 3905665"/>
              <a:gd name="connsiteY2921" fmla="*/ 636147 h 3403632"/>
              <a:gd name="connsiteX2922" fmla="*/ 2894628 w 3905665"/>
              <a:gd name="connsiteY2922" fmla="*/ 664779 h 3403632"/>
              <a:gd name="connsiteX2923" fmla="*/ 2865995 w 3905665"/>
              <a:gd name="connsiteY2923" fmla="*/ 693412 h 3403632"/>
              <a:gd name="connsiteX2924" fmla="*/ 2837362 w 3905665"/>
              <a:gd name="connsiteY2924" fmla="*/ 664779 h 3403632"/>
              <a:gd name="connsiteX2925" fmla="*/ 2865995 w 3905665"/>
              <a:gd name="connsiteY2925" fmla="*/ 636147 h 3403632"/>
              <a:gd name="connsiteX2926" fmla="*/ 1181112 w 3905665"/>
              <a:gd name="connsiteY2926" fmla="*/ 634893 h 3403632"/>
              <a:gd name="connsiteX2927" fmla="*/ 1214436 w 3905665"/>
              <a:gd name="connsiteY2927" fmla="*/ 668216 h 3403632"/>
              <a:gd name="connsiteX2928" fmla="*/ 1181112 w 3905665"/>
              <a:gd name="connsiteY2928" fmla="*/ 701540 h 3403632"/>
              <a:gd name="connsiteX2929" fmla="*/ 1147789 w 3905665"/>
              <a:gd name="connsiteY2929" fmla="*/ 668216 h 3403632"/>
              <a:gd name="connsiteX2930" fmla="*/ 1181112 w 3905665"/>
              <a:gd name="connsiteY2930" fmla="*/ 634893 h 3403632"/>
              <a:gd name="connsiteX2931" fmla="*/ 3101230 w 3905665"/>
              <a:gd name="connsiteY2931" fmla="*/ 629983 h 3403632"/>
              <a:gd name="connsiteX2932" fmla="*/ 3138254 w 3905665"/>
              <a:gd name="connsiteY2932" fmla="*/ 667007 h 3403632"/>
              <a:gd name="connsiteX2933" fmla="*/ 3101230 w 3905665"/>
              <a:gd name="connsiteY2933" fmla="*/ 704031 h 3403632"/>
              <a:gd name="connsiteX2934" fmla="*/ 3064204 w 3905665"/>
              <a:gd name="connsiteY2934" fmla="*/ 667007 h 3403632"/>
              <a:gd name="connsiteX2935" fmla="*/ 3101230 w 3905665"/>
              <a:gd name="connsiteY2935" fmla="*/ 629983 h 3403632"/>
              <a:gd name="connsiteX2936" fmla="*/ 1629864 w 3905665"/>
              <a:gd name="connsiteY2936" fmla="*/ 628727 h 3403632"/>
              <a:gd name="connsiteX2937" fmla="*/ 1644920 w 3905665"/>
              <a:gd name="connsiteY2937" fmla="*/ 643783 h 3403632"/>
              <a:gd name="connsiteX2938" fmla="*/ 1629864 w 3905665"/>
              <a:gd name="connsiteY2938" fmla="*/ 658842 h 3403632"/>
              <a:gd name="connsiteX2939" fmla="*/ 1614558 w 3905665"/>
              <a:gd name="connsiteY2939" fmla="*/ 643783 h 3403632"/>
              <a:gd name="connsiteX2940" fmla="*/ 1629864 w 3905665"/>
              <a:gd name="connsiteY2940" fmla="*/ 628727 h 3403632"/>
              <a:gd name="connsiteX2941" fmla="*/ 51098 w 3905665"/>
              <a:gd name="connsiteY2941" fmla="*/ 625261 h 3403632"/>
              <a:gd name="connsiteX2942" fmla="*/ 99477 w 3905665"/>
              <a:gd name="connsiteY2942" fmla="*/ 673641 h 3403632"/>
              <a:gd name="connsiteX2943" fmla="*/ 51098 w 3905665"/>
              <a:gd name="connsiteY2943" fmla="*/ 722021 h 3403632"/>
              <a:gd name="connsiteX2944" fmla="*/ 2718 w 3905665"/>
              <a:gd name="connsiteY2944" fmla="*/ 673641 h 3403632"/>
              <a:gd name="connsiteX2945" fmla="*/ 51098 w 3905665"/>
              <a:gd name="connsiteY2945" fmla="*/ 625261 h 3403632"/>
              <a:gd name="connsiteX2946" fmla="*/ 3334488 w 3905665"/>
              <a:gd name="connsiteY2946" fmla="*/ 622089 h 3403632"/>
              <a:gd name="connsiteX2947" fmla="*/ 3380893 w 3905665"/>
              <a:gd name="connsiteY2947" fmla="*/ 668492 h 3403632"/>
              <a:gd name="connsiteX2948" fmla="*/ 3334488 w 3905665"/>
              <a:gd name="connsiteY2948" fmla="*/ 714898 h 3403632"/>
              <a:gd name="connsiteX2949" fmla="*/ 3288083 w 3905665"/>
              <a:gd name="connsiteY2949" fmla="*/ 668492 h 3403632"/>
              <a:gd name="connsiteX2950" fmla="*/ 3334488 w 3905665"/>
              <a:gd name="connsiteY2950" fmla="*/ 622089 h 3403632"/>
              <a:gd name="connsiteX2951" fmla="*/ 163903 w 3905665"/>
              <a:gd name="connsiteY2951" fmla="*/ 605269 h 3403632"/>
              <a:gd name="connsiteX2952" fmla="*/ 208087 w 3905665"/>
              <a:gd name="connsiteY2952" fmla="*/ 649452 h 3403632"/>
              <a:gd name="connsiteX2953" fmla="*/ 163903 w 3905665"/>
              <a:gd name="connsiteY2953" fmla="*/ 693636 h 3403632"/>
              <a:gd name="connsiteX2954" fmla="*/ 119719 w 3905665"/>
              <a:gd name="connsiteY2954" fmla="*/ 649452 h 3403632"/>
              <a:gd name="connsiteX2955" fmla="*/ 163903 w 3905665"/>
              <a:gd name="connsiteY2955" fmla="*/ 605269 h 3403632"/>
              <a:gd name="connsiteX2956" fmla="*/ 702003 w 3905665"/>
              <a:gd name="connsiteY2956" fmla="*/ 602061 h 3403632"/>
              <a:gd name="connsiteX2957" fmla="*/ 742978 w 3905665"/>
              <a:gd name="connsiteY2957" fmla="*/ 643037 h 3403632"/>
              <a:gd name="connsiteX2958" fmla="*/ 702003 w 3905665"/>
              <a:gd name="connsiteY2958" fmla="*/ 684010 h 3403632"/>
              <a:gd name="connsiteX2959" fmla="*/ 661029 w 3905665"/>
              <a:gd name="connsiteY2959" fmla="*/ 643037 h 3403632"/>
              <a:gd name="connsiteX2960" fmla="*/ 702003 w 3905665"/>
              <a:gd name="connsiteY2960" fmla="*/ 602061 h 3403632"/>
              <a:gd name="connsiteX2961" fmla="*/ 2284209 w 3905665"/>
              <a:gd name="connsiteY2961" fmla="*/ 600103 h 3403632"/>
              <a:gd name="connsiteX2962" fmla="*/ 2304451 w 3905665"/>
              <a:gd name="connsiteY2962" fmla="*/ 620341 h 3403632"/>
              <a:gd name="connsiteX2963" fmla="*/ 2284209 w 3905665"/>
              <a:gd name="connsiteY2963" fmla="*/ 640582 h 3403632"/>
              <a:gd name="connsiteX2964" fmla="*/ 2263970 w 3905665"/>
              <a:gd name="connsiteY2964" fmla="*/ 620341 h 3403632"/>
              <a:gd name="connsiteX2965" fmla="*/ 2284209 w 3905665"/>
              <a:gd name="connsiteY2965" fmla="*/ 600103 h 3403632"/>
              <a:gd name="connsiteX2966" fmla="*/ 2525117 w 3905665"/>
              <a:gd name="connsiteY2966" fmla="*/ 599858 h 3403632"/>
              <a:gd name="connsiteX2967" fmla="*/ 2550539 w 3905665"/>
              <a:gd name="connsiteY2967" fmla="*/ 625282 h 3403632"/>
              <a:gd name="connsiteX2968" fmla="*/ 2525117 w 3905665"/>
              <a:gd name="connsiteY2968" fmla="*/ 650703 h 3403632"/>
              <a:gd name="connsiteX2969" fmla="*/ 2499692 w 3905665"/>
              <a:gd name="connsiteY2969" fmla="*/ 625282 h 3403632"/>
              <a:gd name="connsiteX2970" fmla="*/ 2525117 w 3905665"/>
              <a:gd name="connsiteY2970" fmla="*/ 599858 h 3403632"/>
              <a:gd name="connsiteX2971" fmla="*/ 3573421 w 3905665"/>
              <a:gd name="connsiteY2971" fmla="*/ 599141 h 3403632"/>
              <a:gd name="connsiteX2972" fmla="*/ 3623037 w 3905665"/>
              <a:gd name="connsiteY2972" fmla="*/ 648750 h 3403632"/>
              <a:gd name="connsiteX2973" fmla="*/ 3573421 w 3905665"/>
              <a:gd name="connsiteY2973" fmla="*/ 698366 h 3403632"/>
              <a:gd name="connsiteX2974" fmla="*/ 3523808 w 3905665"/>
              <a:gd name="connsiteY2974" fmla="*/ 648750 h 3403632"/>
              <a:gd name="connsiteX2975" fmla="*/ 3573421 w 3905665"/>
              <a:gd name="connsiteY2975" fmla="*/ 599141 h 3403632"/>
              <a:gd name="connsiteX2976" fmla="*/ 1356365 w 3905665"/>
              <a:gd name="connsiteY2976" fmla="*/ 598117 h 3403632"/>
              <a:gd name="connsiteX2977" fmla="*/ 1397095 w 3905665"/>
              <a:gd name="connsiteY2977" fmla="*/ 638843 h 3403632"/>
              <a:gd name="connsiteX2978" fmla="*/ 1356365 w 3905665"/>
              <a:gd name="connsiteY2978" fmla="*/ 679571 h 3403632"/>
              <a:gd name="connsiteX2979" fmla="*/ 1315637 w 3905665"/>
              <a:gd name="connsiteY2979" fmla="*/ 638843 h 3403632"/>
              <a:gd name="connsiteX2980" fmla="*/ 1356365 w 3905665"/>
              <a:gd name="connsiteY2980" fmla="*/ 598117 h 3403632"/>
              <a:gd name="connsiteX2981" fmla="*/ 1790802 w 3905665"/>
              <a:gd name="connsiteY2981" fmla="*/ 593431 h 3403632"/>
              <a:gd name="connsiteX2982" fmla="*/ 1799439 w 3905665"/>
              <a:gd name="connsiteY2982" fmla="*/ 602071 h 3403632"/>
              <a:gd name="connsiteX2983" fmla="*/ 1790802 w 3905665"/>
              <a:gd name="connsiteY2983" fmla="*/ 610708 h 3403632"/>
              <a:gd name="connsiteX2984" fmla="*/ 1782162 w 3905665"/>
              <a:gd name="connsiteY2984" fmla="*/ 602071 h 3403632"/>
              <a:gd name="connsiteX2985" fmla="*/ 1790802 w 3905665"/>
              <a:gd name="connsiteY2985" fmla="*/ 593431 h 3403632"/>
              <a:gd name="connsiteX2986" fmla="*/ 496634 w 3905665"/>
              <a:gd name="connsiteY2986" fmla="*/ 589718 h 3403632"/>
              <a:gd name="connsiteX2987" fmla="*/ 545260 w 3905665"/>
              <a:gd name="connsiteY2987" fmla="*/ 638097 h 3403632"/>
              <a:gd name="connsiteX2988" fmla="*/ 496634 w 3905665"/>
              <a:gd name="connsiteY2988" fmla="*/ 686476 h 3403632"/>
              <a:gd name="connsiteX2989" fmla="*/ 448255 w 3905665"/>
              <a:gd name="connsiteY2989" fmla="*/ 638097 h 3403632"/>
              <a:gd name="connsiteX2990" fmla="*/ 496634 w 3905665"/>
              <a:gd name="connsiteY2990" fmla="*/ 589718 h 3403632"/>
              <a:gd name="connsiteX2991" fmla="*/ 897250 w 3905665"/>
              <a:gd name="connsiteY2991" fmla="*/ 588733 h 3403632"/>
              <a:gd name="connsiteX2992" fmla="*/ 941926 w 3905665"/>
              <a:gd name="connsiteY2992" fmla="*/ 633409 h 3403632"/>
              <a:gd name="connsiteX2993" fmla="*/ 897250 w 3905665"/>
              <a:gd name="connsiteY2993" fmla="*/ 678085 h 3403632"/>
              <a:gd name="connsiteX2994" fmla="*/ 852573 w 3905665"/>
              <a:gd name="connsiteY2994" fmla="*/ 633409 h 3403632"/>
              <a:gd name="connsiteX2995" fmla="*/ 897250 w 3905665"/>
              <a:gd name="connsiteY2995" fmla="*/ 588733 h 3403632"/>
              <a:gd name="connsiteX2996" fmla="*/ 2039844 w 3905665"/>
              <a:gd name="connsiteY2996" fmla="*/ 586769 h 3403632"/>
              <a:gd name="connsiteX2997" fmla="*/ 2065514 w 3905665"/>
              <a:gd name="connsiteY2997" fmla="*/ 612439 h 3403632"/>
              <a:gd name="connsiteX2998" fmla="*/ 2039844 w 3905665"/>
              <a:gd name="connsiteY2998" fmla="*/ 638109 h 3403632"/>
              <a:gd name="connsiteX2999" fmla="*/ 2014173 w 3905665"/>
              <a:gd name="connsiteY2999" fmla="*/ 612439 h 3403632"/>
              <a:gd name="connsiteX3000" fmla="*/ 2039844 w 3905665"/>
              <a:gd name="connsiteY3000" fmla="*/ 586769 h 3403632"/>
              <a:gd name="connsiteX3001" fmla="*/ 1524709 w 3905665"/>
              <a:gd name="connsiteY3001" fmla="*/ 584046 h 3403632"/>
              <a:gd name="connsiteX3002" fmla="*/ 1543468 w 3905665"/>
              <a:gd name="connsiteY3002" fmla="*/ 602805 h 3403632"/>
              <a:gd name="connsiteX3003" fmla="*/ 1524709 w 3905665"/>
              <a:gd name="connsiteY3003" fmla="*/ 621565 h 3403632"/>
              <a:gd name="connsiteX3004" fmla="*/ 1505949 w 3905665"/>
              <a:gd name="connsiteY3004" fmla="*/ 602805 h 3403632"/>
              <a:gd name="connsiteX3005" fmla="*/ 1524709 w 3905665"/>
              <a:gd name="connsiteY3005" fmla="*/ 584046 h 3403632"/>
              <a:gd name="connsiteX3006" fmla="*/ 274486 w 3905665"/>
              <a:gd name="connsiteY3006" fmla="*/ 576882 h 3403632"/>
              <a:gd name="connsiteX3007" fmla="*/ 313730 w 3905665"/>
              <a:gd name="connsiteY3007" fmla="*/ 615883 h 3403632"/>
              <a:gd name="connsiteX3008" fmla="*/ 274486 w 3905665"/>
              <a:gd name="connsiteY3008" fmla="*/ 654881 h 3403632"/>
              <a:gd name="connsiteX3009" fmla="*/ 235484 w 3905665"/>
              <a:gd name="connsiteY3009" fmla="*/ 615883 h 3403632"/>
              <a:gd name="connsiteX3010" fmla="*/ 274486 w 3905665"/>
              <a:gd name="connsiteY3010" fmla="*/ 576882 h 3403632"/>
              <a:gd name="connsiteX3011" fmla="*/ 2771705 w 3905665"/>
              <a:gd name="connsiteY3011" fmla="*/ 574934 h 3403632"/>
              <a:gd name="connsiteX3012" fmla="*/ 2806262 w 3905665"/>
              <a:gd name="connsiteY3012" fmla="*/ 609489 h 3403632"/>
              <a:gd name="connsiteX3013" fmla="*/ 2771705 w 3905665"/>
              <a:gd name="connsiteY3013" fmla="*/ 644044 h 3403632"/>
              <a:gd name="connsiteX3014" fmla="*/ 2737148 w 3905665"/>
              <a:gd name="connsiteY3014" fmla="*/ 609489 h 3403632"/>
              <a:gd name="connsiteX3015" fmla="*/ 2771705 w 3905665"/>
              <a:gd name="connsiteY3015" fmla="*/ 574934 h 3403632"/>
              <a:gd name="connsiteX3016" fmla="*/ 1083115 w 3905665"/>
              <a:gd name="connsiteY3016" fmla="*/ 572198 h 3403632"/>
              <a:gd name="connsiteX3017" fmla="*/ 1123596 w 3905665"/>
              <a:gd name="connsiteY3017" fmla="*/ 612678 h 3403632"/>
              <a:gd name="connsiteX3018" fmla="*/ 1083115 w 3905665"/>
              <a:gd name="connsiteY3018" fmla="*/ 653159 h 3403632"/>
              <a:gd name="connsiteX3019" fmla="*/ 1042637 w 3905665"/>
              <a:gd name="connsiteY3019" fmla="*/ 612678 h 3403632"/>
              <a:gd name="connsiteX3020" fmla="*/ 1083115 w 3905665"/>
              <a:gd name="connsiteY3020" fmla="*/ 572198 h 3403632"/>
              <a:gd name="connsiteX3021" fmla="*/ 3239209 w 3905665"/>
              <a:gd name="connsiteY3021" fmla="*/ 568773 h 3403632"/>
              <a:gd name="connsiteX3022" fmla="*/ 3284134 w 3905665"/>
              <a:gd name="connsiteY3022" fmla="*/ 613694 h 3403632"/>
              <a:gd name="connsiteX3023" fmla="*/ 3239209 w 3905665"/>
              <a:gd name="connsiteY3023" fmla="*/ 658616 h 3403632"/>
              <a:gd name="connsiteX3024" fmla="*/ 3194286 w 3905665"/>
              <a:gd name="connsiteY3024" fmla="*/ 613694 h 3403632"/>
              <a:gd name="connsiteX3025" fmla="*/ 3239209 w 3905665"/>
              <a:gd name="connsiteY3025" fmla="*/ 568773 h 3403632"/>
              <a:gd name="connsiteX3026" fmla="*/ 3006444 w 3905665"/>
              <a:gd name="connsiteY3026" fmla="*/ 568027 h 3403632"/>
              <a:gd name="connsiteX3027" fmla="*/ 3050382 w 3905665"/>
              <a:gd name="connsiteY3027" fmla="*/ 611961 h 3403632"/>
              <a:gd name="connsiteX3028" fmla="*/ 3006444 w 3905665"/>
              <a:gd name="connsiteY3028" fmla="*/ 655896 h 3403632"/>
              <a:gd name="connsiteX3029" fmla="*/ 2962508 w 3905665"/>
              <a:gd name="connsiteY3029" fmla="*/ 611961 h 3403632"/>
              <a:gd name="connsiteX3030" fmla="*/ 3006444 w 3905665"/>
              <a:gd name="connsiteY3030" fmla="*/ 568027 h 3403632"/>
              <a:gd name="connsiteX3031" fmla="*/ 1260594 w 3905665"/>
              <a:gd name="connsiteY3031" fmla="*/ 546033 h 3403632"/>
              <a:gd name="connsiteX3032" fmla="*/ 1297864 w 3905665"/>
              <a:gd name="connsiteY3032" fmla="*/ 583306 h 3403632"/>
              <a:gd name="connsiteX3033" fmla="*/ 1260594 w 3905665"/>
              <a:gd name="connsiteY3033" fmla="*/ 620575 h 3403632"/>
              <a:gd name="connsiteX3034" fmla="*/ 1223321 w 3905665"/>
              <a:gd name="connsiteY3034" fmla="*/ 583306 h 3403632"/>
              <a:gd name="connsiteX3035" fmla="*/ 1260594 w 3905665"/>
              <a:gd name="connsiteY3035" fmla="*/ 546033 h 3403632"/>
              <a:gd name="connsiteX3036" fmla="*/ 2189919 w 3905665"/>
              <a:gd name="connsiteY3036" fmla="*/ 544810 h 3403632"/>
              <a:gd name="connsiteX3037" fmla="*/ 2211392 w 3905665"/>
              <a:gd name="connsiteY3037" fmla="*/ 566286 h 3403632"/>
              <a:gd name="connsiteX3038" fmla="*/ 2189919 w 3905665"/>
              <a:gd name="connsiteY3038" fmla="*/ 587761 h 3403632"/>
              <a:gd name="connsiteX3039" fmla="*/ 2168444 w 3905665"/>
              <a:gd name="connsiteY3039" fmla="*/ 566286 h 3403632"/>
              <a:gd name="connsiteX3040" fmla="*/ 2189919 w 3905665"/>
              <a:gd name="connsiteY3040" fmla="*/ 544810 h 3403632"/>
              <a:gd name="connsiteX3041" fmla="*/ 3477898 w 3905665"/>
              <a:gd name="connsiteY3041" fmla="*/ 543352 h 3403632"/>
              <a:gd name="connsiteX3042" fmla="*/ 3528004 w 3905665"/>
              <a:gd name="connsiteY3042" fmla="*/ 593461 h 3403632"/>
              <a:gd name="connsiteX3043" fmla="*/ 3477898 w 3905665"/>
              <a:gd name="connsiteY3043" fmla="*/ 643563 h 3403632"/>
              <a:gd name="connsiteX3044" fmla="*/ 3427790 w 3905665"/>
              <a:gd name="connsiteY3044" fmla="*/ 593461 h 3403632"/>
              <a:gd name="connsiteX3045" fmla="*/ 3477898 w 3905665"/>
              <a:gd name="connsiteY3045" fmla="*/ 543352 h 3403632"/>
              <a:gd name="connsiteX3046" fmla="*/ 3707207 w 3905665"/>
              <a:gd name="connsiteY3046" fmla="*/ 542124 h 3403632"/>
              <a:gd name="connsiteX3047" fmla="*/ 3758795 w 3905665"/>
              <a:gd name="connsiteY3047" fmla="*/ 593713 h 3403632"/>
              <a:gd name="connsiteX3048" fmla="*/ 3707207 w 3905665"/>
              <a:gd name="connsiteY3048" fmla="*/ 645545 h 3403632"/>
              <a:gd name="connsiteX3049" fmla="*/ 3655619 w 3905665"/>
              <a:gd name="connsiteY3049" fmla="*/ 593713 h 3403632"/>
              <a:gd name="connsiteX3050" fmla="*/ 3707207 w 3905665"/>
              <a:gd name="connsiteY3050" fmla="*/ 542124 h 3403632"/>
              <a:gd name="connsiteX3051" fmla="*/ 2431076 w 3905665"/>
              <a:gd name="connsiteY3051" fmla="*/ 541357 h 3403632"/>
              <a:gd name="connsiteX3052" fmla="*/ 2460696 w 3905665"/>
              <a:gd name="connsiteY3052" fmla="*/ 570732 h 3403632"/>
              <a:gd name="connsiteX3053" fmla="*/ 2431076 w 3905665"/>
              <a:gd name="connsiteY3053" fmla="*/ 600352 h 3403632"/>
              <a:gd name="connsiteX3054" fmla="*/ 2401456 w 3905665"/>
              <a:gd name="connsiteY3054" fmla="*/ 570732 h 3403632"/>
              <a:gd name="connsiteX3055" fmla="*/ 2431076 w 3905665"/>
              <a:gd name="connsiteY3055" fmla="*/ 541357 h 3403632"/>
              <a:gd name="connsiteX3056" fmla="*/ 50360 w 3905665"/>
              <a:gd name="connsiteY3056" fmla="*/ 540598 h 3403632"/>
              <a:gd name="connsiteX3057" fmla="*/ 73068 w 3905665"/>
              <a:gd name="connsiteY3057" fmla="*/ 563307 h 3403632"/>
              <a:gd name="connsiteX3058" fmla="*/ 50360 w 3905665"/>
              <a:gd name="connsiteY3058" fmla="*/ 586016 h 3403632"/>
              <a:gd name="connsiteX3059" fmla="*/ 27651 w 3905665"/>
              <a:gd name="connsiteY3059" fmla="*/ 563307 h 3403632"/>
              <a:gd name="connsiteX3060" fmla="*/ 50360 w 3905665"/>
              <a:gd name="connsiteY3060" fmla="*/ 540598 h 3403632"/>
              <a:gd name="connsiteX3061" fmla="*/ 1946056 w 3905665"/>
              <a:gd name="connsiteY3061" fmla="*/ 538387 h 3403632"/>
              <a:gd name="connsiteX3062" fmla="*/ 1965551 w 3905665"/>
              <a:gd name="connsiteY3062" fmla="*/ 557889 h 3403632"/>
              <a:gd name="connsiteX3063" fmla="*/ 1946056 w 3905665"/>
              <a:gd name="connsiteY3063" fmla="*/ 577387 h 3403632"/>
              <a:gd name="connsiteX3064" fmla="*/ 1926558 w 3905665"/>
              <a:gd name="connsiteY3064" fmla="*/ 557889 h 3403632"/>
              <a:gd name="connsiteX3065" fmla="*/ 1946056 w 3905665"/>
              <a:gd name="connsiteY3065" fmla="*/ 538387 h 3403632"/>
              <a:gd name="connsiteX3066" fmla="*/ 381856 w 3905665"/>
              <a:gd name="connsiteY3066" fmla="*/ 538130 h 3403632"/>
              <a:gd name="connsiteX3067" fmla="*/ 416413 w 3905665"/>
              <a:gd name="connsiteY3067" fmla="*/ 572933 h 3403632"/>
              <a:gd name="connsiteX3068" fmla="*/ 381856 w 3905665"/>
              <a:gd name="connsiteY3068" fmla="*/ 607490 h 3403632"/>
              <a:gd name="connsiteX3069" fmla="*/ 347053 w 3905665"/>
              <a:gd name="connsiteY3069" fmla="*/ 572933 h 3403632"/>
              <a:gd name="connsiteX3070" fmla="*/ 381856 w 3905665"/>
              <a:gd name="connsiteY3070" fmla="*/ 538130 h 3403632"/>
              <a:gd name="connsiteX3071" fmla="*/ 598331 w 3905665"/>
              <a:gd name="connsiteY3071" fmla="*/ 531218 h 3403632"/>
              <a:gd name="connsiteX3072" fmla="*/ 647698 w 3905665"/>
              <a:gd name="connsiteY3072" fmla="*/ 580586 h 3403632"/>
              <a:gd name="connsiteX3073" fmla="*/ 598331 w 3905665"/>
              <a:gd name="connsiteY3073" fmla="*/ 629952 h 3403632"/>
              <a:gd name="connsiteX3074" fmla="*/ 548965 w 3905665"/>
              <a:gd name="connsiteY3074" fmla="*/ 580586 h 3403632"/>
              <a:gd name="connsiteX3075" fmla="*/ 598331 w 3905665"/>
              <a:gd name="connsiteY3075" fmla="*/ 531218 h 3403632"/>
              <a:gd name="connsiteX3076" fmla="*/ 1696508 w 3905665"/>
              <a:gd name="connsiteY3076" fmla="*/ 528510 h 3403632"/>
              <a:gd name="connsiteX3077" fmla="*/ 1716010 w 3905665"/>
              <a:gd name="connsiteY3077" fmla="*/ 548011 h 3403632"/>
              <a:gd name="connsiteX3078" fmla="*/ 1696508 w 3905665"/>
              <a:gd name="connsiteY3078" fmla="*/ 567512 h 3403632"/>
              <a:gd name="connsiteX3079" fmla="*/ 1677008 w 3905665"/>
              <a:gd name="connsiteY3079" fmla="*/ 548011 h 3403632"/>
              <a:gd name="connsiteX3080" fmla="*/ 1696508 w 3905665"/>
              <a:gd name="connsiteY3080" fmla="*/ 528510 h 3403632"/>
              <a:gd name="connsiteX3081" fmla="*/ 796541 w 3905665"/>
              <a:gd name="connsiteY3081" fmla="*/ 527762 h 3403632"/>
              <a:gd name="connsiteX3082" fmla="*/ 843687 w 3905665"/>
              <a:gd name="connsiteY3082" fmla="*/ 574909 h 3403632"/>
              <a:gd name="connsiteX3083" fmla="*/ 796541 w 3905665"/>
              <a:gd name="connsiteY3083" fmla="*/ 622055 h 3403632"/>
              <a:gd name="connsiteX3084" fmla="*/ 749394 w 3905665"/>
              <a:gd name="connsiteY3084" fmla="*/ 574909 h 3403632"/>
              <a:gd name="connsiteX3085" fmla="*/ 796541 w 3905665"/>
              <a:gd name="connsiteY3085" fmla="*/ 527762 h 3403632"/>
              <a:gd name="connsiteX3086" fmla="*/ 2677167 w 3905665"/>
              <a:gd name="connsiteY3086" fmla="*/ 524575 h 3403632"/>
              <a:gd name="connsiteX3087" fmla="*/ 2707280 w 3905665"/>
              <a:gd name="connsiteY3087" fmla="*/ 554692 h 3403632"/>
              <a:gd name="connsiteX3088" fmla="*/ 2677167 w 3905665"/>
              <a:gd name="connsiteY3088" fmla="*/ 584805 h 3403632"/>
              <a:gd name="connsiteX3089" fmla="*/ 2647052 w 3905665"/>
              <a:gd name="connsiteY3089" fmla="*/ 554692 h 3403632"/>
              <a:gd name="connsiteX3090" fmla="*/ 2677167 w 3905665"/>
              <a:gd name="connsiteY3090" fmla="*/ 524575 h 3403632"/>
              <a:gd name="connsiteX3091" fmla="*/ 163160 w 3905665"/>
              <a:gd name="connsiteY3091" fmla="*/ 523810 h 3403632"/>
              <a:gd name="connsiteX3092" fmla="*/ 176490 w 3905665"/>
              <a:gd name="connsiteY3092" fmla="*/ 537141 h 3403632"/>
              <a:gd name="connsiteX3093" fmla="*/ 163160 w 3905665"/>
              <a:gd name="connsiteY3093" fmla="*/ 550469 h 3403632"/>
              <a:gd name="connsiteX3094" fmla="*/ 149832 w 3905665"/>
              <a:gd name="connsiteY3094" fmla="*/ 537141 h 3403632"/>
              <a:gd name="connsiteX3095" fmla="*/ 163160 w 3905665"/>
              <a:gd name="connsiteY3095" fmla="*/ 523810 h 3403632"/>
              <a:gd name="connsiteX3096" fmla="*/ 2911415 w 3905665"/>
              <a:gd name="connsiteY3096" fmla="*/ 520624 h 3403632"/>
              <a:gd name="connsiteX3097" fmla="*/ 2948685 w 3905665"/>
              <a:gd name="connsiteY3097" fmla="*/ 557905 h 3403632"/>
              <a:gd name="connsiteX3098" fmla="*/ 2911415 w 3905665"/>
              <a:gd name="connsiteY3098" fmla="*/ 595175 h 3403632"/>
              <a:gd name="connsiteX3099" fmla="*/ 2874142 w 3905665"/>
              <a:gd name="connsiteY3099" fmla="*/ 557905 h 3403632"/>
              <a:gd name="connsiteX3100" fmla="*/ 2911415 w 3905665"/>
              <a:gd name="connsiteY3100" fmla="*/ 520624 h 3403632"/>
              <a:gd name="connsiteX3101" fmla="*/ 3143932 w 3905665"/>
              <a:gd name="connsiteY3101" fmla="*/ 515199 h 3403632"/>
              <a:gd name="connsiteX3102" fmla="*/ 3187621 w 3905665"/>
              <a:gd name="connsiteY3102" fmla="*/ 558897 h 3403632"/>
              <a:gd name="connsiteX3103" fmla="*/ 3143932 w 3905665"/>
              <a:gd name="connsiteY3103" fmla="*/ 602585 h 3403632"/>
              <a:gd name="connsiteX3104" fmla="*/ 3100243 w 3905665"/>
              <a:gd name="connsiteY3104" fmla="*/ 558897 h 3403632"/>
              <a:gd name="connsiteX3105" fmla="*/ 3143932 w 3905665"/>
              <a:gd name="connsiteY3105" fmla="*/ 515199 h 3403632"/>
              <a:gd name="connsiteX3106" fmla="*/ 984880 w 3905665"/>
              <a:gd name="connsiteY3106" fmla="*/ 510485 h 3403632"/>
              <a:gd name="connsiteX3107" fmla="*/ 1031037 w 3905665"/>
              <a:gd name="connsiteY3107" fmla="*/ 556399 h 3403632"/>
              <a:gd name="connsiteX3108" fmla="*/ 984880 w 3905665"/>
              <a:gd name="connsiteY3108" fmla="*/ 602556 h 3403632"/>
              <a:gd name="connsiteX3109" fmla="*/ 938968 w 3905665"/>
              <a:gd name="connsiteY3109" fmla="*/ 556399 h 3403632"/>
              <a:gd name="connsiteX3110" fmla="*/ 984880 w 3905665"/>
              <a:gd name="connsiteY3110" fmla="*/ 510485 h 3403632"/>
              <a:gd name="connsiteX3111" fmla="*/ 1429675 w 3905665"/>
              <a:gd name="connsiteY3111" fmla="*/ 509008 h 3403632"/>
              <a:gd name="connsiteX3112" fmla="*/ 1469417 w 3905665"/>
              <a:gd name="connsiteY3112" fmla="*/ 548750 h 3403632"/>
              <a:gd name="connsiteX3113" fmla="*/ 1429675 w 3905665"/>
              <a:gd name="connsiteY3113" fmla="*/ 588492 h 3403632"/>
              <a:gd name="connsiteX3114" fmla="*/ 1389935 w 3905665"/>
              <a:gd name="connsiteY3114" fmla="*/ 548750 h 3403632"/>
              <a:gd name="connsiteX3115" fmla="*/ 1429675 w 3905665"/>
              <a:gd name="connsiteY3115" fmla="*/ 509008 h 3403632"/>
              <a:gd name="connsiteX3116" fmla="*/ 3374722 w 3905665"/>
              <a:gd name="connsiteY3116" fmla="*/ 508537 h 3403632"/>
              <a:gd name="connsiteX3117" fmla="*/ 3425815 w 3905665"/>
              <a:gd name="connsiteY3117" fmla="*/ 559643 h 3403632"/>
              <a:gd name="connsiteX3118" fmla="*/ 3374722 w 3905665"/>
              <a:gd name="connsiteY3118" fmla="*/ 610734 h 3403632"/>
              <a:gd name="connsiteX3119" fmla="*/ 3323627 w 3905665"/>
              <a:gd name="connsiteY3119" fmla="*/ 559643 h 3403632"/>
              <a:gd name="connsiteX3120" fmla="*/ 3374722 w 3905665"/>
              <a:gd name="connsiteY3120" fmla="*/ 508537 h 3403632"/>
              <a:gd name="connsiteX3121" fmla="*/ 2336538 w 3905665"/>
              <a:gd name="connsiteY3121" fmla="*/ 493219 h 3403632"/>
              <a:gd name="connsiteX3122" fmla="*/ 2359985 w 3905665"/>
              <a:gd name="connsiteY3122" fmla="*/ 516669 h 3403632"/>
              <a:gd name="connsiteX3123" fmla="*/ 2336538 w 3905665"/>
              <a:gd name="connsiteY3123" fmla="*/ 540121 h 3403632"/>
              <a:gd name="connsiteX3124" fmla="*/ 2313088 w 3905665"/>
              <a:gd name="connsiteY3124" fmla="*/ 516669 h 3403632"/>
              <a:gd name="connsiteX3125" fmla="*/ 2336538 w 3905665"/>
              <a:gd name="connsiteY3125" fmla="*/ 493219 h 3403632"/>
              <a:gd name="connsiteX3126" fmla="*/ 273003 w 3905665"/>
              <a:gd name="connsiteY3126" fmla="*/ 490736 h 3403632"/>
              <a:gd name="connsiteX3127" fmla="*/ 282627 w 3905665"/>
              <a:gd name="connsiteY3127" fmla="*/ 500363 h 3403632"/>
              <a:gd name="connsiteX3128" fmla="*/ 273003 w 3905665"/>
              <a:gd name="connsiteY3128" fmla="*/ 510236 h 3403632"/>
              <a:gd name="connsiteX3129" fmla="*/ 263376 w 3905665"/>
              <a:gd name="connsiteY3129" fmla="*/ 500363 h 3403632"/>
              <a:gd name="connsiteX3130" fmla="*/ 273003 w 3905665"/>
              <a:gd name="connsiteY3130" fmla="*/ 490736 h 3403632"/>
              <a:gd name="connsiteX3131" fmla="*/ 485281 w 3905665"/>
              <a:gd name="connsiteY3131" fmla="*/ 489008 h 3403632"/>
              <a:gd name="connsiteX3132" fmla="*/ 517368 w 3905665"/>
              <a:gd name="connsiteY3132" fmla="*/ 521095 h 3403632"/>
              <a:gd name="connsiteX3133" fmla="*/ 485281 w 3905665"/>
              <a:gd name="connsiteY3133" fmla="*/ 553185 h 3403632"/>
              <a:gd name="connsiteX3134" fmla="*/ 453191 w 3905665"/>
              <a:gd name="connsiteY3134" fmla="*/ 521095 h 3403632"/>
              <a:gd name="connsiteX3135" fmla="*/ 485281 w 3905665"/>
              <a:gd name="connsiteY3135" fmla="*/ 489008 h 3403632"/>
              <a:gd name="connsiteX3136" fmla="*/ 1592341 w 3905665"/>
              <a:gd name="connsiteY3136" fmla="*/ 487039 h 3403632"/>
              <a:gd name="connsiteX3137" fmla="*/ 1614063 w 3905665"/>
              <a:gd name="connsiteY3137" fmla="*/ 508760 h 3403632"/>
              <a:gd name="connsiteX3138" fmla="*/ 1592341 w 3905665"/>
              <a:gd name="connsiteY3138" fmla="*/ 530483 h 3403632"/>
              <a:gd name="connsiteX3139" fmla="*/ 1570620 w 3905665"/>
              <a:gd name="connsiteY3139" fmla="*/ 508760 h 3403632"/>
              <a:gd name="connsiteX3140" fmla="*/ 1592341 w 3905665"/>
              <a:gd name="connsiteY3140" fmla="*/ 487039 h 3403632"/>
              <a:gd name="connsiteX3141" fmla="*/ 3610943 w 3905665"/>
              <a:gd name="connsiteY3141" fmla="*/ 486575 h 3403632"/>
              <a:gd name="connsiteX3142" fmla="*/ 3663026 w 3905665"/>
              <a:gd name="connsiteY3142" fmla="*/ 538667 h 3403632"/>
              <a:gd name="connsiteX3143" fmla="*/ 3610943 w 3905665"/>
              <a:gd name="connsiteY3143" fmla="*/ 590752 h 3403632"/>
              <a:gd name="connsiteX3144" fmla="*/ 3558860 w 3905665"/>
              <a:gd name="connsiteY3144" fmla="*/ 538667 h 3403632"/>
              <a:gd name="connsiteX3145" fmla="*/ 3610943 w 3905665"/>
              <a:gd name="connsiteY3145" fmla="*/ 486575 h 3403632"/>
              <a:gd name="connsiteX3146" fmla="*/ 1852511 w 3905665"/>
              <a:gd name="connsiteY3146" fmla="*/ 485313 h 3403632"/>
              <a:gd name="connsiteX3147" fmla="*/ 1870280 w 3905665"/>
              <a:gd name="connsiteY3147" fmla="*/ 503085 h 3403632"/>
              <a:gd name="connsiteX3148" fmla="*/ 1852511 w 3905665"/>
              <a:gd name="connsiteY3148" fmla="*/ 520857 h 3403632"/>
              <a:gd name="connsiteX3149" fmla="*/ 1834734 w 3905665"/>
              <a:gd name="connsiteY3149" fmla="*/ 503085 h 3403632"/>
              <a:gd name="connsiteX3150" fmla="*/ 1852511 w 3905665"/>
              <a:gd name="connsiteY3150" fmla="*/ 485313 h 3403632"/>
              <a:gd name="connsiteX3151" fmla="*/ 2573992 w 3905665"/>
              <a:gd name="connsiteY3151" fmla="*/ 485074 h 3403632"/>
              <a:gd name="connsiteX3152" fmla="*/ 2608795 w 3905665"/>
              <a:gd name="connsiteY3152" fmla="*/ 519877 h 3403632"/>
              <a:gd name="connsiteX3153" fmla="*/ 2573992 w 3905665"/>
              <a:gd name="connsiteY3153" fmla="*/ 554935 h 3403632"/>
              <a:gd name="connsiteX3154" fmla="*/ 2538940 w 3905665"/>
              <a:gd name="connsiteY3154" fmla="*/ 519877 h 3403632"/>
              <a:gd name="connsiteX3155" fmla="*/ 2573992 w 3905665"/>
              <a:gd name="connsiteY3155" fmla="*/ 485074 h 3403632"/>
              <a:gd name="connsiteX3156" fmla="*/ 1163834 w 3905665"/>
              <a:gd name="connsiteY3156" fmla="*/ 482841 h 3403632"/>
              <a:gd name="connsiteX3157" fmla="*/ 1209990 w 3905665"/>
              <a:gd name="connsiteY3157" fmla="*/ 529001 h 3403632"/>
              <a:gd name="connsiteX3158" fmla="*/ 1163834 w 3905665"/>
              <a:gd name="connsiteY3158" fmla="*/ 575158 h 3403632"/>
              <a:gd name="connsiteX3159" fmla="*/ 1117675 w 3905665"/>
              <a:gd name="connsiteY3159" fmla="*/ 529001 h 3403632"/>
              <a:gd name="connsiteX3160" fmla="*/ 1163834 w 3905665"/>
              <a:gd name="connsiteY3160" fmla="*/ 482841 h 3403632"/>
              <a:gd name="connsiteX3161" fmla="*/ 2096615 w 3905665"/>
              <a:gd name="connsiteY3161" fmla="*/ 480874 h 3403632"/>
              <a:gd name="connsiteX3162" fmla="*/ 2126236 w 3905665"/>
              <a:gd name="connsiteY3162" fmla="*/ 510493 h 3403632"/>
              <a:gd name="connsiteX3163" fmla="*/ 2096615 w 3905665"/>
              <a:gd name="connsiteY3163" fmla="*/ 540363 h 3403632"/>
              <a:gd name="connsiteX3164" fmla="*/ 2066995 w 3905665"/>
              <a:gd name="connsiteY3164" fmla="*/ 510493 h 3403632"/>
              <a:gd name="connsiteX3165" fmla="*/ 2096615 w 3905665"/>
              <a:gd name="connsiteY3165" fmla="*/ 480874 h 3403632"/>
              <a:gd name="connsiteX3166" fmla="*/ 695337 w 3905665"/>
              <a:gd name="connsiteY3166" fmla="*/ 465559 h 3403632"/>
              <a:gd name="connsiteX3167" fmla="*/ 744952 w 3905665"/>
              <a:gd name="connsiteY3167" fmla="*/ 515172 h 3403632"/>
              <a:gd name="connsiteX3168" fmla="*/ 695337 w 3905665"/>
              <a:gd name="connsiteY3168" fmla="*/ 564788 h 3403632"/>
              <a:gd name="connsiteX3169" fmla="*/ 645723 w 3905665"/>
              <a:gd name="connsiteY3169" fmla="*/ 515172 h 3403632"/>
              <a:gd name="connsiteX3170" fmla="*/ 695337 w 3905665"/>
              <a:gd name="connsiteY3170" fmla="*/ 465559 h 3403632"/>
              <a:gd name="connsiteX3171" fmla="*/ 2816628 w 3905665"/>
              <a:gd name="connsiteY3171" fmla="*/ 458915 h 3403632"/>
              <a:gd name="connsiteX3172" fmla="*/ 2860317 w 3905665"/>
              <a:gd name="connsiteY3172" fmla="*/ 502358 h 3403632"/>
              <a:gd name="connsiteX3173" fmla="*/ 2816628 w 3905665"/>
              <a:gd name="connsiteY3173" fmla="*/ 545807 h 3403632"/>
              <a:gd name="connsiteX3174" fmla="*/ 2773185 w 3905665"/>
              <a:gd name="connsiteY3174" fmla="*/ 502358 h 3403632"/>
              <a:gd name="connsiteX3175" fmla="*/ 2816628 w 3905665"/>
              <a:gd name="connsiteY3175" fmla="*/ 458915 h 3403632"/>
              <a:gd name="connsiteX3176" fmla="*/ 3048652 w 3905665"/>
              <a:gd name="connsiteY3176" fmla="*/ 453983 h 3403632"/>
              <a:gd name="connsiteX3177" fmla="*/ 3098265 w 3905665"/>
              <a:gd name="connsiteY3177" fmla="*/ 503595 h 3403632"/>
              <a:gd name="connsiteX3178" fmla="*/ 3048652 w 3905665"/>
              <a:gd name="connsiteY3178" fmla="*/ 553219 h 3403632"/>
              <a:gd name="connsiteX3179" fmla="*/ 2999039 w 3905665"/>
              <a:gd name="connsiteY3179" fmla="*/ 503595 h 3403632"/>
              <a:gd name="connsiteX3180" fmla="*/ 3048652 w 3905665"/>
              <a:gd name="connsiteY3180" fmla="*/ 453983 h 3403632"/>
              <a:gd name="connsiteX3181" fmla="*/ 3278949 w 3905665"/>
              <a:gd name="connsiteY3181" fmla="*/ 452999 h 3403632"/>
              <a:gd name="connsiteX3182" fmla="*/ 3330537 w 3905665"/>
              <a:gd name="connsiteY3182" fmla="*/ 504586 h 3403632"/>
              <a:gd name="connsiteX3183" fmla="*/ 3278949 w 3905665"/>
              <a:gd name="connsiteY3183" fmla="*/ 556184 h 3403632"/>
              <a:gd name="connsiteX3184" fmla="*/ 3227361 w 3905665"/>
              <a:gd name="connsiteY3184" fmla="*/ 504586 h 3403632"/>
              <a:gd name="connsiteX3185" fmla="*/ 3278949 w 3905665"/>
              <a:gd name="connsiteY3185" fmla="*/ 452999 h 3403632"/>
              <a:gd name="connsiteX3186" fmla="*/ 1334642 w 3905665"/>
              <a:gd name="connsiteY3186" fmla="*/ 451493 h 3403632"/>
              <a:gd name="connsiteX3187" fmla="*/ 1377098 w 3905665"/>
              <a:gd name="connsiteY3187" fmla="*/ 493948 h 3403632"/>
              <a:gd name="connsiteX3188" fmla="*/ 1334642 w 3905665"/>
              <a:gd name="connsiteY3188" fmla="*/ 536406 h 3403632"/>
              <a:gd name="connsiteX3189" fmla="*/ 1292186 w 3905665"/>
              <a:gd name="connsiteY3189" fmla="*/ 493948 h 3403632"/>
              <a:gd name="connsiteX3190" fmla="*/ 1334642 w 3905665"/>
              <a:gd name="connsiteY3190" fmla="*/ 451493 h 3403632"/>
              <a:gd name="connsiteX3191" fmla="*/ 885897 w 3905665"/>
              <a:gd name="connsiteY3191" fmla="*/ 450504 h 3403632"/>
              <a:gd name="connsiteX3192" fmla="*/ 935264 w 3905665"/>
              <a:gd name="connsiteY3192" fmla="*/ 499871 h 3403632"/>
              <a:gd name="connsiteX3193" fmla="*/ 885897 w 3905665"/>
              <a:gd name="connsiteY3193" fmla="*/ 549239 h 3403632"/>
              <a:gd name="connsiteX3194" fmla="*/ 836530 w 3905665"/>
              <a:gd name="connsiteY3194" fmla="*/ 499871 h 3403632"/>
              <a:gd name="connsiteX3195" fmla="*/ 885897 w 3905665"/>
              <a:gd name="connsiteY3195" fmla="*/ 450504 h 3403632"/>
              <a:gd name="connsiteX3196" fmla="*/ 49864 w 3905665"/>
              <a:gd name="connsiteY3196" fmla="*/ 439394 h 3403632"/>
              <a:gd name="connsiteX3197" fmla="*/ 63441 w 3905665"/>
              <a:gd name="connsiteY3197" fmla="*/ 452971 h 3403632"/>
              <a:gd name="connsiteX3198" fmla="*/ 49864 w 3905665"/>
              <a:gd name="connsiteY3198" fmla="*/ 466548 h 3403632"/>
              <a:gd name="connsiteX3199" fmla="*/ 36287 w 3905665"/>
              <a:gd name="connsiteY3199" fmla="*/ 452971 h 3403632"/>
              <a:gd name="connsiteX3200" fmla="*/ 49864 w 3905665"/>
              <a:gd name="connsiteY3200" fmla="*/ 439394 h 3403632"/>
              <a:gd name="connsiteX3201" fmla="*/ 378894 w 3905665"/>
              <a:gd name="connsiteY3201" fmla="*/ 438654 h 3403632"/>
              <a:gd name="connsiteX3202" fmla="*/ 394445 w 3905665"/>
              <a:gd name="connsiteY3202" fmla="*/ 454205 h 3403632"/>
              <a:gd name="connsiteX3203" fmla="*/ 378894 w 3905665"/>
              <a:gd name="connsiteY3203" fmla="*/ 469754 h 3403632"/>
              <a:gd name="connsiteX3204" fmla="*/ 363343 w 3905665"/>
              <a:gd name="connsiteY3204" fmla="*/ 454205 h 3403632"/>
              <a:gd name="connsiteX3205" fmla="*/ 378894 w 3905665"/>
              <a:gd name="connsiteY3205" fmla="*/ 438654 h 3403632"/>
              <a:gd name="connsiteX3206" fmla="*/ 2242249 w 3905665"/>
              <a:gd name="connsiteY3206" fmla="*/ 436940 h 3403632"/>
              <a:gd name="connsiteX3207" fmla="*/ 2267671 w 3905665"/>
              <a:gd name="connsiteY3207" fmla="*/ 462365 h 3403632"/>
              <a:gd name="connsiteX3208" fmla="*/ 2242249 w 3905665"/>
              <a:gd name="connsiteY3208" fmla="*/ 487787 h 3403632"/>
              <a:gd name="connsiteX3209" fmla="*/ 2216824 w 3905665"/>
              <a:gd name="connsiteY3209" fmla="*/ 462365 h 3403632"/>
              <a:gd name="connsiteX3210" fmla="*/ 2242249 w 3905665"/>
              <a:gd name="connsiteY3210" fmla="*/ 436940 h 3403632"/>
              <a:gd name="connsiteX3211" fmla="*/ 2002571 w 3905665"/>
              <a:gd name="connsiteY3211" fmla="*/ 434713 h 3403632"/>
              <a:gd name="connsiteX3212" fmla="*/ 2024047 w 3905665"/>
              <a:gd name="connsiteY3212" fmla="*/ 456189 h 3403632"/>
              <a:gd name="connsiteX3213" fmla="*/ 2002571 w 3905665"/>
              <a:gd name="connsiteY3213" fmla="*/ 477664 h 3403632"/>
              <a:gd name="connsiteX3214" fmla="*/ 1981096 w 3905665"/>
              <a:gd name="connsiteY3214" fmla="*/ 456189 h 3403632"/>
              <a:gd name="connsiteX3215" fmla="*/ 2002571 w 3905665"/>
              <a:gd name="connsiteY3215" fmla="*/ 434713 h 3403632"/>
              <a:gd name="connsiteX3216" fmla="*/ 3514925 w 3905665"/>
              <a:gd name="connsiteY3216" fmla="*/ 430541 h 3403632"/>
              <a:gd name="connsiteX3217" fmla="*/ 3567254 w 3905665"/>
              <a:gd name="connsiteY3217" fmla="*/ 482870 h 3403632"/>
              <a:gd name="connsiteX3218" fmla="*/ 3514925 w 3905665"/>
              <a:gd name="connsiteY3218" fmla="*/ 535207 h 3403632"/>
              <a:gd name="connsiteX3219" fmla="*/ 3462596 w 3905665"/>
              <a:gd name="connsiteY3219" fmla="*/ 482870 h 3403632"/>
              <a:gd name="connsiteX3220" fmla="*/ 3514925 w 3905665"/>
              <a:gd name="connsiteY3220" fmla="*/ 430541 h 3403632"/>
              <a:gd name="connsiteX3221" fmla="*/ 3742013 w 3905665"/>
              <a:gd name="connsiteY3221" fmla="*/ 430052 h 3403632"/>
              <a:gd name="connsiteX3222" fmla="*/ 3794835 w 3905665"/>
              <a:gd name="connsiteY3222" fmla="*/ 482873 h 3403632"/>
              <a:gd name="connsiteX3223" fmla="*/ 3742013 w 3905665"/>
              <a:gd name="connsiteY3223" fmla="*/ 535707 h 3403632"/>
              <a:gd name="connsiteX3224" fmla="*/ 3689189 w 3905665"/>
              <a:gd name="connsiteY3224" fmla="*/ 482873 h 3403632"/>
              <a:gd name="connsiteX3225" fmla="*/ 3742013 w 3905665"/>
              <a:gd name="connsiteY3225" fmla="*/ 430052 h 3403632"/>
              <a:gd name="connsiteX3226" fmla="*/ 583769 w 3905665"/>
              <a:gd name="connsiteY3226" fmla="*/ 430016 h 3403632"/>
              <a:gd name="connsiteX3227" fmla="*/ 614626 w 3905665"/>
              <a:gd name="connsiteY3227" fmla="*/ 460870 h 3403632"/>
              <a:gd name="connsiteX3228" fmla="*/ 583769 w 3905665"/>
              <a:gd name="connsiteY3228" fmla="*/ 491726 h 3403632"/>
              <a:gd name="connsiteX3229" fmla="*/ 552916 w 3905665"/>
              <a:gd name="connsiteY3229" fmla="*/ 460870 h 3403632"/>
              <a:gd name="connsiteX3230" fmla="*/ 583769 w 3905665"/>
              <a:gd name="connsiteY3230" fmla="*/ 430016 h 3403632"/>
              <a:gd name="connsiteX3231" fmla="*/ 2479454 w 3905665"/>
              <a:gd name="connsiteY3231" fmla="*/ 428303 h 3403632"/>
              <a:gd name="connsiteX3232" fmla="*/ 2516232 w 3905665"/>
              <a:gd name="connsiteY3232" fmla="*/ 465329 h 3403632"/>
              <a:gd name="connsiteX3233" fmla="*/ 2479454 w 3905665"/>
              <a:gd name="connsiteY3233" fmla="*/ 502353 h 3403632"/>
              <a:gd name="connsiteX3234" fmla="*/ 2442427 w 3905665"/>
              <a:gd name="connsiteY3234" fmla="*/ 465329 h 3403632"/>
              <a:gd name="connsiteX3235" fmla="*/ 2479454 w 3905665"/>
              <a:gd name="connsiteY3235" fmla="*/ 428303 h 3403632"/>
              <a:gd name="connsiteX3236" fmla="*/ 1066825 w 3905665"/>
              <a:gd name="connsiteY3236" fmla="*/ 427795 h 3403632"/>
              <a:gd name="connsiteX3237" fmla="*/ 1113230 w 3905665"/>
              <a:gd name="connsiteY3237" fmla="*/ 473954 h 3403632"/>
              <a:gd name="connsiteX3238" fmla="*/ 1066825 w 3905665"/>
              <a:gd name="connsiteY3238" fmla="*/ 520113 h 3403632"/>
              <a:gd name="connsiteX3239" fmla="*/ 1020668 w 3905665"/>
              <a:gd name="connsiteY3239" fmla="*/ 473954 h 3403632"/>
              <a:gd name="connsiteX3240" fmla="*/ 1066825 w 3905665"/>
              <a:gd name="connsiteY3240" fmla="*/ 427795 h 3403632"/>
              <a:gd name="connsiteX3241" fmla="*/ 1758216 w 3905665"/>
              <a:gd name="connsiteY3241" fmla="*/ 423358 h 3403632"/>
              <a:gd name="connsiteX3242" fmla="*/ 1783887 w 3905665"/>
              <a:gd name="connsiteY3242" fmla="*/ 449029 h 3403632"/>
              <a:gd name="connsiteX3243" fmla="*/ 1758216 w 3905665"/>
              <a:gd name="connsiteY3243" fmla="*/ 474700 h 3403632"/>
              <a:gd name="connsiteX3244" fmla="*/ 1732545 w 3905665"/>
              <a:gd name="connsiteY3244" fmla="*/ 449029 h 3403632"/>
              <a:gd name="connsiteX3245" fmla="*/ 1758216 w 3905665"/>
              <a:gd name="connsiteY3245" fmla="*/ 423358 h 3403632"/>
              <a:gd name="connsiteX3246" fmla="*/ 1497554 w 3905665"/>
              <a:gd name="connsiteY3246" fmla="*/ 419653 h 3403632"/>
              <a:gd name="connsiteX3247" fmla="*/ 1532853 w 3905665"/>
              <a:gd name="connsiteY3247" fmla="*/ 454951 h 3403632"/>
              <a:gd name="connsiteX3248" fmla="*/ 1497554 w 3905665"/>
              <a:gd name="connsiteY3248" fmla="*/ 490249 h 3403632"/>
              <a:gd name="connsiteX3249" fmla="*/ 1462256 w 3905665"/>
              <a:gd name="connsiteY3249" fmla="*/ 454951 h 3403632"/>
              <a:gd name="connsiteX3250" fmla="*/ 1497554 w 3905665"/>
              <a:gd name="connsiteY3250" fmla="*/ 419653 h 3403632"/>
              <a:gd name="connsiteX3251" fmla="*/ 162175 w 3905665"/>
              <a:gd name="connsiteY3251" fmla="*/ 406070 h 3403632"/>
              <a:gd name="connsiteX3252" fmla="*/ 180439 w 3905665"/>
              <a:gd name="connsiteY3252" fmla="*/ 424335 h 3403632"/>
              <a:gd name="connsiteX3253" fmla="*/ 162175 w 3905665"/>
              <a:gd name="connsiteY3253" fmla="*/ 442602 h 3403632"/>
              <a:gd name="connsiteX3254" fmla="*/ 143907 w 3905665"/>
              <a:gd name="connsiteY3254" fmla="*/ 424335 h 3403632"/>
              <a:gd name="connsiteX3255" fmla="*/ 162175 w 3905665"/>
              <a:gd name="connsiteY3255" fmla="*/ 406070 h 3403632"/>
              <a:gd name="connsiteX3256" fmla="*/ 2721846 w 3905665"/>
              <a:gd name="connsiteY3256" fmla="*/ 404611 h 3403632"/>
              <a:gd name="connsiteX3257" fmla="*/ 2764302 w 3905665"/>
              <a:gd name="connsiteY3257" fmla="*/ 447066 h 3403632"/>
              <a:gd name="connsiteX3258" fmla="*/ 2721846 w 3905665"/>
              <a:gd name="connsiteY3258" fmla="*/ 489521 h 3403632"/>
              <a:gd name="connsiteX3259" fmla="*/ 2679637 w 3905665"/>
              <a:gd name="connsiteY3259" fmla="*/ 447066 h 3403632"/>
              <a:gd name="connsiteX3260" fmla="*/ 2721846 w 3905665"/>
              <a:gd name="connsiteY3260" fmla="*/ 404611 h 3403632"/>
              <a:gd name="connsiteX3261" fmla="*/ 2953127 w 3905665"/>
              <a:gd name="connsiteY3261" fmla="*/ 403380 h 3403632"/>
              <a:gd name="connsiteX3262" fmla="*/ 2998545 w 3905665"/>
              <a:gd name="connsiteY3262" fmla="*/ 448798 h 3403632"/>
              <a:gd name="connsiteX3263" fmla="*/ 2953127 w 3905665"/>
              <a:gd name="connsiteY3263" fmla="*/ 494215 h 3403632"/>
              <a:gd name="connsiteX3264" fmla="*/ 2907709 w 3905665"/>
              <a:gd name="connsiteY3264" fmla="*/ 448798 h 3403632"/>
              <a:gd name="connsiteX3265" fmla="*/ 2953127 w 3905665"/>
              <a:gd name="connsiteY3265" fmla="*/ 403380 h 3403632"/>
              <a:gd name="connsiteX3266" fmla="*/ 3182930 w 3905665"/>
              <a:gd name="connsiteY3266" fmla="*/ 399681 h 3403632"/>
              <a:gd name="connsiteX3267" fmla="*/ 3232792 w 3905665"/>
              <a:gd name="connsiteY3267" fmla="*/ 449294 h 3403632"/>
              <a:gd name="connsiteX3268" fmla="*/ 3182930 w 3905665"/>
              <a:gd name="connsiteY3268" fmla="*/ 499155 h 3403632"/>
              <a:gd name="connsiteX3269" fmla="*/ 3133317 w 3905665"/>
              <a:gd name="connsiteY3269" fmla="*/ 449294 h 3403632"/>
              <a:gd name="connsiteX3270" fmla="*/ 3182930 w 3905665"/>
              <a:gd name="connsiteY3270" fmla="*/ 399681 h 3403632"/>
              <a:gd name="connsiteX3271" fmla="*/ 3411501 w 3905665"/>
              <a:gd name="connsiteY3271" fmla="*/ 397464 h 3403632"/>
              <a:gd name="connsiteX3272" fmla="*/ 3463581 w 3905665"/>
              <a:gd name="connsiteY3272" fmla="*/ 449547 h 3403632"/>
              <a:gd name="connsiteX3273" fmla="*/ 3411501 w 3905665"/>
              <a:gd name="connsiteY3273" fmla="*/ 501629 h 3403632"/>
              <a:gd name="connsiteX3274" fmla="*/ 3359418 w 3905665"/>
              <a:gd name="connsiteY3274" fmla="*/ 449547 h 3403632"/>
              <a:gd name="connsiteX3275" fmla="*/ 3411501 w 3905665"/>
              <a:gd name="connsiteY3275" fmla="*/ 397464 h 3403632"/>
              <a:gd name="connsiteX3276" fmla="*/ 786915 w 3905665"/>
              <a:gd name="connsiteY3276" fmla="*/ 394473 h 3403632"/>
              <a:gd name="connsiteX3277" fmla="*/ 835046 w 3905665"/>
              <a:gd name="connsiteY3277" fmla="*/ 442606 h 3403632"/>
              <a:gd name="connsiteX3278" fmla="*/ 786915 w 3905665"/>
              <a:gd name="connsiteY3278" fmla="*/ 490737 h 3403632"/>
              <a:gd name="connsiteX3279" fmla="*/ 738782 w 3905665"/>
              <a:gd name="connsiteY3279" fmla="*/ 442606 h 3403632"/>
              <a:gd name="connsiteX3280" fmla="*/ 786915 w 3905665"/>
              <a:gd name="connsiteY3280" fmla="*/ 394473 h 3403632"/>
              <a:gd name="connsiteX3281" fmla="*/ 1239118 w 3905665"/>
              <a:gd name="connsiteY3281" fmla="*/ 393239 h 3403632"/>
              <a:gd name="connsiteX3282" fmla="*/ 1286261 w 3905665"/>
              <a:gd name="connsiteY3282" fmla="*/ 440136 h 3403632"/>
              <a:gd name="connsiteX3283" fmla="*/ 1239118 w 3905665"/>
              <a:gd name="connsiteY3283" fmla="*/ 487282 h 3403632"/>
              <a:gd name="connsiteX3284" fmla="*/ 1192218 w 3905665"/>
              <a:gd name="connsiteY3284" fmla="*/ 440136 h 3403632"/>
              <a:gd name="connsiteX3285" fmla="*/ 1239118 w 3905665"/>
              <a:gd name="connsiteY3285" fmla="*/ 393239 h 3403632"/>
              <a:gd name="connsiteX3286" fmla="*/ 1654546 w 3905665"/>
              <a:gd name="connsiteY3286" fmla="*/ 384851 h 3403632"/>
              <a:gd name="connsiteX3287" fmla="*/ 1680709 w 3905665"/>
              <a:gd name="connsiteY3287" fmla="*/ 411014 h 3403632"/>
              <a:gd name="connsiteX3288" fmla="*/ 1654546 w 3905665"/>
              <a:gd name="connsiteY3288" fmla="*/ 437180 h 3403632"/>
              <a:gd name="connsiteX3289" fmla="*/ 1628380 w 3905665"/>
              <a:gd name="connsiteY3289" fmla="*/ 411014 h 3403632"/>
              <a:gd name="connsiteX3290" fmla="*/ 1654546 w 3905665"/>
              <a:gd name="connsiteY3290" fmla="*/ 384851 h 3403632"/>
              <a:gd name="connsiteX3291" fmla="*/ 2384669 w 3905665"/>
              <a:gd name="connsiteY3291" fmla="*/ 382635 h 3403632"/>
              <a:gd name="connsiteX3292" fmla="*/ 2412810 w 3905665"/>
              <a:gd name="connsiteY3292" fmla="*/ 410773 h 3403632"/>
              <a:gd name="connsiteX3293" fmla="*/ 2384669 w 3905665"/>
              <a:gd name="connsiteY3293" fmla="*/ 438913 h 3403632"/>
              <a:gd name="connsiteX3294" fmla="*/ 2356531 w 3905665"/>
              <a:gd name="connsiteY3294" fmla="*/ 410773 h 3403632"/>
              <a:gd name="connsiteX3295" fmla="*/ 2384669 w 3905665"/>
              <a:gd name="connsiteY3295" fmla="*/ 382635 h 3403632"/>
              <a:gd name="connsiteX3296" fmla="*/ 3645253 w 3905665"/>
              <a:gd name="connsiteY3296" fmla="*/ 374265 h 3403632"/>
              <a:gd name="connsiteX3297" fmla="*/ 3698321 w 3905665"/>
              <a:gd name="connsiteY3297" fmla="*/ 427335 h 3403632"/>
              <a:gd name="connsiteX3298" fmla="*/ 3645253 w 3905665"/>
              <a:gd name="connsiteY3298" fmla="*/ 480404 h 3403632"/>
              <a:gd name="connsiteX3299" fmla="*/ 3592183 w 3905665"/>
              <a:gd name="connsiteY3299" fmla="*/ 427335 h 3403632"/>
              <a:gd name="connsiteX3300" fmla="*/ 3645253 w 3905665"/>
              <a:gd name="connsiteY3300" fmla="*/ 374265 h 3403632"/>
              <a:gd name="connsiteX3301" fmla="*/ 1909035 w 3905665"/>
              <a:gd name="connsiteY3301" fmla="*/ 373251 h 3403632"/>
              <a:gd name="connsiteX3302" fmla="*/ 1936921 w 3905665"/>
              <a:gd name="connsiteY3302" fmla="*/ 400897 h 3403632"/>
              <a:gd name="connsiteX3303" fmla="*/ 1909035 w 3905665"/>
              <a:gd name="connsiteY3303" fmla="*/ 428788 h 3403632"/>
              <a:gd name="connsiteX3304" fmla="*/ 1881389 w 3905665"/>
              <a:gd name="connsiteY3304" fmla="*/ 400897 h 3403632"/>
              <a:gd name="connsiteX3305" fmla="*/ 1909035 w 3905665"/>
              <a:gd name="connsiteY3305" fmla="*/ 373251 h 3403632"/>
              <a:gd name="connsiteX3306" fmla="*/ 2148449 w 3905665"/>
              <a:gd name="connsiteY3306" fmla="*/ 372513 h 3403632"/>
              <a:gd name="connsiteX3307" fmla="*/ 2182514 w 3905665"/>
              <a:gd name="connsiteY3307" fmla="*/ 406575 h 3403632"/>
              <a:gd name="connsiteX3308" fmla="*/ 2148449 w 3905665"/>
              <a:gd name="connsiteY3308" fmla="*/ 440639 h 3403632"/>
              <a:gd name="connsiteX3309" fmla="*/ 2114387 w 3905665"/>
              <a:gd name="connsiteY3309" fmla="*/ 406575 h 3403632"/>
              <a:gd name="connsiteX3310" fmla="*/ 2148449 w 3905665"/>
              <a:gd name="connsiteY3310" fmla="*/ 372513 h 3403632"/>
              <a:gd name="connsiteX3311" fmla="*/ 969820 w 3905665"/>
              <a:gd name="connsiteY3311" fmla="*/ 370775 h 3403632"/>
              <a:gd name="connsiteX3312" fmla="*/ 1017951 w 3905665"/>
              <a:gd name="connsiteY3312" fmla="*/ 418908 h 3403632"/>
              <a:gd name="connsiteX3313" fmla="*/ 969820 w 3905665"/>
              <a:gd name="connsiteY3313" fmla="*/ 467041 h 3403632"/>
              <a:gd name="connsiteX3314" fmla="*/ 921687 w 3905665"/>
              <a:gd name="connsiteY3314" fmla="*/ 418908 h 3403632"/>
              <a:gd name="connsiteX3315" fmla="*/ 969820 w 3905665"/>
              <a:gd name="connsiteY3315" fmla="*/ 370775 h 3403632"/>
              <a:gd name="connsiteX3316" fmla="*/ 480344 w 3905665"/>
              <a:gd name="connsiteY3316" fmla="*/ 368799 h 3403632"/>
              <a:gd name="connsiteX3317" fmla="*/ 509717 w 3905665"/>
              <a:gd name="connsiteY3317" fmla="*/ 398173 h 3403632"/>
              <a:gd name="connsiteX3318" fmla="*/ 480344 w 3905665"/>
              <a:gd name="connsiteY3318" fmla="*/ 427793 h 3403632"/>
              <a:gd name="connsiteX3319" fmla="*/ 450970 w 3905665"/>
              <a:gd name="connsiteY3319" fmla="*/ 398173 h 3403632"/>
              <a:gd name="connsiteX3320" fmla="*/ 480344 w 3905665"/>
              <a:gd name="connsiteY3320" fmla="*/ 368799 h 3403632"/>
              <a:gd name="connsiteX3321" fmla="*/ 2618420 w 3905665"/>
              <a:gd name="connsiteY3321" fmla="*/ 368570 h 3403632"/>
              <a:gd name="connsiteX3322" fmla="*/ 2663096 w 3905665"/>
              <a:gd name="connsiteY3322" fmla="*/ 413247 h 3403632"/>
              <a:gd name="connsiteX3323" fmla="*/ 2618420 w 3905665"/>
              <a:gd name="connsiteY3323" fmla="*/ 457677 h 3403632"/>
              <a:gd name="connsiteX3324" fmla="*/ 2573743 w 3905665"/>
              <a:gd name="connsiteY3324" fmla="*/ 413247 h 3403632"/>
              <a:gd name="connsiteX3325" fmla="*/ 2618420 w 3905665"/>
              <a:gd name="connsiteY3325" fmla="*/ 368570 h 3403632"/>
              <a:gd name="connsiteX3326" fmla="*/ 677071 w 3905665"/>
              <a:gd name="connsiteY3326" fmla="*/ 362877 h 3403632"/>
              <a:gd name="connsiteX3327" fmla="*/ 706938 w 3905665"/>
              <a:gd name="connsiteY3327" fmla="*/ 392744 h 3403632"/>
              <a:gd name="connsiteX3328" fmla="*/ 677071 w 3905665"/>
              <a:gd name="connsiteY3328" fmla="*/ 422610 h 3403632"/>
              <a:gd name="connsiteX3329" fmla="*/ 647205 w 3905665"/>
              <a:gd name="connsiteY3329" fmla="*/ 392744 h 3403632"/>
              <a:gd name="connsiteX3330" fmla="*/ 677071 w 3905665"/>
              <a:gd name="connsiteY3330" fmla="*/ 362877 h 3403632"/>
              <a:gd name="connsiteX3331" fmla="*/ 271274 w 3905665"/>
              <a:gd name="connsiteY3331" fmla="*/ 360160 h 3403632"/>
              <a:gd name="connsiteX3332" fmla="*/ 295465 w 3905665"/>
              <a:gd name="connsiteY3332" fmla="*/ 384349 h 3403632"/>
              <a:gd name="connsiteX3333" fmla="*/ 271274 w 3905665"/>
              <a:gd name="connsiteY3333" fmla="*/ 408540 h 3403632"/>
              <a:gd name="connsiteX3334" fmla="*/ 247085 w 3905665"/>
              <a:gd name="connsiteY3334" fmla="*/ 384349 h 3403632"/>
              <a:gd name="connsiteX3335" fmla="*/ 271274 w 3905665"/>
              <a:gd name="connsiteY3335" fmla="*/ 360160 h 3403632"/>
              <a:gd name="connsiteX3336" fmla="*/ 1403507 w 3905665"/>
              <a:gd name="connsiteY3336" fmla="*/ 353500 h 3403632"/>
              <a:gd name="connsiteX3337" fmla="*/ 1450407 w 3905665"/>
              <a:gd name="connsiteY3337" fmla="*/ 400397 h 3403632"/>
              <a:gd name="connsiteX3338" fmla="*/ 1403507 w 3905665"/>
              <a:gd name="connsiteY3338" fmla="*/ 447297 h 3403632"/>
              <a:gd name="connsiteX3339" fmla="*/ 1356610 w 3905665"/>
              <a:gd name="connsiteY3339" fmla="*/ 400397 h 3403632"/>
              <a:gd name="connsiteX3340" fmla="*/ 1403507 w 3905665"/>
              <a:gd name="connsiteY3340" fmla="*/ 353500 h 3403632"/>
              <a:gd name="connsiteX3341" fmla="*/ 3314988 w 3905665"/>
              <a:gd name="connsiteY3341" fmla="*/ 343160 h 3403632"/>
              <a:gd name="connsiteX3342" fmla="*/ 3366083 w 3905665"/>
              <a:gd name="connsiteY3342" fmla="*/ 394255 h 3403632"/>
              <a:gd name="connsiteX3343" fmla="*/ 3314988 w 3905665"/>
              <a:gd name="connsiteY3343" fmla="*/ 445347 h 3403632"/>
              <a:gd name="connsiteX3344" fmla="*/ 3263892 w 3905665"/>
              <a:gd name="connsiteY3344" fmla="*/ 394255 h 3403632"/>
              <a:gd name="connsiteX3345" fmla="*/ 3314988 w 3905665"/>
              <a:gd name="connsiteY3345" fmla="*/ 343160 h 3403632"/>
              <a:gd name="connsiteX3346" fmla="*/ 2857850 w 3905665"/>
              <a:gd name="connsiteY3346" fmla="*/ 342657 h 3403632"/>
              <a:gd name="connsiteX3347" fmla="*/ 2908699 w 3905665"/>
              <a:gd name="connsiteY3347" fmla="*/ 393257 h 3403632"/>
              <a:gd name="connsiteX3348" fmla="*/ 2857850 w 3905665"/>
              <a:gd name="connsiteY3348" fmla="*/ 443860 h 3403632"/>
              <a:gd name="connsiteX3349" fmla="*/ 2807003 w 3905665"/>
              <a:gd name="connsiteY3349" fmla="*/ 393257 h 3403632"/>
              <a:gd name="connsiteX3350" fmla="*/ 2857850 w 3905665"/>
              <a:gd name="connsiteY3350" fmla="*/ 342657 h 3403632"/>
              <a:gd name="connsiteX3351" fmla="*/ 3087159 w 3905665"/>
              <a:gd name="connsiteY3351" fmla="*/ 342166 h 3403632"/>
              <a:gd name="connsiteX3352" fmla="*/ 3138996 w 3905665"/>
              <a:gd name="connsiteY3352" fmla="*/ 394002 h 3403632"/>
              <a:gd name="connsiteX3353" fmla="*/ 3087159 w 3905665"/>
              <a:gd name="connsiteY3353" fmla="*/ 445836 h 3403632"/>
              <a:gd name="connsiteX3354" fmla="*/ 3035325 w 3905665"/>
              <a:gd name="connsiteY3354" fmla="*/ 394002 h 3403632"/>
              <a:gd name="connsiteX3355" fmla="*/ 3087159 w 3905665"/>
              <a:gd name="connsiteY3355" fmla="*/ 342166 h 3403632"/>
              <a:gd name="connsiteX3356" fmla="*/ 1143345 w 3905665"/>
              <a:gd name="connsiteY3356" fmla="*/ 340664 h 3403632"/>
              <a:gd name="connsiteX3357" fmla="*/ 1188763 w 3905665"/>
              <a:gd name="connsiteY3357" fmla="*/ 386081 h 3403632"/>
              <a:gd name="connsiteX3358" fmla="*/ 1143345 w 3905665"/>
              <a:gd name="connsiteY3358" fmla="*/ 431498 h 3403632"/>
              <a:gd name="connsiteX3359" fmla="*/ 1097927 w 3905665"/>
              <a:gd name="connsiteY3359" fmla="*/ 386081 h 3403632"/>
              <a:gd name="connsiteX3360" fmla="*/ 1143345 w 3905665"/>
              <a:gd name="connsiteY3360" fmla="*/ 340664 h 3403632"/>
              <a:gd name="connsiteX3361" fmla="*/ 1560249 w 3905665"/>
              <a:gd name="connsiteY3361" fmla="*/ 334988 h 3403632"/>
              <a:gd name="connsiteX3362" fmla="*/ 1582712 w 3905665"/>
              <a:gd name="connsiteY3362" fmla="*/ 357451 h 3403632"/>
              <a:gd name="connsiteX3363" fmla="*/ 1560249 w 3905665"/>
              <a:gd name="connsiteY3363" fmla="*/ 379664 h 3403632"/>
              <a:gd name="connsiteX3364" fmla="*/ 1538036 w 3905665"/>
              <a:gd name="connsiteY3364" fmla="*/ 357451 h 3403632"/>
              <a:gd name="connsiteX3365" fmla="*/ 1560249 w 3905665"/>
              <a:gd name="connsiteY3365" fmla="*/ 334988 h 3403632"/>
              <a:gd name="connsiteX3366" fmla="*/ 2054408 w 3905665"/>
              <a:gd name="connsiteY3366" fmla="*/ 328328 h 3403632"/>
              <a:gd name="connsiteX3367" fmla="*/ 2077855 w 3905665"/>
              <a:gd name="connsiteY3367" fmla="*/ 351778 h 3403632"/>
              <a:gd name="connsiteX3368" fmla="*/ 2054408 w 3905665"/>
              <a:gd name="connsiteY3368" fmla="*/ 375227 h 3403632"/>
              <a:gd name="connsiteX3369" fmla="*/ 2030958 w 3905665"/>
              <a:gd name="connsiteY3369" fmla="*/ 351778 h 3403632"/>
              <a:gd name="connsiteX3370" fmla="*/ 2054408 w 3905665"/>
              <a:gd name="connsiteY3370" fmla="*/ 328328 h 3403632"/>
              <a:gd name="connsiteX3371" fmla="*/ 2289887 w 3905665"/>
              <a:gd name="connsiteY3371" fmla="*/ 326851 h 3403632"/>
              <a:gd name="connsiteX3372" fmla="*/ 2319261 w 3905665"/>
              <a:gd name="connsiteY3372" fmla="*/ 356224 h 3403632"/>
              <a:gd name="connsiteX3373" fmla="*/ 2289887 w 3905665"/>
              <a:gd name="connsiteY3373" fmla="*/ 385598 h 3403632"/>
              <a:gd name="connsiteX3374" fmla="*/ 2260513 w 3905665"/>
              <a:gd name="connsiteY3374" fmla="*/ 356224 h 3403632"/>
              <a:gd name="connsiteX3375" fmla="*/ 2289887 w 3905665"/>
              <a:gd name="connsiteY3375" fmla="*/ 326851 h 3403632"/>
              <a:gd name="connsiteX3376" fmla="*/ 3548248 w 3905665"/>
              <a:gd name="connsiteY3376" fmla="*/ 318232 h 3403632"/>
              <a:gd name="connsiteX3377" fmla="*/ 3601316 w 3905665"/>
              <a:gd name="connsiteY3377" fmla="*/ 371301 h 3403632"/>
              <a:gd name="connsiteX3378" fmla="*/ 3548248 w 3905665"/>
              <a:gd name="connsiteY3378" fmla="*/ 424371 h 3403632"/>
              <a:gd name="connsiteX3379" fmla="*/ 3495178 w 3905665"/>
              <a:gd name="connsiteY3379" fmla="*/ 371301 h 3403632"/>
              <a:gd name="connsiteX3380" fmla="*/ 3548248 w 3905665"/>
              <a:gd name="connsiteY3380" fmla="*/ 318232 h 3403632"/>
              <a:gd name="connsiteX3381" fmla="*/ 3773605 w 3905665"/>
              <a:gd name="connsiteY3381" fmla="*/ 317495 h 3403632"/>
              <a:gd name="connsiteX3382" fmla="*/ 3827168 w 3905665"/>
              <a:gd name="connsiteY3382" fmla="*/ 371057 h 3403632"/>
              <a:gd name="connsiteX3383" fmla="*/ 3773605 w 3905665"/>
              <a:gd name="connsiteY3383" fmla="*/ 424621 h 3403632"/>
              <a:gd name="connsiteX3384" fmla="*/ 3720042 w 3905665"/>
              <a:gd name="connsiteY3384" fmla="*/ 371057 h 3403632"/>
              <a:gd name="connsiteX3385" fmla="*/ 3773605 w 3905665"/>
              <a:gd name="connsiteY3385" fmla="*/ 317495 h 3403632"/>
              <a:gd name="connsiteX3386" fmla="*/ 872565 w 3905665"/>
              <a:gd name="connsiteY3386" fmla="*/ 316225 h 3403632"/>
              <a:gd name="connsiteX3387" fmla="*/ 919464 w 3905665"/>
              <a:gd name="connsiteY3387" fmla="*/ 362876 h 3403632"/>
              <a:gd name="connsiteX3388" fmla="*/ 872565 w 3905665"/>
              <a:gd name="connsiteY3388" fmla="*/ 409776 h 3403632"/>
              <a:gd name="connsiteX3389" fmla="*/ 825914 w 3905665"/>
              <a:gd name="connsiteY3389" fmla="*/ 362876 h 3403632"/>
              <a:gd name="connsiteX3390" fmla="*/ 872565 w 3905665"/>
              <a:gd name="connsiteY3390" fmla="*/ 316225 h 3403632"/>
              <a:gd name="connsiteX3391" fmla="*/ 1814739 w 3905665"/>
              <a:gd name="connsiteY3391" fmla="*/ 314997 h 3403632"/>
              <a:gd name="connsiteX3392" fmla="*/ 1846584 w 3905665"/>
              <a:gd name="connsiteY3392" fmla="*/ 346838 h 3403632"/>
              <a:gd name="connsiteX3393" fmla="*/ 1814739 w 3905665"/>
              <a:gd name="connsiteY3393" fmla="*/ 378682 h 3403632"/>
              <a:gd name="connsiteX3394" fmla="*/ 1782899 w 3905665"/>
              <a:gd name="connsiteY3394" fmla="*/ 346838 h 3403632"/>
              <a:gd name="connsiteX3395" fmla="*/ 1814739 w 3905665"/>
              <a:gd name="connsiteY3395" fmla="*/ 314997 h 3403632"/>
              <a:gd name="connsiteX3396" fmla="*/ 2523388 w 3905665"/>
              <a:gd name="connsiteY3396" fmla="*/ 312290 h 3403632"/>
              <a:gd name="connsiteX3397" fmla="*/ 2569547 w 3905665"/>
              <a:gd name="connsiteY3397" fmla="*/ 358202 h 3403632"/>
              <a:gd name="connsiteX3398" fmla="*/ 2523388 w 3905665"/>
              <a:gd name="connsiteY3398" fmla="*/ 404111 h 3403632"/>
              <a:gd name="connsiteX3399" fmla="*/ 2477478 w 3905665"/>
              <a:gd name="connsiteY3399" fmla="*/ 358202 h 3403632"/>
              <a:gd name="connsiteX3400" fmla="*/ 2523388 w 3905665"/>
              <a:gd name="connsiteY3400" fmla="*/ 312290 h 3403632"/>
              <a:gd name="connsiteX3401" fmla="*/ 375440 w 3905665"/>
              <a:gd name="connsiteY3401" fmla="*/ 303387 h 3403632"/>
              <a:gd name="connsiteX3402" fmla="*/ 405552 w 3905665"/>
              <a:gd name="connsiteY3402" fmla="*/ 333503 h 3403632"/>
              <a:gd name="connsiteX3403" fmla="*/ 375440 w 3905665"/>
              <a:gd name="connsiteY3403" fmla="*/ 363615 h 3403632"/>
              <a:gd name="connsiteX3404" fmla="*/ 345324 w 3905665"/>
              <a:gd name="connsiteY3404" fmla="*/ 333503 h 3403632"/>
              <a:gd name="connsiteX3405" fmla="*/ 375440 w 3905665"/>
              <a:gd name="connsiteY3405" fmla="*/ 303387 h 3403632"/>
              <a:gd name="connsiteX3406" fmla="*/ 1308475 w 3905665"/>
              <a:gd name="connsiteY3406" fmla="*/ 301171 h 3403632"/>
              <a:gd name="connsiteX3407" fmla="*/ 1354139 w 3905665"/>
              <a:gd name="connsiteY3407" fmla="*/ 346834 h 3403632"/>
              <a:gd name="connsiteX3408" fmla="*/ 1308475 w 3905665"/>
              <a:gd name="connsiteY3408" fmla="*/ 392498 h 3403632"/>
              <a:gd name="connsiteX3409" fmla="*/ 1262811 w 3905665"/>
              <a:gd name="connsiteY3409" fmla="*/ 346834 h 3403632"/>
              <a:gd name="connsiteX3410" fmla="*/ 1308475 w 3905665"/>
              <a:gd name="connsiteY3410" fmla="*/ 301171 h 3403632"/>
              <a:gd name="connsiteX3411" fmla="*/ 49368 w 3905665"/>
              <a:gd name="connsiteY3411" fmla="*/ 297463 h 3403632"/>
              <a:gd name="connsiteX3412" fmla="*/ 94047 w 3905665"/>
              <a:gd name="connsiteY3412" fmla="*/ 342139 h 3403632"/>
              <a:gd name="connsiteX3413" fmla="*/ 49368 w 3905665"/>
              <a:gd name="connsiteY3413" fmla="*/ 386818 h 3403632"/>
              <a:gd name="connsiteX3414" fmla="*/ 4692 w 3905665"/>
              <a:gd name="connsiteY3414" fmla="*/ 342139 h 3403632"/>
              <a:gd name="connsiteX3415" fmla="*/ 49368 w 3905665"/>
              <a:gd name="connsiteY3415" fmla="*/ 297463 h 3403632"/>
              <a:gd name="connsiteX3416" fmla="*/ 576115 w 3905665"/>
              <a:gd name="connsiteY3416" fmla="*/ 294997 h 3403632"/>
              <a:gd name="connsiteX3417" fmla="*/ 614621 w 3905665"/>
              <a:gd name="connsiteY3417" fmla="*/ 333503 h 3403632"/>
              <a:gd name="connsiteX3418" fmla="*/ 576115 w 3905665"/>
              <a:gd name="connsiteY3418" fmla="*/ 372009 h 3403632"/>
              <a:gd name="connsiteX3419" fmla="*/ 537609 w 3905665"/>
              <a:gd name="connsiteY3419" fmla="*/ 333503 h 3403632"/>
              <a:gd name="connsiteX3420" fmla="*/ 576115 w 3905665"/>
              <a:gd name="connsiteY3420" fmla="*/ 294997 h 3403632"/>
              <a:gd name="connsiteX3421" fmla="*/ 764450 w 3905665"/>
              <a:gd name="connsiteY3421" fmla="*/ 288086 h 3403632"/>
              <a:gd name="connsiteX3422" fmla="*/ 793329 w 3905665"/>
              <a:gd name="connsiteY3422" fmla="*/ 316965 h 3403632"/>
              <a:gd name="connsiteX3423" fmla="*/ 764450 w 3905665"/>
              <a:gd name="connsiteY3423" fmla="*/ 345844 h 3403632"/>
              <a:gd name="connsiteX3424" fmla="*/ 735571 w 3905665"/>
              <a:gd name="connsiteY3424" fmla="*/ 316965 h 3403632"/>
              <a:gd name="connsiteX3425" fmla="*/ 764450 w 3905665"/>
              <a:gd name="connsiteY3425" fmla="*/ 288086 h 3403632"/>
              <a:gd name="connsiteX3426" fmla="*/ 3218474 w 3905665"/>
              <a:gd name="connsiteY3426" fmla="*/ 287618 h 3403632"/>
              <a:gd name="connsiteX3427" fmla="*/ 3269570 w 3905665"/>
              <a:gd name="connsiteY3427" fmla="*/ 338713 h 3403632"/>
              <a:gd name="connsiteX3428" fmla="*/ 3218474 w 3905665"/>
              <a:gd name="connsiteY3428" fmla="*/ 389805 h 3403632"/>
              <a:gd name="connsiteX3429" fmla="*/ 3167379 w 3905665"/>
              <a:gd name="connsiteY3429" fmla="*/ 338713 h 3403632"/>
              <a:gd name="connsiteX3430" fmla="*/ 3218474 w 3905665"/>
              <a:gd name="connsiteY3430" fmla="*/ 287618 h 3403632"/>
              <a:gd name="connsiteX3431" fmla="*/ 3444821 w 3905665"/>
              <a:gd name="connsiteY3431" fmla="*/ 286884 h 3403632"/>
              <a:gd name="connsiteX3432" fmla="*/ 3496409 w 3905665"/>
              <a:gd name="connsiteY3432" fmla="*/ 338471 h 3403632"/>
              <a:gd name="connsiteX3433" fmla="*/ 3444821 w 3905665"/>
              <a:gd name="connsiteY3433" fmla="*/ 390059 h 3403632"/>
              <a:gd name="connsiteX3434" fmla="*/ 3393233 w 3905665"/>
              <a:gd name="connsiteY3434" fmla="*/ 338471 h 3403632"/>
              <a:gd name="connsiteX3435" fmla="*/ 3444821 w 3905665"/>
              <a:gd name="connsiteY3435" fmla="*/ 286884 h 3403632"/>
              <a:gd name="connsiteX3436" fmla="*/ 2990895 w 3905665"/>
              <a:gd name="connsiteY3436" fmla="*/ 286875 h 3403632"/>
              <a:gd name="connsiteX3437" fmla="*/ 3042977 w 3905665"/>
              <a:gd name="connsiteY3437" fmla="*/ 338958 h 3403632"/>
              <a:gd name="connsiteX3438" fmla="*/ 2990895 w 3905665"/>
              <a:gd name="connsiteY3438" fmla="*/ 391040 h 3403632"/>
              <a:gd name="connsiteX3439" fmla="*/ 2938812 w 3905665"/>
              <a:gd name="connsiteY3439" fmla="*/ 338958 h 3403632"/>
              <a:gd name="connsiteX3440" fmla="*/ 2990895 w 3905665"/>
              <a:gd name="connsiteY3440" fmla="*/ 286875 h 3403632"/>
              <a:gd name="connsiteX3441" fmla="*/ 1047571 w 3905665"/>
              <a:gd name="connsiteY3441" fmla="*/ 286605 h 3403632"/>
              <a:gd name="connsiteX3442" fmla="*/ 1092987 w 3905665"/>
              <a:gd name="connsiteY3442" fmla="*/ 332022 h 3403632"/>
              <a:gd name="connsiteX3443" fmla="*/ 1047571 w 3905665"/>
              <a:gd name="connsiteY3443" fmla="*/ 377440 h 3403632"/>
              <a:gd name="connsiteX3444" fmla="*/ 1002154 w 3905665"/>
              <a:gd name="connsiteY3444" fmla="*/ 332022 h 3403632"/>
              <a:gd name="connsiteX3445" fmla="*/ 1047571 w 3905665"/>
              <a:gd name="connsiteY3445" fmla="*/ 286605 h 3403632"/>
              <a:gd name="connsiteX3446" fmla="*/ 2762325 w 3905665"/>
              <a:gd name="connsiteY3446" fmla="*/ 286377 h 3403632"/>
              <a:gd name="connsiteX3447" fmla="*/ 2813666 w 3905665"/>
              <a:gd name="connsiteY3447" fmla="*/ 337718 h 3403632"/>
              <a:gd name="connsiteX3448" fmla="*/ 2762325 w 3905665"/>
              <a:gd name="connsiteY3448" fmla="*/ 389059 h 3403632"/>
              <a:gd name="connsiteX3449" fmla="*/ 2710983 w 3905665"/>
              <a:gd name="connsiteY3449" fmla="*/ 337718 h 3403632"/>
              <a:gd name="connsiteX3450" fmla="*/ 2762325 w 3905665"/>
              <a:gd name="connsiteY3450" fmla="*/ 286377 h 3403632"/>
              <a:gd name="connsiteX3451" fmla="*/ 1711564 w 3905665"/>
              <a:gd name="connsiteY3451" fmla="*/ 275256 h 3403632"/>
              <a:gd name="connsiteX3452" fmla="*/ 1746367 w 3905665"/>
              <a:gd name="connsiteY3452" fmla="*/ 310059 h 3403632"/>
              <a:gd name="connsiteX3453" fmla="*/ 1711564 w 3905665"/>
              <a:gd name="connsiteY3453" fmla="*/ 344862 h 3403632"/>
              <a:gd name="connsiteX3454" fmla="*/ 1676760 w 3905665"/>
              <a:gd name="connsiteY3454" fmla="*/ 310059 h 3403632"/>
              <a:gd name="connsiteX3455" fmla="*/ 1711564 w 3905665"/>
              <a:gd name="connsiteY3455" fmla="*/ 275256 h 3403632"/>
              <a:gd name="connsiteX3456" fmla="*/ 161186 w 3905665"/>
              <a:gd name="connsiteY3456" fmla="*/ 266115 h 3403632"/>
              <a:gd name="connsiteX3457" fmla="*/ 205369 w 3905665"/>
              <a:gd name="connsiteY3457" fmla="*/ 310299 h 3403632"/>
              <a:gd name="connsiteX3458" fmla="*/ 161186 w 3905665"/>
              <a:gd name="connsiteY3458" fmla="*/ 354482 h 3403632"/>
              <a:gd name="connsiteX3459" fmla="*/ 117002 w 3905665"/>
              <a:gd name="connsiteY3459" fmla="*/ 310299 h 3403632"/>
              <a:gd name="connsiteX3460" fmla="*/ 161186 w 3905665"/>
              <a:gd name="connsiteY3460" fmla="*/ 266115 h 3403632"/>
              <a:gd name="connsiteX3461" fmla="*/ 2428115 w 3905665"/>
              <a:gd name="connsiteY3461" fmla="*/ 263663 h 3403632"/>
              <a:gd name="connsiteX3462" fmla="*/ 2467608 w 3905665"/>
              <a:gd name="connsiteY3462" fmla="*/ 303156 h 3403632"/>
              <a:gd name="connsiteX3463" fmla="*/ 2428115 w 3905665"/>
              <a:gd name="connsiteY3463" fmla="*/ 342649 h 3403632"/>
              <a:gd name="connsiteX3464" fmla="*/ 2388621 w 3905665"/>
              <a:gd name="connsiteY3464" fmla="*/ 303156 h 3403632"/>
              <a:gd name="connsiteX3465" fmla="*/ 2428115 w 3905665"/>
              <a:gd name="connsiteY3465" fmla="*/ 263663 h 3403632"/>
              <a:gd name="connsiteX3466" fmla="*/ 3676108 w 3905665"/>
              <a:gd name="connsiteY3466" fmla="*/ 260970 h 3403632"/>
              <a:gd name="connsiteX3467" fmla="*/ 3730165 w 3905665"/>
              <a:gd name="connsiteY3467" fmla="*/ 315026 h 3403632"/>
              <a:gd name="connsiteX3468" fmla="*/ 3676108 w 3905665"/>
              <a:gd name="connsiteY3468" fmla="*/ 369083 h 3403632"/>
              <a:gd name="connsiteX3469" fmla="*/ 3622050 w 3905665"/>
              <a:gd name="connsiteY3469" fmla="*/ 315026 h 3403632"/>
              <a:gd name="connsiteX3470" fmla="*/ 3676108 w 3905665"/>
              <a:gd name="connsiteY3470" fmla="*/ 260970 h 3403632"/>
              <a:gd name="connsiteX3471" fmla="*/ 1960369 w 3905665"/>
              <a:gd name="connsiteY3471" fmla="*/ 258721 h 3403632"/>
              <a:gd name="connsiteX3472" fmla="*/ 1998130 w 3905665"/>
              <a:gd name="connsiteY3472" fmla="*/ 296486 h 3403632"/>
              <a:gd name="connsiteX3473" fmla="*/ 1960369 w 3905665"/>
              <a:gd name="connsiteY3473" fmla="*/ 334251 h 3403632"/>
              <a:gd name="connsiteX3474" fmla="*/ 1922608 w 3905665"/>
              <a:gd name="connsiteY3474" fmla="*/ 296486 h 3403632"/>
              <a:gd name="connsiteX3475" fmla="*/ 1960369 w 3905665"/>
              <a:gd name="connsiteY3475" fmla="*/ 258721 h 3403632"/>
              <a:gd name="connsiteX3476" fmla="*/ 2195843 w 3905665"/>
              <a:gd name="connsiteY3476" fmla="*/ 258231 h 3403632"/>
              <a:gd name="connsiteX3477" fmla="*/ 2238050 w 3905665"/>
              <a:gd name="connsiteY3477" fmla="*/ 300440 h 3403632"/>
              <a:gd name="connsiteX3478" fmla="*/ 2195843 w 3905665"/>
              <a:gd name="connsiteY3478" fmla="*/ 342646 h 3403632"/>
              <a:gd name="connsiteX3479" fmla="*/ 2153634 w 3905665"/>
              <a:gd name="connsiteY3479" fmla="*/ 300440 h 3403632"/>
              <a:gd name="connsiteX3480" fmla="*/ 2195843 w 3905665"/>
              <a:gd name="connsiteY3480" fmla="*/ 258231 h 3403632"/>
              <a:gd name="connsiteX3481" fmla="*/ 1466454 w 3905665"/>
              <a:gd name="connsiteY3481" fmla="*/ 256496 h 3403632"/>
              <a:gd name="connsiteX3482" fmla="*/ 1512859 w 3905665"/>
              <a:gd name="connsiteY3482" fmla="*/ 302900 h 3403632"/>
              <a:gd name="connsiteX3483" fmla="*/ 1466454 w 3905665"/>
              <a:gd name="connsiteY3483" fmla="*/ 349551 h 3403632"/>
              <a:gd name="connsiteX3484" fmla="*/ 1420049 w 3905665"/>
              <a:gd name="connsiteY3484" fmla="*/ 302900 h 3403632"/>
              <a:gd name="connsiteX3485" fmla="*/ 1466454 w 3905665"/>
              <a:gd name="connsiteY3485" fmla="*/ 256496 h 3403632"/>
              <a:gd name="connsiteX3486" fmla="*/ 2658900 w 3905665"/>
              <a:gd name="connsiteY3486" fmla="*/ 251818 h 3403632"/>
              <a:gd name="connsiteX3487" fmla="*/ 2711478 w 3905665"/>
              <a:gd name="connsiteY3487" fmla="*/ 304393 h 3403632"/>
              <a:gd name="connsiteX3488" fmla="*/ 2658900 w 3905665"/>
              <a:gd name="connsiteY3488" fmla="*/ 356967 h 3403632"/>
              <a:gd name="connsiteX3489" fmla="*/ 2606325 w 3905665"/>
              <a:gd name="connsiteY3489" fmla="*/ 304393 h 3403632"/>
              <a:gd name="connsiteX3490" fmla="*/ 2658900 w 3905665"/>
              <a:gd name="connsiteY3490" fmla="*/ 251818 h 3403632"/>
              <a:gd name="connsiteX3491" fmla="*/ 1213692 w 3905665"/>
              <a:gd name="connsiteY3491" fmla="*/ 249829 h 3403632"/>
              <a:gd name="connsiteX3492" fmla="*/ 1257136 w 3905665"/>
              <a:gd name="connsiteY3492" fmla="*/ 293271 h 3403632"/>
              <a:gd name="connsiteX3493" fmla="*/ 1213692 w 3905665"/>
              <a:gd name="connsiteY3493" fmla="*/ 336714 h 3403632"/>
              <a:gd name="connsiteX3494" fmla="*/ 1170249 w 3905665"/>
              <a:gd name="connsiteY3494" fmla="*/ 293271 h 3403632"/>
              <a:gd name="connsiteX3495" fmla="*/ 1213692 w 3905665"/>
              <a:gd name="connsiteY3495" fmla="*/ 249829 h 3403632"/>
              <a:gd name="connsiteX3496" fmla="*/ 3347570 w 3905665"/>
              <a:gd name="connsiteY3496" fmla="*/ 234058 h 3403632"/>
              <a:gd name="connsiteX3497" fmla="*/ 3396199 w 3905665"/>
              <a:gd name="connsiteY3497" fmla="*/ 282684 h 3403632"/>
              <a:gd name="connsiteX3498" fmla="*/ 3347570 w 3905665"/>
              <a:gd name="connsiteY3498" fmla="*/ 331312 h 3403632"/>
              <a:gd name="connsiteX3499" fmla="*/ 3298944 w 3905665"/>
              <a:gd name="connsiteY3499" fmla="*/ 282684 h 3403632"/>
              <a:gd name="connsiteX3500" fmla="*/ 3347570 w 3905665"/>
              <a:gd name="connsiteY3500" fmla="*/ 234058 h 3403632"/>
              <a:gd name="connsiteX3501" fmla="*/ 474173 w 3905665"/>
              <a:gd name="connsiteY3501" fmla="*/ 232299 h 3403632"/>
              <a:gd name="connsiteX3502" fmla="*/ 514654 w 3905665"/>
              <a:gd name="connsiteY3502" fmla="*/ 272780 h 3403632"/>
              <a:gd name="connsiteX3503" fmla="*/ 474173 w 3905665"/>
              <a:gd name="connsiteY3503" fmla="*/ 313261 h 3403632"/>
              <a:gd name="connsiteX3504" fmla="*/ 433692 w 3905665"/>
              <a:gd name="connsiteY3504" fmla="*/ 272780 h 3403632"/>
              <a:gd name="connsiteX3505" fmla="*/ 474173 w 3905665"/>
              <a:gd name="connsiteY3505" fmla="*/ 232299 h 3403632"/>
              <a:gd name="connsiteX3506" fmla="*/ 2894874 w 3905665"/>
              <a:gd name="connsiteY3506" fmla="*/ 231581 h 3403632"/>
              <a:gd name="connsiteX3507" fmla="*/ 2946215 w 3905665"/>
              <a:gd name="connsiteY3507" fmla="*/ 282922 h 3403632"/>
              <a:gd name="connsiteX3508" fmla="*/ 2894874 w 3905665"/>
              <a:gd name="connsiteY3508" fmla="*/ 334263 h 3403632"/>
              <a:gd name="connsiteX3509" fmla="*/ 2843532 w 3905665"/>
              <a:gd name="connsiteY3509" fmla="*/ 282922 h 3403632"/>
              <a:gd name="connsiteX3510" fmla="*/ 2894874 w 3905665"/>
              <a:gd name="connsiteY3510" fmla="*/ 231581 h 3403632"/>
              <a:gd name="connsiteX3511" fmla="*/ 951801 w 3905665"/>
              <a:gd name="connsiteY3511" fmla="*/ 231560 h 3403632"/>
              <a:gd name="connsiteX3512" fmla="*/ 997218 w 3905665"/>
              <a:gd name="connsiteY3512" fmla="*/ 276978 h 3403632"/>
              <a:gd name="connsiteX3513" fmla="*/ 951801 w 3905665"/>
              <a:gd name="connsiteY3513" fmla="*/ 322395 h 3403632"/>
              <a:gd name="connsiteX3514" fmla="*/ 906630 w 3905665"/>
              <a:gd name="connsiteY3514" fmla="*/ 276978 h 3403632"/>
              <a:gd name="connsiteX3515" fmla="*/ 951801 w 3905665"/>
              <a:gd name="connsiteY3515" fmla="*/ 231560 h 3403632"/>
              <a:gd name="connsiteX3516" fmla="*/ 3121962 w 3905665"/>
              <a:gd name="connsiteY3516" fmla="*/ 231338 h 3403632"/>
              <a:gd name="connsiteX3517" fmla="*/ 3173550 w 3905665"/>
              <a:gd name="connsiteY3517" fmla="*/ 282925 h 3403632"/>
              <a:gd name="connsiteX3518" fmla="*/ 3121962 w 3905665"/>
              <a:gd name="connsiteY3518" fmla="*/ 334513 h 3403632"/>
              <a:gd name="connsiteX3519" fmla="*/ 3070374 w 3905665"/>
              <a:gd name="connsiteY3519" fmla="*/ 282925 h 3403632"/>
              <a:gd name="connsiteX3520" fmla="*/ 3121962 w 3905665"/>
              <a:gd name="connsiteY3520" fmla="*/ 231338 h 3403632"/>
              <a:gd name="connsiteX3521" fmla="*/ 1617270 w 3905665"/>
              <a:gd name="connsiteY3521" fmla="*/ 227615 h 3403632"/>
              <a:gd name="connsiteX3522" fmla="*/ 1645904 w 3905665"/>
              <a:gd name="connsiteY3522" fmla="*/ 256248 h 3403632"/>
              <a:gd name="connsiteX3523" fmla="*/ 1617270 w 3905665"/>
              <a:gd name="connsiteY3523" fmla="*/ 284881 h 3403632"/>
              <a:gd name="connsiteX3524" fmla="*/ 1588637 w 3905665"/>
              <a:gd name="connsiteY3524" fmla="*/ 256248 h 3403632"/>
              <a:gd name="connsiteX3525" fmla="*/ 1617270 w 3905665"/>
              <a:gd name="connsiteY3525" fmla="*/ 227615 h 3403632"/>
              <a:gd name="connsiteX3526" fmla="*/ 665715 w 3905665"/>
              <a:gd name="connsiteY3526" fmla="*/ 226130 h 3403632"/>
              <a:gd name="connsiteX3527" fmla="*/ 699780 w 3905665"/>
              <a:gd name="connsiteY3527" fmla="*/ 260194 h 3403632"/>
              <a:gd name="connsiteX3528" fmla="*/ 665715 w 3905665"/>
              <a:gd name="connsiteY3528" fmla="*/ 294256 h 3403632"/>
              <a:gd name="connsiteX3529" fmla="*/ 631653 w 3905665"/>
              <a:gd name="connsiteY3529" fmla="*/ 260194 h 3403632"/>
              <a:gd name="connsiteX3530" fmla="*/ 665715 w 3905665"/>
              <a:gd name="connsiteY3530" fmla="*/ 226130 h 3403632"/>
              <a:gd name="connsiteX3531" fmla="*/ 268806 w 3905665"/>
              <a:gd name="connsiteY3531" fmla="*/ 222672 h 3403632"/>
              <a:gd name="connsiteX3532" fmla="*/ 312495 w 3905665"/>
              <a:gd name="connsiteY3532" fmla="*/ 266361 h 3403632"/>
              <a:gd name="connsiteX3533" fmla="*/ 268806 w 3905665"/>
              <a:gd name="connsiteY3533" fmla="*/ 310052 h 3403632"/>
              <a:gd name="connsiteX3534" fmla="*/ 225117 w 3905665"/>
              <a:gd name="connsiteY3534" fmla="*/ 266361 h 3403632"/>
              <a:gd name="connsiteX3535" fmla="*/ 268806 w 3905665"/>
              <a:gd name="connsiteY3535" fmla="*/ 222672 h 3403632"/>
              <a:gd name="connsiteX3536" fmla="*/ 2101059 w 3905665"/>
              <a:gd name="connsiteY3536" fmla="*/ 210837 h 3403632"/>
              <a:gd name="connsiteX3537" fmla="*/ 2135367 w 3905665"/>
              <a:gd name="connsiteY3537" fmla="*/ 245148 h 3403632"/>
              <a:gd name="connsiteX3538" fmla="*/ 2101059 w 3905665"/>
              <a:gd name="connsiteY3538" fmla="*/ 279456 h 3403632"/>
              <a:gd name="connsiteX3539" fmla="*/ 2066748 w 3905665"/>
              <a:gd name="connsiteY3539" fmla="*/ 245148 h 3403632"/>
              <a:gd name="connsiteX3540" fmla="*/ 2101059 w 3905665"/>
              <a:gd name="connsiteY3540" fmla="*/ 210837 h 3403632"/>
              <a:gd name="connsiteX3541" fmla="*/ 1371914 w 3905665"/>
              <a:gd name="connsiteY3541" fmla="*/ 207620 h 3403632"/>
              <a:gd name="connsiteX3542" fmla="*/ 1413632 w 3905665"/>
              <a:gd name="connsiteY3542" fmla="*/ 249334 h 3403632"/>
              <a:gd name="connsiteX3543" fmla="*/ 1371914 w 3905665"/>
              <a:gd name="connsiteY3543" fmla="*/ 291051 h 3403632"/>
              <a:gd name="connsiteX3544" fmla="*/ 1330200 w 3905665"/>
              <a:gd name="connsiteY3544" fmla="*/ 249334 h 3403632"/>
              <a:gd name="connsiteX3545" fmla="*/ 1371914 w 3905665"/>
              <a:gd name="connsiteY3545" fmla="*/ 207620 h 3403632"/>
              <a:gd name="connsiteX3546" fmla="*/ 845167 w 3905665"/>
              <a:gd name="connsiteY3546" fmla="*/ 206630 h 3403632"/>
              <a:gd name="connsiteX3547" fmla="*/ 872813 w 3905665"/>
              <a:gd name="connsiteY3547" fmla="*/ 234275 h 3403632"/>
              <a:gd name="connsiteX3548" fmla="*/ 845167 w 3905665"/>
              <a:gd name="connsiteY3548" fmla="*/ 261920 h 3403632"/>
              <a:gd name="connsiteX3549" fmla="*/ 817522 w 3905665"/>
              <a:gd name="connsiteY3549" fmla="*/ 234275 h 3403632"/>
              <a:gd name="connsiteX3550" fmla="*/ 845167 w 3905665"/>
              <a:gd name="connsiteY3550" fmla="*/ 206630 h 3403632"/>
              <a:gd name="connsiteX3551" fmla="*/ 2332835 w 3905665"/>
              <a:gd name="connsiteY3551" fmla="*/ 206396 h 3403632"/>
              <a:gd name="connsiteX3552" fmla="*/ 2375044 w 3905665"/>
              <a:gd name="connsiteY3552" fmla="*/ 248359 h 3403632"/>
              <a:gd name="connsiteX3553" fmla="*/ 2332835 w 3905665"/>
              <a:gd name="connsiteY3553" fmla="*/ 290320 h 3403632"/>
              <a:gd name="connsiteX3554" fmla="*/ 2290874 w 3905665"/>
              <a:gd name="connsiteY3554" fmla="*/ 248359 h 3403632"/>
              <a:gd name="connsiteX3555" fmla="*/ 2332835 w 3905665"/>
              <a:gd name="connsiteY3555" fmla="*/ 206396 h 3403632"/>
              <a:gd name="connsiteX3556" fmla="*/ 3578605 w 3905665"/>
              <a:gd name="connsiteY3556" fmla="*/ 204689 h 3403632"/>
              <a:gd name="connsiteX3557" fmla="*/ 3632416 w 3905665"/>
              <a:gd name="connsiteY3557" fmla="*/ 258497 h 3403632"/>
              <a:gd name="connsiteX3558" fmla="*/ 3578605 w 3905665"/>
              <a:gd name="connsiteY3558" fmla="*/ 312308 h 3403632"/>
              <a:gd name="connsiteX3559" fmla="*/ 3524796 w 3905665"/>
              <a:gd name="connsiteY3559" fmla="*/ 258497 h 3403632"/>
              <a:gd name="connsiteX3560" fmla="*/ 3578605 w 3905665"/>
              <a:gd name="connsiteY3560" fmla="*/ 204689 h 3403632"/>
              <a:gd name="connsiteX3561" fmla="*/ 1866081 w 3905665"/>
              <a:gd name="connsiteY3561" fmla="*/ 204170 h 3403632"/>
              <a:gd name="connsiteX3562" fmla="*/ 1903848 w 3905665"/>
              <a:gd name="connsiteY3562" fmla="*/ 241935 h 3403632"/>
              <a:gd name="connsiteX3563" fmla="*/ 1866081 w 3905665"/>
              <a:gd name="connsiteY3563" fmla="*/ 279700 h 3403632"/>
              <a:gd name="connsiteX3564" fmla="*/ 1828316 w 3905665"/>
              <a:gd name="connsiteY3564" fmla="*/ 241935 h 3403632"/>
              <a:gd name="connsiteX3565" fmla="*/ 1866081 w 3905665"/>
              <a:gd name="connsiteY3565" fmla="*/ 204170 h 3403632"/>
              <a:gd name="connsiteX3566" fmla="*/ 3802238 w 3905665"/>
              <a:gd name="connsiteY3566" fmla="*/ 203460 h 3403632"/>
              <a:gd name="connsiteX3567" fmla="*/ 3856791 w 3905665"/>
              <a:gd name="connsiteY3567" fmla="*/ 258009 h 3403632"/>
              <a:gd name="connsiteX3568" fmla="*/ 3802238 w 3905665"/>
              <a:gd name="connsiteY3568" fmla="*/ 312559 h 3403632"/>
              <a:gd name="connsiteX3569" fmla="*/ 3747688 w 3905665"/>
              <a:gd name="connsiteY3569" fmla="*/ 258009 h 3403632"/>
              <a:gd name="connsiteX3570" fmla="*/ 3802238 w 3905665"/>
              <a:gd name="connsiteY3570" fmla="*/ 203460 h 3403632"/>
              <a:gd name="connsiteX3571" fmla="*/ 2563131 w 3905665"/>
              <a:gd name="connsiteY3571" fmla="*/ 196773 h 3403632"/>
              <a:gd name="connsiteX3572" fmla="*/ 2615214 w 3905665"/>
              <a:gd name="connsiteY3572" fmla="*/ 248855 h 3403632"/>
              <a:gd name="connsiteX3573" fmla="*/ 2563131 w 3905665"/>
              <a:gd name="connsiteY3573" fmla="*/ 300938 h 3403632"/>
              <a:gd name="connsiteX3574" fmla="*/ 2511048 w 3905665"/>
              <a:gd name="connsiteY3574" fmla="*/ 248855 h 3403632"/>
              <a:gd name="connsiteX3575" fmla="*/ 2563131 w 3905665"/>
              <a:gd name="connsiteY3575" fmla="*/ 196773 h 3403632"/>
              <a:gd name="connsiteX3576" fmla="*/ 1118661 w 3905665"/>
              <a:gd name="connsiteY3576" fmla="*/ 196511 h 3403632"/>
              <a:gd name="connsiteX3577" fmla="*/ 1161609 w 3905665"/>
              <a:gd name="connsiteY3577" fmla="*/ 239462 h 3403632"/>
              <a:gd name="connsiteX3578" fmla="*/ 1118661 w 3905665"/>
              <a:gd name="connsiteY3578" fmla="*/ 282410 h 3403632"/>
              <a:gd name="connsiteX3579" fmla="*/ 1075711 w 3905665"/>
              <a:gd name="connsiteY3579" fmla="*/ 239462 h 3403632"/>
              <a:gd name="connsiteX3580" fmla="*/ 1118661 w 3905665"/>
              <a:gd name="connsiteY3580" fmla="*/ 196511 h 3403632"/>
              <a:gd name="connsiteX3581" fmla="*/ 48878 w 3905665"/>
              <a:gd name="connsiteY3581" fmla="*/ 191571 h 3403632"/>
              <a:gd name="connsiteX3582" fmla="*/ 87876 w 3905665"/>
              <a:gd name="connsiteY3582" fmla="*/ 230573 h 3403632"/>
              <a:gd name="connsiteX3583" fmla="*/ 48878 w 3905665"/>
              <a:gd name="connsiteY3583" fmla="*/ 269571 h 3403632"/>
              <a:gd name="connsiteX3584" fmla="*/ 9876 w 3905665"/>
              <a:gd name="connsiteY3584" fmla="*/ 230573 h 3403632"/>
              <a:gd name="connsiteX3585" fmla="*/ 48878 w 3905665"/>
              <a:gd name="connsiteY3585" fmla="*/ 191571 h 3403632"/>
              <a:gd name="connsiteX3586" fmla="*/ 3250316 w 3905665"/>
              <a:gd name="connsiteY3586" fmla="*/ 180494 h 3403632"/>
              <a:gd name="connsiteX3587" fmla="*/ 3296721 w 3905665"/>
              <a:gd name="connsiteY3587" fmla="*/ 226899 h 3403632"/>
              <a:gd name="connsiteX3588" fmla="*/ 3250316 w 3905665"/>
              <a:gd name="connsiteY3588" fmla="*/ 273303 h 3403632"/>
              <a:gd name="connsiteX3589" fmla="*/ 3203911 w 3905665"/>
              <a:gd name="connsiteY3589" fmla="*/ 226899 h 3403632"/>
              <a:gd name="connsiteX3590" fmla="*/ 3250316 w 3905665"/>
              <a:gd name="connsiteY3590" fmla="*/ 180494 h 3403632"/>
              <a:gd name="connsiteX3591" fmla="*/ 3024958 w 3905665"/>
              <a:gd name="connsiteY3591" fmla="*/ 178515 h 3403632"/>
              <a:gd name="connsiteX3592" fmla="*/ 3073830 w 3905665"/>
              <a:gd name="connsiteY3592" fmla="*/ 227636 h 3403632"/>
              <a:gd name="connsiteX3593" fmla="*/ 3024958 w 3905665"/>
              <a:gd name="connsiteY3593" fmla="*/ 276507 h 3403632"/>
              <a:gd name="connsiteX3594" fmla="*/ 2976084 w 3905665"/>
              <a:gd name="connsiteY3594" fmla="*/ 227636 h 3403632"/>
              <a:gd name="connsiteX3595" fmla="*/ 3024958 w 3905665"/>
              <a:gd name="connsiteY3595" fmla="*/ 178515 h 3403632"/>
              <a:gd name="connsiteX3596" fmla="*/ 2798609 w 3905665"/>
              <a:gd name="connsiteY3596" fmla="*/ 176537 h 3403632"/>
              <a:gd name="connsiteX3597" fmla="*/ 2848964 w 3905665"/>
              <a:gd name="connsiteY3597" fmla="*/ 226892 h 3403632"/>
              <a:gd name="connsiteX3598" fmla="*/ 2798609 w 3905665"/>
              <a:gd name="connsiteY3598" fmla="*/ 277246 h 3403632"/>
              <a:gd name="connsiteX3599" fmla="*/ 2748255 w 3905665"/>
              <a:gd name="connsiteY3599" fmla="*/ 226892 h 3403632"/>
              <a:gd name="connsiteX3600" fmla="*/ 2798609 w 3905665"/>
              <a:gd name="connsiteY3600" fmla="*/ 176537 h 3403632"/>
              <a:gd name="connsiteX3601" fmla="*/ 3474690 w 3905665"/>
              <a:gd name="connsiteY3601" fmla="*/ 175067 h 3403632"/>
              <a:gd name="connsiteX3602" fmla="*/ 3525786 w 3905665"/>
              <a:gd name="connsiteY3602" fmla="*/ 226162 h 3403632"/>
              <a:gd name="connsiteX3603" fmla="*/ 3474690 w 3905665"/>
              <a:gd name="connsiteY3603" fmla="*/ 277254 h 3403632"/>
              <a:gd name="connsiteX3604" fmla="*/ 3423595 w 3905665"/>
              <a:gd name="connsiteY3604" fmla="*/ 226162 h 3403632"/>
              <a:gd name="connsiteX3605" fmla="*/ 3474690 w 3905665"/>
              <a:gd name="connsiteY3605" fmla="*/ 175067 h 3403632"/>
              <a:gd name="connsiteX3606" fmla="*/ 370749 w 3905665"/>
              <a:gd name="connsiteY3606" fmla="*/ 167629 h 3403632"/>
              <a:gd name="connsiteX3607" fmla="*/ 413945 w 3905665"/>
              <a:gd name="connsiteY3607" fmla="*/ 210826 h 3403632"/>
              <a:gd name="connsiteX3608" fmla="*/ 370749 w 3905665"/>
              <a:gd name="connsiteY3608" fmla="*/ 254022 h 3403632"/>
              <a:gd name="connsiteX3609" fmla="*/ 327552 w 3905665"/>
              <a:gd name="connsiteY3609" fmla="*/ 210826 h 3403632"/>
              <a:gd name="connsiteX3610" fmla="*/ 370749 w 3905665"/>
              <a:gd name="connsiteY3610" fmla="*/ 167629 h 3403632"/>
              <a:gd name="connsiteX3611" fmla="*/ 1523228 w 3905665"/>
              <a:gd name="connsiteY3611" fmla="*/ 162450 h 3403632"/>
              <a:gd name="connsiteX3612" fmla="*/ 1562473 w 3905665"/>
              <a:gd name="connsiteY3612" fmla="*/ 201697 h 3403632"/>
              <a:gd name="connsiteX3613" fmla="*/ 1523228 w 3905665"/>
              <a:gd name="connsiteY3613" fmla="*/ 240944 h 3403632"/>
              <a:gd name="connsiteX3614" fmla="*/ 1483980 w 3905665"/>
              <a:gd name="connsiteY3614" fmla="*/ 201697 h 3403632"/>
              <a:gd name="connsiteX3615" fmla="*/ 1523228 w 3905665"/>
              <a:gd name="connsiteY3615" fmla="*/ 162450 h 3403632"/>
              <a:gd name="connsiteX3616" fmla="*/ 1762904 w 3905665"/>
              <a:gd name="connsiteY3616" fmla="*/ 161960 h 3403632"/>
              <a:gd name="connsiteX3617" fmla="*/ 1807087 w 3905665"/>
              <a:gd name="connsiteY3617" fmla="*/ 206143 h 3403632"/>
              <a:gd name="connsiteX3618" fmla="*/ 1762904 w 3905665"/>
              <a:gd name="connsiteY3618" fmla="*/ 250325 h 3403632"/>
              <a:gd name="connsiteX3619" fmla="*/ 1718720 w 3905665"/>
              <a:gd name="connsiteY3619" fmla="*/ 206143 h 3403632"/>
              <a:gd name="connsiteX3620" fmla="*/ 1762904 w 3905665"/>
              <a:gd name="connsiteY3620" fmla="*/ 161960 h 3403632"/>
              <a:gd name="connsiteX3621" fmla="*/ 748405 w 3905665"/>
              <a:gd name="connsiteY3621" fmla="*/ 157262 h 3403632"/>
              <a:gd name="connsiteX3622" fmla="*/ 770372 w 3905665"/>
              <a:gd name="connsiteY3622" fmla="*/ 179229 h 3403632"/>
              <a:gd name="connsiteX3623" fmla="*/ 748405 w 3905665"/>
              <a:gd name="connsiteY3623" fmla="*/ 201197 h 3403632"/>
              <a:gd name="connsiteX3624" fmla="*/ 726437 w 3905665"/>
              <a:gd name="connsiteY3624" fmla="*/ 179229 h 3403632"/>
              <a:gd name="connsiteX3625" fmla="*/ 748405 w 3905665"/>
              <a:gd name="connsiteY3625" fmla="*/ 157262 h 3403632"/>
              <a:gd name="connsiteX3626" fmla="*/ 1277374 w 3905665"/>
              <a:gd name="connsiteY3626" fmla="*/ 155785 h 3403632"/>
              <a:gd name="connsiteX3627" fmla="*/ 1317363 w 3905665"/>
              <a:gd name="connsiteY3627" fmla="*/ 195771 h 3403632"/>
              <a:gd name="connsiteX3628" fmla="*/ 1277374 w 3905665"/>
              <a:gd name="connsiteY3628" fmla="*/ 235759 h 3403632"/>
              <a:gd name="connsiteX3629" fmla="*/ 1237389 w 3905665"/>
              <a:gd name="connsiteY3629" fmla="*/ 195771 h 3403632"/>
              <a:gd name="connsiteX3630" fmla="*/ 1277374 w 3905665"/>
              <a:gd name="connsiteY3630" fmla="*/ 155785 h 3403632"/>
              <a:gd name="connsiteX3631" fmla="*/ 159950 w 3905665"/>
              <a:gd name="connsiteY3631" fmla="*/ 155285 h 3403632"/>
              <a:gd name="connsiteX3632" fmla="*/ 199692 w 3905665"/>
              <a:gd name="connsiteY3632" fmla="*/ 195025 h 3403632"/>
              <a:gd name="connsiteX3633" fmla="*/ 159950 w 3905665"/>
              <a:gd name="connsiteY3633" fmla="*/ 234767 h 3403632"/>
              <a:gd name="connsiteX3634" fmla="*/ 120210 w 3905665"/>
              <a:gd name="connsiteY3634" fmla="*/ 195025 h 3403632"/>
              <a:gd name="connsiteX3635" fmla="*/ 159950 w 3905665"/>
              <a:gd name="connsiteY3635" fmla="*/ 155285 h 3403632"/>
              <a:gd name="connsiteX3636" fmla="*/ 566487 w 3905665"/>
              <a:gd name="connsiteY3636" fmla="*/ 153066 h 3403632"/>
              <a:gd name="connsiteX3637" fmla="*/ 616349 w 3905665"/>
              <a:gd name="connsiteY3637" fmla="*/ 202679 h 3403632"/>
              <a:gd name="connsiteX3638" fmla="*/ 566487 w 3905665"/>
              <a:gd name="connsiteY3638" fmla="*/ 252541 h 3403632"/>
              <a:gd name="connsiteX3639" fmla="*/ 516874 w 3905665"/>
              <a:gd name="connsiteY3639" fmla="*/ 202679 h 3403632"/>
              <a:gd name="connsiteX3640" fmla="*/ 566487 w 3905665"/>
              <a:gd name="connsiteY3640" fmla="*/ 153066 h 3403632"/>
              <a:gd name="connsiteX3641" fmla="*/ 3703753 w 3905665"/>
              <a:gd name="connsiteY3641" fmla="*/ 146686 h 3403632"/>
              <a:gd name="connsiteX3642" fmla="*/ 3758798 w 3905665"/>
              <a:gd name="connsiteY3642" fmla="*/ 201730 h 3403632"/>
              <a:gd name="connsiteX3643" fmla="*/ 3703753 w 3905665"/>
              <a:gd name="connsiteY3643" fmla="*/ 256774 h 3403632"/>
              <a:gd name="connsiteX3644" fmla="*/ 3648708 w 3905665"/>
              <a:gd name="connsiteY3644" fmla="*/ 201730 h 3403632"/>
              <a:gd name="connsiteX3645" fmla="*/ 3703753 w 3905665"/>
              <a:gd name="connsiteY3645" fmla="*/ 146686 h 3403632"/>
              <a:gd name="connsiteX3646" fmla="*/ 2695185 w 3905665"/>
              <a:gd name="connsiteY3646" fmla="*/ 144941 h 3403632"/>
              <a:gd name="connsiteX3647" fmla="*/ 2744552 w 3905665"/>
              <a:gd name="connsiteY3647" fmla="*/ 194307 h 3403632"/>
              <a:gd name="connsiteX3648" fmla="*/ 2695185 w 3905665"/>
              <a:gd name="connsiteY3648" fmla="*/ 243674 h 3403632"/>
              <a:gd name="connsiteX3649" fmla="*/ 2645818 w 3905665"/>
              <a:gd name="connsiteY3649" fmla="*/ 194307 h 3403632"/>
              <a:gd name="connsiteX3650" fmla="*/ 2695185 w 3905665"/>
              <a:gd name="connsiteY3650" fmla="*/ 144941 h 3403632"/>
              <a:gd name="connsiteX3651" fmla="*/ 2467359 w 3905665"/>
              <a:gd name="connsiteY3651" fmla="*/ 143703 h 3403632"/>
              <a:gd name="connsiteX3652" fmla="*/ 2517465 w 3905665"/>
              <a:gd name="connsiteY3652" fmla="*/ 193811 h 3403632"/>
              <a:gd name="connsiteX3653" fmla="*/ 2467359 w 3905665"/>
              <a:gd name="connsiteY3653" fmla="*/ 243917 h 3403632"/>
              <a:gd name="connsiteX3654" fmla="*/ 2417251 w 3905665"/>
              <a:gd name="connsiteY3654" fmla="*/ 193811 h 3403632"/>
              <a:gd name="connsiteX3655" fmla="*/ 2467359 w 3905665"/>
              <a:gd name="connsiteY3655" fmla="*/ 143703 h 3403632"/>
              <a:gd name="connsiteX3656" fmla="*/ 2006521 w 3905665"/>
              <a:gd name="connsiteY3656" fmla="*/ 143697 h 3403632"/>
              <a:gd name="connsiteX3657" fmla="*/ 2051938 w 3905665"/>
              <a:gd name="connsiteY3657" fmla="*/ 189361 h 3403632"/>
              <a:gd name="connsiteX3658" fmla="*/ 2006521 w 3905665"/>
              <a:gd name="connsiteY3658" fmla="*/ 234778 h 3403632"/>
              <a:gd name="connsiteX3659" fmla="*/ 1961110 w 3905665"/>
              <a:gd name="connsiteY3659" fmla="*/ 189361 h 3403632"/>
              <a:gd name="connsiteX3660" fmla="*/ 2006521 w 3905665"/>
              <a:gd name="connsiteY3660" fmla="*/ 143697 h 3403632"/>
              <a:gd name="connsiteX3661" fmla="*/ 1023874 w 3905665"/>
              <a:gd name="connsiteY3661" fmla="*/ 141220 h 3403632"/>
              <a:gd name="connsiteX3662" fmla="*/ 1067812 w 3905665"/>
              <a:gd name="connsiteY3662" fmla="*/ 185156 h 3403632"/>
              <a:gd name="connsiteX3663" fmla="*/ 1023874 w 3905665"/>
              <a:gd name="connsiteY3663" fmla="*/ 229094 h 3403632"/>
              <a:gd name="connsiteX3664" fmla="*/ 979939 w 3905665"/>
              <a:gd name="connsiteY3664" fmla="*/ 185156 h 3403632"/>
              <a:gd name="connsiteX3665" fmla="*/ 1023874 w 3905665"/>
              <a:gd name="connsiteY3665" fmla="*/ 141220 h 3403632"/>
              <a:gd name="connsiteX3666" fmla="*/ 2238051 w 3905665"/>
              <a:gd name="connsiteY3666" fmla="*/ 140984 h 3403632"/>
              <a:gd name="connsiteX3667" fmla="*/ 2288900 w 3905665"/>
              <a:gd name="connsiteY3667" fmla="*/ 191830 h 3403632"/>
              <a:gd name="connsiteX3668" fmla="*/ 2238051 w 3905665"/>
              <a:gd name="connsiteY3668" fmla="*/ 242679 h 3403632"/>
              <a:gd name="connsiteX3669" fmla="*/ 2187204 w 3905665"/>
              <a:gd name="connsiteY3669" fmla="*/ 191830 h 3403632"/>
              <a:gd name="connsiteX3670" fmla="*/ 2238051 w 3905665"/>
              <a:gd name="connsiteY3670" fmla="*/ 140984 h 3403632"/>
              <a:gd name="connsiteX3671" fmla="*/ 3376698 w 3905665"/>
              <a:gd name="connsiteY3671" fmla="*/ 124219 h 3403632"/>
              <a:gd name="connsiteX3672" fmla="*/ 3422854 w 3905665"/>
              <a:gd name="connsiteY3672" fmla="*/ 170378 h 3403632"/>
              <a:gd name="connsiteX3673" fmla="*/ 3376698 w 3905665"/>
              <a:gd name="connsiteY3673" fmla="*/ 216536 h 3403632"/>
              <a:gd name="connsiteX3674" fmla="*/ 3330539 w 3905665"/>
              <a:gd name="connsiteY3674" fmla="*/ 170378 h 3403632"/>
              <a:gd name="connsiteX3675" fmla="*/ 3376698 w 3905665"/>
              <a:gd name="connsiteY3675" fmla="*/ 124219 h 3403632"/>
              <a:gd name="connsiteX3676" fmla="*/ 2927951 w 3905665"/>
              <a:gd name="connsiteY3676" fmla="*/ 123962 h 3403632"/>
              <a:gd name="connsiteX3677" fmla="*/ 2975098 w 3905665"/>
              <a:gd name="connsiteY3677" fmla="*/ 171108 h 3403632"/>
              <a:gd name="connsiteX3678" fmla="*/ 2927951 w 3905665"/>
              <a:gd name="connsiteY3678" fmla="*/ 218254 h 3403632"/>
              <a:gd name="connsiteX3679" fmla="*/ 2880805 w 3905665"/>
              <a:gd name="connsiteY3679" fmla="*/ 171108 h 3403632"/>
              <a:gd name="connsiteX3680" fmla="*/ 2927951 w 3905665"/>
              <a:gd name="connsiteY3680" fmla="*/ 123962 h 3403632"/>
              <a:gd name="connsiteX3681" fmla="*/ 3152817 w 3905665"/>
              <a:gd name="connsiteY3681" fmla="*/ 119770 h 3403632"/>
              <a:gd name="connsiteX3682" fmla="*/ 3203910 w 3905665"/>
              <a:gd name="connsiteY3682" fmla="*/ 170865 h 3403632"/>
              <a:gd name="connsiteX3683" fmla="*/ 3152817 w 3905665"/>
              <a:gd name="connsiteY3683" fmla="*/ 221960 h 3403632"/>
              <a:gd name="connsiteX3684" fmla="*/ 3101722 w 3905665"/>
              <a:gd name="connsiteY3684" fmla="*/ 170865 h 3403632"/>
              <a:gd name="connsiteX3685" fmla="*/ 3152817 w 3905665"/>
              <a:gd name="connsiteY3685" fmla="*/ 119770 h 3403632"/>
              <a:gd name="connsiteX3686" fmla="*/ 918723 w 3905665"/>
              <a:gd name="connsiteY3686" fmla="*/ 118511 h 3403632"/>
              <a:gd name="connsiteX3687" fmla="*/ 945381 w 3905665"/>
              <a:gd name="connsiteY3687" fmla="*/ 145169 h 3403632"/>
              <a:gd name="connsiteX3688" fmla="*/ 918723 w 3905665"/>
              <a:gd name="connsiteY3688" fmla="*/ 171827 h 3403632"/>
              <a:gd name="connsiteX3689" fmla="*/ 892065 w 3905665"/>
              <a:gd name="connsiteY3689" fmla="*/ 145169 h 3403632"/>
              <a:gd name="connsiteX3690" fmla="*/ 918723 w 3905665"/>
              <a:gd name="connsiteY3690" fmla="*/ 118511 h 3403632"/>
              <a:gd name="connsiteX3691" fmla="*/ 1668365 w 3905665"/>
              <a:gd name="connsiteY3691" fmla="*/ 112346 h 3403632"/>
              <a:gd name="connsiteX3692" fmla="*/ 1707859 w 3905665"/>
              <a:gd name="connsiteY3692" fmla="*/ 152085 h 3403632"/>
              <a:gd name="connsiteX3693" fmla="*/ 1668365 w 3905665"/>
              <a:gd name="connsiteY3693" fmla="*/ 191579 h 3403632"/>
              <a:gd name="connsiteX3694" fmla="*/ 1628625 w 3905665"/>
              <a:gd name="connsiteY3694" fmla="*/ 152085 h 3403632"/>
              <a:gd name="connsiteX3695" fmla="*/ 1668365 w 3905665"/>
              <a:gd name="connsiteY3695" fmla="*/ 112346 h 3403632"/>
              <a:gd name="connsiteX3696" fmla="*/ 1428688 w 3905665"/>
              <a:gd name="connsiteY3696" fmla="*/ 111602 h 3403632"/>
              <a:gd name="connsiteX3697" fmla="*/ 1465219 w 3905665"/>
              <a:gd name="connsiteY3697" fmla="*/ 148133 h 3403632"/>
              <a:gd name="connsiteX3698" fmla="*/ 1428688 w 3905665"/>
              <a:gd name="connsiteY3698" fmla="*/ 184665 h 3403632"/>
              <a:gd name="connsiteX3699" fmla="*/ 1392156 w 3905665"/>
              <a:gd name="connsiteY3699" fmla="*/ 148133 h 3403632"/>
              <a:gd name="connsiteX3700" fmla="*/ 1428688 w 3905665"/>
              <a:gd name="connsiteY3700" fmla="*/ 111602 h 3403632"/>
              <a:gd name="connsiteX3701" fmla="*/ 265595 w 3905665"/>
              <a:gd name="connsiteY3701" fmla="*/ 106907 h 3403632"/>
              <a:gd name="connsiteX3702" fmla="*/ 305088 w 3905665"/>
              <a:gd name="connsiteY3702" fmla="*/ 146400 h 3403632"/>
              <a:gd name="connsiteX3703" fmla="*/ 265595 w 3905665"/>
              <a:gd name="connsiteY3703" fmla="*/ 185893 h 3403632"/>
              <a:gd name="connsiteX3704" fmla="*/ 226102 w 3905665"/>
              <a:gd name="connsiteY3704" fmla="*/ 146400 h 3403632"/>
              <a:gd name="connsiteX3705" fmla="*/ 265595 w 3905665"/>
              <a:gd name="connsiteY3705" fmla="*/ 106907 h 3403632"/>
              <a:gd name="connsiteX3706" fmla="*/ 1183084 w 3905665"/>
              <a:gd name="connsiteY3706" fmla="*/ 103209 h 3403632"/>
              <a:gd name="connsiteX3707" fmla="*/ 1222083 w 3905665"/>
              <a:gd name="connsiteY3707" fmla="*/ 142210 h 3403632"/>
              <a:gd name="connsiteX3708" fmla="*/ 1183084 w 3905665"/>
              <a:gd name="connsiteY3708" fmla="*/ 181209 h 3403632"/>
              <a:gd name="connsiteX3709" fmla="*/ 1144083 w 3905665"/>
              <a:gd name="connsiteY3709" fmla="*/ 142210 h 3403632"/>
              <a:gd name="connsiteX3710" fmla="*/ 1183084 w 3905665"/>
              <a:gd name="connsiteY3710" fmla="*/ 103209 h 3403632"/>
              <a:gd name="connsiteX3711" fmla="*/ 466272 w 3905665"/>
              <a:gd name="connsiteY3711" fmla="*/ 102711 h 3403632"/>
              <a:gd name="connsiteX3712" fmla="*/ 507989 w 3905665"/>
              <a:gd name="connsiteY3712" fmla="*/ 144425 h 3403632"/>
              <a:gd name="connsiteX3713" fmla="*/ 466272 w 3905665"/>
              <a:gd name="connsiteY3713" fmla="*/ 186389 h 3403632"/>
              <a:gd name="connsiteX3714" fmla="*/ 424311 w 3905665"/>
              <a:gd name="connsiteY3714" fmla="*/ 144425 h 3403632"/>
              <a:gd name="connsiteX3715" fmla="*/ 466272 w 3905665"/>
              <a:gd name="connsiteY3715" fmla="*/ 102711 h 3403632"/>
              <a:gd name="connsiteX3716" fmla="*/ 1911499 w 3905665"/>
              <a:gd name="connsiteY3716" fmla="*/ 92352 h 3403632"/>
              <a:gd name="connsiteX3717" fmla="*/ 1953460 w 3905665"/>
              <a:gd name="connsiteY3717" fmla="*/ 134313 h 3403632"/>
              <a:gd name="connsiteX3718" fmla="*/ 1911499 w 3905665"/>
              <a:gd name="connsiteY3718" fmla="*/ 176276 h 3403632"/>
              <a:gd name="connsiteX3719" fmla="*/ 1869785 w 3905665"/>
              <a:gd name="connsiteY3719" fmla="*/ 134313 h 3403632"/>
              <a:gd name="connsiteX3720" fmla="*/ 1911499 w 3905665"/>
              <a:gd name="connsiteY3720" fmla="*/ 92352 h 3403632"/>
              <a:gd name="connsiteX3721" fmla="*/ 3605265 w 3905665"/>
              <a:gd name="connsiteY3721" fmla="*/ 90654 h 3403632"/>
              <a:gd name="connsiteX3722" fmla="*/ 3659815 w 3905665"/>
              <a:gd name="connsiteY3722" fmla="*/ 145204 h 3403632"/>
              <a:gd name="connsiteX3723" fmla="*/ 3605265 w 3905665"/>
              <a:gd name="connsiteY3723" fmla="*/ 199753 h 3403632"/>
              <a:gd name="connsiteX3724" fmla="*/ 3550715 w 3905665"/>
              <a:gd name="connsiteY3724" fmla="*/ 145204 h 3403632"/>
              <a:gd name="connsiteX3725" fmla="*/ 3605265 w 3905665"/>
              <a:gd name="connsiteY3725" fmla="*/ 90654 h 3403632"/>
              <a:gd name="connsiteX3726" fmla="*/ 3827416 w 3905665"/>
              <a:gd name="connsiteY3726" fmla="*/ 89177 h 3403632"/>
              <a:gd name="connsiteX3727" fmla="*/ 3882707 w 3905665"/>
              <a:gd name="connsiteY3727" fmla="*/ 144467 h 3403632"/>
              <a:gd name="connsiteX3728" fmla="*/ 3827416 w 3905665"/>
              <a:gd name="connsiteY3728" fmla="*/ 199757 h 3403632"/>
              <a:gd name="connsiteX3729" fmla="*/ 3772125 w 3905665"/>
              <a:gd name="connsiteY3729" fmla="*/ 144467 h 3403632"/>
              <a:gd name="connsiteX3730" fmla="*/ 3827416 w 3905665"/>
              <a:gd name="connsiteY3730" fmla="*/ 89177 h 3403632"/>
              <a:gd name="connsiteX3731" fmla="*/ 2598672 w 3905665"/>
              <a:gd name="connsiteY3731" fmla="*/ 88907 h 3403632"/>
              <a:gd name="connsiteX3732" fmla="*/ 2648285 w 3905665"/>
              <a:gd name="connsiteY3732" fmla="*/ 138520 h 3403632"/>
              <a:gd name="connsiteX3733" fmla="*/ 2598672 w 3905665"/>
              <a:gd name="connsiteY3733" fmla="*/ 188135 h 3403632"/>
              <a:gd name="connsiteX3734" fmla="*/ 2549059 w 3905665"/>
              <a:gd name="connsiteY3734" fmla="*/ 138520 h 3403632"/>
              <a:gd name="connsiteX3735" fmla="*/ 2598672 w 3905665"/>
              <a:gd name="connsiteY3735" fmla="*/ 88907 h 3403632"/>
              <a:gd name="connsiteX3736" fmla="*/ 2142773 w 3905665"/>
              <a:gd name="connsiteY3736" fmla="*/ 86926 h 3403632"/>
              <a:gd name="connsiteX3737" fmla="*/ 2192140 w 3905665"/>
              <a:gd name="connsiteY3737" fmla="*/ 136293 h 3403632"/>
              <a:gd name="connsiteX3738" fmla="*/ 2142773 w 3905665"/>
              <a:gd name="connsiteY3738" fmla="*/ 185660 h 3403632"/>
              <a:gd name="connsiteX3739" fmla="*/ 2093406 w 3905665"/>
              <a:gd name="connsiteY3739" fmla="*/ 136293 h 3403632"/>
              <a:gd name="connsiteX3740" fmla="*/ 2142773 w 3905665"/>
              <a:gd name="connsiteY3740" fmla="*/ 86926 h 3403632"/>
              <a:gd name="connsiteX3741" fmla="*/ 2371341 w 3905665"/>
              <a:gd name="connsiteY3741" fmla="*/ 86434 h 3403632"/>
              <a:gd name="connsiteX3742" fmla="*/ 2423424 w 3905665"/>
              <a:gd name="connsiteY3742" fmla="*/ 138517 h 3403632"/>
              <a:gd name="connsiteX3743" fmla="*/ 2371341 w 3905665"/>
              <a:gd name="connsiteY3743" fmla="*/ 190599 h 3403632"/>
              <a:gd name="connsiteX3744" fmla="*/ 2319258 w 3905665"/>
              <a:gd name="connsiteY3744" fmla="*/ 138517 h 3403632"/>
              <a:gd name="connsiteX3745" fmla="*/ 2371341 w 3905665"/>
              <a:gd name="connsiteY3745" fmla="*/ 86434 h 3403632"/>
              <a:gd name="connsiteX3746" fmla="*/ 651399 w 3905665"/>
              <a:gd name="connsiteY3746" fmla="*/ 79261 h 3403632"/>
              <a:gd name="connsiteX3747" fmla="*/ 696078 w 3905665"/>
              <a:gd name="connsiteY3747" fmla="*/ 123938 h 3403632"/>
              <a:gd name="connsiteX3748" fmla="*/ 651399 w 3905665"/>
              <a:gd name="connsiteY3748" fmla="*/ 168614 h 3403632"/>
              <a:gd name="connsiteX3749" fmla="*/ 606723 w 3905665"/>
              <a:gd name="connsiteY3749" fmla="*/ 123938 h 3403632"/>
              <a:gd name="connsiteX3750" fmla="*/ 651399 w 3905665"/>
              <a:gd name="connsiteY3750" fmla="*/ 79261 h 3403632"/>
              <a:gd name="connsiteX3751" fmla="*/ 1574074 w 3905665"/>
              <a:gd name="connsiteY3751" fmla="*/ 75072 h 3403632"/>
              <a:gd name="connsiteX3752" fmla="*/ 1596042 w 3905665"/>
              <a:gd name="connsiteY3752" fmla="*/ 97040 h 3403632"/>
              <a:gd name="connsiteX3753" fmla="*/ 1574074 w 3905665"/>
              <a:gd name="connsiteY3753" fmla="*/ 119007 h 3403632"/>
              <a:gd name="connsiteX3754" fmla="*/ 1552353 w 3905665"/>
              <a:gd name="connsiteY3754" fmla="*/ 97040 h 3403632"/>
              <a:gd name="connsiteX3755" fmla="*/ 1574074 w 3905665"/>
              <a:gd name="connsiteY3755" fmla="*/ 75072 h 3403632"/>
              <a:gd name="connsiteX3756" fmla="*/ 3278456 w 3905665"/>
              <a:gd name="connsiteY3756" fmla="*/ 72875 h 3403632"/>
              <a:gd name="connsiteX3757" fmla="*/ 3319924 w 3905665"/>
              <a:gd name="connsiteY3757" fmla="*/ 114343 h 3403632"/>
              <a:gd name="connsiteX3758" fmla="*/ 3278456 w 3905665"/>
              <a:gd name="connsiteY3758" fmla="*/ 155811 h 3403632"/>
              <a:gd name="connsiteX3759" fmla="*/ 3236988 w 3905665"/>
              <a:gd name="connsiteY3759" fmla="*/ 114343 h 3403632"/>
              <a:gd name="connsiteX3760" fmla="*/ 3278456 w 3905665"/>
              <a:gd name="connsiteY3760" fmla="*/ 72875 h 3403632"/>
              <a:gd name="connsiteX3761" fmla="*/ 3054823 w 3905665"/>
              <a:gd name="connsiteY3761" fmla="*/ 71142 h 3403632"/>
              <a:gd name="connsiteX3762" fmla="*/ 3098761 w 3905665"/>
              <a:gd name="connsiteY3762" fmla="*/ 115077 h 3403632"/>
              <a:gd name="connsiteX3763" fmla="*/ 3054823 w 3905665"/>
              <a:gd name="connsiteY3763" fmla="*/ 159015 h 3403632"/>
              <a:gd name="connsiteX3764" fmla="*/ 3010887 w 3905665"/>
              <a:gd name="connsiteY3764" fmla="*/ 115077 h 3403632"/>
              <a:gd name="connsiteX3765" fmla="*/ 3054823 w 3905665"/>
              <a:gd name="connsiteY3765" fmla="*/ 71142 h 3403632"/>
              <a:gd name="connsiteX3766" fmla="*/ 823444 w 3905665"/>
              <a:gd name="connsiteY3766" fmla="*/ 70130 h 3403632"/>
              <a:gd name="connsiteX3767" fmla="*/ 843932 w 3905665"/>
              <a:gd name="connsiteY3767" fmla="*/ 90864 h 3403632"/>
              <a:gd name="connsiteX3768" fmla="*/ 823444 w 3905665"/>
              <a:gd name="connsiteY3768" fmla="*/ 111599 h 3403632"/>
              <a:gd name="connsiteX3769" fmla="*/ 802709 w 3905665"/>
              <a:gd name="connsiteY3769" fmla="*/ 90864 h 3403632"/>
              <a:gd name="connsiteX3770" fmla="*/ 823444 w 3905665"/>
              <a:gd name="connsiteY3770" fmla="*/ 70130 h 3403632"/>
              <a:gd name="connsiteX3771" fmla="*/ 48874 w 3905665"/>
              <a:gd name="connsiteY3771" fmla="*/ 69387 h 3403632"/>
              <a:gd name="connsiteX3772" fmla="*/ 97746 w 3905665"/>
              <a:gd name="connsiteY3772" fmla="*/ 118259 h 3403632"/>
              <a:gd name="connsiteX3773" fmla="*/ 48874 w 3905665"/>
              <a:gd name="connsiteY3773" fmla="*/ 167134 h 3403632"/>
              <a:gd name="connsiteX3774" fmla="*/ 0 w 3905665"/>
              <a:gd name="connsiteY3774" fmla="*/ 118259 h 3403632"/>
              <a:gd name="connsiteX3775" fmla="*/ 48874 w 3905665"/>
              <a:gd name="connsiteY3775" fmla="*/ 69387 h 3403632"/>
              <a:gd name="connsiteX3776" fmla="*/ 2830700 w 3905665"/>
              <a:gd name="connsiteY3776" fmla="*/ 69164 h 3403632"/>
              <a:gd name="connsiteX3777" fmla="*/ 2876363 w 3905665"/>
              <a:gd name="connsiteY3777" fmla="*/ 114828 h 3403632"/>
              <a:gd name="connsiteX3778" fmla="*/ 2830700 w 3905665"/>
              <a:gd name="connsiteY3778" fmla="*/ 160491 h 3403632"/>
              <a:gd name="connsiteX3779" fmla="*/ 2785282 w 3905665"/>
              <a:gd name="connsiteY3779" fmla="*/ 114828 h 3403632"/>
              <a:gd name="connsiteX3780" fmla="*/ 2830700 w 3905665"/>
              <a:gd name="connsiteY3780" fmla="*/ 69164 h 3403632"/>
              <a:gd name="connsiteX3781" fmla="*/ 3501099 w 3905665"/>
              <a:gd name="connsiteY3781" fmla="*/ 63745 h 3403632"/>
              <a:gd name="connsiteX3782" fmla="*/ 3550715 w 3905665"/>
              <a:gd name="connsiteY3782" fmla="*/ 113358 h 3403632"/>
              <a:gd name="connsiteX3783" fmla="*/ 3501099 w 3905665"/>
              <a:gd name="connsiteY3783" fmla="*/ 162973 h 3403632"/>
              <a:gd name="connsiteX3784" fmla="*/ 3451486 w 3905665"/>
              <a:gd name="connsiteY3784" fmla="*/ 113358 h 3403632"/>
              <a:gd name="connsiteX3785" fmla="*/ 3501099 w 3905665"/>
              <a:gd name="connsiteY3785" fmla="*/ 63745 h 3403632"/>
              <a:gd name="connsiteX3786" fmla="*/ 1334394 w 3905665"/>
              <a:gd name="connsiteY3786" fmla="*/ 59519 h 3403632"/>
              <a:gd name="connsiteX3787" fmla="*/ 1369197 w 3905665"/>
              <a:gd name="connsiteY3787" fmla="*/ 94322 h 3403632"/>
              <a:gd name="connsiteX3788" fmla="*/ 1334394 w 3905665"/>
              <a:gd name="connsiteY3788" fmla="*/ 129128 h 3403632"/>
              <a:gd name="connsiteX3789" fmla="*/ 1299591 w 3905665"/>
              <a:gd name="connsiteY3789" fmla="*/ 94322 h 3403632"/>
              <a:gd name="connsiteX3790" fmla="*/ 1334394 w 3905665"/>
              <a:gd name="connsiteY3790" fmla="*/ 59519 h 3403632"/>
              <a:gd name="connsiteX3791" fmla="*/ 1808568 w 3905665"/>
              <a:gd name="connsiteY3791" fmla="*/ 48416 h 3403632"/>
              <a:gd name="connsiteX3792" fmla="*/ 1859909 w 3905665"/>
              <a:gd name="connsiteY3792" fmla="*/ 99757 h 3403632"/>
              <a:gd name="connsiteX3793" fmla="*/ 1808568 w 3905665"/>
              <a:gd name="connsiteY3793" fmla="*/ 151099 h 3403632"/>
              <a:gd name="connsiteX3794" fmla="*/ 1757227 w 3905665"/>
              <a:gd name="connsiteY3794" fmla="*/ 99757 h 3403632"/>
              <a:gd name="connsiteX3795" fmla="*/ 1808568 w 3905665"/>
              <a:gd name="connsiteY3795" fmla="*/ 48416 h 3403632"/>
              <a:gd name="connsiteX3796" fmla="*/ 1088791 w 3905665"/>
              <a:gd name="connsiteY3796" fmla="*/ 46681 h 3403632"/>
              <a:gd name="connsiteX3797" fmla="*/ 1130506 w 3905665"/>
              <a:gd name="connsiteY3797" fmla="*/ 88149 h 3403632"/>
              <a:gd name="connsiteX3798" fmla="*/ 1088791 w 3905665"/>
              <a:gd name="connsiteY3798" fmla="*/ 129617 h 3403632"/>
              <a:gd name="connsiteX3799" fmla="*/ 1047078 w 3905665"/>
              <a:gd name="connsiteY3799" fmla="*/ 88149 h 3403632"/>
              <a:gd name="connsiteX3800" fmla="*/ 1088791 w 3905665"/>
              <a:gd name="connsiteY3800" fmla="*/ 46681 h 3403632"/>
              <a:gd name="connsiteX3801" fmla="*/ 364578 w 3905665"/>
              <a:gd name="connsiteY3801" fmla="*/ 45692 h 3403632"/>
              <a:gd name="connsiteX3802" fmla="*/ 403823 w 3905665"/>
              <a:gd name="connsiteY3802" fmla="*/ 84939 h 3403632"/>
              <a:gd name="connsiteX3803" fmla="*/ 364578 w 3905665"/>
              <a:gd name="connsiteY3803" fmla="*/ 124184 h 3403632"/>
              <a:gd name="connsiteX3804" fmla="*/ 325331 w 3905665"/>
              <a:gd name="connsiteY3804" fmla="*/ 84939 h 3403632"/>
              <a:gd name="connsiteX3805" fmla="*/ 364578 w 3905665"/>
              <a:gd name="connsiteY3805" fmla="*/ 45692 h 3403632"/>
              <a:gd name="connsiteX3806" fmla="*/ 2727029 w 3905665"/>
              <a:gd name="connsiteY3806" fmla="*/ 40529 h 3403632"/>
              <a:gd name="connsiteX3807" fmla="*/ 2769239 w 3905665"/>
              <a:gd name="connsiteY3807" fmla="*/ 82739 h 3403632"/>
              <a:gd name="connsiteX3808" fmla="*/ 2727029 w 3905665"/>
              <a:gd name="connsiteY3808" fmla="*/ 124948 h 3403632"/>
              <a:gd name="connsiteX3809" fmla="*/ 2684820 w 3905665"/>
              <a:gd name="connsiteY3809" fmla="*/ 82739 h 3403632"/>
              <a:gd name="connsiteX3810" fmla="*/ 2727029 w 3905665"/>
              <a:gd name="connsiteY3810" fmla="*/ 40529 h 3403632"/>
              <a:gd name="connsiteX3811" fmla="*/ 2501667 w 3905665"/>
              <a:gd name="connsiteY3811" fmla="*/ 35589 h 3403632"/>
              <a:gd name="connsiteX3812" fmla="*/ 2549060 w 3905665"/>
              <a:gd name="connsiteY3812" fmla="*/ 82981 h 3403632"/>
              <a:gd name="connsiteX3813" fmla="*/ 2501667 w 3905665"/>
              <a:gd name="connsiteY3813" fmla="*/ 130373 h 3403632"/>
              <a:gd name="connsiteX3814" fmla="*/ 2454275 w 3905665"/>
              <a:gd name="connsiteY3814" fmla="*/ 82981 h 3403632"/>
              <a:gd name="connsiteX3815" fmla="*/ 2501667 w 3905665"/>
              <a:gd name="connsiteY3815" fmla="*/ 35589 h 3403632"/>
              <a:gd name="connsiteX3816" fmla="*/ 3728190 w 3905665"/>
              <a:gd name="connsiteY3816" fmla="*/ 31909 h 3403632"/>
              <a:gd name="connsiteX3817" fmla="*/ 3784223 w 3905665"/>
              <a:gd name="connsiteY3817" fmla="*/ 87941 h 3403632"/>
              <a:gd name="connsiteX3818" fmla="*/ 3728190 w 3905665"/>
              <a:gd name="connsiteY3818" fmla="*/ 143970 h 3403632"/>
              <a:gd name="connsiteX3819" fmla="*/ 3672158 w 3905665"/>
              <a:gd name="connsiteY3819" fmla="*/ 87941 h 3403632"/>
              <a:gd name="connsiteX3820" fmla="*/ 3728190 w 3905665"/>
              <a:gd name="connsiteY3820" fmla="*/ 31909 h 3403632"/>
              <a:gd name="connsiteX3821" fmla="*/ 2275323 w 3905665"/>
              <a:gd name="connsiteY3821" fmla="*/ 30155 h 3403632"/>
              <a:gd name="connsiteX3822" fmla="*/ 2326911 w 3905665"/>
              <a:gd name="connsiteY3822" fmla="*/ 81743 h 3403632"/>
              <a:gd name="connsiteX3823" fmla="*/ 2275323 w 3905665"/>
              <a:gd name="connsiteY3823" fmla="*/ 133333 h 3403632"/>
              <a:gd name="connsiteX3824" fmla="*/ 2223735 w 3905665"/>
              <a:gd name="connsiteY3824" fmla="*/ 81743 h 3403632"/>
              <a:gd name="connsiteX3825" fmla="*/ 2275323 w 3905665"/>
              <a:gd name="connsiteY3825" fmla="*/ 30155 h 3403632"/>
              <a:gd name="connsiteX3826" fmla="*/ 2047248 w 3905665"/>
              <a:gd name="connsiteY3826" fmla="*/ 29413 h 3403632"/>
              <a:gd name="connsiteX3827" fmla="*/ 2097602 w 3905665"/>
              <a:gd name="connsiteY3827" fmla="*/ 80013 h 3403632"/>
              <a:gd name="connsiteX3828" fmla="*/ 2047248 w 3905665"/>
              <a:gd name="connsiteY3828" fmla="*/ 130616 h 3403632"/>
              <a:gd name="connsiteX3829" fmla="*/ 1996893 w 3905665"/>
              <a:gd name="connsiteY3829" fmla="*/ 80013 h 3403632"/>
              <a:gd name="connsiteX3830" fmla="*/ 2047248 w 3905665"/>
              <a:gd name="connsiteY3830" fmla="*/ 29413 h 3403632"/>
              <a:gd name="connsiteX3831" fmla="*/ 553652 w 3905665"/>
              <a:gd name="connsiteY3831" fmla="*/ 27427 h 3403632"/>
              <a:gd name="connsiteX3832" fmla="*/ 594133 w 3905665"/>
              <a:gd name="connsiteY3832" fmla="*/ 67908 h 3403632"/>
              <a:gd name="connsiteX3833" fmla="*/ 553652 w 3905665"/>
              <a:gd name="connsiteY3833" fmla="*/ 108389 h 3403632"/>
              <a:gd name="connsiteX3834" fmla="*/ 513171 w 3905665"/>
              <a:gd name="connsiteY3834" fmla="*/ 67908 h 3403632"/>
              <a:gd name="connsiteX3835" fmla="*/ 553652 w 3905665"/>
              <a:gd name="connsiteY3835" fmla="*/ 27427 h 3403632"/>
              <a:gd name="connsiteX3836" fmla="*/ 158716 w 3905665"/>
              <a:gd name="connsiteY3836" fmla="*/ 26439 h 3403632"/>
              <a:gd name="connsiteX3837" fmla="*/ 210304 w 3905665"/>
              <a:gd name="connsiteY3837" fmla="*/ 78027 h 3403632"/>
              <a:gd name="connsiteX3838" fmla="*/ 158716 w 3905665"/>
              <a:gd name="connsiteY3838" fmla="*/ 129615 h 3403632"/>
              <a:gd name="connsiteX3839" fmla="*/ 107128 w 3905665"/>
              <a:gd name="connsiteY3839" fmla="*/ 78027 h 3403632"/>
              <a:gd name="connsiteX3840" fmla="*/ 158716 w 3905665"/>
              <a:gd name="connsiteY3840" fmla="*/ 26439 h 3403632"/>
              <a:gd name="connsiteX3841" fmla="*/ 984629 w 3905665"/>
              <a:gd name="connsiteY3841" fmla="*/ 24467 h 3403632"/>
              <a:gd name="connsiteX3842" fmla="*/ 1010300 w 3905665"/>
              <a:gd name="connsiteY3842" fmla="*/ 50138 h 3403632"/>
              <a:gd name="connsiteX3843" fmla="*/ 984629 w 3905665"/>
              <a:gd name="connsiteY3843" fmla="*/ 75809 h 3403632"/>
              <a:gd name="connsiteX3844" fmla="*/ 958958 w 3905665"/>
              <a:gd name="connsiteY3844" fmla="*/ 50138 h 3403632"/>
              <a:gd name="connsiteX3845" fmla="*/ 984629 w 3905665"/>
              <a:gd name="connsiteY3845" fmla="*/ 24467 h 3403632"/>
              <a:gd name="connsiteX3846" fmla="*/ 2957076 w 3905665"/>
              <a:gd name="connsiteY3846" fmla="*/ 15358 h 3403632"/>
              <a:gd name="connsiteX3847" fmla="*/ 3000027 w 3905665"/>
              <a:gd name="connsiteY3847" fmla="*/ 58305 h 3403632"/>
              <a:gd name="connsiteX3848" fmla="*/ 2957076 w 3905665"/>
              <a:gd name="connsiteY3848" fmla="*/ 101255 h 3403632"/>
              <a:gd name="connsiteX3849" fmla="*/ 2914128 w 3905665"/>
              <a:gd name="connsiteY3849" fmla="*/ 58305 h 3403632"/>
              <a:gd name="connsiteX3850" fmla="*/ 2957076 w 3905665"/>
              <a:gd name="connsiteY3850" fmla="*/ 15358 h 3403632"/>
              <a:gd name="connsiteX3851" fmla="*/ 3402119 w 3905665"/>
              <a:gd name="connsiteY3851" fmla="*/ 13143 h 3403632"/>
              <a:gd name="connsiteX3852" fmla="*/ 3445811 w 3905665"/>
              <a:gd name="connsiteY3852" fmla="*/ 56832 h 3403632"/>
              <a:gd name="connsiteX3853" fmla="*/ 3402119 w 3905665"/>
              <a:gd name="connsiteY3853" fmla="*/ 100523 h 3403632"/>
              <a:gd name="connsiteX3854" fmla="*/ 3358430 w 3905665"/>
              <a:gd name="connsiteY3854" fmla="*/ 56832 h 3403632"/>
              <a:gd name="connsiteX3855" fmla="*/ 3402119 w 3905665"/>
              <a:gd name="connsiteY3855" fmla="*/ 13143 h 3403632"/>
              <a:gd name="connsiteX3856" fmla="*/ 1479288 w 3905665"/>
              <a:gd name="connsiteY3856" fmla="*/ 11881 h 3403632"/>
              <a:gd name="connsiteX3857" fmla="*/ 1510637 w 3905665"/>
              <a:gd name="connsiteY3857" fmla="*/ 43230 h 3403632"/>
              <a:gd name="connsiteX3858" fmla="*/ 1479288 w 3905665"/>
              <a:gd name="connsiteY3858" fmla="*/ 74825 h 3403632"/>
              <a:gd name="connsiteX3859" fmla="*/ 1447693 w 3905665"/>
              <a:gd name="connsiteY3859" fmla="*/ 43230 h 3403632"/>
              <a:gd name="connsiteX3860" fmla="*/ 1479288 w 3905665"/>
              <a:gd name="connsiteY3860" fmla="*/ 11881 h 3403632"/>
              <a:gd name="connsiteX3861" fmla="*/ 3179968 w 3905665"/>
              <a:gd name="connsiteY3861" fmla="*/ 7710 h 3403632"/>
              <a:gd name="connsiteX3862" fmla="*/ 3230074 w 3905665"/>
              <a:gd name="connsiteY3862" fmla="*/ 57818 h 3403632"/>
              <a:gd name="connsiteX3863" fmla="*/ 3179968 w 3905665"/>
              <a:gd name="connsiteY3863" fmla="*/ 107923 h 3403632"/>
              <a:gd name="connsiteX3864" fmla="*/ 3129860 w 3905665"/>
              <a:gd name="connsiteY3864" fmla="*/ 57818 h 3403632"/>
              <a:gd name="connsiteX3865" fmla="*/ 3179968 w 3905665"/>
              <a:gd name="connsiteY3865" fmla="*/ 7710 h 3403632"/>
              <a:gd name="connsiteX3866" fmla="*/ 728165 w 3905665"/>
              <a:gd name="connsiteY3866" fmla="*/ 6199 h 3403632"/>
              <a:gd name="connsiteX3867" fmla="*/ 758772 w 3905665"/>
              <a:gd name="connsiteY3867" fmla="*/ 36806 h 3403632"/>
              <a:gd name="connsiteX3868" fmla="*/ 728165 w 3905665"/>
              <a:gd name="connsiteY3868" fmla="*/ 67414 h 3403632"/>
              <a:gd name="connsiteX3869" fmla="*/ 697558 w 3905665"/>
              <a:gd name="connsiteY3869" fmla="*/ 36806 h 3403632"/>
              <a:gd name="connsiteX3870" fmla="*/ 728165 w 3905665"/>
              <a:gd name="connsiteY3870" fmla="*/ 6199 h 3403632"/>
              <a:gd name="connsiteX3871" fmla="*/ 1240101 w 3905665"/>
              <a:gd name="connsiteY3871" fmla="*/ 5214 h 3403632"/>
              <a:gd name="connsiteX3872" fmla="*/ 1275153 w 3905665"/>
              <a:gd name="connsiteY3872" fmla="*/ 40263 h 3403632"/>
              <a:gd name="connsiteX3873" fmla="*/ 1240101 w 3905665"/>
              <a:gd name="connsiteY3873" fmla="*/ 75315 h 3403632"/>
              <a:gd name="connsiteX3874" fmla="*/ 1205052 w 3905665"/>
              <a:gd name="connsiteY3874" fmla="*/ 40263 h 3403632"/>
              <a:gd name="connsiteX3875" fmla="*/ 1240101 w 3905665"/>
              <a:gd name="connsiteY3875" fmla="*/ 5214 h 3403632"/>
              <a:gd name="connsiteX3876" fmla="*/ 3803451 w 3905665"/>
              <a:gd name="connsiteY3876" fmla="*/ 0 h 3403632"/>
              <a:gd name="connsiteX3877" fmla="*/ 3895489 w 3905665"/>
              <a:gd name="connsiteY3877" fmla="*/ 0 h 3403632"/>
              <a:gd name="connsiteX3878" fmla="*/ 3901210 w 3905665"/>
              <a:gd name="connsiteY3878" fmla="*/ 8414 h 3403632"/>
              <a:gd name="connsiteX3879" fmla="*/ 3905665 w 3905665"/>
              <a:gd name="connsiteY3879" fmla="*/ 30186 h 3403632"/>
              <a:gd name="connsiteX3880" fmla="*/ 3849386 w 3905665"/>
              <a:gd name="connsiteY3880" fmla="*/ 86215 h 3403632"/>
              <a:gd name="connsiteX3881" fmla="*/ 3793354 w 3905665"/>
              <a:gd name="connsiteY3881" fmla="*/ 30186 h 3403632"/>
              <a:gd name="connsiteX3882" fmla="*/ 3797770 w 3905665"/>
              <a:gd name="connsiteY3882" fmla="*/ 8414 h 3403632"/>
              <a:gd name="connsiteX3883" fmla="*/ 3699416 w 3905665"/>
              <a:gd name="connsiteY3883" fmla="*/ 0 h 3403632"/>
              <a:gd name="connsiteX3884" fmla="*/ 3798482 w 3905665"/>
              <a:gd name="connsiteY3884" fmla="*/ 0 h 3403632"/>
              <a:gd name="connsiteX3885" fmla="*/ 3789282 w 3905665"/>
              <a:gd name="connsiteY3885" fmla="*/ 13677 h 3403632"/>
              <a:gd name="connsiteX3886" fmla="*/ 3748924 w 3905665"/>
              <a:gd name="connsiteY3886" fmla="*/ 30430 h 3403632"/>
              <a:gd name="connsiteX3887" fmla="*/ 3708659 w 3905665"/>
              <a:gd name="connsiteY3887" fmla="*/ 13677 h 3403632"/>
              <a:gd name="connsiteX3888" fmla="*/ 3583942 w 3905665"/>
              <a:gd name="connsiteY3888" fmla="*/ 0 h 3403632"/>
              <a:gd name="connsiteX3889" fmla="*/ 3672925 w 3905665"/>
              <a:gd name="connsiteY3889" fmla="*/ 0 h 3403632"/>
              <a:gd name="connsiteX3890" fmla="*/ 3679387 w 3905665"/>
              <a:gd name="connsiteY3890" fmla="*/ 9511 h 3403632"/>
              <a:gd name="connsiteX3891" fmla="*/ 3683757 w 3905665"/>
              <a:gd name="connsiteY3891" fmla="*/ 30920 h 3403632"/>
              <a:gd name="connsiteX3892" fmla="*/ 3628466 w 3905665"/>
              <a:gd name="connsiteY3892" fmla="*/ 86210 h 3403632"/>
              <a:gd name="connsiteX3893" fmla="*/ 3573175 w 3905665"/>
              <a:gd name="connsiteY3893" fmla="*/ 30920 h 3403632"/>
              <a:gd name="connsiteX3894" fmla="*/ 3577510 w 3905665"/>
              <a:gd name="connsiteY3894" fmla="*/ 9511 h 3403632"/>
              <a:gd name="connsiteX3895" fmla="*/ 3475766 w 3905665"/>
              <a:gd name="connsiteY3895" fmla="*/ 0 h 3403632"/>
              <a:gd name="connsiteX3896" fmla="*/ 3572104 w 3905665"/>
              <a:gd name="connsiteY3896" fmla="*/ 0 h 3403632"/>
              <a:gd name="connsiteX3897" fmla="*/ 3568384 w 3905665"/>
              <a:gd name="connsiteY3897" fmla="*/ 18234 h 3403632"/>
              <a:gd name="connsiteX3898" fmla="*/ 3524058 w 3905665"/>
              <a:gd name="connsiteY3898" fmla="*/ 47704 h 3403632"/>
              <a:gd name="connsiteX3899" fmla="*/ 3479489 w 3905665"/>
              <a:gd name="connsiteY3899" fmla="*/ 18234 h 3403632"/>
              <a:gd name="connsiteX3900" fmla="*/ 3266343 w 3905665"/>
              <a:gd name="connsiteY3900" fmla="*/ 0 h 3403632"/>
              <a:gd name="connsiteX3901" fmla="*/ 3339442 w 3905665"/>
              <a:gd name="connsiteY3901" fmla="*/ 0 h 3403632"/>
              <a:gd name="connsiteX3902" fmla="*/ 3339671 w 3905665"/>
              <a:gd name="connsiteY3902" fmla="*/ 552 h 3403632"/>
              <a:gd name="connsiteX3903" fmla="*/ 3302891 w 3905665"/>
              <a:gd name="connsiteY3903" fmla="*/ 37331 h 3403632"/>
              <a:gd name="connsiteX3904" fmla="*/ 3266113 w 3905665"/>
              <a:gd name="connsiteY3904" fmla="*/ 552 h 3403632"/>
              <a:gd name="connsiteX3905" fmla="*/ 3042626 w 3905665"/>
              <a:gd name="connsiteY3905" fmla="*/ 0 h 3403632"/>
              <a:gd name="connsiteX3906" fmla="*/ 3119349 w 3905665"/>
              <a:gd name="connsiteY3906" fmla="*/ 0 h 3403632"/>
              <a:gd name="connsiteX3907" fmla="*/ 3119987 w 3905665"/>
              <a:gd name="connsiteY3907" fmla="*/ 1537 h 3403632"/>
              <a:gd name="connsiteX3908" fmla="*/ 3080986 w 3905665"/>
              <a:gd name="connsiteY3908" fmla="*/ 40535 h 3403632"/>
              <a:gd name="connsiteX3909" fmla="*/ 3041987 w 3905665"/>
              <a:gd name="connsiteY3909" fmla="*/ 1537 h 3403632"/>
              <a:gd name="connsiteX3910" fmla="*/ 2818599 w 3905665"/>
              <a:gd name="connsiteY3910" fmla="*/ 0 h 3403632"/>
              <a:gd name="connsiteX3911" fmla="*/ 2898827 w 3905665"/>
              <a:gd name="connsiteY3911" fmla="*/ 0 h 3403632"/>
              <a:gd name="connsiteX3912" fmla="*/ 2899567 w 3905665"/>
              <a:gd name="connsiteY3912" fmla="*/ 1779 h 3403632"/>
              <a:gd name="connsiteX3913" fmla="*/ 2858591 w 3905665"/>
              <a:gd name="connsiteY3913" fmla="*/ 42506 h 3403632"/>
              <a:gd name="connsiteX3914" fmla="*/ 2817864 w 3905665"/>
              <a:gd name="connsiteY3914" fmla="*/ 1779 h 3403632"/>
              <a:gd name="connsiteX3915" fmla="*/ 2745381 w 3905665"/>
              <a:gd name="connsiteY3915" fmla="*/ 0 h 3403632"/>
              <a:gd name="connsiteX3916" fmla="*/ 2763471 w 3905665"/>
              <a:gd name="connsiteY3916" fmla="*/ 0 h 3403632"/>
              <a:gd name="connsiteX3917" fmla="*/ 2754426 w 3905665"/>
              <a:gd name="connsiteY3917" fmla="*/ 3752 h 3403632"/>
              <a:gd name="connsiteX3918" fmla="*/ 2593499 w 3905665"/>
              <a:gd name="connsiteY3918" fmla="*/ 0 h 3403632"/>
              <a:gd name="connsiteX3919" fmla="*/ 2665561 w 3905665"/>
              <a:gd name="connsiteY3919" fmla="*/ 0 h 3403632"/>
              <a:gd name="connsiteX3920" fmla="*/ 2671601 w 3905665"/>
              <a:gd name="connsiteY3920" fmla="*/ 8950 h 3403632"/>
              <a:gd name="connsiteX3921" fmla="*/ 2675195 w 3905665"/>
              <a:gd name="connsiteY3921" fmla="*/ 26706 h 3403632"/>
              <a:gd name="connsiteX3922" fmla="*/ 2629529 w 3905665"/>
              <a:gd name="connsiteY3922" fmla="*/ 72370 h 3403632"/>
              <a:gd name="connsiteX3923" fmla="*/ 2583865 w 3905665"/>
              <a:gd name="connsiteY3923" fmla="*/ 26706 h 3403632"/>
              <a:gd name="connsiteX3924" fmla="*/ 2587460 w 3905665"/>
              <a:gd name="connsiteY3924" fmla="*/ 8950 h 3403632"/>
              <a:gd name="connsiteX3925" fmla="*/ 2506848 w 3905665"/>
              <a:gd name="connsiteY3925" fmla="*/ 0 h 3403632"/>
              <a:gd name="connsiteX3926" fmla="*/ 2555808 w 3905665"/>
              <a:gd name="connsiteY3926" fmla="*/ 0 h 3403632"/>
              <a:gd name="connsiteX3927" fmla="*/ 2531288 w 3905665"/>
              <a:gd name="connsiteY3927" fmla="*/ 10165 h 3403632"/>
              <a:gd name="connsiteX3928" fmla="*/ 2365758 w 3905665"/>
              <a:gd name="connsiteY3928" fmla="*/ 0 h 3403632"/>
              <a:gd name="connsiteX3929" fmla="*/ 2443571 w 3905665"/>
              <a:gd name="connsiteY3929" fmla="*/ 0 h 3403632"/>
              <a:gd name="connsiteX3930" fmla="*/ 2449234 w 3905665"/>
              <a:gd name="connsiteY3930" fmla="*/ 8388 h 3403632"/>
              <a:gd name="connsiteX3931" fmla="*/ 2453044 w 3905665"/>
              <a:gd name="connsiteY3931" fmla="*/ 27194 h 3403632"/>
              <a:gd name="connsiteX3932" fmla="*/ 2404665 w 3905665"/>
              <a:gd name="connsiteY3932" fmla="*/ 75573 h 3403632"/>
              <a:gd name="connsiteX3933" fmla="*/ 2356285 w 3905665"/>
              <a:gd name="connsiteY3933" fmla="*/ 27194 h 3403632"/>
              <a:gd name="connsiteX3934" fmla="*/ 2360096 w 3905665"/>
              <a:gd name="connsiteY3934" fmla="*/ 8388 h 3403632"/>
              <a:gd name="connsiteX3935" fmla="*/ 2270415 w 3905665"/>
              <a:gd name="connsiteY3935" fmla="*/ 0 h 3403632"/>
              <a:gd name="connsiteX3936" fmla="*/ 2344913 w 3905665"/>
              <a:gd name="connsiteY3936" fmla="*/ 0 h 3403632"/>
              <a:gd name="connsiteX3937" fmla="*/ 2342061 w 3905665"/>
              <a:gd name="connsiteY3937" fmla="*/ 4237 h 3403632"/>
              <a:gd name="connsiteX3938" fmla="*/ 2307657 w 3905665"/>
              <a:gd name="connsiteY3938" fmla="*/ 18553 h 3403632"/>
              <a:gd name="connsiteX3939" fmla="*/ 2273348 w 3905665"/>
              <a:gd name="connsiteY3939" fmla="*/ 4329 h 3403632"/>
              <a:gd name="connsiteX3940" fmla="*/ 2136168 w 3905665"/>
              <a:gd name="connsiteY3940" fmla="*/ 0 h 3403632"/>
              <a:gd name="connsiteX3941" fmla="*/ 2221947 w 3905665"/>
              <a:gd name="connsiteY3941" fmla="*/ 0 h 3403632"/>
              <a:gd name="connsiteX3942" fmla="*/ 2225917 w 3905665"/>
              <a:gd name="connsiteY3942" fmla="*/ 5895 h 3403632"/>
              <a:gd name="connsiteX3943" fmla="*/ 2229905 w 3905665"/>
              <a:gd name="connsiteY3943" fmla="*/ 25711 h 3403632"/>
              <a:gd name="connsiteX3944" fmla="*/ 2179056 w 3905665"/>
              <a:gd name="connsiteY3944" fmla="*/ 76560 h 3403632"/>
              <a:gd name="connsiteX3945" fmla="*/ 2128209 w 3905665"/>
              <a:gd name="connsiteY3945" fmla="*/ 25711 h 3403632"/>
              <a:gd name="connsiteX3946" fmla="*/ 2132197 w 3905665"/>
              <a:gd name="connsiteY3946" fmla="*/ 5895 h 3403632"/>
              <a:gd name="connsiteX3947" fmla="*/ 2041801 w 3905665"/>
              <a:gd name="connsiteY3947" fmla="*/ 0 h 3403632"/>
              <a:gd name="connsiteX3948" fmla="*/ 2123168 w 3905665"/>
              <a:gd name="connsiteY3948" fmla="*/ 0 h 3403632"/>
              <a:gd name="connsiteX3949" fmla="*/ 2119293 w 3905665"/>
              <a:gd name="connsiteY3949" fmla="*/ 5746 h 3403632"/>
              <a:gd name="connsiteX3950" fmla="*/ 2082546 w 3905665"/>
              <a:gd name="connsiteY3950" fmla="*/ 21019 h 3403632"/>
              <a:gd name="connsiteX3951" fmla="*/ 2045767 w 3905665"/>
              <a:gd name="connsiteY3951" fmla="*/ 5838 h 3403632"/>
              <a:gd name="connsiteX3952" fmla="*/ 1918044 w 3905665"/>
              <a:gd name="connsiteY3952" fmla="*/ 0 h 3403632"/>
              <a:gd name="connsiteX3953" fmla="*/ 1984879 w 3905665"/>
              <a:gd name="connsiteY3953" fmla="*/ 0 h 3403632"/>
              <a:gd name="connsiteX3954" fmla="*/ 1995165 w 3905665"/>
              <a:gd name="connsiteY3954" fmla="*/ 24722 h 3403632"/>
              <a:gd name="connsiteX3955" fmla="*/ 1951486 w 3905665"/>
              <a:gd name="connsiteY3955" fmla="*/ 68410 h 3403632"/>
              <a:gd name="connsiteX3956" fmla="*/ 1907799 w 3905665"/>
              <a:gd name="connsiteY3956" fmla="*/ 24722 h 3403632"/>
              <a:gd name="connsiteX3957" fmla="*/ 1798310 w 3905665"/>
              <a:gd name="connsiteY3957" fmla="*/ 0 h 3403632"/>
              <a:gd name="connsiteX3958" fmla="*/ 1898309 w 3905665"/>
              <a:gd name="connsiteY3958" fmla="*/ 0 h 3403632"/>
              <a:gd name="connsiteX3959" fmla="*/ 1896072 w 3905665"/>
              <a:gd name="connsiteY3959" fmla="*/ 11083 h 3403632"/>
              <a:gd name="connsiteX3960" fmla="*/ 1848309 w 3905665"/>
              <a:gd name="connsiteY3960" fmla="*/ 42738 h 3403632"/>
              <a:gd name="connsiteX3961" fmla="*/ 1800547 w 3905665"/>
              <a:gd name="connsiteY3961" fmla="*/ 11083 h 3403632"/>
              <a:gd name="connsiteX3962" fmla="*/ 1705012 w 3905665"/>
              <a:gd name="connsiteY3962" fmla="*/ 0 h 3403632"/>
              <a:gd name="connsiteX3963" fmla="*/ 1721543 w 3905665"/>
              <a:gd name="connsiteY3963" fmla="*/ 0 h 3403632"/>
              <a:gd name="connsiteX3964" fmla="*/ 1747600 w 3905665"/>
              <a:gd name="connsiteY3964" fmla="*/ 10802 h 3403632"/>
              <a:gd name="connsiteX3965" fmla="*/ 1761917 w 3905665"/>
              <a:gd name="connsiteY3965" fmla="*/ 45204 h 3403632"/>
              <a:gd name="connsiteX3966" fmla="*/ 1713288 w 3905665"/>
              <a:gd name="connsiteY3966" fmla="*/ 93833 h 3403632"/>
              <a:gd name="connsiteX3967" fmla="*/ 1664662 w 3905665"/>
              <a:gd name="connsiteY3967" fmla="*/ 45204 h 3403632"/>
              <a:gd name="connsiteX3968" fmla="*/ 1678886 w 3905665"/>
              <a:gd name="connsiteY3968" fmla="*/ 10802 h 3403632"/>
              <a:gd name="connsiteX3969" fmla="*/ 1359697 w 3905665"/>
              <a:gd name="connsiteY3969" fmla="*/ 0 h 3403632"/>
              <a:gd name="connsiteX3970" fmla="*/ 1409259 w 3905665"/>
              <a:gd name="connsiteY3970" fmla="*/ 0 h 3403632"/>
              <a:gd name="connsiteX3971" fmla="*/ 1405206 w 3905665"/>
              <a:gd name="connsiteY3971" fmla="*/ 9721 h 3403632"/>
              <a:gd name="connsiteX3972" fmla="*/ 1384503 w 3905665"/>
              <a:gd name="connsiteY3972" fmla="*/ 18299 h 3403632"/>
              <a:gd name="connsiteX3973" fmla="*/ 1363706 w 3905665"/>
              <a:gd name="connsiteY3973" fmla="*/ 9721 h 3403632"/>
              <a:gd name="connsiteX3974" fmla="*/ 1113019 w 3905665"/>
              <a:gd name="connsiteY3974" fmla="*/ 0 h 3403632"/>
              <a:gd name="connsiteX3975" fmla="*/ 1179210 w 3905665"/>
              <a:gd name="connsiteY3975" fmla="*/ 0 h 3403632"/>
              <a:gd name="connsiteX3976" fmla="*/ 1173426 w 3905665"/>
              <a:gd name="connsiteY3976" fmla="*/ 13636 h 3403632"/>
              <a:gd name="connsiteX3977" fmla="*/ 1146057 w 3905665"/>
              <a:gd name="connsiteY3977" fmla="*/ 24960 h 3403632"/>
              <a:gd name="connsiteX3978" fmla="*/ 1118629 w 3905665"/>
              <a:gd name="connsiteY3978" fmla="*/ 13544 h 3403632"/>
              <a:gd name="connsiteX3979" fmla="*/ 871753 w 3905665"/>
              <a:gd name="connsiteY3979" fmla="*/ 0 h 3403632"/>
              <a:gd name="connsiteX3980" fmla="*/ 908886 w 3905665"/>
              <a:gd name="connsiteY3980" fmla="*/ 0 h 3403632"/>
              <a:gd name="connsiteX3981" fmla="*/ 904405 w 3905665"/>
              <a:gd name="connsiteY3981" fmla="*/ 10643 h 3403632"/>
              <a:gd name="connsiteX3982" fmla="*/ 890335 w 3905665"/>
              <a:gd name="connsiteY3982" fmla="*/ 16568 h 3403632"/>
              <a:gd name="connsiteX3983" fmla="*/ 876174 w 3905665"/>
              <a:gd name="connsiteY3983" fmla="*/ 10736 h 3403632"/>
              <a:gd name="connsiteX3984" fmla="*/ 600663 w 3905665"/>
              <a:gd name="connsiteY3984" fmla="*/ 0 h 3403632"/>
              <a:gd name="connsiteX3985" fmla="*/ 664150 w 3905665"/>
              <a:gd name="connsiteY3985" fmla="*/ 0 h 3403632"/>
              <a:gd name="connsiteX3986" fmla="*/ 659947 w 3905665"/>
              <a:gd name="connsiteY3986" fmla="*/ 10150 h 3403632"/>
              <a:gd name="connsiteX3987" fmla="*/ 632396 w 3905665"/>
              <a:gd name="connsiteY3987" fmla="*/ 21504 h 3403632"/>
              <a:gd name="connsiteX3988" fmla="*/ 604842 w 3905665"/>
              <a:gd name="connsiteY3988" fmla="*/ 10057 h 3403632"/>
              <a:gd name="connsiteX3989" fmla="*/ 421101 w 3905665"/>
              <a:gd name="connsiteY3989" fmla="*/ 0 h 3403632"/>
              <a:gd name="connsiteX3990" fmla="*/ 489230 w 3905665"/>
              <a:gd name="connsiteY3990" fmla="*/ 0 h 3403632"/>
              <a:gd name="connsiteX3991" fmla="*/ 494165 w 3905665"/>
              <a:gd name="connsiteY3991" fmla="*/ 11879 h 3403632"/>
              <a:gd name="connsiteX3992" fmla="*/ 455167 w 3905665"/>
              <a:gd name="connsiteY3992" fmla="*/ 50878 h 3403632"/>
              <a:gd name="connsiteX3993" fmla="*/ 416166 w 3905665"/>
              <a:gd name="connsiteY3993" fmla="*/ 11879 h 3403632"/>
              <a:gd name="connsiteX3994" fmla="*/ 352549 w 3905665"/>
              <a:gd name="connsiteY3994" fmla="*/ 0 h 3403632"/>
              <a:gd name="connsiteX3995" fmla="*/ 359819 w 3905665"/>
              <a:gd name="connsiteY3995" fmla="*/ 0 h 3403632"/>
              <a:gd name="connsiteX3996" fmla="*/ 356184 w 3905665"/>
              <a:gd name="connsiteY3996" fmla="*/ 1506 h 3403632"/>
              <a:gd name="connsiteX3997" fmla="*/ 217955 w 3905665"/>
              <a:gd name="connsiteY3997" fmla="*/ 0 h 3403632"/>
              <a:gd name="connsiteX3998" fmla="*/ 305814 w 3905665"/>
              <a:gd name="connsiteY3998" fmla="*/ 0 h 3403632"/>
              <a:gd name="connsiteX3999" fmla="*/ 308304 w 3905665"/>
              <a:gd name="connsiteY3999" fmla="*/ 3701 h 3403632"/>
              <a:gd name="connsiteX4000" fmla="*/ 312249 w 3905665"/>
              <a:gd name="connsiteY4000" fmla="*/ 23232 h 3403632"/>
              <a:gd name="connsiteX4001" fmla="*/ 261895 w 3905665"/>
              <a:gd name="connsiteY4001" fmla="*/ 73586 h 3403632"/>
              <a:gd name="connsiteX4002" fmla="*/ 211540 w 3905665"/>
              <a:gd name="connsiteY4002" fmla="*/ 23232 h 3403632"/>
              <a:gd name="connsiteX4003" fmla="*/ 215520 w 3905665"/>
              <a:gd name="connsiteY4003" fmla="*/ 3597 h 3403632"/>
              <a:gd name="connsiteX4004" fmla="*/ 32665 w 3905665"/>
              <a:gd name="connsiteY4004" fmla="*/ 0 h 3403632"/>
              <a:gd name="connsiteX4005" fmla="*/ 67129 w 3905665"/>
              <a:gd name="connsiteY4005" fmla="*/ 0 h 3403632"/>
              <a:gd name="connsiteX4006" fmla="*/ 68918 w 3905665"/>
              <a:gd name="connsiteY4006" fmla="*/ 4266 h 3403632"/>
              <a:gd name="connsiteX4007" fmla="*/ 49910 w 3905665"/>
              <a:gd name="connsiteY4007" fmla="*/ 23271 h 3403632"/>
              <a:gd name="connsiteX4008" fmla="*/ 30905 w 3905665"/>
              <a:gd name="connsiteY4008" fmla="*/ 4266 h 3403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Lst>
            <a:rect l="l" t="t" r="r" b="b"/>
            <a:pathLst>
              <a:path w="3905665" h="3403632">
                <a:moveTo>
                  <a:pt x="59039" y="3396225"/>
                </a:moveTo>
                <a:cubicBezTo>
                  <a:pt x="61014" y="3396225"/>
                  <a:pt x="62742" y="3397954"/>
                  <a:pt x="62742" y="3399928"/>
                </a:cubicBezTo>
                <a:cubicBezTo>
                  <a:pt x="62742" y="3402149"/>
                  <a:pt x="61014" y="3403632"/>
                  <a:pt x="59039" y="3403632"/>
                </a:cubicBezTo>
                <a:cubicBezTo>
                  <a:pt x="56816" y="3403632"/>
                  <a:pt x="55336" y="3401903"/>
                  <a:pt x="55336" y="3399928"/>
                </a:cubicBezTo>
                <a:cubicBezTo>
                  <a:pt x="55336" y="3397954"/>
                  <a:pt x="57064" y="3396225"/>
                  <a:pt x="59039" y="3396225"/>
                </a:cubicBezTo>
                <a:close/>
                <a:moveTo>
                  <a:pt x="175052" y="3387585"/>
                </a:moveTo>
                <a:cubicBezTo>
                  <a:pt x="177273" y="3387585"/>
                  <a:pt x="179001" y="3389314"/>
                  <a:pt x="179001" y="3391534"/>
                </a:cubicBezTo>
                <a:cubicBezTo>
                  <a:pt x="179001" y="3393755"/>
                  <a:pt x="177273" y="3395484"/>
                  <a:pt x="175052" y="3395484"/>
                </a:cubicBezTo>
                <a:cubicBezTo>
                  <a:pt x="172831" y="3395484"/>
                  <a:pt x="171103" y="3393755"/>
                  <a:pt x="171103" y="3391534"/>
                </a:cubicBezTo>
                <a:cubicBezTo>
                  <a:pt x="171103" y="3389314"/>
                  <a:pt x="172831" y="3387585"/>
                  <a:pt x="175052" y="3387585"/>
                </a:cubicBezTo>
                <a:close/>
                <a:moveTo>
                  <a:pt x="290815" y="3375737"/>
                </a:moveTo>
                <a:cubicBezTo>
                  <a:pt x="293038" y="3375737"/>
                  <a:pt x="295013" y="3377712"/>
                  <a:pt x="295013" y="3379933"/>
                </a:cubicBezTo>
                <a:cubicBezTo>
                  <a:pt x="295013" y="3382156"/>
                  <a:pt x="293284" y="3384128"/>
                  <a:pt x="290815" y="3384128"/>
                </a:cubicBezTo>
                <a:cubicBezTo>
                  <a:pt x="288348" y="3384128"/>
                  <a:pt x="286620" y="3382156"/>
                  <a:pt x="286620" y="3379933"/>
                </a:cubicBezTo>
                <a:cubicBezTo>
                  <a:pt x="286620" y="3377466"/>
                  <a:pt x="288594" y="3375737"/>
                  <a:pt x="290815" y="3375737"/>
                </a:cubicBezTo>
                <a:close/>
                <a:moveTo>
                  <a:pt x="406333" y="3360435"/>
                </a:moveTo>
                <a:cubicBezTo>
                  <a:pt x="408802" y="3360435"/>
                  <a:pt x="410777" y="3362410"/>
                  <a:pt x="410777" y="3364877"/>
                </a:cubicBezTo>
                <a:cubicBezTo>
                  <a:pt x="410777" y="3367346"/>
                  <a:pt x="408802" y="3369321"/>
                  <a:pt x="406333" y="3369321"/>
                </a:cubicBezTo>
                <a:cubicBezTo>
                  <a:pt x="403866" y="3369321"/>
                  <a:pt x="401891" y="3367346"/>
                  <a:pt x="401891" y="3364877"/>
                </a:cubicBezTo>
                <a:cubicBezTo>
                  <a:pt x="401891" y="3362410"/>
                  <a:pt x="403866" y="3360435"/>
                  <a:pt x="406333" y="3360435"/>
                </a:cubicBezTo>
                <a:close/>
                <a:moveTo>
                  <a:pt x="521111" y="3341921"/>
                </a:moveTo>
                <a:cubicBezTo>
                  <a:pt x="523824" y="3341921"/>
                  <a:pt x="525799" y="3343896"/>
                  <a:pt x="525799" y="3346611"/>
                </a:cubicBezTo>
                <a:cubicBezTo>
                  <a:pt x="525799" y="3349078"/>
                  <a:pt x="523824" y="3351302"/>
                  <a:pt x="521111" y="3351302"/>
                </a:cubicBezTo>
                <a:cubicBezTo>
                  <a:pt x="518396" y="3351302"/>
                  <a:pt x="516421" y="3349325"/>
                  <a:pt x="516421" y="3346611"/>
                </a:cubicBezTo>
                <a:cubicBezTo>
                  <a:pt x="516421" y="3343896"/>
                  <a:pt x="518396" y="3341921"/>
                  <a:pt x="521111" y="3341921"/>
                </a:cubicBezTo>
                <a:close/>
                <a:moveTo>
                  <a:pt x="635402" y="3319951"/>
                </a:moveTo>
                <a:cubicBezTo>
                  <a:pt x="638116" y="3319951"/>
                  <a:pt x="640337" y="3322172"/>
                  <a:pt x="640337" y="3324888"/>
                </a:cubicBezTo>
                <a:cubicBezTo>
                  <a:pt x="640337" y="3327604"/>
                  <a:pt x="638116" y="3329825"/>
                  <a:pt x="635402" y="3329825"/>
                </a:cubicBezTo>
                <a:cubicBezTo>
                  <a:pt x="632686" y="3329825"/>
                  <a:pt x="630464" y="3327604"/>
                  <a:pt x="630464" y="3324888"/>
                </a:cubicBezTo>
                <a:cubicBezTo>
                  <a:pt x="630464" y="3322172"/>
                  <a:pt x="632686" y="3319951"/>
                  <a:pt x="635402" y="3319951"/>
                </a:cubicBezTo>
                <a:close/>
                <a:moveTo>
                  <a:pt x="749190" y="3295022"/>
                </a:moveTo>
                <a:cubicBezTo>
                  <a:pt x="752151" y="3295022"/>
                  <a:pt x="754377" y="3297243"/>
                  <a:pt x="754377" y="3300205"/>
                </a:cubicBezTo>
                <a:cubicBezTo>
                  <a:pt x="754377" y="3302921"/>
                  <a:pt x="751905" y="3305388"/>
                  <a:pt x="749190" y="3305388"/>
                </a:cubicBezTo>
                <a:cubicBezTo>
                  <a:pt x="746229" y="3305388"/>
                  <a:pt x="744008" y="3303167"/>
                  <a:pt x="744008" y="3300205"/>
                </a:cubicBezTo>
                <a:cubicBezTo>
                  <a:pt x="744008" y="3297243"/>
                  <a:pt x="746229" y="3295022"/>
                  <a:pt x="749190" y="3295022"/>
                </a:cubicBezTo>
                <a:close/>
                <a:moveTo>
                  <a:pt x="58542" y="3287864"/>
                </a:moveTo>
                <a:cubicBezTo>
                  <a:pt x="60519" y="3287864"/>
                  <a:pt x="61999" y="3289344"/>
                  <a:pt x="61999" y="3291319"/>
                </a:cubicBezTo>
                <a:cubicBezTo>
                  <a:pt x="62245" y="3293047"/>
                  <a:pt x="60519" y="3294776"/>
                  <a:pt x="58542" y="3294776"/>
                </a:cubicBezTo>
                <a:cubicBezTo>
                  <a:pt x="56567" y="3294776"/>
                  <a:pt x="55087" y="3293296"/>
                  <a:pt x="55087" y="3291319"/>
                </a:cubicBezTo>
                <a:cubicBezTo>
                  <a:pt x="55087" y="3289344"/>
                  <a:pt x="56567" y="3287864"/>
                  <a:pt x="58542" y="3287864"/>
                </a:cubicBezTo>
                <a:close/>
                <a:moveTo>
                  <a:pt x="174803" y="3278732"/>
                </a:moveTo>
                <a:cubicBezTo>
                  <a:pt x="176778" y="3278732"/>
                  <a:pt x="178507" y="3280461"/>
                  <a:pt x="178507" y="3282435"/>
                </a:cubicBezTo>
                <a:cubicBezTo>
                  <a:pt x="178507" y="3284410"/>
                  <a:pt x="176778" y="3286136"/>
                  <a:pt x="174803" y="3286136"/>
                </a:cubicBezTo>
                <a:cubicBezTo>
                  <a:pt x="172829" y="3286136"/>
                  <a:pt x="171100" y="3284410"/>
                  <a:pt x="171100" y="3282435"/>
                </a:cubicBezTo>
                <a:cubicBezTo>
                  <a:pt x="171100" y="3280461"/>
                  <a:pt x="172829" y="3278732"/>
                  <a:pt x="174803" y="3278732"/>
                </a:cubicBezTo>
                <a:close/>
                <a:moveTo>
                  <a:pt x="290567" y="3266884"/>
                </a:moveTo>
                <a:cubicBezTo>
                  <a:pt x="292542" y="3266884"/>
                  <a:pt x="294270" y="3268613"/>
                  <a:pt x="294270" y="3270587"/>
                </a:cubicBezTo>
                <a:cubicBezTo>
                  <a:pt x="294270" y="3272562"/>
                  <a:pt x="292788" y="3274288"/>
                  <a:pt x="290567" y="3274288"/>
                </a:cubicBezTo>
                <a:cubicBezTo>
                  <a:pt x="288592" y="3274288"/>
                  <a:pt x="286864" y="3272562"/>
                  <a:pt x="286864" y="3270587"/>
                </a:cubicBezTo>
                <a:cubicBezTo>
                  <a:pt x="286864" y="3268613"/>
                  <a:pt x="288592" y="3266884"/>
                  <a:pt x="290567" y="3266884"/>
                </a:cubicBezTo>
                <a:close/>
                <a:moveTo>
                  <a:pt x="861997" y="3266635"/>
                </a:moveTo>
                <a:cubicBezTo>
                  <a:pt x="864958" y="3266635"/>
                  <a:pt x="867426" y="3269105"/>
                  <a:pt x="867426" y="3272067"/>
                </a:cubicBezTo>
                <a:cubicBezTo>
                  <a:pt x="867426" y="3275026"/>
                  <a:pt x="864958" y="3277496"/>
                  <a:pt x="861997" y="3277496"/>
                </a:cubicBezTo>
                <a:cubicBezTo>
                  <a:pt x="859032" y="3277496"/>
                  <a:pt x="856564" y="3275026"/>
                  <a:pt x="856564" y="3272067"/>
                </a:cubicBezTo>
                <a:cubicBezTo>
                  <a:pt x="856564" y="3269105"/>
                  <a:pt x="859032" y="3266635"/>
                  <a:pt x="861997" y="3266635"/>
                </a:cubicBezTo>
                <a:close/>
                <a:moveTo>
                  <a:pt x="406084" y="3251333"/>
                </a:moveTo>
                <a:cubicBezTo>
                  <a:pt x="408129" y="3251333"/>
                  <a:pt x="409785" y="3252992"/>
                  <a:pt x="409785" y="3255036"/>
                </a:cubicBezTo>
                <a:cubicBezTo>
                  <a:pt x="409785" y="3257081"/>
                  <a:pt x="408129" y="3258737"/>
                  <a:pt x="406084" y="3258737"/>
                </a:cubicBezTo>
                <a:cubicBezTo>
                  <a:pt x="404039" y="3258737"/>
                  <a:pt x="402381" y="3257081"/>
                  <a:pt x="402381" y="3255036"/>
                </a:cubicBezTo>
                <a:cubicBezTo>
                  <a:pt x="402381" y="3252989"/>
                  <a:pt x="404039" y="3251333"/>
                  <a:pt x="406084" y="3251333"/>
                </a:cubicBezTo>
                <a:close/>
                <a:moveTo>
                  <a:pt x="974058" y="3235040"/>
                </a:moveTo>
                <a:cubicBezTo>
                  <a:pt x="977266" y="3235040"/>
                  <a:pt x="979734" y="3237510"/>
                  <a:pt x="979734" y="3240718"/>
                </a:cubicBezTo>
                <a:cubicBezTo>
                  <a:pt x="979734" y="3243926"/>
                  <a:pt x="977266" y="3246396"/>
                  <a:pt x="974058" y="3246396"/>
                </a:cubicBezTo>
                <a:cubicBezTo>
                  <a:pt x="970847" y="3246396"/>
                  <a:pt x="968380" y="3243926"/>
                  <a:pt x="968380" y="3240718"/>
                </a:cubicBezTo>
                <a:cubicBezTo>
                  <a:pt x="968380" y="3237510"/>
                  <a:pt x="970847" y="3235040"/>
                  <a:pt x="974058" y="3235040"/>
                </a:cubicBezTo>
                <a:close/>
                <a:moveTo>
                  <a:pt x="520860" y="3232327"/>
                </a:moveTo>
                <a:cubicBezTo>
                  <a:pt x="523081" y="3232327"/>
                  <a:pt x="524809" y="3234056"/>
                  <a:pt x="524809" y="3236277"/>
                </a:cubicBezTo>
                <a:cubicBezTo>
                  <a:pt x="524809" y="3238498"/>
                  <a:pt x="523081" y="3240226"/>
                  <a:pt x="520860" y="3240226"/>
                </a:cubicBezTo>
                <a:cubicBezTo>
                  <a:pt x="518639" y="3240226"/>
                  <a:pt x="516910" y="3238498"/>
                  <a:pt x="516910" y="3236277"/>
                </a:cubicBezTo>
                <a:cubicBezTo>
                  <a:pt x="516910" y="3234056"/>
                  <a:pt x="518639" y="3232327"/>
                  <a:pt x="520860" y="3232327"/>
                </a:cubicBezTo>
                <a:close/>
                <a:moveTo>
                  <a:pt x="635153" y="3210357"/>
                </a:moveTo>
                <a:cubicBezTo>
                  <a:pt x="637372" y="3210357"/>
                  <a:pt x="639099" y="3212086"/>
                  <a:pt x="639099" y="3214307"/>
                </a:cubicBezTo>
                <a:cubicBezTo>
                  <a:pt x="639345" y="3216528"/>
                  <a:pt x="637618" y="3218256"/>
                  <a:pt x="635153" y="3218256"/>
                </a:cubicBezTo>
                <a:cubicBezTo>
                  <a:pt x="632932" y="3218256"/>
                  <a:pt x="631202" y="3216528"/>
                  <a:pt x="631202" y="3214307"/>
                </a:cubicBezTo>
                <a:cubicBezTo>
                  <a:pt x="631202" y="3212086"/>
                  <a:pt x="632932" y="3210357"/>
                  <a:pt x="635153" y="3210357"/>
                </a:cubicBezTo>
                <a:close/>
                <a:moveTo>
                  <a:pt x="1085117" y="3200237"/>
                </a:moveTo>
                <a:cubicBezTo>
                  <a:pt x="1088390" y="3200237"/>
                  <a:pt x="1091041" y="3202891"/>
                  <a:pt x="1091041" y="3206161"/>
                </a:cubicBezTo>
                <a:cubicBezTo>
                  <a:pt x="1091041" y="3209434"/>
                  <a:pt x="1088390" y="3212085"/>
                  <a:pt x="1085117" y="3212085"/>
                </a:cubicBezTo>
                <a:cubicBezTo>
                  <a:pt x="1081844" y="3212085"/>
                  <a:pt x="1079193" y="3209434"/>
                  <a:pt x="1079193" y="3206161"/>
                </a:cubicBezTo>
                <a:cubicBezTo>
                  <a:pt x="1079193" y="3202891"/>
                  <a:pt x="1081844" y="3200237"/>
                  <a:pt x="1085117" y="3200237"/>
                </a:cubicBezTo>
                <a:close/>
                <a:moveTo>
                  <a:pt x="748941" y="3184440"/>
                </a:moveTo>
                <a:cubicBezTo>
                  <a:pt x="751161" y="3184440"/>
                  <a:pt x="752890" y="3186169"/>
                  <a:pt x="752890" y="3188636"/>
                </a:cubicBezTo>
                <a:cubicBezTo>
                  <a:pt x="752890" y="3191105"/>
                  <a:pt x="751161" y="3192831"/>
                  <a:pt x="748941" y="3192831"/>
                </a:cubicBezTo>
                <a:cubicBezTo>
                  <a:pt x="746721" y="3192831"/>
                  <a:pt x="744746" y="3191105"/>
                  <a:pt x="744746" y="3188636"/>
                </a:cubicBezTo>
                <a:cubicBezTo>
                  <a:pt x="744746" y="3186169"/>
                  <a:pt x="746721" y="3184440"/>
                  <a:pt x="748941" y="3184440"/>
                </a:cubicBezTo>
                <a:close/>
                <a:moveTo>
                  <a:pt x="58788" y="3178269"/>
                </a:moveTo>
                <a:cubicBezTo>
                  <a:pt x="61009" y="3178269"/>
                  <a:pt x="62984" y="3180244"/>
                  <a:pt x="62984" y="3182465"/>
                </a:cubicBezTo>
                <a:cubicBezTo>
                  <a:pt x="62737" y="3184688"/>
                  <a:pt x="61009" y="3186660"/>
                  <a:pt x="58788" y="3186660"/>
                </a:cubicBezTo>
                <a:cubicBezTo>
                  <a:pt x="56567" y="3186660"/>
                  <a:pt x="54593" y="3184934"/>
                  <a:pt x="54593" y="3182465"/>
                </a:cubicBezTo>
                <a:cubicBezTo>
                  <a:pt x="54593" y="3180244"/>
                  <a:pt x="56567" y="3178269"/>
                  <a:pt x="58788" y="3178269"/>
                </a:cubicBezTo>
                <a:close/>
                <a:moveTo>
                  <a:pt x="174798" y="3169137"/>
                </a:moveTo>
                <a:cubicBezTo>
                  <a:pt x="177268" y="3169137"/>
                  <a:pt x="179242" y="3171112"/>
                  <a:pt x="179242" y="3173579"/>
                </a:cubicBezTo>
                <a:cubicBezTo>
                  <a:pt x="179488" y="3176048"/>
                  <a:pt x="177268" y="3178023"/>
                  <a:pt x="174798" y="3178023"/>
                </a:cubicBezTo>
                <a:cubicBezTo>
                  <a:pt x="172331" y="3178023"/>
                  <a:pt x="170356" y="3176048"/>
                  <a:pt x="170356" y="3173579"/>
                </a:cubicBezTo>
                <a:cubicBezTo>
                  <a:pt x="170356" y="3171112"/>
                  <a:pt x="172331" y="3169137"/>
                  <a:pt x="174798" y="3169137"/>
                </a:cubicBezTo>
                <a:close/>
                <a:moveTo>
                  <a:pt x="1195210" y="3162472"/>
                </a:moveTo>
                <a:cubicBezTo>
                  <a:pt x="1198668" y="3162472"/>
                  <a:pt x="1201383" y="3165188"/>
                  <a:pt x="1201383" y="3168642"/>
                </a:cubicBezTo>
                <a:cubicBezTo>
                  <a:pt x="1201383" y="3172099"/>
                  <a:pt x="1198668" y="3174815"/>
                  <a:pt x="1195210" y="3174815"/>
                </a:cubicBezTo>
                <a:cubicBezTo>
                  <a:pt x="1191756" y="3174815"/>
                  <a:pt x="1189040" y="3172099"/>
                  <a:pt x="1189040" y="3168642"/>
                </a:cubicBezTo>
                <a:cubicBezTo>
                  <a:pt x="1189040" y="3165188"/>
                  <a:pt x="1191756" y="3162472"/>
                  <a:pt x="1195210" y="3162472"/>
                </a:cubicBezTo>
                <a:close/>
                <a:moveTo>
                  <a:pt x="290810" y="3156302"/>
                </a:moveTo>
                <a:cubicBezTo>
                  <a:pt x="293525" y="3156302"/>
                  <a:pt x="295746" y="3158523"/>
                  <a:pt x="295746" y="3161239"/>
                </a:cubicBezTo>
                <a:cubicBezTo>
                  <a:pt x="295746" y="3163954"/>
                  <a:pt x="293525" y="3166175"/>
                  <a:pt x="290810" y="3166175"/>
                </a:cubicBezTo>
                <a:cubicBezTo>
                  <a:pt x="288094" y="3166175"/>
                  <a:pt x="285873" y="3163954"/>
                  <a:pt x="285873" y="3161239"/>
                </a:cubicBezTo>
                <a:cubicBezTo>
                  <a:pt x="285873" y="3158523"/>
                  <a:pt x="288094" y="3156302"/>
                  <a:pt x="290810" y="3156302"/>
                </a:cubicBezTo>
                <a:close/>
                <a:moveTo>
                  <a:pt x="861745" y="3155561"/>
                </a:moveTo>
                <a:cubicBezTo>
                  <a:pt x="863968" y="3155561"/>
                  <a:pt x="865941" y="3157536"/>
                  <a:pt x="865941" y="3159757"/>
                </a:cubicBezTo>
                <a:cubicBezTo>
                  <a:pt x="865941" y="3161980"/>
                  <a:pt x="863968" y="3163952"/>
                  <a:pt x="861745" y="3163952"/>
                </a:cubicBezTo>
                <a:cubicBezTo>
                  <a:pt x="859277" y="3163952"/>
                  <a:pt x="857549" y="3161980"/>
                  <a:pt x="857549" y="3159757"/>
                </a:cubicBezTo>
                <a:cubicBezTo>
                  <a:pt x="857549" y="3157536"/>
                  <a:pt x="859523" y="3155561"/>
                  <a:pt x="861745" y="3155561"/>
                </a:cubicBezTo>
                <a:close/>
                <a:moveTo>
                  <a:pt x="406328" y="3140256"/>
                </a:moveTo>
                <a:cubicBezTo>
                  <a:pt x="409290" y="3140256"/>
                  <a:pt x="411514" y="3142477"/>
                  <a:pt x="411514" y="3145439"/>
                </a:cubicBezTo>
                <a:cubicBezTo>
                  <a:pt x="411514" y="3148155"/>
                  <a:pt x="409044" y="3150625"/>
                  <a:pt x="406328" y="3150625"/>
                </a:cubicBezTo>
                <a:cubicBezTo>
                  <a:pt x="403366" y="3150625"/>
                  <a:pt x="401145" y="3148155"/>
                  <a:pt x="401145" y="3145439"/>
                </a:cubicBezTo>
                <a:cubicBezTo>
                  <a:pt x="401145" y="3142477"/>
                  <a:pt x="403366" y="3140256"/>
                  <a:pt x="406328" y="3140256"/>
                </a:cubicBezTo>
                <a:close/>
                <a:moveTo>
                  <a:pt x="973560" y="3123473"/>
                </a:moveTo>
                <a:cubicBezTo>
                  <a:pt x="976030" y="3123473"/>
                  <a:pt x="977756" y="3125448"/>
                  <a:pt x="977756" y="3127669"/>
                </a:cubicBezTo>
                <a:cubicBezTo>
                  <a:pt x="977756" y="3130138"/>
                  <a:pt x="976030" y="3131864"/>
                  <a:pt x="973560" y="3131864"/>
                </a:cubicBezTo>
                <a:cubicBezTo>
                  <a:pt x="971093" y="3131864"/>
                  <a:pt x="969364" y="3129892"/>
                  <a:pt x="969364" y="3127669"/>
                </a:cubicBezTo>
                <a:cubicBezTo>
                  <a:pt x="969364" y="3125202"/>
                  <a:pt x="971339" y="3123473"/>
                  <a:pt x="973560" y="3123473"/>
                </a:cubicBezTo>
                <a:close/>
                <a:moveTo>
                  <a:pt x="1304315" y="3121496"/>
                </a:moveTo>
                <a:cubicBezTo>
                  <a:pt x="1307770" y="3121496"/>
                  <a:pt x="1310732" y="3124458"/>
                  <a:pt x="1310732" y="3127915"/>
                </a:cubicBezTo>
                <a:cubicBezTo>
                  <a:pt x="1310486" y="3131370"/>
                  <a:pt x="1307770" y="3134086"/>
                  <a:pt x="1304315" y="3134086"/>
                </a:cubicBezTo>
                <a:cubicBezTo>
                  <a:pt x="1300859" y="3134086"/>
                  <a:pt x="1297897" y="3131370"/>
                  <a:pt x="1297897" y="3127915"/>
                </a:cubicBezTo>
                <a:cubicBezTo>
                  <a:pt x="1297897" y="3124458"/>
                  <a:pt x="1300859" y="3121496"/>
                  <a:pt x="1304315" y="3121496"/>
                </a:cubicBezTo>
                <a:close/>
                <a:moveTo>
                  <a:pt x="521104" y="3120263"/>
                </a:moveTo>
                <a:cubicBezTo>
                  <a:pt x="524312" y="3120263"/>
                  <a:pt x="526782" y="3122733"/>
                  <a:pt x="526782" y="3125941"/>
                </a:cubicBezTo>
                <a:cubicBezTo>
                  <a:pt x="526782" y="3129149"/>
                  <a:pt x="524312" y="3131616"/>
                  <a:pt x="521104" y="3131616"/>
                </a:cubicBezTo>
                <a:cubicBezTo>
                  <a:pt x="517896" y="3131616"/>
                  <a:pt x="515426" y="3129149"/>
                  <a:pt x="515426" y="3125941"/>
                </a:cubicBezTo>
                <a:cubicBezTo>
                  <a:pt x="515426" y="3122733"/>
                  <a:pt x="517896" y="3120263"/>
                  <a:pt x="521104" y="3120263"/>
                </a:cubicBezTo>
                <a:close/>
                <a:moveTo>
                  <a:pt x="635396" y="3096813"/>
                </a:moveTo>
                <a:cubicBezTo>
                  <a:pt x="638606" y="3096813"/>
                  <a:pt x="641319" y="3099529"/>
                  <a:pt x="641319" y="3102983"/>
                </a:cubicBezTo>
                <a:cubicBezTo>
                  <a:pt x="641319" y="3106440"/>
                  <a:pt x="638606" y="3109156"/>
                  <a:pt x="635396" y="3109156"/>
                </a:cubicBezTo>
                <a:cubicBezTo>
                  <a:pt x="631941" y="3109156"/>
                  <a:pt x="629226" y="3106440"/>
                  <a:pt x="629226" y="3102983"/>
                </a:cubicBezTo>
                <a:cubicBezTo>
                  <a:pt x="629226" y="3099775"/>
                  <a:pt x="631941" y="3096813"/>
                  <a:pt x="635396" y="3096813"/>
                </a:cubicBezTo>
                <a:close/>
                <a:moveTo>
                  <a:pt x="1084377" y="3087681"/>
                </a:moveTo>
                <a:cubicBezTo>
                  <a:pt x="1086844" y="3087681"/>
                  <a:pt x="1088818" y="3089656"/>
                  <a:pt x="1088818" y="3092125"/>
                </a:cubicBezTo>
                <a:cubicBezTo>
                  <a:pt x="1088818" y="3094592"/>
                  <a:pt x="1086844" y="3096567"/>
                  <a:pt x="1084377" y="3096567"/>
                </a:cubicBezTo>
                <a:cubicBezTo>
                  <a:pt x="1081907" y="3096567"/>
                  <a:pt x="1079932" y="3094592"/>
                  <a:pt x="1079932" y="3092125"/>
                </a:cubicBezTo>
                <a:cubicBezTo>
                  <a:pt x="1079932" y="3089656"/>
                  <a:pt x="1081907" y="3087681"/>
                  <a:pt x="1084377" y="3087681"/>
                </a:cubicBezTo>
                <a:close/>
                <a:moveTo>
                  <a:pt x="1411939" y="3077066"/>
                </a:moveTo>
                <a:cubicBezTo>
                  <a:pt x="1415640" y="3077066"/>
                  <a:pt x="1418602" y="3080028"/>
                  <a:pt x="1418602" y="3083731"/>
                </a:cubicBezTo>
                <a:cubicBezTo>
                  <a:pt x="1418602" y="3087681"/>
                  <a:pt x="1415640" y="3090397"/>
                  <a:pt x="1411939" y="3090397"/>
                </a:cubicBezTo>
                <a:cubicBezTo>
                  <a:pt x="1408236" y="3090397"/>
                  <a:pt x="1405274" y="3087435"/>
                  <a:pt x="1405274" y="3083731"/>
                </a:cubicBezTo>
                <a:cubicBezTo>
                  <a:pt x="1405274" y="3080028"/>
                  <a:pt x="1408236" y="3077066"/>
                  <a:pt x="1411939" y="3077066"/>
                </a:cubicBezTo>
                <a:close/>
                <a:moveTo>
                  <a:pt x="748939" y="3070650"/>
                </a:moveTo>
                <a:cubicBezTo>
                  <a:pt x="752393" y="3070650"/>
                  <a:pt x="755356" y="3073612"/>
                  <a:pt x="755356" y="3077069"/>
                </a:cubicBezTo>
                <a:cubicBezTo>
                  <a:pt x="755356" y="3080523"/>
                  <a:pt x="752393" y="3083485"/>
                  <a:pt x="748939" y="3083485"/>
                </a:cubicBezTo>
                <a:cubicBezTo>
                  <a:pt x="745235" y="3083485"/>
                  <a:pt x="742520" y="3080523"/>
                  <a:pt x="742520" y="3077069"/>
                </a:cubicBezTo>
                <a:cubicBezTo>
                  <a:pt x="742520" y="3073612"/>
                  <a:pt x="745482" y="3070650"/>
                  <a:pt x="748939" y="3070650"/>
                </a:cubicBezTo>
                <a:close/>
                <a:moveTo>
                  <a:pt x="57552" y="3069662"/>
                </a:moveTo>
                <a:cubicBezTo>
                  <a:pt x="59773" y="3069662"/>
                  <a:pt x="61502" y="3071391"/>
                  <a:pt x="61502" y="3073611"/>
                </a:cubicBezTo>
                <a:cubicBezTo>
                  <a:pt x="61255" y="3075832"/>
                  <a:pt x="59527" y="3077561"/>
                  <a:pt x="57552" y="3077561"/>
                </a:cubicBezTo>
                <a:cubicBezTo>
                  <a:pt x="55332" y="3077561"/>
                  <a:pt x="53603" y="3075832"/>
                  <a:pt x="53603" y="3073611"/>
                </a:cubicBezTo>
                <a:cubicBezTo>
                  <a:pt x="53603" y="3071391"/>
                  <a:pt x="55332" y="3069662"/>
                  <a:pt x="57552" y="3069662"/>
                </a:cubicBezTo>
                <a:close/>
                <a:moveTo>
                  <a:pt x="173069" y="3060530"/>
                </a:moveTo>
                <a:cubicBezTo>
                  <a:pt x="175290" y="3060530"/>
                  <a:pt x="177265" y="3062505"/>
                  <a:pt x="177265" y="3064726"/>
                </a:cubicBezTo>
                <a:cubicBezTo>
                  <a:pt x="177265" y="3066946"/>
                  <a:pt x="175539" y="3068921"/>
                  <a:pt x="173069" y="3068921"/>
                </a:cubicBezTo>
                <a:cubicBezTo>
                  <a:pt x="170849" y="3068921"/>
                  <a:pt x="168874" y="3066946"/>
                  <a:pt x="168874" y="3064726"/>
                </a:cubicBezTo>
                <a:cubicBezTo>
                  <a:pt x="168874" y="3062505"/>
                  <a:pt x="170849" y="3060530"/>
                  <a:pt x="173069" y="3060530"/>
                </a:cubicBezTo>
                <a:close/>
                <a:moveTo>
                  <a:pt x="1194221" y="3049174"/>
                </a:moveTo>
                <a:cubicBezTo>
                  <a:pt x="1196691" y="3049174"/>
                  <a:pt x="1198665" y="3051149"/>
                  <a:pt x="1198665" y="3053616"/>
                </a:cubicBezTo>
                <a:cubicBezTo>
                  <a:pt x="1198665" y="3056085"/>
                  <a:pt x="1196691" y="3058060"/>
                  <a:pt x="1194221" y="3058060"/>
                </a:cubicBezTo>
                <a:cubicBezTo>
                  <a:pt x="1191754" y="3058060"/>
                  <a:pt x="1189779" y="3056085"/>
                  <a:pt x="1189779" y="3053616"/>
                </a:cubicBezTo>
                <a:cubicBezTo>
                  <a:pt x="1189779" y="3051149"/>
                  <a:pt x="1191754" y="3049174"/>
                  <a:pt x="1194221" y="3049174"/>
                </a:cubicBezTo>
                <a:close/>
                <a:moveTo>
                  <a:pt x="288585" y="3047695"/>
                </a:moveTo>
                <a:cubicBezTo>
                  <a:pt x="291054" y="3047695"/>
                  <a:pt x="293029" y="3049670"/>
                  <a:pt x="293029" y="3052137"/>
                </a:cubicBezTo>
                <a:cubicBezTo>
                  <a:pt x="293029" y="3054606"/>
                  <a:pt x="291054" y="3056581"/>
                  <a:pt x="288585" y="3056581"/>
                </a:cubicBezTo>
                <a:cubicBezTo>
                  <a:pt x="286118" y="3056581"/>
                  <a:pt x="284143" y="3054606"/>
                  <a:pt x="284143" y="3052137"/>
                </a:cubicBezTo>
                <a:cubicBezTo>
                  <a:pt x="284143" y="3049670"/>
                  <a:pt x="286118" y="3047695"/>
                  <a:pt x="288585" y="3047695"/>
                </a:cubicBezTo>
                <a:close/>
                <a:moveTo>
                  <a:pt x="861496" y="3040288"/>
                </a:moveTo>
                <a:cubicBezTo>
                  <a:pt x="865200" y="3040288"/>
                  <a:pt x="868407" y="3043250"/>
                  <a:pt x="868407" y="3047199"/>
                </a:cubicBezTo>
                <a:cubicBezTo>
                  <a:pt x="868407" y="3050903"/>
                  <a:pt x="865200" y="3054111"/>
                  <a:pt x="861496" y="3054111"/>
                </a:cubicBezTo>
                <a:cubicBezTo>
                  <a:pt x="857792" y="3054111"/>
                  <a:pt x="854584" y="3051149"/>
                  <a:pt x="854584" y="3047199"/>
                </a:cubicBezTo>
                <a:cubicBezTo>
                  <a:pt x="854584" y="3043496"/>
                  <a:pt x="857546" y="3040288"/>
                  <a:pt x="861496" y="3040288"/>
                </a:cubicBezTo>
                <a:close/>
                <a:moveTo>
                  <a:pt x="403364" y="3031402"/>
                </a:moveTo>
                <a:cubicBezTo>
                  <a:pt x="406080" y="3031402"/>
                  <a:pt x="408054" y="3033623"/>
                  <a:pt x="408054" y="3036092"/>
                </a:cubicBezTo>
                <a:cubicBezTo>
                  <a:pt x="408300" y="3038559"/>
                  <a:pt x="406080" y="3040783"/>
                  <a:pt x="403364" y="3040783"/>
                </a:cubicBezTo>
                <a:cubicBezTo>
                  <a:pt x="400648" y="3040783"/>
                  <a:pt x="398673" y="3038559"/>
                  <a:pt x="398673" y="3036092"/>
                </a:cubicBezTo>
                <a:cubicBezTo>
                  <a:pt x="398673" y="3033377"/>
                  <a:pt x="400894" y="3031402"/>
                  <a:pt x="403364" y="3031402"/>
                </a:cubicBezTo>
                <a:close/>
                <a:moveTo>
                  <a:pt x="1518326" y="3030169"/>
                </a:moveTo>
                <a:cubicBezTo>
                  <a:pt x="1522029" y="3030169"/>
                  <a:pt x="1524991" y="3033131"/>
                  <a:pt x="1524991" y="3036834"/>
                </a:cubicBezTo>
                <a:cubicBezTo>
                  <a:pt x="1525237" y="3040784"/>
                  <a:pt x="1522029" y="3043746"/>
                  <a:pt x="1518326" y="3043746"/>
                </a:cubicBezTo>
                <a:cubicBezTo>
                  <a:pt x="1514622" y="3043746"/>
                  <a:pt x="1511414" y="3040784"/>
                  <a:pt x="1511414" y="3036834"/>
                </a:cubicBezTo>
                <a:cubicBezTo>
                  <a:pt x="1511414" y="3033131"/>
                  <a:pt x="1514376" y="3030169"/>
                  <a:pt x="1518326" y="3030169"/>
                </a:cubicBezTo>
                <a:close/>
                <a:moveTo>
                  <a:pt x="517648" y="3011163"/>
                </a:moveTo>
                <a:cubicBezTo>
                  <a:pt x="520364" y="3011163"/>
                  <a:pt x="522831" y="3013384"/>
                  <a:pt x="522831" y="3016100"/>
                </a:cubicBezTo>
                <a:cubicBezTo>
                  <a:pt x="522831" y="3019062"/>
                  <a:pt x="520610" y="3021283"/>
                  <a:pt x="517648" y="3021283"/>
                </a:cubicBezTo>
                <a:cubicBezTo>
                  <a:pt x="514932" y="3021283"/>
                  <a:pt x="512465" y="3019062"/>
                  <a:pt x="512465" y="3016100"/>
                </a:cubicBezTo>
                <a:cubicBezTo>
                  <a:pt x="512465" y="3013384"/>
                  <a:pt x="514686" y="3011163"/>
                  <a:pt x="517648" y="3011163"/>
                </a:cubicBezTo>
                <a:close/>
                <a:moveTo>
                  <a:pt x="973311" y="3006968"/>
                </a:moveTo>
                <a:cubicBezTo>
                  <a:pt x="977261" y="3006968"/>
                  <a:pt x="980472" y="3010176"/>
                  <a:pt x="980472" y="3014126"/>
                </a:cubicBezTo>
                <a:cubicBezTo>
                  <a:pt x="980472" y="3018075"/>
                  <a:pt x="977261" y="3021283"/>
                  <a:pt x="973311" y="3021283"/>
                </a:cubicBezTo>
                <a:cubicBezTo>
                  <a:pt x="969362" y="3021283"/>
                  <a:pt x="966154" y="3018075"/>
                  <a:pt x="966154" y="3014126"/>
                </a:cubicBezTo>
                <a:cubicBezTo>
                  <a:pt x="966154" y="3010176"/>
                  <a:pt x="969362" y="3006968"/>
                  <a:pt x="973311" y="3006968"/>
                </a:cubicBezTo>
                <a:close/>
                <a:moveTo>
                  <a:pt x="1302830" y="3006719"/>
                </a:moveTo>
                <a:cubicBezTo>
                  <a:pt x="1305298" y="3006719"/>
                  <a:pt x="1307518" y="3008694"/>
                  <a:pt x="1307518" y="3011409"/>
                </a:cubicBezTo>
                <a:cubicBezTo>
                  <a:pt x="1307518" y="3014125"/>
                  <a:pt x="1305298" y="3016100"/>
                  <a:pt x="1302830" y="3016100"/>
                </a:cubicBezTo>
                <a:cubicBezTo>
                  <a:pt x="1300361" y="3016100"/>
                  <a:pt x="1298140" y="3014125"/>
                  <a:pt x="1298140" y="3011409"/>
                </a:cubicBezTo>
                <a:cubicBezTo>
                  <a:pt x="1298140" y="3008940"/>
                  <a:pt x="1300115" y="3006719"/>
                  <a:pt x="1302830" y="3006719"/>
                </a:cubicBezTo>
                <a:close/>
                <a:moveTo>
                  <a:pt x="631443" y="2987467"/>
                </a:moveTo>
                <a:cubicBezTo>
                  <a:pt x="634407" y="2987467"/>
                  <a:pt x="636873" y="2989937"/>
                  <a:pt x="636873" y="2992899"/>
                </a:cubicBezTo>
                <a:cubicBezTo>
                  <a:pt x="636873" y="2995858"/>
                  <a:pt x="634407" y="2998328"/>
                  <a:pt x="631443" y="2998328"/>
                </a:cubicBezTo>
                <a:cubicBezTo>
                  <a:pt x="628482" y="2998328"/>
                  <a:pt x="626012" y="2995858"/>
                  <a:pt x="626012" y="2992899"/>
                </a:cubicBezTo>
                <a:cubicBezTo>
                  <a:pt x="626012" y="2989937"/>
                  <a:pt x="628482" y="2987467"/>
                  <a:pt x="631443" y="2987467"/>
                </a:cubicBezTo>
                <a:close/>
                <a:moveTo>
                  <a:pt x="1623482" y="2980061"/>
                </a:moveTo>
                <a:cubicBezTo>
                  <a:pt x="1627431" y="2980061"/>
                  <a:pt x="1630639" y="2983269"/>
                  <a:pt x="1630639" y="2986973"/>
                </a:cubicBezTo>
                <a:cubicBezTo>
                  <a:pt x="1630393" y="2990922"/>
                  <a:pt x="1627185" y="2994130"/>
                  <a:pt x="1623482" y="2994130"/>
                </a:cubicBezTo>
                <a:cubicBezTo>
                  <a:pt x="1619532" y="2994130"/>
                  <a:pt x="1616570" y="2990922"/>
                  <a:pt x="1616570" y="2986973"/>
                </a:cubicBezTo>
                <a:cubicBezTo>
                  <a:pt x="1616570" y="2983023"/>
                  <a:pt x="1619778" y="2980061"/>
                  <a:pt x="1623482" y="2980061"/>
                </a:cubicBezTo>
                <a:close/>
                <a:moveTo>
                  <a:pt x="1083879" y="2969941"/>
                </a:moveTo>
                <a:cubicBezTo>
                  <a:pt x="1088075" y="2969941"/>
                  <a:pt x="1091530" y="2973395"/>
                  <a:pt x="1091530" y="2977593"/>
                </a:cubicBezTo>
                <a:cubicBezTo>
                  <a:pt x="1091530" y="2981789"/>
                  <a:pt x="1088075" y="2985243"/>
                  <a:pt x="1083879" y="2985243"/>
                </a:cubicBezTo>
                <a:cubicBezTo>
                  <a:pt x="1079682" y="2985243"/>
                  <a:pt x="1076228" y="2981789"/>
                  <a:pt x="1076228" y="2977593"/>
                </a:cubicBezTo>
                <a:cubicBezTo>
                  <a:pt x="1076228" y="2973395"/>
                  <a:pt x="1079682" y="2969941"/>
                  <a:pt x="1083879" y="2969941"/>
                </a:cubicBezTo>
                <a:close/>
                <a:moveTo>
                  <a:pt x="1410208" y="2961796"/>
                </a:moveTo>
                <a:cubicBezTo>
                  <a:pt x="1412675" y="2961796"/>
                  <a:pt x="1414898" y="2963771"/>
                  <a:pt x="1414898" y="2966484"/>
                </a:cubicBezTo>
                <a:cubicBezTo>
                  <a:pt x="1414898" y="2969200"/>
                  <a:pt x="1412675" y="2971174"/>
                  <a:pt x="1410208" y="2971174"/>
                </a:cubicBezTo>
                <a:cubicBezTo>
                  <a:pt x="1407492" y="2971174"/>
                  <a:pt x="1405517" y="2968953"/>
                  <a:pt x="1405517" y="2966484"/>
                </a:cubicBezTo>
                <a:cubicBezTo>
                  <a:pt x="1405517" y="2964017"/>
                  <a:pt x="1407738" y="2961796"/>
                  <a:pt x="1410208" y="2961796"/>
                </a:cubicBezTo>
                <a:close/>
                <a:moveTo>
                  <a:pt x="57055" y="2961550"/>
                </a:moveTo>
                <a:cubicBezTo>
                  <a:pt x="59030" y="2961550"/>
                  <a:pt x="60758" y="2963279"/>
                  <a:pt x="60758" y="2965005"/>
                </a:cubicBezTo>
                <a:cubicBezTo>
                  <a:pt x="60758" y="2966982"/>
                  <a:pt x="59030" y="2968708"/>
                  <a:pt x="57055" y="2968708"/>
                </a:cubicBezTo>
                <a:cubicBezTo>
                  <a:pt x="55080" y="2968708"/>
                  <a:pt x="53352" y="2967228"/>
                  <a:pt x="53352" y="2965005"/>
                </a:cubicBezTo>
                <a:cubicBezTo>
                  <a:pt x="53352" y="2963030"/>
                  <a:pt x="55080" y="2961550"/>
                  <a:pt x="57055" y="2961550"/>
                </a:cubicBezTo>
                <a:close/>
                <a:moveTo>
                  <a:pt x="744248" y="2960314"/>
                </a:moveTo>
                <a:cubicBezTo>
                  <a:pt x="747457" y="2960314"/>
                  <a:pt x="749923" y="2962784"/>
                  <a:pt x="749923" y="2965992"/>
                </a:cubicBezTo>
                <a:cubicBezTo>
                  <a:pt x="749923" y="2969200"/>
                  <a:pt x="747457" y="2971670"/>
                  <a:pt x="744248" y="2971670"/>
                </a:cubicBezTo>
                <a:cubicBezTo>
                  <a:pt x="741036" y="2971670"/>
                  <a:pt x="738570" y="2969200"/>
                  <a:pt x="738570" y="2965992"/>
                </a:cubicBezTo>
                <a:cubicBezTo>
                  <a:pt x="738570" y="2962784"/>
                  <a:pt x="741036" y="2960314"/>
                  <a:pt x="744248" y="2960314"/>
                </a:cubicBezTo>
                <a:close/>
                <a:moveTo>
                  <a:pt x="172821" y="2951923"/>
                </a:moveTo>
                <a:cubicBezTo>
                  <a:pt x="174796" y="2951923"/>
                  <a:pt x="176524" y="2953652"/>
                  <a:pt x="176524" y="2955626"/>
                </a:cubicBezTo>
                <a:cubicBezTo>
                  <a:pt x="176524" y="2957847"/>
                  <a:pt x="175042" y="2959330"/>
                  <a:pt x="172821" y="2959330"/>
                </a:cubicBezTo>
                <a:cubicBezTo>
                  <a:pt x="170846" y="2959330"/>
                  <a:pt x="169118" y="2957601"/>
                  <a:pt x="169118" y="2955626"/>
                </a:cubicBezTo>
                <a:cubicBezTo>
                  <a:pt x="169118" y="2953652"/>
                  <a:pt x="170846" y="2951923"/>
                  <a:pt x="172821" y="2951923"/>
                </a:cubicBezTo>
                <a:close/>
                <a:moveTo>
                  <a:pt x="288336" y="2938592"/>
                </a:moveTo>
                <a:cubicBezTo>
                  <a:pt x="290557" y="2938592"/>
                  <a:pt x="292286" y="2940321"/>
                  <a:pt x="292286" y="2942541"/>
                </a:cubicBezTo>
                <a:cubicBezTo>
                  <a:pt x="292039" y="2944762"/>
                  <a:pt x="290311" y="2946491"/>
                  <a:pt x="288336" y="2946491"/>
                </a:cubicBezTo>
                <a:cubicBezTo>
                  <a:pt x="286115" y="2946491"/>
                  <a:pt x="284387" y="2944762"/>
                  <a:pt x="284387" y="2942541"/>
                </a:cubicBezTo>
                <a:cubicBezTo>
                  <a:pt x="284387" y="2940321"/>
                  <a:pt x="286115" y="2938592"/>
                  <a:pt x="288336" y="2938592"/>
                </a:cubicBezTo>
                <a:close/>
                <a:moveTo>
                  <a:pt x="1193231" y="2929955"/>
                </a:moveTo>
                <a:cubicBezTo>
                  <a:pt x="1197675" y="2929955"/>
                  <a:pt x="1201376" y="2933658"/>
                  <a:pt x="1201376" y="2937854"/>
                </a:cubicBezTo>
                <a:cubicBezTo>
                  <a:pt x="1201376" y="2942298"/>
                  <a:pt x="1197675" y="2945999"/>
                  <a:pt x="1193231" y="2945999"/>
                </a:cubicBezTo>
                <a:cubicBezTo>
                  <a:pt x="1188787" y="2945999"/>
                  <a:pt x="1185332" y="2942298"/>
                  <a:pt x="1185332" y="2937854"/>
                </a:cubicBezTo>
                <a:cubicBezTo>
                  <a:pt x="1185332" y="2933410"/>
                  <a:pt x="1189035" y="2929955"/>
                  <a:pt x="1193231" y="2929955"/>
                </a:cubicBezTo>
                <a:close/>
                <a:moveTo>
                  <a:pt x="856310" y="2929955"/>
                </a:moveTo>
                <a:cubicBezTo>
                  <a:pt x="859518" y="2929955"/>
                  <a:pt x="862235" y="2932671"/>
                  <a:pt x="862235" y="2935879"/>
                </a:cubicBezTo>
                <a:cubicBezTo>
                  <a:pt x="862235" y="2939087"/>
                  <a:pt x="859518" y="2941803"/>
                  <a:pt x="856310" y="2941803"/>
                </a:cubicBezTo>
                <a:cubicBezTo>
                  <a:pt x="853102" y="2941803"/>
                  <a:pt x="850386" y="2939087"/>
                  <a:pt x="850386" y="2935879"/>
                </a:cubicBezTo>
                <a:cubicBezTo>
                  <a:pt x="850386" y="2932671"/>
                  <a:pt x="853102" y="2929955"/>
                  <a:pt x="856310" y="2929955"/>
                </a:cubicBezTo>
                <a:close/>
                <a:moveTo>
                  <a:pt x="1726904" y="2926993"/>
                </a:moveTo>
                <a:cubicBezTo>
                  <a:pt x="1730853" y="2926993"/>
                  <a:pt x="1734063" y="2930201"/>
                  <a:pt x="1734063" y="2934151"/>
                </a:cubicBezTo>
                <a:cubicBezTo>
                  <a:pt x="1734312" y="2938100"/>
                  <a:pt x="1730853" y="2941308"/>
                  <a:pt x="1726904" y="2941308"/>
                </a:cubicBezTo>
                <a:cubicBezTo>
                  <a:pt x="1722956" y="2941308"/>
                  <a:pt x="1719746" y="2938100"/>
                  <a:pt x="1719746" y="2934151"/>
                </a:cubicBezTo>
                <a:cubicBezTo>
                  <a:pt x="1719746" y="2930201"/>
                  <a:pt x="1722956" y="2926993"/>
                  <a:pt x="1726904" y="2926993"/>
                </a:cubicBezTo>
                <a:close/>
                <a:moveTo>
                  <a:pt x="403115" y="2922054"/>
                </a:moveTo>
                <a:cubicBezTo>
                  <a:pt x="405336" y="2922054"/>
                  <a:pt x="407064" y="2923783"/>
                  <a:pt x="407064" y="2926004"/>
                </a:cubicBezTo>
                <a:cubicBezTo>
                  <a:pt x="407064" y="2928225"/>
                  <a:pt x="405336" y="2929953"/>
                  <a:pt x="403115" y="2929953"/>
                </a:cubicBezTo>
                <a:cubicBezTo>
                  <a:pt x="400894" y="2929953"/>
                  <a:pt x="399166" y="2928225"/>
                  <a:pt x="399166" y="2926004"/>
                </a:cubicBezTo>
                <a:cubicBezTo>
                  <a:pt x="399166" y="2923783"/>
                  <a:pt x="400894" y="2922054"/>
                  <a:pt x="403115" y="2922054"/>
                </a:cubicBezTo>
                <a:close/>
                <a:moveTo>
                  <a:pt x="1516102" y="2913417"/>
                </a:moveTo>
                <a:cubicBezTo>
                  <a:pt x="1518818" y="2913417"/>
                  <a:pt x="1520793" y="2915638"/>
                  <a:pt x="1520793" y="2918108"/>
                </a:cubicBezTo>
                <a:cubicBezTo>
                  <a:pt x="1520793" y="2921070"/>
                  <a:pt x="1518818" y="2923045"/>
                  <a:pt x="1516102" y="2923045"/>
                </a:cubicBezTo>
                <a:cubicBezTo>
                  <a:pt x="1513386" y="2923045"/>
                  <a:pt x="1511165" y="2920824"/>
                  <a:pt x="1511165" y="2918108"/>
                </a:cubicBezTo>
                <a:cubicBezTo>
                  <a:pt x="1511165" y="2915392"/>
                  <a:pt x="1513386" y="2913417"/>
                  <a:pt x="1516102" y="2913417"/>
                </a:cubicBezTo>
                <a:close/>
                <a:moveTo>
                  <a:pt x="517396" y="2901569"/>
                </a:moveTo>
                <a:cubicBezTo>
                  <a:pt x="519617" y="2901569"/>
                  <a:pt x="521592" y="2903544"/>
                  <a:pt x="521592" y="2905765"/>
                </a:cubicBezTo>
                <a:cubicBezTo>
                  <a:pt x="521592" y="2907985"/>
                  <a:pt x="519617" y="2909960"/>
                  <a:pt x="517396" y="2909960"/>
                </a:cubicBezTo>
                <a:cubicBezTo>
                  <a:pt x="515175" y="2909960"/>
                  <a:pt x="513201" y="2907985"/>
                  <a:pt x="513201" y="2905765"/>
                </a:cubicBezTo>
                <a:cubicBezTo>
                  <a:pt x="513201" y="2903544"/>
                  <a:pt x="515175" y="2901569"/>
                  <a:pt x="517396" y="2901569"/>
                </a:cubicBezTo>
                <a:close/>
                <a:moveTo>
                  <a:pt x="967385" y="2896137"/>
                </a:moveTo>
                <a:cubicBezTo>
                  <a:pt x="970842" y="2896137"/>
                  <a:pt x="973557" y="2898853"/>
                  <a:pt x="973557" y="2902307"/>
                </a:cubicBezTo>
                <a:cubicBezTo>
                  <a:pt x="973557" y="2905515"/>
                  <a:pt x="970842" y="2908480"/>
                  <a:pt x="967385" y="2908480"/>
                </a:cubicBezTo>
                <a:cubicBezTo>
                  <a:pt x="963931" y="2908480"/>
                  <a:pt x="961215" y="2905764"/>
                  <a:pt x="961215" y="2902307"/>
                </a:cubicBezTo>
                <a:cubicBezTo>
                  <a:pt x="961215" y="2898853"/>
                  <a:pt x="963931" y="2896137"/>
                  <a:pt x="967385" y="2896137"/>
                </a:cubicBezTo>
                <a:close/>
                <a:moveTo>
                  <a:pt x="1301595" y="2886510"/>
                </a:moveTo>
                <a:cubicBezTo>
                  <a:pt x="1306283" y="2886510"/>
                  <a:pt x="1309986" y="2890213"/>
                  <a:pt x="1309986" y="2894901"/>
                </a:cubicBezTo>
                <a:cubicBezTo>
                  <a:pt x="1309986" y="2899345"/>
                  <a:pt x="1306283" y="2903295"/>
                  <a:pt x="1301595" y="2903295"/>
                </a:cubicBezTo>
                <a:cubicBezTo>
                  <a:pt x="1296904" y="2903295"/>
                  <a:pt x="1293201" y="2899592"/>
                  <a:pt x="1293201" y="2894901"/>
                </a:cubicBezTo>
                <a:cubicBezTo>
                  <a:pt x="1293201" y="2890213"/>
                  <a:pt x="1296904" y="2886510"/>
                  <a:pt x="1301595" y="2886510"/>
                </a:cubicBezTo>
                <a:close/>
                <a:moveTo>
                  <a:pt x="630946" y="2877626"/>
                </a:moveTo>
                <a:cubicBezTo>
                  <a:pt x="633416" y="2877626"/>
                  <a:pt x="635391" y="2879601"/>
                  <a:pt x="635391" y="2881822"/>
                </a:cubicBezTo>
                <a:cubicBezTo>
                  <a:pt x="635391" y="2884042"/>
                  <a:pt x="633416" y="2886017"/>
                  <a:pt x="630946" y="2886017"/>
                </a:cubicBezTo>
                <a:cubicBezTo>
                  <a:pt x="628479" y="2886017"/>
                  <a:pt x="626750" y="2884042"/>
                  <a:pt x="626750" y="2881822"/>
                </a:cubicBezTo>
                <a:cubicBezTo>
                  <a:pt x="626750" y="2879355"/>
                  <a:pt x="628725" y="2877626"/>
                  <a:pt x="630946" y="2877626"/>
                </a:cubicBezTo>
                <a:close/>
                <a:moveTo>
                  <a:pt x="1829091" y="2870961"/>
                </a:moveTo>
                <a:cubicBezTo>
                  <a:pt x="1833283" y="2870961"/>
                  <a:pt x="1836491" y="2874418"/>
                  <a:pt x="1836491" y="2878367"/>
                </a:cubicBezTo>
                <a:cubicBezTo>
                  <a:pt x="1836491" y="2882317"/>
                  <a:pt x="1833037" y="2885771"/>
                  <a:pt x="1829091" y="2885771"/>
                </a:cubicBezTo>
                <a:cubicBezTo>
                  <a:pt x="1824890" y="2885771"/>
                  <a:pt x="1821682" y="2882317"/>
                  <a:pt x="1821682" y="2878367"/>
                </a:cubicBezTo>
                <a:cubicBezTo>
                  <a:pt x="1821682" y="2874169"/>
                  <a:pt x="1825136" y="2870961"/>
                  <a:pt x="1829091" y="2870961"/>
                </a:cubicBezTo>
                <a:close/>
                <a:moveTo>
                  <a:pt x="1620517" y="2862075"/>
                </a:moveTo>
                <a:cubicBezTo>
                  <a:pt x="1623233" y="2862075"/>
                  <a:pt x="1625454" y="2864296"/>
                  <a:pt x="1625454" y="2867012"/>
                </a:cubicBezTo>
                <a:cubicBezTo>
                  <a:pt x="1625454" y="2869728"/>
                  <a:pt x="1623233" y="2871949"/>
                  <a:pt x="1620517" y="2871949"/>
                </a:cubicBezTo>
                <a:cubicBezTo>
                  <a:pt x="1617801" y="2871949"/>
                  <a:pt x="1615580" y="2869728"/>
                  <a:pt x="1615580" y="2867012"/>
                </a:cubicBezTo>
                <a:cubicBezTo>
                  <a:pt x="1615580" y="2864296"/>
                  <a:pt x="1617801" y="2862075"/>
                  <a:pt x="1620517" y="2862075"/>
                </a:cubicBezTo>
                <a:close/>
                <a:moveTo>
                  <a:pt x="1077215" y="2858372"/>
                </a:moveTo>
                <a:cubicBezTo>
                  <a:pt x="1080916" y="2858372"/>
                  <a:pt x="1083879" y="2861334"/>
                  <a:pt x="1083879" y="2865038"/>
                </a:cubicBezTo>
                <a:cubicBezTo>
                  <a:pt x="1083632" y="2868492"/>
                  <a:pt x="1080916" y="2871454"/>
                  <a:pt x="1077215" y="2871454"/>
                </a:cubicBezTo>
                <a:cubicBezTo>
                  <a:pt x="1073513" y="2871454"/>
                  <a:pt x="1070550" y="2868492"/>
                  <a:pt x="1070550" y="2865038"/>
                </a:cubicBezTo>
                <a:cubicBezTo>
                  <a:pt x="1070550" y="2861334"/>
                  <a:pt x="1073513" y="2858372"/>
                  <a:pt x="1077215" y="2858372"/>
                </a:cubicBezTo>
                <a:close/>
                <a:moveTo>
                  <a:pt x="56804" y="2852943"/>
                </a:moveTo>
                <a:cubicBezTo>
                  <a:pt x="58781" y="2852943"/>
                  <a:pt x="60014" y="2854423"/>
                  <a:pt x="60014" y="2856152"/>
                </a:cubicBezTo>
                <a:cubicBezTo>
                  <a:pt x="60261" y="2858126"/>
                  <a:pt x="58532" y="2859609"/>
                  <a:pt x="56804" y="2859609"/>
                </a:cubicBezTo>
                <a:cubicBezTo>
                  <a:pt x="54829" y="2859609"/>
                  <a:pt x="53349" y="2858126"/>
                  <a:pt x="53349" y="2856152"/>
                </a:cubicBezTo>
                <a:cubicBezTo>
                  <a:pt x="53349" y="2854423"/>
                  <a:pt x="54829" y="2852943"/>
                  <a:pt x="56804" y="2852943"/>
                </a:cubicBezTo>
                <a:close/>
                <a:moveTo>
                  <a:pt x="743749" y="2849732"/>
                </a:moveTo>
                <a:cubicBezTo>
                  <a:pt x="746218" y="2849732"/>
                  <a:pt x="748193" y="2851707"/>
                  <a:pt x="748193" y="2854174"/>
                </a:cubicBezTo>
                <a:cubicBezTo>
                  <a:pt x="748193" y="2856643"/>
                  <a:pt x="746218" y="2858618"/>
                  <a:pt x="743749" y="2858618"/>
                </a:cubicBezTo>
                <a:cubicBezTo>
                  <a:pt x="741279" y="2858618"/>
                  <a:pt x="739307" y="2856643"/>
                  <a:pt x="739307" y="2854174"/>
                </a:cubicBezTo>
                <a:cubicBezTo>
                  <a:pt x="739307" y="2851707"/>
                  <a:pt x="741279" y="2849732"/>
                  <a:pt x="743749" y="2849732"/>
                </a:cubicBezTo>
                <a:close/>
                <a:moveTo>
                  <a:pt x="172570" y="2843067"/>
                </a:moveTo>
                <a:cubicBezTo>
                  <a:pt x="174547" y="2843067"/>
                  <a:pt x="176027" y="2844549"/>
                  <a:pt x="176027" y="2846524"/>
                </a:cubicBezTo>
                <a:cubicBezTo>
                  <a:pt x="176027" y="2848499"/>
                  <a:pt x="174547" y="2849979"/>
                  <a:pt x="172570" y="2849979"/>
                </a:cubicBezTo>
                <a:cubicBezTo>
                  <a:pt x="170595" y="2849979"/>
                  <a:pt x="169115" y="2848499"/>
                  <a:pt x="169115" y="2846524"/>
                </a:cubicBezTo>
                <a:cubicBezTo>
                  <a:pt x="169115" y="2844796"/>
                  <a:pt x="170595" y="2843067"/>
                  <a:pt x="172570" y="2843067"/>
                </a:cubicBezTo>
                <a:close/>
                <a:moveTo>
                  <a:pt x="1408477" y="2839612"/>
                </a:moveTo>
                <a:cubicBezTo>
                  <a:pt x="1413414" y="2839612"/>
                  <a:pt x="1417363" y="2843561"/>
                  <a:pt x="1417363" y="2848498"/>
                </a:cubicBezTo>
                <a:cubicBezTo>
                  <a:pt x="1417363" y="2853435"/>
                  <a:pt x="1413414" y="2857384"/>
                  <a:pt x="1408477" y="2857384"/>
                </a:cubicBezTo>
                <a:cubicBezTo>
                  <a:pt x="1403540" y="2857384"/>
                  <a:pt x="1399591" y="2853435"/>
                  <a:pt x="1399591" y="2848498"/>
                </a:cubicBezTo>
                <a:cubicBezTo>
                  <a:pt x="1399591" y="2843561"/>
                  <a:pt x="1403540" y="2839612"/>
                  <a:pt x="1408477" y="2839612"/>
                </a:cubicBezTo>
                <a:close/>
                <a:moveTo>
                  <a:pt x="288088" y="2829739"/>
                </a:moveTo>
                <a:cubicBezTo>
                  <a:pt x="290063" y="2829739"/>
                  <a:pt x="291545" y="2831219"/>
                  <a:pt x="291545" y="2833194"/>
                </a:cubicBezTo>
                <a:cubicBezTo>
                  <a:pt x="291545" y="2835171"/>
                  <a:pt x="290063" y="2836651"/>
                  <a:pt x="288088" y="2836651"/>
                </a:cubicBezTo>
                <a:cubicBezTo>
                  <a:pt x="286113" y="2836651"/>
                  <a:pt x="284633" y="2835171"/>
                  <a:pt x="284633" y="2833194"/>
                </a:cubicBezTo>
                <a:cubicBezTo>
                  <a:pt x="284633" y="2831219"/>
                  <a:pt x="286113" y="2829739"/>
                  <a:pt x="288088" y="2829739"/>
                </a:cubicBezTo>
                <a:close/>
                <a:moveTo>
                  <a:pt x="855566" y="2818383"/>
                </a:moveTo>
                <a:cubicBezTo>
                  <a:pt x="858034" y="2818383"/>
                  <a:pt x="860008" y="2820358"/>
                  <a:pt x="860008" y="2822827"/>
                </a:cubicBezTo>
                <a:cubicBezTo>
                  <a:pt x="860257" y="2825540"/>
                  <a:pt x="858282" y="2827515"/>
                  <a:pt x="855566" y="2827515"/>
                </a:cubicBezTo>
                <a:cubicBezTo>
                  <a:pt x="853096" y="2827515"/>
                  <a:pt x="850876" y="2825540"/>
                  <a:pt x="850876" y="2822827"/>
                </a:cubicBezTo>
                <a:cubicBezTo>
                  <a:pt x="850876" y="2820358"/>
                  <a:pt x="852850" y="2818383"/>
                  <a:pt x="855566" y="2818383"/>
                </a:cubicBezTo>
                <a:close/>
                <a:moveTo>
                  <a:pt x="1185825" y="2817399"/>
                </a:moveTo>
                <a:cubicBezTo>
                  <a:pt x="1189528" y="2817399"/>
                  <a:pt x="1192737" y="2820361"/>
                  <a:pt x="1192737" y="2824310"/>
                </a:cubicBezTo>
                <a:cubicBezTo>
                  <a:pt x="1192737" y="2828260"/>
                  <a:pt x="1189528" y="2831222"/>
                  <a:pt x="1185825" y="2831222"/>
                </a:cubicBezTo>
                <a:cubicBezTo>
                  <a:pt x="1182122" y="2831222"/>
                  <a:pt x="1178914" y="2828260"/>
                  <a:pt x="1178914" y="2824310"/>
                </a:cubicBezTo>
                <a:cubicBezTo>
                  <a:pt x="1178914" y="2820607"/>
                  <a:pt x="1181876" y="2817399"/>
                  <a:pt x="1185825" y="2817399"/>
                </a:cubicBezTo>
                <a:close/>
                <a:moveTo>
                  <a:pt x="402864" y="2812459"/>
                </a:moveTo>
                <a:cubicBezTo>
                  <a:pt x="404841" y="2812459"/>
                  <a:pt x="406321" y="2813939"/>
                  <a:pt x="406321" y="2815916"/>
                </a:cubicBezTo>
                <a:cubicBezTo>
                  <a:pt x="406321" y="2817891"/>
                  <a:pt x="404841" y="2819371"/>
                  <a:pt x="402864" y="2819371"/>
                </a:cubicBezTo>
                <a:cubicBezTo>
                  <a:pt x="400889" y="2819371"/>
                  <a:pt x="399409" y="2817891"/>
                  <a:pt x="399409" y="2815916"/>
                </a:cubicBezTo>
                <a:cubicBezTo>
                  <a:pt x="399409" y="2813939"/>
                  <a:pt x="400889" y="2812459"/>
                  <a:pt x="402864" y="2812459"/>
                </a:cubicBezTo>
                <a:close/>
                <a:moveTo>
                  <a:pt x="1929299" y="2811967"/>
                </a:moveTo>
                <a:cubicBezTo>
                  <a:pt x="1933491" y="2811967"/>
                  <a:pt x="1936943" y="2815421"/>
                  <a:pt x="1936943" y="2819619"/>
                </a:cubicBezTo>
                <a:cubicBezTo>
                  <a:pt x="1937192" y="2823815"/>
                  <a:pt x="1933737" y="2827269"/>
                  <a:pt x="1929299" y="2827269"/>
                </a:cubicBezTo>
                <a:cubicBezTo>
                  <a:pt x="1925104" y="2827269"/>
                  <a:pt x="1921652" y="2823815"/>
                  <a:pt x="1921652" y="2819619"/>
                </a:cubicBezTo>
                <a:cubicBezTo>
                  <a:pt x="1921652" y="2815421"/>
                  <a:pt x="1925104" y="2811967"/>
                  <a:pt x="1929299" y="2811967"/>
                </a:cubicBezTo>
                <a:close/>
                <a:moveTo>
                  <a:pt x="1723447" y="2807771"/>
                </a:moveTo>
                <a:cubicBezTo>
                  <a:pt x="1726164" y="2807771"/>
                  <a:pt x="1728381" y="2809992"/>
                  <a:pt x="1728381" y="2812708"/>
                </a:cubicBezTo>
                <a:cubicBezTo>
                  <a:pt x="1728626" y="2815424"/>
                  <a:pt x="1726164" y="2817645"/>
                  <a:pt x="1723447" y="2817645"/>
                </a:cubicBezTo>
                <a:cubicBezTo>
                  <a:pt x="1720730" y="2817645"/>
                  <a:pt x="1718509" y="2815424"/>
                  <a:pt x="1718509" y="2812708"/>
                </a:cubicBezTo>
                <a:cubicBezTo>
                  <a:pt x="1718509" y="2809992"/>
                  <a:pt x="1720730" y="2807771"/>
                  <a:pt x="1723447" y="2807771"/>
                </a:cubicBezTo>
                <a:close/>
                <a:moveTo>
                  <a:pt x="517148" y="2791728"/>
                </a:moveTo>
                <a:cubicBezTo>
                  <a:pt x="519125" y="2791728"/>
                  <a:pt x="520605" y="2793208"/>
                  <a:pt x="520605" y="2795185"/>
                </a:cubicBezTo>
                <a:cubicBezTo>
                  <a:pt x="520605" y="2796911"/>
                  <a:pt x="519125" y="2798640"/>
                  <a:pt x="517148" y="2798640"/>
                </a:cubicBezTo>
                <a:cubicBezTo>
                  <a:pt x="515173" y="2798640"/>
                  <a:pt x="513693" y="2797160"/>
                  <a:pt x="513693" y="2795185"/>
                </a:cubicBezTo>
                <a:cubicBezTo>
                  <a:pt x="513693" y="2793208"/>
                  <a:pt x="515173" y="2791728"/>
                  <a:pt x="517148" y="2791728"/>
                </a:cubicBezTo>
                <a:close/>
                <a:moveTo>
                  <a:pt x="1513876" y="2789999"/>
                </a:moveTo>
                <a:cubicBezTo>
                  <a:pt x="1519061" y="2789999"/>
                  <a:pt x="1523011" y="2794195"/>
                  <a:pt x="1523011" y="2799131"/>
                </a:cubicBezTo>
                <a:cubicBezTo>
                  <a:pt x="1523011" y="2804068"/>
                  <a:pt x="1518812" y="2808266"/>
                  <a:pt x="1513876" y="2808266"/>
                </a:cubicBezTo>
                <a:cubicBezTo>
                  <a:pt x="1508693" y="2808266"/>
                  <a:pt x="1504743" y="2804068"/>
                  <a:pt x="1504743" y="2799131"/>
                </a:cubicBezTo>
                <a:cubicBezTo>
                  <a:pt x="1504743" y="2793948"/>
                  <a:pt x="1508939" y="2789999"/>
                  <a:pt x="1513876" y="2789999"/>
                </a:cubicBezTo>
                <a:close/>
                <a:moveTo>
                  <a:pt x="966395" y="2783580"/>
                </a:moveTo>
                <a:cubicBezTo>
                  <a:pt x="969110" y="2783580"/>
                  <a:pt x="971085" y="2785801"/>
                  <a:pt x="971085" y="2788268"/>
                </a:cubicBezTo>
                <a:cubicBezTo>
                  <a:pt x="971085" y="2790737"/>
                  <a:pt x="969110" y="2792958"/>
                  <a:pt x="966395" y="2792958"/>
                </a:cubicBezTo>
                <a:cubicBezTo>
                  <a:pt x="963679" y="2792958"/>
                  <a:pt x="961704" y="2790737"/>
                  <a:pt x="961704" y="2788268"/>
                </a:cubicBezTo>
                <a:cubicBezTo>
                  <a:pt x="961704" y="2785555"/>
                  <a:pt x="963925" y="2783580"/>
                  <a:pt x="966395" y="2783580"/>
                </a:cubicBezTo>
                <a:close/>
                <a:moveTo>
                  <a:pt x="1293199" y="2773215"/>
                </a:moveTo>
                <a:cubicBezTo>
                  <a:pt x="1297149" y="2773215"/>
                  <a:pt x="1300359" y="2776423"/>
                  <a:pt x="1300359" y="2780373"/>
                </a:cubicBezTo>
                <a:cubicBezTo>
                  <a:pt x="1300359" y="2784568"/>
                  <a:pt x="1297149" y="2787530"/>
                  <a:pt x="1293199" y="2787530"/>
                </a:cubicBezTo>
                <a:cubicBezTo>
                  <a:pt x="1289250" y="2787530"/>
                  <a:pt x="1286042" y="2784322"/>
                  <a:pt x="1286042" y="2780373"/>
                </a:cubicBezTo>
                <a:cubicBezTo>
                  <a:pt x="1286042" y="2776423"/>
                  <a:pt x="1289250" y="2773215"/>
                  <a:pt x="1293199" y="2773215"/>
                </a:cubicBezTo>
                <a:close/>
                <a:moveTo>
                  <a:pt x="630697" y="2767044"/>
                </a:moveTo>
                <a:cubicBezTo>
                  <a:pt x="632675" y="2767044"/>
                  <a:pt x="634156" y="2768524"/>
                  <a:pt x="634156" y="2770501"/>
                </a:cubicBezTo>
                <a:cubicBezTo>
                  <a:pt x="634156" y="2772476"/>
                  <a:pt x="632675" y="2773956"/>
                  <a:pt x="630697" y="2773956"/>
                </a:cubicBezTo>
                <a:cubicBezTo>
                  <a:pt x="628723" y="2773956"/>
                  <a:pt x="627243" y="2772476"/>
                  <a:pt x="627243" y="2770501"/>
                </a:cubicBezTo>
                <a:cubicBezTo>
                  <a:pt x="627243" y="2768524"/>
                  <a:pt x="628723" y="2767044"/>
                  <a:pt x="630697" y="2767044"/>
                </a:cubicBezTo>
                <a:close/>
                <a:moveTo>
                  <a:pt x="1824888" y="2750260"/>
                </a:moveTo>
                <a:cubicBezTo>
                  <a:pt x="1827603" y="2750260"/>
                  <a:pt x="1830073" y="2752481"/>
                  <a:pt x="1830073" y="2755443"/>
                </a:cubicBezTo>
                <a:cubicBezTo>
                  <a:pt x="1829826" y="2758159"/>
                  <a:pt x="1827603" y="2760626"/>
                  <a:pt x="1824888" y="2760626"/>
                </a:cubicBezTo>
                <a:cubicBezTo>
                  <a:pt x="1821924" y="2760626"/>
                  <a:pt x="1819690" y="2758405"/>
                  <a:pt x="1819690" y="2755443"/>
                </a:cubicBezTo>
                <a:cubicBezTo>
                  <a:pt x="1819690" y="2752730"/>
                  <a:pt x="1821924" y="2750260"/>
                  <a:pt x="1824888" y="2750260"/>
                </a:cubicBezTo>
                <a:close/>
                <a:moveTo>
                  <a:pt x="2027996" y="2749518"/>
                </a:moveTo>
                <a:cubicBezTo>
                  <a:pt x="2032686" y="2749518"/>
                  <a:pt x="2036387" y="2753221"/>
                  <a:pt x="2036387" y="2757909"/>
                </a:cubicBezTo>
                <a:cubicBezTo>
                  <a:pt x="2036387" y="2762600"/>
                  <a:pt x="2032686" y="2766303"/>
                  <a:pt x="2027996" y="2766303"/>
                </a:cubicBezTo>
                <a:cubicBezTo>
                  <a:pt x="2023305" y="2766303"/>
                  <a:pt x="2019602" y="2762600"/>
                  <a:pt x="2019602" y="2757909"/>
                </a:cubicBezTo>
                <a:cubicBezTo>
                  <a:pt x="2019602" y="2753221"/>
                  <a:pt x="2023305" y="2749518"/>
                  <a:pt x="2027996" y="2749518"/>
                </a:cubicBezTo>
                <a:close/>
                <a:moveTo>
                  <a:pt x="1075977" y="2745074"/>
                </a:moveTo>
                <a:cubicBezTo>
                  <a:pt x="1078693" y="2745074"/>
                  <a:pt x="1080914" y="2747297"/>
                  <a:pt x="1080914" y="2750011"/>
                </a:cubicBezTo>
                <a:cubicBezTo>
                  <a:pt x="1080914" y="2752726"/>
                  <a:pt x="1078693" y="2754947"/>
                  <a:pt x="1075977" y="2754947"/>
                </a:cubicBezTo>
                <a:cubicBezTo>
                  <a:pt x="1073261" y="2754947"/>
                  <a:pt x="1071040" y="2752726"/>
                  <a:pt x="1071040" y="2750011"/>
                </a:cubicBezTo>
                <a:cubicBezTo>
                  <a:pt x="1071040" y="2747297"/>
                  <a:pt x="1073261" y="2745074"/>
                  <a:pt x="1075977" y="2745074"/>
                </a:cubicBezTo>
                <a:close/>
                <a:moveTo>
                  <a:pt x="56804" y="2744333"/>
                </a:moveTo>
                <a:cubicBezTo>
                  <a:pt x="58283" y="2744333"/>
                  <a:pt x="59765" y="2745567"/>
                  <a:pt x="59765" y="2747295"/>
                </a:cubicBezTo>
                <a:cubicBezTo>
                  <a:pt x="59765" y="2749024"/>
                  <a:pt x="58283" y="2750257"/>
                  <a:pt x="56804" y="2750257"/>
                </a:cubicBezTo>
                <a:cubicBezTo>
                  <a:pt x="55321" y="2750257"/>
                  <a:pt x="54088" y="2749024"/>
                  <a:pt x="54088" y="2747295"/>
                </a:cubicBezTo>
                <a:cubicBezTo>
                  <a:pt x="54088" y="2745815"/>
                  <a:pt x="55321" y="2744333"/>
                  <a:pt x="56804" y="2744333"/>
                </a:cubicBezTo>
                <a:close/>
                <a:moveTo>
                  <a:pt x="743255" y="2738409"/>
                </a:moveTo>
                <a:cubicBezTo>
                  <a:pt x="745231" y="2738409"/>
                  <a:pt x="746711" y="2739889"/>
                  <a:pt x="746711" y="2741866"/>
                </a:cubicBezTo>
                <a:cubicBezTo>
                  <a:pt x="746958" y="2743841"/>
                  <a:pt x="745231" y="2745321"/>
                  <a:pt x="743255" y="2745321"/>
                </a:cubicBezTo>
                <a:cubicBezTo>
                  <a:pt x="741280" y="2745321"/>
                  <a:pt x="739799" y="2743841"/>
                  <a:pt x="739799" y="2741866"/>
                </a:cubicBezTo>
                <a:cubicBezTo>
                  <a:pt x="739799" y="2739889"/>
                  <a:pt x="741280" y="2738409"/>
                  <a:pt x="743255" y="2738409"/>
                </a:cubicBezTo>
                <a:close/>
                <a:moveTo>
                  <a:pt x="1617798" y="2736683"/>
                </a:moveTo>
                <a:cubicBezTo>
                  <a:pt x="1622981" y="2736683"/>
                  <a:pt x="1627423" y="2740879"/>
                  <a:pt x="1627423" y="2746310"/>
                </a:cubicBezTo>
                <a:cubicBezTo>
                  <a:pt x="1627423" y="2751493"/>
                  <a:pt x="1622981" y="2755935"/>
                  <a:pt x="1617798" y="2755935"/>
                </a:cubicBezTo>
                <a:cubicBezTo>
                  <a:pt x="1612612" y="2755935"/>
                  <a:pt x="1608170" y="2751740"/>
                  <a:pt x="1608170" y="2746310"/>
                </a:cubicBezTo>
                <a:cubicBezTo>
                  <a:pt x="1608170" y="2741127"/>
                  <a:pt x="1612366" y="2736683"/>
                  <a:pt x="1617798" y="2736683"/>
                </a:cubicBezTo>
                <a:close/>
                <a:moveTo>
                  <a:pt x="172570" y="2734708"/>
                </a:moveTo>
                <a:cubicBezTo>
                  <a:pt x="174049" y="2734708"/>
                  <a:pt x="175283" y="2735942"/>
                  <a:pt x="175283" y="2737424"/>
                </a:cubicBezTo>
                <a:cubicBezTo>
                  <a:pt x="175283" y="2738904"/>
                  <a:pt x="174049" y="2740140"/>
                  <a:pt x="172570" y="2740140"/>
                </a:cubicBezTo>
                <a:cubicBezTo>
                  <a:pt x="171087" y="2740140"/>
                  <a:pt x="170100" y="2738904"/>
                  <a:pt x="170100" y="2737424"/>
                </a:cubicBezTo>
                <a:cubicBezTo>
                  <a:pt x="170100" y="2735942"/>
                  <a:pt x="171334" y="2734708"/>
                  <a:pt x="172570" y="2734708"/>
                </a:cubicBezTo>
                <a:close/>
                <a:moveTo>
                  <a:pt x="1399096" y="2726068"/>
                </a:moveTo>
                <a:cubicBezTo>
                  <a:pt x="1403291" y="2726068"/>
                  <a:pt x="1406499" y="2729276"/>
                  <a:pt x="1406499" y="2733474"/>
                </a:cubicBezTo>
                <a:cubicBezTo>
                  <a:pt x="1406499" y="2737421"/>
                  <a:pt x="1403291" y="2740878"/>
                  <a:pt x="1399096" y="2740878"/>
                </a:cubicBezTo>
                <a:cubicBezTo>
                  <a:pt x="1395144" y="2740878"/>
                  <a:pt x="1391689" y="2737670"/>
                  <a:pt x="1391689" y="2733474"/>
                </a:cubicBezTo>
                <a:cubicBezTo>
                  <a:pt x="1391689" y="2729276"/>
                  <a:pt x="1394897" y="2726068"/>
                  <a:pt x="1399096" y="2726068"/>
                </a:cubicBezTo>
                <a:close/>
                <a:moveTo>
                  <a:pt x="288088" y="2721132"/>
                </a:moveTo>
                <a:cubicBezTo>
                  <a:pt x="289321" y="2721132"/>
                  <a:pt x="290555" y="2722119"/>
                  <a:pt x="290555" y="2723599"/>
                </a:cubicBezTo>
                <a:cubicBezTo>
                  <a:pt x="290555" y="2725081"/>
                  <a:pt x="289567" y="2726069"/>
                  <a:pt x="288088" y="2726069"/>
                </a:cubicBezTo>
                <a:cubicBezTo>
                  <a:pt x="286852" y="2726069"/>
                  <a:pt x="285618" y="2725081"/>
                  <a:pt x="285618" y="2723599"/>
                </a:cubicBezTo>
                <a:cubicBezTo>
                  <a:pt x="285618" y="2722366"/>
                  <a:pt x="286605" y="2721132"/>
                  <a:pt x="288088" y="2721132"/>
                </a:cubicBezTo>
                <a:close/>
                <a:moveTo>
                  <a:pt x="855068" y="2706322"/>
                </a:moveTo>
                <a:cubicBezTo>
                  <a:pt x="857046" y="2706322"/>
                  <a:pt x="858526" y="2707802"/>
                  <a:pt x="858526" y="2709777"/>
                </a:cubicBezTo>
                <a:cubicBezTo>
                  <a:pt x="858526" y="2711754"/>
                  <a:pt x="857046" y="2713234"/>
                  <a:pt x="855068" y="2713234"/>
                </a:cubicBezTo>
                <a:cubicBezTo>
                  <a:pt x="853096" y="2713234"/>
                  <a:pt x="851614" y="2711754"/>
                  <a:pt x="851614" y="2709777"/>
                </a:cubicBezTo>
                <a:cubicBezTo>
                  <a:pt x="851614" y="2707802"/>
                  <a:pt x="853096" y="2706322"/>
                  <a:pt x="855068" y="2706322"/>
                </a:cubicBezTo>
                <a:close/>
                <a:moveTo>
                  <a:pt x="403108" y="2703606"/>
                </a:moveTo>
                <a:cubicBezTo>
                  <a:pt x="404342" y="2703606"/>
                  <a:pt x="405332" y="2704594"/>
                  <a:pt x="405332" y="2705827"/>
                </a:cubicBezTo>
                <a:cubicBezTo>
                  <a:pt x="405083" y="2707063"/>
                  <a:pt x="404096" y="2708048"/>
                  <a:pt x="403108" y="2708048"/>
                </a:cubicBezTo>
                <a:cubicBezTo>
                  <a:pt x="401875" y="2708048"/>
                  <a:pt x="400887" y="2707063"/>
                  <a:pt x="400887" y="2705827"/>
                </a:cubicBezTo>
                <a:cubicBezTo>
                  <a:pt x="400887" y="2704594"/>
                  <a:pt x="401875" y="2703606"/>
                  <a:pt x="403108" y="2703606"/>
                </a:cubicBezTo>
                <a:close/>
                <a:moveTo>
                  <a:pt x="1184341" y="2703360"/>
                </a:moveTo>
                <a:cubicBezTo>
                  <a:pt x="1187057" y="2703360"/>
                  <a:pt x="1189278" y="2705581"/>
                  <a:pt x="1189278" y="2708297"/>
                </a:cubicBezTo>
                <a:cubicBezTo>
                  <a:pt x="1189278" y="2711013"/>
                  <a:pt x="1187057" y="2713234"/>
                  <a:pt x="1184341" y="2713234"/>
                </a:cubicBezTo>
                <a:cubicBezTo>
                  <a:pt x="1181625" y="2713234"/>
                  <a:pt x="1179404" y="2711013"/>
                  <a:pt x="1179404" y="2708297"/>
                </a:cubicBezTo>
                <a:cubicBezTo>
                  <a:pt x="1179404" y="2705581"/>
                  <a:pt x="1181625" y="2703360"/>
                  <a:pt x="1184341" y="2703360"/>
                </a:cubicBezTo>
                <a:close/>
                <a:moveTo>
                  <a:pt x="1924364" y="2689783"/>
                </a:moveTo>
                <a:cubicBezTo>
                  <a:pt x="1927321" y="2689783"/>
                  <a:pt x="1930034" y="2692253"/>
                  <a:pt x="1930034" y="2695215"/>
                </a:cubicBezTo>
                <a:cubicBezTo>
                  <a:pt x="1930034" y="2698174"/>
                  <a:pt x="1927321" y="2700644"/>
                  <a:pt x="1924364" y="2700644"/>
                </a:cubicBezTo>
                <a:cubicBezTo>
                  <a:pt x="1921404" y="2700644"/>
                  <a:pt x="1918936" y="2698174"/>
                  <a:pt x="1918936" y="2695215"/>
                </a:cubicBezTo>
                <a:cubicBezTo>
                  <a:pt x="1918936" y="2692253"/>
                  <a:pt x="1921404" y="2689783"/>
                  <a:pt x="1924364" y="2689783"/>
                </a:cubicBezTo>
                <a:close/>
                <a:moveTo>
                  <a:pt x="2125001" y="2684600"/>
                </a:moveTo>
                <a:cubicBezTo>
                  <a:pt x="2130184" y="2684600"/>
                  <a:pt x="2134133" y="2688796"/>
                  <a:pt x="2134133" y="2693732"/>
                </a:cubicBezTo>
                <a:cubicBezTo>
                  <a:pt x="2134133" y="2698669"/>
                  <a:pt x="2129938" y="2702864"/>
                  <a:pt x="2125001" y="2702864"/>
                </a:cubicBezTo>
                <a:cubicBezTo>
                  <a:pt x="2120065" y="2702864"/>
                  <a:pt x="2115869" y="2698669"/>
                  <a:pt x="2115869" y="2693732"/>
                </a:cubicBezTo>
                <a:cubicBezTo>
                  <a:pt x="2115869" y="2688549"/>
                  <a:pt x="2120065" y="2684600"/>
                  <a:pt x="2125001" y="2684600"/>
                </a:cubicBezTo>
                <a:close/>
                <a:moveTo>
                  <a:pt x="517146" y="2682379"/>
                </a:moveTo>
                <a:cubicBezTo>
                  <a:pt x="518133" y="2682379"/>
                  <a:pt x="519120" y="2683366"/>
                  <a:pt x="519120" y="2684354"/>
                </a:cubicBezTo>
                <a:cubicBezTo>
                  <a:pt x="519120" y="2685341"/>
                  <a:pt x="518379" y="2686328"/>
                  <a:pt x="517146" y="2686328"/>
                </a:cubicBezTo>
                <a:cubicBezTo>
                  <a:pt x="516159" y="2686328"/>
                  <a:pt x="515172" y="2685587"/>
                  <a:pt x="515172" y="2684354"/>
                </a:cubicBezTo>
                <a:cubicBezTo>
                  <a:pt x="515172" y="2683366"/>
                  <a:pt x="516159" y="2682379"/>
                  <a:pt x="517146" y="2682379"/>
                </a:cubicBezTo>
                <a:close/>
                <a:moveTo>
                  <a:pt x="1719988" y="2680405"/>
                </a:moveTo>
                <a:cubicBezTo>
                  <a:pt x="1725420" y="2680405"/>
                  <a:pt x="1730110" y="2684849"/>
                  <a:pt x="1730110" y="2690525"/>
                </a:cubicBezTo>
                <a:cubicBezTo>
                  <a:pt x="1729862" y="2695956"/>
                  <a:pt x="1725420" y="2700398"/>
                  <a:pt x="1719988" y="2700398"/>
                </a:cubicBezTo>
                <a:cubicBezTo>
                  <a:pt x="1714558" y="2700398"/>
                  <a:pt x="1710116" y="2695956"/>
                  <a:pt x="1710116" y="2690525"/>
                </a:cubicBezTo>
                <a:cubicBezTo>
                  <a:pt x="1710116" y="2685096"/>
                  <a:pt x="1714558" y="2680405"/>
                  <a:pt x="1719988" y="2680405"/>
                </a:cubicBezTo>
                <a:close/>
                <a:moveTo>
                  <a:pt x="1503507" y="2675219"/>
                </a:moveTo>
                <a:cubicBezTo>
                  <a:pt x="1507703" y="2675219"/>
                  <a:pt x="1511157" y="2678676"/>
                  <a:pt x="1511157" y="2682871"/>
                </a:cubicBezTo>
                <a:cubicBezTo>
                  <a:pt x="1511406" y="2687067"/>
                  <a:pt x="1507949" y="2690521"/>
                  <a:pt x="1503507" y="2690521"/>
                </a:cubicBezTo>
                <a:cubicBezTo>
                  <a:pt x="1499309" y="2690521"/>
                  <a:pt x="1495855" y="2687067"/>
                  <a:pt x="1495855" y="2682871"/>
                </a:cubicBezTo>
                <a:cubicBezTo>
                  <a:pt x="1495855" y="2678676"/>
                  <a:pt x="1499309" y="2675219"/>
                  <a:pt x="1503507" y="2675219"/>
                </a:cubicBezTo>
                <a:close/>
                <a:moveTo>
                  <a:pt x="965405" y="2670531"/>
                </a:moveTo>
                <a:cubicBezTo>
                  <a:pt x="967134" y="2670531"/>
                  <a:pt x="968862" y="2672011"/>
                  <a:pt x="968862" y="2673988"/>
                </a:cubicBezTo>
                <a:cubicBezTo>
                  <a:pt x="969109" y="2675963"/>
                  <a:pt x="967383" y="2677443"/>
                  <a:pt x="965405" y="2677443"/>
                </a:cubicBezTo>
                <a:cubicBezTo>
                  <a:pt x="963433" y="2677443"/>
                  <a:pt x="961951" y="2675963"/>
                  <a:pt x="961951" y="2673988"/>
                </a:cubicBezTo>
                <a:cubicBezTo>
                  <a:pt x="961951" y="2672011"/>
                  <a:pt x="963679" y="2670531"/>
                  <a:pt x="965405" y="2670531"/>
                </a:cubicBezTo>
                <a:close/>
                <a:moveTo>
                  <a:pt x="1291222" y="2657942"/>
                </a:moveTo>
                <a:cubicBezTo>
                  <a:pt x="1294185" y="2657942"/>
                  <a:pt x="1296406" y="2660166"/>
                  <a:pt x="1296406" y="2663125"/>
                </a:cubicBezTo>
                <a:cubicBezTo>
                  <a:pt x="1296406" y="2665841"/>
                  <a:pt x="1294185" y="2668311"/>
                  <a:pt x="1291222" y="2668311"/>
                </a:cubicBezTo>
                <a:cubicBezTo>
                  <a:pt x="1288260" y="2668311"/>
                  <a:pt x="1286039" y="2666087"/>
                  <a:pt x="1286039" y="2663125"/>
                </a:cubicBezTo>
                <a:cubicBezTo>
                  <a:pt x="1286039" y="2660166"/>
                  <a:pt x="1288260" y="2657942"/>
                  <a:pt x="1291222" y="2657942"/>
                </a:cubicBezTo>
                <a:close/>
                <a:moveTo>
                  <a:pt x="630698" y="2656955"/>
                </a:moveTo>
                <a:cubicBezTo>
                  <a:pt x="631685" y="2656955"/>
                  <a:pt x="632424" y="2657696"/>
                  <a:pt x="632424" y="2658683"/>
                </a:cubicBezTo>
                <a:cubicBezTo>
                  <a:pt x="632424" y="2659671"/>
                  <a:pt x="631685" y="2660409"/>
                  <a:pt x="630698" y="2660409"/>
                </a:cubicBezTo>
                <a:cubicBezTo>
                  <a:pt x="629710" y="2660409"/>
                  <a:pt x="628969" y="2659671"/>
                  <a:pt x="628969" y="2658683"/>
                </a:cubicBezTo>
                <a:cubicBezTo>
                  <a:pt x="628969" y="2657696"/>
                  <a:pt x="629710" y="2656955"/>
                  <a:pt x="630698" y="2656955"/>
                </a:cubicBezTo>
                <a:close/>
                <a:moveTo>
                  <a:pt x="56060" y="2635974"/>
                </a:moveTo>
                <a:cubicBezTo>
                  <a:pt x="57540" y="2635974"/>
                  <a:pt x="58776" y="2637208"/>
                  <a:pt x="58776" y="2638690"/>
                </a:cubicBezTo>
                <a:cubicBezTo>
                  <a:pt x="59022" y="2640170"/>
                  <a:pt x="57789" y="2641406"/>
                  <a:pt x="56060" y="2641406"/>
                </a:cubicBezTo>
                <a:cubicBezTo>
                  <a:pt x="54578" y="2641406"/>
                  <a:pt x="53345" y="2640170"/>
                  <a:pt x="53345" y="2638690"/>
                </a:cubicBezTo>
                <a:cubicBezTo>
                  <a:pt x="53345" y="2637208"/>
                  <a:pt x="54578" y="2635974"/>
                  <a:pt x="56060" y="2635974"/>
                </a:cubicBezTo>
                <a:close/>
                <a:moveTo>
                  <a:pt x="1074743" y="2631038"/>
                </a:moveTo>
                <a:cubicBezTo>
                  <a:pt x="1076718" y="2631038"/>
                  <a:pt x="1078197" y="2632518"/>
                  <a:pt x="1078197" y="2634495"/>
                </a:cubicBezTo>
                <a:cubicBezTo>
                  <a:pt x="1078197" y="2636470"/>
                  <a:pt x="1076718" y="2638196"/>
                  <a:pt x="1074743" y="2638196"/>
                </a:cubicBezTo>
                <a:cubicBezTo>
                  <a:pt x="1072768" y="2638196"/>
                  <a:pt x="1071039" y="2636716"/>
                  <a:pt x="1071039" y="2634495"/>
                </a:cubicBezTo>
                <a:cubicBezTo>
                  <a:pt x="1071039" y="2632518"/>
                  <a:pt x="1072768" y="2631038"/>
                  <a:pt x="1074743" y="2631038"/>
                </a:cubicBezTo>
                <a:close/>
                <a:moveTo>
                  <a:pt x="743006" y="2628076"/>
                </a:moveTo>
                <a:cubicBezTo>
                  <a:pt x="743746" y="2628076"/>
                  <a:pt x="744487" y="2628817"/>
                  <a:pt x="744487" y="2629556"/>
                </a:cubicBezTo>
                <a:cubicBezTo>
                  <a:pt x="744487" y="2630297"/>
                  <a:pt x="743992" y="2631038"/>
                  <a:pt x="743006" y="2631038"/>
                </a:cubicBezTo>
                <a:cubicBezTo>
                  <a:pt x="742265" y="2631038"/>
                  <a:pt x="741522" y="2630297"/>
                  <a:pt x="741522" y="2629556"/>
                </a:cubicBezTo>
                <a:cubicBezTo>
                  <a:pt x="741522" y="2628817"/>
                  <a:pt x="742265" y="2628076"/>
                  <a:pt x="743006" y="2628076"/>
                </a:cubicBezTo>
                <a:close/>
                <a:moveTo>
                  <a:pt x="2022072" y="2626101"/>
                </a:moveTo>
                <a:cubicBezTo>
                  <a:pt x="2025280" y="2626101"/>
                  <a:pt x="2027996" y="2628817"/>
                  <a:pt x="2027996" y="2632025"/>
                </a:cubicBezTo>
                <a:cubicBezTo>
                  <a:pt x="2027996" y="2635482"/>
                  <a:pt x="2025529" y="2637949"/>
                  <a:pt x="2022072" y="2637949"/>
                </a:cubicBezTo>
                <a:cubicBezTo>
                  <a:pt x="2018864" y="2637949"/>
                  <a:pt x="2016148" y="2635233"/>
                  <a:pt x="2016148" y="2632025"/>
                </a:cubicBezTo>
                <a:cubicBezTo>
                  <a:pt x="2016148" y="2628817"/>
                  <a:pt x="2018864" y="2626101"/>
                  <a:pt x="2022072" y="2626101"/>
                </a:cubicBezTo>
                <a:close/>
                <a:moveTo>
                  <a:pt x="172070" y="2626101"/>
                </a:moveTo>
                <a:cubicBezTo>
                  <a:pt x="173552" y="2626101"/>
                  <a:pt x="174539" y="2627335"/>
                  <a:pt x="174539" y="2628571"/>
                </a:cubicBezTo>
                <a:cubicBezTo>
                  <a:pt x="174539" y="2629804"/>
                  <a:pt x="173552" y="2631038"/>
                  <a:pt x="172070" y="2631038"/>
                </a:cubicBezTo>
                <a:cubicBezTo>
                  <a:pt x="170590" y="2631038"/>
                  <a:pt x="169603" y="2630050"/>
                  <a:pt x="169603" y="2628571"/>
                </a:cubicBezTo>
                <a:cubicBezTo>
                  <a:pt x="169603" y="2627088"/>
                  <a:pt x="170590" y="2626101"/>
                  <a:pt x="172070" y="2626101"/>
                </a:cubicBezTo>
                <a:close/>
                <a:moveTo>
                  <a:pt x="1820442" y="2621411"/>
                </a:moveTo>
                <a:cubicBezTo>
                  <a:pt x="1826119" y="2621411"/>
                  <a:pt x="1830813" y="2626102"/>
                  <a:pt x="1830813" y="2631777"/>
                </a:cubicBezTo>
                <a:cubicBezTo>
                  <a:pt x="1830813" y="2637455"/>
                  <a:pt x="1826119" y="2642146"/>
                  <a:pt x="1820442" y="2642146"/>
                </a:cubicBezTo>
                <a:cubicBezTo>
                  <a:pt x="1814768" y="2642146"/>
                  <a:pt x="1810081" y="2637455"/>
                  <a:pt x="1810081" y="2631777"/>
                </a:cubicBezTo>
                <a:cubicBezTo>
                  <a:pt x="1810081" y="2626102"/>
                  <a:pt x="1814768" y="2621411"/>
                  <a:pt x="1820442" y="2621411"/>
                </a:cubicBezTo>
                <a:close/>
                <a:moveTo>
                  <a:pt x="1606442" y="2621164"/>
                </a:moveTo>
                <a:cubicBezTo>
                  <a:pt x="1610887" y="2621164"/>
                  <a:pt x="1614588" y="2624867"/>
                  <a:pt x="1614588" y="2629309"/>
                </a:cubicBezTo>
                <a:cubicBezTo>
                  <a:pt x="1614588" y="2633754"/>
                  <a:pt x="1610887" y="2637208"/>
                  <a:pt x="1606442" y="2637208"/>
                </a:cubicBezTo>
                <a:cubicBezTo>
                  <a:pt x="1601998" y="2637208"/>
                  <a:pt x="1598543" y="2633507"/>
                  <a:pt x="1598543" y="2629309"/>
                </a:cubicBezTo>
                <a:cubicBezTo>
                  <a:pt x="1598543" y="2624867"/>
                  <a:pt x="1601998" y="2621164"/>
                  <a:pt x="1606442" y="2621164"/>
                </a:cubicBezTo>
                <a:close/>
                <a:moveTo>
                  <a:pt x="2220032" y="2616228"/>
                </a:moveTo>
                <a:cubicBezTo>
                  <a:pt x="2225463" y="2616228"/>
                  <a:pt x="2230154" y="2620670"/>
                  <a:pt x="2230154" y="2626348"/>
                </a:cubicBezTo>
                <a:cubicBezTo>
                  <a:pt x="2229905" y="2632025"/>
                  <a:pt x="2225463" y="2636467"/>
                  <a:pt x="2220032" y="2636467"/>
                </a:cubicBezTo>
                <a:cubicBezTo>
                  <a:pt x="2214603" y="2636467"/>
                  <a:pt x="2209912" y="2632025"/>
                  <a:pt x="2209912" y="2626348"/>
                </a:cubicBezTo>
                <a:cubicBezTo>
                  <a:pt x="2209912" y="2620916"/>
                  <a:pt x="2214354" y="2616228"/>
                  <a:pt x="2220032" y="2616228"/>
                </a:cubicBezTo>
                <a:close/>
                <a:moveTo>
                  <a:pt x="287591" y="2612032"/>
                </a:moveTo>
                <a:cubicBezTo>
                  <a:pt x="288825" y="2612032"/>
                  <a:pt x="289812" y="2613020"/>
                  <a:pt x="289812" y="2614253"/>
                </a:cubicBezTo>
                <a:cubicBezTo>
                  <a:pt x="289812" y="2615487"/>
                  <a:pt x="288825" y="2616474"/>
                  <a:pt x="287591" y="2616474"/>
                </a:cubicBezTo>
                <a:cubicBezTo>
                  <a:pt x="286357" y="2616474"/>
                  <a:pt x="285370" y="2615487"/>
                  <a:pt x="285370" y="2614253"/>
                </a:cubicBezTo>
                <a:cubicBezTo>
                  <a:pt x="285370" y="2613020"/>
                  <a:pt x="286357" y="2612032"/>
                  <a:pt x="287591" y="2612032"/>
                </a:cubicBezTo>
                <a:close/>
                <a:moveTo>
                  <a:pt x="1396624" y="2609316"/>
                </a:moveTo>
                <a:cubicBezTo>
                  <a:pt x="1399586" y="2609316"/>
                  <a:pt x="1402053" y="2611786"/>
                  <a:pt x="1402053" y="2614748"/>
                </a:cubicBezTo>
                <a:cubicBezTo>
                  <a:pt x="1402053" y="2617461"/>
                  <a:pt x="1399586" y="2619931"/>
                  <a:pt x="1396624" y="2619931"/>
                </a:cubicBezTo>
                <a:cubicBezTo>
                  <a:pt x="1393662" y="2619931"/>
                  <a:pt x="1391192" y="2617461"/>
                  <a:pt x="1391192" y="2614748"/>
                </a:cubicBezTo>
                <a:cubicBezTo>
                  <a:pt x="1391192" y="2611786"/>
                  <a:pt x="1393662" y="2609316"/>
                  <a:pt x="1396624" y="2609316"/>
                </a:cubicBezTo>
                <a:close/>
                <a:moveTo>
                  <a:pt x="402367" y="2593765"/>
                </a:moveTo>
                <a:cubicBezTo>
                  <a:pt x="403354" y="2593765"/>
                  <a:pt x="404341" y="2594752"/>
                  <a:pt x="404341" y="2595740"/>
                </a:cubicBezTo>
                <a:cubicBezTo>
                  <a:pt x="404341" y="2596973"/>
                  <a:pt x="403600" y="2597714"/>
                  <a:pt x="402367" y="2597714"/>
                </a:cubicBezTo>
                <a:cubicBezTo>
                  <a:pt x="401380" y="2597714"/>
                  <a:pt x="400392" y="2596727"/>
                  <a:pt x="400392" y="2595740"/>
                </a:cubicBezTo>
                <a:cubicBezTo>
                  <a:pt x="400392" y="2594752"/>
                  <a:pt x="401380" y="2593765"/>
                  <a:pt x="402367" y="2593765"/>
                </a:cubicBezTo>
                <a:close/>
                <a:moveTo>
                  <a:pt x="854575" y="2592778"/>
                </a:moveTo>
                <a:cubicBezTo>
                  <a:pt x="856552" y="2592778"/>
                  <a:pt x="858032" y="2594258"/>
                  <a:pt x="858032" y="2596233"/>
                </a:cubicBezTo>
                <a:cubicBezTo>
                  <a:pt x="858032" y="2598210"/>
                  <a:pt x="856552" y="2599690"/>
                  <a:pt x="854575" y="2599690"/>
                </a:cubicBezTo>
                <a:cubicBezTo>
                  <a:pt x="852599" y="2599690"/>
                  <a:pt x="851120" y="2598210"/>
                  <a:pt x="851120" y="2596233"/>
                </a:cubicBezTo>
                <a:cubicBezTo>
                  <a:pt x="851120" y="2594258"/>
                  <a:pt x="852599" y="2592778"/>
                  <a:pt x="854575" y="2592778"/>
                </a:cubicBezTo>
                <a:close/>
                <a:moveTo>
                  <a:pt x="1182613" y="2588087"/>
                </a:moveTo>
                <a:cubicBezTo>
                  <a:pt x="1184588" y="2588087"/>
                  <a:pt x="1186068" y="2589816"/>
                  <a:pt x="1186068" y="2591791"/>
                </a:cubicBezTo>
                <a:cubicBezTo>
                  <a:pt x="1186317" y="2593519"/>
                  <a:pt x="1184588" y="2595245"/>
                  <a:pt x="1182613" y="2595245"/>
                </a:cubicBezTo>
                <a:cubicBezTo>
                  <a:pt x="1180639" y="2595245"/>
                  <a:pt x="1178910" y="2593765"/>
                  <a:pt x="1178910" y="2591791"/>
                </a:cubicBezTo>
                <a:cubicBezTo>
                  <a:pt x="1178910" y="2589816"/>
                  <a:pt x="1180639" y="2588087"/>
                  <a:pt x="1182613" y="2588087"/>
                </a:cubicBezTo>
                <a:close/>
                <a:moveTo>
                  <a:pt x="516652" y="2571798"/>
                </a:moveTo>
                <a:cubicBezTo>
                  <a:pt x="517639" y="2571798"/>
                  <a:pt x="518378" y="2572539"/>
                  <a:pt x="518378" y="2573526"/>
                </a:cubicBezTo>
                <a:cubicBezTo>
                  <a:pt x="518378" y="2574514"/>
                  <a:pt x="517639" y="2575255"/>
                  <a:pt x="516652" y="2575255"/>
                </a:cubicBezTo>
                <a:cubicBezTo>
                  <a:pt x="515665" y="2575255"/>
                  <a:pt x="514924" y="2574514"/>
                  <a:pt x="514924" y="2573526"/>
                </a:cubicBezTo>
                <a:cubicBezTo>
                  <a:pt x="514924" y="2572539"/>
                  <a:pt x="515665" y="2571798"/>
                  <a:pt x="516652" y="2571798"/>
                </a:cubicBezTo>
                <a:close/>
                <a:moveTo>
                  <a:pt x="1707644" y="2563899"/>
                </a:moveTo>
                <a:cubicBezTo>
                  <a:pt x="1712334" y="2563899"/>
                  <a:pt x="1716037" y="2567602"/>
                  <a:pt x="1716037" y="2572290"/>
                </a:cubicBezTo>
                <a:cubicBezTo>
                  <a:pt x="1715791" y="2576981"/>
                  <a:pt x="1712086" y="2580684"/>
                  <a:pt x="1707644" y="2580684"/>
                </a:cubicBezTo>
                <a:cubicBezTo>
                  <a:pt x="1703201" y="2580684"/>
                  <a:pt x="1699253" y="2576981"/>
                  <a:pt x="1699253" y="2572290"/>
                </a:cubicBezTo>
                <a:cubicBezTo>
                  <a:pt x="1699253" y="2567849"/>
                  <a:pt x="1702956" y="2563899"/>
                  <a:pt x="1707644" y="2563899"/>
                </a:cubicBezTo>
                <a:close/>
                <a:moveTo>
                  <a:pt x="2118090" y="2559703"/>
                </a:moveTo>
                <a:cubicBezTo>
                  <a:pt x="2121545" y="2559703"/>
                  <a:pt x="2124507" y="2562665"/>
                  <a:pt x="2124507" y="2566120"/>
                </a:cubicBezTo>
                <a:cubicBezTo>
                  <a:pt x="2124507" y="2569577"/>
                  <a:pt x="2121545" y="2572539"/>
                  <a:pt x="2118090" y="2572539"/>
                </a:cubicBezTo>
                <a:cubicBezTo>
                  <a:pt x="2114633" y="2572539"/>
                  <a:pt x="2111671" y="2569577"/>
                  <a:pt x="2111671" y="2566120"/>
                </a:cubicBezTo>
                <a:cubicBezTo>
                  <a:pt x="2111671" y="2562665"/>
                  <a:pt x="2114633" y="2559703"/>
                  <a:pt x="2118090" y="2559703"/>
                </a:cubicBezTo>
                <a:close/>
                <a:moveTo>
                  <a:pt x="1919180" y="2558713"/>
                </a:moveTo>
                <a:cubicBezTo>
                  <a:pt x="1925345" y="2558713"/>
                  <a:pt x="1930281" y="2563650"/>
                  <a:pt x="1930281" y="2569820"/>
                </a:cubicBezTo>
                <a:cubicBezTo>
                  <a:pt x="1930281" y="2575993"/>
                  <a:pt x="1925345" y="2580927"/>
                  <a:pt x="1919180" y="2580927"/>
                </a:cubicBezTo>
                <a:cubicBezTo>
                  <a:pt x="1913014" y="2580927"/>
                  <a:pt x="1908080" y="2575993"/>
                  <a:pt x="1908080" y="2569820"/>
                </a:cubicBezTo>
                <a:cubicBezTo>
                  <a:pt x="1908080" y="2563650"/>
                  <a:pt x="1913014" y="2558713"/>
                  <a:pt x="1919180" y="2558713"/>
                </a:cubicBezTo>
                <a:close/>
                <a:moveTo>
                  <a:pt x="1500545" y="2557234"/>
                </a:moveTo>
                <a:cubicBezTo>
                  <a:pt x="1503505" y="2557234"/>
                  <a:pt x="1505975" y="2559704"/>
                  <a:pt x="1505975" y="2562666"/>
                </a:cubicBezTo>
                <a:cubicBezTo>
                  <a:pt x="1505975" y="2565625"/>
                  <a:pt x="1503505" y="2568095"/>
                  <a:pt x="1500545" y="2568095"/>
                </a:cubicBezTo>
                <a:cubicBezTo>
                  <a:pt x="1497583" y="2568095"/>
                  <a:pt x="1495113" y="2565625"/>
                  <a:pt x="1495113" y="2562666"/>
                </a:cubicBezTo>
                <a:cubicBezTo>
                  <a:pt x="1495113" y="2559704"/>
                  <a:pt x="1497583" y="2557234"/>
                  <a:pt x="1500545" y="2557234"/>
                </a:cubicBezTo>
                <a:close/>
                <a:moveTo>
                  <a:pt x="964662" y="2556000"/>
                </a:moveTo>
                <a:cubicBezTo>
                  <a:pt x="966390" y="2556000"/>
                  <a:pt x="967869" y="2557480"/>
                  <a:pt x="967869" y="2559208"/>
                </a:cubicBezTo>
                <a:cubicBezTo>
                  <a:pt x="967869" y="2561183"/>
                  <a:pt x="966390" y="2562416"/>
                  <a:pt x="964662" y="2562416"/>
                </a:cubicBezTo>
                <a:cubicBezTo>
                  <a:pt x="962933" y="2562416"/>
                  <a:pt x="961453" y="2560937"/>
                  <a:pt x="961453" y="2559208"/>
                </a:cubicBezTo>
                <a:cubicBezTo>
                  <a:pt x="961453" y="2557480"/>
                  <a:pt x="962933" y="2556000"/>
                  <a:pt x="964662" y="2556000"/>
                </a:cubicBezTo>
                <a:close/>
                <a:moveTo>
                  <a:pt x="2313088" y="2545881"/>
                </a:moveTo>
                <a:cubicBezTo>
                  <a:pt x="2319012" y="2545881"/>
                  <a:pt x="2323948" y="2550818"/>
                  <a:pt x="2323948" y="2556742"/>
                </a:cubicBezTo>
                <a:cubicBezTo>
                  <a:pt x="2323948" y="2562666"/>
                  <a:pt x="2319012" y="2567602"/>
                  <a:pt x="2313088" y="2567602"/>
                </a:cubicBezTo>
                <a:cubicBezTo>
                  <a:pt x="2307164" y="2567602"/>
                  <a:pt x="2302227" y="2562666"/>
                  <a:pt x="2302227" y="2556742"/>
                </a:cubicBezTo>
                <a:cubicBezTo>
                  <a:pt x="2302227" y="2550818"/>
                  <a:pt x="2307164" y="2545881"/>
                  <a:pt x="2313088" y="2545881"/>
                </a:cubicBezTo>
                <a:close/>
                <a:moveTo>
                  <a:pt x="629951" y="2545632"/>
                </a:moveTo>
                <a:cubicBezTo>
                  <a:pt x="630693" y="2545632"/>
                  <a:pt x="631433" y="2546373"/>
                  <a:pt x="631433" y="2547112"/>
                </a:cubicBezTo>
                <a:cubicBezTo>
                  <a:pt x="631433" y="2547853"/>
                  <a:pt x="630693" y="2548594"/>
                  <a:pt x="629951" y="2548594"/>
                </a:cubicBezTo>
                <a:cubicBezTo>
                  <a:pt x="629213" y="2548594"/>
                  <a:pt x="628472" y="2547853"/>
                  <a:pt x="628472" y="2547112"/>
                </a:cubicBezTo>
                <a:cubicBezTo>
                  <a:pt x="628472" y="2546373"/>
                  <a:pt x="629213" y="2545632"/>
                  <a:pt x="629951" y="2545632"/>
                </a:cubicBezTo>
                <a:close/>
                <a:moveTo>
                  <a:pt x="1289000" y="2541190"/>
                </a:moveTo>
                <a:cubicBezTo>
                  <a:pt x="1290975" y="2541190"/>
                  <a:pt x="1292703" y="2542919"/>
                  <a:pt x="1292703" y="2544893"/>
                </a:cubicBezTo>
                <a:cubicBezTo>
                  <a:pt x="1292703" y="2547114"/>
                  <a:pt x="1290975" y="2548594"/>
                  <a:pt x="1289000" y="2548594"/>
                </a:cubicBezTo>
                <a:cubicBezTo>
                  <a:pt x="1287025" y="2548594"/>
                  <a:pt x="1285296" y="2546868"/>
                  <a:pt x="1285296" y="2544893"/>
                </a:cubicBezTo>
                <a:cubicBezTo>
                  <a:pt x="1285296" y="2542919"/>
                  <a:pt x="1287025" y="2541190"/>
                  <a:pt x="1289000" y="2541190"/>
                </a:cubicBezTo>
                <a:close/>
                <a:moveTo>
                  <a:pt x="56799" y="2526872"/>
                </a:moveTo>
                <a:cubicBezTo>
                  <a:pt x="58279" y="2526872"/>
                  <a:pt x="59761" y="2528106"/>
                  <a:pt x="59761" y="2529834"/>
                </a:cubicBezTo>
                <a:cubicBezTo>
                  <a:pt x="59761" y="2531316"/>
                  <a:pt x="58528" y="2532796"/>
                  <a:pt x="56799" y="2532796"/>
                </a:cubicBezTo>
                <a:cubicBezTo>
                  <a:pt x="55071" y="2532796"/>
                  <a:pt x="53838" y="2531563"/>
                  <a:pt x="53838" y="2529834"/>
                </a:cubicBezTo>
                <a:cubicBezTo>
                  <a:pt x="53838" y="2528106"/>
                  <a:pt x="55071" y="2526872"/>
                  <a:pt x="56799" y="2526872"/>
                </a:cubicBezTo>
                <a:close/>
                <a:moveTo>
                  <a:pt x="172812" y="2516507"/>
                </a:moveTo>
                <a:cubicBezTo>
                  <a:pt x="174291" y="2516507"/>
                  <a:pt x="175527" y="2517741"/>
                  <a:pt x="175527" y="2519223"/>
                </a:cubicBezTo>
                <a:cubicBezTo>
                  <a:pt x="175527" y="2520703"/>
                  <a:pt x="174291" y="2521939"/>
                  <a:pt x="172812" y="2521939"/>
                </a:cubicBezTo>
                <a:cubicBezTo>
                  <a:pt x="171329" y="2521939"/>
                  <a:pt x="170096" y="2520703"/>
                  <a:pt x="170096" y="2519223"/>
                </a:cubicBezTo>
                <a:cubicBezTo>
                  <a:pt x="170096" y="2517741"/>
                  <a:pt x="171329" y="2516507"/>
                  <a:pt x="172812" y="2516507"/>
                </a:cubicBezTo>
                <a:close/>
                <a:moveTo>
                  <a:pt x="1073753" y="2515765"/>
                </a:moveTo>
                <a:cubicBezTo>
                  <a:pt x="1075482" y="2515765"/>
                  <a:pt x="1076715" y="2516999"/>
                  <a:pt x="1076715" y="2518727"/>
                </a:cubicBezTo>
                <a:cubicBezTo>
                  <a:pt x="1076715" y="2520207"/>
                  <a:pt x="1075236" y="2521689"/>
                  <a:pt x="1073753" y="2521689"/>
                </a:cubicBezTo>
                <a:cubicBezTo>
                  <a:pt x="1072025" y="2521689"/>
                  <a:pt x="1070792" y="2520455"/>
                  <a:pt x="1070792" y="2518727"/>
                </a:cubicBezTo>
                <a:cubicBezTo>
                  <a:pt x="1070792" y="2516999"/>
                  <a:pt x="1072025" y="2515765"/>
                  <a:pt x="1073753" y="2515765"/>
                </a:cubicBezTo>
                <a:close/>
                <a:moveTo>
                  <a:pt x="742260" y="2513545"/>
                </a:moveTo>
                <a:cubicBezTo>
                  <a:pt x="744236" y="2513545"/>
                  <a:pt x="745471" y="2515025"/>
                  <a:pt x="745471" y="2517000"/>
                </a:cubicBezTo>
                <a:cubicBezTo>
                  <a:pt x="745718" y="2518728"/>
                  <a:pt x="744236" y="2520211"/>
                  <a:pt x="742260" y="2520211"/>
                </a:cubicBezTo>
                <a:cubicBezTo>
                  <a:pt x="740531" y="2520211"/>
                  <a:pt x="739053" y="2518728"/>
                  <a:pt x="739053" y="2517000"/>
                </a:cubicBezTo>
                <a:cubicBezTo>
                  <a:pt x="739053" y="2515025"/>
                  <a:pt x="740531" y="2513545"/>
                  <a:pt x="742260" y="2513545"/>
                </a:cubicBezTo>
                <a:close/>
                <a:moveTo>
                  <a:pt x="1806867" y="2503671"/>
                </a:moveTo>
                <a:cubicBezTo>
                  <a:pt x="1811804" y="2503671"/>
                  <a:pt x="1815753" y="2507620"/>
                  <a:pt x="1815753" y="2512557"/>
                </a:cubicBezTo>
                <a:cubicBezTo>
                  <a:pt x="1815753" y="2517494"/>
                  <a:pt x="1811804" y="2521443"/>
                  <a:pt x="1806867" y="2521443"/>
                </a:cubicBezTo>
                <a:cubicBezTo>
                  <a:pt x="1801934" y="2521443"/>
                  <a:pt x="1797989" y="2517494"/>
                  <a:pt x="1797989" y="2512557"/>
                </a:cubicBezTo>
                <a:cubicBezTo>
                  <a:pt x="1797989" y="2507620"/>
                  <a:pt x="1801934" y="2503671"/>
                  <a:pt x="1806867" y="2503671"/>
                </a:cubicBezTo>
                <a:close/>
                <a:moveTo>
                  <a:pt x="288330" y="2501943"/>
                </a:moveTo>
                <a:cubicBezTo>
                  <a:pt x="289810" y="2501943"/>
                  <a:pt x="290797" y="2502930"/>
                  <a:pt x="290797" y="2504410"/>
                </a:cubicBezTo>
                <a:cubicBezTo>
                  <a:pt x="290797" y="2505646"/>
                  <a:pt x="289810" y="2506880"/>
                  <a:pt x="288330" y="2506880"/>
                </a:cubicBezTo>
                <a:cubicBezTo>
                  <a:pt x="286847" y="2506880"/>
                  <a:pt x="285860" y="2505892"/>
                  <a:pt x="285860" y="2504410"/>
                </a:cubicBezTo>
                <a:cubicBezTo>
                  <a:pt x="285860" y="2502930"/>
                  <a:pt x="286847" y="2501943"/>
                  <a:pt x="288330" y="2501943"/>
                </a:cubicBezTo>
                <a:close/>
                <a:moveTo>
                  <a:pt x="1602490" y="2501696"/>
                </a:moveTo>
                <a:cubicBezTo>
                  <a:pt x="1605452" y="2501696"/>
                  <a:pt x="1608168" y="2504166"/>
                  <a:pt x="1608168" y="2507374"/>
                </a:cubicBezTo>
                <a:cubicBezTo>
                  <a:pt x="1608168" y="2510582"/>
                  <a:pt x="1605698" y="2513049"/>
                  <a:pt x="1602490" y="2513049"/>
                </a:cubicBezTo>
                <a:cubicBezTo>
                  <a:pt x="1599281" y="2513049"/>
                  <a:pt x="1596812" y="2510582"/>
                  <a:pt x="1596812" y="2507374"/>
                </a:cubicBezTo>
                <a:cubicBezTo>
                  <a:pt x="1596812" y="2504166"/>
                  <a:pt x="1599281" y="2501696"/>
                  <a:pt x="1602490" y="2501696"/>
                </a:cubicBezTo>
                <a:close/>
                <a:moveTo>
                  <a:pt x="2015899" y="2493057"/>
                </a:moveTo>
                <a:cubicBezTo>
                  <a:pt x="2022564" y="2493057"/>
                  <a:pt x="2027996" y="2498489"/>
                  <a:pt x="2027996" y="2505151"/>
                </a:cubicBezTo>
                <a:cubicBezTo>
                  <a:pt x="2027996" y="2511816"/>
                  <a:pt x="2022564" y="2517248"/>
                  <a:pt x="2015899" y="2517248"/>
                </a:cubicBezTo>
                <a:cubicBezTo>
                  <a:pt x="2009237" y="2517248"/>
                  <a:pt x="2003805" y="2511816"/>
                  <a:pt x="2003805" y="2505151"/>
                </a:cubicBezTo>
                <a:cubicBezTo>
                  <a:pt x="2003805" y="2498489"/>
                  <a:pt x="2009237" y="2493057"/>
                  <a:pt x="2015899" y="2493057"/>
                </a:cubicBezTo>
                <a:close/>
                <a:moveTo>
                  <a:pt x="1393908" y="2491328"/>
                </a:moveTo>
                <a:cubicBezTo>
                  <a:pt x="1395883" y="2491328"/>
                  <a:pt x="1397611" y="2493057"/>
                  <a:pt x="1397611" y="2495031"/>
                </a:cubicBezTo>
                <a:cubicBezTo>
                  <a:pt x="1397611" y="2497006"/>
                  <a:pt x="1395883" y="2498735"/>
                  <a:pt x="1393908" y="2498735"/>
                </a:cubicBezTo>
                <a:cubicBezTo>
                  <a:pt x="1391933" y="2498735"/>
                  <a:pt x="1390205" y="2497006"/>
                  <a:pt x="1390205" y="2495031"/>
                </a:cubicBezTo>
                <a:cubicBezTo>
                  <a:pt x="1390205" y="2493057"/>
                  <a:pt x="1391933" y="2491328"/>
                  <a:pt x="1393908" y="2491328"/>
                </a:cubicBezTo>
                <a:close/>
                <a:moveTo>
                  <a:pt x="2211887" y="2490587"/>
                </a:moveTo>
                <a:cubicBezTo>
                  <a:pt x="2215837" y="2490587"/>
                  <a:pt x="2218799" y="2493795"/>
                  <a:pt x="2218799" y="2497498"/>
                </a:cubicBezTo>
                <a:cubicBezTo>
                  <a:pt x="2218799" y="2501202"/>
                  <a:pt x="2215837" y="2504410"/>
                  <a:pt x="2211887" y="2504410"/>
                </a:cubicBezTo>
                <a:cubicBezTo>
                  <a:pt x="2208184" y="2504410"/>
                  <a:pt x="2204976" y="2501448"/>
                  <a:pt x="2204976" y="2497498"/>
                </a:cubicBezTo>
                <a:cubicBezTo>
                  <a:pt x="2204976" y="2493795"/>
                  <a:pt x="2207938" y="2490587"/>
                  <a:pt x="2211887" y="2490587"/>
                </a:cubicBezTo>
                <a:close/>
                <a:moveTo>
                  <a:pt x="403353" y="2483183"/>
                </a:moveTo>
                <a:cubicBezTo>
                  <a:pt x="404587" y="2483183"/>
                  <a:pt x="405577" y="2484171"/>
                  <a:pt x="405577" y="2485404"/>
                </a:cubicBezTo>
                <a:cubicBezTo>
                  <a:pt x="405577" y="2486640"/>
                  <a:pt x="404587" y="2487625"/>
                  <a:pt x="403353" y="2487625"/>
                </a:cubicBezTo>
                <a:cubicBezTo>
                  <a:pt x="402120" y="2487625"/>
                  <a:pt x="401132" y="2486640"/>
                  <a:pt x="401132" y="2485404"/>
                </a:cubicBezTo>
                <a:cubicBezTo>
                  <a:pt x="401132" y="2484171"/>
                  <a:pt x="402120" y="2483183"/>
                  <a:pt x="403353" y="2483183"/>
                </a:cubicBezTo>
                <a:close/>
                <a:moveTo>
                  <a:pt x="853339" y="2479726"/>
                </a:moveTo>
                <a:cubicBezTo>
                  <a:pt x="855067" y="2479726"/>
                  <a:pt x="856301" y="2481208"/>
                  <a:pt x="856301" y="2482688"/>
                </a:cubicBezTo>
                <a:cubicBezTo>
                  <a:pt x="856547" y="2484170"/>
                  <a:pt x="855067" y="2485650"/>
                  <a:pt x="853339" y="2485650"/>
                </a:cubicBezTo>
                <a:cubicBezTo>
                  <a:pt x="851610" y="2485650"/>
                  <a:pt x="850377" y="2484170"/>
                  <a:pt x="850377" y="2482688"/>
                </a:cubicBezTo>
                <a:cubicBezTo>
                  <a:pt x="850377" y="2480960"/>
                  <a:pt x="851856" y="2479726"/>
                  <a:pt x="853339" y="2479726"/>
                </a:cubicBezTo>
                <a:close/>
                <a:moveTo>
                  <a:pt x="2404172" y="2472815"/>
                </a:moveTo>
                <a:cubicBezTo>
                  <a:pt x="2410588" y="2472815"/>
                  <a:pt x="2415774" y="2477998"/>
                  <a:pt x="2415774" y="2484417"/>
                </a:cubicBezTo>
                <a:cubicBezTo>
                  <a:pt x="2415774" y="2490833"/>
                  <a:pt x="2410588" y="2496019"/>
                  <a:pt x="2404172" y="2496019"/>
                </a:cubicBezTo>
                <a:cubicBezTo>
                  <a:pt x="2397753" y="2496019"/>
                  <a:pt x="2392570" y="2490833"/>
                  <a:pt x="2392570" y="2484417"/>
                </a:cubicBezTo>
                <a:cubicBezTo>
                  <a:pt x="2392570" y="2477998"/>
                  <a:pt x="2397753" y="2472815"/>
                  <a:pt x="2404172" y="2472815"/>
                </a:cubicBezTo>
                <a:close/>
                <a:moveTo>
                  <a:pt x="1181129" y="2471581"/>
                </a:moveTo>
                <a:cubicBezTo>
                  <a:pt x="1182609" y="2471581"/>
                  <a:pt x="1183845" y="2472815"/>
                  <a:pt x="1183845" y="2474297"/>
                </a:cubicBezTo>
                <a:cubicBezTo>
                  <a:pt x="1183845" y="2475777"/>
                  <a:pt x="1182609" y="2477013"/>
                  <a:pt x="1181129" y="2477013"/>
                </a:cubicBezTo>
                <a:cubicBezTo>
                  <a:pt x="1179647" y="2477013"/>
                  <a:pt x="1178413" y="2475777"/>
                  <a:pt x="1178413" y="2474297"/>
                </a:cubicBezTo>
                <a:cubicBezTo>
                  <a:pt x="1178413" y="2472815"/>
                  <a:pt x="1179647" y="2471581"/>
                  <a:pt x="1181129" y="2471581"/>
                </a:cubicBezTo>
                <a:close/>
                <a:moveTo>
                  <a:pt x="517388" y="2460228"/>
                </a:moveTo>
                <a:cubicBezTo>
                  <a:pt x="518622" y="2460228"/>
                  <a:pt x="519363" y="2461216"/>
                  <a:pt x="519363" y="2462203"/>
                </a:cubicBezTo>
                <a:cubicBezTo>
                  <a:pt x="519363" y="2463437"/>
                  <a:pt x="518622" y="2464424"/>
                  <a:pt x="517388" y="2464424"/>
                </a:cubicBezTo>
                <a:cubicBezTo>
                  <a:pt x="516155" y="2464424"/>
                  <a:pt x="515414" y="2463437"/>
                  <a:pt x="515414" y="2462203"/>
                </a:cubicBezTo>
                <a:cubicBezTo>
                  <a:pt x="515414" y="2460969"/>
                  <a:pt x="516401" y="2460228"/>
                  <a:pt x="517388" y="2460228"/>
                </a:cubicBezTo>
                <a:close/>
                <a:moveTo>
                  <a:pt x="1702954" y="2443444"/>
                </a:moveTo>
                <a:cubicBezTo>
                  <a:pt x="1706160" y="2443444"/>
                  <a:pt x="1708629" y="2445911"/>
                  <a:pt x="1708629" y="2449122"/>
                </a:cubicBezTo>
                <a:cubicBezTo>
                  <a:pt x="1708629" y="2452330"/>
                  <a:pt x="1706160" y="2454797"/>
                  <a:pt x="1702954" y="2454797"/>
                </a:cubicBezTo>
                <a:cubicBezTo>
                  <a:pt x="1699743" y="2454797"/>
                  <a:pt x="1697276" y="2452330"/>
                  <a:pt x="1697276" y="2449122"/>
                </a:cubicBezTo>
                <a:cubicBezTo>
                  <a:pt x="1697276" y="2445911"/>
                  <a:pt x="1699743" y="2443444"/>
                  <a:pt x="1702954" y="2443444"/>
                </a:cubicBezTo>
                <a:close/>
                <a:moveTo>
                  <a:pt x="963428" y="2441715"/>
                </a:moveTo>
                <a:cubicBezTo>
                  <a:pt x="964908" y="2441715"/>
                  <a:pt x="966141" y="2442949"/>
                  <a:pt x="966141" y="2444431"/>
                </a:cubicBezTo>
                <a:cubicBezTo>
                  <a:pt x="966141" y="2445911"/>
                  <a:pt x="964908" y="2447147"/>
                  <a:pt x="963428" y="2447147"/>
                </a:cubicBezTo>
                <a:cubicBezTo>
                  <a:pt x="961945" y="2447147"/>
                  <a:pt x="960712" y="2445911"/>
                  <a:pt x="960712" y="2444431"/>
                </a:cubicBezTo>
                <a:cubicBezTo>
                  <a:pt x="960712" y="2442949"/>
                  <a:pt x="961945" y="2441715"/>
                  <a:pt x="963428" y="2441715"/>
                </a:cubicBezTo>
                <a:close/>
                <a:moveTo>
                  <a:pt x="1904378" y="2440235"/>
                </a:moveTo>
                <a:cubicBezTo>
                  <a:pt x="1909805" y="2440235"/>
                  <a:pt x="1913997" y="2444677"/>
                  <a:pt x="1913997" y="2449862"/>
                </a:cubicBezTo>
                <a:cubicBezTo>
                  <a:pt x="1913997" y="2455045"/>
                  <a:pt x="1909805" y="2459487"/>
                  <a:pt x="1904378" y="2459487"/>
                </a:cubicBezTo>
                <a:cubicBezTo>
                  <a:pt x="1898942" y="2459487"/>
                  <a:pt x="1894743" y="2455045"/>
                  <a:pt x="1894743" y="2449862"/>
                </a:cubicBezTo>
                <a:cubicBezTo>
                  <a:pt x="1894743" y="2444431"/>
                  <a:pt x="1898942" y="2440235"/>
                  <a:pt x="1904378" y="2440235"/>
                </a:cubicBezTo>
                <a:close/>
                <a:moveTo>
                  <a:pt x="1497086" y="2438012"/>
                </a:moveTo>
                <a:cubicBezTo>
                  <a:pt x="1499061" y="2438012"/>
                  <a:pt x="1500790" y="2439741"/>
                  <a:pt x="1500790" y="2441715"/>
                </a:cubicBezTo>
                <a:cubicBezTo>
                  <a:pt x="1500790" y="2443690"/>
                  <a:pt x="1499061" y="2445416"/>
                  <a:pt x="1497086" y="2445416"/>
                </a:cubicBezTo>
                <a:cubicBezTo>
                  <a:pt x="1495112" y="2445416"/>
                  <a:pt x="1493383" y="2443690"/>
                  <a:pt x="1493383" y="2441715"/>
                </a:cubicBezTo>
                <a:cubicBezTo>
                  <a:pt x="1493383" y="2439741"/>
                  <a:pt x="1495112" y="2438012"/>
                  <a:pt x="1497086" y="2438012"/>
                </a:cubicBezTo>
                <a:close/>
                <a:moveTo>
                  <a:pt x="630444" y="2432829"/>
                </a:moveTo>
                <a:cubicBezTo>
                  <a:pt x="631431" y="2432829"/>
                  <a:pt x="632419" y="2433816"/>
                  <a:pt x="632419" y="2434804"/>
                </a:cubicBezTo>
                <a:cubicBezTo>
                  <a:pt x="632419" y="2436037"/>
                  <a:pt x="631678" y="2436778"/>
                  <a:pt x="630444" y="2436778"/>
                </a:cubicBezTo>
                <a:cubicBezTo>
                  <a:pt x="629457" y="2436778"/>
                  <a:pt x="628470" y="2436037"/>
                  <a:pt x="628470" y="2434804"/>
                </a:cubicBezTo>
                <a:cubicBezTo>
                  <a:pt x="628470" y="2433816"/>
                  <a:pt x="629211" y="2432829"/>
                  <a:pt x="630444" y="2432829"/>
                </a:cubicBezTo>
                <a:close/>
                <a:moveTo>
                  <a:pt x="2110684" y="2424435"/>
                </a:moveTo>
                <a:cubicBezTo>
                  <a:pt x="2117844" y="2424435"/>
                  <a:pt x="2123765" y="2430359"/>
                  <a:pt x="2123765" y="2437517"/>
                </a:cubicBezTo>
                <a:cubicBezTo>
                  <a:pt x="2123765" y="2444677"/>
                  <a:pt x="2117844" y="2450598"/>
                  <a:pt x="2110684" y="2450598"/>
                </a:cubicBezTo>
                <a:cubicBezTo>
                  <a:pt x="2103526" y="2450598"/>
                  <a:pt x="2097602" y="2444677"/>
                  <a:pt x="2097602" y="2437517"/>
                </a:cubicBezTo>
                <a:cubicBezTo>
                  <a:pt x="2097602" y="2430359"/>
                  <a:pt x="2103526" y="2424435"/>
                  <a:pt x="2110684" y="2424435"/>
                </a:cubicBezTo>
                <a:close/>
                <a:moveTo>
                  <a:pt x="1287022" y="2423943"/>
                </a:moveTo>
                <a:cubicBezTo>
                  <a:pt x="1288505" y="2423943"/>
                  <a:pt x="1289492" y="2424930"/>
                  <a:pt x="1289492" y="2426413"/>
                </a:cubicBezTo>
                <a:cubicBezTo>
                  <a:pt x="1289492" y="2427646"/>
                  <a:pt x="1288259" y="2428880"/>
                  <a:pt x="1287022" y="2428880"/>
                </a:cubicBezTo>
                <a:cubicBezTo>
                  <a:pt x="1285543" y="2428880"/>
                  <a:pt x="1284555" y="2427892"/>
                  <a:pt x="1284555" y="2426413"/>
                </a:cubicBezTo>
                <a:cubicBezTo>
                  <a:pt x="1284555" y="2424930"/>
                  <a:pt x="1285543" y="2423943"/>
                  <a:pt x="1287022" y="2423943"/>
                </a:cubicBezTo>
                <a:close/>
                <a:moveTo>
                  <a:pt x="2303955" y="2418760"/>
                </a:moveTo>
                <a:cubicBezTo>
                  <a:pt x="2307905" y="2418760"/>
                  <a:pt x="2311359" y="2421968"/>
                  <a:pt x="2311359" y="2425918"/>
                </a:cubicBezTo>
                <a:cubicBezTo>
                  <a:pt x="2311359" y="2429867"/>
                  <a:pt x="2307905" y="2433324"/>
                  <a:pt x="2303955" y="2433324"/>
                </a:cubicBezTo>
                <a:cubicBezTo>
                  <a:pt x="2300006" y="2433324"/>
                  <a:pt x="2296549" y="2430113"/>
                  <a:pt x="2296549" y="2425918"/>
                </a:cubicBezTo>
                <a:cubicBezTo>
                  <a:pt x="2296549" y="2421722"/>
                  <a:pt x="2299757" y="2418760"/>
                  <a:pt x="2303955" y="2418760"/>
                </a:cubicBezTo>
                <a:close/>
                <a:moveTo>
                  <a:pt x="57043" y="2418019"/>
                </a:moveTo>
                <a:cubicBezTo>
                  <a:pt x="58772" y="2418019"/>
                  <a:pt x="60005" y="2419253"/>
                  <a:pt x="60005" y="2420981"/>
                </a:cubicBezTo>
                <a:cubicBezTo>
                  <a:pt x="59759" y="2422463"/>
                  <a:pt x="58526" y="2423943"/>
                  <a:pt x="57043" y="2423943"/>
                </a:cubicBezTo>
                <a:cubicBezTo>
                  <a:pt x="55561" y="2423943"/>
                  <a:pt x="54081" y="2422710"/>
                  <a:pt x="54081" y="2420981"/>
                </a:cubicBezTo>
                <a:cubicBezTo>
                  <a:pt x="54081" y="2419501"/>
                  <a:pt x="55315" y="2418019"/>
                  <a:pt x="57043" y="2418019"/>
                </a:cubicBezTo>
                <a:close/>
                <a:moveTo>
                  <a:pt x="173057" y="2407158"/>
                </a:moveTo>
                <a:cubicBezTo>
                  <a:pt x="174536" y="2407158"/>
                  <a:pt x="175772" y="2408392"/>
                  <a:pt x="175772" y="2409874"/>
                </a:cubicBezTo>
                <a:cubicBezTo>
                  <a:pt x="175772" y="2411354"/>
                  <a:pt x="174536" y="2412590"/>
                  <a:pt x="173057" y="2412590"/>
                </a:cubicBezTo>
                <a:cubicBezTo>
                  <a:pt x="171574" y="2412590"/>
                  <a:pt x="170341" y="2411354"/>
                  <a:pt x="170341" y="2409874"/>
                </a:cubicBezTo>
                <a:cubicBezTo>
                  <a:pt x="170341" y="2408392"/>
                  <a:pt x="171574" y="2407158"/>
                  <a:pt x="173057" y="2407158"/>
                </a:cubicBezTo>
                <a:close/>
                <a:moveTo>
                  <a:pt x="742755" y="2401729"/>
                </a:moveTo>
                <a:cubicBezTo>
                  <a:pt x="743741" y="2401729"/>
                  <a:pt x="744479" y="2402470"/>
                  <a:pt x="744479" y="2403457"/>
                </a:cubicBezTo>
                <a:cubicBezTo>
                  <a:pt x="744479" y="2404445"/>
                  <a:pt x="743495" y="2405183"/>
                  <a:pt x="742755" y="2405183"/>
                </a:cubicBezTo>
                <a:cubicBezTo>
                  <a:pt x="741765" y="2405183"/>
                  <a:pt x="741024" y="2404445"/>
                  <a:pt x="741024" y="2403457"/>
                </a:cubicBezTo>
                <a:cubicBezTo>
                  <a:pt x="741024" y="2402470"/>
                  <a:pt x="741765" y="2401729"/>
                  <a:pt x="742755" y="2401729"/>
                </a:cubicBezTo>
                <a:close/>
                <a:moveTo>
                  <a:pt x="1071779" y="2400001"/>
                </a:moveTo>
                <a:cubicBezTo>
                  <a:pt x="1073259" y="2400001"/>
                  <a:pt x="1074246" y="2401235"/>
                  <a:pt x="1074246" y="2402471"/>
                </a:cubicBezTo>
                <a:cubicBezTo>
                  <a:pt x="1074246" y="2403950"/>
                  <a:pt x="1073259" y="2404938"/>
                  <a:pt x="1071779" y="2404938"/>
                </a:cubicBezTo>
                <a:cubicBezTo>
                  <a:pt x="1070543" y="2404938"/>
                  <a:pt x="1069310" y="2403704"/>
                  <a:pt x="1069310" y="2402471"/>
                </a:cubicBezTo>
                <a:cubicBezTo>
                  <a:pt x="1069310" y="2400988"/>
                  <a:pt x="1070543" y="2400001"/>
                  <a:pt x="1071779" y="2400001"/>
                </a:cubicBezTo>
                <a:close/>
                <a:moveTo>
                  <a:pt x="2493273" y="2397285"/>
                </a:moveTo>
                <a:cubicBezTo>
                  <a:pt x="2500091" y="2397285"/>
                  <a:pt x="2505616" y="2402810"/>
                  <a:pt x="2505616" y="2409625"/>
                </a:cubicBezTo>
                <a:cubicBezTo>
                  <a:pt x="2505616" y="2416443"/>
                  <a:pt x="2500091" y="2421968"/>
                  <a:pt x="2493273" y="2421968"/>
                </a:cubicBezTo>
                <a:cubicBezTo>
                  <a:pt x="2486458" y="2421968"/>
                  <a:pt x="2480933" y="2416443"/>
                  <a:pt x="2480933" y="2409625"/>
                </a:cubicBezTo>
                <a:cubicBezTo>
                  <a:pt x="2480933" y="2402810"/>
                  <a:pt x="2486458" y="2397285"/>
                  <a:pt x="2493273" y="2397285"/>
                </a:cubicBezTo>
                <a:close/>
                <a:moveTo>
                  <a:pt x="288571" y="2392102"/>
                </a:moveTo>
                <a:cubicBezTo>
                  <a:pt x="290053" y="2392102"/>
                  <a:pt x="291041" y="2393090"/>
                  <a:pt x="291041" y="2394572"/>
                </a:cubicBezTo>
                <a:cubicBezTo>
                  <a:pt x="291041" y="2396052"/>
                  <a:pt x="290053" y="2397039"/>
                  <a:pt x="288571" y="2397039"/>
                </a:cubicBezTo>
                <a:cubicBezTo>
                  <a:pt x="287091" y="2397039"/>
                  <a:pt x="286104" y="2395806"/>
                  <a:pt x="286104" y="2394572"/>
                </a:cubicBezTo>
                <a:cubicBezTo>
                  <a:pt x="286104" y="2393090"/>
                  <a:pt x="287091" y="2392102"/>
                  <a:pt x="288571" y="2392102"/>
                </a:cubicBezTo>
                <a:close/>
                <a:moveTo>
                  <a:pt x="1801188" y="2381241"/>
                </a:moveTo>
                <a:cubicBezTo>
                  <a:pt x="1804642" y="2381241"/>
                  <a:pt x="1807603" y="2383957"/>
                  <a:pt x="1807603" y="2387660"/>
                </a:cubicBezTo>
                <a:cubicBezTo>
                  <a:pt x="1807603" y="2391115"/>
                  <a:pt x="1804888" y="2393831"/>
                  <a:pt x="1801188" y="2393831"/>
                </a:cubicBezTo>
                <a:cubicBezTo>
                  <a:pt x="1797736" y="2393831"/>
                  <a:pt x="1794772" y="2391115"/>
                  <a:pt x="1794772" y="2387660"/>
                </a:cubicBezTo>
                <a:cubicBezTo>
                  <a:pt x="1794772" y="2384203"/>
                  <a:pt x="1797736" y="2381241"/>
                  <a:pt x="1801188" y="2381241"/>
                </a:cubicBezTo>
                <a:close/>
                <a:moveTo>
                  <a:pt x="1598289" y="2381241"/>
                </a:moveTo>
                <a:cubicBezTo>
                  <a:pt x="1600264" y="2381241"/>
                  <a:pt x="1601993" y="2382970"/>
                  <a:pt x="1601993" y="2384944"/>
                </a:cubicBezTo>
                <a:cubicBezTo>
                  <a:pt x="1601993" y="2386919"/>
                  <a:pt x="1600510" y="2388648"/>
                  <a:pt x="1598289" y="2388648"/>
                </a:cubicBezTo>
                <a:cubicBezTo>
                  <a:pt x="1596066" y="2388648"/>
                  <a:pt x="1594586" y="2386919"/>
                  <a:pt x="1594586" y="2384944"/>
                </a:cubicBezTo>
                <a:cubicBezTo>
                  <a:pt x="1594586" y="2382970"/>
                  <a:pt x="1596315" y="2381241"/>
                  <a:pt x="1598289" y="2381241"/>
                </a:cubicBezTo>
                <a:close/>
                <a:moveTo>
                  <a:pt x="1999855" y="2373342"/>
                </a:moveTo>
                <a:cubicBezTo>
                  <a:pt x="2005533" y="2373342"/>
                  <a:pt x="2010467" y="2378033"/>
                  <a:pt x="2010467" y="2383957"/>
                </a:cubicBezTo>
                <a:cubicBezTo>
                  <a:pt x="2010221" y="2389634"/>
                  <a:pt x="2005533" y="2394322"/>
                  <a:pt x="1999855" y="2394322"/>
                </a:cubicBezTo>
                <a:cubicBezTo>
                  <a:pt x="1993931" y="2394322"/>
                  <a:pt x="1989241" y="2389634"/>
                  <a:pt x="1989241" y="2383957"/>
                </a:cubicBezTo>
                <a:cubicBezTo>
                  <a:pt x="1989241" y="2378279"/>
                  <a:pt x="1993931" y="2373342"/>
                  <a:pt x="1999855" y="2373342"/>
                </a:cubicBezTo>
                <a:close/>
                <a:moveTo>
                  <a:pt x="403352" y="2372848"/>
                </a:moveTo>
                <a:cubicBezTo>
                  <a:pt x="404585" y="2372848"/>
                  <a:pt x="405575" y="2373836"/>
                  <a:pt x="405575" y="2375069"/>
                </a:cubicBezTo>
                <a:cubicBezTo>
                  <a:pt x="405821" y="2376057"/>
                  <a:pt x="404834" y="2377290"/>
                  <a:pt x="403352" y="2377290"/>
                </a:cubicBezTo>
                <a:cubicBezTo>
                  <a:pt x="402118" y="2377290"/>
                  <a:pt x="401131" y="2376305"/>
                  <a:pt x="401131" y="2375069"/>
                </a:cubicBezTo>
                <a:cubicBezTo>
                  <a:pt x="401131" y="2373836"/>
                  <a:pt x="402118" y="2372848"/>
                  <a:pt x="403352" y="2372848"/>
                </a:cubicBezTo>
                <a:close/>
                <a:moveTo>
                  <a:pt x="1391187" y="2372601"/>
                </a:moveTo>
                <a:cubicBezTo>
                  <a:pt x="1392421" y="2372601"/>
                  <a:pt x="1393411" y="2373589"/>
                  <a:pt x="1393411" y="2374822"/>
                </a:cubicBezTo>
                <a:cubicBezTo>
                  <a:pt x="1393411" y="2376058"/>
                  <a:pt x="1392421" y="2377046"/>
                  <a:pt x="1391187" y="2377046"/>
                </a:cubicBezTo>
                <a:cubicBezTo>
                  <a:pt x="1389954" y="2377046"/>
                  <a:pt x="1388967" y="2376058"/>
                  <a:pt x="1388967" y="2374822"/>
                </a:cubicBezTo>
                <a:cubicBezTo>
                  <a:pt x="1388967" y="2373589"/>
                  <a:pt x="1389954" y="2372601"/>
                  <a:pt x="1391187" y="2372601"/>
                </a:cubicBezTo>
                <a:close/>
                <a:moveTo>
                  <a:pt x="853579" y="2366677"/>
                </a:moveTo>
                <a:cubicBezTo>
                  <a:pt x="854320" y="2366677"/>
                  <a:pt x="855061" y="2367418"/>
                  <a:pt x="855061" y="2368157"/>
                </a:cubicBezTo>
                <a:cubicBezTo>
                  <a:pt x="855061" y="2368898"/>
                  <a:pt x="854320" y="2369639"/>
                  <a:pt x="853579" y="2369639"/>
                </a:cubicBezTo>
                <a:cubicBezTo>
                  <a:pt x="852840" y="2369639"/>
                  <a:pt x="852099" y="2368898"/>
                  <a:pt x="852099" y="2368157"/>
                </a:cubicBezTo>
                <a:cubicBezTo>
                  <a:pt x="852099" y="2367418"/>
                  <a:pt x="852840" y="2366677"/>
                  <a:pt x="853579" y="2366677"/>
                </a:cubicBezTo>
                <a:close/>
                <a:moveTo>
                  <a:pt x="1178658" y="2354583"/>
                </a:moveTo>
                <a:cubicBezTo>
                  <a:pt x="1179891" y="2354583"/>
                  <a:pt x="1180881" y="2355571"/>
                  <a:pt x="1180881" y="2356804"/>
                </a:cubicBezTo>
                <a:cubicBezTo>
                  <a:pt x="1180881" y="2358038"/>
                  <a:pt x="1179891" y="2359025"/>
                  <a:pt x="1178658" y="2359025"/>
                </a:cubicBezTo>
                <a:cubicBezTo>
                  <a:pt x="1177424" y="2359025"/>
                  <a:pt x="1176437" y="2358038"/>
                  <a:pt x="1176437" y="2356804"/>
                </a:cubicBezTo>
                <a:cubicBezTo>
                  <a:pt x="1176437" y="2355571"/>
                  <a:pt x="1177424" y="2354583"/>
                  <a:pt x="1178658" y="2354583"/>
                </a:cubicBezTo>
                <a:close/>
                <a:moveTo>
                  <a:pt x="2203494" y="2353347"/>
                </a:moveTo>
                <a:cubicBezTo>
                  <a:pt x="2211147" y="2353347"/>
                  <a:pt x="2217317" y="2359517"/>
                  <a:pt x="2217317" y="2367170"/>
                </a:cubicBezTo>
                <a:cubicBezTo>
                  <a:pt x="2217563" y="2374822"/>
                  <a:pt x="2211147" y="2380993"/>
                  <a:pt x="2203494" y="2380993"/>
                </a:cubicBezTo>
                <a:cubicBezTo>
                  <a:pt x="2195841" y="2380993"/>
                  <a:pt x="2189671" y="2374822"/>
                  <a:pt x="2189671" y="2367170"/>
                </a:cubicBezTo>
                <a:cubicBezTo>
                  <a:pt x="2189671" y="2359517"/>
                  <a:pt x="2195841" y="2353347"/>
                  <a:pt x="2203494" y="2353347"/>
                </a:cubicBezTo>
                <a:close/>
                <a:moveTo>
                  <a:pt x="517387" y="2348659"/>
                </a:moveTo>
                <a:cubicBezTo>
                  <a:pt x="518620" y="2348659"/>
                  <a:pt x="519362" y="2349647"/>
                  <a:pt x="519362" y="2350883"/>
                </a:cubicBezTo>
                <a:cubicBezTo>
                  <a:pt x="519608" y="2352116"/>
                  <a:pt x="518620" y="2353104"/>
                  <a:pt x="517387" y="2353104"/>
                </a:cubicBezTo>
                <a:cubicBezTo>
                  <a:pt x="516153" y="2353104"/>
                  <a:pt x="515412" y="2352116"/>
                  <a:pt x="515412" y="2350883"/>
                </a:cubicBezTo>
                <a:cubicBezTo>
                  <a:pt x="515412" y="2349647"/>
                  <a:pt x="516399" y="2348659"/>
                  <a:pt x="517387" y="2348659"/>
                </a:cubicBezTo>
                <a:close/>
                <a:moveTo>
                  <a:pt x="2393804" y="2344463"/>
                </a:moveTo>
                <a:cubicBezTo>
                  <a:pt x="2397999" y="2344463"/>
                  <a:pt x="2401703" y="2347917"/>
                  <a:pt x="2401703" y="2352115"/>
                </a:cubicBezTo>
                <a:cubicBezTo>
                  <a:pt x="2401454" y="2356311"/>
                  <a:pt x="2397999" y="2359765"/>
                  <a:pt x="2393804" y="2359765"/>
                </a:cubicBezTo>
                <a:cubicBezTo>
                  <a:pt x="2389608" y="2359765"/>
                  <a:pt x="2386151" y="2356311"/>
                  <a:pt x="2386151" y="2352115"/>
                </a:cubicBezTo>
                <a:cubicBezTo>
                  <a:pt x="2386151" y="2347917"/>
                  <a:pt x="2389608" y="2344463"/>
                  <a:pt x="2393804" y="2344463"/>
                </a:cubicBezTo>
                <a:close/>
                <a:moveTo>
                  <a:pt x="963174" y="2325209"/>
                </a:moveTo>
                <a:cubicBezTo>
                  <a:pt x="965152" y="2325209"/>
                  <a:pt x="966631" y="2326689"/>
                  <a:pt x="966631" y="2328664"/>
                </a:cubicBezTo>
                <a:cubicBezTo>
                  <a:pt x="966385" y="2330392"/>
                  <a:pt x="964903" y="2332121"/>
                  <a:pt x="963174" y="2332121"/>
                </a:cubicBezTo>
                <a:cubicBezTo>
                  <a:pt x="961200" y="2332121"/>
                  <a:pt x="959720" y="2330641"/>
                  <a:pt x="959720" y="2328664"/>
                </a:cubicBezTo>
                <a:cubicBezTo>
                  <a:pt x="959720" y="2326689"/>
                  <a:pt x="961200" y="2325209"/>
                  <a:pt x="963174" y="2325209"/>
                </a:cubicBezTo>
                <a:close/>
                <a:moveTo>
                  <a:pt x="1697765" y="2320767"/>
                </a:moveTo>
                <a:cubicBezTo>
                  <a:pt x="1700084" y="2320767"/>
                  <a:pt x="1701962" y="2322646"/>
                  <a:pt x="1701962" y="2324963"/>
                </a:cubicBezTo>
                <a:cubicBezTo>
                  <a:pt x="1701962" y="2327282"/>
                  <a:pt x="1700084" y="2329161"/>
                  <a:pt x="1697765" y="2329161"/>
                </a:cubicBezTo>
                <a:cubicBezTo>
                  <a:pt x="1695449" y="2329161"/>
                  <a:pt x="1693570" y="2327282"/>
                  <a:pt x="1693570" y="2324963"/>
                </a:cubicBezTo>
                <a:cubicBezTo>
                  <a:pt x="1693570" y="2322646"/>
                  <a:pt x="1695449" y="2320767"/>
                  <a:pt x="1697765" y="2320767"/>
                </a:cubicBezTo>
                <a:close/>
                <a:moveTo>
                  <a:pt x="630442" y="2320519"/>
                </a:moveTo>
                <a:cubicBezTo>
                  <a:pt x="631429" y="2320519"/>
                  <a:pt x="632417" y="2321260"/>
                  <a:pt x="632417" y="2322494"/>
                </a:cubicBezTo>
                <a:cubicBezTo>
                  <a:pt x="632417" y="2323727"/>
                  <a:pt x="631675" y="2324468"/>
                  <a:pt x="630442" y="2324468"/>
                </a:cubicBezTo>
                <a:cubicBezTo>
                  <a:pt x="629455" y="2324468"/>
                  <a:pt x="628468" y="2323481"/>
                  <a:pt x="628468" y="2322494"/>
                </a:cubicBezTo>
                <a:cubicBezTo>
                  <a:pt x="628468" y="2321506"/>
                  <a:pt x="629455" y="2320519"/>
                  <a:pt x="630442" y="2320519"/>
                </a:cubicBezTo>
                <a:close/>
                <a:moveTo>
                  <a:pt x="2580162" y="2319285"/>
                </a:moveTo>
                <a:cubicBezTo>
                  <a:pt x="2587319" y="2319285"/>
                  <a:pt x="2593243" y="2325209"/>
                  <a:pt x="2593243" y="2332369"/>
                </a:cubicBezTo>
                <a:cubicBezTo>
                  <a:pt x="2593243" y="2339527"/>
                  <a:pt x="2587319" y="2345451"/>
                  <a:pt x="2580162" y="2345451"/>
                </a:cubicBezTo>
                <a:cubicBezTo>
                  <a:pt x="2573004" y="2345451"/>
                  <a:pt x="2567080" y="2339527"/>
                  <a:pt x="2567080" y="2332369"/>
                </a:cubicBezTo>
                <a:cubicBezTo>
                  <a:pt x="2567080" y="2325209"/>
                  <a:pt x="2573004" y="2319285"/>
                  <a:pt x="2580162" y="2319285"/>
                </a:cubicBezTo>
                <a:close/>
                <a:moveTo>
                  <a:pt x="1493381" y="2318052"/>
                </a:moveTo>
                <a:cubicBezTo>
                  <a:pt x="1494368" y="2318052"/>
                  <a:pt x="1495355" y="2319039"/>
                  <a:pt x="1495355" y="2320027"/>
                </a:cubicBezTo>
                <a:cubicBezTo>
                  <a:pt x="1495355" y="2321014"/>
                  <a:pt x="1494614" y="2322001"/>
                  <a:pt x="1493381" y="2322001"/>
                </a:cubicBezTo>
                <a:cubicBezTo>
                  <a:pt x="1492147" y="2322001"/>
                  <a:pt x="1491406" y="2321014"/>
                  <a:pt x="1491406" y="2320027"/>
                </a:cubicBezTo>
                <a:cubicBezTo>
                  <a:pt x="1491406" y="2319039"/>
                  <a:pt x="1492393" y="2318052"/>
                  <a:pt x="1493381" y="2318052"/>
                </a:cubicBezTo>
                <a:close/>
                <a:moveTo>
                  <a:pt x="1897702" y="2315831"/>
                </a:moveTo>
                <a:cubicBezTo>
                  <a:pt x="1901654" y="2315831"/>
                  <a:pt x="1904619" y="2319039"/>
                  <a:pt x="1904619" y="2322989"/>
                </a:cubicBezTo>
                <a:cubicBezTo>
                  <a:pt x="1904619" y="2326938"/>
                  <a:pt x="1901654" y="2330146"/>
                  <a:pt x="1897702" y="2330146"/>
                </a:cubicBezTo>
                <a:cubicBezTo>
                  <a:pt x="1893750" y="2330146"/>
                  <a:pt x="1890543" y="2326938"/>
                  <a:pt x="1890543" y="2322989"/>
                </a:cubicBezTo>
                <a:cubicBezTo>
                  <a:pt x="1890543" y="2319039"/>
                  <a:pt x="1893750" y="2315831"/>
                  <a:pt x="1897702" y="2315831"/>
                </a:cubicBezTo>
                <a:close/>
                <a:moveTo>
                  <a:pt x="55069" y="2309658"/>
                </a:moveTo>
                <a:cubicBezTo>
                  <a:pt x="56549" y="2309658"/>
                  <a:pt x="57536" y="2310646"/>
                  <a:pt x="57536" y="2312128"/>
                </a:cubicBezTo>
                <a:cubicBezTo>
                  <a:pt x="57536" y="2313608"/>
                  <a:pt x="56303" y="2314595"/>
                  <a:pt x="55069" y="2314595"/>
                </a:cubicBezTo>
                <a:cubicBezTo>
                  <a:pt x="53833" y="2314595"/>
                  <a:pt x="52599" y="2313362"/>
                  <a:pt x="52599" y="2312128"/>
                </a:cubicBezTo>
                <a:cubicBezTo>
                  <a:pt x="52599" y="2310892"/>
                  <a:pt x="53587" y="2309658"/>
                  <a:pt x="55069" y="2309658"/>
                </a:cubicBezTo>
                <a:close/>
                <a:moveTo>
                  <a:pt x="1284059" y="2305216"/>
                </a:moveTo>
                <a:cubicBezTo>
                  <a:pt x="1285046" y="2305216"/>
                  <a:pt x="1286033" y="2306203"/>
                  <a:pt x="1286033" y="2307191"/>
                </a:cubicBezTo>
                <a:cubicBezTo>
                  <a:pt x="1286033" y="2308424"/>
                  <a:pt x="1285046" y="2309165"/>
                  <a:pt x="1284059" y="2309165"/>
                </a:cubicBezTo>
                <a:cubicBezTo>
                  <a:pt x="1283072" y="2309165"/>
                  <a:pt x="1282084" y="2308178"/>
                  <a:pt x="1282084" y="2307191"/>
                </a:cubicBezTo>
                <a:cubicBezTo>
                  <a:pt x="1282084" y="2306203"/>
                  <a:pt x="1283072" y="2305216"/>
                  <a:pt x="1284059" y="2305216"/>
                </a:cubicBezTo>
                <a:close/>
                <a:moveTo>
                  <a:pt x="2093158" y="2303734"/>
                </a:moveTo>
                <a:cubicBezTo>
                  <a:pt x="2099331" y="2303734"/>
                  <a:pt x="2104514" y="2308917"/>
                  <a:pt x="2104514" y="2315087"/>
                </a:cubicBezTo>
                <a:cubicBezTo>
                  <a:pt x="2104514" y="2321260"/>
                  <a:pt x="2099577" y="2326443"/>
                  <a:pt x="2093158" y="2326443"/>
                </a:cubicBezTo>
                <a:cubicBezTo>
                  <a:pt x="2086988" y="2326443"/>
                  <a:pt x="2081805" y="2321260"/>
                  <a:pt x="2081805" y="2315087"/>
                </a:cubicBezTo>
                <a:cubicBezTo>
                  <a:pt x="2081805" y="2308917"/>
                  <a:pt x="2086988" y="2303734"/>
                  <a:pt x="2093158" y="2303734"/>
                </a:cubicBezTo>
                <a:close/>
                <a:moveTo>
                  <a:pt x="170584" y="2299046"/>
                </a:moveTo>
                <a:cubicBezTo>
                  <a:pt x="171818" y="2299046"/>
                  <a:pt x="172559" y="2300033"/>
                  <a:pt x="172559" y="2301021"/>
                </a:cubicBezTo>
                <a:cubicBezTo>
                  <a:pt x="172559" y="2302008"/>
                  <a:pt x="171572" y="2302995"/>
                  <a:pt x="170584" y="2302995"/>
                </a:cubicBezTo>
                <a:cubicBezTo>
                  <a:pt x="169597" y="2302995"/>
                  <a:pt x="168610" y="2302008"/>
                  <a:pt x="168610" y="2301021"/>
                </a:cubicBezTo>
                <a:cubicBezTo>
                  <a:pt x="168610" y="2299787"/>
                  <a:pt x="169597" y="2299046"/>
                  <a:pt x="170584" y="2299046"/>
                </a:cubicBezTo>
                <a:close/>
                <a:moveTo>
                  <a:pt x="742506" y="2288431"/>
                </a:moveTo>
                <a:cubicBezTo>
                  <a:pt x="743493" y="2288431"/>
                  <a:pt x="744232" y="2289172"/>
                  <a:pt x="744232" y="2290159"/>
                </a:cubicBezTo>
                <a:cubicBezTo>
                  <a:pt x="744232" y="2291147"/>
                  <a:pt x="743493" y="2291888"/>
                  <a:pt x="742506" y="2291888"/>
                </a:cubicBezTo>
                <a:cubicBezTo>
                  <a:pt x="741517" y="2291888"/>
                  <a:pt x="740777" y="2291147"/>
                  <a:pt x="740777" y="2290159"/>
                </a:cubicBezTo>
                <a:cubicBezTo>
                  <a:pt x="740777" y="2289172"/>
                  <a:pt x="741517" y="2288431"/>
                  <a:pt x="742506" y="2288431"/>
                </a:cubicBezTo>
                <a:close/>
                <a:moveTo>
                  <a:pt x="285365" y="2283495"/>
                </a:moveTo>
                <a:cubicBezTo>
                  <a:pt x="286352" y="2283495"/>
                  <a:pt x="287090" y="2284236"/>
                  <a:pt x="287090" y="2285224"/>
                </a:cubicBezTo>
                <a:cubicBezTo>
                  <a:pt x="286844" y="2286211"/>
                  <a:pt x="286352" y="2286703"/>
                  <a:pt x="285365" y="2286703"/>
                </a:cubicBezTo>
                <a:cubicBezTo>
                  <a:pt x="284623" y="2286703"/>
                  <a:pt x="283882" y="2285965"/>
                  <a:pt x="283882" y="2285224"/>
                </a:cubicBezTo>
                <a:cubicBezTo>
                  <a:pt x="283882" y="2284236"/>
                  <a:pt x="284623" y="2283495"/>
                  <a:pt x="285365" y="2283495"/>
                </a:cubicBezTo>
                <a:close/>
                <a:moveTo>
                  <a:pt x="1071034" y="2282012"/>
                </a:moveTo>
                <a:cubicBezTo>
                  <a:pt x="1072763" y="2282012"/>
                  <a:pt x="1074242" y="2283492"/>
                  <a:pt x="1074242" y="2285220"/>
                </a:cubicBezTo>
                <a:cubicBezTo>
                  <a:pt x="1074242" y="2286949"/>
                  <a:pt x="1072763" y="2288428"/>
                  <a:pt x="1071034" y="2288428"/>
                </a:cubicBezTo>
                <a:cubicBezTo>
                  <a:pt x="1069306" y="2288428"/>
                  <a:pt x="1067826" y="2286949"/>
                  <a:pt x="1067826" y="2285220"/>
                </a:cubicBezTo>
                <a:cubicBezTo>
                  <a:pt x="1067826" y="2283492"/>
                  <a:pt x="1069306" y="2282012"/>
                  <a:pt x="1071034" y="2282012"/>
                </a:cubicBezTo>
                <a:close/>
                <a:moveTo>
                  <a:pt x="2294328" y="2279050"/>
                </a:moveTo>
                <a:cubicBezTo>
                  <a:pt x="2302473" y="2279050"/>
                  <a:pt x="2309139" y="2285715"/>
                  <a:pt x="2309139" y="2293860"/>
                </a:cubicBezTo>
                <a:cubicBezTo>
                  <a:pt x="2309139" y="2302005"/>
                  <a:pt x="2302473" y="2308671"/>
                  <a:pt x="2294328" y="2308671"/>
                </a:cubicBezTo>
                <a:cubicBezTo>
                  <a:pt x="2286183" y="2308671"/>
                  <a:pt x="2279518" y="2302005"/>
                  <a:pt x="2279518" y="2293860"/>
                </a:cubicBezTo>
                <a:cubicBezTo>
                  <a:pt x="2279518" y="2285715"/>
                  <a:pt x="2286183" y="2279050"/>
                  <a:pt x="2294328" y="2279050"/>
                </a:cubicBezTo>
                <a:close/>
                <a:moveTo>
                  <a:pt x="2481425" y="2267202"/>
                </a:moveTo>
                <a:cubicBezTo>
                  <a:pt x="2485870" y="2267202"/>
                  <a:pt x="2489573" y="2270905"/>
                  <a:pt x="2489573" y="2275347"/>
                </a:cubicBezTo>
                <a:cubicBezTo>
                  <a:pt x="2489573" y="2280038"/>
                  <a:pt x="2485870" y="2283495"/>
                  <a:pt x="2481425" y="2283495"/>
                </a:cubicBezTo>
                <a:cubicBezTo>
                  <a:pt x="2476983" y="2283495"/>
                  <a:pt x="2473280" y="2279792"/>
                  <a:pt x="2473280" y="2275347"/>
                </a:cubicBezTo>
                <a:cubicBezTo>
                  <a:pt x="2473280" y="2270905"/>
                  <a:pt x="2476983" y="2267202"/>
                  <a:pt x="2481425" y="2267202"/>
                </a:cubicBezTo>
                <a:close/>
                <a:moveTo>
                  <a:pt x="399646" y="2262019"/>
                </a:moveTo>
                <a:cubicBezTo>
                  <a:pt x="401374" y="2262019"/>
                  <a:pt x="402854" y="2263499"/>
                  <a:pt x="402854" y="2265227"/>
                </a:cubicBezTo>
                <a:cubicBezTo>
                  <a:pt x="402854" y="2266956"/>
                  <a:pt x="401374" y="2268435"/>
                  <a:pt x="399646" y="2268435"/>
                </a:cubicBezTo>
                <a:cubicBezTo>
                  <a:pt x="397917" y="2268435"/>
                  <a:pt x="396438" y="2266956"/>
                  <a:pt x="396438" y="2265227"/>
                </a:cubicBezTo>
                <a:cubicBezTo>
                  <a:pt x="396438" y="2263499"/>
                  <a:pt x="397917" y="2262019"/>
                  <a:pt x="399646" y="2262019"/>
                </a:cubicBezTo>
                <a:close/>
                <a:moveTo>
                  <a:pt x="1593845" y="2258562"/>
                </a:moveTo>
                <a:cubicBezTo>
                  <a:pt x="1595324" y="2258562"/>
                  <a:pt x="1596560" y="2259796"/>
                  <a:pt x="1596560" y="2261278"/>
                </a:cubicBezTo>
                <a:cubicBezTo>
                  <a:pt x="1596560" y="2262758"/>
                  <a:pt x="1595324" y="2263994"/>
                  <a:pt x="1593845" y="2263994"/>
                </a:cubicBezTo>
                <a:cubicBezTo>
                  <a:pt x="1592362" y="2263994"/>
                  <a:pt x="1591129" y="2262758"/>
                  <a:pt x="1591129" y="2261278"/>
                </a:cubicBezTo>
                <a:cubicBezTo>
                  <a:pt x="1591129" y="2259796"/>
                  <a:pt x="1592362" y="2258562"/>
                  <a:pt x="1593845" y="2258562"/>
                </a:cubicBezTo>
                <a:close/>
                <a:moveTo>
                  <a:pt x="1795267" y="2256837"/>
                </a:moveTo>
                <a:cubicBezTo>
                  <a:pt x="1797983" y="2256837"/>
                  <a:pt x="1799956" y="2259060"/>
                  <a:pt x="1799956" y="2261527"/>
                </a:cubicBezTo>
                <a:cubicBezTo>
                  <a:pt x="1799707" y="2264243"/>
                  <a:pt x="1797734" y="2266218"/>
                  <a:pt x="1795267" y="2266218"/>
                </a:cubicBezTo>
                <a:cubicBezTo>
                  <a:pt x="1792796" y="2266218"/>
                  <a:pt x="1790575" y="2264243"/>
                  <a:pt x="1790575" y="2261527"/>
                </a:cubicBezTo>
                <a:cubicBezTo>
                  <a:pt x="1790575" y="2259060"/>
                  <a:pt x="1792550" y="2256837"/>
                  <a:pt x="1795267" y="2256837"/>
                </a:cubicBezTo>
                <a:close/>
                <a:moveTo>
                  <a:pt x="1387485" y="2252392"/>
                </a:moveTo>
                <a:cubicBezTo>
                  <a:pt x="1388472" y="2252392"/>
                  <a:pt x="1389213" y="2253133"/>
                  <a:pt x="1389213" y="2254120"/>
                </a:cubicBezTo>
                <a:cubicBezTo>
                  <a:pt x="1389213" y="2255108"/>
                  <a:pt x="1388472" y="2255849"/>
                  <a:pt x="1387485" y="2255849"/>
                </a:cubicBezTo>
                <a:cubicBezTo>
                  <a:pt x="1386498" y="2255849"/>
                  <a:pt x="1385756" y="2255108"/>
                  <a:pt x="1385756" y="2254120"/>
                </a:cubicBezTo>
                <a:cubicBezTo>
                  <a:pt x="1385756" y="2253133"/>
                  <a:pt x="1386498" y="2252392"/>
                  <a:pt x="1387485" y="2252392"/>
                </a:cubicBezTo>
                <a:close/>
                <a:moveTo>
                  <a:pt x="853088" y="2251900"/>
                </a:moveTo>
                <a:cubicBezTo>
                  <a:pt x="853826" y="2251900"/>
                  <a:pt x="854568" y="2252641"/>
                  <a:pt x="854568" y="2253380"/>
                </a:cubicBezTo>
                <a:cubicBezTo>
                  <a:pt x="854568" y="2254121"/>
                  <a:pt x="853826" y="2254862"/>
                  <a:pt x="853088" y="2254862"/>
                </a:cubicBezTo>
                <a:cubicBezTo>
                  <a:pt x="852346" y="2254862"/>
                  <a:pt x="851605" y="2254121"/>
                  <a:pt x="851605" y="2253380"/>
                </a:cubicBezTo>
                <a:cubicBezTo>
                  <a:pt x="851605" y="2252641"/>
                  <a:pt x="852346" y="2251900"/>
                  <a:pt x="853088" y="2251900"/>
                </a:cubicBezTo>
                <a:close/>
                <a:moveTo>
                  <a:pt x="1991957" y="2247456"/>
                </a:moveTo>
                <a:cubicBezTo>
                  <a:pt x="1996152" y="2247456"/>
                  <a:pt x="1999856" y="2250911"/>
                  <a:pt x="1999856" y="2255355"/>
                </a:cubicBezTo>
                <a:cubicBezTo>
                  <a:pt x="1999856" y="2259799"/>
                  <a:pt x="1996401" y="2263254"/>
                  <a:pt x="1991957" y="2263254"/>
                </a:cubicBezTo>
                <a:cubicBezTo>
                  <a:pt x="1987761" y="2263254"/>
                  <a:pt x="1984058" y="2259799"/>
                  <a:pt x="1984058" y="2255355"/>
                </a:cubicBezTo>
                <a:cubicBezTo>
                  <a:pt x="1984058" y="2250911"/>
                  <a:pt x="1987512" y="2247456"/>
                  <a:pt x="1991957" y="2247456"/>
                </a:cubicBezTo>
                <a:close/>
                <a:moveTo>
                  <a:pt x="2664827" y="2238569"/>
                </a:moveTo>
                <a:cubicBezTo>
                  <a:pt x="2672479" y="2238569"/>
                  <a:pt x="2678650" y="2244739"/>
                  <a:pt x="2678650" y="2252638"/>
                </a:cubicBezTo>
                <a:cubicBezTo>
                  <a:pt x="2678650" y="2260291"/>
                  <a:pt x="2672479" y="2266461"/>
                  <a:pt x="2664827" y="2266461"/>
                </a:cubicBezTo>
                <a:cubicBezTo>
                  <a:pt x="2657174" y="2266461"/>
                  <a:pt x="2651004" y="2260291"/>
                  <a:pt x="2651004" y="2252638"/>
                </a:cubicBezTo>
                <a:cubicBezTo>
                  <a:pt x="2651004" y="2244988"/>
                  <a:pt x="2657174" y="2238569"/>
                  <a:pt x="2664827" y="2238569"/>
                </a:cubicBezTo>
                <a:close/>
                <a:moveTo>
                  <a:pt x="512943" y="2237336"/>
                </a:moveTo>
                <a:cubicBezTo>
                  <a:pt x="514425" y="2237336"/>
                  <a:pt x="515905" y="2238570"/>
                  <a:pt x="515905" y="2240298"/>
                </a:cubicBezTo>
                <a:cubicBezTo>
                  <a:pt x="515659" y="2242026"/>
                  <a:pt x="514425" y="2243260"/>
                  <a:pt x="512943" y="2243260"/>
                </a:cubicBezTo>
                <a:cubicBezTo>
                  <a:pt x="511461" y="2243260"/>
                  <a:pt x="509981" y="2242026"/>
                  <a:pt x="509981" y="2240298"/>
                </a:cubicBezTo>
                <a:cubicBezTo>
                  <a:pt x="509981" y="2238816"/>
                  <a:pt x="511215" y="2237336"/>
                  <a:pt x="512943" y="2237336"/>
                </a:cubicBezTo>
                <a:close/>
                <a:moveTo>
                  <a:pt x="1177423" y="2235115"/>
                </a:moveTo>
                <a:cubicBezTo>
                  <a:pt x="1179151" y="2235115"/>
                  <a:pt x="1180385" y="2236595"/>
                  <a:pt x="1180385" y="2238077"/>
                </a:cubicBezTo>
                <a:cubicBezTo>
                  <a:pt x="1180385" y="2239557"/>
                  <a:pt x="1179151" y="2241039"/>
                  <a:pt x="1177423" y="2241039"/>
                </a:cubicBezTo>
                <a:cubicBezTo>
                  <a:pt x="1175694" y="2241039"/>
                  <a:pt x="1174461" y="2239557"/>
                  <a:pt x="1174461" y="2238077"/>
                </a:cubicBezTo>
                <a:cubicBezTo>
                  <a:pt x="1174461" y="2236349"/>
                  <a:pt x="1175694" y="2235115"/>
                  <a:pt x="1177423" y="2235115"/>
                </a:cubicBezTo>
                <a:close/>
                <a:moveTo>
                  <a:pt x="2184488" y="2231412"/>
                </a:moveTo>
                <a:cubicBezTo>
                  <a:pt x="2191153" y="2231412"/>
                  <a:pt x="2196585" y="2236844"/>
                  <a:pt x="2196585" y="2243506"/>
                </a:cubicBezTo>
                <a:cubicBezTo>
                  <a:pt x="2196585" y="2250171"/>
                  <a:pt x="2191153" y="2255603"/>
                  <a:pt x="2184488" y="2255603"/>
                </a:cubicBezTo>
                <a:cubicBezTo>
                  <a:pt x="2177826" y="2255603"/>
                  <a:pt x="2172394" y="2250171"/>
                  <a:pt x="2172394" y="2243506"/>
                </a:cubicBezTo>
                <a:cubicBezTo>
                  <a:pt x="2172394" y="2236844"/>
                  <a:pt x="2177826" y="2231412"/>
                  <a:pt x="2184488" y="2231412"/>
                </a:cubicBezTo>
                <a:close/>
                <a:moveTo>
                  <a:pt x="962188" y="2209196"/>
                </a:moveTo>
                <a:cubicBezTo>
                  <a:pt x="964166" y="2209196"/>
                  <a:pt x="965645" y="2210676"/>
                  <a:pt x="965645" y="2212653"/>
                </a:cubicBezTo>
                <a:cubicBezTo>
                  <a:pt x="965645" y="2214379"/>
                  <a:pt x="964166" y="2216108"/>
                  <a:pt x="962188" y="2216108"/>
                </a:cubicBezTo>
                <a:cubicBezTo>
                  <a:pt x="960213" y="2216108"/>
                  <a:pt x="958734" y="2214628"/>
                  <a:pt x="958734" y="2212653"/>
                </a:cubicBezTo>
                <a:cubicBezTo>
                  <a:pt x="958734" y="2210676"/>
                  <a:pt x="960213" y="2209196"/>
                  <a:pt x="962188" y="2209196"/>
                </a:cubicBezTo>
                <a:close/>
                <a:moveTo>
                  <a:pt x="625011" y="2208949"/>
                </a:moveTo>
                <a:cubicBezTo>
                  <a:pt x="626491" y="2208949"/>
                  <a:pt x="627479" y="2209936"/>
                  <a:pt x="627479" y="2211416"/>
                </a:cubicBezTo>
                <a:cubicBezTo>
                  <a:pt x="627479" y="2212898"/>
                  <a:pt x="626491" y="2213886"/>
                  <a:pt x="625011" y="2213886"/>
                </a:cubicBezTo>
                <a:cubicBezTo>
                  <a:pt x="623775" y="2213886"/>
                  <a:pt x="622542" y="2212652"/>
                  <a:pt x="622542" y="2211416"/>
                </a:cubicBezTo>
                <a:cubicBezTo>
                  <a:pt x="622542" y="2210183"/>
                  <a:pt x="623529" y="2208949"/>
                  <a:pt x="625011" y="2208949"/>
                </a:cubicBezTo>
                <a:close/>
                <a:moveTo>
                  <a:pt x="2382696" y="2202284"/>
                </a:moveTo>
                <a:cubicBezTo>
                  <a:pt x="2391336" y="2202284"/>
                  <a:pt x="2398494" y="2209442"/>
                  <a:pt x="2398494" y="2218081"/>
                </a:cubicBezTo>
                <a:cubicBezTo>
                  <a:pt x="2398494" y="2226721"/>
                  <a:pt x="2391336" y="2233879"/>
                  <a:pt x="2382696" y="2233879"/>
                </a:cubicBezTo>
                <a:cubicBezTo>
                  <a:pt x="2374057" y="2233879"/>
                  <a:pt x="2366899" y="2226721"/>
                  <a:pt x="2366899" y="2218081"/>
                </a:cubicBezTo>
                <a:cubicBezTo>
                  <a:pt x="2366899" y="2209442"/>
                  <a:pt x="2374057" y="2202284"/>
                  <a:pt x="2382696" y="2202284"/>
                </a:cubicBezTo>
                <a:close/>
                <a:moveTo>
                  <a:pt x="55067" y="2201297"/>
                </a:moveTo>
                <a:cubicBezTo>
                  <a:pt x="56301" y="2201297"/>
                  <a:pt x="57288" y="2202285"/>
                  <a:pt x="57288" y="2203521"/>
                </a:cubicBezTo>
                <a:cubicBezTo>
                  <a:pt x="57535" y="2204506"/>
                  <a:pt x="56301" y="2205742"/>
                  <a:pt x="55067" y="2205742"/>
                </a:cubicBezTo>
                <a:cubicBezTo>
                  <a:pt x="53831" y="2205742"/>
                  <a:pt x="52598" y="2204754"/>
                  <a:pt x="52598" y="2203521"/>
                </a:cubicBezTo>
                <a:cubicBezTo>
                  <a:pt x="52598" y="2202285"/>
                  <a:pt x="53585" y="2201297"/>
                  <a:pt x="55067" y="2201297"/>
                </a:cubicBezTo>
                <a:close/>
                <a:moveTo>
                  <a:pt x="1692331" y="2196363"/>
                </a:moveTo>
                <a:cubicBezTo>
                  <a:pt x="1694059" y="2196363"/>
                  <a:pt x="1695540" y="2197843"/>
                  <a:pt x="1695540" y="2199571"/>
                </a:cubicBezTo>
                <a:cubicBezTo>
                  <a:pt x="1695540" y="2201300"/>
                  <a:pt x="1694059" y="2202782"/>
                  <a:pt x="1692331" y="2202782"/>
                </a:cubicBezTo>
                <a:cubicBezTo>
                  <a:pt x="1690603" y="2202782"/>
                  <a:pt x="1689123" y="2201300"/>
                  <a:pt x="1689123" y="2199571"/>
                </a:cubicBezTo>
                <a:cubicBezTo>
                  <a:pt x="1689123" y="2197843"/>
                  <a:pt x="1690603" y="2196363"/>
                  <a:pt x="1692331" y="2196363"/>
                </a:cubicBezTo>
                <a:close/>
                <a:moveTo>
                  <a:pt x="1488934" y="2195373"/>
                </a:moveTo>
                <a:cubicBezTo>
                  <a:pt x="1489921" y="2195373"/>
                  <a:pt x="1490909" y="2196360"/>
                  <a:pt x="1490909" y="2197348"/>
                </a:cubicBezTo>
                <a:cubicBezTo>
                  <a:pt x="1490909" y="2198335"/>
                  <a:pt x="1490167" y="2199322"/>
                  <a:pt x="1488934" y="2199322"/>
                </a:cubicBezTo>
                <a:cubicBezTo>
                  <a:pt x="1487946" y="2199322"/>
                  <a:pt x="1486959" y="2198335"/>
                  <a:pt x="1486959" y="2197348"/>
                </a:cubicBezTo>
                <a:cubicBezTo>
                  <a:pt x="1486959" y="2196360"/>
                  <a:pt x="1487701" y="2195373"/>
                  <a:pt x="1488934" y="2195373"/>
                </a:cubicBezTo>
                <a:close/>
                <a:moveTo>
                  <a:pt x="1890541" y="2189944"/>
                </a:moveTo>
                <a:cubicBezTo>
                  <a:pt x="1893502" y="2189944"/>
                  <a:pt x="1895477" y="2192165"/>
                  <a:pt x="1895477" y="2195127"/>
                </a:cubicBezTo>
                <a:cubicBezTo>
                  <a:pt x="1895477" y="2198089"/>
                  <a:pt x="1893255" y="2200313"/>
                  <a:pt x="1890541" y="2200313"/>
                </a:cubicBezTo>
                <a:cubicBezTo>
                  <a:pt x="1887825" y="2200313"/>
                  <a:pt x="1885359" y="2198089"/>
                  <a:pt x="1885359" y="2195127"/>
                </a:cubicBezTo>
                <a:cubicBezTo>
                  <a:pt x="1885359" y="2192414"/>
                  <a:pt x="1887577" y="2189944"/>
                  <a:pt x="1890541" y="2189944"/>
                </a:cubicBezTo>
                <a:close/>
                <a:moveTo>
                  <a:pt x="170586" y="2189698"/>
                </a:moveTo>
                <a:cubicBezTo>
                  <a:pt x="171573" y="2189698"/>
                  <a:pt x="172561" y="2190439"/>
                  <a:pt x="172561" y="2191427"/>
                </a:cubicBezTo>
                <a:cubicBezTo>
                  <a:pt x="172312" y="2192660"/>
                  <a:pt x="171573" y="2193402"/>
                  <a:pt x="170586" y="2193402"/>
                </a:cubicBezTo>
                <a:cubicBezTo>
                  <a:pt x="169598" y="2193402"/>
                  <a:pt x="168857" y="2192660"/>
                  <a:pt x="168857" y="2191427"/>
                </a:cubicBezTo>
                <a:cubicBezTo>
                  <a:pt x="168857" y="2190439"/>
                  <a:pt x="169598" y="2189698"/>
                  <a:pt x="170586" y="2189698"/>
                </a:cubicBezTo>
                <a:close/>
                <a:moveTo>
                  <a:pt x="2566831" y="2187723"/>
                </a:moveTo>
                <a:cubicBezTo>
                  <a:pt x="2571521" y="2187723"/>
                  <a:pt x="2575471" y="2191672"/>
                  <a:pt x="2575471" y="2196363"/>
                </a:cubicBezTo>
                <a:cubicBezTo>
                  <a:pt x="2575471" y="2201053"/>
                  <a:pt x="2571521" y="2205003"/>
                  <a:pt x="2566831" y="2205003"/>
                </a:cubicBezTo>
                <a:cubicBezTo>
                  <a:pt x="2561894" y="2205003"/>
                  <a:pt x="2558191" y="2201053"/>
                  <a:pt x="2558191" y="2196363"/>
                </a:cubicBezTo>
                <a:cubicBezTo>
                  <a:pt x="2558191" y="2191672"/>
                  <a:pt x="2562140" y="2187723"/>
                  <a:pt x="2566831" y="2187723"/>
                </a:cubicBezTo>
                <a:close/>
                <a:moveTo>
                  <a:pt x="1282082" y="2184266"/>
                </a:moveTo>
                <a:cubicBezTo>
                  <a:pt x="1283562" y="2184266"/>
                  <a:pt x="1284799" y="2185500"/>
                  <a:pt x="1284799" y="2186982"/>
                </a:cubicBezTo>
                <a:cubicBezTo>
                  <a:pt x="1284799" y="2188462"/>
                  <a:pt x="1283562" y="2189695"/>
                  <a:pt x="1282082" y="2189695"/>
                </a:cubicBezTo>
                <a:cubicBezTo>
                  <a:pt x="1280600" y="2189695"/>
                  <a:pt x="1279367" y="2188462"/>
                  <a:pt x="1279367" y="2186982"/>
                </a:cubicBezTo>
                <a:cubicBezTo>
                  <a:pt x="1279367" y="2185500"/>
                  <a:pt x="1280600" y="2184266"/>
                  <a:pt x="1282082" y="2184266"/>
                </a:cubicBezTo>
                <a:close/>
                <a:moveTo>
                  <a:pt x="736084" y="2176367"/>
                </a:moveTo>
                <a:cubicBezTo>
                  <a:pt x="737071" y="2176367"/>
                  <a:pt x="738059" y="2177354"/>
                  <a:pt x="738059" y="2178342"/>
                </a:cubicBezTo>
                <a:cubicBezTo>
                  <a:pt x="738059" y="2179329"/>
                  <a:pt x="737318" y="2180316"/>
                  <a:pt x="736084" y="2180316"/>
                </a:cubicBezTo>
                <a:cubicBezTo>
                  <a:pt x="734851" y="2180316"/>
                  <a:pt x="734111" y="2179329"/>
                  <a:pt x="734111" y="2178342"/>
                </a:cubicBezTo>
                <a:cubicBezTo>
                  <a:pt x="734111" y="2177354"/>
                  <a:pt x="735097" y="2176367"/>
                  <a:pt x="736084" y="2176367"/>
                </a:cubicBezTo>
                <a:close/>
                <a:moveTo>
                  <a:pt x="2084274" y="2176121"/>
                </a:moveTo>
                <a:cubicBezTo>
                  <a:pt x="2088964" y="2176121"/>
                  <a:pt x="2092911" y="2180070"/>
                  <a:pt x="2092911" y="2184761"/>
                </a:cubicBezTo>
                <a:cubicBezTo>
                  <a:pt x="2092665" y="2189698"/>
                  <a:pt x="2088964" y="2193401"/>
                  <a:pt x="2084274" y="2193401"/>
                </a:cubicBezTo>
                <a:cubicBezTo>
                  <a:pt x="2079583" y="2193401"/>
                  <a:pt x="2075634" y="2189451"/>
                  <a:pt x="2075634" y="2184761"/>
                </a:cubicBezTo>
                <a:cubicBezTo>
                  <a:pt x="2075634" y="2180070"/>
                  <a:pt x="2079583" y="2176121"/>
                  <a:pt x="2084274" y="2176121"/>
                </a:cubicBezTo>
                <a:close/>
                <a:moveTo>
                  <a:pt x="285360" y="2171925"/>
                </a:moveTo>
                <a:cubicBezTo>
                  <a:pt x="287335" y="2171925"/>
                  <a:pt x="288817" y="2173405"/>
                  <a:pt x="288817" y="2175380"/>
                </a:cubicBezTo>
                <a:cubicBezTo>
                  <a:pt x="288817" y="2177108"/>
                  <a:pt x="287335" y="2178837"/>
                  <a:pt x="285360" y="2178837"/>
                </a:cubicBezTo>
                <a:cubicBezTo>
                  <a:pt x="283385" y="2178837"/>
                  <a:pt x="281906" y="2177354"/>
                  <a:pt x="281906" y="2175380"/>
                </a:cubicBezTo>
                <a:cubicBezTo>
                  <a:pt x="281906" y="2173405"/>
                  <a:pt x="283385" y="2171925"/>
                  <a:pt x="285360" y="2171925"/>
                </a:cubicBezTo>
                <a:close/>
                <a:moveTo>
                  <a:pt x="1069553" y="2164519"/>
                </a:moveTo>
                <a:cubicBezTo>
                  <a:pt x="1071281" y="2164519"/>
                  <a:pt x="1072761" y="2165999"/>
                  <a:pt x="1072761" y="2167727"/>
                </a:cubicBezTo>
                <a:cubicBezTo>
                  <a:pt x="1072761" y="2169456"/>
                  <a:pt x="1071527" y="2170938"/>
                  <a:pt x="1069553" y="2170938"/>
                </a:cubicBezTo>
                <a:cubicBezTo>
                  <a:pt x="1067824" y="2170938"/>
                  <a:pt x="1066345" y="2169456"/>
                  <a:pt x="1066345" y="2167727"/>
                </a:cubicBezTo>
                <a:cubicBezTo>
                  <a:pt x="1066345" y="2165999"/>
                  <a:pt x="1067824" y="2164519"/>
                  <a:pt x="1069553" y="2164519"/>
                </a:cubicBezTo>
                <a:close/>
                <a:moveTo>
                  <a:pt x="2273595" y="2156620"/>
                </a:moveTo>
                <a:cubicBezTo>
                  <a:pt x="2280752" y="2156620"/>
                  <a:pt x="2286430" y="2162298"/>
                  <a:pt x="2286430" y="2169456"/>
                </a:cubicBezTo>
                <a:cubicBezTo>
                  <a:pt x="2286430" y="2176367"/>
                  <a:pt x="2280752" y="2182291"/>
                  <a:pt x="2273595" y="2182291"/>
                </a:cubicBezTo>
                <a:cubicBezTo>
                  <a:pt x="2266437" y="2182291"/>
                  <a:pt x="2260759" y="2176613"/>
                  <a:pt x="2260759" y="2169456"/>
                </a:cubicBezTo>
                <a:cubicBezTo>
                  <a:pt x="2260759" y="2162298"/>
                  <a:pt x="2266437" y="2156620"/>
                  <a:pt x="2273595" y="2156620"/>
                </a:cubicBezTo>
                <a:close/>
                <a:moveTo>
                  <a:pt x="2747268" y="2155633"/>
                </a:moveTo>
                <a:cubicBezTo>
                  <a:pt x="2755413" y="2155633"/>
                  <a:pt x="2762078" y="2162298"/>
                  <a:pt x="2762078" y="2170443"/>
                </a:cubicBezTo>
                <a:cubicBezTo>
                  <a:pt x="2761832" y="2178588"/>
                  <a:pt x="2755413" y="2185254"/>
                  <a:pt x="2747268" y="2185254"/>
                </a:cubicBezTo>
                <a:cubicBezTo>
                  <a:pt x="2739123" y="2185254"/>
                  <a:pt x="2732458" y="2178588"/>
                  <a:pt x="2732458" y="2170443"/>
                </a:cubicBezTo>
                <a:cubicBezTo>
                  <a:pt x="2732458" y="2162298"/>
                  <a:pt x="2739123" y="2155633"/>
                  <a:pt x="2747268" y="2155633"/>
                </a:cubicBezTo>
                <a:close/>
                <a:moveTo>
                  <a:pt x="399644" y="2151438"/>
                </a:moveTo>
                <a:cubicBezTo>
                  <a:pt x="401372" y="2151438"/>
                  <a:pt x="402606" y="2152672"/>
                  <a:pt x="402606" y="2154400"/>
                </a:cubicBezTo>
                <a:cubicBezTo>
                  <a:pt x="402606" y="2155880"/>
                  <a:pt x="401124" y="2157362"/>
                  <a:pt x="399644" y="2157362"/>
                </a:cubicBezTo>
                <a:cubicBezTo>
                  <a:pt x="397916" y="2157362"/>
                  <a:pt x="396682" y="2156128"/>
                  <a:pt x="396682" y="2154400"/>
                </a:cubicBezTo>
                <a:cubicBezTo>
                  <a:pt x="396682" y="2152672"/>
                  <a:pt x="397916" y="2151438"/>
                  <a:pt x="399644" y="2151438"/>
                </a:cubicBezTo>
                <a:close/>
                <a:moveTo>
                  <a:pt x="845679" y="2139094"/>
                </a:moveTo>
                <a:cubicBezTo>
                  <a:pt x="846667" y="2139094"/>
                  <a:pt x="847408" y="2139835"/>
                  <a:pt x="847408" y="2140574"/>
                </a:cubicBezTo>
                <a:cubicBezTo>
                  <a:pt x="847408" y="2141564"/>
                  <a:pt x="846667" y="2142302"/>
                  <a:pt x="845679" y="2142302"/>
                </a:cubicBezTo>
                <a:cubicBezTo>
                  <a:pt x="844692" y="2142302"/>
                  <a:pt x="844200" y="2141564"/>
                  <a:pt x="844200" y="2140574"/>
                </a:cubicBezTo>
                <a:cubicBezTo>
                  <a:pt x="844200" y="2139586"/>
                  <a:pt x="844941" y="2139094"/>
                  <a:pt x="845679" y="2139094"/>
                </a:cubicBezTo>
                <a:close/>
                <a:moveTo>
                  <a:pt x="1588411" y="2135145"/>
                </a:moveTo>
                <a:cubicBezTo>
                  <a:pt x="1589645" y="2135145"/>
                  <a:pt x="1590632" y="2136133"/>
                  <a:pt x="1590632" y="2137366"/>
                </a:cubicBezTo>
                <a:cubicBezTo>
                  <a:pt x="1590881" y="2138602"/>
                  <a:pt x="1589894" y="2139587"/>
                  <a:pt x="1588411" y="2139587"/>
                </a:cubicBezTo>
                <a:cubicBezTo>
                  <a:pt x="1587178" y="2139587"/>
                  <a:pt x="1586190" y="2138602"/>
                  <a:pt x="1586190" y="2137366"/>
                </a:cubicBezTo>
                <a:cubicBezTo>
                  <a:pt x="1586190" y="2136133"/>
                  <a:pt x="1587178" y="2135145"/>
                  <a:pt x="1588411" y="2135145"/>
                </a:cubicBezTo>
                <a:close/>
                <a:moveTo>
                  <a:pt x="1788597" y="2132678"/>
                </a:moveTo>
                <a:cubicBezTo>
                  <a:pt x="1789585" y="2132678"/>
                  <a:pt x="1790326" y="2133419"/>
                  <a:pt x="1790326" y="2134406"/>
                </a:cubicBezTo>
                <a:cubicBezTo>
                  <a:pt x="1790326" y="2135394"/>
                  <a:pt x="1789585" y="2136135"/>
                  <a:pt x="1788597" y="2136135"/>
                </a:cubicBezTo>
                <a:cubicBezTo>
                  <a:pt x="1787610" y="2136135"/>
                  <a:pt x="1786869" y="2135394"/>
                  <a:pt x="1786869" y="2134406"/>
                </a:cubicBezTo>
                <a:cubicBezTo>
                  <a:pt x="1786869" y="2133419"/>
                  <a:pt x="1787610" y="2132678"/>
                  <a:pt x="1788597" y="2132678"/>
                </a:cubicBezTo>
                <a:close/>
                <a:moveTo>
                  <a:pt x="1384767" y="2129470"/>
                </a:moveTo>
                <a:cubicBezTo>
                  <a:pt x="1386247" y="2129470"/>
                  <a:pt x="1387481" y="2130704"/>
                  <a:pt x="1387481" y="2131937"/>
                </a:cubicBezTo>
                <a:cubicBezTo>
                  <a:pt x="1387234" y="2133420"/>
                  <a:pt x="1386001" y="2134653"/>
                  <a:pt x="1384767" y="2134653"/>
                </a:cubicBezTo>
                <a:cubicBezTo>
                  <a:pt x="1383285" y="2134653"/>
                  <a:pt x="1382298" y="2133420"/>
                  <a:pt x="1382298" y="2131937"/>
                </a:cubicBezTo>
                <a:cubicBezTo>
                  <a:pt x="1382298" y="2130457"/>
                  <a:pt x="1383531" y="2129470"/>
                  <a:pt x="1384767" y="2129470"/>
                </a:cubicBezTo>
                <a:close/>
                <a:moveTo>
                  <a:pt x="512692" y="2126508"/>
                </a:moveTo>
                <a:cubicBezTo>
                  <a:pt x="514175" y="2126508"/>
                  <a:pt x="515162" y="2127496"/>
                  <a:pt x="515162" y="2128978"/>
                </a:cubicBezTo>
                <a:cubicBezTo>
                  <a:pt x="515162" y="2130212"/>
                  <a:pt x="514175" y="2131445"/>
                  <a:pt x="512692" y="2131445"/>
                </a:cubicBezTo>
                <a:cubicBezTo>
                  <a:pt x="511213" y="2131445"/>
                  <a:pt x="510225" y="2130212"/>
                  <a:pt x="510225" y="2128978"/>
                </a:cubicBezTo>
                <a:cubicBezTo>
                  <a:pt x="510225" y="2127496"/>
                  <a:pt x="511459" y="2126508"/>
                  <a:pt x="512692" y="2126508"/>
                </a:cubicBezTo>
                <a:close/>
                <a:moveTo>
                  <a:pt x="2468839" y="2122805"/>
                </a:moveTo>
                <a:cubicBezTo>
                  <a:pt x="2478217" y="2122805"/>
                  <a:pt x="2485624" y="2130212"/>
                  <a:pt x="2485624" y="2139590"/>
                </a:cubicBezTo>
                <a:cubicBezTo>
                  <a:pt x="2485624" y="2148969"/>
                  <a:pt x="2477971" y="2156375"/>
                  <a:pt x="2468839" y="2156375"/>
                </a:cubicBezTo>
                <a:cubicBezTo>
                  <a:pt x="2459707" y="2156375"/>
                  <a:pt x="2452054" y="2148969"/>
                  <a:pt x="2452054" y="2139590"/>
                </a:cubicBezTo>
                <a:cubicBezTo>
                  <a:pt x="2452054" y="2130458"/>
                  <a:pt x="2459458" y="2122805"/>
                  <a:pt x="2468839" y="2122805"/>
                </a:cubicBezTo>
                <a:close/>
                <a:moveTo>
                  <a:pt x="1983566" y="2120584"/>
                </a:moveTo>
                <a:cubicBezTo>
                  <a:pt x="1986528" y="2120584"/>
                  <a:pt x="1988995" y="2123054"/>
                  <a:pt x="1988995" y="2126016"/>
                </a:cubicBezTo>
                <a:cubicBezTo>
                  <a:pt x="1988995" y="2128975"/>
                  <a:pt x="1986528" y="2131445"/>
                  <a:pt x="1983566" y="2131445"/>
                </a:cubicBezTo>
                <a:cubicBezTo>
                  <a:pt x="1980604" y="2131445"/>
                  <a:pt x="1978134" y="2128975"/>
                  <a:pt x="1978134" y="2126016"/>
                </a:cubicBezTo>
                <a:cubicBezTo>
                  <a:pt x="1978134" y="2123054"/>
                  <a:pt x="1980604" y="2120584"/>
                  <a:pt x="1983566" y="2120584"/>
                </a:cubicBezTo>
                <a:close/>
                <a:moveTo>
                  <a:pt x="1175447" y="2115893"/>
                </a:moveTo>
                <a:cubicBezTo>
                  <a:pt x="1177175" y="2115893"/>
                  <a:pt x="1178408" y="2117127"/>
                  <a:pt x="1178408" y="2118855"/>
                </a:cubicBezTo>
                <a:cubicBezTo>
                  <a:pt x="1178408" y="2120335"/>
                  <a:pt x="1176929" y="2121817"/>
                  <a:pt x="1175447" y="2121817"/>
                </a:cubicBezTo>
                <a:cubicBezTo>
                  <a:pt x="1173718" y="2121817"/>
                  <a:pt x="1172484" y="2120583"/>
                  <a:pt x="1172484" y="2118855"/>
                </a:cubicBezTo>
                <a:cubicBezTo>
                  <a:pt x="1172484" y="2117127"/>
                  <a:pt x="1173718" y="2115893"/>
                  <a:pt x="1175447" y="2115893"/>
                </a:cubicBezTo>
                <a:close/>
                <a:moveTo>
                  <a:pt x="2649770" y="2105279"/>
                </a:moveTo>
                <a:cubicBezTo>
                  <a:pt x="2654953" y="2105279"/>
                  <a:pt x="2659149" y="2109475"/>
                  <a:pt x="2659149" y="2114660"/>
                </a:cubicBezTo>
                <a:cubicBezTo>
                  <a:pt x="2659149" y="2119843"/>
                  <a:pt x="2654953" y="2124038"/>
                  <a:pt x="2649770" y="2124038"/>
                </a:cubicBezTo>
                <a:cubicBezTo>
                  <a:pt x="2644585" y="2124038"/>
                  <a:pt x="2640389" y="2119843"/>
                  <a:pt x="2640389" y="2114660"/>
                </a:cubicBezTo>
                <a:cubicBezTo>
                  <a:pt x="2640389" y="2109475"/>
                  <a:pt x="2644585" y="2105279"/>
                  <a:pt x="2649770" y="2105279"/>
                </a:cubicBezTo>
                <a:close/>
                <a:moveTo>
                  <a:pt x="2174122" y="2102071"/>
                </a:moveTo>
                <a:cubicBezTo>
                  <a:pt x="2179305" y="2102071"/>
                  <a:pt x="2183500" y="2106267"/>
                  <a:pt x="2183500" y="2111452"/>
                </a:cubicBezTo>
                <a:cubicBezTo>
                  <a:pt x="2183500" y="2116635"/>
                  <a:pt x="2179305" y="2120830"/>
                  <a:pt x="2174122" y="2120830"/>
                </a:cubicBezTo>
                <a:cubicBezTo>
                  <a:pt x="2168937" y="2120830"/>
                  <a:pt x="2164741" y="2116635"/>
                  <a:pt x="2164741" y="2111452"/>
                </a:cubicBezTo>
                <a:cubicBezTo>
                  <a:pt x="2164741" y="2106267"/>
                  <a:pt x="2168937" y="2102071"/>
                  <a:pt x="2174122" y="2102071"/>
                </a:cubicBezTo>
                <a:close/>
                <a:moveTo>
                  <a:pt x="953792" y="2097629"/>
                </a:moveTo>
                <a:cubicBezTo>
                  <a:pt x="954533" y="2097629"/>
                  <a:pt x="955026" y="2098121"/>
                  <a:pt x="955026" y="2098863"/>
                </a:cubicBezTo>
                <a:cubicBezTo>
                  <a:pt x="955026" y="2099604"/>
                  <a:pt x="954533" y="2100099"/>
                  <a:pt x="953792" y="2100099"/>
                </a:cubicBezTo>
                <a:cubicBezTo>
                  <a:pt x="953051" y="2100099"/>
                  <a:pt x="952559" y="2099604"/>
                  <a:pt x="952559" y="2098863"/>
                </a:cubicBezTo>
                <a:cubicBezTo>
                  <a:pt x="952559" y="2098121"/>
                  <a:pt x="953051" y="2097629"/>
                  <a:pt x="953792" y="2097629"/>
                </a:cubicBezTo>
                <a:close/>
                <a:moveTo>
                  <a:pt x="624760" y="2096888"/>
                </a:moveTo>
                <a:cubicBezTo>
                  <a:pt x="625748" y="2096888"/>
                  <a:pt x="626735" y="2097875"/>
                  <a:pt x="626735" y="2098863"/>
                </a:cubicBezTo>
                <a:cubicBezTo>
                  <a:pt x="626735" y="2099850"/>
                  <a:pt x="625994" y="2100837"/>
                  <a:pt x="624760" y="2100837"/>
                </a:cubicBezTo>
                <a:cubicBezTo>
                  <a:pt x="623773" y="2100837"/>
                  <a:pt x="622785" y="2099850"/>
                  <a:pt x="622785" y="2098863"/>
                </a:cubicBezTo>
                <a:cubicBezTo>
                  <a:pt x="622785" y="2097629"/>
                  <a:pt x="623773" y="2096888"/>
                  <a:pt x="624760" y="2096888"/>
                </a:cubicBezTo>
                <a:close/>
                <a:moveTo>
                  <a:pt x="54817" y="2091705"/>
                </a:moveTo>
                <a:cubicBezTo>
                  <a:pt x="56296" y="2091705"/>
                  <a:pt x="57532" y="2092939"/>
                  <a:pt x="57532" y="2094421"/>
                </a:cubicBezTo>
                <a:cubicBezTo>
                  <a:pt x="57532" y="2095901"/>
                  <a:pt x="56296" y="2097134"/>
                  <a:pt x="54817" y="2097134"/>
                </a:cubicBezTo>
                <a:cubicBezTo>
                  <a:pt x="53334" y="2097134"/>
                  <a:pt x="52101" y="2095901"/>
                  <a:pt x="52101" y="2094421"/>
                </a:cubicBezTo>
                <a:cubicBezTo>
                  <a:pt x="52101" y="2092939"/>
                  <a:pt x="53334" y="2091705"/>
                  <a:pt x="54817" y="2091705"/>
                </a:cubicBezTo>
                <a:close/>
                <a:moveTo>
                  <a:pt x="170335" y="2079857"/>
                </a:moveTo>
                <a:cubicBezTo>
                  <a:pt x="171569" y="2079857"/>
                  <a:pt x="172556" y="2080844"/>
                  <a:pt x="172556" y="2082327"/>
                </a:cubicBezTo>
                <a:cubicBezTo>
                  <a:pt x="172556" y="2083560"/>
                  <a:pt x="171569" y="2084548"/>
                  <a:pt x="170335" y="2084548"/>
                </a:cubicBezTo>
                <a:cubicBezTo>
                  <a:pt x="169099" y="2084548"/>
                  <a:pt x="167865" y="2083560"/>
                  <a:pt x="167865" y="2082327"/>
                </a:cubicBezTo>
                <a:cubicBezTo>
                  <a:pt x="167865" y="2081091"/>
                  <a:pt x="168853" y="2079857"/>
                  <a:pt x="170335" y="2079857"/>
                </a:cubicBezTo>
                <a:close/>
                <a:moveTo>
                  <a:pt x="2360234" y="2078374"/>
                </a:moveTo>
                <a:cubicBezTo>
                  <a:pt x="2367886" y="2078374"/>
                  <a:pt x="2374057" y="2084544"/>
                  <a:pt x="2374057" y="2092197"/>
                </a:cubicBezTo>
                <a:cubicBezTo>
                  <a:pt x="2374057" y="2099849"/>
                  <a:pt x="2367886" y="2106020"/>
                  <a:pt x="2360234" y="2106020"/>
                </a:cubicBezTo>
                <a:cubicBezTo>
                  <a:pt x="2352581" y="2106020"/>
                  <a:pt x="2346411" y="2099849"/>
                  <a:pt x="2346411" y="2092197"/>
                </a:cubicBezTo>
                <a:cubicBezTo>
                  <a:pt x="2346411" y="2084544"/>
                  <a:pt x="2352581" y="2078374"/>
                  <a:pt x="2360234" y="2078374"/>
                </a:cubicBezTo>
                <a:close/>
                <a:moveTo>
                  <a:pt x="1485231" y="2070968"/>
                </a:moveTo>
                <a:cubicBezTo>
                  <a:pt x="1486465" y="2070968"/>
                  <a:pt x="1487698" y="2071955"/>
                  <a:pt x="1487698" y="2073438"/>
                </a:cubicBezTo>
                <a:cubicBezTo>
                  <a:pt x="1487698" y="2074671"/>
                  <a:pt x="1486711" y="2075905"/>
                  <a:pt x="1485231" y="2075905"/>
                </a:cubicBezTo>
                <a:cubicBezTo>
                  <a:pt x="1483995" y="2075905"/>
                  <a:pt x="1482761" y="2074918"/>
                  <a:pt x="1482761" y="2073438"/>
                </a:cubicBezTo>
                <a:cubicBezTo>
                  <a:pt x="1482761" y="2072202"/>
                  <a:pt x="1483749" y="2070968"/>
                  <a:pt x="1485231" y="2070968"/>
                </a:cubicBezTo>
                <a:close/>
                <a:moveTo>
                  <a:pt x="1685913" y="2070722"/>
                </a:moveTo>
                <a:cubicBezTo>
                  <a:pt x="1687392" y="2070722"/>
                  <a:pt x="1688628" y="2071956"/>
                  <a:pt x="1688628" y="2073438"/>
                </a:cubicBezTo>
                <a:cubicBezTo>
                  <a:pt x="1688628" y="2074918"/>
                  <a:pt x="1687392" y="2076154"/>
                  <a:pt x="1685913" y="2076154"/>
                </a:cubicBezTo>
                <a:cubicBezTo>
                  <a:pt x="1684430" y="2076154"/>
                  <a:pt x="1683196" y="2074918"/>
                  <a:pt x="1683196" y="2073438"/>
                </a:cubicBezTo>
                <a:cubicBezTo>
                  <a:pt x="1683196" y="2071956"/>
                  <a:pt x="1684430" y="2070722"/>
                  <a:pt x="1685913" y="2070722"/>
                </a:cubicBezTo>
                <a:close/>
                <a:moveTo>
                  <a:pt x="2827242" y="2070476"/>
                </a:moveTo>
                <a:cubicBezTo>
                  <a:pt x="2835880" y="2070476"/>
                  <a:pt x="2842791" y="2077387"/>
                  <a:pt x="2842791" y="2086027"/>
                </a:cubicBezTo>
                <a:cubicBezTo>
                  <a:pt x="2842791" y="2094667"/>
                  <a:pt x="2835880" y="2101579"/>
                  <a:pt x="2827242" y="2101579"/>
                </a:cubicBezTo>
                <a:cubicBezTo>
                  <a:pt x="2818603" y="2101579"/>
                  <a:pt x="2811691" y="2094667"/>
                  <a:pt x="2811691" y="2086027"/>
                </a:cubicBezTo>
                <a:cubicBezTo>
                  <a:pt x="2811691" y="2077387"/>
                  <a:pt x="2818603" y="2070476"/>
                  <a:pt x="2827242" y="2070476"/>
                </a:cubicBezTo>
                <a:close/>
                <a:moveTo>
                  <a:pt x="1882639" y="2064057"/>
                </a:moveTo>
                <a:cubicBezTo>
                  <a:pt x="1883873" y="2064057"/>
                  <a:pt x="1884862" y="2065044"/>
                  <a:pt x="1884862" y="2066278"/>
                </a:cubicBezTo>
                <a:cubicBezTo>
                  <a:pt x="1885111" y="2067514"/>
                  <a:pt x="1884123" y="2068502"/>
                  <a:pt x="1882639" y="2068502"/>
                </a:cubicBezTo>
                <a:cubicBezTo>
                  <a:pt x="1881407" y="2068502"/>
                  <a:pt x="1880419" y="2067514"/>
                  <a:pt x="1880419" y="2066278"/>
                </a:cubicBezTo>
                <a:cubicBezTo>
                  <a:pt x="1880419" y="2065044"/>
                  <a:pt x="1881407" y="2064057"/>
                  <a:pt x="1882639" y="2064057"/>
                </a:cubicBezTo>
                <a:close/>
                <a:moveTo>
                  <a:pt x="285111" y="2063318"/>
                </a:moveTo>
                <a:cubicBezTo>
                  <a:pt x="286099" y="2063318"/>
                  <a:pt x="287086" y="2064305"/>
                  <a:pt x="287086" y="2065293"/>
                </a:cubicBezTo>
                <a:cubicBezTo>
                  <a:pt x="287086" y="2066280"/>
                  <a:pt x="286345" y="2067267"/>
                  <a:pt x="285111" y="2067267"/>
                </a:cubicBezTo>
                <a:cubicBezTo>
                  <a:pt x="284124" y="2067267"/>
                  <a:pt x="283137" y="2066280"/>
                  <a:pt x="283137" y="2065293"/>
                </a:cubicBezTo>
                <a:cubicBezTo>
                  <a:pt x="283137" y="2064305"/>
                  <a:pt x="284124" y="2063318"/>
                  <a:pt x="285111" y="2063318"/>
                </a:cubicBezTo>
                <a:close/>
                <a:moveTo>
                  <a:pt x="1279119" y="2063072"/>
                </a:moveTo>
                <a:cubicBezTo>
                  <a:pt x="1280598" y="2063072"/>
                  <a:pt x="1282081" y="2064306"/>
                  <a:pt x="1282081" y="2066034"/>
                </a:cubicBezTo>
                <a:cubicBezTo>
                  <a:pt x="1282081" y="2067514"/>
                  <a:pt x="1280845" y="2068750"/>
                  <a:pt x="1279119" y="2068750"/>
                </a:cubicBezTo>
                <a:cubicBezTo>
                  <a:pt x="1277390" y="2068750"/>
                  <a:pt x="1276403" y="2067514"/>
                  <a:pt x="1276403" y="2066034"/>
                </a:cubicBezTo>
                <a:cubicBezTo>
                  <a:pt x="1276403" y="2064552"/>
                  <a:pt x="1277636" y="2063072"/>
                  <a:pt x="1279119" y="2063072"/>
                </a:cubicBezTo>
                <a:close/>
                <a:moveTo>
                  <a:pt x="735587" y="2062823"/>
                </a:moveTo>
                <a:cubicBezTo>
                  <a:pt x="736577" y="2062823"/>
                  <a:pt x="737069" y="2063564"/>
                  <a:pt x="737069" y="2064303"/>
                </a:cubicBezTo>
                <a:cubicBezTo>
                  <a:pt x="737069" y="2065044"/>
                  <a:pt x="736328" y="2065785"/>
                  <a:pt x="735587" y="2065785"/>
                </a:cubicBezTo>
                <a:cubicBezTo>
                  <a:pt x="734849" y="2065785"/>
                  <a:pt x="734109" y="2065044"/>
                  <a:pt x="734109" y="2064303"/>
                </a:cubicBezTo>
                <a:cubicBezTo>
                  <a:pt x="734109" y="2063564"/>
                  <a:pt x="734849" y="2062823"/>
                  <a:pt x="735587" y="2062823"/>
                </a:cubicBezTo>
                <a:close/>
                <a:moveTo>
                  <a:pt x="1060176" y="2051716"/>
                </a:moveTo>
                <a:cubicBezTo>
                  <a:pt x="1060669" y="2051716"/>
                  <a:pt x="1061164" y="2052211"/>
                  <a:pt x="1061164" y="2052704"/>
                </a:cubicBezTo>
                <a:cubicBezTo>
                  <a:pt x="1061164" y="2053445"/>
                  <a:pt x="1060669" y="2053691"/>
                  <a:pt x="1060176" y="2053691"/>
                </a:cubicBezTo>
                <a:cubicBezTo>
                  <a:pt x="1059684" y="2053691"/>
                  <a:pt x="1059189" y="2053196"/>
                  <a:pt x="1059189" y="2052704"/>
                </a:cubicBezTo>
                <a:cubicBezTo>
                  <a:pt x="1059189" y="2052211"/>
                  <a:pt x="1059684" y="2051716"/>
                  <a:pt x="1060176" y="2051716"/>
                </a:cubicBezTo>
                <a:close/>
                <a:moveTo>
                  <a:pt x="2074398" y="2047521"/>
                </a:moveTo>
                <a:cubicBezTo>
                  <a:pt x="2077606" y="2047521"/>
                  <a:pt x="2080322" y="2050237"/>
                  <a:pt x="2080322" y="2053445"/>
                </a:cubicBezTo>
                <a:cubicBezTo>
                  <a:pt x="2080322" y="2056653"/>
                  <a:pt x="2077606" y="2059369"/>
                  <a:pt x="2074398" y="2059369"/>
                </a:cubicBezTo>
                <a:cubicBezTo>
                  <a:pt x="2071190" y="2059369"/>
                  <a:pt x="2068474" y="2056653"/>
                  <a:pt x="2068474" y="2053445"/>
                </a:cubicBezTo>
                <a:cubicBezTo>
                  <a:pt x="2068474" y="2050237"/>
                  <a:pt x="2071190" y="2047521"/>
                  <a:pt x="2074398" y="2047521"/>
                </a:cubicBezTo>
                <a:close/>
                <a:moveTo>
                  <a:pt x="399150" y="2041843"/>
                </a:moveTo>
                <a:cubicBezTo>
                  <a:pt x="400137" y="2041843"/>
                  <a:pt x="400875" y="2042584"/>
                  <a:pt x="400875" y="2043571"/>
                </a:cubicBezTo>
                <a:cubicBezTo>
                  <a:pt x="400875" y="2044559"/>
                  <a:pt x="400137" y="2045300"/>
                  <a:pt x="399150" y="2045300"/>
                </a:cubicBezTo>
                <a:cubicBezTo>
                  <a:pt x="398162" y="2045300"/>
                  <a:pt x="397421" y="2044559"/>
                  <a:pt x="397421" y="2043571"/>
                </a:cubicBezTo>
                <a:cubicBezTo>
                  <a:pt x="397421" y="2042584"/>
                  <a:pt x="398162" y="2041843"/>
                  <a:pt x="399150" y="2041843"/>
                </a:cubicBezTo>
                <a:close/>
                <a:moveTo>
                  <a:pt x="2552516" y="2041102"/>
                </a:moveTo>
                <a:cubicBezTo>
                  <a:pt x="2562143" y="2041102"/>
                  <a:pt x="2570288" y="2049001"/>
                  <a:pt x="2570288" y="2058628"/>
                </a:cubicBezTo>
                <a:cubicBezTo>
                  <a:pt x="2570288" y="2068501"/>
                  <a:pt x="2562143" y="2076400"/>
                  <a:pt x="2552516" y="2076400"/>
                </a:cubicBezTo>
                <a:cubicBezTo>
                  <a:pt x="2542889" y="2076400"/>
                  <a:pt x="2534744" y="2068501"/>
                  <a:pt x="2534744" y="2058628"/>
                </a:cubicBezTo>
                <a:cubicBezTo>
                  <a:pt x="2534744" y="2049001"/>
                  <a:pt x="2542643" y="2041102"/>
                  <a:pt x="2552516" y="2041102"/>
                </a:cubicBezTo>
                <a:close/>
                <a:moveTo>
                  <a:pt x="2261747" y="2025058"/>
                </a:moveTo>
                <a:cubicBezTo>
                  <a:pt x="2267424" y="2025058"/>
                  <a:pt x="2271866" y="2029500"/>
                  <a:pt x="2271866" y="2035178"/>
                </a:cubicBezTo>
                <a:cubicBezTo>
                  <a:pt x="2271620" y="2040855"/>
                  <a:pt x="2267178" y="2045300"/>
                  <a:pt x="2261747" y="2045300"/>
                </a:cubicBezTo>
                <a:cubicBezTo>
                  <a:pt x="2256069" y="2045300"/>
                  <a:pt x="2251627" y="2040855"/>
                  <a:pt x="2251627" y="2035178"/>
                </a:cubicBezTo>
                <a:cubicBezTo>
                  <a:pt x="2251627" y="2029500"/>
                  <a:pt x="2256069" y="2025058"/>
                  <a:pt x="2261747" y="2025058"/>
                </a:cubicBezTo>
                <a:close/>
                <a:moveTo>
                  <a:pt x="844690" y="2024317"/>
                </a:moveTo>
                <a:cubicBezTo>
                  <a:pt x="845183" y="2024317"/>
                  <a:pt x="845678" y="2024809"/>
                  <a:pt x="845678" y="2025304"/>
                </a:cubicBezTo>
                <a:cubicBezTo>
                  <a:pt x="845678" y="2025797"/>
                  <a:pt x="845431" y="2026292"/>
                  <a:pt x="844690" y="2026292"/>
                </a:cubicBezTo>
                <a:cubicBezTo>
                  <a:pt x="844198" y="2026292"/>
                  <a:pt x="843703" y="2025797"/>
                  <a:pt x="843703" y="2025304"/>
                </a:cubicBezTo>
                <a:cubicBezTo>
                  <a:pt x="843703" y="2024809"/>
                  <a:pt x="844198" y="2024317"/>
                  <a:pt x="844690" y="2024317"/>
                </a:cubicBezTo>
                <a:close/>
                <a:moveTo>
                  <a:pt x="2730484" y="2020368"/>
                </a:moveTo>
                <a:cubicBezTo>
                  <a:pt x="2736159" y="2020368"/>
                  <a:pt x="2740850" y="2025059"/>
                  <a:pt x="2740850" y="2030737"/>
                </a:cubicBezTo>
                <a:cubicBezTo>
                  <a:pt x="2740850" y="2036412"/>
                  <a:pt x="2736159" y="2041103"/>
                  <a:pt x="2730484" y="2041103"/>
                </a:cubicBezTo>
                <a:cubicBezTo>
                  <a:pt x="2724806" y="2041103"/>
                  <a:pt x="2720115" y="2036412"/>
                  <a:pt x="2720115" y="2030737"/>
                </a:cubicBezTo>
                <a:cubicBezTo>
                  <a:pt x="2720115" y="2025059"/>
                  <a:pt x="2724806" y="2020368"/>
                  <a:pt x="2730484" y="2020368"/>
                </a:cubicBezTo>
                <a:close/>
                <a:moveTo>
                  <a:pt x="512199" y="2013705"/>
                </a:moveTo>
                <a:cubicBezTo>
                  <a:pt x="514174" y="2013705"/>
                  <a:pt x="515654" y="2015185"/>
                  <a:pt x="515654" y="2017160"/>
                </a:cubicBezTo>
                <a:cubicBezTo>
                  <a:pt x="515902" y="2018888"/>
                  <a:pt x="514174" y="2020617"/>
                  <a:pt x="512199" y="2020617"/>
                </a:cubicBezTo>
                <a:cubicBezTo>
                  <a:pt x="510224" y="2020617"/>
                  <a:pt x="508496" y="2019137"/>
                  <a:pt x="508496" y="2017160"/>
                </a:cubicBezTo>
                <a:cubicBezTo>
                  <a:pt x="508496" y="2015185"/>
                  <a:pt x="509976" y="2013705"/>
                  <a:pt x="512199" y="2013705"/>
                </a:cubicBezTo>
                <a:close/>
                <a:moveTo>
                  <a:pt x="1583718" y="2009015"/>
                </a:moveTo>
                <a:cubicBezTo>
                  <a:pt x="1584952" y="2009015"/>
                  <a:pt x="1585939" y="2010002"/>
                  <a:pt x="1585939" y="2011236"/>
                </a:cubicBezTo>
                <a:cubicBezTo>
                  <a:pt x="1585939" y="2012470"/>
                  <a:pt x="1584952" y="2013457"/>
                  <a:pt x="1583718" y="2013457"/>
                </a:cubicBezTo>
                <a:cubicBezTo>
                  <a:pt x="1582484" y="2013457"/>
                  <a:pt x="1581497" y="2012470"/>
                  <a:pt x="1581497" y="2011236"/>
                </a:cubicBezTo>
                <a:cubicBezTo>
                  <a:pt x="1581497" y="2010002"/>
                  <a:pt x="1582484" y="2009015"/>
                  <a:pt x="1583718" y="2009015"/>
                </a:cubicBezTo>
                <a:close/>
                <a:moveTo>
                  <a:pt x="1381064" y="2006299"/>
                </a:moveTo>
                <a:cubicBezTo>
                  <a:pt x="1382544" y="2006299"/>
                  <a:pt x="1383780" y="2007533"/>
                  <a:pt x="1383780" y="2009015"/>
                </a:cubicBezTo>
                <a:cubicBezTo>
                  <a:pt x="1383531" y="2010495"/>
                  <a:pt x="1382298" y="2011731"/>
                  <a:pt x="1381064" y="2011731"/>
                </a:cubicBezTo>
                <a:cubicBezTo>
                  <a:pt x="1379582" y="2011731"/>
                  <a:pt x="1378349" y="2010495"/>
                  <a:pt x="1378349" y="2009015"/>
                </a:cubicBezTo>
                <a:cubicBezTo>
                  <a:pt x="1378349" y="2007533"/>
                  <a:pt x="1379582" y="2006299"/>
                  <a:pt x="1381064" y="2006299"/>
                </a:cubicBezTo>
                <a:close/>
                <a:moveTo>
                  <a:pt x="1780944" y="2003583"/>
                </a:moveTo>
                <a:cubicBezTo>
                  <a:pt x="1782671" y="2003583"/>
                  <a:pt x="1783905" y="2005063"/>
                  <a:pt x="1783905" y="2006545"/>
                </a:cubicBezTo>
                <a:cubicBezTo>
                  <a:pt x="1783905" y="2008273"/>
                  <a:pt x="1782671" y="2009507"/>
                  <a:pt x="1780944" y="2009507"/>
                </a:cubicBezTo>
                <a:cubicBezTo>
                  <a:pt x="1779217" y="2009507"/>
                  <a:pt x="1777982" y="2008273"/>
                  <a:pt x="1777982" y="2006545"/>
                </a:cubicBezTo>
                <a:cubicBezTo>
                  <a:pt x="1777982" y="2004816"/>
                  <a:pt x="1779217" y="2003583"/>
                  <a:pt x="1780944" y="2003583"/>
                </a:cubicBezTo>
                <a:close/>
                <a:moveTo>
                  <a:pt x="1164830" y="2001857"/>
                </a:moveTo>
                <a:cubicBezTo>
                  <a:pt x="1165323" y="2001857"/>
                  <a:pt x="1165818" y="2002349"/>
                  <a:pt x="1165818" y="2002844"/>
                </a:cubicBezTo>
                <a:cubicBezTo>
                  <a:pt x="1165818" y="2003337"/>
                  <a:pt x="1165323" y="2003832"/>
                  <a:pt x="1164830" y="2003832"/>
                </a:cubicBezTo>
                <a:cubicBezTo>
                  <a:pt x="1164338" y="2003832"/>
                  <a:pt x="1163843" y="2003337"/>
                  <a:pt x="1163843" y="2002844"/>
                </a:cubicBezTo>
                <a:cubicBezTo>
                  <a:pt x="1163843" y="2002349"/>
                  <a:pt x="1164338" y="2001857"/>
                  <a:pt x="1164830" y="2001857"/>
                </a:cubicBezTo>
                <a:close/>
                <a:moveTo>
                  <a:pt x="2444650" y="1998154"/>
                </a:moveTo>
                <a:cubicBezTo>
                  <a:pt x="2452549" y="1998154"/>
                  <a:pt x="2459214" y="2004819"/>
                  <a:pt x="2459214" y="2012718"/>
                </a:cubicBezTo>
                <a:cubicBezTo>
                  <a:pt x="2459214" y="2020617"/>
                  <a:pt x="2452795" y="2027279"/>
                  <a:pt x="2444650" y="2027279"/>
                </a:cubicBezTo>
                <a:cubicBezTo>
                  <a:pt x="2436505" y="2027279"/>
                  <a:pt x="2430086" y="2020617"/>
                  <a:pt x="2430086" y="2012718"/>
                </a:cubicBezTo>
                <a:cubicBezTo>
                  <a:pt x="2430086" y="2004819"/>
                  <a:pt x="2436505" y="1998154"/>
                  <a:pt x="2444650" y="1998154"/>
                </a:cubicBezTo>
                <a:close/>
                <a:moveTo>
                  <a:pt x="1974437" y="1991735"/>
                </a:moveTo>
                <a:cubicBezTo>
                  <a:pt x="1975918" y="1991735"/>
                  <a:pt x="1977401" y="1992968"/>
                  <a:pt x="1977401" y="1994697"/>
                </a:cubicBezTo>
                <a:cubicBezTo>
                  <a:pt x="1977401" y="1996425"/>
                  <a:pt x="1975918" y="1997659"/>
                  <a:pt x="1974437" y="1997659"/>
                </a:cubicBezTo>
                <a:cubicBezTo>
                  <a:pt x="1972707" y="1997659"/>
                  <a:pt x="1971473" y="1996425"/>
                  <a:pt x="1971473" y="1994697"/>
                </a:cubicBezTo>
                <a:cubicBezTo>
                  <a:pt x="1971473" y="1992968"/>
                  <a:pt x="1972707" y="1991735"/>
                  <a:pt x="1974437" y="1991735"/>
                </a:cubicBezTo>
                <a:close/>
                <a:moveTo>
                  <a:pt x="2904996" y="1983095"/>
                </a:moveTo>
                <a:cubicBezTo>
                  <a:pt x="2913880" y="1983095"/>
                  <a:pt x="2921286" y="1990501"/>
                  <a:pt x="2921286" y="1999387"/>
                </a:cubicBezTo>
                <a:cubicBezTo>
                  <a:pt x="2921286" y="2008520"/>
                  <a:pt x="2913880" y="2015677"/>
                  <a:pt x="2904996" y="2015677"/>
                </a:cubicBezTo>
                <a:cubicBezTo>
                  <a:pt x="2896108" y="2015677"/>
                  <a:pt x="2888704" y="2008273"/>
                  <a:pt x="2888704" y="1999387"/>
                </a:cubicBezTo>
                <a:cubicBezTo>
                  <a:pt x="2888704" y="1990501"/>
                  <a:pt x="2896108" y="1983095"/>
                  <a:pt x="2904996" y="1983095"/>
                </a:cubicBezTo>
                <a:close/>
                <a:moveTo>
                  <a:pt x="624017" y="1982603"/>
                </a:moveTo>
                <a:cubicBezTo>
                  <a:pt x="625745" y="1982603"/>
                  <a:pt x="627225" y="1984083"/>
                  <a:pt x="627225" y="1985811"/>
                </a:cubicBezTo>
                <a:cubicBezTo>
                  <a:pt x="627225" y="1987539"/>
                  <a:pt x="625745" y="1989022"/>
                  <a:pt x="624017" y="1989022"/>
                </a:cubicBezTo>
                <a:cubicBezTo>
                  <a:pt x="622288" y="1989022"/>
                  <a:pt x="620809" y="1987539"/>
                  <a:pt x="620809" y="1985811"/>
                </a:cubicBezTo>
                <a:cubicBezTo>
                  <a:pt x="620809" y="1984083"/>
                  <a:pt x="622288" y="1982603"/>
                  <a:pt x="624017" y="1982603"/>
                </a:cubicBezTo>
                <a:close/>
                <a:moveTo>
                  <a:pt x="54569" y="1982603"/>
                </a:moveTo>
                <a:cubicBezTo>
                  <a:pt x="56049" y="1982603"/>
                  <a:pt x="57285" y="1983837"/>
                  <a:pt x="57285" y="1985319"/>
                </a:cubicBezTo>
                <a:cubicBezTo>
                  <a:pt x="57285" y="1987045"/>
                  <a:pt x="56049" y="1988035"/>
                  <a:pt x="54569" y="1988035"/>
                </a:cubicBezTo>
                <a:cubicBezTo>
                  <a:pt x="53087" y="1988035"/>
                  <a:pt x="51853" y="1986799"/>
                  <a:pt x="51853" y="1985319"/>
                </a:cubicBezTo>
                <a:cubicBezTo>
                  <a:pt x="51853" y="1983837"/>
                  <a:pt x="53087" y="1982603"/>
                  <a:pt x="54569" y="1982603"/>
                </a:cubicBezTo>
                <a:close/>
                <a:moveTo>
                  <a:pt x="952310" y="1981123"/>
                </a:moveTo>
                <a:cubicBezTo>
                  <a:pt x="952803" y="1981123"/>
                  <a:pt x="953049" y="1981369"/>
                  <a:pt x="953049" y="1981864"/>
                </a:cubicBezTo>
                <a:cubicBezTo>
                  <a:pt x="953049" y="1982357"/>
                  <a:pt x="952803" y="1982603"/>
                  <a:pt x="952310" y="1982603"/>
                </a:cubicBezTo>
                <a:cubicBezTo>
                  <a:pt x="952064" y="1982603"/>
                  <a:pt x="951569" y="1982357"/>
                  <a:pt x="951569" y="1981864"/>
                </a:cubicBezTo>
                <a:cubicBezTo>
                  <a:pt x="951569" y="1981369"/>
                  <a:pt x="951815" y="1981123"/>
                  <a:pt x="952310" y="1981123"/>
                </a:cubicBezTo>
                <a:close/>
                <a:moveTo>
                  <a:pt x="2162766" y="1971742"/>
                </a:moveTo>
                <a:cubicBezTo>
                  <a:pt x="2166220" y="1971742"/>
                  <a:pt x="2169182" y="1974704"/>
                  <a:pt x="2169182" y="1978161"/>
                </a:cubicBezTo>
                <a:cubicBezTo>
                  <a:pt x="2168936" y="1981616"/>
                  <a:pt x="2166220" y="1984332"/>
                  <a:pt x="2162766" y="1984332"/>
                </a:cubicBezTo>
                <a:cubicBezTo>
                  <a:pt x="2159309" y="1984332"/>
                  <a:pt x="2156347" y="1981616"/>
                  <a:pt x="2156347" y="1978161"/>
                </a:cubicBezTo>
                <a:cubicBezTo>
                  <a:pt x="2156347" y="1974704"/>
                  <a:pt x="2159309" y="1971742"/>
                  <a:pt x="2162766" y="1971742"/>
                </a:cubicBezTo>
                <a:close/>
                <a:moveTo>
                  <a:pt x="170333" y="1970508"/>
                </a:moveTo>
                <a:cubicBezTo>
                  <a:pt x="171567" y="1970508"/>
                  <a:pt x="172554" y="1971495"/>
                  <a:pt x="172554" y="1972729"/>
                </a:cubicBezTo>
                <a:cubicBezTo>
                  <a:pt x="172554" y="1974211"/>
                  <a:pt x="171567" y="1975199"/>
                  <a:pt x="170333" y="1975199"/>
                </a:cubicBezTo>
                <a:cubicBezTo>
                  <a:pt x="169097" y="1975199"/>
                  <a:pt x="167864" y="1974211"/>
                  <a:pt x="167864" y="1972729"/>
                </a:cubicBezTo>
                <a:cubicBezTo>
                  <a:pt x="167864" y="1971495"/>
                  <a:pt x="168851" y="1970508"/>
                  <a:pt x="170333" y="1970508"/>
                </a:cubicBezTo>
                <a:close/>
                <a:moveTo>
                  <a:pt x="2633973" y="1956932"/>
                </a:moveTo>
                <a:cubicBezTo>
                  <a:pt x="2644093" y="1956932"/>
                  <a:pt x="2652487" y="1965323"/>
                  <a:pt x="2652487" y="1975445"/>
                </a:cubicBezTo>
                <a:cubicBezTo>
                  <a:pt x="2652487" y="1985565"/>
                  <a:pt x="2644093" y="1993959"/>
                  <a:pt x="2633973" y="1993959"/>
                </a:cubicBezTo>
                <a:cubicBezTo>
                  <a:pt x="2623605" y="1993959"/>
                  <a:pt x="2615460" y="1985565"/>
                  <a:pt x="2615460" y="1975445"/>
                </a:cubicBezTo>
                <a:cubicBezTo>
                  <a:pt x="2615460" y="1965077"/>
                  <a:pt x="2623851" y="1956932"/>
                  <a:pt x="2633973" y="1956932"/>
                </a:cubicBezTo>
                <a:close/>
                <a:moveTo>
                  <a:pt x="285110" y="1953229"/>
                </a:moveTo>
                <a:cubicBezTo>
                  <a:pt x="286097" y="1953229"/>
                  <a:pt x="287084" y="1954216"/>
                  <a:pt x="287084" y="1955204"/>
                </a:cubicBezTo>
                <a:cubicBezTo>
                  <a:pt x="287084" y="1956191"/>
                  <a:pt x="286097" y="1957178"/>
                  <a:pt x="285110" y="1957178"/>
                </a:cubicBezTo>
                <a:cubicBezTo>
                  <a:pt x="283876" y="1957178"/>
                  <a:pt x="283135" y="1956191"/>
                  <a:pt x="283135" y="1955204"/>
                </a:cubicBezTo>
                <a:cubicBezTo>
                  <a:pt x="283135" y="1954216"/>
                  <a:pt x="284122" y="1953229"/>
                  <a:pt x="285110" y="1953229"/>
                </a:cubicBezTo>
                <a:close/>
                <a:moveTo>
                  <a:pt x="1267269" y="1947800"/>
                </a:moveTo>
                <a:cubicBezTo>
                  <a:pt x="1267761" y="1947800"/>
                  <a:pt x="1268256" y="1948293"/>
                  <a:pt x="1268256" y="1948788"/>
                </a:cubicBezTo>
                <a:cubicBezTo>
                  <a:pt x="1268256" y="1949529"/>
                  <a:pt x="1267761" y="1949775"/>
                  <a:pt x="1267269" y="1949775"/>
                </a:cubicBezTo>
                <a:cubicBezTo>
                  <a:pt x="1266776" y="1949775"/>
                  <a:pt x="1266281" y="1949280"/>
                  <a:pt x="1266281" y="1948788"/>
                </a:cubicBezTo>
                <a:cubicBezTo>
                  <a:pt x="1266281" y="1948293"/>
                  <a:pt x="1266776" y="1947800"/>
                  <a:pt x="1267269" y="1947800"/>
                </a:cubicBezTo>
                <a:close/>
                <a:moveTo>
                  <a:pt x="734352" y="1946812"/>
                </a:moveTo>
                <a:cubicBezTo>
                  <a:pt x="736080" y="1946812"/>
                  <a:pt x="737314" y="1948046"/>
                  <a:pt x="737314" y="1949774"/>
                </a:cubicBezTo>
                <a:cubicBezTo>
                  <a:pt x="737314" y="1951503"/>
                  <a:pt x="736080" y="1952736"/>
                  <a:pt x="734352" y="1952736"/>
                </a:cubicBezTo>
                <a:cubicBezTo>
                  <a:pt x="732870" y="1952736"/>
                  <a:pt x="731390" y="1951503"/>
                  <a:pt x="731390" y="1949774"/>
                </a:cubicBezTo>
                <a:cubicBezTo>
                  <a:pt x="731390" y="1948046"/>
                  <a:pt x="732624" y="1946812"/>
                  <a:pt x="734352" y="1946812"/>
                </a:cubicBezTo>
                <a:close/>
                <a:moveTo>
                  <a:pt x="1480539" y="1946317"/>
                </a:moveTo>
                <a:cubicBezTo>
                  <a:pt x="1482019" y="1946317"/>
                  <a:pt x="1483006" y="1947304"/>
                  <a:pt x="1483006" y="1948787"/>
                </a:cubicBezTo>
                <a:cubicBezTo>
                  <a:pt x="1483006" y="1950020"/>
                  <a:pt x="1482019" y="1951254"/>
                  <a:pt x="1480539" y="1951254"/>
                </a:cubicBezTo>
                <a:cubicBezTo>
                  <a:pt x="1479303" y="1951254"/>
                  <a:pt x="1478069" y="1950267"/>
                  <a:pt x="1478069" y="1948787"/>
                </a:cubicBezTo>
                <a:cubicBezTo>
                  <a:pt x="1478069" y="1947304"/>
                  <a:pt x="1479057" y="1946317"/>
                  <a:pt x="1480539" y="1946317"/>
                </a:cubicBezTo>
                <a:close/>
                <a:moveTo>
                  <a:pt x="2346658" y="1945579"/>
                </a:moveTo>
                <a:cubicBezTo>
                  <a:pt x="2352582" y="1945579"/>
                  <a:pt x="2357519" y="1950516"/>
                  <a:pt x="2357519" y="1956440"/>
                </a:cubicBezTo>
                <a:cubicBezTo>
                  <a:pt x="2357519" y="1962363"/>
                  <a:pt x="2352828" y="1967300"/>
                  <a:pt x="2346658" y="1967300"/>
                </a:cubicBezTo>
                <a:cubicBezTo>
                  <a:pt x="2340734" y="1967300"/>
                  <a:pt x="2335797" y="1962363"/>
                  <a:pt x="2335797" y="1956440"/>
                </a:cubicBezTo>
                <a:cubicBezTo>
                  <a:pt x="2335797" y="1950516"/>
                  <a:pt x="2340734" y="1945579"/>
                  <a:pt x="2346658" y="1945579"/>
                </a:cubicBezTo>
                <a:close/>
                <a:moveTo>
                  <a:pt x="1679740" y="1943604"/>
                </a:moveTo>
                <a:cubicBezTo>
                  <a:pt x="1680728" y="1943604"/>
                  <a:pt x="1681715" y="1944591"/>
                  <a:pt x="1681715" y="1945579"/>
                </a:cubicBezTo>
                <a:cubicBezTo>
                  <a:pt x="1681961" y="1946812"/>
                  <a:pt x="1680974" y="1947554"/>
                  <a:pt x="1679740" y="1947554"/>
                </a:cubicBezTo>
                <a:cubicBezTo>
                  <a:pt x="1678753" y="1947554"/>
                  <a:pt x="1677766" y="1946566"/>
                  <a:pt x="1677766" y="1945579"/>
                </a:cubicBezTo>
                <a:cubicBezTo>
                  <a:pt x="1677766" y="1944591"/>
                  <a:pt x="1678753" y="1943604"/>
                  <a:pt x="1679740" y="1943604"/>
                </a:cubicBezTo>
                <a:close/>
                <a:moveTo>
                  <a:pt x="2808729" y="1933728"/>
                </a:moveTo>
                <a:cubicBezTo>
                  <a:pt x="2814899" y="1933728"/>
                  <a:pt x="2819836" y="1938665"/>
                  <a:pt x="2819836" y="1944835"/>
                </a:cubicBezTo>
                <a:cubicBezTo>
                  <a:pt x="2819836" y="1950759"/>
                  <a:pt x="2814899" y="1955945"/>
                  <a:pt x="2808729" y="1955945"/>
                </a:cubicBezTo>
                <a:cubicBezTo>
                  <a:pt x="2802559" y="1955945"/>
                  <a:pt x="2797622" y="1951008"/>
                  <a:pt x="2797622" y="1944835"/>
                </a:cubicBezTo>
                <a:cubicBezTo>
                  <a:pt x="2797622" y="1938665"/>
                  <a:pt x="2802559" y="1933728"/>
                  <a:pt x="2808729" y="1933728"/>
                </a:cubicBezTo>
                <a:close/>
                <a:moveTo>
                  <a:pt x="1058203" y="1933482"/>
                </a:moveTo>
                <a:cubicBezTo>
                  <a:pt x="1058695" y="1933482"/>
                  <a:pt x="1058941" y="1933728"/>
                  <a:pt x="1058941" y="1934223"/>
                </a:cubicBezTo>
                <a:cubicBezTo>
                  <a:pt x="1058695" y="1934470"/>
                  <a:pt x="1058449" y="1934962"/>
                  <a:pt x="1058203" y="1934962"/>
                </a:cubicBezTo>
                <a:cubicBezTo>
                  <a:pt x="1057954" y="1934962"/>
                  <a:pt x="1057461" y="1934716"/>
                  <a:pt x="1057461" y="1934223"/>
                </a:cubicBezTo>
                <a:cubicBezTo>
                  <a:pt x="1057461" y="1933728"/>
                  <a:pt x="1057708" y="1933482"/>
                  <a:pt x="1058203" y="1933482"/>
                </a:cubicBezTo>
                <a:close/>
                <a:moveTo>
                  <a:pt x="1873751" y="1932743"/>
                </a:moveTo>
                <a:cubicBezTo>
                  <a:pt x="1875729" y="1932743"/>
                  <a:pt x="1877208" y="1934223"/>
                  <a:pt x="1877208" y="1936198"/>
                </a:cubicBezTo>
                <a:cubicBezTo>
                  <a:pt x="1876962" y="1938175"/>
                  <a:pt x="1875479" y="1939655"/>
                  <a:pt x="1873751" y="1939655"/>
                </a:cubicBezTo>
                <a:cubicBezTo>
                  <a:pt x="1871776" y="1939655"/>
                  <a:pt x="1870294" y="1938175"/>
                  <a:pt x="1870294" y="1936198"/>
                </a:cubicBezTo>
                <a:cubicBezTo>
                  <a:pt x="1870294" y="1934223"/>
                  <a:pt x="1871776" y="1932743"/>
                  <a:pt x="1873751" y="1932743"/>
                </a:cubicBezTo>
                <a:close/>
                <a:moveTo>
                  <a:pt x="399148" y="1930766"/>
                </a:moveTo>
                <a:cubicBezTo>
                  <a:pt x="400135" y="1930766"/>
                  <a:pt x="400874" y="1931507"/>
                  <a:pt x="400874" y="1932494"/>
                </a:cubicBezTo>
                <a:cubicBezTo>
                  <a:pt x="400874" y="1933482"/>
                  <a:pt x="400135" y="1934223"/>
                  <a:pt x="399148" y="1934223"/>
                </a:cubicBezTo>
                <a:cubicBezTo>
                  <a:pt x="398161" y="1934223"/>
                  <a:pt x="397420" y="1933482"/>
                  <a:pt x="397420" y="1932494"/>
                </a:cubicBezTo>
                <a:cubicBezTo>
                  <a:pt x="397420" y="1931507"/>
                  <a:pt x="398161" y="1930766"/>
                  <a:pt x="399148" y="1930766"/>
                </a:cubicBezTo>
                <a:close/>
                <a:moveTo>
                  <a:pt x="2063784" y="1917192"/>
                </a:moveTo>
                <a:cubicBezTo>
                  <a:pt x="2065761" y="1917192"/>
                  <a:pt x="2067241" y="1918672"/>
                  <a:pt x="2067241" y="1920647"/>
                </a:cubicBezTo>
                <a:cubicBezTo>
                  <a:pt x="2067241" y="1922375"/>
                  <a:pt x="2065512" y="1924104"/>
                  <a:pt x="2063784" y="1924104"/>
                </a:cubicBezTo>
                <a:cubicBezTo>
                  <a:pt x="2061809" y="1924104"/>
                  <a:pt x="2060329" y="1922624"/>
                  <a:pt x="2060329" y="1920647"/>
                </a:cubicBezTo>
                <a:cubicBezTo>
                  <a:pt x="2060329" y="1918672"/>
                  <a:pt x="2061809" y="1917192"/>
                  <a:pt x="2063784" y="1917192"/>
                </a:cubicBezTo>
                <a:close/>
                <a:moveTo>
                  <a:pt x="2526597" y="1915217"/>
                </a:moveTo>
                <a:cubicBezTo>
                  <a:pt x="2534990" y="1915217"/>
                  <a:pt x="2541902" y="1922128"/>
                  <a:pt x="2541902" y="1930519"/>
                </a:cubicBezTo>
                <a:cubicBezTo>
                  <a:pt x="2541902" y="1938913"/>
                  <a:pt x="2534990" y="1945824"/>
                  <a:pt x="2526597" y="1945824"/>
                </a:cubicBezTo>
                <a:cubicBezTo>
                  <a:pt x="2518206" y="1945824"/>
                  <a:pt x="2511294" y="1938913"/>
                  <a:pt x="2511294" y="1930519"/>
                </a:cubicBezTo>
                <a:cubicBezTo>
                  <a:pt x="2511294" y="1922128"/>
                  <a:pt x="2518206" y="1915217"/>
                  <a:pt x="2526597" y="1915217"/>
                </a:cubicBezTo>
                <a:close/>
                <a:moveTo>
                  <a:pt x="843209" y="1907073"/>
                </a:moveTo>
                <a:cubicBezTo>
                  <a:pt x="844688" y="1907073"/>
                  <a:pt x="845676" y="1908307"/>
                  <a:pt x="845676" y="1909543"/>
                </a:cubicBezTo>
                <a:cubicBezTo>
                  <a:pt x="845925" y="1910776"/>
                  <a:pt x="844688" y="1912010"/>
                  <a:pt x="843209" y="1912010"/>
                </a:cubicBezTo>
                <a:cubicBezTo>
                  <a:pt x="841727" y="1912010"/>
                  <a:pt x="840493" y="1910776"/>
                  <a:pt x="840493" y="1909543"/>
                </a:cubicBezTo>
                <a:cubicBezTo>
                  <a:pt x="840493" y="1908060"/>
                  <a:pt x="841727" y="1907073"/>
                  <a:pt x="843209" y="1907073"/>
                </a:cubicBezTo>
                <a:close/>
                <a:moveTo>
                  <a:pt x="511949" y="1901395"/>
                </a:moveTo>
                <a:cubicBezTo>
                  <a:pt x="513926" y="1901395"/>
                  <a:pt x="515406" y="1902875"/>
                  <a:pt x="515406" y="1904852"/>
                </a:cubicBezTo>
                <a:cubicBezTo>
                  <a:pt x="515406" y="1906827"/>
                  <a:pt x="513926" y="1908307"/>
                  <a:pt x="511949" y="1908307"/>
                </a:cubicBezTo>
                <a:cubicBezTo>
                  <a:pt x="509974" y="1908307"/>
                  <a:pt x="508494" y="1906827"/>
                  <a:pt x="508494" y="1904852"/>
                </a:cubicBezTo>
                <a:cubicBezTo>
                  <a:pt x="508494" y="1902875"/>
                  <a:pt x="509974" y="1901395"/>
                  <a:pt x="511949" y="1901395"/>
                </a:cubicBezTo>
                <a:close/>
                <a:moveTo>
                  <a:pt x="2980280" y="1893742"/>
                </a:moveTo>
                <a:cubicBezTo>
                  <a:pt x="2989661" y="1893742"/>
                  <a:pt x="2997314" y="1901395"/>
                  <a:pt x="2997314" y="1910773"/>
                </a:cubicBezTo>
                <a:cubicBezTo>
                  <a:pt x="2997314" y="1920154"/>
                  <a:pt x="2989661" y="1927807"/>
                  <a:pt x="2980280" y="1927807"/>
                </a:cubicBezTo>
                <a:cubicBezTo>
                  <a:pt x="2970902" y="1927807"/>
                  <a:pt x="2963249" y="1920154"/>
                  <a:pt x="2963249" y="1910773"/>
                </a:cubicBezTo>
                <a:cubicBezTo>
                  <a:pt x="2963249" y="1901395"/>
                  <a:pt x="2970902" y="1893742"/>
                  <a:pt x="2980280" y="1893742"/>
                </a:cubicBezTo>
                <a:close/>
                <a:moveTo>
                  <a:pt x="2248665" y="1893250"/>
                </a:moveTo>
                <a:cubicBezTo>
                  <a:pt x="2252368" y="1893250"/>
                  <a:pt x="2255576" y="1896212"/>
                  <a:pt x="2255576" y="1899915"/>
                </a:cubicBezTo>
                <a:cubicBezTo>
                  <a:pt x="2255330" y="1903616"/>
                  <a:pt x="2252368" y="1906581"/>
                  <a:pt x="2248665" y="1906581"/>
                </a:cubicBezTo>
                <a:cubicBezTo>
                  <a:pt x="2244961" y="1906581"/>
                  <a:pt x="2241753" y="1903616"/>
                  <a:pt x="2241753" y="1899915"/>
                </a:cubicBezTo>
                <a:cubicBezTo>
                  <a:pt x="2241753" y="1896212"/>
                  <a:pt x="2244715" y="1893250"/>
                  <a:pt x="2248665" y="1893250"/>
                </a:cubicBezTo>
                <a:close/>
                <a:moveTo>
                  <a:pt x="1367732" y="1890039"/>
                </a:moveTo>
                <a:cubicBezTo>
                  <a:pt x="1368225" y="1890039"/>
                  <a:pt x="1368720" y="1890531"/>
                  <a:pt x="1368720" y="1891026"/>
                </a:cubicBezTo>
                <a:cubicBezTo>
                  <a:pt x="1368720" y="1891519"/>
                  <a:pt x="1368225" y="1892014"/>
                  <a:pt x="1367732" y="1892014"/>
                </a:cubicBezTo>
                <a:cubicBezTo>
                  <a:pt x="1366991" y="1892014"/>
                  <a:pt x="1366745" y="1891519"/>
                  <a:pt x="1366745" y="1891026"/>
                </a:cubicBezTo>
                <a:cubicBezTo>
                  <a:pt x="1366745" y="1890531"/>
                  <a:pt x="1367237" y="1890039"/>
                  <a:pt x="1367732" y="1890039"/>
                </a:cubicBezTo>
                <a:close/>
                <a:moveTo>
                  <a:pt x="1577792" y="1882389"/>
                </a:moveTo>
                <a:cubicBezTo>
                  <a:pt x="1579026" y="1882389"/>
                  <a:pt x="1580016" y="1883376"/>
                  <a:pt x="1580016" y="1884610"/>
                </a:cubicBezTo>
                <a:cubicBezTo>
                  <a:pt x="1580016" y="1885844"/>
                  <a:pt x="1579026" y="1886831"/>
                  <a:pt x="1577792" y="1886831"/>
                </a:cubicBezTo>
                <a:cubicBezTo>
                  <a:pt x="1576559" y="1886831"/>
                  <a:pt x="1575571" y="1885844"/>
                  <a:pt x="1575571" y="1884610"/>
                </a:cubicBezTo>
                <a:cubicBezTo>
                  <a:pt x="1575571" y="1883376"/>
                  <a:pt x="1576559" y="1882389"/>
                  <a:pt x="1577792" y="1882389"/>
                </a:cubicBezTo>
                <a:close/>
                <a:moveTo>
                  <a:pt x="1161869" y="1881894"/>
                </a:moveTo>
                <a:cubicBezTo>
                  <a:pt x="1162115" y="1881894"/>
                  <a:pt x="1162361" y="1882140"/>
                  <a:pt x="1162361" y="1882387"/>
                </a:cubicBezTo>
                <a:cubicBezTo>
                  <a:pt x="1162361" y="1882635"/>
                  <a:pt x="1162115" y="1882882"/>
                  <a:pt x="1161869" y="1882882"/>
                </a:cubicBezTo>
                <a:cubicBezTo>
                  <a:pt x="1161620" y="1882882"/>
                  <a:pt x="1161374" y="1882635"/>
                  <a:pt x="1161374" y="1882387"/>
                </a:cubicBezTo>
                <a:cubicBezTo>
                  <a:pt x="1161374" y="1882140"/>
                  <a:pt x="1161620" y="1881894"/>
                  <a:pt x="1161869" y="1881894"/>
                </a:cubicBezTo>
                <a:close/>
                <a:moveTo>
                  <a:pt x="1773533" y="1874983"/>
                </a:moveTo>
                <a:cubicBezTo>
                  <a:pt x="1774521" y="1874983"/>
                  <a:pt x="1775260" y="1875724"/>
                  <a:pt x="1775260" y="1876711"/>
                </a:cubicBezTo>
                <a:cubicBezTo>
                  <a:pt x="1775260" y="1877699"/>
                  <a:pt x="1774521" y="1878440"/>
                  <a:pt x="1773533" y="1878440"/>
                </a:cubicBezTo>
                <a:cubicBezTo>
                  <a:pt x="1772545" y="1878440"/>
                  <a:pt x="1771807" y="1877699"/>
                  <a:pt x="1771807" y="1876711"/>
                </a:cubicBezTo>
                <a:cubicBezTo>
                  <a:pt x="1771807" y="1875724"/>
                  <a:pt x="1772545" y="1874983"/>
                  <a:pt x="1773533" y="1874983"/>
                </a:cubicBezTo>
                <a:close/>
                <a:moveTo>
                  <a:pt x="56293" y="1873500"/>
                </a:moveTo>
                <a:cubicBezTo>
                  <a:pt x="58022" y="1873500"/>
                  <a:pt x="59255" y="1874734"/>
                  <a:pt x="59255" y="1876462"/>
                </a:cubicBezTo>
                <a:cubicBezTo>
                  <a:pt x="59255" y="1877944"/>
                  <a:pt x="57776" y="1879424"/>
                  <a:pt x="56293" y="1879424"/>
                </a:cubicBezTo>
                <a:cubicBezTo>
                  <a:pt x="54565" y="1879424"/>
                  <a:pt x="53331" y="1877944"/>
                  <a:pt x="53331" y="1876462"/>
                </a:cubicBezTo>
                <a:cubicBezTo>
                  <a:pt x="53331" y="1874734"/>
                  <a:pt x="54565" y="1873500"/>
                  <a:pt x="56293" y="1873500"/>
                </a:cubicBezTo>
                <a:close/>
                <a:moveTo>
                  <a:pt x="2712712" y="1870046"/>
                </a:moveTo>
                <a:cubicBezTo>
                  <a:pt x="2723573" y="1870046"/>
                  <a:pt x="2732213" y="1878686"/>
                  <a:pt x="2732213" y="1889547"/>
                </a:cubicBezTo>
                <a:cubicBezTo>
                  <a:pt x="2732213" y="1900162"/>
                  <a:pt x="2723327" y="1909045"/>
                  <a:pt x="2712712" y="1909045"/>
                </a:cubicBezTo>
                <a:cubicBezTo>
                  <a:pt x="2701851" y="1909045"/>
                  <a:pt x="2693211" y="1900162"/>
                  <a:pt x="2693211" y="1889547"/>
                </a:cubicBezTo>
                <a:cubicBezTo>
                  <a:pt x="2693211" y="1878686"/>
                  <a:pt x="2702097" y="1870046"/>
                  <a:pt x="2712712" y="1870046"/>
                </a:cubicBezTo>
                <a:close/>
                <a:moveTo>
                  <a:pt x="623523" y="1869059"/>
                </a:moveTo>
                <a:cubicBezTo>
                  <a:pt x="625251" y="1869059"/>
                  <a:pt x="626731" y="1870539"/>
                  <a:pt x="626731" y="1872267"/>
                </a:cubicBezTo>
                <a:cubicBezTo>
                  <a:pt x="626731" y="1873995"/>
                  <a:pt x="625251" y="1875478"/>
                  <a:pt x="623523" y="1875478"/>
                </a:cubicBezTo>
                <a:cubicBezTo>
                  <a:pt x="621795" y="1875478"/>
                  <a:pt x="620315" y="1873995"/>
                  <a:pt x="620315" y="1872267"/>
                </a:cubicBezTo>
                <a:cubicBezTo>
                  <a:pt x="620315" y="1870539"/>
                  <a:pt x="621795" y="1869059"/>
                  <a:pt x="623523" y="1869059"/>
                </a:cubicBezTo>
                <a:close/>
                <a:moveTo>
                  <a:pt x="2429345" y="1863135"/>
                </a:moveTo>
                <a:cubicBezTo>
                  <a:pt x="2435761" y="1863135"/>
                  <a:pt x="2440947" y="1868318"/>
                  <a:pt x="2440947" y="1874737"/>
                </a:cubicBezTo>
                <a:cubicBezTo>
                  <a:pt x="2440947" y="1881153"/>
                  <a:pt x="2435761" y="1886339"/>
                  <a:pt x="2429345" y="1886339"/>
                </a:cubicBezTo>
                <a:cubicBezTo>
                  <a:pt x="2422926" y="1886339"/>
                  <a:pt x="2417743" y="1881153"/>
                  <a:pt x="2417743" y="1874737"/>
                </a:cubicBezTo>
                <a:cubicBezTo>
                  <a:pt x="2417743" y="1868318"/>
                  <a:pt x="2422926" y="1863135"/>
                  <a:pt x="2429345" y="1863135"/>
                </a:cubicBezTo>
                <a:close/>
                <a:moveTo>
                  <a:pt x="950334" y="1862147"/>
                </a:moveTo>
                <a:cubicBezTo>
                  <a:pt x="951568" y="1862147"/>
                  <a:pt x="952558" y="1863134"/>
                  <a:pt x="952558" y="1864368"/>
                </a:cubicBezTo>
                <a:cubicBezTo>
                  <a:pt x="952558" y="1865604"/>
                  <a:pt x="951568" y="1866589"/>
                  <a:pt x="950334" y="1866589"/>
                </a:cubicBezTo>
                <a:cubicBezTo>
                  <a:pt x="949101" y="1866589"/>
                  <a:pt x="948113" y="1865604"/>
                  <a:pt x="948113" y="1864368"/>
                </a:cubicBezTo>
                <a:cubicBezTo>
                  <a:pt x="948113" y="1863134"/>
                  <a:pt x="949101" y="1862147"/>
                  <a:pt x="950334" y="1862147"/>
                </a:cubicBezTo>
                <a:close/>
                <a:moveTo>
                  <a:pt x="1963828" y="1861406"/>
                </a:moveTo>
                <a:cubicBezTo>
                  <a:pt x="1964813" y="1861406"/>
                  <a:pt x="1965306" y="1862147"/>
                  <a:pt x="1965306" y="1862886"/>
                </a:cubicBezTo>
                <a:cubicBezTo>
                  <a:pt x="1965552" y="1863876"/>
                  <a:pt x="1964813" y="1864614"/>
                  <a:pt x="1963828" y="1864614"/>
                </a:cubicBezTo>
                <a:cubicBezTo>
                  <a:pt x="1962842" y="1864614"/>
                  <a:pt x="1962102" y="1863876"/>
                  <a:pt x="1962102" y="1862886"/>
                </a:cubicBezTo>
                <a:cubicBezTo>
                  <a:pt x="1962102" y="1861898"/>
                  <a:pt x="1962842" y="1861406"/>
                  <a:pt x="1963828" y="1861406"/>
                </a:cubicBezTo>
                <a:close/>
                <a:moveTo>
                  <a:pt x="171814" y="1859927"/>
                </a:moveTo>
                <a:cubicBezTo>
                  <a:pt x="173293" y="1859927"/>
                  <a:pt x="174776" y="1861160"/>
                  <a:pt x="174776" y="1862889"/>
                </a:cubicBezTo>
                <a:cubicBezTo>
                  <a:pt x="174530" y="1864617"/>
                  <a:pt x="173293" y="1865851"/>
                  <a:pt x="171814" y="1865851"/>
                </a:cubicBezTo>
                <a:cubicBezTo>
                  <a:pt x="170332" y="1865851"/>
                  <a:pt x="168852" y="1864617"/>
                  <a:pt x="168852" y="1862889"/>
                </a:cubicBezTo>
                <a:cubicBezTo>
                  <a:pt x="168852" y="1861407"/>
                  <a:pt x="170086" y="1859927"/>
                  <a:pt x="171814" y="1859927"/>
                </a:cubicBezTo>
                <a:close/>
                <a:moveTo>
                  <a:pt x="2884508" y="1844129"/>
                </a:moveTo>
                <a:cubicBezTo>
                  <a:pt x="2891173" y="1844129"/>
                  <a:pt x="2896605" y="1849561"/>
                  <a:pt x="2896605" y="1856223"/>
                </a:cubicBezTo>
                <a:cubicBezTo>
                  <a:pt x="2896605" y="1862888"/>
                  <a:pt x="2891173" y="1868320"/>
                  <a:pt x="2884508" y="1868320"/>
                </a:cubicBezTo>
                <a:cubicBezTo>
                  <a:pt x="2877846" y="1868320"/>
                  <a:pt x="2872414" y="1862888"/>
                  <a:pt x="2872414" y="1856223"/>
                </a:cubicBezTo>
                <a:cubicBezTo>
                  <a:pt x="2872414" y="1849561"/>
                  <a:pt x="2877846" y="1844129"/>
                  <a:pt x="2884508" y="1844129"/>
                </a:cubicBezTo>
                <a:close/>
                <a:moveTo>
                  <a:pt x="286591" y="1841906"/>
                </a:moveTo>
                <a:cubicBezTo>
                  <a:pt x="288071" y="1841906"/>
                  <a:pt x="289307" y="1843140"/>
                  <a:pt x="289307" y="1844622"/>
                </a:cubicBezTo>
                <a:cubicBezTo>
                  <a:pt x="289307" y="1846102"/>
                  <a:pt x="288071" y="1847338"/>
                  <a:pt x="286591" y="1847338"/>
                </a:cubicBezTo>
                <a:cubicBezTo>
                  <a:pt x="285109" y="1847338"/>
                  <a:pt x="283876" y="1846102"/>
                  <a:pt x="283876" y="1844622"/>
                </a:cubicBezTo>
                <a:cubicBezTo>
                  <a:pt x="283876" y="1843140"/>
                  <a:pt x="285109" y="1841906"/>
                  <a:pt x="286591" y="1841906"/>
                </a:cubicBezTo>
                <a:close/>
                <a:moveTo>
                  <a:pt x="2150424" y="1838944"/>
                </a:moveTo>
                <a:cubicBezTo>
                  <a:pt x="2152647" y="1838944"/>
                  <a:pt x="2154619" y="1840919"/>
                  <a:pt x="2154619" y="1843140"/>
                </a:cubicBezTo>
                <a:cubicBezTo>
                  <a:pt x="2154619" y="1845363"/>
                  <a:pt x="2152647" y="1847335"/>
                  <a:pt x="2150424" y="1847335"/>
                </a:cubicBezTo>
                <a:cubicBezTo>
                  <a:pt x="2148203" y="1847335"/>
                  <a:pt x="2146228" y="1845363"/>
                  <a:pt x="2146228" y="1843140"/>
                </a:cubicBezTo>
                <a:cubicBezTo>
                  <a:pt x="2146228" y="1840919"/>
                  <a:pt x="2148203" y="1838944"/>
                  <a:pt x="2150424" y="1838944"/>
                </a:cubicBezTo>
                <a:close/>
                <a:moveTo>
                  <a:pt x="733609" y="1832032"/>
                </a:moveTo>
                <a:cubicBezTo>
                  <a:pt x="735092" y="1832032"/>
                  <a:pt x="736572" y="1833266"/>
                  <a:pt x="736572" y="1834748"/>
                </a:cubicBezTo>
                <a:cubicBezTo>
                  <a:pt x="736325" y="1836474"/>
                  <a:pt x="735092" y="1837710"/>
                  <a:pt x="733609" y="1837710"/>
                </a:cubicBezTo>
                <a:cubicBezTo>
                  <a:pt x="732127" y="1837710"/>
                  <a:pt x="730647" y="1836474"/>
                  <a:pt x="730647" y="1834748"/>
                </a:cubicBezTo>
                <a:cubicBezTo>
                  <a:pt x="730647" y="1833266"/>
                  <a:pt x="731881" y="1832032"/>
                  <a:pt x="733609" y="1832032"/>
                </a:cubicBezTo>
                <a:close/>
                <a:moveTo>
                  <a:pt x="2605830" y="1829565"/>
                </a:moveTo>
                <a:cubicBezTo>
                  <a:pt x="2614716" y="1829565"/>
                  <a:pt x="2621876" y="1836723"/>
                  <a:pt x="2621876" y="1845857"/>
                </a:cubicBezTo>
                <a:cubicBezTo>
                  <a:pt x="2622122" y="1854743"/>
                  <a:pt x="2614965" y="1862147"/>
                  <a:pt x="2605830" y="1862147"/>
                </a:cubicBezTo>
                <a:cubicBezTo>
                  <a:pt x="2596944" y="1862147"/>
                  <a:pt x="2589540" y="1854743"/>
                  <a:pt x="2589540" y="1845857"/>
                </a:cubicBezTo>
                <a:cubicBezTo>
                  <a:pt x="2589540" y="1836971"/>
                  <a:pt x="2596698" y="1829565"/>
                  <a:pt x="2605830" y="1829565"/>
                </a:cubicBezTo>
                <a:close/>
                <a:moveTo>
                  <a:pt x="1465727" y="1827837"/>
                </a:moveTo>
                <a:cubicBezTo>
                  <a:pt x="1466468" y="1827837"/>
                  <a:pt x="1466963" y="1828329"/>
                  <a:pt x="1466963" y="1829071"/>
                </a:cubicBezTo>
                <a:cubicBezTo>
                  <a:pt x="1466963" y="1829812"/>
                  <a:pt x="1466468" y="1830304"/>
                  <a:pt x="1465727" y="1830304"/>
                </a:cubicBezTo>
                <a:cubicBezTo>
                  <a:pt x="1464988" y="1830304"/>
                  <a:pt x="1464493" y="1829812"/>
                  <a:pt x="1464493" y="1829071"/>
                </a:cubicBezTo>
                <a:cubicBezTo>
                  <a:pt x="1464493" y="1828329"/>
                  <a:pt x="1464988" y="1827837"/>
                  <a:pt x="1465727" y="1827837"/>
                </a:cubicBezTo>
                <a:close/>
                <a:moveTo>
                  <a:pt x="1263318" y="1825862"/>
                </a:moveTo>
                <a:cubicBezTo>
                  <a:pt x="1263564" y="1825862"/>
                  <a:pt x="1263810" y="1826108"/>
                  <a:pt x="1263810" y="1826357"/>
                </a:cubicBezTo>
                <a:cubicBezTo>
                  <a:pt x="1264056" y="1826603"/>
                  <a:pt x="1263810" y="1826849"/>
                  <a:pt x="1263318" y="1826849"/>
                </a:cubicBezTo>
                <a:cubicBezTo>
                  <a:pt x="1263069" y="1826849"/>
                  <a:pt x="1262823" y="1826603"/>
                  <a:pt x="1262823" y="1826357"/>
                </a:cubicBezTo>
                <a:cubicBezTo>
                  <a:pt x="1262823" y="1826108"/>
                  <a:pt x="1263069" y="1825862"/>
                  <a:pt x="1263318" y="1825862"/>
                </a:cubicBezTo>
                <a:close/>
                <a:moveTo>
                  <a:pt x="400380" y="1818458"/>
                </a:moveTo>
                <a:cubicBezTo>
                  <a:pt x="401863" y="1818458"/>
                  <a:pt x="402850" y="1819692"/>
                  <a:pt x="402850" y="1820928"/>
                </a:cubicBezTo>
                <a:cubicBezTo>
                  <a:pt x="403096" y="1822161"/>
                  <a:pt x="401863" y="1823395"/>
                  <a:pt x="400380" y="1823395"/>
                </a:cubicBezTo>
                <a:cubicBezTo>
                  <a:pt x="398901" y="1823395"/>
                  <a:pt x="397913" y="1822161"/>
                  <a:pt x="397913" y="1820928"/>
                </a:cubicBezTo>
                <a:cubicBezTo>
                  <a:pt x="397913" y="1819445"/>
                  <a:pt x="399147" y="1818458"/>
                  <a:pt x="400380" y="1818458"/>
                </a:cubicBezTo>
                <a:close/>
                <a:moveTo>
                  <a:pt x="1672580" y="1815001"/>
                </a:moveTo>
                <a:cubicBezTo>
                  <a:pt x="1673813" y="1815001"/>
                  <a:pt x="1674554" y="1815988"/>
                  <a:pt x="1674554" y="1816976"/>
                </a:cubicBezTo>
                <a:cubicBezTo>
                  <a:pt x="1674554" y="1817963"/>
                  <a:pt x="1673813" y="1818950"/>
                  <a:pt x="1672580" y="1818950"/>
                </a:cubicBezTo>
                <a:cubicBezTo>
                  <a:pt x="1671346" y="1818950"/>
                  <a:pt x="1670605" y="1817963"/>
                  <a:pt x="1670605" y="1816976"/>
                </a:cubicBezTo>
                <a:cubicBezTo>
                  <a:pt x="1670605" y="1815742"/>
                  <a:pt x="1671592" y="1815001"/>
                  <a:pt x="1672580" y="1815001"/>
                </a:cubicBezTo>
                <a:close/>
                <a:moveTo>
                  <a:pt x="1055237" y="1812780"/>
                </a:moveTo>
                <a:cubicBezTo>
                  <a:pt x="1056224" y="1812780"/>
                  <a:pt x="1057211" y="1813767"/>
                  <a:pt x="1057211" y="1814755"/>
                </a:cubicBezTo>
                <a:cubicBezTo>
                  <a:pt x="1057211" y="1815988"/>
                  <a:pt x="1056470" y="1816729"/>
                  <a:pt x="1055237" y="1816729"/>
                </a:cubicBezTo>
                <a:cubicBezTo>
                  <a:pt x="1054249" y="1816729"/>
                  <a:pt x="1053262" y="1815742"/>
                  <a:pt x="1053262" y="1814755"/>
                </a:cubicBezTo>
                <a:cubicBezTo>
                  <a:pt x="1053262" y="1813767"/>
                  <a:pt x="1054249" y="1812780"/>
                  <a:pt x="1055237" y="1812780"/>
                </a:cubicBezTo>
                <a:close/>
                <a:moveTo>
                  <a:pt x="2331849" y="1811298"/>
                </a:moveTo>
                <a:cubicBezTo>
                  <a:pt x="2336045" y="1811298"/>
                  <a:pt x="2339499" y="1814755"/>
                  <a:pt x="2339499" y="1818950"/>
                </a:cubicBezTo>
                <a:cubicBezTo>
                  <a:pt x="2339748" y="1823146"/>
                  <a:pt x="2336291" y="1826600"/>
                  <a:pt x="2331849" y="1826600"/>
                </a:cubicBezTo>
                <a:cubicBezTo>
                  <a:pt x="2327651" y="1826600"/>
                  <a:pt x="2324197" y="1823146"/>
                  <a:pt x="2324197" y="1818950"/>
                </a:cubicBezTo>
                <a:cubicBezTo>
                  <a:pt x="2324197" y="1814755"/>
                  <a:pt x="2327651" y="1811298"/>
                  <a:pt x="2331849" y="1811298"/>
                </a:cubicBezTo>
                <a:close/>
                <a:moveTo>
                  <a:pt x="1864864" y="1802661"/>
                </a:moveTo>
                <a:cubicBezTo>
                  <a:pt x="1865854" y="1802661"/>
                  <a:pt x="1866346" y="1803402"/>
                  <a:pt x="1866346" y="1804389"/>
                </a:cubicBezTo>
                <a:cubicBezTo>
                  <a:pt x="1866346" y="1805131"/>
                  <a:pt x="1865606" y="1805869"/>
                  <a:pt x="1864864" y="1805869"/>
                </a:cubicBezTo>
                <a:cubicBezTo>
                  <a:pt x="1863880" y="1805869"/>
                  <a:pt x="1863385" y="1805131"/>
                  <a:pt x="1863385" y="1804389"/>
                </a:cubicBezTo>
                <a:cubicBezTo>
                  <a:pt x="1863385" y="1803402"/>
                  <a:pt x="1864126" y="1802661"/>
                  <a:pt x="1864864" y="1802661"/>
                </a:cubicBezTo>
                <a:close/>
                <a:moveTo>
                  <a:pt x="3052850" y="1802166"/>
                </a:moveTo>
                <a:cubicBezTo>
                  <a:pt x="3062723" y="1802166"/>
                  <a:pt x="3070622" y="1810065"/>
                  <a:pt x="3070622" y="1819938"/>
                </a:cubicBezTo>
                <a:cubicBezTo>
                  <a:pt x="3070622" y="1829565"/>
                  <a:pt x="3062723" y="1837710"/>
                  <a:pt x="3052850" y="1837710"/>
                </a:cubicBezTo>
                <a:cubicBezTo>
                  <a:pt x="3042977" y="1837710"/>
                  <a:pt x="3035078" y="1829811"/>
                  <a:pt x="3035078" y="1819938"/>
                </a:cubicBezTo>
                <a:cubicBezTo>
                  <a:pt x="3035078" y="1810065"/>
                  <a:pt x="3042977" y="1802166"/>
                  <a:pt x="3052850" y="1802166"/>
                </a:cubicBezTo>
                <a:close/>
                <a:moveTo>
                  <a:pt x="841725" y="1790072"/>
                </a:moveTo>
                <a:cubicBezTo>
                  <a:pt x="843223" y="1790072"/>
                  <a:pt x="844441" y="1791287"/>
                  <a:pt x="844441" y="1792788"/>
                </a:cubicBezTo>
                <a:cubicBezTo>
                  <a:pt x="844441" y="1794286"/>
                  <a:pt x="843223" y="1795501"/>
                  <a:pt x="841725" y="1795501"/>
                </a:cubicBezTo>
                <a:cubicBezTo>
                  <a:pt x="840225" y="1795501"/>
                  <a:pt x="839009" y="1794286"/>
                  <a:pt x="839009" y="1792788"/>
                </a:cubicBezTo>
                <a:cubicBezTo>
                  <a:pt x="839009" y="1791287"/>
                  <a:pt x="840225" y="1790072"/>
                  <a:pt x="841725" y="1790072"/>
                </a:cubicBezTo>
                <a:close/>
                <a:moveTo>
                  <a:pt x="513186" y="1789331"/>
                </a:moveTo>
                <a:cubicBezTo>
                  <a:pt x="514419" y="1789331"/>
                  <a:pt x="515653" y="1790318"/>
                  <a:pt x="515653" y="1791798"/>
                </a:cubicBezTo>
                <a:cubicBezTo>
                  <a:pt x="515653" y="1793280"/>
                  <a:pt x="514419" y="1794268"/>
                  <a:pt x="513186" y="1794268"/>
                </a:cubicBezTo>
                <a:cubicBezTo>
                  <a:pt x="511949" y="1794268"/>
                  <a:pt x="510716" y="1793280"/>
                  <a:pt x="510716" y="1791798"/>
                </a:cubicBezTo>
                <a:cubicBezTo>
                  <a:pt x="510716" y="1790565"/>
                  <a:pt x="511703" y="1789331"/>
                  <a:pt x="513186" y="1789331"/>
                </a:cubicBezTo>
                <a:close/>
                <a:moveTo>
                  <a:pt x="2051444" y="1784394"/>
                </a:moveTo>
                <a:cubicBezTo>
                  <a:pt x="2052431" y="1784394"/>
                  <a:pt x="2053418" y="1785381"/>
                  <a:pt x="2053418" y="1786369"/>
                </a:cubicBezTo>
                <a:cubicBezTo>
                  <a:pt x="2053418" y="1787602"/>
                  <a:pt x="2052677" y="1788343"/>
                  <a:pt x="2051444" y="1788343"/>
                </a:cubicBezTo>
                <a:cubicBezTo>
                  <a:pt x="2050456" y="1788343"/>
                  <a:pt x="2049469" y="1787356"/>
                  <a:pt x="2049469" y="1786369"/>
                </a:cubicBezTo>
                <a:cubicBezTo>
                  <a:pt x="2049469" y="1785381"/>
                  <a:pt x="2050456" y="1784394"/>
                  <a:pt x="2051444" y="1784394"/>
                </a:cubicBezTo>
                <a:close/>
                <a:moveTo>
                  <a:pt x="2788736" y="1780939"/>
                </a:moveTo>
                <a:cubicBezTo>
                  <a:pt x="2800089" y="1780939"/>
                  <a:pt x="2809224" y="1790071"/>
                  <a:pt x="2809224" y="1801427"/>
                </a:cubicBezTo>
                <a:cubicBezTo>
                  <a:pt x="2809224" y="1812780"/>
                  <a:pt x="2800089" y="1821915"/>
                  <a:pt x="2788736" y="1821915"/>
                </a:cubicBezTo>
                <a:cubicBezTo>
                  <a:pt x="2777380" y="1821915"/>
                  <a:pt x="2768248" y="1812780"/>
                  <a:pt x="2768248" y="1801427"/>
                </a:cubicBezTo>
                <a:cubicBezTo>
                  <a:pt x="2768248" y="1790071"/>
                  <a:pt x="2777380" y="1780939"/>
                  <a:pt x="2788736" y="1780939"/>
                </a:cubicBezTo>
                <a:close/>
                <a:moveTo>
                  <a:pt x="2509322" y="1778470"/>
                </a:moveTo>
                <a:cubicBezTo>
                  <a:pt x="2516231" y="1778470"/>
                  <a:pt x="2521662" y="1784148"/>
                  <a:pt x="2521662" y="1790813"/>
                </a:cubicBezTo>
                <a:cubicBezTo>
                  <a:pt x="2521662" y="1797475"/>
                  <a:pt x="2516231" y="1803153"/>
                  <a:pt x="2509322" y="1803153"/>
                </a:cubicBezTo>
                <a:cubicBezTo>
                  <a:pt x="2502411" y="1803153"/>
                  <a:pt x="2496979" y="1797722"/>
                  <a:pt x="2496979" y="1790813"/>
                </a:cubicBezTo>
                <a:cubicBezTo>
                  <a:pt x="2496979" y="1783902"/>
                  <a:pt x="2502657" y="1778470"/>
                  <a:pt x="2509322" y="1778470"/>
                </a:cubicBezTo>
                <a:close/>
                <a:moveTo>
                  <a:pt x="1362794" y="1765883"/>
                </a:moveTo>
                <a:cubicBezTo>
                  <a:pt x="1363040" y="1765883"/>
                  <a:pt x="1363286" y="1766129"/>
                  <a:pt x="1363286" y="1766375"/>
                </a:cubicBezTo>
                <a:cubicBezTo>
                  <a:pt x="1363286" y="1766624"/>
                  <a:pt x="1363040" y="1766870"/>
                  <a:pt x="1362794" y="1766870"/>
                </a:cubicBezTo>
                <a:cubicBezTo>
                  <a:pt x="1362545" y="1766870"/>
                  <a:pt x="1362299" y="1766624"/>
                  <a:pt x="1362299" y="1766375"/>
                </a:cubicBezTo>
                <a:cubicBezTo>
                  <a:pt x="1362299" y="1766129"/>
                  <a:pt x="1362545" y="1765883"/>
                  <a:pt x="1362794" y="1765883"/>
                </a:cubicBezTo>
                <a:close/>
                <a:moveTo>
                  <a:pt x="56540" y="1762672"/>
                </a:moveTo>
                <a:cubicBezTo>
                  <a:pt x="59256" y="1762672"/>
                  <a:pt x="61230" y="1764893"/>
                  <a:pt x="61230" y="1767362"/>
                </a:cubicBezTo>
                <a:cubicBezTo>
                  <a:pt x="61230" y="1769829"/>
                  <a:pt x="59256" y="1772053"/>
                  <a:pt x="56540" y="1772053"/>
                </a:cubicBezTo>
                <a:cubicBezTo>
                  <a:pt x="53824" y="1772053"/>
                  <a:pt x="51850" y="1769829"/>
                  <a:pt x="51850" y="1767362"/>
                </a:cubicBezTo>
                <a:cubicBezTo>
                  <a:pt x="51850" y="1764647"/>
                  <a:pt x="54071" y="1762672"/>
                  <a:pt x="56540" y="1762672"/>
                </a:cubicBezTo>
                <a:close/>
                <a:moveTo>
                  <a:pt x="1561254" y="1762426"/>
                </a:moveTo>
                <a:cubicBezTo>
                  <a:pt x="1561995" y="1762426"/>
                  <a:pt x="1562488" y="1762921"/>
                  <a:pt x="1562488" y="1763660"/>
                </a:cubicBezTo>
                <a:cubicBezTo>
                  <a:pt x="1562488" y="1764401"/>
                  <a:pt x="1561995" y="1764896"/>
                  <a:pt x="1561254" y="1764896"/>
                </a:cubicBezTo>
                <a:cubicBezTo>
                  <a:pt x="1560513" y="1764896"/>
                  <a:pt x="1560021" y="1764401"/>
                  <a:pt x="1560021" y="1763660"/>
                </a:cubicBezTo>
                <a:cubicBezTo>
                  <a:pt x="1560021" y="1762921"/>
                  <a:pt x="1560513" y="1762426"/>
                  <a:pt x="1561254" y="1762426"/>
                </a:cubicBezTo>
                <a:close/>
                <a:moveTo>
                  <a:pt x="1158165" y="1759218"/>
                </a:moveTo>
                <a:cubicBezTo>
                  <a:pt x="1159152" y="1759218"/>
                  <a:pt x="1159891" y="1759959"/>
                  <a:pt x="1159891" y="1760946"/>
                </a:cubicBezTo>
                <a:cubicBezTo>
                  <a:pt x="1159891" y="1761934"/>
                  <a:pt x="1159152" y="1762672"/>
                  <a:pt x="1158165" y="1762672"/>
                </a:cubicBezTo>
                <a:cubicBezTo>
                  <a:pt x="1157178" y="1762672"/>
                  <a:pt x="1156683" y="1761934"/>
                  <a:pt x="1156683" y="1760946"/>
                </a:cubicBezTo>
                <a:cubicBezTo>
                  <a:pt x="1156683" y="1759959"/>
                  <a:pt x="1157424" y="1759218"/>
                  <a:pt x="1158165" y="1759218"/>
                </a:cubicBezTo>
                <a:close/>
                <a:moveTo>
                  <a:pt x="2234595" y="1758231"/>
                </a:moveTo>
                <a:cubicBezTo>
                  <a:pt x="2237309" y="1758231"/>
                  <a:pt x="2239286" y="1760452"/>
                  <a:pt x="2239286" y="1762921"/>
                </a:cubicBezTo>
                <a:cubicBezTo>
                  <a:pt x="2239286" y="1765388"/>
                  <a:pt x="2237062" y="1767612"/>
                  <a:pt x="2234595" y="1767612"/>
                </a:cubicBezTo>
                <a:cubicBezTo>
                  <a:pt x="2231880" y="1767612"/>
                  <a:pt x="2229905" y="1765634"/>
                  <a:pt x="2229905" y="1762921"/>
                </a:cubicBezTo>
                <a:cubicBezTo>
                  <a:pt x="2229905" y="1760452"/>
                  <a:pt x="2232126" y="1758231"/>
                  <a:pt x="2234595" y="1758231"/>
                </a:cubicBezTo>
                <a:close/>
                <a:moveTo>
                  <a:pt x="624262" y="1755761"/>
                </a:moveTo>
                <a:cubicBezTo>
                  <a:pt x="625496" y="1755761"/>
                  <a:pt x="626483" y="1756748"/>
                  <a:pt x="626483" y="1757982"/>
                </a:cubicBezTo>
                <a:cubicBezTo>
                  <a:pt x="626732" y="1759218"/>
                  <a:pt x="625496" y="1760203"/>
                  <a:pt x="624262" y="1760203"/>
                </a:cubicBezTo>
                <a:cubicBezTo>
                  <a:pt x="623028" y="1760203"/>
                  <a:pt x="622041" y="1759218"/>
                  <a:pt x="622041" y="1757982"/>
                </a:cubicBezTo>
                <a:cubicBezTo>
                  <a:pt x="622041" y="1756748"/>
                  <a:pt x="623028" y="1755761"/>
                  <a:pt x="624262" y="1755761"/>
                </a:cubicBezTo>
                <a:close/>
                <a:moveTo>
                  <a:pt x="2957571" y="1752553"/>
                </a:moveTo>
                <a:cubicBezTo>
                  <a:pt x="2964731" y="1752553"/>
                  <a:pt x="2970655" y="1758477"/>
                  <a:pt x="2970655" y="1765635"/>
                </a:cubicBezTo>
                <a:cubicBezTo>
                  <a:pt x="2970655" y="1772795"/>
                  <a:pt x="2964731" y="1778716"/>
                  <a:pt x="2957571" y="1778716"/>
                </a:cubicBezTo>
                <a:cubicBezTo>
                  <a:pt x="2950413" y="1778716"/>
                  <a:pt x="2944489" y="1772795"/>
                  <a:pt x="2944489" y="1765635"/>
                </a:cubicBezTo>
                <a:cubicBezTo>
                  <a:pt x="2944489" y="1758477"/>
                  <a:pt x="2950413" y="1752553"/>
                  <a:pt x="2957571" y="1752553"/>
                </a:cubicBezTo>
                <a:close/>
                <a:moveTo>
                  <a:pt x="172058" y="1747862"/>
                </a:moveTo>
                <a:cubicBezTo>
                  <a:pt x="175020" y="1747862"/>
                  <a:pt x="177488" y="1750332"/>
                  <a:pt x="177488" y="1753294"/>
                </a:cubicBezTo>
                <a:cubicBezTo>
                  <a:pt x="177488" y="1756253"/>
                  <a:pt x="175267" y="1758723"/>
                  <a:pt x="172058" y="1758723"/>
                </a:cubicBezTo>
                <a:cubicBezTo>
                  <a:pt x="169096" y="1758723"/>
                  <a:pt x="166627" y="1756253"/>
                  <a:pt x="166627" y="1753294"/>
                </a:cubicBezTo>
                <a:cubicBezTo>
                  <a:pt x="166627" y="1750332"/>
                  <a:pt x="169096" y="1747862"/>
                  <a:pt x="172058" y="1747862"/>
                </a:cubicBezTo>
                <a:close/>
                <a:moveTo>
                  <a:pt x="1764894" y="1743913"/>
                </a:moveTo>
                <a:cubicBezTo>
                  <a:pt x="1765882" y="1743913"/>
                  <a:pt x="1766621" y="1744654"/>
                  <a:pt x="1766621" y="1745888"/>
                </a:cubicBezTo>
                <a:cubicBezTo>
                  <a:pt x="1766621" y="1746875"/>
                  <a:pt x="1765882" y="1747617"/>
                  <a:pt x="1764894" y="1747617"/>
                </a:cubicBezTo>
                <a:cubicBezTo>
                  <a:pt x="1763906" y="1747617"/>
                  <a:pt x="1763165" y="1746875"/>
                  <a:pt x="1763165" y="1745888"/>
                </a:cubicBezTo>
                <a:cubicBezTo>
                  <a:pt x="1763165" y="1744901"/>
                  <a:pt x="1763906" y="1743913"/>
                  <a:pt x="1764894" y="1743913"/>
                </a:cubicBezTo>
                <a:close/>
                <a:moveTo>
                  <a:pt x="948111" y="1743421"/>
                </a:moveTo>
                <a:cubicBezTo>
                  <a:pt x="949591" y="1743421"/>
                  <a:pt x="950827" y="1744655"/>
                  <a:pt x="950827" y="1746137"/>
                </a:cubicBezTo>
                <a:cubicBezTo>
                  <a:pt x="950827" y="1747617"/>
                  <a:pt x="949591" y="1748853"/>
                  <a:pt x="948111" y="1748853"/>
                </a:cubicBezTo>
                <a:cubicBezTo>
                  <a:pt x="946629" y="1748853"/>
                  <a:pt x="945395" y="1747617"/>
                  <a:pt x="945395" y="1746137"/>
                </a:cubicBezTo>
                <a:cubicBezTo>
                  <a:pt x="945395" y="1744655"/>
                  <a:pt x="946629" y="1743421"/>
                  <a:pt x="948111" y="1743421"/>
                </a:cubicBezTo>
                <a:close/>
                <a:moveTo>
                  <a:pt x="2682596" y="1741692"/>
                </a:moveTo>
                <a:cubicBezTo>
                  <a:pt x="2691977" y="1741692"/>
                  <a:pt x="2699630" y="1749345"/>
                  <a:pt x="2699630" y="1758723"/>
                </a:cubicBezTo>
                <a:cubicBezTo>
                  <a:pt x="2699630" y="1768350"/>
                  <a:pt x="2691977" y="1775757"/>
                  <a:pt x="2682596" y="1775757"/>
                </a:cubicBezTo>
                <a:cubicBezTo>
                  <a:pt x="2673218" y="1775757"/>
                  <a:pt x="2665565" y="1768104"/>
                  <a:pt x="2665565" y="1758723"/>
                </a:cubicBezTo>
                <a:cubicBezTo>
                  <a:pt x="2665565" y="1749345"/>
                  <a:pt x="2673218" y="1741692"/>
                  <a:pt x="2682596" y="1741692"/>
                </a:cubicBezTo>
                <a:close/>
                <a:moveTo>
                  <a:pt x="287082" y="1727869"/>
                </a:moveTo>
                <a:cubicBezTo>
                  <a:pt x="290539" y="1727869"/>
                  <a:pt x="293255" y="1730585"/>
                  <a:pt x="293255" y="1734039"/>
                </a:cubicBezTo>
                <a:cubicBezTo>
                  <a:pt x="293255" y="1737496"/>
                  <a:pt x="290293" y="1740212"/>
                  <a:pt x="287082" y="1740212"/>
                </a:cubicBezTo>
                <a:cubicBezTo>
                  <a:pt x="283628" y="1740212"/>
                  <a:pt x="280912" y="1737496"/>
                  <a:pt x="280912" y="1734039"/>
                </a:cubicBezTo>
                <a:cubicBezTo>
                  <a:pt x="280912" y="1730585"/>
                  <a:pt x="283628" y="1727869"/>
                  <a:pt x="287082" y="1727869"/>
                </a:cubicBezTo>
                <a:close/>
                <a:moveTo>
                  <a:pt x="1953224" y="1727377"/>
                </a:moveTo>
                <a:cubicBezTo>
                  <a:pt x="1953964" y="1727377"/>
                  <a:pt x="1954704" y="1728118"/>
                  <a:pt x="1954704" y="1728857"/>
                </a:cubicBezTo>
                <a:cubicBezTo>
                  <a:pt x="1954704" y="1729598"/>
                  <a:pt x="1954212" y="1730093"/>
                  <a:pt x="1953224" y="1730093"/>
                </a:cubicBezTo>
                <a:cubicBezTo>
                  <a:pt x="1952485" y="1730093"/>
                  <a:pt x="1951743" y="1729598"/>
                  <a:pt x="1951743" y="1728857"/>
                </a:cubicBezTo>
                <a:cubicBezTo>
                  <a:pt x="1951743" y="1728118"/>
                  <a:pt x="1952485" y="1727377"/>
                  <a:pt x="1953224" y="1727377"/>
                </a:cubicBezTo>
                <a:close/>
                <a:moveTo>
                  <a:pt x="2412563" y="1726882"/>
                </a:moveTo>
                <a:cubicBezTo>
                  <a:pt x="2417253" y="1726882"/>
                  <a:pt x="2421203" y="1730831"/>
                  <a:pt x="2421203" y="1735522"/>
                </a:cubicBezTo>
                <a:cubicBezTo>
                  <a:pt x="2421203" y="1740212"/>
                  <a:pt x="2417500" y="1744162"/>
                  <a:pt x="2412563" y="1744162"/>
                </a:cubicBezTo>
                <a:cubicBezTo>
                  <a:pt x="2407626" y="1744162"/>
                  <a:pt x="2403923" y="1740212"/>
                  <a:pt x="2403923" y="1735522"/>
                </a:cubicBezTo>
                <a:cubicBezTo>
                  <a:pt x="2403923" y="1730831"/>
                  <a:pt x="2407872" y="1726882"/>
                  <a:pt x="2412563" y="1726882"/>
                </a:cubicBezTo>
                <a:close/>
                <a:moveTo>
                  <a:pt x="733854" y="1716762"/>
                </a:moveTo>
                <a:cubicBezTo>
                  <a:pt x="735090" y="1716762"/>
                  <a:pt x="735828" y="1717750"/>
                  <a:pt x="735828" y="1718737"/>
                </a:cubicBezTo>
                <a:cubicBezTo>
                  <a:pt x="736077" y="1720217"/>
                  <a:pt x="735090" y="1720958"/>
                  <a:pt x="733854" y="1720958"/>
                </a:cubicBezTo>
                <a:cubicBezTo>
                  <a:pt x="732620" y="1720958"/>
                  <a:pt x="731632" y="1719971"/>
                  <a:pt x="731632" y="1718737"/>
                </a:cubicBezTo>
                <a:cubicBezTo>
                  <a:pt x="731632" y="1717503"/>
                  <a:pt x="732620" y="1716762"/>
                  <a:pt x="733854" y="1716762"/>
                </a:cubicBezTo>
                <a:close/>
                <a:moveTo>
                  <a:pt x="3122950" y="1708369"/>
                </a:moveTo>
                <a:cubicBezTo>
                  <a:pt x="3133318" y="1708369"/>
                  <a:pt x="3141709" y="1716763"/>
                  <a:pt x="3141709" y="1726882"/>
                </a:cubicBezTo>
                <a:cubicBezTo>
                  <a:pt x="3141709" y="1737002"/>
                  <a:pt x="3133069" y="1745642"/>
                  <a:pt x="3122950" y="1745642"/>
                </a:cubicBezTo>
                <a:cubicBezTo>
                  <a:pt x="3112584" y="1745642"/>
                  <a:pt x="3104190" y="1737248"/>
                  <a:pt x="3104190" y="1726882"/>
                </a:cubicBezTo>
                <a:cubicBezTo>
                  <a:pt x="3104190" y="1716514"/>
                  <a:pt x="3112584" y="1708369"/>
                  <a:pt x="3122950" y="1708369"/>
                </a:cubicBezTo>
                <a:close/>
                <a:moveTo>
                  <a:pt x="2136355" y="1704666"/>
                </a:moveTo>
                <a:cubicBezTo>
                  <a:pt x="2137591" y="1704666"/>
                  <a:pt x="2138576" y="1705653"/>
                  <a:pt x="2138576" y="1706887"/>
                </a:cubicBezTo>
                <a:cubicBezTo>
                  <a:pt x="2138825" y="1708369"/>
                  <a:pt x="2137838" y="1709357"/>
                  <a:pt x="2136355" y="1709357"/>
                </a:cubicBezTo>
                <a:cubicBezTo>
                  <a:pt x="2135122" y="1709357"/>
                  <a:pt x="2134134" y="1708369"/>
                  <a:pt x="2134134" y="1706887"/>
                </a:cubicBezTo>
                <a:cubicBezTo>
                  <a:pt x="2134134" y="1705653"/>
                  <a:pt x="2135122" y="1704666"/>
                  <a:pt x="2136355" y="1704666"/>
                </a:cubicBezTo>
                <a:close/>
                <a:moveTo>
                  <a:pt x="400871" y="1702199"/>
                </a:moveTo>
                <a:cubicBezTo>
                  <a:pt x="404574" y="1702199"/>
                  <a:pt x="407782" y="1705161"/>
                  <a:pt x="407782" y="1709111"/>
                </a:cubicBezTo>
                <a:cubicBezTo>
                  <a:pt x="407536" y="1713060"/>
                  <a:pt x="404574" y="1716022"/>
                  <a:pt x="400871" y="1716022"/>
                </a:cubicBezTo>
                <a:cubicBezTo>
                  <a:pt x="397168" y="1716022"/>
                  <a:pt x="393960" y="1713060"/>
                  <a:pt x="393960" y="1709111"/>
                </a:cubicBezTo>
                <a:cubicBezTo>
                  <a:pt x="393960" y="1705407"/>
                  <a:pt x="397168" y="1702199"/>
                  <a:pt x="400871" y="1702199"/>
                </a:cubicBezTo>
                <a:close/>
                <a:moveTo>
                  <a:pt x="1459554" y="1701952"/>
                </a:moveTo>
                <a:cubicBezTo>
                  <a:pt x="1459800" y="1701952"/>
                  <a:pt x="1460046" y="1702198"/>
                  <a:pt x="1460046" y="1702444"/>
                </a:cubicBezTo>
                <a:cubicBezTo>
                  <a:pt x="1460046" y="1702693"/>
                  <a:pt x="1459800" y="1702939"/>
                  <a:pt x="1459554" y="1702939"/>
                </a:cubicBezTo>
                <a:cubicBezTo>
                  <a:pt x="1459305" y="1702939"/>
                  <a:pt x="1459059" y="1702693"/>
                  <a:pt x="1459059" y="1702444"/>
                </a:cubicBezTo>
                <a:cubicBezTo>
                  <a:pt x="1459059" y="1702198"/>
                  <a:pt x="1459305" y="1701952"/>
                  <a:pt x="1459554" y="1701952"/>
                </a:cubicBezTo>
                <a:close/>
                <a:moveTo>
                  <a:pt x="1258625" y="1701952"/>
                </a:moveTo>
                <a:cubicBezTo>
                  <a:pt x="1259367" y="1701952"/>
                  <a:pt x="1259862" y="1702444"/>
                  <a:pt x="1259862" y="1703186"/>
                </a:cubicBezTo>
                <a:cubicBezTo>
                  <a:pt x="1260108" y="1703927"/>
                  <a:pt x="1259367" y="1704422"/>
                  <a:pt x="1258625" y="1704422"/>
                </a:cubicBezTo>
                <a:cubicBezTo>
                  <a:pt x="1257887" y="1704422"/>
                  <a:pt x="1257392" y="1703927"/>
                  <a:pt x="1257392" y="1703186"/>
                </a:cubicBezTo>
                <a:cubicBezTo>
                  <a:pt x="1257392" y="1702444"/>
                  <a:pt x="1257887" y="1701952"/>
                  <a:pt x="1258625" y="1701952"/>
                </a:cubicBezTo>
                <a:close/>
                <a:moveTo>
                  <a:pt x="1654311" y="1693312"/>
                </a:moveTo>
                <a:cubicBezTo>
                  <a:pt x="1655052" y="1693312"/>
                  <a:pt x="1655547" y="1693804"/>
                  <a:pt x="1655547" y="1694546"/>
                </a:cubicBezTo>
                <a:cubicBezTo>
                  <a:pt x="1655793" y="1695287"/>
                  <a:pt x="1655052" y="1695782"/>
                  <a:pt x="1654311" y="1695782"/>
                </a:cubicBezTo>
                <a:cubicBezTo>
                  <a:pt x="1653573" y="1695782"/>
                  <a:pt x="1653078" y="1695287"/>
                  <a:pt x="1653078" y="1694546"/>
                </a:cubicBezTo>
                <a:cubicBezTo>
                  <a:pt x="1653078" y="1693804"/>
                  <a:pt x="1653573" y="1693312"/>
                  <a:pt x="1654311" y="1693312"/>
                </a:cubicBezTo>
                <a:close/>
                <a:moveTo>
                  <a:pt x="1052273" y="1692079"/>
                </a:moveTo>
                <a:cubicBezTo>
                  <a:pt x="1053753" y="1692079"/>
                  <a:pt x="1054989" y="1693313"/>
                  <a:pt x="1054989" y="1694795"/>
                </a:cubicBezTo>
                <a:cubicBezTo>
                  <a:pt x="1055235" y="1696275"/>
                  <a:pt x="1054001" y="1697511"/>
                  <a:pt x="1052273" y="1697511"/>
                </a:cubicBezTo>
                <a:cubicBezTo>
                  <a:pt x="1050791" y="1697511"/>
                  <a:pt x="1049311" y="1696275"/>
                  <a:pt x="1049311" y="1694795"/>
                </a:cubicBezTo>
                <a:cubicBezTo>
                  <a:pt x="1049311" y="1693313"/>
                  <a:pt x="1050545" y="1692079"/>
                  <a:pt x="1052273" y="1692079"/>
                </a:cubicBezTo>
                <a:close/>
                <a:moveTo>
                  <a:pt x="2586578" y="1691092"/>
                </a:moveTo>
                <a:cubicBezTo>
                  <a:pt x="2593738" y="1691092"/>
                  <a:pt x="2599659" y="1697016"/>
                  <a:pt x="2599659" y="1704174"/>
                </a:cubicBezTo>
                <a:cubicBezTo>
                  <a:pt x="2599659" y="1711334"/>
                  <a:pt x="2593738" y="1717255"/>
                  <a:pt x="2586578" y="1717255"/>
                </a:cubicBezTo>
                <a:cubicBezTo>
                  <a:pt x="2579420" y="1717255"/>
                  <a:pt x="2573496" y="1711334"/>
                  <a:pt x="2573496" y="1704174"/>
                </a:cubicBezTo>
                <a:cubicBezTo>
                  <a:pt x="2573496" y="1697016"/>
                  <a:pt x="2579420" y="1691092"/>
                  <a:pt x="2586578" y="1691092"/>
                </a:cubicBezTo>
                <a:close/>
                <a:moveTo>
                  <a:pt x="2862294" y="1689609"/>
                </a:moveTo>
                <a:cubicBezTo>
                  <a:pt x="2874143" y="1689609"/>
                  <a:pt x="2883767" y="1699236"/>
                  <a:pt x="2883767" y="1711084"/>
                </a:cubicBezTo>
                <a:cubicBezTo>
                  <a:pt x="2883767" y="1722932"/>
                  <a:pt x="2874143" y="1732557"/>
                  <a:pt x="2862294" y="1732557"/>
                </a:cubicBezTo>
                <a:cubicBezTo>
                  <a:pt x="2850446" y="1732557"/>
                  <a:pt x="2840819" y="1722932"/>
                  <a:pt x="2840819" y="1711084"/>
                </a:cubicBezTo>
                <a:cubicBezTo>
                  <a:pt x="2840819" y="1699236"/>
                  <a:pt x="2850446" y="1689609"/>
                  <a:pt x="2862294" y="1689609"/>
                </a:cubicBezTo>
                <a:close/>
                <a:moveTo>
                  <a:pt x="2315804" y="1674553"/>
                </a:moveTo>
                <a:cubicBezTo>
                  <a:pt x="2318766" y="1674553"/>
                  <a:pt x="2321236" y="1677023"/>
                  <a:pt x="2321236" y="1679736"/>
                </a:cubicBezTo>
                <a:cubicBezTo>
                  <a:pt x="2321236" y="1682944"/>
                  <a:pt x="2318766" y="1685168"/>
                  <a:pt x="2315804" y="1685168"/>
                </a:cubicBezTo>
                <a:cubicBezTo>
                  <a:pt x="2312842" y="1685168"/>
                  <a:pt x="2310621" y="1682698"/>
                  <a:pt x="2310621" y="1679736"/>
                </a:cubicBezTo>
                <a:cubicBezTo>
                  <a:pt x="2310621" y="1676774"/>
                  <a:pt x="2313091" y="1674553"/>
                  <a:pt x="2315804" y="1674553"/>
                </a:cubicBezTo>
                <a:close/>
                <a:moveTo>
                  <a:pt x="841475" y="1672825"/>
                </a:moveTo>
                <a:cubicBezTo>
                  <a:pt x="842708" y="1672825"/>
                  <a:pt x="843698" y="1673812"/>
                  <a:pt x="843698" y="1675046"/>
                </a:cubicBezTo>
                <a:cubicBezTo>
                  <a:pt x="843944" y="1676280"/>
                  <a:pt x="842957" y="1677267"/>
                  <a:pt x="841475" y="1677267"/>
                </a:cubicBezTo>
                <a:cubicBezTo>
                  <a:pt x="840241" y="1677267"/>
                  <a:pt x="839254" y="1676280"/>
                  <a:pt x="839254" y="1675046"/>
                </a:cubicBezTo>
                <a:cubicBezTo>
                  <a:pt x="839254" y="1673812"/>
                  <a:pt x="840241" y="1672825"/>
                  <a:pt x="841475" y="1672825"/>
                </a:cubicBezTo>
                <a:close/>
                <a:moveTo>
                  <a:pt x="513184" y="1671345"/>
                </a:moveTo>
                <a:cubicBezTo>
                  <a:pt x="517379" y="1671345"/>
                  <a:pt x="520834" y="1674802"/>
                  <a:pt x="520834" y="1678997"/>
                </a:cubicBezTo>
                <a:cubicBezTo>
                  <a:pt x="520834" y="1683193"/>
                  <a:pt x="517379" y="1686650"/>
                  <a:pt x="513184" y="1686650"/>
                </a:cubicBezTo>
                <a:cubicBezTo>
                  <a:pt x="508986" y="1686650"/>
                  <a:pt x="505532" y="1683193"/>
                  <a:pt x="505532" y="1678997"/>
                </a:cubicBezTo>
                <a:cubicBezTo>
                  <a:pt x="505532" y="1674802"/>
                  <a:pt x="508986" y="1671345"/>
                  <a:pt x="513184" y="1671345"/>
                </a:cubicBezTo>
                <a:close/>
                <a:moveTo>
                  <a:pt x="1854497" y="1669370"/>
                </a:moveTo>
                <a:cubicBezTo>
                  <a:pt x="1855484" y="1669370"/>
                  <a:pt x="1856222" y="1670111"/>
                  <a:pt x="1856222" y="1671098"/>
                </a:cubicBezTo>
                <a:cubicBezTo>
                  <a:pt x="1855976" y="1672086"/>
                  <a:pt x="1855235" y="1672827"/>
                  <a:pt x="1854497" y="1672827"/>
                </a:cubicBezTo>
                <a:cubicBezTo>
                  <a:pt x="1853511" y="1672827"/>
                  <a:pt x="1852771" y="1672086"/>
                  <a:pt x="1852771" y="1671098"/>
                </a:cubicBezTo>
                <a:cubicBezTo>
                  <a:pt x="1852771" y="1670111"/>
                  <a:pt x="1853511" y="1669370"/>
                  <a:pt x="1854497" y="1669370"/>
                </a:cubicBezTo>
                <a:close/>
                <a:moveTo>
                  <a:pt x="3027918" y="1659002"/>
                </a:moveTo>
                <a:cubicBezTo>
                  <a:pt x="3035571" y="1659002"/>
                  <a:pt x="3041741" y="1665172"/>
                  <a:pt x="3041741" y="1673071"/>
                </a:cubicBezTo>
                <a:cubicBezTo>
                  <a:pt x="3041987" y="1680478"/>
                  <a:pt x="3035571" y="1686894"/>
                  <a:pt x="3027918" y="1686894"/>
                </a:cubicBezTo>
                <a:cubicBezTo>
                  <a:pt x="3020266" y="1686894"/>
                  <a:pt x="3013849" y="1680724"/>
                  <a:pt x="3013849" y="1673071"/>
                </a:cubicBezTo>
                <a:cubicBezTo>
                  <a:pt x="3013849" y="1665421"/>
                  <a:pt x="3020019" y="1659002"/>
                  <a:pt x="3027918" y="1659002"/>
                </a:cubicBezTo>
                <a:close/>
                <a:moveTo>
                  <a:pt x="57772" y="1655299"/>
                </a:moveTo>
                <a:cubicBezTo>
                  <a:pt x="59252" y="1655299"/>
                  <a:pt x="60488" y="1656533"/>
                  <a:pt x="60488" y="1658015"/>
                </a:cubicBezTo>
                <a:cubicBezTo>
                  <a:pt x="60488" y="1659495"/>
                  <a:pt x="59252" y="1660731"/>
                  <a:pt x="57772" y="1660731"/>
                </a:cubicBezTo>
                <a:cubicBezTo>
                  <a:pt x="56290" y="1660731"/>
                  <a:pt x="55056" y="1659495"/>
                  <a:pt x="55056" y="1658015"/>
                </a:cubicBezTo>
                <a:cubicBezTo>
                  <a:pt x="55056" y="1656533"/>
                  <a:pt x="56290" y="1655299"/>
                  <a:pt x="57772" y="1655299"/>
                </a:cubicBezTo>
                <a:close/>
                <a:moveTo>
                  <a:pt x="2756649" y="1651844"/>
                </a:moveTo>
                <a:cubicBezTo>
                  <a:pt x="2766522" y="1651844"/>
                  <a:pt x="2774421" y="1659743"/>
                  <a:pt x="2774421" y="1669616"/>
                </a:cubicBezTo>
                <a:cubicBezTo>
                  <a:pt x="2774667" y="1679243"/>
                  <a:pt x="2766522" y="1687388"/>
                  <a:pt x="2756649" y="1687388"/>
                </a:cubicBezTo>
                <a:cubicBezTo>
                  <a:pt x="2746776" y="1687388"/>
                  <a:pt x="2738877" y="1679489"/>
                  <a:pt x="2738877" y="1669616"/>
                </a:cubicBezTo>
                <a:cubicBezTo>
                  <a:pt x="2738877" y="1659743"/>
                  <a:pt x="2746776" y="1651844"/>
                  <a:pt x="2756649" y="1651844"/>
                </a:cubicBezTo>
                <a:close/>
                <a:moveTo>
                  <a:pt x="2039103" y="1648636"/>
                </a:moveTo>
                <a:cubicBezTo>
                  <a:pt x="2039844" y="1648636"/>
                  <a:pt x="2040339" y="1649128"/>
                  <a:pt x="2040339" y="1649870"/>
                </a:cubicBezTo>
                <a:cubicBezTo>
                  <a:pt x="2040339" y="1650611"/>
                  <a:pt x="2039844" y="1651106"/>
                  <a:pt x="2039103" y="1651106"/>
                </a:cubicBezTo>
                <a:cubicBezTo>
                  <a:pt x="2038361" y="1651106"/>
                  <a:pt x="2037869" y="1650611"/>
                  <a:pt x="2037869" y="1649870"/>
                </a:cubicBezTo>
                <a:cubicBezTo>
                  <a:pt x="2037869" y="1649128"/>
                  <a:pt x="2038361" y="1648636"/>
                  <a:pt x="2039103" y="1648636"/>
                </a:cubicBezTo>
                <a:close/>
                <a:moveTo>
                  <a:pt x="173291" y="1640984"/>
                </a:moveTo>
                <a:cubicBezTo>
                  <a:pt x="174527" y="1640984"/>
                  <a:pt x="175761" y="1641971"/>
                  <a:pt x="175761" y="1643454"/>
                </a:cubicBezTo>
                <a:cubicBezTo>
                  <a:pt x="175761" y="1644687"/>
                  <a:pt x="174773" y="1645921"/>
                  <a:pt x="173291" y="1645921"/>
                </a:cubicBezTo>
                <a:cubicBezTo>
                  <a:pt x="172058" y="1645921"/>
                  <a:pt x="170824" y="1644933"/>
                  <a:pt x="170824" y="1643454"/>
                </a:cubicBezTo>
                <a:cubicBezTo>
                  <a:pt x="170824" y="1642218"/>
                  <a:pt x="171812" y="1640984"/>
                  <a:pt x="173291" y="1640984"/>
                </a:cubicBezTo>
                <a:close/>
                <a:moveTo>
                  <a:pt x="1356869" y="1639996"/>
                </a:moveTo>
                <a:cubicBezTo>
                  <a:pt x="1357361" y="1639996"/>
                  <a:pt x="1357856" y="1640489"/>
                  <a:pt x="1357856" y="1640984"/>
                </a:cubicBezTo>
                <a:cubicBezTo>
                  <a:pt x="1357856" y="1641476"/>
                  <a:pt x="1357361" y="1641971"/>
                  <a:pt x="1356869" y="1641971"/>
                </a:cubicBezTo>
                <a:cubicBezTo>
                  <a:pt x="1356376" y="1641971"/>
                  <a:pt x="1355881" y="1641476"/>
                  <a:pt x="1355881" y="1640984"/>
                </a:cubicBezTo>
                <a:cubicBezTo>
                  <a:pt x="1355881" y="1640489"/>
                  <a:pt x="1356376" y="1639996"/>
                  <a:pt x="1356869" y="1639996"/>
                </a:cubicBezTo>
                <a:close/>
                <a:moveTo>
                  <a:pt x="2490560" y="1639750"/>
                </a:moveTo>
                <a:cubicBezTo>
                  <a:pt x="2495990" y="1639750"/>
                  <a:pt x="2500185" y="1644194"/>
                  <a:pt x="2500185" y="1649377"/>
                </a:cubicBezTo>
                <a:cubicBezTo>
                  <a:pt x="2500185" y="1654560"/>
                  <a:pt x="2495990" y="1659002"/>
                  <a:pt x="2490560" y="1659002"/>
                </a:cubicBezTo>
                <a:cubicBezTo>
                  <a:pt x="2485129" y="1659002"/>
                  <a:pt x="2480933" y="1654560"/>
                  <a:pt x="2480933" y="1649377"/>
                </a:cubicBezTo>
                <a:cubicBezTo>
                  <a:pt x="2480933" y="1643946"/>
                  <a:pt x="2485377" y="1639750"/>
                  <a:pt x="2490560" y="1639750"/>
                </a:cubicBezTo>
                <a:close/>
                <a:moveTo>
                  <a:pt x="1154214" y="1636293"/>
                </a:moveTo>
                <a:cubicBezTo>
                  <a:pt x="1155694" y="1636293"/>
                  <a:pt x="1156930" y="1637527"/>
                  <a:pt x="1156930" y="1639009"/>
                </a:cubicBezTo>
                <a:cubicBezTo>
                  <a:pt x="1156930" y="1640489"/>
                  <a:pt x="1155694" y="1641725"/>
                  <a:pt x="1154214" y="1641725"/>
                </a:cubicBezTo>
                <a:cubicBezTo>
                  <a:pt x="1152732" y="1641725"/>
                  <a:pt x="1151499" y="1640489"/>
                  <a:pt x="1151499" y="1639009"/>
                </a:cubicBezTo>
                <a:cubicBezTo>
                  <a:pt x="1151499" y="1637527"/>
                  <a:pt x="1152732" y="1636293"/>
                  <a:pt x="1154214" y="1636293"/>
                </a:cubicBezTo>
                <a:close/>
                <a:moveTo>
                  <a:pt x="624015" y="1635060"/>
                </a:moveTo>
                <a:cubicBezTo>
                  <a:pt x="628702" y="1635060"/>
                  <a:pt x="632406" y="1638763"/>
                  <a:pt x="632406" y="1643451"/>
                </a:cubicBezTo>
                <a:cubicBezTo>
                  <a:pt x="632406" y="1648142"/>
                  <a:pt x="628702" y="1651845"/>
                  <a:pt x="624015" y="1651845"/>
                </a:cubicBezTo>
                <a:cubicBezTo>
                  <a:pt x="619324" y="1651845"/>
                  <a:pt x="615620" y="1648142"/>
                  <a:pt x="615620" y="1643451"/>
                </a:cubicBezTo>
                <a:cubicBezTo>
                  <a:pt x="615620" y="1638763"/>
                  <a:pt x="619324" y="1635060"/>
                  <a:pt x="624015" y="1635060"/>
                </a:cubicBezTo>
                <a:close/>
                <a:moveTo>
                  <a:pt x="1553599" y="1634318"/>
                </a:moveTo>
                <a:cubicBezTo>
                  <a:pt x="1553848" y="1634318"/>
                  <a:pt x="1554094" y="1634564"/>
                  <a:pt x="1554094" y="1634813"/>
                </a:cubicBezTo>
                <a:cubicBezTo>
                  <a:pt x="1554094" y="1635059"/>
                  <a:pt x="1553848" y="1635305"/>
                  <a:pt x="1553599" y="1635305"/>
                </a:cubicBezTo>
                <a:cubicBezTo>
                  <a:pt x="1553353" y="1635305"/>
                  <a:pt x="1553107" y="1635059"/>
                  <a:pt x="1553107" y="1634813"/>
                </a:cubicBezTo>
                <a:cubicBezTo>
                  <a:pt x="1553107" y="1634564"/>
                  <a:pt x="1553353" y="1634318"/>
                  <a:pt x="1553599" y="1634318"/>
                </a:cubicBezTo>
                <a:close/>
                <a:moveTo>
                  <a:pt x="947120" y="1623706"/>
                </a:moveTo>
                <a:cubicBezTo>
                  <a:pt x="948483" y="1623706"/>
                  <a:pt x="949589" y="1624810"/>
                  <a:pt x="949589" y="1626173"/>
                </a:cubicBezTo>
                <a:cubicBezTo>
                  <a:pt x="949589" y="1627539"/>
                  <a:pt x="948486" y="1628643"/>
                  <a:pt x="947120" y="1628643"/>
                </a:cubicBezTo>
                <a:cubicBezTo>
                  <a:pt x="945756" y="1628643"/>
                  <a:pt x="944653" y="1627539"/>
                  <a:pt x="944653" y="1626173"/>
                </a:cubicBezTo>
                <a:cubicBezTo>
                  <a:pt x="944653" y="1624810"/>
                  <a:pt x="945756" y="1623706"/>
                  <a:pt x="947120" y="1623706"/>
                </a:cubicBezTo>
                <a:close/>
                <a:moveTo>
                  <a:pt x="2218552" y="1621978"/>
                </a:moveTo>
                <a:cubicBezTo>
                  <a:pt x="2220032" y="1621978"/>
                  <a:pt x="2221268" y="1623212"/>
                  <a:pt x="2221268" y="1624694"/>
                </a:cubicBezTo>
                <a:cubicBezTo>
                  <a:pt x="2221268" y="1626174"/>
                  <a:pt x="2220032" y="1627410"/>
                  <a:pt x="2218552" y="1627410"/>
                </a:cubicBezTo>
                <a:cubicBezTo>
                  <a:pt x="2217070" y="1627410"/>
                  <a:pt x="2215836" y="1626174"/>
                  <a:pt x="2215836" y="1624694"/>
                </a:cubicBezTo>
                <a:cubicBezTo>
                  <a:pt x="2215836" y="1623212"/>
                  <a:pt x="2217070" y="1621978"/>
                  <a:pt x="2218552" y="1621978"/>
                </a:cubicBezTo>
                <a:close/>
                <a:moveTo>
                  <a:pt x="288068" y="1621237"/>
                </a:moveTo>
                <a:cubicBezTo>
                  <a:pt x="289055" y="1621237"/>
                  <a:pt x="290043" y="1622224"/>
                  <a:pt x="290043" y="1623212"/>
                </a:cubicBezTo>
                <a:cubicBezTo>
                  <a:pt x="290043" y="1624199"/>
                  <a:pt x="289301" y="1625186"/>
                  <a:pt x="288068" y="1625186"/>
                </a:cubicBezTo>
                <a:cubicBezTo>
                  <a:pt x="286834" y="1625186"/>
                  <a:pt x="286093" y="1624199"/>
                  <a:pt x="286093" y="1623212"/>
                </a:cubicBezTo>
                <a:cubicBezTo>
                  <a:pt x="286093" y="1621978"/>
                  <a:pt x="287080" y="1621237"/>
                  <a:pt x="288068" y="1621237"/>
                </a:cubicBezTo>
                <a:close/>
                <a:moveTo>
                  <a:pt x="1744648" y="1620496"/>
                </a:moveTo>
                <a:cubicBezTo>
                  <a:pt x="1745390" y="1620496"/>
                  <a:pt x="1746132" y="1620991"/>
                  <a:pt x="1746132" y="1621729"/>
                </a:cubicBezTo>
                <a:cubicBezTo>
                  <a:pt x="1746132" y="1622719"/>
                  <a:pt x="1745390" y="1623212"/>
                  <a:pt x="1744648" y="1623212"/>
                </a:cubicBezTo>
                <a:cubicBezTo>
                  <a:pt x="1743910" y="1623212"/>
                  <a:pt x="1743415" y="1622719"/>
                  <a:pt x="1743415" y="1621729"/>
                </a:cubicBezTo>
                <a:cubicBezTo>
                  <a:pt x="1743415" y="1620991"/>
                  <a:pt x="1743910" y="1620496"/>
                  <a:pt x="1744648" y="1620496"/>
                </a:cubicBezTo>
                <a:close/>
                <a:moveTo>
                  <a:pt x="3190337" y="1612597"/>
                </a:moveTo>
                <a:cubicBezTo>
                  <a:pt x="3200952" y="1612597"/>
                  <a:pt x="3209835" y="1621237"/>
                  <a:pt x="3209835" y="1632098"/>
                </a:cubicBezTo>
                <a:cubicBezTo>
                  <a:pt x="3209835" y="1642959"/>
                  <a:pt x="3200952" y="1651596"/>
                  <a:pt x="3190337" y="1651596"/>
                </a:cubicBezTo>
                <a:cubicBezTo>
                  <a:pt x="3179722" y="1651596"/>
                  <a:pt x="3170836" y="1642959"/>
                  <a:pt x="3170836" y="1632098"/>
                </a:cubicBezTo>
                <a:cubicBezTo>
                  <a:pt x="3170836" y="1621237"/>
                  <a:pt x="3179476" y="1612597"/>
                  <a:pt x="3190337" y="1612597"/>
                </a:cubicBezTo>
                <a:close/>
                <a:moveTo>
                  <a:pt x="2661124" y="1601523"/>
                </a:moveTo>
                <a:cubicBezTo>
                  <a:pt x="2668776" y="1601523"/>
                  <a:pt x="2674947" y="1607660"/>
                  <a:pt x="2674947" y="1615313"/>
                </a:cubicBezTo>
                <a:cubicBezTo>
                  <a:pt x="2674947" y="1622965"/>
                  <a:pt x="2668776" y="1629136"/>
                  <a:pt x="2661124" y="1629136"/>
                </a:cubicBezTo>
                <a:cubicBezTo>
                  <a:pt x="2653471" y="1629136"/>
                  <a:pt x="2647301" y="1622965"/>
                  <a:pt x="2647301" y="1615313"/>
                </a:cubicBezTo>
                <a:cubicBezTo>
                  <a:pt x="2647301" y="1607660"/>
                  <a:pt x="2653471" y="1601523"/>
                  <a:pt x="2661124" y="1601523"/>
                </a:cubicBezTo>
                <a:close/>
                <a:moveTo>
                  <a:pt x="2933134" y="1596098"/>
                </a:moveTo>
                <a:cubicBezTo>
                  <a:pt x="2945474" y="1596098"/>
                  <a:pt x="2955347" y="1606178"/>
                  <a:pt x="2955347" y="1618521"/>
                </a:cubicBezTo>
                <a:cubicBezTo>
                  <a:pt x="2955347" y="1630861"/>
                  <a:pt x="2945474" y="1640984"/>
                  <a:pt x="2933134" y="1640984"/>
                </a:cubicBezTo>
                <a:cubicBezTo>
                  <a:pt x="2920791" y="1640984"/>
                  <a:pt x="2910671" y="1630861"/>
                  <a:pt x="2910671" y="1618521"/>
                </a:cubicBezTo>
                <a:cubicBezTo>
                  <a:pt x="2910671" y="1606178"/>
                  <a:pt x="2920791" y="1596098"/>
                  <a:pt x="2933134" y="1596098"/>
                </a:cubicBezTo>
                <a:close/>
                <a:moveTo>
                  <a:pt x="401614" y="1595331"/>
                </a:moveTo>
                <a:cubicBezTo>
                  <a:pt x="402601" y="1595331"/>
                  <a:pt x="403340" y="1596071"/>
                  <a:pt x="403340" y="1597059"/>
                </a:cubicBezTo>
                <a:cubicBezTo>
                  <a:pt x="403589" y="1598046"/>
                  <a:pt x="402601" y="1598788"/>
                  <a:pt x="401614" y="1598788"/>
                </a:cubicBezTo>
                <a:cubicBezTo>
                  <a:pt x="400627" y="1598788"/>
                  <a:pt x="399886" y="1598046"/>
                  <a:pt x="399886" y="1597059"/>
                </a:cubicBezTo>
                <a:cubicBezTo>
                  <a:pt x="399886" y="1596071"/>
                  <a:pt x="400627" y="1595331"/>
                  <a:pt x="401614" y="1595331"/>
                </a:cubicBezTo>
                <a:close/>
                <a:moveTo>
                  <a:pt x="733113" y="1593603"/>
                </a:moveTo>
                <a:cubicBezTo>
                  <a:pt x="738299" y="1593603"/>
                  <a:pt x="742248" y="1597553"/>
                  <a:pt x="742248" y="1602723"/>
                </a:cubicBezTo>
                <a:cubicBezTo>
                  <a:pt x="741999" y="1607660"/>
                  <a:pt x="738050" y="1611858"/>
                  <a:pt x="733113" y="1611858"/>
                </a:cubicBezTo>
                <a:cubicBezTo>
                  <a:pt x="728176" y="1611858"/>
                  <a:pt x="723981" y="1607908"/>
                  <a:pt x="723981" y="1602723"/>
                </a:cubicBezTo>
                <a:cubicBezTo>
                  <a:pt x="723981" y="1597799"/>
                  <a:pt x="727930" y="1593603"/>
                  <a:pt x="733113" y="1593603"/>
                </a:cubicBezTo>
                <a:close/>
                <a:moveTo>
                  <a:pt x="1941123" y="1591888"/>
                </a:moveTo>
                <a:cubicBezTo>
                  <a:pt x="1941864" y="1591888"/>
                  <a:pt x="1942604" y="1592627"/>
                  <a:pt x="1942604" y="1593366"/>
                </a:cubicBezTo>
                <a:cubicBezTo>
                  <a:pt x="1942604" y="1594107"/>
                  <a:pt x="1941864" y="1594847"/>
                  <a:pt x="1941123" y="1594847"/>
                </a:cubicBezTo>
                <a:cubicBezTo>
                  <a:pt x="1940385" y="1594847"/>
                  <a:pt x="1939644" y="1594107"/>
                  <a:pt x="1939644" y="1593366"/>
                </a:cubicBezTo>
                <a:cubicBezTo>
                  <a:pt x="1939644" y="1592627"/>
                  <a:pt x="1940385" y="1591888"/>
                  <a:pt x="1941123" y="1591888"/>
                </a:cubicBezTo>
                <a:close/>
                <a:moveTo>
                  <a:pt x="2394545" y="1588190"/>
                </a:moveTo>
                <a:cubicBezTo>
                  <a:pt x="2397753" y="1588190"/>
                  <a:pt x="2400469" y="1590904"/>
                  <a:pt x="2400469" y="1594113"/>
                </a:cubicBezTo>
                <a:cubicBezTo>
                  <a:pt x="2400469" y="1597571"/>
                  <a:pt x="2397753" y="1600035"/>
                  <a:pt x="2394545" y="1600035"/>
                </a:cubicBezTo>
                <a:cubicBezTo>
                  <a:pt x="2391337" y="1600035"/>
                  <a:pt x="2388621" y="1597321"/>
                  <a:pt x="2388621" y="1594113"/>
                </a:cubicBezTo>
                <a:cubicBezTo>
                  <a:pt x="2388621" y="1590904"/>
                  <a:pt x="2391337" y="1588190"/>
                  <a:pt x="2394545" y="1588190"/>
                </a:cubicBezTo>
                <a:close/>
                <a:moveTo>
                  <a:pt x="1253690" y="1575835"/>
                </a:moveTo>
                <a:cubicBezTo>
                  <a:pt x="1255170" y="1575835"/>
                  <a:pt x="1256652" y="1577070"/>
                  <a:pt x="1256652" y="1578797"/>
                </a:cubicBezTo>
                <a:cubicBezTo>
                  <a:pt x="1256406" y="1580279"/>
                  <a:pt x="1255170" y="1581514"/>
                  <a:pt x="1253690" y="1581514"/>
                </a:cubicBezTo>
                <a:cubicBezTo>
                  <a:pt x="1252208" y="1581514"/>
                  <a:pt x="1250975" y="1580279"/>
                  <a:pt x="1250975" y="1578797"/>
                </a:cubicBezTo>
                <a:cubicBezTo>
                  <a:pt x="1250975" y="1577317"/>
                  <a:pt x="1252208" y="1575835"/>
                  <a:pt x="1253690" y="1575835"/>
                </a:cubicBezTo>
                <a:close/>
                <a:moveTo>
                  <a:pt x="1452147" y="1574110"/>
                </a:moveTo>
                <a:cubicBezTo>
                  <a:pt x="1452639" y="1574110"/>
                  <a:pt x="1452885" y="1574357"/>
                  <a:pt x="1452885" y="1574851"/>
                </a:cubicBezTo>
                <a:cubicBezTo>
                  <a:pt x="1452885" y="1575343"/>
                  <a:pt x="1452639" y="1575589"/>
                  <a:pt x="1452147" y="1575589"/>
                </a:cubicBezTo>
                <a:cubicBezTo>
                  <a:pt x="1451652" y="1575589"/>
                  <a:pt x="1451405" y="1575343"/>
                  <a:pt x="1451405" y="1574851"/>
                </a:cubicBezTo>
                <a:cubicBezTo>
                  <a:pt x="1451405" y="1574357"/>
                  <a:pt x="1451652" y="1574110"/>
                  <a:pt x="1452147" y="1574110"/>
                </a:cubicBezTo>
                <a:close/>
                <a:moveTo>
                  <a:pt x="1050297" y="1570403"/>
                </a:moveTo>
                <a:cubicBezTo>
                  <a:pt x="1051779" y="1570403"/>
                  <a:pt x="1052767" y="1571636"/>
                  <a:pt x="1052767" y="1572873"/>
                </a:cubicBezTo>
                <a:cubicBezTo>
                  <a:pt x="1053013" y="1574108"/>
                  <a:pt x="1051779" y="1575339"/>
                  <a:pt x="1050297" y="1575339"/>
                </a:cubicBezTo>
                <a:cubicBezTo>
                  <a:pt x="1048817" y="1575339"/>
                  <a:pt x="1047830" y="1574108"/>
                  <a:pt x="1047830" y="1572873"/>
                </a:cubicBezTo>
                <a:cubicBezTo>
                  <a:pt x="1047830" y="1571390"/>
                  <a:pt x="1049063" y="1570403"/>
                  <a:pt x="1050297" y="1570403"/>
                </a:cubicBezTo>
                <a:close/>
                <a:moveTo>
                  <a:pt x="2122039" y="1567453"/>
                </a:moveTo>
                <a:cubicBezTo>
                  <a:pt x="2122532" y="1567453"/>
                  <a:pt x="2123027" y="1567948"/>
                  <a:pt x="2123027" y="1568440"/>
                </a:cubicBezTo>
                <a:cubicBezTo>
                  <a:pt x="2123027" y="1568932"/>
                  <a:pt x="2122532" y="1569428"/>
                  <a:pt x="2122039" y="1569428"/>
                </a:cubicBezTo>
                <a:cubicBezTo>
                  <a:pt x="2121544" y="1569428"/>
                  <a:pt x="2121052" y="1568932"/>
                  <a:pt x="2121052" y="1568440"/>
                </a:cubicBezTo>
                <a:cubicBezTo>
                  <a:pt x="2121052" y="1567948"/>
                  <a:pt x="2121544" y="1567453"/>
                  <a:pt x="2122039" y="1567453"/>
                </a:cubicBezTo>
                <a:close/>
                <a:moveTo>
                  <a:pt x="513922" y="1563984"/>
                </a:moveTo>
                <a:cubicBezTo>
                  <a:pt x="514663" y="1563984"/>
                  <a:pt x="515404" y="1564725"/>
                  <a:pt x="515404" y="1565463"/>
                </a:cubicBezTo>
                <a:cubicBezTo>
                  <a:pt x="515404" y="1566204"/>
                  <a:pt x="514663" y="1566945"/>
                  <a:pt x="513922" y="1566945"/>
                </a:cubicBezTo>
                <a:cubicBezTo>
                  <a:pt x="513183" y="1566945"/>
                  <a:pt x="512442" y="1566204"/>
                  <a:pt x="512442" y="1565463"/>
                </a:cubicBezTo>
                <a:cubicBezTo>
                  <a:pt x="512442" y="1564725"/>
                  <a:pt x="512937" y="1563984"/>
                  <a:pt x="513922" y="1563984"/>
                </a:cubicBezTo>
                <a:close/>
                <a:moveTo>
                  <a:pt x="3095798" y="1563524"/>
                </a:moveTo>
                <a:cubicBezTo>
                  <a:pt x="3103943" y="1563524"/>
                  <a:pt x="3110608" y="1570185"/>
                  <a:pt x="3110608" y="1578329"/>
                </a:cubicBezTo>
                <a:cubicBezTo>
                  <a:pt x="3110608" y="1586473"/>
                  <a:pt x="3103943" y="1593137"/>
                  <a:pt x="3095798" y="1593137"/>
                </a:cubicBezTo>
                <a:cubicBezTo>
                  <a:pt x="3087653" y="1593137"/>
                  <a:pt x="3080988" y="1586473"/>
                  <a:pt x="3080988" y="1578329"/>
                </a:cubicBezTo>
                <a:cubicBezTo>
                  <a:pt x="3080988" y="1570185"/>
                  <a:pt x="3087653" y="1563524"/>
                  <a:pt x="3095798" y="1563524"/>
                </a:cubicBezTo>
                <a:close/>
                <a:moveTo>
                  <a:pt x="1645174" y="1563251"/>
                </a:moveTo>
                <a:cubicBezTo>
                  <a:pt x="1645422" y="1563251"/>
                  <a:pt x="1645422" y="1563498"/>
                  <a:pt x="1645422" y="1563498"/>
                </a:cubicBezTo>
                <a:cubicBezTo>
                  <a:pt x="1645422" y="1563743"/>
                  <a:pt x="1645174" y="1563743"/>
                  <a:pt x="1645174" y="1563743"/>
                </a:cubicBezTo>
                <a:cubicBezTo>
                  <a:pt x="1644928" y="1563743"/>
                  <a:pt x="1644928" y="1563498"/>
                  <a:pt x="1644928" y="1563498"/>
                </a:cubicBezTo>
                <a:cubicBezTo>
                  <a:pt x="1644928" y="1563251"/>
                  <a:pt x="1645174" y="1563251"/>
                  <a:pt x="1645174" y="1563251"/>
                </a:cubicBezTo>
                <a:close/>
                <a:moveTo>
                  <a:pt x="2827983" y="1559323"/>
                </a:moveTo>
                <a:cubicBezTo>
                  <a:pt x="2838349" y="1559323"/>
                  <a:pt x="2846497" y="1567711"/>
                  <a:pt x="2846497" y="1578080"/>
                </a:cubicBezTo>
                <a:cubicBezTo>
                  <a:pt x="2846497" y="1588442"/>
                  <a:pt x="2838349" y="1596594"/>
                  <a:pt x="2827983" y="1596594"/>
                </a:cubicBezTo>
                <a:cubicBezTo>
                  <a:pt x="2817615" y="1596594"/>
                  <a:pt x="2809470" y="1588197"/>
                  <a:pt x="2809470" y="1578080"/>
                </a:cubicBezTo>
                <a:cubicBezTo>
                  <a:pt x="2809470" y="1567711"/>
                  <a:pt x="2817864" y="1559323"/>
                  <a:pt x="2827983" y="1559323"/>
                </a:cubicBezTo>
                <a:close/>
                <a:moveTo>
                  <a:pt x="2565598" y="1549930"/>
                </a:moveTo>
                <a:cubicBezTo>
                  <a:pt x="2571522" y="1549930"/>
                  <a:pt x="2576212" y="1554874"/>
                  <a:pt x="2576212" y="1560798"/>
                </a:cubicBezTo>
                <a:cubicBezTo>
                  <a:pt x="2576459" y="1566721"/>
                  <a:pt x="2571522" y="1571410"/>
                  <a:pt x="2565598" y="1571410"/>
                </a:cubicBezTo>
                <a:cubicBezTo>
                  <a:pt x="2559674" y="1571410"/>
                  <a:pt x="2554983" y="1566476"/>
                  <a:pt x="2554983" y="1560798"/>
                </a:cubicBezTo>
                <a:cubicBezTo>
                  <a:pt x="2554983" y="1554874"/>
                  <a:pt x="2559920" y="1549930"/>
                  <a:pt x="2565598" y="1549930"/>
                </a:cubicBezTo>
                <a:close/>
                <a:moveTo>
                  <a:pt x="839993" y="1547199"/>
                </a:moveTo>
                <a:cubicBezTo>
                  <a:pt x="845176" y="1547199"/>
                  <a:pt x="849866" y="1551643"/>
                  <a:pt x="849866" y="1556829"/>
                </a:cubicBezTo>
                <a:cubicBezTo>
                  <a:pt x="849866" y="1562256"/>
                  <a:pt x="845422" y="1566700"/>
                  <a:pt x="839993" y="1566700"/>
                </a:cubicBezTo>
                <a:cubicBezTo>
                  <a:pt x="834562" y="1566700"/>
                  <a:pt x="830366" y="1562256"/>
                  <a:pt x="830366" y="1556829"/>
                </a:cubicBezTo>
                <a:cubicBezTo>
                  <a:pt x="830366" y="1551390"/>
                  <a:pt x="834811" y="1547199"/>
                  <a:pt x="839993" y="1547199"/>
                </a:cubicBezTo>
                <a:close/>
                <a:moveTo>
                  <a:pt x="57771" y="1545222"/>
                </a:moveTo>
                <a:cubicBezTo>
                  <a:pt x="59746" y="1545222"/>
                  <a:pt x="61475" y="1546951"/>
                  <a:pt x="61475" y="1548926"/>
                </a:cubicBezTo>
                <a:cubicBezTo>
                  <a:pt x="61475" y="1550901"/>
                  <a:pt x="59746" y="1552622"/>
                  <a:pt x="57771" y="1552622"/>
                </a:cubicBezTo>
                <a:cubicBezTo>
                  <a:pt x="55797" y="1552622"/>
                  <a:pt x="54068" y="1550901"/>
                  <a:pt x="54068" y="1548926"/>
                </a:cubicBezTo>
                <a:cubicBezTo>
                  <a:pt x="54068" y="1546951"/>
                  <a:pt x="55797" y="1545222"/>
                  <a:pt x="57771" y="1545222"/>
                </a:cubicBezTo>
                <a:close/>
                <a:moveTo>
                  <a:pt x="1832279" y="1544495"/>
                </a:moveTo>
                <a:cubicBezTo>
                  <a:pt x="1833092" y="1544495"/>
                  <a:pt x="1833756" y="1545158"/>
                  <a:pt x="1833756" y="1545974"/>
                </a:cubicBezTo>
                <a:cubicBezTo>
                  <a:pt x="1833756" y="1546793"/>
                  <a:pt x="1833092" y="1547455"/>
                  <a:pt x="1832279" y="1547455"/>
                </a:cubicBezTo>
                <a:cubicBezTo>
                  <a:pt x="1831457" y="1547455"/>
                  <a:pt x="1830795" y="1546793"/>
                  <a:pt x="1830795" y="1545974"/>
                </a:cubicBezTo>
                <a:cubicBezTo>
                  <a:pt x="1830795" y="1545158"/>
                  <a:pt x="1831457" y="1544495"/>
                  <a:pt x="1832279" y="1544495"/>
                </a:cubicBezTo>
                <a:close/>
                <a:moveTo>
                  <a:pt x="2297785" y="1536605"/>
                </a:moveTo>
                <a:cubicBezTo>
                  <a:pt x="2299514" y="1536605"/>
                  <a:pt x="2300747" y="1537839"/>
                  <a:pt x="2300747" y="1539566"/>
                </a:cubicBezTo>
                <a:cubicBezTo>
                  <a:pt x="2300993" y="1541295"/>
                  <a:pt x="2299514" y="1542528"/>
                  <a:pt x="2297785" y="1542528"/>
                </a:cubicBezTo>
                <a:cubicBezTo>
                  <a:pt x="2296057" y="1542528"/>
                  <a:pt x="2294823" y="1541045"/>
                  <a:pt x="2294823" y="1539566"/>
                </a:cubicBezTo>
                <a:cubicBezTo>
                  <a:pt x="2294823" y="1537839"/>
                  <a:pt x="2296303" y="1536605"/>
                  <a:pt x="2297785" y="1536605"/>
                </a:cubicBezTo>
                <a:close/>
                <a:moveTo>
                  <a:pt x="173535" y="1529673"/>
                </a:moveTo>
                <a:cubicBezTo>
                  <a:pt x="175756" y="1529673"/>
                  <a:pt x="177484" y="1531402"/>
                  <a:pt x="177484" y="1533622"/>
                </a:cubicBezTo>
                <a:cubicBezTo>
                  <a:pt x="177238" y="1535598"/>
                  <a:pt x="175510" y="1537325"/>
                  <a:pt x="173535" y="1537325"/>
                </a:cubicBezTo>
                <a:cubicBezTo>
                  <a:pt x="171560" y="1537325"/>
                  <a:pt x="169586" y="1535598"/>
                  <a:pt x="169586" y="1533622"/>
                </a:cubicBezTo>
                <a:cubicBezTo>
                  <a:pt x="169586" y="1531402"/>
                  <a:pt x="171314" y="1529673"/>
                  <a:pt x="173535" y="1529673"/>
                </a:cubicBezTo>
                <a:close/>
                <a:moveTo>
                  <a:pt x="624256" y="1524985"/>
                </a:moveTo>
                <a:cubicBezTo>
                  <a:pt x="625985" y="1524985"/>
                  <a:pt x="627467" y="1526464"/>
                  <a:pt x="627467" y="1528192"/>
                </a:cubicBezTo>
                <a:cubicBezTo>
                  <a:pt x="627713" y="1529920"/>
                  <a:pt x="626231" y="1531402"/>
                  <a:pt x="624256" y="1531402"/>
                </a:cubicBezTo>
                <a:cubicBezTo>
                  <a:pt x="622528" y="1531402"/>
                  <a:pt x="621048" y="1529920"/>
                  <a:pt x="621048" y="1528192"/>
                </a:cubicBezTo>
                <a:cubicBezTo>
                  <a:pt x="621048" y="1526464"/>
                  <a:pt x="622528" y="1524985"/>
                  <a:pt x="624256" y="1524985"/>
                </a:cubicBezTo>
                <a:close/>
                <a:moveTo>
                  <a:pt x="3255009" y="1515157"/>
                </a:moveTo>
                <a:cubicBezTo>
                  <a:pt x="3266116" y="1515157"/>
                  <a:pt x="3275248" y="1524285"/>
                  <a:pt x="3275248" y="1535390"/>
                </a:cubicBezTo>
                <a:cubicBezTo>
                  <a:pt x="3275248" y="1546493"/>
                  <a:pt x="3266116" y="1555632"/>
                  <a:pt x="3255009" y="1555632"/>
                </a:cubicBezTo>
                <a:cubicBezTo>
                  <a:pt x="3243899" y="1555632"/>
                  <a:pt x="3234767" y="1546493"/>
                  <a:pt x="3234767" y="1535390"/>
                </a:cubicBezTo>
                <a:cubicBezTo>
                  <a:pt x="3234767" y="1524285"/>
                  <a:pt x="3243899" y="1515157"/>
                  <a:pt x="3255009" y="1515157"/>
                </a:cubicBezTo>
                <a:close/>
                <a:moveTo>
                  <a:pt x="1151002" y="1511908"/>
                </a:moveTo>
                <a:cubicBezTo>
                  <a:pt x="1152482" y="1511908"/>
                  <a:pt x="1153718" y="1513142"/>
                  <a:pt x="1153718" y="1514624"/>
                </a:cubicBezTo>
                <a:cubicBezTo>
                  <a:pt x="1153964" y="1516103"/>
                  <a:pt x="1152730" y="1517339"/>
                  <a:pt x="1151002" y="1517339"/>
                </a:cubicBezTo>
                <a:cubicBezTo>
                  <a:pt x="1149520" y="1517339"/>
                  <a:pt x="1148286" y="1516103"/>
                  <a:pt x="1148286" y="1514624"/>
                </a:cubicBezTo>
                <a:cubicBezTo>
                  <a:pt x="1148286" y="1513142"/>
                  <a:pt x="1149520" y="1511908"/>
                  <a:pt x="1151002" y="1511908"/>
                </a:cubicBezTo>
                <a:close/>
                <a:moveTo>
                  <a:pt x="1350202" y="1511418"/>
                </a:moveTo>
                <a:cubicBezTo>
                  <a:pt x="1351684" y="1511418"/>
                  <a:pt x="1353164" y="1512652"/>
                  <a:pt x="1353164" y="1514380"/>
                </a:cubicBezTo>
                <a:cubicBezTo>
                  <a:pt x="1353164" y="1516108"/>
                  <a:pt x="1351930" y="1517096"/>
                  <a:pt x="1350202" y="1517096"/>
                </a:cubicBezTo>
                <a:cubicBezTo>
                  <a:pt x="1348719" y="1517096"/>
                  <a:pt x="1347239" y="1515859"/>
                  <a:pt x="1347239" y="1514380"/>
                </a:cubicBezTo>
                <a:cubicBezTo>
                  <a:pt x="1347239" y="1512898"/>
                  <a:pt x="1348473" y="1511418"/>
                  <a:pt x="1350202" y="1511418"/>
                </a:cubicBezTo>
                <a:close/>
                <a:moveTo>
                  <a:pt x="2024786" y="1511179"/>
                </a:moveTo>
                <a:cubicBezTo>
                  <a:pt x="2025527" y="1511179"/>
                  <a:pt x="2026022" y="1511674"/>
                  <a:pt x="2026022" y="1512413"/>
                </a:cubicBezTo>
                <a:cubicBezTo>
                  <a:pt x="2026022" y="1513154"/>
                  <a:pt x="2025527" y="1513649"/>
                  <a:pt x="2024786" y="1513649"/>
                </a:cubicBezTo>
                <a:cubicBezTo>
                  <a:pt x="2024047" y="1513649"/>
                  <a:pt x="2023552" y="1513154"/>
                  <a:pt x="2023552" y="1512413"/>
                </a:cubicBezTo>
                <a:cubicBezTo>
                  <a:pt x="2023552" y="1511674"/>
                  <a:pt x="2024047" y="1511179"/>
                  <a:pt x="2024786" y="1511179"/>
                </a:cubicBezTo>
                <a:close/>
                <a:moveTo>
                  <a:pt x="2732953" y="1509467"/>
                </a:moveTo>
                <a:cubicBezTo>
                  <a:pt x="2741098" y="1509467"/>
                  <a:pt x="2747514" y="1516132"/>
                  <a:pt x="2747514" y="1524030"/>
                </a:cubicBezTo>
                <a:cubicBezTo>
                  <a:pt x="2747514" y="1531926"/>
                  <a:pt x="2740849" y="1538589"/>
                  <a:pt x="2732953" y="1538589"/>
                </a:cubicBezTo>
                <a:cubicBezTo>
                  <a:pt x="2724805" y="1538589"/>
                  <a:pt x="2718389" y="1532173"/>
                  <a:pt x="2718389" y="1524030"/>
                </a:cubicBezTo>
                <a:cubicBezTo>
                  <a:pt x="2718389" y="1515887"/>
                  <a:pt x="2725054" y="1509467"/>
                  <a:pt x="2732953" y="1509467"/>
                </a:cubicBezTo>
                <a:close/>
                <a:moveTo>
                  <a:pt x="288313" y="1508201"/>
                </a:moveTo>
                <a:cubicBezTo>
                  <a:pt x="290534" y="1508201"/>
                  <a:pt x="292263" y="1509930"/>
                  <a:pt x="292263" y="1512151"/>
                </a:cubicBezTo>
                <a:cubicBezTo>
                  <a:pt x="292263" y="1514371"/>
                  <a:pt x="290534" y="1516100"/>
                  <a:pt x="288313" y="1516100"/>
                </a:cubicBezTo>
                <a:cubicBezTo>
                  <a:pt x="286092" y="1516100"/>
                  <a:pt x="284364" y="1514371"/>
                  <a:pt x="284364" y="1512151"/>
                </a:cubicBezTo>
                <a:cubicBezTo>
                  <a:pt x="284364" y="1509930"/>
                  <a:pt x="286092" y="1508201"/>
                  <a:pt x="288313" y="1508201"/>
                </a:cubicBezTo>
                <a:close/>
                <a:moveTo>
                  <a:pt x="1544711" y="1504259"/>
                </a:moveTo>
                <a:cubicBezTo>
                  <a:pt x="1544960" y="1504259"/>
                  <a:pt x="1544960" y="1504504"/>
                  <a:pt x="1544960" y="1504754"/>
                </a:cubicBezTo>
                <a:cubicBezTo>
                  <a:pt x="1545206" y="1505001"/>
                  <a:pt x="1544960" y="1505246"/>
                  <a:pt x="1544711" y="1505246"/>
                </a:cubicBezTo>
                <a:cubicBezTo>
                  <a:pt x="1544465" y="1505246"/>
                  <a:pt x="1544219" y="1505001"/>
                  <a:pt x="1544219" y="1504754"/>
                </a:cubicBezTo>
                <a:cubicBezTo>
                  <a:pt x="1544219" y="1504504"/>
                  <a:pt x="1544465" y="1504259"/>
                  <a:pt x="1544711" y="1504259"/>
                </a:cubicBezTo>
                <a:close/>
                <a:moveTo>
                  <a:pt x="3001263" y="1500833"/>
                </a:moveTo>
                <a:cubicBezTo>
                  <a:pt x="3014096" y="1500833"/>
                  <a:pt x="3024464" y="1511202"/>
                  <a:pt x="3024464" y="1524037"/>
                </a:cubicBezTo>
                <a:cubicBezTo>
                  <a:pt x="3024464" y="1536868"/>
                  <a:pt x="3014096" y="1547229"/>
                  <a:pt x="3001263" y="1547229"/>
                </a:cubicBezTo>
                <a:cubicBezTo>
                  <a:pt x="2988425" y="1547229"/>
                  <a:pt x="2978059" y="1536868"/>
                  <a:pt x="2978059" y="1524037"/>
                </a:cubicBezTo>
                <a:cubicBezTo>
                  <a:pt x="2978059" y="1511202"/>
                  <a:pt x="2988425" y="1500833"/>
                  <a:pt x="3001263" y="1500833"/>
                </a:cubicBezTo>
                <a:close/>
                <a:moveTo>
                  <a:pt x="2470073" y="1499586"/>
                </a:moveTo>
                <a:cubicBezTo>
                  <a:pt x="2473530" y="1499586"/>
                  <a:pt x="2476492" y="1502549"/>
                  <a:pt x="2476492" y="1506005"/>
                </a:cubicBezTo>
                <a:cubicBezTo>
                  <a:pt x="2476492" y="1509460"/>
                  <a:pt x="2473776" y="1512424"/>
                  <a:pt x="2470073" y="1512424"/>
                </a:cubicBezTo>
                <a:cubicBezTo>
                  <a:pt x="2466372" y="1512424"/>
                  <a:pt x="2463656" y="1509460"/>
                  <a:pt x="2463656" y="1506005"/>
                </a:cubicBezTo>
                <a:cubicBezTo>
                  <a:pt x="2463656" y="1502303"/>
                  <a:pt x="2466618" y="1499586"/>
                  <a:pt x="2470073" y="1499586"/>
                </a:cubicBezTo>
                <a:close/>
                <a:moveTo>
                  <a:pt x="944651" y="1495615"/>
                </a:moveTo>
                <a:cubicBezTo>
                  <a:pt x="950578" y="1495615"/>
                  <a:pt x="955019" y="1500306"/>
                  <a:pt x="955019" y="1505982"/>
                </a:cubicBezTo>
                <a:cubicBezTo>
                  <a:pt x="955019" y="1511660"/>
                  <a:pt x="950578" y="1516351"/>
                  <a:pt x="944651" y="1516351"/>
                </a:cubicBezTo>
                <a:cubicBezTo>
                  <a:pt x="938975" y="1516351"/>
                  <a:pt x="934285" y="1511660"/>
                  <a:pt x="934285" y="1505982"/>
                </a:cubicBezTo>
                <a:cubicBezTo>
                  <a:pt x="934285" y="1500306"/>
                  <a:pt x="938975" y="1495615"/>
                  <a:pt x="944651" y="1495615"/>
                </a:cubicBezTo>
                <a:close/>
                <a:moveTo>
                  <a:pt x="1733542" y="1488215"/>
                </a:moveTo>
                <a:cubicBezTo>
                  <a:pt x="1733790" y="1488215"/>
                  <a:pt x="1733790" y="1488461"/>
                  <a:pt x="1733790" y="1488461"/>
                </a:cubicBezTo>
                <a:cubicBezTo>
                  <a:pt x="1734037" y="1488710"/>
                  <a:pt x="1733790" y="1488710"/>
                  <a:pt x="1733542" y="1488710"/>
                </a:cubicBezTo>
                <a:cubicBezTo>
                  <a:pt x="1733296" y="1488710"/>
                  <a:pt x="1733296" y="1488710"/>
                  <a:pt x="1733296" y="1488461"/>
                </a:cubicBezTo>
                <a:cubicBezTo>
                  <a:pt x="1733296" y="1488215"/>
                  <a:pt x="1733296" y="1488215"/>
                  <a:pt x="1733542" y="1488215"/>
                </a:cubicBezTo>
                <a:close/>
                <a:moveTo>
                  <a:pt x="2202014" y="1483039"/>
                </a:moveTo>
                <a:cubicBezTo>
                  <a:pt x="2202507" y="1483039"/>
                  <a:pt x="2202753" y="1483285"/>
                  <a:pt x="2202753" y="1483779"/>
                </a:cubicBezTo>
                <a:cubicBezTo>
                  <a:pt x="2202753" y="1484272"/>
                  <a:pt x="2202507" y="1484518"/>
                  <a:pt x="2202014" y="1484518"/>
                </a:cubicBezTo>
                <a:cubicBezTo>
                  <a:pt x="2201519" y="1484518"/>
                  <a:pt x="2201273" y="1484272"/>
                  <a:pt x="2201273" y="1483779"/>
                </a:cubicBezTo>
                <a:cubicBezTo>
                  <a:pt x="2201273" y="1483285"/>
                  <a:pt x="2201519" y="1483039"/>
                  <a:pt x="2202014" y="1483039"/>
                </a:cubicBezTo>
                <a:close/>
                <a:moveTo>
                  <a:pt x="732866" y="1482530"/>
                </a:moveTo>
                <a:cubicBezTo>
                  <a:pt x="734346" y="1482530"/>
                  <a:pt x="735828" y="1483763"/>
                  <a:pt x="735828" y="1485492"/>
                </a:cubicBezTo>
                <a:cubicBezTo>
                  <a:pt x="735828" y="1487221"/>
                  <a:pt x="734346" y="1488454"/>
                  <a:pt x="732866" y="1488454"/>
                </a:cubicBezTo>
                <a:cubicBezTo>
                  <a:pt x="731137" y="1488454"/>
                  <a:pt x="729904" y="1487221"/>
                  <a:pt x="729904" y="1485492"/>
                </a:cubicBezTo>
                <a:cubicBezTo>
                  <a:pt x="729904" y="1483763"/>
                  <a:pt x="731137" y="1482530"/>
                  <a:pt x="732866" y="1482530"/>
                </a:cubicBezTo>
                <a:close/>
                <a:moveTo>
                  <a:pt x="401610" y="1480554"/>
                </a:moveTo>
                <a:cubicBezTo>
                  <a:pt x="403831" y="1480554"/>
                  <a:pt x="405805" y="1482528"/>
                  <a:pt x="405805" y="1484749"/>
                </a:cubicBezTo>
                <a:cubicBezTo>
                  <a:pt x="405805" y="1487219"/>
                  <a:pt x="404079" y="1488945"/>
                  <a:pt x="401610" y="1488945"/>
                </a:cubicBezTo>
                <a:cubicBezTo>
                  <a:pt x="399389" y="1488945"/>
                  <a:pt x="397414" y="1486970"/>
                  <a:pt x="397414" y="1484749"/>
                </a:cubicBezTo>
                <a:cubicBezTo>
                  <a:pt x="397414" y="1482528"/>
                  <a:pt x="399389" y="1480554"/>
                  <a:pt x="401610" y="1480554"/>
                </a:cubicBezTo>
                <a:close/>
                <a:moveTo>
                  <a:pt x="3160716" y="1465777"/>
                </a:moveTo>
                <a:cubicBezTo>
                  <a:pt x="3169356" y="1465777"/>
                  <a:pt x="3176514" y="1472932"/>
                  <a:pt x="3176514" y="1481575"/>
                </a:cubicBezTo>
                <a:cubicBezTo>
                  <a:pt x="3176514" y="1490217"/>
                  <a:pt x="3169356" y="1497378"/>
                  <a:pt x="3160716" y="1497378"/>
                </a:cubicBezTo>
                <a:cubicBezTo>
                  <a:pt x="3152077" y="1497378"/>
                  <a:pt x="3144919" y="1490217"/>
                  <a:pt x="3144919" y="1481575"/>
                </a:cubicBezTo>
                <a:cubicBezTo>
                  <a:pt x="3144919" y="1472932"/>
                  <a:pt x="3152077" y="1465777"/>
                  <a:pt x="3160716" y="1465777"/>
                </a:cubicBezTo>
                <a:close/>
                <a:moveTo>
                  <a:pt x="1916693" y="1465260"/>
                </a:moveTo>
                <a:cubicBezTo>
                  <a:pt x="1917434" y="1465260"/>
                  <a:pt x="1918175" y="1466003"/>
                  <a:pt x="1918175" y="1466746"/>
                </a:cubicBezTo>
                <a:cubicBezTo>
                  <a:pt x="1918175" y="1467486"/>
                  <a:pt x="1917680" y="1468226"/>
                  <a:pt x="1916693" y="1468226"/>
                </a:cubicBezTo>
                <a:cubicBezTo>
                  <a:pt x="1915955" y="1468226"/>
                  <a:pt x="1915214" y="1467486"/>
                  <a:pt x="1915214" y="1466746"/>
                </a:cubicBezTo>
                <a:cubicBezTo>
                  <a:pt x="1915214" y="1466003"/>
                  <a:pt x="1915955" y="1465260"/>
                  <a:pt x="1916693" y="1465260"/>
                </a:cubicBezTo>
                <a:close/>
                <a:moveTo>
                  <a:pt x="2896357" y="1464782"/>
                </a:moveTo>
                <a:cubicBezTo>
                  <a:pt x="2906972" y="1464782"/>
                  <a:pt x="2915858" y="1473426"/>
                  <a:pt x="2915858" y="1484288"/>
                </a:cubicBezTo>
                <a:cubicBezTo>
                  <a:pt x="2915858" y="1495152"/>
                  <a:pt x="2907218" y="1503795"/>
                  <a:pt x="2896357" y="1503795"/>
                </a:cubicBezTo>
                <a:cubicBezTo>
                  <a:pt x="2885742" y="1503795"/>
                  <a:pt x="2876856" y="1495152"/>
                  <a:pt x="2876856" y="1484288"/>
                </a:cubicBezTo>
                <a:cubicBezTo>
                  <a:pt x="2876856" y="1473426"/>
                  <a:pt x="2885496" y="1464782"/>
                  <a:pt x="2896357" y="1464782"/>
                </a:cubicBezTo>
                <a:close/>
                <a:moveTo>
                  <a:pt x="2637674" y="1457875"/>
                </a:moveTo>
                <a:cubicBezTo>
                  <a:pt x="2644090" y="1457875"/>
                  <a:pt x="2649522" y="1463053"/>
                  <a:pt x="2649522" y="1469473"/>
                </a:cubicBezTo>
                <a:cubicBezTo>
                  <a:pt x="2649522" y="1476137"/>
                  <a:pt x="2644339" y="1481320"/>
                  <a:pt x="2637674" y="1481320"/>
                </a:cubicBezTo>
                <a:cubicBezTo>
                  <a:pt x="2631255" y="1481320"/>
                  <a:pt x="2626072" y="1476137"/>
                  <a:pt x="2626072" y="1469473"/>
                </a:cubicBezTo>
                <a:cubicBezTo>
                  <a:pt x="2626072" y="1463053"/>
                  <a:pt x="2631255" y="1457875"/>
                  <a:pt x="2637674" y="1457875"/>
                </a:cubicBezTo>
                <a:close/>
                <a:moveTo>
                  <a:pt x="2374057" y="1448236"/>
                </a:moveTo>
                <a:cubicBezTo>
                  <a:pt x="2376032" y="1448236"/>
                  <a:pt x="2377512" y="1449716"/>
                  <a:pt x="2377512" y="1451687"/>
                </a:cubicBezTo>
                <a:cubicBezTo>
                  <a:pt x="2377512" y="1453662"/>
                  <a:pt x="2376032" y="1455155"/>
                  <a:pt x="2374057" y="1455155"/>
                </a:cubicBezTo>
                <a:cubicBezTo>
                  <a:pt x="2372082" y="1455155"/>
                  <a:pt x="2370600" y="1453662"/>
                  <a:pt x="2370600" y="1451687"/>
                </a:cubicBezTo>
                <a:cubicBezTo>
                  <a:pt x="2370600" y="1449716"/>
                  <a:pt x="2372082" y="1448236"/>
                  <a:pt x="2374057" y="1448236"/>
                </a:cubicBezTo>
                <a:close/>
                <a:moveTo>
                  <a:pt x="1248999" y="1448220"/>
                </a:moveTo>
                <a:cubicBezTo>
                  <a:pt x="1250973" y="1448220"/>
                  <a:pt x="1252699" y="1449702"/>
                  <a:pt x="1252699" y="1451924"/>
                </a:cubicBezTo>
                <a:cubicBezTo>
                  <a:pt x="1252699" y="1453899"/>
                  <a:pt x="1250973" y="1455628"/>
                  <a:pt x="1248999" y="1455628"/>
                </a:cubicBezTo>
                <a:cubicBezTo>
                  <a:pt x="1247024" y="1455628"/>
                  <a:pt x="1245295" y="1453899"/>
                  <a:pt x="1245295" y="1451924"/>
                </a:cubicBezTo>
                <a:cubicBezTo>
                  <a:pt x="1245295" y="1449950"/>
                  <a:pt x="1247024" y="1448220"/>
                  <a:pt x="1248999" y="1448220"/>
                </a:cubicBezTo>
                <a:close/>
                <a:moveTo>
                  <a:pt x="513426" y="1446986"/>
                </a:moveTo>
                <a:cubicBezTo>
                  <a:pt x="515895" y="1446986"/>
                  <a:pt x="517870" y="1448958"/>
                  <a:pt x="517870" y="1451425"/>
                </a:cubicBezTo>
                <a:cubicBezTo>
                  <a:pt x="517870" y="1453896"/>
                  <a:pt x="515895" y="1455873"/>
                  <a:pt x="513426" y="1455873"/>
                </a:cubicBezTo>
                <a:cubicBezTo>
                  <a:pt x="510959" y="1455873"/>
                  <a:pt x="508984" y="1453896"/>
                  <a:pt x="508984" y="1451425"/>
                </a:cubicBezTo>
                <a:cubicBezTo>
                  <a:pt x="508984" y="1448958"/>
                  <a:pt x="510959" y="1446986"/>
                  <a:pt x="513426" y="1446986"/>
                </a:cubicBezTo>
                <a:close/>
                <a:moveTo>
                  <a:pt x="1444000" y="1442548"/>
                </a:moveTo>
                <a:cubicBezTo>
                  <a:pt x="1445482" y="1442548"/>
                  <a:pt x="1446715" y="1443780"/>
                  <a:pt x="1446715" y="1445510"/>
                </a:cubicBezTo>
                <a:cubicBezTo>
                  <a:pt x="1446962" y="1447238"/>
                  <a:pt x="1445728" y="1448470"/>
                  <a:pt x="1444000" y="1448470"/>
                </a:cubicBezTo>
                <a:cubicBezTo>
                  <a:pt x="1442271" y="1448470"/>
                  <a:pt x="1441038" y="1447238"/>
                  <a:pt x="1441038" y="1445510"/>
                </a:cubicBezTo>
                <a:cubicBezTo>
                  <a:pt x="1441038" y="1444026"/>
                  <a:pt x="1442271" y="1442548"/>
                  <a:pt x="1444000" y="1442548"/>
                </a:cubicBezTo>
                <a:close/>
                <a:moveTo>
                  <a:pt x="1046839" y="1439086"/>
                </a:moveTo>
                <a:cubicBezTo>
                  <a:pt x="1053008" y="1439086"/>
                  <a:pt x="1057945" y="1444024"/>
                  <a:pt x="1057945" y="1450193"/>
                </a:cubicBezTo>
                <a:cubicBezTo>
                  <a:pt x="1057945" y="1456367"/>
                  <a:pt x="1053008" y="1461303"/>
                  <a:pt x="1046839" y="1461303"/>
                </a:cubicBezTo>
                <a:cubicBezTo>
                  <a:pt x="1040668" y="1461303"/>
                  <a:pt x="1035732" y="1456367"/>
                  <a:pt x="1035732" y="1450193"/>
                </a:cubicBezTo>
                <a:cubicBezTo>
                  <a:pt x="1035732" y="1444024"/>
                  <a:pt x="1040668" y="1439086"/>
                  <a:pt x="1046839" y="1439086"/>
                </a:cubicBezTo>
                <a:close/>
                <a:moveTo>
                  <a:pt x="839004" y="1434644"/>
                </a:moveTo>
                <a:cubicBezTo>
                  <a:pt x="840484" y="1434644"/>
                  <a:pt x="841720" y="1435877"/>
                  <a:pt x="841720" y="1437359"/>
                </a:cubicBezTo>
                <a:cubicBezTo>
                  <a:pt x="841471" y="1438838"/>
                  <a:pt x="840238" y="1440074"/>
                  <a:pt x="839004" y="1440074"/>
                </a:cubicBezTo>
                <a:cubicBezTo>
                  <a:pt x="837522" y="1440074"/>
                  <a:pt x="836289" y="1438838"/>
                  <a:pt x="836289" y="1437359"/>
                </a:cubicBezTo>
                <a:cubicBezTo>
                  <a:pt x="836289" y="1435877"/>
                  <a:pt x="837522" y="1434644"/>
                  <a:pt x="839004" y="1434644"/>
                </a:cubicBezTo>
                <a:close/>
                <a:moveTo>
                  <a:pt x="1634314" y="1430946"/>
                </a:moveTo>
                <a:lnTo>
                  <a:pt x="1634560" y="1431191"/>
                </a:lnTo>
                <a:lnTo>
                  <a:pt x="1634314" y="1431191"/>
                </a:lnTo>
                <a:close/>
                <a:moveTo>
                  <a:pt x="2105501" y="1427501"/>
                </a:moveTo>
                <a:cubicBezTo>
                  <a:pt x="2105993" y="1427501"/>
                  <a:pt x="2106488" y="1427996"/>
                  <a:pt x="2106488" y="1428488"/>
                </a:cubicBezTo>
                <a:cubicBezTo>
                  <a:pt x="2106488" y="1428979"/>
                  <a:pt x="2106242" y="1429469"/>
                  <a:pt x="2105501" y="1429469"/>
                </a:cubicBezTo>
                <a:cubicBezTo>
                  <a:pt x="2105008" y="1429469"/>
                  <a:pt x="2104513" y="1428979"/>
                  <a:pt x="2104513" y="1428488"/>
                </a:cubicBezTo>
                <a:cubicBezTo>
                  <a:pt x="2104513" y="1427996"/>
                  <a:pt x="2105008" y="1427501"/>
                  <a:pt x="2105501" y="1427501"/>
                </a:cubicBezTo>
                <a:close/>
                <a:moveTo>
                  <a:pt x="3316963" y="1415921"/>
                </a:moveTo>
                <a:cubicBezTo>
                  <a:pt x="3328565" y="1415921"/>
                  <a:pt x="3337943" y="1425293"/>
                  <a:pt x="3337943" y="1436901"/>
                </a:cubicBezTo>
                <a:cubicBezTo>
                  <a:pt x="3337943" y="1448498"/>
                  <a:pt x="3328565" y="1457887"/>
                  <a:pt x="3316963" y="1457887"/>
                </a:cubicBezTo>
                <a:cubicBezTo>
                  <a:pt x="3305363" y="1457887"/>
                  <a:pt x="3295982" y="1448498"/>
                  <a:pt x="3295982" y="1436901"/>
                </a:cubicBezTo>
                <a:cubicBezTo>
                  <a:pt x="3295982" y="1425293"/>
                  <a:pt x="3305363" y="1415921"/>
                  <a:pt x="3316963" y="1415921"/>
                </a:cubicBezTo>
                <a:close/>
                <a:moveTo>
                  <a:pt x="2801817" y="1415170"/>
                </a:moveTo>
                <a:cubicBezTo>
                  <a:pt x="2810211" y="1415170"/>
                  <a:pt x="2817122" y="1422081"/>
                  <a:pt x="2817122" y="1430474"/>
                </a:cubicBezTo>
                <a:cubicBezTo>
                  <a:pt x="2817122" y="1438863"/>
                  <a:pt x="2810211" y="1445777"/>
                  <a:pt x="2801817" y="1445777"/>
                </a:cubicBezTo>
                <a:cubicBezTo>
                  <a:pt x="2793426" y="1445777"/>
                  <a:pt x="2786515" y="1438863"/>
                  <a:pt x="2786515" y="1430474"/>
                </a:cubicBezTo>
                <a:cubicBezTo>
                  <a:pt x="2786515" y="1422081"/>
                  <a:pt x="2793426" y="1415170"/>
                  <a:pt x="2801817" y="1415170"/>
                </a:cubicBezTo>
                <a:close/>
                <a:moveTo>
                  <a:pt x="623516" y="1408229"/>
                </a:moveTo>
                <a:cubicBezTo>
                  <a:pt x="625983" y="1408229"/>
                  <a:pt x="627958" y="1410204"/>
                  <a:pt x="627958" y="1412674"/>
                </a:cubicBezTo>
                <a:cubicBezTo>
                  <a:pt x="627958" y="1415141"/>
                  <a:pt x="625983" y="1417116"/>
                  <a:pt x="623516" y="1417116"/>
                </a:cubicBezTo>
                <a:cubicBezTo>
                  <a:pt x="621046" y="1417116"/>
                  <a:pt x="618826" y="1415141"/>
                  <a:pt x="618826" y="1412674"/>
                </a:cubicBezTo>
                <a:cubicBezTo>
                  <a:pt x="618826" y="1410204"/>
                  <a:pt x="620800" y="1408229"/>
                  <a:pt x="623516" y="1408229"/>
                </a:cubicBezTo>
                <a:close/>
                <a:moveTo>
                  <a:pt x="2542643" y="1408007"/>
                </a:moveTo>
                <a:cubicBezTo>
                  <a:pt x="2546592" y="1408007"/>
                  <a:pt x="2549800" y="1411211"/>
                  <a:pt x="2549800" y="1415166"/>
                </a:cubicBezTo>
                <a:cubicBezTo>
                  <a:pt x="2549800" y="1419114"/>
                  <a:pt x="2546592" y="1422326"/>
                  <a:pt x="2542643" y="1422326"/>
                </a:cubicBezTo>
                <a:cubicBezTo>
                  <a:pt x="2538693" y="1422326"/>
                  <a:pt x="2535485" y="1419114"/>
                  <a:pt x="2535485" y="1415166"/>
                </a:cubicBezTo>
                <a:cubicBezTo>
                  <a:pt x="2535485" y="1411211"/>
                  <a:pt x="2538693" y="1408007"/>
                  <a:pt x="2542643" y="1408007"/>
                </a:cubicBezTo>
                <a:close/>
                <a:moveTo>
                  <a:pt x="3066425" y="1403327"/>
                </a:moveTo>
                <a:cubicBezTo>
                  <a:pt x="3079755" y="1403327"/>
                  <a:pt x="3090616" y="1414185"/>
                  <a:pt x="3090616" y="1427517"/>
                </a:cubicBezTo>
                <a:cubicBezTo>
                  <a:pt x="3090616" y="1440843"/>
                  <a:pt x="3079755" y="1451699"/>
                  <a:pt x="3066425" y="1451699"/>
                </a:cubicBezTo>
                <a:cubicBezTo>
                  <a:pt x="3053097" y="1451699"/>
                  <a:pt x="3042236" y="1440843"/>
                  <a:pt x="3042236" y="1427517"/>
                </a:cubicBezTo>
                <a:cubicBezTo>
                  <a:pt x="3042236" y="1414185"/>
                  <a:pt x="3053097" y="1403327"/>
                  <a:pt x="3066425" y="1403327"/>
                </a:cubicBezTo>
                <a:close/>
                <a:moveTo>
                  <a:pt x="2278777" y="1395906"/>
                </a:moveTo>
                <a:cubicBezTo>
                  <a:pt x="2279026" y="1395906"/>
                  <a:pt x="2279272" y="1396152"/>
                  <a:pt x="2279272" y="1396402"/>
                </a:cubicBezTo>
                <a:cubicBezTo>
                  <a:pt x="2279518" y="1396648"/>
                  <a:pt x="2279272" y="1396893"/>
                  <a:pt x="2278777" y="1396893"/>
                </a:cubicBezTo>
                <a:cubicBezTo>
                  <a:pt x="2278531" y="1396893"/>
                  <a:pt x="2278285" y="1396648"/>
                  <a:pt x="2278285" y="1396402"/>
                </a:cubicBezTo>
                <a:cubicBezTo>
                  <a:pt x="2278285" y="1396152"/>
                  <a:pt x="2278531" y="1395906"/>
                  <a:pt x="2278777" y="1395906"/>
                </a:cubicBezTo>
                <a:close/>
                <a:moveTo>
                  <a:pt x="1998373" y="1382818"/>
                </a:moveTo>
                <a:cubicBezTo>
                  <a:pt x="1999114" y="1382818"/>
                  <a:pt x="1999855" y="1383559"/>
                  <a:pt x="1999855" y="1384298"/>
                </a:cubicBezTo>
                <a:cubicBezTo>
                  <a:pt x="1999855" y="1385038"/>
                  <a:pt x="1999114" y="1385779"/>
                  <a:pt x="1998373" y="1385779"/>
                </a:cubicBezTo>
                <a:cubicBezTo>
                  <a:pt x="1997388" y="1385779"/>
                  <a:pt x="1996893" y="1385038"/>
                  <a:pt x="1996893" y="1384298"/>
                </a:cubicBezTo>
                <a:cubicBezTo>
                  <a:pt x="1996893" y="1383559"/>
                  <a:pt x="1997634" y="1382818"/>
                  <a:pt x="1998373" y="1382818"/>
                </a:cubicBezTo>
                <a:close/>
                <a:moveTo>
                  <a:pt x="942675" y="1381822"/>
                </a:moveTo>
                <a:cubicBezTo>
                  <a:pt x="943908" y="1381822"/>
                  <a:pt x="944898" y="1382809"/>
                  <a:pt x="944898" y="1384043"/>
                </a:cubicBezTo>
                <a:cubicBezTo>
                  <a:pt x="944898" y="1385526"/>
                  <a:pt x="943908" y="1386512"/>
                  <a:pt x="942675" y="1386512"/>
                </a:cubicBezTo>
                <a:cubicBezTo>
                  <a:pt x="941441" y="1386512"/>
                  <a:pt x="940453" y="1385526"/>
                  <a:pt x="940453" y="1384043"/>
                </a:cubicBezTo>
                <a:cubicBezTo>
                  <a:pt x="940453" y="1382809"/>
                  <a:pt x="941441" y="1381822"/>
                  <a:pt x="942675" y="1381822"/>
                </a:cubicBezTo>
                <a:close/>
                <a:moveTo>
                  <a:pt x="1344276" y="1380588"/>
                </a:moveTo>
                <a:cubicBezTo>
                  <a:pt x="1346745" y="1380588"/>
                  <a:pt x="1348720" y="1382563"/>
                  <a:pt x="1348720" y="1385030"/>
                </a:cubicBezTo>
                <a:cubicBezTo>
                  <a:pt x="1348720" y="1387500"/>
                  <a:pt x="1346499" y="1389475"/>
                  <a:pt x="1344276" y="1389475"/>
                </a:cubicBezTo>
                <a:cubicBezTo>
                  <a:pt x="1341809" y="1389475"/>
                  <a:pt x="1339834" y="1387500"/>
                  <a:pt x="1339834" y="1385030"/>
                </a:cubicBezTo>
                <a:cubicBezTo>
                  <a:pt x="1339834" y="1382563"/>
                  <a:pt x="1341809" y="1380588"/>
                  <a:pt x="1344276" y="1380588"/>
                </a:cubicBezTo>
                <a:close/>
                <a:moveTo>
                  <a:pt x="1146310" y="1377874"/>
                </a:moveTo>
                <a:cubicBezTo>
                  <a:pt x="1152975" y="1377874"/>
                  <a:pt x="1158158" y="1383306"/>
                  <a:pt x="1158158" y="1389723"/>
                </a:cubicBezTo>
                <a:cubicBezTo>
                  <a:pt x="1158158" y="1396142"/>
                  <a:pt x="1152975" y="1401570"/>
                  <a:pt x="1146310" y="1401570"/>
                </a:cubicBezTo>
                <a:cubicBezTo>
                  <a:pt x="1139645" y="1401570"/>
                  <a:pt x="1134462" y="1396142"/>
                  <a:pt x="1134462" y="1389723"/>
                </a:cubicBezTo>
                <a:cubicBezTo>
                  <a:pt x="1134462" y="1383306"/>
                  <a:pt x="1139894" y="1377874"/>
                  <a:pt x="1146310" y="1377874"/>
                </a:cubicBezTo>
                <a:close/>
                <a:moveTo>
                  <a:pt x="1534836" y="1370225"/>
                </a:moveTo>
                <a:cubicBezTo>
                  <a:pt x="1536315" y="1370225"/>
                  <a:pt x="1537798" y="1371458"/>
                  <a:pt x="1537798" y="1372941"/>
                </a:cubicBezTo>
                <a:cubicBezTo>
                  <a:pt x="1537798" y="1374666"/>
                  <a:pt x="1536564" y="1375903"/>
                  <a:pt x="1534836" y="1375903"/>
                </a:cubicBezTo>
                <a:cubicBezTo>
                  <a:pt x="1533354" y="1375903"/>
                  <a:pt x="1531874" y="1374666"/>
                  <a:pt x="1531874" y="1372941"/>
                </a:cubicBezTo>
                <a:cubicBezTo>
                  <a:pt x="1531874" y="1371458"/>
                  <a:pt x="1533107" y="1370225"/>
                  <a:pt x="1534836" y="1370225"/>
                </a:cubicBezTo>
                <a:close/>
                <a:moveTo>
                  <a:pt x="2962016" y="1368519"/>
                </a:moveTo>
                <a:cubicBezTo>
                  <a:pt x="2973123" y="1368519"/>
                  <a:pt x="2982255" y="1377652"/>
                  <a:pt x="2982255" y="1388762"/>
                </a:cubicBezTo>
                <a:cubicBezTo>
                  <a:pt x="2982255" y="1399870"/>
                  <a:pt x="2973123" y="1409002"/>
                  <a:pt x="2962016" y="1409002"/>
                </a:cubicBezTo>
                <a:cubicBezTo>
                  <a:pt x="2950906" y="1409002"/>
                  <a:pt x="2941774" y="1399870"/>
                  <a:pt x="2941774" y="1388762"/>
                </a:cubicBezTo>
                <a:cubicBezTo>
                  <a:pt x="2941774" y="1377652"/>
                  <a:pt x="2950906" y="1368519"/>
                  <a:pt x="2962016" y="1368519"/>
                </a:cubicBezTo>
                <a:close/>
                <a:moveTo>
                  <a:pt x="3222673" y="1366303"/>
                </a:moveTo>
                <a:cubicBezTo>
                  <a:pt x="3231805" y="1366303"/>
                  <a:pt x="3239458" y="1373711"/>
                  <a:pt x="3239458" y="1383090"/>
                </a:cubicBezTo>
                <a:cubicBezTo>
                  <a:pt x="3239458" y="1392222"/>
                  <a:pt x="3232051" y="1399629"/>
                  <a:pt x="3222673" y="1399629"/>
                </a:cubicBezTo>
                <a:cubicBezTo>
                  <a:pt x="3213541" y="1399629"/>
                  <a:pt x="3206134" y="1392222"/>
                  <a:pt x="3206134" y="1383090"/>
                </a:cubicBezTo>
                <a:cubicBezTo>
                  <a:pt x="3206134" y="1373957"/>
                  <a:pt x="3213541" y="1366303"/>
                  <a:pt x="3222673" y="1366303"/>
                </a:cubicBezTo>
                <a:close/>
                <a:moveTo>
                  <a:pt x="2707034" y="1363576"/>
                </a:moveTo>
                <a:cubicBezTo>
                  <a:pt x="2714191" y="1363576"/>
                  <a:pt x="2719869" y="1369254"/>
                  <a:pt x="2719869" y="1376167"/>
                </a:cubicBezTo>
                <a:cubicBezTo>
                  <a:pt x="2719623" y="1383324"/>
                  <a:pt x="2713945" y="1389003"/>
                  <a:pt x="2707034" y="1389003"/>
                </a:cubicBezTo>
                <a:cubicBezTo>
                  <a:pt x="2699876" y="1389003"/>
                  <a:pt x="2694198" y="1383324"/>
                  <a:pt x="2694198" y="1376167"/>
                </a:cubicBezTo>
                <a:cubicBezTo>
                  <a:pt x="2694198" y="1369254"/>
                  <a:pt x="2699876" y="1363576"/>
                  <a:pt x="2707034" y="1363576"/>
                </a:cubicBezTo>
                <a:close/>
                <a:moveTo>
                  <a:pt x="731136" y="1363058"/>
                </a:moveTo>
                <a:cubicBezTo>
                  <a:pt x="733852" y="1363058"/>
                  <a:pt x="735827" y="1365278"/>
                  <a:pt x="735827" y="1367748"/>
                </a:cubicBezTo>
                <a:cubicBezTo>
                  <a:pt x="736073" y="1370464"/>
                  <a:pt x="733852" y="1372439"/>
                  <a:pt x="731136" y="1372439"/>
                </a:cubicBezTo>
                <a:cubicBezTo>
                  <a:pt x="728420" y="1372439"/>
                  <a:pt x="726445" y="1370215"/>
                  <a:pt x="726445" y="1367748"/>
                </a:cubicBezTo>
                <a:cubicBezTo>
                  <a:pt x="726445" y="1365032"/>
                  <a:pt x="728666" y="1363058"/>
                  <a:pt x="731136" y="1363058"/>
                </a:cubicBezTo>
                <a:close/>
                <a:moveTo>
                  <a:pt x="2447364" y="1357647"/>
                </a:moveTo>
                <a:cubicBezTo>
                  <a:pt x="2449338" y="1357647"/>
                  <a:pt x="2451067" y="1359375"/>
                  <a:pt x="2451067" y="1361350"/>
                </a:cubicBezTo>
                <a:cubicBezTo>
                  <a:pt x="2451067" y="1363325"/>
                  <a:pt x="2449338" y="1365054"/>
                  <a:pt x="2447364" y="1365054"/>
                </a:cubicBezTo>
                <a:cubicBezTo>
                  <a:pt x="2445143" y="1365054"/>
                  <a:pt x="2443414" y="1363325"/>
                  <a:pt x="2443414" y="1361350"/>
                </a:cubicBezTo>
                <a:cubicBezTo>
                  <a:pt x="2443414" y="1359375"/>
                  <a:pt x="2445143" y="1357647"/>
                  <a:pt x="2447364" y="1357647"/>
                </a:cubicBezTo>
                <a:close/>
                <a:moveTo>
                  <a:pt x="1720953" y="1352946"/>
                </a:moveTo>
                <a:cubicBezTo>
                  <a:pt x="1721447" y="1352946"/>
                  <a:pt x="1721693" y="1353192"/>
                  <a:pt x="1721693" y="1353687"/>
                </a:cubicBezTo>
                <a:cubicBezTo>
                  <a:pt x="1721693" y="1354179"/>
                  <a:pt x="1721201" y="1354426"/>
                  <a:pt x="1720953" y="1354426"/>
                </a:cubicBezTo>
                <a:cubicBezTo>
                  <a:pt x="1720458" y="1354426"/>
                  <a:pt x="1720213" y="1354179"/>
                  <a:pt x="1720213" y="1353687"/>
                </a:cubicBezTo>
                <a:cubicBezTo>
                  <a:pt x="1720213" y="1353192"/>
                  <a:pt x="1720458" y="1352946"/>
                  <a:pt x="1720953" y="1352946"/>
                </a:cubicBezTo>
                <a:close/>
                <a:moveTo>
                  <a:pt x="2183008" y="1340609"/>
                </a:moveTo>
                <a:cubicBezTo>
                  <a:pt x="2183500" y="1340609"/>
                  <a:pt x="2183746" y="1341102"/>
                  <a:pt x="2183746" y="1341351"/>
                </a:cubicBezTo>
                <a:cubicBezTo>
                  <a:pt x="2183995" y="1341843"/>
                  <a:pt x="2183500" y="1342090"/>
                  <a:pt x="2183008" y="1342090"/>
                </a:cubicBezTo>
                <a:cubicBezTo>
                  <a:pt x="2182513" y="1342090"/>
                  <a:pt x="2182267" y="1341843"/>
                  <a:pt x="2182267" y="1341351"/>
                </a:cubicBezTo>
                <a:cubicBezTo>
                  <a:pt x="2182267" y="1340856"/>
                  <a:pt x="2182759" y="1340609"/>
                  <a:pt x="2183008" y="1340609"/>
                </a:cubicBezTo>
                <a:close/>
                <a:moveTo>
                  <a:pt x="55795" y="1328004"/>
                </a:moveTo>
                <a:cubicBezTo>
                  <a:pt x="57274" y="1328004"/>
                  <a:pt x="58510" y="1329238"/>
                  <a:pt x="58510" y="1330720"/>
                </a:cubicBezTo>
                <a:cubicBezTo>
                  <a:pt x="58510" y="1332200"/>
                  <a:pt x="57274" y="1333436"/>
                  <a:pt x="55795" y="1333436"/>
                </a:cubicBezTo>
                <a:cubicBezTo>
                  <a:pt x="54312" y="1333436"/>
                  <a:pt x="53079" y="1332200"/>
                  <a:pt x="53079" y="1330720"/>
                </a:cubicBezTo>
                <a:cubicBezTo>
                  <a:pt x="53079" y="1329238"/>
                  <a:pt x="54312" y="1328004"/>
                  <a:pt x="55795" y="1328004"/>
                </a:cubicBezTo>
                <a:close/>
                <a:moveTo>
                  <a:pt x="1901392" y="1327275"/>
                </a:moveTo>
                <a:cubicBezTo>
                  <a:pt x="1901884" y="1327275"/>
                  <a:pt x="1902380" y="1327770"/>
                  <a:pt x="1902380" y="1328262"/>
                </a:cubicBezTo>
                <a:cubicBezTo>
                  <a:pt x="1902380" y="1329004"/>
                  <a:pt x="1901884" y="1329250"/>
                  <a:pt x="1901392" y="1329250"/>
                </a:cubicBezTo>
                <a:cubicBezTo>
                  <a:pt x="1900899" y="1329250"/>
                  <a:pt x="1900404" y="1328755"/>
                  <a:pt x="1900404" y="1328262"/>
                </a:cubicBezTo>
                <a:cubicBezTo>
                  <a:pt x="1900404" y="1327770"/>
                  <a:pt x="1900899" y="1327275"/>
                  <a:pt x="1901392" y="1327275"/>
                </a:cubicBezTo>
                <a:close/>
                <a:moveTo>
                  <a:pt x="1043383" y="1324059"/>
                </a:moveTo>
                <a:cubicBezTo>
                  <a:pt x="1044371" y="1324059"/>
                  <a:pt x="1045358" y="1325046"/>
                  <a:pt x="1045358" y="1326033"/>
                </a:cubicBezTo>
                <a:cubicBezTo>
                  <a:pt x="1045604" y="1327020"/>
                  <a:pt x="1044617" y="1328008"/>
                  <a:pt x="1043383" y="1328008"/>
                </a:cubicBezTo>
                <a:cubicBezTo>
                  <a:pt x="1042396" y="1328008"/>
                  <a:pt x="1041408" y="1327020"/>
                  <a:pt x="1041408" y="1326033"/>
                </a:cubicBezTo>
                <a:cubicBezTo>
                  <a:pt x="1041408" y="1325046"/>
                  <a:pt x="1042396" y="1324059"/>
                  <a:pt x="1043383" y="1324059"/>
                </a:cubicBezTo>
                <a:close/>
                <a:moveTo>
                  <a:pt x="2867475" y="1318651"/>
                </a:moveTo>
                <a:cubicBezTo>
                  <a:pt x="2876360" y="1318651"/>
                  <a:pt x="2883518" y="1325809"/>
                  <a:pt x="2883518" y="1334696"/>
                </a:cubicBezTo>
                <a:cubicBezTo>
                  <a:pt x="2883767" y="1343583"/>
                  <a:pt x="2876360" y="1350991"/>
                  <a:pt x="2867475" y="1350991"/>
                </a:cubicBezTo>
                <a:cubicBezTo>
                  <a:pt x="2858589" y="1350991"/>
                  <a:pt x="2851431" y="1343829"/>
                  <a:pt x="2851431" y="1334696"/>
                </a:cubicBezTo>
                <a:cubicBezTo>
                  <a:pt x="2851431" y="1325809"/>
                  <a:pt x="2858589" y="1318651"/>
                  <a:pt x="2867475" y="1318651"/>
                </a:cubicBezTo>
                <a:close/>
                <a:moveTo>
                  <a:pt x="3376203" y="1314957"/>
                </a:moveTo>
                <a:cubicBezTo>
                  <a:pt x="3388297" y="1314957"/>
                  <a:pt x="3397924" y="1324830"/>
                  <a:pt x="3397924" y="1336680"/>
                </a:cubicBezTo>
                <a:cubicBezTo>
                  <a:pt x="3397924" y="1348776"/>
                  <a:pt x="3388051" y="1358404"/>
                  <a:pt x="3376203" y="1358404"/>
                </a:cubicBezTo>
                <a:cubicBezTo>
                  <a:pt x="3364108" y="1358404"/>
                  <a:pt x="3354481" y="1348776"/>
                  <a:pt x="3354481" y="1336680"/>
                </a:cubicBezTo>
                <a:cubicBezTo>
                  <a:pt x="3354481" y="1324584"/>
                  <a:pt x="3364355" y="1314957"/>
                  <a:pt x="3376203" y="1314957"/>
                </a:cubicBezTo>
                <a:close/>
                <a:moveTo>
                  <a:pt x="2612248" y="1314449"/>
                </a:moveTo>
                <a:cubicBezTo>
                  <a:pt x="2616444" y="1314449"/>
                  <a:pt x="2619898" y="1317903"/>
                  <a:pt x="2619898" y="1322101"/>
                </a:cubicBezTo>
                <a:cubicBezTo>
                  <a:pt x="2619898" y="1326297"/>
                  <a:pt x="2616690" y="1329754"/>
                  <a:pt x="2612248" y="1329754"/>
                </a:cubicBezTo>
                <a:cubicBezTo>
                  <a:pt x="2608053" y="1329754"/>
                  <a:pt x="2604596" y="1326297"/>
                  <a:pt x="2604596" y="1322101"/>
                </a:cubicBezTo>
                <a:cubicBezTo>
                  <a:pt x="2604596" y="1317903"/>
                  <a:pt x="2608053" y="1314449"/>
                  <a:pt x="2612248" y="1314449"/>
                </a:cubicBezTo>
                <a:close/>
                <a:moveTo>
                  <a:pt x="836536" y="1312455"/>
                </a:moveTo>
                <a:cubicBezTo>
                  <a:pt x="839252" y="1312455"/>
                  <a:pt x="841473" y="1314676"/>
                  <a:pt x="841473" y="1317638"/>
                </a:cubicBezTo>
                <a:cubicBezTo>
                  <a:pt x="841473" y="1320354"/>
                  <a:pt x="839252" y="1322575"/>
                  <a:pt x="836536" y="1322575"/>
                </a:cubicBezTo>
                <a:cubicBezTo>
                  <a:pt x="833823" y="1322575"/>
                  <a:pt x="831353" y="1320354"/>
                  <a:pt x="831353" y="1317638"/>
                </a:cubicBezTo>
                <a:cubicBezTo>
                  <a:pt x="831353" y="1314922"/>
                  <a:pt x="833574" y="1312455"/>
                  <a:pt x="836536" y="1312455"/>
                </a:cubicBezTo>
                <a:close/>
                <a:moveTo>
                  <a:pt x="170571" y="1312453"/>
                </a:moveTo>
                <a:cubicBezTo>
                  <a:pt x="171312" y="1312453"/>
                  <a:pt x="172053" y="1313194"/>
                  <a:pt x="172053" y="1313932"/>
                </a:cubicBezTo>
                <a:cubicBezTo>
                  <a:pt x="172053" y="1314674"/>
                  <a:pt x="171312" y="1315414"/>
                  <a:pt x="170571" y="1315414"/>
                </a:cubicBezTo>
                <a:cubicBezTo>
                  <a:pt x="169833" y="1315414"/>
                  <a:pt x="169092" y="1314674"/>
                  <a:pt x="169092" y="1313932"/>
                </a:cubicBezTo>
                <a:cubicBezTo>
                  <a:pt x="169092" y="1313194"/>
                  <a:pt x="169833" y="1312453"/>
                  <a:pt x="170571" y="1312453"/>
                </a:cubicBezTo>
                <a:close/>
                <a:moveTo>
                  <a:pt x="1242827" y="1311966"/>
                </a:moveTo>
                <a:cubicBezTo>
                  <a:pt x="1249739" y="1311966"/>
                  <a:pt x="1255414" y="1317644"/>
                  <a:pt x="1255414" y="1324555"/>
                </a:cubicBezTo>
                <a:cubicBezTo>
                  <a:pt x="1255414" y="1331467"/>
                  <a:pt x="1249739" y="1337146"/>
                  <a:pt x="1242827" y="1337146"/>
                </a:cubicBezTo>
                <a:cubicBezTo>
                  <a:pt x="1235916" y="1337146"/>
                  <a:pt x="1230238" y="1331467"/>
                  <a:pt x="1230238" y="1324555"/>
                </a:cubicBezTo>
                <a:cubicBezTo>
                  <a:pt x="1230238" y="1317644"/>
                  <a:pt x="1235916" y="1311966"/>
                  <a:pt x="1242827" y="1311966"/>
                </a:cubicBezTo>
                <a:close/>
                <a:moveTo>
                  <a:pt x="1436099" y="1308756"/>
                </a:moveTo>
                <a:cubicBezTo>
                  <a:pt x="1439061" y="1308756"/>
                  <a:pt x="1441282" y="1311227"/>
                  <a:pt x="1441282" y="1313939"/>
                </a:cubicBezTo>
                <a:cubicBezTo>
                  <a:pt x="1441531" y="1316902"/>
                  <a:pt x="1439061" y="1319123"/>
                  <a:pt x="1436099" y="1319123"/>
                </a:cubicBezTo>
                <a:cubicBezTo>
                  <a:pt x="1433137" y="1319123"/>
                  <a:pt x="1430916" y="1316656"/>
                  <a:pt x="1430916" y="1313939"/>
                </a:cubicBezTo>
                <a:cubicBezTo>
                  <a:pt x="1430916" y="1310977"/>
                  <a:pt x="1433137" y="1308756"/>
                  <a:pt x="1436099" y="1308756"/>
                </a:cubicBezTo>
                <a:close/>
                <a:moveTo>
                  <a:pt x="2352581" y="1305807"/>
                </a:moveTo>
                <a:cubicBezTo>
                  <a:pt x="2352827" y="1305807"/>
                  <a:pt x="2352827" y="1306053"/>
                  <a:pt x="2352827" y="1306053"/>
                </a:cubicBezTo>
                <a:cubicBezTo>
                  <a:pt x="2352827" y="1306303"/>
                  <a:pt x="2352827" y="1306549"/>
                  <a:pt x="2352581" y="1306549"/>
                </a:cubicBezTo>
                <a:cubicBezTo>
                  <a:pt x="2352335" y="1306549"/>
                  <a:pt x="2352335" y="1306303"/>
                  <a:pt x="2352335" y="1306053"/>
                </a:cubicBezTo>
                <a:cubicBezTo>
                  <a:pt x="2352335" y="1305807"/>
                  <a:pt x="2352581" y="1305807"/>
                  <a:pt x="2352581" y="1305807"/>
                </a:cubicBezTo>
                <a:close/>
                <a:moveTo>
                  <a:pt x="3128629" y="1303597"/>
                </a:moveTo>
                <a:cubicBezTo>
                  <a:pt x="3142452" y="1303597"/>
                  <a:pt x="3153805" y="1314950"/>
                  <a:pt x="3153805" y="1328774"/>
                </a:cubicBezTo>
                <a:cubicBezTo>
                  <a:pt x="3153805" y="1342847"/>
                  <a:pt x="3142452" y="1353956"/>
                  <a:pt x="3128629" y="1353956"/>
                </a:cubicBezTo>
                <a:cubicBezTo>
                  <a:pt x="3114807" y="1353956"/>
                  <a:pt x="3103451" y="1342599"/>
                  <a:pt x="3103451" y="1328774"/>
                </a:cubicBezTo>
                <a:cubicBezTo>
                  <a:pt x="3103451" y="1314950"/>
                  <a:pt x="3114807" y="1303597"/>
                  <a:pt x="3128629" y="1303597"/>
                </a:cubicBezTo>
                <a:close/>
                <a:moveTo>
                  <a:pt x="616109" y="1298633"/>
                </a:moveTo>
                <a:cubicBezTo>
                  <a:pt x="616354" y="1298633"/>
                  <a:pt x="616354" y="1298633"/>
                  <a:pt x="616354" y="1298877"/>
                </a:cubicBezTo>
                <a:cubicBezTo>
                  <a:pt x="616603" y="1298877"/>
                  <a:pt x="616354" y="1299126"/>
                  <a:pt x="616109" y="1299126"/>
                </a:cubicBezTo>
                <a:cubicBezTo>
                  <a:pt x="615863" y="1299126"/>
                  <a:pt x="615863" y="1299126"/>
                  <a:pt x="615863" y="1298877"/>
                </a:cubicBezTo>
                <a:cubicBezTo>
                  <a:pt x="615863" y="1298633"/>
                  <a:pt x="616109" y="1298633"/>
                  <a:pt x="616109" y="1298633"/>
                </a:cubicBezTo>
                <a:close/>
                <a:moveTo>
                  <a:pt x="2076373" y="1296667"/>
                </a:moveTo>
                <a:cubicBezTo>
                  <a:pt x="2077606" y="1296667"/>
                  <a:pt x="2078347" y="1297658"/>
                  <a:pt x="2078347" y="1298645"/>
                </a:cubicBezTo>
                <a:cubicBezTo>
                  <a:pt x="2078347" y="1299633"/>
                  <a:pt x="2077606" y="1300618"/>
                  <a:pt x="2076373" y="1300618"/>
                </a:cubicBezTo>
                <a:cubicBezTo>
                  <a:pt x="2075385" y="1300618"/>
                  <a:pt x="2074398" y="1299633"/>
                  <a:pt x="2074398" y="1298645"/>
                </a:cubicBezTo>
                <a:cubicBezTo>
                  <a:pt x="2074398" y="1297658"/>
                  <a:pt x="2075139" y="1296667"/>
                  <a:pt x="2076373" y="1296667"/>
                </a:cubicBezTo>
                <a:close/>
                <a:moveTo>
                  <a:pt x="1622461" y="1293702"/>
                </a:moveTo>
                <a:cubicBezTo>
                  <a:pt x="1624189" y="1293702"/>
                  <a:pt x="1625669" y="1295180"/>
                  <a:pt x="1625669" y="1296908"/>
                </a:cubicBezTo>
                <a:cubicBezTo>
                  <a:pt x="1625669" y="1298641"/>
                  <a:pt x="1624189" y="1300121"/>
                  <a:pt x="1622461" y="1300121"/>
                </a:cubicBezTo>
                <a:cubicBezTo>
                  <a:pt x="1620732" y="1300121"/>
                  <a:pt x="1619253" y="1298641"/>
                  <a:pt x="1619253" y="1296908"/>
                </a:cubicBezTo>
                <a:cubicBezTo>
                  <a:pt x="1619253" y="1295180"/>
                  <a:pt x="1620732" y="1293702"/>
                  <a:pt x="1622461" y="1293702"/>
                </a:cubicBezTo>
                <a:close/>
                <a:moveTo>
                  <a:pt x="284118" y="1289993"/>
                </a:moveTo>
                <a:cubicBezTo>
                  <a:pt x="284610" y="1289993"/>
                  <a:pt x="284856" y="1290486"/>
                  <a:pt x="284856" y="1290734"/>
                </a:cubicBezTo>
                <a:cubicBezTo>
                  <a:pt x="284856" y="1290980"/>
                  <a:pt x="284610" y="1291473"/>
                  <a:pt x="284118" y="1291473"/>
                </a:cubicBezTo>
                <a:cubicBezTo>
                  <a:pt x="283623" y="1291473"/>
                  <a:pt x="283377" y="1291226"/>
                  <a:pt x="283377" y="1290734"/>
                </a:cubicBezTo>
                <a:cubicBezTo>
                  <a:pt x="283377" y="1290239"/>
                  <a:pt x="283869" y="1289993"/>
                  <a:pt x="284118" y="1289993"/>
                </a:cubicBezTo>
                <a:close/>
                <a:moveTo>
                  <a:pt x="1804134" y="1270997"/>
                </a:moveTo>
                <a:cubicBezTo>
                  <a:pt x="1805122" y="1270997"/>
                  <a:pt x="1805860" y="1271738"/>
                  <a:pt x="1805860" y="1272725"/>
                </a:cubicBezTo>
                <a:cubicBezTo>
                  <a:pt x="1805860" y="1273712"/>
                  <a:pt x="1805122" y="1274450"/>
                  <a:pt x="1804134" y="1274450"/>
                </a:cubicBezTo>
                <a:cubicBezTo>
                  <a:pt x="1803148" y="1274450"/>
                  <a:pt x="1802407" y="1273712"/>
                  <a:pt x="1802407" y="1272725"/>
                </a:cubicBezTo>
                <a:cubicBezTo>
                  <a:pt x="1802407" y="1271738"/>
                  <a:pt x="1803148" y="1270997"/>
                  <a:pt x="1804134" y="1270997"/>
                </a:cubicBezTo>
                <a:close/>
                <a:moveTo>
                  <a:pt x="3024711" y="1270030"/>
                </a:moveTo>
                <a:cubicBezTo>
                  <a:pt x="3036313" y="1270030"/>
                  <a:pt x="3045694" y="1279406"/>
                  <a:pt x="3045694" y="1291005"/>
                </a:cubicBezTo>
                <a:cubicBezTo>
                  <a:pt x="3045694" y="1302610"/>
                  <a:pt x="3036313" y="1311987"/>
                  <a:pt x="3024711" y="1311987"/>
                </a:cubicBezTo>
                <a:cubicBezTo>
                  <a:pt x="3013111" y="1311987"/>
                  <a:pt x="3003484" y="1302610"/>
                  <a:pt x="3003484" y="1291005"/>
                </a:cubicBezTo>
                <a:cubicBezTo>
                  <a:pt x="3003484" y="1279406"/>
                  <a:pt x="3012865" y="1270030"/>
                  <a:pt x="3024711" y="1270030"/>
                </a:cubicBezTo>
                <a:close/>
                <a:moveTo>
                  <a:pt x="2773185" y="1266817"/>
                </a:moveTo>
                <a:cubicBezTo>
                  <a:pt x="2780838" y="1266817"/>
                  <a:pt x="2786762" y="1272986"/>
                  <a:pt x="2786762" y="1280636"/>
                </a:cubicBezTo>
                <a:cubicBezTo>
                  <a:pt x="2786762" y="1288286"/>
                  <a:pt x="2780591" y="1294456"/>
                  <a:pt x="2773185" y="1294456"/>
                </a:cubicBezTo>
                <a:cubicBezTo>
                  <a:pt x="2765532" y="1294456"/>
                  <a:pt x="2759362" y="1288286"/>
                  <a:pt x="2759362" y="1280636"/>
                </a:cubicBezTo>
                <a:cubicBezTo>
                  <a:pt x="2759362" y="1272986"/>
                  <a:pt x="2765532" y="1266817"/>
                  <a:pt x="2773185" y="1266817"/>
                </a:cubicBezTo>
                <a:close/>
                <a:moveTo>
                  <a:pt x="3281913" y="1265349"/>
                </a:moveTo>
                <a:cubicBezTo>
                  <a:pt x="3291540" y="1265349"/>
                  <a:pt x="3299436" y="1273245"/>
                  <a:pt x="3299436" y="1282869"/>
                </a:cubicBezTo>
                <a:cubicBezTo>
                  <a:pt x="3299436" y="1292492"/>
                  <a:pt x="3291540" y="1300391"/>
                  <a:pt x="3281913" y="1300391"/>
                </a:cubicBezTo>
                <a:cubicBezTo>
                  <a:pt x="3272286" y="1300391"/>
                  <a:pt x="3264387" y="1292492"/>
                  <a:pt x="3264387" y="1282869"/>
                </a:cubicBezTo>
                <a:cubicBezTo>
                  <a:pt x="3264387" y="1273245"/>
                  <a:pt x="3272286" y="1265349"/>
                  <a:pt x="3281913" y="1265349"/>
                </a:cubicBezTo>
                <a:close/>
                <a:moveTo>
                  <a:pt x="2517219" y="1264097"/>
                </a:moveTo>
                <a:cubicBezTo>
                  <a:pt x="2519439" y="1264097"/>
                  <a:pt x="2521414" y="1265825"/>
                  <a:pt x="2521414" y="1268291"/>
                </a:cubicBezTo>
                <a:cubicBezTo>
                  <a:pt x="2521414" y="1270512"/>
                  <a:pt x="2519688" y="1272486"/>
                  <a:pt x="2517219" y="1272486"/>
                </a:cubicBezTo>
                <a:cubicBezTo>
                  <a:pt x="2514998" y="1272486"/>
                  <a:pt x="2513023" y="1270512"/>
                  <a:pt x="2513023" y="1268291"/>
                </a:cubicBezTo>
                <a:cubicBezTo>
                  <a:pt x="2513023" y="1266071"/>
                  <a:pt x="2514998" y="1264097"/>
                  <a:pt x="2517219" y="1264097"/>
                </a:cubicBezTo>
                <a:close/>
                <a:moveTo>
                  <a:pt x="1141375" y="1261117"/>
                </a:moveTo>
                <a:cubicBezTo>
                  <a:pt x="1142362" y="1261117"/>
                  <a:pt x="1143101" y="1261858"/>
                  <a:pt x="1143101" y="1262845"/>
                </a:cubicBezTo>
                <a:cubicBezTo>
                  <a:pt x="1143101" y="1263832"/>
                  <a:pt x="1142362" y="1264571"/>
                  <a:pt x="1141375" y="1264571"/>
                </a:cubicBezTo>
                <a:cubicBezTo>
                  <a:pt x="1140388" y="1264571"/>
                  <a:pt x="1139647" y="1263832"/>
                  <a:pt x="1139647" y="1262845"/>
                </a:cubicBezTo>
                <a:cubicBezTo>
                  <a:pt x="1139647" y="1261858"/>
                  <a:pt x="1140388" y="1261117"/>
                  <a:pt x="1141375" y="1261117"/>
                </a:cubicBezTo>
                <a:close/>
                <a:moveTo>
                  <a:pt x="396177" y="1260375"/>
                </a:moveTo>
                <a:cubicBezTo>
                  <a:pt x="396426" y="1260375"/>
                  <a:pt x="396672" y="1260621"/>
                  <a:pt x="396672" y="1260867"/>
                </a:cubicBezTo>
                <a:cubicBezTo>
                  <a:pt x="396672" y="1261116"/>
                  <a:pt x="396426" y="1261362"/>
                  <a:pt x="396177" y="1261362"/>
                </a:cubicBezTo>
                <a:cubicBezTo>
                  <a:pt x="395931" y="1261362"/>
                  <a:pt x="395684" y="1261116"/>
                  <a:pt x="395684" y="1260867"/>
                </a:cubicBezTo>
                <a:cubicBezTo>
                  <a:pt x="395684" y="1260621"/>
                  <a:pt x="395931" y="1260375"/>
                  <a:pt x="396177" y="1260375"/>
                </a:cubicBezTo>
                <a:close/>
                <a:moveTo>
                  <a:pt x="938973" y="1256180"/>
                </a:moveTo>
                <a:cubicBezTo>
                  <a:pt x="942181" y="1256180"/>
                  <a:pt x="944648" y="1258649"/>
                  <a:pt x="944648" y="1261857"/>
                </a:cubicBezTo>
                <a:cubicBezTo>
                  <a:pt x="944648" y="1264819"/>
                  <a:pt x="942181" y="1267534"/>
                  <a:pt x="938973" y="1267534"/>
                </a:cubicBezTo>
                <a:cubicBezTo>
                  <a:pt x="936011" y="1267534"/>
                  <a:pt x="933295" y="1265065"/>
                  <a:pt x="933295" y="1261857"/>
                </a:cubicBezTo>
                <a:cubicBezTo>
                  <a:pt x="933295" y="1258649"/>
                  <a:pt x="935762" y="1256180"/>
                  <a:pt x="938973" y="1256180"/>
                </a:cubicBezTo>
                <a:close/>
                <a:moveTo>
                  <a:pt x="722495" y="1251736"/>
                </a:moveTo>
                <a:cubicBezTo>
                  <a:pt x="722988" y="1251736"/>
                  <a:pt x="723234" y="1251983"/>
                  <a:pt x="723234" y="1252478"/>
                </a:cubicBezTo>
                <a:cubicBezTo>
                  <a:pt x="723234" y="1252970"/>
                  <a:pt x="722988" y="1253216"/>
                  <a:pt x="722495" y="1253216"/>
                </a:cubicBezTo>
                <a:cubicBezTo>
                  <a:pt x="722000" y="1253216"/>
                  <a:pt x="721754" y="1252970"/>
                  <a:pt x="721754" y="1252478"/>
                </a:cubicBezTo>
                <a:cubicBezTo>
                  <a:pt x="721754" y="1251983"/>
                  <a:pt x="722249" y="1251736"/>
                  <a:pt x="722495" y="1251736"/>
                </a:cubicBezTo>
                <a:close/>
                <a:moveTo>
                  <a:pt x="2257304" y="1250768"/>
                </a:moveTo>
                <a:cubicBezTo>
                  <a:pt x="2257551" y="1250768"/>
                  <a:pt x="2258043" y="1251013"/>
                  <a:pt x="2258043" y="1251509"/>
                </a:cubicBezTo>
                <a:cubicBezTo>
                  <a:pt x="2258043" y="1252001"/>
                  <a:pt x="2257797" y="1252247"/>
                  <a:pt x="2257304" y="1252247"/>
                </a:cubicBezTo>
                <a:cubicBezTo>
                  <a:pt x="2257058" y="1252247"/>
                  <a:pt x="2256563" y="1252001"/>
                  <a:pt x="2256563" y="1251509"/>
                </a:cubicBezTo>
                <a:cubicBezTo>
                  <a:pt x="2256563" y="1251260"/>
                  <a:pt x="2256809" y="1250768"/>
                  <a:pt x="2257304" y="1250768"/>
                </a:cubicBezTo>
                <a:close/>
                <a:moveTo>
                  <a:pt x="1980355" y="1241627"/>
                </a:moveTo>
                <a:cubicBezTo>
                  <a:pt x="1981342" y="1241627"/>
                  <a:pt x="1982329" y="1242615"/>
                  <a:pt x="1982329" y="1243602"/>
                </a:cubicBezTo>
                <a:cubicBezTo>
                  <a:pt x="1982329" y="1244590"/>
                  <a:pt x="1981588" y="1245577"/>
                  <a:pt x="1980355" y="1245577"/>
                </a:cubicBezTo>
                <a:cubicBezTo>
                  <a:pt x="1979121" y="1245577"/>
                  <a:pt x="1978380" y="1244590"/>
                  <a:pt x="1978380" y="1243602"/>
                </a:cubicBezTo>
                <a:cubicBezTo>
                  <a:pt x="1978380" y="1242615"/>
                  <a:pt x="1979367" y="1241627"/>
                  <a:pt x="1980355" y="1241627"/>
                </a:cubicBezTo>
                <a:close/>
                <a:moveTo>
                  <a:pt x="1336128" y="1241619"/>
                </a:moveTo>
                <a:cubicBezTo>
                  <a:pt x="1343534" y="1241619"/>
                  <a:pt x="1349458" y="1247544"/>
                  <a:pt x="1349458" y="1254949"/>
                </a:cubicBezTo>
                <a:cubicBezTo>
                  <a:pt x="1349458" y="1262106"/>
                  <a:pt x="1343534" y="1268276"/>
                  <a:pt x="1336128" y="1268276"/>
                </a:cubicBezTo>
                <a:cubicBezTo>
                  <a:pt x="1328724" y="1268276"/>
                  <a:pt x="1322800" y="1262353"/>
                  <a:pt x="1322800" y="1254949"/>
                </a:cubicBezTo>
                <a:cubicBezTo>
                  <a:pt x="1322800" y="1247544"/>
                  <a:pt x="1328724" y="1241619"/>
                  <a:pt x="1336128" y="1241619"/>
                </a:cubicBezTo>
                <a:close/>
                <a:moveTo>
                  <a:pt x="1524712" y="1232488"/>
                </a:moveTo>
                <a:cubicBezTo>
                  <a:pt x="1528169" y="1232488"/>
                  <a:pt x="1530885" y="1235204"/>
                  <a:pt x="1530885" y="1238659"/>
                </a:cubicBezTo>
                <a:cubicBezTo>
                  <a:pt x="1530885" y="1242116"/>
                  <a:pt x="1528169" y="1244832"/>
                  <a:pt x="1524712" y="1244832"/>
                </a:cubicBezTo>
                <a:cubicBezTo>
                  <a:pt x="1521258" y="1244832"/>
                  <a:pt x="1518542" y="1242116"/>
                  <a:pt x="1518542" y="1238659"/>
                </a:cubicBezTo>
                <a:cubicBezTo>
                  <a:pt x="1518542" y="1235204"/>
                  <a:pt x="1521258" y="1232488"/>
                  <a:pt x="1524712" y="1232488"/>
                </a:cubicBezTo>
                <a:close/>
                <a:moveTo>
                  <a:pt x="2930172" y="1220412"/>
                </a:moveTo>
                <a:cubicBezTo>
                  <a:pt x="2939551" y="1220412"/>
                  <a:pt x="2947203" y="1228066"/>
                  <a:pt x="2947203" y="1237202"/>
                </a:cubicBezTo>
                <a:cubicBezTo>
                  <a:pt x="2947203" y="1246337"/>
                  <a:pt x="2939551" y="1253988"/>
                  <a:pt x="2930172" y="1253988"/>
                </a:cubicBezTo>
                <a:cubicBezTo>
                  <a:pt x="2920791" y="1253988"/>
                  <a:pt x="2913387" y="1246337"/>
                  <a:pt x="2913387" y="1237202"/>
                </a:cubicBezTo>
                <a:cubicBezTo>
                  <a:pt x="2913387" y="1227820"/>
                  <a:pt x="2921040" y="1220412"/>
                  <a:pt x="2930172" y="1220412"/>
                </a:cubicBezTo>
                <a:close/>
                <a:moveTo>
                  <a:pt x="2678647" y="1218433"/>
                </a:moveTo>
                <a:cubicBezTo>
                  <a:pt x="2683338" y="1218433"/>
                  <a:pt x="2687041" y="1222137"/>
                  <a:pt x="2687041" y="1226828"/>
                </a:cubicBezTo>
                <a:cubicBezTo>
                  <a:pt x="2687041" y="1231271"/>
                  <a:pt x="2683338" y="1234975"/>
                  <a:pt x="2678647" y="1234975"/>
                </a:cubicBezTo>
                <a:cubicBezTo>
                  <a:pt x="2674205" y="1234975"/>
                  <a:pt x="2670502" y="1231271"/>
                  <a:pt x="2670502" y="1226828"/>
                </a:cubicBezTo>
                <a:cubicBezTo>
                  <a:pt x="2670502" y="1222137"/>
                  <a:pt x="2674205" y="1218433"/>
                  <a:pt x="2678647" y="1218433"/>
                </a:cubicBezTo>
                <a:close/>
                <a:moveTo>
                  <a:pt x="56040" y="1218410"/>
                </a:moveTo>
                <a:cubicBezTo>
                  <a:pt x="57519" y="1218410"/>
                  <a:pt x="58755" y="1219643"/>
                  <a:pt x="58755" y="1221125"/>
                </a:cubicBezTo>
                <a:cubicBezTo>
                  <a:pt x="58755" y="1222854"/>
                  <a:pt x="57519" y="1224087"/>
                  <a:pt x="56040" y="1224087"/>
                </a:cubicBezTo>
                <a:cubicBezTo>
                  <a:pt x="54311" y="1224087"/>
                  <a:pt x="53078" y="1222854"/>
                  <a:pt x="53078" y="1221125"/>
                </a:cubicBezTo>
                <a:cubicBezTo>
                  <a:pt x="53078" y="1219643"/>
                  <a:pt x="54311" y="1218410"/>
                  <a:pt x="56040" y="1218410"/>
                </a:cubicBezTo>
                <a:close/>
                <a:moveTo>
                  <a:pt x="1706632" y="1214470"/>
                </a:moveTo>
                <a:cubicBezTo>
                  <a:pt x="1707868" y="1214470"/>
                  <a:pt x="1708858" y="1215457"/>
                  <a:pt x="1708858" y="1216691"/>
                </a:cubicBezTo>
                <a:cubicBezTo>
                  <a:pt x="1708858" y="1217924"/>
                  <a:pt x="1707868" y="1218911"/>
                  <a:pt x="1706632" y="1218911"/>
                </a:cubicBezTo>
                <a:cubicBezTo>
                  <a:pt x="1705401" y="1218911"/>
                  <a:pt x="1704413" y="1217924"/>
                  <a:pt x="1704413" y="1216691"/>
                </a:cubicBezTo>
                <a:cubicBezTo>
                  <a:pt x="1704413" y="1215457"/>
                  <a:pt x="1705401" y="1214470"/>
                  <a:pt x="1706632" y="1214470"/>
                </a:cubicBezTo>
                <a:close/>
                <a:moveTo>
                  <a:pt x="2422929" y="1213248"/>
                </a:moveTo>
                <a:lnTo>
                  <a:pt x="2423175" y="1213494"/>
                </a:lnTo>
                <a:lnTo>
                  <a:pt x="2422929" y="1213742"/>
                </a:lnTo>
                <a:lnTo>
                  <a:pt x="2422929" y="1213494"/>
                </a:lnTo>
                <a:close/>
                <a:moveTo>
                  <a:pt x="3432481" y="1212281"/>
                </a:moveTo>
                <a:cubicBezTo>
                  <a:pt x="3444821" y="1212281"/>
                  <a:pt x="3454944" y="1222397"/>
                  <a:pt x="3454944" y="1234744"/>
                </a:cubicBezTo>
                <a:cubicBezTo>
                  <a:pt x="3454944" y="1247335"/>
                  <a:pt x="3444821" y="1257456"/>
                  <a:pt x="3432481" y="1257456"/>
                </a:cubicBezTo>
                <a:cubicBezTo>
                  <a:pt x="3420138" y="1257456"/>
                  <a:pt x="3410018" y="1247335"/>
                  <a:pt x="3410018" y="1234744"/>
                </a:cubicBezTo>
                <a:cubicBezTo>
                  <a:pt x="3410018" y="1222397"/>
                  <a:pt x="3420138" y="1212281"/>
                  <a:pt x="3432481" y="1212281"/>
                </a:cubicBezTo>
                <a:close/>
                <a:moveTo>
                  <a:pt x="2151413" y="1207567"/>
                </a:moveTo>
                <a:cubicBezTo>
                  <a:pt x="2152893" y="1207567"/>
                  <a:pt x="2154129" y="1208801"/>
                  <a:pt x="2154129" y="1210282"/>
                </a:cubicBezTo>
                <a:cubicBezTo>
                  <a:pt x="2154129" y="1211761"/>
                  <a:pt x="2152893" y="1212995"/>
                  <a:pt x="2151413" y="1212995"/>
                </a:cubicBezTo>
                <a:cubicBezTo>
                  <a:pt x="2149931" y="1212995"/>
                  <a:pt x="2148697" y="1211761"/>
                  <a:pt x="2148697" y="1210282"/>
                </a:cubicBezTo>
                <a:cubicBezTo>
                  <a:pt x="2148697" y="1208801"/>
                  <a:pt x="2149931" y="1207567"/>
                  <a:pt x="2151413" y="1207567"/>
                </a:cubicBezTo>
                <a:close/>
                <a:moveTo>
                  <a:pt x="3187867" y="1202405"/>
                </a:moveTo>
                <a:cubicBezTo>
                  <a:pt x="3202431" y="1202405"/>
                  <a:pt x="3214033" y="1214003"/>
                  <a:pt x="3214033" y="1228564"/>
                </a:cubicBezTo>
                <a:cubicBezTo>
                  <a:pt x="3214033" y="1242887"/>
                  <a:pt x="3202431" y="1254735"/>
                  <a:pt x="3187867" y="1254735"/>
                </a:cubicBezTo>
                <a:cubicBezTo>
                  <a:pt x="3173552" y="1254735"/>
                  <a:pt x="3161704" y="1243133"/>
                  <a:pt x="3161704" y="1228564"/>
                </a:cubicBezTo>
                <a:cubicBezTo>
                  <a:pt x="3161704" y="1214249"/>
                  <a:pt x="3173306" y="1202405"/>
                  <a:pt x="3187867" y="1202405"/>
                </a:cubicBezTo>
                <a:close/>
                <a:moveTo>
                  <a:pt x="825920" y="1199406"/>
                </a:moveTo>
                <a:cubicBezTo>
                  <a:pt x="826661" y="1199406"/>
                  <a:pt x="827156" y="1199899"/>
                  <a:pt x="827156" y="1200640"/>
                </a:cubicBezTo>
                <a:cubicBezTo>
                  <a:pt x="827156" y="1201381"/>
                  <a:pt x="826661" y="1201874"/>
                  <a:pt x="825920" y="1201874"/>
                </a:cubicBezTo>
                <a:cubicBezTo>
                  <a:pt x="825182" y="1201874"/>
                  <a:pt x="824441" y="1201381"/>
                  <a:pt x="824441" y="1200640"/>
                </a:cubicBezTo>
                <a:cubicBezTo>
                  <a:pt x="824441" y="1199899"/>
                  <a:pt x="824936" y="1199406"/>
                  <a:pt x="825920" y="1199406"/>
                </a:cubicBezTo>
                <a:close/>
                <a:moveTo>
                  <a:pt x="170819" y="1198909"/>
                </a:moveTo>
                <a:cubicBezTo>
                  <a:pt x="173286" y="1198909"/>
                  <a:pt x="175507" y="1200884"/>
                  <a:pt x="175507" y="1203600"/>
                </a:cubicBezTo>
                <a:cubicBezTo>
                  <a:pt x="175260" y="1206067"/>
                  <a:pt x="173286" y="1208290"/>
                  <a:pt x="170819" y="1208290"/>
                </a:cubicBezTo>
                <a:cubicBezTo>
                  <a:pt x="168349" y="1208290"/>
                  <a:pt x="166129" y="1206316"/>
                  <a:pt x="166129" y="1203600"/>
                </a:cubicBezTo>
                <a:cubicBezTo>
                  <a:pt x="166129" y="1201130"/>
                  <a:pt x="168103" y="1198909"/>
                  <a:pt x="170819" y="1198909"/>
                </a:cubicBezTo>
                <a:close/>
                <a:moveTo>
                  <a:pt x="1038445" y="1194718"/>
                </a:moveTo>
                <a:cubicBezTo>
                  <a:pt x="1041902" y="1194718"/>
                  <a:pt x="1044617" y="1197434"/>
                  <a:pt x="1044617" y="1200888"/>
                </a:cubicBezTo>
                <a:cubicBezTo>
                  <a:pt x="1044617" y="1204346"/>
                  <a:pt x="1041902" y="1207062"/>
                  <a:pt x="1038445" y="1207062"/>
                </a:cubicBezTo>
                <a:cubicBezTo>
                  <a:pt x="1034991" y="1207062"/>
                  <a:pt x="1032275" y="1204346"/>
                  <a:pt x="1032275" y="1200888"/>
                </a:cubicBezTo>
                <a:cubicBezTo>
                  <a:pt x="1032275" y="1197434"/>
                  <a:pt x="1034991" y="1194718"/>
                  <a:pt x="1038445" y="1194718"/>
                </a:cubicBezTo>
                <a:close/>
                <a:moveTo>
                  <a:pt x="1236157" y="1193485"/>
                </a:moveTo>
                <a:cubicBezTo>
                  <a:pt x="1236898" y="1193485"/>
                  <a:pt x="1237639" y="1193980"/>
                  <a:pt x="1237639" y="1194965"/>
                </a:cubicBezTo>
                <a:cubicBezTo>
                  <a:pt x="1237393" y="1195706"/>
                  <a:pt x="1236898" y="1196201"/>
                  <a:pt x="1236157" y="1196201"/>
                </a:cubicBezTo>
                <a:cubicBezTo>
                  <a:pt x="1235419" y="1196201"/>
                  <a:pt x="1234678" y="1195706"/>
                  <a:pt x="1234678" y="1194965"/>
                </a:cubicBezTo>
                <a:cubicBezTo>
                  <a:pt x="1234678" y="1194226"/>
                  <a:pt x="1235419" y="1193485"/>
                  <a:pt x="1236157" y="1193485"/>
                </a:cubicBezTo>
                <a:close/>
                <a:moveTo>
                  <a:pt x="1883864" y="1185841"/>
                </a:moveTo>
                <a:cubicBezTo>
                  <a:pt x="1885345" y="1185841"/>
                  <a:pt x="1886580" y="1187075"/>
                  <a:pt x="1886580" y="1188558"/>
                </a:cubicBezTo>
                <a:cubicBezTo>
                  <a:pt x="1886580" y="1190037"/>
                  <a:pt x="1885345" y="1191272"/>
                  <a:pt x="1883864" y="1191272"/>
                </a:cubicBezTo>
                <a:cubicBezTo>
                  <a:pt x="1882381" y="1191272"/>
                  <a:pt x="1881147" y="1190037"/>
                  <a:pt x="1881147" y="1188558"/>
                </a:cubicBezTo>
                <a:cubicBezTo>
                  <a:pt x="1881147" y="1187075"/>
                  <a:pt x="1882381" y="1185841"/>
                  <a:pt x="1883864" y="1185841"/>
                </a:cubicBezTo>
                <a:close/>
                <a:moveTo>
                  <a:pt x="614379" y="1181879"/>
                </a:moveTo>
                <a:cubicBezTo>
                  <a:pt x="614628" y="1181879"/>
                  <a:pt x="614628" y="1182125"/>
                  <a:pt x="614628" y="1182125"/>
                </a:cubicBezTo>
                <a:cubicBezTo>
                  <a:pt x="614628" y="1182125"/>
                  <a:pt x="614379" y="1182374"/>
                  <a:pt x="614379" y="1182374"/>
                </a:cubicBezTo>
                <a:cubicBezTo>
                  <a:pt x="614133" y="1182374"/>
                  <a:pt x="614133" y="1182125"/>
                  <a:pt x="614133" y="1182125"/>
                </a:cubicBezTo>
                <a:cubicBezTo>
                  <a:pt x="614133" y="1181879"/>
                  <a:pt x="614379" y="1181879"/>
                  <a:pt x="614379" y="1181879"/>
                </a:cubicBezTo>
                <a:close/>
                <a:moveTo>
                  <a:pt x="284114" y="1172005"/>
                </a:moveTo>
                <a:cubicBezTo>
                  <a:pt x="287817" y="1172005"/>
                  <a:pt x="291025" y="1174967"/>
                  <a:pt x="291025" y="1178917"/>
                </a:cubicBezTo>
                <a:cubicBezTo>
                  <a:pt x="291025" y="1182620"/>
                  <a:pt x="288063" y="1185828"/>
                  <a:pt x="284114" y="1185828"/>
                </a:cubicBezTo>
                <a:cubicBezTo>
                  <a:pt x="280411" y="1185828"/>
                  <a:pt x="277202" y="1182866"/>
                  <a:pt x="277202" y="1178917"/>
                </a:cubicBezTo>
                <a:cubicBezTo>
                  <a:pt x="277202" y="1175213"/>
                  <a:pt x="280164" y="1172005"/>
                  <a:pt x="284114" y="1172005"/>
                </a:cubicBezTo>
                <a:close/>
                <a:moveTo>
                  <a:pt x="3084197" y="1169321"/>
                </a:moveTo>
                <a:cubicBezTo>
                  <a:pt x="3096293" y="1169321"/>
                  <a:pt x="3106164" y="1179196"/>
                  <a:pt x="3106164" y="1191291"/>
                </a:cubicBezTo>
                <a:cubicBezTo>
                  <a:pt x="3106164" y="1203387"/>
                  <a:pt x="3096293" y="1213257"/>
                  <a:pt x="3084197" y="1213257"/>
                </a:cubicBezTo>
                <a:cubicBezTo>
                  <a:pt x="3072102" y="1213257"/>
                  <a:pt x="3062229" y="1203387"/>
                  <a:pt x="3062229" y="1191291"/>
                </a:cubicBezTo>
                <a:cubicBezTo>
                  <a:pt x="3062229" y="1179196"/>
                  <a:pt x="3072102" y="1169321"/>
                  <a:pt x="3084197" y="1169321"/>
                </a:cubicBezTo>
                <a:close/>
                <a:moveTo>
                  <a:pt x="2584111" y="1168573"/>
                </a:moveTo>
                <a:cubicBezTo>
                  <a:pt x="2586578" y="1168573"/>
                  <a:pt x="2588553" y="1170546"/>
                  <a:pt x="2588553" y="1173014"/>
                </a:cubicBezTo>
                <a:cubicBezTo>
                  <a:pt x="2588553" y="1175485"/>
                  <a:pt x="2586578" y="1177459"/>
                  <a:pt x="2584111" y="1177459"/>
                </a:cubicBezTo>
                <a:cubicBezTo>
                  <a:pt x="2581642" y="1177459"/>
                  <a:pt x="2579667" y="1175485"/>
                  <a:pt x="2579667" y="1173014"/>
                </a:cubicBezTo>
                <a:cubicBezTo>
                  <a:pt x="2579667" y="1170546"/>
                  <a:pt x="2581642" y="1168573"/>
                  <a:pt x="2584111" y="1168573"/>
                </a:cubicBezTo>
                <a:close/>
                <a:moveTo>
                  <a:pt x="2836128" y="1168329"/>
                </a:moveTo>
                <a:cubicBezTo>
                  <a:pt x="2844273" y="1168329"/>
                  <a:pt x="2850938" y="1174996"/>
                  <a:pt x="2850938" y="1183140"/>
                </a:cubicBezTo>
                <a:cubicBezTo>
                  <a:pt x="2850692" y="1191286"/>
                  <a:pt x="2844273" y="1197951"/>
                  <a:pt x="2836128" y="1197951"/>
                </a:cubicBezTo>
                <a:cubicBezTo>
                  <a:pt x="2827983" y="1197951"/>
                  <a:pt x="2821318" y="1191286"/>
                  <a:pt x="2821318" y="1183140"/>
                </a:cubicBezTo>
                <a:cubicBezTo>
                  <a:pt x="2821318" y="1174996"/>
                  <a:pt x="2827983" y="1168329"/>
                  <a:pt x="2836128" y="1168329"/>
                </a:cubicBezTo>
                <a:close/>
                <a:moveTo>
                  <a:pt x="1425979" y="1166829"/>
                </a:moveTo>
                <a:cubicBezTo>
                  <a:pt x="1433631" y="1166829"/>
                  <a:pt x="1440048" y="1173245"/>
                  <a:pt x="1440048" y="1180898"/>
                </a:cubicBezTo>
                <a:cubicBezTo>
                  <a:pt x="1440048" y="1188798"/>
                  <a:pt x="1433631" y="1194967"/>
                  <a:pt x="1425979" y="1194967"/>
                </a:cubicBezTo>
                <a:cubicBezTo>
                  <a:pt x="1418326" y="1194967"/>
                  <a:pt x="1411910" y="1188798"/>
                  <a:pt x="1411910" y="1180898"/>
                </a:cubicBezTo>
                <a:cubicBezTo>
                  <a:pt x="1411910" y="1173245"/>
                  <a:pt x="1418080" y="1166829"/>
                  <a:pt x="1425979" y="1166829"/>
                </a:cubicBezTo>
                <a:close/>
                <a:moveTo>
                  <a:pt x="3338192" y="1161182"/>
                </a:moveTo>
                <a:cubicBezTo>
                  <a:pt x="3349053" y="1161182"/>
                  <a:pt x="3357939" y="1170067"/>
                  <a:pt x="3357939" y="1180929"/>
                </a:cubicBezTo>
                <a:cubicBezTo>
                  <a:pt x="3357939" y="1191791"/>
                  <a:pt x="3349053" y="1200678"/>
                  <a:pt x="3338192" y="1200678"/>
                </a:cubicBezTo>
                <a:cubicBezTo>
                  <a:pt x="3327331" y="1200678"/>
                  <a:pt x="3318445" y="1191791"/>
                  <a:pt x="3318445" y="1180929"/>
                </a:cubicBezTo>
                <a:cubicBezTo>
                  <a:pt x="3318445" y="1170067"/>
                  <a:pt x="3327331" y="1161182"/>
                  <a:pt x="3338192" y="1161182"/>
                </a:cubicBezTo>
                <a:close/>
                <a:moveTo>
                  <a:pt x="2328390" y="1158445"/>
                </a:moveTo>
                <a:cubicBezTo>
                  <a:pt x="2328639" y="1158445"/>
                  <a:pt x="2328885" y="1158692"/>
                  <a:pt x="2328885" y="1158941"/>
                </a:cubicBezTo>
                <a:cubicBezTo>
                  <a:pt x="2328639" y="1159433"/>
                  <a:pt x="2328639" y="1159433"/>
                  <a:pt x="2328390" y="1159433"/>
                </a:cubicBezTo>
                <a:cubicBezTo>
                  <a:pt x="2328144" y="1159433"/>
                  <a:pt x="2327898" y="1159187"/>
                  <a:pt x="2327898" y="1158941"/>
                </a:cubicBezTo>
                <a:cubicBezTo>
                  <a:pt x="2327898" y="1158692"/>
                  <a:pt x="2328144" y="1158445"/>
                  <a:pt x="2328390" y="1158445"/>
                </a:cubicBezTo>
                <a:close/>
                <a:moveTo>
                  <a:pt x="2055888" y="1153506"/>
                </a:moveTo>
                <a:cubicBezTo>
                  <a:pt x="2056875" y="1153506"/>
                  <a:pt x="2057862" y="1154492"/>
                  <a:pt x="2057862" y="1155481"/>
                </a:cubicBezTo>
                <a:cubicBezTo>
                  <a:pt x="2057862" y="1156467"/>
                  <a:pt x="2057121" y="1157455"/>
                  <a:pt x="2055888" y="1157455"/>
                </a:cubicBezTo>
                <a:cubicBezTo>
                  <a:pt x="2054900" y="1157455"/>
                  <a:pt x="2053913" y="1156467"/>
                  <a:pt x="2053913" y="1155481"/>
                </a:cubicBezTo>
                <a:cubicBezTo>
                  <a:pt x="2053913" y="1154492"/>
                  <a:pt x="2054900" y="1153506"/>
                  <a:pt x="2055888" y="1153506"/>
                </a:cubicBezTo>
                <a:close/>
                <a:moveTo>
                  <a:pt x="1610121" y="1151771"/>
                </a:moveTo>
                <a:cubicBezTo>
                  <a:pt x="1614317" y="1151771"/>
                  <a:pt x="1617771" y="1155226"/>
                  <a:pt x="1617771" y="1159424"/>
                </a:cubicBezTo>
                <a:cubicBezTo>
                  <a:pt x="1617771" y="1163865"/>
                  <a:pt x="1614317" y="1167073"/>
                  <a:pt x="1610121" y="1167073"/>
                </a:cubicBezTo>
                <a:cubicBezTo>
                  <a:pt x="1605923" y="1167073"/>
                  <a:pt x="1602469" y="1163619"/>
                  <a:pt x="1602469" y="1159424"/>
                </a:cubicBezTo>
                <a:cubicBezTo>
                  <a:pt x="1602469" y="1155226"/>
                  <a:pt x="1605923" y="1151771"/>
                  <a:pt x="1610121" y="1151771"/>
                </a:cubicBezTo>
                <a:close/>
                <a:moveTo>
                  <a:pt x="926380" y="1140656"/>
                </a:moveTo>
                <a:cubicBezTo>
                  <a:pt x="927613" y="1140656"/>
                  <a:pt x="928849" y="1141646"/>
                  <a:pt x="928849" y="1143128"/>
                </a:cubicBezTo>
                <a:cubicBezTo>
                  <a:pt x="928849" y="1144362"/>
                  <a:pt x="927862" y="1145350"/>
                  <a:pt x="926380" y="1145350"/>
                </a:cubicBezTo>
                <a:cubicBezTo>
                  <a:pt x="925146" y="1145350"/>
                  <a:pt x="924159" y="1144362"/>
                  <a:pt x="924159" y="1143128"/>
                </a:cubicBezTo>
                <a:cubicBezTo>
                  <a:pt x="924159" y="1141893"/>
                  <a:pt x="925146" y="1140656"/>
                  <a:pt x="926380" y="1140656"/>
                </a:cubicBezTo>
                <a:close/>
                <a:moveTo>
                  <a:pt x="395933" y="1137694"/>
                </a:moveTo>
                <a:cubicBezTo>
                  <a:pt x="401116" y="1137694"/>
                  <a:pt x="405557" y="1141887"/>
                  <a:pt x="405557" y="1147321"/>
                </a:cubicBezTo>
                <a:cubicBezTo>
                  <a:pt x="405557" y="1152504"/>
                  <a:pt x="401362" y="1156946"/>
                  <a:pt x="395933" y="1156946"/>
                </a:cubicBezTo>
                <a:cubicBezTo>
                  <a:pt x="390747" y="1156946"/>
                  <a:pt x="386305" y="1152750"/>
                  <a:pt x="386305" y="1147321"/>
                </a:cubicBezTo>
                <a:cubicBezTo>
                  <a:pt x="386305" y="1142136"/>
                  <a:pt x="390501" y="1137694"/>
                  <a:pt x="395933" y="1137694"/>
                </a:cubicBezTo>
                <a:close/>
                <a:moveTo>
                  <a:pt x="719535" y="1130784"/>
                </a:moveTo>
                <a:cubicBezTo>
                  <a:pt x="720768" y="1130784"/>
                  <a:pt x="722002" y="1131770"/>
                  <a:pt x="722002" y="1133250"/>
                </a:cubicBezTo>
                <a:cubicBezTo>
                  <a:pt x="722002" y="1134732"/>
                  <a:pt x="720768" y="1135719"/>
                  <a:pt x="719535" y="1135719"/>
                </a:cubicBezTo>
                <a:cubicBezTo>
                  <a:pt x="718299" y="1135719"/>
                  <a:pt x="717065" y="1134732"/>
                  <a:pt x="717065" y="1133250"/>
                </a:cubicBezTo>
                <a:cubicBezTo>
                  <a:pt x="717065" y="1132017"/>
                  <a:pt x="718053" y="1130784"/>
                  <a:pt x="719535" y="1130784"/>
                </a:cubicBezTo>
                <a:close/>
                <a:moveTo>
                  <a:pt x="1787348" y="1130051"/>
                </a:moveTo>
                <a:cubicBezTo>
                  <a:pt x="1789077" y="1130051"/>
                  <a:pt x="1790557" y="1131533"/>
                  <a:pt x="1790557" y="1133255"/>
                </a:cubicBezTo>
                <a:cubicBezTo>
                  <a:pt x="1790557" y="1134984"/>
                  <a:pt x="1789077" y="1136461"/>
                  <a:pt x="1787348" y="1136461"/>
                </a:cubicBezTo>
                <a:cubicBezTo>
                  <a:pt x="1785621" y="1136461"/>
                  <a:pt x="1784141" y="1134984"/>
                  <a:pt x="1784141" y="1133255"/>
                </a:cubicBezTo>
                <a:cubicBezTo>
                  <a:pt x="1784141" y="1131533"/>
                  <a:pt x="1785621" y="1130051"/>
                  <a:pt x="1787348" y="1130051"/>
                </a:cubicBezTo>
                <a:close/>
                <a:moveTo>
                  <a:pt x="1134709" y="1128318"/>
                </a:moveTo>
                <a:cubicBezTo>
                  <a:pt x="1138410" y="1128318"/>
                  <a:pt x="1141372" y="1131281"/>
                  <a:pt x="1141372" y="1134978"/>
                </a:cubicBezTo>
                <a:cubicBezTo>
                  <a:pt x="1141372" y="1138681"/>
                  <a:pt x="1138410" y="1141649"/>
                  <a:pt x="1134709" y="1141649"/>
                </a:cubicBezTo>
                <a:cubicBezTo>
                  <a:pt x="1131006" y="1141649"/>
                  <a:pt x="1128044" y="1138681"/>
                  <a:pt x="1128044" y="1134978"/>
                </a:cubicBezTo>
                <a:cubicBezTo>
                  <a:pt x="1128044" y="1131281"/>
                  <a:pt x="1131006" y="1128318"/>
                  <a:pt x="1134709" y="1128318"/>
                </a:cubicBezTo>
                <a:close/>
                <a:moveTo>
                  <a:pt x="1327243" y="1121407"/>
                </a:moveTo>
                <a:cubicBezTo>
                  <a:pt x="1327735" y="1121407"/>
                  <a:pt x="1328230" y="1121904"/>
                  <a:pt x="1328230" y="1122396"/>
                </a:cubicBezTo>
                <a:cubicBezTo>
                  <a:pt x="1328476" y="1122887"/>
                  <a:pt x="1327984" y="1123383"/>
                  <a:pt x="1327243" y="1123383"/>
                </a:cubicBezTo>
                <a:cubicBezTo>
                  <a:pt x="1326502" y="1123383"/>
                  <a:pt x="1326255" y="1122887"/>
                  <a:pt x="1326255" y="1122396"/>
                </a:cubicBezTo>
                <a:cubicBezTo>
                  <a:pt x="1326255" y="1121904"/>
                  <a:pt x="1326748" y="1121407"/>
                  <a:pt x="1327243" y="1121407"/>
                </a:cubicBezTo>
                <a:close/>
                <a:moveTo>
                  <a:pt x="2741839" y="1120190"/>
                </a:moveTo>
                <a:cubicBezTo>
                  <a:pt x="2746776" y="1120190"/>
                  <a:pt x="2750725" y="1124137"/>
                  <a:pt x="2750725" y="1129075"/>
                </a:cubicBezTo>
                <a:cubicBezTo>
                  <a:pt x="2750725" y="1134006"/>
                  <a:pt x="2746776" y="1137947"/>
                  <a:pt x="2741839" y="1137947"/>
                </a:cubicBezTo>
                <a:cubicBezTo>
                  <a:pt x="2736902" y="1137947"/>
                  <a:pt x="2732953" y="1134006"/>
                  <a:pt x="2732953" y="1129075"/>
                </a:cubicBezTo>
                <a:cubicBezTo>
                  <a:pt x="2732953" y="1124137"/>
                  <a:pt x="2736902" y="1120190"/>
                  <a:pt x="2741839" y="1120190"/>
                </a:cubicBezTo>
                <a:close/>
                <a:moveTo>
                  <a:pt x="2989907" y="1119947"/>
                </a:moveTo>
                <a:cubicBezTo>
                  <a:pt x="2999534" y="1119947"/>
                  <a:pt x="3007679" y="1127848"/>
                  <a:pt x="3007679" y="1137457"/>
                </a:cubicBezTo>
                <a:cubicBezTo>
                  <a:pt x="3007679" y="1147102"/>
                  <a:pt x="2999780" y="1155000"/>
                  <a:pt x="2989907" y="1155000"/>
                </a:cubicBezTo>
                <a:cubicBezTo>
                  <a:pt x="2980280" y="1155000"/>
                  <a:pt x="2972381" y="1147102"/>
                  <a:pt x="2972381" y="1137457"/>
                </a:cubicBezTo>
                <a:cubicBezTo>
                  <a:pt x="2972381" y="1127848"/>
                  <a:pt x="2980280" y="1119947"/>
                  <a:pt x="2989907" y="1119947"/>
                </a:cubicBezTo>
                <a:close/>
                <a:moveTo>
                  <a:pt x="2490065" y="1118210"/>
                </a:moveTo>
                <a:cubicBezTo>
                  <a:pt x="2490312" y="1118210"/>
                  <a:pt x="2490561" y="1118456"/>
                  <a:pt x="2490561" y="1118456"/>
                </a:cubicBezTo>
                <a:cubicBezTo>
                  <a:pt x="2490312" y="1118456"/>
                  <a:pt x="2490312" y="1118707"/>
                  <a:pt x="2490065" y="1118707"/>
                </a:cubicBezTo>
                <a:cubicBezTo>
                  <a:pt x="2489819" y="1118707"/>
                  <a:pt x="2489819" y="1118456"/>
                  <a:pt x="2489819" y="1118456"/>
                </a:cubicBezTo>
                <a:cubicBezTo>
                  <a:pt x="2489819" y="1118210"/>
                  <a:pt x="2490065" y="1118210"/>
                  <a:pt x="2490065" y="1118210"/>
                </a:cubicBezTo>
                <a:close/>
                <a:moveTo>
                  <a:pt x="2222994" y="1116484"/>
                </a:moveTo>
                <a:cubicBezTo>
                  <a:pt x="2224357" y="1116484"/>
                  <a:pt x="2225461" y="1117586"/>
                  <a:pt x="2225461" y="1118949"/>
                </a:cubicBezTo>
                <a:cubicBezTo>
                  <a:pt x="2225461" y="1120311"/>
                  <a:pt x="2224357" y="1121417"/>
                  <a:pt x="2222994" y="1121417"/>
                </a:cubicBezTo>
                <a:cubicBezTo>
                  <a:pt x="2221628" y="1121417"/>
                  <a:pt x="2220524" y="1120313"/>
                  <a:pt x="2220524" y="1118949"/>
                </a:cubicBezTo>
                <a:cubicBezTo>
                  <a:pt x="2220524" y="1117586"/>
                  <a:pt x="2221628" y="1116484"/>
                  <a:pt x="2222994" y="1116484"/>
                </a:cubicBezTo>
                <a:close/>
                <a:moveTo>
                  <a:pt x="55051" y="1111776"/>
                </a:moveTo>
                <a:lnTo>
                  <a:pt x="55297" y="1112021"/>
                </a:lnTo>
                <a:lnTo>
                  <a:pt x="55051" y="1112021"/>
                </a:lnTo>
                <a:close/>
                <a:moveTo>
                  <a:pt x="3485797" y="1107124"/>
                </a:moveTo>
                <a:cubicBezTo>
                  <a:pt x="3499374" y="1107124"/>
                  <a:pt x="3510235" y="1118226"/>
                  <a:pt x="3510235" y="1131556"/>
                </a:cubicBezTo>
                <a:cubicBezTo>
                  <a:pt x="3510235" y="1144893"/>
                  <a:pt x="3499125" y="1155997"/>
                  <a:pt x="3485797" y="1155997"/>
                </a:cubicBezTo>
                <a:cubicBezTo>
                  <a:pt x="3472221" y="1155997"/>
                  <a:pt x="3461360" y="1144893"/>
                  <a:pt x="3461360" y="1131556"/>
                </a:cubicBezTo>
                <a:cubicBezTo>
                  <a:pt x="3461360" y="1117982"/>
                  <a:pt x="3472221" y="1107124"/>
                  <a:pt x="3485797" y="1107124"/>
                </a:cubicBezTo>
                <a:close/>
                <a:moveTo>
                  <a:pt x="3244145" y="1099716"/>
                </a:moveTo>
                <a:cubicBezTo>
                  <a:pt x="3258955" y="1099716"/>
                  <a:pt x="3271050" y="1111809"/>
                  <a:pt x="3271050" y="1126614"/>
                </a:cubicBezTo>
                <a:cubicBezTo>
                  <a:pt x="3271298" y="1141430"/>
                  <a:pt x="3258955" y="1153529"/>
                  <a:pt x="3244145" y="1153529"/>
                </a:cubicBezTo>
                <a:cubicBezTo>
                  <a:pt x="3229335" y="1153529"/>
                  <a:pt x="3217241" y="1141430"/>
                  <a:pt x="3217241" y="1126614"/>
                </a:cubicBezTo>
                <a:cubicBezTo>
                  <a:pt x="3217241" y="1111809"/>
                  <a:pt x="3229335" y="1099716"/>
                  <a:pt x="3244145" y="1099716"/>
                </a:cubicBezTo>
                <a:close/>
                <a:moveTo>
                  <a:pt x="1960124" y="1097474"/>
                </a:moveTo>
                <a:cubicBezTo>
                  <a:pt x="1962032" y="1097474"/>
                  <a:pt x="1963578" y="1099020"/>
                  <a:pt x="1963578" y="1100931"/>
                </a:cubicBezTo>
                <a:cubicBezTo>
                  <a:pt x="1963578" y="1102839"/>
                  <a:pt x="1962032" y="1104385"/>
                  <a:pt x="1960124" y="1104385"/>
                </a:cubicBezTo>
                <a:cubicBezTo>
                  <a:pt x="1958218" y="1104385"/>
                  <a:pt x="1956672" y="1102839"/>
                  <a:pt x="1956672" y="1100931"/>
                </a:cubicBezTo>
                <a:cubicBezTo>
                  <a:pt x="1956672" y="1099020"/>
                  <a:pt x="1958218" y="1097474"/>
                  <a:pt x="1960124" y="1097474"/>
                </a:cubicBezTo>
                <a:close/>
                <a:moveTo>
                  <a:pt x="505526" y="1096721"/>
                </a:moveTo>
                <a:cubicBezTo>
                  <a:pt x="512435" y="1096721"/>
                  <a:pt x="517866" y="1102153"/>
                  <a:pt x="517866" y="1109064"/>
                </a:cubicBezTo>
                <a:cubicBezTo>
                  <a:pt x="517866" y="1115726"/>
                  <a:pt x="512435" y="1121402"/>
                  <a:pt x="505526" y="1121402"/>
                </a:cubicBezTo>
                <a:cubicBezTo>
                  <a:pt x="498615" y="1121402"/>
                  <a:pt x="493183" y="1115973"/>
                  <a:pt x="493183" y="1109064"/>
                </a:cubicBezTo>
                <a:cubicBezTo>
                  <a:pt x="493183" y="1102153"/>
                  <a:pt x="498615" y="1096721"/>
                  <a:pt x="505526" y="1096721"/>
                </a:cubicBezTo>
                <a:close/>
                <a:moveTo>
                  <a:pt x="169831" y="1092275"/>
                </a:moveTo>
                <a:cubicBezTo>
                  <a:pt x="170323" y="1092275"/>
                  <a:pt x="170818" y="1092771"/>
                  <a:pt x="170818" y="1093263"/>
                </a:cubicBezTo>
                <a:cubicBezTo>
                  <a:pt x="171065" y="1093758"/>
                  <a:pt x="170572" y="1094251"/>
                  <a:pt x="169831" y="1094251"/>
                </a:cubicBezTo>
                <a:cubicBezTo>
                  <a:pt x="169336" y="1094251"/>
                  <a:pt x="168844" y="1093758"/>
                  <a:pt x="168844" y="1093263"/>
                </a:cubicBezTo>
                <a:cubicBezTo>
                  <a:pt x="168844" y="1092771"/>
                  <a:pt x="169336" y="1092275"/>
                  <a:pt x="169831" y="1092275"/>
                </a:cubicBezTo>
                <a:close/>
                <a:moveTo>
                  <a:pt x="1512370" y="1088087"/>
                </a:moveTo>
                <a:cubicBezTo>
                  <a:pt x="1520515" y="1088087"/>
                  <a:pt x="1527180" y="1094753"/>
                  <a:pt x="1527180" y="1102898"/>
                </a:cubicBezTo>
                <a:cubicBezTo>
                  <a:pt x="1527180" y="1111042"/>
                  <a:pt x="1520515" y="1117707"/>
                  <a:pt x="1512370" y="1117707"/>
                </a:cubicBezTo>
                <a:cubicBezTo>
                  <a:pt x="1504225" y="1117707"/>
                  <a:pt x="1497559" y="1111042"/>
                  <a:pt x="1497559" y="1102898"/>
                </a:cubicBezTo>
                <a:cubicBezTo>
                  <a:pt x="1497559" y="1094753"/>
                  <a:pt x="1504225" y="1088087"/>
                  <a:pt x="1512370" y="1088087"/>
                </a:cubicBezTo>
                <a:close/>
                <a:moveTo>
                  <a:pt x="1023882" y="1078456"/>
                </a:moveTo>
                <a:cubicBezTo>
                  <a:pt x="1024870" y="1078456"/>
                  <a:pt x="1025857" y="1079443"/>
                  <a:pt x="1025857" y="1080431"/>
                </a:cubicBezTo>
                <a:cubicBezTo>
                  <a:pt x="1025857" y="1081418"/>
                  <a:pt x="1024870" y="1082405"/>
                  <a:pt x="1023882" y="1082405"/>
                </a:cubicBezTo>
                <a:cubicBezTo>
                  <a:pt x="1022895" y="1082405"/>
                  <a:pt x="1021908" y="1081418"/>
                  <a:pt x="1021908" y="1080431"/>
                </a:cubicBezTo>
                <a:cubicBezTo>
                  <a:pt x="1021908" y="1079443"/>
                  <a:pt x="1022895" y="1078456"/>
                  <a:pt x="1023882" y="1078456"/>
                </a:cubicBezTo>
                <a:close/>
                <a:moveTo>
                  <a:pt x="821724" y="1073764"/>
                </a:moveTo>
                <a:cubicBezTo>
                  <a:pt x="824439" y="1073764"/>
                  <a:pt x="826414" y="1075985"/>
                  <a:pt x="826414" y="1078701"/>
                </a:cubicBezTo>
                <a:cubicBezTo>
                  <a:pt x="826660" y="1081417"/>
                  <a:pt x="824439" y="1083637"/>
                  <a:pt x="821724" y="1083637"/>
                </a:cubicBezTo>
                <a:cubicBezTo>
                  <a:pt x="819008" y="1083637"/>
                  <a:pt x="816787" y="1081417"/>
                  <a:pt x="816787" y="1078701"/>
                </a:cubicBezTo>
                <a:cubicBezTo>
                  <a:pt x="816787" y="1075985"/>
                  <a:pt x="819008" y="1073764"/>
                  <a:pt x="821724" y="1073764"/>
                </a:cubicBezTo>
                <a:close/>
                <a:moveTo>
                  <a:pt x="2647547" y="1070085"/>
                </a:moveTo>
                <a:cubicBezTo>
                  <a:pt x="2650509" y="1070085"/>
                  <a:pt x="2652976" y="1072555"/>
                  <a:pt x="2652976" y="1075516"/>
                </a:cubicBezTo>
                <a:cubicBezTo>
                  <a:pt x="2652730" y="1078476"/>
                  <a:pt x="2650509" y="1080945"/>
                  <a:pt x="2647547" y="1080945"/>
                </a:cubicBezTo>
                <a:cubicBezTo>
                  <a:pt x="2644585" y="1080945"/>
                  <a:pt x="2642115" y="1078476"/>
                  <a:pt x="2642115" y="1075516"/>
                </a:cubicBezTo>
                <a:cubicBezTo>
                  <a:pt x="2642115" y="1072555"/>
                  <a:pt x="2644585" y="1070085"/>
                  <a:pt x="2647547" y="1070085"/>
                </a:cubicBezTo>
                <a:close/>
                <a:moveTo>
                  <a:pt x="2895862" y="1067373"/>
                </a:moveTo>
                <a:cubicBezTo>
                  <a:pt x="2904747" y="1067373"/>
                  <a:pt x="2912154" y="1074531"/>
                  <a:pt x="2912154" y="1083666"/>
                </a:cubicBezTo>
                <a:cubicBezTo>
                  <a:pt x="2911908" y="1092552"/>
                  <a:pt x="2904747" y="1099709"/>
                  <a:pt x="2895862" y="1099709"/>
                </a:cubicBezTo>
                <a:cubicBezTo>
                  <a:pt x="2886976" y="1099709"/>
                  <a:pt x="2879818" y="1092552"/>
                  <a:pt x="2879818" y="1083666"/>
                </a:cubicBezTo>
                <a:cubicBezTo>
                  <a:pt x="2879818" y="1074780"/>
                  <a:pt x="2886976" y="1067373"/>
                  <a:pt x="2895862" y="1067373"/>
                </a:cubicBezTo>
                <a:close/>
                <a:moveTo>
                  <a:pt x="1691576" y="1067355"/>
                </a:moveTo>
                <a:cubicBezTo>
                  <a:pt x="1696759" y="1067355"/>
                  <a:pt x="1700955" y="1071551"/>
                  <a:pt x="1700955" y="1076736"/>
                </a:cubicBezTo>
                <a:cubicBezTo>
                  <a:pt x="1700955" y="1081919"/>
                  <a:pt x="1696759" y="1086115"/>
                  <a:pt x="1691576" y="1086115"/>
                </a:cubicBezTo>
                <a:cubicBezTo>
                  <a:pt x="1686391" y="1086115"/>
                  <a:pt x="1682195" y="1081919"/>
                  <a:pt x="1682195" y="1076736"/>
                </a:cubicBezTo>
                <a:cubicBezTo>
                  <a:pt x="1682195" y="1071551"/>
                  <a:pt x="1686391" y="1067355"/>
                  <a:pt x="1691576" y="1067355"/>
                </a:cubicBezTo>
                <a:close/>
                <a:moveTo>
                  <a:pt x="3140721" y="1066883"/>
                </a:moveTo>
                <a:cubicBezTo>
                  <a:pt x="3153310" y="1066883"/>
                  <a:pt x="3163676" y="1077249"/>
                  <a:pt x="3163676" y="1089838"/>
                </a:cubicBezTo>
                <a:cubicBezTo>
                  <a:pt x="3163430" y="1102675"/>
                  <a:pt x="3153310" y="1112796"/>
                  <a:pt x="3140721" y="1112796"/>
                </a:cubicBezTo>
                <a:cubicBezTo>
                  <a:pt x="3128132" y="1112796"/>
                  <a:pt x="3117766" y="1102429"/>
                  <a:pt x="3117766" y="1089838"/>
                </a:cubicBezTo>
                <a:cubicBezTo>
                  <a:pt x="3117766" y="1077249"/>
                  <a:pt x="3127886" y="1066883"/>
                  <a:pt x="3140721" y="1066883"/>
                </a:cubicBezTo>
                <a:close/>
                <a:moveTo>
                  <a:pt x="283127" y="1064876"/>
                </a:moveTo>
                <a:cubicBezTo>
                  <a:pt x="284360" y="1064876"/>
                  <a:pt x="285350" y="1065863"/>
                  <a:pt x="285350" y="1067097"/>
                </a:cubicBezTo>
                <a:cubicBezTo>
                  <a:pt x="285350" y="1068331"/>
                  <a:pt x="284360" y="1069321"/>
                  <a:pt x="283127" y="1069321"/>
                </a:cubicBezTo>
                <a:cubicBezTo>
                  <a:pt x="281893" y="1069321"/>
                  <a:pt x="280906" y="1068331"/>
                  <a:pt x="280906" y="1067097"/>
                </a:cubicBezTo>
                <a:cubicBezTo>
                  <a:pt x="280906" y="1065863"/>
                  <a:pt x="281893" y="1064876"/>
                  <a:pt x="283127" y="1064876"/>
                </a:cubicBezTo>
                <a:close/>
                <a:moveTo>
                  <a:pt x="2395781" y="1063662"/>
                </a:moveTo>
                <a:cubicBezTo>
                  <a:pt x="2396027" y="1063662"/>
                  <a:pt x="2396027" y="1063908"/>
                  <a:pt x="2396027" y="1063908"/>
                </a:cubicBezTo>
                <a:cubicBezTo>
                  <a:pt x="2396027" y="1064154"/>
                  <a:pt x="2395781" y="1064154"/>
                  <a:pt x="2395781" y="1064154"/>
                </a:cubicBezTo>
                <a:cubicBezTo>
                  <a:pt x="2395532" y="1063908"/>
                  <a:pt x="2395781" y="1063662"/>
                  <a:pt x="2395781" y="1063662"/>
                </a:cubicBezTo>
                <a:close/>
                <a:moveTo>
                  <a:pt x="2127963" y="1059215"/>
                </a:moveTo>
                <a:cubicBezTo>
                  <a:pt x="2130925" y="1059215"/>
                  <a:pt x="2133146" y="1061437"/>
                  <a:pt x="2133146" y="1064399"/>
                </a:cubicBezTo>
                <a:cubicBezTo>
                  <a:pt x="2133394" y="1067361"/>
                  <a:pt x="2130925" y="1069830"/>
                  <a:pt x="2127963" y="1069830"/>
                </a:cubicBezTo>
                <a:cubicBezTo>
                  <a:pt x="2125001" y="1069830"/>
                  <a:pt x="2122780" y="1067361"/>
                  <a:pt x="2122780" y="1064399"/>
                </a:cubicBezTo>
                <a:cubicBezTo>
                  <a:pt x="2122780" y="1061437"/>
                  <a:pt x="2125250" y="1059215"/>
                  <a:pt x="2127963" y="1059215"/>
                </a:cubicBezTo>
                <a:close/>
                <a:moveTo>
                  <a:pt x="1227273" y="1056244"/>
                </a:moveTo>
                <a:cubicBezTo>
                  <a:pt x="1231468" y="1056244"/>
                  <a:pt x="1234925" y="1059698"/>
                  <a:pt x="1234925" y="1063896"/>
                </a:cubicBezTo>
                <a:cubicBezTo>
                  <a:pt x="1234925" y="1068091"/>
                  <a:pt x="1231468" y="1071546"/>
                  <a:pt x="1227273" y="1071546"/>
                </a:cubicBezTo>
                <a:cubicBezTo>
                  <a:pt x="1223075" y="1071546"/>
                  <a:pt x="1219620" y="1068091"/>
                  <a:pt x="1219620" y="1063896"/>
                </a:cubicBezTo>
                <a:cubicBezTo>
                  <a:pt x="1219620" y="1059698"/>
                  <a:pt x="1223075" y="1056244"/>
                  <a:pt x="1227273" y="1056244"/>
                </a:cubicBezTo>
                <a:close/>
                <a:moveTo>
                  <a:pt x="3391507" y="1053065"/>
                </a:moveTo>
                <a:cubicBezTo>
                  <a:pt x="3404835" y="1053065"/>
                  <a:pt x="3415696" y="1063927"/>
                  <a:pt x="3415696" y="1077254"/>
                </a:cubicBezTo>
                <a:cubicBezTo>
                  <a:pt x="3415696" y="1090582"/>
                  <a:pt x="3404835" y="1101446"/>
                  <a:pt x="3391507" y="1101446"/>
                </a:cubicBezTo>
                <a:cubicBezTo>
                  <a:pt x="3378177" y="1101446"/>
                  <a:pt x="3367316" y="1090582"/>
                  <a:pt x="3367316" y="1077254"/>
                </a:cubicBezTo>
                <a:cubicBezTo>
                  <a:pt x="3367316" y="1063927"/>
                  <a:pt x="3378177" y="1053065"/>
                  <a:pt x="3391507" y="1053065"/>
                </a:cubicBezTo>
                <a:close/>
                <a:moveTo>
                  <a:pt x="612653" y="1049080"/>
                </a:moveTo>
                <a:cubicBezTo>
                  <a:pt x="621047" y="1049080"/>
                  <a:pt x="627712" y="1055745"/>
                  <a:pt x="627712" y="1064137"/>
                </a:cubicBezTo>
                <a:cubicBezTo>
                  <a:pt x="627712" y="1072530"/>
                  <a:pt x="621047" y="1079195"/>
                  <a:pt x="612653" y="1079195"/>
                </a:cubicBezTo>
                <a:cubicBezTo>
                  <a:pt x="604262" y="1079195"/>
                  <a:pt x="597596" y="1072530"/>
                  <a:pt x="597596" y="1064137"/>
                </a:cubicBezTo>
                <a:cubicBezTo>
                  <a:pt x="597596" y="1055745"/>
                  <a:pt x="604262" y="1049080"/>
                  <a:pt x="612653" y="1049080"/>
                </a:cubicBezTo>
                <a:close/>
                <a:moveTo>
                  <a:pt x="1414870" y="1044643"/>
                </a:moveTo>
                <a:cubicBezTo>
                  <a:pt x="1415363" y="1044643"/>
                  <a:pt x="1415609" y="1044889"/>
                  <a:pt x="1415609" y="1045384"/>
                </a:cubicBezTo>
                <a:cubicBezTo>
                  <a:pt x="1415609" y="1045877"/>
                  <a:pt x="1415363" y="1046123"/>
                  <a:pt x="1414870" y="1046123"/>
                </a:cubicBezTo>
                <a:cubicBezTo>
                  <a:pt x="1414375" y="1046123"/>
                  <a:pt x="1414129" y="1045877"/>
                  <a:pt x="1414129" y="1045384"/>
                </a:cubicBezTo>
                <a:cubicBezTo>
                  <a:pt x="1414129" y="1044889"/>
                  <a:pt x="1414375" y="1044643"/>
                  <a:pt x="1414870" y="1044643"/>
                </a:cubicBezTo>
                <a:close/>
                <a:moveTo>
                  <a:pt x="1864608" y="1041194"/>
                </a:moveTo>
                <a:cubicBezTo>
                  <a:pt x="1867322" y="1041194"/>
                  <a:pt x="1869541" y="1043415"/>
                  <a:pt x="1869541" y="1046131"/>
                </a:cubicBezTo>
                <a:cubicBezTo>
                  <a:pt x="1869541" y="1048847"/>
                  <a:pt x="1867322" y="1051068"/>
                  <a:pt x="1864608" y="1051068"/>
                </a:cubicBezTo>
                <a:cubicBezTo>
                  <a:pt x="1861892" y="1051068"/>
                  <a:pt x="1859671" y="1048847"/>
                  <a:pt x="1859671" y="1046131"/>
                </a:cubicBezTo>
                <a:cubicBezTo>
                  <a:pt x="1859671" y="1043415"/>
                  <a:pt x="1861892" y="1041194"/>
                  <a:pt x="1864608" y="1041194"/>
                </a:cubicBezTo>
                <a:close/>
                <a:moveTo>
                  <a:pt x="394448" y="1030319"/>
                </a:moveTo>
                <a:cubicBezTo>
                  <a:pt x="396177" y="1030319"/>
                  <a:pt x="397656" y="1031799"/>
                  <a:pt x="397656" y="1033527"/>
                </a:cubicBezTo>
                <a:cubicBezTo>
                  <a:pt x="397905" y="1035255"/>
                  <a:pt x="396423" y="1036735"/>
                  <a:pt x="394448" y="1036735"/>
                </a:cubicBezTo>
                <a:cubicBezTo>
                  <a:pt x="392720" y="1036735"/>
                  <a:pt x="391240" y="1035255"/>
                  <a:pt x="391240" y="1033527"/>
                </a:cubicBezTo>
                <a:cubicBezTo>
                  <a:pt x="391240" y="1031799"/>
                  <a:pt x="392720" y="1030319"/>
                  <a:pt x="394448" y="1030319"/>
                </a:cubicBezTo>
                <a:close/>
                <a:moveTo>
                  <a:pt x="2290874" y="1019725"/>
                </a:moveTo>
                <a:cubicBezTo>
                  <a:pt x="2293836" y="1019725"/>
                  <a:pt x="2296057" y="1021946"/>
                  <a:pt x="2296057" y="1024907"/>
                </a:cubicBezTo>
                <a:cubicBezTo>
                  <a:pt x="2296057" y="1027870"/>
                  <a:pt x="2293590" y="1030090"/>
                  <a:pt x="2290874" y="1030090"/>
                </a:cubicBezTo>
                <a:cubicBezTo>
                  <a:pt x="2287912" y="1030090"/>
                  <a:pt x="2285691" y="1027870"/>
                  <a:pt x="2285691" y="1024907"/>
                </a:cubicBezTo>
                <a:cubicBezTo>
                  <a:pt x="2285691" y="1021946"/>
                  <a:pt x="2287912" y="1019725"/>
                  <a:pt x="2290874" y="1019725"/>
                </a:cubicBezTo>
                <a:close/>
                <a:moveTo>
                  <a:pt x="2553750" y="1018246"/>
                </a:moveTo>
                <a:cubicBezTo>
                  <a:pt x="2555230" y="1018246"/>
                  <a:pt x="2556217" y="1019480"/>
                  <a:pt x="2556217" y="1020962"/>
                </a:cubicBezTo>
                <a:cubicBezTo>
                  <a:pt x="2556217" y="1022195"/>
                  <a:pt x="2554984" y="1023429"/>
                  <a:pt x="2553750" y="1023429"/>
                </a:cubicBezTo>
                <a:cubicBezTo>
                  <a:pt x="2552268" y="1023429"/>
                  <a:pt x="2551280" y="1022195"/>
                  <a:pt x="2551280" y="1020962"/>
                </a:cubicBezTo>
                <a:cubicBezTo>
                  <a:pt x="2551280" y="1019480"/>
                  <a:pt x="2552514" y="1018246"/>
                  <a:pt x="2553750" y="1018246"/>
                </a:cubicBezTo>
                <a:close/>
                <a:moveTo>
                  <a:pt x="2801818" y="1018004"/>
                </a:moveTo>
                <a:cubicBezTo>
                  <a:pt x="2808237" y="1018004"/>
                  <a:pt x="2813420" y="1023188"/>
                  <a:pt x="2813420" y="1029360"/>
                </a:cubicBezTo>
                <a:cubicBezTo>
                  <a:pt x="2813174" y="1035776"/>
                  <a:pt x="2807991" y="1040713"/>
                  <a:pt x="2801818" y="1040713"/>
                </a:cubicBezTo>
                <a:cubicBezTo>
                  <a:pt x="2795648" y="1040713"/>
                  <a:pt x="2790465" y="1035530"/>
                  <a:pt x="2790465" y="1029360"/>
                </a:cubicBezTo>
                <a:cubicBezTo>
                  <a:pt x="2790465" y="1022941"/>
                  <a:pt x="2795648" y="1018004"/>
                  <a:pt x="2801818" y="1018004"/>
                </a:cubicBezTo>
                <a:close/>
                <a:moveTo>
                  <a:pt x="3046432" y="1017269"/>
                </a:moveTo>
                <a:cubicBezTo>
                  <a:pt x="3056554" y="1017269"/>
                  <a:pt x="3064945" y="1025413"/>
                  <a:pt x="3064945" y="1035781"/>
                </a:cubicBezTo>
                <a:cubicBezTo>
                  <a:pt x="3064945" y="1046147"/>
                  <a:pt x="3056554" y="1054295"/>
                  <a:pt x="3046432" y="1054295"/>
                </a:cubicBezTo>
                <a:cubicBezTo>
                  <a:pt x="3036312" y="1054295"/>
                  <a:pt x="3028167" y="1045901"/>
                  <a:pt x="3028167" y="1035781"/>
                </a:cubicBezTo>
                <a:cubicBezTo>
                  <a:pt x="3028167" y="1025659"/>
                  <a:pt x="3036312" y="1017269"/>
                  <a:pt x="3046432" y="1017269"/>
                </a:cubicBezTo>
                <a:close/>
                <a:moveTo>
                  <a:pt x="1117677" y="1008601"/>
                </a:moveTo>
                <a:cubicBezTo>
                  <a:pt x="1119652" y="1008601"/>
                  <a:pt x="1121381" y="1010330"/>
                  <a:pt x="1121381" y="1012305"/>
                </a:cubicBezTo>
                <a:cubicBezTo>
                  <a:pt x="1121381" y="1014526"/>
                  <a:pt x="1119652" y="1016008"/>
                  <a:pt x="1117677" y="1016008"/>
                </a:cubicBezTo>
                <a:cubicBezTo>
                  <a:pt x="1115703" y="1016008"/>
                  <a:pt x="1113974" y="1014280"/>
                  <a:pt x="1113974" y="1012305"/>
                </a:cubicBezTo>
                <a:cubicBezTo>
                  <a:pt x="1113974" y="1010330"/>
                  <a:pt x="1115703" y="1008601"/>
                  <a:pt x="1117677" y="1008601"/>
                </a:cubicBezTo>
                <a:close/>
                <a:moveTo>
                  <a:pt x="920704" y="1006874"/>
                </a:moveTo>
                <a:cubicBezTo>
                  <a:pt x="927120" y="1006874"/>
                  <a:pt x="932305" y="1012057"/>
                  <a:pt x="932305" y="1018476"/>
                </a:cubicBezTo>
                <a:cubicBezTo>
                  <a:pt x="932552" y="1024892"/>
                  <a:pt x="927120" y="1030078"/>
                  <a:pt x="920704" y="1030078"/>
                </a:cubicBezTo>
                <a:cubicBezTo>
                  <a:pt x="914285" y="1030078"/>
                  <a:pt x="909102" y="1024892"/>
                  <a:pt x="909102" y="1018476"/>
                </a:cubicBezTo>
                <a:cubicBezTo>
                  <a:pt x="909102" y="1012057"/>
                  <a:pt x="914285" y="1006874"/>
                  <a:pt x="920704" y="1006874"/>
                </a:cubicBezTo>
                <a:close/>
                <a:moveTo>
                  <a:pt x="1595061" y="1005397"/>
                </a:moveTo>
                <a:cubicBezTo>
                  <a:pt x="1603699" y="1005397"/>
                  <a:pt x="1610610" y="1012309"/>
                  <a:pt x="1610610" y="1020949"/>
                </a:cubicBezTo>
                <a:cubicBezTo>
                  <a:pt x="1610610" y="1029587"/>
                  <a:pt x="1603453" y="1036498"/>
                  <a:pt x="1595061" y="1036498"/>
                </a:cubicBezTo>
                <a:cubicBezTo>
                  <a:pt x="1586421" y="1036498"/>
                  <a:pt x="1579510" y="1029587"/>
                  <a:pt x="1579510" y="1020949"/>
                </a:cubicBezTo>
                <a:cubicBezTo>
                  <a:pt x="1579510" y="1012309"/>
                  <a:pt x="1586421" y="1005397"/>
                  <a:pt x="1595061" y="1005397"/>
                </a:cubicBezTo>
                <a:close/>
                <a:moveTo>
                  <a:pt x="2032931" y="1003922"/>
                </a:moveTo>
                <a:cubicBezTo>
                  <a:pt x="2036388" y="1003922"/>
                  <a:pt x="2039350" y="1006885"/>
                  <a:pt x="2039350" y="1010339"/>
                </a:cubicBezTo>
                <a:cubicBezTo>
                  <a:pt x="2039350" y="1013797"/>
                  <a:pt x="2036388" y="1016758"/>
                  <a:pt x="2032931" y="1016758"/>
                </a:cubicBezTo>
                <a:cubicBezTo>
                  <a:pt x="2029476" y="1016758"/>
                  <a:pt x="2026514" y="1013797"/>
                  <a:pt x="2026514" y="1010339"/>
                </a:cubicBezTo>
                <a:cubicBezTo>
                  <a:pt x="2026514" y="1006885"/>
                  <a:pt x="2029476" y="1003922"/>
                  <a:pt x="2032931" y="1003922"/>
                </a:cubicBezTo>
                <a:close/>
                <a:moveTo>
                  <a:pt x="3536149" y="997532"/>
                </a:moveTo>
                <a:cubicBezTo>
                  <a:pt x="3552196" y="997532"/>
                  <a:pt x="3565277" y="1010613"/>
                  <a:pt x="3565277" y="1026659"/>
                </a:cubicBezTo>
                <a:cubicBezTo>
                  <a:pt x="3565277" y="1042702"/>
                  <a:pt x="3552196" y="1055783"/>
                  <a:pt x="3536149" y="1055783"/>
                </a:cubicBezTo>
                <a:cubicBezTo>
                  <a:pt x="3520106" y="1055783"/>
                  <a:pt x="3507024" y="1042702"/>
                  <a:pt x="3507024" y="1026659"/>
                </a:cubicBezTo>
                <a:cubicBezTo>
                  <a:pt x="3507024" y="1010613"/>
                  <a:pt x="3520106" y="997532"/>
                  <a:pt x="3536149" y="997532"/>
                </a:cubicBezTo>
                <a:close/>
                <a:moveTo>
                  <a:pt x="716816" y="994779"/>
                </a:moveTo>
                <a:cubicBezTo>
                  <a:pt x="726767" y="994779"/>
                  <a:pt x="734834" y="1002846"/>
                  <a:pt x="734834" y="1012798"/>
                </a:cubicBezTo>
                <a:cubicBezTo>
                  <a:pt x="734834" y="1022749"/>
                  <a:pt x="726767" y="1030816"/>
                  <a:pt x="716816" y="1030816"/>
                </a:cubicBezTo>
                <a:cubicBezTo>
                  <a:pt x="706865" y="1030816"/>
                  <a:pt x="698798" y="1022749"/>
                  <a:pt x="698798" y="1012798"/>
                </a:cubicBezTo>
                <a:cubicBezTo>
                  <a:pt x="698798" y="1002846"/>
                  <a:pt x="706865" y="994779"/>
                  <a:pt x="716816" y="994779"/>
                </a:cubicBezTo>
                <a:close/>
                <a:moveTo>
                  <a:pt x="3297216" y="994565"/>
                </a:moveTo>
                <a:cubicBezTo>
                  <a:pt x="3312767" y="994565"/>
                  <a:pt x="3325357" y="1007153"/>
                  <a:pt x="3325357" y="1022704"/>
                </a:cubicBezTo>
                <a:cubicBezTo>
                  <a:pt x="3325603" y="1038254"/>
                  <a:pt x="3312767" y="1050842"/>
                  <a:pt x="3297216" y="1050842"/>
                </a:cubicBezTo>
                <a:cubicBezTo>
                  <a:pt x="3281667" y="1050842"/>
                  <a:pt x="3269078" y="1038254"/>
                  <a:pt x="3269078" y="1022704"/>
                </a:cubicBezTo>
                <a:cubicBezTo>
                  <a:pt x="3269078" y="1007153"/>
                  <a:pt x="3281667" y="994565"/>
                  <a:pt x="3297216" y="994565"/>
                </a:cubicBezTo>
                <a:close/>
                <a:moveTo>
                  <a:pt x="503551" y="986138"/>
                </a:moveTo>
                <a:cubicBezTo>
                  <a:pt x="507254" y="986138"/>
                  <a:pt x="510462" y="989100"/>
                  <a:pt x="510462" y="993049"/>
                </a:cubicBezTo>
                <a:cubicBezTo>
                  <a:pt x="510462" y="996753"/>
                  <a:pt x="507254" y="999961"/>
                  <a:pt x="503551" y="999961"/>
                </a:cubicBezTo>
                <a:cubicBezTo>
                  <a:pt x="499847" y="999961"/>
                  <a:pt x="496639" y="996753"/>
                  <a:pt x="496639" y="993049"/>
                </a:cubicBezTo>
                <a:cubicBezTo>
                  <a:pt x="496639" y="989346"/>
                  <a:pt x="499601" y="986138"/>
                  <a:pt x="503551" y="986138"/>
                </a:cubicBezTo>
                <a:close/>
                <a:moveTo>
                  <a:pt x="54804" y="984162"/>
                </a:moveTo>
                <a:cubicBezTo>
                  <a:pt x="65170" y="984162"/>
                  <a:pt x="73317" y="992553"/>
                  <a:pt x="73317" y="1002675"/>
                </a:cubicBezTo>
                <a:cubicBezTo>
                  <a:pt x="73317" y="1012795"/>
                  <a:pt x="64924" y="1021188"/>
                  <a:pt x="54804" y="1021188"/>
                </a:cubicBezTo>
                <a:cubicBezTo>
                  <a:pt x="44436" y="1021188"/>
                  <a:pt x="36291" y="1012795"/>
                  <a:pt x="36291" y="1002675"/>
                </a:cubicBezTo>
                <a:cubicBezTo>
                  <a:pt x="36291" y="992307"/>
                  <a:pt x="44684" y="984162"/>
                  <a:pt x="54804" y="984162"/>
                </a:cubicBezTo>
                <a:close/>
                <a:moveTo>
                  <a:pt x="1316380" y="979477"/>
                </a:moveTo>
                <a:cubicBezTo>
                  <a:pt x="1321317" y="979477"/>
                  <a:pt x="1325266" y="983427"/>
                  <a:pt x="1325266" y="988364"/>
                </a:cubicBezTo>
                <a:cubicBezTo>
                  <a:pt x="1325266" y="993301"/>
                  <a:pt x="1321317" y="997250"/>
                  <a:pt x="1316380" y="997250"/>
                </a:cubicBezTo>
                <a:cubicBezTo>
                  <a:pt x="1311444" y="997250"/>
                  <a:pt x="1307494" y="993301"/>
                  <a:pt x="1307494" y="988364"/>
                </a:cubicBezTo>
                <a:cubicBezTo>
                  <a:pt x="1307494" y="983427"/>
                  <a:pt x="1311444" y="979477"/>
                  <a:pt x="1316380" y="979477"/>
                </a:cubicBezTo>
                <a:close/>
                <a:moveTo>
                  <a:pt x="1769573" y="978741"/>
                </a:moveTo>
                <a:cubicBezTo>
                  <a:pt x="1775992" y="978741"/>
                  <a:pt x="1781178" y="983925"/>
                  <a:pt x="1781178" y="990344"/>
                </a:cubicBezTo>
                <a:cubicBezTo>
                  <a:pt x="1781178" y="996760"/>
                  <a:pt x="1775992" y="1001945"/>
                  <a:pt x="1769573" y="1001945"/>
                </a:cubicBezTo>
                <a:cubicBezTo>
                  <a:pt x="1763157" y="1001945"/>
                  <a:pt x="1757974" y="996760"/>
                  <a:pt x="1757974" y="990344"/>
                </a:cubicBezTo>
                <a:cubicBezTo>
                  <a:pt x="1757974" y="983925"/>
                  <a:pt x="1763157" y="978741"/>
                  <a:pt x="1769573" y="978741"/>
                </a:cubicBezTo>
                <a:close/>
                <a:moveTo>
                  <a:pt x="2707529" y="967894"/>
                </a:moveTo>
                <a:cubicBezTo>
                  <a:pt x="2711973" y="967894"/>
                  <a:pt x="2715428" y="971597"/>
                  <a:pt x="2715428" y="975792"/>
                </a:cubicBezTo>
                <a:cubicBezTo>
                  <a:pt x="2715428" y="980236"/>
                  <a:pt x="2711725" y="983692"/>
                  <a:pt x="2707529" y="983692"/>
                </a:cubicBezTo>
                <a:cubicBezTo>
                  <a:pt x="2703085" y="983692"/>
                  <a:pt x="2699630" y="980236"/>
                  <a:pt x="2699630" y="975792"/>
                </a:cubicBezTo>
                <a:cubicBezTo>
                  <a:pt x="2699630" y="971348"/>
                  <a:pt x="2703085" y="967894"/>
                  <a:pt x="2707529" y="967894"/>
                </a:cubicBezTo>
                <a:close/>
                <a:moveTo>
                  <a:pt x="2459458" y="966409"/>
                </a:moveTo>
                <a:lnTo>
                  <a:pt x="2459704" y="966409"/>
                </a:lnTo>
                <a:lnTo>
                  <a:pt x="2459458" y="966655"/>
                </a:lnTo>
                <a:close/>
                <a:moveTo>
                  <a:pt x="1498548" y="963927"/>
                </a:moveTo>
                <a:cubicBezTo>
                  <a:pt x="1498794" y="963927"/>
                  <a:pt x="1499040" y="964174"/>
                  <a:pt x="1499040" y="964422"/>
                </a:cubicBezTo>
                <a:cubicBezTo>
                  <a:pt x="1499040" y="964668"/>
                  <a:pt x="1498794" y="964915"/>
                  <a:pt x="1498548" y="964915"/>
                </a:cubicBezTo>
                <a:cubicBezTo>
                  <a:pt x="1498299" y="964915"/>
                  <a:pt x="1498053" y="964668"/>
                  <a:pt x="1498053" y="964422"/>
                </a:cubicBezTo>
                <a:cubicBezTo>
                  <a:pt x="1498053" y="964174"/>
                  <a:pt x="1498299" y="963927"/>
                  <a:pt x="1498548" y="963927"/>
                </a:cubicBezTo>
                <a:close/>
                <a:moveTo>
                  <a:pt x="2952140" y="962961"/>
                </a:moveTo>
                <a:cubicBezTo>
                  <a:pt x="2962754" y="962961"/>
                  <a:pt x="2971148" y="971601"/>
                  <a:pt x="2971148" y="981967"/>
                </a:cubicBezTo>
                <a:cubicBezTo>
                  <a:pt x="2971148" y="992335"/>
                  <a:pt x="2962754" y="1000973"/>
                  <a:pt x="2952140" y="1000973"/>
                </a:cubicBezTo>
                <a:cubicBezTo>
                  <a:pt x="2941774" y="1000973"/>
                  <a:pt x="2933134" y="992335"/>
                  <a:pt x="2933134" y="981967"/>
                </a:cubicBezTo>
                <a:cubicBezTo>
                  <a:pt x="2933134" y="971601"/>
                  <a:pt x="2941525" y="962961"/>
                  <a:pt x="2952140" y="962961"/>
                </a:cubicBezTo>
                <a:close/>
                <a:moveTo>
                  <a:pt x="169335" y="961700"/>
                </a:moveTo>
                <a:cubicBezTo>
                  <a:pt x="180937" y="961700"/>
                  <a:pt x="190316" y="971081"/>
                  <a:pt x="190316" y="982680"/>
                </a:cubicBezTo>
                <a:cubicBezTo>
                  <a:pt x="190316" y="994036"/>
                  <a:pt x="180937" y="1003414"/>
                  <a:pt x="169335" y="1003414"/>
                </a:cubicBezTo>
                <a:cubicBezTo>
                  <a:pt x="157733" y="1003414"/>
                  <a:pt x="148355" y="994036"/>
                  <a:pt x="148355" y="982680"/>
                </a:cubicBezTo>
                <a:cubicBezTo>
                  <a:pt x="148355" y="971081"/>
                  <a:pt x="157733" y="961700"/>
                  <a:pt x="169335" y="961700"/>
                </a:cubicBezTo>
                <a:close/>
                <a:moveTo>
                  <a:pt x="2196336" y="961469"/>
                </a:moveTo>
                <a:cubicBezTo>
                  <a:pt x="2201521" y="961469"/>
                  <a:pt x="2205717" y="965665"/>
                  <a:pt x="2205717" y="970848"/>
                </a:cubicBezTo>
                <a:cubicBezTo>
                  <a:pt x="2205717" y="976033"/>
                  <a:pt x="2201521" y="980229"/>
                  <a:pt x="2196336" y="980229"/>
                </a:cubicBezTo>
                <a:cubicBezTo>
                  <a:pt x="2191153" y="980229"/>
                  <a:pt x="2186957" y="976033"/>
                  <a:pt x="2186957" y="970848"/>
                </a:cubicBezTo>
                <a:cubicBezTo>
                  <a:pt x="2186957" y="965665"/>
                  <a:pt x="2191153" y="961469"/>
                  <a:pt x="2196336" y="961469"/>
                </a:cubicBezTo>
                <a:close/>
                <a:moveTo>
                  <a:pt x="3194037" y="960747"/>
                </a:moveTo>
                <a:cubicBezTo>
                  <a:pt x="3208355" y="960747"/>
                  <a:pt x="3219954" y="972348"/>
                  <a:pt x="3219954" y="986664"/>
                </a:cubicBezTo>
                <a:cubicBezTo>
                  <a:pt x="3219954" y="1000980"/>
                  <a:pt x="3208355" y="1012828"/>
                  <a:pt x="3194037" y="1012828"/>
                </a:cubicBezTo>
                <a:cubicBezTo>
                  <a:pt x="3179719" y="1012828"/>
                  <a:pt x="3168120" y="1001226"/>
                  <a:pt x="3168120" y="986664"/>
                </a:cubicBezTo>
                <a:cubicBezTo>
                  <a:pt x="3168120" y="972099"/>
                  <a:pt x="3179719" y="960747"/>
                  <a:pt x="3194037" y="960747"/>
                </a:cubicBezTo>
                <a:close/>
                <a:moveTo>
                  <a:pt x="1937665" y="948630"/>
                </a:moveTo>
                <a:cubicBezTo>
                  <a:pt x="1941613" y="948630"/>
                  <a:pt x="1945070" y="951838"/>
                  <a:pt x="1945070" y="956036"/>
                </a:cubicBezTo>
                <a:cubicBezTo>
                  <a:pt x="1945070" y="959982"/>
                  <a:pt x="1941862" y="963439"/>
                  <a:pt x="1937665" y="963439"/>
                </a:cubicBezTo>
                <a:cubicBezTo>
                  <a:pt x="1933470" y="963439"/>
                  <a:pt x="1930263" y="960232"/>
                  <a:pt x="1930263" y="956036"/>
                </a:cubicBezTo>
                <a:cubicBezTo>
                  <a:pt x="1930263" y="952084"/>
                  <a:pt x="1933470" y="948630"/>
                  <a:pt x="1937665" y="948630"/>
                </a:cubicBezTo>
                <a:close/>
                <a:moveTo>
                  <a:pt x="3441615" y="941005"/>
                </a:moveTo>
                <a:cubicBezTo>
                  <a:pt x="3458646" y="941005"/>
                  <a:pt x="3472715" y="954828"/>
                  <a:pt x="3472715" y="972105"/>
                </a:cubicBezTo>
                <a:cubicBezTo>
                  <a:pt x="3472715" y="989388"/>
                  <a:pt x="3458892" y="1003207"/>
                  <a:pt x="3441615" y="1003207"/>
                </a:cubicBezTo>
                <a:cubicBezTo>
                  <a:pt x="3424582" y="1003207"/>
                  <a:pt x="3410513" y="989388"/>
                  <a:pt x="3410513" y="972105"/>
                </a:cubicBezTo>
                <a:cubicBezTo>
                  <a:pt x="3410513" y="955074"/>
                  <a:pt x="3424336" y="941005"/>
                  <a:pt x="3441615" y="941005"/>
                </a:cubicBezTo>
                <a:close/>
                <a:moveTo>
                  <a:pt x="817527" y="934797"/>
                </a:moveTo>
                <a:cubicBezTo>
                  <a:pt x="828880" y="934797"/>
                  <a:pt x="838261" y="944176"/>
                  <a:pt x="838261" y="955532"/>
                </a:cubicBezTo>
                <a:cubicBezTo>
                  <a:pt x="838261" y="966887"/>
                  <a:pt x="829129" y="976266"/>
                  <a:pt x="817527" y="976266"/>
                </a:cubicBezTo>
                <a:cubicBezTo>
                  <a:pt x="805925" y="976266"/>
                  <a:pt x="796792" y="966887"/>
                  <a:pt x="796792" y="955532"/>
                </a:cubicBezTo>
                <a:cubicBezTo>
                  <a:pt x="796792" y="944176"/>
                  <a:pt x="806171" y="934797"/>
                  <a:pt x="817527" y="934797"/>
                </a:cubicBezTo>
                <a:close/>
                <a:moveTo>
                  <a:pt x="1016229" y="933811"/>
                </a:moveTo>
                <a:cubicBezTo>
                  <a:pt x="1026844" y="933811"/>
                  <a:pt x="1035235" y="942451"/>
                  <a:pt x="1035235" y="952817"/>
                </a:cubicBezTo>
                <a:cubicBezTo>
                  <a:pt x="1035483" y="963185"/>
                  <a:pt x="1026844" y="971825"/>
                  <a:pt x="1016229" y="971825"/>
                </a:cubicBezTo>
                <a:cubicBezTo>
                  <a:pt x="1005615" y="971825"/>
                  <a:pt x="997224" y="963185"/>
                  <a:pt x="997224" y="952817"/>
                </a:cubicBezTo>
                <a:cubicBezTo>
                  <a:pt x="997224" y="942205"/>
                  <a:pt x="1005864" y="933811"/>
                  <a:pt x="1016229" y="933811"/>
                </a:cubicBezTo>
                <a:close/>
                <a:moveTo>
                  <a:pt x="609689" y="933809"/>
                </a:moveTo>
                <a:cubicBezTo>
                  <a:pt x="616106" y="933809"/>
                  <a:pt x="621537" y="938991"/>
                  <a:pt x="621537" y="945411"/>
                </a:cubicBezTo>
                <a:cubicBezTo>
                  <a:pt x="621291" y="952076"/>
                  <a:pt x="616106" y="957258"/>
                  <a:pt x="609689" y="957258"/>
                </a:cubicBezTo>
                <a:cubicBezTo>
                  <a:pt x="603270" y="957258"/>
                  <a:pt x="598087" y="952076"/>
                  <a:pt x="598087" y="945411"/>
                </a:cubicBezTo>
                <a:cubicBezTo>
                  <a:pt x="598087" y="938991"/>
                  <a:pt x="603270" y="933809"/>
                  <a:pt x="609689" y="933809"/>
                </a:cubicBezTo>
                <a:close/>
                <a:moveTo>
                  <a:pt x="1207525" y="932825"/>
                </a:moveTo>
                <a:cubicBezTo>
                  <a:pt x="1210980" y="932825"/>
                  <a:pt x="1213941" y="935786"/>
                  <a:pt x="1213941" y="939241"/>
                </a:cubicBezTo>
                <a:cubicBezTo>
                  <a:pt x="1213941" y="942944"/>
                  <a:pt x="1210980" y="945660"/>
                  <a:pt x="1207525" y="945660"/>
                </a:cubicBezTo>
                <a:cubicBezTo>
                  <a:pt x="1204068" y="945660"/>
                  <a:pt x="1201106" y="942698"/>
                  <a:pt x="1201106" y="939241"/>
                </a:cubicBezTo>
                <a:cubicBezTo>
                  <a:pt x="1201106" y="935786"/>
                  <a:pt x="1204068" y="932825"/>
                  <a:pt x="1207525" y="932825"/>
                </a:cubicBezTo>
                <a:close/>
                <a:moveTo>
                  <a:pt x="282384" y="930351"/>
                </a:moveTo>
                <a:cubicBezTo>
                  <a:pt x="295715" y="930351"/>
                  <a:pt x="306576" y="941212"/>
                  <a:pt x="306576" y="954542"/>
                </a:cubicBezTo>
                <a:cubicBezTo>
                  <a:pt x="306576" y="967870"/>
                  <a:pt x="295715" y="978731"/>
                  <a:pt x="282384" y="978731"/>
                </a:cubicBezTo>
                <a:cubicBezTo>
                  <a:pt x="269056" y="978731"/>
                  <a:pt x="258196" y="967870"/>
                  <a:pt x="258196" y="954542"/>
                </a:cubicBezTo>
                <a:cubicBezTo>
                  <a:pt x="258196" y="941212"/>
                  <a:pt x="269056" y="930351"/>
                  <a:pt x="282384" y="930351"/>
                </a:cubicBezTo>
                <a:close/>
                <a:moveTo>
                  <a:pt x="2355051" y="919756"/>
                </a:moveTo>
                <a:cubicBezTo>
                  <a:pt x="2359988" y="919756"/>
                  <a:pt x="2363937" y="923705"/>
                  <a:pt x="2363937" y="928642"/>
                </a:cubicBezTo>
                <a:cubicBezTo>
                  <a:pt x="2364183" y="933578"/>
                  <a:pt x="2359988" y="937530"/>
                  <a:pt x="2355051" y="937530"/>
                </a:cubicBezTo>
                <a:cubicBezTo>
                  <a:pt x="2350114" y="937530"/>
                  <a:pt x="2346165" y="933578"/>
                  <a:pt x="2346165" y="928642"/>
                </a:cubicBezTo>
                <a:cubicBezTo>
                  <a:pt x="2346165" y="923705"/>
                  <a:pt x="2350114" y="919756"/>
                  <a:pt x="2355051" y="919756"/>
                </a:cubicBezTo>
                <a:close/>
                <a:moveTo>
                  <a:pt x="1673803" y="918757"/>
                </a:moveTo>
                <a:cubicBezTo>
                  <a:pt x="1682935" y="918757"/>
                  <a:pt x="1690092" y="925915"/>
                  <a:pt x="1690092" y="935049"/>
                </a:cubicBezTo>
                <a:cubicBezTo>
                  <a:pt x="1689847" y="943936"/>
                  <a:pt x="1682688" y="951340"/>
                  <a:pt x="1673803" y="951340"/>
                </a:cubicBezTo>
                <a:cubicBezTo>
                  <a:pt x="1664916" y="951340"/>
                  <a:pt x="1657510" y="944182"/>
                  <a:pt x="1657510" y="935049"/>
                </a:cubicBezTo>
                <a:cubicBezTo>
                  <a:pt x="1657510" y="926164"/>
                  <a:pt x="1664668" y="918757"/>
                  <a:pt x="1673803" y="918757"/>
                </a:cubicBezTo>
                <a:close/>
                <a:moveTo>
                  <a:pt x="2613731" y="915069"/>
                </a:moveTo>
                <a:cubicBezTo>
                  <a:pt x="2616939" y="915069"/>
                  <a:pt x="2619655" y="917785"/>
                  <a:pt x="2619655" y="920994"/>
                </a:cubicBezTo>
                <a:cubicBezTo>
                  <a:pt x="2619655" y="924201"/>
                  <a:pt x="2616939" y="926918"/>
                  <a:pt x="2613731" y="926918"/>
                </a:cubicBezTo>
                <a:cubicBezTo>
                  <a:pt x="2610523" y="926918"/>
                  <a:pt x="2607807" y="924201"/>
                  <a:pt x="2607807" y="920994"/>
                </a:cubicBezTo>
                <a:cubicBezTo>
                  <a:pt x="2607807" y="917785"/>
                  <a:pt x="2610523" y="915069"/>
                  <a:pt x="2613731" y="915069"/>
                </a:cubicBezTo>
                <a:close/>
                <a:moveTo>
                  <a:pt x="3099748" y="913102"/>
                </a:moveTo>
                <a:cubicBezTo>
                  <a:pt x="3110609" y="913102"/>
                  <a:pt x="3119495" y="921990"/>
                  <a:pt x="3119495" y="932851"/>
                </a:cubicBezTo>
                <a:cubicBezTo>
                  <a:pt x="3119495" y="943712"/>
                  <a:pt x="3110609" y="952599"/>
                  <a:pt x="3099748" y="952599"/>
                </a:cubicBezTo>
                <a:cubicBezTo>
                  <a:pt x="3088887" y="952599"/>
                  <a:pt x="3080001" y="943712"/>
                  <a:pt x="3080001" y="932851"/>
                </a:cubicBezTo>
                <a:cubicBezTo>
                  <a:pt x="3080001" y="921990"/>
                  <a:pt x="3088887" y="913102"/>
                  <a:pt x="3099748" y="913102"/>
                </a:cubicBezTo>
                <a:close/>
                <a:moveTo>
                  <a:pt x="2858096" y="910382"/>
                </a:moveTo>
                <a:cubicBezTo>
                  <a:pt x="2867477" y="910382"/>
                  <a:pt x="2875376" y="918035"/>
                  <a:pt x="2875376" y="927660"/>
                </a:cubicBezTo>
                <a:cubicBezTo>
                  <a:pt x="2875376" y="937289"/>
                  <a:pt x="2867723" y="944940"/>
                  <a:pt x="2858096" y="944940"/>
                </a:cubicBezTo>
                <a:cubicBezTo>
                  <a:pt x="2848718" y="944940"/>
                  <a:pt x="2840819" y="937289"/>
                  <a:pt x="2840819" y="927660"/>
                </a:cubicBezTo>
                <a:cubicBezTo>
                  <a:pt x="2840819" y="918281"/>
                  <a:pt x="2848472" y="910382"/>
                  <a:pt x="2858096" y="910382"/>
                </a:cubicBezTo>
                <a:close/>
                <a:moveTo>
                  <a:pt x="2101551" y="907164"/>
                </a:moveTo>
                <a:cubicBezTo>
                  <a:pt x="2106980" y="907164"/>
                  <a:pt x="2111425" y="911607"/>
                  <a:pt x="2111425" y="916790"/>
                </a:cubicBezTo>
                <a:cubicBezTo>
                  <a:pt x="2111425" y="922219"/>
                  <a:pt x="2106980" y="926664"/>
                  <a:pt x="2101551" y="926664"/>
                </a:cubicBezTo>
                <a:cubicBezTo>
                  <a:pt x="2096120" y="926664"/>
                  <a:pt x="2091678" y="922219"/>
                  <a:pt x="2091678" y="916790"/>
                </a:cubicBezTo>
                <a:cubicBezTo>
                  <a:pt x="2091678" y="911358"/>
                  <a:pt x="2096120" y="907164"/>
                  <a:pt x="2101551" y="907164"/>
                </a:cubicBezTo>
                <a:close/>
                <a:moveTo>
                  <a:pt x="1401289" y="898270"/>
                </a:moveTo>
                <a:cubicBezTo>
                  <a:pt x="1406967" y="898270"/>
                  <a:pt x="1411411" y="902715"/>
                  <a:pt x="1411411" y="908389"/>
                </a:cubicBezTo>
                <a:cubicBezTo>
                  <a:pt x="1411411" y="914066"/>
                  <a:pt x="1406967" y="918511"/>
                  <a:pt x="1401289" y="918511"/>
                </a:cubicBezTo>
                <a:cubicBezTo>
                  <a:pt x="1395614" y="918511"/>
                  <a:pt x="1391170" y="914066"/>
                  <a:pt x="1391170" y="908389"/>
                </a:cubicBezTo>
                <a:cubicBezTo>
                  <a:pt x="1391170" y="902715"/>
                  <a:pt x="1395614" y="898270"/>
                  <a:pt x="1401289" y="898270"/>
                </a:cubicBezTo>
                <a:close/>
                <a:moveTo>
                  <a:pt x="393460" y="891353"/>
                </a:moveTo>
                <a:cubicBezTo>
                  <a:pt x="409011" y="891353"/>
                  <a:pt x="421352" y="903942"/>
                  <a:pt x="421352" y="919244"/>
                </a:cubicBezTo>
                <a:cubicBezTo>
                  <a:pt x="421352" y="934549"/>
                  <a:pt x="408765" y="947138"/>
                  <a:pt x="393460" y="947138"/>
                </a:cubicBezTo>
                <a:cubicBezTo>
                  <a:pt x="378158" y="947138"/>
                  <a:pt x="365569" y="934549"/>
                  <a:pt x="365569" y="919244"/>
                </a:cubicBezTo>
                <a:cubicBezTo>
                  <a:pt x="365569" y="903942"/>
                  <a:pt x="378158" y="891353"/>
                  <a:pt x="393460" y="891353"/>
                </a:cubicBezTo>
                <a:close/>
                <a:moveTo>
                  <a:pt x="54064" y="887402"/>
                </a:moveTo>
                <a:cubicBezTo>
                  <a:pt x="57026" y="887402"/>
                  <a:pt x="59493" y="889869"/>
                  <a:pt x="59493" y="893080"/>
                </a:cubicBezTo>
                <a:cubicBezTo>
                  <a:pt x="59740" y="896042"/>
                  <a:pt x="57273" y="898509"/>
                  <a:pt x="54064" y="898509"/>
                </a:cubicBezTo>
                <a:cubicBezTo>
                  <a:pt x="51103" y="898509"/>
                  <a:pt x="48633" y="896042"/>
                  <a:pt x="48633" y="893080"/>
                </a:cubicBezTo>
                <a:cubicBezTo>
                  <a:pt x="48633" y="890118"/>
                  <a:pt x="51103" y="887402"/>
                  <a:pt x="54064" y="887402"/>
                </a:cubicBezTo>
                <a:close/>
                <a:moveTo>
                  <a:pt x="3347324" y="885957"/>
                </a:moveTo>
                <a:cubicBezTo>
                  <a:pt x="3364604" y="885957"/>
                  <a:pt x="3378673" y="900026"/>
                  <a:pt x="3378673" y="917551"/>
                </a:cubicBezTo>
                <a:cubicBezTo>
                  <a:pt x="3378673" y="935076"/>
                  <a:pt x="3364604" y="949147"/>
                  <a:pt x="3347324" y="949147"/>
                </a:cubicBezTo>
                <a:cubicBezTo>
                  <a:pt x="3330047" y="949147"/>
                  <a:pt x="3315729" y="935076"/>
                  <a:pt x="3315729" y="917551"/>
                </a:cubicBezTo>
                <a:cubicBezTo>
                  <a:pt x="3315729" y="900026"/>
                  <a:pt x="3329798" y="885957"/>
                  <a:pt x="3347324" y="885957"/>
                </a:cubicBezTo>
                <a:close/>
                <a:moveTo>
                  <a:pt x="1843380" y="885685"/>
                </a:moveTo>
                <a:cubicBezTo>
                  <a:pt x="1851281" y="885685"/>
                  <a:pt x="1857941" y="892102"/>
                  <a:pt x="1857941" y="900249"/>
                </a:cubicBezTo>
                <a:cubicBezTo>
                  <a:pt x="1857941" y="908394"/>
                  <a:pt x="1851281" y="914811"/>
                  <a:pt x="1843380" y="914811"/>
                </a:cubicBezTo>
                <a:cubicBezTo>
                  <a:pt x="1835479" y="914811"/>
                  <a:pt x="1828815" y="908394"/>
                  <a:pt x="1828815" y="900249"/>
                </a:cubicBezTo>
                <a:cubicBezTo>
                  <a:pt x="1828815" y="892351"/>
                  <a:pt x="1835229" y="885685"/>
                  <a:pt x="1843380" y="885685"/>
                </a:cubicBezTo>
                <a:close/>
                <a:moveTo>
                  <a:pt x="3583544" y="883987"/>
                </a:moveTo>
                <a:cubicBezTo>
                  <a:pt x="3603290" y="883987"/>
                  <a:pt x="3619583" y="900031"/>
                  <a:pt x="3619583" y="920022"/>
                </a:cubicBezTo>
                <a:cubicBezTo>
                  <a:pt x="3619583" y="940019"/>
                  <a:pt x="3603290" y="956063"/>
                  <a:pt x="3583544" y="956063"/>
                </a:cubicBezTo>
                <a:cubicBezTo>
                  <a:pt x="3563799" y="956063"/>
                  <a:pt x="3547507" y="940019"/>
                  <a:pt x="3547507" y="920022"/>
                </a:cubicBezTo>
                <a:cubicBezTo>
                  <a:pt x="3547507" y="900278"/>
                  <a:pt x="3563551" y="883987"/>
                  <a:pt x="3583544" y="883987"/>
                </a:cubicBezTo>
                <a:close/>
                <a:moveTo>
                  <a:pt x="1578029" y="879265"/>
                </a:moveTo>
                <a:lnTo>
                  <a:pt x="1578275" y="879265"/>
                </a:lnTo>
                <a:lnTo>
                  <a:pt x="1578523" y="879265"/>
                </a:lnTo>
                <a:lnTo>
                  <a:pt x="1578275" y="879511"/>
                </a:lnTo>
                <a:close/>
                <a:moveTo>
                  <a:pt x="712373" y="874815"/>
                </a:moveTo>
                <a:cubicBezTo>
                  <a:pt x="721506" y="874815"/>
                  <a:pt x="728912" y="882222"/>
                  <a:pt x="728912" y="891354"/>
                </a:cubicBezTo>
                <a:cubicBezTo>
                  <a:pt x="728912" y="900486"/>
                  <a:pt x="721506" y="907890"/>
                  <a:pt x="712373" y="907890"/>
                </a:cubicBezTo>
                <a:cubicBezTo>
                  <a:pt x="703241" y="907890"/>
                  <a:pt x="695834" y="900486"/>
                  <a:pt x="695834" y="891354"/>
                </a:cubicBezTo>
                <a:cubicBezTo>
                  <a:pt x="695834" y="882222"/>
                  <a:pt x="703241" y="874815"/>
                  <a:pt x="712373" y="874815"/>
                </a:cubicBezTo>
                <a:close/>
                <a:moveTo>
                  <a:pt x="168842" y="871110"/>
                </a:moveTo>
                <a:cubicBezTo>
                  <a:pt x="169088" y="871110"/>
                  <a:pt x="169335" y="871356"/>
                  <a:pt x="169335" y="871605"/>
                </a:cubicBezTo>
                <a:cubicBezTo>
                  <a:pt x="169335" y="871851"/>
                  <a:pt x="169088" y="872098"/>
                  <a:pt x="168842" y="872098"/>
                </a:cubicBezTo>
                <a:cubicBezTo>
                  <a:pt x="168593" y="872098"/>
                  <a:pt x="168347" y="871851"/>
                  <a:pt x="168347" y="871605"/>
                </a:cubicBezTo>
                <a:cubicBezTo>
                  <a:pt x="168347" y="871356"/>
                  <a:pt x="168593" y="871110"/>
                  <a:pt x="168842" y="871110"/>
                </a:cubicBezTo>
                <a:close/>
                <a:moveTo>
                  <a:pt x="914779" y="868151"/>
                </a:moveTo>
                <a:cubicBezTo>
                  <a:pt x="927861" y="868151"/>
                  <a:pt x="938475" y="878766"/>
                  <a:pt x="938475" y="891848"/>
                </a:cubicBezTo>
                <a:cubicBezTo>
                  <a:pt x="938475" y="904929"/>
                  <a:pt x="927861" y="915543"/>
                  <a:pt x="914779" y="915543"/>
                </a:cubicBezTo>
                <a:cubicBezTo>
                  <a:pt x="901697" y="915543"/>
                  <a:pt x="891083" y="904929"/>
                  <a:pt x="891083" y="891848"/>
                </a:cubicBezTo>
                <a:cubicBezTo>
                  <a:pt x="891083" y="878766"/>
                  <a:pt x="901697" y="868151"/>
                  <a:pt x="914779" y="868151"/>
                </a:cubicBezTo>
                <a:close/>
                <a:moveTo>
                  <a:pt x="2519686" y="865206"/>
                </a:moveTo>
                <a:cubicBezTo>
                  <a:pt x="2520427" y="865206"/>
                  <a:pt x="2521168" y="865947"/>
                  <a:pt x="2521168" y="866686"/>
                </a:cubicBezTo>
                <a:cubicBezTo>
                  <a:pt x="2521168" y="867426"/>
                  <a:pt x="2520427" y="868167"/>
                  <a:pt x="2519686" y="868167"/>
                </a:cubicBezTo>
                <a:cubicBezTo>
                  <a:pt x="2518947" y="868167"/>
                  <a:pt x="2518206" y="867426"/>
                  <a:pt x="2518206" y="866686"/>
                </a:cubicBezTo>
                <a:cubicBezTo>
                  <a:pt x="2518206" y="865947"/>
                  <a:pt x="2518947" y="865206"/>
                  <a:pt x="2519686" y="865206"/>
                </a:cubicBezTo>
                <a:close/>
                <a:moveTo>
                  <a:pt x="2763807" y="861262"/>
                </a:moveTo>
                <a:cubicBezTo>
                  <a:pt x="2770964" y="861262"/>
                  <a:pt x="2776642" y="867184"/>
                  <a:pt x="2776642" y="874096"/>
                </a:cubicBezTo>
                <a:cubicBezTo>
                  <a:pt x="2776642" y="881008"/>
                  <a:pt x="2770964" y="886932"/>
                  <a:pt x="2763807" y="886932"/>
                </a:cubicBezTo>
                <a:cubicBezTo>
                  <a:pt x="2756649" y="886932"/>
                  <a:pt x="2750725" y="881008"/>
                  <a:pt x="2750725" y="874096"/>
                </a:cubicBezTo>
                <a:cubicBezTo>
                  <a:pt x="2750725" y="866938"/>
                  <a:pt x="2756649" y="861262"/>
                  <a:pt x="2763807" y="861262"/>
                </a:cubicBezTo>
                <a:close/>
                <a:moveTo>
                  <a:pt x="2261008" y="860020"/>
                </a:moveTo>
                <a:cubicBezTo>
                  <a:pt x="2268904" y="860020"/>
                  <a:pt x="2275323" y="866435"/>
                  <a:pt x="2275323" y="874337"/>
                </a:cubicBezTo>
                <a:cubicBezTo>
                  <a:pt x="2275323" y="882233"/>
                  <a:pt x="2268904" y="888652"/>
                  <a:pt x="2261008" y="888652"/>
                </a:cubicBezTo>
                <a:cubicBezTo>
                  <a:pt x="2253109" y="888652"/>
                  <a:pt x="2246690" y="882233"/>
                  <a:pt x="2246690" y="874337"/>
                </a:cubicBezTo>
                <a:cubicBezTo>
                  <a:pt x="2246690" y="866435"/>
                  <a:pt x="2253109" y="860020"/>
                  <a:pt x="2261008" y="860020"/>
                </a:cubicBezTo>
                <a:close/>
                <a:moveTo>
                  <a:pt x="1107800" y="855563"/>
                </a:moveTo>
                <a:cubicBezTo>
                  <a:pt x="1122118" y="855563"/>
                  <a:pt x="1133720" y="867165"/>
                  <a:pt x="1133720" y="881480"/>
                </a:cubicBezTo>
                <a:cubicBezTo>
                  <a:pt x="1133720" y="895798"/>
                  <a:pt x="1122118" y="907400"/>
                  <a:pt x="1107800" y="907400"/>
                </a:cubicBezTo>
                <a:cubicBezTo>
                  <a:pt x="1093485" y="907400"/>
                  <a:pt x="1081883" y="895798"/>
                  <a:pt x="1081883" y="881480"/>
                </a:cubicBezTo>
                <a:cubicBezTo>
                  <a:pt x="1081883" y="867165"/>
                  <a:pt x="1093485" y="855563"/>
                  <a:pt x="1107800" y="855563"/>
                </a:cubicBezTo>
                <a:close/>
                <a:moveTo>
                  <a:pt x="3005456" y="854605"/>
                </a:moveTo>
                <a:cubicBezTo>
                  <a:pt x="3018786" y="854605"/>
                  <a:pt x="3029401" y="865464"/>
                  <a:pt x="3029401" y="878546"/>
                </a:cubicBezTo>
                <a:cubicBezTo>
                  <a:pt x="3029401" y="891630"/>
                  <a:pt x="3018540" y="902493"/>
                  <a:pt x="3005456" y="902493"/>
                </a:cubicBezTo>
                <a:cubicBezTo>
                  <a:pt x="2992128" y="902493"/>
                  <a:pt x="2981513" y="891630"/>
                  <a:pt x="2981513" y="878546"/>
                </a:cubicBezTo>
                <a:cubicBezTo>
                  <a:pt x="2981513" y="865464"/>
                  <a:pt x="2992374" y="854605"/>
                  <a:pt x="3005456" y="854605"/>
                </a:cubicBezTo>
                <a:close/>
                <a:moveTo>
                  <a:pt x="2007014" y="852858"/>
                </a:moveTo>
                <a:cubicBezTo>
                  <a:pt x="2012445" y="852858"/>
                  <a:pt x="2016887" y="857303"/>
                  <a:pt x="2016887" y="862732"/>
                </a:cubicBezTo>
                <a:cubicBezTo>
                  <a:pt x="2016887" y="868163"/>
                  <a:pt x="2012445" y="872605"/>
                  <a:pt x="2007014" y="872605"/>
                </a:cubicBezTo>
                <a:cubicBezTo>
                  <a:pt x="2001584" y="872605"/>
                  <a:pt x="1997140" y="868163"/>
                  <a:pt x="1997140" y="862732"/>
                </a:cubicBezTo>
                <a:cubicBezTo>
                  <a:pt x="1997140" y="857303"/>
                  <a:pt x="2001584" y="852858"/>
                  <a:pt x="2007014" y="852858"/>
                </a:cubicBezTo>
                <a:close/>
                <a:moveTo>
                  <a:pt x="1293424" y="852604"/>
                </a:moveTo>
                <a:cubicBezTo>
                  <a:pt x="1298607" y="852604"/>
                  <a:pt x="1302803" y="856800"/>
                  <a:pt x="1302803" y="861986"/>
                </a:cubicBezTo>
                <a:cubicBezTo>
                  <a:pt x="1303049" y="867168"/>
                  <a:pt x="1298853" y="871364"/>
                  <a:pt x="1293424" y="871364"/>
                </a:cubicBezTo>
                <a:cubicBezTo>
                  <a:pt x="1288239" y="871364"/>
                  <a:pt x="1284043" y="867168"/>
                  <a:pt x="1284043" y="861986"/>
                </a:cubicBezTo>
                <a:cubicBezTo>
                  <a:pt x="1284043" y="856800"/>
                  <a:pt x="1288239" y="852604"/>
                  <a:pt x="1293424" y="852604"/>
                </a:cubicBezTo>
                <a:close/>
                <a:moveTo>
                  <a:pt x="3244148" y="849917"/>
                </a:moveTo>
                <a:cubicBezTo>
                  <a:pt x="3261920" y="849917"/>
                  <a:pt x="3276481" y="864481"/>
                  <a:pt x="3276481" y="882253"/>
                </a:cubicBezTo>
                <a:cubicBezTo>
                  <a:pt x="3276235" y="900025"/>
                  <a:pt x="3261920" y="914583"/>
                  <a:pt x="3244148" y="914583"/>
                </a:cubicBezTo>
                <a:cubicBezTo>
                  <a:pt x="3226376" y="914583"/>
                  <a:pt x="3211812" y="900025"/>
                  <a:pt x="3211812" y="882253"/>
                </a:cubicBezTo>
                <a:cubicBezTo>
                  <a:pt x="3211812" y="864481"/>
                  <a:pt x="3226376" y="849917"/>
                  <a:pt x="3244148" y="849917"/>
                </a:cubicBezTo>
                <a:close/>
                <a:moveTo>
                  <a:pt x="501572" y="843960"/>
                </a:moveTo>
                <a:cubicBezTo>
                  <a:pt x="519098" y="843960"/>
                  <a:pt x="533413" y="858278"/>
                  <a:pt x="533413" y="875801"/>
                </a:cubicBezTo>
                <a:cubicBezTo>
                  <a:pt x="533413" y="893573"/>
                  <a:pt x="519098" y="907645"/>
                  <a:pt x="501572" y="907645"/>
                </a:cubicBezTo>
                <a:cubicBezTo>
                  <a:pt x="484047" y="907645"/>
                  <a:pt x="469731" y="893327"/>
                  <a:pt x="469731" y="875801"/>
                </a:cubicBezTo>
                <a:cubicBezTo>
                  <a:pt x="469731" y="858278"/>
                  <a:pt x="484047" y="843960"/>
                  <a:pt x="501572" y="843960"/>
                </a:cubicBezTo>
                <a:close/>
                <a:moveTo>
                  <a:pt x="281642" y="839515"/>
                </a:moveTo>
                <a:cubicBezTo>
                  <a:pt x="282878" y="839515"/>
                  <a:pt x="284111" y="840503"/>
                  <a:pt x="284111" y="841736"/>
                </a:cubicBezTo>
                <a:cubicBezTo>
                  <a:pt x="284111" y="842970"/>
                  <a:pt x="282878" y="844206"/>
                  <a:pt x="281642" y="844206"/>
                </a:cubicBezTo>
                <a:cubicBezTo>
                  <a:pt x="280408" y="844206"/>
                  <a:pt x="279175" y="843218"/>
                  <a:pt x="279175" y="841736"/>
                </a:cubicBezTo>
                <a:cubicBezTo>
                  <a:pt x="279175" y="840503"/>
                  <a:pt x="280162" y="839515"/>
                  <a:pt x="281642" y="839515"/>
                </a:cubicBezTo>
                <a:close/>
                <a:moveTo>
                  <a:pt x="1748346" y="828910"/>
                </a:moveTo>
                <a:cubicBezTo>
                  <a:pt x="1757724" y="828910"/>
                  <a:pt x="1765376" y="836562"/>
                  <a:pt x="1765376" y="845695"/>
                </a:cubicBezTo>
                <a:cubicBezTo>
                  <a:pt x="1765376" y="855073"/>
                  <a:pt x="1757724" y="862726"/>
                  <a:pt x="1748346" y="862726"/>
                </a:cubicBezTo>
                <a:cubicBezTo>
                  <a:pt x="1738967" y="862726"/>
                  <a:pt x="1731560" y="855073"/>
                  <a:pt x="1731560" y="845695"/>
                </a:cubicBezTo>
                <a:cubicBezTo>
                  <a:pt x="1731560" y="836316"/>
                  <a:pt x="1739214" y="828910"/>
                  <a:pt x="1748346" y="828910"/>
                </a:cubicBezTo>
                <a:close/>
                <a:moveTo>
                  <a:pt x="3488759" y="827955"/>
                </a:moveTo>
                <a:cubicBezTo>
                  <a:pt x="3509742" y="827955"/>
                  <a:pt x="3526524" y="844988"/>
                  <a:pt x="3526524" y="865720"/>
                </a:cubicBezTo>
                <a:cubicBezTo>
                  <a:pt x="3526524" y="886455"/>
                  <a:pt x="3509742" y="903488"/>
                  <a:pt x="3488759" y="903488"/>
                </a:cubicBezTo>
                <a:cubicBezTo>
                  <a:pt x="3468025" y="903488"/>
                  <a:pt x="3450994" y="886455"/>
                  <a:pt x="3450994" y="865720"/>
                </a:cubicBezTo>
                <a:cubicBezTo>
                  <a:pt x="3450994" y="844741"/>
                  <a:pt x="3468025" y="827955"/>
                  <a:pt x="3488759" y="827955"/>
                </a:cubicBezTo>
                <a:close/>
                <a:moveTo>
                  <a:pt x="2415772" y="816087"/>
                </a:moveTo>
                <a:cubicBezTo>
                  <a:pt x="2423176" y="816087"/>
                  <a:pt x="2429349" y="822257"/>
                  <a:pt x="2429349" y="829663"/>
                </a:cubicBezTo>
                <a:cubicBezTo>
                  <a:pt x="2429349" y="837067"/>
                  <a:pt x="2423176" y="843238"/>
                  <a:pt x="2415772" y="843238"/>
                </a:cubicBezTo>
                <a:cubicBezTo>
                  <a:pt x="2408365" y="843238"/>
                  <a:pt x="2402195" y="837067"/>
                  <a:pt x="2402195" y="829663"/>
                </a:cubicBezTo>
                <a:cubicBezTo>
                  <a:pt x="2402195" y="822257"/>
                  <a:pt x="2408365" y="816087"/>
                  <a:pt x="2415772" y="816087"/>
                </a:cubicBezTo>
                <a:close/>
                <a:moveTo>
                  <a:pt x="1482008" y="812618"/>
                </a:moveTo>
                <a:cubicBezTo>
                  <a:pt x="1488425" y="812618"/>
                  <a:pt x="1493361" y="817801"/>
                  <a:pt x="1493361" y="824220"/>
                </a:cubicBezTo>
                <a:cubicBezTo>
                  <a:pt x="1493361" y="830389"/>
                  <a:pt x="1488178" y="835573"/>
                  <a:pt x="1482008" y="835573"/>
                </a:cubicBezTo>
                <a:cubicBezTo>
                  <a:pt x="1475589" y="835573"/>
                  <a:pt x="1470652" y="830389"/>
                  <a:pt x="1470652" y="824220"/>
                </a:cubicBezTo>
                <a:cubicBezTo>
                  <a:pt x="1470652" y="817801"/>
                  <a:pt x="1475835" y="812618"/>
                  <a:pt x="1482008" y="812618"/>
                </a:cubicBezTo>
                <a:close/>
                <a:moveTo>
                  <a:pt x="811602" y="809156"/>
                </a:moveTo>
                <a:cubicBezTo>
                  <a:pt x="823450" y="809156"/>
                  <a:pt x="833074" y="818783"/>
                  <a:pt x="833074" y="830632"/>
                </a:cubicBezTo>
                <a:cubicBezTo>
                  <a:pt x="833074" y="842480"/>
                  <a:pt x="823450" y="852107"/>
                  <a:pt x="811602" y="852107"/>
                </a:cubicBezTo>
                <a:cubicBezTo>
                  <a:pt x="799754" y="852107"/>
                  <a:pt x="790126" y="842480"/>
                  <a:pt x="790126" y="830632"/>
                </a:cubicBezTo>
                <a:cubicBezTo>
                  <a:pt x="790126" y="818783"/>
                  <a:pt x="799754" y="809156"/>
                  <a:pt x="811602" y="809156"/>
                </a:cubicBezTo>
                <a:close/>
                <a:moveTo>
                  <a:pt x="2166470" y="806949"/>
                </a:moveTo>
                <a:cubicBezTo>
                  <a:pt x="2173874" y="806949"/>
                  <a:pt x="2180044" y="813119"/>
                  <a:pt x="2180044" y="820524"/>
                </a:cubicBezTo>
                <a:cubicBezTo>
                  <a:pt x="2180044" y="827928"/>
                  <a:pt x="2174120" y="834102"/>
                  <a:pt x="2166470" y="834102"/>
                </a:cubicBezTo>
                <a:cubicBezTo>
                  <a:pt x="2159063" y="834102"/>
                  <a:pt x="2152893" y="827928"/>
                  <a:pt x="2152893" y="820524"/>
                </a:cubicBezTo>
                <a:cubicBezTo>
                  <a:pt x="2152893" y="813119"/>
                  <a:pt x="2159063" y="806949"/>
                  <a:pt x="2166470" y="806949"/>
                </a:cubicBezTo>
                <a:close/>
                <a:moveTo>
                  <a:pt x="2670007" y="804737"/>
                </a:moveTo>
                <a:cubicBezTo>
                  <a:pt x="2677906" y="804737"/>
                  <a:pt x="2684325" y="811152"/>
                  <a:pt x="2684325" y="819052"/>
                </a:cubicBezTo>
                <a:cubicBezTo>
                  <a:pt x="2684325" y="826948"/>
                  <a:pt x="2677906" y="833368"/>
                  <a:pt x="2670007" y="833368"/>
                </a:cubicBezTo>
                <a:cubicBezTo>
                  <a:pt x="2662111" y="833368"/>
                  <a:pt x="2655692" y="826948"/>
                  <a:pt x="2655692" y="819052"/>
                </a:cubicBezTo>
                <a:cubicBezTo>
                  <a:pt x="2655692" y="811152"/>
                  <a:pt x="2662111" y="804737"/>
                  <a:pt x="2670007" y="804737"/>
                </a:cubicBezTo>
                <a:close/>
                <a:moveTo>
                  <a:pt x="3149610" y="801293"/>
                </a:moveTo>
                <a:cubicBezTo>
                  <a:pt x="3164174" y="801293"/>
                  <a:pt x="3176268" y="813140"/>
                  <a:pt x="3176268" y="827947"/>
                </a:cubicBezTo>
                <a:cubicBezTo>
                  <a:pt x="3176019" y="842512"/>
                  <a:pt x="3164174" y="854360"/>
                  <a:pt x="3149610" y="854360"/>
                </a:cubicBezTo>
                <a:cubicBezTo>
                  <a:pt x="3135046" y="854360"/>
                  <a:pt x="3123198" y="842512"/>
                  <a:pt x="3123198" y="827947"/>
                </a:cubicBezTo>
                <a:cubicBezTo>
                  <a:pt x="3123198" y="813386"/>
                  <a:pt x="3135046" y="801293"/>
                  <a:pt x="3149610" y="801293"/>
                </a:cubicBezTo>
                <a:close/>
                <a:moveTo>
                  <a:pt x="2911166" y="798325"/>
                </a:moveTo>
                <a:cubicBezTo>
                  <a:pt x="2925481" y="798325"/>
                  <a:pt x="2937083" y="809928"/>
                  <a:pt x="2937083" y="824240"/>
                </a:cubicBezTo>
                <a:cubicBezTo>
                  <a:pt x="2937083" y="838310"/>
                  <a:pt x="2925481" y="849911"/>
                  <a:pt x="2911166" y="849911"/>
                </a:cubicBezTo>
                <a:cubicBezTo>
                  <a:pt x="2896848" y="849911"/>
                  <a:pt x="2885495" y="838310"/>
                  <a:pt x="2885495" y="824240"/>
                </a:cubicBezTo>
                <a:cubicBezTo>
                  <a:pt x="2885495" y="809928"/>
                  <a:pt x="2897097" y="798325"/>
                  <a:pt x="2911166" y="798325"/>
                </a:cubicBezTo>
                <a:close/>
                <a:moveTo>
                  <a:pt x="1008081" y="795584"/>
                </a:moveTo>
                <a:cubicBezTo>
                  <a:pt x="1022892" y="795584"/>
                  <a:pt x="1034988" y="807678"/>
                  <a:pt x="1034988" y="822488"/>
                </a:cubicBezTo>
                <a:cubicBezTo>
                  <a:pt x="1034739" y="837544"/>
                  <a:pt x="1022892" y="849392"/>
                  <a:pt x="1008081" y="849392"/>
                </a:cubicBezTo>
                <a:cubicBezTo>
                  <a:pt x="993271" y="849392"/>
                  <a:pt x="981177" y="837298"/>
                  <a:pt x="981177" y="822488"/>
                </a:cubicBezTo>
                <a:cubicBezTo>
                  <a:pt x="981177" y="807678"/>
                  <a:pt x="993271" y="795584"/>
                  <a:pt x="1008081" y="795584"/>
                </a:cubicBezTo>
                <a:close/>
                <a:moveTo>
                  <a:pt x="391980" y="794097"/>
                </a:moveTo>
                <a:cubicBezTo>
                  <a:pt x="397163" y="794097"/>
                  <a:pt x="401605" y="798293"/>
                  <a:pt x="401605" y="803725"/>
                </a:cubicBezTo>
                <a:cubicBezTo>
                  <a:pt x="401605" y="809154"/>
                  <a:pt x="397163" y="813349"/>
                  <a:pt x="391980" y="813349"/>
                </a:cubicBezTo>
                <a:cubicBezTo>
                  <a:pt x="386797" y="813349"/>
                  <a:pt x="382353" y="809154"/>
                  <a:pt x="382353" y="803725"/>
                </a:cubicBezTo>
                <a:cubicBezTo>
                  <a:pt x="382353" y="798539"/>
                  <a:pt x="386548" y="794097"/>
                  <a:pt x="391980" y="794097"/>
                </a:cubicBezTo>
                <a:close/>
                <a:moveTo>
                  <a:pt x="1653562" y="789910"/>
                </a:moveTo>
                <a:cubicBezTo>
                  <a:pt x="1653808" y="789910"/>
                  <a:pt x="1654054" y="790156"/>
                  <a:pt x="1654054" y="790405"/>
                </a:cubicBezTo>
                <a:cubicBezTo>
                  <a:pt x="1654054" y="790651"/>
                  <a:pt x="1654054" y="790897"/>
                  <a:pt x="1653562" y="790897"/>
                </a:cubicBezTo>
                <a:cubicBezTo>
                  <a:pt x="1653314" y="790897"/>
                  <a:pt x="1653067" y="790651"/>
                  <a:pt x="1653067" y="790405"/>
                </a:cubicBezTo>
                <a:cubicBezTo>
                  <a:pt x="1653067" y="790156"/>
                  <a:pt x="1653314" y="789910"/>
                  <a:pt x="1653562" y="789910"/>
                </a:cubicBezTo>
                <a:close/>
                <a:moveTo>
                  <a:pt x="606480" y="789903"/>
                </a:moveTo>
                <a:cubicBezTo>
                  <a:pt x="625981" y="789903"/>
                  <a:pt x="642024" y="805701"/>
                  <a:pt x="642024" y="825447"/>
                </a:cubicBezTo>
                <a:cubicBezTo>
                  <a:pt x="642024" y="845194"/>
                  <a:pt x="625981" y="860991"/>
                  <a:pt x="606480" y="860991"/>
                </a:cubicBezTo>
                <a:cubicBezTo>
                  <a:pt x="586980" y="860991"/>
                  <a:pt x="570936" y="844948"/>
                  <a:pt x="570936" y="825447"/>
                </a:cubicBezTo>
                <a:cubicBezTo>
                  <a:pt x="570936" y="805947"/>
                  <a:pt x="586734" y="789903"/>
                  <a:pt x="606480" y="789903"/>
                </a:cubicBezTo>
                <a:close/>
                <a:moveTo>
                  <a:pt x="1913233" y="789667"/>
                </a:moveTo>
                <a:cubicBezTo>
                  <a:pt x="1923104" y="789667"/>
                  <a:pt x="1931001" y="797567"/>
                  <a:pt x="1931001" y="807440"/>
                </a:cubicBezTo>
                <a:cubicBezTo>
                  <a:pt x="1931001" y="817313"/>
                  <a:pt x="1923104" y="825212"/>
                  <a:pt x="1913233" y="825212"/>
                </a:cubicBezTo>
                <a:cubicBezTo>
                  <a:pt x="1903360" y="825212"/>
                  <a:pt x="1895460" y="817067"/>
                  <a:pt x="1895460" y="807440"/>
                </a:cubicBezTo>
                <a:cubicBezTo>
                  <a:pt x="1895460" y="797567"/>
                  <a:pt x="1903607" y="789667"/>
                  <a:pt x="1913233" y="789667"/>
                </a:cubicBezTo>
                <a:close/>
                <a:moveTo>
                  <a:pt x="1195181" y="773861"/>
                </a:moveTo>
                <a:cubicBezTo>
                  <a:pt x="1212459" y="773861"/>
                  <a:pt x="1226528" y="787931"/>
                  <a:pt x="1226528" y="805212"/>
                </a:cubicBezTo>
                <a:cubicBezTo>
                  <a:pt x="1226528" y="822489"/>
                  <a:pt x="1212459" y="836558"/>
                  <a:pt x="1195181" y="836558"/>
                </a:cubicBezTo>
                <a:cubicBezTo>
                  <a:pt x="1177902" y="836558"/>
                  <a:pt x="1163832" y="822489"/>
                  <a:pt x="1163832" y="805212"/>
                </a:cubicBezTo>
                <a:cubicBezTo>
                  <a:pt x="1163832" y="787931"/>
                  <a:pt x="1177902" y="773861"/>
                  <a:pt x="1195181" y="773861"/>
                </a:cubicBezTo>
                <a:close/>
                <a:moveTo>
                  <a:pt x="3394221" y="772902"/>
                </a:moveTo>
                <a:cubicBezTo>
                  <a:pt x="3414958" y="772902"/>
                  <a:pt x="3431989" y="789939"/>
                  <a:pt x="3431989" y="810921"/>
                </a:cubicBezTo>
                <a:cubicBezTo>
                  <a:pt x="3431989" y="831652"/>
                  <a:pt x="3414958" y="848687"/>
                  <a:pt x="3394221" y="848687"/>
                </a:cubicBezTo>
                <a:cubicBezTo>
                  <a:pt x="3373241" y="848687"/>
                  <a:pt x="3356210" y="831652"/>
                  <a:pt x="3356210" y="810921"/>
                </a:cubicBezTo>
                <a:cubicBezTo>
                  <a:pt x="3356210" y="789939"/>
                  <a:pt x="3373241" y="772902"/>
                  <a:pt x="3394221" y="772902"/>
                </a:cubicBezTo>
                <a:close/>
                <a:moveTo>
                  <a:pt x="3627725" y="769944"/>
                </a:moveTo>
                <a:cubicBezTo>
                  <a:pt x="3651421" y="769944"/>
                  <a:pt x="3670427" y="789202"/>
                  <a:pt x="3670427" y="812654"/>
                </a:cubicBezTo>
                <a:cubicBezTo>
                  <a:pt x="3670675" y="836349"/>
                  <a:pt x="3651421" y="855358"/>
                  <a:pt x="3627725" y="855358"/>
                </a:cubicBezTo>
                <a:cubicBezTo>
                  <a:pt x="3604029" y="855358"/>
                  <a:pt x="3585023" y="836103"/>
                  <a:pt x="3585023" y="812654"/>
                </a:cubicBezTo>
                <a:cubicBezTo>
                  <a:pt x="3585023" y="788955"/>
                  <a:pt x="3604275" y="769944"/>
                  <a:pt x="3627725" y="769944"/>
                </a:cubicBezTo>
                <a:close/>
                <a:moveTo>
                  <a:pt x="1375128" y="766951"/>
                </a:moveTo>
                <a:cubicBezTo>
                  <a:pt x="1382039" y="766951"/>
                  <a:pt x="1387715" y="772629"/>
                  <a:pt x="1387715" y="779541"/>
                </a:cubicBezTo>
                <a:cubicBezTo>
                  <a:pt x="1387715" y="786699"/>
                  <a:pt x="1382039" y="792131"/>
                  <a:pt x="1375128" y="792131"/>
                </a:cubicBezTo>
                <a:cubicBezTo>
                  <a:pt x="1368216" y="792131"/>
                  <a:pt x="1362539" y="786453"/>
                  <a:pt x="1362539" y="779541"/>
                </a:cubicBezTo>
                <a:cubicBezTo>
                  <a:pt x="1362539" y="772629"/>
                  <a:pt x="1368216" y="766951"/>
                  <a:pt x="1375128" y="766951"/>
                </a:cubicBezTo>
                <a:close/>
                <a:moveTo>
                  <a:pt x="2576212" y="758816"/>
                </a:moveTo>
                <a:cubicBezTo>
                  <a:pt x="2579420" y="758816"/>
                  <a:pt x="2582136" y="761531"/>
                  <a:pt x="2582136" y="764739"/>
                </a:cubicBezTo>
                <a:cubicBezTo>
                  <a:pt x="2582136" y="767947"/>
                  <a:pt x="2579420" y="770663"/>
                  <a:pt x="2576212" y="770663"/>
                </a:cubicBezTo>
                <a:cubicBezTo>
                  <a:pt x="2573004" y="770663"/>
                  <a:pt x="2570288" y="767947"/>
                  <a:pt x="2570288" y="764739"/>
                </a:cubicBezTo>
                <a:cubicBezTo>
                  <a:pt x="2570288" y="761531"/>
                  <a:pt x="2573004" y="758816"/>
                  <a:pt x="2576212" y="758816"/>
                </a:cubicBezTo>
                <a:close/>
                <a:moveTo>
                  <a:pt x="2321728" y="756347"/>
                </a:moveTo>
                <a:cubicBezTo>
                  <a:pt x="2332343" y="756347"/>
                  <a:pt x="2340983" y="764985"/>
                  <a:pt x="2340983" y="775600"/>
                </a:cubicBezTo>
                <a:cubicBezTo>
                  <a:pt x="2340983" y="786214"/>
                  <a:pt x="2332343" y="794855"/>
                  <a:pt x="2321728" y="794855"/>
                </a:cubicBezTo>
                <a:cubicBezTo>
                  <a:pt x="2311116" y="794855"/>
                  <a:pt x="2302476" y="786214"/>
                  <a:pt x="2302476" y="775600"/>
                </a:cubicBezTo>
                <a:cubicBezTo>
                  <a:pt x="2302476" y="764985"/>
                  <a:pt x="2311116" y="756347"/>
                  <a:pt x="2321728" y="756347"/>
                </a:cubicBezTo>
                <a:close/>
                <a:moveTo>
                  <a:pt x="54307" y="753369"/>
                </a:moveTo>
                <a:cubicBezTo>
                  <a:pt x="70599" y="753369"/>
                  <a:pt x="83927" y="766699"/>
                  <a:pt x="83927" y="782989"/>
                </a:cubicBezTo>
                <a:cubicBezTo>
                  <a:pt x="83927" y="799528"/>
                  <a:pt x="70599" y="812609"/>
                  <a:pt x="54307" y="812609"/>
                </a:cubicBezTo>
                <a:cubicBezTo>
                  <a:pt x="38017" y="812609"/>
                  <a:pt x="24687" y="799282"/>
                  <a:pt x="24687" y="782989"/>
                </a:cubicBezTo>
                <a:cubicBezTo>
                  <a:pt x="24687" y="766699"/>
                  <a:pt x="38017" y="753369"/>
                  <a:pt x="54307" y="753369"/>
                </a:cubicBezTo>
                <a:close/>
                <a:moveTo>
                  <a:pt x="2072178" y="752640"/>
                </a:moveTo>
                <a:cubicBezTo>
                  <a:pt x="2079830" y="752640"/>
                  <a:pt x="2086001" y="758810"/>
                  <a:pt x="2086001" y="766461"/>
                </a:cubicBezTo>
                <a:cubicBezTo>
                  <a:pt x="2086001" y="774115"/>
                  <a:pt x="2079830" y="780286"/>
                  <a:pt x="2072178" y="780286"/>
                </a:cubicBezTo>
                <a:cubicBezTo>
                  <a:pt x="2064525" y="780286"/>
                  <a:pt x="2058355" y="774115"/>
                  <a:pt x="2058355" y="766461"/>
                </a:cubicBezTo>
                <a:cubicBezTo>
                  <a:pt x="2058355" y="758810"/>
                  <a:pt x="2064525" y="752640"/>
                  <a:pt x="2072178" y="752640"/>
                </a:cubicBezTo>
                <a:close/>
                <a:moveTo>
                  <a:pt x="2816628" y="750431"/>
                </a:moveTo>
                <a:cubicBezTo>
                  <a:pt x="2827738" y="750431"/>
                  <a:pt x="2836621" y="759314"/>
                  <a:pt x="2836621" y="770420"/>
                </a:cubicBezTo>
                <a:cubicBezTo>
                  <a:pt x="2836621" y="781284"/>
                  <a:pt x="2827738" y="790419"/>
                  <a:pt x="2816628" y="790419"/>
                </a:cubicBezTo>
                <a:cubicBezTo>
                  <a:pt x="2805521" y="790419"/>
                  <a:pt x="2796635" y="781284"/>
                  <a:pt x="2796635" y="770420"/>
                </a:cubicBezTo>
                <a:cubicBezTo>
                  <a:pt x="2796635" y="759314"/>
                  <a:pt x="2805521" y="750431"/>
                  <a:pt x="2816628" y="750431"/>
                </a:cubicBezTo>
                <a:close/>
                <a:moveTo>
                  <a:pt x="3055072" y="743771"/>
                </a:moveTo>
                <a:cubicBezTo>
                  <a:pt x="3071610" y="743771"/>
                  <a:pt x="3084938" y="757100"/>
                  <a:pt x="3084938" y="773634"/>
                </a:cubicBezTo>
                <a:cubicBezTo>
                  <a:pt x="3084938" y="790177"/>
                  <a:pt x="3071610" y="803509"/>
                  <a:pt x="3055072" y="803509"/>
                </a:cubicBezTo>
                <a:cubicBezTo>
                  <a:pt x="3038536" y="803509"/>
                  <a:pt x="3025205" y="790177"/>
                  <a:pt x="3025205" y="773634"/>
                </a:cubicBezTo>
                <a:cubicBezTo>
                  <a:pt x="3025205" y="757100"/>
                  <a:pt x="3038536" y="743771"/>
                  <a:pt x="3055072" y="743771"/>
                </a:cubicBezTo>
                <a:close/>
                <a:moveTo>
                  <a:pt x="906632" y="737329"/>
                </a:moveTo>
                <a:cubicBezTo>
                  <a:pt x="921196" y="737329"/>
                  <a:pt x="933041" y="749176"/>
                  <a:pt x="933041" y="763740"/>
                </a:cubicBezTo>
                <a:cubicBezTo>
                  <a:pt x="933041" y="778302"/>
                  <a:pt x="921196" y="790150"/>
                  <a:pt x="906632" y="790150"/>
                </a:cubicBezTo>
                <a:cubicBezTo>
                  <a:pt x="892068" y="790150"/>
                  <a:pt x="880220" y="778302"/>
                  <a:pt x="880220" y="763740"/>
                </a:cubicBezTo>
                <a:cubicBezTo>
                  <a:pt x="880220" y="749176"/>
                  <a:pt x="892068" y="737329"/>
                  <a:pt x="906632" y="737329"/>
                </a:cubicBezTo>
                <a:close/>
                <a:moveTo>
                  <a:pt x="3291046" y="736618"/>
                </a:moveTo>
                <a:cubicBezTo>
                  <a:pt x="3312767" y="736618"/>
                  <a:pt x="3330539" y="754385"/>
                  <a:pt x="3330539" y="776109"/>
                </a:cubicBezTo>
                <a:cubicBezTo>
                  <a:pt x="3330539" y="797838"/>
                  <a:pt x="3312767" y="815609"/>
                  <a:pt x="3291046" y="815609"/>
                </a:cubicBezTo>
                <a:cubicBezTo>
                  <a:pt x="3269324" y="815609"/>
                  <a:pt x="3251552" y="797838"/>
                  <a:pt x="3251552" y="776109"/>
                </a:cubicBezTo>
                <a:cubicBezTo>
                  <a:pt x="3251552" y="754385"/>
                  <a:pt x="3269324" y="736618"/>
                  <a:pt x="3291046" y="736618"/>
                </a:cubicBezTo>
                <a:close/>
                <a:moveTo>
                  <a:pt x="1818695" y="735607"/>
                </a:moveTo>
                <a:cubicBezTo>
                  <a:pt x="1828320" y="735607"/>
                  <a:pt x="1836215" y="743506"/>
                  <a:pt x="1836215" y="753132"/>
                </a:cubicBezTo>
                <a:cubicBezTo>
                  <a:pt x="1836215" y="762758"/>
                  <a:pt x="1828320" y="770655"/>
                  <a:pt x="1818695" y="770655"/>
                </a:cubicBezTo>
                <a:cubicBezTo>
                  <a:pt x="1809066" y="770655"/>
                  <a:pt x="1801168" y="762758"/>
                  <a:pt x="1801168" y="753132"/>
                </a:cubicBezTo>
                <a:cubicBezTo>
                  <a:pt x="1801168" y="743506"/>
                  <a:pt x="1809066" y="735607"/>
                  <a:pt x="1818695" y="735607"/>
                </a:cubicBezTo>
                <a:close/>
                <a:moveTo>
                  <a:pt x="499105" y="734857"/>
                </a:moveTo>
                <a:cubicBezTo>
                  <a:pt x="511694" y="734857"/>
                  <a:pt x="522062" y="745223"/>
                  <a:pt x="522062" y="757812"/>
                </a:cubicBezTo>
                <a:cubicBezTo>
                  <a:pt x="522062" y="770401"/>
                  <a:pt x="511694" y="780769"/>
                  <a:pt x="499105" y="780769"/>
                </a:cubicBezTo>
                <a:cubicBezTo>
                  <a:pt x="486515" y="780769"/>
                  <a:pt x="476150" y="770401"/>
                  <a:pt x="476150" y="757812"/>
                </a:cubicBezTo>
                <a:cubicBezTo>
                  <a:pt x="476150" y="745223"/>
                  <a:pt x="486515" y="734857"/>
                  <a:pt x="499105" y="734857"/>
                </a:cubicBezTo>
                <a:close/>
                <a:moveTo>
                  <a:pt x="707681" y="728688"/>
                </a:moveTo>
                <a:cubicBezTo>
                  <a:pt x="729402" y="728688"/>
                  <a:pt x="746928" y="746213"/>
                  <a:pt x="746928" y="767935"/>
                </a:cubicBezTo>
                <a:cubicBezTo>
                  <a:pt x="746928" y="789657"/>
                  <a:pt x="729156" y="807183"/>
                  <a:pt x="707681" y="807183"/>
                </a:cubicBezTo>
                <a:cubicBezTo>
                  <a:pt x="685959" y="807183"/>
                  <a:pt x="668433" y="789657"/>
                  <a:pt x="668433" y="767935"/>
                </a:cubicBezTo>
                <a:cubicBezTo>
                  <a:pt x="668433" y="746460"/>
                  <a:pt x="685959" y="728688"/>
                  <a:pt x="707681" y="728688"/>
                </a:cubicBezTo>
                <a:close/>
                <a:moveTo>
                  <a:pt x="168839" y="724244"/>
                </a:moveTo>
                <a:cubicBezTo>
                  <a:pt x="188585" y="724244"/>
                  <a:pt x="204632" y="740288"/>
                  <a:pt x="204632" y="760034"/>
                </a:cubicBezTo>
                <a:cubicBezTo>
                  <a:pt x="204632" y="779781"/>
                  <a:pt x="188585" y="796074"/>
                  <a:pt x="168839" y="796074"/>
                </a:cubicBezTo>
                <a:cubicBezTo>
                  <a:pt x="149092" y="796074"/>
                  <a:pt x="133048" y="780027"/>
                  <a:pt x="133048" y="760034"/>
                </a:cubicBezTo>
                <a:cubicBezTo>
                  <a:pt x="133048" y="740288"/>
                  <a:pt x="149092" y="724244"/>
                  <a:pt x="168839" y="724244"/>
                </a:cubicBezTo>
                <a:close/>
                <a:moveTo>
                  <a:pt x="1558281" y="723016"/>
                </a:moveTo>
                <a:cubicBezTo>
                  <a:pt x="1565438" y="723016"/>
                  <a:pt x="1571116" y="728694"/>
                  <a:pt x="1571116" y="735851"/>
                </a:cubicBezTo>
                <a:cubicBezTo>
                  <a:pt x="1570870" y="743008"/>
                  <a:pt x="1565192" y="748686"/>
                  <a:pt x="1558281" y="748686"/>
                </a:cubicBezTo>
                <a:cubicBezTo>
                  <a:pt x="1551123" y="748686"/>
                  <a:pt x="1545445" y="743008"/>
                  <a:pt x="1545445" y="735851"/>
                </a:cubicBezTo>
                <a:cubicBezTo>
                  <a:pt x="1545445" y="728694"/>
                  <a:pt x="1551123" y="723016"/>
                  <a:pt x="1558281" y="723016"/>
                </a:cubicBezTo>
                <a:close/>
                <a:moveTo>
                  <a:pt x="1096942" y="717829"/>
                </a:moveTo>
                <a:cubicBezTo>
                  <a:pt x="1113478" y="717829"/>
                  <a:pt x="1127054" y="731406"/>
                  <a:pt x="1127054" y="747944"/>
                </a:cubicBezTo>
                <a:cubicBezTo>
                  <a:pt x="1127054" y="764479"/>
                  <a:pt x="1113478" y="778056"/>
                  <a:pt x="1096942" y="778056"/>
                </a:cubicBezTo>
                <a:cubicBezTo>
                  <a:pt x="1080403" y="778056"/>
                  <a:pt x="1066827" y="764479"/>
                  <a:pt x="1066827" y="747944"/>
                </a:cubicBezTo>
                <a:cubicBezTo>
                  <a:pt x="1066827" y="731406"/>
                  <a:pt x="1080403" y="717829"/>
                  <a:pt x="1096942" y="717829"/>
                </a:cubicBezTo>
                <a:close/>
                <a:moveTo>
                  <a:pt x="3532695" y="713177"/>
                </a:moveTo>
                <a:cubicBezTo>
                  <a:pt x="3557378" y="713177"/>
                  <a:pt x="3577371" y="733167"/>
                  <a:pt x="3577371" y="757847"/>
                </a:cubicBezTo>
                <a:cubicBezTo>
                  <a:pt x="3577371" y="782532"/>
                  <a:pt x="3557378" y="802536"/>
                  <a:pt x="3532695" y="802536"/>
                </a:cubicBezTo>
                <a:cubicBezTo>
                  <a:pt x="3508011" y="802536"/>
                  <a:pt x="3488018" y="782532"/>
                  <a:pt x="3488018" y="757847"/>
                </a:cubicBezTo>
                <a:cubicBezTo>
                  <a:pt x="3488018" y="733167"/>
                  <a:pt x="3508011" y="713177"/>
                  <a:pt x="3532695" y="713177"/>
                </a:cubicBezTo>
                <a:close/>
                <a:moveTo>
                  <a:pt x="2472295" y="710193"/>
                </a:moveTo>
                <a:cubicBezTo>
                  <a:pt x="2482661" y="710193"/>
                  <a:pt x="2490809" y="718584"/>
                  <a:pt x="2490809" y="728706"/>
                </a:cubicBezTo>
                <a:cubicBezTo>
                  <a:pt x="2491055" y="738824"/>
                  <a:pt x="2482661" y="747218"/>
                  <a:pt x="2472295" y="747218"/>
                </a:cubicBezTo>
                <a:cubicBezTo>
                  <a:pt x="2461927" y="747218"/>
                  <a:pt x="2453782" y="738824"/>
                  <a:pt x="2453782" y="728706"/>
                </a:cubicBezTo>
                <a:cubicBezTo>
                  <a:pt x="2453782" y="718338"/>
                  <a:pt x="2462173" y="710193"/>
                  <a:pt x="2472295" y="710193"/>
                </a:cubicBezTo>
                <a:close/>
                <a:moveTo>
                  <a:pt x="2227436" y="704759"/>
                </a:moveTo>
                <a:cubicBezTo>
                  <a:pt x="2236817" y="704759"/>
                  <a:pt x="2244470" y="712412"/>
                  <a:pt x="2244470" y="721791"/>
                </a:cubicBezTo>
                <a:cubicBezTo>
                  <a:pt x="2244470" y="731172"/>
                  <a:pt x="2236817" y="738823"/>
                  <a:pt x="2227436" y="738823"/>
                </a:cubicBezTo>
                <a:cubicBezTo>
                  <a:pt x="2218058" y="738823"/>
                  <a:pt x="2210405" y="731172"/>
                  <a:pt x="2210405" y="721791"/>
                </a:cubicBezTo>
                <a:cubicBezTo>
                  <a:pt x="2210405" y="712412"/>
                  <a:pt x="2218058" y="704759"/>
                  <a:pt x="2227436" y="704759"/>
                </a:cubicBezTo>
                <a:close/>
                <a:moveTo>
                  <a:pt x="1724647" y="695620"/>
                </a:moveTo>
                <a:cubicBezTo>
                  <a:pt x="1725881" y="695620"/>
                  <a:pt x="1726868" y="696607"/>
                  <a:pt x="1726868" y="697841"/>
                </a:cubicBezTo>
                <a:cubicBezTo>
                  <a:pt x="1726868" y="699075"/>
                  <a:pt x="1725881" y="700062"/>
                  <a:pt x="1724647" y="700062"/>
                </a:cubicBezTo>
                <a:cubicBezTo>
                  <a:pt x="1723414" y="700062"/>
                  <a:pt x="1722427" y="699075"/>
                  <a:pt x="1722427" y="697841"/>
                </a:cubicBezTo>
                <a:cubicBezTo>
                  <a:pt x="1722427" y="696607"/>
                  <a:pt x="1723414" y="695620"/>
                  <a:pt x="1724647" y="695620"/>
                </a:cubicBezTo>
                <a:close/>
                <a:moveTo>
                  <a:pt x="2722830" y="690697"/>
                </a:moveTo>
                <a:cubicBezTo>
                  <a:pt x="2736161" y="690697"/>
                  <a:pt x="2747268" y="701558"/>
                  <a:pt x="2747268" y="715135"/>
                </a:cubicBezTo>
                <a:cubicBezTo>
                  <a:pt x="2747268" y="728710"/>
                  <a:pt x="2736161" y="739568"/>
                  <a:pt x="2722830" y="739568"/>
                </a:cubicBezTo>
                <a:cubicBezTo>
                  <a:pt x="2709500" y="739568"/>
                  <a:pt x="2698393" y="728710"/>
                  <a:pt x="2698393" y="715135"/>
                </a:cubicBezTo>
                <a:cubicBezTo>
                  <a:pt x="2698393" y="701805"/>
                  <a:pt x="2709254" y="690697"/>
                  <a:pt x="2722830" y="690697"/>
                </a:cubicBezTo>
                <a:close/>
                <a:moveTo>
                  <a:pt x="1978629" y="689697"/>
                </a:moveTo>
                <a:cubicBezTo>
                  <a:pt x="1990724" y="689697"/>
                  <a:pt x="2000597" y="699570"/>
                  <a:pt x="2000597" y="711419"/>
                </a:cubicBezTo>
                <a:cubicBezTo>
                  <a:pt x="2000597" y="723267"/>
                  <a:pt x="1990724" y="733140"/>
                  <a:pt x="1978629" y="733140"/>
                </a:cubicBezTo>
                <a:cubicBezTo>
                  <a:pt x="1966538" y="733140"/>
                  <a:pt x="1956918" y="723267"/>
                  <a:pt x="1956918" y="711419"/>
                </a:cubicBezTo>
                <a:cubicBezTo>
                  <a:pt x="1956918" y="699324"/>
                  <a:pt x="1966784" y="689697"/>
                  <a:pt x="1978629" y="689697"/>
                </a:cubicBezTo>
                <a:close/>
                <a:moveTo>
                  <a:pt x="1278118" y="687469"/>
                </a:moveTo>
                <a:cubicBezTo>
                  <a:pt x="1298359" y="687469"/>
                  <a:pt x="1314895" y="704007"/>
                  <a:pt x="1314895" y="724247"/>
                </a:cubicBezTo>
                <a:cubicBezTo>
                  <a:pt x="1314895" y="744488"/>
                  <a:pt x="1298359" y="761023"/>
                  <a:pt x="1278118" y="761023"/>
                </a:cubicBezTo>
                <a:cubicBezTo>
                  <a:pt x="1257878" y="761023"/>
                  <a:pt x="1241340" y="744488"/>
                  <a:pt x="1241340" y="724247"/>
                </a:cubicBezTo>
                <a:cubicBezTo>
                  <a:pt x="1241340" y="704007"/>
                  <a:pt x="1257878" y="687469"/>
                  <a:pt x="1278118" y="687469"/>
                </a:cubicBezTo>
                <a:close/>
                <a:moveTo>
                  <a:pt x="281149" y="686971"/>
                </a:moveTo>
                <a:cubicBezTo>
                  <a:pt x="303857" y="686971"/>
                  <a:pt x="322371" y="705484"/>
                  <a:pt x="322371" y="728193"/>
                </a:cubicBezTo>
                <a:cubicBezTo>
                  <a:pt x="322371" y="750902"/>
                  <a:pt x="303857" y="769414"/>
                  <a:pt x="281149" y="769414"/>
                </a:cubicBezTo>
                <a:cubicBezTo>
                  <a:pt x="258440" y="769414"/>
                  <a:pt x="239927" y="750902"/>
                  <a:pt x="239927" y="728193"/>
                </a:cubicBezTo>
                <a:cubicBezTo>
                  <a:pt x="239927" y="705484"/>
                  <a:pt x="258440" y="686971"/>
                  <a:pt x="281149" y="686971"/>
                </a:cubicBezTo>
                <a:close/>
                <a:moveTo>
                  <a:pt x="3196012" y="684780"/>
                </a:moveTo>
                <a:cubicBezTo>
                  <a:pt x="3216253" y="684780"/>
                  <a:pt x="3232792" y="701318"/>
                  <a:pt x="3232792" y="721559"/>
                </a:cubicBezTo>
                <a:cubicBezTo>
                  <a:pt x="3232792" y="741799"/>
                  <a:pt x="3216253" y="758331"/>
                  <a:pt x="3196012" y="758331"/>
                </a:cubicBezTo>
                <a:cubicBezTo>
                  <a:pt x="3175773" y="758331"/>
                  <a:pt x="3159234" y="741799"/>
                  <a:pt x="3159234" y="721559"/>
                </a:cubicBezTo>
                <a:cubicBezTo>
                  <a:pt x="3159234" y="701318"/>
                  <a:pt x="3175773" y="684780"/>
                  <a:pt x="3196012" y="684780"/>
                </a:cubicBezTo>
                <a:close/>
                <a:moveTo>
                  <a:pt x="2960533" y="683791"/>
                </a:moveTo>
                <a:cubicBezTo>
                  <a:pt x="2980034" y="683791"/>
                  <a:pt x="2995831" y="699587"/>
                  <a:pt x="2995831" y="719090"/>
                </a:cubicBezTo>
                <a:cubicBezTo>
                  <a:pt x="2996077" y="738338"/>
                  <a:pt x="2980034" y="754381"/>
                  <a:pt x="2960533" y="754381"/>
                </a:cubicBezTo>
                <a:cubicBezTo>
                  <a:pt x="2941033" y="754381"/>
                  <a:pt x="2925235" y="738586"/>
                  <a:pt x="2925235" y="719090"/>
                </a:cubicBezTo>
                <a:cubicBezTo>
                  <a:pt x="2925235" y="699587"/>
                  <a:pt x="2941033" y="683791"/>
                  <a:pt x="2960533" y="683791"/>
                </a:cubicBezTo>
                <a:close/>
                <a:moveTo>
                  <a:pt x="1452386" y="677845"/>
                </a:moveTo>
                <a:cubicBezTo>
                  <a:pt x="1461024" y="677845"/>
                  <a:pt x="1467935" y="684757"/>
                  <a:pt x="1467935" y="693396"/>
                </a:cubicBezTo>
                <a:cubicBezTo>
                  <a:pt x="1467935" y="702034"/>
                  <a:pt x="1461024" y="708945"/>
                  <a:pt x="1452386" y="708945"/>
                </a:cubicBezTo>
                <a:cubicBezTo>
                  <a:pt x="1443746" y="708945"/>
                  <a:pt x="1436835" y="702034"/>
                  <a:pt x="1436835" y="693396"/>
                </a:cubicBezTo>
                <a:cubicBezTo>
                  <a:pt x="1436835" y="684757"/>
                  <a:pt x="1443746" y="677845"/>
                  <a:pt x="1452386" y="677845"/>
                </a:cubicBezTo>
                <a:close/>
                <a:moveTo>
                  <a:pt x="602530" y="670188"/>
                </a:moveTo>
                <a:cubicBezTo>
                  <a:pt x="621043" y="670188"/>
                  <a:pt x="636348" y="685244"/>
                  <a:pt x="636348" y="704004"/>
                </a:cubicBezTo>
                <a:cubicBezTo>
                  <a:pt x="636348" y="722763"/>
                  <a:pt x="621289" y="737819"/>
                  <a:pt x="602530" y="737819"/>
                </a:cubicBezTo>
                <a:cubicBezTo>
                  <a:pt x="584017" y="737819"/>
                  <a:pt x="568715" y="722763"/>
                  <a:pt x="568715" y="704004"/>
                </a:cubicBezTo>
                <a:cubicBezTo>
                  <a:pt x="568715" y="685490"/>
                  <a:pt x="583771" y="670188"/>
                  <a:pt x="602530" y="670188"/>
                </a:cubicBezTo>
                <a:close/>
                <a:moveTo>
                  <a:pt x="804686" y="661056"/>
                </a:moveTo>
                <a:cubicBezTo>
                  <a:pt x="828271" y="661056"/>
                  <a:pt x="847387" y="680176"/>
                  <a:pt x="847387" y="703757"/>
                </a:cubicBezTo>
                <a:cubicBezTo>
                  <a:pt x="847387" y="727342"/>
                  <a:pt x="828271" y="746459"/>
                  <a:pt x="804686" y="746459"/>
                </a:cubicBezTo>
                <a:cubicBezTo>
                  <a:pt x="781101" y="746459"/>
                  <a:pt x="761985" y="727342"/>
                  <a:pt x="761985" y="703757"/>
                </a:cubicBezTo>
                <a:cubicBezTo>
                  <a:pt x="761985" y="680176"/>
                  <a:pt x="781104" y="661056"/>
                  <a:pt x="804686" y="661056"/>
                </a:cubicBezTo>
                <a:close/>
                <a:moveTo>
                  <a:pt x="3437664" y="658126"/>
                </a:moveTo>
                <a:cubicBezTo>
                  <a:pt x="3462347" y="658126"/>
                  <a:pt x="3482340" y="678119"/>
                  <a:pt x="3482340" y="702803"/>
                </a:cubicBezTo>
                <a:cubicBezTo>
                  <a:pt x="3482340" y="727489"/>
                  <a:pt x="3462347" y="747479"/>
                  <a:pt x="3437664" y="747479"/>
                </a:cubicBezTo>
                <a:cubicBezTo>
                  <a:pt x="3412980" y="747479"/>
                  <a:pt x="3392987" y="727489"/>
                  <a:pt x="3392987" y="702803"/>
                </a:cubicBezTo>
                <a:cubicBezTo>
                  <a:pt x="3392987" y="678119"/>
                  <a:pt x="3412980" y="658126"/>
                  <a:pt x="3437664" y="658126"/>
                </a:cubicBezTo>
                <a:close/>
                <a:moveTo>
                  <a:pt x="997219" y="658093"/>
                </a:moveTo>
                <a:cubicBezTo>
                  <a:pt x="1015238" y="658093"/>
                  <a:pt x="1030050" y="672903"/>
                  <a:pt x="1030050" y="690921"/>
                </a:cubicBezTo>
                <a:cubicBezTo>
                  <a:pt x="1030050" y="708940"/>
                  <a:pt x="1015486" y="723753"/>
                  <a:pt x="997219" y="723753"/>
                </a:cubicBezTo>
                <a:cubicBezTo>
                  <a:pt x="979201" y="723753"/>
                  <a:pt x="964391" y="708940"/>
                  <a:pt x="964391" y="690921"/>
                </a:cubicBezTo>
                <a:cubicBezTo>
                  <a:pt x="964391" y="672903"/>
                  <a:pt x="979201" y="658093"/>
                  <a:pt x="997219" y="658093"/>
                </a:cubicBezTo>
                <a:close/>
                <a:moveTo>
                  <a:pt x="3668947" y="655170"/>
                </a:moveTo>
                <a:cubicBezTo>
                  <a:pt x="3695852" y="655170"/>
                  <a:pt x="3717576" y="676892"/>
                  <a:pt x="3717576" y="703797"/>
                </a:cubicBezTo>
                <a:cubicBezTo>
                  <a:pt x="3717576" y="730703"/>
                  <a:pt x="3695852" y="752423"/>
                  <a:pt x="3668947" y="752423"/>
                </a:cubicBezTo>
                <a:cubicBezTo>
                  <a:pt x="3642043" y="752423"/>
                  <a:pt x="3620321" y="730703"/>
                  <a:pt x="3620321" y="703797"/>
                </a:cubicBezTo>
                <a:cubicBezTo>
                  <a:pt x="3620321" y="676892"/>
                  <a:pt x="3642043" y="655170"/>
                  <a:pt x="3668947" y="655170"/>
                </a:cubicBezTo>
                <a:close/>
                <a:moveTo>
                  <a:pt x="2378255" y="650211"/>
                </a:moveTo>
                <a:cubicBezTo>
                  <a:pt x="2391583" y="650211"/>
                  <a:pt x="2402444" y="661071"/>
                  <a:pt x="2402444" y="674399"/>
                </a:cubicBezTo>
                <a:cubicBezTo>
                  <a:pt x="2402690" y="687484"/>
                  <a:pt x="2391829" y="698590"/>
                  <a:pt x="2378255" y="698590"/>
                </a:cubicBezTo>
                <a:cubicBezTo>
                  <a:pt x="2364925" y="698590"/>
                  <a:pt x="2354064" y="687730"/>
                  <a:pt x="2354064" y="674399"/>
                </a:cubicBezTo>
                <a:cubicBezTo>
                  <a:pt x="2354064" y="661071"/>
                  <a:pt x="2364925" y="650211"/>
                  <a:pt x="2378255" y="650211"/>
                </a:cubicBezTo>
                <a:close/>
                <a:moveTo>
                  <a:pt x="2133392" y="649712"/>
                </a:moveTo>
                <a:cubicBezTo>
                  <a:pt x="2143019" y="649712"/>
                  <a:pt x="2151164" y="657611"/>
                  <a:pt x="2151164" y="667484"/>
                </a:cubicBezTo>
                <a:cubicBezTo>
                  <a:pt x="2150918" y="677357"/>
                  <a:pt x="2143019" y="685256"/>
                  <a:pt x="2133392" y="685256"/>
                </a:cubicBezTo>
                <a:cubicBezTo>
                  <a:pt x="2123519" y="685256"/>
                  <a:pt x="2115620" y="677357"/>
                  <a:pt x="2115620" y="667484"/>
                </a:cubicBezTo>
                <a:cubicBezTo>
                  <a:pt x="2115620" y="657857"/>
                  <a:pt x="2123519" y="649712"/>
                  <a:pt x="2133392" y="649712"/>
                </a:cubicBezTo>
                <a:close/>
                <a:moveTo>
                  <a:pt x="2628541" y="643796"/>
                </a:moveTo>
                <a:cubicBezTo>
                  <a:pt x="2637920" y="643796"/>
                  <a:pt x="2645326" y="651448"/>
                  <a:pt x="2645326" y="660580"/>
                </a:cubicBezTo>
                <a:cubicBezTo>
                  <a:pt x="2645572" y="669959"/>
                  <a:pt x="2637920" y="677366"/>
                  <a:pt x="2628541" y="677366"/>
                </a:cubicBezTo>
                <a:cubicBezTo>
                  <a:pt x="2619160" y="677366"/>
                  <a:pt x="2611756" y="669712"/>
                  <a:pt x="2611756" y="660580"/>
                </a:cubicBezTo>
                <a:cubicBezTo>
                  <a:pt x="2611756" y="651202"/>
                  <a:pt x="2619409" y="643796"/>
                  <a:pt x="2628541" y="643796"/>
                </a:cubicBezTo>
                <a:close/>
                <a:moveTo>
                  <a:pt x="390743" y="641554"/>
                </a:moveTo>
                <a:cubicBezTo>
                  <a:pt x="415921" y="641554"/>
                  <a:pt x="436406" y="662042"/>
                  <a:pt x="436406" y="687218"/>
                </a:cubicBezTo>
                <a:cubicBezTo>
                  <a:pt x="436406" y="712397"/>
                  <a:pt x="415921" y="732882"/>
                  <a:pt x="390743" y="732882"/>
                </a:cubicBezTo>
                <a:cubicBezTo>
                  <a:pt x="365567" y="732882"/>
                  <a:pt x="345079" y="712397"/>
                  <a:pt x="345079" y="687218"/>
                </a:cubicBezTo>
                <a:cubicBezTo>
                  <a:pt x="345079" y="662042"/>
                  <a:pt x="365567" y="641554"/>
                  <a:pt x="390743" y="641554"/>
                </a:cubicBezTo>
                <a:close/>
                <a:moveTo>
                  <a:pt x="1884598" y="638357"/>
                </a:moveTo>
                <a:cubicBezTo>
                  <a:pt x="1894821" y="638357"/>
                  <a:pt x="1903110" y="646644"/>
                  <a:pt x="1903110" y="656869"/>
                </a:cubicBezTo>
                <a:cubicBezTo>
                  <a:pt x="1903110" y="667093"/>
                  <a:pt x="1894821" y="675380"/>
                  <a:pt x="1884598" y="675380"/>
                </a:cubicBezTo>
                <a:cubicBezTo>
                  <a:pt x="1874372" y="675380"/>
                  <a:pt x="1866084" y="667093"/>
                  <a:pt x="1866084" y="656869"/>
                </a:cubicBezTo>
                <a:cubicBezTo>
                  <a:pt x="1866084" y="646644"/>
                  <a:pt x="1874372" y="638357"/>
                  <a:pt x="1884598" y="638357"/>
                </a:cubicBezTo>
                <a:close/>
                <a:moveTo>
                  <a:pt x="2865995" y="636147"/>
                </a:moveTo>
                <a:cubicBezTo>
                  <a:pt x="2881793" y="636147"/>
                  <a:pt x="2894628" y="648982"/>
                  <a:pt x="2894628" y="664779"/>
                </a:cubicBezTo>
                <a:cubicBezTo>
                  <a:pt x="2894382" y="680578"/>
                  <a:pt x="2881793" y="693412"/>
                  <a:pt x="2865995" y="693412"/>
                </a:cubicBezTo>
                <a:cubicBezTo>
                  <a:pt x="2850198" y="693412"/>
                  <a:pt x="2837362" y="680578"/>
                  <a:pt x="2837362" y="664779"/>
                </a:cubicBezTo>
                <a:cubicBezTo>
                  <a:pt x="2837362" y="648982"/>
                  <a:pt x="2850198" y="636147"/>
                  <a:pt x="2865995" y="636147"/>
                </a:cubicBezTo>
                <a:close/>
                <a:moveTo>
                  <a:pt x="1181112" y="634893"/>
                </a:moveTo>
                <a:cubicBezTo>
                  <a:pt x="1199625" y="634893"/>
                  <a:pt x="1214436" y="649703"/>
                  <a:pt x="1214436" y="668216"/>
                </a:cubicBezTo>
                <a:cubicBezTo>
                  <a:pt x="1214436" y="686481"/>
                  <a:pt x="1199625" y="701540"/>
                  <a:pt x="1181112" y="701540"/>
                </a:cubicBezTo>
                <a:cubicBezTo>
                  <a:pt x="1162845" y="701540"/>
                  <a:pt x="1147789" y="686730"/>
                  <a:pt x="1147789" y="668216"/>
                </a:cubicBezTo>
                <a:cubicBezTo>
                  <a:pt x="1147789" y="649949"/>
                  <a:pt x="1162599" y="634893"/>
                  <a:pt x="1181112" y="634893"/>
                </a:cubicBezTo>
                <a:close/>
                <a:moveTo>
                  <a:pt x="3101230" y="629983"/>
                </a:moveTo>
                <a:cubicBezTo>
                  <a:pt x="3121716" y="629983"/>
                  <a:pt x="3138254" y="646520"/>
                  <a:pt x="3138254" y="667007"/>
                </a:cubicBezTo>
                <a:cubicBezTo>
                  <a:pt x="3138254" y="687493"/>
                  <a:pt x="3121716" y="704031"/>
                  <a:pt x="3101230" y="704031"/>
                </a:cubicBezTo>
                <a:cubicBezTo>
                  <a:pt x="3080743" y="704031"/>
                  <a:pt x="3064204" y="687493"/>
                  <a:pt x="3064204" y="667007"/>
                </a:cubicBezTo>
                <a:cubicBezTo>
                  <a:pt x="3064204" y="646520"/>
                  <a:pt x="3080743" y="629983"/>
                  <a:pt x="3101230" y="629983"/>
                </a:cubicBezTo>
                <a:close/>
                <a:moveTo>
                  <a:pt x="1629864" y="628727"/>
                </a:moveTo>
                <a:cubicBezTo>
                  <a:pt x="1638255" y="628727"/>
                  <a:pt x="1644920" y="635638"/>
                  <a:pt x="1644920" y="643783"/>
                </a:cubicBezTo>
                <a:cubicBezTo>
                  <a:pt x="1644920" y="652177"/>
                  <a:pt x="1638255" y="658842"/>
                  <a:pt x="1629864" y="658842"/>
                </a:cubicBezTo>
                <a:cubicBezTo>
                  <a:pt x="1621470" y="658842"/>
                  <a:pt x="1614558" y="651930"/>
                  <a:pt x="1614558" y="643783"/>
                </a:cubicBezTo>
                <a:cubicBezTo>
                  <a:pt x="1614558" y="635392"/>
                  <a:pt x="1621470" y="628727"/>
                  <a:pt x="1629864" y="628727"/>
                </a:cubicBezTo>
                <a:close/>
                <a:moveTo>
                  <a:pt x="51098" y="625261"/>
                </a:moveTo>
                <a:cubicBezTo>
                  <a:pt x="77756" y="625261"/>
                  <a:pt x="99477" y="646983"/>
                  <a:pt x="99477" y="673641"/>
                </a:cubicBezTo>
                <a:cubicBezTo>
                  <a:pt x="99477" y="700299"/>
                  <a:pt x="77756" y="722021"/>
                  <a:pt x="51098" y="722021"/>
                </a:cubicBezTo>
                <a:cubicBezTo>
                  <a:pt x="24440" y="722021"/>
                  <a:pt x="2718" y="700299"/>
                  <a:pt x="2718" y="673641"/>
                </a:cubicBezTo>
                <a:cubicBezTo>
                  <a:pt x="2718" y="646983"/>
                  <a:pt x="24440" y="625261"/>
                  <a:pt x="51098" y="625261"/>
                </a:cubicBezTo>
                <a:close/>
                <a:moveTo>
                  <a:pt x="3334488" y="622089"/>
                </a:moveTo>
                <a:cubicBezTo>
                  <a:pt x="3360159" y="622089"/>
                  <a:pt x="3380893" y="643068"/>
                  <a:pt x="3380893" y="668492"/>
                </a:cubicBezTo>
                <a:cubicBezTo>
                  <a:pt x="3380893" y="694161"/>
                  <a:pt x="3360159" y="714898"/>
                  <a:pt x="3334488" y="714898"/>
                </a:cubicBezTo>
                <a:cubicBezTo>
                  <a:pt x="3308817" y="714898"/>
                  <a:pt x="3288083" y="694161"/>
                  <a:pt x="3288083" y="668492"/>
                </a:cubicBezTo>
                <a:cubicBezTo>
                  <a:pt x="3288083" y="642822"/>
                  <a:pt x="3308817" y="622089"/>
                  <a:pt x="3334488" y="622089"/>
                </a:cubicBezTo>
                <a:close/>
                <a:moveTo>
                  <a:pt x="163903" y="605269"/>
                </a:moveTo>
                <a:cubicBezTo>
                  <a:pt x="188338" y="605269"/>
                  <a:pt x="208087" y="625015"/>
                  <a:pt x="208087" y="649452"/>
                </a:cubicBezTo>
                <a:cubicBezTo>
                  <a:pt x="208334" y="673640"/>
                  <a:pt x="188338" y="693636"/>
                  <a:pt x="163903" y="693636"/>
                </a:cubicBezTo>
                <a:cubicBezTo>
                  <a:pt x="139466" y="693636"/>
                  <a:pt x="119719" y="673887"/>
                  <a:pt x="119719" y="649452"/>
                </a:cubicBezTo>
                <a:cubicBezTo>
                  <a:pt x="119719" y="625015"/>
                  <a:pt x="139466" y="605269"/>
                  <a:pt x="163903" y="605269"/>
                </a:cubicBezTo>
                <a:close/>
                <a:moveTo>
                  <a:pt x="702003" y="602061"/>
                </a:moveTo>
                <a:cubicBezTo>
                  <a:pt x="724465" y="602061"/>
                  <a:pt x="742978" y="620328"/>
                  <a:pt x="742978" y="643037"/>
                </a:cubicBezTo>
                <a:cubicBezTo>
                  <a:pt x="742732" y="665497"/>
                  <a:pt x="724465" y="684010"/>
                  <a:pt x="702003" y="684010"/>
                </a:cubicBezTo>
                <a:cubicBezTo>
                  <a:pt x="679543" y="684010"/>
                  <a:pt x="661029" y="665745"/>
                  <a:pt x="661029" y="643037"/>
                </a:cubicBezTo>
                <a:cubicBezTo>
                  <a:pt x="661029" y="620575"/>
                  <a:pt x="679294" y="602061"/>
                  <a:pt x="702003" y="602061"/>
                </a:cubicBezTo>
                <a:close/>
                <a:moveTo>
                  <a:pt x="2284209" y="600103"/>
                </a:moveTo>
                <a:cubicBezTo>
                  <a:pt x="2295319" y="600103"/>
                  <a:pt x="2304451" y="609235"/>
                  <a:pt x="2304451" y="620341"/>
                </a:cubicBezTo>
                <a:cubicBezTo>
                  <a:pt x="2304451" y="631450"/>
                  <a:pt x="2295319" y="640582"/>
                  <a:pt x="2284209" y="640582"/>
                </a:cubicBezTo>
                <a:cubicBezTo>
                  <a:pt x="2273102" y="640582"/>
                  <a:pt x="2263970" y="631450"/>
                  <a:pt x="2263970" y="620341"/>
                </a:cubicBezTo>
                <a:cubicBezTo>
                  <a:pt x="2263970" y="609235"/>
                  <a:pt x="2273102" y="600103"/>
                  <a:pt x="2284209" y="600103"/>
                </a:cubicBezTo>
                <a:close/>
                <a:moveTo>
                  <a:pt x="2525117" y="599858"/>
                </a:moveTo>
                <a:cubicBezTo>
                  <a:pt x="2539186" y="599858"/>
                  <a:pt x="2550539" y="611213"/>
                  <a:pt x="2550539" y="625282"/>
                </a:cubicBezTo>
                <a:cubicBezTo>
                  <a:pt x="2550539" y="639350"/>
                  <a:pt x="2539186" y="650703"/>
                  <a:pt x="2525117" y="650703"/>
                </a:cubicBezTo>
                <a:cubicBezTo>
                  <a:pt x="2511045" y="650703"/>
                  <a:pt x="2499692" y="639350"/>
                  <a:pt x="2499692" y="625282"/>
                </a:cubicBezTo>
                <a:cubicBezTo>
                  <a:pt x="2499692" y="611213"/>
                  <a:pt x="2511045" y="599858"/>
                  <a:pt x="2525117" y="599858"/>
                </a:cubicBezTo>
                <a:close/>
                <a:moveTo>
                  <a:pt x="3573421" y="599141"/>
                </a:moveTo>
                <a:cubicBezTo>
                  <a:pt x="3600820" y="599141"/>
                  <a:pt x="3623037" y="621356"/>
                  <a:pt x="3623037" y="648750"/>
                </a:cubicBezTo>
                <a:cubicBezTo>
                  <a:pt x="3623037" y="676149"/>
                  <a:pt x="3600820" y="698366"/>
                  <a:pt x="3573421" y="698366"/>
                </a:cubicBezTo>
                <a:cubicBezTo>
                  <a:pt x="3546024" y="698366"/>
                  <a:pt x="3523808" y="676149"/>
                  <a:pt x="3523808" y="648750"/>
                </a:cubicBezTo>
                <a:cubicBezTo>
                  <a:pt x="3523808" y="621356"/>
                  <a:pt x="3546024" y="599141"/>
                  <a:pt x="3573421" y="599141"/>
                </a:cubicBezTo>
                <a:close/>
                <a:moveTo>
                  <a:pt x="1356365" y="598117"/>
                </a:moveTo>
                <a:cubicBezTo>
                  <a:pt x="1378827" y="598117"/>
                  <a:pt x="1397095" y="616381"/>
                  <a:pt x="1397095" y="638843"/>
                </a:cubicBezTo>
                <a:cubicBezTo>
                  <a:pt x="1397095" y="661059"/>
                  <a:pt x="1378827" y="679571"/>
                  <a:pt x="1356365" y="679571"/>
                </a:cubicBezTo>
                <a:cubicBezTo>
                  <a:pt x="1333904" y="679571"/>
                  <a:pt x="1315637" y="661305"/>
                  <a:pt x="1315637" y="638843"/>
                </a:cubicBezTo>
                <a:cubicBezTo>
                  <a:pt x="1315637" y="616381"/>
                  <a:pt x="1333904" y="598117"/>
                  <a:pt x="1356365" y="598117"/>
                </a:cubicBezTo>
                <a:close/>
                <a:moveTo>
                  <a:pt x="1790802" y="593431"/>
                </a:moveTo>
                <a:cubicBezTo>
                  <a:pt x="1795739" y="593431"/>
                  <a:pt x="1799439" y="597380"/>
                  <a:pt x="1799439" y="602071"/>
                </a:cubicBezTo>
                <a:cubicBezTo>
                  <a:pt x="1799688" y="607007"/>
                  <a:pt x="1795739" y="610708"/>
                  <a:pt x="1790802" y="610708"/>
                </a:cubicBezTo>
                <a:cubicBezTo>
                  <a:pt x="1786110" y="610708"/>
                  <a:pt x="1782162" y="606759"/>
                  <a:pt x="1782162" y="602071"/>
                </a:cubicBezTo>
                <a:cubicBezTo>
                  <a:pt x="1782162" y="597380"/>
                  <a:pt x="1786110" y="593431"/>
                  <a:pt x="1790802" y="593431"/>
                </a:cubicBezTo>
                <a:close/>
                <a:moveTo>
                  <a:pt x="496634" y="589718"/>
                </a:moveTo>
                <a:cubicBezTo>
                  <a:pt x="523292" y="589718"/>
                  <a:pt x="545260" y="611439"/>
                  <a:pt x="545260" y="638097"/>
                </a:cubicBezTo>
                <a:cubicBezTo>
                  <a:pt x="545260" y="664755"/>
                  <a:pt x="523292" y="686476"/>
                  <a:pt x="496634" y="686476"/>
                </a:cubicBezTo>
                <a:cubicBezTo>
                  <a:pt x="469976" y="686476"/>
                  <a:pt x="448255" y="664755"/>
                  <a:pt x="448255" y="638097"/>
                </a:cubicBezTo>
                <a:cubicBezTo>
                  <a:pt x="448255" y="611439"/>
                  <a:pt x="469976" y="589718"/>
                  <a:pt x="496634" y="589718"/>
                </a:cubicBezTo>
                <a:close/>
                <a:moveTo>
                  <a:pt x="897250" y="588733"/>
                </a:moveTo>
                <a:cubicBezTo>
                  <a:pt x="921933" y="588733"/>
                  <a:pt x="941926" y="608725"/>
                  <a:pt x="941926" y="633409"/>
                </a:cubicBezTo>
                <a:cubicBezTo>
                  <a:pt x="941926" y="658092"/>
                  <a:pt x="921933" y="678085"/>
                  <a:pt x="897250" y="678085"/>
                </a:cubicBezTo>
                <a:cubicBezTo>
                  <a:pt x="872566" y="678085"/>
                  <a:pt x="852573" y="658092"/>
                  <a:pt x="852573" y="633409"/>
                </a:cubicBezTo>
                <a:cubicBezTo>
                  <a:pt x="852573" y="608725"/>
                  <a:pt x="872566" y="588733"/>
                  <a:pt x="897250" y="588733"/>
                </a:cubicBezTo>
                <a:close/>
                <a:moveTo>
                  <a:pt x="2039844" y="586769"/>
                </a:moveTo>
                <a:cubicBezTo>
                  <a:pt x="2054159" y="586769"/>
                  <a:pt x="2065514" y="598370"/>
                  <a:pt x="2065514" y="612439"/>
                </a:cubicBezTo>
                <a:cubicBezTo>
                  <a:pt x="2065761" y="626508"/>
                  <a:pt x="2054159" y="638109"/>
                  <a:pt x="2039844" y="638109"/>
                </a:cubicBezTo>
                <a:cubicBezTo>
                  <a:pt x="2025526" y="638109"/>
                  <a:pt x="2014173" y="626508"/>
                  <a:pt x="2014173" y="612439"/>
                </a:cubicBezTo>
                <a:cubicBezTo>
                  <a:pt x="2014173" y="598124"/>
                  <a:pt x="2025772" y="586769"/>
                  <a:pt x="2039844" y="586769"/>
                </a:cubicBezTo>
                <a:close/>
                <a:moveTo>
                  <a:pt x="1524709" y="584046"/>
                </a:moveTo>
                <a:cubicBezTo>
                  <a:pt x="1535075" y="584046"/>
                  <a:pt x="1543468" y="592437"/>
                  <a:pt x="1543468" y="602805"/>
                </a:cubicBezTo>
                <a:cubicBezTo>
                  <a:pt x="1543468" y="613174"/>
                  <a:pt x="1535075" y="621565"/>
                  <a:pt x="1524709" y="621565"/>
                </a:cubicBezTo>
                <a:cubicBezTo>
                  <a:pt x="1514341" y="621565"/>
                  <a:pt x="1505949" y="613174"/>
                  <a:pt x="1505949" y="602805"/>
                </a:cubicBezTo>
                <a:cubicBezTo>
                  <a:pt x="1505949" y="592437"/>
                  <a:pt x="1514341" y="584046"/>
                  <a:pt x="1524709" y="584046"/>
                </a:cubicBezTo>
                <a:close/>
                <a:moveTo>
                  <a:pt x="274486" y="576882"/>
                </a:moveTo>
                <a:cubicBezTo>
                  <a:pt x="295958" y="576882"/>
                  <a:pt x="313730" y="594408"/>
                  <a:pt x="313730" y="615883"/>
                </a:cubicBezTo>
                <a:cubicBezTo>
                  <a:pt x="313730" y="637109"/>
                  <a:pt x="296204" y="654881"/>
                  <a:pt x="274486" y="654881"/>
                </a:cubicBezTo>
                <a:cubicBezTo>
                  <a:pt x="253010" y="654881"/>
                  <a:pt x="235484" y="637355"/>
                  <a:pt x="235484" y="615883"/>
                </a:cubicBezTo>
                <a:cubicBezTo>
                  <a:pt x="235484" y="594408"/>
                  <a:pt x="253010" y="576882"/>
                  <a:pt x="274486" y="576882"/>
                </a:cubicBezTo>
                <a:close/>
                <a:moveTo>
                  <a:pt x="2771705" y="574934"/>
                </a:moveTo>
                <a:cubicBezTo>
                  <a:pt x="2790711" y="574934"/>
                  <a:pt x="2806262" y="590484"/>
                  <a:pt x="2806262" y="609489"/>
                </a:cubicBezTo>
                <a:cubicBezTo>
                  <a:pt x="2806262" y="628493"/>
                  <a:pt x="2790711" y="644044"/>
                  <a:pt x="2771705" y="644044"/>
                </a:cubicBezTo>
                <a:cubicBezTo>
                  <a:pt x="2752699" y="644044"/>
                  <a:pt x="2737148" y="628493"/>
                  <a:pt x="2737148" y="609489"/>
                </a:cubicBezTo>
                <a:cubicBezTo>
                  <a:pt x="2737148" y="590484"/>
                  <a:pt x="2752699" y="574934"/>
                  <a:pt x="2771705" y="574934"/>
                </a:cubicBezTo>
                <a:close/>
                <a:moveTo>
                  <a:pt x="1083115" y="572198"/>
                </a:moveTo>
                <a:cubicBezTo>
                  <a:pt x="1105578" y="572198"/>
                  <a:pt x="1123596" y="590465"/>
                  <a:pt x="1123596" y="612678"/>
                </a:cubicBezTo>
                <a:cubicBezTo>
                  <a:pt x="1123596" y="634892"/>
                  <a:pt x="1105578" y="653159"/>
                  <a:pt x="1083115" y="653159"/>
                </a:cubicBezTo>
                <a:cubicBezTo>
                  <a:pt x="1060904" y="653159"/>
                  <a:pt x="1042637" y="634892"/>
                  <a:pt x="1042637" y="612678"/>
                </a:cubicBezTo>
                <a:cubicBezTo>
                  <a:pt x="1042637" y="590216"/>
                  <a:pt x="1060904" y="572198"/>
                  <a:pt x="1083115" y="572198"/>
                </a:cubicBezTo>
                <a:close/>
                <a:moveTo>
                  <a:pt x="3239209" y="568773"/>
                </a:moveTo>
                <a:cubicBezTo>
                  <a:pt x="3264141" y="568773"/>
                  <a:pt x="3284134" y="589012"/>
                  <a:pt x="3284134" y="613694"/>
                </a:cubicBezTo>
                <a:cubicBezTo>
                  <a:pt x="3284134" y="638375"/>
                  <a:pt x="3264141" y="658616"/>
                  <a:pt x="3239209" y="658616"/>
                </a:cubicBezTo>
                <a:cubicBezTo>
                  <a:pt x="3214525" y="658616"/>
                  <a:pt x="3194286" y="638375"/>
                  <a:pt x="3194286" y="613694"/>
                </a:cubicBezTo>
                <a:cubicBezTo>
                  <a:pt x="3194286" y="589012"/>
                  <a:pt x="3214525" y="568773"/>
                  <a:pt x="3239209" y="568773"/>
                </a:cubicBezTo>
                <a:close/>
                <a:moveTo>
                  <a:pt x="3006444" y="568027"/>
                </a:moveTo>
                <a:cubicBezTo>
                  <a:pt x="3030635" y="568027"/>
                  <a:pt x="3050382" y="587774"/>
                  <a:pt x="3050382" y="611961"/>
                </a:cubicBezTo>
                <a:cubicBezTo>
                  <a:pt x="3050382" y="636151"/>
                  <a:pt x="3030635" y="655896"/>
                  <a:pt x="3006444" y="655896"/>
                </a:cubicBezTo>
                <a:cubicBezTo>
                  <a:pt x="2982255" y="655896"/>
                  <a:pt x="2962508" y="636151"/>
                  <a:pt x="2962508" y="611961"/>
                </a:cubicBezTo>
                <a:cubicBezTo>
                  <a:pt x="2962508" y="587774"/>
                  <a:pt x="2982255" y="568027"/>
                  <a:pt x="3006444" y="568027"/>
                </a:cubicBezTo>
                <a:close/>
                <a:moveTo>
                  <a:pt x="1260594" y="546033"/>
                </a:moveTo>
                <a:cubicBezTo>
                  <a:pt x="1281079" y="546033"/>
                  <a:pt x="1297864" y="562818"/>
                  <a:pt x="1297864" y="583306"/>
                </a:cubicBezTo>
                <a:cubicBezTo>
                  <a:pt x="1297864" y="604040"/>
                  <a:pt x="1281079" y="620575"/>
                  <a:pt x="1260594" y="620575"/>
                </a:cubicBezTo>
                <a:cubicBezTo>
                  <a:pt x="1240106" y="620575"/>
                  <a:pt x="1223321" y="603791"/>
                  <a:pt x="1223321" y="583306"/>
                </a:cubicBezTo>
                <a:cubicBezTo>
                  <a:pt x="1223321" y="562818"/>
                  <a:pt x="1240106" y="546033"/>
                  <a:pt x="1260594" y="546033"/>
                </a:cubicBezTo>
                <a:close/>
                <a:moveTo>
                  <a:pt x="2189919" y="544810"/>
                </a:moveTo>
                <a:cubicBezTo>
                  <a:pt x="2201767" y="544810"/>
                  <a:pt x="2211392" y="554437"/>
                  <a:pt x="2211392" y="566286"/>
                </a:cubicBezTo>
                <a:cubicBezTo>
                  <a:pt x="2211641" y="578134"/>
                  <a:pt x="2202014" y="587761"/>
                  <a:pt x="2189919" y="587761"/>
                </a:cubicBezTo>
                <a:cubicBezTo>
                  <a:pt x="2178071" y="587761"/>
                  <a:pt x="2168444" y="578134"/>
                  <a:pt x="2168444" y="566286"/>
                </a:cubicBezTo>
                <a:cubicBezTo>
                  <a:pt x="2168444" y="554437"/>
                  <a:pt x="2178071" y="544810"/>
                  <a:pt x="2189919" y="544810"/>
                </a:cubicBezTo>
                <a:close/>
                <a:moveTo>
                  <a:pt x="3477898" y="543352"/>
                </a:moveTo>
                <a:cubicBezTo>
                  <a:pt x="3505544" y="543352"/>
                  <a:pt x="3528004" y="565816"/>
                  <a:pt x="3528004" y="593461"/>
                </a:cubicBezTo>
                <a:cubicBezTo>
                  <a:pt x="3528004" y="621105"/>
                  <a:pt x="3505544" y="643563"/>
                  <a:pt x="3477898" y="643563"/>
                </a:cubicBezTo>
                <a:cubicBezTo>
                  <a:pt x="3450253" y="643563"/>
                  <a:pt x="3427790" y="621105"/>
                  <a:pt x="3427790" y="593461"/>
                </a:cubicBezTo>
                <a:cubicBezTo>
                  <a:pt x="3427790" y="565816"/>
                  <a:pt x="3450253" y="543352"/>
                  <a:pt x="3477898" y="543352"/>
                </a:cubicBezTo>
                <a:close/>
                <a:moveTo>
                  <a:pt x="3707207" y="542124"/>
                </a:moveTo>
                <a:cubicBezTo>
                  <a:pt x="3735594" y="542124"/>
                  <a:pt x="3758795" y="565329"/>
                  <a:pt x="3758795" y="593713"/>
                </a:cubicBezTo>
                <a:cubicBezTo>
                  <a:pt x="3758795" y="622343"/>
                  <a:pt x="3735594" y="645545"/>
                  <a:pt x="3707207" y="645545"/>
                </a:cubicBezTo>
                <a:cubicBezTo>
                  <a:pt x="3678574" y="645545"/>
                  <a:pt x="3655619" y="622343"/>
                  <a:pt x="3655619" y="593713"/>
                </a:cubicBezTo>
                <a:cubicBezTo>
                  <a:pt x="3655619" y="565329"/>
                  <a:pt x="3678820" y="542124"/>
                  <a:pt x="3707207" y="542124"/>
                </a:cubicBezTo>
                <a:close/>
                <a:moveTo>
                  <a:pt x="2431076" y="541357"/>
                </a:moveTo>
                <a:cubicBezTo>
                  <a:pt x="2447368" y="541357"/>
                  <a:pt x="2460696" y="554685"/>
                  <a:pt x="2460696" y="570732"/>
                </a:cubicBezTo>
                <a:cubicBezTo>
                  <a:pt x="2460450" y="587022"/>
                  <a:pt x="2447120" y="600352"/>
                  <a:pt x="2431076" y="600352"/>
                </a:cubicBezTo>
                <a:cubicBezTo>
                  <a:pt x="2414786" y="600352"/>
                  <a:pt x="2401456" y="587022"/>
                  <a:pt x="2401456" y="570732"/>
                </a:cubicBezTo>
                <a:cubicBezTo>
                  <a:pt x="2401456" y="554439"/>
                  <a:pt x="2414786" y="541357"/>
                  <a:pt x="2431076" y="541357"/>
                </a:cubicBezTo>
                <a:close/>
                <a:moveTo>
                  <a:pt x="50360" y="540598"/>
                </a:moveTo>
                <a:cubicBezTo>
                  <a:pt x="62949" y="540598"/>
                  <a:pt x="73068" y="550717"/>
                  <a:pt x="73068" y="563307"/>
                </a:cubicBezTo>
                <a:cubicBezTo>
                  <a:pt x="73068" y="575896"/>
                  <a:pt x="62949" y="586016"/>
                  <a:pt x="50360" y="586016"/>
                </a:cubicBezTo>
                <a:cubicBezTo>
                  <a:pt x="37770" y="586016"/>
                  <a:pt x="27651" y="575896"/>
                  <a:pt x="27651" y="563307"/>
                </a:cubicBezTo>
                <a:cubicBezTo>
                  <a:pt x="27651" y="550717"/>
                  <a:pt x="37770" y="540598"/>
                  <a:pt x="50360" y="540598"/>
                </a:cubicBezTo>
                <a:close/>
                <a:moveTo>
                  <a:pt x="1946056" y="538387"/>
                </a:moveTo>
                <a:cubicBezTo>
                  <a:pt x="1956672" y="538387"/>
                  <a:pt x="1965551" y="547028"/>
                  <a:pt x="1965551" y="557889"/>
                </a:cubicBezTo>
                <a:cubicBezTo>
                  <a:pt x="1965551" y="568750"/>
                  <a:pt x="1956672" y="577387"/>
                  <a:pt x="1946056" y="577387"/>
                </a:cubicBezTo>
                <a:cubicBezTo>
                  <a:pt x="1935197" y="577387"/>
                  <a:pt x="1926558" y="568750"/>
                  <a:pt x="1926558" y="557889"/>
                </a:cubicBezTo>
                <a:cubicBezTo>
                  <a:pt x="1926558" y="547028"/>
                  <a:pt x="1935443" y="538387"/>
                  <a:pt x="1946056" y="538387"/>
                </a:cubicBezTo>
                <a:close/>
                <a:moveTo>
                  <a:pt x="381856" y="538130"/>
                </a:moveTo>
                <a:cubicBezTo>
                  <a:pt x="400862" y="538130"/>
                  <a:pt x="416413" y="553681"/>
                  <a:pt x="416413" y="572933"/>
                </a:cubicBezTo>
                <a:cubicBezTo>
                  <a:pt x="416413" y="591941"/>
                  <a:pt x="401111" y="607490"/>
                  <a:pt x="381856" y="607490"/>
                </a:cubicBezTo>
                <a:cubicBezTo>
                  <a:pt x="362605" y="607490"/>
                  <a:pt x="347053" y="591941"/>
                  <a:pt x="347053" y="572933"/>
                </a:cubicBezTo>
                <a:cubicBezTo>
                  <a:pt x="347053" y="553927"/>
                  <a:pt x="362605" y="538130"/>
                  <a:pt x="381856" y="538130"/>
                </a:cubicBezTo>
                <a:close/>
                <a:moveTo>
                  <a:pt x="598331" y="531218"/>
                </a:moveTo>
                <a:cubicBezTo>
                  <a:pt x="625485" y="531218"/>
                  <a:pt x="647698" y="553435"/>
                  <a:pt x="647698" y="580586"/>
                </a:cubicBezTo>
                <a:cubicBezTo>
                  <a:pt x="647698" y="607739"/>
                  <a:pt x="625731" y="629952"/>
                  <a:pt x="598331" y="629952"/>
                </a:cubicBezTo>
                <a:cubicBezTo>
                  <a:pt x="571178" y="629952"/>
                  <a:pt x="548965" y="607739"/>
                  <a:pt x="548965" y="580586"/>
                </a:cubicBezTo>
                <a:cubicBezTo>
                  <a:pt x="548965" y="553435"/>
                  <a:pt x="571178" y="531218"/>
                  <a:pt x="598331" y="531218"/>
                </a:cubicBezTo>
                <a:close/>
                <a:moveTo>
                  <a:pt x="1696508" y="528510"/>
                </a:moveTo>
                <a:cubicBezTo>
                  <a:pt x="1707124" y="528510"/>
                  <a:pt x="1716010" y="537150"/>
                  <a:pt x="1716010" y="548011"/>
                </a:cubicBezTo>
                <a:cubicBezTo>
                  <a:pt x="1716010" y="558626"/>
                  <a:pt x="1707369" y="567512"/>
                  <a:pt x="1696508" y="567512"/>
                </a:cubicBezTo>
                <a:cubicBezTo>
                  <a:pt x="1685894" y="567512"/>
                  <a:pt x="1677008" y="558872"/>
                  <a:pt x="1677008" y="548011"/>
                </a:cubicBezTo>
                <a:cubicBezTo>
                  <a:pt x="1677008" y="537150"/>
                  <a:pt x="1685648" y="528510"/>
                  <a:pt x="1696508" y="528510"/>
                </a:cubicBezTo>
                <a:close/>
                <a:moveTo>
                  <a:pt x="796541" y="527762"/>
                </a:moveTo>
                <a:cubicBezTo>
                  <a:pt x="822704" y="527762"/>
                  <a:pt x="843687" y="548992"/>
                  <a:pt x="843687" y="574909"/>
                </a:cubicBezTo>
                <a:cubicBezTo>
                  <a:pt x="843687" y="600826"/>
                  <a:pt x="822704" y="622055"/>
                  <a:pt x="796541" y="622055"/>
                </a:cubicBezTo>
                <a:cubicBezTo>
                  <a:pt x="770375" y="622055"/>
                  <a:pt x="749394" y="600826"/>
                  <a:pt x="749394" y="574909"/>
                </a:cubicBezTo>
                <a:cubicBezTo>
                  <a:pt x="749394" y="548743"/>
                  <a:pt x="770624" y="527762"/>
                  <a:pt x="796541" y="527762"/>
                </a:cubicBezTo>
                <a:close/>
                <a:moveTo>
                  <a:pt x="2677167" y="524575"/>
                </a:moveTo>
                <a:cubicBezTo>
                  <a:pt x="2693703" y="524575"/>
                  <a:pt x="2707280" y="538152"/>
                  <a:pt x="2707280" y="554692"/>
                </a:cubicBezTo>
                <a:cubicBezTo>
                  <a:pt x="2707280" y="571228"/>
                  <a:pt x="2693950" y="584805"/>
                  <a:pt x="2677167" y="584805"/>
                </a:cubicBezTo>
                <a:cubicBezTo>
                  <a:pt x="2660629" y="584805"/>
                  <a:pt x="2647052" y="571228"/>
                  <a:pt x="2647052" y="554692"/>
                </a:cubicBezTo>
                <a:cubicBezTo>
                  <a:pt x="2647052" y="538152"/>
                  <a:pt x="2660629" y="524575"/>
                  <a:pt x="2677167" y="524575"/>
                </a:cubicBezTo>
                <a:close/>
                <a:moveTo>
                  <a:pt x="163160" y="523810"/>
                </a:moveTo>
                <a:cubicBezTo>
                  <a:pt x="170566" y="523810"/>
                  <a:pt x="176490" y="529735"/>
                  <a:pt x="176490" y="537141"/>
                </a:cubicBezTo>
                <a:cubicBezTo>
                  <a:pt x="176490" y="544545"/>
                  <a:pt x="170566" y="550469"/>
                  <a:pt x="163160" y="550469"/>
                </a:cubicBezTo>
                <a:cubicBezTo>
                  <a:pt x="155756" y="550469"/>
                  <a:pt x="149832" y="544545"/>
                  <a:pt x="149832" y="537141"/>
                </a:cubicBezTo>
                <a:cubicBezTo>
                  <a:pt x="149832" y="529735"/>
                  <a:pt x="155756" y="523810"/>
                  <a:pt x="163160" y="523810"/>
                </a:cubicBezTo>
                <a:close/>
                <a:moveTo>
                  <a:pt x="2911415" y="520624"/>
                </a:moveTo>
                <a:cubicBezTo>
                  <a:pt x="2931900" y="520624"/>
                  <a:pt x="2948685" y="537416"/>
                  <a:pt x="2948685" y="557905"/>
                </a:cubicBezTo>
                <a:cubicBezTo>
                  <a:pt x="2948685" y="578391"/>
                  <a:pt x="2931900" y="595175"/>
                  <a:pt x="2911415" y="595175"/>
                </a:cubicBezTo>
                <a:cubicBezTo>
                  <a:pt x="2890927" y="595175"/>
                  <a:pt x="2874142" y="578391"/>
                  <a:pt x="2874142" y="557905"/>
                </a:cubicBezTo>
                <a:cubicBezTo>
                  <a:pt x="2874142" y="537416"/>
                  <a:pt x="2890927" y="520624"/>
                  <a:pt x="2911415" y="520624"/>
                </a:cubicBezTo>
                <a:close/>
                <a:moveTo>
                  <a:pt x="3143932" y="515199"/>
                </a:moveTo>
                <a:cubicBezTo>
                  <a:pt x="3168123" y="515199"/>
                  <a:pt x="3187621" y="534707"/>
                  <a:pt x="3187621" y="558897"/>
                </a:cubicBezTo>
                <a:cubicBezTo>
                  <a:pt x="3187621" y="582840"/>
                  <a:pt x="3168123" y="602585"/>
                  <a:pt x="3143932" y="602585"/>
                </a:cubicBezTo>
                <a:cubicBezTo>
                  <a:pt x="3119744" y="602585"/>
                  <a:pt x="3100243" y="583089"/>
                  <a:pt x="3100243" y="558897"/>
                </a:cubicBezTo>
                <a:cubicBezTo>
                  <a:pt x="3100243" y="534707"/>
                  <a:pt x="3119744" y="515199"/>
                  <a:pt x="3143932" y="515199"/>
                </a:cubicBezTo>
                <a:close/>
                <a:moveTo>
                  <a:pt x="984880" y="510485"/>
                </a:moveTo>
                <a:cubicBezTo>
                  <a:pt x="1010302" y="510485"/>
                  <a:pt x="1031037" y="531221"/>
                  <a:pt x="1031037" y="556399"/>
                </a:cubicBezTo>
                <a:cubicBezTo>
                  <a:pt x="1030790" y="581822"/>
                  <a:pt x="1010302" y="602556"/>
                  <a:pt x="984880" y="602556"/>
                </a:cubicBezTo>
                <a:cubicBezTo>
                  <a:pt x="959456" y="602556"/>
                  <a:pt x="938968" y="581822"/>
                  <a:pt x="938968" y="556399"/>
                </a:cubicBezTo>
                <a:cubicBezTo>
                  <a:pt x="938968" y="530974"/>
                  <a:pt x="959702" y="510485"/>
                  <a:pt x="984880" y="510485"/>
                </a:cubicBezTo>
                <a:close/>
                <a:moveTo>
                  <a:pt x="1429675" y="509008"/>
                </a:moveTo>
                <a:cubicBezTo>
                  <a:pt x="1451645" y="509008"/>
                  <a:pt x="1469417" y="526782"/>
                  <a:pt x="1469417" y="548750"/>
                </a:cubicBezTo>
                <a:cubicBezTo>
                  <a:pt x="1469417" y="570720"/>
                  <a:pt x="1451645" y="588492"/>
                  <a:pt x="1429675" y="588492"/>
                </a:cubicBezTo>
                <a:cubicBezTo>
                  <a:pt x="1407707" y="588492"/>
                  <a:pt x="1389935" y="570720"/>
                  <a:pt x="1389935" y="548750"/>
                </a:cubicBezTo>
                <a:cubicBezTo>
                  <a:pt x="1389935" y="526782"/>
                  <a:pt x="1407707" y="509008"/>
                  <a:pt x="1429675" y="509008"/>
                </a:cubicBezTo>
                <a:close/>
                <a:moveTo>
                  <a:pt x="3374722" y="508537"/>
                </a:moveTo>
                <a:cubicBezTo>
                  <a:pt x="3402860" y="508537"/>
                  <a:pt x="3425815" y="531500"/>
                  <a:pt x="3425815" y="559643"/>
                </a:cubicBezTo>
                <a:cubicBezTo>
                  <a:pt x="3425815" y="587781"/>
                  <a:pt x="3402860" y="610734"/>
                  <a:pt x="3374722" y="610734"/>
                </a:cubicBezTo>
                <a:cubicBezTo>
                  <a:pt x="3346582" y="610734"/>
                  <a:pt x="3323627" y="587781"/>
                  <a:pt x="3323627" y="559643"/>
                </a:cubicBezTo>
                <a:cubicBezTo>
                  <a:pt x="3323627" y="531500"/>
                  <a:pt x="3346582" y="508537"/>
                  <a:pt x="3374722" y="508537"/>
                </a:cubicBezTo>
                <a:close/>
                <a:moveTo>
                  <a:pt x="2336538" y="493219"/>
                </a:moveTo>
                <a:cubicBezTo>
                  <a:pt x="2349619" y="493219"/>
                  <a:pt x="2359985" y="503834"/>
                  <a:pt x="2359985" y="516669"/>
                </a:cubicBezTo>
                <a:cubicBezTo>
                  <a:pt x="2359985" y="529508"/>
                  <a:pt x="2349619" y="540121"/>
                  <a:pt x="2336538" y="540121"/>
                </a:cubicBezTo>
                <a:cubicBezTo>
                  <a:pt x="2323703" y="540121"/>
                  <a:pt x="2313088" y="529508"/>
                  <a:pt x="2313088" y="516669"/>
                </a:cubicBezTo>
                <a:cubicBezTo>
                  <a:pt x="2313088" y="503834"/>
                  <a:pt x="2323456" y="493219"/>
                  <a:pt x="2336538" y="493219"/>
                </a:cubicBezTo>
                <a:close/>
                <a:moveTo>
                  <a:pt x="273003" y="490736"/>
                </a:moveTo>
                <a:cubicBezTo>
                  <a:pt x="278432" y="490736"/>
                  <a:pt x="282627" y="495180"/>
                  <a:pt x="282627" y="500363"/>
                </a:cubicBezTo>
                <a:cubicBezTo>
                  <a:pt x="282876" y="506038"/>
                  <a:pt x="278432" y="510236"/>
                  <a:pt x="273003" y="510236"/>
                </a:cubicBezTo>
                <a:cubicBezTo>
                  <a:pt x="267571" y="510236"/>
                  <a:pt x="263376" y="505792"/>
                  <a:pt x="263376" y="500363"/>
                </a:cubicBezTo>
                <a:cubicBezTo>
                  <a:pt x="263376" y="494931"/>
                  <a:pt x="267817" y="490736"/>
                  <a:pt x="273003" y="490736"/>
                </a:cubicBezTo>
                <a:close/>
                <a:moveTo>
                  <a:pt x="485281" y="489008"/>
                </a:moveTo>
                <a:cubicBezTo>
                  <a:pt x="503053" y="489008"/>
                  <a:pt x="517368" y="503323"/>
                  <a:pt x="517368" y="521095"/>
                </a:cubicBezTo>
                <a:cubicBezTo>
                  <a:pt x="517368" y="538622"/>
                  <a:pt x="502805" y="553185"/>
                  <a:pt x="485281" y="553185"/>
                </a:cubicBezTo>
                <a:cubicBezTo>
                  <a:pt x="467509" y="553185"/>
                  <a:pt x="453191" y="538868"/>
                  <a:pt x="453191" y="521095"/>
                </a:cubicBezTo>
                <a:cubicBezTo>
                  <a:pt x="453191" y="503323"/>
                  <a:pt x="467509" y="489008"/>
                  <a:pt x="485281" y="489008"/>
                </a:cubicBezTo>
                <a:close/>
                <a:moveTo>
                  <a:pt x="1592341" y="487039"/>
                </a:moveTo>
                <a:cubicBezTo>
                  <a:pt x="1604436" y="487039"/>
                  <a:pt x="1614063" y="496912"/>
                  <a:pt x="1614063" y="508760"/>
                </a:cubicBezTo>
                <a:cubicBezTo>
                  <a:pt x="1614063" y="520608"/>
                  <a:pt x="1604189" y="530483"/>
                  <a:pt x="1592341" y="530483"/>
                </a:cubicBezTo>
                <a:cubicBezTo>
                  <a:pt x="1580247" y="530483"/>
                  <a:pt x="1570620" y="520608"/>
                  <a:pt x="1570620" y="508760"/>
                </a:cubicBezTo>
                <a:cubicBezTo>
                  <a:pt x="1570620" y="496666"/>
                  <a:pt x="1580247" y="487039"/>
                  <a:pt x="1592341" y="487039"/>
                </a:cubicBezTo>
                <a:close/>
                <a:moveTo>
                  <a:pt x="3610943" y="486575"/>
                </a:moveTo>
                <a:cubicBezTo>
                  <a:pt x="3639822" y="486575"/>
                  <a:pt x="3663026" y="510024"/>
                  <a:pt x="3663026" y="538667"/>
                </a:cubicBezTo>
                <a:cubicBezTo>
                  <a:pt x="3663026" y="567302"/>
                  <a:pt x="3639822" y="590752"/>
                  <a:pt x="3610943" y="590752"/>
                </a:cubicBezTo>
                <a:cubicBezTo>
                  <a:pt x="3582310" y="590752"/>
                  <a:pt x="3558860" y="567302"/>
                  <a:pt x="3558860" y="538667"/>
                </a:cubicBezTo>
                <a:cubicBezTo>
                  <a:pt x="3558860" y="509778"/>
                  <a:pt x="3582310" y="486575"/>
                  <a:pt x="3610943" y="486575"/>
                </a:cubicBezTo>
                <a:close/>
                <a:moveTo>
                  <a:pt x="1852511" y="485313"/>
                </a:moveTo>
                <a:cubicBezTo>
                  <a:pt x="1862383" y="485313"/>
                  <a:pt x="1870280" y="493212"/>
                  <a:pt x="1870280" y="503085"/>
                </a:cubicBezTo>
                <a:cubicBezTo>
                  <a:pt x="1870280" y="512958"/>
                  <a:pt x="1862136" y="520857"/>
                  <a:pt x="1852511" y="520857"/>
                </a:cubicBezTo>
                <a:cubicBezTo>
                  <a:pt x="1842635" y="520857"/>
                  <a:pt x="1834734" y="512958"/>
                  <a:pt x="1834734" y="503085"/>
                </a:cubicBezTo>
                <a:cubicBezTo>
                  <a:pt x="1834734" y="493212"/>
                  <a:pt x="1842635" y="485313"/>
                  <a:pt x="1852511" y="485313"/>
                </a:cubicBezTo>
                <a:close/>
                <a:moveTo>
                  <a:pt x="2573992" y="485074"/>
                </a:moveTo>
                <a:cubicBezTo>
                  <a:pt x="2593244" y="485074"/>
                  <a:pt x="2608795" y="500626"/>
                  <a:pt x="2608795" y="519877"/>
                </a:cubicBezTo>
                <a:cubicBezTo>
                  <a:pt x="2608795" y="539137"/>
                  <a:pt x="2593244" y="554935"/>
                  <a:pt x="2573992" y="554935"/>
                </a:cubicBezTo>
                <a:cubicBezTo>
                  <a:pt x="2554737" y="554935"/>
                  <a:pt x="2538940" y="539137"/>
                  <a:pt x="2538940" y="519877"/>
                </a:cubicBezTo>
                <a:cubicBezTo>
                  <a:pt x="2538940" y="500626"/>
                  <a:pt x="2554737" y="485074"/>
                  <a:pt x="2573992" y="485074"/>
                </a:cubicBezTo>
                <a:close/>
                <a:moveTo>
                  <a:pt x="1163834" y="482841"/>
                </a:moveTo>
                <a:cubicBezTo>
                  <a:pt x="1189256" y="482841"/>
                  <a:pt x="1209990" y="503575"/>
                  <a:pt x="1209990" y="529001"/>
                </a:cubicBezTo>
                <a:cubicBezTo>
                  <a:pt x="1209990" y="554423"/>
                  <a:pt x="1189256" y="575158"/>
                  <a:pt x="1163834" y="575158"/>
                </a:cubicBezTo>
                <a:cubicBezTo>
                  <a:pt x="1138409" y="575158"/>
                  <a:pt x="1117675" y="554423"/>
                  <a:pt x="1117675" y="529001"/>
                </a:cubicBezTo>
                <a:cubicBezTo>
                  <a:pt x="1117675" y="503575"/>
                  <a:pt x="1138409" y="482841"/>
                  <a:pt x="1163834" y="482841"/>
                </a:cubicBezTo>
                <a:close/>
                <a:moveTo>
                  <a:pt x="2096615" y="480874"/>
                </a:moveTo>
                <a:cubicBezTo>
                  <a:pt x="2112908" y="480874"/>
                  <a:pt x="2126236" y="494201"/>
                  <a:pt x="2126236" y="510493"/>
                </a:cubicBezTo>
                <a:cubicBezTo>
                  <a:pt x="2126236" y="527035"/>
                  <a:pt x="2112908" y="540363"/>
                  <a:pt x="2096615" y="540363"/>
                </a:cubicBezTo>
                <a:cubicBezTo>
                  <a:pt x="2080325" y="540363"/>
                  <a:pt x="2066995" y="527035"/>
                  <a:pt x="2066995" y="510493"/>
                </a:cubicBezTo>
                <a:cubicBezTo>
                  <a:pt x="2066995" y="494201"/>
                  <a:pt x="2080325" y="480874"/>
                  <a:pt x="2096615" y="480874"/>
                </a:cubicBezTo>
                <a:close/>
                <a:moveTo>
                  <a:pt x="695337" y="465559"/>
                </a:moveTo>
                <a:cubicBezTo>
                  <a:pt x="722736" y="465559"/>
                  <a:pt x="744952" y="487775"/>
                  <a:pt x="744952" y="515172"/>
                </a:cubicBezTo>
                <a:cubicBezTo>
                  <a:pt x="744952" y="542572"/>
                  <a:pt x="722736" y="564788"/>
                  <a:pt x="695337" y="564788"/>
                </a:cubicBezTo>
                <a:cubicBezTo>
                  <a:pt x="667940" y="564788"/>
                  <a:pt x="645723" y="542572"/>
                  <a:pt x="645723" y="515172"/>
                </a:cubicBezTo>
                <a:cubicBezTo>
                  <a:pt x="645723" y="487775"/>
                  <a:pt x="667940" y="465559"/>
                  <a:pt x="695337" y="465559"/>
                </a:cubicBezTo>
                <a:close/>
                <a:moveTo>
                  <a:pt x="2816628" y="458915"/>
                </a:moveTo>
                <a:cubicBezTo>
                  <a:pt x="2840570" y="458915"/>
                  <a:pt x="2860317" y="478415"/>
                  <a:pt x="2860317" y="502358"/>
                </a:cubicBezTo>
                <a:cubicBezTo>
                  <a:pt x="2860317" y="526305"/>
                  <a:pt x="2840817" y="545807"/>
                  <a:pt x="2816628" y="545807"/>
                </a:cubicBezTo>
                <a:cubicBezTo>
                  <a:pt x="2792686" y="545807"/>
                  <a:pt x="2773185" y="526305"/>
                  <a:pt x="2773185" y="502358"/>
                </a:cubicBezTo>
                <a:cubicBezTo>
                  <a:pt x="2773185" y="478415"/>
                  <a:pt x="2792686" y="458915"/>
                  <a:pt x="2816628" y="458915"/>
                </a:cubicBezTo>
                <a:close/>
                <a:moveTo>
                  <a:pt x="3048652" y="453983"/>
                </a:moveTo>
                <a:cubicBezTo>
                  <a:pt x="3076051" y="453983"/>
                  <a:pt x="3098265" y="476199"/>
                  <a:pt x="3098265" y="503595"/>
                </a:cubicBezTo>
                <a:cubicBezTo>
                  <a:pt x="3098265" y="531001"/>
                  <a:pt x="3076051" y="553219"/>
                  <a:pt x="3048652" y="553219"/>
                </a:cubicBezTo>
                <a:cubicBezTo>
                  <a:pt x="3021253" y="553219"/>
                  <a:pt x="2999039" y="531001"/>
                  <a:pt x="2999039" y="503595"/>
                </a:cubicBezTo>
                <a:cubicBezTo>
                  <a:pt x="2999039" y="476199"/>
                  <a:pt x="3021253" y="453983"/>
                  <a:pt x="3048652" y="453983"/>
                </a:cubicBezTo>
                <a:close/>
                <a:moveTo>
                  <a:pt x="3278949" y="452999"/>
                </a:moveTo>
                <a:cubicBezTo>
                  <a:pt x="3307336" y="452999"/>
                  <a:pt x="3330537" y="476202"/>
                  <a:pt x="3330537" y="504586"/>
                </a:cubicBezTo>
                <a:cubicBezTo>
                  <a:pt x="3330537" y="532981"/>
                  <a:pt x="3307336" y="556184"/>
                  <a:pt x="3278949" y="556184"/>
                </a:cubicBezTo>
                <a:cubicBezTo>
                  <a:pt x="3250565" y="556184"/>
                  <a:pt x="3227361" y="532981"/>
                  <a:pt x="3227361" y="504586"/>
                </a:cubicBezTo>
                <a:cubicBezTo>
                  <a:pt x="3227361" y="476202"/>
                  <a:pt x="3250565" y="452999"/>
                  <a:pt x="3278949" y="452999"/>
                </a:cubicBezTo>
                <a:close/>
                <a:moveTo>
                  <a:pt x="1334642" y="451493"/>
                </a:moveTo>
                <a:cubicBezTo>
                  <a:pt x="1358092" y="451493"/>
                  <a:pt x="1377098" y="470499"/>
                  <a:pt x="1377098" y="493948"/>
                </a:cubicBezTo>
                <a:cubicBezTo>
                  <a:pt x="1377098" y="517645"/>
                  <a:pt x="1358092" y="536406"/>
                  <a:pt x="1334642" y="536406"/>
                </a:cubicBezTo>
                <a:cubicBezTo>
                  <a:pt x="1311192" y="536406"/>
                  <a:pt x="1292186" y="517398"/>
                  <a:pt x="1292186" y="493948"/>
                </a:cubicBezTo>
                <a:cubicBezTo>
                  <a:pt x="1292186" y="470499"/>
                  <a:pt x="1311192" y="451493"/>
                  <a:pt x="1334642" y="451493"/>
                </a:cubicBezTo>
                <a:close/>
                <a:moveTo>
                  <a:pt x="885897" y="450504"/>
                </a:moveTo>
                <a:cubicBezTo>
                  <a:pt x="913050" y="450504"/>
                  <a:pt x="935264" y="472720"/>
                  <a:pt x="935264" y="499871"/>
                </a:cubicBezTo>
                <a:cubicBezTo>
                  <a:pt x="935264" y="527271"/>
                  <a:pt x="913296" y="549239"/>
                  <a:pt x="885897" y="549239"/>
                </a:cubicBezTo>
                <a:cubicBezTo>
                  <a:pt x="858746" y="549239"/>
                  <a:pt x="836530" y="527025"/>
                  <a:pt x="836530" y="499871"/>
                </a:cubicBezTo>
                <a:cubicBezTo>
                  <a:pt x="836530" y="472720"/>
                  <a:pt x="858746" y="450504"/>
                  <a:pt x="885897" y="450504"/>
                </a:cubicBezTo>
                <a:close/>
                <a:moveTo>
                  <a:pt x="49864" y="439394"/>
                </a:moveTo>
                <a:cubicBezTo>
                  <a:pt x="57268" y="439394"/>
                  <a:pt x="63441" y="445564"/>
                  <a:pt x="63441" y="452971"/>
                </a:cubicBezTo>
                <a:cubicBezTo>
                  <a:pt x="63441" y="460375"/>
                  <a:pt x="57517" y="466548"/>
                  <a:pt x="49864" y="466548"/>
                </a:cubicBezTo>
                <a:cubicBezTo>
                  <a:pt x="42458" y="466548"/>
                  <a:pt x="36287" y="460375"/>
                  <a:pt x="36287" y="452971"/>
                </a:cubicBezTo>
                <a:cubicBezTo>
                  <a:pt x="36287" y="445564"/>
                  <a:pt x="42458" y="439394"/>
                  <a:pt x="49864" y="439394"/>
                </a:cubicBezTo>
                <a:close/>
                <a:moveTo>
                  <a:pt x="378894" y="438654"/>
                </a:moveTo>
                <a:cubicBezTo>
                  <a:pt x="387534" y="438654"/>
                  <a:pt x="394445" y="445565"/>
                  <a:pt x="394445" y="454205"/>
                </a:cubicBezTo>
                <a:cubicBezTo>
                  <a:pt x="394691" y="462842"/>
                  <a:pt x="387534" y="469754"/>
                  <a:pt x="378894" y="469754"/>
                </a:cubicBezTo>
                <a:cubicBezTo>
                  <a:pt x="370254" y="469754"/>
                  <a:pt x="363343" y="462842"/>
                  <a:pt x="363343" y="454205"/>
                </a:cubicBezTo>
                <a:cubicBezTo>
                  <a:pt x="363343" y="445565"/>
                  <a:pt x="370254" y="438654"/>
                  <a:pt x="378894" y="438654"/>
                </a:cubicBezTo>
                <a:close/>
                <a:moveTo>
                  <a:pt x="2242249" y="436940"/>
                </a:moveTo>
                <a:cubicBezTo>
                  <a:pt x="2256318" y="436940"/>
                  <a:pt x="2267671" y="448293"/>
                  <a:pt x="2267671" y="462365"/>
                </a:cubicBezTo>
                <a:cubicBezTo>
                  <a:pt x="2267671" y="476188"/>
                  <a:pt x="2256318" y="487787"/>
                  <a:pt x="2242249" y="487787"/>
                </a:cubicBezTo>
                <a:cubicBezTo>
                  <a:pt x="2228177" y="487787"/>
                  <a:pt x="2216824" y="476434"/>
                  <a:pt x="2216824" y="462365"/>
                </a:cubicBezTo>
                <a:cubicBezTo>
                  <a:pt x="2216824" y="448293"/>
                  <a:pt x="2228177" y="436940"/>
                  <a:pt x="2242249" y="436940"/>
                </a:cubicBezTo>
                <a:close/>
                <a:moveTo>
                  <a:pt x="2002571" y="434713"/>
                </a:moveTo>
                <a:cubicBezTo>
                  <a:pt x="2014419" y="434713"/>
                  <a:pt x="2024047" y="444341"/>
                  <a:pt x="2024047" y="456189"/>
                </a:cubicBezTo>
                <a:cubicBezTo>
                  <a:pt x="2024047" y="468037"/>
                  <a:pt x="2014419" y="477664"/>
                  <a:pt x="2002571" y="477664"/>
                </a:cubicBezTo>
                <a:cubicBezTo>
                  <a:pt x="1990723" y="477664"/>
                  <a:pt x="1981096" y="468037"/>
                  <a:pt x="1981096" y="456189"/>
                </a:cubicBezTo>
                <a:cubicBezTo>
                  <a:pt x="1981096" y="444341"/>
                  <a:pt x="1990723" y="434713"/>
                  <a:pt x="2002571" y="434713"/>
                </a:cubicBezTo>
                <a:close/>
                <a:moveTo>
                  <a:pt x="3514925" y="430541"/>
                </a:moveTo>
                <a:cubicBezTo>
                  <a:pt x="3543804" y="430541"/>
                  <a:pt x="3567254" y="453991"/>
                  <a:pt x="3567254" y="482870"/>
                </a:cubicBezTo>
                <a:cubicBezTo>
                  <a:pt x="3567008" y="511748"/>
                  <a:pt x="3543558" y="535207"/>
                  <a:pt x="3514925" y="535207"/>
                </a:cubicBezTo>
                <a:cubicBezTo>
                  <a:pt x="3486046" y="535207"/>
                  <a:pt x="3462596" y="511748"/>
                  <a:pt x="3462596" y="482870"/>
                </a:cubicBezTo>
                <a:cubicBezTo>
                  <a:pt x="3462596" y="453991"/>
                  <a:pt x="3486046" y="430541"/>
                  <a:pt x="3514925" y="430541"/>
                </a:cubicBezTo>
                <a:close/>
                <a:moveTo>
                  <a:pt x="3742013" y="430052"/>
                </a:moveTo>
                <a:cubicBezTo>
                  <a:pt x="3771139" y="430052"/>
                  <a:pt x="3794835" y="453748"/>
                  <a:pt x="3794835" y="482873"/>
                </a:cubicBezTo>
                <a:cubicBezTo>
                  <a:pt x="3794835" y="512001"/>
                  <a:pt x="3771139" y="535707"/>
                  <a:pt x="3742013" y="535707"/>
                </a:cubicBezTo>
                <a:cubicBezTo>
                  <a:pt x="3712885" y="535707"/>
                  <a:pt x="3689189" y="512001"/>
                  <a:pt x="3689189" y="482873"/>
                </a:cubicBezTo>
                <a:cubicBezTo>
                  <a:pt x="3689189" y="453748"/>
                  <a:pt x="3712885" y="430052"/>
                  <a:pt x="3742013" y="430052"/>
                </a:cubicBezTo>
                <a:close/>
                <a:moveTo>
                  <a:pt x="583769" y="430016"/>
                </a:moveTo>
                <a:cubicBezTo>
                  <a:pt x="600803" y="430016"/>
                  <a:pt x="614626" y="443839"/>
                  <a:pt x="614626" y="460870"/>
                </a:cubicBezTo>
                <a:cubicBezTo>
                  <a:pt x="614872" y="477901"/>
                  <a:pt x="600803" y="491726"/>
                  <a:pt x="583769" y="491726"/>
                </a:cubicBezTo>
                <a:cubicBezTo>
                  <a:pt x="566739" y="491726"/>
                  <a:pt x="552916" y="477901"/>
                  <a:pt x="552916" y="460870"/>
                </a:cubicBezTo>
                <a:cubicBezTo>
                  <a:pt x="552916" y="443839"/>
                  <a:pt x="566739" y="430016"/>
                  <a:pt x="583769" y="430016"/>
                </a:cubicBezTo>
                <a:close/>
                <a:moveTo>
                  <a:pt x="2479454" y="428303"/>
                </a:moveTo>
                <a:cubicBezTo>
                  <a:pt x="2499693" y="428303"/>
                  <a:pt x="2516232" y="444842"/>
                  <a:pt x="2516232" y="465329"/>
                </a:cubicBezTo>
                <a:cubicBezTo>
                  <a:pt x="2516232" y="485568"/>
                  <a:pt x="2499693" y="502353"/>
                  <a:pt x="2479454" y="502353"/>
                </a:cubicBezTo>
                <a:cubicBezTo>
                  <a:pt x="2458966" y="502353"/>
                  <a:pt x="2442427" y="485814"/>
                  <a:pt x="2442427" y="465329"/>
                </a:cubicBezTo>
                <a:cubicBezTo>
                  <a:pt x="2442427" y="444842"/>
                  <a:pt x="2458966" y="428303"/>
                  <a:pt x="2479454" y="428303"/>
                </a:cubicBezTo>
                <a:close/>
                <a:moveTo>
                  <a:pt x="1066825" y="427795"/>
                </a:moveTo>
                <a:cubicBezTo>
                  <a:pt x="1092247" y="427795"/>
                  <a:pt x="1113230" y="448529"/>
                  <a:pt x="1113230" y="473954"/>
                </a:cubicBezTo>
                <a:cubicBezTo>
                  <a:pt x="1113230" y="499379"/>
                  <a:pt x="1092496" y="520113"/>
                  <a:pt x="1066825" y="520113"/>
                </a:cubicBezTo>
                <a:cubicBezTo>
                  <a:pt x="1041402" y="520113"/>
                  <a:pt x="1020668" y="499379"/>
                  <a:pt x="1020668" y="473954"/>
                </a:cubicBezTo>
                <a:cubicBezTo>
                  <a:pt x="1020668" y="448529"/>
                  <a:pt x="1041402" y="427795"/>
                  <a:pt x="1066825" y="427795"/>
                </a:cubicBezTo>
                <a:close/>
                <a:moveTo>
                  <a:pt x="1758216" y="423358"/>
                </a:moveTo>
                <a:cubicBezTo>
                  <a:pt x="1772284" y="423358"/>
                  <a:pt x="1783887" y="434960"/>
                  <a:pt x="1783887" y="449029"/>
                </a:cubicBezTo>
                <a:cubicBezTo>
                  <a:pt x="1783887" y="463098"/>
                  <a:pt x="1772532" y="474700"/>
                  <a:pt x="1758216" y="474700"/>
                </a:cubicBezTo>
                <a:cubicBezTo>
                  <a:pt x="1744144" y="474700"/>
                  <a:pt x="1732545" y="463098"/>
                  <a:pt x="1732545" y="449029"/>
                </a:cubicBezTo>
                <a:cubicBezTo>
                  <a:pt x="1732545" y="434711"/>
                  <a:pt x="1743899" y="423358"/>
                  <a:pt x="1758216" y="423358"/>
                </a:cubicBezTo>
                <a:close/>
                <a:moveTo>
                  <a:pt x="1497554" y="419653"/>
                </a:moveTo>
                <a:cubicBezTo>
                  <a:pt x="1517055" y="419653"/>
                  <a:pt x="1532853" y="435450"/>
                  <a:pt x="1532853" y="454951"/>
                </a:cubicBezTo>
                <a:cubicBezTo>
                  <a:pt x="1533099" y="474451"/>
                  <a:pt x="1517055" y="490249"/>
                  <a:pt x="1497554" y="490249"/>
                </a:cubicBezTo>
                <a:cubicBezTo>
                  <a:pt x="1478054" y="490249"/>
                  <a:pt x="1462256" y="474451"/>
                  <a:pt x="1462256" y="454951"/>
                </a:cubicBezTo>
                <a:cubicBezTo>
                  <a:pt x="1462256" y="435450"/>
                  <a:pt x="1478054" y="419653"/>
                  <a:pt x="1497554" y="419653"/>
                </a:cubicBezTo>
                <a:close/>
                <a:moveTo>
                  <a:pt x="162175" y="406070"/>
                </a:moveTo>
                <a:cubicBezTo>
                  <a:pt x="172294" y="406070"/>
                  <a:pt x="180439" y="414215"/>
                  <a:pt x="180439" y="424335"/>
                </a:cubicBezTo>
                <a:cubicBezTo>
                  <a:pt x="180685" y="434208"/>
                  <a:pt x="172294" y="442602"/>
                  <a:pt x="162175" y="442602"/>
                </a:cubicBezTo>
                <a:cubicBezTo>
                  <a:pt x="152052" y="442602"/>
                  <a:pt x="143907" y="434457"/>
                  <a:pt x="143907" y="424335"/>
                </a:cubicBezTo>
                <a:cubicBezTo>
                  <a:pt x="143907" y="414215"/>
                  <a:pt x="152052" y="406070"/>
                  <a:pt x="162175" y="406070"/>
                </a:cubicBezTo>
                <a:close/>
                <a:moveTo>
                  <a:pt x="2721846" y="404611"/>
                </a:moveTo>
                <a:cubicBezTo>
                  <a:pt x="2745296" y="404611"/>
                  <a:pt x="2764302" y="423616"/>
                  <a:pt x="2764302" y="447066"/>
                </a:cubicBezTo>
                <a:cubicBezTo>
                  <a:pt x="2764053" y="470516"/>
                  <a:pt x="2745047" y="489521"/>
                  <a:pt x="2721846" y="489521"/>
                </a:cubicBezTo>
                <a:cubicBezTo>
                  <a:pt x="2698643" y="489521"/>
                  <a:pt x="2679637" y="470516"/>
                  <a:pt x="2679637" y="447066"/>
                </a:cubicBezTo>
                <a:cubicBezTo>
                  <a:pt x="2679637" y="423616"/>
                  <a:pt x="2698643" y="404611"/>
                  <a:pt x="2721846" y="404611"/>
                </a:cubicBezTo>
                <a:close/>
                <a:moveTo>
                  <a:pt x="2953127" y="403380"/>
                </a:moveTo>
                <a:cubicBezTo>
                  <a:pt x="2978057" y="403380"/>
                  <a:pt x="2998545" y="423868"/>
                  <a:pt x="2998545" y="448798"/>
                </a:cubicBezTo>
                <a:cubicBezTo>
                  <a:pt x="2998545" y="473976"/>
                  <a:pt x="2978057" y="494215"/>
                  <a:pt x="2953127" y="494215"/>
                </a:cubicBezTo>
                <a:cubicBezTo>
                  <a:pt x="2928197" y="494215"/>
                  <a:pt x="2907709" y="473976"/>
                  <a:pt x="2907709" y="448798"/>
                </a:cubicBezTo>
                <a:cubicBezTo>
                  <a:pt x="2907709" y="423868"/>
                  <a:pt x="2927951" y="403380"/>
                  <a:pt x="2953127" y="403380"/>
                </a:cubicBezTo>
                <a:close/>
                <a:moveTo>
                  <a:pt x="3182930" y="399681"/>
                </a:moveTo>
                <a:cubicBezTo>
                  <a:pt x="3210329" y="399681"/>
                  <a:pt x="3232792" y="421897"/>
                  <a:pt x="3232792" y="449294"/>
                </a:cubicBezTo>
                <a:cubicBezTo>
                  <a:pt x="3232792" y="476693"/>
                  <a:pt x="3210575" y="499155"/>
                  <a:pt x="3182930" y="499155"/>
                </a:cubicBezTo>
                <a:cubicBezTo>
                  <a:pt x="3155531" y="499155"/>
                  <a:pt x="3133317" y="476939"/>
                  <a:pt x="3133317" y="449294"/>
                </a:cubicBezTo>
                <a:cubicBezTo>
                  <a:pt x="3133317" y="421897"/>
                  <a:pt x="3155531" y="399681"/>
                  <a:pt x="3182930" y="399681"/>
                </a:cubicBezTo>
                <a:close/>
                <a:moveTo>
                  <a:pt x="3411501" y="397464"/>
                </a:moveTo>
                <a:cubicBezTo>
                  <a:pt x="3440134" y="397464"/>
                  <a:pt x="3463581" y="420914"/>
                  <a:pt x="3463581" y="449547"/>
                </a:cubicBezTo>
                <a:cubicBezTo>
                  <a:pt x="3463581" y="478179"/>
                  <a:pt x="3440134" y="501629"/>
                  <a:pt x="3411501" y="501629"/>
                </a:cubicBezTo>
                <a:cubicBezTo>
                  <a:pt x="3382868" y="501629"/>
                  <a:pt x="3359418" y="478179"/>
                  <a:pt x="3359418" y="449547"/>
                </a:cubicBezTo>
                <a:cubicBezTo>
                  <a:pt x="3359418" y="420914"/>
                  <a:pt x="3382868" y="397464"/>
                  <a:pt x="3411501" y="397464"/>
                </a:cubicBezTo>
                <a:close/>
                <a:moveTo>
                  <a:pt x="786915" y="394473"/>
                </a:moveTo>
                <a:cubicBezTo>
                  <a:pt x="813573" y="394473"/>
                  <a:pt x="835046" y="416194"/>
                  <a:pt x="835046" y="442606"/>
                </a:cubicBezTo>
                <a:cubicBezTo>
                  <a:pt x="835046" y="469264"/>
                  <a:pt x="813327" y="490737"/>
                  <a:pt x="786915" y="490737"/>
                </a:cubicBezTo>
                <a:cubicBezTo>
                  <a:pt x="760257" y="490737"/>
                  <a:pt x="738782" y="469015"/>
                  <a:pt x="738782" y="442606"/>
                </a:cubicBezTo>
                <a:cubicBezTo>
                  <a:pt x="738782" y="415948"/>
                  <a:pt x="760503" y="394473"/>
                  <a:pt x="786915" y="394473"/>
                </a:cubicBezTo>
                <a:close/>
                <a:moveTo>
                  <a:pt x="1239118" y="393239"/>
                </a:moveTo>
                <a:cubicBezTo>
                  <a:pt x="1265035" y="393239"/>
                  <a:pt x="1286261" y="414219"/>
                  <a:pt x="1286261" y="440136"/>
                </a:cubicBezTo>
                <a:cubicBezTo>
                  <a:pt x="1286015" y="466302"/>
                  <a:pt x="1265035" y="487282"/>
                  <a:pt x="1239118" y="487282"/>
                </a:cubicBezTo>
                <a:cubicBezTo>
                  <a:pt x="1213199" y="487282"/>
                  <a:pt x="1192218" y="466056"/>
                  <a:pt x="1192218" y="440136"/>
                </a:cubicBezTo>
                <a:cubicBezTo>
                  <a:pt x="1192218" y="414219"/>
                  <a:pt x="1213199" y="393239"/>
                  <a:pt x="1239118" y="393239"/>
                </a:cubicBezTo>
                <a:close/>
                <a:moveTo>
                  <a:pt x="1654546" y="384851"/>
                </a:moveTo>
                <a:cubicBezTo>
                  <a:pt x="1668861" y="384851"/>
                  <a:pt x="1680709" y="396453"/>
                  <a:pt x="1680709" y="411014"/>
                </a:cubicBezTo>
                <a:cubicBezTo>
                  <a:pt x="1680709" y="425332"/>
                  <a:pt x="1668861" y="437180"/>
                  <a:pt x="1654546" y="437180"/>
                </a:cubicBezTo>
                <a:cubicBezTo>
                  <a:pt x="1640229" y="437180"/>
                  <a:pt x="1628380" y="425578"/>
                  <a:pt x="1628380" y="411014"/>
                </a:cubicBezTo>
                <a:cubicBezTo>
                  <a:pt x="1628380" y="396699"/>
                  <a:pt x="1639982" y="384851"/>
                  <a:pt x="1654546" y="384851"/>
                </a:cubicBezTo>
                <a:close/>
                <a:moveTo>
                  <a:pt x="2384669" y="382635"/>
                </a:moveTo>
                <a:cubicBezTo>
                  <a:pt x="2400220" y="382635"/>
                  <a:pt x="2412810" y="395224"/>
                  <a:pt x="2412810" y="410773"/>
                </a:cubicBezTo>
                <a:cubicBezTo>
                  <a:pt x="2412810" y="426324"/>
                  <a:pt x="2400220" y="438913"/>
                  <a:pt x="2384669" y="438913"/>
                </a:cubicBezTo>
                <a:cubicBezTo>
                  <a:pt x="2369120" y="438913"/>
                  <a:pt x="2356531" y="426324"/>
                  <a:pt x="2356531" y="410773"/>
                </a:cubicBezTo>
                <a:cubicBezTo>
                  <a:pt x="2356531" y="395224"/>
                  <a:pt x="2369120" y="382635"/>
                  <a:pt x="2384669" y="382635"/>
                </a:cubicBezTo>
                <a:close/>
                <a:moveTo>
                  <a:pt x="3645253" y="374265"/>
                </a:moveTo>
                <a:cubicBezTo>
                  <a:pt x="3674379" y="374265"/>
                  <a:pt x="3698321" y="398207"/>
                  <a:pt x="3698321" y="427335"/>
                </a:cubicBezTo>
                <a:cubicBezTo>
                  <a:pt x="3698321" y="456460"/>
                  <a:pt x="3674625" y="480404"/>
                  <a:pt x="3645253" y="480404"/>
                </a:cubicBezTo>
                <a:cubicBezTo>
                  <a:pt x="3615879" y="480404"/>
                  <a:pt x="3592183" y="456706"/>
                  <a:pt x="3592183" y="427335"/>
                </a:cubicBezTo>
                <a:cubicBezTo>
                  <a:pt x="3592183" y="397961"/>
                  <a:pt x="3616126" y="374265"/>
                  <a:pt x="3645253" y="374265"/>
                </a:cubicBezTo>
                <a:close/>
                <a:moveTo>
                  <a:pt x="1909035" y="373251"/>
                </a:moveTo>
                <a:cubicBezTo>
                  <a:pt x="1924337" y="373251"/>
                  <a:pt x="1936921" y="385594"/>
                  <a:pt x="1936921" y="400897"/>
                </a:cubicBezTo>
                <a:cubicBezTo>
                  <a:pt x="1936675" y="416448"/>
                  <a:pt x="1924337" y="428788"/>
                  <a:pt x="1909035" y="428788"/>
                </a:cubicBezTo>
                <a:cubicBezTo>
                  <a:pt x="1893730" y="428788"/>
                  <a:pt x="1881389" y="416448"/>
                  <a:pt x="1881389" y="400897"/>
                </a:cubicBezTo>
                <a:cubicBezTo>
                  <a:pt x="1881389" y="385594"/>
                  <a:pt x="1893730" y="373251"/>
                  <a:pt x="1909035" y="373251"/>
                </a:cubicBezTo>
                <a:close/>
                <a:moveTo>
                  <a:pt x="2148449" y="372513"/>
                </a:moveTo>
                <a:cubicBezTo>
                  <a:pt x="2167209" y="372513"/>
                  <a:pt x="2182514" y="387816"/>
                  <a:pt x="2182514" y="406575"/>
                </a:cubicBezTo>
                <a:cubicBezTo>
                  <a:pt x="2182514" y="425334"/>
                  <a:pt x="2167209" y="440639"/>
                  <a:pt x="2148449" y="440639"/>
                </a:cubicBezTo>
                <a:cubicBezTo>
                  <a:pt x="2129690" y="440639"/>
                  <a:pt x="2114387" y="425334"/>
                  <a:pt x="2114387" y="406575"/>
                </a:cubicBezTo>
                <a:cubicBezTo>
                  <a:pt x="2114387" y="387816"/>
                  <a:pt x="2129690" y="372513"/>
                  <a:pt x="2148449" y="372513"/>
                </a:cubicBezTo>
                <a:close/>
                <a:moveTo>
                  <a:pt x="969820" y="370775"/>
                </a:moveTo>
                <a:cubicBezTo>
                  <a:pt x="996478" y="370775"/>
                  <a:pt x="1017951" y="392250"/>
                  <a:pt x="1017951" y="418908"/>
                </a:cubicBezTo>
                <a:cubicBezTo>
                  <a:pt x="1017951" y="445320"/>
                  <a:pt x="996229" y="467041"/>
                  <a:pt x="969820" y="467041"/>
                </a:cubicBezTo>
                <a:cubicBezTo>
                  <a:pt x="943408" y="467041"/>
                  <a:pt x="921687" y="445566"/>
                  <a:pt x="921687" y="418908"/>
                </a:cubicBezTo>
                <a:cubicBezTo>
                  <a:pt x="921687" y="392496"/>
                  <a:pt x="943162" y="370775"/>
                  <a:pt x="969820" y="370775"/>
                </a:cubicBezTo>
                <a:close/>
                <a:moveTo>
                  <a:pt x="480344" y="368799"/>
                </a:moveTo>
                <a:cubicBezTo>
                  <a:pt x="496633" y="368799"/>
                  <a:pt x="509717" y="382129"/>
                  <a:pt x="509717" y="398173"/>
                </a:cubicBezTo>
                <a:cubicBezTo>
                  <a:pt x="509717" y="414463"/>
                  <a:pt x="496633" y="427793"/>
                  <a:pt x="480344" y="427793"/>
                </a:cubicBezTo>
                <a:cubicBezTo>
                  <a:pt x="464051" y="427793"/>
                  <a:pt x="450970" y="414463"/>
                  <a:pt x="450970" y="398173"/>
                </a:cubicBezTo>
                <a:cubicBezTo>
                  <a:pt x="450970" y="381880"/>
                  <a:pt x="464300" y="368799"/>
                  <a:pt x="480344" y="368799"/>
                </a:cubicBezTo>
                <a:close/>
                <a:moveTo>
                  <a:pt x="2618420" y="368570"/>
                </a:moveTo>
                <a:cubicBezTo>
                  <a:pt x="2643103" y="368570"/>
                  <a:pt x="2663096" y="388563"/>
                  <a:pt x="2663096" y="413247"/>
                </a:cubicBezTo>
                <a:cubicBezTo>
                  <a:pt x="2663096" y="437684"/>
                  <a:pt x="2643103" y="457677"/>
                  <a:pt x="2618420" y="457677"/>
                </a:cubicBezTo>
                <a:cubicBezTo>
                  <a:pt x="2593736" y="457677"/>
                  <a:pt x="2573743" y="437684"/>
                  <a:pt x="2573743" y="413247"/>
                </a:cubicBezTo>
                <a:cubicBezTo>
                  <a:pt x="2573743" y="388563"/>
                  <a:pt x="2593736" y="368570"/>
                  <a:pt x="2618420" y="368570"/>
                </a:cubicBezTo>
                <a:close/>
                <a:moveTo>
                  <a:pt x="677071" y="362877"/>
                </a:moveTo>
                <a:cubicBezTo>
                  <a:pt x="693610" y="362877"/>
                  <a:pt x="706938" y="376205"/>
                  <a:pt x="706938" y="392744"/>
                </a:cubicBezTo>
                <a:cubicBezTo>
                  <a:pt x="706938" y="409036"/>
                  <a:pt x="693610" y="422610"/>
                  <a:pt x="677071" y="422610"/>
                </a:cubicBezTo>
                <a:cubicBezTo>
                  <a:pt x="660535" y="422610"/>
                  <a:pt x="647205" y="409282"/>
                  <a:pt x="647205" y="392744"/>
                </a:cubicBezTo>
                <a:cubicBezTo>
                  <a:pt x="647205" y="376205"/>
                  <a:pt x="660535" y="362877"/>
                  <a:pt x="677071" y="362877"/>
                </a:cubicBezTo>
                <a:close/>
                <a:moveTo>
                  <a:pt x="271274" y="360160"/>
                </a:moveTo>
                <a:cubicBezTo>
                  <a:pt x="284604" y="360160"/>
                  <a:pt x="295465" y="371021"/>
                  <a:pt x="295465" y="384349"/>
                </a:cubicBezTo>
                <a:cubicBezTo>
                  <a:pt x="295219" y="397679"/>
                  <a:pt x="284604" y="408540"/>
                  <a:pt x="271274" y="408540"/>
                </a:cubicBezTo>
                <a:cubicBezTo>
                  <a:pt x="257946" y="408540"/>
                  <a:pt x="247085" y="397679"/>
                  <a:pt x="247085" y="384349"/>
                </a:cubicBezTo>
                <a:cubicBezTo>
                  <a:pt x="247085" y="371021"/>
                  <a:pt x="257946" y="360160"/>
                  <a:pt x="271274" y="360160"/>
                </a:cubicBezTo>
                <a:close/>
                <a:moveTo>
                  <a:pt x="1403507" y="353500"/>
                </a:moveTo>
                <a:cubicBezTo>
                  <a:pt x="1429427" y="353500"/>
                  <a:pt x="1450407" y="374481"/>
                  <a:pt x="1450407" y="400397"/>
                </a:cubicBezTo>
                <a:cubicBezTo>
                  <a:pt x="1450407" y="426317"/>
                  <a:pt x="1429180" y="447297"/>
                  <a:pt x="1403507" y="447297"/>
                </a:cubicBezTo>
                <a:cubicBezTo>
                  <a:pt x="1377590" y="447297"/>
                  <a:pt x="1356610" y="426317"/>
                  <a:pt x="1356610" y="400397"/>
                </a:cubicBezTo>
                <a:cubicBezTo>
                  <a:pt x="1356610" y="374481"/>
                  <a:pt x="1377590" y="353500"/>
                  <a:pt x="1403507" y="353500"/>
                </a:cubicBezTo>
                <a:close/>
                <a:moveTo>
                  <a:pt x="3314988" y="343160"/>
                </a:moveTo>
                <a:cubicBezTo>
                  <a:pt x="3343126" y="343160"/>
                  <a:pt x="3366083" y="366115"/>
                  <a:pt x="3366083" y="394255"/>
                </a:cubicBezTo>
                <a:cubicBezTo>
                  <a:pt x="3366329" y="422392"/>
                  <a:pt x="3343374" y="445347"/>
                  <a:pt x="3314988" y="445347"/>
                </a:cubicBezTo>
                <a:cubicBezTo>
                  <a:pt x="3286847" y="445347"/>
                  <a:pt x="3263892" y="422392"/>
                  <a:pt x="3263892" y="394255"/>
                </a:cubicBezTo>
                <a:cubicBezTo>
                  <a:pt x="3263892" y="366115"/>
                  <a:pt x="3286847" y="343160"/>
                  <a:pt x="3314988" y="343160"/>
                </a:cubicBezTo>
                <a:close/>
                <a:moveTo>
                  <a:pt x="2857850" y="342657"/>
                </a:moveTo>
                <a:cubicBezTo>
                  <a:pt x="2885744" y="342657"/>
                  <a:pt x="2908699" y="365366"/>
                  <a:pt x="2908699" y="393257"/>
                </a:cubicBezTo>
                <a:cubicBezTo>
                  <a:pt x="2908453" y="421151"/>
                  <a:pt x="2885744" y="443860"/>
                  <a:pt x="2857850" y="443860"/>
                </a:cubicBezTo>
                <a:cubicBezTo>
                  <a:pt x="2829958" y="443860"/>
                  <a:pt x="2807003" y="421151"/>
                  <a:pt x="2807003" y="393257"/>
                </a:cubicBezTo>
                <a:cubicBezTo>
                  <a:pt x="2807003" y="365366"/>
                  <a:pt x="2829712" y="342657"/>
                  <a:pt x="2857850" y="342657"/>
                </a:cubicBezTo>
                <a:close/>
                <a:moveTo>
                  <a:pt x="3087159" y="342166"/>
                </a:moveTo>
                <a:cubicBezTo>
                  <a:pt x="3115792" y="342166"/>
                  <a:pt x="3138996" y="365369"/>
                  <a:pt x="3138996" y="394002"/>
                </a:cubicBezTo>
                <a:cubicBezTo>
                  <a:pt x="3138996" y="422386"/>
                  <a:pt x="3115792" y="445836"/>
                  <a:pt x="3087159" y="445836"/>
                </a:cubicBezTo>
                <a:cubicBezTo>
                  <a:pt x="3058529" y="445836"/>
                  <a:pt x="3035325" y="422635"/>
                  <a:pt x="3035325" y="394002"/>
                </a:cubicBezTo>
                <a:cubicBezTo>
                  <a:pt x="3035325" y="365369"/>
                  <a:pt x="3058529" y="342166"/>
                  <a:pt x="3087159" y="342166"/>
                </a:cubicBezTo>
                <a:close/>
                <a:moveTo>
                  <a:pt x="1143345" y="340664"/>
                </a:moveTo>
                <a:cubicBezTo>
                  <a:pt x="1168275" y="340664"/>
                  <a:pt x="1188763" y="360905"/>
                  <a:pt x="1188763" y="386081"/>
                </a:cubicBezTo>
                <a:cubicBezTo>
                  <a:pt x="1188763" y="411011"/>
                  <a:pt x="1168275" y="431498"/>
                  <a:pt x="1143345" y="431498"/>
                </a:cubicBezTo>
                <a:cubicBezTo>
                  <a:pt x="1118415" y="431498"/>
                  <a:pt x="1097927" y="411259"/>
                  <a:pt x="1097927" y="386081"/>
                </a:cubicBezTo>
                <a:cubicBezTo>
                  <a:pt x="1097927" y="361151"/>
                  <a:pt x="1118166" y="340664"/>
                  <a:pt x="1143345" y="340664"/>
                </a:cubicBezTo>
                <a:close/>
                <a:moveTo>
                  <a:pt x="1560249" y="334988"/>
                </a:moveTo>
                <a:cubicBezTo>
                  <a:pt x="1572593" y="334988"/>
                  <a:pt x="1582712" y="345108"/>
                  <a:pt x="1582712" y="357451"/>
                </a:cubicBezTo>
                <a:cubicBezTo>
                  <a:pt x="1582712" y="369545"/>
                  <a:pt x="1572593" y="379664"/>
                  <a:pt x="1560249" y="379664"/>
                </a:cubicBezTo>
                <a:cubicBezTo>
                  <a:pt x="1547909" y="379664"/>
                  <a:pt x="1538036" y="369545"/>
                  <a:pt x="1538036" y="357451"/>
                </a:cubicBezTo>
                <a:cubicBezTo>
                  <a:pt x="1538036" y="345108"/>
                  <a:pt x="1548155" y="334988"/>
                  <a:pt x="1560249" y="334988"/>
                </a:cubicBezTo>
                <a:close/>
                <a:moveTo>
                  <a:pt x="2054408" y="328328"/>
                </a:moveTo>
                <a:cubicBezTo>
                  <a:pt x="2067243" y="328328"/>
                  <a:pt x="2077855" y="338942"/>
                  <a:pt x="2077855" y="351778"/>
                </a:cubicBezTo>
                <a:cubicBezTo>
                  <a:pt x="2077609" y="364859"/>
                  <a:pt x="2067243" y="375227"/>
                  <a:pt x="2054408" y="375227"/>
                </a:cubicBezTo>
                <a:cubicBezTo>
                  <a:pt x="2041573" y="375227"/>
                  <a:pt x="2030958" y="364613"/>
                  <a:pt x="2030958" y="351778"/>
                </a:cubicBezTo>
                <a:cubicBezTo>
                  <a:pt x="2030958" y="338942"/>
                  <a:pt x="2041573" y="328328"/>
                  <a:pt x="2054408" y="328328"/>
                </a:cubicBezTo>
                <a:close/>
                <a:moveTo>
                  <a:pt x="2289887" y="326851"/>
                </a:moveTo>
                <a:cubicBezTo>
                  <a:pt x="2306177" y="326851"/>
                  <a:pt x="2319261" y="339932"/>
                  <a:pt x="2319261" y="356224"/>
                </a:cubicBezTo>
                <a:cubicBezTo>
                  <a:pt x="2319261" y="372514"/>
                  <a:pt x="2306177" y="385598"/>
                  <a:pt x="2289887" y="385598"/>
                </a:cubicBezTo>
                <a:cubicBezTo>
                  <a:pt x="2273843" y="385598"/>
                  <a:pt x="2260513" y="372514"/>
                  <a:pt x="2260513" y="356224"/>
                </a:cubicBezTo>
                <a:cubicBezTo>
                  <a:pt x="2260513" y="339932"/>
                  <a:pt x="2273595" y="326851"/>
                  <a:pt x="2289887" y="326851"/>
                </a:cubicBezTo>
                <a:close/>
                <a:moveTo>
                  <a:pt x="3548248" y="318232"/>
                </a:moveTo>
                <a:cubicBezTo>
                  <a:pt x="3577620" y="318232"/>
                  <a:pt x="3601316" y="341928"/>
                  <a:pt x="3601316" y="371301"/>
                </a:cubicBezTo>
                <a:cubicBezTo>
                  <a:pt x="3601316" y="400426"/>
                  <a:pt x="3577620" y="424371"/>
                  <a:pt x="3548248" y="424371"/>
                </a:cubicBezTo>
                <a:cubicBezTo>
                  <a:pt x="3519121" y="424371"/>
                  <a:pt x="3495178" y="400675"/>
                  <a:pt x="3495178" y="371301"/>
                </a:cubicBezTo>
                <a:cubicBezTo>
                  <a:pt x="3495178" y="342174"/>
                  <a:pt x="3518874" y="318232"/>
                  <a:pt x="3548248" y="318232"/>
                </a:cubicBezTo>
                <a:close/>
                <a:moveTo>
                  <a:pt x="3773605" y="317495"/>
                </a:moveTo>
                <a:cubicBezTo>
                  <a:pt x="3803225" y="317495"/>
                  <a:pt x="3827168" y="341437"/>
                  <a:pt x="3827168" y="371057"/>
                </a:cubicBezTo>
                <a:cubicBezTo>
                  <a:pt x="3827416" y="400430"/>
                  <a:pt x="3803225" y="424621"/>
                  <a:pt x="3773605" y="424621"/>
                </a:cubicBezTo>
                <a:cubicBezTo>
                  <a:pt x="3743985" y="424621"/>
                  <a:pt x="3720042" y="400430"/>
                  <a:pt x="3720042" y="371057"/>
                </a:cubicBezTo>
                <a:cubicBezTo>
                  <a:pt x="3720042" y="341437"/>
                  <a:pt x="3743985" y="317495"/>
                  <a:pt x="3773605" y="317495"/>
                </a:cubicBezTo>
                <a:close/>
                <a:moveTo>
                  <a:pt x="872565" y="316225"/>
                </a:moveTo>
                <a:cubicBezTo>
                  <a:pt x="898484" y="316225"/>
                  <a:pt x="919464" y="337205"/>
                  <a:pt x="919464" y="362876"/>
                </a:cubicBezTo>
                <a:cubicBezTo>
                  <a:pt x="919216" y="388793"/>
                  <a:pt x="898235" y="409776"/>
                  <a:pt x="872565" y="409776"/>
                </a:cubicBezTo>
                <a:cubicBezTo>
                  <a:pt x="846894" y="409776"/>
                  <a:pt x="825914" y="388793"/>
                  <a:pt x="825914" y="362876"/>
                </a:cubicBezTo>
                <a:cubicBezTo>
                  <a:pt x="825914" y="337205"/>
                  <a:pt x="846894" y="316225"/>
                  <a:pt x="872565" y="316225"/>
                </a:cubicBezTo>
                <a:close/>
                <a:moveTo>
                  <a:pt x="1814739" y="314997"/>
                </a:moveTo>
                <a:cubicBezTo>
                  <a:pt x="1832264" y="314997"/>
                  <a:pt x="1846584" y="329315"/>
                  <a:pt x="1846584" y="346838"/>
                </a:cubicBezTo>
                <a:cubicBezTo>
                  <a:pt x="1846584" y="364364"/>
                  <a:pt x="1832264" y="378682"/>
                  <a:pt x="1814739" y="378682"/>
                </a:cubicBezTo>
                <a:cubicBezTo>
                  <a:pt x="1797217" y="378682"/>
                  <a:pt x="1782899" y="364364"/>
                  <a:pt x="1782899" y="346838"/>
                </a:cubicBezTo>
                <a:cubicBezTo>
                  <a:pt x="1782899" y="329315"/>
                  <a:pt x="1797217" y="314997"/>
                  <a:pt x="1814739" y="314997"/>
                </a:cubicBezTo>
                <a:close/>
                <a:moveTo>
                  <a:pt x="2523388" y="312290"/>
                </a:moveTo>
                <a:cubicBezTo>
                  <a:pt x="2548813" y="312290"/>
                  <a:pt x="2569547" y="333024"/>
                  <a:pt x="2569547" y="358202"/>
                </a:cubicBezTo>
                <a:cubicBezTo>
                  <a:pt x="2569547" y="383378"/>
                  <a:pt x="2548813" y="404111"/>
                  <a:pt x="2523388" y="404111"/>
                </a:cubicBezTo>
                <a:cubicBezTo>
                  <a:pt x="2497966" y="404111"/>
                  <a:pt x="2477478" y="383378"/>
                  <a:pt x="2477478" y="358202"/>
                </a:cubicBezTo>
                <a:cubicBezTo>
                  <a:pt x="2477478" y="332778"/>
                  <a:pt x="2498212" y="312290"/>
                  <a:pt x="2523388" y="312290"/>
                </a:cubicBezTo>
                <a:close/>
                <a:moveTo>
                  <a:pt x="375440" y="303387"/>
                </a:moveTo>
                <a:cubicBezTo>
                  <a:pt x="391976" y="303387"/>
                  <a:pt x="405552" y="316964"/>
                  <a:pt x="405552" y="333503"/>
                </a:cubicBezTo>
                <a:cubicBezTo>
                  <a:pt x="405552" y="350285"/>
                  <a:pt x="391976" y="363615"/>
                  <a:pt x="375440" y="363615"/>
                </a:cubicBezTo>
                <a:cubicBezTo>
                  <a:pt x="358901" y="363615"/>
                  <a:pt x="345324" y="350039"/>
                  <a:pt x="345324" y="333503"/>
                </a:cubicBezTo>
                <a:cubicBezTo>
                  <a:pt x="345324" y="316964"/>
                  <a:pt x="358901" y="303387"/>
                  <a:pt x="375440" y="303387"/>
                </a:cubicBezTo>
                <a:close/>
                <a:moveTo>
                  <a:pt x="1308475" y="301171"/>
                </a:moveTo>
                <a:cubicBezTo>
                  <a:pt x="1333653" y="301171"/>
                  <a:pt x="1354139" y="321658"/>
                  <a:pt x="1354139" y="346834"/>
                </a:cubicBezTo>
                <a:cubicBezTo>
                  <a:pt x="1354139" y="372259"/>
                  <a:pt x="1333653" y="392498"/>
                  <a:pt x="1308475" y="392498"/>
                </a:cubicBezTo>
                <a:cubicBezTo>
                  <a:pt x="1283299" y="392498"/>
                  <a:pt x="1262811" y="372013"/>
                  <a:pt x="1262811" y="346834"/>
                </a:cubicBezTo>
                <a:cubicBezTo>
                  <a:pt x="1262811" y="321658"/>
                  <a:pt x="1283299" y="301171"/>
                  <a:pt x="1308475" y="301171"/>
                </a:cubicBezTo>
                <a:close/>
                <a:moveTo>
                  <a:pt x="49368" y="297463"/>
                </a:moveTo>
                <a:cubicBezTo>
                  <a:pt x="74052" y="297463"/>
                  <a:pt x="94047" y="317456"/>
                  <a:pt x="94047" y="342139"/>
                </a:cubicBezTo>
                <a:cubicBezTo>
                  <a:pt x="94047" y="366577"/>
                  <a:pt x="74052" y="386818"/>
                  <a:pt x="49368" y="386818"/>
                </a:cubicBezTo>
                <a:cubicBezTo>
                  <a:pt x="24685" y="386818"/>
                  <a:pt x="4692" y="366823"/>
                  <a:pt x="4692" y="342139"/>
                </a:cubicBezTo>
                <a:cubicBezTo>
                  <a:pt x="4692" y="317456"/>
                  <a:pt x="24685" y="297463"/>
                  <a:pt x="49368" y="297463"/>
                </a:cubicBezTo>
                <a:close/>
                <a:moveTo>
                  <a:pt x="576115" y="294997"/>
                </a:moveTo>
                <a:cubicBezTo>
                  <a:pt x="597341" y="294997"/>
                  <a:pt x="614621" y="312274"/>
                  <a:pt x="614621" y="333503"/>
                </a:cubicBezTo>
                <a:cubicBezTo>
                  <a:pt x="614867" y="354730"/>
                  <a:pt x="597590" y="372009"/>
                  <a:pt x="576115" y="372009"/>
                </a:cubicBezTo>
                <a:cubicBezTo>
                  <a:pt x="554886" y="372009"/>
                  <a:pt x="537609" y="354730"/>
                  <a:pt x="537609" y="333503"/>
                </a:cubicBezTo>
                <a:cubicBezTo>
                  <a:pt x="537609" y="312274"/>
                  <a:pt x="554886" y="294997"/>
                  <a:pt x="576115" y="294997"/>
                </a:cubicBezTo>
                <a:close/>
                <a:moveTo>
                  <a:pt x="764450" y="288086"/>
                </a:moveTo>
                <a:cubicBezTo>
                  <a:pt x="780247" y="288086"/>
                  <a:pt x="793329" y="300922"/>
                  <a:pt x="793329" y="316965"/>
                </a:cubicBezTo>
                <a:cubicBezTo>
                  <a:pt x="793083" y="332763"/>
                  <a:pt x="780247" y="345844"/>
                  <a:pt x="764450" y="345844"/>
                </a:cubicBezTo>
                <a:cubicBezTo>
                  <a:pt x="748652" y="345844"/>
                  <a:pt x="735571" y="333009"/>
                  <a:pt x="735571" y="316965"/>
                </a:cubicBezTo>
                <a:cubicBezTo>
                  <a:pt x="735571" y="301168"/>
                  <a:pt x="748406" y="288086"/>
                  <a:pt x="764450" y="288086"/>
                </a:cubicBezTo>
                <a:close/>
                <a:moveTo>
                  <a:pt x="3218474" y="287618"/>
                </a:moveTo>
                <a:cubicBezTo>
                  <a:pt x="3246612" y="287618"/>
                  <a:pt x="3269570" y="310573"/>
                  <a:pt x="3269570" y="338713"/>
                </a:cubicBezTo>
                <a:cubicBezTo>
                  <a:pt x="3269570" y="366851"/>
                  <a:pt x="3246612" y="389805"/>
                  <a:pt x="3218474" y="389805"/>
                </a:cubicBezTo>
                <a:cubicBezTo>
                  <a:pt x="3190334" y="389805"/>
                  <a:pt x="3167379" y="366851"/>
                  <a:pt x="3167379" y="338713"/>
                </a:cubicBezTo>
                <a:cubicBezTo>
                  <a:pt x="3167379" y="310573"/>
                  <a:pt x="3190334" y="287618"/>
                  <a:pt x="3218474" y="287618"/>
                </a:cubicBezTo>
                <a:close/>
                <a:moveTo>
                  <a:pt x="3444821" y="286884"/>
                </a:moveTo>
                <a:cubicBezTo>
                  <a:pt x="3473208" y="286884"/>
                  <a:pt x="3496409" y="310087"/>
                  <a:pt x="3496409" y="338471"/>
                </a:cubicBezTo>
                <a:cubicBezTo>
                  <a:pt x="3496409" y="366858"/>
                  <a:pt x="3473208" y="390059"/>
                  <a:pt x="3444821" y="390059"/>
                </a:cubicBezTo>
                <a:cubicBezTo>
                  <a:pt x="3416437" y="390059"/>
                  <a:pt x="3393233" y="366858"/>
                  <a:pt x="3393233" y="338471"/>
                </a:cubicBezTo>
                <a:cubicBezTo>
                  <a:pt x="3393233" y="310087"/>
                  <a:pt x="3416437" y="286884"/>
                  <a:pt x="3444821" y="286884"/>
                </a:cubicBezTo>
                <a:close/>
                <a:moveTo>
                  <a:pt x="2990895" y="286875"/>
                </a:moveTo>
                <a:cubicBezTo>
                  <a:pt x="3019773" y="286875"/>
                  <a:pt x="3042977" y="310325"/>
                  <a:pt x="3042977" y="338958"/>
                </a:cubicBezTo>
                <a:cubicBezTo>
                  <a:pt x="3043223" y="367590"/>
                  <a:pt x="3019773" y="391040"/>
                  <a:pt x="2990895" y="391040"/>
                </a:cubicBezTo>
                <a:cubicBezTo>
                  <a:pt x="2962016" y="391040"/>
                  <a:pt x="2938812" y="367590"/>
                  <a:pt x="2938812" y="338958"/>
                </a:cubicBezTo>
                <a:cubicBezTo>
                  <a:pt x="2938812" y="310079"/>
                  <a:pt x="2962262" y="286875"/>
                  <a:pt x="2990895" y="286875"/>
                </a:cubicBezTo>
                <a:close/>
                <a:moveTo>
                  <a:pt x="1047571" y="286605"/>
                </a:moveTo>
                <a:cubicBezTo>
                  <a:pt x="1072748" y="286605"/>
                  <a:pt x="1092987" y="307093"/>
                  <a:pt x="1092987" y="332022"/>
                </a:cubicBezTo>
                <a:cubicBezTo>
                  <a:pt x="1092987" y="356952"/>
                  <a:pt x="1072500" y="377440"/>
                  <a:pt x="1047571" y="377440"/>
                </a:cubicBezTo>
                <a:cubicBezTo>
                  <a:pt x="1022395" y="377440"/>
                  <a:pt x="1002154" y="356952"/>
                  <a:pt x="1002154" y="332022"/>
                </a:cubicBezTo>
                <a:cubicBezTo>
                  <a:pt x="1002154" y="306847"/>
                  <a:pt x="1022642" y="286605"/>
                  <a:pt x="1047571" y="286605"/>
                </a:cubicBezTo>
                <a:close/>
                <a:moveTo>
                  <a:pt x="2762325" y="286377"/>
                </a:moveTo>
                <a:cubicBezTo>
                  <a:pt x="2790711" y="286377"/>
                  <a:pt x="2813666" y="309331"/>
                  <a:pt x="2813666" y="337718"/>
                </a:cubicBezTo>
                <a:cubicBezTo>
                  <a:pt x="2813666" y="366104"/>
                  <a:pt x="2790465" y="389059"/>
                  <a:pt x="2762325" y="389059"/>
                </a:cubicBezTo>
                <a:cubicBezTo>
                  <a:pt x="2733938" y="389059"/>
                  <a:pt x="2710983" y="366104"/>
                  <a:pt x="2710983" y="337718"/>
                </a:cubicBezTo>
                <a:cubicBezTo>
                  <a:pt x="2710983" y="309331"/>
                  <a:pt x="2733938" y="286377"/>
                  <a:pt x="2762325" y="286377"/>
                </a:cubicBezTo>
                <a:close/>
                <a:moveTo>
                  <a:pt x="1711564" y="275256"/>
                </a:moveTo>
                <a:cubicBezTo>
                  <a:pt x="1730818" y="275256"/>
                  <a:pt x="1746367" y="290808"/>
                  <a:pt x="1746367" y="310059"/>
                </a:cubicBezTo>
                <a:cubicBezTo>
                  <a:pt x="1746367" y="329314"/>
                  <a:pt x="1730818" y="344862"/>
                  <a:pt x="1711564" y="344862"/>
                </a:cubicBezTo>
                <a:cubicBezTo>
                  <a:pt x="1692312" y="344862"/>
                  <a:pt x="1676760" y="329314"/>
                  <a:pt x="1676760" y="310059"/>
                </a:cubicBezTo>
                <a:cubicBezTo>
                  <a:pt x="1676760" y="290808"/>
                  <a:pt x="1692312" y="275256"/>
                  <a:pt x="1711564" y="275256"/>
                </a:cubicBezTo>
                <a:close/>
                <a:moveTo>
                  <a:pt x="161186" y="266115"/>
                </a:moveTo>
                <a:cubicBezTo>
                  <a:pt x="185620" y="266115"/>
                  <a:pt x="205369" y="285861"/>
                  <a:pt x="205369" y="310299"/>
                </a:cubicBezTo>
                <a:cubicBezTo>
                  <a:pt x="205369" y="334736"/>
                  <a:pt x="185620" y="354482"/>
                  <a:pt x="161186" y="354482"/>
                </a:cubicBezTo>
                <a:cubicBezTo>
                  <a:pt x="136748" y="354482"/>
                  <a:pt x="117002" y="334736"/>
                  <a:pt x="117002" y="310299"/>
                </a:cubicBezTo>
                <a:cubicBezTo>
                  <a:pt x="117002" y="285861"/>
                  <a:pt x="136748" y="266115"/>
                  <a:pt x="161186" y="266115"/>
                </a:cubicBezTo>
                <a:close/>
                <a:moveTo>
                  <a:pt x="2428115" y="263663"/>
                </a:moveTo>
                <a:cubicBezTo>
                  <a:pt x="2449836" y="263663"/>
                  <a:pt x="2467608" y="281435"/>
                  <a:pt x="2467608" y="303156"/>
                </a:cubicBezTo>
                <a:cubicBezTo>
                  <a:pt x="2467608" y="325123"/>
                  <a:pt x="2449836" y="342649"/>
                  <a:pt x="2428115" y="342649"/>
                </a:cubicBezTo>
                <a:cubicBezTo>
                  <a:pt x="2406393" y="342649"/>
                  <a:pt x="2388621" y="324877"/>
                  <a:pt x="2388621" y="303156"/>
                </a:cubicBezTo>
                <a:cubicBezTo>
                  <a:pt x="2388621" y="281435"/>
                  <a:pt x="2406393" y="263663"/>
                  <a:pt x="2428115" y="263663"/>
                </a:cubicBezTo>
                <a:close/>
                <a:moveTo>
                  <a:pt x="3676108" y="260970"/>
                </a:moveTo>
                <a:cubicBezTo>
                  <a:pt x="3705974" y="260970"/>
                  <a:pt x="3730165" y="285158"/>
                  <a:pt x="3730165" y="315026"/>
                </a:cubicBezTo>
                <a:cubicBezTo>
                  <a:pt x="3730411" y="344646"/>
                  <a:pt x="3705974" y="369083"/>
                  <a:pt x="3676108" y="369083"/>
                </a:cubicBezTo>
                <a:cubicBezTo>
                  <a:pt x="3646241" y="369083"/>
                  <a:pt x="3622050" y="344892"/>
                  <a:pt x="3622050" y="315026"/>
                </a:cubicBezTo>
                <a:cubicBezTo>
                  <a:pt x="3622050" y="285158"/>
                  <a:pt x="3646241" y="260970"/>
                  <a:pt x="3676108" y="260970"/>
                </a:cubicBezTo>
                <a:close/>
                <a:moveTo>
                  <a:pt x="1960369" y="258721"/>
                </a:moveTo>
                <a:cubicBezTo>
                  <a:pt x="1981096" y="258721"/>
                  <a:pt x="1998130" y="275752"/>
                  <a:pt x="1998130" y="296486"/>
                </a:cubicBezTo>
                <a:cubicBezTo>
                  <a:pt x="1998130" y="317220"/>
                  <a:pt x="1981096" y="334251"/>
                  <a:pt x="1960369" y="334251"/>
                </a:cubicBezTo>
                <a:cubicBezTo>
                  <a:pt x="1939637" y="334251"/>
                  <a:pt x="1922608" y="317466"/>
                  <a:pt x="1922608" y="296486"/>
                </a:cubicBezTo>
                <a:cubicBezTo>
                  <a:pt x="1922608" y="275752"/>
                  <a:pt x="1939637" y="258721"/>
                  <a:pt x="1960369" y="258721"/>
                </a:cubicBezTo>
                <a:close/>
                <a:moveTo>
                  <a:pt x="2195843" y="258231"/>
                </a:moveTo>
                <a:cubicBezTo>
                  <a:pt x="2219045" y="258231"/>
                  <a:pt x="2238050" y="277236"/>
                  <a:pt x="2238050" y="300440"/>
                </a:cubicBezTo>
                <a:cubicBezTo>
                  <a:pt x="2238050" y="323641"/>
                  <a:pt x="2219045" y="342646"/>
                  <a:pt x="2195843" y="342646"/>
                </a:cubicBezTo>
                <a:cubicBezTo>
                  <a:pt x="2172640" y="342646"/>
                  <a:pt x="2153634" y="323641"/>
                  <a:pt x="2153634" y="300440"/>
                </a:cubicBezTo>
                <a:cubicBezTo>
                  <a:pt x="2153634" y="277236"/>
                  <a:pt x="2172640" y="258231"/>
                  <a:pt x="2195843" y="258231"/>
                </a:cubicBezTo>
                <a:close/>
                <a:moveTo>
                  <a:pt x="1466454" y="256496"/>
                </a:moveTo>
                <a:cubicBezTo>
                  <a:pt x="1492125" y="256496"/>
                  <a:pt x="1512859" y="277230"/>
                  <a:pt x="1512859" y="302900"/>
                </a:cubicBezTo>
                <a:cubicBezTo>
                  <a:pt x="1512859" y="328571"/>
                  <a:pt x="1491879" y="349551"/>
                  <a:pt x="1466454" y="349551"/>
                </a:cubicBezTo>
                <a:cubicBezTo>
                  <a:pt x="1440783" y="349551"/>
                  <a:pt x="1420049" y="328571"/>
                  <a:pt x="1420049" y="302900"/>
                </a:cubicBezTo>
                <a:cubicBezTo>
                  <a:pt x="1420049" y="277230"/>
                  <a:pt x="1440783" y="256496"/>
                  <a:pt x="1466454" y="256496"/>
                </a:cubicBezTo>
                <a:close/>
                <a:moveTo>
                  <a:pt x="2658900" y="251818"/>
                </a:moveTo>
                <a:cubicBezTo>
                  <a:pt x="2687779" y="251818"/>
                  <a:pt x="2711478" y="275514"/>
                  <a:pt x="2711478" y="304393"/>
                </a:cubicBezTo>
                <a:cubicBezTo>
                  <a:pt x="2711478" y="333271"/>
                  <a:pt x="2688028" y="356967"/>
                  <a:pt x="2658900" y="356967"/>
                </a:cubicBezTo>
                <a:cubicBezTo>
                  <a:pt x="2629775" y="356967"/>
                  <a:pt x="2606325" y="333271"/>
                  <a:pt x="2606325" y="304393"/>
                </a:cubicBezTo>
                <a:cubicBezTo>
                  <a:pt x="2606325" y="275514"/>
                  <a:pt x="2630021" y="251818"/>
                  <a:pt x="2658900" y="251818"/>
                </a:cubicBezTo>
                <a:close/>
                <a:moveTo>
                  <a:pt x="1213692" y="249829"/>
                </a:moveTo>
                <a:cubicBezTo>
                  <a:pt x="1237635" y="249829"/>
                  <a:pt x="1257136" y="269329"/>
                  <a:pt x="1257136" y="293271"/>
                </a:cubicBezTo>
                <a:cubicBezTo>
                  <a:pt x="1257136" y="317214"/>
                  <a:pt x="1237635" y="336714"/>
                  <a:pt x="1213692" y="336714"/>
                </a:cubicBezTo>
                <a:cubicBezTo>
                  <a:pt x="1189750" y="336714"/>
                  <a:pt x="1170249" y="317214"/>
                  <a:pt x="1170249" y="293271"/>
                </a:cubicBezTo>
                <a:cubicBezTo>
                  <a:pt x="1170249" y="269329"/>
                  <a:pt x="1189750" y="249829"/>
                  <a:pt x="1213692" y="249829"/>
                </a:cubicBezTo>
                <a:close/>
                <a:moveTo>
                  <a:pt x="3347570" y="234058"/>
                </a:moveTo>
                <a:cubicBezTo>
                  <a:pt x="3374428" y="234058"/>
                  <a:pt x="3396199" y="255829"/>
                  <a:pt x="3396199" y="282684"/>
                </a:cubicBezTo>
                <a:cubicBezTo>
                  <a:pt x="3396199" y="309538"/>
                  <a:pt x="3374428" y="331312"/>
                  <a:pt x="3347570" y="331312"/>
                </a:cubicBezTo>
                <a:cubicBezTo>
                  <a:pt x="3320715" y="331312"/>
                  <a:pt x="3298944" y="309538"/>
                  <a:pt x="3298944" y="282684"/>
                </a:cubicBezTo>
                <a:cubicBezTo>
                  <a:pt x="3298944" y="255829"/>
                  <a:pt x="3320715" y="234058"/>
                  <a:pt x="3347570" y="234058"/>
                </a:cubicBezTo>
                <a:close/>
                <a:moveTo>
                  <a:pt x="474173" y="232299"/>
                </a:moveTo>
                <a:cubicBezTo>
                  <a:pt x="496387" y="232299"/>
                  <a:pt x="514654" y="250318"/>
                  <a:pt x="514654" y="272780"/>
                </a:cubicBezTo>
                <a:cubicBezTo>
                  <a:pt x="514654" y="295243"/>
                  <a:pt x="496636" y="313261"/>
                  <a:pt x="474173" y="313261"/>
                </a:cubicBezTo>
                <a:cubicBezTo>
                  <a:pt x="451959" y="313261"/>
                  <a:pt x="433692" y="295243"/>
                  <a:pt x="433692" y="272780"/>
                </a:cubicBezTo>
                <a:cubicBezTo>
                  <a:pt x="433692" y="250566"/>
                  <a:pt x="451959" y="232299"/>
                  <a:pt x="474173" y="232299"/>
                </a:cubicBezTo>
                <a:close/>
                <a:moveTo>
                  <a:pt x="2894874" y="231581"/>
                </a:moveTo>
                <a:cubicBezTo>
                  <a:pt x="2923260" y="231581"/>
                  <a:pt x="2946215" y="254536"/>
                  <a:pt x="2946215" y="282922"/>
                </a:cubicBezTo>
                <a:cubicBezTo>
                  <a:pt x="2946215" y="311062"/>
                  <a:pt x="2923260" y="334263"/>
                  <a:pt x="2894874" y="334263"/>
                </a:cubicBezTo>
                <a:cubicBezTo>
                  <a:pt x="2866487" y="334263"/>
                  <a:pt x="2843532" y="311308"/>
                  <a:pt x="2843532" y="282922"/>
                </a:cubicBezTo>
                <a:cubicBezTo>
                  <a:pt x="2843532" y="254536"/>
                  <a:pt x="2866487" y="231581"/>
                  <a:pt x="2894874" y="231581"/>
                </a:cubicBezTo>
                <a:close/>
                <a:moveTo>
                  <a:pt x="951801" y="231560"/>
                </a:moveTo>
                <a:cubicBezTo>
                  <a:pt x="976731" y="231560"/>
                  <a:pt x="997218" y="251802"/>
                  <a:pt x="997218" y="276978"/>
                </a:cubicBezTo>
                <a:cubicBezTo>
                  <a:pt x="996970" y="302156"/>
                  <a:pt x="976731" y="322395"/>
                  <a:pt x="951801" y="322395"/>
                </a:cubicBezTo>
                <a:cubicBezTo>
                  <a:pt x="926869" y="322395"/>
                  <a:pt x="906630" y="302156"/>
                  <a:pt x="906630" y="276978"/>
                </a:cubicBezTo>
                <a:cubicBezTo>
                  <a:pt x="906630" y="252048"/>
                  <a:pt x="926869" y="231560"/>
                  <a:pt x="951801" y="231560"/>
                </a:cubicBezTo>
                <a:close/>
                <a:moveTo>
                  <a:pt x="3121962" y="231338"/>
                </a:moveTo>
                <a:cubicBezTo>
                  <a:pt x="3150349" y="231338"/>
                  <a:pt x="3173550" y="254541"/>
                  <a:pt x="3173550" y="282925"/>
                </a:cubicBezTo>
                <a:cubicBezTo>
                  <a:pt x="3173550" y="311312"/>
                  <a:pt x="3150349" y="334513"/>
                  <a:pt x="3121962" y="334513"/>
                </a:cubicBezTo>
                <a:cubicBezTo>
                  <a:pt x="3093578" y="334513"/>
                  <a:pt x="3070374" y="311312"/>
                  <a:pt x="3070374" y="282925"/>
                </a:cubicBezTo>
                <a:cubicBezTo>
                  <a:pt x="3070374" y="254541"/>
                  <a:pt x="3093578" y="231338"/>
                  <a:pt x="3121962" y="231338"/>
                </a:cubicBezTo>
                <a:close/>
                <a:moveTo>
                  <a:pt x="1617270" y="227615"/>
                </a:moveTo>
                <a:cubicBezTo>
                  <a:pt x="1633068" y="227615"/>
                  <a:pt x="1645904" y="240450"/>
                  <a:pt x="1645904" y="256248"/>
                </a:cubicBezTo>
                <a:cubicBezTo>
                  <a:pt x="1645904" y="272045"/>
                  <a:pt x="1633068" y="284881"/>
                  <a:pt x="1617270" y="284881"/>
                </a:cubicBezTo>
                <a:cubicBezTo>
                  <a:pt x="1601473" y="284881"/>
                  <a:pt x="1588637" y="272045"/>
                  <a:pt x="1588637" y="256248"/>
                </a:cubicBezTo>
                <a:cubicBezTo>
                  <a:pt x="1588637" y="240450"/>
                  <a:pt x="1601473" y="227615"/>
                  <a:pt x="1617270" y="227615"/>
                </a:cubicBezTo>
                <a:close/>
                <a:moveTo>
                  <a:pt x="665715" y="226130"/>
                </a:moveTo>
                <a:cubicBezTo>
                  <a:pt x="684475" y="226130"/>
                  <a:pt x="699780" y="241432"/>
                  <a:pt x="699780" y="260194"/>
                </a:cubicBezTo>
                <a:cubicBezTo>
                  <a:pt x="700026" y="278951"/>
                  <a:pt x="684723" y="294256"/>
                  <a:pt x="665715" y="294256"/>
                </a:cubicBezTo>
                <a:cubicBezTo>
                  <a:pt x="646956" y="294256"/>
                  <a:pt x="631653" y="278951"/>
                  <a:pt x="631653" y="260194"/>
                </a:cubicBezTo>
                <a:cubicBezTo>
                  <a:pt x="631653" y="241432"/>
                  <a:pt x="646956" y="226130"/>
                  <a:pt x="665715" y="226130"/>
                </a:cubicBezTo>
                <a:close/>
                <a:moveTo>
                  <a:pt x="268806" y="222672"/>
                </a:moveTo>
                <a:cubicBezTo>
                  <a:pt x="292997" y="222672"/>
                  <a:pt x="312495" y="242172"/>
                  <a:pt x="312495" y="266361"/>
                </a:cubicBezTo>
                <a:cubicBezTo>
                  <a:pt x="312495" y="290306"/>
                  <a:pt x="292748" y="310052"/>
                  <a:pt x="268806" y="310052"/>
                </a:cubicBezTo>
                <a:cubicBezTo>
                  <a:pt x="244617" y="310052"/>
                  <a:pt x="225117" y="290552"/>
                  <a:pt x="225117" y="266361"/>
                </a:cubicBezTo>
                <a:cubicBezTo>
                  <a:pt x="225117" y="242172"/>
                  <a:pt x="244617" y="222672"/>
                  <a:pt x="268806" y="222672"/>
                </a:cubicBezTo>
                <a:close/>
                <a:moveTo>
                  <a:pt x="2101059" y="210837"/>
                </a:moveTo>
                <a:cubicBezTo>
                  <a:pt x="2120065" y="210837"/>
                  <a:pt x="2135367" y="226140"/>
                  <a:pt x="2135367" y="245148"/>
                </a:cubicBezTo>
                <a:cubicBezTo>
                  <a:pt x="2135367" y="264154"/>
                  <a:pt x="2120065" y="279456"/>
                  <a:pt x="2101059" y="279456"/>
                </a:cubicBezTo>
                <a:cubicBezTo>
                  <a:pt x="2082053" y="279456"/>
                  <a:pt x="2066748" y="264154"/>
                  <a:pt x="2066748" y="245148"/>
                </a:cubicBezTo>
                <a:cubicBezTo>
                  <a:pt x="2066748" y="226140"/>
                  <a:pt x="2082053" y="210837"/>
                  <a:pt x="2101059" y="210837"/>
                </a:cubicBezTo>
                <a:close/>
                <a:moveTo>
                  <a:pt x="1371914" y="207620"/>
                </a:moveTo>
                <a:cubicBezTo>
                  <a:pt x="1394872" y="207620"/>
                  <a:pt x="1413632" y="226379"/>
                  <a:pt x="1413632" y="249334"/>
                </a:cubicBezTo>
                <a:cubicBezTo>
                  <a:pt x="1413383" y="272538"/>
                  <a:pt x="1394872" y="291051"/>
                  <a:pt x="1371914" y="291051"/>
                </a:cubicBezTo>
                <a:cubicBezTo>
                  <a:pt x="1348959" y="291051"/>
                  <a:pt x="1330200" y="272289"/>
                  <a:pt x="1330200" y="249334"/>
                </a:cubicBezTo>
                <a:cubicBezTo>
                  <a:pt x="1330200" y="226379"/>
                  <a:pt x="1348959" y="207620"/>
                  <a:pt x="1371914" y="207620"/>
                </a:cubicBezTo>
                <a:close/>
                <a:moveTo>
                  <a:pt x="845167" y="206630"/>
                </a:moveTo>
                <a:cubicBezTo>
                  <a:pt x="860470" y="206630"/>
                  <a:pt x="872813" y="218972"/>
                  <a:pt x="872813" y="234275"/>
                </a:cubicBezTo>
                <a:cubicBezTo>
                  <a:pt x="872813" y="249577"/>
                  <a:pt x="860470" y="261920"/>
                  <a:pt x="845167" y="261920"/>
                </a:cubicBezTo>
                <a:cubicBezTo>
                  <a:pt x="829865" y="261920"/>
                  <a:pt x="817522" y="249577"/>
                  <a:pt x="817522" y="234275"/>
                </a:cubicBezTo>
                <a:cubicBezTo>
                  <a:pt x="817522" y="218972"/>
                  <a:pt x="829865" y="206630"/>
                  <a:pt x="845167" y="206630"/>
                </a:cubicBezTo>
                <a:close/>
                <a:moveTo>
                  <a:pt x="2332835" y="206396"/>
                </a:moveTo>
                <a:cubicBezTo>
                  <a:pt x="2356038" y="206396"/>
                  <a:pt x="2375044" y="225156"/>
                  <a:pt x="2375044" y="248359"/>
                </a:cubicBezTo>
                <a:cubicBezTo>
                  <a:pt x="2375044" y="271561"/>
                  <a:pt x="2356285" y="290320"/>
                  <a:pt x="2332835" y="290320"/>
                </a:cubicBezTo>
                <a:cubicBezTo>
                  <a:pt x="2309634" y="290320"/>
                  <a:pt x="2290874" y="271561"/>
                  <a:pt x="2290874" y="248359"/>
                </a:cubicBezTo>
                <a:cubicBezTo>
                  <a:pt x="2290874" y="225156"/>
                  <a:pt x="2309634" y="206396"/>
                  <a:pt x="2332835" y="206396"/>
                </a:cubicBezTo>
                <a:close/>
                <a:moveTo>
                  <a:pt x="3578605" y="204689"/>
                </a:moveTo>
                <a:cubicBezTo>
                  <a:pt x="3608228" y="204689"/>
                  <a:pt x="3632416" y="228877"/>
                  <a:pt x="3632416" y="258497"/>
                </a:cubicBezTo>
                <a:cubicBezTo>
                  <a:pt x="3632170" y="288366"/>
                  <a:pt x="3608228" y="312308"/>
                  <a:pt x="3578605" y="312308"/>
                </a:cubicBezTo>
                <a:cubicBezTo>
                  <a:pt x="3548987" y="312308"/>
                  <a:pt x="3524796" y="288119"/>
                  <a:pt x="3524796" y="258497"/>
                </a:cubicBezTo>
                <a:cubicBezTo>
                  <a:pt x="3524796" y="228877"/>
                  <a:pt x="3548987" y="204689"/>
                  <a:pt x="3578605" y="204689"/>
                </a:cubicBezTo>
                <a:close/>
                <a:moveTo>
                  <a:pt x="1866081" y="204170"/>
                </a:moveTo>
                <a:cubicBezTo>
                  <a:pt x="1886816" y="204170"/>
                  <a:pt x="1903848" y="221201"/>
                  <a:pt x="1903848" y="241935"/>
                </a:cubicBezTo>
                <a:cubicBezTo>
                  <a:pt x="1903602" y="262669"/>
                  <a:pt x="1886816" y="279700"/>
                  <a:pt x="1866081" y="279700"/>
                </a:cubicBezTo>
                <a:cubicBezTo>
                  <a:pt x="1845348" y="279700"/>
                  <a:pt x="1828316" y="262669"/>
                  <a:pt x="1828316" y="241935"/>
                </a:cubicBezTo>
                <a:cubicBezTo>
                  <a:pt x="1828316" y="221201"/>
                  <a:pt x="1845102" y="204170"/>
                  <a:pt x="1866081" y="204170"/>
                </a:cubicBezTo>
                <a:close/>
                <a:moveTo>
                  <a:pt x="3802238" y="203460"/>
                </a:moveTo>
                <a:cubicBezTo>
                  <a:pt x="3832353" y="203460"/>
                  <a:pt x="3856791" y="227897"/>
                  <a:pt x="3856791" y="258009"/>
                </a:cubicBezTo>
                <a:cubicBezTo>
                  <a:pt x="3856791" y="288124"/>
                  <a:pt x="3832107" y="312559"/>
                  <a:pt x="3802238" y="312559"/>
                </a:cubicBezTo>
                <a:cubicBezTo>
                  <a:pt x="3772125" y="312559"/>
                  <a:pt x="3747688" y="288124"/>
                  <a:pt x="3747688" y="258009"/>
                </a:cubicBezTo>
                <a:cubicBezTo>
                  <a:pt x="3747688" y="227897"/>
                  <a:pt x="3772125" y="203460"/>
                  <a:pt x="3802238" y="203460"/>
                </a:cubicBezTo>
                <a:close/>
                <a:moveTo>
                  <a:pt x="2563131" y="196773"/>
                </a:moveTo>
                <a:cubicBezTo>
                  <a:pt x="2591764" y="196773"/>
                  <a:pt x="2615214" y="220223"/>
                  <a:pt x="2615214" y="248855"/>
                </a:cubicBezTo>
                <a:cubicBezTo>
                  <a:pt x="2615214" y="277734"/>
                  <a:pt x="2592010" y="300938"/>
                  <a:pt x="2563131" y="300938"/>
                </a:cubicBezTo>
                <a:cubicBezTo>
                  <a:pt x="2534498" y="300938"/>
                  <a:pt x="2511048" y="277488"/>
                  <a:pt x="2511048" y="248855"/>
                </a:cubicBezTo>
                <a:cubicBezTo>
                  <a:pt x="2511048" y="220223"/>
                  <a:pt x="2534498" y="196773"/>
                  <a:pt x="2563131" y="196773"/>
                </a:cubicBezTo>
                <a:close/>
                <a:moveTo>
                  <a:pt x="1118661" y="196511"/>
                </a:moveTo>
                <a:cubicBezTo>
                  <a:pt x="1142357" y="196511"/>
                  <a:pt x="1161609" y="215763"/>
                  <a:pt x="1161609" y="239462"/>
                </a:cubicBezTo>
                <a:cubicBezTo>
                  <a:pt x="1161609" y="263155"/>
                  <a:pt x="1142357" y="282410"/>
                  <a:pt x="1118661" y="282410"/>
                </a:cubicBezTo>
                <a:cubicBezTo>
                  <a:pt x="1094962" y="282410"/>
                  <a:pt x="1075711" y="263155"/>
                  <a:pt x="1075711" y="239462"/>
                </a:cubicBezTo>
                <a:cubicBezTo>
                  <a:pt x="1075711" y="215763"/>
                  <a:pt x="1094962" y="196511"/>
                  <a:pt x="1118661" y="196511"/>
                </a:cubicBezTo>
                <a:close/>
                <a:moveTo>
                  <a:pt x="48878" y="191571"/>
                </a:moveTo>
                <a:cubicBezTo>
                  <a:pt x="70350" y="191571"/>
                  <a:pt x="87876" y="209097"/>
                  <a:pt x="87876" y="230573"/>
                </a:cubicBezTo>
                <a:cubicBezTo>
                  <a:pt x="87876" y="252045"/>
                  <a:pt x="70350" y="269571"/>
                  <a:pt x="48878" y="269571"/>
                </a:cubicBezTo>
                <a:cubicBezTo>
                  <a:pt x="27402" y="269571"/>
                  <a:pt x="9876" y="252045"/>
                  <a:pt x="9876" y="230573"/>
                </a:cubicBezTo>
                <a:cubicBezTo>
                  <a:pt x="9876" y="209097"/>
                  <a:pt x="27402" y="191571"/>
                  <a:pt x="48878" y="191571"/>
                </a:cubicBezTo>
                <a:close/>
                <a:moveTo>
                  <a:pt x="3250316" y="180494"/>
                </a:moveTo>
                <a:cubicBezTo>
                  <a:pt x="3275741" y="180494"/>
                  <a:pt x="3296721" y="201228"/>
                  <a:pt x="3296721" y="226899"/>
                </a:cubicBezTo>
                <a:cubicBezTo>
                  <a:pt x="3296721" y="252569"/>
                  <a:pt x="3275741" y="273303"/>
                  <a:pt x="3250316" y="273303"/>
                </a:cubicBezTo>
                <a:cubicBezTo>
                  <a:pt x="3224645" y="273303"/>
                  <a:pt x="3203911" y="252569"/>
                  <a:pt x="3203911" y="226899"/>
                </a:cubicBezTo>
                <a:cubicBezTo>
                  <a:pt x="3203911" y="201474"/>
                  <a:pt x="3224645" y="180494"/>
                  <a:pt x="3250316" y="180494"/>
                </a:cubicBezTo>
                <a:close/>
                <a:moveTo>
                  <a:pt x="3024958" y="178515"/>
                </a:moveTo>
                <a:cubicBezTo>
                  <a:pt x="3051863" y="178515"/>
                  <a:pt x="3073830" y="200483"/>
                  <a:pt x="3073830" y="227636"/>
                </a:cubicBezTo>
                <a:cubicBezTo>
                  <a:pt x="3073830" y="254540"/>
                  <a:pt x="3051863" y="276507"/>
                  <a:pt x="3024958" y="276507"/>
                </a:cubicBezTo>
                <a:cubicBezTo>
                  <a:pt x="2998052" y="276507"/>
                  <a:pt x="2976084" y="254540"/>
                  <a:pt x="2976084" y="227636"/>
                </a:cubicBezTo>
                <a:cubicBezTo>
                  <a:pt x="2976084" y="200729"/>
                  <a:pt x="2998052" y="178515"/>
                  <a:pt x="3024958" y="178515"/>
                </a:cubicBezTo>
                <a:close/>
                <a:moveTo>
                  <a:pt x="2798609" y="176537"/>
                </a:moveTo>
                <a:cubicBezTo>
                  <a:pt x="2826255" y="176537"/>
                  <a:pt x="2848964" y="199000"/>
                  <a:pt x="2848964" y="226892"/>
                </a:cubicBezTo>
                <a:cubicBezTo>
                  <a:pt x="2848964" y="254783"/>
                  <a:pt x="2826255" y="277246"/>
                  <a:pt x="2798609" y="277246"/>
                </a:cubicBezTo>
                <a:cubicBezTo>
                  <a:pt x="2770964" y="277246"/>
                  <a:pt x="2748255" y="254783"/>
                  <a:pt x="2748255" y="226892"/>
                </a:cubicBezTo>
                <a:cubicBezTo>
                  <a:pt x="2748255" y="199246"/>
                  <a:pt x="2770718" y="176537"/>
                  <a:pt x="2798609" y="176537"/>
                </a:cubicBezTo>
                <a:close/>
                <a:moveTo>
                  <a:pt x="3474690" y="175067"/>
                </a:moveTo>
                <a:cubicBezTo>
                  <a:pt x="3502828" y="175067"/>
                  <a:pt x="3525786" y="198022"/>
                  <a:pt x="3525786" y="226162"/>
                </a:cubicBezTo>
                <a:cubicBezTo>
                  <a:pt x="3525786" y="254299"/>
                  <a:pt x="3502828" y="277254"/>
                  <a:pt x="3474690" y="277254"/>
                </a:cubicBezTo>
                <a:cubicBezTo>
                  <a:pt x="3446550" y="277254"/>
                  <a:pt x="3423595" y="254299"/>
                  <a:pt x="3423595" y="226162"/>
                </a:cubicBezTo>
                <a:cubicBezTo>
                  <a:pt x="3423595" y="198022"/>
                  <a:pt x="3446550" y="175067"/>
                  <a:pt x="3474690" y="175067"/>
                </a:cubicBezTo>
                <a:close/>
                <a:moveTo>
                  <a:pt x="370749" y="167629"/>
                </a:moveTo>
                <a:cubicBezTo>
                  <a:pt x="394445" y="167629"/>
                  <a:pt x="413945" y="186881"/>
                  <a:pt x="413945" y="210826"/>
                </a:cubicBezTo>
                <a:cubicBezTo>
                  <a:pt x="413945" y="234522"/>
                  <a:pt x="394691" y="254022"/>
                  <a:pt x="370749" y="254022"/>
                </a:cubicBezTo>
                <a:cubicBezTo>
                  <a:pt x="347053" y="254022"/>
                  <a:pt x="327552" y="234768"/>
                  <a:pt x="327552" y="210826"/>
                </a:cubicBezTo>
                <a:cubicBezTo>
                  <a:pt x="327552" y="187130"/>
                  <a:pt x="347053" y="167629"/>
                  <a:pt x="370749" y="167629"/>
                </a:cubicBezTo>
                <a:close/>
                <a:moveTo>
                  <a:pt x="1523228" y="162450"/>
                </a:moveTo>
                <a:cubicBezTo>
                  <a:pt x="1544950" y="162450"/>
                  <a:pt x="1562473" y="179976"/>
                  <a:pt x="1562473" y="201697"/>
                </a:cubicBezTo>
                <a:cubicBezTo>
                  <a:pt x="1562473" y="223418"/>
                  <a:pt x="1544950" y="240944"/>
                  <a:pt x="1523228" y="240944"/>
                </a:cubicBezTo>
                <a:cubicBezTo>
                  <a:pt x="1501506" y="240944"/>
                  <a:pt x="1483980" y="223418"/>
                  <a:pt x="1483980" y="201697"/>
                </a:cubicBezTo>
                <a:cubicBezTo>
                  <a:pt x="1483980" y="179976"/>
                  <a:pt x="1501506" y="162450"/>
                  <a:pt x="1523228" y="162450"/>
                </a:cubicBezTo>
                <a:close/>
                <a:moveTo>
                  <a:pt x="1762904" y="161960"/>
                </a:moveTo>
                <a:cubicBezTo>
                  <a:pt x="1787338" y="161960"/>
                  <a:pt x="1807087" y="181706"/>
                  <a:pt x="1807087" y="206143"/>
                </a:cubicBezTo>
                <a:cubicBezTo>
                  <a:pt x="1807087" y="230578"/>
                  <a:pt x="1787338" y="250325"/>
                  <a:pt x="1762904" y="250325"/>
                </a:cubicBezTo>
                <a:cubicBezTo>
                  <a:pt x="1738467" y="250325"/>
                  <a:pt x="1718720" y="230578"/>
                  <a:pt x="1718720" y="206143"/>
                </a:cubicBezTo>
                <a:cubicBezTo>
                  <a:pt x="1718720" y="181706"/>
                  <a:pt x="1738467" y="161960"/>
                  <a:pt x="1762904" y="161960"/>
                </a:cubicBezTo>
                <a:close/>
                <a:moveTo>
                  <a:pt x="748405" y="157262"/>
                </a:moveTo>
                <a:cubicBezTo>
                  <a:pt x="760502" y="157262"/>
                  <a:pt x="770372" y="167135"/>
                  <a:pt x="770372" y="179229"/>
                </a:cubicBezTo>
                <a:cubicBezTo>
                  <a:pt x="770372" y="191324"/>
                  <a:pt x="760502" y="201197"/>
                  <a:pt x="748405" y="201197"/>
                </a:cubicBezTo>
                <a:cubicBezTo>
                  <a:pt x="736311" y="201197"/>
                  <a:pt x="726437" y="191324"/>
                  <a:pt x="726437" y="179229"/>
                </a:cubicBezTo>
                <a:cubicBezTo>
                  <a:pt x="726437" y="167135"/>
                  <a:pt x="736311" y="157262"/>
                  <a:pt x="748405" y="157262"/>
                </a:cubicBezTo>
                <a:close/>
                <a:moveTo>
                  <a:pt x="1277374" y="155785"/>
                </a:moveTo>
                <a:cubicBezTo>
                  <a:pt x="1299345" y="155785"/>
                  <a:pt x="1317363" y="173803"/>
                  <a:pt x="1317363" y="195771"/>
                </a:cubicBezTo>
                <a:cubicBezTo>
                  <a:pt x="1317363" y="217987"/>
                  <a:pt x="1299591" y="235759"/>
                  <a:pt x="1277374" y="235759"/>
                </a:cubicBezTo>
                <a:cubicBezTo>
                  <a:pt x="1255407" y="235759"/>
                  <a:pt x="1237389" y="217741"/>
                  <a:pt x="1237389" y="195771"/>
                </a:cubicBezTo>
                <a:cubicBezTo>
                  <a:pt x="1237389" y="173803"/>
                  <a:pt x="1255407" y="155785"/>
                  <a:pt x="1277374" y="155785"/>
                </a:cubicBezTo>
                <a:close/>
                <a:moveTo>
                  <a:pt x="159950" y="155285"/>
                </a:moveTo>
                <a:cubicBezTo>
                  <a:pt x="181920" y="155285"/>
                  <a:pt x="199692" y="173057"/>
                  <a:pt x="199692" y="195025"/>
                </a:cubicBezTo>
                <a:cubicBezTo>
                  <a:pt x="199443" y="216995"/>
                  <a:pt x="181671" y="234767"/>
                  <a:pt x="159950" y="234767"/>
                </a:cubicBezTo>
                <a:cubicBezTo>
                  <a:pt x="138229" y="234767"/>
                  <a:pt x="120210" y="216995"/>
                  <a:pt x="120210" y="195025"/>
                </a:cubicBezTo>
                <a:cubicBezTo>
                  <a:pt x="120210" y="173057"/>
                  <a:pt x="137983" y="155285"/>
                  <a:pt x="159950" y="155285"/>
                </a:cubicBezTo>
                <a:close/>
                <a:moveTo>
                  <a:pt x="566487" y="153066"/>
                </a:moveTo>
                <a:cubicBezTo>
                  <a:pt x="593887" y="153066"/>
                  <a:pt x="616349" y="175280"/>
                  <a:pt x="616349" y="202679"/>
                </a:cubicBezTo>
                <a:cubicBezTo>
                  <a:pt x="616103" y="230078"/>
                  <a:pt x="593887" y="252541"/>
                  <a:pt x="566487" y="252541"/>
                </a:cubicBezTo>
                <a:cubicBezTo>
                  <a:pt x="539091" y="252541"/>
                  <a:pt x="516874" y="230325"/>
                  <a:pt x="516874" y="202679"/>
                </a:cubicBezTo>
                <a:cubicBezTo>
                  <a:pt x="516874" y="175280"/>
                  <a:pt x="539091" y="153066"/>
                  <a:pt x="566487" y="153066"/>
                </a:cubicBezTo>
                <a:close/>
                <a:moveTo>
                  <a:pt x="3703753" y="146686"/>
                </a:moveTo>
                <a:cubicBezTo>
                  <a:pt x="3734114" y="146686"/>
                  <a:pt x="3758798" y="171369"/>
                  <a:pt x="3758798" y="201730"/>
                </a:cubicBezTo>
                <a:cubicBezTo>
                  <a:pt x="3758798" y="232091"/>
                  <a:pt x="3734114" y="256774"/>
                  <a:pt x="3703753" y="256774"/>
                </a:cubicBezTo>
                <a:cubicBezTo>
                  <a:pt x="3673392" y="256774"/>
                  <a:pt x="3648708" y="232091"/>
                  <a:pt x="3648708" y="201730"/>
                </a:cubicBezTo>
                <a:cubicBezTo>
                  <a:pt x="3648708" y="171369"/>
                  <a:pt x="3673392" y="146686"/>
                  <a:pt x="3703753" y="146686"/>
                </a:cubicBezTo>
                <a:close/>
                <a:moveTo>
                  <a:pt x="2695185" y="144941"/>
                </a:moveTo>
                <a:cubicBezTo>
                  <a:pt x="2722336" y="144941"/>
                  <a:pt x="2744552" y="167155"/>
                  <a:pt x="2744552" y="194307"/>
                </a:cubicBezTo>
                <a:cubicBezTo>
                  <a:pt x="2744552" y="221458"/>
                  <a:pt x="2722336" y="243674"/>
                  <a:pt x="2695185" y="243674"/>
                </a:cubicBezTo>
                <a:cubicBezTo>
                  <a:pt x="2668032" y="243674"/>
                  <a:pt x="2645818" y="221458"/>
                  <a:pt x="2645818" y="194307"/>
                </a:cubicBezTo>
                <a:cubicBezTo>
                  <a:pt x="2645818" y="167155"/>
                  <a:pt x="2668032" y="144941"/>
                  <a:pt x="2695185" y="144941"/>
                </a:cubicBezTo>
                <a:close/>
                <a:moveTo>
                  <a:pt x="2467359" y="143703"/>
                </a:moveTo>
                <a:cubicBezTo>
                  <a:pt x="2495005" y="143703"/>
                  <a:pt x="2517465" y="166166"/>
                  <a:pt x="2517465" y="193811"/>
                </a:cubicBezTo>
                <a:cubicBezTo>
                  <a:pt x="2517465" y="221457"/>
                  <a:pt x="2495005" y="243917"/>
                  <a:pt x="2467359" y="243917"/>
                </a:cubicBezTo>
                <a:cubicBezTo>
                  <a:pt x="2439714" y="243917"/>
                  <a:pt x="2417251" y="221457"/>
                  <a:pt x="2417251" y="193811"/>
                </a:cubicBezTo>
                <a:cubicBezTo>
                  <a:pt x="2417251" y="166166"/>
                  <a:pt x="2439714" y="143703"/>
                  <a:pt x="2467359" y="143703"/>
                </a:cubicBezTo>
                <a:close/>
                <a:moveTo>
                  <a:pt x="2006521" y="143697"/>
                </a:moveTo>
                <a:cubicBezTo>
                  <a:pt x="2031699" y="143697"/>
                  <a:pt x="2051938" y="164185"/>
                  <a:pt x="2051938" y="189361"/>
                </a:cubicBezTo>
                <a:cubicBezTo>
                  <a:pt x="2051938" y="214539"/>
                  <a:pt x="2031699" y="234778"/>
                  <a:pt x="2006521" y="234778"/>
                </a:cubicBezTo>
                <a:cubicBezTo>
                  <a:pt x="1981342" y="234778"/>
                  <a:pt x="1961110" y="214293"/>
                  <a:pt x="1961110" y="189361"/>
                </a:cubicBezTo>
                <a:cubicBezTo>
                  <a:pt x="1961110" y="164431"/>
                  <a:pt x="1981591" y="143697"/>
                  <a:pt x="2006521" y="143697"/>
                </a:cubicBezTo>
                <a:close/>
                <a:moveTo>
                  <a:pt x="1023874" y="141220"/>
                </a:moveTo>
                <a:cubicBezTo>
                  <a:pt x="1048066" y="141220"/>
                  <a:pt x="1067812" y="160967"/>
                  <a:pt x="1067812" y="185156"/>
                </a:cubicBezTo>
                <a:cubicBezTo>
                  <a:pt x="1067812" y="209593"/>
                  <a:pt x="1048066" y="229094"/>
                  <a:pt x="1023874" y="229094"/>
                </a:cubicBezTo>
                <a:cubicBezTo>
                  <a:pt x="999686" y="229094"/>
                  <a:pt x="979939" y="209347"/>
                  <a:pt x="979939" y="185156"/>
                </a:cubicBezTo>
                <a:cubicBezTo>
                  <a:pt x="979939" y="160967"/>
                  <a:pt x="999686" y="141220"/>
                  <a:pt x="1023874" y="141220"/>
                </a:cubicBezTo>
                <a:close/>
                <a:moveTo>
                  <a:pt x="2238051" y="140984"/>
                </a:moveTo>
                <a:cubicBezTo>
                  <a:pt x="2266191" y="140984"/>
                  <a:pt x="2288900" y="163693"/>
                  <a:pt x="2288900" y="191830"/>
                </a:cubicBezTo>
                <a:cubicBezTo>
                  <a:pt x="2288900" y="219971"/>
                  <a:pt x="2266191" y="242679"/>
                  <a:pt x="2238051" y="242679"/>
                </a:cubicBezTo>
                <a:cubicBezTo>
                  <a:pt x="2209913" y="242679"/>
                  <a:pt x="2187204" y="219971"/>
                  <a:pt x="2187204" y="191830"/>
                </a:cubicBezTo>
                <a:cubicBezTo>
                  <a:pt x="2187204" y="163693"/>
                  <a:pt x="2209913" y="140984"/>
                  <a:pt x="2238051" y="140984"/>
                </a:cubicBezTo>
                <a:close/>
                <a:moveTo>
                  <a:pt x="3376698" y="124219"/>
                </a:moveTo>
                <a:cubicBezTo>
                  <a:pt x="3402120" y="124219"/>
                  <a:pt x="3422854" y="144953"/>
                  <a:pt x="3422854" y="170378"/>
                </a:cubicBezTo>
                <a:cubicBezTo>
                  <a:pt x="3422854" y="195802"/>
                  <a:pt x="3402120" y="216536"/>
                  <a:pt x="3376698" y="216536"/>
                </a:cubicBezTo>
                <a:cubicBezTo>
                  <a:pt x="3351273" y="216536"/>
                  <a:pt x="3330539" y="195802"/>
                  <a:pt x="3330539" y="170378"/>
                </a:cubicBezTo>
                <a:cubicBezTo>
                  <a:pt x="3330539" y="144953"/>
                  <a:pt x="3351273" y="124219"/>
                  <a:pt x="3376698" y="124219"/>
                </a:cubicBezTo>
                <a:close/>
                <a:moveTo>
                  <a:pt x="2927951" y="123962"/>
                </a:moveTo>
                <a:cubicBezTo>
                  <a:pt x="2953869" y="123962"/>
                  <a:pt x="2975098" y="144942"/>
                  <a:pt x="2975098" y="171108"/>
                </a:cubicBezTo>
                <a:cubicBezTo>
                  <a:pt x="2975098" y="197025"/>
                  <a:pt x="2953869" y="218254"/>
                  <a:pt x="2927951" y="218254"/>
                </a:cubicBezTo>
                <a:cubicBezTo>
                  <a:pt x="2902032" y="218254"/>
                  <a:pt x="2880805" y="197025"/>
                  <a:pt x="2880805" y="171108"/>
                </a:cubicBezTo>
                <a:cubicBezTo>
                  <a:pt x="2880805" y="145191"/>
                  <a:pt x="2902032" y="123962"/>
                  <a:pt x="2927951" y="123962"/>
                </a:cubicBezTo>
                <a:close/>
                <a:moveTo>
                  <a:pt x="3152817" y="119770"/>
                </a:moveTo>
                <a:cubicBezTo>
                  <a:pt x="3181036" y="119770"/>
                  <a:pt x="3203910" y="142647"/>
                  <a:pt x="3203910" y="170865"/>
                </a:cubicBezTo>
                <a:cubicBezTo>
                  <a:pt x="3203910" y="199082"/>
                  <a:pt x="3181036" y="221960"/>
                  <a:pt x="3152817" y="221960"/>
                </a:cubicBezTo>
                <a:cubicBezTo>
                  <a:pt x="3124597" y="221960"/>
                  <a:pt x="3101722" y="199082"/>
                  <a:pt x="3101722" y="170865"/>
                </a:cubicBezTo>
                <a:cubicBezTo>
                  <a:pt x="3101722" y="142647"/>
                  <a:pt x="3124597" y="119770"/>
                  <a:pt x="3152817" y="119770"/>
                </a:cubicBezTo>
                <a:close/>
                <a:moveTo>
                  <a:pt x="918723" y="118511"/>
                </a:moveTo>
                <a:cubicBezTo>
                  <a:pt x="933533" y="118511"/>
                  <a:pt x="945381" y="130359"/>
                  <a:pt x="945381" y="145169"/>
                </a:cubicBezTo>
                <a:cubicBezTo>
                  <a:pt x="945381" y="159979"/>
                  <a:pt x="933533" y="171827"/>
                  <a:pt x="918723" y="171827"/>
                </a:cubicBezTo>
                <a:cubicBezTo>
                  <a:pt x="904159" y="171827"/>
                  <a:pt x="892065" y="159979"/>
                  <a:pt x="892065" y="145169"/>
                </a:cubicBezTo>
                <a:cubicBezTo>
                  <a:pt x="892065" y="130359"/>
                  <a:pt x="904159" y="118511"/>
                  <a:pt x="918723" y="118511"/>
                </a:cubicBezTo>
                <a:close/>
                <a:moveTo>
                  <a:pt x="1668365" y="112346"/>
                </a:moveTo>
                <a:cubicBezTo>
                  <a:pt x="1690087" y="112346"/>
                  <a:pt x="1707859" y="130118"/>
                  <a:pt x="1707859" y="152085"/>
                </a:cubicBezTo>
                <a:cubicBezTo>
                  <a:pt x="1707859" y="173807"/>
                  <a:pt x="1690087" y="191579"/>
                  <a:pt x="1668365" y="191579"/>
                </a:cubicBezTo>
                <a:cubicBezTo>
                  <a:pt x="1646397" y="191579"/>
                  <a:pt x="1628625" y="173807"/>
                  <a:pt x="1628625" y="152085"/>
                </a:cubicBezTo>
                <a:cubicBezTo>
                  <a:pt x="1628625" y="130118"/>
                  <a:pt x="1646397" y="112346"/>
                  <a:pt x="1668365" y="112346"/>
                </a:cubicBezTo>
                <a:close/>
                <a:moveTo>
                  <a:pt x="1428688" y="111602"/>
                </a:moveTo>
                <a:cubicBezTo>
                  <a:pt x="1448930" y="111602"/>
                  <a:pt x="1465219" y="127894"/>
                  <a:pt x="1465219" y="148133"/>
                </a:cubicBezTo>
                <a:cubicBezTo>
                  <a:pt x="1465465" y="168375"/>
                  <a:pt x="1448930" y="184665"/>
                  <a:pt x="1428688" y="184665"/>
                </a:cubicBezTo>
                <a:cubicBezTo>
                  <a:pt x="1408448" y="184665"/>
                  <a:pt x="1392156" y="168375"/>
                  <a:pt x="1392156" y="148133"/>
                </a:cubicBezTo>
                <a:cubicBezTo>
                  <a:pt x="1392156" y="127894"/>
                  <a:pt x="1408694" y="111602"/>
                  <a:pt x="1428688" y="111602"/>
                </a:cubicBezTo>
                <a:close/>
                <a:moveTo>
                  <a:pt x="265595" y="106907"/>
                </a:moveTo>
                <a:cubicBezTo>
                  <a:pt x="287316" y="106907"/>
                  <a:pt x="305088" y="124679"/>
                  <a:pt x="305088" y="146400"/>
                </a:cubicBezTo>
                <a:cubicBezTo>
                  <a:pt x="305088" y="168121"/>
                  <a:pt x="287316" y="185893"/>
                  <a:pt x="265595" y="185893"/>
                </a:cubicBezTo>
                <a:cubicBezTo>
                  <a:pt x="243874" y="185893"/>
                  <a:pt x="226102" y="168121"/>
                  <a:pt x="226102" y="146400"/>
                </a:cubicBezTo>
                <a:cubicBezTo>
                  <a:pt x="226102" y="124679"/>
                  <a:pt x="243874" y="106907"/>
                  <a:pt x="265595" y="106907"/>
                </a:cubicBezTo>
                <a:close/>
                <a:moveTo>
                  <a:pt x="1183084" y="103209"/>
                </a:moveTo>
                <a:cubicBezTo>
                  <a:pt x="1204557" y="103209"/>
                  <a:pt x="1222083" y="120735"/>
                  <a:pt x="1222083" y="142210"/>
                </a:cubicBezTo>
                <a:cubicBezTo>
                  <a:pt x="1222083" y="163683"/>
                  <a:pt x="1204557" y="181209"/>
                  <a:pt x="1183084" y="181209"/>
                </a:cubicBezTo>
                <a:cubicBezTo>
                  <a:pt x="1161609" y="181209"/>
                  <a:pt x="1144083" y="163683"/>
                  <a:pt x="1144083" y="142210"/>
                </a:cubicBezTo>
                <a:cubicBezTo>
                  <a:pt x="1144083" y="120735"/>
                  <a:pt x="1161609" y="103209"/>
                  <a:pt x="1183084" y="103209"/>
                </a:cubicBezTo>
                <a:close/>
                <a:moveTo>
                  <a:pt x="466272" y="102711"/>
                </a:moveTo>
                <a:cubicBezTo>
                  <a:pt x="489229" y="102711"/>
                  <a:pt x="507989" y="121470"/>
                  <a:pt x="507989" y="144425"/>
                </a:cubicBezTo>
                <a:cubicBezTo>
                  <a:pt x="507989" y="167629"/>
                  <a:pt x="489229" y="186389"/>
                  <a:pt x="466272" y="186389"/>
                </a:cubicBezTo>
                <a:cubicBezTo>
                  <a:pt x="443317" y="186389"/>
                  <a:pt x="424311" y="167629"/>
                  <a:pt x="424311" y="144425"/>
                </a:cubicBezTo>
                <a:cubicBezTo>
                  <a:pt x="424311" y="121470"/>
                  <a:pt x="443070" y="102711"/>
                  <a:pt x="466272" y="102711"/>
                </a:cubicBezTo>
                <a:close/>
                <a:moveTo>
                  <a:pt x="1911499" y="92352"/>
                </a:moveTo>
                <a:cubicBezTo>
                  <a:pt x="1934700" y="92352"/>
                  <a:pt x="1953460" y="111112"/>
                  <a:pt x="1953460" y="134313"/>
                </a:cubicBezTo>
                <a:cubicBezTo>
                  <a:pt x="1953460" y="157516"/>
                  <a:pt x="1934700" y="176276"/>
                  <a:pt x="1911499" y="176276"/>
                </a:cubicBezTo>
                <a:cubicBezTo>
                  <a:pt x="1888543" y="176276"/>
                  <a:pt x="1869785" y="157516"/>
                  <a:pt x="1869785" y="134313"/>
                </a:cubicBezTo>
                <a:cubicBezTo>
                  <a:pt x="1869785" y="111358"/>
                  <a:pt x="1888543" y="92352"/>
                  <a:pt x="1911499" y="92352"/>
                </a:cubicBezTo>
                <a:close/>
                <a:moveTo>
                  <a:pt x="3605265" y="90654"/>
                </a:moveTo>
                <a:cubicBezTo>
                  <a:pt x="3635380" y="90654"/>
                  <a:pt x="3659815" y="115091"/>
                  <a:pt x="3659815" y="145204"/>
                </a:cubicBezTo>
                <a:cubicBezTo>
                  <a:pt x="3659815" y="175318"/>
                  <a:pt x="3635380" y="199753"/>
                  <a:pt x="3605265" y="199753"/>
                </a:cubicBezTo>
                <a:cubicBezTo>
                  <a:pt x="3575152" y="199753"/>
                  <a:pt x="3550715" y="175318"/>
                  <a:pt x="3550715" y="145204"/>
                </a:cubicBezTo>
                <a:cubicBezTo>
                  <a:pt x="3550715" y="115091"/>
                  <a:pt x="3575152" y="90654"/>
                  <a:pt x="3605265" y="90654"/>
                </a:cubicBezTo>
                <a:close/>
                <a:moveTo>
                  <a:pt x="3827416" y="89177"/>
                </a:moveTo>
                <a:cubicBezTo>
                  <a:pt x="3858024" y="89177"/>
                  <a:pt x="3882707" y="114106"/>
                  <a:pt x="3882707" y="144467"/>
                </a:cubicBezTo>
                <a:cubicBezTo>
                  <a:pt x="3882707" y="174828"/>
                  <a:pt x="3858024" y="199757"/>
                  <a:pt x="3827416" y="199757"/>
                </a:cubicBezTo>
                <a:cubicBezTo>
                  <a:pt x="3796809" y="199757"/>
                  <a:pt x="3772125" y="175074"/>
                  <a:pt x="3772125" y="144467"/>
                </a:cubicBezTo>
                <a:cubicBezTo>
                  <a:pt x="3772125" y="113860"/>
                  <a:pt x="3796809" y="89177"/>
                  <a:pt x="3827416" y="89177"/>
                </a:cubicBezTo>
                <a:close/>
                <a:moveTo>
                  <a:pt x="2598672" y="88907"/>
                </a:moveTo>
                <a:cubicBezTo>
                  <a:pt x="2626071" y="88907"/>
                  <a:pt x="2648285" y="111121"/>
                  <a:pt x="2648285" y="138520"/>
                </a:cubicBezTo>
                <a:cubicBezTo>
                  <a:pt x="2648285" y="165919"/>
                  <a:pt x="2626071" y="188135"/>
                  <a:pt x="2598672" y="188135"/>
                </a:cubicBezTo>
                <a:cubicBezTo>
                  <a:pt x="2571273" y="188135"/>
                  <a:pt x="2549059" y="165919"/>
                  <a:pt x="2549059" y="138520"/>
                </a:cubicBezTo>
                <a:cubicBezTo>
                  <a:pt x="2549059" y="111121"/>
                  <a:pt x="2571273" y="88907"/>
                  <a:pt x="2598672" y="88907"/>
                </a:cubicBezTo>
                <a:close/>
                <a:moveTo>
                  <a:pt x="2142773" y="86926"/>
                </a:moveTo>
                <a:cubicBezTo>
                  <a:pt x="2169926" y="86926"/>
                  <a:pt x="2192140" y="109142"/>
                  <a:pt x="2192140" y="136293"/>
                </a:cubicBezTo>
                <a:cubicBezTo>
                  <a:pt x="2192140" y="163446"/>
                  <a:pt x="2169926" y="185660"/>
                  <a:pt x="2142773" y="185660"/>
                </a:cubicBezTo>
                <a:cubicBezTo>
                  <a:pt x="2115620" y="185660"/>
                  <a:pt x="2093406" y="163446"/>
                  <a:pt x="2093406" y="136293"/>
                </a:cubicBezTo>
                <a:cubicBezTo>
                  <a:pt x="2093406" y="109142"/>
                  <a:pt x="2115620" y="86926"/>
                  <a:pt x="2142773" y="86926"/>
                </a:cubicBezTo>
                <a:close/>
                <a:moveTo>
                  <a:pt x="2371341" y="86434"/>
                </a:moveTo>
                <a:cubicBezTo>
                  <a:pt x="2399974" y="86434"/>
                  <a:pt x="2423424" y="109884"/>
                  <a:pt x="2423424" y="138517"/>
                </a:cubicBezTo>
                <a:cubicBezTo>
                  <a:pt x="2423424" y="167149"/>
                  <a:pt x="2399974" y="190599"/>
                  <a:pt x="2371341" y="190599"/>
                </a:cubicBezTo>
                <a:cubicBezTo>
                  <a:pt x="2342708" y="190599"/>
                  <a:pt x="2319258" y="167149"/>
                  <a:pt x="2319258" y="138517"/>
                </a:cubicBezTo>
                <a:cubicBezTo>
                  <a:pt x="2319258" y="109638"/>
                  <a:pt x="2342708" y="86434"/>
                  <a:pt x="2371341" y="86434"/>
                </a:cubicBezTo>
                <a:close/>
                <a:moveTo>
                  <a:pt x="651399" y="79261"/>
                </a:moveTo>
                <a:cubicBezTo>
                  <a:pt x="676083" y="79261"/>
                  <a:pt x="696078" y="99254"/>
                  <a:pt x="696078" y="123938"/>
                </a:cubicBezTo>
                <a:cubicBezTo>
                  <a:pt x="696078" y="148375"/>
                  <a:pt x="676083" y="168614"/>
                  <a:pt x="651399" y="168614"/>
                </a:cubicBezTo>
                <a:cubicBezTo>
                  <a:pt x="626716" y="168614"/>
                  <a:pt x="606723" y="148621"/>
                  <a:pt x="606723" y="123938"/>
                </a:cubicBezTo>
                <a:cubicBezTo>
                  <a:pt x="606723" y="99254"/>
                  <a:pt x="626716" y="79261"/>
                  <a:pt x="651399" y="79261"/>
                </a:cubicBezTo>
                <a:close/>
                <a:moveTo>
                  <a:pt x="1574074" y="75072"/>
                </a:moveTo>
                <a:cubicBezTo>
                  <a:pt x="1586169" y="75072"/>
                  <a:pt x="1596042" y="84945"/>
                  <a:pt x="1596042" y="97040"/>
                </a:cubicBezTo>
                <a:cubicBezTo>
                  <a:pt x="1595796" y="109382"/>
                  <a:pt x="1586169" y="119007"/>
                  <a:pt x="1574074" y="119007"/>
                </a:cubicBezTo>
                <a:cubicBezTo>
                  <a:pt x="1561980" y="119007"/>
                  <a:pt x="1552353" y="109136"/>
                  <a:pt x="1552353" y="97040"/>
                </a:cubicBezTo>
                <a:cubicBezTo>
                  <a:pt x="1552353" y="84945"/>
                  <a:pt x="1562226" y="75072"/>
                  <a:pt x="1574074" y="75072"/>
                </a:cubicBezTo>
                <a:close/>
                <a:moveTo>
                  <a:pt x="3278456" y="72875"/>
                </a:moveTo>
                <a:cubicBezTo>
                  <a:pt x="3301165" y="72875"/>
                  <a:pt x="3319924" y="91388"/>
                  <a:pt x="3319924" y="114343"/>
                </a:cubicBezTo>
                <a:cubicBezTo>
                  <a:pt x="3319924" y="137052"/>
                  <a:pt x="3301411" y="155811"/>
                  <a:pt x="3278456" y="155811"/>
                </a:cubicBezTo>
                <a:cubicBezTo>
                  <a:pt x="3255501" y="155811"/>
                  <a:pt x="3236988" y="137298"/>
                  <a:pt x="3236988" y="114343"/>
                </a:cubicBezTo>
                <a:cubicBezTo>
                  <a:pt x="3236988" y="91388"/>
                  <a:pt x="3255747" y="72875"/>
                  <a:pt x="3278456" y="72875"/>
                </a:cubicBezTo>
                <a:close/>
                <a:moveTo>
                  <a:pt x="3054823" y="71142"/>
                </a:moveTo>
                <a:cubicBezTo>
                  <a:pt x="3079014" y="71142"/>
                  <a:pt x="3098761" y="90889"/>
                  <a:pt x="3098761" y="115077"/>
                </a:cubicBezTo>
                <a:cubicBezTo>
                  <a:pt x="3098761" y="139268"/>
                  <a:pt x="3079260" y="159015"/>
                  <a:pt x="3054823" y="159015"/>
                </a:cubicBezTo>
                <a:cubicBezTo>
                  <a:pt x="3030634" y="159015"/>
                  <a:pt x="3010887" y="139268"/>
                  <a:pt x="3010887" y="115077"/>
                </a:cubicBezTo>
                <a:cubicBezTo>
                  <a:pt x="3010887" y="90889"/>
                  <a:pt x="3030634" y="71142"/>
                  <a:pt x="3054823" y="71142"/>
                </a:cubicBezTo>
                <a:close/>
                <a:moveTo>
                  <a:pt x="823444" y="70130"/>
                </a:moveTo>
                <a:cubicBezTo>
                  <a:pt x="834800" y="70130"/>
                  <a:pt x="843932" y="79509"/>
                  <a:pt x="843932" y="90864"/>
                </a:cubicBezTo>
                <a:cubicBezTo>
                  <a:pt x="844178" y="102466"/>
                  <a:pt x="834800" y="111599"/>
                  <a:pt x="823444" y="111599"/>
                </a:cubicBezTo>
                <a:cubicBezTo>
                  <a:pt x="812091" y="111599"/>
                  <a:pt x="802709" y="102466"/>
                  <a:pt x="802709" y="90864"/>
                </a:cubicBezTo>
                <a:cubicBezTo>
                  <a:pt x="802709" y="79509"/>
                  <a:pt x="812091" y="70130"/>
                  <a:pt x="823444" y="70130"/>
                </a:cubicBezTo>
                <a:close/>
                <a:moveTo>
                  <a:pt x="48874" y="69387"/>
                </a:moveTo>
                <a:cubicBezTo>
                  <a:pt x="75779" y="69387"/>
                  <a:pt x="97746" y="91355"/>
                  <a:pt x="97746" y="118259"/>
                </a:cubicBezTo>
                <a:cubicBezTo>
                  <a:pt x="97746" y="145166"/>
                  <a:pt x="75779" y="167134"/>
                  <a:pt x="48874" y="167134"/>
                </a:cubicBezTo>
                <a:cubicBezTo>
                  <a:pt x="21968" y="167134"/>
                  <a:pt x="0" y="145166"/>
                  <a:pt x="0" y="118259"/>
                </a:cubicBezTo>
                <a:cubicBezTo>
                  <a:pt x="0" y="91355"/>
                  <a:pt x="21968" y="69387"/>
                  <a:pt x="48874" y="69387"/>
                </a:cubicBezTo>
                <a:close/>
                <a:moveTo>
                  <a:pt x="2830700" y="69164"/>
                </a:moveTo>
                <a:cubicBezTo>
                  <a:pt x="2855629" y="69164"/>
                  <a:pt x="2876363" y="89652"/>
                  <a:pt x="2876363" y="114828"/>
                </a:cubicBezTo>
                <a:cubicBezTo>
                  <a:pt x="2876363" y="140006"/>
                  <a:pt x="2855875" y="160491"/>
                  <a:pt x="2830700" y="160491"/>
                </a:cubicBezTo>
                <a:cubicBezTo>
                  <a:pt x="2805524" y="160491"/>
                  <a:pt x="2785282" y="140006"/>
                  <a:pt x="2785282" y="114828"/>
                </a:cubicBezTo>
                <a:cubicBezTo>
                  <a:pt x="2785282" y="89652"/>
                  <a:pt x="2805770" y="69164"/>
                  <a:pt x="2830700" y="69164"/>
                </a:cubicBezTo>
                <a:close/>
                <a:moveTo>
                  <a:pt x="3501099" y="63745"/>
                </a:moveTo>
                <a:cubicBezTo>
                  <a:pt x="3528498" y="63745"/>
                  <a:pt x="3550715" y="85961"/>
                  <a:pt x="3550715" y="113358"/>
                </a:cubicBezTo>
                <a:cubicBezTo>
                  <a:pt x="3550715" y="140757"/>
                  <a:pt x="3528498" y="162973"/>
                  <a:pt x="3501099" y="162973"/>
                </a:cubicBezTo>
                <a:cubicBezTo>
                  <a:pt x="3473700" y="162973"/>
                  <a:pt x="3451486" y="140757"/>
                  <a:pt x="3451486" y="113358"/>
                </a:cubicBezTo>
                <a:cubicBezTo>
                  <a:pt x="3451486" y="85961"/>
                  <a:pt x="3473700" y="63745"/>
                  <a:pt x="3501099" y="63745"/>
                </a:cubicBezTo>
                <a:close/>
                <a:moveTo>
                  <a:pt x="1334394" y="59519"/>
                </a:moveTo>
                <a:cubicBezTo>
                  <a:pt x="1353649" y="59519"/>
                  <a:pt x="1369197" y="75070"/>
                  <a:pt x="1369197" y="94322"/>
                </a:cubicBezTo>
                <a:cubicBezTo>
                  <a:pt x="1369446" y="113576"/>
                  <a:pt x="1353649" y="129128"/>
                  <a:pt x="1334394" y="129128"/>
                </a:cubicBezTo>
                <a:cubicBezTo>
                  <a:pt x="1315142" y="129128"/>
                  <a:pt x="1299591" y="113576"/>
                  <a:pt x="1299591" y="94322"/>
                </a:cubicBezTo>
                <a:cubicBezTo>
                  <a:pt x="1299591" y="75070"/>
                  <a:pt x="1315142" y="59519"/>
                  <a:pt x="1334394" y="59519"/>
                </a:cubicBezTo>
                <a:close/>
                <a:moveTo>
                  <a:pt x="1808568" y="48416"/>
                </a:moveTo>
                <a:cubicBezTo>
                  <a:pt x="1836953" y="48416"/>
                  <a:pt x="1859909" y="71371"/>
                  <a:pt x="1859909" y="99757"/>
                </a:cubicBezTo>
                <a:cubicBezTo>
                  <a:pt x="1859909" y="128144"/>
                  <a:pt x="1836953" y="151099"/>
                  <a:pt x="1808568" y="151099"/>
                </a:cubicBezTo>
                <a:cubicBezTo>
                  <a:pt x="1780181" y="151099"/>
                  <a:pt x="1757227" y="128144"/>
                  <a:pt x="1757227" y="99757"/>
                </a:cubicBezTo>
                <a:cubicBezTo>
                  <a:pt x="1757227" y="71371"/>
                  <a:pt x="1780181" y="48416"/>
                  <a:pt x="1808568" y="48416"/>
                </a:cubicBezTo>
                <a:close/>
                <a:moveTo>
                  <a:pt x="1088791" y="46681"/>
                </a:moveTo>
                <a:cubicBezTo>
                  <a:pt x="1111746" y="46681"/>
                  <a:pt x="1130506" y="65441"/>
                  <a:pt x="1130506" y="88149"/>
                </a:cubicBezTo>
                <a:cubicBezTo>
                  <a:pt x="1130506" y="111104"/>
                  <a:pt x="1111746" y="129617"/>
                  <a:pt x="1088791" y="129617"/>
                </a:cubicBezTo>
                <a:cubicBezTo>
                  <a:pt x="1065836" y="129617"/>
                  <a:pt x="1047078" y="110858"/>
                  <a:pt x="1047078" y="88149"/>
                </a:cubicBezTo>
                <a:cubicBezTo>
                  <a:pt x="1047078" y="65195"/>
                  <a:pt x="1065836" y="46681"/>
                  <a:pt x="1088791" y="46681"/>
                </a:cubicBezTo>
                <a:close/>
                <a:moveTo>
                  <a:pt x="364578" y="45692"/>
                </a:moveTo>
                <a:cubicBezTo>
                  <a:pt x="386299" y="45692"/>
                  <a:pt x="403823" y="63217"/>
                  <a:pt x="403823" y="84939"/>
                </a:cubicBezTo>
                <a:cubicBezTo>
                  <a:pt x="403823" y="106414"/>
                  <a:pt x="386299" y="124184"/>
                  <a:pt x="364578" y="124184"/>
                </a:cubicBezTo>
                <a:cubicBezTo>
                  <a:pt x="342856" y="124184"/>
                  <a:pt x="325331" y="106660"/>
                  <a:pt x="325331" y="84939"/>
                </a:cubicBezTo>
                <a:cubicBezTo>
                  <a:pt x="325331" y="63217"/>
                  <a:pt x="342856" y="45692"/>
                  <a:pt x="364578" y="45692"/>
                </a:cubicBezTo>
                <a:close/>
                <a:moveTo>
                  <a:pt x="2727029" y="40529"/>
                </a:moveTo>
                <a:cubicBezTo>
                  <a:pt x="2750231" y="40529"/>
                  <a:pt x="2769239" y="59535"/>
                  <a:pt x="2769239" y="82739"/>
                </a:cubicBezTo>
                <a:cubicBezTo>
                  <a:pt x="2769239" y="105939"/>
                  <a:pt x="2750231" y="124948"/>
                  <a:pt x="2727029" y="124948"/>
                </a:cubicBezTo>
                <a:cubicBezTo>
                  <a:pt x="2703826" y="124948"/>
                  <a:pt x="2684820" y="105939"/>
                  <a:pt x="2684820" y="82739"/>
                </a:cubicBezTo>
                <a:cubicBezTo>
                  <a:pt x="2684820" y="59535"/>
                  <a:pt x="2703826" y="40529"/>
                  <a:pt x="2727029" y="40529"/>
                </a:cubicBezTo>
                <a:close/>
                <a:moveTo>
                  <a:pt x="2501667" y="35589"/>
                </a:moveTo>
                <a:cubicBezTo>
                  <a:pt x="2527833" y="35589"/>
                  <a:pt x="2549060" y="56818"/>
                  <a:pt x="2549060" y="82981"/>
                </a:cubicBezTo>
                <a:cubicBezTo>
                  <a:pt x="2549060" y="109147"/>
                  <a:pt x="2527833" y="130373"/>
                  <a:pt x="2501667" y="130373"/>
                </a:cubicBezTo>
                <a:cubicBezTo>
                  <a:pt x="2475502" y="130373"/>
                  <a:pt x="2454275" y="109147"/>
                  <a:pt x="2454275" y="82981"/>
                </a:cubicBezTo>
                <a:cubicBezTo>
                  <a:pt x="2454275" y="56818"/>
                  <a:pt x="2475502" y="35589"/>
                  <a:pt x="2501667" y="35589"/>
                </a:cubicBezTo>
                <a:close/>
                <a:moveTo>
                  <a:pt x="3728190" y="31909"/>
                </a:moveTo>
                <a:cubicBezTo>
                  <a:pt x="3759044" y="31909"/>
                  <a:pt x="3784223" y="57088"/>
                  <a:pt x="3784223" y="87941"/>
                </a:cubicBezTo>
                <a:cubicBezTo>
                  <a:pt x="3784223" y="118794"/>
                  <a:pt x="3759044" y="143970"/>
                  <a:pt x="3728190" y="143970"/>
                </a:cubicBezTo>
                <a:cubicBezTo>
                  <a:pt x="3697334" y="143970"/>
                  <a:pt x="3672158" y="118794"/>
                  <a:pt x="3672158" y="87941"/>
                </a:cubicBezTo>
                <a:cubicBezTo>
                  <a:pt x="3672158" y="57088"/>
                  <a:pt x="3697334" y="31909"/>
                  <a:pt x="3728190" y="31909"/>
                </a:cubicBezTo>
                <a:close/>
                <a:moveTo>
                  <a:pt x="2275323" y="30155"/>
                </a:moveTo>
                <a:cubicBezTo>
                  <a:pt x="2303710" y="30155"/>
                  <a:pt x="2326911" y="53358"/>
                  <a:pt x="2326911" y="81743"/>
                </a:cubicBezTo>
                <a:cubicBezTo>
                  <a:pt x="2326911" y="110129"/>
                  <a:pt x="2303956" y="133333"/>
                  <a:pt x="2275323" y="133333"/>
                </a:cubicBezTo>
                <a:cubicBezTo>
                  <a:pt x="2246939" y="133333"/>
                  <a:pt x="2223735" y="110129"/>
                  <a:pt x="2223735" y="81743"/>
                </a:cubicBezTo>
                <a:cubicBezTo>
                  <a:pt x="2223735" y="53358"/>
                  <a:pt x="2246939" y="30155"/>
                  <a:pt x="2275323" y="30155"/>
                </a:cubicBezTo>
                <a:close/>
                <a:moveTo>
                  <a:pt x="2047248" y="29413"/>
                </a:moveTo>
                <a:cubicBezTo>
                  <a:pt x="2075139" y="29413"/>
                  <a:pt x="2097602" y="52122"/>
                  <a:pt x="2097602" y="80013"/>
                </a:cubicBezTo>
                <a:cubicBezTo>
                  <a:pt x="2097848" y="108153"/>
                  <a:pt x="2075139" y="130616"/>
                  <a:pt x="2047248" y="130616"/>
                </a:cubicBezTo>
                <a:cubicBezTo>
                  <a:pt x="2019356" y="130616"/>
                  <a:pt x="1996893" y="107907"/>
                  <a:pt x="1996893" y="80013"/>
                </a:cubicBezTo>
                <a:cubicBezTo>
                  <a:pt x="1996893" y="52122"/>
                  <a:pt x="2019602" y="29413"/>
                  <a:pt x="2047248" y="29413"/>
                </a:cubicBezTo>
                <a:close/>
                <a:moveTo>
                  <a:pt x="553652" y="27427"/>
                </a:moveTo>
                <a:cubicBezTo>
                  <a:pt x="575866" y="27427"/>
                  <a:pt x="594133" y="45445"/>
                  <a:pt x="594133" y="67908"/>
                </a:cubicBezTo>
                <a:cubicBezTo>
                  <a:pt x="594133" y="90370"/>
                  <a:pt x="576115" y="108389"/>
                  <a:pt x="553652" y="108389"/>
                </a:cubicBezTo>
                <a:cubicBezTo>
                  <a:pt x="531438" y="108389"/>
                  <a:pt x="513171" y="90370"/>
                  <a:pt x="513171" y="67908"/>
                </a:cubicBezTo>
                <a:cubicBezTo>
                  <a:pt x="513171" y="45694"/>
                  <a:pt x="531438" y="27427"/>
                  <a:pt x="553652" y="27427"/>
                </a:cubicBezTo>
                <a:close/>
                <a:moveTo>
                  <a:pt x="158716" y="26439"/>
                </a:moveTo>
                <a:cubicBezTo>
                  <a:pt x="187349" y="26439"/>
                  <a:pt x="210304" y="49643"/>
                  <a:pt x="210304" y="78027"/>
                </a:cubicBezTo>
                <a:cubicBezTo>
                  <a:pt x="210552" y="106660"/>
                  <a:pt x="187349" y="129615"/>
                  <a:pt x="158716" y="129615"/>
                </a:cubicBezTo>
                <a:cubicBezTo>
                  <a:pt x="130332" y="129615"/>
                  <a:pt x="107128" y="106414"/>
                  <a:pt x="107128" y="78027"/>
                </a:cubicBezTo>
                <a:cubicBezTo>
                  <a:pt x="107128" y="49643"/>
                  <a:pt x="130332" y="26439"/>
                  <a:pt x="158716" y="26439"/>
                </a:cubicBezTo>
                <a:close/>
                <a:moveTo>
                  <a:pt x="984629" y="24467"/>
                </a:moveTo>
                <a:cubicBezTo>
                  <a:pt x="998698" y="24467"/>
                  <a:pt x="1010300" y="35823"/>
                  <a:pt x="1010300" y="50138"/>
                </a:cubicBezTo>
                <a:cubicBezTo>
                  <a:pt x="1010300" y="64207"/>
                  <a:pt x="998698" y="75809"/>
                  <a:pt x="984629" y="75809"/>
                </a:cubicBezTo>
                <a:cubicBezTo>
                  <a:pt x="970560" y="75809"/>
                  <a:pt x="958958" y="64207"/>
                  <a:pt x="958958" y="50138"/>
                </a:cubicBezTo>
                <a:cubicBezTo>
                  <a:pt x="958958" y="36069"/>
                  <a:pt x="970314" y="24467"/>
                  <a:pt x="984629" y="24467"/>
                </a:cubicBezTo>
                <a:close/>
                <a:moveTo>
                  <a:pt x="2957076" y="15358"/>
                </a:moveTo>
                <a:cubicBezTo>
                  <a:pt x="2980772" y="15358"/>
                  <a:pt x="3000027" y="34609"/>
                  <a:pt x="3000027" y="58305"/>
                </a:cubicBezTo>
                <a:cubicBezTo>
                  <a:pt x="2999781" y="82001"/>
                  <a:pt x="2980526" y="101255"/>
                  <a:pt x="2957076" y="101255"/>
                </a:cubicBezTo>
                <a:cubicBezTo>
                  <a:pt x="2933380" y="101255"/>
                  <a:pt x="2914128" y="82001"/>
                  <a:pt x="2914128" y="58305"/>
                </a:cubicBezTo>
                <a:cubicBezTo>
                  <a:pt x="2914128" y="34609"/>
                  <a:pt x="2933380" y="15358"/>
                  <a:pt x="2957076" y="15358"/>
                </a:cubicBezTo>
                <a:close/>
                <a:moveTo>
                  <a:pt x="3402119" y="13143"/>
                </a:moveTo>
                <a:cubicBezTo>
                  <a:pt x="3426310" y="13143"/>
                  <a:pt x="3445811" y="32644"/>
                  <a:pt x="3445811" y="56832"/>
                </a:cubicBezTo>
                <a:cubicBezTo>
                  <a:pt x="3445811" y="81023"/>
                  <a:pt x="3426061" y="100523"/>
                  <a:pt x="3402119" y="100523"/>
                </a:cubicBezTo>
                <a:cubicBezTo>
                  <a:pt x="3378177" y="100523"/>
                  <a:pt x="3358430" y="81023"/>
                  <a:pt x="3358430" y="56832"/>
                </a:cubicBezTo>
                <a:cubicBezTo>
                  <a:pt x="3358430" y="32890"/>
                  <a:pt x="3377931" y="13143"/>
                  <a:pt x="3402119" y="13143"/>
                </a:cubicBezTo>
                <a:close/>
                <a:moveTo>
                  <a:pt x="1479288" y="11881"/>
                </a:moveTo>
                <a:cubicBezTo>
                  <a:pt x="1496565" y="11881"/>
                  <a:pt x="1510637" y="25950"/>
                  <a:pt x="1510637" y="43230"/>
                </a:cubicBezTo>
                <a:cubicBezTo>
                  <a:pt x="1510637" y="60753"/>
                  <a:pt x="1496565" y="74825"/>
                  <a:pt x="1479288" y="74825"/>
                </a:cubicBezTo>
                <a:cubicBezTo>
                  <a:pt x="1462011" y="74825"/>
                  <a:pt x="1447693" y="60753"/>
                  <a:pt x="1447693" y="43230"/>
                </a:cubicBezTo>
                <a:cubicBezTo>
                  <a:pt x="1447693" y="25950"/>
                  <a:pt x="1461762" y="11881"/>
                  <a:pt x="1479288" y="11881"/>
                </a:cubicBezTo>
                <a:close/>
                <a:moveTo>
                  <a:pt x="3179968" y="7710"/>
                </a:moveTo>
                <a:cubicBezTo>
                  <a:pt x="3207614" y="7710"/>
                  <a:pt x="3230074" y="30172"/>
                  <a:pt x="3230074" y="57818"/>
                </a:cubicBezTo>
                <a:cubicBezTo>
                  <a:pt x="3230074" y="85214"/>
                  <a:pt x="3207614" y="107923"/>
                  <a:pt x="3179968" y="107923"/>
                </a:cubicBezTo>
                <a:cubicBezTo>
                  <a:pt x="3152323" y="107923"/>
                  <a:pt x="3129860" y="85463"/>
                  <a:pt x="3129860" y="57818"/>
                </a:cubicBezTo>
                <a:cubicBezTo>
                  <a:pt x="3129860" y="30172"/>
                  <a:pt x="3152323" y="7710"/>
                  <a:pt x="3179968" y="7710"/>
                </a:cubicBezTo>
                <a:close/>
                <a:moveTo>
                  <a:pt x="728165" y="6199"/>
                </a:moveTo>
                <a:cubicBezTo>
                  <a:pt x="744950" y="6199"/>
                  <a:pt x="758772" y="20021"/>
                  <a:pt x="758772" y="36806"/>
                </a:cubicBezTo>
                <a:cubicBezTo>
                  <a:pt x="758526" y="53591"/>
                  <a:pt x="744950" y="67414"/>
                  <a:pt x="728165" y="67414"/>
                </a:cubicBezTo>
                <a:cubicBezTo>
                  <a:pt x="711380" y="67414"/>
                  <a:pt x="697558" y="53837"/>
                  <a:pt x="697558" y="36806"/>
                </a:cubicBezTo>
                <a:cubicBezTo>
                  <a:pt x="697558" y="20021"/>
                  <a:pt x="711380" y="6199"/>
                  <a:pt x="728165" y="6199"/>
                </a:cubicBezTo>
                <a:close/>
                <a:moveTo>
                  <a:pt x="1240101" y="5214"/>
                </a:moveTo>
                <a:cubicBezTo>
                  <a:pt x="1259355" y="5214"/>
                  <a:pt x="1275153" y="21012"/>
                  <a:pt x="1275153" y="40263"/>
                </a:cubicBezTo>
                <a:cubicBezTo>
                  <a:pt x="1275153" y="59764"/>
                  <a:pt x="1259355" y="75315"/>
                  <a:pt x="1240101" y="75315"/>
                </a:cubicBezTo>
                <a:cubicBezTo>
                  <a:pt x="1220849" y="75315"/>
                  <a:pt x="1205052" y="59764"/>
                  <a:pt x="1205052" y="40263"/>
                </a:cubicBezTo>
                <a:cubicBezTo>
                  <a:pt x="1205052" y="21012"/>
                  <a:pt x="1220603" y="5214"/>
                  <a:pt x="1240101" y="5214"/>
                </a:cubicBezTo>
                <a:close/>
                <a:moveTo>
                  <a:pt x="3803451" y="0"/>
                </a:moveTo>
                <a:lnTo>
                  <a:pt x="3895489" y="0"/>
                </a:lnTo>
                <a:lnTo>
                  <a:pt x="3901210" y="8414"/>
                </a:lnTo>
                <a:cubicBezTo>
                  <a:pt x="3904076" y="15113"/>
                  <a:pt x="3905665" y="22472"/>
                  <a:pt x="3905665" y="30186"/>
                </a:cubicBezTo>
                <a:cubicBezTo>
                  <a:pt x="3905665" y="61039"/>
                  <a:pt x="3880486" y="86215"/>
                  <a:pt x="3849386" y="86215"/>
                </a:cubicBezTo>
                <a:cubicBezTo>
                  <a:pt x="3818530" y="86215"/>
                  <a:pt x="3793354" y="61039"/>
                  <a:pt x="3793354" y="30186"/>
                </a:cubicBezTo>
                <a:cubicBezTo>
                  <a:pt x="3793354" y="22472"/>
                  <a:pt x="3794928" y="15113"/>
                  <a:pt x="3797770" y="8414"/>
                </a:cubicBezTo>
                <a:close/>
                <a:moveTo>
                  <a:pt x="3699416" y="0"/>
                </a:moveTo>
                <a:lnTo>
                  <a:pt x="3798482" y="0"/>
                </a:lnTo>
                <a:lnTo>
                  <a:pt x="3789282" y="13677"/>
                </a:lnTo>
                <a:cubicBezTo>
                  <a:pt x="3778977" y="24013"/>
                  <a:pt x="3764722" y="30430"/>
                  <a:pt x="3748924" y="30430"/>
                </a:cubicBezTo>
                <a:cubicBezTo>
                  <a:pt x="3733250" y="30430"/>
                  <a:pt x="3718995" y="24013"/>
                  <a:pt x="3708659" y="13677"/>
                </a:cubicBezTo>
                <a:close/>
                <a:moveTo>
                  <a:pt x="3583942" y="0"/>
                </a:moveTo>
                <a:lnTo>
                  <a:pt x="3672925" y="0"/>
                </a:lnTo>
                <a:lnTo>
                  <a:pt x="3679387" y="9511"/>
                </a:lnTo>
                <a:cubicBezTo>
                  <a:pt x="3682199" y="16094"/>
                  <a:pt x="3683757" y="23330"/>
                  <a:pt x="3683757" y="30920"/>
                </a:cubicBezTo>
                <a:cubicBezTo>
                  <a:pt x="3683757" y="61527"/>
                  <a:pt x="3659074" y="86210"/>
                  <a:pt x="3628466" y="86210"/>
                </a:cubicBezTo>
                <a:cubicBezTo>
                  <a:pt x="3598105" y="86210"/>
                  <a:pt x="3573175" y="61527"/>
                  <a:pt x="3573175" y="30920"/>
                </a:cubicBezTo>
                <a:cubicBezTo>
                  <a:pt x="3573175" y="23330"/>
                  <a:pt x="3574718" y="16094"/>
                  <a:pt x="3577510" y="9511"/>
                </a:cubicBezTo>
                <a:close/>
                <a:moveTo>
                  <a:pt x="3475766" y="0"/>
                </a:moveTo>
                <a:lnTo>
                  <a:pt x="3572104" y="0"/>
                </a:lnTo>
                <a:lnTo>
                  <a:pt x="3568384" y="18234"/>
                </a:lnTo>
                <a:cubicBezTo>
                  <a:pt x="3561037" y="35486"/>
                  <a:pt x="3543866" y="47704"/>
                  <a:pt x="3524058" y="47704"/>
                </a:cubicBezTo>
                <a:cubicBezTo>
                  <a:pt x="3504064" y="47704"/>
                  <a:pt x="3486847" y="35486"/>
                  <a:pt x="3479489" y="18234"/>
                </a:cubicBezTo>
                <a:close/>
                <a:moveTo>
                  <a:pt x="3266343" y="0"/>
                </a:moveTo>
                <a:lnTo>
                  <a:pt x="3339442" y="0"/>
                </a:lnTo>
                <a:lnTo>
                  <a:pt x="3339671" y="552"/>
                </a:lnTo>
                <a:cubicBezTo>
                  <a:pt x="3339671" y="20793"/>
                  <a:pt x="3323132" y="37331"/>
                  <a:pt x="3302891" y="37331"/>
                </a:cubicBezTo>
                <a:cubicBezTo>
                  <a:pt x="3282652" y="37331"/>
                  <a:pt x="3266113" y="20793"/>
                  <a:pt x="3266113" y="552"/>
                </a:cubicBezTo>
                <a:close/>
                <a:moveTo>
                  <a:pt x="3042626" y="0"/>
                </a:moveTo>
                <a:lnTo>
                  <a:pt x="3119349" y="0"/>
                </a:lnTo>
                <a:lnTo>
                  <a:pt x="3119987" y="1537"/>
                </a:lnTo>
                <a:cubicBezTo>
                  <a:pt x="3119987" y="23255"/>
                  <a:pt x="3102461" y="40535"/>
                  <a:pt x="3080986" y="40535"/>
                </a:cubicBezTo>
                <a:cubicBezTo>
                  <a:pt x="3059513" y="40535"/>
                  <a:pt x="3041987" y="23009"/>
                  <a:pt x="3041987" y="1537"/>
                </a:cubicBezTo>
                <a:close/>
                <a:moveTo>
                  <a:pt x="2818599" y="0"/>
                </a:moveTo>
                <a:lnTo>
                  <a:pt x="2898827" y="0"/>
                </a:lnTo>
                <a:lnTo>
                  <a:pt x="2899567" y="1779"/>
                </a:lnTo>
                <a:cubicBezTo>
                  <a:pt x="2899567" y="24488"/>
                  <a:pt x="2881300" y="42506"/>
                  <a:pt x="2858591" y="42506"/>
                </a:cubicBezTo>
                <a:cubicBezTo>
                  <a:pt x="2836129" y="42506"/>
                  <a:pt x="2817864" y="24239"/>
                  <a:pt x="2817864" y="1779"/>
                </a:cubicBezTo>
                <a:close/>
                <a:moveTo>
                  <a:pt x="2745381" y="0"/>
                </a:moveTo>
                <a:lnTo>
                  <a:pt x="2763471" y="0"/>
                </a:lnTo>
                <a:lnTo>
                  <a:pt x="2754426" y="3752"/>
                </a:lnTo>
                <a:close/>
                <a:moveTo>
                  <a:pt x="2593499" y="0"/>
                </a:moveTo>
                <a:lnTo>
                  <a:pt x="2665561" y="0"/>
                </a:lnTo>
                <a:lnTo>
                  <a:pt x="2671601" y="8950"/>
                </a:lnTo>
                <a:cubicBezTo>
                  <a:pt x="2673915" y="14411"/>
                  <a:pt x="2675195" y="20412"/>
                  <a:pt x="2675195" y="26706"/>
                </a:cubicBezTo>
                <a:cubicBezTo>
                  <a:pt x="2674946" y="51884"/>
                  <a:pt x="2654458" y="72370"/>
                  <a:pt x="2629529" y="72370"/>
                </a:cubicBezTo>
                <a:cubicBezTo>
                  <a:pt x="2604353" y="72370"/>
                  <a:pt x="2583865" y="51884"/>
                  <a:pt x="2583865" y="26706"/>
                </a:cubicBezTo>
                <a:cubicBezTo>
                  <a:pt x="2583865" y="20412"/>
                  <a:pt x="2585146" y="14411"/>
                  <a:pt x="2587460" y="8950"/>
                </a:cubicBezTo>
                <a:close/>
                <a:moveTo>
                  <a:pt x="2506848" y="0"/>
                </a:moveTo>
                <a:lnTo>
                  <a:pt x="2555808" y="0"/>
                </a:lnTo>
                <a:lnTo>
                  <a:pt x="2531288" y="10165"/>
                </a:lnTo>
                <a:close/>
                <a:moveTo>
                  <a:pt x="2365758" y="0"/>
                </a:moveTo>
                <a:lnTo>
                  <a:pt x="2443571" y="0"/>
                </a:lnTo>
                <a:lnTo>
                  <a:pt x="2449234" y="8388"/>
                </a:lnTo>
                <a:cubicBezTo>
                  <a:pt x="2451687" y="14174"/>
                  <a:pt x="2453044" y="20529"/>
                  <a:pt x="2453044" y="27194"/>
                </a:cubicBezTo>
                <a:cubicBezTo>
                  <a:pt x="2453044" y="53852"/>
                  <a:pt x="2431323" y="75573"/>
                  <a:pt x="2404665" y="75573"/>
                </a:cubicBezTo>
                <a:cubicBezTo>
                  <a:pt x="2378007" y="75573"/>
                  <a:pt x="2356285" y="53852"/>
                  <a:pt x="2356285" y="27194"/>
                </a:cubicBezTo>
                <a:cubicBezTo>
                  <a:pt x="2356285" y="20529"/>
                  <a:pt x="2357643" y="14174"/>
                  <a:pt x="2360096" y="8388"/>
                </a:cubicBezTo>
                <a:close/>
                <a:moveTo>
                  <a:pt x="2270415" y="0"/>
                </a:moveTo>
                <a:lnTo>
                  <a:pt x="2344913" y="0"/>
                </a:lnTo>
                <a:lnTo>
                  <a:pt x="2342061" y="4237"/>
                </a:lnTo>
                <a:cubicBezTo>
                  <a:pt x="2333267" y="13061"/>
                  <a:pt x="2321110" y="18553"/>
                  <a:pt x="2307657" y="18553"/>
                </a:cubicBezTo>
                <a:cubicBezTo>
                  <a:pt x="2294328" y="18553"/>
                  <a:pt x="2282172" y="13123"/>
                  <a:pt x="2273348" y="4329"/>
                </a:cubicBezTo>
                <a:close/>
                <a:moveTo>
                  <a:pt x="2136168" y="0"/>
                </a:moveTo>
                <a:lnTo>
                  <a:pt x="2221947" y="0"/>
                </a:lnTo>
                <a:lnTo>
                  <a:pt x="2225917" y="5895"/>
                </a:lnTo>
                <a:cubicBezTo>
                  <a:pt x="2228486" y="11981"/>
                  <a:pt x="2229905" y="18677"/>
                  <a:pt x="2229905" y="25711"/>
                </a:cubicBezTo>
                <a:cubicBezTo>
                  <a:pt x="2229905" y="53605"/>
                  <a:pt x="2207196" y="76560"/>
                  <a:pt x="2179056" y="76560"/>
                </a:cubicBezTo>
                <a:cubicBezTo>
                  <a:pt x="2151164" y="76560"/>
                  <a:pt x="2128209" y="53851"/>
                  <a:pt x="2128209" y="25711"/>
                </a:cubicBezTo>
                <a:cubicBezTo>
                  <a:pt x="2128209" y="18677"/>
                  <a:pt x="2129629" y="11981"/>
                  <a:pt x="2132197" y="5895"/>
                </a:cubicBezTo>
                <a:close/>
                <a:moveTo>
                  <a:pt x="2041801" y="0"/>
                </a:moveTo>
                <a:lnTo>
                  <a:pt x="2123168" y="0"/>
                </a:lnTo>
                <a:lnTo>
                  <a:pt x="2119293" y="5746"/>
                </a:lnTo>
                <a:cubicBezTo>
                  <a:pt x="2109883" y="15157"/>
                  <a:pt x="2096862" y="21019"/>
                  <a:pt x="2082546" y="21019"/>
                </a:cubicBezTo>
                <a:cubicBezTo>
                  <a:pt x="2068230" y="21019"/>
                  <a:pt x="2055209" y="15218"/>
                  <a:pt x="2045767" y="5838"/>
                </a:cubicBezTo>
                <a:close/>
                <a:moveTo>
                  <a:pt x="1918044" y="0"/>
                </a:moveTo>
                <a:lnTo>
                  <a:pt x="1984879" y="0"/>
                </a:lnTo>
                <a:lnTo>
                  <a:pt x="1995165" y="24722"/>
                </a:lnTo>
                <a:cubicBezTo>
                  <a:pt x="1995165" y="48912"/>
                  <a:pt x="1975669" y="68410"/>
                  <a:pt x="1951486" y="68410"/>
                </a:cubicBezTo>
                <a:cubicBezTo>
                  <a:pt x="1927543" y="68410"/>
                  <a:pt x="1907799" y="48912"/>
                  <a:pt x="1907799" y="24722"/>
                </a:cubicBezTo>
                <a:close/>
                <a:moveTo>
                  <a:pt x="1798310" y="0"/>
                </a:moveTo>
                <a:lnTo>
                  <a:pt x="1898309" y="0"/>
                </a:lnTo>
                <a:lnTo>
                  <a:pt x="1896072" y="11083"/>
                </a:lnTo>
                <a:cubicBezTo>
                  <a:pt x="1888204" y="29687"/>
                  <a:pt x="1869782" y="42738"/>
                  <a:pt x="1848309" y="42738"/>
                </a:cubicBezTo>
                <a:cubicBezTo>
                  <a:pt x="1826834" y="42738"/>
                  <a:pt x="1808415" y="29687"/>
                  <a:pt x="1800547" y="11083"/>
                </a:cubicBezTo>
                <a:close/>
                <a:moveTo>
                  <a:pt x="1705012" y="0"/>
                </a:moveTo>
                <a:lnTo>
                  <a:pt x="1721543" y="0"/>
                </a:lnTo>
                <a:lnTo>
                  <a:pt x="1747600" y="10802"/>
                </a:lnTo>
                <a:cubicBezTo>
                  <a:pt x="1756425" y="19595"/>
                  <a:pt x="1761917" y="31752"/>
                  <a:pt x="1761917" y="45204"/>
                </a:cubicBezTo>
                <a:cubicBezTo>
                  <a:pt x="1761917" y="72111"/>
                  <a:pt x="1740193" y="93833"/>
                  <a:pt x="1713288" y="93833"/>
                </a:cubicBezTo>
                <a:cubicBezTo>
                  <a:pt x="1686384" y="93833"/>
                  <a:pt x="1664662" y="72111"/>
                  <a:pt x="1664662" y="45204"/>
                </a:cubicBezTo>
                <a:cubicBezTo>
                  <a:pt x="1664662" y="31752"/>
                  <a:pt x="1670093" y="19595"/>
                  <a:pt x="1678886" y="10802"/>
                </a:cubicBezTo>
                <a:close/>
                <a:moveTo>
                  <a:pt x="1359697" y="0"/>
                </a:moveTo>
                <a:lnTo>
                  <a:pt x="1409259" y="0"/>
                </a:lnTo>
                <a:lnTo>
                  <a:pt x="1405206" y="9721"/>
                </a:lnTo>
                <a:cubicBezTo>
                  <a:pt x="1399868" y="15028"/>
                  <a:pt x="1392525" y="18299"/>
                  <a:pt x="1384503" y="18299"/>
                </a:cubicBezTo>
                <a:cubicBezTo>
                  <a:pt x="1376357" y="18299"/>
                  <a:pt x="1369013" y="15028"/>
                  <a:pt x="1363706" y="9721"/>
                </a:cubicBezTo>
                <a:close/>
                <a:moveTo>
                  <a:pt x="1113019" y="0"/>
                </a:moveTo>
                <a:lnTo>
                  <a:pt x="1179210" y="0"/>
                </a:lnTo>
                <a:lnTo>
                  <a:pt x="1173426" y="13636"/>
                </a:lnTo>
                <a:cubicBezTo>
                  <a:pt x="1166360" y="20640"/>
                  <a:pt x="1156672" y="24960"/>
                  <a:pt x="1146057" y="24960"/>
                </a:cubicBezTo>
                <a:cubicBezTo>
                  <a:pt x="1135321" y="24960"/>
                  <a:pt x="1125633" y="20578"/>
                  <a:pt x="1118629" y="13544"/>
                </a:cubicBezTo>
                <a:close/>
                <a:moveTo>
                  <a:pt x="871753" y="0"/>
                </a:moveTo>
                <a:lnTo>
                  <a:pt x="908886" y="0"/>
                </a:lnTo>
                <a:lnTo>
                  <a:pt x="904405" y="10643"/>
                </a:lnTo>
                <a:cubicBezTo>
                  <a:pt x="900764" y="14284"/>
                  <a:pt x="895766" y="16568"/>
                  <a:pt x="890335" y="16568"/>
                </a:cubicBezTo>
                <a:cubicBezTo>
                  <a:pt x="884782" y="16568"/>
                  <a:pt x="879783" y="14347"/>
                  <a:pt x="876174" y="10736"/>
                </a:cubicBezTo>
                <a:close/>
                <a:moveTo>
                  <a:pt x="600663" y="0"/>
                </a:moveTo>
                <a:lnTo>
                  <a:pt x="664150" y="0"/>
                </a:lnTo>
                <a:lnTo>
                  <a:pt x="659947" y="10150"/>
                </a:lnTo>
                <a:cubicBezTo>
                  <a:pt x="652882" y="17185"/>
                  <a:pt x="643132" y="21504"/>
                  <a:pt x="632396" y="21504"/>
                </a:cubicBezTo>
                <a:cubicBezTo>
                  <a:pt x="621658" y="21504"/>
                  <a:pt x="611908" y="17122"/>
                  <a:pt x="604842" y="10057"/>
                </a:cubicBezTo>
                <a:close/>
                <a:moveTo>
                  <a:pt x="421101" y="0"/>
                </a:moveTo>
                <a:lnTo>
                  <a:pt x="489230" y="0"/>
                </a:lnTo>
                <a:lnTo>
                  <a:pt x="494165" y="11879"/>
                </a:lnTo>
                <a:cubicBezTo>
                  <a:pt x="494411" y="33352"/>
                  <a:pt x="476888" y="50878"/>
                  <a:pt x="455167" y="50878"/>
                </a:cubicBezTo>
                <a:cubicBezTo>
                  <a:pt x="433691" y="50878"/>
                  <a:pt x="416166" y="33352"/>
                  <a:pt x="416166" y="11879"/>
                </a:cubicBezTo>
                <a:close/>
                <a:moveTo>
                  <a:pt x="352549" y="0"/>
                </a:moveTo>
                <a:lnTo>
                  <a:pt x="359819" y="0"/>
                </a:lnTo>
                <a:lnTo>
                  <a:pt x="356184" y="1506"/>
                </a:lnTo>
                <a:close/>
                <a:moveTo>
                  <a:pt x="217955" y="0"/>
                </a:moveTo>
                <a:lnTo>
                  <a:pt x="305814" y="0"/>
                </a:lnTo>
                <a:lnTo>
                  <a:pt x="308304" y="3701"/>
                </a:lnTo>
                <a:cubicBezTo>
                  <a:pt x="310845" y="9718"/>
                  <a:pt x="312249" y="16321"/>
                  <a:pt x="312249" y="23232"/>
                </a:cubicBezTo>
                <a:cubicBezTo>
                  <a:pt x="312249" y="50877"/>
                  <a:pt x="289787" y="73586"/>
                  <a:pt x="261895" y="73586"/>
                </a:cubicBezTo>
                <a:cubicBezTo>
                  <a:pt x="234003" y="73586"/>
                  <a:pt x="211540" y="50877"/>
                  <a:pt x="211540" y="23232"/>
                </a:cubicBezTo>
                <a:cubicBezTo>
                  <a:pt x="211540" y="16259"/>
                  <a:pt x="212959" y="9625"/>
                  <a:pt x="215520" y="3597"/>
                </a:cubicBezTo>
                <a:close/>
                <a:moveTo>
                  <a:pt x="32665" y="0"/>
                </a:moveTo>
                <a:lnTo>
                  <a:pt x="67129" y="0"/>
                </a:lnTo>
                <a:lnTo>
                  <a:pt x="68918" y="4266"/>
                </a:lnTo>
                <a:cubicBezTo>
                  <a:pt x="68669" y="14634"/>
                  <a:pt x="60278" y="23271"/>
                  <a:pt x="49910" y="23271"/>
                </a:cubicBezTo>
                <a:cubicBezTo>
                  <a:pt x="39545" y="23271"/>
                  <a:pt x="30905" y="14880"/>
                  <a:pt x="30905" y="4266"/>
                </a:cubicBezTo>
                <a:close/>
              </a:path>
            </a:pathLst>
          </a:custGeom>
          <a:solidFill>
            <a:schemeClr val="tx1">
              <a:alpha val="8000"/>
            </a:schemeClr>
          </a:solidFill>
          <a:ln w="9525" cap="flat">
            <a:noFill/>
            <a:prstDash val="solid"/>
            <a:miter/>
          </a:ln>
        </p:spPr>
        <p:txBody>
          <a:bodyPr wrap="square" rtlCol="0" anchor="ctr">
            <a:noAutofit/>
          </a:bodyPr>
          <a:lstStyle/>
          <a:p>
            <a:endParaRPr lang="en-US" sz="1765"/>
          </a:p>
        </p:txBody>
      </p:sp>
    </p:spTree>
    <p:extLst>
      <p:ext uri="{BB962C8B-B14F-4D97-AF65-F5344CB8AC3E}">
        <p14:creationId xmlns:p14="http://schemas.microsoft.com/office/powerpoint/2010/main" val="38995428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userDrawn="1">
  <p:cSld name="Section Divider, White background">
    <p:bg>
      <p:bgPr>
        <a:solidFill>
          <a:schemeClr val="bg1"/>
        </a:solidFill>
        <a:effectLst/>
      </p:bgPr>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3EB18D79-CFD0-97D7-C024-7165DB9FAD82}"/>
              </a:ext>
              <a:ext uri="{C183D7F6-B498-43B3-948B-1728B52AA6E4}">
                <adec:decorative xmlns:adec="http://schemas.microsoft.com/office/drawing/2017/decorative" val="1"/>
              </a:ext>
            </a:extLst>
          </p:cNvPr>
          <p:cNvGrpSpPr/>
          <p:nvPr userDrawn="1"/>
        </p:nvGrpSpPr>
        <p:grpSpPr>
          <a:xfrm>
            <a:off x="0" y="0"/>
            <a:ext cx="12192001" cy="6858000"/>
            <a:chOff x="0" y="0"/>
            <a:chExt cx="12192001" cy="6858000"/>
          </a:xfrm>
        </p:grpSpPr>
        <p:sp>
          <p:nvSpPr>
            <p:cNvPr id="5" name="Rectangle 4">
              <a:extLst>
                <a:ext uri="{FF2B5EF4-FFF2-40B4-BE49-F238E27FC236}">
                  <a16:creationId xmlns:a16="http://schemas.microsoft.com/office/drawing/2014/main" id="{DB5ED656-6CB2-7B61-AA3B-FA44489A993E}"/>
                </a:ext>
              </a:extLst>
            </p:cNvPr>
            <p:cNvSpPr/>
            <p:nvPr userDrawn="1"/>
          </p:nvSpPr>
          <p:spPr bwMode="auto">
            <a:xfrm>
              <a:off x="0" y="0"/>
              <a:ext cx="12192000" cy="6858000"/>
            </a:xfrm>
            <a:prstGeom prst="rect">
              <a:avLst/>
            </a:prstGeom>
            <a:gradFill>
              <a:gsLst>
                <a:gs pos="0">
                  <a:schemeClr val="bg1">
                    <a:lumMod val="85000"/>
                    <a:alpha val="38000"/>
                  </a:schemeClr>
                </a:gs>
                <a:gs pos="84000">
                  <a:schemeClr val="bg1"/>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 name="Freeform: Shape 44">
              <a:extLst>
                <a:ext uri="{FF2B5EF4-FFF2-40B4-BE49-F238E27FC236}">
                  <a16:creationId xmlns:a16="http://schemas.microsoft.com/office/drawing/2014/main" id="{F1E13F12-E3D0-1B9E-41E3-7AF99E0EACDE}"/>
                </a:ext>
              </a:extLst>
            </p:cNvPr>
            <p:cNvSpPr/>
            <p:nvPr userDrawn="1"/>
          </p:nvSpPr>
          <p:spPr>
            <a:xfrm>
              <a:off x="8075466" y="1"/>
              <a:ext cx="4116535" cy="3819543"/>
            </a:xfrm>
            <a:custGeom>
              <a:avLst/>
              <a:gdLst>
                <a:gd name="connsiteX0" fmla="*/ 0 w 4116535"/>
                <a:gd name="connsiteY0" fmla="*/ 0 h 3819543"/>
                <a:gd name="connsiteX1" fmla="*/ 4116535 w 4116535"/>
                <a:gd name="connsiteY1" fmla="*/ 0 h 3819543"/>
                <a:gd name="connsiteX2" fmla="*/ 4116535 w 4116535"/>
                <a:gd name="connsiteY2" fmla="*/ 3808399 h 3819543"/>
                <a:gd name="connsiteX3" fmla="*/ 4035669 w 4116535"/>
                <a:gd name="connsiteY3" fmla="*/ 3814548 h 3819543"/>
                <a:gd name="connsiteX4" fmla="*/ 3838133 w 4116535"/>
                <a:gd name="connsiteY4" fmla="*/ 3819543 h 3819543"/>
                <a:gd name="connsiteX5" fmla="*/ 4514 w 4116535"/>
                <a:gd name="connsiteY5" fmla="*/ 178495 h 3819543"/>
                <a:gd name="connsiteX0" fmla="*/ 4116535 w 4207975"/>
                <a:gd name="connsiteY0" fmla="*/ 0 h 3819543"/>
                <a:gd name="connsiteX1" fmla="*/ 4116535 w 4207975"/>
                <a:gd name="connsiteY1" fmla="*/ 3808399 h 3819543"/>
                <a:gd name="connsiteX2" fmla="*/ 4035669 w 4207975"/>
                <a:gd name="connsiteY2" fmla="*/ 3814548 h 3819543"/>
                <a:gd name="connsiteX3" fmla="*/ 3838133 w 4207975"/>
                <a:gd name="connsiteY3" fmla="*/ 3819543 h 3819543"/>
                <a:gd name="connsiteX4" fmla="*/ 4514 w 4207975"/>
                <a:gd name="connsiteY4" fmla="*/ 178495 h 3819543"/>
                <a:gd name="connsiteX5" fmla="*/ 0 w 4207975"/>
                <a:gd name="connsiteY5" fmla="*/ 0 h 3819543"/>
                <a:gd name="connsiteX6" fmla="*/ 4207975 w 4207975"/>
                <a:gd name="connsiteY6" fmla="*/ 91440 h 3819543"/>
                <a:gd name="connsiteX0" fmla="*/ 4116535 w 4116535"/>
                <a:gd name="connsiteY0" fmla="*/ 0 h 3819543"/>
                <a:gd name="connsiteX1" fmla="*/ 4116535 w 4116535"/>
                <a:gd name="connsiteY1" fmla="*/ 3808399 h 3819543"/>
                <a:gd name="connsiteX2" fmla="*/ 4035669 w 4116535"/>
                <a:gd name="connsiteY2" fmla="*/ 3814548 h 3819543"/>
                <a:gd name="connsiteX3" fmla="*/ 3838133 w 4116535"/>
                <a:gd name="connsiteY3" fmla="*/ 3819543 h 3819543"/>
                <a:gd name="connsiteX4" fmla="*/ 4514 w 4116535"/>
                <a:gd name="connsiteY4" fmla="*/ 178495 h 3819543"/>
                <a:gd name="connsiteX5" fmla="*/ 0 w 4116535"/>
                <a:gd name="connsiteY5" fmla="*/ 0 h 3819543"/>
                <a:gd name="connsiteX0" fmla="*/ 4116535 w 4116535"/>
                <a:gd name="connsiteY0" fmla="*/ 3808399 h 3819543"/>
                <a:gd name="connsiteX1" fmla="*/ 4035669 w 4116535"/>
                <a:gd name="connsiteY1" fmla="*/ 3814548 h 3819543"/>
                <a:gd name="connsiteX2" fmla="*/ 3838133 w 4116535"/>
                <a:gd name="connsiteY2" fmla="*/ 3819543 h 3819543"/>
                <a:gd name="connsiteX3" fmla="*/ 4514 w 4116535"/>
                <a:gd name="connsiteY3" fmla="*/ 178495 h 3819543"/>
                <a:gd name="connsiteX4" fmla="*/ 0 w 4116535"/>
                <a:gd name="connsiteY4" fmla="*/ 0 h 3819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16535" h="3819543">
                  <a:moveTo>
                    <a:pt x="4116535" y="3808399"/>
                  </a:moveTo>
                  <a:lnTo>
                    <a:pt x="4035669" y="3814548"/>
                  </a:lnTo>
                  <a:cubicBezTo>
                    <a:pt x="3970243" y="3817865"/>
                    <a:pt x="3904384" y="3819543"/>
                    <a:pt x="3838133" y="3819543"/>
                  </a:cubicBezTo>
                  <a:cubicBezTo>
                    <a:pt x="1784358" y="3819543"/>
                    <a:pt x="107323" y="2206688"/>
                    <a:pt x="4514" y="178495"/>
                  </a:cubicBezTo>
                  <a:lnTo>
                    <a:pt x="0" y="0"/>
                  </a:lnTo>
                </a:path>
              </a:pathLst>
            </a:custGeom>
            <a:noFill/>
            <a:ln w="31750" cap="flat">
              <a:solidFill>
                <a:schemeClr val="bg1">
                  <a:lumMod val="8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 name="Freeform: Shape 45">
              <a:extLst>
                <a:ext uri="{FF2B5EF4-FFF2-40B4-BE49-F238E27FC236}">
                  <a16:creationId xmlns:a16="http://schemas.microsoft.com/office/drawing/2014/main" id="{3BBDE5AC-278D-8218-47FB-7A95FC352C1D}"/>
                </a:ext>
              </a:extLst>
            </p:cNvPr>
            <p:cNvSpPr/>
            <p:nvPr userDrawn="1"/>
          </p:nvSpPr>
          <p:spPr>
            <a:xfrm>
              <a:off x="9125474" y="0"/>
              <a:ext cx="3066527" cy="3284446"/>
            </a:xfrm>
            <a:custGeom>
              <a:avLst/>
              <a:gdLst>
                <a:gd name="connsiteX0" fmla="*/ 0 w 3066527"/>
                <a:gd name="connsiteY0" fmla="*/ 0 h 3284446"/>
                <a:gd name="connsiteX1" fmla="*/ 3066527 w 3066527"/>
                <a:gd name="connsiteY1" fmla="*/ 0 h 3284446"/>
                <a:gd name="connsiteX2" fmla="*/ 3066527 w 3066527"/>
                <a:gd name="connsiteY2" fmla="*/ 3284446 h 3284446"/>
                <a:gd name="connsiteX3" fmla="*/ 2974332 w 3066527"/>
                <a:gd name="connsiteY3" fmla="*/ 3277435 h 3284446"/>
                <a:gd name="connsiteX4" fmla="*/ 3830 w 3066527"/>
                <a:gd name="connsiteY4" fmla="*/ 151479 h 3284446"/>
                <a:gd name="connsiteX0" fmla="*/ 3066527 w 3157967"/>
                <a:gd name="connsiteY0" fmla="*/ 0 h 3284446"/>
                <a:gd name="connsiteX1" fmla="*/ 3066527 w 3157967"/>
                <a:gd name="connsiteY1" fmla="*/ 3284446 h 3284446"/>
                <a:gd name="connsiteX2" fmla="*/ 2974332 w 3157967"/>
                <a:gd name="connsiteY2" fmla="*/ 3277435 h 3284446"/>
                <a:gd name="connsiteX3" fmla="*/ 3830 w 3157967"/>
                <a:gd name="connsiteY3" fmla="*/ 151479 h 3284446"/>
                <a:gd name="connsiteX4" fmla="*/ 0 w 3157967"/>
                <a:gd name="connsiteY4" fmla="*/ 0 h 3284446"/>
                <a:gd name="connsiteX5" fmla="*/ 3157967 w 3157967"/>
                <a:gd name="connsiteY5" fmla="*/ 91440 h 3284446"/>
                <a:gd name="connsiteX0" fmla="*/ 3066527 w 3066527"/>
                <a:gd name="connsiteY0" fmla="*/ 0 h 3284446"/>
                <a:gd name="connsiteX1" fmla="*/ 3066527 w 3066527"/>
                <a:gd name="connsiteY1" fmla="*/ 3284446 h 3284446"/>
                <a:gd name="connsiteX2" fmla="*/ 2974332 w 3066527"/>
                <a:gd name="connsiteY2" fmla="*/ 3277435 h 3284446"/>
                <a:gd name="connsiteX3" fmla="*/ 3830 w 3066527"/>
                <a:gd name="connsiteY3" fmla="*/ 151479 h 3284446"/>
                <a:gd name="connsiteX4" fmla="*/ 0 w 3066527"/>
                <a:gd name="connsiteY4" fmla="*/ 0 h 3284446"/>
                <a:gd name="connsiteX0" fmla="*/ 3066527 w 3066527"/>
                <a:gd name="connsiteY0" fmla="*/ 3284446 h 3284446"/>
                <a:gd name="connsiteX1" fmla="*/ 2974332 w 3066527"/>
                <a:gd name="connsiteY1" fmla="*/ 3277435 h 3284446"/>
                <a:gd name="connsiteX2" fmla="*/ 3830 w 3066527"/>
                <a:gd name="connsiteY2" fmla="*/ 151479 h 3284446"/>
                <a:gd name="connsiteX3" fmla="*/ 0 w 3066527"/>
                <a:gd name="connsiteY3" fmla="*/ 0 h 3284446"/>
              </a:gdLst>
              <a:ahLst/>
              <a:cxnLst>
                <a:cxn ang="0">
                  <a:pos x="connsiteX0" y="connsiteY0"/>
                </a:cxn>
                <a:cxn ang="0">
                  <a:pos x="connsiteX1" y="connsiteY1"/>
                </a:cxn>
                <a:cxn ang="0">
                  <a:pos x="connsiteX2" y="connsiteY2"/>
                </a:cxn>
                <a:cxn ang="0">
                  <a:pos x="connsiteX3" y="connsiteY3"/>
                </a:cxn>
              </a:cxnLst>
              <a:rect l="l" t="t" r="r" b="b"/>
              <a:pathLst>
                <a:path w="3066527" h="3284446">
                  <a:moveTo>
                    <a:pt x="3066527" y="3284446"/>
                  </a:moveTo>
                  <a:lnTo>
                    <a:pt x="2974332" y="3277435"/>
                  </a:lnTo>
                  <a:cubicBezTo>
                    <a:pt x="1359120" y="3113403"/>
                    <a:pt x="86853" y="1789321"/>
                    <a:pt x="3830" y="151479"/>
                  </a:cubicBezTo>
                  <a:cubicBezTo>
                    <a:pt x="2553" y="100986"/>
                    <a:pt x="1277" y="50493"/>
                    <a:pt x="0" y="0"/>
                  </a:cubicBezTo>
                </a:path>
              </a:pathLst>
            </a:custGeom>
            <a:noFill/>
            <a:ln w="31750" cap="flat">
              <a:solidFill>
                <a:schemeClr val="bg1">
                  <a:lumMod val="8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 name="Freeform: Shape 46">
              <a:extLst>
                <a:ext uri="{FF2B5EF4-FFF2-40B4-BE49-F238E27FC236}">
                  <a16:creationId xmlns:a16="http://schemas.microsoft.com/office/drawing/2014/main" id="{F0FF0A27-4550-EF74-CE34-7ACDA7E9D4BD}"/>
                </a:ext>
              </a:extLst>
            </p:cNvPr>
            <p:cNvSpPr/>
            <p:nvPr userDrawn="1"/>
          </p:nvSpPr>
          <p:spPr>
            <a:xfrm>
              <a:off x="10191177" y="0"/>
              <a:ext cx="2000823" cy="2649192"/>
            </a:xfrm>
            <a:custGeom>
              <a:avLst/>
              <a:gdLst>
                <a:gd name="connsiteX0" fmla="*/ 0 w 2000823"/>
                <a:gd name="connsiteY0" fmla="*/ 0 h 2649192"/>
                <a:gd name="connsiteX1" fmla="*/ 2000823 w 2000823"/>
                <a:gd name="connsiteY1" fmla="*/ 0 h 2649192"/>
                <a:gd name="connsiteX2" fmla="*/ 2000823 w 2000823"/>
                <a:gd name="connsiteY2" fmla="*/ 2649192 h 2649192"/>
                <a:gd name="connsiteX3" fmla="*/ 1953054 w 2000823"/>
                <a:gd name="connsiteY3" fmla="*/ 2636909 h 2649192"/>
                <a:gd name="connsiteX4" fmla="*/ 13397 w 2000823"/>
                <a:gd name="connsiteY4" fmla="*/ 265300 h 2649192"/>
                <a:gd name="connsiteX0" fmla="*/ 2000823 w 2092263"/>
                <a:gd name="connsiteY0" fmla="*/ 0 h 2649192"/>
                <a:gd name="connsiteX1" fmla="*/ 2000823 w 2092263"/>
                <a:gd name="connsiteY1" fmla="*/ 2649192 h 2649192"/>
                <a:gd name="connsiteX2" fmla="*/ 1953054 w 2092263"/>
                <a:gd name="connsiteY2" fmla="*/ 2636909 h 2649192"/>
                <a:gd name="connsiteX3" fmla="*/ 13397 w 2092263"/>
                <a:gd name="connsiteY3" fmla="*/ 265300 h 2649192"/>
                <a:gd name="connsiteX4" fmla="*/ 0 w 2092263"/>
                <a:gd name="connsiteY4" fmla="*/ 0 h 2649192"/>
                <a:gd name="connsiteX5" fmla="*/ 2092263 w 2092263"/>
                <a:gd name="connsiteY5" fmla="*/ 91440 h 2649192"/>
                <a:gd name="connsiteX0" fmla="*/ 2000823 w 2000823"/>
                <a:gd name="connsiteY0" fmla="*/ 0 h 2649192"/>
                <a:gd name="connsiteX1" fmla="*/ 2000823 w 2000823"/>
                <a:gd name="connsiteY1" fmla="*/ 2649192 h 2649192"/>
                <a:gd name="connsiteX2" fmla="*/ 1953054 w 2000823"/>
                <a:gd name="connsiteY2" fmla="*/ 2636909 h 2649192"/>
                <a:gd name="connsiteX3" fmla="*/ 13397 w 2000823"/>
                <a:gd name="connsiteY3" fmla="*/ 265300 h 2649192"/>
                <a:gd name="connsiteX4" fmla="*/ 0 w 2000823"/>
                <a:gd name="connsiteY4" fmla="*/ 0 h 2649192"/>
                <a:gd name="connsiteX0" fmla="*/ 2000823 w 2000823"/>
                <a:gd name="connsiteY0" fmla="*/ 2649192 h 2649192"/>
                <a:gd name="connsiteX1" fmla="*/ 1953054 w 2000823"/>
                <a:gd name="connsiteY1" fmla="*/ 2636909 h 2649192"/>
                <a:gd name="connsiteX2" fmla="*/ 13397 w 2000823"/>
                <a:gd name="connsiteY2" fmla="*/ 265300 h 2649192"/>
                <a:gd name="connsiteX3" fmla="*/ 0 w 2000823"/>
                <a:gd name="connsiteY3" fmla="*/ 0 h 2649192"/>
              </a:gdLst>
              <a:ahLst/>
              <a:cxnLst>
                <a:cxn ang="0">
                  <a:pos x="connsiteX0" y="connsiteY0"/>
                </a:cxn>
                <a:cxn ang="0">
                  <a:pos x="connsiteX1" y="connsiteY1"/>
                </a:cxn>
                <a:cxn ang="0">
                  <a:pos x="connsiteX2" y="connsiteY2"/>
                </a:cxn>
                <a:cxn ang="0">
                  <a:pos x="connsiteX3" y="connsiteY3"/>
                </a:cxn>
              </a:cxnLst>
              <a:rect l="l" t="t" r="r" b="b"/>
              <a:pathLst>
                <a:path w="2000823" h="2649192">
                  <a:moveTo>
                    <a:pt x="2000823" y="2649192"/>
                  </a:moveTo>
                  <a:lnTo>
                    <a:pt x="1953054" y="2636909"/>
                  </a:lnTo>
                  <a:cubicBezTo>
                    <a:pt x="908078" y="2311891"/>
                    <a:pt x="127329" y="1387159"/>
                    <a:pt x="13397" y="265300"/>
                  </a:cubicBezTo>
                  <a:lnTo>
                    <a:pt x="0" y="0"/>
                  </a:lnTo>
                </a:path>
              </a:pathLst>
            </a:custGeom>
            <a:noFill/>
            <a:ln w="31750" cap="flat">
              <a:solidFill>
                <a:schemeClr val="bg1">
                  <a:lumMod val="8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 name="Freeform: Shape 47">
              <a:extLst>
                <a:ext uri="{FF2B5EF4-FFF2-40B4-BE49-F238E27FC236}">
                  <a16:creationId xmlns:a16="http://schemas.microsoft.com/office/drawing/2014/main" id="{48F4218B-64F6-6248-5A19-FADDF0886FDB}"/>
                </a:ext>
              </a:extLst>
            </p:cNvPr>
            <p:cNvSpPr/>
            <p:nvPr userDrawn="1"/>
          </p:nvSpPr>
          <p:spPr>
            <a:xfrm>
              <a:off x="11332490" y="0"/>
              <a:ext cx="859510" cy="1728518"/>
            </a:xfrm>
            <a:custGeom>
              <a:avLst/>
              <a:gdLst>
                <a:gd name="connsiteX0" fmla="*/ 0 w 859510"/>
                <a:gd name="connsiteY0" fmla="*/ 0 h 1728518"/>
                <a:gd name="connsiteX1" fmla="*/ 859510 w 859510"/>
                <a:gd name="connsiteY1" fmla="*/ 0 h 1728518"/>
                <a:gd name="connsiteX2" fmla="*/ 859510 w 859510"/>
                <a:gd name="connsiteY2" fmla="*/ 1728518 h 1728518"/>
                <a:gd name="connsiteX3" fmla="*/ 803394 w 859510"/>
                <a:gd name="connsiteY3" fmla="*/ 1686556 h 1728518"/>
                <a:gd name="connsiteX4" fmla="*/ 10451 w 859510"/>
                <a:gd name="connsiteY4" fmla="*/ 206955 h 1728518"/>
                <a:gd name="connsiteX0" fmla="*/ 859510 w 950950"/>
                <a:gd name="connsiteY0" fmla="*/ 0 h 1728518"/>
                <a:gd name="connsiteX1" fmla="*/ 859510 w 950950"/>
                <a:gd name="connsiteY1" fmla="*/ 1728518 h 1728518"/>
                <a:gd name="connsiteX2" fmla="*/ 803394 w 950950"/>
                <a:gd name="connsiteY2" fmla="*/ 1686556 h 1728518"/>
                <a:gd name="connsiteX3" fmla="*/ 10451 w 950950"/>
                <a:gd name="connsiteY3" fmla="*/ 206955 h 1728518"/>
                <a:gd name="connsiteX4" fmla="*/ 0 w 950950"/>
                <a:gd name="connsiteY4" fmla="*/ 0 h 1728518"/>
                <a:gd name="connsiteX5" fmla="*/ 950950 w 950950"/>
                <a:gd name="connsiteY5" fmla="*/ 91440 h 1728518"/>
                <a:gd name="connsiteX0" fmla="*/ 859510 w 859510"/>
                <a:gd name="connsiteY0" fmla="*/ 0 h 1728518"/>
                <a:gd name="connsiteX1" fmla="*/ 859510 w 859510"/>
                <a:gd name="connsiteY1" fmla="*/ 1728518 h 1728518"/>
                <a:gd name="connsiteX2" fmla="*/ 803394 w 859510"/>
                <a:gd name="connsiteY2" fmla="*/ 1686556 h 1728518"/>
                <a:gd name="connsiteX3" fmla="*/ 10451 w 859510"/>
                <a:gd name="connsiteY3" fmla="*/ 206955 h 1728518"/>
                <a:gd name="connsiteX4" fmla="*/ 0 w 859510"/>
                <a:gd name="connsiteY4" fmla="*/ 0 h 1728518"/>
                <a:gd name="connsiteX0" fmla="*/ 859510 w 859510"/>
                <a:gd name="connsiteY0" fmla="*/ 1728518 h 1728518"/>
                <a:gd name="connsiteX1" fmla="*/ 803394 w 859510"/>
                <a:gd name="connsiteY1" fmla="*/ 1686556 h 1728518"/>
                <a:gd name="connsiteX2" fmla="*/ 10451 w 859510"/>
                <a:gd name="connsiteY2" fmla="*/ 206955 h 1728518"/>
                <a:gd name="connsiteX3" fmla="*/ 0 w 859510"/>
                <a:gd name="connsiteY3" fmla="*/ 0 h 1728518"/>
              </a:gdLst>
              <a:ahLst/>
              <a:cxnLst>
                <a:cxn ang="0">
                  <a:pos x="connsiteX0" y="connsiteY0"/>
                </a:cxn>
                <a:cxn ang="0">
                  <a:pos x="connsiteX1" y="connsiteY1"/>
                </a:cxn>
                <a:cxn ang="0">
                  <a:pos x="connsiteX2" y="connsiteY2"/>
                </a:cxn>
                <a:cxn ang="0">
                  <a:pos x="connsiteX3" y="connsiteY3"/>
                </a:cxn>
              </a:cxnLst>
              <a:rect l="l" t="t" r="r" b="b"/>
              <a:pathLst>
                <a:path w="859510" h="1728518">
                  <a:moveTo>
                    <a:pt x="859510" y="1728518"/>
                  </a:moveTo>
                  <a:lnTo>
                    <a:pt x="803394" y="1686556"/>
                  </a:lnTo>
                  <a:cubicBezTo>
                    <a:pt x="366735" y="1326195"/>
                    <a:pt x="70819" y="801393"/>
                    <a:pt x="10451" y="206955"/>
                  </a:cubicBezTo>
                  <a:lnTo>
                    <a:pt x="0" y="0"/>
                  </a:lnTo>
                </a:path>
              </a:pathLst>
            </a:custGeom>
            <a:noFill/>
            <a:ln w="31750" cap="flat">
              <a:solidFill>
                <a:schemeClr val="bg1">
                  <a:lumMod val="8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Shape 49">
              <a:extLst>
                <a:ext uri="{FF2B5EF4-FFF2-40B4-BE49-F238E27FC236}">
                  <a16:creationId xmlns:a16="http://schemas.microsoft.com/office/drawing/2014/main" id="{7A22FBAF-6FAD-F785-65A0-EC77B6065B1C}"/>
                </a:ext>
              </a:extLst>
            </p:cNvPr>
            <p:cNvSpPr/>
            <p:nvPr userDrawn="1"/>
          </p:nvSpPr>
          <p:spPr>
            <a:xfrm>
              <a:off x="11591900" y="3675380"/>
              <a:ext cx="280292" cy="280290"/>
            </a:xfrm>
            <a:custGeom>
              <a:avLst/>
              <a:gdLst>
                <a:gd name="connsiteX0" fmla="*/ 71225 w 144566"/>
                <a:gd name="connsiteY0" fmla="*/ 144777 h 144564"/>
                <a:gd name="connsiteX1" fmla="*/ -1058 w 144566"/>
                <a:gd name="connsiteY1" fmla="*/ 72494 h 144564"/>
                <a:gd name="connsiteX2" fmla="*/ 71225 w 144566"/>
                <a:gd name="connsiteY2" fmla="*/ 212 h 144564"/>
                <a:gd name="connsiteX3" fmla="*/ 143508 w 144566"/>
                <a:gd name="connsiteY3" fmla="*/ 72494 h 144564"/>
                <a:gd name="connsiteX4" fmla="*/ 71225 w 144566"/>
                <a:gd name="connsiteY4" fmla="*/ 144777 h 1445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566" h="144564">
                  <a:moveTo>
                    <a:pt x="71225" y="144777"/>
                  </a:moveTo>
                  <a:cubicBezTo>
                    <a:pt x="31279" y="144777"/>
                    <a:pt x="-1058" y="112417"/>
                    <a:pt x="-1058" y="72494"/>
                  </a:cubicBezTo>
                  <a:cubicBezTo>
                    <a:pt x="-1058" y="32572"/>
                    <a:pt x="31279" y="212"/>
                    <a:pt x="71225" y="212"/>
                  </a:cubicBezTo>
                  <a:cubicBezTo>
                    <a:pt x="111171" y="212"/>
                    <a:pt x="143508" y="32572"/>
                    <a:pt x="143508" y="72494"/>
                  </a:cubicBezTo>
                  <a:cubicBezTo>
                    <a:pt x="143508" y="112417"/>
                    <a:pt x="111171" y="144777"/>
                    <a:pt x="71225" y="144777"/>
                  </a:cubicBezTo>
                  <a:close/>
                </a:path>
              </a:pathLst>
            </a:custGeom>
            <a:solidFill>
              <a:schemeClr val="accent1">
                <a:lumMod val="75000"/>
              </a:schemeClr>
            </a:solidFill>
            <a:ln w="15875">
              <a:solidFill>
                <a:schemeClr val="bg1"/>
              </a:solidFill>
              <a:headEnd type="none" w="med" len="med"/>
              <a:tailEnd type="none" w="med" len="med"/>
            </a:ln>
            <a:effectLst>
              <a:outerShdw blurRad="304800" dist="63500" dir="5400000" sx="96000" sy="96000" algn="ctr" rotWithShape="0">
                <a:srgbClr val="000000">
                  <a:alpha val="12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51" name="Freeform: Shape 50">
              <a:extLst>
                <a:ext uri="{FF2B5EF4-FFF2-40B4-BE49-F238E27FC236}">
                  <a16:creationId xmlns:a16="http://schemas.microsoft.com/office/drawing/2014/main" id="{BE9E8B0B-2928-47CD-A0A5-618FACCE191F}"/>
                </a:ext>
              </a:extLst>
            </p:cNvPr>
            <p:cNvSpPr/>
            <p:nvPr userDrawn="1"/>
          </p:nvSpPr>
          <p:spPr>
            <a:xfrm>
              <a:off x="9606" y="6473430"/>
              <a:ext cx="3130985" cy="384570"/>
            </a:xfrm>
            <a:custGeom>
              <a:avLst/>
              <a:gdLst>
                <a:gd name="connsiteX0" fmla="*/ 1565494 w 3130985"/>
                <a:gd name="connsiteY0" fmla="*/ 0 h 384570"/>
                <a:gd name="connsiteX1" fmla="*/ 2886088 w 3130985"/>
                <a:gd name="connsiteY1" fmla="*/ 266603 h 384570"/>
                <a:gd name="connsiteX2" fmla="*/ 3130985 w 3130985"/>
                <a:gd name="connsiteY2" fmla="*/ 384570 h 384570"/>
                <a:gd name="connsiteX3" fmla="*/ 0 w 3130985"/>
                <a:gd name="connsiteY3" fmla="*/ 384570 h 384570"/>
                <a:gd name="connsiteX4" fmla="*/ 244898 w 3130985"/>
                <a:gd name="connsiteY4" fmla="*/ 266603 h 384570"/>
                <a:gd name="connsiteX5" fmla="*/ 1565494 w 3130985"/>
                <a:gd name="connsiteY5" fmla="*/ 0 h 384570"/>
                <a:gd name="connsiteX0" fmla="*/ 1565494 w 3130985"/>
                <a:gd name="connsiteY0" fmla="*/ 0 h 384570"/>
                <a:gd name="connsiteX1" fmla="*/ 2886088 w 3130985"/>
                <a:gd name="connsiteY1" fmla="*/ 266603 h 384570"/>
                <a:gd name="connsiteX2" fmla="*/ 3130985 w 3130985"/>
                <a:gd name="connsiteY2" fmla="*/ 384570 h 384570"/>
                <a:gd name="connsiteX3" fmla="*/ 1577259 w 3130985"/>
                <a:gd name="connsiteY3" fmla="*/ 382665 h 384570"/>
                <a:gd name="connsiteX4" fmla="*/ 0 w 3130985"/>
                <a:gd name="connsiteY4" fmla="*/ 384570 h 384570"/>
                <a:gd name="connsiteX5" fmla="*/ 244898 w 3130985"/>
                <a:gd name="connsiteY5" fmla="*/ 266603 h 384570"/>
                <a:gd name="connsiteX6" fmla="*/ 1565494 w 3130985"/>
                <a:gd name="connsiteY6" fmla="*/ 0 h 384570"/>
                <a:gd name="connsiteX0" fmla="*/ 1577259 w 3130985"/>
                <a:gd name="connsiteY0" fmla="*/ 382665 h 474105"/>
                <a:gd name="connsiteX1" fmla="*/ 0 w 3130985"/>
                <a:gd name="connsiteY1" fmla="*/ 384570 h 474105"/>
                <a:gd name="connsiteX2" fmla="*/ 244898 w 3130985"/>
                <a:gd name="connsiteY2" fmla="*/ 266603 h 474105"/>
                <a:gd name="connsiteX3" fmla="*/ 1565494 w 3130985"/>
                <a:gd name="connsiteY3" fmla="*/ 0 h 474105"/>
                <a:gd name="connsiteX4" fmla="*/ 2886088 w 3130985"/>
                <a:gd name="connsiteY4" fmla="*/ 266603 h 474105"/>
                <a:gd name="connsiteX5" fmla="*/ 3130985 w 3130985"/>
                <a:gd name="connsiteY5" fmla="*/ 384570 h 474105"/>
                <a:gd name="connsiteX6" fmla="*/ 1668699 w 3130985"/>
                <a:gd name="connsiteY6" fmla="*/ 474105 h 474105"/>
                <a:gd name="connsiteX0" fmla="*/ 0 w 3130985"/>
                <a:gd name="connsiteY0" fmla="*/ 384570 h 474105"/>
                <a:gd name="connsiteX1" fmla="*/ 244898 w 3130985"/>
                <a:gd name="connsiteY1" fmla="*/ 266603 h 474105"/>
                <a:gd name="connsiteX2" fmla="*/ 1565494 w 3130985"/>
                <a:gd name="connsiteY2" fmla="*/ 0 h 474105"/>
                <a:gd name="connsiteX3" fmla="*/ 2886088 w 3130985"/>
                <a:gd name="connsiteY3" fmla="*/ 266603 h 474105"/>
                <a:gd name="connsiteX4" fmla="*/ 3130985 w 3130985"/>
                <a:gd name="connsiteY4" fmla="*/ 384570 h 474105"/>
                <a:gd name="connsiteX5" fmla="*/ 1668699 w 3130985"/>
                <a:gd name="connsiteY5" fmla="*/ 474105 h 474105"/>
                <a:gd name="connsiteX0" fmla="*/ 0 w 3130985"/>
                <a:gd name="connsiteY0" fmla="*/ 384570 h 384570"/>
                <a:gd name="connsiteX1" fmla="*/ 244898 w 3130985"/>
                <a:gd name="connsiteY1" fmla="*/ 266603 h 384570"/>
                <a:gd name="connsiteX2" fmla="*/ 1565494 w 3130985"/>
                <a:gd name="connsiteY2" fmla="*/ 0 h 384570"/>
                <a:gd name="connsiteX3" fmla="*/ 2886088 w 3130985"/>
                <a:gd name="connsiteY3" fmla="*/ 266603 h 384570"/>
                <a:gd name="connsiteX4" fmla="*/ 3130985 w 3130985"/>
                <a:gd name="connsiteY4" fmla="*/ 384570 h 3845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30985" h="384570">
                  <a:moveTo>
                    <a:pt x="0" y="384570"/>
                  </a:moveTo>
                  <a:lnTo>
                    <a:pt x="244898" y="266603"/>
                  </a:lnTo>
                  <a:cubicBezTo>
                    <a:pt x="650796" y="94932"/>
                    <a:pt x="1097058" y="0"/>
                    <a:pt x="1565494" y="0"/>
                  </a:cubicBezTo>
                  <a:cubicBezTo>
                    <a:pt x="2033930" y="0"/>
                    <a:pt x="2480192" y="94932"/>
                    <a:pt x="2886088" y="266603"/>
                  </a:cubicBezTo>
                  <a:lnTo>
                    <a:pt x="3130985" y="384570"/>
                  </a:lnTo>
                </a:path>
              </a:pathLst>
            </a:custGeom>
            <a:noFill/>
            <a:ln w="31750" cap="flat">
              <a:solidFill>
                <a:schemeClr val="bg1">
                  <a:lumMod val="85000"/>
                </a:schemeClr>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2" name="Freeform: Shape 51">
              <a:extLst>
                <a:ext uri="{FF2B5EF4-FFF2-40B4-BE49-F238E27FC236}">
                  <a16:creationId xmlns:a16="http://schemas.microsoft.com/office/drawing/2014/main" id="{404FE8C3-3A37-41BD-F121-230B9C6ADE47}"/>
                </a:ext>
              </a:extLst>
            </p:cNvPr>
            <p:cNvSpPr/>
            <p:nvPr userDrawn="1"/>
          </p:nvSpPr>
          <p:spPr>
            <a:xfrm>
              <a:off x="1482115" y="6385560"/>
              <a:ext cx="186542" cy="183442"/>
            </a:xfrm>
            <a:custGeom>
              <a:avLst/>
              <a:gdLst>
                <a:gd name="connsiteX0" fmla="*/ 60145 w 120880"/>
                <a:gd name="connsiteY0" fmla="*/ -853 h 128929"/>
                <a:gd name="connsiteX1" fmla="*/ 120585 w 120880"/>
                <a:gd name="connsiteY1" fmla="*/ 63612 h 128929"/>
                <a:gd name="connsiteX2" fmla="*/ 60145 w 120880"/>
                <a:gd name="connsiteY2" fmla="*/ 128077 h 128929"/>
                <a:gd name="connsiteX3" fmla="*/ -295 w 120880"/>
                <a:gd name="connsiteY3" fmla="*/ 63612 h 128929"/>
                <a:gd name="connsiteX4" fmla="*/ 60145 w 120880"/>
                <a:gd name="connsiteY4" fmla="*/ -853 h 1289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880" h="128929">
                  <a:moveTo>
                    <a:pt x="60145" y="-853"/>
                  </a:moveTo>
                  <a:cubicBezTo>
                    <a:pt x="93525" y="-853"/>
                    <a:pt x="120585" y="28011"/>
                    <a:pt x="120585" y="63612"/>
                  </a:cubicBezTo>
                  <a:cubicBezTo>
                    <a:pt x="120585" y="99212"/>
                    <a:pt x="93525" y="128077"/>
                    <a:pt x="60145" y="128077"/>
                  </a:cubicBezTo>
                  <a:cubicBezTo>
                    <a:pt x="26766" y="128077"/>
                    <a:pt x="-295" y="99212"/>
                    <a:pt x="-295" y="63612"/>
                  </a:cubicBezTo>
                  <a:cubicBezTo>
                    <a:pt x="-295" y="28011"/>
                    <a:pt x="26766" y="-853"/>
                    <a:pt x="60145" y="-853"/>
                  </a:cubicBezTo>
                  <a:close/>
                </a:path>
              </a:pathLst>
            </a:custGeom>
            <a:solidFill>
              <a:schemeClr val="accent4">
                <a:lumMod val="75000"/>
              </a:schemeClr>
            </a:solidFill>
            <a:ln w="15875">
              <a:solidFill>
                <a:schemeClr val="bg1"/>
              </a:solidFill>
              <a:headEnd type="none" w="med" len="med"/>
              <a:tailEnd type="none" w="med" len="med"/>
            </a:ln>
            <a:effectLst>
              <a:outerShdw blurRad="304800" dist="63500" dir="5400000" sx="96000" sy="96000" algn="ctr" rotWithShape="0">
                <a:srgbClr val="000000">
                  <a:alpha val="19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 name="Freeform: Shape 5">
              <a:extLst>
                <a:ext uri="{FF2B5EF4-FFF2-40B4-BE49-F238E27FC236}">
                  <a16:creationId xmlns:a16="http://schemas.microsoft.com/office/drawing/2014/main" id="{2C8C05A4-5A7C-788F-0079-F4C6CBBFA604}"/>
                </a:ext>
              </a:extLst>
            </p:cNvPr>
            <p:cNvSpPr/>
            <p:nvPr userDrawn="1"/>
          </p:nvSpPr>
          <p:spPr>
            <a:xfrm>
              <a:off x="10190478" y="891540"/>
              <a:ext cx="442898" cy="438912"/>
            </a:xfrm>
            <a:custGeom>
              <a:avLst/>
              <a:gdLst>
                <a:gd name="connsiteX0" fmla="*/ 135899 w 273914"/>
                <a:gd name="connsiteY0" fmla="*/ 266516 h 266303"/>
                <a:gd name="connsiteX1" fmla="*/ -1058 w 273914"/>
                <a:gd name="connsiteY1" fmla="*/ 133364 h 266303"/>
                <a:gd name="connsiteX2" fmla="*/ 135899 w 273914"/>
                <a:gd name="connsiteY2" fmla="*/ 212 h 266303"/>
                <a:gd name="connsiteX3" fmla="*/ 272857 w 273914"/>
                <a:gd name="connsiteY3" fmla="*/ 133364 h 266303"/>
                <a:gd name="connsiteX4" fmla="*/ 135899 w 273914"/>
                <a:gd name="connsiteY4" fmla="*/ 266516 h 2663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914" h="266303">
                  <a:moveTo>
                    <a:pt x="135899" y="266516"/>
                  </a:moveTo>
                  <a:cubicBezTo>
                    <a:pt x="60269" y="266516"/>
                    <a:pt x="-1058" y="206902"/>
                    <a:pt x="-1058" y="133364"/>
                  </a:cubicBezTo>
                  <a:cubicBezTo>
                    <a:pt x="-1058" y="59826"/>
                    <a:pt x="60269" y="212"/>
                    <a:pt x="135899" y="212"/>
                  </a:cubicBezTo>
                  <a:cubicBezTo>
                    <a:pt x="211530" y="212"/>
                    <a:pt x="272857" y="59826"/>
                    <a:pt x="272857" y="133364"/>
                  </a:cubicBezTo>
                  <a:cubicBezTo>
                    <a:pt x="272857" y="206902"/>
                    <a:pt x="211530" y="266516"/>
                    <a:pt x="135899" y="266516"/>
                  </a:cubicBezTo>
                  <a:close/>
                </a:path>
              </a:pathLst>
            </a:custGeom>
            <a:solidFill>
              <a:schemeClr val="accent1"/>
            </a:solidFill>
            <a:ln w="15875">
              <a:solidFill>
                <a:schemeClr val="bg1"/>
              </a:solidFill>
              <a:headEnd type="none" w="med" len="med"/>
              <a:tailEnd type="none" w="med" len="med"/>
            </a:ln>
            <a:effectLst>
              <a:outerShdw blurRad="304800" dist="63500" dir="5400000" sx="96000" sy="96000" algn="ctr" rotWithShape="0">
                <a:srgbClr val="000000">
                  <a:alpha val="12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sp>
        <p:nvSpPr>
          <p:cNvPr id="3" name="Title 1">
            <a:extLst>
              <a:ext uri="{FF2B5EF4-FFF2-40B4-BE49-F238E27FC236}">
                <a16:creationId xmlns:a16="http://schemas.microsoft.com/office/drawing/2014/main" id="{12D19AFB-6939-2FBA-48C9-66A2961406A7}"/>
              </a:ext>
            </a:extLst>
          </p:cNvPr>
          <p:cNvSpPr>
            <a:spLocks noGrp="1"/>
          </p:cNvSpPr>
          <p:nvPr>
            <p:ph type="title" hasCustomPrompt="1"/>
          </p:nvPr>
        </p:nvSpPr>
        <p:spPr>
          <a:xfrm>
            <a:off x="569911" y="3384610"/>
            <a:ext cx="8193024" cy="615553"/>
          </a:xfrm>
          <a:noFill/>
        </p:spPr>
        <p:txBody>
          <a:bodyPr wrap="square" lIns="0" tIns="0" rIns="0" bIns="0" anchor="b" anchorCtr="0">
            <a:spAutoFit/>
          </a:bodyPr>
          <a:lstStyle>
            <a:lvl1pPr>
              <a:defRPr sz="4000" b="0" i="0" spc="-50" baseline="0">
                <a:solidFill>
                  <a:schemeClr val="tx1"/>
                </a:solidFill>
                <a:latin typeface="+mj-lt"/>
                <a:cs typeface="Segoe UI" panose="020B0502040204020203" pitchFamily="34" charset="0"/>
              </a:defRPr>
            </a:lvl1pPr>
          </a:lstStyle>
          <a:p>
            <a:r>
              <a:rPr lang="en-US"/>
              <a:t>Section divider title</a:t>
            </a:r>
          </a:p>
        </p:txBody>
      </p:sp>
      <p:sp>
        <p:nvSpPr>
          <p:cNvPr id="2" name="Text Placeholder 4">
            <a:extLst>
              <a:ext uri="{FF2B5EF4-FFF2-40B4-BE49-F238E27FC236}">
                <a16:creationId xmlns:a16="http://schemas.microsoft.com/office/drawing/2014/main" id="{F9CC4CD7-01CD-2983-6312-47D1240CC951}"/>
              </a:ext>
            </a:extLst>
          </p:cNvPr>
          <p:cNvSpPr>
            <a:spLocks noGrp="1"/>
          </p:cNvSpPr>
          <p:nvPr>
            <p:ph type="body" sz="quarter" idx="12" hasCustomPrompt="1"/>
          </p:nvPr>
        </p:nvSpPr>
        <p:spPr>
          <a:xfrm>
            <a:off x="582042" y="4215828"/>
            <a:ext cx="8193024" cy="246221"/>
          </a:xfrm>
          <a:prstGeom prst="rect">
            <a:avLst/>
          </a:prstGeo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ubtitle</a:t>
            </a:r>
          </a:p>
        </p:txBody>
      </p:sp>
    </p:spTree>
    <p:extLst>
      <p:ext uri="{BB962C8B-B14F-4D97-AF65-F5344CB8AC3E}">
        <p14:creationId xmlns:p14="http://schemas.microsoft.com/office/powerpoint/2010/main" val="19465944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450">
          <p15:clr>
            <a:srgbClr val="FBAE40"/>
          </p15:clr>
        </p15:guide>
        <p15:guide id="2" orient="horz" pos="2647">
          <p15:clr>
            <a:srgbClr val="FBAE4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1_Title Slide - Digital Acquisition">
    <p:bg>
      <p:bgRef idx="1001">
        <a:schemeClr val="bg1"/>
      </p:bgRef>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5AC3784D-3647-6B7A-E362-DA982CE99FD9}"/>
              </a:ext>
            </a:extLst>
          </p:cNvPr>
          <p:cNvSpPr/>
          <p:nvPr/>
        </p:nvSpPr>
        <p:spPr>
          <a:xfrm>
            <a:off x="0" y="1"/>
            <a:ext cx="12192000" cy="6857998"/>
          </a:xfrm>
          <a:prstGeom prst="rect">
            <a:avLst/>
          </a:prstGeom>
          <a:gradFill flip="none" rotWithShape="1">
            <a:gsLst>
              <a:gs pos="82000">
                <a:sysClr val="windowText" lastClr="000000"/>
              </a:gs>
              <a:gs pos="0">
                <a:srgbClr val="00CEF1"/>
              </a:gs>
            </a:gsLst>
            <a:path path="circle">
              <a:fillToRect l="100000" t="100000"/>
            </a:path>
            <a:tileRect r="-100000" b="-100000"/>
          </a:gra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18" name="Graphic 17">
            <a:extLst>
              <a:ext uri="{FF2B5EF4-FFF2-40B4-BE49-F238E27FC236}">
                <a16:creationId xmlns:a16="http://schemas.microsoft.com/office/drawing/2014/main" id="{5255E1A9-AAC8-5265-FEF4-91C49CEF03A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497589" y="832904"/>
            <a:ext cx="9633685" cy="5401744"/>
          </a:xfrm>
          <a:prstGeom prst="rect">
            <a:avLst/>
          </a:prstGeom>
          <a:effectLst>
            <a:outerShdw blurRad="228600" dist="38100" dir="5400000" sx="101000" sy="101000" algn="t" rotWithShape="0">
              <a:prstClr val="black">
                <a:alpha val="73000"/>
              </a:prstClr>
            </a:outerShdw>
          </a:effectLst>
        </p:spPr>
      </p:pic>
      <p:sp>
        <p:nvSpPr>
          <p:cNvPr id="26" name="Rectangle 25">
            <a:extLst>
              <a:ext uri="{FF2B5EF4-FFF2-40B4-BE49-F238E27FC236}">
                <a16:creationId xmlns:a16="http://schemas.microsoft.com/office/drawing/2014/main" id="{334694D7-ECE0-3744-47A8-62CAD2F19E83}"/>
              </a:ext>
            </a:extLst>
          </p:cNvPr>
          <p:cNvSpPr/>
          <p:nvPr userDrawn="1"/>
        </p:nvSpPr>
        <p:spPr bwMode="auto">
          <a:xfrm>
            <a:off x="60726" y="0"/>
            <a:ext cx="12131274" cy="6858000"/>
          </a:xfrm>
          <a:prstGeom prst="rect">
            <a:avLst/>
          </a:prstGeom>
          <a:gradFill>
            <a:gsLst>
              <a:gs pos="0">
                <a:schemeClr val="bg1">
                  <a:alpha val="91000"/>
                </a:schemeClr>
              </a:gs>
              <a:gs pos="94000">
                <a:schemeClr val="bg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600" err="1">
              <a:solidFill>
                <a:srgbClr val="000000"/>
              </a:solidFill>
              <a:ea typeface="Segoe UI" pitchFamily="34" charset="0"/>
              <a:cs typeface="Segoe UI" pitchFamily="34" charset="0"/>
            </a:endParaRPr>
          </a:p>
        </p:txBody>
      </p:sp>
      <p:pic>
        <p:nvPicPr>
          <p:cNvPr id="8" name="MS logo white - EMF" descr="Microsoft logo white text version">
            <a:extLst>
              <a:ext uri="{FF2B5EF4-FFF2-40B4-BE49-F238E27FC236}">
                <a16:creationId xmlns:a16="http://schemas.microsoft.com/office/drawing/2014/main" id="{CEB907E8-8DF2-4BB3-87C9-9C2130FCB0FB}"/>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bwMode="black">
          <a:xfrm>
            <a:off x="584200" y="6140988"/>
            <a:ext cx="1366245" cy="292608"/>
          </a:xfrm>
          <a:prstGeom prst="rect">
            <a:avLst/>
          </a:prstGeom>
        </p:spPr>
      </p:pic>
      <p:sp>
        <p:nvSpPr>
          <p:cNvPr id="20" name="Rectangle 19">
            <a:extLst>
              <a:ext uri="{FF2B5EF4-FFF2-40B4-BE49-F238E27FC236}">
                <a16:creationId xmlns:a16="http://schemas.microsoft.com/office/drawing/2014/main" id="{D7EE74A8-E745-F725-8A1C-E9921B6FD806}"/>
              </a:ext>
            </a:extLst>
          </p:cNvPr>
          <p:cNvSpPr/>
          <p:nvPr/>
        </p:nvSpPr>
        <p:spPr>
          <a:xfrm>
            <a:off x="0" y="6753138"/>
            <a:ext cx="12192000" cy="104862"/>
          </a:xfrm>
          <a:prstGeom prst="rect">
            <a:avLst/>
          </a:prstGeom>
          <a:solidFill>
            <a:srgbClr val="007A8E"/>
          </a:solidFill>
          <a:ln w="12700" cap="flat" cmpd="sng" algn="ctr">
            <a:noFill/>
            <a:prstDash val="solid"/>
            <a:miter lim="800000"/>
          </a:ln>
          <a:effectLst>
            <a:outerShdw blurRad="228600" dist="114300" dir="16200000"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 name="Title 1"/>
          <p:cNvSpPr>
            <a:spLocks noGrp="1"/>
          </p:cNvSpPr>
          <p:nvPr>
            <p:ph type="title" hasCustomPrompt="1"/>
          </p:nvPr>
        </p:nvSpPr>
        <p:spPr>
          <a:xfrm>
            <a:off x="584199" y="2979778"/>
            <a:ext cx="4524695" cy="553998"/>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199" y="3962400"/>
            <a:ext cx="4524695" cy="369332"/>
          </a:xfrm>
          <a:prstGeom prst="rect">
            <a:avLst/>
          </a:prstGeom>
          <a:noFill/>
        </p:spPr>
        <p:txBody>
          <a:bodyPr wrap="square" lIns="0" tIns="0" rIns="0" bIns="0">
            <a:spAutoFit/>
          </a:bodyPr>
          <a:lstStyle>
            <a:lvl1pPr marL="0" indent="0">
              <a:spcBef>
                <a:spcPts val="0"/>
              </a:spcBef>
              <a:buNone/>
              <a:defRPr sz="2400" spc="0" baseline="0">
                <a:solidFill>
                  <a:schemeClr val="tx1"/>
                </a:solidFill>
                <a:latin typeface="+mn-lt"/>
                <a:cs typeface="Segoe UI" panose="020B0502040204020203" pitchFamily="34" charset="0"/>
              </a:defRPr>
            </a:lvl1pPr>
          </a:lstStyle>
          <a:p>
            <a:pPr lvl="0"/>
            <a:r>
              <a:rPr lang="en-US"/>
              <a:t>Speaker name or subtitle text</a:t>
            </a:r>
          </a:p>
        </p:txBody>
      </p:sp>
      <p:sp>
        <p:nvSpPr>
          <p:cNvPr id="27" name="Rectangle: Rounded Corners 26">
            <a:extLst>
              <a:ext uri="{FF2B5EF4-FFF2-40B4-BE49-F238E27FC236}">
                <a16:creationId xmlns:a16="http://schemas.microsoft.com/office/drawing/2014/main" id="{F157B11E-1B91-9CD7-3E00-9BBA42FFE51B}"/>
              </a:ext>
            </a:extLst>
          </p:cNvPr>
          <p:cNvSpPr/>
          <p:nvPr userDrawn="1"/>
        </p:nvSpPr>
        <p:spPr>
          <a:xfrm>
            <a:off x="10225683" y="-359770"/>
            <a:ext cx="1213528" cy="1359108"/>
          </a:xfrm>
          <a:prstGeom prst="roundRect">
            <a:avLst>
              <a:gd name="adj" fmla="val 10953"/>
            </a:avLst>
          </a:prstGeom>
          <a:solidFill>
            <a:srgbClr val="007A8E"/>
          </a:solidFill>
          <a:ln w="28575" cap="flat" cmpd="sng" algn="ctr">
            <a:solidFill>
              <a:sysClr val="window" lastClr="FFFFFF"/>
            </a:solidFill>
            <a:prstDash val="solid"/>
            <a:miter lim="800000"/>
          </a:ln>
          <a:effectLst>
            <a:outerShdw blurRad="101600" dist="101600" dir="5400000" algn="t" rotWithShape="0">
              <a:prstClr val="black">
                <a:alpha val="28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8" name="TextBox 27">
            <a:extLst>
              <a:ext uri="{FF2B5EF4-FFF2-40B4-BE49-F238E27FC236}">
                <a16:creationId xmlns:a16="http://schemas.microsoft.com/office/drawing/2014/main" id="{E506D644-6102-F831-9A03-5AD8AA1A6C54}"/>
              </a:ext>
            </a:extLst>
          </p:cNvPr>
          <p:cNvSpPr txBox="1"/>
          <p:nvPr userDrawn="1"/>
        </p:nvSpPr>
        <p:spPr>
          <a:xfrm>
            <a:off x="10319395" y="407908"/>
            <a:ext cx="1274699" cy="215444"/>
          </a:xfrm>
          <a:prstGeom prst="rect">
            <a:avLst/>
          </a:prstGeom>
          <a:noFill/>
        </p:spPr>
        <p:txBody>
          <a:bodyPr wrap="square" lIns="0" tIns="0" rIns="0" bIns="0" rtlCol="0">
            <a:spAutoFit/>
          </a:bodyPr>
          <a:lstStyle/>
          <a:p>
            <a:pPr defTabSz="914400"/>
            <a:r>
              <a:rPr lang="en-US" sz="1400">
                <a:solidFill>
                  <a:prstClr val="white"/>
                </a:solidFill>
                <a:latin typeface="Segoe UI Semibold" panose="020B0702040204020203" pitchFamily="34" charset="0"/>
                <a:cs typeface="Segoe UI Semibold" panose="020B0702040204020203" pitchFamily="34" charset="0"/>
              </a:rPr>
              <a:t>Digital Sales</a:t>
            </a:r>
          </a:p>
        </p:txBody>
      </p:sp>
      <p:sp>
        <p:nvSpPr>
          <p:cNvPr id="29" name="Rectangle 28">
            <a:extLst>
              <a:ext uri="{FF2B5EF4-FFF2-40B4-BE49-F238E27FC236}">
                <a16:creationId xmlns:a16="http://schemas.microsoft.com/office/drawing/2014/main" id="{32D83E3C-3EFB-6867-0DF3-469DE5A16D3D}"/>
              </a:ext>
            </a:extLst>
          </p:cNvPr>
          <p:cNvSpPr/>
          <p:nvPr userDrawn="1"/>
        </p:nvSpPr>
        <p:spPr bwMode="auto">
          <a:xfrm>
            <a:off x="9920176" y="-435936"/>
            <a:ext cx="1828801" cy="435935"/>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600" err="1">
              <a:solidFill>
                <a:srgbClr val="000000"/>
              </a:solidFill>
              <a:ea typeface="Segoe UI" pitchFamily="34" charset="0"/>
              <a:cs typeface="Segoe UI" pitchFamily="34" charset="0"/>
            </a:endParaRPr>
          </a:p>
        </p:txBody>
      </p:sp>
    </p:spTree>
    <p:extLst>
      <p:ext uri="{BB962C8B-B14F-4D97-AF65-F5344CB8AC3E}">
        <p14:creationId xmlns:p14="http://schemas.microsoft.com/office/powerpoint/2010/main" val="11343601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1_Two Column Content with Subheads">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FA2FC0D4-3B11-6A5D-4877-CAC9DD1C961D}"/>
              </a:ext>
            </a:extLst>
          </p:cNvPr>
          <p:cNvGrpSpPr/>
          <p:nvPr userDrawn="1"/>
        </p:nvGrpSpPr>
        <p:grpSpPr>
          <a:xfrm>
            <a:off x="11207931" y="114223"/>
            <a:ext cx="984069" cy="1526510"/>
            <a:chOff x="11207931" y="114223"/>
            <a:chExt cx="984069" cy="1526510"/>
          </a:xfrm>
        </p:grpSpPr>
        <p:sp>
          <p:nvSpPr>
            <p:cNvPr id="5" name="Freeform 4">
              <a:extLst>
                <a:ext uri="{FF2B5EF4-FFF2-40B4-BE49-F238E27FC236}">
                  <a16:creationId xmlns:a16="http://schemas.microsoft.com/office/drawing/2014/main" id="{71A6F00C-2DE7-BA31-C876-7600CF4173AC}"/>
                </a:ext>
              </a:extLst>
            </p:cNvPr>
            <p:cNvSpPr/>
            <p:nvPr/>
          </p:nvSpPr>
          <p:spPr bwMode="auto">
            <a:xfrm>
              <a:off x="11683516" y="209494"/>
              <a:ext cx="508484" cy="1049410"/>
            </a:xfrm>
            <a:custGeom>
              <a:avLst/>
              <a:gdLst>
                <a:gd name="connsiteX0" fmla="*/ 508484 w 508484"/>
                <a:gd name="connsiteY0" fmla="*/ 0 h 1049410"/>
                <a:gd name="connsiteX1" fmla="*/ 508484 w 508484"/>
                <a:gd name="connsiteY1" fmla="*/ 1049410 h 1049410"/>
                <a:gd name="connsiteX2" fmla="*/ 420411 w 508484"/>
                <a:gd name="connsiteY2" fmla="*/ 1040532 h 1049410"/>
                <a:gd name="connsiteX3" fmla="*/ 0 w 508484"/>
                <a:gd name="connsiteY3" fmla="*/ 524705 h 1049410"/>
                <a:gd name="connsiteX4" fmla="*/ 420411 w 508484"/>
                <a:gd name="connsiteY4" fmla="*/ 8878 h 1049410"/>
                <a:gd name="connsiteX5" fmla="*/ 508484 w 508484"/>
                <a:gd name="connsiteY5" fmla="*/ 0 h 1049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8484" h="1049410">
                  <a:moveTo>
                    <a:pt x="508484" y="0"/>
                  </a:moveTo>
                  <a:lnTo>
                    <a:pt x="508484" y="1049410"/>
                  </a:lnTo>
                  <a:lnTo>
                    <a:pt x="420411" y="1040532"/>
                  </a:lnTo>
                  <a:cubicBezTo>
                    <a:pt x="180483" y="991436"/>
                    <a:pt x="0" y="779147"/>
                    <a:pt x="0" y="524705"/>
                  </a:cubicBezTo>
                  <a:cubicBezTo>
                    <a:pt x="0" y="270263"/>
                    <a:pt x="180483" y="57975"/>
                    <a:pt x="420411" y="8878"/>
                  </a:cubicBezTo>
                  <a:lnTo>
                    <a:pt x="508484" y="0"/>
                  </a:lnTo>
                  <a:close/>
                </a:path>
              </a:pathLst>
            </a:custGeom>
            <a:solidFill>
              <a:schemeClr val="accent5">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6" name="Freeform 5">
              <a:extLst>
                <a:ext uri="{FF2B5EF4-FFF2-40B4-BE49-F238E27FC236}">
                  <a16:creationId xmlns:a16="http://schemas.microsoft.com/office/drawing/2014/main" id="{D8579AF3-831E-1A45-FC7A-63305474E1C5}"/>
                </a:ext>
              </a:extLst>
            </p:cNvPr>
            <p:cNvSpPr/>
            <p:nvPr/>
          </p:nvSpPr>
          <p:spPr>
            <a:xfrm>
              <a:off x="11593087" y="114223"/>
              <a:ext cx="598913" cy="1253024"/>
            </a:xfrm>
            <a:custGeom>
              <a:avLst/>
              <a:gdLst>
                <a:gd name="connsiteX0" fmla="*/ 579415 w 733022"/>
                <a:gd name="connsiteY0" fmla="*/ 1154516 h 1533601"/>
                <a:gd name="connsiteX1" fmla="*/ 654140 w 733022"/>
                <a:gd name="connsiteY1" fmla="*/ 1182331 h 1533601"/>
                <a:gd name="connsiteX2" fmla="*/ 733022 w 733022"/>
                <a:gd name="connsiteY2" fmla="*/ 1195890 h 1533601"/>
                <a:gd name="connsiteX3" fmla="*/ 733022 w 733022"/>
                <a:gd name="connsiteY3" fmla="*/ 1519078 h 1533601"/>
                <a:gd name="connsiteX4" fmla="*/ 728849 w 733022"/>
                <a:gd name="connsiteY4" fmla="*/ 1528684 h 1533601"/>
                <a:gd name="connsiteX5" fmla="*/ 715183 w 733022"/>
                <a:gd name="connsiteY5" fmla="*/ 1533561 h 1533601"/>
                <a:gd name="connsiteX6" fmla="*/ 427500 w 733022"/>
                <a:gd name="connsiteY6" fmla="*/ 1456569 h 1533601"/>
                <a:gd name="connsiteX7" fmla="*/ 427481 w 733022"/>
                <a:gd name="connsiteY7" fmla="*/ 1456569 h 1533601"/>
                <a:gd name="connsiteX8" fmla="*/ 419765 w 733022"/>
                <a:gd name="connsiteY8" fmla="*/ 1431112 h 1533601"/>
                <a:gd name="connsiteX9" fmla="*/ 409753 w 733022"/>
                <a:gd name="connsiteY9" fmla="*/ 1009571 h 1533601"/>
                <a:gd name="connsiteX10" fmla="*/ 524291 w 733022"/>
                <a:gd name="connsiteY10" fmla="*/ 1122789 h 1533601"/>
                <a:gd name="connsiteX11" fmla="*/ 364754 w 733022"/>
                <a:gd name="connsiteY11" fmla="*/ 1399179 h 1533601"/>
                <a:gd name="connsiteX12" fmla="*/ 338820 w 733022"/>
                <a:gd name="connsiteY12" fmla="*/ 1405185 h 1533601"/>
                <a:gd name="connsiteX13" fmla="*/ 128318 w 733022"/>
                <a:gd name="connsiteY13" fmla="*/ 1194584 h 1533601"/>
                <a:gd name="connsiteX14" fmla="*/ 134321 w 733022"/>
                <a:gd name="connsiteY14" fmla="*/ 1168637 h 1533601"/>
                <a:gd name="connsiteX15" fmla="*/ 18202 w 733022"/>
                <a:gd name="connsiteY15" fmla="*/ 798631 h 1533601"/>
                <a:gd name="connsiteX16" fmla="*/ 333739 w 733022"/>
                <a:gd name="connsiteY16" fmla="*/ 798631 h 1533601"/>
                <a:gd name="connsiteX17" fmla="*/ 377363 w 733022"/>
                <a:gd name="connsiteY17" fmla="*/ 954723 h 1533601"/>
                <a:gd name="connsiteX18" fmla="*/ 102441 w 733022"/>
                <a:gd name="connsiteY18" fmla="*/ 1113544 h 1533601"/>
                <a:gd name="connsiteX19" fmla="*/ 76996 w 733022"/>
                <a:gd name="connsiteY19" fmla="*/ 1105824 h 1533601"/>
                <a:gd name="connsiteX20" fmla="*/ 41 w 733022"/>
                <a:gd name="connsiteY20" fmla="*/ 818081 h 1533601"/>
                <a:gd name="connsiteX21" fmla="*/ 18202 w 733022"/>
                <a:gd name="connsiteY21" fmla="*/ 798631 h 1533601"/>
                <a:gd name="connsiteX22" fmla="*/ 733022 w 733022"/>
                <a:gd name="connsiteY22" fmla="*/ 440947 h 1533601"/>
                <a:gd name="connsiteX23" fmla="*/ 733022 w 733022"/>
                <a:gd name="connsiteY23" fmla="*/ 627192 h 1533601"/>
                <a:gd name="connsiteX24" fmla="*/ 694597 w 733022"/>
                <a:gd name="connsiteY24" fmla="*/ 638681 h 1533601"/>
                <a:gd name="connsiteX25" fmla="*/ 618391 w 733022"/>
                <a:gd name="connsiteY25" fmla="*/ 748942 h 1533601"/>
                <a:gd name="connsiteX26" fmla="*/ 699416 w 733022"/>
                <a:gd name="connsiteY26" fmla="*/ 889231 h 1533601"/>
                <a:gd name="connsiteX27" fmla="*/ 733022 w 733022"/>
                <a:gd name="connsiteY27" fmla="*/ 896448 h 1533601"/>
                <a:gd name="connsiteX28" fmla="*/ 733022 w 733022"/>
                <a:gd name="connsiteY28" fmla="*/ 1083871 h 1533601"/>
                <a:gd name="connsiteX29" fmla="*/ 691051 w 733022"/>
                <a:gd name="connsiteY29" fmla="*/ 1079617 h 1533601"/>
                <a:gd name="connsiteX30" fmla="*/ 433014 w 733022"/>
                <a:gd name="connsiteY30" fmla="*/ 761820 h 1533601"/>
                <a:gd name="connsiteX31" fmla="*/ 678170 w 733022"/>
                <a:gd name="connsiteY31" fmla="*/ 449027 h 1533601"/>
                <a:gd name="connsiteX32" fmla="*/ 88045 w 733022"/>
                <a:gd name="connsiteY32" fmla="*/ 418365 h 1533601"/>
                <a:gd name="connsiteX33" fmla="*/ 102441 w 733022"/>
                <a:gd name="connsiteY33" fmla="*/ 420020 h 1533601"/>
                <a:gd name="connsiteX34" fmla="*/ 372960 w 733022"/>
                <a:gd name="connsiteY34" fmla="*/ 576281 h 1533601"/>
                <a:gd name="connsiteX35" fmla="*/ 332873 w 733022"/>
                <a:gd name="connsiteY35" fmla="*/ 734971 h 1533601"/>
                <a:gd name="connsiteX36" fmla="*/ 18202 w 733022"/>
                <a:gd name="connsiteY36" fmla="*/ 734971 h 1533601"/>
                <a:gd name="connsiteX37" fmla="*/ 41 w 733022"/>
                <a:gd name="connsiteY37" fmla="*/ 715520 h 1533601"/>
                <a:gd name="connsiteX38" fmla="*/ 76996 w 733022"/>
                <a:gd name="connsiteY38" fmla="*/ 427739 h 1533601"/>
                <a:gd name="connsiteX39" fmla="*/ 88045 w 733022"/>
                <a:gd name="connsiteY39" fmla="*/ 418365 h 1533601"/>
                <a:gd name="connsiteX40" fmla="*/ 353092 w 733022"/>
                <a:gd name="connsiteY40" fmla="*/ 125773 h 1533601"/>
                <a:gd name="connsiteX41" fmla="*/ 364754 w 733022"/>
                <a:gd name="connsiteY41" fmla="*/ 134404 h 1533601"/>
                <a:gd name="connsiteX42" fmla="*/ 519455 w 733022"/>
                <a:gd name="connsiteY42" fmla="*/ 402471 h 1533601"/>
                <a:gd name="connsiteX43" fmla="*/ 404069 w 733022"/>
                <a:gd name="connsiteY43" fmla="*/ 520735 h 1533601"/>
                <a:gd name="connsiteX44" fmla="*/ 134359 w 733022"/>
                <a:gd name="connsiteY44" fmla="*/ 364945 h 1533601"/>
                <a:gd name="connsiteX45" fmla="*/ 128356 w 733022"/>
                <a:gd name="connsiteY45" fmla="*/ 338999 h 1533601"/>
                <a:gd name="connsiteX46" fmla="*/ 338820 w 733022"/>
                <a:gd name="connsiteY46" fmla="*/ 128398 h 1533601"/>
                <a:gd name="connsiteX47" fmla="*/ 353092 w 733022"/>
                <a:gd name="connsiteY47" fmla="*/ 125773 h 1533601"/>
                <a:gd name="connsiteX48" fmla="*/ 715183 w 733022"/>
                <a:gd name="connsiteY48" fmla="*/ 41 h 1533601"/>
                <a:gd name="connsiteX49" fmla="*/ 715202 w 733022"/>
                <a:gd name="connsiteY49" fmla="*/ 41 h 1533601"/>
                <a:gd name="connsiteX50" fmla="*/ 728860 w 733022"/>
                <a:gd name="connsiteY50" fmla="*/ 4910 h 1533601"/>
                <a:gd name="connsiteX51" fmla="*/ 733022 w 733022"/>
                <a:gd name="connsiteY51" fmla="*/ 14482 h 1533601"/>
                <a:gd name="connsiteX52" fmla="*/ 733022 w 733022"/>
                <a:gd name="connsiteY52" fmla="*/ 325990 h 1533601"/>
                <a:gd name="connsiteX53" fmla="*/ 651303 w 733022"/>
                <a:gd name="connsiteY53" fmla="*/ 340329 h 1533601"/>
                <a:gd name="connsiteX54" fmla="*/ 574202 w 733022"/>
                <a:gd name="connsiteY54" fmla="*/ 369991 h 1533601"/>
                <a:gd name="connsiteX55" fmla="*/ 419821 w 733022"/>
                <a:gd name="connsiteY55" fmla="*/ 102489 h 1533601"/>
                <a:gd name="connsiteX56" fmla="*/ 427538 w 733022"/>
                <a:gd name="connsiteY56" fmla="*/ 77032 h 1533601"/>
                <a:gd name="connsiteX57" fmla="*/ 715183 w 733022"/>
                <a:gd name="connsiteY57" fmla="*/ 41 h 1533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733022" h="1533601">
                  <a:moveTo>
                    <a:pt x="579415" y="1154516"/>
                  </a:moveTo>
                  <a:cubicBezTo>
                    <a:pt x="603213" y="1165954"/>
                    <a:pt x="628197" y="1175308"/>
                    <a:pt x="654140" y="1182331"/>
                  </a:cubicBezTo>
                  <a:lnTo>
                    <a:pt x="733022" y="1195890"/>
                  </a:lnTo>
                  <a:lnTo>
                    <a:pt x="733022" y="1519078"/>
                  </a:lnTo>
                  <a:lnTo>
                    <a:pt x="728849" y="1528684"/>
                  </a:lnTo>
                  <a:cubicBezTo>
                    <a:pt x="725303" y="1531998"/>
                    <a:pt x="720443" y="1533909"/>
                    <a:pt x="715183" y="1533561"/>
                  </a:cubicBezTo>
                  <a:cubicBezTo>
                    <a:pt x="612463" y="1526782"/>
                    <a:pt x="515258" y="1499819"/>
                    <a:pt x="427500" y="1456569"/>
                  </a:cubicBezTo>
                  <a:lnTo>
                    <a:pt x="427481" y="1456569"/>
                  </a:lnTo>
                  <a:cubicBezTo>
                    <a:pt x="418052" y="1451918"/>
                    <a:pt x="414495" y="1440226"/>
                    <a:pt x="419765" y="1431112"/>
                  </a:cubicBezTo>
                  <a:close/>
                  <a:moveTo>
                    <a:pt x="409753" y="1009571"/>
                  </a:moveTo>
                  <a:cubicBezTo>
                    <a:pt x="440580" y="1054045"/>
                    <a:pt x="479424" y="1092456"/>
                    <a:pt x="524291" y="1122789"/>
                  </a:cubicBezTo>
                  <a:lnTo>
                    <a:pt x="364754" y="1399179"/>
                  </a:lnTo>
                  <a:cubicBezTo>
                    <a:pt x="359484" y="1408311"/>
                    <a:pt x="347571" y="1411060"/>
                    <a:pt x="338820" y="1405185"/>
                  </a:cubicBezTo>
                  <a:cubicBezTo>
                    <a:pt x="255730" y="1349376"/>
                    <a:pt x="184100" y="1277751"/>
                    <a:pt x="128318" y="1194584"/>
                  </a:cubicBezTo>
                  <a:cubicBezTo>
                    <a:pt x="122446" y="1185828"/>
                    <a:pt x="125194" y="1173910"/>
                    <a:pt x="134321" y="1168637"/>
                  </a:cubicBezTo>
                  <a:close/>
                  <a:moveTo>
                    <a:pt x="18202" y="798631"/>
                  </a:moveTo>
                  <a:lnTo>
                    <a:pt x="333739" y="798631"/>
                  </a:lnTo>
                  <a:cubicBezTo>
                    <a:pt x="338462" y="854289"/>
                    <a:pt x="353650" y="906991"/>
                    <a:pt x="377363" y="954723"/>
                  </a:cubicBezTo>
                  <a:lnTo>
                    <a:pt x="102441" y="1113544"/>
                  </a:lnTo>
                  <a:cubicBezTo>
                    <a:pt x="93331" y="1118816"/>
                    <a:pt x="81644" y="1115258"/>
                    <a:pt x="76996" y="1105824"/>
                  </a:cubicBezTo>
                  <a:cubicBezTo>
                    <a:pt x="33766" y="1018063"/>
                    <a:pt x="6816" y="920849"/>
                    <a:pt x="41" y="818081"/>
                  </a:cubicBezTo>
                  <a:cubicBezTo>
                    <a:pt x="-656" y="807556"/>
                    <a:pt x="7682" y="798631"/>
                    <a:pt x="18202" y="798631"/>
                  </a:cubicBezTo>
                  <a:close/>
                  <a:moveTo>
                    <a:pt x="733022" y="440947"/>
                  </a:moveTo>
                  <a:lnTo>
                    <a:pt x="733022" y="627192"/>
                  </a:lnTo>
                  <a:lnTo>
                    <a:pt x="694597" y="638681"/>
                  </a:lnTo>
                  <a:cubicBezTo>
                    <a:pt x="652977" y="659505"/>
                    <a:pt x="623092" y="700871"/>
                    <a:pt x="618391" y="748942"/>
                  </a:cubicBezTo>
                  <a:cubicBezTo>
                    <a:pt x="612336" y="810922"/>
                    <a:pt x="647367" y="865710"/>
                    <a:pt x="699416" y="889231"/>
                  </a:cubicBezTo>
                  <a:lnTo>
                    <a:pt x="733022" y="896448"/>
                  </a:lnTo>
                  <a:lnTo>
                    <a:pt x="733022" y="1083871"/>
                  </a:lnTo>
                  <a:lnTo>
                    <a:pt x="691051" y="1079617"/>
                  </a:lnTo>
                  <a:cubicBezTo>
                    <a:pt x="543639" y="1049300"/>
                    <a:pt x="432521" y="918253"/>
                    <a:pt x="433014" y="761820"/>
                  </a:cubicBezTo>
                  <a:cubicBezTo>
                    <a:pt x="433475" y="612208"/>
                    <a:pt x="537754" y="484162"/>
                    <a:pt x="678170" y="449027"/>
                  </a:cubicBezTo>
                  <a:close/>
                  <a:moveTo>
                    <a:pt x="88045" y="418365"/>
                  </a:moveTo>
                  <a:cubicBezTo>
                    <a:pt x="92687" y="416955"/>
                    <a:pt x="97886" y="417384"/>
                    <a:pt x="102441" y="420020"/>
                  </a:cubicBezTo>
                  <a:lnTo>
                    <a:pt x="372960" y="576281"/>
                  </a:lnTo>
                  <a:cubicBezTo>
                    <a:pt x="350187" y="624934"/>
                    <a:pt x="336185" y="678503"/>
                    <a:pt x="332873" y="734971"/>
                  </a:cubicBezTo>
                  <a:lnTo>
                    <a:pt x="18202" y="734971"/>
                  </a:lnTo>
                  <a:cubicBezTo>
                    <a:pt x="7682" y="734971"/>
                    <a:pt x="-656" y="726045"/>
                    <a:pt x="41" y="715520"/>
                  </a:cubicBezTo>
                  <a:cubicBezTo>
                    <a:pt x="6816" y="612752"/>
                    <a:pt x="33766" y="515501"/>
                    <a:pt x="76996" y="427739"/>
                  </a:cubicBezTo>
                  <a:cubicBezTo>
                    <a:pt x="79320" y="423023"/>
                    <a:pt x="83404" y="419775"/>
                    <a:pt x="88045" y="418365"/>
                  </a:cubicBezTo>
                  <a:close/>
                  <a:moveTo>
                    <a:pt x="353092" y="125773"/>
                  </a:moveTo>
                  <a:cubicBezTo>
                    <a:pt x="357823" y="126868"/>
                    <a:pt x="362119" y="129838"/>
                    <a:pt x="364754" y="134404"/>
                  </a:cubicBezTo>
                  <a:lnTo>
                    <a:pt x="519455" y="402471"/>
                  </a:lnTo>
                  <a:cubicBezTo>
                    <a:pt x="473873" y="434122"/>
                    <a:pt x="434652" y="474359"/>
                    <a:pt x="404069" y="520735"/>
                  </a:cubicBezTo>
                  <a:lnTo>
                    <a:pt x="134359" y="364945"/>
                  </a:lnTo>
                  <a:cubicBezTo>
                    <a:pt x="125231" y="359673"/>
                    <a:pt x="122484" y="347754"/>
                    <a:pt x="128356" y="338999"/>
                  </a:cubicBezTo>
                  <a:cubicBezTo>
                    <a:pt x="184138" y="255869"/>
                    <a:pt x="255730" y="184244"/>
                    <a:pt x="338820" y="128398"/>
                  </a:cubicBezTo>
                  <a:cubicBezTo>
                    <a:pt x="343196" y="125460"/>
                    <a:pt x="348362" y="124679"/>
                    <a:pt x="353092" y="125773"/>
                  </a:cubicBezTo>
                  <a:close/>
                  <a:moveTo>
                    <a:pt x="715183" y="41"/>
                  </a:moveTo>
                  <a:lnTo>
                    <a:pt x="715202" y="41"/>
                  </a:lnTo>
                  <a:cubicBezTo>
                    <a:pt x="720453" y="-308"/>
                    <a:pt x="725313" y="1599"/>
                    <a:pt x="728860" y="4910"/>
                  </a:cubicBezTo>
                  <a:lnTo>
                    <a:pt x="733022" y="14482"/>
                  </a:lnTo>
                  <a:lnTo>
                    <a:pt x="733022" y="325990"/>
                  </a:lnTo>
                  <a:lnTo>
                    <a:pt x="651303" y="340329"/>
                  </a:lnTo>
                  <a:cubicBezTo>
                    <a:pt x="624470" y="347792"/>
                    <a:pt x="598678" y="357762"/>
                    <a:pt x="574202" y="369991"/>
                  </a:cubicBezTo>
                  <a:lnTo>
                    <a:pt x="419821" y="102489"/>
                  </a:lnTo>
                  <a:cubicBezTo>
                    <a:pt x="414552" y="93357"/>
                    <a:pt x="418090" y="81683"/>
                    <a:pt x="427538" y="77032"/>
                  </a:cubicBezTo>
                  <a:cubicBezTo>
                    <a:pt x="515258" y="33801"/>
                    <a:pt x="612463" y="6819"/>
                    <a:pt x="715183" y="41"/>
                  </a:cubicBezTo>
                  <a:close/>
                </a:path>
              </a:pathLst>
            </a:custGeom>
            <a:gradFill>
              <a:gsLst>
                <a:gs pos="6000">
                  <a:srgbClr val="FF9248">
                    <a:alpha val="34000"/>
                  </a:srgbClr>
                </a:gs>
                <a:gs pos="77000">
                  <a:schemeClr val="accent4">
                    <a:alpha val="29000"/>
                  </a:schemeClr>
                </a:gs>
              </a:gsLst>
              <a:lin ang="3343960" scaled="1"/>
            </a:gradFill>
            <a:ln w="5992" cap="flat">
              <a:noFill/>
              <a:prstDash val="solid"/>
              <a:miter/>
            </a:ln>
          </p:spPr>
          <p:txBody>
            <a:bodyPr wrap="square" rtlCol="0" anchor="ctr">
              <a:noAutofit/>
            </a:bodyPr>
            <a:lstStyle/>
            <a:p>
              <a:endParaRPr lang="en-US"/>
            </a:p>
          </p:txBody>
        </p:sp>
        <p:sp>
          <p:nvSpPr>
            <p:cNvPr id="7" name="Donut 6">
              <a:extLst>
                <a:ext uri="{FF2B5EF4-FFF2-40B4-BE49-F238E27FC236}">
                  <a16:creationId xmlns:a16="http://schemas.microsoft.com/office/drawing/2014/main" id="{82DDE61C-CB47-6C95-1D02-DBDCB18ADC26}"/>
                </a:ext>
              </a:extLst>
            </p:cNvPr>
            <p:cNvSpPr/>
            <p:nvPr/>
          </p:nvSpPr>
          <p:spPr bwMode="auto">
            <a:xfrm>
              <a:off x="11207931" y="1255577"/>
              <a:ext cx="385156" cy="385156"/>
            </a:xfrm>
            <a:prstGeom prst="donut">
              <a:avLst/>
            </a:prstGeom>
            <a:gradFill>
              <a:gsLst>
                <a:gs pos="6000">
                  <a:srgbClr val="FF9248">
                    <a:alpha val="34000"/>
                  </a:srgbClr>
                </a:gs>
                <a:gs pos="77000">
                  <a:schemeClr val="accent4">
                    <a:alpha val="29000"/>
                  </a:schemeClr>
                </a:gs>
              </a:gsLst>
              <a:lin ang="3343960" scaled="1"/>
            </a:gradFill>
            <a:ln w="5992" cap="flat">
              <a:noFill/>
              <a:prstDash val="solid"/>
              <a:miter/>
            </a:ln>
          </p:spPr>
          <p:txBody>
            <a:bodyPr wrap="square" rtlCol="0" anchor="ctr">
              <a:noAutofit/>
            </a:bodyPr>
            <a:lstStyle/>
            <a:p>
              <a:endParaRPr lang="en-US" err="1">
                <a:solidFill>
                  <a:schemeClr val="tx1"/>
                </a:solidFill>
              </a:endParaRPr>
            </a:p>
          </p:txBody>
        </p:sp>
      </p:gr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739221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1F95D7-18AA-6C0C-123A-01A5CEECD75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352D59F-B281-6847-9B16-F8448C27BB5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744ACA3-F69B-27A8-1240-D4A99689C280}"/>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F134F59B-66B8-389C-E89E-90D2AE83163B}"/>
              </a:ext>
            </a:extLst>
          </p:cNvPr>
          <p:cNvSpPr>
            <a:spLocks noGrp="1"/>
          </p:cNvSpPr>
          <p:nvPr>
            <p:ph type="ftr" sz="quarter" idx="11"/>
          </p:nvPr>
        </p:nvSpPr>
        <p:spPr/>
        <p:txBody>
          <a:bodyPr/>
          <a:lstStyle/>
          <a:p>
            <a:r>
              <a:rPr lang="en-US"/>
              <a:t>https://microsoft.sharepoint.com/:p:/t/DataAI-FY21Planning-StrategicWWExecution/EU8qMudeZpBPoO6rhsiXjTABq_DDmjaySodbu88iXGOE9w?e=LuTuJ0&amp;nav=eyJzSWQiOjM4MiwiY0lkIjo0MTEzNTEwNDU0fQ</a:t>
            </a:r>
          </a:p>
        </p:txBody>
      </p:sp>
      <p:sp>
        <p:nvSpPr>
          <p:cNvPr id="6" name="Slide Number Placeholder 5">
            <a:extLst>
              <a:ext uri="{FF2B5EF4-FFF2-40B4-BE49-F238E27FC236}">
                <a16:creationId xmlns:a16="http://schemas.microsoft.com/office/drawing/2014/main" id="{7AE0798F-3E55-40F7-D5E8-F32F37EE2445}"/>
              </a:ext>
            </a:extLst>
          </p:cNvPr>
          <p:cNvSpPr>
            <a:spLocks noGrp="1"/>
          </p:cNvSpPr>
          <p:nvPr>
            <p:ph type="sldNum" sz="quarter" idx="12"/>
          </p:nvPr>
        </p:nvSpPr>
        <p:spPr/>
        <p:txBody>
          <a:bodyPr/>
          <a:lstStyle/>
          <a:p>
            <a:fld id="{2994DCA7-74EC-4193-8C80-40CD16F26DA6}" type="slidenum">
              <a:rPr lang="en-US" smtClean="0"/>
              <a:t>‹#›</a:t>
            </a:fld>
            <a:endParaRPr lang="en-US"/>
          </a:p>
        </p:txBody>
      </p:sp>
    </p:spTree>
    <p:extLst>
      <p:ext uri="{BB962C8B-B14F-4D97-AF65-F5344CB8AC3E}">
        <p14:creationId xmlns:p14="http://schemas.microsoft.com/office/powerpoint/2010/main" val="263186803"/>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userDrawn="1">
  <p:cSld name="Main content slid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DBE0530-77F8-DFC1-FA43-B7ACC8D71C3A}"/>
              </a:ext>
            </a:extLst>
          </p:cNvPr>
          <p:cNvSpPr/>
          <p:nvPr userDrawn="1"/>
        </p:nvSpPr>
        <p:spPr bwMode="auto">
          <a:xfrm>
            <a:off x="290557" y="457200"/>
            <a:ext cx="2384277" cy="55399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1">
            <a:extLst>
              <a:ext uri="{FF2B5EF4-FFF2-40B4-BE49-F238E27FC236}">
                <a16:creationId xmlns:a16="http://schemas.microsoft.com/office/drawing/2014/main" id="{B7ABC5DC-B64F-F68D-AB18-E33FFBC20529}"/>
              </a:ext>
            </a:extLst>
          </p:cNvPr>
          <p:cNvSpPr>
            <a:spLocks noGrp="1"/>
          </p:cNvSpPr>
          <p:nvPr>
            <p:ph type="sldNum" sz="quarter" idx="14"/>
          </p:nvPr>
        </p:nvSpPr>
        <p:spPr>
          <a:xfrm>
            <a:off x="9236959" y="6446349"/>
            <a:ext cx="2743200" cy="365125"/>
          </a:xfrm>
        </p:spPr>
        <p:txBody>
          <a:bodyPr/>
          <a:lstStyle/>
          <a:p>
            <a:fld id="{02D39FD8-CDFF-4E4B-B99D-83963EEF3135}" type="slidenum">
              <a:rPr lang="en-US" smtClean="0"/>
              <a:t>‹#›</a:t>
            </a:fld>
            <a:endParaRPr lang="en-US"/>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424198526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cSld name="Title &amp;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de-DE"/>
              <a:t>Mastertitelformat bearbeiten</a:t>
            </a:r>
            <a:endParaRPr lang="en-US"/>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Tree>
    <p:extLst>
      <p:ext uri="{BB962C8B-B14F-4D97-AF65-F5344CB8AC3E}">
        <p14:creationId xmlns:p14="http://schemas.microsoft.com/office/powerpoint/2010/main" val="284122041"/>
      </p:ext>
    </p:extLst>
  </p:cSld>
  <p:clrMapOvr>
    <a:masterClrMapping/>
  </p:clrMapOvr>
  <p:transition>
    <p:fade/>
  </p:transition>
  <p:extLst>
    <p:ext uri="{DCECCB84-F9BA-43D5-87BE-67443E8EF086}">
      <p15:sldGuideLst xmlns:p15="http://schemas.microsoft.com/office/powerpoint/2012/main"/>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userDrawn="1">
  <p:cSld name="Title Only Alternate">
    <p:bg>
      <p:bgPr>
        <a:solidFill>
          <a:schemeClr val="accent6"/>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4D1597F-66BD-349D-AFC0-67F7D18DED3E}"/>
              </a:ext>
            </a:extLst>
          </p:cNvPr>
          <p:cNvSpPr>
            <a:spLocks noGrp="1"/>
          </p:cNvSpPr>
          <p:nvPr>
            <p:ph type="title"/>
          </p:nvPr>
        </p:nvSpPr>
        <p:spPr>
          <a:xfrm>
            <a:off x="588263" y="487817"/>
            <a:ext cx="11018520" cy="553998"/>
          </a:xfrm>
        </p:spPr>
        <p:txBody>
          <a:bodyPr>
            <a:spAutoFit/>
          </a:bodyPr>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153692866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1_Three Column Bullet with Subtitles">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CA335B40-4663-EFBB-D7FF-A2005EB585A9}"/>
              </a:ext>
            </a:extLst>
          </p:cNvPr>
          <p:cNvGrpSpPr/>
          <p:nvPr userDrawn="1"/>
        </p:nvGrpSpPr>
        <p:grpSpPr>
          <a:xfrm>
            <a:off x="11207931" y="114223"/>
            <a:ext cx="984069" cy="1526510"/>
            <a:chOff x="11207931" y="114223"/>
            <a:chExt cx="984069" cy="1526510"/>
          </a:xfrm>
        </p:grpSpPr>
        <p:sp>
          <p:nvSpPr>
            <p:cNvPr id="4" name="Freeform 3">
              <a:extLst>
                <a:ext uri="{FF2B5EF4-FFF2-40B4-BE49-F238E27FC236}">
                  <a16:creationId xmlns:a16="http://schemas.microsoft.com/office/drawing/2014/main" id="{0010139C-AA38-D4D9-1934-285600DA1128}"/>
                </a:ext>
              </a:extLst>
            </p:cNvPr>
            <p:cNvSpPr/>
            <p:nvPr/>
          </p:nvSpPr>
          <p:spPr bwMode="auto">
            <a:xfrm>
              <a:off x="11683516" y="209494"/>
              <a:ext cx="508484" cy="1049410"/>
            </a:xfrm>
            <a:custGeom>
              <a:avLst/>
              <a:gdLst>
                <a:gd name="connsiteX0" fmla="*/ 508484 w 508484"/>
                <a:gd name="connsiteY0" fmla="*/ 0 h 1049410"/>
                <a:gd name="connsiteX1" fmla="*/ 508484 w 508484"/>
                <a:gd name="connsiteY1" fmla="*/ 1049410 h 1049410"/>
                <a:gd name="connsiteX2" fmla="*/ 420411 w 508484"/>
                <a:gd name="connsiteY2" fmla="*/ 1040532 h 1049410"/>
                <a:gd name="connsiteX3" fmla="*/ 0 w 508484"/>
                <a:gd name="connsiteY3" fmla="*/ 524705 h 1049410"/>
                <a:gd name="connsiteX4" fmla="*/ 420411 w 508484"/>
                <a:gd name="connsiteY4" fmla="*/ 8878 h 1049410"/>
                <a:gd name="connsiteX5" fmla="*/ 508484 w 508484"/>
                <a:gd name="connsiteY5" fmla="*/ 0 h 1049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8484" h="1049410">
                  <a:moveTo>
                    <a:pt x="508484" y="0"/>
                  </a:moveTo>
                  <a:lnTo>
                    <a:pt x="508484" y="1049410"/>
                  </a:lnTo>
                  <a:lnTo>
                    <a:pt x="420411" y="1040532"/>
                  </a:lnTo>
                  <a:cubicBezTo>
                    <a:pt x="180483" y="991436"/>
                    <a:pt x="0" y="779147"/>
                    <a:pt x="0" y="524705"/>
                  </a:cubicBezTo>
                  <a:cubicBezTo>
                    <a:pt x="0" y="270263"/>
                    <a:pt x="180483" y="57975"/>
                    <a:pt x="420411" y="8878"/>
                  </a:cubicBezTo>
                  <a:lnTo>
                    <a:pt x="508484" y="0"/>
                  </a:lnTo>
                  <a:close/>
                </a:path>
              </a:pathLst>
            </a:custGeom>
            <a:solidFill>
              <a:schemeClr val="accent5">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 name="Freeform 4">
              <a:extLst>
                <a:ext uri="{FF2B5EF4-FFF2-40B4-BE49-F238E27FC236}">
                  <a16:creationId xmlns:a16="http://schemas.microsoft.com/office/drawing/2014/main" id="{4BA0644E-0050-4E34-83F3-D7859C917449}"/>
                </a:ext>
              </a:extLst>
            </p:cNvPr>
            <p:cNvSpPr/>
            <p:nvPr/>
          </p:nvSpPr>
          <p:spPr>
            <a:xfrm>
              <a:off x="11593087" y="114223"/>
              <a:ext cx="598913" cy="1253024"/>
            </a:xfrm>
            <a:custGeom>
              <a:avLst/>
              <a:gdLst>
                <a:gd name="connsiteX0" fmla="*/ 579415 w 733022"/>
                <a:gd name="connsiteY0" fmla="*/ 1154516 h 1533601"/>
                <a:gd name="connsiteX1" fmla="*/ 654140 w 733022"/>
                <a:gd name="connsiteY1" fmla="*/ 1182331 h 1533601"/>
                <a:gd name="connsiteX2" fmla="*/ 733022 w 733022"/>
                <a:gd name="connsiteY2" fmla="*/ 1195890 h 1533601"/>
                <a:gd name="connsiteX3" fmla="*/ 733022 w 733022"/>
                <a:gd name="connsiteY3" fmla="*/ 1519078 h 1533601"/>
                <a:gd name="connsiteX4" fmla="*/ 728849 w 733022"/>
                <a:gd name="connsiteY4" fmla="*/ 1528684 h 1533601"/>
                <a:gd name="connsiteX5" fmla="*/ 715183 w 733022"/>
                <a:gd name="connsiteY5" fmla="*/ 1533561 h 1533601"/>
                <a:gd name="connsiteX6" fmla="*/ 427500 w 733022"/>
                <a:gd name="connsiteY6" fmla="*/ 1456569 h 1533601"/>
                <a:gd name="connsiteX7" fmla="*/ 427481 w 733022"/>
                <a:gd name="connsiteY7" fmla="*/ 1456569 h 1533601"/>
                <a:gd name="connsiteX8" fmla="*/ 419765 w 733022"/>
                <a:gd name="connsiteY8" fmla="*/ 1431112 h 1533601"/>
                <a:gd name="connsiteX9" fmla="*/ 409753 w 733022"/>
                <a:gd name="connsiteY9" fmla="*/ 1009571 h 1533601"/>
                <a:gd name="connsiteX10" fmla="*/ 524291 w 733022"/>
                <a:gd name="connsiteY10" fmla="*/ 1122789 h 1533601"/>
                <a:gd name="connsiteX11" fmla="*/ 364754 w 733022"/>
                <a:gd name="connsiteY11" fmla="*/ 1399179 h 1533601"/>
                <a:gd name="connsiteX12" fmla="*/ 338820 w 733022"/>
                <a:gd name="connsiteY12" fmla="*/ 1405185 h 1533601"/>
                <a:gd name="connsiteX13" fmla="*/ 128318 w 733022"/>
                <a:gd name="connsiteY13" fmla="*/ 1194584 h 1533601"/>
                <a:gd name="connsiteX14" fmla="*/ 134321 w 733022"/>
                <a:gd name="connsiteY14" fmla="*/ 1168637 h 1533601"/>
                <a:gd name="connsiteX15" fmla="*/ 18202 w 733022"/>
                <a:gd name="connsiteY15" fmla="*/ 798631 h 1533601"/>
                <a:gd name="connsiteX16" fmla="*/ 333739 w 733022"/>
                <a:gd name="connsiteY16" fmla="*/ 798631 h 1533601"/>
                <a:gd name="connsiteX17" fmla="*/ 377363 w 733022"/>
                <a:gd name="connsiteY17" fmla="*/ 954723 h 1533601"/>
                <a:gd name="connsiteX18" fmla="*/ 102441 w 733022"/>
                <a:gd name="connsiteY18" fmla="*/ 1113544 h 1533601"/>
                <a:gd name="connsiteX19" fmla="*/ 76996 w 733022"/>
                <a:gd name="connsiteY19" fmla="*/ 1105824 h 1533601"/>
                <a:gd name="connsiteX20" fmla="*/ 41 w 733022"/>
                <a:gd name="connsiteY20" fmla="*/ 818081 h 1533601"/>
                <a:gd name="connsiteX21" fmla="*/ 18202 w 733022"/>
                <a:gd name="connsiteY21" fmla="*/ 798631 h 1533601"/>
                <a:gd name="connsiteX22" fmla="*/ 733022 w 733022"/>
                <a:gd name="connsiteY22" fmla="*/ 440947 h 1533601"/>
                <a:gd name="connsiteX23" fmla="*/ 733022 w 733022"/>
                <a:gd name="connsiteY23" fmla="*/ 627192 h 1533601"/>
                <a:gd name="connsiteX24" fmla="*/ 694597 w 733022"/>
                <a:gd name="connsiteY24" fmla="*/ 638681 h 1533601"/>
                <a:gd name="connsiteX25" fmla="*/ 618391 w 733022"/>
                <a:gd name="connsiteY25" fmla="*/ 748942 h 1533601"/>
                <a:gd name="connsiteX26" fmla="*/ 699416 w 733022"/>
                <a:gd name="connsiteY26" fmla="*/ 889231 h 1533601"/>
                <a:gd name="connsiteX27" fmla="*/ 733022 w 733022"/>
                <a:gd name="connsiteY27" fmla="*/ 896448 h 1533601"/>
                <a:gd name="connsiteX28" fmla="*/ 733022 w 733022"/>
                <a:gd name="connsiteY28" fmla="*/ 1083871 h 1533601"/>
                <a:gd name="connsiteX29" fmla="*/ 691051 w 733022"/>
                <a:gd name="connsiteY29" fmla="*/ 1079617 h 1533601"/>
                <a:gd name="connsiteX30" fmla="*/ 433014 w 733022"/>
                <a:gd name="connsiteY30" fmla="*/ 761820 h 1533601"/>
                <a:gd name="connsiteX31" fmla="*/ 678170 w 733022"/>
                <a:gd name="connsiteY31" fmla="*/ 449027 h 1533601"/>
                <a:gd name="connsiteX32" fmla="*/ 88045 w 733022"/>
                <a:gd name="connsiteY32" fmla="*/ 418365 h 1533601"/>
                <a:gd name="connsiteX33" fmla="*/ 102441 w 733022"/>
                <a:gd name="connsiteY33" fmla="*/ 420020 h 1533601"/>
                <a:gd name="connsiteX34" fmla="*/ 372960 w 733022"/>
                <a:gd name="connsiteY34" fmla="*/ 576281 h 1533601"/>
                <a:gd name="connsiteX35" fmla="*/ 332873 w 733022"/>
                <a:gd name="connsiteY35" fmla="*/ 734971 h 1533601"/>
                <a:gd name="connsiteX36" fmla="*/ 18202 w 733022"/>
                <a:gd name="connsiteY36" fmla="*/ 734971 h 1533601"/>
                <a:gd name="connsiteX37" fmla="*/ 41 w 733022"/>
                <a:gd name="connsiteY37" fmla="*/ 715520 h 1533601"/>
                <a:gd name="connsiteX38" fmla="*/ 76996 w 733022"/>
                <a:gd name="connsiteY38" fmla="*/ 427739 h 1533601"/>
                <a:gd name="connsiteX39" fmla="*/ 88045 w 733022"/>
                <a:gd name="connsiteY39" fmla="*/ 418365 h 1533601"/>
                <a:gd name="connsiteX40" fmla="*/ 353092 w 733022"/>
                <a:gd name="connsiteY40" fmla="*/ 125773 h 1533601"/>
                <a:gd name="connsiteX41" fmla="*/ 364754 w 733022"/>
                <a:gd name="connsiteY41" fmla="*/ 134404 h 1533601"/>
                <a:gd name="connsiteX42" fmla="*/ 519455 w 733022"/>
                <a:gd name="connsiteY42" fmla="*/ 402471 h 1533601"/>
                <a:gd name="connsiteX43" fmla="*/ 404069 w 733022"/>
                <a:gd name="connsiteY43" fmla="*/ 520735 h 1533601"/>
                <a:gd name="connsiteX44" fmla="*/ 134359 w 733022"/>
                <a:gd name="connsiteY44" fmla="*/ 364945 h 1533601"/>
                <a:gd name="connsiteX45" fmla="*/ 128356 w 733022"/>
                <a:gd name="connsiteY45" fmla="*/ 338999 h 1533601"/>
                <a:gd name="connsiteX46" fmla="*/ 338820 w 733022"/>
                <a:gd name="connsiteY46" fmla="*/ 128398 h 1533601"/>
                <a:gd name="connsiteX47" fmla="*/ 353092 w 733022"/>
                <a:gd name="connsiteY47" fmla="*/ 125773 h 1533601"/>
                <a:gd name="connsiteX48" fmla="*/ 715183 w 733022"/>
                <a:gd name="connsiteY48" fmla="*/ 41 h 1533601"/>
                <a:gd name="connsiteX49" fmla="*/ 715202 w 733022"/>
                <a:gd name="connsiteY49" fmla="*/ 41 h 1533601"/>
                <a:gd name="connsiteX50" fmla="*/ 728860 w 733022"/>
                <a:gd name="connsiteY50" fmla="*/ 4910 h 1533601"/>
                <a:gd name="connsiteX51" fmla="*/ 733022 w 733022"/>
                <a:gd name="connsiteY51" fmla="*/ 14482 h 1533601"/>
                <a:gd name="connsiteX52" fmla="*/ 733022 w 733022"/>
                <a:gd name="connsiteY52" fmla="*/ 325990 h 1533601"/>
                <a:gd name="connsiteX53" fmla="*/ 651303 w 733022"/>
                <a:gd name="connsiteY53" fmla="*/ 340329 h 1533601"/>
                <a:gd name="connsiteX54" fmla="*/ 574202 w 733022"/>
                <a:gd name="connsiteY54" fmla="*/ 369991 h 1533601"/>
                <a:gd name="connsiteX55" fmla="*/ 419821 w 733022"/>
                <a:gd name="connsiteY55" fmla="*/ 102489 h 1533601"/>
                <a:gd name="connsiteX56" fmla="*/ 427538 w 733022"/>
                <a:gd name="connsiteY56" fmla="*/ 77032 h 1533601"/>
                <a:gd name="connsiteX57" fmla="*/ 715183 w 733022"/>
                <a:gd name="connsiteY57" fmla="*/ 41 h 1533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733022" h="1533601">
                  <a:moveTo>
                    <a:pt x="579415" y="1154516"/>
                  </a:moveTo>
                  <a:cubicBezTo>
                    <a:pt x="603213" y="1165954"/>
                    <a:pt x="628197" y="1175308"/>
                    <a:pt x="654140" y="1182331"/>
                  </a:cubicBezTo>
                  <a:lnTo>
                    <a:pt x="733022" y="1195890"/>
                  </a:lnTo>
                  <a:lnTo>
                    <a:pt x="733022" y="1519078"/>
                  </a:lnTo>
                  <a:lnTo>
                    <a:pt x="728849" y="1528684"/>
                  </a:lnTo>
                  <a:cubicBezTo>
                    <a:pt x="725303" y="1531998"/>
                    <a:pt x="720443" y="1533909"/>
                    <a:pt x="715183" y="1533561"/>
                  </a:cubicBezTo>
                  <a:cubicBezTo>
                    <a:pt x="612463" y="1526782"/>
                    <a:pt x="515258" y="1499819"/>
                    <a:pt x="427500" y="1456569"/>
                  </a:cubicBezTo>
                  <a:lnTo>
                    <a:pt x="427481" y="1456569"/>
                  </a:lnTo>
                  <a:cubicBezTo>
                    <a:pt x="418052" y="1451918"/>
                    <a:pt x="414495" y="1440226"/>
                    <a:pt x="419765" y="1431112"/>
                  </a:cubicBezTo>
                  <a:close/>
                  <a:moveTo>
                    <a:pt x="409753" y="1009571"/>
                  </a:moveTo>
                  <a:cubicBezTo>
                    <a:pt x="440580" y="1054045"/>
                    <a:pt x="479424" y="1092456"/>
                    <a:pt x="524291" y="1122789"/>
                  </a:cubicBezTo>
                  <a:lnTo>
                    <a:pt x="364754" y="1399179"/>
                  </a:lnTo>
                  <a:cubicBezTo>
                    <a:pt x="359484" y="1408311"/>
                    <a:pt x="347571" y="1411060"/>
                    <a:pt x="338820" y="1405185"/>
                  </a:cubicBezTo>
                  <a:cubicBezTo>
                    <a:pt x="255730" y="1349376"/>
                    <a:pt x="184100" y="1277751"/>
                    <a:pt x="128318" y="1194584"/>
                  </a:cubicBezTo>
                  <a:cubicBezTo>
                    <a:pt x="122446" y="1185828"/>
                    <a:pt x="125194" y="1173910"/>
                    <a:pt x="134321" y="1168637"/>
                  </a:cubicBezTo>
                  <a:close/>
                  <a:moveTo>
                    <a:pt x="18202" y="798631"/>
                  </a:moveTo>
                  <a:lnTo>
                    <a:pt x="333739" y="798631"/>
                  </a:lnTo>
                  <a:cubicBezTo>
                    <a:pt x="338462" y="854289"/>
                    <a:pt x="353650" y="906991"/>
                    <a:pt x="377363" y="954723"/>
                  </a:cubicBezTo>
                  <a:lnTo>
                    <a:pt x="102441" y="1113544"/>
                  </a:lnTo>
                  <a:cubicBezTo>
                    <a:pt x="93331" y="1118816"/>
                    <a:pt x="81644" y="1115258"/>
                    <a:pt x="76996" y="1105824"/>
                  </a:cubicBezTo>
                  <a:cubicBezTo>
                    <a:pt x="33766" y="1018063"/>
                    <a:pt x="6816" y="920849"/>
                    <a:pt x="41" y="818081"/>
                  </a:cubicBezTo>
                  <a:cubicBezTo>
                    <a:pt x="-656" y="807556"/>
                    <a:pt x="7682" y="798631"/>
                    <a:pt x="18202" y="798631"/>
                  </a:cubicBezTo>
                  <a:close/>
                  <a:moveTo>
                    <a:pt x="733022" y="440947"/>
                  </a:moveTo>
                  <a:lnTo>
                    <a:pt x="733022" y="627192"/>
                  </a:lnTo>
                  <a:lnTo>
                    <a:pt x="694597" y="638681"/>
                  </a:lnTo>
                  <a:cubicBezTo>
                    <a:pt x="652977" y="659505"/>
                    <a:pt x="623092" y="700871"/>
                    <a:pt x="618391" y="748942"/>
                  </a:cubicBezTo>
                  <a:cubicBezTo>
                    <a:pt x="612336" y="810922"/>
                    <a:pt x="647367" y="865710"/>
                    <a:pt x="699416" y="889231"/>
                  </a:cubicBezTo>
                  <a:lnTo>
                    <a:pt x="733022" y="896448"/>
                  </a:lnTo>
                  <a:lnTo>
                    <a:pt x="733022" y="1083871"/>
                  </a:lnTo>
                  <a:lnTo>
                    <a:pt x="691051" y="1079617"/>
                  </a:lnTo>
                  <a:cubicBezTo>
                    <a:pt x="543639" y="1049300"/>
                    <a:pt x="432521" y="918253"/>
                    <a:pt x="433014" y="761820"/>
                  </a:cubicBezTo>
                  <a:cubicBezTo>
                    <a:pt x="433475" y="612208"/>
                    <a:pt x="537754" y="484162"/>
                    <a:pt x="678170" y="449027"/>
                  </a:cubicBezTo>
                  <a:close/>
                  <a:moveTo>
                    <a:pt x="88045" y="418365"/>
                  </a:moveTo>
                  <a:cubicBezTo>
                    <a:pt x="92687" y="416955"/>
                    <a:pt x="97886" y="417384"/>
                    <a:pt x="102441" y="420020"/>
                  </a:cubicBezTo>
                  <a:lnTo>
                    <a:pt x="372960" y="576281"/>
                  </a:lnTo>
                  <a:cubicBezTo>
                    <a:pt x="350187" y="624934"/>
                    <a:pt x="336185" y="678503"/>
                    <a:pt x="332873" y="734971"/>
                  </a:cubicBezTo>
                  <a:lnTo>
                    <a:pt x="18202" y="734971"/>
                  </a:lnTo>
                  <a:cubicBezTo>
                    <a:pt x="7682" y="734971"/>
                    <a:pt x="-656" y="726045"/>
                    <a:pt x="41" y="715520"/>
                  </a:cubicBezTo>
                  <a:cubicBezTo>
                    <a:pt x="6816" y="612752"/>
                    <a:pt x="33766" y="515501"/>
                    <a:pt x="76996" y="427739"/>
                  </a:cubicBezTo>
                  <a:cubicBezTo>
                    <a:pt x="79320" y="423023"/>
                    <a:pt x="83404" y="419775"/>
                    <a:pt x="88045" y="418365"/>
                  </a:cubicBezTo>
                  <a:close/>
                  <a:moveTo>
                    <a:pt x="353092" y="125773"/>
                  </a:moveTo>
                  <a:cubicBezTo>
                    <a:pt x="357823" y="126868"/>
                    <a:pt x="362119" y="129838"/>
                    <a:pt x="364754" y="134404"/>
                  </a:cubicBezTo>
                  <a:lnTo>
                    <a:pt x="519455" y="402471"/>
                  </a:lnTo>
                  <a:cubicBezTo>
                    <a:pt x="473873" y="434122"/>
                    <a:pt x="434652" y="474359"/>
                    <a:pt x="404069" y="520735"/>
                  </a:cubicBezTo>
                  <a:lnTo>
                    <a:pt x="134359" y="364945"/>
                  </a:lnTo>
                  <a:cubicBezTo>
                    <a:pt x="125231" y="359673"/>
                    <a:pt x="122484" y="347754"/>
                    <a:pt x="128356" y="338999"/>
                  </a:cubicBezTo>
                  <a:cubicBezTo>
                    <a:pt x="184138" y="255869"/>
                    <a:pt x="255730" y="184244"/>
                    <a:pt x="338820" y="128398"/>
                  </a:cubicBezTo>
                  <a:cubicBezTo>
                    <a:pt x="343196" y="125460"/>
                    <a:pt x="348362" y="124679"/>
                    <a:pt x="353092" y="125773"/>
                  </a:cubicBezTo>
                  <a:close/>
                  <a:moveTo>
                    <a:pt x="715183" y="41"/>
                  </a:moveTo>
                  <a:lnTo>
                    <a:pt x="715202" y="41"/>
                  </a:lnTo>
                  <a:cubicBezTo>
                    <a:pt x="720453" y="-308"/>
                    <a:pt x="725313" y="1599"/>
                    <a:pt x="728860" y="4910"/>
                  </a:cubicBezTo>
                  <a:lnTo>
                    <a:pt x="733022" y="14482"/>
                  </a:lnTo>
                  <a:lnTo>
                    <a:pt x="733022" y="325990"/>
                  </a:lnTo>
                  <a:lnTo>
                    <a:pt x="651303" y="340329"/>
                  </a:lnTo>
                  <a:cubicBezTo>
                    <a:pt x="624470" y="347792"/>
                    <a:pt x="598678" y="357762"/>
                    <a:pt x="574202" y="369991"/>
                  </a:cubicBezTo>
                  <a:lnTo>
                    <a:pt x="419821" y="102489"/>
                  </a:lnTo>
                  <a:cubicBezTo>
                    <a:pt x="414552" y="93357"/>
                    <a:pt x="418090" y="81683"/>
                    <a:pt x="427538" y="77032"/>
                  </a:cubicBezTo>
                  <a:cubicBezTo>
                    <a:pt x="515258" y="33801"/>
                    <a:pt x="612463" y="6819"/>
                    <a:pt x="715183" y="41"/>
                  </a:cubicBezTo>
                  <a:close/>
                </a:path>
              </a:pathLst>
            </a:custGeom>
            <a:gradFill>
              <a:gsLst>
                <a:gs pos="6000">
                  <a:srgbClr val="FF9248">
                    <a:alpha val="34000"/>
                  </a:srgbClr>
                </a:gs>
                <a:gs pos="77000">
                  <a:schemeClr val="accent4">
                    <a:alpha val="29000"/>
                  </a:schemeClr>
                </a:gs>
              </a:gsLst>
              <a:lin ang="3343960" scaled="1"/>
            </a:gradFill>
            <a:ln w="5992" cap="flat">
              <a:noFill/>
              <a:prstDash val="solid"/>
              <a:miter/>
            </a:ln>
          </p:spPr>
          <p:txBody>
            <a:bodyPr wrap="square" rtlCol="0" anchor="ctr">
              <a:noAutofit/>
            </a:bodyPr>
            <a:lstStyle/>
            <a:p>
              <a:endParaRPr lang="en-US"/>
            </a:p>
          </p:txBody>
        </p:sp>
        <p:sp>
          <p:nvSpPr>
            <p:cNvPr id="6" name="Donut 5">
              <a:extLst>
                <a:ext uri="{FF2B5EF4-FFF2-40B4-BE49-F238E27FC236}">
                  <a16:creationId xmlns:a16="http://schemas.microsoft.com/office/drawing/2014/main" id="{F9B25F74-D488-3925-A81C-2079010E937A}"/>
                </a:ext>
              </a:extLst>
            </p:cNvPr>
            <p:cNvSpPr/>
            <p:nvPr/>
          </p:nvSpPr>
          <p:spPr bwMode="auto">
            <a:xfrm>
              <a:off x="11207931" y="1255577"/>
              <a:ext cx="385156" cy="385156"/>
            </a:xfrm>
            <a:prstGeom prst="donut">
              <a:avLst/>
            </a:prstGeom>
            <a:gradFill>
              <a:gsLst>
                <a:gs pos="6000">
                  <a:srgbClr val="FF9248">
                    <a:alpha val="34000"/>
                  </a:srgbClr>
                </a:gs>
                <a:gs pos="77000">
                  <a:schemeClr val="accent4">
                    <a:alpha val="29000"/>
                  </a:schemeClr>
                </a:gs>
              </a:gsLst>
              <a:lin ang="3343960" scaled="1"/>
            </a:gradFill>
            <a:ln w="5992" cap="flat">
              <a:noFill/>
              <a:prstDash val="solid"/>
              <a:miter/>
            </a:ln>
          </p:spPr>
          <p:txBody>
            <a:bodyPr wrap="square" rtlCol="0" anchor="ctr">
              <a:noAutofit/>
            </a:bodyPr>
            <a:lstStyle/>
            <a:p>
              <a:endParaRPr lang="en-US" err="1">
                <a:solidFill>
                  <a:schemeClr val="tx1"/>
                </a:solidFill>
              </a:endParaRPr>
            </a:p>
          </p:txBody>
        </p:sp>
      </p:grpSp>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0382309"/>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1_Four Column Bullet with Subtitles">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B4DEA25-6407-9964-DC65-D693175C0E35}"/>
              </a:ext>
            </a:extLst>
          </p:cNvPr>
          <p:cNvGrpSpPr/>
          <p:nvPr userDrawn="1"/>
        </p:nvGrpSpPr>
        <p:grpSpPr>
          <a:xfrm>
            <a:off x="11207931" y="114223"/>
            <a:ext cx="984069" cy="1526510"/>
            <a:chOff x="11207931" y="114223"/>
            <a:chExt cx="984069" cy="1526510"/>
          </a:xfrm>
        </p:grpSpPr>
        <p:sp>
          <p:nvSpPr>
            <p:cNvPr id="4" name="Freeform 3">
              <a:extLst>
                <a:ext uri="{FF2B5EF4-FFF2-40B4-BE49-F238E27FC236}">
                  <a16:creationId xmlns:a16="http://schemas.microsoft.com/office/drawing/2014/main" id="{44574031-667D-5762-F008-0C6E5B741A66}"/>
                </a:ext>
              </a:extLst>
            </p:cNvPr>
            <p:cNvSpPr/>
            <p:nvPr/>
          </p:nvSpPr>
          <p:spPr bwMode="auto">
            <a:xfrm>
              <a:off x="11683516" y="209494"/>
              <a:ext cx="508484" cy="1049410"/>
            </a:xfrm>
            <a:custGeom>
              <a:avLst/>
              <a:gdLst>
                <a:gd name="connsiteX0" fmla="*/ 508484 w 508484"/>
                <a:gd name="connsiteY0" fmla="*/ 0 h 1049410"/>
                <a:gd name="connsiteX1" fmla="*/ 508484 w 508484"/>
                <a:gd name="connsiteY1" fmla="*/ 1049410 h 1049410"/>
                <a:gd name="connsiteX2" fmla="*/ 420411 w 508484"/>
                <a:gd name="connsiteY2" fmla="*/ 1040532 h 1049410"/>
                <a:gd name="connsiteX3" fmla="*/ 0 w 508484"/>
                <a:gd name="connsiteY3" fmla="*/ 524705 h 1049410"/>
                <a:gd name="connsiteX4" fmla="*/ 420411 w 508484"/>
                <a:gd name="connsiteY4" fmla="*/ 8878 h 1049410"/>
                <a:gd name="connsiteX5" fmla="*/ 508484 w 508484"/>
                <a:gd name="connsiteY5" fmla="*/ 0 h 1049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8484" h="1049410">
                  <a:moveTo>
                    <a:pt x="508484" y="0"/>
                  </a:moveTo>
                  <a:lnTo>
                    <a:pt x="508484" y="1049410"/>
                  </a:lnTo>
                  <a:lnTo>
                    <a:pt x="420411" y="1040532"/>
                  </a:lnTo>
                  <a:cubicBezTo>
                    <a:pt x="180483" y="991436"/>
                    <a:pt x="0" y="779147"/>
                    <a:pt x="0" y="524705"/>
                  </a:cubicBezTo>
                  <a:cubicBezTo>
                    <a:pt x="0" y="270263"/>
                    <a:pt x="180483" y="57975"/>
                    <a:pt x="420411" y="8878"/>
                  </a:cubicBezTo>
                  <a:lnTo>
                    <a:pt x="508484" y="0"/>
                  </a:lnTo>
                  <a:close/>
                </a:path>
              </a:pathLst>
            </a:custGeom>
            <a:solidFill>
              <a:schemeClr val="accent5">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 name="Freeform 4">
              <a:extLst>
                <a:ext uri="{FF2B5EF4-FFF2-40B4-BE49-F238E27FC236}">
                  <a16:creationId xmlns:a16="http://schemas.microsoft.com/office/drawing/2014/main" id="{E1489DB5-E2B1-9CFA-4EA9-B71DA0E91D36}"/>
                </a:ext>
              </a:extLst>
            </p:cNvPr>
            <p:cNvSpPr/>
            <p:nvPr/>
          </p:nvSpPr>
          <p:spPr>
            <a:xfrm>
              <a:off x="11593087" y="114223"/>
              <a:ext cx="598913" cy="1253024"/>
            </a:xfrm>
            <a:custGeom>
              <a:avLst/>
              <a:gdLst>
                <a:gd name="connsiteX0" fmla="*/ 579415 w 733022"/>
                <a:gd name="connsiteY0" fmla="*/ 1154516 h 1533601"/>
                <a:gd name="connsiteX1" fmla="*/ 654140 w 733022"/>
                <a:gd name="connsiteY1" fmla="*/ 1182331 h 1533601"/>
                <a:gd name="connsiteX2" fmla="*/ 733022 w 733022"/>
                <a:gd name="connsiteY2" fmla="*/ 1195890 h 1533601"/>
                <a:gd name="connsiteX3" fmla="*/ 733022 w 733022"/>
                <a:gd name="connsiteY3" fmla="*/ 1519078 h 1533601"/>
                <a:gd name="connsiteX4" fmla="*/ 728849 w 733022"/>
                <a:gd name="connsiteY4" fmla="*/ 1528684 h 1533601"/>
                <a:gd name="connsiteX5" fmla="*/ 715183 w 733022"/>
                <a:gd name="connsiteY5" fmla="*/ 1533561 h 1533601"/>
                <a:gd name="connsiteX6" fmla="*/ 427500 w 733022"/>
                <a:gd name="connsiteY6" fmla="*/ 1456569 h 1533601"/>
                <a:gd name="connsiteX7" fmla="*/ 427481 w 733022"/>
                <a:gd name="connsiteY7" fmla="*/ 1456569 h 1533601"/>
                <a:gd name="connsiteX8" fmla="*/ 419765 w 733022"/>
                <a:gd name="connsiteY8" fmla="*/ 1431112 h 1533601"/>
                <a:gd name="connsiteX9" fmla="*/ 409753 w 733022"/>
                <a:gd name="connsiteY9" fmla="*/ 1009571 h 1533601"/>
                <a:gd name="connsiteX10" fmla="*/ 524291 w 733022"/>
                <a:gd name="connsiteY10" fmla="*/ 1122789 h 1533601"/>
                <a:gd name="connsiteX11" fmla="*/ 364754 w 733022"/>
                <a:gd name="connsiteY11" fmla="*/ 1399179 h 1533601"/>
                <a:gd name="connsiteX12" fmla="*/ 338820 w 733022"/>
                <a:gd name="connsiteY12" fmla="*/ 1405185 h 1533601"/>
                <a:gd name="connsiteX13" fmla="*/ 128318 w 733022"/>
                <a:gd name="connsiteY13" fmla="*/ 1194584 h 1533601"/>
                <a:gd name="connsiteX14" fmla="*/ 134321 w 733022"/>
                <a:gd name="connsiteY14" fmla="*/ 1168637 h 1533601"/>
                <a:gd name="connsiteX15" fmla="*/ 18202 w 733022"/>
                <a:gd name="connsiteY15" fmla="*/ 798631 h 1533601"/>
                <a:gd name="connsiteX16" fmla="*/ 333739 w 733022"/>
                <a:gd name="connsiteY16" fmla="*/ 798631 h 1533601"/>
                <a:gd name="connsiteX17" fmla="*/ 377363 w 733022"/>
                <a:gd name="connsiteY17" fmla="*/ 954723 h 1533601"/>
                <a:gd name="connsiteX18" fmla="*/ 102441 w 733022"/>
                <a:gd name="connsiteY18" fmla="*/ 1113544 h 1533601"/>
                <a:gd name="connsiteX19" fmla="*/ 76996 w 733022"/>
                <a:gd name="connsiteY19" fmla="*/ 1105824 h 1533601"/>
                <a:gd name="connsiteX20" fmla="*/ 41 w 733022"/>
                <a:gd name="connsiteY20" fmla="*/ 818081 h 1533601"/>
                <a:gd name="connsiteX21" fmla="*/ 18202 w 733022"/>
                <a:gd name="connsiteY21" fmla="*/ 798631 h 1533601"/>
                <a:gd name="connsiteX22" fmla="*/ 733022 w 733022"/>
                <a:gd name="connsiteY22" fmla="*/ 440947 h 1533601"/>
                <a:gd name="connsiteX23" fmla="*/ 733022 w 733022"/>
                <a:gd name="connsiteY23" fmla="*/ 627192 h 1533601"/>
                <a:gd name="connsiteX24" fmla="*/ 694597 w 733022"/>
                <a:gd name="connsiteY24" fmla="*/ 638681 h 1533601"/>
                <a:gd name="connsiteX25" fmla="*/ 618391 w 733022"/>
                <a:gd name="connsiteY25" fmla="*/ 748942 h 1533601"/>
                <a:gd name="connsiteX26" fmla="*/ 699416 w 733022"/>
                <a:gd name="connsiteY26" fmla="*/ 889231 h 1533601"/>
                <a:gd name="connsiteX27" fmla="*/ 733022 w 733022"/>
                <a:gd name="connsiteY27" fmla="*/ 896448 h 1533601"/>
                <a:gd name="connsiteX28" fmla="*/ 733022 w 733022"/>
                <a:gd name="connsiteY28" fmla="*/ 1083871 h 1533601"/>
                <a:gd name="connsiteX29" fmla="*/ 691051 w 733022"/>
                <a:gd name="connsiteY29" fmla="*/ 1079617 h 1533601"/>
                <a:gd name="connsiteX30" fmla="*/ 433014 w 733022"/>
                <a:gd name="connsiteY30" fmla="*/ 761820 h 1533601"/>
                <a:gd name="connsiteX31" fmla="*/ 678170 w 733022"/>
                <a:gd name="connsiteY31" fmla="*/ 449027 h 1533601"/>
                <a:gd name="connsiteX32" fmla="*/ 88045 w 733022"/>
                <a:gd name="connsiteY32" fmla="*/ 418365 h 1533601"/>
                <a:gd name="connsiteX33" fmla="*/ 102441 w 733022"/>
                <a:gd name="connsiteY33" fmla="*/ 420020 h 1533601"/>
                <a:gd name="connsiteX34" fmla="*/ 372960 w 733022"/>
                <a:gd name="connsiteY34" fmla="*/ 576281 h 1533601"/>
                <a:gd name="connsiteX35" fmla="*/ 332873 w 733022"/>
                <a:gd name="connsiteY35" fmla="*/ 734971 h 1533601"/>
                <a:gd name="connsiteX36" fmla="*/ 18202 w 733022"/>
                <a:gd name="connsiteY36" fmla="*/ 734971 h 1533601"/>
                <a:gd name="connsiteX37" fmla="*/ 41 w 733022"/>
                <a:gd name="connsiteY37" fmla="*/ 715520 h 1533601"/>
                <a:gd name="connsiteX38" fmla="*/ 76996 w 733022"/>
                <a:gd name="connsiteY38" fmla="*/ 427739 h 1533601"/>
                <a:gd name="connsiteX39" fmla="*/ 88045 w 733022"/>
                <a:gd name="connsiteY39" fmla="*/ 418365 h 1533601"/>
                <a:gd name="connsiteX40" fmla="*/ 353092 w 733022"/>
                <a:gd name="connsiteY40" fmla="*/ 125773 h 1533601"/>
                <a:gd name="connsiteX41" fmla="*/ 364754 w 733022"/>
                <a:gd name="connsiteY41" fmla="*/ 134404 h 1533601"/>
                <a:gd name="connsiteX42" fmla="*/ 519455 w 733022"/>
                <a:gd name="connsiteY42" fmla="*/ 402471 h 1533601"/>
                <a:gd name="connsiteX43" fmla="*/ 404069 w 733022"/>
                <a:gd name="connsiteY43" fmla="*/ 520735 h 1533601"/>
                <a:gd name="connsiteX44" fmla="*/ 134359 w 733022"/>
                <a:gd name="connsiteY44" fmla="*/ 364945 h 1533601"/>
                <a:gd name="connsiteX45" fmla="*/ 128356 w 733022"/>
                <a:gd name="connsiteY45" fmla="*/ 338999 h 1533601"/>
                <a:gd name="connsiteX46" fmla="*/ 338820 w 733022"/>
                <a:gd name="connsiteY46" fmla="*/ 128398 h 1533601"/>
                <a:gd name="connsiteX47" fmla="*/ 353092 w 733022"/>
                <a:gd name="connsiteY47" fmla="*/ 125773 h 1533601"/>
                <a:gd name="connsiteX48" fmla="*/ 715183 w 733022"/>
                <a:gd name="connsiteY48" fmla="*/ 41 h 1533601"/>
                <a:gd name="connsiteX49" fmla="*/ 715202 w 733022"/>
                <a:gd name="connsiteY49" fmla="*/ 41 h 1533601"/>
                <a:gd name="connsiteX50" fmla="*/ 728860 w 733022"/>
                <a:gd name="connsiteY50" fmla="*/ 4910 h 1533601"/>
                <a:gd name="connsiteX51" fmla="*/ 733022 w 733022"/>
                <a:gd name="connsiteY51" fmla="*/ 14482 h 1533601"/>
                <a:gd name="connsiteX52" fmla="*/ 733022 w 733022"/>
                <a:gd name="connsiteY52" fmla="*/ 325990 h 1533601"/>
                <a:gd name="connsiteX53" fmla="*/ 651303 w 733022"/>
                <a:gd name="connsiteY53" fmla="*/ 340329 h 1533601"/>
                <a:gd name="connsiteX54" fmla="*/ 574202 w 733022"/>
                <a:gd name="connsiteY54" fmla="*/ 369991 h 1533601"/>
                <a:gd name="connsiteX55" fmla="*/ 419821 w 733022"/>
                <a:gd name="connsiteY55" fmla="*/ 102489 h 1533601"/>
                <a:gd name="connsiteX56" fmla="*/ 427538 w 733022"/>
                <a:gd name="connsiteY56" fmla="*/ 77032 h 1533601"/>
                <a:gd name="connsiteX57" fmla="*/ 715183 w 733022"/>
                <a:gd name="connsiteY57" fmla="*/ 41 h 1533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733022" h="1533601">
                  <a:moveTo>
                    <a:pt x="579415" y="1154516"/>
                  </a:moveTo>
                  <a:cubicBezTo>
                    <a:pt x="603213" y="1165954"/>
                    <a:pt x="628197" y="1175308"/>
                    <a:pt x="654140" y="1182331"/>
                  </a:cubicBezTo>
                  <a:lnTo>
                    <a:pt x="733022" y="1195890"/>
                  </a:lnTo>
                  <a:lnTo>
                    <a:pt x="733022" y="1519078"/>
                  </a:lnTo>
                  <a:lnTo>
                    <a:pt x="728849" y="1528684"/>
                  </a:lnTo>
                  <a:cubicBezTo>
                    <a:pt x="725303" y="1531998"/>
                    <a:pt x="720443" y="1533909"/>
                    <a:pt x="715183" y="1533561"/>
                  </a:cubicBezTo>
                  <a:cubicBezTo>
                    <a:pt x="612463" y="1526782"/>
                    <a:pt x="515258" y="1499819"/>
                    <a:pt x="427500" y="1456569"/>
                  </a:cubicBezTo>
                  <a:lnTo>
                    <a:pt x="427481" y="1456569"/>
                  </a:lnTo>
                  <a:cubicBezTo>
                    <a:pt x="418052" y="1451918"/>
                    <a:pt x="414495" y="1440226"/>
                    <a:pt x="419765" y="1431112"/>
                  </a:cubicBezTo>
                  <a:close/>
                  <a:moveTo>
                    <a:pt x="409753" y="1009571"/>
                  </a:moveTo>
                  <a:cubicBezTo>
                    <a:pt x="440580" y="1054045"/>
                    <a:pt x="479424" y="1092456"/>
                    <a:pt x="524291" y="1122789"/>
                  </a:cubicBezTo>
                  <a:lnTo>
                    <a:pt x="364754" y="1399179"/>
                  </a:lnTo>
                  <a:cubicBezTo>
                    <a:pt x="359484" y="1408311"/>
                    <a:pt x="347571" y="1411060"/>
                    <a:pt x="338820" y="1405185"/>
                  </a:cubicBezTo>
                  <a:cubicBezTo>
                    <a:pt x="255730" y="1349376"/>
                    <a:pt x="184100" y="1277751"/>
                    <a:pt x="128318" y="1194584"/>
                  </a:cubicBezTo>
                  <a:cubicBezTo>
                    <a:pt x="122446" y="1185828"/>
                    <a:pt x="125194" y="1173910"/>
                    <a:pt x="134321" y="1168637"/>
                  </a:cubicBezTo>
                  <a:close/>
                  <a:moveTo>
                    <a:pt x="18202" y="798631"/>
                  </a:moveTo>
                  <a:lnTo>
                    <a:pt x="333739" y="798631"/>
                  </a:lnTo>
                  <a:cubicBezTo>
                    <a:pt x="338462" y="854289"/>
                    <a:pt x="353650" y="906991"/>
                    <a:pt x="377363" y="954723"/>
                  </a:cubicBezTo>
                  <a:lnTo>
                    <a:pt x="102441" y="1113544"/>
                  </a:lnTo>
                  <a:cubicBezTo>
                    <a:pt x="93331" y="1118816"/>
                    <a:pt x="81644" y="1115258"/>
                    <a:pt x="76996" y="1105824"/>
                  </a:cubicBezTo>
                  <a:cubicBezTo>
                    <a:pt x="33766" y="1018063"/>
                    <a:pt x="6816" y="920849"/>
                    <a:pt x="41" y="818081"/>
                  </a:cubicBezTo>
                  <a:cubicBezTo>
                    <a:pt x="-656" y="807556"/>
                    <a:pt x="7682" y="798631"/>
                    <a:pt x="18202" y="798631"/>
                  </a:cubicBezTo>
                  <a:close/>
                  <a:moveTo>
                    <a:pt x="733022" y="440947"/>
                  </a:moveTo>
                  <a:lnTo>
                    <a:pt x="733022" y="627192"/>
                  </a:lnTo>
                  <a:lnTo>
                    <a:pt x="694597" y="638681"/>
                  </a:lnTo>
                  <a:cubicBezTo>
                    <a:pt x="652977" y="659505"/>
                    <a:pt x="623092" y="700871"/>
                    <a:pt x="618391" y="748942"/>
                  </a:cubicBezTo>
                  <a:cubicBezTo>
                    <a:pt x="612336" y="810922"/>
                    <a:pt x="647367" y="865710"/>
                    <a:pt x="699416" y="889231"/>
                  </a:cubicBezTo>
                  <a:lnTo>
                    <a:pt x="733022" y="896448"/>
                  </a:lnTo>
                  <a:lnTo>
                    <a:pt x="733022" y="1083871"/>
                  </a:lnTo>
                  <a:lnTo>
                    <a:pt x="691051" y="1079617"/>
                  </a:lnTo>
                  <a:cubicBezTo>
                    <a:pt x="543639" y="1049300"/>
                    <a:pt x="432521" y="918253"/>
                    <a:pt x="433014" y="761820"/>
                  </a:cubicBezTo>
                  <a:cubicBezTo>
                    <a:pt x="433475" y="612208"/>
                    <a:pt x="537754" y="484162"/>
                    <a:pt x="678170" y="449027"/>
                  </a:cubicBezTo>
                  <a:close/>
                  <a:moveTo>
                    <a:pt x="88045" y="418365"/>
                  </a:moveTo>
                  <a:cubicBezTo>
                    <a:pt x="92687" y="416955"/>
                    <a:pt x="97886" y="417384"/>
                    <a:pt x="102441" y="420020"/>
                  </a:cubicBezTo>
                  <a:lnTo>
                    <a:pt x="372960" y="576281"/>
                  </a:lnTo>
                  <a:cubicBezTo>
                    <a:pt x="350187" y="624934"/>
                    <a:pt x="336185" y="678503"/>
                    <a:pt x="332873" y="734971"/>
                  </a:cubicBezTo>
                  <a:lnTo>
                    <a:pt x="18202" y="734971"/>
                  </a:lnTo>
                  <a:cubicBezTo>
                    <a:pt x="7682" y="734971"/>
                    <a:pt x="-656" y="726045"/>
                    <a:pt x="41" y="715520"/>
                  </a:cubicBezTo>
                  <a:cubicBezTo>
                    <a:pt x="6816" y="612752"/>
                    <a:pt x="33766" y="515501"/>
                    <a:pt x="76996" y="427739"/>
                  </a:cubicBezTo>
                  <a:cubicBezTo>
                    <a:pt x="79320" y="423023"/>
                    <a:pt x="83404" y="419775"/>
                    <a:pt x="88045" y="418365"/>
                  </a:cubicBezTo>
                  <a:close/>
                  <a:moveTo>
                    <a:pt x="353092" y="125773"/>
                  </a:moveTo>
                  <a:cubicBezTo>
                    <a:pt x="357823" y="126868"/>
                    <a:pt x="362119" y="129838"/>
                    <a:pt x="364754" y="134404"/>
                  </a:cubicBezTo>
                  <a:lnTo>
                    <a:pt x="519455" y="402471"/>
                  </a:lnTo>
                  <a:cubicBezTo>
                    <a:pt x="473873" y="434122"/>
                    <a:pt x="434652" y="474359"/>
                    <a:pt x="404069" y="520735"/>
                  </a:cubicBezTo>
                  <a:lnTo>
                    <a:pt x="134359" y="364945"/>
                  </a:lnTo>
                  <a:cubicBezTo>
                    <a:pt x="125231" y="359673"/>
                    <a:pt x="122484" y="347754"/>
                    <a:pt x="128356" y="338999"/>
                  </a:cubicBezTo>
                  <a:cubicBezTo>
                    <a:pt x="184138" y="255869"/>
                    <a:pt x="255730" y="184244"/>
                    <a:pt x="338820" y="128398"/>
                  </a:cubicBezTo>
                  <a:cubicBezTo>
                    <a:pt x="343196" y="125460"/>
                    <a:pt x="348362" y="124679"/>
                    <a:pt x="353092" y="125773"/>
                  </a:cubicBezTo>
                  <a:close/>
                  <a:moveTo>
                    <a:pt x="715183" y="41"/>
                  </a:moveTo>
                  <a:lnTo>
                    <a:pt x="715202" y="41"/>
                  </a:lnTo>
                  <a:cubicBezTo>
                    <a:pt x="720453" y="-308"/>
                    <a:pt x="725313" y="1599"/>
                    <a:pt x="728860" y="4910"/>
                  </a:cubicBezTo>
                  <a:lnTo>
                    <a:pt x="733022" y="14482"/>
                  </a:lnTo>
                  <a:lnTo>
                    <a:pt x="733022" y="325990"/>
                  </a:lnTo>
                  <a:lnTo>
                    <a:pt x="651303" y="340329"/>
                  </a:lnTo>
                  <a:cubicBezTo>
                    <a:pt x="624470" y="347792"/>
                    <a:pt x="598678" y="357762"/>
                    <a:pt x="574202" y="369991"/>
                  </a:cubicBezTo>
                  <a:lnTo>
                    <a:pt x="419821" y="102489"/>
                  </a:lnTo>
                  <a:cubicBezTo>
                    <a:pt x="414552" y="93357"/>
                    <a:pt x="418090" y="81683"/>
                    <a:pt x="427538" y="77032"/>
                  </a:cubicBezTo>
                  <a:cubicBezTo>
                    <a:pt x="515258" y="33801"/>
                    <a:pt x="612463" y="6819"/>
                    <a:pt x="715183" y="41"/>
                  </a:cubicBezTo>
                  <a:close/>
                </a:path>
              </a:pathLst>
            </a:custGeom>
            <a:gradFill>
              <a:gsLst>
                <a:gs pos="6000">
                  <a:srgbClr val="FF9248">
                    <a:alpha val="34000"/>
                  </a:srgbClr>
                </a:gs>
                <a:gs pos="77000">
                  <a:schemeClr val="accent4">
                    <a:alpha val="29000"/>
                  </a:schemeClr>
                </a:gs>
              </a:gsLst>
              <a:lin ang="3343960" scaled="1"/>
            </a:gradFill>
            <a:ln w="5992" cap="flat">
              <a:noFill/>
              <a:prstDash val="solid"/>
              <a:miter/>
            </a:ln>
          </p:spPr>
          <p:txBody>
            <a:bodyPr wrap="square" rtlCol="0" anchor="ctr">
              <a:noAutofit/>
            </a:bodyPr>
            <a:lstStyle/>
            <a:p>
              <a:endParaRPr lang="en-US"/>
            </a:p>
          </p:txBody>
        </p:sp>
        <p:sp>
          <p:nvSpPr>
            <p:cNvPr id="6" name="Donut 5">
              <a:extLst>
                <a:ext uri="{FF2B5EF4-FFF2-40B4-BE49-F238E27FC236}">
                  <a16:creationId xmlns:a16="http://schemas.microsoft.com/office/drawing/2014/main" id="{643323DE-DDE7-789E-DEEC-38356D3C09F7}"/>
                </a:ext>
              </a:extLst>
            </p:cNvPr>
            <p:cNvSpPr/>
            <p:nvPr/>
          </p:nvSpPr>
          <p:spPr bwMode="auto">
            <a:xfrm>
              <a:off x="11207931" y="1255577"/>
              <a:ext cx="385156" cy="385156"/>
            </a:xfrm>
            <a:prstGeom prst="donut">
              <a:avLst/>
            </a:prstGeom>
            <a:gradFill>
              <a:gsLst>
                <a:gs pos="6000">
                  <a:srgbClr val="FF9248">
                    <a:alpha val="34000"/>
                  </a:srgbClr>
                </a:gs>
                <a:gs pos="77000">
                  <a:schemeClr val="accent4">
                    <a:alpha val="29000"/>
                  </a:schemeClr>
                </a:gs>
              </a:gsLst>
              <a:lin ang="3343960" scaled="1"/>
            </a:gradFill>
            <a:ln w="5992" cap="flat">
              <a:noFill/>
              <a:prstDash val="solid"/>
              <a:miter/>
            </a:ln>
          </p:spPr>
          <p:txBody>
            <a:bodyPr wrap="square" rtlCol="0" anchor="ctr">
              <a:noAutofit/>
            </a:bodyPr>
            <a:lstStyle/>
            <a:p>
              <a:endParaRPr lang="en-US" err="1">
                <a:solidFill>
                  <a:schemeClr val="tx1"/>
                </a:solidFill>
              </a:endParaRPr>
            </a:p>
          </p:txBody>
        </p:sp>
      </p:gr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2667254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1_Five Column Bullet with Subtitles">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D046CCE3-D099-8A95-8359-4B3E9742D416}"/>
              </a:ext>
            </a:extLst>
          </p:cNvPr>
          <p:cNvGrpSpPr/>
          <p:nvPr userDrawn="1"/>
        </p:nvGrpSpPr>
        <p:grpSpPr>
          <a:xfrm>
            <a:off x="11207931" y="114223"/>
            <a:ext cx="984069" cy="1526510"/>
            <a:chOff x="11207931" y="114223"/>
            <a:chExt cx="984069" cy="1526510"/>
          </a:xfrm>
        </p:grpSpPr>
        <p:sp>
          <p:nvSpPr>
            <p:cNvPr id="4" name="Freeform 3">
              <a:extLst>
                <a:ext uri="{FF2B5EF4-FFF2-40B4-BE49-F238E27FC236}">
                  <a16:creationId xmlns:a16="http://schemas.microsoft.com/office/drawing/2014/main" id="{D76EAFF2-E5EA-8848-55B4-95531AE508A7}"/>
                </a:ext>
              </a:extLst>
            </p:cNvPr>
            <p:cNvSpPr/>
            <p:nvPr/>
          </p:nvSpPr>
          <p:spPr bwMode="auto">
            <a:xfrm>
              <a:off x="11683516" y="209494"/>
              <a:ext cx="508484" cy="1049410"/>
            </a:xfrm>
            <a:custGeom>
              <a:avLst/>
              <a:gdLst>
                <a:gd name="connsiteX0" fmla="*/ 508484 w 508484"/>
                <a:gd name="connsiteY0" fmla="*/ 0 h 1049410"/>
                <a:gd name="connsiteX1" fmla="*/ 508484 w 508484"/>
                <a:gd name="connsiteY1" fmla="*/ 1049410 h 1049410"/>
                <a:gd name="connsiteX2" fmla="*/ 420411 w 508484"/>
                <a:gd name="connsiteY2" fmla="*/ 1040532 h 1049410"/>
                <a:gd name="connsiteX3" fmla="*/ 0 w 508484"/>
                <a:gd name="connsiteY3" fmla="*/ 524705 h 1049410"/>
                <a:gd name="connsiteX4" fmla="*/ 420411 w 508484"/>
                <a:gd name="connsiteY4" fmla="*/ 8878 h 1049410"/>
                <a:gd name="connsiteX5" fmla="*/ 508484 w 508484"/>
                <a:gd name="connsiteY5" fmla="*/ 0 h 1049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8484" h="1049410">
                  <a:moveTo>
                    <a:pt x="508484" y="0"/>
                  </a:moveTo>
                  <a:lnTo>
                    <a:pt x="508484" y="1049410"/>
                  </a:lnTo>
                  <a:lnTo>
                    <a:pt x="420411" y="1040532"/>
                  </a:lnTo>
                  <a:cubicBezTo>
                    <a:pt x="180483" y="991436"/>
                    <a:pt x="0" y="779147"/>
                    <a:pt x="0" y="524705"/>
                  </a:cubicBezTo>
                  <a:cubicBezTo>
                    <a:pt x="0" y="270263"/>
                    <a:pt x="180483" y="57975"/>
                    <a:pt x="420411" y="8878"/>
                  </a:cubicBezTo>
                  <a:lnTo>
                    <a:pt x="508484" y="0"/>
                  </a:lnTo>
                  <a:close/>
                </a:path>
              </a:pathLst>
            </a:custGeom>
            <a:solidFill>
              <a:schemeClr val="accent5">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 name="Freeform 4">
              <a:extLst>
                <a:ext uri="{FF2B5EF4-FFF2-40B4-BE49-F238E27FC236}">
                  <a16:creationId xmlns:a16="http://schemas.microsoft.com/office/drawing/2014/main" id="{C44B97DE-1742-2D09-7E22-D46393FB2C4B}"/>
                </a:ext>
              </a:extLst>
            </p:cNvPr>
            <p:cNvSpPr/>
            <p:nvPr/>
          </p:nvSpPr>
          <p:spPr>
            <a:xfrm>
              <a:off x="11593087" y="114223"/>
              <a:ext cx="598913" cy="1253024"/>
            </a:xfrm>
            <a:custGeom>
              <a:avLst/>
              <a:gdLst>
                <a:gd name="connsiteX0" fmla="*/ 579415 w 733022"/>
                <a:gd name="connsiteY0" fmla="*/ 1154516 h 1533601"/>
                <a:gd name="connsiteX1" fmla="*/ 654140 w 733022"/>
                <a:gd name="connsiteY1" fmla="*/ 1182331 h 1533601"/>
                <a:gd name="connsiteX2" fmla="*/ 733022 w 733022"/>
                <a:gd name="connsiteY2" fmla="*/ 1195890 h 1533601"/>
                <a:gd name="connsiteX3" fmla="*/ 733022 w 733022"/>
                <a:gd name="connsiteY3" fmla="*/ 1519078 h 1533601"/>
                <a:gd name="connsiteX4" fmla="*/ 728849 w 733022"/>
                <a:gd name="connsiteY4" fmla="*/ 1528684 h 1533601"/>
                <a:gd name="connsiteX5" fmla="*/ 715183 w 733022"/>
                <a:gd name="connsiteY5" fmla="*/ 1533561 h 1533601"/>
                <a:gd name="connsiteX6" fmla="*/ 427500 w 733022"/>
                <a:gd name="connsiteY6" fmla="*/ 1456569 h 1533601"/>
                <a:gd name="connsiteX7" fmla="*/ 427481 w 733022"/>
                <a:gd name="connsiteY7" fmla="*/ 1456569 h 1533601"/>
                <a:gd name="connsiteX8" fmla="*/ 419765 w 733022"/>
                <a:gd name="connsiteY8" fmla="*/ 1431112 h 1533601"/>
                <a:gd name="connsiteX9" fmla="*/ 409753 w 733022"/>
                <a:gd name="connsiteY9" fmla="*/ 1009571 h 1533601"/>
                <a:gd name="connsiteX10" fmla="*/ 524291 w 733022"/>
                <a:gd name="connsiteY10" fmla="*/ 1122789 h 1533601"/>
                <a:gd name="connsiteX11" fmla="*/ 364754 w 733022"/>
                <a:gd name="connsiteY11" fmla="*/ 1399179 h 1533601"/>
                <a:gd name="connsiteX12" fmla="*/ 338820 w 733022"/>
                <a:gd name="connsiteY12" fmla="*/ 1405185 h 1533601"/>
                <a:gd name="connsiteX13" fmla="*/ 128318 w 733022"/>
                <a:gd name="connsiteY13" fmla="*/ 1194584 h 1533601"/>
                <a:gd name="connsiteX14" fmla="*/ 134321 w 733022"/>
                <a:gd name="connsiteY14" fmla="*/ 1168637 h 1533601"/>
                <a:gd name="connsiteX15" fmla="*/ 18202 w 733022"/>
                <a:gd name="connsiteY15" fmla="*/ 798631 h 1533601"/>
                <a:gd name="connsiteX16" fmla="*/ 333739 w 733022"/>
                <a:gd name="connsiteY16" fmla="*/ 798631 h 1533601"/>
                <a:gd name="connsiteX17" fmla="*/ 377363 w 733022"/>
                <a:gd name="connsiteY17" fmla="*/ 954723 h 1533601"/>
                <a:gd name="connsiteX18" fmla="*/ 102441 w 733022"/>
                <a:gd name="connsiteY18" fmla="*/ 1113544 h 1533601"/>
                <a:gd name="connsiteX19" fmla="*/ 76996 w 733022"/>
                <a:gd name="connsiteY19" fmla="*/ 1105824 h 1533601"/>
                <a:gd name="connsiteX20" fmla="*/ 41 w 733022"/>
                <a:gd name="connsiteY20" fmla="*/ 818081 h 1533601"/>
                <a:gd name="connsiteX21" fmla="*/ 18202 w 733022"/>
                <a:gd name="connsiteY21" fmla="*/ 798631 h 1533601"/>
                <a:gd name="connsiteX22" fmla="*/ 733022 w 733022"/>
                <a:gd name="connsiteY22" fmla="*/ 440947 h 1533601"/>
                <a:gd name="connsiteX23" fmla="*/ 733022 w 733022"/>
                <a:gd name="connsiteY23" fmla="*/ 627192 h 1533601"/>
                <a:gd name="connsiteX24" fmla="*/ 694597 w 733022"/>
                <a:gd name="connsiteY24" fmla="*/ 638681 h 1533601"/>
                <a:gd name="connsiteX25" fmla="*/ 618391 w 733022"/>
                <a:gd name="connsiteY25" fmla="*/ 748942 h 1533601"/>
                <a:gd name="connsiteX26" fmla="*/ 699416 w 733022"/>
                <a:gd name="connsiteY26" fmla="*/ 889231 h 1533601"/>
                <a:gd name="connsiteX27" fmla="*/ 733022 w 733022"/>
                <a:gd name="connsiteY27" fmla="*/ 896448 h 1533601"/>
                <a:gd name="connsiteX28" fmla="*/ 733022 w 733022"/>
                <a:gd name="connsiteY28" fmla="*/ 1083871 h 1533601"/>
                <a:gd name="connsiteX29" fmla="*/ 691051 w 733022"/>
                <a:gd name="connsiteY29" fmla="*/ 1079617 h 1533601"/>
                <a:gd name="connsiteX30" fmla="*/ 433014 w 733022"/>
                <a:gd name="connsiteY30" fmla="*/ 761820 h 1533601"/>
                <a:gd name="connsiteX31" fmla="*/ 678170 w 733022"/>
                <a:gd name="connsiteY31" fmla="*/ 449027 h 1533601"/>
                <a:gd name="connsiteX32" fmla="*/ 88045 w 733022"/>
                <a:gd name="connsiteY32" fmla="*/ 418365 h 1533601"/>
                <a:gd name="connsiteX33" fmla="*/ 102441 w 733022"/>
                <a:gd name="connsiteY33" fmla="*/ 420020 h 1533601"/>
                <a:gd name="connsiteX34" fmla="*/ 372960 w 733022"/>
                <a:gd name="connsiteY34" fmla="*/ 576281 h 1533601"/>
                <a:gd name="connsiteX35" fmla="*/ 332873 w 733022"/>
                <a:gd name="connsiteY35" fmla="*/ 734971 h 1533601"/>
                <a:gd name="connsiteX36" fmla="*/ 18202 w 733022"/>
                <a:gd name="connsiteY36" fmla="*/ 734971 h 1533601"/>
                <a:gd name="connsiteX37" fmla="*/ 41 w 733022"/>
                <a:gd name="connsiteY37" fmla="*/ 715520 h 1533601"/>
                <a:gd name="connsiteX38" fmla="*/ 76996 w 733022"/>
                <a:gd name="connsiteY38" fmla="*/ 427739 h 1533601"/>
                <a:gd name="connsiteX39" fmla="*/ 88045 w 733022"/>
                <a:gd name="connsiteY39" fmla="*/ 418365 h 1533601"/>
                <a:gd name="connsiteX40" fmla="*/ 353092 w 733022"/>
                <a:gd name="connsiteY40" fmla="*/ 125773 h 1533601"/>
                <a:gd name="connsiteX41" fmla="*/ 364754 w 733022"/>
                <a:gd name="connsiteY41" fmla="*/ 134404 h 1533601"/>
                <a:gd name="connsiteX42" fmla="*/ 519455 w 733022"/>
                <a:gd name="connsiteY42" fmla="*/ 402471 h 1533601"/>
                <a:gd name="connsiteX43" fmla="*/ 404069 w 733022"/>
                <a:gd name="connsiteY43" fmla="*/ 520735 h 1533601"/>
                <a:gd name="connsiteX44" fmla="*/ 134359 w 733022"/>
                <a:gd name="connsiteY44" fmla="*/ 364945 h 1533601"/>
                <a:gd name="connsiteX45" fmla="*/ 128356 w 733022"/>
                <a:gd name="connsiteY45" fmla="*/ 338999 h 1533601"/>
                <a:gd name="connsiteX46" fmla="*/ 338820 w 733022"/>
                <a:gd name="connsiteY46" fmla="*/ 128398 h 1533601"/>
                <a:gd name="connsiteX47" fmla="*/ 353092 w 733022"/>
                <a:gd name="connsiteY47" fmla="*/ 125773 h 1533601"/>
                <a:gd name="connsiteX48" fmla="*/ 715183 w 733022"/>
                <a:gd name="connsiteY48" fmla="*/ 41 h 1533601"/>
                <a:gd name="connsiteX49" fmla="*/ 715202 w 733022"/>
                <a:gd name="connsiteY49" fmla="*/ 41 h 1533601"/>
                <a:gd name="connsiteX50" fmla="*/ 728860 w 733022"/>
                <a:gd name="connsiteY50" fmla="*/ 4910 h 1533601"/>
                <a:gd name="connsiteX51" fmla="*/ 733022 w 733022"/>
                <a:gd name="connsiteY51" fmla="*/ 14482 h 1533601"/>
                <a:gd name="connsiteX52" fmla="*/ 733022 w 733022"/>
                <a:gd name="connsiteY52" fmla="*/ 325990 h 1533601"/>
                <a:gd name="connsiteX53" fmla="*/ 651303 w 733022"/>
                <a:gd name="connsiteY53" fmla="*/ 340329 h 1533601"/>
                <a:gd name="connsiteX54" fmla="*/ 574202 w 733022"/>
                <a:gd name="connsiteY54" fmla="*/ 369991 h 1533601"/>
                <a:gd name="connsiteX55" fmla="*/ 419821 w 733022"/>
                <a:gd name="connsiteY55" fmla="*/ 102489 h 1533601"/>
                <a:gd name="connsiteX56" fmla="*/ 427538 w 733022"/>
                <a:gd name="connsiteY56" fmla="*/ 77032 h 1533601"/>
                <a:gd name="connsiteX57" fmla="*/ 715183 w 733022"/>
                <a:gd name="connsiteY57" fmla="*/ 41 h 1533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733022" h="1533601">
                  <a:moveTo>
                    <a:pt x="579415" y="1154516"/>
                  </a:moveTo>
                  <a:cubicBezTo>
                    <a:pt x="603213" y="1165954"/>
                    <a:pt x="628197" y="1175308"/>
                    <a:pt x="654140" y="1182331"/>
                  </a:cubicBezTo>
                  <a:lnTo>
                    <a:pt x="733022" y="1195890"/>
                  </a:lnTo>
                  <a:lnTo>
                    <a:pt x="733022" y="1519078"/>
                  </a:lnTo>
                  <a:lnTo>
                    <a:pt x="728849" y="1528684"/>
                  </a:lnTo>
                  <a:cubicBezTo>
                    <a:pt x="725303" y="1531998"/>
                    <a:pt x="720443" y="1533909"/>
                    <a:pt x="715183" y="1533561"/>
                  </a:cubicBezTo>
                  <a:cubicBezTo>
                    <a:pt x="612463" y="1526782"/>
                    <a:pt x="515258" y="1499819"/>
                    <a:pt x="427500" y="1456569"/>
                  </a:cubicBezTo>
                  <a:lnTo>
                    <a:pt x="427481" y="1456569"/>
                  </a:lnTo>
                  <a:cubicBezTo>
                    <a:pt x="418052" y="1451918"/>
                    <a:pt x="414495" y="1440226"/>
                    <a:pt x="419765" y="1431112"/>
                  </a:cubicBezTo>
                  <a:close/>
                  <a:moveTo>
                    <a:pt x="409753" y="1009571"/>
                  </a:moveTo>
                  <a:cubicBezTo>
                    <a:pt x="440580" y="1054045"/>
                    <a:pt x="479424" y="1092456"/>
                    <a:pt x="524291" y="1122789"/>
                  </a:cubicBezTo>
                  <a:lnTo>
                    <a:pt x="364754" y="1399179"/>
                  </a:lnTo>
                  <a:cubicBezTo>
                    <a:pt x="359484" y="1408311"/>
                    <a:pt x="347571" y="1411060"/>
                    <a:pt x="338820" y="1405185"/>
                  </a:cubicBezTo>
                  <a:cubicBezTo>
                    <a:pt x="255730" y="1349376"/>
                    <a:pt x="184100" y="1277751"/>
                    <a:pt x="128318" y="1194584"/>
                  </a:cubicBezTo>
                  <a:cubicBezTo>
                    <a:pt x="122446" y="1185828"/>
                    <a:pt x="125194" y="1173910"/>
                    <a:pt x="134321" y="1168637"/>
                  </a:cubicBezTo>
                  <a:close/>
                  <a:moveTo>
                    <a:pt x="18202" y="798631"/>
                  </a:moveTo>
                  <a:lnTo>
                    <a:pt x="333739" y="798631"/>
                  </a:lnTo>
                  <a:cubicBezTo>
                    <a:pt x="338462" y="854289"/>
                    <a:pt x="353650" y="906991"/>
                    <a:pt x="377363" y="954723"/>
                  </a:cubicBezTo>
                  <a:lnTo>
                    <a:pt x="102441" y="1113544"/>
                  </a:lnTo>
                  <a:cubicBezTo>
                    <a:pt x="93331" y="1118816"/>
                    <a:pt x="81644" y="1115258"/>
                    <a:pt x="76996" y="1105824"/>
                  </a:cubicBezTo>
                  <a:cubicBezTo>
                    <a:pt x="33766" y="1018063"/>
                    <a:pt x="6816" y="920849"/>
                    <a:pt x="41" y="818081"/>
                  </a:cubicBezTo>
                  <a:cubicBezTo>
                    <a:pt x="-656" y="807556"/>
                    <a:pt x="7682" y="798631"/>
                    <a:pt x="18202" y="798631"/>
                  </a:cubicBezTo>
                  <a:close/>
                  <a:moveTo>
                    <a:pt x="733022" y="440947"/>
                  </a:moveTo>
                  <a:lnTo>
                    <a:pt x="733022" y="627192"/>
                  </a:lnTo>
                  <a:lnTo>
                    <a:pt x="694597" y="638681"/>
                  </a:lnTo>
                  <a:cubicBezTo>
                    <a:pt x="652977" y="659505"/>
                    <a:pt x="623092" y="700871"/>
                    <a:pt x="618391" y="748942"/>
                  </a:cubicBezTo>
                  <a:cubicBezTo>
                    <a:pt x="612336" y="810922"/>
                    <a:pt x="647367" y="865710"/>
                    <a:pt x="699416" y="889231"/>
                  </a:cubicBezTo>
                  <a:lnTo>
                    <a:pt x="733022" y="896448"/>
                  </a:lnTo>
                  <a:lnTo>
                    <a:pt x="733022" y="1083871"/>
                  </a:lnTo>
                  <a:lnTo>
                    <a:pt x="691051" y="1079617"/>
                  </a:lnTo>
                  <a:cubicBezTo>
                    <a:pt x="543639" y="1049300"/>
                    <a:pt x="432521" y="918253"/>
                    <a:pt x="433014" y="761820"/>
                  </a:cubicBezTo>
                  <a:cubicBezTo>
                    <a:pt x="433475" y="612208"/>
                    <a:pt x="537754" y="484162"/>
                    <a:pt x="678170" y="449027"/>
                  </a:cubicBezTo>
                  <a:close/>
                  <a:moveTo>
                    <a:pt x="88045" y="418365"/>
                  </a:moveTo>
                  <a:cubicBezTo>
                    <a:pt x="92687" y="416955"/>
                    <a:pt x="97886" y="417384"/>
                    <a:pt x="102441" y="420020"/>
                  </a:cubicBezTo>
                  <a:lnTo>
                    <a:pt x="372960" y="576281"/>
                  </a:lnTo>
                  <a:cubicBezTo>
                    <a:pt x="350187" y="624934"/>
                    <a:pt x="336185" y="678503"/>
                    <a:pt x="332873" y="734971"/>
                  </a:cubicBezTo>
                  <a:lnTo>
                    <a:pt x="18202" y="734971"/>
                  </a:lnTo>
                  <a:cubicBezTo>
                    <a:pt x="7682" y="734971"/>
                    <a:pt x="-656" y="726045"/>
                    <a:pt x="41" y="715520"/>
                  </a:cubicBezTo>
                  <a:cubicBezTo>
                    <a:pt x="6816" y="612752"/>
                    <a:pt x="33766" y="515501"/>
                    <a:pt x="76996" y="427739"/>
                  </a:cubicBezTo>
                  <a:cubicBezTo>
                    <a:pt x="79320" y="423023"/>
                    <a:pt x="83404" y="419775"/>
                    <a:pt x="88045" y="418365"/>
                  </a:cubicBezTo>
                  <a:close/>
                  <a:moveTo>
                    <a:pt x="353092" y="125773"/>
                  </a:moveTo>
                  <a:cubicBezTo>
                    <a:pt x="357823" y="126868"/>
                    <a:pt x="362119" y="129838"/>
                    <a:pt x="364754" y="134404"/>
                  </a:cubicBezTo>
                  <a:lnTo>
                    <a:pt x="519455" y="402471"/>
                  </a:lnTo>
                  <a:cubicBezTo>
                    <a:pt x="473873" y="434122"/>
                    <a:pt x="434652" y="474359"/>
                    <a:pt x="404069" y="520735"/>
                  </a:cubicBezTo>
                  <a:lnTo>
                    <a:pt x="134359" y="364945"/>
                  </a:lnTo>
                  <a:cubicBezTo>
                    <a:pt x="125231" y="359673"/>
                    <a:pt x="122484" y="347754"/>
                    <a:pt x="128356" y="338999"/>
                  </a:cubicBezTo>
                  <a:cubicBezTo>
                    <a:pt x="184138" y="255869"/>
                    <a:pt x="255730" y="184244"/>
                    <a:pt x="338820" y="128398"/>
                  </a:cubicBezTo>
                  <a:cubicBezTo>
                    <a:pt x="343196" y="125460"/>
                    <a:pt x="348362" y="124679"/>
                    <a:pt x="353092" y="125773"/>
                  </a:cubicBezTo>
                  <a:close/>
                  <a:moveTo>
                    <a:pt x="715183" y="41"/>
                  </a:moveTo>
                  <a:lnTo>
                    <a:pt x="715202" y="41"/>
                  </a:lnTo>
                  <a:cubicBezTo>
                    <a:pt x="720453" y="-308"/>
                    <a:pt x="725313" y="1599"/>
                    <a:pt x="728860" y="4910"/>
                  </a:cubicBezTo>
                  <a:lnTo>
                    <a:pt x="733022" y="14482"/>
                  </a:lnTo>
                  <a:lnTo>
                    <a:pt x="733022" y="325990"/>
                  </a:lnTo>
                  <a:lnTo>
                    <a:pt x="651303" y="340329"/>
                  </a:lnTo>
                  <a:cubicBezTo>
                    <a:pt x="624470" y="347792"/>
                    <a:pt x="598678" y="357762"/>
                    <a:pt x="574202" y="369991"/>
                  </a:cubicBezTo>
                  <a:lnTo>
                    <a:pt x="419821" y="102489"/>
                  </a:lnTo>
                  <a:cubicBezTo>
                    <a:pt x="414552" y="93357"/>
                    <a:pt x="418090" y="81683"/>
                    <a:pt x="427538" y="77032"/>
                  </a:cubicBezTo>
                  <a:cubicBezTo>
                    <a:pt x="515258" y="33801"/>
                    <a:pt x="612463" y="6819"/>
                    <a:pt x="715183" y="41"/>
                  </a:cubicBezTo>
                  <a:close/>
                </a:path>
              </a:pathLst>
            </a:custGeom>
            <a:gradFill>
              <a:gsLst>
                <a:gs pos="6000">
                  <a:srgbClr val="FF9248">
                    <a:alpha val="34000"/>
                  </a:srgbClr>
                </a:gs>
                <a:gs pos="77000">
                  <a:schemeClr val="accent4">
                    <a:alpha val="29000"/>
                  </a:schemeClr>
                </a:gs>
              </a:gsLst>
              <a:lin ang="3343960" scaled="1"/>
            </a:gradFill>
            <a:ln w="5992" cap="flat">
              <a:noFill/>
              <a:prstDash val="solid"/>
              <a:miter/>
            </a:ln>
          </p:spPr>
          <p:txBody>
            <a:bodyPr wrap="square" rtlCol="0" anchor="ctr">
              <a:noAutofit/>
            </a:bodyPr>
            <a:lstStyle/>
            <a:p>
              <a:endParaRPr lang="en-US"/>
            </a:p>
          </p:txBody>
        </p:sp>
        <p:sp>
          <p:nvSpPr>
            <p:cNvPr id="6" name="Donut 5">
              <a:extLst>
                <a:ext uri="{FF2B5EF4-FFF2-40B4-BE49-F238E27FC236}">
                  <a16:creationId xmlns:a16="http://schemas.microsoft.com/office/drawing/2014/main" id="{A5E28ECD-6A1C-0ED3-DF34-0610281608F8}"/>
                </a:ext>
              </a:extLst>
            </p:cNvPr>
            <p:cNvSpPr/>
            <p:nvPr/>
          </p:nvSpPr>
          <p:spPr bwMode="auto">
            <a:xfrm>
              <a:off x="11207931" y="1255577"/>
              <a:ext cx="385156" cy="385156"/>
            </a:xfrm>
            <a:prstGeom prst="donut">
              <a:avLst/>
            </a:prstGeom>
            <a:gradFill>
              <a:gsLst>
                <a:gs pos="6000">
                  <a:srgbClr val="FF9248">
                    <a:alpha val="34000"/>
                  </a:srgbClr>
                </a:gs>
                <a:gs pos="77000">
                  <a:schemeClr val="accent4">
                    <a:alpha val="29000"/>
                  </a:schemeClr>
                </a:gs>
              </a:gsLst>
              <a:lin ang="3343960" scaled="1"/>
            </a:gradFill>
            <a:ln w="5992" cap="flat">
              <a:noFill/>
              <a:prstDash val="solid"/>
              <a:miter/>
            </a:ln>
          </p:spPr>
          <p:txBody>
            <a:bodyPr wrap="square" rtlCol="0" anchor="ctr">
              <a:noAutofit/>
            </a:bodyPr>
            <a:lstStyle/>
            <a:p>
              <a:endParaRPr lang="en-US" err="1">
                <a:solidFill>
                  <a:schemeClr val="tx1"/>
                </a:solidFill>
              </a:endParaRPr>
            </a:p>
          </p:txBody>
        </p:sp>
      </p:gr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330737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2DD53F1-50D2-3934-EFC6-EA051B9CF68E}"/>
              </a:ext>
            </a:extLst>
          </p:cNvPr>
          <p:cNvGrpSpPr/>
          <p:nvPr userDrawn="1"/>
        </p:nvGrpSpPr>
        <p:grpSpPr>
          <a:xfrm>
            <a:off x="11207931" y="114223"/>
            <a:ext cx="984069" cy="1526510"/>
            <a:chOff x="11207931" y="114223"/>
            <a:chExt cx="984069" cy="1526510"/>
          </a:xfrm>
        </p:grpSpPr>
        <p:sp>
          <p:nvSpPr>
            <p:cNvPr id="4" name="Freeform 3">
              <a:extLst>
                <a:ext uri="{FF2B5EF4-FFF2-40B4-BE49-F238E27FC236}">
                  <a16:creationId xmlns:a16="http://schemas.microsoft.com/office/drawing/2014/main" id="{68CC995B-96FE-7C79-4158-F78CC96419B4}"/>
                </a:ext>
              </a:extLst>
            </p:cNvPr>
            <p:cNvSpPr/>
            <p:nvPr/>
          </p:nvSpPr>
          <p:spPr bwMode="auto">
            <a:xfrm>
              <a:off x="11683516" y="209494"/>
              <a:ext cx="508484" cy="1049410"/>
            </a:xfrm>
            <a:custGeom>
              <a:avLst/>
              <a:gdLst>
                <a:gd name="connsiteX0" fmla="*/ 508484 w 508484"/>
                <a:gd name="connsiteY0" fmla="*/ 0 h 1049410"/>
                <a:gd name="connsiteX1" fmla="*/ 508484 w 508484"/>
                <a:gd name="connsiteY1" fmla="*/ 1049410 h 1049410"/>
                <a:gd name="connsiteX2" fmla="*/ 420411 w 508484"/>
                <a:gd name="connsiteY2" fmla="*/ 1040532 h 1049410"/>
                <a:gd name="connsiteX3" fmla="*/ 0 w 508484"/>
                <a:gd name="connsiteY3" fmla="*/ 524705 h 1049410"/>
                <a:gd name="connsiteX4" fmla="*/ 420411 w 508484"/>
                <a:gd name="connsiteY4" fmla="*/ 8878 h 1049410"/>
                <a:gd name="connsiteX5" fmla="*/ 508484 w 508484"/>
                <a:gd name="connsiteY5" fmla="*/ 0 h 1049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8484" h="1049410">
                  <a:moveTo>
                    <a:pt x="508484" y="0"/>
                  </a:moveTo>
                  <a:lnTo>
                    <a:pt x="508484" y="1049410"/>
                  </a:lnTo>
                  <a:lnTo>
                    <a:pt x="420411" y="1040532"/>
                  </a:lnTo>
                  <a:cubicBezTo>
                    <a:pt x="180483" y="991436"/>
                    <a:pt x="0" y="779147"/>
                    <a:pt x="0" y="524705"/>
                  </a:cubicBezTo>
                  <a:cubicBezTo>
                    <a:pt x="0" y="270263"/>
                    <a:pt x="180483" y="57975"/>
                    <a:pt x="420411" y="8878"/>
                  </a:cubicBezTo>
                  <a:lnTo>
                    <a:pt x="508484" y="0"/>
                  </a:lnTo>
                  <a:close/>
                </a:path>
              </a:pathLst>
            </a:custGeom>
            <a:solidFill>
              <a:schemeClr val="accent5">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 name="Freeform 4">
              <a:extLst>
                <a:ext uri="{FF2B5EF4-FFF2-40B4-BE49-F238E27FC236}">
                  <a16:creationId xmlns:a16="http://schemas.microsoft.com/office/drawing/2014/main" id="{FEAAE522-EB7F-E0D1-9780-C0859F8A81DA}"/>
                </a:ext>
              </a:extLst>
            </p:cNvPr>
            <p:cNvSpPr/>
            <p:nvPr/>
          </p:nvSpPr>
          <p:spPr>
            <a:xfrm>
              <a:off x="11593087" y="114223"/>
              <a:ext cx="598913" cy="1253024"/>
            </a:xfrm>
            <a:custGeom>
              <a:avLst/>
              <a:gdLst>
                <a:gd name="connsiteX0" fmla="*/ 579415 w 733022"/>
                <a:gd name="connsiteY0" fmla="*/ 1154516 h 1533601"/>
                <a:gd name="connsiteX1" fmla="*/ 654140 w 733022"/>
                <a:gd name="connsiteY1" fmla="*/ 1182331 h 1533601"/>
                <a:gd name="connsiteX2" fmla="*/ 733022 w 733022"/>
                <a:gd name="connsiteY2" fmla="*/ 1195890 h 1533601"/>
                <a:gd name="connsiteX3" fmla="*/ 733022 w 733022"/>
                <a:gd name="connsiteY3" fmla="*/ 1519078 h 1533601"/>
                <a:gd name="connsiteX4" fmla="*/ 728849 w 733022"/>
                <a:gd name="connsiteY4" fmla="*/ 1528684 h 1533601"/>
                <a:gd name="connsiteX5" fmla="*/ 715183 w 733022"/>
                <a:gd name="connsiteY5" fmla="*/ 1533561 h 1533601"/>
                <a:gd name="connsiteX6" fmla="*/ 427500 w 733022"/>
                <a:gd name="connsiteY6" fmla="*/ 1456569 h 1533601"/>
                <a:gd name="connsiteX7" fmla="*/ 427481 w 733022"/>
                <a:gd name="connsiteY7" fmla="*/ 1456569 h 1533601"/>
                <a:gd name="connsiteX8" fmla="*/ 419765 w 733022"/>
                <a:gd name="connsiteY8" fmla="*/ 1431112 h 1533601"/>
                <a:gd name="connsiteX9" fmla="*/ 409753 w 733022"/>
                <a:gd name="connsiteY9" fmla="*/ 1009571 h 1533601"/>
                <a:gd name="connsiteX10" fmla="*/ 524291 w 733022"/>
                <a:gd name="connsiteY10" fmla="*/ 1122789 h 1533601"/>
                <a:gd name="connsiteX11" fmla="*/ 364754 w 733022"/>
                <a:gd name="connsiteY11" fmla="*/ 1399179 h 1533601"/>
                <a:gd name="connsiteX12" fmla="*/ 338820 w 733022"/>
                <a:gd name="connsiteY12" fmla="*/ 1405185 h 1533601"/>
                <a:gd name="connsiteX13" fmla="*/ 128318 w 733022"/>
                <a:gd name="connsiteY13" fmla="*/ 1194584 h 1533601"/>
                <a:gd name="connsiteX14" fmla="*/ 134321 w 733022"/>
                <a:gd name="connsiteY14" fmla="*/ 1168637 h 1533601"/>
                <a:gd name="connsiteX15" fmla="*/ 18202 w 733022"/>
                <a:gd name="connsiteY15" fmla="*/ 798631 h 1533601"/>
                <a:gd name="connsiteX16" fmla="*/ 333739 w 733022"/>
                <a:gd name="connsiteY16" fmla="*/ 798631 h 1533601"/>
                <a:gd name="connsiteX17" fmla="*/ 377363 w 733022"/>
                <a:gd name="connsiteY17" fmla="*/ 954723 h 1533601"/>
                <a:gd name="connsiteX18" fmla="*/ 102441 w 733022"/>
                <a:gd name="connsiteY18" fmla="*/ 1113544 h 1533601"/>
                <a:gd name="connsiteX19" fmla="*/ 76996 w 733022"/>
                <a:gd name="connsiteY19" fmla="*/ 1105824 h 1533601"/>
                <a:gd name="connsiteX20" fmla="*/ 41 w 733022"/>
                <a:gd name="connsiteY20" fmla="*/ 818081 h 1533601"/>
                <a:gd name="connsiteX21" fmla="*/ 18202 w 733022"/>
                <a:gd name="connsiteY21" fmla="*/ 798631 h 1533601"/>
                <a:gd name="connsiteX22" fmla="*/ 733022 w 733022"/>
                <a:gd name="connsiteY22" fmla="*/ 440947 h 1533601"/>
                <a:gd name="connsiteX23" fmla="*/ 733022 w 733022"/>
                <a:gd name="connsiteY23" fmla="*/ 627192 h 1533601"/>
                <a:gd name="connsiteX24" fmla="*/ 694597 w 733022"/>
                <a:gd name="connsiteY24" fmla="*/ 638681 h 1533601"/>
                <a:gd name="connsiteX25" fmla="*/ 618391 w 733022"/>
                <a:gd name="connsiteY25" fmla="*/ 748942 h 1533601"/>
                <a:gd name="connsiteX26" fmla="*/ 699416 w 733022"/>
                <a:gd name="connsiteY26" fmla="*/ 889231 h 1533601"/>
                <a:gd name="connsiteX27" fmla="*/ 733022 w 733022"/>
                <a:gd name="connsiteY27" fmla="*/ 896448 h 1533601"/>
                <a:gd name="connsiteX28" fmla="*/ 733022 w 733022"/>
                <a:gd name="connsiteY28" fmla="*/ 1083871 h 1533601"/>
                <a:gd name="connsiteX29" fmla="*/ 691051 w 733022"/>
                <a:gd name="connsiteY29" fmla="*/ 1079617 h 1533601"/>
                <a:gd name="connsiteX30" fmla="*/ 433014 w 733022"/>
                <a:gd name="connsiteY30" fmla="*/ 761820 h 1533601"/>
                <a:gd name="connsiteX31" fmla="*/ 678170 w 733022"/>
                <a:gd name="connsiteY31" fmla="*/ 449027 h 1533601"/>
                <a:gd name="connsiteX32" fmla="*/ 88045 w 733022"/>
                <a:gd name="connsiteY32" fmla="*/ 418365 h 1533601"/>
                <a:gd name="connsiteX33" fmla="*/ 102441 w 733022"/>
                <a:gd name="connsiteY33" fmla="*/ 420020 h 1533601"/>
                <a:gd name="connsiteX34" fmla="*/ 372960 w 733022"/>
                <a:gd name="connsiteY34" fmla="*/ 576281 h 1533601"/>
                <a:gd name="connsiteX35" fmla="*/ 332873 w 733022"/>
                <a:gd name="connsiteY35" fmla="*/ 734971 h 1533601"/>
                <a:gd name="connsiteX36" fmla="*/ 18202 w 733022"/>
                <a:gd name="connsiteY36" fmla="*/ 734971 h 1533601"/>
                <a:gd name="connsiteX37" fmla="*/ 41 w 733022"/>
                <a:gd name="connsiteY37" fmla="*/ 715520 h 1533601"/>
                <a:gd name="connsiteX38" fmla="*/ 76996 w 733022"/>
                <a:gd name="connsiteY38" fmla="*/ 427739 h 1533601"/>
                <a:gd name="connsiteX39" fmla="*/ 88045 w 733022"/>
                <a:gd name="connsiteY39" fmla="*/ 418365 h 1533601"/>
                <a:gd name="connsiteX40" fmla="*/ 353092 w 733022"/>
                <a:gd name="connsiteY40" fmla="*/ 125773 h 1533601"/>
                <a:gd name="connsiteX41" fmla="*/ 364754 w 733022"/>
                <a:gd name="connsiteY41" fmla="*/ 134404 h 1533601"/>
                <a:gd name="connsiteX42" fmla="*/ 519455 w 733022"/>
                <a:gd name="connsiteY42" fmla="*/ 402471 h 1533601"/>
                <a:gd name="connsiteX43" fmla="*/ 404069 w 733022"/>
                <a:gd name="connsiteY43" fmla="*/ 520735 h 1533601"/>
                <a:gd name="connsiteX44" fmla="*/ 134359 w 733022"/>
                <a:gd name="connsiteY44" fmla="*/ 364945 h 1533601"/>
                <a:gd name="connsiteX45" fmla="*/ 128356 w 733022"/>
                <a:gd name="connsiteY45" fmla="*/ 338999 h 1533601"/>
                <a:gd name="connsiteX46" fmla="*/ 338820 w 733022"/>
                <a:gd name="connsiteY46" fmla="*/ 128398 h 1533601"/>
                <a:gd name="connsiteX47" fmla="*/ 353092 w 733022"/>
                <a:gd name="connsiteY47" fmla="*/ 125773 h 1533601"/>
                <a:gd name="connsiteX48" fmla="*/ 715183 w 733022"/>
                <a:gd name="connsiteY48" fmla="*/ 41 h 1533601"/>
                <a:gd name="connsiteX49" fmla="*/ 715202 w 733022"/>
                <a:gd name="connsiteY49" fmla="*/ 41 h 1533601"/>
                <a:gd name="connsiteX50" fmla="*/ 728860 w 733022"/>
                <a:gd name="connsiteY50" fmla="*/ 4910 h 1533601"/>
                <a:gd name="connsiteX51" fmla="*/ 733022 w 733022"/>
                <a:gd name="connsiteY51" fmla="*/ 14482 h 1533601"/>
                <a:gd name="connsiteX52" fmla="*/ 733022 w 733022"/>
                <a:gd name="connsiteY52" fmla="*/ 325990 h 1533601"/>
                <a:gd name="connsiteX53" fmla="*/ 651303 w 733022"/>
                <a:gd name="connsiteY53" fmla="*/ 340329 h 1533601"/>
                <a:gd name="connsiteX54" fmla="*/ 574202 w 733022"/>
                <a:gd name="connsiteY54" fmla="*/ 369991 h 1533601"/>
                <a:gd name="connsiteX55" fmla="*/ 419821 w 733022"/>
                <a:gd name="connsiteY55" fmla="*/ 102489 h 1533601"/>
                <a:gd name="connsiteX56" fmla="*/ 427538 w 733022"/>
                <a:gd name="connsiteY56" fmla="*/ 77032 h 1533601"/>
                <a:gd name="connsiteX57" fmla="*/ 715183 w 733022"/>
                <a:gd name="connsiteY57" fmla="*/ 41 h 1533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733022" h="1533601">
                  <a:moveTo>
                    <a:pt x="579415" y="1154516"/>
                  </a:moveTo>
                  <a:cubicBezTo>
                    <a:pt x="603213" y="1165954"/>
                    <a:pt x="628197" y="1175308"/>
                    <a:pt x="654140" y="1182331"/>
                  </a:cubicBezTo>
                  <a:lnTo>
                    <a:pt x="733022" y="1195890"/>
                  </a:lnTo>
                  <a:lnTo>
                    <a:pt x="733022" y="1519078"/>
                  </a:lnTo>
                  <a:lnTo>
                    <a:pt x="728849" y="1528684"/>
                  </a:lnTo>
                  <a:cubicBezTo>
                    <a:pt x="725303" y="1531998"/>
                    <a:pt x="720443" y="1533909"/>
                    <a:pt x="715183" y="1533561"/>
                  </a:cubicBezTo>
                  <a:cubicBezTo>
                    <a:pt x="612463" y="1526782"/>
                    <a:pt x="515258" y="1499819"/>
                    <a:pt x="427500" y="1456569"/>
                  </a:cubicBezTo>
                  <a:lnTo>
                    <a:pt x="427481" y="1456569"/>
                  </a:lnTo>
                  <a:cubicBezTo>
                    <a:pt x="418052" y="1451918"/>
                    <a:pt x="414495" y="1440226"/>
                    <a:pt x="419765" y="1431112"/>
                  </a:cubicBezTo>
                  <a:close/>
                  <a:moveTo>
                    <a:pt x="409753" y="1009571"/>
                  </a:moveTo>
                  <a:cubicBezTo>
                    <a:pt x="440580" y="1054045"/>
                    <a:pt x="479424" y="1092456"/>
                    <a:pt x="524291" y="1122789"/>
                  </a:cubicBezTo>
                  <a:lnTo>
                    <a:pt x="364754" y="1399179"/>
                  </a:lnTo>
                  <a:cubicBezTo>
                    <a:pt x="359484" y="1408311"/>
                    <a:pt x="347571" y="1411060"/>
                    <a:pt x="338820" y="1405185"/>
                  </a:cubicBezTo>
                  <a:cubicBezTo>
                    <a:pt x="255730" y="1349376"/>
                    <a:pt x="184100" y="1277751"/>
                    <a:pt x="128318" y="1194584"/>
                  </a:cubicBezTo>
                  <a:cubicBezTo>
                    <a:pt x="122446" y="1185828"/>
                    <a:pt x="125194" y="1173910"/>
                    <a:pt x="134321" y="1168637"/>
                  </a:cubicBezTo>
                  <a:close/>
                  <a:moveTo>
                    <a:pt x="18202" y="798631"/>
                  </a:moveTo>
                  <a:lnTo>
                    <a:pt x="333739" y="798631"/>
                  </a:lnTo>
                  <a:cubicBezTo>
                    <a:pt x="338462" y="854289"/>
                    <a:pt x="353650" y="906991"/>
                    <a:pt x="377363" y="954723"/>
                  </a:cubicBezTo>
                  <a:lnTo>
                    <a:pt x="102441" y="1113544"/>
                  </a:lnTo>
                  <a:cubicBezTo>
                    <a:pt x="93331" y="1118816"/>
                    <a:pt x="81644" y="1115258"/>
                    <a:pt x="76996" y="1105824"/>
                  </a:cubicBezTo>
                  <a:cubicBezTo>
                    <a:pt x="33766" y="1018063"/>
                    <a:pt x="6816" y="920849"/>
                    <a:pt x="41" y="818081"/>
                  </a:cubicBezTo>
                  <a:cubicBezTo>
                    <a:pt x="-656" y="807556"/>
                    <a:pt x="7682" y="798631"/>
                    <a:pt x="18202" y="798631"/>
                  </a:cubicBezTo>
                  <a:close/>
                  <a:moveTo>
                    <a:pt x="733022" y="440947"/>
                  </a:moveTo>
                  <a:lnTo>
                    <a:pt x="733022" y="627192"/>
                  </a:lnTo>
                  <a:lnTo>
                    <a:pt x="694597" y="638681"/>
                  </a:lnTo>
                  <a:cubicBezTo>
                    <a:pt x="652977" y="659505"/>
                    <a:pt x="623092" y="700871"/>
                    <a:pt x="618391" y="748942"/>
                  </a:cubicBezTo>
                  <a:cubicBezTo>
                    <a:pt x="612336" y="810922"/>
                    <a:pt x="647367" y="865710"/>
                    <a:pt x="699416" y="889231"/>
                  </a:cubicBezTo>
                  <a:lnTo>
                    <a:pt x="733022" y="896448"/>
                  </a:lnTo>
                  <a:lnTo>
                    <a:pt x="733022" y="1083871"/>
                  </a:lnTo>
                  <a:lnTo>
                    <a:pt x="691051" y="1079617"/>
                  </a:lnTo>
                  <a:cubicBezTo>
                    <a:pt x="543639" y="1049300"/>
                    <a:pt x="432521" y="918253"/>
                    <a:pt x="433014" y="761820"/>
                  </a:cubicBezTo>
                  <a:cubicBezTo>
                    <a:pt x="433475" y="612208"/>
                    <a:pt x="537754" y="484162"/>
                    <a:pt x="678170" y="449027"/>
                  </a:cubicBezTo>
                  <a:close/>
                  <a:moveTo>
                    <a:pt x="88045" y="418365"/>
                  </a:moveTo>
                  <a:cubicBezTo>
                    <a:pt x="92687" y="416955"/>
                    <a:pt x="97886" y="417384"/>
                    <a:pt x="102441" y="420020"/>
                  </a:cubicBezTo>
                  <a:lnTo>
                    <a:pt x="372960" y="576281"/>
                  </a:lnTo>
                  <a:cubicBezTo>
                    <a:pt x="350187" y="624934"/>
                    <a:pt x="336185" y="678503"/>
                    <a:pt x="332873" y="734971"/>
                  </a:cubicBezTo>
                  <a:lnTo>
                    <a:pt x="18202" y="734971"/>
                  </a:lnTo>
                  <a:cubicBezTo>
                    <a:pt x="7682" y="734971"/>
                    <a:pt x="-656" y="726045"/>
                    <a:pt x="41" y="715520"/>
                  </a:cubicBezTo>
                  <a:cubicBezTo>
                    <a:pt x="6816" y="612752"/>
                    <a:pt x="33766" y="515501"/>
                    <a:pt x="76996" y="427739"/>
                  </a:cubicBezTo>
                  <a:cubicBezTo>
                    <a:pt x="79320" y="423023"/>
                    <a:pt x="83404" y="419775"/>
                    <a:pt x="88045" y="418365"/>
                  </a:cubicBezTo>
                  <a:close/>
                  <a:moveTo>
                    <a:pt x="353092" y="125773"/>
                  </a:moveTo>
                  <a:cubicBezTo>
                    <a:pt x="357823" y="126868"/>
                    <a:pt x="362119" y="129838"/>
                    <a:pt x="364754" y="134404"/>
                  </a:cubicBezTo>
                  <a:lnTo>
                    <a:pt x="519455" y="402471"/>
                  </a:lnTo>
                  <a:cubicBezTo>
                    <a:pt x="473873" y="434122"/>
                    <a:pt x="434652" y="474359"/>
                    <a:pt x="404069" y="520735"/>
                  </a:cubicBezTo>
                  <a:lnTo>
                    <a:pt x="134359" y="364945"/>
                  </a:lnTo>
                  <a:cubicBezTo>
                    <a:pt x="125231" y="359673"/>
                    <a:pt x="122484" y="347754"/>
                    <a:pt x="128356" y="338999"/>
                  </a:cubicBezTo>
                  <a:cubicBezTo>
                    <a:pt x="184138" y="255869"/>
                    <a:pt x="255730" y="184244"/>
                    <a:pt x="338820" y="128398"/>
                  </a:cubicBezTo>
                  <a:cubicBezTo>
                    <a:pt x="343196" y="125460"/>
                    <a:pt x="348362" y="124679"/>
                    <a:pt x="353092" y="125773"/>
                  </a:cubicBezTo>
                  <a:close/>
                  <a:moveTo>
                    <a:pt x="715183" y="41"/>
                  </a:moveTo>
                  <a:lnTo>
                    <a:pt x="715202" y="41"/>
                  </a:lnTo>
                  <a:cubicBezTo>
                    <a:pt x="720453" y="-308"/>
                    <a:pt x="725313" y="1599"/>
                    <a:pt x="728860" y="4910"/>
                  </a:cubicBezTo>
                  <a:lnTo>
                    <a:pt x="733022" y="14482"/>
                  </a:lnTo>
                  <a:lnTo>
                    <a:pt x="733022" y="325990"/>
                  </a:lnTo>
                  <a:lnTo>
                    <a:pt x="651303" y="340329"/>
                  </a:lnTo>
                  <a:cubicBezTo>
                    <a:pt x="624470" y="347792"/>
                    <a:pt x="598678" y="357762"/>
                    <a:pt x="574202" y="369991"/>
                  </a:cubicBezTo>
                  <a:lnTo>
                    <a:pt x="419821" y="102489"/>
                  </a:lnTo>
                  <a:cubicBezTo>
                    <a:pt x="414552" y="93357"/>
                    <a:pt x="418090" y="81683"/>
                    <a:pt x="427538" y="77032"/>
                  </a:cubicBezTo>
                  <a:cubicBezTo>
                    <a:pt x="515258" y="33801"/>
                    <a:pt x="612463" y="6819"/>
                    <a:pt x="715183" y="41"/>
                  </a:cubicBezTo>
                  <a:close/>
                </a:path>
              </a:pathLst>
            </a:custGeom>
            <a:gradFill>
              <a:gsLst>
                <a:gs pos="6000">
                  <a:srgbClr val="FF9248">
                    <a:alpha val="34000"/>
                  </a:srgbClr>
                </a:gs>
                <a:gs pos="77000">
                  <a:schemeClr val="accent4">
                    <a:alpha val="29000"/>
                  </a:schemeClr>
                </a:gs>
              </a:gsLst>
              <a:lin ang="3343960" scaled="1"/>
            </a:gradFill>
            <a:ln w="5992" cap="flat">
              <a:noFill/>
              <a:prstDash val="solid"/>
              <a:miter/>
            </a:ln>
          </p:spPr>
          <p:txBody>
            <a:bodyPr wrap="square" rtlCol="0" anchor="ctr">
              <a:noAutofit/>
            </a:bodyPr>
            <a:lstStyle/>
            <a:p>
              <a:endParaRPr lang="en-US"/>
            </a:p>
          </p:txBody>
        </p:sp>
        <p:sp>
          <p:nvSpPr>
            <p:cNvPr id="6" name="Donut 5">
              <a:extLst>
                <a:ext uri="{FF2B5EF4-FFF2-40B4-BE49-F238E27FC236}">
                  <a16:creationId xmlns:a16="http://schemas.microsoft.com/office/drawing/2014/main" id="{4E651CB7-7E9B-6BDD-E07D-D434D5536434}"/>
                </a:ext>
              </a:extLst>
            </p:cNvPr>
            <p:cNvSpPr/>
            <p:nvPr/>
          </p:nvSpPr>
          <p:spPr bwMode="auto">
            <a:xfrm>
              <a:off x="11207931" y="1255577"/>
              <a:ext cx="385156" cy="385156"/>
            </a:xfrm>
            <a:prstGeom prst="donut">
              <a:avLst/>
            </a:prstGeom>
            <a:gradFill>
              <a:gsLst>
                <a:gs pos="6000">
                  <a:srgbClr val="FF9248">
                    <a:alpha val="34000"/>
                  </a:srgbClr>
                </a:gs>
                <a:gs pos="77000">
                  <a:schemeClr val="accent4">
                    <a:alpha val="29000"/>
                  </a:schemeClr>
                </a:gs>
              </a:gsLst>
              <a:lin ang="3343960" scaled="1"/>
            </a:gradFill>
            <a:ln w="5992" cap="flat">
              <a:noFill/>
              <a:prstDash val="solid"/>
              <a:miter/>
            </a:ln>
          </p:spPr>
          <p:txBody>
            <a:bodyPr wrap="square" rtlCol="0" anchor="ctr">
              <a:noAutofit/>
            </a:bodyPr>
            <a:lstStyle/>
            <a:p>
              <a:endParaRPr lang="en-US" err="1">
                <a:solidFill>
                  <a:schemeClr val="tx1"/>
                </a:solidFill>
              </a:endParaRPr>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8886929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nd Content - gradient">
    <p:bg>
      <p:bgPr>
        <a:gradFill>
          <a:gsLst>
            <a:gs pos="0">
              <a:schemeClr val="bg1"/>
            </a:gs>
            <a:gs pos="100000">
              <a:schemeClr val="bg1">
                <a:lumMod val="85000"/>
                <a:alpha val="50000"/>
              </a:schemeClr>
            </a:gs>
          </a:gsLst>
          <a:lin ang="1890000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2482736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1_Title Only - left side ">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786BF969-9ED1-6FFC-1D9D-D2706ED26054}"/>
              </a:ext>
            </a:extLst>
          </p:cNvPr>
          <p:cNvGrpSpPr/>
          <p:nvPr userDrawn="1"/>
        </p:nvGrpSpPr>
        <p:grpSpPr>
          <a:xfrm>
            <a:off x="11207931" y="114223"/>
            <a:ext cx="984069" cy="1526510"/>
            <a:chOff x="11207931" y="114223"/>
            <a:chExt cx="984069" cy="1526510"/>
          </a:xfrm>
        </p:grpSpPr>
        <p:sp>
          <p:nvSpPr>
            <p:cNvPr id="4" name="Freeform 3">
              <a:extLst>
                <a:ext uri="{FF2B5EF4-FFF2-40B4-BE49-F238E27FC236}">
                  <a16:creationId xmlns:a16="http://schemas.microsoft.com/office/drawing/2014/main" id="{BB33D7BE-3160-3D51-CBF6-07D825EFB968}"/>
                </a:ext>
              </a:extLst>
            </p:cNvPr>
            <p:cNvSpPr/>
            <p:nvPr/>
          </p:nvSpPr>
          <p:spPr bwMode="auto">
            <a:xfrm>
              <a:off x="11683516" y="209494"/>
              <a:ext cx="508484" cy="1049410"/>
            </a:xfrm>
            <a:custGeom>
              <a:avLst/>
              <a:gdLst>
                <a:gd name="connsiteX0" fmla="*/ 508484 w 508484"/>
                <a:gd name="connsiteY0" fmla="*/ 0 h 1049410"/>
                <a:gd name="connsiteX1" fmla="*/ 508484 w 508484"/>
                <a:gd name="connsiteY1" fmla="*/ 1049410 h 1049410"/>
                <a:gd name="connsiteX2" fmla="*/ 420411 w 508484"/>
                <a:gd name="connsiteY2" fmla="*/ 1040532 h 1049410"/>
                <a:gd name="connsiteX3" fmla="*/ 0 w 508484"/>
                <a:gd name="connsiteY3" fmla="*/ 524705 h 1049410"/>
                <a:gd name="connsiteX4" fmla="*/ 420411 w 508484"/>
                <a:gd name="connsiteY4" fmla="*/ 8878 h 1049410"/>
                <a:gd name="connsiteX5" fmla="*/ 508484 w 508484"/>
                <a:gd name="connsiteY5" fmla="*/ 0 h 1049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8484" h="1049410">
                  <a:moveTo>
                    <a:pt x="508484" y="0"/>
                  </a:moveTo>
                  <a:lnTo>
                    <a:pt x="508484" y="1049410"/>
                  </a:lnTo>
                  <a:lnTo>
                    <a:pt x="420411" y="1040532"/>
                  </a:lnTo>
                  <a:cubicBezTo>
                    <a:pt x="180483" y="991436"/>
                    <a:pt x="0" y="779147"/>
                    <a:pt x="0" y="524705"/>
                  </a:cubicBezTo>
                  <a:cubicBezTo>
                    <a:pt x="0" y="270263"/>
                    <a:pt x="180483" y="57975"/>
                    <a:pt x="420411" y="8878"/>
                  </a:cubicBezTo>
                  <a:lnTo>
                    <a:pt x="508484" y="0"/>
                  </a:lnTo>
                  <a:close/>
                </a:path>
              </a:pathLst>
            </a:custGeom>
            <a:solidFill>
              <a:schemeClr val="accent5">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 name="Freeform 4">
              <a:extLst>
                <a:ext uri="{FF2B5EF4-FFF2-40B4-BE49-F238E27FC236}">
                  <a16:creationId xmlns:a16="http://schemas.microsoft.com/office/drawing/2014/main" id="{3714CA5B-8020-0BFF-E478-62C88B430535}"/>
                </a:ext>
              </a:extLst>
            </p:cNvPr>
            <p:cNvSpPr/>
            <p:nvPr/>
          </p:nvSpPr>
          <p:spPr>
            <a:xfrm>
              <a:off x="11593087" y="114223"/>
              <a:ext cx="598913" cy="1253024"/>
            </a:xfrm>
            <a:custGeom>
              <a:avLst/>
              <a:gdLst>
                <a:gd name="connsiteX0" fmla="*/ 579415 w 733022"/>
                <a:gd name="connsiteY0" fmla="*/ 1154516 h 1533601"/>
                <a:gd name="connsiteX1" fmla="*/ 654140 w 733022"/>
                <a:gd name="connsiteY1" fmla="*/ 1182331 h 1533601"/>
                <a:gd name="connsiteX2" fmla="*/ 733022 w 733022"/>
                <a:gd name="connsiteY2" fmla="*/ 1195890 h 1533601"/>
                <a:gd name="connsiteX3" fmla="*/ 733022 w 733022"/>
                <a:gd name="connsiteY3" fmla="*/ 1519078 h 1533601"/>
                <a:gd name="connsiteX4" fmla="*/ 728849 w 733022"/>
                <a:gd name="connsiteY4" fmla="*/ 1528684 h 1533601"/>
                <a:gd name="connsiteX5" fmla="*/ 715183 w 733022"/>
                <a:gd name="connsiteY5" fmla="*/ 1533561 h 1533601"/>
                <a:gd name="connsiteX6" fmla="*/ 427500 w 733022"/>
                <a:gd name="connsiteY6" fmla="*/ 1456569 h 1533601"/>
                <a:gd name="connsiteX7" fmla="*/ 427481 w 733022"/>
                <a:gd name="connsiteY7" fmla="*/ 1456569 h 1533601"/>
                <a:gd name="connsiteX8" fmla="*/ 419765 w 733022"/>
                <a:gd name="connsiteY8" fmla="*/ 1431112 h 1533601"/>
                <a:gd name="connsiteX9" fmla="*/ 409753 w 733022"/>
                <a:gd name="connsiteY9" fmla="*/ 1009571 h 1533601"/>
                <a:gd name="connsiteX10" fmla="*/ 524291 w 733022"/>
                <a:gd name="connsiteY10" fmla="*/ 1122789 h 1533601"/>
                <a:gd name="connsiteX11" fmla="*/ 364754 w 733022"/>
                <a:gd name="connsiteY11" fmla="*/ 1399179 h 1533601"/>
                <a:gd name="connsiteX12" fmla="*/ 338820 w 733022"/>
                <a:gd name="connsiteY12" fmla="*/ 1405185 h 1533601"/>
                <a:gd name="connsiteX13" fmla="*/ 128318 w 733022"/>
                <a:gd name="connsiteY13" fmla="*/ 1194584 h 1533601"/>
                <a:gd name="connsiteX14" fmla="*/ 134321 w 733022"/>
                <a:gd name="connsiteY14" fmla="*/ 1168637 h 1533601"/>
                <a:gd name="connsiteX15" fmla="*/ 18202 w 733022"/>
                <a:gd name="connsiteY15" fmla="*/ 798631 h 1533601"/>
                <a:gd name="connsiteX16" fmla="*/ 333739 w 733022"/>
                <a:gd name="connsiteY16" fmla="*/ 798631 h 1533601"/>
                <a:gd name="connsiteX17" fmla="*/ 377363 w 733022"/>
                <a:gd name="connsiteY17" fmla="*/ 954723 h 1533601"/>
                <a:gd name="connsiteX18" fmla="*/ 102441 w 733022"/>
                <a:gd name="connsiteY18" fmla="*/ 1113544 h 1533601"/>
                <a:gd name="connsiteX19" fmla="*/ 76996 w 733022"/>
                <a:gd name="connsiteY19" fmla="*/ 1105824 h 1533601"/>
                <a:gd name="connsiteX20" fmla="*/ 41 w 733022"/>
                <a:gd name="connsiteY20" fmla="*/ 818081 h 1533601"/>
                <a:gd name="connsiteX21" fmla="*/ 18202 w 733022"/>
                <a:gd name="connsiteY21" fmla="*/ 798631 h 1533601"/>
                <a:gd name="connsiteX22" fmla="*/ 733022 w 733022"/>
                <a:gd name="connsiteY22" fmla="*/ 440947 h 1533601"/>
                <a:gd name="connsiteX23" fmla="*/ 733022 w 733022"/>
                <a:gd name="connsiteY23" fmla="*/ 627192 h 1533601"/>
                <a:gd name="connsiteX24" fmla="*/ 694597 w 733022"/>
                <a:gd name="connsiteY24" fmla="*/ 638681 h 1533601"/>
                <a:gd name="connsiteX25" fmla="*/ 618391 w 733022"/>
                <a:gd name="connsiteY25" fmla="*/ 748942 h 1533601"/>
                <a:gd name="connsiteX26" fmla="*/ 699416 w 733022"/>
                <a:gd name="connsiteY26" fmla="*/ 889231 h 1533601"/>
                <a:gd name="connsiteX27" fmla="*/ 733022 w 733022"/>
                <a:gd name="connsiteY27" fmla="*/ 896448 h 1533601"/>
                <a:gd name="connsiteX28" fmla="*/ 733022 w 733022"/>
                <a:gd name="connsiteY28" fmla="*/ 1083871 h 1533601"/>
                <a:gd name="connsiteX29" fmla="*/ 691051 w 733022"/>
                <a:gd name="connsiteY29" fmla="*/ 1079617 h 1533601"/>
                <a:gd name="connsiteX30" fmla="*/ 433014 w 733022"/>
                <a:gd name="connsiteY30" fmla="*/ 761820 h 1533601"/>
                <a:gd name="connsiteX31" fmla="*/ 678170 w 733022"/>
                <a:gd name="connsiteY31" fmla="*/ 449027 h 1533601"/>
                <a:gd name="connsiteX32" fmla="*/ 88045 w 733022"/>
                <a:gd name="connsiteY32" fmla="*/ 418365 h 1533601"/>
                <a:gd name="connsiteX33" fmla="*/ 102441 w 733022"/>
                <a:gd name="connsiteY33" fmla="*/ 420020 h 1533601"/>
                <a:gd name="connsiteX34" fmla="*/ 372960 w 733022"/>
                <a:gd name="connsiteY34" fmla="*/ 576281 h 1533601"/>
                <a:gd name="connsiteX35" fmla="*/ 332873 w 733022"/>
                <a:gd name="connsiteY35" fmla="*/ 734971 h 1533601"/>
                <a:gd name="connsiteX36" fmla="*/ 18202 w 733022"/>
                <a:gd name="connsiteY36" fmla="*/ 734971 h 1533601"/>
                <a:gd name="connsiteX37" fmla="*/ 41 w 733022"/>
                <a:gd name="connsiteY37" fmla="*/ 715520 h 1533601"/>
                <a:gd name="connsiteX38" fmla="*/ 76996 w 733022"/>
                <a:gd name="connsiteY38" fmla="*/ 427739 h 1533601"/>
                <a:gd name="connsiteX39" fmla="*/ 88045 w 733022"/>
                <a:gd name="connsiteY39" fmla="*/ 418365 h 1533601"/>
                <a:gd name="connsiteX40" fmla="*/ 353092 w 733022"/>
                <a:gd name="connsiteY40" fmla="*/ 125773 h 1533601"/>
                <a:gd name="connsiteX41" fmla="*/ 364754 w 733022"/>
                <a:gd name="connsiteY41" fmla="*/ 134404 h 1533601"/>
                <a:gd name="connsiteX42" fmla="*/ 519455 w 733022"/>
                <a:gd name="connsiteY42" fmla="*/ 402471 h 1533601"/>
                <a:gd name="connsiteX43" fmla="*/ 404069 w 733022"/>
                <a:gd name="connsiteY43" fmla="*/ 520735 h 1533601"/>
                <a:gd name="connsiteX44" fmla="*/ 134359 w 733022"/>
                <a:gd name="connsiteY44" fmla="*/ 364945 h 1533601"/>
                <a:gd name="connsiteX45" fmla="*/ 128356 w 733022"/>
                <a:gd name="connsiteY45" fmla="*/ 338999 h 1533601"/>
                <a:gd name="connsiteX46" fmla="*/ 338820 w 733022"/>
                <a:gd name="connsiteY46" fmla="*/ 128398 h 1533601"/>
                <a:gd name="connsiteX47" fmla="*/ 353092 w 733022"/>
                <a:gd name="connsiteY47" fmla="*/ 125773 h 1533601"/>
                <a:gd name="connsiteX48" fmla="*/ 715183 w 733022"/>
                <a:gd name="connsiteY48" fmla="*/ 41 h 1533601"/>
                <a:gd name="connsiteX49" fmla="*/ 715202 w 733022"/>
                <a:gd name="connsiteY49" fmla="*/ 41 h 1533601"/>
                <a:gd name="connsiteX50" fmla="*/ 728860 w 733022"/>
                <a:gd name="connsiteY50" fmla="*/ 4910 h 1533601"/>
                <a:gd name="connsiteX51" fmla="*/ 733022 w 733022"/>
                <a:gd name="connsiteY51" fmla="*/ 14482 h 1533601"/>
                <a:gd name="connsiteX52" fmla="*/ 733022 w 733022"/>
                <a:gd name="connsiteY52" fmla="*/ 325990 h 1533601"/>
                <a:gd name="connsiteX53" fmla="*/ 651303 w 733022"/>
                <a:gd name="connsiteY53" fmla="*/ 340329 h 1533601"/>
                <a:gd name="connsiteX54" fmla="*/ 574202 w 733022"/>
                <a:gd name="connsiteY54" fmla="*/ 369991 h 1533601"/>
                <a:gd name="connsiteX55" fmla="*/ 419821 w 733022"/>
                <a:gd name="connsiteY55" fmla="*/ 102489 h 1533601"/>
                <a:gd name="connsiteX56" fmla="*/ 427538 w 733022"/>
                <a:gd name="connsiteY56" fmla="*/ 77032 h 1533601"/>
                <a:gd name="connsiteX57" fmla="*/ 715183 w 733022"/>
                <a:gd name="connsiteY57" fmla="*/ 41 h 1533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733022" h="1533601">
                  <a:moveTo>
                    <a:pt x="579415" y="1154516"/>
                  </a:moveTo>
                  <a:cubicBezTo>
                    <a:pt x="603213" y="1165954"/>
                    <a:pt x="628197" y="1175308"/>
                    <a:pt x="654140" y="1182331"/>
                  </a:cubicBezTo>
                  <a:lnTo>
                    <a:pt x="733022" y="1195890"/>
                  </a:lnTo>
                  <a:lnTo>
                    <a:pt x="733022" y="1519078"/>
                  </a:lnTo>
                  <a:lnTo>
                    <a:pt x="728849" y="1528684"/>
                  </a:lnTo>
                  <a:cubicBezTo>
                    <a:pt x="725303" y="1531998"/>
                    <a:pt x="720443" y="1533909"/>
                    <a:pt x="715183" y="1533561"/>
                  </a:cubicBezTo>
                  <a:cubicBezTo>
                    <a:pt x="612463" y="1526782"/>
                    <a:pt x="515258" y="1499819"/>
                    <a:pt x="427500" y="1456569"/>
                  </a:cubicBezTo>
                  <a:lnTo>
                    <a:pt x="427481" y="1456569"/>
                  </a:lnTo>
                  <a:cubicBezTo>
                    <a:pt x="418052" y="1451918"/>
                    <a:pt x="414495" y="1440226"/>
                    <a:pt x="419765" y="1431112"/>
                  </a:cubicBezTo>
                  <a:close/>
                  <a:moveTo>
                    <a:pt x="409753" y="1009571"/>
                  </a:moveTo>
                  <a:cubicBezTo>
                    <a:pt x="440580" y="1054045"/>
                    <a:pt x="479424" y="1092456"/>
                    <a:pt x="524291" y="1122789"/>
                  </a:cubicBezTo>
                  <a:lnTo>
                    <a:pt x="364754" y="1399179"/>
                  </a:lnTo>
                  <a:cubicBezTo>
                    <a:pt x="359484" y="1408311"/>
                    <a:pt x="347571" y="1411060"/>
                    <a:pt x="338820" y="1405185"/>
                  </a:cubicBezTo>
                  <a:cubicBezTo>
                    <a:pt x="255730" y="1349376"/>
                    <a:pt x="184100" y="1277751"/>
                    <a:pt x="128318" y="1194584"/>
                  </a:cubicBezTo>
                  <a:cubicBezTo>
                    <a:pt x="122446" y="1185828"/>
                    <a:pt x="125194" y="1173910"/>
                    <a:pt x="134321" y="1168637"/>
                  </a:cubicBezTo>
                  <a:close/>
                  <a:moveTo>
                    <a:pt x="18202" y="798631"/>
                  </a:moveTo>
                  <a:lnTo>
                    <a:pt x="333739" y="798631"/>
                  </a:lnTo>
                  <a:cubicBezTo>
                    <a:pt x="338462" y="854289"/>
                    <a:pt x="353650" y="906991"/>
                    <a:pt x="377363" y="954723"/>
                  </a:cubicBezTo>
                  <a:lnTo>
                    <a:pt x="102441" y="1113544"/>
                  </a:lnTo>
                  <a:cubicBezTo>
                    <a:pt x="93331" y="1118816"/>
                    <a:pt x="81644" y="1115258"/>
                    <a:pt x="76996" y="1105824"/>
                  </a:cubicBezTo>
                  <a:cubicBezTo>
                    <a:pt x="33766" y="1018063"/>
                    <a:pt x="6816" y="920849"/>
                    <a:pt x="41" y="818081"/>
                  </a:cubicBezTo>
                  <a:cubicBezTo>
                    <a:pt x="-656" y="807556"/>
                    <a:pt x="7682" y="798631"/>
                    <a:pt x="18202" y="798631"/>
                  </a:cubicBezTo>
                  <a:close/>
                  <a:moveTo>
                    <a:pt x="733022" y="440947"/>
                  </a:moveTo>
                  <a:lnTo>
                    <a:pt x="733022" y="627192"/>
                  </a:lnTo>
                  <a:lnTo>
                    <a:pt x="694597" y="638681"/>
                  </a:lnTo>
                  <a:cubicBezTo>
                    <a:pt x="652977" y="659505"/>
                    <a:pt x="623092" y="700871"/>
                    <a:pt x="618391" y="748942"/>
                  </a:cubicBezTo>
                  <a:cubicBezTo>
                    <a:pt x="612336" y="810922"/>
                    <a:pt x="647367" y="865710"/>
                    <a:pt x="699416" y="889231"/>
                  </a:cubicBezTo>
                  <a:lnTo>
                    <a:pt x="733022" y="896448"/>
                  </a:lnTo>
                  <a:lnTo>
                    <a:pt x="733022" y="1083871"/>
                  </a:lnTo>
                  <a:lnTo>
                    <a:pt x="691051" y="1079617"/>
                  </a:lnTo>
                  <a:cubicBezTo>
                    <a:pt x="543639" y="1049300"/>
                    <a:pt x="432521" y="918253"/>
                    <a:pt x="433014" y="761820"/>
                  </a:cubicBezTo>
                  <a:cubicBezTo>
                    <a:pt x="433475" y="612208"/>
                    <a:pt x="537754" y="484162"/>
                    <a:pt x="678170" y="449027"/>
                  </a:cubicBezTo>
                  <a:close/>
                  <a:moveTo>
                    <a:pt x="88045" y="418365"/>
                  </a:moveTo>
                  <a:cubicBezTo>
                    <a:pt x="92687" y="416955"/>
                    <a:pt x="97886" y="417384"/>
                    <a:pt x="102441" y="420020"/>
                  </a:cubicBezTo>
                  <a:lnTo>
                    <a:pt x="372960" y="576281"/>
                  </a:lnTo>
                  <a:cubicBezTo>
                    <a:pt x="350187" y="624934"/>
                    <a:pt x="336185" y="678503"/>
                    <a:pt x="332873" y="734971"/>
                  </a:cubicBezTo>
                  <a:lnTo>
                    <a:pt x="18202" y="734971"/>
                  </a:lnTo>
                  <a:cubicBezTo>
                    <a:pt x="7682" y="734971"/>
                    <a:pt x="-656" y="726045"/>
                    <a:pt x="41" y="715520"/>
                  </a:cubicBezTo>
                  <a:cubicBezTo>
                    <a:pt x="6816" y="612752"/>
                    <a:pt x="33766" y="515501"/>
                    <a:pt x="76996" y="427739"/>
                  </a:cubicBezTo>
                  <a:cubicBezTo>
                    <a:pt x="79320" y="423023"/>
                    <a:pt x="83404" y="419775"/>
                    <a:pt x="88045" y="418365"/>
                  </a:cubicBezTo>
                  <a:close/>
                  <a:moveTo>
                    <a:pt x="353092" y="125773"/>
                  </a:moveTo>
                  <a:cubicBezTo>
                    <a:pt x="357823" y="126868"/>
                    <a:pt x="362119" y="129838"/>
                    <a:pt x="364754" y="134404"/>
                  </a:cubicBezTo>
                  <a:lnTo>
                    <a:pt x="519455" y="402471"/>
                  </a:lnTo>
                  <a:cubicBezTo>
                    <a:pt x="473873" y="434122"/>
                    <a:pt x="434652" y="474359"/>
                    <a:pt x="404069" y="520735"/>
                  </a:cubicBezTo>
                  <a:lnTo>
                    <a:pt x="134359" y="364945"/>
                  </a:lnTo>
                  <a:cubicBezTo>
                    <a:pt x="125231" y="359673"/>
                    <a:pt x="122484" y="347754"/>
                    <a:pt x="128356" y="338999"/>
                  </a:cubicBezTo>
                  <a:cubicBezTo>
                    <a:pt x="184138" y="255869"/>
                    <a:pt x="255730" y="184244"/>
                    <a:pt x="338820" y="128398"/>
                  </a:cubicBezTo>
                  <a:cubicBezTo>
                    <a:pt x="343196" y="125460"/>
                    <a:pt x="348362" y="124679"/>
                    <a:pt x="353092" y="125773"/>
                  </a:cubicBezTo>
                  <a:close/>
                  <a:moveTo>
                    <a:pt x="715183" y="41"/>
                  </a:moveTo>
                  <a:lnTo>
                    <a:pt x="715202" y="41"/>
                  </a:lnTo>
                  <a:cubicBezTo>
                    <a:pt x="720453" y="-308"/>
                    <a:pt x="725313" y="1599"/>
                    <a:pt x="728860" y="4910"/>
                  </a:cubicBezTo>
                  <a:lnTo>
                    <a:pt x="733022" y="14482"/>
                  </a:lnTo>
                  <a:lnTo>
                    <a:pt x="733022" y="325990"/>
                  </a:lnTo>
                  <a:lnTo>
                    <a:pt x="651303" y="340329"/>
                  </a:lnTo>
                  <a:cubicBezTo>
                    <a:pt x="624470" y="347792"/>
                    <a:pt x="598678" y="357762"/>
                    <a:pt x="574202" y="369991"/>
                  </a:cubicBezTo>
                  <a:lnTo>
                    <a:pt x="419821" y="102489"/>
                  </a:lnTo>
                  <a:cubicBezTo>
                    <a:pt x="414552" y="93357"/>
                    <a:pt x="418090" y="81683"/>
                    <a:pt x="427538" y="77032"/>
                  </a:cubicBezTo>
                  <a:cubicBezTo>
                    <a:pt x="515258" y="33801"/>
                    <a:pt x="612463" y="6819"/>
                    <a:pt x="715183" y="41"/>
                  </a:cubicBezTo>
                  <a:close/>
                </a:path>
              </a:pathLst>
            </a:custGeom>
            <a:gradFill>
              <a:gsLst>
                <a:gs pos="6000">
                  <a:srgbClr val="FF9248">
                    <a:alpha val="34000"/>
                  </a:srgbClr>
                </a:gs>
                <a:gs pos="77000">
                  <a:schemeClr val="accent4">
                    <a:alpha val="29000"/>
                  </a:schemeClr>
                </a:gs>
              </a:gsLst>
              <a:lin ang="3343960" scaled="1"/>
            </a:gradFill>
            <a:ln w="5992" cap="flat">
              <a:noFill/>
              <a:prstDash val="solid"/>
              <a:miter/>
            </a:ln>
          </p:spPr>
          <p:txBody>
            <a:bodyPr wrap="square" rtlCol="0" anchor="ctr">
              <a:noAutofit/>
            </a:bodyPr>
            <a:lstStyle/>
            <a:p>
              <a:endParaRPr lang="en-US"/>
            </a:p>
          </p:txBody>
        </p:sp>
        <p:sp>
          <p:nvSpPr>
            <p:cNvPr id="6" name="Donut 5">
              <a:extLst>
                <a:ext uri="{FF2B5EF4-FFF2-40B4-BE49-F238E27FC236}">
                  <a16:creationId xmlns:a16="http://schemas.microsoft.com/office/drawing/2014/main" id="{B3485D96-A0FD-51C1-35E0-6FE95B7880C0}"/>
                </a:ext>
              </a:extLst>
            </p:cNvPr>
            <p:cNvSpPr/>
            <p:nvPr/>
          </p:nvSpPr>
          <p:spPr bwMode="auto">
            <a:xfrm>
              <a:off x="11207931" y="1255577"/>
              <a:ext cx="385156" cy="385156"/>
            </a:xfrm>
            <a:prstGeom prst="donut">
              <a:avLst/>
            </a:prstGeom>
            <a:gradFill>
              <a:gsLst>
                <a:gs pos="6000">
                  <a:srgbClr val="FF9248">
                    <a:alpha val="34000"/>
                  </a:srgbClr>
                </a:gs>
                <a:gs pos="77000">
                  <a:schemeClr val="accent4">
                    <a:alpha val="29000"/>
                  </a:schemeClr>
                </a:gs>
              </a:gsLst>
              <a:lin ang="3343960" scaled="1"/>
            </a:gradFill>
            <a:ln w="5992" cap="flat">
              <a:noFill/>
              <a:prstDash val="solid"/>
              <a:miter/>
            </a:ln>
          </p:spPr>
          <p:txBody>
            <a:bodyPr wrap="square" rtlCol="0" anchor="ctr">
              <a:noAutofit/>
            </a:bodyPr>
            <a:lstStyle/>
            <a:p>
              <a:endParaRPr lang="en-US" err="1">
                <a:solidFill>
                  <a:schemeClr val="tx1"/>
                </a:solidFill>
              </a:endParaRPr>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20338924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1_Small title - half page">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237A9F4-2981-ED87-87E3-0A437EB3DFE6}"/>
              </a:ext>
            </a:extLst>
          </p:cNvPr>
          <p:cNvGrpSpPr/>
          <p:nvPr userDrawn="1"/>
        </p:nvGrpSpPr>
        <p:grpSpPr>
          <a:xfrm>
            <a:off x="11207931" y="114223"/>
            <a:ext cx="984069" cy="1526510"/>
            <a:chOff x="11207931" y="114223"/>
            <a:chExt cx="984069" cy="1526510"/>
          </a:xfrm>
        </p:grpSpPr>
        <p:sp>
          <p:nvSpPr>
            <p:cNvPr id="4" name="Freeform 3">
              <a:extLst>
                <a:ext uri="{FF2B5EF4-FFF2-40B4-BE49-F238E27FC236}">
                  <a16:creationId xmlns:a16="http://schemas.microsoft.com/office/drawing/2014/main" id="{77F65D75-DF4E-7E71-4E5E-C5FCD7FA0C6C}"/>
                </a:ext>
              </a:extLst>
            </p:cNvPr>
            <p:cNvSpPr/>
            <p:nvPr/>
          </p:nvSpPr>
          <p:spPr bwMode="auto">
            <a:xfrm>
              <a:off x="11683516" y="209494"/>
              <a:ext cx="508484" cy="1049410"/>
            </a:xfrm>
            <a:custGeom>
              <a:avLst/>
              <a:gdLst>
                <a:gd name="connsiteX0" fmla="*/ 508484 w 508484"/>
                <a:gd name="connsiteY0" fmla="*/ 0 h 1049410"/>
                <a:gd name="connsiteX1" fmla="*/ 508484 w 508484"/>
                <a:gd name="connsiteY1" fmla="*/ 1049410 h 1049410"/>
                <a:gd name="connsiteX2" fmla="*/ 420411 w 508484"/>
                <a:gd name="connsiteY2" fmla="*/ 1040532 h 1049410"/>
                <a:gd name="connsiteX3" fmla="*/ 0 w 508484"/>
                <a:gd name="connsiteY3" fmla="*/ 524705 h 1049410"/>
                <a:gd name="connsiteX4" fmla="*/ 420411 w 508484"/>
                <a:gd name="connsiteY4" fmla="*/ 8878 h 1049410"/>
                <a:gd name="connsiteX5" fmla="*/ 508484 w 508484"/>
                <a:gd name="connsiteY5" fmla="*/ 0 h 1049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8484" h="1049410">
                  <a:moveTo>
                    <a:pt x="508484" y="0"/>
                  </a:moveTo>
                  <a:lnTo>
                    <a:pt x="508484" y="1049410"/>
                  </a:lnTo>
                  <a:lnTo>
                    <a:pt x="420411" y="1040532"/>
                  </a:lnTo>
                  <a:cubicBezTo>
                    <a:pt x="180483" y="991436"/>
                    <a:pt x="0" y="779147"/>
                    <a:pt x="0" y="524705"/>
                  </a:cubicBezTo>
                  <a:cubicBezTo>
                    <a:pt x="0" y="270263"/>
                    <a:pt x="180483" y="57975"/>
                    <a:pt x="420411" y="8878"/>
                  </a:cubicBezTo>
                  <a:lnTo>
                    <a:pt x="508484" y="0"/>
                  </a:lnTo>
                  <a:close/>
                </a:path>
              </a:pathLst>
            </a:custGeom>
            <a:solidFill>
              <a:schemeClr val="accent5">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 name="Freeform 4">
              <a:extLst>
                <a:ext uri="{FF2B5EF4-FFF2-40B4-BE49-F238E27FC236}">
                  <a16:creationId xmlns:a16="http://schemas.microsoft.com/office/drawing/2014/main" id="{B33967AA-DD7E-7027-77AA-F3BDD8543B66}"/>
                </a:ext>
              </a:extLst>
            </p:cNvPr>
            <p:cNvSpPr/>
            <p:nvPr/>
          </p:nvSpPr>
          <p:spPr>
            <a:xfrm>
              <a:off x="11593087" y="114223"/>
              <a:ext cx="598913" cy="1253024"/>
            </a:xfrm>
            <a:custGeom>
              <a:avLst/>
              <a:gdLst>
                <a:gd name="connsiteX0" fmla="*/ 579415 w 733022"/>
                <a:gd name="connsiteY0" fmla="*/ 1154516 h 1533601"/>
                <a:gd name="connsiteX1" fmla="*/ 654140 w 733022"/>
                <a:gd name="connsiteY1" fmla="*/ 1182331 h 1533601"/>
                <a:gd name="connsiteX2" fmla="*/ 733022 w 733022"/>
                <a:gd name="connsiteY2" fmla="*/ 1195890 h 1533601"/>
                <a:gd name="connsiteX3" fmla="*/ 733022 w 733022"/>
                <a:gd name="connsiteY3" fmla="*/ 1519078 h 1533601"/>
                <a:gd name="connsiteX4" fmla="*/ 728849 w 733022"/>
                <a:gd name="connsiteY4" fmla="*/ 1528684 h 1533601"/>
                <a:gd name="connsiteX5" fmla="*/ 715183 w 733022"/>
                <a:gd name="connsiteY5" fmla="*/ 1533561 h 1533601"/>
                <a:gd name="connsiteX6" fmla="*/ 427500 w 733022"/>
                <a:gd name="connsiteY6" fmla="*/ 1456569 h 1533601"/>
                <a:gd name="connsiteX7" fmla="*/ 427481 w 733022"/>
                <a:gd name="connsiteY7" fmla="*/ 1456569 h 1533601"/>
                <a:gd name="connsiteX8" fmla="*/ 419765 w 733022"/>
                <a:gd name="connsiteY8" fmla="*/ 1431112 h 1533601"/>
                <a:gd name="connsiteX9" fmla="*/ 409753 w 733022"/>
                <a:gd name="connsiteY9" fmla="*/ 1009571 h 1533601"/>
                <a:gd name="connsiteX10" fmla="*/ 524291 w 733022"/>
                <a:gd name="connsiteY10" fmla="*/ 1122789 h 1533601"/>
                <a:gd name="connsiteX11" fmla="*/ 364754 w 733022"/>
                <a:gd name="connsiteY11" fmla="*/ 1399179 h 1533601"/>
                <a:gd name="connsiteX12" fmla="*/ 338820 w 733022"/>
                <a:gd name="connsiteY12" fmla="*/ 1405185 h 1533601"/>
                <a:gd name="connsiteX13" fmla="*/ 128318 w 733022"/>
                <a:gd name="connsiteY13" fmla="*/ 1194584 h 1533601"/>
                <a:gd name="connsiteX14" fmla="*/ 134321 w 733022"/>
                <a:gd name="connsiteY14" fmla="*/ 1168637 h 1533601"/>
                <a:gd name="connsiteX15" fmla="*/ 18202 w 733022"/>
                <a:gd name="connsiteY15" fmla="*/ 798631 h 1533601"/>
                <a:gd name="connsiteX16" fmla="*/ 333739 w 733022"/>
                <a:gd name="connsiteY16" fmla="*/ 798631 h 1533601"/>
                <a:gd name="connsiteX17" fmla="*/ 377363 w 733022"/>
                <a:gd name="connsiteY17" fmla="*/ 954723 h 1533601"/>
                <a:gd name="connsiteX18" fmla="*/ 102441 w 733022"/>
                <a:gd name="connsiteY18" fmla="*/ 1113544 h 1533601"/>
                <a:gd name="connsiteX19" fmla="*/ 76996 w 733022"/>
                <a:gd name="connsiteY19" fmla="*/ 1105824 h 1533601"/>
                <a:gd name="connsiteX20" fmla="*/ 41 w 733022"/>
                <a:gd name="connsiteY20" fmla="*/ 818081 h 1533601"/>
                <a:gd name="connsiteX21" fmla="*/ 18202 w 733022"/>
                <a:gd name="connsiteY21" fmla="*/ 798631 h 1533601"/>
                <a:gd name="connsiteX22" fmla="*/ 733022 w 733022"/>
                <a:gd name="connsiteY22" fmla="*/ 440947 h 1533601"/>
                <a:gd name="connsiteX23" fmla="*/ 733022 w 733022"/>
                <a:gd name="connsiteY23" fmla="*/ 627192 h 1533601"/>
                <a:gd name="connsiteX24" fmla="*/ 694597 w 733022"/>
                <a:gd name="connsiteY24" fmla="*/ 638681 h 1533601"/>
                <a:gd name="connsiteX25" fmla="*/ 618391 w 733022"/>
                <a:gd name="connsiteY25" fmla="*/ 748942 h 1533601"/>
                <a:gd name="connsiteX26" fmla="*/ 699416 w 733022"/>
                <a:gd name="connsiteY26" fmla="*/ 889231 h 1533601"/>
                <a:gd name="connsiteX27" fmla="*/ 733022 w 733022"/>
                <a:gd name="connsiteY27" fmla="*/ 896448 h 1533601"/>
                <a:gd name="connsiteX28" fmla="*/ 733022 w 733022"/>
                <a:gd name="connsiteY28" fmla="*/ 1083871 h 1533601"/>
                <a:gd name="connsiteX29" fmla="*/ 691051 w 733022"/>
                <a:gd name="connsiteY29" fmla="*/ 1079617 h 1533601"/>
                <a:gd name="connsiteX30" fmla="*/ 433014 w 733022"/>
                <a:gd name="connsiteY30" fmla="*/ 761820 h 1533601"/>
                <a:gd name="connsiteX31" fmla="*/ 678170 w 733022"/>
                <a:gd name="connsiteY31" fmla="*/ 449027 h 1533601"/>
                <a:gd name="connsiteX32" fmla="*/ 88045 w 733022"/>
                <a:gd name="connsiteY32" fmla="*/ 418365 h 1533601"/>
                <a:gd name="connsiteX33" fmla="*/ 102441 w 733022"/>
                <a:gd name="connsiteY33" fmla="*/ 420020 h 1533601"/>
                <a:gd name="connsiteX34" fmla="*/ 372960 w 733022"/>
                <a:gd name="connsiteY34" fmla="*/ 576281 h 1533601"/>
                <a:gd name="connsiteX35" fmla="*/ 332873 w 733022"/>
                <a:gd name="connsiteY35" fmla="*/ 734971 h 1533601"/>
                <a:gd name="connsiteX36" fmla="*/ 18202 w 733022"/>
                <a:gd name="connsiteY36" fmla="*/ 734971 h 1533601"/>
                <a:gd name="connsiteX37" fmla="*/ 41 w 733022"/>
                <a:gd name="connsiteY37" fmla="*/ 715520 h 1533601"/>
                <a:gd name="connsiteX38" fmla="*/ 76996 w 733022"/>
                <a:gd name="connsiteY38" fmla="*/ 427739 h 1533601"/>
                <a:gd name="connsiteX39" fmla="*/ 88045 w 733022"/>
                <a:gd name="connsiteY39" fmla="*/ 418365 h 1533601"/>
                <a:gd name="connsiteX40" fmla="*/ 353092 w 733022"/>
                <a:gd name="connsiteY40" fmla="*/ 125773 h 1533601"/>
                <a:gd name="connsiteX41" fmla="*/ 364754 w 733022"/>
                <a:gd name="connsiteY41" fmla="*/ 134404 h 1533601"/>
                <a:gd name="connsiteX42" fmla="*/ 519455 w 733022"/>
                <a:gd name="connsiteY42" fmla="*/ 402471 h 1533601"/>
                <a:gd name="connsiteX43" fmla="*/ 404069 w 733022"/>
                <a:gd name="connsiteY43" fmla="*/ 520735 h 1533601"/>
                <a:gd name="connsiteX44" fmla="*/ 134359 w 733022"/>
                <a:gd name="connsiteY44" fmla="*/ 364945 h 1533601"/>
                <a:gd name="connsiteX45" fmla="*/ 128356 w 733022"/>
                <a:gd name="connsiteY45" fmla="*/ 338999 h 1533601"/>
                <a:gd name="connsiteX46" fmla="*/ 338820 w 733022"/>
                <a:gd name="connsiteY46" fmla="*/ 128398 h 1533601"/>
                <a:gd name="connsiteX47" fmla="*/ 353092 w 733022"/>
                <a:gd name="connsiteY47" fmla="*/ 125773 h 1533601"/>
                <a:gd name="connsiteX48" fmla="*/ 715183 w 733022"/>
                <a:gd name="connsiteY48" fmla="*/ 41 h 1533601"/>
                <a:gd name="connsiteX49" fmla="*/ 715202 w 733022"/>
                <a:gd name="connsiteY49" fmla="*/ 41 h 1533601"/>
                <a:gd name="connsiteX50" fmla="*/ 728860 w 733022"/>
                <a:gd name="connsiteY50" fmla="*/ 4910 h 1533601"/>
                <a:gd name="connsiteX51" fmla="*/ 733022 w 733022"/>
                <a:gd name="connsiteY51" fmla="*/ 14482 h 1533601"/>
                <a:gd name="connsiteX52" fmla="*/ 733022 w 733022"/>
                <a:gd name="connsiteY52" fmla="*/ 325990 h 1533601"/>
                <a:gd name="connsiteX53" fmla="*/ 651303 w 733022"/>
                <a:gd name="connsiteY53" fmla="*/ 340329 h 1533601"/>
                <a:gd name="connsiteX54" fmla="*/ 574202 w 733022"/>
                <a:gd name="connsiteY54" fmla="*/ 369991 h 1533601"/>
                <a:gd name="connsiteX55" fmla="*/ 419821 w 733022"/>
                <a:gd name="connsiteY55" fmla="*/ 102489 h 1533601"/>
                <a:gd name="connsiteX56" fmla="*/ 427538 w 733022"/>
                <a:gd name="connsiteY56" fmla="*/ 77032 h 1533601"/>
                <a:gd name="connsiteX57" fmla="*/ 715183 w 733022"/>
                <a:gd name="connsiteY57" fmla="*/ 41 h 1533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733022" h="1533601">
                  <a:moveTo>
                    <a:pt x="579415" y="1154516"/>
                  </a:moveTo>
                  <a:cubicBezTo>
                    <a:pt x="603213" y="1165954"/>
                    <a:pt x="628197" y="1175308"/>
                    <a:pt x="654140" y="1182331"/>
                  </a:cubicBezTo>
                  <a:lnTo>
                    <a:pt x="733022" y="1195890"/>
                  </a:lnTo>
                  <a:lnTo>
                    <a:pt x="733022" y="1519078"/>
                  </a:lnTo>
                  <a:lnTo>
                    <a:pt x="728849" y="1528684"/>
                  </a:lnTo>
                  <a:cubicBezTo>
                    <a:pt x="725303" y="1531998"/>
                    <a:pt x="720443" y="1533909"/>
                    <a:pt x="715183" y="1533561"/>
                  </a:cubicBezTo>
                  <a:cubicBezTo>
                    <a:pt x="612463" y="1526782"/>
                    <a:pt x="515258" y="1499819"/>
                    <a:pt x="427500" y="1456569"/>
                  </a:cubicBezTo>
                  <a:lnTo>
                    <a:pt x="427481" y="1456569"/>
                  </a:lnTo>
                  <a:cubicBezTo>
                    <a:pt x="418052" y="1451918"/>
                    <a:pt x="414495" y="1440226"/>
                    <a:pt x="419765" y="1431112"/>
                  </a:cubicBezTo>
                  <a:close/>
                  <a:moveTo>
                    <a:pt x="409753" y="1009571"/>
                  </a:moveTo>
                  <a:cubicBezTo>
                    <a:pt x="440580" y="1054045"/>
                    <a:pt x="479424" y="1092456"/>
                    <a:pt x="524291" y="1122789"/>
                  </a:cubicBezTo>
                  <a:lnTo>
                    <a:pt x="364754" y="1399179"/>
                  </a:lnTo>
                  <a:cubicBezTo>
                    <a:pt x="359484" y="1408311"/>
                    <a:pt x="347571" y="1411060"/>
                    <a:pt x="338820" y="1405185"/>
                  </a:cubicBezTo>
                  <a:cubicBezTo>
                    <a:pt x="255730" y="1349376"/>
                    <a:pt x="184100" y="1277751"/>
                    <a:pt x="128318" y="1194584"/>
                  </a:cubicBezTo>
                  <a:cubicBezTo>
                    <a:pt x="122446" y="1185828"/>
                    <a:pt x="125194" y="1173910"/>
                    <a:pt x="134321" y="1168637"/>
                  </a:cubicBezTo>
                  <a:close/>
                  <a:moveTo>
                    <a:pt x="18202" y="798631"/>
                  </a:moveTo>
                  <a:lnTo>
                    <a:pt x="333739" y="798631"/>
                  </a:lnTo>
                  <a:cubicBezTo>
                    <a:pt x="338462" y="854289"/>
                    <a:pt x="353650" y="906991"/>
                    <a:pt x="377363" y="954723"/>
                  </a:cubicBezTo>
                  <a:lnTo>
                    <a:pt x="102441" y="1113544"/>
                  </a:lnTo>
                  <a:cubicBezTo>
                    <a:pt x="93331" y="1118816"/>
                    <a:pt x="81644" y="1115258"/>
                    <a:pt x="76996" y="1105824"/>
                  </a:cubicBezTo>
                  <a:cubicBezTo>
                    <a:pt x="33766" y="1018063"/>
                    <a:pt x="6816" y="920849"/>
                    <a:pt x="41" y="818081"/>
                  </a:cubicBezTo>
                  <a:cubicBezTo>
                    <a:pt x="-656" y="807556"/>
                    <a:pt x="7682" y="798631"/>
                    <a:pt x="18202" y="798631"/>
                  </a:cubicBezTo>
                  <a:close/>
                  <a:moveTo>
                    <a:pt x="733022" y="440947"/>
                  </a:moveTo>
                  <a:lnTo>
                    <a:pt x="733022" y="627192"/>
                  </a:lnTo>
                  <a:lnTo>
                    <a:pt x="694597" y="638681"/>
                  </a:lnTo>
                  <a:cubicBezTo>
                    <a:pt x="652977" y="659505"/>
                    <a:pt x="623092" y="700871"/>
                    <a:pt x="618391" y="748942"/>
                  </a:cubicBezTo>
                  <a:cubicBezTo>
                    <a:pt x="612336" y="810922"/>
                    <a:pt x="647367" y="865710"/>
                    <a:pt x="699416" y="889231"/>
                  </a:cubicBezTo>
                  <a:lnTo>
                    <a:pt x="733022" y="896448"/>
                  </a:lnTo>
                  <a:lnTo>
                    <a:pt x="733022" y="1083871"/>
                  </a:lnTo>
                  <a:lnTo>
                    <a:pt x="691051" y="1079617"/>
                  </a:lnTo>
                  <a:cubicBezTo>
                    <a:pt x="543639" y="1049300"/>
                    <a:pt x="432521" y="918253"/>
                    <a:pt x="433014" y="761820"/>
                  </a:cubicBezTo>
                  <a:cubicBezTo>
                    <a:pt x="433475" y="612208"/>
                    <a:pt x="537754" y="484162"/>
                    <a:pt x="678170" y="449027"/>
                  </a:cubicBezTo>
                  <a:close/>
                  <a:moveTo>
                    <a:pt x="88045" y="418365"/>
                  </a:moveTo>
                  <a:cubicBezTo>
                    <a:pt x="92687" y="416955"/>
                    <a:pt x="97886" y="417384"/>
                    <a:pt x="102441" y="420020"/>
                  </a:cubicBezTo>
                  <a:lnTo>
                    <a:pt x="372960" y="576281"/>
                  </a:lnTo>
                  <a:cubicBezTo>
                    <a:pt x="350187" y="624934"/>
                    <a:pt x="336185" y="678503"/>
                    <a:pt x="332873" y="734971"/>
                  </a:cubicBezTo>
                  <a:lnTo>
                    <a:pt x="18202" y="734971"/>
                  </a:lnTo>
                  <a:cubicBezTo>
                    <a:pt x="7682" y="734971"/>
                    <a:pt x="-656" y="726045"/>
                    <a:pt x="41" y="715520"/>
                  </a:cubicBezTo>
                  <a:cubicBezTo>
                    <a:pt x="6816" y="612752"/>
                    <a:pt x="33766" y="515501"/>
                    <a:pt x="76996" y="427739"/>
                  </a:cubicBezTo>
                  <a:cubicBezTo>
                    <a:pt x="79320" y="423023"/>
                    <a:pt x="83404" y="419775"/>
                    <a:pt x="88045" y="418365"/>
                  </a:cubicBezTo>
                  <a:close/>
                  <a:moveTo>
                    <a:pt x="353092" y="125773"/>
                  </a:moveTo>
                  <a:cubicBezTo>
                    <a:pt x="357823" y="126868"/>
                    <a:pt x="362119" y="129838"/>
                    <a:pt x="364754" y="134404"/>
                  </a:cubicBezTo>
                  <a:lnTo>
                    <a:pt x="519455" y="402471"/>
                  </a:lnTo>
                  <a:cubicBezTo>
                    <a:pt x="473873" y="434122"/>
                    <a:pt x="434652" y="474359"/>
                    <a:pt x="404069" y="520735"/>
                  </a:cubicBezTo>
                  <a:lnTo>
                    <a:pt x="134359" y="364945"/>
                  </a:lnTo>
                  <a:cubicBezTo>
                    <a:pt x="125231" y="359673"/>
                    <a:pt x="122484" y="347754"/>
                    <a:pt x="128356" y="338999"/>
                  </a:cubicBezTo>
                  <a:cubicBezTo>
                    <a:pt x="184138" y="255869"/>
                    <a:pt x="255730" y="184244"/>
                    <a:pt x="338820" y="128398"/>
                  </a:cubicBezTo>
                  <a:cubicBezTo>
                    <a:pt x="343196" y="125460"/>
                    <a:pt x="348362" y="124679"/>
                    <a:pt x="353092" y="125773"/>
                  </a:cubicBezTo>
                  <a:close/>
                  <a:moveTo>
                    <a:pt x="715183" y="41"/>
                  </a:moveTo>
                  <a:lnTo>
                    <a:pt x="715202" y="41"/>
                  </a:lnTo>
                  <a:cubicBezTo>
                    <a:pt x="720453" y="-308"/>
                    <a:pt x="725313" y="1599"/>
                    <a:pt x="728860" y="4910"/>
                  </a:cubicBezTo>
                  <a:lnTo>
                    <a:pt x="733022" y="14482"/>
                  </a:lnTo>
                  <a:lnTo>
                    <a:pt x="733022" y="325990"/>
                  </a:lnTo>
                  <a:lnTo>
                    <a:pt x="651303" y="340329"/>
                  </a:lnTo>
                  <a:cubicBezTo>
                    <a:pt x="624470" y="347792"/>
                    <a:pt x="598678" y="357762"/>
                    <a:pt x="574202" y="369991"/>
                  </a:cubicBezTo>
                  <a:lnTo>
                    <a:pt x="419821" y="102489"/>
                  </a:lnTo>
                  <a:cubicBezTo>
                    <a:pt x="414552" y="93357"/>
                    <a:pt x="418090" y="81683"/>
                    <a:pt x="427538" y="77032"/>
                  </a:cubicBezTo>
                  <a:cubicBezTo>
                    <a:pt x="515258" y="33801"/>
                    <a:pt x="612463" y="6819"/>
                    <a:pt x="715183" y="41"/>
                  </a:cubicBezTo>
                  <a:close/>
                </a:path>
              </a:pathLst>
            </a:custGeom>
            <a:gradFill>
              <a:gsLst>
                <a:gs pos="6000">
                  <a:srgbClr val="FF9248">
                    <a:alpha val="34000"/>
                  </a:srgbClr>
                </a:gs>
                <a:gs pos="77000">
                  <a:schemeClr val="accent4">
                    <a:alpha val="29000"/>
                  </a:schemeClr>
                </a:gs>
              </a:gsLst>
              <a:lin ang="3343960" scaled="1"/>
            </a:gradFill>
            <a:ln w="5992" cap="flat">
              <a:noFill/>
              <a:prstDash val="solid"/>
              <a:miter/>
            </a:ln>
          </p:spPr>
          <p:txBody>
            <a:bodyPr wrap="square" rtlCol="0" anchor="ctr">
              <a:noAutofit/>
            </a:bodyPr>
            <a:lstStyle/>
            <a:p>
              <a:endParaRPr lang="en-US"/>
            </a:p>
          </p:txBody>
        </p:sp>
        <p:sp>
          <p:nvSpPr>
            <p:cNvPr id="6" name="Donut 5">
              <a:extLst>
                <a:ext uri="{FF2B5EF4-FFF2-40B4-BE49-F238E27FC236}">
                  <a16:creationId xmlns:a16="http://schemas.microsoft.com/office/drawing/2014/main" id="{5E0C065C-63D7-DBB5-BB94-0A7BC6ABE7F3}"/>
                </a:ext>
              </a:extLst>
            </p:cNvPr>
            <p:cNvSpPr/>
            <p:nvPr/>
          </p:nvSpPr>
          <p:spPr bwMode="auto">
            <a:xfrm>
              <a:off x="11207931" y="1255577"/>
              <a:ext cx="385156" cy="385156"/>
            </a:xfrm>
            <a:prstGeom prst="donut">
              <a:avLst/>
            </a:prstGeom>
            <a:gradFill>
              <a:gsLst>
                <a:gs pos="6000">
                  <a:srgbClr val="FF9248">
                    <a:alpha val="34000"/>
                  </a:srgbClr>
                </a:gs>
                <a:gs pos="77000">
                  <a:schemeClr val="accent4">
                    <a:alpha val="29000"/>
                  </a:schemeClr>
                </a:gs>
              </a:gsLst>
              <a:lin ang="3343960" scaled="1"/>
            </a:gradFill>
            <a:ln w="5992" cap="flat">
              <a:noFill/>
              <a:prstDash val="solid"/>
              <a:miter/>
            </a:ln>
          </p:spPr>
          <p:txBody>
            <a:bodyPr wrap="square" rtlCol="0" anchor="ctr">
              <a:noAutofit/>
            </a:bodyPr>
            <a:lstStyle/>
            <a:p>
              <a:endParaRPr lang="en-US" err="1">
                <a:solidFill>
                  <a:schemeClr val="tx1"/>
                </a:solidFill>
              </a:endParaRPr>
            </a:p>
          </p:txBody>
        </p:sp>
      </p:grpSp>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9401198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1_Demo slide 2">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grpSp>
        <p:nvGrpSpPr>
          <p:cNvPr id="3" name="Group 2">
            <a:extLst>
              <a:ext uri="{FF2B5EF4-FFF2-40B4-BE49-F238E27FC236}">
                <a16:creationId xmlns:a16="http://schemas.microsoft.com/office/drawing/2014/main" id="{BF6F26E9-04F5-1E5C-929C-43C2DA492ECB}"/>
              </a:ext>
            </a:extLst>
          </p:cNvPr>
          <p:cNvGrpSpPr/>
          <p:nvPr userDrawn="1"/>
        </p:nvGrpSpPr>
        <p:grpSpPr>
          <a:xfrm>
            <a:off x="11207931" y="114223"/>
            <a:ext cx="984069" cy="1526510"/>
            <a:chOff x="11207931" y="114223"/>
            <a:chExt cx="984069" cy="1526510"/>
          </a:xfrm>
        </p:grpSpPr>
        <p:sp>
          <p:nvSpPr>
            <p:cNvPr id="4" name="Freeform 3">
              <a:extLst>
                <a:ext uri="{FF2B5EF4-FFF2-40B4-BE49-F238E27FC236}">
                  <a16:creationId xmlns:a16="http://schemas.microsoft.com/office/drawing/2014/main" id="{5BCD68EF-E41E-6D54-6514-00428B126C35}"/>
                </a:ext>
              </a:extLst>
            </p:cNvPr>
            <p:cNvSpPr/>
            <p:nvPr/>
          </p:nvSpPr>
          <p:spPr bwMode="auto">
            <a:xfrm>
              <a:off x="11683516" y="209494"/>
              <a:ext cx="508484" cy="1049410"/>
            </a:xfrm>
            <a:custGeom>
              <a:avLst/>
              <a:gdLst>
                <a:gd name="connsiteX0" fmla="*/ 508484 w 508484"/>
                <a:gd name="connsiteY0" fmla="*/ 0 h 1049410"/>
                <a:gd name="connsiteX1" fmla="*/ 508484 w 508484"/>
                <a:gd name="connsiteY1" fmla="*/ 1049410 h 1049410"/>
                <a:gd name="connsiteX2" fmla="*/ 420411 w 508484"/>
                <a:gd name="connsiteY2" fmla="*/ 1040532 h 1049410"/>
                <a:gd name="connsiteX3" fmla="*/ 0 w 508484"/>
                <a:gd name="connsiteY3" fmla="*/ 524705 h 1049410"/>
                <a:gd name="connsiteX4" fmla="*/ 420411 w 508484"/>
                <a:gd name="connsiteY4" fmla="*/ 8878 h 1049410"/>
                <a:gd name="connsiteX5" fmla="*/ 508484 w 508484"/>
                <a:gd name="connsiteY5" fmla="*/ 0 h 1049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8484" h="1049410">
                  <a:moveTo>
                    <a:pt x="508484" y="0"/>
                  </a:moveTo>
                  <a:lnTo>
                    <a:pt x="508484" y="1049410"/>
                  </a:lnTo>
                  <a:lnTo>
                    <a:pt x="420411" y="1040532"/>
                  </a:lnTo>
                  <a:cubicBezTo>
                    <a:pt x="180483" y="991436"/>
                    <a:pt x="0" y="779147"/>
                    <a:pt x="0" y="524705"/>
                  </a:cubicBezTo>
                  <a:cubicBezTo>
                    <a:pt x="0" y="270263"/>
                    <a:pt x="180483" y="57975"/>
                    <a:pt x="420411" y="8878"/>
                  </a:cubicBezTo>
                  <a:lnTo>
                    <a:pt x="508484" y="0"/>
                  </a:lnTo>
                  <a:close/>
                </a:path>
              </a:pathLst>
            </a:custGeom>
            <a:solidFill>
              <a:schemeClr val="accent5">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6" name="Freeform 5">
              <a:extLst>
                <a:ext uri="{FF2B5EF4-FFF2-40B4-BE49-F238E27FC236}">
                  <a16:creationId xmlns:a16="http://schemas.microsoft.com/office/drawing/2014/main" id="{92140320-85FC-8781-93BB-1C7BDB557CD3}"/>
                </a:ext>
              </a:extLst>
            </p:cNvPr>
            <p:cNvSpPr/>
            <p:nvPr/>
          </p:nvSpPr>
          <p:spPr>
            <a:xfrm>
              <a:off x="11593087" y="114223"/>
              <a:ext cx="598913" cy="1253024"/>
            </a:xfrm>
            <a:custGeom>
              <a:avLst/>
              <a:gdLst>
                <a:gd name="connsiteX0" fmla="*/ 579415 w 733022"/>
                <a:gd name="connsiteY0" fmla="*/ 1154516 h 1533601"/>
                <a:gd name="connsiteX1" fmla="*/ 654140 w 733022"/>
                <a:gd name="connsiteY1" fmla="*/ 1182331 h 1533601"/>
                <a:gd name="connsiteX2" fmla="*/ 733022 w 733022"/>
                <a:gd name="connsiteY2" fmla="*/ 1195890 h 1533601"/>
                <a:gd name="connsiteX3" fmla="*/ 733022 w 733022"/>
                <a:gd name="connsiteY3" fmla="*/ 1519078 h 1533601"/>
                <a:gd name="connsiteX4" fmla="*/ 728849 w 733022"/>
                <a:gd name="connsiteY4" fmla="*/ 1528684 h 1533601"/>
                <a:gd name="connsiteX5" fmla="*/ 715183 w 733022"/>
                <a:gd name="connsiteY5" fmla="*/ 1533561 h 1533601"/>
                <a:gd name="connsiteX6" fmla="*/ 427500 w 733022"/>
                <a:gd name="connsiteY6" fmla="*/ 1456569 h 1533601"/>
                <a:gd name="connsiteX7" fmla="*/ 427481 w 733022"/>
                <a:gd name="connsiteY7" fmla="*/ 1456569 h 1533601"/>
                <a:gd name="connsiteX8" fmla="*/ 419765 w 733022"/>
                <a:gd name="connsiteY8" fmla="*/ 1431112 h 1533601"/>
                <a:gd name="connsiteX9" fmla="*/ 409753 w 733022"/>
                <a:gd name="connsiteY9" fmla="*/ 1009571 h 1533601"/>
                <a:gd name="connsiteX10" fmla="*/ 524291 w 733022"/>
                <a:gd name="connsiteY10" fmla="*/ 1122789 h 1533601"/>
                <a:gd name="connsiteX11" fmla="*/ 364754 w 733022"/>
                <a:gd name="connsiteY11" fmla="*/ 1399179 h 1533601"/>
                <a:gd name="connsiteX12" fmla="*/ 338820 w 733022"/>
                <a:gd name="connsiteY12" fmla="*/ 1405185 h 1533601"/>
                <a:gd name="connsiteX13" fmla="*/ 128318 w 733022"/>
                <a:gd name="connsiteY13" fmla="*/ 1194584 h 1533601"/>
                <a:gd name="connsiteX14" fmla="*/ 134321 w 733022"/>
                <a:gd name="connsiteY14" fmla="*/ 1168637 h 1533601"/>
                <a:gd name="connsiteX15" fmla="*/ 18202 w 733022"/>
                <a:gd name="connsiteY15" fmla="*/ 798631 h 1533601"/>
                <a:gd name="connsiteX16" fmla="*/ 333739 w 733022"/>
                <a:gd name="connsiteY16" fmla="*/ 798631 h 1533601"/>
                <a:gd name="connsiteX17" fmla="*/ 377363 w 733022"/>
                <a:gd name="connsiteY17" fmla="*/ 954723 h 1533601"/>
                <a:gd name="connsiteX18" fmla="*/ 102441 w 733022"/>
                <a:gd name="connsiteY18" fmla="*/ 1113544 h 1533601"/>
                <a:gd name="connsiteX19" fmla="*/ 76996 w 733022"/>
                <a:gd name="connsiteY19" fmla="*/ 1105824 h 1533601"/>
                <a:gd name="connsiteX20" fmla="*/ 41 w 733022"/>
                <a:gd name="connsiteY20" fmla="*/ 818081 h 1533601"/>
                <a:gd name="connsiteX21" fmla="*/ 18202 w 733022"/>
                <a:gd name="connsiteY21" fmla="*/ 798631 h 1533601"/>
                <a:gd name="connsiteX22" fmla="*/ 733022 w 733022"/>
                <a:gd name="connsiteY22" fmla="*/ 440947 h 1533601"/>
                <a:gd name="connsiteX23" fmla="*/ 733022 w 733022"/>
                <a:gd name="connsiteY23" fmla="*/ 627192 h 1533601"/>
                <a:gd name="connsiteX24" fmla="*/ 694597 w 733022"/>
                <a:gd name="connsiteY24" fmla="*/ 638681 h 1533601"/>
                <a:gd name="connsiteX25" fmla="*/ 618391 w 733022"/>
                <a:gd name="connsiteY25" fmla="*/ 748942 h 1533601"/>
                <a:gd name="connsiteX26" fmla="*/ 699416 w 733022"/>
                <a:gd name="connsiteY26" fmla="*/ 889231 h 1533601"/>
                <a:gd name="connsiteX27" fmla="*/ 733022 w 733022"/>
                <a:gd name="connsiteY27" fmla="*/ 896448 h 1533601"/>
                <a:gd name="connsiteX28" fmla="*/ 733022 w 733022"/>
                <a:gd name="connsiteY28" fmla="*/ 1083871 h 1533601"/>
                <a:gd name="connsiteX29" fmla="*/ 691051 w 733022"/>
                <a:gd name="connsiteY29" fmla="*/ 1079617 h 1533601"/>
                <a:gd name="connsiteX30" fmla="*/ 433014 w 733022"/>
                <a:gd name="connsiteY30" fmla="*/ 761820 h 1533601"/>
                <a:gd name="connsiteX31" fmla="*/ 678170 w 733022"/>
                <a:gd name="connsiteY31" fmla="*/ 449027 h 1533601"/>
                <a:gd name="connsiteX32" fmla="*/ 88045 w 733022"/>
                <a:gd name="connsiteY32" fmla="*/ 418365 h 1533601"/>
                <a:gd name="connsiteX33" fmla="*/ 102441 w 733022"/>
                <a:gd name="connsiteY33" fmla="*/ 420020 h 1533601"/>
                <a:gd name="connsiteX34" fmla="*/ 372960 w 733022"/>
                <a:gd name="connsiteY34" fmla="*/ 576281 h 1533601"/>
                <a:gd name="connsiteX35" fmla="*/ 332873 w 733022"/>
                <a:gd name="connsiteY35" fmla="*/ 734971 h 1533601"/>
                <a:gd name="connsiteX36" fmla="*/ 18202 w 733022"/>
                <a:gd name="connsiteY36" fmla="*/ 734971 h 1533601"/>
                <a:gd name="connsiteX37" fmla="*/ 41 w 733022"/>
                <a:gd name="connsiteY37" fmla="*/ 715520 h 1533601"/>
                <a:gd name="connsiteX38" fmla="*/ 76996 w 733022"/>
                <a:gd name="connsiteY38" fmla="*/ 427739 h 1533601"/>
                <a:gd name="connsiteX39" fmla="*/ 88045 w 733022"/>
                <a:gd name="connsiteY39" fmla="*/ 418365 h 1533601"/>
                <a:gd name="connsiteX40" fmla="*/ 353092 w 733022"/>
                <a:gd name="connsiteY40" fmla="*/ 125773 h 1533601"/>
                <a:gd name="connsiteX41" fmla="*/ 364754 w 733022"/>
                <a:gd name="connsiteY41" fmla="*/ 134404 h 1533601"/>
                <a:gd name="connsiteX42" fmla="*/ 519455 w 733022"/>
                <a:gd name="connsiteY42" fmla="*/ 402471 h 1533601"/>
                <a:gd name="connsiteX43" fmla="*/ 404069 w 733022"/>
                <a:gd name="connsiteY43" fmla="*/ 520735 h 1533601"/>
                <a:gd name="connsiteX44" fmla="*/ 134359 w 733022"/>
                <a:gd name="connsiteY44" fmla="*/ 364945 h 1533601"/>
                <a:gd name="connsiteX45" fmla="*/ 128356 w 733022"/>
                <a:gd name="connsiteY45" fmla="*/ 338999 h 1533601"/>
                <a:gd name="connsiteX46" fmla="*/ 338820 w 733022"/>
                <a:gd name="connsiteY46" fmla="*/ 128398 h 1533601"/>
                <a:gd name="connsiteX47" fmla="*/ 353092 w 733022"/>
                <a:gd name="connsiteY47" fmla="*/ 125773 h 1533601"/>
                <a:gd name="connsiteX48" fmla="*/ 715183 w 733022"/>
                <a:gd name="connsiteY48" fmla="*/ 41 h 1533601"/>
                <a:gd name="connsiteX49" fmla="*/ 715202 w 733022"/>
                <a:gd name="connsiteY49" fmla="*/ 41 h 1533601"/>
                <a:gd name="connsiteX50" fmla="*/ 728860 w 733022"/>
                <a:gd name="connsiteY50" fmla="*/ 4910 h 1533601"/>
                <a:gd name="connsiteX51" fmla="*/ 733022 w 733022"/>
                <a:gd name="connsiteY51" fmla="*/ 14482 h 1533601"/>
                <a:gd name="connsiteX52" fmla="*/ 733022 w 733022"/>
                <a:gd name="connsiteY52" fmla="*/ 325990 h 1533601"/>
                <a:gd name="connsiteX53" fmla="*/ 651303 w 733022"/>
                <a:gd name="connsiteY53" fmla="*/ 340329 h 1533601"/>
                <a:gd name="connsiteX54" fmla="*/ 574202 w 733022"/>
                <a:gd name="connsiteY54" fmla="*/ 369991 h 1533601"/>
                <a:gd name="connsiteX55" fmla="*/ 419821 w 733022"/>
                <a:gd name="connsiteY55" fmla="*/ 102489 h 1533601"/>
                <a:gd name="connsiteX56" fmla="*/ 427538 w 733022"/>
                <a:gd name="connsiteY56" fmla="*/ 77032 h 1533601"/>
                <a:gd name="connsiteX57" fmla="*/ 715183 w 733022"/>
                <a:gd name="connsiteY57" fmla="*/ 41 h 1533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733022" h="1533601">
                  <a:moveTo>
                    <a:pt x="579415" y="1154516"/>
                  </a:moveTo>
                  <a:cubicBezTo>
                    <a:pt x="603213" y="1165954"/>
                    <a:pt x="628197" y="1175308"/>
                    <a:pt x="654140" y="1182331"/>
                  </a:cubicBezTo>
                  <a:lnTo>
                    <a:pt x="733022" y="1195890"/>
                  </a:lnTo>
                  <a:lnTo>
                    <a:pt x="733022" y="1519078"/>
                  </a:lnTo>
                  <a:lnTo>
                    <a:pt x="728849" y="1528684"/>
                  </a:lnTo>
                  <a:cubicBezTo>
                    <a:pt x="725303" y="1531998"/>
                    <a:pt x="720443" y="1533909"/>
                    <a:pt x="715183" y="1533561"/>
                  </a:cubicBezTo>
                  <a:cubicBezTo>
                    <a:pt x="612463" y="1526782"/>
                    <a:pt x="515258" y="1499819"/>
                    <a:pt x="427500" y="1456569"/>
                  </a:cubicBezTo>
                  <a:lnTo>
                    <a:pt x="427481" y="1456569"/>
                  </a:lnTo>
                  <a:cubicBezTo>
                    <a:pt x="418052" y="1451918"/>
                    <a:pt x="414495" y="1440226"/>
                    <a:pt x="419765" y="1431112"/>
                  </a:cubicBezTo>
                  <a:close/>
                  <a:moveTo>
                    <a:pt x="409753" y="1009571"/>
                  </a:moveTo>
                  <a:cubicBezTo>
                    <a:pt x="440580" y="1054045"/>
                    <a:pt x="479424" y="1092456"/>
                    <a:pt x="524291" y="1122789"/>
                  </a:cubicBezTo>
                  <a:lnTo>
                    <a:pt x="364754" y="1399179"/>
                  </a:lnTo>
                  <a:cubicBezTo>
                    <a:pt x="359484" y="1408311"/>
                    <a:pt x="347571" y="1411060"/>
                    <a:pt x="338820" y="1405185"/>
                  </a:cubicBezTo>
                  <a:cubicBezTo>
                    <a:pt x="255730" y="1349376"/>
                    <a:pt x="184100" y="1277751"/>
                    <a:pt x="128318" y="1194584"/>
                  </a:cubicBezTo>
                  <a:cubicBezTo>
                    <a:pt x="122446" y="1185828"/>
                    <a:pt x="125194" y="1173910"/>
                    <a:pt x="134321" y="1168637"/>
                  </a:cubicBezTo>
                  <a:close/>
                  <a:moveTo>
                    <a:pt x="18202" y="798631"/>
                  </a:moveTo>
                  <a:lnTo>
                    <a:pt x="333739" y="798631"/>
                  </a:lnTo>
                  <a:cubicBezTo>
                    <a:pt x="338462" y="854289"/>
                    <a:pt x="353650" y="906991"/>
                    <a:pt x="377363" y="954723"/>
                  </a:cubicBezTo>
                  <a:lnTo>
                    <a:pt x="102441" y="1113544"/>
                  </a:lnTo>
                  <a:cubicBezTo>
                    <a:pt x="93331" y="1118816"/>
                    <a:pt x="81644" y="1115258"/>
                    <a:pt x="76996" y="1105824"/>
                  </a:cubicBezTo>
                  <a:cubicBezTo>
                    <a:pt x="33766" y="1018063"/>
                    <a:pt x="6816" y="920849"/>
                    <a:pt x="41" y="818081"/>
                  </a:cubicBezTo>
                  <a:cubicBezTo>
                    <a:pt x="-656" y="807556"/>
                    <a:pt x="7682" y="798631"/>
                    <a:pt x="18202" y="798631"/>
                  </a:cubicBezTo>
                  <a:close/>
                  <a:moveTo>
                    <a:pt x="733022" y="440947"/>
                  </a:moveTo>
                  <a:lnTo>
                    <a:pt x="733022" y="627192"/>
                  </a:lnTo>
                  <a:lnTo>
                    <a:pt x="694597" y="638681"/>
                  </a:lnTo>
                  <a:cubicBezTo>
                    <a:pt x="652977" y="659505"/>
                    <a:pt x="623092" y="700871"/>
                    <a:pt x="618391" y="748942"/>
                  </a:cubicBezTo>
                  <a:cubicBezTo>
                    <a:pt x="612336" y="810922"/>
                    <a:pt x="647367" y="865710"/>
                    <a:pt x="699416" y="889231"/>
                  </a:cubicBezTo>
                  <a:lnTo>
                    <a:pt x="733022" y="896448"/>
                  </a:lnTo>
                  <a:lnTo>
                    <a:pt x="733022" y="1083871"/>
                  </a:lnTo>
                  <a:lnTo>
                    <a:pt x="691051" y="1079617"/>
                  </a:lnTo>
                  <a:cubicBezTo>
                    <a:pt x="543639" y="1049300"/>
                    <a:pt x="432521" y="918253"/>
                    <a:pt x="433014" y="761820"/>
                  </a:cubicBezTo>
                  <a:cubicBezTo>
                    <a:pt x="433475" y="612208"/>
                    <a:pt x="537754" y="484162"/>
                    <a:pt x="678170" y="449027"/>
                  </a:cubicBezTo>
                  <a:close/>
                  <a:moveTo>
                    <a:pt x="88045" y="418365"/>
                  </a:moveTo>
                  <a:cubicBezTo>
                    <a:pt x="92687" y="416955"/>
                    <a:pt x="97886" y="417384"/>
                    <a:pt x="102441" y="420020"/>
                  </a:cubicBezTo>
                  <a:lnTo>
                    <a:pt x="372960" y="576281"/>
                  </a:lnTo>
                  <a:cubicBezTo>
                    <a:pt x="350187" y="624934"/>
                    <a:pt x="336185" y="678503"/>
                    <a:pt x="332873" y="734971"/>
                  </a:cubicBezTo>
                  <a:lnTo>
                    <a:pt x="18202" y="734971"/>
                  </a:lnTo>
                  <a:cubicBezTo>
                    <a:pt x="7682" y="734971"/>
                    <a:pt x="-656" y="726045"/>
                    <a:pt x="41" y="715520"/>
                  </a:cubicBezTo>
                  <a:cubicBezTo>
                    <a:pt x="6816" y="612752"/>
                    <a:pt x="33766" y="515501"/>
                    <a:pt x="76996" y="427739"/>
                  </a:cubicBezTo>
                  <a:cubicBezTo>
                    <a:pt x="79320" y="423023"/>
                    <a:pt x="83404" y="419775"/>
                    <a:pt x="88045" y="418365"/>
                  </a:cubicBezTo>
                  <a:close/>
                  <a:moveTo>
                    <a:pt x="353092" y="125773"/>
                  </a:moveTo>
                  <a:cubicBezTo>
                    <a:pt x="357823" y="126868"/>
                    <a:pt x="362119" y="129838"/>
                    <a:pt x="364754" y="134404"/>
                  </a:cubicBezTo>
                  <a:lnTo>
                    <a:pt x="519455" y="402471"/>
                  </a:lnTo>
                  <a:cubicBezTo>
                    <a:pt x="473873" y="434122"/>
                    <a:pt x="434652" y="474359"/>
                    <a:pt x="404069" y="520735"/>
                  </a:cubicBezTo>
                  <a:lnTo>
                    <a:pt x="134359" y="364945"/>
                  </a:lnTo>
                  <a:cubicBezTo>
                    <a:pt x="125231" y="359673"/>
                    <a:pt x="122484" y="347754"/>
                    <a:pt x="128356" y="338999"/>
                  </a:cubicBezTo>
                  <a:cubicBezTo>
                    <a:pt x="184138" y="255869"/>
                    <a:pt x="255730" y="184244"/>
                    <a:pt x="338820" y="128398"/>
                  </a:cubicBezTo>
                  <a:cubicBezTo>
                    <a:pt x="343196" y="125460"/>
                    <a:pt x="348362" y="124679"/>
                    <a:pt x="353092" y="125773"/>
                  </a:cubicBezTo>
                  <a:close/>
                  <a:moveTo>
                    <a:pt x="715183" y="41"/>
                  </a:moveTo>
                  <a:lnTo>
                    <a:pt x="715202" y="41"/>
                  </a:lnTo>
                  <a:cubicBezTo>
                    <a:pt x="720453" y="-308"/>
                    <a:pt x="725313" y="1599"/>
                    <a:pt x="728860" y="4910"/>
                  </a:cubicBezTo>
                  <a:lnTo>
                    <a:pt x="733022" y="14482"/>
                  </a:lnTo>
                  <a:lnTo>
                    <a:pt x="733022" y="325990"/>
                  </a:lnTo>
                  <a:lnTo>
                    <a:pt x="651303" y="340329"/>
                  </a:lnTo>
                  <a:cubicBezTo>
                    <a:pt x="624470" y="347792"/>
                    <a:pt x="598678" y="357762"/>
                    <a:pt x="574202" y="369991"/>
                  </a:cubicBezTo>
                  <a:lnTo>
                    <a:pt x="419821" y="102489"/>
                  </a:lnTo>
                  <a:cubicBezTo>
                    <a:pt x="414552" y="93357"/>
                    <a:pt x="418090" y="81683"/>
                    <a:pt x="427538" y="77032"/>
                  </a:cubicBezTo>
                  <a:cubicBezTo>
                    <a:pt x="515258" y="33801"/>
                    <a:pt x="612463" y="6819"/>
                    <a:pt x="715183" y="41"/>
                  </a:cubicBezTo>
                  <a:close/>
                </a:path>
              </a:pathLst>
            </a:custGeom>
            <a:gradFill>
              <a:gsLst>
                <a:gs pos="6000">
                  <a:srgbClr val="FF9248">
                    <a:alpha val="34000"/>
                  </a:srgbClr>
                </a:gs>
                <a:gs pos="77000">
                  <a:schemeClr val="accent4">
                    <a:alpha val="29000"/>
                  </a:schemeClr>
                </a:gs>
              </a:gsLst>
              <a:lin ang="3343960" scaled="1"/>
            </a:gradFill>
            <a:ln w="5992" cap="flat">
              <a:noFill/>
              <a:prstDash val="solid"/>
              <a:miter/>
            </a:ln>
          </p:spPr>
          <p:txBody>
            <a:bodyPr wrap="square" rtlCol="0" anchor="ctr">
              <a:noAutofit/>
            </a:bodyPr>
            <a:lstStyle/>
            <a:p>
              <a:endParaRPr lang="en-US"/>
            </a:p>
          </p:txBody>
        </p:sp>
        <p:sp>
          <p:nvSpPr>
            <p:cNvPr id="7" name="Donut 6">
              <a:extLst>
                <a:ext uri="{FF2B5EF4-FFF2-40B4-BE49-F238E27FC236}">
                  <a16:creationId xmlns:a16="http://schemas.microsoft.com/office/drawing/2014/main" id="{E26BD039-3E55-15FE-4B05-31B8816A0D04}"/>
                </a:ext>
              </a:extLst>
            </p:cNvPr>
            <p:cNvSpPr/>
            <p:nvPr/>
          </p:nvSpPr>
          <p:spPr bwMode="auto">
            <a:xfrm>
              <a:off x="11207931" y="1255577"/>
              <a:ext cx="385156" cy="385156"/>
            </a:xfrm>
            <a:prstGeom prst="donut">
              <a:avLst/>
            </a:prstGeom>
            <a:gradFill>
              <a:gsLst>
                <a:gs pos="6000">
                  <a:srgbClr val="FF9248">
                    <a:alpha val="34000"/>
                  </a:srgbClr>
                </a:gs>
                <a:gs pos="77000">
                  <a:schemeClr val="accent4">
                    <a:alpha val="29000"/>
                  </a:schemeClr>
                </a:gs>
              </a:gsLst>
              <a:lin ang="3343960" scaled="1"/>
            </a:gradFill>
            <a:ln w="5992" cap="flat">
              <a:noFill/>
              <a:prstDash val="solid"/>
              <a:miter/>
            </a:ln>
          </p:spPr>
          <p:txBody>
            <a:bodyPr wrap="square" rtlCol="0" anchor="ctr">
              <a:noAutofit/>
            </a:bodyPr>
            <a:lstStyle/>
            <a:p>
              <a:endParaRPr lang="en-US" err="1">
                <a:solidFill>
                  <a:schemeClr val="tx1"/>
                </a:solidFill>
              </a:endParaRPr>
            </a:p>
          </p:txBody>
        </p:sp>
      </p:grpSp>
    </p:spTree>
    <p:extLst>
      <p:ext uri="{BB962C8B-B14F-4D97-AF65-F5344CB8AC3E}">
        <p14:creationId xmlns:p14="http://schemas.microsoft.com/office/powerpoint/2010/main" val="10688423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1_Section Title 2">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3" name="Group 2">
            <a:extLst>
              <a:ext uri="{FF2B5EF4-FFF2-40B4-BE49-F238E27FC236}">
                <a16:creationId xmlns:a16="http://schemas.microsoft.com/office/drawing/2014/main" id="{9071F57A-34A9-1C5C-02BD-B78498DB2A87}"/>
              </a:ext>
            </a:extLst>
          </p:cNvPr>
          <p:cNvGrpSpPr/>
          <p:nvPr userDrawn="1"/>
        </p:nvGrpSpPr>
        <p:grpSpPr>
          <a:xfrm>
            <a:off x="11207931" y="114223"/>
            <a:ext cx="984069" cy="1526510"/>
            <a:chOff x="11207931" y="114223"/>
            <a:chExt cx="984069" cy="1526510"/>
          </a:xfrm>
        </p:grpSpPr>
        <p:sp>
          <p:nvSpPr>
            <p:cNvPr id="4" name="Freeform 3">
              <a:extLst>
                <a:ext uri="{FF2B5EF4-FFF2-40B4-BE49-F238E27FC236}">
                  <a16:creationId xmlns:a16="http://schemas.microsoft.com/office/drawing/2014/main" id="{50408A46-A032-8546-D1D3-A65A80C3B4B1}"/>
                </a:ext>
              </a:extLst>
            </p:cNvPr>
            <p:cNvSpPr/>
            <p:nvPr/>
          </p:nvSpPr>
          <p:spPr bwMode="auto">
            <a:xfrm>
              <a:off x="11683516" y="209494"/>
              <a:ext cx="508484" cy="1049410"/>
            </a:xfrm>
            <a:custGeom>
              <a:avLst/>
              <a:gdLst>
                <a:gd name="connsiteX0" fmla="*/ 508484 w 508484"/>
                <a:gd name="connsiteY0" fmla="*/ 0 h 1049410"/>
                <a:gd name="connsiteX1" fmla="*/ 508484 w 508484"/>
                <a:gd name="connsiteY1" fmla="*/ 1049410 h 1049410"/>
                <a:gd name="connsiteX2" fmla="*/ 420411 w 508484"/>
                <a:gd name="connsiteY2" fmla="*/ 1040532 h 1049410"/>
                <a:gd name="connsiteX3" fmla="*/ 0 w 508484"/>
                <a:gd name="connsiteY3" fmla="*/ 524705 h 1049410"/>
                <a:gd name="connsiteX4" fmla="*/ 420411 w 508484"/>
                <a:gd name="connsiteY4" fmla="*/ 8878 h 1049410"/>
                <a:gd name="connsiteX5" fmla="*/ 508484 w 508484"/>
                <a:gd name="connsiteY5" fmla="*/ 0 h 1049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8484" h="1049410">
                  <a:moveTo>
                    <a:pt x="508484" y="0"/>
                  </a:moveTo>
                  <a:lnTo>
                    <a:pt x="508484" y="1049410"/>
                  </a:lnTo>
                  <a:lnTo>
                    <a:pt x="420411" y="1040532"/>
                  </a:lnTo>
                  <a:cubicBezTo>
                    <a:pt x="180483" y="991436"/>
                    <a:pt x="0" y="779147"/>
                    <a:pt x="0" y="524705"/>
                  </a:cubicBezTo>
                  <a:cubicBezTo>
                    <a:pt x="0" y="270263"/>
                    <a:pt x="180483" y="57975"/>
                    <a:pt x="420411" y="8878"/>
                  </a:cubicBezTo>
                  <a:lnTo>
                    <a:pt x="508484" y="0"/>
                  </a:lnTo>
                  <a:close/>
                </a:path>
              </a:pathLst>
            </a:custGeom>
            <a:solidFill>
              <a:schemeClr val="accent5">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 name="Freeform 4">
              <a:extLst>
                <a:ext uri="{FF2B5EF4-FFF2-40B4-BE49-F238E27FC236}">
                  <a16:creationId xmlns:a16="http://schemas.microsoft.com/office/drawing/2014/main" id="{53FABC3B-C175-BDF0-CFD9-E4AFB53A35F8}"/>
                </a:ext>
              </a:extLst>
            </p:cNvPr>
            <p:cNvSpPr/>
            <p:nvPr/>
          </p:nvSpPr>
          <p:spPr>
            <a:xfrm>
              <a:off x="11593087" y="114223"/>
              <a:ext cx="598913" cy="1253024"/>
            </a:xfrm>
            <a:custGeom>
              <a:avLst/>
              <a:gdLst>
                <a:gd name="connsiteX0" fmla="*/ 579415 w 733022"/>
                <a:gd name="connsiteY0" fmla="*/ 1154516 h 1533601"/>
                <a:gd name="connsiteX1" fmla="*/ 654140 w 733022"/>
                <a:gd name="connsiteY1" fmla="*/ 1182331 h 1533601"/>
                <a:gd name="connsiteX2" fmla="*/ 733022 w 733022"/>
                <a:gd name="connsiteY2" fmla="*/ 1195890 h 1533601"/>
                <a:gd name="connsiteX3" fmla="*/ 733022 w 733022"/>
                <a:gd name="connsiteY3" fmla="*/ 1519078 h 1533601"/>
                <a:gd name="connsiteX4" fmla="*/ 728849 w 733022"/>
                <a:gd name="connsiteY4" fmla="*/ 1528684 h 1533601"/>
                <a:gd name="connsiteX5" fmla="*/ 715183 w 733022"/>
                <a:gd name="connsiteY5" fmla="*/ 1533561 h 1533601"/>
                <a:gd name="connsiteX6" fmla="*/ 427500 w 733022"/>
                <a:gd name="connsiteY6" fmla="*/ 1456569 h 1533601"/>
                <a:gd name="connsiteX7" fmla="*/ 427481 w 733022"/>
                <a:gd name="connsiteY7" fmla="*/ 1456569 h 1533601"/>
                <a:gd name="connsiteX8" fmla="*/ 419765 w 733022"/>
                <a:gd name="connsiteY8" fmla="*/ 1431112 h 1533601"/>
                <a:gd name="connsiteX9" fmla="*/ 409753 w 733022"/>
                <a:gd name="connsiteY9" fmla="*/ 1009571 h 1533601"/>
                <a:gd name="connsiteX10" fmla="*/ 524291 w 733022"/>
                <a:gd name="connsiteY10" fmla="*/ 1122789 h 1533601"/>
                <a:gd name="connsiteX11" fmla="*/ 364754 w 733022"/>
                <a:gd name="connsiteY11" fmla="*/ 1399179 h 1533601"/>
                <a:gd name="connsiteX12" fmla="*/ 338820 w 733022"/>
                <a:gd name="connsiteY12" fmla="*/ 1405185 h 1533601"/>
                <a:gd name="connsiteX13" fmla="*/ 128318 w 733022"/>
                <a:gd name="connsiteY13" fmla="*/ 1194584 h 1533601"/>
                <a:gd name="connsiteX14" fmla="*/ 134321 w 733022"/>
                <a:gd name="connsiteY14" fmla="*/ 1168637 h 1533601"/>
                <a:gd name="connsiteX15" fmla="*/ 18202 w 733022"/>
                <a:gd name="connsiteY15" fmla="*/ 798631 h 1533601"/>
                <a:gd name="connsiteX16" fmla="*/ 333739 w 733022"/>
                <a:gd name="connsiteY16" fmla="*/ 798631 h 1533601"/>
                <a:gd name="connsiteX17" fmla="*/ 377363 w 733022"/>
                <a:gd name="connsiteY17" fmla="*/ 954723 h 1533601"/>
                <a:gd name="connsiteX18" fmla="*/ 102441 w 733022"/>
                <a:gd name="connsiteY18" fmla="*/ 1113544 h 1533601"/>
                <a:gd name="connsiteX19" fmla="*/ 76996 w 733022"/>
                <a:gd name="connsiteY19" fmla="*/ 1105824 h 1533601"/>
                <a:gd name="connsiteX20" fmla="*/ 41 w 733022"/>
                <a:gd name="connsiteY20" fmla="*/ 818081 h 1533601"/>
                <a:gd name="connsiteX21" fmla="*/ 18202 w 733022"/>
                <a:gd name="connsiteY21" fmla="*/ 798631 h 1533601"/>
                <a:gd name="connsiteX22" fmla="*/ 733022 w 733022"/>
                <a:gd name="connsiteY22" fmla="*/ 440947 h 1533601"/>
                <a:gd name="connsiteX23" fmla="*/ 733022 w 733022"/>
                <a:gd name="connsiteY23" fmla="*/ 627192 h 1533601"/>
                <a:gd name="connsiteX24" fmla="*/ 694597 w 733022"/>
                <a:gd name="connsiteY24" fmla="*/ 638681 h 1533601"/>
                <a:gd name="connsiteX25" fmla="*/ 618391 w 733022"/>
                <a:gd name="connsiteY25" fmla="*/ 748942 h 1533601"/>
                <a:gd name="connsiteX26" fmla="*/ 699416 w 733022"/>
                <a:gd name="connsiteY26" fmla="*/ 889231 h 1533601"/>
                <a:gd name="connsiteX27" fmla="*/ 733022 w 733022"/>
                <a:gd name="connsiteY27" fmla="*/ 896448 h 1533601"/>
                <a:gd name="connsiteX28" fmla="*/ 733022 w 733022"/>
                <a:gd name="connsiteY28" fmla="*/ 1083871 h 1533601"/>
                <a:gd name="connsiteX29" fmla="*/ 691051 w 733022"/>
                <a:gd name="connsiteY29" fmla="*/ 1079617 h 1533601"/>
                <a:gd name="connsiteX30" fmla="*/ 433014 w 733022"/>
                <a:gd name="connsiteY30" fmla="*/ 761820 h 1533601"/>
                <a:gd name="connsiteX31" fmla="*/ 678170 w 733022"/>
                <a:gd name="connsiteY31" fmla="*/ 449027 h 1533601"/>
                <a:gd name="connsiteX32" fmla="*/ 88045 w 733022"/>
                <a:gd name="connsiteY32" fmla="*/ 418365 h 1533601"/>
                <a:gd name="connsiteX33" fmla="*/ 102441 w 733022"/>
                <a:gd name="connsiteY33" fmla="*/ 420020 h 1533601"/>
                <a:gd name="connsiteX34" fmla="*/ 372960 w 733022"/>
                <a:gd name="connsiteY34" fmla="*/ 576281 h 1533601"/>
                <a:gd name="connsiteX35" fmla="*/ 332873 w 733022"/>
                <a:gd name="connsiteY35" fmla="*/ 734971 h 1533601"/>
                <a:gd name="connsiteX36" fmla="*/ 18202 w 733022"/>
                <a:gd name="connsiteY36" fmla="*/ 734971 h 1533601"/>
                <a:gd name="connsiteX37" fmla="*/ 41 w 733022"/>
                <a:gd name="connsiteY37" fmla="*/ 715520 h 1533601"/>
                <a:gd name="connsiteX38" fmla="*/ 76996 w 733022"/>
                <a:gd name="connsiteY38" fmla="*/ 427739 h 1533601"/>
                <a:gd name="connsiteX39" fmla="*/ 88045 w 733022"/>
                <a:gd name="connsiteY39" fmla="*/ 418365 h 1533601"/>
                <a:gd name="connsiteX40" fmla="*/ 353092 w 733022"/>
                <a:gd name="connsiteY40" fmla="*/ 125773 h 1533601"/>
                <a:gd name="connsiteX41" fmla="*/ 364754 w 733022"/>
                <a:gd name="connsiteY41" fmla="*/ 134404 h 1533601"/>
                <a:gd name="connsiteX42" fmla="*/ 519455 w 733022"/>
                <a:gd name="connsiteY42" fmla="*/ 402471 h 1533601"/>
                <a:gd name="connsiteX43" fmla="*/ 404069 w 733022"/>
                <a:gd name="connsiteY43" fmla="*/ 520735 h 1533601"/>
                <a:gd name="connsiteX44" fmla="*/ 134359 w 733022"/>
                <a:gd name="connsiteY44" fmla="*/ 364945 h 1533601"/>
                <a:gd name="connsiteX45" fmla="*/ 128356 w 733022"/>
                <a:gd name="connsiteY45" fmla="*/ 338999 h 1533601"/>
                <a:gd name="connsiteX46" fmla="*/ 338820 w 733022"/>
                <a:gd name="connsiteY46" fmla="*/ 128398 h 1533601"/>
                <a:gd name="connsiteX47" fmla="*/ 353092 w 733022"/>
                <a:gd name="connsiteY47" fmla="*/ 125773 h 1533601"/>
                <a:gd name="connsiteX48" fmla="*/ 715183 w 733022"/>
                <a:gd name="connsiteY48" fmla="*/ 41 h 1533601"/>
                <a:gd name="connsiteX49" fmla="*/ 715202 w 733022"/>
                <a:gd name="connsiteY49" fmla="*/ 41 h 1533601"/>
                <a:gd name="connsiteX50" fmla="*/ 728860 w 733022"/>
                <a:gd name="connsiteY50" fmla="*/ 4910 h 1533601"/>
                <a:gd name="connsiteX51" fmla="*/ 733022 w 733022"/>
                <a:gd name="connsiteY51" fmla="*/ 14482 h 1533601"/>
                <a:gd name="connsiteX52" fmla="*/ 733022 w 733022"/>
                <a:gd name="connsiteY52" fmla="*/ 325990 h 1533601"/>
                <a:gd name="connsiteX53" fmla="*/ 651303 w 733022"/>
                <a:gd name="connsiteY53" fmla="*/ 340329 h 1533601"/>
                <a:gd name="connsiteX54" fmla="*/ 574202 w 733022"/>
                <a:gd name="connsiteY54" fmla="*/ 369991 h 1533601"/>
                <a:gd name="connsiteX55" fmla="*/ 419821 w 733022"/>
                <a:gd name="connsiteY55" fmla="*/ 102489 h 1533601"/>
                <a:gd name="connsiteX56" fmla="*/ 427538 w 733022"/>
                <a:gd name="connsiteY56" fmla="*/ 77032 h 1533601"/>
                <a:gd name="connsiteX57" fmla="*/ 715183 w 733022"/>
                <a:gd name="connsiteY57" fmla="*/ 41 h 1533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733022" h="1533601">
                  <a:moveTo>
                    <a:pt x="579415" y="1154516"/>
                  </a:moveTo>
                  <a:cubicBezTo>
                    <a:pt x="603213" y="1165954"/>
                    <a:pt x="628197" y="1175308"/>
                    <a:pt x="654140" y="1182331"/>
                  </a:cubicBezTo>
                  <a:lnTo>
                    <a:pt x="733022" y="1195890"/>
                  </a:lnTo>
                  <a:lnTo>
                    <a:pt x="733022" y="1519078"/>
                  </a:lnTo>
                  <a:lnTo>
                    <a:pt x="728849" y="1528684"/>
                  </a:lnTo>
                  <a:cubicBezTo>
                    <a:pt x="725303" y="1531998"/>
                    <a:pt x="720443" y="1533909"/>
                    <a:pt x="715183" y="1533561"/>
                  </a:cubicBezTo>
                  <a:cubicBezTo>
                    <a:pt x="612463" y="1526782"/>
                    <a:pt x="515258" y="1499819"/>
                    <a:pt x="427500" y="1456569"/>
                  </a:cubicBezTo>
                  <a:lnTo>
                    <a:pt x="427481" y="1456569"/>
                  </a:lnTo>
                  <a:cubicBezTo>
                    <a:pt x="418052" y="1451918"/>
                    <a:pt x="414495" y="1440226"/>
                    <a:pt x="419765" y="1431112"/>
                  </a:cubicBezTo>
                  <a:close/>
                  <a:moveTo>
                    <a:pt x="409753" y="1009571"/>
                  </a:moveTo>
                  <a:cubicBezTo>
                    <a:pt x="440580" y="1054045"/>
                    <a:pt x="479424" y="1092456"/>
                    <a:pt x="524291" y="1122789"/>
                  </a:cubicBezTo>
                  <a:lnTo>
                    <a:pt x="364754" y="1399179"/>
                  </a:lnTo>
                  <a:cubicBezTo>
                    <a:pt x="359484" y="1408311"/>
                    <a:pt x="347571" y="1411060"/>
                    <a:pt x="338820" y="1405185"/>
                  </a:cubicBezTo>
                  <a:cubicBezTo>
                    <a:pt x="255730" y="1349376"/>
                    <a:pt x="184100" y="1277751"/>
                    <a:pt x="128318" y="1194584"/>
                  </a:cubicBezTo>
                  <a:cubicBezTo>
                    <a:pt x="122446" y="1185828"/>
                    <a:pt x="125194" y="1173910"/>
                    <a:pt x="134321" y="1168637"/>
                  </a:cubicBezTo>
                  <a:close/>
                  <a:moveTo>
                    <a:pt x="18202" y="798631"/>
                  </a:moveTo>
                  <a:lnTo>
                    <a:pt x="333739" y="798631"/>
                  </a:lnTo>
                  <a:cubicBezTo>
                    <a:pt x="338462" y="854289"/>
                    <a:pt x="353650" y="906991"/>
                    <a:pt x="377363" y="954723"/>
                  </a:cubicBezTo>
                  <a:lnTo>
                    <a:pt x="102441" y="1113544"/>
                  </a:lnTo>
                  <a:cubicBezTo>
                    <a:pt x="93331" y="1118816"/>
                    <a:pt x="81644" y="1115258"/>
                    <a:pt x="76996" y="1105824"/>
                  </a:cubicBezTo>
                  <a:cubicBezTo>
                    <a:pt x="33766" y="1018063"/>
                    <a:pt x="6816" y="920849"/>
                    <a:pt x="41" y="818081"/>
                  </a:cubicBezTo>
                  <a:cubicBezTo>
                    <a:pt x="-656" y="807556"/>
                    <a:pt x="7682" y="798631"/>
                    <a:pt x="18202" y="798631"/>
                  </a:cubicBezTo>
                  <a:close/>
                  <a:moveTo>
                    <a:pt x="733022" y="440947"/>
                  </a:moveTo>
                  <a:lnTo>
                    <a:pt x="733022" y="627192"/>
                  </a:lnTo>
                  <a:lnTo>
                    <a:pt x="694597" y="638681"/>
                  </a:lnTo>
                  <a:cubicBezTo>
                    <a:pt x="652977" y="659505"/>
                    <a:pt x="623092" y="700871"/>
                    <a:pt x="618391" y="748942"/>
                  </a:cubicBezTo>
                  <a:cubicBezTo>
                    <a:pt x="612336" y="810922"/>
                    <a:pt x="647367" y="865710"/>
                    <a:pt x="699416" y="889231"/>
                  </a:cubicBezTo>
                  <a:lnTo>
                    <a:pt x="733022" y="896448"/>
                  </a:lnTo>
                  <a:lnTo>
                    <a:pt x="733022" y="1083871"/>
                  </a:lnTo>
                  <a:lnTo>
                    <a:pt x="691051" y="1079617"/>
                  </a:lnTo>
                  <a:cubicBezTo>
                    <a:pt x="543639" y="1049300"/>
                    <a:pt x="432521" y="918253"/>
                    <a:pt x="433014" y="761820"/>
                  </a:cubicBezTo>
                  <a:cubicBezTo>
                    <a:pt x="433475" y="612208"/>
                    <a:pt x="537754" y="484162"/>
                    <a:pt x="678170" y="449027"/>
                  </a:cubicBezTo>
                  <a:close/>
                  <a:moveTo>
                    <a:pt x="88045" y="418365"/>
                  </a:moveTo>
                  <a:cubicBezTo>
                    <a:pt x="92687" y="416955"/>
                    <a:pt x="97886" y="417384"/>
                    <a:pt x="102441" y="420020"/>
                  </a:cubicBezTo>
                  <a:lnTo>
                    <a:pt x="372960" y="576281"/>
                  </a:lnTo>
                  <a:cubicBezTo>
                    <a:pt x="350187" y="624934"/>
                    <a:pt x="336185" y="678503"/>
                    <a:pt x="332873" y="734971"/>
                  </a:cubicBezTo>
                  <a:lnTo>
                    <a:pt x="18202" y="734971"/>
                  </a:lnTo>
                  <a:cubicBezTo>
                    <a:pt x="7682" y="734971"/>
                    <a:pt x="-656" y="726045"/>
                    <a:pt x="41" y="715520"/>
                  </a:cubicBezTo>
                  <a:cubicBezTo>
                    <a:pt x="6816" y="612752"/>
                    <a:pt x="33766" y="515501"/>
                    <a:pt x="76996" y="427739"/>
                  </a:cubicBezTo>
                  <a:cubicBezTo>
                    <a:pt x="79320" y="423023"/>
                    <a:pt x="83404" y="419775"/>
                    <a:pt x="88045" y="418365"/>
                  </a:cubicBezTo>
                  <a:close/>
                  <a:moveTo>
                    <a:pt x="353092" y="125773"/>
                  </a:moveTo>
                  <a:cubicBezTo>
                    <a:pt x="357823" y="126868"/>
                    <a:pt x="362119" y="129838"/>
                    <a:pt x="364754" y="134404"/>
                  </a:cubicBezTo>
                  <a:lnTo>
                    <a:pt x="519455" y="402471"/>
                  </a:lnTo>
                  <a:cubicBezTo>
                    <a:pt x="473873" y="434122"/>
                    <a:pt x="434652" y="474359"/>
                    <a:pt x="404069" y="520735"/>
                  </a:cubicBezTo>
                  <a:lnTo>
                    <a:pt x="134359" y="364945"/>
                  </a:lnTo>
                  <a:cubicBezTo>
                    <a:pt x="125231" y="359673"/>
                    <a:pt x="122484" y="347754"/>
                    <a:pt x="128356" y="338999"/>
                  </a:cubicBezTo>
                  <a:cubicBezTo>
                    <a:pt x="184138" y="255869"/>
                    <a:pt x="255730" y="184244"/>
                    <a:pt x="338820" y="128398"/>
                  </a:cubicBezTo>
                  <a:cubicBezTo>
                    <a:pt x="343196" y="125460"/>
                    <a:pt x="348362" y="124679"/>
                    <a:pt x="353092" y="125773"/>
                  </a:cubicBezTo>
                  <a:close/>
                  <a:moveTo>
                    <a:pt x="715183" y="41"/>
                  </a:moveTo>
                  <a:lnTo>
                    <a:pt x="715202" y="41"/>
                  </a:lnTo>
                  <a:cubicBezTo>
                    <a:pt x="720453" y="-308"/>
                    <a:pt x="725313" y="1599"/>
                    <a:pt x="728860" y="4910"/>
                  </a:cubicBezTo>
                  <a:lnTo>
                    <a:pt x="733022" y="14482"/>
                  </a:lnTo>
                  <a:lnTo>
                    <a:pt x="733022" y="325990"/>
                  </a:lnTo>
                  <a:lnTo>
                    <a:pt x="651303" y="340329"/>
                  </a:lnTo>
                  <a:cubicBezTo>
                    <a:pt x="624470" y="347792"/>
                    <a:pt x="598678" y="357762"/>
                    <a:pt x="574202" y="369991"/>
                  </a:cubicBezTo>
                  <a:lnTo>
                    <a:pt x="419821" y="102489"/>
                  </a:lnTo>
                  <a:cubicBezTo>
                    <a:pt x="414552" y="93357"/>
                    <a:pt x="418090" y="81683"/>
                    <a:pt x="427538" y="77032"/>
                  </a:cubicBezTo>
                  <a:cubicBezTo>
                    <a:pt x="515258" y="33801"/>
                    <a:pt x="612463" y="6819"/>
                    <a:pt x="715183" y="41"/>
                  </a:cubicBezTo>
                  <a:close/>
                </a:path>
              </a:pathLst>
            </a:custGeom>
            <a:gradFill>
              <a:gsLst>
                <a:gs pos="6000">
                  <a:srgbClr val="FF9248">
                    <a:alpha val="34000"/>
                  </a:srgbClr>
                </a:gs>
                <a:gs pos="77000">
                  <a:schemeClr val="accent4">
                    <a:alpha val="29000"/>
                  </a:schemeClr>
                </a:gs>
              </a:gsLst>
              <a:lin ang="3343960" scaled="1"/>
            </a:gradFill>
            <a:ln w="5992" cap="flat">
              <a:noFill/>
              <a:prstDash val="solid"/>
              <a:miter/>
            </a:ln>
          </p:spPr>
          <p:txBody>
            <a:bodyPr wrap="square" rtlCol="0" anchor="ctr">
              <a:noAutofit/>
            </a:bodyPr>
            <a:lstStyle/>
            <a:p>
              <a:endParaRPr lang="en-US"/>
            </a:p>
          </p:txBody>
        </p:sp>
        <p:sp>
          <p:nvSpPr>
            <p:cNvPr id="6" name="Donut 5">
              <a:extLst>
                <a:ext uri="{FF2B5EF4-FFF2-40B4-BE49-F238E27FC236}">
                  <a16:creationId xmlns:a16="http://schemas.microsoft.com/office/drawing/2014/main" id="{32B84E0D-D23F-29F6-1B8D-B4821F63F40C}"/>
                </a:ext>
              </a:extLst>
            </p:cNvPr>
            <p:cNvSpPr/>
            <p:nvPr/>
          </p:nvSpPr>
          <p:spPr bwMode="auto">
            <a:xfrm>
              <a:off x="11207931" y="1255577"/>
              <a:ext cx="385156" cy="385156"/>
            </a:xfrm>
            <a:prstGeom prst="donut">
              <a:avLst/>
            </a:prstGeom>
            <a:gradFill>
              <a:gsLst>
                <a:gs pos="6000">
                  <a:srgbClr val="FF9248">
                    <a:alpha val="34000"/>
                  </a:srgbClr>
                </a:gs>
                <a:gs pos="77000">
                  <a:schemeClr val="accent4">
                    <a:alpha val="29000"/>
                  </a:schemeClr>
                </a:gs>
              </a:gsLst>
              <a:lin ang="3343960" scaled="1"/>
            </a:gradFill>
            <a:ln w="5992" cap="flat">
              <a:noFill/>
              <a:prstDash val="solid"/>
              <a:miter/>
            </a:ln>
          </p:spPr>
          <p:txBody>
            <a:bodyPr wrap="square" rtlCol="0" anchor="ctr">
              <a:noAutofit/>
            </a:bodyPr>
            <a:lstStyle/>
            <a:p>
              <a:endParaRPr lang="en-US" err="1">
                <a:solidFill>
                  <a:schemeClr val="tx1"/>
                </a:solidFill>
              </a:endParaRPr>
            </a:p>
          </p:txBody>
        </p:sp>
      </p:grpSp>
    </p:spTree>
    <p:extLst>
      <p:ext uri="{BB962C8B-B14F-4D97-AF65-F5344CB8AC3E}">
        <p14:creationId xmlns:p14="http://schemas.microsoft.com/office/powerpoint/2010/main" val="6400664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1_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2F3163B-B8CA-9B58-F102-FFD76688C442}"/>
              </a:ext>
            </a:extLst>
          </p:cNvPr>
          <p:cNvGrpSpPr/>
          <p:nvPr userDrawn="1"/>
        </p:nvGrpSpPr>
        <p:grpSpPr>
          <a:xfrm>
            <a:off x="11207931" y="114223"/>
            <a:ext cx="984069" cy="1526510"/>
            <a:chOff x="11207931" y="114223"/>
            <a:chExt cx="984069" cy="1526510"/>
          </a:xfrm>
        </p:grpSpPr>
        <p:sp>
          <p:nvSpPr>
            <p:cNvPr id="4" name="Freeform 3">
              <a:extLst>
                <a:ext uri="{FF2B5EF4-FFF2-40B4-BE49-F238E27FC236}">
                  <a16:creationId xmlns:a16="http://schemas.microsoft.com/office/drawing/2014/main" id="{4058B9BA-5181-3861-7600-06DB19A31645}"/>
                </a:ext>
              </a:extLst>
            </p:cNvPr>
            <p:cNvSpPr/>
            <p:nvPr/>
          </p:nvSpPr>
          <p:spPr bwMode="auto">
            <a:xfrm>
              <a:off x="11683516" y="209494"/>
              <a:ext cx="508484" cy="1049410"/>
            </a:xfrm>
            <a:custGeom>
              <a:avLst/>
              <a:gdLst>
                <a:gd name="connsiteX0" fmla="*/ 508484 w 508484"/>
                <a:gd name="connsiteY0" fmla="*/ 0 h 1049410"/>
                <a:gd name="connsiteX1" fmla="*/ 508484 w 508484"/>
                <a:gd name="connsiteY1" fmla="*/ 1049410 h 1049410"/>
                <a:gd name="connsiteX2" fmla="*/ 420411 w 508484"/>
                <a:gd name="connsiteY2" fmla="*/ 1040532 h 1049410"/>
                <a:gd name="connsiteX3" fmla="*/ 0 w 508484"/>
                <a:gd name="connsiteY3" fmla="*/ 524705 h 1049410"/>
                <a:gd name="connsiteX4" fmla="*/ 420411 w 508484"/>
                <a:gd name="connsiteY4" fmla="*/ 8878 h 1049410"/>
                <a:gd name="connsiteX5" fmla="*/ 508484 w 508484"/>
                <a:gd name="connsiteY5" fmla="*/ 0 h 1049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8484" h="1049410">
                  <a:moveTo>
                    <a:pt x="508484" y="0"/>
                  </a:moveTo>
                  <a:lnTo>
                    <a:pt x="508484" y="1049410"/>
                  </a:lnTo>
                  <a:lnTo>
                    <a:pt x="420411" y="1040532"/>
                  </a:lnTo>
                  <a:cubicBezTo>
                    <a:pt x="180483" y="991436"/>
                    <a:pt x="0" y="779147"/>
                    <a:pt x="0" y="524705"/>
                  </a:cubicBezTo>
                  <a:cubicBezTo>
                    <a:pt x="0" y="270263"/>
                    <a:pt x="180483" y="57975"/>
                    <a:pt x="420411" y="8878"/>
                  </a:cubicBezTo>
                  <a:lnTo>
                    <a:pt x="508484" y="0"/>
                  </a:lnTo>
                  <a:close/>
                </a:path>
              </a:pathLst>
            </a:custGeom>
            <a:solidFill>
              <a:schemeClr val="accent5">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9" name="Freeform 8">
              <a:extLst>
                <a:ext uri="{FF2B5EF4-FFF2-40B4-BE49-F238E27FC236}">
                  <a16:creationId xmlns:a16="http://schemas.microsoft.com/office/drawing/2014/main" id="{35F66938-84F3-829F-A9B1-3766D0E23956}"/>
                </a:ext>
              </a:extLst>
            </p:cNvPr>
            <p:cNvSpPr/>
            <p:nvPr/>
          </p:nvSpPr>
          <p:spPr>
            <a:xfrm>
              <a:off x="11593087" y="114223"/>
              <a:ext cx="598913" cy="1253024"/>
            </a:xfrm>
            <a:custGeom>
              <a:avLst/>
              <a:gdLst>
                <a:gd name="connsiteX0" fmla="*/ 579415 w 733022"/>
                <a:gd name="connsiteY0" fmla="*/ 1154516 h 1533601"/>
                <a:gd name="connsiteX1" fmla="*/ 654140 w 733022"/>
                <a:gd name="connsiteY1" fmla="*/ 1182331 h 1533601"/>
                <a:gd name="connsiteX2" fmla="*/ 733022 w 733022"/>
                <a:gd name="connsiteY2" fmla="*/ 1195890 h 1533601"/>
                <a:gd name="connsiteX3" fmla="*/ 733022 w 733022"/>
                <a:gd name="connsiteY3" fmla="*/ 1519078 h 1533601"/>
                <a:gd name="connsiteX4" fmla="*/ 728849 w 733022"/>
                <a:gd name="connsiteY4" fmla="*/ 1528684 h 1533601"/>
                <a:gd name="connsiteX5" fmla="*/ 715183 w 733022"/>
                <a:gd name="connsiteY5" fmla="*/ 1533561 h 1533601"/>
                <a:gd name="connsiteX6" fmla="*/ 427500 w 733022"/>
                <a:gd name="connsiteY6" fmla="*/ 1456569 h 1533601"/>
                <a:gd name="connsiteX7" fmla="*/ 427481 w 733022"/>
                <a:gd name="connsiteY7" fmla="*/ 1456569 h 1533601"/>
                <a:gd name="connsiteX8" fmla="*/ 419765 w 733022"/>
                <a:gd name="connsiteY8" fmla="*/ 1431112 h 1533601"/>
                <a:gd name="connsiteX9" fmla="*/ 409753 w 733022"/>
                <a:gd name="connsiteY9" fmla="*/ 1009571 h 1533601"/>
                <a:gd name="connsiteX10" fmla="*/ 524291 w 733022"/>
                <a:gd name="connsiteY10" fmla="*/ 1122789 h 1533601"/>
                <a:gd name="connsiteX11" fmla="*/ 364754 w 733022"/>
                <a:gd name="connsiteY11" fmla="*/ 1399179 h 1533601"/>
                <a:gd name="connsiteX12" fmla="*/ 338820 w 733022"/>
                <a:gd name="connsiteY12" fmla="*/ 1405185 h 1533601"/>
                <a:gd name="connsiteX13" fmla="*/ 128318 w 733022"/>
                <a:gd name="connsiteY13" fmla="*/ 1194584 h 1533601"/>
                <a:gd name="connsiteX14" fmla="*/ 134321 w 733022"/>
                <a:gd name="connsiteY14" fmla="*/ 1168637 h 1533601"/>
                <a:gd name="connsiteX15" fmla="*/ 18202 w 733022"/>
                <a:gd name="connsiteY15" fmla="*/ 798631 h 1533601"/>
                <a:gd name="connsiteX16" fmla="*/ 333739 w 733022"/>
                <a:gd name="connsiteY16" fmla="*/ 798631 h 1533601"/>
                <a:gd name="connsiteX17" fmla="*/ 377363 w 733022"/>
                <a:gd name="connsiteY17" fmla="*/ 954723 h 1533601"/>
                <a:gd name="connsiteX18" fmla="*/ 102441 w 733022"/>
                <a:gd name="connsiteY18" fmla="*/ 1113544 h 1533601"/>
                <a:gd name="connsiteX19" fmla="*/ 76996 w 733022"/>
                <a:gd name="connsiteY19" fmla="*/ 1105824 h 1533601"/>
                <a:gd name="connsiteX20" fmla="*/ 41 w 733022"/>
                <a:gd name="connsiteY20" fmla="*/ 818081 h 1533601"/>
                <a:gd name="connsiteX21" fmla="*/ 18202 w 733022"/>
                <a:gd name="connsiteY21" fmla="*/ 798631 h 1533601"/>
                <a:gd name="connsiteX22" fmla="*/ 733022 w 733022"/>
                <a:gd name="connsiteY22" fmla="*/ 440947 h 1533601"/>
                <a:gd name="connsiteX23" fmla="*/ 733022 w 733022"/>
                <a:gd name="connsiteY23" fmla="*/ 627192 h 1533601"/>
                <a:gd name="connsiteX24" fmla="*/ 694597 w 733022"/>
                <a:gd name="connsiteY24" fmla="*/ 638681 h 1533601"/>
                <a:gd name="connsiteX25" fmla="*/ 618391 w 733022"/>
                <a:gd name="connsiteY25" fmla="*/ 748942 h 1533601"/>
                <a:gd name="connsiteX26" fmla="*/ 699416 w 733022"/>
                <a:gd name="connsiteY26" fmla="*/ 889231 h 1533601"/>
                <a:gd name="connsiteX27" fmla="*/ 733022 w 733022"/>
                <a:gd name="connsiteY27" fmla="*/ 896448 h 1533601"/>
                <a:gd name="connsiteX28" fmla="*/ 733022 w 733022"/>
                <a:gd name="connsiteY28" fmla="*/ 1083871 h 1533601"/>
                <a:gd name="connsiteX29" fmla="*/ 691051 w 733022"/>
                <a:gd name="connsiteY29" fmla="*/ 1079617 h 1533601"/>
                <a:gd name="connsiteX30" fmla="*/ 433014 w 733022"/>
                <a:gd name="connsiteY30" fmla="*/ 761820 h 1533601"/>
                <a:gd name="connsiteX31" fmla="*/ 678170 w 733022"/>
                <a:gd name="connsiteY31" fmla="*/ 449027 h 1533601"/>
                <a:gd name="connsiteX32" fmla="*/ 88045 w 733022"/>
                <a:gd name="connsiteY32" fmla="*/ 418365 h 1533601"/>
                <a:gd name="connsiteX33" fmla="*/ 102441 w 733022"/>
                <a:gd name="connsiteY33" fmla="*/ 420020 h 1533601"/>
                <a:gd name="connsiteX34" fmla="*/ 372960 w 733022"/>
                <a:gd name="connsiteY34" fmla="*/ 576281 h 1533601"/>
                <a:gd name="connsiteX35" fmla="*/ 332873 w 733022"/>
                <a:gd name="connsiteY35" fmla="*/ 734971 h 1533601"/>
                <a:gd name="connsiteX36" fmla="*/ 18202 w 733022"/>
                <a:gd name="connsiteY36" fmla="*/ 734971 h 1533601"/>
                <a:gd name="connsiteX37" fmla="*/ 41 w 733022"/>
                <a:gd name="connsiteY37" fmla="*/ 715520 h 1533601"/>
                <a:gd name="connsiteX38" fmla="*/ 76996 w 733022"/>
                <a:gd name="connsiteY38" fmla="*/ 427739 h 1533601"/>
                <a:gd name="connsiteX39" fmla="*/ 88045 w 733022"/>
                <a:gd name="connsiteY39" fmla="*/ 418365 h 1533601"/>
                <a:gd name="connsiteX40" fmla="*/ 353092 w 733022"/>
                <a:gd name="connsiteY40" fmla="*/ 125773 h 1533601"/>
                <a:gd name="connsiteX41" fmla="*/ 364754 w 733022"/>
                <a:gd name="connsiteY41" fmla="*/ 134404 h 1533601"/>
                <a:gd name="connsiteX42" fmla="*/ 519455 w 733022"/>
                <a:gd name="connsiteY42" fmla="*/ 402471 h 1533601"/>
                <a:gd name="connsiteX43" fmla="*/ 404069 w 733022"/>
                <a:gd name="connsiteY43" fmla="*/ 520735 h 1533601"/>
                <a:gd name="connsiteX44" fmla="*/ 134359 w 733022"/>
                <a:gd name="connsiteY44" fmla="*/ 364945 h 1533601"/>
                <a:gd name="connsiteX45" fmla="*/ 128356 w 733022"/>
                <a:gd name="connsiteY45" fmla="*/ 338999 h 1533601"/>
                <a:gd name="connsiteX46" fmla="*/ 338820 w 733022"/>
                <a:gd name="connsiteY46" fmla="*/ 128398 h 1533601"/>
                <a:gd name="connsiteX47" fmla="*/ 353092 w 733022"/>
                <a:gd name="connsiteY47" fmla="*/ 125773 h 1533601"/>
                <a:gd name="connsiteX48" fmla="*/ 715183 w 733022"/>
                <a:gd name="connsiteY48" fmla="*/ 41 h 1533601"/>
                <a:gd name="connsiteX49" fmla="*/ 715202 w 733022"/>
                <a:gd name="connsiteY49" fmla="*/ 41 h 1533601"/>
                <a:gd name="connsiteX50" fmla="*/ 728860 w 733022"/>
                <a:gd name="connsiteY50" fmla="*/ 4910 h 1533601"/>
                <a:gd name="connsiteX51" fmla="*/ 733022 w 733022"/>
                <a:gd name="connsiteY51" fmla="*/ 14482 h 1533601"/>
                <a:gd name="connsiteX52" fmla="*/ 733022 w 733022"/>
                <a:gd name="connsiteY52" fmla="*/ 325990 h 1533601"/>
                <a:gd name="connsiteX53" fmla="*/ 651303 w 733022"/>
                <a:gd name="connsiteY53" fmla="*/ 340329 h 1533601"/>
                <a:gd name="connsiteX54" fmla="*/ 574202 w 733022"/>
                <a:gd name="connsiteY54" fmla="*/ 369991 h 1533601"/>
                <a:gd name="connsiteX55" fmla="*/ 419821 w 733022"/>
                <a:gd name="connsiteY55" fmla="*/ 102489 h 1533601"/>
                <a:gd name="connsiteX56" fmla="*/ 427538 w 733022"/>
                <a:gd name="connsiteY56" fmla="*/ 77032 h 1533601"/>
                <a:gd name="connsiteX57" fmla="*/ 715183 w 733022"/>
                <a:gd name="connsiteY57" fmla="*/ 41 h 1533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733022" h="1533601">
                  <a:moveTo>
                    <a:pt x="579415" y="1154516"/>
                  </a:moveTo>
                  <a:cubicBezTo>
                    <a:pt x="603213" y="1165954"/>
                    <a:pt x="628197" y="1175308"/>
                    <a:pt x="654140" y="1182331"/>
                  </a:cubicBezTo>
                  <a:lnTo>
                    <a:pt x="733022" y="1195890"/>
                  </a:lnTo>
                  <a:lnTo>
                    <a:pt x="733022" y="1519078"/>
                  </a:lnTo>
                  <a:lnTo>
                    <a:pt x="728849" y="1528684"/>
                  </a:lnTo>
                  <a:cubicBezTo>
                    <a:pt x="725303" y="1531998"/>
                    <a:pt x="720443" y="1533909"/>
                    <a:pt x="715183" y="1533561"/>
                  </a:cubicBezTo>
                  <a:cubicBezTo>
                    <a:pt x="612463" y="1526782"/>
                    <a:pt x="515258" y="1499819"/>
                    <a:pt x="427500" y="1456569"/>
                  </a:cubicBezTo>
                  <a:lnTo>
                    <a:pt x="427481" y="1456569"/>
                  </a:lnTo>
                  <a:cubicBezTo>
                    <a:pt x="418052" y="1451918"/>
                    <a:pt x="414495" y="1440226"/>
                    <a:pt x="419765" y="1431112"/>
                  </a:cubicBezTo>
                  <a:close/>
                  <a:moveTo>
                    <a:pt x="409753" y="1009571"/>
                  </a:moveTo>
                  <a:cubicBezTo>
                    <a:pt x="440580" y="1054045"/>
                    <a:pt x="479424" y="1092456"/>
                    <a:pt x="524291" y="1122789"/>
                  </a:cubicBezTo>
                  <a:lnTo>
                    <a:pt x="364754" y="1399179"/>
                  </a:lnTo>
                  <a:cubicBezTo>
                    <a:pt x="359484" y="1408311"/>
                    <a:pt x="347571" y="1411060"/>
                    <a:pt x="338820" y="1405185"/>
                  </a:cubicBezTo>
                  <a:cubicBezTo>
                    <a:pt x="255730" y="1349376"/>
                    <a:pt x="184100" y="1277751"/>
                    <a:pt x="128318" y="1194584"/>
                  </a:cubicBezTo>
                  <a:cubicBezTo>
                    <a:pt x="122446" y="1185828"/>
                    <a:pt x="125194" y="1173910"/>
                    <a:pt x="134321" y="1168637"/>
                  </a:cubicBezTo>
                  <a:close/>
                  <a:moveTo>
                    <a:pt x="18202" y="798631"/>
                  </a:moveTo>
                  <a:lnTo>
                    <a:pt x="333739" y="798631"/>
                  </a:lnTo>
                  <a:cubicBezTo>
                    <a:pt x="338462" y="854289"/>
                    <a:pt x="353650" y="906991"/>
                    <a:pt x="377363" y="954723"/>
                  </a:cubicBezTo>
                  <a:lnTo>
                    <a:pt x="102441" y="1113544"/>
                  </a:lnTo>
                  <a:cubicBezTo>
                    <a:pt x="93331" y="1118816"/>
                    <a:pt x="81644" y="1115258"/>
                    <a:pt x="76996" y="1105824"/>
                  </a:cubicBezTo>
                  <a:cubicBezTo>
                    <a:pt x="33766" y="1018063"/>
                    <a:pt x="6816" y="920849"/>
                    <a:pt x="41" y="818081"/>
                  </a:cubicBezTo>
                  <a:cubicBezTo>
                    <a:pt x="-656" y="807556"/>
                    <a:pt x="7682" y="798631"/>
                    <a:pt x="18202" y="798631"/>
                  </a:cubicBezTo>
                  <a:close/>
                  <a:moveTo>
                    <a:pt x="733022" y="440947"/>
                  </a:moveTo>
                  <a:lnTo>
                    <a:pt x="733022" y="627192"/>
                  </a:lnTo>
                  <a:lnTo>
                    <a:pt x="694597" y="638681"/>
                  </a:lnTo>
                  <a:cubicBezTo>
                    <a:pt x="652977" y="659505"/>
                    <a:pt x="623092" y="700871"/>
                    <a:pt x="618391" y="748942"/>
                  </a:cubicBezTo>
                  <a:cubicBezTo>
                    <a:pt x="612336" y="810922"/>
                    <a:pt x="647367" y="865710"/>
                    <a:pt x="699416" y="889231"/>
                  </a:cubicBezTo>
                  <a:lnTo>
                    <a:pt x="733022" y="896448"/>
                  </a:lnTo>
                  <a:lnTo>
                    <a:pt x="733022" y="1083871"/>
                  </a:lnTo>
                  <a:lnTo>
                    <a:pt x="691051" y="1079617"/>
                  </a:lnTo>
                  <a:cubicBezTo>
                    <a:pt x="543639" y="1049300"/>
                    <a:pt x="432521" y="918253"/>
                    <a:pt x="433014" y="761820"/>
                  </a:cubicBezTo>
                  <a:cubicBezTo>
                    <a:pt x="433475" y="612208"/>
                    <a:pt x="537754" y="484162"/>
                    <a:pt x="678170" y="449027"/>
                  </a:cubicBezTo>
                  <a:close/>
                  <a:moveTo>
                    <a:pt x="88045" y="418365"/>
                  </a:moveTo>
                  <a:cubicBezTo>
                    <a:pt x="92687" y="416955"/>
                    <a:pt x="97886" y="417384"/>
                    <a:pt x="102441" y="420020"/>
                  </a:cubicBezTo>
                  <a:lnTo>
                    <a:pt x="372960" y="576281"/>
                  </a:lnTo>
                  <a:cubicBezTo>
                    <a:pt x="350187" y="624934"/>
                    <a:pt x="336185" y="678503"/>
                    <a:pt x="332873" y="734971"/>
                  </a:cubicBezTo>
                  <a:lnTo>
                    <a:pt x="18202" y="734971"/>
                  </a:lnTo>
                  <a:cubicBezTo>
                    <a:pt x="7682" y="734971"/>
                    <a:pt x="-656" y="726045"/>
                    <a:pt x="41" y="715520"/>
                  </a:cubicBezTo>
                  <a:cubicBezTo>
                    <a:pt x="6816" y="612752"/>
                    <a:pt x="33766" y="515501"/>
                    <a:pt x="76996" y="427739"/>
                  </a:cubicBezTo>
                  <a:cubicBezTo>
                    <a:pt x="79320" y="423023"/>
                    <a:pt x="83404" y="419775"/>
                    <a:pt x="88045" y="418365"/>
                  </a:cubicBezTo>
                  <a:close/>
                  <a:moveTo>
                    <a:pt x="353092" y="125773"/>
                  </a:moveTo>
                  <a:cubicBezTo>
                    <a:pt x="357823" y="126868"/>
                    <a:pt x="362119" y="129838"/>
                    <a:pt x="364754" y="134404"/>
                  </a:cubicBezTo>
                  <a:lnTo>
                    <a:pt x="519455" y="402471"/>
                  </a:lnTo>
                  <a:cubicBezTo>
                    <a:pt x="473873" y="434122"/>
                    <a:pt x="434652" y="474359"/>
                    <a:pt x="404069" y="520735"/>
                  </a:cubicBezTo>
                  <a:lnTo>
                    <a:pt x="134359" y="364945"/>
                  </a:lnTo>
                  <a:cubicBezTo>
                    <a:pt x="125231" y="359673"/>
                    <a:pt x="122484" y="347754"/>
                    <a:pt x="128356" y="338999"/>
                  </a:cubicBezTo>
                  <a:cubicBezTo>
                    <a:pt x="184138" y="255869"/>
                    <a:pt x="255730" y="184244"/>
                    <a:pt x="338820" y="128398"/>
                  </a:cubicBezTo>
                  <a:cubicBezTo>
                    <a:pt x="343196" y="125460"/>
                    <a:pt x="348362" y="124679"/>
                    <a:pt x="353092" y="125773"/>
                  </a:cubicBezTo>
                  <a:close/>
                  <a:moveTo>
                    <a:pt x="715183" y="41"/>
                  </a:moveTo>
                  <a:lnTo>
                    <a:pt x="715202" y="41"/>
                  </a:lnTo>
                  <a:cubicBezTo>
                    <a:pt x="720453" y="-308"/>
                    <a:pt x="725313" y="1599"/>
                    <a:pt x="728860" y="4910"/>
                  </a:cubicBezTo>
                  <a:lnTo>
                    <a:pt x="733022" y="14482"/>
                  </a:lnTo>
                  <a:lnTo>
                    <a:pt x="733022" y="325990"/>
                  </a:lnTo>
                  <a:lnTo>
                    <a:pt x="651303" y="340329"/>
                  </a:lnTo>
                  <a:cubicBezTo>
                    <a:pt x="624470" y="347792"/>
                    <a:pt x="598678" y="357762"/>
                    <a:pt x="574202" y="369991"/>
                  </a:cubicBezTo>
                  <a:lnTo>
                    <a:pt x="419821" y="102489"/>
                  </a:lnTo>
                  <a:cubicBezTo>
                    <a:pt x="414552" y="93357"/>
                    <a:pt x="418090" y="81683"/>
                    <a:pt x="427538" y="77032"/>
                  </a:cubicBezTo>
                  <a:cubicBezTo>
                    <a:pt x="515258" y="33801"/>
                    <a:pt x="612463" y="6819"/>
                    <a:pt x="715183" y="41"/>
                  </a:cubicBezTo>
                  <a:close/>
                </a:path>
              </a:pathLst>
            </a:custGeom>
            <a:gradFill>
              <a:gsLst>
                <a:gs pos="6000">
                  <a:srgbClr val="FF9248">
                    <a:alpha val="34000"/>
                  </a:srgbClr>
                </a:gs>
                <a:gs pos="77000">
                  <a:schemeClr val="accent4">
                    <a:alpha val="29000"/>
                  </a:schemeClr>
                </a:gs>
              </a:gsLst>
              <a:lin ang="3343960" scaled="1"/>
            </a:gradFill>
            <a:ln w="5992" cap="flat">
              <a:noFill/>
              <a:prstDash val="solid"/>
              <a:miter/>
            </a:ln>
          </p:spPr>
          <p:txBody>
            <a:bodyPr wrap="square" rtlCol="0" anchor="ctr">
              <a:noAutofit/>
            </a:bodyPr>
            <a:lstStyle/>
            <a:p>
              <a:endParaRPr lang="en-US"/>
            </a:p>
          </p:txBody>
        </p:sp>
        <p:sp>
          <p:nvSpPr>
            <p:cNvPr id="10" name="Donut 9">
              <a:extLst>
                <a:ext uri="{FF2B5EF4-FFF2-40B4-BE49-F238E27FC236}">
                  <a16:creationId xmlns:a16="http://schemas.microsoft.com/office/drawing/2014/main" id="{F68C3F1E-1254-A4C0-2466-20ECA857761F}"/>
                </a:ext>
              </a:extLst>
            </p:cNvPr>
            <p:cNvSpPr/>
            <p:nvPr/>
          </p:nvSpPr>
          <p:spPr bwMode="auto">
            <a:xfrm>
              <a:off x="11207931" y="1255577"/>
              <a:ext cx="385156" cy="385156"/>
            </a:xfrm>
            <a:prstGeom prst="donut">
              <a:avLst/>
            </a:prstGeom>
            <a:gradFill>
              <a:gsLst>
                <a:gs pos="6000">
                  <a:srgbClr val="FF9248">
                    <a:alpha val="34000"/>
                  </a:srgbClr>
                </a:gs>
                <a:gs pos="77000">
                  <a:schemeClr val="accent4">
                    <a:alpha val="29000"/>
                  </a:schemeClr>
                </a:gs>
              </a:gsLst>
              <a:lin ang="3343960" scaled="1"/>
            </a:gradFill>
            <a:ln w="5992" cap="flat">
              <a:noFill/>
              <a:prstDash val="solid"/>
              <a:miter/>
            </a:ln>
          </p:spPr>
          <p:txBody>
            <a:bodyPr wrap="square" rtlCol="0" anchor="ctr">
              <a:noAutofit/>
            </a:bodyPr>
            <a:lstStyle/>
            <a:p>
              <a:endParaRPr lang="en-US" err="1">
                <a:solidFill>
                  <a:schemeClr val="tx1"/>
                </a:solidFill>
              </a:endParaRPr>
            </a:p>
          </p:txBody>
        </p:sp>
      </p:grpSp>
    </p:spTree>
    <p:extLst>
      <p:ext uri="{BB962C8B-B14F-4D97-AF65-F5344CB8AC3E}">
        <p14:creationId xmlns:p14="http://schemas.microsoft.com/office/powerpoint/2010/main" val="320946847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1_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grpSp>
        <p:nvGrpSpPr>
          <p:cNvPr id="4" name="Group 3">
            <a:extLst>
              <a:ext uri="{FF2B5EF4-FFF2-40B4-BE49-F238E27FC236}">
                <a16:creationId xmlns:a16="http://schemas.microsoft.com/office/drawing/2014/main" id="{EBFE3060-4EE2-2A85-F731-15C7A543F46A}"/>
              </a:ext>
            </a:extLst>
          </p:cNvPr>
          <p:cNvGrpSpPr/>
          <p:nvPr userDrawn="1"/>
        </p:nvGrpSpPr>
        <p:grpSpPr>
          <a:xfrm>
            <a:off x="11207931" y="114223"/>
            <a:ext cx="984069" cy="1526510"/>
            <a:chOff x="11207931" y="114223"/>
            <a:chExt cx="984069" cy="1526510"/>
          </a:xfrm>
        </p:grpSpPr>
        <p:sp>
          <p:nvSpPr>
            <p:cNvPr id="7" name="Freeform 6">
              <a:extLst>
                <a:ext uri="{FF2B5EF4-FFF2-40B4-BE49-F238E27FC236}">
                  <a16:creationId xmlns:a16="http://schemas.microsoft.com/office/drawing/2014/main" id="{12AA18F0-5593-667F-41A3-079BCEF063B6}"/>
                </a:ext>
              </a:extLst>
            </p:cNvPr>
            <p:cNvSpPr/>
            <p:nvPr/>
          </p:nvSpPr>
          <p:spPr bwMode="auto">
            <a:xfrm>
              <a:off x="11683516" y="209494"/>
              <a:ext cx="508484" cy="1049410"/>
            </a:xfrm>
            <a:custGeom>
              <a:avLst/>
              <a:gdLst>
                <a:gd name="connsiteX0" fmla="*/ 508484 w 508484"/>
                <a:gd name="connsiteY0" fmla="*/ 0 h 1049410"/>
                <a:gd name="connsiteX1" fmla="*/ 508484 w 508484"/>
                <a:gd name="connsiteY1" fmla="*/ 1049410 h 1049410"/>
                <a:gd name="connsiteX2" fmla="*/ 420411 w 508484"/>
                <a:gd name="connsiteY2" fmla="*/ 1040532 h 1049410"/>
                <a:gd name="connsiteX3" fmla="*/ 0 w 508484"/>
                <a:gd name="connsiteY3" fmla="*/ 524705 h 1049410"/>
                <a:gd name="connsiteX4" fmla="*/ 420411 w 508484"/>
                <a:gd name="connsiteY4" fmla="*/ 8878 h 1049410"/>
                <a:gd name="connsiteX5" fmla="*/ 508484 w 508484"/>
                <a:gd name="connsiteY5" fmla="*/ 0 h 1049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8484" h="1049410">
                  <a:moveTo>
                    <a:pt x="508484" y="0"/>
                  </a:moveTo>
                  <a:lnTo>
                    <a:pt x="508484" y="1049410"/>
                  </a:lnTo>
                  <a:lnTo>
                    <a:pt x="420411" y="1040532"/>
                  </a:lnTo>
                  <a:cubicBezTo>
                    <a:pt x="180483" y="991436"/>
                    <a:pt x="0" y="779147"/>
                    <a:pt x="0" y="524705"/>
                  </a:cubicBezTo>
                  <a:cubicBezTo>
                    <a:pt x="0" y="270263"/>
                    <a:pt x="180483" y="57975"/>
                    <a:pt x="420411" y="8878"/>
                  </a:cubicBezTo>
                  <a:lnTo>
                    <a:pt x="508484" y="0"/>
                  </a:lnTo>
                  <a:close/>
                </a:path>
              </a:pathLst>
            </a:custGeom>
            <a:solidFill>
              <a:schemeClr val="accent5">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8" name="Freeform 7">
              <a:extLst>
                <a:ext uri="{FF2B5EF4-FFF2-40B4-BE49-F238E27FC236}">
                  <a16:creationId xmlns:a16="http://schemas.microsoft.com/office/drawing/2014/main" id="{20D409E2-F81C-EC7E-ED19-0AFCE22017E1}"/>
                </a:ext>
              </a:extLst>
            </p:cNvPr>
            <p:cNvSpPr/>
            <p:nvPr/>
          </p:nvSpPr>
          <p:spPr>
            <a:xfrm>
              <a:off x="11593087" y="114223"/>
              <a:ext cx="598913" cy="1253024"/>
            </a:xfrm>
            <a:custGeom>
              <a:avLst/>
              <a:gdLst>
                <a:gd name="connsiteX0" fmla="*/ 579415 w 733022"/>
                <a:gd name="connsiteY0" fmla="*/ 1154516 h 1533601"/>
                <a:gd name="connsiteX1" fmla="*/ 654140 w 733022"/>
                <a:gd name="connsiteY1" fmla="*/ 1182331 h 1533601"/>
                <a:gd name="connsiteX2" fmla="*/ 733022 w 733022"/>
                <a:gd name="connsiteY2" fmla="*/ 1195890 h 1533601"/>
                <a:gd name="connsiteX3" fmla="*/ 733022 w 733022"/>
                <a:gd name="connsiteY3" fmla="*/ 1519078 h 1533601"/>
                <a:gd name="connsiteX4" fmla="*/ 728849 w 733022"/>
                <a:gd name="connsiteY4" fmla="*/ 1528684 h 1533601"/>
                <a:gd name="connsiteX5" fmla="*/ 715183 w 733022"/>
                <a:gd name="connsiteY5" fmla="*/ 1533561 h 1533601"/>
                <a:gd name="connsiteX6" fmla="*/ 427500 w 733022"/>
                <a:gd name="connsiteY6" fmla="*/ 1456569 h 1533601"/>
                <a:gd name="connsiteX7" fmla="*/ 427481 w 733022"/>
                <a:gd name="connsiteY7" fmla="*/ 1456569 h 1533601"/>
                <a:gd name="connsiteX8" fmla="*/ 419765 w 733022"/>
                <a:gd name="connsiteY8" fmla="*/ 1431112 h 1533601"/>
                <a:gd name="connsiteX9" fmla="*/ 409753 w 733022"/>
                <a:gd name="connsiteY9" fmla="*/ 1009571 h 1533601"/>
                <a:gd name="connsiteX10" fmla="*/ 524291 w 733022"/>
                <a:gd name="connsiteY10" fmla="*/ 1122789 h 1533601"/>
                <a:gd name="connsiteX11" fmla="*/ 364754 w 733022"/>
                <a:gd name="connsiteY11" fmla="*/ 1399179 h 1533601"/>
                <a:gd name="connsiteX12" fmla="*/ 338820 w 733022"/>
                <a:gd name="connsiteY12" fmla="*/ 1405185 h 1533601"/>
                <a:gd name="connsiteX13" fmla="*/ 128318 w 733022"/>
                <a:gd name="connsiteY13" fmla="*/ 1194584 h 1533601"/>
                <a:gd name="connsiteX14" fmla="*/ 134321 w 733022"/>
                <a:gd name="connsiteY14" fmla="*/ 1168637 h 1533601"/>
                <a:gd name="connsiteX15" fmla="*/ 18202 w 733022"/>
                <a:gd name="connsiteY15" fmla="*/ 798631 h 1533601"/>
                <a:gd name="connsiteX16" fmla="*/ 333739 w 733022"/>
                <a:gd name="connsiteY16" fmla="*/ 798631 h 1533601"/>
                <a:gd name="connsiteX17" fmla="*/ 377363 w 733022"/>
                <a:gd name="connsiteY17" fmla="*/ 954723 h 1533601"/>
                <a:gd name="connsiteX18" fmla="*/ 102441 w 733022"/>
                <a:gd name="connsiteY18" fmla="*/ 1113544 h 1533601"/>
                <a:gd name="connsiteX19" fmla="*/ 76996 w 733022"/>
                <a:gd name="connsiteY19" fmla="*/ 1105824 h 1533601"/>
                <a:gd name="connsiteX20" fmla="*/ 41 w 733022"/>
                <a:gd name="connsiteY20" fmla="*/ 818081 h 1533601"/>
                <a:gd name="connsiteX21" fmla="*/ 18202 w 733022"/>
                <a:gd name="connsiteY21" fmla="*/ 798631 h 1533601"/>
                <a:gd name="connsiteX22" fmla="*/ 733022 w 733022"/>
                <a:gd name="connsiteY22" fmla="*/ 440947 h 1533601"/>
                <a:gd name="connsiteX23" fmla="*/ 733022 w 733022"/>
                <a:gd name="connsiteY23" fmla="*/ 627192 h 1533601"/>
                <a:gd name="connsiteX24" fmla="*/ 694597 w 733022"/>
                <a:gd name="connsiteY24" fmla="*/ 638681 h 1533601"/>
                <a:gd name="connsiteX25" fmla="*/ 618391 w 733022"/>
                <a:gd name="connsiteY25" fmla="*/ 748942 h 1533601"/>
                <a:gd name="connsiteX26" fmla="*/ 699416 w 733022"/>
                <a:gd name="connsiteY26" fmla="*/ 889231 h 1533601"/>
                <a:gd name="connsiteX27" fmla="*/ 733022 w 733022"/>
                <a:gd name="connsiteY27" fmla="*/ 896448 h 1533601"/>
                <a:gd name="connsiteX28" fmla="*/ 733022 w 733022"/>
                <a:gd name="connsiteY28" fmla="*/ 1083871 h 1533601"/>
                <a:gd name="connsiteX29" fmla="*/ 691051 w 733022"/>
                <a:gd name="connsiteY29" fmla="*/ 1079617 h 1533601"/>
                <a:gd name="connsiteX30" fmla="*/ 433014 w 733022"/>
                <a:gd name="connsiteY30" fmla="*/ 761820 h 1533601"/>
                <a:gd name="connsiteX31" fmla="*/ 678170 w 733022"/>
                <a:gd name="connsiteY31" fmla="*/ 449027 h 1533601"/>
                <a:gd name="connsiteX32" fmla="*/ 88045 w 733022"/>
                <a:gd name="connsiteY32" fmla="*/ 418365 h 1533601"/>
                <a:gd name="connsiteX33" fmla="*/ 102441 w 733022"/>
                <a:gd name="connsiteY33" fmla="*/ 420020 h 1533601"/>
                <a:gd name="connsiteX34" fmla="*/ 372960 w 733022"/>
                <a:gd name="connsiteY34" fmla="*/ 576281 h 1533601"/>
                <a:gd name="connsiteX35" fmla="*/ 332873 w 733022"/>
                <a:gd name="connsiteY35" fmla="*/ 734971 h 1533601"/>
                <a:gd name="connsiteX36" fmla="*/ 18202 w 733022"/>
                <a:gd name="connsiteY36" fmla="*/ 734971 h 1533601"/>
                <a:gd name="connsiteX37" fmla="*/ 41 w 733022"/>
                <a:gd name="connsiteY37" fmla="*/ 715520 h 1533601"/>
                <a:gd name="connsiteX38" fmla="*/ 76996 w 733022"/>
                <a:gd name="connsiteY38" fmla="*/ 427739 h 1533601"/>
                <a:gd name="connsiteX39" fmla="*/ 88045 w 733022"/>
                <a:gd name="connsiteY39" fmla="*/ 418365 h 1533601"/>
                <a:gd name="connsiteX40" fmla="*/ 353092 w 733022"/>
                <a:gd name="connsiteY40" fmla="*/ 125773 h 1533601"/>
                <a:gd name="connsiteX41" fmla="*/ 364754 w 733022"/>
                <a:gd name="connsiteY41" fmla="*/ 134404 h 1533601"/>
                <a:gd name="connsiteX42" fmla="*/ 519455 w 733022"/>
                <a:gd name="connsiteY42" fmla="*/ 402471 h 1533601"/>
                <a:gd name="connsiteX43" fmla="*/ 404069 w 733022"/>
                <a:gd name="connsiteY43" fmla="*/ 520735 h 1533601"/>
                <a:gd name="connsiteX44" fmla="*/ 134359 w 733022"/>
                <a:gd name="connsiteY44" fmla="*/ 364945 h 1533601"/>
                <a:gd name="connsiteX45" fmla="*/ 128356 w 733022"/>
                <a:gd name="connsiteY45" fmla="*/ 338999 h 1533601"/>
                <a:gd name="connsiteX46" fmla="*/ 338820 w 733022"/>
                <a:gd name="connsiteY46" fmla="*/ 128398 h 1533601"/>
                <a:gd name="connsiteX47" fmla="*/ 353092 w 733022"/>
                <a:gd name="connsiteY47" fmla="*/ 125773 h 1533601"/>
                <a:gd name="connsiteX48" fmla="*/ 715183 w 733022"/>
                <a:gd name="connsiteY48" fmla="*/ 41 h 1533601"/>
                <a:gd name="connsiteX49" fmla="*/ 715202 w 733022"/>
                <a:gd name="connsiteY49" fmla="*/ 41 h 1533601"/>
                <a:gd name="connsiteX50" fmla="*/ 728860 w 733022"/>
                <a:gd name="connsiteY50" fmla="*/ 4910 h 1533601"/>
                <a:gd name="connsiteX51" fmla="*/ 733022 w 733022"/>
                <a:gd name="connsiteY51" fmla="*/ 14482 h 1533601"/>
                <a:gd name="connsiteX52" fmla="*/ 733022 w 733022"/>
                <a:gd name="connsiteY52" fmla="*/ 325990 h 1533601"/>
                <a:gd name="connsiteX53" fmla="*/ 651303 w 733022"/>
                <a:gd name="connsiteY53" fmla="*/ 340329 h 1533601"/>
                <a:gd name="connsiteX54" fmla="*/ 574202 w 733022"/>
                <a:gd name="connsiteY54" fmla="*/ 369991 h 1533601"/>
                <a:gd name="connsiteX55" fmla="*/ 419821 w 733022"/>
                <a:gd name="connsiteY55" fmla="*/ 102489 h 1533601"/>
                <a:gd name="connsiteX56" fmla="*/ 427538 w 733022"/>
                <a:gd name="connsiteY56" fmla="*/ 77032 h 1533601"/>
                <a:gd name="connsiteX57" fmla="*/ 715183 w 733022"/>
                <a:gd name="connsiteY57" fmla="*/ 41 h 1533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733022" h="1533601">
                  <a:moveTo>
                    <a:pt x="579415" y="1154516"/>
                  </a:moveTo>
                  <a:cubicBezTo>
                    <a:pt x="603213" y="1165954"/>
                    <a:pt x="628197" y="1175308"/>
                    <a:pt x="654140" y="1182331"/>
                  </a:cubicBezTo>
                  <a:lnTo>
                    <a:pt x="733022" y="1195890"/>
                  </a:lnTo>
                  <a:lnTo>
                    <a:pt x="733022" y="1519078"/>
                  </a:lnTo>
                  <a:lnTo>
                    <a:pt x="728849" y="1528684"/>
                  </a:lnTo>
                  <a:cubicBezTo>
                    <a:pt x="725303" y="1531998"/>
                    <a:pt x="720443" y="1533909"/>
                    <a:pt x="715183" y="1533561"/>
                  </a:cubicBezTo>
                  <a:cubicBezTo>
                    <a:pt x="612463" y="1526782"/>
                    <a:pt x="515258" y="1499819"/>
                    <a:pt x="427500" y="1456569"/>
                  </a:cubicBezTo>
                  <a:lnTo>
                    <a:pt x="427481" y="1456569"/>
                  </a:lnTo>
                  <a:cubicBezTo>
                    <a:pt x="418052" y="1451918"/>
                    <a:pt x="414495" y="1440226"/>
                    <a:pt x="419765" y="1431112"/>
                  </a:cubicBezTo>
                  <a:close/>
                  <a:moveTo>
                    <a:pt x="409753" y="1009571"/>
                  </a:moveTo>
                  <a:cubicBezTo>
                    <a:pt x="440580" y="1054045"/>
                    <a:pt x="479424" y="1092456"/>
                    <a:pt x="524291" y="1122789"/>
                  </a:cubicBezTo>
                  <a:lnTo>
                    <a:pt x="364754" y="1399179"/>
                  </a:lnTo>
                  <a:cubicBezTo>
                    <a:pt x="359484" y="1408311"/>
                    <a:pt x="347571" y="1411060"/>
                    <a:pt x="338820" y="1405185"/>
                  </a:cubicBezTo>
                  <a:cubicBezTo>
                    <a:pt x="255730" y="1349376"/>
                    <a:pt x="184100" y="1277751"/>
                    <a:pt x="128318" y="1194584"/>
                  </a:cubicBezTo>
                  <a:cubicBezTo>
                    <a:pt x="122446" y="1185828"/>
                    <a:pt x="125194" y="1173910"/>
                    <a:pt x="134321" y="1168637"/>
                  </a:cubicBezTo>
                  <a:close/>
                  <a:moveTo>
                    <a:pt x="18202" y="798631"/>
                  </a:moveTo>
                  <a:lnTo>
                    <a:pt x="333739" y="798631"/>
                  </a:lnTo>
                  <a:cubicBezTo>
                    <a:pt x="338462" y="854289"/>
                    <a:pt x="353650" y="906991"/>
                    <a:pt x="377363" y="954723"/>
                  </a:cubicBezTo>
                  <a:lnTo>
                    <a:pt x="102441" y="1113544"/>
                  </a:lnTo>
                  <a:cubicBezTo>
                    <a:pt x="93331" y="1118816"/>
                    <a:pt x="81644" y="1115258"/>
                    <a:pt x="76996" y="1105824"/>
                  </a:cubicBezTo>
                  <a:cubicBezTo>
                    <a:pt x="33766" y="1018063"/>
                    <a:pt x="6816" y="920849"/>
                    <a:pt x="41" y="818081"/>
                  </a:cubicBezTo>
                  <a:cubicBezTo>
                    <a:pt x="-656" y="807556"/>
                    <a:pt x="7682" y="798631"/>
                    <a:pt x="18202" y="798631"/>
                  </a:cubicBezTo>
                  <a:close/>
                  <a:moveTo>
                    <a:pt x="733022" y="440947"/>
                  </a:moveTo>
                  <a:lnTo>
                    <a:pt x="733022" y="627192"/>
                  </a:lnTo>
                  <a:lnTo>
                    <a:pt x="694597" y="638681"/>
                  </a:lnTo>
                  <a:cubicBezTo>
                    <a:pt x="652977" y="659505"/>
                    <a:pt x="623092" y="700871"/>
                    <a:pt x="618391" y="748942"/>
                  </a:cubicBezTo>
                  <a:cubicBezTo>
                    <a:pt x="612336" y="810922"/>
                    <a:pt x="647367" y="865710"/>
                    <a:pt x="699416" y="889231"/>
                  </a:cubicBezTo>
                  <a:lnTo>
                    <a:pt x="733022" y="896448"/>
                  </a:lnTo>
                  <a:lnTo>
                    <a:pt x="733022" y="1083871"/>
                  </a:lnTo>
                  <a:lnTo>
                    <a:pt x="691051" y="1079617"/>
                  </a:lnTo>
                  <a:cubicBezTo>
                    <a:pt x="543639" y="1049300"/>
                    <a:pt x="432521" y="918253"/>
                    <a:pt x="433014" y="761820"/>
                  </a:cubicBezTo>
                  <a:cubicBezTo>
                    <a:pt x="433475" y="612208"/>
                    <a:pt x="537754" y="484162"/>
                    <a:pt x="678170" y="449027"/>
                  </a:cubicBezTo>
                  <a:close/>
                  <a:moveTo>
                    <a:pt x="88045" y="418365"/>
                  </a:moveTo>
                  <a:cubicBezTo>
                    <a:pt x="92687" y="416955"/>
                    <a:pt x="97886" y="417384"/>
                    <a:pt x="102441" y="420020"/>
                  </a:cubicBezTo>
                  <a:lnTo>
                    <a:pt x="372960" y="576281"/>
                  </a:lnTo>
                  <a:cubicBezTo>
                    <a:pt x="350187" y="624934"/>
                    <a:pt x="336185" y="678503"/>
                    <a:pt x="332873" y="734971"/>
                  </a:cubicBezTo>
                  <a:lnTo>
                    <a:pt x="18202" y="734971"/>
                  </a:lnTo>
                  <a:cubicBezTo>
                    <a:pt x="7682" y="734971"/>
                    <a:pt x="-656" y="726045"/>
                    <a:pt x="41" y="715520"/>
                  </a:cubicBezTo>
                  <a:cubicBezTo>
                    <a:pt x="6816" y="612752"/>
                    <a:pt x="33766" y="515501"/>
                    <a:pt x="76996" y="427739"/>
                  </a:cubicBezTo>
                  <a:cubicBezTo>
                    <a:pt x="79320" y="423023"/>
                    <a:pt x="83404" y="419775"/>
                    <a:pt x="88045" y="418365"/>
                  </a:cubicBezTo>
                  <a:close/>
                  <a:moveTo>
                    <a:pt x="353092" y="125773"/>
                  </a:moveTo>
                  <a:cubicBezTo>
                    <a:pt x="357823" y="126868"/>
                    <a:pt x="362119" y="129838"/>
                    <a:pt x="364754" y="134404"/>
                  </a:cubicBezTo>
                  <a:lnTo>
                    <a:pt x="519455" y="402471"/>
                  </a:lnTo>
                  <a:cubicBezTo>
                    <a:pt x="473873" y="434122"/>
                    <a:pt x="434652" y="474359"/>
                    <a:pt x="404069" y="520735"/>
                  </a:cubicBezTo>
                  <a:lnTo>
                    <a:pt x="134359" y="364945"/>
                  </a:lnTo>
                  <a:cubicBezTo>
                    <a:pt x="125231" y="359673"/>
                    <a:pt x="122484" y="347754"/>
                    <a:pt x="128356" y="338999"/>
                  </a:cubicBezTo>
                  <a:cubicBezTo>
                    <a:pt x="184138" y="255869"/>
                    <a:pt x="255730" y="184244"/>
                    <a:pt x="338820" y="128398"/>
                  </a:cubicBezTo>
                  <a:cubicBezTo>
                    <a:pt x="343196" y="125460"/>
                    <a:pt x="348362" y="124679"/>
                    <a:pt x="353092" y="125773"/>
                  </a:cubicBezTo>
                  <a:close/>
                  <a:moveTo>
                    <a:pt x="715183" y="41"/>
                  </a:moveTo>
                  <a:lnTo>
                    <a:pt x="715202" y="41"/>
                  </a:lnTo>
                  <a:cubicBezTo>
                    <a:pt x="720453" y="-308"/>
                    <a:pt x="725313" y="1599"/>
                    <a:pt x="728860" y="4910"/>
                  </a:cubicBezTo>
                  <a:lnTo>
                    <a:pt x="733022" y="14482"/>
                  </a:lnTo>
                  <a:lnTo>
                    <a:pt x="733022" y="325990"/>
                  </a:lnTo>
                  <a:lnTo>
                    <a:pt x="651303" y="340329"/>
                  </a:lnTo>
                  <a:cubicBezTo>
                    <a:pt x="624470" y="347792"/>
                    <a:pt x="598678" y="357762"/>
                    <a:pt x="574202" y="369991"/>
                  </a:cubicBezTo>
                  <a:lnTo>
                    <a:pt x="419821" y="102489"/>
                  </a:lnTo>
                  <a:cubicBezTo>
                    <a:pt x="414552" y="93357"/>
                    <a:pt x="418090" y="81683"/>
                    <a:pt x="427538" y="77032"/>
                  </a:cubicBezTo>
                  <a:cubicBezTo>
                    <a:pt x="515258" y="33801"/>
                    <a:pt x="612463" y="6819"/>
                    <a:pt x="715183" y="41"/>
                  </a:cubicBezTo>
                  <a:close/>
                </a:path>
              </a:pathLst>
            </a:custGeom>
            <a:gradFill>
              <a:gsLst>
                <a:gs pos="6000">
                  <a:srgbClr val="FF9248">
                    <a:alpha val="34000"/>
                  </a:srgbClr>
                </a:gs>
                <a:gs pos="77000">
                  <a:schemeClr val="accent4">
                    <a:alpha val="29000"/>
                  </a:schemeClr>
                </a:gs>
              </a:gsLst>
              <a:lin ang="3343960" scaled="1"/>
            </a:gradFill>
            <a:ln w="5992" cap="flat">
              <a:noFill/>
              <a:prstDash val="solid"/>
              <a:miter/>
            </a:ln>
          </p:spPr>
          <p:txBody>
            <a:bodyPr wrap="square" rtlCol="0" anchor="ctr">
              <a:noAutofit/>
            </a:bodyPr>
            <a:lstStyle/>
            <a:p>
              <a:endParaRPr lang="en-US"/>
            </a:p>
          </p:txBody>
        </p:sp>
        <p:sp>
          <p:nvSpPr>
            <p:cNvPr id="9" name="Donut 8">
              <a:extLst>
                <a:ext uri="{FF2B5EF4-FFF2-40B4-BE49-F238E27FC236}">
                  <a16:creationId xmlns:a16="http://schemas.microsoft.com/office/drawing/2014/main" id="{87AFC666-7BA8-AA4B-580B-0DF4A47709AB}"/>
                </a:ext>
              </a:extLst>
            </p:cNvPr>
            <p:cNvSpPr/>
            <p:nvPr/>
          </p:nvSpPr>
          <p:spPr bwMode="auto">
            <a:xfrm>
              <a:off x="11207931" y="1255577"/>
              <a:ext cx="385156" cy="385156"/>
            </a:xfrm>
            <a:prstGeom prst="donut">
              <a:avLst/>
            </a:prstGeom>
            <a:gradFill>
              <a:gsLst>
                <a:gs pos="6000">
                  <a:srgbClr val="FF9248">
                    <a:alpha val="34000"/>
                  </a:srgbClr>
                </a:gs>
                <a:gs pos="77000">
                  <a:schemeClr val="accent4">
                    <a:alpha val="29000"/>
                  </a:schemeClr>
                </a:gs>
              </a:gsLst>
              <a:lin ang="3343960" scaled="1"/>
            </a:gradFill>
            <a:ln w="5992" cap="flat">
              <a:noFill/>
              <a:prstDash val="solid"/>
              <a:miter/>
            </a:ln>
          </p:spPr>
          <p:txBody>
            <a:bodyPr wrap="square" rtlCol="0" anchor="ctr">
              <a:noAutofit/>
            </a:bodyPr>
            <a:lstStyle/>
            <a:p>
              <a:endParaRPr lang="en-US" err="1">
                <a:solidFill>
                  <a:schemeClr val="tx1"/>
                </a:solidFill>
              </a:endParaRPr>
            </a:p>
          </p:txBody>
        </p:sp>
      </p:grpSp>
    </p:spTree>
    <p:extLst>
      <p:ext uri="{BB962C8B-B14F-4D97-AF65-F5344CB8AC3E}">
        <p14:creationId xmlns:p14="http://schemas.microsoft.com/office/powerpoint/2010/main" val="404666096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1_Blank">
    <p:bg>
      <p:bgPr>
        <a:solidFill>
          <a:schemeClr val="bg1"/>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10CBB6B4-66DA-4519-5FB5-EB6DEA459E88}"/>
              </a:ext>
            </a:extLst>
          </p:cNvPr>
          <p:cNvGrpSpPr/>
          <p:nvPr userDrawn="1"/>
        </p:nvGrpSpPr>
        <p:grpSpPr>
          <a:xfrm>
            <a:off x="11207931" y="114223"/>
            <a:ext cx="984069" cy="1526510"/>
            <a:chOff x="11207931" y="114223"/>
            <a:chExt cx="984069" cy="1526510"/>
          </a:xfrm>
        </p:grpSpPr>
        <p:sp>
          <p:nvSpPr>
            <p:cNvPr id="3" name="Freeform 2">
              <a:extLst>
                <a:ext uri="{FF2B5EF4-FFF2-40B4-BE49-F238E27FC236}">
                  <a16:creationId xmlns:a16="http://schemas.microsoft.com/office/drawing/2014/main" id="{E9C76425-C8BB-F4BB-3D35-968EE98E6B21}"/>
                </a:ext>
              </a:extLst>
            </p:cNvPr>
            <p:cNvSpPr/>
            <p:nvPr/>
          </p:nvSpPr>
          <p:spPr bwMode="auto">
            <a:xfrm>
              <a:off x="11683516" y="209494"/>
              <a:ext cx="508484" cy="1049410"/>
            </a:xfrm>
            <a:custGeom>
              <a:avLst/>
              <a:gdLst>
                <a:gd name="connsiteX0" fmla="*/ 508484 w 508484"/>
                <a:gd name="connsiteY0" fmla="*/ 0 h 1049410"/>
                <a:gd name="connsiteX1" fmla="*/ 508484 w 508484"/>
                <a:gd name="connsiteY1" fmla="*/ 1049410 h 1049410"/>
                <a:gd name="connsiteX2" fmla="*/ 420411 w 508484"/>
                <a:gd name="connsiteY2" fmla="*/ 1040532 h 1049410"/>
                <a:gd name="connsiteX3" fmla="*/ 0 w 508484"/>
                <a:gd name="connsiteY3" fmla="*/ 524705 h 1049410"/>
                <a:gd name="connsiteX4" fmla="*/ 420411 w 508484"/>
                <a:gd name="connsiteY4" fmla="*/ 8878 h 1049410"/>
                <a:gd name="connsiteX5" fmla="*/ 508484 w 508484"/>
                <a:gd name="connsiteY5" fmla="*/ 0 h 1049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8484" h="1049410">
                  <a:moveTo>
                    <a:pt x="508484" y="0"/>
                  </a:moveTo>
                  <a:lnTo>
                    <a:pt x="508484" y="1049410"/>
                  </a:lnTo>
                  <a:lnTo>
                    <a:pt x="420411" y="1040532"/>
                  </a:lnTo>
                  <a:cubicBezTo>
                    <a:pt x="180483" y="991436"/>
                    <a:pt x="0" y="779147"/>
                    <a:pt x="0" y="524705"/>
                  </a:cubicBezTo>
                  <a:cubicBezTo>
                    <a:pt x="0" y="270263"/>
                    <a:pt x="180483" y="57975"/>
                    <a:pt x="420411" y="8878"/>
                  </a:cubicBezTo>
                  <a:lnTo>
                    <a:pt x="508484" y="0"/>
                  </a:lnTo>
                  <a:close/>
                </a:path>
              </a:pathLst>
            </a:custGeom>
            <a:solidFill>
              <a:schemeClr val="accent5">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4" name="Freeform 3">
              <a:extLst>
                <a:ext uri="{FF2B5EF4-FFF2-40B4-BE49-F238E27FC236}">
                  <a16:creationId xmlns:a16="http://schemas.microsoft.com/office/drawing/2014/main" id="{36C9734C-18B8-1E65-9A13-5D41E3CCC43E}"/>
                </a:ext>
              </a:extLst>
            </p:cNvPr>
            <p:cNvSpPr/>
            <p:nvPr/>
          </p:nvSpPr>
          <p:spPr>
            <a:xfrm>
              <a:off x="11593087" y="114223"/>
              <a:ext cx="598913" cy="1253024"/>
            </a:xfrm>
            <a:custGeom>
              <a:avLst/>
              <a:gdLst>
                <a:gd name="connsiteX0" fmla="*/ 579415 w 733022"/>
                <a:gd name="connsiteY0" fmla="*/ 1154516 h 1533601"/>
                <a:gd name="connsiteX1" fmla="*/ 654140 w 733022"/>
                <a:gd name="connsiteY1" fmla="*/ 1182331 h 1533601"/>
                <a:gd name="connsiteX2" fmla="*/ 733022 w 733022"/>
                <a:gd name="connsiteY2" fmla="*/ 1195890 h 1533601"/>
                <a:gd name="connsiteX3" fmla="*/ 733022 w 733022"/>
                <a:gd name="connsiteY3" fmla="*/ 1519078 h 1533601"/>
                <a:gd name="connsiteX4" fmla="*/ 728849 w 733022"/>
                <a:gd name="connsiteY4" fmla="*/ 1528684 h 1533601"/>
                <a:gd name="connsiteX5" fmla="*/ 715183 w 733022"/>
                <a:gd name="connsiteY5" fmla="*/ 1533561 h 1533601"/>
                <a:gd name="connsiteX6" fmla="*/ 427500 w 733022"/>
                <a:gd name="connsiteY6" fmla="*/ 1456569 h 1533601"/>
                <a:gd name="connsiteX7" fmla="*/ 427481 w 733022"/>
                <a:gd name="connsiteY7" fmla="*/ 1456569 h 1533601"/>
                <a:gd name="connsiteX8" fmla="*/ 419765 w 733022"/>
                <a:gd name="connsiteY8" fmla="*/ 1431112 h 1533601"/>
                <a:gd name="connsiteX9" fmla="*/ 409753 w 733022"/>
                <a:gd name="connsiteY9" fmla="*/ 1009571 h 1533601"/>
                <a:gd name="connsiteX10" fmla="*/ 524291 w 733022"/>
                <a:gd name="connsiteY10" fmla="*/ 1122789 h 1533601"/>
                <a:gd name="connsiteX11" fmla="*/ 364754 w 733022"/>
                <a:gd name="connsiteY11" fmla="*/ 1399179 h 1533601"/>
                <a:gd name="connsiteX12" fmla="*/ 338820 w 733022"/>
                <a:gd name="connsiteY12" fmla="*/ 1405185 h 1533601"/>
                <a:gd name="connsiteX13" fmla="*/ 128318 w 733022"/>
                <a:gd name="connsiteY13" fmla="*/ 1194584 h 1533601"/>
                <a:gd name="connsiteX14" fmla="*/ 134321 w 733022"/>
                <a:gd name="connsiteY14" fmla="*/ 1168637 h 1533601"/>
                <a:gd name="connsiteX15" fmla="*/ 18202 w 733022"/>
                <a:gd name="connsiteY15" fmla="*/ 798631 h 1533601"/>
                <a:gd name="connsiteX16" fmla="*/ 333739 w 733022"/>
                <a:gd name="connsiteY16" fmla="*/ 798631 h 1533601"/>
                <a:gd name="connsiteX17" fmla="*/ 377363 w 733022"/>
                <a:gd name="connsiteY17" fmla="*/ 954723 h 1533601"/>
                <a:gd name="connsiteX18" fmla="*/ 102441 w 733022"/>
                <a:gd name="connsiteY18" fmla="*/ 1113544 h 1533601"/>
                <a:gd name="connsiteX19" fmla="*/ 76996 w 733022"/>
                <a:gd name="connsiteY19" fmla="*/ 1105824 h 1533601"/>
                <a:gd name="connsiteX20" fmla="*/ 41 w 733022"/>
                <a:gd name="connsiteY20" fmla="*/ 818081 h 1533601"/>
                <a:gd name="connsiteX21" fmla="*/ 18202 w 733022"/>
                <a:gd name="connsiteY21" fmla="*/ 798631 h 1533601"/>
                <a:gd name="connsiteX22" fmla="*/ 733022 w 733022"/>
                <a:gd name="connsiteY22" fmla="*/ 440947 h 1533601"/>
                <a:gd name="connsiteX23" fmla="*/ 733022 w 733022"/>
                <a:gd name="connsiteY23" fmla="*/ 627192 h 1533601"/>
                <a:gd name="connsiteX24" fmla="*/ 694597 w 733022"/>
                <a:gd name="connsiteY24" fmla="*/ 638681 h 1533601"/>
                <a:gd name="connsiteX25" fmla="*/ 618391 w 733022"/>
                <a:gd name="connsiteY25" fmla="*/ 748942 h 1533601"/>
                <a:gd name="connsiteX26" fmla="*/ 699416 w 733022"/>
                <a:gd name="connsiteY26" fmla="*/ 889231 h 1533601"/>
                <a:gd name="connsiteX27" fmla="*/ 733022 w 733022"/>
                <a:gd name="connsiteY27" fmla="*/ 896448 h 1533601"/>
                <a:gd name="connsiteX28" fmla="*/ 733022 w 733022"/>
                <a:gd name="connsiteY28" fmla="*/ 1083871 h 1533601"/>
                <a:gd name="connsiteX29" fmla="*/ 691051 w 733022"/>
                <a:gd name="connsiteY29" fmla="*/ 1079617 h 1533601"/>
                <a:gd name="connsiteX30" fmla="*/ 433014 w 733022"/>
                <a:gd name="connsiteY30" fmla="*/ 761820 h 1533601"/>
                <a:gd name="connsiteX31" fmla="*/ 678170 w 733022"/>
                <a:gd name="connsiteY31" fmla="*/ 449027 h 1533601"/>
                <a:gd name="connsiteX32" fmla="*/ 88045 w 733022"/>
                <a:gd name="connsiteY32" fmla="*/ 418365 h 1533601"/>
                <a:gd name="connsiteX33" fmla="*/ 102441 w 733022"/>
                <a:gd name="connsiteY33" fmla="*/ 420020 h 1533601"/>
                <a:gd name="connsiteX34" fmla="*/ 372960 w 733022"/>
                <a:gd name="connsiteY34" fmla="*/ 576281 h 1533601"/>
                <a:gd name="connsiteX35" fmla="*/ 332873 w 733022"/>
                <a:gd name="connsiteY35" fmla="*/ 734971 h 1533601"/>
                <a:gd name="connsiteX36" fmla="*/ 18202 w 733022"/>
                <a:gd name="connsiteY36" fmla="*/ 734971 h 1533601"/>
                <a:gd name="connsiteX37" fmla="*/ 41 w 733022"/>
                <a:gd name="connsiteY37" fmla="*/ 715520 h 1533601"/>
                <a:gd name="connsiteX38" fmla="*/ 76996 w 733022"/>
                <a:gd name="connsiteY38" fmla="*/ 427739 h 1533601"/>
                <a:gd name="connsiteX39" fmla="*/ 88045 w 733022"/>
                <a:gd name="connsiteY39" fmla="*/ 418365 h 1533601"/>
                <a:gd name="connsiteX40" fmla="*/ 353092 w 733022"/>
                <a:gd name="connsiteY40" fmla="*/ 125773 h 1533601"/>
                <a:gd name="connsiteX41" fmla="*/ 364754 w 733022"/>
                <a:gd name="connsiteY41" fmla="*/ 134404 h 1533601"/>
                <a:gd name="connsiteX42" fmla="*/ 519455 w 733022"/>
                <a:gd name="connsiteY42" fmla="*/ 402471 h 1533601"/>
                <a:gd name="connsiteX43" fmla="*/ 404069 w 733022"/>
                <a:gd name="connsiteY43" fmla="*/ 520735 h 1533601"/>
                <a:gd name="connsiteX44" fmla="*/ 134359 w 733022"/>
                <a:gd name="connsiteY44" fmla="*/ 364945 h 1533601"/>
                <a:gd name="connsiteX45" fmla="*/ 128356 w 733022"/>
                <a:gd name="connsiteY45" fmla="*/ 338999 h 1533601"/>
                <a:gd name="connsiteX46" fmla="*/ 338820 w 733022"/>
                <a:gd name="connsiteY46" fmla="*/ 128398 h 1533601"/>
                <a:gd name="connsiteX47" fmla="*/ 353092 w 733022"/>
                <a:gd name="connsiteY47" fmla="*/ 125773 h 1533601"/>
                <a:gd name="connsiteX48" fmla="*/ 715183 w 733022"/>
                <a:gd name="connsiteY48" fmla="*/ 41 h 1533601"/>
                <a:gd name="connsiteX49" fmla="*/ 715202 w 733022"/>
                <a:gd name="connsiteY49" fmla="*/ 41 h 1533601"/>
                <a:gd name="connsiteX50" fmla="*/ 728860 w 733022"/>
                <a:gd name="connsiteY50" fmla="*/ 4910 h 1533601"/>
                <a:gd name="connsiteX51" fmla="*/ 733022 w 733022"/>
                <a:gd name="connsiteY51" fmla="*/ 14482 h 1533601"/>
                <a:gd name="connsiteX52" fmla="*/ 733022 w 733022"/>
                <a:gd name="connsiteY52" fmla="*/ 325990 h 1533601"/>
                <a:gd name="connsiteX53" fmla="*/ 651303 w 733022"/>
                <a:gd name="connsiteY53" fmla="*/ 340329 h 1533601"/>
                <a:gd name="connsiteX54" fmla="*/ 574202 w 733022"/>
                <a:gd name="connsiteY54" fmla="*/ 369991 h 1533601"/>
                <a:gd name="connsiteX55" fmla="*/ 419821 w 733022"/>
                <a:gd name="connsiteY55" fmla="*/ 102489 h 1533601"/>
                <a:gd name="connsiteX56" fmla="*/ 427538 w 733022"/>
                <a:gd name="connsiteY56" fmla="*/ 77032 h 1533601"/>
                <a:gd name="connsiteX57" fmla="*/ 715183 w 733022"/>
                <a:gd name="connsiteY57" fmla="*/ 41 h 1533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733022" h="1533601">
                  <a:moveTo>
                    <a:pt x="579415" y="1154516"/>
                  </a:moveTo>
                  <a:cubicBezTo>
                    <a:pt x="603213" y="1165954"/>
                    <a:pt x="628197" y="1175308"/>
                    <a:pt x="654140" y="1182331"/>
                  </a:cubicBezTo>
                  <a:lnTo>
                    <a:pt x="733022" y="1195890"/>
                  </a:lnTo>
                  <a:lnTo>
                    <a:pt x="733022" y="1519078"/>
                  </a:lnTo>
                  <a:lnTo>
                    <a:pt x="728849" y="1528684"/>
                  </a:lnTo>
                  <a:cubicBezTo>
                    <a:pt x="725303" y="1531998"/>
                    <a:pt x="720443" y="1533909"/>
                    <a:pt x="715183" y="1533561"/>
                  </a:cubicBezTo>
                  <a:cubicBezTo>
                    <a:pt x="612463" y="1526782"/>
                    <a:pt x="515258" y="1499819"/>
                    <a:pt x="427500" y="1456569"/>
                  </a:cubicBezTo>
                  <a:lnTo>
                    <a:pt x="427481" y="1456569"/>
                  </a:lnTo>
                  <a:cubicBezTo>
                    <a:pt x="418052" y="1451918"/>
                    <a:pt x="414495" y="1440226"/>
                    <a:pt x="419765" y="1431112"/>
                  </a:cubicBezTo>
                  <a:close/>
                  <a:moveTo>
                    <a:pt x="409753" y="1009571"/>
                  </a:moveTo>
                  <a:cubicBezTo>
                    <a:pt x="440580" y="1054045"/>
                    <a:pt x="479424" y="1092456"/>
                    <a:pt x="524291" y="1122789"/>
                  </a:cubicBezTo>
                  <a:lnTo>
                    <a:pt x="364754" y="1399179"/>
                  </a:lnTo>
                  <a:cubicBezTo>
                    <a:pt x="359484" y="1408311"/>
                    <a:pt x="347571" y="1411060"/>
                    <a:pt x="338820" y="1405185"/>
                  </a:cubicBezTo>
                  <a:cubicBezTo>
                    <a:pt x="255730" y="1349376"/>
                    <a:pt x="184100" y="1277751"/>
                    <a:pt x="128318" y="1194584"/>
                  </a:cubicBezTo>
                  <a:cubicBezTo>
                    <a:pt x="122446" y="1185828"/>
                    <a:pt x="125194" y="1173910"/>
                    <a:pt x="134321" y="1168637"/>
                  </a:cubicBezTo>
                  <a:close/>
                  <a:moveTo>
                    <a:pt x="18202" y="798631"/>
                  </a:moveTo>
                  <a:lnTo>
                    <a:pt x="333739" y="798631"/>
                  </a:lnTo>
                  <a:cubicBezTo>
                    <a:pt x="338462" y="854289"/>
                    <a:pt x="353650" y="906991"/>
                    <a:pt x="377363" y="954723"/>
                  </a:cubicBezTo>
                  <a:lnTo>
                    <a:pt x="102441" y="1113544"/>
                  </a:lnTo>
                  <a:cubicBezTo>
                    <a:pt x="93331" y="1118816"/>
                    <a:pt x="81644" y="1115258"/>
                    <a:pt x="76996" y="1105824"/>
                  </a:cubicBezTo>
                  <a:cubicBezTo>
                    <a:pt x="33766" y="1018063"/>
                    <a:pt x="6816" y="920849"/>
                    <a:pt x="41" y="818081"/>
                  </a:cubicBezTo>
                  <a:cubicBezTo>
                    <a:pt x="-656" y="807556"/>
                    <a:pt x="7682" y="798631"/>
                    <a:pt x="18202" y="798631"/>
                  </a:cubicBezTo>
                  <a:close/>
                  <a:moveTo>
                    <a:pt x="733022" y="440947"/>
                  </a:moveTo>
                  <a:lnTo>
                    <a:pt x="733022" y="627192"/>
                  </a:lnTo>
                  <a:lnTo>
                    <a:pt x="694597" y="638681"/>
                  </a:lnTo>
                  <a:cubicBezTo>
                    <a:pt x="652977" y="659505"/>
                    <a:pt x="623092" y="700871"/>
                    <a:pt x="618391" y="748942"/>
                  </a:cubicBezTo>
                  <a:cubicBezTo>
                    <a:pt x="612336" y="810922"/>
                    <a:pt x="647367" y="865710"/>
                    <a:pt x="699416" y="889231"/>
                  </a:cubicBezTo>
                  <a:lnTo>
                    <a:pt x="733022" y="896448"/>
                  </a:lnTo>
                  <a:lnTo>
                    <a:pt x="733022" y="1083871"/>
                  </a:lnTo>
                  <a:lnTo>
                    <a:pt x="691051" y="1079617"/>
                  </a:lnTo>
                  <a:cubicBezTo>
                    <a:pt x="543639" y="1049300"/>
                    <a:pt x="432521" y="918253"/>
                    <a:pt x="433014" y="761820"/>
                  </a:cubicBezTo>
                  <a:cubicBezTo>
                    <a:pt x="433475" y="612208"/>
                    <a:pt x="537754" y="484162"/>
                    <a:pt x="678170" y="449027"/>
                  </a:cubicBezTo>
                  <a:close/>
                  <a:moveTo>
                    <a:pt x="88045" y="418365"/>
                  </a:moveTo>
                  <a:cubicBezTo>
                    <a:pt x="92687" y="416955"/>
                    <a:pt x="97886" y="417384"/>
                    <a:pt x="102441" y="420020"/>
                  </a:cubicBezTo>
                  <a:lnTo>
                    <a:pt x="372960" y="576281"/>
                  </a:lnTo>
                  <a:cubicBezTo>
                    <a:pt x="350187" y="624934"/>
                    <a:pt x="336185" y="678503"/>
                    <a:pt x="332873" y="734971"/>
                  </a:cubicBezTo>
                  <a:lnTo>
                    <a:pt x="18202" y="734971"/>
                  </a:lnTo>
                  <a:cubicBezTo>
                    <a:pt x="7682" y="734971"/>
                    <a:pt x="-656" y="726045"/>
                    <a:pt x="41" y="715520"/>
                  </a:cubicBezTo>
                  <a:cubicBezTo>
                    <a:pt x="6816" y="612752"/>
                    <a:pt x="33766" y="515501"/>
                    <a:pt x="76996" y="427739"/>
                  </a:cubicBezTo>
                  <a:cubicBezTo>
                    <a:pt x="79320" y="423023"/>
                    <a:pt x="83404" y="419775"/>
                    <a:pt x="88045" y="418365"/>
                  </a:cubicBezTo>
                  <a:close/>
                  <a:moveTo>
                    <a:pt x="353092" y="125773"/>
                  </a:moveTo>
                  <a:cubicBezTo>
                    <a:pt x="357823" y="126868"/>
                    <a:pt x="362119" y="129838"/>
                    <a:pt x="364754" y="134404"/>
                  </a:cubicBezTo>
                  <a:lnTo>
                    <a:pt x="519455" y="402471"/>
                  </a:lnTo>
                  <a:cubicBezTo>
                    <a:pt x="473873" y="434122"/>
                    <a:pt x="434652" y="474359"/>
                    <a:pt x="404069" y="520735"/>
                  </a:cubicBezTo>
                  <a:lnTo>
                    <a:pt x="134359" y="364945"/>
                  </a:lnTo>
                  <a:cubicBezTo>
                    <a:pt x="125231" y="359673"/>
                    <a:pt x="122484" y="347754"/>
                    <a:pt x="128356" y="338999"/>
                  </a:cubicBezTo>
                  <a:cubicBezTo>
                    <a:pt x="184138" y="255869"/>
                    <a:pt x="255730" y="184244"/>
                    <a:pt x="338820" y="128398"/>
                  </a:cubicBezTo>
                  <a:cubicBezTo>
                    <a:pt x="343196" y="125460"/>
                    <a:pt x="348362" y="124679"/>
                    <a:pt x="353092" y="125773"/>
                  </a:cubicBezTo>
                  <a:close/>
                  <a:moveTo>
                    <a:pt x="715183" y="41"/>
                  </a:moveTo>
                  <a:lnTo>
                    <a:pt x="715202" y="41"/>
                  </a:lnTo>
                  <a:cubicBezTo>
                    <a:pt x="720453" y="-308"/>
                    <a:pt x="725313" y="1599"/>
                    <a:pt x="728860" y="4910"/>
                  </a:cubicBezTo>
                  <a:lnTo>
                    <a:pt x="733022" y="14482"/>
                  </a:lnTo>
                  <a:lnTo>
                    <a:pt x="733022" y="325990"/>
                  </a:lnTo>
                  <a:lnTo>
                    <a:pt x="651303" y="340329"/>
                  </a:lnTo>
                  <a:cubicBezTo>
                    <a:pt x="624470" y="347792"/>
                    <a:pt x="598678" y="357762"/>
                    <a:pt x="574202" y="369991"/>
                  </a:cubicBezTo>
                  <a:lnTo>
                    <a:pt x="419821" y="102489"/>
                  </a:lnTo>
                  <a:cubicBezTo>
                    <a:pt x="414552" y="93357"/>
                    <a:pt x="418090" y="81683"/>
                    <a:pt x="427538" y="77032"/>
                  </a:cubicBezTo>
                  <a:cubicBezTo>
                    <a:pt x="515258" y="33801"/>
                    <a:pt x="612463" y="6819"/>
                    <a:pt x="715183" y="41"/>
                  </a:cubicBezTo>
                  <a:close/>
                </a:path>
              </a:pathLst>
            </a:custGeom>
            <a:gradFill>
              <a:gsLst>
                <a:gs pos="6000">
                  <a:srgbClr val="FF9248">
                    <a:alpha val="34000"/>
                  </a:srgbClr>
                </a:gs>
                <a:gs pos="77000">
                  <a:schemeClr val="accent4">
                    <a:alpha val="29000"/>
                  </a:schemeClr>
                </a:gs>
              </a:gsLst>
              <a:lin ang="3343960" scaled="1"/>
            </a:gradFill>
            <a:ln w="5992" cap="flat">
              <a:noFill/>
              <a:prstDash val="solid"/>
              <a:miter/>
            </a:ln>
          </p:spPr>
          <p:txBody>
            <a:bodyPr wrap="square" rtlCol="0" anchor="ctr">
              <a:noAutofit/>
            </a:bodyPr>
            <a:lstStyle/>
            <a:p>
              <a:endParaRPr lang="en-US"/>
            </a:p>
          </p:txBody>
        </p:sp>
        <p:sp>
          <p:nvSpPr>
            <p:cNvPr id="5" name="Donut 4">
              <a:extLst>
                <a:ext uri="{FF2B5EF4-FFF2-40B4-BE49-F238E27FC236}">
                  <a16:creationId xmlns:a16="http://schemas.microsoft.com/office/drawing/2014/main" id="{B544600C-5772-9B24-F16C-7F1A2D255B23}"/>
                </a:ext>
              </a:extLst>
            </p:cNvPr>
            <p:cNvSpPr/>
            <p:nvPr/>
          </p:nvSpPr>
          <p:spPr bwMode="auto">
            <a:xfrm>
              <a:off x="11207931" y="1255577"/>
              <a:ext cx="385156" cy="385156"/>
            </a:xfrm>
            <a:prstGeom prst="donut">
              <a:avLst/>
            </a:prstGeom>
            <a:gradFill>
              <a:gsLst>
                <a:gs pos="6000">
                  <a:srgbClr val="FF9248">
                    <a:alpha val="34000"/>
                  </a:srgbClr>
                </a:gs>
                <a:gs pos="77000">
                  <a:schemeClr val="accent4">
                    <a:alpha val="29000"/>
                  </a:schemeClr>
                </a:gs>
              </a:gsLst>
              <a:lin ang="3343960" scaled="1"/>
            </a:gradFill>
            <a:ln w="5992" cap="flat">
              <a:noFill/>
              <a:prstDash val="solid"/>
              <a:miter/>
            </a:ln>
          </p:spPr>
          <p:txBody>
            <a:bodyPr wrap="square" rtlCol="0" anchor="ctr">
              <a:noAutofit/>
            </a:bodyPr>
            <a:lstStyle/>
            <a:p>
              <a:endParaRPr lang="en-US" err="1">
                <a:solidFill>
                  <a:schemeClr val="tx1"/>
                </a:solidFill>
              </a:endParaRPr>
            </a:p>
          </p:txBody>
        </p:sp>
      </p:grpSp>
    </p:spTree>
    <p:extLst>
      <p:ext uri="{BB962C8B-B14F-4D97-AF65-F5344CB8AC3E}">
        <p14:creationId xmlns:p14="http://schemas.microsoft.com/office/powerpoint/2010/main" val="38182899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ivider - Light 1 ">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F8DB090-6B12-C8AA-D966-3E5FEE421847}"/>
              </a:ext>
            </a:extLst>
          </p:cNvPr>
          <p:cNvPicPr>
            <a:picLocks noChangeAspect="1"/>
          </p:cNvPicPr>
          <p:nvPr userDrawn="1"/>
        </p:nvPicPr>
        <p:blipFill rotWithShape="1">
          <a:blip r:embed="rId2"/>
          <a:srcRect l="10689" t="698" b="11387"/>
          <a:stretch/>
        </p:blipFill>
        <p:spPr>
          <a:xfrm>
            <a:off x="-2" y="0"/>
            <a:ext cx="12192000" cy="6858000"/>
          </a:xfrm>
          <a:prstGeom prst="rect">
            <a:avLst/>
          </a:prstGeom>
        </p:spPr>
      </p:pic>
      <p:sp>
        <p:nvSpPr>
          <p:cNvPr id="5" name="Title 2">
            <a:extLst>
              <a:ext uri="{FF2B5EF4-FFF2-40B4-BE49-F238E27FC236}">
                <a16:creationId xmlns:a16="http://schemas.microsoft.com/office/drawing/2014/main" id="{E96E425D-D9BE-B478-20F9-1925CA9A18B8}"/>
              </a:ext>
            </a:extLst>
          </p:cNvPr>
          <p:cNvSpPr>
            <a:spLocks noGrp="1"/>
          </p:cNvSpPr>
          <p:nvPr>
            <p:ph type="title" hasCustomPrompt="1"/>
          </p:nvPr>
        </p:nvSpPr>
        <p:spPr bwMode="ltGray">
          <a:xfrm>
            <a:off x="-5" y="0"/>
            <a:ext cx="12191999" cy="6858000"/>
          </a:xfrm>
          <a:gradFill flip="none" rotWithShape="1">
            <a:gsLst>
              <a:gs pos="36000">
                <a:schemeClr val="bg1">
                  <a:lumMod val="95000"/>
                </a:schemeClr>
              </a:gs>
              <a:gs pos="100000">
                <a:schemeClr val="bg1">
                  <a:lumMod val="95000"/>
                  <a:alpha val="876"/>
                </a:schemeClr>
              </a:gs>
            </a:gsLst>
            <a:lin ang="0" scaled="1"/>
            <a:tileRect/>
          </a:gradFill>
        </p:spPr>
        <p:txBody>
          <a:bodyPr lIns="585216" tIns="585216" rIns="585216" bIns="585216" anchor="ctr">
            <a:noAutofit/>
          </a:bodyPr>
          <a:lstStyle>
            <a:lvl1pPr>
              <a:defRPr sz="4400" spc="0">
                <a:gradFill>
                  <a:gsLst>
                    <a:gs pos="0">
                      <a:schemeClr val="accent1"/>
                    </a:gs>
                    <a:gs pos="100000">
                      <a:schemeClr val="accent4"/>
                    </a:gs>
                  </a:gsLst>
                  <a:lin ang="2700000" scaled="0"/>
                </a:gradFill>
                <a:effectLst/>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129559354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ivider - Light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F8DB090-6B12-C8AA-D966-3E5FEE421847}"/>
              </a:ext>
            </a:extLst>
          </p:cNvPr>
          <p:cNvPicPr>
            <a:picLocks noChangeAspect="1"/>
          </p:cNvPicPr>
          <p:nvPr userDrawn="1"/>
        </p:nvPicPr>
        <p:blipFill rotWithShape="1">
          <a:blip r:embed="rId2"/>
          <a:srcRect l="18412" t="12580" r="160" b="23296"/>
          <a:stretch/>
        </p:blipFill>
        <p:spPr>
          <a:xfrm flipH="1">
            <a:off x="-4" y="0"/>
            <a:ext cx="12192004" cy="6858000"/>
          </a:xfrm>
          <a:prstGeom prst="rect">
            <a:avLst/>
          </a:prstGeom>
        </p:spPr>
      </p:pic>
      <p:sp>
        <p:nvSpPr>
          <p:cNvPr id="5" name="Title 2">
            <a:extLst>
              <a:ext uri="{FF2B5EF4-FFF2-40B4-BE49-F238E27FC236}">
                <a16:creationId xmlns:a16="http://schemas.microsoft.com/office/drawing/2014/main" id="{E96E425D-D9BE-B478-20F9-1925CA9A18B8}"/>
              </a:ext>
            </a:extLst>
          </p:cNvPr>
          <p:cNvSpPr>
            <a:spLocks noGrp="1"/>
          </p:cNvSpPr>
          <p:nvPr>
            <p:ph type="title" hasCustomPrompt="1"/>
          </p:nvPr>
        </p:nvSpPr>
        <p:spPr bwMode="ltGray">
          <a:xfrm>
            <a:off x="-4" y="0"/>
            <a:ext cx="12192004" cy="6858000"/>
          </a:xfrm>
          <a:gradFill flip="none" rotWithShape="1">
            <a:gsLst>
              <a:gs pos="16000">
                <a:schemeClr val="bg1">
                  <a:lumMod val="95000"/>
                  <a:alpha val="0"/>
                </a:schemeClr>
              </a:gs>
              <a:gs pos="99000">
                <a:schemeClr val="bg1">
                  <a:lumMod val="95000"/>
                  <a:alpha val="0"/>
                </a:schemeClr>
              </a:gs>
            </a:gsLst>
            <a:lin ang="0" scaled="1"/>
            <a:tileRect/>
          </a:gradFill>
        </p:spPr>
        <p:txBody>
          <a:bodyPr lIns="585216" tIns="585216" rIns="585216" bIns="585216" anchor="ctr">
            <a:noAutofit/>
          </a:bodyPr>
          <a:lstStyle>
            <a:lvl1pPr>
              <a:defRPr sz="4400" spc="0">
                <a:gradFill>
                  <a:gsLst>
                    <a:gs pos="0">
                      <a:schemeClr val="accent1"/>
                    </a:gs>
                    <a:gs pos="100000">
                      <a:schemeClr val="accent4"/>
                    </a:gs>
                  </a:gsLst>
                  <a:lin ang="2700000" scaled="0"/>
                </a:gradFill>
                <a:effectLst/>
              </a:defRPr>
            </a:lvl1pPr>
          </a:lstStyle>
          <a:p>
            <a:r>
              <a:rPr lang="en-US"/>
              <a:t>Click to edit </a:t>
            </a:r>
            <a:br>
              <a:rPr lang="en-US"/>
            </a:br>
            <a:r>
              <a:rPr lang="en-US"/>
              <a:t>Master title style </a:t>
            </a:r>
          </a:p>
        </p:txBody>
      </p:sp>
    </p:spTree>
    <p:extLst>
      <p:ext uri="{BB962C8B-B14F-4D97-AF65-F5344CB8AC3E}">
        <p14:creationId xmlns:p14="http://schemas.microsoft.com/office/powerpoint/2010/main" val="214651009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ivider - Light 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F8DB090-6B12-C8AA-D966-3E5FEE421847}"/>
              </a:ext>
            </a:extLst>
          </p:cNvPr>
          <p:cNvPicPr>
            <a:picLocks noChangeAspect="1"/>
          </p:cNvPicPr>
          <p:nvPr userDrawn="1"/>
        </p:nvPicPr>
        <p:blipFill rotWithShape="1">
          <a:blip r:embed="rId2"/>
          <a:srcRect t="9317" b="3339"/>
          <a:stretch/>
        </p:blipFill>
        <p:spPr>
          <a:xfrm>
            <a:off x="-2" y="0"/>
            <a:ext cx="12192004" cy="6858000"/>
          </a:xfrm>
          <a:prstGeom prst="rect">
            <a:avLst/>
          </a:prstGeom>
        </p:spPr>
      </p:pic>
      <p:sp>
        <p:nvSpPr>
          <p:cNvPr id="5" name="Title 2">
            <a:extLst>
              <a:ext uri="{FF2B5EF4-FFF2-40B4-BE49-F238E27FC236}">
                <a16:creationId xmlns:a16="http://schemas.microsoft.com/office/drawing/2014/main" id="{E96E425D-D9BE-B478-20F9-1925CA9A18B8}"/>
              </a:ext>
            </a:extLst>
          </p:cNvPr>
          <p:cNvSpPr>
            <a:spLocks noGrp="1"/>
          </p:cNvSpPr>
          <p:nvPr>
            <p:ph type="title" hasCustomPrompt="1"/>
          </p:nvPr>
        </p:nvSpPr>
        <p:spPr bwMode="ltGray">
          <a:xfrm>
            <a:off x="-4" y="0"/>
            <a:ext cx="12192003" cy="6858000"/>
          </a:xfrm>
          <a:gradFill flip="none" rotWithShape="1">
            <a:gsLst>
              <a:gs pos="0">
                <a:schemeClr val="bg1">
                  <a:alpha val="75000"/>
                </a:schemeClr>
              </a:gs>
              <a:gs pos="100000">
                <a:schemeClr val="bg1">
                  <a:alpha val="0"/>
                </a:schemeClr>
              </a:gs>
            </a:gsLst>
            <a:lin ang="0" scaled="1"/>
            <a:tileRect/>
          </a:gradFill>
        </p:spPr>
        <p:txBody>
          <a:bodyPr lIns="585216" tIns="585216" rIns="585216" bIns="585216" anchor="ctr">
            <a:noAutofit/>
          </a:bodyPr>
          <a:lstStyle>
            <a:lvl1pPr>
              <a:defRPr sz="4400" spc="0">
                <a:gradFill>
                  <a:gsLst>
                    <a:gs pos="0">
                      <a:schemeClr val="accent1"/>
                    </a:gs>
                    <a:gs pos="100000">
                      <a:schemeClr val="accent4"/>
                    </a:gs>
                  </a:gsLst>
                  <a:lin ang="0" scaled="1"/>
                </a:gradFill>
                <a:effectLst/>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113762447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mp; Non-bulleted text - gradient">
    <p:bg>
      <p:bgPr>
        <a:gradFill>
          <a:gsLst>
            <a:gs pos="0">
              <a:schemeClr val="bg1"/>
            </a:gs>
            <a:gs pos="100000">
              <a:schemeClr val="bg1">
                <a:lumMod val="85000"/>
                <a:alpha val="50000"/>
              </a:schemeClr>
            </a:gs>
          </a:gsLst>
          <a:lin ang="18900000" scaled="1"/>
        </a:gra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657981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2744721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2596816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6388858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46173974"/>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40605611"/>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28480577"/>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54328601"/>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2290008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5682386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135711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wo Column Bullet text - gradient">
    <p:bg>
      <p:bgPr>
        <a:gradFill>
          <a:gsLst>
            <a:gs pos="0">
              <a:schemeClr val="bg1"/>
            </a:gs>
            <a:gs pos="100000">
              <a:schemeClr val="bg1">
                <a:lumMod val="85000"/>
                <a:alpha val="50000"/>
              </a:schemeClr>
            </a:gs>
          </a:gsLst>
          <a:lin ang="1890000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3091465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91869532"/>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6613830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3682457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01018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3674216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123621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8389390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5728226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5945197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Black Notes slide Layout">
    <p:bg bwMode="gray">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06547413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wo Column Non-bulleted text - gradient">
    <p:bg>
      <p:bgPr>
        <a:gradFill>
          <a:gsLst>
            <a:gs pos="0">
              <a:schemeClr val="bg1"/>
            </a:gs>
            <a:gs pos="100000">
              <a:schemeClr val="bg1">
                <a:lumMod val="85000"/>
                <a:alpha val="50000"/>
              </a:schemeClr>
            </a:gs>
          </a:gsLst>
          <a:lin ang="1890000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7624214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itle Slide 1 Light">
    <p:bg>
      <p:bgPr>
        <a:solidFill>
          <a:schemeClr val="tx1"/>
        </a:solidFill>
        <a:effectLst/>
      </p:bgPr>
    </p:bg>
    <p:spTree>
      <p:nvGrpSpPr>
        <p:cNvPr id="1" name=""/>
        <p:cNvGrpSpPr/>
        <p:nvPr/>
      </p:nvGrpSpPr>
      <p:grpSpPr>
        <a:xfrm>
          <a:off x="0" y="0"/>
          <a:ext cx="0" cy="0"/>
          <a:chOff x="0" y="0"/>
          <a:chExt cx="0" cy="0"/>
        </a:xfrm>
      </p:grpSpPr>
      <p:grpSp>
        <p:nvGrpSpPr>
          <p:cNvPr id="4" name="Graphic 4">
            <a:extLst>
              <a:ext uri="{FF2B5EF4-FFF2-40B4-BE49-F238E27FC236}">
                <a16:creationId xmlns:a16="http://schemas.microsoft.com/office/drawing/2014/main" id="{530E1A91-8226-E343-0EE7-4B854D09CD81}"/>
              </a:ext>
            </a:extLst>
          </p:cNvPr>
          <p:cNvGrpSpPr/>
          <p:nvPr userDrawn="1"/>
        </p:nvGrpSpPr>
        <p:grpSpPr>
          <a:xfrm>
            <a:off x="5432241" y="1978067"/>
            <a:ext cx="6758410" cy="4878583"/>
            <a:chOff x="-1374398" y="268767"/>
            <a:chExt cx="3464716" cy="2501018"/>
          </a:xfrm>
          <a:gradFill flip="none" rotWithShape="1">
            <a:gsLst>
              <a:gs pos="1000">
                <a:srgbClr val="FF9248">
                  <a:alpha val="9076"/>
                </a:srgbClr>
              </a:gs>
              <a:gs pos="83000">
                <a:srgbClr val="8661C5">
                  <a:alpha val="16000"/>
                </a:srgbClr>
              </a:gs>
            </a:gsLst>
            <a:lin ang="13500000" scaled="1"/>
            <a:tileRect/>
          </a:gradFill>
        </p:grpSpPr>
        <p:sp>
          <p:nvSpPr>
            <p:cNvPr id="6" name="Freeform 5">
              <a:extLst>
                <a:ext uri="{FF2B5EF4-FFF2-40B4-BE49-F238E27FC236}">
                  <a16:creationId xmlns:a16="http://schemas.microsoft.com/office/drawing/2014/main" id="{3006E10D-D7F6-548E-9016-707526275849}"/>
                </a:ext>
              </a:extLst>
            </p:cNvPr>
            <p:cNvSpPr/>
            <p:nvPr/>
          </p:nvSpPr>
          <p:spPr>
            <a:xfrm>
              <a:off x="1707310" y="2428643"/>
              <a:ext cx="382661" cy="341142"/>
            </a:xfrm>
            <a:custGeom>
              <a:avLst/>
              <a:gdLst>
                <a:gd name="connsiteX0" fmla="*/ 166074 w 382661"/>
                <a:gd name="connsiteY0" fmla="*/ 213603 h 341142"/>
                <a:gd name="connsiteX1" fmla="*/ 0 w 382661"/>
                <a:gd name="connsiteY1" fmla="*/ 341142 h 341142"/>
                <a:gd name="connsiteX2" fmla="*/ 25603 w 382661"/>
                <a:gd name="connsiteY2" fmla="*/ 341142 h 341142"/>
                <a:gd name="connsiteX3" fmla="*/ 175416 w 382661"/>
                <a:gd name="connsiteY3" fmla="*/ 224663 h 341142"/>
                <a:gd name="connsiteX4" fmla="*/ 382662 w 382661"/>
                <a:gd name="connsiteY4" fmla="*/ 22466 h 341142"/>
                <a:gd name="connsiteX5" fmla="*/ 382662 w 382661"/>
                <a:gd name="connsiteY5" fmla="*/ 0 h 341142"/>
                <a:gd name="connsiteX6" fmla="*/ 165728 w 382661"/>
                <a:gd name="connsiteY6" fmla="*/ 213948 h 341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2661" h="341142">
                  <a:moveTo>
                    <a:pt x="166074" y="213603"/>
                  </a:moveTo>
                  <a:cubicBezTo>
                    <a:pt x="113138" y="258881"/>
                    <a:pt x="57434" y="301049"/>
                    <a:pt x="0" y="341142"/>
                  </a:cubicBezTo>
                  <a:lnTo>
                    <a:pt x="25603" y="341142"/>
                  </a:lnTo>
                  <a:cubicBezTo>
                    <a:pt x="77155" y="304505"/>
                    <a:pt x="127324" y="265794"/>
                    <a:pt x="175416" y="224663"/>
                  </a:cubicBezTo>
                  <a:cubicBezTo>
                    <a:pt x="248765" y="162103"/>
                    <a:pt x="317962" y="94704"/>
                    <a:pt x="382662" y="22466"/>
                  </a:cubicBezTo>
                  <a:lnTo>
                    <a:pt x="382662" y="0"/>
                  </a:lnTo>
                  <a:cubicBezTo>
                    <a:pt x="315194" y="76386"/>
                    <a:pt x="242883" y="148278"/>
                    <a:pt x="165728" y="213948"/>
                  </a:cubicBezTo>
                  <a:close/>
                </a:path>
              </a:pathLst>
            </a:custGeom>
            <a:grpFill/>
            <a:ln w="34574"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45F7B3D6-3A92-FC25-B2E1-91364C41BF4D}"/>
                </a:ext>
              </a:extLst>
            </p:cNvPr>
            <p:cNvSpPr/>
            <p:nvPr/>
          </p:nvSpPr>
          <p:spPr>
            <a:xfrm>
              <a:off x="-1339107" y="2169071"/>
              <a:ext cx="597865" cy="600368"/>
            </a:xfrm>
            <a:custGeom>
              <a:avLst/>
              <a:gdLst>
                <a:gd name="connsiteX0" fmla="*/ 134935 w 597865"/>
                <a:gd name="connsiteY0" fmla="*/ 174200 h 600368"/>
                <a:gd name="connsiteX1" fmla="*/ 8650 w 597865"/>
                <a:gd name="connsiteY1" fmla="*/ 0 h 600368"/>
                <a:gd name="connsiteX2" fmla="*/ 0 w 597865"/>
                <a:gd name="connsiteY2" fmla="*/ 13825 h 600368"/>
                <a:gd name="connsiteX3" fmla="*/ 123517 w 597865"/>
                <a:gd name="connsiteY3" fmla="*/ 183532 h 600368"/>
                <a:gd name="connsiteX4" fmla="*/ 564997 w 597865"/>
                <a:gd name="connsiteY4" fmla="*/ 595876 h 600368"/>
                <a:gd name="connsiteX5" fmla="*/ 571917 w 597865"/>
                <a:gd name="connsiteY5" fmla="*/ 600369 h 600368"/>
                <a:gd name="connsiteX6" fmla="*/ 597866 w 597865"/>
                <a:gd name="connsiteY6" fmla="*/ 600369 h 600368"/>
                <a:gd name="connsiteX7" fmla="*/ 573647 w 597865"/>
                <a:gd name="connsiteY7" fmla="*/ 583778 h 600368"/>
                <a:gd name="connsiteX8" fmla="*/ 134935 w 597865"/>
                <a:gd name="connsiteY8" fmla="*/ 173855 h 600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7865" h="600368">
                  <a:moveTo>
                    <a:pt x="134935" y="174200"/>
                  </a:moveTo>
                  <a:cubicBezTo>
                    <a:pt x="96876" y="127885"/>
                    <a:pt x="49822" y="67053"/>
                    <a:pt x="8650" y="0"/>
                  </a:cubicBezTo>
                  <a:cubicBezTo>
                    <a:pt x="5882" y="4493"/>
                    <a:pt x="3114" y="8986"/>
                    <a:pt x="0" y="13825"/>
                  </a:cubicBezTo>
                  <a:cubicBezTo>
                    <a:pt x="40827" y="79151"/>
                    <a:pt x="86497" y="137908"/>
                    <a:pt x="123517" y="183532"/>
                  </a:cubicBezTo>
                  <a:cubicBezTo>
                    <a:pt x="249457" y="337686"/>
                    <a:pt x="397885" y="476631"/>
                    <a:pt x="564997" y="595876"/>
                  </a:cubicBezTo>
                  <a:cubicBezTo>
                    <a:pt x="567073" y="597604"/>
                    <a:pt x="569495" y="598986"/>
                    <a:pt x="571917" y="600369"/>
                  </a:cubicBezTo>
                  <a:lnTo>
                    <a:pt x="597866" y="600369"/>
                  </a:lnTo>
                  <a:cubicBezTo>
                    <a:pt x="589908" y="594839"/>
                    <a:pt x="581605" y="589654"/>
                    <a:pt x="573647" y="583778"/>
                  </a:cubicBezTo>
                  <a:cubicBezTo>
                    <a:pt x="407573" y="464880"/>
                    <a:pt x="259836" y="326971"/>
                    <a:pt x="134935" y="173855"/>
                  </a:cubicBezTo>
                  <a:close/>
                </a:path>
              </a:pathLst>
            </a:custGeom>
            <a:grpFill/>
            <a:ln w="34574"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30BCBDBE-E667-DB3B-25E8-26B21B9A0222}"/>
                </a:ext>
              </a:extLst>
            </p:cNvPr>
            <p:cNvSpPr/>
            <p:nvPr/>
          </p:nvSpPr>
          <p:spPr>
            <a:xfrm>
              <a:off x="1619429" y="2352949"/>
              <a:ext cx="470542" cy="416836"/>
            </a:xfrm>
            <a:custGeom>
              <a:avLst/>
              <a:gdLst>
                <a:gd name="connsiteX0" fmla="*/ 211744 w 470542"/>
                <a:gd name="connsiteY0" fmla="*/ 260955 h 416836"/>
                <a:gd name="connsiteX1" fmla="*/ 0 w 470542"/>
                <a:gd name="connsiteY1" fmla="*/ 416836 h 416836"/>
                <a:gd name="connsiteX2" fmla="*/ 25949 w 470542"/>
                <a:gd name="connsiteY2" fmla="*/ 416836 h 416836"/>
                <a:gd name="connsiteX3" fmla="*/ 220740 w 470542"/>
                <a:gd name="connsiteY3" fmla="*/ 272015 h 416836"/>
                <a:gd name="connsiteX4" fmla="*/ 470542 w 470542"/>
                <a:gd name="connsiteY4" fmla="*/ 22466 h 416836"/>
                <a:gd name="connsiteX5" fmla="*/ 470542 w 470542"/>
                <a:gd name="connsiteY5" fmla="*/ 0 h 416836"/>
                <a:gd name="connsiteX6" fmla="*/ 211398 w 470542"/>
                <a:gd name="connsiteY6" fmla="*/ 260955 h 416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0542" h="416836">
                  <a:moveTo>
                    <a:pt x="211744" y="260955"/>
                  </a:moveTo>
                  <a:cubicBezTo>
                    <a:pt x="144622" y="316948"/>
                    <a:pt x="73695" y="369139"/>
                    <a:pt x="0" y="416836"/>
                  </a:cubicBezTo>
                  <a:lnTo>
                    <a:pt x="25949" y="416836"/>
                  </a:lnTo>
                  <a:cubicBezTo>
                    <a:pt x="93416" y="372249"/>
                    <a:pt x="158808" y="323860"/>
                    <a:pt x="220740" y="272015"/>
                  </a:cubicBezTo>
                  <a:cubicBezTo>
                    <a:pt x="310696" y="196666"/>
                    <a:pt x="393733" y="112677"/>
                    <a:pt x="470542" y="22466"/>
                  </a:cubicBezTo>
                  <a:lnTo>
                    <a:pt x="470542" y="0"/>
                  </a:lnTo>
                  <a:cubicBezTo>
                    <a:pt x="391312" y="94704"/>
                    <a:pt x="305161" y="182496"/>
                    <a:pt x="211398" y="260955"/>
                  </a:cubicBezTo>
                  <a:close/>
                </a:path>
              </a:pathLst>
            </a:custGeom>
            <a:grpFill/>
            <a:ln w="34574"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33D4BC73-8199-BAA6-12C4-D47A9F70440E}"/>
                </a:ext>
              </a:extLst>
            </p:cNvPr>
            <p:cNvSpPr/>
            <p:nvPr/>
          </p:nvSpPr>
          <p:spPr>
            <a:xfrm>
              <a:off x="-1305546" y="2113424"/>
              <a:ext cx="667409" cy="656016"/>
            </a:xfrm>
            <a:custGeom>
              <a:avLst/>
              <a:gdLst>
                <a:gd name="connsiteX0" fmla="*/ 113138 w 667409"/>
                <a:gd name="connsiteY0" fmla="*/ 150351 h 656016"/>
                <a:gd name="connsiteX1" fmla="*/ 7958 w 667409"/>
                <a:gd name="connsiteY1" fmla="*/ 0 h 656016"/>
                <a:gd name="connsiteX2" fmla="*/ 0 w 667409"/>
                <a:gd name="connsiteY2" fmla="*/ 14171 h 656016"/>
                <a:gd name="connsiteX3" fmla="*/ 101720 w 667409"/>
                <a:gd name="connsiteY3" fmla="*/ 159338 h 656016"/>
                <a:gd name="connsiteX4" fmla="*/ 521403 w 667409"/>
                <a:gd name="connsiteY4" fmla="*/ 572372 h 656016"/>
                <a:gd name="connsiteX5" fmla="*/ 640768 w 667409"/>
                <a:gd name="connsiteY5" fmla="*/ 656016 h 656016"/>
                <a:gd name="connsiteX6" fmla="*/ 667409 w 667409"/>
                <a:gd name="connsiteY6" fmla="*/ 656016 h 656016"/>
                <a:gd name="connsiteX7" fmla="*/ 530053 w 667409"/>
                <a:gd name="connsiteY7" fmla="*/ 560621 h 656016"/>
                <a:gd name="connsiteX8" fmla="*/ 113138 w 667409"/>
                <a:gd name="connsiteY8" fmla="*/ 150351 h 656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7409" h="656016">
                  <a:moveTo>
                    <a:pt x="113138" y="150351"/>
                  </a:moveTo>
                  <a:cubicBezTo>
                    <a:pt x="69197" y="93667"/>
                    <a:pt x="35637" y="45278"/>
                    <a:pt x="7958" y="0"/>
                  </a:cubicBezTo>
                  <a:cubicBezTo>
                    <a:pt x="5536" y="4493"/>
                    <a:pt x="2768" y="9332"/>
                    <a:pt x="0" y="14171"/>
                  </a:cubicBezTo>
                  <a:cubicBezTo>
                    <a:pt x="27333" y="58067"/>
                    <a:pt x="59856" y="104728"/>
                    <a:pt x="101720" y="159338"/>
                  </a:cubicBezTo>
                  <a:cubicBezTo>
                    <a:pt x="218664" y="311072"/>
                    <a:pt x="359827" y="450017"/>
                    <a:pt x="521403" y="572372"/>
                  </a:cubicBezTo>
                  <a:cubicBezTo>
                    <a:pt x="560153" y="601751"/>
                    <a:pt x="600288" y="629402"/>
                    <a:pt x="640768" y="656016"/>
                  </a:cubicBezTo>
                  <a:lnTo>
                    <a:pt x="667409" y="656016"/>
                  </a:lnTo>
                  <a:cubicBezTo>
                    <a:pt x="620701" y="625946"/>
                    <a:pt x="574685" y="594493"/>
                    <a:pt x="530053" y="560621"/>
                  </a:cubicBezTo>
                  <a:cubicBezTo>
                    <a:pt x="369514" y="438957"/>
                    <a:pt x="229389" y="300703"/>
                    <a:pt x="113138" y="150351"/>
                  </a:cubicBezTo>
                  <a:close/>
                </a:path>
              </a:pathLst>
            </a:custGeom>
            <a:grpFill/>
            <a:ln w="34574"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38A7BF7F-C9E0-4AC3-E19C-82246CE7B038}"/>
                </a:ext>
              </a:extLst>
            </p:cNvPr>
            <p:cNvSpPr/>
            <p:nvPr/>
          </p:nvSpPr>
          <p:spPr>
            <a:xfrm>
              <a:off x="-1274408" y="2054666"/>
              <a:ext cx="740066" cy="714774"/>
            </a:xfrm>
            <a:custGeom>
              <a:avLst/>
              <a:gdLst>
                <a:gd name="connsiteX0" fmla="*/ 93763 w 740066"/>
                <a:gd name="connsiteY0" fmla="*/ 129613 h 714774"/>
                <a:gd name="connsiteX1" fmla="*/ 7612 w 740066"/>
                <a:gd name="connsiteY1" fmla="*/ 0 h 714774"/>
                <a:gd name="connsiteX2" fmla="*/ 0 w 740066"/>
                <a:gd name="connsiteY2" fmla="*/ 15554 h 714774"/>
                <a:gd name="connsiteX3" fmla="*/ 81999 w 740066"/>
                <a:gd name="connsiteY3" fmla="*/ 138254 h 714774"/>
                <a:gd name="connsiteX4" fmla="*/ 479884 w 740066"/>
                <a:gd name="connsiteY4" fmla="*/ 551980 h 714774"/>
                <a:gd name="connsiteX5" fmla="*/ 712388 w 740066"/>
                <a:gd name="connsiteY5" fmla="*/ 714774 h 714774"/>
                <a:gd name="connsiteX6" fmla="*/ 740067 w 740066"/>
                <a:gd name="connsiteY6" fmla="*/ 714774 h 714774"/>
                <a:gd name="connsiteX7" fmla="*/ 489226 w 740066"/>
                <a:gd name="connsiteY7" fmla="*/ 540574 h 714774"/>
                <a:gd name="connsiteX8" fmla="*/ 94109 w 740066"/>
                <a:gd name="connsiteY8" fmla="*/ 129613 h 714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40066" h="714774">
                  <a:moveTo>
                    <a:pt x="93763" y="129613"/>
                  </a:moveTo>
                  <a:cubicBezTo>
                    <a:pt x="59164" y="81916"/>
                    <a:pt x="31485" y="39748"/>
                    <a:pt x="7612" y="0"/>
                  </a:cubicBezTo>
                  <a:cubicBezTo>
                    <a:pt x="5536" y="4148"/>
                    <a:pt x="2768" y="9678"/>
                    <a:pt x="0" y="15554"/>
                  </a:cubicBezTo>
                  <a:cubicBezTo>
                    <a:pt x="22835" y="53574"/>
                    <a:pt x="49476" y="93667"/>
                    <a:pt x="81999" y="138254"/>
                  </a:cubicBezTo>
                  <a:cubicBezTo>
                    <a:pt x="190293" y="287569"/>
                    <a:pt x="324190" y="426514"/>
                    <a:pt x="479884" y="551980"/>
                  </a:cubicBezTo>
                  <a:cubicBezTo>
                    <a:pt x="553926" y="611775"/>
                    <a:pt x="632119" y="666040"/>
                    <a:pt x="712388" y="714774"/>
                  </a:cubicBezTo>
                  <a:lnTo>
                    <a:pt x="740067" y="714774"/>
                  </a:lnTo>
                  <a:cubicBezTo>
                    <a:pt x="653224" y="662929"/>
                    <a:pt x="569149" y="604862"/>
                    <a:pt x="489226" y="540574"/>
                  </a:cubicBezTo>
                  <a:cubicBezTo>
                    <a:pt x="334570" y="416145"/>
                    <a:pt x="201711" y="277546"/>
                    <a:pt x="94109" y="129613"/>
                  </a:cubicBezTo>
                  <a:close/>
                </a:path>
              </a:pathLst>
            </a:custGeom>
            <a:grpFill/>
            <a:ln w="34574"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096BE6EF-9835-6EC8-333A-0C45CB20B2A2}"/>
                </a:ext>
              </a:extLst>
            </p:cNvPr>
            <p:cNvSpPr/>
            <p:nvPr/>
          </p:nvSpPr>
          <p:spPr>
            <a:xfrm>
              <a:off x="1525321" y="2276564"/>
              <a:ext cx="564997" cy="492876"/>
            </a:xfrm>
            <a:custGeom>
              <a:avLst/>
              <a:gdLst>
                <a:gd name="connsiteX0" fmla="*/ 263642 w 564997"/>
                <a:gd name="connsiteY0" fmla="*/ 308653 h 492876"/>
                <a:gd name="connsiteX1" fmla="*/ 0 w 564997"/>
                <a:gd name="connsiteY1" fmla="*/ 492876 h 492876"/>
                <a:gd name="connsiteX2" fmla="*/ 28371 w 564997"/>
                <a:gd name="connsiteY2" fmla="*/ 492876 h 492876"/>
                <a:gd name="connsiteX3" fmla="*/ 272984 w 564997"/>
                <a:gd name="connsiteY3" fmla="*/ 319713 h 492876"/>
                <a:gd name="connsiteX4" fmla="*/ 564997 w 564997"/>
                <a:gd name="connsiteY4" fmla="*/ 23503 h 492876"/>
                <a:gd name="connsiteX5" fmla="*/ 564997 w 564997"/>
                <a:gd name="connsiteY5" fmla="*/ 0 h 492876"/>
                <a:gd name="connsiteX6" fmla="*/ 263642 w 564997"/>
                <a:gd name="connsiteY6" fmla="*/ 308307 h 492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4997" h="492876">
                  <a:moveTo>
                    <a:pt x="263642" y="308653"/>
                  </a:moveTo>
                  <a:cubicBezTo>
                    <a:pt x="180951" y="376742"/>
                    <a:pt x="92379" y="438266"/>
                    <a:pt x="0" y="492876"/>
                  </a:cubicBezTo>
                  <a:lnTo>
                    <a:pt x="28371" y="492876"/>
                  </a:lnTo>
                  <a:cubicBezTo>
                    <a:pt x="113830" y="441031"/>
                    <a:pt x="196175" y="383310"/>
                    <a:pt x="272984" y="319713"/>
                  </a:cubicBezTo>
                  <a:cubicBezTo>
                    <a:pt x="379548" y="231921"/>
                    <a:pt x="477116" y="132378"/>
                    <a:pt x="564997" y="23503"/>
                  </a:cubicBezTo>
                  <a:lnTo>
                    <a:pt x="564997" y="0"/>
                  </a:lnTo>
                  <a:cubicBezTo>
                    <a:pt x="475040" y="113714"/>
                    <a:pt x="374358" y="217059"/>
                    <a:pt x="263642" y="308307"/>
                  </a:cubicBezTo>
                  <a:close/>
                </a:path>
              </a:pathLst>
            </a:custGeom>
            <a:grpFill/>
            <a:ln w="34574"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FFA71CB2-7148-92D8-302B-02782D731BAD}"/>
                </a:ext>
              </a:extLst>
            </p:cNvPr>
            <p:cNvSpPr/>
            <p:nvPr/>
          </p:nvSpPr>
          <p:spPr>
            <a:xfrm>
              <a:off x="-1246037" y="1994525"/>
              <a:ext cx="818952" cy="775260"/>
            </a:xfrm>
            <a:custGeom>
              <a:avLst/>
              <a:gdLst>
                <a:gd name="connsiteX0" fmla="*/ 450476 w 818952"/>
                <a:gd name="connsiteY0" fmla="*/ 521910 h 775260"/>
                <a:gd name="connsiteX1" fmla="*/ 77155 w 818952"/>
                <a:gd name="connsiteY1" fmla="*/ 110258 h 775260"/>
                <a:gd name="connsiteX2" fmla="*/ 7612 w 818952"/>
                <a:gd name="connsiteY2" fmla="*/ 0 h 775260"/>
                <a:gd name="connsiteX3" fmla="*/ 0 w 818952"/>
                <a:gd name="connsiteY3" fmla="*/ 16245 h 775260"/>
                <a:gd name="connsiteX4" fmla="*/ 65046 w 818952"/>
                <a:gd name="connsiteY4" fmla="*/ 118553 h 775260"/>
                <a:gd name="connsiteX5" fmla="*/ 440788 w 818952"/>
                <a:gd name="connsiteY5" fmla="*/ 532970 h 775260"/>
                <a:gd name="connsiteX6" fmla="*/ 782623 w 818952"/>
                <a:gd name="connsiteY6" fmla="*/ 772495 h 775260"/>
                <a:gd name="connsiteX7" fmla="*/ 787813 w 818952"/>
                <a:gd name="connsiteY7" fmla="*/ 775260 h 775260"/>
                <a:gd name="connsiteX8" fmla="*/ 818952 w 818952"/>
                <a:gd name="connsiteY8" fmla="*/ 775260 h 775260"/>
                <a:gd name="connsiteX9" fmla="*/ 789889 w 818952"/>
                <a:gd name="connsiteY9" fmla="*/ 760052 h 775260"/>
                <a:gd name="connsiteX10" fmla="*/ 450130 w 818952"/>
                <a:gd name="connsiteY10" fmla="*/ 522255 h 775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18952" h="775260">
                  <a:moveTo>
                    <a:pt x="450476" y="521910"/>
                  </a:moveTo>
                  <a:cubicBezTo>
                    <a:pt x="302047" y="394716"/>
                    <a:pt x="176454" y="256116"/>
                    <a:pt x="77155" y="110258"/>
                  </a:cubicBezTo>
                  <a:cubicBezTo>
                    <a:pt x="50168" y="70510"/>
                    <a:pt x="27333" y="34218"/>
                    <a:pt x="7612" y="0"/>
                  </a:cubicBezTo>
                  <a:cubicBezTo>
                    <a:pt x="5190" y="5530"/>
                    <a:pt x="2422" y="10715"/>
                    <a:pt x="0" y="16245"/>
                  </a:cubicBezTo>
                  <a:cubicBezTo>
                    <a:pt x="18683" y="48043"/>
                    <a:pt x="40135" y="81916"/>
                    <a:pt x="65046" y="118553"/>
                  </a:cubicBezTo>
                  <a:cubicBezTo>
                    <a:pt x="165036" y="265448"/>
                    <a:pt x="291322" y="404739"/>
                    <a:pt x="440788" y="532970"/>
                  </a:cubicBezTo>
                  <a:cubicBezTo>
                    <a:pt x="547698" y="624563"/>
                    <a:pt x="662566" y="705096"/>
                    <a:pt x="782623" y="772495"/>
                  </a:cubicBezTo>
                  <a:cubicBezTo>
                    <a:pt x="784353" y="773532"/>
                    <a:pt x="786083" y="774224"/>
                    <a:pt x="787813" y="775260"/>
                  </a:cubicBezTo>
                  <a:lnTo>
                    <a:pt x="818952" y="775260"/>
                  </a:lnTo>
                  <a:cubicBezTo>
                    <a:pt x="809264" y="770076"/>
                    <a:pt x="799577" y="765237"/>
                    <a:pt x="789889" y="760052"/>
                  </a:cubicBezTo>
                  <a:cubicBezTo>
                    <a:pt x="670869" y="693345"/>
                    <a:pt x="556348" y="613157"/>
                    <a:pt x="450130" y="522255"/>
                  </a:cubicBezTo>
                  <a:close/>
                </a:path>
              </a:pathLst>
            </a:custGeom>
            <a:grpFill/>
            <a:ln w="34574"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DEE8529D-94BD-DA72-287A-3CB770AC5FAC}"/>
                </a:ext>
              </a:extLst>
            </p:cNvPr>
            <p:cNvSpPr/>
            <p:nvPr/>
          </p:nvSpPr>
          <p:spPr>
            <a:xfrm>
              <a:off x="1425331" y="2197759"/>
              <a:ext cx="664987" cy="571681"/>
            </a:xfrm>
            <a:custGeom>
              <a:avLst/>
              <a:gdLst>
                <a:gd name="connsiteX0" fmla="*/ 321422 w 664987"/>
                <a:gd name="connsiteY0" fmla="*/ 359116 h 571681"/>
                <a:gd name="connsiteX1" fmla="*/ 0 w 664987"/>
                <a:gd name="connsiteY1" fmla="*/ 571681 h 571681"/>
                <a:gd name="connsiteX2" fmla="*/ 31139 w 664987"/>
                <a:gd name="connsiteY2" fmla="*/ 571681 h 571681"/>
                <a:gd name="connsiteX3" fmla="*/ 330764 w 664987"/>
                <a:gd name="connsiteY3" fmla="*/ 370521 h 571681"/>
                <a:gd name="connsiteX4" fmla="*/ 664988 w 664987"/>
                <a:gd name="connsiteY4" fmla="*/ 24195 h 571681"/>
                <a:gd name="connsiteX5" fmla="*/ 664988 w 664987"/>
                <a:gd name="connsiteY5" fmla="*/ 0 h 571681"/>
                <a:gd name="connsiteX6" fmla="*/ 321768 w 664987"/>
                <a:gd name="connsiteY6" fmla="*/ 359461 h 571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4987" h="571681">
                  <a:moveTo>
                    <a:pt x="321422" y="359116"/>
                  </a:moveTo>
                  <a:cubicBezTo>
                    <a:pt x="221778" y="439994"/>
                    <a:pt x="113137" y="511195"/>
                    <a:pt x="0" y="571681"/>
                  </a:cubicBezTo>
                  <a:lnTo>
                    <a:pt x="31139" y="571681"/>
                  </a:lnTo>
                  <a:cubicBezTo>
                    <a:pt x="136665" y="513614"/>
                    <a:pt x="237347" y="445870"/>
                    <a:pt x="330764" y="370521"/>
                  </a:cubicBezTo>
                  <a:cubicBezTo>
                    <a:pt x="454627" y="269942"/>
                    <a:pt x="566727" y="153462"/>
                    <a:pt x="664988" y="24195"/>
                  </a:cubicBezTo>
                  <a:lnTo>
                    <a:pt x="664988" y="0"/>
                  </a:lnTo>
                  <a:cubicBezTo>
                    <a:pt x="564997" y="134798"/>
                    <a:pt x="449783" y="255425"/>
                    <a:pt x="321768" y="359461"/>
                  </a:cubicBezTo>
                  <a:close/>
                </a:path>
              </a:pathLst>
            </a:custGeom>
            <a:grpFill/>
            <a:ln w="34574"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16E3360D-4FF1-2B85-633F-2236AE8224DD}"/>
                </a:ext>
              </a:extLst>
            </p:cNvPr>
            <p:cNvSpPr/>
            <p:nvPr/>
          </p:nvSpPr>
          <p:spPr>
            <a:xfrm>
              <a:off x="1316344" y="2114115"/>
              <a:ext cx="773973" cy="655324"/>
            </a:xfrm>
            <a:custGeom>
              <a:avLst/>
              <a:gdLst>
                <a:gd name="connsiteX0" fmla="*/ 388198 w 773973"/>
                <a:gd name="connsiteY0" fmla="*/ 414417 h 655324"/>
                <a:gd name="connsiteX1" fmla="*/ 0 w 773973"/>
                <a:gd name="connsiteY1" fmla="*/ 655325 h 655324"/>
                <a:gd name="connsiteX2" fmla="*/ 34253 w 773973"/>
                <a:gd name="connsiteY2" fmla="*/ 655325 h 655324"/>
                <a:gd name="connsiteX3" fmla="*/ 397540 w 773973"/>
                <a:gd name="connsiteY3" fmla="*/ 425823 h 655324"/>
                <a:gd name="connsiteX4" fmla="*/ 773974 w 773973"/>
                <a:gd name="connsiteY4" fmla="*/ 25923 h 655324"/>
                <a:gd name="connsiteX5" fmla="*/ 773974 w 773973"/>
                <a:gd name="connsiteY5" fmla="*/ 0 h 655324"/>
                <a:gd name="connsiteX6" fmla="*/ 766016 w 773973"/>
                <a:gd name="connsiteY6" fmla="*/ 12097 h 655324"/>
                <a:gd name="connsiteX7" fmla="*/ 388544 w 773973"/>
                <a:gd name="connsiteY7" fmla="*/ 414417 h 655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3973" h="655324">
                  <a:moveTo>
                    <a:pt x="388198" y="414417"/>
                  </a:moveTo>
                  <a:cubicBezTo>
                    <a:pt x="269178" y="509467"/>
                    <a:pt x="137357" y="590691"/>
                    <a:pt x="0" y="655325"/>
                  </a:cubicBezTo>
                  <a:lnTo>
                    <a:pt x="34253" y="655325"/>
                  </a:lnTo>
                  <a:cubicBezTo>
                    <a:pt x="162614" y="592419"/>
                    <a:pt x="285440" y="514997"/>
                    <a:pt x="397540" y="425823"/>
                  </a:cubicBezTo>
                  <a:cubicBezTo>
                    <a:pt x="539740" y="312109"/>
                    <a:pt x="666372" y="177657"/>
                    <a:pt x="773974" y="25923"/>
                  </a:cubicBezTo>
                  <a:lnTo>
                    <a:pt x="773974" y="0"/>
                  </a:lnTo>
                  <a:cubicBezTo>
                    <a:pt x="771206" y="4148"/>
                    <a:pt x="768784" y="8295"/>
                    <a:pt x="766016" y="12097"/>
                  </a:cubicBezTo>
                  <a:cubicBezTo>
                    <a:pt x="658414" y="164868"/>
                    <a:pt x="531437" y="300357"/>
                    <a:pt x="388544" y="414417"/>
                  </a:cubicBezTo>
                  <a:close/>
                </a:path>
              </a:pathLst>
            </a:custGeom>
            <a:grpFill/>
            <a:ln w="34574"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CE4198F4-C0F4-A65E-5863-B1F1EDC6F44D}"/>
                </a:ext>
              </a:extLst>
            </p:cNvPr>
            <p:cNvSpPr/>
            <p:nvPr/>
          </p:nvSpPr>
          <p:spPr>
            <a:xfrm>
              <a:off x="-1218704" y="1933348"/>
              <a:ext cx="903718" cy="836437"/>
            </a:xfrm>
            <a:custGeom>
              <a:avLst/>
              <a:gdLst>
                <a:gd name="connsiteX0" fmla="*/ 413109 w 903718"/>
                <a:gd name="connsiteY0" fmla="*/ 504282 h 836437"/>
                <a:gd name="connsiteX1" fmla="*/ 61586 w 903718"/>
                <a:gd name="connsiteY1" fmla="*/ 92285 h 836437"/>
                <a:gd name="connsiteX2" fmla="*/ 6920 w 903718"/>
                <a:gd name="connsiteY2" fmla="*/ 0 h 836437"/>
                <a:gd name="connsiteX3" fmla="*/ 0 w 903718"/>
                <a:gd name="connsiteY3" fmla="*/ 17282 h 836437"/>
                <a:gd name="connsiteX4" fmla="*/ 49130 w 903718"/>
                <a:gd name="connsiteY4" fmla="*/ 99889 h 836437"/>
                <a:gd name="connsiteX5" fmla="*/ 403075 w 903718"/>
                <a:gd name="connsiteY5" fmla="*/ 514997 h 836437"/>
                <a:gd name="connsiteX6" fmla="*/ 734185 w 903718"/>
                <a:gd name="connsiteY6" fmla="*/ 762472 h 836437"/>
                <a:gd name="connsiteX7" fmla="*/ 870850 w 903718"/>
                <a:gd name="connsiteY7" fmla="*/ 836438 h 836437"/>
                <a:gd name="connsiteX8" fmla="*/ 903719 w 903718"/>
                <a:gd name="connsiteY8" fmla="*/ 836438 h 836437"/>
                <a:gd name="connsiteX9" fmla="*/ 741797 w 903718"/>
                <a:gd name="connsiteY9" fmla="*/ 750029 h 836437"/>
                <a:gd name="connsiteX10" fmla="*/ 413109 w 903718"/>
                <a:gd name="connsiteY10" fmla="*/ 504628 h 836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03718" h="836437">
                  <a:moveTo>
                    <a:pt x="413109" y="504282"/>
                  </a:moveTo>
                  <a:cubicBezTo>
                    <a:pt x="271254" y="374669"/>
                    <a:pt x="152927" y="235723"/>
                    <a:pt x="61586" y="92285"/>
                  </a:cubicBezTo>
                  <a:cubicBezTo>
                    <a:pt x="40827" y="59449"/>
                    <a:pt x="22835" y="29033"/>
                    <a:pt x="6920" y="0"/>
                  </a:cubicBezTo>
                  <a:cubicBezTo>
                    <a:pt x="4498" y="5876"/>
                    <a:pt x="2422" y="11406"/>
                    <a:pt x="0" y="17282"/>
                  </a:cubicBezTo>
                  <a:cubicBezTo>
                    <a:pt x="14877" y="43550"/>
                    <a:pt x="30793" y="70510"/>
                    <a:pt x="49130" y="99889"/>
                  </a:cubicBezTo>
                  <a:cubicBezTo>
                    <a:pt x="140817" y="244710"/>
                    <a:pt x="260183" y="384347"/>
                    <a:pt x="403075" y="514997"/>
                  </a:cubicBezTo>
                  <a:cubicBezTo>
                    <a:pt x="506180" y="609010"/>
                    <a:pt x="617587" y="692308"/>
                    <a:pt x="734185" y="762472"/>
                  </a:cubicBezTo>
                  <a:cubicBezTo>
                    <a:pt x="778818" y="789431"/>
                    <a:pt x="824834" y="813626"/>
                    <a:pt x="870850" y="836438"/>
                  </a:cubicBezTo>
                  <a:lnTo>
                    <a:pt x="903719" y="836438"/>
                  </a:lnTo>
                  <a:cubicBezTo>
                    <a:pt x="848707" y="810169"/>
                    <a:pt x="794387" y="781827"/>
                    <a:pt x="741797" y="750029"/>
                  </a:cubicBezTo>
                  <a:cubicBezTo>
                    <a:pt x="625891" y="680556"/>
                    <a:pt x="515175" y="597949"/>
                    <a:pt x="413109" y="504628"/>
                  </a:cubicBezTo>
                  <a:close/>
                </a:path>
              </a:pathLst>
            </a:custGeom>
            <a:grpFill/>
            <a:ln w="34574"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3A18125A-113A-D406-87F1-9B1BD82F2420}"/>
                </a:ext>
              </a:extLst>
            </p:cNvPr>
            <p:cNvSpPr/>
            <p:nvPr/>
          </p:nvSpPr>
          <p:spPr>
            <a:xfrm>
              <a:off x="-1193792" y="1870096"/>
              <a:ext cx="1001633" cy="899689"/>
            </a:xfrm>
            <a:custGeom>
              <a:avLst/>
              <a:gdLst>
                <a:gd name="connsiteX0" fmla="*/ 378164 w 1001633"/>
                <a:gd name="connsiteY0" fmla="*/ 488729 h 899689"/>
                <a:gd name="connsiteX1" fmla="*/ 48438 w 1001633"/>
                <a:gd name="connsiteY1" fmla="*/ 76040 h 899689"/>
                <a:gd name="connsiteX2" fmla="*/ 6574 w 1001633"/>
                <a:gd name="connsiteY2" fmla="*/ 0 h 899689"/>
                <a:gd name="connsiteX3" fmla="*/ 0 w 1001633"/>
                <a:gd name="connsiteY3" fmla="*/ 19010 h 899689"/>
                <a:gd name="connsiteX4" fmla="*/ 35983 w 1001633"/>
                <a:gd name="connsiteY4" fmla="*/ 83644 h 899689"/>
                <a:gd name="connsiteX5" fmla="*/ 367784 w 1001633"/>
                <a:gd name="connsiteY5" fmla="*/ 499443 h 899689"/>
                <a:gd name="connsiteX6" fmla="*/ 688169 w 1001633"/>
                <a:gd name="connsiteY6" fmla="*/ 754522 h 899689"/>
                <a:gd name="connsiteX7" fmla="*/ 962191 w 1001633"/>
                <a:gd name="connsiteY7" fmla="*/ 899689 h 899689"/>
                <a:gd name="connsiteX8" fmla="*/ 1001633 w 1001633"/>
                <a:gd name="connsiteY8" fmla="*/ 899689 h 899689"/>
                <a:gd name="connsiteX9" fmla="*/ 696127 w 1001633"/>
                <a:gd name="connsiteY9" fmla="*/ 742425 h 899689"/>
                <a:gd name="connsiteX10" fmla="*/ 378164 w 1001633"/>
                <a:gd name="connsiteY10" fmla="*/ 489074 h 899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01633" h="899689">
                  <a:moveTo>
                    <a:pt x="378164" y="488729"/>
                  </a:moveTo>
                  <a:cubicBezTo>
                    <a:pt x="242883" y="356696"/>
                    <a:pt x="131821" y="217750"/>
                    <a:pt x="48438" y="76040"/>
                  </a:cubicBezTo>
                  <a:cubicBezTo>
                    <a:pt x="32523" y="49080"/>
                    <a:pt x="19029" y="24194"/>
                    <a:pt x="6574" y="0"/>
                  </a:cubicBezTo>
                  <a:cubicBezTo>
                    <a:pt x="4498" y="6221"/>
                    <a:pt x="2422" y="12789"/>
                    <a:pt x="0" y="19010"/>
                  </a:cubicBezTo>
                  <a:cubicBezTo>
                    <a:pt x="11072" y="39748"/>
                    <a:pt x="22835" y="60832"/>
                    <a:pt x="35983" y="83644"/>
                  </a:cubicBezTo>
                  <a:cubicBezTo>
                    <a:pt x="120058" y="226737"/>
                    <a:pt x="231812" y="366374"/>
                    <a:pt x="367784" y="499443"/>
                  </a:cubicBezTo>
                  <a:cubicBezTo>
                    <a:pt x="466737" y="596221"/>
                    <a:pt x="574685" y="681939"/>
                    <a:pt x="688169" y="754522"/>
                  </a:cubicBezTo>
                  <a:cubicBezTo>
                    <a:pt x="776050" y="810861"/>
                    <a:pt x="868082" y="859596"/>
                    <a:pt x="962191" y="899689"/>
                  </a:cubicBezTo>
                  <a:lnTo>
                    <a:pt x="1001633" y="899689"/>
                  </a:lnTo>
                  <a:cubicBezTo>
                    <a:pt x="896453" y="857176"/>
                    <a:pt x="794041" y="804985"/>
                    <a:pt x="696127" y="742425"/>
                  </a:cubicBezTo>
                  <a:cubicBezTo>
                    <a:pt x="583335" y="670187"/>
                    <a:pt x="476425" y="585161"/>
                    <a:pt x="378164" y="489074"/>
                  </a:cubicBezTo>
                  <a:close/>
                </a:path>
              </a:pathLst>
            </a:custGeom>
            <a:grpFill/>
            <a:ln w="34574"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B2FC6E6B-6D07-1E75-6DE0-C8EDD685F6ED}"/>
                </a:ext>
              </a:extLst>
            </p:cNvPr>
            <p:cNvSpPr/>
            <p:nvPr/>
          </p:nvSpPr>
          <p:spPr>
            <a:xfrm>
              <a:off x="1194211" y="2026323"/>
              <a:ext cx="896107" cy="743116"/>
            </a:xfrm>
            <a:custGeom>
              <a:avLst/>
              <a:gdLst>
                <a:gd name="connsiteX0" fmla="*/ 468121 w 896107"/>
                <a:gd name="connsiteY0" fmla="*/ 473866 h 743116"/>
                <a:gd name="connsiteX1" fmla="*/ 0 w 896107"/>
                <a:gd name="connsiteY1" fmla="*/ 743116 h 743116"/>
                <a:gd name="connsiteX2" fmla="*/ 38751 w 896107"/>
                <a:gd name="connsiteY2" fmla="*/ 743116 h 743116"/>
                <a:gd name="connsiteX3" fmla="*/ 477117 w 896107"/>
                <a:gd name="connsiteY3" fmla="*/ 485272 h 743116"/>
                <a:gd name="connsiteX4" fmla="*/ 856319 w 896107"/>
                <a:gd name="connsiteY4" fmla="*/ 85718 h 743116"/>
                <a:gd name="connsiteX5" fmla="*/ 896107 w 896107"/>
                <a:gd name="connsiteY5" fmla="*/ 26268 h 743116"/>
                <a:gd name="connsiteX6" fmla="*/ 896107 w 896107"/>
                <a:gd name="connsiteY6" fmla="*/ 0 h 743116"/>
                <a:gd name="connsiteX7" fmla="*/ 844555 w 896107"/>
                <a:gd name="connsiteY7" fmla="*/ 77423 h 743116"/>
                <a:gd name="connsiteX8" fmla="*/ 468467 w 896107"/>
                <a:gd name="connsiteY8" fmla="*/ 473866 h 74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6107" h="743116">
                  <a:moveTo>
                    <a:pt x="468121" y="473866"/>
                  </a:moveTo>
                  <a:cubicBezTo>
                    <a:pt x="326266" y="585161"/>
                    <a:pt x="166420" y="676754"/>
                    <a:pt x="0" y="743116"/>
                  </a:cubicBezTo>
                  <a:lnTo>
                    <a:pt x="38751" y="743116"/>
                  </a:lnTo>
                  <a:cubicBezTo>
                    <a:pt x="194445" y="677100"/>
                    <a:pt x="343566" y="589654"/>
                    <a:pt x="477117" y="485272"/>
                  </a:cubicBezTo>
                  <a:cubicBezTo>
                    <a:pt x="620701" y="372595"/>
                    <a:pt x="748371" y="238143"/>
                    <a:pt x="856319" y="85718"/>
                  </a:cubicBezTo>
                  <a:cubicBezTo>
                    <a:pt x="870158" y="66362"/>
                    <a:pt x="882960" y="46315"/>
                    <a:pt x="896107" y="26268"/>
                  </a:cubicBezTo>
                  <a:lnTo>
                    <a:pt x="896107" y="0"/>
                  </a:lnTo>
                  <a:cubicBezTo>
                    <a:pt x="879500" y="26268"/>
                    <a:pt x="862547" y="52191"/>
                    <a:pt x="844555" y="77423"/>
                  </a:cubicBezTo>
                  <a:cubicBezTo>
                    <a:pt x="737299" y="228465"/>
                    <a:pt x="611014" y="361880"/>
                    <a:pt x="468467" y="473866"/>
                  </a:cubicBezTo>
                  <a:close/>
                </a:path>
              </a:pathLst>
            </a:custGeom>
            <a:grpFill/>
            <a:ln w="34574"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0DB77015-FA43-077E-4E58-1ACE6A8EE3FF}"/>
                </a:ext>
              </a:extLst>
            </p:cNvPr>
            <p:cNvSpPr/>
            <p:nvPr/>
          </p:nvSpPr>
          <p:spPr>
            <a:xfrm>
              <a:off x="-1171649" y="1804426"/>
              <a:ext cx="1120998" cy="965014"/>
            </a:xfrm>
            <a:custGeom>
              <a:avLst/>
              <a:gdLst>
                <a:gd name="connsiteX0" fmla="*/ 653224 w 1120998"/>
                <a:gd name="connsiteY0" fmla="*/ 736895 h 965014"/>
                <a:gd name="connsiteX1" fmla="*/ 345987 w 1120998"/>
                <a:gd name="connsiteY1" fmla="*/ 475595 h 965014"/>
                <a:gd name="connsiteX2" fmla="*/ 38405 w 1120998"/>
                <a:gd name="connsiteY2" fmla="*/ 62214 h 965014"/>
                <a:gd name="connsiteX3" fmla="*/ 6574 w 1120998"/>
                <a:gd name="connsiteY3" fmla="*/ 0 h 965014"/>
                <a:gd name="connsiteX4" fmla="*/ 0 w 1120998"/>
                <a:gd name="connsiteY4" fmla="*/ 20047 h 965014"/>
                <a:gd name="connsiteX5" fmla="*/ 25603 w 1120998"/>
                <a:gd name="connsiteY5" fmla="*/ 69127 h 965014"/>
                <a:gd name="connsiteX6" fmla="*/ 335608 w 1120998"/>
                <a:gd name="connsiteY6" fmla="*/ 485618 h 965014"/>
                <a:gd name="connsiteX7" fmla="*/ 645266 w 1120998"/>
                <a:gd name="connsiteY7" fmla="*/ 748992 h 965014"/>
                <a:gd name="connsiteX8" fmla="*/ 1003709 w 1120998"/>
                <a:gd name="connsiteY8" fmla="*/ 939437 h 965014"/>
                <a:gd name="connsiteX9" fmla="*/ 1073945 w 1120998"/>
                <a:gd name="connsiteY9" fmla="*/ 965014 h 965014"/>
                <a:gd name="connsiteX10" fmla="*/ 1120999 w 1120998"/>
                <a:gd name="connsiteY10" fmla="*/ 965014 h 965014"/>
                <a:gd name="connsiteX11" fmla="*/ 1008899 w 1120998"/>
                <a:gd name="connsiteY11" fmla="*/ 925612 h 965014"/>
                <a:gd name="connsiteX12" fmla="*/ 653224 w 1120998"/>
                <a:gd name="connsiteY12" fmla="*/ 736549 h 965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20998" h="965014">
                  <a:moveTo>
                    <a:pt x="653224" y="736895"/>
                  </a:moveTo>
                  <a:cubicBezTo>
                    <a:pt x="543546" y="661892"/>
                    <a:pt x="440442" y="574101"/>
                    <a:pt x="345987" y="475595"/>
                  </a:cubicBezTo>
                  <a:cubicBezTo>
                    <a:pt x="217626" y="341488"/>
                    <a:pt x="114176" y="202542"/>
                    <a:pt x="38405" y="62214"/>
                  </a:cubicBezTo>
                  <a:cubicBezTo>
                    <a:pt x="26987" y="40785"/>
                    <a:pt x="16608" y="20393"/>
                    <a:pt x="6574" y="0"/>
                  </a:cubicBezTo>
                  <a:cubicBezTo>
                    <a:pt x="4498" y="6567"/>
                    <a:pt x="2076" y="13134"/>
                    <a:pt x="0" y="20047"/>
                  </a:cubicBezTo>
                  <a:cubicBezTo>
                    <a:pt x="7958" y="35946"/>
                    <a:pt x="16261" y="52191"/>
                    <a:pt x="25603" y="69127"/>
                  </a:cubicBezTo>
                  <a:cubicBezTo>
                    <a:pt x="102066" y="210492"/>
                    <a:pt x="206208" y="350474"/>
                    <a:pt x="335608" y="485618"/>
                  </a:cubicBezTo>
                  <a:cubicBezTo>
                    <a:pt x="430754" y="584815"/>
                    <a:pt x="534896" y="673298"/>
                    <a:pt x="645266" y="748992"/>
                  </a:cubicBezTo>
                  <a:cubicBezTo>
                    <a:pt x="758750" y="826760"/>
                    <a:pt x="879500" y="890703"/>
                    <a:pt x="1003709" y="939437"/>
                  </a:cubicBezTo>
                  <a:cubicBezTo>
                    <a:pt x="1026890" y="948424"/>
                    <a:pt x="1050418" y="957065"/>
                    <a:pt x="1073945" y="965014"/>
                  </a:cubicBezTo>
                  <a:lnTo>
                    <a:pt x="1120999" y="965014"/>
                  </a:lnTo>
                  <a:cubicBezTo>
                    <a:pt x="1083286" y="952917"/>
                    <a:pt x="1045920" y="940129"/>
                    <a:pt x="1008899" y="925612"/>
                  </a:cubicBezTo>
                  <a:cubicBezTo>
                    <a:pt x="885727" y="877223"/>
                    <a:pt x="766016" y="813626"/>
                    <a:pt x="653224" y="736549"/>
                  </a:cubicBezTo>
                  <a:close/>
                </a:path>
              </a:pathLst>
            </a:custGeom>
            <a:grpFill/>
            <a:ln w="34574"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5DE12ED0-8C5E-8797-756F-002971FF4BD3}"/>
                </a:ext>
              </a:extLst>
            </p:cNvPr>
            <p:cNvSpPr/>
            <p:nvPr/>
          </p:nvSpPr>
          <p:spPr>
            <a:xfrm>
              <a:off x="1050972" y="1932311"/>
              <a:ext cx="1039346" cy="837474"/>
            </a:xfrm>
            <a:custGeom>
              <a:avLst/>
              <a:gdLst>
                <a:gd name="connsiteX0" fmla="*/ 569495 w 1039346"/>
                <a:gd name="connsiteY0" fmla="*/ 539537 h 837474"/>
                <a:gd name="connsiteX1" fmla="*/ 0 w 1039346"/>
                <a:gd name="connsiteY1" fmla="*/ 837475 h 837474"/>
                <a:gd name="connsiteX2" fmla="*/ 47401 w 1039346"/>
                <a:gd name="connsiteY2" fmla="*/ 837475 h 837474"/>
                <a:gd name="connsiteX3" fmla="*/ 578491 w 1039346"/>
                <a:gd name="connsiteY3" fmla="*/ 551289 h 837474"/>
                <a:gd name="connsiteX4" fmla="*/ 956309 w 1039346"/>
                <a:gd name="connsiteY4" fmla="*/ 157610 h 837474"/>
                <a:gd name="connsiteX5" fmla="*/ 1039346 w 1039346"/>
                <a:gd name="connsiteY5" fmla="*/ 28688 h 837474"/>
                <a:gd name="connsiteX6" fmla="*/ 1039346 w 1039346"/>
                <a:gd name="connsiteY6" fmla="*/ 0 h 837474"/>
                <a:gd name="connsiteX7" fmla="*/ 944200 w 1039346"/>
                <a:gd name="connsiteY7" fmla="*/ 148969 h 837474"/>
                <a:gd name="connsiteX8" fmla="*/ 569149 w 1039346"/>
                <a:gd name="connsiteY8" fmla="*/ 539537 h 837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39346" h="837474">
                  <a:moveTo>
                    <a:pt x="569495" y="539537"/>
                  </a:moveTo>
                  <a:cubicBezTo>
                    <a:pt x="399270" y="670878"/>
                    <a:pt x="202749" y="773186"/>
                    <a:pt x="0" y="837475"/>
                  </a:cubicBezTo>
                  <a:lnTo>
                    <a:pt x="47401" y="837475"/>
                  </a:lnTo>
                  <a:cubicBezTo>
                    <a:pt x="236655" y="772150"/>
                    <a:pt x="418645" y="674335"/>
                    <a:pt x="578491" y="551289"/>
                  </a:cubicBezTo>
                  <a:cubicBezTo>
                    <a:pt x="721730" y="440685"/>
                    <a:pt x="848707" y="308307"/>
                    <a:pt x="956309" y="157610"/>
                  </a:cubicBezTo>
                  <a:cubicBezTo>
                    <a:pt x="986064" y="115788"/>
                    <a:pt x="1013397" y="72583"/>
                    <a:pt x="1039346" y="28688"/>
                  </a:cubicBezTo>
                  <a:lnTo>
                    <a:pt x="1039346" y="0"/>
                  </a:lnTo>
                  <a:cubicBezTo>
                    <a:pt x="1009937" y="51154"/>
                    <a:pt x="978798" y="100926"/>
                    <a:pt x="944200" y="148969"/>
                  </a:cubicBezTo>
                  <a:cubicBezTo>
                    <a:pt x="837635" y="298283"/>
                    <a:pt x="711350" y="429625"/>
                    <a:pt x="569149" y="539537"/>
                  </a:cubicBezTo>
                  <a:close/>
                </a:path>
              </a:pathLst>
            </a:custGeom>
            <a:grpFill/>
            <a:ln w="34574"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0ED68265-B0E9-1D5B-E34B-912D32E3D913}"/>
                </a:ext>
              </a:extLst>
            </p:cNvPr>
            <p:cNvSpPr/>
            <p:nvPr/>
          </p:nvSpPr>
          <p:spPr>
            <a:xfrm>
              <a:off x="863447" y="1830694"/>
              <a:ext cx="1226871" cy="939091"/>
            </a:xfrm>
            <a:custGeom>
              <a:avLst/>
              <a:gdLst>
                <a:gd name="connsiteX0" fmla="*/ 714810 w 1226871"/>
                <a:gd name="connsiteY0" fmla="*/ 612812 h 939091"/>
                <a:gd name="connsiteX1" fmla="*/ 114176 w 1226871"/>
                <a:gd name="connsiteY1" fmla="*/ 911441 h 939091"/>
                <a:gd name="connsiteX2" fmla="*/ 0 w 1226871"/>
                <a:gd name="connsiteY2" fmla="*/ 939092 h 939091"/>
                <a:gd name="connsiteX3" fmla="*/ 62970 w 1226871"/>
                <a:gd name="connsiteY3" fmla="*/ 939092 h 939091"/>
                <a:gd name="connsiteX4" fmla="*/ 118328 w 1226871"/>
                <a:gd name="connsiteY4" fmla="*/ 925266 h 939091"/>
                <a:gd name="connsiteX5" fmla="*/ 723805 w 1226871"/>
                <a:gd name="connsiteY5" fmla="*/ 624218 h 939091"/>
                <a:gd name="connsiteX6" fmla="*/ 1100240 w 1226871"/>
                <a:gd name="connsiteY6" fmla="*/ 236415 h 939091"/>
                <a:gd name="connsiteX7" fmla="*/ 1226871 w 1226871"/>
                <a:gd name="connsiteY7" fmla="*/ 31798 h 939091"/>
                <a:gd name="connsiteX8" fmla="*/ 1226871 w 1226871"/>
                <a:gd name="connsiteY8" fmla="*/ 0 h 939091"/>
                <a:gd name="connsiteX9" fmla="*/ 1088476 w 1226871"/>
                <a:gd name="connsiteY9" fmla="*/ 228119 h 939091"/>
                <a:gd name="connsiteX10" fmla="*/ 714810 w 1226871"/>
                <a:gd name="connsiteY10" fmla="*/ 612812 h 939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6871" h="939091">
                  <a:moveTo>
                    <a:pt x="714810" y="612812"/>
                  </a:moveTo>
                  <a:cubicBezTo>
                    <a:pt x="535935" y="748301"/>
                    <a:pt x="328342" y="851646"/>
                    <a:pt x="114176" y="911441"/>
                  </a:cubicBezTo>
                  <a:cubicBezTo>
                    <a:pt x="76463" y="922156"/>
                    <a:pt x="38405" y="931142"/>
                    <a:pt x="0" y="939092"/>
                  </a:cubicBezTo>
                  <a:lnTo>
                    <a:pt x="62970" y="939092"/>
                  </a:lnTo>
                  <a:cubicBezTo>
                    <a:pt x="81307" y="934598"/>
                    <a:pt x="99990" y="930451"/>
                    <a:pt x="118328" y="925266"/>
                  </a:cubicBezTo>
                  <a:cubicBezTo>
                    <a:pt x="334224" y="864780"/>
                    <a:pt x="543546" y="760744"/>
                    <a:pt x="723805" y="624218"/>
                  </a:cubicBezTo>
                  <a:cubicBezTo>
                    <a:pt x="866698" y="515688"/>
                    <a:pt x="993330" y="385384"/>
                    <a:pt x="1100240" y="236415"/>
                  </a:cubicBezTo>
                  <a:cubicBezTo>
                    <a:pt x="1147294" y="171089"/>
                    <a:pt x="1189158" y="102308"/>
                    <a:pt x="1226871" y="31798"/>
                  </a:cubicBezTo>
                  <a:lnTo>
                    <a:pt x="1226871" y="0"/>
                  </a:lnTo>
                  <a:cubicBezTo>
                    <a:pt x="1186391" y="78805"/>
                    <a:pt x="1140720" y="155536"/>
                    <a:pt x="1088476" y="228119"/>
                  </a:cubicBezTo>
                  <a:cubicBezTo>
                    <a:pt x="982258" y="375706"/>
                    <a:pt x="856664" y="505319"/>
                    <a:pt x="714810" y="612812"/>
                  </a:cubicBezTo>
                  <a:close/>
                </a:path>
              </a:pathLst>
            </a:custGeom>
            <a:grpFill/>
            <a:ln w="34574" cap="flat">
              <a:noFill/>
              <a:prstDash val="solid"/>
              <a:miter/>
            </a:ln>
          </p:spPr>
          <p:txBody>
            <a:bodyPr rtlCol="0" anchor="ctr"/>
            <a:lstStyle/>
            <a:p>
              <a:endParaRPr lang="en-US"/>
            </a:p>
          </p:txBody>
        </p:sp>
        <p:sp>
          <p:nvSpPr>
            <p:cNvPr id="23" name="Freeform 22">
              <a:extLst>
                <a:ext uri="{FF2B5EF4-FFF2-40B4-BE49-F238E27FC236}">
                  <a16:creationId xmlns:a16="http://schemas.microsoft.com/office/drawing/2014/main" id="{98441E2C-5BCC-54B8-4550-6FD4D7ECF670}"/>
                </a:ext>
              </a:extLst>
            </p:cNvPr>
            <p:cNvSpPr/>
            <p:nvPr/>
          </p:nvSpPr>
          <p:spPr>
            <a:xfrm>
              <a:off x="-1151928" y="1735990"/>
              <a:ext cx="1285688" cy="1033449"/>
            </a:xfrm>
            <a:custGeom>
              <a:avLst/>
              <a:gdLst>
                <a:gd name="connsiteX0" fmla="*/ 612398 w 1285688"/>
                <a:gd name="connsiteY0" fmla="*/ 734475 h 1033449"/>
                <a:gd name="connsiteX1" fmla="*/ 315887 w 1285688"/>
                <a:gd name="connsiteY1" fmla="*/ 465225 h 1033449"/>
                <a:gd name="connsiteX2" fmla="*/ 30101 w 1285688"/>
                <a:gd name="connsiteY2" fmla="*/ 51500 h 1033449"/>
                <a:gd name="connsiteX3" fmla="*/ 5882 w 1285688"/>
                <a:gd name="connsiteY3" fmla="*/ 0 h 1033449"/>
                <a:gd name="connsiteX4" fmla="*/ 0 w 1285688"/>
                <a:gd name="connsiteY4" fmla="*/ 21429 h 1033449"/>
                <a:gd name="connsiteX5" fmla="*/ 17299 w 1285688"/>
                <a:gd name="connsiteY5" fmla="*/ 57721 h 1033449"/>
                <a:gd name="connsiteX6" fmla="*/ 305507 w 1285688"/>
                <a:gd name="connsiteY6" fmla="*/ 474903 h 1033449"/>
                <a:gd name="connsiteX7" fmla="*/ 604094 w 1285688"/>
                <a:gd name="connsiteY7" fmla="*/ 746227 h 1033449"/>
                <a:gd name="connsiteX8" fmla="*/ 954233 w 1285688"/>
                <a:gd name="connsiteY8" fmla="*/ 945313 h 1033449"/>
                <a:gd name="connsiteX9" fmla="*/ 1220643 w 1285688"/>
                <a:gd name="connsiteY9" fmla="*/ 1033450 h 1033449"/>
                <a:gd name="connsiteX10" fmla="*/ 1285689 w 1285688"/>
                <a:gd name="connsiteY10" fmla="*/ 1033450 h 1033449"/>
                <a:gd name="connsiteX11" fmla="*/ 960115 w 1285688"/>
                <a:gd name="connsiteY11" fmla="*/ 931833 h 1033449"/>
                <a:gd name="connsiteX12" fmla="*/ 612743 w 1285688"/>
                <a:gd name="connsiteY12" fmla="*/ 734130 h 1033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85688" h="1033449">
                  <a:moveTo>
                    <a:pt x="612398" y="734475"/>
                  </a:moveTo>
                  <a:cubicBezTo>
                    <a:pt x="505834" y="656707"/>
                    <a:pt x="406189" y="566151"/>
                    <a:pt x="315887" y="465225"/>
                  </a:cubicBezTo>
                  <a:cubicBezTo>
                    <a:pt x="194791" y="329736"/>
                    <a:pt x="98606" y="190445"/>
                    <a:pt x="30101" y="51500"/>
                  </a:cubicBezTo>
                  <a:cubicBezTo>
                    <a:pt x="21451" y="33872"/>
                    <a:pt x="13493" y="16936"/>
                    <a:pt x="5882" y="0"/>
                  </a:cubicBezTo>
                  <a:cubicBezTo>
                    <a:pt x="4152" y="7258"/>
                    <a:pt x="1730" y="14171"/>
                    <a:pt x="0" y="21429"/>
                  </a:cubicBezTo>
                  <a:cubicBezTo>
                    <a:pt x="5536" y="33526"/>
                    <a:pt x="11072" y="45278"/>
                    <a:pt x="17299" y="57721"/>
                  </a:cubicBezTo>
                  <a:cubicBezTo>
                    <a:pt x="86497" y="197703"/>
                    <a:pt x="183373" y="338031"/>
                    <a:pt x="305507" y="474903"/>
                  </a:cubicBezTo>
                  <a:cubicBezTo>
                    <a:pt x="396156" y="576520"/>
                    <a:pt x="496838" y="667768"/>
                    <a:pt x="604094" y="746227"/>
                  </a:cubicBezTo>
                  <a:cubicBezTo>
                    <a:pt x="714464" y="826760"/>
                    <a:pt x="832100" y="893813"/>
                    <a:pt x="954233" y="945313"/>
                  </a:cubicBezTo>
                  <a:cubicBezTo>
                    <a:pt x="1040730" y="981950"/>
                    <a:pt x="1129649" y="1011329"/>
                    <a:pt x="1220643" y="1033450"/>
                  </a:cubicBezTo>
                  <a:lnTo>
                    <a:pt x="1285689" y="1033450"/>
                  </a:lnTo>
                  <a:cubicBezTo>
                    <a:pt x="1174281" y="1010292"/>
                    <a:pt x="1065295" y="976420"/>
                    <a:pt x="960115" y="931833"/>
                  </a:cubicBezTo>
                  <a:cubicBezTo>
                    <a:pt x="839019" y="880679"/>
                    <a:pt x="722076" y="813971"/>
                    <a:pt x="612743" y="734130"/>
                  </a:cubicBezTo>
                  <a:close/>
                </a:path>
              </a:pathLst>
            </a:custGeom>
            <a:grpFill/>
            <a:ln w="34574"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9B09ED39-1747-F55A-3841-783711B23250}"/>
                </a:ext>
              </a:extLst>
            </p:cNvPr>
            <p:cNvSpPr/>
            <p:nvPr/>
          </p:nvSpPr>
          <p:spPr>
            <a:xfrm>
              <a:off x="-1134629" y="1662715"/>
              <a:ext cx="3224255" cy="1106379"/>
            </a:xfrm>
            <a:custGeom>
              <a:avLst/>
              <a:gdLst>
                <a:gd name="connsiteX0" fmla="*/ 2670676 w 3224255"/>
                <a:gd name="connsiteY0" fmla="*/ 752103 h 1106379"/>
                <a:gd name="connsiteX1" fmla="*/ 2071426 w 3224255"/>
                <a:gd name="connsiteY1" fmla="*/ 1041054 h 1106379"/>
                <a:gd name="connsiteX2" fmla="*/ 1862104 w 3224255"/>
                <a:gd name="connsiteY2" fmla="*/ 1082530 h 1106379"/>
                <a:gd name="connsiteX3" fmla="*/ 1746890 w 3224255"/>
                <a:gd name="connsiteY3" fmla="*/ 1093936 h 1106379"/>
                <a:gd name="connsiteX4" fmla="*/ 1520960 w 3224255"/>
                <a:gd name="connsiteY4" fmla="*/ 1094282 h 1106379"/>
                <a:gd name="connsiteX5" fmla="*/ 913060 w 3224255"/>
                <a:gd name="connsiteY5" fmla="*/ 942548 h 1106379"/>
                <a:gd name="connsiteX6" fmla="*/ 288554 w 3224255"/>
                <a:gd name="connsiteY6" fmla="*/ 459350 h 1106379"/>
                <a:gd name="connsiteX7" fmla="*/ 24565 w 3224255"/>
                <a:gd name="connsiteY7" fmla="*/ 44933 h 1106379"/>
                <a:gd name="connsiteX8" fmla="*/ 5536 w 3224255"/>
                <a:gd name="connsiteY8" fmla="*/ 0 h 1106379"/>
                <a:gd name="connsiteX9" fmla="*/ 0 w 3224255"/>
                <a:gd name="connsiteY9" fmla="*/ 24194 h 1106379"/>
                <a:gd name="connsiteX10" fmla="*/ 11072 w 3224255"/>
                <a:gd name="connsiteY10" fmla="*/ 50463 h 1106379"/>
                <a:gd name="connsiteX11" fmla="*/ 277136 w 3224255"/>
                <a:gd name="connsiteY11" fmla="*/ 468336 h 1106379"/>
                <a:gd name="connsiteX12" fmla="*/ 906833 w 3224255"/>
                <a:gd name="connsiteY12" fmla="*/ 955682 h 1106379"/>
                <a:gd name="connsiteX13" fmla="*/ 1492243 w 3224255"/>
                <a:gd name="connsiteY13" fmla="*/ 1106379 h 1106379"/>
                <a:gd name="connsiteX14" fmla="*/ 1770763 w 3224255"/>
                <a:gd name="connsiteY14" fmla="*/ 1106379 h 1106379"/>
                <a:gd name="connsiteX15" fmla="*/ 1863488 w 3224255"/>
                <a:gd name="connsiteY15" fmla="*/ 1096701 h 1106379"/>
                <a:gd name="connsiteX16" fmla="*/ 2074540 w 3224255"/>
                <a:gd name="connsiteY16" fmla="*/ 1054879 h 1106379"/>
                <a:gd name="connsiteX17" fmla="*/ 2678634 w 3224255"/>
                <a:gd name="connsiteY17" fmla="*/ 763509 h 1106379"/>
                <a:gd name="connsiteX18" fmla="*/ 3054030 w 3224255"/>
                <a:gd name="connsiteY18" fmla="*/ 381582 h 1106379"/>
                <a:gd name="connsiteX19" fmla="*/ 3224256 w 3224255"/>
                <a:gd name="connsiteY19" fmla="*/ 91248 h 1106379"/>
                <a:gd name="connsiteX20" fmla="*/ 3224256 w 3224255"/>
                <a:gd name="connsiteY20" fmla="*/ 55302 h 1106379"/>
                <a:gd name="connsiteX21" fmla="*/ 3042267 w 3224255"/>
                <a:gd name="connsiteY21" fmla="*/ 372941 h 1106379"/>
                <a:gd name="connsiteX22" fmla="*/ 2669984 w 3224255"/>
                <a:gd name="connsiteY22" fmla="*/ 751757 h 1106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224255" h="1106379">
                  <a:moveTo>
                    <a:pt x="2670676" y="752103"/>
                  </a:moveTo>
                  <a:cubicBezTo>
                    <a:pt x="2492493" y="884827"/>
                    <a:pt x="2285246" y="984715"/>
                    <a:pt x="2071426" y="1041054"/>
                  </a:cubicBezTo>
                  <a:cubicBezTo>
                    <a:pt x="2002575" y="1059373"/>
                    <a:pt x="1932339" y="1073198"/>
                    <a:pt x="1862104" y="1082530"/>
                  </a:cubicBezTo>
                  <a:cubicBezTo>
                    <a:pt x="1824045" y="1087715"/>
                    <a:pt x="1785295" y="1091517"/>
                    <a:pt x="1746890" y="1093936"/>
                  </a:cubicBezTo>
                  <a:cubicBezTo>
                    <a:pt x="1672503" y="1098775"/>
                    <a:pt x="1596385" y="1099121"/>
                    <a:pt x="1520960" y="1094282"/>
                  </a:cubicBezTo>
                  <a:cubicBezTo>
                    <a:pt x="1309562" y="1081148"/>
                    <a:pt x="1105084" y="1029994"/>
                    <a:pt x="913060" y="942548"/>
                  </a:cubicBezTo>
                  <a:cubicBezTo>
                    <a:pt x="678135" y="835401"/>
                    <a:pt x="462239" y="668113"/>
                    <a:pt x="288554" y="459350"/>
                  </a:cubicBezTo>
                  <a:cubicBezTo>
                    <a:pt x="174724" y="322478"/>
                    <a:pt x="85805" y="182841"/>
                    <a:pt x="24565" y="44933"/>
                  </a:cubicBezTo>
                  <a:cubicBezTo>
                    <a:pt x="17645" y="29725"/>
                    <a:pt x="11418" y="14862"/>
                    <a:pt x="5536" y="0"/>
                  </a:cubicBezTo>
                  <a:cubicBezTo>
                    <a:pt x="3806" y="8295"/>
                    <a:pt x="1730" y="16245"/>
                    <a:pt x="0" y="24194"/>
                  </a:cubicBezTo>
                  <a:cubicBezTo>
                    <a:pt x="3806" y="32835"/>
                    <a:pt x="7266" y="41476"/>
                    <a:pt x="11072" y="50463"/>
                  </a:cubicBezTo>
                  <a:cubicBezTo>
                    <a:pt x="73003" y="189754"/>
                    <a:pt x="162614" y="330082"/>
                    <a:pt x="277136" y="468336"/>
                  </a:cubicBezTo>
                  <a:cubicBezTo>
                    <a:pt x="451860" y="678828"/>
                    <a:pt x="669485" y="847153"/>
                    <a:pt x="906833" y="955682"/>
                  </a:cubicBezTo>
                  <a:cubicBezTo>
                    <a:pt x="1091936" y="1040363"/>
                    <a:pt x="1288803" y="1090826"/>
                    <a:pt x="1492243" y="1106379"/>
                  </a:cubicBezTo>
                  <a:lnTo>
                    <a:pt x="1770763" y="1106379"/>
                  </a:lnTo>
                  <a:cubicBezTo>
                    <a:pt x="1801556" y="1103960"/>
                    <a:pt x="1832695" y="1100849"/>
                    <a:pt x="1863488" y="1096701"/>
                  </a:cubicBezTo>
                  <a:cubicBezTo>
                    <a:pt x="1934415" y="1087024"/>
                    <a:pt x="2005343" y="1073198"/>
                    <a:pt x="2074540" y="1054879"/>
                  </a:cubicBezTo>
                  <a:cubicBezTo>
                    <a:pt x="2290090" y="998195"/>
                    <a:pt x="2499066" y="897270"/>
                    <a:pt x="2678634" y="763509"/>
                  </a:cubicBezTo>
                  <a:cubicBezTo>
                    <a:pt x="2820834" y="657399"/>
                    <a:pt x="2947120" y="528822"/>
                    <a:pt x="3054030" y="381582"/>
                  </a:cubicBezTo>
                  <a:cubicBezTo>
                    <a:pt x="3120460" y="289988"/>
                    <a:pt x="3177201" y="192519"/>
                    <a:pt x="3224256" y="91248"/>
                  </a:cubicBezTo>
                  <a:lnTo>
                    <a:pt x="3224256" y="55302"/>
                  </a:lnTo>
                  <a:cubicBezTo>
                    <a:pt x="3175126" y="166251"/>
                    <a:pt x="3114578" y="273052"/>
                    <a:pt x="3042267" y="372941"/>
                  </a:cubicBezTo>
                  <a:cubicBezTo>
                    <a:pt x="2936394" y="519144"/>
                    <a:pt x="2811147" y="646338"/>
                    <a:pt x="2669984" y="751757"/>
                  </a:cubicBezTo>
                  <a:close/>
                </a:path>
              </a:pathLst>
            </a:custGeom>
            <a:grpFill/>
            <a:ln w="34574" cap="flat">
              <a:no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345BA90B-F78A-24C8-FB17-4D671B30AB64}"/>
                </a:ext>
              </a:extLst>
            </p:cNvPr>
            <p:cNvSpPr/>
            <p:nvPr/>
          </p:nvSpPr>
          <p:spPr>
            <a:xfrm>
              <a:off x="-1119405" y="1585293"/>
              <a:ext cx="3209377" cy="1144522"/>
            </a:xfrm>
            <a:custGeom>
              <a:avLst/>
              <a:gdLst>
                <a:gd name="connsiteX0" fmla="*/ 2613242 w 3209377"/>
                <a:gd name="connsiteY0" fmla="*/ 801183 h 1144522"/>
                <a:gd name="connsiteX1" fmla="*/ 2015376 w 3209377"/>
                <a:gd name="connsiteY1" fmla="*/ 1080456 h 1144522"/>
                <a:gd name="connsiteX2" fmla="*/ 1806746 w 3209377"/>
                <a:gd name="connsiteY2" fmla="*/ 1118477 h 1144522"/>
                <a:gd name="connsiteX3" fmla="*/ 1692224 w 3209377"/>
                <a:gd name="connsiteY3" fmla="*/ 1127809 h 1144522"/>
                <a:gd name="connsiteX4" fmla="*/ 1468024 w 3209377"/>
                <a:gd name="connsiteY4" fmla="*/ 1123661 h 1144522"/>
                <a:gd name="connsiteX5" fmla="*/ 868428 w 3209377"/>
                <a:gd name="connsiteY5" fmla="*/ 957756 h 1144522"/>
                <a:gd name="connsiteX6" fmla="*/ 263296 w 3209377"/>
                <a:gd name="connsiteY6" fmla="*/ 457967 h 1144522"/>
                <a:gd name="connsiteX7" fmla="*/ 21105 w 3209377"/>
                <a:gd name="connsiteY7" fmla="*/ 43204 h 1144522"/>
                <a:gd name="connsiteX8" fmla="*/ 4844 w 3209377"/>
                <a:gd name="connsiteY8" fmla="*/ 0 h 1144522"/>
                <a:gd name="connsiteX9" fmla="*/ 0 w 3209377"/>
                <a:gd name="connsiteY9" fmla="*/ 28342 h 1144522"/>
                <a:gd name="connsiteX10" fmla="*/ 7612 w 3209377"/>
                <a:gd name="connsiteY10" fmla="*/ 48734 h 1144522"/>
                <a:gd name="connsiteX11" fmla="*/ 251879 w 3209377"/>
                <a:gd name="connsiteY11" fmla="*/ 467299 h 1144522"/>
                <a:gd name="connsiteX12" fmla="*/ 862200 w 3209377"/>
                <a:gd name="connsiteY12" fmla="*/ 971236 h 1144522"/>
                <a:gd name="connsiteX13" fmla="*/ 1466986 w 3209377"/>
                <a:gd name="connsiteY13" fmla="*/ 1138523 h 1144522"/>
                <a:gd name="connsiteX14" fmla="*/ 1692916 w 3209377"/>
                <a:gd name="connsiteY14" fmla="*/ 1142671 h 1144522"/>
                <a:gd name="connsiteX15" fmla="*/ 1808476 w 3209377"/>
                <a:gd name="connsiteY15" fmla="*/ 1133339 h 1144522"/>
                <a:gd name="connsiteX16" fmla="*/ 2018836 w 3209377"/>
                <a:gd name="connsiteY16" fmla="*/ 1094973 h 1144522"/>
                <a:gd name="connsiteX17" fmla="*/ 2621546 w 3209377"/>
                <a:gd name="connsiteY17" fmla="*/ 813280 h 1144522"/>
                <a:gd name="connsiteX18" fmla="*/ 2995558 w 3209377"/>
                <a:gd name="connsiteY18" fmla="*/ 437229 h 1144522"/>
                <a:gd name="connsiteX19" fmla="*/ 3209378 w 3209377"/>
                <a:gd name="connsiteY19" fmla="*/ 45969 h 1144522"/>
                <a:gd name="connsiteX20" fmla="*/ 3209378 w 3209377"/>
                <a:gd name="connsiteY20" fmla="*/ 4147 h 1144522"/>
                <a:gd name="connsiteX21" fmla="*/ 2983795 w 3209377"/>
                <a:gd name="connsiteY21" fmla="*/ 428588 h 1144522"/>
                <a:gd name="connsiteX22" fmla="*/ 2612896 w 3209377"/>
                <a:gd name="connsiteY22" fmla="*/ 801529 h 1144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209377" h="1144522">
                  <a:moveTo>
                    <a:pt x="2613242" y="801183"/>
                  </a:moveTo>
                  <a:cubicBezTo>
                    <a:pt x="2435405" y="931142"/>
                    <a:pt x="2228850" y="1027574"/>
                    <a:pt x="2015376" y="1080456"/>
                  </a:cubicBezTo>
                  <a:cubicBezTo>
                    <a:pt x="1946871" y="1097393"/>
                    <a:pt x="1876635" y="1110181"/>
                    <a:pt x="1806746" y="1118477"/>
                  </a:cubicBezTo>
                  <a:cubicBezTo>
                    <a:pt x="1768687" y="1122970"/>
                    <a:pt x="1730282" y="1126080"/>
                    <a:pt x="1692224" y="1127809"/>
                  </a:cubicBezTo>
                  <a:cubicBezTo>
                    <a:pt x="1618183" y="1131265"/>
                    <a:pt x="1542757" y="1129882"/>
                    <a:pt x="1468024" y="1123661"/>
                  </a:cubicBezTo>
                  <a:cubicBezTo>
                    <a:pt x="1258702" y="1106379"/>
                    <a:pt x="1056991" y="1050386"/>
                    <a:pt x="868428" y="957756"/>
                  </a:cubicBezTo>
                  <a:cubicBezTo>
                    <a:pt x="636617" y="844042"/>
                    <a:pt x="427294" y="671224"/>
                    <a:pt x="263296" y="457967"/>
                  </a:cubicBezTo>
                  <a:cubicBezTo>
                    <a:pt x="157078" y="320058"/>
                    <a:pt x="75771" y="180422"/>
                    <a:pt x="21105" y="43204"/>
                  </a:cubicBezTo>
                  <a:cubicBezTo>
                    <a:pt x="15224" y="28342"/>
                    <a:pt x="10034" y="14171"/>
                    <a:pt x="4844" y="0"/>
                  </a:cubicBezTo>
                  <a:cubicBezTo>
                    <a:pt x="3460" y="9332"/>
                    <a:pt x="1730" y="19010"/>
                    <a:pt x="0" y="28342"/>
                  </a:cubicBezTo>
                  <a:cubicBezTo>
                    <a:pt x="2422" y="35255"/>
                    <a:pt x="4844" y="41822"/>
                    <a:pt x="7612" y="48734"/>
                  </a:cubicBezTo>
                  <a:cubicBezTo>
                    <a:pt x="62624" y="187334"/>
                    <a:pt x="144623" y="328008"/>
                    <a:pt x="251879" y="467299"/>
                  </a:cubicBezTo>
                  <a:cubicBezTo>
                    <a:pt x="417261" y="682284"/>
                    <a:pt x="628313" y="856485"/>
                    <a:pt x="862200" y="971236"/>
                  </a:cubicBezTo>
                  <a:cubicBezTo>
                    <a:pt x="1052493" y="1064557"/>
                    <a:pt x="1255934" y="1120896"/>
                    <a:pt x="1466986" y="1138523"/>
                  </a:cubicBezTo>
                  <a:cubicBezTo>
                    <a:pt x="1542411" y="1144745"/>
                    <a:pt x="1618529" y="1146127"/>
                    <a:pt x="1692916" y="1142671"/>
                  </a:cubicBezTo>
                  <a:cubicBezTo>
                    <a:pt x="1731320" y="1140943"/>
                    <a:pt x="1770071" y="1137832"/>
                    <a:pt x="1808476" y="1133339"/>
                  </a:cubicBezTo>
                  <a:cubicBezTo>
                    <a:pt x="1878711" y="1125043"/>
                    <a:pt x="1949639" y="1112255"/>
                    <a:pt x="2018836" y="1094973"/>
                  </a:cubicBezTo>
                  <a:cubicBezTo>
                    <a:pt x="2234040" y="1041745"/>
                    <a:pt x="2442324" y="944276"/>
                    <a:pt x="2621546" y="813280"/>
                  </a:cubicBezTo>
                  <a:cubicBezTo>
                    <a:pt x="2763400" y="709244"/>
                    <a:pt x="2889340" y="583087"/>
                    <a:pt x="2995558" y="437229"/>
                  </a:cubicBezTo>
                  <a:cubicBezTo>
                    <a:pt x="3084477" y="315219"/>
                    <a:pt x="3156096" y="183187"/>
                    <a:pt x="3209378" y="45969"/>
                  </a:cubicBezTo>
                  <a:lnTo>
                    <a:pt x="3209378" y="4147"/>
                  </a:lnTo>
                  <a:cubicBezTo>
                    <a:pt x="3155404" y="153462"/>
                    <a:pt x="3079979" y="296901"/>
                    <a:pt x="2983795" y="428588"/>
                  </a:cubicBezTo>
                  <a:cubicBezTo>
                    <a:pt x="2878268" y="573063"/>
                    <a:pt x="2753713" y="698529"/>
                    <a:pt x="2612896" y="801529"/>
                  </a:cubicBezTo>
                  <a:close/>
                </a:path>
              </a:pathLst>
            </a:custGeom>
            <a:grpFill/>
            <a:ln w="34574"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D474D3A8-6819-4F67-D931-7998AA8A9632}"/>
                </a:ext>
              </a:extLst>
            </p:cNvPr>
            <p:cNvSpPr/>
            <p:nvPr/>
          </p:nvSpPr>
          <p:spPr>
            <a:xfrm>
              <a:off x="-1106950" y="1425955"/>
              <a:ext cx="3196576" cy="1257739"/>
            </a:xfrm>
            <a:custGeom>
              <a:avLst/>
              <a:gdLst>
                <a:gd name="connsiteX0" fmla="*/ 2928091 w 3196576"/>
                <a:gd name="connsiteY0" fmla="*/ 565460 h 1257739"/>
                <a:gd name="connsiteX1" fmla="*/ 2558576 w 3196576"/>
                <a:gd name="connsiteY1" fmla="*/ 932179 h 1257739"/>
                <a:gd name="connsiteX2" fmla="*/ 1962094 w 3196576"/>
                <a:gd name="connsiteY2" fmla="*/ 1201775 h 1257739"/>
                <a:gd name="connsiteX3" fmla="*/ 1754501 w 3196576"/>
                <a:gd name="connsiteY3" fmla="*/ 1235993 h 1257739"/>
                <a:gd name="connsiteX4" fmla="*/ 1640672 w 3196576"/>
                <a:gd name="connsiteY4" fmla="*/ 1243251 h 1257739"/>
                <a:gd name="connsiteX5" fmla="*/ 1418202 w 3196576"/>
                <a:gd name="connsiteY5" fmla="*/ 1234610 h 1257739"/>
                <a:gd name="connsiteX6" fmla="*/ 826564 w 3196576"/>
                <a:gd name="connsiteY6" fmla="*/ 1054880 h 1257739"/>
                <a:gd name="connsiteX7" fmla="*/ 240807 w 3196576"/>
                <a:gd name="connsiteY7" fmla="*/ 538846 h 1257739"/>
                <a:gd name="connsiteX8" fmla="*/ 20413 w 3196576"/>
                <a:gd name="connsiteY8" fmla="*/ 123392 h 1257739"/>
                <a:gd name="connsiteX9" fmla="*/ 4152 w 3196576"/>
                <a:gd name="connsiteY9" fmla="*/ 73620 h 1257739"/>
                <a:gd name="connsiteX10" fmla="*/ 0 w 3196576"/>
                <a:gd name="connsiteY10" fmla="*/ 107838 h 1257739"/>
                <a:gd name="connsiteX11" fmla="*/ 6574 w 3196576"/>
                <a:gd name="connsiteY11" fmla="*/ 127885 h 1257739"/>
                <a:gd name="connsiteX12" fmla="*/ 228698 w 3196576"/>
                <a:gd name="connsiteY12" fmla="*/ 546795 h 1257739"/>
                <a:gd name="connsiteX13" fmla="*/ 819644 w 3196576"/>
                <a:gd name="connsiteY13" fmla="*/ 1067322 h 1257739"/>
                <a:gd name="connsiteX14" fmla="*/ 1416472 w 3196576"/>
                <a:gd name="connsiteY14" fmla="*/ 1248435 h 1257739"/>
                <a:gd name="connsiteX15" fmla="*/ 1640672 w 3196576"/>
                <a:gd name="connsiteY15" fmla="*/ 1257076 h 1257739"/>
                <a:gd name="connsiteX16" fmla="*/ 1755540 w 3196576"/>
                <a:gd name="connsiteY16" fmla="*/ 1249818 h 1257739"/>
                <a:gd name="connsiteX17" fmla="*/ 1964862 w 3196576"/>
                <a:gd name="connsiteY17" fmla="*/ 1215254 h 1257739"/>
                <a:gd name="connsiteX18" fmla="*/ 2566534 w 3196576"/>
                <a:gd name="connsiteY18" fmla="*/ 943239 h 1257739"/>
                <a:gd name="connsiteX19" fmla="*/ 2939508 w 3196576"/>
                <a:gd name="connsiteY19" fmla="*/ 573064 h 1257739"/>
                <a:gd name="connsiteX20" fmla="*/ 3196577 w 3196576"/>
                <a:gd name="connsiteY20" fmla="*/ 53919 h 1257739"/>
                <a:gd name="connsiteX21" fmla="*/ 3196577 w 3196576"/>
                <a:gd name="connsiteY21" fmla="*/ 0 h 1257739"/>
                <a:gd name="connsiteX22" fmla="*/ 2927744 w 3196576"/>
                <a:gd name="connsiteY22" fmla="*/ 564768 h 1257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196576" h="1257739">
                  <a:moveTo>
                    <a:pt x="2928091" y="565460"/>
                  </a:moveTo>
                  <a:cubicBezTo>
                    <a:pt x="2823257" y="708207"/>
                    <a:pt x="2698701" y="831599"/>
                    <a:pt x="2558576" y="932179"/>
                  </a:cubicBezTo>
                  <a:cubicBezTo>
                    <a:pt x="2381431" y="1059373"/>
                    <a:pt x="2175222" y="1152349"/>
                    <a:pt x="1962094" y="1201775"/>
                  </a:cubicBezTo>
                  <a:cubicBezTo>
                    <a:pt x="1893588" y="1217674"/>
                    <a:pt x="1823699" y="1229080"/>
                    <a:pt x="1754501" y="1235993"/>
                  </a:cubicBezTo>
                  <a:cubicBezTo>
                    <a:pt x="1716789" y="1239795"/>
                    <a:pt x="1678384" y="1242214"/>
                    <a:pt x="1640672" y="1243251"/>
                  </a:cubicBezTo>
                  <a:cubicBezTo>
                    <a:pt x="1567323" y="1245325"/>
                    <a:pt x="1492243" y="1242214"/>
                    <a:pt x="1418202" y="1234610"/>
                  </a:cubicBezTo>
                  <a:cubicBezTo>
                    <a:pt x="1210956" y="1212835"/>
                    <a:pt x="1012013" y="1152349"/>
                    <a:pt x="826564" y="1054880"/>
                  </a:cubicBezTo>
                  <a:cubicBezTo>
                    <a:pt x="597520" y="934253"/>
                    <a:pt x="394771" y="755905"/>
                    <a:pt x="240807" y="538846"/>
                  </a:cubicBezTo>
                  <a:cubicBezTo>
                    <a:pt x="142201" y="400246"/>
                    <a:pt x="68160" y="260264"/>
                    <a:pt x="20413" y="123392"/>
                  </a:cubicBezTo>
                  <a:cubicBezTo>
                    <a:pt x="14531" y="106456"/>
                    <a:pt x="9342" y="89865"/>
                    <a:pt x="4152" y="73620"/>
                  </a:cubicBezTo>
                  <a:cubicBezTo>
                    <a:pt x="2768" y="85026"/>
                    <a:pt x="1384" y="96432"/>
                    <a:pt x="0" y="107838"/>
                  </a:cubicBezTo>
                  <a:cubicBezTo>
                    <a:pt x="2076" y="114405"/>
                    <a:pt x="4152" y="121318"/>
                    <a:pt x="6574" y="127885"/>
                  </a:cubicBezTo>
                  <a:cubicBezTo>
                    <a:pt x="54666" y="266139"/>
                    <a:pt x="129399" y="407159"/>
                    <a:pt x="228698" y="546795"/>
                  </a:cubicBezTo>
                  <a:cubicBezTo>
                    <a:pt x="384046" y="765928"/>
                    <a:pt x="588524" y="945659"/>
                    <a:pt x="819644" y="1067322"/>
                  </a:cubicBezTo>
                  <a:cubicBezTo>
                    <a:pt x="1006477" y="1165483"/>
                    <a:pt x="1207496" y="1226660"/>
                    <a:pt x="1416472" y="1248435"/>
                  </a:cubicBezTo>
                  <a:cubicBezTo>
                    <a:pt x="1491206" y="1256385"/>
                    <a:pt x="1566630" y="1259150"/>
                    <a:pt x="1640672" y="1257076"/>
                  </a:cubicBezTo>
                  <a:cubicBezTo>
                    <a:pt x="1678731" y="1256039"/>
                    <a:pt x="1717481" y="1253620"/>
                    <a:pt x="1755540" y="1249818"/>
                  </a:cubicBezTo>
                  <a:cubicBezTo>
                    <a:pt x="1825429" y="1242905"/>
                    <a:pt x="1896011" y="1231154"/>
                    <a:pt x="1964862" y="1215254"/>
                  </a:cubicBezTo>
                  <a:cubicBezTo>
                    <a:pt x="2179720" y="1165483"/>
                    <a:pt x="2387658" y="1071470"/>
                    <a:pt x="2566534" y="943239"/>
                  </a:cubicBezTo>
                  <a:cubicBezTo>
                    <a:pt x="2708043" y="841623"/>
                    <a:pt x="2833636" y="717194"/>
                    <a:pt x="2939508" y="573064"/>
                  </a:cubicBezTo>
                  <a:cubicBezTo>
                    <a:pt x="3056798" y="413726"/>
                    <a:pt x="3143295" y="237106"/>
                    <a:pt x="3196577" y="53919"/>
                  </a:cubicBezTo>
                  <a:lnTo>
                    <a:pt x="3196577" y="0"/>
                  </a:lnTo>
                  <a:cubicBezTo>
                    <a:pt x="3145717" y="199777"/>
                    <a:pt x="3054722" y="392296"/>
                    <a:pt x="2927744" y="564768"/>
                  </a:cubicBezTo>
                  <a:close/>
                </a:path>
              </a:pathLst>
            </a:custGeom>
            <a:grpFill/>
            <a:ln w="34574" cap="flat">
              <a:no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5B870CE8-8791-BA25-F99D-827B7FE60E00}"/>
                </a:ext>
              </a:extLst>
            </p:cNvPr>
            <p:cNvSpPr/>
            <p:nvPr/>
          </p:nvSpPr>
          <p:spPr>
            <a:xfrm>
              <a:off x="-1097954" y="518316"/>
              <a:ext cx="3187926" cy="2121234"/>
            </a:xfrm>
            <a:custGeom>
              <a:avLst/>
              <a:gdLst>
                <a:gd name="connsiteX0" fmla="*/ 209668 w 3187926"/>
                <a:gd name="connsiteY0" fmla="*/ 1375629 h 2121234"/>
                <a:gd name="connsiteX1" fmla="*/ 781239 w 3187926"/>
                <a:gd name="connsiteY1" fmla="*/ 1912747 h 2121234"/>
                <a:gd name="connsiteX2" fmla="*/ 1370110 w 3187926"/>
                <a:gd name="connsiteY2" fmla="*/ 2108031 h 2121234"/>
                <a:gd name="connsiteX3" fmla="*/ 1592926 w 3187926"/>
                <a:gd name="connsiteY3" fmla="*/ 2121165 h 2121234"/>
                <a:gd name="connsiteX4" fmla="*/ 1707102 w 3187926"/>
                <a:gd name="connsiteY4" fmla="*/ 2115981 h 2121234"/>
                <a:gd name="connsiteX5" fmla="*/ 1915385 w 3187926"/>
                <a:gd name="connsiteY5" fmla="*/ 2085219 h 2121234"/>
                <a:gd name="connsiteX6" fmla="*/ 2515674 w 3187926"/>
                <a:gd name="connsiteY6" fmla="*/ 1822882 h 2121234"/>
                <a:gd name="connsiteX7" fmla="*/ 2887264 w 3187926"/>
                <a:gd name="connsiteY7" fmla="*/ 1458582 h 2121234"/>
                <a:gd name="connsiteX8" fmla="*/ 3187927 w 3187926"/>
                <a:gd name="connsiteY8" fmla="*/ 732402 h 2121234"/>
                <a:gd name="connsiteX9" fmla="*/ 3187927 w 3187926"/>
                <a:gd name="connsiteY9" fmla="*/ 0 h 2121234"/>
                <a:gd name="connsiteX10" fmla="*/ 3185851 w 3187926"/>
                <a:gd name="connsiteY10" fmla="*/ 18319 h 2121234"/>
                <a:gd name="connsiteX11" fmla="*/ 3180315 w 3187926"/>
                <a:gd name="connsiteY11" fmla="*/ 94704 h 2121234"/>
                <a:gd name="connsiteX12" fmla="*/ 3178585 w 3187926"/>
                <a:gd name="connsiteY12" fmla="*/ 118899 h 2121234"/>
                <a:gd name="connsiteX13" fmla="*/ 3178585 w 3187926"/>
                <a:gd name="connsiteY13" fmla="*/ 124429 h 2121234"/>
                <a:gd name="connsiteX14" fmla="*/ 3181699 w 3187926"/>
                <a:gd name="connsiteY14" fmla="*/ 359115 h 2121234"/>
                <a:gd name="connsiteX15" fmla="*/ 3183775 w 3187926"/>
                <a:gd name="connsiteY15" fmla="*/ 416145 h 2121234"/>
                <a:gd name="connsiteX16" fmla="*/ 3176163 w 3187926"/>
                <a:gd name="connsiteY16" fmla="*/ 711664 h 2121234"/>
                <a:gd name="connsiteX17" fmla="*/ 2875154 w 3187926"/>
                <a:gd name="connsiteY17" fmla="*/ 1449595 h 2121234"/>
                <a:gd name="connsiteX18" fmla="*/ 2506678 w 3187926"/>
                <a:gd name="connsiteY18" fmla="*/ 1810439 h 2121234"/>
                <a:gd name="connsiteX19" fmla="*/ 1911580 w 3187926"/>
                <a:gd name="connsiteY19" fmla="*/ 2070357 h 2121234"/>
                <a:gd name="connsiteX20" fmla="*/ 1705025 w 3187926"/>
                <a:gd name="connsiteY20" fmla="*/ 2100773 h 2121234"/>
                <a:gd name="connsiteX21" fmla="*/ 1591888 w 3187926"/>
                <a:gd name="connsiteY21" fmla="*/ 2105957 h 2121234"/>
                <a:gd name="connsiteX22" fmla="*/ 1371148 w 3187926"/>
                <a:gd name="connsiteY22" fmla="*/ 2092823 h 2121234"/>
                <a:gd name="connsiteX23" fmla="*/ 787813 w 3187926"/>
                <a:gd name="connsiteY23" fmla="*/ 1899267 h 2121234"/>
                <a:gd name="connsiteX24" fmla="*/ 221086 w 3187926"/>
                <a:gd name="connsiteY24" fmla="*/ 1366643 h 2121234"/>
                <a:gd name="connsiteX25" fmla="*/ 22489 w 3187926"/>
                <a:gd name="connsiteY25" fmla="*/ 950498 h 2121234"/>
                <a:gd name="connsiteX26" fmla="*/ 3114 w 3187926"/>
                <a:gd name="connsiteY26" fmla="*/ 877223 h 2121234"/>
                <a:gd name="connsiteX27" fmla="*/ 0 w 3187926"/>
                <a:gd name="connsiteY27" fmla="*/ 923884 h 2121234"/>
                <a:gd name="connsiteX28" fmla="*/ 8650 w 3187926"/>
                <a:gd name="connsiteY28" fmla="*/ 954645 h 2121234"/>
                <a:gd name="connsiteX29" fmla="*/ 208976 w 3187926"/>
                <a:gd name="connsiteY29" fmla="*/ 1374247 h 2121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187926" h="2121234">
                  <a:moveTo>
                    <a:pt x="209668" y="1375629"/>
                  </a:moveTo>
                  <a:cubicBezTo>
                    <a:pt x="354983" y="1598218"/>
                    <a:pt x="552542" y="1784171"/>
                    <a:pt x="781239" y="1912747"/>
                  </a:cubicBezTo>
                  <a:cubicBezTo>
                    <a:pt x="964613" y="2016092"/>
                    <a:pt x="1162863" y="2081763"/>
                    <a:pt x="1370110" y="2108031"/>
                  </a:cubicBezTo>
                  <a:cubicBezTo>
                    <a:pt x="1444151" y="2117363"/>
                    <a:pt x="1519230" y="2121856"/>
                    <a:pt x="1592926" y="2121165"/>
                  </a:cubicBezTo>
                  <a:cubicBezTo>
                    <a:pt x="1630638" y="2121165"/>
                    <a:pt x="1669043" y="2119091"/>
                    <a:pt x="1707102" y="2115981"/>
                  </a:cubicBezTo>
                  <a:cubicBezTo>
                    <a:pt x="1776645" y="2110450"/>
                    <a:pt x="1846534" y="2100081"/>
                    <a:pt x="1915385" y="2085219"/>
                  </a:cubicBezTo>
                  <a:cubicBezTo>
                    <a:pt x="2129898" y="2039249"/>
                    <a:pt x="2337490" y="1948347"/>
                    <a:pt x="2515674" y="1822882"/>
                  </a:cubicBezTo>
                  <a:cubicBezTo>
                    <a:pt x="2656837" y="1723339"/>
                    <a:pt x="2781738" y="1600984"/>
                    <a:pt x="2887264" y="1458582"/>
                  </a:cubicBezTo>
                  <a:cubicBezTo>
                    <a:pt x="3049532" y="1239449"/>
                    <a:pt x="3152982" y="988863"/>
                    <a:pt x="3187927" y="732402"/>
                  </a:cubicBezTo>
                  <a:lnTo>
                    <a:pt x="3187927" y="0"/>
                  </a:lnTo>
                  <a:cubicBezTo>
                    <a:pt x="3187235" y="6221"/>
                    <a:pt x="3186543" y="12097"/>
                    <a:pt x="3185851" y="18319"/>
                  </a:cubicBezTo>
                  <a:cubicBezTo>
                    <a:pt x="3183429" y="43550"/>
                    <a:pt x="3181699" y="69127"/>
                    <a:pt x="3180315" y="94704"/>
                  </a:cubicBezTo>
                  <a:cubicBezTo>
                    <a:pt x="3179969" y="102999"/>
                    <a:pt x="3178931" y="110949"/>
                    <a:pt x="3178585" y="118899"/>
                  </a:cubicBezTo>
                  <a:cubicBezTo>
                    <a:pt x="3178585" y="120627"/>
                    <a:pt x="3178585" y="122701"/>
                    <a:pt x="3178585" y="124429"/>
                  </a:cubicBezTo>
                  <a:cubicBezTo>
                    <a:pt x="3175818" y="202888"/>
                    <a:pt x="3178585" y="282384"/>
                    <a:pt x="3181699" y="359115"/>
                  </a:cubicBezTo>
                  <a:cubicBezTo>
                    <a:pt x="3182391" y="378125"/>
                    <a:pt x="3183083" y="397135"/>
                    <a:pt x="3183775" y="416145"/>
                  </a:cubicBezTo>
                  <a:cubicBezTo>
                    <a:pt x="3187581" y="525366"/>
                    <a:pt x="3187927" y="617651"/>
                    <a:pt x="3176163" y="711664"/>
                  </a:cubicBezTo>
                  <a:cubicBezTo>
                    <a:pt x="3144333" y="971927"/>
                    <a:pt x="3040191" y="1227352"/>
                    <a:pt x="2875154" y="1449595"/>
                  </a:cubicBezTo>
                  <a:cubicBezTo>
                    <a:pt x="2770666" y="1590614"/>
                    <a:pt x="2646803" y="1711933"/>
                    <a:pt x="2506678" y="1810439"/>
                  </a:cubicBezTo>
                  <a:cubicBezTo>
                    <a:pt x="2330224" y="1934868"/>
                    <a:pt x="2124362" y="2024733"/>
                    <a:pt x="1911580" y="2070357"/>
                  </a:cubicBezTo>
                  <a:cubicBezTo>
                    <a:pt x="1843420" y="2084873"/>
                    <a:pt x="1773877" y="2095242"/>
                    <a:pt x="1705025" y="2100773"/>
                  </a:cubicBezTo>
                  <a:cubicBezTo>
                    <a:pt x="1667313" y="2103883"/>
                    <a:pt x="1629254" y="2105611"/>
                    <a:pt x="1591888" y="2105957"/>
                  </a:cubicBezTo>
                  <a:cubicBezTo>
                    <a:pt x="1518884" y="2106648"/>
                    <a:pt x="1444497" y="2102155"/>
                    <a:pt x="1371148" y="2092823"/>
                  </a:cubicBezTo>
                  <a:cubicBezTo>
                    <a:pt x="1165977" y="2066900"/>
                    <a:pt x="969456" y="2001575"/>
                    <a:pt x="787813" y="1899267"/>
                  </a:cubicBezTo>
                  <a:cubicBezTo>
                    <a:pt x="561191" y="1771728"/>
                    <a:pt x="365363" y="1587504"/>
                    <a:pt x="221086" y="1366643"/>
                  </a:cubicBezTo>
                  <a:cubicBezTo>
                    <a:pt x="130437" y="1227697"/>
                    <a:pt x="63662" y="1087715"/>
                    <a:pt x="22489" y="950498"/>
                  </a:cubicBezTo>
                  <a:cubicBezTo>
                    <a:pt x="15223" y="925612"/>
                    <a:pt x="8995" y="901417"/>
                    <a:pt x="3114" y="877223"/>
                  </a:cubicBezTo>
                  <a:cubicBezTo>
                    <a:pt x="2422" y="892777"/>
                    <a:pt x="1038" y="908330"/>
                    <a:pt x="0" y="923884"/>
                  </a:cubicBezTo>
                  <a:cubicBezTo>
                    <a:pt x="2768" y="934253"/>
                    <a:pt x="5536" y="944276"/>
                    <a:pt x="8650" y="954645"/>
                  </a:cubicBezTo>
                  <a:cubicBezTo>
                    <a:pt x="50168" y="1092900"/>
                    <a:pt x="117290" y="1234264"/>
                    <a:pt x="208976" y="1374247"/>
                  </a:cubicBezTo>
                  <a:close/>
                </a:path>
              </a:pathLst>
            </a:custGeom>
            <a:grpFill/>
            <a:ln w="34574"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EB728C92-A753-39F8-693D-E3D8A2724E54}"/>
                </a:ext>
              </a:extLst>
            </p:cNvPr>
            <p:cNvSpPr/>
            <p:nvPr/>
          </p:nvSpPr>
          <p:spPr>
            <a:xfrm>
              <a:off x="-1094148" y="268767"/>
              <a:ext cx="3184121" cy="2327268"/>
            </a:xfrm>
            <a:custGeom>
              <a:avLst/>
              <a:gdLst>
                <a:gd name="connsiteX0" fmla="*/ 195483 w 3184121"/>
                <a:gd name="connsiteY0" fmla="*/ 1545682 h 2327268"/>
                <a:gd name="connsiteX1" fmla="*/ 676751 w 3184121"/>
                <a:gd name="connsiteY1" fmla="*/ 2054457 h 2327268"/>
                <a:gd name="connsiteX2" fmla="*/ 1328591 w 3184121"/>
                <a:gd name="connsiteY2" fmla="*/ 2309191 h 2327268"/>
                <a:gd name="connsiteX3" fmla="*/ 1549677 w 3184121"/>
                <a:gd name="connsiteY3" fmla="*/ 2327164 h 2327268"/>
                <a:gd name="connsiteX4" fmla="*/ 2469658 w 3184121"/>
                <a:gd name="connsiteY4" fmla="*/ 2044780 h 2327268"/>
                <a:gd name="connsiteX5" fmla="*/ 2921171 w 3184121"/>
                <a:gd name="connsiteY5" fmla="*/ 1567457 h 2327268"/>
                <a:gd name="connsiteX6" fmla="*/ 3140873 w 3184121"/>
                <a:gd name="connsiteY6" fmla="*/ 949115 h 2327268"/>
                <a:gd name="connsiteX7" fmla="*/ 3143987 w 3184121"/>
                <a:gd name="connsiteY7" fmla="*/ 610392 h 2327268"/>
                <a:gd name="connsiteX8" fmla="*/ 3139143 w 3184121"/>
                <a:gd name="connsiteY8" fmla="*/ 402665 h 2327268"/>
                <a:gd name="connsiteX9" fmla="*/ 3140181 w 3184121"/>
                <a:gd name="connsiteY9" fmla="*/ 361189 h 2327268"/>
                <a:gd name="connsiteX10" fmla="*/ 3141565 w 3184121"/>
                <a:gd name="connsiteY10" fmla="*/ 339760 h 2327268"/>
                <a:gd name="connsiteX11" fmla="*/ 3146063 w 3184121"/>
                <a:gd name="connsiteY11" fmla="*/ 274089 h 2327268"/>
                <a:gd name="connsiteX12" fmla="*/ 3150560 w 3184121"/>
                <a:gd name="connsiteY12" fmla="*/ 236069 h 2327268"/>
                <a:gd name="connsiteX13" fmla="*/ 3157826 w 3184121"/>
                <a:gd name="connsiteY13" fmla="*/ 179385 h 2327268"/>
                <a:gd name="connsiteX14" fmla="*/ 3163016 w 3184121"/>
                <a:gd name="connsiteY14" fmla="*/ 148969 h 2327268"/>
                <a:gd name="connsiteX15" fmla="*/ 3172358 w 3184121"/>
                <a:gd name="connsiteY15" fmla="*/ 97124 h 2327268"/>
                <a:gd name="connsiteX16" fmla="*/ 3178239 w 3184121"/>
                <a:gd name="connsiteY16" fmla="*/ 71201 h 2327268"/>
                <a:gd name="connsiteX17" fmla="*/ 3184121 w 3184121"/>
                <a:gd name="connsiteY17" fmla="*/ 45278 h 2327268"/>
                <a:gd name="connsiteX18" fmla="*/ 3184121 w 3184121"/>
                <a:gd name="connsiteY18" fmla="*/ 9332 h 2327268"/>
                <a:gd name="connsiteX19" fmla="*/ 3180315 w 3184121"/>
                <a:gd name="connsiteY19" fmla="*/ 0 h 2327268"/>
                <a:gd name="connsiteX20" fmla="*/ 3168898 w 3184121"/>
                <a:gd name="connsiteY20" fmla="*/ 46661 h 2327268"/>
                <a:gd name="connsiteX21" fmla="*/ 3163016 w 3184121"/>
                <a:gd name="connsiteY21" fmla="*/ 72238 h 2327268"/>
                <a:gd name="connsiteX22" fmla="*/ 3153328 w 3184121"/>
                <a:gd name="connsiteY22" fmla="*/ 120627 h 2327268"/>
                <a:gd name="connsiteX23" fmla="*/ 3148139 w 3184121"/>
                <a:gd name="connsiteY23" fmla="*/ 150351 h 2327268"/>
                <a:gd name="connsiteX24" fmla="*/ 3140181 w 3184121"/>
                <a:gd name="connsiteY24" fmla="*/ 201505 h 2327268"/>
                <a:gd name="connsiteX25" fmla="*/ 3135683 w 3184121"/>
                <a:gd name="connsiteY25" fmla="*/ 237797 h 2327268"/>
                <a:gd name="connsiteX26" fmla="*/ 3129801 w 3184121"/>
                <a:gd name="connsiteY26" fmla="*/ 294827 h 2327268"/>
                <a:gd name="connsiteX27" fmla="*/ 3126688 w 3184121"/>
                <a:gd name="connsiteY27" fmla="*/ 341488 h 2327268"/>
                <a:gd name="connsiteX28" fmla="*/ 3125303 w 3184121"/>
                <a:gd name="connsiteY28" fmla="*/ 361189 h 2327268"/>
                <a:gd name="connsiteX29" fmla="*/ 3123920 w 3184121"/>
                <a:gd name="connsiteY29" fmla="*/ 415454 h 2327268"/>
                <a:gd name="connsiteX30" fmla="*/ 3125649 w 3184121"/>
                <a:gd name="connsiteY30" fmla="*/ 532970 h 2327268"/>
                <a:gd name="connsiteX31" fmla="*/ 3128763 w 3184121"/>
                <a:gd name="connsiteY31" fmla="*/ 611775 h 2327268"/>
                <a:gd name="connsiteX32" fmla="*/ 3125649 w 3184121"/>
                <a:gd name="connsiteY32" fmla="*/ 948078 h 2327268"/>
                <a:gd name="connsiteX33" fmla="*/ 2908023 w 3184121"/>
                <a:gd name="connsiteY33" fmla="*/ 1560544 h 2327268"/>
                <a:gd name="connsiteX34" fmla="*/ 2460662 w 3184121"/>
                <a:gd name="connsiteY34" fmla="*/ 2033719 h 2327268"/>
                <a:gd name="connsiteX35" fmla="*/ 1548985 w 3184121"/>
                <a:gd name="connsiteY35" fmla="*/ 2313684 h 2327268"/>
                <a:gd name="connsiteX36" fmla="*/ 1329975 w 3184121"/>
                <a:gd name="connsiteY36" fmla="*/ 2296057 h 2327268"/>
                <a:gd name="connsiteX37" fmla="*/ 684363 w 3184121"/>
                <a:gd name="connsiteY37" fmla="*/ 2043743 h 2327268"/>
                <a:gd name="connsiteX38" fmla="*/ 207247 w 3184121"/>
                <a:gd name="connsiteY38" fmla="*/ 1539806 h 2327268"/>
                <a:gd name="connsiteX39" fmla="*/ 692 w 3184121"/>
                <a:gd name="connsiteY39" fmla="*/ 942202 h 2327268"/>
                <a:gd name="connsiteX40" fmla="*/ 0 w 3184121"/>
                <a:gd name="connsiteY40" fmla="*/ 942202 h 2327268"/>
                <a:gd name="connsiteX41" fmla="*/ 1730 w 3184121"/>
                <a:gd name="connsiteY41" fmla="*/ 1060064 h 2327268"/>
                <a:gd name="connsiteX42" fmla="*/ 194445 w 3184121"/>
                <a:gd name="connsiteY42" fmla="*/ 1547410 h 2327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3184121" h="2327268">
                  <a:moveTo>
                    <a:pt x="195483" y="1545682"/>
                  </a:moveTo>
                  <a:cubicBezTo>
                    <a:pt x="315541" y="1746842"/>
                    <a:pt x="481960" y="1922770"/>
                    <a:pt x="676751" y="2054457"/>
                  </a:cubicBezTo>
                  <a:cubicBezTo>
                    <a:pt x="872580" y="2186490"/>
                    <a:pt x="1097818" y="2274627"/>
                    <a:pt x="1328591" y="2309191"/>
                  </a:cubicBezTo>
                  <a:cubicBezTo>
                    <a:pt x="1402287" y="2320251"/>
                    <a:pt x="1476674" y="2326127"/>
                    <a:pt x="1549677" y="2327164"/>
                  </a:cubicBezTo>
                  <a:cubicBezTo>
                    <a:pt x="1873522" y="2330966"/>
                    <a:pt x="2200480" y="2230732"/>
                    <a:pt x="2469658" y="2044780"/>
                  </a:cubicBezTo>
                  <a:cubicBezTo>
                    <a:pt x="2648187" y="1921388"/>
                    <a:pt x="2804227" y="1756520"/>
                    <a:pt x="2921171" y="1567457"/>
                  </a:cubicBezTo>
                  <a:cubicBezTo>
                    <a:pt x="3040191" y="1375284"/>
                    <a:pt x="3115962" y="1161335"/>
                    <a:pt x="3140873" y="949115"/>
                  </a:cubicBezTo>
                  <a:cubicBezTo>
                    <a:pt x="3154020" y="835055"/>
                    <a:pt x="3149177" y="720996"/>
                    <a:pt x="3143987" y="610392"/>
                  </a:cubicBezTo>
                  <a:cubicBezTo>
                    <a:pt x="3140873" y="542302"/>
                    <a:pt x="3138105" y="472484"/>
                    <a:pt x="3139143" y="402665"/>
                  </a:cubicBezTo>
                  <a:cubicBezTo>
                    <a:pt x="3139143" y="388840"/>
                    <a:pt x="3139489" y="375015"/>
                    <a:pt x="3140181" y="361189"/>
                  </a:cubicBezTo>
                  <a:cubicBezTo>
                    <a:pt x="3140181" y="353931"/>
                    <a:pt x="3141219" y="347018"/>
                    <a:pt x="3141565" y="339760"/>
                  </a:cubicBezTo>
                  <a:cubicBezTo>
                    <a:pt x="3142949" y="317639"/>
                    <a:pt x="3143987" y="295864"/>
                    <a:pt x="3146063" y="274089"/>
                  </a:cubicBezTo>
                  <a:cubicBezTo>
                    <a:pt x="3147101" y="261300"/>
                    <a:pt x="3149177" y="248858"/>
                    <a:pt x="3150560" y="236069"/>
                  </a:cubicBezTo>
                  <a:cubicBezTo>
                    <a:pt x="3152637" y="217059"/>
                    <a:pt x="3155058" y="198049"/>
                    <a:pt x="3157826" y="179385"/>
                  </a:cubicBezTo>
                  <a:cubicBezTo>
                    <a:pt x="3159210" y="169016"/>
                    <a:pt x="3161286" y="158992"/>
                    <a:pt x="3163016" y="148969"/>
                  </a:cubicBezTo>
                  <a:cubicBezTo>
                    <a:pt x="3166130" y="131687"/>
                    <a:pt x="3168898" y="114060"/>
                    <a:pt x="3172358" y="97124"/>
                  </a:cubicBezTo>
                  <a:cubicBezTo>
                    <a:pt x="3174088" y="88483"/>
                    <a:pt x="3176164" y="79842"/>
                    <a:pt x="3178239" y="71201"/>
                  </a:cubicBezTo>
                  <a:cubicBezTo>
                    <a:pt x="3179969" y="62560"/>
                    <a:pt x="3182045" y="53919"/>
                    <a:pt x="3184121" y="45278"/>
                  </a:cubicBezTo>
                  <a:lnTo>
                    <a:pt x="3184121" y="9332"/>
                  </a:lnTo>
                  <a:cubicBezTo>
                    <a:pt x="3182737" y="6221"/>
                    <a:pt x="3181700" y="3111"/>
                    <a:pt x="3180315" y="0"/>
                  </a:cubicBezTo>
                  <a:cubicBezTo>
                    <a:pt x="3176164" y="15554"/>
                    <a:pt x="3172703" y="31107"/>
                    <a:pt x="3168898" y="46661"/>
                  </a:cubicBezTo>
                  <a:cubicBezTo>
                    <a:pt x="3166822" y="55302"/>
                    <a:pt x="3165092" y="63597"/>
                    <a:pt x="3163016" y="72238"/>
                  </a:cubicBezTo>
                  <a:cubicBezTo>
                    <a:pt x="3159556" y="88137"/>
                    <a:pt x="3156096" y="104382"/>
                    <a:pt x="3153328" y="120627"/>
                  </a:cubicBezTo>
                  <a:cubicBezTo>
                    <a:pt x="3151598" y="130305"/>
                    <a:pt x="3149869" y="140328"/>
                    <a:pt x="3148139" y="150351"/>
                  </a:cubicBezTo>
                  <a:cubicBezTo>
                    <a:pt x="3145371" y="167288"/>
                    <a:pt x="3142603" y="184224"/>
                    <a:pt x="3140181" y="201505"/>
                  </a:cubicBezTo>
                  <a:cubicBezTo>
                    <a:pt x="3138451" y="213603"/>
                    <a:pt x="3137067" y="225700"/>
                    <a:pt x="3135683" y="237797"/>
                  </a:cubicBezTo>
                  <a:cubicBezTo>
                    <a:pt x="3133607" y="256807"/>
                    <a:pt x="3131531" y="275817"/>
                    <a:pt x="3129801" y="294827"/>
                  </a:cubicBezTo>
                  <a:cubicBezTo>
                    <a:pt x="3128417" y="310381"/>
                    <a:pt x="3127379" y="325934"/>
                    <a:pt x="3126688" y="341488"/>
                  </a:cubicBezTo>
                  <a:cubicBezTo>
                    <a:pt x="3126341" y="348055"/>
                    <a:pt x="3125649" y="354622"/>
                    <a:pt x="3125303" y="361189"/>
                  </a:cubicBezTo>
                  <a:cubicBezTo>
                    <a:pt x="3124611" y="379162"/>
                    <a:pt x="3124265" y="397135"/>
                    <a:pt x="3123920" y="415454"/>
                  </a:cubicBezTo>
                  <a:cubicBezTo>
                    <a:pt x="3123573" y="454856"/>
                    <a:pt x="3124265" y="494259"/>
                    <a:pt x="3125649" y="532970"/>
                  </a:cubicBezTo>
                  <a:cubicBezTo>
                    <a:pt x="3126688" y="559584"/>
                    <a:pt x="3127726" y="585852"/>
                    <a:pt x="3128763" y="611775"/>
                  </a:cubicBezTo>
                  <a:cubicBezTo>
                    <a:pt x="3133607" y="721687"/>
                    <a:pt x="3138797" y="835055"/>
                    <a:pt x="3125649" y="948078"/>
                  </a:cubicBezTo>
                  <a:cubicBezTo>
                    <a:pt x="3101084" y="1158225"/>
                    <a:pt x="3026005" y="1370099"/>
                    <a:pt x="2908023" y="1560544"/>
                  </a:cubicBezTo>
                  <a:cubicBezTo>
                    <a:pt x="2792117" y="1747879"/>
                    <a:pt x="2637462" y="1911364"/>
                    <a:pt x="2460662" y="2033719"/>
                  </a:cubicBezTo>
                  <a:cubicBezTo>
                    <a:pt x="2193560" y="2217943"/>
                    <a:pt x="1870061" y="2317486"/>
                    <a:pt x="1548985" y="2313684"/>
                  </a:cubicBezTo>
                  <a:cubicBezTo>
                    <a:pt x="1476674" y="2312993"/>
                    <a:pt x="1402979" y="2306771"/>
                    <a:pt x="1329975" y="2296057"/>
                  </a:cubicBezTo>
                  <a:cubicBezTo>
                    <a:pt x="1101624" y="2261839"/>
                    <a:pt x="878116" y="2174739"/>
                    <a:pt x="684363" y="2043743"/>
                  </a:cubicBezTo>
                  <a:cubicBezTo>
                    <a:pt x="491302" y="1913438"/>
                    <a:pt x="326266" y="1738892"/>
                    <a:pt x="207247" y="1539806"/>
                  </a:cubicBezTo>
                  <a:cubicBezTo>
                    <a:pt x="122826" y="1398441"/>
                    <a:pt x="18683" y="1180000"/>
                    <a:pt x="692" y="942202"/>
                  </a:cubicBezTo>
                  <a:lnTo>
                    <a:pt x="0" y="942202"/>
                  </a:lnTo>
                  <a:cubicBezTo>
                    <a:pt x="1384" y="981259"/>
                    <a:pt x="2076" y="1020662"/>
                    <a:pt x="1730" y="1060064"/>
                  </a:cubicBezTo>
                  <a:cubicBezTo>
                    <a:pt x="38405" y="1254311"/>
                    <a:pt x="123518" y="1428166"/>
                    <a:pt x="194445" y="1547410"/>
                  </a:cubicBezTo>
                  <a:close/>
                </a:path>
              </a:pathLst>
            </a:custGeom>
            <a:grpFill/>
            <a:ln w="34574"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85823CB6-B4E0-E035-CF84-7E86431B3130}"/>
                </a:ext>
              </a:extLst>
            </p:cNvPr>
            <p:cNvSpPr/>
            <p:nvPr/>
          </p:nvSpPr>
          <p:spPr>
            <a:xfrm>
              <a:off x="1791731" y="2500190"/>
              <a:ext cx="298240" cy="269250"/>
            </a:xfrm>
            <a:custGeom>
              <a:avLst/>
              <a:gdLst>
                <a:gd name="connsiteX0" fmla="*/ 123864 w 298240"/>
                <a:gd name="connsiteY0" fmla="*/ 170398 h 269250"/>
                <a:gd name="connsiteX1" fmla="*/ 0 w 298240"/>
                <a:gd name="connsiteY1" fmla="*/ 269250 h 269250"/>
                <a:gd name="connsiteX2" fmla="*/ 23873 w 298240"/>
                <a:gd name="connsiteY2" fmla="*/ 269250 h 269250"/>
                <a:gd name="connsiteX3" fmla="*/ 133205 w 298240"/>
                <a:gd name="connsiteY3" fmla="*/ 181113 h 269250"/>
                <a:gd name="connsiteX4" fmla="*/ 298241 w 298240"/>
                <a:gd name="connsiteY4" fmla="*/ 21084 h 269250"/>
                <a:gd name="connsiteX5" fmla="*/ 298241 w 298240"/>
                <a:gd name="connsiteY5" fmla="*/ 0 h 269250"/>
                <a:gd name="connsiteX6" fmla="*/ 123518 w 298240"/>
                <a:gd name="connsiteY6" fmla="*/ 170053 h 26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8240" h="269250">
                  <a:moveTo>
                    <a:pt x="123864" y="170398"/>
                  </a:moveTo>
                  <a:cubicBezTo>
                    <a:pt x="84075" y="204962"/>
                    <a:pt x="42556" y="237797"/>
                    <a:pt x="0" y="269250"/>
                  </a:cubicBezTo>
                  <a:lnTo>
                    <a:pt x="23873" y="269250"/>
                  </a:lnTo>
                  <a:cubicBezTo>
                    <a:pt x="61240" y="240908"/>
                    <a:pt x="97914" y="211875"/>
                    <a:pt x="133205" y="181113"/>
                  </a:cubicBezTo>
                  <a:cubicBezTo>
                    <a:pt x="190985" y="130996"/>
                    <a:pt x="245651" y="77077"/>
                    <a:pt x="298241" y="21084"/>
                  </a:cubicBezTo>
                  <a:lnTo>
                    <a:pt x="298241" y="0"/>
                  </a:lnTo>
                  <a:cubicBezTo>
                    <a:pt x="242883" y="59795"/>
                    <a:pt x="185103" y="117171"/>
                    <a:pt x="123518" y="170053"/>
                  </a:cubicBezTo>
                  <a:close/>
                </a:path>
              </a:pathLst>
            </a:custGeom>
            <a:grpFill/>
            <a:ln w="34574"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9299587B-5442-B38E-0368-370AFEC16844}"/>
                </a:ext>
              </a:extLst>
            </p:cNvPr>
            <p:cNvSpPr/>
            <p:nvPr/>
          </p:nvSpPr>
          <p:spPr>
            <a:xfrm>
              <a:off x="-1374398" y="2224027"/>
              <a:ext cx="531782" cy="545758"/>
            </a:xfrm>
            <a:custGeom>
              <a:avLst/>
              <a:gdLst>
                <a:gd name="connsiteX0" fmla="*/ 158462 w 531782"/>
                <a:gd name="connsiteY0" fmla="*/ 198740 h 545758"/>
                <a:gd name="connsiteX1" fmla="*/ 8650 w 531782"/>
                <a:gd name="connsiteY1" fmla="*/ 0 h 545758"/>
                <a:gd name="connsiteX2" fmla="*/ 0 w 531782"/>
                <a:gd name="connsiteY2" fmla="*/ 13134 h 545758"/>
                <a:gd name="connsiteX3" fmla="*/ 147737 w 531782"/>
                <a:gd name="connsiteY3" fmla="*/ 208418 h 545758"/>
                <a:gd name="connsiteX4" fmla="*/ 507564 w 531782"/>
                <a:gd name="connsiteY4" fmla="*/ 545759 h 545758"/>
                <a:gd name="connsiteX5" fmla="*/ 531783 w 531782"/>
                <a:gd name="connsiteY5" fmla="*/ 545759 h 545758"/>
                <a:gd name="connsiteX6" fmla="*/ 158808 w 531782"/>
                <a:gd name="connsiteY6" fmla="*/ 199086 h 545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1782" h="545758">
                  <a:moveTo>
                    <a:pt x="158462" y="198740"/>
                  </a:moveTo>
                  <a:cubicBezTo>
                    <a:pt x="113484" y="146549"/>
                    <a:pt x="55704" y="76731"/>
                    <a:pt x="8650" y="0"/>
                  </a:cubicBezTo>
                  <a:cubicBezTo>
                    <a:pt x="5882" y="4493"/>
                    <a:pt x="2768" y="8641"/>
                    <a:pt x="0" y="13134"/>
                  </a:cubicBezTo>
                  <a:cubicBezTo>
                    <a:pt x="47054" y="88483"/>
                    <a:pt x="103450" y="156919"/>
                    <a:pt x="147737" y="208418"/>
                  </a:cubicBezTo>
                  <a:cubicBezTo>
                    <a:pt x="255339" y="333193"/>
                    <a:pt x="376088" y="446216"/>
                    <a:pt x="507564" y="545759"/>
                  </a:cubicBezTo>
                  <a:lnTo>
                    <a:pt x="531783" y="545759"/>
                  </a:lnTo>
                  <a:cubicBezTo>
                    <a:pt x="394772" y="443796"/>
                    <a:pt x="269524" y="327663"/>
                    <a:pt x="158808" y="199086"/>
                  </a:cubicBezTo>
                  <a:close/>
                </a:path>
              </a:pathLst>
            </a:custGeom>
            <a:grpFill/>
            <a:ln w="34574" cap="flat">
              <a:noFill/>
              <a:prstDash val="solid"/>
              <a:miter/>
            </a:ln>
          </p:spPr>
          <p:txBody>
            <a:bodyPr rtlCol="0" anchor="ctr"/>
            <a:lstStyle/>
            <a:p>
              <a:endParaRPr lang="en-US"/>
            </a:p>
          </p:txBody>
        </p:sp>
      </p:grpSp>
      <p:grpSp>
        <p:nvGrpSpPr>
          <p:cNvPr id="31" name="Graphic 4">
            <a:extLst>
              <a:ext uri="{FF2B5EF4-FFF2-40B4-BE49-F238E27FC236}">
                <a16:creationId xmlns:a16="http://schemas.microsoft.com/office/drawing/2014/main" id="{B1834A42-0C12-8E46-AC24-E3BFE8499A82}"/>
              </a:ext>
            </a:extLst>
          </p:cNvPr>
          <p:cNvGrpSpPr/>
          <p:nvPr userDrawn="1"/>
        </p:nvGrpSpPr>
        <p:grpSpPr>
          <a:xfrm>
            <a:off x="434634" y="-14222"/>
            <a:ext cx="11757366" cy="6872222"/>
            <a:chOff x="-3936434" y="-752585"/>
            <a:chExt cx="6027444" cy="3523062"/>
          </a:xfrm>
          <a:gradFill>
            <a:gsLst>
              <a:gs pos="0">
                <a:srgbClr val="FF9248">
                  <a:alpha val="15000"/>
                </a:srgbClr>
              </a:gs>
              <a:gs pos="99000">
                <a:srgbClr val="C5B4E3">
                  <a:alpha val="10025"/>
                </a:srgbClr>
              </a:gs>
              <a:gs pos="84000">
                <a:srgbClr val="8661C5">
                  <a:alpha val="5182"/>
                </a:srgbClr>
              </a:gs>
            </a:gsLst>
            <a:lin ang="5400000" scaled="1"/>
          </a:gradFill>
        </p:grpSpPr>
        <p:sp>
          <p:nvSpPr>
            <p:cNvPr id="32" name="Freeform 31">
              <a:extLst>
                <a:ext uri="{FF2B5EF4-FFF2-40B4-BE49-F238E27FC236}">
                  <a16:creationId xmlns:a16="http://schemas.microsoft.com/office/drawing/2014/main" id="{E10779DC-A13A-7D1D-AC2E-C1800256D3A4}"/>
                </a:ext>
              </a:extLst>
            </p:cNvPr>
            <p:cNvSpPr/>
            <p:nvPr/>
          </p:nvSpPr>
          <p:spPr>
            <a:xfrm>
              <a:off x="1606974" y="-750857"/>
              <a:ext cx="483690" cy="441722"/>
            </a:xfrm>
            <a:custGeom>
              <a:avLst/>
              <a:gdLst>
                <a:gd name="connsiteX0" fmla="*/ 246343 w 483690"/>
                <a:gd name="connsiteY0" fmla="*/ 171781 h 441722"/>
                <a:gd name="connsiteX1" fmla="*/ 101028 w 483690"/>
                <a:gd name="connsiteY1" fmla="*/ 53228 h 441722"/>
                <a:gd name="connsiteX2" fmla="*/ 25603 w 483690"/>
                <a:gd name="connsiteY2" fmla="*/ 0 h 441722"/>
                <a:gd name="connsiteX3" fmla="*/ 0 w 483690"/>
                <a:gd name="connsiteY3" fmla="*/ 0 h 441722"/>
                <a:gd name="connsiteX4" fmla="*/ 92379 w 483690"/>
                <a:gd name="connsiteY4" fmla="*/ 64979 h 441722"/>
                <a:gd name="connsiteX5" fmla="*/ 236655 w 483690"/>
                <a:gd name="connsiteY5" fmla="*/ 182496 h 441722"/>
                <a:gd name="connsiteX6" fmla="*/ 483690 w 483690"/>
                <a:gd name="connsiteY6" fmla="*/ 441722 h 441722"/>
                <a:gd name="connsiteX7" fmla="*/ 483690 w 483690"/>
                <a:gd name="connsiteY7" fmla="*/ 418565 h 441722"/>
                <a:gd name="connsiteX8" fmla="*/ 246343 w 483690"/>
                <a:gd name="connsiteY8" fmla="*/ 171781 h 441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3690" h="441722">
                  <a:moveTo>
                    <a:pt x="246343" y="171781"/>
                  </a:moveTo>
                  <a:cubicBezTo>
                    <a:pt x="199981" y="130305"/>
                    <a:pt x="151196" y="90557"/>
                    <a:pt x="101028" y="53228"/>
                  </a:cubicBezTo>
                  <a:cubicBezTo>
                    <a:pt x="76463" y="34909"/>
                    <a:pt x="51206" y="17282"/>
                    <a:pt x="25603" y="0"/>
                  </a:cubicBezTo>
                  <a:lnTo>
                    <a:pt x="0" y="0"/>
                  </a:lnTo>
                  <a:cubicBezTo>
                    <a:pt x="31485" y="20738"/>
                    <a:pt x="62278" y="42513"/>
                    <a:pt x="92379" y="64979"/>
                  </a:cubicBezTo>
                  <a:cubicBezTo>
                    <a:pt x="141854" y="101962"/>
                    <a:pt x="190293" y="141365"/>
                    <a:pt x="236655" y="182496"/>
                  </a:cubicBezTo>
                  <a:cubicBezTo>
                    <a:pt x="326612" y="262337"/>
                    <a:pt x="408957" y="349438"/>
                    <a:pt x="483690" y="441722"/>
                  </a:cubicBezTo>
                  <a:lnTo>
                    <a:pt x="483690" y="418565"/>
                  </a:lnTo>
                  <a:cubicBezTo>
                    <a:pt x="411725" y="330773"/>
                    <a:pt x="332494" y="247821"/>
                    <a:pt x="246343" y="171781"/>
                  </a:cubicBezTo>
                  <a:close/>
                </a:path>
              </a:pathLst>
            </a:custGeom>
            <a:grpFill/>
            <a:ln w="34574" cap="flat">
              <a:noFill/>
              <a:prstDash val="solid"/>
              <a:miter/>
            </a:ln>
          </p:spPr>
          <p:txBody>
            <a:bodyPr rtlCol="0" anchor="ctr"/>
            <a:lstStyle/>
            <a:p>
              <a:endParaRPr lang="en-US"/>
            </a:p>
          </p:txBody>
        </p:sp>
        <p:sp>
          <p:nvSpPr>
            <p:cNvPr id="33" name="Freeform 32">
              <a:extLst>
                <a:ext uri="{FF2B5EF4-FFF2-40B4-BE49-F238E27FC236}">
                  <a16:creationId xmlns:a16="http://schemas.microsoft.com/office/drawing/2014/main" id="{3653C966-7E4E-B7A1-0A57-56210110861F}"/>
                </a:ext>
              </a:extLst>
            </p:cNvPr>
            <p:cNvSpPr/>
            <p:nvPr/>
          </p:nvSpPr>
          <p:spPr>
            <a:xfrm>
              <a:off x="1510789" y="-751202"/>
              <a:ext cx="579874" cy="531587"/>
            </a:xfrm>
            <a:custGeom>
              <a:avLst/>
              <a:gdLst>
                <a:gd name="connsiteX0" fmla="*/ 341144 w 579874"/>
                <a:gd name="connsiteY0" fmla="*/ 242636 h 531587"/>
                <a:gd name="connsiteX1" fmla="*/ 199981 w 579874"/>
                <a:gd name="connsiteY1" fmla="*/ 121318 h 531587"/>
                <a:gd name="connsiteX2" fmla="*/ 28025 w 579874"/>
                <a:gd name="connsiteY2" fmla="*/ 0 h 531587"/>
                <a:gd name="connsiteX3" fmla="*/ 0 w 579874"/>
                <a:gd name="connsiteY3" fmla="*/ 0 h 531587"/>
                <a:gd name="connsiteX4" fmla="*/ 191331 w 579874"/>
                <a:gd name="connsiteY4" fmla="*/ 132724 h 531587"/>
                <a:gd name="connsiteX5" fmla="*/ 331456 w 579874"/>
                <a:gd name="connsiteY5" fmla="*/ 253005 h 531587"/>
                <a:gd name="connsiteX6" fmla="*/ 579875 w 579874"/>
                <a:gd name="connsiteY6" fmla="*/ 531587 h 531587"/>
                <a:gd name="connsiteX7" fmla="*/ 579875 w 579874"/>
                <a:gd name="connsiteY7" fmla="*/ 507393 h 531587"/>
                <a:gd name="connsiteX8" fmla="*/ 341144 w 579874"/>
                <a:gd name="connsiteY8" fmla="*/ 242290 h 531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9874" h="531587">
                  <a:moveTo>
                    <a:pt x="341144" y="242636"/>
                  </a:moveTo>
                  <a:cubicBezTo>
                    <a:pt x="296165" y="200469"/>
                    <a:pt x="248765" y="159684"/>
                    <a:pt x="199981" y="121318"/>
                  </a:cubicBezTo>
                  <a:cubicBezTo>
                    <a:pt x="144969" y="78114"/>
                    <a:pt x="87188" y="37674"/>
                    <a:pt x="28025" y="0"/>
                  </a:cubicBezTo>
                  <a:lnTo>
                    <a:pt x="0" y="0"/>
                  </a:lnTo>
                  <a:cubicBezTo>
                    <a:pt x="66083" y="40785"/>
                    <a:pt x="130091" y="84681"/>
                    <a:pt x="191331" y="132724"/>
                  </a:cubicBezTo>
                  <a:cubicBezTo>
                    <a:pt x="239769" y="170744"/>
                    <a:pt x="286823" y="211183"/>
                    <a:pt x="331456" y="253005"/>
                  </a:cubicBezTo>
                  <a:cubicBezTo>
                    <a:pt x="423488" y="339068"/>
                    <a:pt x="506525" y="432736"/>
                    <a:pt x="579875" y="531587"/>
                  </a:cubicBezTo>
                  <a:lnTo>
                    <a:pt x="579875" y="507393"/>
                  </a:lnTo>
                  <a:cubicBezTo>
                    <a:pt x="508601" y="413726"/>
                    <a:pt x="429024" y="324552"/>
                    <a:pt x="341144" y="242290"/>
                  </a:cubicBezTo>
                  <a:close/>
                </a:path>
              </a:pathLst>
            </a:custGeom>
            <a:grpFill/>
            <a:ln w="34574" cap="flat">
              <a:noFill/>
              <a:prstDash val="solid"/>
              <a:miter/>
            </a:ln>
          </p:spPr>
          <p:txBody>
            <a:bodyPr rtlCol="0" anchor="ctr"/>
            <a:lstStyle/>
            <a:p>
              <a:endParaRPr lang="en-US"/>
            </a:p>
          </p:txBody>
        </p:sp>
        <p:sp>
          <p:nvSpPr>
            <p:cNvPr id="34" name="Freeform 33">
              <a:extLst>
                <a:ext uri="{FF2B5EF4-FFF2-40B4-BE49-F238E27FC236}">
                  <a16:creationId xmlns:a16="http://schemas.microsoft.com/office/drawing/2014/main" id="{DA7823FE-9488-013E-E2D2-A1E6F812E734}"/>
                </a:ext>
              </a:extLst>
            </p:cNvPr>
            <p:cNvSpPr/>
            <p:nvPr/>
          </p:nvSpPr>
          <p:spPr>
            <a:xfrm>
              <a:off x="1410799" y="-751202"/>
              <a:ext cx="679864" cy="623180"/>
            </a:xfrm>
            <a:custGeom>
              <a:avLst/>
              <a:gdLst>
                <a:gd name="connsiteX0" fmla="*/ 302739 w 679864"/>
                <a:gd name="connsiteY0" fmla="*/ 189063 h 623180"/>
                <a:gd name="connsiteX1" fmla="*/ 30101 w 679864"/>
                <a:gd name="connsiteY1" fmla="*/ 0 h 623180"/>
                <a:gd name="connsiteX2" fmla="*/ 0 w 679864"/>
                <a:gd name="connsiteY2" fmla="*/ 0 h 623180"/>
                <a:gd name="connsiteX3" fmla="*/ 293743 w 679864"/>
                <a:gd name="connsiteY3" fmla="*/ 200123 h 623180"/>
                <a:gd name="connsiteX4" fmla="*/ 429716 w 679864"/>
                <a:gd name="connsiteY4" fmla="*/ 323169 h 623180"/>
                <a:gd name="connsiteX5" fmla="*/ 679865 w 679864"/>
                <a:gd name="connsiteY5" fmla="*/ 623181 h 623180"/>
                <a:gd name="connsiteX6" fmla="*/ 679865 w 679864"/>
                <a:gd name="connsiteY6" fmla="*/ 597949 h 623180"/>
                <a:gd name="connsiteX7" fmla="*/ 439750 w 679864"/>
                <a:gd name="connsiteY7" fmla="*/ 313146 h 623180"/>
                <a:gd name="connsiteX8" fmla="*/ 302739 w 679864"/>
                <a:gd name="connsiteY8" fmla="*/ 189408 h 623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9864" h="623180">
                  <a:moveTo>
                    <a:pt x="302739" y="189063"/>
                  </a:moveTo>
                  <a:cubicBezTo>
                    <a:pt x="217626" y="118553"/>
                    <a:pt x="125939" y="55647"/>
                    <a:pt x="30101" y="0"/>
                  </a:cubicBezTo>
                  <a:lnTo>
                    <a:pt x="0" y="0"/>
                  </a:lnTo>
                  <a:cubicBezTo>
                    <a:pt x="103450" y="58067"/>
                    <a:pt x="202402" y="124774"/>
                    <a:pt x="293743" y="200123"/>
                  </a:cubicBezTo>
                  <a:cubicBezTo>
                    <a:pt x="340797" y="238834"/>
                    <a:pt x="386468" y="280310"/>
                    <a:pt x="429716" y="323169"/>
                  </a:cubicBezTo>
                  <a:cubicBezTo>
                    <a:pt x="523825" y="416145"/>
                    <a:pt x="607554" y="517071"/>
                    <a:pt x="679865" y="623181"/>
                  </a:cubicBezTo>
                  <a:lnTo>
                    <a:pt x="679865" y="597949"/>
                  </a:lnTo>
                  <a:cubicBezTo>
                    <a:pt x="609629" y="497369"/>
                    <a:pt x="529706" y="401628"/>
                    <a:pt x="439750" y="313146"/>
                  </a:cubicBezTo>
                  <a:cubicBezTo>
                    <a:pt x="396155" y="269941"/>
                    <a:pt x="350139" y="228465"/>
                    <a:pt x="302739" y="189408"/>
                  </a:cubicBezTo>
                  <a:close/>
                </a:path>
              </a:pathLst>
            </a:custGeom>
            <a:grpFill/>
            <a:ln w="34574" cap="flat">
              <a:noFill/>
              <a:prstDash val="solid"/>
              <a:miter/>
            </a:ln>
          </p:spPr>
          <p:txBody>
            <a:bodyPr rtlCol="0" anchor="ctr"/>
            <a:lstStyle/>
            <a:p>
              <a:endParaRPr lang="en-US"/>
            </a:p>
          </p:txBody>
        </p:sp>
        <p:sp>
          <p:nvSpPr>
            <p:cNvPr id="35" name="Freeform 34">
              <a:extLst>
                <a:ext uri="{FF2B5EF4-FFF2-40B4-BE49-F238E27FC236}">
                  <a16:creationId xmlns:a16="http://schemas.microsoft.com/office/drawing/2014/main" id="{D3C9F7B1-603F-1752-1AEF-2145C64A8A58}"/>
                </a:ext>
              </a:extLst>
            </p:cNvPr>
            <p:cNvSpPr/>
            <p:nvPr/>
          </p:nvSpPr>
          <p:spPr>
            <a:xfrm>
              <a:off x="1304927" y="-751202"/>
              <a:ext cx="785391" cy="717193"/>
            </a:xfrm>
            <a:custGeom>
              <a:avLst/>
              <a:gdLst>
                <a:gd name="connsiteX0" fmla="*/ 411379 w 785391"/>
                <a:gd name="connsiteY0" fmla="*/ 256807 h 717193"/>
                <a:gd name="connsiteX1" fmla="*/ 32177 w 785391"/>
                <a:gd name="connsiteY1" fmla="*/ 0 h 717193"/>
                <a:gd name="connsiteX2" fmla="*/ 0 w 785391"/>
                <a:gd name="connsiteY2" fmla="*/ 0 h 717193"/>
                <a:gd name="connsiteX3" fmla="*/ 401691 w 785391"/>
                <a:gd name="connsiteY3" fmla="*/ 267868 h 717193"/>
                <a:gd name="connsiteX4" fmla="*/ 533513 w 785391"/>
                <a:gd name="connsiteY4" fmla="*/ 393679 h 717193"/>
                <a:gd name="connsiteX5" fmla="*/ 785392 w 785391"/>
                <a:gd name="connsiteY5" fmla="*/ 717194 h 717193"/>
                <a:gd name="connsiteX6" fmla="*/ 785392 w 785391"/>
                <a:gd name="connsiteY6" fmla="*/ 690580 h 717193"/>
                <a:gd name="connsiteX7" fmla="*/ 543892 w 785391"/>
                <a:gd name="connsiteY7" fmla="*/ 383655 h 717193"/>
                <a:gd name="connsiteX8" fmla="*/ 411033 w 785391"/>
                <a:gd name="connsiteY8" fmla="*/ 257153 h 717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5391" h="717193">
                  <a:moveTo>
                    <a:pt x="411379" y="256807"/>
                  </a:moveTo>
                  <a:cubicBezTo>
                    <a:pt x="296166" y="156573"/>
                    <a:pt x="168150" y="70510"/>
                    <a:pt x="32177" y="0"/>
                  </a:cubicBezTo>
                  <a:lnTo>
                    <a:pt x="0" y="0"/>
                  </a:lnTo>
                  <a:cubicBezTo>
                    <a:pt x="144277" y="72238"/>
                    <a:pt x="279904" y="162103"/>
                    <a:pt x="401691" y="267868"/>
                  </a:cubicBezTo>
                  <a:cubicBezTo>
                    <a:pt x="447362" y="307616"/>
                    <a:pt x="491994" y="349783"/>
                    <a:pt x="533513" y="393679"/>
                  </a:cubicBezTo>
                  <a:cubicBezTo>
                    <a:pt x="630043" y="494259"/>
                    <a:pt x="714810" y="603134"/>
                    <a:pt x="785392" y="717194"/>
                  </a:cubicBezTo>
                  <a:lnTo>
                    <a:pt x="785392" y="690580"/>
                  </a:lnTo>
                  <a:cubicBezTo>
                    <a:pt x="716886" y="582396"/>
                    <a:pt x="635925" y="479396"/>
                    <a:pt x="543892" y="383655"/>
                  </a:cubicBezTo>
                  <a:cubicBezTo>
                    <a:pt x="501682" y="339760"/>
                    <a:pt x="457049" y="296901"/>
                    <a:pt x="411033" y="257153"/>
                  </a:cubicBezTo>
                  <a:close/>
                </a:path>
              </a:pathLst>
            </a:custGeom>
            <a:grpFill/>
            <a:ln w="34574" cap="flat">
              <a:noFill/>
              <a:prstDash val="solid"/>
              <a:miter/>
            </a:ln>
          </p:spPr>
          <p:txBody>
            <a:bodyPr rtlCol="0" anchor="ctr"/>
            <a:lstStyle/>
            <a:p>
              <a:endParaRPr lang="en-US"/>
            </a:p>
          </p:txBody>
        </p:sp>
        <p:sp>
          <p:nvSpPr>
            <p:cNvPr id="36" name="Freeform 35">
              <a:extLst>
                <a:ext uri="{FF2B5EF4-FFF2-40B4-BE49-F238E27FC236}">
                  <a16:creationId xmlns:a16="http://schemas.microsoft.com/office/drawing/2014/main" id="{5FAC4267-7149-F8EF-7193-2842EC5F433A}"/>
                </a:ext>
              </a:extLst>
            </p:cNvPr>
            <p:cNvSpPr/>
            <p:nvPr/>
          </p:nvSpPr>
          <p:spPr>
            <a:xfrm>
              <a:off x="1191097" y="-751202"/>
              <a:ext cx="899221" cy="815699"/>
            </a:xfrm>
            <a:custGeom>
              <a:avLst/>
              <a:gdLst>
                <a:gd name="connsiteX0" fmla="*/ 527631 w 899221"/>
                <a:gd name="connsiteY0" fmla="*/ 324552 h 815699"/>
                <a:gd name="connsiteX1" fmla="*/ 34599 w 899221"/>
                <a:gd name="connsiteY1" fmla="*/ 0 h 815699"/>
                <a:gd name="connsiteX2" fmla="*/ 0 w 899221"/>
                <a:gd name="connsiteY2" fmla="*/ 0 h 815699"/>
                <a:gd name="connsiteX3" fmla="*/ 517597 w 899221"/>
                <a:gd name="connsiteY3" fmla="*/ 335266 h 815699"/>
                <a:gd name="connsiteX4" fmla="*/ 645612 w 899221"/>
                <a:gd name="connsiteY4" fmla="*/ 463843 h 815699"/>
                <a:gd name="connsiteX5" fmla="*/ 886766 w 899221"/>
                <a:gd name="connsiteY5" fmla="*/ 793233 h 815699"/>
                <a:gd name="connsiteX6" fmla="*/ 899221 w 899221"/>
                <a:gd name="connsiteY6" fmla="*/ 815700 h 815699"/>
                <a:gd name="connsiteX7" fmla="*/ 899221 w 899221"/>
                <a:gd name="connsiteY7" fmla="*/ 785630 h 815699"/>
                <a:gd name="connsiteX8" fmla="*/ 656338 w 899221"/>
                <a:gd name="connsiteY8" fmla="*/ 453819 h 815699"/>
                <a:gd name="connsiteX9" fmla="*/ 527631 w 899221"/>
                <a:gd name="connsiteY9" fmla="*/ 324552 h 815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9221" h="815699">
                  <a:moveTo>
                    <a:pt x="527631" y="324552"/>
                  </a:moveTo>
                  <a:cubicBezTo>
                    <a:pt x="381970" y="191482"/>
                    <a:pt x="214166" y="81916"/>
                    <a:pt x="34599" y="0"/>
                  </a:cubicBezTo>
                  <a:lnTo>
                    <a:pt x="0" y="0"/>
                  </a:lnTo>
                  <a:cubicBezTo>
                    <a:pt x="189255" y="82261"/>
                    <a:pt x="365363" y="195975"/>
                    <a:pt x="517597" y="335266"/>
                  </a:cubicBezTo>
                  <a:cubicBezTo>
                    <a:pt x="562229" y="376051"/>
                    <a:pt x="605132" y="419256"/>
                    <a:pt x="645612" y="463843"/>
                  </a:cubicBezTo>
                  <a:cubicBezTo>
                    <a:pt x="739375" y="567188"/>
                    <a:pt x="820682" y="677791"/>
                    <a:pt x="886766" y="793233"/>
                  </a:cubicBezTo>
                  <a:cubicBezTo>
                    <a:pt x="891263" y="800837"/>
                    <a:pt x="895069" y="808096"/>
                    <a:pt x="899221" y="815700"/>
                  </a:cubicBezTo>
                  <a:lnTo>
                    <a:pt x="899221" y="785630"/>
                  </a:lnTo>
                  <a:cubicBezTo>
                    <a:pt x="832792" y="669496"/>
                    <a:pt x="750792" y="557856"/>
                    <a:pt x="656338" y="453819"/>
                  </a:cubicBezTo>
                  <a:cubicBezTo>
                    <a:pt x="615858" y="408887"/>
                    <a:pt x="572263" y="365337"/>
                    <a:pt x="527631" y="324552"/>
                  </a:cubicBezTo>
                  <a:close/>
                </a:path>
              </a:pathLst>
            </a:custGeom>
            <a:grpFill/>
            <a:ln w="34574"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933D4F5F-1EFF-DD55-349D-6B58D91952E5}"/>
                </a:ext>
              </a:extLst>
            </p:cNvPr>
            <p:cNvSpPr/>
            <p:nvPr/>
          </p:nvSpPr>
          <p:spPr>
            <a:xfrm>
              <a:off x="1059622" y="-750857"/>
              <a:ext cx="1031042" cy="918353"/>
            </a:xfrm>
            <a:custGeom>
              <a:avLst/>
              <a:gdLst>
                <a:gd name="connsiteX0" fmla="*/ 786775 w 1031042"/>
                <a:gd name="connsiteY0" fmla="*/ 524329 h 918353"/>
                <a:gd name="connsiteX1" fmla="*/ 661874 w 1031042"/>
                <a:gd name="connsiteY1" fmla="*/ 392296 h 918353"/>
                <a:gd name="connsiteX2" fmla="*/ 43941 w 1031042"/>
                <a:gd name="connsiteY2" fmla="*/ 0 h 918353"/>
                <a:gd name="connsiteX3" fmla="*/ 0 w 1031042"/>
                <a:gd name="connsiteY3" fmla="*/ 0 h 918353"/>
                <a:gd name="connsiteX4" fmla="*/ 651840 w 1031042"/>
                <a:gd name="connsiteY4" fmla="*/ 402665 h 918353"/>
                <a:gd name="connsiteX5" fmla="*/ 775703 w 1031042"/>
                <a:gd name="connsiteY5" fmla="*/ 533661 h 918353"/>
                <a:gd name="connsiteX6" fmla="*/ 1005785 w 1031042"/>
                <a:gd name="connsiteY6" fmla="*/ 868582 h 918353"/>
                <a:gd name="connsiteX7" fmla="*/ 1031042 w 1031042"/>
                <a:gd name="connsiteY7" fmla="*/ 918354 h 918353"/>
                <a:gd name="connsiteX8" fmla="*/ 1031042 w 1031042"/>
                <a:gd name="connsiteY8" fmla="*/ 886209 h 918353"/>
                <a:gd name="connsiteX9" fmla="*/ 1018587 w 1031042"/>
                <a:gd name="connsiteY9" fmla="*/ 861669 h 918353"/>
                <a:gd name="connsiteX10" fmla="*/ 786775 w 1031042"/>
                <a:gd name="connsiteY10" fmla="*/ 523983 h 918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31042" h="918353">
                  <a:moveTo>
                    <a:pt x="786775" y="524329"/>
                  </a:moveTo>
                  <a:cubicBezTo>
                    <a:pt x="747679" y="478360"/>
                    <a:pt x="705468" y="434118"/>
                    <a:pt x="661874" y="392296"/>
                  </a:cubicBezTo>
                  <a:cubicBezTo>
                    <a:pt x="484729" y="222244"/>
                    <a:pt x="272984" y="87791"/>
                    <a:pt x="43941" y="0"/>
                  </a:cubicBezTo>
                  <a:lnTo>
                    <a:pt x="0" y="0"/>
                  </a:lnTo>
                  <a:cubicBezTo>
                    <a:pt x="241845" y="86409"/>
                    <a:pt x="466045" y="224317"/>
                    <a:pt x="651840" y="402665"/>
                  </a:cubicBezTo>
                  <a:cubicBezTo>
                    <a:pt x="695088" y="444142"/>
                    <a:pt x="736953" y="488383"/>
                    <a:pt x="775703" y="533661"/>
                  </a:cubicBezTo>
                  <a:cubicBezTo>
                    <a:pt x="866698" y="639426"/>
                    <a:pt x="944200" y="752103"/>
                    <a:pt x="1005785" y="868582"/>
                  </a:cubicBezTo>
                  <a:cubicBezTo>
                    <a:pt x="1014781" y="885518"/>
                    <a:pt x="1023085" y="902109"/>
                    <a:pt x="1031042" y="918354"/>
                  </a:cubicBezTo>
                  <a:lnTo>
                    <a:pt x="1031042" y="886209"/>
                  </a:lnTo>
                  <a:cubicBezTo>
                    <a:pt x="1026891" y="877914"/>
                    <a:pt x="1023085" y="869965"/>
                    <a:pt x="1018587" y="861669"/>
                  </a:cubicBezTo>
                  <a:cubicBezTo>
                    <a:pt x="956309" y="744153"/>
                    <a:pt x="878462" y="630785"/>
                    <a:pt x="786775" y="523983"/>
                  </a:cubicBezTo>
                  <a:close/>
                </a:path>
              </a:pathLst>
            </a:custGeom>
            <a:grpFill/>
            <a:ln w="34574" cap="flat">
              <a:noFill/>
              <a:prstDash val="solid"/>
              <a:miter/>
            </a:ln>
          </p:spPr>
          <p:txBody>
            <a:bodyPr rtlCol="0" anchor="ctr"/>
            <a:lstStyle/>
            <a:p>
              <a:endParaRPr lang="en-US"/>
            </a:p>
          </p:txBody>
        </p:sp>
        <p:sp>
          <p:nvSpPr>
            <p:cNvPr id="38" name="Freeform 37">
              <a:extLst>
                <a:ext uri="{FF2B5EF4-FFF2-40B4-BE49-F238E27FC236}">
                  <a16:creationId xmlns:a16="http://schemas.microsoft.com/office/drawing/2014/main" id="{B69750E9-2E57-FD0D-E3D8-E9F7F8C8AF92}"/>
                </a:ext>
              </a:extLst>
            </p:cNvPr>
            <p:cNvSpPr/>
            <p:nvPr/>
          </p:nvSpPr>
          <p:spPr>
            <a:xfrm>
              <a:off x="898738" y="-751202"/>
              <a:ext cx="1191580" cy="1019970"/>
            </a:xfrm>
            <a:custGeom>
              <a:avLst/>
              <a:gdLst>
                <a:gd name="connsiteX0" fmla="*/ 946275 w 1191580"/>
                <a:gd name="connsiteY0" fmla="*/ 595184 h 1019970"/>
                <a:gd name="connsiteX1" fmla="*/ 825526 w 1191580"/>
                <a:gd name="connsiteY1" fmla="*/ 460386 h 1019970"/>
                <a:gd name="connsiteX2" fmla="*/ 120749 w 1191580"/>
                <a:gd name="connsiteY2" fmla="*/ 20392 h 1019970"/>
                <a:gd name="connsiteX3" fmla="*/ 53974 w 1191580"/>
                <a:gd name="connsiteY3" fmla="*/ 0 h 1019970"/>
                <a:gd name="connsiteX4" fmla="*/ 0 w 1191580"/>
                <a:gd name="connsiteY4" fmla="*/ 0 h 1019970"/>
                <a:gd name="connsiteX5" fmla="*/ 116252 w 1191580"/>
                <a:gd name="connsiteY5" fmla="*/ 34218 h 1019970"/>
                <a:gd name="connsiteX6" fmla="*/ 815146 w 1191580"/>
                <a:gd name="connsiteY6" fmla="*/ 470410 h 1019970"/>
                <a:gd name="connsiteX7" fmla="*/ 934858 w 1191580"/>
                <a:gd name="connsiteY7" fmla="*/ 604171 h 1019970"/>
                <a:gd name="connsiteX8" fmla="*/ 1153522 w 1191580"/>
                <a:gd name="connsiteY8" fmla="*/ 944276 h 1019970"/>
                <a:gd name="connsiteX9" fmla="*/ 1187775 w 1191580"/>
                <a:gd name="connsiteY9" fmla="*/ 1019970 h 1019970"/>
                <a:gd name="connsiteX10" fmla="*/ 1191580 w 1191580"/>
                <a:gd name="connsiteY10" fmla="*/ 1006491 h 1019970"/>
                <a:gd name="connsiteX11" fmla="*/ 1191580 w 1191580"/>
                <a:gd name="connsiteY11" fmla="*/ 991628 h 1019970"/>
                <a:gd name="connsiteX12" fmla="*/ 1166669 w 1191580"/>
                <a:gd name="connsiteY12" fmla="*/ 937709 h 1019970"/>
                <a:gd name="connsiteX13" fmla="*/ 945929 w 1191580"/>
                <a:gd name="connsiteY13" fmla="*/ 594839 h 1019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91580" h="1019970">
                  <a:moveTo>
                    <a:pt x="946275" y="595184"/>
                  </a:moveTo>
                  <a:cubicBezTo>
                    <a:pt x="908562" y="548524"/>
                    <a:pt x="868082" y="503245"/>
                    <a:pt x="825526" y="460386"/>
                  </a:cubicBezTo>
                  <a:cubicBezTo>
                    <a:pt x="629005" y="261646"/>
                    <a:pt x="385430" y="109566"/>
                    <a:pt x="120749" y="20392"/>
                  </a:cubicBezTo>
                  <a:cubicBezTo>
                    <a:pt x="98606" y="13134"/>
                    <a:pt x="76117" y="6567"/>
                    <a:pt x="53974" y="0"/>
                  </a:cubicBezTo>
                  <a:lnTo>
                    <a:pt x="0" y="0"/>
                  </a:lnTo>
                  <a:cubicBezTo>
                    <a:pt x="39097" y="10023"/>
                    <a:pt x="77847" y="21084"/>
                    <a:pt x="116252" y="34218"/>
                  </a:cubicBezTo>
                  <a:cubicBezTo>
                    <a:pt x="378510" y="122355"/>
                    <a:pt x="620355" y="273398"/>
                    <a:pt x="815146" y="470410"/>
                  </a:cubicBezTo>
                  <a:cubicBezTo>
                    <a:pt x="857011" y="512923"/>
                    <a:pt x="897491" y="557856"/>
                    <a:pt x="934858" y="604171"/>
                  </a:cubicBezTo>
                  <a:cubicBezTo>
                    <a:pt x="1022738" y="712355"/>
                    <a:pt x="1096434" y="826760"/>
                    <a:pt x="1153522" y="944276"/>
                  </a:cubicBezTo>
                  <a:cubicBezTo>
                    <a:pt x="1166323" y="970199"/>
                    <a:pt x="1177395" y="995430"/>
                    <a:pt x="1187775" y="1019970"/>
                  </a:cubicBezTo>
                  <a:cubicBezTo>
                    <a:pt x="1188812" y="1015477"/>
                    <a:pt x="1190196" y="1010984"/>
                    <a:pt x="1191580" y="1006491"/>
                  </a:cubicBezTo>
                  <a:lnTo>
                    <a:pt x="1191580" y="991628"/>
                  </a:lnTo>
                  <a:cubicBezTo>
                    <a:pt x="1183622" y="974001"/>
                    <a:pt x="1175665" y="956028"/>
                    <a:pt x="1166669" y="937709"/>
                  </a:cubicBezTo>
                  <a:cubicBezTo>
                    <a:pt x="1108889" y="819156"/>
                    <a:pt x="1034848" y="703714"/>
                    <a:pt x="945929" y="594839"/>
                  </a:cubicBezTo>
                  <a:close/>
                </a:path>
              </a:pathLst>
            </a:custGeom>
            <a:grpFill/>
            <a:ln w="34574"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202BB0E4-D5EC-140B-8027-D7060069426A}"/>
                </a:ext>
              </a:extLst>
            </p:cNvPr>
            <p:cNvSpPr/>
            <p:nvPr/>
          </p:nvSpPr>
          <p:spPr>
            <a:xfrm>
              <a:off x="632674" y="-751202"/>
              <a:ext cx="1442074" cy="1092899"/>
            </a:xfrm>
            <a:custGeom>
              <a:avLst/>
              <a:gdLst>
                <a:gd name="connsiteX0" fmla="*/ 1210610 w 1442074"/>
                <a:gd name="connsiteY0" fmla="*/ 665694 h 1092899"/>
                <a:gd name="connsiteX1" fmla="*/ 1094012 w 1442074"/>
                <a:gd name="connsiteY1" fmla="*/ 528131 h 1092899"/>
                <a:gd name="connsiteX2" fmla="*/ 401691 w 1442074"/>
                <a:gd name="connsiteY2" fmla="*/ 75349 h 1092899"/>
                <a:gd name="connsiteX3" fmla="*/ 108640 w 1442074"/>
                <a:gd name="connsiteY3" fmla="*/ 0 h 1092899"/>
                <a:gd name="connsiteX4" fmla="*/ 0 w 1442074"/>
                <a:gd name="connsiteY4" fmla="*/ 0 h 1092899"/>
                <a:gd name="connsiteX5" fmla="*/ 396847 w 1442074"/>
                <a:gd name="connsiteY5" fmla="*/ 89174 h 1092899"/>
                <a:gd name="connsiteX6" fmla="*/ 1083286 w 1442074"/>
                <a:gd name="connsiteY6" fmla="*/ 538154 h 1092899"/>
                <a:gd name="connsiteX7" fmla="*/ 1198846 w 1442074"/>
                <a:gd name="connsiteY7" fmla="*/ 674681 h 1092899"/>
                <a:gd name="connsiteX8" fmla="*/ 1406438 w 1442074"/>
                <a:gd name="connsiteY8" fmla="*/ 1020316 h 1092899"/>
                <a:gd name="connsiteX9" fmla="*/ 1436193 w 1442074"/>
                <a:gd name="connsiteY9" fmla="*/ 1092899 h 1092899"/>
                <a:gd name="connsiteX10" fmla="*/ 1442075 w 1442074"/>
                <a:gd name="connsiteY10" fmla="*/ 1067322 h 1092899"/>
                <a:gd name="connsiteX11" fmla="*/ 1419932 w 1442074"/>
                <a:gd name="connsiteY11" fmla="*/ 1014440 h 1092899"/>
                <a:gd name="connsiteX12" fmla="*/ 1210610 w 1442074"/>
                <a:gd name="connsiteY12" fmla="*/ 666040 h 1092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42074" h="1092899">
                  <a:moveTo>
                    <a:pt x="1210610" y="665694"/>
                  </a:moveTo>
                  <a:cubicBezTo>
                    <a:pt x="1174281" y="617996"/>
                    <a:pt x="1135184" y="571681"/>
                    <a:pt x="1094012" y="528131"/>
                  </a:cubicBezTo>
                  <a:cubicBezTo>
                    <a:pt x="903373" y="324897"/>
                    <a:pt x="663950" y="168324"/>
                    <a:pt x="401691" y="75349"/>
                  </a:cubicBezTo>
                  <a:cubicBezTo>
                    <a:pt x="306545" y="41822"/>
                    <a:pt x="208285" y="16591"/>
                    <a:pt x="108640" y="0"/>
                  </a:cubicBezTo>
                  <a:lnTo>
                    <a:pt x="0" y="0"/>
                  </a:lnTo>
                  <a:cubicBezTo>
                    <a:pt x="135281" y="13825"/>
                    <a:pt x="268832" y="43896"/>
                    <a:pt x="396847" y="89174"/>
                  </a:cubicBezTo>
                  <a:cubicBezTo>
                    <a:pt x="657030" y="181459"/>
                    <a:pt x="894377" y="336649"/>
                    <a:pt x="1083286" y="538154"/>
                  </a:cubicBezTo>
                  <a:cubicBezTo>
                    <a:pt x="1124113" y="581705"/>
                    <a:pt x="1162863" y="627328"/>
                    <a:pt x="1198846" y="674681"/>
                  </a:cubicBezTo>
                  <a:cubicBezTo>
                    <a:pt x="1283959" y="785630"/>
                    <a:pt x="1353849" y="901763"/>
                    <a:pt x="1406438" y="1020316"/>
                  </a:cubicBezTo>
                  <a:cubicBezTo>
                    <a:pt x="1417510" y="1045202"/>
                    <a:pt x="1427198" y="1069051"/>
                    <a:pt x="1436193" y="1092899"/>
                  </a:cubicBezTo>
                  <a:cubicBezTo>
                    <a:pt x="1437923" y="1084259"/>
                    <a:pt x="1439999" y="1075963"/>
                    <a:pt x="1442075" y="1067322"/>
                  </a:cubicBezTo>
                  <a:cubicBezTo>
                    <a:pt x="1435155" y="1050041"/>
                    <a:pt x="1427890" y="1032413"/>
                    <a:pt x="1419932" y="1014440"/>
                  </a:cubicBezTo>
                  <a:cubicBezTo>
                    <a:pt x="1366650" y="894850"/>
                    <a:pt x="1296069" y="777680"/>
                    <a:pt x="1210610" y="666040"/>
                  </a:cubicBezTo>
                  <a:close/>
                </a:path>
              </a:pathLst>
            </a:custGeom>
            <a:grpFill/>
            <a:ln w="34574"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EBBC55EF-EFFF-EE47-BD91-D9FE0730B4CE}"/>
                </a:ext>
              </a:extLst>
            </p:cNvPr>
            <p:cNvSpPr/>
            <p:nvPr/>
          </p:nvSpPr>
          <p:spPr>
            <a:xfrm>
              <a:off x="-2379145" y="-727353"/>
              <a:ext cx="4437979" cy="3495411"/>
            </a:xfrm>
            <a:custGeom>
              <a:avLst/>
              <a:gdLst>
                <a:gd name="connsiteX0" fmla="*/ 4221045 w 4437979"/>
                <a:gd name="connsiteY0" fmla="*/ 712355 h 3495411"/>
                <a:gd name="connsiteX1" fmla="*/ 4108599 w 4437979"/>
                <a:gd name="connsiteY1" fmla="*/ 572027 h 3495411"/>
                <a:gd name="connsiteX2" fmla="*/ 3428734 w 4437979"/>
                <a:gd name="connsiteY2" fmla="*/ 106456 h 3495411"/>
                <a:gd name="connsiteX3" fmla="*/ 3030503 w 4437979"/>
                <a:gd name="connsiteY3" fmla="*/ 11060 h 3495411"/>
                <a:gd name="connsiteX4" fmla="*/ 2834328 w 4437979"/>
                <a:gd name="connsiteY4" fmla="*/ 0 h 3495411"/>
                <a:gd name="connsiteX5" fmla="*/ 2805957 w 4437979"/>
                <a:gd name="connsiteY5" fmla="*/ 0 h 3495411"/>
                <a:gd name="connsiteX6" fmla="*/ 2432983 w 4437979"/>
                <a:gd name="connsiteY6" fmla="*/ 48043 h 3495411"/>
                <a:gd name="connsiteX7" fmla="*/ 2221239 w 4437979"/>
                <a:gd name="connsiteY7" fmla="*/ 114060 h 3495411"/>
                <a:gd name="connsiteX8" fmla="*/ 1874213 w 4437979"/>
                <a:gd name="connsiteY8" fmla="*/ 295173 h 3495411"/>
                <a:gd name="connsiteX9" fmla="*/ 1641364 w 4437979"/>
                <a:gd name="connsiteY9" fmla="*/ 485618 h 3495411"/>
                <a:gd name="connsiteX10" fmla="*/ 1311292 w 4437979"/>
                <a:gd name="connsiteY10" fmla="*/ 931142 h 3495411"/>
                <a:gd name="connsiteX11" fmla="*/ 1156290 w 4437979"/>
                <a:gd name="connsiteY11" fmla="*/ 1384961 h 3495411"/>
                <a:gd name="connsiteX12" fmla="*/ 1129648 w 4437979"/>
                <a:gd name="connsiteY12" fmla="*/ 1778986 h 3495411"/>
                <a:gd name="connsiteX13" fmla="*/ 1129648 w 4437979"/>
                <a:gd name="connsiteY13" fmla="*/ 1801452 h 3495411"/>
                <a:gd name="connsiteX14" fmla="*/ 1124113 w 4437979"/>
                <a:gd name="connsiteY14" fmla="*/ 1977726 h 3495411"/>
                <a:gd name="connsiteX15" fmla="*/ 1107851 w 4437979"/>
                <a:gd name="connsiteY15" fmla="*/ 2170937 h 3495411"/>
                <a:gd name="connsiteX16" fmla="*/ 994022 w 4437979"/>
                <a:gd name="connsiteY16" fmla="*/ 2646877 h 3495411"/>
                <a:gd name="connsiteX17" fmla="*/ 908217 w 4437979"/>
                <a:gd name="connsiteY17" fmla="*/ 2820386 h 3495411"/>
                <a:gd name="connsiteX18" fmla="*/ 659798 w 4437979"/>
                <a:gd name="connsiteY18" fmla="*/ 3127310 h 3495411"/>
                <a:gd name="connsiteX19" fmla="*/ 300663 w 4437979"/>
                <a:gd name="connsiteY19" fmla="*/ 3383426 h 3495411"/>
                <a:gd name="connsiteX20" fmla="*/ 0 w 4437979"/>
                <a:gd name="connsiteY20" fmla="*/ 3495412 h 3495411"/>
                <a:gd name="connsiteX21" fmla="*/ 53974 w 4437979"/>
                <a:gd name="connsiteY21" fmla="*/ 3495412 h 3495411"/>
                <a:gd name="connsiteX22" fmla="*/ 307583 w 4437979"/>
                <a:gd name="connsiteY22" fmla="*/ 3396214 h 3495411"/>
                <a:gd name="connsiteX23" fmla="*/ 669831 w 4437979"/>
                <a:gd name="connsiteY23" fmla="*/ 3138025 h 3495411"/>
                <a:gd name="connsiteX24" fmla="*/ 920672 w 4437979"/>
                <a:gd name="connsiteY24" fmla="*/ 2827990 h 3495411"/>
                <a:gd name="connsiteX25" fmla="*/ 1007861 w 4437979"/>
                <a:gd name="connsiteY25" fmla="*/ 2651024 h 3495411"/>
                <a:gd name="connsiteX26" fmla="*/ 1122037 w 4437979"/>
                <a:gd name="connsiteY26" fmla="*/ 2172319 h 3495411"/>
                <a:gd name="connsiteX27" fmla="*/ 1138298 w 4437979"/>
                <a:gd name="connsiteY27" fmla="*/ 1978418 h 3495411"/>
                <a:gd name="connsiteX28" fmla="*/ 1143488 w 4437979"/>
                <a:gd name="connsiteY28" fmla="*/ 1801452 h 3495411"/>
                <a:gd name="connsiteX29" fmla="*/ 1143488 w 4437979"/>
                <a:gd name="connsiteY29" fmla="*/ 1778640 h 3495411"/>
                <a:gd name="connsiteX30" fmla="*/ 1170129 w 4437979"/>
                <a:gd name="connsiteY30" fmla="*/ 1387035 h 3495411"/>
                <a:gd name="connsiteX31" fmla="*/ 1323401 w 4437979"/>
                <a:gd name="connsiteY31" fmla="*/ 937363 h 3495411"/>
                <a:gd name="connsiteX32" fmla="*/ 1650706 w 4437979"/>
                <a:gd name="connsiteY32" fmla="*/ 495641 h 3495411"/>
                <a:gd name="connsiteX33" fmla="*/ 1881479 w 4437979"/>
                <a:gd name="connsiteY33" fmla="*/ 306924 h 3495411"/>
                <a:gd name="connsiteX34" fmla="*/ 2225390 w 4437979"/>
                <a:gd name="connsiteY34" fmla="*/ 127194 h 3495411"/>
                <a:gd name="connsiteX35" fmla="*/ 2435405 w 4437979"/>
                <a:gd name="connsiteY35" fmla="*/ 61523 h 3495411"/>
                <a:gd name="connsiteX36" fmla="*/ 2805265 w 4437979"/>
                <a:gd name="connsiteY36" fmla="*/ 13825 h 3495411"/>
                <a:gd name="connsiteX37" fmla="*/ 3027735 w 4437979"/>
                <a:gd name="connsiteY37" fmla="*/ 24540 h 3495411"/>
                <a:gd name="connsiteX38" fmla="*/ 3422506 w 4437979"/>
                <a:gd name="connsiteY38" fmla="*/ 118899 h 3495411"/>
                <a:gd name="connsiteX39" fmla="*/ 4096836 w 4437979"/>
                <a:gd name="connsiteY39" fmla="*/ 580322 h 3495411"/>
                <a:gd name="connsiteX40" fmla="*/ 4208590 w 4437979"/>
                <a:gd name="connsiteY40" fmla="*/ 719613 h 3495411"/>
                <a:gd name="connsiteX41" fmla="*/ 4405111 w 4437979"/>
                <a:gd name="connsiteY41" fmla="*/ 1070433 h 3495411"/>
                <a:gd name="connsiteX42" fmla="*/ 4432790 w 4437979"/>
                <a:gd name="connsiteY42" fmla="*/ 1145436 h 3495411"/>
                <a:gd name="connsiteX43" fmla="*/ 4437979 w 4437979"/>
                <a:gd name="connsiteY43" fmla="*/ 1115711 h 3495411"/>
                <a:gd name="connsiteX44" fmla="*/ 4418604 w 4437979"/>
                <a:gd name="connsiteY44" fmla="*/ 1064903 h 3495411"/>
                <a:gd name="connsiteX45" fmla="*/ 4220353 w 4437979"/>
                <a:gd name="connsiteY45" fmla="*/ 710972 h 3495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4437979" h="3495411">
                  <a:moveTo>
                    <a:pt x="4221045" y="712355"/>
                  </a:moveTo>
                  <a:cubicBezTo>
                    <a:pt x="4186100" y="663966"/>
                    <a:pt x="4148388" y="616614"/>
                    <a:pt x="4108599" y="572027"/>
                  </a:cubicBezTo>
                  <a:cubicBezTo>
                    <a:pt x="3923842" y="364645"/>
                    <a:pt x="3688571" y="203579"/>
                    <a:pt x="3428734" y="106456"/>
                  </a:cubicBezTo>
                  <a:cubicBezTo>
                    <a:pt x="3300373" y="58758"/>
                    <a:pt x="3166476" y="26614"/>
                    <a:pt x="3030503" y="11060"/>
                  </a:cubicBezTo>
                  <a:cubicBezTo>
                    <a:pt x="2965457" y="3802"/>
                    <a:pt x="2899374" y="0"/>
                    <a:pt x="2834328" y="0"/>
                  </a:cubicBezTo>
                  <a:cubicBezTo>
                    <a:pt x="2824987" y="0"/>
                    <a:pt x="2815645" y="0"/>
                    <a:pt x="2805957" y="0"/>
                  </a:cubicBezTo>
                  <a:cubicBezTo>
                    <a:pt x="2681748" y="2074"/>
                    <a:pt x="2556154" y="18319"/>
                    <a:pt x="2432983" y="48043"/>
                  </a:cubicBezTo>
                  <a:cubicBezTo>
                    <a:pt x="2361363" y="65325"/>
                    <a:pt x="2290090" y="87791"/>
                    <a:pt x="2221239" y="114060"/>
                  </a:cubicBezTo>
                  <a:cubicBezTo>
                    <a:pt x="2099105" y="161066"/>
                    <a:pt x="1982161" y="221898"/>
                    <a:pt x="1874213" y="295173"/>
                  </a:cubicBezTo>
                  <a:cubicBezTo>
                    <a:pt x="1791868" y="351166"/>
                    <a:pt x="1713675" y="415108"/>
                    <a:pt x="1641364" y="485618"/>
                  </a:cubicBezTo>
                  <a:cubicBezTo>
                    <a:pt x="1507813" y="615922"/>
                    <a:pt x="1396751" y="765928"/>
                    <a:pt x="1311292" y="931142"/>
                  </a:cubicBezTo>
                  <a:cubicBezTo>
                    <a:pt x="1236213" y="1076309"/>
                    <a:pt x="1184315" y="1229080"/>
                    <a:pt x="1156290" y="1384961"/>
                  </a:cubicBezTo>
                  <a:cubicBezTo>
                    <a:pt x="1133108" y="1516649"/>
                    <a:pt x="1131379" y="1650064"/>
                    <a:pt x="1129648" y="1778986"/>
                  </a:cubicBezTo>
                  <a:lnTo>
                    <a:pt x="1129648" y="1801452"/>
                  </a:lnTo>
                  <a:cubicBezTo>
                    <a:pt x="1128611" y="1853989"/>
                    <a:pt x="1127573" y="1916203"/>
                    <a:pt x="1124113" y="1977726"/>
                  </a:cubicBezTo>
                  <a:cubicBezTo>
                    <a:pt x="1120653" y="2040632"/>
                    <a:pt x="1115117" y="2105612"/>
                    <a:pt x="1107851" y="2170937"/>
                  </a:cubicBezTo>
                  <a:cubicBezTo>
                    <a:pt x="1090206" y="2330966"/>
                    <a:pt x="1045920" y="2480972"/>
                    <a:pt x="994022" y="2646877"/>
                  </a:cubicBezTo>
                  <a:cubicBezTo>
                    <a:pt x="988486" y="2664850"/>
                    <a:pt x="961845" y="2731212"/>
                    <a:pt x="908217" y="2820386"/>
                  </a:cubicBezTo>
                  <a:cubicBezTo>
                    <a:pt x="840749" y="2932372"/>
                    <a:pt x="754944" y="3038482"/>
                    <a:pt x="659798" y="3127310"/>
                  </a:cubicBezTo>
                  <a:cubicBezTo>
                    <a:pt x="602018" y="3181229"/>
                    <a:pt x="478500" y="3286302"/>
                    <a:pt x="300663" y="3383426"/>
                  </a:cubicBezTo>
                  <a:cubicBezTo>
                    <a:pt x="298933" y="3384463"/>
                    <a:pt x="178529" y="3449097"/>
                    <a:pt x="0" y="3495412"/>
                  </a:cubicBezTo>
                  <a:lnTo>
                    <a:pt x="53974" y="3495412"/>
                  </a:lnTo>
                  <a:cubicBezTo>
                    <a:pt x="206208" y="3450479"/>
                    <a:pt x="305853" y="3397251"/>
                    <a:pt x="307583" y="3396214"/>
                  </a:cubicBezTo>
                  <a:cubicBezTo>
                    <a:pt x="486804" y="3298400"/>
                    <a:pt x="611360" y="3192635"/>
                    <a:pt x="669831" y="3138025"/>
                  </a:cubicBezTo>
                  <a:cubicBezTo>
                    <a:pt x="767054" y="3047123"/>
                    <a:pt x="851475" y="2942741"/>
                    <a:pt x="920672" y="2827990"/>
                  </a:cubicBezTo>
                  <a:cubicBezTo>
                    <a:pt x="975338" y="2737433"/>
                    <a:pt x="1002325" y="2669689"/>
                    <a:pt x="1007861" y="2651024"/>
                  </a:cubicBezTo>
                  <a:cubicBezTo>
                    <a:pt x="1059759" y="2484428"/>
                    <a:pt x="1104392" y="2333385"/>
                    <a:pt x="1122037" y="2172319"/>
                  </a:cubicBezTo>
                  <a:cubicBezTo>
                    <a:pt x="1129302" y="2106994"/>
                    <a:pt x="1134838" y="2041669"/>
                    <a:pt x="1138298" y="1978418"/>
                  </a:cubicBezTo>
                  <a:cubicBezTo>
                    <a:pt x="1141758" y="1916549"/>
                    <a:pt x="1143142" y="1854334"/>
                    <a:pt x="1143488" y="1801452"/>
                  </a:cubicBezTo>
                  <a:lnTo>
                    <a:pt x="1143488" y="1778640"/>
                  </a:lnTo>
                  <a:cubicBezTo>
                    <a:pt x="1145218" y="1650064"/>
                    <a:pt x="1146948" y="1517340"/>
                    <a:pt x="1170129" y="1387035"/>
                  </a:cubicBezTo>
                  <a:cubicBezTo>
                    <a:pt x="1197462" y="1232536"/>
                    <a:pt x="1249360" y="1081148"/>
                    <a:pt x="1323401" y="937363"/>
                  </a:cubicBezTo>
                  <a:cubicBezTo>
                    <a:pt x="1408168" y="773532"/>
                    <a:pt x="1518192" y="624909"/>
                    <a:pt x="1650706" y="495641"/>
                  </a:cubicBezTo>
                  <a:cubicBezTo>
                    <a:pt x="1722325" y="425823"/>
                    <a:pt x="1799826" y="362226"/>
                    <a:pt x="1881479" y="306924"/>
                  </a:cubicBezTo>
                  <a:cubicBezTo>
                    <a:pt x="1988389" y="234341"/>
                    <a:pt x="2104295" y="173855"/>
                    <a:pt x="2225390" y="127194"/>
                  </a:cubicBezTo>
                  <a:cubicBezTo>
                    <a:pt x="2293550" y="100926"/>
                    <a:pt x="2364131" y="78805"/>
                    <a:pt x="2435405" y="61523"/>
                  </a:cubicBezTo>
                  <a:cubicBezTo>
                    <a:pt x="2557538" y="31798"/>
                    <a:pt x="2682094" y="15899"/>
                    <a:pt x="2805265" y="13825"/>
                  </a:cubicBezTo>
                  <a:cubicBezTo>
                    <a:pt x="2878960" y="12789"/>
                    <a:pt x="2953694" y="16245"/>
                    <a:pt x="3027735" y="24540"/>
                  </a:cubicBezTo>
                  <a:cubicBezTo>
                    <a:pt x="3162324" y="39748"/>
                    <a:pt x="3295183" y="71547"/>
                    <a:pt x="3422506" y="118899"/>
                  </a:cubicBezTo>
                  <a:cubicBezTo>
                    <a:pt x="3680267" y="214985"/>
                    <a:pt x="3913462" y="374669"/>
                    <a:pt x="4096836" y="580322"/>
                  </a:cubicBezTo>
                  <a:cubicBezTo>
                    <a:pt x="4136278" y="624563"/>
                    <a:pt x="4173991" y="671570"/>
                    <a:pt x="4208590" y="719613"/>
                  </a:cubicBezTo>
                  <a:cubicBezTo>
                    <a:pt x="4290589" y="833327"/>
                    <a:pt x="4356672" y="951189"/>
                    <a:pt x="4405111" y="1070433"/>
                  </a:cubicBezTo>
                  <a:cubicBezTo>
                    <a:pt x="4415490" y="1096010"/>
                    <a:pt x="4424486" y="1120896"/>
                    <a:pt x="4432790" y="1145436"/>
                  </a:cubicBezTo>
                  <a:cubicBezTo>
                    <a:pt x="4434519" y="1135413"/>
                    <a:pt x="4435903" y="1125735"/>
                    <a:pt x="4437979" y="1115711"/>
                  </a:cubicBezTo>
                  <a:cubicBezTo>
                    <a:pt x="4431751" y="1099121"/>
                    <a:pt x="4425524" y="1082185"/>
                    <a:pt x="4418604" y="1064903"/>
                  </a:cubicBezTo>
                  <a:cubicBezTo>
                    <a:pt x="4369820" y="944622"/>
                    <a:pt x="4303044" y="825378"/>
                    <a:pt x="4220353" y="710972"/>
                  </a:cubicBezTo>
                  <a:close/>
                </a:path>
              </a:pathLst>
            </a:custGeom>
            <a:grpFill/>
            <a:ln w="34574" cap="flat">
              <a:noFill/>
              <a:prstDash val="solid"/>
              <a:miter/>
            </a:ln>
          </p:spPr>
          <p:txBody>
            <a:bodyPr rtlCol="0" anchor="ctr"/>
            <a:lstStyle/>
            <a:p>
              <a:endParaRPr lang="en-US"/>
            </a:p>
          </p:txBody>
        </p:sp>
        <p:sp>
          <p:nvSpPr>
            <p:cNvPr id="41" name="Freeform 40">
              <a:extLst>
                <a:ext uri="{FF2B5EF4-FFF2-40B4-BE49-F238E27FC236}">
                  <a16:creationId xmlns:a16="http://schemas.microsoft.com/office/drawing/2014/main" id="{1C52233F-D030-1E0A-76D3-C550819C9B99}"/>
                </a:ext>
              </a:extLst>
            </p:cNvPr>
            <p:cNvSpPr/>
            <p:nvPr/>
          </p:nvSpPr>
          <p:spPr>
            <a:xfrm>
              <a:off x="-2218953" y="-680001"/>
              <a:ext cx="4266369" cy="3448059"/>
            </a:xfrm>
            <a:custGeom>
              <a:avLst/>
              <a:gdLst>
                <a:gd name="connsiteX0" fmla="*/ 4059469 w 4266369"/>
                <a:gd name="connsiteY0" fmla="*/ 735512 h 3448059"/>
                <a:gd name="connsiteX1" fmla="*/ 3950829 w 4266369"/>
                <a:gd name="connsiteY1" fmla="*/ 592419 h 3448059"/>
                <a:gd name="connsiteX2" fmla="*/ 3283074 w 4266369"/>
                <a:gd name="connsiteY2" fmla="*/ 114060 h 3448059"/>
                <a:gd name="connsiteX3" fmla="*/ 2887956 w 4266369"/>
                <a:gd name="connsiteY3" fmla="*/ 13480 h 3448059"/>
                <a:gd name="connsiteX4" fmla="*/ 2676558 w 4266369"/>
                <a:gd name="connsiteY4" fmla="*/ 0 h 3448059"/>
                <a:gd name="connsiteX5" fmla="*/ 2664794 w 4266369"/>
                <a:gd name="connsiteY5" fmla="*/ 0 h 3448059"/>
                <a:gd name="connsiteX6" fmla="*/ 2293204 w 4266369"/>
                <a:gd name="connsiteY6" fmla="*/ 45624 h 3448059"/>
                <a:gd name="connsiteX7" fmla="*/ 2082152 w 4266369"/>
                <a:gd name="connsiteY7" fmla="*/ 110603 h 3448059"/>
                <a:gd name="connsiteX8" fmla="*/ 1736856 w 4266369"/>
                <a:gd name="connsiteY8" fmla="*/ 291025 h 3448059"/>
                <a:gd name="connsiteX9" fmla="*/ 1506083 w 4266369"/>
                <a:gd name="connsiteY9" fmla="*/ 481470 h 3448059"/>
                <a:gd name="connsiteX10" fmla="*/ 1181893 w 4266369"/>
                <a:gd name="connsiteY10" fmla="*/ 928031 h 3448059"/>
                <a:gd name="connsiteX11" fmla="*/ 1034848 w 4266369"/>
                <a:gd name="connsiteY11" fmla="*/ 1382542 h 3448059"/>
                <a:gd name="connsiteX12" fmla="*/ 1016857 w 4266369"/>
                <a:gd name="connsiteY12" fmla="*/ 1754446 h 3448059"/>
                <a:gd name="connsiteX13" fmla="*/ 1016857 w 4266369"/>
                <a:gd name="connsiteY13" fmla="*/ 1798342 h 3448059"/>
                <a:gd name="connsiteX14" fmla="*/ 1013397 w 4266369"/>
                <a:gd name="connsiteY14" fmla="*/ 1973924 h 3448059"/>
                <a:gd name="connsiteX15" fmla="*/ 996443 w 4266369"/>
                <a:gd name="connsiteY15" fmla="*/ 2165752 h 3448059"/>
                <a:gd name="connsiteX16" fmla="*/ 887457 w 4266369"/>
                <a:gd name="connsiteY16" fmla="*/ 2589156 h 3448059"/>
                <a:gd name="connsiteX17" fmla="*/ 871542 w 4266369"/>
                <a:gd name="connsiteY17" fmla="*/ 2637545 h 3448059"/>
                <a:gd name="connsiteX18" fmla="*/ 785045 w 4266369"/>
                <a:gd name="connsiteY18" fmla="*/ 2805178 h 3448059"/>
                <a:gd name="connsiteX19" fmla="*/ 524517 w 4266369"/>
                <a:gd name="connsiteY19" fmla="*/ 3122471 h 3448059"/>
                <a:gd name="connsiteX20" fmla="*/ 157424 w 4266369"/>
                <a:gd name="connsiteY20" fmla="*/ 3380661 h 3448059"/>
                <a:gd name="connsiteX21" fmla="*/ 0 w 4266369"/>
                <a:gd name="connsiteY21" fmla="*/ 3448060 h 3448059"/>
                <a:gd name="connsiteX22" fmla="*/ 41172 w 4266369"/>
                <a:gd name="connsiteY22" fmla="*/ 3448060 h 3448059"/>
                <a:gd name="connsiteX23" fmla="*/ 164344 w 4266369"/>
                <a:gd name="connsiteY23" fmla="*/ 3393449 h 3448059"/>
                <a:gd name="connsiteX24" fmla="*/ 534550 w 4266369"/>
                <a:gd name="connsiteY24" fmla="*/ 3132840 h 3448059"/>
                <a:gd name="connsiteX25" fmla="*/ 797501 w 4266369"/>
                <a:gd name="connsiteY25" fmla="*/ 2812782 h 3448059"/>
                <a:gd name="connsiteX26" fmla="*/ 885727 w 4266369"/>
                <a:gd name="connsiteY26" fmla="*/ 2641692 h 3448059"/>
                <a:gd name="connsiteX27" fmla="*/ 901643 w 4266369"/>
                <a:gd name="connsiteY27" fmla="*/ 2593303 h 3448059"/>
                <a:gd name="connsiteX28" fmla="*/ 1011321 w 4266369"/>
                <a:gd name="connsiteY28" fmla="*/ 2167135 h 3448059"/>
                <a:gd name="connsiteX29" fmla="*/ 1028620 w 4266369"/>
                <a:gd name="connsiteY29" fmla="*/ 1974270 h 3448059"/>
                <a:gd name="connsiteX30" fmla="*/ 1032080 w 4266369"/>
                <a:gd name="connsiteY30" fmla="*/ 1797996 h 3448059"/>
                <a:gd name="connsiteX31" fmla="*/ 1032080 w 4266369"/>
                <a:gd name="connsiteY31" fmla="*/ 1754100 h 3448059"/>
                <a:gd name="connsiteX32" fmla="*/ 1050071 w 4266369"/>
                <a:gd name="connsiteY32" fmla="*/ 1384270 h 3448059"/>
                <a:gd name="connsiteX33" fmla="*/ 1195732 w 4266369"/>
                <a:gd name="connsiteY33" fmla="*/ 933907 h 3448059"/>
                <a:gd name="connsiteX34" fmla="*/ 1517154 w 4266369"/>
                <a:gd name="connsiteY34" fmla="*/ 491148 h 3448059"/>
                <a:gd name="connsiteX35" fmla="*/ 1745852 w 4266369"/>
                <a:gd name="connsiteY35" fmla="*/ 302085 h 3448059"/>
                <a:gd name="connsiteX36" fmla="*/ 2088379 w 4266369"/>
                <a:gd name="connsiteY36" fmla="*/ 123392 h 3448059"/>
                <a:gd name="connsiteX37" fmla="*/ 2297356 w 4266369"/>
                <a:gd name="connsiteY37" fmla="*/ 58758 h 3448059"/>
                <a:gd name="connsiteX38" fmla="*/ 2665832 w 4266369"/>
                <a:gd name="connsiteY38" fmla="*/ 13825 h 3448059"/>
                <a:gd name="connsiteX39" fmla="*/ 2887264 w 4266369"/>
                <a:gd name="connsiteY39" fmla="*/ 26960 h 3448059"/>
                <a:gd name="connsiteX40" fmla="*/ 3278922 w 4266369"/>
                <a:gd name="connsiteY40" fmla="*/ 126848 h 3448059"/>
                <a:gd name="connsiteX41" fmla="*/ 3940795 w 4266369"/>
                <a:gd name="connsiteY41" fmla="*/ 601060 h 3448059"/>
                <a:gd name="connsiteX42" fmla="*/ 4048397 w 4266369"/>
                <a:gd name="connsiteY42" fmla="*/ 743116 h 3448059"/>
                <a:gd name="connsiteX43" fmla="*/ 4233847 w 4266369"/>
                <a:gd name="connsiteY43" fmla="*/ 1099467 h 3448059"/>
                <a:gd name="connsiteX44" fmla="*/ 4261871 w 4266369"/>
                <a:gd name="connsiteY44" fmla="*/ 1186221 h 3448059"/>
                <a:gd name="connsiteX45" fmla="*/ 4266369 w 4266369"/>
                <a:gd name="connsiteY45" fmla="*/ 1149929 h 3448059"/>
                <a:gd name="connsiteX46" fmla="*/ 4247340 w 4266369"/>
                <a:gd name="connsiteY46" fmla="*/ 1094628 h 3448059"/>
                <a:gd name="connsiteX47" fmla="*/ 4060507 w 4266369"/>
                <a:gd name="connsiteY47" fmla="*/ 735167 h 3448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4266369" h="3448059">
                  <a:moveTo>
                    <a:pt x="4059469" y="735512"/>
                  </a:moveTo>
                  <a:cubicBezTo>
                    <a:pt x="4026254" y="686086"/>
                    <a:pt x="3989580" y="638043"/>
                    <a:pt x="3950829" y="592419"/>
                  </a:cubicBezTo>
                  <a:cubicBezTo>
                    <a:pt x="3771954" y="380545"/>
                    <a:pt x="3540834" y="215331"/>
                    <a:pt x="3283074" y="114060"/>
                  </a:cubicBezTo>
                  <a:cubicBezTo>
                    <a:pt x="3155750" y="64288"/>
                    <a:pt x="3022891" y="30416"/>
                    <a:pt x="2887956" y="13480"/>
                  </a:cubicBezTo>
                  <a:cubicBezTo>
                    <a:pt x="2817721" y="4839"/>
                    <a:pt x="2746793" y="346"/>
                    <a:pt x="2676558" y="0"/>
                  </a:cubicBezTo>
                  <a:cubicBezTo>
                    <a:pt x="2672752" y="0"/>
                    <a:pt x="2668600" y="0"/>
                    <a:pt x="2664794" y="0"/>
                  </a:cubicBezTo>
                  <a:cubicBezTo>
                    <a:pt x="2541277" y="691"/>
                    <a:pt x="2416029" y="16245"/>
                    <a:pt x="2293204" y="45624"/>
                  </a:cubicBezTo>
                  <a:cubicBezTo>
                    <a:pt x="2221931" y="62560"/>
                    <a:pt x="2151003" y="84681"/>
                    <a:pt x="2082152" y="110603"/>
                  </a:cubicBezTo>
                  <a:cubicBezTo>
                    <a:pt x="1960018" y="157264"/>
                    <a:pt x="1843766" y="218096"/>
                    <a:pt x="1736856" y="291025"/>
                  </a:cubicBezTo>
                  <a:cubicBezTo>
                    <a:pt x="1655203" y="346672"/>
                    <a:pt x="1577356" y="410961"/>
                    <a:pt x="1506083" y="481470"/>
                  </a:cubicBezTo>
                  <a:cubicBezTo>
                    <a:pt x="1373916" y="612466"/>
                    <a:pt x="1264583" y="762472"/>
                    <a:pt x="1181893" y="928031"/>
                  </a:cubicBezTo>
                  <a:cubicBezTo>
                    <a:pt x="1108889" y="1073890"/>
                    <a:pt x="1059413" y="1227006"/>
                    <a:pt x="1034848" y="1382542"/>
                  </a:cubicBezTo>
                  <a:cubicBezTo>
                    <a:pt x="1015127" y="1507316"/>
                    <a:pt x="1015819" y="1632782"/>
                    <a:pt x="1016857" y="1754446"/>
                  </a:cubicBezTo>
                  <a:cubicBezTo>
                    <a:pt x="1016857" y="1768962"/>
                    <a:pt x="1016857" y="1783825"/>
                    <a:pt x="1016857" y="1798342"/>
                  </a:cubicBezTo>
                  <a:cubicBezTo>
                    <a:pt x="1016857" y="1850187"/>
                    <a:pt x="1016857" y="1911364"/>
                    <a:pt x="1013397" y="1973924"/>
                  </a:cubicBezTo>
                  <a:cubicBezTo>
                    <a:pt x="1009937" y="2037521"/>
                    <a:pt x="1004401" y="2102155"/>
                    <a:pt x="996443" y="2165752"/>
                  </a:cubicBezTo>
                  <a:cubicBezTo>
                    <a:pt x="978106" y="2311610"/>
                    <a:pt x="932090" y="2452630"/>
                    <a:pt x="887457" y="2589156"/>
                  </a:cubicBezTo>
                  <a:cubicBezTo>
                    <a:pt x="882268" y="2605400"/>
                    <a:pt x="876732" y="2621300"/>
                    <a:pt x="871542" y="2637545"/>
                  </a:cubicBezTo>
                  <a:cubicBezTo>
                    <a:pt x="867736" y="2648951"/>
                    <a:pt x="840749" y="2714967"/>
                    <a:pt x="785045" y="2805178"/>
                  </a:cubicBezTo>
                  <a:cubicBezTo>
                    <a:pt x="735223" y="2885711"/>
                    <a:pt x="649764" y="3005992"/>
                    <a:pt x="524517" y="3122471"/>
                  </a:cubicBezTo>
                  <a:cubicBezTo>
                    <a:pt x="425218" y="3214410"/>
                    <a:pt x="294781" y="3306349"/>
                    <a:pt x="157424" y="3380661"/>
                  </a:cubicBezTo>
                  <a:cubicBezTo>
                    <a:pt x="156040" y="3381352"/>
                    <a:pt x="96530" y="3413151"/>
                    <a:pt x="0" y="3448060"/>
                  </a:cubicBezTo>
                  <a:lnTo>
                    <a:pt x="41172" y="3448060"/>
                  </a:lnTo>
                  <a:cubicBezTo>
                    <a:pt x="117636" y="3418335"/>
                    <a:pt x="163306" y="3394141"/>
                    <a:pt x="164344" y="3393449"/>
                  </a:cubicBezTo>
                  <a:cubicBezTo>
                    <a:pt x="303085" y="3318446"/>
                    <a:pt x="434560" y="3225816"/>
                    <a:pt x="534550" y="3132840"/>
                  </a:cubicBezTo>
                  <a:cubicBezTo>
                    <a:pt x="660836" y="3015324"/>
                    <a:pt x="747333" y="2894006"/>
                    <a:pt x="797501" y="2812782"/>
                  </a:cubicBezTo>
                  <a:cubicBezTo>
                    <a:pt x="853897" y="2721188"/>
                    <a:pt x="881922" y="2653789"/>
                    <a:pt x="885727" y="2641692"/>
                  </a:cubicBezTo>
                  <a:cubicBezTo>
                    <a:pt x="890917" y="2625447"/>
                    <a:pt x="896107" y="2609202"/>
                    <a:pt x="901643" y="2593303"/>
                  </a:cubicBezTo>
                  <a:cubicBezTo>
                    <a:pt x="946621" y="2456086"/>
                    <a:pt x="992983" y="2314375"/>
                    <a:pt x="1011321" y="2167135"/>
                  </a:cubicBezTo>
                  <a:cubicBezTo>
                    <a:pt x="1019279" y="2102846"/>
                    <a:pt x="1025160" y="2037867"/>
                    <a:pt x="1028620" y="1974270"/>
                  </a:cubicBezTo>
                  <a:cubicBezTo>
                    <a:pt x="1032080" y="1911364"/>
                    <a:pt x="1032080" y="1849841"/>
                    <a:pt x="1032080" y="1797996"/>
                  </a:cubicBezTo>
                  <a:cubicBezTo>
                    <a:pt x="1032080" y="1783479"/>
                    <a:pt x="1032080" y="1768617"/>
                    <a:pt x="1032080" y="1754100"/>
                  </a:cubicBezTo>
                  <a:cubicBezTo>
                    <a:pt x="1031388" y="1633128"/>
                    <a:pt x="1030696" y="1508008"/>
                    <a:pt x="1050071" y="1384270"/>
                  </a:cubicBezTo>
                  <a:cubicBezTo>
                    <a:pt x="1074290" y="1230117"/>
                    <a:pt x="1123421" y="1078728"/>
                    <a:pt x="1195732" y="933907"/>
                  </a:cubicBezTo>
                  <a:cubicBezTo>
                    <a:pt x="1278077" y="769730"/>
                    <a:pt x="1386025" y="620761"/>
                    <a:pt x="1517154" y="491148"/>
                  </a:cubicBezTo>
                  <a:cubicBezTo>
                    <a:pt x="1588082" y="420984"/>
                    <a:pt x="1664891" y="357387"/>
                    <a:pt x="1745852" y="302085"/>
                  </a:cubicBezTo>
                  <a:cubicBezTo>
                    <a:pt x="1852070" y="229502"/>
                    <a:pt x="1967284" y="169361"/>
                    <a:pt x="2088379" y="123392"/>
                  </a:cubicBezTo>
                  <a:cubicBezTo>
                    <a:pt x="2156193" y="97469"/>
                    <a:pt x="2226774" y="75694"/>
                    <a:pt x="2297356" y="58758"/>
                  </a:cubicBezTo>
                  <a:cubicBezTo>
                    <a:pt x="2419143" y="29725"/>
                    <a:pt x="2543007" y="14517"/>
                    <a:pt x="2665832" y="13825"/>
                  </a:cubicBezTo>
                  <a:cubicBezTo>
                    <a:pt x="2739181" y="13480"/>
                    <a:pt x="2813569" y="17627"/>
                    <a:pt x="2887264" y="26960"/>
                  </a:cubicBezTo>
                  <a:cubicBezTo>
                    <a:pt x="3021161" y="43896"/>
                    <a:pt x="3152982" y="77422"/>
                    <a:pt x="3278922" y="126848"/>
                  </a:cubicBezTo>
                  <a:cubicBezTo>
                    <a:pt x="3534606" y="227083"/>
                    <a:pt x="3763304" y="390914"/>
                    <a:pt x="3940795" y="601060"/>
                  </a:cubicBezTo>
                  <a:cubicBezTo>
                    <a:pt x="3979200" y="646338"/>
                    <a:pt x="4015183" y="694036"/>
                    <a:pt x="4048397" y="743116"/>
                  </a:cubicBezTo>
                  <a:cubicBezTo>
                    <a:pt x="4127282" y="859596"/>
                    <a:pt x="4189560" y="979185"/>
                    <a:pt x="4233847" y="1099467"/>
                  </a:cubicBezTo>
                  <a:cubicBezTo>
                    <a:pt x="4244572" y="1128846"/>
                    <a:pt x="4253568" y="1157533"/>
                    <a:pt x="4261871" y="1186221"/>
                  </a:cubicBezTo>
                  <a:cubicBezTo>
                    <a:pt x="4263256" y="1174124"/>
                    <a:pt x="4264639" y="1162027"/>
                    <a:pt x="4266369" y="1149929"/>
                  </a:cubicBezTo>
                  <a:cubicBezTo>
                    <a:pt x="4260488" y="1131611"/>
                    <a:pt x="4254260" y="1113292"/>
                    <a:pt x="4247340" y="1094628"/>
                  </a:cubicBezTo>
                  <a:cubicBezTo>
                    <a:pt x="4202708" y="973310"/>
                    <a:pt x="4139738" y="852337"/>
                    <a:pt x="4060507" y="735167"/>
                  </a:cubicBezTo>
                  <a:close/>
                </a:path>
              </a:pathLst>
            </a:custGeom>
            <a:grpFill/>
            <a:ln w="34574" cap="flat">
              <a:noFill/>
              <a:prstDash val="solid"/>
              <a:miter/>
            </a:ln>
          </p:spPr>
          <p:txBody>
            <a:bodyPr rtlCol="0" anchor="ctr"/>
            <a:lstStyle/>
            <a:p>
              <a:endParaRPr lang="en-US"/>
            </a:p>
          </p:txBody>
        </p:sp>
        <p:sp>
          <p:nvSpPr>
            <p:cNvPr id="42" name="Freeform 41">
              <a:extLst>
                <a:ext uri="{FF2B5EF4-FFF2-40B4-BE49-F238E27FC236}">
                  <a16:creationId xmlns:a16="http://schemas.microsoft.com/office/drawing/2014/main" id="{C9BEC862-04C7-CBC5-FE23-F5A52C2501AE}"/>
                </a:ext>
              </a:extLst>
            </p:cNvPr>
            <p:cNvSpPr/>
            <p:nvPr/>
          </p:nvSpPr>
          <p:spPr>
            <a:xfrm>
              <a:off x="-2093359" y="-632649"/>
              <a:ext cx="4129012" cy="3402435"/>
            </a:xfrm>
            <a:custGeom>
              <a:avLst/>
              <a:gdLst>
                <a:gd name="connsiteX0" fmla="*/ 3932492 w 4129012"/>
                <a:gd name="connsiteY0" fmla="*/ 758670 h 3402435"/>
                <a:gd name="connsiteX1" fmla="*/ 3828004 w 4129012"/>
                <a:gd name="connsiteY1" fmla="*/ 612812 h 3402435"/>
                <a:gd name="connsiteX2" fmla="*/ 3172704 w 4129012"/>
                <a:gd name="connsiteY2" fmla="*/ 121664 h 3402435"/>
                <a:gd name="connsiteX3" fmla="*/ 2780354 w 4129012"/>
                <a:gd name="connsiteY3" fmla="*/ 15554 h 3402435"/>
                <a:gd name="connsiteX4" fmla="*/ 2558230 w 4129012"/>
                <a:gd name="connsiteY4" fmla="*/ 0 h 3402435"/>
                <a:gd name="connsiteX5" fmla="*/ 2554770 w 4129012"/>
                <a:gd name="connsiteY5" fmla="*/ 0 h 3402435"/>
                <a:gd name="connsiteX6" fmla="*/ 2188024 w 4129012"/>
                <a:gd name="connsiteY6" fmla="*/ 42859 h 3402435"/>
                <a:gd name="connsiteX7" fmla="*/ 1978009 w 4129012"/>
                <a:gd name="connsiteY7" fmla="*/ 107147 h 3402435"/>
                <a:gd name="connsiteX8" fmla="*/ 1634444 w 4129012"/>
                <a:gd name="connsiteY8" fmla="*/ 286877 h 3402435"/>
                <a:gd name="connsiteX9" fmla="*/ 1405401 w 4129012"/>
                <a:gd name="connsiteY9" fmla="*/ 477668 h 3402435"/>
                <a:gd name="connsiteX10" fmla="*/ 1086746 w 4129012"/>
                <a:gd name="connsiteY10" fmla="*/ 925266 h 3402435"/>
                <a:gd name="connsiteX11" fmla="*/ 947313 w 4129012"/>
                <a:gd name="connsiteY11" fmla="*/ 1380468 h 3402435"/>
                <a:gd name="connsiteX12" fmla="*/ 936934 w 4129012"/>
                <a:gd name="connsiteY12" fmla="*/ 1734399 h 3402435"/>
                <a:gd name="connsiteX13" fmla="*/ 938318 w 4129012"/>
                <a:gd name="connsiteY13" fmla="*/ 1795576 h 3402435"/>
                <a:gd name="connsiteX14" fmla="*/ 936934 w 4129012"/>
                <a:gd name="connsiteY14" fmla="*/ 1970468 h 3402435"/>
                <a:gd name="connsiteX15" fmla="*/ 928630 w 4129012"/>
                <a:gd name="connsiteY15" fmla="*/ 2077961 h 3402435"/>
                <a:gd name="connsiteX16" fmla="*/ 928630 w 4129012"/>
                <a:gd name="connsiteY16" fmla="*/ 2077961 h 3402435"/>
                <a:gd name="connsiteX17" fmla="*/ 926554 w 4129012"/>
                <a:gd name="connsiteY17" fmla="*/ 2094551 h 3402435"/>
                <a:gd name="connsiteX18" fmla="*/ 918596 w 4129012"/>
                <a:gd name="connsiteY18" fmla="*/ 2161604 h 3402435"/>
                <a:gd name="connsiteX19" fmla="*/ 918596 w 4129012"/>
                <a:gd name="connsiteY19" fmla="*/ 2162641 h 3402435"/>
                <a:gd name="connsiteX20" fmla="*/ 913060 w 4129012"/>
                <a:gd name="connsiteY20" fmla="*/ 2196168 h 3402435"/>
                <a:gd name="connsiteX21" fmla="*/ 901989 w 4129012"/>
                <a:gd name="connsiteY21" fmla="*/ 2252507 h 3402435"/>
                <a:gd name="connsiteX22" fmla="*/ 895415 w 4129012"/>
                <a:gd name="connsiteY22" fmla="*/ 2279466 h 3402435"/>
                <a:gd name="connsiteX23" fmla="*/ 881922 w 4129012"/>
                <a:gd name="connsiteY23" fmla="*/ 2330966 h 3402435"/>
                <a:gd name="connsiteX24" fmla="*/ 875348 w 4129012"/>
                <a:gd name="connsiteY24" fmla="*/ 2354815 h 3402435"/>
                <a:gd name="connsiteX25" fmla="*/ 860124 w 4129012"/>
                <a:gd name="connsiteY25" fmla="*/ 2404586 h 3402435"/>
                <a:gd name="connsiteX26" fmla="*/ 853205 w 4129012"/>
                <a:gd name="connsiteY26" fmla="*/ 2425670 h 3402435"/>
                <a:gd name="connsiteX27" fmla="*/ 836597 w 4129012"/>
                <a:gd name="connsiteY27" fmla="*/ 2475441 h 3402435"/>
                <a:gd name="connsiteX28" fmla="*/ 829678 w 4129012"/>
                <a:gd name="connsiteY28" fmla="*/ 2495488 h 3402435"/>
                <a:gd name="connsiteX29" fmla="*/ 814800 w 4129012"/>
                <a:gd name="connsiteY29" fmla="*/ 2538001 h 3402435"/>
                <a:gd name="connsiteX30" fmla="*/ 812032 w 4129012"/>
                <a:gd name="connsiteY30" fmla="*/ 2545951 h 3402435"/>
                <a:gd name="connsiteX31" fmla="*/ 805458 w 4129012"/>
                <a:gd name="connsiteY31" fmla="*/ 2565307 h 3402435"/>
                <a:gd name="connsiteX32" fmla="*/ 785045 w 4129012"/>
                <a:gd name="connsiteY32" fmla="*/ 2624756 h 3402435"/>
                <a:gd name="connsiteX33" fmla="*/ 783315 w 4129012"/>
                <a:gd name="connsiteY33" fmla="*/ 2629595 h 3402435"/>
                <a:gd name="connsiteX34" fmla="*/ 780893 w 4129012"/>
                <a:gd name="connsiteY34" fmla="*/ 2635471 h 3402435"/>
                <a:gd name="connsiteX35" fmla="*/ 780893 w 4129012"/>
                <a:gd name="connsiteY35" fmla="*/ 2635471 h 3402435"/>
                <a:gd name="connsiteX36" fmla="*/ 423488 w 4129012"/>
                <a:gd name="connsiteY36" fmla="*/ 3119015 h 3402435"/>
                <a:gd name="connsiteX37" fmla="*/ 48092 w 4129012"/>
                <a:gd name="connsiteY37" fmla="*/ 3379624 h 3402435"/>
                <a:gd name="connsiteX38" fmla="*/ 0 w 4129012"/>
                <a:gd name="connsiteY38" fmla="*/ 3402436 h 3402435"/>
                <a:gd name="connsiteX39" fmla="*/ 34599 w 4129012"/>
                <a:gd name="connsiteY39" fmla="*/ 3402436 h 3402435"/>
                <a:gd name="connsiteX40" fmla="*/ 54666 w 4129012"/>
                <a:gd name="connsiteY40" fmla="*/ 3392412 h 3402435"/>
                <a:gd name="connsiteX41" fmla="*/ 432830 w 4129012"/>
                <a:gd name="connsiteY41" fmla="*/ 3129384 h 3402435"/>
                <a:gd name="connsiteX42" fmla="*/ 758750 w 4129012"/>
                <a:gd name="connsiteY42" fmla="*/ 2711511 h 3402435"/>
                <a:gd name="connsiteX43" fmla="*/ 763940 w 4129012"/>
                <a:gd name="connsiteY43" fmla="*/ 2701833 h 3402435"/>
                <a:gd name="connsiteX44" fmla="*/ 789197 w 4129012"/>
                <a:gd name="connsiteY44" fmla="*/ 2651024 h 3402435"/>
                <a:gd name="connsiteX45" fmla="*/ 789197 w 4129012"/>
                <a:gd name="connsiteY45" fmla="*/ 2651024 h 3402435"/>
                <a:gd name="connsiteX46" fmla="*/ 796463 w 4129012"/>
                <a:gd name="connsiteY46" fmla="*/ 2634088 h 3402435"/>
                <a:gd name="connsiteX47" fmla="*/ 796463 w 4129012"/>
                <a:gd name="connsiteY47" fmla="*/ 2633397 h 3402435"/>
                <a:gd name="connsiteX48" fmla="*/ 813762 w 4129012"/>
                <a:gd name="connsiteY48" fmla="*/ 2582934 h 3402435"/>
                <a:gd name="connsiteX49" fmla="*/ 820336 w 4129012"/>
                <a:gd name="connsiteY49" fmla="*/ 2563579 h 3402435"/>
                <a:gd name="connsiteX50" fmla="*/ 827948 w 4129012"/>
                <a:gd name="connsiteY50" fmla="*/ 2541803 h 3402435"/>
                <a:gd name="connsiteX51" fmla="*/ 837635 w 4129012"/>
                <a:gd name="connsiteY51" fmla="*/ 2513807 h 3402435"/>
                <a:gd name="connsiteX52" fmla="*/ 844555 w 4129012"/>
                <a:gd name="connsiteY52" fmla="*/ 2493760 h 3402435"/>
                <a:gd name="connsiteX53" fmla="*/ 861162 w 4129012"/>
                <a:gd name="connsiteY53" fmla="*/ 2445026 h 3402435"/>
                <a:gd name="connsiteX54" fmla="*/ 868082 w 4129012"/>
                <a:gd name="connsiteY54" fmla="*/ 2424287 h 3402435"/>
                <a:gd name="connsiteX55" fmla="*/ 883652 w 4129012"/>
                <a:gd name="connsiteY55" fmla="*/ 2374862 h 3402435"/>
                <a:gd name="connsiteX56" fmla="*/ 890225 w 4129012"/>
                <a:gd name="connsiteY56" fmla="*/ 2353086 h 3402435"/>
                <a:gd name="connsiteX57" fmla="*/ 890225 w 4129012"/>
                <a:gd name="connsiteY57" fmla="*/ 2353086 h 3402435"/>
                <a:gd name="connsiteX58" fmla="*/ 904065 w 4129012"/>
                <a:gd name="connsiteY58" fmla="*/ 2302624 h 3402435"/>
                <a:gd name="connsiteX59" fmla="*/ 910293 w 4129012"/>
                <a:gd name="connsiteY59" fmla="*/ 2277738 h 3402435"/>
                <a:gd name="connsiteX60" fmla="*/ 922056 w 4129012"/>
                <a:gd name="connsiteY60" fmla="*/ 2224165 h 3402435"/>
                <a:gd name="connsiteX61" fmla="*/ 927592 w 4129012"/>
                <a:gd name="connsiteY61" fmla="*/ 2194094 h 3402435"/>
                <a:gd name="connsiteX62" fmla="*/ 932782 w 4129012"/>
                <a:gd name="connsiteY62" fmla="*/ 2162296 h 3402435"/>
                <a:gd name="connsiteX63" fmla="*/ 936242 w 4129012"/>
                <a:gd name="connsiteY63" fmla="*/ 2132917 h 3402435"/>
                <a:gd name="connsiteX64" fmla="*/ 941086 w 4129012"/>
                <a:gd name="connsiteY64" fmla="*/ 2092132 h 3402435"/>
                <a:gd name="connsiteX65" fmla="*/ 941086 w 4129012"/>
                <a:gd name="connsiteY65" fmla="*/ 2091095 h 3402435"/>
                <a:gd name="connsiteX66" fmla="*/ 949043 w 4129012"/>
                <a:gd name="connsiteY66" fmla="*/ 1998119 h 3402435"/>
                <a:gd name="connsiteX67" fmla="*/ 951119 w 4129012"/>
                <a:gd name="connsiteY67" fmla="*/ 1969777 h 3402435"/>
                <a:gd name="connsiteX68" fmla="*/ 952503 w 4129012"/>
                <a:gd name="connsiteY68" fmla="*/ 1794194 h 3402435"/>
                <a:gd name="connsiteX69" fmla="*/ 951119 w 4129012"/>
                <a:gd name="connsiteY69" fmla="*/ 1733016 h 3402435"/>
                <a:gd name="connsiteX70" fmla="*/ 961499 w 4129012"/>
                <a:gd name="connsiteY70" fmla="*/ 1381505 h 3402435"/>
                <a:gd name="connsiteX71" fmla="*/ 1099548 w 4129012"/>
                <a:gd name="connsiteY71" fmla="*/ 930796 h 3402435"/>
                <a:gd name="connsiteX72" fmla="*/ 1415434 w 4129012"/>
                <a:gd name="connsiteY72" fmla="*/ 487000 h 3402435"/>
                <a:gd name="connsiteX73" fmla="*/ 1642056 w 4129012"/>
                <a:gd name="connsiteY73" fmla="*/ 297938 h 3402435"/>
                <a:gd name="connsiteX74" fmla="*/ 1982853 w 4129012"/>
                <a:gd name="connsiteY74" fmla="*/ 119936 h 3402435"/>
                <a:gd name="connsiteX75" fmla="*/ 2191138 w 4129012"/>
                <a:gd name="connsiteY75" fmla="*/ 56339 h 3402435"/>
                <a:gd name="connsiteX76" fmla="*/ 2554424 w 4129012"/>
                <a:gd name="connsiteY76" fmla="*/ 13825 h 3402435"/>
                <a:gd name="connsiteX77" fmla="*/ 2557884 w 4129012"/>
                <a:gd name="connsiteY77" fmla="*/ 13825 h 3402435"/>
                <a:gd name="connsiteX78" fmla="*/ 2777932 w 4129012"/>
                <a:gd name="connsiteY78" fmla="*/ 29379 h 3402435"/>
                <a:gd name="connsiteX79" fmla="*/ 3166822 w 4129012"/>
                <a:gd name="connsiteY79" fmla="*/ 134452 h 3402435"/>
                <a:gd name="connsiteX80" fmla="*/ 3816240 w 4129012"/>
                <a:gd name="connsiteY80" fmla="*/ 621107 h 3402435"/>
                <a:gd name="connsiteX81" fmla="*/ 3919690 w 4129012"/>
                <a:gd name="connsiteY81" fmla="*/ 765583 h 3402435"/>
                <a:gd name="connsiteX82" fmla="*/ 4094068 w 4129012"/>
                <a:gd name="connsiteY82" fmla="*/ 1127463 h 3402435"/>
                <a:gd name="connsiteX83" fmla="*/ 4125899 w 4129012"/>
                <a:gd name="connsiteY83" fmla="*/ 1242214 h 3402435"/>
                <a:gd name="connsiteX84" fmla="*/ 4129013 w 4129012"/>
                <a:gd name="connsiteY84" fmla="*/ 1195553 h 3402435"/>
                <a:gd name="connsiteX85" fmla="*/ 4107561 w 4129012"/>
                <a:gd name="connsiteY85" fmla="*/ 1122970 h 3402435"/>
                <a:gd name="connsiteX86" fmla="*/ 3931800 w 4129012"/>
                <a:gd name="connsiteY86" fmla="*/ 757979 h 3402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4129012" h="3402435">
                  <a:moveTo>
                    <a:pt x="3932492" y="758670"/>
                  </a:moveTo>
                  <a:cubicBezTo>
                    <a:pt x="3900661" y="708553"/>
                    <a:pt x="3865370" y="659473"/>
                    <a:pt x="3828004" y="612812"/>
                  </a:cubicBezTo>
                  <a:cubicBezTo>
                    <a:pt x="3654664" y="396790"/>
                    <a:pt x="3428042" y="227083"/>
                    <a:pt x="3172704" y="121664"/>
                  </a:cubicBezTo>
                  <a:cubicBezTo>
                    <a:pt x="3046764" y="69818"/>
                    <a:pt x="2914597" y="34218"/>
                    <a:pt x="2780354" y="15554"/>
                  </a:cubicBezTo>
                  <a:cubicBezTo>
                    <a:pt x="2706313" y="5530"/>
                    <a:pt x="2631580" y="0"/>
                    <a:pt x="2558230" y="0"/>
                  </a:cubicBezTo>
                  <a:cubicBezTo>
                    <a:pt x="2557192" y="0"/>
                    <a:pt x="2555808" y="0"/>
                    <a:pt x="2554770" y="0"/>
                  </a:cubicBezTo>
                  <a:cubicBezTo>
                    <a:pt x="2432983" y="0"/>
                    <a:pt x="2309465" y="14517"/>
                    <a:pt x="2188024" y="42859"/>
                  </a:cubicBezTo>
                  <a:cubicBezTo>
                    <a:pt x="2117096" y="59449"/>
                    <a:pt x="2046169" y="81224"/>
                    <a:pt x="1978009" y="107147"/>
                  </a:cubicBezTo>
                  <a:cubicBezTo>
                    <a:pt x="1856222" y="153462"/>
                    <a:pt x="1740316" y="213948"/>
                    <a:pt x="1634444" y="286877"/>
                  </a:cubicBezTo>
                  <a:cubicBezTo>
                    <a:pt x="1553483" y="342525"/>
                    <a:pt x="1476328" y="406813"/>
                    <a:pt x="1405401" y="477668"/>
                  </a:cubicBezTo>
                  <a:cubicBezTo>
                    <a:pt x="1274271" y="609010"/>
                    <a:pt x="1167361" y="759707"/>
                    <a:pt x="1086746" y="925266"/>
                  </a:cubicBezTo>
                  <a:cubicBezTo>
                    <a:pt x="1015473" y="1072161"/>
                    <a:pt x="968764" y="1225278"/>
                    <a:pt x="947313" y="1380468"/>
                  </a:cubicBezTo>
                  <a:cubicBezTo>
                    <a:pt x="931052" y="1499367"/>
                    <a:pt x="933820" y="1618957"/>
                    <a:pt x="936934" y="1734399"/>
                  </a:cubicBezTo>
                  <a:cubicBezTo>
                    <a:pt x="937280" y="1754791"/>
                    <a:pt x="937972" y="1775184"/>
                    <a:pt x="938318" y="1795576"/>
                  </a:cubicBezTo>
                  <a:cubicBezTo>
                    <a:pt x="939356" y="1843620"/>
                    <a:pt x="940047" y="1906871"/>
                    <a:pt x="936934" y="1970468"/>
                  </a:cubicBezTo>
                  <a:cubicBezTo>
                    <a:pt x="935204" y="2006414"/>
                    <a:pt x="932436" y="2042014"/>
                    <a:pt x="928630" y="2077961"/>
                  </a:cubicBezTo>
                  <a:lnTo>
                    <a:pt x="928630" y="2077961"/>
                  </a:lnTo>
                  <a:cubicBezTo>
                    <a:pt x="927938" y="2083836"/>
                    <a:pt x="927246" y="2089021"/>
                    <a:pt x="926554" y="2094551"/>
                  </a:cubicBezTo>
                  <a:cubicBezTo>
                    <a:pt x="924132" y="2117017"/>
                    <a:pt x="921710" y="2139484"/>
                    <a:pt x="918596" y="2161604"/>
                  </a:cubicBezTo>
                  <a:cubicBezTo>
                    <a:pt x="918596" y="2161950"/>
                    <a:pt x="918596" y="2162296"/>
                    <a:pt x="918596" y="2162641"/>
                  </a:cubicBezTo>
                  <a:cubicBezTo>
                    <a:pt x="916866" y="2174047"/>
                    <a:pt x="915137" y="2185108"/>
                    <a:pt x="913060" y="2196168"/>
                  </a:cubicBezTo>
                  <a:cubicBezTo>
                    <a:pt x="909601" y="2215178"/>
                    <a:pt x="906141" y="2233842"/>
                    <a:pt x="901989" y="2252507"/>
                  </a:cubicBezTo>
                  <a:cubicBezTo>
                    <a:pt x="899913" y="2261493"/>
                    <a:pt x="897837" y="2270480"/>
                    <a:pt x="895415" y="2279466"/>
                  </a:cubicBezTo>
                  <a:cubicBezTo>
                    <a:pt x="891263" y="2296748"/>
                    <a:pt x="886765" y="2313684"/>
                    <a:pt x="881922" y="2330966"/>
                  </a:cubicBezTo>
                  <a:cubicBezTo>
                    <a:pt x="879846" y="2338916"/>
                    <a:pt x="877424" y="2346865"/>
                    <a:pt x="875348" y="2354815"/>
                  </a:cubicBezTo>
                  <a:cubicBezTo>
                    <a:pt x="870504" y="2371405"/>
                    <a:pt x="865314" y="2387996"/>
                    <a:pt x="860124" y="2404586"/>
                  </a:cubicBezTo>
                  <a:cubicBezTo>
                    <a:pt x="857703" y="2411845"/>
                    <a:pt x="855627" y="2418757"/>
                    <a:pt x="853205" y="2425670"/>
                  </a:cubicBezTo>
                  <a:cubicBezTo>
                    <a:pt x="847669" y="2442261"/>
                    <a:pt x="842133" y="2458851"/>
                    <a:pt x="836597" y="2475441"/>
                  </a:cubicBezTo>
                  <a:cubicBezTo>
                    <a:pt x="834175" y="2482009"/>
                    <a:pt x="832100" y="2488921"/>
                    <a:pt x="829678" y="2495488"/>
                  </a:cubicBezTo>
                  <a:cubicBezTo>
                    <a:pt x="824834" y="2509659"/>
                    <a:pt x="819990" y="2523831"/>
                    <a:pt x="814800" y="2538001"/>
                  </a:cubicBezTo>
                  <a:cubicBezTo>
                    <a:pt x="813762" y="2540767"/>
                    <a:pt x="813070" y="2543532"/>
                    <a:pt x="812032" y="2545951"/>
                  </a:cubicBezTo>
                  <a:cubicBezTo>
                    <a:pt x="809956" y="2552173"/>
                    <a:pt x="807535" y="2558740"/>
                    <a:pt x="805458" y="2565307"/>
                  </a:cubicBezTo>
                  <a:cubicBezTo>
                    <a:pt x="798539" y="2585008"/>
                    <a:pt x="791619" y="2604709"/>
                    <a:pt x="785045" y="2624756"/>
                  </a:cubicBezTo>
                  <a:cubicBezTo>
                    <a:pt x="784353" y="2626484"/>
                    <a:pt x="784007" y="2628212"/>
                    <a:pt x="783315" y="2629595"/>
                  </a:cubicBezTo>
                  <a:cubicBezTo>
                    <a:pt x="783315" y="2629595"/>
                    <a:pt x="782277" y="2632360"/>
                    <a:pt x="780893" y="2635471"/>
                  </a:cubicBezTo>
                  <a:lnTo>
                    <a:pt x="780893" y="2635471"/>
                  </a:lnTo>
                  <a:cubicBezTo>
                    <a:pt x="764632" y="2673145"/>
                    <a:pt x="660144" y="2900573"/>
                    <a:pt x="423488" y="3119015"/>
                  </a:cubicBezTo>
                  <a:cubicBezTo>
                    <a:pt x="323844" y="3211299"/>
                    <a:pt x="193753" y="3301510"/>
                    <a:pt x="48092" y="3379624"/>
                  </a:cubicBezTo>
                  <a:cubicBezTo>
                    <a:pt x="47746" y="3379624"/>
                    <a:pt x="30101" y="3388956"/>
                    <a:pt x="0" y="3402436"/>
                  </a:cubicBezTo>
                  <a:lnTo>
                    <a:pt x="34599" y="3402436"/>
                  </a:lnTo>
                  <a:cubicBezTo>
                    <a:pt x="47054" y="3396560"/>
                    <a:pt x="54666" y="3392412"/>
                    <a:pt x="54666" y="3392412"/>
                  </a:cubicBezTo>
                  <a:cubicBezTo>
                    <a:pt x="201365" y="3313608"/>
                    <a:pt x="332148" y="3222706"/>
                    <a:pt x="432830" y="3129384"/>
                  </a:cubicBezTo>
                  <a:cubicBezTo>
                    <a:pt x="605478" y="2969700"/>
                    <a:pt x="708582" y="2805178"/>
                    <a:pt x="758750" y="2711511"/>
                  </a:cubicBezTo>
                  <a:cubicBezTo>
                    <a:pt x="760480" y="2708400"/>
                    <a:pt x="762210" y="2704943"/>
                    <a:pt x="763940" y="2701833"/>
                  </a:cubicBezTo>
                  <a:cubicBezTo>
                    <a:pt x="775703" y="2679712"/>
                    <a:pt x="783661" y="2662776"/>
                    <a:pt x="789197" y="2651024"/>
                  </a:cubicBezTo>
                  <a:lnTo>
                    <a:pt x="789197" y="2651024"/>
                  </a:lnTo>
                  <a:cubicBezTo>
                    <a:pt x="793695" y="2641001"/>
                    <a:pt x="796117" y="2635125"/>
                    <a:pt x="796463" y="2634088"/>
                  </a:cubicBezTo>
                  <a:cubicBezTo>
                    <a:pt x="796463" y="2634088"/>
                    <a:pt x="796463" y="2633397"/>
                    <a:pt x="796463" y="2633397"/>
                  </a:cubicBezTo>
                  <a:cubicBezTo>
                    <a:pt x="801999" y="2616461"/>
                    <a:pt x="807880" y="2599870"/>
                    <a:pt x="813762" y="2582934"/>
                  </a:cubicBezTo>
                  <a:cubicBezTo>
                    <a:pt x="815838" y="2576367"/>
                    <a:pt x="818260" y="2570146"/>
                    <a:pt x="820336" y="2563579"/>
                  </a:cubicBezTo>
                  <a:cubicBezTo>
                    <a:pt x="822758" y="2556320"/>
                    <a:pt x="825180" y="2549062"/>
                    <a:pt x="827948" y="2541803"/>
                  </a:cubicBezTo>
                  <a:cubicBezTo>
                    <a:pt x="831062" y="2532471"/>
                    <a:pt x="834521" y="2523139"/>
                    <a:pt x="837635" y="2513807"/>
                  </a:cubicBezTo>
                  <a:cubicBezTo>
                    <a:pt x="840057" y="2507240"/>
                    <a:pt x="842133" y="2500673"/>
                    <a:pt x="844555" y="2493760"/>
                  </a:cubicBezTo>
                  <a:cubicBezTo>
                    <a:pt x="850091" y="2477515"/>
                    <a:pt x="855627" y="2461271"/>
                    <a:pt x="861162" y="2445026"/>
                  </a:cubicBezTo>
                  <a:cubicBezTo>
                    <a:pt x="863584" y="2438113"/>
                    <a:pt x="865660" y="2431200"/>
                    <a:pt x="868082" y="2424287"/>
                  </a:cubicBezTo>
                  <a:cubicBezTo>
                    <a:pt x="873272" y="2408043"/>
                    <a:pt x="878462" y="2391452"/>
                    <a:pt x="883652" y="2374862"/>
                  </a:cubicBezTo>
                  <a:cubicBezTo>
                    <a:pt x="885727" y="2367603"/>
                    <a:pt x="888149" y="2360345"/>
                    <a:pt x="890225" y="2353086"/>
                  </a:cubicBezTo>
                  <a:lnTo>
                    <a:pt x="890225" y="2353086"/>
                  </a:lnTo>
                  <a:cubicBezTo>
                    <a:pt x="895069" y="2336150"/>
                    <a:pt x="899913" y="2319560"/>
                    <a:pt x="904065" y="2302624"/>
                  </a:cubicBezTo>
                  <a:cubicBezTo>
                    <a:pt x="906141" y="2294329"/>
                    <a:pt x="908217" y="2286033"/>
                    <a:pt x="910293" y="2277738"/>
                  </a:cubicBezTo>
                  <a:cubicBezTo>
                    <a:pt x="914444" y="2260110"/>
                    <a:pt x="918596" y="2242138"/>
                    <a:pt x="922056" y="2224165"/>
                  </a:cubicBezTo>
                  <a:cubicBezTo>
                    <a:pt x="924132" y="2214141"/>
                    <a:pt x="925862" y="2204118"/>
                    <a:pt x="927592" y="2194094"/>
                  </a:cubicBezTo>
                  <a:cubicBezTo>
                    <a:pt x="929322" y="2183380"/>
                    <a:pt x="931398" y="2173010"/>
                    <a:pt x="932782" y="2162296"/>
                  </a:cubicBezTo>
                  <a:cubicBezTo>
                    <a:pt x="934166" y="2152618"/>
                    <a:pt x="934858" y="2142595"/>
                    <a:pt x="936242" y="2132917"/>
                  </a:cubicBezTo>
                  <a:cubicBezTo>
                    <a:pt x="937972" y="2119437"/>
                    <a:pt x="939702" y="2105957"/>
                    <a:pt x="941086" y="2092132"/>
                  </a:cubicBezTo>
                  <a:cubicBezTo>
                    <a:pt x="941086" y="2092132"/>
                    <a:pt x="941086" y="2091440"/>
                    <a:pt x="941086" y="2091095"/>
                  </a:cubicBezTo>
                  <a:cubicBezTo>
                    <a:pt x="943508" y="2066900"/>
                    <a:pt x="949043" y="1998119"/>
                    <a:pt x="949043" y="1998119"/>
                  </a:cubicBezTo>
                  <a:cubicBezTo>
                    <a:pt x="949735" y="1988787"/>
                    <a:pt x="950773" y="1979109"/>
                    <a:pt x="951119" y="1969777"/>
                  </a:cubicBezTo>
                  <a:cubicBezTo>
                    <a:pt x="954233" y="1905834"/>
                    <a:pt x="953541" y="1842237"/>
                    <a:pt x="952503" y="1794194"/>
                  </a:cubicBezTo>
                  <a:cubicBezTo>
                    <a:pt x="952157" y="1773801"/>
                    <a:pt x="951465" y="1753409"/>
                    <a:pt x="951119" y="1733016"/>
                  </a:cubicBezTo>
                  <a:cubicBezTo>
                    <a:pt x="948351" y="1617920"/>
                    <a:pt x="945237" y="1499021"/>
                    <a:pt x="961499" y="1381505"/>
                  </a:cubicBezTo>
                  <a:cubicBezTo>
                    <a:pt x="982604" y="1228043"/>
                    <a:pt x="1028966" y="1076309"/>
                    <a:pt x="1099548" y="930796"/>
                  </a:cubicBezTo>
                  <a:cubicBezTo>
                    <a:pt x="1179125" y="766620"/>
                    <a:pt x="1285343" y="617305"/>
                    <a:pt x="1415434" y="487000"/>
                  </a:cubicBezTo>
                  <a:cubicBezTo>
                    <a:pt x="1485670" y="416836"/>
                    <a:pt x="1561787" y="352894"/>
                    <a:pt x="1642056" y="297938"/>
                  </a:cubicBezTo>
                  <a:cubicBezTo>
                    <a:pt x="1747236" y="225700"/>
                    <a:pt x="1861758" y="165905"/>
                    <a:pt x="1982853" y="119936"/>
                  </a:cubicBezTo>
                  <a:cubicBezTo>
                    <a:pt x="2050667" y="94358"/>
                    <a:pt x="2120556" y="72929"/>
                    <a:pt x="2191138" y="56339"/>
                  </a:cubicBezTo>
                  <a:cubicBezTo>
                    <a:pt x="2311541" y="27996"/>
                    <a:pt x="2433675" y="13825"/>
                    <a:pt x="2554424" y="13825"/>
                  </a:cubicBezTo>
                  <a:cubicBezTo>
                    <a:pt x="2555463" y="13825"/>
                    <a:pt x="2556846" y="13825"/>
                    <a:pt x="2557884" y="13825"/>
                  </a:cubicBezTo>
                  <a:cubicBezTo>
                    <a:pt x="2630888" y="13825"/>
                    <a:pt x="2704929" y="19356"/>
                    <a:pt x="2777932" y="29379"/>
                  </a:cubicBezTo>
                  <a:cubicBezTo>
                    <a:pt x="2911137" y="47698"/>
                    <a:pt x="3041921" y="82953"/>
                    <a:pt x="3166822" y="134452"/>
                  </a:cubicBezTo>
                  <a:cubicBezTo>
                    <a:pt x="3420084" y="238834"/>
                    <a:pt x="3644630" y="407159"/>
                    <a:pt x="3816240" y="621107"/>
                  </a:cubicBezTo>
                  <a:cubicBezTo>
                    <a:pt x="3853261" y="667422"/>
                    <a:pt x="3888205" y="715811"/>
                    <a:pt x="3919690" y="765583"/>
                  </a:cubicBezTo>
                  <a:cubicBezTo>
                    <a:pt x="3995461" y="884827"/>
                    <a:pt x="4054279" y="1006491"/>
                    <a:pt x="4094068" y="1127463"/>
                  </a:cubicBezTo>
                  <a:cubicBezTo>
                    <a:pt x="4106869" y="1166174"/>
                    <a:pt x="4117595" y="1204540"/>
                    <a:pt x="4125899" y="1242214"/>
                  </a:cubicBezTo>
                  <a:cubicBezTo>
                    <a:pt x="4126937" y="1226660"/>
                    <a:pt x="4127975" y="1211107"/>
                    <a:pt x="4129013" y="1195553"/>
                  </a:cubicBezTo>
                  <a:cubicBezTo>
                    <a:pt x="4122785" y="1171359"/>
                    <a:pt x="4115519" y="1147164"/>
                    <a:pt x="4107561" y="1122970"/>
                  </a:cubicBezTo>
                  <a:cubicBezTo>
                    <a:pt x="4067427" y="1000960"/>
                    <a:pt x="4008263" y="878260"/>
                    <a:pt x="3931800" y="757979"/>
                  </a:cubicBezTo>
                  <a:close/>
                </a:path>
              </a:pathLst>
            </a:custGeom>
            <a:grpFill/>
            <a:ln w="34574" cap="flat">
              <a:noFill/>
              <a:prstDash val="solid"/>
              <a:miter/>
            </a:ln>
          </p:spPr>
          <p:txBody>
            <a:bodyPr rtlCol="0" anchor="ctr"/>
            <a:lstStyle/>
            <a:p>
              <a:endParaRPr lang="en-US"/>
            </a:p>
          </p:txBody>
        </p:sp>
        <p:sp>
          <p:nvSpPr>
            <p:cNvPr id="43" name="Freeform 42">
              <a:extLst>
                <a:ext uri="{FF2B5EF4-FFF2-40B4-BE49-F238E27FC236}">
                  <a16:creationId xmlns:a16="http://schemas.microsoft.com/office/drawing/2014/main" id="{6416B8BF-D42F-F13A-A593-3F2D5DE058FD}"/>
                </a:ext>
              </a:extLst>
            </p:cNvPr>
            <p:cNvSpPr/>
            <p:nvPr/>
          </p:nvSpPr>
          <p:spPr>
            <a:xfrm>
              <a:off x="-1988871" y="-585297"/>
              <a:ext cx="4020372" cy="3355775"/>
            </a:xfrm>
            <a:custGeom>
              <a:avLst/>
              <a:gdLst>
                <a:gd name="connsiteX0" fmla="*/ 3826620 w 4020372"/>
                <a:gd name="connsiteY0" fmla="*/ 781828 h 3355775"/>
                <a:gd name="connsiteX1" fmla="*/ 3345351 w 4020372"/>
                <a:gd name="connsiteY1" fmla="*/ 273052 h 3355775"/>
                <a:gd name="connsiteX2" fmla="*/ 2693857 w 4020372"/>
                <a:gd name="connsiteY2" fmla="*/ 17973 h 3355775"/>
                <a:gd name="connsiteX3" fmla="*/ 2472771 w 4020372"/>
                <a:gd name="connsiteY3" fmla="*/ 0 h 3355775"/>
                <a:gd name="connsiteX4" fmla="*/ 2454780 w 4020372"/>
                <a:gd name="connsiteY4" fmla="*/ 0 h 3355775"/>
                <a:gd name="connsiteX5" fmla="*/ 1552445 w 4020372"/>
                <a:gd name="connsiteY5" fmla="*/ 282384 h 3355775"/>
                <a:gd name="connsiteX6" fmla="*/ 1100932 w 4020372"/>
                <a:gd name="connsiteY6" fmla="*/ 759361 h 3355775"/>
                <a:gd name="connsiteX7" fmla="*/ 880884 w 4020372"/>
                <a:gd name="connsiteY7" fmla="*/ 1377703 h 3355775"/>
                <a:gd name="connsiteX8" fmla="*/ 877424 w 4020372"/>
                <a:gd name="connsiteY8" fmla="*/ 1716426 h 3355775"/>
                <a:gd name="connsiteX9" fmla="*/ 882268 w 4020372"/>
                <a:gd name="connsiteY9" fmla="*/ 1921733 h 3355775"/>
                <a:gd name="connsiteX10" fmla="*/ 882268 w 4020372"/>
                <a:gd name="connsiteY10" fmla="*/ 1922770 h 3355775"/>
                <a:gd name="connsiteX11" fmla="*/ 881230 w 4020372"/>
                <a:gd name="connsiteY11" fmla="*/ 1966320 h 3355775"/>
                <a:gd name="connsiteX12" fmla="*/ 880192 w 4020372"/>
                <a:gd name="connsiteY12" fmla="*/ 1983257 h 3355775"/>
                <a:gd name="connsiteX13" fmla="*/ 875694 w 4020372"/>
                <a:gd name="connsiteY13" fmla="*/ 2048236 h 3355775"/>
                <a:gd name="connsiteX14" fmla="*/ 871542 w 4020372"/>
                <a:gd name="connsiteY14" fmla="*/ 2086256 h 3355775"/>
                <a:gd name="connsiteX15" fmla="*/ 864622 w 4020372"/>
                <a:gd name="connsiteY15" fmla="*/ 2142249 h 3355775"/>
                <a:gd name="connsiteX16" fmla="*/ 864622 w 4020372"/>
                <a:gd name="connsiteY16" fmla="*/ 2142249 h 3355775"/>
                <a:gd name="connsiteX17" fmla="*/ 859432 w 4020372"/>
                <a:gd name="connsiteY17" fmla="*/ 2172319 h 3355775"/>
                <a:gd name="connsiteX18" fmla="*/ 850437 w 4020372"/>
                <a:gd name="connsiteY18" fmla="*/ 2224510 h 3355775"/>
                <a:gd name="connsiteX19" fmla="*/ 844555 w 4020372"/>
                <a:gd name="connsiteY19" fmla="*/ 2250087 h 3355775"/>
                <a:gd name="connsiteX20" fmla="*/ 833483 w 4020372"/>
                <a:gd name="connsiteY20" fmla="*/ 2299513 h 3355775"/>
                <a:gd name="connsiteX21" fmla="*/ 827602 w 4020372"/>
                <a:gd name="connsiteY21" fmla="*/ 2322670 h 3355775"/>
                <a:gd name="connsiteX22" fmla="*/ 814108 w 4020372"/>
                <a:gd name="connsiteY22" fmla="*/ 2370368 h 3355775"/>
                <a:gd name="connsiteX23" fmla="*/ 807880 w 4020372"/>
                <a:gd name="connsiteY23" fmla="*/ 2391452 h 3355775"/>
                <a:gd name="connsiteX24" fmla="*/ 791965 w 4020372"/>
                <a:gd name="connsiteY24" fmla="*/ 2437767 h 3355775"/>
                <a:gd name="connsiteX25" fmla="*/ 785391 w 4020372"/>
                <a:gd name="connsiteY25" fmla="*/ 2456777 h 3355775"/>
                <a:gd name="connsiteX26" fmla="*/ 767746 w 4020372"/>
                <a:gd name="connsiteY26" fmla="*/ 2502401 h 3355775"/>
                <a:gd name="connsiteX27" fmla="*/ 760480 w 4020372"/>
                <a:gd name="connsiteY27" fmla="*/ 2520029 h 3355775"/>
                <a:gd name="connsiteX28" fmla="*/ 741105 w 4020372"/>
                <a:gd name="connsiteY28" fmla="*/ 2564615 h 3355775"/>
                <a:gd name="connsiteX29" fmla="*/ 733493 w 4020372"/>
                <a:gd name="connsiteY29" fmla="*/ 2580860 h 3355775"/>
                <a:gd name="connsiteX30" fmla="*/ 715502 w 4020372"/>
                <a:gd name="connsiteY30" fmla="*/ 2619226 h 3355775"/>
                <a:gd name="connsiteX31" fmla="*/ 715502 w 4020372"/>
                <a:gd name="connsiteY31" fmla="*/ 2619226 h 3355775"/>
                <a:gd name="connsiteX32" fmla="*/ 712734 w 4020372"/>
                <a:gd name="connsiteY32" fmla="*/ 2625447 h 3355775"/>
                <a:gd name="connsiteX33" fmla="*/ 705122 w 4020372"/>
                <a:gd name="connsiteY33" fmla="*/ 2641001 h 3355775"/>
                <a:gd name="connsiteX34" fmla="*/ 682287 w 4020372"/>
                <a:gd name="connsiteY34" fmla="*/ 2684551 h 3355775"/>
                <a:gd name="connsiteX35" fmla="*/ 673983 w 4020372"/>
                <a:gd name="connsiteY35" fmla="*/ 2699413 h 3355775"/>
                <a:gd name="connsiteX36" fmla="*/ 649418 w 4020372"/>
                <a:gd name="connsiteY36" fmla="*/ 2741235 h 3355775"/>
                <a:gd name="connsiteX37" fmla="*/ 640769 w 4020372"/>
                <a:gd name="connsiteY37" fmla="*/ 2755061 h 3355775"/>
                <a:gd name="connsiteX38" fmla="*/ 539740 w 4020372"/>
                <a:gd name="connsiteY38" fmla="*/ 2899536 h 3355775"/>
                <a:gd name="connsiteX39" fmla="*/ 305161 w 4020372"/>
                <a:gd name="connsiteY39" fmla="*/ 3147703 h 3355775"/>
                <a:gd name="connsiteX40" fmla="*/ 0 w 4020372"/>
                <a:gd name="connsiteY40" fmla="*/ 3355775 h 3355775"/>
                <a:gd name="connsiteX41" fmla="*/ 31139 w 4020372"/>
                <a:gd name="connsiteY41" fmla="*/ 3355775 h 3355775"/>
                <a:gd name="connsiteX42" fmla="*/ 315194 w 4020372"/>
                <a:gd name="connsiteY42" fmla="*/ 3158417 h 3355775"/>
                <a:gd name="connsiteX43" fmla="*/ 551850 w 4020372"/>
                <a:gd name="connsiteY43" fmla="*/ 2908177 h 3355775"/>
                <a:gd name="connsiteX44" fmla="*/ 613782 w 4020372"/>
                <a:gd name="connsiteY44" fmla="*/ 2823151 h 3355775"/>
                <a:gd name="connsiteX45" fmla="*/ 622431 w 4020372"/>
                <a:gd name="connsiteY45" fmla="*/ 2810017 h 3355775"/>
                <a:gd name="connsiteX46" fmla="*/ 649418 w 4020372"/>
                <a:gd name="connsiteY46" fmla="*/ 2768886 h 3355775"/>
                <a:gd name="connsiteX47" fmla="*/ 658068 w 4020372"/>
                <a:gd name="connsiteY47" fmla="*/ 2755061 h 3355775"/>
                <a:gd name="connsiteX48" fmla="*/ 682633 w 4020372"/>
                <a:gd name="connsiteY48" fmla="*/ 2713584 h 3355775"/>
                <a:gd name="connsiteX49" fmla="*/ 690591 w 4020372"/>
                <a:gd name="connsiteY49" fmla="*/ 2699413 h 3355775"/>
                <a:gd name="connsiteX50" fmla="*/ 713772 w 4020372"/>
                <a:gd name="connsiteY50" fmla="*/ 2656209 h 3355775"/>
                <a:gd name="connsiteX51" fmla="*/ 721384 w 4020372"/>
                <a:gd name="connsiteY51" fmla="*/ 2640655 h 3355775"/>
                <a:gd name="connsiteX52" fmla="*/ 728303 w 4020372"/>
                <a:gd name="connsiteY52" fmla="*/ 2625793 h 3355775"/>
                <a:gd name="connsiteX53" fmla="*/ 742143 w 4020372"/>
                <a:gd name="connsiteY53" fmla="*/ 2596759 h 3355775"/>
                <a:gd name="connsiteX54" fmla="*/ 749755 w 4020372"/>
                <a:gd name="connsiteY54" fmla="*/ 2580515 h 3355775"/>
                <a:gd name="connsiteX55" fmla="*/ 769476 w 4020372"/>
                <a:gd name="connsiteY55" fmla="*/ 2536619 h 3355775"/>
                <a:gd name="connsiteX56" fmla="*/ 776395 w 4020372"/>
                <a:gd name="connsiteY56" fmla="*/ 2519337 h 3355775"/>
                <a:gd name="connsiteX57" fmla="*/ 794387 w 4020372"/>
                <a:gd name="connsiteY57" fmla="*/ 2475096 h 3355775"/>
                <a:gd name="connsiteX58" fmla="*/ 800961 w 4020372"/>
                <a:gd name="connsiteY58" fmla="*/ 2456086 h 3355775"/>
                <a:gd name="connsiteX59" fmla="*/ 816530 w 4020372"/>
                <a:gd name="connsiteY59" fmla="*/ 2410462 h 3355775"/>
                <a:gd name="connsiteX60" fmla="*/ 823104 w 4020372"/>
                <a:gd name="connsiteY60" fmla="*/ 2390415 h 3355775"/>
                <a:gd name="connsiteX61" fmla="*/ 836251 w 4020372"/>
                <a:gd name="connsiteY61" fmla="*/ 2343063 h 3355775"/>
                <a:gd name="connsiteX62" fmla="*/ 842133 w 4020372"/>
                <a:gd name="connsiteY62" fmla="*/ 2321634 h 3355775"/>
                <a:gd name="connsiteX63" fmla="*/ 853551 w 4020372"/>
                <a:gd name="connsiteY63" fmla="*/ 2273245 h 3355775"/>
                <a:gd name="connsiteX64" fmla="*/ 859086 w 4020372"/>
                <a:gd name="connsiteY64" fmla="*/ 2249050 h 3355775"/>
                <a:gd name="connsiteX65" fmla="*/ 868774 w 4020372"/>
                <a:gd name="connsiteY65" fmla="*/ 2199624 h 3355775"/>
                <a:gd name="connsiteX66" fmla="*/ 873618 w 4020372"/>
                <a:gd name="connsiteY66" fmla="*/ 2171282 h 3355775"/>
                <a:gd name="connsiteX67" fmla="*/ 873618 w 4020372"/>
                <a:gd name="connsiteY67" fmla="*/ 2171282 h 3355775"/>
                <a:gd name="connsiteX68" fmla="*/ 881230 w 4020372"/>
                <a:gd name="connsiteY68" fmla="*/ 2119783 h 3355775"/>
                <a:gd name="connsiteX69" fmla="*/ 885382 w 4020372"/>
                <a:gd name="connsiteY69" fmla="*/ 2085565 h 3355775"/>
                <a:gd name="connsiteX70" fmla="*/ 890917 w 4020372"/>
                <a:gd name="connsiteY70" fmla="*/ 2029226 h 3355775"/>
                <a:gd name="connsiteX71" fmla="*/ 894031 w 4020372"/>
                <a:gd name="connsiteY71" fmla="*/ 1982565 h 3355775"/>
                <a:gd name="connsiteX72" fmla="*/ 894031 w 4020372"/>
                <a:gd name="connsiteY72" fmla="*/ 1981528 h 3355775"/>
                <a:gd name="connsiteX73" fmla="*/ 895069 w 4020372"/>
                <a:gd name="connsiteY73" fmla="*/ 1967012 h 3355775"/>
                <a:gd name="connsiteX74" fmla="*/ 896453 w 4020372"/>
                <a:gd name="connsiteY74" fmla="*/ 1912747 h 3355775"/>
                <a:gd name="connsiteX75" fmla="*/ 895069 w 4020372"/>
                <a:gd name="connsiteY75" fmla="*/ 1905143 h 3355775"/>
                <a:gd name="connsiteX76" fmla="*/ 896453 w 4020372"/>
                <a:gd name="connsiteY76" fmla="*/ 1912747 h 3355775"/>
                <a:gd name="connsiteX77" fmla="*/ 894723 w 4020372"/>
                <a:gd name="connsiteY77" fmla="*/ 1795231 h 3355775"/>
                <a:gd name="connsiteX78" fmla="*/ 894377 w 4020372"/>
                <a:gd name="connsiteY78" fmla="*/ 1795231 h 3355775"/>
                <a:gd name="connsiteX79" fmla="*/ 894377 w 4020372"/>
                <a:gd name="connsiteY79" fmla="*/ 1795231 h 3355775"/>
                <a:gd name="connsiteX80" fmla="*/ 891263 w 4020372"/>
                <a:gd name="connsiteY80" fmla="*/ 1716426 h 3355775"/>
                <a:gd name="connsiteX81" fmla="*/ 894723 w 4020372"/>
                <a:gd name="connsiteY81" fmla="*/ 1380123 h 3355775"/>
                <a:gd name="connsiteX82" fmla="*/ 1112695 w 4020372"/>
                <a:gd name="connsiteY82" fmla="*/ 767656 h 3355775"/>
                <a:gd name="connsiteX83" fmla="*/ 1560403 w 4020372"/>
                <a:gd name="connsiteY83" fmla="*/ 294827 h 3355775"/>
                <a:gd name="connsiteX84" fmla="*/ 2472079 w 4020372"/>
                <a:gd name="connsiteY84" fmla="*/ 15208 h 3355775"/>
                <a:gd name="connsiteX85" fmla="*/ 2691089 w 4020372"/>
                <a:gd name="connsiteY85" fmla="*/ 33181 h 3355775"/>
                <a:gd name="connsiteX86" fmla="*/ 3336702 w 4020372"/>
                <a:gd name="connsiteY86" fmla="*/ 285841 h 3355775"/>
                <a:gd name="connsiteX87" fmla="*/ 3813472 w 4020372"/>
                <a:gd name="connsiteY87" fmla="*/ 790123 h 3355775"/>
                <a:gd name="connsiteX88" fmla="*/ 4019681 w 4020372"/>
                <a:gd name="connsiteY88" fmla="*/ 1388072 h 3355775"/>
                <a:gd name="connsiteX89" fmla="*/ 4020372 w 4020372"/>
                <a:gd name="connsiteY89" fmla="*/ 1388072 h 3355775"/>
                <a:gd name="connsiteX90" fmla="*/ 4018643 w 4020372"/>
                <a:gd name="connsiteY90" fmla="*/ 1270210 h 3355775"/>
                <a:gd name="connsiteX91" fmla="*/ 3825928 w 4020372"/>
                <a:gd name="connsiteY91" fmla="*/ 782519 h 335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4020372" h="3355775">
                  <a:moveTo>
                    <a:pt x="3826620" y="781828"/>
                  </a:moveTo>
                  <a:cubicBezTo>
                    <a:pt x="3706908" y="580668"/>
                    <a:pt x="3540488" y="404739"/>
                    <a:pt x="3345351" y="273052"/>
                  </a:cubicBezTo>
                  <a:cubicBezTo>
                    <a:pt x="3149522" y="140674"/>
                    <a:pt x="2924285" y="52537"/>
                    <a:pt x="2693857" y="17973"/>
                  </a:cubicBezTo>
                  <a:cubicBezTo>
                    <a:pt x="2620162" y="6913"/>
                    <a:pt x="2545775" y="1037"/>
                    <a:pt x="2472771" y="0"/>
                  </a:cubicBezTo>
                  <a:cubicBezTo>
                    <a:pt x="2466889" y="0"/>
                    <a:pt x="2460662" y="0"/>
                    <a:pt x="2454780" y="0"/>
                  </a:cubicBezTo>
                  <a:cubicBezTo>
                    <a:pt x="2136818" y="0"/>
                    <a:pt x="1817125" y="99889"/>
                    <a:pt x="1552445" y="282384"/>
                  </a:cubicBezTo>
                  <a:cubicBezTo>
                    <a:pt x="1373916" y="405430"/>
                    <a:pt x="1217875" y="570644"/>
                    <a:pt x="1100932" y="759361"/>
                  </a:cubicBezTo>
                  <a:cubicBezTo>
                    <a:pt x="981912" y="951534"/>
                    <a:pt x="905795" y="1165483"/>
                    <a:pt x="880884" y="1377703"/>
                  </a:cubicBezTo>
                  <a:cubicBezTo>
                    <a:pt x="867390" y="1491763"/>
                    <a:pt x="872580" y="1605823"/>
                    <a:pt x="877424" y="1716426"/>
                  </a:cubicBezTo>
                  <a:cubicBezTo>
                    <a:pt x="880538" y="1783825"/>
                    <a:pt x="883306" y="1852606"/>
                    <a:pt x="882268" y="1921733"/>
                  </a:cubicBezTo>
                  <a:cubicBezTo>
                    <a:pt x="882268" y="1922079"/>
                    <a:pt x="882268" y="1922425"/>
                    <a:pt x="882268" y="1922770"/>
                  </a:cubicBezTo>
                  <a:cubicBezTo>
                    <a:pt x="882268" y="1937287"/>
                    <a:pt x="881922" y="1951804"/>
                    <a:pt x="881230" y="1966320"/>
                  </a:cubicBezTo>
                  <a:cubicBezTo>
                    <a:pt x="881230" y="1972196"/>
                    <a:pt x="880192" y="1977726"/>
                    <a:pt x="880192" y="1983257"/>
                  </a:cubicBezTo>
                  <a:cubicBezTo>
                    <a:pt x="879154" y="2005032"/>
                    <a:pt x="877770" y="2026807"/>
                    <a:pt x="875694" y="2048236"/>
                  </a:cubicBezTo>
                  <a:cubicBezTo>
                    <a:pt x="874656" y="2061024"/>
                    <a:pt x="872926" y="2073467"/>
                    <a:pt x="871542" y="2086256"/>
                  </a:cubicBezTo>
                  <a:cubicBezTo>
                    <a:pt x="869466" y="2104920"/>
                    <a:pt x="867390" y="2123585"/>
                    <a:pt x="864622" y="2142249"/>
                  </a:cubicBezTo>
                  <a:lnTo>
                    <a:pt x="864622" y="2142249"/>
                  </a:lnTo>
                  <a:cubicBezTo>
                    <a:pt x="863238" y="2152272"/>
                    <a:pt x="861163" y="2162296"/>
                    <a:pt x="859432" y="2172319"/>
                  </a:cubicBezTo>
                  <a:cubicBezTo>
                    <a:pt x="856665" y="2189601"/>
                    <a:pt x="853897" y="2207228"/>
                    <a:pt x="850437" y="2224510"/>
                  </a:cubicBezTo>
                  <a:cubicBezTo>
                    <a:pt x="848707" y="2233151"/>
                    <a:pt x="846631" y="2241446"/>
                    <a:pt x="844555" y="2250087"/>
                  </a:cubicBezTo>
                  <a:cubicBezTo>
                    <a:pt x="841095" y="2266678"/>
                    <a:pt x="837289" y="2283268"/>
                    <a:pt x="833483" y="2299513"/>
                  </a:cubicBezTo>
                  <a:cubicBezTo>
                    <a:pt x="831753" y="2307117"/>
                    <a:pt x="829678" y="2314721"/>
                    <a:pt x="827602" y="2322670"/>
                  </a:cubicBezTo>
                  <a:cubicBezTo>
                    <a:pt x="823450" y="2338570"/>
                    <a:pt x="818952" y="2354469"/>
                    <a:pt x="814108" y="2370368"/>
                  </a:cubicBezTo>
                  <a:cubicBezTo>
                    <a:pt x="812032" y="2377281"/>
                    <a:pt x="810302" y="2384539"/>
                    <a:pt x="807880" y="2391452"/>
                  </a:cubicBezTo>
                  <a:cubicBezTo>
                    <a:pt x="803037" y="2407006"/>
                    <a:pt x="797501" y="2422559"/>
                    <a:pt x="791965" y="2437767"/>
                  </a:cubicBezTo>
                  <a:cubicBezTo>
                    <a:pt x="789889" y="2443989"/>
                    <a:pt x="787813" y="2450556"/>
                    <a:pt x="785391" y="2456777"/>
                  </a:cubicBezTo>
                  <a:cubicBezTo>
                    <a:pt x="779855" y="2472331"/>
                    <a:pt x="773628" y="2487193"/>
                    <a:pt x="767746" y="2502401"/>
                  </a:cubicBezTo>
                  <a:cubicBezTo>
                    <a:pt x="765324" y="2508277"/>
                    <a:pt x="762902" y="2514153"/>
                    <a:pt x="760480" y="2520029"/>
                  </a:cubicBezTo>
                  <a:cubicBezTo>
                    <a:pt x="754252" y="2534891"/>
                    <a:pt x="748025" y="2549753"/>
                    <a:pt x="741105" y="2564615"/>
                  </a:cubicBezTo>
                  <a:cubicBezTo>
                    <a:pt x="738683" y="2570146"/>
                    <a:pt x="735915" y="2575330"/>
                    <a:pt x="733493" y="2580860"/>
                  </a:cubicBezTo>
                  <a:cubicBezTo>
                    <a:pt x="727611" y="2593649"/>
                    <a:pt x="721729" y="2606437"/>
                    <a:pt x="715502" y="2619226"/>
                  </a:cubicBezTo>
                  <a:lnTo>
                    <a:pt x="715502" y="2619226"/>
                  </a:lnTo>
                  <a:cubicBezTo>
                    <a:pt x="715502" y="2619226"/>
                    <a:pt x="714464" y="2621991"/>
                    <a:pt x="712734" y="2625447"/>
                  </a:cubicBezTo>
                  <a:cubicBezTo>
                    <a:pt x="711004" y="2629249"/>
                    <a:pt x="708582" y="2634434"/>
                    <a:pt x="705122" y="2641001"/>
                  </a:cubicBezTo>
                  <a:cubicBezTo>
                    <a:pt x="699586" y="2652061"/>
                    <a:pt x="691975" y="2666578"/>
                    <a:pt x="682287" y="2684551"/>
                  </a:cubicBezTo>
                  <a:cubicBezTo>
                    <a:pt x="679865" y="2689390"/>
                    <a:pt x="676751" y="2694229"/>
                    <a:pt x="673983" y="2699413"/>
                  </a:cubicBezTo>
                  <a:cubicBezTo>
                    <a:pt x="666718" y="2712202"/>
                    <a:pt x="658414" y="2726027"/>
                    <a:pt x="649418" y="2741235"/>
                  </a:cubicBezTo>
                  <a:cubicBezTo>
                    <a:pt x="646650" y="2745729"/>
                    <a:pt x="643882" y="2750222"/>
                    <a:pt x="640769" y="2755061"/>
                  </a:cubicBezTo>
                  <a:cubicBezTo>
                    <a:pt x="614473" y="2797228"/>
                    <a:pt x="581259" y="2846308"/>
                    <a:pt x="539740" y="2899536"/>
                  </a:cubicBezTo>
                  <a:cubicBezTo>
                    <a:pt x="469159" y="2990438"/>
                    <a:pt x="390274" y="3073737"/>
                    <a:pt x="305161" y="3147703"/>
                  </a:cubicBezTo>
                  <a:cubicBezTo>
                    <a:pt x="210706" y="3229618"/>
                    <a:pt x="107948" y="3298745"/>
                    <a:pt x="0" y="3355775"/>
                  </a:cubicBezTo>
                  <a:lnTo>
                    <a:pt x="31139" y="3355775"/>
                  </a:lnTo>
                  <a:cubicBezTo>
                    <a:pt x="131475" y="3300819"/>
                    <a:pt x="226968" y="3235148"/>
                    <a:pt x="315194" y="3158417"/>
                  </a:cubicBezTo>
                  <a:cubicBezTo>
                    <a:pt x="400999" y="3084106"/>
                    <a:pt x="480576" y="2999771"/>
                    <a:pt x="551850" y="2908177"/>
                  </a:cubicBezTo>
                  <a:cubicBezTo>
                    <a:pt x="575031" y="2878452"/>
                    <a:pt x="595444" y="2850110"/>
                    <a:pt x="613782" y="2823151"/>
                  </a:cubicBezTo>
                  <a:cubicBezTo>
                    <a:pt x="616895" y="2818658"/>
                    <a:pt x="619663" y="2814510"/>
                    <a:pt x="622431" y="2810017"/>
                  </a:cubicBezTo>
                  <a:cubicBezTo>
                    <a:pt x="632119" y="2795846"/>
                    <a:pt x="641115" y="2782020"/>
                    <a:pt x="649418" y="2768886"/>
                  </a:cubicBezTo>
                  <a:cubicBezTo>
                    <a:pt x="652186" y="2764393"/>
                    <a:pt x="655300" y="2759554"/>
                    <a:pt x="658068" y="2755061"/>
                  </a:cubicBezTo>
                  <a:cubicBezTo>
                    <a:pt x="667064" y="2740198"/>
                    <a:pt x="675367" y="2726373"/>
                    <a:pt x="682633" y="2713584"/>
                  </a:cubicBezTo>
                  <a:cubicBezTo>
                    <a:pt x="685401" y="2708746"/>
                    <a:pt x="688169" y="2703907"/>
                    <a:pt x="690591" y="2699413"/>
                  </a:cubicBezTo>
                  <a:cubicBezTo>
                    <a:pt x="700278" y="2682131"/>
                    <a:pt x="707890" y="2667615"/>
                    <a:pt x="713772" y="2656209"/>
                  </a:cubicBezTo>
                  <a:cubicBezTo>
                    <a:pt x="716886" y="2650333"/>
                    <a:pt x="719308" y="2645148"/>
                    <a:pt x="721384" y="2640655"/>
                  </a:cubicBezTo>
                  <a:cubicBezTo>
                    <a:pt x="725535" y="2632014"/>
                    <a:pt x="727957" y="2626830"/>
                    <a:pt x="728303" y="2625793"/>
                  </a:cubicBezTo>
                  <a:cubicBezTo>
                    <a:pt x="733147" y="2616461"/>
                    <a:pt x="737299" y="2606437"/>
                    <a:pt x="742143" y="2596759"/>
                  </a:cubicBezTo>
                  <a:cubicBezTo>
                    <a:pt x="744565" y="2591575"/>
                    <a:pt x="747333" y="2586045"/>
                    <a:pt x="749755" y="2580515"/>
                  </a:cubicBezTo>
                  <a:cubicBezTo>
                    <a:pt x="756674" y="2565998"/>
                    <a:pt x="763248" y="2551481"/>
                    <a:pt x="769476" y="2536619"/>
                  </a:cubicBezTo>
                  <a:cubicBezTo>
                    <a:pt x="771898" y="2531089"/>
                    <a:pt x="773974" y="2525213"/>
                    <a:pt x="776395" y="2519337"/>
                  </a:cubicBezTo>
                  <a:cubicBezTo>
                    <a:pt x="782277" y="2504475"/>
                    <a:pt x="788851" y="2489958"/>
                    <a:pt x="794387" y="2475096"/>
                  </a:cubicBezTo>
                  <a:cubicBezTo>
                    <a:pt x="796809" y="2468874"/>
                    <a:pt x="798539" y="2462307"/>
                    <a:pt x="800961" y="2456086"/>
                  </a:cubicBezTo>
                  <a:cubicBezTo>
                    <a:pt x="806496" y="2440878"/>
                    <a:pt x="811686" y="2426016"/>
                    <a:pt x="816530" y="2410462"/>
                  </a:cubicBezTo>
                  <a:cubicBezTo>
                    <a:pt x="818606" y="2403895"/>
                    <a:pt x="821028" y="2397328"/>
                    <a:pt x="823104" y="2390415"/>
                  </a:cubicBezTo>
                  <a:cubicBezTo>
                    <a:pt x="827948" y="2374862"/>
                    <a:pt x="832099" y="2358962"/>
                    <a:pt x="836251" y="2343063"/>
                  </a:cubicBezTo>
                  <a:cubicBezTo>
                    <a:pt x="838327" y="2335805"/>
                    <a:pt x="840403" y="2328892"/>
                    <a:pt x="842133" y="2321634"/>
                  </a:cubicBezTo>
                  <a:cubicBezTo>
                    <a:pt x="846285" y="2305734"/>
                    <a:pt x="850091" y="2289490"/>
                    <a:pt x="853551" y="2273245"/>
                  </a:cubicBezTo>
                  <a:cubicBezTo>
                    <a:pt x="855281" y="2265295"/>
                    <a:pt x="857357" y="2257000"/>
                    <a:pt x="859086" y="2249050"/>
                  </a:cubicBezTo>
                  <a:cubicBezTo>
                    <a:pt x="862546" y="2232805"/>
                    <a:pt x="865660" y="2216215"/>
                    <a:pt x="868774" y="2199624"/>
                  </a:cubicBezTo>
                  <a:cubicBezTo>
                    <a:pt x="870504" y="2190292"/>
                    <a:pt x="872234" y="2180615"/>
                    <a:pt x="873618" y="2171282"/>
                  </a:cubicBezTo>
                  <a:lnTo>
                    <a:pt x="873618" y="2171282"/>
                  </a:lnTo>
                  <a:cubicBezTo>
                    <a:pt x="876386" y="2154346"/>
                    <a:pt x="879154" y="2137064"/>
                    <a:pt x="881230" y="2119783"/>
                  </a:cubicBezTo>
                  <a:cubicBezTo>
                    <a:pt x="882614" y="2108377"/>
                    <a:pt x="883998" y="2096971"/>
                    <a:pt x="885382" y="2085565"/>
                  </a:cubicBezTo>
                  <a:cubicBezTo>
                    <a:pt x="887457" y="2066900"/>
                    <a:pt x="889187" y="2048236"/>
                    <a:pt x="890917" y="2029226"/>
                  </a:cubicBezTo>
                  <a:cubicBezTo>
                    <a:pt x="892301" y="2013672"/>
                    <a:pt x="893339" y="1998119"/>
                    <a:pt x="894031" y="1982565"/>
                  </a:cubicBezTo>
                  <a:cubicBezTo>
                    <a:pt x="894031" y="1982220"/>
                    <a:pt x="894031" y="1981874"/>
                    <a:pt x="894031" y="1981528"/>
                  </a:cubicBezTo>
                  <a:cubicBezTo>
                    <a:pt x="894031" y="1976689"/>
                    <a:pt x="894723" y="1971850"/>
                    <a:pt x="895069" y="1967012"/>
                  </a:cubicBezTo>
                  <a:cubicBezTo>
                    <a:pt x="895761" y="1949039"/>
                    <a:pt x="896107" y="1930720"/>
                    <a:pt x="896453" y="1912747"/>
                  </a:cubicBezTo>
                  <a:cubicBezTo>
                    <a:pt x="896107" y="1910327"/>
                    <a:pt x="895761" y="1907908"/>
                    <a:pt x="895069" y="1905143"/>
                  </a:cubicBezTo>
                  <a:cubicBezTo>
                    <a:pt x="895415" y="1907562"/>
                    <a:pt x="896107" y="1910327"/>
                    <a:pt x="896453" y="1912747"/>
                  </a:cubicBezTo>
                  <a:cubicBezTo>
                    <a:pt x="896799" y="1873344"/>
                    <a:pt x="896107" y="1833942"/>
                    <a:pt x="894723" y="1795231"/>
                  </a:cubicBezTo>
                  <a:lnTo>
                    <a:pt x="894377" y="1795231"/>
                  </a:lnTo>
                  <a:cubicBezTo>
                    <a:pt x="894377" y="1795231"/>
                    <a:pt x="894377" y="1795231"/>
                    <a:pt x="894377" y="1795231"/>
                  </a:cubicBezTo>
                  <a:cubicBezTo>
                    <a:pt x="893339" y="1768617"/>
                    <a:pt x="892301" y="1742349"/>
                    <a:pt x="891263" y="1716426"/>
                  </a:cubicBezTo>
                  <a:cubicBezTo>
                    <a:pt x="886419" y="1606514"/>
                    <a:pt x="881230" y="1492800"/>
                    <a:pt x="894723" y="1380123"/>
                  </a:cubicBezTo>
                  <a:cubicBezTo>
                    <a:pt x="919288" y="1169976"/>
                    <a:pt x="994714" y="958447"/>
                    <a:pt x="1112695" y="767656"/>
                  </a:cubicBezTo>
                  <a:cubicBezTo>
                    <a:pt x="1228601" y="580322"/>
                    <a:pt x="1383257" y="416836"/>
                    <a:pt x="1560403" y="294827"/>
                  </a:cubicBezTo>
                  <a:cubicBezTo>
                    <a:pt x="1827505" y="110603"/>
                    <a:pt x="2151349" y="11406"/>
                    <a:pt x="2472079" y="15208"/>
                  </a:cubicBezTo>
                  <a:cubicBezTo>
                    <a:pt x="2544391" y="16245"/>
                    <a:pt x="2618086" y="22121"/>
                    <a:pt x="2691089" y="33181"/>
                  </a:cubicBezTo>
                  <a:cubicBezTo>
                    <a:pt x="2919441" y="67399"/>
                    <a:pt x="3142949" y="154845"/>
                    <a:pt x="3336702" y="285841"/>
                  </a:cubicBezTo>
                  <a:cubicBezTo>
                    <a:pt x="3529763" y="416491"/>
                    <a:pt x="3694799" y="590691"/>
                    <a:pt x="3813472" y="790123"/>
                  </a:cubicBezTo>
                  <a:cubicBezTo>
                    <a:pt x="3897893" y="931488"/>
                    <a:pt x="4002035" y="1150275"/>
                    <a:pt x="4019681" y="1388072"/>
                  </a:cubicBezTo>
                  <a:lnTo>
                    <a:pt x="4020372" y="1388072"/>
                  </a:lnTo>
                  <a:cubicBezTo>
                    <a:pt x="4018989" y="1349015"/>
                    <a:pt x="4018296" y="1309613"/>
                    <a:pt x="4018643" y="1270210"/>
                  </a:cubicBezTo>
                  <a:cubicBezTo>
                    <a:pt x="3981968" y="1075963"/>
                    <a:pt x="3897201" y="902109"/>
                    <a:pt x="3825928" y="782519"/>
                  </a:cubicBezTo>
                  <a:close/>
                </a:path>
              </a:pathLst>
            </a:custGeom>
            <a:grpFill/>
            <a:ln w="34574" cap="flat">
              <a:noFill/>
              <a:prstDash val="solid"/>
              <a:miter/>
            </a:ln>
          </p:spPr>
          <p:txBody>
            <a:bodyPr rtlCol="0" anchor="ctr"/>
            <a:lstStyle/>
            <a:p>
              <a:endParaRPr lang="en-US"/>
            </a:p>
          </p:txBody>
        </p:sp>
        <p:sp>
          <p:nvSpPr>
            <p:cNvPr id="44" name="Freeform 43">
              <a:extLst>
                <a:ext uri="{FF2B5EF4-FFF2-40B4-BE49-F238E27FC236}">
                  <a16:creationId xmlns:a16="http://schemas.microsoft.com/office/drawing/2014/main" id="{D337AF2B-40EF-380D-F5BC-B3500D8B42D0}"/>
                </a:ext>
              </a:extLst>
            </p:cNvPr>
            <p:cNvSpPr/>
            <p:nvPr/>
          </p:nvSpPr>
          <p:spPr>
            <a:xfrm>
              <a:off x="-2972513" y="-751894"/>
              <a:ext cx="2277288" cy="3206173"/>
            </a:xfrm>
            <a:custGeom>
              <a:avLst/>
              <a:gdLst>
                <a:gd name="connsiteX0" fmla="*/ 1661085 w 2277288"/>
                <a:gd name="connsiteY0" fmla="*/ 603134 h 3206173"/>
                <a:gd name="connsiteX1" fmla="*/ 1444843 w 2277288"/>
                <a:gd name="connsiteY1" fmla="*/ 1052115 h 3206173"/>
                <a:gd name="connsiteX2" fmla="*/ 1347275 w 2277288"/>
                <a:gd name="connsiteY2" fmla="*/ 1475172 h 3206173"/>
                <a:gd name="connsiteX3" fmla="*/ 1326515 w 2277288"/>
                <a:gd name="connsiteY3" fmla="*/ 1658014 h 3206173"/>
                <a:gd name="connsiteX4" fmla="*/ 1317520 w 2277288"/>
                <a:gd name="connsiteY4" fmla="*/ 1859865 h 3206173"/>
                <a:gd name="connsiteX5" fmla="*/ 1318904 w 2277288"/>
                <a:gd name="connsiteY5" fmla="*/ 1959408 h 3206173"/>
                <a:gd name="connsiteX6" fmla="*/ 1293301 w 2277288"/>
                <a:gd name="connsiteY6" fmla="*/ 2368640 h 3206173"/>
                <a:gd name="connsiteX7" fmla="*/ 1062873 w 2277288"/>
                <a:gd name="connsiteY7" fmla="*/ 2813127 h 3206173"/>
                <a:gd name="connsiteX8" fmla="*/ 1055607 w 2277288"/>
                <a:gd name="connsiteY8" fmla="*/ 2821077 h 3206173"/>
                <a:gd name="connsiteX9" fmla="*/ 769130 w 2277288"/>
                <a:gd name="connsiteY9" fmla="*/ 3050924 h 3206173"/>
                <a:gd name="connsiteX10" fmla="*/ 537664 w 2277288"/>
                <a:gd name="connsiteY10" fmla="*/ 3148048 h 3206173"/>
                <a:gd name="connsiteX11" fmla="*/ 205862 w 2277288"/>
                <a:gd name="connsiteY11" fmla="*/ 3191253 h 3206173"/>
                <a:gd name="connsiteX12" fmla="*/ 0 w 2277288"/>
                <a:gd name="connsiteY12" fmla="*/ 3191253 h 3206173"/>
                <a:gd name="connsiteX13" fmla="*/ 1384 w 2277288"/>
                <a:gd name="connsiteY13" fmla="*/ 3205769 h 3206173"/>
                <a:gd name="connsiteX14" fmla="*/ 205862 w 2277288"/>
                <a:gd name="connsiteY14" fmla="*/ 3205769 h 3206173"/>
                <a:gd name="connsiteX15" fmla="*/ 541816 w 2277288"/>
                <a:gd name="connsiteY15" fmla="*/ 3161874 h 3206173"/>
                <a:gd name="connsiteX16" fmla="*/ 776396 w 2277288"/>
                <a:gd name="connsiteY16" fmla="*/ 3063367 h 3206173"/>
                <a:gd name="connsiteX17" fmla="*/ 1066333 w 2277288"/>
                <a:gd name="connsiteY17" fmla="*/ 2830755 h 3206173"/>
                <a:gd name="connsiteX18" fmla="*/ 1073253 w 2277288"/>
                <a:gd name="connsiteY18" fmla="*/ 2823151 h 3206173"/>
                <a:gd name="connsiteX19" fmla="*/ 1307832 w 2277288"/>
                <a:gd name="connsiteY19" fmla="*/ 2371751 h 3206173"/>
                <a:gd name="connsiteX20" fmla="*/ 1333781 w 2277288"/>
                <a:gd name="connsiteY20" fmla="*/ 1959062 h 3206173"/>
                <a:gd name="connsiteX21" fmla="*/ 1332397 w 2277288"/>
                <a:gd name="connsiteY21" fmla="*/ 1859519 h 3206173"/>
                <a:gd name="connsiteX22" fmla="*/ 1341393 w 2277288"/>
                <a:gd name="connsiteY22" fmla="*/ 1658705 h 3206173"/>
                <a:gd name="connsiteX23" fmla="*/ 1362152 w 2277288"/>
                <a:gd name="connsiteY23" fmla="*/ 1476555 h 3206173"/>
                <a:gd name="connsiteX24" fmla="*/ 1459029 w 2277288"/>
                <a:gd name="connsiteY24" fmla="*/ 1055916 h 3206173"/>
                <a:gd name="connsiteX25" fmla="*/ 1673887 w 2277288"/>
                <a:gd name="connsiteY25" fmla="*/ 610047 h 3206173"/>
                <a:gd name="connsiteX26" fmla="*/ 2046861 w 2277288"/>
                <a:gd name="connsiteY26" fmla="*/ 176274 h 3206173"/>
                <a:gd name="connsiteX27" fmla="*/ 2277289 w 2277288"/>
                <a:gd name="connsiteY27" fmla="*/ 0 h 3206173"/>
                <a:gd name="connsiteX28" fmla="*/ 2251340 w 2277288"/>
                <a:gd name="connsiteY28" fmla="*/ 0 h 3206173"/>
                <a:gd name="connsiteX29" fmla="*/ 2036481 w 2277288"/>
                <a:gd name="connsiteY29" fmla="*/ 166251 h 3206173"/>
                <a:gd name="connsiteX30" fmla="*/ 1661085 w 2277288"/>
                <a:gd name="connsiteY30" fmla="*/ 603134 h 3206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277288" h="3206173">
                  <a:moveTo>
                    <a:pt x="1661085" y="603134"/>
                  </a:moveTo>
                  <a:cubicBezTo>
                    <a:pt x="1571820" y="741388"/>
                    <a:pt x="1498817" y="892431"/>
                    <a:pt x="1444843" y="1052115"/>
                  </a:cubicBezTo>
                  <a:cubicBezTo>
                    <a:pt x="1400903" y="1181728"/>
                    <a:pt x="1368034" y="1324130"/>
                    <a:pt x="1347275" y="1475172"/>
                  </a:cubicBezTo>
                  <a:cubicBezTo>
                    <a:pt x="1338279" y="1540152"/>
                    <a:pt x="1331359" y="1599947"/>
                    <a:pt x="1326515" y="1658014"/>
                  </a:cubicBezTo>
                  <a:cubicBezTo>
                    <a:pt x="1320288" y="1730943"/>
                    <a:pt x="1317174" y="1796959"/>
                    <a:pt x="1317520" y="1859865"/>
                  </a:cubicBezTo>
                  <a:cubicBezTo>
                    <a:pt x="1317520" y="1893046"/>
                    <a:pt x="1318212" y="1926918"/>
                    <a:pt x="1318904" y="1959408"/>
                  </a:cubicBezTo>
                  <a:cubicBezTo>
                    <a:pt x="1321325" y="2100081"/>
                    <a:pt x="1323402" y="2233151"/>
                    <a:pt x="1293301" y="2368640"/>
                  </a:cubicBezTo>
                  <a:cubicBezTo>
                    <a:pt x="1265622" y="2492723"/>
                    <a:pt x="1202998" y="2670725"/>
                    <a:pt x="1062873" y="2813127"/>
                  </a:cubicBezTo>
                  <a:cubicBezTo>
                    <a:pt x="1061143" y="2814856"/>
                    <a:pt x="1058721" y="2817275"/>
                    <a:pt x="1055607" y="2821077"/>
                  </a:cubicBezTo>
                  <a:cubicBezTo>
                    <a:pt x="971186" y="2913016"/>
                    <a:pt x="874656" y="2990438"/>
                    <a:pt x="769130" y="3050924"/>
                  </a:cubicBezTo>
                  <a:cubicBezTo>
                    <a:pt x="721038" y="3078575"/>
                    <a:pt x="641806" y="3117632"/>
                    <a:pt x="537664" y="3148048"/>
                  </a:cubicBezTo>
                  <a:cubicBezTo>
                    <a:pt x="428678" y="3179847"/>
                    <a:pt x="316924" y="3194363"/>
                    <a:pt x="205862" y="3191253"/>
                  </a:cubicBezTo>
                  <a:lnTo>
                    <a:pt x="0" y="3191253"/>
                  </a:lnTo>
                  <a:cubicBezTo>
                    <a:pt x="346" y="3196092"/>
                    <a:pt x="692" y="3200930"/>
                    <a:pt x="1384" y="3205769"/>
                  </a:cubicBezTo>
                  <a:lnTo>
                    <a:pt x="205862" y="3205769"/>
                  </a:lnTo>
                  <a:cubicBezTo>
                    <a:pt x="318308" y="3208880"/>
                    <a:pt x="431100" y="3194018"/>
                    <a:pt x="541816" y="3161874"/>
                  </a:cubicBezTo>
                  <a:cubicBezTo>
                    <a:pt x="647342" y="3131112"/>
                    <a:pt x="727611" y="3091364"/>
                    <a:pt x="776396" y="3063367"/>
                  </a:cubicBezTo>
                  <a:cubicBezTo>
                    <a:pt x="883306" y="3002190"/>
                    <a:pt x="980874" y="2923731"/>
                    <a:pt x="1066333" y="2830755"/>
                  </a:cubicBezTo>
                  <a:cubicBezTo>
                    <a:pt x="1069447" y="2827299"/>
                    <a:pt x="1071869" y="2824879"/>
                    <a:pt x="1073253" y="2823151"/>
                  </a:cubicBezTo>
                  <a:cubicBezTo>
                    <a:pt x="1216145" y="2678329"/>
                    <a:pt x="1279461" y="2497562"/>
                    <a:pt x="1307832" y="2371751"/>
                  </a:cubicBezTo>
                  <a:cubicBezTo>
                    <a:pt x="1338625" y="2234188"/>
                    <a:pt x="1336203" y="2094551"/>
                    <a:pt x="1333781" y="1959062"/>
                  </a:cubicBezTo>
                  <a:cubicBezTo>
                    <a:pt x="1333089" y="1926572"/>
                    <a:pt x="1332743" y="1892700"/>
                    <a:pt x="1332397" y="1859519"/>
                  </a:cubicBezTo>
                  <a:cubicBezTo>
                    <a:pt x="1332397" y="1796959"/>
                    <a:pt x="1335165" y="1731288"/>
                    <a:pt x="1341393" y="1658705"/>
                  </a:cubicBezTo>
                  <a:cubicBezTo>
                    <a:pt x="1346583" y="1600984"/>
                    <a:pt x="1353157" y="1541534"/>
                    <a:pt x="1362152" y="1476555"/>
                  </a:cubicBezTo>
                  <a:cubicBezTo>
                    <a:pt x="1382911" y="1326203"/>
                    <a:pt x="1415780" y="1184838"/>
                    <a:pt x="1459029" y="1055916"/>
                  </a:cubicBezTo>
                  <a:cubicBezTo>
                    <a:pt x="1512656" y="897270"/>
                    <a:pt x="1584968" y="747264"/>
                    <a:pt x="1673887" y="610047"/>
                  </a:cubicBezTo>
                  <a:cubicBezTo>
                    <a:pt x="1778721" y="448289"/>
                    <a:pt x="1903968" y="302431"/>
                    <a:pt x="2046861" y="176274"/>
                  </a:cubicBezTo>
                  <a:cubicBezTo>
                    <a:pt x="2118480" y="113368"/>
                    <a:pt x="2196327" y="53919"/>
                    <a:pt x="2277289" y="0"/>
                  </a:cubicBezTo>
                  <a:lnTo>
                    <a:pt x="2251340" y="0"/>
                  </a:lnTo>
                  <a:cubicBezTo>
                    <a:pt x="2176260" y="51154"/>
                    <a:pt x="2103949" y="106801"/>
                    <a:pt x="2036481" y="166251"/>
                  </a:cubicBezTo>
                  <a:cubicBezTo>
                    <a:pt x="1892897" y="293099"/>
                    <a:pt x="1766611" y="439994"/>
                    <a:pt x="1661085" y="603134"/>
                  </a:cubicBezTo>
                  <a:close/>
                </a:path>
              </a:pathLst>
            </a:custGeom>
            <a:grpFill/>
            <a:ln w="34574" cap="flat">
              <a:noFill/>
              <a:prstDash val="solid"/>
              <a:miter/>
            </a:ln>
          </p:spPr>
          <p:txBody>
            <a:bodyPr rtlCol="0" anchor="ctr"/>
            <a:lstStyle/>
            <a:p>
              <a:endParaRPr lang="en-US"/>
            </a:p>
          </p:txBody>
        </p:sp>
        <p:sp>
          <p:nvSpPr>
            <p:cNvPr id="45" name="Freeform 44">
              <a:extLst>
                <a:ext uri="{FF2B5EF4-FFF2-40B4-BE49-F238E27FC236}">
                  <a16:creationId xmlns:a16="http://schemas.microsoft.com/office/drawing/2014/main" id="{8EB8D0A1-036B-3CF1-3B5E-BBAD92B07894}"/>
                </a:ext>
              </a:extLst>
            </p:cNvPr>
            <p:cNvSpPr/>
            <p:nvPr/>
          </p:nvSpPr>
          <p:spPr>
            <a:xfrm>
              <a:off x="-2969745" y="-751202"/>
              <a:ext cx="2365169" cy="3253082"/>
            </a:xfrm>
            <a:custGeom>
              <a:avLst/>
              <a:gdLst>
                <a:gd name="connsiteX0" fmla="*/ 1688764 w 2365169"/>
                <a:gd name="connsiteY0" fmla="*/ 646684 h 3253082"/>
                <a:gd name="connsiteX1" fmla="*/ 1480134 w 2365169"/>
                <a:gd name="connsiteY1" fmla="*/ 1096356 h 3253082"/>
                <a:gd name="connsiteX2" fmla="*/ 1391215 w 2365169"/>
                <a:gd name="connsiteY2" fmla="*/ 1518722 h 3253082"/>
                <a:gd name="connsiteX3" fmla="*/ 1372186 w 2365169"/>
                <a:gd name="connsiteY3" fmla="*/ 1700527 h 3253082"/>
                <a:gd name="connsiteX4" fmla="*/ 1362152 w 2365169"/>
                <a:gd name="connsiteY4" fmla="*/ 1901341 h 3253082"/>
                <a:gd name="connsiteX5" fmla="*/ 1361806 w 2365169"/>
                <a:gd name="connsiteY5" fmla="*/ 1970468 h 3253082"/>
                <a:gd name="connsiteX6" fmla="*/ 1326515 w 2365169"/>
                <a:gd name="connsiteY6" fmla="*/ 2406314 h 3253082"/>
                <a:gd name="connsiteX7" fmla="*/ 1082940 w 2365169"/>
                <a:gd name="connsiteY7" fmla="*/ 2855295 h 3253082"/>
                <a:gd name="connsiteX8" fmla="*/ 1073945 w 2365169"/>
                <a:gd name="connsiteY8" fmla="*/ 2864627 h 3253082"/>
                <a:gd name="connsiteX9" fmla="*/ 780893 w 2365169"/>
                <a:gd name="connsiteY9" fmla="*/ 3095512 h 3253082"/>
                <a:gd name="connsiteX10" fmla="*/ 551504 w 2365169"/>
                <a:gd name="connsiteY10" fmla="*/ 3191253 h 3253082"/>
                <a:gd name="connsiteX11" fmla="*/ 205516 w 2365169"/>
                <a:gd name="connsiteY11" fmla="*/ 3238259 h 3253082"/>
                <a:gd name="connsiteX12" fmla="*/ 0 w 2365169"/>
                <a:gd name="connsiteY12" fmla="*/ 3238259 h 3253082"/>
                <a:gd name="connsiteX13" fmla="*/ 1384 w 2365169"/>
                <a:gd name="connsiteY13" fmla="*/ 3252776 h 3253082"/>
                <a:gd name="connsiteX14" fmla="*/ 205516 w 2365169"/>
                <a:gd name="connsiteY14" fmla="*/ 3252776 h 3253082"/>
                <a:gd name="connsiteX15" fmla="*/ 555656 w 2365169"/>
                <a:gd name="connsiteY15" fmla="*/ 3205424 h 3253082"/>
                <a:gd name="connsiteX16" fmla="*/ 788159 w 2365169"/>
                <a:gd name="connsiteY16" fmla="*/ 3108300 h 3253082"/>
                <a:gd name="connsiteX17" fmla="*/ 1084324 w 2365169"/>
                <a:gd name="connsiteY17" fmla="*/ 2874996 h 3253082"/>
                <a:gd name="connsiteX18" fmla="*/ 1093320 w 2365169"/>
                <a:gd name="connsiteY18" fmla="*/ 2865664 h 3253082"/>
                <a:gd name="connsiteX19" fmla="*/ 1340701 w 2365169"/>
                <a:gd name="connsiteY19" fmla="*/ 2409771 h 3253082"/>
                <a:gd name="connsiteX20" fmla="*/ 1376338 w 2365169"/>
                <a:gd name="connsiteY20" fmla="*/ 1970814 h 3253082"/>
                <a:gd name="connsiteX21" fmla="*/ 1376683 w 2365169"/>
                <a:gd name="connsiteY21" fmla="*/ 1902032 h 3253082"/>
                <a:gd name="connsiteX22" fmla="*/ 1386717 w 2365169"/>
                <a:gd name="connsiteY22" fmla="*/ 1702255 h 3253082"/>
                <a:gd name="connsiteX23" fmla="*/ 1405746 w 2365169"/>
                <a:gd name="connsiteY23" fmla="*/ 1520796 h 3253082"/>
                <a:gd name="connsiteX24" fmla="*/ 1493973 w 2365169"/>
                <a:gd name="connsiteY24" fmla="*/ 1101195 h 3253082"/>
                <a:gd name="connsiteX25" fmla="*/ 1701220 w 2365169"/>
                <a:gd name="connsiteY25" fmla="*/ 654979 h 3253082"/>
                <a:gd name="connsiteX26" fmla="*/ 2068312 w 2365169"/>
                <a:gd name="connsiteY26" fmla="*/ 220170 h 3253082"/>
                <a:gd name="connsiteX27" fmla="*/ 2312925 w 2365169"/>
                <a:gd name="connsiteY27" fmla="*/ 32490 h 3253082"/>
                <a:gd name="connsiteX28" fmla="*/ 2365169 w 2365169"/>
                <a:gd name="connsiteY28" fmla="*/ 0 h 3253082"/>
                <a:gd name="connsiteX29" fmla="*/ 2337490 w 2365169"/>
                <a:gd name="connsiteY29" fmla="*/ 0 h 3253082"/>
                <a:gd name="connsiteX30" fmla="*/ 2304967 w 2365169"/>
                <a:gd name="connsiteY30" fmla="*/ 20047 h 3253082"/>
                <a:gd name="connsiteX31" fmla="*/ 2058624 w 2365169"/>
                <a:gd name="connsiteY31" fmla="*/ 209109 h 3253082"/>
                <a:gd name="connsiteX32" fmla="*/ 1688764 w 2365169"/>
                <a:gd name="connsiteY32" fmla="*/ 647030 h 3253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365169" h="3253082">
                  <a:moveTo>
                    <a:pt x="1688764" y="646684"/>
                  </a:moveTo>
                  <a:cubicBezTo>
                    <a:pt x="1601229" y="785630"/>
                    <a:pt x="1530994" y="937018"/>
                    <a:pt x="1480134" y="1096356"/>
                  </a:cubicBezTo>
                  <a:cubicBezTo>
                    <a:pt x="1439653" y="1223204"/>
                    <a:pt x="1410590" y="1361458"/>
                    <a:pt x="1391215" y="1518722"/>
                  </a:cubicBezTo>
                  <a:cubicBezTo>
                    <a:pt x="1383603" y="1581282"/>
                    <a:pt x="1377029" y="1642460"/>
                    <a:pt x="1372186" y="1700527"/>
                  </a:cubicBezTo>
                  <a:cubicBezTo>
                    <a:pt x="1365958" y="1773801"/>
                    <a:pt x="1362844" y="1839472"/>
                    <a:pt x="1362152" y="1901341"/>
                  </a:cubicBezTo>
                  <a:cubicBezTo>
                    <a:pt x="1362152" y="1924498"/>
                    <a:pt x="1361806" y="1947656"/>
                    <a:pt x="1361806" y="1970468"/>
                  </a:cubicBezTo>
                  <a:cubicBezTo>
                    <a:pt x="1361114" y="2120474"/>
                    <a:pt x="1360422" y="2262184"/>
                    <a:pt x="1326515" y="2406314"/>
                  </a:cubicBezTo>
                  <a:cubicBezTo>
                    <a:pt x="1302988" y="2506549"/>
                    <a:pt x="1240365" y="2698031"/>
                    <a:pt x="1082940" y="2855295"/>
                  </a:cubicBezTo>
                  <a:cubicBezTo>
                    <a:pt x="1080518" y="2857714"/>
                    <a:pt x="1077750" y="2860825"/>
                    <a:pt x="1073945" y="2864627"/>
                  </a:cubicBezTo>
                  <a:cubicBezTo>
                    <a:pt x="1040384" y="2899536"/>
                    <a:pt x="938663" y="3005646"/>
                    <a:pt x="780893" y="3095512"/>
                  </a:cubicBezTo>
                  <a:cubicBezTo>
                    <a:pt x="742835" y="3117287"/>
                    <a:pt x="662220" y="3158763"/>
                    <a:pt x="551504" y="3191253"/>
                  </a:cubicBezTo>
                  <a:cubicBezTo>
                    <a:pt x="436982" y="3225125"/>
                    <a:pt x="320384" y="3241024"/>
                    <a:pt x="205516" y="3238259"/>
                  </a:cubicBezTo>
                  <a:lnTo>
                    <a:pt x="0" y="3238259"/>
                  </a:lnTo>
                  <a:cubicBezTo>
                    <a:pt x="346" y="3243098"/>
                    <a:pt x="1038" y="3247937"/>
                    <a:pt x="1384" y="3252776"/>
                  </a:cubicBezTo>
                  <a:lnTo>
                    <a:pt x="205516" y="3252776"/>
                  </a:lnTo>
                  <a:cubicBezTo>
                    <a:pt x="321768" y="3255541"/>
                    <a:pt x="439404" y="3239642"/>
                    <a:pt x="555656" y="3205424"/>
                  </a:cubicBezTo>
                  <a:cubicBezTo>
                    <a:pt x="667755" y="3172243"/>
                    <a:pt x="749409" y="3130421"/>
                    <a:pt x="788159" y="3108300"/>
                  </a:cubicBezTo>
                  <a:cubicBezTo>
                    <a:pt x="947659" y="3017398"/>
                    <a:pt x="1050417" y="2910251"/>
                    <a:pt x="1084324" y="2874996"/>
                  </a:cubicBezTo>
                  <a:cubicBezTo>
                    <a:pt x="1088130" y="2871194"/>
                    <a:pt x="1090898" y="2868083"/>
                    <a:pt x="1093320" y="2865664"/>
                  </a:cubicBezTo>
                  <a:cubicBezTo>
                    <a:pt x="1253166" y="2705980"/>
                    <a:pt x="1316828" y="2511388"/>
                    <a:pt x="1340701" y="2409771"/>
                  </a:cubicBezTo>
                  <a:cubicBezTo>
                    <a:pt x="1374954" y="2263912"/>
                    <a:pt x="1375645" y="2121511"/>
                    <a:pt x="1376338" y="1970814"/>
                  </a:cubicBezTo>
                  <a:cubicBezTo>
                    <a:pt x="1376338" y="1948347"/>
                    <a:pt x="1376338" y="1924844"/>
                    <a:pt x="1376683" y="1902032"/>
                  </a:cubicBezTo>
                  <a:cubicBezTo>
                    <a:pt x="1377376" y="1840509"/>
                    <a:pt x="1380489" y="1774838"/>
                    <a:pt x="1386717" y="1702255"/>
                  </a:cubicBezTo>
                  <a:cubicBezTo>
                    <a:pt x="1391561" y="1644188"/>
                    <a:pt x="1397789" y="1583356"/>
                    <a:pt x="1405746" y="1520796"/>
                  </a:cubicBezTo>
                  <a:cubicBezTo>
                    <a:pt x="1425122" y="1364569"/>
                    <a:pt x="1453839" y="1227006"/>
                    <a:pt x="1493973" y="1101195"/>
                  </a:cubicBezTo>
                  <a:cubicBezTo>
                    <a:pt x="1544487" y="942894"/>
                    <a:pt x="1614031" y="792888"/>
                    <a:pt x="1701220" y="654979"/>
                  </a:cubicBezTo>
                  <a:cubicBezTo>
                    <a:pt x="1803286" y="492876"/>
                    <a:pt x="1926803" y="346672"/>
                    <a:pt x="2068312" y="220170"/>
                  </a:cubicBezTo>
                  <a:cubicBezTo>
                    <a:pt x="2144429" y="152080"/>
                    <a:pt x="2226774" y="88828"/>
                    <a:pt x="2312925" y="32490"/>
                  </a:cubicBezTo>
                  <a:cubicBezTo>
                    <a:pt x="2330225" y="21084"/>
                    <a:pt x="2347524" y="10715"/>
                    <a:pt x="2365169" y="0"/>
                  </a:cubicBezTo>
                  <a:lnTo>
                    <a:pt x="2337490" y="0"/>
                  </a:lnTo>
                  <a:cubicBezTo>
                    <a:pt x="2326765" y="6913"/>
                    <a:pt x="2315693" y="13134"/>
                    <a:pt x="2304967" y="20047"/>
                  </a:cubicBezTo>
                  <a:cubicBezTo>
                    <a:pt x="2218125" y="76731"/>
                    <a:pt x="2135434" y="140328"/>
                    <a:pt x="2058624" y="209109"/>
                  </a:cubicBezTo>
                  <a:cubicBezTo>
                    <a:pt x="1916424" y="336303"/>
                    <a:pt x="1791868" y="483890"/>
                    <a:pt x="1688764" y="647030"/>
                  </a:cubicBezTo>
                  <a:close/>
                </a:path>
              </a:pathLst>
            </a:custGeom>
            <a:grpFill/>
            <a:ln w="34574" cap="flat">
              <a:noFill/>
              <a:prstDash val="solid"/>
              <a:miter/>
            </a:ln>
          </p:spPr>
          <p:txBody>
            <a:bodyPr rtlCol="0" anchor="ctr"/>
            <a:lstStyle/>
            <a:p>
              <a:endParaRPr lang="en-US"/>
            </a:p>
          </p:txBody>
        </p:sp>
        <p:sp>
          <p:nvSpPr>
            <p:cNvPr id="46" name="Freeform 45">
              <a:extLst>
                <a:ext uri="{FF2B5EF4-FFF2-40B4-BE49-F238E27FC236}">
                  <a16:creationId xmlns:a16="http://schemas.microsoft.com/office/drawing/2014/main" id="{8966847F-C736-8CCB-9955-B58813551673}"/>
                </a:ext>
              </a:extLst>
            </p:cNvPr>
            <p:cNvSpPr/>
            <p:nvPr/>
          </p:nvSpPr>
          <p:spPr>
            <a:xfrm>
              <a:off x="-2966631" y="-752239"/>
              <a:ext cx="2457201" cy="3300759"/>
            </a:xfrm>
            <a:custGeom>
              <a:avLst/>
              <a:gdLst>
                <a:gd name="connsiteX0" fmla="*/ 2080075 w 2457201"/>
                <a:gd name="connsiteY0" fmla="*/ 252660 h 3300759"/>
                <a:gd name="connsiteX1" fmla="*/ 1716097 w 2457201"/>
                <a:gd name="connsiteY1" fmla="*/ 691617 h 3300759"/>
                <a:gd name="connsiteX2" fmla="*/ 1515078 w 2457201"/>
                <a:gd name="connsiteY2" fmla="*/ 1141980 h 3300759"/>
                <a:gd name="connsiteX3" fmla="*/ 1435155 w 2457201"/>
                <a:gd name="connsiteY3" fmla="*/ 1563655 h 3300759"/>
                <a:gd name="connsiteX4" fmla="*/ 1418202 w 2457201"/>
                <a:gd name="connsiteY4" fmla="*/ 1744768 h 3300759"/>
                <a:gd name="connsiteX5" fmla="*/ 1407130 w 2457201"/>
                <a:gd name="connsiteY5" fmla="*/ 1944545 h 3300759"/>
                <a:gd name="connsiteX6" fmla="*/ 1407130 w 2457201"/>
                <a:gd name="connsiteY6" fmla="*/ 1966320 h 3300759"/>
                <a:gd name="connsiteX7" fmla="*/ 1360422 w 2457201"/>
                <a:gd name="connsiteY7" fmla="*/ 2445371 h 3300759"/>
                <a:gd name="connsiteX8" fmla="*/ 1104045 w 2457201"/>
                <a:gd name="connsiteY8" fmla="*/ 2898845 h 3300759"/>
                <a:gd name="connsiteX9" fmla="*/ 1095050 w 2457201"/>
                <a:gd name="connsiteY9" fmla="*/ 2907832 h 3300759"/>
                <a:gd name="connsiteX10" fmla="*/ 793695 w 2457201"/>
                <a:gd name="connsiteY10" fmla="*/ 3141136 h 3300759"/>
                <a:gd name="connsiteX11" fmla="*/ 566381 w 2457201"/>
                <a:gd name="connsiteY11" fmla="*/ 3235494 h 3300759"/>
                <a:gd name="connsiteX12" fmla="*/ 206208 w 2457201"/>
                <a:gd name="connsiteY12" fmla="*/ 3285957 h 3300759"/>
                <a:gd name="connsiteX13" fmla="*/ 0 w 2457201"/>
                <a:gd name="connsiteY13" fmla="*/ 3285957 h 3300759"/>
                <a:gd name="connsiteX14" fmla="*/ 692 w 2457201"/>
                <a:gd name="connsiteY14" fmla="*/ 3300474 h 3300759"/>
                <a:gd name="connsiteX15" fmla="*/ 205862 w 2457201"/>
                <a:gd name="connsiteY15" fmla="*/ 3300474 h 3300759"/>
                <a:gd name="connsiteX16" fmla="*/ 570187 w 2457201"/>
                <a:gd name="connsiteY16" fmla="*/ 3249319 h 3300759"/>
                <a:gd name="connsiteX17" fmla="*/ 800269 w 2457201"/>
                <a:gd name="connsiteY17" fmla="*/ 3153578 h 3300759"/>
                <a:gd name="connsiteX18" fmla="*/ 1104737 w 2457201"/>
                <a:gd name="connsiteY18" fmla="*/ 2917855 h 3300759"/>
                <a:gd name="connsiteX19" fmla="*/ 1113733 w 2457201"/>
                <a:gd name="connsiteY19" fmla="*/ 2908868 h 3300759"/>
                <a:gd name="connsiteX20" fmla="*/ 1374262 w 2457201"/>
                <a:gd name="connsiteY20" fmla="*/ 2448482 h 3300759"/>
                <a:gd name="connsiteX21" fmla="*/ 1420970 w 2457201"/>
                <a:gd name="connsiteY21" fmla="*/ 1966320 h 3300759"/>
                <a:gd name="connsiteX22" fmla="*/ 1420970 w 2457201"/>
                <a:gd name="connsiteY22" fmla="*/ 1944545 h 3300759"/>
                <a:gd name="connsiteX23" fmla="*/ 1432388 w 2457201"/>
                <a:gd name="connsiteY23" fmla="*/ 1745459 h 3300759"/>
                <a:gd name="connsiteX24" fmla="*/ 1449341 w 2457201"/>
                <a:gd name="connsiteY24" fmla="*/ 1564692 h 3300759"/>
                <a:gd name="connsiteX25" fmla="*/ 1528918 w 2457201"/>
                <a:gd name="connsiteY25" fmla="*/ 1145782 h 3300759"/>
                <a:gd name="connsiteX26" fmla="*/ 1728206 w 2457201"/>
                <a:gd name="connsiteY26" fmla="*/ 698875 h 3300759"/>
                <a:gd name="connsiteX27" fmla="*/ 2089763 w 2457201"/>
                <a:gd name="connsiteY27" fmla="*/ 263029 h 3300759"/>
                <a:gd name="connsiteX28" fmla="*/ 2332300 w 2457201"/>
                <a:gd name="connsiteY28" fmla="*/ 75003 h 3300759"/>
                <a:gd name="connsiteX29" fmla="*/ 2457202 w 2457201"/>
                <a:gd name="connsiteY29" fmla="*/ 0 h 3300759"/>
                <a:gd name="connsiteX30" fmla="*/ 2427447 w 2457201"/>
                <a:gd name="connsiteY30" fmla="*/ 0 h 3300759"/>
                <a:gd name="connsiteX31" fmla="*/ 2324343 w 2457201"/>
                <a:gd name="connsiteY31" fmla="*/ 62906 h 3300759"/>
                <a:gd name="connsiteX32" fmla="*/ 2080075 w 2457201"/>
                <a:gd name="connsiteY32" fmla="*/ 252314 h 3300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457201" h="3300759">
                  <a:moveTo>
                    <a:pt x="2080075" y="252660"/>
                  </a:moveTo>
                  <a:cubicBezTo>
                    <a:pt x="1938913" y="380545"/>
                    <a:pt x="1816433" y="528131"/>
                    <a:pt x="1716097" y="691617"/>
                  </a:cubicBezTo>
                  <a:cubicBezTo>
                    <a:pt x="1630292" y="831599"/>
                    <a:pt x="1562479" y="982987"/>
                    <a:pt x="1515078" y="1141980"/>
                  </a:cubicBezTo>
                  <a:cubicBezTo>
                    <a:pt x="1478058" y="1266063"/>
                    <a:pt x="1452801" y="1399824"/>
                    <a:pt x="1435155" y="1563655"/>
                  </a:cubicBezTo>
                  <a:cubicBezTo>
                    <a:pt x="1428582" y="1623796"/>
                    <a:pt x="1423046" y="1684627"/>
                    <a:pt x="1418202" y="1744768"/>
                  </a:cubicBezTo>
                  <a:cubicBezTo>
                    <a:pt x="1412320" y="1818388"/>
                    <a:pt x="1408860" y="1883714"/>
                    <a:pt x="1407130" y="1944545"/>
                  </a:cubicBezTo>
                  <a:lnTo>
                    <a:pt x="1407130" y="1966320"/>
                  </a:lnTo>
                  <a:cubicBezTo>
                    <a:pt x="1402633" y="2131189"/>
                    <a:pt x="1399173" y="2287070"/>
                    <a:pt x="1360422" y="2445371"/>
                  </a:cubicBezTo>
                  <a:cubicBezTo>
                    <a:pt x="1341047" y="2524867"/>
                    <a:pt x="1277039" y="2728101"/>
                    <a:pt x="1104045" y="2898845"/>
                  </a:cubicBezTo>
                  <a:cubicBezTo>
                    <a:pt x="1101623" y="2901264"/>
                    <a:pt x="1098510" y="2904375"/>
                    <a:pt x="1095050" y="2907832"/>
                  </a:cubicBezTo>
                  <a:cubicBezTo>
                    <a:pt x="1055953" y="2947234"/>
                    <a:pt x="952157" y="3051616"/>
                    <a:pt x="793695" y="3141136"/>
                  </a:cubicBezTo>
                  <a:cubicBezTo>
                    <a:pt x="756674" y="3162219"/>
                    <a:pt x="678135" y="3201967"/>
                    <a:pt x="566381" y="3235494"/>
                  </a:cubicBezTo>
                  <a:cubicBezTo>
                    <a:pt x="445978" y="3271440"/>
                    <a:pt x="324882" y="3288376"/>
                    <a:pt x="206208" y="3285957"/>
                  </a:cubicBezTo>
                  <a:lnTo>
                    <a:pt x="0" y="3285957"/>
                  </a:lnTo>
                  <a:cubicBezTo>
                    <a:pt x="0" y="3290796"/>
                    <a:pt x="692" y="3295634"/>
                    <a:pt x="692" y="3300474"/>
                  </a:cubicBezTo>
                  <a:lnTo>
                    <a:pt x="205862" y="3300474"/>
                  </a:lnTo>
                  <a:cubicBezTo>
                    <a:pt x="325920" y="3303238"/>
                    <a:pt x="448400" y="3285957"/>
                    <a:pt x="570187" y="3249319"/>
                  </a:cubicBezTo>
                  <a:cubicBezTo>
                    <a:pt x="683325" y="3215447"/>
                    <a:pt x="762902" y="3174662"/>
                    <a:pt x="800269" y="3153578"/>
                  </a:cubicBezTo>
                  <a:cubicBezTo>
                    <a:pt x="960115" y="3063022"/>
                    <a:pt x="1065295" y="2957603"/>
                    <a:pt x="1104737" y="2917855"/>
                  </a:cubicBezTo>
                  <a:cubicBezTo>
                    <a:pt x="1108197" y="2914398"/>
                    <a:pt x="1111311" y="2911288"/>
                    <a:pt x="1113733" y="2908868"/>
                  </a:cubicBezTo>
                  <a:cubicBezTo>
                    <a:pt x="1289495" y="2735705"/>
                    <a:pt x="1354540" y="2529361"/>
                    <a:pt x="1374262" y="2448482"/>
                  </a:cubicBezTo>
                  <a:cubicBezTo>
                    <a:pt x="1413358" y="2288798"/>
                    <a:pt x="1417164" y="2132225"/>
                    <a:pt x="1420970" y="1966320"/>
                  </a:cubicBezTo>
                  <a:lnTo>
                    <a:pt x="1420970" y="1944545"/>
                  </a:lnTo>
                  <a:cubicBezTo>
                    <a:pt x="1423046" y="1884059"/>
                    <a:pt x="1426506" y="1819080"/>
                    <a:pt x="1432388" y="1745459"/>
                  </a:cubicBezTo>
                  <a:cubicBezTo>
                    <a:pt x="1437231" y="1685664"/>
                    <a:pt x="1442767" y="1624833"/>
                    <a:pt x="1449341" y="1564692"/>
                  </a:cubicBezTo>
                  <a:cubicBezTo>
                    <a:pt x="1466986" y="1401898"/>
                    <a:pt x="1492243" y="1268828"/>
                    <a:pt x="1528918" y="1145782"/>
                  </a:cubicBezTo>
                  <a:cubicBezTo>
                    <a:pt x="1575972" y="988172"/>
                    <a:pt x="1643094" y="837820"/>
                    <a:pt x="1728206" y="698875"/>
                  </a:cubicBezTo>
                  <a:cubicBezTo>
                    <a:pt x="1827851" y="536426"/>
                    <a:pt x="1949638" y="389877"/>
                    <a:pt x="2089763" y="263029"/>
                  </a:cubicBezTo>
                  <a:cubicBezTo>
                    <a:pt x="2165189" y="194593"/>
                    <a:pt x="2246842" y="131341"/>
                    <a:pt x="2332300" y="75003"/>
                  </a:cubicBezTo>
                  <a:cubicBezTo>
                    <a:pt x="2373127" y="48043"/>
                    <a:pt x="2414991" y="23503"/>
                    <a:pt x="2457202" y="0"/>
                  </a:cubicBezTo>
                  <a:lnTo>
                    <a:pt x="2427447" y="0"/>
                  </a:lnTo>
                  <a:cubicBezTo>
                    <a:pt x="2392502" y="20047"/>
                    <a:pt x="2358249" y="40785"/>
                    <a:pt x="2324343" y="62906"/>
                  </a:cubicBezTo>
                  <a:cubicBezTo>
                    <a:pt x="2238192" y="119590"/>
                    <a:pt x="2156193" y="183187"/>
                    <a:pt x="2080075" y="252314"/>
                  </a:cubicBezTo>
                  <a:close/>
                </a:path>
              </a:pathLst>
            </a:custGeom>
            <a:grpFill/>
            <a:ln w="34574" cap="flat">
              <a:noFill/>
              <a:prstDash val="solid"/>
              <a:miter/>
            </a:ln>
          </p:spPr>
          <p:txBody>
            <a:bodyPr rtlCol="0" anchor="ctr"/>
            <a:lstStyle/>
            <a:p>
              <a:endParaRPr lang="en-US"/>
            </a:p>
          </p:txBody>
        </p:sp>
        <p:sp>
          <p:nvSpPr>
            <p:cNvPr id="47" name="Freeform 46">
              <a:extLst>
                <a:ext uri="{FF2B5EF4-FFF2-40B4-BE49-F238E27FC236}">
                  <a16:creationId xmlns:a16="http://schemas.microsoft.com/office/drawing/2014/main" id="{32F42B9C-6DF2-9D5C-26EF-6D652B986272}"/>
                </a:ext>
              </a:extLst>
            </p:cNvPr>
            <p:cNvSpPr/>
            <p:nvPr/>
          </p:nvSpPr>
          <p:spPr>
            <a:xfrm>
              <a:off x="-2963863" y="-751893"/>
              <a:ext cx="2558229" cy="3347351"/>
            </a:xfrm>
            <a:custGeom>
              <a:avLst/>
              <a:gdLst>
                <a:gd name="connsiteX0" fmla="*/ 2102219 w 2558229"/>
                <a:gd name="connsiteY0" fmla="*/ 295518 h 3347351"/>
                <a:gd name="connsiteX1" fmla="*/ 1743776 w 2558229"/>
                <a:gd name="connsiteY1" fmla="*/ 735512 h 3347351"/>
                <a:gd name="connsiteX2" fmla="*/ 1550369 w 2558229"/>
                <a:gd name="connsiteY2" fmla="*/ 1186221 h 3347351"/>
                <a:gd name="connsiteX3" fmla="*/ 1479442 w 2558229"/>
                <a:gd name="connsiteY3" fmla="*/ 1606860 h 3347351"/>
                <a:gd name="connsiteX4" fmla="*/ 1464564 w 2558229"/>
                <a:gd name="connsiteY4" fmla="*/ 1787281 h 3347351"/>
                <a:gd name="connsiteX5" fmla="*/ 1452801 w 2558229"/>
                <a:gd name="connsiteY5" fmla="*/ 1986022 h 3347351"/>
                <a:gd name="connsiteX6" fmla="*/ 1395021 w 2558229"/>
                <a:gd name="connsiteY6" fmla="*/ 2482700 h 3347351"/>
                <a:gd name="connsiteX7" fmla="*/ 1125497 w 2558229"/>
                <a:gd name="connsiteY7" fmla="*/ 2940667 h 3347351"/>
                <a:gd name="connsiteX8" fmla="*/ 1119269 w 2558229"/>
                <a:gd name="connsiteY8" fmla="*/ 2946888 h 3347351"/>
                <a:gd name="connsiteX9" fmla="*/ 807188 w 2558229"/>
                <a:gd name="connsiteY9" fmla="*/ 3185377 h 3347351"/>
                <a:gd name="connsiteX10" fmla="*/ 207938 w 2558229"/>
                <a:gd name="connsiteY10" fmla="*/ 3332617 h 3347351"/>
                <a:gd name="connsiteX11" fmla="*/ 0 w 2558229"/>
                <a:gd name="connsiteY11" fmla="*/ 3332617 h 3347351"/>
                <a:gd name="connsiteX12" fmla="*/ 346 w 2558229"/>
                <a:gd name="connsiteY12" fmla="*/ 3347134 h 3347351"/>
                <a:gd name="connsiteX13" fmla="*/ 207592 w 2558229"/>
                <a:gd name="connsiteY13" fmla="*/ 3347134 h 3347351"/>
                <a:gd name="connsiteX14" fmla="*/ 814108 w 2558229"/>
                <a:gd name="connsiteY14" fmla="*/ 3198165 h 3347351"/>
                <a:gd name="connsiteX15" fmla="*/ 1129303 w 2558229"/>
                <a:gd name="connsiteY15" fmla="*/ 2957257 h 3347351"/>
                <a:gd name="connsiteX16" fmla="*/ 1135530 w 2558229"/>
                <a:gd name="connsiteY16" fmla="*/ 2951036 h 3347351"/>
                <a:gd name="connsiteX17" fmla="*/ 1408860 w 2558229"/>
                <a:gd name="connsiteY17" fmla="*/ 2486156 h 3347351"/>
                <a:gd name="connsiteX18" fmla="*/ 1467332 w 2558229"/>
                <a:gd name="connsiteY18" fmla="*/ 1986367 h 3347351"/>
                <a:gd name="connsiteX19" fmla="*/ 1479096 w 2558229"/>
                <a:gd name="connsiteY19" fmla="*/ 1788318 h 3347351"/>
                <a:gd name="connsiteX20" fmla="*/ 1493973 w 2558229"/>
                <a:gd name="connsiteY20" fmla="*/ 1608242 h 3347351"/>
                <a:gd name="connsiteX21" fmla="*/ 1564555 w 2558229"/>
                <a:gd name="connsiteY21" fmla="*/ 1190023 h 3347351"/>
                <a:gd name="connsiteX22" fmla="*/ 1756232 w 2558229"/>
                <a:gd name="connsiteY22" fmla="*/ 742771 h 3347351"/>
                <a:gd name="connsiteX23" fmla="*/ 2111906 w 2558229"/>
                <a:gd name="connsiteY23" fmla="*/ 305887 h 3347351"/>
                <a:gd name="connsiteX24" fmla="*/ 2352714 w 2558229"/>
                <a:gd name="connsiteY24" fmla="*/ 117862 h 3347351"/>
                <a:gd name="connsiteX25" fmla="*/ 2558230 w 2558229"/>
                <a:gd name="connsiteY25" fmla="*/ 0 h 3347351"/>
                <a:gd name="connsiteX26" fmla="*/ 2525015 w 2558229"/>
                <a:gd name="connsiteY26" fmla="*/ 0 h 3347351"/>
                <a:gd name="connsiteX27" fmla="*/ 2344410 w 2558229"/>
                <a:gd name="connsiteY27" fmla="*/ 105764 h 3347351"/>
                <a:gd name="connsiteX28" fmla="*/ 2101873 w 2558229"/>
                <a:gd name="connsiteY28" fmla="*/ 295173 h 3347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558229" h="3347351">
                  <a:moveTo>
                    <a:pt x="2102219" y="295518"/>
                  </a:moveTo>
                  <a:cubicBezTo>
                    <a:pt x="1962440" y="423749"/>
                    <a:pt x="1841690" y="571681"/>
                    <a:pt x="1743776" y="735512"/>
                  </a:cubicBezTo>
                  <a:cubicBezTo>
                    <a:pt x="1659701" y="876532"/>
                    <a:pt x="1594656" y="1027920"/>
                    <a:pt x="1550369" y="1186221"/>
                  </a:cubicBezTo>
                  <a:cubicBezTo>
                    <a:pt x="1516808" y="1306848"/>
                    <a:pt x="1495011" y="1436461"/>
                    <a:pt x="1479442" y="1606860"/>
                  </a:cubicBezTo>
                  <a:cubicBezTo>
                    <a:pt x="1474252" y="1662161"/>
                    <a:pt x="1469408" y="1721265"/>
                    <a:pt x="1464564" y="1787281"/>
                  </a:cubicBezTo>
                  <a:cubicBezTo>
                    <a:pt x="1458682" y="1863321"/>
                    <a:pt x="1454877" y="1926572"/>
                    <a:pt x="1452801" y="1986022"/>
                  </a:cubicBezTo>
                  <a:cubicBezTo>
                    <a:pt x="1446573" y="2152964"/>
                    <a:pt x="1437231" y="2316449"/>
                    <a:pt x="1395021" y="2482700"/>
                  </a:cubicBezTo>
                  <a:cubicBezTo>
                    <a:pt x="1379451" y="2543877"/>
                    <a:pt x="1314060" y="2757134"/>
                    <a:pt x="1125497" y="2940667"/>
                  </a:cubicBezTo>
                  <a:lnTo>
                    <a:pt x="1119269" y="2946888"/>
                  </a:lnTo>
                  <a:cubicBezTo>
                    <a:pt x="1074291" y="2991130"/>
                    <a:pt x="968419" y="3094475"/>
                    <a:pt x="807188" y="3185377"/>
                  </a:cubicBezTo>
                  <a:cubicBezTo>
                    <a:pt x="761864" y="3210954"/>
                    <a:pt x="518981" y="3338493"/>
                    <a:pt x="207938" y="3332617"/>
                  </a:cubicBezTo>
                  <a:lnTo>
                    <a:pt x="0" y="3332617"/>
                  </a:lnTo>
                  <a:cubicBezTo>
                    <a:pt x="0" y="3337456"/>
                    <a:pt x="0" y="3342295"/>
                    <a:pt x="346" y="3347134"/>
                  </a:cubicBezTo>
                  <a:lnTo>
                    <a:pt x="207592" y="3347134"/>
                  </a:lnTo>
                  <a:cubicBezTo>
                    <a:pt x="522095" y="3353356"/>
                    <a:pt x="768092" y="3224088"/>
                    <a:pt x="814108" y="3198165"/>
                  </a:cubicBezTo>
                  <a:cubicBezTo>
                    <a:pt x="977068" y="3106226"/>
                    <a:pt x="1083632" y="3001844"/>
                    <a:pt x="1129303" y="2957257"/>
                  </a:cubicBezTo>
                  <a:lnTo>
                    <a:pt x="1135530" y="2951036"/>
                  </a:lnTo>
                  <a:cubicBezTo>
                    <a:pt x="1326515" y="2764738"/>
                    <a:pt x="1392945" y="2548371"/>
                    <a:pt x="1408860" y="2486156"/>
                  </a:cubicBezTo>
                  <a:cubicBezTo>
                    <a:pt x="1451763" y="2318869"/>
                    <a:pt x="1460758" y="2154346"/>
                    <a:pt x="1467332" y="1986367"/>
                  </a:cubicBezTo>
                  <a:cubicBezTo>
                    <a:pt x="1469754" y="1927263"/>
                    <a:pt x="1473214" y="1864012"/>
                    <a:pt x="1479096" y="1788318"/>
                  </a:cubicBezTo>
                  <a:cubicBezTo>
                    <a:pt x="1483940" y="1722302"/>
                    <a:pt x="1489129" y="1663544"/>
                    <a:pt x="1493973" y="1608242"/>
                  </a:cubicBezTo>
                  <a:cubicBezTo>
                    <a:pt x="1509543" y="1438535"/>
                    <a:pt x="1531340" y="1309613"/>
                    <a:pt x="1564555" y="1190023"/>
                  </a:cubicBezTo>
                  <a:cubicBezTo>
                    <a:pt x="1608495" y="1033104"/>
                    <a:pt x="1672849" y="882407"/>
                    <a:pt x="1756232" y="742771"/>
                  </a:cubicBezTo>
                  <a:cubicBezTo>
                    <a:pt x="1853454" y="580322"/>
                    <a:pt x="1973166" y="433081"/>
                    <a:pt x="2111906" y="305887"/>
                  </a:cubicBezTo>
                  <a:cubicBezTo>
                    <a:pt x="2186640" y="237106"/>
                    <a:pt x="2267947" y="173855"/>
                    <a:pt x="2352714" y="117862"/>
                  </a:cubicBezTo>
                  <a:cubicBezTo>
                    <a:pt x="2419143" y="73966"/>
                    <a:pt x="2487995" y="34909"/>
                    <a:pt x="2558230" y="0"/>
                  </a:cubicBezTo>
                  <a:lnTo>
                    <a:pt x="2525015" y="0"/>
                  </a:lnTo>
                  <a:cubicBezTo>
                    <a:pt x="2463430" y="31798"/>
                    <a:pt x="2402882" y="67053"/>
                    <a:pt x="2344410" y="105764"/>
                  </a:cubicBezTo>
                  <a:cubicBezTo>
                    <a:pt x="2258951" y="162103"/>
                    <a:pt x="2177298" y="226046"/>
                    <a:pt x="2101873" y="295173"/>
                  </a:cubicBezTo>
                  <a:close/>
                </a:path>
              </a:pathLst>
            </a:custGeom>
            <a:grpFill/>
            <a:ln w="34574" cap="flat">
              <a:noFill/>
              <a:prstDash val="solid"/>
              <a:miter/>
            </a:ln>
          </p:spPr>
          <p:txBody>
            <a:bodyPr rtlCol="0" anchor="ctr"/>
            <a:lstStyle/>
            <a:p>
              <a:endParaRPr lang="en-US"/>
            </a:p>
          </p:txBody>
        </p:sp>
        <p:sp>
          <p:nvSpPr>
            <p:cNvPr id="48" name="Freeform 47">
              <a:extLst>
                <a:ext uri="{FF2B5EF4-FFF2-40B4-BE49-F238E27FC236}">
                  <a16:creationId xmlns:a16="http://schemas.microsoft.com/office/drawing/2014/main" id="{0ABDAE03-191A-6B79-2411-0FCBE357F68D}"/>
                </a:ext>
              </a:extLst>
            </p:cNvPr>
            <p:cNvSpPr/>
            <p:nvPr/>
          </p:nvSpPr>
          <p:spPr>
            <a:xfrm>
              <a:off x="-2962825" y="-752585"/>
              <a:ext cx="2672751" cy="3394664"/>
            </a:xfrm>
            <a:custGeom>
              <a:avLst/>
              <a:gdLst>
                <a:gd name="connsiteX0" fmla="*/ 2126092 w 2672751"/>
                <a:gd name="connsiteY0" fmla="*/ 339068 h 3394664"/>
                <a:gd name="connsiteX1" fmla="*/ 1773531 w 2672751"/>
                <a:gd name="connsiteY1" fmla="*/ 780099 h 3394664"/>
                <a:gd name="connsiteX2" fmla="*/ 1588082 w 2672751"/>
                <a:gd name="connsiteY2" fmla="*/ 1231499 h 3394664"/>
                <a:gd name="connsiteX3" fmla="*/ 1525804 w 2672751"/>
                <a:gd name="connsiteY3" fmla="*/ 1651446 h 3394664"/>
                <a:gd name="connsiteX4" fmla="*/ 1515770 w 2672751"/>
                <a:gd name="connsiteY4" fmla="*/ 1786244 h 3394664"/>
                <a:gd name="connsiteX5" fmla="*/ 1512657 w 2672751"/>
                <a:gd name="connsiteY5" fmla="*/ 1830831 h 3394664"/>
                <a:gd name="connsiteX6" fmla="*/ 1499855 w 2672751"/>
                <a:gd name="connsiteY6" fmla="*/ 2028535 h 3394664"/>
                <a:gd name="connsiteX7" fmla="*/ 1430657 w 2672751"/>
                <a:gd name="connsiteY7" fmla="*/ 2521065 h 3394664"/>
                <a:gd name="connsiteX8" fmla="*/ 1148332 w 2672751"/>
                <a:gd name="connsiteY8" fmla="*/ 2983526 h 3394664"/>
                <a:gd name="connsiteX9" fmla="*/ 821720 w 2672751"/>
                <a:gd name="connsiteY9" fmla="*/ 3230310 h 3394664"/>
                <a:gd name="connsiteX10" fmla="*/ 210360 w 2672751"/>
                <a:gd name="connsiteY10" fmla="*/ 3379969 h 3394664"/>
                <a:gd name="connsiteX11" fmla="*/ 0 w 2672751"/>
                <a:gd name="connsiteY11" fmla="*/ 3379969 h 3394664"/>
                <a:gd name="connsiteX12" fmla="*/ 0 w 2672751"/>
                <a:gd name="connsiteY12" fmla="*/ 3394486 h 3394664"/>
                <a:gd name="connsiteX13" fmla="*/ 210014 w 2672751"/>
                <a:gd name="connsiteY13" fmla="*/ 3394486 h 3394664"/>
                <a:gd name="connsiteX14" fmla="*/ 828639 w 2672751"/>
                <a:gd name="connsiteY14" fmla="*/ 3243098 h 3394664"/>
                <a:gd name="connsiteX15" fmla="*/ 1158020 w 2672751"/>
                <a:gd name="connsiteY15" fmla="*/ 2993895 h 3394664"/>
                <a:gd name="connsiteX16" fmla="*/ 1444497 w 2672751"/>
                <a:gd name="connsiteY16" fmla="*/ 2524867 h 3394664"/>
                <a:gd name="connsiteX17" fmla="*/ 1514040 w 2672751"/>
                <a:gd name="connsiteY17" fmla="*/ 2029226 h 3394664"/>
                <a:gd name="connsiteX18" fmla="*/ 1526842 w 2672751"/>
                <a:gd name="connsiteY18" fmla="*/ 1831868 h 3394664"/>
                <a:gd name="connsiteX19" fmla="*/ 1529956 w 2672751"/>
                <a:gd name="connsiteY19" fmla="*/ 1787281 h 3394664"/>
                <a:gd name="connsiteX20" fmla="*/ 1539989 w 2672751"/>
                <a:gd name="connsiteY20" fmla="*/ 1652483 h 3394664"/>
                <a:gd name="connsiteX21" fmla="*/ 1601921 w 2672751"/>
                <a:gd name="connsiteY21" fmla="*/ 1234956 h 3394664"/>
                <a:gd name="connsiteX22" fmla="*/ 1785986 w 2672751"/>
                <a:gd name="connsiteY22" fmla="*/ 787012 h 3394664"/>
                <a:gd name="connsiteX23" fmla="*/ 2136126 w 2672751"/>
                <a:gd name="connsiteY23" fmla="*/ 349092 h 3394664"/>
                <a:gd name="connsiteX24" fmla="*/ 2374857 w 2672751"/>
                <a:gd name="connsiteY24" fmla="*/ 160721 h 3394664"/>
                <a:gd name="connsiteX25" fmla="*/ 2672752 w 2672751"/>
                <a:gd name="connsiteY25" fmla="*/ 0 h 3394664"/>
                <a:gd name="connsiteX26" fmla="*/ 2635731 w 2672751"/>
                <a:gd name="connsiteY26" fmla="*/ 0 h 3394664"/>
                <a:gd name="connsiteX27" fmla="*/ 2366899 w 2672751"/>
                <a:gd name="connsiteY27" fmla="*/ 148623 h 3394664"/>
                <a:gd name="connsiteX28" fmla="*/ 2126438 w 2672751"/>
                <a:gd name="connsiteY28" fmla="*/ 338377 h 3394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72751" h="3394664">
                  <a:moveTo>
                    <a:pt x="2126092" y="339068"/>
                  </a:moveTo>
                  <a:cubicBezTo>
                    <a:pt x="1987351" y="467645"/>
                    <a:pt x="1869023" y="616268"/>
                    <a:pt x="1773531" y="780099"/>
                  </a:cubicBezTo>
                  <a:cubicBezTo>
                    <a:pt x="1691186" y="921810"/>
                    <a:pt x="1628562" y="1073890"/>
                    <a:pt x="1588082" y="1231499"/>
                  </a:cubicBezTo>
                  <a:cubicBezTo>
                    <a:pt x="1550369" y="1378049"/>
                    <a:pt x="1535492" y="1525981"/>
                    <a:pt x="1525804" y="1651446"/>
                  </a:cubicBezTo>
                  <a:cubicBezTo>
                    <a:pt x="1522344" y="1696033"/>
                    <a:pt x="1519230" y="1742003"/>
                    <a:pt x="1515770" y="1786244"/>
                  </a:cubicBezTo>
                  <a:lnTo>
                    <a:pt x="1512657" y="1830831"/>
                  </a:lnTo>
                  <a:cubicBezTo>
                    <a:pt x="1508505" y="1889244"/>
                    <a:pt x="1503661" y="1958716"/>
                    <a:pt x="1499855" y="2028535"/>
                  </a:cubicBezTo>
                  <a:cubicBezTo>
                    <a:pt x="1492935" y="2163333"/>
                    <a:pt x="1478750" y="2341335"/>
                    <a:pt x="1430657" y="2521065"/>
                  </a:cubicBezTo>
                  <a:cubicBezTo>
                    <a:pt x="1419240" y="2563924"/>
                    <a:pt x="1352118" y="2786859"/>
                    <a:pt x="1148332" y="2983526"/>
                  </a:cubicBezTo>
                  <a:cubicBezTo>
                    <a:pt x="1100932" y="3029150"/>
                    <a:pt x="989870" y="3136297"/>
                    <a:pt x="821720" y="3230310"/>
                  </a:cubicBezTo>
                  <a:cubicBezTo>
                    <a:pt x="793349" y="3246209"/>
                    <a:pt x="535242" y="3385500"/>
                    <a:pt x="210360" y="3379969"/>
                  </a:cubicBezTo>
                  <a:lnTo>
                    <a:pt x="0" y="3379969"/>
                  </a:lnTo>
                  <a:cubicBezTo>
                    <a:pt x="0" y="3384809"/>
                    <a:pt x="0" y="3389647"/>
                    <a:pt x="0" y="3394486"/>
                  </a:cubicBezTo>
                  <a:lnTo>
                    <a:pt x="210014" y="3394486"/>
                  </a:lnTo>
                  <a:cubicBezTo>
                    <a:pt x="538356" y="3400362"/>
                    <a:pt x="799923" y="3259343"/>
                    <a:pt x="828639" y="3243098"/>
                  </a:cubicBezTo>
                  <a:cubicBezTo>
                    <a:pt x="998173" y="3148048"/>
                    <a:pt x="1110273" y="3040210"/>
                    <a:pt x="1158020" y="2993895"/>
                  </a:cubicBezTo>
                  <a:cubicBezTo>
                    <a:pt x="1364574" y="2794809"/>
                    <a:pt x="1432733" y="2568072"/>
                    <a:pt x="1444497" y="2524867"/>
                  </a:cubicBezTo>
                  <a:cubicBezTo>
                    <a:pt x="1469754" y="2429818"/>
                    <a:pt x="1500547" y="2287416"/>
                    <a:pt x="1514040" y="2029226"/>
                  </a:cubicBezTo>
                  <a:cubicBezTo>
                    <a:pt x="1517846" y="1959408"/>
                    <a:pt x="1522344" y="1890280"/>
                    <a:pt x="1526842" y="1831868"/>
                  </a:cubicBezTo>
                  <a:lnTo>
                    <a:pt x="1529956" y="1787281"/>
                  </a:lnTo>
                  <a:cubicBezTo>
                    <a:pt x="1533070" y="1743040"/>
                    <a:pt x="1536529" y="1697070"/>
                    <a:pt x="1539989" y="1652483"/>
                  </a:cubicBezTo>
                  <a:cubicBezTo>
                    <a:pt x="1549677" y="1527709"/>
                    <a:pt x="1564209" y="1380468"/>
                    <a:pt x="1601921" y="1234956"/>
                  </a:cubicBezTo>
                  <a:cubicBezTo>
                    <a:pt x="1642402" y="1078383"/>
                    <a:pt x="1704333" y="927686"/>
                    <a:pt x="1785986" y="787012"/>
                  </a:cubicBezTo>
                  <a:cubicBezTo>
                    <a:pt x="1880787" y="624218"/>
                    <a:pt x="1998422" y="476977"/>
                    <a:pt x="2136126" y="349092"/>
                  </a:cubicBezTo>
                  <a:cubicBezTo>
                    <a:pt x="2210513" y="280310"/>
                    <a:pt x="2290782" y="216713"/>
                    <a:pt x="2374857" y="160721"/>
                  </a:cubicBezTo>
                  <a:cubicBezTo>
                    <a:pt x="2469657" y="97815"/>
                    <a:pt x="2569648" y="44241"/>
                    <a:pt x="2672752" y="0"/>
                  </a:cubicBezTo>
                  <a:lnTo>
                    <a:pt x="2635731" y="0"/>
                  </a:lnTo>
                  <a:cubicBezTo>
                    <a:pt x="2543007" y="41822"/>
                    <a:pt x="2452704" y="91593"/>
                    <a:pt x="2366899" y="148623"/>
                  </a:cubicBezTo>
                  <a:cubicBezTo>
                    <a:pt x="2282132" y="204962"/>
                    <a:pt x="2201171" y="268904"/>
                    <a:pt x="2126438" y="338377"/>
                  </a:cubicBezTo>
                  <a:close/>
                </a:path>
              </a:pathLst>
            </a:custGeom>
            <a:grpFill/>
            <a:ln w="34574" cap="flat">
              <a:noFill/>
              <a:prstDash val="solid"/>
              <a:miter/>
            </a:ln>
          </p:spPr>
          <p:txBody>
            <a:bodyPr rtlCol="0" anchor="ctr"/>
            <a:lstStyle/>
            <a:p>
              <a:endParaRPr lang="en-US"/>
            </a:p>
          </p:txBody>
        </p:sp>
        <p:sp>
          <p:nvSpPr>
            <p:cNvPr id="49" name="Freeform 48">
              <a:extLst>
                <a:ext uri="{FF2B5EF4-FFF2-40B4-BE49-F238E27FC236}">
                  <a16:creationId xmlns:a16="http://schemas.microsoft.com/office/drawing/2014/main" id="{0D2B7F88-CBBC-5C7F-8E52-C9BB3287117C}"/>
                </a:ext>
              </a:extLst>
            </p:cNvPr>
            <p:cNvSpPr/>
            <p:nvPr/>
          </p:nvSpPr>
          <p:spPr>
            <a:xfrm>
              <a:off x="-2962825" y="-750857"/>
              <a:ext cx="2805956" cy="3439905"/>
            </a:xfrm>
            <a:custGeom>
              <a:avLst/>
              <a:gdLst>
                <a:gd name="connsiteX0" fmla="*/ 2150657 w 2805956"/>
                <a:gd name="connsiteY0" fmla="*/ 380545 h 3439905"/>
                <a:gd name="connsiteX1" fmla="*/ 1803632 w 2805956"/>
                <a:gd name="connsiteY1" fmla="*/ 822612 h 3439905"/>
                <a:gd name="connsiteX2" fmla="*/ 1625794 w 2805956"/>
                <a:gd name="connsiteY2" fmla="*/ 1274704 h 3439905"/>
                <a:gd name="connsiteX3" fmla="*/ 1572512 w 2805956"/>
                <a:gd name="connsiteY3" fmla="*/ 1693960 h 3439905"/>
                <a:gd name="connsiteX4" fmla="*/ 1570090 w 2805956"/>
                <a:gd name="connsiteY4" fmla="*/ 1732325 h 3439905"/>
                <a:gd name="connsiteX5" fmla="*/ 1561095 w 2805956"/>
                <a:gd name="connsiteY5" fmla="*/ 1872653 h 3439905"/>
                <a:gd name="connsiteX6" fmla="*/ 1555559 w 2805956"/>
                <a:gd name="connsiteY6" fmla="*/ 1952841 h 3439905"/>
                <a:gd name="connsiteX7" fmla="*/ 1547601 w 2805956"/>
                <a:gd name="connsiteY7" fmla="*/ 2068974 h 3439905"/>
                <a:gd name="connsiteX8" fmla="*/ 1467332 w 2805956"/>
                <a:gd name="connsiteY8" fmla="*/ 2557357 h 3439905"/>
                <a:gd name="connsiteX9" fmla="*/ 1171859 w 2805956"/>
                <a:gd name="connsiteY9" fmla="*/ 3024311 h 3439905"/>
                <a:gd name="connsiteX10" fmla="*/ 837289 w 2805956"/>
                <a:gd name="connsiteY10" fmla="*/ 3273514 h 3439905"/>
                <a:gd name="connsiteX11" fmla="*/ 616549 w 2805956"/>
                <a:gd name="connsiteY11" fmla="*/ 3364070 h 3439905"/>
                <a:gd name="connsiteX12" fmla="*/ 213820 w 2805956"/>
                <a:gd name="connsiteY12" fmla="*/ 3425248 h 3439905"/>
                <a:gd name="connsiteX13" fmla="*/ 0 w 2805956"/>
                <a:gd name="connsiteY13" fmla="*/ 3425248 h 3439905"/>
                <a:gd name="connsiteX14" fmla="*/ 0 w 2805956"/>
                <a:gd name="connsiteY14" fmla="*/ 3439765 h 3439905"/>
                <a:gd name="connsiteX15" fmla="*/ 213820 w 2805956"/>
                <a:gd name="connsiteY15" fmla="*/ 3439765 h 3439905"/>
                <a:gd name="connsiteX16" fmla="*/ 621047 w 2805956"/>
                <a:gd name="connsiteY16" fmla="*/ 3377896 h 3439905"/>
                <a:gd name="connsiteX17" fmla="*/ 844555 w 2805956"/>
                <a:gd name="connsiteY17" fmla="*/ 3285957 h 3439905"/>
                <a:gd name="connsiteX18" fmla="*/ 1182239 w 2805956"/>
                <a:gd name="connsiteY18" fmla="*/ 3034680 h 3439905"/>
                <a:gd name="connsiteX19" fmla="*/ 1397443 w 2805956"/>
                <a:gd name="connsiteY19" fmla="*/ 2755752 h 3439905"/>
                <a:gd name="connsiteX20" fmla="*/ 1481518 w 2805956"/>
                <a:gd name="connsiteY20" fmla="*/ 2561159 h 3439905"/>
                <a:gd name="connsiteX21" fmla="*/ 1562133 w 2805956"/>
                <a:gd name="connsiteY21" fmla="*/ 2070011 h 3439905"/>
                <a:gd name="connsiteX22" fmla="*/ 1570090 w 2805956"/>
                <a:gd name="connsiteY22" fmla="*/ 1953878 h 3439905"/>
                <a:gd name="connsiteX23" fmla="*/ 1575626 w 2805956"/>
                <a:gd name="connsiteY23" fmla="*/ 1873690 h 3439905"/>
                <a:gd name="connsiteX24" fmla="*/ 1584622 w 2805956"/>
                <a:gd name="connsiteY24" fmla="*/ 1733362 h 3439905"/>
                <a:gd name="connsiteX25" fmla="*/ 1587044 w 2805956"/>
                <a:gd name="connsiteY25" fmla="*/ 1694996 h 3439905"/>
                <a:gd name="connsiteX26" fmla="*/ 1639980 w 2805956"/>
                <a:gd name="connsiteY26" fmla="*/ 1278506 h 3439905"/>
                <a:gd name="connsiteX27" fmla="*/ 1816433 w 2805956"/>
                <a:gd name="connsiteY27" fmla="*/ 830216 h 3439905"/>
                <a:gd name="connsiteX28" fmla="*/ 2160691 w 2805956"/>
                <a:gd name="connsiteY28" fmla="*/ 391605 h 3439905"/>
                <a:gd name="connsiteX29" fmla="*/ 2397346 w 2805956"/>
                <a:gd name="connsiteY29" fmla="*/ 203234 h 3439905"/>
                <a:gd name="connsiteX30" fmla="*/ 2746447 w 2805956"/>
                <a:gd name="connsiteY30" fmla="*/ 21084 h 3439905"/>
                <a:gd name="connsiteX31" fmla="*/ 2805957 w 2805956"/>
                <a:gd name="connsiteY31" fmla="*/ 0 h 3439905"/>
                <a:gd name="connsiteX32" fmla="*/ 2762709 w 2805956"/>
                <a:gd name="connsiteY32" fmla="*/ 0 h 3439905"/>
                <a:gd name="connsiteX33" fmla="*/ 2741257 w 2805956"/>
                <a:gd name="connsiteY33" fmla="*/ 7604 h 3439905"/>
                <a:gd name="connsiteX34" fmla="*/ 2389388 w 2805956"/>
                <a:gd name="connsiteY34" fmla="*/ 191482 h 3439905"/>
                <a:gd name="connsiteX35" fmla="*/ 2150657 w 2805956"/>
                <a:gd name="connsiteY35" fmla="*/ 381236 h 3439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805956" h="3439905">
                  <a:moveTo>
                    <a:pt x="2150657" y="380545"/>
                  </a:moveTo>
                  <a:cubicBezTo>
                    <a:pt x="2013300" y="509467"/>
                    <a:pt x="1896702" y="658436"/>
                    <a:pt x="1803632" y="822612"/>
                  </a:cubicBezTo>
                  <a:cubicBezTo>
                    <a:pt x="1723017" y="965360"/>
                    <a:pt x="1663161" y="1117440"/>
                    <a:pt x="1625794" y="1274704"/>
                  </a:cubicBezTo>
                  <a:cubicBezTo>
                    <a:pt x="1594655" y="1406045"/>
                    <a:pt x="1581854" y="1537041"/>
                    <a:pt x="1572512" y="1693960"/>
                  </a:cubicBezTo>
                  <a:lnTo>
                    <a:pt x="1570090" y="1732325"/>
                  </a:lnTo>
                  <a:cubicBezTo>
                    <a:pt x="1567322" y="1778295"/>
                    <a:pt x="1564555" y="1825647"/>
                    <a:pt x="1561095" y="1872653"/>
                  </a:cubicBezTo>
                  <a:cubicBezTo>
                    <a:pt x="1559365" y="1899267"/>
                    <a:pt x="1557289" y="1926227"/>
                    <a:pt x="1555559" y="1952841"/>
                  </a:cubicBezTo>
                  <a:cubicBezTo>
                    <a:pt x="1552791" y="1990861"/>
                    <a:pt x="1550023" y="2030263"/>
                    <a:pt x="1547601" y="2068974"/>
                  </a:cubicBezTo>
                  <a:cubicBezTo>
                    <a:pt x="1535838" y="2245248"/>
                    <a:pt x="1509543" y="2404932"/>
                    <a:pt x="1467332" y="2557357"/>
                  </a:cubicBezTo>
                  <a:cubicBezTo>
                    <a:pt x="1441383" y="2650679"/>
                    <a:pt x="1350042" y="2854258"/>
                    <a:pt x="1171859" y="3024311"/>
                  </a:cubicBezTo>
                  <a:cubicBezTo>
                    <a:pt x="1065641" y="3125928"/>
                    <a:pt x="956309" y="3207152"/>
                    <a:pt x="837289" y="3273514"/>
                  </a:cubicBezTo>
                  <a:cubicBezTo>
                    <a:pt x="822412" y="3281809"/>
                    <a:pt x="741451" y="3325359"/>
                    <a:pt x="616549" y="3364070"/>
                  </a:cubicBezTo>
                  <a:cubicBezTo>
                    <a:pt x="479884" y="3406583"/>
                    <a:pt x="344257" y="3427322"/>
                    <a:pt x="213820" y="3425248"/>
                  </a:cubicBezTo>
                  <a:lnTo>
                    <a:pt x="0" y="3425248"/>
                  </a:lnTo>
                  <a:cubicBezTo>
                    <a:pt x="0" y="3430087"/>
                    <a:pt x="0" y="3434926"/>
                    <a:pt x="0" y="3439765"/>
                  </a:cubicBezTo>
                  <a:lnTo>
                    <a:pt x="213820" y="3439765"/>
                  </a:lnTo>
                  <a:cubicBezTo>
                    <a:pt x="345641" y="3441838"/>
                    <a:pt x="482652" y="3421100"/>
                    <a:pt x="621047" y="3377896"/>
                  </a:cubicBezTo>
                  <a:cubicBezTo>
                    <a:pt x="746986" y="3338839"/>
                    <a:pt x="829331" y="3294598"/>
                    <a:pt x="844555" y="3285957"/>
                  </a:cubicBezTo>
                  <a:cubicBezTo>
                    <a:pt x="964613" y="3219249"/>
                    <a:pt x="1074983" y="3136988"/>
                    <a:pt x="1182239" y="3034680"/>
                  </a:cubicBezTo>
                  <a:cubicBezTo>
                    <a:pt x="1266660" y="2954147"/>
                    <a:pt x="1338971" y="2860134"/>
                    <a:pt x="1397443" y="2755752"/>
                  </a:cubicBezTo>
                  <a:cubicBezTo>
                    <a:pt x="1453147" y="2655518"/>
                    <a:pt x="1475982" y="2581552"/>
                    <a:pt x="1481518" y="2561159"/>
                  </a:cubicBezTo>
                  <a:cubicBezTo>
                    <a:pt x="1524074" y="2407697"/>
                    <a:pt x="1550369" y="2246976"/>
                    <a:pt x="1562133" y="2070011"/>
                  </a:cubicBezTo>
                  <a:cubicBezTo>
                    <a:pt x="1564555" y="2031300"/>
                    <a:pt x="1567322" y="1991897"/>
                    <a:pt x="1570090" y="1953878"/>
                  </a:cubicBezTo>
                  <a:cubicBezTo>
                    <a:pt x="1571820" y="1927264"/>
                    <a:pt x="1573896" y="1900304"/>
                    <a:pt x="1575626" y="1873690"/>
                  </a:cubicBezTo>
                  <a:cubicBezTo>
                    <a:pt x="1578740" y="1826684"/>
                    <a:pt x="1581854" y="1779332"/>
                    <a:pt x="1584622" y="1733362"/>
                  </a:cubicBezTo>
                  <a:lnTo>
                    <a:pt x="1587044" y="1694996"/>
                  </a:lnTo>
                  <a:cubicBezTo>
                    <a:pt x="1596385" y="1539115"/>
                    <a:pt x="1609187" y="1408465"/>
                    <a:pt x="1639980" y="1278506"/>
                  </a:cubicBezTo>
                  <a:cubicBezTo>
                    <a:pt x="1677346" y="1122624"/>
                    <a:pt x="1736510" y="971581"/>
                    <a:pt x="1816433" y="830216"/>
                  </a:cubicBezTo>
                  <a:cubicBezTo>
                    <a:pt x="1908466" y="667077"/>
                    <a:pt x="2024372" y="519490"/>
                    <a:pt x="2160691" y="391605"/>
                  </a:cubicBezTo>
                  <a:cubicBezTo>
                    <a:pt x="2234386" y="322478"/>
                    <a:pt x="2313963" y="259227"/>
                    <a:pt x="2397346" y="203234"/>
                  </a:cubicBezTo>
                  <a:cubicBezTo>
                    <a:pt x="2507370" y="129959"/>
                    <a:pt x="2624660" y="68436"/>
                    <a:pt x="2746447" y="21084"/>
                  </a:cubicBezTo>
                  <a:cubicBezTo>
                    <a:pt x="2766168" y="13480"/>
                    <a:pt x="2786236" y="6913"/>
                    <a:pt x="2805957" y="0"/>
                  </a:cubicBezTo>
                  <a:lnTo>
                    <a:pt x="2762709" y="0"/>
                  </a:lnTo>
                  <a:cubicBezTo>
                    <a:pt x="2755443" y="2765"/>
                    <a:pt x="2748177" y="4839"/>
                    <a:pt x="2741257" y="7604"/>
                  </a:cubicBezTo>
                  <a:cubicBezTo>
                    <a:pt x="2618432" y="55647"/>
                    <a:pt x="2500104" y="117516"/>
                    <a:pt x="2389388" y="191482"/>
                  </a:cubicBezTo>
                  <a:cubicBezTo>
                    <a:pt x="2305313" y="247821"/>
                    <a:pt x="2225044" y="311763"/>
                    <a:pt x="2150657" y="381236"/>
                  </a:cubicBezTo>
                  <a:close/>
                </a:path>
              </a:pathLst>
            </a:custGeom>
            <a:grpFill/>
            <a:ln w="34574" cap="flat">
              <a:noFill/>
              <a:prstDash val="solid"/>
              <a:miter/>
            </a:ln>
          </p:spPr>
          <p:txBody>
            <a:bodyPr rtlCol="0" anchor="ctr"/>
            <a:lstStyle/>
            <a:p>
              <a:endParaRPr lang="en-US"/>
            </a:p>
          </p:txBody>
        </p:sp>
        <p:sp>
          <p:nvSpPr>
            <p:cNvPr id="50" name="Freeform 49">
              <a:extLst>
                <a:ext uri="{FF2B5EF4-FFF2-40B4-BE49-F238E27FC236}">
                  <a16:creationId xmlns:a16="http://schemas.microsoft.com/office/drawing/2014/main" id="{3329C009-424A-DCB1-44C2-538B41AEB080}"/>
                </a:ext>
              </a:extLst>
            </p:cNvPr>
            <p:cNvSpPr/>
            <p:nvPr/>
          </p:nvSpPr>
          <p:spPr>
            <a:xfrm>
              <a:off x="-2963863" y="-751202"/>
              <a:ext cx="2971684" cy="3487462"/>
            </a:xfrm>
            <a:custGeom>
              <a:avLst/>
              <a:gdLst>
                <a:gd name="connsiteX0" fmla="*/ 2413262 w 2971684"/>
                <a:gd name="connsiteY0" fmla="*/ 233650 h 3487462"/>
                <a:gd name="connsiteX1" fmla="*/ 2176606 w 2971684"/>
                <a:gd name="connsiteY1" fmla="*/ 423749 h 3487462"/>
                <a:gd name="connsiteX2" fmla="*/ 1835463 w 2971684"/>
                <a:gd name="connsiteY2" fmla="*/ 867199 h 3487462"/>
                <a:gd name="connsiteX3" fmla="*/ 1665237 w 2971684"/>
                <a:gd name="connsiteY3" fmla="*/ 1319982 h 3487462"/>
                <a:gd name="connsiteX4" fmla="*/ 1620605 w 2971684"/>
                <a:gd name="connsiteY4" fmla="*/ 1738201 h 3487462"/>
                <a:gd name="connsiteX5" fmla="*/ 1611263 w 2971684"/>
                <a:gd name="connsiteY5" fmla="*/ 1916203 h 3487462"/>
                <a:gd name="connsiteX6" fmla="*/ 1596731 w 2971684"/>
                <a:gd name="connsiteY6" fmla="*/ 2111487 h 3487462"/>
                <a:gd name="connsiteX7" fmla="*/ 1505391 w 2971684"/>
                <a:gd name="connsiteY7" fmla="*/ 2595723 h 3487462"/>
                <a:gd name="connsiteX8" fmla="*/ 1197116 w 2971684"/>
                <a:gd name="connsiteY8" fmla="*/ 3067170 h 3487462"/>
                <a:gd name="connsiteX9" fmla="*/ 854243 w 2971684"/>
                <a:gd name="connsiteY9" fmla="*/ 3318792 h 3487462"/>
                <a:gd name="connsiteX10" fmla="*/ 219010 w 2971684"/>
                <a:gd name="connsiteY10" fmla="*/ 3472946 h 3487462"/>
                <a:gd name="connsiteX11" fmla="*/ 346 w 2971684"/>
                <a:gd name="connsiteY11" fmla="*/ 3472946 h 3487462"/>
                <a:gd name="connsiteX12" fmla="*/ 0 w 2971684"/>
                <a:gd name="connsiteY12" fmla="*/ 3487462 h 3487462"/>
                <a:gd name="connsiteX13" fmla="*/ 219010 w 2971684"/>
                <a:gd name="connsiteY13" fmla="*/ 3487462 h 3487462"/>
                <a:gd name="connsiteX14" fmla="*/ 234233 w 2971684"/>
                <a:gd name="connsiteY14" fmla="*/ 3487462 h 3487462"/>
                <a:gd name="connsiteX15" fmla="*/ 861508 w 2971684"/>
                <a:gd name="connsiteY15" fmla="*/ 3331581 h 3487462"/>
                <a:gd name="connsiteX16" fmla="*/ 1207150 w 2971684"/>
                <a:gd name="connsiteY16" fmla="*/ 3077884 h 3487462"/>
                <a:gd name="connsiteX17" fmla="*/ 1519230 w 2971684"/>
                <a:gd name="connsiteY17" fmla="*/ 2599870 h 3487462"/>
                <a:gd name="connsiteX18" fmla="*/ 1611263 w 2971684"/>
                <a:gd name="connsiteY18" fmla="*/ 2112870 h 3487462"/>
                <a:gd name="connsiteX19" fmla="*/ 1625794 w 2971684"/>
                <a:gd name="connsiteY19" fmla="*/ 1917240 h 3487462"/>
                <a:gd name="connsiteX20" fmla="*/ 1635136 w 2971684"/>
                <a:gd name="connsiteY20" fmla="*/ 1738892 h 3487462"/>
                <a:gd name="connsiteX21" fmla="*/ 1679422 w 2971684"/>
                <a:gd name="connsiteY21" fmla="*/ 1323093 h 3487462"/>
                <a:gd name="connsiteX22" fmla="*/ 1848264 w 2971684"/>
                <a:gd name="connsiteY22" fmla="*/ 874458 h 3487462"/>
                <a:gd name="connsiteX23" fmla="*/ 2186986 w 2971684"/>
                <a:gd name="connsiteY23" fmla="*/ 434809 h 3487462"/>
                <a:gd name="connsiteX24" fmla="*/ 2421565 w 2971684"/>
                <a:gd name="connsiteY24" fmla="*/ 246438 h 3487462"/>
                <a:gd name="connsiteX25" fmla="*/ 2768937 w 2971684"/>
                <a:gd name="connsiteY25" fmla="*/ 64979 h 3487462"/>
                <a:gd name="connsiteX26" fmla="*/ 2971685 w 2971684"/>
                <a:gd name="connsiteY26" fmla="*/ 0 h 3487462"/>
                <a:gd name="connsiteX27" fmla="*/ 2918749 w 2971684"/>
                <a:gd name="connsiteY27" fmla="*/ 0 h 3487462"/>
                <a:gd name="connsiteX28" fmla="*/ 2763747 w 2971684"/>
                <a:gd name="connsiteY28" fmla="*/ 51154 h 3487462"/>
                <a:gd name="connsiteX29" fmla="*/ 2413262 w 2971684"/>
                <a:gd name="connsiteY29" fmla="*/ 233995 h 3487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971684" h="3487462">
                  <a:moveTo>
                    <a:pt x="2413262" y="233650"/>
                  </a:moveTo>
                  <a:cubicBezTo>
                    <a:pt x="2329532" y="289643"/>
                    <a:pt x="2249956" y="353585"/>
                    <a:pt x="2176606" y="423749"/>
                  </a:cubicBezTo>
                  <a:cubicBezTo>
                    <a:pt x="2040633" y="553362"/>
                    <a:pt x="1925765" y="702331"/>
                    <a:pt x="1835463" y="867199"/>
                  </a:cubicBezTo>
                  <a:cubicBezTo>
                    <a:pt x="1756578" y="1010638"/>
                    <a:pt x="1699490" y="1163063"/>
                    <a:pt x="1665237" y="1319982"/>
                  </a:cubicBezTo>
                  <a:cubicBezTo>
                    <a:pt x="1635136" y="1457891"/>
                    <a:pt x="1627178" y="1596490"/>
                    <a:pt x="1620605" y="1738201"/>
                  </a:cubicBezTo>
                  <a:cubicBezTo>
                    <a:pt x="1617491" y="1803872"/>
                    <a:pt x="1615069" y="1858828"/>
                    <a:pt x="1611263" y="1916203"/>
                  </a:cubicBezTo>
                  <a:cubicBezTo>
                    <a:pt x="1607457" y="1972887"/>
                    <a:pt x="1602959" y="2035102"/>
                    <a:pt x="1596731" y="2111487"/>
                  </a:cubicBezTo>
                  <a:cubicBezTo>
                    <a:pt x="1583930" y="2268406"/>
                    <a:pt x="1554175" y="2426707"/>
                    <a:pt x="1505391" y="2595723"/>
                  </a:cubicBezTo>
                  <a:cubicBezTo>
                    <a:pt x="1480826" y="2681094"/>
                    <a:pt x="1384641" y="2889513"/>
                    <a:pt x="1197116" y="3067170"/>
                  </a:cubicBezTo>
                  <a:cubicBezTo>
                    <a:pt x="1094358" y="3164639"/>
                    <a:pt x="975684" y="3251393"/>
                    <a:pt x="854243" y="3318792"/>
                  </a:cubicBezTo>
                  <a:cubicBezTo>
                    <a:pt x="842479" y="3325359"/>
                    <a:pt x="563267" y="3477439"/>
                    <a:pt x="219010" y="3472946"/>
                  </a:cubicBezTo>
                  <a:lnTo>
                    <a:pt x="346" y="3472946"/>
                  </a:lnTo>
                  <a:cubicBezTo>
                    <a:pt x="346" y="3477784"/>
                    <a:pt x="346" y="3482623"/>
                    <a:pt x="0" y="3487462"/>
                  </a:cubicBezTo>
                  <a:lnTo>
                    <a:pt x="219010" y="3487462"/>
                  </a:lnTo>
                  <a:cubicBezTo>
                    <a:pt x="224200" y="3487462"/>
                    <a:pt x="229044" y="3487462"/>
                    <a:pt x="234233" y="3487462"/>
                  </a:cubicBezTo>
                  <a:cubicBezTo>
                    <a:pt x="575377" y="3487462"/>
                    <a:pt x="850091" y="3337802"/>
                    <a:pt x="861508" y="3331581"/>
                  </a:cubicBezTo>
                  <a:cubicBezTo>
                    <a:pt x="983988" y="3263836"/>
                    <a:pt x="1103699" y="3176045"/>
                    <a:pt x="1207150" y="3077884"/>
                  </a:cubicBezTo>
                  <a:cubicBezTo>
                    <a:pt x="1396751" y="2898154"/>
                    <a:pt x="1494319" y="2686625"/>
                    <a:pt x="1519230" y="2599870"/>
                  </a:cubicBezTo>
                  <a:cubicBezTo>
                    <a:pt x="1568360" y="2429818"/>
                    <a:pt x="1598461" y="2270480"/>
                    <a:pt x="1611263" y="2112870"/>
                  </a:cubicBezTo>
                  <a:cubicBezTo>
                    <a:pt x="1617491" y="2036139"/>
                    <a:pt x="1621989" y="1973924"/>
                    <a:pt x="1625794" y="1917240"/>
                  </a:cubicBezTo>
                  <a:cubicBezTo>
                    <a:pt x="1629600" y="1859865"/>
                    <a:pt x="1632022" y="1804909"/>
                    <a:pt x="1635136" y="1738892"/>
                  </a:cubicBezTo>
                  <a:cubicBezTo>
                    <a:pt x="1641364" y="1597873"/>
                    <a:pt x="1649668" y="1459964"/>
                    <a:pt x="1679422" y="1323093"/>
                  </a:cubicBezTo>
                  <a:cubicBezTo>
                    <a:pt x="1713329" y="1167557"/>
                    <a:pt x="1770071" y="1016514"/>
                    <a:pt x="1848264" y="874458"/>
                  </a:cubicBezTo>
                  <a:cubicBezTo>
                    <a:pt x="1937875" y="710972"/>
                    <a:pt x="2052051" y="563040"/>
                    <a:pt x="2186986" y="434809"/>
                  </a:cubicBezTo>
                  <a:cubicBezTo>
                    <a:pt x="2259989" y="365337"/>
                    <a:pt x="2338874" y="302085"/>
                    <a:pt x="2421565" y="246438"/>
                  </a:cubicBezTo>
                  <a:cubicBezTo>
                    <a:pt x="2530551" y="173163"/>
                    <a:pt x="2647495" y="112332"/>
                    <a:pt x="2768937" y="64979"/>
                  </a:cubicBezTo>
                  <a:cubicBezTo>
                    <a:pt x="2834674" y="39402"/>
                    <a:pt x="2902833" y="17973"/>
                    <a:pt x="2971685" y="0"/>
                  </a:cubicBezTo>
                  <a:lnTo>
                    <a:pt x="2918749" y="0"/>
                  </a:lnTo>
                  <a:cubicBezTo>
                    <a:pt x="2866505" y="15208"/>
                    <a:pt x="2814261" y="31798"/>
                    <a:pt x="2763747" y="51154"/>
                  </a:cubicBezTo>
                  <a:cubicBezTo>
                    <a:pt x="2641267" y="98852"/>
                    <a:pt x="2523286" y="160375"/>
                    <a:pt x="2413262" y="233995"/>
                  </a:cubicBezTo>
                  <a:close/>
                </a:path>
              </a:pathLst>
            </a:custGeom>
            <a:grpFill/>
            <a:ln w="34574" cap="flat">
              <a:noFill/>
              <a:prstDash val="solid"/>
              <a:miter/>
            </a:ln>
          </p:spPr>
          <p:txBody>
            <a:bodyPr rtlCol="0" anchor="ctr"/>
            <a:lstStyle/>
            <a:p>
              <a:endParaRPr lang="en-US"/>
            </a:p>
          </p:txBody>
        </p:sp>
        <p:sp>
          <p:nvSpPr>
            <p:cNvPr id="51" name="Freeform 50">
              <a:extLst>
                <a:ext uri="{FF2B5EF4-FFF2-40B4-BE49-F238E27FC236}">
                  <a16:creationId xmlns:a16="http://schemas.microsoft.com/office/drawing/2014/main" id="{175B57A3-275B-8A88-ABAD-58931EBB0210}"/>
                </a:ext>
              </a:extLst>
            </p:cNvPr>
            <p:cNvSpPr/>
            <p:nvPr/>
          </p:nvSpPr>
          <p:spPr>
            <a:xfrm>
              <a:off x="-2964555" y="-750857"/>
              <a:ext cx="3247090" cy="3520388"/>
            </a:xfrm>
            <a:custGeom>
              <a:avLst/>
              <a:gdLst>
                <a:gd name="connsiteX0" fmla="*/ 878116 w 3247090"/>
                <a:gd name="connsiteY0" fmla="*/ 3375822 h 3520388"/>
                <a:gd name="connsiteX1" fmla="*/ 1232061 w 3247090"/>
                <a:gd name="connsiteY1" fmla="*/ 3120052 h 3520388"/>
                <a:gd name="connsiteX2" fmla="*/ 1470792 w 3247090"/>
                <a:gd name="connsiteY2" fmla="*/ 2820386 h 3520388"/>
                <a:gd name="connsiteX3" fmla="*/ 1557289 w 3247090"/>
                <a:gd name="connsiteY3" fmla="*/ 2637544 h 3520388"/>
                <a:gd name="connsiteX4" fmla="*/ 1660393 w 3247090"/>
                <a:gd name="connsiteY4" fmla="*/ 2154692 h 3520388"/>
                <a:gd name="connsiteX5" fmla="*/ 1675617 w 3247090"/>
                <a:gd name="connsiteY5" fmla="*/ 1960099 h 3520388"/>
                <a:gd name="connsiteX6" fmla="*/ 1682882 w 3247090"/>
                <a:gd name="connsiteY6" fmla="*/ 1782442 h 3520388"/>
                <a:gd name="connsiteX7" fmla="*/ 1718173 w 3247090"/>
                <a:gd name="connsiteY7" fmla="*/ 1367334 h 3520388"/>
                <a:gd name="connsiteX8" fmla="*/ 1879403 w 3247090"/>
                <a:gd name="connsiteY8" fmla="*/ 918008 h 3520388"/>
                <a:gd name="connsiteX9" fmla="*/ 2212243 w 3247090"/>
                <a:gd name="connsiteY9" fmla="*/ 477323 h 3520388"/>
                <a:gd name="connsiteX10" fmla="*/ 2445092 w 3247090"/>
                <a:gd name="connsiteY10" fmla="*/ 288606 h 3520388"/>
                <a:gd name="connsiteX11" fmla="*/ 2790734 w 3247090"/>
                <a:gd name="connsiteY11" fmla="*/ 108184 h 3520388"/>
                <a:gd name="connsiteX12" fmla="*/ 3001440 w 3247090"/>
                <a:gd name="connsiteY12" fmla="*/ 41822 h 3520388"/>
                <a:gd name="connsiteX13" fmla="*/ 3247091 w 3247090"/>
                <a:gd name="connsiteY13" fmla="*/ 0 h 3520388"/>
                <a:gd name="connsiteX14" fmla="*/ 3137067 w 3247090"/>
                <a:gd name="connsiteY14" fmla="*/ 0 h 3520388"/>
                <a:gd name="connsiteX15" fmla="*/ 2997980 w 3247090"/>
                <a:gd name="connsiteY15" fmla="*/ 27996 h 3520388"/>
                <a:gd name="connsiteX16" fmla="*/ 2785544 w 3247090"/>
                <a:gd name="connsiteY16" fmla="*/ 95050 h 3520388"/>
                <a:gd name="connsiteX17" fmla="*/ 2436789 w 3247090"/>
                <a:gd name="connsiteY17" fmla="*/ 277200 h 3520388"/>
                <a:gd name="connsiteX18" fmla="*/ 2202209 w 3247090"/>
                <a:gd name="connsiteY18" fmla="*/ 467299 h 3520388"/>
                <a:gd name="connsiteX19" fmla="*/ 1866602 w 3247090"/>
                <a:gd name="connsiteY19" fmla="*/ 911786 h 3520388"/>
                <a:gd name="connsiteX20" fmla="*/ 1703987 w 3247090"/>
                <a:gd name="connsiteY20" fmla="*/ 1364915 h 3520388"/>
                <a:gd name="connsiteX21" fmla="*/ 1668351 w 3247090"/>
                <a:gd name="connsiteY21" fmla="*/ 1782442 h 3520388"/>
                <a:gd name="connsiteX22" fmla="*/ 1661085 w 3247090"/>
                <a:gd name="connsiteY22" fmla="*/ 1959753 h 3520388"/>
                <a:gd name="connsiteX23" fmla="*/ 1645862 w 3247090"/>
                <a:gd name="connsiteY23" fmla="*/ 2154000 h 3520388"/>
                <a:gd name="connsiteX24" fmla="*/ 1543449 w 3247090"/>
                <a:gd name="connsiteY24" fmla="*/ 2634088 h 3520388"/>
                <a:gd name="connsiteX25" fmla="*/ 1458337 w 3247090"/>
                <a:gd name="connsiteY25" fmla="*/ 2813819 h 3520388"/>
                <a:gd name="connsiteX26" fmla="*/ 1222027 w 3247090"/>
                <a:gd name="connsiteY26" fmla="*/ 3110374 h 3520388"/>
                <a:gd name="connsiteX27" fmla="*/ 871196 w 3247090"/>
                <a:gd name="connsiteY27" fmla="*/ 3364070 h 3520388"/>
                <a:gd name="connsiteX28" fmla="*/ 654954 w 3247090"/>
                <a:gd name="connsiteY28" fmla="*/ 3452208 h 3520388"/>
                <a:gd name="connsiteX29" fmla="*/ 223854 w 3247090"/>
                <a:gd name="connsiteY29" fmla="*/ 3520297 h 3520388"/>
                <a:gd name="connsiteX30" fmla="*/ 0 w 3247090"/>
                <a:gd name="connsiteY30" fmla="*/ 3520297 h 3520388"/>
                <a:gd name="connsiteX31" fmla="*/ 0 w 3247090"/>
                <a:gd name="connsiteY31" fmla="*/ 3520297 h 3520388"/>
                <a:gd name="connsiteX32" fmla="*/ 425910 w 3247090"/>
                <a:gd name="connsiteY32" fmla="*/ 3520297 h 3520388"/>
                <a:gd name="connsiteX33" fmla="*/ 659798 w 3247090"/>
                <a:gd name="connsiteY33" fmla="*/ 3466033 h 3520388"/>
                <a:gd name="connsiteX34" fmla="*/ 878462 w 3247090"/>
                <a:gd name="connsiteY34" fmla="*/ 3376859 h 3520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247090" h="3520388">
                  <a:moveTo>
                    <a:pt x="878116" y="3375822"/>
                  </a:moveTo>
                  <a:cubicBezTo>
                    <a:pt x="1040730" y="3286648"/>
                    <a:pt x="1160441" y="3187451"/>
                    <a:pt x="1232061" y="3120052"/>
                  </a:cubicBezTo>
                  <a:cubicBezTo>
                    <a:pt x="1325131" y="3032606"/>
                    <a:pt x="1405401" y="2931680"/>
                    <a:pt x="1470792" y="2820386"/>
                  </a:cubicBezTo>
                  <a:cubicBezTo>
                    <a:pt x="1521652" y="2733977"/>
                    <a:pt x="1548985" y="2664850"/>
                    <a:pt x="1557289" y="2637544"/>
                  </a:cubicBezTo>
                  <a:cubicBezTo>
                    <a:pt x="1596040" y="2507931"/>
                    <a:pt x="1643094" y="2336150"/>
                    <a:pt x="1660393" y="2154692"/>
                  </a:cubicBezTo>
                  <a:cubicBezTo>
                    <a:pt x="1666967" y="2086947"/>
                    <a:pt x="1672157" y="2021276"/>
                    <a:pt x="1675617" y="1960099"/>
                  </a:cubicBezTo>
                  <a:cubicBezTo>
                    <a:pt x="1679076" y="1903760"/>
                    <a:pt x="1681152" y="1848459"/>
                    <a:pt x="1682882" y="1782442"/>
                  </a:cubicBezTo>
                  <a:cubicBezTo>
                    <a:pt x="1686688" y="1646607"/>
                    <a:pt x="1690840" y="1506625"/>
                    <a:pt x="1718173" y="1367334"/>
                  </a:cubicBezTo>
                  <a:cubicBezTo>
                    <a:pt x="1748966" y="1212489"/>
                    <a:pt x="1802940" y="1061101"/>
                    <a:pt x="1879403" y="918008"/>
                  </a:cubicBezTo>
                  <a:cubicBezTo>
                    <a:pt x="1966592" y="754522"/>
                    <a:pt x="2078692" y="606245"/>
                    <a:pt x="2212243" y="477323"/>
                  </a:cubicBezTo>
                  <a:cubicBezTo>
                    <a:pt x="2284554" y="407850"/>
                    <a:pt x="2362747" y="344253"/>
                    <a:pt x="2445092" y="288606"/>
                  </a:cubicBezTo>
                  <a:cubicBezTo>
                    <a:pt x="2553040" y="215677"/>
                    <a:pt x="2669292" y="154845"/>
                    <a:pt x="2790734" y="108184"/>
                  </a:cubicBezTo>
                  <a:cubicBezTo>
                    <a:pt x="2859239" y="81916"/>
                    <a:pt x="2930167" y="59449"/>
                    <a:pt x="3001440" y="41822"/>
                  </a:cubicBezTo>
                  <a:cubicBezTo>
                    <a:pt x="3082747" y="21775"/>
                    <a:pt x="3164746" y="7950"/>
                    <a:pt x="3247091" y="0"/>
                  </a:cubicBezTo>
                  <a:lnTo>
                    <a:pt x="3137067" y="0"/>
                  </a:lnTo>
                  <a:cubicBezTo>
                    <a:pt x="3090705" y="7604"/>
                    <a:pt x="3043996" y="16591"/>
                    <a:pt x="2997980" y="27996"/>
                  </a:cubicBezTo>
                  <a:cubicBezTo>
                    <a:pt x="2926015" y="45970"/>
                    <a:pt x="2854395" y="68436"/>
                    <a:pt x="2785544" y="95050"/>
                  </a:cubicBezTo>
                  <a:cubicBezTo>
                    <a:pt x="2663064" y="142402"/>
                    <a:pt x="2545775" y="203579"/>
                    <a:pt x="2436789" y="277200"/>
                  </a:cubicBezTo>
                  <a:cubicBezTo>
                    <a:pt x="2353752" y="333193"/>
                    <a:pt x="2274867" y="397135"/>
                    <a:pt x="2202209" y="467299"/>
                  </a:cubicBezTo>
                  <a:cubicBezTo>
                    <a:pt x="2067274" y="597258"/>
                    <a:pt x="1954482" y="746918"/>
                    <a:pt x="1866602" y="911786"/>
                  </a:cubicBezTo>
                  <a:cubicBezTo>
                    <a:pt x="1789792" y="1056262"/>
                    <a:pt x="1735126" y="1208687"/>
                    <a:pt x="1703987" y="1364915"/>
                  </a:cubicBezTo>
                  <a:cubicBezTo>
                    <a:pt x="1676309" y="1505243"/>
                    <a:pt x="1672157" y="1646262"/>
                    <a:pt x="1668351" y="1782442"/>
                  </a:cubicBezTo>
                  <a:cubicBezTo>
                    <a:pt x="1666275" y="1848113"/>
                    <a:pt x="1664545" y="1903760"/>
                    <a:pt x="1661085" y="1959753"/>
                  </a:cubicBezTo>
                  <a:cubicBezTo>
                    <a:pt x="1657279" y="2020931"/>
                    <a:pt x="1652089" y="2086256"/>
                    <a:pt x="1645862" y="2154000"/>
                  </a:cubicBezTo>
                  <a:cubicBezTo>
                    <a:pt x="1636866" y="2248704"/>
                    <a:pt x="1617145" y="2389033"/>
                    <a:pt x="1543449" y="2634088"/>
                  </a:cubicBezTo>
                  <a:cubicBezTo>
                    <a:pt x="1535492" y="2660702"/>
                    <a:pt x="1508505" y="2728447"/>
                    <a:pt x="1458337" y="2813819"/>
                  </a:cubicBezTo>
                  <a:cubicBezTo>
                    <a:pt x="1393637" y="2924076"/>
                    <a:pt x="1314060" y="3023619"/>
                    <a:pt x="1222027" y="3110374"/>
                  </a:cubicBezTo>
                  <a:cubicBezTo>
                    <a:pt x="1150754" y="3177427"/>
                    <a:pt x="1032080" y="3275588"/>
                    <a:pt x="871196" y="3364070"/>
                  </a:cubicBezTo>
                  <a:cubicBezTo>
                    <a:pt x="867736" y="3365799"/>
                    <a:pt x="785391" y="3410731"/>
                    <a:pt x="654954" y="3452208"/>
                  </a:cubicBezTo>
                  <a:cubicBezTo>
                    <a:pt x="507563" y="3499214"/>
                    <a:pt x="362249" y="3522026"/>
                    <a:pt x="223854" y="3520297"/>
                  </a:cubicBezTo>
                  <a:lnTo>
                    <a:pt x="0" y="3520297"/>
                  </a:lnTo>
                  <a:cubicBezTo>
                    <a:pt x="0" y="3520297"/>
                    <a:pt x="0" y="3520297"/>
                    <a:pt x="0" y="3520297"/>
                  </a:cubicBezTo>
                  <a:lnTo>
                    <a:pt x="425910" y="3520297"/>
                  </a:lnTo>
                  <a:cubicBezTo>
                    <a:pt x="502720" y="3508892"/>
                    <a:pt x="580913" y="3490919"/>
                    <a:pt x="659798" y="3466033"/>
                  </a:cubicBezTo>
                  <a:cubicBezTo>
                    <a:pt x="764978" y="3432506"/>
                    <a:pt x="846631" y="3394141"/>
                    <a:pt x="878462" y="3376859"/>
                  </a:cubicBezTo>
                  <a:close/>
                </a:path>
              </a:pathLst>
            </a:custGeom>
            <a:grpFill/>
            <a:ln w="34574" cap="flat">
              <a:noFill/>
              <a:prstDash val="solid"/>
              <a:miter/>
            </a:ln>
          </p:spPr>
          <p:txBody>
            <a:bodyPr rtlCol="0" anchor="ctr"/>
            <a:lstStyle/>
            <a:p>
              <a:endParaRPr lang="en-US"/>
            </a:p>
          </p:txBody>
        </p:sp>
        <p:sp>
          <p:nvSpPr>
            <p:cNvPr id="52" name="Freeform 51">
              <a:extLst>
                <a:ext uri="{FF2B5EF4-FFF2-40B4-BE49-F238E27FC236}">
                  <a16:creationId xmlns:a16="http://schemas.microsoft.com/office/drawing/2014/main" id="{964FB2AF-B38F-B9C1-6248-D52D9B6220E3}"/>
                </a:ext>
              </a:extLst>
            </p:cNvPr>
            <p:cNvSpPr/>
            <p:nvPr/>
          </p:nvSpPr>
          <p:spPr>
            <a:xfrm>
              <a:off x="-3609476" y="2768403"/>
              <a:ext cx="644574" cy="345"/>
            </a:xfrm>
            <a:custGeom>
              <a:avLst/>
              <a:gdLst>
                <a:gd name="connsiteX0" fmla="*/ 590600 w 644574"/>
                <a:gd name="connsiteY0" fmla="*/ 0 h 345"/>
                <a:gd name="connsiteX1" fmla="*/ 576069 w 644574"/>
                <a:gd name="connsiteY1" fmla="*/ 0 h 345"/>
                <a:gd name="connsiteX2" fmla="*/ 537664 w 644574"/>
                <a:gd name="connsiteY2" fmla="*/ 0 h 345"/>
                <a:gd name="connsiteX3" fmla="*/ 523133 w 644574"/>
                <a:gd name="connsiteY3" fmla="*/ 0 h 345"/>
                <a:gd name="connsiteX4" fmla="*/ 486112 w 644574"/>
                <a:gd name="connsiteY4" fmla="*/ 0 h 345"/>
                <a:gd name="connsiteX5" fmla="*/ 471581 w 644574"/>
                <a:gd name="connsiteY5" fmla="*/ 0 h 345"/>
                <a:gd name="connsiteX6" fmla="*/ 434560 w 644574"/>
                <a:gd name="connsiteY6" fmla="*/ 0 h 345"/>
                <a:gd name="connsiteX7" fmla="*/ 420029 w 644574"/>
                <a:gd name="connsiteY7" fmla="*/ 0 h 345"/>
                <a:gd name="connsiteX8" fmla="*/ 384738 w 644574"/>
                <a:gd name="connsiteY8" fmla="*/ 0 h 345"/>
                <a:gd name="connsiteX9" fmla="*/ 370206 w 644574"/>
                <a:gd name="connsiteY9" fmla="*/ 0 h 345"/>
                <a:gd name="connsiteX10" fmla="*/ 335262 w 644574"/>
                <a:gd name="connsiteY10" fmla="*/ 0 h 345"/>
                <a:gd name="connsiteX11" fmla="*/ 320730 w 644574"/>
                <a:gd name="connsiteY11" fmla="*/ 0 h 345"/>
                <a:gd name="connsiteX12" fmla="*/ 287169 w 644574"/>
                <a:gd name="connsiteY12" fmla="*/ 0 h 345"/>
                <a:gd name="connsiteX13" fmla="*/ 272638 w 644574"/>
                <a:gd name="connsiteY13" fmla="*/ 0 h 345"/>
                <a:gd name="connsiteX14" fmla="*/ 239769 w 644574"/>
                <a:gd name="connsiteY14" fmla="*/ 0 h 345"/>
                <a:gd name="connsiteX15" fmla="*/ 225238 w 644574"/>
                <a:gd name="connsiteY15" fmla="*/ 0 h 345"/>
                <a:gd name="connsiteX16" fmla="*/ 193061 w 644574"/>
                <a:gd name="connsiteY16" fmla="*/ 0 h 345"/>
                <a:gd name="connsiteX17" fmla="*/ 178529 w 644574"/>
                <a:gd name="connsiteY17" fmla="*/ 0 h 345"/>
                <a:gd name="connsiteX18" fmla="*/ 147391 w 644574"/>
                <a:gd name="connsiteY18" fmla="*/ 0 h 345"/>
                <a:gd name="connsiteX19" fmla="*/ 132859 w 644574"/>
                <a:gd name="connsiteY19" fmla="*/ 0 h 345"/>
                <a:gd name="connsiteX20" fmla="*/ 101720 w 644574"/>
                <a:gd name="connsiteY20" fmla="*/ 0 h 345"/>
                <a:gd name="connsiteX21" fmla="*/ 87189 w 644574"/>
                <a:gd name="connsiteY21" fmla="*/ 0 h 345"/>
                <a:gd name="connsiteX22" fmla="*/ 57780 w 644574"/>
                <a:gd name="connsiteY22" fmla="*/ 0 h 345"/>
                <a:gd name="connsiteX23" fmla="*/ 43248 w 644574"/>
                <a:gd name="connsiteY23" fmla="*/ 0 h 345"/>
                <a:gd name="connsiteX24" fmla="*/ 14531 w 644574"/>
                <a:gd name="connsiteY24" fmla="*/ 0 h 345"/>
                <a:gd name="connsiteX25" fmla="*/ 0 w 644574"/>
                <a:gd name="connsiteY25" fmla="*/ 0 h 345"/>
                <a:gd name="connsiteX26" fmla="*/ 0 w 644574"/>
                <a:gd name="connsiteY26" fmla="*/ 346 h 345"/>
                <a:gd name="connsiteX27" fmla="*/ 14531 w 644574"/>
                <a:gd name="connsiteY27" fmla="*/ 346 h 345"/>
                <a:gd name="connsiteX28" fmla="*/ 43248 w 644574"/>
                <a:gd name="connsiteY28" fmla="*/ 346 h 345"/>
                <a:gd name="connsiteX29" fmla="*/ 57780 w 644574"/>
                <a:gd name="connsiteY29" fmla="*/ 346 h 345"/>
                <a:gd name="connsiteX30" fmla="*/ 87189 w 644574"/>
                <a:gd name="connsiteY30" fmla="*/ 346 h 345"/>
                <a:gd name="connsiteX31" fmla="*/ 101720 w 644574"/>
                <a:gd name="connsiteY31" fmla="*/ 346 h 345"/>
                <a:gd name="connsiteX32" fmla="*/ 132859 w 644574"/>
                <a:gd name="connsiteY32" fmla="*/ 346 h 345"/>
                <a:gd name="connsiteX33" fmla="*/ 147391 w 644574"/>
                <a:gd name="connsiteY33" fmla="*/ 346 h 345"/>
                <a:gd name="connsiteX34" fmla="*/ 178529 w 644574"/>
                <a:gd name="connsiteY34" fmla="*/ 346 h 345"/>
                <a:gd name="connsiteX35" fmla="*/ 193061 w 644574"/>
                <a:gd name="connsiteY35" fmla="*/ 346 h 345"/>
                <a:gd name="connsiteX36" fmla="*/ 225238 w 644574"/>
                <a:gd name="connsiteY36" fmla="*/ 346 h 345"/>
                <a:gd name="connsiteX37" fmla="*/ 239769 w 644574"/>
                <a:gd name="connsiteY37" fmla="*/ 346 h 345"/>
                <a:gd name="connsiteX38" fmla="*/ 272638 w 644574"/>
                <a:gd name="connsiteY38" fmla="*/ 346 h 345"/>
                <a:gd name="connsiteX39" fmla="*/ 287169 w 644574"/>
                <a:gd name="connsiteY39" fmla="*/ 346 h 345"/>
                <a:gd name="connsiteX40" fmla="*/ 320730 w 644574"/>
                <a:gd name="connsiteY40" fmla="*/ 346 h 345"/>
                <a:gd name="connsiteX41" fmla="*/ 335262 w 644574"/>
                <a:gd name="connsiteY41" fmla="*/ 346 h 345"/>
                <a:gd name="connsiteX42" fmla="*/ 370206 w 644574"/>
                <a:gd name="connsiteY42" fmla="*/ 346 h 345"/>
                <a:gd name="connsiteX43" fmla="*/ 384738 w 644574"/>
                <a:gd name="connsiteY43" fmla="*/ 346 h 345"/>
                <a:gd name="connsiteX44" fmla="*/ 420029 w 644574"/>
                <a:gd name="connsiteY44" fmla="*/ 346 h 345"/>
                <a:gd name="connsiteX45" fmla="*/ 434560 w 644574"/>
                <a:gd name="connsiteY45" fmla="*/ 346 h 345"/>
                <a:gd name="connsiteX46" fmla="*/ 471581 w 644574"/>
                <a:gd name="connsiteY46" fmla="*/ 346 h 345"/>
                <a:gd name="connsiteX47" fmla="*/ 486112 w 644574"/>
                <a:gd name="connsiteY47" fmla="*/ 346 h 345"/>
                <a:gd name="connsiteX48" fmla="*/ 523133 w 644574"/>
                <a:gd name="connsiteY48" fmla="*/ 346 h 345"/>
                <a:gd name="connsiteX49" fmla="*/ 537664 w 644574"/>
                <a:gd name="connsiteY49" fmla="*/ 346 h 345"/>
                <a:gd name="connsiteX50" fmla="*/ 576069 w 644574"/>
                <a:gd name="connsiteY50" fmla="*/ 346 h 345"/>
                <a:gd name="connsiteX51" fmla="*/ 590600 w 644574"/>
                <a:gd name="connsiteY51" fmla="*/ 346 h 345"/>
                <a:gd name="connsiteX52" fmla="*/ 630043 w 644574"/>
                <a:gd name="connsiteY52" fmla="*/ 346 h 345"/>
                <a:gd name="connsiteX53" fmla="*/ 644574 w 644574"/>
                <a:gd name="connsiteY53" fmla="*/ 346 h 345"/>
                <a:gd name="connsiteX54" fmla="*/ 644574 w 644574"/>
                <a:gd name="connsiteY54" fmla="*/ 0 h 345"/>
                <a:gd name="connsiteX55" fmla="*/ 630043 w 644574"/>
                <a:gd name="connsiteY55" fmla="*/ 0 h 345"/>
                <a:gd name="connsiteX56" fmla="*/ 590600 w 644574"/>
                <a:gd name="connsiteY56" fmla="*/ 0 h 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644574" h="345">
                  <a:moveTo>
                    <a:pt x="590600" y="0"/>
                  </a:moveTo>
                  <a:lnTo>
                    <a:pt x="576069" y="0"/>
                  </a:lnTo>
                  <a:lnTo>
                    <a:pt x="537664" y="0"/>
                  </a:lnTo>
                  <a:lnTo>
                    <a:pt x="523133" y="0"/>
                  </a:lnTo>
                  <a:lnTo>
                    <a:pt x="486112" y="0"/>
                  </a:lnTo>
                  <a:lnTo>
                    <a:pt x="471581" y="0"/>
                  </a:lnTo>
                  <a:lnTo>
                    <a:pt x="434560" y="0"/>
                  </a:lnTo>
                  <a:lnTo>
                    <a:pt x="420029" y="0"/>
                  </a:lnTo>
                  <a:lnTo>
                    <a:pt x="384738" y="0"/>
                  </a:lnTo>
                  <a:lnTo>
                    <a:pt x="370206" y="0"/>
                  </a:lnTo>
                  <a:lnTo>
                    <a:pt x="335262" y="0"/>
                  </a:lnTo>
                  <a:lnTo>
                    <a:pt x="320730" y="0"/>
                  </a:lnTo>
                  <a:lnTo>
                    <a:pt x="287169" y="0"/>
                  </a:lnTo>
                  <a:lnTo>
                    <a:pt x="272638" y="0"/>
                  </a:lnTo>
                  <a:lnTo>
                    <a:pt x="239769" y="0"/>
                  </a:lnTo>
                  <a:lnTo>
                    <a:pt x="225238" y="0"/>
                  </a:lnTo>
                  <a:lnTo>
                    <a:pt x="193061" y="0"/>
                  </a:lnTo>
                  <a:lnTo>
                    <a:pt x="178529" y="0"/>
                  </a:lnTo>
                  <a:lnTo>
                    <a:pt x="147391" y="0"/>
                  </a:lnTo>
                  <a:lnTo>
                    <a:pt x="132859" y="0"/>
                  </a:lnTo>
                  <a:lnTo>
                    <a:pt x="101720" y="0"/>
                  </a:lnTo>
                  <a:lnTo>
                    <a:pt x="87189" y="0"/>
                  </a:lnTo>
                  <a:lnTo>
                    <a:pt x="57780" y="0"/>
                  </a:lnTo>
                  <a:lnTo>
                    <a:pt x="43248" y="0"/>
                  </a:lnTo>
                  <a:lnTo>
                    <a:pt x="14531" y="0"/>
                  </a:lnTo>
                  <a:lnTo>
                    <a:pt x="0" y="0"/>
                  </a:lnTo>
                  <a:lnTo>
                    <a:pt x="0" y="346"/>
                  </a:lnTo>
                  <a:lnTo>
                    <a:pt x="14531" y="346"/>
                  </a:lnTo>
                  <a:lnTo>
                    <a:pt x="43248" y="346"/>
                  </a:lnTo>
                  <a:lnTo>
                    <a:pt x="57780" y="346"/>
                  </a:lnTo>
                  <a:lnTo>
                    <a:pt x="87189" y="346"/>
                  </a:lnTo>
                  <a:lnTo>
                    <a:pt x="101720" y="346"/>
                  </a:lnTo>
                  <a:lnTo>
                    <a:pt x="132859" y="346"/>
                  </a:lnTo>
                  <a:lnTo>
                    <a:pt x="147391" y="346"/>
                  </a:lnTo>
                  <a:lnTo>
                    <a:pt x="178529" y="346"/>
                  </a:lnTo>
                  <a:lnTo>
                    <a:pt x="193061" y="346"/>
                  </a:lnTo>
                  <a:lnTo>
                    <a:pt x="225238" y="346"/>
                  </a:lnTo>
                  <a:lnTo>
                    <a:pt x="239769" y="346"/>
                  </a:lnTo>
                  <a:lnTo>
                    <a:pt x="272638" y="346"/>
                  </a:lnTo>
                  <a:lnTo>
                    <a:pt x="287169" y="346"/>
                  </a:lnTo>
                  <a:lnTo>
                    <a:pt x="320730" y="346"/>
                  </a:lnTo>
                  <a:lnTo>
                    <a:pt x="335262" y="346"/>
                  </a:lnTo>
                  <a:lnTo>
                    <a:pt x="370206" y="346"/>
                  </a:lnTo>
                  <a:lnTo>
                    <a:pt x="384738" y="346"/>
                  </a:lnTo>
                  <a:lnTo>
                    <a:pt x="420029" y="346"/>
                  </a:lnTo>
                  <a:lnTo>
                    <a:pt x="434560" y="346"/>
                  </a:lnTo>
                  <a:lnTo>
                    <a:pt x="471581" y="346"/>
                  </a:lnTo>
                  <a:lnTo>
                    <a:pt x="486112" y="346"/>
                  </a:lnTo>
                  <a:lnTo>
                    <a:pt x="523133" y="346"/>
                  </a:lnTo>
                  <a:lnTo>
                    <a:pt x="537664" y="346"/>
                  </a:lnTo>
                  <a:lnTo>
                    <a:pt x="576069" y="346"/>
                  </a:lnTo>
                  <a:lnTo>
                    <a:pt x="590600" y="346"/>
                  </a:lnTo>
                  <a:lnTo>
                    <a:pt x="630043" y="346"/>
                  </a:lnTo>
                  <a:lnTo>
                    <a:pt x="644574" y="346"/>
                  </a:lnTo>
                  <a:lnTo>
                    <a:pt x="644574" y="0"/>
                  </a:lnTo>
                  <a:lnTo>
                    <a:pt x="630043" y="0"/>
                  </a:lnTo>
                  <a:lnTo>
                    <a:pt x="590600" y="0"/>
                  </a:lnTo>
                  <a:close/>
                </a:path>
              </a:pathLst>
            </a:custGeom>
            <a:grpFill/>
            <a:ln w="34574" cap="flat">
              <a:noFill/>
              <a:prstDash val="solid"/>
              <a:miter/>
            </a:ln>
          </p:spPr>
          <p:txBody>
            <a:bodyPr rtlCol="0" anchor="ctr"/>
            <a:lstStyle/>
            <a:p>
              <a:endParaRPr lang="en-US"/>
            </a:p>
          </p:txBody>
        </p:sp>
        <p:sp>
          <p:nvSpPr>
            <p:cNvPr id="53" name="Freeform 52">
              <a:extLst>
                <a:ext uri="{FF2B5EF4-FFF2-40B4-BE49-F238E27FC236}">
                  <a16:creationId xmlns:a16="http://schemas.microsoft.com/office/drawing/2014/main" id="{3AE30BDD-E94C-6A2F-814C-20932E7F9490}"/>
                </a:ext>
              </a:extLst>
            </p:cNvPr>
            <p:cNvSpPr/>
            <p:nvPr/>
          </p:nvSpPr>
          <p:spPr>
            <a:xfrm>
              <a:off x="-3898721" y="2627729"/>
              <a:ext cx="936241" cy="14516"/>
            </a:xfrm>
            <a:custGeom>
              <a:avLst/>
              <a:gdLst>
                <a:gd name="connsiteX0" fmla="*/ 868082 w 936241"/>
                <a:gd name="connsiteY0" fmla="*/ 0 h 14516"/>
                <a:gd name="connsiteX1" fmla="*/ 0 w 936241"/>
                <a:gd name="connsiteY1" fmla="*/ 0 h 14516"/>
                <a:gd name="connsiteX2" fmla="*/ 346 w 936241"/>
                <a:gd name="connsiteY2" fmla="*/ 14517 h 14516"/>
                <a:gd name="connsiteX3" fmla="*/ 936242 w 936241"/>
                <a:gd name="connsiteY3" fmla="*/ 14517 h 14516"/>
                <a:gd name="connsiteX4" fmla="*/ 936242 w 936241"/>
                <a:gd name="connsiteY4" fmla="*/ 0 h 14516"/>
                <a:gd name="connsiteX5" fmla="*/ 868428 w 936241"/>
                <a:gd name="connsiteY5" fmla="*/ 0 h 14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6241" h="14516">
                  <a:moveTo>
                    <a:pt x="868082" y="0"/>
                  </a:moveTo>
                  <a:lnTo>
                    <a:pt x="0" y="0"/>
                  </a:lnTo>
                  <a:cubicBezTo>
                    <a:pt x="0" y="4839"/>
                    <a:pt x="0" y="9678"/>
                    <a:pt x="346" y="14517"/>
                  </a:cubicBezTo>
                  <a:lnTo>
                    <a:pt x="936242" y="14517"/>
                  </a:lnTo>
                  <a:cubicBezTo>
                    <a:pt x="936242" y="9678"/>
                    <a:pt x="936242" y="4839"/>
                    <a:pt x="936242" y="0"/>
                  </a:cubicBezTo>
                  <a:lnTo>
                    <a:pt x="868428" y="0"/>
                  </a:lnTo>
                  <a:close/>
                </a:path>
              </a:pathLst>
            </a:custGeom>
            <a:grpFill/>
            <a:ln w="34574" cap="flat">
              <a:noFill/>
              <a:prstDash val="solid"/>
              <a:miter/>
            </a:ln>
          </p:spPr>
          <p:txBody>
            <a:bodyPr rtlCol="0" anchor="ctr"/>
            <a:lstStyle/>
            <a:p>
              <a:endParaRPr lang="en-US"/>
            </a:p>
          </p:txBody>
        </p:sp>
        <p:sp>
          <p:nvSpPr>
            <p:cNvPr id="54" name="Freeform 53">
              <a:extLst>
                <a:ext uri="{FF2B5EF4-FFF2-40B4-BE49-F238E27FC236}">
                  <a16:creationId xmlns:a16="http://schemas.microsoft.com/office/drawing/2014/main" id="{96D8D9CE-BBBB-C91B-DFC0-25328219F31D}"/>
                </a:ext>
              </a:extLst>
            </p:cNvPr>
            <p:cNvSpPr/>
            <p:nvPr/>
          </p:nvSpPr>
          <p:spPr>
            <a:xfrm>
              <a:off x="-3925708" y="2393043"/>
              <a:ext cx="948351" cy="14516"/>
            </a:xfrm>
            <a:custGeom>
              <a:avLst/>
              <a:gdLst>
                <a:gd name="connsiteX0" fmla="*/ 314848 w 948351"/>
                <a:gd name="connsiteY0" fmla="*/ 14517 h 14516"/>
                <a:gd name="connsiteX1" fmla="*/ 948351 w 948351"/>
                <a:gd name="connsiteY1" fmla="*/ 14517 h 14516"/>
                <a:gd name="connsiteX2" fmla="*/ 946621 w 948351"/>
                <a:gd name="connsiteY2" fmla="*/ 0 h 14516"/>
                <a:gd name="connsiteX3" fmla="*/ 0 w 948351"/>
                <a:gd name="connsiteY3" fmla="*/ 0 h 14516"/>
                <a:gd name="connsiteX4" fmla="*/ 3114 w 948351"/>
                <a:gd name="connsiteY4" fmla="*/ 14517 h 14516"/>
                <a:gd name="connsiteX5" fmla="*/ 314848 w 948351"/>
                <a:gd name="connsiteY5" fmla="*/ 14517 h 14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48351" h="14516">
                  <a:moveTo>
                    <a:pt x="314848" y="14517"/>
                  </a:moveTo>
                  <a:lnTo>
                    <a:pt x="948351" y="14517"/>
                  </a:lnTo>
                  <a:cubicBezTo>
                    <a:pt x="947659" y="9678"/>
                    <a:pt x="947313" y="4839"/>
                    <a:pt x="946621" y="0"/>
                  </a:cubicBezTo>
                  <a:lnTo>
                    <a:pt x="0" y="0"/>
                  </a:lnTo>
                  <a:cubicBezTo>
                    <a:pt x="1038" y="4839"/>
                    <a:pt x="2076" y="9678"/>
                    <a:pt x="3114" y="14517"/>
                  </a:cubicBezTo>
                  <a:lnTo>
                    <a:pt x="314848" y="14517"/>
                  </a:lnTo>
                  <a:close/>
                </a:path>
              </a:pathLst>
            </a:custGeom>
            <a:grpFill/>
            <a:ln w="34574" cap="flat">
              <a:noFill/>
              <a:prstDash val="solid"/>
              <a:miter/>
            </a:ln>
          </p:spPr>
          <p:txBody>
            <a:bodyPr rtlCol="0" anchor="ctr"/>
            <a:lstStyle/>
            <a:p>
              <a:endParaRPr lang="en-US"/>
            </a:p>
          </p:txBody>
        </p:sp>
        <p:sp>
          <p:nvSpPr>
            <p:cNvPr id="55" name="Freeform 54">
              <a:extLst>
                <a:ext uri="{FF2B5EF4-FFF2-40B4-BE49-F238E27FC236}">
                  <a16:creationId xmlns:a16="http://schemas.microsoft.com/office/drawing/2014/main" id="{BCBB20E5-DD7B-6169-D923-8862A4A0C18B}"/>
                </a:ext>
              </a:extLst>
            </p:cNvPr>
            <p:cNvSpPr/>
            <p:nvPr/>
          </p:nvSpPr>
          <p:spPr>
            <a:xfrm>
              <a:off x="-3917058" y="2440049"/>
              <a:ext cx="944545" cy="14516"/>
            </a:xfrm>
            <a:custGeom>
              <a:avLst/>
              <a:gdLst>
                <a:gd name="connsiteX0" fmla="*/ 313118 w 944545"/>
                <a:gd name="connsiteY0" fmla="*/ 14517 h 14516"/>
                <a:gd name="connsiteX1" fmla="*/ 944545 w 944545"/>
                <a:gd name="connsiteY1" fmla="*/ 14517 h 14516"/>
                <a:gd name="connsiteX2" fmla="*/ 943161 w 944545"/>
                <a:gd name="connsiteY2" fmla="*/ 0 h 14516"/>
                <a:gd name="connsiteX3" fmla="*/ 0 w 944545"/>
                <a:gd name="connsiteY3" fmla="*/ 0 h 14516"/>
                <a:gd name="connsiteX4" fmla="*/ 2422 w 944545"/>
                <a:gd name="connsiteY4" fmla="*/ 14517 h 14516"/>
                <a:gd name="connsiteX5" fmla="*/ 312773 w 944545"/>
                <a:gd name="connsiteY5" fmla="*/ 14517 h 14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44545" h="14516">
                  <a:moveTo>
                    <a:pt x="313118" y="14517"/>
                  </a:moveTo>
                  <a:lnTo>
                    <a:pt x="944545" y="14517"/>
                  </a:lnTo>
                  <a:cubicBezTo>
                    <a:pt x="944199" y="9678"/>
                    <a:pt x="943853" y="4839"/>
                    <a:pt x="943161" y="0"/>
                  </a:cubicBezTo>
                  <a:lnTo>
                    <a:pt x="0" y="0"/>
                  </a:lnTo>
                  <a:cubicBezTo>
                    <a:pt x="692" y="4839"/>
                    <a:pt x="1730" y="9678"/>
                    <a:pt x="2422" y="14517"/>
                  </a:cubicBezTo>
                  <a:lnTo>
                    <a:pt x="312773" y="14517"/>
                  </a:lnTo>
                  <a:close/>
                </a:path>
              </a:pathLst>
            </a:custGeom>
            <a:grpFill/>
            <a:ln w="34574" cap="flat">
              <a:noFill/>
              <a:prstDash val="solid"/>
              <a:miter/>
            </a:ln>
          </p:spPr>
          <p:txBody>
            <a:bodyPr rtlCol="0" anchor="ctr"/>
            <a:lstStyle/>
            <a:p>
              <a:endParaRPr lang="en-US"/>
            </a:p>
          </p:txBody>
        </p:sp>
        <p:sp>
          <p:nvSpPr>
            <p:cNvPr id="56" name="Freeform 55">
              <a:extLst>
                <a:ext uri="{FF2B5EF4-FFF2-40B4-BE49-F238E27FC236}">
                  <a16:creationId xmlns:a16="http://schemas.microsoft.com/office/drawing/2014/main" id="{1DD6D3C8-CE07-ED90-FDF2-74ECA492BD1D}"/>
                </a:ext>
              </a:extLst>
            </p:cNvPr>
            <p:cNvSpPr/>
            <p:nvPr/>
          </p:nvSpPr>
          <p:spPr>
            <a:xfrm>
              <a:off x="-3909793" y="2486710"/>
              <a:ext cx="941431" cy="14516"/>
            </a:xfrm>
            <a:custGeom>
              <a:avLst/>
              <a:gdLst>
                <a:gd name="connsiteX0" fmla="*/ 311389 w 941431"/>
                <a:gd name="connsiteY0" fmla="*/ 14517 h 14516"/>
                <a:gd name="connsiteX1" fmla="*/ 941431 w 941431"/>
                <a:gd name="connsiteY1" fmla="*/ 14517 h 14516"/>
                <a:gd name="connsiteX2" fmla="*/ 940048 w 941431"/>
                <a:gd name="connsiteY2" fmla="*/ 0 h 14516"/>
                <a:gd name="connsiteX3" fmla="*/ 0 w 941431"/>
                <a:gd name="connsiteY3" fmla="*/ 0 h 14516"/>
                <a:gd name="connsiteX4" fmla="*/ 1730 w 941431"/>
                <a:gd name="connsiteY4" fmla="*/ 14517 h 14516"/>
                <a:gd name="connsiteX5" fmla="*/ 311389 w 941431"/>
                <a:gd name="connsiteY5" fmla="*/ 14517 h 14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41431" h="14516">
                  <a:moveTo>
                    <a:pt x="311389" y="14517"/>
                  </a:moveTo>
                  <a:lnTo>
                    <a:pt x="941431" y="14517"/>
                  </a:lnTo>
                  <a:cubicBezTo>
                    <a:pt x="941085" y="9678"/>
                    <a:pt x="940740" y="4839"/>
                    <a:pt x="940048" y="0"/>
                  </a:cubicBezTo>
                  <a:lnTo>
                    <a:pt x="0" y="0"/>
                  </a:lnTo>
                  <a:cubicBezTo>
                    <a:pt x="692" y="4839"/>
                    <a:pt x="1384" y="9678"/>
                    <a:pt x="1730" y="14517"/>
                  </a:cubicBezTo>
                  <a:lnTo>
                    <a:pt x="311389" y="14517"/>
                  </a:lnTo>
                  <a:close/>
                </a:path>
              </a:pathLst>
            </a:custGeom>
            <a:grpFill/>
            <a:ln w="34574" cap="flat">
              <a:noFill/>
              <a:prstDash val="solid"/>
              <a:miter/>
            </a:ln>
          </p:spPr>
          <p:txBody>
            <a:bodyPr rtlCol="0" anchor="ctr"/>
            <a:lstStyle/>
            <a:p>
              <a:endParaRPr lang="en-US"/>
            </a:p>
          </p:txBody>
        </p:sp>
        <p:sp>
          <p:nvSpPr>
            <p:cNvPr id="57" name="Freeform 56">
              <a:extLst>
                <a:ext uri="{FF2B5EF4-FFF2-40B4-BE49-F238E27FC236}">
                  <a16:creationId xmlns:a16="http://schemas.microsoft.com/office/drawing/2014/main" id="{C660C5CA-9B43-0B59-E6E3-E70C48F5C0CF}"/>
                </a:ext>
              </a:extLst>
            </p:cNvPr>
            <p:cNvSpPr/>
            <p:nvPr/>
          </p:nvSpPr>
          <p:spPr>
            <a:xfrm>
              <a:off x="-3904257" y="2533716"/>
              <a:ext cx="938663" cy="14516"/>
            </a:xfrm>
            <a:custGeom>
              <a:avLst/>
              <a:gdLst>
                <a:gd name="connsiteX0" fmla="*/ 310005 w 938663"/>
                <a:gd name="connsiteY0" fmla="*/ 14517 h 14516"/>
                <a:gd name="connsiteX1" fmla="*/ 938664 w 938663"/>
                <a:gd name="connsiteY1" fmla="*/ 14517 h 14516"/>
                <a:gd name="connsiteX2" fmla="*/ 937972 w 938663"/>
                <a:gd name="connsiteY2" fmla="*/ 0 h 14516"/>
                <a:gd name="connsiteX3" fmla="*/ 0 w 938663"/>
                <a:gd name="connsiteY3" fmla="*/ 0 h 14516"/>
                <a:gd name="connsiteX4" fmla="*/ 1038 w 938663"/>
                <a:gd name="connsiteY4" fmla="*/ 14517 h 14516"/>
                <a:gd name="connsiteX5" fmla="*/ 309659 w 938663"/>
                <a:gd name="connsiteY5" fmla="*/ 14517 h 14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8663" h="14516">
                  <a:moveTo>
                    <a:pt x="310005" y="14517"/>
                  </a:moveTo>
                  <a:lnTo>
                    <a:pt x="938664" y="14517"/>
                  </a:lnTo>
                  <a:cubicBezTo>
                    <a:pt x="938664" y="9678"/>
                    <a:pt x="937972" y="4839"/>
                    <a:pt x="937972" y="0"/>
                  </a:cubicBezTo>
                  <a:lnTo>
                    <a:pt x="0" y="0"/>
                  </a:lnTo>
                  <a:cubicBezTo>
                    <a:pt x="346" y="4839"/>
                    <a:pt x="692" y="9678"/>
                    <a:pt x="1038" y="14517"/>
                  </a:cubicBezTo>
                  <a:lnTo>
                    <a:pt x="309659" y="14517"/>
                  </a:lnTo>
                  <a:close/>
                </a:path>
              </a:pathLst>
            </a:custGeom>
            <a:grpFill/>
            <a:ln w="34574" cap="flat">
              <a:noFill/>
              <a:prstDash val="solid"/>
              <a:miter/>
            </a:ln>
          </p:spPr>
          <p:txBody>
            <a:bodyPr rtlCol="0" anchor="ctr"/>
            <a:lstStyle/>
            <a:p>
              <a:endParaRPr lang="en-US"/>
            </a:p>
          </p:txBody>
        </p:sp>
        <p:sp>
          <p:nvSpPr>
            <p:cNvPr id="58" name="Freeform 57">
              <a:extLst>
                <a:ext uri="{FF2B5EF4-FFF2-40B4-BE49-F238E27FC236}">
                  <a16:creationId xmlns:a16="http://schemas.microsoft.com/office/drawing/2014/main" id="{3AA7C694-250B-CE03-6676-038A5F6E6034}"/>
                </a:ext>
              </a:extLst>
            </p:cNvPr>
            <p:cNvSpPr/>
            <p:nvPr/>
          </p:nvSpPr>
          <p:spPr>
            <a:xfrm>
              <a:off x="-3898721" y="2674736"/>
              <a:ext cx="936241" cy="14516"/>
            </a:xfrm>
            <a:custGeom>
              <a:avLst/>
              <a:gdLst>
                <a:gd name="connsiteX0" fmla="*/ 307583 w 936241"/>
                <a:gd name="connsiteY0" fmla="*/ 14517 h 14516"/>
                <a:gd name="connsiteX1" fmla="*/ 936242 w 936241"/>
                <a:gd name="connsiteY1" fmla="*/ 14517 h 14516"/>
                <a:gd name="connsiteX2" fmla="*/ 936242 w 936241"/>
                <a:gd name="connsiteY2" fmla="*/ 0 h 14516"/>
                <a:gd name="connsiteX3" fmla="*/ 346 w 936241"/>
                <a:gd name="connsiteY3" fmla="*/ 0 h 14516"/>
                <a:gd name="connsiteX4" fmla="*/ 0 w 936241"/>
                <a:gd name="connsiteY4" fmla="*/ 14517 h 14516"/>
                <a:gd name="connsiteX5" fmla="*/ 307583 w 936241"/>
                <a:gd name="connsiteY5" fmla="*/ 14517 h 14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6241" h="14516">
                  <a:moveTo>
                    <a:pt x="307583" y="14517"/>
                  </a:moveTo>
                  <a:lnTo>
                    <a:pt x="936242" y="14517"/>
                  </a:lnTo>
                  <a:cubicBezTo>
                    <a:pt x="936242" y="9678"/>
                    <a:pt x="936242" y="4839"/>
                    <a:pt x="936242" y="0"/>
                  </a:cubicBezTo>
                  <a:lnTo>
                    <a:pt x="346" y="0"/>
                  </a:lnTo>
                  <a:cubicBezTo>
                    <a:pt x="346" y="4839"/>
                    <a:pt x="346" y="9678"/>
                    <a:pt x="0" y="14517"/>
                  </a:cubicBezTo>
                  <a:lnTo>
                    <a:pt x="307583" y="14517"/>
                  </a:lnTo>
                  <a:close/>
                </a:path>
              </a:pathLst>
            </a:custGeom>
            <a:grpFill/>
            <a:ln w="34574" cap="flat">
              <a:noFill/>
              <a:prstDash val="solid"/>
              <a:miter/>
            </a:ln>
          </p:spPr>
          <p:txBody>
            <a:bodyPr rtlCol="0" anchor="ctr"/>
            <a:lstStyle/>
            <a:p>
              <a:endParaRPr lang="en-US"/>
            </a:p>
          </p:txBody>
        </p:sp>
        <p:sp>
          <p:nvSpPr>
            <p:cNvPr id="59" name="Freeform 58">
              <a:extLst>
                <a:ext uri="{FF2B5EF4-FFF2-40B4-BE49-F238E27FC236}">
                  <a16:creationId xmlns:a16="http://schemas.microsoft.com/office/drawing/2014/main" id="{E7F99712-1F37-2611-DF8C-083A30D6DEEF}"/>
                </a:ext>
              </a:extLst>
            </p:cNvPr>
            <p:cNvSpPr/>
            <p:nvPr/>
          </p:nvSpPr>
          <p:spPr>
            <a:xfrm>
              <a:off x="-3900797" y="2721742"/>
              <a:ext cx="937279" cy="14516"/>
            </a:xfrm>
            <a:custGeom>
              <a:avLst/>
              <a:gdLst>
                <a:gd name="connsiteX0" fmla="*/ 307237 w 937279"/>
                <a:gd name="connsiteY0" fmla="*/ 14517 h 14516"/>
                <a:gd name="connsiteX1" fmla="*/ 936934 w 937279"/>
                <a:gd name="connsiteY1" fmla="*/ 14517 h 14516"/>
                <a:gd name="connsiteX2" fmla="*/ 937280 w 937279"/>
                <a:gd name="connsiteY2" fmla="*/ 0 h 14516"/>
                <a:gd name="connsiteX3" fmla="*/ 1038 w 937279"/>
                <a:gd name="connsiteY3" fmla="*/ 0 h 14516"/>
                <a:gd name="connsiteX4" fmla="*/ 0 w 937279"/>
                <a:gd name="connsiteY4" fmla="*/ 14517 h 14516"/>
                <a:gd name="connsiteX5" fmla="*/ 307237 w 937279"/>
                <a:gd name="connsiteY5" fmla="*/ 14517 h 14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7279" h="14516">
                  <a:moveTo>
                    <a:pt x="307237" y="14517"/>
                  </a:moveTo>
                  <a:lnTo>
                    <a:pt x="936934" y="14517"/>
                  </a:lnTo>
                  <a:cubicBezTo>
                    <a:pt x="936934" y="9678"/>
                    <a:pt x="936934" y="4839"/>
                    <a:pt x="937280" y="0"/>
                  </a:cubicBezTo>
                  <a:lnTo>
                    <a:pt x="1038" y="0"/>
                  </a:lnTo>
                  <a:cubicBezTo>
                    <a:pt x="1038" y="4839"/>
                    <a:pt x="346" y="9678"/>
                    <a:pt x="0" y="14517"/>
                  </a:cubicBezTo>
                  <a:lnTo>
                    <a:pt x="307237" y="14517"/>
                  </a:lnTo>
                  <a:close/>
                </a:path>
              </a:pathLst>
            </a:custGeom>
            <a:grpFill/>
            <a:ln w="34574" cap="flat">
              <a:noFill/>
              <a:prstDash val="solid"/>
              <a:miter/>
            </a:ln>
          </p:spPr>
          <p:txBody>
            <a:bodyPr rtlCol="0" anchor="ctr"/>
            <a:lstStyle/>
            <a:p>
              <a:endParaRPr lang="en-US"/>
            </a:p>
          </p:txBody>
        </p:sp>
        <p:sp>
          <p:nvSpPr>
            <p:cNvPr id="60" name="Freeform 59">
              <a:extLst>
                <a:ext uri="{FF2B5EF4-FFF2-40B4-BE49-F238E27FC236}">
                  <a16:creationId xmlns:a16="http://schemas.microsoft.com/office/drawing/2014/main" id="{C302247D-DC22-33F3-0C2B-815DCD8320BC}"/>
                </a:ext>
              </a:extLst>
            </p:cNvPr>
            <p:cNvSpPr/>
            <p:nvPr/>
          </p:nvSpPr>
          <p:spPr>
            <a:xfrm>
              <a:off x="-3900451" y="2580723"/>
              <a:ext cx="936933" cy="14516"/>
            </a:xfrm>
            <a:custGeom>
              <a:avLst/>
              <a:gdLst>
                <a:gd name="connsiteX0" fmla="*/ 921710 w 936933"/>
                <a:gd name="connsiteY0" fmla="*/ 0 h 14516"/>
                <a:gd name="connsiteX1" fmla="*/ 0 w 936933"/>
                <a:gd name="connsiteY1" fmla="*/ 0 h 14516"/>
                <a:gd name="connsiteX2" fmla="*/ 1038 w 936933"/>
                <a:gd name="connsiteY2" fmla="*/ 14517 h 14516"/>
                <a:gd name="connsiteX3" fmla="*/ 936934 w 936933"/>
                <a:gd name="connsiteY3" fmla="*/ 14517 h 14516"/>
                <a:gd name="connsiteX4" fmla="*/ 936588 w 936933"/>
                <a:gd name="connsiteY4" fmla="*/ 0 h 14516"/>
                <a:gd name="connsiteX5" fmla="*/ 922056 w 936933"/>
                <a:gd name="connsiteY5" fmla="*/ 0 h 14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6933" h="14516">
                  <a:moveTo>
                    <a:pt x="921710" y="0"/>
                  </a:moveTo>
                  <a:lnTo>
                    <a:pt x="0" y="0"/>
                  </a:lnTo>
                  <a:cubicBezTo>
                    <a:pt x="0" y="4839"/>
                    <a:pt x="692" y="9678"/>
                    <a:pt x="1038" y="14517"/>
                  </a:cubicBezTo>
                  <a:lnTo>
                    <a:pt x="936934" y="14517"/>
                  </a:lnTo>
                  <a:cubicBezTo>
                    <a:pt x="936934" y="9678"/>
                    <a:pt x="936934" y="4839"/>
                    <a:pt x="936588" y="0"/>
                  </a:cubicBezTo>
                  <a:lnTo>
                    <a:pt x="922056" y="0"/>
                  </a:lnTo>
                  <a:close/>
                </a:path>
              </a:pathLst>
            </a:custGeom>
            <a:grpFill/>
            <a:ln w="34574" cap="flat">
              <a:noFill/>
              <a:prstDash val="solid"/>
              <a:miter/>
            </a:ln>
          </p:spPr>
          <p:txBody>
            <a:bodyPr rtlCol="0" anchor="ctr"/>
            <a:lstStyle/>
            <a:p>
              <a:endParaRPr lang="en-US"/>
            </a:p>
          </p:txBody>
        </p:sp>
        <p:sp>
          <p:nvSpPr>
            <p:cNvPr id="61" name="Freeform 60">
              <a:extLst>
                <a:ext uri="{FF2B5EF4-FFF2-40B4-BE49-F238E27FC236}">
                  <a16:creationId xmlns:a16="http://schemas.microsoft.com/office/drawing/2014/main" id="{667CAF0C-7481-5E32-1140-EEB4129EF755}"/>
                </a:ext>
              </a:extLst>
            </p:cNvPr>
            <p:cNvSpPr/>
            <p:nvPr/>
          </p:nvSpPr>
          <p:spPr>
            <a:xfrm>
              <a:off x="-2979433" y="-751548"/>
              <a:ext cx="2198749" cy="3159546"/>
            </a:xfrm>
            <a:custGeom>
              <a:avLst/>
              <a:gdLst>
                <a:gd name="connsiteX0" fmla="*/ 1637558 w 2198749"/>
                <a:gd name="connsiteY0" fmla="*/ 558547 h 3159546"/>
                <a:gd name="connsiteX1" fmla="*/ 1413358 w 2198749"/>
                <a:gd name="connsiteY1" fmla="*/ 1007182 h 3159546"/>
                <a:gd name="connsiteX2" fmla="*/ 1306794 w 2198749"/>
                <a:gd name="connsiteY2" fmla="*/ 1431277 h 3159546"/>
                <a:gd name="connsiteX3" fmla="*/ 1283959 w 2198749"/>
                <a:gd name="connsiteY3" fmla="*/ 1614809 h 3159546"/>
                <a:gd name="connsiteX4" fmla="*/ 1275655 w 2198749"/>
                <a:gd name="connsiteY4" fmla="*/ 1818043 h 3159546"/>
                <a:gd name="connsiteX5" fmla="*/ 1279461 w 2198749"/>
                <a:gd name="connsiteY5" fmla="*/ 1939361 h 3159546"/>
                <a:gd name="connsiteX6" fmla="*/ 1262162 w 2198749"/>
                <a:gd name="connsiteY6" fmla="*/ 2330966 h 3159546"/>
                <a:gd name="connsiteX7" fmla="*/ 1044536 w 2198749"/>
                <a:gd name="connsiteY7" fmla="*/ 2770960 h 3159546"/>
                <a:gd name="connsiteX8" fmla="*/ 1040384 w 2198749"/>
                <a:gd name="connsiteY8" fmla="*/ 2775799 h 3159546"/>
                <a:gd name="connsiteX9" fmla="*/ 758750 w 2198749"/>
                <a:gd name="connsiteY9" fmla="*/ 3006338 h 3159546"/>
                <a:gd name="connsiteX10" fmla="*/ 525209 w 2198749"/>
                <a:gd name="connsiteY10" fmla="*/ 3104844 h 3159546"/>
                <a:gd name="connsiteX11" fmla="*/ 207592 w 2198749"/>
                <a:gd name="connsiteY11" fmla="*/ 3144592 h 3159546"/>
                <a:gd name="connsiteX12" fmla="*/ 0 w 2198749"/>
                <a:gd name="connsiteY12" fmla="*/ 3144592 h 3159546"/>
                <a:gd name="connsiteX13" fmla="*/ 1730 w 2198749"/>
                <a:gd name="connsiteY13" fmla="*/ 3159109 h 3159546"/>
                <a:gd name="connsiteX14" fmla="*/ 207246 w 2198749"/>
                <a:gd name="connsiteY14" fmla="*/ 3159109 h 3159546"/>
                <a:gd name="connsiteX15" fmla="*/ 529015 w 2198749"/>
                <a:gd name="connsiteY15" fmla="*/ 3119015 h 3159546"/>
                <a:gd name="connsiteX16" fmla="*/ 766016 w 2198749"/>
                <a:gd name="connsiteY16" fmla="*/ 3019126 h 3159546"/>
                <a:gd name="connsiteX17" fmla="*/ 1051110 w 2198749"/>
                <a:gd name="connsiteY17" fmla="*/ 2785476 h 3159546"/>
                <a:gd name="connsiteX18" fmla="*/ 1054915 w 2198749"/>
                <a:gd name="connsiteY18" fmla="*/ 2781329 h 3159546"/>
                <a:gd name="connsiteX19" fmla="*/ 1276347 w 2198749"/>
                <a:gd name="connsiteY19" fmla="*/ 2334077 h 3159546"/>
                <a:gd name="connsiteX20" fmla="*/ 1293993 w 2198749"/>
                <a:gd name="connsiteY20" fmla="*/ 1938669 h 3159546"/>
                <a:gd name="connsiteX21" fmla="*/ 1290187 w 2198749"/>
                <a:gd name="connsiteY21" fmla="*/ 1817697 h 3159546"/>
                <a:gd name="connsiteX22" fmla="*/ 1298490 w 2198749"/>
                <a:gd name="connsiteY22" fmla="*/ 1616192 h 3159546"/>
                <a:gd name="connsiteX23" fmla="*/ 1321326 w 2198749"/>
                <a:gd name="connsiteY23" fmla="*/ 1433696 h 3159546"/>
                <a:gd name="connsiteX24" fmla="*/ 1427198 w 2198749"/>
                <a:gd name="connsiteY24" fmla="*/ 1012366 h 3159546"/>
                <a:gd name="connsiteX25" fmla="*/ 1649667 w 2198749"/>
                <a:gd name="connsiteY25" fmla="*/ 566842 h 3159546"/>
                <a:gd name="connsiteX26" fmla="*/ 2028178 w 2198749"/>
                <a:gd name="connsiteY26" fmla="*/ 134107 h 3159546"/>
                <a:gd name="connsiteX27" fmla="*/ 2198749 w 2198749"/>
                <a:gd name="connsiteY27" fmla="*/ 0 h 3159546"/>
                <a:gd name="connsiteX28" fmla="*/ 2174184 w 2198749"/>
                <a:gd name="connsiteY28" fmla="*/ 0 h 3159546"/>
                <a:gd name="connsiteX29" fmla="*/ 2018836 w 2198749"/>
                <a:gd name="connsiteY29" fmla="*/ 123392 h 3159546"/>
                <a:gd name="connsiteX30" fmla="*/ 1637904 w 2198749"/>
                <a:gd name="connsiteY30" fmla="*/ 559238 h 3159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198749" h="3159546">
                  <a:moveTo>
                    <a:pt x="1637558" y="558547"/>
                  </a:moveTo>
                  <a:cubicBezTo>
                    <a:pt x="1546563" y="695764"/>
                    <a:pt x="1471138" y="846807"/>
                    <a:pt x="1413358" y="1007182"/>
                  </a:cubicBezTo>
                  <a:cubicBezTo>
                    <a:pt x="1365266" y="1140943"/>
                    <a:pt x="1329629" y="1283690"/>
                    <a:pt x="1306794" y="1431277"/>
                  </a:cubicBezTo>
                  <a:cubicBezTo>
                    <a:pt x="1296761" y="1497293"/>
                    <a:pt x="1289149" y="1557088"/>
                    <a:pt x="1283959" y="1614809"/>
                  </a:cubicBezTo>
                  <a:cubicBezTo>
                    <a:pt x="1277385" y="1687738"/>
                    <a:pt x="1274617" y="1754100"/>
                    <a:pt x="1275655" y="1818043"/>
                  </a:cubicBezTo>
                  <a:cubicBezTo>
                    <a:pt x="1276347" y="1858482"/>
                    <a:pt x="1278077" y="1899613"/>
                    <a:pt x="1279461" y="1939361"/>
                  </a:cubicBezTo>
                  <a:cubicBezTo>
                    <a:pt x="1284651" y="2067937"/>
                    <a:pt x="1289841" y="2201007"/>
                    <a:pt x="1262162" y="2330966"/>
                  </a:cubicBezTo>
                  <a:cubicBezTo>
                    <a:pt x="1223065" y="2514153"/>
                    <a:pt x="1150062" y="2662085"/>
                    <a:pt x="1044536" y="2770960"/>
                  </a:cubicBezTo>
                  <a:cubicBezTo>
                    <a:pt x="1043844" y="2771651"/>
                    <a:pt x="1042460" y="2773379"/>
                    <a:pt x="1040384" y="2775799"/>
                  </a:cubicBezTo>
                  <a:cubicBezTo>
                    <a:pt x="964613" y="2863590"/>
                    <a:pt x="864622" y="2945506"/>
                    <a:pt x="758750" y="3006338"/>
                  </a:cubicBezTo>
                  <a:cubicBezTo>
                    <a:pt x="686439" y="3048159"/>
                    <a:pt x="607554" y="3081341"/>
                    <a:pt x="525209" y="3104844"/>
                  </a:cubicBezTo>
                  <a:cubicBezTo>
                    <a:pt x="421759" y="3134223"/>
                    <a:pt x="315194" y="3147703"/>
                    <a:pt x="207592" y="3144592"/>
                  </a:cubicBezTo>
                  <a:lnTo>
                    <a:pt x="0" y="3144592"/>
                  </a:lnTo>
                  <a:cubicBezTo>
                    <a:pt x="692" y="3149431"/>
                    <a:pt x="1038" y="3154269"/>
                    <a:pt x="1730" y="3159109"/>
                  </a:cubicBezTo>
                  <a:lnTo>
                    <a:pt x="207246" y="3159109"/>
                  </a:lnTo>
                  <a:cubicBezTo>
                    <a:pt x="315886" y="3162219"/>
                    <a:pt x="424181" y="3148739"/>
                    <a:pt x="529015" y="3119015"/>
                  </a:cubicBezTo>
                  <a:cubicBezTo>
                    <a:pt x="612744" y="3095166"/>
                    <a:pt x="692321" y="3061639"/>
                    <a:pt x="766016" y="3019126"/>
                  </a:cubicBezTo>
                  <a:cubicBezTo>
                    <a:pt x="874656" y="2956566"/>
                    <a:pt x="973262" y="2875687"/>
                    <a:pt x="1051110" y="2785476"/>
                  </a:cubicBezTo>
                  <a:cubicBezTo>
                    <a:pt x="1052839" y="2783403"/>
                    <a:pt x="1054223" y="2781674"/>
                    <a:pt x="1054915" y="2781329"/>
                  </a:cubicBezTo>
                  <a:cubicBezTo>
                    <a:pt x="1162172" y="2670380"/>
                    <a:pt x="1236559" y="2520028"/>
                    <a:pt x="1276347" y="2334077"/>
                  </a:cubicBezTo>
                  <a:cubicBezTo>
                    <a:pt x="1304372" y="2202389"/>
                    <a:pt x="1299182" y="2068283"/>
                    <a:pt x="1293993" y="1938669"/>
                  </a:cubicBezTo>
                  <a:cubicBezTo>
                    <a:pt x="1292263" y="1898921"/>
                    <a:pt x="1290879" y="1858136"/>
                    <a:pt x="1290187" y="1817697"/>
                  </a:cubicBezTo>
                  <a:cubicBezTo>
                    <a:pt x="1289149" y="1754446"/>
                    <a:pt x="1291917" y="1688775"/>
                    <a:pt x="1298490" y="1616192"/>
                  </a:cubicBezTo>
                  <a:cubicBezTo>
                    <a:pt x="1303680" y="1558816"/>
                    <a:pt x="1311292" y="1499021"/>
                    <a:pt x="1321326" y="1433696"/>
                  </a:cubicBezTo>
                  <a:cubicBezTo>
                    <a:pt x="1343815" y="1287147"/>
                    <a:pt x="1379451" y="1145436"/>
                    <a:pt x="1427198" y="1012366"/>
                  </a:cubicBezTo>
                  <a:cubicBezTo>
                    <a:pt x="1484286" y="853028"/>
                    <a:pt x="1559365" y="703368"/>
                    <a:pt x="1649667" y="566842"/>
                  </a:cubicBezTo>
                  <a:cubicBezTo>
                    <a:pt x="1756923" y="405430"/>
                    <a:pt x="1884247" y="259572"/>
                    <a:pt x="2028178" y="134107"/>
                  </a:cubicBezTo>
                  <a:cubicBezTo>
                    <a:pt x="2082152" y="86755"/>
                    <a:pt x="2139586" y="42168"/>
                    <a:pt x="2198749" y="0"/>
                  </a:cubicBezTo>
                  <a:lnTo>
                    <a:pt x="2174184" y="0"/>
                  </a:lnTo>
                  <a:cubicBezTo>
                    <a:pt x="2120556" y="39057"/>
                    <a:pt x="2068312" y="80187"/>
                    <a:pt x="2018836" y="123392"/>
                  </a:cubicBezTo>
                  <a:cubicBezTo>
                    <a:pt x="1873867" y="249894"/>
                    <a:pt x="1745852" y="396444"/>
                    <a:pt x="1637904" y="559238"/>
                  </a:cubicBezTo>
                  <a:close/>
                </a:path>
              </a:pathLst>
            </a:custGeom>
            <a:grpFill/>
            <a:ln w="34574" cap="flat">
              <a:noFill/>
              <a:prstDash val="solid"/>
              <a:miter/>
            </a:ln>
          </p:spPr>
          <p:txBody>
            <a:bodyPr rtlCol="0" anchor="ctr"/>
            <a:lstStyle/>
            <a:p>
              <a:endParaRPr lang="en-US"/>
            </a:p>
          </p:txBody>
        </p:sp>
        <p:sp>
          <p:nvSpPr>
            <p:cNvPr id="62" name="Freeform 61">
              <a:extLst>
                <a:ext uri="{FF2B5EF4-FFF2-40B4-BE49-F238E27FC236}">
                  <a16:creationId xmlns:a16="http://schemas.microsoft.com/office/drawing/2014/main" id="{5F160F08-2D98-67C4-327E-0022532A9B0B}"/>
                </a:ext>
              </a:extLst>
            </p:cNvPr>
            <p:cNvSpPr/>
            <p:nvPr/>
          </p:nvSpPr>
          <p:spPr>
            <a:xfrm>
              <a:off x="-3936434" y="2346036"/>
              <a:ext cx="953195" cy="14516"/>
            </a:xfrm>
            <a:custGeom>
              <a:avLst/>
              <a:gdLst>
                <a:gd name="connsiteX0" fmla="*/ 317270 w 953195"/>
                <a:gd name="connsiteY0" fmla="*/ 14517 h 14516"/>
                <a:gd name="connsiteX1" fmla="*/ 953195 w 953195"/>
                <a:gd name="connsiteY1" fmla="*/ 14517 h 14516"/>
                <a:gd name="connsiteX2" fmla="*/ 951119 w 953195"/>
                <a:gd name="connsiteY2" fmla="*/ 0 h 14516"/>
                <a:gd name="connsiteX3" fmla="*/ 0 w 953195"/>
                <a:gd name="connsiteY3" fmla="*/ 0 h 14516"/>
                <a:gd name="connsiteX4" fmla="*/ 3460 w 953195"/>
                <a:gd name="connsiteY4" fmla="*/ 14517 h 14516"/>
                <a:gd name="connsiteX5" fmla="*/ 317270 w 953195"/>
                <a:gd name="connsiteY5" fmla="*/ 14517 h 14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3195" h="14516">
                  <a:moveTo>
                    <a:pt x="317270" y="14517"/>
                  </a:moveTo>
                  <a:lnTo>
                    <a:pt x="953195" y="14517"/>
                  </a:lnTo>
                  <a:cubicBezTo>
                    <a:pt x="952503" y="9678"/>
                    <a:pt x="951811" y="4839"/>
                    <a:pt x="951119" y="0"/>
                  </a:cubicBezTo>
                  <a:lnTo>
                    <a:pt x="0" y="0"/>
                  </a:lnTo>
                  <a:cubicBezTo>
                    <a:pt x="1384" y="4839"/>
                    <a:pt x="2076" y="9678"/>
                    <a:pt x="3460" y="14517"/>
                  </a:cubicBezTo>
                  <a:lnTo>
                    <a:pt x="317270" y="14517"/>
                  </a:lnTo>
                  <a:close/>
                </a:path>
              </a:pathLst>
            </a:custGeom>
            <a:grpFill/>
            <a:ln w="34574" cap="flat">
              <a:noFill/>
              <a:prstDash val="solid"/>
              <a:miter/>
            </a:ln>
          </p:spPr>
          <p:txBody>
            <a:bodyPr rtlCol="0" anchor="ctr"/>
            <a:lstStyle/>
            <a:p>
              <a:endParaRPr lang="en-US"/>
            </a:p>
          </p:txBody>
        </p:sp>
        <p:sp>
          <p:nvSpPr>
            <p:cNvPr id="63" name="Freeform 62">
              <a:extLst>
                <a:ext uri="{FF2B5EF4-FFF2-40B4-BE49-F238E27FC236}">
                  <a16:creationId xmlns:a16="http://schemas.microsoft.com/office/drawing/2014/main" id="{29830C6B-9D00-B90A-BFC7-A5589EA8B124}"/>
                </a:ext>
              </a:extLst>
            </p:cNvPr>
            <p:cNvSpPr/>
            <p:nvPr/>
          </p:nvSpPr>
          <p:spPr>
            <a:xfrm>
              <a:off x="-2983931" y="-751894"/>
              <a:ext cx="2121940" cy="3112970"/>
            </a:xfrm>
            <a:custGeom>
              <a:avLst/>
              <a:gdLst>
                <a:gd name="connsiteX0" fmla="*/ 208630 w 2121940"/>
                <a:gd name="connsiteY0" fmla="*/ 3112448 h 3112970"/>
                <a:gd name="connsiteX1" fmla="*/ 563613 w 2121940"/>
                <a:gd name="connsiteY1" fmla="*/ 3061294 h 3112970"/>
                <a:gd name="connsiteX2" fmla="*/ 823104 w 2121940"/>
                <a:gd name="connsiteY2" fmla="*/ 2932026 h 3112970"/>
                <a:gd name="connsiteX3" fmla="*/ 1036578 w 2121940"/>
                <a:gd name="connsiteY3" fmla="*/ 2738470 h 3112970"/>
                <a:gd name="connsiteX4" fmla="*/ 1244516 w 2121940"/>
                <a:gd name="connsiteY4" fmla="*/ 2296402 h 3112970"/>
                <a:gd name="connsiteX5" fmla="*/ 1254204 w 2121940"/>
                <a:gd name="connsiteY5" fmla="*/ 1913092 h 3112970"/>
                <a:gd name="connsiteX6" fmla="*/ 1246938 w 2121940"/>
                <a:gd name="connsiteY6" fmla="*/ 1775875 h 3112970"/>
                <a:gd name="connsiteX7" fmla="*/ 1278769 w 2121940"/>
                <a:gd name="connsiteY7" fmla="*/ 1390146 h 3112970"/>
                <a:gd name="connsiteX8" fmla="*/ 1405054 w 2121940"/>
                <a:gd name="connsiteY8" fmla="*/ 938055 h 3112970"/>
                <a:gd name="connsiteX9" fmla="*/ 1623718 w 2121940"/>
                <a:gd name="connsiteY9" fmla="*/ 522947 h 3112970"/>
                <a:gd name="connsiteX10" fmla="*/ 2008110 w 2121940"/>
                <a:gd name="connsiteY10" fmla="*/ 91248 h 3112970"/>
                <a:gd name="connsiteX11" fmla="*/ 2121940 w 2121940"/>
                <a:gd name="connsiteY11" fmla="*/ 0 h 3112970"/>
                <a:gd name="connsiteX12" fmla="*/ 2098067 w 2121940"/>
                <a:gd name="connsiteY12" fmla="*/ 0 h 3112970"/>
                <a:gd name="connsiteX13" fmla="*/ 1998769 w 2121940"/>
                <a:gd name="connsiteY13" fmla="*/ 80187 h 3112970"/>
                <a:gd name="connsiteX14" fmla="*/ 1611955 w 2121940"/>
                <a:gd name="connsiteY14" fmla="*/ 514651 h 3112970"/>
                <a:gd name="connsiteX15" fmla="*/ 1391907 w 2121940"/>
                <a:gd name="connsiteY15" fmla="*/ 932525 h 3112970"/>
                <a:gd name="connsiteX16" fmla="*/ 1264930 w 2121940"/>
                <a:gd name="connsiteY16" fmla="*/ 1387381 h 3112970"/>
                <a:gd name="connsiteX17" fmla="*/ 1232753 w 2121940"/>
                <a:gd name="connsiteY17" fmla="*/ 1775875 h 3112970"/>
                <a:gd name="connsiteX18" fmla="*/ 1240018 w 2121940"/>
                <a:gd name="connsiteY18" fmla="*/ 1913438 h 3112970"/>
                <a:gd name="connsiteX19" fmla="*/ 1230677 w 2121940"/>
                <a:gd name="connsiteY19" fmla="*/ 2292946 h 3112970"/>
                <a:gd name="connsiteX20" fmla="*/ 1025506 w 2121940"/>
                <a:gd name="connsiteY20" fmla="*/ 2728792 h 3112970"/>
                <a:gd name="connsiteX21" fmla="*/ 1025506 w 2121940"/>
                <a:gd name="connsiteY21" fmla="*/ 2728792 h 3112970"/>
                <a:gd name="connsiteX22" fmla="*/ 815492 w 2121940"/>
                <a:gd name="connsiteY22" fmla="*/ 2919583 h 3112970"/>
                <a:gd name="connsiteX23" fmla="*/ 559807 w 2121940"/>
                <a:gd name="connsiteY23" fmla="*/ 3047123 h 3112970"/>
                <a:gd name="connsiteX24" fmla="*/ 209668 w 2121940"/>
                <a:gd name="connsiteY24" fmla="*/ 3097585 h 3112970"/>
                <a:gd name="connsiteX25" fmla="*/ 0 w 2121940"/>
                <a:gd name="connsiteY25" fmla="*/ 3097585 h 3112970"/>
                <a:gd name="connsiteX26" fmla="*/ 2076 w 2121940"/>
                <a:gd name="connsiteY26" fmla="*/ 3112102 h 3112970"/>
                <a:gd name="connsiteX27" fmla="*/ 209668 w 2121940"/>
                <a:gd name="connsiteY27" fmla="*/ 3112102 h 3112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21940" h="3112970">
                  <a:moveTo>
                    <a:pt x="208630" y="3112448"/>
                  </a:moveTo>
                  <a:cubicBezTo>
                    <a:pt x="330418" y="3116250"/>
                    <a:pt x="450129" y="3099314"/>
                    <a:pt x="563613" y="3061294"/>
                  </a:cubicBezTo>
                  <a:cubicBezTo>
                    <a:pt x="654262" y="3030878"/>
                    <a:pt x="741797" y="2987328"/>
                    <a:pt x="823104" y="2932026"/>
                  </a:cubicBezTo>
                  <a:cubicBezTo>
                    <a:pt x="959077" y="2839396"/>
                    <a:pt x="1033118" y="2742963"/>
                    <a:pt x="1036578" y="2738470"/>
                  </a:cubicBezTo>
                  <a:cubicBezTo>
                    <a:pt x="1139336" y="2613696"/>
                    <a:pt x="1211302" y="2460925"/>
                    <a:pt x="1244516" y="2296402"/>
                  </a:cubicBezTo>
                  <a:cubicBezTo>
                    <a:pt x="1270465" y="2168172"/>
                    <a:pt x="1262162" y="2038558"/>
                    <a:pt x="1254204" y="1913092"/>
                  </a:cubicBezTo>
                  <a:cubicBezTo>
                    <a:pt x="1251436" y="1868160"/>
                    <a:pt x="1248322" y="1821845"/>
                    <a:pt x="1246938" y="1775875"/>
                  </a:cubicBezTo>
                  <a:cubicBezTo>
                    <a:pt x="1243478" y="1662161"/>
                    <a:pt x="1253512" y="1539461"/>
                    <a:pt x="1278769" y="1390146"/>
                  </a:cubicBezTo>
                  <a:cubicBezTo>
                    <a:pt x="1304718" y="1236338"/>
                    <a:pt x="1347275" y="1084259"/>
                    <a:pt x="1405054" y="938055"/>
                  </a:cubicBezTo>
                  <a:cubicBezTo>
                    <a:pt x="1463872" y="789431"/>
                    <a:pt x="1537222" y="649795"/>
                    <a:pt x="1623718" y="522947"/>
                  </a:cubicBezTo>
                  <a:cubicBezTo>
                    <a:pt x="1733396" y="361535"/>
                    <a:pt x="1862796" y="216368"/>
                    <a:pt x="2008110" y="91248"/>
                  </a:cubicBezTo>
                  <a:cubicBezTo>
                    <a:pt x="2044785" y="59449"/>
                    <a:pt x="2083190" y="29379"/>
                    <a:pt x="2121940" y="0"/>
                  </a:cubicBezTo>
                  <a:lnTo>
                    <a:pt x="2098067" y="0"/>
                  </a:lnTo>
                  <a:cubicBezTo>
                    <a:pt x="2064160" y="25923"/>
                    <a:pt x="2030945" y="52537"/>
                    <a:pt x="1998769" y="80187"/>
                  </a:cubicBezTo>
                  <a:cubicBezTo>
                    <a:pt x="1852762" y="206344"/>
                    <a:pt x="1722671" y="352548"/>
                    <a:pt x="1611955" y="514651"/>
                  </a:cubicBezTo>
                  <a:cubicBezTo>
                    <a:pt x="1525112" y="642191"/>
                    <a:pt x="1451071" y="782864"/>
                    <a:pt x="1391907" y="932525"/>
                  </a:cubicBezTo>
                  <a:cubicBezTo>
                    <a:pt x="1333781" y="1079420"/>
                    <a:pt x="1290879" y="1232536"/>
                    <a:pt x="1264930" y="1387381"/>
                  </a:cubicBezTo>
                  <a:cubicBezTo>
                    <a:pt x="1239673" y="1537732"/>
                    <a:pt x="1229293" y="1661124"/>
                    <a:pt x="1232753" y="1775875"/>
                  </a:cubicBezTo>
                  <a:cubicBezTo>
                    <a:pt x="1234137" y="1821845"/>
                    <a:pt x="1237251" y="1868506"/>
                    <a:pt x="1240018" y="1913438"/>
                  </a:cubicBezTo>
                  <a:cubicBezTo>
                    <a:pt x="1247976" y="2037867"/>
                    <a:pt x="1256280" y="2166789"/>
                    <a:pt x="1230677" y="2292946"/>
                  </a:cubicBezTo>
                  <a:cubicBezTo>
                    <a:pt x="1197808" y="2455395"/>
                    <a:pt x="1126881" y="2606092"/>
                    <a:pt x="1025506" y="2728792"/>
                  </a:cubicBezTo>
                  <a:lnTo>
                    <a:pt x="1025506" y="2728792"/>
                  </a:lnTo>
                  <a:cubicBezTo>
                    <a:pt x="1025506" y="2728792"/>
                    <a:pt x="951811" y="2826261"/>
                    <a:pt x="815492" y="2919583"/>
                  </a:cubicBezTo>
                  <a:cubicBezTo>
                    <a:pt x="735223" y="2974194"/>
                    <a:pt x="649072" y="3017398"/>
                    <a:pt x="559807" y="3047123"/>
                  </a:cubicBezTo>
                  <a:cubicBezTo>
                    <a:pt x="448053" y="3084451"/>
                    <a:pt x="330072" y="3101387"/>
                    <a:pt x="209668" y="3097585"/>
                  </a:cubicBezTo>
                  <a:lnTo>
                    <a:pt x="0" y="3097585"/>
                  </a:lnTo>
                  <a:cubicBezTo>
                    <a:pt x="692" y="3102424"/>
                    <a:pt x="1384" y="3107263"/>
                    <a:pt x="2076" y="3112102"/>
                  </a:cubicBezTo>
                  <a:lnTo>
                    <a:pt x="209668" y="3112102"/>
                  </a:lnTo>
                  <a:close/>
                </a:path>
              </a:pathLst>
            </a:custGeom>
            <a:grpFill/>
            <a:ln w="34574" cap="flat">
              <a:noFill/>
              <a:prstDash val="solid"/>
              <a:miter/>
            </a:ln>
          </p:spPr>
          <p:txBody>
            <a:bodyPr rtlCol="0" anchor="ctr"/>
            <a:lstStyle/>
            <a:p>
              <a:endParaRPr lang="en-US"/>
            </a:p>
          </p:txBody>
        </p:sp>
        <p:sp>
          <p:nvSpPr>
            <p:cNvPr id="64" name="Freeform 63">
              <a:extLst>
                <a:ext uri="{FF2B5EF4-FFF2-40B4-BE49-F238E27FC236}">
                  <a16:creationId xmlns:a16="http://schemas.microsoft.com/office/drawing/2014/main" id="{DDF47CE3-0407-F995-80A8-723EE61EED6B}"/>
                </a:ext>
              </a:extLst>
            </p:cNvPr>
            <p:cNvSpPr/>
            <p:nvPr/>
          </p:nvSpPr>
          <p:spPr>
            <a:xfrm>
              <a:off x="1699698" y="-751894"/>
              <a:ext cx="390965" cy="354967"/>
            </a:xfrm>
            <a:custGeom>
              <a:avLst/>
              <a:gdLst>
                <a:gd name="connsiteX0" fmla="*/ 145661 w 390965"/>
                <a:gd name="connsiteY0" fmla="*/ 113368 h 354967"/>
                <a:gd name="connsiteX1" fmla="*/ 390966 w 390965"/>
                <a:gd name="connsiteY1" fmla="*/ 354968 h 354967"/>
                <a:gd name="connsiteX2" fmla="*/ 390966 w 390965"/>
                <a:gd name="connsiteY2" fmla="*/ 332156 h 354967"/>
                <a:gd name="connsiteX3" fmla="*/ 390620 w 390965"/>
                <a:gd name="connsiteY3" fmla="*/ 331464 h 354967"/>
                <a:gd name="connsiteX4" fmla="*/ 390620 w 390965"/>
                <a:gd name="connsiteY4" fmla="*/ 332156 h 354967"/>
                <a:gd name="connsiteX5" fmla="*/ 155348 w 390965"/>
                <a:gd name="connsiteY5" fmla="*/ 102308 h 354967"/>
                <a:gd name="connsiteX6" fmla="*/ 25603 w 390965"/>
                <a:gd name="connsiteY6" fmla="*/ 1037 h 354967"/>
                <a:gd name="connsiteX7" fmla="*/ 24219 w 390965"/>
                <a:gd name="connsiteY7" fmla="*/ 0 h 354967"/>
                <a:gd name="connsiteX8" fmla="*/ 0 w 390965"/>
                <a:gd name="connsiteY8" fmla="*/ 0 h 354967"/>
                <a:gd name="connsiteX9" fmla="*/ 1384 w 390965"/>
                <a:gd name="connsiteY9" fmla="*/ 1037 h 354967"/>
                <a:gd name="connsiteX10" fmla="*/ 146353 w 390965"/>
                <a:gd name="connsiteY10" fmla="*/ 113368 h 354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0965" h="354967">
                  <a:moveTo>
                    <a:pt x="145661" y="113368"/>
                  </a:moveTo>
                  <a:cubicBezTo>
                    <a:pt x="233888" y="187680"/>
                    <a:pt x="315887" y="268904"/>
                    <a:pt x="390966" y="354968"/>
                  </a:cubicBezTo>
                  <a:lnTo>
                    <a:pt x="390966" y="332156"/>
                  </a:lnTo>
                  <a:cubicBezTo>
                    <a:pt x="390966" y="332156"/>
                    <a:pt x="390966" y="331810"/>
                    <a:pt x="390620" y="331464"/>
                  </a:cubicBezTo>
                  <a:lnTo>
                    <a:pt x="390620" y="332156"/>
                  </a:lnTo>
                  <a:cubicBezTo>
                    <a:pt x="318308" y="250240"/>
                    <a:pt x="239423" y="173163"/>
                    <a:pt x="155348" y="102308"/>
                  </a:cubicBezTo>
                  <a:cubicBezTo>
                    <a:pt x="113484" y="67053"/>
                    <a:pt x="69890" y="33181"/>
                    <a:pt x="25603" y="1037"/>
                  </a:cubicBezTo>
                  <a:cubicBezTo>
                    <a:pt x="25257" y="691"/>
                    <a:pt x="24565" y="346"/>
                    <a:pt x="24219" y="0"/>
                  </a:cubicBezTo>
                  <a:lnTo>
                    <a:pt x="0" y="0"/>
                  </a:lnTo>
                  <a:cubicBezTo>
                    <a:pt x="0" y="0"/>
                    <a:pt x="1038" y="691"/>
                    <a:pt x="1384" y="1037"/>
                  </a:cubicBezTo>
                  <a:cubicBezTo>
                    <a:pt x="50860" y="36292"/>
                    <a:pt x="99645" y="73966"/>
                    <a:pt x="146353" y="113368"/>
                  </a:cubicBezTo>
                  <a:close/>
                </a:path>
              </a:pathLst>
            </a:custGeom>
            <a:grpFill/>
            <a:ln w="34574" cap="flat">
              <a:noFill/>
              <a:prstDash val="solid"/>
              <a:miter/>
            </a:ln>
          </p:spPr>
          <p:txBody>
            <a:bodyPr rtlCol="0" anchor="ctr"/>
            <a:lstStyle/>
            <a:p>
              <a:endParaRPr lang="en-US"/>
            </a:p>
          </p:txBody>
        </p:sp>
        <p:sp>
          <p:nvSpPr>
            <p:cNvPr id="65" name="Freeform 64">
              <a:extLst>
                <a:ext uri="{FF2B5EF4-FFF2-40B4-BE49-F238E27FC236}">
                  <a16:creationId xmlns:a16="http://schemas.microsoft.com/office/drawing/2014/main" id="{097B7B33-72FB-1722-5FC4-1A45CB80C47E}"/>
                </a:ext>
              </a:extLst>
            </p:cNvPr>
            <p:cNvSpPr/>
            <p:nvPr/>
          </p:nvSpPr>
          <p:spPr>
            <a:xfrm>
              <a:off x="1791385" y="-751548"/>
              <a:ext cx="299624" cy="268904"/>
            </a:xfrm>
            <a:custGeom>
              <a:avLst/>
              <a:gdLst>
                <a:gd name="connsiteX0" fmla="*/ 299279 w 299624"/>
                <a:gd name="connsiteY0" fmla="*/ 268559 h 268904"/>
                <a:gd name="connsiteX1" fmla="*/ 299279 w 299624"/>
                <a:gd name="connsiteY1" fmla="*/ 247129 h 268904"/>
                <a:gd name="connsiteX2" fmla="*/ 298933 w 299624"/>
                <a:gd name="connsiteY2" fmla="*/ 246438 h 268904"/>
                <a:gd name="connsiteX3" fmla="*/ 298933 w 299624"/>
                <a:gd name="connsiteY3" fmla="*/ 247129 h 268904"/>
                <a:gd name="connsiteX4" fmla="*/ 25603 w 299624"/>
                <a:gd name="connsiteY4" fmla="*/ 1037 h 268904"/>
                <a:gd name="connsiteX5" fmla="*/ 24219 w 299624"/>
                <a:gd name="connsiteY5" fmla="*/ 0 h 268904"/>
                <a:gd name="connsiteX6" fmla="*/ 0 w 299624"/>
                <a:gd name="connsiteY6" fmla="*/ 0 h 268904"/>
                <a:gd name="connsiteX7" fmla="*/ 1384 w 299624"/>
                <a:gd name="connsiteY7" fmla="*/ 1037 h 268904"/>
                <a:gd name="connsiteX8" fmla="*/ 299625 w 299624"/>
                <a:gd name="connsiteY8" fmla="*/ 268904 h 268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9624" h="268904">
                  <a:moveTo>
                    <a:pt x="299279" y="268559"/>
                  </a:moveTo>
                  <a:lnTo>
                    <a:pt x="299279" y="247129"/>
                  </a:lnTo>
                  <a:cubicBezTo>
                    <a:pt x="299279" y="247129"/>
                    <a:pt x="299279" y="246784"/>
                    <a:pt x="298933" y="246438"/>
                  </a:cubicBezTo>
                  <a:lnTo>
                    <a:pt x="298933" y="247129"/>
                  </a:lnTo>
                  <a:cubicBezTo>
                    <a:pt x="214512" y="158301"/>
                    <a:pt x="123171" y="75694"/>
                    <a:pt x="25603" y="1037"/>
                  </a:cubicBezTo>
                  <a:cubicBezTo>
                    <a:pt x="25257" y="691"/>
                    <a:pt x="24565" y="346"/>
                    <a:pt x="24219" y="0"/>
                  </a:cubicBezTo>
                  <a:lnTo>
                    <a:pt x="0" y="0"/>
                  </a:lnTo>
                  <a:cubicBezTo>
                    <a:pt x="0" y="0"/>
                    <a:pt x="1038" y="691"/>
                    <a:pt x="1384" y="1037"/>
                  </a:cubicBezTo>
                  <a:cubicBezTo>
                    <a:pt x="108294" y="81570"/>
                    <a:pt x="208284" y="171090"/>
                    <a:pt x="299625" y="268904"/>
                  </a:cubicBezTo>
                  <a:close/>
                </a:path>
              </a:pathLst>
            </a:custGeom>
            <a:grpFill/>
            <a:ln w="34574" cap="flat">
              <a:noFill/>
              <a:prstDash val="solid"/>
              <a:miter/>
            </a:ln>
          </p:spPr>
          <p:txBody>
            <a:bodyPr rtlCol="0" anchor="ctr"/>
            <a:lstStyle/>
            <a:p>
              <a:endParaRPr lang="en-US"/>
            </a:p>
          </p:txBody>
        </p:sp>
      </p:grpSp>
      <p:sp>
        <p:nvSpPr>
          <p:cNvPr id="66" name="Freeform 65">
            <a:extLst>
              <a:ext uri="{FF2B5EF4-FFF2-40B4-BE49-F238E27FC236}">
                <a16:creationId xmlns:a16="http://schemas.microsoft.com/office/drawing/2014/main" id="{48BD5E71-051D-8C50-F4E5-E7120E9765CA}"/>
              </a:ext>
            </a:extLst>
          </p:cNvPr>
          <p:cNvSpPr/>
          <p:nvPr userDrawn="1"/>
        </p:nvSpPr>
        <p:spPr bwMode="auto">
          <a:xfrm>
            <a:off x="5549530" y="0"/>
            <a:ext cx="6642471" cy="6857999"/>
          </a:xfrm>
          <a:custGeom>
            <a:avLst/>
            <a:gdLst>
              <a:gd name="connsiteX0" fmla="*/ 6642470 w 6642471"/>
              <a:gd name="connsiteY0" fmla="*/ 5822690 h 6857999"/>
              <a:gd name="connsiteX1" fmla="*/ 6642470 w 6642471"/>
              <a:gd name="connsiteY1" fmla="*/ 6857999 h 6857999"/>
              <a:gd name="connsiteX2" fmla="*/ 5276788 w 6642471"/>
              <a:gd name="connsiteY2" fmla="*/ 6857999 h 6857999"/>
              <a:gd name="connsiteX3" fmla="*/ 5379511 w 6642471"/>
              <a:gd name="connsiteY3" fmla="*/ 6811559 h 6857999"/>
              <a:gd name="connsiteX4" fmla="*/ 6515156 w 6642471"/>
              <a:gd name="connsiteY4" fmla="*/ 5968783 h 6857999"/>
              <a:gd name="connsiteX5" fmla="*/ 2228425 w 6642471"/>
              <a:gd name="connsiteY5" fmla="*/ 0 h 6857999"/>
              <a:gd name="connsiteX6" fmla="*/ 6642471 w 6642471"/>
              <a:gd name="connsiteY6" fmla="*/ 0 h 6857999"/>
              <a:gd name="connsiteX7" fmla="*/ 6642471 w 6642471"/>
              <a:gd name="connsiteY7" fmla="*/ 5822685 h 6857999"/>
              <a:gd name="connsiteX8" fmla="*/ 6515156 w 6642471"/>
              <a:gd name="connsiteY8" fmla="*/ 5968779 h 6857999"/>
              <a:gd name="connsiteX9" fmla="*/ 5379511 w 6642471"/>
              <a:gd name="connsiteY9" fmla="*/ 6811555 h 6857999"/>
              <a:gd name="connsiteX10" fmla="*/ 5276781 w 6642471"/>
              <a:gd name="connsiteY10" fmla="*/ 6857998 h 6857999"/>
              <a:gd name="connsiteX11" fmla="*/ 2228425 w 6642471"/>
              <a:gd name="connsiteY11" fmla="*/ 6857998 h 6857999"/>
              <a:gd name="connsiteX12" fmla="*/ 2125695 w 6642471"/>
              <a:gd name="connsiteY12" fmla="*/ 6811555 h 6857999"/>
              <a:gd name="connsiteX13" fmla="*/ 0 w 6642471"/>
              <a:gd name="connsiteY13" fmla="*/ 3428999 h 6857999"/>
              <a:gd name="connsiteX14" fmla="*/ 2125695 w 6642471"/>
              <a:gd name="connsiteY14" fmla="*/ 46443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642471" h="6857999">
                <a:moveTo>
                  <a:pt x="6642470" y="5822690"/>
                </a:moveTo>
                <a:lnTo>
                  <a:pt x="6642470" y="6857999"/>
                </a:lnTo>
                <a:lnTo>
                  <a:pt x="5276788" y="6857999"/>
                </a:lnTo>
                <a:lnTo>
                  <a:pt x="5379511" y="6811559"/>
                </a:lnTo>
                <a:cubicBezTo>
                  <a:pt x="5810155" y="6604054"/>
                  <a:pt x="6195100" y="6316731"/>
                  <a:pt x="6515156" y="5968783"/>
                </a:cubicBezTo>
                <a:close/>
                <a:moveTo>
                  <a:pt x="2228425" y="0"/>
                </a:moveTo>
                <a:lnTo>
                  <a:pt x="6642471" y="0"/>
                </a:lnTo>
                <a:lnTo>
                  <a:pt x="6642471" y="5822685"/>
                </a:lnTo>
                <a:lnTo>
                  <a:pt x="6515156" y="5968779"/>
                </a:lnTo>
                <a:cubicBezTo>
                  <a:pt x="6195100" y="6316727"/>
                  <a:pt x="5810155" y="6604050"/>
                  <a:pt x="5379511" y="6811555"/>
                </a:cubicBezTo>
                <a:lnTo>
                  <a:pt x="5276781" y="6857998"/>
                </a:lnTo>
                <a:lnTo>
                  <a:pt x="2228425" y="6857998"/>
                </a:lnTo>
                <a:lnTo>
                  <a:pt x="2125695" y="6811555"/>
                </a:lnTo>
                <a:cubicBezTo>
                  <a:pt x="867942" y="6205507"/>
                  <a:pt x="0" y="4918612"/>
                  <a:pt x="0" y="3428999"/>
                </a:cubicBezTo>
                <a:cubicBezTo>
                  <a:pt x="0" y="1939386"/>
                  <a:pt x="867942" y="652491"/>
                  <a:pt x="2125695" y="46443"/>
                </a:cubicBezTo>
                <a:close/>
              </a:path>
            </a:pathLst>
          </a:custGeom>
          <a:solidFill>
            <a:schemeClr val="tx1"/>
          </a:solidFill>
          <a:ln>
            <a:noFill/>
            <a:headEnd type="none" w="med" len="med"/>
            <a:tailEnd type="none" w="med" len="med"/>
          </a:ln>
          <a:effectLst>
            <a:outerShdw blurRad="1045417" dist="38100" dir="10800000" sx="108218" sy="108218" algn="r" rotWithShape="0">
              <a:srgbClr val="FF9248">
                <a:alpha val="8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67" name="Freeform 66">
            <a:extLst>
              <a:ext uri="{FF2B5EF4-FFF2-40B4-BE49-F238E27FC236}">
                <a16:creationId xmlns:a16="http://schemas.microsoft.com/office/drawing/2014/main" id="{EBAE2546-5403-783E-2F51-20A51F6B2967}"/>
              </a:ext>
            </a:extLst>
          </p:cNvPr>
          <p:cNvSpPr/>
          <p:nvPr userDrawn="1"/>
        </p:nvSpPr>
        <p:spPr bwMode="auto">
          <a:xfrm>
            <a:off x="5549530" y="0"/>
            <a:ext cx="6642471" cy="6857999"/>
          </a:xfrm>
          <a:custGeom>
            <a:avLst/>
            <a:gdLst>
              <a:gd name="connsiteX0" fmla="*/ 6642470 w 6642471"/>
              <a:gd name="connsiteY0" fmla="*/ 5822690 h 6857999"/>
              <a:gd name="connsiteX1" fmla="*/ 6642470 w 6642471"/>
              <a:gd name="connsiteY1" fmla="*/ 6857999 h 6857999"/>
              <a:gd name="connsiteX2" fmla="*/ 5276788 w 6642471"/>
              <a:gd name="connsiteY2" fmla="*/ 6857999 h 6857999"/>
              <a:gd name="connsiteX3" fmla="*/ 5379511 w 6642471"/>
              <a:gd name="connsiteY3" fmla="*/ 6811559 h 6857999"/>
              <a:gd name="connsiteX4" fmla="*/ 6515156 w 6642471"/>
              <a:gd name="connsiteY4" fmla="*/ 5968783 h 6857999"/>
              <a:gd name="connsiteX5" fmla="*/ 2228425 w 6642471"/>
              <a:gd name="connsiteY5" fmla="*/ 0 h 6857999"/>
              <a:gd name="connsiteX6" fmla="*/ 6642471 w 6642471"/>
              <a:gd name="connsiteY6" fmla="*/ 0 h 6857999"/>
              <a:gd name="connsiteX7" fmla="*/ 6642471 w 6642471"/>
              <a:gd name="connsiteY7" fmla="*/ 5822685 h 6857999"/>
              <a:gd name="connsiteX8" fmla="*/ 6515156 w 6642471"/>
              <a:gd name="connsiteY8" fmla="*/ 5968779 h 6857999"/>
              <a:gd name="connsiteX9" fmla="*/ 5379511 w 6642471"/>
              <a:gd name="connsiteY9" fmla="*/ 6811555 h 6857999"/>
              <a:gd name="connsiteX10" fmla="*/ 5276781 w 6642471"/>
              <a:gd name="connsiteY10" fmla="*/ 6857998 h 6857999"/>
              <a:gd name="connsiteX11" fmla="*/ 2228425 w 6642471"/>
              <a:gd name="connsiteY11" fmla="*/ 6857998 h 6857999"/>
              <a:gd name="connsiteX12" fmla="*/ 2125695 w 6642471"/>
              <a:gd name="connsiteY12" fmla="*/ 6811555 h 6857999"/>
              <a:gd name="connsiteX13" fmla="*/ 0 w 6642471"/>
              <a:gd name="connsiteY13" fmla="*/ 3428999 h 6857999"/>
              <a:gd name="connsiteX14" fmla="*/ 2125695 w 6642471"/>
              <a:gd name="connsiteY14" fmla="*/ 46443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642471" h="6857999">
                <a:moveTo>
                  <a:pt x="6642470" y="5822690"/>
                </a:moveTo>
                <a:lnTo>
                  <a:pt x="6642470" y="6857999"/>
                </a:lnTo>
                <a:lnTo>
                  <a:pt x="5276788" y="6857999"/>
                </a:lnTo>
                <a:lnTo>
                  <a:pt x="5379511" y="6811559"/>
                </a:lnTo>
                <a:cubicBezTo>
                  <a:pt x="5810155" y="6604054"/>
                  <a:pt x="6195100" y="6316731"/>
                  <a:pt x="6515156" y="5968783"/>
                </a:cubicBezTo>
                <a:close/>
                <a:moveTo>
                  <a:pt x="2228425" y="0"/>
                </a:moveTo>
                <a:lnTo>
                  <a:pt x="6642471" y="0"/>
                </a:lnTo>
                <a:lnTo>
                  <a:pt x="6642471" y="5822685"/>
                </a:lnTo>
                <a:lnTo>
                  <a:pt x="6515156" y="5968779"/>
                </a:lnTo>
                <a:cubicBezTo>
                  <a:pt x="6195100" y="6316727"/>
                  <a:pt x="5810155" y="6604050"/>
                  <a:pt x="5379511" y="6811555"/>
                </a:cubicBezTo>
                <a:lnTo>
                  <a:pt x="5276781" y="6857998"/>
                </a:lnTo>
                <a:lnTo>
                  <a:pt x="2228425" y="6857998"/>
                </a:lnTo>
                <a:lnTo>
                  <a:pt x="2125695" y="6811555"/>
                </a:lnTo>
                <a:cubicBezTo>
                  <a:pt x="867942" y="6205507"/>
                  <a:pt x="0" y="4918612"/>
                  <a:pt x="0" y="3428999"/>
                </a:cubicBezTo>
                <a:cubicBezTo>
                  <a:pt x="0" y="1939386"/>
                  <a:pt x="867942" y="652491"/>
                  <a:pt x="2125695" y="46443"/>
                </a:cubicBezTo>
                <a:close/>
              </a:path>
            </a:pathLst>
          </a:custGeom>
          <a:gradFill flip="none" rotWithShape="1">
            <a:gsLst>
              <a:gs pos="50000">
                <a:srgbClr val="D59DFF">
                  <a:alpha val="0"/>
                </a:srgbClr>
              </a:gs>
              <a:gs pos="0">
                <a:srgbClr val="FF9248">
                  <a:alpha val="24870"/>
                </a:srgbClr>
              </a:gs>
              <a:gs pos="100000">
                <a:srgbClr val="0078D4">
                  <a:alpha val="14712"/>
                </a:srgbClr>
              </a:gs>
            </a:gsLst>
            <a:path path="circle">
              <a:fillToRect r="100000" b="100000"/>
            </a:path>
            <a:tileRect l="-100000" t="-10000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nvGrpSpPr>
          <p:cNvPr id="3" name="Group 2">
            <a:extLst>
              <a:ext uri="{FF2B5EF4-FFF2-40B4-BE49-F238E27FC236}">
                <a16:creationId xmlns:a16="http://schemas.microsoft.com/office/drawing/2014/main" id="{89994CFD-7FE0-22D6-A9E0-889C74B2CB79}"/>
              </a:ext>
            </a:extLst>
          </p:cNvPr>
          <p:cNvGrpSpPr/>
          <p:nvPr userDrawn="1"/>
        </p:nvGrpSpPr>
        <p:grpSpPr>
          <a:xfrm>
            <a:off x="6813486" y="1010847"/>
            <a:ext cx="4563166" cy="4890456"/>
            <a:chOff x="6813486" y="1010847"/>
            <a:chExt cx="4563166" cy="4890456"/>
          </a:xfrm>
        </p:grpSpPr>
        <p:sp>
          <p:nvSpPr>
            <p:cNvPr id="69" name="Freeform 68">
              <a:extLst>
                <a:ext uri="{FF2B5EF4-FFF2-40B4-BE49-F238E27FC236}">
                  <a16:creationId xmlns:a16="http://schemas.microsoft.com/office/drawing/2014/main" id="{8061FE4A-FB7A-149F-FF5F-4C73442ED9F1}"/>
                </a:ext>
              </a:extLst>
            </p:cNvPr>
            <p:cNvSpPr/>
            <p:nvPr/>
          </p:nvSpPr>
          <p:spPr>
            <a:xfrm>
              <a:off x="7163621" y="1335089"/>
              <a:ext cx="4213031" cy="4215013"/>
            </a:xfrm>
            <a:custGeom>
              <a:avLst/>
              <a:gdLst>
                <a:gd name="connsiteX0" fmla="*/ 4213031 w 4213031"/>
                <a:gd name="connsiteY0" fmla="*/ 2107507 h 4215013"/>
                <a:gd name="connsiteX1" fmla="*/ 2106516 w 4213031"/>
                <a:gd name="connsiteY1" fmla="*/ 4215014 h 4215013"/>
                <a:gd name="connsiteX2" fmla="*/ 0 w 4213031"/>
                <a:gd name="connsiteY2" fmla="*/ 2107507 h 4215013"/>
                <a:gd name="connsiteX3" fmla="*/ 2106516 w 4213031"/>
                <a:gd name="connsiteY3" fmla="*/ 0 h 4215013"/>
                <a:gd name="connsiteX4" fmla="*/ 4213031 w 4213031"/>
                <a:gd name="connsiteY4" fmla="*/ 2107507 h 42150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3031" h="4215013">
                  <a:moveTo>
                    <a:pt x="4213031" y="2107507"/>
                  </a:moveTo>
                  <a:cubicBezTo>
                    <a:pt x="4213031" y="3271451"/>
                    <a:pt x="3269912" y="4215014"/>
                    <a:pt x="2106516" y="4215014"/>
                  </a:cubicBezTo>
                  <a:cubicBezTo>
                    <a:pt x="943119" y="4215014"/>
                    <a:pt x="0" y="3271451"/>
                    <a:pt x="0" y="2107507"/>
                  </a:cubicBezTo>
                  <a:cubicBezTo>
                    <a:pt x="0" y="943563"/>
                    <a:pt x="943119" y="0"/>
                    <a:pt x="2106516" y="0"/>
                  </a:cubicBezTo>
                  <a:cubicBezTo>
                    <a:pt x="3269912" y="0"/>
                    <a:pt x="4213031" y="943563"/>
                    <a:pt x="4213031" y="2107507"/>
                  </a:cubicBezTo>
                  <a:close/>
                </a:path>
              </a:pathLst>
            </a:custGeom>
            <a:gradFill>
              <a:gsLst>
                <a:gs pos="6000">
                  <a:srgbClr val="8661C5"/>
                </a:gs>
                <a:gs pos="100000">
                  <a:srgbClr val="0078D4"/>
                </a:gs>
              </a:gsLst>
              <a:lin ang="3343960" scaled="1"/>
            </a:gradFill>
            <a:ln w="5992" cap="flat">
              <a:noFill/>
              <a:prstDash val="solid"/>
              <a:miter/>
            </a:ln>
          </p:spPr>
          <p:txBody>
            <a:bodyPr rtlCol="0" anchor="ctr"/>
            <a:lstStyle/>
            <a:p>
              <a:endParaRPr lang="en-US"/>
            </a:p>
          </p:txBody>
        </p:sp>
        <p:sp>
          <p:nvSpPr>
            <p:cNvPr id="70" name="Freeform 69">
              <a:extLst>
                <a:ext uri="{FF2B5EF4-FFF2-40B4-BE49-F238E27FC236}">
                  <a16:creationId xmlns:a16="http://schemas.microsoft.com/office/drawing/2014/main" id="{60E70D4E-93C2-33DF-9579-8D736D75B3EF}"/>
                </a:ext>
              </a:extLst>
            </p:cNvPr>
            <p:cNvSpPr/>
            <p:nvPr/>
          </p:nvSpPr>
          <p:spPr>
            <a:xfrm>
              <a:off x="6813486" y="1010847"/>
              <a:ext cx="3196163" cy="4890456"/>
            </a:xfrm>
            <a:custGeom>
              <a:avLst/>
              <a:gdLst>
                <a:gd name="connsiteX0" fmla="*/ 245530 w 3196163"/>
                <a:gd name="connsiteY0" fmla="*/ 3526331 h 4890456"/>
                <a:gd name="connsiteX1" fmla="*/ 130 w 3196163"/>
                <a:gd name="connsiteY1" fmla="*/ 2608755 h 4890456"/>
                <a:gd name="connsiteX2" fmla="*/ 58044 w 3196163"/>
                <a:gd name="connsiteY2" fmla="*/ 2546731 h 4890456"/>
                <a:gd name="connsiteX3" fmla="*/ 1064250 w 3196163"/>
                <a:gd name="connsiteY3" fmla="*/ 2546731 h 4890456"/>
                <a:gd name="connsiteX4" fmla="*/ 1203364 w 3196163"/>
                <a:gd name="connsiteY4" fmla="*/ 3044487 h 4890456"/>
                <a:gd name="connsiteX5" fmla="*/ 326670 w 3196163"/>
                <a:gd name="connsiteY5" fmla="*/ 3550949 h 4890456"/>
                <a:gd name="connsiteX6" fmla="*/ 245530 w 3196163"/>
                <a:gd name="connsiteY6" fmla="*/ 3526331 h 4890456"/>
                <a:gd name="connsiteX7" fmla="*/ 1363243 w 3196163"/>
                <a:gd name="connsiteY7" fmla="*/ 4644811 h 4890456"/>
                <a:gd name="connsiteX8" fmla="*/ 2280628 w 3196163"/>
                <a:gd name="connsiteY8" fmla="*/ 4890327 h 4890456"/>
                <a:gd name="connsiteX9" fmla="*/ 2342623 w 3196163"/>
                <a:gd name="connsiteY9" fmla="*/ 4832385 h 4890456"/>
                <a:gd name="connsiteX10" fmla="*/ 2342623 w 3196163"/>
                <a:gd name="connsiteY10" fmla="*/ 3814417 h 4890456"/>
                <a:gd name="connsiteX11" fmla="*/ 1847682 w 3196163"/>
                <a:gd name="connsiteY11" fmla="*/ 3681602 h 4890456"/>
                <a:gd name="connsiteX12" fmla="*/ 1338577 w 3196163"/>
                <a:gd name="connsiteY12" fmla="*/ 4563633 h 4890456"/>
                <a:gd name="connsiteX13" fmla="*/ 1363183 w 3196163"/>
                <a:gd name="connsiteY13" fmla="*/ 4644811 h 4890456"/>
                <a:gd name="connsiteX14" fmla="*/ 409190 w 3196163"/>
                <a:gd name="connsiteY14" fmla="*/ 3809374 h 4890456"/>
                <a:gd name="connsiteX15" fmla="*/ 1080454 w 3196163"/>
                <a:gd name="connsiteY15" fmla="*/ 4480954 h 4890456"/>
                <a:gd name="connsiteX16" fmla="*/ 1163154 w 3196163"/>
                <a:gd name="connsiteY16" fmla="*/ 4461800 h 4890456"/>
                <a:gd name="connsiteX17" fmla="*/ 1671899 w 3196163"/>
                <a:gd name="connsiteY17" fmla="*/ 3580430 h 4890456"/>
                <a:gd name="connsiteX18" fmla="*/ 1306650 w 3196163"/>
                <a:gd name="connsiteY18" fmla="*/ 3219392 h 4890456"/>
                <a:gd name="connsiteX19" fmla="*/ 428334 w 3196163"/>
                <a:gd name="connsiteY19" fmla="*/ 3726634 h 4890456"/>
                <a:gd name="connsiteX20" fmla="*/ 409190 w 3196163"/>
                <a:gd name="connsiteY20" fmla="*/ 3809374 h 4890456"/>
                <a:gd name="connsiteX21" fmla="*/ 2280628 w 3196163"/>
                <a:gd name="connsiteY21" fmla="*/ 130 h 4890456"/>
                <a:gd name="connsiteX22" fmla="*/ 1363363 w 3196163"/>
                <a:gd name="connsiteY22" fmla="*/ 245646 h 4890456"/>
                <a:gd name="connsiteX23" fmla="*/ 1338757 w 3196163"/>
                <a:gd name="connsiteY23" fmla="*/ 326824 h 4890456"/>
                <a:gd name="connsiteX24" fmla="*/ 1831058 w 3196163"/>
                <a:gd name="connsiteY24" fmla="*/ 1179854 h 4890456"/>
                <a:gd name="connsiteX25" fmla="*/ 2342683 w 3196163"/>
                <a:gd name="connsiteY25" fmla="*/ 1038633 h 4890456"/>
                <a:gd name="connsiteX26" fmla="*/ 2342683 w 3196163"/>
                <a:gd name="connsiteY26" fmla="*/ 58071 h 4890456"/>
                <a:gd name="connsiteX27" fmla="*/ 2280688 w 3196163"/>
                <a:gd name="connsiteY27" fmla="*/ 130 h 4890456"/>
                <a:gd name="connsiteX28" fmla="*/ 1080454 w 3196163"/>
                <a:gd name="connsiteY28" fmla="*/ 409443 h 4890456"/>
                <a:gd name="connsiteX29" fmla="*/ 409310 w 3196163"/>
                <a:gd name="connsiteY29" fmla="*/ 1081023 h 4890456"/>
                <a:gd name="connsiteX30" fmla="*/ 428455 w 3196163"/>
                <a:gd name="connsiteY30" fmla="*/ 1163762 h 4890456"/>
                <a:gd name="connsiteX31" fmla="*/ 1288525 w 3196163"/>
                <a:gd name="connsiteY31" fmla="*/ 1660557 h 4890456"/>
                <a:gd name="connsiteX32" fmla="*/ 1656475 w 3196163"/>
                <a:gd name="connsiteY32" fmla="*/ 1283428 h 4890456"/>
                <a:gd name="connsiteX33" fmla="*/ 1163154 w 3196163"/>
                <a:gd name="connsiteY33" fmla="*/ 428596 h 4890456"/>
                <a:gd name="connsiteX34" fmla="*/ 1080454 w 3196163"/>
                <a:gd name="connsiteY34" fmla="*/ 409443 h 4890456"/>
                <a:gd name="connsiteX35" fmla="*/ 245530 w 3196163"/>
                <a:gd name="connsiteY35" fmla="*/ 1364005 h 4890456"/>
                <a:gd name="connsiteX36" fmla="*/ 130 w 3196163"/>
                <a:gd name="connsiteY36" fmla="*/ 2281701 h 4890456"/>
                <a:gd name="connsiteX37" fmla="*/ 58044 w 3196163"/>
                <a:gd name="connsiteY37" fmla="*/ 2343726 h 4890456"/>
                <a:gd name="connsiteX38" fmla="*/ 1061489 w 3196163"/>
                <a:gd name="connsiteY38" fmla="*/ 2343726 h 4890456"/>
                <a:gd name="connsiteX39" fmla="*/ 1189321 w 3196163"/>
                <a:gd name="connsiteY39" fmla="*/ 1837684 h 4890456"/>
                <a:gd name="connsiteX40" fmla="*/ 326670 w 3196163"/>
                <a:gd name="connsiteY40" fmla="*/ 1339388 h 4890456"/>
                <a:gd name="connsiteX41" fmla="*/ 245530 w 3196163"/>
                <a:gd name="connsiteY41" fmla="*/ 1364005 h 4890456"/>
                <a:gd name="connsiteX42" fmla="*/ 3182949 w 3196163"/>
                <a:gd name="connsiteY42" fmla="*/ 3116598 h 4890456"/>
                <a:gd name="connsiteX43" fmla="*/ 3175927 w 3196163"/>
                <a:gd name="connsiteY43" fmla="*/ 3039623 h 4890456"/>
                <a:gd name="connsiteX44" fmla="*/ 2816259 w 3196163"/>
                <a:gd name="connsiteY44" fmla="*/ 2753819 h 4890456"/>
                <a:gd name="connsiteX45" fmla="*/ 2712194 w 3196163"/>
                <a:gd name="connsiteY45" fmla="*/ 2756581 h 4890456"/>
                <a:gd name="connsiteX46" fmla="*/ 2411580 w 3196163"/>
                <a:gd name="connsiteY46" fmla="*/ 2874565 h 4890456"/>
                <a:gd name="connsiteX47" fmla="*/ 1971972 w 3196163"/>
                <a:gd name="connsiteY47" fmla="*/ 2388278 h 4890456"/>
                <a:gd name="connsiteX48" fmla="*/ 2358587 w 3196163"/>
                <a:gd name="connsiteY48" fmla="*/ 1993735 h 4890456"/>
                <a:gd name="connsiteX49" fmla="*/ 2711353 w 3196163"/>
                <a:gd name="connsiteY49" fmla="*/ 2107937 h 4890456"/>
                <a:gd name="connsiteX50" fmla="*/ 2817279 w 3196163"/>
                <a:gd name="connsiteY50" fmla="*/ 2110639 h 4890456"/>
                <a:gd name="connsiteX51" fmla="*/ 3175867 w 3196163"/>
                <a:gd name="connsiteY51" fmla="*/ 1825675 h 4890456"/>
                <a:gd name="connsiteX52" fmla="*/ 3182829 w 3196163"/>
                <a:gd name="connsiteY52" fmla="*/ 1748580 h 4890456"/>
                <a:gd name="connsiteX53" fmla="*/ 2360928 w 3196163"/>
                <a:gd name="connsiteY53" fmla="*/ 1402673 h 4890456"/>
                <a:gd name="connsiteX54" fmla="*/ 1380828 w 3196163"/>
                <a:gd name="connsiteY54" fmla="*/ 2429347 h 4890456"/>
                <a:gd name="connsiteX55" fmla="*/ 2411520 w 3196163"/>
                <a:gd name="connsiteY55" fmla="*/ 3463827 h 4890456"/>
                <a:gd name="connsiteX56" fmla="*/ 3182949 w 3196163"/>
                <a:gd name="connsiteY56" fmla="*/ 3116598 h 4890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3196163" h="4890456">
                  <a:moveTo>
                    <a:pt x="245530" y="3526331"/>
                  </a:moveTo>
                  <a:cubicBezTo>
                    <a:pt x="107676" y="3246471"/>
                    <a:pt x="21735" y="2936470"/>
                    <a:pt x="130" y="2608755"/>
                  </a:cubicBezTo>
                  <a:cubicBezTo>
                    <a:pt x="-2091" y="2575191"/>
                    <a:pt x="24496" y="2546731"/>
                    <a:pt x="58044" y="2546731"/>
                  </a:cubicBezTo>
                  <a:lnTo>
                    <a:pt x="1064250" y="2546731"/>
                  </a:lnTo>
                  <a:cubicBezTo>
                    <a:pt x="1079314" y="2724218"/>
                    <a:pt x="1127746" y="2892278"/>
                    <a:pt x="1203364" y="3044487"/>
                  </a:cubicBezTo>
                  <a:lnTo>
                    <a:pt x="326670" y="3550949"/>
                  </a:lnTo>
                  <a:cubicBezTo>
                    <a:pt x="297622" y="3567761"/>
                    <a:pt x="260353" y="3556413"/>
                    <a:pt x="245530" y="3526331"/>
                  </a:cubicBezTo>
                  <a:close/>
                  <a:moveTo>
                    <a:pt x="1363243" y="4644811"/>
                  </a:moveTo>
                  <a:cubicBezTo>
                    <a:pt x="1643092" y="4782730"/>
                    <a:pt x="1953068" y="4868711"/>
                    <a:pt x="2280628" y="4890327"/>
                  </a:cubicBezTo>
                  <a:cubicBezTo>
                    <a:pt x="2314176" y="4892548"/>
                    <a:pt x="2342623" y="4865949"/>
                    <a:pt x="2342623" y="4832385"/>
                  </a:cubicBezTo>
                  <a:lnTo>
                    <a:pt x="2342623" y="3814417"/>
                  </a:lnTo>
                  <a:cubicBezTo>
                    <a:pt x="2166360" y="3800908"/>
                    <a:pt x="1999459" y="3754554"/>
                    <a:pt x="1847682" y="3681602"/>
                  </a:cubicBezTo>
                  <a:lnTo>
                    <a:pt x="1338577" y="4563633"/>
                  </a:lnTo>
                  <a:cubicBezTo>
                    <a:pt x="1321773" y="4592694"/>
                    <a:pt x="1333116" y="4629980"/>
                    <a:pt x="1363183" y="4644811"/>
                  </a:cubicBezTo>
                  <a:close/>
                  <a:moveTo>
                    <a:pt x="409190" y="3809374"/>
                  </a:moveTo>
                  <a:cubicBezTo>
                    <a:pt x="587073" y="4074583"/>
                    <a:pt x="815489" y="4302987"/>
                    <a:pt x="1080454" y="4480954"/>
                  </a:cubicBezTo>
                  <a:cubicBezTo>
                    <a:pt x="1108361" y="4499687"/>
                    <a:pt x="1146350" y="4490921"/>
                    <a:pt x="1163154" y="4461800"/>
                  </a:cubicBezTo>
                  <a:lnTo>
                    <a:pt x="1671899" y="3580430"/>
                  </a:lnTo>
                  <a:cubicBezTo>
                    <a:pt x="1528824" y="3483701"/>
                    <a:pt x="1404954" y="3361213"/>
                    <a:pt x="1306650" y="3219392"/>
                  </a:cubicBezTo>
                  <a:lnTo>
                    <a:pt x="428334" y="3726634"/>
                  </a:lnTo>
                  <a:cubicBezTo>
                    <a:pt x="399227" y="3743447"/>
                    <a:pt x="390465" y="3781454"/>
                    <a:pt x="409190" y="3809374"/>
                  </a:cubicBezTo>
                  <a:close/>
                  <a:moveTo>
                    <a:pt x="2280628" y="130"/>
                  </a:moveTo>
                  <a:cubicBezTo>
                    <a:pt x="1953068" y="21745"/>
                    <a:pt x="1643092" y="107787"/>
                    <a:pt x="1363363" y="245646"/>
                  </a:cubicBezTo>
                  <a:cubicBezTo>
                    <a:pt x="1333236" y="260476"/>
                    <a:pt x="1321953" y="297703"/>
                    <a:pt x="1338757" y="326824"/>
                  </a:cubicBezTo>
                  <a:lnTo>
                    <a:pt x="1831058" y="1179854"/>
                  </a:lnTo>
                  <a:cubicBezTo>
                    <a:pt x="1987156" y="1101858"/>
                    <a:pt x="2160058" y="1052683"/>
                    <a:pt x="2342683" y="1038633"/>
                  </a:cubicBezTo>
                  <a:lnTo>
                    <a:pt x="2342683" y="58071"/>
                  </a:lnTo>
                  <a:cubicBezTo>
                    <a:pt x="2342683" y="24447"/>
                    <a:pt x="2314176" y="-2092"/>
                    <a:pt x="2280688" y="130"/>
                  </a:cubicBezTo>
                  <a:close/>
                  <a:moveTo>
                    <a:pt x="1080454" y="409443"/>
                  </a:moveTo>
                  <a:cubicBezTo>
                    <a:pt x="815489" y="587530"/>
                    <a:pt x="587193" y="815933"/>
                    <a:pt x="409310" y="1081023"/>
                  </a:cubicBezTo>
                  <a:cubicBezTo>
                    <a:pt x="390585" y="1108943"/>
                    <a:pt x="399347" y="1146950"/>
                    <a:pt x="428455" y="1163762"/>
                  </a:cubicBezTo>
                  <a:lnTo>
                    <a:pt x="1288525" y="1660557"/>
                  </a:lnTo>
                  <a:cubicBezTo>
                    <a:pt x="1386049" y="1512671"/>
                    <a:pt x="1511120" y="1384360"/>
                    <a:pt x="1656475" y="1283428"/>
                  </a:cubicBezTo>
                  <a:lnTo>
                    <a:pt x="1163154" y="428596"/>
                  </a:lnTo>
                  <a:cubicBezTo>
                    <a:pt x="1146350" y="399476"/>
                    <a:pt x="1108361" y="390709"/>
                    <a:pt x="1080454" y="409443"/>
                  </a:cubicBezTo>
                  <a:close/>
                  <a:moveTo>
                    <a:pt x="245530" y="1364005"/>
                  </a:moveTo>
                  <a:cubicBezTo>
                    <a:pt x="107676" y="1643865"/>
                    <a:pt x="21735" y="1953987"/>
                    <a:pt x="130" y="2281701"/>
                  </a:cubicBezTo>
                  <a:cubicBezTo>
                    <a:pt x="-2091" y="2315265"/>
                    <a:pt x="24496" y="2343726"/>
                    <a:pt x="58044" y="2343726"/>
                  </a:cubicBezTo>
                  <a:lnTo>
                    <a:pt x="1061489" y="2343726"/>
                  </a:lnTo>
                  <a:cubicBezTo>
                    <a:pt x="1072052" y="2163657"/>
                    <a:pt x="1116703" y="1992835"/>
                    <a:pt x="1189321" y="1837684"/>
                  </a:cubicBezTo>
                  <a:lnTo>
                    <a:pt x="326670" y="1339388"/>
                  </a:lnTo>
                  <a:cubicBezTo>
                    <a:pt x="297622" y="1322576"/>
                    <a:pt x="260353" y="1333924"/>
                    <a:pt x="245530" y="1364005"/>
                  </a:cubicBezTo>
                  <a:close/>
                  <a:moveTo>
                    <a:pt x="3182949" y="3116598"/>
                  </a:moveTo>
                  <a:cubicBezTo>
                    <a:pt x="3203114" y="3093782"/>
                    <a:pt x="3199753" y="3058537"/>
                    <a:pt x="3175927" y="3039623"/>
                  </a:cubicBezTo>
                  <a:lnTo>
                    <a:pt x="2816259" y="2753819"/>
                  </a:lnTo>
                  <a:cubicBezTo>
                    <a:pt x="2785472" y="2729382"/>
                    <a:pt x="2740941" y="2729802"/>
                    <a:pt x="2712194" y="2756581"/>
                  </a:cubicBezTo>
                  <a:cubicBezTo>
                    <a:pt x="2630994" y="2832235"/>
                    <a:pt x="2524528" y="2874565"/>
                    <a:pt x="2411580" y="2874565"/>
                  </a:cubicBezTo>
                  <a:cubicBezTo>
                    <a:pt x="2153397" y="2874565"/>
                    <a:pt x="1946226" y="2651806"/>
                    <a:pt x="1971972" y="2388278"/>
                  </a:cubicBezTo>
                  <a:cubicBezTo>
                    <a:pt x="1991957" y="2183891"/>
                    <a:pt x="2154717" y="2017513"/>
                    <a:pt x="2358587" y="1993735"/>
                  </a:cubicBezTo>
                  <a:cubicBezTo>
                    <a:pt x="2490499" y="1978364"/>
                    <a:pt x="2617670" y="2021055"/>
                    <a:pt x="2711353" y="2107937"/>
                  </a:cubicBezTo>
                  <a:cubicBezTo>
                    <a:pt x="2740701" y="2135137"/>
                    <a:pt x="2786012" y="2135497"/>
                    <a:pt x="2817279" y="2110639"/>
                  </a:cubicBezTo>
                  <a:lnTo>
                    <a:pt x="3175867" y="1825675"/>
                  </a:lnTo>
                  <a:cubicBezTo>
                    <a:pt x="3199753" y="1806702"/>
                    <a:pt x="3203054" y="1771396"/>
                    <a:pt x="3182829" y="1748580"/>
                  </a:cubicBezTo>
                  <a:cubicBezTo>
                    <a:pt x="2976018" y="1514773"/>
                    <a:pt x="2677385" y="1387542"/>
                    <a:pt x="2360928" y="1402673"/>
                  </a:cubicBezTo>
                  <a:cubicBezTo>
                    <a:pt x="1816594" y="1428671"/>
                    <a:pt x="1382508" y="1884097"/>
                    <a:pt x="1380828" y="2429347"/>
                  </a:cubicBezTo>
                  <a:cubicBezTo>
                    <a:pt x="1379027" y="2999455"/>
                    <a:pt x="1842101" y="3463827"/>
                    <a:pt x="2411520" y="3463827"/>
                  </a:cubicBezTo>
                  <a:cubicBezTo>
                    <a:pt x="2709073" y="3463827"/>
                    <a:pt x="2987181" y="3337977"/>
                    <a:pt x="3182949" y="3116598"/>
                  </a:cubicBezTo>
                  <a:close/>
                </a:path>
              </a:pathLst>
            </a:custGeom>
            <a:gradFill>
              <a:gsLst>
                <a:gs pos="6000">
                  <a:srgbClr val="FF9248"/>
                </a:gs>
                <a:gs pos="78000">
                  <a:srgbClr val="D59DFF"/>
                </a:gs>
              </a:gsLst>
              <a:lin ang="3360000" scaled="0"/>
            </a:gradFill>
            <a:ln w="5992" cap="flat">
              <a:noFill/>
              <a:prstDash val="solid"/>
              <a:miter/>
            </a:ln>
            <a:effectLst>
              <a:outerShdw blurRad="262601" dist="38100" dir="2700000" sx="101000" sy="101000" algn="tl" rotWithShape="0">
                <a:prstClr val="black">
                  <a:alpha val="14845"/>
                </a:prstClr>
              </a:outerShdw>
            </a:effectLst>
          </p:spPr>
          <p:txBody>
            <a:bodyPr rtlCol="0" anchor="ctr"/>
            <a:lstStyle/>
            <a:p>
              <a:endParaRPr lang="en-US"/>
            </a:p>
          </p:txBody>
        </p:sp>
      </p:grpSp>
      <p:grpSp>
        <p:nvGrpSpPr>
          <p:cNvPr id="72" name="Graphic 4">
            <a:extLst>
              <a:ext uri="{FF2B5EF4-FFF2-40B4-BE49-F238E27FC236}">
                <a16:creationId xmlns:a16="http://schemas.microsoft.com/office/drawing/2014/main" id="{2423162A-3763-0E16-80D4-7C6C7B0CB541}"/>
              </a:ext>
            </a:extLst>
          </p:cNvPr>
          <p:cNvGrpSpPr/>
          <p:nvPr userDrawn="1"/>
        </p:nvGrpSpPr>
        <p:grpSpPr>
          <a:xfrm>
            <a:off x="0" y="5132022"/>
            <a:ext cx="510221" cy="1722605"/>
            <a:chOff x="-4159250" y="1885650"/>
            <a:chExt cx="261566" cy="883098"/>
          </a:xfrm>
          <a:gradFill>
            <a:gsLst>
              <a:gs pos="0">
                <a:srgbClr val="FF9248">
                  <a:alpha val="35000"/>
                </a:srgbClr>
              </a:gs>
              <a:gs pos="100000">
                <a:srgbClr val="8661C5">
                  <a:alpha val="13600"/>
                </a:srgbClr>
              </a:gs>
              <a:gs pos="67000">
                <a:srgbClr val="8661C5">
                  <a:alpha val="25000"/>
                </a:srgbClr>
              </a:gs>
            </a:gsLst>
            <a:lin ang="5400000" scaled="1"/>
          </a:gradFill>
        </p:grpSpPr>
        <p:sp>
          <p:nvSpPr>
            <p:cNvPr id="73" name="Freeform 72">
              <a:extLst>
                <a:ext uri="{FF2B5EF4-FFF2-40B4-BE49-F238E27FC236}">
                  <a16:creationId xmlns:a16="http://schemas.microsoft.com/office/drawing/2014/main" id="{1C0BBF69-240C-EECC-F92A-5F5628DE6B0C}"/>
                </a:ext>
              </a:extLst>
            </p:cNvPr>
            <p:cNvSpPr/>
            <p:nvPr/>
          </p:nvSpPr>
          <p:spPr>
            <a:xfrm>
              <a:off x="-4157174" y="1971022"/>
              <a:ext cx="209322" cy="797381"/>
            </a:xfrm>
            <a:custGeom>
              <a:avLst/>
              <a:gdLst>
                <a:gd name="connsiteX0" fmla="*/ 208630 w 209322"/>
                <a:gd name="connsiteY0" fmla="*/ 656707 h 797381"/>
                <a:gd name="connsiteX1" fmla="*/ 207938 w 209322"/>
                <a:gd name="connsiteY1" fmla="*/ 624218 h 797381"/>
                <a:gd name="connsiteX2" fmla="*/ 206900 w 209322"/>
                <a:gd name="connsiteY2" fmla="*/ 609701 h 797381"/>
                <a:gd name="connsiteX3" fmla="*/ 204478 w 209322"/>
                <a:gd name="connsiteY3" fmla="*/ 577211 h 797381"/>
                <a:gd name="connsiteX4" fmla="*/ 203441 w 209322"/>
                <a:gd name="connsiteY4" fmla="*/ 562695 h 797381"/>
                <a:gd name="connsiteX5" fmla="*/ 199289 w 209322"/>
                <a:gd name="connsiteY5" fmla="*/ 530205 h 797381"/>
                <a:gd name="connsiteX6" fmla="*/ 197559 w 209322"/>
                <a:gd name="connsiteY6" fmla="*/ 515688 h 797381"/>
                <a:gd name="connsiteX7" fmla="*/ 192369 w 209322"/>
                <a:gd name="connsiteY7" fmla="*/ 483199 h 797381"/>
                <a:gd name="connsiteX8" fmla="*/ 189947 w 209322"/>
                <a:gd name="connsiteY8" fmla="*/ 468682 h 797381"/>
                <a:gd name="connsiteX9" fmla="*/ 184065 w 209322"/>
                <a:gd name="connsiteY9" fmla="*/ 436192 h 797381"/>
                <a:gd name="connsiteX10" fmla="*/ 180605 w 209322"/>
                <a:gd name="connsiteY10" fmla="*/ 421675 h 797381"/>
                <a:gd name="connsiteX11" fmla="*/ 173340 w 209322"/>
                <a:gd name="connsiteY11" fmla="*/ 389186 h 797381"/>
                <a:gd name="connsiteX12" fmla="*/ 169534 w 209322"/>
                <a:gd name="connsiteY12" fmla="*/ 374669 h 797381"/>
                <a:gd name="connsiteX13" fmla="*/ 112792 w 209322"/>
                <a:gd name="connsiteY13" fmla="*/ 207727 h 797381"/>
                <a:gd name="connsiteX14" fmla="*/ 0 w 209322"/>
                <a:gd name="connsiteY14" fmla="*/ 0 h 797381"/>
                <a:gd name="connsiteX15" fmla="*/ 0 w 209322"/>
                <a:gd name="connsiteY15" fmla="*/ 17973 h 797381"/>
                <a:gd name="connsiteX16" fmla="*/ 103796 w 209322"/>
                <a:gd name="connsiteY16" fmla="*/ 211529 h 797381"/>
                <a:gd name="connsiteX17" fmla="*/ 159500 w 209322"/>
                <a:gd name="connsiteY17" fmla="*/ 374669 h 797381"/>
                <a:gd name="connsiteX18" fmla="*/ 163306 w 209322"/>
                <a:gd name="connsiteY18" fmla="*/ 389186 h 797381"/>
                <a:gd name="connsiteX19" fmla="*/ 170572 w 209322"/>
                <a:gd name="connsiteY19" fmla="*/ 421675 h 797381"/>
                <a:gd name="connsiteX20" fmla="*/ 174032 w 209322"/>
                <a:gd name="connsiteY20" fmla="*/ 436192 h 797381"/>
                <a:gd name="connsiteX21" fmla="*/ 180259 w 209322"/>
                <a:gd name="connsiteY21" fmla="*/ 468682 h 797381"/>
                <a:gd name="connsiteX22" fmla="*/ 182681 w 209322"/>
                <a:gd name="connsiteY22" fmla="*/ 483199 h 797381"/>
                <a:gd name="connsiteX23" fmla="*/ 187871 w 209322"/>
                <a:gd name="connsiteY23" fmla="*/ 515688 h 797381"/>
                <a:gd name="connsiteX24" fmla="*/ 189601 w 209322"/>
                <a:gd name="connsiteY24" fmla="*/ 530205 h 797381"/>
                <a:gd name="connsiteX25" fmla="*/ 193753 w 209322"/>
                <a:gd name="connsiteY25" fmla="*/ 562695 h 797381"/>
                <a:gd name="connsiteX26" fmla="*/ 194791 w 209322"/>
                <a:gd name="connsiteY26" fmla="*/ 577211 h 797381"/>
                <a:gd name="connsiteX27" fmla="*/ 197213 w 209322"/>
                <a:gd name="connsiteY27" fmla="*/ 609701 h 797381"/>
                <a:gd name="connsiteX28" fmla="*/ 198251 w 209322"/>
                <a:gd name="connsiteY28" fmla="*/ 624218 h 797381"/>
                <a:gd name="connsiteX29" fmla="*/ 198943 w 209322"/>
                <a:gd name="connsiteY29" fmla="*/ 656707 h 797381"/>
                <a:gd name="connsiteX30" fmla="*/ 199289 w 209322"/>
                <a:gd name="connsiteY30" fmla="*/ 671224 h 797381"/>
                <a:gd name="connsiteX31" fmla="*/ 199635 w 209322"/>
                <a:gd name="connsiteY31" fmla="*/ 686778 h 797381"/>
                <a:gd name="connsiteX32" fmla="*/ 199289 w 209322"/>
                <a:gd name="connsiteY32" fmla="*/ 703368 h 797381"/>
                <a:gd name="connsiteX33" fmla="*/ 198943 w 209322"/>
                <a:gd name="connsiteY33" fmla="*/ 717885 h 797381"/>
                <a:gd name="connsiteX34" fmla="*/ 197905 w 209322"/>
                <a:gd name="connsiteY34" fmla="*/ 750375 h 797381"/>
                <a:gd name="connsiteX35" fmla="*/ 196867 w 209322"/>
                <a:gd name="connsiteY35" fmla="*/ 764892 h 797381"/>
                <a:gd name="connsiteX36" fmla="*/ 194445 w 209322"/>
                <a:gd name="connsiteY36" fmla="*/ 797381 h 797381"/>
                <a:gd name="connsiteX37" fmla="*/ 194445 w 209322"/>
                <a:gd name="connsiteY37" fmla="*/ 797381 h 797381"/>
                <a:gd name="connsiteX38" fmla="*/ 204133 w 209322"/>
                <a:gd name="connsiteY38" fmla="*/ 797381 h 797381"/>
                <a:gd name="connsiteX39" fmla="*/ 204133 w 209322"/>
                <a:gd name="connsiteY39" fmla="*/ 797381 h 797381"/>
                <a:gd name="connsiteX40" fmla="*/ 206554 w 209322"/>
                <a:gd name="connsiteY40" fmla="*/ 764892 h 797381"/>
                <a:gd name="connsiteX41" fmla="*/ 207592 w 209322"/>
                <a:gd name="connsiteY41" fmla="*/ 750375 h 797381"/>
                <a:gd name="connsiteX42" fmla="*/ 208630 w 209322"/>
                <a:gd name="connsiteY42" fmla="*/ 717885 h 797381"/>
                <a:gd name="connsiteX43" fmla="*/ 208976 w 209322"/>
                <a:gd name="connsiteY43" fmla="*/ 703368 h 797381"/>
                <a:gd name="connsiteX44" fmla="*/ 209322 w 209322"/>
                <a:gd name="connsiteY44" fmla="*/ 686778 h 797381"/>
                <a:gd name="connsiteX45" fmla="*/ 208976 w 209322"/>
                <a:gd name="connsiteY45" fmla="*/ 671224 h 797381"/>
                <a:gd name="connsiteX46" fmla="*/ 208630 w 209322"/>
                <a:gd name="connsiteY46" fmla="*/ 656707 h 797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209322" h="797381">
                  <a:moveTo>
                    <a:pt x="208630" y="656707"/>
                  </a:moveTo>
                  <a:cubicBezTo>
                    <a:pt x="208630" y="645993"/>
                    <a:pt x="208630" y="634933"/>
                    <a:pt x="207938" y="624218"/>
                  </a:cubicBezTo>
                  <a:cubicBezTo>
                    <a:pt x="207938" y="619379"/>
                    <a:pt x="207246" y="614540"/>
                    <a:pt x="206900" y="609701"/>
                  </a:cubicBezTo>
                  <a:cubicBezTo>
                    <a:pt x="206208" y="598986"/>
                    <a:pt x="205516" y="587926"/>
                    <a:pt x="204478" y="577211"/>
                  </a:cubicBezTo>
                  <a:cubicBezTo>
                    <a:pt x="204133" y="572372"/>
                    <a:pt x="203787" y="567533"/>
                    <a:pt x="203441" y="562695"/>
                  </a:cubicBezTo>
                  <a:cubicBezTo>
                    <a:pt x="202403" y="551980"/>
                    <a:pt x="200673" y="540920"/>
                    <a:pt x="199289" y="530205"/>
                  </a:cubicBezTo>
                  <a:cubicBezTo>
                    <a:pt x="198597" y="525366"/>
                    <a:pt x="198251" y="520527"/>
                    <a:pt x="197559" y="515688"/>
                  </a:cubicBezTo>
                  <a:cubicBezTo>
                    <a:pt x="196175" y="504973"/>
                    <a:pt x="194445" y="493913"/>
                    <a:pt x="192369" y="483199"/>
                  </a:cubicBezTo>
                  <a:cubicBezTo>
                    <a:pt x="191677" y="478360"/>
                    <a:pt x="190639" y="473521"/>
                    <a:pt x="189947" y="468682"/>
                  </a:cubicBezTo>
                  <a:cubicBezTo>
                    <a:pt x="187871" y="457967"/>
                    <a:pt x="186141" y="446907"/>
                    <a:pt x="184065" y="436192"/>
                  </a:cubicBezTo>
                  <a:cubicBezTo>
                    <a:pt x="183027" y="431353"/>
                    <a:pt x="181643" y="426514"/>
                    <a:pt x="180605" y="421675"/>
                  </a:cubicBezTo>
                  <a:cubicBezTo>
                    <a:pt x="178183" y="410961"/>
                    <a:pt x="175762" y="399900"/>
                    <a:pt x="173340" y="389186"/>
                  </a:cubicBezTo>
                  <a:cubicBezTo>
                    <a:pt x="172302" y="384347"/>
                    <a:pt x="170918" y="379508"/>
                    <a:pt x="169534" y="374669"/>
                  </a:cubicBezTo>
                  <a:cubicBezTo>
                    <a:pt x="154656" y="317985"/>
                    <a:pt x="135973" y="261992"/>
                    <a:pt x="112792" y="207727"/>
                  </a:cubicBezTo>
                  <a:cubicBezTo>
                    <a:pt x="81653" y="134452"/>
                    <a:pt x="44286" y="64980"/>
                    <a:pt x="0" y="0"/>
                  </a:cubicBezTo>
                  <a:lnTo>
                    <a:pt x="0" y="17973"/>
                  </a:lnTo>
                  <a:cubicBezTo>
                    <a:pt x="40135" y="79151"/>
                    <a:pt x="75079" y="143784"/>
                    <a:pt x="103796" y="211529"/>
                  </a:cubicBezTo>
                  <a:cubicBezTo>
                    <a:pt x="126285" y="264757"/>
                    <a:pt x="144623" y="319367"/>
                    <a:pt x="159500" y="374669"/>
                  </a:cubicBezTo>
                  <a:cubicBezTo>
                    <a:pt x="160884" y="379508"/>
                    <a:pt x="162268" y="384347"/>
                    <a:pt x="163306" y="389186"/>
                  </a:cubicBezTo>
                  <a:cubicBezTo>
                    <a:pt x="166074" y="399900"/>
                    <a:pt x="168150" y="410615"/>
                    <a:pt x="170572" y="421675"/>
                  </a:cubicBezTo>
                  <a:cubicBezTo>
                    <a:pt x="171610" y="426514"/>
                    <a:pt x="172994" y="431353"/>
                    <a:pt x="174032" y="436192"/>
                  </a:cubicBezTo>
                  <a:cubicBezTo>
                    <a:pt x="176108" y="446907"/>
                    <a:pt x="178183" y="457621"/>
                    <a:pt x="180259" y="468682"/>
                  </a:cubicBezTo>
                  <a:cubicBezTo>
                    <a:pt x="181297" y="473521"/>
                    <a:pt x="181989" y="478360"/>
                    <a:pt x="182681" y="483199"/>
                  </a:cubicBezTo>
                  <a:cubicBezTo>
                    <a:pt x="184411" y="493913"/>
                    <a:pt x="186141" y="504628"/>
                    <a:pt x="187871" y="515688"/>
                  </a:cubicBezTo>
                  <a:cubicBezTo>
                    <a:pt x="188563" y="520527"/>
                    <a:pt x="188909" y="525366"/>
                    <a:pt x="189601" y="530205"/>
                  </a:cubicBezTo>
                  <a:cubicBezTo>
                    <a:pt x="190985" y="540920"/>
                    <a:pt x="192715" y="551634"/>
                    <a:pt x="193753" y="562695"/>
                  </a:cubicBezTo>
                  <a:cubicBezTo>
                    <a:pt x="194099" y="567533"/>
                    <a:pt x="194445" y="572372"/>
                    <a:pt x="194791" y="577211"/>
                  </a:cubicBezTo>
                  <a:cubicBezTo>
                    <a:pt x="195829" y="587926"/>
                    <a:pt x="196521" y="598641"/>
                    <a:pt x="197213" y="609701"/>
                  </a:cubicBezTo>
                  <a:cubicBezTo>
                    <a:pt x="197213" y="614540"/>
                    <a:pt x="197905" y="619379"/>
                    <a:pt x="198251" y="624218"/>
                  </a:cubicBezTo>
                  <a:cubicBezTo>
                    <a:pt x="198943" y="634933"/>
                    <a:pt x="198943" y="645993"/>
                    <a:pt x="198943" y="656707"/>
                  </a:cubicBezTo>
                  <a:cubicBezTo>
                    <a:pt x="198943" y="661546"/>
                    <a:pt x="198943" y="666385"/>
                    <a:pt x="199289" y="671224"/>
                  </a:cubicBezTo>
                  <a:cubicBezTo>
                    <a:pt x="199289" y="676409"/>
                    <a:pt x="199635" y="681593"/>
                    <a:pt x="199635" y="686778"/>
                  </a:cubicBezTo>
                  <a:cubicBezTo>
                    <a:pt x="199635" y="692308"/>
                    <a:pt x="199635" y="697838"/>
                    <a:pt x="199289" y="703368"/>
                  </a:cubicBezTo>
                  <a:cubicBezTo>
                    <a:pt x="199289" y="708207"/>
                    <a:pt x="199289" y="713046"/>
                    <a:pt x="198943" y="717885"/>
                  </a:cubicBezTo>
                  <a:cubicBezTo>
                    <a:pt x="198943" y="728600"/>
                    <a:pt x="198597" y="739660"/>
                    <a:pt x="197905" y="750375"/>
                  </a:cubicBezTo>
                  <a:cubicBezTo>
                    <a:pt x="197905" y="755214"/>
                    <a:pt x="197213" y="760052"/>
                    <a:pt x="196867" y="764892"/>
                  </a:cubicBezTo>
                  <a:cubicBezTo>
                    <a:pt x="196175" y="775606"/>
                    <a:pt x="195483" y="786666"/>
                    <a:pt x="194445" y="797381"/>
                  </a:cubicBezTo>
                  <a:cubicBezTo>
                    <a:pt x="194445" y="797381"/>
                    <a:pt x="194445" y="797381"/>
                    <a:pt x="194445" y="797381"/>
                  </a:cubicBezTo>
                  <a:lnTo>
                    <a:pt x="204133" y="797381"/>
                  </a:lnTo>
                  <a:cubicBezTo>
                    <a:pt x="204133" y="797381"/>
                    <a:pt x="204133" y="797381"/>
                    <a:pt x="204133" y="797381"/>
                  </a:cubicBezTo>
                  <a:cubicBezTo>
                    <a:pt x="205170" y="786666"/>
                    <a:pt x="205862" y="775952"/>
                    <a:pt x="206554" y="764892"/>
                  </a:cubicBezTo>
                  <a:cubicBezTo>
                    <a:pt x="206554" y="760052"/>
                    <a:pt x="207246" y="755214"/>
                    <a:pt x="207592" y="750375"/>
                  </a:cubicBezTo>
                  <a:cubicBezTo>
                    <a:pt x="208284" y="739660"/>
                    <a:pt x="208284" y="728600"/>
                    <a:pt x="208630" y="717885"/>
                  </a:cubicBezTo>
                  <a:cubicBezTo>
                    <a:pt x="208630" y="713046"/>
                    <a:pt x="208630" y="708207"/>
                    <a:pt x="208976" y="703368"/>
                  </a:cubicBezTo>
                  <a:cubicBezTo>
                    <a:pt x="208976" y="697838"/>
                    <a:pt x="209322" y="692308"/>
                    <a:pt x="209322" y="686778"/>
                  </a:cubicBezTo>
                  <a:cubicBezTo>
                    <a:pt x="209322" y="681593"/>
                    <a:pt x="209322" y="676409"/>
                    <a:pt x="208976" y="671224"/>
                  </a:cubicBezTo>
                  <a:cubicBezTo>
                    <a:pt x="208976" y="666385"/>
                    <a:pt x="208976" y="661546"/>
                    <a:pt x="208630" y="656707"/>
                  </a:cubicBezTo>
                  <a:close/>
                </a:path>
              </a:pathLst>
            </a:custGeom>
            <a:grpFill/>
            <a:ln w="34574" cap="flat">
              <a:noFill/>
              <a:prstDash val="solid"/>
              <a:miter/>
            </a:ln>
          </p:spPr>
          <p:txBody>
            <a:bodyPr rtlCol="0" anchor="ctr"/>
            <a:lstStyle/>
            <a:p>
              <a:endParaRPr lang="en-US"/>
            </a:p>
          </p:txBody>
        </p:sp>
        <p:sp>
          <p:nvSpPr>
            <p:cNvPr id="74" name="Freeform 73">
              <a:extLst>
                <a:ext uri="{FF2B5EF4-FFF2-40B4-BE49-F238E27FC236}">
                  <a16:creationId xmlns:a16="http://schemas.microsoft.com/office/drawing/2014/main" id="{F9589386-AD15-15A9-184D-D6BA674BCEF5}"/>
                </a:ext>
              </a:extLst>
            </p:cNvPr>
            <p:cNvSpPr/>
            <p:nvPr/>
          </p:nvSpPr>
          <p:spPr>
            <a:xfrm>
              <a:off x="-4157866" y="2065380"/>
              <a:ext cx="159846" cy="703022"/>
            </a:xfrm>
            <a:custGeom>
              <a:avLst/>
              <a:gdLst>
                <a:gd name="connsiteX0" fmla="*/ 159154 w 159846"/>
                <a:gd name="connsiteY0" fmla="*/ 562349 h 703022"/>
                <a:gd name="connsiteX1" fmla="*/ 158116 w 159846"/>
                <a:gd name="connsiteY1" fmla="*/ 529859 h 703022"/>
                <a:gd name="connsiteX2" fmla="*/ 157078 w 159846"/>
                <a:gd name="connsiteY2" fmla="*/ 515342 h 703022"/>
                <a:gd name="connsiteX3" fmla="*/ 154656 w 159846"/>
                <a:gd name="connsiteY3" fmla="*/ 482853 h 703022"/>
                <a:gd name="connsiteX4" fmla="*/ 153272 w 159846"/>
                <a:gd name="connsiteY4" fmla="*/ 468336 h 703022"/>
                <a:gd name="connsiteX5" fmla="*/ 149121 w 159846"/>
                <a:gd name="connsiteY5" fmla="*/ 435846 h 703022"/>
                <a:gd name="connsiteX6" fmla="*/ 147391 w 159846"/>
                <a:gd name="connsiteY6" fmla="*/ 421329 h 703022"/>
                <a:gd name="connsiteX7" fmla="*/ 141855 w 159846"/>
                <a:gd name="connsiteY7" fmla="*/ 388840 h 703022"/>
                <a:gd name="connsiteX8" fmla="*/ 139433 w 159846"/>
                <a:gd name="connsiteY8" fmla="*/ 374323 h 703022"/>
                <a:gd name="connsiteX9" fmla="*/ 132859 w 159846"/>
                <a:gd name="connsiteY9" fmla="*/ 341833 h 703022"/>
                <a:gd name="connsiteX10" fmla="*/ 129399 w 159846"/>
                <a:gd name="connsiteY10" fmla="*/ 327317 h 703022"/>
                <a:gd name="connsiteX11" fmla="*/ 121788 w 159846"/>
                <a:gd name="connsiteY11" fmla="*/ 294827 h 703022"/>
                <a:gd name="connsiteX12" fmla="*/ 117636 w 159846"/>
                <a:gd name="connsiteY12" fmla="*/ 280310 h 703022"/>
                <a:gd name="connsiteX13" fmla="*/ 66776 w 159846"/>
                <a:gd name="connsiteY13" fmla="*/ 132724 h 703022"/>
                <a:gd name="connsiteX14" fmla="*/ 0 w 159846"/>
                <a:gd name="connsiteY14" fmla="*/ 0 h 703022"/>
                <a:gd name="connsiteX15" fmla="*/ 0 w 159846"/>
                <a:gd name="connsiteY15" fmla="*/ 19356 h 703022"/>
                <a:gd name="connsiteX16" fmla="*/ 57780 w 159846"/>
                <a:gd name="connsiteY16" fmla="*/ 136526 h 703022"/>
                <a:gd name="connsiteX17" fmla="*/ 107602 w 159846"/>
                <a:gd name="connsiteY17" fmla="*/ 280310 h 703022"/>
                <a:gd name="connsiteX18" fmla="*/ 111754 w 159846"/>
                <a:gd name="connsiteY18" fmla="*/ 294827 h 703022"/>
                <a:gd name="connsiteX19" fmla="*/ 119712 w 159846"/>
                <a:gd name="connsiteY19" fmla="*/ 327317 h 703022"/>
                <a:gd name="connsiteX20" fmla="*/ 123171 w 159846"/>
                <a:gd name="connsiteY20" fmla="*/ 341833 h 703022"/>
                <a:gd name="connsiteX21" fmla="*/ 129745 w 159846"/>
                <a:gd name="connsiteY21" fmla="*/ 374323 h 703022"/>
                <a:gd name="connsiteX22" fmla="*/ 132167 w 159846"/>
                <a:gd name="connsiteY22" fmla="*/ 388840 h 703022"/>
                <a:gd name="connsiteX23" fmla="*/ 137703 w 159846"/>
                <a:gd name="connsiteY23" fmla="*/ 421329 h 703022"/>
                <a:gd name="connsiteX24" fmla="*/ 139433 w 159846"/>
                <a:gd name="connsiteY24" fmla="*/ 435846 h 703022"/>
                <a:gd name="connsiteX25" fmla="*/ 143585 w 159846"/>
                <a:gd name="connsiteY25" fmla="*/ 468336 h 703022"/>
                <a:gd name="connsiteX26" fmla="*/ 144969 w 159846"/>
                <a:gd name="connsiteY26" fmla="*/ 482853 h 703022"/>
                <a:gd name="connsiteX27" fmla="*/ 147391 w 159846"/>
                <a:gd name="connsiteY27" fmla="*/ 515342 h 703022"/>
                <a:gd name="connsiteX28" fmla="*/ 148429 w 159846"/>
                <a:gd name="connsiteY28" fmla="*/ 529859 h 703022"/>
                <a:gd name="connsiteX29" fmla="*/ 149467 w 159846"/>
                <a:gd name="connsiteY29" fmla="*/ 562349 h 703022"/>
                <a:gd name="connsiteX30" fmla="*/ 149813 w 159846"/>
                <a:gd name="connsiteY30" fmla="*/ 576865 h 703022"/>
                <a:gd name="connsiteX31" fmla="*/ 150158 w 159846"/>
                <a:gd name="connsiteY31" fmla="*/ 592419 h 703022"/>
                <a:gd name="connsiteX32" fmla="*/ 149813 w 159846"/>
                <a:gd name="connsiteY32" fmla="*/ 609010 h 703022"/>
                <a:gd name="connsiteX33" fmla="*/ 149467 w 159846"/>
                <a:gd name="connsiteY33" fmla="*/ 623526 h 703022"/>
                <a:gd name="connsiteX34" fmla="*/ 148429 w 159846"/>
                <a:gd name="connsiteY34" fmla="*/ 656016 h 703022"/>
                <a:gd name="connsiteX35" fmla="*/ 147391 w 159846"/>
                <a:gd name="connsiteY35" fmla="*/ 670533 h 703022"/>
                <a:gd name="connsiteX36" fmla="*/ 144969 w 159846"/>
                <a:gd name="connsiteY36" fmla="*/ 703022 h 703022"/>
                <a:gd name="connsiteX37" fmla="*/ 144969 w 159846"/>
                <a:gd name="connsiteY37" fmla="*/ 703022 h 703022"/>
                <a:gd name="connsiteX38" fmla="*/ 154656 w 159846"/>
                <a:gd name="connsiteY38" fmla="*/ 703022 h 703022"/>
                <a:gd name="connsiteX39" fmla="*/ 154656 w 159846"/>
                <a:gd name="connsiteY39" fmla="*/ 703022 h 703022"/>
                <a:gd name="connsiteX40" fmla="*/ 157078 w 159846"/>
                <a:gd name="connsiteY40" fmla="*/ 670533 h 703022"/>
                <a:gd name="connsiteX41" fmla="*/ 158116 w 159846"/>
                <a:gd name="connsiteY41" fmla="*/ 656016 h 703022"/>
                <a:gd name="connsiteX42" fmla="*/ 159154 w 159846"/>
                <a:gd name="connsiteY42" fmla="*/ 623526 h 703022"/>
                <a:gd name="connsiteX43" fmla="*/ 159500 w 159846"/>
                <a:gd name="connsiteY43" fmla="*/ 609010 h 703022"/>
                <a:gd name="connsiteX44" fmla="*/ 159846 w 159846"/>
                <a:gd name="connsiteY44" fmla="*/ 592419 h 703022"/>
                <a:gd name="connsiteX45" fmla="*/ 159500 w 159846"/>
                <a:gd name="connsiteY45" fmla="*/ 576865 h 703022"/>
                <a:gd name="connsiteX46" fmla="*/ 159154 w 159846"/>
                <a:gd name="connsiteY46" fmla="*/ 562349 h 703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59846" h="703022">
                  <a:moveTo>
                    <a:pt x="159154" y="562349"/>
                  </a:moveTo>
                  <a:cubicBezTo>
                    <a:pt x="159154" y="551634"/>
                    <a:pt x="158808" y="540574"/>
                    <a:pt x="158116" y="529859"/>
                  </a:cubicBezTo>
                  <a:cubicBezTo>
                    <a:pt x="158116" y="525020"/>
                    <a:pt x="157424" y="520181"/>
                    <a:pt x="157078" y="515342"/>
                  </a:cubicBezTo>
                  <a:cubicBezTo>
                    <a:pt x="156386" y="504628"/>
                    <a:pt x="155694" y="493567"/>
                    <a:pt x="154656" y="482853"/>
                  </a:cubicBezTo>
                  <a:cubicBezTo>
                    <a:pt x="154310" y="478014"/>
                    <a:pt x="153964" y="473175"/>
                    <a:pt x="153272" y="468336"/>
                  </a:cubicBezTo>
                  <a:cubicBezTo>
                    <a:pt x="152234" y="457621"/>
                    <a:pt x="150504" y="446561"/>
                    <a:pt x="149121" y="435846"/>
                  </a:cubicBezTo>
                  <a:cubicBezTo>
                    <a:pt x="148429" y="431008"/>
                    <a:pt x="148083" y="426168"/>
                    <a:pt x="147391" y="421329"/>
                  </a:cubicBezTo>
                  <a:cubicBezTo>
                    <a:pt x="145661" y="410615"/>
                    <a:pt x="143931" y="399555"/>
                    <a:pt x="141855" y="388840"/>
                  </a:cubicBezTo>
                  <a:cubicBezTo>
                    <a:pt x="141163" y="384001"/>
                    <a:pt x="140125" y="379162"/>
                    <a:pt x="139433" y="374323"/>
                  </a:cubicBezTo>
                  <a:cubicBezTo>
                    <a:pt x="137357" y="363608"/>
                    <a:pt x="135281" y="352548"/>
                    <a:pt x="132859" y="341833"/>
                  </a:cubicBezTo>
                  <a:cubicBezTo>
                    <a:pt x="131821" y="336995"/>
                    <a:pt x="130783" y="332156"/>
                    <a:pt x="129399" y="327317"/>
                  </a:cubicBezTo>
                  <a:cubicBezTo>
                    <a:pt x="126977" y="316602"/>
                    <a:pt x="124555" y="305542"/>
                    <a:pt x="121788" y="294827"/>
                  </a:cubicBezTo>
                  <a:cubicBezTo>
                    <a:pt x="120404" y="289988"/>
                    <a:pt x="119020" y="285149"/>
                    <a:pt x="117636" y="280310"/>
                  </a:cubicBezTo>
                  <a:cubicBezTo>
                    <a:pt x="103796" y="230193"/>
                    <a:pt x="87189" y="180767"/>
                    <a:pt x="66776" y="132724"/>
                  </a:cubicBezTo>
                  <a:cubicBezTo>
                    <a:pt x="47400" y="86754"/>
                    <a:pt x="24911" y="42513"/>
                    <a:pt x="0" y="0"/>
                  </a:cubicBezTo>
                  <a:lnTo>
                    <a:pt x="0" y="19356"/>
                  </a:lnTo>
                  <a:cubicBezTo>
                    <a:pt x="21105" y="57030"/>
                    <a:pt x="40827" y="96087"/>
                    <a:pt x="57780" y="136526"/>
                  </a:cubicBezTo>
                  <a:cubicBezTo>
                    <a:pt x="77847" y="183532"/>
                    <a:pt x="94109" y="231576"/>
                    <a:pt x="107602" y="280310"/>
                  </a:cubicBezTo>
                  <a:cubicBezTo>
                    <a:pt x="108986" y="285149"/>
                    <a:pt x="110370" y="289988"/>
                    <a:pt x="111754" y="294827"/>
                  </a:cubicBezTo>
                  <a:cubicBezTo>
                    <a:pt x="114522" y="305542"/>
                    <a:pt x="116944" y="316257"/>
                    <a:pt x="119712" y="327317"/>
                  </a:cubicBezTo>
                  <a:cubicBezTo>
                    <a:pt x="120750" y="332156"/>
                    <a:pt x="122134" y="336995"/>
                    <a:pt x="123171" y="341833"/>
                  </a:cubicBezTo>
                  <a:cubicBezTo>
                    <a:pt x="125593" y="352548"/>
                    <a:pt x="127669" y="363263"/>
                    <a:pt x="129745" y="374323"/>
                  </a:cubicBezTo>
                  <a:cubicBezTo>
                    <a:pt x="130783" y="379162"/>
                    <a:pt x="131475" y="384001"/>
                    <a:pt x="132167" y="388840"/>
                  </a:cubicBezTo>
                  <a:cubicBezTo>
                    <a:pt x="133897" y="399555"/>
                    <a:pt x="135973" y="410269"/>
                    <a:pt x="137703" y="421329"/>
                  </a:cubicBezTo>
                  <a:cubicBezTo>
                    <a:pt x="138395" y="426168"/>
                    <a:pt x="138741" y="431008"/>
                    <a:pt x="139433" y="435846"/>
                  </a:cubicBezTo>
                  <a:cubicBezTo>
                    <a:pt x="140817" y="446561"/>
                    <a:pt x="142201" y="457276"/>
                    <a:pt x="143585" y="468336"/>
                  </a:cubicBezTo>
                  <a:cubicBezTo>
                    <a:pt x="143931" y="473175"/>
                    <a:pt x="144623" y="478014"/>
                    <a:pt x="144969" y="482853"/>
                  </a:cubicBezTo>
                  <a:cubicBezTo>
                    <a:pt x="146007" y="493567"/>
                    <a:pt x="146699" y="504282"/>
                    <a:pt x="147391" y="515342"/>
                  </a:cubicBezTo>
                  <a:cubicBezTo>
                    <a:pt x="147391" y="520181"/>
                    <a:pt x="148083" y="525020"/>
                    <a:pt x="148429" y="529859"/>
                  </a:cubicBezTo>
                  <a:cubicBezTo>
                    <a:pt x="149121" y="540574"/>
                    <a:pt x="149121" y="551289"/>
                    <a:pt x="149467" y="562349"/>
                  </a:cubicBezTo>
                  <a:cubicBezTo>
                    <a:pt x="149467" y="567188"/>
                    <a:pt x="149467" y="572027"/>
                    <a:pt x="149813" y="576865"/>
                  </a:cubicBezTo>
                  <a:cubicBezTo>
                    <a:pt x="149813" y="582050"/>
                    <a:pt x="150158" y="587235"/>
                    <a:pt x="150158" y="592419"/>
                  </a:cubicBezTo>
                  <a:cubicBezTo>
                    <a:pt x="150158" y="597949"/>
                    <a:pt x="150158" y="603480"/>
                    <a:pt x="149813" y="609010"/>
                  </a:cubicBezTo>
                  <a:cubicBezTo>
                    <a:pt x="149813" y="613848"/>
                    <a:pt x="149813" y="618688"/>
                    <a:pt x="149467" y="623526"/>
                  </a:cubicBezTo>
                  <a:cubicBezTo>
                    <a:pt x="149467" y="634241"/>
                    <a:pt x="149121" y="645301"/>
                    <a:pt x="148429" y="656016"/>
                  </a:cubicBezTo>
                  <a:cubicBezTo>
                    <a:pt x="148429" y="660855"/>
                    <a:pt x="147737" y="665694"/>
                    <a:pt x="147391" y="670533"/>
                  </a:cubicBezTo>
                  <a:cubicBezTo>
                    <a:pt x="146699" y="681248"/>
                    <a:pt x="146007" y="692308"/>
                    <a:pt x="144969" y="703022"/>
                  </a:cubicBezTo>
                  <a:cubicBezTo>
                    <a:pt x="144969" y="703022"/>
                    <a:pt x="144969" y="703022"/>
                    <a:pt x="144969" y="703022"/>
                  </a:cubicBezTo>
                  <a:lnTo>
                    <a:pt x="154656" y="703022"/>
                  </a:lnTo>
                  <a:cubicBezTo>
                    <a:pt x="154656" y="703022"/>
                    <a:pt x="154656" y="703022"/>
                    <a:pt x="154656" y="703022"/>
                  </a:cubicBezTo>
                  <a:cubicBezTo>
                    <a:pt x="155694" y="692308"/>
                    <a:pt x="156386" y="681593"/>
                    <a:pt x="157078" y="670533"/>
                  </a:cubicBezTo>
                  <a:cubicBezTo>
                    <a:pt x="157078" y="665694"/>
                    <a:pt x="157770" y="660855"/>
                    <a:pt x="158116" y="656016"/>
                  </a:cubicBezTo>
                  <a:cubicBezTo>
                    <a:pt x="158808" y="645301"/>
                    <a:pt x="158808" y="634587"/>
                    <a:pt x="159154" y="623526"/>
                  </a:cubicBezTo>
                  <a:cubicBezTo>
                    <a:pt x="159154" y="618688"/>
                    <a:pt x="159154" y="613848"/>
                    <a:pt x="159500" y="609010"/>
                  </a:cubicBezTo>
                  <a:cubicBezTo>
                    <a:pt x="159500" y="603480"/>
                    <a:pt x="159846" y="597949"/>
                    <a:pt x="159846" y="592419"/>
                  </a:cubicBezTo>
                  <a:cubicBezTo>
                    <a:pt x="159846" y="587235"/>
                    <a:pt x="159846" y="582050"/>
                    <a:pt x="159500" y="576865"/>
                  </a:cubicBezTo>
                  <a:cubicBezTo>
                    <a:pt x="159500" y="572027"/>
                    <a:pt x="159500" y="567188"/>
                    <a:pt x="159154" y="562349"/>
                  </a:cubicBezTo>
                  <a:close/>
                </a:path>
              </a:pathLst>
            </a:custGeom>
            <a:grpFill/>
            <a:ln w="34574" cap="flat">
              <a:noFill/>
              <a:prstDash val="solid"/>
              <a:miter/>
            </a:ln>
          </p:spPr>
          <p:txBody>
            <a:bodyPr rtlCol="0" anchor="ctr"/>
            <a:lstStyle/>
            <a:p>
              <a:endParaRPr lang="en-US"/>
            </a:p>
          </p:txBody>
        </p:sp>
        <p:sp>
          <p:nvSpPr>
            <p:cNvPr id="75" name="Freeform 74">
              <a:extLst>
                <a:ext uri="{FF2B5EF4-FFF2-40B4-BE49-F238E27FC236}">
                  <a16:creationId xmlns:a16="http://schemas.microsoft.com/office/drawing/2014/main" id="{41B3BAF7-F751-9472-B5DC-4828B8AF3373}"/>
                </a:ext>
              </a:extLst>
            </p:cNvPr>
            <p:cNvSpPr/>
            <p:nvPr/>
          </p:nvSpPr>
          <p:spPr>
            <a:xfrm>
              <a:off x="-4157520" y="2171491"/>
              <a:ext cx="109677" cy="596912"/>
            </a:xfrm>
            <a:custGeom>
              <a:avLst/>
              <a:gdLst>
                <a:gd name="connsiteX0" fmla="*/ 108986 w 109677"/>
                <a:gd name="connsiteY0" fmla="*/ 456239 h 596912"/>
                <a:gd name="connsiteX1" fmla="*/ 107948 w 109677"/>
                <a:gd name="connsiteY1" fmla="*/ 423749 h 596912"/>
                <a:gd name="connsiteX2" fmla="*/ 106910 w 109677"/>
                <a:gd name="connsiteY2" fmla="*/ 409232 h 596912"/>
                <a:gd name="connsiteX3" fmla="*/ 104488 w 109677"/>
                <a:gd name="connsiteY3" fmla="*/ 376743 h 596912"/>
                <a:gd name="connsiteX4" fmla="*/ 102758 w 109677"/>
                <a:gd name="connsiteY4" fmla="*/ 362226 h 596912"/>
                <a:gd name="connsiteX5" fmla="*/ 98606 w 109677"/>
                <a:gd name="connsiteY5" fmla="*/ 329736 h 596912"/>
                <a:gd name="connsiteX6" fmla="*/ 96876 w 109677"/>
                <a:gd name="connsiteY6" fmla="*/ 315219 h 596912"/>
                <a:gd name="connsiteX7" fmla="*/ 90995 w 109677"/>
                <a:gd name="connsiteY7" fmla="*/ 282730 h 596912"/>
                <a:gd name="connsiteX8" fmla="*/ 88573 w 109677"/>
                <a:gd name="connsiteY8" fmla="*/ 268213 h 596912"/>
                <a:gd name="connsiteX9" fmla="*/ 81653 w 109677"/>
                <a:gd name="connsiteY9" fmla="*/ 235723 h 596912"/>
                <a:gd name="connsiteX10" fmla="*/ 78193 w 109677"/>
                <a:gd name="connsiteY10" fmla="*/ 221207 h 596912"/>
                <a:gd name="connsiteX11" fmla="*/ 69889 w 109677"/>
                <a:gd name="connsiteY11" fmla="*/ 188717 h 596912"/>
                <a:gd name="connsiteX12" fmla="*/ 65738 w 109677"/>
                <a:gd name="connsiteY12" fmla="*/ 174200 h 596912"/>
                <a:gd name="connsiteX13" fmla="*/ 20759 w 109677"/>
                <a:gd name="connsiteY13" fmla="*/ 45970 h 596912"/>
                <a:gd name="connsiteX14" fmla="*/ 0 w 109677"/>
                <a:gd name="connsiteY14" fmla="*/ 0 h 596912"/>
                <a:gd name="connsiteX15" fmla="*/ 0 w 109677"/>
                <a:gd name="connsiteY15" fmla="*/ 23503 h 596912"/>
                <a:gd name="connsiteX16" fmla="*/ 11764 w 109677"/>
                <a:gd name="connsiteY16" fmla="*/ 49771 h 596912"/>
                <a:gd name="connsiteX17" fmla="*/ 55704 w 109677"/>
                <a:gd name="connsiteY17" fmla="*/ 174200 h 596912"/>
                <a:gd name="connsiteX18" fmla="*/ 59856 w 109677"/>
                <a:gd name="connsiteY18" fmla="*/ 188717 h 596912"/>
                <a:gd name="connsiteX19" fmla="*/ 68159 w 109677"/>
                <a:gd name="connsiteY19" fmla="*/ 221207 h 596912"/>
                <a:gd name="connsiteX20" fmla="*/ 71619 w 109677"/>
                <a:gd name="connsiteY20" fmla="*/ 235723 h 596912"/>
                <a:gd name="connsiteX21" fmla="*/ 78885 w 109677"/>
                <a:gd name="connsiteY21" fmla="*/ 268213 h 596912"/>
                <a:gd name="connsiteX22" fmla="*/ 81307 w 109677"/>
                <a:gd name="connsiteY22" fmla="*/ 282730 h 596912"/>
                <a:gd name="connsiteX23" fmla="*/ 86843 w 109677"/>
                <a:gd name="connsiteY23" fmla="*/ 315219 h 596912"/>
                <a:gd name="connsiteX24" fmla="*/ 88919 w 109677"/>
                <a:gd name="connsiteY24" fmla="*/ 329736 h 596912"/>
                <a:gd name="connsiteX25" fmla="*/ 93071 w 109677"/>
                <a:gd name="connsiteY25" fmla="*/ 362226 h 596912"/>
                <a:gd name="connsiteX26" fmla="*/ 94801 w 109677"/>
                <a:gd name="connsiteY26" fmla="*/ 376743 h 596912"/>
                <a:gd name="connsiteX27" fmla="*/ 97222 w 109677"/>
                <a:gd name="connsiteY27" fmla="*/ 409232 h 596912"/>
                <a:gd name="connsiteX28" fmla="*/ 98260 w 109677"/>
                <a:gd name="connsiteY28" fmla="*/ 423749 h 596912"/>
                <a:gd name="connsiteX29" fmla="*/ 99298 w 109677"/>
                <a:gd name="connsiteY29" fmla="*/ 456239 h 596912"/>
                <a:gd name="connsiteX30" fmla="*/ 99644 w 109677"/>
                <a:gd name="connsiteY30" fmla="*/ 470755 h 596912"/>
                <a:gd name="connsiteX31" fmla="*/ 99990 w 109677"/>
                <a:gd name="connsiteY31" fmla="*/ 486309 h 596912"/>
                <a:gd name="connsiteX32" fmla="*/ 99644 w 109677"/>
                <a:gd name="connsiteY32" fmla="*/ 502899 h 596912"/>
                <a:gd name="connsiteX33" fmla="*/ 99298 w 109677"/>
                <a:gd name="connsiteY33" fmla="*/ 517416 h 596912"/>
                <a:gd name="connsiteX34" fmla="*/ 98260 w 109677"/>
                <a:gd name="connsiteY34" fmla="*/ 549906 h 596912"/>
                <a:gd name="connsiteX35" fmla="*/ 97222 w 109677"/>
                <a:gd name="connsiteY35" fmla="*/ 564423 h 596912"/>
                <a:gd name="connsiteX36" fmla="*/ 94801 w 109677"/>
                <a:gd name="connsiteY36" fmla="*/ 596912 h 596912"/>
                <a:gd name="connsiteX37" fmla="*/ 94801 w 109677"/>
                <a:gd name="connsiteY37" fmla="*/ 596912 h 596912"/>
                <a:gd name="connsiteX38" fmla="*/ 104488 w 109677"/>
                <a:gd name="connsiteY38" fmla="*/ 596912 h 596912"/>
                <a:gd name="connsiteX39" fmla="*/ 104488 w 109677"/>
                <a:gd name="connsiteY39" fmla="*/ 596912 h 596912"/>
                <a:gd name="connsiteX40" fmla="*/ 106910 w 109677"/>
                <a:gd name="connsiteY40" fmla="*/ 564423 h 596912"/>
                <a:gd name="connsiteX41" fmla="*/ 107948 w 109677"/>
                <a:gd name="connsiteY41" fmla="*/ 549906 h 596912"/>
                <a:gd name="connsiteX42" fmla="*/ 108986 w 109677"/>
                <a:gd name="connsiteY42" fmla="*/ 517416 h 596912"/>
                <a:gd name="connsiteX43" fmla="*/ 109332 w 109677"/>
                <a:gd name="connsiteY43" fmla="*/ 502899 h 596912"/>
                <a:gd name="connsiteX44" fmla="*/ 109678 w 109677"/>
                <a:gd name="connsiteY44" fmla="*/ 486309 h 596912"/>
                <a:gd name="connsiteX45" fmla="*/ 109332 w 109677"/>
                <a:gd name="connsiteY45" fmla="*/ 470755 h 596912"/>
                <a:gd name="connsiteX46" fmla="*/ 108986 w 109677"/>
                <a:gd name="connsiteY46" fmla="*/ 456239 h 596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09677" h="596912">
                  <a:moveTo>
                    <a:pt x="108986" y="456239"/>
                  </a:moveTo>
                  <a:cubicBezTo>
                    <a:pt x="108986" y="445524"/>
                    <a:pt x="108640" y="434464"/>
                    <a:pt x="107948" y="423749"/>
                  </a:cubicBezTo>
                  <a:cubicBezTo>
                    <a:pt x="107948" y="418910"/>
                    <a:pt x="107256" y="414071"/>
                    <a:pt x="106910" y="409232"/>
                  </a:cubicBezTo>
                  <a:cubicBezTo>
                    <a:pt x="106218" y="398518"/>
                    <a:pt x="105526" y="387457"/>
                    <a:pt x="104488" y="376743"/>
                  </a:cubicBezTo>
                  <a:cubicBezTo>
                    <a:pt x="104142" y="371904"/>
                    <a:pt x="103450" y="367065"/>
                    <a:pt x="102758" y="362226"/>
                  </a:cubicBezTo>
                  <a:cubicBezTo>
                    <a:pt x="101720" y="351511"/>
                    <a:pt x="100336" y="340451"/>
                    <a:pt x="98606" y="329736"/>
                  </a:cubicBezTo>
                  <a:cubicBezTo>
                    <a:pt x="97914" y="324897"/>
                    <a:pt x="97568" y="320058"/>
                    <a:pt x="96876" y="315219"/>
                  </a:cubicBezTo>
                  <a:cubicBezTo>
                    <a:pt x="95147" y="304505"/>
                    <a:pt x="93071" y="293444"/>
                    <a:pt x="90995" y="282730"/>
                  </a:cubicBezTo>
                  <a:cubicBezTo>
                    <a:pt x="89957" y="277891"/>
                    <a:pt x="89265" y="273052"/>
                    <a:pt x="88573" y="268213"/>
                  </a:cubicBezTo>
                  <a:cubicBezTo>
                    <a:pt x="86497" y="257498"/>
                    <a:pt x="84075" y="246438"/>
                    <a:pt x="81653" y="235723"/>
                  </a:cubicBezTo>
                  <a:cubicBezTo>
                    <a:pt x="80615" y="230885"/>
                    <a:pt x="79577" y="226046"/>
                    <a:pt x="78193" y="221207"/>
                  </a:cubicBezTo>
                  <a:cubicBezTo>
                    <a:pt x="75425" y="210492"/>
                    <a:pt x="72657" y="199432"/>
                    <a:pt x="69889" y="188717"/>
                  </a:cubicBezTo>
                  <a:cubicBezTo>
                    <a:pt x="68505" y="183878"/>
                    <a:pt x="67122" y="179039"/>
                    <a:pt x="65738" y="174200"/>
                  </a:cubicBezTo>
                  <a:cubicBezTo>
                    <a:pt x="53282" y="130650"/>
                    <a:pt x="38405" y="87791"/>
                    <a:pt x="20759" y="45970"/>
                  </a:cubicBezTo>
                  <a:cubicBezTo>
                    <a:pt x="14185" y="30416"/>
                    <a:pt x="7266" y="15208"/>
                    <a:pt x="0" y="0"/>
                  </a:cubicBezTo>
                  <a:lnTo>
                    <a:pt x="0" y="23503"/>
                  </a:lnTo>
                  <a:cubicBezTo>
                    <a:pt x="3806" y="32144"/>
                    <a:pt x="7958" y="40785"/>
                    <a:pt x="11764" y="49771"/>
                  </a:cubicBezTo>
                  <a:cubicBezTo>
                    <a:pt x="29063" y="90556"/>
                    <a:pt x="43594" y="132033"/>
                    <a:pt x="55704" y="174200"/>
                  </a:cubicBezTo>
                  <a:cubicBezTo>
                    <a:pt x="57088" y="179039"/>
                    <a:pt x="58472" y="183878"/>
                    <a:pt x="59856" y="188717"/>
                  </a:cubicBezTo>
                  <a:cubicBezTo>
                    <a:pt x="62970" y="199432"/>
                    <a:pt x="65738" y="210146"/>
                    <a:pt x="68159" y="221207"/>
                  </a:cubicBezTo>
                  <a:cubicBezTo>
                    <a:pt x="69197" y="226046"/>
                    <a:pt x="70235" y="230885"/>
                    <a:pt x="71619" y="235723"/>
                  </a:cubicBezTo>
                  <a:cubicBezTo>
                    <a:pt x="74041" y="246438"/>
                    <a:pt x="76463" y="257153"/>
                    <a:pt x="78885" y="268213"/>
                  </a:cubicBezTo>
                  <a:cubicBezTo>
                    <a:pt x="79923" y="273052"/>
                    <a:pt x="80615" y="277891"/>
                    <a:pt x="81307" y="282730"/>
                  </a:cubicBezTo>
                  <a:cubicBezTo>
                    <a:pt x="83383" y="293444"/>
                    <a:pt x="85459" y="304159"/>
                    <a:pt x="86843" y="315219"/>
                  </a:cubicBezTo>
                  <a:cubicBezTo>
                    <a:pt x="87535" y="320058"/>
                    <a:pt x="88227" y="324897"/>
                    <a:pt x="88919" y="329736"/>
                  </a:cubicBezTo>
                  <a:cubicBezTo>
                    <a:pt x="90303" y="340451"/>
                    <a:pt x="91687" y="351166"/>
                    <a:pt x="93071" y="362226"/>
                  </a:cubicBezTo>
                  <a:cubicBezTo>
                    <a:pt x="93763" y="367065"/>
                    <a:pt x="94109" y="371904"/>
                    <a:pt x="94801" y="376743"/>
                  </a:cubicBezTo>
                  <a:cubicBezTo>
                    <a:pt x="95838" y="387457"/>
                    <a:pt x="96530" y="398172"/>
                    <a:pt x="97222" y="409232"/>
                  </a:cubicBezTo>
                  <a:cubicBezTo>
                    <a:pt x="97222" y="414071"/>
                    <a:pt x="97914" y="418910"/>
                    <a:pt x="98260" y="423749"/>
                  </a:cubicBezTo>
                  <a:cubicBezTo>
                    <a:pt x="98952" y="434464"/>
                    <a:pt x="98952" y="445178"/>
                    <a:pt x="99298" y="456239"/>
                  </a:cubicBezTo>
                  <a:cubicBezTo>
                    <a:pt x="99298" y="461078"/>
                    <a:pt x="99298" y="465917"/>
                    <a:pt x="99644" y="470755"/>
                  </a:cubicBezTo>
                  <a:cubicBezTo>
                    <a:pt x="99644" y="475940"/>
                    <a:pt x="99990" y="481125"/>
                    <a:pt x="99990" y="486309"/>
                  </a:cubicBezTo>
                  <a:cubicBezTo>
                    <a:pt x="99990" y="491839"/>
                    <a:pt x="99990" y="497369"/>
                    <a:pt x="99644" y="502899"/>
                  </a:cubicBezTo>
                  <a:cubicBezTo>
                    <a:pt x="99644" y="507738"/>
                    <a:pt x="99644" y="512578"/>
                    <a:pt x="99298" y="517416"/>
                  </a:cubicBezTo>
                  <a:cubicBezTo>
                    <a:pt x="99298" y="528131"/>
                    <a:pt x="98606" y="539191"/>
                    <a:pt x="98260" y="549906"/>
                  </a:cubicBezTo>
                  <a:cubicBezTo>
                    <a:pt x="98260" y="554745"/>
                    <a:pt x="97568" y="559584"/>
                    <a:pt x="97222" y="564423"/>
                  </a:cubicBezTo>
                  <a:cubicBezTo>
                    <a:pt x="96530" y="575137"/>
                    <a:pt x="95838" y="586198"/>
                    <a:pt x="94801" y="596912"/>
                  </a:cubicBezTo>
                  <a:cubicBezTo>
                    <a:pt x="94801" y="596912"/>
                    <a:pt x="94801" y="596912"/>
                    <a:pt x="94801" y="596912"/>
                  </a:cubicBezTo>
                  <a:lnTo>
                    <a:pt x="104488" y="596912"/>
                  </a:lnTo>
                  <a:cubicBezTo>
                    <a:pt x="104488" y="596912"/>
                    <a:pt x="104488" y="596912"/>
                    <a:pt x="104488" y="596912"/>
                  </a:cubicBezTo>
                  <a:cubicBezTo>
                    <a:pt x="105526" y="586198"/>
                    <a:pt x="106218" y="575483"/>
                    <a:pt x="106910" y="564423"/>
                  </a:cubicBezTo>
                  <a:cubicBezTo>
                    <a:pt x="106910" y="559584"/>
                    <a:pt x="107602" y="554745"/>
                    <a:pt x="107948" y="549906"/>
                  </a:cubicBezTo>
                  <a:cubicBezTo>
                    <a:pt x="108640" y="539191"/>
                    <a:pt x="108640" y="528477"/>
                    <a:pt x="108986" y="517416"/>
                  </a:cubicBezTo>
                  <a:cubicBezTo>
                    <a:pt x="108986" y="512578"/>
                    <a:pt x="108986" y="507738"/>
                    <a:pt x="109332" y="502899"/>
                  </a:cubicBezTo>
                  <a:cubicBezTo>
                    <a:pt x="109332" y="497369"/>
                    <a:pt x="109678" y="491839"/>
                    <a:pt x="109678" y="486309"/>
                  </a:cubicBezTo>
                  <a:cubicBezTo>
                    <a:pt x="109678" y="481125"/>
                    <a:pt x="109678" y="475940"/>
                    <a:pt x="109332" y="470755"/>
                  </a:cubicBezTo>
                  <a:cubicBezTo>
                    <a:pt x="109332" y="465917"/>
                    <a:pt x="109332" y="461078"/>
                    <a:pt x="108986" y="456239"/>
                  </a:cubicBezTo>
                  <a:close/>
                </a:path>
              </a:pathLst>
            </a:custGeom>
            <a:grpFill/>
            <a:ln w="34574" cap="flat">
              <a:noFill/>
              <a:prstDash val="solid"/>
              <a:miter/>
            </a:ln>
          </p:spPr>
          <p:txBody>
            <a:bodyPr rtlCol="0" anchor="ctr"/>
            <a:lstStyle/>
            <a:p>
              <a:endParaRPr lang="en-US"/>
            </a:p>
          </p:txBody>
        </p:sp>
        <p:sp>
          <p:nvSpPr>
            <p:cNvPr id="76" name="Freeform 75">
              <a:extLst>
                <a:ext uri="{FF2B5EF4-FFF2-40B4-BE49-F238E27FC236}">
                  <a16:creationId xmlns:a16="http://schemas.microsoft.com/office/drawing/2014/main" id="{8A6F5504-5A36-C134-F80F-D27BB9D0293C}"/>
                </a:ext>
              </a:extLst>
            </p:cNvPr>
            <p:cNvSpPr/>
            <p:nvPr/>
          </p:nvSpPr>
          <p:spPr>
            <a:xfrm>
              <a:off x="-4157520" y="2302832"/>
              <a:ext cx="59509" cy="465571"/>
            </a:xfrm>
            <a:custGeom>
              <a:avLst/>
              <a:gdLst>
                <a:gd name="connsiteX0" fmla="*/ 59164 w 59509"/>
                <a:gd name="connsiteY0" fmla="*/ 324897 h 465571"/>
                <a:gd name="connsiteX1" fmla="*/ 58126 w 59509"/>
                <a:gd name="connsiteY1" fmla="*/ 292408 h 465571"/>
                <a:gd name="connsiteX2" fmla="*/ 57088 w 59509"/>
                <a:gd name="connsiteY2" fmla="*/ 277891 h 465571"/>
                <a:gd name="connsiteX3" fmla="*/ 54666 w 59509"/>
                <a:gd name="connsiteY3" fmla="*/ 245401 h 465571"/>
                <a:gd name="connsiteX4" fmla="*/ 52936 w 59509"/>
                <a:gd name="connsiteY4" fmla="*/ 230885 h 465571"/>
                <a:gd name="connsiteX5" fmla="*/ 48784 w 59509"/>
                <a:gd name="connsiteY5" fmla="*/ 198395 h 465571"/>
                <a:gd name="connsiteX6" fmla="*/ 46362 w 59509"/>
                <a:gd name="connsiteY6" fmla="*/ 183878 h 465571"/>
                <a:gd name="connsiteX7" fmla="*/ 40481 w 59509"/>
                <a:gd name="connsiteY7" fmla="*/ 151389 h 465571"/>
                <a:gd name="connsiteX8" fmla="*/ 37713 w 59509"/>
                <a:gd name="connsiteY8" fmla="*/ 136872 h 465571"/>
                <a:gd name="connsiteX9" fmla="*/ 30447 w 59509"/>
                <a:gd name="connsiteY9" fmla="*/ 104382 h 465571"/>
                <a:gd name="connsiteX10" fmla="*/ 26987 w 59509"/>
                <a:gd name="connsiteY10" fmla="*/ 89865 h 465571"/>
                <a:gd name="connsiteX11" fmla="*/ 17991 w 59509"/>
                <a:gd name="connsiteY11" fmla="*/ 57376 h 465571"/>
                <a:gd name="connsiteX12" fmla="*/ 13839 w 59509"/>
                <a:gd name="connsiteY12" fmla="*/ 42859 h 465571"/>
                <a:gd name="connsiteX13" fmla="*/ 0 w 59509"/>
                <a:gd name="connsiteY13" fmla="*/ 0 h 465571"/>
                <a:gd name="connsiteX14" fmla="*/ 0 w 59509"/>
                <a:gd name="connsiteY14" fmla="*/ 30416 h 465571"/>
                <a:gd name="connsiteX15" fmla="*/ 3806 w 59509"/>
                <a:gd name="connsiteY15" fmla="*/ 42859 h 465571"/>
                <a:gd name="connsiteX16" fmla="*/ 7958 w 59509"/>
                <a:gd name="connsiteY16" fmla="*/ 57376 h 465571"/>
                <a:gd name="connsiteX17" fmla="*/ 16953 w 59509"/>
                <a:gd name="connsiteY17" fmla="*/ 89865 h 465571"/>
                <a:gd name="connsiteX18" fmla="*/ 20413 w 59509"/>
                <a:gd name="connsiteY18" fmla="*/ 104382 h 465571"/>
                <a:gd name="connsiteX19" fmla="*/ 27679 w 59509"/>
                <a:gd name="connsiteY19" fmla="*/ 136872 h 465571"/>
                <a:gd name="connsiteX20" fmla="*/ 30447 w 59509"/>
                <a:gd name="connsiteY20" fmla="*/ 151389 h 465571"/>
                <a:gd name="connsiteX21" fmla="*/ 35983 w 59509"/>
                <a:gd name="connsiteY21" fmla="*/ 183878 h 465571"/>
                <a:gd name="connsiteX22" fmla="*/ 38405 w 59509"/>
                <a:gd name="connsiteY22" fmla="*/ 198395 h 465571"/>
                <a:gd name="connsiteX23" fmla="*/ 42556 w 59509"/>
                <a:gd name="connsiteY23" fmla="*/ 230885 h 465571"/>
                <a:gd name="connsiteX24" fmla="*/ 44286 w 59509"/>
                <a:gd name="connsiteY24" fmla="*/ 245401 h 465571"/>
                <a:gd name="connsiteX25" fmla="*/ 46708 w 59509"/>
                <a:gd name="connsiteY25" fmla="*/ 277891 h 465571"/>
                <a:gd name="connsiteX26" fmla="*/ 47746 w 59509"/>
                <a:gd name="connsiteY26" fmla="*/ 292408 h 465571"/>
                <a:gd name="connsiteX27" fmla="*/ 49130 w 59509"/>
                <a:gd name="connsiteY27" fmla="*/ 324897 h 465571"/>
                <a:gd name="connsiteX28" fmla="*/ 49476 w 59509"/>
                <a:gd name="connsiteY28" fmla="*/ 339414 h 465571"/>
                <a:gd name="connsiteX29" fmla="*/ 49822 w 59509"/>
                <a:gd name="connsiteY29" fmla="*/ 354968 h 465571"/>
                <a:gd name="connsiteX30" fmla="*/ 49476 w 59509"/>
                <a:gd name="connsiteY30" fmla="*/ 371558 h 465571"/>
                <a:gd name="connsiteX31" fmla="*/ 49130 w 59509"/>
                <a:gd name="connsiteY31" fmla="*/ 386075 h 465571"/>
                <a:gd name="connsiteX32" fmla="*/ 47746 w 59509"/>
                <a:gd name="connsiteY32" fmla="*/ 418565 h 465571"/>
                <a:gd name="connsiteX33" fmla="*/ 46708 w 59509"/>
                <a:gd name="connsiteY33" fmla="*/ 433082 h 465571"/>
                <a:gd name="connsiteX34" fmla="*/ 44286 w 59509"/>
                <a:gd name="connsiteY34" fmla="*/ 465571 h 465571"/>
                <a:gd name="connsiteX35" fmla="*/ 44286 w 59509"/>
                <a:gd name="connsiteY35" fmla="*/ 465571 h 465571"/>
                <a:gd name="connsiteX36" fmla="*/ 53974 w 59509"/>
                <a:gd name="connsiteY36" fmla="*/ 465571 h 465571"/>
                <a:gd name="connsiteX37" fmla="*/ 53974 w 59509"/>
                <a:gd name="connsiteY37" fmla="*/ 465571 h 465571"/>
                <a:gd name="connsiteX38" fmla="*/ 56396 w 59509"/>
                <a:gd name="connsiteY38" fmla="*/ 433082 h 465571"/>
                <a:gd name="connsiteX39" fmla="*/ 57434 w 59509"/>
                <a:gd name="connsiteY39" fmla="*/ 418565 h 465571"/>
                <a:gd name="connsiteX40" fmla="*/ 58818 w 59509"/>
                <a:gd name="connsiteY40" fmla="*/ 386075 h 465571"/>
                <a:gd name="connsiteX41" fmla="*/ 59164 w 59509"/>
                <a:gd name="connsiteY41" fmla="*/ 371558 h 465571"/>
                <a:gd name="connsiteX42" fmla="*/ 59510 w 59509"/>
                <a:gd name="connsiteY42" fmla="*/ 354968 h 465571"/>
                <a:gd name="connsiteX43" fmla="*/ 59164 w 59509"/>
                <a:gd name="connsiteY43" fmla="*/ 339414 h 465571"/>
                <a:gd name="connsiteX44" fmla="*/ 58818 w 59509"/>
                <a:gd name="connsiteY44" fmla="*/ 324897 h 465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59509" h="465571">
                  <a:moveTo>
                    <a:pt x="59164" y="324897"/>
                  </a:moveTo>
                  <a:cubicBezTo>
                    <a:pt x="59164" y="314183"/>
                    <a:pt x="58472" y="303122"/>
                    <a:pt x="58126" y="292408"/>
                  </a:cubicBezTo>
                  <a:cubicBezTo>
                    <a:pt x="58126" y="287569"/>
                    <a:pt x="57434" y="282730"/>
                    <a:pt x="57088" y="277891"/>
                  </a:cubicBezTo>
                  <a:cubicBezTo>
                    <a:pt x="56396" y="267176"/>
                    <a:pt x="55704" y="256116"/>
                    <a:pt x="54666" y="245401"/>
                  </a:cubicBezTo>
                  <a:cubicBezTo>
                    <a:pt x="54320" y="240562"/>
                    <a:pt x="53282" y="235723"/>
                    <a:pt x="52936" y="230885"/>
                  </a:cubicBezTo>
                  <a:cubicBezTo>
                    <a:pt x="51552" y="220170"/>
                    <a:pt x="50514" y="209110"/>
                    <a:pt x="48784" y="198395"/>
                  </a:cubicBezTo>
                  <a:cubicBezTo>
                    <a:pt x="48092" y="193556"/>
                    <a:pt x="47400" y="188717"/>
                    <a:pt x="46362" y="183878"/>
                  </a:cubicBezTo>
                  <a:cubicBezTo>
                    <a:pt x="44632" y="173163"/>
                    <a:pt x="42556" y="162103"/>
                    <a:pt x="40481" y="151389"/>
                  </a:cubicBezTo>
                  <a:cubicBezTo>
                    <a:pt x="39443" y="146550"/>
                    <a:pt x="38751" y="141711"/>
                    <a:pt x="37713" y="136872"/>
                  </a:cubicBezTo>
                  <a:cubicBezTo>
                    <a:pt x="35637" y="126157"/>
                    <a:pt x="32869" y="115097"/>
                    <a:pt x="30447" y="104382"/>
                  </a:cubicBezTo>
                  <a:cubicBezTo>
                    <a:pt x="29409" y="99543"/>
                    <a:pt x="28371" y="94704"/>
                    <a:pt x="26987" y="89865"/>
                  </a:cubicBezTo>
                  <a:cubicBezTo>
                    <a:pt x="24219" y="79151"/>
                    <a:pt x="21105" y="68090"/>
                    <a:pt x="17991" y="57376"/>
                  </a:cubicBezTo>
                  <a:cubicBezTo>
                    <a:pt x="16607" y="52537"/>
                    <a:pt x="15223" y="47698"/>
                    <a:pt x="13839" y="42859"/>
                  </a:cubicBezTo>
                  <a:cubicBezTo>
                    <a:pt x="9688" y="28688"/>
                    <a:pt x="4844" y="14171"/>
                    <a:pt x="0" y="0"/>
                  </a:cubicBezTo>
                  <a:lnTo>
                    <a:pt x="0" y="30416"/>
                  </a:lnTo>
                  <a:cubicBezTo>
                    <a:pt x="1384" y="34564"/>
                    <a:pt x="2768" y="38711"/>
                    <a:pt x="3806" y="42859"/>
                  </a:cubicBezTo>
                  <a:cubicBezTo>
                    <a:pt x="5190" y="47698"/>
                    <a:pt x="6574" y="52537"/>
                    <a:pt x="7958" y="57376"/>
                  </a:cubicBezTo>
                  <a:cubicBezTo>
                    <a:pt x="11072" y="68090"/>
                    <a:pt x="14185" y="78805"/>
                    <a:pt x="16953" y="89865"/>
                  </a:cubicBezTo>
                  <a:cubicBezTo>
                    <a:pt x="18337" y="94704"/>
                    <a:pt x="19029" y="99543"/>
                    <a:pt x="20413" y="104382"/>
                  </a:cubicBezTo>
                  <a:cubicBezTo>
                    <a:pt x="22835" y="115097"/>
                    <a:pt x="25603" y="125811"/>
                    <a:pt x="27679" y="136872"/>
                  </a:cubicBezTo>
                  <a:cubicBezTo>
                    <a:pt x="28717" y="141711"/>
                    <a:pt x="29409" y="146550"/>
                    <a:pt x="30447" y="151389"/>
                  </a:cubicBezTo>
                  <a:cubicBezTo>
                    <a:pt x="32523" y="162103"/>
                    <a:pt x="34253" y="172818"/>
                    <a:pt x="35983" y="183878"/>
                  </a:cubicBezTo>
                  <a:cubicBezTo>
                    <a:pt x="36675" y="188717"/>
                    <a:pt x="37713" y="193556"/>
                    <a:pt x="38405" y="198395"/>
                  </a:cubicBezTo>
                  <a:cubicBezTo>
                    <a:pt x="40135" y="209110"/>
                    <a:pt x="41172" y="219824"/>
                    <a:pt x="42556" y="230885"/>
                  </a:cubicBezTo>
                  <a:cubicBezTo>
                    <a:pt x="43248" y="235723"/>
                    <a:pt x="43940" y="240562"/>
                    <a:pt x="44286" y="245401"/>
                  </a:cubicBezTo>
                  <a:cubicBezTo>
                    <a:pt x="45324" y="256116"/>
                    <a:pt x="46016" y="266831"/>
                    <a:pt x="46708" y="277891"/>
                  </a:cubicBezTo>
                  <a:cubicBezTo>
                    <a:pt x="47054" y="282730"/>
                    <a:pt x="47400" y="287569"/>
                    <a:pt x="47746" y="292408"/>
                  </a:cubicBezTo>
                  <a:cubicBezTo>
                    <a:pt x="48438" y="303122"/>
                    <a:pt x="48784" y="313837"/>
                    <a:pt x="49130" y="324897"/>
                  </a:cubicBezTo>
                  <a:cubicBezTo>
                    <a:pt x="49130" y="329736"/>
                    <a:pt x="49130" y="334575"/>
                    <a:pt x="49476" y="339414"/>
                  </a:cubicBezTo>
                  <a:cubicBezTo>
                    <a:pt x="49476" y="344599"/>
                    <a:pt x="49822" y="349783"/>
                    <a:pt x="49822" y="354968"/>
                  </a:cubicBezTo>
                  <a:cubicBezTo>
                    <a:pt x="49822" y="360498"/>
                    <a:pt x="49822" y="366028"/>
                    <a:pt x="49476" y="371558"/>
                  </a:cubicBezTo>
                  <a:cubicBezTo>
                    <a:pt x="49476" y="376397"/>
                    <a:pt x="49476" y="381236"/>
                    <a:pt x="49130" y="386075"/>
                  </a:cubicBezTo>
                  <a:cubicBezTo>
                    <a:pt x="49130" y="396790"/>
                    <a:pt x="48438" y="407850"/>
                    <a:pt x="47746" y="418565"/>
                  </a:cubicBezTo>
                  <a:cubicBezTo>
                    <a:pt x="47746" y="423403"/>
                    <a:pt x="47054" y="428242"/>
                    <a:pt x="46708" y="433082"/>
                  </a:cubicBezTo>
                  <a:cubicBezTo>
                    <a:pt x="46016" y="443796"/>
                    <a:pt x="45324" y="454856"/>
                    <a:pt x="44286" y="465571"/>
                  </a:cubicBezTo>
                  <a:cubicBezTo>
                    <a:pt x="44286" y="465571"/>
                    <a:pt x="44286" y="465571"/>
                    <a:pt x="44286" y="465571"/>
                  </a:cubicBezTo>
                  <a:lnTo>
                    <a:pt x="53974" y="465571"/>
                  </a:lnTo>
                  <a:cubicBezTo>
                    <a:pt x="53974" y="465571"/>
                    <a:pt x="53974" y="465571"/>
                    <a:pt x="53974" y="465571"/>
                  </a:cubicBezTo>
                  <a:cubicBezTo>
                    <a:pt x="55012" y="454856"/>
                    <a:pt x="55704" y="444142"/>
                    <a:pt x="56396" y="433082"/>
                  </a:cubicBezTo>
                  <a:cubicBezTo>
                    <a:pt x="56742" y="428242"/>
                    <a:pt x="57088" y="423403"/>
                    <a:pt x="57434" y="418565"/>
                  </a:cubicBezTo>
                  <a:cubicBezTo>
                    <a:pt x="58126" y="407850"/>
                    <a:pt x="58472" y="397135"/>
                    <a:pt x="58818" y="386075"/>
                  </a:cubicBezTo>
                  <a:cubicBezTo>
                    <a:pt x="58818" y="381236"/>
                    <a:pt x="58818" y="376397"/>
                    <a:pt x="59164" y="371558"/>
                  </a:cubicBezTo>
                  <a:cubicBezTo>
                    <a:pt x="59164" y="366028"/>
                    <a:pt x="59510" y="360498"/>
                    <a:pt x="59510" y="354968"/>
                  </a:cubicBezTo>
                  <a:cubicBezTo>
                    <a:pt x="59510" y="349783"/>
                    <a:pt x="59510" y="344599"/>
                    <a:pt x="59164" y="339414"/>
                  </a:cubicBezTo>
                  <a:cubicBezTo>
                    <a:pt x="59164" y="334575"/>
                    <a:pt x="59164" y="329736"/>
                    <a:pt x="58818" y="324897"/>
                  </a:cubicBezTo>
                  <a:close/>
                </a:path>
              </a:pathLst>
            </a:custGeom>
            <a:grpFill/>
            <a:ln w="34574" cap="flat">
              <a:noFill/>
              <a:prstDash val="solid"/>
              <a:miter/>
            </a:ln>
          </p:spPr>
          <p:txBody>
            <a:bodyPr rtlCol="0" anchor="ctr"/>
            <a:lstStyle/>
            <a:p>
              <a:endParaRPr lang="en-US"/>
            </a:p>
          </p:txBody>
        </p:sp>
        <p:sp>
          <p:nvSpPr>
            <p:cNvPr id="77" name="Freeform 76">
              <a:extLst>
                <a:ext uri="{FF2B5EF4-FFF2-40B4-BE49-F238E27FC236}">
                  <a16:creationId xmlns:a16="http://schemas.microsoft.com/office/drawing/2014/main" id="{D2B57FA4-A01F-5D2C-1588-583BCE053F2C}"/>
                </a:ext>
              </a:extLst>
            </p:cNvPr>
            <p:cNvSpPr/>
            <p:nvPr/>
          </p:nvSpPr>
          <p:spPr>
            <a:xfrm>
              <a:off x="-4159250" y="2501227"/>
              <a:ext cx="1729" cy="13825"/>
            </a:xfrm>
            <a:custGeom>
              <a:avLst/>
              <a:gdLst>
                <a:gd name="connsiteX0" fmla="*/ 0 w 1729"/>
                <a:gd name="connsiteY0" fmla="*/ 0 h 13825"/>
                <a:gd name="connsiteX1" fmla="*/ 1730 w 1729"/>
                <a:gd name="connsiteY1" fmla="*/ 13825 h 13825"/>
                <a:gd name="connsiteX2" fmla="*/ 1730 w 1729"/>
                <a:gd name="connsiteY2" fmla="*/ 0 h 13825"/>
                <a:gd name="connsiteX3" fmla="*/ 0 w 1729"/>
                <a:gd name="connsiteY3" fmla="*/ 0 h 13825"/>
              </a:gdLst>
              <a:ahLst/>
              <a:cxnLst>
                <a:cxn ang="0">
                  <a:pos x="connsiteX0" y="connsiteY0"/>
                </a:cxn>
                <a:cxn ang="0">
                  <a:pos x="connsiteX1" y="connsiteY1"/>
                </a:cxn>
                <a:cxn ang="0">
                  <a:pos x="connsiteX2" y="connsiteY2"/>
                </a:cxn>
                <a:cxn ang="0">
                  <a:pos x="connsiteX3" y="connsiteY3"/>
                </a:cxn>
              </a:cxnLst>
              <a:rect l="l" t="t" r="r" b="b"/>
              <a:pathLst>
                <a:path w="1729" h="13825">
                  <a:moveTo>
                    <a:pt x="0" y="0"/>
                  </a:moveTo>
                  <a:cubicBezTo>
                    <a:pt x="692" y="4493"/>
                    <a:pt x="1038" y="9332"/>
                    <a:pt x="1730" y="13825"/>
                  </a:cubicBezTo>
                  <a:lnTo>
                    <a:pt x="1730" y="0"/>
                  </a:lnTo>
                  <a:lnTo>
                    <a:pt x="0" y="0"/>
                  </a:lnTo>
                  <a:close/>
                </a:path>
              </a:pathLst>
            </a:custGeom>
            <a:grpFill/>
            <a:ln w="34574" cap="flat">
              <a:noFill/>
              <a:prstDash val="solid"/>
              <a:miter/>
            </a:ln>
          </p:spPr>
          <p:txBody>
            <a:bodyPr rtlCol="0" anchor="ctr"/>
            <a:lstStyle/>
            <a:p>
              <a:endParaRPr lang="en-US"/>
            </a:p>
          </p:txBody>
        </p:sp>
        <p:sp>
          <p:nvSpPr>
            <p:cNvPr id="78" name="Freeform 77">
              <a:extLst>
                <a:ext uri="{FF2B5EF4-FFF2-40B4-BE49-F238E27FC236}">
                  <a16:creationId xmlns:a16="http://schemas.microsoft.com/office/drawing/2014/main" id="{D1CA26B6-5A18-B8E8-C076-CC439C413C06}"/>
                </a:ext>
              </a:extLst>
            </p:cNvPr>
            <p:cNvSpPr/>
            <p:nvPr/>
          </p:nvSpPr>
          <p:spPr>
            <a:xfrm>
              <a:off x="-4157520" y="2515052"/>
              <a:ext cx="9687" cy="253005"/>
            </a:xfrm>
            <a:custGeom>
              <a:avLst/>
              <a:gdLst>
                <a:gd name="connsiteX0" fmla="*/ 9342 w 9687"/>
                <a:gd name="connsiteY0" fmla="*/ 112677 h 253005"/>
                <a:gd name="connsiteX1" fmla="*/ 7958 w 9687"/>
                <a:gd name="connsiteY1" fmla="*/ 80187 h 253005"/>
                <a:gd name="connsiteX2" fmla="*/ 6920 w 9687"/>
                <a:gd name="connsiteY2" fmla="*/ 65671 h 253005"/>
                <a:gd name="connsiteX3" fmla="*/ 4152 w 9687"/>
                <a:gd name="connsiteY3" fmla="*/ 33181 h 253005"/>
                <a:gd name="connsiteX4" fmla="*/ 2422 w 9687"/>
                <a:gd name="connsiteY4" fmla="*/ 18664 h 253005"/>
                <a:gd name="connsiteX5" fmla="*/ 0 w 9687"/>
                <a:gd name="connsiteY5" fmla="*/ 0 h 253005"/>
                <a:gd name="connsiteX6" fmla="*/ 0 w 9687"/>
                <a:gd name="connsiteY6" fmla="*/ 126848 h 253005"/>
                <a:gd name="connsiteX7" fmla="*/ 0 w 9687"/>
                <a:gd name="connsiteY7" fmla="*/ 126848 h 253005"/>
                <a:gd name="connsiteX8" fmla="*/ 0 w 9687"/>
                <a:gd name="connsiteY8" fmla="*/ 131342 h 253005"/>
                <a:gd name="connsiteX9" fmla="*/ 0 w 9687"/>
                <a:gd name="connsiteY9" fmla="*/ 142402 h 253005"/>
                <a:gd name="connsiteX10" fmla="*/ 0 w 9687"/>
                <a:gd name="connsiteY10" fmla="*/ 153462 h 253005"/>
                <a:gd name="connsiteX11" fmla="*/ 0 w 9687"/>
                <a:gd name="connsiteY11" fmla="*/ 253005 h 253005"/>
                <a:gd name="connsiteX12" fmla="*/ 0 w 9687"/>
                <a:gd name="connsiteY12" fmla="*/ 253005 h 253005"/>
                <a:gd name="connsiteX13" fmla="*/ 3806 w 9687"/>
                <a:gd name="connsiteY13" fmla="*/ 253005 h 253005"/>
                <a:gd name="connsiteX14" fmla="*/ 3806 w 9687"/>
                <a:gd name="connsiteY14" fmla="*/ 253005 h 253005"/>
                <a:gd name="connsiteX15" fmla="*/ 6574 w 9687"/>
                <a:gd name="connsiteY15" fmla="*/ 220516 h 253005"/>
                <a:gd name="connsiteX16" fmla="*/ 7612 w 9687"/>
                <a:gd name="connsiteY16" fmla="*/ 205999 h 253005"/>
                <a:gd name="connsiteX17" fmla="*/ 8996 w 9687"/>
                <a:gd name="connsiteY17" fmla="*/ 173509 h 253005"/>
                <a:gd name="connsiteX18" fmla="*/ 9342 w 9687"/>
                <a:gd name="connsiteY18" fmla="*/ 158993 h 253005"/>
                <a:gd name="connsiteX19" fmla="*/ 9688 w 9687"/>
                <a:gd name="connsiteY19" fmla="*/ 142402 h 253005"/>
                <a:gd name="connsiteX20" fmla="*/ 9342 w 9687"/>
                <a:gd name="connsiteY20" fmla="*/ 126848 h 253005"/>
                <a:gd name="connsiteX21" fmla="*/ 8996 w 9687"/>
                <a:gd name="connsiteY21" fmla="*/ 112332 h 253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687" h="253005">
                  <a:moveTo>
                    <a:pt x="9342" y="112677"/>
                  </a:moveTo>
                  <a:cubicBezTo>
                    <a:pt x="9342" y="101963"/>
                    <a:pt x="8650" y="90902"/>
                    <a:pt x="7958" y="80187"/>
                  </a:cubicBezTo>
                  <a:cubicBezTo>
                    <a:pt x="7958" y="75349"/>
                    <a:pt x="7266" y="70510"/>
                    <a:pt x="6920" y="65671"/>
                  </a:cubicBezTo>
                  <a:cubicBezTo>
                    <a:pt x="6228" y="54956"/>
                    <a:pt x="5190" y="43896"/>
                    <a:pt x="4152" y="33181"/>
                  </a:cubicBezTo>
                  <a:cubicBezTo>
                    <a:pt x="3806" y="28342"/>
                    <a:pt x="2768" y="23503"/>
                    <a:pt x="2422" y="18664"/>
                  </a:cubicBezTo>
                  <a:cubicBezTo>
                    <a:pt x="1730" y="12443"/>
                    <a:pt x="1038" y="6221"/>
                    <a:pt x="0" y="0"/>
                  </a:cubicBezTo>
                  <a:lnTo>
                    <a:pt x="0" y="126848"/>
                  </a:lnTo>
                  <a:lnTo>
                    <a:pt x="0" y="126848"/>
                  </a:lnTo>
                  <a:cubicBezTo>
                    <a:pt x="0" y="126848"/>
                    <a:pt x="0" y="129959"/>
                    <a:pt x="0" y="131342"/>
                  </a:cubicBezTo>
                  <a:cubicBezTo>
                    <a:pt x="0" y="135144"/>
                    <a:pt x="0" y="138600"/>
                    <a:pt x="0" y="142402"/>
                  </a:cubicBezTo>
                  <a:cubicBezTo>
                    <a:pt x="0" y="146204"/>
                    <a:pt x="0" y="149660"/>
                    <a:pt x="0" y="153462"/>
                  </a:cubicBezTo>
                  <a:lnTo>
                    <a:pt x="0" y="253005"/>
                  </a:lnTo>
                  <a:lnTo>
                    <a:pt x="0" y="253005"/>
                  </a:lnTo>
                  <a:cubicBezTo>
                    <a:pt x="0" y="253005"/>
                    <a:pt x="3806" y="253005"/>
                    <a:pt x="3806" y="253005"/>
                  </a:cubicBezTo>
                  <a:cubicBezTo>
                    <a:pt x="3806" y="253005"/>
                    <a:pt x="3806" y="253005"/>
                    <a:pt x="3806" y="253005"/>
                  </a:cubicBezTo>
                  <a:cubicBezTo>
                    <a:pt x="4844" y="242291"/>
                    <a:pt x="5882" y="231576"/>
                    <a:pt x="6574" y="220516"/>
                  </a:cubicBezTo>
                  <a:cubicBezTo>
                    <a:pt x="6920" y="215677"/>
                    <a:pt x="7266" y="210838"/>
                    <a:pt x="7612" y="205999"/>
                  </a:cubicBezTo>
                  <a:cubicBezTo>
                    <a:pt x="8304" y="195284"/>
                    <a:pt x="8650" y="184569"/>
                    <a:pt x="8996" y="173509"/>
                  </a:cubicBezTo>
                  <a:cubicBezTo>
                    <a:pt x="8996" y="168670"/>
                    <a:pt x="8996" y="163831"/>
                    <a:pt x="9342" y="158993"/>
                  </a:cubicBezTo>
                  <a:cubicBezTo>
                    <a:pt x="9342" y="153462"/>
                    <a:pt x="9688" y="147932"/>
                    <a:pt x="9688" y="142402"/>
                  </a:cubicBezTo>
                  <a:cubicBezTo>
                    <a:pt x="9688" y="137217"/>
                    <a:pt x="9688" y="132033"/>
                    <a:pt x="9342" y="126848"/>
                  </a:cubicBezTo>
                  <a:cubicBezTo>
                    <a:pt x="9342" y="122010"/>
                    <a:pt x="9342" y="117171"/>
                    <a:pt x="8996" y="112332"/>
                  </a:cubicBezTo>
                  <a:close/>
                </a:path>
              </a:pathLst>
            </a:custGeom>
            <a:grpFill/>
            <a:ln w="34574" cap="flat">
              <a:noFill/>
              <a:prstDash val="solid"/>
              <a:miter/>
            </a:ln>
          </p:spPr>
          <p:txBody>
            <a:bodyPr rtlCol="0" anchor="ctr"/>
            <a:lstStyle/>
            <a:p>
              <a:endParaRPr lang="en-US"/>
            </a:p>
          </p:txBody>
        </p:sp>
        <p:sp>
          <p:nvSpPr>
            <p:cNvPr id="79" name="Freeform 78">
              <a:extLst>
                <a:ext uri="{FF2B5EF4-FFF2-40B4-BE49-F238E27FC236}">
                  <a16:creationId xmlns:a16="http://schemas.microsoft.com/office/drawing/2014/main" id="{6E9D9D5D-F7EA-0826-B088-9E1B4812D17C}"/>
                </a:ext>
              </a:extLst>
            </p:cNvPr>
            <p:cNvSpPr/>
            <p:nvPr/>
          </p:nvSpPr>
          <p:spPr>
            <a:xfrm>
              <a:off x="-4156482" y="1885650"/>
              <a:ext cx="258798" cy="883098"/>
            </a:xfrm>
            <a:custGeom>
              <a:avLst/>
              <a:gdLst>
                <a:gd name="connsiteX0" fmla="*/ 258107 w 258798"/>
                <a:gd name="connsiteY0" fmla="*/ 756596 h 883098"/>
                <a:gd name="connsiteX1" fmla="*/ 257761 w 258798"/>
                <a:gd name="connsiteY1" fmla="*/ 742079 h 883098"/>
                <a:gd name="connsiteX2" fmla="*/ 257069 w 258798"/>
                <a:gd name="connsiteY2" fmla="*/ 709590 h 883098"/>
                <a:gd name="connsiteX3" fmla="*/ 256031 w 258798"/>
                <a:gd name="connsiteY3" fmla="*/ 695073 h 883098"/>
                <a:gd name="connsiteX4" fmla="*/ 253609 w 258798"/>
                <a:gd name="connsiteY4" fmla="*/ 662583 h 883098"/>
                <a:gd name="connsiteX5" fmla="*/ 252571 w 258798"/>
                <a:gd name="connsiteY5" fmla="*/ 648067 h 883098"/>
                <a:gd name="connsiteX6" fmla="*/ 248765 w 258798"/>
                <a:gd name="connsiteY6" fmla="*/ 615577 h 883098"/>
                <a:gd name="connsiteX7" fmla="*/ 247035 w 258798"/>
                <a:gd name="connsiteY7" fmla="*/ 601060 h 883098"/>
                <a:gd name="connsiteX8" fmla="*/ 242537 w 258798"/>
                <a:gd name="connsiteY8" fmla="*/ 568571 h 883098"/>
                <a:gd name="connsiteX9" fmla="*/ 240115 w 258798"/>
                <a:gd name="connsiteY9" fmla="*/ 554054 h 883098"/>
                <a:gd name="connsiteX10" fmla="*/ 234579 w 258798"/>
                <a:gd name="connsiteY10" fmla="*/ 521564 h 883098"/>
                <a:gd name="connsiteX11" fmla="*/ 231466 w 258798"/>
                <a:gd name="connsiteY11" fmla="*/ 507047 h 883098"/>
                <a:gd name="connsiteX12" fmla="*/ 224200 w 258798"/>
                <a:gd name="connsiteY12" fmla="*/ 474558 h 883098"/>
                <a:gd name="connsiteX13" fmla="*/ 220740 w 258798"/>
                <a:gd name="connsiteY13" fmla="*/ 460041 h 883098"/>
                <a:gd name="connsiteX14" fmla="*/ 158462 w 258798"/>
                <a:gd name="connsiteY14" fmla="*/ 273744 h 883098"/>
                <a:gd name="connsiteX15" fmla="*/ 0 w 258798"/>
                <a:gd name="connsiteY15" fmla="*/ 0 h 883098"/>
                <a:gd name="connsiteX16" fmla="*/ 0 w 258798"/>
                <a:gd name="connsiteY16" fmla="*/ 15899 h 883098"/>
                <a:gd name="connsiteX17" fmla="*/ 149813 w 258798"/>
                <a:gd name="connsiteY17" fmla="*/ 277545 h 883098"/>
                <a:gd name="connsiteX18" fmla="*/ 211052 w 258798"/>
                <a:gd name="connsiteY18" fmla="*/ 460386 h 883098"/>
                <a:gd name="connsiteX19" fmla="*/ 214512 w 258798"/>
                <a:gd name="connsiteY19" fmla="*/ 474903 h 883098"/>
                <a:gd name="connsiteX20" fmla="*/ 221778 w 258798"/>
                <a:gd name="connsiteY20" fmla="*/ 507393 h 883098"/>
                <a:gd name="connsiteX21" fmla="*/ 224892 w 258798"/>
                <a:gd name="connsiteY21" fmla="*/ 521910 h 883098"/>
                <a:gd name="connsiteX22" fmla="*/ 230428 w 258798"/>
                <a:gd name="connsiteY22" fmla="*/ 554399 h 883098"/>
                <a:gd name="connsiteX23" fmla="*/ 232849 w 258798"/>
                <a:gd name="connsiteY23" fmla="*/ 568916 h 883098"/>
                <a:gd name="connsiteX24" fmla="*/ 237693 w 258798"/>
                <a:gd name="connsiteY24" fmla="*/ 601406 h 883098"/>
                <a:gd name="connsiteX25" fmla="*/ 239423 w 258798"/>
                <a:gd name="connsiteY25" fmla="*/ 615922 h 883098"/>
                <a:gd name="connsiteX26" fmla="*/ 243229 w 258798"/>
                <a:gd name="connsiteY26" fmla="*/ 648412 h 883098"/>
                <a:gd name="connsiteX27" fmla="*/ 244267 w 258798"/>
                <a:gd name="connsiteY27" fmla="*/ 662929 h 883098"/>
                <a:gd name="connsiteX28" fmla="*/ 246689 w 258798"/>
                <a:gd name="connsiteY28" fmla="*/ 695419 h 883098"/>
                <a:gd name="connsiteX29" fmla="*/ 247727 w 258798"/>
                <a:gd name="connsiteY29" fmla="*/ 709935 h 883098"/>
                <a:gd name="connsiteX30" fmla="*/ 248419 w 258798"/>
                <a:gd name="connsiteY30" fmla="*/ 742425 h 883098"/>
                <a:gd name="connsiteX31" fmla="*/ 248765 w 258798"/>
                <a:gd name="connsiteY31" fmla="*/ 756942 h 883098"/>
                <a:gd name="connsiteX32" fmla="*/ 249111 w 258798"/>
                <a:gd name="connsiteY32" fmla="*/ 772496 h 883098"/>
                <a:gd name="connsiteX33" fmla="*/ 248765 w 258798"/>
                <a:gd name="connsiteY33" fmla="*/ 789086 h 883098"/>
                <a:gd name="connsiteX34" fmla="*/ 248419 w 258798"/>
                <a:gd name="connsiteY34" fmla="*/ 803603 h 883098"/>
                <a:gd name="connsiteX35" fmla="*/ 247727 w 258798"/>
                <a:gd name="connsiteY35" fmla="*/ 836092 h 883098"/>
                <a:gd name="connsiteX36" fmla="*/ 246689 w 258798"/>
                <a:gd name="connsiteY36" fmla="*/ 850609 h 883098"/>
                <a:gd name="connsiteX37" fmla="*/ 244267 w 258798"/>
                <a:gd name="connsiteY37" fmla="*/ 883099 h 883098"/>
                <a:gd name="connsiteX38" fmla="*/ 244267 w 258798"/>
                <a:gd name="connsiteY38" fmla="*/ 883099 h 883098"/>
                <a:gd name="connsiteX39" fmla="*/ 253955 w 258798"/>
                <a:gd name="connsiteY39" fmla="*/ 883099 h 883098"/>
                <a:gd name="connsiteX40" fmla="*/ 253955 w 258798"/>
                <a:gd name="connsiteY40" fmla="*/ 883099 h 883098"/>
                <a:gd name="connsiteX41" fmla="*/ 256377 w 258798"/>
                <a:gd name="connsiteY41" fmla="*/ 850609 h 883098"/>
                <a:gd name="connsiteX42" fmla="*/ 257415 w 258798"/>
                <a:gd name="connsiteY42" fmla="*/ 836092 h 883098"/>
                <a:gd name="connsiteX43" fmla="*/ 258107 w 258798"/>
                <a:gd name="connsiteY43" fmla="*/ 803603 h 883098"/>
                <a:gd name="connsiteX44" fmla="*/ 258453 w 258798"/>
                <a:gd name="connsiteY44" fmla="*/ 789086 h 883098"/>
                <a:gd name="connsiteX45" fmla="*/ 258799 w 258798"/>
                <a:gd name="connsiteY45" fmla="*/ 772496 h 883098"/>
                <a:gd name="connsiteX46" fmla="*/ 258453 w 258798"/>
                <a:gd name="connsiteY46" fmla="*/ 756942 h 883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258798" h="883098">
                  <a:moveTo>
                    <a:pt x="258107" y="756596"/>
                  </a:moveTo>
                  <a:cubicBezTo>
                    <a:pt x="258107" y="751757"/>
                    <a:pt x="258107" y="746918"/>
                    <a:pt x="257761" y="742079"/>
                  </a:cubicBezTo>
                  <a:cubicBezTo>
                    <a:pt x="257761" y="731365"/>
                    <a:pt x="257761" y="720305"/>
                    <a:pt x="257069" y="709590"/>
                  </a:cubicBezTo>
                  <a:cubicBezTo>
                    <a:pt x="257069" y="704751"/>
                    <a:pt x="256377" y="699912"/>
                    <a:pt x="256031" y="695073"/>
                  </a:cubicBezTo>
                  <a:cubicBezTo>
                    <a:pt x="255339" y="684358"/>
                    <a:pt x="254647" y="673298"/>
                    <a:pt x="253609" y="662583"/>
                  </a:cubicBezTo>
                  <a:cubicBezTo>
                    <a:pt x="253263" y="657744"/>
                    <a:pt x="252917" y="652905"/>
                    <a:pt x="252571" y="648067"/>
                  </a:cubicBezTo>
                  <a:cubicBezTo>
                    <a:pt x="251533" y="637352"/>
                    <a:pt x="250149" y="626292"/>
                    <a:pt x="248765" y="615577"/>
                  </a:cubicBezTo>
                  <a:cubicBezTo>
                    <a:pt x="248073" y="610738"/>
                    <a:pt x="247727" y="605899"/>
                    <a:pt x="247035" y="601060"/>
                  </a:cubicBezTo>
                  <a:cubicBezTo>
                    <a:pt x="245651" y="590346"/>
                    <a:pt x="244267" y="579285"/>
                    <a:pt x="242537" y="568571"/>
                  </a:cubicBezTo>
                  <a:cubicBezTo>
                    <a:pt x="241845" y="563732"/>
                    <a:pt x="240807" y="558893"/>
                    <a:pt x="240115" y="554054"/>
                  </a:cubicBezTo>
                  <a:cubicBezTo>
                    <a:pt x="238385" y="543339"/>
                    <a:pt x="236655" y="532279"/>
                    <a:pt x="234579" y="521564"/>
                  </a:cubicBezTo>
                  <a:cubicBezTo>
                    <a:pt x="233541" y="516725"/>
                    <a:pt x="232503" y="511886"/>
                    <a:pt x="231466" y="507047"/>
                  </a:cubicBezTo>
                  <a:cubicBezTo>
                    <a:pt x="229044" y="496333"/>
                    <a:pt x="226622" y="485272"/>
                    <a:pt x="224200" y="474558"/>
                  </a:cubicBezTo>
                  <a:cubicBezTo>
                    <a:pt x="223162" y="469719"/>
                    <a:pt x="222124" y="464880"/>
                    <a:pt x="220740" y="460041"/>
                  </a:cubicBezTo>
                  <a:cubicBezTo>
                    <a:pt x="204824" y="396790"/>
                    <a:pt x="184065" y="334230"/>
                    <a:pt x="158462" y="273744"/>
                  </a:cubicBezTo>
                  <a:cubicBezTo>
                    <a:pt x="116944" y="175583"/>
                    <a:pt x="63662" y="83989"/>
                    <a:pt x="0" y="0"/>
                  </a:cubicBezTo>
                  <a:lnTo>
                    <a:pt x="0" y="15899"/>
                  </a:lnTo>
                  <a:cubicBezTo>
                    <a:pt x="59856" y="96778"/>
                    <a:pt x="110024" y="184224"/>
                    <a:pt x="149813" y="277545"/>
                  </a:cubicBezTo>
                  <a:cubicBezTo>
                    <a:pt x="175070" y="336995"/>
                    <a:pt x="195483" y="398172"/>
                    <a:pt x="211052" y="460386"/>
                  </a:cubicBezTo>
                  <a:cubicBezTo>
                    <a:pt x="212436" y="465225"/>
                    <a:pt x="213128" y="470064"/>
                    <a:pt x="214512" y="474903"/>
                  </a:cubicBezTo>
                  <a:cubicBezTo>
                    <a:pt x="216934" y="485618"/>
                    <a:pt x="219702" y="496333"/>
                    <a:pt x="221778" y="507393"/>
                  </a:cubicBezTo>
                  <a:cubicBezTo>
                    <a:pt x="222816" y="512232"/>
                    <a:pt x="223854" y="517071"/>
                    <a:pt x="224892" y="521910"/>
                  </a:cubicBezTo>
                  <a:cubicBezTo>
                    <a:pt x="226968" y="532624"/>
                    <a:pt x="228698" y="543685"/>
                    <a:pt x="230428" y="554399"/>
                  </a:cubicBezTo>
                  <a:cubicBezTo>
                    <a:pt x="231120" y="559238"/>
                    <a:pt x="232157" y="564077"/>
                    <a:pt x="232849" y="568916"/>
                  </a:cubicBezTo>
                  <a:cubicBezTo>
                    <a:pt x="234579" y="579631"/>
                    <a:pt x="235963" y="590346"/>
                    <a:pt x="237693" y="601406"/>
                  </a:cubicBezTo>
                  <a:cubicBezTo>
                    <a:pt x="238385" y="606245"/>
                    <a:pt x="239077" y="611084"/>
                    <a:pt x="239423" y="615922"/>
                  </a:cubicBezTo>
                  <a:cubicBezTo>
                    <a:pt x="240807" y="626637"/>
                    <a:pt x="242191" y="637352"/>
                    <a:pt x="243229" y="648412"/>
                  </a:cubicBezTo>
                  <a:cubicBezTo>
                    <a:pt x="243575" y="653251"/>
                    <a:pt x="243921" y="658090"/>
                    <a:pt x="244267" y="662929"/>
                  </a:cubicBezTo>
                  <a:cubicBezTo>
                    <a:pt x="245305" y="673644"/>
                    <a:pt x="245997" y="684358"/>
                    <a:pt x="246689" y="695419"/>
                  </a:cubicBezTo>
                  <a:cubicBezTo>
                    <a:pt x="246689" y="700258"/>
                    <a:pt x="247381" y="705096"/>
                    <a:pt x="247727" y="709935"/>
                  </a:cubicBezTo>
                  <a:cubicBezTo>
                    <a:pt x="248073" y="720650"/>
                    <a:pt x="248419" y="731711"/>
                    <a:pt x="248419" y="742425"/>
                  </a:cubicBezTo>
                  <a:cubicBezTo>
                    <a:pt x="248419" y="747264"/>
                    <a:pt x="248419" y="752103"/>
                    <a:pt x="248765" y="756942"/>
                  </a:cubicBezTo>
                  <a:cubicBezTo>
                    <a:pt x="248765" y="762126"/>
                    <a:pt x="249111" y="767311"/>
                    <a:pt x="249111" y="772496"/>
                  </a:cubicBezTo>
                  <a:cubicBezTo>
                    <a:pt x="249111" y="778026"/>
                    <a:pt x="249111" y="783556"/>
                    <a:pt x="248765" y="789086"/>
                  </a:cubicBezTo>
                  <a:cubicBezTo>
                    <a:pt x="248765" y="793925"/>
                    <a:pt x="248765" y="798764"/>
                    <a:pt x="248419" y="803603"/>
                  </a:cubicBezTo>
                  <a:cubicBezTo>
                    <a:pt x="248419" y="814317"/>
                    <a:pt x="248419" y="825378"/>
                    <a:pt x="247727" y="836092"/>
                  </a:cubicBezTo>
                  <a:cubicBezTo>
                    <a:pt x="247727" y="840931"/>
                    <a:pt x="247035" y="845770"/>
                    <a:pt x="246689" y="850609"/>
                  </a:cubicBezTo>
                  <a:cubicBezTo>
                    <a:pt x="245997" y="861324"/>
                    <a:pt x="245305" y="872384"/>
                    <a:pt x="244267" y="883099"/>
                  </a:cubicBezTo>
                  <a:cubicBezTo>
                    <a:pt x="244267" y="883099"/>
                    <a:pt x="244267" y="883099"/>
                    <a:pt x="244267" y="883099"/>
                  </a:cubicBezTo>
                  <a:lnTo>
                    <a:pt x="253955" y="883099"/>
                  </a:lnTo>
                  <a:cubicBezTo>
                    <a:pt x="253955" y="883099"/>
                    <a:pt x="253955" y="883099"/>
                    <a:pt x="253955" y="883099"/>
                  </a:cubicBezTo>
                  <a:cubicBezTo>
                    <a:pt x="254993" y="872384"/>
                    <a:pt x="255685" y="861669"/>
                    <a:pt x="256377" y="850609"/>
                  </a:cubicBezTo>
                  <a:cubicBezTo>
                    <a:pt x="256377" y="845770"/>
                    <a:pt x="257069" y="840931"/>
                    <a:pt x="257415" y="836092"/>
                  </a:cubicBezTo>
                  <a:cubicBezTo>
                    <a:pt x="258107" y="825378"/>
                    <a:pt x="258107" y="814317"/>
                    <a:pt x="258107" y="803603"/>
                  </a:cubicBezTo>
                  <a:cubicBezTo>
                    <a:pt x="258107" y="798764"/>
                    <a:pt x="258107" y="793925"/>
                    <a:pt x="258453" y="789086"/>
                  </a:cubicBezTo>
                  <a:cubicBezTo>
                    <a:pt x="258453" y="783556"/>
                    <a:pt x="258799" y="778026"/>
                    <a:pt x="258799" y="772496"/>
                  </a:cubicBezTo>
                  <a:cubicBezTo>
                    <a:pt x="258799" y="767311"/>
                    <a:pt x="258799" y="762126"/>
                    <a:pt x="258453" y="756942"/>
                  </a:cubicBezTo>
                  <a:close/>
                </a:path>
              </a:pathLst>
            </a:custGeom>
            <a:grpFill/>
            <a:ln w="34574" cap="flat">
              <a:noFill/>
              <a:prstDash val="solid"/>
              <a:miter/>
            </a:ln>
          </p:spPr>
          <p:txBody>
            <a:bodyPr rtlCol="0" anchor="ctr"/>
            <a:lstStyle/>
            <a:p>
              <a:endParaRPr lang="en-US"/>
            </a:p>
          </p:txBody>
        </p:sp>
      </p:grpSp>
      <p:grpSp>
        <p:nvGrpSpPr>
          <p:cNvPr id="80" name="Graphic 4">
            <a:extLst>
              <a:ext uri="{FF2B5EF4-FFF2-40B4-BE49-F238E27FC236}">
                <a16:creationId xmlns:a16="http://schemas.microsoft.com/office/drawing/2014/main" id="{B5C40623-2E36-F6BE-B755-9EBE5D8591E7}"/>
              </a:ext>
            </a:extLst>
          </p:cNvPr>
          <p:cNvGrpSpPr/>
          <p:nvPr userDrawn="1"/>
        </p:nvGrpSpPr>
        <p:grpSpPr>
          <a:xfrm>
            <a:off x="2700" y="2799255"/>
            <a:ext cx="2287222" cy="3231487"/>
            <a:chOff x="-4157866" y="689751"/>
            <a:chExt cx="1172550" cy="1656630"/>
          </a:xfrm>
          <a:gradFill>
            <a:gsLst>
              <a:gs pos="7000">
                <a:srgbClr val="FF9248">
                  <a:alpha val="6318"/>
                </a:srgbClr>
              </a:gs>
              <a:gs pos="100000">
                <a:srgbClr val="C5B4E3">
                  <a:alpha val="27000"/>
                </a:srgbClr>
              </a:gs>
              <a:gs pos="53000">
                <a:srgbClr val="8661C5">
                  <a:alpha val="4000"/>
                </a:srgbClr>
              </a:gs>
            </a:gsLst>
            <a:lin ang="5400000" scaled="1"/>
          </a:gradFill>
        </p:grpSpPr>
        <p:sp>
          <p:nvSpPr>
            <p:cNvPr id="81" name="Freeform 80">
              <a:extLst>
                <a:ext uri="{FF2B5EF4-FFF2-40B4-BE49-F238E27FC236}">
                  <a16:creationId xmlns:a16="http://schemas.microsoft.com/office/drawing/2014/main" id="{6AA4E95C-75A2-C64D-C632-85ACA5DCB923}"/>
                </a:ext>
              </a:extLst>
            </p:cNvPr>
            <p:cNvSpPr/>
            <p:nvPr/>
          </p:nvSpPr>
          <p:spPr>
            <a:xfrm>
              <a:off x="-4157520" y="744707"/>
              <a:ext cx="1119268" cy="1601329"/>
            </a:xfrm>
            <a:custGeom>
              <a:avLst/>
              <a:gdLst>
                <a:gd name="connsiteX0" fmla="*/ 1065295 w 1119268"/>
                <a:gd name="connsiteY0" fmla="*/ 1334499 h 1601329"/>
                <a:gd name="connsiteX1" fmla="*/ 993676 w 1119268"/>
                <a:gd name="connsiteY1" fmla="*/ 1116057 h 1601329"/>
                <a:gd name="connsiteX2" fmla="*/ 624507 w 1119268"/>
                <a:gd name="connsiteY2" fmla="*/ 502554 h 1601329"/>
                <a:gd name="connsiteX3" fmla="*/ 195137 w 1119268"/>
                <a:gd name="connsiteY3" fmla="*/ 117516 h 1601329"/>
                <a:gd name="connsiteX4" fmla="*/ 0 w 1119268"/>
                <a:gd name="connsiteY4" fmla="*/ 0 h 1601329"/>
                <a:gd name="connsiteX5" fmla="*/ 0 w 1119268"/>
                <a:gd name="connsiteY5" fmla="*/ 16245 h 1601329"/>
                <a:gd name="connsiteX6" fmla="*/ 186833 w 1119268"/>
                <a:gd name="connsiteY6" fmla="*/ 129613 h 1601329"/>
                <a:gd name="connsiteX7" fmla="*/ 613436 w 1119268"/>
                <a:gd name="connsiteY7" fmla="*/ 511886 h 1601329"/>
                <a:gd name="connsiteX8" fmla="*/ 980182 w 1119268"/>
                <a:gd name="connsiteY8" fmla="*/ 1121242 h 1601329"/>
                <a:gd name="connsiteX9" fmla="*/ 1051455 w 1119268"/>
                <a:gd name="connsiteY9" fmla="*/ 1338301 h 1601329"/>
                <a:gd name="connsiteX10" fmla="*/ 1080172 w 1119268"/>
                <a:gd name="connsiteY10" fmla="*/ 1458582 h 1601329"/>
                <a:gd name="connsiteX11" fmla="*/ 1104737 w 1119268"/>
                <a:gd name="connsiteY11" fmla="*/ 1601329 h 1601329"/>
                <a:gd name="connsiteX12" fmla="*/ 1119269 w 1119268"/>
                <a:gd name="connsiteY12" fmla="*/ 1601329 h 1601329"/>
                <a:gd name="connsiteX13" fmla="*/ 1094358 w 1119268"/>
                <a:gd name="connsiteY13" fmla="*/ 1455817 h 1601329"/>
                <a:gd name="connsiteX14" fmla="*/ 1065295 w 1119268"/>
                <a:gd name="connsiteY14" fmla="*/ 1334499 h 1601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19268" h="1601329">
                  <a:moveTo>
                    <a:pt x="1065295" y="1334499"/>
                  </a:moveTo>
                  <a:cubicBezTo>
                    <a:pt x="1045228" y="1260187"/>
                    <a:pt x="1021009" y="1186912"/>
                    <a:pt x="993676" y="1116057"/>
                  </a:cubicBezTo>
                  <a:cubicBezTo>
                    <a:pt x="908563" y="898307"/>
                    <a:pt x="780893" y="686087"/>
                    <a:pt x="624507" y="502554"/>
                  </a:cubicBezTo>
                  <a:cubicBezTo>
                    <a:pt x="500298" y="357042"/>
                    <a:pt x="356021" y="227428"/>
                    <a:pt x="195137" y="117516"/>
                  </a:cubicBezTo>
                  <a:cubicBezTo>
                    <a:pt x="132859" y="75003"/>
                    <a:pt x="67468" y="35601"/>
                    <a:pt x="0" y="0"/>
                  </a:cubicBezTo>
                  <a:lnTo>
                    <a:pt x="0" y="16245"/>
                  </a:lnTo>
                  <a:cubicBezTo>
                    <a:pt x="64700" y="50808"/>
                    <a:pt x="126977" y="88483"/>
                    <a:pt x="186833" y="129613"/>
                  </a:cubicBezTo>
                  <a:cubicBezTo>
                    <a:pt x="346679" y="238834"/>
                    <a:pt x="489918" y="367411"/>
                    <a:pt x="613436" y="511886"/>
                  </a:cubicBezTo>
                  <a:cubicBezTo>
                    <a:pt x="768784" y="694382"/>
                    <a:pt x="895761" y="905219"/>
                    <a:pt x="980182" y="1121242"/>
                  </a:cubicBezTo>
                  <a:cubicBezTo>
                    <a:pt x="1007515" y="1191406"/>
                    <a:pt x="1031734" y="1264335"/>
                    <a:pt x="1051455" y="1338301"/>
                  </a:cubicBezTo>
                  <a:cubicBezTo>
                    <a:pt x="1062181" y="1378049"/>
                    <a:pt x="1071869" y="1418488"/>
                    <a:pt x="1080172" y="1458582"/>
                  </a:cubicBezTo>
                  <a:cubicBezTo>
                    <a:pt x="1090206" y="1505588"/>
                    <a:pt x="1097818" y="1553286"/>
                    <a:pt x="1104737" y="1601329"/>
                  </a:cubicBezTo>
                  <a:lnTo>
                    <a:pt x="1119269" y="1601329"/>
                  </a:lnTo>
                  <a:cubicBezTo>
                    <a:pt x="1112349" y="1552595"/>
                    <a:pt x="1104391" y="1503860"/>
                    <a:pt x="1094358" y="1455817"/>
                  </a:cubicBezTo>
                  <a:cubicBezTo>
                    <a:pt x="1085708" y="1415377"/>
                    <a:pt x="1076021" y="1374592"/>
                    <a:pt x="1065295" y="1334499"/>
                  </a:cubicBezTo>
                  <a:close/>
                </a:path>
              </a:pathLst>
            </a:custGeom>
            <a:grpFill/>
            <a:ln w="34574" cap="flat">
              <a:noFill/>
              <a:prstDash val="solid"/>
              <a:miter/>
            </a:ln>
          </p:spPr>
          <p:txBody>
            <a:bodyPr rtlCol="0" anchor="ctr"/>
            <a:lstStyle/>
            <a:p>
              <a:endParaRPr lang="en-US"/>
            </a:p>
          </p:txBody>
        </p:sp>
        <p:sp>
          <p:nvSpPr>
            <p:cNvPr id="82" name="Freeform 81">
              <a:extLst>
                <a:ext uri="{FF2B5EF4-FFF2-40B4-BE49-F238E27FC236}">
                  <a16:creationId xmlns:a16="http://schemas.microsoft.com/office/drawing/2014/main" id="{6BF2E158-8E01-9501-B410-EF17517AA00F}"/>
                </a:ext>
              </a:extLst>
            </p:cNvPr>
            <p:cNvSpPr/>
            <p:nvPr/>
          </p:nvSpPr>
          <p:spPr>
            <a:xfrm>
              <a:off x="-4157866" y="800009"/>
              <a:ext cx="1067716" cy="1545681"/>
            </a:xfrm>
            <a:custGeom>
              <a:avLst/>
              <a:gdLst>
                <a:gd name="connsiteX0" fmla="*/ 1023776 w 1067716"/>
                <a:gd name="connsiteY0" fmla="*/ 1319291 h 1545681"/>
                <a:gd name="connsiteX1" fmla="*/ 955617 w 1067716"/>
                <a:gd name="connsiteY1" fmla="*/ 1101886 h 1545681"/>
                <a:gd name="connsiteX2" fmla="*/ 596136 w 1067716"/>
                <a:gd name="connsiteY2" fmla="*/ 489420 h 1545681"/>
                <a:gd name="connsiteX3" fmla="*/ 172648 w 1067716"/>
                <a:gd name="connsiteY3" fmla="*/ 105764 h 1545681"/>
                <a:gd name="connsiteX4" fmla="*/ 0 w 1067716"/>
                <a:gd name="connsiteY4" fmla="*/ 0 h 1545681"/>
                <a:gd name="connsiteX5" fmla="*/ 0 w 1067716"/>
                <a:gd name="connsiteY5" fmla="*/ 16590 h 1545681"/>
                <a:gd name="connsiteX6" fmla="*/ 164344 w 1067716"/>
                <a:gd name="connsiteY6" fmla="*/ 117516 h 1545681"/>
                <a:gd name="connsiteX7" fmla="*/ 584719 w 1067716"/>
                <a:gd name="connsiteY7" fmla="*/ 498406 h 1545681"/>
                <a:gd name="connsiteX8" fmla="*/ 941777 w 1067716"/>
                <a:gd name="connsiteY8" fmla="*/ 1106379 h 1545681"/>
                <a:gd name="connsiteX9" fmla="*/ 1009245 w 1067716"/>
                <a:gd name="connsiteY9" fmla="*/ 1322402 h 1545681"/>
                <a:gd name="connsiteX10" fmla="*/ 1035886 w 1067716"/>
                <a:gd name="connsiteY10" fmla="*/ 1442337 h 1545681"/>
                <a:gd name="connsiteX11" fmla="*/ 1052839 w 1067716"/>
                <a:gd name="connsiteY11" fmla="*/ 1545682 h 1545681"/>
                <a:gd name="connsiteX12" fmla="*/ 1067717 w 1067716"/>
                <a:gd name="connsiteY12" fmla="*/ 1545682 h 1545681"/>
                <a:gd name="connsiteX13" fmla="*/ 1050417 w 1067716"/>
                <a:gd name="connsiteY13" fmla="*/ 1439572 h 1545681"/>
                <a:gd name="connsiteX14" fmla="*/ 1023430 w 1067716"/>
                <a:gd name="connsiteY14" fmla="*/ 1318945 h 1545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67716" h="1545681">
                  <a:moveTo>
                    <a:pt x="1023776" y="1319291"/>
                  </a:moveTo>
                  <a:cubicBezTo>
                    <a:pt x="1005093" y="1245325"/>
                    <a:pt x="982258" y="1172396"/>
                    <a:pt x="955617" y="1101886"/>
                  </a:cubicBezTo>
                  <a:cubicBezTo>
                    <a:pt x="873964" y="884481"/>
                    <a:pt x="749754" y="672607"/>
                    <a:pt x="596136" y="489420"/>
                  </a:cubicBezTo>
                  <a:cubicBezTo>
                    <a:pt x="474349" y="344253"/>
                    <a:pt x="331802" y="215331"/>
                    <a:pt x="172648" y="105764"/>
                  </a:cubicBezTo>
                  <a:cubicBezTo>
                    <a:pt x="117290" y="67745"/>
                    <a:pt x="59510" y="32490"/>
                    <a:pt x="0" y="0"/>
                  </a:cubicBezTo>
                  <a:lnTo>
                    <a:pt x="0" y="16590"/>
                  </a:lnTo>
                  <a:cubicBezTo>
                    <a:pt x="56396" y="47698"/>
                    <a:pt x="111408" y="81224"/>
                    <a:pt x="164344" y="117516"/>
                  </a:cubicBezTo>
                  <a:cubicBezTo>
                    <a:pt x="322460" y="226391"/>
                    <a:pt x="463969" y="354276"/>
                    <a:pt x="584719" y="498406"/>
                  </a:cubicBezTo>
                  <a:cubicBezTo>
                    <a:pt x="737299" y="680211"/>
                    <a:pt x="860816" y="890703"/>
                    <a:pt x="941777" y="1106379"/>
                  </a:cubicBezTo>
                  <a:cubicBezTo>
                    <a:pt x="968072" y="1176543"/>
                    <a:pt x="990908" y="1249127"/>
                    <a:pt x="1009245" y="1322402"/>
                  </a:cubicBezTo>
                  <a:cubicBezTo>
                    <a:pt x="1019279" y="1361804"/>
                    <a:pt x="1028274" y="1402243"/>
                    <a:pt x="1035886" y="1442337"/>
                  </a:cubicBezTo>
                  <a:cubicBezTo>
                    <a:pt x="1042460" y="1476555"/>
                    <a:pt x="1047996" y="1511118"/>
                    <a:pt x="1052839" y="1545682"/>
                  </a:cubicBezTo>
                  <a:lnTo>
                    <a:pt x="1067717" y="1545682"/>
                  </a:lnTo>
                  <a:cubicBezTo>
                    <a:pt x="1062527" y="1510081"/>
                    <a:pt x="1056991" y="1474481"/>
                    <a:pt x="1050417" y="1439572"/>
                  </a:cubicBezTo>
                  <a:cubicBezTo>
                    <a:pt x="1042806" y="1399478"/>
                    <a:pt x="1033464" y="1358693"/>
                    <a:pt x="1023430" y="1318945"/>
                  </a:cubicBezTo>
                  <a:close/>
                </a:path>
              </a:pathLst>
            </a:custGeom>
            <a:grpFill/>
            <a:ln w="34574" cap="flat">
              <a:noFill/>
              <a:prstDash val="solid"/>
              <a:miter/>
            </a:ln>
          </p:spPr>
          <p:txBody>
            <a:bodyPr rtlCol="0" anchor="ctr"/>
            <a:lstStyle/>
            <a:p>
              <a:endParaRPr lang="en-US"/>
            </a:p>
          </p:txBody>
        </p:sp>
        <p:sp>
          <p:nvSpPr>
            <p:cNvPr id="83" name="Freeform 82">
              <a:extLst>
                <a:ext uri="{FF2B5EF4-FFF2-40B4-BE49-F238E27FC236}">
                  <a16:creationId xmlns:a16="http://schemas.microsoft.com/office/drawing/2014/main" id="{40A8C35C-D36E-AAC2-55F4-83645E9672CE}"/>
                </a:ext>
              </a:extLst>
            </p:cNvPr>
            <p:cNvSpPr/>
            <p:nvPr/>
          </p:nvSpPr>
          <p:spPr>
            <a:xfrm>
              <a:off x="-4157520" y="855656"/>
              <a:ext cx="1016164" cy="1490034"/>
            </a:xfrm>
            <a:custGeom>
              <a:avLst/>
              <a:gdLst>
                <a:gd name="connsiteX0" fmla="*/ 981912 w 1016164"/>
                <a:gd name="connsiteY0" fmla="*/ 1303392 h 1490034"/>
                <a:gd name="connsiteX1" fmla="*/ 917558 w 1016164"/>
                <a:gd name="connsiteY1" fmla="*/ 1086678 h 1490034"/>
                <a:gd name="connsiteX2" fmla="*/ 567765 w 1016164"/>
                <a:gd name="connsiteY2" fmla="*/ 475595 h 1490034"/>
                <a:gd name="connsiteX3" fmla="*/ 150158 w 1016164"/>
                <a:gd name="connsiteY3" fmla="*/ 93322 h 1490034"/>
                <a:gd name="connsiteX4" fmla="*/ 0 w 1016164"/>
                <a:gd name="connsiteY4" fmla="*/ 0 h 1490034"/>
                <a:gd name="connsiteX5" fmla="*/ 0 w 1016164"/>
                <a:gd name="connsiteY5" fmla="*/ 16591 h 1490034"/>
                <a:gd name="connsiteX6" fmla="*/ 141855 w 1016164"/>
                <a:gd name="connsiteY6" fmla="*/ 105073 h 1490034"/>
                <a:gd name="connsiteX7" fmla="*/ 556348 w 1016164"/>
                <a:gd name="connsiteY7" fmla="*/ 484927 h 1490034"/>
                <a:gd name="connsiteX8" fmla="*/ 903719 w 1016164"/>
                <a:gd name="connsiteY8" fmla="*/ 1091517 h 1490034"/>
                <a:gd name="connsiteX9" fmla="*/ 967727 w 1016164"/>
                <a:gd name="connsiteY9" fmla="*/ 1306502 h 1490034"/>
                <a:gd name="connsiteX10" fmla="*/ 992292 w 1016164"/>
                <a:gd name="connsiteY10" fmla="*/ 1425747 h 1490034"/>
                <a:gd name="connsiteX11" fmla="*/ 1001633 w 1016164"/>
                <a:gd name="connsiteY11" fmla="*/ 1490035 h 1490034"/>
                <a:gd name="connsiteX12" fmla="*/ 1016165 w 1016164"/>
                <a:gd name="connsiteY12" fmla="*/ 1490035 h 1490034"/>
                <a:gd name="connsiteX13" fmla="*/ 1006477 w 1016164"/>
                <a:gd name="connsiteY13" fmla="*/ 1423327 h 1490034"/>
                <a:gd name="connsiteX14" fmla="*/ 981912 w 1016164"/>
                <a:gd name="connsiteY14" fmla="*/ 1303392 h 1490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16164" h="1490034">
                  <a:moveTo>
                    <a:pt x="981912" y="1303392"/>
                  </a:moveTo>
                  <a:cubicBezTo>
                    <a:pt x="964613" y="1230117"/>
                    <a:pt x="942815" y="1157188"/>
                    <a:pt x="917558" y="1086678"/>
                  </a:cubicBezTo>
                  <a:cubicBezTo>
                    <a:pt x="839711" y="869619"/>
                    <a:pt x="718616" y="658090"/>
                    <a:pt x="567765" y="475595"/>
                  </a:cubicBezTo>
                  <a:cubicBezTo>
                    <a:pt x="448054" y="330773"/>
                    <a:pt x="307583" y="202197"/>
                    <a:pt x="150158" y="93322"/>
                  </a:cubicBezTo>
                  <a:cubicBezTo>
                    <a:pt x="101720" y="59795"/>
                    <a:pt x="51552" y="29033"/>
                    <a:pt x="0" y="0"/>
                  </a:cubicBezTo>
                  <a:lnTo>
                    <a:pt x="0" y="16591"/>
                  </a:lnTo>
                  <a:cubicBezTo>
                    <a:pt x="48438" y="44241"/>
                    <a:pt x="96184" y="73620"/>
                    <a:pt x="141855" y="105073"/>
                  </a:cubicBezTo>
                  <a:cubicBezTo>
                    <a:pt x="298241" y="213257"/>
                    <a:pt x="437674" y="341142"/>
                    <a:pt x="556348" y="484927"/>
                  </a:cubicBezTo>
                  <a:cubicBezTo>
                    <a:pt x="706160" y="666385"/>
                    <a:pt x="826218" y="876186"/>
                    <a:pt x="903719" y="1091517"/>
                  </a:cubicBezTo>
                  <a:cubicBezTo>
                    <a:pt x="928976" y="1161335"/>
                    <a:pt x="950427" y="1233573"/>
                    <a:pt x="967727" y="1306502"/>
                  </a:cubicBezTo>
                  <a:cubicBezTo>
                    <a:pt x="977068" y="1345905"/>
                    <a:pt x="985372" y="1385998"/>
                    <a:pt x="992292" y="1425747"/>
                  </a:cubicBezTo>
                  <a:cubicBezTo>
                    <a:pt x="996097" y="1447176"/>
                    <a:pt x="998519" y="1468605"/>
                    <a:pt x="1001633" y="1490035"/>
                  </a:cubicBezTo>
                  <a:lnTo>
                    <a:pt x="1016165" y="1490035"/>
                  </a:lnTo>
                  <a:cubicBezTo>
                    <a:pt x="1013051" y="1467568"/>
                    <a:pt x="1010283" y="1445102"/>
                    <a:pt x="1006477" y="1423327"/>
                  </a:cubicBezTo>
                  <a:cubicBezTo>
                    <a:pt x="999557" y="1383233"/>
                    <a:pt x="991254" y="1343140"/>
                    <a:pt x="981912" y="1303392"/>
                  </a:cubicBezTo>
                  <a:close/>
                </a:path>
              </a:pathLst>
            </a:custGeom>
            <a:grpFill/>
            <a:ln w="34574" cap="flat">
              <a:noFill/>
              <a:prstDash val="solid"/>
              <a:miter/>
            </a:ln>
          </p:spPr>
          <p:txBody>
            <a:bodyPr rtlCol="0" anchor="ctr"/>
            <a:lstStyle/>
            <a:p>
              <a:endParaRPr lang="en-US"/>
            </a:p>
          </p:txBody>
        </p:sp>
        <p:sp>
          <p:nvSpPr>
            <p:cNvPr id="84" name="Freeform 83">
              <a:extLst>
                <a:ext uri="{FF2B5EF4-FFF2-40B4-BE49-F238E27FC236}">
                  <a16:creationId xmlns:a16="http://schemas.microsoft.com/office/drawing/2014/main" id="{A2F7E8B7-B682-C844-AFDC-78A1A1082E89}"/>
                </a:ext>
              </a:extLst>
            </p:cNvPr>
            <p:cNvSpPr/>
            <p:nvPr/>
          </p:nvSpPr>
          <p:spPr>
            <a:xfrm>
              <a:off x="-4157520" y="911649"/>
              <a:ext cx="965996" cy="1434732"/>
            </a:xfrm>
            <a:custGeom>
              <a:avLst/>
              <a:gdLst>
                <a:gd name="connsiteX0" fmla="*/ 940047 w 965996"/>
                <a:gd name="connsiteY0" fmla="*/ 1287492 h 1434732"/>
                <a:gd name="connsiteX1" fmla="*/ 879500 w 965996"/>
                <a:gd name="connsiteY1" fmla="*/ 1071816 h 1434732"/>
                <a:gd name="connsiteX2" fmla="*/ 539394 w 965996"/>
                <a:gd name="connsiteY2" fmla="*/ 462115 h 1434732"/>
                <a:gd name="connsiteX3" fmla="*/ 127669 w 965996"/>
                <a:gd name="connsiteY3" fmla="*/ 80879 h 1434732"/>
                <a:gd name="connsiteX4" fmla="*/ 0 w 965996"/>
                <a:gd name="connsiteY4" fmla="*/ 0 h 1434732"/>
                <a:gd name="connsiteX5" fmla="*/ 0 w 965996"/>
                <a:gd name="connsiteY5" fmla="*/ 16936 h 1434732"/>
                <a:gd name="connsiteX6" fmla="*/ 119366 w 965996"/>
                <a:gd name="connsiteY6" fmla="*/ 92976 h 1434732"/>
                <a:gd name="connsiteX7" fmla="*/ 527977 w 965996"/>
                <a:gd name="connsiteY7" fmla="*/ 471447 h 1434732"/>
                <a:gd name="connsiteX8" fmla="*/ 865660 w 965996"/>
                <a:gd name="connsiteY8" fmla="*/ 1077000 h 1434732"/>
                <a:gd name="connsiteX9" fmla="*/ 925862 w 965996"/>
                <a:gd name="connsiteY9" fmla="*/ 1290949 h 1434732"/>
                <a:gd name="connsiteX10" fmla="*/ 948351 w 965996"/>
                <a:gd name="connsiteY10" fmla="*/ 1409502 h 1434732"/>
                <a:gd name="connsiteX11" fmla="*/ 951465 w 965996"/>
                <a:gd name="connsiteY11" fmla="*/ 1434733 h 1434732"/>
                <a:gd name="connsiteX12" fmla="*/ 965997 w 965996"/>
                <a:gd name="connsiteY12" fmla="*/ 1434733 h 1434732"/>
                <a:gd name="connsiteX13" fmla="*/ 962537 w 965996"/>
                <a:gd name="connsiteY13" fmla="*/ 1407082 h 1434732"/>
                <a:gd name="connsiteX14" fmla="*/ 940047 w 965996"/>
                <a:gd name="connsiteY14" fmla="*/ 1287838 h 1434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65996" h="1434732">
                  <a:moveTo>
                    <a:pt x="940047" y="1287492"/>
                  </a:moveTo>
                  <a:cubicBezTo>
                    <a:pt x="924132" y="1214563"/>
                    <a:pt x="903719" y="1141980"/>
                    <a:pt x="879500" y="1071816"/>
                  </a:cubicBezTo>
                  <a:cubicBezTo>
                    <a:pt x="805112" y="855102"/>
                    <a:pt x="687477" y="644264"/>
                    <a:pt x="539394" y="462115"/>
                  </a:cubicBezTo>
                  <a:cubicBezTo>
                    <a:pt x="422105" y="317639"/>
                    <a:pt x="283364" y="189408"/>
                    <a:pt x="127669" y="80879"/>
                  </a:cubicBezTo>
                  <a:cubicBezTo>
                    <a:pt x="86497" y="52191"/>
                    <a:pt x="43594" y="25577"/>
                    <a:pt x="0" y="0"/>
                  </a:cubicBezTo>
                  <a:lnTo>
                    <a:pt x="0" y="16936"/>
                  </a:lnTo>
                  <a:cubicBezTo>
                    <a:pt x="40481" y="41131"/>
                    <a:pt x="80615" y="66016"/>
                    <a:pt x="119366" y="92976"/>
                  </a:cubicBezTo>
                  <a:cubicBezTo>
                    <a:pt x="274022" y="200814"/>
                    <a:pt x="411379" y="328008"/>
                    <a:pt x="527977" y="471447"/>
                  </a:cubicBezTo>
                  <a:cubicBezTo>
                    <a:pt x="675021" y="652214"/>
                    <a:pt x="791619" y="861669"/>
                    <a:pt x="865660" y="1077000"/>
                  </a:cubicBezTo>
                  <a:cubicBezTo>
                    <a:pt x="889533" y="1146818"/>
                    <a:pt x="909947" y="1218711"/>
                    <a:pt x="925862" y="1290949"/>
                  </a:cubicBezTo>
                  <a:cubicBezTo>
                    <a:pt x="934512" y="1330005"/>
                    <a:pt x="942123" y="1370099"/>
                    <a:pt x="948351" y="1409502"/>
                  </a:cubicBezTo>
                  <a:cubicBezTo>
                    <a:pt x="949735" y="1417797"/>
                    <a:pt x="950427" y="1426438"/>
                    <a:pt x="951465" y="1434733"/>
                  </a:cubicBezTo>
                  <a:lnTo>
                    <a:pt x="965997" y="1434733"/>
                  </a:lnTo>
                  <a:cubicBezTo>
                    <a:pt x="964613" y="1425746"/>
                    <a:pt x="963921" y="1416414"/>
                    <a:pt x="962537" y="1407082"/>
                  </a:cubicBezTo>
                  <a:cubicBezTo>
                    <a:pt x="956309" y="1367334"/>
                    <a:pt x="948697" y="1327240"/>
                    <a:pt x="940047" y="1287838"/>
                  </a:cubicBezTo>
                  <a:close/>
                </a:path>
              </a:pathLst>
            </a:custGeom>
            <a:grpFill/>
            <a:ln w="34574" cap="flat">
              <a:noFill/>
              <a:prstDash val="solid"/>
              <a:miter/>
            </a:ln>
          </p:spPr>
          <p:txBody>
            <a:bodyPr rtlCol="0" anchor="ctr"/>
            <a:lstStyle/>
            <a:p>
              <a:endParaRPr lang="en-US"/>
            </a:p>
          </p:txBody>
        </p:sp>
        <p:sp>
          <p:nvSpPr>
            <p:cNvPr id="85" name="Freeform 84">
              <a:extLst>
                <a:ext uri="{FF2B5EF4-FFF2-40B4-BE49-F238E27FC236}">
                  <a16:creationId xmlns:a16="http://schemas.microsoft.com/office/drawing/2014/main" id="{5C4F1E49-45D6-2018-695C-41E07F79E6B8}"/>
                </a:ext>
              </a:extLst>
            </p:cNvPr>
            <p:cNvSpPr/>
            <p:nvPr/>
          </p:nvSpPr>
          <p:spPr>
            <a:xfrm>
              <a:off x="-4157520" y="967642"/>
              <a:ext cx="916866" cy="1378394"/>
            </a:xfrm>
            <a:custGeom>
              <a:avLst/>
              <a:gdLst>
                <a:gd name="connsiteX0" fmla="*/ 841441 w 916866"/>
                <a:gd name="connsiteY0" fmla="*/ 1056953 h 1378394"/>
                <a:gd name="connsiteX1" fmla="*/ 511023 w 916866"/>
                <a:gd name="connsiteY1" fmla="*/ 448289 h 1378394"/>
                <a:gd name="connsiteX2" fmla="*/ 105180 w 916866"/>
                <a:gd name="connsiteY2" fmla="*/ 68436 h 1378394"/>
                <a:gd name="connsiteX3" fmla="*/ 0 w 916866"/>
                <a:gd name="connsiteY3" fmla="*/ 0 h 1378394"/>
                <a:gd name="connsiteX4" fmla="*/ 0 w 916866"/>
                <a:gd name="connsiteY4" fmla="*/ 16936 h 1378394"/>
                <a:gd name="connsiteX5" fmla="*/ 96876 w 916866"/>
                <a:gd name="connsiteY5" fmla="*/ 80187 h 1378394"/>
                <a:gd name="connsiteX6" fmla="*/ 499606 w 916866"/>
                <a:gd name="connsiteY6" fmla="*/ 457276 h 1378394"/>
                <a:gd name="connsiteX7" fmla="*/ 827602 w 916866"/>
                <a:gd name="connsiteY7" fmla="*/ 1061447 h 1378394"/>
                <a:gd name="connsiteX8" fmla="*/ 883998 w 916866"/>
                <a:gd name="connsiteY8" fmla="*/ 1274358 h 1378394"/>
                <a:gd name="connsiteX9" fmla="*/ 901989 w 916866"/>
                <a:gd name="connsiteY9" fmla="*/ 1378394 h 1378394"/>
                <a:gd name="connsiteX10" fmla="*/ 916866 w 916866"/>
                <a:gd name="connsiteY10" fmla="*/ 1378394 h 1378394"/>
                <a:gd name="connsiteX11" fmla="*/ 898529 w 916866"/>
                <a:gd name="connsiteY11" fmla="*/ 1271593 h 1378394"/>
                <a:gd name="connsiteX12" fmla="*/ 841787 w 916866"/>
                <a:gd name="connsiteY12" fmla="*/ 1056953 h 1378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6866" h="1378394">
                  <a:moveTo>
                    <a:pt x="841441" y="1056953"/>
                  </a:moveTo>
                  <a:cubicBezTo>
                    <a:pt x="770514" y="840586"/>
                    <a:pt x="656338" y="630094"/>
                    <a:pt x="511023" y="448289"/>
                  </a:cubicBezTo>
                  <a:cubicBezTo>
                    <a:pt x="395809" y="304505"/>
                    <a:pt x="259490" y="176620"/>
                    <a:pt x="105180" y="68436"/>
                  </a:cubicBezTo>
                  <a:cubicBezTo>
                    <a:pt x="70927" y="44587"/>
                    <a:pt x="35637" y="21775"/>
                    <a:pt x="0" y="0"/>
                  </a:cubicBezTo>
                  <a:lnTo>
                    <a:pt x="0" y="16936"/>
                  </a:lnTo>
                  <a:cubicBezTo>
                    <a:pt x="32869" y="36983"/>
                    <a:pt x="65392" y="58067"/>
                    <a:pt x="96876" y="80187"/>
                  </a:cubicBezTo>
                  <a:cubicBezTo>
                    <a:pt x="249803" y="187680"/>
                    <a:pt x="385430" y="314528"/>
                    <a:pt x="499606" y="457276"/>
                  </a:cubicBezTo>
                  <a:cubicBezTo>
                    <a:pt x="643536" y="637697"/>
                    <a:pt x="757020" y="846461"/>
                    <a:pt x="827602" y="1061447"/>
                  </a:cubicBezTo>
                  <a:cubicBezTo>
                    <a:pt x="850437" y="1130919"/>
                    <a:pt x="869466" y="1202466"/>
                    <a:pt x="883998" y="1274358"/>
                  </a:cubicBezTo>
                  <a:cubicBezTo>
                    <a:pt x="890917" y="1308576"/>
                    <a:pt x="896799" y="1343485"/>
                    <a:pt x="901989" y="1378394"/>
                  </a:cubicBezTo>
                  <a:lnTo>
                    <a:pt x="916866" y="1378394"/>
                  </a:lnTo>
                  <a:cubicBezTo>
                    <a:pt x="911677" y="1342794"/>
                    <a:pt x="905449" y="1306848"/>
                    <a:pt x="898529" y="1271593"/>
                  </a:cubicBezTo>
                  <a:cubicBezTo>
                    <a:pt x="883652" y="1199010"/>
                    <a:pt x="864622" y="1126772"/>
                    <a:pt x="841787" y="1056953"/>
                  </a:cubicBezTo>
                  <a:close/>
                </a:path>
              </a:pathLst>
            </a:custGeom>
            <a:grpFill/>
            <a:ln w="34574" cap="flat">
              <a:noFill/>
              <a:prstDash val="solid"/>
              <a:miter/>
            </a:ln>
          </p:spPr>
          <p:txBody>
            <a:bodyPr rtlCol="0" anchor="ctr"/>
            <a:lstStyle/>
            <a:p>
              <a:endParaRPr lang="en-US"/>
            </a:p>
          </p:txBody>
        </p:sp>
        <p:sp>
          <p:nvSpPr>
            <p:cNvPr id="86" name="Freeform 85">
              <a:extLst>
                <a:ext uri="{FF2B5EF4-FFF2-40B4-BE49-F238E27FC236}">
                  <a16:creationId xmlns:a16="http://schemas.microsoft.com/office/drawing/2014/main" id="{E53EDFB8-7F48-6D8C-1490-2A58780C20F9}"/>
                </a:ext>
              </a:extLst>
            </p:cNvPr>
            <p:cNvSpPr/>
            <p:nvPr/>
          </p:nvSpPr>
          <p:spPr>
            <a:xfrm>
              <a:off x="-4157520" y="1024326"/>
              <a:ext cx="867736" cy="1321364"/>
            </a:xfrm>
            <a:custGeom>
              <a:avLst/>
              <a:gdLst>
                <a:gd name="connsiteX0" fmla="*/ 803383 w 867736"/>
                <a:gd name="connsiteY0" fmla="*/ 1041054 h 1321364"/>
                <a:gd name="connsiteX1" fmla="*/ 482652 w 867736"/>
                <a:gd name="connsiteY1" fmla="*/ 433773 h 1321364"/>
                <a:gd name="connsiteX2" fmla="*/ 82691 w 867736"/>
                <a:gd name="connsiteY2" fmla="*/ 54956 h 1321364"/>
                <a:gd name="connsiteX3" fmla="*/ 0 w 867736"/>
                <a:gd name="connsiteY3" fmla="*/ 0 h 1321364"/>
                <a:gd name="connsiteX4" fmla="*/ 0 w 867736"/>
                <a:gd name="connsiteY4" fmla="*/ 17282 h 1321364"/>
                <a:gd name="connsiteX5" fmla="*/ 74387 w 867736"/>
                <a:gd name="connsiteY5" fmla="*/ 66708 h 1321364"/>
                <a:gd name="connsiteX6" fmla="*/ 471235 w 867736"/>
                <a:gd name="connsiteY6" fmla="*/ 442414 h 1321364"/>
                <a:gd name="connsiteX7" fmla="*/ 789543 w 867736"/>
                <a:gd name="connsiteY7" fmla="*/ 1045202 h 1321364"/>
                <a:gd name="connsiteX8" fmla="*/ 842479 w 867736"/>
                <a:gd name="connsiteY8" fmla="*/ 1257422 h 1321364"/>
                <a:gd name="connsiteX9" fmla="*/ 853205 w 867736"/>
                <a:gd name="connsiteY9" fmla="*/ 1321365 h 1321364"/>
                <a:gd name="connsiteX10" fmla="*/ 867736 w 867736"/>
                <a:gd name="connsiteY10" fmla="*/ 1321365 h 1321364"/>
                <a:gd name="connsiteX11" fmla="*/ 856665 w 867736"/>
                <a:gd name="connsiteY11" fmla="*/ 1254657 h 1321364"/>
                <a:gd name="connsiteX12" fmla="*/ 803383 w 867736"/>
                <a:gd name="connsiteY12" fmla="*/ 1040709 h 1321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67736" h="1321364">
                  <a:moveTo>
                    <a:pt x="803383" y="1041054"/>
                  </a:moveTo>
                  <a:cubicBezTo>
                    <a:pt x="735915" y="824686"/>
                    <a:pt x="625199" y="614886"/>
                    <a:pt x="482652" y="433773"/>
                  </a:cubicBezTo>
                  <a:cubicBezTo>
                    <a:pt x="369860" y="290334"/>
                    <a:pt x="235271" y="162794"/>
                    <a:pt x="82691" y="54956"/>
                  </a:cubicBezTo>
                  <a:cubicBezTo>
                    <a:pt x="55704" y="35946"/>
                    <a:pt x="28025" y="17627"/>
                    <a:pt x="0" y="0"/>
                  </a:cubicBezTo>
                  <a:lnTo>
                    <a:pt x="0" y="17282"/>
                  </a:lnTo>
                  <a:cubicBezTo>
                    <a:pt x="24911" y="33181"/>
                    <a:pt x="50168" y="49426"/>
                    <a:pt x="74387" y="66708"/>
                  </a:cubicBezTo>
                  <a:cubicBezTo>
                    <a:pt x="225584" y="173855"/>
                    <a:pt x="359135" y="300012"/>
                    <a:pt x="471235" y="442414"/>
                  </a:cubicBezTo>
                  <a:cubicBezTo>
                    <a:pt x="612398" y="622144"/>
                    <a:pt x="722422" y="830562"/>
                    <a:pt x="789543" y="1045202"/>
                  </a:cubicBezTo>
                  <a:cubicBezTo>
                    <a:pt x="811340" y="1114329"/>
                    <a:pt x="828986" y="1185875"/>
                    <a:pt x="842479" y="1257422"/>
                  </a:cubicBezTo>
                  <a:cubicBezTo>
                    <a:pt x="846285" y="1278506"/>
                    <a:pt x="850091" y="1299935"/>
                    <a:pt x="853205" y="1321365"/>
                  </a:cubicBezTo>
                  <a:lnTo>
                    <a:pt x="867736" y="1321365"/>
                  </a:lnTo>
                  <a:cubicBezTo>
                    <a:pt x="864276" y="1298898"/>
                    <a:pt x="860816" y="1276778"/>
                    <a:pt x="856665" y="1254657"/>
                  </a:cubicBezTo>
                  <a:cubicBezTo>
                    <a:pt x="843171" y="1182765"/>
                    <a:pt x="825180" y="1110873"/>
                    <a:pt x="803383" y="1040709"/>
                  </a:cubicBezTo>
                  <a:close/>
                </a:path>
              </a:pathLst>
            </a:custGeom>
            <a:grpFill/>
            <a:ln w="34574" cap="flat">
              <a:noFill/>
              <a:prstDash val="solid"/>
              <a:miter/>
            </a:ln>
          </p:spPr>
          <p:txBody>
            <a:bodyPr rtlCol="0" anchor="ctr"/>
            <a:lstStyle/>
            <a:p>
              <a:endParaRPr lang="en-US"/>
            </a:p>
          </p:txBody>
        </p:sp>
        <p:sp>
          <p:nvSpPr>
            <p:cNvPr id="87" name="Freeform 86">
              <a:extLst>
                <a:ext uri="{FF2B5EF4-FFF2-40B4-BE49-F238E27FC236}">
                  <a16:creationId xmlns:a16="http://schemas.microsoft.com/office/drawing/2014/main" id="{84B6B323-D190-1BD4-AE6B-46141ED9F1F2}"/>
                </a:ext>
              </a:extLst>
            </p:cNvPr>
            <p:cNvSpPr/>
            <p:nvPr/>
          </p:nvSpPr>
          <p:spPr>
            <a:xfrm>
              <a:off x="-4157520" y="1082739"/>
              <a:ext cx="819297" cy="1263643"/>
            </a:xfrm>
            <a:custGeom>
              <a:avLst/>
              <a:gdLst>
                <a:gd name="connsiteX0" fmla="*/ 765324 w 819297"/>
                <a:gd name="connsiteY0" fmla="*/ 1023772 h 1263643"/>
                <a:gd name="connsiteX1" fmla="*/ 454281 w 819297"/>
                <a:gd name="connsiteY1" fmla="*/ 417873 h 1263643"/>
                <a:gd name="connsiteX2" fmla="*/ 60202 w 819297"/>
                <a:gd name="connsiteY2" fmla="*/ 40439 h 1263643"/>
                <a:gd name="connsiteX3" fmla="*/ 0 w 819297"/>
                <a:gd name="connsiteY3" fmla="*/ 0 h 1263643"/>
                <a:gd name="connsiteX4" fmla="*/ 0 w 819297"/>
                <a:gd name="connsiteY4" fmla="*/ 17627 h 1263643"/>
                <a:gd name="connsiteX5" fmla="*/ 51898 w 819297"/>
                <a:gd name="connsiteY5" fmla="*/ 52191 h 1263643"/>
                <a:gd name="connsiteX6" fmla="*/ 442864 w 819297"/>
                <a:gd name="connsiteY6" fmla="*/ 426860 h 1263643"/>
                <a:gd name="connsiteX7" fmla="*/ 751484 w 819297"/>
                <a:gd name="connsiteY7" fmla="*/ 1028266 h 1263643"/>
                <a:gd name="connsiteX8" fmla="*/ 800615 w 819297"/>
                <a:gd name="connsiteY8" fmla="*/ 1239449 h 1263643"/>
                <a:gd name="connsiteX9" fmla="*/ 804420 w 819297"/>
                <a:gd name="connsiteY9" fmla="*/ 1263643 h 1263643"/>
                <a:gd name="connsiteX10" fmla="*/ 819298 w 819297"/>
                <a:gd name="connsiteY10" fmla="*/ 1263643 h 1263643"/>
                <a:gd name="connsiteX11" fmla="*/ 815146 w 819297"/>
                <a:gd name="connsiteY11" fmla="*/ 1237030 h 1263643"/>
                <a:gd name="connsiteX12" fmla="*/ 765670 w 819297"/>
                <a:gd name="connsiteY12" fmla="*/ 1024118 h 1263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19297" h="1263643">
                  <a:moveTo>
                    <a:pt x="765324" y="1023772"/>
                  </a:moveTo>
                  <a:cubicBezTo>
                    <a:pt x="701316" y="807750"/>
                    <a:pt x="593714" y="598295"/>
                    <a:pt x="454281" y="417873"/>
                  </a:cubicBezTo>
                  <a:cubicBezTo>
                    <a:pt x="343565" y="274780"/>
                    <a:pt x="211052" y="147932"/>
                    <a:pt x="60202" y="40439"/>
                  </a:cubicBezTo>
                  <a:cubicBezTo>
                    <a:pt x="40481" y="26268"/>
                    <a:pt x="20067" y="13480"/>
                    <a:pt x="0" y="0"/>
                  </a:cubicBezTo>
                  <a:lnTo>
                    <a:pt x="0" y="17627"/>
                  </a:lnTo>
                  <a:cubicBezTo>
                    <a:pt x="17299" y="29033"/>
                    <a:pt x="34945" y="40094"/>
                    <a:pt x="51898" y="52191"/>
                  </a:cubicBezTo>
                  <a:cubicBezTo>
                    <a:pt x="201365" y="158647"/>
                    <a:pt x="332840" y="284804"/>
                    <a:pt x="442864" y="426860"/>
                  </a:cubicBezTo>
                  <a:cubicBezTo>
                    <a:pt x="581259" y="605899"/>
                    <a:pt x="687823" y="813971"/>
                    <a:pt x="751484" y="1028266"/>
                  </a:cubicBezTo>
                  <a:cubicBezTo>
                    <a:pt x="771898" y="1097393"/>
                    <a:pt x="788505" y="1168248"/>
                    <a:pt x="800615" y="1239449"/>
                  </a:cubicBezTo>
                  <a:cubicBezTo>
                    <a:pt x="801999" y="1247398"/>
                    <a:pt x="803037" y="1255694"/>
                    <a:pt x="804420" y="1263643"/>
                  </a:cubicBezTo>
                  <a:lnTo>
                    <a:pt x="819298" y="1263643"/>
                  </a:lnTo>
                  <a:cubicBezTo>
                    <a:pt x="817914" y="1254657"/>
                    <a:pt x="816876" y="1245670"/>
                    <a:pt x="815146" y="1237030"/>
                  </a:cubicBezTo>
                  <a:cubicBezTo>
                    <a:pt x="803037" y="1165483"/>
                    <a:pt x="786429" y="1093936"/>
                    <a:pt x="765670" y="1024118"/>
                  </a:cubicBezTo>
                  <a:close/>
                </a:path>
              </a:pathLst>
            </a:custGeom>
            <a:grpFill/>
            <a:ln w="34574" cap="flat">
              <a:noFill/>
              <a:prstDash val="solid"/>
              <a:miter/>
            </a:ln>
          </p:spPr>
          <p:txBody>
            <a:bodyPr rtlCol="0" anchor="ctr"/>
            <a:lstStyle/>
            <a:p>
              <a:endParaRPr lang="en-US"/>
            </a:p>
          </p:txBody>
        </p:sp>
        <p:sp>
          <p:nvSpPr>
            <p:cNvPr id="88" name="Freeform 87">
              <a:extLst>
                <a:ext uri="{FF2B5EF4-FFF2-40B4-BE49-F238E27FC236}">
                  <a16:creationId xmlns:a16="http://schemas.microsoft.com/office/drawing/2014/main" id="{3650CCE5-E3A2-7ECD-CBE0-A24F2E79EA3A}"/>
                </a:ext>
              </a:extLst>
            </p:cNvPr>
            <p:cNvSpPr/>
            <p:nvPr/>
          </p:nvSpPr>
          <p:spPr>
            <a:xfrm>
              <a:off x="-4157520" y="1141151"/>
              <a:ext cx="770859" cy="1205230"/>
            </a:xfrm>
            <a:custGeom>
              <a:avLst/>
              <a:gdLst>
                <a:gd name="connsiteX0" fmla="*/ 425910 w 770859"/>
                <a:gd name="connsiteY0" fmla="*/ 401628 h 1205230"/>
                <a:gd name="connsiteX1" fmla="*/ 37713 w 770859"/>
                <a:gd name="connsiteY1" fmla="*/ 25577 h 1205230"/>
                <a:gd name="connsiteX2" fmla="*/ 0 w 770859"/>
                <a:gd name="connsiteY2" fmla="*/ 0 h 1205230"/>
                <a:gd name="connsiteX3" fmla="*/ 0 w 770859"/>
                <a:gd name="connsiteY3" fmla="*/ 17627 h 1205230"/>
                <a:gd name="connsiteX4" fmla="*/ 29409 w 770859"/>
                <a:gd name="connsiteY4" fmla="*/ 37329 h 1205230"/>
                <a:gd name="connsiteX5" fmla="*/ 414493 w 770859"/>
                <a:gd name="connsiteY5" fmla="*/ 410615 h 1205230"/>
                <a:gd name="connsiteX6" fmla="*/ 713426 w 770859"/>
                <a:gd name="connsiteY6" fmla="*/ 1010638 h 1205230"/>
                <a:gd name="connsiteX7" fmla="*/ 755982 w 770859"/>
                <a:gd name="connsiteY7" fmla="*/ 1205231 h 1205230"/>
                <a:gd name="connsiteX8" fmla="*/ 770860 w 770859"/>
                <a:gd name="connsiteY8" fmla="*/ 1205231 h 1205230"/>
                <a:gd name="connsiteX9" fmla="*/ 727611 w 770859"/>
                <a:gd name="connsiteY9" fmla="*/ 1006491 h 1205230"/>
                <a:gd name="connsiteX10" fmla="*/ 426256 w 770859"/>
                <a:gd name="connsiteY10" fmla="*/ 401628 h 120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0859" h="1205230">
                  <a:moveTo>
                    <a:pt x="425910" y="401628"/>
                  </a:moveTo>
                  <a:cubicBezTo>
                    <a:pt x="317270" y="258881"/>
                    <a:pt x="186833" y="132378"/>
                    <a:pt x="37713" y="25577"/>
                  </a:cubicBezTo>
                  <a:cubicBezTo>
                    <a:pt x="25257" y="16590"/>
                    <a:pt x="12456" y="8641"/>
                    <a:pt x="0" y="0"/>
                  </a:cubicBezTo>
                  <a:lnTo>
                    <a:pt x="0" y="17627"/>
                  </a:lnTo>
                  <a:cubicBezTo>
                    <a:pt x="9688" y="24195"/>
                    <a:pt x="19721" y="30416"/>
                    <a:pt x="29409" y="37329"/>
                  </a:cubicBezTo>
                  <a:cubicBezTo>
                    <a:pt x="177146" y="143439"/>
                    <a:pt x="306891" y="268904"/>
                    <a:pt x="414493" y="410615"/>
                  </a:cubicBezTo>
                  <a:cubicBezTo>
                    <a:pt x="550120" y="589309"/>
                    <a:pt x="653570" y="796690"/>
                    <a:pt x="713426" y="1010638"/>
                  </a:cubicBezTo>
                  <a:cubicBezTo>
                    <a:pt x="731417" y="1074581"/>
                    <a:pt x="745257" y="1139906"/>
                    <a:pt x="755982" y="1205231"/>
                  </a:cubicBezTo>
                  <a:lnTo>
                    <a:pt x="770860" y="1205231"/>
                  </a:lnTo>
                  <a:cubicBezTo>
                    <a:pt x="760134" y="1138523"/>
                    <a:pt x="745949" y="1071816"/>
                    <a:pt x="727611" y="1006491"/>
                  </a:cubicBezTo>
                  <a:cubicBezTo>
                    <a:pt x="667064" y="790814"/>
                    <a:pt x="562921" y="581704"/>
                    <a:pt x="426256" y="401628"/>
                  </a:cubicBezTo>
                  <a:close/>
                </a:path>
              </a:pathLst>
            </a:custGeom>
            <a:grpFill/>
            <a:ln w="34574" cap="flat">
              <a:noFill/>
              <a:prstDash val="solid"/>
              <a:miter/>
            </a:ln>
          </p:spPr>
          <p:txBody>
            <a:bodyPr rtlCol="0" anchor="ctr"/>
            <a:lstStyle/>
            <a:p>
              <a:endParaRPr lang="en-US"/>
            </a:p>
          </p:txBody>
        </p:sp>
        <p:sp>
          <p:nvSpPr>
            <p:cNvPr id="89" name="Freeform 88">
              <a:extLst>
                <a:ext uri="{FF2B5EF4-FFF2-40B4-BE49-F238E27FC236}">
                  <a16:creationId xmlns:a16="http://schemas.microsoft.com/office/drawing/2014/main" id="{E6F8EB60-5D7F-9CD1-2A75-501D35C410DE}"/>
                </a:ext>
              </a:extLst>
            </p:cNvPr>
            <p:cNvSpPr/>
            <p:nvPr/>
          </p:nvSpPr>
          <p:spPr>
            <a:xfrm>
              <a:off x="-4157520" y="1199563"/>
              <a:ext cx="722767" cy="1146472"/>
            </a:xfrm>
            <a:custGeom>
              <a:avLst/>
              <a:gdLst>
                <a:gd name="connsiteX0" fmla="*/ 397539 w 722767"/>
                <a:gd name="connsiteY0" fmla="*/ 385384 h 1146472"/>
                <a:gd name="connsiteX1" fmla="*/ 15223 w 722767"/>
                <a:gd name="connsiteY1" fmla="*/ 10369 h 1146472"/>
                <a:gd name="connsiteX2" fmla="*/ 0 w 722767"/>
                <a:gd name="connsiteY2" fmla="*/ 0 h 1146472"/>
                <a:gd name="connsiteX3" fmla="*/ 0 w 722767"/>
                <a:gd name="connsiteY3" fmla="*/ 17627 h 1146472"/>
                <a:gd name="connsiteX4" fmla="*/ 6920 w 722767"/>
                <a:gd name="connsiteY4" fmla="*/ 22121 h 1146472"/>
                <a:gd name="connsiteX5" fmla="*/ 386122 w 722767"/>
                <a:gd name="connsiteY5" fmla="*/ 394025 h 1146472"/>
                <a:gd name="connsiteX6" fmla="*/ 675367 w 722767"/>
                <a:gd name="connsiteY6" fmla="*/ 992665 h 1146472"/>
                <a:gd name="connsiteX7" fmla="*/ 707890 w 722767"/>
                <a:gd name="connsiteY7" fmla="*/ 1146473 h 1146472"/>
                <a:gd name="connsiteX8" fmla="*/ 722768 w 722767"/>
                <a:gd name="connsiteY8" fmla="*/ 1146473 h 1146472"/>
                <a:gd name="connsiteX9" fmla="*/ 689553 w 722767"/>
                <a:gd name="connsiteY9" fmla="*/ 988863 h 1146472"/>
                <a:gd name="connsiteX10" fmla="*/ 397885 w 722767"/>
                <a:gd name="connsiteY10" fmla="*/ 385384 h 1146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22767" h="1146472">
                  <a:moveTo>
                    <a:pt x="397539" y="385384"/>
                  </a:moveTo>
                  <a:cubicBezTo>
                    <a:pt x="291321" y="243327"/>
                    <a:pt x="162614" y="117170"/>
                    <a:pt x="15223" y="10369"/>
                  </a:cubicBezTo>
                  <a:cubicBezTo>
                    <a:pt x="10380" y="6913"/>
                    <a:pt x="4844" y="3456"/>
                    <a:pt x="0" y="0"/>
                  </a:cubicBezTo>
                  <a:lnTo>
                    <a:pt x="0" y="17627"/>
                  </a:lnTo>
                  <a:cubicBezTo>
                    <a:pt x="2076" y="19356"/>
                    <a:pt x="4498" y="20738"/>
                    <a:pt x="6920" y="22121"/>
                  </a:cubicBezTo>
                  <a:cubicBezTo>
                    <a:pt x="153272" y="127885"/>
                    <a:pt x="280596" y="253005"/>
                    <a:pt x="386122" y="394025"/>
                  </a:cubicBezTo>
                  <a:cubicBezTo>
                    <a:pt x="518981" y="572027"/>
                    <a:pt x="618971" y="779062"/>
                    <a:pt x="675367" y="992665"/>
                  </a:cubicBezTo>
                  <a:cubicBezTo>
                    <a:pt x="688861" y="1043474"/>
                    <a:pt x="699240" y="1094973"/>
                    <a:pt x="707890" y="1146473"/>
                  </a:cubicBezTo>
                  <a:lnTo>
                    <a:pt x="722768" y="1146473"/>
                  </a:lnTo>
                  <a:cubicBezTo>
                    <a:pt x="713772" y="1093591"/>
                    <a:pt x="703392" y="1040709"/>
                    <a:pt x="689553" y="988863"/>
                  </a:cubicBezTo>
                  <a:cubicBezTo>
                    <a:pt x="632811" y="773532"/>
                    <a:pt x="531783" y="564769"/>
                    <a:pt x="397885" y="385384"/>
                  </a:cubicBezTo>
                  <a:close/>
                </a:path>
              </a:pathLst>
            </a:custGeom>
            <a:grpFill/>
            <a:ln w="34574" cap="flat">
              <a:noFill/>
              <a:prstDash val="solid"/>
              <a:miter/>
            </a:ln>
          </p:spPr>
          <p:txBody>
            <a:bodyPr rtlCol="0" anchor="ctr"/>
            <a:lstStyle/>
            <a:p>
              <a:endParaRPr lang="en-US"/>
            </a:p>
          </p:txBody>
        </p:sp>
        <p:sp>
          <p:nvSpPr>
            <p:cNvPr id="90" name="Freeform 89">
              <a:extLst>
                <a:ext uri="{FF2B5EF4-FFF2-40B4-BE49-F238E27FC236}">
                  <a16:creationId xmlns:a16="http://schemas.microsoft.com/office/drawing/2014/main" id="{8C3F159A-ED71-CE6E-E56F-9F5BB99ACD67}"/>
                </a:ext>
              </a:extLst>
            </p:cNvPr>
            <p:cNvSpPr/>
            <p:nvPr/>
          </p:nvSpPr>
          <p:spPr>
            <a:xfrm>
              <a:off x="-4157520" y="1258667"/>
              <a:ext cx="675713" cy="1087369"/>
            </a:xfrm>
            <a:custGeom>
              <a:avLst/>
              <a:gdLst>
                <a:gd name="connsiteX0" fmla="*/ 369168 w 675713"/>
                <a:gd name="connsiteY0" fmla="*/ 368448 h 1087369"/>
                <a:gd name="connsiteX1" fmla="*/ 0 w 675713"/>
                <a:gd name="connsiteY1" fmla="*/ 0 h 1087369"/>
                <a:gd name="connsiteX2" fmla="*/ 0 w 675713"/>
                <a:gd name="connsiteY2" fmla="*/ 18319 h 1087369"/>
                <a:gd name="connsiteX3" fmla="*/ 357405 w 675713"/>
                <a:gd name="connsiteY3" fmla="*/ 377088 h 1087369"/>
                <a:gd name="connsiteX4" fmla="*/ 636963 w 675713"/>
                <a:gd name="connsiteY4" fmla="*/ 974347 h 1087369"/>
                <a:gd name="connsiteX5" fmla="*/ 660836 w 675713"/>
                <a:gd name="connsiteY5" fmla="*/ 1087369 h 1087369"/>
                <a:gd name="connsiteX6" fmla="*/ 675713 w 675713"/>
                <a:gd name="connsiteY6" fmla="*/ 1087369 h 1087369"/>
                <a:gd name="connsiteX7" fmla="*/ 651494 w 675713"/>
                <a:gd name="connsiteY7" fmla="*/ 970545 h 1087369"/>
                <a:gd name="connsiteX8" fmla="*/ 369514 w 675713"/>
                <a:gd name="connsiteY8" fmla="*/ 368448 h 1087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5713" h="1087369">
                  <a:moveTo>
                    <a:pt x="369168" y="368448"/>
                  </a:moveTo>
                  <a:cubicBezTo>
                    <a:pt x="266756" y="229157"/>
                    <a:pt x="142547" y="105073"/>
                    <a:pt x="0" y="0"/>
                  </a:cubicBezTo>
                  <a:lnTo>
                    <a:pt x="0" y="18319"/>
                  </a:lnTo>
                  <a:cubicBezTo>
                    <a:pt x="137703" y="120972"/>
                    <a:pt x="258107" y="241599"/>
                    <a:pt x="357405" y="377088"/>
                  </a:cubicBezTo>
                  <a:cubicBezTo>
                    <a:pt x="487496" y="554745"/>
                    <a:pt x="584027" y="761090"/>
                    <a:pt x="636963" y="974347"/>
                  </a:cubicBezTo>
                  <a:cubicBezTo>
                    <a:pt x="646304" y="1011675"/>
                    <a:pt x="653916" y="1049695"/>
                    <a:pt x="660836" y="1087369"/>
                  </a:cubicBezTo>
                  <a:lnTo>
                    <a:pt x="675713" y="1087369"/>
                  </a:lnTo>
                  <a:cubicBezTo>
                    <a:pt x="668793" y="1048313"/>
                    <a:pt x="660836" y="1009256"/>
                    <a:pt x="651494" y="970545"/>
                  </a:cubicBezTo>
                  <a:cubicBezTo>
                    <a:pt x="598212" y="755559"/>
                    <a:pt x="500644" y="547487"/>
                    <a:pt x="369514" y="368448"/>
                  </a:cubicBezTo>
                  <a:close/>
                </a:path>
              </a:pathLst>
            </a:custGeom>
            <a:grpFill/>
            <a:ln w="34574" cap="flat">
              <a:noFill/>
              <a:prstDash val="solid"/>
              <a:miter/>
            </a:ln>
          </p:spPr>
          <p:txBody>
            <a:bodyPr rtlCol="0" anchor="ctr"/>
            <a:lstStyle/>
            <a:p>
              <a:endParaRPr lang="en-US"/>
            </a:p>
          </p:txBody>
        </p:sp>
        <p:sp>
          <p:nvSpPr>
            <p:cNvPr id="91" name="Freeform 90">
              <a:extLst>
                <a:ext uri="{FF2B5EF4-FFF2-40B4-BE49-F238E27FC236}">
                  <a16:creationId xmlns:a16="http://schemas.microsoft.com/office/drawing/2014/main" id="{51600CB1-EB90-3342-70AB-268A2B6E85BF}"/>
                </a:ext>
              </a:extLst>
            </p:cNvPr>
            <p:cNvSpPr/>
            <p:nvPr/>
          </p:nvSpPr>
          <p:spPr>
            <a:xfrm>
              <a:off x="-4157520" y="1319499"/>
              <a:ext cx="628312" cy="1026883"/>
            </a:xfrm>
            <a:custGeom>
              <a:avLst/>
              <a:gdLst>
                <a:gd name="connsiteX0" fmla="*/ 340797 w 628312"/>
                <a:gd name="connsiteY0" fmla="*/ 349783 h 1026883"/>
                <a:gd name="connsiteX1" fmla="*/ 0 w 628312"/>
                <a:gd name="connsiteY1" fmla="*/ 0 h 1026883"/>
                <a:gd name="connsiteX2" fmla="*/ 0 w 628312"/>
                <a:gd name="connsiteY2" fmla="*/ 18319 h 1026883"/>
                <a:gd name="connsiteX3" fmla="*/ 329034 w 628312"/>
                <a:gd name="connsiteY3" fmla="*/ 358424 h 1026883"/>
                <a:gd name="connsiteX4" fmla="*/ 598904 w 628312"/>
                <a:gd name="connsiteY4" fmla="*/ 954300 h 1026883"/>
                <a:gd name="connsiteX5" fmla="*/ 613436 w 628312"/>
                <a:gd name="connsiteY5" fmla="*/ 1026883 h 1026883"/>
                <a:gd name="connsiteX6" fmla="*/ 628313 w 628312"/>
                <a:gd name="connsiteY6" fmla="*/ 1026883 h 1026883"/>
                <a:gd name="connsiteX7" fmla="*/ 613436 w 628312"/>
                <a:gd name="connsiteY7" fmla="*/ 951189 h 1026883"/>
                <a:gd name="connsiteX8" fmla="*/ 341143 w 628312"/>
                <a:gd name="connsiteY8" fmla="*/ 350129 h 1026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8312" h="1026883">
                  <a:moveTo>
                    <a:pt x="340797" y="349783"/>
                  </a:moveTo>
                  <a:cubicBezTo>
                    <a:pt x="245997" y="218442"/>
                    <a:pt x="131475" y="100926"/>
                    <a:pt x="0" y="0"/>
                  </a:cubicBezTo>
                  <a:lnTo>
                    <a:pt x="0" y="18319"/>
                  </a:lnTo>
                  <a:cubicBezTo>
                    <a:pt x="126631" y="116825"/>
                    <a:pt x="237347" y="230885"/>
                    <a:pt x="329034" y="358424"/>
                  </a:cubicBezTo>
                  <a:cubicBezTo>
                    <a:pt x="456357" y="535389"/>
                    <a:pt x="549428" y="741388"/>
                    <a:pt x="598904" y="954300"/>
                  </a:cubicBezTo>
                  <a:cubicBezTo>
                    <a:pt x="604440" y="978149"/>
                    <a:pt x="608938" y="1002689"/>
                    <a:pt x="613436" y="1026883"/>
                  </a:cubicBezTo>
                  <a:lnTo>
                    <a:pt x="628313" y="1026883"/>
                  </a:lnTo>
                  <a:cubicBezTo>
                    <a:pt x="623815" y="1001652"/>
                    <a:pt x="618971" y="976075"/>
                    <a:pt x="613436" y="951189"/>
                  </a:cubicBezTo>
                  <a:cubicBezTo>
                    <a:pt x="563613" y="736549"/>
                    <a:pt x="469505" y="528822"/>
                    <a:pt x="341143" y="350129"/>
                  </a:cubicBezTo>
                  <a:close/>
                </a:path>
              </a:pathLst>
            </a:custGeom>
            <a:grpFill/>
            <a:ln w="34574" cap="flat">
              <a:noFill/>
              <a:prstDash val="solid"/>
              <a:miter/>
            </a:ln>
          </p:spPr>
          <p:txBody>
            <a:bodyPr rtlCol="0" anchor="ctr"/>
            <a:lstStyle/>
            <a:p>
              <a:endParaRPr lang="en-US"/>
            </a:p>
          </p:txBody>
        </p:sp>
        <p:sp>
          <p:nvSpPr>
            <p:cNvPr id="92" name="Freeform 91">
              <a:extLst>
                <a:ext uri="{FF2B5EF4-FFF2-40B4-BE49-F238E27FC236}">
                  <a16:creationId xmlns:a16="http://schemas.microsoft.com/office/drawing/2014/main" id="{7AD85EAB-5973-0891-47E5-237DE8DEB12B}"/>
                </a:ext>
              </a:extLst>
            </p:cNvPr>
            <p:cNvSpPr/>
            <p:nvPr/>
          </p:nvSpPr>
          <p:spPr>
            <a:xfrm>
              <a:off x="-4157520" y="1380331"/>
              <a:ext cx="581604" cy="965705"/>
            </a:xfrm>
            <a:custGeom>
              <a:avLst/>
              <a:gdLst>
                <a:gd name="connsiteX0" fmla="*/ 312427 w 581604"/>
                <a:gd name="connsiteY0" fmla="*/ 331119 h 965705"/>
                <a:gd name="connsiteX1" fmla="*/ 0 w 581604"/>
                <a:gd name="connsiteY1" fmla="*/ 0 h 965705"/>
                <a:gd name="connsiteX2" fmla="*/ 0 w 581604"/>
                <a:gd name="connsiteY2" fmla="*/ 19010 h 965705"/>
                <a:gd name="connsiteX3" fmla="*/ 300663 w 581604"/>
                <a:gd name="connsiteY3" fmla="*/ 339414 h 965705"/>
                <a:gd name="connsiteX4" fmla="*/ 560845 w 581604"/>
                <a:gd name="connsiteY4" fmla="*/ 933907 h 965705"/>
                <a:gd name="connsiteX5" fmla="*/ 566727 w 581604"/>
                <a:gd name="connsiteY5" fmla="*/ 965706 h 965705"/>
                <a:gd name="connsiteX6" fmla="*/ 581605 w 581604"/>
                <a:gd name="connsiteY6" fmla="*/ 965706 h 965705"/>
                <a:gd name="connsiteX7" fmla="*/ 575377 w 581604"/>
                <a:gd name="connsiteY7" fmla="*/ 930797 h 965705"/>
                <a:gd name="connsiteX8" fmla="*/ 312773 w 581604"/>
                <a:gd name="connsiteY8" fmla="*/ 331119 h 965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1604" h="965705">
                  <a:moveTo>
                    <a:pt x="312427" y="331119"/>
                  </a:moveTo>
                  <a:cubicBezTo>
                    <a:pt x="225238" y="207727"/>
                    <a:pt x="120404" y="96432"/>
                    <a:pt x="0" y="0"/>
                  </a:cubicBezTo>
                  <a:lnTo>
                    <a:pt x="0" y="19010"/>
                  </a:lnTo>
                  <a:cubicBezTo>
                    <a:pt x="115560" y="113023"/>
                    <a:pt x="216588" y="220515"/>
                    <a:pt x="300663" y="339414"/>
                  </a:cubicBezTo>
                  <a:cubicBezTo>
                    <a:pt x="425218" y="515688"/>
                    <a:pt x="515175" y="721341"/>
                    <a:pt x="560845" y="933907"/>
                  </a:cubicBezTo>
                  <a:cubicBezTo>
                    <a:pt x="563267" y="944276"/>
                    <a:pt x="564651" y="954991"/>
                    <a:pt x="566727" y="965706"/>
                  </a:cubicBezTo>
                  <a:lnTo>
                    <a:pt x="581605" y="965706"/>
                  </a:lnTo>
                  <a:cubicBezTo>
                    <a:pt x="579529" y="954300"/>
                    <a:pt x="577799" y="942548"/>
                    <a:pt x="575377" y="930797"/>
                  </a:cubicBezTo>
                  <a:cubicBezTo>
                    <a:pt x="529361" y="716502"/>
                    <a:pt x="438366" y="509121"/>
                    <a:pt x="312773" y="331119"/>
                  </a:cubicBezTo>
                  <a:close/>
                </a:path>
              </a:pathLst>
            </a:custGeom>
            <a:grpFill/>
            <a:ln w="34574" cap="flat">
              <a:noFill/>
              <a:prstDash val="solid"/>
              <a:miter/>
            </a:ln>
          </p:spPr>
          <p:txBody>
            <a:bodyPr rtlCol="0" anchor="ctr"/>
            <a:lstStyle/>
            <a:p>
              <a:endParaRPr lang="en-US"/>
            </a:p>
          </p:txBody>
        </p:sp>
        <p:sp>
          <p:nvSpPr>
            <p:cNvPr id="93" name="Freeform 92">
              <a:extLst>
                <a:ext uri="{FF2B5EF4-FFF2-40B4-BE49-F238E27FC236}">
                  <a16:creationId xmlns:a16="http://schemas.microsoft.com/office/drawing/2014/main" id="{8952E47B-7AC7-F200-7AC8-2292F7AE0FBB}"/>
                </a:ext>
              </a:extLst>
            </p:cNvPr>
            <p:cNvSpPr/>
            <p:nvPr/>
          </p:nvSpPr>
          <p:spPr>
            <a:xfrm>
              <a:off x="-4157520" y="1443236"/>
              <a:ext cx="535242" cy="902454"/>
            </a:xfrm>
            <a:custGeom>
              <a:avLst/>
              <a:gdLst>
                <a:gd name="connsiteX0" fmla="*/ 0 w 535242"/>
                <a:gd name="connsiteY0" fmla="*/ 0 h 902454"/>
                <a:gd name="connsiteX1" fmla="*/ 0 w 535242"/>
                <a:gd name="connsiteY1" fmla="*/ 18664 h 902454"/>
                <a:gd name="connsiteX2" fmla="*/ 271946 w 535242"/>
                <a:gd name="connsiteY2" fmla="*/ 318676 h 902454"/>
                <a:gd name="connsiteX3" fmla="*/ 520365 w 535242"/>
                <a:gd name="connsiteY3" fmla="*/ 902454 h 902454"/>
                <a:gd name="connsiteX4" fmla="*/ 535242 w 535242"/>
                <a:gd name="connsiteY4" fmla="*/ 902454 h 902454"/>
                <a:gd name="connsiteX5" fmla="*/ 284056 w 535242"/>
                <a:gd name="connsiteY5" fmla="*/ 310381 h 902454"/>
                <a:gd name="connsiteX6" fmla="*/ 0 w 535242"/>
                <a:gd name="connsiteY6" fmla="*/ 0 h 90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5242" h="902454">
                  <a:moveTo>
                    <a:pt x="0" y="0"/>
                  </a:moveTo>
                  <a:lnTo>
                    <a:pt x="0" y="18664"/>
                  </a:lnTo>
                  <a:cubicBezTo>
                    <a:pt x="103796" y="107493"/>
                    <a:pt x="196175" y="208764"/>
                    <a:pt x="271946" y="318676"/>
                  </a:cubicBezTo>
                  <a:cubicBezTo>
                    <a:pt x="393388" y="494259"/>
                    <a:pt x="477808" y="694727"/>
                    <a:pt x="520365" y="902454"/>
                  </a:cubicBezTo>
                  <a:lnTo>
                    <a:pt x="535242" y="902454"/>
                  </a:lnTo>
                  <a:cubicBezTo>
                    <a:pt x="492340" y="691617"/>
                    <a:pt x="407227" y="488383"/>
                    <a:pt x="284056" y="310381"/>
                  </a:cubicBezTo>
                  <a:cubicBezTo>
                    <a:pt x="205170" y="196321"/>
                    <a:pt x="108640" y="91248"/>
                    <a:pt x="0" y="0"/>
                  </a:cubicBezTo>
                  <a:close/>
                </a:path>
              </a:pathLst>
            </a:custGeom>
            <a:grpFill/>
            <a:ln w="34574" cap="flat">
              <a:noFill/>
              <a:prstDash val="solid"/>
              <a:miter/>
            </a:ln>
          </p:spPr>
          <p:txBody>
            <a:bodyPr rtlCol="0" anchor="ctr"/>
            <a:lstStyle/>
            <a:p>
              <a:endParaRPr lang="en-US"/>
            </a:p>
          </p:txBody>
        </p:sp>
        <p:sp>
          <p:nvSpPr>
            <p:cNvPr id="94" name="Freeform 93">
              <a:extLst>
                <a:ext uri="{FF2B5EF4-FFF2-40B4-BE49-F238E27FC236}">
                  <a16:creationId xmlns:a16="http://schemas.microsoft.com/office/drawing/2014/main" id="{F89EE0FF-0D6D-FB81-255A-7D1308D6D11B}"/>
                </a:ext>
              </a:extLst>
            </p:cNvPr>
            <p:cNvSpPr/>
            <p:nvPr/>
          </p:nvSpPr>
          <p:spPr>
            <a:xfrm>
              <a:off x="-4157520" y="689751"/>
              <a:ext cx="1172204" cy="1655594"/>
            </a:xfrm>
            <a:custGeom>
              <a:avLst/>
              <a:gdLst>
                <a:gd name="connsiteX0" fmla="*/ 1107159 w 1172204"/>
                <a:gd name="connsiteY0" fmla="*/ 1349361 h 1655594"/>
                <a:gd name="connsiteX1" fmla="*/ 1031734 w 1172204"/>
                <a:gd name="connsiteY1" fmla="*/ 1129883 h 1655594"/>
                <a:gd name="connsiteX2" fmla="*/ 652878 w 1172204"/>
                <a:gd name="connsiteY2" fmla="*/ 514997 h 1655594"/>
                <a:gd name="connsiteX3" fmla="*/ 217626 w 1172204"/>
                <a:gd name="connsiteY3" fmla="*/ 128922 h 1655594"/>
                <a:gd name="connsiteX4" fmla="*/ 0 w 1172204"/>
                <a:gd name="connsiteY4" fmla="*/ 0 h 1655594"/>
                <a:gd name="connsiteX5" fmla="*/ 0 w 1172204"/>
                <a:gd name="connsiteY5" fmla="*/ 16245 h 1655594"/>
                <a:gd name="connsiteX6" fmla="*/ 209322 w 1172204"/>
                <a:gd name="connsiteY6" fmla="*/ 140674 h 1655594"/>
                <a:gd name="connsiteX7" fmla="*/ 641806 w 1172204"/>
                <a:gd name="connsiteY7" fmla="*/ 524329 h 1655594"/>
                <a:gd name="connsiteX8" fmla="*/ 1018241 w 1172204"/>
                <a:gd name="connsiteY8" fmla="*/ 1135067 h 1655594"/>
                <a:gd name="connsiteX9" fmla="*/ 1093320 w 1172204"/>
                <a:gd name="connsiteY9" fmla="*/ 1352817 h 1655594"/>
                <a:gd name="connsiteX10" fmla="*/ 1157673 w 1172204"/>
                <a:gd name="connsiteY10" fmla="*/ 1655594 h 1655594"/>
                <a:gd name="connsiteX11" fmla="*/ 1172205 w 1172204"/>
                <a:gd name="connsiteY11" fmla="*/ 1655594 h 1655594"/>
                <a:gd name="connsiteX12" fmla="*/ 1107159 w 1172204"/>
                <a:gd name="connsiteY12" fmla="*/ 1348670 h 1655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72204" h="1655594">
                  <a:moveTo>
                    <a:pt x="1107159" y="1349361"/>
                  </a:moveTo>
                  <a:cubicBezTo>
                    <a:pt x="1085708" y="1274704"/>
                    <a:pt x="1060451" y="1200738"/>
                    <a:pt x="1031734" y="1129883"/>
                  </a:cubicBezTo>
                  <a:cubicBezTo>
                    <a:pt x="943161" y="911786"/>
                    <a:pt x="812378" y="699221"/>
                    <a:pt x="652878" y="514997"/>
                  </a:cubicBezTo>
                  <a:cubicBezTo>
                    <a:pt x="526593" y="369139"/>
                    <a:pt x="380240" y="239180"/>
                    <a:pt x="217626" y="128922"/>
                  </a:cubicBezTo>
                  <a:cubicBezTo>
                    <a:pt x="148083" y="81916"/>
                    <a:pt x="75425" y="39057"/>
                    <a:pt x="0" y="0"/>
                  </a:cubicBezTo>
                  <a:lnTo>
                    <a:pt x="0" y="16245"/>
                  </a:lnTo>
                  <a:cubicBezTo>
                    <a:pt x="72311" y="53919"/>
                    <a:pt x="142547" y="95395"/>
                    <a:pt x="209322" y="140674"/>
                  </a:cubicBezTo>
                  <a:cubicBezTo>
                    <a:pt x="370898" y="250240"/>
                    <a:pt x="516213" y="379508"/>
                    <a:pt x="641806" y="524329"/>
                  </a:cubicBezTo>
                  <a:cubicBezTo>
                    <a:pt x="800269" y="707170"/>
                    <a:pt x="930360" y="918354"/>
                    <a:pt x="1018241" y="1135067"/>
                  </a:cubicBezTo>
                  <a:cubicBezTo>
                    <a:pt x="1046958" y="1205577"/>
                    <a:pt x="1071869" y="1278851"/>
                    <a:pt x="1093320" y="1352817"/>
                  </a:cubicBezTo>
                  <a:cubicBezTo>
                    <a:pt x="1121691" y="1452706"/>
                    <a:pt x="1143142" y="1553977"/>
                    <a:pt x="1157673" y="1655594"/>
                  </a:cubicBezTo>
                  <a:lnTo>
                    <a:pt x="1172205" y="1655594"/>
                  </a:lnTo>
                  <a:cubicBezTo>
                    <a:pt x="1157673" y="1552595"/>
                    <a:pt x="1135876" y="1449941"/>
                    <a:pt x="1107159" y="1348670"/>
                  </a:cubicBezTo>
                  <a:close/>
                </a:path>
              </a:pathLst>
            </a:custGeom>
            <a:grpFill/>
            <a:ln w="34574" cap="flat">
              <a:noFill/>
              <a:prstDash val="solid"/>
              <a:miter/>
            </a:ln>
          </p:spPr>
          <p:txBody>
            <a:bodyPr rtlCol="0" anchor="ctr"/>
            <a:lstStyle/>
            <a:p>
              <a:endParaRPr lang="en-US"/>
            </a:p>
          </p:txBody>
        </p:sp>
      </p:grpSp>
      <p:sp>
        <p:nvSpPr>
          <p:cNvPr id="9" name="Title 1"/>
          <p:cNvSpPr>
            <a:spLocks noGrp="1"/>
          </p:cNvSpPr>
          <p:nvPr>
            <p:ph type="title" hasCustomPrompt="1"/>
          </p:nvPr>
        </p:nvSpPr>
        <p:spPr>
          <a:xfrm>
            <a:off x="584200" y="2302670"/>
            <a:ext cx="4848041" cy="1231106"/>
          </a:xfrm>
          <a:noFill/>
        </p:spPr>
        <p:txBody>
          <a:bodyPr wrap="square" lIns="0" tIns="0" rIns="0" bIns="0" anchor="b" anchorCtr="0">
            <a:spAutoFit/>
          </a:bodyPr>
          <a:lstStyle>
            <a:lvl1pPr>
              <a:defRPr sz="4000" spc="-50" baseline="0">
                <a:gradFill flip="none" rotWithShape="1">
                  <a:gsLst>
                    <a:gs pos="0">
                      <a:schemeClr val="accent1"/>
                    </a:gs>
                    <a:gs pos="100000">
                      <a:schemeClr val="accent4"/>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858698" cy="246221"/>
          </a:xfrm>
          <a:noFill/>
        </p:spPr>
        <p:txBody>
          <a:bodyPr wrap="square" lIns="0" tIns="0" rIns="0" bIns="0">
            <a:spAutoFit/>
          </a:bodyPr>
          <a:lstStyle>
            <a:lvl1pPr marL="0" indent="0">
              <a:spcBef>
                <a:spcPts val="0"/>
              </a:spcBef>
              <a:buNone/>
              <a:defRPr sz="1600" spc="0" baseline="0">
                <a:solidFill>
                  <a:schemeClr val="bg1"/>
                </a:solidFill>
                <a:latin typeface="+mn-lt"/>
                <a:cs typeface="Segoe UI" panose="020B0502040204020203" pitchFamily="34" charset="0"/>
              </a:defRPr>
            </a:lvl1pPr>
          </a:lstStyle>
          <a:p>
            <a:pPr lvl="0"/>
            <a:r>
              <a:rPr lang="en-US"/>
              <a:t>Speaker name or subtitle text</a:t>
            </a:r>
          </a:p>
        </p:txBody>
      </p:sp>
      <p:pic>
        <p:nvPicPr>
          <p:cNvPr id="95" name="MS logo gray - EMF" descr="Microsoft logo, gray text version">
            <a:extLst>
              <a:ext uri="{FF2B5EF4-FFF2-40B4-BE49-F238E27FC236}">
                <a16:creationId xmlns:a16="http://schemas.microsoft.com/office/drawing/2014/main" id="{1DD5F06E-A0A8-DE89-5B58-25F81504361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8837593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44">
          <p15:clr>
            <a:srgbClr val="5ACBF0"/>
          </p15:clr>
        </p15:guide>
        <p15:guide id="4" orient="horz" pos="2160">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tle and text side by side 2 - gradient">
    <p:bg>
      <p:bgPr>
        <a:gradFill>
          <a:gsLst>
            <a:gs pos="0">
              <a:schemeClr val="bg1"/>
            </a:gs>
            <a:gs pos="100000">
              <a:schemeClr val="bg1">
                <a:lumMod val="85000"/>
                <a:alpha val="50000"/>
              </a:schemeClr>
            </a:gs>
          </a:gsLst>
          <a:lin ang="1890000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2899659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Blank - gradient">
    <p:bg>
      <p:bgPr>
        <a:gradFill>
          <a:gsLst>
            <a:gs pos="0">
              <a:schemeClr val="bg1"/>
            </a:gs>
            <a:gs pos="100000">
              <a:schemeClr val="bg1">
                <a:lumMod val="85000"/>
                <a:alpha val="50000"/>
              </a:schemeClr>
            </a:gs>
          </a:gsLst>
          <a:lin ang="18900000" scaled="1"/>
        </a:gra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4350021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1_Two Column Bullet text">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243EEFD7-7823-20FE-9267-CC95C9CC7F8E}"/>
              </a:ext>
            </a:extLst>
          </p:cNvPr>
          <p:cNvGrpSpPr/>
          <p:nvPr userDrawn="1"/>
        </p:nvGrpSpPr>
        <p:grpSpPr>
          <a:xfrm>
            <a:off x="11207931" y="114223"/>
            <a:ext cx="984069" cy="1526510"/>
            <a:chOff x="11207931" y="114223"/>
            <a:chExt cx="984069" cy="1526510"/>
          </a:xfrm>
        </p:grpSpPr>
        <p:sp>
          <p:nvSpPr>
            <p:cNvPr id="4" name="Freeform 3">
              <a:extLst>
                <a:ext uri="{FF2B5EF4-FFF2-40B4-BE49-F238E27FC236}">
                  <a16:creationId xmlns:a16="http://schemas.microsoft.com/office/drawing/2014/main" id="{35283B6A-8DE6-5857-08F4-4B92A5C98120}"/>
                </a:ext>
              </a:extLst>
            </p:cNvPr>
            <p:cNvSpPr/>
            <p:nvPr/>
          </p:nvSpPr>
          <p:spPr bwMode="auto">
            <a:xfrm>
              <a:off x="11683516" y="209494"/>
              <a:ext cx="508484" cy="1049410"/>
            </a:xfrm>
            <a:custGeom>
              <a:avLst/>
              <a:gdLst>
                <a:gd name="connsiteX0" fmla="*/ 508484 w 508484"/>
                <a:gd name="connsiteY0" fmla="*/ 0 h 1049410"/>
                <a:gd name="connsiteX1" fmla="*/ 508484 w 508484"/>
                <a:gd name="connsiteY1" fmla="*/ 1049410 h 1049410"/>
                <a:gd name="connsiteX2" fmla="*/ 420411 w 508484"/>
                <a:gd name="connsiteY2" fmla="*/ 1040532 h 1049410"/>
                <a:gd name="connsiteX3" fmla="*/ 0 w 508484"/>
                <a:gd name="connsiteY3" fmla="*/ 524705 h 1049410"/>
                <a:gd name="connsiteX4" fmla="*/ 420411 w 508484"/>
                <a:gd name="connsiteY4" fmla="*/ 8878 h 1049410"/>
                <a:gd name="connsiteX5" fmla="*/ 508484 w 508484"/>
                <a:gd name="connsiteY5" fmla="*/ 0 h 1049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8484" h="1049410">
                  <a:moveTo>
                    <a:pt x="508484" y="0"/>
                  </a:moveTo>
                  <a:lnTo>
                    <a:pt x="508484" y="1049410"/>
                  </a:lnTo>
                  <a:lnTo>
                    <a:pt x="420411" y="1040532"/>
                  </a:lnTo>
                  <a:cubicBezTo>
                    <a:pt x="180483" y="991436"/>
                    <a:pt x="0" y="779147"/>
                    <a:pt x="0" y="524705"/>
                  </a:cubicBezTo>
                  <a:cubicBezTo>
                    <a:pt x="0" y="270263"/>
                    <a:pt x="180483" y="57975"/>
                    <a:pt x="420411" y="8878"/>
                  </a:cubicBezTo>
                  <a:lnTo>
                    <a:pt x="508484" y="0"/>
                  </a:lnTo>
                  <a:close/>
                </a:path>
              </a:pathLst>
            </a:custGeom>
            <a:solidFill>
              <a:schemeClr val="accent5">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7" name="Freeform 6">
              <a:extLst>
                <a:ext uri="{FF2B5EF4-FFF2-40B4-BE49-F238E27FC236}">
                  <a16:creationId xmlns:a16="http://schemas.microsoft.com/office/drawing/2014/main" id="{AB6464FB-E6A2-5622-166E-621C960A69EA}"/>
                </a:ext>
              </a:extLst>
            </p:cNvPr>
            <p:cNvSpPr/>
            <p:nvPr/>
          </p:nvSpPr>
          <p:spPr>
            <a:xfrm>
              <a:off x="11593087" y="114223"/>
              <a:ext cx="598913" cy="1253024"/>
            </a:xfrm>
            <a:custGeom>
              <a:avLst/>
              <a:gdLst>
                <a:gd name="connsiteX0" fmla="*/ 579415 w 733022"/>
                <a:gd name="connsiteY0" fmla="*/ 1154516 h 1533601"/>
                <a:gd name="connsiteX1" fmla="*/ 654140 w 733022"/>
                <a:gd name="connsiteY1" fmla="*/ 1182331 h 1533601"/>
                <a:gd name="connsiteX2" fmla="*/ 733022 w 733022"/>
                <a:gd name="connsiteY2" fmla="*/ 1195890 h 1533601"/>
                <a:gd name="connsiteX3" fmla="*/ 733022 w 733022"/>
                <a:gd name="connsiteY3" fmla="*/ 1519078 h 1533601"/>
                <a:gd name="connsiteX4" fmla="*/ 728849 w 733022"/>
                <a:gd name="connsiteY4" fmla="*/ 1528684 h 1533601"/>
                <a:gd name="connsiteX5" fmla="*/ 715183 w 733022"/>
                <a:gd name="connsiteY5" fmla="*/ 1533561 h 1533601"/>
                <a:gd name="connsiteX6" fmla="*/ 427500 w 733022"/>
                <a:gd name="connsiteY6" fmla="*/ 1456569 h 1533601"/>
                <a:gd name="connsiteX7" fmla="*/ 427481 w 733022"/>
                <a:gd name="connsiteY7" fmla="*/ 1456569 h 1533601"/>
                <a:gd name="connsiteX8" fmla="*/ 419765 w 733022"/>
                <a:gd name="connsiteY8" fmla="*/ 1431112 h 1533601"/>
                <a:gd name="connsiteX9" fmla="*/ 409753 w 733022"/>
                <a:gd name="connsiteY9" fmla="*/ 1009571 h 1533601"/>
                <a:gd name="connsiteX10" fmla="*/ 524291 w 733022"/>
                <a:gd name="connsiteY10" fmla="*/ 1122789 h 1533601"/>
                <a:gd name="connsiteX11" fmla="*/ 364754 w 733022"/>
                <a:gd name="connsiteY11" fmla="*/ 1399179 h 1533601"/>
                <a:gd name="connsiteX12" fmla="*/ 338820 w 733022"/>
                <a:gd name="connsiteY12" fmla="*/ 1405185 h 1533601"/>
                <a:gd name="connsiteX13" fmla="*/ 128318 w 733022"/>
                <a:gd name="connsiteY13" fmla="*/ 1194584 h 1533601"/>
                <a:gd name="connsiteX14" fmla="*/ 134321 w 733022"/>
                <a:gd name="connsiteY14" fmla="*/ 1168637 h 1533601"/>
                <a:gd name="connsiteX15" fmla="*/ 18202 w 733022"/>
                <a:gd name="connsiteY15" fmla="*/ 798631 h 1533601"/>
                <a:gd name="connsiteX16" fmla="*/ 333739 w 733022"/>
                <a:gd name="connsiteY16" fmla="*/ 798631 h 1533601"/>
                <a:gd name="connsiteX17" fmla="*/ 377363 w 733022"/>
                <a:gd name="connsiteY17" fmla="*/ 954723 h 1533601"/>
                <a:gd name="connsiteX18" fmla="*/ 102441 w 733022"/>
                <a:gd name="connsiteY18" fmla="*/ 1113544 h 1533601"/>
                <a:gd name="connsiteX19" fmla="*/ 76996 w 733022"/>
                <a:gd name="connsiteY19" fmla="*/ 1105824 h 1533601"/>
                <a:gd name="connsiteX20" fmla="*/ 41 w 733022"/>
                <a:gd name="connsiteY20" fmla="*/ 818081 h 1533601"/>
                <a:gd name="connsiteX21" fmla="*/ 18202 w 733022"/>
                <a:gd name="connsiteY21" fmla="*/ 798631 h 1533601"/>
                <a:gd name="connsiteX22" fmla="*/ 733022 w 733022"/>
                <a:gd name="connsiteY22" fmla="*/ 440947 h 1533601"/>
                <a:gd name="connsiteX23" fmla="*/ 733022 w 733022"/>
                <a:gd name="connsiteY23" fmla="*/ 627192 h 1533601"/>
                <a:gd name="connsiteX24" fmla="*/ 694597 w 733022"/>
                <a:gd name="connsiteY24" fmla="*/ 638681 h 1533601"/>
                <a:gd name="connsiteX25" fmla="*/ 618391 w 733022"/>
                <a:gd name="connsiteY25" fmla="*/ 748942 h 1533601"/>
                <a:gd name="connsiteX26" fmla="*/ 699416 w 733022"/>
                <a:gd name="connsiteY26" fmla="*/ 889231 h 1533601"/>
                <a:gd name="connsiteX27" fmla="*/ 733022 w 733022"/>
                <a:gd name="connsiteY27" fmla="*/ 896448 h 1533601"/>
                <a:gd name="connsiteX28" fmla="*/ 733022 w 733022"/>
                <a:gd name="connsiteY28" fmla="*/ 1083871 h 1533601"/>
                <a:gd name="connsiteX29" fmla="*/ 691051 w 733022"/>
                <a:gd name="connsiteY29" fmla="*/ 1079617 h 1533601"/>
                <a:gd name="connsiteX30" fmla="*/ 433014 w 733022"/>
                <a:gd name="connsiteY30" fmla="*/ 761820 h 1533601"/>
                <a:gd name="connsiteX31" fmla="*/ 678170 w 733022"/>
                <a:gd name="connsiteY31" fmla="*/ 449027 h 1533601"/>
                <a:gd name="connsiteX32" fmla="*/ 88045 w 733022"/>
                <a:gd name="connsiteY32" fmla="*/ 418365 h 1533601"/>
                <a:gd name="connsiteX33" fmla="*/ 102441 w 733022"/>
                <a:gd name="connsiteY33" fmla="*/ 420020 h 1533601"/>
                <a:gd name="connsiteX34" fmla="*/ 372960 w 733022"/>
                <a:gd name="connsiteY34" fmla="*/ 576281 h 1533601"/>
                <a:gd name="connsiteX35" fmla="*/ 332873 w 733022"/>
                <a:gd name="connsiteY35" fmla="*/ 734971 h 1533601"/>
                <a:gd name="connsiteX36" fmla="*/ 18202 w 733022"/>
                <a:gd name="connsiteY36" fmla="*/ 734971 h 1533601"/>
                <a:gd name="connsiteX37" fmla="*/ 41 w 733022"/>
                <a:gd name="connsiteY37" fmla="*/ 715520 h 1533601"/>
                <a:gd name="connsiteX38" fmla="*/ 76996 w 733022"/>
                <a:gd name="connsiteY38" fmla="*/ 427739 h 1533601"/>
                <a:gd name="connsiteX39" fmla="*/ 88045 w 733022"/>
                <a:gd name="connsiteY39" fmla="*/ 418365 h 1533601"/>
                <a:gd name="connsiteX40" fmla="*/ 353092 w 733022"/>
                <a:gd name="connsiteY40" fmla="*/ 125773 h 1533601"/>
                <a:gd name="connsiteX41" fmla="*/ 364754 w 733022"/>
                <a:gd name="connsiteY41" fmla="*/ 134404 h 1533601"/>
                <a:gd name="connsiteX42" fmla="*/ 519455 w 733022"/>
                <a:gd name="connsiteY42" fmla="*/ 402471 h 1533601"/>
                <a:gd name="connsiteX43" fmla="*/ 404069 w 733022"/>
                <a:gd name="connsiteY43" fmla="*/ 520735 h 1533601"/>
                <a:gd name="connsiteX44" fmla="*/ 134359 w 733022"/>
                <a:gd name="connsiteY44" fmla="*/ 364945 h 1533601"/>
                <a:gd name="connsiteX45" fmla="*/ 128356 w 733022"/>
                <a:gd name="connsiteY45" fmla="*/ 338999 h 1533601"/>
                <a:gd name="connsiteX46" fmla="*/ 338820 w 733022"/>
                <a:gd name="connsiteY46" fmla="*/ 128398 h 1533601"/>
                <a:gd name="connsiteX47" fmla="*/ 353092 w 733022"/>
                <a:gd name="connsiteY47" fmla="*/ 125773 h 1533601"/>
                <a:gd name="connsiteX48" fmla="*/ 715183 w 733022"/>
                <a:gd name="connsiteY48" fmla="*/ 41 h 1533601"/>
                <a:gd name="connsiteX49" fmla="*/ 715202 w 733022"/>
                <a:gd name="connsiteY49" fmla="*/ 41 h 1533601"/>
                <a:gd name="connsiteX50" fmla="*/ 728860 w 733022"/>
                <a:gd name="connsiteY50" fmla="*/ 4910 h 1533601"/>
                <a:gd name="connsiteX51" fmla="*/ 733022 w 733022"/>
                <a:gd name="connsiteY51" fmla="*/ 14482 h 1533601"/>
                <a:gd name="connsiteX52" fmla="*/ 733022 w 733022"/>
                <a:gd name="connsiteY52" fmla="*/ 325990 h 1533601"/>
                <a:gd name="connsiteX53" fmla="*/ 651303 w 733022"/>
                <a:gd name="connsiteY53" fmla="*/ 340329 h 1533601"/>
                <a:gd name="connsiteX54" fmla="*/ 574202 w 733022"/>
                <a:gd name="connsiteY54" fmla="*/ 369991 h 1533601"/>
                <a:gd name="connsiteX55" fmla="*/ 419821 w 733022"/>
                <a:gd name="connsiteY55" fmla="*/ 102489 h 1533601"/>
                <a:gd name="connsiteX56" fmla="*/ 427538 w 733022"/>
                <a:gd name="connsiteY56" fmla="*/ 77032 h 1533601"/>
                <a:gd name="connsiteX57" fmla="*/ 715183 w 733022"/>
                <a:gd name="connsiteY57" fmla="*/ 41 h 1533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733022" h="1533601">
                  <a:moveTo>
                    <a:pt x="579415" y="1154516"/>
                  </a:moveTo>
                  <a:cubicBezTo>
                    <a:pt x="603213" y="1165954"/>
                    <a:pt x="628197" y="1175308"/>
                    <a:pt x="654140" y="1182331"/>
                  </a:cubicBezTo>
                  <a:lnTo>
                    <a:pt x="733022" y="1195890"/>
                  </a:lnTo>
                  <a:lnTo>
                    <a:pt x="733022" y="1519078"/>
                  </a:lnTo>
                  <a:lnTo>
                    <a:pt x="728849" y="1528684"/>
                  </a:lnTo>
                  <a:cubicBezTo>
                    <a:pt x="725303" y="1531998"/>
                    <a:pt x="720443" y="1533909"/>
                    <a:pt x="715183" y="1533561"/>
                  </a:cubicBezTo>
                  <a:cubicBezTo>
                    <a:pt x="612463" y="1526782"/>
                    <a:pt x="515258" y="1499819"/>
                    <a:pt x="427500" y="1456569"/>
                  </a:cubicBezTo>
                  <a:lnTo>
                    <a:pt x="427481" y="1456569"/>
                  </a:lnTo>
                  <a:cubicBezTo>
                    <a:pt x="418052" y="1451918"/>
                    <a:pt x="414495" y="1440226"/>
                    <a:pt x="419765" y="1431112"/>
                  </a:cubicBezTo>
                  <a:close/>
                  <a:moveTo>
                    <a:pt x="409753" y="1009571"/>
                  </a:moveTo>
                  <a:cubicBezTo>
                    <a:pt x="440580" y="1054045"/>
                    <a:pt x="479424" y="1092456"/>
                    <a:pt x="524291" y="1122789"/>
                  </a:cubicBezTo>
                  <a:lnTo>
                    <a:pt x="364754" y="1399179"/>
                  </a:lnTo>
                  <a:cubicBezTo>
                    <a:pt x="359484" y="1408311"/>
                    <a:pt x="347571" y="1411060"/>
                    <a:pt x="338820" y="1405185"/>
                  </a:cubicBezTo>
                  <a:cubicBezTo>
                    <a:pt x="255730" y="1349376"/>
                    <a:pt x="184100" y="1277751"/>
                    <a:pt x="128318" y="1194584"/>
                  </a:cubicBezTo>
                  <a:cubicBezTo>
                    <a:pt x="122446" y="1185828"/>
                    <a:pt x="125194" y="1173910"/>
                    <a:pt x="134321" y="1168637"/>
                  </a:cubicBezTo>
                  <a:close/>
                  <a:moveTo>
                    <a:pt x="18202" y="798631"/>
                  </a:moveTo>
                  <a:lnTo>
                    <a:pt x="333739" y="798631"/>
                  </a:lnTo>
                  <a:cubicBezTo>
                    <a:pt x="338462" y="854289"/>
                    <a:pt x="353650" y="906991"/>
                    <a:pt x="377363" y="954723"/>
                  </a:cubicBezTo>
                  <a:lnTo>
                    <a:pt x="102441" y="1113544"/>
                  </a:lnTo>
                  <a:cubicBezTo>
                    <a:pt x="93331" y="1118816"/>
                    <a:pt x="81644" y="1115258"/>
                    <a:pt x="76996" y="1105824"/>
                  </a:cubicBezTo>
                  <a:cubicBezTo>
                    <a:pt x="33766" y="1018063"/>
                    <a:pt x="6816" y="920849"/>
                    <a:pt x="41" y="818081"/>
                  </a:cubicBezTo>
                  <a:cubicBezTo>
                    <a:pt x="-656" y="807556"/>
                    <a:pt x="7682" y="798631"/>
                    <a:pt x="18202" y="798631"/>
                  </a:cubicBezTo>
                  <a:close/>
                  <a:moveTo>
                    <a:pt x="733022" y="440947"/>
                  </a:moveTo>
                  <a:lnTo>
                    <a:pt x="733022" y="627192"/>
                  </a:lnTo>
                  <a:lnTo>
                    <a:pt x="694597" y="638681"/>
                  </a:lnTo>
                  <a:cubicBezTo>
                    <a:pt x="652977" y="659505"/>
                    <a:pt x="623092" y="700871"/>
                    <a:pt x="618391" y="748942"/>
                  </a:cubicBezTo>
                  <a:cubicBezTo>
                    <a:pt x="612336" y="810922"/>
                    <a:pt x="647367" y="865710"/>
                    <a:pt x="699416" y="889231"/>
                  </a:cubicBezTo>
                  <a:lnTo>
                    <a:pt x="733022" y="896448"/>
                  </a:lnTo>
                  <a:lnTo>
                    <a:pt x="733022" y="1083871"/>
                  </a:lnTo>
                  <a:lnTo>
                    <a:pt x="691051" y="1079617"/>
                  </a:lnTo>
                  <a:cubicBezTo>
                    <a:pt x="543639" y="1049300"/>
                    <a:pt x="432521" y="918253"/>
                    <a:pt x="433014" y="761820"/>
                  </a:cubicBezTo>
                  <a:cubicBezTo>
                    <a:pt x="433475" y="612208"/>
                    <a:pt x="537754" y="484162"/>
                    <a:pt x="678170" y="449027"/>
                  </a:cubicBezTo>
                  <a:close/>
                  <a:moveTo>
                    <a:pt x="88045" y="418365"/>
                  </a:moveTo>
                  <a:cubicBezTo>
                    <a:pt x="92687" y="416955"/>
                    <a:pt x="97886" y="417384"/>
                    <a:pt x="102441" y="420020"/>
                  </a:cubicBezTo>
                  <a:lnTo>
                    <a:pt x="372960" y="576281"/>
                  </a:lnTo>
                  <a:cubicBezTo>
                    <a:pt x="350187" y="624934"/>
                    <a:pt x="336185" y="678503"/>
                    <a:pt x="332873" y="734971"/>
                  </a:cubicBezTo>
                  <a:lnTo>
                    <a:pt x="18202" y="734971"/>
                  </a:lnTo>
                  <a:cubicBezTo>
                    <a:pt x="7682" y="734971"/>
                    <a:pt x="-656" y="726045"/>
                    <a:pt x="41" y="715520"/>
                  </a:cubicBezTo>
                  <a:cubicBezTo>
                    <a:pt x="6816" y="612752"/>
                    <a:pt x="33766" y="515501"/>
                    <a:pt x="76996" y="427739"/>
                  </a:cubicBezTo>
                  <a:cubicBezTo>
                    <a:pt x="79320" y="423023"/>
                    <a:pt x="83404" y="419775"/>
                    <a:pt x="88045" y="418365"/>
                  </a:cubicBezTo>
                  <a:close/>
                  <a:moveTo>
                    <a:pt x="353092" y="125773"/>
                  </a:moveTo>
                  <a:cubicBezTo>
                    <a:pt x="357823" y="126868"/>
                    <a:pt x="362119" y="129838"/>
                    <a:pt x="364754" y="134404"/>
                  </a:cubicBezTo>
                  <a:lnTo>
                    <a:pt x="519455" y="402471"/>
                  </a:lnTo>
                  <a:cubicBezTo>
                    <a:pt x="473873" y="434122"/>
                    <a:pt x="434652" y="474359"/>
                    <a:pt x="404069" y="520735"/>
                  </a:cubicBezTo>
                  <a:lnTo>
                    <a:pt x="134359" y="364945"/>
                  </a:lnTo>
                  <a:cubicBezTo>
                    <a:pt x="125231" y="359673"/>
                    <a:pt x="122484" y="347754"/>
                    <a:pt x="128356" y="338999"/>
                  </a:cubicBezTo>
                  <a:cubicBezTo>
                    <a:pt x="184138" y="255869"/>
                    <a:pt x="255730" y="184244"/>
                    <a:pt x="338820" y="128398"/>
                  </a:cubicBezTo>
                  <a:cubicBezTo>
                    <a:pt x="343196" y="125460"/>
                    <a:pt x="348362" y="124679"/>
                    <a:pt x="353092" y="125773"/>
                  </a:cubicBezTo>
                  <a:close/>
                  <a:moveTo>
                    <a:pt x="715183" y="41"/>
                  </a:moveTo>
                  <a:lnTo>
                    <a:pt x="715202" y="41"/>
                  </a:lnTo>
                  <a:cubicBezTo>
                    <a:pt x="720453" y="-308"/>
                    <a:pt x="725313" y="1599"/>
                    <a:pt x="728860" y="4910"/>
                  </a:cubicBezTo>
                  <a:lnTo>
                    <a:pt x="733022" y="14482"/>
                  </a:lnTo>
                  <a:lnTo>
                    <a:pt x="733022" y="325990"/>
                  </a:lnTo>
                  <a:lnTo>
                    <a:pt x="651303" y="340329"/>
                  </a:lnTo>
                  <a:cubicBezTo>
                    <a:pt x="624470" y="347792"/>
                    <a:pt x="598678" y="357762"/>
                    <a:pt x="574202" y="369991"/>
                  </a:cubicBezTo>
                  <a:lnTo>
                    <a:pt x="419821" y="102489"/>
                  </a:lnTo>
                  <a:cubicBezTo>
                    <a:pt x="414552" y="93357"/>
                    <a:pt x="418090" y="81683"/>
                    <a:pt x="427538" y="77032"/>
                  </a:cubicBezTo>
                  <a:cubicBezTo>
                    <a:pt x="515258" y="33801"/>
                    <a:pt x="612463" y="6819"/>
                    <a:pt x="715183" y="41"/>
                  </a:cubicBezTo>
                  <a:close/>
                </a:path>
              </a:pathLst>
            </a:custGeom>
            <a:gradFill>
              <a:gsLst>
                <a:gs pos="6000">
                  <a:srgbClr val="FF9248">
                    <a:alpha val="34000"/>
                  </a:srgbClr>
                </a:gs>
                <a:gs pos="77000">
                  <a:schemeClr val="accent4">
                    <a:alpha val="29000"/>
                  </a:schemeClr>
                </a:gs>
              </a:gsLst>
              <a:lin ang="3343960" scaled="1"/>
            </a:gradFill>
            <a:ln w="5992" cap="flat">
              <a:noFill/>
              <a:prstDash val="solid"/>
              <a:miter/>
            </a:ln>
          </p:spPr>
          <p:txBody>
            <a:bodyPr wrap="square" rtlCol="0" anchor="ctr">
              <a:noAutofit/>
            </a:bodyPr>
            <a:lstStyle/>
            <a:p>
              <a:endParaRPr lang="en-US"/>
            </a:p>
          </p:txBody>
        </p:sp>
        <p:sp>
          <p:nvSpPr>
            <p:cNvPr id="8" name="Donut 7">
              <a:extLst>
                <a:ext uri="{FF2B5EF4-FFF2-40B4-BE49-F238E27FC236}">
                  <a16:creationId xmlns:a16="http://schemas.microsoft.com/office/drawing/2014/main" id="{0F7C416D-805C-DD02-0EE6-47278DC893F6}"/>
                </a:ext>
              </a:extLst>
            </p:cNvPr>
            <p:cNvSpPr/>
            <p:nvPr/>
          </p:nvSpPr>
          <p:spPr bwMode="auto">
            <a:xfrm>
              <a:off x="11207931" y="1255577"/>
              <a:ext cx="385156" cy="385156"/>
            </a:xfrm>
            <a:prstGeom prst="donut">
              <a:avLst/>
            </a:prstGeom>
            <a:gradFill>
              <a:gsLst>
                <a:gs pos="6000">
                  <a:srgbClr val="FF9248">
                    <a:alpha val="34000"/>
                  </a:srgbClr>
                </a:gs>
                <a:gs pos="77000">
                  <a:schemeClr val="accent4">
                    <a:alpha val="29000"/>
                  </a:schemeClr>
                </a:gs>
              </a:gsLst>
              <a:lin ang="3343960" scaled="1"/>
            </a:gradFill>
            <a:ln w="5992" cap="flat">
              <a:noFill/>
              <a:prstDash val="solid"/>
              <a:miter/>
            </a:ln>
          </p:spPr>
          <p:txBody>
            <a:bodyPr wrap="square" rtlCol="0" anchor="ctr">
              <a:noAutofit/>
            </a:bodyPr>
            <a:lstStyle/>
            <a:p>
              <a:endParaRPr lang="en-US" err="1">
                <a:solidFill>
                  <a:schemeClr val="tx1"/>
                </a:solidFill>
              </a:endParaRPr>
            </a:p>
          </p:txBody>
        </p:sp>
      </p:grpSp>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389555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1_Three Column Bullet with Subtitles">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CA335B40-4663-EFBB-D7FF-A2005EB585A9}"/>
              </a:ext>
            </a:extLst>
          </p:cNvPr>
          <p:cNvGrpSpPr/>
          <p:nvPr userDrawn="1"/>
        </p:nvGrpSpPr>
        <p:grpSpPr>
          <a:xfrm>
            <a:off x="11207931" y="114223"/>
            <a:ext cx="984069" cy="1526510"/>
            <a:chOff x="11207931" y="114223"/>
            <a:chExt cx="984069" cy="1526510"/>
          </a:xfrm>
        </p:grpSpPr>
        <p:sp>
          <p:nvSpPr>
            <p:cNvPr id="4" name="Freeform 3">
              <a:extLst>
                <a:ext uri="{FF2B5EF4-FFF2-40B4-BE49-F238E27FC236}">
                  <a16:creationId xmlns:a16="http://schemas.microsoft.com/office/drawing/2014/main" id="{0010139C-AA38-D4D9-1934-285600DA1128}"/>
                </a:ext>
              </a:extLst>
            </p:cNvPr>
            <p:cNvSpPr/>
            <p:nvPr/>
          </p:nvSpPr>
          <p:spPr bwMode="auto">
            <a:xfrm>
              <a:off x="11683516" y="209494"/>
              <a:ext cx="508484" cy="1049410"/>
            </a:xfrm>
            <a:custGeom>
              <a:avLst/>
              <a:gdLst>
                <a:gd name="connsiteX0" fmla="*/ 508484 w 508484"/>
                <a:gd name="connsiteY0" fmla="*/ 0 h 1049410"/>
                <a:gd name="connsiteX1" fmla="*/ 508484 w 508484"/>
                <a:gd name="connsiteY1" fmla="*/ 1049410 h 1049410"/>
                <a:gd name="connsiteX2" fmla="*/ 420411 w 508484"/>
                <a:gd name="connsiteY2" fmla="*/ 1040532 h 1049410"/>
                <a:gd name="connsiteX3" fmla="*/ 0 w 508484"/>
                <a:gd name="connsiteY3" fmla="*/ 524705 h 1049410"/>
                <a:gd name="connsiteX4" fmla="*/ 420411 w 508484"/>
                <a:gd name="connsiteY4" fmla="*/ 8878 h 1049410"/>
                <a:gd name="connsiteX5" fmla="*/ 508484 w 508484"/>
                <a:gd name="connsiteY5" fmla="*/ 0 h 1049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8484" h="1049410">
                  <a:moveTo>
                    <a:pt x="508484" y="0"/>
                  </a:moveTo>
                  <a:lnTo>
                    <a:pt x="508484" y="1049410"/>
                  </a:lnTo>
                  <a:lnTo>
                    <a:pt x="420411" y="1040532"/>
                  </a:lnTo>
                  <a:cubicBezTo>
                    <a:pt x="180483" y="991436"/>
                    <a:pt x="0" y="779147"/>
                    <a:pt x="0" y="524705"/>
                  </a:cubicBezTo>
                  <a:cubicBezTo>
                    <a:pt x="0" y="270263"/>
                    <a:pt x="180483" y="57975"/>
                    <a:pt x="420411" y="8878"/>
                  </a:cubicBezTo>
                  <a:lnTo>
                    <a:pt x="508484" y="0"/>
                  </a:lnTo>
                  <a:close/>
                </a:path>
              </a:pathLst>
            </a:custGeom>
            <a:solidFill>
              <a:schemeClr val="accent5">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 name="Freeform 4">
              <a:extLst>
                <a:ext uri="{FF2B5EF4-FFF2-40B4-BE49-F238E27FC236}">
                  <a16:creationId xmlns:a16="http://schemas.microsoft.com/office/drawing/2014/main" id="{4BA0644E-0050-4E34-83F3-D7859C917449}"/>
                </a:ext>
              </a:extLst>
            </p:cNvPr>
            <p:cNvSpPr/>
            <p:nvPr/>
          </p:nvSpPr>
          <p:spPr>
            <a:xfrm>
              <a:off x="11593087" y="114223"/>
              <a:ext cx="598913" cy="1253024"/>
            </a:xfrm>
            <a:custGeom>
              <a:avLst/>
              <a:gdLst>
                <a:gd name="connsiteX0" fmla="*/ 579415 w 733022"/>
                <a:gd name="connsiteY0" fmla="*/ 1154516 h 1533601"/>
                <a:gd name="connsiteX1" fmla="*/ 654140 w 733022"/>
                <a:gd name="connsiteY1" fmla="*/ 1182331 h 1533601"/>
                <a:gd name="connsiteX2" fmla="*/ 733022 w 733022"/>
                <a:gd name="connsiteY2" fmla="*/ 1195890 h 1533601"/>
                <a:gd name="connsiteX3" fmla="*/ 733022 w 733022"/>
                <a:gd name="connsiteY3" fmla="*/ 1519078 h 1533601"/>
                <a:gd name="connsiteX4" fmla="*/ 728849 w 733022"/>
                <a:gd name="connsiteY4" fmla="*/ 1528684 h 1533601"/>
                <a:gd name="connsiteX5" fmla="*/ 715183 w 733022"/>
                <a:gd name="connsiteY5" fmla="*/ 1533561 h 1533601"/>
                <a:gd name="connsiteX6" fmla="*/ 427500 w 733022"/>
                <a:gd name="connsiteY6" fmla="*/ 1456569 h 1533601"/>
                <a:gd name="connsiteX7" fmla="*/ 427481 w 733022"/>
                <a:gd name="connsiteY7" fmla="*/ 1456569 h 1533601"/>
                <a:gd name="connsiteX8" fmla="*/ 419765 w 733022"/>
                <a:gd name="connsiteY8" fmla="*/ 1431112 h 1533601"/>
                <a:gd name="connsiteX9" fmla="*/ 409753 w 733022"/>
                <a:gd name="connsiteY9" fmla="*/ 1009571 h 1533601"/>
                <a:gd name="connsiteX10" fmla="*/ 524291 w 733022"/>
                <a:gd name="connsiteY10" fmla="*/ 1122789 h 1533601"/>
                <a:gd name="connsiteX11" fmla="*/ 364754 w 733022"/>
                <a:gd name="connsiteY11" fmla="*/ 1399179 h 1533601"/>
                <a:gd name="connsiteX12" fmla="*/ 338820 w 733022"/>
                <a:gd name="connsiteY12" fmla="*/ 1405185 h 1533601"/>
                <a:gd name="connsiteX13" fmla="*/ 128318 w 733022"/>
                <a:gd name="connsiteY13" fmla="*/ 1194584 h 1533601"/>
                <a:gd name="connsiteX14" fmla="*/ 134321 w 733022"/>
                <a:gd name="connsiteY14" fmla="*/ 1168637 h 1533601"/>
                <a:gd name="connsiteX15" fmla="*/ 18202 w 733022"/>
                <a:gd name="connsiteY15" fmla="*/ 798631 h 1533601"/>
                <a:gd name="connsiteX16" fmla="*/ 333739 w 733022"/>
                <a:gd name="connsiteY16" fmla="*/ 798631 h 1533601"/>
                <a:gd name="connsiteX17" fmla="*/ 377363 w 733022"/>
                <a:gd name="connsiteY17" fmla="*/ 954723 h 1533601"/>
                <a:gd name="connsiteX18" fmla="*/ 102441 w 733022"/>
                <a:gd name="connsiteY18" fmla="*/ 1113544 h 1533601"/>
                <a:gd name="connsiteX19" fmla="*/ 76996 w 733022"/>
                <a:gd name="connsiteY19" fmla="*/ 1105824 h 1533601"/>
                <a:gd name="connsiteX20" fmla="*/ 41 w 733022"/>
                <a:gd name="connsiteY20" fmla="*/ 818081 h 1533601"/>
                <a:gd name="connsiteX21" fmla="*/ 18202 w 733022"/>
                <a:gd name="connsiteY21" fmla="*/ 798631 h 1533601"/>
                <a:gd name="connsiteX22" fmla="*/ 733022 w 733022"/>
                <a:gd name="connsiteY22" fmla="*/ 440947 h 1533601"/>
                <a:gd name="connsiteX23" fmla="*/ 733022 w 733022"/>
                <a:gd name="connsiteY23" fmla="*/ 627192 h 1533601"/>
                <a:gd name="connsiteX24" fmla="*/ 694597 w 733022"/>
                <a:gd name="connsiteY24" fmla="*/ 638681 h 1533601"/>
                <a:gd name="connsiteX25" fmla="*/ 618391 w 733022"/>
                <a:gd name="connsiteY25" fmla="*/ 748942 h 1533601"/>
                <a:gd name="connsiteX26" fmla="*/ 699416 w 733022"/>
                <a:gd name="connsiteY26" fmla="*/ 889231 h 1533601"/>
                <a:gd name="connsiteX27" fmla="*/ 733022 w 733022"/>
                <a:gd name="connsiteY27" fmla="*/ 896448 h 1533601"/>
                <a:gd name="connsiteX28" fmla="*/ 733022 w 733022"/>
                <a:gd name="connsiteY28" fmla="*/ 1083871 h 1533601"/>
                <a:gd name="connsiteX29" fmla="*/ 691051 w 733022"/>
                <a:gd name="connsiteY29" fmla="*/ 1079617 h 1533601"/>
                <a:gd name="connsiteX30" fmla="*/ 433014 w 733022"/>
                <a:gd name="connsiteY30" fmla="*/ 761820 h 1533601"/>
                <a:gd name="connsiteX31" fmla="*/ 678170 w 733022"/>
                <a:gd name="connsiteY31" fmla="*/ 449027 h 1533601"/>
                <a:gd name="connsiteX32" fmla="*/ 88045 w 733022"/>
                <a:gd name="connsiteY32" fmla="*/ 418365 h 1533601"/>
                <a:gd name="connsiteX33" fmla="*/ 102441 w 733022"/>
                <a:gd name="connsiteY33" fmla="*/ 420020 h 1533601"/>
                <a:gd name="connsiteX34" fmla="*/ 372960 w 733022"/>
                <a:gd name="connsiteY34" fmla="*/ 576281 h 1533601"/>
                <a:gd name="connsiteX35" fmla="*/ 332873 w 733022"/>
                <a:gd name="connsiteY35" fmla="*/ 734971 h 1533601"/>
                <a:gd name="connsiteX36" fmla="*/ 18202 w 733022"/>
                <a:gd name="connsiteY36" fmla="*/ 734971 h 1533601"/>
                <a:gd name="connsiteX37" fmla="*/ 41 w 733022"/>
                <a:gd name="connsiteY37" fmla="*/ 715520 h 1533601"/>
                <a:gd name="connsiteX38" fmla="*/ 76996 w 733022"/>
                <a:gd name="connsiteY38" fmla="*/ 427739 h 1533601"/>
                <a:gd name="connsiteX39" fmla="*/ 88045 w 733022"/>
                <a:gd name="connsiteY39" fmla="*/ 418365 h 1533601"/>
                <a:gd name="connsiteX40" fmla="*/ 353092 w 733022"/>
                <a:gd name="connsiteY40" fmla="*/ 125773 h 1533601"/>
                <a:gd name="connsiteX41" fmla="*/ 364754 w 733022"/>
                <a:gd name="connsiteY41" fmla="*/ 134404 h 1533601"/>
                <a:gd name="connsiteX42" fmla="*/ 519455 w 733022"/>
                <a:gd name="connsiteY42" fmla="*/ 402471 h 1533601"/>
                <a:gd name="connsiteX43" fmla="*/ 404069 w 733022"/>
                <a:gd name="connsiteY43" fmla="*/ 520735 h 1533601"/>
                <a:gd name="connsiteX44" fmla="*/ 134359 w 733022"/>
                <a:gd name="connsiteY44" fmla="*/ 364945 h 1533601"/>
                <a:gd name="connsiteX45" fmla="*/ 128356 w 733022"/>
                <a:gd name="connsiteY45" fmla="*/ 338999 h 1533601"/>
                <a:gd name="connsiteX46" fmla="*/ 338820 w 733022"/>
                <a:gd name="connsiteY46" fmla="*/ 128398 h 1533601"/>
                <a:gd name="connsiteX47" fmla="*/ 353092 w 733022"/>
                <a:gd name="connsiteY47" fmla="*/ 125773 h 1533601"/>
                <a:gd name="connsiteX48" fmla="*/ 715183 w 733022"/>
                <a:gd name="connsiteY48" fmla="*/ 41 h 1533601"/>
                <a:gd name="connsiteX49" fmla="*/ 715202 w 733022"/>
                <a:gd name="connsiteY49" fmla="*/ 41 h 1533601"/>
                <a:gd name="connsiteX50" fmla="*/ 728860 w 733022"/>
                <a:gd name="connsiteY50" fmla="*/ 4910 h 1533601"/>
                <a:gd name="connsiteX51" fmla="*/ 733022 w 733022"/>
                <a:gd name="connsiteY51" fmla="*/ 14482 h 1533601"/>
                <a:gd name="connsiteX52" fmla="*/ 733022 w 733022"/>
                <a:gd name="connsiteY52" fmla="*/ 325990 h 1533601"/>
                <a:gd name="connsiteX53" fmla="*/ 651303 w 733022"/>
                <a:gd name="connsiteY53" fmla="*/ 340329 h 1533601"/>
                <a:gd name="connsiteX54" fmla="*/ 574202 w 733022"/>
                <a:gd name="connsiteY54" fmla="*/ 369991 h 1533601"/>
                <a:gd name="connsiteX55" fmla="*/ 419821 w 733022"/>
                <a:gd name="connsiteY55" fmla="*/ 102489 h 1533601"/>
                <a:gd name="connsiteX56" fmla="*/ 427538 w 733022"/>
                <a:gd name="connsiteY56" fmla="*/ 77032 h 1533601"/>
                <a:gd name="connsiteX57" fmla="*/ 715183 w 733022"/>
                <a:gd name="connsiteY57" fmla="*/ 41 h 1533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733022" h="1533601">
                  <a:moveTo>
                    <a:pt x="579415" y="1154516"/>
                  </a:moveTo>
                  <a:cubicBezTo>
                    <a:pt x="603213" y="1165954"/>
                    <a:pt x="628197" y="1175308"/>
                    <a:pt x="654140" y="1182331"/>
                  </a:cubicBezTo>
                  <a:lnTo>
                    <a:pt x="733022" y="1195890"/>
                  </a:lnTo>
                  <a:lnTo>
                    <a:pt x="733022" y="1519078"/>
                  </a:lnTo>
                  <a:lnTo>
                    <a:pt x="728849" y="1528684"/>
                  </a:lnTo>
                  <a:cubicBezTo>
                    <a:pt x="725303" y="1531998"/>
                    <a:pt x="720443" y="1533909"/>
                    <a:pt x="715183" y="1533561"/>
                  </a:cubicBezTo>
                  <a:cubicBezTo>
                    <a:pt x="612463" y="1526782"/>
                    <a:pt x="515258" y="1499819"/>
                    <a:pt x="427500" y="1456569"/>
                  </a:cubicBezTo>
                  <a:lnTo>
                    <a:pt x="427481" y="1456569"/>
                  </a:lnTo>
                  <a:cubicBezTo>
                    <a:pt x="418052" y="1451918"/>
                    <a:pt x="414495" y="1440226"/>
                    <a:pt x="419765" y="1431112"/>
                  </a:cubicBezTo>
                  <a:close/>
                  <a:moveTo>
                    <a:pt x="409753" y="1009571"/>
                  </a:moveTo>
                  <a:cubicBezTo>
                    <a:pt x="440580" y="1054045"/>
                    <a:pt x="479424" y="1092456"/>
                    <a:pt x="524291" y="1122789"/>
                  </a:cubicBezTo>
                  <a:lnTo>
                    <a:pt x="364754" y="1399179"/>
                  </a:lnTo>
                  <a:cubicBezTo>
                    <a:pt x="359484" y="1408311"/>
                    <a:pt x="347571" y="1411060"/>
                    <a:pt x="338820" y="1405185"/>
                  </a:cubicBezTo>
                  <a:cubicBezTo>
                    <a:pt x="255730" y="1349376"/>
                    <a:pt x="184100" y="1277751"/>
                    <a:pt x="128318" y="1194584"/>
                  </a:cubicBezTo>
                  <a:cubicBezTo>
                    <a:pt x="122446" y="1185828"/>
                    <a:pt x="125194" y="1173910"/>
                    <a:pt x="134321" y="1168637"/>
                  </a:cubicBezTo>
                  <a:close/>
                  <a:moveTo>
                    <a:pt x="18202" y="798631"/>
                  </a:moveTo>
                  <a:lnTo>
                    <a:pt x="333739" y="798631"/>
                  </a:lnTo>
                  <a:cubicBezTo>
                    <a:pt x="338462" y="854289"/>
                    <a:pt x="353650" y="906991"/>
                    <a:pt x="377363" y="954723"/>
                  </a:cubicBezTo>
                  <a:lnTo>
                    <a:pt x="102441" y="1113544"/>
                  </a:lnTo>
                  <a:cubicBezTo>
                    <a:pt x="93331" y="1118816"/>
                    <a:pt x="81644" y="1115258"/>
                    <a:pt x="76996" y="1105824"/>
                  </a:cubicBezTo>
                  <a:cubicBezTo>
                    <a:pt x="33766" y="1018063"/>
                    <a:pt x="6816" y="920849"/>
                    <a:pt x="41" y="818081"/>
                  </a:cubicBezTo>
                  <a:cubicBezTo>
                    <a:pt x="-656" y="807556"/>
                    <a:pt x="7682" y="798631"/>
                    <a:pt x="18202" y="798631"/>
                  </a:cubicBezTo>
                  <a:close/>
                  <a:moveTo>
                    <a:pt x="733022" y="440947"/>
                  </a:moveTo>
                  <a:lnTo>
                    <a:pt x="733022" y="627192"/>
                  </a:lnTo>
                  <a:lnTo>
                    <a:pt x="694597" y="638681"/>
                  </a:lnTo>
                  <a:cubicBezTo>
                    <a:pt x="652977" y="659505"/>
                    <a:pt x="623092" y="700871"/>
                    <a:pt x="618391" y="748942"/>
                  </a:cubicBezTo>
                  <a:cubicBezTo>
                    <a:pt x="612336" y="810922"/>
                    <a:pt x="647367" y="865710"/>
                    <a:pt x="699416" y="889231"/>
                  </a:cubicBezTo>
                  <a:lnTo>
                    <a:pt x="733022" y="896448"/>
                  </a:lnTo>
                  <a:lnTo>
                    <a:pt x="733022" y="1083871"/>
                  </a:lnTo>
                  <a:lnTo>
                    <a:pt x="691051" y="1079617"/>
                  </a:lnTo>
                  <a:cubicBezTo>
                    <a:pt x="543639" y="1049300"/>
                    <a:pt x="432521" y="918253"/>
                    <a:pt x="433014" y="761820"/>
                  </a:cubicBezTo>
                  <a:cubicBezTo>
                    <a:pt x="433475" y="612208"/>
                    <a:pt x="537754" y="484162"/>
                    <a:pt x="678170" y="449027"/>
                  </a:cubicBezTo>
                  <a:close/>
                  <a:moveTo>
                    <a:pt x="88045" y="418365"/>
                  </a:moveTo>
                  <a:cubicBezTo>
                    <a:pt x="92687" y="416955"/>
                    <a:pt x="97886" y="417384"/>
                    <a:pt x="102441" y="420020"/>
                  </a:cubicBezTo>
                  <a:lnTo>
                    <a:pt x="372960" y="576281"/>
                  </a:lnTo>
                  <a:cubicBezTo>
                    <a:pt x="350187" y="624934"/>
                    <a:pt x="336185" y="678503"/>
                    <a:pt x="332873" y="734971"/>
                  </a:cubicBezTo>
                  <a:lnTo>
                    <a:pt x="18202" y="734971"/>
                  </a:lnTo>
                  <a:cubicBezTo>
                    <a:pt x="7682" y="734971"/>
                    <a:pt x="-656" y="726045"/>
                    <a:pt x="41" y="715520"/>
                  </a:cubicBezTo>
                  <a:cubicBezTo>
                    <a:pt x="6816" y="612752"/>
                    <a:pt x="33766" y="515501"/>
                    <a:pt x="76996" y="427739"/>
                  </a:cubicBezTo>
                  <a:cubicBezTo>
                    <a:pt x="79320" y="423023"/>
                    <a:pt x="83404" y="419775"/>
                    <a:pt x="88045" y="418365"/>
                  </a:cubicBezTo>
                  <a:close/>
                  <a:moveTo>
                    <a:pt x="353092" y="125773"/>
                  </a:moveTo>
                  <a:cubicBezTo>
                    <a:pt x="357823" y="126868"/>
                    <a:pt x="362119" y="129838"/>
                    <a:pt x="364754" y="134404"/>
                  </a:cubicBezTo>
                  <a:lnTo>
                    <a:pt x="519455" y="402471"/>
                  </a:lnTo>
                  <a:cubicBezTo>
                    <a:pt x="473873" y="434122"/>
                    <a:pt x="434652" y="474359"/>
                    <a:pt x="404069" y="520735"/>
                  </a:cubicBezTo>
                  <a:lnTo>
                    <a:pt x="134359" y="364945"/>
                  </a:lnTo>
                  <a:cubicBezTo>
                    <a:pt x="125231" y="359673"/>
                    <a:pt x="122484" y="347754"/>
                    <a:pt x="128356" y="338999"/>
                  </a:cubicBezTo>
                  <a:cubicBezTo>
                    <a:pt x="184138" y="255869"/>
                    <a:pt x="255730" y="184244"/>
                    <a:pt x="338820" y="128398"/>
                  </a:cubicBezTo>
                  <a:cubicBezTo>
                    <a:pt x="343196" y="125460"/>
                    <a:pt x="348362" y="124679"/>
                    <a:pt x="353092" y="125773"/>
                  </a:cubicBezTo>
                  <a:close/>
                  <a:moveTo>
                    <a:pt x="715183" y="41"/>
                  </a:moveTo>
                  <a:lnTo>
                    <a:pt x="715202" y="41"/>
                  </a:lnTo>
                  <a:cubicBezTo>
                    <a:pt x="720453" y="-308"/>
                    <a:pt x="725313" y="1599"/>
                    <a:pt x="728860" y="4910"/>
                  </a:cubicBezTo>
                  <a:lnTo>
                    <a:pt x="733022" y="14482"/>
                  </a:lnTo>
                  <a:lnTo>
                    <a:pt x="733022" y="325990"/>
                  </a:lnTo>
                  <a:lnTo>
                    <a:pt x="651303" y="340329"/>
                  </a:lnTo>
                  <a:cubicBezTo>
                    <a:pt x="624470" y="347792"/>
                    <a:pt x="598678" y="357762"/>
                    <a:pt x="574202" y="369991"/>
                  </a:cubicBezTo>
                  <a:lnTo>
                    <a:pt x="419821" y="102489"/>
                  </a:lnTo>
                  <a:cubicBezTo>
                    <a:pt x="414552" y="93357"/>
                    <a:pt x="418090" y="81683"/>
                    <a:pt x="427538" y="77032"/>
                  </a:cubicBezTo>
                  <a:cubicBezTo>
                    <a:pt x="515258" y="33801"/>
                    <a:pt x="612463" y="6819"/>
                    <a:pt x="715183" y="41"/>
                  </a:cubicBezTo>
                  <a:close/>
                </a:path>
              </a:pathLst>
            </a:custGeom>
            <a:gradFill>
              <a:gsLst>
                <a:gs pos="6000">
                  <a:srgbClr val="FF9248">
                    <a:alpha val="34000"/>
                  </a:srgbClr>
                </a:gs>
                <a:gs pos="77000">
                  <a:schemeClr val="accent4">
                    <a:alpha val="29000"/>
                  </a:schemeClr>
                </a:gs>
              </a:gsLst>
              <a:lin ang="3343960" scaled="1"/>
            </a:gradFill>
            <a:ln w="5992" cap="flat">
              <a:noFill/>
              <a:prstDash val="solid"/>
              <a:miter/>
            </a:ln>
          </p:spPr>
          <p:txBody>
            <a:bodyPr wrap="square" rtlCol="0" anchor="ctr">
              <a:noAutofit/>
            </a:bodyPr>
            <a:lstStyle/>
            <a:p>
              <a:endParaRPr lang="en-US"/>
            </a:p>
          </p:txBody>
        </p:sp>
        <p:sp>
          <p:nvSpPr>
            <p:cNvPr id="6" name="Donut 5">
              <a:extLst>
                <a:ext uri="{FF2B5EF4-FFF2-40B4-BE49-F238E27FC236}">
                  <a16:creationId xmlns:a16="http://schemas.microsoft.com/office/drawing/2014/main" id="{F9B25F74-D488-3925-A81C-2079010E937A}"/>
                </a:ext>
              </a:extLst>
            </p:cNvPr>
            <p:cNvSpPr/>
            <p:nvPr/>
          </p:nvSpPr>
          <p:spPr bwMode="auto">
            <a:xfrm>
              <a:off x="11207931" y="1255577"/>
              <a:ext cx="385156" cy="385156"/>
            </a:xfrm>
            <a:prstGeom prst="donut">
              <a:avLst/>
            </a:prstGeom>
            <a:gradFill>
              <a:gsLst>
                <a:gs pos="6000">
                  <a:srgbClr val="FF9248">
                    <a:alpha val="34000"/>
                  </a:srgbClr>
                </a:gs>
                <a:gs pos="77000">
                  <a:schemeClr val="accent4">
                    <a:alpha val="29000"/>
                  </a:schemeClr>
                </a:gs>
              </a:gsLst>
              <a:lin ang="3343960" scaled="1"/>
            </a:gradFill>
            <a:ln w="5992" cap="flat">
              <a:noFill/>
              <a:prstDash val="solid"/>
              <a:miter/>
            </a:ln>
          </p:spPr>
          <p:txBody>
            <a:bodyPr wrap="square" rtlCol="0" anchor="ctr">
              <a:noAutofit/>
            </a:bodyPr>
            <a:lstStyle/>
            <a:p>
              <a:endParaRPr lang="en-US" err="1">
                <a:solidFill>
                  <a:schemeClr val="tx1"/>
                </a:solidFill>
              </a:endParaRPr>
            </a:p>
          </p:txBody>
        </p:sp>
      </p:grpSp>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89865927"/>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1_Blank">
    <p:bg>
      <p:bgPr>
        <a:solidFill>
          <a:schemeClr val="bg1"/>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10CBB6B4-66DA-4519-5FB5-EB6DEA459E88}"/>
              </a:ext>
            </a:extLst>
          </p:cNvPr>
          <p:cNvGrpSpPr/>
          <p:nvPr userDrawn="1"/>
        </p:nvGrpSpPr>
        <p:grpSpPr>
          <a:xfrm>
            <a:off x="11207931" y="114223"/>
            <a:ext cx="984069" cy="1526510"/>
            <a:chOff x="11207931" y="114223"/>
            <a:chExt cx="984069" cy="1526510"/>
          </a:xfrm>
        </p:grpSpPr>
        <p:sp>
          <p:nvSpPr>
            <p:cNvPr id="3" name="Freeform 2">
              <a:extLst>
                <a:ext uri="{FF2B5EF4-FFF2-40B4-BE49-F238E27FC236}">
                  <a16:creationId xmlns:a16="http://schemas.microsoft.com/office/drawing/2014/main" id="{E9C76425-C8BB-F4BB-3D35-968EE98E6B21}"/>
                </a:ext>
              </a:extLst>
            </p:cNvPr>
            <p:cNvSpPr/>
            <p:nvPr/>
          </p:nvSpPr>
          <p:spPr bwMode="auto">
            <a:xfrm>
              <a:off x="11683516" y="209494"/>
              <a:ext cx="508484" cy="1049410"/>
            </a:xfrm>
            <a:custGeom>
              <a:avLst/>
              <a:gdLst>
                <a:gd name="connsiteX0" fmla="*/ 508484 w 508484"/>
                <a:gd name="connsiteY0" fmla="*/ 0 h 1049410"/>
                <a:gd name="connsiteX1" fmla="*/ 508484 w 508484"/>
                <a:gd name="connsiteY1" fmla="*/ 1049410 h 1049410"/>
                <a:gd name="connsiteX2" fmla="*/ 420411 w 508484"/>
                <a:gd name="connsiteY2" fmla="*/ 1040532 h 1049410"/>
                <a:gd name="connsiteX3" fmla="*/ 0 w 508484"/>
                <a:gd name="connsiteY3" fmla="*/ 524705 h 1049410"/>
                <a:gd name="connsiteX4" fmla="*/ 420411 w 508484"/>
                <a:gd name="connsiteY4" fmla="*/ 8878 h 1049410"/>
                <a:gd name="connsiteX5" fmla="*/ 508484 w 508484"/>
                <a:gd name="connsiteY5" fmla="*/ 0 h 1049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8484" h="1049410">
                  <a:moveTo>
                    <a:pt x="508484" y="0"/>
                  </a:moveTo>
                  <a:lnTo>
                    <a:pt x="508484" y="1049410"/>
                  </a:lnTo>
                  <a:lnTo>
                    <a:pt x="420411" y="1040532"/>
                  </a:lnTo>
                  <a:cubicBezTo>
                    <a:pt x="180483" y="991436"/>
                    <a:pt x="0" y="779147"/>
                    <a:pt x="0" y="524705"/>
                  </a:cubicBezTo>
                  <a:cubicBezTo>
                    <a:pt x="0" y="270263"/>
                    <a:pt x="180483" y="57975"/>
                    <a:pt x="420411" y="8878"/>
                  </a:cubicBezTo>
                  <a:lnTo>
                    <a:pt x="508484" y="0"/>
                  </a:lnTo>
                  <a:close/>
                </a:path>
              </a:pathLst>
            </a:custGeom>
            <a:solidFill>
              <a:schemeClr val="accent5">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4" name="Freeform 3">
              <a:extLst>
                <a:ext uri="{FF2B5EF4-FFF2-40B4-BE49-F238E27FC236}">
                  <a16:creationId xmlns:a16="http://schemas.microsoft.com/office/drawing/2014/main" id="{36C9734C-18B8-1E65-9A13-5D41E3CCC43E}"/>
                </a:ext>
              </a:extLst>
            </p:cNvPr>
            <p:cNvSpPr/>
            <p:nvPr/>
          </p:nvSpPr>
          <p:spPr>
            <a:xfrm>
              <a:off x="11593087" y="114223"/>
              <a:ext cx="598913" cy="1253024"/>
            </a:xfrm>
            <a:custGeom>
              <a:avLst/>
              <a:gdLst>
                <a:gd name="connsiteX0" fmla="*/ 579415 w 733022"/>
                <a:gd name="connsiteY0" fmla="*/ 1154516 h 1533601"/>
                <a:gd name="connsiteX1" fmla="*/ 654140 w 733022"/>
                <a:gd name="connsiteY1" fmla="*/ 1182331 h 1533601"/>
                <a:gd name="connsiteX2" fmla="*/ 733022 w 733022"/>
                <a:gd name="connsiteY2" fmla="*/ 1195890 h 1533601"/>
                <a:gd name="connsiteX3" fmla="*/ 733022 w 733022"/>
                <a:gd name="connsiteY3" fmla="*/ 1519078 h 1533601"/>
                <a:gd name="connsiteX4" fmla="*/ 728849 w 733022"/>
                <a:gd name="connsiteY4" fmla="*/ 1528684 h 1533601"/>
                <a:gd name="connsiteX5" fmla="*/ 715183 w 733022"/>
                <a:gd name="connsiteY5" fmla="*/ 1533561 h 1533601"/>
                <a:gd name="connsiteX6" fmla="*/ 427500 w 733022"/>
                <a:gd name="connsiteY6" fmla="*/ 1456569 h 1533601"/>
                <a:gd name="connsiteX7" fmla="*/ 427481 w 733022"/>
                <a:gd name="connsiteY7" fmla="*/ 1456569 h 1533601"/>
                <a:gd name="connsiteX8" fmla="*/ 419765 w 733022"/>
                <a:gd name="connsiteY8" fmla="*/ 1431112 h 1533601"/>
                <a:gd name="connsiteX9" fmla="*/ 409753 w 733022"/>
                <a:gd name="connsiteY9" fmla="*/ 1009571 h 1533601"/>
                <a:gd name="connsiteX10" fmla="*/ 524291 w 733022"/>
                <a:gd name="connsiteY10" fmla="*/ 1122789 h 1533601"/>
                <a:gd name="connsiteX11" fmla="*/ 364754 w 733022"/>
                <a:gd name="connsiteY11" fmla="*/ 1399179 h 1533601"/>
                <a:gd name="connsiteX12" fmla="*/ 338820 w 733022"/>
                <a:gd name="connsiteY12" fmla="*/ 1405185 h 1533601"/>
                <a:gd name="connsiteX13" fmla="*/ 128318 w 733022"/>
                <a:gd name="connsiteY13" fmla="*/ 1194584 h 1533601"/>
                <a:gd name="connsiteX14" fmla="*/ 134321 w 733022"/>
                <a:gd name="connsiteY14" fmla="*/ 1168637 h 1533601"/>
                <a:gd name="connsiteX15" fmla="*/ 18202 w 733022"/>
                <a:gd name="connsiteY15" fmla="*/ 798631 h 1533601"/>
                <a:gd name="connsiteX16" fmla="*/ 333739 w 733022"/>
                <a:gd name="connsiteY16" fmla="*/ 798631 h 1533601"/>
                <a:gd name="connsiteX17" fmla="*/ 377363 w 733022"/>
                <a:gd name="connsiteY17" fmla="*/ 954723 h 1533601"/>
                <a:gd name="connsiteX18" fmla="*/ 102441 w 733022"/>
                <a:gd name="connsiteY18" fmla="*/ 1113544 h 1533601"/>
                <a:gd name="connsiteX19" fmla="*/ 76996 w 733022"/>
                <a:gd name="connsiteY19" fmla="*/ 1105824 h 1533601"/>
                <a:gd name="connsiteX20" fmla="*/ 41 w 733022"/>
                <a:gd name="connsiteY20" fmla="*/ 818081 h 1533601"/>
                <a:gd name="connsiteX21" fmla="*/ 18202 w 733022"/>
                <a:gd name="connsiteY21" fmla="*/ 798631 h 1533601"/>
                <a:gd name="connsiteX22" fmla="*/ 733022 w 733022"/>
                <a:gd name="connsiteY22" fmla="*/ 440947 h 1533601"/>
                <a:gd name="connsiteX23" fmla="*/ 733022 w 733022"/>
                <a:gd name="connsiteY23" fmla="*/ 627192 h 1533601"/>
                <a:gd name="connsiteX24" fmla="*/ 694597 w 733022"/>
                <a:gd name="connsiteY24" fmla="*/ 638681 h 1533601"/>
                <a:gd name="connsiteX25" fmla="*/ 618391 w 733022"/>
                <a:gd name="connsiteY25" fmla="*/ 748942 h 1533601"/>
                <a:gd name="connsiteX26" fmla="*/ 699416 w 733022"/>
                <a:gd name="connsiteY26" fmla="*/ 889231 h 1533601"/>
                <a:gd name="connsiteX27" fmla="*/ 733022 w 733022"/>
                <a:gd name="connsiteY27" fmla="*/ 896448 h 1533601"/>
                <a:gd name="connsiteX28" fmla="*/ 733022 w 733022"/>
                <a:gd name="connsiteY28" fmla="*/ 1083871 h 1533601"/>
                <a:gd name="connsiteX29" fmla="*/ 691051 w 733022"/>
                <a:gd name="connsiteY29" fmla="*/ 1079617 h 1533601"/>
                <a:gd name="connsiteX30" fmla="*/ 433014 w 733022"/>
                <a:gd name="connsiteY30" fmla="*/ 761820 h 1533601"/>
                <a:gd name="connsiteX31" fmla="*/ 678170 w 733022"/>
                <a:gd name="connsiteY31" fmla="*/ 449027 h 1533601"/>
                <a:gd name="connsiteX32" fmla="*/ 88045 w 733022"/>
                <a:gd name="connsiteY32" fmla="*/ 418365 h 1533601"/>
                <a:gd name="connsiteX33" fmla="*/ 102441 w 733022"/>
                <a:gd name="connsiteY33" fmla="*/ 420020 h 1533601"/>
                <a:gd name="connsiteX34" fmla="*/ 372960 w 733022"/>
                <a:gd name="connsiteY34" fmla="*/ 576281 h 1533601"/>
                <a:gd name="connsiteX35" fmla="*/ 332873 w 733022"/>
                <a:gd name="connsiteY35" fmla="*/ 734971 h 1533601"/>
                <a:gd name="connsiteX36" fmla="*/ 18202 w 733022"/>
                <a:gd name="connsiteY36" fmla="*/ 734971 h 1533601"/>
                <a:gd name="connsiteX37" fmla="*/ 41 w 733022"/>
                <a:gd name="connsiteY37" fmla="*/ 715520 h 1533601"/>
                <a:gd name="connsiteX38" fmla="*/ 76996 w 733022"/>
                <a:gd name="connsiteY38" fmla="*/ 427739 h 1533601"/>
                <a:gd name="connsiteX39" fmla="*/ 88045 w 733022"/>
                <a:gd name="connsiteY39" fmla="*/ 418365 h 1533601"/>
                <a:gd name="connsiteX40" fmla="*/ 353092 w 733022"/>
                <a:gd name="connsiteY40" fmla="*/ 125773 h 1533601"/>
                <a:gd name="connsiteX41" fmla="*/ 364754 w 733022"/>
                <a:gd name="connsiteY41" fmla="*/ 134404 h 1533601"/>
                <a:gd name="connsiteX42" fmla="*/ 519455 w 733022"/>
                <a:gd name="connsiteY42" fmla="*/ 402471 h 1533601"/>
                <a:gd name="connsiteX43" fmla="*/ 404069 w 733022"/>
                <a:gd name="connsiteY43" fmla="*/ 520735 h 1533601"/>
                <a:gd name="connsiteX44" fmla="*/ 134359 w 733022"/>
                <a:gd name="connsiteY44" fmla="*/ 364945 h 1533601"/>
                <a:gd name="connsiteX45" fmla="*/ 128356 w 733022"/>
                <a:gd name="connsiteY45" fmla="*/ 338999 h 1533601"/>
                <a:gd name="connsiteX46" fmla="*/ 338820 w 733022"/>
                <a:gd name="connsiteY46" fmla="*/ 128398 h 1533601"/>
                <a:gd name="connsiteX47" fmla="*/ 353092 w 733022"/>
                <a:gd name="connsiteY47" fmla="*/ 125773 h 1533601"/>
                <a:gd name="connsiteX48" fmla="*/ 715183 w 733022"/>
                <a:gd name="connsiteY48" fmla="*/ 41 h 1533601"/>
                <a:gd name="connsiteX49" fmla="*/ 715202 w 733022"/>
                <a:gd name="connsiteY49" fmla="*/ 41 h 1533601"/>
                <a:gd name="connsiteX50" fmla="*/ 728860 w 733022"/>
                <a:gd name="connsiteY50" fmla="*/ 4910 h 1533601"/>
                <a:gd name="connsiteX51" fmla="*/ 733022 w 733022"/>
                <a:gd name="connsiteY51" fmla="*/ 14482 h 1533601"/>
                <a:gd name="connsiteX52" fmla="*/ 733022 w 733022"/>
                <a:gd name="connsiteY52" fmla="*/ 325990 h 1533601"/>
                <a:gd name="connsiteX53" fmla="*/ 651303 w 733022"/>
                <a:gd name="connsiteY53" fmla="*/ 340329 h 1533601"/>
                <a:gd name="connsiteX54" fmla="*/ 574202 w 733022"/>
                <a:gd name="connsiteY54" fmla="*/ 369991 h 1533601"/>
                <a:gd name="connsiteX55" fmla="*/ 419821 w 733022"/>
                <a:gd name="connsiteY55" fmla="*/ 102489 h 1533601"/>
                <a:gd name="connsiteX56" fmla="*/ 427538 w 733022"/>
                <a:gd name="connsiteY56" fmla="*/ 77032 h 1533601"/>
                <a:gd name="connsiteX57" fmla="*/ 715183 w 733022"/>
                <a:gd name="connsiteY57" fmla="*/ 41 h 1533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733022" h="1533601">
                  <a:moveTo>
                    <a:pt x="579415" y="1154516"/>
                  </a:moveTo>
                  <a:cubicBezTo>
                    <a:pt x="603213" y="1165954"/>
                    <a:pt x="628197" y="1175308"/>
                    <a:pt x="654140" y="1182331"/>
                  </a:cubicBezTo>
                  <a:lnTo>
                    <a:pt x="733022" y="1195890"/>
                  </a:lnTo>
                  <a:lnTo>
                    <a:pt x="733022" y="1519078"/>
                  </a:lnTo>
                  <a:lnTo>
                    <a:pt x="728849" y="1528684"/>
                  </a:lnTo>
                  <a:cubicBezTo>
                    <a:pt x="725303" y="1531998"/>
                    <a:pt x="720443" y="1533909"/>
                    <a:pt x="715183" y="1533561"/>
                  </a:cubicBezTo>
                  <a:cubicBezTo>
                    <a:pt x="612463" y="1526782"/>
                    <a:pt x="515258" y="1499819"/>
                    <a:pt x="427500" y="1456569"/>
                  </a:cubicBezTo>
                  <a:lnTo>
                    <a:pt x="427481" y="1456569"/>
                  </a:lnTo>
                  <a:cubicBezTo>
                    <a:pt x="418052" y="1451918"/>
                    <a:pt x="414495" y="1440226"/>
                    <a:pt x="419765" y="1431112"/>
                  </a:cubicBezTo>
                  <a:close/>
                  <a:moveTo>
                    <a:pt x="409753" y="1009571"/>
                  </a:moveTo>
                  <a:cubicBezTo>
                    <a:pt x="440580" y="1054045"/>
                    <a:pt x="479424" y="1092456"/>
                    <a:pt x="524291" y="1122789"/>
                  </a:cubicBezTo>
                  <a:lnTo>
                    <a:pt x="364754" y="1399179"/>
                  </a:lnTo>
                  <a:cubicBezTo>
                    <a:pt x="359484" y="1408311"/>
                    <a:pt x="347571" y="1411060"/>
                    <a:pt x="338820" y="1405185"/>
                  </a:cubicBezTo>
                  <a:cubicBezTo>
                    <a:pt x="255730" y="1349376"/>
                    <a:pt x="184100" y="1277751"/>
                    <a:pt x="128318" y="1194584"/>
                  </a:cubicBezTo>
                  <a:cubicBezTo>
                    <a:pt x="122446" y="1185828"/>
                    <a:pt x="125194" y="1173910"/>
                    <a:pt x="134321" y="1168637"/>
                  </a:cubicBezTo>
                  <a:close/>
                  <a:moveTo>
                    <a:pt x="18202" y="798631"/>
                  </a:moveTo>
                  <a:lnTo>
                    <a:pt x="333739" y="798631"/>
                  </a:lnTo>
                  <a:cubicBezTo>
                    <a:pt x="338462" y="854289"/>
                    <a:pt x="353650" y="906991"/>
                    <a:pt x="377363" y="954723"/>
                  </a:cubicBezTo>
                  <a:lnTo>
                    <a:pt x="102441" y="1113544"/>
                  </a:lnTo>
                  <a:cubicBezTo>
                    <a:pt x="93331" y="1118816"/>
                    <a:pt x="81644" y="1115258"/>
                    <a:pt x="76996" y="1105824"/>
                  </a:cubicBezTo>
                  <a:cubicBezTo>
                    <a:pt x="33766" y="1018063"/>
                    <a:pt x="6816" y="920849"/>
                    <a:pt x="41" y="818081"/>
                  </a:cubicBezTo>
                  <a:cubicBezTo>
                    <a:pt x="-656" y="807556"/>
                    <a:pt x="7682" y="798631"/>
                    <a:pt x="18202" y="798631"/>
                  </a:cubicBezTo>
                  <a:close/>
                  <a:moveTo>
                    <a:pt x="733022" y="440947"/>
                  </a:moveTo>
                  <a:lnTo>
                    <a:pt x="733022" y="627192"/>
                  </a:lnTo>
                  <a:lnTo>
                    <a:pt x="694597" y="638681"/>
                  </a:lnTo>
                  <a:cubicBezTo>
                    <a:pt x="652977" y="659505"/>
                    <a:pt x="623092" y="700871"/>
                    <a:pt x="618391" y="748942"/>
                  </a:cubicBezTo>
                  <a:cubicBezTo>
                    <a:pt x="612336" y="810922"/>
                    <a:pt x="647367" y="865710"/>
                    <a:pt x="699416" y="889231"/>
                  </a:cubicBezTo>
                  <a:lnTo>
                    <a:pt x="733022" y="896448"/>
                  </a:lnTo>
                  <a:lnTo>
                    <a:pt x="733022" y="1083871"/>
                  </a:lnTo>
                  <a:lnTo>
                    <a:pt x="691051" y="1079617"/>
                  </a:lnTo>
                  <a:cubicBezTo>
                    <a:pt x="543639" y="1049300"/>
                    <a:pt x="432521" y="918253"/>
                    <a:pt x="433014" y="761820"/>
                  </a:cubicBezTo>
                  <a:cubicBezTo>
                    <a:pt x="433475" y="612208"/>
                    <a:pt x="537754" y="484162"/>
                    <a:pt x="678170" y="449027"/>
                  </a:cubicBezTo>
                  <a:close/>
                  <a:moveTo>
                    <a:pt x="88045" y="418365"/>
                  </a:moveTo>
                  <a:cubicBezTo>
                    <a:pt x="92687" y="416955"/>
                    <a:pt x="97886" y="417384"/>
                    <a:pt x="102441" y="420020"/>
                  </a:cubicBezTo>
                  <a:lnTo>
                    <a:pt x="372960" y="576281"/>
                  </a:lnTo>
                  <a:cubicBezTo>
                    <a:pt x="350187" y="624934"/>
                    <a:pt x="336185" y="678503"/>
                    <a:pt x="332873" y="734971"/>
                  </a:cubicBezTo>
                  <a:lnTo>
                    <a:pt x="18202" y="734971"/>
                  </a:lnTo>
                  <a:cubicBezTo>
                    <a:pt x="7682" y="734971"/>
                    <a:pt x="-656" y="726045"/>
                    <a:pt x="41" y="715520"/>
                  </a:cubicBezTo>
                  <a:cubicBezTo>
                    <a:pt x="6816" y="612752"/>
                    <a:pt x="33766" y="515501"/>
                    <a:pt x="76996" y="427739"/>
                  </a:cubicBezTo>
                  <a:cubicBezTo>
                    <a:pt x="79320" y="423023"/>
                    <a:pt x="83404" y="419775"/>
                    <a:pt x="88045" y="418365"/>
                  </a:cubicBezTo>
                  <a:close/>
                  <a:moveTo>
                    <a:pt x="353092" y="125773"/>
                  </a:moveTo>
                  <a:cubicBezTo>
                    <a:pt x="357823" y="126868"/>
                    <a:pt x="362119" y="129838"/>
                    <a:pt x="364754" y="134404"/>
                  </a:cubicBezTo>
                  <a:lnTo>
                    <a:pt x="519455" y="402471"/>
                  </a:lnTo>
                  <a:cubicBezTo>
                    <a:pt x="473873" y="434122"/>
                    <a:pt x="434652" y="474359"/>
                    <a:pt x="404069" y="520735"/>
                  </a:cubicBezTo>
                  <a:lnTo>
                    <a:pt x="134359" y="364945"/>
                  </a:lnTo>
                  <a:cubicBezTo>
                    <a:pt x="125231" y="359673"/>
                    <a:pt x="122484" y="347754"/>
                    <a:pt x="128356" y="338999"/>
                  </a:cubicBezTo>
                  <a:cubicBezTo>
                    <a:pt x="184138" y="255869"/>
                    <a:pt x="255730" y="184244"/>
                    <a:pt x="338820" y="128398"/>
                  </a:cubicBezTo>
                  <a:cubicBezTo>
                    <a:pt x="343196" y="125460"/>
                    <a:pt x="348362" y="124679"/>
                    <a:pt x="353092" y="125773"/>
                  </a:cubicBezTo>
                  <a:close/>
                  <a:moveTo>
                    <a:pt x="715183" y="41"/>
                  </a:moveTo>
                  <a:lnTo>
                    <a:pt x="715202" y="41"/>
                  </a:lnTo>
                  <a:cubicBezTo>
                    <a:pt x="720453" y="-308"/>
                    <a:pt x="725313" y="1599"/>
                    <a:pt x="728860" y="4910"/>
                  </a:cubicBezTo>
                  <a:lnTo>
                    <a:pt x="733022" y="14482"/>
                  </a:lnTo>
                  <a:lnTo>
                    <a:pt x="733022" y="325990"/>
                  </a:lnTo>
                  <a:lnTo>
                    <a:pt x="651303" y="340329"/>
                  </a:lnTo>
                  <a:cubicBezTo>
                    <a:pt x="624470" y="347792"/>
                    <a:pt x="598678" y="357762"/>
                    <a:pt x="574202" y="369991"/>
                  </a:cubicBezTo>
                  <a:lnTo>
                    <a:pt x="419821" y="102489"/>
                  </a:lnTo>
                  <a:cubicBezTo>
                    <a:pt x="414552" y="93357"/>
                    <a:pt x="418090" y="81683"/>
                    <a:pt x="427538" y="77032"/>
                  </a:cubicBezTo>
                  <a:cubicBezTo>
                    <a:pt x="515258" y="33801"/>
                    <a:pt x="612463" y="6819"/>
                    <a:pt x="715183" y="41"/>
                  </a:cubicBezTo>
                  <a:close/>
                </a:path>
              </a:pathLst>
            </a:custGeom>
            <a:gradFill>
              <a:gsLst>
                <a:gs pos="6000">
                  <a:srgbClr val="FF9248">
                    <a:alpha val="34000"/>
                  </a:srgbClr>
                </a:gs>
                <a:gs pos="77000">
                  <a:schemeClr val="accent4">
                    <a:alpha val="29000"/>
                  </a:schemeClr>
                </a:gs>
              </a:gsLst>
              <a:lin ang="3343960" scaled="1"/>
            </a:gradFill>
            <a:ln w="5992" cap="flat">
              <a:noFill/>
              <a:prstDash val="solid"/>
              <a:miter/>
            </a:ln>
          </p:spPr>
          <p:txBody>
            <a:bodyPr wrap="square" rtlCol="0" anchor="ctr">
              <a:noAutofit/>
            </a:bodyPr>
            <a:lstStyle/>
            <a:p>
              <a:endParaRPr lang="en-US"/>
            </a:p>
          </p:txBody>
        </p:sp>
        <p:sp>
          <p:nvSpPr>
            <p:cNvPr id="5" name="Donut 4">
              <a:extLst>
                <a:ext uri="{FF2B5EF4-FFF2-40B4-BE49-F238E27FC236}">
                  <a16:creationId xmlns:a16="http://schemas.microsoft.com/office/drawing/2014/main" id="{B544600C-5772-9B24-F16C-7F1A2D255B23}"/>
                </a:ext>
              </a:extLst>
            </p:cNvPr>
            <p:cNvSpPr/>
            <p:nvPr/>
          </p:nvSpPr>
          <p:spPr bwMode="auto">
            <a:xfrm>
              <a:off x="11207931" y="1255577"/>
              <a:ext cx="385156" cy="385156"/>
            </a:xfrm>
            <a:prstGeom prst="donut">
              <a:avLst/>
            </a:prstGeom>
            <a:gradFill>
              <a:gsLst>
                <a:gs pos="6000">
                  <a:srgbClr val="FF9248">
                    <a:alpha val="34000"/>
                  </a:srgbClr>
                </a:gs>
                <a:gs pos="77000">
                  <a:schemeClr val="accent4">
                    <a:alpha val="29000"/>
                  </a:schemeClr>
                </a:gs>
              </a:gsLst>
              <a:lin ang="3343960" scaled="1"/>
            </a:gradFill>
            <a:ln w="5992" cap="flat">
              <a:noFill/>
              <a:prstDash val="solid"/>
              <a:miter/>
            </a:ln>
          </p:spPr>
          <p:txBody>
            <a:bodyPr wrap="square" rtlCol="0" anchor="ctr">
              <a:noAutofit/>
            </a:bodyPr>
            <a:lstStyle/>
            <a:p>
              <a:endParaRPr lang="en-US" err="1">
                <a:solidFill>
                  <a:schemeClr val="tx1"/>
                </a:solidFill>
              </a:endParaRPr>
            </a:p>
          </p:txBody>
        </p:sp>
      </p:grpSp>
    </p:spTree>
    <p:extLst>
      <p:ext uri="{BB962C8B-B14F-4D97-AF65-F5344CB8AC3E}">
        <p14:creationId xmlns:p14="http://schemas.microsoft.com/office/powerpoint/2010/main" val="374198296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9319212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3319550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cSld name="Section Title 2 - gradient">
    <p:bg>
      <p:bgPr>
        <a:gradFill>
          <a:gsLst>
            <a:gs pos="0">
              <a:schemeClr val="bg1"/>
            </a:gs>
            <a:gs pos="100000">
              <a:schemeClr val="bg1">
                <a:lumMod val="85000"/>
                <a:alpha val="50000"/>
              </a:schemeClr>
            </a:gs>
          </a:gsLst>
          <a:lin ang="189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1308037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16457284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wo Column Bullet with Subheads - gradient">
    <p:bg>
      <p:bgPr>
        <a:gradFill>
          <a:gsLst>
            <a:gs pos="0">
              <a:schemeClr val="bg1"/>
            </a:gs>
            <a:gs pos="100000">
              <a:schemeClr val="bg1">
                <a:lumMod val="85000"/>
                <a:alpha val="50000"/>
              </a:schemeClr>
            </a:gs>
          </a:gsLst>
          <a:lin ang="1890000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8613108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cSld name="Closing slide_with Logo">
    <p:bg>
      <p:bgRef idx="1001">
        <a:schemeClr val="bg2"/>
      </p:bgRef>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5072CE3E-C99E-C188-A13F-A0815FF096D2}"/>
              </a:ext>
            </a:extLst>
          </p:cNvPr>
          <p:cNvSpPr>
            <a:spLocks noGrp="1"/>
          </p:cNvSpPr>
          <p:nvPr>
            <p:ph type="title" hasCustomPrompt="1"/>
          </p:nvPr>
        </p:nvSpPr>
        <p:spPr>
          <a:xfrm>
            <a:off x="588262" y="-307777"/>
            <a:ext cx="8193024" cy="307777"/>
          </a:xfrm>
        </p:spPr>
        <p:txBody>
          <a:bodyPr/>
          <a:lstStyle>
            <a:lvl1pPr>
              <a:defRPr sz="2000" b="0" i="0">
                <a:solidFill>
                  <a:srgbClr val="001F2D"/>
                </a:solidFill>
                <a:latin typeface="+mj-lt"/>
                <a:cs typeface="Segoe UI Semibold" panose="020B0502040204020203" pitchFamily="34" charset="0"/>
              </a:defRPr>
            </a:lvl1pPr>
          </a:lstStyle>
          <a:p>
            <a:r>
              <a:rPr lang="en-US"/>
              <a:t>Final slide with logo</a:t>
            </a:r>
          </a:p>
        </p:txBody>
      </p:sp>
    </p:spTree>
    <p:extLst>
      <p:ext uri="{BB962C8B-B14F-4D97-AF65-F5344CB8AC3E}">
        <p14:creationId xmlns:p14="http://schemas.microsoft.com/office/powerpoint/2010/main" val="86931599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cSld name="1_Section Title 2">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3" name="Group 2">
            <a:extLst>
              <a:ext uri="{FF2B5EF4-FFF2-40B4-BE49-F238E27FC236}">
                <a16:creationId xmlns:a16="http://schemas.microsoft.com/office/drawing/2014/main" id="{9071F57A-34A9-1C5C-02BD-B78498DB2A87}"/>
              </a:ext>
            </a:extLst>
          </p:cNvPr>
          <p:cNvGrpSpPr/>
          <p:nvPr userDrawn="1"/>
        </p:nvGrpSpPr>
        <p:grpSpPr>
          <a:xfrm>
            <a:off x="11207931" y="114223"/>
            <a:ext cx="984069" cy="1526510"/>
            <a:chOff x="11207931" y="114223"/>
            <a:chExt cx="984069" cy="1526510"/>
          </a:xfrm>
        </p:grpSpPr>
        <p:sp>
          <p:nvSpPr>
            <p:cNvPr id="4" name="Freeform 3">
              <a:extLst>
                <a:ext uri="{FF2B5EF4-FFF2-40B4-BE49-F238E27FC236}">
                  <a16:creationId xmlns:a16="http://schemas.microsoft.com/office/drawing/2014/main" id="{50408A46-A032-8546-D1D3-A65A80C3B4B1}"/>
                </a:ext>
              </a:extLst>
            </p:cNvPr>
            <p:cNvSpPr/>
            <p:nvPr/>
          </p:nvSpPr>
          <p:spPr bwMode="auto">
            <a:xfrm>
              <a:off x="11683516" y="209494"/>
              <a:ext cx="508484" cy="1049410"/>
            </a:xfrm>
            <a:custGeom>
              <a:avLst/>
              <a:gdLst>
                <a:gd name="connsiteX0" fmla="*/ 508484 w 508484"/>
                <a:gd name="connsiteY0" fmla="*/ 0 h 1049410"/>
                <a:gd name="connsiteX1" fmla="*/ 508484 w 508484"/>
                <a:gd name="connsiteY1" fmla="*/ 1049410 h 1049410"/>
                <a:gd name="connsiteX2" fmla="*/ 420411 w 508484"/>
                <a:gd name="connsiteY2" fmla="*/ 1040532 h 1049410"/>
                <a:gd name="connsiteX3" fmla="*/ 0 w 508484"/>
                <a:gd name="connsiteY3" fmla="*/ 524705 h 1049410"/>
                <a:gd name="connsiteX4" fmla="*/ 420411 w 508484"/>
                <a:gd name="connsiteY4" fmla="*/ 8878 h 1049410"/>
                <a:gd name="connsiteX5" fmla="*/ 508484 w 508484"/>
                <a:gd name="connsiteY5" fmla="*/ 0 h 1049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8484" h="1049410">
                  <a:moveTo>
                    <a:pt x="508484" y="0"/>
                  </a:moveTo>
                  <a:lnTo>
                    <a:pt x="508484" y="1049410"/>
                  </a:lnTo>
                  <a:lnTo>
                    <a:pt x="420411" y="1040532"/>
                  </a:lnTo>
                  <a:cubicBezTo>
                    <a:pt x="180483" y="991436"/>
                    <a:pt x="0" y="779147"/>
                    <a:pt x="0" y="524705"/>
                  </a:cubicBezTo>
                  <a:cubicBezTo>
                    <a:pt x="0" y="270263"/>
                    <a:pt x="180483" y="57975"/>
                    <a:pt x="420411" y="8878"/>
                  </a:cubicBezTo>
                  <a:lnTo>
                    <a:pt x="508484" y="0"/>
                  </a:lnTo>
                  <a:close/>
                </a:path>
              </a:pathLst>
            </a:custGeom>
            <a:solidFill>
              <a:schemeClr val="accent5">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 name="Freeform 4">
              <a:extLst>
                <a:ext uri="{FF2B5EF4-FFF2-40B4-BE49-F238E27FC236}">
                  <a16:creationId xmlns:a16="http://schemas.microsoft.com/office/drawing/2014/main" id="{53FABC3B-C175-BDF0-CFD9-E4AFB53A35F8}"/>
                </a:ext>
              </a:extLst>
            </p:cNvPr>
            <p:cNvSpPr/>
            <p:nvPr/>
          </p:nvSpPr>
          <p:spPr>
            <a:xfrm>
              <a:off x="11593087" y="114223"/>
              <a:ext cx="598913" cy="1253024"/>
            </a:xfrm>
            <a:custGeom>
              <a:avLst/>
              <a:gdLst>
                <a:gd name="connsiteX0" fmla="*/ 579415 w 733022"/>
                <a:gd name="connsiteY0" fmla="*/ 1154516 h 1533601"/>
                <a:gd name="connsiteX1" fmla="*/ 654140 w 733022"/>
                <a:gd name="connsiteY1" fmla="*/ 1182331 h 1533601"/>
                <a:gd name="connsiteX2" fmla="*/ 733022 w 733022"/>
                <a:gd name="connsiteY2" fmla="*/ 1195890 h 1533601"/>
                <a:gd name="connsiteX3" fmla="*/ 733022 w 733022"/>
                <a:gd name="connsiteY3" fmla="*/ 1519078 h 1533601"/>
                <a:gd name="connsiteX4" fmla="*/ 728849 w 733022"/>
                <a:gd name="connsiteY4" fmla="*/ 1528684 h 1533601"/>
                <a:gd name="connsiteX5" fmla="*/ 715183 w 733022"/>
                <a:gd name="connsiteY5" fmla="*/ 1533561 h 1533601"/>
                <a:gd name="connsiteX6" fmla="*/ 427500 w 733022"/>
                <a:gd name="connsiteY6" fmla="*/ 1456569 h 1533601"/>
                <a:gd name="connsiteX7" fmla="*/ 427481 w 733022"/>
                <a:gd name="connsiteY7" fmla="*/ 1456569 h 1533601"/>
                <a:gd name="connsiteX8" fmla="*/ 419765 w 733022"/>
                <a:gd name="connsiteY8" fmla="*/ 1431112 h 1533601"/>
                <a:gd name="connsiteX9" fmla="*/ 409753 w 733022"/>
                <a:gd name="connsiteY9" fmla="*/ 1009571 h 1533601"/>
                <a:gd name="connsiteX10" fmla="*/ 524291 w 733022"/>
                <a:gd name="connsiteY10" fmla="*/ 1122789 h 1533601"/>
                <a:gd name="connsiteX11" fmla="*/ 364754 w 733022"/>
                <a:gd name="connsiteY11" fmla="*/ 1399179 h 1533601"/>
                <a:gd name="connsiteX12" fmla="*/ 338820 w 733022"/>
                <a:gd name="connsiteY12" fmla="*/ 1405185 h 1533601"/>
                <a:gd name="connsiteX13" fmla="*/ 128318 w 733022"/>
                <a:gd name="connsiteY13" fmla="*/ 1194584 h 1533601"/>
                <a:gd name="connsiteX14" fmla="*/ 134321 w 733022"/>
                <a:gd name="connsiteY14" fmla="*/ 1168637 h 1533601"/>
                <a:gd name="connsiteX15" fmla="*/ 18202 w 733022"/>
                <a:gd name="connsiteY15" fmla="*/ 798631 h 1533601"/>
                <a:gd name="connsiteX16" fmla="*/ 333739 w 733022"/>
                <a:gd name="connsiteY16" fmla="*/ 798631 h 1533601"/>
                <a:gd name="connsiteX17" fmla="*/ 377363 w 733022"/>
                <a:gd name="connsiteY17" fmla="*/ 954723 h 1533601"/>
                <a:gd name="connsiteX18" fmla="*/ 102441 w 733022"/>
                <a:gd name="connsiteY18" fmla="*/ 1113544 h 1533601"/>
                <a:gd name="connsiteX19" fmla="*/ 76996 w 733022"/>
                <a:gd name="connsiteY19" fmla="*/ 1105824 h 1533601"/>
                <a:gd name="connsiteX20" fmla="*/ 41 w 733022"/>
                <a:gd name="connsiteY20" fmla="*/ 818081 h 1533601"/>
                <a:gd name="connsiteX21" fmla="*/ 18202 w 733022"/>
                <a:gd name="connsiteY21" fmla="*/ 798631 h 1533601"/>
                <a:gd name="connsiteX22" fmla="*/ 733022 w 733022"/>
                <a:gd name="connsiteY22" fmla="*/ 440947 h 1533601"/>
                <a:gd name="connsiteX23" fmla="*/ 733022 w 733022"/>
                <a:gd name="connsiteY23" fmla="*/ 627192 h 1533601"/>
                <a:gd name="connsiteX24" fmla="*/ 694597 w 733022"/>
                <a:gd name="connsiteY24" fmla="*/ 638681 h 1533601"/>
                <a:gd name="connsiteX25" fmla="*/ 618391 w 733022"/>
                <a:gd name="connsiteY25" fmla="*/ 748942 h 1533601"/>
                <a:gd name="connsiteX26" fmla="*/ 699416 w 733022"/>
                <a:gd name="connsiteY26" fmla="*/ 889231 h 1533601"/>
                <a:gd name="connsiteX27" fmla="*/ 733022 w 733022"/>
                <a:gd name="connsiteY27" fmla="*/ 896448 h 1533601"/>
                <a:gd name="connsiteX28" fmla="*/ 733022 w 733022"/>
                <a:gd name="connsiteY28" fmla="*/ 1083871 h 1533601"/>
                <a:gd name="connsiteX29" fmla="*/ 691051 w 733022"/>
                <a:gd name="connsiteY29" fmla="*/ 1079617 h 1533601"/>
                <a:gd name="connsiteX30" fmla="*/ 433014 w 733022"/>
                <a:gd name="connsiteY30" fmla="*/ 761820 h 1533601"/>
                <a:gd name="connsiteX31" fmla="*/ 678170 w 733022"/>
                <a:gd name="connsiteY31" fmla="*/ 449027 h 1533601"/>
                <a:gd name="connsiteX32" fmla="*/ 88045 w 733022"/>
                <a:gd name="connsiteY32" fmla="*/ 418365 h 1533601"/>
                <a:gd name="connsiteX33" fmla="*/ 102441 w 733022"/>
                <a:gd name="connsiteY33" fmla="*/ 420020 h 1533601"/>
                <a:gd name="connsiteX34" fmla="*/ 372960 w 733022"/>
                <a:gd name="connsiteY34" fmla="*/ 576281 h 1533601"/>
                <a:gd name="connsiteX35" fmla="*/ 332873 w 733022"/>
                <a:gd name="connsiteY35" fmla="*/ 734971 h 1533601"/>
                <a:gd name="connsiteX36" fmla="*/ 18202 w 733022"/>
                <a:gd name="connsiteY36" fmla="*/ 734971 h 1533601"/>
                <a:gd name="connsiteX37" fmla="*/ 41 w 733022"/>
                <a:gd name="connsiteY37" fmla="*/ 715520 h 1533601"/>
                <a:gd name="connsiteX38" fmla="*/ 76996 w 733022"/>
                <a:gd name="connsiteY38" fmla="*/ 427739 h 1533601"/>
                <a:gd name="connsiteX39" fmla="*/ 88045 w 733022"/>
                <a:gd name="connsiteY39" fmla="*/ 418365 h 1533601"/>
                <a:gd name="connsiteX40" fmla="*/ 353092 w 733022"/>
                <a:gd name="connsiteY40" fmla="*/ 125773 h 1533601"/>
                <a:gd name="connsiteX41" fmla="*/ 364754 w 733022"/>
                <a:gd name="connsiteY41" fmla="*/ 134404 h 1533601"/>
                <a:gd name="connsiteX42" fmla="*/ 519455 w 733022"/>
                <a:gd name="connsiteY42" fmla="*/ 402471 h 1533601"/>
                <a:gd name="connsiteX43" fmla="*/ 404069 w 733022"/>
                <a:gd name="connsiteY43" fmla="*/ 520735 h 1533601"/>
                <a:gd name="connsiteX44" fmla="*/ 134359 w 733022"/>
                <a:gd name="connsiteY44" fmla="*/ 364945 h 1533601"/>
                <a:gd name="connsiteX45" fmla="*/ 128356 w 733022"/>
                <a:gd name="connsiteY45" fmla="*/ 338999 h 1533601"/>
                <a:gd name="connsiteX46" fmla="*/ 338820 w 733022"/>
                <a:gd name="connsiteY46" fmla="*/ 128398 h 1533601"/>
                <a:gd name="connsiteX47" fmla="*/ 353092 w 733022"/>
                <a:gd name="connsiteY47" fmla="*/ 125773 h 1533601"/>
                <a:gd name="connsiteX48" fmla="*/ 715183 w 733022"/>
                <a:gd name="connsiteY48" fmla="*/ 41 h 1533601"/>
                <a:gd name="connsiteX49" fmla="*/ 715202 w 733022"/>
                <a:gd name="connsiteY49" fmla="*/ 41 h 1533601"/>
                <a:gd name="connsiteX50" fmla="*/ 728860 w 733022"/>
                <a:gd name="connsiteY50" fmla="*/ 4910 h 1533601"/>
                <a:gd name="connsiteX51" fmla="*/ 733022 w 733022"/>
                <a:gd name="connsiteY51" fmla="*/ 14482 h 1533601"/>
                <a:gd name="connsiteX52" fmla="*/ 733022 w 733022"/>
                <a:gd name="connsiteY52" fmla="*/ 325990 h 1533601"/>
                <a:gd name="connsiteX53" fmla="*/ 651303 w 733022"/>
                <a:gd name="connsiteY53" fmla="*/ 340329 h 1533601"/>
                <a:gd name="connsiteX54" fmla="*/ 574202 w 733022"/>
                <a:gd name="connsiteY54" fmla="*/ 369991 h 1533601"/>
                <a:gd name="connsiteX55" fmla="*/ 419821 w 733022"/>
                <a:gd name="connsiteY55" fmla="*/ 102489 h 1533601"/>
                <a:gd name="connsiteX56" fmla="*/ 427538 w 733022"/>
                <a:gd name="connsiteY56" fmla="*/ 77032 h 1533601"/>
                <a:gd name="connsiteX57" fmla="*/ 715183 w 733022"/>
                <a:gd name="connsiteY57" fmla="*/ 41 h 1533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733022" h="1533601">
                  <a:moveTo>
                    <a:pt x="579415" y="1154516"/>
                  </a:moveTo>
                  <a:cubicBezTo>
                    <a:pt x="603213" y="1165954"/>
                    <a:pt x="628197" y="1175308"/>
                    <a:pt x="654140" y="1182331"/>
                  </a:cubicBezTo>
                  <a:lnTo>
                    <a:pt x="733022" y="1195890"/>
                  </a:lnTo>
                  <a:lnTo>
                    <a:pt x="733022" y="1519078"/>
                  </a:lnTo>
                  <a:lnTo>
                    <a:pt x="728849" y="1528684"/>
                  </a:lnTo>
                  <a:cubicBezTo>
                    <a:pt x="725303" y="1531998"/>
                    <a:pt x="720443" y="1533909"/>
                    <a:pt x="715183" y="1533561"/>
                  </a:cubicBezTo>
                  <a:cubicBezTo>
                    <a:pt x="612463" y="1526782"/>
                    <a:pt x="515258" y="1499819"/>
                    <a:pt x="427500" y="1456569"/>
                  </a:cubicBezTo>
                  <a:lnTo>
                    <a:pt x="427481" y="1456569"/>
                  </a:lnTo>
                  <a:cubicBezTo>
                    <a:pt x="418052" y="1451918"/>
                    <a:pt x="414495" y="1440226"/>
                    <a:pt x="419765" y="1431112"/>
                  </a:cubicBezTo>
                  <a:close/>
                  <a:moveTo>
                    <a:pt x="409753" y="1009571"/>
                  </a:moveTo>
                  <a:cubicBezTo>
                    <a:pt x="440580" y="1054045"/>
                    <a:pt x="479424" y="1092456"/>
                    <a:pt x="524291" y="1122789"/>
                  </a:cubicBezTo>
                  <a:lnTo>
                    <a:pt x="364754" y="1399179"/>
                  </a:lnTo>
                  <a:cubicBezTo>
                    <a:pt x="359484" y="1408311"/>
                    <a:pt x="347571" y="1411060"/>
                    <a:pt x="338820" y="1405185"/>
                  </a:cubicBezTo>
                  <a:cubicBezTo>
                    <a:pt x="255730" y="1349376"/>
                    <a:pt x="184100" y="1277751"/>
                    <a:pt x="128318" y="1194584"/>
                  </a:cubicBezTo>
                  <a:cubicBezTo>
                    <a:pt x="122446" y="1185828"/>
                    <a:pt x="125194" y="1173910"/>
                    <a:pt x="134321" y="1168637"/>
                  </a:cubicBezTo>
                  <a:close/>
                  <a:moveTo>
                    <a:pt x="18202" y="798631"/>
                  </a:moveTo>
                  <a:lnTo>
                    <a:pt x="333739" y="798631"/>
                  </a:lnTo>
                  <a:cubicBezTo>
                    <a:pt x="338462" y="854289"/>
                    <a:pt x="353650" y="906991"/>
                    <a:pt x="377363" y="954723"/>
                  </a:cubicBezTo>
                  <a:lnTo>
                    <a:pt x="102441" y="1113544"/>
                  </a:lnTo>
                  <a:cubicBezTo>
                    <a:pt x="93331" y="1118816"/>
                    <a:pt x="81644" y="1115258"/>
                    <a:pt x="76996" y="1105824"/>
                  </a:cubicBezTo>
                  <a:cubicBezTo>
                    <a:pt x="33766" y="1018063"/>
                    <a:pt x="6816" y="920849"/>
                    <a:pt x="41" y="818081"/>
                  </a:cubicBezTo>
                  <a:cubicBezTo>
                    <a:pt x="-656" y="807556"/>
                    <a:pt x="7682" y="798631"/>
                    <a:pt x="18202" y="798631"/>
                  </a:cubicBezTo>
                  <a:close/>
                  <a:moveTo>
                    <a:pt x="733022" y="440947"/>
                  </a:moveTo>
                  <a:lnTo>
                    <a:pt x="733022" y="627192"/>
                  </a:lnTo>
                  <a:lnTo>
                    <a:pt x="694597" y="638681"/>
                  </a:lnTo>
                  <a:cubicBezTo>
                    <a:pt x="652977" y="659505"/>
                    <a:pt x="623092" y="700871"/>
                    <a:pt x="618391" y="748942"/>
                  </a:cubicBezTo>
                  <a:cubicBezTo>
                    <a:pt x="612336" y="810922"/>
                    <a:pt x="647367" y="865710"/>
                    <a:pt x="699416" y="889231"/>
                  </a:cubicBezTo>
                  <a:lnTo>
                    <a:pt x="733022" y="896448"/>
                  </a:lnTo>
                  <a:lnTo>
                    <a:pt x="733022" y="1083871"/>
                  </a:lnTo>
                  <a:lnTo>
                    <a:pt x="691051" y="1079617"/>
                  </a:lnTo>
                  <a:cubicBezTo>
                    <a:pt x="543639" y="1049300"/>
                    <a:pt x="432521" y="918253"/>
                    <a:pt x="433014" y="761820"/>
                  </a:cubicBezTo>
                  <a:cubicBezTo>
                    <a:pt x="433475" y="612208"/>
                    <a:pt x="537754" y="484162"/>
                    <a:pt x="678170" y="449027"/>
                  </a:cubicBezTo>
                  <a:close/>
                  <a:moveTo>
                    <a:pt x="88045" y="418365"/>
                  </a:moveTo>
                  <a:cubicBezTo>
                    <a:pt x="92687" y="416955"/>
                    <a:pt x="97886" y="417384"/>
                    <a:pt x="102441" y="420020"/>
                  </a:cubicBezTo>
                  <a:lnTo>
                    <a:pt x="372960" y="576281"/>
                  </a:lnTo>
                  <a:cubicBezTo>
                    <a:pt x="350187" y="624934"/>
                    <a:pt x="336185" y="678503"/>
                    <a:pt x="332873" y="734971"/>
                  </a:cubicBezTo>
                  <a:lnTo>
                    <a:pt x="18202" y="734971"/>
                  </a:lnTo>
                  <a:cubicBezTo>
                    <a:pt x="7682" y="734971"/>
                    <a:pt x="-656" y="726045"/>
                    <a:pt x="41" y="715520"/>
                  </a:cubicBezTo>
                  <a:cubicBezTo>
                    <a:pt x="6816" y="612752"/>
                    <a:pt x="33766" y="515501"/>
                    <a:pt x="76996" y="427739"/>
                  </a:cubicBezTo>
                  <a:cubicBezTo>
                    <a:pt x="79320" y="423023"/>
                    <a:pt x="83404" y="419775"/>
                    <a:pt x="88045" y="418365"/>
                  </a:cubicBezTo>
                  <a:close/>
                  <a:moveTo>
                    <a:pt x="353092" y="125773"/>
                  </a:moveTo>
                  <a:cubicBezTo>
                    <a:pt x="357823" y="126868"/>
                    <a:pt x="362119" y="129838"/>
                    <a:pt x="364754" y="134404"/>
                  </a:cubicBezTo>
                  <a:lnTo>
                    <a:pt x="519455" y="402471"/>
                  </a:lnTo>
                  <a:cubicBezTo>
                    <a:pt x="473873" y="434122"/>
                    <a:pt x="434652" y="474359"/>
                    <a:pt x="404069" y="520735"/>
                  </a:cubicBezTo>
                  <a:lnTo>
                    <a:pt x="134359" y="364945"/>
                  </a:lnTo>
                  <a:cubicBezTo>
                    <a:pt x="125231" y="359673"/>
                    <a:pt x="122484" y="347754"/>
                    <a:pt x="128356" y="338999"/>
                  </a:cubicBezTo>
                  <a:cubicBezTo>
                    <a:pt x="184138" y="255869"/>
                    <a:pt x="255730" y="184244"/>
                    <a:pt x="338820" y="128398"/>
                  </a:cubicBezTo>
                  <a:cubicBezTo>
                    <a:pt x="343196" y="125460"/>
                    <a:pt x="348362" y="124679"/>
                    <a:pt x="353092" y="125773"/>
                  </a:cubicBezTo>
                  <a:close/>
                  <a:moveTo>
                    <a:pt x="715183" y="41"/>
                  </a:moveTo>
                  <a:lnTo>
                    <a:pt x="715202" y="41"/>
                  </a:lnTo>
                  <a:cubicBezTo>
                    <a:pt x="720453" y="-308"/>
                    <a:pt x="725313" y="1599"/>
                    <a:pt x="728860" y="4910"/>
                  </a:cubicBezTo>
                  <a:lnTo>
                    <a:pt x="733022" y="14482"/>
                  </a:lnTo>
                  <a:lnTo>
                    <a:pt x="733022" y="325990"/>
                  </a:lnTo>
                  <a:lnTo>
                    <a:pt x="651303" y="340329"/>
                  </a:lnTo>
                  <a:cubicBezTo>
                    <a:pt x="624470" y="347792"/>
                    <a:pt x="598678" y="357762"/>
                    <a:pt x="574202" y="369991"/>
                  </a:cubicBezTo>
                  <a:lnTo>
                    <a:pt x="419821" y="102489"/>
                  </a:lnTo>
                  <a:cubicBezTo>
                    <a:pt x="414552" y="93357"/>
                    <a:pt x="418090" y="81683"/>
                    <a:pt x="427538" y="77032"/>
                  </a:cubicBezTo>
                  <a:cubicBezTo>
                    <a:pt x="515258" y="33801"/>
                    <a:pt x="612463" y="6819"/>
                    <a:pt x="715183" y="41"/>
                  </a:cubicBezTo>
                  <a:close/>
                </a:path>
              </a:pathLst>
            </a:custGeom>
            <a:gradFill>
              <a:gsLst>
                <a:gs pos="6000">
                  <a:srgbClr val="FF9248">
                    <a:alpha val="34000"/>
                  </a:srgbClr>
                </a:gs>
                <a:gs pos="77000">
                  <a:schemeClr val="accent4">
                    <a:alpha val="29000"/>
                  </a:schemeClr>
                </a:gs>
              </a:gsLst>
              <a:lin ang="3343960" scaled="1"/>
            </a:gradFill>
            <a:ln w="5992" cap="flat">
              <a:noFill/>
              <a:prstDash val="solid"/>
              <a:miter/>
            </a:ln>
          </p:spPr>
          <p:txBody>
            <a:bodyPr wrap="square" rtlCol="0" anchor="ctr">
              <a:noAutofit/>
            </a:bodyPr>
            <a:lstStyle/>
            <a:p>
              <a:endParaRPr lang="en-US"/>
            </a:p>
          </p:txBody>
        </p:sp>
        <p:sp>
          <p:nvSpPr>
            <p:cNvPr id="6" name="Donut 5">
              <a:extLst>
                <a:ext uri="{FF2B5EF4-FFF2-40B4-BE49-F238E27FC236}">
                  <a16:creationId xmlns:a16="http://schemas.microsoft.com/office/drawing/2014/main" id="{32B84E0D-D23F-29F6-1B8D-B4821F63F40C}"/>
                </a:ext>
              </a:extLst>
            </p:cNvPr>
            <p:cNvSpPr/>
            <p:nvPr/>
          </p:nvSpPr>
          <p:spPr bwMode="auto">
            <a:xfrm>
              <a:off x="11207931" y="1255577"/>
              <a:ext cx="385156" cy="385156"/>
            </a:xfrm>
            <a:prstGeom prst="donut">
              <a:avLst/>
            </a:prstGeom>
            <a:gradFill>
              <a:gsLst>
                <a:gs pos="6000">
                  <a:srgbClr val="FF9248">
                    <a:alpha val="34000"/>
                  </a:srgbClr>
                </a:gs>
                <a:gs pos="77000">
                  <a:schemeClr val="accent4">
                    <a:alpha val="29000"/>
                  </a:schemeClr>
                </a:gs>
              </a:gsLst>
              <a:lin ang="3343960" scaled="1"/>
            </a:gradFill>
            <a:ln w="5992" cap="flat">
              <a:noFill/>
              <a:prstDash val="solid"/>
              <a:miter/>
            </a:ln>
          </p:spPr>
          <p:txBody>
            <a:bodyPr wrap="square" rtlCol="0" anchor="ctr">
              <a:noAutofit/>
            </a:bodyPr>
            <a:lstStyle/>
            <a:p>
              <a:endParaRPr lang="en-US" err="1">
                <a:solidFill>
                  <a:schemeClr val="tx1"/>
                </a:solidFill>
              </a:endParaRPr>
            </a:p>
          </p:txBody>
        </p:sp>
      </p:grpSp>
    </p:spTree>
    <p:extLst>
      <p:ext uri="{BB962C8B-B14F-4D97-AF65-F5344CB8AC3E}">
        <p14:creationId xmlns:p14="http://schemas.microsoft.com/office/powerpoint/2010/main" val="13678354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Title_Wave_Lilac_CSACTO">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F7E1D88-4F15-12D2-B1B7-95A0CEE0834A}"/>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1837" y="0"/>
            <a:ext cx="12188952" cy="6858350"/>
          </a:xfrm>
          <a:prstGeom prst="rect">
            <a:avLst/>
          </a:prstGeom>
        </p:spPr>
      </p:pic>
      <p:sp>
        <p:nvSpPr>
          <p:cNvPr id="7" name="Rectangle 6">
            <a:extLst>
              <a:ext uri="{FF2B5EF4-FFF2-40B4-BE49-F238E27FC236}">
                <a16:creationId xmlns:a16="http://schemas.microsoft.com/office/drawing/2014/main" id="{6D1C4CC3-0DAA-5C43-0DC8-B8F569F7881C}"/>
              </a:ext>
            </a:extLst>
          </p:cNvPr>
          <p:cNvSpPr/>
          <p:nvPr userDrawn="1"/>
        </p:nvSpPr>
        <p:spPr bwMode="auto">
          <a:xfrm>
            <a:off x="1524" y="0"/>
            <a:ext cx="12188952" cy="6858000"/>
          </a:xfrm>
          <a:prstGeom prst="rect">
            <a:avLst/>
          </a:prstGeom>
          <a:gradFill>
            <a:gsLst>
              <a:gs pos="50000">
                <a:srgbClr val="C5B4E3"/>
              </a:gs>
              <a:gs pos="0">
                <a:srgbClr val="C5B4E3">
                  <a:alpha val="0"/>
                </a:srgbClr>
              </a:gs>
            </a:gsLst>
            <a:lin ang="96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589FF709-91C1-4573-83A1-5F07DB1F5083}"/>
              </a:ext>
            </a:extLst>
          </p:cNvPr>
          <p:cNvSpPr>
            <a:spLocks noGrp="1"/>
          </p:cNvSpPr>
          <p:nvPr>
            <p:ph type="title" hasCustomPrompt="1"/>
          </p:nvPr>
        </p:nvSpPr>
        <p:spPr>
          <a:xfrm>
            <a:off x="569912" y="2769057"/>
            <a:ext cx="8193024" cy="1231106"/>
          </a:xfrm>
          <a:noFill/>
        </p:spPr>
        <p:txBody>
          <a:bodyPr wrap="square" lIns="0" tIns="0" rIns="0" bIns="0" anchor="b" anchorCtr="0">
            <a:spAutoFit/>
          </a:bodyPr>
          <a:lstStyle>
            <a:lvl1pPr>
              <a:defRPr sz="4000" b="0" i="0" spc="-50" baseline="0">
                <a:solidFill>
                  <a:srgbClr val="000000"/>
                </a:solidFill>
                <a:latin typeface="+mj-lt"/>
                <a:cs typeface="Segoe UI" panose="020B0502040204020203" pitchFamily="34" charset="0"/>
              </a:defRPr>
            </a:lvl1pPr>
          </a:lstStyle>
          <a:p>
            <a:r>
              <a:rPr lang="en-US"/>
              <a:t>Event name or </a:t>
            </a:r>
            <a:br>
              <a:rPr lang="en-US"/>
            </a:br>
            <a:r>
              <a:rPr lang="en-US"/>
              <a:t>presentation title </a:t>
            </a:r>
          </a:p>
        </p:txBody>
      </p:sp>
      <p:sp>
        <p:nvSpPr>
          <p:cNvPr id="9" name="Text Placeholder 4">
            <a:extLst>
              <a:ext uri="{FF2B5EF4-FFF2-40B4-BE49-F238E27FC236}">
                <a16:creationId xmlns:a16="http://schemas.microsoft.com/office/drawing/2014/main" id="{168A2A81-4605-F98C-B92F-A3B13D8B5A7A}"/>
              </a:ext>
            </a:extLst>
          </p:cNvPr>
          <p:cNvSpPr>
            <a:spLocks noGrp="1"/>
          </p:cNvSpPr>
          <p:nvPr>
            <p:ph type="body" sz="quarter" idx="13" hasCustomPrompt="1"/>
          </p:nvPr>
        </p:nvSpPr>
        <p:spPr>
          <a:xfrm>
            <a:off x="582042" y="6446520"/>
            <a:ext cx="1645920" cy="153888"/>
          </a:xfrm>
          <a:prstGeom prst="rect">
            <a:avLst/>
          </a:prstGeom>
          <a:noFill/>
        </p:spPr>
        <p:txBody>
          <a:bodyPr wrap="square" lIns="0" tIns="0" rIns="0" bIns="0">
            <a:spAutoFit/>
          </a:bodyPr>
          <a:lstStyle>
            <a:lvl1pPr marL="0" indent="0">
              <a:spcBef>
                <a:spcPts val="0"/>
              </a:spcBef>
              <a:buNone/>
              <a:defRPr sz="1000" spc="0" baseline="0">
                <a:solidFill>
                  <a:srgbClr val="000000"/>
                </a:solidFill>
                <a:latin typeface="+mn-lt"/>
                <a:cs typeface="Segoe UI" panose="020B0502040204020203" pitchFamily="34" charset="0"/>
              </a:defRPr>
            </a:lvl1pPr>
          </a:lstStyle>
          <a:p>
            <a:pPr lvl="0"/>
            <a:r>
              <a:rPr lang="en-US"/>
              <a:t>Date</a:t>
            </a:r>
          </a:p>
        </p:txBody>
      </p:sp>
      <p:sp>
        <p:nvSpPr>
          <p:cNvPr id="10" name="Text Placeholder 4">
            <a:extLst>
              <a:ext uri="{FF2B5EF4-FFF2-40B4-BE49-F238E27FC236}">
                <a16:creationId xmlns:a16="http://schemas.microsoft.com/office/drawing/2014/main" id="{5E9798E2-7B19-CF43-2EBC-CF37023D81BD}"/>
              </a:ext>
            </a:extLst>
          </p:cNvPr>
          <p:cNvSpPr>
            <a:spLocks noGrp="1"/>
          </p:cNvSpPr>
          <p:nvPr>
            <p:ph type="body" sz="quarter" idx="14" hasCustomPrompt="1"/>
          </p:nvPr>
        </p:nvSpPr>
        <p:spPr>
          <a:xfrm>
            <a:off x="2471054" y="6446520"/>
            <a:ext cx="6336792" cy="153888"/>
          </a:xfrm>
          <a:prstGeom prst="rect">
            <a:avLst/>
          </a:prstGeom>
          <a:noFill/>
        </p:spPr>
        <p:txBody>
          <a:bodyPr wrap="square" lIns="0" tIns="0" rIns="0" bIns="0">
            <a:spAutoFit/>
          </a:bodyPr>
          <a:lstStyle>
            <a:lvl1pPr marL="0" indent="0">
              <a:spcBef>
                <a:spcPts val="0"/>
              </a:spcBef>
              <a:buNone/>
              <a:defRPr sz="1000" spc="0" baseline="0">
                <a:solidFill>
                  <a:srgbClr val="000000"/>
                </a:solidFill>
                <a:latin typeface="+mn-lt"/>
                <a:cs typeface="Segoe UI" panose="020B0502040204020203" pitchFamily="34" charset="0"/>
              </a:defRPr>
            </a:lvl1pPr>
          </a:lstStyle>
          <a:p>
            <a:pPr lvl="0"/>
            <a:r>
              <a:rPr lang="en-US"/>
              <a:t>Microsoft confidential</a:t>
            </a:r>
          </a:p>
        </p:txBody>
      </p:sp>
      <p:pic>
        <p:nvPicPr>
          <p:cNvPr id="4" name="Picture 3">
            <a:extLst>
              <a:ext uri="{FF2B5EF4-FFF2-40B4-BE49-F238E27FC236}">
                <a16:creationId xmlns:a16="http://schemas.microsoft.com/office/drawing/2014/main" id="{A811A919-ACA9-2FA5-EEC7-3088195CA37B}"/>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582043" y="582613"/>
            <a:ext cx="2256503" cy="457199"/>
          </a:xfrm>
          <a:prstGeom prst="rect">
            <a:avLst/>
          </a:prstGeom>
        </p:spPr>
      </p:pic>
      <p:sp>
        <p:nvSpPr>
          <p:cNvPr id="6" name="Subtitle">
            <a:extLst>
              <a:ext uri="{FF2B5EF4-FFF2-40B4-BE49-F238E27FC236}">
                <a16:creationId xmlns:a16="http://schemas.microsoft.com/office/drawing/2014/main" id="{981503A1-48AB-85D1-ABBD-E9775D8BE99D}"/>
              </a:ext>
            </a:extLst>
          </p:cNvPr>
          <p:cNvSpPr>
            <a:spLocks noGrp="1"/>
          </p:cNvSpPr>
          <p:nvPr>
            <p:ph type="body" sz="quarter" idx="12" hasCustomPrompt="1"/>
          </p:nvPr>
        </p:nvSpPr>
        <p:spPr>
          <a:xfrm>
            <a:off x="582042" y="4202113"/>
            <a:ext cx="8193024" cy="215444"/>
          </a:xfrm>
          <a:prstGeom prst="rect">
            <a:avLst/>
          </a:prstGeom>
          <a:noFill/>
        </p:spPr>
        <p:txBody>
          <a:bodyPr wrap="square" lIns="0" tIns="0" rIns="0" bIns="0">
            <a:spAutoFit/>
          </a:bodyPr>
          <a:lstStyle>
            <a:lvl1pPr marL="0" indent="0">
              <a:spcBef>
                <a:spcPts val="0"/>
              </a:spcBef>
              <a:buNone/>
              <a:defRPr sz="1400" spc="0" baseline="0">
                <a:solidFill>
                  <a:schemeClr val="tx1"/>
                </a:solidFill>
                <a:latin typeface="+mn-lt"/>
                <a:cs typeface="Segoe UI" panose="020B0502040204020203" pitchFamily="34" charset="0"/>
              </a:defRPr>
            </a:lvl1pPr>
          </a:lstStyle>
          <a:p>
            <a:pPr lvl="0"/>
            <a:r>
              <a:rPr lang="en-US"/>
              <a:t>Speaker name or subtitle</a:t>
            </a:r>
          </a:p>
        </p:txBody>
      </p:sp>
    </p:spTree>
    <p:extLst>
      <p:ext uri="{BB962C8B-B14F-4D97-AF65-F5344CB8AC3E}">
        <p14:creationId xmlns:p14="http://schemas.microsoft.com/office/powerpoint/2010/main" val="38374326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450">
          <p15:clr>
            <a:srgbClr val="FBAE40"/>
          </p15:clr>
        </p15:guide>
        <p15:guide id="2" orient="horz" pos="2647">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Section_Solid_Lilac">
    <p:bg>
      <p:bgPr>
        <a:solidFill>
          <a:srgbClr val="B9DCD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45EE1C7-4740-FB5E-08C2-1AB152F96F0D}"/>
              </a:ext>
            </a:extLst>
          </p:cNvPr>
          <p:cNvPicPr>
            <a:picLocks noChangeAspect="1"/>
          </p:cNvPicPr>
          <p:nvPr userDrawn="1"/>
        </p:nvPicPr>
        <p:blipFill>
          <a:blip r:embed="rId2"/>
          <a:srcRect/>
          <a:stretch/>
        </p:blipFill>
        <p:spPr>
          <a:xfrm>
            <a:off x="-1" y="614"/>
            <a:ext cx="12192002" cy="6857122"/>
          </a:xfrm>
          <a:prstGeom prst="rect">
            <a:avLst/>
          </a:prstGeom>
        </p:spPr>
      </p:pic>
      <p:sp>
        <p:nvSpPr>
          <p:cNvPr id="4" name="Rectangle 3">
            <a:extLst>
              <a:ext uri="{FF2B5EF4-FFF2-40B4-BE49-F238E27FC236}">
                <a16:creationId xmlns:a16="http://schemas.microsoft.com/office/drawing/2014/main" id="{29074A52-3F2A-9EE7-4B27-C5F233F838DE}"/>
              </a:ext>
            </a:extLst>
          </p:cNvPr>
          <p:cNvSpPr/>
          <p:nvPr userDrawn="1"/>
        </p:nvSpPr>
        <p:spPr bwMode="auto">
          <a:xfrm>
            <a:off x="1524" y="0"/>
            <a:ext cx="12188952" cy="6858000"/>
          </a:xfrm>
          <a:prstGeom prst="rect">
            <a:avLst/>
          </a:prstGeom>
          <a:gradFill>
            <a:gsLst>
              <a:gs pos="60000">
                <a:srgbClr val="C5B4E3">
                  <a:alpha val="90000"/>
                </a:srgbClr>
              </a:gs>
              <a:gs pos="5000">
                <a:srgbClr val="C5B4E3">
                  <a:alpha val="0"/>
                </a:srgbClr>
              </a:gs>
            </a:gsLst>
            <a:lin ang="96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00">
              <a:gradFill>
                <a:gsLst>
                  <a:gs pos="0">
                    <a:srgbClr val="FFFFFF"/>
                  </a:gs>
                  <a:gs pos="100000">
                    <a:srgbClr val="FFFFFF"/>
                  </a:gs>
                </a:gsLst>
                <a:lin ang="5400000" scaled="0"/>
              </a:gradFill>
              <a:ea typeface="Segoe UI" pitchFamily="34" charset="0"/>
              <a:cs typeface="Segoe UI" pitchFamily="34" charset="0"/>
            </a:endParaRPr>
          </a:p>
        </p:txBody>
      </p:sp>
      <p:sp>
        <p:nvSpPr>
          <p:cNvPr id="17" name="Title 1">
            <a:extLst>
              <a:ext uri="{FF2B5EF4-FFF2-40B4-BE49-F238E27FC236}">
                <a16:creationId xmlns:a16="http://schemas.microsoft.com/office/drawing/2014/main" id="{D706A20D-6595-A60E-C56C-327354C21B7B}"/>
              </a:ext>
            </a:extLst>
          </p:cNvPr>
          <p:cNvSpPr>
            <a:spLocks noGrp="1"/>
          </p:cNvSpPr>
          <p:nvPr>
            <p:ph type="title" hasCustomPrompt="1"/>
          </p:nvPr>
        </p:nvSpPr>
        <p:spPr>
          <a:xfrm>
            <a:off x="569911" y="3384610"/>
            <a:ext cx="6949440" cy="615553"/>
          </a:xfrm>
          <a:noFill/>
        </p:spPr>
        <p:txBody>
          <a:bodyPr wrap="square" lIns="0" tIns="0" rIns="0" bIns="0" anchor="b" anchorCtr="0">
            <a:spAutoFit/>
          </a:bodyPr>
          <a:lstStyle>
            <a:lvl1pPr>
              <a:defRPr sz="4000" b="0" i="0" spc="-50" baseline="0">
                <a:solidFill>
                  <a:schemeClr val="tx1"/>
                </a:solidFill>
                <a:latin typeface="+mn-lt"/>
                <a:cs typeface="Segoe UI" panose="020B0502040204020203" pitchFamily="34" charset="0"/>
              </a:defRPr>
            </a:lvl1pPr>
          </a:lstStyle>
          <a:p>
            <a:r>
              <a:rPr lang="en-US"/>
              <a:t>Section divider title</a:t>
            </a:r>
          </a:p>
        </p:txBody>
      </p:sp>
      <p:pic>
        <p:nvPicPr>
          <p:cNvPr id="5" name="Graphic 4">
            <a:extLst>
              <a:ext uri="{FF2B5EF4-FFF2-40B4-BE49-F238E27FC236}">
                <a16:creationId xmlns:a16="http://schemas.microsoft.com/office/drawing/2014/main" id="{94A5D70D-F143-643A-7BA5-AE838F1398DB}"/>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82042" y="5797122"/>
            <a:ext cx="914400" cy="478266"/>
          </a:xfrm>
          <a:prstGeom prst="rect">
            <a:avLst/>
          </a:prstGeom>
          <a:effectLst/>
        </p:spPr>
      </p:pic>
      <p:sp>
        <p:nvSpPr>
          <p:cNvPr id="6" name="Text Placeholder 4">
            <a:extLst>
              <a:ext uri="{FF2B5EF4-FFF2-40B4-BE49-F238E27FC236}">
                <a16:creationId xmlns:a16="http://schemas.microsoft.com/office/drawing/2014/main" id="{D7B05DCE-3D4E-B234-9CF8-EE146E7BA853}"/>
              </a:ext>
            </a:extLst>
          </p:cNvPr>
          <p:cNvSpPr>
            <a:spLocks noGrp="1"/>
          </p:cNvSpPr>
          <p:nvPr>
            <p:ph type="body" sz="quarter" idx="12" hasCustomPrompt="1"/>
          </p:nvPr>
        </p:nvSpPr>
        <p:spPr>
          <a:xfrm>
            <a:off x="582042" y="4209297"/>
            <a:ext cx="6949440" cy="215444"/>
          </a:xfrm>
          <a:prstGeom prst="rect">
            <a:avLst/>
          </a:prstGeom>
          <a:noFill/>
        </p:spPr>
        <p:txBody>
          <a:bodyPr wrap="square" lIns="0" tIns="0" rIns="0" bIns="0">
            <a:spAutoFit/>
          </a:bodyPr>
          <a:lstStyle>
            <a:lvl1pPr marL="0" indent="0">
              <a:spcBef>
                <a:spcPts val="0"/>
              </a:spcBef>
              <a:buNone/>
              <a:defRPr sz="1400" spc="0" baseline="0">
                <a:solidFill>
                  <a:schemeClr val="tx1"/>
                </a:solidFill>
                <a:latin typeface="+mn-lt"/>
                <a:cs typeface="Segoe UI" panose="020B0502040204020203" pitchFamily="34" charset="0"/>
              </a:defRPr>
            </a:lvl1pPr>
          </a:lstStyle>
          <a:p>
            <a:pPr lvl="0"/>
            <a:r>
              <a:rPr lang="en-US"/>
              <a:t>Subtitle</a:t>
            </a:r>
          </a:p>
        </p:txBody>
      </p:sp>
    </p:spTree>
    <p:extLst>
      <p:ext uri="{BB962C8B-B14F-4D97-AF65-F5344CB8AC3E}">
        <p14:creationId xmlns:p14="http://schemas.microsoft.com/office/powerpoint/2010/main" val="31077615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pos="5075">
          <p15:clr>
            <a:srgbClr val="FBAE40"/>
          </p15:clr>
        </p15:guide>
        <p15:guide id="2" orient="horz" pos="2450">
          <p15:clr>
            <a:srgbClr val="FBAE40"/>
          </p15:clr>
        </p15:guide>
        <p15:guide id="3" orient="horz" pos="2647">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itle Slide 1">
    <p:bg>
      <p:bgPr>
        <a:solidFill>
          <a:schemeClr val="bg2">
            <a:lumMod val="50000"/>
          </a:schemeClr>
        </a:solidFill>
        <a:effectLst/>
      </p:bgPr>
    </p:bg>
    <p:spTree>
      <p:nvGrpSpPr>
        <p:cNvPr id="1" name=""/>
        <p:cNvGrpSpPr/>
        <p:nvPr/>
      </p:nvGrpSpPr>
      <p:grpSpPr>
        <a:xfrm>
          <a:off x="0" y="0"/>
          <a:ext cx="0" cy="0"/>
          <a:chOff x="0" y="0"/>
          <a:chExt cx="0" cy="0"/>
        </a:xfrm>
      </p:grpSpPr>
      <p:pic>
        <p:nvPicPr>
          <p:cNvPr id="8" name="Picture 7" descr="A picture containing sky">
            <a:extLst>
              <a:ext uri="{FF2B5EF4-FFF2-40B4-BE49-F238E27FC236}">
                <a16:creationId xmlns:a16="http://schemas.microsoft.com/office/drawing/2014/main" id="{485ADBE3-A7E9-DC83-18A9-40B7E17A80A1}"/>
              </a:ext>
            </a:extLst>
          </p:cNvPr>
          <p:cNvPicPr>
            <a:picLocks noChangeAspect="1"/>
          </p:cNvPicPr>
          <p:nvPr userDrawn="1"/>
        </p:nvPicPr>
        <p:blipFill rotWithShape="1">
          <a:blip r:embed="rId2">
            <a:duotone>
              <a:prstClr val="black"/>
              <a:schemeClr val="accent1">
                <a:tint val="45000"/>
                <a:satMod val="400000"/>
              </a:schemeClr>
            </a:duotone>
            <a:alphaModFix amt="5000"/>
          </a:blip>
          <a:srcRect b="6250"/>
          <a:stretch/>
        </p:blipFill>
        <p:spPr>
          <a:xfrm>
            <a:off x="0" y="0"/>
            <a:ext cx="12192000" cy="6858000"/>
          </a:xfrm>
          <a:prstGeom prst="rect">
            <a:avLst/>
          </a:prstGeom>
        </p:spPr>
      </p:pic>
      <p:sp>
        <p:nvSpPr>
          <p:cNvPr id="9" name="Title 1"/>
          <p:cNvSpPr>
            <a:spLocks noGrp="1"/>
          </p:cNvSpPr>
          <p:nvPr>
            <p:ph type="title" hasCustomPrompt="1"/>
          </p:nvPr>
        </p:nvSpPr>
        <p:spPr>
          <a:xfrm>
            <a:off x="584200" y="2425780"/>
            <a:ext cx="5243453" cy="1107996"/>
          </a:xfrm>
          <a:noFill/>
        </p:spPr>
        <p:txBody>
          <a:bodyPr wrap="square" lIns="0" tIns="0" rIns="0" bIns="0" anchor="b" anchorCtr="0">
            <a:spAutoFit/>
          </a:bodyPr>
          <a:lstStyle>
            <a:lvl1pPr algn="l" defTabSz="932742" rtl="0" eaLnBrk="1" latinLnBrk="0" hangingPunct="1">
              <a:lnSpc>
                <a:spcPct val="100000"/>
              </a:lnSpc>
              <a:spcBef>
                <a:spcPct val="0"/>
              </a:spcBef>
              <a:buNone/>
              <a:defRPr lang="en-US" sz="3600" b="0" kern="1200" cap="all" spc="300" baseline="0" dirty="0">
                <a:ln w="3175">
                  <a:noFill/>
                </a:ln>
                <a:gradFill flip="none" rotWithShape="1">
                  <a:gsLst>
                    <a:gs pos="22000">
                      <a:schemeClr val="accent1">
                        <a:lumMod val="60000"/>
                        <a:lumOff val="40000"/>
                      </a:schemeClr>
                    </a:gs>
                    <a:gs pos="100000">
                      <a:schemeClr val="accent3"/>
                    </a:gs>
                  </a:gsLst>
                  <a:lin ang="5400000" scaled="1"/>
                  <a:tileRect/>
                </a:gradFill>
                <a:effectLst/>
                <a:latin typeface="+mj-lt"/>
                <a:ea typeface="+mn-ea"/>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066995"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grpSp>
        <p:nvGrpSpPr>
          <p:cNvPr id="10" name="Group 9">
            <a:extLst>
              <a:ext uri="{FF2B5EF4-FFF2-40B4-BE49-F238E27FC236}">
                <a16:creationId xmlns:a16="http://schemas.microsoft.com/office/drawing/2014/main" id="{D75EFFCA-AC9F-46F3-7E03-B546AED9DA8E}"/>
              </a:ext>
            </a:extLst>
          </p:cNvPr>
          <p:cNvGrpSpPr/>
          <p:nvPr userDrawn="1"/>
        </p:nvGrpSpPr>
        <p:grpSpPr>
          <a:xfrm>
            <a:off x="5915867" y="519827"/>
            <a:ext cx="5825283" cy="5818346"/>
            <a:chOff x="3183359" y="519827"/>
            <a:chExt cx="5825283" cy="5818346"/>
          </a:xfrm>
        </p:grpSpPr>
        <p:grpSp>
          <p:nvGrpSpPr>
            <p:cNvPr id="11" name="Group 10">
              <a:extLst>
                <a:ext uri="{FF2B5EF4-FFF2-40B4-BE49-F238E27FC236}">
                  <a16:creationId xmlns:a16="http://schemas.microsoft.com/office/drawing/2014/main" id="{9E812A3D-4135-B7F9-417A-A0A8FDFBF8E3}"/>
                </a:ext>
              </a:extLst>
            </p:cNvPr>
            <p:cNvGrpSpPr/>
            <p:nvPr/>
          </p:nvGrpSpPr>
          <p:grpSpPr>
            <a:xfrm>
              <a:off x="3917249" y="1250921"/>
              <a:ext cx="4357502" cy="4356159"/>
              <a:chOff x="8442564" y="3939160"/>
              <a:chExt cx="2512706" cy="2511932"/>
            </a:xfrm>
            <a:effectLst>
              <a:outerShdw blurRad="381000" algn="ctr" rotWithShape="0">
                <a:prstClr val="black">
                  <a:alpha val="46000"/>
                </a:prstClr>
              </a:outerShdw>
            </a:effectLst>
          </p:grpSpPr>
          <p:sp>
            <p:nvSpPr>
              <p:cNvPr id="13" name="Freeform: Shape 12">
                <a:extLst>
                  <a:ext uri="{FF2B5EF4-FFF2-40B4-BE49-F238E27FC236}">
                    <a16:creationId xmlns:a16="http://schemas.microsoft.com/office/drawing/2014/main" id="{2288D2A9-3F07-DB74-D3E5-9DEB1716C6EF}"/>
                  </a:ext>
                </a:extLst>
              </p:cNvPr>
              <p:cNvSpPr/>
              <p:nvPr/>
            </p:nvSpPr>
            <p:spPr>
              <a:xfrm>
                <a:off x="8442564" y="3939160"/>
                <a:ext cx="2511932" cy="2511932"/>
              </a:xfrm>
              <a:custGeom>
                <a:avLst/>
                <a:gdLst>
                  <a:gd name="connsiteX0" fmla="*/ 2511933 w 2511932"/>
                  <a:gd name="connsiteY0" fmla="*/ 1255967 h 2511932"/>
                  <a:gd name="connsiteX1" fmla="*/ 1255966 w 2511932"/>
                  <a:gd name="connsiteY1" fmla="*/ 2511933 h 2511932"/>
                  <a:gd name="connsiteX2" fmla="*/ 0 w 2511932"/>
                  <a:gd name="connsiteY2" fmla="*/ 1255967 h 2511932"/>
                  <a:gd name="connsiteX3" fmla="*/ 1255966 w 2511932"/>
                  <a:gd name="connsiteY3" fmla="*/ 0 h 2511932"/>
                  <a:gd name="connsiteX4" fmla="*/ 2511933 w 2511932"/>
                  <a:gd name="connsiteY4" fmla="*/ 1255967 h 25119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1932" h="2511932">
                    <a:moveTo>
                      <a:pt x="2511933" y="1255967"/>
                    </a:moveTo>
                    <a:cubicBezTo>
                      <a:pt x="2511933" y="1949577"/>
                      <a:pt x="1949577" y="2511933"/>
                      <a:pt x="1255966" y="2511933"/>
                    </a:cubicBezTo>
                    <a:cubicBezTo>
                      <a:pt x="562356" y="2511933"/>
                      <a:pt x="0" y="1949577"/>
                      <a:pt x="0" y="1255967"/>
                    </a:cubicBezTo>
                    <a:cubicBezTo>
                      <a:pt x="0" y="562356"/>
                      <a:pt x="562261" y="0"/>
                      <a:pt x="1255966" y="0"/>
                    </a:cubicBezTo>
                    <a:cubicBezTo>
                      <a:pt x="1949672" y="0"/>
                      <a:pt x="2511933" y="562261"/>
                      <a:pt x="2511933" y="1255967"/>
                    </a:cubicBezTo>
                    <a:close/>
                  </a:path>
                </a:pathLst>
              </a:custGeom>
              <a:solidFill>
                <a:schemeClr val="bg2">
                  <a:lumMod val="50000"/>
                </a:schemeClr>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4" name="Graphic 2">
                <a:extLst>
                  <a:ext uri="{FF2B5EF4-FFF2-40B4-BE49-F238E27FC236}">
                    <a16:creationId xmlns:a16="http://schemas.microsoft.com/office/drawing/2014/main" id="{A18BE0A2-C957-6232-E312-988B31A80B1F}"/>
                  </a:ext>
                </a:extLst>
              </p:cNvPr>
              <p:cNvGrpSpPr/>
              <p:nvPr/>
            </p:nvGrpSpPr>
            <p:grpSpPr>
              <a:xfrm>
                <a:off x="8531082" y="3939338"/>
                <a:ext cx="2424188" cy="2422232"/>
                <a:chOff x="7965025" y="2262842"/>
                <a:chExt cx="2424188" cy="2422232"/>
              </a:xfrm>
              <a:gradFill>
                <a:gsLst>
                  <a:gs pos="8000">
                    <a:schemeClr val="accent1"/>
                  </a:gs>
                  <a:gs pos="100000">
                    <a:schemeClr val="bg2">
                      <a:lumMod val="75000"/>
                    </a:schemeClr>
                  </a:gs>
                </a:gsLst>
                <a:path path="circle">
                  <a:fillToRect l="50000" t="50000" r="50000" b="50000"/>
                </a:path>
              </a:gradFill>
            </p:grpSpPr>
            <p:sp>
              <p:nvSpPr>
                <p:cNvPr id="15" name="Freeform: Shape 14">
                  <a:extLst>
                    <a:ext uri="{FF2B5EF4-FFF2-40B4-BE49-F238E27FC236}">
                      <a16:creationId xmlns:a16="http://schemas.microsoft.com/office/drawing/2014/main" id="{11DE99BF-6D35-00EB-761F-E721F798C866}"/>
                    </a:ext>
                  </a:extLst>
                </p:cNvPr>
                <p:cNvSpPr/>
                <p:nvPr/>
              </p:nvSpPr>
              <p:spPr>
                <a:xfrm>
                  <a:off x="8566455" y="2402301"/>
                  <a:ext cx="18438" cy="11468"/>
                </a:xfrm>
                <a:custGeom>
                  <a:avLst/>
                  <a:gdLst>
                    <a:gd name="connsiteX0" fmla="*/ 17760 w 18438"/>
                    <a:gd name="connsiteY0" fmla="*/ 0 h 11468"/>
                    <a:gd name="connsiteX1" fmla="*/ 15950 w 18438"/>
                    <a:gd name="connsiteY1" fmla="*/ 381 h 11468"/>
                    <a:gd name="connsiteX2" fmla="*/ 8521 w 18438"/>
                    <a:gd name="connsiteY2" fmla="*/ 3905 h 11468"/>
                    <a:gd name="connsiteX3" fmla="*/ 710 w 18438"/>
                    <a:gd name="connsiteY3" fmla="*/ 10382 h 11468"/>
                    <a:gd name="connsiteX4" fmla="*/ 43 w 18438"/>
                    <a:gd name="connsiteY4" fmla="*/ 11335 h 11468"/>
                    <a:gd name="connsiteX5" fmla="*/ 13759 w 18438"/>
                    <a:gd name="connsiteY5" fmla="*/ 5620 h 11468"/>
                    <a:gd name="connsiteX6" fmla="*/ 17665 w 18438"/>
                    <a:gd name="connsiteY6" fmla="*/ 0 h 11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438" h="11468">
                      <a:moveTo>
                        <a:pt x="17760" y="0"/>
                      </a:moveTo>
                      <a:cubicBezTo>
                        <a:pt x="17760" y="0"/>
                        <a:pt x="16807" y="0"/>
                        <a:pt x="15950" y="381"/>
                      </a:cubicBezTo>
                      <a:cubicBezTo>
                        <a:pt x="13188" y="1429"/>
                        <a:pt x="9092" y="3429"/>
                        <a:pt x="8521" y="3905"/>
                      </a:cubicBezTo>
                      <a:cubicBezTo>
                        <a:pt x="7854" y="4381"/>
                        <a:pt x="710" y="10287"/>
                        <a:pt x="710" y="10382"/>
                      </a:cubicBezTo>
                      <a:cubicBezTo>
                        <a:pt x="329" y="10763"/>
                        <a:pt x="-147" y="11144"/>
                        <a:pt x="43" y="11335"/>
                      </a:cubicBezTo>
                      <a:cubicBezTo>
                        <a:pt x="43" y="11335"/>
                        <a:pt x="3472" y="12859"/>
                        <a:pt x="13759" y="5620"/>
                      </a:cubicBezTo>
                      <a:cubicBezTo>
                        <a:pt x="19474" y="1715"/>
                        <a:pt x="18808" y="286"/>
                        <a:pt x="17665" y="0"/>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Segoe UI"/>
                    <a:ea typeface="+mn-ea"/>
                    <a:cs typeface="+mn-cs"/>
                  </a:endParaRPr>
                </a:p>
              </p:txBody>
            </p:sp>
            <p:sp>
              <p:nvSpPr>
                <p:cNvPr id="16" name="Freeform: Shape 15">
                  <a:extLst>
                    <a:ext uri="{FF2B5EF4-FFF2-40B4-BE49-F238E27FC236}">
                      <a16:creationId xmlns:a16="http://schemas.microsoft.com/office/drawing/2014/main" id="{2DE415D7-31FB-6A70-A64F-F694D258381E}"/>
                    </a:ext>
                  </a:extLst>
                </p:cNvPr>
                <p:cNvSpPr/>
                <p:nvPr/>
              </p:nvSpPr>
              <p:spPr>
                <a:xfrm>
                  <a:off x="8559198" y="2395729"/>
                  <a:ext cx="8443" cy="4513"/>
                </a:xfrm>
                <a:custGeom>
                  <a:avLst/>
                  <a:gdLst>
                    <a:gd name="connsiteX0" fmla="*/ 8348 w 8443"/>
                    <a:gd name="connsiteY0" fmla="*/ 0 h 4513"/>
                    <a:gd name="connsiteX1" fmla="*/ 7586 w 8443"/>
                    <a:gd name="connsiteY1" fmla="*/ 191 h 4513"/>
                    <a:gd name="connsiteX2" fmla="*/ 1300 w 8443"/>
                    <a:gd name="connsiteY2" fmla="*/ 3048 h 4513"/>
                    <a:gd name="connsiteX3" fmla="*/ 61 w 8443"/>
                    <a:gd name="connsiteY3" fmla="*/ 4477 h 4513"/>
                    <a:gd name="connsiteX4" fmla="*/ 3681 w 8443"/>
                    <a:gd name="connsiteY4" fmla="*/ 3334 h 4513"/>
                    <a:gd name="connsiteX5" fmla="*/ 8443 w 8443"/>
                    <a:gd name="connsiteY5" fmla="*/ 0 h 4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3" h="4513">
                      <a:moveTo>
                        <a:pt x="8348" y="0"/>
                      </a:moveTo>
                      <a:cubicBezTo>
                        <a:pt x="8348" y="0"/>
                        <a:pt x="7777" y="0"/>
                        <a:pt x="7586" y="191"/>
                      </a:cubicBezTo>
                      <a:cubicBezTo>
                        <a:pt x="5872" y="857"/>
                        <a:pt x="1966" y="2667"/>
                        <a:pt x="1300" y="3048"/>
                      </a:cubicBezTo>
                      <a:cubicBezTo>
                        <a:pt x="538" y="3524"/>
                        <a:pt x="-224" y="4381"/>
                        <a:pt x="61" y="4477"/>
                      </a:cubicBezTo>
                      <a:cubicBezTo>
                        <a:pt x="442" y="4667"/>
                        <a:pt x="2062" y="4096"/>
                        <a:pt x="3681" y="3334"/>
                      </a:cubicBezTo>
                      <a:cubicBezTo>
                        <a:pt x="4443" y="2953"/>
                        <a:pt x="8253" y="572"/>
                        <a:pt x="8443" y="0"/>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Segoe UI"/>
                    <a:ea typeface="+mn-ea"/>
                    <a:cs typeface="+mn-cs"/>
                  </a:endParaRPr>
                </a:p>
              </p:txBody>
            </p:sp>
            <p:sp>
              <p:nvSpPr>
                <p:cNvPr id="17" name="Freeform: Shape 16">
                  <a:extLst>
                    <a:ext uri="{FF2B5EF4-FFF2-40B4-BE49-F238E27FC236}">
                      <a16:creationId xmlns:a16="http://schemas.microsoft.com/office/drawing/2014/main" id="{6C3AEE83-5388-DACA-A6AB-A401DB5A1808}"/>
                    </a:ext>
                  </a:extLst>
                </p:cNvPr>
                <p:cNvSpPr/>
                <p:nvPr/>
              </p:nvSpPr>
              <p:spPr>
                <a:xfrm>
                  <a:off x="8580500" y="2373535"/>
                  <a:ext cx="36290" cy="15621"/>
                </a:xfrm>
                <a:custGeom>
                  <a:avLst/>
                  <a:gdLst>
                    <a:gd name="connsiteX0" fmla="*/ 17240 w 36290"/>
                    <a:gd name="connsiteY0" fmla="*/ 8668 h 15621"/>
                    <a:gd name="connsiteX1" fmla="*/ 23241 w 36290"/>
                    <a:gd name="connsiteY1" fmla="*/ 6763 h 15621"/>
                    <a:gd name="connsiteX2" fmla="*/ 30575 w 36290"/>
                    <a:gd name="connsiteY2" fmla="*/ 3239 h 15621"/>
                    <a:gd name="connsiteX3" fmla="*/ 36290 w 36290"/>
                    <a:gd name="connsiteY3" fmla="*/ 0 h 15621"/>
                    <a:gd name="connsiteX4" fmla="*/ 35147 w 36290"/>
                    <a:gd name="connsiteY4" fmla="*/ 95 h 15621"/>
                    <a:gd name="connsiteX5" fmla="*/ 0 w 36290"/>
                    <a:gd name="connsiteY5" fmla="*/ 15621 h 15621"/>
                    <a:gd name="connsiteX6" fmla="*/ 9335 w 36290"/>
                    <a:gd name="connsiteY6" fmla="*/ 12002 h 15621"/>
                    <a:gd name="connsiteX7" fmla="*/ 17240 w 36290"/>
                    <a:gd name="connsiteY7" fmla="*/ 8668 h 15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290" h="15621">
                      <a:moveTo>
                        <a:pt x="17240" y="8668"/>
                      </a:moveTo>
                      <a:cubicBezTo>
                        <a:pt x="19212" y="8223"/>
                        <a:pt x="21212" y="7589"/>
                        <a:pt x="23241" y="6763"/>
                      </a:cubicBezTo>
                      <a:cubicBezTo>
                        <a:pt x="23241" y="6763"/>
                        <a:pt x="26194" y="5525"/>
                        <a:pt x="30575" y="3239"/>
                      </a:cubicBezTo>
                      <a:cubicBezTo>
                        <a:pt x="30575" y="3239"/>
                        <a:pt x="35528" y="572"/>
                        <a:pt x="36290" y="0"/>
                      </a:cubicBezTo>
                      <a:cubicBezTo>
                        <a:pt x="36290" y="0"/>
                        <a:pt x="35909" y="31"/>
                        <a:pt x="35147" y="95"/>
                      </a:cubicBezTo>
                      <a:cubicBezTo>
                        <a:pt x="35147" y="95"/>
                        <a:pt x="16764" y="6668"/>
                        <a:pt x="0" y="15621"/>
                      </a:cubicBezTo>
                      <a:lnTo>
                        <a:pt x="9335" y="12002"/>
                      </a:lnTo>
                      <a:cubicBezTo>
                        <a:pt x="12002" y="10954"/>
                        <a:pt x="14383" y="9334"/>
                        <a:pt x="17240" y="8668"/>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C47715E2-DDA4-3B73-06D6-F126F17E3C74}"/>
                    </a:ext>
                  </a:extLst>
                </p:cNvPr>
                <p:cNvSpPr/>
                <p:nvPr/>
              </p:nvSpPr>
              <p:spPr>
                <a:xfrm>
                  <a:off x="8554116" y="2386013"/>
                  <a:ext cx="39528" cy="19436"/>
                </a:xfrm>
                <a:custGeom>
                  <a:avLst/>
                  <a:gdLst>
                    <a:gd name="connsiteX0" fmla="*/ 24194 w 39528"/>
                    <a:gd name="connsiteY0" fmla="*/ 7334 h 19436"/>
                    <a:gd name="connsiteX1" fmla="*/ 23908 w 39528"/>
                    <a:gd name="connsiteY1" fmla="*/ 7334 h 19436"/>
                    <a:gd name="connsiteX2" fmla="*/ 31337 w 39528"/>
                    <a:gd name="connsiteY2" fmla="*/ 3905 h 19436"/>
                    <a:gd name="connsiteX3" fmla="*/ 38576 w 39528"/>
                    <a:gd name="connsiteY3" fmla="*/ 667 h 19436"/>
                    <a:gd name="connsiteX4" fmla="*/ 39529 w 39528"/>
                    <a:gd name="connsiteY4" fmla="*/ 0 h 19436"/>
                    <a:gd name="connsiteX5" fmla="*/ 38100 w 39528"/>
                    <a:gd name="connsiteY5" fmla="*/ 286 h 19436"/>
                    <a:gd name="connsiteX6" fmla="*/ 0 w 39528"/>
                    <a:gd name="connsiteY6" fmla="*/ 19431 h 19436"/>
                    <a:gd name="connsiteX7" fmla="*/ 24098 w 39528"/>
                    <a:gd name="connsiteY7" fmla="*/ 8477 h 19436"/>
                    <a:gd name="connsiteX8" fmla="*/ 24289 w 39528"/>
                    <a:gd name="connsiteY8" fmla="*/ 7429 h 19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528" h="19436">
                      <a:moveTo>
                        <a:pt x="24194" y="7334"/>
                      </a:moveTo>
                      <a:cubicBezTo>
                        <a:pt x="24194" y="7334"/>
                        <a:pt x="24003" y="7334"/>
                        <a:pt x="23908" y="7334"/>
                      </a:cubicBezTo>
                      <a:cubicBezTo>
                        <a:pt x="24289" y="6953"/>
                        <a:pt x="24479" y="6763"/>
                        <a:pt x="31337" y="3905"/>
                      </a:cubicBezTo>
                      <a:cubicBezTo>
                        <a:pt x="33719" y="2953"/>
                        <a:pt x="36862" y="1524"/>
                        <a:pt x="38576" y="667"/>
                      </a:cubicBezTo>
                      <a:cubicBezTo>
                        <a:pt x="38862" y="476"/>
                        <a:pt x="39338" y="286"/>
                        <a:pt x="39529" y="0"/>
                      </a:cubicBezTo>
                      <a:cubicBezTo>
                        <a:pt x="39052" y="0"/>
                        <a:pt x="38481" y="191"/>
                        <a:pt x="38100" y="286"/>
                      </a:cubicBezTo>
                      <a:cubicBezTo>
                        <a:pt x="18193" y="6763"/>
                        <a:pt x="2572" y="17050"/>
                        <a:pt x="0" y="19431"/>
                      </a:cubicBezTo>
                      <a:cubicBezTo>
                        <a:pt x="1619" y="19717"/>
                        <a:pt x="22860" y="9334"/>
                        <a:pt x="24098" y="8477"/>
                      </a:cubicBezTo>
                      <a:cubicBezTo>
                        <a:pt x="24098" y="8096"/>
                        <a:pt x="24194" y="7810"/>
                        <a:pt x="24289" y="7429"/>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Segoe UI"/>
                    <a:ea typeface="+mn-ea"/>
                    <a:cs typeface="+mn-cs"/>
                  </a:endParaRPr>
                </a:p>
              </p:txBody>
            </p:sp>
            <p:sp>
              <p:nvSpPr>
                <p:cNvPr id="19" name="Freeform: Shape 18">
                  <a:extLst>
                    <a:ext uri="{FF2B5EF4-FFF2-40B4-BE49-F238E27FC236}">
                      <a16:creationId xmlns:a16="http://schemas.microsoft.com/office/drawing/2014/main" id="{3AB6F854-4187-D6C9-DDA1-D89F77D09704}"/>
                    </a:ext>
                  </a:extLst>
                </p:cNvPr>
                <p:cNvSpPr/>
                <p:nvPr/>
              </p:nvSpPr>
              <p:spPr>
                <a:xfrm>
                  <a:off x="8592692" y="2384637"/>
                  <a:ext cx="13334" cy="10043"/>
                </a:xfrm>
                <a:custGeom>
                  <a:avLst/>
                  <a:gdLst>
                    <a:gd name="connsiteX0" fmla="*/ 5905 w 13334"/>
                    <a:gd name="connsiteY0" fmla="*/ 6805 h 10043"/>
                    <a:gd name="connsiteX1" fmla="*/ 7048 w 13334"/>
                    <a:gd name="connsiteY1" fmla="*/ 5948 h 10043"/>
                    <a:gd name="connsiteX2" fmla="*/ 8953 w 13334"/>
                    <a:gd name="connsiteY2" fmla="*/ 4043 h 10043"/>
                    <a:gd name="connsiteX3" fmla="*/ 12573 w 13334"/>
                    <a:gd name="connsiteY3" fmla="*/ 900 h 10043"/>
                    <a:gd name="connsiteX4" fmla="*/ 13335 w 13334"/>
                    <a:gd name="connsiteY4" fmla="*/ 42 h 10043"/>
                    <a:gd name="connsiteX5" fmla="*/ 12668 w 13334"/>
                    <a:gd name="connsiteY5" fmla="*/ 42 h 10043"/>
                    <a:gd name="connsiteX6" fmla="*/ 1143 w 13334"/>
                    <a:gd name="connsiteY6" fmla="*/ 7186 h 10043"/>
                    <a:gd name="connsiteX7" fmla="*/ 1143 w 13334"/>
                    <a:gd name="connsiteY7" fmla="*/ 7186 h 10043"/>
                    <a:gd name="connsiteX8" fmla="*/ 0 w 13334"/>
                    <a:gd name="connsiteY8" fmla="*/ 10044 h 10043"/>
                    <a:gd name="connsiteX9" fmla="*/ 5810 w 13334"/>
                    <a:gd name="connsiteY9" fmla="*/ 6805 h 10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334" h="10043">
                      <a:moveTo>
                        <a:pt x="5905" y="6805"/>
                      </a:moveTo>
                      <a:cubicBezTo>
                        <a:pt x="5905" y="6805"/>
                        <a:pt x="6763" y="6234"/>
                        <a:pt x="7048" y="5948"/>
                      </a:cubicBezTo>
                      <a:cubicBezTo>
                        <a:pt x="7715" y="5376"/>
                        <a:pt x="8287" y="4614"/>
                        <a:pt x="8953" y="4043"/>
                      </a:cubicBezTo>
                      <a:cubicBezTo>
                        <a:pt x="10096" y="2995"/>
                        <a:pt x="11430" y="1947"/>
                        <a:pt x="12573" y="900"/>
                      </a:cubicBezTo>
                      <a:cubicBezTo>
                        <a:pt x="13240" y="233"/>
                        <a:pt x="13240" y="138"/>
                        <a:pt x="13335" y="42"/>
                      </a:cubicBezTo>
                      <a:cubicBezTo>
                        <a:pt x="13335" y="42"/>
                        <a:pt x="13144" y="-53"/>
                        <a:pt x="12668" y="42"/>
                      </a:cubicBezTo>
                      <a:cubicBezTo>
                        <a:pt x="8572" y="1376"/>
                        <a:pt x="1619" y="6519"/>
                        <a:pt x="1143" y="7186"/>
                      </a:cubicBezTo>
                      <a:cubicBezTo>
                        <a:pt x="1143" y="7186"/>
                        <a:pt x="1143" y="7186"/>
                        <a:pt x="1143" y="7186"/>
                      </a:cubicBezTo>
                      <a:cubicBezTo>
                        <a:pt x="1591" y="7440"/>
                        <a:pt x="1210" y="8393"/>
                        <a:pt x="0" y="10044"/>
                      </a:cubicBezTo>
                      <a:cubicBezTo>
                        <a:pt x="571" y="10044"/>
                        <a:pt x="5810" y="6900"/>
                        <a:pt x="5810" y="6805"/>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Segoe UI"/>
                    <a:ea typeface="+mn-ea"/>
                    <a:cs typeface="+mn-cs"/>
                  </a:endParaRPr>
                </a:p>
              </p:txBody>
            </p:sp>
            <p:sp>
              <p:nvSpPr>
                <p:cNvPr id="20" name="Freeform: Shape 19">
                  <a:extLst>
                    <a:ext uri="{FF2B5EF4-FFF2-40B4-BE49-F238E27FC236}">
                      <a16:creationId xmlns:a16="http://schemas.microsoft.com/office/drawing/2014/main" id="{40EDDE34-5B3C-B229-EF49-BCF9898C6028}"/>
                    </a:ext>
                  </a:extLst>
                </p:cNvPr>
                <p:cNvSpPr/>
                <p:nvPr/>
              </p:nvSpPr>
              <p:spPr>
                <a:xfrm>
                  <a:off x="8533256" y="2428113"/>
                  <a:ext cx="15562" cy="8667"/>
                </a:xfrm>
                <a:custGeom>
                  <a:avLst/>
                  <a:gdLst>
                    <a:gd name="connsiteX0" fmla="*/ 15335 w 15562"/>
                    <a:gd name="connsiteY0" fmla="*/ 0 h 8667"/>
                    <a:gd name="connsiteX1" fmla="*/ 14097 w 15562"/>
                    <a:gd name="connsiteY1" fmla="*/ 191 h 8667"/>
                    <a:gd name="connsiteX2" fmla="*/ 10668 w 15562"/>
                    <a:gd name="connsiteY2" fmla="*/ 1524 h 8667"/>
                    <a:gd name="connsiteX3" fmla="*/ 0 w 15562"/>
                    <a:gd name="connsiteY3" fmla="*/ 8573 h 8667"/>
                    <a:gd name="connsiteX4" fmla="*/ 0 w 15562"/>
                    <a:gd name="connsiteY4" fmla="*/ 8668 h 8667"/>
                    <a:gd name="connsiteX5" fmla="*/ 13526 w 15562"/>
                    <a:gd name="connsiteY5" fmla="*/ 2381 h 8667"/>
                    <a:gd name="connsiteX6" fmla="*/ 15240 w 15562"/>
                    <a:gd name="connsiteY6" fmla="*/ 0 h 8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562" h="8667">
                      <a:moveTo>
                        <a:pt x="15335" y="0"/>
                      </a:moveTo>
                      <a:cubicBezTo>
                        <a:pt x="15335" y="0"/>
                        <a:pt x="14478" y="0"/>
                        <a:pt x="14097" y="191"/>
                      </a:cubicBezTo>
                      <a:cubicBezTo>
                        <a:pt x="12287" y="762"/>
                        <a:pt x="10668" y="1524"/>
                        <a:pt x="10668" y="1524"/>
                      </a:cubicBezTo>
                      <a:cubicBezTo>
                        <a:pt x="5906" y="3905"/>
                        <a:pt x="381" y="8001"/>
                        <a:pt x="0" y="8573"/>
                      </a:cubicBezTo>
                      <a:cubicBezTo>
                        <a:pt x="0" y="8573"/>
                        <a:pt x="0" y="8573"/>
                        <a:pt x="0" y="8668"/>
                      </a:cubicBezTo>
                      <a:cubicBezTo>
                        <a:pt x="857" y="8668"/>
                        <a:pt x="9811" y="5048"/>
                        <a:pt x="13526" y="2381"/>
                      </a:cubicBezTo>
                      <a:cubicBezTo>
                        <a:pt x="14859" y="1429"/>
                        <a:pt x="16193" y="191"/>
                        <a:pt x="15240" y="0"/>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Segoe UI"/>
                    <a:ea typeface="+mn-ea"/>
                    <a:cs typeface="+mn-cs"/>
                  </a:endParaRPr>
                </a:p>
              </p:txBody>
            </p:sp>
            <p:sp>
              <p:nvSpPr>
                <p:cNvPr id="21" name="Freeform: Shape 20">
                  <a:extLst>
                    <a:ext uri="{FF2B5EF4-FFF2-40B4-BE49-F238E27FC236}">
                      <a16:creationId xmlns:a16="http://schemas.microsoft.com/office/drawing/2014/main" id="{426F92DF-1945-8B9B-4C11-F487E93A0B46}"/>
                    </a:ext>
                  </a:extLst>
                </p:cNvPr>
                <p:cNvSpPr/>
                <p:nvPr/>
              </p:nvSpPr>
              <p:spPr>
                <a:xfrm>
                  <a:off x="8491606" y="2448241"/>
                  <a:ext cx="66034" cy="51664"/>
                </a:xfrm>
                <a:custGeom>
                  <a:avLst/>
                  <a:gdLst>
                    <a:gd name="connsiteX0" fmla="*/ 66034 w 66034"/>
                    <a:gd name="connsiteY0" fmla="*/ 446 h 51664"/>
                    <a:gd name="connsiteX1" fmla="*/ 62415 w 66034"/>
                    <a:gd name="connsiteY1" fmla="*/ 160 h 51664"/>
                    <a:gd name="connsiteX2" fmla="*/ 60891 w 66034"/>
                    <a:gd name="connsiteY2" fmla="*/ 446 h 51664"/>
                    <a:gd name="connsiteX3" fmla="*/ 47937 w 66034"/>
                    <a:gd name="connsiteY3" fmla="*/ 3018 h 51664"/>
                    <a:gd name="connsiteX4" fmla="*/ 22981 w 66034"/>
                    <a:gd name="connsiteY4" fmla="*/ 15686 h 51664"/>
                    <a:gd name="connsiteX5" fmla="*/ 23076 w 66034"/>
                    <a:gd name="connsiteY5" fmla="*/ 16067 h 51664"/>
                    <a:gd name="connsiteX6" fmla="*/ 27363 w 66034"/>
                    <a:gd name="connsiteY6" fmla="*/ 16734 h 51664"/>
                    <a:gd name="connsiteX7" fmla="*/ 28410 w 66034"/>
                    <a:gd name="connsiteY7" fmla="*/ 19782 h 51664"/>
                    <a:gd name="connsiteX8" fmla="*/ 13075 w 66034"/>
                    <a:gd name="connsiteY8" fmla="*/ 31117 h 51664"/>
                    <a:gd name="connsiteX9" fmla="*/ 10884 w 66034"/>
                    <a:gd name="connsiteY9" fmla="*/ 31783 h 51664"/>
                    <a:gd name="connsiteX10" fmla="*/ 14218 w 66034"/>
                    <a:gd name="connsiteY10" fmla="*/ 24449 h 51664"/>
                    <a:gd name="connsiteX11" fmla="*/ 216 w 66034"/>
                    <a:gd name="connsiteY11" fmla="*/ 33403 h 51664"/>
                    <a:gd name="connsiteX12" fmla="*/ 26 w 66034"/>
                    <a:gd name="connsiteY12" fmla="*/ 34546 h 51664"/>
                    <a:gd name="connsiteX13" fmla="*/ 2502 w 66034"/>
                    <a:gd name="connsiteY13" fmla="*/ 41785 h 51664"/>
                    <a:gd name="connsiteX14" fmla="*/ 3264 w 66034"/>
                    <a:gd name="connsiteY14" fmla="*/ 44737 h 51664"/>
                    <a:gd name="connsiteX15" fmla="*/ 2407 w 66034"/>
                    <a:gd name="connsiteY15" fmla="*/ 50262 h 51664"/>
                    <a:gd name="connsiteX16" fmla="*/ 2788 w 66034"/>
                    <a:gd name="connsiteY16" fmla="*/ 51214 h 51664"/>
                    <a:gd name="connsiteX17" fmla="*/ 42888 w 66034"/>
                    <a:gd name="connsiteY17" fmla="*/ 29688 h 51664"/>
                    <a:gd name="connsiteX18" fmla="*/ 46317 w 66034"/>
                    <a:gd name="connsiteY18" fmla="*/ 17972 h 51664"/>
                    <a:gd name="connsiteX19" fmla="*/ 36030 w 66034"/>
                    <a:gd name="connsiteY19" fmla="*/ 20639 h 51664"/>
                    <a:gd name="connsiteX20" fmla="*/ 57176 w 66034"/>
                    <a:gd name="connsiteY20" fmla="*/ 8352 h 51664"/>
                    <a:gd name="connsiteX21" fmla="*/ 65844 w 66034"/>
                    <a:gd name="connsiteY21" fmla="*/ 446 h 51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6034" h="51664">
                      <a:moveTo>
                        <a:pt x="66034" y="446"/>
                      </a:moveTo>
                      <a:cubicBezTo>
                        <a:pt x="65558" y="160"/>
                        <a:pt x="65082" y="-221"/>
                        <a:pt x="62415" y="160"/>
                      </a:cubicBezTo>
                      <a:cubicBezTo>
                        <a:pt x="61938" y="160"/>
                        <a:pt x="61367" y="351"/>
                        <a:pt x="60891" y="446"/>
                      </a:cubicBezTo>
                      <a:cubicBezTo>
                        <a:pt x="56604" y="1303"/>
                        <a:pt x="52223" y="2161"/>
                        <a:pt x="47937" y="3018"/>
                      </a:cubicBezTo>
                      <a:cubicBezTo>
                        <a:pt x="42603" y="4161"/>
                        <a:pt x="25362" y="12352"/>
                        <a:pt x="22981" y="15686"/>
                      </a:cubicBezTo>
                      <a:cubicBezTo>
                        <a:pt x="22981" y="15781"/>
                        <a:pt x="22981" y="15972"/>
                        <a:pt x="23076" y="16067"/>
                      </a:cubicBezTo>
                      <a:cubicBezTo>
                        <a:pt x="24505" y="16543"/>
                        <a:pt x="26029" y="15781"/>
                        <a:pt x="27363" y="16734"/>
                      </a:cubicBezTo>
                      <a:cubicBezTo>
                        <a:pt x="29458" y="18163"/>
                        <a:pt x="28887" y="19115"/>
                        <a:pt x="28410" y="19782"/>
                      </a:cubicBezTo>
                      <a:cubicBezTo>
                        <a:pt x="27648" y="21020"/>
                        <a:pt x="16218" y="29497"/>
                        <a:pt x="13075" y="31117"/>
                      </a:cubicBezTo>
                      <a:cubicBezTo>
                        <a:pt x="11837" y="31783"/>
                        <a:pt x="11646" y="31783"/>
                        <a:pt x="10884" y="31783"/>
                      </a:cubicBezTo>
                      <a:cubicBezTo>
                        <a:pt x="10027" y="28450"/>
                        <a:pt x="14123" y="27307"/>
                        <a:pt x="14218" y="24449"/>
                      </a:cubicBezTo>
                      <a:cubicBezTo>
                        <a:pt x="12027" y="24735"/>
                        <a:pt x="1455" y="30450"/>
                        <a:pt x="216" y="33403"/>
                      </a:cubicBezTo>
                      <a:cubicBezTo>
                        <a:pt x="121" y="33688"/>
                        <a:pt x="-69" y="34165"/>
                        <a:pt x="26" y="34546"/>
                      </a:cubicBezTo>
                      <a:cubicBezTo>
                        <a:pt x="693" y="37022"/>
                        <a:pt x="2026" y="39213"/>
                        <a:pt x="2502" y="41785"/>
                      </a:cubicBezTo>
                      <a:cubicBezTo>
                        <a:pt x="2693" y="42737"/>
                        <a:pt x="3360" y="43690"/>
                        <a:pt x="3264" y="44737"/>
                      </a:cubicBezTo>
                      <a:cubicBezTo>
                        <a:pt x="3264" y="46642"/>
                        <a:pt x="2121" y="48262"/>
                        <a:pt x="2407" y="50262"/>
                      </a:cubicBezTo>
                      <a:cubicBezTo>
                        <a:pt x="2407" y="50548"/>
                        <a:pt x="2598" y="51024"/>
                        <a:pt x="2788" y="51214"/>
                      </a:cubicBezTo>
                      <a:cubicBezTo>
                        <a:pt x="6027" y="54643"/>
                        <a:pt x="34983" y="37594"/>
                        <a:pt x="42888" y="29688"/>
                      </a:cubicBezTo>
                      <a:cubicBezTo>
                        <a:pt x="44603" y="27878"/>
                        <a:pt x="49651" y="17877"/>
                        <a:pt x="46317" y="17972"/>
                      </a:cubicBezTo>
                      <a:cubicBezTo>
                        <a:pt x="42698" y="18067"/>
                        <a:pt x="39459" y="19877"/>
                        <a:pt x="36030" y="20639"/>
                      </a:cubicBezTo>
                      <a:cubicBezTo>
                        <a:pt x="42793" y="16067"/>
                        <a:pt x="50413" y="12924"/>
                        <a:pt x="57176" y="8352"/>
                      </a:cubicBezTo>
                      <a:cubicBezTo>
                        <a:pt x="57176" y="8352"/>
                        <a:pt x="65748" y="1018"/>
                        <a:pt x="65844" y="446"/>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Segoe UI"/>
                    <a:ea typeface="+mn-ea"/>
                    <a:cs typeface="+mn-cs"/>
                  </a:endParaRPr>
                </a:p>
              </p:txBody>
            </p:sp>
            <p:sp>
              <p:nvSpPr>
                <p:cNvPr id="22" name="Freeform: Shape 21">
                  <a:extLst>
                    <a:ext uri="{FF2B5EF4-FFF2-40B4-BE49-F238E27FC236}">
                      <a16:creationId xmlns:a16="http://schemas.microsoft.com/office/drawing/2014/main" id="{3C1CB5BB-404D-F629-DD06-B4ECADD0D7E5}"/>
                    </a:ext>
                  </a:extLst>
                </p:cNvPr>
                <p:cNvSpPr/>
                <p:nvPr/>
              </p:nvSpPr>
              <p:spPr>
                <a:xfrm>
                  <a:off x="8459437" y="2408562"/>
                  <a:ext cx="83248" cy="46983"/>
                </a:xfrm>
                <a:custGeom>
                  <a:avLst/>
                  <a:gdLst>
                    <a:gd name="connsiteX0" fmla="*/ 15050 w 83248"/>
                    <a:gd name="connsiteY0" fmla="*/ 38887 h 46983"/>
                    <a:gd name="connsiteX1" fmla="*/ 50673 w 83248"/>
                    <a:gd name="connsiteY1" fmla="*/ 18313 h 46983"/>
                    <a:gd name="connsiteX2" fmla="*/ 37624 w 83248"/>
                    <a:gd name="connsiteY2" fmla="*/ 26886 h 46983"/>
                    <a:gd name="connsiteX3" fmla="*/ 79915 w 83248"/>
                    <a:gd name="connsiteY3" fmla="*/ 2788 h 46983"/>
                    <a:gd name="connsiteX4" fmla="*/ 83249 w 83248"/>
                    <a:gd name="connsiteY4" fmla="*/ 25 h 46983"/>
                    <a:gd name="connsiteX5" fmla="*/ 81629 w 83248"/>
                    <a:gd name="connsiteY5" fmla="*/ 311 h 46983"/>
                    <a:gd name="connsiteX6" fmla="*/ 0 w 83248"/>
                    <a:gd name="connsiteY6" fmla="*/ 46984 h 46983"/>
                    <a:gd name="connsiteX7" fmla="*/ 15716 w 83248"/>
                    <a:gd name="connsiteY7" fmla="*/ 38411 h 46983"/>
                    <a:gd name="connsiteX8" fmla="*/ 15050 w 83248"/>
                    <a:gd name="connsiteY8" fmla="*/ 39078 h 46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3248" h="46983">
                      <a:moveTo>
                        <a:pt x="15050" y="38887"/>
                      </a:moveTo>
                      <a:cubicBezTo>
                        <a:pt x="27623" y="33268"/>
                        <a:pt x="38291" y="24314"/>
                        <a:pt x="50673" y="18313"/>
                      </a:cubicBezTo>
                      <a:cubicBezTo>
                        <a:pt x="42358" y="23584"/>
                        <a:pt x="38005" y="26441"/>
                        <a:pt x="37624" y="26886"/>
                      </a:cubicBezTo>
                      <a:lnTo>
                        <a:pt x="79915" y="2788"/>
                      </a:lnTo>
                      <a:cubicBezTo>
                        <a:pt x="80772" y="2311"/>
                        <a:pt x="82010" y="1549"/>
                        <a:pt x="83249" y="25"/>
                      </a:cubicBezTo>
                      <a:cubicBezTo>
                        <a:pt x="82772" y="-70"/>
                        <a:pt x="82106" y="121"/>
                        <a:pt x="81629" y="311"/>
                      </a:cubicBezTo>
                      <a:cubicBezTo>
                        <a:pt x="72581" y="4312"/>
                        <a:pt x="12764" y="36506"/>
                        <a:pt x="0" y="46984"/>
                      </a:cubicBezTo>
                      <a:cubicBezTo>
                        <a:pt x="6382" y="46222"/>
                        <a:pt x="10382" y="40983"/>
                        <a:pt x="15716" y="38411"/>
                      </a:cubicBezTo>
                      <a:cubicBezTo>
                        <a:pt x="15526" y="38602"/>
                        <a:pt x="15240" y="38887"/>
                        <a:pt x="15050" y="39078"/>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 name="Freeform: Shape 22">
                  <a:extLst>
                    <a:ext uri="{FF2B5EF4-FFF2-40B4-BE49-F238E27FC236}">
                      <a16:creationId xmlns:a16="http://schemas.microsoft.com/office/drawing/2014/main" id="{0111D38D-03B9-40FE-315A-688DABF9ED62}"/>
                    </a:ext>
                  </a:extLst>
                </p:cNvPr>
                <p:cNvSpPr/>
                <p:nvPr/>
              </p:nvSpPr>
              <p:spPr>
                <a:xfrm>
                  <a:off x="8442197" y="2536603"/>
                  <a:ext cx="42645" cy="27884"/>
                </a:xfrm>
                <a:custGeom>
                  <a:avLst/>
                  <a:gdLst>
                    <a:gd name="connsiteX0" fmla="*/ 32385 w 42645"/>
                    <a:gd name="connsiteY0" fmla="*/ 0 h 27884"/>
                    <a:gd name="connsiteX1" fmla="*/ 31814 w 42645"/>
                    <a:gd name="connsiteY1" fmla="*/ 0 h 27884"/>
                    <a:gd name="connsiteX2" fmla="*/ 28956 w 42645"/>
                    <a:gd name="connsiteY2" fmla="*/ 1715 h 27884"/>
                    <a:gd name="connsiteX3" fmla="*/ 13335 w 42645"/>
                    <a:gd name="connsiteY3" fmla="*/ 15431 h 27884"/>
                    <a:gd name="connsiteX4" fmla="*/ 0 w 42645"/>
                    <a:gd name="connsiteY4" fmla="*/ 24860 h 27884"/>
                    <a:gd name="connsiteX5" fmla="*/ 286 w 42645"/>
                    <a:gd name="connsiteY5" fmla="*/ 25051 h 27884"/>
                    <a:gd name="connsiteX6" fmla="*/ 4191 w 42645"/>
                    <a:gd name="connsiteY6" fmla="*/ 24479 h 27884"/>
                    <a:gd name="connsiteX7" fmla="*/ 9144 w 42645"/>
                    <a:gd name="connsiteY7" fmla="*/ 24194 h 27884"/>
                    <a:gd name="connsiteX8" fmla="*/ 11906 w 42645"/>
                    <a:gd name="connsiteY8" fmla="*/ 27813 h 27884"/>
                    <a:gd name="connsiteX9" fmla="*/ 17907 w 42645"/>
                    <a:gd name="connsiteY9" fmla="*/ 27242 h 27884"/>
                    <a:gd name="connsiteX10" fmla="*/ 42196 w 42645"/>
                    <a:gd name="connsiteY10" fmla="*/ 16954 h 27884"/>
                    <a:gd name="connsiteX11" fmla="*/ 39338 w 42645"/>
                    <a:gd name="connsiteY11" fmla="*/ 5715 h 27884"/>
                    <a:gd name="connsiteX12" fmla="*/ 32385 w 42645"/>
                    <a:gd name="connsiteY12" fmla="*/ 0 h 27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2645" h="27884">
                      <a:moveTo>
                        <a:pt x="32385" y="0"/>
                      </a:moveTo>
                      <a:cubicBezTo>
                        <a:pt x="32385" y="0"/>
                        <a:pt x="32004" y="0"/>
                        <a:pt x="31814" y="0"/>
                      </a:cubicBezTo>
                      <a:cubicBezTo>
                        <a:pt x="31147" y="286"/>
                        <a:pt x="30385" y="572"/>
                        <a:pt x="28956" y="1715"/>
                      </a:cubicBezTo>
                      <a:cubicBezTo>
                        <a:pt x="23431" y="6001"/>
                        <a:pt x="19336" y="11716"/>
                        <a:pt x="13335" y="15431"/>
                      </a:cubicBezTo>
                      <a:cubicBezTo>
                        <a:pt x="3429" y="21527"/>
                        <a:pt x="381" y="23336"/>
                        <a:pt x="0" y="24860"/>
                      </a:cubicBezTo>
                      <a:cubicBezTo>
                        <a:pt x="0" y="24860"/>
                        <a:pt x="190" y="25051"/>
                        <a:pt x="286" y="25051"/>
                      </a:cubicBezTo>
                      <a:cubicBezTo>
                        <a:pt x="1048" y="25146"/>
                        <a:pt x="1810" y="25051"/>
                        <a:pt x="4191" y="24479"/>
                      </a:cubicBezTo>
                      <a:cubicBezTo>
                        <a:pt x="8001" y="23717"/>
                        <a:pt x="8477" y="23717"/>
                        <a:pt x="9144" y="24194"/>
                      </a:cubicBezTo>
                      <a:cubicBezTo>
                        <a:pt x="10477" y="25051"/>
                        <a:pt x="10192" y="27242"/>
                        <a:pt x="11906" y="27813"/>
                      </a:cubicBezTo>
                      <a:cubicBezTo>
                        <a:pt x="12478" y="28004"/>
                        <a:pt x="15145" y="27813"/>
                        <a:pt x="17907" y="27242"/>
                      </a:cubicBezTo>
                      <a:cubicBezTo>
                        <a:pt x="35052" y="24098"/>
                        <a:pt x="42196" y="16954"/>
                        <a:pt x="42196" y="16954"/>
                      </a:cubicBezTo>
                      <a:cubicBezTo>
                        <a:pt x="44101" y="14669"/>
                        <a:pt x="39338" y="5810"/>
                        <a:pt x="39338" y="5715"/>
                      </a:cubicBezTo>
                      <a:cubicBezTo>
                        <a:pt x="37243" y="2096"/>
                        <a:pt x="32956" y="0"/>
                        <a:pt x="32385" y="0"/>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Segoe UI"/>
                    <a:ea typeface="+mn-ea"/>
                    <a:cs typeface="+mn-cs"/>
                  </a:endParaRPr>
                </a:p>
              </p:txBody>
            </p:sp>
            <p:sp>
              <p:nvSpPr>
                <p:cNvPr id="24" name="Freeform: Shape 23">
                  <a:extLst>
                    <a:ext uri="{FF2B5EF4-FFF2-40B4-BE49-F238E27FC236}">
                      <a16:creationId xmlns:a16="http://schemas.microsoft.com/office/drawing/2014/main" id="{193F6DEE-9F13-2F6D-6A77-3257780895E8}"/>
                    </a:ext>
                  </a:extLst>
                </p:cNvPr>
                <p:cNvSpPr/>
                <p:nvPr/>
              </p:nvSpPr>
              <p:spPr>
                <a:xfrm>
                  <a:off x="8479535" y="2464118"/>
                  <a:ext cx="19895" cy="15788"/>
                </a:xfrm>
                <a:custGeom>
                  <a:avLst/>
                  <a:gdLst>
                    <a:gd name="connsiteX0" fmla="*/ 19050 w 19895"/>
                    <a:gd name="connsiteY0" fmla="*/ 95 h 15788"/>
                    <a:gd name="connsiteX1" fmla="*/ 16097 w 19895"/>
                    <a:gd name="connsiteY1" fmla="*/ 571 h 15788"/>
                    <a:gd name="connsiteX2" fmla="*/ 0 w 19895"/>
                    <a:gd name="connsiteY2" fmla="*/ 9525 h 15788"/>
                    <a:gd name="connsiteX3" fmla="*/ 95 w 19895"/>
                    <a:gd name="connsiteY3" fmla="*/ 9620 h 15788"/>
                    <a:gd name="connsiteX4" fmla="*/ 2858 w 19895"/>
                    <a:gd name="connsiteY4" fmla="*/ 9620 h 15788"/>
                    <a:gd name="connsiteX5" fmla="*/ 2191 w 19895"/>
                    <a:gd name="connsiteY5" fmla="*/ 12192 h 15788"/>
                    <a:gd name="connsiteX6" fmla="*/ 2191 w 19895"/>
                    <a:gd name="connsiteY6" fmla="*/ 15716 h 15788"/>
                    <a:gd name="connsiteX7" fmla="*/ 15431 w 19895"/>
                    <a:gd name="connsiteY7" fmla="*/ 5810 h 15788"/>
                    <a:gd name="connsiteX8" fmla="*/ 19050 w 19895"/>
                    <a:gd name="connsiteY8" fmla="*/ 0 h 15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895" h="15788">
                      <a:moveTo>
                        <a:pt x="19050" y="95"/>
                      </a:moveTo>
                      <a:cubicBezTo>
                        <a:pt x="19050" y="95"/>
                        <a:pt x="17812" y="95"/>
                        <a:pt x="16097" y="571"/>
                      </a:cubicBezTo>
                      <a:cubicBezTo>
                        <a:pt x="6858" y="3048"/>
                        <a:pt x="286" y="8763"/>
                        <a:pt x="0" y="9525"/>
                      </a:cubicBezTo>
                      <a:cubicBezTo>
                        <a:pt x="0" y="9525"/>
                        <a:pt x="0" y="9620"/>
                        <a:pt x="95" y="9620"/>
                      </a:cubicBezTo>
                      <a:cubicBezTo>
                        <a:pt x="1048" y="9620"/>
                        <a:pt x="1905" y="9144"/>
                        <a:pt x="2858" y="9620"/>
                      </a:cubicBezTo>
                      <a:cubicBezTo>
                        <a:pt x="3048" y="10287"/>
                        <a:pt x="3143" y="10382"/>
                        <a:pt x="2191" y="12192"/>
                      </a:cubicBezTo>
                      <a:cubicBezTo>
                        <a:pt x="1619" y="13335"/>
                        <a:pt x="191" y="16288"/>
                        <a:pt x="2191" y="15716"/>
                      </a:cubicBezTo>
                      <a:cubicBezTo>
                        <a:pt x="5334" y="14764"/>
                        <a:pt x="14478" y="6763"/>
                        <a:pt x="15431" y="5810"/>
                      </a:cubicBezTo>
                      <a:cubicBezTo>
                        <a:pt x="19812" y="1905"/>
                        <a:pt x="20860" y="191"/>
                        <a:pt x="19050" y="0"/>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Segoe UI"/>
                    <a:ea typeface="+mn-ea"/>
                    <a:cs typeface="+mn-cs"/>
                  </a:endParaRPr>
                </a:p>
              </p:txBody>
            </p:sp>
            <p:sp>
              <p:nvSpPr>
                <p:cNvPr id="25" name="Freeform: Shape 24">
                  <a:extLst>
                    <a:ext uri="{FF2B5EF4-FFF2-40B4-BE49-F238E27FC236}">
                      <a16:creationId xmlns:a16="http://schemas.microsoft.com/office/drawing/2014/main" id="{390FCC6C-D2BA-14A3-40CB-3674462EA7EE}"/>
                    </a:ext>
                  </a:extLst>
                </p:cNvPr>
                <p:cNvSpPr/>
                <p:nvPr/>
              </p:nvSpPr>
              <p:spPr>
                <a:xfrm>
                  <a:off x="8828094" y="2262842"/>
                  <a:ext cx="522245" cy="377871"/>
                </a:xfrm>
                <a:custGeom>
                  <a:avLst/>
                  <a:gdLst>
                    <a:gd name="connsiteX0" fmla="*/ 79494 w 522245"/>
                    <a:gd name="connsiteY0" fmla="*/ 35160 h 377871"/>
                    <a:gd name="connsiteX1" fmla="*/ 48728 w 522245"/>
                    <a:gd name="connsiteY1" fmla="*/ 49352 h 377871"/>
                    <a:gd name="connsiteX2" fmla="*/ 2818 w 522245"/>
                    <a:gd name="connsiteY2" fmla="*/ 64592 h 377871"/>
                    <a:gd name="connsiteX3" fmla="*/ 21392 w 522245"/>
                    <a:gd name="connsiteY3" fmla="*/ 85928 h 377871"/>
                    <a:gd name="connsiteX4" fmla="*/ 102640 w 522245"/>
                    <a:gd name="connsiteY4" fmla="*/ 85833 h 377871"/>
                    <a:gd name="connsiteX5" fmla="*/ 126548 w 522245"/>
                    <a:gd name="connsiteY5" fmla="*/ 146031 h 377871"/>
                    <a:gd name="connsiteX6" fmla="*/ 122261 w 522245"/>
                    <a:gd name="connsiteY6" fmla="*/ 156127 h 377871"/>
                    <a:gd name="connsiteX7" fmla="*/ 130072 w 522245"/>
                    <a:gd name="connsiteY7" fmla="*/ 164795 h 377871"/>
                    <a:gd name="connsiteX8" fmla="*/ 133310 w 522245"/>
                    <a:gd name="connsiteY8" fmla="*/ 183083 h 377871"/>
                    <a:gd name="connsiteX9" fmla="*/ 162933 w 522245"/>
                    <a:gd name="connsiteY9" fmla="*/ 175749 h 377871"/>
                    <a:gd name="connsiteX10" fmla="*/ 173601 w 522245"/>
                    <a:gd name="connsiteY10" fmla="*/ 201085 h 377871"/>
                    <a:gd name="connsiteX11" fmla="*/ 142835 w 522245"/>
                    <a:gd name="connsiteY11" fmla="*/ 221469 h 377871"/>
                    <a:gd name="connsiteX12" fmla="*/ 137787 w 522245"/>
                    <a:gd name="connsiteY12" fmla="*/ 253949 h 377871"/>
                    <a:gd name="connsiteX13" fmla="*/ 225989 w 522245"/>
                    <a:gd name="connsiteY13" fmla="*/ 367392 h 377871"/>
                    <a:gd name="connsiteX14" fmla="*/ 187317 w 522245"/>
                    <a:gd name="connsiteY14" fmla="*/ 22492 h 377871"/>
                    <a:gd name="connsiteX15" fmla="*/ 225989 w 522245"/>
                    <a:gd name="connsiteY15" fmla="*/ 367392 h 377871"/>
                    <a:gd name="connsiteX16" fmla="*/ 302189 w 522245"/>
                    <a:gd name="connsiteY16" fmla="*/ 374155 h 377871"/>
                    <a:gd name="connsiteX17" fmla="*/ 322382 w 522245"/>
                    <a:gd name="connsiteY17" fmla="*/ 301003 h 377871"/>
                    <a:gd name="connsiteX18" fmla="*/ 324668 w 522245"/>
                    <a:gd name="connsiteY18" fmla="*/ 272428 h 377871"/>
                    <a:gd name="connsiteX19" fmla="*/ 345432 w 522245"/>
                    <a:gd name="connsiteY19" fmla="*/ 262236 h 377871"/>
                    <a:gd name="connsiteX20" fmla="*/ 402201 w 522245"/>
                    <a:gd name="connsiteY20" fmla="*/ 234994 h 377871"/>
                    <a:gd name="connsiteX21" fmla="*/ 414488 w 522245"/>
                    <a:gd name="connsiteY21" fmla="*/ 213182 h 377871"/>
                    <a:gd name="connsiteX22" fmla="*/ 490498 w 522245"/>
                    <a:gd name="connsiteY22" fmla="*/ 186798 h 377871"/>
                    <a:gd name="connsiteX23" fmla="*/ 520311 w 522245"/>
                    <a:gd name="connsiteY23" fmla="*/ 171939 h 377871"/>
                    <a:gd name="connsiteX24" fmla="*/ 519454 w 522245"/>
                    <a:gd name="connsiteY24" fmla="*/ 161176 h 377871"/>
                    <a:gd name="connsiteX25" fmla="*/ 490784 w 522245"/>
                    <a:gd name="connsiteY25" fmla="*/ 133553 h 377871"/>
                    <a:gd name="connsiteX26" fmla="*/ 482402 w 522245"/>
                    <a:gd name="connsiteY26" fmla="*/ 110217 h 377871"/>
                    <a:gd name="connsiteX27" fmla="*/ 485069 w 522245"/>
                    <a:gd name="connsiteY27" fmla="*/ 94024 h 377871"/>
                    <a:gd name="connsiteX28" fmla="*/ 473067 w 522245"/>
                    <a:gd name="connsiteY28" fmla="*/ 76022 h 377871"/>
                    <a:gd name="connsiteX29" fmla="*/ 422775 w 522245"/>
                    <a:gd name="connsiteY29" fmla="*/ 42113 h 377871"/>
                    <a:gd name="connsiteX30" fmla="*/ 423537 w 522245"/>
                    <a:gd name="connsiteY30" fmla="*/ 40208 h 377871"/>
                    <a:gd name="connsiteX31" fmla="*/ 425918 w 522245"/>
                    <a:gd name="connsiteY31" fmla="*/ 39351 h 377871"/>
                    <a:gd name="connsiteX32" fmla="*/ 378674 w 522245"/>
                    <a:gd name="connsiteY32" fmla="*/ 11633 h 377871"/>
                    <a:gd name="connsiteX33" fmla="*/ 374102 w 522245"/>
                    <a:gd name="connsiteY33" fmla="*/ 9347 h 377871"/>
                    <a:gd name="connsiteX34" fmla="*/ 375055 w 522245"/>
                    <a:gd name="connsiteY34" fmla="*/ 5537 h 377871"/>
                    <a:gd name="connsiteX35" fmla="*/ 376865 w 522245"/>
                    <a:gd name="connsiteY35" fmla="*/ 5061 h 377871"/>
                    <a:gd name="connsiteX36" fmla="*/ 353243 w 522245"/>
                    <a:gd name="connsiteY36" fmla="*/ 3156 h 377871"/>
                    <a:gd name="connsiteX37" fmla="*/ 324096 w 522245"/>
                    <a:gd name="connsiteY37" fmla="*/ 5537 h 377871"/>
                    <a:gd name="connsiteX38" fmla="*/ 295807 w 522245"/>
                    <a:gd name="connsiteY38" fmla="*/ 394 h 377871"/>
                    <a:gd name="connsiteX39" fmla="*/ 240371 w 522245"/>
                    <a:gd name="connsiteY39" fmla="*/ 394 h 377871"/>
                    <a:gd name="connsiteX40" fmla="*/ 215892 w 522245"/>
                    <a:gd name="connsiteY40" fmla="*/ 3346 h 377871"/>
                    <a:gd name="connsiteX41" fmla="*/ 215797 w 522245"/>
                    <a:gd name="connsiteY41" fmla="*/ 3346 h 377871"/>
                    <a:gd name="connsiteX42" fmla="*/ 180459 w 522245"/>
                    <a:gd name="connsiteY42" fmla="*/ 6871 h 377871"/>
                    <a:gd name="connsiteX43" fmla="*/ 180459 w 522245"/>
                    <a:gd name="connsiteY43" fmla="*/ 6871 h 377871"/>
                    <a:gd name="connsiteX44" fmla="*/ 179792 w 522245"/>
                    <a:gd name="connsiteY44" fmla="*/ 6966 h 377871"/>
                    <a:gd name="connsiteX45" fmla="*/ 179983 w 522245"/>
                    <a:gd name="connsiteY45" fmla="*/ 6966 h 377871"/>
                    <a:gd name="connsiteX46" fmla="*/ 180745 w 522245"/>
                    <a:gd name="connsiteY46" fmla="*/ 7061 h 377871"/>
                    <a:gd name="connsiteX47" fmla="*/ 198842 w 522245"/>
                    <a:gd name="connsiteY47" fmla="*/ 9157 h 377871"/>
                    <a:gd name="connsiteX48" fmla="*/ 182078 w 522245"/>
                    <a:gd name="connsiteY48" fmla="*/ 9061 h 377871"/>
                    <a:gd name="connsiteX49" fmla="*/ 165695 w 522245"/>
                    <a:gd name="connsiteY49" fmla="*/ 9633 h 377871"/>
                    <a:gd name="connsiteX50" fmla="*/ 69112 w 522245"/>
                    <a:gd name="connsiteY50" fmla="*/ 34112 h 377871"/>
                    <a:gd name="connsiteX51" fmla="*/ 79113 w 522245"/>
                    <a:gd name="connsiteY51" fmla="*/ 35160 h 377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522245" h="377871">
                      <a:moveTo>
                        <a:pt x="79494" y="35160"/>
                      </a:moveTo>
                      <a:cubicBezTo>
                        <a:pt x="73398" y="42685"/>
                        <a:pt x="57301" y="47066"/>
                        <a:pt x="48728" y="49352"/>
                      </a:cubicBezTo>
                      <a:cubicBezTo>
                        <a:pt x="48347" y="49352"/>
                        <a:pt x="4723" y="62116"/>
                        <a:pt x="2818" y="64592"/>
                      </a:cubicBezTo>
                      <a:cubicBezTo>
                        <a:pt x="-9184" y="80785"/>
                        <a:pt x="21011" y="86023"/>
                        <a:pt x="21392" y="85928"/>
                      </a:cubicBezTo>
                      <a:cubicBezTo>
                        <a:pt x="96449" y="80404"/>
                        <a:pt x="97401" y="81261"/>
                        <a:pt x="102640" y="85833"/>
                      </a:cubicBezTo>
                      <a:cubicBezTo>
                        <a:pt x="103021" y="86214"/>
                        <a:pt x="137882" y="124981"/>
                        <a:pt x="126548" y="146031"/>
                      </a:cubicBezTo>
                      <a:cubicBezTo>
                        <a:pt x="121976" y="154603"/>
                        <a:pt x="121976" y="154889"/>
                        <a:pt x="122261" y="156127"/>
                      </a:cubicBezTo>
                      <a:cubicBezTo>
                        <a:pt x="123119" y="160604"/>
                        <a:pt x="128548" y="160985"/>
                        <a:pt x="130072" y="164795"/>
                      </a:cubicBezTo>
                      <a:cubicBezTo>
                        <a:pt x="132453" y="170701"/>
                        <a:pt x="130072" y="177368"/>
                        <a:pt x="133310" y="183083"/>
                      </a:cubicBezTo>
                      <a:cubicBezTo>
                        <a:pt x="143216" y="180797"/>
                        <a:pt x="151122" y="170415"/>
                        <a:pt x="162933" y="175749"/>
                      </a:cubicBezTo>
                      <a:cubicBezTo>
                        <a:pt x="183031" y="184702"/>
                        <a:pt x="173792" y="200895"/>
                        <a:pt x="173601" y="201085"/>
                      </a:cubicBezTo>
                      <a:cubicBezTo>
                        <a:pt x="165314" y="210896"/>
                        <a:pt x="150265" y="210420"/>
                        <a:pt x="142835" y="221469"/>
                      </a:cubicBezTo>
                      <a:cubicBezTo>
                        <a:pt x="138740" y="227565"/>
                        <a:pt x="134739" y="244138"/>
                        <a:pt x="137787" y="253949"/>
                      </a:cubicBezTo>
                      <a:cubicBezTo>
                        <a:pt x="139216" y="258521"/>
                        <a:pt x="197890" y="357867"/>
                        <a:pt x="225989" y="367392"/>
                      </a:cubicBezTo>
                      <a:cubicBezTo>
                        <a:pt x="211892" y="160985"/>
                        <a:pt x="201509" y="67069"/>
                        <a:pt x="187317" y="22492"/>
                      </a:cubicBezTo>
                      <a:cubicBezTo>
                        <a:pt x="200081" y="61735"/>
                        <a:pt x="210463" y="138697"/>
                        <a:pt x="225989" y="367392"/>
                      </a:cubicBezTo>
                      <a:cubicBezTo>
                        <a:pt x="296283" y="380917"/>
                        <a:pt x="297712" y="379203"/>
                        <a:pt x="302189" y="374155"/>
                      </a:cubicBezTo>
                      <a:cubicBezTo>
                        <a:pt x="309618" y="365868"/>
                        <a:pt x="322286" y="301669"/>
                        <a:pt x="322382" y="301003"/>
                      </a:cubicBezTo>
                      <a:cubicBezTo>
                        <a:pt x="324191" y="291573"/>
                        <a:pt x="319238" y="281572"/>
                        <a:pt x="324668" y="272428"/>
                      </a:cubicBezTo>
                      <a:cubicBezTo>
                        <a:pt x="327525" y="267665"/>
                        <a:pt x="327811" y="267570"/>
                        <a:pt x="345432" y="262236"/>
                      </a:cubicBezTo>
                      <a:cubicBezTo>
                        <a:pt x="382323" y="251060"/>
                        <a:pt x="401249" y="241979"/>
                        <a:pt x="402201" y="234994"/>
                      </a:cubicBezTo>
                      <a:cubicBezTo>
                        <a:pt x="403630" y="224136"/>
                        <a:pt x="404487" y="218231"/>
                        <a:pt x="414488" y="213182"/>
                      </a:cubicBezTo>
                      <a:cubicBezTo>
                        <a:pt x="438682" y="200990"/>
                        <a:pt x="466400" y="199180"/>
                        <a:pt x="490498" y="186798"/>
                      </a:cubicBezTo>
                      <a:cubicBezTo>
                        <a:pt x="500404" y="181654"/>
                        <a:pt x="511167" y="178416"/>
                        <a:pt x="520311" y="171939"/>
                      </a:cubicBezTo>
                      <a:cubicBezTo>
                        <a:pt x="520502" y="171844"/>
                        <a:pt x="525074" y="168510"/>
                        <a:pt x="519454" y="161176"/>
                      </a:cubicBezTo>
                      <a:cubicBezTo>
                        <a:pt x="511262" y="150603"/>
                        <a:pt x="498689" y="144412"/>
                        <a:pt x="490784" y="133553"/>
                      </a:cubicBezTo>
                      <a:cubicBezTo>
                        <a:pt x="485735" y="126600"/>
                        <a:pt x="485926" y="117742"/>
                        <a:pt x="482402" y="110217"/>
                      </a:cubicBezTo>
                      <a:cubicBezTo>
                        <a:pt x="478306" y="101454"/>
                        <a:pt x="480116" y="99073"/>
                        <a:pt x="485069" y="94024"/>
                      </a:cubicBezTo>
                      <a:cubicBezTo>
                        <a:pt x="491927" y="87071"/>
                        <a:pt x="487164" y="84309"/>
                        <a:pt x="473067" y="76022"/>
                      </a:cubicBezTo>
                      <a:cubicBezTo>
                        <a:pt x="427157" y="48876"/>
                        <a:pt x="426776" y="48209"/>
                        <a:pt x="422775" y="42113"/>
                      </a:cubicBezTo>
                      <a:cubicBezTo>
                        <a:pt x="423061" y="41542"/>
                        <a:pt x="423347" y="40780"/>
                        <a:pt x="423537" y="40208"/>
                      </a:cubicBezTo>
                      <a:cubicBezTo>
                        <a:pt x="424204" y="39922"/>
                        <a:pt x="425156" y="39637"/>
                        <a:pt x="425918" y="39351"/>
                      </a:cubicBezTo>
                      <a:cubicBezTo>
                        <a:pt x="412488" y="26206"/>
                        <a:pt x="385247" y="36589"/>
                        <a:pt x="378674" y="11633"/>
                      </a:cubicBezTo>
                      <a:cubicBezTo>
                        <a:pt x="377341" y="10966"/>
                        <a:pt x="375436" y="10014"/>
                        <a:pt x="374102" y="9347"/>
                      </a:cubicBezTo>
                      <a:cubicBezTo>
                        <a:pt x="374293" y="8204"/>
                        <a:pt x="374674" y="6585"/>
                        <a:pt x="375055" y="5537"/>
                      </a:cubicBezTo>
                      <a:cubicBezTo>
                        <a:pt x="375626" y="5347"/>
                        <a:pt x="376388" y="5156"/>
                        <a:pt x="376865" y="5061"/>
                      </a:cubicBezTo>
                      <a:cubicBezTo>
                        <a:pt x="370864" y="4204"/>
                        <a:pt x="353433" y="3156"/>
                        <a:pt x="353243" y="3156"/>
                      </a:cubicBezTo>
                      <a:cubicBezTo>
                        <a:pt x="341622" y="2489"/>
                        <a:pt x="326858" y="4966"/>
                        <a:pt x="324096" y="5537"/>
                      </a:cubicBezTo>
                      <a:cubicBezTo>
                        <a:pt x="314000" y="7347"/>
                        <a:pt x="305522" y="775"/>
                        <a:pt x="295807" y="394"/>
                      </a:cubicBezTo>
                      <a:cubicBezTo>
                        <a:pt x="282186" y="-83"/>
                        <a:pt x="252278" y="-178"/>
                        <a:pt x="240371" y="394"/>
                      </a:cubicBezTo>
                      <a:cubicBezTo>
                        <a:pt x="225770" y="1220"/>
                        <a:pt x="217607" y="2203"/>
                        <a:pt x="215892" y="3346"/>
                      </a:cubicBezTo>
                      <a:cubicBezTo>
                        <a:pt x="215892" y="3346"/>
                        <a:pt x="215892" y="3346"/>
                        <a:pt x="215797" y="3346"/>
                      </a:cubicBezTo>
                      <a:cubicBezTo>
                        <a:pt x="199862" y="4235"/>
                        <a:pt x="188079" y="5411"/>
                        <a:pt x="180459" y="6871"/>
                      </a:cubicBezTo>
                      <a:lnTo>
                        <a:pt x="180459" y="6871"/>
                      </a:lnTo>
                      <a:cubicBezTo>
                        <a:pt x="180459" y="6871"/>
                        <a:pt x="179888" y="6775"/>
                        <a:pt x="179792" y="6966"/>
                      </a:cubicBezTo>
                      <a:cubicBezTo>
                        <a:pt x="179792" y="7061"/>
                        <a:pt x="179888" y="6966"/>
                        <a:pt x="179983" y="6966"/>
                      </a:cubicBezTo>
                      <a:cubicBezTo>
                        <a:pt x="180269" y="6966"/>
                        <a:pt x="180459" y="6966"/>
                        <a:pt x="180745" y="7061"/>
                      </a:cubicBezTo>
                      <a:cubicBezTo>
                        <a:pt x="190013" y="7759"/>
                        <a:pt x="196052" y="8459"/>
                        <a:pt x="198842" y="9157"/>
                      </a:cubicBezTo>
                      <a:cubicBezTo>
                        <a:pt x="198080" y="9221"/>
                        <a:pt x="192489" y="9188"/>
                        <a:pt x="182078" y="9061"/>
                      </a:cubicBezTo>
                      <a:cubicBezTo>
                        <a:pt x="175697" y="9061"/>
                        <a:pt x="173315" y="8966"/>
                        <a:pt x="165695" y="9633"/>
                      </a:cubicBezTo>
                      <a:cubicBezTo>
                        <a:pt x="109688" y="15919"/>
                        <a:pt x="69493" y="33922"/>
                        <a:pt x="69112" y="34112"/>
                      </a:cubicBezTo>
                      <a:cubicBezTo>
                        <a:pt x="70445" y="34810"/>
                        <a:pt x="73779" y="35160"/>
                        <a:pt x="79113" y="35160"/>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Segoe UI"/>
                    <a:ea typeface="+mn-ea"/>
                    <a:cs typeface="+mn-cs"/>
                  </a:endParaRPr>
                </a:p>
              </p:txBody>
            </p:sp>
            <p:sp>
              <p:nvSpPr>
                <p:cNvPr id="26" name="Freeform: Shape 25">
                  <a:extLst>
                    <a:ext uri="{FF2B5EF4-FFF2-40B4-BE49-F238E27FC236}">
                      <a16:creationId xmlns:a16="http://schemas.microsoft.com/office/drawing/2014/main" id="{8F5B22D8-74F8-2A21-8744-A0005A0AD65A}"/>
                    </a:ext>
                  </a:extLst>
                </p:cNvPr>
                <p:cNvSpPr/>
                <p:nvPr/>
              </p:nvSpPr>
              <p:spPr>
                <a:xfrm>
                  <a:off x="8672642" y="2524378"/>
                  <a:ext cx="24510" cy="28482"/>
                </a:xfrm>
                <a:custGeom>
                  <a:avLst/>
                  <a:gdLst>
                    <a:gd name="connsiteX0" fmla="*/ 23015 w 24510"/>
                    <a:gd name="connsiteY0" fmla="*/ 10320 h 28482"/>
                    <a:gd name="connsiteX1" fmla="*/ 19300 w 24510"/>
                    <a:gd name="connsiteY1" fmla="*/ 129 h 28482"/>
                    <a:gd name="connsiteX2" fmla="*/ 250 w 24510"/>
                    <a:gd name="connsiteY2" fmla="*/ 11559 h 28482"/>
                    <a:gd name="connsiteX3" fmla="*/ 7870 w 24510"/>
                    <a:gd name="connsiteY3" fmla="*/ 27942 h 28482"/>
                    <a:gd name="connsiteX4" fmla="*/ 23015 w 24510"/>
                    <a:gd name="connsiteY4" fmla="*/ 10320 h 284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10" h="28482">
                      <a:moveTo>
                        <a:pt x="23015" y="10320"/>
                      </a:moveTo>
                      <a:cubicBezTo>
                        <a:pt x="25873" y="2700"/>
                        <a:pt x="24634" y="-729"/>
                        <a:pt x="19300" y="129"/>
                      </a:cubicBezTo>
                      <a:cubicBezTo>
                        <a:pt x="19110" y="129"/>
                        <a:pt x="3203" y="4415"/>
                        <a:pt x="250" y="11559"/>
                      </a:cubicBezTo>
                      <a:cubicBezTo>
                        <a:pt x="-1369" y="15654"/>
                        <a:pt x="5299" y="26322"/>
                        <a:pt x="7870" y="27942"/>
                      </a:cubicBezTo>
                      <a:cubicBezTo>
                        <a:pt x="14347" y="32133"/>
                        <a:pt x="22920" y="10606"/>
                        <a:pt x="23015" y="10320"/>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Segoe UI"/>
                    <a:ea typeface="+mn-ea"/>
                    <a:cs typeface="+mn-cs"/>
                  </a:endParaRPr>
                </a:p>
              </p:txBody>
            </p:sp>
            <p:sp>
              <p:nvSpPr>
                <p:cNvPr id="27" name="Freeform: Shape 26">
                  <a:extLst>
                    <a:ext uri="{FF2B5EF4-FFF2-40B4-BE49-F238E27FC236}">
                      <a16:creationId xmlns:a16="http://schemas.microsoft.com/office/drawing/2014/main" id="{00CFE61F-7376-6A2A-D783-949D18F2363A}"/>
                    </a:ext>
                  </a:extLst>
                </p:cNvPr>
                <p:cNvSpPr/>
                <p:nvPr/>
              </p:nvSpPr>
              <p:spPr>
                <a:xfrm>
                  <a:off x="8686132" y="2278095"/>
                  <a:ext cx="259651" cy="99187"/>
                </a:xfrm>
                <a:custGeom>
                  <a:avLst/>
                  <a:gdLst>
                    <a:gd name="connsiteX0" fmla="*/ 123254 w 259651"/>
                    <a:gd name="connsiteY0" fmla="*/ 30385 h 99187"/>
                    <a:gd name="connsiteX1" fmla="*/ 112395 w 259651"/>
                    <a:gd name="connsiteY1" fmla="*/ 34481 h 99187"/>
                    <a:gd name="connsiteX2" fmla="*/ 166973 w 259651"/>
                    <a:gd name="connsiteY2" fmla="*/ 19907 h 99187"/>
                    <a:gd name="connsiteX3" fmla="*/ 101537 w 259651"/>
                    <a:gd name="connsiteY3" fmla="*/ 39148 h 99187"/>
                    <a:gd name="connsiteX4" fmla="*/ 93250 w 259651"/>
                    <a:gd name="connsiteY4" fmla="*/ 42767 h 99187"/>
                    <a:gd name="connsiteX5" fmla="*/ 87630 w 259651"/>
                    <a:gd name="connsiteY5" fmla="*/ 54578 h 99187"/>
                    <a:gd name="connsiteX6" fmla="*/ 46673 w 259651"/>
                    <a:gd name="connsiteY6" fmla="*/ 68866 h 99187"/>
                    <a:gd name="connsiteX7" fmla="*/ 54674 w 259651"/>
                    <a:gd name="connsiteY7" fmla="*/ 71057 h 99187"/>
                    <a:gd name="connsiteX8" fmla="*/ 54293 w 259651"/>
                    <a:gd name="connsiteY8" fmla="*/ 72295 h 99187"/>
                    <a:gd name="connsiteX9" fmla="*/ 71723 w 259651"/>
                    <a:gd name="connsiteY9" fmla="*/ 67056 h 99187"/>
                    <a:gd name="connsiteX10" fmla="*/ 46482 w 259651"/>
                    <a:gd name="connsiteY10" fmla="*/ 74009 h 99187"/>
                    <a:gd name="connsiteX11" fmla="*/ 29051 w 259651"/>
                    <a:gd name="connsiteY11" fmla="*/ 83439 h 99187"/>
                    <a:gd name="connsiteX12" fmla="*/ 0 w 259651"/>
                    <a:gd name="connsiteY12" fmla="*/ 98012 h 99187"/>
                    <a:gd name="connsiteX13" fmla="*/ 762 w 259651"/>
                    <a:gd name="connsiteY13" fmla="*/ 99155 h 99187"/>
                    <a:gd name="connsiteX14" fmla="*/ 21908 w 259651"/>
                    <a:gd name="connsiteY14" fmla="*/ 96107 h 99187"/>
                    <a:gd name="connsiteX15" fmla="*/ 58769 w 259651"/>
                    <a:gd name="connsiteY15" fmla="*/ 87916 h 99187"/>
                    <a:gd name="connsiteX16" fmla="*/ 54959 w 259651"/>
                    <a:gd name="connsiteY16" fmla="*/ 92488 h 99187"/>
                    <a:gd name="connsiteX17" fmla="*/ 90202 w 259651"/>
                    <a:gd name="connsiteY17" fmla="*/ 73152 h 99187"/>
                    <a:gd name="connsiteX18" fmla="*/ 86963 w 259651"/>
                    <a:gd name="connsiteY18" fmla="*/ 72295 h 99187"/>
                    <a:gd name="connsiteX19" fmla="*/ 112490 w 259651"/>
                    <a:gd name="connsiteY19" fmla="*/ 56102 h 99187"/>
                    <a:gd name="connsiteX20" fmla="*/ 147542 w 259651"/>
                    <a:gd name="connsiteY20" fmla="*/ 38005 h 99187"/>
                    <a:gd name="connsiteX21" fmla="*/ 146209 w 259651"/>
                    <a:gd name="connsiteY21" fmla="*/ 37529 h 99187"/>
                    <a:gd name="connsiteX22" fmla="*/ 188405 w 259651"/>
                    <a:gd name="connsiteY22" fmla="*/ 23527 h 99187"/>
                    <a:gd name="connsiteX23" fmla="*/ 182309 w 259651"/>
                    <a:gd name="connsiteY23" fmla="*/ 24098 h 99187"/>
                    <a:gd name="connsiteX24" fmla="*/ 239173 w 259651"/>
                    <a:gd name="connsiteY24" fmla="*/ 6477 h 99187"/>
                    <a:gd name="connsiteX25" fmla="*/ 219170 w 259651"/>
                    <a:gd name="connsiteY25" fmla="*/ 8954 h 99187"/>
                    <a:gd name="connsiteX26" fmla="*/ 259652 w 259651"/>
                    <a:gd name="connsiteY26" fmla="*/ 0 h 99187"/>
                    <a:gd name="connsiteX27" fmla="*/ 224885 w 259651"/>
                    <a:gd name="connsiteY27" fmla="*/ 2762 h 99187"/>
                    <a:gd name="connsiteX28" fmla="*/ 161258 w 259651"/>
                    <a:gd name="connsiteY28" fmla="*/ 16002 h 99187"/>
                    <a:gd name="connsiteX29" fmla="*/ 163354 w 259651"/>
                    <a:gd name="connsiteY29" fmla="*/ 17717 h 99187"/>
                    <a:gd name="connsiteX30" fmla="*/ 153924 w 259651"/>
                    <a:gd name="connsiteY30" fmla="*/ 18288 h 99187"/>
                    <a:gd name="connsiteX31" fmla="*/ 100965 w 259651"/>
                    <a:gd name="connsiteY31" fmla="*/ 34195 h 99187"/>
                    <a:gd name="connsiteX32" fmla="*/ 123158 w 259651"/>
                    <a:gd name="connsiteY32" fmla="*/ 30480 h 99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59651" h="99187">
                      <a:moveTo>
                        <a:pt x="123254" y="30385"/>
                      </a:moveTo>
                      <a:cubicBezTo>
                        <a:pt x="119729" y="31814"/>
                        <a:pt x="116110" y="33147"/>
                        <a:pt x="112395" y="34481"/>
                      </a:cubicBezTo>
                      <a:cubicBezTo>
                        <a:pt x="123920" y="31814"/>
                        <a:pt x="160973" y="21622"/>
                        <a:pt x="166973" y="19907"/>
                      </a:cubicBezTo>
                      <a:cubicBezTo>
                        <a:pt x="142113" y="28194"/>
                        <a:pt x="122492" y="34671"/>
                        <a:pt x="101537" y="39148"/>
                      </a:cubicBezTo>
                      <a:cubicBezTo>
                        <a:pt x="96679" y="40196"/>
                        <a:pt x="95155" y="41339"/>
                        <a:pt x="93250" y="42767"/>
                      </a:cubicBezTo>
                      <a:cubicBezTo>
                        <a:pt x="93250" y="44196"/>
                        <a:pt x="91250" y="51340"/>
                        <a:pt x="87630" y="54578"/>
                      </a:cubicBezTo>
                      <a:cubicBezTo>
                        <a:pt x="76581" y="51245"/>
                        <a:pt x="47816" y="67913"/>
                        <a:pt x="46673" y="68866"/>
                      </a:cubicBezTo>
                      <a:cubicBezTo>
                        <a:pt x="49244" y="70009"/>
                        <a:pt x="52197" y="69533"/>
                        <a:pt x="54674" y="71057"/>
                      </a:cubicBezTo>
                      <a:cubicBezTo>
                        <a:pt x="54578" y="71438"/>
                        <a:pt x="54388" y="71914"/>
                        <a:pt x="54293" y="72295"/>
                      </a:cubicBezTo>
                      <a:cubicBezTo>
                        <a:pt x="58007" y="71819"/>
                        <a:pt x="59436" y="71628"/>
                        <a:pt x="71723" y="67056"/>
                      </a:cubicBezTo>
                      <a:cubicBezTo>
                        <a:pt x="50578" y="78581"/>
                        <a:pt x="48101" y="75819"/>
                        <a:pt x="46482" y="74009"/>
                      </a:cubicBezTo>
                      <a:cubicBezTo>
                        <a:pt x="30480" y="74390"/>
                        <a:pt x="29528" y="80486"/>
                        <a:pt x="29051" y="83439"/>
                      </a:cubicBezTo>
                      <a:cubicBezTo>
                        <a:pt x="19907" y="89440"/>
                        <a:pt x="8096" y="90107"/>
                        <a:pt x="0" y="98012"/>
                      </a:cubicBezTo>
                      <a:cubicBezTo>
                        <a:pt x="191" y="98393"/>
                        <a:pt x="572" y="98774"/>
                        <a:pt x="762" y="99155"/>
                      </a:cubicBezTo>
                      <a:cubicBezTo>
                        <a:pt x="3334" y="99251"/>
                        <a:pt x="5144" y="99346"/>
                        <a:pt x="21908" y="96107"/>
                      </a:cubicBezTo>
                      <a:cubicBezTo>
                        <a:pt x="34290" y="93631"/>
                        <a:pt x="45149" y="84868"/>
                        <a:pt x="58769" y="87916"/>
                      </a:cubicBezTo>
                      <a:cubicBezTo>
                        <a:pt x="58131" y="89504"/>
                        <a:pt x="56864" y="91028"/>
                        <a:pt x="54959" y="92488"/>
                      </a:cubicBezTo>
                      <a:cubicBezTo>
                        <a:pt x="64008" y="94298"/>
                        <a:pt x="92869" y="80296"/>
                        <a:pt x="90202" y="73152"/>
                      </a:cubicBezTo>
                      <a:cubicBezTo>
                        <a:pt x="89249" y="72866"/>
                        <a:pt x="87916" y="72581"/>
                        <a:pt x="86963" y="72295"/>
                      </a:cubicBezTo>
                      <a:cubicBezTo>
                        <a:pt x="89154" y="69247"/>
                        <a:pt x="108204" y="57150"/>
                        <a:pt x="112490" y="56102"/>
                      </a:cubicBezTo>
                      <a:cubicBezTo>
                        <a:pt x="138303" y="49911"/>
                        <a:pt x="147352" y="40196"/>
                        <a:pt x="147542" y="38005"/>
                      </a:cubicBezTo>
                      <a:cubicBezTo>
                        <a:pt x="147161" y="37910"/>
                        <a:pt x="146590" y="37719"/>
                        <a:pt x="146209" y="37529"/>
                      </a:cubicBezTo>
                      <a:cubicBezTo>
                        <a:pt x="170117" y="31337"/>
                        <a:pt x="180975" y="28480"/>
                        <a:pt x="188405" y="23527"/>
                      </a:cubicBezTo>
                      <a:cubicBezTo>
                        <a:pt x="187138" y="23463"/>
                        <a:pt x="185099" y="23653"/>
                        <a:pt x="182309" y="24098"/>
                      </a:cubicBezTo>
                      <a:cubicBezTo>
                        <a:pt x="182309" y="24098"/>
                        <a:pt x="236411" y="7239"/>
                        <a:pt x="239173" y="6477"/>
                      </a:cubicBezTo>
                      <a:cubicBezTo>
                        <a:pt x="225266" y="8477"/>
                        <a:pt x="224409" y="8573"/>
                        <a:pt x="219170" y="8954"/>
                      </a:cubicBezTo>
                      <a:cubicBezTo>
                        <a:pt x="232505" y="5429"/>
                        <a:pt x="246221" y="3334"/>
                        <a:pt x="259652" y="0"/>
                      </a:cubicBezTo>
                      <a:cubicBezTo>
                        <a:pt x="246698" y="0"/>
                        <a:pt x="225076" y="2667"/>
                        <a:pt x="224885" y="2762"/>
                      </a:cubicBezTo>
                      <a:cubicBezTo>
                        <a:pt x="224314" y="2762"/>
                        <a:pt x="172498" y="11716"/>
                        <a:pt x="161258" y="16002"/>
                      </a:cubicBezTo>
                      <a:cubicBezTo>
                        <a:pt x="161735" y="16669"/>
                        <a:pt x="162592" y="17336"/>
                        <a:pt x="163354" y="17717"/>
                      </a:cubicBezTo>
                      <a:cubicBezTo>
                        <a:pt x="161163" y="18383"/>
                        <a:pt x="159353" y="18955"/>
                        <a:pt x="153924" y="18288"/>
                      </a:cubicBezTo>
                      <a:cubicBezTo>
                        <a:pt x="150114" y="17812"/>
                        <a:pt x="105537" y="28670"/>
                        <a:pt x="100965" y="34195"/>
                      </a:cubicBezTo>
                      <a:cubicBezTo>
                        <a:pt x="103251" y="35243"/>
                        <a:pt x="103823" y="35528"/>
                        <a:pt x="123158" y="30480"/>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Freeform: Shape 27">
                  <a:extLst>
                    <a:ext uri="{FF2B5EF4-FFF2-40B4-BE49-F238E27FC236}">
                      <a16:creationId xmlns:a16="http://schemas.microsoft.com/office/drawing/2014/main" id="{57EC9EA1-EDDA-AEBD-CB2D-09CC6C314E36}"/>
                    </a:ext>
                  </a:extLst>
                </p:cNvPr>
                <p:cNvSpPr/>
                <p:nvPr/>
              </p:nvSpPr>
              <p:spPr>
                <a:xfrm>
                  <a:off x="8565832" y="2391633"/>
                  <a:ext cx="56483" cy="36194"/>
                </a:xfrm>
                <a:custGeom>
                  <a:avLst/>
                  <a:gdLst>
                    <a:gd name="connsiteX0" fmla="*/ 34861 w 56483"/>
                    <a:gd name="connsiteY0" fmla="*/ 6667 h 36194"/>
                    <a:gd name="connsiteX1" fmla="*/ 32099 w 56483"/>
                    <a:gd name="connsiteY1" fmla="*/ 11144 h 36194"/>
                    <a:gd name="connsiteX2" fmla="*/ 24765 w 56483"/>
                    <a:gd name="connsiteY2" fmla="*/ 17430 h 36194"/>
                    <a:gd name="connsiteX3" fmla="*/ 26575 w 56483"/>
                    <a:gd name="connsiteY3" fmla="*/ 12858 h 36194"/>
                    <a:gd name="connsiteX4" fmla="*/ 27242 w 56483"/>
                    <a:gd name="connsiteY4" fmla="*/ 10668 h 36194"/>
                    <a:gd name="connsiteX5" fmla="*/ 17621 w 56483"/>
                    <a:gd name="connsiteY5" fmla="*/ 15716 h 36194"/>
                    <a:gd name="connsiteX6" fmla="*/ 19145 w 56483"/>
                    <a:gd name="connsiteY6" fmla="*/ 15716 h 36194"/>
                    <a:gd name="connsiteX7" fmla="*/ 19145 w 56483"/>
                    <a:gd name="connsiteY7" fmla="*/ 16192 h 36194"/>
                    <a:gd name="connsiteX8" fmla="*/ 667 w 56483"/>
                    <a:gd name="connsiteY8" fmla="*/ 24860 h 36194"/>
                    <a:gd name="connsiteX9" fmla="*/ 3429 w 56483"/>
                    <a:gd name="connsiteY9" fmla="*/ 24860 h 36194"/>
                    <a:gd name="connsiteX10" fmla="*/ 2762 w 56483"/>
                    <a:gd name="connsiteY10" fmla="*/ 26670 h 36194"/>
                    <a:gd name="connsiteX11" fmla="*/ 21050 w 56483"/>
                    <a:gd name="connsiteY11" fmla="*/ 21336 h 36194"/>
                    <a:gd name="connsiteX12" fmla="*/ 0 w 56483"/>
                    <a:gd name="connsiteY12" fmla="*/ 35909 h 36194"/>
                    <a:gd name="connsiteX13" fmla="*/ 190 w 56483"/>
                    <a:gd name="connsiteY13" fmla="*/ 36195 h 36194"/>
                    <a:gd name="connsiteX14" fmla="*/ 22193 w 56483"/>
                    <a:gd name="connsiteY14" fmla="*/ 27622 h 36194"/>
                    <a:gd name="connsiteX15" fmla="*/ 34861 w 56483"/>
                    <a:gd name="connsiteY15" fmla="*/ 17145 h 36194"/>
                    <a:gd name="connsiteX16" fmla="*/ 34861 w 56483"/>
                    <a:gd name="connsiteY16" fmla="*/ 18859 h 36194"/>
                    <a:gd name="connsiteX17" fmla="*/ 34671 w 56483"/>
                    <a:gd name="connsiteY17" fmla="*/ 19145 h 36194"/>
                    <a:gd name="connsiteX18" fmla="*/ 52959 w 56483"/>
                    <a:gd name="connsiteY18" fmla="*/ 3333 h 36194"/>
                    <a:gd name="connsiteX19" fmla="*/ 56483 w 56483"/>
                    <a:gd name="connsiteY19" fmla="*/ 95 h 36194"/>
                    <a:gd name="connsiteX20" fmla="*/ 54483 w 56483"/>
                    <a:gd name="connsiteY20" fmla="*/ 95 h 36194"/>
                    <a:gd name="connsiteX21" fmla="*/ 35433 w 56483"/>
                    <a:gd name="connsiteY21" fmla="*/ 6191 h 36194"/>
                    <a:gd name="connsiteX22" fmla="*/ 34957 w 56483"/>
                    <a:gd name="connsiteY22" fmla="*/ 6572 h 36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6483" h="36194">
                      <a:moveTo>
                        <a:pt x="34861" y="6667"/>
                      </a:moveTo>
                      <a:cubicBezTo>
                        <a:pt x="33814" y="8096"/>
                        <a:pt x="33147" y="9811"/>
                        <a:pt x="32099" y="11144"/>
                      </a:cubicBezTo>
                      <a:cubicBezTo>
                        <a:pt x="30480" y="13049"/>
                        <a:pt x="30290" y="13144"/>
                        <a:pt x="24765" y="17430"/>
                      </a:cubicBezTo>
                      <a:cubicBezTo>
                        <a:pt x="25336" y="16097"/>
                        <a:pt x="26003" y="14287"/>
                        <a:pt x="26575" y="12858"/>
                      </a:cubicBezTo>
                      <a:cubicBezTo>
                        <a:pt x="26765" y="12192"/>
                        <a:pt x="27242" y="11525"/>
                        <a:pt x="27242" y="10668"/>
                      </a:cubicBezTo>
                      <a:cubicBezTo>
                        <a:pt x="26765" y="10477"/>
                        <a:pt x="22288" y="10954"/>
                        <a:pt x="17621" y="15716"/>
                      </a:cubicBezTo>
                      <a:cubicBezTo>
                        <a:pt x="18097" y="15716"/>
                        <a:pt x="18669" y="15716"/>
                        <a:pt x="19145" y="15716"/>
                      </a:cubicBezTo>
                      <a:cubicBezTo>
                        <a:pt x="19145" y="15906"/>
                        <a:pt x="19145" y="16097"/>
                        <a:pt x="19145" y="16192"/>
                      </a:cubicBezTo>
                      <a:cubicBezTo>
                        <a:pt x="13716" y="20764"/>
                        <a:pt x="6572" y="21431"/>
                        <a:pt x="667" y="24860"/>
                      </a:cubicBezTo>
                      <a:cubicBezTo>
                        <a:pt x="1619" y="25336"/>
                        <a:pt x="2476" y="24289"/>
                        <a:pt x="3429" y="24860"/>
                      </a:cubicBezTo>
                      <a:cubicBezTo>
                        <a:pt x="2924" y="25876"/>
                        <a:pt x="2696" y="26479"/>
                        <a:pt x="2762" y="26670"/>
                      </a:cubicBezTo>
                      <a:cubicBezTo>
                        <a:pt x="2829" y="26860"/>
                        <a:pt x="8925" y="25082"/>
                        <a:pt x="21050" y="21336"/>
                      </a:cubicBezTo>
                      <a:cubicBezTo>
                        <a:pt x="15621" y="24384"/>
                        <a:pt x="1143" y="32385"/>
                        <a:pt x="0" y="35909"/>
                      </a:cubicBezTo>
                      <a:cubicBezTo>
                        <a:pt x="0" y="35909"/>
                        <a:pt x="95" y="36100"/>
                        <a:pt x="190" y="36195"/>
                      </a:cubicBezTo>
                      <a:cubicBezTo>
                        <a:pt x="190" y="36195"/>
                        <a:pt x="19717" y="28956"/>
                        <a:pt x="22193" y="27622"/>
                      </a:cubicBezTo>
                      <a:cubicBezTo>
                        <a:pt x="23336" y="26987"/>
                        <a:pt x="27556" y="23495"/>
                        <a:pt x="34861" y="17145"/>
                      </a:cubicBezTo>
                      <a:cubicBezTo>
                        <a:pt x="34861" y="17145"/>
                        <a:pt x="35242" y="17812"/>
                        <a:pt x="34861" y="18859"/>
                      </a:cubicBezTo>
                      <a:cubicBezTo>
                        <a:pt x="34861" y="18859"/>
                        <a:pt x="34861" y="19050"/>
                        <a:pt x="34671" y="19145"/>
                      </a:cubicBezTo>
                      <a:cubicBezTo>
                        <a:pt x="38033" y="15970"/>
                        <a:pt x="44129" y="10699"/>
                        <a:pt x="52959" y="3333"/>
                      </a:cubicBezTo>
                      <a:cubicBezTo>
                        <a:pt x="55817" y="952"/>
                        <a:pt x="56007" y="857"/>
                        <a:pt x="56483" y="95"/>
                      </a:cubicBezTo>
                      <a:cubicBezTo>
                        <a:pt x="55912" y="-32"/>
                        <a:pt x="55245" y="-32"/>
                        <a:pt x="54483" y="95"/>
                      </a:cubicBezTo>
                      <a:cubicBezTo>
                        <a:pt x="54483" y="95"/>
                        <a:pt x="37147" y="5239"/>
                        <a:pt x="35433" y="6191"/>
                      </a:cubicBezTo>
                      <a:cubicBezTo>
                        <a:pt x="35242" y="6191"/>
                        <a:pt x="35052" y="6381"/>
                        <a:pt x="34957" y="6572"/>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Freeform: Shape 28">
                  <a:extLst>
                    <a:ext uri="{FF2B5EF4-FFF2-40B4-BE49-F238E27FC236}">
                      <a16:creationId xmlns:a16="http://schemas.microsoft.com/office/drawing/2014/main" id="{952B7588-A667-F0C5-E819-C1B3A29C95E1}"/>
                    </a:ext>
                  </a:extLst>
                </p:cNvPr>
                <p:cNvSpPr/>
                <p:nvPr/>
              </p:nvSpPr>
              <p:spPr>
                <a:xfrm>
                  <a:off x="8570430" y="2421576"/>
                  <a:ext cx="285356" cy="213411"/>
                </a:xfrm>
                <a:custGeom>
                  <a:avLst/>
                  <a:gdLst>
                    <a:gd name="connsiteX0" fmla="*/ 218477 w 285356"/>
                    <a:gd name="connsiteY0" fmla="*/ 114456 h 213411"/>
                    <a:gd name="connsiteX1" fmla="*/ 244385 w 285356"/>
                    <a:gd name="connsiteY1" fmla="*/ 136268 h 213411"/>
                    <a:gd name="connsiteX2" fmla="*/ 256957 w 285356"/>
                    <a:gd name="connsiteY2" fmla="*/ 146651 h 213411"/>
                    <a:gd name="connsiteX3" fmla="*/ 284675 w 285356"/>
                    <a:gd name="connsiteY3" fmla="*/ 101883 h 213411"/>
                    <a:gd name="connsiteX4" fmla="*/ 285342 w 285356"/>
                    <a:gd name="connsiteY4" fmla="*/ 97406 h 213411"/>
                    <a:gd name="connsiteX5" fmla="*/ 204475 w 285356"/>
                    <a:gd name="connsiteY5" fmla="*/ 79118 h 213411"/>
                    <a:gd name="connsiteX6" fmla="*/ 228287 w 285356"/>
                    <a:gd name="connsiteY6" fmla="*/ 67022 h 213411"/>
                    <a:gd name="connsiteX7" fmla="*/ 240765 w 285356"/>
                    <a:gd name="connsiteY7" fmla="*/ 59116 h 213411"/>
                    <a:gd name="connsiteX8" fmla="*/ 197903 w 285356"/>
                    <a:gd name="connsiteY8" fmla="*/ 24159 h 213411"/>
                    <a:gd name="connsiteX9" fmla="*/ 179424 w 285356"/>
                    <a:gd name="connsiteY9" fmla="*/ 22159 h 213411"/>
                    <a:gd name="connsiteX10" fmla="*/ 165327 w 285356"/>
                    <a:gd name="connsiteY10" fmla="*/ 8157 h 213411"/>
                    <a:gd name="connsiteX11" fmla="*/ 127989 w 285356"/>
                    <a:gd name="connsiteY11" fmla="*/ 18635 h 213411"/>
                    <a:gd name="connsiteX12" fmla="*/ 113225 w 285356"/>
                    <a:gd name="connsiteY12" fmla="*/ 23207 h 213411"/>
                    <a:gd name="connsiteX13" fmla="*/ 110749 w 285356"/>
                    <a:gd name="connsiteY13" fmla="*/ 728 h 213411"/>
                    <a:gd name="connsiteX14" fmla="*/ 84936 w 285356"/>
                    <a:gd name="connsiteY14" fmla="*/ 2252 h 213411"/>
                    <a:gd name="connsiteX15" fmla="*/ 1688 w 285356"/>
                    <a:gd name="connsiteY15" fmla="*/ 78071 h 213411"/>
                    <a:gd name="connsiteX16" fmla="*/ 67982 w 285356"/>
                    <a:gd name="connsiteY16" fmla="*/ 74737 h 213411"/>
                    <a:gd name="connsiteX17" fmla="*/ 86746 w 285356"/>
                    <a:gd name="connsiteY17" fmla="*/ 66069 h 213411"/>
                    <a:gd name="connsiteX18" fmla="*/ 108272 w 285356"/>
                    <a:gd name="connsiteY18" fmla="*/ 57211 h 213411"/>
                    <a:gd name="connsiteX19" fmla="*/ 123607 w 285356"/>
                    <a:gd name="connsiteY19" fmla="*/ 69117 h 213411"/>
                    <a:gd name="connsiteX20" fmla="*/ 137514 w 285356"/>
                    <a:gd name="connsiteY20" fmla="*/ 90644 h 213411"/>
                    <a:gd name="connsiteX21" fmla="*/ 160660 w 285356"/>
                    <a:gd name="connsiteY21" fmla="*/ 113408 h 213411"/>
                    <a:gd name="connsiteX22" fmla="*/ 109320 w 285356"/>
                    <a:gd name="connsiteY22" fmla="*/ 162367 h 213411"/>
                    <a:gd name="connsiteX23" fmla="*/ 65886 w 285356"/>
                    <a:gd name="connsiteY23" fmla="*/ 173035 h 213411"/>
                    <a:gd name="connsiteX24" fmla="*/ 61409 w 285356"/>
                    <a:gd name="connsiteY24" fmla="*/ 187894 h 213411"/>
                    <a:gd name="connsiteX25" fmla="*/ 97604 w 285356"/>
                    <a:gd name="connsiteY25" fmla="*/ 182750 h 213411"/>
                    <a:gd name="connsiteX26" fmla="*/ 150944 w 285356"/>
                    <a:gd name="connsiteY26" fmla="*/ 191228 h 213411"/>
                    <a:gd name="connsiteX27" fmla="*/ 134371 w 285356"/>
                    <a:gd name="connsiteY27" fmla="*/ 199324 h 213411"/>
                    <a:gd name="connsiteX28" fmla="*/ 212190 w 285356"/>
                    <a:gd name="connsiteY28" fmla="*/ 211516 h 213411"/>
                    <a:gd name="connsiteX29" fmla="*/ 208666 w 285356"/>
                    <a:gd name="connsiteY29" fmla="*/ 208277 h 213411"/>
                    <a:gd name="connsiteX30" fmla="*/ 181139 w 285356"/>
                    <a:gd name="connsiteY30" fmla="*/ 183322 h 213411"/>
                    <a:gd name="connsiteX31" fmla="*/ 219334 w 285356"/>
                    <a:gd name="connsiteY31" fmla="*/ 195895 h 213411"/>
                    <a:gd name="connsiteX32" fmla="*/ 224287 w 285356"/>
                    <a:gd name="connsiteY32" fmla="*/ 198181 h 213411"/>
                    <a:gd name="connsiteX33" fmla="*/ 236384 w 285356"/>
                    <a:gd name="connsiteY33" fmla="*/ 166177 h 213411"/>
                    <a:gd name="connsiteX34" fmla="*/ 197522 w 285356"/>
                    <a:gd name="connsiteY34" fmla="*/ 137507 h 213411"/>
                    <a:gd name="connsiteX35" fmla="*/ 218191 w 285356"/>
                    <a:gd name="connsiteY35" fmla="*/ 114170 h 213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85356" h="213411">
                      <a:moveTo>
                        <a:pt x="218477" y="114456"/>
                      </a:moveTo>
                      <a:cubicBezTo>
                        <a:pt x="226478" y="113789"/>
                        <a:pt x="244194" y="136078"/>
                        <a:pt x="244385" y="136268"/>
                      </a:cubicBezTo>
                      <a:cubicBezTo>
                        <a:pt x="248576" y="141698"/>
                        <a:pt x="252957" y="147413"/>
                        <a:pt x="256957" y="146651"/>
                      </a:cubicBezTo>
                      <a:cubicBezTo>
                        <a:pt x="268007" y="144555"/>
                        <a:pt x="284580" y="102359"/>
                        <a:pt x="284675" y="101883"/>
                      </a:cubicBezTo>
                      <a:cubicBezTo>
                        <a:pt x="285056" y="100550"/>
                        <a:pt x="285437" y="98740"/>
                        <a:pt x="285342" y="97406"/>
                      </a:cubicBezTo>
                      <a:lnTo>
                        <a:pt x="204475" y="79118"/>
                      </a:lnTo>
                      <a:cubicBezTo>
                        <a:pt x="206761" y="77309"/>
                        <a:pt x="208856" y="75689"/>
                        <a:pt x="228287" y="67022"/>
                      </a:cubicBezTo>
                      <a:cubicBezTo>
                        <a:pt x="236860" y="63212"/>
                        <a:pt x="241051" y="61402"/>
                        <a:pt x="240765" y="59116"/>
                      </a:cubicBezTo>
                      <a:cubicBezTo>
                        <a:pt x="240098" y="53306"/>
                        <a:pt x="211714" y="26445"/>
                        <a:pt x="197903" y="24159"/>
                      </a:cubicBezTo>
                      <a:cubicBezTo>
                        <a:pt x="191807" y="23207"/>
                        <a:pt x="185330" y="25016"/>
                        <a:pt x="179424" y="22159"/>
                      </a:cubicBezTo>
                      <a:cubicBezTo>
                        <a:pt x="173138" y="19111"/>
                        <a:pt x="173899" y="8824"/>
                        <a:pt x="165327" y="8157"/>
                      </a:cubicBezTo>
                      <a:cubicBezTo>
                        <a:pt x="157421" y="7490"/>
                        <a:pt x="140372" y="13967"/>
                        <a:pt x="127989" y="18635"/>
                      </a:cubicBezTo>
                      <a:cubicBezTo>
                        <a:pt x="115416" y="23397"/>
                        <a:pt x="115226" y="23397"/>
                        <a:pt x="113225" y="23207"/>
                      </a:cubicBezTo>
                      <a:cubicBezTo>
                        <a:pt x="112368" y="21206"/>
                        <a:pt x="111511" y="19111"/>
                        <a:pt x="110749" y="728"/>
                      </a:cubicBezTo>
                      <a:cubicBezTo>
                        <a:pt x="105605" y="-1273"/>
                        <a:pt x="89698" y="1394"/>
                        <a:pt x="84936" y="2252"/>
                      </a:cubicBezTo>
                      <a:cubicBezTo>
                        <a:pt x="60647" y="7967"/>
                        <a:pt x="-11933" y="68736"/>
                        <a:pt x="1688" y="78071"/>
                      </a:cubicBezTo>
                      <a:cubicBezTo>
                        <a:pt x="15213" y="87310"/>
                        <a:pt x="61695" y="77785"/>
                        <a:pt x="67982" y="74737"/>
                      </a:cubicBezTo>
                      <a:cubicBezTo>
                        <a:pt x="67029" y="70832"/>
                        <a:pt x="66458" y="68260"/>
                        <a:pt x="86746" y="66069"/>
                      </a:cubicBezTo>
                      <a:cubicBezTo>
                        <a:pt x="103986" y="64164"/>
                        <a:pt x="106558" y="60068"/>
                        <a:pt x="108272" y="57211"/>
                      </a:cubicBezTo>
                      <a:cubicBezTo>
                        <a:pt x="112463" y="59402"/>
                        <a:pt x="123512" y="69022"/>
                        <a:pt x="123607" y="69117"/>
                      </a:cubicBezTo>
                      <a:cubicBezTo>
                        <a:pt x="129513" y="75404"/>
                        <a:pt x="131990" y="84071"/>
                        <a:pt x="137514" y="90644"/>
                      </a:cubicBezTo>
                      <a:cubicBezTo>
                        <a:pt x="144467" y="99026"/>
                        <a:pt x="160565" y="98073"/>
                        <a:pt x="160660" y="113408"/>
                      </a:cubicBezTo>
                      <a:cubicBezTo>
                        <a:pt x="160660" y="113694"/>
                        <a:pt x="157136" y="148079"/>
                        <a:pt x="109320" y="162367"/>
                      </a:cubicBezTo>
                      <a:cubicBezTo>
                        <a:pt x="95033" y="166653"/>
                        <a:pt x="79507" y="165796"/>
                        <a:pt x="65886" y="173035"/>
                      </a:cubicBezTo>
                      <a:cubicBezTo>
                        <a:pt x="59885" y="176178"/>
                        <a:pt x="59695" y="186370"/>
                        <a:pt x="61409" y="187894"/>
                      </a:cubicBezTo>
                      <a:cubicBezTo>
                        <a:pt x="63981" y="190275"/>
                        <a:pt x="72458" y="191323"/>
                        <a:pt x="97604" y="182750"/>
                      </a:cubicBezTo>
                      <a:cubicBezTo>
                        <a:pt x="110434" y="178433"/>
                        <a:pt x="128208" y="181258"/>
                        <a:pt x="150944" y="191228"/>
                      </a:cubicBezTo>
                      <a:cubicBezTo>
                        <a:pt x="149106" y="193196"/>
                        <a:pt x="143581" y="195895"/>
                        <a:pt x="134371" y="199324"/>
                      </a:cubicBezTo>
                      <a:cubicBezTo>
                        <a:pt x="141895" y="205991"/>
                        <a:pt x="200284" y="218088"/>
                        <a:pt x="212190" y="211516"/>
                      </a:cubicBezTo>
                      <a:cubicBezTo>
                        <a:pt x="211876" y="210309"/>
                        <a:pt x="210695" y="209230"/>
                        <a:pt x="208666" y="208277"/>
                      </a:cubicBezTo>
                      <a:cubicBezTo>
                        <a:pt x="207647" y="207770"/>
                        <a:pt x="198474" y="199451"/>
                        <a:pt x="181139" y="183322"/>
                      </a:cubicBezTo>
                      <a:cubicBezTo>
                        <a:pt x="201427" y="185513"/>
                        <a:pt x="207809" y="188084"/>
                        <a:pt x="219334" y="195895"/>
                      </a:cubicBezTo>
                      <a:cubicBezTo>
                        <a:pt x="221524" y="197419"/>
                        <a:pt x="223144" y="198562"/>
                        <a:pt x="224287" y="198181"/>
                      </a:cubicBezTo>
                      <a:cubicBezTo>
                        <a:pt x="230764" y="196181"/>
                        <a:pt x="241622" y="171701"/>
                        <a:pt x="236384" y="166177"/>
                      </a:cubicBezTo>
                      <a:cubicBezTo>
                        <a:pt x="225049" y="154366"/>
                        <a:pt x="203903" y="155890"/>
                        <a:pt x="197522" y="137507"/>
                      </a:cubicBezTo>
                      <a:cubicBezTo>
                        <a:pt x="192188" y="122362"/>
                        <a:pt x="217905" y="114170"/>
                        <a:pt x="218191" y="114170"/>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Segoe UI"/>
                    <a:ea typeface="+mn-ea"/>
                    <a:cs typeface="+mn-cs"/>
                  </a:endParaRPr>
                </a:p>
              </p:txBody>
            </p:sp>
            <p:sp>
              <p:nvSpPr>
                <p:cNvPr id="30" name="Freeform: Shape 29">
                  <a:extLst>
                    <a:ext uri="{FF2B5EF4-FFF2-40B4-BE49-F238E27FC236}">
                      <a16:creationId xmlns:a16="http://schemas.microsoft.com/office/drawing/2014/main" id="{A7E420DE-F274-5290-9CA4-5BAADAFCBCB3}"/>
                    </a:ext>
                  </a:extLst>
                </p:cNvPr>
                <p:cNvSpPr/>
                <p:nvPr/>
              </p:nvSpPr>
              <p:spPr>
                <a:xfrm>
                  <a:off x="8524779" y="2415350"/>
                  <a:ext cx="11239" cy="5619"/>
                </a:xfrm>
                <a:custGeom>
                  <a:avLst/>
                  <a:gdLst>
                    <a:gd name="connsiteX0" fmla="*/ 0 w 11239"/>
                    <a:gd name="connsiteY0" fmla="*/ 5524 h 5619"/>
                    <a:gd name="connsiteX1" fmla="*/ 8954 w 11239"/>
                    <a:gd name="connsiteY1" fmla="*/ 1619 h 5619"/>
                    <a:gd name="connsiteX2" fmla="*/ 11240 w 11239"/>
                    <a:gd name="connsiteY2" fmla="*/ 0 h 5619"/>
                    <a:gd name="connsiteX3" fmla="*/ 11240 w 11239"/>
                    <a:gd name="connsiteY3" fmla="*/ 0 h 5619"/>
                    <a:gd name="connsiteX4" fmla="*/ 10668 w 11239"/>
                    <a:gd name="connsiteY4" fmla="*/ 190 h 5619"/>
                    <a:gd name="connsiteX5" fmla="*/ 191 w 11239"/>
                    <a:gd name="connsiteY5" fmla="*/ 5620 h 5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39" h="5619">
                      <a:moveTo>
                        <a:pt x="0" y="5524"/>
                      </a:moveTo>
                      <a:cubicBezTo>
                        <a:pt x="667" y="6096"/>
                        <a:pt x="5239" y="3905"/>
                        <a:pt x="8954" y="1619"/>
                      </a:cubicBezTo>
                      <a:cubicBezTo>
                        <a:pt x="9716" y="1143"/>
                        <a:pt x="10954" y="381"/>
                        <a:pt x="11240" y="0"/>
                      </a:cubicBezTo>
                      <a:cubicBezTo>
                        <a:pt x="11240" y="0"/>
                        <a:pt x="11240" y="0"/>
                        <a:pt x="11240" y="0"/>
                      </a:cubicBezTo>
                      <a:cubicBezTo>
                        <a:pt x="11049" y="0"/>
                        <a:pt x="10858" y="0"/>
                        <a:pt x="10668" y="190"/>
                      </a:cubicBezTo>
                      <a:cubicBezTo>
                        <a:pt x="8954" y="857"/>
                        <a:pt x="286" y="4858"/>
                        <a:pt x="191" y="5620"/>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Segoe UI"/>
                    <a:ea typeface="+mn-ea"/>
                    <a:cs typeface="+mn-cs"/>
                  </a:endParaRPr>
                </a:p>
              </p:txBody>
            </p:sp>
            <p:sp>
              <p:nvSpPr>
                <p:cNvPr id="31" name="Freeform: Shape 30">
                  <a:extLst>
                    <a:ext uri="{FF2B5EF4-FFF2-40B4-BE49-F238E27FC236}">
                      <a16:creationId xmlns:a16="http://schemas.microsoft.com/office/drawing/2014/main" id="{B674413B-3ECB-4C7E-39FB-669A2934F87F}"/>
                    </a:ext>
                  </a:extLst>
                </p:cNvPr>
                <p:cNvSpPr/>
                <p:nvPr/>
              </p:nvSpPr>
              <p:spPr>
                <a:xfrm>
                  <a:off x="8960956" y="2449135"/>
                  <a:ext cx="27599" cy="17477"/>
                </a:xfrm>
                <a:custGeom>
                  <a:avLst/>
                  <a:gdLst>
                    <a:gd name="connsiteX0" fmla="*/ 11022 w 27599"/>
                    <a:gd name="connsiteY0" fmla="*/ 17269 h 17477"/>
                    <a:gd name="connsiteX1" fmla="*/ 23404 w 27599"/>
                    <a:gd name="connsiteY1" fmla="*/ 14793 h 17477"/>
                    <a:gd name="connsiteX2" fmla="*/ 27405 w 27599"/>
                    <a:gd name="connsiteY2" fmla="*/ 11078 h 17477"/>
                    <a:gd name="connsiteX3" fmla="*/ 26833 w 27599"/>
                    <a:gd name="connsiteY3" fmla="*/ 7839 h 17477"/>
                    <a:gd name="connsiteX4" fmla="*/ 22166 w 27599"/>
                    <a:gd name="connsiteY4" fmla="*/ 3744 h 17477"/>
                    <a:gd name="connsiteX5" fmla="*/ 21309 w 27599"/>
                    <a:gd name="connsiteY5" fmla="*/ 1172 h 17477"/>
                    <a:gd name="connsiteX6" fmla="*/ 21118 w 27599"/>
                    <a:gd name="connsiteY6" fmla="*/ 696 h 17477"/>
                    <a:gd name="connsiteX7" fmla="*/ 15213 w 27599"/>
                    <a:gd name="connsiteY7" fmla="*/ 124 h 17477"/>
                    <a:gd name="connsiteX8" fmla="*/ 2544 w 27599"/>
                    <a:gd name="connsiteY8" fmla="*/ 15745 h 17477"/>
                    <a:gd name="connsiteX9" fmla="*/ 11117 w 27599"/>
                    <a:gd name="connsiteY9" fmla="*/ 17269 h 17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599" h="17477">
                      <a:moveTo>
                        <a:pt x="11022" y="17269"/>
                      </a:moveTo>
                      <a:lnTo>
                        <a:pt x="23404" y="14793"/>
                      </a:lnTo>
                      <a:cubicBezTo>
                        <a:pt x="23404" y="14793"/>
                        <a:pt x="26643" y="13364"/>
                        <a:pt x="27405" y="11078"/>
                      </a:cubicBezTo>
                      <a:cubicBezTo>
                        <a:pt x="27881" y="9554"/>
                        <a:pt x="27405" y="8601"/>
                        <a:pt x="26833" y="7839"/>
                      </a:cubicBezTo>
                      <a:cubicBezTo>
                        <a:pt x="25690" y="6030"/>
                        <a:pt x="23499" y="5363"/>
                        <a:pt x="22166" y="3744"/>
                      </a:cubicBezTo>
                      <a:cubicBezTo>
                        <a:pt x="21309" y="2696"/>
                        <a:pt x="21309" y="1743"/>
                        <a:pt x="21309" y="1172"/>
                      </a:cubicBezTo>
                      <a:cubicBezTo>
                        <a:pt x="21309" y="981"/>
                        <a:pt x="21309" y="791"/>
                        <a:pt x="21118" y="696"/>
                      </a:cubicBezTo>
                      <a:cubicBezTo>
                        <a:pt x="21118" y="696"/>
                        <a:pt x="19499" y="-352"/>
                        <a:pt x="15213" y="124"/>
                      </a:cubicBezTo>
                      <a:cubicBezTo>
                        <a:pt x="9688" y="1267"/>
                        <a:pt x="-6123" y="10506"/>
                        <a:pt x="2544" y="15745"/>
                      </a:cubicBezTo>
                      <a:cubicBezTo>
                        <a:pt x="4449" y="16888"/>
                        <a:pt x="7688" y="17936"/>
                        <a:pt x="11117" y="17269"/>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Segoe UI"/>
                    <a:ea typeface="+mn-ea"/>
                    <a:cs typeface="+mn-cs"/>
                  </a:endParaRPr>
                </a:p>
              </p:txBody>
            </p:sp>
            <p:sp>
              <p:nvSpPr>
                <p:cNvPr id="32" name="Freeform: Shape 31">
                  <a:extLst>
                    <a:ext uri="{FF2B5EF4-FFF2-40B4-BE49-F238E27FC236}">
                      <a16:creationId xmlns:a16="http://schemas.microsoft.com/office/drawing/2014/main" id="{7D98E673-1A33-50CE-2D1B-70E65EEE67E8}"/>
                    </a:ext>
                  </a:extLst>
                </p:cNvPr>
                <p:cNvSpPr/>
                <p:nvPr/>
              </p:nvSpPr>
              <p:spPr>
                <a:xfrm>
                  <a:off x="8691402" y="2417976"/>
                  <a:ext cx="38830" cy="13996"/>
                </a:xfrm>
                <a:custGeom>
                  <a:avLst/>
                  <a:gdLst>
                    <a:gd name="connsiteX0" fmla="*/ 38545 w 38830"/>
                    <a:gd name="connsiteY0" fmla="*/ 5756 h 13996"/>
                    <a:gd name="connsiteX1" fmla="*/ 38831 w 38830"/>
                    <a:gd name="connsiteY1" fmla="*/ 5565 h 13996"/>
                    <a:gd name="connsiteX2" fmla="*/ 7684 w 38830"/>
                    <a:gd name="connsiteY2" fmla="*/ 422 h 13996"/>
                    <a:gd name="connsiteX3" fmla="*/ 2636 w 38830"/>
                    <a:gd name="connsiteY3" fmla="*/ 11947 h 13996"/>
                    <a:gd name="connsiteX4" fmla="*/ 38545 w 38830"/>
                    <a:gd name="connsiteY4" fmla="*/ 5756 h 139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830" h="13996">
                      <a:moveTo>
                        <a:pt x="38545" y="5756"/>
                      </a:moveTo>
                      <a:cubicBezTo>
                        <a:pt x="38545" y="5756"/>
                        <a:pt x="38735" y="5565"/>
                        <a:pt x="38831" y="5565"/>
                      </a:cubicBezTo>
                      <a:cubicBezTo>
                        <a:pt x="37592" y="3565"/>
                        <a:pt x="20352" y="-1483"/>
                        <a:pt x="7684" y="422"/>
                      </a:cubicBezTo>
                      <a:cubicBezTo>
                        <a:pt x="-3460" y="2327"/>
                        <a:pt x="64" y="9756"/>
                        <a:pt x="2636" y="11947"/>
                      </a:cubicBezTo>
                      <a:cubicBezTo>
                        <a:pt x="11113" y="18900"/>
                        <a:pt x="38354" y="5946"/>
                        <a:pt x="38545" y="5756"/>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Segoe UI"/>
                    <a:ea typeface="+mn-ea"/>
                    <a:cs typeface="+mn-cs"/>
                  </a:endParaRPr>
                </a:p>
              </p:txBody>
            </p:sp>
            <p:sp>
              <p:nvSpPr>
                <p:cNvPr id="33" name="Freeform: Shape 32">
                  <a:extLst>
                    <a:ext uri="{FF2B5EF4-FFF2-40B4-BE49-F238E27FC236}">
                      <a16:creationId xmlns:a16="http://schemas.microsoft.com/office/drawing/2014/main" id="{3587A36C-5BA6-97DB-A1FA-3574F9CA0F3B}"/>
                    </a:ext>
                  </a:extLst>
                </p:cNvPr>
                <p:cNvSpPr/>
                <p:nvPr/>
              </p:nvSpPr>
              <p:spPr>
                <a:xfrm>
                  <a:off x="8632602" y="2353152"/>
                  <a:ext cx="35528" cy="19773"/>
                </a:xfrm>
                <a:custGeom>
                  <a:avLst/>
                  <a:gdLst>
                    <a:gd name="connsiteX0" fmla="*/ 10573 w 35528"/>
                    <a:gd name="connsiteY0" fmla="*/ 12764 h 19773"/>
                    <a:gd name="connsiteX1" fmla="*/ 0 w 35528"/>
                    <a:gd name="connsiteY1" fmla="*/ 17431 h 19773"/>
                    <a:gd name="connsiteX2" fmla="*/ 1619 w 35528"/>
                    <a:gd name="connsiteY2" fmla="*/ 17050 h 19773"/>
                    <a:gd name="connsiteX3" fmla="*/ 12478 w 35528"/>
                    <a:gd name="connsiteY3" fmla="*/ 15716 h 19773"/>
                    <a:gd name="connsiteX4" fmla="*/ 8858 w 35528"/>
                    <a:gd name="connsiteY4" fmla="*/ 19622 h 19773"/>
                    <a:gd name="connsiteX5" fmla="*/ 19526 w 35528"/>
                    <a:gd name="connsiteY5" fmla="*/ 16478 h 19773"/>
                    <a:gd name="connsiteX6" fmla="*/ 33719 w 35528"/>
                    <a:gd name="connsiteY6" fmla="*/ 3429 h 19773"/>
                    <a:gd name="connsiteX7" fmla="*/ 29718 w 35528"/>
                    <a:gd name="connsiteY7" fmla="*/ 4191 h 19773"/>
                    <a:gd name="connsiteX8" fmla="*/ 35528 w 35528"/>
                    <a:gd name="connsiteY8" fmla="*/ 0 h 19773"/>
                    <a:gd name="connsiteX9" fmla="*/ 34576 w 35528"/>
                    <a:gd name="connsiteY9" fmla="*/ 95 h 19773"/>
                    <a:gd name="connsiteX10" fmla="*/ 10382 w 35528"/>
                    <a:gd name="connsiteY10" fmla="*/ 10287 h 19773"/>
                    <a:gd name="connsiteX11" fmla="*/ 16574 w 35528"/>
                    <a:gd name="connsiteY11" fmla="*/ 9525 h 19773"/>
                    <a:gd name="connsiteX12" fmla="*/ 10573 w 35528"/>
                    <a:gd name="connsiteY12" fmla="*/ 12859 h 19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528" h="19773">
                      <a:moveTo>
                        <a:pt x="10573" y="12764"/>
                      </a:moveTo>
                      <a:cubicBezTo>
                        <a:pt x="7049" y="14097"/>
                        <a:pt x="1238" y="16478"/>
                        <a:pt x="0" y="17431"/>
                      </a:cubicBezTo>
                      <a:cubicBezTo>
                        <a:pt x="572" y="17431"/>
                        <a:pt x="1048" y="17145"/>
                        <a:pt x="1619" y="17050"/>
                      </a:cubicBezTo>
                      <a:cubicBezTo>
                        <a:pt x="7144" y="15240"/>
                        <a:pt x="12478" y="15716"/>
                        <a:pt x="12478" y="15716"/>
                      </a:cubicBezTo>
                      <a:cubicBezTo>
                        <a:pt x="12002" y="17621"/>
                        <a:pt x="9335" y="17621"/>
                        <a:pt x="8858" y="19622"/>
                      </a:cubicBezTo>
                      <a:cubicBezTo>
                        <a:pt x="9525" y="20574"/>
                        <a:pt x="18860" y="16764"/>
                        <a:pt x="19526" y="16478"/>
                      </a:cubicBezTo>
                      <a:cubicBezTo>
                        <a:pt x="22860" y="14669"/>
                        <a:pt x="33719" y="5239"/>
                        <a:pt x="33719" y="3429"/>
                      </a:cubicBezTo>
                      <a:cubicBezTo>
                        <a:pt x="32290" y="2953"/>
                        <a:pt x="31147" y="4191"/>
                        <a:pt x="29718" y="4191"/>
                      </a:cubicBezTo>
                      <a:cubicBezTo>
                        <a:pt x="30956" y="1810"/>
                        <a:pt x="33909" y="1905"/>
                        <a:pt x="35528" y="0"/>
                      </a:cubicBezTo>
                      <a:cubicBezTo>
                        <a:pt x="35528" y="0"/>
                        <a:pt x="35214" y="31"/>
                        <a:pt x="34576" y="95"/>
                      </a:cubicBezTo>
                      <a:cubicBezTo>
                        <a:pt x="24860" y="3239"/>
                        <a:pt x="11906" y="9144"/>
                        <a:pt x="10382" y="10287"/>
                      </a:cubicBezTo>
                      <a:cubicBezTo>
                        <a:pt x="12573" y="10954"/>
                        <a:pt x="14478" y="9334"/>
                        <a:pt x="16574" y="9525"/>
                      </a:cubicBezTo>
                      <a:cubicBezTo>
                        <a:pt x="16859" y="10382"/>
                        <a:pt x="15716" y="10954"/>
                        <a:pt x="10573" y="12859"/>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Freeform: Shape 33">
                  <a:extLst>
                    <a:ext uri="{FF2B5EF4-FFF2-40B4-BE49-F238E27FC236}">
                      <a16:creationId xmlns:a16="http://schemas.microsoft.com/office/drawing/2014/main" id="{16DB290E-D1FB-EB00-9E50-C65A40C3B1EC}"/>
                    </a:ext>
                  </a:extLst>
                </p:cNvPr>
                <p:cNvSpPr/>
                <p:nvPr/>
              </p:nvSpPr>
              <p:spPr>
                <a:xfrm>
                  <a:off x="8594298" y="2404777"/>
                  <a:ext cx="29003" cy="17890"/>
                </a:xfrm>
                <a:custGeom>
                  <a:avLst/>
                  <a:gdLst>
                    <a:gd name="connsiteX0" fmla="*/ 2013 w 29003"/>
                    <a:gd name="connsiteY0" fmla="*/ 12668 h 17890"/>
                    <a:gd name="connsiteX1" fmla="*/ 2490 w 29003"/>
                    <a:gd name="connsiteY1" fmla="*/ 17145 h 17890"/>
                    <a:gd name="connsiteX2" fmla="*/ 20016 w 29003"/>
                    <a:gd name="connsiteY2" fmla="*/ 11620 h 17890"/>
                    <a:gd name="connsiteX3" fmla="*/ 28112 w 29003"/>
                    <a:gd name="connsiteY3" fmla="*/ 0 h 17890"/>
                    <a:gd name="connsiteX4" fmla="*/ 26588 w 29003"/>
                    <a:gd name="connsiteY4" fmla="*/ 191 h 17890"/>
                    <a:gd name="connsiteX5" fmla="*/ 2013 w 29003"/>
                    <a:gd name="connsiteY5" fmla="*/ 12668 h 17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003" h="17890">
                      <a:moveTo>
                        <a:pt x="2013" y="12668"/>
                      </a:moveTo>
                      <a:cubicBezTo>
                        <a:pt x="-368" y="14288"/>
                        <a:pt x="-1130" y="14859"/>
                        <a:pt x="2490" y="17145"/>
                      </a:cubicBezTo>
                      <a:cubicBezTo>
                        <a:pt x="5538" y="19050"/>
                        <a:pt x="13348" y="17335"/>
                        <a:pt x="20016" y="11620"/>
                      </a:cubicBezTo>
                      <a:cubicBezTo>
                        <a:pt x="23826" y="8382"/>
                        <a:pt x="31636" y="286"/>
                        <a:pt x="28112" y="0"/>
                      </a:cubicBezTo>
                      <a:cubicBezTo>
                        <a:pt x="27636" y="0"/>
                        <a:pt x="27064" y="95"/>
                        <a:pt x="26588" y="191"/>
                      </a:cubicBezTo>
                      <a:cubicBezTo>
                        <a:pt x="20397" y="1905"/>
                        <a:pt x="3061" y="12001"/>
                        <a:pt x="2013" y="12668"/>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Freeform: Shape 34">
                  <a:extLst>
                    <a:ext uri="{FF2B5EF4-FFF2-40B4-BE49-F238E27FC236}">
                      <a16:creationId xmlns:a16="http://schemas.microsoft.com/office/drawing/2014/main" id="{B86EE467-6223-561C-656D-5E5F114858E1}"/>
                    </a:ext>
                  </a:extLst>
                </p:cNvPr>
                <p:cNvSpPr/>
                <p:nvPr/>
              </p:nvSpPr>
              <p:spPr>
                <a:xfrm>
                  <a:off x="8660986" y="2359153"/>
                  <a:ext cx="41528" cy="12703"/>
                </a:xfrm>
                <a:custGeom>
                  <a:avLst/>
                  <a:gdLst>
                    <a:gd name="connsiteX0" fmla="*/ 41434 w 41528"/>
                    <a:gd name="connsiteY0" fmla="*/ 191 h 12703"/>
                    <a:gd name="connsiteX1" fmla="*/ 41243 w 41528"/>
                    <a:gd name="connsiteY1" fmla="*/ 0 h 12703"/>
                    <a:gd name="connsiteX2" fmla="*/ 40386 w 41528"/>
                    <a:gd name="connsiteY2" fmla="*/ 191 h 12703"/>
                    <a:gd name="connsiteX3" fmla="*/ 39624 w 41528"/>
                    <a:gd name="connsiteY3" fmla="*/ 381 h 12703"/>
                    <a:gd name="connsiteX4" fmla="*/ 24860 w 41528"/>
                    <a:gd name="connsiteY4" fmla="*/ 5334 h 12703"/>
                    <a:gd name="connsiteX5" fmla="*/ 7429 w 41528"/>
                    <a:gd name="connsiteY5" fmla="*/ 10001 h 12703"/>
                    <a:gd name="connsiteX6" fmla="*/ 0 w 41528"/>
                    <a:gd name="connsiteY6" fmla="*/ 12668 h 12703"/>
                    <a:gd name="connsiteX7" fmla="*/ 27337 w 41528"/>
                    <a:gd name="connsiteY7" fmla="*/ 7715 h 12703"/>
                    <a:gd name="connsiteX8" fmla="*/ 40005 w 41528"/>
                    <a:gd name="connsiteY8" fmla="*/ 1333 h 12703"/>
                    <a:gd name="connsiteX9" fmla="*/ 41529 w 41528"/>
                    <a:gd name="connsiteY9" fmla="*/ 95 h 12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528" h="12703">
                      <a:moveTo>
                        <a:pt x="41434" y="191"/>
                      </a:moveTo>
                      <a:cubicBezTo>
                        <a:pt x="41434" y="191"/>
                        <a:pt x="41339" y="0"/>
                        <a:pt x="41243" y="0"/>
                      </a:cubicBezTo>
                      <a:cubicBezTo>
                        <a:pt x="40957" y="0"/>
                        <a:pt x="40577" y="0"/>
                        <a:pt x="40386" y="191"/>
                      </a:cubicBezTo>
                      <a:cubicBezTo>
                        <a:pt x="40100" y="191"/>
                        <a:pt x="39815" y="381"/>
                        <a:pt x="39624" y="381"/>
                      </a:cubicBezTo>
                      <a:cubicBezTo>
                        <a:pt x="34576" y="1905"/>
                        <a:pt x="29813" y="3810"/>
                        <a:pt x="24860" y="5334"/>
                      </a:cubicBezTo>
                      <a:cubicBezTo>
                        <a:pt x="19145" y="7048"/>
                        <a:pt x="13144" y="8192"/>
                        <a:pt x="7429" y="10001"/>
                      </a:cubicBezTo>
                      <a:cubicBezTo>
                        <a:pt x="3334" y="11240"/>
                        <a:pt x="857" y="12192"/>
                        <a:pt x="0" y="12668"/>
                      </a:cubicBezTo>
                      <a:cubicBezTo>
                        <a:pt x="1524" y="13049"/>
                        <a:pt x="18288" y="10287"/>
                        <a:pt x="27337" y="7715"/>
                      </a:cubicBezTo>
                      <a:cubicBezTo>
                        <a:pt x="31814" y="6477"/>
                        <a:pt x="33909" y="5620"/>
                        <a:pt x="40005" y="1333"/>
                      </a:cubicBezTo>
                      <a:cubicBezTo>
                        <a:pt x="40577" y="952"/>
                        <a:pt x="41053" y="572"/>
                        <a:pt x="41529" y="95"/>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Freeform: Shape 35">
                  <a:extLst>
                    <a:ext uri="{FF2B5EF4-FFF2-40B4-BE49-F238E27FC236}">
                      <a16:creationId xmlns:a16="http://schemas.microsoft.com/office/drawing/2014/main" id="{E9848509-279A-11D8-4908-7044BB76F95C}"/>
                    </a:ext>
                  </a:extLst>
                </p:cNvPr>
                <p:cNvSpPr/>
                <p:nvPr/>
              </p:nvSpPr>
              <p:spPr>
                <a:xfrm>
                  <a:off x="8660796" y="2352224"/>
                  <a:ext cx="26860" cy="16072"/>
                </a:xfrm>
                <a:custGeom>
                  <a:avLst/>
                  <a:gdLst>
                    <a:gd name="connsiteX0" fmla="*/ 0 w 26860"/>
                    <a:gd name="connsiteY0" fmla="*/ 15882 h 16072"/>
                    <a:gd name="connsiteX1" fmla="*/ 191 w 26860"/>
                    <a:gd name="connsiteY1" fmla="*/ 16073 h 16072"/>
                    <a:gd name="connsiteX2" fmla="*/ 24194 w 26860"/>
                    <a:gd name="connsiteY2" fmla="*/ 6357 h 16072"/>
                    <a:gd name="connsiteX3" fmla="*/ 26860 w 26860"/>
                    <a:gd name="connsiteY3" fmla="*/ 3976 h 16072"/>
                    <a:gd name="connsiteX4" fmla="*/ 25146 w 26860"/>
                    <a:gd name="connsiteY4" fmla="*/ 2357 h 16072"/>
                    <a:gd name="connsiteX5" fmla="*/ 25146 w 26860"/>
                    <a:gd name="connsiteY5" fmla="*/ 833 h 16072"/>
                    <a:gd name="connsiteX6" fmla="*/ 25146 w 26860"/>
                    <a:gd name="connsiteY6" fmla="*/ 642 h 16072"/>
                    <a:gd name="connsiteX7" fmla="*/ 24384 w 26860"/>
                    <a:gd name="connsiteY7" fmla="*/ 166 h 16072"/>
                    <a:gd name="connsiteX8" fmla="*/ 22098 w 26860"/>
                    <a:gd name="connsiteY8" fmla="*/ 357 h 16072"/>
                    <a:gd name="connsiteX9" fmla="*/ 19431 w 26860"/>
                    <a:gd name="connsiteY9" fmla="*/ 1785 h 16072"/>
                    <a:gd name="connsiteX10" fmla="*/ 8668 w 26860"/>
                    <a:gd name="connsiteY10" fmla="*/ 10453 h 16072"/>
                    <a:gd name="connsiteX11" fmla="*/ 95 w 26860"/>
                    <a:gd name="connsiteY11" fmla="*/ 15882 h 16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6860" h="16072">
                      <a:moveTo>
                        <a:pt x="0" y="15882"/>
                      </a:moveTo>
                      <a:cubicBezTo>
                        <a:pt x="0" y="15882"/>
                        <a:pt x="95" y="15978"/>
                        <a:pt x="191" y="16073"/>
                      </a:cubicBezTo>
                      <a:cubicBezTo>
                        <a:pt x="2000" y="15882"/>
                        <a:pt x="19241" y="8643"/>
                        <a:pt x="24194" y="6357"/>
                      </a:cubicBezTo>
                      <a:cubicBezTo>
                        <a:pt x="26384" y="5310"/>
                        <a:pt x="26765" y="4929"/>
                        <a:pt x="26860" y="3976"/>
                      </a:cubicBezTo>
                      <a:cubicBezTo>
                        <a:pt x="26860" y="2928"/>
                        <a:pt x="25241" y="3405"/>
                        <a:pt x="25146" y="2357"/>
                      </a:cubicBezTo>
                      <a:cubicBezTo>
                        <a:pt x="25146" y="1881"/>
                        <a:pt x="25432" y="1404"/>
                        <a:pt x="25146" y="833"/>
                      </a:cubicBezTo>
                      <a:cubicBezTo>
                        <a:pt x="25146" y="833"/>
                        <a:pt x="25146" y="738"/>
                        <a:pt x="25146" y="642"/>
                      </a:cubicBezTo>
                      <a:cubicBezTo>
                        <a:pt x="25146" y="642"/>
                        <a:pt x="24956" y="357"/>
                        <a:pt x="24384" y="166"/>
                      </a:cubicBezTo>
                      <a:cubicBezTo>
                        <a:pt x="23527" y="-120"/>
                        <a:pt x="23146" y="-24"/>
                        <a:pt x="22098" y="357"/>
                      </a:cubicBezTo>
                      <a:cubicBezTo>
                        <a:pt x="21431" y="642"/>
                        <a:pt x="20574" y="1023"/>
                        <a:pt x="19431" y="1785"/>
                      </a:cubicBezTo>
                      <a:cubicBezTo>
                        <a:pt x="15621" y="4452"/>
                        <a:pt x="13145" y="8739"/>
                        <a:pt x="8668" y="10453"/>
                      </a:cubicBezTo>
                      <a:cubicBezTo>
                        <a:pt x="3048" y="12549"/>
                        <a:pt x="1143" y="13215"/>
                        <a:pt x="95" y="15882"/>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Freeform: Shape 36">
                  <a:extLst>
                    <a:ext uri="{FF2B5EF4-FFF2-40B4-BE49-F238E27FC236}">
                      <a16:creationId xmlns:a16="http://schemas.microsoft.com/office/drawing/2014/main" id="{B5FB803C-B013-879B-6711-4FAAF443BC6F}"/>
                    </a:ext>
                  </a:extLst>
                </p:cNvPr>
                <p:cNvSpPr/>
                <p:nvPr/>
              </p:nvSpPr>
              <p:spPr>
                <a:xfrm>
                  <a:off x="8693130" y="2335721"/>
                  <a:ext cx="19957" cy="9331"/>
                </a:xfrm>
                <a:custGeom>
                  <a:avLst/>
                  <a:gdLst>
                    <a:gd name="connsiteX0" fmla="*/ 7576 w 19957"/>
                    <a:gd name="connsiteY0" fmla="*/ 6572 h 9331"/>
                    <a:gd name="connsiteX1" fmla="*/ 19958 w 19957"/>
                    <a:gd name="connsiteY1" fmla="*/ 0 h 9331"/>
                    <a:gd name="connsiteX2" fmla="*/ 18720 w 19957"/>
                    <a:gd name="connsiteY2" fmla="*/ 191 h 9331"/>
                    <a:gd name="connsiteX3" fmla="*/ 2908 w 19957"/>
                    <a:gd name="connsiteY3" fmla="*/ 5810 h 9331"/>
                    <a:gd name="connsiteX4" fmla="*/ 241 w 19957"/>
                    <a:gd name="connsiteY4" fmla="*/ 9239 h 9331"/>
                    <a:gd name="connsiteX5" fmla="*/ 7576 w 19957"/>
                    <a:gd name="connsiteY5" fmla="*/ 6477 h 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57" h="9331">
                      <a:moveTo>
                        <a:pt x="7576" y="6572"/>
                      </a:moveTo>
                      <a:cubicBezTo>
                        <a:pt x="19768" y="476"/>
                        <a:pt x="19768" y="381"/>
                        <a:pt x="19958" y="0"/>
                      </a:cubicBezTo>
                      <a:cubicBezTo>
                        <a:pt x="19482" y="0"/>
                        <a:pt x="19101" y="95"/>
                        <a:pt x="18720" y="191"/>
                      </a:cubicBezTo>
                      <a:cubicBezTo>
                        <a:pt x="18625" y="191"/>
                        <a:pt x="6433" y="4096"/>
                        <a:pt x="2908" y="5810"/>
                      </a:cubicBezTo>
                      <a:cubicBezTo>
                        <a:pt x="-1188" y="7810"/>
                        <a:pt x="241" y="9239"/>
                        <a:pt x="241" y="9239"/>
                      </a:cubicBezTo>
                      <a:cubicBezTo>
                        <a:pt x="1099" y="9716"/>
                        <a:pt x="3956" y="8287"/>
                        <a:pt x="7576" y="6477"/>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Freeform: Shape 37">
                  <a:extLst>
                    <a:ext uri="{FF2B5EF4-FFF2-40B4-BE49-F238E27FC236}">
                      <a16:creationId xmlns:a16="http://schemas.microsoft.com/office/drawing/2014/main" id="{6D73954D-CFAF-082C-18FE-87C7036299DF}"/>
                    </a:ext>
                  </a:extLst>
                </p:cNvPr>
                <p:cNvSpPr/>
                <p:nvPr/>
              </p:nvSpPr>
              <p:spPr>
                <a:xfrm>
                  <a:off x="8705763" y="2312385"/>
                  <a:ext cx="74857" cy="39719"/>
                </a:xfrm>
                <a:custGeom>
                  <a:avLst/>
                  <a:gdLst>
                    <a:gd name="connsiteX0" fmla="*/ 21232 w 74857"/>
                    <a:gd name="connsiteY0" fmla="*/ 24289 h 39719"/>
                    <a:gd name="connsiteX1" fmla="*/ 29804 w 74857"/>
                    <a:gd name="connsiteY1" fmla="*/ 23050 h 39719"/>
                    <a:gd name="connsiteX2" fmla="*/ 29709 w 74857"/>
                    <a:gd name="connsiteY2" fmla="*/ 23622 h 39719"/>
                    <a:gd name="connsiteX3" fmla="*/ 21327 w 74857"/>
                    <a:gd name="connsiteY3" fmla="*/ 26765 h 39719"/>
                    <a:gd name="connsiteX4" fmla="*/ 2848 w 74857"/>
                    <a:gd name="connsiteY4" fmla="*/ 33433 h 39719"/>
                    <a:gd name="connsiteX5" fmla="*/ 753 w 74857"/>
                    <a:gd name="connsiteY5" fmla="*/ 39719 h 39719"/>
                    <a:gd name="connsiteX6" fmla="*/ 10087 w 74857"/>
                    <a:gd name="connsiteY6" fmla="*/ 37243 h 39719"/>
                    <a:gd name="connsiteX7" fmla="*/ 21041 w 74857"/>
                    <a:gd name="connsiteY7" fmla="*/ 35719 h 39719"/>
                    <a:gd name="connsiteX8" fmla="*/ 45520 w 74857"/>
                    <a:gd name="connsiteY8" fmla="*/ 23146 h 39719"/>
                    <a:gd name="connsiteX9" fmla="*/ 61618 w 74857"/>
                    <a:gd name="connsiteY9" fmla="*/ 17621 h 39719"/>
                    <a:gd name="connsiteX10" fmla="*/ 62761 w 74857"/>
                    <a:gd name="connsiteY10" fmla="*/ 16859 h 39719"/>
                    <a:gd name="connsiteX11" fmla="*/ 58665 w 74857"/>
                    <a:gd name="connsiteY11" fmla="*/ 15716 h 39719"/>
                    <a:gd name="connsiteX12" fmla="*/ 58474 w 74857"/>
                    <a:gd name="connsiteY12" fmla="*/ 15335 h 39719"/>
                    <a:gd name="connsiteX13" fmla="*/ 61141 w 74857"/>
                    <a:gd name="connsiteY13" fmla="*/ 14002 h 39719"/>
                    <a:gd name="connsiteX14" fmla="*/ 68476 w 74857"/>
                    <a:gd name="connsiteY14" fmla="*/ 9620 h 39719"/>
                    <a:gd name="connsiteX15" fmla="*/ 66190 w 74857"/>
                    <a:gd name="connsiteY15" fmla="*/ 9049 h 39719"/>
                    <a:gd name="connsiteX16" fmla="*/ 69428 w 74857"/>
                    <a:gd name="connsiteY16" fmla="*/ 4381 h 39719"/>
                    <a:gd name="connsiteX17" fmla="*/ 74857 w 74857"/>
                    <a:gd name="connsiteY17" fmla="*/ 0 h 39719"/>
                    <a:gd name="connsiteX18" fmla="*/ 73333 w 74857"/>
                    <a:gd name="connsiteY18" fmla="*/ 0 h 39719"/>
                    <a:gd name="connsiteX19" fmla="*/ 29899 w 74857"/>
                    <a:gd name="connsiteY19" fmla="*/ 16002 h 39719"/>
                    <a:gd name="connsiteX20" fmla="*/ 34757 w 74857"/>
                    <a:gd name="connsiteY20" fmla="*/ 15240 h 39719"/>
                    <a:gd name="connsiteX21" fmla="*/ 23137 w 74857"/>
                    <a:gd name="connsiteY21" fmla="*/ 19336 h 39719"/>
                    <a:gd name="connsiteX22" fmla="*/ 8659 w 74857"/>
                    <a:gd name="connsiteY22" fmla="*/ 27051 h 39719"/>
                    <a:gd name="connsiteX23" fmla="*/ 21327 w 74857"/>
                    <a:gd name="connsiteY23" fmla="*/ 24098 h 39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4857" h="39719">
                      <a:moveTo>
                        <a:pt x="21232" y="24289"/>
                      </a:moveTo>
                      <a:cubicBezTo>
                        <a:pt x="26470" y="22765"/>
                        <a:pt x="28090" y="22289"/>
                        <a:pt x="29804" y="23050"/>
                      </a:cubicBezTo>
                      <a:cubicBezTo>
                        <a:pt x="29804" y="23241"/>
                        <a:pt x="29804" y="23431"/>
                        <a:pt x="29709" y="23622"/>
                      </a:cubicBezTo>
                      <a:cubicBezTo>
                        <a:pt x="28185" y="24574"/>
                        <a:pt x="26470" y="25146"/>
                        <a:pt x="21327" y="26765"/>
                      </a:cubicBezTo>
                      <a:cubicBezTo>
                        <a:pt x="7325" y="31242"/>
                        <a:pt x="3706" y="32861"/>
                        <a:pt x="2848" y="33433"/>
                      </a:cubicBezTo>
                      <a:cubicBezTo>
                        <a:pt x="-295" y="35433"/>
                        <a:pt x="-581" y="39148"/>
                        <a:pt x="753" y="39719"/>
                      </a:cubicBezTo>
                      <a:cubicBezTo>
                        <a:pt x="753" y="39719"/>
                        <a:pt x="3868" y="38893"/>
                        <a:pt x="10087" y="37243"/>
                      </a:cubicBezTo>
                      <a:cubicBezTo>
                        <a:pt x="13612" y="36195"/>
                        <a:pt x="17517" y="37052"/>
                        <a:pt x="21041" y="35719"/>
                      </a:cubicBezTo>
                      <a:cubicBezTo>
                        <a:pt x="29709" y="32575"/>
                        <a:pt x="37138" y="26956"/>
                        <a:pt x="45520" y="23146"/>
                      </a:cubicBezTo>
                      <a:cubicBezTo>
                        <a:pt x="50759" y="20860"/>
                        <a:pt x="56474" y="20193"/>
                        <a:pt x="61618" y="17621"/>
                      </a:cubicBezTo>
                      <a:cubicBezTo>
                        <a:pt x="61999" y="17431"/>
                        <a:pt x="62475" y="17145"/>
                        <a:pt x="62761" y="16859"/>
                      </a:cubicBezTo>
                      <a:cubicBezTo>
                        <a:pt x="62761" y="16859"/>
                        <a:pt x="61399" y="16478"/>
                        <a:pt x="58665" y="15716"/>
                      </a:cubicBezTo>
                      <a:cubicBezTo>
                        <a:pt x="58665" y="15716"/>
                        <a:pt x="58665" y="15430"/>
                        <a:pt x="58474" y="15335"/>
                      </a:cubicBezTo>
                      <a:cubicBezTo>
                        <a:pt x="59332" y="14764"/>
                        <a:pt x="60189" y="14383"/>
                        <a:pt x="61141" y="14002"/>
                      </a:cubicBezTo>
                      <a:cubicBezTo>
                        <a:pt x="68285" y="10668"/>
                        <a:pt x="68380" y="10382"/>
                        <a:pt x="68476" y="9620"/>
                      </a:cubicBezTo>
                      <a:cubicBezTo>
                        <a:pt x="67714" y="9430"/>
                        <a:pt x="66856" y="9620"/>
                        <a:pt x="66190" y="9049"/>
                      </a:cubicBezTo>
                      <a:cubicBezTo>
                        <a:pt x="67333" y="7525"/>
                        <a:pt x="70000" y="7048"/>
                        <a:pt x="69428" y="4381"/>
                      </a:cubicBezTo>
                      <a:cubicBezTo>
                        <a:pt x="70952" y="2572"/>
                        <a:pt x="73429" y="1905"/>
                        <a:pt x="74857" y="0"/>
                      </a:cubicBezTo>
                      <a:cubicBezTo>
                        <a:pt x="74381" y="0"/>
                        <a:pt x="73714" y="0"/>
                        <a:pt x="73333" y="0"/>
                      </a:cubicBezTo>
                      <a:cubicBezTo>
                        <a:pt x="64666" y="2191"/>
                        <a:pt x="33043" y="14002"/>
                        <a:pt x="29899" y="16002"/>
                      </a:cubicBezTo>
                      <a:cubicBezTo>
                        <a:pt x="31614" y="16288"/>
                        <a:pt x="33138" y="15526"/>
                        <a:pt x="34757" y="15240"/>
                      </a:cubicBezTo>
                      <a:cubicBezTo>
                        <a:pt x="32376" y="17240"/>
                        <a:pt x="25899" y="18669"/>
                        <a:pt x="23137" y="19336"/>
                      </a:cubicBezTo>
                      <a:cubicBezTo>
                        <a:pt x="13516" y="21526"/>
                        <a:pt x="8659" y="26956"/>
                        <a:pt x="8659" y="27051"/>
                      </a:cubicBezTo>
                      <a:cubicBezTo>
                        <a:pt x="9611" y="27622"/>
                        <a:pt x="20184" y="24479"/>
                        <a:pt x="21327" y="24098"/>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Segoe UI"/>
                    <a:ea typeface="+mn-ea"/>
                    <a:cs typeface="+mn-cs"/>
                  </a:endParaRPr>
                </a:p>
              </p:txBody>
            </p:sp>
            <p:sp>
              <p:nvSpPr>
                <p:cNvPr id="39" name="Freeform: Shape 38">
                  <a:extLst>
                    <a:ext uri="{FF2B5EF4-FFF2-40B4-BE49-F238E27FC236}">
                      <a16:creationId xmlns:a16="http://schemas.microsoft.com/office/drawing/2014/main" id="{859E3075-A40C-FD6A-3521-57A7F2395CC4}"/>
                    </a:ext>
                  </a:extLst>
                </p:cNvPr>
                <p:cNvSpPr/>
                <p:nvPr/>
              </p:nvSpPr>
              <p:spPr>
                <a:xfrm>
                  <a:off x="8623997" y="2378486"/>
                  <a:ext cx="116434" cy="39455"/>
                </a:xfrm>
                <a:custGeom>
                  <a:avLst/>
                  <a:gdLst>
                    <a:gd name="connsiteX0" fmla="*/ 2794 w 116434"/>
                    <a:gd name="connsiteY0" fmla="*/ 39340 h 39455"/>
                    <a:gd name="connsiteX1" fmla="*/ 114904 w 116434"/>
                    <a:gd name="connsiteY1" fmla="*/ 7146 h 39455"/>
                    <a:gd name="connsiteX2" fmla="*/ 105474 w 116434"/>
                    <a:gd name="connsiteY2" fmla="*/ 2 h 39455"/>
                    <a:gd name="connsiteX3" fmla="*/ 49657 w 116434"/>
                    <a:gd name="connsiteY3" fmla="*/ 16766 h 39455"/>
                    <a:gd name="connsiteX4" fmla="*/ 38132 w 116434"/>
                    <a:gd name="connsiteY4" fmla="*/ 11146 h 39455"/>
                    <a:gd name="connsiteX5" fmla="*/ 42704 w 116434"/>
                    <a:gd name="connsiteY5" fmla="*/ 9146 h 39455"/>
                    <a:gd name="connsiteX6" fmla="*/ 48324 w 116434"/>
                    <a:gd name="connsiteY6" fmla="*/ 573 h 39455"/>
                    <a:gd name="connsiteX7" fmla="*/ 37846 w 116434"/>
                    <a:gd name="connsiteY7" fmla="*/ 3050 h 39455"/>
                    <a:gd name="connsiteX8" fmla="*/ 25464 w 116434"/>
                    <a:gd name="connsiteY8" fmla="*/ 2478 h 39455"/>
                    <a:gd name="connsiteX9" fmla="*/ 17463 w 116434"/>
                    <a:gd name="connsiteY9" fmla="*/ 3812 h 39455"/>
                    <a:gd name="connsiteX10" fmla="*/ 8414 w 116434"/>
                    <a:gd name="connsiteY10" fmla="*/ 13718 h 39455"/>
                    <a:gd name="connsiteX11" fmla="*/ 13843 w 116434"/>
                    <a:gd name="connsiteY11" fmla="*/ 12480 h 39455"/>
                    <a:gd name="connsiteX12" fmla="*/ 24321 w 116434"/>
                    <a:gd name="connsiteY12" fmla="*/ 10003 h 39455"/>
                    <a:gd name="connsiteX13" fmla="*/ 19177 w 116434"/>
                    <a:gd name="connsiteY13" fmla="*/ 20766 h 39455"/>
                    <a:gd name="connsiteX14" fmla="*/ 4890 w 116434"/>
                    <a:gd name="connsiteY14" fmla="*/ 30768 h 39455"/>
                    <a:gd name="connsiteX15" fmla="*/ 2699 w 116434"/>
                    <a:gd name="connsiteY15" fmla="*/ 39435 h 39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6434" h="39455">
                      <a:moveTo>
                        <a:pt x="2794" y="39340"/>
                      </a:moveTo>
                      <a:cubicBezTo>
                        <a:pt x="3556" y="39340"/>
                        <a:pt x="91567" y="30291"/>
                        <a:pt x="114904" y="7146"/>
                      </a:cubicBezTo>
                      <a:cubicBezTo>
                        <a:pt x="121285" y="859"/>
                        <a:pt x="105664" y="2"/>
                        <a:pt x="105474" y="2"/>
                      </a:cubicBezTo>
                      <a:cubicBezTo>
                        <a:pt x="97378" y="-189"/>
                        <a:pt x="57849" y="13432"/>
                        <a:pt x="49657" y="16766"/>
                      </a:cubicBezTo>
                      <a:cubicBezTo>
                        <a:pt x="42323" y="19719"/>
                        <a:pt x="36608" y="12956"/>
                        <a:pt x="38132" y="11146"/>
                      </a:cubicBezTo>
                      <a:cubicBezTo>
                        <a:pt x="38799" y="10384"/>
                        <a:pt x="40037" y="10003"/>
                        <a:pt x="42704" y="9146"/>
                      </a:cubicBezTo>
                      <a:cubicBezTo>
                        <a:pt x="56992" y="5145"/>
                        <a:pt x="49943" y="573"/>
                        <a:pt x="48324" y="573"/>
                      </a:cubicBezTo>
                      <a:cubicBezTo>
                        <a:pt x="44609" y="383"/>
                        <a:pt x="41466" y="2574"/>
                        <a:pt x="37846" y="3050"/>
                      </a:cubicBezTo>
                      <a:cubicBezTo>
                        <a:pt x="33655" y="3526"/>
                        <a:pt x="29655" y="2002"/>
                        <a:pt x="25464" y="2478"/>
                      </a:cubicBezTo>
                      <a:cubicBezTo>
                        <a:pt x="24226" y="2574"/>
                        <a:pt x="20035" y="3145"/>
                        <a:pt x="17463" y="3812"/>
                      </a:cubicBezTo>
                      <a:cubicBezTo>
                        <a:pt x="15272" y="4669"/>
                        <a:pt x="8414" y="11908"/>
                        <a:pt x="8414" y="13718"/>
                      </a:cubicBezTo>
                      <a:cubicBezTo>
                        <a:pt x="10224" y="13718"/>
                        <a:pt x="10319" y="13718"/>
                        <a:pt x="13843" y="12480"/>
                      </a:cubicBezTo>
                      <a:cubicBezTo>
                        <a:pt x="17749" y="11146"/>
                        <a:pt x="23178" y="9241"/>
                        <a:pt x="24321" y="10003"/>
                      </a:cubicBezTo>
                      <a:cubicBezTo>
                        <a:pt x="26512" y="11432"/>
                        <a:pt x="19463" y="20385"/>
                        <a:pt x="19177" y="20766"/>
                      </a:cubicBezTo>
                      <a:cubicBezTo>
                        <a:pt x="14891" y="24767"/>
                        <a:pt x="8890" y="26291"/>
                        <a:pt x="4890" y="30768"/>
                      </a:cubicBezTo>
                      <a:cubicBezTo>
                        <a:pt x="-2825" y="39626"/>
                        <a:pt x="318" y="39531"/>
                        <a:pt x="2699" y="39435"/>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Segoe UI"/>
                    <a:ea typeface="+mn-ea"/>
                    <a:cs typeface="+mn-cs"/>
                  </a:endParaRPr>
                </a:p>
              </p:txBody>
            </p:sp>
            <p:sp>
              <p:nvSpPr>
                <p:cNvPr id="40" name="Freeform: Shape 39">
                  <a:extLst>
                    <a:ext uri="{FF2B5EF4-FFF2-40B4-BE49-F238E27FC236}">
                      <a16:creationId xmlns:a16="http://schemas.microsoft.com/office/drawing/2014/main" id="{181412D8-6567-A57B-05E3-2514EF46D65B}"/>
                    </a:ext>
                  </a:extLst>
                </p:cNvPr>
                <p:cNvSpPr/>
                <p:nvPr/>
              </p:nvSpPr>
              <p:spPr>
                <a:xfrm>
                  <a:off x="9650486" y="2453260"/>
                  <a:ext cx="738727" cy="2029212"/>
                </a:xfrm>
                <a:custGeom>
                  <a:avLst/>
                  <a:gdLst>
                    <a:gd name="connsiteX0" fmla="*/ 737955 w 738727"/>
                    <a:gd name="connsiteY0" fmla="*/ 1051941 h 2029212"/>
                    <a:gd name="connsiteX1" fmla="*/ 730716 w 738727"/>
                    <a:gd name="connsiteY1" fmla="*/ 935165 h 2029212"/>
                    <a:gd name="connsiteX2" fmla="*/ 726429 w 738727"/>
                    <a:gd name="connsiteY2" fmla="*/ 906018 h 2029212"/>
                    <a:gd name="connsiteX3" fmla="*/ 700903 w 738727"/>
                    <a:gd name="connsiteY3" fmla="*/ 775716 h 2029212"/>
                    <a:gd name="connsiteX4" fmla="*/ 701569 w 738727"/>
                    <a:gd name="connsiteY4" fmla="*/ 776954 h 2029212"/>
                    <a:gd name="connsiteX5" fmla="*/ 660707 w 738727"/>
                    <a:gd name="connsiteY5" fmla="*/ 637032 h 2029212"/>
                    <a:gd name="connsiteX6" fmla="*/ 661279 w 738727"/>
                    <a:gd name="connsiteY6" fmla="*/ 637604 h 2029212"/>
                    <a:gd name="connsiteX7" fmla="*/ 621369 w 738727"/>
                    <a:gd name="connsiteY7" fmla="*/ 539972 h 2029212"/>
                    <a:gd name="connsiteX8" fmla="*/ 578316 w 738727"/>
                    <a:gd name="connsiteY8" fmla="*/ 455771 h 2029212"/>
                    <a:gd name="connsiteX9" fmla="*/ 532405 w 738727"/>
                    <a:gd name="connsiteY9" fmla="*/ 413290 h 2029212"/>
                    <a:gd name="connsiteX10" fmla="*/ 578316 w 738727"/>
                    <a:gd name="connsiteY10" fmla="*/ 455771 h 2029212"/>
                    <a:gd name="connsiteX11" fmla="*/ 522880 w 738727"/>
                    <a:gd name="connsiteY11" fmla="*/ 365760 h 2029212"/>
                    <a:gd name="connsiteX12" fmla="*/ 399055 w 738727"/>
                    <a:gd name="connsiteY12" fmla="*/ 210217 h 2029212"/>
                    <a:gd name="connsiteX13" fmla="*/ 349049 w 738727"/>
                    <a:gd name="connsiteY13" fmla="*/ 159639 h 2029212"/>
                    <a:gd name="connsiteX14" fmla="*/ 349049 w 738727"/>
                    <a:gd name="connsiteY14" fmla="*/ 159449 h 2029212"/>
                    <a:gd name="connsiteX15" fmla="*/ 343239 w 738727"/>
                    <a:gd name="connsiteY15" fmla="*/ 154400 h 2029212"/>
                    <a:gd name="connsiteX16" fmla="*/ 367051 w 738727"/>
                    <a:gd name="connsiteY16" fmla="*/ 180022 h 2029212"/>
                    <a:gd name="connsiteX17" fmla="*/ 356574 w 738727"/>
                    <a:gd name="connsiteY17" fmla="*/ 172403 h 2029212"/>
                    <a:gd name="connsiteX18" fmla="*/ 381148 w 738727"/>
                    <a:gd name="connsiteY18" fmla="*/ 197358 h 2029212"/>
                    <a:gd name="connsiteX19" fmla="*/ 379243 w 738727"/>
                    <a:gd name="connsiteY19" fmla="*/ 198691 h 2029212"/>
                    <a:gd name="connsiteX20" fmla="*/ 279421 w 738727"/>
                    <a:gd name="connsiteY20" fmla="*/ 107918 h 2029212"/>
                    <a:gd name="connsiteX21" fmla="*/ 330094 w 738727"/>
                    <a:gd name="connsiteY21" fmla="*/ 143923 h 2029212"/>
                    <a:gd name="connsiteX22" fmla="*/ 236749 w 738727"/>
                    <a:gd name="connsiteY22" fmla="*/ 68104 h 2029212"/>
                    <a:gd name="connsiteX23" fmla="*/ 205983 w 738727"/>
                    <a:gd name="connsiteY23" fmla="*/ 47816 h 2029212"/>
                    <a:gd name="connsiteX24" fmla="*/ 210651 w 738727"/>
                    <a:gd name="connsiteY24" fmla="*/ 49625 h 2029212"/>
                    <a:gd name="connsiteX25" fmla="*/ 199221 w 738727"/>
                    <a:gd name="connsiteY25" fmla="*/ 41910 h 2029212"/>
                    <a:gd name="connsiteX26" fmla="*/ 197411 w 738727"/>
                    <a:gd name="connsiteY26" fmla="*/ 43339 h 2029212"/>
                    <a:gd name="connsiteX27" fmla="*/ 173979 w 738727"/>
                    <a:gd name="connsiteY27" fmla="*/ 29337 h 2029212"/>
                    <a:gd name="connsiteX28" fmla="*/ 179028 w 738727"/>
                    <a:gd name="connsiteY28" fmla="*/ 31051 h 2029212"/>
                    <a:gd name="connsiteX29" fmla="*/ 142928 w 738727"/>
                    <a:gd name="connsiteY29" fmla="*/ 9430 h 2029212"/>
                    <a:gd name="connsiteX30" fmla="*/ 149500 w 738727"/>
                    <a:gd name="connsiteY30" fmla="*/ 18955 h 2029212"/>
                    <a:gd name="connsiteX31" fmla="*/ 122640 w 738727"/>
                    <a:gd name="connsiteY31" fmla="*/ 0 h 2029212"/>
                    <a:gd name="connsiteX32" fmla="*/ 132069 w 738727"/>
                    <a:gd name="connsiteY32" fmla="*/ 12001 h 2029212"/>
                    <a:gd name="connsiteX33" fmla="*/ 128831 w 738727"/>
                    <a:gd name="connsiteY33" fmla="*/ 25718 h 2029212"/>
                    <a:gd name="connsiteX34" fmla="*/ 155025 w 738727"/>
                    <a:gd name="connsiteY34" fmla="*/ 77724 h 2029212"/>
                    <a:gd name="connsiteX35" fmla="*/ 172741 w 738727"/>
                    <a:gd name="connsiteY35" fmla="*/ 117253 h 2029212"/>
                    <a:gd name="connsiteX36" fmla="*/ 154548 w 738727"/>
                    <a:gd name="connsiteY36" fmla="*/ 154210 h 2029212"/>
                    <a:gd name="connsiteX37" fmla="*/ 152167 w 738727"/>
                    <a:gd name="connsiteY37" fmla="*/ 166878 h 2029212"/>
                    <a:gd name="connsiteX38" fmla="*/ 227510 w 738727"/>
                    <a:gd name="connsiteY38" fmla="*/ 242411 h 2029212"/>
                    <a:gd name="connsiteX39" fmla="*/ 230558 w 738727"/>
                    <a:gd name="connsiteY39" fmla="*/ 208693 h 2029212"/>
                    <a:gd name="connsiteX40" fmla="*/ 309996 w 738727"/>
                    <a:gd name="connsiteY40" fmla="*/ 295085 h 2029212"/>
                    <a:gd name="connsiteX41" fmla="*/ 331047 w 738727"/>
                    <a:gd name="connsiteY41" fmla="*/ 313849 h 2029212"/>
                    <a:gd name="connsiteX42" fmla="*/ 327808 w 738727"/>
                    <a:gd name="connsiteY42" fmla="*/ 273368 h 2029212"/>
                    <a:gd name="connsiteX43" fmla="*/ 323998 w 738727"/>
                    <a:gd name="connsiteY43" fmla="*/ 237077 h 2029212"/>
                    <a:gd name="connsiteX44" fmla="*/ 304853 w 738727"/>
                    <a:gd name="connsiteY44" fmla="*/ 215932 h 2029212"/>
                    <a:gd name="connsiteX45" fmla="*/ 274373 w 738727"/>
                    <a:gd name="connsiteY45" fmla="*/ 178975 h 2029212"/>
                    <a:gd name="connsiteX46" fmla="*/ 268848 w 738727"/>
                    <a:gd name="connsiteY46" fmla="*/ 144304 h 2029212"/>
                    <a:gd name="connsiteX47" fmla="*/ 242274 w 738727"/>
                    <a:gd name="connsiteY47" fmla="*/ 115919 h 2029212"/>
                    <a:gd name="connsiteX48" fmla="*/ 240845 w 738727"/>
                    <a:gd name="connsiteY48" fmla="*/ 112585 h 2029212"/>
                    <a:gd name="connsiteX49" fmla="*/ 242178 w 738727"/>
                    <a:gd name="connsiteY49" fmla="*/ 110585 h 2029212"/>
                    <a:gd name="connsiteX50" fmla="*/ 286184 w 738727"/>
                    <a:gd name="connsiteY50" fmla="*/ 141637 h 2029212"/>
                    <a:gd name="connsiteX51" fmla="*/ 283517 w 738727"/>
                    <a:gd name="connsiteY51" fmla="*/ 141922 h 2029212"/>
                    <a:gd name="connsiteX52" fmla="*/ 331999 w 738727"/>
                    <a:gd name="connsiteY52" fmla="*/ 219456 h 2029212"/>
                    <a:gd name="connsiteX53" fmla="*/ 404485 w 738727"/>
                    <a:gd name="connsiteY53" fmla="*/ 254699 h 2029212"/>
                    <a:gd name="connsiteX54" fmla="*/ 394578 w 738727"/>
                    <a:gd name="connsiteY54" fmla="*/ 250984 h 2029212"/>
                    <a:gd name="connsiteX55" fmla="*/ 392578 w 738727"/>
                    <a:gd name="connsiteY55" fmla="*/ 252222 h 2029212"/>
                    <a:gd name="connsiteX56" fmla="*/ 396960 w 738727"/>
                    <a:gd name="connsiteY56" fmla="*/ 259175 h 2029212"/>
                    <a:gd name="connsiteX57" fmla="*/ 360955 w 738727"/>
                    <a:gd name="connsiteY57" fmla="*/ 248888 h 2029212"/>
                    <a:gd name="connsiteX58" fmla="*/ 404675 w 738727"/>
                    <a:gd name="connsiteY58" fmla="*/ 302895 h 2029212"/>
                    <a:gd name="connsiteX59" fmla="*/ 375814 w 738727"/>
                    <a:gd name="connsiteY59" fmla="*/ 283940 h 2029212"/>
                    <a:gd name="connsiteX60" fmla="*/ 374386 w 738727"/>
                    <a:gd name="connsiteY60" fmla="*/ 286226 h 2029212"/>
                    <a:gd name="connsiteX61" fmla="*/ 392388 w 738727"/>
                    <a:gd name="connsiteY61" fmla="*/ 318326 h 2029212"/>
                    <a:gd name="connsiteX62" fmla="*/ 404770 w 738727"/>
                    <a:gd name="connsiteY62" fmla="*/ 341471 h 2029212"/>
                    <a:gd name="connsiteX63" fmla="*/ 394960 w 738727"/>
                    <a:gd name="connsiteY63" fmla="*/ 341090 h 2029212"/>
                    <a:gd name="connsiteX64" fmla="*/ 392388 w 738727"/>
                    <a:gd name="connsiteY64" fmla="*/ 348996 h 2029212"/>
                    <a:gd name="connsiteX65" fmla="*/ 393816 w 738727"/>
                    <a:gd name="connsiteY65" fmla="*/ 350901 h 2029212"/>
                    <a:gd name="connsiteX66" fmla="*/ 393531 w 738727"/>
                    <a:gd name="connsiteY66" fmla="*/ 350901 h 2029212"/>
                    <a:gd name="connsiteX67" fmla="*/ 355336 w 738727"/>
                    <a:gd name="connsiteY67" fmla="*/ 351854 h 2029212"/>
                    <a:gd name="connsiteX68" fmla="*/ 350097 w 738727"/>
                    <a:gd name="connsiteY68" fmla="*/ 355092 h 2029212"/>
                    <a:gd name="connsiteX69" fmla="*/ 321807 w 738727"/>
                    <a:gd name="connsiteY69" fmla="*/ 345567 h 2029212"/>
                    <a:gd name="connsiteX70" fmla="*/ 340095 w 738727"/>
                    <a:gd name="connsiteY70" fmla="*/ 348806 h 2029212"/>
                    <a:gd name="connsiteX71" fmla="*/ 313997 w 738727"/>
                    <a:gd name="connsiteY71" fmla="*/ 340995 h 2029212"/>
                    <a:gd name="connsiteX72" fmla="*/ 293709 w 738727"/>
                    <a:gd name="connsiteY72" fmla="*/ 325088 h 2029212"/>
                    <a:gd name="connsiteX73" fmla="*/ 271706 w 738727"/>
                    <a:gd name="connsiteY73" fmla="*/ 281083 h 2029212"/>
                    <a:gd name="connsiteX74" fmla="*/ 255799 w 738727"/>
                    <a:gd name="connsiteY74" fmla="*/ 248317 h 2029212"/>
                    <a:gd name="connsiteX75" fmla="*/ 238654 w 738727"/>
                    <a:gd name="connsiteY75" fmla="*/ 257747 h 2029212"/>
                    <a:gd name="connsiteX76" fmla="*/ 283231 w 738727"/>
                    <a:gd name="connsiteY76" fmla="*/ 326708 h 2029212"/>
                    <a:gd name="connsiteX77" fmla="*/ 291042 w 738727"/>
                    <a:gd name="connsiteY77" fmla="*/ 336709 h 2029212"/>
                    <a:gd name="connsiteX78" fmla="*/ 284565 w 738727"/>
                    <a:gd name="connsiteY78" fmla="*/ 338995 h 2029212"/>
                    <a:gd name="connsiteX79" fmla="*/ 271896 w 738727"/>
                    <a:gd name="connsiteY79" fmla="*/ 341090 h 2029212"/>
                    <a:gd name="connsiteX80" fmla="*/ 268182 w 738727"/>
                    <a:gd name="connsiteY80" fmla="*/ 346329 h 2029212"/>
                    <a:gd name="connsiteX81" fmla="*/ 242559 w 738727"/>
                    <a:gd name="connsiteY81" fmla="*/ 351091 h 2029212"/>
                    <a:gd name="connsiteX82" fmla="*/ 252275 w 738727"/>
                    <a:gd name="connsiteY82" fmla="*/ 385477 h 2029212"/>
                    <a:gd name="connsiteX83" fmla="*/ 249037 w 738727"/>
                    <a:gd name="connsiteY83" fmla="*/ 391192 h 2029212"/>
                    <a:gd name="connsiteX84" fmla="*/ 222747 w 738727"/>
                    <a:gd name="connsiteY84" fmla="*/ 394335 h 2029212"/>
                    <a:gd name="connsiteX85" fmla="*/ 229987 w 738727"/>
                    <a:gd name="connsiteY85" fmla="*/ 412909 h 2029212"/>
                    <a:gd name="connsiteX86" fmla="*/ 215794 w 738727"/>
                    <a:gd name="connsiteY86" fmla="*/ 419862 h 2029212"/>
                    <a:gd name="connsiteX87" fmla="*/ 212841 w 738727"/>
                    <a:gd name="connsiteY87" fmla="*/ 433387 h 2029212"/>
                    <a:gd name="connsiteX88" fmla="*/ 181980 w 738727"/>
                    <a:gd name="connsiteY88" fmla="*/ 423958 h 2029212"/>
                    <a:gd name="connsiteX89" fmla="*/ 189696 w 738727"/>
                    <a:gd name="connsiteY89" fmla="*/ 435864 h 2029212"/>
                    <a:gd name="connsiteX90" fmla="*/ 187695 w 738727"/>
                    <a:gd name="connsiteY90" fmla="*/ 442246 h 2029212"/>
                    <a:gd name="connsiteX91" fmla="*/ 174360 w 738727"/>
                    <a:gd name="connsiteY91" fmla="*/ 446818 h 2029212"/>
                    <a:gd name="connsiteX92" fmla="*/ 149881 w 738727"/>
                    <a:gd name="connsiteY92" fmla="*/ 440436 h 2029212"/>
                    <a:gd name="connsiteX93" fmla="*/ 147214 w 738727"/>
                    <a:gd name="connsiteY93" fmla="*/ 446341 h 2029212"/>
                    <a:gd name="connsiteX94" fmla="*/ 159882 w 738727"/>
                    <a:gd name="connsiteY94" fmla="*/ 457486 h 2029212"/>
                    <a:gd name="connsiteX95" fmla="*/ 154644 w 738727"/>
                    <a:gd name="connsiteY95" fmla="*/ 461201 h 2029212"/>
                    <a:gd name="connsiteX96" fmla="*/ 230558 w 738727"/>
                    <a:gd name="connsiteY96" fmla="*/ 578263 h 2029212"/>
                    <a:gd name="connsiteX97" fmla="*/ 105590 w 738727"/>
                    <a:gd name="connsiteY97" fmla="*/ 558356 h 2029212"/>
                    <a:gd name="connsiteX98" fmla="*/ 113686 w 738727"/>
                    <a:gd name="connsiteY98" fmla="*/ 569595 h 2029212"/>
                    <a:gd name="connsiteX99" fmla="*/ 132831 w 738727"/>
                    <a:gd name="connsiteY99" fmla="*/ 687515 h 2029212"/>
                    <a:gd name="connsiteX100" fmla="*/ 128164 w 738727"/>
                    <a:gd name="connsiteY100" fmla="*/ 725424 h 2029212"/>
                    <a:gd name="connsiteX101" fmla="*/ 176265 w 738727"/>
                    <a:gd name="connsiteY101" fmla="*/ 725424 h 2029212"/>
                    <a:gd name="connsiteX102" fmla="*/ 181409 w 738727"/>
                    <a:gd name="connsiteY102" fmla="*/ 745712 h 2029212"/>
                    <a:gd name="connsiteX103" fmla="*/ 250179 w 738727"/>
                    <a:gd name="connsiteY103" fmla="*/ 722852 h 2029212"/>
                    <a:gd name="connsiteX104" fmla="*/ 263705 w 738727"/>
                    <a:gd name="connsiteY104" fmla="*/ 680275 h 2029212"/>
                    <a:gd name="connsiteX105" fmla="*/ 303520 w 738727"/>
                    <a:gd name="connsiteY105" fmla="*/ 623697 h 2029212"/>
                    <a:gd name="connsiteX106" fmla="*/ 306948 w 738727"/>
                    <a:gd name="connsiteY106" fmla="*/ 584740 h 2029212"/>
                    <a:gd name="connsiteX107" fmla="*/ 342572 w 738727"/>
                    <a:gd name="connsiteY107" fmla="*/ 591312 h 2029212"/>
                    <a:gd name="connsiteX108" fmla="*/ 380481 w 738727"/>
                    <a:gd name="connsiteY108" fmla="*/ 573691 h 2029212"/>
                    <a:gd name="connsiteX109" fmla="*/ 486780 w 738727"/>
                    <a:gd name="connsiteY109" fmla="*/ 715518 h 2029212"/>
                    <a:gd name="connsiteX110" fmla="*/ 450109 w 738727"/>
                    <a:gd name="connsiteY110" fmla="*/ 744855 h 2029212"/>
                    <a:gd name="connsiteX111" fmla="*/ 482780 w 738727"/>
                    <a:gd name="connsiteY111" fmla="*/ 779717 h 2029212"/>
                    <a:gd name="connsiteX112" fmla="*/ 481446 w 738727"/>
                    <a:gd name="connsiteY112" fmla="*/ 747236 h 2029212"/>
                    <a:gd name="connsiteX113" fmla="*/ 487447 w 738727"/>
                    <a:gd name="connsiteY113" fmla="*/ 747998 h 2029212"/>
                    <a:gd name="connsiteX114" fmla="*/ 499258 w 738727"/>
                    <a:gd name="connsiteY114" fmla="*/ 723709 h 2029212"/>
                    <a:gd name="connsiteX115" fmla="*/ 493448 w 738727"/>
                    <a:gd name="connsiteY115" fmla="*/ 695134 h 2029212"/>
                    <a:gd name="connsiteX116" fmla="*/ 499544 w 738727"/>
                    <a:gd name="connsiteY116" fmla="*/ 693515 h 2029212"/>
                    <a:gd name="connsiteX117" fmla="*/ 507736 w 738727"/>
                    <a:gd name="connsiteY117" fmla="*/ 704659 h 2029212"/>
                    <a:gd name="connsiteX118" fmla="*/ 473255 w 738727"/>
                    <a:gd name="connsiteY118" fmla="*/ 655796 h 2029212"/>
                    <a:gd name="connsiteX119" fmla="*/ 474779 w 738727"/>
                    <a:gd name="connsiteY119" fmla="*/ 649510 h 2029212"/>
                    <a:gd name="connsiteX120" fmla="*/ 406770 w 738727"/>
                    <a:gd name="connsiteY120" fmla="*/ 554164 h 2029212"/>
                    <a:gd name="connsiteX121" fmla="*/ 416105 w 738727"/>
                    <a:gd name="connsiteY121" fmla="*/ 546449 h 2029212"/>
                    <a:gd name="connsiteX122" fmla="*/ 508307 w 738727"/>
                    <a:gd name="connsiteY122" fmla="*/ 654844 h 2029212"/>
                    <a:gd name="connsiteX123" fmla="*/ 536120 w 738727"/>
                    <a:gd name="connsiteY123" fmla="*/ 734378 h 2029212"/>
                    <a:gd name="connsiteX124" fmla="*/ 565362 w 738727"/>
                    <a:gd name="connsiteY124" fmla="*/ 801338 h 2029212"/>
                    <a:gd name="connsiteX125" fmla="*/ 566219 w 738727"/>
                    <a:gd name="connsiteY125" fmla="*/ 788384 h 2029212"/>
                    <a:gd name="connsiteX126" fmla="*/ 556980 w 738727"/>
                    <a:gd name="connsiteY126" fmla="*/ 742379 h 2029212"/>
                    <a:gd name="connsiteX127" fmla="*/ 551836 w 738727"/>
                    <a:gd name="connsiteY127" fmla="*/ 688943 h 2029212"/>
                    <a:gd name="connsiteX128" fmla="*/ 583269 w 738727"/>
                    <a:gd name="connsiteY128" fmla="*/ 716471 h 2029212"/>
                    <a:gd name="connsiteX129" fmla="*/ 588603 w 738727"/>
                    <a:gd name="connsiteY129" fmla="*/ 704659 h 2029212"/>
                    <a:gd name="connsiteX130" fmla="*/ 595175 w 738727"/>
                    <a:gd name="connsiteY130" fmla="*/ 704279 h 2029212"/>
                    <a:gd name="connsiteX131" fmla="*/ 574506 w 738727"/>
                    <a:gd name="connsiteY131" fmla="*/ 574643 h 2029212"/>
                    <a:gd name="connsiteX132" fmla="*/ 586221 w 738727"/>
                    <a:gd name="connsiteY132" fmla="*/ 575215 h 2029212"/>
                    <a:gd name="connsiteX133" fmla="*/ 583650 w 738727"/>
                    <a:gd name="connsiteY133" fmla="*/ 580835 h 2029212"/>
                    <a:gd name="connsiteX134" fmla="*/ 598318 w 738727"/>
                    <a:gd name="connsiteY134" fmla="*/ 593217 h 2029212"/>
                    <a:gd name="connsiteX135" fmla="*/ 598128 w 738727"/>
                    <a:gd name="connsiteY135" fmla="*/ 613505 h 2029212"/>
                    <a:gd name="connsiteX136" fmla="*/ 611939 w 738727"/>
                    <a:gd name="connsiteY136" fmla="*/ 635984 h 2029212"/>
                    <a:gd name="connsiteX137" fmla="*/ 607653 w 738727"/>
                    <a:gd name="connsiteY137" fmla="*/ 582644 h 2029212"/>
                    <a:gd name="connsiteX138" fmla="*/ 621845 w 738727"/>
                    <a:gd name="connsiteY138" fmla="*/ 591312 h 2029212"/>
                    <a:gd name="connsiteX139" fmla="*/ 618606 w 738727"/>
                    <a:gd name="connsiteY139" fmla="*/ 597122 h 2029212"/>
                    <a:gd name="connsiteX140" fmla="*/ 626988 w 738727"/>
                    <a:gd name="connsiteY140" fmla="*/ 622078 h 2029212"/>
                    <a:gd name="connsiteX141" fmla="*/ 623369 w 738727"/>
                    <a:gd name="connsiteY141" fmla="*/ 627317 h 2029212"/>
                    <a:gd name="connsiteX142" fmla="*/ 673280 w 738727"/>
                    <a:gd name="connsiteY142" fmla="*/ 742569 h 2029212"/>
                    <a:gd name="connsiteX143" fmla="*/ 667851 w 738727"/>
                    <a:gd name="connsiteY143" fmla="*/ 745617 h 2029212"/>
                    <a:gd name="connsiteX144" fmla="*/ 619464 w 738727"/>
                    <a:gd name="connsiteY144" fmla="*/ 699230 h 2029212"/>
                    <a:gd name="connsiteX145" fmla="*/ 614892 w 738727"/>
                    <a:gd name="connsiteY145" fmla="*/ 710375 h 2029212"/>
                    <a:gd name="connsiteX146" fmla="*/ 602604 w 738727"/>
                    <a:gd name="connsiteY146" fmla="*/ 706946 h 2029212"/>
                    <a:gd name="connsiteX147" fmla="*/ 608415 w 738727"/>
                    <a:gd name="connsiteY147" fmla="*/ 717233 h 2029212"/>
                    <a:gd name="connsiteX148" fmla="*/ 584412 w 738727"/>
                    <a:gd name="connsiteY148" fmla="*/ 723329 h 2029212"/>
                    <a:gd name="connsiteX149" fmla="*/ 583650 w 738727"/>
                    <a:gd name="connsiteY149" fmla="*/ 737330 h 2029212"/>
                    <a:gd name="connsiteX150" fmla="*/ 589460 w 738727"/>
                    <a:gd name="connsiteY150" fmla="*/ 739045 h 2029212"/>
                    <a:gd name="connsiteX151" fmla="*/ 626703 w 738727"/>
                    <a:gd name="connsiteY151" fmla="*/ 829342 h 2029212"/>
                    <a:gd name="connsiteX152" fmla="*/ 631084 w 738727"/>
                    <a:gd name="connsiteY152" fmla="*/ 824865 h 2029212"/>
                    <a:gd name="connsiteX153" fmla="*/ 630894 w 738727"/>
                    <a:gd name="connsiteY153" fmla="*/ 818674 h 2029212"/>
                    <a:gd name="connsiteX154" fmla="*/ 654039 w 738727"/>
                    <a:gd name="connsiteY154" fmla="*/ 846011 h 2029212"/>
                    <a:gd name="connsiteX155" fmla="*/ 656897 w 738727"/>
                    <a:gd name="connsiteY155" fmla="*/ 833533 h 2029212"/>
                    <a:gd name="connsiteX156" fmla="*/ 667184 w 738727"/>
                    <a:gd name="connsiteY156" fmla="*/ 840486 h 2029212"/>
                    <a:gd name="connsiteX157" fmla="*/ 663088 w 738727"/>
                    <a:gd name="connsiteY157" fmla="*/ 965359 h 2029212"/>
                    <a:gd name="connsiteX158" fmla="*/ 644419 w 738727"/>
                    <a:gd name="connsiteY158" fmla="*/ 949262 h 2029212"/>
                    <a:gd name="connsiteX159" fmla="*/ 633751 w 738727"/>
                    <a:gd name="connsiteY159" fmla="*/ 953738 h 2029212"/>
                    <a:gd name="connsiteX160" fmla="*/ 551931 w 738727"/>
                    <a:gd name="connsiteY160" fmla="*/ 888968 h 2029212"/>
                    <a:gd name="connsiteX161" fmla="*/ 544597 w 738727"/>
                    <a:gd name="connsiteY161" fmla="*/ 935260 h 2029212"/>
                    <a:gd name="connsiteX162" fmla="*/ 538596 w 738727"/>
                    <a:gd name="connsiteY162" fmla="*/ 937641 h 2029212"/>
                    <a:gd name="connsiteX163" fmla="*/ 426487 w 738727"/>
                    <a:gd name="connsiteY163" fmla="*/ 832104 h 2029212"/>
                    <a:gd name="connsiteX164" fmla="*/ 429440 w 738727"/>
                    <a:gd name="connsiteY164" fmla="*/ 818579 h 2029212"/>
                    <a:gd name="connsiteX165" fmla="*/ 430678 w 738727"/>
                    <a:gd name="connsiteY165" fmla="*/ 758476 h 2029212"/>
                    <a:gd name="connsiteX166" fmla="*/ 411819 w 738727"/>
                    <a:gd name="connsiteY166" fmla="*/ 747046 h 2029212"/>
                    <a:gd name="connsiteX167" fmla="*/ 368194 w 738727"/>
                    <a:gd name="connsiteY167" fmla="*/ 745427 h 2029212"/>
                    <a:gd name="connsiteX168" fmla="*/ 359527 w 738727"/>
                    <a:gd name="connsiteY168" fmla="*/ 755999 h 2029212"/>
                    <a:gd name="connsiteX169" fmla="*/ 231510 w 738727"/>
                    <a:gd name="connsiteY169" fmla="*/ 772573 h 2029212"/>
                    <a:gd name="connsiteX170" fmla="*/ 224748 w 738727"/>
                    <a:gd name="connsiteY170" fmla="*/ 772096 h 2029212"/>
                    <a:gd name="connsiteX171" fmla="*/ 193601 w 738727"/>
                    <a:gd name="connsiteY171" fmla="*/ 758857 h 2029212"/>
                    <a:gd name="connsiteX172" fmla="*/ 190934 w 738727"/>
                    <a:gd name="connsiteY172" fmla="*/ 757142 h 2029212"/>
                    <a:gd name="connsiteX173" fmla="*/ 185314 w 738727"/>
                    <a:gd name="connsiteY173" fmla="*/ 762286 h 2029212"/>
                    <a:gd name="connsiteX174" fmla="*/ 174932 w 738727"/>
                    <a:gd name="connsiteY174" fmla="*/ 798004 h 2029212"/>
                    <a:gd name="connsiteX175" fmla="*/ 135403 w 738727"/>
                    <a:gd name="connsiteY175" fmla="*/ 825055 h 2029212"/>
                    <a:gd name="connsiteX176" fmla="*/ 133593 w 738727"/>
                    <a:gd name="connsiteY176" fmla="*/ 841915 h 2029212"/>
                    <a:gd name="connsiteX177" fmla="*/ 115877 w 738727"/>
                    <a:gd name="connsiteY177" fmla="*/ 904304 h 2029212"/>
                    <a:gd name="connsiteX178" fmla="*/ 76729 w 738727"/>
                    <a:gd name="connsiteY178" fmla="*/ 933069 h 2029212"/>
                    <a:gd name="connsiteX179" fmla="*/ 7578 w 738727"/>
                    <a:gd name="connsiteY179" fmla="*/ 1052132 h 2029212"/>
                    <a:gd name="connsiteX180" fmla="*/ 24246 w 738727"/>
                    <a:gd name="connsiteY180" fmla="*/ 1131761 h 2029212"/>
                    <a:gd name="connsiteX181" fmla="*/ 2053 w 738727"/>
                    <a:gd name="connsiteY181" fmla="*/ 1192721 h 2029212"/>
                    <a:gd name="connsiteX182" fmla="*/ 57965 w 738727"/>
                    <a:gd name="connsiteY182" fmla="*/ 1309021 h 2029212"/>
                    <a:gd name="connsiteX183" fmla="*/ 135403 w 738727"/>
                    <a:gd name="connsiteY183" fmla="*/ 1380173 h 2029212"/>
                    <a:gd name="connsiteX184" fmla="*/ 300090 w 738727"/>
                    <a:gd name="connsiteY184" fmla="*/ 1360265 h 2029212"/>
                    <a:gd name="connsiteX185" fmla="*/ 305424 w 738727"/>
                    <a:gd name="connsiteY185" fmla="*/ 1363123 h 2029212"/>
                    <a:gd name="connsiteX186" fmla="*/ 318283 w 738727"/>
                    <a:gd name="connsiteY186" fmla="*/ 1395603 h 2029212"/>
                    <a:gd name="connsiteX187" fmla="*/ 351621 w 738727"/>
                    <a:gd name="connsiteY187" fmla="*/ 1403318 h 2029212"/>
                    <a:gd name="connsiteX188" fmla="*/ 349906 w 738727"/>
                    <a:gd name="connsiteY188" fmla="*/ 1446371 h 2029212"/>
                    <a:gd name="connsiteX189" fmla="*/ 547836 w 738727"/>
                    <a:gd name="connsiteY189" fmla="*/ 1500950 h 2029212"/>
                    <a:gd name="connsiteX190" fmla="*/ 349906 w 738727"/>
                    <a:gd name="connsiteY190" fmla="*/ 1446371 h 2029212"/>
                    <a:gd name="connsiteX191" fmla="*/ 328761 w 738727"/>
                    <a:gd name="connsiteY191" fmla="*/ 1521905 h 2029212"/>
                    <a:gd name="connsiteX192" fmla="*/ 309139 w 738727"/>
                    <a:gd name="connsiteY192" fmla="*/ 1664303 h 2029212"/>
                    <a:gd name="connsiteX193" fmla="*/ 243131 w 738727"/>
                    <a:gd name="connsiteY193" fmla="*/ 1761077 h 2029212"/>
                    <a:gd name="connsiteX194" fmla="*/ 204078 w 738727"/>
                    <a:gd name="connsiteY194" fmla="*/ 1860995 h 2029212"/>
                    <a:gd name="connsiteX195" fmla="*/ 122163 w 738727"/>
                    <a:gd name="connsiteY195" fmla="*/ 1997012 h 2029212"/>
                    <a:gd name="connsiteX196" fmla="*/ 102732 w 738727"/>
                    <a:gd name="connsiteY196" fmla="*/ 2026730 h 2029212"/>
                    <a:gd name="connsiteX197" fmla="*/ 193125 w 738727"/>
                    <a:gd name="connsiteY197" fmla="*/ 2000155 h 2029212"/>
                    <a:gd name="connsiteX198" fmla="*/ 247798 w 738727"/>
                    <a:gd name="connsiteY198" fmla="*/ 1961674 h 2029212"/>
                    <a:gd name="connsiteX199" fmla="*/ 316950 w 738727"/>
                    <a:gd name="connsiteY199" fmla="*/ 1906524 h 2029212"/>
                    <a:gd name="connsiteX200" fmla="*/ 358574 w 738727"/>
                    <a:gd name="connsiteY200" fmla="*/ 1853565 h 2029212"/>
                    <a:gd name="connsiteX201" fmla="*/ 422011 w 738727"/>
                    <a:gd name="connsiteY201" fmla="*/ 1809369 h 2029212"/>
                    <a:gd name="connsiteX202" fmla="*/ 513260 w 738727"/>
                    <a:gd name="connsiteY202" fmla="*/ 1670113 h 2029212"/>
                    <a:gd name="connsiteX203" fmla="*/ 608034 w 738727"/>
                    <a:gd name="connsiteY203" fmla="*/ 1543622 h 2029212"/>
                    <a:gd name="connsiteX204" fmla="*/ 682424 w 738727"/>
                    <a:gd name="connsiteY204" fmla="*/ 1400175 h 2029212"/>
                    <a:gd name="connsiteX205" fmla="*/ 662898 w 738727"/>
                    <a:gd name="connsiteY205" fmla="*/ 1400461 h 2029212"/>
                    <a:gd name="connsiteX206" fmla="*/ 665946 w 738727"/>
                    <a:gd name="connsiteY206" fmla="*/ 1345883 h 2029212"/>
                    <a:gd name="connsiteX207" fmla="*/ 663564 w 738727"/>
                    <a:gd name="connsiteY207" fmla="*/ 1289971 h 2029212"/>
                    <a:gd name="connsiteX208" fmla="*/ 667755 w 738727"/>
                    <a:gd name="connsiteY208" fmla="*/ 1144810 h 2029212"/>
                    <a:gd name="connsiteX209" fmla="*/ 654897 w 738727"/>
                    <a:gd name="connsiteY209" fmla="*/ 991933 h 2029212"/>
                    <a:gd name="connsiteX210" fmla="*/ 661183 w 738727"/>
                    <a:gd name="connsiteY210" fmla="*/ 1018794 h 2029212"/>
                    <a:gd name="connsiteX211" fmla="*/ 668137 w 738727"/>
                    <a:gd name="connsiteY211" fmla="*/ 1006507 h 2029212"/>
                    <a:gd name="connsiteX212" fmla="*/ 669946 w 738727"/>
                    <a:gd name="connsiteY212" fmla="*/ 1353122 h 2029212"/>
                    <a:gd name="connsiteX213" fmla="*/ 688234 w 738727"/>
                    <a:gd name="connsiteY213" fmla="*/ 1348454 h 2029212"/>
                    <a:gd name="connsiteX214" fmla="*/ 723286 w 738727"/>
                    <a:gd name="connsiteY214" fmla="*/ 1267016 h 2029212"/>
                    <a:gd name="connsiteX215" fmla="*/ 722238 w 738727"/>
                    <a:gd name="connsiteY215" fmla="*/ 1273874 h 2029212"/>
                    <a:gd name="connsiteX216" fmla="*/ 724524 w 738727"/>
                    <a:gd name="connsiteY216" fmla="*/ 1261205 h 2029212"/>
                    <a:gd name="connsiteX217" fmla="*/ 725191 w 738727"/>
                    <a:gd name="connsiteY217" fmla="*/ 1257014 h 2029212"/>
                    <a:gd name="connsiteX218" fmla="*/ 728906 w 738727"/>
                    <a:gd name="connsiteY218" fmla="*/ 1230344 h 2029212"/>
                    <a:gd name="connsiteX219" fmla="*/ 728906 w 738727"/>
                    <a:gd name="connsiteY219" fmla="*/ 1230344 h 2029212"/>
                    <a:gd name="connsiteX220" fmla="*/ 735097 w 738727"/>
                    <a:gd name="connsiteY220" fmla="*/ 1161383 h 2029212"/>
                    <a:gd name="connsiteX221" fmla="*/ 734907 w 738727"/>
                    <a:gd name="connsiteY221" fmla="*/ 1167575 h 2029212"/>
                    <a:gd name="connsiteX222" fmla="*/ 738717 w 738727"/>
                    <a:gd name="connsiteY222" fmla="*/ 1052322 h 2029212"/>
                    <a:gd name="connsiteX223" fmla="*/ 730144 w 738727"/>
                    <a:gd name="connsiteY223" fmla="*/ 1185672 h 2029212"/>
                    <a:gd name="connsiteX224" fmla="*/ 729478 w 738727"/>
                    <a:gd name="connsiteY224" fmla="*/ 1136999 h 2029212"/>
                    <a:gd name="connsiteX225" fmla="*/ 727477 w 738727"/>
                    <a:gd name="connsiteY225" fmla="*/ 1156811 h 2029212"/>
                    <a:gd name="connsiteX226" fmla="*/ 727477 w 738727"/>
                    <a:gd name="connsiteY226" fmla="*/ 1042225 h 2029212"/>
                    <a:gd name="connsiteX227" fmla="*/ 734335 w 738727"/>
                    <a:gd name="connsiteY227" fmla="*/ 1160050 h 2029212"/>
                    <a:gd name="connsiteX228" fmla="*/ 730049 w 738727"/>
                    <a:gd name="connsiteY228" fmla="*/ 1185577 h 2029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Lst>
                  <a:rect l="l" t="t" r="r" b="b"/>
                  <a:pathLst>
                    <a:path w="738727" h="2029212">
                      <a:moveTo>
                        <a:pt x="737955" y="1051941"/>
                      </a:moveTo>
                      <a:cubicBezTo>
                        <a:pt x="735954" y="1016889"/>
                        <a:pt x="734335" y="970121"/>
                        <a:pt x="730716" y="935165"/>
                      </a:cubicBezTo>
                      <a:cubicBezTo>
                        <a:pt x="729192" y="924687"/>
                        <a:pt x="727763" y="915067"/>
                        <a:pt x="726429" y="906018"/>
                      </a:cubicBezTo>
                      <a:cubicBezTo>
                        <a:pt x="718047" y="878300"/>
                        <a:pt x="717286" y="873824"/>
                        <a:pt x="700903" y="775716"/>
                      </a:cubicBezTo>
                      <a:cubicBezTo>
                        <a:pt x="701093" y="776097"/>
                        <a:pt x="701379" y="776573"/>
                        <a:pt x="701569" y="776954"/>
                      </a:cubicBezTo>
                      <a:cubicBezTo>
                        <a:pt x="674775" y="687924"/>
                        <a:pt x="661155" y="641290"/>
                        <a:pt x="660707" y="637032"/>
                      </a:cubicBezTo>
                      <a:cubicBezTo>
                        <a:pt x="660707" y="637032"/>
                        <a:pt x="661088" y="637413"/>
                        <a:pt x="661279" y="637604"/>
                      </a:cubicBezTo>
                      <a:cubicBezTo>
                        <a:pt x="647086" y="595789"/>
                        <a:pt x="640514" y="581597"/>
                        <a:pt x="621369" y="539972"/>
                      </a:cubicBezTo>
                      <a:lnTo>
                        <a:pt x="578316" y="455771"/>
                      </a:lnTo>
                      <a:cubicBezTo>
                        <a:pt x="566410" y="440055"/>
                        <a:pt x="552694" y="426244"/>
                        <a:pt x="532405" y="413290"/>
                      </a:cubicBezTo>
                      <a:cubicBezTo>
                        <a:pt x="551360" y="425291"/>
                        <a:pt x="566505" y="439103"/>
                        <a:pt x="578316" y="455771"/>
                      </a:cubicBezTo>
                      <a:cubicBezTo>
                        <a:pt x="561742" y="428720"/>
                        <a:pt x="540502" y="392049"/>
                        <a:pt x="522880" y="365760"/>
                      </a:cubicBezTo>
                      <a:cubicBezTo>
                        <a:pt x="447347" y="262604"/>
                        <a:pt x="445918" y="260699"/>
                        <a:pt x="399055" y="210217"/>
                      </a:cubicBezTo>
                      <a:lnTo>
                        <a:pt x="349049" y="159639"/>
                      </a:lnTo>
                      <a:lnTo>
                        <a:pt x="349049" y="159449"/>
                      </a:lnTo>
                      <a:cubicBezTo>
                        <a:pt x="347049" y="157734"/>
                        <a:pt x="345144" y="156020"/>
                        <a:pt x="343239" y="154400"/>
                      </a:cubicBezTo>
                      <a:cubicBezTo>
                        <a:pt x="345429" y="157353"/>
                        <a:pt x="346191" y="158401"/>
                        <a:pt x="367051" y="180022"/>
                      </a:cubicBezTo>
                      <a:cubicBezTo>
                        <a:pt x="363241" y="177832"/>
                        <a:pt x="360098" y="174974"/>
                        <a:pt x="356574" y="172403"/>
                      </a:cubicBezTo>
                      <a:cubicBezTo>
                        <a:pt x="362384" y="183070"/>
                        <a:pt x="372957" y="189071"/>
                        <a:pt x="381148" y="197358"/>
                      </a:cubicBezTo>
                      <a:cubicBezTo>
                        <a:pt x="380577" y="197739"/>
                        <a:pt x="379815" y="198215"/>
                        <a:pt x="379243" y="198691"/>
                      </a:cubicBezTo>
                      <a:cubicBezTo>
                        <a:pt x="344287" y="170212"/>
                        <a:pt x="314664" y="136017"/>
                        <a:pt x="279421" y="107918"/>
                      </a:cubicBezTo>
                      <a:cubicBezTo>
                        <a:pt x="297042" y="118872"/>
                        <a:pt x="310949" y="135160"/>
                        <a:pt x="330094" y="143923"/>
                      </a:cubicBezTo>
                      <a:cubicBezTo>
                        <a:pt x="325617" y="135731"/>
                        <a:pt x="271992" y="89345"/>
                        <a:pt x="236749" y="68104"/>
                      </a:cubicBezTo>
                      <a:cubicBezTo>
                        <a:pt x="211413" y="52768"/>
                        <a:pt x="208650" y="50197"/>
                        <a:pt x="205983" y="47816"/>
                      </a:cubicBezTo>
                      <a:cubicBezTo>
                        <a:pt x="207412" y="48292"/>
                        <a:pt x="209317" y="48958"/>
                        <a:pt x="210651" y="49625"/>
                      </a:cubicBezTo>
                      <a:cubicBezTo>
                        <a:pt x="207888" y="47339"/>
                        <a:pt x="206364" y="46101"/>
                        <a:pt x="199221" y="41910"/>
                      </a:cubicBezTo>
                      <a:cubicBezTo>
                        <a:pt x="198649" y="42386"/>
                        <a:pt x="197982" y="42958"/>
                        <a:pt x="197411" y="43339"/>
                      </a:cubicBezTo>
                      <a:cubicBezTo>
                        <a:pt x="195125" y="42481"/>
                        <a:pt x="190839" y="40862"/>
                        <a:pt x="173979" y="29337"/>
                      </a:cubicBezTo>
                      <a:cubicBezTo>
                        <a:pt x="175503" y="29908"/>
                        <a:pt x="177504" y="30670"/>
                        <a:pt x="179028" y="31051"/>
                      </a:cubicBezTo>
                      <a:cubicBezTo>
                        <a:pt x="176170" y="24289"/>
                        <a:pt x="145214" y="10096"/>
                        <a:pt x="142928" y="9430"/>
                      </a:cubicBezTo>
                      <a:cubicBezTo>
                        <a:pt x="143880" y="11780"/>
                        <a:pt x="146071" y="14954"/>
                        <a:pt x="149500" y="18955"/>
                      </a:cubicBezTo>
                      <a:cubicBezTo>
                        <a:pt x="138737" y="15240"/>
                        <a:pt x="133308" y="3905"/>
                        <a:pt x="122640" y="0"/>
                      </a:cubicBezTo>
                      <a:cubicBezTo>
                        <a:pt x="124640" y="4858"/>
                        <a:pt x="129974" y="7239"/>
                        <a:pt x="132069" y="12001"/>
                      </a:cubicBezTo>
                      <a:cubicBezTo>
                        <a:pt x="129469" y="17653"/>
                        <a:pt x="128383" y="22225"/>
                        <a:pt x="128831" y="25718"/>
                      </a:cubicBezTo>
                      <a:cubicBezTo>
                        <a:pt x="129879" y="33433"/>
                        <a:pt x="154739" y="77343"/>
                        <a:pt x="155025" y="77724"/>
                      </a:cubicBezTo>
                      <a:cubicBezTo>
                        <a:pt x="173598" y="106299"/>
                        <a:pt x="172837" y="116205"/>
                        <a:pt x="172741" y="117253"/>
                      </a:cubicBezTo>
                      <a:cubicBezTo>
                        <a:pt x="170331" y="134905"/>
                        <a:pt x="164264" y="147225"/>
                        <a:pt x="154548" y="154210"/>
                      </a:cubicBezTo>
                      <a:cubicBezTo>
                        <a:pt x="149214" y="158020"/>
                        <a:pt x="149310" y="159925"/>
                        <a:pt x="152167" y="166878"/>
                      </a:cubicBezTo>
                      <a:cubicBezTo>
                        <a:pt x="152548" y="167830"/>
                        <a:pt x="191505" y="259080"/>
                        <a:pt x="227510" y="242411"/>
                      </a:cubicBezTo>
                      <a:cubicBezTo>
                        <a:pt x="239035" y="237077"/>
                        <a:pt x="233320" y="217932"/>
                        <a:pt x="230558" y="208693"/>
                      </a:cubicBezTo>
                      <a:cubicBezTo>
                        <a:pt x="233511" y="210883"/>
                        <a:pt x="297995" y="274891"/>
                        <a:pt x="309996" y="295085"/>
                      </a:cubicBezTo>
                      <a:cubicBezTo>
                        <a:pt x="315712" y="304705"/>
                        <a:pt x="321141" y="313754"/>
                        <a:pt x="331047" y="313849"/>
                      </a:cubicBezTo>
                      <a:cubicBezTo>
                        <a:pt x="333047" y="310229"/>
                        <a:pt x="333999" y="284893"/>
                        <a:pt x="327808" y="273368"/>
                      </a:cubicBezTo>
                      <a:cubicBezTo>
                        <a:pt x="313425" y="246793"/>
                        <a:pt x="316759" y="243745"/>
                        <a:pt x="323998" y="237077"/>
                      </a:cubicBezTo>
                      <a:cubicBezTo>
                        <a:pt x="324284" y="230695"/>
                        <a:pt x="323522" y="228314"/>
                        <a:pt x="304853" y="215932"/>
                      </a:cubicBezTo>
                      <a:cubicBezTo>
                        <a:pt x="296214" y="210217"/>
                        <a:pt x="286060" y="197898"/>
                        <a:pt x="274373" y="178975"/>
                      </a:cubicBezTo>
                      <a:cubicBezTo>
                        <a:pt x="267705" y="168212"/>
                        <a:pt x="278754" y="154591"/>
                        <a:pt x="268848" y="144304"/>
                      </a:cubicBezTo>
                      <a:cubicBezTo>
                        <a:pt x="251637" y="126397"/>
                        <a:pt x="242778" y="116936"/>
                        <a:pt x="242274" y="115919"/>
                      </a:cubicBezTo>
                      <a:cubicBezTo>
                        <a:pt x="241797" y="114967"/>
                        <a:pt x="241321" y="113538"/>
                        <a:pt x="240845" y="112585"/>
                      </a:cubicBezTo>
                      <a:cubicBezTo>
                        <a:pt x="241226" y="112014"/>
                        <a:pt x="241797" y="111157"/>
                        <a:pt x="242178" y="110585"/>
                      </a:cubicBezTo>
                      <a:cubicBezTo>
                        <a:pt x="251799" y="113728"/>
                        <a:pt x="283898" y="134969"/>
                        <a:pt x="286184" y="141637"/>
                      </a:cubicBezTo>
                      <a:cubicBezTo>
                        <a:pt x="285422" y="141637"/>
                        <a:pt x="284374" y="141827"/>
                        <a:pt x="283517" y="141922"/>
                      </a:cubicBezTo>
                      <a:cubicBezTo>
                        <a:pt x="300090" y="179006"/>
                        <a:pt x="316254" y="204851"/>
                        <a:pt x="331999" y="219456"/>
                      </a:cubicBezTo>
                      <a:cubicBezTo>
                        <a:pt x="352573" y="238601"/>
                        <a:pt x="383815" y="235744"/>
                        <a:pt x="404485" y="254699"/>
                      </a:cubicBezTo>
                      <a:cubicBezTo>
                        <a:pt x="400865" y="254222"/>
                        <a:pt x="397912" y="252222"/>
                        <a:pt x="394578" y="250984"/>
                      </a:cubicBezTo>
                      <a:cubicBezTo>
                        <a:pt x="394007" y="251365"/>
                        <a:pt x="393150" y="251841"/>
                        <a:pt x="392578" y="252222"/>
                      </a:cubicBezTo>
                      <a:cubicBezTo>
                        <a:pt x="393816" y="254699"/>
                        <a:pt x="395531" y="256889"/>
                        <a:pt x="396960" y="259175"/>
                      </a:cubicBezTo>
                      <a:cubicBezTo>
                        <a:pt x="384958" y="255746"/>
                        <a:pt x="373528" y="250508"/>
                        <a:pt x="360955" y="248888"/>
                      </a:cubicBezTo>
                      <a:cubicBezTo>
                        <a:pt x="374576" y="267653"/>
                        <a:pt x="394102" y="281654"/>
                        <a:pt x="404675" y="302895"/>
                      </a:cubicBezTo>
                      <a:cubicBezTo>
                        <a:pt x="391245" y="302419"/>
                        <a:pt x="390292" y="282797"/>
                        <a:pt x="375814" y="283940"/>
                      </a:cubicBezTo>
                      <a:cubicBezTo>
                        <a:pt x="375433" y="284607"/>
                        <a:pt x="374862" y="285560"/>
                        <a:pt x="374386" y="286226"/>
                      </a:cubicBezTo>
                      <a:cubicBezTo>
                        <a:pt x="374576" y="286512"/>
                        <a:pt x="390769" y="316230"/>
                        <a:pt x="392388" y="318326"/>
                      </a:cubicBezTo>
                      <a:cubicBezTo>
                        <a:pt x="394578" y="321088"/>
                        <a:pt x="405532" y="335185"/>
                        <a:pt x="404770" y="341471"/>
                      </a:cubicBezTo>
                      <a:cubicBezTo>
                        <a:pt x="399312" y="340964"/>
                        <a:pt x="396036" y="340836"/>
                        <a:pt x="394960" y="341090"/>
                      </a:cubicBezTo>
                      <a:cubicBezTo>
                        <a:pt x="393816" y="343662"/>
                        <a:pt x="393436" y="346424"/>
                        <a:pt x="392388" y="348996"/>
                      </a:cubicBezTo>
                      <a:cubicBezTo>
                        <a:pt x="392769" y="349568"/>
                        <a:pt x="393340" y="350329"/>
                        <a:pt x="393816" y="350901"/>
                      </a:cubicBezTo>
                      <a:lnTo>
                        <a:pt x="393531" y="350901"/>
                      </a:lnTo>
                      <a:cubicBezTo>
                        <a:pt x="368261" y="349123"/>
                        <a:pt x="355526" y="349441"/>
                        <a:pt x="355336" y="351854"/>
                      </a:cubicBezTo>
                      <a:cubicBezTo>
                        <a:pt x="353812" y="352806"/>
                        <a:pt x="351716" y="354139"/>
                        <a:pt x="350097" y="355092"/>
                      </a:cubicBezTo>
                      <a:cubicBezTo>
                        <a:pt x="342286" y="350520"/>
                        <a:pt x="332285" y="347758"/>
                        <a:pt x="321807" y="345567"/>
                      </a:cubicBezTo>
                      <a:lnTo>
                        <a:pt x="340095" y="348806"/>
                      </a:lnTo>
                      <a:cubicBezTo>
                        <a:pt x="337047" y="346520"/>
                        <a:pt x="328761" y="340328"/>
                        <a:pt x="313997" y="340995"/>
                      </a:cubicBezTo>
                      <a:cubicBezTo>
                        <a:pt x="308949" y="341281"/>
                        <a:pt x="307806" y="341281"/>
                        <a:pt x="293709" y="325088"/>
                      </a:cubicBezTo>
                      <a:cubicBezTo>
                        <a:pt x="283327" y="313182"/>
                        <a:pt x="271135" y="295942"/>
                        <a:pt x="271706" y="281083"/>
                      </a:cubicBezTo>
                      <a:cubicBezTo>
                        <a:pt x="271992" y="274987"/>
                        <a:pt x="262657" y="249079"/>
                        <a:pt x="255799" y="248317"/>
                      </a:cubicBezTo>
                      <a:cubicBezTo>
                        <a:pt x="254942" y="248317"/>
                        <a:pt x="235320" y="248222"/>
                        <a:pt x="238654" y="257747"/>
                      </a:cubicBezTo>
                      <a:cubicBezTo>
                        <a:pt x="240083" y="261842"/>
                        <a:pt x="265324" y="305943"/>
                        <a:pt x="283231" y="326708"/>
                      </a:cubicBezTo>
                      <a:cubicBezTo>
                        <a:pt x="290470" y="335089"/>
                        <a:pt x="290851" y="336233"/>
                        <a:pt x="291042" y="336709"/>
                      </a:cubicBezTo>
                      <a:cubicBezTo>
                        <a:pt x="290089" y="337661"/>
                        <a:pt x="289899" y="337947"/>
                        <a:pt x="284565" y="338995"/>
                      </a:cubicBezTo>
                      <a:cubicBezTo>
                        <a:pt x="280755" y="339662"/>
                        <a:pt x="275706" y="340519"/>
                        <a:pt x="271896" y="341090"/>
                      </a:cubicBezTo>
                      <a:cubicBezTo>
                        <a:pt x="270753" y="342614"/>
                        <a:pt x="269325" y="344710"/>
                        <a:pt x="268182" y="346329"/>
                      </a:cubicBezTo>
                      <a:cubicBezTo>
                        <a:pt x="254780" y="345948"/>
                        <a:pt x="246246" y="347536"/>
                        <a:pt x="242559" y="351091"/>
                      </a:cubicBezTo>
                      <a:cubicBezTo>
                        <a:pt x="243607" y="356616"/>
                        <a:pt x="245512" y="366808"/>
                        <a:pt x="252275" y="385477"/>
                      </a:cubicBezTo>
                      <a:cubicBezTo>
                        <a:pt x="251322" y="387191"/>
                        <a:pt x="249989" y="389477"/>
                        <a:pt x="249037" y="391192"/>
                      </a:cubicBezTo>
                      <a:cubicBezTo>
                        <a:pt x="237864" y="390935"/>
                        <a:pt x="229101" y="391982"/>
                        <a:pt x="222747" y="394335"/>
                      </a:cubicBezTo>
                      <a:cubicBezTo>
                        <a:pt x="222747" y="394973"/>
                        <a:pt x="225157" y="401164"/>
                        <a:pt x="229987" y="412909"/>
                      </a:cubicBezTo>
                      <a:cubicBezTo>
                        <a:pt x="226081" y="415576"/>
                        <a:pt x="220366" y="418433"/>
                        <a:pt x="215794" y="419862"/>
                      </a:cubicBezTo>
                      <a:cubicBezTo>
                        <a:pt x="215699" y="423958"/>
                        <a:pt x="214556" y="429578"/>
                        <a:pt x="212841" y="433387"/>
                      </a:cubicBezTo>
                      <a:cubicBezTo>
                        <a:pt x="193506" y="432435"/>
                        <a:pt x="190362" y="430149"/>
                        <a:pt x="181980" y="423958"/>
                      </a:cubicBezTo>
                      <a:cubicBezTo>
                        <a:pt x="184076" y="427672"/>
                        <a:pt x="187219" y="432435"/>
                        <a:pt x="189696" y="435864"/>
                      </a:cubicBezTo>
                      <a:cubicBezTo>
                        <a:pt x="189124" y="437769"/>
                        <a:pt x="188267" y="440341"/>
                        <a:pt x="187695" y="442246"/>
                      </a:cubicBezTo>
                      <a:cubicBezTo>
                        <a:pt x="183790" y="443865"/>
                        <a:pt x="178456" y="445865"/>
                        <a:pt x="174360" y="446818"/>
                      </a:cubicBezTo>
                      <a:cubicBezTo>
                        <a:pt x="168141" y="442817"/>
                        <a:pt x="159978" y="440693"/>
                        <a:pt x="149881" y="440436"/>
                      </a:cubicBezTo>
                      <a:cubicBezTo>
                        <a:pt x="149119" y="442246"/>
                        <a:pt x="147976" y="444532"/>
                        <a:pt x="147214" y="446341"/>
                      </a:cubicBezTo>
                      <a:cubicBezTo>
                        <a:pt x="151024" y="449675"/>
                        <a:pt x="156072" y="454152"/>
                        <a:pt x="159882" y="457486"/>
                      </a:cubicBezTo>
                      <a:cubicBezTo>
                        <a:pt x="158358" y="458629"/>
                        <a:pt x="156263" y="460058"/>
                        <a:pt x="154644" y="461201"/>
                      </a:cubicBezTo>
                      <a:cubicBezTo>
                        <a:pt x="245322" y="486347"/>
                        <a:pt x="231034" y="577501"/>
                        <a:pt x="230558" y="578263"/>
                      </a:cubicBezTo>
                      <a:cubicBezTo>
                        <a:pt x="188362" y="575215"/>
                        <a:pt x="147595" y="562642"/>
                        <a:pt x="105590" y="558356"/>
                      </a:cubicBezTo>
                      <a:cubicBezTo>
                        <a:pt x="107685" y="561975"/>
                        <a:pt x="110924" y="566547"/>
                        <a:pt x="113686" y="569595"/>
                      </a:cubicBezTo>
                      <a:cubicBezTo>
                        <a:pt x="113686" y="570738"/>
                        <a:pt x="118353" y="683228"/>
                        <a:pt x="132831" y="687515"/>
                      </a:cubicBezTo>
                      <a:cubicBezTo>
                        <a:pt x="130231" y="710689"/>
                        <a:pt x="128669" y="723329"/>
                        <a:pt x="128164" y="725424"/>
                      </a:cubicBezTo>
                      <a:cubicBezTo>
                        <a:pt x="157501" y="723138"/>
                        <a:pt x="163597" y="722662"/>
                        <a:pt x="176265" y="725424"/>
                      </a:cubicBezTo>
                      <a:cubicBezTo>
                        <a:pt x="179504" y="738635"/>
                        <a:pt x="181218" y="745398"/>
                        <a:pt x="181409" y="745712"/>
                      </a:cubicBezTo>
                      <a:lnTo>
                        <a:pt x="250179" y="722852"/>
                      </a:lnTo>
                      <a:cubicBezTo>
                        <a:pt x="269134" y="720471"/>
                        <a:pt x="273897" y="696468"/>
                        <a:pt x="263705" y="680275"/>
                      </a:cubicBezTo>
                      <a:cubicBezTo>
                        <a:pt x="274659" y="635032"/>
                        <a:pt x="275230" y="634841"/>
                        <a:pt x="303520" y="623697"/>
                      </a:cubicBezTo>
                      <a:cubicBezTo>
                        <a:pt x="303776" y="599380"/>
                        <a:pt x="304920" y="586388"/>
                        <a:pt x="306948" y="584740"/>
                      </a:cubicBezTo>
                      <a:cubicBezTo>
                        <a:pt x="320093" y="573786"/>
                        <a:pt x="330285" y="591312"/>
                        <a:pt x="342572" y="591312"/>
                      </a:cubicBezTo>
                      <a:cubicBezTo>
                        <a:pt x="353716" y="571500"/>
                        <a:pt x="363051" y="558641"/>
                        <a:pt x="380481" y="573691"/>
                      </a:cubicBezTo>
                      <a:cubicBezTo>
                        <a:pt x="381339" y="574453"/>
                        <a:pt x="477351" y="684657"/>
                        <a:pt x="486780" y="715518"/>
                      </a:cubicBezTo>
                      <a:cubicBezTo>
                        <a:pt x="493924" y="738854"/>
                        <a:pt x="490590" y="739330"/>
                        <a:pt x="450109" y="744855"/>
                      </a:cubicBezTo>
                      <a:cubicBezTo>
                        <a:pt x="458015" y="758285"/>
                        <a:pt x="482589" y="779621"/>
                        <a:pt x="482780" y="779717"/>
                      </a:cubicBezTo>
                      <a:cubicBezTo>
                        <a:pt x="486209" y="768763"/>
                        <a:pt x="479446" y="758190"/>
                        <a:pt x="481446" y="747236"/>
                      </a:cubicBezTo>
                      <a:cubicBezTo>
                        <a:pt x="483256" y="747427"/>
                        <a:pt x="485637" y="747808"/>
                        <a:pt x="487447" y="747998"/>
                      </a:cubicBezTo>
                      <a:cubicBezTo>
                        <a:pt x="492495" y="740474"/>
                        <a:pt x="494591" y="731425"/>
                        <a:pt x="499258" y="723709"/>
                      </a:cubicBezTo>
                      <a:cubicBezTo>
                        <a:pt x="495258" y="709679"/>
                        <a:pt x="493324" y="700154"/>
                        <a:pt x="493448" y="695134"/>
                      </a:cubicBezTo>
                      <a:cubicBezTo>
                        <a:pt x="495258" y="694658"/>
                        <a:pt x="497734" y="693992"/>
                        <a:pt x="499544" y="693515"/>
                      </a:cubicBezTo>
                      <a:cubicBezTo>
                        <a:pt x="502020" y="696849"/>
                        <a:pt x="505259" y="701326"/>
                        <a:pt x="507736" y="704659"/>
                      </a:cubicBezTo>
                      <a:cubicBezTo>
                        <a:pt x="506402" y="698059"/>
                        <a:pt x="494905" y="681771"/>
                        <a:pt x="473255" y="655796"/>
                      </a:cubicBezTo>
                      <a:cubicBezTo>
                        <a:pt x="473731" y="653891"/>
                        <a:pt x="474303" y="651415"/>
                        <a:pt x="474779" y="649510"/>
                      </a:cubicBezTo>
                      <a:cubicBezTo>
                        <a:pt x="459539" y="642747"/>
                        <a:pt x="447442" y="637318"/>
                        <a:pt x="406770" y="554164"/>
                      </a:cubicBezTo>
                      <a:cubicBezTo>
                        <a:pt x="408675" y="551117"/>
                        <a:pt x="412676" y="547687"/>
                        <a:pt x="416105" y="546449"/>
                      </a:cubicBezTo>
                      <a:lnTo>
                        <a:pt x="508307" y="654844"/>
                      </a:lnTo>
                      <a:cubicBezTo>
                        <a:pt x="508564" y="655225"/>
                        <a:pt x="517832" y="681733"/>
                        <a:pt x="536120" y="734378"/>
                      </a:cubicBezTo>
                      <a:lnTo>
                        <a:pt x="565362" y="801338"/>
                      </a:lnTo>
                      <a:cubicBezTo>
                        <a:pt x="565933" y="797433"/>
                        <a:pt x="566219" y="792290"/>
                        <a:pt x="566219" y="788384"/>
                      </a:cubicBezTo>
                      <a:cubicBezTo>
                        <a:pt x="566219" y="772478"/>
                        <a:pt x="560123" y="757714"/>
                        <a:pt x="556980" y="742379"/>
                      </a:cubicBezTo>
                      <a:cubicBezTo>
                        <a:pt x="550312" y="709232"/>
                        <a:pt x="548598" y="691420"/>
                        <a:pt x="551836" y="688943"/>
                      </a:cubicBezTo>
                      <a:cubicBezTo>
                        <a:pt x="560695" y="690848"/>
                        <a:pt x="579363" y="701992"/>
                        <a:pt x="583269" y="716471"/>
                      </a:cubicBezTo>
                      <a:cubicBezTo>
                        <a:pt x="585174" y="713042"/>
                        <a:pt x="587364" y="708374"/>
                        <a:pt x="588603" y="704659"/>
                      </a:cubicBezTo>
                      <a:cubicBezTo>
                        <a:pt x="590603" y="704564"/>
                        <a:pt x="593175" y="704374"/>
                        <a:pt x="595175" y="704279"/>
                      </a:cubicBezTo>
                      <a:cubicBezTo>
                        <a:pt x="601271" y="658940"/>
                        <a:pt x="568886" y="619792"/>
                        <a:pt x="574506" y="574643"/>
                      </a:cubicBezTo>
                      <a:cubicBezTo>
                        <a:pt x="577839" y="573500"/>
                        <a:pt x="582983" y="573786"/>
                        <a:pt x="586221" y="575215"/>
                      </a:cubicBezTo>
                      <a:cubicBezTo>
                        <a:pt x="585460" y="576834"/>
                        <a:pt x="584412" y="579120"/>
                        <a:pt x="583650" y="580835"/>
                      </a:cubicBezTo>
                      <a:cubicBezTo>
                        <a:pt x="589365" y="587502"/>
                        <a:pt x="591651" y="589217"/>
                        <a:pt x="598318" y="593217"/>
                      </a:cubicBezTo>
                      <a:cubicBezTo>
                        <a:pt x="599585" y="598551"/>
                        <a:pt x="599528" y="605314"/>
                        <a:pt x="598128" y="613505"/>
                      </a:cubicBezTo>
                      <a:cubicBezTo>
                        <a:pt x="604033" y="620173"/>
                        <a:pt x="606796" y="628841"/>
                        <a:pt x="611939" y="635984"/>
                      </a:cubicBezTo>
                      <a:cubicBezTo>
                        <a:pt x="633751" y="623411"/>
                        <a:pt x="601176" y="601028"/>
                        <a:pt x="607653" y="582644"/>
                      </a:cubicBezTo>
                      <a:cubicBezTo>
                        <a:pt x="617368" y="580549"/>
                        <a:pt x="619083" y="583787"/>
                        <a:pt x="621845" y="591312"/>
                      </a:cubicBezTo>
                      <a:cubicBezTo>
                        <a:pt x="620892" y="593027"/>
                        <a:pt x="619559" y="595408"/>
                        <a:pt x="618606" y="597122"/>
                      </a:cubicBezTo>
                      <a:cubicBezTo>
                        <a:pt x="620892" y="600742"/>
                        <a:pt x="623683" y="609057"/>
                        <a:pt x="626988" y="622078"/>
                      </a:cubicBezTo>
                      <a:cubicBezTo>
                        <a:pt x="625941" y="623602"/>
                        <a:pt x="624512" y="625792"/>
                        <a:pt x="623369" y="627317"/>
                      </a:cubicBezTo>
                      <a:cubicBezTo>
                        <a:pt x="639085" y="666083"/>
                        <a:pt x="674709" y="696278"/>
                        <a:pt x="673280" y="742569"/>
                      </a:cubicBezTo>
                      <a:cubicBezTo>
                        <a:pt x="671661" y="743426"/>
                        <a:pt x="669470" y="744665"/>
                        <a:pt x="667851" y="745617"/>
                      </a:cubicBezTo>
                      <a:cubicBezTo>
                        <a:pt x="648991" y="733044"/>
                        <a:pt x="650039" y="691229"/>
                        <a:pt x="619464" y="699230"/>
                      </a:cubicBezTo>
                      <a:cubicBezTo>
                        <a:pt x="619178" y="702850"/>
                        <a:pt x="617273" y="707708"/>
                        <a:pt x="614892" y="710375"/>
                      </a:cubicBezTo>
                      <a:cubicBezTo>
                        <a:pt x="611272" y="709136"/>
                        <a:pt x="606319" y="707803"/>
                        <a:pt x="602604" y="706946"/>
                      </a:cubicBezTo>
                      <a:cubicBezTo>
                        <a:pt x="603366" y="710375"/>
                        <a:pt x="605843" y="714756"/>
                        <a:pt x="608415" y="717233"/>
                      </a:cubicBezTo>
                      <a:cubicBezTo>
                        <a:pt x="601366" y="723233"/>
                        <a:pt x="591937" y="719614"/>
                        <a:pt x="584412" y="723329"/>
                      </a:cubicBezTo>
                      <a:cubicBezTo>
                        <a:pt x="583745" y="727424"/>
                        <a:pt x="583459" y="733139"/>
                        <a:pt x="583650" y="737330"/>
                      </a:cubicBezTo>
                      <a:cubicBezTo>
                        <a:pt x="585364" y="737807"/>
                        <a:pt x="587746" y="738569"/>
                        <a:pt x="589460" y="739045"/>
                      </a:cubicBezTo>
                      <a:cubicBezTo>
                        <a:pt x="592508" y="762191"/>
                        <a:pt x="598128" y="805339"/>
                        <a:pt x="626703" y="829342"/>
                      </a:cubicBezTo>
                      <a:cubicBezTo>
                        <a:pt x="628036" y="828008"/>
                        <a:pt x="629751" y="826199"/>
                        <a:pt x="631084" y="824865"/>
                      </a:cubicBezTo>
                      <a:cubicBezTo>
                        <a:pt x="631084" y="822960"/>
                        <a:pt x="630894" y="820483"/>
                        <a:pt x="630894" y="818674"/>
                      </a:cubicBezTo>
                      <a:cubicBezTo>
                        <a:pt x="640228" y="826484"/>
                        <a:pt x="643276" y="839438"/>
                        <a:pt x="654039" y="846011"/>
                      </a:cubicBezTo>
                      <a:cubicBezTo>
                        <a:pt x="655373" y="842391"/>
                        <a:pt x="656516" y="837343"/>
                        <a:pt x="656897" y="833533"/>
                      </a:cubicBezTo>
                      <a:cubicBezTo>
                        <a:pt x="659469" y="836200"/>
                        <a:pt x="663755" y="839153"/>
                        <a:pt x="667184" y="840486"/>
                      </a:cubicBezTo>
                      <a:cubicBezTo>
                        <a:pt x="671946" y="928211"/>
                        <a:pt x="672613" y="941642"/>
                        <a:pt x="663088" y="965359"/>
                      </a:cubicBezTo>
                      <a:cubicBezTo>
                        <a:pt x="650515" y="964311"/>
                        <a:pt x="648420" y="961549"/>
                        <a:pt x="644419" y="949262"/>
                      </a:cubicBezTo>
                      <a:cubicBezTo>
                        <a:pt x="640990" y="949357"/>
                        <a:pt x="636132" y="951262"/>
                        <a:pt x="633751" y="953738"/>
                      </a:cubicBezTo>
                      <a:cubicBezTo>
                        <a:pt x="591841" y="950690"/>
                        <a:pt x="595651" y="889730"/>
                        <a:pt x="551931" y="888968"/>
                      </a:cubicBezTo>
                      <a:cubicBezTo>
                        <a:pt x="543740" y="903542"/>
                        <a:pt x="550217" y="920401"/>
                        <a:pt x="544597" y="935260"/>
                      </a:cubicBezTo>
                      <a:cubicBezTo>
                        <a:pt x="542787" y="936022"/>
                        <a:pt x="540406" y="936974"/>
                        <a:pt x="538596" y="937641"/>
                      </a:cubicBezTo>
                      <a:cubicBezTo>
                        <a:pt x="529548" y="930974"/>
                        <a:pt x="433345" y="843534"/>
                        <a:pt x="426487" y="832104"/>
                      </a:cubicBezTo>
                      <a:cubicBezTo>
                        <a:pt x="424392" y="828580"/>
                        <a:pt x="427249" y="822103"/>
                        <a:pt x="429440" y="818579"/>
                      </a:cubicBezTo>
                      <a:cubicBezTo>
                        <a:pt x="432936" y="812987"/>
                        <a:pt x="433345" y="792956"/>
                        <a:pt x="430678" y="758476"/>
                      </a:cubicBezTo>
                      <a:cubicBezTo>
                        <a:pt x="420201" y="751618"/>
                        <a:pt x="418105" y="750475"/>
                        <a:pt x="411819" y="747046"/>
                      </a:cubicBezTo>
                      <a:cubicBezTo>
                        <a:pt x="406170" y="751361"/>
                        <a:pt x="391626" y="750827"/>
                        <a:pt x="368194" y="745427"/>
                      </a:cubicBezTo>
                      <a:cubicBezTo>
                        <a:pt x="365241" y="748284"/>
                        <a:pt x="361717" y="752475"/>
                        <a:pt x="359527" y="755999"/>
                      </a:cubicBezTo>
                      <a:cubicBezTo>
                        <a:pt x="313902" y="738187"/>
                        <a:pt x="276945" y="788289"/>
                        <a:pt x="231510" y="772573"/>
                      </a:cubicBezTo>
                      <a:cubicBezTo>
                        <a:pt x="226462" y="772096"/>
                        <a:pt x="225605" y="772096"/>
                        <a:pt x="224748" y="772096"/>
                      </a:cubicBezTo>
                      <a:cubicBezTo>
                        <a:pt x="211889" y="774668"/>
                        <a:pt x="207507" y="775621"/>
                        <a:pt x="193601" y="758857"/>
                      </a:cubicBezTo>
                      <a:cubicBezTo>
                        <a:pt x="191124" y="757142"/>
                        <a:pt x="191029" y="757142"/>
                        <a:pt x="190934" y="757142"/>
                      </a:cubicBezTo>
                      <a:cubicBezTo>
                        <a:pt x="189219" y="758666"/>
                        <a:pt x="186743" y="760476"/>
                        <a:pt x="185314" y="762286"/>
                      </a:cubicBezTo>
                      <a:cubicBezTo>
                        <a:pt x="176742" y="772763"/>
                        <a:pt x="183219" y="787527"/>
                        <a:pt x="174932" y="798004"/>
                      </a:cubicBezTo>
                      <a:cubicBezTo>
                        <a:pt x="164550" y="811054"/>
                        <a:pt x="145023" y="810863"/>
                        <a:pt x="135403" y="825055"/>
                      </a:cubicBezTo>
                      <a:cubicBezTo>
                        <a:pt x="132546" y="829246"/>
                        <a:pt x="133879" y="836771"/>
                        <a:pt x="133593" y="841915"/>
                      </a:cubicBezTo>
                      <a:cubicBezTo>
                        <a:pt x="131688" y="878681"/>
                        <a:pt x="125783" y="899474"/>
                        <a:pt x="115877" y="904304"/>
                      </a:cubicBezTo>
                      <a:cubicBezTo>
                        <a:pt x="102542" y="910780"/>
                        <a:pt x="79587" y="928497"/>
                        <a:pt x="76729" y="933069"/>
                      </a:cubicBezTo>
                      <a:cubicBezTo>
                        <a:pt x="68442" y="946404"/>
                        <a:pt x="7578" y="1052036"/>
                        <a:pt x="7578" y="1052132"/>
                      </a:cubicBezTo>
                      <a:cubicBezTo>
                        <a:pt x="5101" y="1080326"/>
                        <a:pt x="23770" y="1104138"/>
                        <a:pt x="24246" y="1131761"/>
                      </a:cubicBezTo>
                      <a:cubicBezTo>
                        <a:pt x="24627" y="1154906"/>
                        <a:pt x="-8424" y="1165955"/>
                        <a:pt x="2053" y="1192721"/>
                      </a:cubicBezTo>
                      <a:cubicBezTo>
                        <a:pt x="17674" y="1232916"/>
                        <a:pt x="39391" y="1270159"/>
                        <a:pt x="57965" y="1309021"/>
                      </a:cubicBezTo>
                      <a:cubicBezTo>
                        <a:pt x="65775" y="1325309"/>
                        <a:pt x="124259" y="1381220"/>
                        <a:pt x="135403" y="1380173"/>
                      </a:cubicBezTo>
                      <a:cubicBezTo>
                        <a:pt x="190458" y="1374934"/>
                        <a:pt x="243702" y="1354265"/>
                        <a:pt x="300090" y="1360265"/>
                      </a:cubicBezTo>
                      <a:cubicBezTo>
                        <a:pt x="301900" y="1360456"/>
                        <a:pt x="304091" y="1361980"/>
                        <a:pt x="305424" y="1363123"/>
                      </a:cubicBezTo>
                      <a:cubicBezTo>
                        <a:pt x="315616" y="1371600"/>
                        <a:pt x="308282" y="1387030"/>
                        <a:pt x="318283" y="1395603"/>
                      </a:cubicBezTo>
                      <a:cubicBezTo>
                        <a:pt x="327999" y="1404080"/>
                        <a:pt x="340762" y="1399889"/>
                        <a:pt x="351621" y="1403318"/>
                      </a:cubicBezTo>
                      <a:cubicBezTo>
                        <a:pt x="356450" y="1417920"/>
                        <a:pt x="355878" y="1432274"/>
                        <a:pt x="349906" y="1446371"/>
                      </a:cubicBezTo>
                      <a:cubicBezTo>
                        <a:pt x="444775" y="1463897"/>
                        <a:pt x="504592" y="1479899"/>
                        <a:pt x="547836" y="1500950"/>
                      </a:cubicBezTo>
                      <a:cubicBezTo>
                        <a:pt x="505259" y="1480280"/>
                        <a:pt x="443823" y="1463802"/>
                        <a:pt x="349906" y="1446371"/>
                      </a:cubicBezTo>
                      <a:cubicBezTo>
                        <a:pt x="333209" y="1485548"/>
                        <a:pt x="326160" y="1510732"/>
                        <a:pt x="328761" y="1521905"/>
                      </a:cubicBezTo>
                      <a:cubicBezTo>
                        <a:pt x="334762" y="1548384"/>
                        <a:pt x="343048" y="1584674"/>
                        <a:pt x="309139" y="1664303"/>
                      </a:cubicBezTo>
                      <a:cubicBezTo>
                        <a:pt x="293518" y="1700975"/>
                        <a:pt x="263705" y="1727835"/>
                        <a:pt x="243131" y="1761077"/>
                      </a:cubicBezTo>
                      <a:cubicBezTo>
                        <a:pt x="223986" y="1792034"/>
                        <a:pt x="221795" y="1829562"/>
                        <a:pt x="204078" y="1860995"/>
                      </a:cubicBezTo>
                      <a:cubicBezTo>
                        <a:pt x="135213" y="1983581"/>
                        <a:pt x="133212" y="1985581"/>
                        <a:pt x="122163" y="1997012"/>
                      </a:cubicBezTo>
                      <a:cubicBezTo>
                        <a:pt x="114639" y="2004727"/>
                        <a:pt x="110543" y="2009013"/>
                        <a:pt x="102732" y="2026730"/>
                      </a:cubicBezTo>
                      <a:cubicBezTo>
                        <a:pt x="137975" y="2037683"/>
                        <a:pt x="179504" y="2009394"/>
                        <a:pt x="193125" y="2000155"/>
                      </a:cubicBezTo>
                      <a:lnTo>
                        <a:pt x="247798" y="1961674"/>
                      </a:lnTo>
                      <a:lnTo>
                        <a:pt x="316950" y="1906524"/>
                      </a:lnTo>
                      <a:cubicBezTo>
                        <a:pt x="332571" y="1890236"/>
                        <a:pt x="341810" y="1868996"/>
                        <a:pt x="358574" y="1853565"/>
                      </a:cubicBezTo>
                      <a:cubicBezTo>
                        <a:pt x="377719" y="1835849"/>
                        <a:pt x="403151" y="1827371"/>
                        <a:pt x="422011" y="1809369"/>
                      </a:cubicBezTo>
                      <a:cubicBezTo>
                        <a:pt x="467064" y="1766316"/>
                        <a:pt x="508878" y="1680686"/>
                        <a:pt x="513260" y="1670113"/>
                      </a:cubicBezTo>
                      <a:cubicBezTo>
                        <a:pt x="530691" y="1627537"/>
                        <a:pt x="590317" y="1562386"/>
                        <a:pt x="608034" y="1543622"/>
                      </a:cubicBezTo>
                      <a:cubicBezTo>
                        <a:pt x="635847" y="1512761"/>
                        <a:pt x="673089" y="1431893"/>
                        <a:pt x="682424" y="1400175"/>
                      </a:cubicBezTo>
                      <a:cubicBezTo>
                        <a:pt x="677728" y="1398651"/>
                        <a:pt x="671213" y="1398746"/>
                        <a:pt x="662898" y="1400461"/>
                      </a:cubicBezTo>
                      <a:cubicBezTo>
                        <a:pt x="661059" y="1397860"/>
                        <a:pt x="662069" y="1379668"/>
                        <a:pt x="665946" y="1345883"/>
                      </a:cubicBezTo>
                      <a:cubicBezTo>
                        <a:pt x="668137" y="1327118"/>
                        <a:pt x="663850" y="1308640"/>
                        <a:pt x="663564" y="1289971"/>
                      </a:cubicBezTo>
                      <a:cubicBezTo>
                        <a:pt x="662612" y="1241488"/>
                        <a:pt x="672042" y="1193292"/>
                        <a:pt x="667755" y="1144810"/>
                      </a:cubicBezTo>
                      <a:lnTo>
                        <a:pt x="654897" y="991933"/>
                      </a:lnTo>
                      <a:cubicBezTo>
                        <a:pt x="656926" y="995105"/>
                        <a:pt x="659021" y="1004059"/>
                        <a:pt x="661183" y="1018794"/>
                      </a:cubicBezTo>
                      <a:cubicBezTo>
                        <a:pt x="664422" y="1016127"/>
                        <a:pt x="667184" y="1010603"/>
                        <a:pt x="668137" y="1006507"/>
                      </a:cubicBezTo>
                      <a:cubicBezTo>
                        <a:pt x="699474" y="1121855"/>
                        <a:pt x="666231" y="1237583"/>
                        <a:pt x="669946" y="1353122"/>
                      </a:cubicBezTo>
                      <a:cubicBezTo>
                        <a:pt x="678395" y="1349188"/>
                        <a:pt x="684491" y="1347626"/>
                        <a:pt x="688234" y="1348454"/>
                      </a:cubicBezTo>
                      <a:cubicBezTo>
                        <a:pt x="710523" y="1300324"/>
                        <a:pt x="722210" y="1273178"/>
                        <a:pt x="723286" y="1267016"/>
                      </a:cubicBezTo>
                      <a:cubicBezTo>
                        <a:pt x="723000" y="1269111"/>
                        <a:pt x="722524" y="1271778"/>
                        <a:pt x="722238" y="1273874"/>
                      </a:cubicBezTo>
                      <a:cubicBezTo>
                        <a:pt x="723000" y="1270063"/>
                        <a:pt x="723953" y="1265015"/>
                        <a:pt x="724524" y="1261205"/>
                      </a:cubicBezTo>
                      <a:lnTo>
                        <a:pt x="725191" y="1257014"/>
                      </a:lnTo>
                      <a:lnTo>
                        <a:pt x="728906" y="1230344"/>
                      </a:lnTo>
                      <a:lnTo>
                        <a:pt x="728906" y="1230344"/>
                      </a:lnTo>
                      <a:cubicBezTo>
                        <a:pt x="730430" y="1218152"/>
                        <a:pt x="732335" y="1202912"/>
                        <a:pt x="735097" y="1161383"/>
                      </a:cubicBezTo>
                      <a:cubicBezTo>
                        <a:pt x="735097" y="1163574"/>
                        <a:pt x="735002" y="1165670"/>
                        <a:pt x="734907" y="1167575"/>
                      </a:cubicBezTo>
                      <a:cubicBezTo>
                        <a:pt x="736526" y="1131665"/>
                        <a:pt x="738907" y="1086707"/>
                        <a:pt x="738717" y="1052322"/>
                      </a:cubicBezTo>
                      <a:close/>
                      <a:moveTo>
                        <a:pt x="730144" y="1185672"/>
                      </a:moveTo>
                      <a:cubicBezTo>
                        <a:pt x="728497" y="1182176"/>
                        <a:pt x="728268" y="1165955"/>
                        <a:pt x="729478" y="1136999"/>
                      </a:cubicBezTo>
                      <a:cubicBezTo>
                        <a:pt x="728649" y="1146143"/>
                        <a:pt x="727982" y="1152744"/>
                        <a:pt x="727477" y="1156811"/>
                      </a:cubicBezTo>
                      <a:cubicBezTo>
                        <a:pt x="724239" y="1062800"/>
                        <a:pt x="725572" y="1054132"/>
                        <a:pt x="727477" y="1042225"/>
                      </a:cubicBezTo>
                      <a:cubicBezTo>
                        <a:pt x="732906" y="1050512"/>
                        <a:pt x="735192" y="1120045"/>
                        <a:pt x="734335" y="1160050"/>
                      </a:cubicBezTo>
                      <a:cubicBezTo>
                        <a:pt x="732525" y="1176433"/>
                        <a:pt x="731859" y="1179005"/>
                        <a:pt x="730049" y="1185577"/>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Segoe UI"/>
                    <a:ea typeface="+mn-ea"/>
                    <a:cs typeface="+mn-cs"/>
                  </a:endParaRPr>
                </a:p>
              </p:txBody>
            </p:sp>
            <p:sp>
              <p:nvSpPr>
                <p:cNvPr id="41" name="Freeform: Shape 40">
                  <a:extLst>
                    <a:ext uri="{FF2B5EF4-FFF2-40B4-BE49-F238E27FC236}">
                      <a16:creationId xmlns:a16="http://schemas.microsoft.com/office/drawing/2014/main" id="{A250EEBA-6DDC-B65D-95B9-4A85D2359C64}"/>
                    </a:ext>
                  </a:extLst>
                </p:cNvPr>
                <p:cNvSpPr/>
                <p:nvPr/>
              </p:nvSpPr>
              <p:spPr>
                <a:xfrm>
                  <a:off x="10334624" y="3161538"/>
                  <a:ext cx="34575" cy="147923"/>
                </a:xfrm>
                <a:custGeom>
                  <a:avLst/>
                  <a:gdLst>
                    <a:gd name="connsiteX0" fmla="*/ 18669 w 34575"/>
                    <a:gd name="connsiteY0" fmla="*/ 66484 h 147923"/>
                    <a:gd name="connsiteX1" fmla="*/ 19907 w 34575"/>
                    <a:gd name="connsiteY1" fmla="*/ 71723 h 147923"/>
                    <a:gd name="connsiteX2" fmla="*/ 26194 w 34575"/>
                    <a:gd name="connsiteY2" fmla="*/ 99727 h 147923"/>
                    <a:gd name="connsiteX3" fmla="*/ 25813 w 34575"/>
                    <a:gd name="connsiteY3" fmla="*/ 98393 h 147923"/>
                    <a:gd name="connsiteX4" fmla="*/ 34576 w 34575"/>
                    <a:gd name="connsiteY4" fmla="*/ 147923 h 147923"/>
                    <a:gd name="connsiteX5" fmla="*/ 7239 w 34575"/>
                    <a:gd name="connsiteY5" fmla="*/ 22384 h 147923"/>
                    <a:gd name="connsiteX6" fmla="*/ 0 w 34575"/>
                    <a:gd name="connsiteY6" fmla="*/ 0 h 147923"/>
                    <a:gd name="connsiteX7" fmla="*/ 21431 w 34575"/>
                    <a:gd name="connsiteY7" fmla="*/ 78867 h 147923"/>
                    <a:gd name="connsiteX8" fmla="*/ 18669 w 34575"/>
                    <a:gd name="connsiteY8" fmla="*/ 66389 h 147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75" h="147923">
                      <a:moveTo>
                        <a:pt x="18669" y="66484"/>
                      </a:moveTo>
                      <a:cubicBezTo>
                        <a:pt x="19050" y="68008"/>
                        <a:pt x="19621" y="70104"/>
                        <a:pt x="19907" y="71723"/>
                      </a:cubicBezTo>
                      <a:lnTo>
                        <a:pt x="26194" y="99727"/>
                      </a:lnTo>
                      <a:cubicBezTo>
                        <a:pt x="26194" y="99727"/>
                        <a:pt x="26003" y="98774"/>
                        <a:pt x="25813" y="98393"/>
                      </a:cubicBezTo>
                      <a:cubicBezTo>
                        <a:pt x="28004" y="115062"/>
                        <a:pt x="31337" y="131540"/>
                        <a:pt x="34576" y="147923"/>
                      </a:cubicBezTo>
                      <a:cubicBezTo>
                        <a:pt x="24955" y="86392"/>
                        <a:pt x="21431" y="73724"/>
                        <a:pt x="7239" y="22384"/>
                      </a:cubicBezTo>
                      <a:cubicBezTo>
                        <a:pt x="4667" y="14478"/>
                        <a:pt x="2286" y="6953"/>
                        <a:pt x="0" y="0"/>
                      </a:cubicBezTo>
                      <a:cubicBezTo>
                        <a:pt x="14764" y="50292"/>
                        <a:pt x="15240" y="52388"/>
                        <a:pt x="21431" y="78867"/>
                      </a:cubicBezTo>
                      <a:cubicBezTo>
                        <a:pt x="20574" y="74676"/>
                        <a:pt x="19621" y="70580"/>
                        <a:pt x="18669" y="66389"/>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Segoe UI"/>
                    <a:ea typeface="+mn-ea"/>
                    <a:cs typeface="+mn-cs"/>
                  </a:endParaRPr>
                </a:p>
              </p:txBody>
            </p:sp>
            <p:sp>
              <p:nvSpPr>
                <p:cNvPr id="42" name="Freeform: Shape 41">
                  <a:extLst>
                    <a:ext uri="{FF2B5EF4-FFF2-40B4-BE49-F238E27FC236}">
                      <a16:creationId xmlns:a16="http://schemas.microsoft.com/office/drawing/2014/main" id="{0220CB09-4D9C-13E2-82ED-56F948A8CEC9}"/>
                    </a:ext>
                  </a:extLst>
                </p:cNvPr>
                <p:cNvSpPr/>
                <p:nvPr/>
              </p:nvSpPr>
              <p:spPr>
                <a:xfrm>
                  <a:off x="10311669" y="3091054"/>
                  <a:ext cx="23145" cy="70580"/>
                </a:xfrm>
                <a:custGeom>
                  <a:avLst/>
                  <a:gdLst>
                    <a:gd name="connsiteX0" fmla="*/ 19240 w 23145"/>
                    <a:gd name="connsiteY0" fmla="*/ 57531 h 70580"/>
                    <a:gd name="connsiteX1" fmla="*/ 21146 w 23145"/>
                    <a:gd name="connsiteY1" fmla="*/ 62293 h 70580"/>
                    <a:gd name="connsiteX2" fmla="*/ 15526 w 23145"/>
                    <a:gd name="connsiteY2" fmla="*/ 44196 h 70580"/>
                    <a:gd name="connsiteX3" fmla="*/ 17526 w 23145"/>
                    <a:gd name="connsiteY3" fmla="*/ 50197 h 70580"/>
                    <a:gd name="connsiteX4" fmla="*/ 2572 w 23145"/>
                    <a:gd name="connsiteY4" fmla="*/ 6001 h 70580"/>
                    <a:gd name="connsiteX5" fmla="*/ 2762 w 23145"/>
                    <a:gd name="connsiteY5" fmla="*/ 6572 h 70580"/>
                    <a:gd name="connsiteX6" fmla="*/ 0 w 23145"/>
                    <a:gd name="connsiteY6" fmla="*/ 0 h 70580"/>
                    <a:gd name="connsiteX7" fmla="*/ 23146 w 23145"/>
                    <a:gd name="connsiteY7" fmla="*/ 70580 h 70580"/>
                    <a:gd name="connsiteX8" fmla="*/ 19336 w 23145"/>
                    <a:gd name="connsiteY8" fmla="*/ 57626 h 70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45" h="70580">
                      <a:moveTo>
                        <a:pt x="19240" y="57531"/>
                      </a:moveTo>
                      <a:cubicBezTo>
                        <a:pt x="19812" y="59150"/>
                        <a:pt x="20479" y="60769"/>
                        <a:pt x="21146" y="62293"/>
                      </a:cubicBezTo>
                      <a:cubicBezTo>
                        <a:pt x="19240" y="56293"/>
                        <a:pt x="16859" y="50387"/>
                        <a:pt x="15526" y="44196"/>
                      </a:cubicBezTo>
                      <a:cubicBezTo>
                        <a:pt x="16193" y="46196"/>
                        <a:pt x="16954" y="48196"/>
                        <a:pt x="17526" y="50197"/>
                      </a:cubicBezTo>
                      <a:lnTo>
                        <a:pt x="2572" y="6001"/>
                      </a:lnTo>
                      <a:lnTo>
                        <a:pt x="2762" y="6572"/>
                      </a:lnTo>
                      <a:cubicBezTo>
                        <a:pt x="953" y="1714"/>
                        <a:pt x="476" y="667"/>
                        <a:pt x="0" y="0"/>
                      </a:cubicBezTo>
                      <a:cubicBezTo>
                        <a:pt x="5905" y="17431"/>
                        <a:pt x="13049" y="39529"/>
                        <a:pt x="23146" y="70580"/>
                      </a:cubicBezTo>
                      <a:cubicBezTo>
                        <a:pt x="22003" y="66580"/>
                        <a:pt x="20764" y="62293"/>
                        <a:pt x="19336" y="57626"/>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Segoe UI"/>
                    <a:ea typeface="+mn-ea"/>
                    <a:cs typeface="+mn-cs"/>
                  </a:endParaRPr>
                </a:p>
              </p:txBody>
            </p:sp>
            <p:sp>
              <p:nvSpPr>
                <p:cNvPr id="43" name="Freeform: Shape 42">
                  <a:extLst>
                    <a:ext uri="{FF2B5EF4-FFF2-40B4-BE49-F238E27FC236}">
                      <a16:creationId xmlns:a16="http://schemas.microsoft.com/office/drawing/2014/main" id="{793043D2-57AA-E68A-2E6D-95498D0A7518}"/>
                    </a:ext>
                  </a:extLst>
                </p:cNvPr>
                <p:cNvSpPr/>
                <p:nvPr/>
              </p:nvSpPr>
              <p:spPr>
                <a:xfrm>
                  <a:off x="10369200" y="3309462"/>
                  <a:ext cx="8762" cy="53911"/>
                </a:xfrm>
                <a:custGeom>
                  <a:avLst/>
                  <a:gdLst>
                    <a:gd name="connsiteX0" fmla="*/ 8763 w 8762"/>
                    <a:gd name="connsiteY0" fmla="*/ 53912 h 53911"/>
                    <a:gd name="connsiteX1" fmla="*/ 0 w 8762"/>
                    <a:gd name="connsiteY1" fmla="*/ 0 h 53911"/>
                    <a:gd name="connsiteX2" fmla="*/ 7525 w 8762"/>
                    <a:gd name="connsiteY2" fmla="*/ 49911 h 53911"/>
                    <a:gd name="connsiteX3" fmla="*/ 8668 w 8762"/>
                    <a:gd name="connsiteY3" fmla="*/ 53912 h 53911"/>
                  </a:gdLst>
                  <a:ahLst/>
                  <a:cxnLst>
                    <a:cxn ang="0">
                      <a:pos x="connsiteX0" y="connsiteY0"/>
                    </a:cxn>
                    <a:cxn ang="0">
                      <a:pos x="connsiteX1" y="connsiteY1"/>
                    </a:cxn>
                    <a:cxn ang="0">
                      <a:pos x="connsiteX2" y="connsiteY2"/>
                    </a:cxn>
                    <a:cxn ang="0">
                      <a:pos x="connsiteX3" y="connsiteY3"/>
                    </a:cxn>
                  </a:cxnLst>
                  <a:rect l="l" t="t" r="r" b="b"/>
                  <a:pathLst>
                    <a:path w="8762" h="53911">
                      <a:moveTo>
                        <a:pt x="8763" y="53912"/>
                      </a:moveTo>
                      <a:cubicBezTo>
                        <a:pt x="6858" y="35814"/>
                        <a:pt x="3524" y="17907"/>
                        <a:pt x="0" y="0"/>
                      </a:cubicBezTo>
                      <a:cubicBezTo>
                        <a:pt x="2096" y="13811"/>
                        <a:pt x="4572" y="30194"/>
                        <a:pt x="7525" y="49911"/>
                      </a:cubicBezTo>
                      <a:cubicBezTo>
                        <a:pt x="7906" y="51245"/>
                        <a:pt x="8287" y="52483"/>
                        <a:pt x="8668" y="53912"/>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Segoe UI"/>
                    <a:ea typeface="+mn-ea"/>
                    <a:cs typeface="+mn-cs"/>
                  </a:endParaRPr>
                </a:p>
              </p:txBody>
            </p:sp>
            <p:sp>
              <p:nvSpPr>
                <p:cNvPr id="44" name="Freeform: Shape 43">
                  <a:extLst>
                    <a:ext uri="{FF2B5EF4-FFF2-40B4-BE49-F238E27FC236}">
                      <a16:creationId xmlns:a16="http://schemas.microsoft.com/office/drawing/2014/main" id="{A55296C9-3B67-0A5A-E70C-515FE7176E51}"/>
                    </a:ext>
                  </a:extLst>
                </p:cNvPr>
                <p:cNvSpPr/>
                <p:nvPr/>
              </p:nvSpPr>
              <p:spPr>
                <a:xfrm>
                  <a:off x="9644340" y="2722722"/>
                  <a:ext cx="71679" cy="94478"/>
                </a:xfrm>
                <a:custGeom>
                  <a:avLst/>
                  <a:gdLst>
                    <a:gd name="connsiteX0" fmla="*/ 17724 w 71679"/>
                    <a:gd name="connsiteY0" fmla="*/ 50578 h 94478"/>
                    <a:gd name="connsiteX1" fmla="*/ 17247 w 71679"/>
                    <a:gd name="connsiteY1" fmla="*/ 51625 h 94478"/>
                    <a:gd name="connsiteX2" fmla="*/ 9056 w 71679"/>
                    <a:gd name="connsiteY2" fmla="*/ 78581 h 94478"/>
                    <a:gd name="connsiteX3" fmla="*/ 10675 w 71679"/>
                    <a:gd name="connsiteY3" fmla="*/ 91916 h 94478"/>
                    <a:gd name="connsiteX4" fmla="*/ 47061 w 71679"/>
                    <a:gd name="connsiteY4" fmla="*/ 86011 h 94478"/>
                    <a:gd name="connsiteX5" fmla="*/ 57348 w 71679"/>
                    <a:gd name="connsiteY5" fmla="*/ 79343 h 94478"/>
                    <a:gd name="connsiteX6" fmla="*/ 70683 w 71679"/>
                    <a:gd name="connsiteY6" fmla="*/ 74104 h 94478"/>
                    <a:gd name="connsiteX7" fmla="*/ 68397 w 71679"/>
                    <a:gd name="connsiteY7" fmla="*/ 56102 h 94478"/>
                    <a:gd name="connsiteX8" fmla="*/ 62491 w 71679"/>
                    <a:gd name="connsiteY8" fmla="*/ 45339 h 94478"/>
                    <a:gd name="connsiteX9" fmla="*/ 61062 w 71679"/>
                    <a:gd name="connsiteY9" fmla="*/ 32766 h 94478"/>
                    <a:gd name="connsiteX10" fmla="*/ 62491 w 71679"/>
                    <a:gd name="connsiteY10" fmla="*/ 21622 h 94478"/>
                    <a:gd name="connsiteX11" fmla="*/ 54585 w 71679"/>
                    <a:gd name="connsiteY11" fmla="*/ 11525 h 94478"/>
                    <a:gd name="connsiteX12" fmla="*/ 49537 w 71679"/>
                    <a:gd name="connsiteY12" fmla="*/ 8668 h 94478"/>
                    <a:gd name="connsiteX13" fmla="*/ 36107 w 71679"/>
                    <a:gd name="connsiteY13" fmla="*/ 3620 h 94478"/>
                    <a:gd name="connsiteX14" fmla="*/ 31344 w 71679"/>
                    <a:gd name="connsiteY14" fmla="*/ 476 h 94478"/>
                    <a:gd name="connsiteX15" fmla="*/ 30487 w 71679"/>
                    <a:gd name="connsiteY15" fmla="*/ 0 h 94478"/>
                    <a:gd name="connsiteX16" fmla="*/ 18771 w 71679"/>
                    <a:gd name="connsiteY16" fmla="*/ 17240 h 94478"/>
                    <a:gd name="connsiteX17" fmla="*/ 23058 w 71679"/>
                    <a:gd name="connsiteY17" fmla="*/ 18479 h 94478"/>
                    <a:gd name="connsiteX18" fmla="*/ 20486 w 71679"/>
                    <a:gd name="connsiteY18" fmla="*/ 20002 h 94478"/>
                    <a:gd name="connsiteX19" fmla="*/ 3341 w 71679"/>
                    <a:gd name="connsiteY19" fmla="*/ 31337 h 94478"/>
                    <a:gd name="connsiteX20" fmla="*/ 198 w 71679"/>
                    <a:gd name="connsiteY20" fmla="*/ 41720 h 94478"/>
                    <a:gd name="connsiteX21" fmla="*/ 6484 w 71679"/>
                    <a:gd name="connsiteY21" fmla="*/ 48387 h 94478"/>
                    <a:gd name="connsiteX22" fmla="*/ 17724 w 71679"/>
                    <a:gd name="connsiteY22" fmla="*/ 50387 h 94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1679" h="94478">
                      <a:moveTo>
                        <a:pt x="17724" y="50578"/>
                      </a:moveTo>
                      <a:cubicBezTo>
                        <a:pt x="17724" y="50578"/>
                        <a:pt x="17438" y="51340"/>
                        <a:pt x="17247" y="51625"/>
                      </a:cubicBezTo>
                      <a:cubicBezTo>
                        <a:pt x="12485" y="60865"/>
                        <a:pt x="9151" y="78391"/>
                        <a:pt x="9056" y="78581"/>
                      </a:cubicBezTo>
                      <a:cubicBezTo>
                        <a:pt x="7913" y="85630"/>
                        <a:pt x="8294" y="89059"/>
                        <a:pt x="10675" y="91916"/>
                      </a:cubicBezTo>
                      <a:cubicBezTo>
                        <a:pt x="14676" y="96774"/>
                        <a:pt x="33440" y="94679"/>
                        <a:pt x="47061" y="86011"/>
                      </a:cubicBezTo>
                      <a:cubicBezTo>
                        <a:pt x="50490" y="83820"/>
                        <a:pt x="53633" y="81248"/>
                        <a:pt x="57348" y="79343"/>
                      </a:cubicBezTo>
                      <a:cubicBezTo>
                        <a:pt x="61634" y="77248"/>
                        <a:pt x="67349" y="78772"/>
                        <a:pt x="70683" y="74104"/>
                      </a:cubicBezTo>
                      <a:cubicBezTo>
                        <a:pt x="72588" y="71533"/>
                        <a:pt x="71730" y="65437"/>
                        <a:pt x="68397" y="56102"/>
                      </a:cubicBezTo>
                      <a:cubicBezTo>
                        <a:pt x="66682" y="51340"/>
                        <a:pt x="64682" y="48482"/>
                        <a:pt x="62491" y="45339"/>
                      </a:cubicBezTo>
                      <a:cubicBezTo>
                        <a:pt x="58967" y="40100"/>
                        <a:pt x="58681" y="38195"/>
                        <a:pt x="61062" y="32766"/>
                      </a:cubicBezTo>
                      <a:cubicBezTo>
                        <a:pt x="62015" y="30480"/>
                        <a:pt x="63729" y="26575"/>
                        <a:pt x="62491" y="21622"/>
                      </a:cubicBezTo>
                      <a:cubicBezTo>
                        <a:pt x="61253" y="16859"/>
                        <a:pt x="57538" y="13430"/>
                        <a:pt x="54585" y="11525"/>
                      </a:cubicBezTo>
                      <a:cubicBezTo>
                        <a:pt x="53157" y="10573"/>
                        <a:pt x="51061" y="9430"/>
                        <a:pt x="49537" y="8668"/>
                      </a:cubicBezTo>
                      <a:cubicBezTo>
                        <a:pt x="45251" y="6572"/>
                        <a:pt x="40488" y="5620"/>
                        <a:pt x="36107" y="3620"/>
                      </a:cubicBezTo>
                      <a:cubicBezTo>
                        <a:pt x="32964" y="2191"/>
                        <a:pt x="31821" y="1048"/>
                        <a:pt x="31344" y="476"/>
                      </a:cubicBezTo>
                      <a:cubicBezTo>
                        <a:pt x="30963" y="95"/>
                        <a:pt x="30868" y="0"/>
                        <a:pt x="30487" y="0"/>
                      </a:cubicBezTo>
                      <a:cubicBezTo>
                        <a:pt x="29344" y="286"/>
                        <a:pt x="1055" y="7334"/>
                        <a:pt x="18771" y="17240"/>
                      </a:cubicBezTo>
                      <a:cubicBezTo>
                        <a:pt x="19914" y="17907"/>
                        <a:pt x="20581" y="18193"/>
                        <a:pt x="23058" y="18479"/>
                      </a:cubicBezTo>
                      <a:cubicBezTo>
                        <a:pt x="22391" y="19145"/>
                        <a:pt x="21248" y="19622"/>
                        <a:pt x="20486" y="20002"/>
                      </a:cubicBezTo>
                      <a:cubicBezTo>
                        <a:pt x="8770" y="25718"/>
                        <a:pt x="6008" y="28575"/>
                        <a:pt x="3341" y="31337"/>
                      </a:cubicBezTo>
                      <a:cubicBezTo>
                        <a:pt x="1436" y="33242"/>
                        <a:pt x="-660" y="36671"/>
                        <a:pt x="198" y="41720"/>
                      </a:cubicBezTo>
                      <a:cubicBezTo>
                        <a:pt x="960" y="43529"/>
                        <a:pt x="1912" y="46101"/>
                        <a:pt x="6484" y="48387"/>
                      </a:cubicBezTo>
                      <a:cubicBezTo>
                        <a:pt x="10008" y="50197"/>
                        <a:pt x="14104" y="49435"/>
                        <a:pt x="17724" y="50387"/>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Segoe UI"/>
                    <a:ea typeface="+mn-ea"/>
                    <a:cs typeface="+mn-cs"/>
                  </a:endParaRPr>
                </a:p>
              </p:txBody>
            </p:sp>
            <p:sp>
              <p:nvSpPr>
                <p:cNvPr id="45" name="Freeform: Shape 44">
                  <a:extLst>
                    <a:ext uri="{FF2B5EF4-FFF2-40B4-BE49-F238E27FC236}">
                      <a16:creationId xmlns:a16="http://schemas.microsoft.com/office/drawing/2014/main" id="{9C8D8A2B-D463-ADBE-DE65-5AE39C00D56C}"/>
                    </a:ext>
                  </a:extLst>
                </p:cNvPr>
                <p:cNvSpPr/>
                <p:nvPr/>
              </p:nvSpPr>
              <p:spPr>
                <a:xfrm>
                  <a:off x="8461533" y="2441258"/>
                  <a:ext cx="26384" cy="16002"/>
                </a:xfrm>
                <a:custGeom>
                  <a:avLst/>
                  <a:gdLst>
                    <a:gd name="connsiteX0" fmla="*/ 26289 w 26384"/>
                    <a:gd name="connsiteY0" fmla="*/ 0 h 16002"/>
                    <a:gd name="connsiteX1" fmla="*/ 26384 w 26384"/>
                    <a:gd name="connsiteY1" fmla="*/ 0 h 16002"/>
                    <a:gd name="connsiteX2" fmla="*/ 26384 w 26384"/>
                    <a:gd name="connsiteY2" fmla="*/ 0 h 16002"/>
                    <a:gd name="connsiteX3" fmla="*/ 0 w 26384"/>
                    <a:gd name="connsiteY3" fmla="*/ 16002 h 16002"/>
                    <a:gd name="connsiteX4" fmla="*/ 26384 w 26384"/>
                    <a:gd name="connsiteY4" fmla="*/ 95 h 160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84" h="16002">
                      <a:moveTo>
                        <a:pt x="26289" y="0"/>
                      </a:moveTo>
                      <a:cubicBezTo>
                        <a:pt x="26289" y="0"/>
                        <a:pt x="26289" y="0"/>
                        <a:pt x="26384" y="0"/>
                      </a:cubicBezTo>
                      <a:cubicBezTo>
                        <a:pt x="26384" y="0"/>
                        <a:pt x="26384" y="0"/>
                        <a:pt x="26384" y="0"/>
                      </a:cubicBezTo>
                      <a:cubicBezTo>
                        <a:pt x="23622" y="1429"/>
                        <a:pt x="1143" y="14478"/>
                        <a:pt x="0" y="16002"/>
                      </a:cubicBezTo>
                      <a:cubicBezTo>
                        <a:pt x="1143" y="16002"/>
                        <a:pt x="2381" y="16002"/>
                        <a:pt x="26384" y="95"/>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Segoe UI"/>
                    <a:ea typeface="+mn-ea"/>
                    <a:cs typeface="+mn-cs"/>
                  </a:endParaRPr>
                </a:p>
              </p:txBody>
            </p:sp>
            <p:sp>
              <p:nvSpPr>
                <p:cNvPr id="46" name="Freeform: Shape 45">
                  <a:extLst>
                    <a:ext uri="{FF2B5EF4-FFF2-40B4-BE49-F238E27FC236}">
                      <a16:creationId xmlns:a16="http://schemas.microsoft.com/office/drawing/2014/main" id="{2BC52E5D-6D3E-3D9D-B548-E42897179ECD}"/>
                    </a:ext>
                  </a:extLst>
                </p:cNvPr>
                <p:cNvSpPr/>
                <p:nvPr/>
              </p:nvSpPr>
              <p:spPr>
                <a:xfrm>
                  <a:off x="10223578" y="3283744"/>
                  <a:ext cx="35321" cy="22141"/>
                </a:xfrm>
                <a:custGeom>
                  <a:avLst/>
                  <a:gdLst>
                    <a:gd name="connsiteX0" fmla="*/ 34750 w 35321"/>
                    <a:gd name="connsiteY0" fmla="*/ 21908 h 22141"/>
                    <a:gd name="connsiteX1" fmla="*/ 35322 w 35321"/>
                    <a:gd name="connsiteY1" fmla="*/ 21622 h 22141"/>
                    <a:gd name="connsiteX2" fmla="*/ 35322 w 35321"/>
                    <a:gd name="connsiteY2" fmla="*/ 21146 h 22141"/>
                    <a:gd name="connsiteX3" fmla="*/ 24559 w 35321"/>
                    <a:gd name="connsiteY3" fmla="*/ 7239 h 22141"/>
                    <a:gd name="connsiteX4" fmla="*/ 19891 w 35321"/>
                    <a:gd name="connsiteY4" fmla="*/ 4286 h 22141"/>
                    <a:gd name="connsiteX5" fmla="*/ 9319 w 35321"/>
                    <a:gd name="connsiteY5" fmla="*/ 2286 h 22141"/>
                    <a:gd name="connsiteX6" fmla="*/ 2746 w 35321"/>
                    <a:gd name="connsiteY6" fmla="*/ 0 h 22141"/>
                    <a:gd name="connsiteX7" fmla="*/ 841 w 35321"/>
                    <a:gd name="connsiteY7" fmla="*/ 5334 h 22141"/>
                    <a:gd name="connsiteX8" fmla="*/ 34846 w 35321"/>
                    <a:gd name="connsiteY8" fmla="*/ 21908 h 22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321" h="22141">
                      <a:moveTo>
                        <a:pt x="34750" y="21908"/>
                      </a:moveTo>
                      <a:cubicBezTo>
                        <a:pt x="34750" y="21908"/>
                        <a:pt x="35131" y="21717"/>
                        <a:pt x="35322" y="21622"/>
                      </a:cubicBezTo>
                      <a:cubicBezTo>
                        <a:pt x="35322" y="21431"/>
                        <a:pt x="35322" y="21241"/>
                        <a:pt x="35322" y="21146"/>
                      </a:cubicBezTo>
                      <a:cubicBezTo>
                        <a:pt x="35227" y="21050"/>
                        <a:pt x="24559" y="7239"/>
                        <a:pt x="24559" y="7239"/>
                      </a:cubicBezTo>
                      <a:cubicBezTo>
                        <a:pt x="22654" y="5143"/>
                        <a:pt x="20654" y="4477"/>
                        <a:pt x="19891" y="4286"/>
                      </a:cubicBezTo>
                      <a:cubicBezTo>
                        <a:pt x="16367" y="3429"/>
                        <a:pt x="12748" y="3524"/>
                        <a:pt x="9319" y="2286"/>
                      </a:cubicBezTo>
                      <a:cubicBezTo>
                        <a:pt x="5252" y="762"/>
                        <a:pt x="3061" y="0"/>
                        <a:pt x="2746" y="0"/>
                      </a:cubicBezTo>
                      <a:cubicBezTo>
                        <a:pt x="-16" y="191"/>
                        <a:pt x="-778" y="2476"/>
                        <a:pt x="841" y="5334"/>
                      </a:cubicBezTo>
                      <a:cubicBezTo>
                        <a:pt x="4461" y="11525"/>
                        <a:pt x="28464" y="24003"/>
                        <a:pt x="34846" y="21908"/>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Segoe UI"/>
                    <a:ea typeface="+mn-ea"/>
                    <a:cs typeface="+mn-cs"/>
                  </a:endParaRPr>
                </a:p>
              </p:txBody>
            </p:sp>
            <p:sp>
              <p:nvSpPr>
                <p:cNvPr id="47" name="Freeform: Shape 46">
                  <a:extLst>
                    <a:ext uri="{FF2B5EF4-FFF2-40B4-BE49-F238E27FC236}">
                      <a16:creationId xmlns:a16="http://schemas.microsoft.com/office/drawing/2014/main" id="{6984F0F6-EDF3-F359-4B09-2FF94175BFB3}"/>
                    </a:ext>
                  </a:extLst>
                </p:cNvPr>
                <p:cNvSpPr/>
                <p:nvPr/>
              </p:nvSpPr>
              <p:spPr>
                <a:xfrm>
                  <a:off x="10028443" y="3104579"/>
                  <a:ext cx="30527" cy="53693"/>
                </a:xfrm>
                <a:custGeom>
                  <a:avLst/>
                  <a:gdLst>
                    <a:gd name="connsiteX0" fmla="*/ 2238 w 30527"/>
                    <a:gd name="connsiteY0" fmla="*/ 32385 h 53693"/>
                    <a:gd name="connsiteX1" fmla="*/ 10049 w 30527"/>
                    <a:gd name="connsiteY1" fmla="*/ 37909 h 53693"/>
                    <a:gd name="connsiteX2" fmla="*/ 10430 w 30527"/>
                    <a:gd name="connsiteY2" fmla="*/ 49625 h 53693"/>
                    <a:gd name="connsiteX3" fmla="*/ 14526 w 30527"/>
                    <a:gd name="connsiteY3" fmla="*/ 53626 h 53693"/>
                    <a:gd name="connsiteX4" fmla="*/ 30528 w 30527"/>
                    <a:gd name="connsiteY4" fmla="*/ 39529 h 53693"/>
                    <a:gd name="connsiteX5" fmla="*/ 30242 w 30527"/>
                    <a:gd name="connsiteY5" fmla="*/ 35623 h 53693"/>
                    <a:gd name="connsiteX6" fmla="*/ 27289 w 30527"/>
                    <a:gd name="connsiteY6" fmla="*/ 22670 h 53693"/>
                    <a:gd name="connsiteX7" fmla="*/ 26241 w 30527"/>
                    <a:gd name="connsiteY7" fmla="*/ 8572 h 53693"/>
                    <a:gd name="connsiteX8" fmla="*/ 19860 w 30527"/>
                    <a:gd name="connsiteY8" fmla="*/ 0 h 53693"/>
                    <a:gd name="connsiteX9" fmla="*/ 1762 w 30527"/>
                    <a:gd name="connsiteY9" fmla="*/ 10763 h 53693"/>
                    <a:gd name="connsiteX10" fmla="*/ 2238 w 30527"/>
                    <a:gd name="connsiteY10" fmla="*/ 32480 h 53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527" h="53693">
                      <a:moveTo>
                        <a:pt x="2238" y="32385"/>
                      </a:moveTo>
                      <a:cubicBezTo>
                        <a:pt x="4429" y="34766"/>
                        <a:pt x="9192" y="33623"/>
                        <a:pt x="10049" y="37909"/>
                      </a:cubicBezTo>
                      <a:cubicBezTo>
                        <a:pt x="10906" y="41815"/>
                        <a:pt x="9287" y="45720"/>
                        <a:pt x="10430" y="49625"/>
                      </a:cubicBezTo>
                      <a:cubicBezTo>
                        <a:pt x="11287" y="52768"/>
                        <a:pt x="13573" y="53340"/>
                        <a:pt x="14526" y="53626"/>
                      </a:cubicBezTo>
                      <a:cubicBezTo>
                        <a:pt x="17097" y="54292"/>
                        <a:pt x="30242" y="50101"/>
                        <a:pt x="30528" y="39529"/>
                      </a:cubicBezTo>
                      <a:cubicBezTo>
                        <a:pt x="30528" y="38386"/>
                        <a:pt x="30337" y="36767"/>
                        <a:pt x="30242" y="35623"/>
                      </a:cubicBezTo>
                      <a:cubicBezTo>
                        <a:pt x="29575" y="31242"/>
                        <a:pt x="27956" y="27051"/>
                        <a:pt x="27289" y="22670"/>
                      </a:cubicBezTo>
                      <a:cubicBezTo>
                        <a:pt x="26622" y="18002"/>
                        <a:pt x="26908" y="13240"/>
                        <a:pt x="26241" y="8572"/>
                      </a:cubicBezTo>
                      <a:cubicBezTo>
                        <a:pt x="25194" y="1143"/>
                        <a:pt x="22527" y="286"/>
                        <a:pt x="19860" y="0"/>
                      </a:cubicBezTo>
                      <a:cubicBezTo>
                        <a:pt x="15669" y="95"/>
                        <a:pt x="5382" y="4000"/>
                        <a:pt x="1762" y="10763"/>
                      </a:cubicBezTo>
                      <a:cubicBezTo>
                        <a:pt x="-429" y="14764"/>
                        <a:pt x="-905" y="29051"/>
                        <a:pt x="2238" y="32480"/>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Segoe UI"/>
                    <a:ea typeface="+mn-ea"/>
                    <a:cs typeface="+mn-cs"/>
                  </a:endParaRPr>
                </a:p>
              </p:txBody>
            </p:sp>
            <p:sp>
              <p:nvSpPr>
                <p:cNvPr id="48" name="Freeform: Shape 47">
                  <a:extLst>
                    <a:ext uri="{FF2B5EF4-FFF2-40B4-BE49-F238E27FC236}">
                      <a16:creationId xmlns:a16="http://schemas.microsoft.com/office/drawing/2014/main" id="{0B5C2D57-2B11-CB0B-D064-84A74C44E146}"/>
                    </a:ext>
                  </a:extLst>
                </p:cNvPr>
                <p:cNvSpPr/>
                <p:nvPr/>
              </p:nvSpPr>
              <p:spPr>
                <a:xfrm>
                  <a:off x="9946168" y="3123767"/>
                  <a:ext cx="24737" cy="12632"/>
                </a:xfrm>
                <a:custGeom>
                  <a:avLst/>
                  <a:gdLst>
                    <a:gd name="connsiteX0" fmla="*/ 19362 w 24737"/>
                    <a:gd name="connsiteY0" fmla="*/ 11102 h 12632"/>
                    <a:gd name="connsiteX1" fmla="*/ 24696 w 24737"/>
                    <a:gd name="connsiteY1" fmla="*/ 4815 h 12632"/>
                    <a:gd name="connsiteX2" fmla="*/ 14981 w 24737"/>
                    <a:gd name="connsiteY2" fmla="*/ 148 h 12632"/>
                    <a:gd name="connsiteX3" fmla="*/ 979 w 24737"/>
                    <a:gd name="connsiteY3" fmla="*/ 6053 h 12632"/>
                    <a:gd name="connsiteX4" fmla="*/ 16505 w 24737"/>
                    <a:gd name="connsiteY4" fmla="*/ 12626 h 12632"/>
                    <a:gd name="connsiteX5" fmla="*/ 19362 w 24737"/>
                    <a:gd name="connsiteY5" fmla="*/ 11102 h 12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37" h="12632">
                      <a:moveTo>
                        <a:pt x="19362" y="11102"/>
                      </a:moveTo>
                      <a:cubicBezTo>
                        <a:pt x="19362" y="11102"/>
                        <a:pt x="24696" y="5101"/>
                        <a:pt x="24696" y="4815"/>
                      </a:cubicBezTo>
                      <a:cubicBezTo>
                        <a:pt x="25173" y="2720"/>
                        <a:pt x="21458" y="910"/>
                        <a:pt x="14981" y="148"/>
                      </a:cubicBezTo>
                      <a:cubicBezTo>
                        <a:pt x="7932" y="-519"/>
                        <a:pt x="-3402" y="1005"/>
                        <a:pt x="979" y="6053"/>
                      </a:cubicBezTo>
                      <a:cubicBezTo>
                        <a:pt x="3456" y="8911"/>
                        <a:pt x="12695" y="12816"/>
                        <a:pt x="16505" y="12626"/>
                      </a:cubicBezTo>
                      <a:cubicBezTo>
                        <a:pt x="17838" y="12626"/>
                        <a:pt x="18410" y="11959"/>
                        <a:pt x="19362" y="11102"/>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Segoe UI"/>
                    <a:ea typeface="+mn-ea"/>
                    <a:cs typeface="+mn-cs"/>
                  </a:endParaRPr>
                </a:p>
              </p:txBody>
            </p:sp>
            <p:sp>
              <p:nvSpPr>
                <p:cNvPr id="49" name="Freeform: Shape 48">
                  <a:extLst>
                    <a:ext uri="{FF2B5EF4-FFF2-40B4-BE49-F238E27FC236}">
                      <a16:creationId xmlns:a16="http://schemas.microsoft.com/office/drawing/2014/main" id="{9F8F2642-F17B-0C54-1156-D4A67E36638B}"/>
                    </a:ext>
                  </a:extLst>
                </p:cNvPr>
                <p:cNvSpPr/>
                <p:nvPr/>
              </p:nvSpPr>
              <p:spPr>
                <a:xfrm>
                  <a:off x="10028887" y="3051715"/>
                  <a:ext cx="13934" cy="44100"/>
                </a:xfrm>
                <a:custGeom>
                  <a:avLst/>
                  <a:gdLst>
                    <a:gd name="connsiteX0" fmla="*/ 1794 w 13934"/>
                    <a:gd name="connsiteY0" fmla="*/ 23908 h 44100"/>
                    <a:gd name="connsiteX1" fmla="*/ 80 w 13934"/>
                    <a:gd name="connsiteY1" fmla="*/ 28099 h 44100"/>
                    <a:gd name="connsiteX2" fmla="*/ 1985 w 13934"/>
                    <a:gd name="connsiteY2" fmla="*/ 31718 h 44100"/>
                    <a:gd name="connsiteX3" fmla="*/ 12939 w 13934"/>
                    <a:gd name="connsiteY3" fmla="*/ 44101 h 44100"/>
                    <a:gd name="connsiteX4" fmla="*/ 11129 w 13934"/>
                    <a:gd name="connsiteY4" fmla="*/ 15621 h 44100"/>
                    <a:gd name="connsiteX5" fmla="*/ 5890 w 13934"/>
                    <a:gd name="connsiteY5" fmla="*/ 0 h 44100"/>
                    <a:gd name="connsiteX6" fmla="*/ 5604 w 13934"/>
                    <a:gd name="connsiteY6" fmla="*/ 0 h 44100"/>
                    <a:gd name="connsiteX7" fmla="*/ 5033 w 13934"/>
                    <a:gd name="connsiteY7" fmla="*/ 1429 h 44100"/>
                    <a:gd name="connsiteX8" fmla="*/ 4843 w 13934"/>
                    <a:gd name="connsiteY8" fmla="*/ 2286 h 44100"/>
                    <a:gd name="connsiteX9" fmla="*/ 5604 w 13934"/>
                    <a:gd name="connsiteY9" fmla="*/ 15716 h 44100"/>
                    <a:gd name="connsiteX10" fmla="*/ 1985 w 13934"/>
                    <a:gd name="connsiteY10" fmla="*/ 23908 h 44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934" h="44100">
                      <a:moveTo>
                        <a:pt x="1794" y="23908"/>
                      </a:moveTo>
                      <a:cubicBezTo>
                        <a:pt x="747" y="24860"/>
                        <a:pt x="-301" y="25813"/>
                        <a:pt x="80" y="28099"/>
                      </a:cubicBezTo>
                      <a:cubicBezTo>
                        <a:pt x="175" y="28956"/>
                        <a:pt x="1033" y="30575"/>
                        <a:pt x="1985" y="31718"/>
                      </a:cubicBezTo>
                      <a:cubicBezTo>
                        <a:pt x="1985" y="31813"/>
                        <a:pt x="12177" y="43815"/>
                        <a:pt x="12939" y="44101"/>
                      </a:cubicBezTo>
                      <a:cubicBezTo>
                        <a:pt x="15225" y="42958"/>
                        <a:pt x="13129" y="24955"/>
                        <a:pt x="11129" y="15621"/>
                      </a:cubicBezTo>
                      <a:cubicBezTo>
                        <a:pt x="11129" y="15431"/>
                        <a:pt x="7891" y="1238"/>
                        <a:pt x="5890" y="0"/>
                      </a:cubicBezTo>
                      <a:cubicBezTo>
                        <a:pt x="5890" y="0"/>
                        <a:pt x="5700" y="0"/>
                        <a:pt x="5604" y="0"/>
                      </a:cubicBezTo>
                      <a:cubicBezTo>
                        <a:pt x="5509" y="191"/>
                        <a:pt x="5128" y="571"/>
                        <a:pt x="5033" y="1429"/>
                      </a:cubicBezTo>
                      <a:cubicBezTo>
                        <a:pt x="5033" y="1715"/>
                        <a:pt x="4843" y="2096"/>
                        <a:pt x="4843" y="2286"/>
                      </a:cubicBezTo>
                      <a:cubicBezTo>
                        <a:pt x="4080" y="6858"/>
                        <a:pt x="5604" y="11240"/>
                        <a:pt x="5604" y="15716"/>
                      </a:cubicBezTo>
                      <a:cubicBezTo>
                        <a:pt x="5604" y="20669"/>
                        <a:pt x="3509" y="22574"/>
                        <a:pt x="1985" y="23908"/>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Segoe UI"/>
                    <a:ea typeface="+mn-ea"/>
                    <a:cs typeface="+mn-cs"/>
                  </a:endParaRPr>
                </a:p>
              </p:txBody>
            </p:sp>
            <p:sp>
              <p:nvSpPr>
                <p:cNvPr id="50" name="Freeform: Shape 49">
                  <a:extLst>
                    <a:ext uri="{FF2B5EF4-FFF2-40B4-BE49-F238E27FC236}">
                      <a16:creationId xmlns:a16="http://schemas.microsoft.com/office/drawing/2014/main" id="{D75DAE33-B171-5E6B-6361-E0FCBF34EAD8}"/>
                    </a:ext>
                  </a:extLst>
                </p:cNvPr>
                <p:cNvSpPr/>
                <p:nvPr/>
              </p:nvSpPr>
              <p:spPr>
                <a:xfrm>
                  <a:off x="10292586" y="3317543"/>
                  <a:ext cx="16511" cy="21034"/>
                </a:xfrm>
                <a:custGeom>
                  <a:avLst/>
                  <a:gdLst>
                    <a:gd name="connsiteX0" fmla="*/ 7843 w 16511"/>
                    <a:gd name="connsiteY0" fmla="*/ 20303 h 21034"/>
                    <a:gd name="connsiteX1" fmla="*/ 14320 w 16511"/>
                    <a:gd name="connsiteY1" fmla="*/ 20875 h 21034"/>
                    <a:gd name="connsiteX2" fmla="*/ 16511 w 16511"/>
                    <a:gd name="connsiteY2" fmla="*/ 6302 h 21034"/>
                    <a:gd name="connsiteX3" fmla="*/ 16511 w 16511"/>
                    <a:gd name="connsiteY3" fmla="*/ 5444 h 21034"/>
                    <a:gd name="connsiteX4" fmla="*/ 15844 w 16511"/>
                    <a:gd name="connsiteY4" fmla="*/ 3730 h 21034"/>
                    <a:gd name="connsiteX5" fmla="*/ 10891 w 16511"/>
                    <a:gd name="connsiteY5" fmla="*/ 4873 h 21034"/>
                    <a:gd name="connsiteX6" fmla="*/ 7176 w 16511"/>
                    <a:gd name="connsiteY6" fmla="*/ 3634 h 21034"/>
                    <a:gd name="connsiteX7" fmla="*/ 2890 w 16511"/>
                    <a:gd name="connsiteY7" fmla="*/ 206 h 21034"/>
                    <a:gd name="connsiteX8" fmla="*/ 604 w 16511"/>
                    <a:gd name="connsiteY8" fmla="*/ 777 h 21034"/>
                    <a:gd name="connsiteX9" fmla="*/ 4795 w 16511"/>
                    <a:gd name="connsiteY9" fmla="*/ 18017 h 21034"/>
                    <a:gd name="connsiteX10" fmla="*/ 7843 w 16511"/>
                    <a:gd name="connsiteY10" fmla="*/ 20208 h 21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511" h="21034">
                      <a:moveTo>
                        <a:pt x="7843" y="20303"/>
                      </a:moveTo>
                      <a:cubicBezTo>
                        <a:pt x="7843" y="20303"/>
                        <a:pt x="13844" y="21446"/>
                        <a:pt x="14320" y="20875"/>
                      </a:cubicBezTo>
                      <a:cubicBezTo>
                        <a:pt x="15273" y="19922"/>
                        <a:pt x="16511" y="6397"/>
                        <a:pt x="16511" y="6302"/>
                      </a:cubicBezTo>
                      <a:cubicBezTo>
                        <a:pt x="16511" y="6016"/>
                        <a:pt x="16511" y="5730"/>
                        <a:pt x="16511" y="5444"/>
                      </a:cubicBezTo>
                      <a:cubicBezTo>
                        <a:pt x="16511" y="4016"/>
                        <a:pt x="16225" y="3920"/>
                        <a:pt x="15844" y="3730"/>
                      </a:cubicBezTo>
                      <a:cubicBezTo>
                        <a:pt x="14130" y="3730"/>
                        <a:pt x="12606" y="4873"/>
                        <a:pt x="10891" y="4873"/>
                      </a:cubicBezTo>
                      <a:cubicBezTo>
                        <a:pt x="9748" y="4873"/>
                        <a:pt x="8415" y="4396"/>
                        <a:pt x="7176" y="3634"/>
                      </a:cubicBezTo>
                      <a:cubicBezTo>
                        <a:pt x="5652" y="2682"/>
                        <a:pt x="4605" y="967"/>
                        <a:pt x="2890" y="206"/>
                      </a:cubicBezTo>
                      <a:cubicBezTo>
                        <a:pt x="1461" y="-366"/>
                        <a:pt x="890" y="396"/>
                        <a:pt x="604" y="777"/>
                      </a:cubicBezTo>
                      <a:cubicBezTo>
                        <a:pt x="-1015" y="2873"/>
                        <a:pt x="700" y="13350"/>
                        <a:pt x="4795" y="18017"/>
                      </a:cubicBezTo>
                      <a:cubicBezTo>
                        <a:pt x="6034" y="19541"/>
                        <a:pt x="7272" y="20017"/>
                        <a:pt x="7843" y="20208"/>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Segoe UI"/>
                    <a:ea typeface="+mn-ea"/>
                    <a:cs typeface="+mn-cs"/>
                  </a:endParaRPr>
                </a:p>
              </p:txBody>
            </p:sp>
            <p:sp>
              <p:nvSpPr>
                <p:cNvPr id="51" name="Freeform: Shape 50">
                  <a:extLst>
                    <a:ext uri="{FF2B5EF4-FFF2-40B4-BE49-F238E27FC236}">
                      <a16:creationId xmlns:a16="http://schemas.microsoft.com/office/drawing/2014/main" id="{23F18718-6E45-4D85-CC07-5C44623D136D}"/>
                    </a:ext>
                  </a:extLst>
                </p:cNvPr>
                <p:cNvSpPr/>
                <p:nvPr/>
              </p:nvSpPr>
              <p:spPr>
                <a:xfrm>
                  <a:off x="8317610" y="2483835"/>
                  <a:ext cx="112395" cy="85439"/>
                </a:xfrm>
                <a:custGeom>
                  <a:avLst/>
                  <a:gdLst>
                    <a:gd name="connsiteX0" fmla="*/ 43434 w 112395"/>
                    <a:gd name="connsiteY0" fmla="*/ 52007 h 85439"/>
                    <a:gd name="connsiteX1" fmla="*/ 43910 w 112395"/>
                    <a:gd name="connsiteY1" fmla="*/ 52483 h 85439"/>
                    <a:gd name="connsiteX2" fmla="*/ 45434 w 112395"/>
                    <a:gd name="connsiteY2" fmla="*/ 51911 h 85439"/>
                    <a:gd name="connsiteX3" fmla="*/ 66008 w 112395"/>
                    <a:gd name="connsiteY3" fmla="*/ 35814 h 85439"/>
                    <a:gd name="connsiteX4" fmla="*/ 105632 w 112395"/>
                    <a:gd name="connsiteY4" fmla="*/ 10001 h 85439"/>
                    <a:gd name="connsiteX5" fmla="*/ 112395 w 112395"/>
                    <a:gd name="connsiteY5" fmla="*/ 762 h 85439"/>
                    <a:gd name="connsiteX6" fmla="*/ 112109 w 112395"/>
                    <a:gd name="connsiteY6" fmla="*/ 0 h 85439"/>
                    <a:gd name="connsiteX7" fmla="*/ 100394 w 112395"/>
                    <a:gd name="connsiteY7" fmla="*/ 6191 h 85439"/>
                    <a:gd name="connsiteX8" fmla="*/ 104204 w 112395"/>
                    <a:gd name="connsiteY8" fmla="*/ 1048 h 85439"/>
                    <a:gd name="connsiteX9" fmla="*/ 103727 w 112395"/>
                    <a:gd name="connsiteY9" fmla="*/ 762 h 85439"/>
                    <a:gd name="connsiteX10" fmla="*/ 102203 w 112395"/>
                    <a:gd name="connsiteY10" fmla="*/ 1238 h 85439"/>
                    <a:gd name="connsiteX11" fmla="*/ 16002 w 112395"/>
                    <a:gd name="connsiteY11" fmla="*/ 65627 h 85439"/>
                    <a:gd name="connsiteX12" fmla="*/ 0 w 112395"/>
                    <a:gd name="connsiteY12" fmla="*/ 85154 h 85439"/>
                    <a:gd name="connsiteX13" fmla="*/ 667 w 112395"/>
                    <a:gd name="connsiteY13" fmla="*/ 85439 h 85439"/>
                    <a:gd name="connsiteX14" fmla="*/ 43625 w 112395"/>
                    <a:gd name="connsiteY14" fmla="*/ 52007 h 85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2395" h="85439">
                      <a:moveTo>
                        <a:pt x="43434" y="52007"/>
                      </a:moveTo>
                      <a:cubicBezTo>
                        <a:pt x="43434" y="52007"/>
                        <a:pt x="43720" y="52292"/>
                        <a:pt x="43910" y="52483"/>
                      </a:cubicBezTo>
                      <a:cubicBezTo>
                        <a:pt x="44387" y="52483"/>
                        <a:pt x="45053" y="52197"/>
                        <a:pt x="45434" y="51911"/>
                      </a:cubicBezTo>
                      <a:cubicBezTo>
                        <a:pt x="52578" y="46958"/>
                        <a:pt x="58865" y="40767"/>
                        <a:pt x="66008" y="35814"/>
                      </a:cubicBezTo>
                      <a:cubicBezTo>
                        <a:pt x="78962" y="26765"/>
                        <a:pt x="92869" y="19336"/>
                        <a:pt x="105632" y="10001"/>
                      </a:cubicBezTo>
                      <a:cubicBezTo>
                        <a:pt x="107604" y="8541"/>
                        <a:pt x="109852" y="5461"/>
                        <a:pt x="112395" y="762"/>
                      </a:cubicBezTo>
                      <a:cubicBezTo>
                        <a:pt x="112395" y="762"/>
                        <a:pt x="112204" y="191"/>
                        <a:pt x="112109" y="0"/>
                      </a:cubicBezTo>
                      <a:cubicBezTo>
                        <a:pt x="107633" y="953"/>
                        <a:pt x="104299" y="4096"/>
                        <a:pt x="100394" y="6191"/>
                      </a:cubicBezTo>
                      <a:cubicBezTo>
                        <a:pt x="102556" y="4286"/>
                        <a:pt x="103823" y="2572"/>
                        <a:pt x="104204" y="1048"/>
                      </a:cubicBezTo>
                      <a:cubicBezTo>
                        <a:pt x="104204" y="1048"/>
                        <a:pt x="103823" y="857"/>
                        <a:pt x="103727" y="762"/>
                      </a:cubicBezTo>
                      <a:cubicBezTo>
                        <a:pt x="103251" y="857"/>
                        <a:pt x="102679" y="1048"/>
                        <a:pt x="102203" y="1238"/>
                      </a:cubicBezTo>
                      <a:cubicBezTo>
                        <a:pt x="91599" y="5684"/>
                        <a:pt x="62865" y="27146"/>
                        <a:pt x="16002" y="65627"/>
                      </a:cubicBezTo>
                      <a:cubicBezTo>
                        <a:pt x="9906" y="70676"/>
                        <a:pt x="5048" y="74676"/>
                        <a:pt x="0" y="85154"/>
                      </a:cubicBezTo>
                      <a:cubicBezTo>
                        <a:pt x="191" y="85154"/>
                        <a:pt x="476" y="85344"/>
                        <a:pt x="667" y="85439"/>
                      </a:cubicBezTo>
                      <a:cubicBezTo>
                        <a:pt x="17526" y="77534"/>
                        <a:pt x="29242" y="63151"/>
                        <a:pt x="43625" y="52007"/>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Segoe UI"/>
                    <a:ea typeface="+mn-ea"/>
                    <a:cs typeface="+mn-cs"/>
                  </a:endParaRPr>
                </a:p>
              </p:txBody>
            </p:sp>
            <p:sp>
              <p:nvSpPr>
                <p:cNvPr id="52" name="Freeform: Shape 51">
                  <a:extLst>
                    <a:ext uri="{FF2B5EF4-FFF2-40B4-BE49-F238E27FC236}">
                      <a16:creationId xmlns:a16="http://schemas.microsoft.com/office/drawing/2014/main" id="{461E574D-221B-A84A-E108-7E29E63155F5}"/>
                    </a:ext>
                  </a:extLst>
                </p:cNvPr>
                <p:cNvSpPr/>
                <p:nvPr/>
              </p:nvSpPr>
              <p:spPr>
                <a:xfrm>
                  <a:off x="8458132" y="2409444"/>
                  <a:ext cx="98270" cy="59730"/>
                </a:xfrm>
                <a:custGeom>
                  <a:avLst/>
                  <a:gdLst>
                    <a:gd name="connsiteX0" fmla="*/ 1401 w 98270"/>
                    <a:gd name="connsiteY0" fmla="*/ 59722 h 59730"/>
                    <a:gd name="connsiteX1" fmla="*/ 14164 w 98270"/>
                    <a:gd name="connsiteY1" fmla="*/ 53721 h 59730"/>
                    <a:gd name="connsiteX2" fmla="*/ 47026 w 98270"/>
                    <a:gd name="connsiteY2" fmla="*/ 36767 h 59730"/>
                    <a:gd name="connsiteX3" fmla="*/ 67981 w 98270"/>
                    <a:gd name="connsiteY3" fmla="*/ 28670 h 59730"/>
                    <a:gd name="connsiteX4" fmla="*/ 93603 w 98270"/>
                    <a:gd name="connsiteY4" fmla="*/ 11811 h 59730"/>
                    <a:gd name="connsiteX5" fmla="*/ 98175 w 98270"/>
                    <a:gd name="connsiteY5" fmla="*/ 7906 h 59730"/>
                    <a:gd name="connsiteX6" fmla="*/ 92079 w 98270"/>
                    <a:gd name="connsiteY6" fmla="*/ 9525 h 59730"/>
                    <a:gd name="connsiteX7" fmla="*/ 74458 w 98270"/>
                    <a:gd name="connsiteY7" fmla="*/ 21336 h 59730"/>
                    <a:gd name="connsiteX8" fmla="*/ 98270 w 98270"/>
                    <a:gd name="connsiteY8" fmla="*/ 0 h 59730"/>
                    <a:gd name="connsiteX9" fmla="*/ 97413 w 98270"/>
                    <a:gd name="connsiteY9" fmla="*/ 0 h 59730"/>
                    <a:gd name="connsiteX10" fmla="*/ 71314 w 98270"/>
                    <a:gd name="connsiteY10" fmla="*/ 16478 h 59730"/>
                    <a:gd name="connsiteX11" fmla="*/ 48169 w 98270"/>
                    <a:gd name="connsiteY11" fmla="*/ 30004 h 59730"/>
                    <a:gd name="connsiteX12" fmla="*/ 47788 w 98270"/>
                    <a:gd name="connsiteY12" fmla="*/ 29623 h 59730"/>
                    <a:gd name="connsiteX13" fmla="*/ 49312 w 98270"/>
                    <a:gd name="connsiteY13" fmla="*/ 28004 h 59730"/>
                    <a:gd name="connsiteX14" fmla="*/ 49788 w 98270"/>
                    <a:gd name="connsiteY14" fmla="*/ 27527 h 59730"/>
                    <a:gd name="connsiteX15" fmla="*/ 57598 w 98270"/>
                    <a:gd name="connsiteY15" fmla="*/ 18859 h 59730"/>
                    <a:gd name="connsiteX16" fmla="*/ 5306 w 98270"/>
                    <a:gd name="connsiteY16" fmla="*/ 50959 h 59730"/>
                    <a:gd name="connsiteX17" fmla="*/ 30166 w 98270"/>
                    <a:gd name="connsiteY17" fmla="*/ 37433 h 59730"/>
                    <a:gd name="connsiteX18" fmla="*/ 19594 w 98270"/>
                    <a:gd name="connsiteY18" fmla="*/ 45720 h 59730"/>
                    <a:gd name="connsiteX19" fmla="*/ 26356 w 98270"/>
                    <a:gd name="connsiteY19" fmla="*/ 42481 h 59730"/>
                    <a:gd name="connsiteX20" fmla="*/ 37215 w 98270"/>
                    <a:gd name="connsiteY20" fmla="*/ 37719 h 59730"/>
                    <a:gd name="connsiteX21" fmla="*/ 3020 w 98270"/>
                    <a:gd name="connsiteY21" fmla="*/ 55721 h 59730"/>
                    <a:gd name="connsiteX22" fmla="*/ 1306 w 98270"/>
                    <a:gd name="connsiteY22" fmla="*/ 59722 h 59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8270" h="59730">
                      <a:moveTo>
                        <a:pt x="1401" y="59722"/>
                      </a:moveTo>
                      <a:cubicBezTo>
                        <a:pt x="3115" y="59912"/>
                        <a:pt x="8735" y="56769"/>
                        <a:pt x="14164" y="53721"/>
                      </a:cubicBezTo>
                      <a:cubicBezTo>
                        <a:pt x="35881" y="41529"/>
                        <a:pt x="46930" y="36767"/>
                        <a:pt x="47026" y="36767"/>
                      </a:cubicBezTo>
                      <a:cubicBezTo>
                        <a:pt x="53979" y="34100"/>
                        <a:pt x="61313" y="32195"/>
                        <a:pt x="67981" y="28670"/>
                      </a:cubicBezTo>
                      <a:cubicBezTo>
                        <a:pt x="73315" y="25908"/>
                        <a:pt x="93412" y="11906"/>
                        <a:pt x="93603" y="11811"/>
                      </a:cubicBezTo>
                      <a:cubicBezTo>
                        <a:pt x="97508" y="9144"/>
                        <a:pt x="97794" y="8668"/>
                        <a:pt x="98175" y="7906"/>
                      </a:cubicBezTo>
                      <a:cubicBezTo>
                        <a:pt x="95413" y="7715"/>
                        <a:pt x="92174" y="9525"/>
                        <a:pt x="92079" y="9525"/>
                      </a:cubicBezTo>
                      <a:cubicBezTo>
                        <a:pt x="85888" y="13049"/>
                        <a:pt x="80649" y="17812"/>
                        <a:pt x="74458" y="21336"/>
                      </a:cubicBezTo>
                      <a:cubicBezTo>
                        <a:pt x="82078" y="13811"/>
                        <a:pt x="90936" y="7715"/>
                        <a:pt x="98270" y="0"/>
                      </a:cubicBezTo>
                      <a:cubicBezTo>
                        <a:pt x="97984" y="0"/>
                        <a:pt x="97699" y="0"/>
                        <a:pt x="97413" y="0"/>
                      </a:cubicBezTo>
                      <a:cubicBezTo>
                        <a:pt x="97127" y="95"/>
                        <a:pt x="72076" y="13049"/>
                        <a:pt x="71314" y="16478"/>
                      </a:cubicBezTo>
                      <a:cubicBezTo>
                        <a:pt x="70743" y="19050"/>
                        <a:pt x="67314" y="25527"/>
                        <a:pt x="48169" y="30004"/>
                      </a:cubicBezTo>
                      <a:cubicBezTo>
                        <a:pt x="48073" y="29908"/>
                        <a:pt x="47883" y="29718"/>
                        <a:pt x="47788" y="29623"/>
                      </a:cubicBezTo>
                      <a:cubicBezTo>
                        <a:pt x="48264" y="29051"/>
                        <a:pt x="48740" y="28480"/>
                        <a:pt x="49312" y="28004"/>
                      </a:cubicBezTo>
                      <a:cubicBezTo>
                        <a:pt x="49502" y="27813"/>
                        <a:pt x="49693" y="27623"/>
                        <a:pt x="49788" y="27527"/>
                      </a:cubicBezTo>
                      <a:cubicBezTo>
                        <a:pt x="52455" y="24670"/>
                        <a:pt x="61313" y="22955"/>
                        <a:pt x="57598" y="18859"/>
                      </a:cubicBezTo>
                      <a:cubicBezTo>
                        <a:pt x="57122" y="18955"/>
                        <a:pt x="5687" y="43815"/>
                        <a:pt x="5306" y="50959"/>
                      </a:cubicBezTo>
                      <a:cubicBezTo>
                        <a:pt x="5306" y="50959"/>
                        <a:pt x="13593" y="46451"/>
                        <a:pt x="30166" y="37433"/>
                      </a:cubicBezTo>
                      <a:cubicBezTo>
                        <a:pt x="27690" y="41529"/>
                        <a:pt x="23118" y="42958"/>
                        <a:pt x="19594" y="45720"/>
                      </a:cubicBezTo>
                      <a:cubicBezTo>
                        <a:pt x="20260" y="45720"/>
                        <a:pt x="20356" y="45720"/>
                        <a:pt x="26356" y="42481"/>
                      </a:cubicBezTo>
                      <a:cubicBezTo>
                        <a:pt x="27976" y="41624"/>
                        <a:pt x="31024" y="40005"/>
                        <a:pt x="37215" y="37719"/>
                      </a:cubicBezTo>
                      <a:cubicBezTo>
                        <a:pt x="31595" y="41529"/>
                        <a:pt x="13307" y="51149"/>
                        <a:pt x="3020" y="55721"/>
                      </a:cubicBezTo>
                      <a:cubicBezTo>
                        <a:pt x="-599" y="57341"/>
                        <a:pt x="-695" y="59531"/>
                        <a:pt x="1306" y="59722"/>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Segoe UI"/>
                    <a:ea typeface="+mn-ea"/>
                    <a:cs typeface="+mn-cs"/>
                  </a:endParaRPr>
                </a:p>
              </p:txBody>
            </p:sp>
            <p:sp>
              <p:nvSpPr>
                <p:cNvPr id="53" name="Freeform: Shape 52">
                  <a:extLst>
                    <a:ext uri="{FF2B5EF4-FFF2-40B4-BE49-F238E27FC236}">
                      <a16:creationId xmlns:a16="http://schemas.microsoft.com/office/drawing/2014/main" id="{4BBAEB8D-0EFF-A66C-6A3E-F1A5C7450B1D}"/>
                    </a:ext>
                  </a:extLst>
                </p:cNvPr>
                <p:cNvSpPr/>
                <p:nvPr/>
              </p:nvSpPr>
              <p:spPr>
                <a:xfrm>
                  <a:off x="8314251" y="2481739"/>
                  <a:ext cx="156343" cy="124301"/>
                </a:xfrm>
                <a:custGeom>
                  <a:avLst/>
                  <a:gdLst>
                    <a:gd name="connsiteX0" fmla="*/ 2312 w 156343"/>
                    <a:gd name="connsiteY0" fmla="*/ 114776 h 124301"/>
                    <a:gd name="connsiteX1" fmla="*/ 12408 w 156343"/>
                    <a:gd name="connsiteY1" fmla="*/ 112586 h 124301"/>
                    <a:gd name="connsiteX2" fmla="*/ 12980 w 156343"/>
                    <a:gd name="connsiteY2" fmla="*/ 113252 h 124301"/>
                    <a:gd name="connsiteX3" fmla="*/ 4979 w 156343"/>
                    <a:gd name="connsiteY3" fmla="*/ 124301 h 124301"/>
                    <a:gd name="connsiteX4" fmla="*/ 63367 w 156343"/>
                    <a:gd name="connsiteY4" fmla="*/ 93250 h 124301"/>
                    <a:gd name="connsiteX5" fmla="*/ 75749 w 156343"/>
                    <a:gd name="connsiteY5" fmla="*/ 84772 h 124301"/>
                    <a:gd name="connsiteX6" fmla="*/ 76511 w 156343"/>
                    <a:gd name="connsiteY6" fmla="*/ 85249 h 124301"/>
                    <a:gd name="connsiteX7" fmla="*/ 74702 w 156343"/>
                    <a:gd name="connsiteY7" fmla="*/ 88963 h 124301"/>
                    <a:gd name="connsiteX8" fmla="*/ 89561 w 156343"/>
                    <a:gd name="connsiteY8" fmla="*/ 93440 h 124301"/>
                    <a:gd name="connsiteX9" fmla="*/ 113849 w 156343"/>
                    <a:gd name="connsiteY9" fmla="*/ 75819 h 124301"/>
                    <a:gd name="connsiteX10" fmla="*/ 114421 w 156343"/>
                    <a:gd name="connsiteY10" fmla="*/ 75152 h 124301"/>
                    <a:gd name="connsiteX11" fmla="*/ 101753 w 156343"/>
                    <a:gd name="connsiteY11" fmla="*/ 81058 h 124301"/>
                    <a:gd name="connsiteX12" fmla="*/ 123279 w 156343"/>
                    <a:gd name="connsiteY12" fmla="*/ 68294 h 124301"/>
                    <a:gd name="connsiteX13" fmla="*/ 127851 w 156343"/>
                    <a:gd name="connsiteY13" fmla="*/ 67437 h 124301"/>
                    <a:gd name="connsiteX14" fmla="*/ 133090 w 156343"/>
                    <a:gd name="connsiteY14" fmla="*/ 56578 h 124301"/>
                    <a:gd name="connsiteX15" fmla="*/ 127375 w 156343"/>
                    <a:gd name="connsiteY15" fmla="*/ 41529 h 124301"/>
                    <a:gd name="connsiteX16" fmla="*/ 156331 w 156343"/>
                    <a:gd name="connsiteY16" fmla="*/ 2476 h 124301"/>
                    <a:gd name="connsiteX17" fmla="*/ 152426 w 156343"/>
                    <a:gd name="connsiteY17" fmla="*/ 1238 h 124301"/>
                    <a:gd name="connsiteX18" fmla="*/ 151949 w 156343"/>
                    <a:gd name="connsiteY18" fmla="*/ 0 h 124301"/>
                    <a:gd name="connsiteX19" fmla="*/ 151664 w 156343"/>
                    <a:gd name="connsiteY19" fmla="*/ 190 h 124301"/>
                    <a:gd name="connsiteX20" fmla="*/ 116612 w 156343"/>
                    <a:gd name="connsiteY20" fmla="*/ 33338 h 124301"/>
                    <a:gd name="connsiteX21" fmla="*/ 123089 w 156343"/>
                    <a:gd name="connsiteY21" fmla="*/ 21241 h 124301"/>
                    <a:gd name="connsiteX22" fmla="*/ 122041 w 156343"/>
                    <a:gd name="connsiteY22" fmla="*/ 20479 h 124301"/>
                    <a:gd name="connsiteX23" fmla="*/ 105658 w 156343"/>
                    <a:gd name="connsiteY23" fmla="*/ 28194 h 124301"/>
                    <a:gd name="connsiteX24" fmla="*/ 111659 w 156343"/>
                    <a:gd name="connsiteY24" fmla="*/ 20955 h 124301"/>
                    <a:gd name="connsiteX25" fmla="*/ 111087 w 156343"/>
                    <a:gd name="connsiteY25" fmla="*/ 20383 h 124301"/>
                    <a:gd name="connsiteX26" fmla="*/ 89370 w 156343"/>
                    <a:gd name="connsiteY26" fmla="*/ 32004 h 124301"/>
                    <a:gd name="connsiteX27" fmla="*/ 107372 w 156343"/>
                    <a:gd name="connsiteY27" fmla="*/ 16669 h 124301"/>
                    <a:gd name="connsiteX28" fmla="*/ 40888 w 156343"/>
                    <a:gd name="connsiteY28" fmla="*/ 65627 h 124301"/>
                    <a:gd name="connsiteX29" fmla="*/ 43364 w 156343"/>
                    <a:gd name="connsiteY29" fmla="*/ 66961 h 124301"/>
                    <a:gd name="connsiteX30" fmla="*/ 34601 w 156343"/>
                    <a:gd name="connsiteY30" fmla="*/ 73628 h 124301"/>
                    <a:gd name="connsiteX31" fmla="*/ 21552 w 156343"/>
                    <a:gd name="connsiteY31" fmla="*/ 84487 h 124301"/>
                    <a:gd name="connsiteX32" fmla="*/ 23838 w 156343"/>
                    <a:gd name="connsiteY32" fmla="*/ 84772 h 124301"/>
                    <a:gd name="connsiteX33" fmla="*/ 43460 w 156343"/>
                    <a:gd name="connsiteY33" fmla="*/ 77152 h 124301"/>
                    <a:gd name="connsiteX34" fmla="*/ 58319 w 156343"/>
                    <a:gd name="connsiteY34" fmla="*/ 77152 h 124301"/>
                    <a:gd name="connsiteX35" fmla="*/ 32696 w 156343"/>
                    <a:gd name="connsiteY35" fmla="*/ 89059 h 124301"/>
                    <a:gd name="connsiteX36" fmla="*/ 2407 w 156343"/>
                    <a:gd name="connsiteY36" fmla="*/ 115062 h 124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56343" h="124301">
                      <a:moveTo>
                        <a:pt x="2312" y="114776"/>
                      </a:moveTo>
                      <a:cubicBezTo>
                        <a:pt x="6026" y="115729"/>
                        <a:pt x="8884" y="112395"/>
                        <a:pt x="12408" y="112586"/>
                      </a:cubicBezTo>
                      <a:cubicBezTo>
                        <a:pt x="12599" y="112776"/>
                        <a:pt x="12789" y="113062"/>
                        <a:pt x="12980" y="113252"/>
                      </a:cubicBezTo>
                      <a:cubicBezTo>
                        <a:pt x="11360" y="117634"/>
                        <a:pt x="7169" y="120205"/>
                        <a:pt x="4979" y="124301"/>
                      </a:cubicBezTo>
                      <a:cubicBezTo>
                        <a:pt x="9265" y="124301"/>
                        <a:pt x="43745" y="108966"/>
                        <a:pt x="63367" y="93250"/>
                      </a:cubicBezTo>
                      <a:cubicBezTo>
                        <a:pt x="69653" y="88201"/>
                        <a:pt x="72225" y="86106"/>
                        <a:pt x="75749" y="84772"/>
                      </a:cubicBezTo>
                      <a:cubicBezTo>
                        <a:pt x="75940" y="84868"/>
                        <a:pt x="76226" y="85058"/>
                        <a:pt x="76511" y="85249"/>
                      </a:cubicBezTo>
                      <a:cubicBezTo>
                        <a:pt x="75432" y="87280"/>
                        <a:pt x="74828" y="88519"/>
                        <a:pt x="74702" y="88963"/>
                      </a:cubicBezTo>
                      <a:cubicBezTo>
                        <a:pt x="76321" y="90583"/>
                        <a:pt x="89465" y="93440"/>
                        <a:pt x="89561" y="93440"/>
                      </a:cubicBezTo>
                      <a:cubicBezTo>
                        <a:pt x="97752" y="90647"/>
                        <a:pt x="105848" y="84772"/>
                        <a:pt x="113849" y="75819"/>
                      </a:cubicBezTo>
                      <a:cubicBezTo>
                        <a:pt x="114230" y="75343"/>
                        <a:pt x="114326" y="75247"/>
                        <a:pt x="114421" y="75152"/>
                      </a:cubicBezTo>
                      <a:cubicBezTo>
                        <a:pt x="113592" y="74962"/>
                        <a:pt x="109373" y="76931"/>
                        <a:pt x="101753" y="81058"/>
                      </a:cubicBezTo>
                      <a:cubicBezTo>
                        <a:pt x="102991" y="76962"/>
                        <a:pt x="114992" y="67913"/>
                        <a:pt x="123279" y="68294"/>
                      </a:cubicBezTo>
                      <a:cubicBezTo>
                        <a:pt x="126232" y="68485"/>
                        <a:pt x="126803" y="68294"/>
                        <a:pt x="127851" y="67437"/>
                      </a:cubicBezTo>
                      <a:cubicBezTo>
                        <a:pt x="127851" y="67437"/>
                        <a:pt x="134138" y="61722"/>
                        <a:pt x="133090" y="56578"/>
                      </a:cubicBezTo>
                      <a:cubicBezTo>
                        <a:pt x="126613" y="52864"/>
                        <a:pt x="123946" y="45720"/>
                        <a:pt x="127375" y="41529"/>
                      </a:cubicBezTo>
                      <a:cubicBezTo>
                        <a:pt x="130423" y="37814"/>
                        <a:pt x="156998" y="5143"/>
                        <a:pt x="156331" y="2476"/>
                      </a:cubicBezTo>
                      <a:cubicBezTo>
                        <a:pt x="155093" y="1810"/>
                        <a:pt x="153759" y="1619"/>
                        <a:pt x="152426" y="1238"/>
                      </a:cubicBezTo>
                      <a:cubicBezTo>
                        <a:pt x="152235" y="857"/>
                        <a:pt x="152045" y="286"/>
                        <a:pt x="151949" y="0"/>
                      </a:cubicBezTo>
                      <a:cubicBezTo>
                        <a:pt x="151949" y="0"/>
                        <a:pt x="151759" y="190"/>
                        <a:pt x="151664" y="190"/>
                      </a:cubicBezTo>
                      <a:cubicBezTo>
                        <a:pt x="139376" y="10573"/>
                        <a:pt x="130994" y="25146"/>
                        <a:pt x="116612" y="33338"/>
                      </a:cubicBezTo>
                      <a:cubicBezTo>
                        <a:pt x="115278" y="27432"/>
                        <a:pt x="121374" y="25527"/>
                        <a:pt x="123089" y="21241"/>
                      </a:cubicBezTo>
                      <a:cubicBezTo>
                        <a:pt x="122803" y="21050"/>
                        <a:pt x="122327" y="20669"/>
                        <a:pt x="122041" y="20479"/>
                      </a:cubicBezTo>
                      <a:cubicBezTo>
                        <a:pt x="116421" y="22574"/>
                        <a:pt x="111659" y="26860"/>
                        <a:pt x="105658" y="28194"/>
                      </a:cubicBezTo>
                      <a:cubicBezTo>
                        <a:pt x="107372" y="25527"/>
                        <a:pt x="110230" y="23908"/>
                        <a:pt x="111659" y="20955"/>
                      </a:cubicBezTo>
                      <a:cubicBezTo>
                        <a:pt x="111468" y="20765"/>
                        <a:pt x="111182" y="20479"/>
                        <a:pt x="111087" y="20383"/>
                      </a:cubicBezTo>
                      <a:cubicBezTo>
                        <a:pt x="103086" y="22765"/>
                        <a:pt x="97085" y="29051"/>
                        <a:pt x="89370" y="32004"/>
                      </a:cubicBezTo>
                      <a:cubicBezTo>
                        <a:pt x="94133" y="25432"/>
                        <a:pt x="102038" y="22479"/>
                        <a:pt x="107372" y="16669"/>
                      </a:cubicBezTo>
                      <a:cubicBezTo>
                        <a:pt x="102515" y="17145"/>
                        <a:pt x="39364" y="58007"/>
                        <a:pt x="40888" y="65627"/>
                      </a:cubicBezTo>
                      <a:cubicBezTo>
                        <a:pt x="41650" y="65913"/>
                        <a:pt x="42602" y="66484"/>
                        <a:pt x="43364" y="66961"/>
                      </a:cubicBezTo>
                      <a:cubicBezTo>
                        <a:pt x="42126" y="69056"/>
                        <a:pt x="42126" y="69056"/>
                        <a:pt x="34601" y="73628"/>
                      </a:cubicBezTo>
                      <a:cubicBezTo>
                        <a:pt x="22028" y="81248"/>
                        <a:pt x="21457" y="82677"/>
                        <a:pt x="21552" y="84487"/>
                      </a:cubicBezTo>
                      <a:cubicBezTo>
                        <a:pt x="22219" y="84772"/>
                        <a:pt x="23171" y="84963"/>
                        <a:pt x="23838" y="84772"/>
                      </a:cubicBezTo>
                      <a:cubicBezTo>
                        <a:pt x="30791" y="83439"/>
                        <a:pt x="36506" y="78676"/>
                        <a:pt x="43460" y="77152"/>
                      </a:cubicBezTo>
                      <a:cubicBezTo>
                        <a:pt x="48413" y="76105"/>
                        <a:pt x="53366" y="78200"/>
                        <a:pt x="58319" y="77152"/>
                      </a:cubicBezTo>
                      <a:cubicBezTo>
                        <a:pt x="49460" y="83915"/>
                        <a:pt x="37745" y="87535"/>
                        <a:pt x="32696" y="89059"/>
                      </a:cubicBezTo>
                      <a:cubicBezTo>
                        <a:pt x="-355" y="98965"/>
                        <a:pt x="-3499" y="113633"/>
                        <a:pt x="2407" y="115062"/>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Segoe UI"/>
                    <a:ea typeface="+mn-ea"/>
                    <a:cs typeface="+mn-cs"/>
                  </a:endParaRPr>
                </a:p>
              </p:txBody>
            </p:sp>
            <p:sp>
              <p:nvSpPr>
                <p:cNvPr id="54" name="Freeform: Shape 53">
                  <a:extLst>
                    <a:ext uri="{FF2B5EF4-FFF2-40B4-BE49-F238E27FC236}">
                      <a16:creationId xmlns:a16="http://schemas.microsoft.com/office/drawing/2014/main" id="{361816FD-D20A-F3C4-3B03-2E6BA0AA2258}"/>
                    </a:ext>
                  </a:extLst>
                </p:cNvPr>
                <p:cNvSpPr/>
                <p:nvPr/>
              </p:nvSpPr>
              <p:spPr>
                <a:xfrm>
                  <a:off x="8586976" y="2653814"/>
                  <a:ext cx="18607" cy="16789"/>
                </a:xfrm>
                <a:custGeom>
                  <a:avLst/>
                  <a:gdLst>
                    <a:gd name="connsiteX0" fmla="*/ 18384 w 18607"/>
                    <a:gd name="connsiteY0" fmla="*/ 2519 h 16789"/>
                    <a:gd name="connsiteX1" fmla="*/ 14383 w 18607"/>
                    <a:gd name="connsiteY1" fmla="*/ 137 h 16789"/>
                    <a:gd name="connsiteX2" fmla="*/ 2382 w 18607"/>
                    <a:gd name="connsiteY2" fmla="*/ 4900 h 16789"/>
                    <a:gd name="connsiteX3" fmla="*/ 1334 w 18607"/>
                    <a:gd name="connsiteY3" fmla="*/ 16330 h 16789"/>
                    <a:gd name="connsiteX4" fmla="*/ 18479 w 18607"/>
                    <a:gd name="connsiteY4" fmla="*/ 2519 h 167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07" h="16789">
                      <a:moveTo>
                        <a:pt x="18384" y="2519"/>
                      </a:moveTo>
                      <a:cubicBezTo>
                        <a:pt x="19432" y="-244"/>
                        <a:pt x="16574" y="-148"/>
                        <a:pt x="14383" y="137"/>
                      </a:cubicBezTo>
                      <a:cubicBezTo>
                        <a:pt x="14288" y="137"/>
                        <a:pt x="4763" y="1947"/>
                        <a:pt x="2382" y="4900"/>
                      </a:cubicBezTo>
                      <a:cubicBezTo>
                        <a:pt x="-1047" y="9091"/>
                        <a:pt x="-190" y="15092"/>
                        <a:pt x="1334" y="16330"/>
                      </a:cubicBezTo>
                      <a:cubicBezTo>
                        <a:pt x="4858" y="19378"/>
                        <a:pt x="16955" y="6424"/>
                        <a:pt x="18479" y="2519"/>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Segoe UI"/>
                    <a:ea typeface="+mn-ea"/>
                    <a:cs typeface="+mn-cs"/>
                  </a:endParaRPr>
                </a:p>
              </p:txBody>
            </p:sp>
            <p:sp>
              <p:nvSpPr>
                <p:cNvPr id="55" name="Freeform: Shape 54">
                  <a:extLst>
                    <a:ext uri="{FF2B5EF4-FFF2-40B4-BE49-F238E27FC236}">
                      <a16:creationId xmlns:a16="http://schemas.microsoft.com/office/drawing/2014/main" id="{E744E737-9009-1A6B-950A-DB7E576A2DFC}"/>
                    </a:ext>
                  </a:extLst>
                </p:cNvPr>
                <p:cNvSpPr/>
                <p:nvPr/>
              </p:nvSpPr>
              <p:spPr>
                <a:xfrm>
                  <a:off x="8517445" y="2594786"/>
                  <a:ext cx="74346" cy="58783"/>
                </a:xfrm>
                <a:custGeom>
                  <a:avLst/>
                  <a:gdLst>
                    <a:gd name="connsiteX0" fmla="*/ 71819 w 74346"/>
                    <a:gd name="connsiteY0" fmla="*/ 38400 h 58783"/>
                    <a:gd name="connsiteX1" fmla="*/ 74009 w 74346"/>
                    <a:gd name="connsiteY1" fmla="*/ 36591 h 58783"/>
                    <a:gd name="connsiteX2" fmla="*/ 72200 w 74346"/>
                    <a:gd name="connsiteY2" fmla="*/ 29637 h 58783"/>
                    <a:gd name="connsiteX3" fmla="*/ 65342 w 74346"/>
                    <a:gd name="connsiteY3" fmla="*/ 24399 h 58783"/>
                    <a:gd name="connsiteX4" fmla="*/ 56102 w 74346"/>
                    <a:gd name="connsiteY4" fmla="*/ 12683 h 58783"/>
                    <a:gd name="connsiteX5" fmla="*/ 54007 w 74346"/>
                    <a:gd name="connsiteY5" fmla="*/ 11254 h 58783"/>
                    <a:gd name="connsiteX6" fmla="*/ 41148 w 74346"/>
                    <a:gd name="connsiteY6" fmla="*/ 6777 h 58783"/>
                    <a:gd name="connsiteX7" fmla="*/ 36004 w 74346"/>
                    <a:gd name="connsiteY7" fmla="*/ 110 h 58783"/>
                    <a:gd name="connsiteX8" fmla="*/ 34861 w 74346"/>
                    <a:gd name="connsiteY8" fmla="*/ 110 h 58783"/>
                    <a:gd name="connsiteX9" fmla="*/ 18479 w 74346"/>
                    <a:gd name="connsiteY9" fmla="*/ 19827 h 58783"/>
                    <a:gd name="connsiteX10" fmla="*/ 13430 w 74346"/>
                    <a:gd name="connsiteY10" fmla="*/ 27447 h 58783"/>
                    <a:gd name="connsiteX11" fmla="*/ 0 w 74346"/>
                    <a:gd name="connsiteY11" fmla="*/ 49164 h 58783"/>
                    <a:gd name="connsiteX12" fmla="*/ 8573 w 74346"/>
                    <a:gd name="connsiteY12" fmla="*/ 53831 h 58783"/>
                    <a:gd name="connsiteX13" fmla="*/ 10096 w 74346"/>
                    <a:gd name="connsiteY13" fmla="*/ 58784 h 58783"/>
                    <a:gd name="connsiteX14" fmla="*/ 17717 w 74346"/>
                    <a:gd name="connsiteY14" fmla="*/ 53164 h 58783"/>
                    <a:gd name="connsiteX15" fmla="*/ 46863 w 74346"/>
                    <a:gd name="connsiteY15" fmla="*/ 37639 h 58783"/>
                    <a:gd name="connsiteX16" fmla="*/ 71819 w 74346"/>
                    <a:gd name="connsiteY16" fmla="*/ 38305 h 58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4346" h="58783">
                      <a:moveTo>
                        <a:pt x="71819" y="38400"/>
                      </a:moveTo>
                      <a:cubicBezTo>
                        <a:pt x="71819" y="38400"/>
                        <a:pt x="73533" y="37543"/>
                        <a:pt x="74009" y="36591"/>
                      </a:cubicBezTo>
                      <a:cubicBezTo>
                        <a:pt x="75057" y="34400"/>
                        <a:pt x="73438" y="30780"/>
                        <a:pt x="72200" y="29637"/>
                      </a:cubicBezTo>
                      <a:cubicBezTo>
                        <a:pt x="70104" y="27637"/>
                        <a:pt x="67342" y="26589"/>
                        <a:pt x="65342" y="24399"/>
                      </a:cubicBezTo>
                      <a:cubicBezTo>
                        <a:pt x="61913" y="20779"/>
                        <a:pt x="60103" y="15826"/>
                        <a:pt x="56102" y="12683"/>
                      </a:cubicBezTo>
                      <a:cubicBezTo>
                        <a:pt x="55531" y="12207"/>
                        <a:pt x="54673" y="11635"/>
                        <a:pt x="54007" y="11254"/>
                      </a:cubicBezTo>
                      <a:cubicBezTo>
                        <a:pt x="50006" y="8778"/>
                        <a:pt x="45148" y="9254"/>
                        <a:pt x="41148" y="6777"/>
                      </a:cubicBezTo>
                      <a:cubicBezTo>
                        <a:pt x="38576" y="5253"/>
                        <a:pt x="38576" y="1634"/>
                        <a:pt x="36004" y="110"/>
                      </a:cubicBezTo>
                      <a:cubicBezTo>
                        <a:pt x="35719" y="-80"/>
                        <a:pt x="35242" y="15"/>
                        <a:pt x="34861" y="110"/>
                      </a:cubicBezTo>
                      <a:cubicBezTo>
                        <a:pt x="31242" y="1824"/>
                        <a:pt x="18955" y="19160"/>
                        <a:pt x="18479" y="19827"/>
                      </a:cubicBezTo>
                      <a:cubicBezTo>
                        <a:pt x="16859" y="22113"/>
                        <a:pt x="14859" y="25161"/>
                        <a:pt x="13430" y="27447"/>
                      </a:cubicBezTo>
                      <a:lnTo>
                        <a:pt x="0" y="49164"/>
                      </a:lnTo>
                      <a:cubicBezTo>
                        <a:pt x="5334" y="49609"/>
                        <a:pt x="8192" y="51164"/>
                        <a:pt x="8573" y="53831"/>
                      </a:cubicBezTo>
                      <a:cubicBezTo>
                        <a:pt x="8954" y="56498"/>
                        <a:pt x="9458" y="58149"/>
                        <a:pt x="10096" y="58784"/>
                      </a:cubicBezTo>
                      <a:cubicBezTo>
                        <a:pt x="11144" y="58593"/>
                        <a:pt x="13335" y="56879"/>
                        <a:pt x="17717" y="53164"/>
                      </a:cubicBezTo>
                      <a:cubicBezTo>
                        <a:pt x="24003" y="47830"/>
                        <a:pt x="34576" y="38972"/>
                        <a:pt x="46863" y="37639"/>
                      </a:cubicBezTo>
                      <a:cubicBezTo>
                        <a:pt x="55150" y="36686"/>
                        <a:pt x="63436" y="41258"/>
                        <a:pt x="71819" y="38305"/>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Segoe UI"/>
                    <a:ea typeface="+mn-ea"/>
                    <a:cs typeface="+mn-cs"/>
                  </a:endParaRPr>
                </a:p>
              </p:txBody>
            </p:sp>
            <p:sp>
              <p:nvSpPr>
                <p:cNvPr id="56" name="Freeform: Shape 55">
                  <a:extLst>
                    <a:ext uri="{FF2B5EF4-FFF2-40B4-BE49-F238E27FC236}">
                      <a16:creationId xmlns:a16="http://schemas.microsoft.com/office/drawing/2014/main" id="{5E7DAA1D-AA86-1DB2-2C09-323861639F57}"/>
                    </a:ext>
                  </a:extLst>
                </p:cNvPr>
                <p:cNvSpPr/>
                <p:nvPr/>
              </p:nvSpPr>
              <p:spPr>
                <a:xfrm>
                  <a:off x="8540392" y="2647911"/>
                  <a:ext cx="31902" cy="20489"/>
                </a:xfrm>
                <a:custGeom>
                  <a:avLst/>
                  <a:gdLst>
                    <a:gd name="connsiteX0" fmla="*/ 26773 w 31902"/>
                    <a:gd name="connsiteY0" fmla="*/ 230 h 20489"/>
                    <a:gd name="connsiteX1" fmla="*/ 3151 w 31902"/>
                    <a:gd name="connsiteY1" fmla="*/ 8612 h 20489"/>
                    <a:gd name="connsiteX2" fmla="*/ 1151 w 31902"/>
                    <a:gd name="connsiteY2" fmla="*/ 20137 h 20489"/>
                    <a:gd name="connsiteX3" fmla="*/ 31154 w 31902"/>
                    <a:gd name="connsiteY3" fmla="*/ 3468 h 20489"/>
                    <a:gd name="connsiteX4" fmla="*/ 26773 w 31902"/>
                    <a:gd name="connsiteY4" fmla="*/ 230 h 204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02" h="20489">
                      <a:moveTo>
                        <a:pt x="26773" y="230"/>
                      </a:moveTo>
                      <a:cubicBezTo>
                        <a:pt x="26773" y="230"/>
                        <a:pt x="8961" y="4040"/>
                        <a:pt x="3151" y="8612"/>
                      </a:cubicBezTo>
                      <a:cubicBezTo>
                        <a:pt x="-278" y="11279"/>
                        <a:pt x="-850" y="18708"/>
                        <a:pt x="1151" y="20137"/>
                      </a:cubicBezTo>
                      <a:cubicBezTo>
                        <a:pt x="4865" y="22804"/>
                        <a:pt x="27059" y="9660"/>
                        <a:pt x="31154" y="3468"/>
                      </a:cubicBezTo>
                      <a:cubicBezTo>
                        <a:pt x="32393" y="1468"/>
                        <a:pt x="32774" y="-723"/>
                        <a:pt x="26773" y="230"/>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Segoe UI"/>
                    <a:ea typeface="+mn-ea"/>
                    <a:cs typeface="+mn-cs"/>
                  </a:endParaRPr>
                </a:p>
              </p:txBody>
            </p:sp>
            <p:sp>
              <p:nvSpPr>
                <p:cNvPr id="57" name="Freeform: Shape 56">
                  <a:extLst>
                    <a:ext uri="{FF2B5EF4-FFF2-40B4-BE49-F238E27FC236}">
                      <a16:creationId xmlns:a16="http://schemas.microsoft.com/office/drawing/2014/main" id="{D7E062D3-A3D3-311D-7873-41ED8C7C7C69}"/>
                    </a:ext>
                  </a:extLst>
                </p:cNvPr>
                <p:cNvSpPr/>
                <p:nvPr/>
              </p:nvSpPr>
              <p:spPr>
                <a:xfrm>
                  <a:off x="8517969" y="3642965"/>
                  <a:ext cx="24910" cy="16648"/>
                </a:xfrm>
                <a:custGeom>
                  <a:avLst/>
                  <a:gdLst>
                    <a:gd name="connsiteX0" fmla="*/ 3666 w 24910"/>
                    <a:gd name="connsiteY0" fmla="*/ 253 h 16648"/>
                    <a:gd name="connsiteX1" fmla="*/ 4905 w 24910"/>
                    <a:gd name="connsiteY1" fmla="*/ 15017 h 16648"/>
                    <a:gd name="connsiteX2" fmla="*/ 24907 w 24910"/>
                    <a:gd name="connsiteY2" fmla="*/ 12064 h 16648"/>
                    <a:gd name="connsiteX3" fmla="*/ 3666 w 24910"/>
                    <a:gd name="connsiteY3" fmla="*/ 253 h 16648"/>
                  </a:gdLst>
                  <a:ahLst/>
                  <a:cxnLst>
                    <a:cxn ang="0">
                      <a:pos x="connsiteX0" y="connsiteY0"/>
                    </a:cxn>
                    <a:cxn ang="0">
                      <a:pos x="connsiteX1" y="connsiteY1"/>
                    </a:cxn>
                    <a:cxn ang="0">
                      <a:pos x="connsiteX2" y="connsiteY2"/>
                    </a:cxn>
                    <a:cxn ang="0">
                      <a:pos x="connsiteX3" y="connsiteY3"/>
                    </a:cxn>
                  </a:cxnLst>
                  <a:rect l="l" t="t" r="r" b="b"/>
                  <a:pathLst>
                    <a:path w="24910" h="16648">
                      <a:moveTo>
                        <a:pt x="3666" y="253"/>
                      </a:moveTo>
                      <a:cubicBezTo>
                        <a:pt x="-3097" y="3015"/>
                        <a:pt x="809" y="13588"/>
                        <a:pt x="4905" y="15017"/>
                      </a:cubicBezTo>
                      <a:cubicBezTo>
                        <a:pt x="7667" y="16064"/>
                        <a:pt x="25193" y="19303"/>
                        <a:pt x="24907" y="12064"/>
                      </a:cubicBezTo>
                      <a:cubicBezTo>
                        <a:pt x="24621" y="7683"/>
                        <a:pt x="12524" y="-1652"/>
                        <a:pt x="3666" y="253"/>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280AEB7F-8C38-5E54-CACD-1430632BF235}"/>
                    </a:ext>
                  </a:extLst>
                </p:cNvPr>
                <p:cNvSpPr/>
                <p:nvPr/>
              </p:nvSpPr>
              <p:spPr>
                <a:xfrm>
                  <a:off x="9742453" y="2768632"/>
                  <a:ext cx="8764" cy="2762"/>
                </a:xfrm>
                <a:custGeom>
                  <a:avLst/>
                  <a:gdLst>
                    <a:gd name="connsiteX0" fmla="*/ 954 w 8764"/>
                    <a:gd name="connsiteY0" fmla="*/ 0 h 2762"/>
                    <a:gd name="connsiteX1" fmla="*/ 287 w 8764"/>
                    <a:gd name="connsiteY1" fmla="*/ 2096 h 2762"/>
                    <a:gd name="connsiteX2" fmla="*/ 8765 w 8764"/>
                    <a:gd name="connsiteY2" fmla="*/ 2762 h 2762"/>
                    <a:gd name="connsiteX3" fmla="*/ 954 w 8764"/>
                    <a:gd name="connsiteY3" fmla="*/ 0 h 2762"/>
                  </a:gdLst>
                  <a:ahLst/>
                  <a:cxnLst>
                    <a:cxn ang="0">
                      <a:pos x="connsiteX0" y="connsiteY0"/>
                    </a:cxn>
                    <a:cxn ang="0">
                      <a:pos x="connsiteX1" y="connsiteY1"/>
                    </a:cxn>
                    <a:cxn ang="0">
                      <a:pos x="connsiteX2" y="connsiteY2"/>
                    </a:cxn>
                    <a:cxn ang="0">
                      <a:pos x="connsiteX3" y="connsiteY3"/>
                    </a:cxn>
                  </a:cxnLst>
                  <a:rect l="l" t="t" r="r" b="b"/>
                  <a:pathLst>
                    <a:path w="8764" h="2762">
                      <a:moveTo>
                        <a:pt x="954" y="0"/>
                      </a:moveTo>
                      <a:cubicBezTo>
                        <a:pt x="-284" y="191"/>
                        <a:pt x="-93" y="857"/>
                        <a:pt x="287" y="2096"/>
                      </a:cubicBezTo>
                      <a:lnTo>
                        <a:pt x="8765" y="2762"/>
                      </a:lnTo>
                      <a:cubicBezTo>
                        <a:pt x="4193" y="667"/>
                        <a:pt x="2383" y="0"/>
                        <a:pt x="954" y="0"/>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Segoe UI"/>
                    <a:ea typeface="+mn-ea"/>
                    <a:cs typeface="+mn-cs"/>
                  </a:endParaRPr>
                </a:p>
              </p:txBody>
            </p:sp>
            <p:sp>
              <p:nvSpPr>
                <p:cNvPr id="59" name="Freeform: Shape 58">
                  <a:extLst>
                    <a:ext uri="{FF2B5EF4-FFF2-40B4-BE49-F238E27FC236}">
                      <a16:creationId xmlns:a16="http://schemas.microsoft.com/office/drawing/2014/main" id="{01E1FCC3-F5EE-45CF-744E-F6FA781EC015}"/>
                    </a:ext>
                  </a:extLst>
                </p:cNvPr>
                <p:cNvSpPr/>
                <p:nvPr/>
              </p:nvSpPr>
              <p:spPr>
                <a:xfrm>
                  <a:off x="8857154" y="2837098"/>
                  <a:ext cx="122326" cy="117121"/>
                </a:xfrm>
                <a:custGeom>
                  <a:avLst/>
                  <a:gdLst>
                    <a:gd name="connsiteX0" fmla="*/ 65580 w 122326"/>
                    <a:gd name="connsiteY0" fmla="*/ 21165 h 117121"/>
                    <a:gd name="connsiteX1" fmla="*/ 76152 w 122326"/>
                    <a:gd name="connsiteY1" fmla="*/ 305 h 117121"/>
                    <a:gd name="connsiteX2" fmla="*/ 74628 w 122326"/>
                    <a:gd name="connsiteY2" fmla="*/ 19 h 117121"/>
                    <a:gd name="connsiteX3" fmla="*/ 49387 w 122326"/>
                    <a:gd name="connsiteY3" fmla="*/ 22689 h 117121"/>
                    <a:gd name="connsiteX4" fmla="*/ 20145 w 122326"/>
                    <a:gd name="connsiteY4" fmla="*/ 65837 h 117121"/>
                    <a:gd name="connsiteX5" fmla="*/ 1000 w 122326"/>
                    <a:gd name="connsiteY5" fmla="*/ 85839 h 117121"/>
                    <a:gd name="connsiteX6" fmla="*/ 1476 w 122326"/>
                    <a:gd name="connsiteY6" fmla="*/ 90030 h 117121"/>
                    <a:gd name="connsiteX7" fmla="*/ 35576 w 122326"/>
                    <a:gd name="connsiteY7" fmla="*/ 93459 h 117121"/>
                    <a:gd name="connsiteX8" fmla="*/ 82534 w 122326"/>
                    <a:gd name="connsiteY8" fmla="*/ 100603 h 117121"/>
                    <a:gd name="connsiteX9" fmla="*/ 88059 w 122326"/>
                    <a:gd name="connsiteY9" fmla="*/ 101937 h 117121"/>
                    <a:gd name="connsiteX10" fmla="*/ 104061 w 122326"/>
                    <a:gd name="connsiteY10" fmla="*/ 102413 h 117121"/>
                    <a:gd name="connsiteX11" fmla="*/ 107013 w 122326"/>
                    <a:gd name="connsiteY11" fmla="*/ 113367 h 117121"/>
                    <a:gd name="connsiteX12" fmla="*/ 109871 w 122326"/>
                    <a:gd name="connsiteY12" fmla="*/ 117081 h 117121"/>
                    <a:gd name="connsiteX13" fmla="*/ 122253 w 122326"/>
                    <a:gd name="connsiteY13" fmla="*/ 97841 h 117121"/>
                    <a:gd name="connsiteX14" fmla="*/ 102346 w 122326"/>
                    <a:gd name="connsiteY14" fmla="*/ 51549 h 117121"/>
                    <a:gd name="connsiteX15" fmla="*/ 77676 w 122326"/>
                    <a:gd name="connsiteY15" fmla="*/ 49835 h 117121"/>
                    <a:gd name="connsiteX16" fmla="*/ 69199 w 122326"/>
                    <a:gd name="connsiteY16" fmla="*/ 44977 h 117121"/>
                    <a:gd name="connsiteX17" fmla="*/ 60817 w 122326"/>
                    <a:gd name="connsiteY17" fmla="*/ 32309 h 117121"/>
                    <a:gd name="connsiteX18" fmla="*/ 59865 w 122326"/>
                    <a:gd name="connsiteY18" fmla="*/ 28880 h 117121"/>
                    <a:gd name="connsiteX19" fmla="*/ 65484 w 122326"/>
                    <a:gd name="connsiteY19" fmla="*/ 21165 h 117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2326" h="117121">
                      <a:moveTo>
                        <a:pt x="65580" y="21165"/>
                      </a:moveTo>
                      <a:cubicBezTo>
                        <a:pt x="73676" y="10592"/>
                        <a:pt x="77200" y="3639"/>
                        <a:pt x="76152" y="305"/>
                      </a:cubicBezTo>
                      <a:cubicBezTo>
                        <a:pt x="75676" y="210"/>
                        <a:pt x="75105" y="-76"/>
                        <a:pt x="74628" y="19"/>
                      </a:cubicBezTo>
                      <a:cubicBezTo>
                        <a:pt x="70247" y="1448"/>
                        <a:pt x="58436" y="11544"/>
                        <a:pt x="49387" y="22689"/>
                      </a:cubicBezTo>
                      <a:cubicBezTo>
                        <a:pt x="38338" y="36214"/>
                        <a:pt x="30909" y="52121"/>
                        <a:pt x="20145" y="65837"/>
                      </a:cubicBezTo>
                      <a:cubicBezTo>
                        <a:pt x="14335" y="73076"/>
                        <a:pt x="6429" y="78219"/>
                        <a:pt x="1000" y="85839"/>
                      </a:cubicBezTo>
                      <a:cubicBezTo>
                        <a:pt x="-1095" y="88792"/>
                        <a:pt x="619" y="89649"/>
                        <a:pt x="1476" y="90030"/>
                      </a:cubicBezTo>
                      <a:cubicBezTo>
                        <a:pt x="2429" y="90535"/>
                        <a:pt x="13792" y="91678"/>
                        <a:pt x="35576" y="93459"/>
                      </a:cubicBezTo>
                      <a:cubicBezTo>
                        <a:pt x="54245" y="94983"/>
                        <a:pt x="67961" y="96603"/>
                        <a:pt x="82534" y="100603"/>
                      </a:cubicBezTo>
                      <a:cubicBezTo>
                        <a:pt x="84249" y="101079"/>
                        <a:pt x="86440" y="101841"/>
                        <a:pt x="88059" y="101937"/>
                      </a:cubicBezTo>
                      <a:cubicBezTo>
                        <a:pt x="93393" y="102222"/>
                        <a:pt x="98822" y="96984"/>
                        <a:pt x="104061" y="102413"/>
                      </a:cubicBezTo>
                      <a:cubicBezTo>
                        <a:pt x="106632" y="105080"/>
                        <a:pt x="106823" y="110033"/>
                        <a:pt x="107013" y="113367"/>
                      </a:cubicBezTo>
                      <a:cubicBezTo>
                        <a:pt x="107204" y="116891"/>
                        <a:pt x="108919" y="117272"/>
                        <a:pt x="109871" y="117081"/>
                      </a:cubicBezTo>
                      <a:cubicBezTo>
                        <a:pt x="115110" y="116510"/>
                        <a:pt x="121587" y="106413"/>
                        <a:pt x="122253" y="97841"/>
                      </a:cubicBezTo>
                      <a:cubicBezTo>
                        <a:pt x="123301" y="84125"/>
                        <a:pt x="112824" y="62789"/>
                        <a:pt x="102346" y="51549"/>
                      </a:cubicBezTo>
                      <a:cubicBezTo>
                        <a:pt x="98727" y="47673"/>
                        <a:pt x="90507" y="47101"/>
                        <a:pt x="77676" y="49835"/>
                      </a:cubicBezTo>
                      <a:cubicBezTo>
                        <a:pt x="71866" y="51073"/>
                        <a:pt x="70533" y="49835"/>
                        <a:pt x="69199" y="44977"/>
                      </a:cubicBezTo>
                      <a:cubicBezTo>
                        <a:pt x="66627" y="35738"/>
                        <a:pt x="64341" y="34119"/>
                        <a:pt x="60817" y="32309"/>
                      </a:cubicBezTo>
                      <a:cubicBezTo>
                        <a:pt x="58912" y="31356"/>
                        <a:pt x="58912" y="30690"/>
                        <a:pt x="59865" y="28880"/>
                      </a:cubicBezTo>
                      <a:cubicBezTo>
                        <a:pt x="61198" y="26403"/>
                        <a:pt x="63770" y="23451"/>
                        <a:pt x="65484" y="21165"/>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Segoe UI"/>
                    <a:ea typeface="+mn-ea"/>
                    <a:cs typeface="+mn-cs"/>
                  </a:endParaRPr>
                </a:p>
              </p:txBody>
            </p:sp>
            <p:sp>
              <p:nvSpPr>
                <p:cNvPr id="60" name="Freeform: Shape 59">
                  <a:extLst>
                    <a:ext uri="{FF2B5EF4-FFF2-40B4-BE49-F238E27FC236}">
                      <a16:creationId xmlns:a16="http://schemas.microsoft.com/office/drawing/2014/main" id="{F0227E5F-119B-4E88-4658-4A067DF94D64}"/>
                    </a:ext>
                  </a:extLst>
                </p:cNvPr>
                <p:cNvSpPr/>
                <p:nvPr/>
              </p:nvSpPr>
              <p:spPr>
                <a:xfrm>
                  <a:off x="9677429" y="2652713"/>
                  <a:ext cx="194660" cy="204758"/>
                </a:xfrm>
                <a:custGeom>
                  <a:avLst/>
                  <a:gdLst>
                    <a:gd name="connsiteX0" fmla="*/ 8542 w 194660"/>
                    <a:gd name="connsiteY0" fmla="*/ 35338 h 204758"/>
                    <a:gd name="connsiteX1" fmla="*/ 7114 w 194660"/>
                    <a:gd name="connsiteY1" fmla="*/ 55054 h 204758"/>
                    <a:gd name="connsiteX2" fmla="*/ 22544 w 194660"/>
                    <a:gd name="connsiteY2" fmla="*/ 48482 h 204758"/>
                    <a:gd name="connsiteX3" fmla="*/ 31021 w 194660"/>
                    <a:gd name="connsiteY3" fmla="*/ 45053 h 204758"/>
                    <a:gd name="connsiteX4" fmla="*/ 32736 w 194660"/>
                    <a:gd name="connsiteY4" fmla="*/ 67532 h 204758"/>
                    <a:gd name="connsiteX5" fmla="*/ 56453 w 194660"/>
                    <a:gd name="connsiteY5" fmla="*/ 86868 h 204758"/>
                    <a:gd name="connsiteX6" fmla="*/ 76265 w 194660"/>
                    <a:gd name="connsiteY6" fmla="*/ 93250 h 204758"/>
                    <a:gd name="connsiteX7" fmla="*/ 76646 w 194660"/>
                    <a:gd name="connsiteY7" fmla="*/ 100489 h 204758"/>
                    <a:gd name="connsiteX8" fmla="*/ 91410 w 194660"/>
                    <a:gd name="connsiteY8" fmla="*/ 120206 h 204758"/>
                    <a:gd name="connsiteX9" fmla="*/ 76837 w 194660"/>
                    <a:gd name="connsiteY9" fmla="*/ 120206 h 204758"/>
                    <a:gd name="connsiteX10" fmla="*/ 65407 w 194660"/>
                    <a:gd name="connsiteY10" fmla="*/ 118110 h 204758"/>
                    <a:gd name="connsiteX11" fmla="*/ 82075 w 194660"/>
                    <a:gd name="connsiteY11" fmla="*/ 143351 h 204758"/>
                    <a:gd name="connsiteX12" fmla="*/ 70264 w 194660"/>
                    <a:gd name="connsiteY12" fmla="*/ 155829 h 204758"/>
                    <a:gd name="connsiteX13" fmla="*/ 66264 w 194660"/>
                    <a:gd name="connsiteY13" fmla="*/ 160592 h 204758"/>
                    <a:gd name="connsiteX14" fmla="*/ 88552 w 194660"/>
                    <a:gd name="connsiteY14" fmla="*/ 165163 h 204758"/>
                    <a:gd name="connsiteX15" fmla="*/ 112936 w 194660"/>
                    <a:gd name="connsiteY15" fmla="*/ 169736 h 204758"/>
                    <a:gd name="connsiteX16" fmla="*/ 104078 w 194660"/>
                    <a:gd name="connsiteY16" fmla="*/ 174403 h 204758"/>
                    <a:gd name="connsiteX17" fmla="*/ 94934 w 194660"/>
                    <a:gd name="connsiteY17" fmla="*/ 177737 h 204758"/>
                    <a:gd name="connsiteX18" fmla="*/ 86933 w 194660"/>
                    <a:gd name="connsiteY18" fmla="*/ 190786 h 204758"/>
                    <a:gd name="connsiteX19" fmla="*/ 72455 w 194660"/>
                    <a:gd name="connsiteY19" fmla="*/ 203168 h 204758"/>
                    <a:gd name="connsiteX20" fmla="*/ 72646 w 194660"/>
                    <a:gd name="connsiteY20" fmla="*/ 204692 h 204758"/>
                    <a:gd name="connsiteX21" fmla="*/ 110079 w 194660"/>
                    <a:gd name="connsiteY21" fmla="*/ 200882 h 204758"/>
                    <a:gd name="connsiteX22" fmla="*/ 163324 w 194660"/>
                    <a:gd name="connsiteY22" fmla="*/ 197453 h 204758"/>
                    <a:gd name="connsiteX23" fmla="*/ 163990 w 194660"/>
                    <a:gd name="connsiteY23" fmla="*/ 197358 h 204758"/>
                    <a:gd name="connsiteX24" fmla="*/ 194375 w 194660"/>
                    <a:gd name="connsiteY24" fmla="*/ 187071 h 204758"/>
                    <a:gd name="connsiteX25" fmla="*/ 194661 w 194660"/>
                    <a:gd name="connsiteY25" fmla="*/ 186023 h 204758"/>
                    <a:gd name="connsiteX26" fmla="*/ 173420 w 194660"/>
                    <a:gd name="connsiteY26" fmla="*/ 182880 h 204758"/>
                    <a:gd name="connsiteX27" fmla="*/ 175135 w 194660"/>
                    <a:gd name="connsiteY27" fmla="*/ 156210 h 204758"/>
                    <a:gd name="connsiteX28" fmla="*/ 157323 w 194660"/>
                    <a:gd name="connsiteY28" fmla="*/ 140494 h 204758"/>
                    <a:gd name="connsiteX29" fmla="*/ 137511 w 194660"/>
                    <a:gd name="connsiteY29" fmla="*/ 124492 h 204758"/>
                    <a:gd name="connsiteX30" fmla="*/ 137892 w 194660"/>
                    <a:gd name="connsiteY30" fmla="*/ 123730 h 204758"/>
                    <a:gd name="connsiteX31" fmla="*/ 147798 w 194660"/>
                    <a:gd name="connsiteY31" fmla="*/ 125540 h 204758"/>
                    <a:gd name="connsiteX32" fmla="*/ 157323 w 194660"/>
                    <a:gd name="connsiteY32" fmla="*/ 126873 h 204758"/>
                    <a:gd name="connsiteX33" fmla="*/ 157228 w 194660"/>
                    <a:gd name="connsiteY33" fmla="*/ 126492 h 204758"/>
                    <a:gd name="connsiteX34" fmla="*/ 152370 w 194660"/>
                    <a:gd name="connsiteY34" fmla="*/ 121634 h 204758"/>
                    <a:gd name="connsiteX35" fmla="*/ 107126 w 194660"/>
                    <a:gd name="connsiteY35" fmla="*/ 92202 h 204758"/>
                    <a:gd name="connsiteX36" fmla="*/ 88743 w 194660"/>
                    <a:gd name="connsiteY36" fmla="*/ 73247 h 204758"/>
                    <a:gd name="connsiteX37" fmla="*/ 57310 w 194660"/>
                    <a:gd name="connsiteY37" fmla="*/ 62865 h 204758"/>
                    <a:gd name="connsiteX38" fmla="*/ 57215 w 194660"/>
                    <a:gd name="connsiteY38" fmla="*/ 62865 h 204758"/>
                    <a:gd name="connsiteX39" fmla="*/ 54358 w 194660"/>
                    <a:gd name="connsiteY39" fmla="*/ 21050 h 204758"/>
                    <a:gd name="connsiteX40" fmla="*/ 43499 w 194660"/>
                    <a:gd name="connsiteY40" fmla="*/ 21812 h 204758"/>
                    <a:gd name="connsiteX41" fmla="*/ 27878 w 194660"/>
                    <a:gd name="connsiteY41" fmla="*/ 20383 h 204758"/>
                    <a:gd name="connsiteX42" fmla="*/ 29783 w 194660"/>
                    <a:gd name="connsiteY42" fmla="*/ 0 h 204758"/>
                    <a:gd name="connsiteX43" fmla="*/ 160 w 194660"/>
                    <a:gd name="connsiteY43" fmla="*/ 9620 h 204758"/>
                    <a:gd name="connsiteX44" fmla="*/ 446 w 194660"/>
                    <a:gd name="connsiteY44" fmla="*/ 12668 h 204758"/>
                    <a:gd name="connsiteX45" fmla="*/ 8542 w 194660"/>
                    <a:gd name="connsiteY45" fmla="*/ 35338 h 204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94660" h="204758">
                      <a:moveTo>
                        <a:pt x="8542" y="35338"/>
                      </a:moveTo>
                      <a:cubicBezTo>
                        <a:pt x="9590" y="42005"/>
                        <a:pt x="4447" y="48196"/>
                        <a:pt x="7114" y="55054"/>
                      </a:cubicBezTo>
                      <a:cubicBezTo>
                        <a:pt x="9114" y="55817"/>
                        <a:pt x="13495" y="55340"/>
                        <a:pt x="22544" y="48482"/>
                      </a:cubicBezTo>
                      <a:cubicBezTo>
                        <a:pt x="25878" y="45910"/>
                        <a:pt x="28735" y="43815"/>
                        <a:pt x="31021" y="45053"/>
                      </a:cubicBezTo>
                      <a:cubicBezTo>
                        <a:pt x="40356" y="50197"/>
                        <a:pt x="29497" y="60293"/>
                        <a:pt x="32736" y="67532"/>
                      </a:cubicBezTo>
                      <a:cubicBezTo>
                        <a:pt x="39213" y="82296"/>
                        <a:pt x="46833" y="84296"/>
                        <a:pt x="56453" y="86868"/>
                      </a:cubicBezTo>
                      <a:cubicBezTo>
                        <a:pt x="71503" y="90773"/>
                        <a:pt x="73408" y="91345"/>
                        <a:pt x="76265" y="93250"/>
                      </a:cubicBezTo>
                      <a:cubicBezTo>
                        <a:pt x="76741" y="95631"/>
                        <a:pt x="75313" y="98108"/>
                        <a:pt x="76646" y="100489"/>
                      </a:cubicBezTo>
                      <a:cubicBezTo>
                        <a:pt x="80647" y="107728"/>
                        <a:pt x="87886" y="112586"/>
                        <a:pt x="91410" y="120206"/>
                      </a:cubicBezTo>
                      <a:cubicBezTo>
                        <a:pt x="93315" y="128016"/>
                        <a:pt x="83790" y="123444"/>
                        <a:pt x="76837" y="120206"/>
                      </a:cubicBezTo>
                      <a:cubicBezTo>
                        <a:pt x="74865" y="119253"/>
                        <a:pt x="71055" y="118555"/>
                        <a:pt x="65407" y="118110"/>
                      </a:cubicBezTo>
                      <a:cubicBezTo>
                        <a:pt x="68836" y="127921"/>
                        <a:pt x="79885" y="132779"/>
                        <a:pt x="82075" y="143351"/>
                      </a:cubicBezTo>
                      <a:cubicBezTo>
                        <a:pt x="83314" y="149066"/>
                        <a:pt x="77884" y="152114"/>
                        <a:pt x="70264" y="155829"/>
                      </a:cubicBezTo>
                      <a:cubicBezTo>
                        <a:pt x="68264" y="156781"/>
                        <a:pt x="65121" y="158306"/>
                        <a:pt x="66264" y="160592"/>
                      </a:cubicBezTo>
                      <a:cubicBezTo>
                        <a:pt x="66835" y="161830"/>
                        <a:pt x="70264" y="165735"/>
                        <a:pt x="88552" y="165163"/>
                      </a:cubicBezTo>
                      <a:cubicBezTo>
                        <a:pt x="96268" y="164973"/>
                        <a:pt x="112460" y="164497"/>
                        <a:pt x="112936" y="169736"/>
                      </a:cubicBezTo>
                      <a:cubicBezTo>
                        <a:pt x="113317" y="174593"/>
                        <a:pt x="109603" y="174498"/>
                        <a:pt x="104078" y="174403"/>
                      </a:cubicBezTo>
                      <a:cubicBezTo>
                        <a:pt x="98649" y="174403"/>
                        <a:pt x="97030" y="175831"/>
                        <a:pt x="94934" y="177737"/>
                      </a:cubicBezTo>
                      <a:cubicBezTo>
                        <a:pt x="91029" y="181356"/>
                        <a:pt x="90362" y="186881"/>
                        <a:pt x="86933" y="190786"/>
                      </a:cubicBezTo>
                      <a:cubicBezTo>
                        <a:pt x="82647" y="195644"/>
                        <a:pt x="76837" y="198501"/>
                        <a:pt x="72455" y="203168"/>
                      </a:cubicBezTo>
                      <a:cubicBezTo>
                        <a:pt x="72455" y="203644"/>
                        <a:pt x="72646" y="204216"/>
                        <a:pt x="72646" y="204692"/>
                      </a:cubicBezTo>
                      <a:cubicBezTo>
                        <a:pt x="74293" y="205073"/>
                        <a:pt x="86771" y="203806"/>
                        <a:pt x="110079" y="200882"/>
                      </a:cubicBezTo>
                      <a:cubicBezTo>
                        <a:pt x="127795" y="198692"/>
                        <a:pt x="145702" y="200025"/>
                        <a:pt x="163324" y="197453"/>
                      </a:cubicBezTo>
                      <a:cubicBezTo>
                        <a:pt x="163514" y="197453"/>
                        <a:pt x="163800" y="197453"/>
                        <a:pt x="163990" y="197358"/>
                      </a:cubicBezTo>
                      <a:lnTo>
                        <a:pt x="194375" y="187071"/>
                      </a:lnTo>
                      <a:cubicBezTo>
                        <a:pt x="194375" y="187071"/>
                        <a:pt x="194565" y="186309"/>
                        <a:pt x="194661" y="186023"/>
                      </a:cubicBezTo>
                      <a:cubicBezTo>
                        <a:pt x="188374" y="179737"/>
                        <a:pt x="180278" y="185356"/>
                        <a:pt x="173420" y="182880"/>
                      </a:cubicBezTo>
                      <a:cubicBezTo>
                        <a:pt x="170182" y="173736"/>
                        <a:pt x="178659" y="165354"/>
                        <a:pt x="175135" y="156210"/>
                      </a:cubicBezTo>
                      <a:cubicBezTo>
                        <a:pt x="168943" y="139827"/>
                        <a:pt x="162466" y="140208"/>
                        <a:pt x="157323" y="140494"/>
                      </a:cubicBezTo>
                      <a:cubicBezTo>
                        <a:pt x="145512" y="141161"/>
                        <a:pt x="137511" y="124587"/>
                        <a:pt x="137511" y="124492"/>
                      </a:cubicBezTo>
                      <a:cubicBezTo>
                        <a:pt x="137511" y="124301"/>
                        <a:pt x="137701" y="123920"/>
                        <a:pt x="137892" y="123730"/>
                      </a:cubicBezTo>
                      <a:cubicBezTo>
                        <a:pt x="138397" y="123603"/>
                        <a:pt x="141702" y="124206"/>
                        <a:pt x="147798" y="125540"/>
                      </a:cubicBezTo>
                      <a:cubicBezTo>
                        <a:pt x="151989" y="126968"/>
                        <a:pt x="157704" y="128969"/>
                        <a:pt x="157323" y="126873"/>
                      </a:cubicBezTo>
                      <a:cubicBezTo>
                        <a:pt x="157323" y="126778"/>
                        <a:pt x="157323" y="126683"/>
                        <a:pt x="157228" y="126492"/>
                      </a:cubicBezTo>
                      <a:cubicBezTo>
                        <a:pt x="156656" y="125635"/>
                        <a:pt x="155608" y="124111"/>
                        <a:pt x="152370" y="121634"/>
                      </a:cubicBezTo>
                      <a:cubicBezTo>
                        <a:pt x="138082" y="110585"/>
                        <a:pt x="120175" y="105061"/>
                        <a:pt x="107126" y="92202"/>
                      </a:cubicBezTo>
                      <a:cubicBezTo>
                        <a:pt x="100840" y="86011"/>
                        <a:pt x="96363" y="78105"/>
                        <a:pt x="88743" y="73247"/>
                      </a:cubicBezTo>
                      <a:cubicBezTo>
                        <a:pt x="75503" y="64865"/>
                        <a:pt x="63406" y="63056"/>
                        <a:pt x="57310" y="62865"/>
                      </a:cubicBezTo>
                      <a:cubicBezTo>
                        <a:pt x="57310" y="62865"/>
                        <a:pt x="57310" y="62865"/>
                        <a:pt x="57215" y="62865"/>
                      </a:cubicBezTo>
                      <a:cubicBezTo>
                        <a:pt x="64930" y="56007"/>
                        <a:pt x="75122" y="21908"/>
                        <a:pt x="54358" y="21050"/>
                      </a:cubicBezTo>
                      <a:cubicBezTo>
                        <a:pt x="50548" y="20860"/>
                        <a:pt x="46357" y="21431"/>
                        <a:pt x="43499" y="21812"/>
                      </a:cubicBezTo>
                      <a:cubicBezTo>
                        <a:pt x="30355" y="23527"/>
                        <a:pt x="27973" y="23813"/>
                        <a:pt x="27878" y="20383"/>
                      </a:cubicBezTo>
                      <a:cubicBezTo>
                        <a:pt x="27688" y="13525"/>
                        <a:pt x="39403" y="667"/>
                        <a:pt x="29783" y="0"/>
                      </a:cubicBezTo>
                      <a:cubicBezTo>
                        <a:pt x="29497" y="0"/>
                        <a:pt x="3875" y="476"/>
                        <a:pt x="160" y="9620"/>
                      </a:cubicBezTo>
                      <a:cubicBezTo>
                        <a:pt x="-221" y="10477"/>
                        <a:pt x="160" y="11716"/>
                        <a:pt x="446" y="12668"/>
                      </a:cubicBezTo>
                      <a:cubicBezTo>
                        <a:pt x="1684" y="20765"/>
                        <a:pt x="7304" y="27337"/>
                        <a:pt x="8542" y="35338"/>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Segoe UI"/>
                    <a:ea typeface="+mn-ea"/>
                    <a:cs typeface="+mn-cs"/>
                  </a:endParaRPr>
                </a:p>
              </p:txBody>
            </p:sp>
            <p:sp>
              <p:nvSpPr>
                <p:cNvPr id="61" name="Freeform: Shape 60">
                  <a:extLst>
                    <a:ext uri="{FF2B5EF4-FFF2-40B4-BE49-F238E27FC236}">
                      <a16:creationId xmlns:a16="http://schemas.microsoft.com/office/drawing/2014/main" id="{42FBC27C-571E-A7DD-230E-213692112E38}"/>
                    </a:ext>
                  </a:extLst>
                </p:cNvPr>
                <p:cNvSpPr/>
                <p:nvPr/>
              </p:nvSpPr>
              <p:spPr>
                <a:xfrm>
                  <a:off x="7990657" y="2979573"/>
                  <a:ext cx="15847" cy="44328"/>
                </a:xfrm>
                <a:custGeom>
                  <a:avLst/>
                  <a:gdLst>
                    <a:gd name="connsiteX0" fmla="*/ 912 w 15847"/>
                    <a:gd name="connsiteY0" fmla="*/ 43376 h 44328"/>
                    <a:gd name="connsiteX1" fmla="*/ 9103 w 15847"/>
                    <a:gd name="connsiteY1" fmla="*/ 19659 h 44328"/>
                    <a:gd name="connsiteX2" fmla="*/ 14818 w 15847"/>
                    <a:gd name="connsiteY2" fmla="*/ 5753 h 44328"/>
                    <a:gd name="connsiteX3" fmla="*/ 15390 w 15847"/>
                    <a:gd name="connsiteY3" fmla="*/ 3943 h 44328"/>
                    <a:gd name="connsiteX4" fmla="*/ 14628 w 15847"/>
                    <a:gd name="connsiteY4" fmla="*/ 38 h 44328"/>
                    <a:gd name="connsiteX5" fmla="*/ 13580 w 15847"/>
                    <a:gd name="connsiteY5" fmla="*/ 514 h 44328"/>
                    <a:gd name="connsiteX6" fmla="*/ 150 w 15847"/>
                    <a:gd name="connsiteY6" fmla="*/ 44329 h 44328"/>
                    <a:gd name="connsiteX7" fmla="*/ 817 w 15847"/>
                    <a:gd name="connsiteY7" fmla="*/ 43281 h 44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847" h="44328">
                      <a:moveTo>
                        <a:pt x="912" y="43376"/>
                      </a:moveTo>
                      <a:cubicBezTo>
                        <a:pt x="4246" y="35661"/>
                        <a:pt x="6055" y="27470"/>
                        <a:pt x="9103" y="19659"/>
                      </a:cubicBezTo>
                      <a:cubicBezTo>
                        <a:pt x="10913" y="14992"/>
                        <a:pt x="13104" y="10515"/>
                        <a:pt x="14818" y="5753"/>
                      </a:cubicBezTo>
                      <a:cubicBezTo>
                        <a:pt x="15009" y="5181"/>
                        <a:pt x="15199" y="4514"/>
                        <a:pt x="15390" y="3943"/>
                      </a:cubicBezTo>
                      <a:cubicBezTo>
                        <a:pt x="15390" y="3752"/>
                        <a:pt x="16819" y="-439"/>
                        <a:pt x="14628" y="38"/>
                      </a:cubicBezTo>
                      <a:cubicBezTo>
                        <a:pt x="14342" y="38"/>
                        <a:pt x="13866" y="419"/>
                        <a:pt x="13580" y="514"/>
                      </a:cubicBezTo>
                      <a:cubicBezTo>
                        <a:pt x="6627" y="6134"/>
                        <a:pt x="-1184" y="42138"/>
                        <a:pt x="150" y="44329"/>
                      </a:cubicBezTo>
                      <a:cubicBezTo>
                        <a:pt x="436" y="44043"/>
                        <a:pt x="721" y="43567"/>
                        <a:pt x="817" y="43281"/>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Segoe UI"/>
                    <a:ea typeface="+mn-ea"/>
                    <a:cs typeface="+mn-cs"/>
                  </a:endParaRPr>
                </a:p>
              </p:txBody>
            </p:sp>
            <p:sp>
              <p:nvSpPr>
                <p:cNvPr id="62" name="Freeform: Shape 61">
                  <a:extLst>
                    <a:ext uri="{FF2B5EF4-FFF2-40B4-BE49-F238E27FC236}">
                      <a16:creationId xmlns:a16="http://schemas.microsoft.com/office/drawing/2014/main" id="{40CA1125-987D-4C6B-9AA3-8F9C06EF0235}"/>
                    </a:ext>
                  </a:extLst>
                </p:cNvPr>
                <p:cNvSpPr/>
                <p:nvPr/>
              </p:nvSpPr>
              <p:spPr>
                <a:xfrm>
                  <a:off x="9343357" y="2495435"/>
                  <a:ext cx="176930" cy="63403"/>
                </a:xfrm>
                <a:custGeom>
                  <a:avLst/>
                  <a:gdLst>
                    <a:gd name="connsiteX0" fmla="*/ 174879 w 176930"/>
                    <a:gd name="connsiteY0" fmla="*/ 21737 h 63403"/>
                    <a:gd name="connsiteX1" fmla="*/ 174879 w 176930"/>
                    <a:gd name="connsiteY1" fmla="*/ 20308 h 63403"/>
                    <a:gd name="connsiteX2" fmla="*/ 164306 w 176930"/>
                    <a:gd name="connsiteY2" fmla="*/ 10974 h 63403"/>
                    <a:gd name="connsiteX3" fmla="*/ 161544 w 176930"/>
                    <a:gd name="connsiteY3" fmla="*/ 10021 h 63403"/>
                    <a:gd name="connsiteX4" fmla="*/ 138875 w 176930"/>
                    <a:gd name="connsiteY4" fmla="*/ 6878 h 63403"/>
                    <a:gd name="connsiteX5" fmla="*/ 123635 w 176930"/>
                    <a:gd name="connsiteY5" fmla="*/ 20 h 63403"/>
                    <a:gd name="connsiteX6" fmla="*/ 102680 w 176930"/>
                    <a:gd name="connsiteY6" fmla="*/ 6402 h 63403"/>
                    <a:gd name="connsiteX7" fmla="*/ 81629 w 176930"/>
                    <a:gd name="connsiteY7" fmla="*/ 9926 h 63403"/>
                    <a:gd name="connsiteX8" fmla="*/ 77057 w 176930"/>
                    <a:gd name="connsiteY8" fmla="*/ 18784 h 63403"/>
                    <a:gd name="connsiteX9" fmla="*/ 65913 w 176930"/>
                    <a:gd name="connsiteY9" fmla="*/ 19070 h 63403"/>
                    <a:gd name="connsiteX10" fmla="*/ 64103 w 176930"/>
                    <a:gd name="connsiteY10" fmla="*/ 20213 h 63403"/>
                    <a:gd name="connsiteX11" fmla="*/ 61532 w 176930"/>
                    <a:gd name="connsiteY11" fmla="*/ 38787 h 63403"/>
                    <a:gd name="connsiteX12" fmla="*/ 41243 w 176930"/>
                    <a:gd name="connsiteY12" fmla="*/ 20213 h 63403"/>
                    <a:gd name="connsiteX13" fmla="*/ 3715 w 176930"/>
                    <a:gd name="connsiteY13" fmla="*/ 7735 h 63403"/>
                    <a:gd name="connsiteX14" fmla="*/ 15526 w 176930"/>
                    <a:gd name="connsiteY14" fmla="*/ 16213 h 63403"/>
                    <a:gd name="connsiteX15" fmla="*/ 0 w 176930"/>
                    <a:gd name="connsiteY15" fmla="*/ 28786 h 63403"/>
                    <a:gd name="connsiteX16" fmla="*/ 14478 w 176930"/>
                    <a:gd name="connsiteY16" fmla="*/ 28500 h 63403"/>
                    <a:gd name="connsiteX17" fmla="*/ 32957 w 176930"/>
                    <a:gd name="connsiteY17" fmla="*/ 46693 h 63403"/>
                    <a:gd name="connsiteX18" fmla="*/ 53054 w 176930"/>
                    <a:gd name="connsiteY18" fmla="*/ 49645 h 63403"/>
                    <a:gd name="connsiteX19" fmla="*/ 60008 w 176930"/>
                    <a:gd name="connsiteY19" fmla="*/ 60123 h 63403"/>
                    <a:gd name="connsiteX20" fmla="*/ 76581 w 176930"/>
                    <a:gd name="connsiteY20" fmla="*/ 60599 h 63403"/>
                    <a:gd name="connsiteX21" fmla="*/ 91440 w 176930"/>
                    <a:gd name="connsiteY21" fmla="*/ 59647 h 63403"/>
                    <a:gd name="connsiteX22" fmla="*/ 110585 w 176930"/>
                    <a:gd name="connsiteY22" fmla="*/ 63361 h 63403"/>
                    <a:gd name="connsiteX23" fmla="*/ 113252 w 176930"/>
                    <a:gd name="connsiteY23" fmla="*/ 63361 h 63403"/>
                    <a:gd name="connsiteX24" fmla="*/ 136874 w 176930"/>
                    <a:gd name="connsiteY24" fmla="*/ 58885 h 63403"/>
                    <a:gd name="connsiteX25" fmla="*/ 176879 w 176930"/>
                    <a:gd name="connsiteY25" fmla="*/ 31548 h 63403"/>
                    <a:gd name="connsiteX26" fmla="*/ 172117 w 176930"/>
                    <a:gd name="connsiteY26" fmla="*/ 22499 h 63403"/>
                    <a:gd name="connsiteX27" fmla="*/ 174879 w 176930"/>
                    <a:gd name="connsiteY27" fmla="*/ 21832 h 63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76930" h="63403">
                      <a:moveTo>
                        <a:pt x="174879" y="21737"/>
                      </a:moveTo>
                      <a:cubicBezTo>
                        <a:pt x="174879" y="21737"/>
                        <a:pt x="174974" y="20689"/>
                        <a:pt x="174879" y="20308"/>
                      </a:cubicBezTo>
                      <a:cubicBezTo>
                        <a:pt x="173450" y="17737"/>
                        <a:pt x="169259" y="12879"/>
                        <a:pt x="164306" y="10974"/>
                      </a:cubicBezTo>
                      <a:cubicBezTo>
                        <a:pt x="163449" y="10688"/>
                        <a:pt x="162401" y="10212"/>
                        <a:pt x="161544" y="10021"/>
                      </a:cubicBezTo>
                      <a:cubicBezTo>
                        <a:pt x="154115" y="8021"/>
                        <a:pt x="146209" y="9831"/>
                        <a:pt x="138875" y="6878"/>
                      </a:cubicBezTo>
                      <a:cubicBezTo>
                        <a:pt x="133731" y="4783"/>
                        <a:pt x="129921" y="-361"/>
                        <a:pt x="123635" y="20"/>
                      </a:cubicBezTo>
                      <a:cubicBezTo>
                        <a:pt x="116491" y="1735"/>
                        <a:pt x="109823" y="4687"/>
                        <a:pt x="102680" y="6402"/>
                      </a:cubicBezTo>
                      <a:cubicBezTo>
                        <a:pt x="95726" y="8021"/>
                        <a:pt x="88487" y="7640"/>
                        <a:pt x="81629" y="9926"/>
                      </a:cubicBezTo>
                      <a:cubicBezTo>
                        <a:pt x="77248" y="11355"/>
                        <a:pt x="80391" y="16784"/>
                        <a:pt x="77057" y="18784"/>
                      </a:cubicBezTo>
                      <a:cubicBezTo>
                        <a:pt x="73343" y="20880"/>
                        <a:pt x="69628" y="16879"/>
                        <a:pt x="65913" y="19070"/>
                      </a:cubicBezTo>
                      <a:cubicBezTo>
                        <a:pt x="65342" y="19451"/>
                        <a:pt x="64580" y="19832"/>
                        <a:pt x="64103" y="20213"/>
                      </a:cubicBezTo>
                      <a:cubicBezTo>
                        <a:pt x="62770" y="26309"/>
                        <a:pt x="68199" y="33358"/>
                        <a:pt x="61532" y="38787"/>
                      </a:cubicBezTo>
                      <a:cubicBezTo>
                        <a:pt x="59436" y="37930"/>
                        <a:pt x="43910" y="25166"/>
                        <a:pt x="41243" y="20213"/>
                      </a:cubicBezTo>
                      <a:cubicBezTo>
                        <a:pt x="35433" y="9164"/>
                        <a:pt x="10573" y="2211"/>
                        <a:pt x="3715" y="7735"/>
                      </a:cubicBezTo>
                      <a:cubicBezTo>
                        <a:pt x="5715" y="13355"/>
                        <a:pt x="12478" y="12117"/>
                        <a:pt x="15526" y="16213"/>
                      </a:cubicBezTo>
                      <a:cubicBezTo>
                        <a:pt x="13621" y="24404"/>
                        <a:pt x="3905" y="23071"/>
                        <a:pt x="0" y="28786"/>
                      </a:cubicBezTo>
                      <a:cubicBezTo>
                        <a:pt x="2286" y="30405"/>
                        <a:pt x="10097" y="29262"/>
                        <a:pt x="14478" y="28500"/>
                      </a:cubicBezTo>
                      <a:cubicBezTo>
                        <a:pt x="22193" y="27071"/>
                        <a:pt x="46482" y="35548"/>
                        <a:pt x="32957" y="46693"/>
                      </a:cubicBezTo>
                      <a:cubicBezTo>
                        <a:pt x="38767" y="53836"/>
                        <a:pt x="46482" y="47740"/>
                        <a:pt x="53054" y="49645"/>
                      </a:cubicBezTo>
                      <a:cubicBezTo>
                        <a:pt x="59912" y="51550"/>
                        <a:pt x="59912" y="54122"/>
                        <a:pt x="60008" y="60123"/>
                      </a:cubicBezTo>
                      <a:cubicBezTo>
                        <a:pt x="61627" y="61456"/>
                        <a:pt x="62960" y="62028"/>
                        <a:pt x="76581" y="60599"/>
                      </a:cubicBezTo>
                      <a:cubicBezTo>
                        <a:pt x="85535" y="59647"/>
                        <a:pt x="88583" y="59456"/>
                        <a:pt x="91440" y="59647"/>
                      </a:cubicBezTo>
                      <a:cubicBezTo>
                        <a:pt x="97917" y="60123"/>
                        <a:pt x="104013" y="62980"/>
                        <a:pt x="110585" y="63361"/>
                      </a:cubicBezTo>
                      <a:cubicBezTo>
                        <a:pt x="111347" y="63361"/>
                        <a:pt x="112490" y="63457"/>
                        <a:pt x="113252" y="63361"/>
                      </a:cubicBezTo>
                      <a:cubicBezTo>
                        <a:pt x="115538" y="63361"/>
                        <a:pt x="118777" y="63361"/>
                        <a:pt x="136874" y="58885"/>
                      </a:cubicBezTo>
                      <a:cubicBezTo>
                        <a:pt x="153257" y="54884"/>
                        <a:pt x="178213" y="36787"/>
                        <a:pt x="176879" y="31548"/>
                      </a:cubicBezTo>
                      <a:cubicBezTo>
                        <a:pt x="176117" y="28119"/>
                        <a:pt x="173165" y="25833"/>
                        <a:pt x="172117" y="22499"/>
                      </a:cubicBezTo>
                      <a:cubicBezTo>
                        <a:pt x="172622" y="21991"/>
                        <a:pt x="173546" y="21769"/>
                        <a:pt x="174879" y="21832"/>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033720C4-BCC3-8AD5-E9DD-C2F07563DFF9}"/>
                    </a:ext>
                  </a:extLst>
                </p:cNvPr>
                <p:cNvSpPr/>
                <p:nvPr/>
              </p:nvSpPr>
              <p:spPr>
                <a:xfrm>
                  <a:off x="8450579" y="3540308"/>
                  <a:ext cx="146020" cy="83577"/>
                </a:xfrm>
                <a:custGeom>
                  <a:avLst/>
                  <a:gdLst>
                    <a:gd name="connsiteX0" fmla="*/ 93250 w 146020"/>
                    <a:gd name="connsiteY0" fmla="*/ 73668 h 83577"/>
                    <a:gd name="connsiteX1" fmla="*/ 146018 w 146020"/>
                    <a:gd name="connsiteY1" fmla="*/ 81097 h 83577"/>
                    <a:gd name="connsiteX2" fmla="*/ 88392 w 146020"/>
                    <a:gd name="connsiteY2" fmla="*/ 11660 h 83577"/>
                    <a:gd name="connsiteX3" fmla="*/ 31528 w 146020"/>
                    <a:gd name="connsiteY3" fmla="*/ 1945 h 83577"/>
                    <a:gd name="connsiteX4" fmla="*/ 0 w 146020"/>
                    <a:gd name="connsiteY4" fmla="*/ 20995 h 83577"/>
                    <a:gd name="connsiteX5" fmla="*/ 28099 w 146020"/>
                    <a:gd name="connsiteY5" fmla="*/ 14518 h 83577"/>
                    <a:gd name="connsiteX6" fmla="*/ 56864 w 146020"/>
                    <a:gd name="connsiteY6" fmla="*/ 13280 h 83577"/>
                    <a:gd name="connsiteX7" fmla="*/ 48387 w 146020"/>
                    <a:gd name="connsiteY7" fmla="*/ 14232 h 83577"/>
                    <a:gd name="connsiteX8" fmla="*/ 47816 w 146020"/>
                    <a:gd name="connsiteY8" fmla="*/ 14708 h 83577"/>
                    <a:gd name="connsiteX9" fmla="*/ 70580 w 146020"/>
                    <a:gd name="connsiteY9" fmla="*/ 28329 h 83577"/>
                    <a:gd name="connsiteX10" fmla="*/ 91250 w 146020"/>
                    <a:gd name="connsiteY10" fmla="*/ 46141 h 83577"/>
                    <a:gd name="connsiteX11" fmla="*/ 97441 w 146020"/>
                    <a:gd name="connsiteY11" fmla="*/ 58714 h 83577"/>
                    <a:gd name="connsiteX12" fmla="*/ 101632 w 146020"/>
                    <a:gd name="connsiteY12" fmla="*/ 65572 h 83577"/>
                    <a:gd name="connsiteX13" fmla="*/ 93155 w 146020"/>
                    <a:gd name="connsiteY13" fmla="*/ 73668 h 83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6020" h="83577">
                      <a:moveTo>
                        <a:pt x="93250" y="73668"/>
                      </a:moveTo>
                      <a:cubicBezTo>
                        <a:pt x="100394" y="83002"/>
                        <a:pt x="145161" y="86336"/>
                        <a:pt x="146018" y="81097"/>
                      </a:cubicBezTo>
                      <a:cubicBezTo>
                        <a:pt x="146399" y="78240"/>
                        <a:pt x="89059" y="12137"/>
                        <a:pt x="88392" y="11660"/>
                      </a:cubicBezTo>
                      <a:cubicBezTo>
                        <a:pt x="82487" y="7564"/>
                        <a:pt x="64675" y="-4723"/>
                        <a:pt x="31528" y="1945"/>
                      </a:cubicBezTo>
                      <a:cubicBezTo>
                        <a:pt x="13049" y="8041"/>
                        <a:pt x="95" y="20518"/>
                        <a:pt x="0" y="20995"/>
                      </a:cubicBezTo>
                      <a:cubicBezTo>
                        <a:pt x="2381" y="23281"/>
                        <a:pt x="16478" y="21185"/>
                        <a:pt x="28099" y="14518"/>
                      </a:cubicBezTo>
                      <a:cubicBezTo>
                        <a:pt x="44672" y="4993"/>
                        <a:pt x="55817" y="10327"/>
                        <a:pt x="56864" y="13280"/>
                      </a:cubicBezTo>
                      <a:cubicBezTo>
                        <a:pt x="56007" y="14994"/>
                        <a:pt x="53721" y="17280"/>
                        <a:pt x="48387" y="14232"/>
                      </a:cubicBezTo>
                      <a:cubicBezTo>
                        <a:pt x="48197" y="14327"/>
                        <a:pt x="47911" y="14518"/>
                        <a:pt x="47816" y="14708"/>
                      </a:cubicBezTo>
                      <a:cubicBezTo>
                        <a:pt x="48482" y="22709"/>
                        <a:pt x="61817" y="26043"/>
                        <a:pt x="70580" y="28329"/>
                      </a:cubicBezTo>
                      <a:cubicBezTo>
                        <a:pt x="86773" y="32425"/>
                        <a:pt x="87916" y="35854"/>
                        <a:pt x="91250" y="46141"/>
                      </a:cubicBezTo>
                      <a:cubicBezTo>
                        <a:pt x="92869" y="51284"/>
                        <a:pt x="94012" y="54427"/>
                        <a:pt x="97441" y="58714"/>
                      </a:cubicBezTo>
                      <a:cubicBezTo>
                        <a:pt x="99822" y="61667"/>
                        <a:pt x="101537" y="63857"/>
                        <a:pt x="101632" y="65572"/>
                      </a:cubicBezTo>
                      <a:cubicBezTo>
                        <a:pt x="102013" y="71096"/>
                        <a:pt x="95822" y="70810"/>
                        <a:pt x="93155" y="73668"/>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Segoe UI"/>
                    <a:ea typeface="+mn-ea"/>
                    <a:cs typeface="+mn-cs"/>
                  </a:endParaRPr>
                </a:p>
              </p:txBody>
            </p:sp>
            <p:sp>
              <p:nvSpPr>
                <p:cNvPr id="64" name="Freeform: Shape 63">
                  <a:extLst>
                    <a:ext uri="{FF2B5EF4-FFF2-40B4-BE49-F238E27FC236}">
                      <a16:creationId xmlns:a16="http://schemas.microsoft.com/office/drawing/2014/main" id="{3708143E-DFEE-0D8D-D350-D4BEB37C5AFB}"/>
                    </a:ext>
                  </a:extLst>
                </p:cNvPr>
                <p:cNvSpPr/>
                <p:nvPr/>
              </p:nvSpPr>
              <p:spPr>
                <a:xfrm>
                  <a:off x="8581548" y="3630671"/>
                  <a:ext cx="117171" cy="50135"/>
                </a:xfrm>
                <a:custGeom>
                  <a:avLst/>
                  <a:gdLst>
                    <a:gd name="connsiteX0" fmla="*/ 33623 w 117171"/>
                    <a:gd name="connsiteY0" fmla="*/ 38264 h 50135"/>
                    <a:gd name="connsiteX1" fmla="*/ 41148 w 117171"/>
                    <a:gd name="connsiteY1" fmla="*/ 50075 h 50135"/>
                    <a:gd name="connsiteX2" fmla="*/ 61151 w 117171"/>
                    <a:gd name="connsiteY2" fmla="*/ 34835 h 50135"/>
                    <a:gd name="connsiteX3" fmla="*/ 66675 w 117171"/>
                    <a:gd name="connsiteY3" fmla="*/ 35407 h 50135"/>
                    <a:gd name="connsiteX4" fmla="*/ 114586 w 117171"/>
                    <a:gd name="connsiteY4" fmla="*/ 39312 h 50135"/>
                    <a:gd name="connsiteX5" fmla="*/ 117158 w 117171"/>
                    <a:gd name="connsiteY5" fmla="*/ 37407 h 50135"/>
                    <a:gd name="connsiteX6" fmla="*/ 114586 w 117171"/>
                    <a:gd name="connsiteY6" fmla="*/ 22738 h 50135"/>
                    <a:gd name="connsiteX7" fmla="*/ 30004 w 117171"/>
                    <a:gd name="connsiteY7" fmla="*/ 69 h 50135"/>
                    <a:gd name="connsiteX8" fmla="*/ 27908 w 117171"/>
                    <a:gd name="connsiteY8" fmla="*/ 1116 h 50135"/>
                    <a:gd name="connsiteX9" fmla="*/ 29147 w 117171"/>
                    <a:gd name="connsiteY9" fmla="*/ 3498 h 50135"/>
                    <a:gd name="connsiteX10" fmla="*/ 36862 w 117171"/>
                    <a:gd name="connsiteY10" fmla="*/ 28644 h 50135"/>
                    <a:gd name="connsiteX11" fmla="*/ 19431 w 117171"/>
                    <a:gd name="connsiteY11" fmla="*/ 27501 h 50135"/>
                    <a:gd name="connsiteX12" fmla="*/ 0 w 117171"/>
                    <a:gd name="connsiteY12" fmla="*/ 25596 h 50135"/>
                    <a:gd name="connsiteX13" fmla="*/ 572 w 117171"/>
                    <a:gd name="connsiteY13" fmla="*/ 26548 h 50135"/>
                    <a:gd name="connsiteX14" fmla="*/ 33719 w 117171"/>
                    <a:gd name="connsiteY14" fmla="*/ 38359 h 50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7171" h="50135">
                      <a:moveTo>
                        <a:pt x="33623" y="38264"/>
                      </a:moveTo>
                      <a:cubicBezTo>
                        <a:pt x="38195" y="40836"/>
                        <a:pt x="34576" y="49408"/>
                        <a:pt x="41148" y="50075"/>
                      </a:cubicBezTo>
                      <a:cubicBezTo>
                        <a:pt x="52578" y="51218"/>
                        <a:pt x="51340" y="35787"/>
                        <a:pt x="61151" y="34835"/>
                      </a:cubicBezTo>
                      <a:cubicBezTo>
                        <a:pt x="62198" y="34740"/>
                        <a:pt x="63246" y="34835"/>
                        <a:pt x="66675" y="35407"/>
                      </a:cubicBezTo>
                      <a:cubicBezTo>
                        <a:pt x="84201" y="38455"/>
                        <a:pt x="114491" y="39312"/>
                        <a:pt x="114586" y="39312"/>
                      </a:cubicBezTo>
                      <a:cubicBezTo>
                        <a:pt x="116015" y="39121"/>
                        <a:pt x="117062" y="38836"/>
                        <a:pt x="117158" y="37407"/>
                      </a:cubicBezTo>
                      <a:cubicBezTo>
                        <a:pt x="117443" y="32359"/>
                        <a:pt x="113252" y="28072"/>
                        <a:pt x="114586" y="22738"/>
                      </a:cubicBezTo>
                      <a:cubicBezTo>
                        <a:pt x="118682" y="6355"/>
                        <a:pt x="35243" y="-789"/>
                        <a:pt x="30004" y="69"/>
                      </a:cubicBezTo>
                      <a:cubicBezTo>
                        <a:pt x="28670" y="450"/>
                        <a:pt x="28480" y="545"/>
                        <a:pt x="27908" y="1116"/>
                      </a:cubicBezTo>
                      <a:cubicBezTo>
                        <a:pt x="27908" y="1945"/>
                        <a:pt x="28318" y="2736"/>
                        <a:pt x="29147" y="3498"/>
                      </a:cubicBezTo>
                      <a:cubicBezTo>
                        <a:pt x="41434" y="14832"/>
                        <a:pt x="37433" y="28072"/>
                        <a:pt x="36862" y="28644"/>
                      </a:cubicBezTo>
                      <a:cubicBezTo>
                        <a:pt x="35243" y="29977"/>
                        <a:pt x="28670" y="28930"/>
                        <a:pt x="19431" y="27501"/>
                      </a:cubicBezTo>
                      <a:cubicBezTo>
                        <a:pt x="2572" y="24739"/>
                        <a:pt x="953" y="25310"/>
                        <a:pt x="0" y="25596"/>
                      </a:cubicBezTo>
                      <a:cubicBezTo>
                        <a:pt x="191" y="25882"/>
                        <a:pt x="286" y="26358"/>
                        <a:pt x="572" y="26548"/>
                      </a:cubicBezTo>
                      <a:cubicBezTo>
                        <a:pt x="10858" y="32644"/>
                        <a:pt x="23432" y="32454"/>
                        <a:pt x="33719" y="38359"/>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Segoe UI"/>
                    <a:ea typeface="+mn-ea"/>
                    <a:cs typeface="+mn-cs"/>
                  </a:endParaRPr>
                </a:p>
              </p:txBody>
            </p:sp>
            <p:sp>
              <p:nvSpPr>
                <p:cNvPr id="65" name="Freeform: Shape 64">
                  <a:extLst>
                    <a:ext uri="{FF2B5EF4-FFF2-40B4-BE49-F238E27FC236}">
                      <a16:creationId xmlns:a16="http://schemas.microsoft.com/office/drawing/2014/main" id="{BD8F4BFF-2E83-9DFB-223B-4895084967BF}"/>
                    </a:ext>
                  </a:extLst>
                </p:cNvPr>
                <p:cNvSpPr/>
                <p:nvPr/>
              </p:nvSpPr>
              <p:spPr>
                <a:xfrm>
                  <a:off x="8781400" y="2893716"/>
                  <a:ext cx="43650" cy="16634"/>
                </a:xfrm>
                <a:custGeom>
                  <a:avLst/>
                  <a:gdLst>
                    <a:gd name="connsiteX0" fmla="*/ 1792 w 43650"/>
                    <a:gd name="connsiteY0" fmla="*/ 170 h 16634"/>
                    <a:gd name="connsiteX1" fmla="*/ 14365 w 43650"/>
                    <a:gd name="connsiteY1" fmla="*/ 12362 h 16634"/>
                    <a:gd name="connsiteX2" fmla="*/ 43512 w 43650"/>
                    <a:gd name="connsiteY2" fmla="*/ 11410 h 16634"/>
                    <a:gd name="connsiteX3" fmla="*/ 1888 w 43650"/>
                    <a:gd name="connsiteY3" fmla="*/ 170 h 16634"/>
                  </a:gdLst>
                  <a:ahLst/>
                  <a:cxnLst>
                    <a:cxn ang="0">
                      <a:pos x="connsiteX0" y="connsiteY0"/>
                    </a:cxn>
                    <a:cxn ang="0">
                      <a:pos x="connsiteX1" y="connsiteY1"/>
                    </a:cxn>
                    <a:cxn ang="0">
                      <a:pos x="connsiteX2" y="connsiteY2"/>
                    </a:cxn>
                    <a:cxn ang="0">
                      <a:pos x="connsiteX3" y="connsiteY3"/>
                    </a:cxn>
                  </a:cxnLst>
                  <a:rect l="l" t="t" r="r" b="b"/>
                  <a:pathLst>
                    <a:path w="43650" h="16634">
                      <a:moveTo>
                        <a:pt x="1792" y="170"/>
                      </a:moveTo>
                      <a:cubicBezTo>
                        <a:pt x="-5351" y="2837"/>
                        <a:pt x="10936" y="10838"/>
                        <a:pt x="14365" y="12362"/>
                      </a:cubicBezTo>
                      <a:cubicBezTo>
                        <a:pt x="35892" y="22459"/>
                        <a:pt x="43417" y="11505"/>
                        <a:pt x="43512" y="11410"/>
                      </a:cubicBezTo>
                      <a:cubicBezTo>
                        <a:pt x="46179" y="5599"/>
                        <a:pt x="9698" y="-1163"/>
                        <a:pt x="1888" y="170"/>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Segoe UI"/>
                    <a:ea typeface="+mn-ea"/>
                    <a:cs typeface="+mn-cs"/>
                  </a:endParaRPr>
                </a:p>
              </p:txBody>
            </p:sp>
            <p:sp>
              <p:nvSpPr>
                <p:cNvPr id="66" name="Freeform: Shape 65">
                  <a:extLst>
                    <a:ext uri="{FF2B5EF4-FFF2-40B4-BE49-F238E27FC236}">
                      <a16:creationId xmlns:a16="http://schemas.microsoft.com/office/drawing/2014/main" id="{120C6853-1237-2D6C-599D-2C9A1D61DEE2}"/>
                    </a:ext>
                  </a:extLst>
                </p:cNvPr>
                <p:cNvSpPr/>
                <p:nvPr/>
              </p:nvSpPr>
              <p:spPr>
                <a:xfrm>
                  <a:off x="9964768" y="4225291"/>
                  <a:ext cx="175354" cy="184309"/>
                </a:xfrm>
                <a:custGeom>
                  <a:avLst/>
                  <a:gdLst>
                    <a:gd name="connsiteX0" fmla="*/ 166211 w 175354"/>
                    <a:gd name="connsiteY0" fmla="*/ 10382 h 184309"/>
                    <a:gd name="connsiteX1" fmla="*/ 126492 w 175354"/>
                    <a:gd name="connsiteY1" fmla="*/ 46577 h 184309"/>
                    <a:gd name="connsiteX2" fmla="*/ 90773 w 175354"/>
                    <a:gd name="connsiteY2" fmla="*/ 84582 h 184309"/>
                    <a:gd name="connsiteX3" fmla="*/ 68389 w 175354"/>
                    <a:gd name="connsiteY3" fmla="*/ 108490 h 184309"/>
                    <a:gd name="connsiteX4" fmla="*/ 0 w 175354"/>
                    <a:gd name="connsiteY4" fmla="*/ 184309 h 184309"/>
                    <a:gd name="connsiteX5" fmla="*/ 49816 w 175354"/>
                    <a:gd name="connsiteY5" fmla="*/ 146685 h 184309"/>
                    <a:gd name="connsiteX6" fmla="*/ 140970 w 175354"/>
                    <a:gd name="connsiteY6" fmla="*/ 49435 h 184309"/>
                    <a:gd name="connsiteX7" fmla="*/ 138208 w 175354"/>
                    <a:gd name="connsiteY7" fmla="*/ 54769 h 184309"/>
                    <a:gd name="connsiteX8" fmla="*/ 142399 w 175354"/>
                    <a:gd name="connsiteY8" fmla="*/ 50197 h 184309"/>
                    <a:gd name="connsiteX9" fmla="*/ 175355 w 175354"/>
                    <a:gd name="connsiteY9" fmla="*/ 381 h 184309"/>
                    <a:gd name="connsiteX10" fmla="*/ 174593 w 175354"/>
                    <a:gd name="connsiteY10" fmla="*/ 0 h 184309"/>
                    <a:gd name="connsiteX11" fmla="*/ 166306 w 175354"/>
                    <a:gd name="connsiteY11" fmla="*/ 10287 h 18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5354" h="184309">
                      <a:moveTo>
                        <a:pt x="166211" y="10382"/>
                      </a:moveTo>
                      <a:cubicBezTo>
                        <a:pt x="142589" y="40862"/>
                        <a:pt x="142018" y="41053"/>
                        <a:pt x="126492" y="46577"/>
                      </a:cubicBezTo>
                      <a:cubicBezTo>
                        <a:pt x="113824" y="51054"/>
                        <a:pt x="109823" y="56864"/>
                        <a:pt x="90773" y="84582"/>
                      </a:cubicBezTo>
                      <a:cubicBezTo>
                        <a:pt x="81343" y="98393"/>
                        <a:pt x="77819" y="101155"/>
                        <a:pt x="68389" y="108490"/>
                      </a:cubicBezTo>
                      <a:cubicBezTo>
                        <a:pt x="39719" y="130969"/>
                        <a:pt x="1048" y="180308"/>
                        <a:pt x="0" y="184309"/>
                      </a:cubicBezTo>
                      <a:cubicBezTo>
                        <a:pt x="6925" y="184375"/>
                        <a:pt x="23527" y="171831"/>
                        <a:pt x="49816" y="146685"/>
                      </a:cubicBezTo>
                      <a:cubicBezTo>
                        <a:pt x="82010" y="115919"/>
                        <a:pt x="110204" y="81534"/>
                        <a:pt x="140970" y="49435"/>
                      </a:cubicBezTo>
                      <a:cubicBezTo>
                        <a:pt x="140903" y="50006"/>
                        <a:pt x="139989" y="51787"/>
                        <a:pt x="138208" y="54769"/>
                      </a:cubicBezTo>
                      <a:cubicBezTo>
                        <a:pt x="139036" y="54197"/>
                        <a:pt x="140427" y="52673"/>
                        <a:pt x="142399" y="50197"/>
                      </a:cubicBezTo>
                      <a:cubicBezTo>
                        <a:pt x="149638" y="41053"/>
                        <a:pt x="171831" y="11049"/>
                        <a:pt x="175355" y="381"/>
                      </a:cubicBezTo>
                      <a:cubicBezTo>
                        <a:pt x="175165" y="286"/>
                        <a:pt x="174784" y="95"/>
                        <a:pt x="174593" y="0"/>
                      </a:cubicBezTo>
                      <a:cubicBezTo>
                        <a:pt x="172945" y="1838"/>
                        <a:pt x="170183" y="5267"/>
                        <a:pt x="166306" y="10287"/>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Segoe UI"/>
                    <a:ea typeface="+mn-ea"/>
                    <a:cs typeface="+mn-cs"/>
                  </a:endParaRPr>
                </a:p>
              </p:txBody>
            </p:sp>
            <p:sp>
              <p:nvSpPr>
                <p:cNvPr id="67" name="Freeform: Shape 66">
                  <a:extLst>
                    <a:ext uri="{FF2B5EF4-FFF2-40B4-BE49-F238E27FC236}">
                      <a16:creationId xmlns:a16="http://schemas.microsoft.com/office/drawing/2014/main" id="{BA31E9B6-61C4-B252-90B2-A9EF6118F90F}"/>
                    </a:ext>
                  </a:extLst>
                </p:cNvPr>
                <p:cNvSpPr/>
                <p:nvPr/>
              </p:nvSpPr>
              <p:spPr>
                <a:xfrm>
                  <a:off x="7965025" y="2430926"/>
                  <a:ext cx="1374807" cy="2254148"/>
                </a:xfrm>
                <a:custGeom>
                  <a:avLst/>
                  <a:gdLst>
                    <a:gd name="connsiteX0" fmla="*/ 1367188 w 1374807"/>
                    <a:gd name="connsiteY0" fmla="*/ 1581290 h 2254148"/>
                    <a:gd name="connsiteX1" fmla="*/ 1366140 w 1374807"/>
                    <a:gd name="connsiteY1" fmla="*/ 1554906 h 2254148"/>
                    <a:gd name="connsiteX2" fmla="*/ 1342613 w 1374807"/>
                    <a:gd name="connsiteY2" fmla="*/ 1555096 h 2254148"/>
                    <a:gd name="connsiteX3" fmla="*/ 1276129 w 1374807"/>
                    <a:gd name="connsiteY3" fmla="*/ 1519949 h 2254148"/>
                    <a:gd name="connsiteX4" fmla="*/ 1165449 w 1374807"/>
                    <a:gd name="connsiteY4" fmla="*/ 1493089 h 2254148"/>
                    <a:gd name="connsiteX5" fmla="*/ 1128968 w 1374807"/>
                    <a:gd name="connsiteY5" fmla="*/ 1446321 h 2254148"/>
                    <a:gd name="connsiteX6" fmla="*/ 1066198 w 1374807"/>
                    <a:gd name="connsiteY6" fmla="*/ 1394505 h 2254148"/>
                    <a:gd name="connsiteX7" fmla="*/ 967233 w 1374807"/>
                    <a:gd name="connsiteY7" fmla="*/ 1364501 h 2254148"/>
                    <a:gd name="connsiteX8" fmla="*/ 901130 w 1374807"/>
                    <a:gd name="connsiteY8" fmla="*/ 1312685 h 2254148"/>
                    <a:gd name="connsiteX9" fmla="*/ 887890 w 1374807"/>
                    <a:gd name="connsiteY9" fmla="*/ 1308589 h 2254148"/>
                    <a:gd name="connsiteX10" fmla="*/ 653099 w 1374807"/>
                    <a:gd name="connsiteY10" fmla="*/ 1373931 h 2254148"/>
                    <a:gd name="connsiteX11" fmla="*/ 529560 w 1374807"/>
                    <a:gd name="connsiteY11" fmla="*/ 1327734 h 2254148"/>
                    <a:gd name="connsiteX12" fmla="*/ 518796 w 1374807"/>
                    <a:gd name="connsiteY12" fmla="*/ 1262964 h 2254148"/>
                    <a:gd name="connsiteX13" fmla="*/ 431261 w 1374807"/>
                    <a:gd name="connsiteY13" fmla="*/ 1261536 h 2254148"/>
                    <a:gd name="connsiteX14" fmla="*/ 433833 w 1374807"/>
                    <a:gd name="connsiteY14" fmla="*/ 1214768 h 2254148"/>
                    <a:gd name="connsiteX15" fmla="*/ 451169 w 1374807"/>
                    <a:gd name="connsiteY15" fmla="*/ 1158380 h 2254148"/>
                    <a:gd name="connsiteX16" fmla="*/ 386589 w 1374807"/>
                    <a:gd name="connsiteY16" fmla="*/ 1224198 h 2254148"/>
                    <a:gd name="connsiteX17" fmla="*/ 339822 w 1374807"/>
                    <a:gd name="connsiteY17" fmla="*/ 1235628 h 2254148"/>
                    <a:gd name="connsiteX18" fmla="*/ 274289 w 1374807"/>
                    <a:gd name="connsiteY18" fmla="*/ 1159904 h 2254148"/>
                    <a:gd name="connsiteX19" fmla="*/ 285434 w 1374807"/>
                    <a:gd name="connsiteY19" fmla="*/ 1101801 h 2254148"/>
                    <a:gd name="connsiteX20" fmla="*/ 272384 w 1374807"/>
                    <a:gd name="connsiteY20" fmla="*/ 1067988 h 2254148"/>
                    <a:gd name="connsiteX21" fmla="*/ 321724 w 1374807"/>
                    <a:gd name="connsiteY21" fmla="*/ 1006742 h 2254148"/>
                    <a:gd name="connsiteX22" fmla="*/ 394019 w 1374807"/>
                    <a:gd name="connsiteY22" fmla="*/ 1008456 h 2254148"/>
                    <a:gd name="connsiteX23" fmla="*/ 399162 w 1374807"/>
                    <a:gd name="connsiteY23" fmla="*/ 1004265 h 2254148"/>
                    <a:gd name="connsiteX24" fmla="*/ 383446 w 1374807"/>
                    <a:gd name="connsiteY24" fmla="*/ 993883 h 2254148"/>
                    <a:gd name="connsiteX25" fmla="*/ 384780 w 1374807"/>
                    <a:gd name="connsiteY25" fmla="*/ 987597 h 2254148"/>
                    <a:gd name="connsiteX26" fmla="*/ 487364 w 1374807"/>
                    <a:gd name="connsiteY26" fmla="*/ 973309 h 2254148"/>
                    <a:gd name="connsiteX27" fmla="*/ 539847 w 1374807"/>
                    <a:gd name="connsiteY27" fmla="*/ 1070274 h 2254148"/>
                    <a:gd name="connsiteX28" fmla="*/ 520987 w 1374807"/>
                    <a:gd name="connsiteY28" fmla="*/ 935781 h 2254148"/>
                    <a:gd name="connsiteX29" fmla="*/ 604426 w 1374807"/>
                    <a:gd name="connsiteY29" fmla="*/ 845293 h 2254148"/>
                    <a:gd name="connsiteX30" fmla="*/ 603759 w 1374807"/>
                    <a:gd name="connsiteY30" fmla="*/ 845293 h 2254148"/>
                    <a:gd name="connsiteX31" fmla="*/ 599759 w 1374807"/>
                    <a:gd name="connsiteY31" fmla="*/ 840817 h 2254148"/>
                    <a:gd name="connsiteX32" fmla="*/ 600521 w 1374807"/>
                    <a:gd name="connsiteY32" fmla="*/ 835006 h 2254148"/>
                    <a:gd name="connsiteX33" fmla="*/ 606141 w 1374807"/>
                    <a:gd name="connsiteY33" fmla="*/ 833292 h 2254148"/>
                    <a:gd name="connsiteX34" fmla="*/ 606807 w 1374807"/>
                    <a:gd name="connsiteY34" fmla="*/ 826338 h 2254148"/>
                    <a:gd name="connsiteX35" fmla="*/ 601187 w 1374807"/>
                    <a:gd name="connsiteY35" fmla="*/ 824243 h 2254148"/>
                    <a:gd name="connsiteX36" fmla="*/ 610141 w 1374807"/>
                    <a:gd name="connsiteY36" fmla="*/ 735565 h 2254148"/>
                    <a:gd name="connsiteX37" fmla="*/ 610808 w 1374807"/>
                    <a:gd name="connsiteY37" fmla="*/ 788715 h 2254148"/>
                    <a:gd name="connsiteX38" fmla="*/ 618714 w 1374807"/>
                    <a:gd name="connsiteY38" fmla="*/ 727659 h 2254148"/>
                    <a:gd name="connsiteX39" fmla="*/ 629001 w 1374807"/>
                    <a:gd name="connsiteY39" fmla="*/ 746043 h 2254148"/>
                    <a:gd name="connsiteX40" fmla="*/ 646622 w 1374807"/>
                    <a:gd name="connsiteY40" fmla="*/ 702513 h 2254148"/>
                    <a:gd name="connsiteX41" fmla="*/ 703010 w 1374807"/>
                    <a:gd name="connsiteY41" fmla="*/ 674129 h 2254148"/>
                    <a:gd name="connsiteX42" fmla="*/ 733585 w 1374807"/>
                    <a:gd name="connsiteY42" fmla="*/ 604311 h 2254148"/>
                    <a:gd name="connsiteX43" fmla="*/ 812452 w 1374807"/>
                    <a:gd name="connsiteY43" fmla="*/ 561353 h 2254148"/>
                    <a:gd name="connsiteX44" fmla="*/ 809975 w 1374807"/>
                    <a:gd name="connsiteY44" fmla="*/ 566592 h 2254148"/>
                    <a:gd name="connsiteX45" fmla="*/ 823406 w 1374807"/>
                    <a:gd name="connsiteY45" fmla="*/ 569259 h 2254148"/>
                    <a:gd name="connsiteX46" fmla="*/ 823406 w 1374807"/>
                    <a:gd name="connsiteY46" fmla="*/ 575736 h 2254148"/>
                    <a:gd name="connsiteX47" fmla="*/ 779686 w 1374807"/>
                    <a:gd name="connsiteY47" fmla="*/ 615264 h 2254148"/>
                    <a:gd name="connsiteX48" fmla="*/ 882746 w 1374807"/>
                    <a:gd name="connsiteY48" fmla="*/ 522967 h 2254148"/>
                    <a:gd name="connsiteX49" fmla="*/ 862458 w 1374807"/>
                    <a:gd name="connsiteY49" fmla="*/ 557638 h 2254148"/>
                    <a:gd name="connsiteX50" fmla="*/ 838550 w 1374807"/>
                    <a:gd name="connsiteY50" fmla="*/ 550875 h 2254148"/>
                    <a:gd name="connsiteX51" fmla="*/ 849981 w 1374807"/>
                    <a:gd name="connsiteY51" fmla="*/ 542493 h 2254148"/>
                    <a:gd name="connsiteX52" fmla="*/ 850076 w 1374807"/>
                    <a:gd name="connsiteY52" fmla="*/ 542112 h 2254148"/>
                    <a:gd name="connsiteX53" fmla="*/ 849981 w 1374807"/>
                    <a:gd name="connsiteY53" fmla="*/ 541922 h 2254148"/>
                    <a:gd name="connsiteX54" fmla="*/ 847504 w 1374807"/>
                    <a:gd name="connsiteY54" fmla="*/ 542112 h 2254148"/>
                    <a:gd name="connsiteX55" fmla="*/ 827025 w 1374807"/>
                    <a:gd name="connsiteY55" fmla="*/ 540207 h 2254148"/>
                    <a:gd name="connsiteX56" fmla="*/ 820834 w 1374807"/>
                    <a:gd name="connsiteY56" fmla="*/ 529158 h 2254148"/>
                    <a:gd name="connsiteX57" fmla="*/ 820453 w 1374807"/>
                    <a:gd name="connsiteY57" fmla="*/ 526968 h 2254148"/>
                    <a:gd name="connsiteX58" fmla="*/ 820167 w 1374807"/>
                    <a:gd name="connsiteY58" fmla="*/ 527158 h 2254148"/>
                    <a:gd name="connsiteX59" fmla="*/ 819310 w 1374807"/>
                    <a:gd name="connsiteY59" fmla="*/ 544017 h 2254148"/>
                    <a:gd name="connsiteX60" fmla="*/ 801784 w 1374807"/>
                    <a:gd name="connsiteY60" fmla="*/ 519443 h 2254148"/>
                    <a:gd name="connsiteX61" fmla="*/ 786068 w 1374807"/>
                    <a:gd name="connsiteY61" fmla="*/ 509156 h 2254148"/>
                    <a:gd name="connsiteX62" fmla="*/ 816548 w 1374807"/>
                    <a:gd name="connsiteY62" fmla="*/ 485915 h 2254148"/>
                    <a:gd name="connsiteX63" fmla="*/ 696057 w 1374807"/>
                    <a:gd name="connsiteY63" fmla="*/ 548304 h 2254148"/>
                    <a:gd name="connsiteX64" fmla="*/ 852933 w 1374807"/>
                    <a:gd name="connsiteY64" fmla="*/ 443719 h 2254148"/>
                    <a:gd name="connsiteX65" fmla="*/ 964662 w 1374807"/>
                    <a:gd name="connsiteY65" fmla="*/ 393237 h 2254148"/>
                    <a:gd name="connsiteX66" fmla="*/ 966471 w 1374807"/>
                    <a:gd name="connsiteY66" fmla="*/ 368948 h 2254148"/>
                    <a:gd name="connsiteX67" fmla="*/ 962852 w 1374807"/>
                    <a:gd name="connsiteY67" fmla="*/ 363328 h 2254148"/>
                    <a:gd name="connsiteX68" fmla="*/ 943325 w 1374807"/>
                    <a:gd name="connsiteY68" fmla="*/ 359137 h 2254148"/>
                    <a:gd name="connsiteX69" fmla="*/ 937611 w 1374807"/>
                    <a:gd name="connsiteY69" fmla="*/ 359137 h 2254148"/>
                    <a:gd name="connsiteX70" fmla="*/ 900368 w 1374807"/>
                    <a:gd name="connsiteY70" fmla="*/ 374568 h 2254148"/>
                    <a:gd name="connsiteX71" fmla="*/ 897987 w 1374807"/>
                    <a:gd name="connsiteY71" fmla="*/ 369234 h 2254148"/>
                    <a:gd name="connsiteX72" fmla="*/ 931610 w 1374807"/>
                    <a:gd name="connsiteY72" fmla="*/ 349517 h 2254148"/>
                    <a:gd name="connsiteX73" fmla="*/ 789402 w 1374807"/>
                    <a:gd name="connsiteY73" fmla="*/ 362471 h 2254148"/>
                    <a:gd name="connsiteX74" fmla="*/ 931895 w 1374807"/>
                    <a:gd name="connsiteY74" fmla="*/ 349422 h 2254148"/>
                    <a:gd name="connsiteX75" fmla="*/ 935706 w 1374807"/>
                    <a:gd name="connsiteY75" fmla="*/ 346850 h 2254148"/>
                    <a:gd name="connsiteX76" fmla="*/ 894462 w 1374807"/>
                    <a:gd name="connsiteY76" fmla="*/ 334086 h 2254148"/>
                    <a:gd name="connsiteX77" fmla="*/ 886366 w 1374807"/>
                    <a:gd name="connsiteY77" fmla="*/ 334563 h 2254148"/>
                    <a:gd name="connsiteX78" fmla="*/ 885128 w 1374807"/>
                    <a:gd name="connsiteY78" fmla="*/ 320561 h 2254148"/>
                    <a:gd name="connsiteX79" fmla="*/ 867411 w 1374807"/>
                    <a:gd name="connsiteY79" fmla="*/ 310179 h 2254148"/>
                    <a:gd name="connsiteX80" fmla="*/ 870364 w 1374807"/>
                    <a:gd name="connsiteY80" fmla="*/ 300558 h 2254148"/>
                    <a:gd name="connsiteX81" fmla="*/ 864173 w 1374807"/>
                    <a:gd name="connsiteY81" fmla="*/ 273031 h 2254148"/>
                    <a:gd name="connsiteX82" fmla="*/ 821596 w 1374807"/>
                    <a:gd name="connsiteY82" fmla="*/ 248647 h 2254148"/>
                    <a:gd name="connsiteX83" fmla="*/ 821310 w 1374807"/>
                    <a:gd name="connsiteY83" fmla="*/ 261220 h 2254148"/>
                    <a:gd name="connsiteX84" fmla="*/ 805880 w 1374807"/>
                    <a:gd name="connsiteY84" fmla="*/ 266935 h 2254148"/>
                    <a:gd name="connsiteX85" fmla="*/ 794450 w 1374807"/>
                    <a:gd name="connsiteY85" fmla="*/ 279889 h 2254148"/>
                    <a:gd name="connsiteX86" fmla="*/ 754540 w 1374807"/>
                    <a:gd name="connsiteY86" fmla="*/ 269031 h 2254148"/>
                    <a:gd name="connsiteX87" fmla="*/ 765779 w 1374807"/>
                    <a:gd name="connsiteY87" fmla="*/ 230359 h 2254148"/>
                    <a:gd name="connsiteX88" fmla="*/ 741586 w 1374807"/>
                    <a:gd name="connsiteY88" fmla="*/ 228645 h 2254148"/>
                    <a:gd name="connsiteX89" fmla="*/ 736157 w 1374807"/>
                    <a:gd name="connsiteY89" fmla="*/ 222549 h 2254148"/>
                    <a:gd name="connsiteX90" fmla="*/ 713773 w 1374807"/>
                    <a:gd name="connsiteY90" fmla="*/ 211309 h 2254148"/>
                    <a:gd name="connsiteX91" fmla="*/ 705105 w 1374807"/>
                    <a:gd name="connsiteY91" fmla="*/ 210261 h 2254148"/>
                    <a:gd name="connsiteX92" fmla="*/ 650622 w 1374807"/>
                    <a:gd name="connsiteY92" fmla="*/ 218358 h 2254148"/>
                    <a:gd name="connsiteX93" fmla="*/ 647193 w 1374807"/>
                    <a:gd name="connsiteY93" fmla="*/ 267221 h 2254148"/>
                    <a:gd name="connsiteX94" fmla="*/ 633382 w 1374807"/>
                    <a:gd name="connsiteY94" fmla="*/ 287604 h 2254148"/>
                    <a:gd name="connsiteX95" fmla="*/ 644241 w 1374807"/>
                    <a:gd name="connsiteY95" fmla="*/ 315798 h 2254148"/>
                    <a:gd name="connsiteX96" fmla="*/ 620428 w 1374807"/>
                    <a:gd name="connsiteY96" fmla="*/ 364662 h 2254148"/>
                    <a:gd name="connsiteX97" fmla="*/ 605378 w 1374807"/>
                    <a:gd name="connsiteY97" fmla="*/ 378854 h 2254148"/>
                    <a:gd name="connsiteX98" fmla="*/ 598616 w 1374807"/>
                    <a:gd name="connsiteY98" fmla="*/ 384759 h 2254148"/>
                    <a:gd name="connsiteX99" fmla="*/ 580137 w 1374807"/>
                    <a:gd name="connsiteY99" fmla="*/ 460102 h 2254148"/>
                    <a:gd name="connsiteX100" fmla="*/ 543371 w 1374807"/>
                    <a:gd name="connsiteY100" fmla="*/ 433908 h 2254148"/>
                    <a:gd name="connsiteX101" fmla="*/ 543561 w 1374807"/>
                    <a:gd name="connsiteY101" fmla="*/ 398285 h 2254148"/>
                    <a:gd name="connsiteX102" fmla="*/ 550514 w 1374807"/>
                    <a:gd name="connsiteY102" fmla="*/ 392665 h 2254148"/>
                    <a:gd name="connsiteX103" fmla="*/ 550229 w 1374807"/>
                    <a:gd name="connsiteY103" fmla="*/ 388474 h 2254148"/>
                    <a:gd name="connsiteX104" fmla="*/ 543085 w 1374807"/>
                    <a:gd name="connsiteY104" fmla="*/ 387998 h 2254148"/>
                    <a:gd name="connsiteX105" fmla="*/ 504890 w 1374807"/>
                    <a:gd name="connsiteY105" fmla="*/ 383521 h 2254148"/>
                    <a:gd name="connsiteX106" fmla="*/ 473457 w 1374807"/>
                    <a:gd name="connsiteY106" fmla="*/ 362852 h 2254148"/>
                    <a:gd name="connsiteX107" fmla="*/ 466313 w 1374807"/>
                    <a:gd name="connsiteY107" fmla="*/ 361042 h 2254148"/>
                    <a:gd name="connsiteX108" fmla="*/ 437548 w 1374807"/>
                    <a:gd name="connsiteY108" fmla="*/ 370091 h 2254148"/>
                    <a:gd name="connsiteX109" fmla="*/ 429928 w 1374807"/>
                    <a:gd name="connsiteY109" fmla="*/ 341897 h 2254148"/>
                    <a:gd name="connsiteX110" fmla="*/ 407449 w 1374807"/>
                    <a:gd name="connsiteY110" fmla="*/ 331419 h 2254148"/>
                    <a:gd name="connsiteX111" fmla="*/ 496889 w 1374807"/>
                    <a:gd name="connsiteY111" fmla="*/ 234455 h 2254148"/>
                    <a:gd name="connsiteX112" fmla="*/ 478791 w 1374807"/>
                    <a:gd name="connsiteY112" fmla="*/ 225406 h 2254148"/>
                    <a:gd name="connsiteX113" fmla="*/ 564802 w 1374807"/>
                    <a:gd name="connsiteY113" fmla="*/ 182353 h 2254148"/>
                    <a:gd name="connsiteX114" fmla="*/ 521939 w 1374807"/>
                    <a:gd name="connsiteY114" fmla="*/ 177019 h 2254148"/>
                    <a:gd name="connsiteX115" fmla="*/ 584138 w 1374807"/>
                    <a:gd name="connsiteY115" fmla="*/ 158636 h 2254148"/>
                    <a:gd name="connsiteX116" fmla="*/ 578137 w 1374807"/>
                    <a:gd name="connsiteY116" fmla="*/ 156540 h 2254148"/>
                    <a:gd name="connsiteX117" fmla="*/ 598997 w 1374807"/>
                    <a:gd name="connsiteY117" fmla="*/ 150921 h 2254148"/>
                    <a:gd name="connsiteX118" fmla="*/ 643955 w 1374807"/>
                    <a:gd name="connsiteY118" fmla="*/ 129870 h 2254148"/>
                    <a:gd name="connsiteX119" fmla="*/ 649765 w 1374807"/>
                    <a:gd name="connsiteY119" fmla="*/ 123108 h 2254148"/>
                    <a:gd name="connsiteX120" fmla="*/ 650718 w 1374807"/>
                    <a:gd name="connsiteY120" fmla="*/ 103296 h 2254148"/>
                    <a:gd name="connsiteX121" fmla="*/ 665576 w 1374807"/>
                    <a:gd name="connsiteY121" fmla="*/ 93485 h 2254148"/>
                    <a:gd name="connsiteX122" fmla="*/ 669958 w 1374807"/>
                    <a:gd name="connsiteY122" fmla="*/ 83484 h 2254148"/>
                    <a:gd name="connsiteX123" fmla="*/ 629572 w 1374807"/>
                    <a:gd name="connsiteY123" fmla="*/ 95961 h 2254148"/>
                    <a:gd name="connsiteX124" fmla="*/ 575470 w 1374807"/>
                    <a:gd name="connsiteY124" fmla="*/ 129775 h 2254148"/>
                    <a:gd name="connsiteX125" fmla="*/ 591758 w 1374807"/>
                    <a:gd name="connsiteY125" fmla="*/ 94723 h 2254148"/>
                    <a:gd name="connsiteX126" fmla="*/ 561182 w 1374807"/>
                    <a:gd name="connsiteY126" fmla="*/ 123774 h 2254148"/>
                    <a:gd name="connsiteX127" fmla="*/ 573374 w 1374807"/>
                    <a:gd name="connsiteY127" fmla="*/ 97485 h 2254148"/>
                    <a:gd name="connsiteX128" fmla="*/ 559849 w 1374807"/>
                    <a:gd name="connsiteY128" fmla="*/ 96723 h 2254148"/>
                    <a:gd name="connsiteX129" fmla="*/ 581947 w 1374807"/>
                    <a:gd name="connsiteY129" fmla="*/ 56814 h 2254148"/>
                    <a:gd name="connsiteX130" fmla="*/ 578613 w 1374807"/>
                    <a:gd name="connsiteY130" fmla="*/ 54337 h 2254148"/>
                    <a:gd name="connsiteX131" fmla="*/ 650146 w 1374807"/>
                    <a:gd name="connsiteY131" fmla="*/ 140 h 2254148"/>
                    <a:gd name="connsiteX132" fmla="*/ 639478 w 1374807"/>
                    <a:gd name="connsiteY132" fmla="*/ 807 h 2254148"/>
                    <a:gd name="connsiteX133" fmla="*/ 528131 w 1374807"/>
                    <a:gd name="connsiteY133" fmla="*/ 101105 h 2254148"/>
                    <a:gd name="connsiteX134" fmla="*/ 529750 w 1374807"/>
                    <a:gd name="connsiteY134" fmla="*/ 104439 h 2254148"/>
                    <a:gd name="connsiteX135" fmla="*/ 544704 w 1374807"/>
                    <a:gd name="connsiteY135" fmla="*/ 103010 h 2254148"/>
                    <a:gd name="connsiteX136" fmla="*/ 545466 w 1374807"/>
                    <a:gd name="connsiteY136" fmla="*/ 106058 h 2254148"/>
                    <a:gd name="connsiteX137" fmla="*/ 528607 w 1374807"/>
                    <a:gd name="connsiteY137" fmla="*/ 116726 h 2254148"/>
                    <a:gd name="connsiteX138" fmla="*/ 528607 w 1374807"/>
                    <a:gd name="connsiteY138" fmla="*/ 119202 h 2254148"/>
                    <a:gd name="connsiteX139" fmla="*/ 528607 w 1374807"/>
                    <a:gd name="connsiteY139" fmla="*/ 119202 h 2254148"/>
                    <a:gd name="connsiteX140" fmla="*/ 531655 w 1374807"/>
                    <a:gd name="connsiteY140" fmla="*/ 119869 h 2254148"/>
                    <a:gd name="connsiteX141" fmla="*/ 491459 w 1374807"/>
                    <a:gd name="connsiteY141" fmla="*/ 162065 h 2254148"/>
                    <a:gd name="connsiteX142" fmla="*/ 498127 w 1374807"/>
                    <a:gd name="connsiteY142" fmla="*/ 138729 h 2254148"/>
                    <a:gd name="connsiteX143" fmla="*/ 463075 w 1374807"/>
                    <a:gd name="connsiteY143" fmla="*/ 157779 h 2254148"/>
                    <a:gd name="connsiteX144" fmla="*/ 419546 w 1374807"/>
                    <a:gd name="connsiteY144" fmla="*/ 163113 h 2254148"/>
                    <a:gd name="connsiteX145" fmla="*/ 415545 w 1374807"/>
                    <a:gd name="connsiteY145" fmla="*/ 152730 h 2254148"/>
                    <a:gd name="connsiteX146" fmla="*/ 364872 w 1374807"/>
                    <a:gd name="connsiteY146" fmla="*/ 206166 h 2254148"/>
                    <a:gd name="connsiteX147" fmla="*/ 367920 w 1374807"/>
                    <a:gd name="connsiteY147" fmla="*/ 184353 h 2254148"/>
                    <a:gd name="connsiteX148" fmla="*/ 325820 w 1374807"/>
                    <a:gd name="connsiteY148" fmla="*/ 196164 h 2254148"/>
                    <a:gd name="connsiteX149" fmla="*/ 345536 w 1374807"/>
                    <a:gd name="connsiteY149" fmla="*/ 176638 h 2254148"/>
                    <a:gd name="connsiteX150" fmla="*/ 342774 w 1374807"/>
                    <a:gd name="connsiteY150" fmla="*/ 175114 h 2254148"/>
                    <a:gd name="connsiteX151" fmla="*/ 328391 w 1374807"/>
                    <a:gd name="connsiteY151" fmla="*/ 176257 h 2254148"/>
                    <a:gd name="connsiteX152" fmla="*/ 323915 w 1374807"/>
                    <a:gd name="connsiteY152" fmla="*/ 171209 h 2254148"/>
                    <a:gd name="connsiteX153" fmla="*/ 306770 w 1374807"/>
                    <a:gd name="connsiteY153" fmla="*/ 182925 h 2254148"/>
                    <a:gd name="connsiteX154" fmla="*/ 310865 w 1374807"/>
                    <a:gd name="connsiteY154" fmla="*/ 176638 h 2254148"/>
                    <a:gd name="connsiteX155" fmla="*/ 300483 w 1374807"/>
                    <a:gd name="connsiteY155" fmla="*/ 185687 h 2254148"/>
                    <a:gd name="connsiteX156" fmla="*/ 314009 w 1374807"/>
                    <a:gd name="connsiteY156" fmla="*/ 166161 h 2254148"/>
                    <a:gd name="connsiteX157" fmla="*/ 264669 w 1374807"/>
                    <a:gd name="connsiteY157" fmla="*/ 209309 h 2254148"/>
                    <a:gd name="connsiteX158" fmla="*/ 264669 w 1374807"/>
                    <a:gd name="connsiteY158" fmla="*/ 209309 h 2254148"/>
                    <a:gd name="connsiteX159" fmla="*/ 295911 w 1374807"/>
                    <a:gd name="connsiteY159" fmla="*/ 181496 h 2254148"/>
                    <a:gd name="connsiteX160" fmla="*/ 244571 w 1374807"/>
                    <a:gd name="connsiteY160" fmla="*/ 227121 h 2254148"/>
                    <a:gd name="connsiteX161" fmla="*/ 248286 w 1374807"/>
                    <a:gd name="connsiteY161" fmla="*/ 221596 h 2254148"/>
                    <a:gd name="connsiteX162" fmla="*/ 189517 w 1374807"/>
                    <a:gd name="connsiteY162" fmla="*/ 287604 h 2254148"/>
                    <a:gd name="connsiteX163" fmla="*/ 78170 w 1374807"/>
                    <a:gd name="connsiteY163" fmla="*/ 444672 h 2254148"/>
                    <a:gd name="connsiteX164" fmla="*/ 78455 w 1374807"/>
                    <a:gd name="connsiteY164" fmla="*/ 444195 h 2254148"/>
                    <a:gd name="connsiteX165" fmla="*/ 80170 w 1374807"/>
                    <a:gd name="connsiteY165" fmla="*/ 441624 h 2254148"/>
                    <a:gd name="connsiteX166" fmla="*/ 54833 w 1374807"/>
                    <a:gd name="connsiteY166" fmla="*/ 513918 h 2254148"/>
                    <a:gd name="connsiteX167" fmla="*/ 49976 w 1374807"/>
                    <a:gd name="connsiteY167" fmla="*/ 528873 h 2254148"/>
                    <a:gd name="connsiteX168" fmla="*/ 53405 w 1374807"/>
                    <a:gd name="connsiteY168" fmla="*/ 534492 h 2254148"/>
                    <a:gd name="connsiteX169" fmla="*/ 38546 w 1374807"/>
                    <a:gd name="connsiteY169" fmla="*/ 595833 h 2254148"/>
                    <a:gd name="connsiteX170" fmla="*/ 41689 w 1374807"/>
                    <a:gd name="connsiteY170" fmla="*/ 621932 h 2254148"/>
                    <a:gd name="connsiteX171" fmla="*/ 36069 w 1374807"/>
                    <a:gd name="connsiteY171" fmla="*/ 620884 h 2254148"/>
                    <a:gd name="connsiteX172" fmla="*/ 33593 w 1374807"/>
                    <a:gd name="connsiteY172" fmla="*/ 620027 h 2254148"/>
                    <a:gd name="connsiteX173" fmla="*/ 32259 w 1374807"/>
                    <a:gd name="connsiteY173" fmla="*/ 616693 h 2254148"/>
                    <a:gd name="connsiteX174" fmla="*/ 29306 w 1374807"/>
                    <a:gd name="connsiteY174" fmla="*/ 610407 h 2254148"/>
                    <a:gd name="connsiteX175" fmla="*/ 29306 w 1374807"/>
                    <a:gd name="connsiteY175" fmla="*/ 610407 h 2254148"/>
                    <a:gd name="connsiteX176" fmla="*/ 29687 w 1374807"/>
                    <a:gd name="connsiteY176" fmla="*/ 634695 h 2254148"/>
                    <a:gd name="connsiteX177" fmla="*/ 38736 w 1374807"/>
                    <a:gd name="connsiteY177" fmla="*/ 642411 h 2254148"/>
                    <a:gd name="connsiteX178" fmla="*/ 42927 w 1374807"/>
                    <a:gd name="connsiteY178" fmla="*/ 637839 h 2254148"/>
                    <a:gd name="connsiteX179" fmla="*/ 43975 w 1374807"/>
                    <a:gd name="connsiteY179" fmla="*/ 632314 h 2254148"/>
                    <a:gd name="connsiteX180" fmla="*/ 43594 w 1374807"/>
                    <a:gd name="connsiteY180" fmla="*/ 627933 h 2254148"/>
                    <a:gd name="connsiteX181" fmla="*/ 43594 w 1374807"/>
                    <a:gd name="connsiteY181" fmla="*/ 627456 h 2254148"/>
                    <a:gd name="connsiteX182" fmla="*/ 49309 w 1374807"/>
                    <a:gd name="connsiteY182" fmla="*/ 654412 h 2254148"/>
                    <a:gd name="connsiteX183" fmla="*/ 38927 w 1374807"/>
                    <a:gd name="connsiteY183" fmla="*/ 648888 h 2254148"/>
                    <a:gd name="connsiteX184" fmla="*/ 13019 w 1374807"/>
                    <a:gd name="connsiteY184" fmla="*/ 977881 h 2254148"/>
                    <a:gd name="connsiteX185" fmla="*/ 71312 w 1374807"/>
                    <a:gd name="connsiteY185" fmla="*/ 1091229 h 2254148"/>
                    <a:gd name="connsiteX186" fmla="*/ 58262 w 1374807"/>
                    <a:gd name="connsiteY186" fmla="*/ 1091610 h 2254148"/>
                    <a:gd name="connsiteX187" fmla="*/ 113888 w 1374807"/>
                    <a:gd name="connsiteY187" fmla="*/ 1168857 h 2254148"/>
                    <a:gd name="connsiteX188" fmla="*/ 100553 w 1374807"/>
                    <a:gd name="connsiteY188" fmla="*/ 1123995 h 2254148"/>
                    <a:gd name="connsiteX189" fmla="*/ 59501 w 1374807"/>
                    <a:gd name="connsiteY189" fmla="*/ 1014362 h 2254148"/>
                    <a:gd name="connsiteX190" fmla="*/ 89695 w 1374807"/>
                    <a:gd name="connsiteY190" fmla="*/ 1058463 h 2254148"/>
                    <a:gd name="connsiteX191" fmla="*/ 99315 w 1374807"/>
                    <a:gd name="connsiteY191" fmla="*/ 1088181 h 2254148"/>
                    <a:gd name="connsiteX192" fmla="*/ 131986 w 1374807"/>
                    <a:gd name="connsiteY192" fmla="*/ 1133710 h 2254148"/>
                    <a:gd name="connsiteX193" fmla="*/ 180468 w 1374807"/>
                    <a:gd name="connsiteY193" fmla="*/ 1186860 h 2254148"/>
                    <a:gd name="connsiteX194" fmla="*/ 204376 w 1374807"/>
                    <a:gd name="connsiteY194" fmla="*/ 1241629 h 2254148"/>
                    <a:gd name="connsiteX195" fmla="*/ 213996 w 1374807"/>
                    <a:gd name="connsiteY195" fmla="*/ 1246105 h 2254148"/>
                    <a:gd name="connsiteX196" fmla="*/ 231808 w 1374807"/>
                    <a:gd name="connsiteY196" fmla="*/ 1253439 h 2254148"/>
                    <a:gd name="connsiteX197" fmla="*/ 291244 w 1374807"/>
                    <a:gd name="connsiteY197" fmla="*/ 1266393 h 2254148"/>
                    <a:gd name="connsiteX198" fmla="*/ 352585 w 1374807"/>
                    <a:gd name="connsiteY198" fmla="*/ 1270965 h 2254148"/>
                    <a:gd name="connsiteX199" fmla="*/ 413736 w 1374807"/>
                    <a:gd name="connsiteY199" fmla="*/ 1298493 h 2254148"/>
                    <a:gd name="connsiteX200" fmla="*/ 421641 w 1374807"/>
                    <a:gd name="connsiteY200" fmla="*/ 1299445 h 2254148"/>
                    <a:gd name="connsiteX201" fmla="*/ 600140 w 1374807"/>
                    <a:gd name="connsiteY201" fmla="*/ 1394695 h 2254148"/>
                    <a:gd name="connsiteX202" fmla="*/ 663767 w 1374807"/>
                    <a:gd name="connsiteY202" fmla="*/ 1438701 h 2254148"/>
                    <a:gd name="connsiteX203" fmla="*/ 646622 w 1374807"/>
                    <a:gd name="connsiteY203" fmla="*/ 1491755 h 2254148"/>
                    <a:gd name="connsiteX204" fmla="*/ 635668 w 1374807"/>
                    <a:gd name="connsiteY204" fmla="*/ 1583957 h 2254148"/>
                    <a:gd name="connsiteX205" fmla="*/ 640145 w 1374807"/>
                    <a:gd name="connsiteY205" fmla="*/ 1591768 h 2254148"/>
                    <a:gd name="connsiteX206" fmla="*/ 771399 w 1374807"/>
                    <a:gd name="connsiteY206" fmla="*/ 1734071 h 2254148"/>
                    <a:gd name="connsiteX207" fmla="*/ 858744 w 1374807"/>
                    <a:gd name="connsiteY207" fmla="*/ 1780648 h 2254148"/>
                    <a:gd name="connsiteX208" fmla="*/ 902082 w 1374807"/>
                    <a:gd name="connsiteY208" fmla="*/ 1862373 h 2254148"/>
                    <a:gd name="connsiteX209" fmla="*/ 1012572 w 1374807"/>
                    <a:gd name="connsiteY209" fmla="*/ 2142789 h 2254148"/>
                    <a:gd name="connsiteX210" fmla="*/ 1187928 w 1374807"/>
                    <a:gd name="connsiteY210" fmla="*/ 2253565 h 2254148"/>
                    <a:gd name="connsiteX211" fmla="*/ 1113061 w 1374807"/>
                    <a:gd name="connsiteY211" fmla="*/ 2176031 h 2254148"/>
                    <a:gd name="connsiteX212" fmla="*/ 1079914 w 1374807"/>
                    <a:gd name="connsiteY212" fmla="*/ 2104117 h 2254148"/>
                    <a:gd name="connsiteX213" fmla="*/ 1098869 w 1374807"/>
                    <a:gd name="connsiteY213" fmla="*/ 2103546 h 2254148"/>
                    <a:gd name="connsiteX214" fmla="*/ 1079914 w 1374807"/>
                    <a:gd name="connsiteY214" fmla="*/ 2075828 h 2254148"/>
                    <a:gd name="connsiteX215" fmla="*/ 1093344 w 1374807"/>
                    <a:gd name="connsiteY215" fmla="*/ 2052682 h 2254148"/>
                    <a:gd name="connsiteX216" fmla="*/ 1096964 w 1374807"/>
                    <a:gd name="connsiteY216" fmla="*/ 2050396 h 2254148"/>
                    <a:gd name="connsiteX217" fmla="*/ 1124586 w 1374807"/>
                    <a:gd name="connsiteY217" fmla="*/ 2027346 h 2254148"/>
                    <a:gd name="connsiteX218" fmla="*/ 1117062 w 1374807"/>
                    <a:gd name="connsiteY218" fmla="*/ 2016773 h 2254148"/>
                    <a:gd name="connsiteX219" fmla="*/ 1200405 w 1374807"/>
                    <a:gd name="connsiteY219" fmla="*/ 1872564 h 2254148"/>
                    <a:gd name="connsiteX220" fmla="*/ 1239839 w 1374807"/>
                    <a:gd name="connsiteY220" fmla="*/ 1840084 h 2254148"/>
                    <a:gd name="connsiteX221" fmla="*/ 1275462 w 1374807"/>
                    <a:gd name="connsiteY221" fmla="*/ 1793888 h 2254148"/>
                    <a:gd name="connsiteX222" fmla="*/ 1292893 w 1374807"/>
                    <a:gd name="connsiteY222" fmla="*/ 1788459 h 2254148"/>
                    <a:gd name="connsiteX223" fmla="*/ 1303180 w 1374807"/>
                    <a:gd name="connsiteY223" fmla="*/ 1781601 h 2254148"/>
                    <a:gd name="connsiteX224" fmla="*/ 1304799 w 1374807"/>
                    <a:gd name="connsiteY224" fmla="*/ 1728356 h 2254148"/>
                    <a:gd name="connsiteX225" fmla="*/ 1306038 w 1374807"/>
                    <a:gd name="connsiteY225" fmla="*/ 1698543 h 2254148"/>
                    <a:gd name="connsiteX226" fmla="*/ 1311086 w 1374807"/>
                    <a:gd name="connsiteY226" fmla="*/ 1675778 h 2254148"/>
                    <a:gd name="connsiteX227" fmla="*/ 1308609 w 1374807"/>
                    <a:gd name="connsiteY227" fmla="*/ 1670730 h 2254148"/>
                    <a:gd name="connsiteX228" fmla="*/ 1374808 w 1374807"/>
                    <a:gd name="connsiteY228" fmla="*/ 1599578 h 2254148"/>
                    <a:gd name="connsiteX229" fmla="*/ 1374808 w 1374807"/>
                    <a:gd name="connsiteY229" fmla="*/ 1597578 h 2254148"/>
                    <a:gd name="connsiteX230" fmla="*/ 1367855 w 1374807"/>
                    <a:gd name="connsiteY230" fmla="*/ 1581576 h 2254148"/>
                    <a:gd name="connsiteX231" fmla="*/ 142940 w 1374807"/>
                    <a:gd name="connsiteY231" fmla="*/ 478009 h 2254148"/>
                    <a:gd name="connsiteX232" fmla="*/ 197232 w 1374807"/>
                    <a:gd name="connsiteY232" fmla="*/ 461817 h 2254148"/>
                    <a:gd name="connsiteX233" fmla="*/ 142940 w 1374807"/>
                    <a:gd name="connsiteY233" fmla="*/ 478009 h 2254148"/>
                    <a:gd name="connsiteX234" fmla="*/ 696628 w 1374807"/>
                    <a:gd name="connsiteY234" fmla="*/ 1485088 h 2254148"/>
                    <a:gd name="connsiteX235" fmla="*/ 764637 w 1374807"/>
                    <a:gd name="connsiteY235" fmla="*/ 1476896 h 2254148"/>
                    <a:gd name="connsiteX236" fmla="*/ 696628 w 1374807"/>
                    <a:gd name="connsiteY236" fmla="*/ 1485088 h 2254148"/>
                    <a:gd name="connsiteX237" fmla="*/ 1191357 w 1374807"/>
                    <a:gd name="connsiteY237" fmla="*/ 1794269 h 2254148"/>
                    <a:gd name="connsiteX238" fmla="*/ 1183070 w 1374807"/>
                    <a:gd name="connsiteY238" fmla="*/ 1707877 h 2254148"/>
                    <a:gd name="connsiteX239" fmla="*/ 1191642 w 1374807"/>
                    <a:gd name="connsiteY239" fmla="*/ 1796079 h 2254148"/>
                    <a:gd name="connsiteX240" fmla="*/ 1191452 w 1374807"/>
                    <a:gd name="connsiteY240" fmla="*/ 1794174 h 2254148"/>
                    <a:gd name="connsiteX241" fmla="*/ 1167830 w 1374807"/>
                    <a:gd name="connsiteY241" fmla="*/ 1524045 h 2254148"/>
                    <a:gd name="connsiteX242" fmla="*/ 1168211 w 1374807"/>
                    <a:gd name="connsiteY242" fmla="*/ 1528807 h 2254148"/>
                    <a:gd name="connsiteX243" fmla="*/ 1167830 w 1374807"/>
                    <a:gd name="connsiteY243" fmla="*/ 1524045 h 2254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Lst>
                  <a:rect l="l" t="t" r="r" b="b"/>
                  <a:pathLst>
                    <a:path w="1374807" h="2254148">
                      <a:moveTo>
                        <a:pt x="1367188" y="1581290"/>
                      </a:moveTo>
                      <a:cubicBezTo>
                        <a:pt x="1365474" y="1572527"/>
                        <a:pt x="1377285" y="1560526"/>
                        <a:pt x="1366140" y="1554906"/>
                      </a:cubicBezTo>
                      <a:cubicBezTo>
                        <a:pt x="1358235" y="1550905"/>
                        <a:pt x="1350424" y="1556811"/>
                        <a:pt x="1342613" y="1555096"/>
                      </a:cubicBezTo>
                      <a:cubicBezTo>
                        <a:pt x="1317182" y="1549572"/>
                        <a:pt x="1300418" y="1527474"/>
                        <a:pt x="1276129" y="1519949"/>
                      </a:cubicBezTo>
                      <a:cubicBezTo>
                        <a:pt x="1239839" y="1508805"/>
                        <a:pt x="1202310" y="1502328"/>
                        <a:pt x="1165449" y="1493089"/>
                      </a:cubicBezTo>
                      <a:cubicBezTo>
                        <a:pt x="1144113" y="1485183"/>
                        <a:pt x="1142112" y="1460513"/>
                        <a:pt x="1128968" y="1446321"/>
                      </a:cubicBezTo>
                      <a:cubicBezTo>
                        <a:pt x="1106489" y="1431652"/>
                        <a:pt x="1089725" y="1407935"/>
                        <a:pt x="1066198" y="1394505"/>
                      </a:cubicBezTo>
                      <a:cubicBezTo>
                        <a:pt x="1035528" y="1376979"/>
                        <a:pt x="997713" y="1382980"/>
                        <a:pt x="967233" y="1364501"/>
                      </a:cubicBezTo>
                      <a:cubicBezTo>
                        <a:pt x="943135" y="1349832"/>
                        <a:pt x="926942" y="1325068"/>
                        <a:pt x="901130" y="1312685"/>
                      </a:cubicBezTo>
                      <a:cubicBezTo>
                        <a:pt x="897415" y="1310875"/>
                        <a:pt x="891986" y="1309161"/>
                        <a:pt x="887890" y="1308589"/>
                      </a:cubicBezTo>
                      <a:cubicBezTo>
                        <a:pt x="762922" y="1289825"/>
                        <a:pt x="664243" y="1274966"/>
                        <a:pt x="653099" y="1373931"/>
                      </a:cubicBezTo>
                      <a:cubicBezTo>
                        <a:pt x="616047" y="1347547"/>
                        <a:pt x="520797" y="1389266"/>
                        <a:pt x="529560" y="1327734"/>
                      </a:cubicBezTo>
                      <a:cubicBezTo>
                        <a:pt x="534893" y="1290492"/>
                        <a:pt x="518987" y="1263060"/>
                        <a:pt x="518796" y="1262964"/>
                      </a:cubicBezTo>
                      <a:cubicBezTo>
                        <a:pt x="489840" y="1248296"/>
                        <a:pt x="460408" y="1263536"/>
                        <a:pt x="431261" y="1261536"/>
                      </a:cubicBezTo>
                      <a:cubicBezTo>
                        <a:pt x="437675" y="1240266"/>
                        <a:pt x="438532" y="1224674"/>
                        <a:pt x="433833" y="1214768"/>
                      </a:cubicBezTo>
                      <a:cubicBezTo>
                        <a:pt x="442279" y="1195080"/>
                        <a:pt x="448057" y="1176287"/>
                        <a:pt x="451169" y="1158380"/>
                      </a:cubicBezTo>
                      <a:cubicBezTo>
                        <a:pt x="445644" y="1153522"/>
                        <a:pt x="396972" y="1114279"/>
                        <a:pt x="386589" y="1224198"/>
                      </a:cubicBezTo>
                      <a:cubicBezTo>
                        <a:pt x="369825" y="1223150"/>
                        <a:pt x="359062" y="1246677"/>
                        <a:pt x="339822" y="1235628"/>
                      </a:cubicBezTo>
                      <a:cubicBezTo>
                        <a:pt x="294768" y="1209815"/>
                        <a:pt x="279433" y="1177049"/>
                        <a:pt x="274289" y="1159904"/>
                      </a:cubicBezTo>
                      <a:cubicBezTo>
                        <a:pt x="267908" y="1138568"/>
                        <a:pt x="285910" y="1121899"/>
                        <a:pt x="285434" y="1101801"/>
                      </a:cubicBezTo>
                      <a:cubicBezTo>
                        <a:pt x="285148" y="1088943"/>
                        <a:pt x="267812" y="1082656"/>
                        <a:pt x="272384" y="1067988"/>
                      </a:cubicBezTo>
                      <a:cubicBezTo>
                        <a:pt x="278290" y="1048938"/>
                        <a:pt x="313437" y="1013124"/>
                        <a:pt x="321724" y="1006742"/>
                      </a:cubicBezTo>
                      <a:cubicBezTo>
                        <a:pt x="336488" y="995407"/>
                        <a:pt x="393542" y="1008266"/>
                        <a:pt x="394019" y="1008456"/>
                      </a:cubicBezTo>
                      <a:cubicBezTo>
                        <a:pt x="395543" y="1007218"/>
                        <a:pt x="397638" y="1005504"/>
                        <a:pt x="399162" y="1004265"/>
                      </a:cubicBezTo>
                      <a:cubicBezTo>
                        <a:pt x="394781" y="999503"/>
                        <a:pt x="388399" y="997788"/>
                        <a:pt x="383446" y="993883"/>
                      </a:cubicBezTo>
                      <a:cubicBezTo>
                        <a:pt x="383827" y="991978"/>
                        <a:pt x="384399" y="989502"/>
                        <a:pt x="384780" y="987597"/>
                      </a:cubicBezTo>
                      <a:cubicBezTo>
                        <a:pt x="396209" y="981025"/>
                        <a:pt x="486983" y="973119"/>
                        <a:pt x="487364" y="973309"/>
                      </a:cubicBezTo>
                      <a:cubicBezTo>
                        <a:pt x="526226" y="994074"/>
                        <a:pt x="502509" y="1048652"/>
                        <a:pt x="539847" y="1070274"/>
                      </a:cubicBezTo>
                      <a:cubicBezTo>
                        <a:pt x="583852" y="1023792"/>
                        <a:pt x="513176" y="982644"/>
                        <a:pt x="520987" y="935781"/>
                      </a:cubicBezTo>
                      <a:cubicBezTo>
                        <a:pt x="529083" y="887394"/>
                        <a:pt x="577470" y="876154"/>
                        <a:pt x="604426" y="845293"/>
                      </a:cubicBezTo>
                      <a:cubicBezTo>
                        <a:pt x="603855" y="845293"/>
                        <a:pt x="603759" y="845293"/>
                        <a:pt x="603759" y="845293"/>
                      </a:cubicBezTo>
                      <a:cubicBezTo>
                        <a:pt x="602616" y="843960"/>
                        <a:pt x="600997" y="842150"/>
                        <a:pt x="599759" y="840817"/>
                      </a:cubicBezTo>
                      <a:cubicBezTo>
                        <a:pt x="599949" y="839007"/>
                        <a:pt x="600235" y="836721"/>
                        <a:pt x="600521" y="835006"/>
                      </a:cubicBezTo>
                      <a:cubicBezTo>
                        <a:pt x="602235" y="834530"/>
                        <a:pt x="604426" y="833863"/>
                        <a:pt x="606141" y="833292"/>
                      </a:cubicBezTo>
                      <a:cubicBezTo>
                        <a:pt x="606331" y="831196"/>
                        <a:pt x="606617" y="828434"/>
                        <a:pt x="606807" y="826338"/>
                      </a:cubicBezTo>
                      <a:cubicBezTo>
                        <a:pt x="605093" y="825672"/>
                        <a:pt x="602902" y="824910"/>
                        <a:pt x="601187" y="824243"/>
                      </a:cubicBezTo>
                      <a:lnTo>
                        <a:pt x="610141" y="735565"/>
                      </a:lnTo>
                      <a:cubicBezTo>
                        <a:pt x="610808" y="748710"/>
                        <a:pt x="610808" y="788619"/>
                        <a:pt x="610808" y="788715"/>
                      </a:cubicBezTo>
                      <a:cubicBezTo>
                        <a:pt x="613599" y="786933"/>
                        <a:pt x="616237" y="766588"/>
                        <a:pt x="618714" y="727659"/>
                      </a:cubicBezTo>
                      <a:cubicBezTo>
                        <a:pt x="621952" y="733851"/>
                        <a:pt x="627572" y="738804"/>
                        <a:pt x="629001" y="746043"/>
                      </a:cubicBezTo>
                      <a:cubicBezTo>
                        <a:pt x="637001" y="732327"/>
                        <a:pt x="634335" y="714420"/>
                        <a:pt x="646622" y="702513"/>
                      </a:cubicBezTo>
                      <a:cubicBezTo>
                        <a:pt x="646907" y="702228"/>
                        <a:pt x="699105" y="673843"/>
                        <a:pt x="703010" y="674129"/>
                      </a:cubicBezTo>
                      <a:cubicBezTo>
                        <a:pt x="706248" y="643582"/>
                        <a:pt x="716440" y="620313"/>
                        <a:pt x="733585" y="604311"/>
                      </a:cubicBezTo>
                      <a:cubicBezTo>
                        <a:pt x="736442" y="604435"/>
                        <a:pt x="762732" y="590118"/>
                        <a:pt x="812452" y="561353"/>
                      </a:cubicBezTo>
                      <a:cubicBezTo>
                        <a:pt x="811690" y="562877"/>
                        <a:pt x="810737" y="564972"/>
                        <a:pt x="809975" y="566592"/>
                      </a:cubicBezTo>
                      <a:cubicBezTo>
                        <a:pt x="813786" y="568020"/>
                        <a:pt x="819215" y="569449"/>
                        <a:pt x="823406" y="569259"/>
                      </a:cubicBezTo>
                      <a:lnTo>
                        <a:pt x="823406" y="575736"/>
                      </a:lnTo>
                      <a:cubicBezTo>
                        <a:pt x="794640" y="596186"/>
                        <a:pt x="780067" y="609359"/>
                        <a:pt x="779686" y="615264"/>
                      </a:cubicBezTo>
                      <a:cubicBezTo>
                        <a:pt x="808928" y="615741"/>
                        <a:pt x="898844" y="563448"/>
                        <a:pt x="882746" y="522967"/>
                      </a:cubicBezTo>
                      <a:cubicBezTo>
                        <a:pt x="870364" y="531254"/>
                        <a:pt x="869888" y="546494"/>
                        <a:pt x="862458" y="557638"/>
                      </a:cubicBezTo>
                      <a:cubicBezTo>
                        <a:pt x="852838" y="554971"/>
                        <a:pt x="845028" y="552780"/>
                        <a:pt x="838550" y="550875"/>
                      </a:cubicBezTo>
                      <a:cubicBezTo>
                        <a:pt x="845028" y="549542"/>
                        <a:pt x="849981" y="542589"/>
                        <a:pt x="849981" y="542493"/>
                      </a:cubicBezTo>
                      <a:cubicBezTo>
                        <a:pt x="849981" y="542493"/>
                        <a:pt x="849981" y="542208"/>
                        <a:pt x="850076" y="542112"/>
                      </a:cubicBezTo>
                      <a:cubicBezTo>
                        <a:pt x="850076" y="542112"/>
                        <a:pt x="850076" y="541922"/>
                        <a:pt x="849981" y="541922"/>
                      </a:cubicBezTo>
                      <a:cubicBezTo>
                        <a:pt x="849409" y="541827"/>
                        <a:pt x="849219" y="541827"/>
                        <a:pt x="847504" y="542112"/>
                      </a:cubicBezTo>
                      <a:cubicBezTo>
                        <a:pt x="835979" y="543922"/>
                        <a:pt x="829311" y="541446"/>
                        <a:pt x="827025" y="540207"/>
                      </a:cubicBezTo>
                      <a:cubicBezTo>
                        <a:pt x="821310" y="537350"/>
                        <a:pt x="820453" y="534016"/>
                        <a:pt x="820834" y="529158"/>
                      </a:cubicBezTo>
                      <a:cubicBezTo>
                        <a:pt x="820929" y="527253"/>
                        <a:pt x="820739" y="527158"/>
                        <a:pt x="820453" y="526968"/>
                      </a:cubicBezTo>
                      <a:cubicBezTo>
                        <a:pt x="820453" y="526968"/>
                        <a:pt x="820262" y="527158"/>
                        <a:pt x="820167" y="527158"/>
                      </a:cubicBezTo>
                      <a:cubicBezTo>
                        <a:pt x="819596" y="528111"/>
                        <a:pt x="815976" y="537255"/>
                        <a:pt x="819310" y="544017"/>
                      </a:cubicBezTo>
                      <a:cubicBezTo>
                        <a:pt x="808070" y="538683"/>
                        <a:pt x="806166" y="533064"/>
                        <a:pt x="801784" y="519443"/>
                      </a:cubicBezTo>
                      <a:cubicBezTo>
                        <a:pt x="791211" y="515538"/>
                        <a:pt x="790545" y="514680"/>
                        <a:pt x="786068" y="509156"/>
                      </a:cubicBezTo>
                      <a:cubicBezTo>
                        <a:pt x="801879" y="504870"/>
                        <a:pt x="813214" y="501822"/>
                        <a:pt x="816548" y="485915"/>
                      </a:cubicBezTo>
                      <a:cubicBezTo>
                        <a:pt x="811147" y="480581"/>
                        <a:pt x="770990" y="501374"/>
                        <a:pt x="696057" y="548304"/>
                      </a:cubicBezTo>
                      <a:cubicBezTo>
                        <a:pt x="747615" y="494649"/>
                        <a:pt x="799908" y="459788"/>
                        <a:pt x="852933" y="443719"/>
                      </a:cubicBezTo>
                      <a:cubicBezTo>
                        <a:pt x="871031" y="456102"/>
                        <a:pt x="952279" y="415811"/>
                        <a:pt x="964662" y="393237"/>
                      </a:cubicBezTo>
                      <a:cubicBezTo>
                        <a:pt x="961995" y="386693"/>
                        <a:pt x="962595" y="378600"/>
                        <a:pt x="966471" y="368948"/>
                      </a:cubicBezTo>
                      <a:cubicBezTo>
                        <a:pt x="965424" y="367233"/>
                        <a:pt x="963995" y="365043"/>
                        <a:pt x="962852" y="363328"/>
                      </a:cubicBezTo>
                      <a:cubicBezTo>
                        <a:pt x="956375" y="361899"/>
                        <a:pt x="949898" y="360471"/>
                        <a:pt x="943325" y="359137"/>
                      </a:cubicBezTo>
                      <a:cubicBezTo>
                        <a:pt x="937801" y="359137"/>
                        <a:pt x="937706" y="359137"/>
                        <a:pt x="937611" y="359137"/>
                      </a:cubicBezTo>
                      <a:cubicBezTo>
                        <a:pt x="933610" y="359518"/>
                        <a:pt x="921704" y="360756"/>
                        <a:pt x="900368" y="374568"/>
                      </a:cubicBezTo>
                      <a:cubicBezTo>
                        <a:pt x="899606" y="372948"/>
                        <a:pt x="898653" y="370853"/>
                        <a:pt x="897987" y="369234"/>
                      </a:cubicBezTo>
                      <a:cubicBezTo>
                        <a:pt x="904463" y="359994"/>
                        <a:pt x="907607" y="358756"/>
                        <a:pt x="931610" y="349517"/>
                      </a:cubicBezTo>
                      <a:cubicBezTo>
                        <a:pt x="884937" y="353517"/>
                        <a:pt x="839408" y="357423"/>
                        <a:pt x="789402" y="362471"/>
                      </a:cubicBezTo>
                      <a:cubicBezTo>
                        <a:pt x="835407" y="357613"/>
                        <a:pt x="875412" y="353994"/>
                        <a:pt x="931895" y="349422"/>
                      </a:cubicBezTo>
                      <a:cubicBezTo>
                        <a:pt x="933134" y="348755"/>
                        <a:pt x="934944" y="347993"/>
                        <a:pt x="935706" y="346850"/>
                      </a:cubicBezTo>
                      <a:cubicBezTo>
                        <a:pt x="936753" y="343992"/>
                        <a:pt x="917989" y="327895"/>
                        <a:pt x="894462" y="334086"/>
                      </a:cubicBezTo>
                      <a:cubicBezTo>
                        <a:pt x="890909" y="334975"/>
                        <a:pt x="888204" y="335134"/>
                        <a:pt x="886366" y="334563"/>
                      </a:cubicBezTo>
                      <a:cubicBezTo>
                        <a:pt x="884747" y="329991"/>
                        <a:pt x="888462" y="324942"/>
                        <a:pt x="885128" y="320561"/>
                      </a:cubicBezTo>
                      <a:cubicBezTo>
                        <a:pt x="880651" y="314655"/>
                        <a:pt x="871888" y="316179"/>
                        <a:pt x="867411" y="310179"/>
                      </a:cubicBezTo>
                      <a:cubicBezTo>
                        <a:pt x="865602" y="307702"/>
                        <a:pt x="866840" y="305416"/>
                        <a:pt x="870364" y="300558"/>
                      </a:cubicBezTo>
                      <a:cubicBezTo>
                        <a:pt x="873793" y="295732"/>
                        <a:pt x="871726" y="286557"/>
                        <a:pt x="864173" y="273031"/>
                      </a:cubicBezTo>
                      <a:cubicBezTo>
                        <a:pt x="845123" y="238932"/>
                        <a:pt x="830931" y="230804"/>
                        <a:pt x="821596" y="248647"/>
                      </a:cubicBezTo>
                      <a:cubicBezTo>
                        <a:pt x="819405" y="252838"/>
                        <a:pt x="824930" y="257124"/>
                        <a:pt x="821310" y="261220"/>
                      </a:cubicBezTo>
                      <a:cubicBezTo>
                        <a:pt x="817215" y="265983"/>
                        <a:pt x="809785" y="261601"/>
                        <a:pt x="805880" y="266935"/>
                      </a:cubicBezTo>
                      <a:cubicBezTo>
                        <a:pt x="799974" y="275063"/>
                        <a:pt x="796164" y="279382"/>
                        <a:pt x="794450" y="279889"/>
                      </a:cubicBezTo>
                      <a:cubicBezTo>
                        <a:pt x="778924" y="284652"/>
                        <a:pt x="768066" y="271983"/>
                        <a:pt x="754540" y="269031"/>
                      </a:cubicBezTo>
                      <a:cubicBezTo>
                        <a:pt x="752159" y="264840"/>
                        <a:pt x="757493" y="237027"/>
                        <a:pt x="765779" y="230359"/>
                      </a:cubicBezTo>
                      <a:cubicBezTo>
                        <a:pt x="757874" y="227692"/>
                        <a:pt x="749492" y="231597"/>
                        <a:pt x="741586" y="228645"/>
                      </a:cubicBezTo>
                      <a:cubicBezTo>
                        <a:pt x="739776" y="227978"/>
                        <a:pt x="738633" y="226740"/>
                        <a:pt x="736157" y="222549"/>
                      </a:cubicBezTo>
                      <a:cubicBezTo>
                        <a:pt x="735299" y="221120"/>
                        <a:pt x="733395" y="217786"/>
                        <a:pt x="713773" y="211309"/>
                      </a:cubicBezTo>
                      <a:cubicBezTo>
                        <a:pt x="709391" y="209880"/>
                        <a:pt x="708439" y="209976"/>
                        <a:pt x="705105" y="210261"/>
                      </a:cubicBezTo>
                      <a:cubicBezTo>
                        <a:pt x="687198" y="215024"/>
                        <a:pt x="668053" y="211119"/>
                        <a:pt x="650622" y="218358"/>
                      </a:cubicBezTo>
                      <a:cubicBezTo>
                        <a:pt x="653766" y="234931"/>
                        <a:pt x="633382" y="249885"/>
                        <a:pt x="647193" y="267221"/>
                      </a:cubicBezTo>
                      <a:cubicBezTo>
                        <a:pt x="644526" y="275317"/>
                        <a:pt x="633953" y="278079"/>
                        <a:pt x="633382" y="287604"/>
                      </a:cubicBezTo>
                      <a:cubicBezTo>
                        <a:pt x="632715" y="298653"/>
                        <a:pt x="643860" y="305130"/>
                        <a:pt x="644241" y="315798"/>
                      </a:cubicBezTo>
                      <a:cubicBezTo>
                        <a:pt x="644241" y="316275"/>
                        <a:pt x="645098" y="359042"/>
                        <a:pt x="620428" y="364662"/>
                      </a:cubicBezTo>
                      <a:cubicBezTo>
                        <a:pt x="614999" y="365900"/>
                        <a:pt x="602807" y="369805"/>
                        <a:pt x="605378" y="378854"/>
                      </a:cubicBezTo>
                      <a:cubicBezTo>
                        <a:pt x="604236" y="380378"/>
                        <a:pt x="603569" y="380949"/>
                        <a:pt x="598616" y="384759"/>
                      </a:cubicBezTo>
                      <a:cubicBezTo>
                        <a:pt x="592043" y="409524"/>
                        <a:pt x="608426" y="440576"/>
                        <a:pt x="580137" y="460102"/>
                      </a:cubicBezTo>
                      <a:cubicBezTo>
                        <a:pt x="571279" y="446577"/>
                        <a:pt x="555563" y="442671"/>
                        <a:pt x="543371" y="433908"/>
                      </a:cubicBezTo>
                      <a:cubicBezTo>
                        <a:pt x="550038" y="414382"/>
                        <a:pt x="547181" y="407334"/>
                        <a:pt x="543561" y="398285"/>
                      </a:cubicBezTo>
                      <a:cubicBezTo>
                        <a:pt x="545466" y="396761"/>
                        <a:pt x="548610" y="394094"/>
                        <a:pt x="550514" y="392665"/>
                      </a:cubicBezTo>
                      <a:cubicBezTo>
                        <a:pt x="550229" y="391617"/>
                        <a:pt x="550514" y="389522"/>
                        <a:pt x="550229" y="388474"/>
                      </a:cubicBezTo>
                      <a:cubicBezTo>
                        <a:pt x="548133" y="388188"/>
                        <a:pt x="545180" y="387998"/>
                        <a:pt x="543085" y="387998"/>
                      </a:cubicBezTo>
                      <a:cubicBezTo>
                        <a:pt x="531464" y="376758"/>
                        <a:pt x="517367" y="386950"/>
                        <a:pt x="504890" y="383521"/>
                      </a:cubicBezTo>
                      <a:cubicBezTo>
                        <a:pt x="492126" y="380092"/>
                        <a:pt x="485649" y="367138"/>
                        <a:pt x="473457" y="362852"/>
                      </a:cubicBezTo>
                      <a:cubicBezTo>
                        <a:pt x="471362" y="362090"/>
                        <a:pt x="468504" y="361423"/>
                        <a:pt x="466313" y="361042"/>
                      </a:cubicBezTo>
                      <a:cubicBezTo>
                        <a:pt x="455169" y="359137"/>
                        <a:pt x="447168" y="367329"/>
                        <a:pt x="437548" y="370091"/>
                      </a:cubicBezTo>
                      <a:cubicBezTo>
                        <a:pt x="435326" y="368250"/>
                        <a:pt x="432786" y="358851"/>
                        <a:pt x="429928" y="341897"/>
                      </a:cubicBezTo>
                      <a:cubicBezTo>
                        <a:pt x="428912" y="335991"/>
                        <a:pt x="421419" y="332499"/>
                        <a:pt x="407449" y="331419"/>
                      </a:cubicBezTo>
                      <a:cubicBezTo>
                        <a:pt x="402686" y="304368"/>
                        <a:pt x="468695" y="255315"/>
                        <a:pt x="496889" y="234455"/>
                      </a:cubicBezTo>
                      <a:cubicBezTo>
                        <a:pt x="493650" y="225882"/>
                        <a:pt x="484220" y="229692"/>
                        <a:pt x="478791" y="225406"/>
                      </a:cubicBezTo>
                      <a:cubicBezTo>
                        <a:pt x="515367" y="218929"/>
                        <a:pt x="544037" y="204578"/>
                        <a:pt x="564802" y="182353"/>
                      </a:cubicBezTo>
                      <a:cubicBezTo>
                        <a:pt x="543561" y="186068"/>
                        <a:pt x="539180" y="186830"/>
                        <a:pt x="521939" y="177019"/>
                      </a:cubicBezTo>
                      <a:cubicBezTo>
                        <a:pt x="542323" y="169685"/>
                        <a:pt x="568707" y="182544"/>
                        <a:pt x="584138" y="158636"/>
                      </a:cubicBezTo>
                      <a:cubicBezTo>
                        <a:pt x="582518" y="157493"/>
                        <a:pt x="580042" y="156636"/>
                        <a:pt x="578137" y="156540"/>
                      </a:cubicBezTo>
                      <a:cubicBezTo>
                        <a:pt x="578137" y="156445"/>
                        <a:pt x="588329" y="144158"/>
                        <a:pt x="598997" y="150921"/>
                      </a:cubicBezTo>
                      <a:cubicBezTo>
                        <a:pt x="622685" y="142348"/>
                        <a:pt x="637668" y="135331"/>
                        <a:pt x="643955" y="129870"/>
                      </a:cubicBezTo>
                      <a:cubicBezTo>
                        <a:pt x="645955" y="128061"/>
                        <a:pt x="648336" y="125394"/>
                        <a:pt x="649765" y="123108"/>
                      </a:cubicBezTo>
                      <a:cubicBezTo>
                        <a:pt x="653575" y="116631"/>
                        <a:pt x="647289" y="109677"/>
                        <a:pt x="650718" y="103296"/>
                      </a:cubicBezTo>
                      <a:cubicBezTo>
                        <a:pt x="653861" y="97295"/>
                        <a:pt x="661386" y="97866"/>
                        <a:pt x="665576" y="93485"/>
                      </a:cubicBezTo>
                      <a:cubicBezTo>
                        <a:pt x="667862" y="90532"/>
                        <a:pt x="668243" y="86722"/>
                        <a:pt x="669958" y="83484"/>
                      </a:cubicBezTo>
                      <a:cubicBezTo>
                        <a:pt x="669672" y="83198"/>
                        <a:pt x="639668" y="52623"/>
                        <a:pt x="629572" y="95961"/>
                      </a:cubicBezTo>
                      <a:cubicBezTo>
                        <a:pt x="611093" y="106534"/>
                        <a:pt x="597854" y="149778"/>
                        <a:pt x="575470" y="129775"/>
                      </a:cubicBezTo>
                      <a:cubicBezTo>
                        <a:pt x="577470" y="116440"/>
                        <a:pt x="604331" y="107868"/>
                        <a:pt x="591758" y="94723"/>
                      </a:cubicBezTo>
                      <a:cubicBezTo>
                        <a:pt x="577470" y="100152"/>
                        <a:pt x="571755" y="114535"/>
                        <a:pt x="561182" y="123774"/>
                      </a:cubicBezTo>
                      <a:cubicBezTo>
                        <a:pt x="558706" y="116631"/>
                        <a:pt x="573184" y="97581"/>
                        <a:pt x="573374" y="97485"/>
                      </a:cubicBezTo>
                      <a:cubicBezTo>
                        <a:pt x="572870" y="97295"/>
                        <a:pt x="568355" y="97041"/>
                        <a:pt x="559849" y="96723"/>
                      </a:cubicBezTo>
                      <a:cubicBezTo>
                        <a:pt x="574584" y="72975"/>
                        <a:pt x="581947" y="59671"/>
                        <a:pt x="581947" y="56814"/>
                      </a:cubicBezTo>
                      <a:cubicBezTo>
                        <a:pt x="580995" y="56052"/>
                        <a:pt x="579566" y="55099"/>
                        <a:pt x="578613" y="54337"/>
                      </a:cubicBezTo>
                      <a:cubicBezTo>
                        <a:pt x="586995" y="41319"/>
                        <a:pt x="610836" y="23254"/>
                        <a:pt x="650146" y="140"/>
                      </a:cubicBezTo>
                      <a:cubicBezTo>
                        <a:pt x="647412" y="-177"/>
                        <a:pt x="643860" y="45"/>
                        <a:pt x="639478" y="807"/>
                      </a:cubicBezTo>
                      <a:cubicBezTo>
                        <a:pt x="592329" y="11856"/>
                        <a:pt x="528607" y="100248"/>
                        <a:pt x="528131" y="101105"/>
                      </a:cubicBezTo>
                      <a:cubicBezTo>
                        <a:pt x="528607" y="102153"/>
                        <a:pt x="529274" y="103391"/>
                        <a:pt x="529750" y="104439"/>
                      </a:cubicBezTo>
                      <a:cubicBezTo>
                        <a:pt x="534798" y="104439"/>
                        <a:pt x="539751" y="103296"/>
                        <a:pt x="544704" y="103010"/>
                      </a:cubicBezTo>
                      <a:cubicBezTo>
                        <a:pt x="544895" y="103962"/>
                        <a:pt x="545180" y="105201"/>
                        <a:pt x="545466" y="106058"/>
                      </a:cubicBezTo>
                      <a:cubicBezTo>
                        <a:pt x="534989" y="111297"/>
                        <a:pt x="533370" y="112154"/>
                        <a:pt x="528607" y="116726"/>
                      </a:cubicBezTo>
                      <a:lnTo>
                        <a:pt x="528607" y="119202"/>
                      </a:lnTo>
                      <a:cubicBezTo>
                        <a:pt x="528607" y="119202"/>
                        <a:pt x="528607" y="119202"/>
                        <a:pt x="528607" y="119202"/>
                      </a:cubicBezTo>
                      <a:cubicBezTo>
                        <a:pt x="529464" y="119393"/>
                        <a:pt x="530703" y="119679"/>
                        <a:pt x="531655" y="119869"/>
                      </a:cubicBezTo>
                      <a:cubicBezTo>
                        <a:pt x="521559" y="137109"/>
                        <a:pt x="499651" y="143015"/>
                        <a:pt x="491459" y="162065"/>
                      </a:cubicBezTo>
                      <a:cubicBezTo>
                        <a:pt x="486316" y="156731"/>
                        <a:pt x="488535" y="148952"/>
                        <a:pt x="498127" y="138729"/>
                      </a:cubicBezTo>
                      <a:cubicBezTo>
                        <a:pt x="492603" y="137331"/>
                        <a:pt x="480915" y="143682"/>
                        <a:pt x="463075" y="157779"/>
                      </a:cubicBezTo>
                      <a:cubicBezTo>
                        <a:pt x="461551" y="158922"/>
                        <a:pt x="452597" y="164637"/>
                        <a:pt x="419546" y="163113"/>
                      </a:cubicBezTo>
                      <a:cubicBezTo>
                        <a:pt x="417355" y="159969"/>
                        <a:pt x="417831" y="155874"/>
                        <a:pt x="415545" y="152730"/>
                      </a:cubicBezTo>
                      <a:cubicBezTo>
                        <a:pt x="388780" y="159588"/>
                        <a:pt x="380779" y="175209"/>
                        <a:pt x="364872" y="206166"/>
                      </a:cubicBezTo>
                      <a:cubicBezTo>
                        <a:pt x="361920" y="198355"/>
                        <a:pt x="368778" y="191878"/>
                        <a:pt x="367920" y="184353"/>
                      </a:cubicBezTo>
                      <a:cubicBezTo>
                        <a:pt x="353442" y="186639"/>
                        <a:pt x="341631" y="198546"/>
                        <a:pt x="325820" y="196164"/>
                      </a:cubicBezTo>
                      <a:cubicBezTo>
                        <a:pt x="332392" y="189687"/>
                        <a:pt x="343060" y="187306"/>
                        <a:pt x="345536" y="176638"/>
                      </a:cubicBezTo>
                      <a:cubicBezTo>
                        <a:pt x="344679" y="176162"/>
                        <a:pt x="343632" y="175590"/>
                        <a:pt x="342774" y="175114"/>
                      </a:cubicBezTo>
                      <a:cubicBezTo>
                        <a:pt x="339250" y="177019"/>
                        <a:pt x="338678" y="177400"/>
                        <a:pt x="328391" y="176257"/>
                      </a:cubicBezTo>
                      <a:cubicBezTo>
                        <a:pt x="327249" y="174638"/>
                        <a:pt x="325439" y="172542"/>
                        <a:pt x="323915" y="171209"/>
                      </a:cubicBezTo>
                      <a:cubicBezTo>
                        <a:pt x="316580" y="172733"/>
                        <a:pt x="312485" y="179019"/>
                        <a:pt x="306770" y="182925"/>
                      </a:cubicBezTo>
                      <a:cubicBezTo>
                        <a:pt x="307817" y="180924"/>
                        <a:pt x="309437" y="178353"/>
                        <a:pt x="310865" y="176638"/>
                      </a:cubicBezTo>
                      <a:cubicBezTo>
                        <a:pt x="308199" y="178543"/>
                        <a:pt x="304738" y="181560"/>
                        <a:pt x="300483" y="185687"/>
                      </a:cubicBezTo>
                      <a:cubicBezTo>
                        <a:pt x="302705" y="181051"/>
                        <a:pt x="307215" y="174543"/>
                        <a:pt x="314009" y="166161"/>
                      </a:cubicBezTo>
                      <a:cubicBezTo>
                        <a:pt x="302388" y="176892"/>
                        <a:pt x="285941" y="191275"/>
                        <a:pt x="264669" y="209309"/>
                      </a:cubicBezTo>
                      <a:lnTo>
                        <a:pt x="264669" y="209309"/>
                      </a:lnTo>
                      <a:cubicBezTo>
                        <a:pt x="274766" y="199689"/>
                        <a:pt x="285624" y="191021"/>
                        <a:pt x="295911" y="181496"/>
                      </a:cubicBezTo>
                      <a:cubicBezTo>
                        <a:pt x="295816" y="181496"/>
                        <a:pt x="273051" y="198641"/>
                        <a:pt x="244571" y="227121"/>
                      </a:cubicBezTo>
                      <a:cubicBezTo>
                        <a:pt x="245524" y="225406"/>
                        <a:pt x="247048" y="223215"/>
                        <a:pt x="248286" y="221596"/>
                      </a:cubicBezTo>
                      <a:cubicBezTo>
                        <a:pt x="230665" y="241408"/>
                        <a:pt x="207138" y="267792"/>
                        <a:pt x="189517" y="287604"/>
                      </a:cubicBezTo>
                      <a:cubicBezTo>
                        <a:pt x="113317" y="386760"/>
                        <a:pt x="111888" y="388665"/>
                        <a:pt x="78170" y="444672"/>
                      </a:cubicBezTo>
                      <a:lnTo>
                        <a:pt x="78455" y="444195"/>
                      </a:lnTo>
                      <a:cubicBezTo>
                        <a:pt x="79027" y="443433"/>
                        <a:pt x="79598" y="442386"/>
                        <a:pt x="80170" y="441624"/>
                      </a:cubicBezTo>
                      <a:cubicBezTo>
                        <a:pt x="65120" y="479533"/>
                        <a:pt x="56675" y="503631"/>
                        <a:pt x="54833" y="513918"/>
                      </a:cubicBezTo>
                      <a:cubicBezTo>
                        <a:pt x="53405" y="518395"/>
                        <a:pt x="51404" y="524396"/>
                        <a:pt x="49976" y="528873"/>
                      </a:cubicBezTo>
                      <a:cubicBezTo>
                        <a:pt x="51023" y="530587"/>
                        <a:pt x="52357" y="532873"/>
                        <a:pt x="53405" y="534492"/>
                      </a:cubicBezTo>
                      <a:cubicBezTo>
                        <a:pt x="48642" y="549609"/>
                        <a:pt x="43689" y="570049"/>
                        <a:pt x="38546" y="595833"/>
                      </a:cubicBezTo>
                      <a:cubicBezTo>
                        <a:pt x="36641" y="605073"/>
                        <a:pt x="38831" y="613550"/>
                        <a:pt x="41689" y="621932"/>
                      </a:cubicBezTo>
                      <a:cubicBezTo>
                        <a:pt x="40546" y="621551"/>
                        <a:pt x="38736" y="621075"/>
                        <a:pt x="36069" y="620884"/>
                      </a:cubicBezTo>
                      <a:cubicBezTo>
                        <a:pt x="34736" y="620789"/>
                        <a:pt x="34069" y="620598"/>
                        <a:pt x="33593" y="620027"/>
                      </a:cubicBezTo>
                      <a:cubicBezTo>
                        <a:pt x="33212" y="619551"/>
                        <a:pt x="33021" y="619455"/>
                        <a:pt x="32259" y="616693"/>
                      </a:cubicBezTo>
                      <a:cubicBezTo>
                        <a:pt x="31878" y="615264"/>
                        <a:pt x="30449" y="610597"/>
                        <a:pt x="29306" y="610407"/>
                      </a:cubicBezTo>
                      <a:cubicBezTo>
                        <a:pt x="29306" y="610407"/>
                        <a:pt x="29306" y="610407"/>
                        <a:pt x="29306" y="610407"/>
                      </a:cubicBezTo>
                      <a:cubicBezTo>
                        <a:pt x="29306" y="610407"/>
                        <a:pt x="26449" y="623742"/>
                        <a:pt x="29687" y="634695"/>
                      </a:cubicBezTo>
                      <a:cubicBezTo>
                        <a:pt x="32354" y="643649"/>
                        <a:pt x="38641" y="642411"/>
                        <a:pt x="38736" y="642411"/>
                      </a:cubicBezTo>
                      <a:cubicBezTo>
                        <a:pt x="40451" y="641934"/>
                        <a:pt x="41975" y="640220"/>
                        <a:pt x="42927" y="637839"/>
                      </a:cubicBezTo>
                      <a:cubicBezTo>
                        <a:pt x="43784" y="635743"/>
                        <a:pt x="43975" y="633267"/>
                        <a:pt x="43975" y="632314"/>
                      </a:cubicBezTo>
                      <a:cubicBezTo>
                        <a:pt x="44070" y="630790"/>
                        <a:pt x="43689" y="629361"/>
                        <a:pt x="43594" y="627933"/>
                      </a:cubicBezTo>
                      <a:cubicBezTo>
                        <a:pt x="43594" y="627742"/>
                        <a:pt x="43594" y="627647"/>
                        <a:pt x="43594" y="627456"/>
                      </a:cubicBezTo>
                      <a:cubicBezTo>
                        <a:pt x="46737" y="636219"/>
                        <a:pt x="49880" y="644982"/>
                        <a:pt x="49309" y="654412"/>
                      </a:cubicBezTo>
                      <a:cubicBezTo>
                        <a:pt x="46261" y="652698"/>
                        <a:pt x="42070" y="650507"/>
                        <a:pt x="38927" y="648888"/>
                      </a:cubicBezTo>
                      <a:cubicBezTo>
                        <a:pt x="922" y="696227"/>
                        <a:pt x="-12318" y="933590"/>
                        <a:pt x="13019" y="977881"/>
                      </a:cubicBezTo>
                      <a:cubicBezTo>
                        <a:pt x="15178" y="978262"/>
                        <a:pt x="34609" y="1016048"/>
                        <a:pt x="71312" y="1091229"/>
                      </a:cubicBezTo>
                      <a:cubicBezTo>
                        <a:pt x="67406" y="1091229"/>
                        <a:pt x="62168" y="1091419"/>
                        <a:pt x="58262" y="1091610"/>
                      </a:cubicBezTo>
                      <a:cubicBezTo>
                        <a:pt x="64930" y="1105516"/>
                        <a:pt x="113507" y="1168286"/>
                        <a:pt x="113888" y="1168857"/>
                      </a:cubicBezTo>
                      <a:cubicBezTo>
                        <a:pt x="118365" y="1162380"/>
                        <a:pt x="122842" y="1155713"/>
                        <a:pt x="100553" y="1123995"/>
                      </a:cubicBezTo>
                      <a:cubicBezTo>
                        <a:pt x="90362" y="1109612"/>
                        <a:pt x="78932" y="1093229"/>
                        <a:pt x="59501" y="1014362"/>
                      </a:cubicBezTo>
                      <a:cubicBezTo>
                        <a:pt x="83885" y="1032174"/>
                        <a:pt x="86456" y="1043794"/>
                        <a:pt x="89695" y="1058463"/>
                      </a:cubicBezTo>
                      <a:cubicBezTo>
                        <a:pt x="91981" y="1068940"/>
                        <a:pt x="94648" y="1080751"/>
                        <a:pt x="99315" y="1088181"/>
                      </a:cubicBezTo>
                      <a:cubicBezTo>
                        <a:pt x="109221" y="1104088"/>
                        <a:pt x="121413" y="1118280"/>
                        <a:pt x="131986" y="1133710"/>
                      </a:cubicBezTo>
                      <a:cubicBezTo>
                        <a:pt x="145702" y="1153713"/>
                        <a:pt x="169038" y="1164857"/>
                        <a:pt x="180468" y="1186860"/>
                      </a:cubicBezTo>
                      <a:cubicBezTo>
                        <a:pt x="189707" y="1204576"/>
                        <a:pt x="185326" y="1228198"/>
                        <a:pt x="204376" y="1241629"/>
                      </a:cubicBezTo>
                      <a:cubicBezTo>
                        <a:pt x="206948" y="1243438"/>
                        <a:pt x="211043" y="1244867"/>
                        <a:pt x="213996" y="1246105"/>
                      </a:cubicBezTo>
                      <a:cubicBezTo>
                        <a:pt x="219426" y="1248201"/>
                        <a:pt x="226188" y="1252011"/>
                        <a:pt x="231808" y="1253439"/>
                      </a:cubicBezTo>
                      <a:cubicBezTo>
                        <a:pt x="251430" y="1258488"/>
                        <a:pt x="271527" y="1261631"/>
                        <a:pt x="291244" y="1266393"/>
                      </a:cubicBezTo>
                      <a:cubicBezTo>
                        <a:pt x="311437" y="1271251"/>
                        <a:pt x="332868" y="1259726"/>
                        <a:pt x="352585" y="1270965"/>
                      </a:cubicBezTo>
                      <a:cubicBezTo>
                        <a:pt x="382748" y="1288177"/>
                        <a:pt x="403131" y="1297350"/>
                        <a:pt x="413736" y="1298493"/>
                      </a:cubicBezTo>
                      <a:cubicBezTo>
                        <a:pt x="416117" y="1298779"/>
                        <a:pt x="419355" y="1299159"/>
                        <a:pt x="421641" y="1299445"/>
                      </a:cubicBezTo>
                      <a:cubicBezTo>
                        <a:pt x="492793" y="1309351"/>
                        <a:pt x="522225" y="1397457"/>
                        <a:pt x="600140" y="1394695"/>
                      </a:cubicBezTo>
                      <a:cubicBezTo>
                        <a:pt x="634811" y="1336879"/>
                        <a:pt x="656147" y="1406221"/>
                        <a:pt x="663767" y="1438701"/>
                      </a:cubicBezTo>
                      <a:cubicBezTo>
                        <a:pt x="665357" y="1445559"/>
                        <a:pt x="659642" y="1463247"/>
                        <a:pt x="646622" y="1491755"/>
                      </a:cubicBezTo>
                      <a:cubicBezTo>
                        <a:pt x="646431" y="1492422"/>
                        <a:pt x="627572" y="1569574"/>
                        <a:pt x="635668" y="1583957"/>
                      </a:cubicBezTo>
                      <a:cubicBezTo>
                        <a:pt x="637001" y="1586338"/>
                        <a:pt x="638621" y="1589481"/>
                        <a:pt x="640145" y="1591768"/>
                      </a:cubicBezTo>
                      <a:cubicBezTo>
                        <a:pt x="665672" y="1629677"/>
                        <a:pt x="770542" y="1733404"/>
                        <a:pt x="771399" y="1734071"/>
                      </a:cubicBezTo>
                      <a:cubicBezTo>
                        <a:pt x="797021" y="1756169"/>
                        <a:pt x="831692" y="1761217"/>
                        <a:pt x="858744" y="1780648"/>
                      </a:cubicBezTo>
                      <a:cubicBezTo>
                        <a:pt x="879317" y="1795412"/>
                        <a:pt x="894748" y="1824463"/>
                        <a:pt x="902082" y="1862373"/>
                      </a:cubicBezTo>
                      <a:cubicBezTo>
                        <a:pt x="902463" y="1864087"/>
                        <a:pt x="942659" y="2044300"/>
                        <a:pt x="1012572" y="2142789"/>
                      </a:cubicBezTo>
                      <a:cubicBezTo>
                        <a:pt x="1101250" y="2267662"/>
                        <a:pt x="1187070" y="2253850"/>
                        <a:pt x="1187928" y="2253565"/>
                      </a:cubicBezTo>
                      <a:cubicBezTo>
                        <a:pt x="1132806" y="2225180"/>
                        <a:pt x="1107851" y="2199339"/>
                        <a:pt x="1113061" y="2176031"/>
                      </a:cubicBezTo>
                      <a:cubicBezTo>
                        <a:pt x="1105441" y="2167840"/>
                        <a:pt x="1094392" y="2143865"/>
                        <a:pt x="1079914" y="2104117"/>
                      </a:cubicBezTo>
                      <a:cubicBezTo>
                        <a:pt x="1082133" y="2103422"/>
                        <a:pt x="1088458" y="2103232"/>
                        <a:pt x="1098869" y="2103546"/>
                      </a:cubicBezTo>
                      <a:cubicBezTo>
                        <a:pt x="1098802" y="2102469"/>
                        <a:pt x="1092487" y="2093230"/>
                        <a:pt x="1079914" y="2075828"/>
                      </a:cubicBezTo>
                      <a:cubicBezTo>
                        <a:pt x="1089563" y="2067255"/>
                        <a:pt x="1094040" y="2059540"/>
                        <a:pt x="1093344" y="2052682"/>
                      </a:cubicBezTo>
                      <a:cubicBezTo>
                        <a:pt x="1094392" y="2052015"/>
                        <a:pt x="1095916" y="2051063"/>
                        <a:pt x="1096964" y="2050396"/>
                      </a:cubicBezTo>
                      <a:cubicBezTo>
                        <a:pt x="1122586" y="2058207"/>
                        <a:pt x="1131158" y="2037061"/>
                        <a:pt x="1124586" y="2027346"/>
                      </a:cubicBezTo>
                      <a:lnTo>
                        <a:pt x="1117062" y="2016773"/>
                      </a:lnTo>
                      <a:cubicBezTo>
                        <a:pt x="1175354" y="2015154"/>
                        <a:pt x="1200215" y="1873993"/>
                        <a:pt x="1200405" y="1872564"/>
                      </a:cubicBezTo>
                      <a:cubicBezTo>
                        <a:pt x="1208787" y="1854562"/>
                        <a:pt x="1230790" y="1843894"/>
                        <a:pt x="1239839" y="1840084"/>
                      </a:cubicBezTo>
                      <a:cubicBezTo>
                        <a:pt x="1260508" y="1831512"/>
                        <a:pt x="1260794" y="1807223"/>
                        <a:pt x="1275462" y="1793888"/>
                      </a:cubicBezTo>
                      <a:cubicBezTo>
                        <a:pt x="1282035" y="1787887"/>
                        <a:pt x="1287940" y="1787792"/>
                        <a:pt x="1292893" y="1788459"/>
                      </a:cubicBezTo>
                      <a:cubicBezTo>
                        <a:pt x="1301466" y="1789506"/>
                        <a:pt x="1302132" y="1789602"/>
                        <a:pt x="1303180" y="1781601"/>
                      </a:cubicBezTo>
                      <a:cubicBezTo>
                        <a:pt x="1305561" y="1763884"/>
                        <a:pt x="1303942" y="1746072"/>
                        <a:pt x="1304799" y="1728356"/>
                      </a:cubicBezTo>
                      <a:cubicBezTo>
                        <a:pt x="1305275" y="1718450"/>
                        <a:pt x="1299465" y="1708258"/>
                        <a:pt x="1306038" y="1698543"/>
                      </a:cubicBezTo>
                      <a:cubicBezTo>
                        <a:pt x="1313658" y="1687398"/>
                        <a:pt x="1316515" y="1683207"/>
                        <a:pt x="1311086" y="1675778"/>
                      </a:cubicBezTo>
                      <a:cubicBezTo>
                        <a:pt x="1310133" y="1674444"/>
                        <a:pt x="1308990" y="1672349"/>
                        <a:pt x="1308609" y="1670730"/>
                      </a:cubicBezTo>
                      <a:cubicBezTo>
                        <a:pt x="1357473" y="1652918"/>
                        <a:pt x="1374808" y="1600054"/>
                        <a:pt x="1374808" y="1599578"/>
                      </a:cubicBezTo>
                      <a:cubicBezTo>
                        <a:pt x="1374808" y="1599006"/>
                        <a:pt x="1374808" y="1598149"/>
                        <a:pt x="1374808" y="1597578"/>
                      </a:cubicBezTo>
                      <a:cubicBezTo>
                        <a:pt x="1373760" y="1591768"/>
                        <a:pt x="1368998" y="1587481"/>
                        <a:pt x="1367855" y="1581576"/>
                      </a:cubicBezTo>
                      <a:close/>
                      <a:moveTo>
                        <a:pt x="142940" y="478009"/>
                      </a:moveTo>
                      <a:cubicBezTo>
                        <a:pt x="160180" y="472389"/>
                        <a:pt x="178468" y="466960"/>
                        <a:pt x="197232" y="461817"/>
                      </a:cubicBezTo>
                      <a:cubicBezTo>
                        <a:pt x="178563" y="466960"/>
                        <a:pt x="160275" y="472389"/>
                        <a:pt x="142940" y="478009"/>
                      </a:cubicBezTo>
                      <a:close/>
                      <a:moveTo>
                        <a:pt x="696628" y="1485088"/>
                      </a:moveTo>
                      <a:cubicBezTo>
                        <a:pt x="718631" y="1482325"/>
                        <a:pt x="741110" y="1479563"/>
                        <a:pt x="764637" y="1476896"/>
                      </a:cubicBezTo>
                      <a:cubicBezTo>
                        <a:pt x="742920" y="1479372"/>
                        <a:pt x="720441" y="1482135"/>
                        <a:pt x="696628" y="1485088"/>
                      </a:cubicBezTo>
                      <a:close/>
                      <a:moveTo>
                        <a:pt x="1191357" y="1794269"/>
                      </a:moveTo>
                      <a:cubicBezTo>
                        <a:pt x="1190404" y="1785697"/>
                        <a:pt x="1187546" y="1757598"/>
                        <a:pt x="1183070" y="1707877"/>
                      </a:cubicBezTo>
                      <a:cubicBezTo>
                        <a:pt x="1185737" y="1736833"/>
                        <a:pt x="1188499" y="1765694"/>
                        <a:pt x="1191642" y="1796079"/>
                      </a:cubicBezTo>
                      <a:cubicBezTo>
                        <a:pt x="1191642" y="1795412"/>
                        <a:pt x="1191452" y="1794840"/>
                        <a:pt x="1191452" y="1794174"/>
                      </a:cubicBezTo>
                      <a:close/>
                      <a:moveTo>
                        <a:pt x="1167830" y="1524045"/>
                      </a:moveTo>
                      <a:cubicBezTo>
                        <a:pt x="1167925" y="1525664"/>
                        <a:pt x="1168116" y="1527283"/>
                        <a:pt x="1168211" y="1528807"/>
                      </a:cubicBezTo>
                      <a:cubicBezTo>
                        <a:pt x="1168116" y="1527283"/>
                        <a:pt x="1167925" y="1525569"/>
                        <a:pt x="1167830" y="1524045"/>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Segoe UI"/>
                    <a:ea typeface="+mn-ea"/>
                    <a:cs typeface="+mn-cs"/>
                  </a:endParaRPr>
                </a:p>
              </p:txBody>
            </p:sp>
            <p:sp>
              <p:nvSpPr>
                <p:cNvPr id="68" name="Freeform: Shape 67">
                  <a:extLst>
                    <a:ext uri="{FF2B5EF4-FFF2-40B4-BE49-F238E27FC236}">
                      <a16:creationId xmlns:a16="http://schemas.microsoft.com/office/drawing/2014/main" id="{F2D1A8E7-5C10-3546-E8C0-57110A0839FD}"/>
                    </a:ext>
                  </a:extLst>
                </p:cNvPr>
                <p:cNvSpPr/>
                <p:nvPr/>
              </p:nvSpPr>
              <p:spPr>
                <a:xfrm>
                  <a:off x="8723098" y="3674903"/>
                  <a:ext cx="37880" cy="15192"/>
                </a:xfrm>
                <a:custGeom>
                  <a:avLst/>
                  <a:gdLst>
                    <a:gd name="connsiteX0" fmla="*/ 2372 w 37880"/>
                    <a:gd name="connsiteY0" fmla="*/ 414 h 15192"/>
                    <a:gd name="connsiteX1" fmla="*/ 12564 w 37880"/>
                    <a:gd name="connsiteY1" fmla="*/ 14988 h 15192"/>
                    <a:gd name="connsiteX2" fmla="*/ 37805 w 37880"/>
                    <a:gd name="connsiteY2" fmla="*/ 11463 h 15192"/>
                    <a:gd name="connsiteX3" fmla="*/ 23042 w 37880"/>
                    <a:gd name="connsiteY3" fmla="*/ 3939 h 15192"/>
                    <a:gd name="connsiteX4" fmla="*/ 2372 w 37880"/>
                    <a:gd name="connsiteY4" fmla="*/ 510 h 151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80" h="15192">
                      <a:moveTo>
                        <a:pt x="2372" y="414"/>
                      </a:moveTo>
                      <a:cubicBezTo>
                        <a:pt x="-4295" y="4986"/>
                        <a:pt x="4373" y="13559"/>
                        <a:pt x="12564" y="14988"/>
                      </a:cubicBezTo>
                      <a:cubicBezTo>
                        <a:pt x="18374" y="15940"/>
                        <a:pt x="37043" y="13368"/>
                        <a:pt x="37805" y="11463"/>
                      </a:cubicBezTo>
                      <a:cubicBezTo>
                        <a:pt x="38282" y="10511"/>
                        <a:pt x="36853" y="8225"/>
                        <a:pt x="23042" y="3939"/>
                      </a:cubicBezTo>
                      <a:cubicBezTo>
                        <a:pt x="7706" y="-824"/>
                        <a:pt x="5516" y="-252"/>
                        <a:pt x="2372" y="510"/>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Segoe UI"/>
                    <a:ea typeface="+mn-ea"/>
                    <a:cs typeface="+mn-cs"/>
                  </a:endParaRPr>
                </a:p>
              </p:txBody>
            </p:sp>
          </p:grpSp>
        </p:grpSp>
        <p:sp>
          <p:nvSpPr>
            <p:cNvPr id="12" name="Freeform: Shape 11">
              <a:extLst>
                <a:ext uri="{FF2B5EF4-FFF2-40B4-BE49-F238E27FC236}">
                  <a16:creationId xmlns:a16="http://schemas.microsoft.com/office/drawing/2014/main" id="{667FA484-9741-42A3-332F-0B177F5A6087}"/>
                </a:ext>
              </a:extLst>
            </p:cNvPr>
            <p:cNvSpPr/>
            <p:nvPr/>
          </p:nvSpPr>
          <p:spPr>
            <a:xfrm>
              <a:off x="3183359" y="519827"/>
              <a:ext cx="5825283" cy="5818346"/>
            </a:xfrm>
            <a:custGeom>
              <a:avLst/>
              <a:gdLst>
                <a:gd name="connsiteX0" fmla="*/ 1657159 w 3359086"/>
                <a:gd name="connsiteY0" fmla="*/ 3345656 h 3355086"/>
                <a:gd name="connsiteX1" fmla="*/ 1661826 w 3359086"/>
                <a:gd name="connsiteY1" fmla="*/ 3350228 h 3355086"/>
                <a:gd name="connsiteX2" fmla="*/ 1657159 w 3359086"/>
                <a:gd name="connsiteY2" fmla="*/ 3354800 h 3355086"/>
                <a:gd name="connsiteX3" fmla="*/ 1652587 w 3359086"/>
                <a:gd name="connsiteY3" fmla="*/ 3350228 h 3355086"/>
                <a:gd name="connsiteX4" fmla="*/ 1657159 w 3359086"/>
                <a:gd name="connsiteY4" fmla="*/ 3345656 h 3355086"/>
                <a:gd name="connsiteX5" fmla="*/ 1618678 w 3359086"/>
                <a:gd name="connsiteY5" fmla="*/ 3345276 h 3355086"/>
                <a:gd name="connsiteX6" fmla="*/ 1622964 w 3359086"/>
                <a:gd name="connsiteY6" fmla="*/ 3349562 h 3355086"/>
                <a:gd name="connsiteX7" fmla="*/ 1618678 w 3359086"/>
                <a:gd name="connsiteY7" fmla="*/ 3353848 h 3355086"/>
                <a:gd name="connsiteX8" fmla="*/ 1614392 w 3359086"/>
                <a:gd name="connsiteY8" fmla="*/ 3349562 h 3355086"/>
                <a:gd name="connsiteX9" fmla="*/ 1618678 w 3359086"/>
                <a:gd name="connsiteY9" fmla="*/ 3345276 h 3355086"/>
                <a:gd name="connsiteX10" fmla="*/ 1695640 w 3359086"/>
                <a:gd name="connsiteY10" fmla="*/ 3344990 h 3355086"/>
                <a:gd name="connsiteX11" fmla="*/ 1700688 w 3359086"/>
                <a:gd name="connsiteY11" fmla="*/ 3350038 h 3355086"/>
                <a:gd name="connsiteX12" fmla="*/ 1695640 w 3359086"/>
                <a:gd name="connsiteY12" fmla="*/ 3355086 h 3355086"/>
                <a:gd name="connsiteX13" fmla="*/ 1690592 w 3359086"/>
                <a:gd name="connsiteY13" fmla="*/ 3350038 h 3355086"/>
                <a:gd name="connsiteX14" fmla="*/ 1695640 w 3359086"/>
                <a:gd name="connsiteY14" fmla="*/ 3344990 h 3355086"/>
                <a:gd name="connsiteX15" fmla="*/ 1580293 w 3359086"/>
                <a:gd name="connsiteY15" fmla="*/ 3344609 h 3355086"/>
                <a:gd name="connsiteX16" fmla="*/ 1584007 w 3359086"/>
                <a:gd name="connsiteY16" fmla="*/ 3348324 h 3355086"/>
                <a:gd name="connsiteX17" fmla="*/ 1580293 w 3359086"/>
                <a:gd name="connsiteY17" fmla="*/ 3352038 h 3355086"/>
                <a:gd name="connsiteX18" fmla="*/ 1576578 w 3359086"/>
                <a:gd name="connsiteY18" fmla="*/ 3348324 h 3355086"/>
                <a:gd name="connsiteX19" fmla="*/ 1580293 w 3359086"/>
                <a:gd name="connsiteY19" fmla="*/ 3344609 h 3355086"/>
                <a:gd name="connsiteX20" fmla="*/ 1734026 w 3359086"/>
                <a:gd name="connsiteY20" fmla="*/ 3344037 h 3355086"/>
                <a:gd name="connsiteX21" fmla="*/ 1739075 w 3359086"/>
                <a:gd name="connsiteY21" fmla="*/ 3349085 h 3355086"/>
                <a:gd name="connsiteX22" fmla="*/ 1734026 w 3359086"/>
                <a:gd name="connsiteY22" fmla="*/ 3354134 h 3355086"/>
                <a:gd name="connsiteX23" fmla="*/ 1728978 w 3359086"/>
                <a:gd name="connsiteY23" fmla="*/ 3349085 h 3355086"/>
                <a:gd name="connsiteX24" fmla="*/ 1734026 w 3359086"/>
                <a:gd name="connsiteY24" fmla="*/ 3344037 h 3355086"/>
                <a:gd name="connsiteX25" fmla="*/ 1542002 w 3359086"/>
                <a:gd name="connsiteY25" fmla="*/ 3343466 h 3355086"/>
                <a:gd name="connsiteX26" fmla="*/ 1544954 w 3359086"/>
                <a:gd name="connsiteY26" fmla="*/ 3346419 h 3355086"/>
                <a:gd name="connsiteX27" fmla="*/ 1542002 w 3359086"/>
                <a:gd name="connsiteY27" fmla="*/ 3349371 h 3355086"/>
                <a:gd name="connsiteX28" fmla="*/ 1539049 w 3359086"/>
                <a:gd name="connsiteY28" fmla="*/ 3346419 h 3355086"/>
                <a:gd name="connsiteX29" fmla="*/ 1542002 w 3359086"/>
                <a:gd name="connsiteY29" fmla="*/ 3343466 h 3355086"/>
                <a:gd name="connsiteX30" fmla="*/ 1772411 w 3359086"/>
                <a:gd name="connsiteY30" fmla="*/ 3342323 h 3355086"/>
                <a:gd name="connsiteX31" fmla="*/ 1777460 w 3359086"/>
                <a:gd name="connsiteY31" fmla="*/ 3347371 h 3355086"/>
                <a:gd name="connsiteX32" fmla="*/ 1772411 w 3359086"/>
                <a:gd name="connsiteY32" fmla="*/ 3352420 h 3355086"/>
                <a:gd name="connsiteX33" fmla="*/ 1767363 w 3359086"/>
                <a:gd name="connsiteY33" fmla="*/ 3347371 h 3355086"/>
                <a:gd name="connsiteX34" fmla="*/ 1772411 w 3359086"/>
                <a:gd name="connsiteY34" fmla="*/ 3342323 h 3355086"/>
                <a:gd name="connsiteX35" fmla="*/ 1503901 w 3359086"/>
                <a:gd name="connsiteY35" fmla="*/ 3341561 h 3355086"/>
                <a:gd name="connsiteX36" fmla="*/ 1505997 w 3359086"/>
                <a:gd name="connsiteY36" fmla="*/ 3343656 h 3355086"/>
                <a:gd name="connsiteX37" fmla="*/ 1503901 w 3359086"/>
                <a:gd name="connsiteY37" fmla="*/ 3345752 h 3355086"/>
                <a:gd name="connsiteX38" fmla="*/ 1501806 w 3359086"/>
                <a:gd name="connsiteY38" fmla="*/ 3343656 h 3355086"/>
                <a:gd name="connsiteX39" fmla="*/ 1503901 w 3359086"/>
                <a:gd name="connsiteY39" fmla="*/ 3341561 h 3355086"/>
                <a:gd name="connsiteX40" fmla="*/ 1810606 w 3359086"/>
                <a:gd name="connsiteY40" fmla="*/ 3339942 h 3355086"/>
                <a:gd name="connsiteX41" fmla="*/ 1815654 w 3359086"/>
                <a:gd name="connsiteY41" fmla="*/ 3344990 h 3355086"/>
                <a:gd name="connsiteX42" fmla="*/ 1810606 w 3359086"/>
                <a:gd name="connsiteY42" fmla="*/ 3350038 h 3355086"/>
                <a:gd name="connsiteX43" fmla="*/ 1805558 w 3359086"/>
                <a:gd name="connsiteY43" fmla="*/ 3344990 h 3355086"/>
                <a:gd name="connsiteX44" fmla="*/ 1810606 w 3359086"/>
                <a:gd name="connsiteY44" fmla="*/ 3339942 h 3355086"/>
                <a:gd name="connsiteX45" fmla="*/ 1465992 w 3359086"/>
                <a:gd name="connsiteY45" fmla="*/ 3339084 h 3355086"/>
                <a:gd name="connsiteX46" fmla="*/ 1467135 w 3359086"/>
                <a:gd name="connsiteY46" fmla="*/ 3340227 h 3355086"/>
                <a:gd name="connsiteX47" fmla="*/ 1465992 w 3359086"/>
                <a:gd name="connsiteY47" fmla="*/ 3341370 h 3355086"/>
                <a:gd name="connsiteX48" fmla="*/ 1464849 w 3359086"/>
                <a:gd name="connsiteY48" fmla="*/ 3340227 h 3355086"/>
                <a:gd name="connsiteX49" fmla="*/ 1465992 w 3359086"/>
                <a:gd name="connsiteY49" fmla="*/ 3339084 h 3355086"/>
                <a:gd name="connsiteX50" fmla="*/ 1848612 w 3359086"/>
                <a:gd name="connsiteY50" fmla="*/ 3337274 h 3355086"/>
                <a:gd name="connsiteX51" fmla="*/ 1853184 w 3359086"/>
                <a:gd name="connsiteY51" fmla="*/ 3341846 h 3355086"/>
                <a:gd name="connsiteX52" fmla="*/ 1848612 w 3359086"/>
                <a:gd name="connsiteY52" fmla="*/ 3346418 h 3355086"/>
                <a:gd name="connsiteX53" fmla="*/ 1844040 w 3359086"/>
                <a:gd name="connsiteY53" fmla="*/ 3341846 h 3355086"/>
                <a:gd name="connsiteX54" fmla="*/ 1848612 w 3359086"/>
                <a:gd name="connsiteY54" fmla="*/ 3337274 h 3355086"/>
                <a:gd name="connsiteX55" fmla="*/ 1598199 w 3359086"/>
                <a:gd name="connsiteY55" fmla="*/ 3337179 h 3355086"/>
                <a:gd name="connsiteX56" fmla="*/ 1604391 w 3359086"/>
                <a:gd name="connsiteY56" fmla="*/ 3343370 h 3355086"/>
                <a:gd name="connsiteX57" fmla="*/ 1598199 w 3359086"/>
                <a:gd name="connsiteY57" fmla="*/ 3349561 h 3355086"/>
                <a:gd name="connsiteX58" fmla="*/ 1592008 w 3359086"/>
                <a:gd name="connsiteY58" fmla="*/ 3343370 h 3355086"/>
                <a:gd name="connsiteX59" fmla="*/ 1598199 w 3359086"/>
                <a:gd name="connsiteY59" fmla="*/ 3337179 h 3355086"/>
                <a:gd name="connsiteX60" fmla="*/ 1754981 w 3359086"/>
                <a:gd name="connsiteY60" fmla="*/ 3336322 h 3355086"/>
                <a:gd name="connsiteX61" fmla="*/ 1761172 w 3359086"/>
                <a:gd name="connsiteY61" fmla="*/ 3342513 h 3355086"/>
                <a:gd name="connsiteX62" fmla="*/ 1754981 w 3359086"/>
                <a:gd name="connsiteY62" fmla="*/ 3348704 h 3355086"/>
                <a:gd name="connsiteX63" fmla="*/ 1748790 w 3359086"/>
                <a:gd name="connsiteY63" fmla="*/ 3342513 h 3355086"/>
                <a:gd name="connsiteX64" fmla="*/ 1754981 w 3359086"/>
                <a:gd name="connsiteY64" fmla="*/ 3336322 h 3355086"/>
                <a:gd name="connsiteX65" fmla="*/ 1428369 w 3359086"/>
                <a:gd name="connsiteY65" fmla="*/ 3335846 h 3355086"/>
                <a:gd name="connsiteX66" fmla="*/ 1428559 w 3359086"/>
                <a:gd name="connsiteY66" fmla="*/ 3336037 h 3355086"/>
                <a:gd name="connsiteX67" fmla="*/ 1428369 w 3359086"/>
                <a:gd name="connsiteY67" fmla="*/ 3336227 h 3355086"/>
                <a:gd name="connsiteX68" fmla="*/ 1428178 w 3359086"/>
                <a:gd name="connsiteY68" fmla="*/ 3336037 h 3355086"/>
                <a:gd name="connsiteX69" fmla="*/ 1428369 w 3359086"/>
                <a:gd name="connsiteY69" fmla="*/ 3335846 h 3355086"/>
                <a:gd name="connsiteX70" fmla="*/ 1559051 w 3359086"/>
                <a:gd name="connsiteY70" fmla="*/ 3335370 h 3355086"/>
                <a:gd name="connsiteX71" fmla="*/ 1565243 w 3359086"/>
                <a:gd name="connsiteY71" fmla="*/ 3341561 h 3355086"/>
                <a:gd name="connsiteX72" fmla="*/ 1559051 w 3359086"/>
                <a:gd name="connsiteY72" fmla="*/ 3347752 h 3355086"/>
                <a:gd name="connsiteX73" fmla="*/ 1552860 w 3359086"/>
                <a:gd name="connsiteY73" fmla="*/ 3341561 h 3355086"/>
                <a:gd name="connsiteX74" fmla="*/ 1559051 w 3359086"/>
                <a:gd name="connsiteY74" fmla="*/ 3335370 h 3355086"/>
                <a:gd name="connsiteX75" fmla="*/ 1793938 w 3359086"/>
                <a:gd name="connsiteY75" fmla="*/ 3334131 h 3355086"/>
                <a:gd name="connsiteX76" fmla="*/ 1800130 w 3359086"/>
                <a:gd name="connsiteY76" fmla="*/ 3340322 h 3355086"/>
                <a:gd name="connsiteX77" fmla="*/ 1793938 w 3359086"/>
                <a:gd name="connsiteY77" fmla="*/ 3346513 h 3355086"/>
                <a:gd name="connsiteX78" fmla="*/ 1787747 w 3359086"/>
                <a:gd name="connsiteY78" fmla="*/ 3340322 h 3355086"/>
                <a:gd name="connsiteX79" fmla="*/ 1793938 w 3359086"/>
                <a:gd name="connsiteY79" fmla="*/ 3334131 h 3355086"/>
                <a:gd name="connsiteX80" fmla="*/ 1886330 w 3359086"/>
                <a:gd name="connsiteY80" fmla="*/ 3333750 h 3355086"/>
                <a:gd name="connsiteX81" fmla="*/ 1890617 w 3359086"/>
                <a:gd name="connsiteY81" fmla="*/ 3338036 h 3355086"/>
                <a:gd name="connsiteX82" fmla="*/ 1886330 w 3359086"/>
                <a:gd name="connsiteY82" fmla="*/ 3342323 h 3355086"/>
                <a:gd name="connsiteX83" fmla="*/ 1882044 w 3359086"/>
                <a:gd name="connsiteY83" fmla="*/ 3338036 h 3355086"/>
                <a:gd name="connsiteX84" fmla="*/ 1886330 w 3359086"/>
                <a:gd name="connsiteY84" fmla="*/ 3333750 h 3355086"/>
                <a:gd name="connsiteX85" fmla="*/ 1520094 w 3359086"/>
                <a:gd name="connsiteY85" fmla="*/ 3332798 h 3355086"/>
                <a:gd name="connsiteX86" fmla="*/ 1526286 w 3359086"/>
                <a:gd name="connsiteY86" fmla="*/ 3338989 h 3355086"/>
                <a:gd name="connsiteX87" fmla="*/ 1520094 w 3359086"/>
                <a:gd name="connsiteY87" fmla="*/ 3345180 h 3355086"/>
                <a:gd name="connsiteX88" fmla="*/ 1513903 w 3359086"/>
                <a:gd name="connsiteY88" fmla="*/ 3338989 h 3355086"/>
                <a:gd name="connsiteX89" fmla="*/ 1520094 w 3359086"/>
                <a:gd name="connsiteY89" fmla="*/ 3332798 h 3355086"/>
                <a:gd name="connsiteX90" fmla="*/ 1832800 w 3359086"/>
                <a:gd name="connsiteY90" fmla="*/ 3331179 h 3355086"/>
                <a:gd name="connsiteX91" fmla="*/ 1838992 w 3359086"/>
                <a:gd name="connsiteY91" fmla="*/ 3337370 h 3355086"/>
                <a:gd name="connsiteX92" fmla="*/ 1832800 w 3359086"/>
                <a:gd name="connsiteY92" fmla="*/ 3343561 h 3355086"/>
                <a:gd name="connsiteX93" fmla="*/ 1826609 w 3359086"/>
                <a:gd name="connsiteY93" fmla="*/ 3337370 h 3355086"/>
                <a:gd name="connsiteX94" fmla="*/ 1832800 w 3359086"/>
                <a:gd name="connsiteY94" fmla="*/ 3331179 h 3355086"/>
                <a:gd name="connsiteX95" fmla="*/ 1576768 w 3359086"/>
                <a:gd name="connsiteY95" fmla="*/ 3331179 h 3355086"/>
                <a:gd name="connsiteX96" fmla="*/ 1582960 w 3359086"/>
                <a:gd name="connsiteY96" fmla="*/ 3337370 h 3355086"/>
                <a:gd name="connsiteX97" fmla="*/ 1576768 w 3359086"/>
                <a:gd name="connsiteY97" fmla="*/ 3343561 h 3355086"/>
                <a:gd name="connsiteX98" fmla="*/ 1570577 w 3359086"/>
                <a:gd name="connsiteY98" fmla="*/ 3337370 h 3355086"/>
                <a:gd name="connsiteX99" fmla="*/ 1576768 w 3359086"/>
                <a:gd name="connsiteY99" fmla="*/ 3331179 h 3355086"/>
                <a:gd name="connsiteX100" fmla="*/ 1776698 w 3359086"/>
                <a:gd name="connsiteY100" fmla="*/ 3330036 h 3355086"/>
                <a:gd name="connsiteX101" fmla="*/ 1782889 w 3359086"/>
                <a:gd name="connsiteY101" fmla="*/ 3336227 h 3355086"/>
                <a:gd name="connsiteX102" fmla="*/ 1776698 w 3359086"/>
                <a:gd name="connsiteY102" fmla="*/ 3342418 h 3355086"/>
                <a:gd name="connsiteX103" fmla="*/ 1770507 w 3359086"/>
                <a:gd name="connsiteY103" fmla="*/ 3336227 h 3355086"/>
                <a:gd name="connsiteX104" fmla="*/ 1776698 w 3359086"/>
                <a:gd name="connsiteY104" fmla="*/ 3330036 h 3355086"/>
                <a:gd name="connsiteX105" fmla="*/ 1923859 w 3359086"/>
                <a:gd name="connsiteY105" fmla="*/ 3329845 h 3355086"/>
                <a:gd name="connsiteX106" fmla="*/ 1927573 w 3359086"/>
                <a:gd name="connsiteY106" fmla="*/ 3333560 h 3355086"/>
                <a:gd name="connsiteX107" fmla="*/ 1923859 w 3359086"/>
                <a:gd name="connsiteY107" fmla="*/ 3337274 h 3355086"/>
                <a:gd name="connsiteX108" fmla="*/ 1920144 w 3359086"/>
                <a:gd name="connsiteY108" fmla="*/ 3333560 h 3355086"/>
                <a:gd name="connsiteX109" fmla="*/ 1923859 w 3359086"/>
                <a:gd name="connsiteY109" fmla="*/ 3329845 h 3355086"/>
                <a:gd name="connsiteX110" fmla="*/ 1481423 w 3359086"/>
                <a:gd name="connsiteY110" fmla="*/ 3329559 h 3355086"/>
                <a:gd name="connsiteX111" fmla="*/ 1487614 w 3359086"/>
                <a:gd name="connsiteY111" fmla="*/ 3335750 h 3355086"/>
                <a:gd name="connsiteX112" fmla="*/ 1481423 w 3359086"/>
                <a:gd name="connsiteY112" fmla="*/ 3341942 h 3355086"/>
                <a:gd name="connsiteX113" fmla="*/ 1475232 w 3359086"/>
                <a:gd name="connsiteY113" fmla="*/ 3335750 h 3355086"/>
                <a:gd name="connsiteX114" fmla="*/ 1481423 w 3359086"/>
                <a:gd name="connsiteY114" fmla="*/ 3329559 h 3355086"/>
                <a:gd name="connsiteX115" fmla="*/ 1536953 w 3359086"/>
                <a:gd name="connsiteY115" fmla="*/ 3328893 h 3355086"/>
                <a:gd name="connsiteX116" fmla="*/ 1543144 w 3359086"/>
                <a:gd name="connsiteY116" fmla="*/ 3335084 h 3355086"/>
                <a:gd name="connsiteX117" fmla="*/ 1536953 w 3359086"/>
                <a:gd name="connsiteY117" fmla="*/ 3341275 h 3355086"/>
                <a:gd name="connsiteX118" fmla="*/ 1530762 w 3359086"/>
                <a:gd name="connsiteY118" fmla="*/ 3335084 h 3355086"/>
                <a:gd name="connsiteX119" fmla="*/ 1536953 w 3359086"/>
                <a:gd name="connsiteY119" fmla="*/ 3328893 h 3355086"/>
                <a:gd name="connsiteX120" fmla="*/ 1871471 w 3359086"/>
                <a:gd name="connsiteY120" fmla="*/ 3327464 h 3355086"/>
                <a:gd name="connsiteX121" fmla="*/ 1877663 w 3359086"/>
                <a:gd name="connsiteY121" fmla="*/ 3333655 h 3355086"/>
                <a:gd name="connsiteX122" fmla="*/ 1871471 w 3359086"/>
                <a:gd name="connsiteY122" fmla="*/ 3339847 h 3355086"/>
                <a:gd name="connsiteX123" fmla="*/ 1865280 w 3359086"/>
                <a:gd name="connsiteY123" fmla="*/ 3333655 h 3355086"/>
                <a:gd name="connsiteX124" fmla="*/ 1871471 w 3359086"/>
                <a:gd name="connsiteY124" fmla="*/ 3327464 h 3355086"/>
                <a:gd name="connsiteX125" fmla="*/ 1816512 w 3359086"/>
                <a:gd name="connsiteY125" fmla="*/ 3327273 h 3355086"/>
                <a:gd name="connsiteX126" fmla="*/ 1822704 w 3359086"/>
                <a:gd name="connsiteY126" fmla="*/ 3333464 h 3355086"/>
                <a:gd name="connsiteX127" fmla="*/ 1816512 w 3359086"/>
                <a:gd name="connsiteY127" fmla="*/ 3339655 h 3355086"/>
                <a:gd name="connsiteX128" fmla="*/ 1810321 w 3359086"/>
                <a:gd name="connsiteY128" fmla="*/ 3333464 h 3355086"/>
                <a:gd name="connsiteX129" fmla="*/ 1816512 w 3359086"/>
                <a:gd name="connsiteY129" fmla="*/ 3327273 h 3355086"/>
                <a:gd name="connsiteX130" fmla="*/ 1497329 w 3359086"/>
                <a:gd name="connsiteY130" fmla="*/ 3325749 h 3355086"/>
                <a:gd name="connsiteX131" fmla="*/ 1503521 w 3359086"/>
                <a:gd name="connsiteY131" fmla="*/ 3331940 h 3355086"/>
                <a:gd name="connsiteX132" fmla="*/ 1497329 w 3359086"/>
                <a:gd name="connsiteY132" fmla="*/ 3338132 h 3355086"/>
                <a:gd name="connsiteX133" fmla="*/ 1491138 w 3359086"/>
                <a:gd name="connsiteY133" fmla="*/ 3331940 h 3355086"/>
                <a:gd name="connsiteX134" fmla="*/ 1497329 w 3359086"/>
                <a:gd name="connsiteY134" fmla="*/ 3325749 h 3355086"/>
                <a:gd name="connsiteX135" fmla="*/ 1961007 w 3359086"/>
                <a:gd name="connsiteY135" fmla="*/ 3325559 h 3355086"/>
                <a:gd name="connsiteX136" fmla="*/ 1963960 w 3359086"/>
                <a:gd name="connsiteY136" fmla="*/ 3328512 h 3355086"/>
                <a:gd name="connsiteX137" fmla="*/ 1961007 w 3359086"/>
                <a:gd name="connsiteY137" fmla="*/ 3331465 h 3355086"/>
                <a:gd name="connsiteX138" fmla="*/ 1958054 w 3359086"/>
                <a:gd name="connsiteY138" fmla="*/ 3328512 h 3355086"/>
                <a:gd name="connsiteX139" fmla="*/ 1961007 w 3359086"/>
                <a:gd name="connsiteY139" fmla="*/ 3325559 h 3355086"/>
                <a:gd name="connsiteX140" fmla="*/ 1442942 w 3359086"/>
                <a:gd name="connsiteY140" fmla="*/ 3325464 h 3355086"/>
                <a:gd name="connsiteX141" fmla="*/ 1449133 w 3359086"/>
                <a:gd name="connsiteY141" fmla="*/ 3331655 h 3355086"/>
                <a:gd name="connsiteX142" fmla="*/ 1442942 w 3359086"/>
                <a:gd name="connsiteY142" fmla="*/ 3337846 h 3355086"/>
                <a:gd name="connsiteX143" fmla="*/ 1436751 w 3359086"/>
                <a:gd name="connsiteY143" fmla="*/ 3331655 h 3355086"/>
                <a:gd name="connsiteX144" fmla="*/ 1442942 w 3359086"/>
                <a:gd name="connsiteY144" fmla="*/ 3325464 h 3355086"/>
                <a:gd name="connsiteX145" fmla="*/ 1554479 w 3359086"/>
                <a:gd name="connsiteY145" fmla="*/ 3325463 h 3355086"/>
                <a:gd name="connsiteX146" fmla="*/ 1560671 w 3359086"/>
                <a:gd name="connsiteY146" fmla="*/ 3331654 h 3355086"/>
                <a:gd name="connsiteX147" fmla="*/ 1554479 w 3359086"/>
                <a:gd name="connsiteY147" fmla="*/ 3337846 h 3355086"/>
                <a:gd name="connsiteX148" fmla="*/ 1548288 w 3359086"/>
                <a:gd name="connsiteY148" fmla="*/ 3331654 h 3355086"/>
                <a:gd name="connsiteX149" fmla="*/ 1554479 w 3359086"/>
                <a:gd name="connsiteY149" fmla="*/ 3325463 h 3355086"/>
                <a:gd name="connsiteX150" fmla="*/ 1799462 w 3359086"/>
                <a:gd name="connsiteY150" fmla="*/ 3324035 h 3355086"/>
                <a:gd name="connsiteX151" fmla="*/ 1805654 w 3359086"/>
                <a:gd name="connsiteY151" fmla="*/ 3330226 h 3355086"/>
                <a:gd name="connsiteX152" fmla="*/ 1799462 w 3359086"/>
                <a:gd name="connsiteY152" fmla="*/ 3336417 h 3355086"/>
                <a:gd name="connsiteX153" fmla="*/ 1793271 w 3359086"/>
                <a:gd name="connsiteY153" fmla="*/ 3330226 h 3355086"/>
                <a:gd name="connsiteX154" fmla="*/ 1799462 w 3359086"/>
                <a:gd name="connsiteY154" fmla="*/ 3324035 h 3355086"/>
                <a:gd name="connsiteX155" fmla="*/ 1855945 w 3359086"/>
                <a:gd name="connsiteY155" fmla="*/ 3323749 h 3355086"/>
                <a:gd name="connsiteX156" fmla="*/ 1862137 w 3359086"/>
                <a:gd name="connsiteY156" fmla="*/ 3329940 h 3355086"/>
                <a:gd name="connsiteX157" fmla="*/ 1855945 w 3359086"/>
                <a:gd name="connsiteY157" fmla="*/ 3336131 h 3355086"/>
                <a:gd name="connsiteX158" fmla="*/ 1849754 w 3359086"/>
                <a:gd name="connsiteY158" fmla="*/ 3329940 h 3355086"/>
                <a:gd name="connsiteX159" fmla="*/ 1855945 w 3359086"/>
                <a:gd name="connsiteY159" fmla="*/ 3323749 h 3355086"/>
                <a:gd name="connsiteX160" fmla="*/ 1909762 w 3359086"/>
                <a:gd name="connsiteY160" fmla="*/ 3323082 h 3355086"/>
                <a:gd name="connsiteX161" fmla="*/ 1915953 w 3359086"/>
                <a:gd name="connsiteY161" fmla="*/ 3329273 h 3355086"/>
                <a:gd name="connsiteX162" fmla="*/ 1909762 w 3359086"/>
                <a:gd name="connsiteY162" fmla="*/ 3335465 h 3355086"/>
                <a:gd name="connsiteX163" fmla="*/ 1903571 w 3359086"/>
                <a:gd name="connsiteY163" fmla="*/ 3329273 h 3355086"/>
                <a:gd name="connsiteX164" fmla="*/ 1909762 w 3359086"/>
                <a:gd name="connsiteY164" fmla="*/ 3323082 h 3355086"/>
                <a:gd name="connsiteX165" fmla="*/ 1513903 w 3359086"/>
                <a:gd name="connsiteY165" fmla="*/ 3322606 h 3355086"/>
                <a:gd name="connsiteX166" fmla="*/ 1520095 w 3359086"/>
                <a:gd name="connsiteY166" fmla="*/ 3328797 h 3355086"/>
                <a:gd name="connsiteX167" fmla="*/ 1513903 w 3359086"/>
                <a:gd name="connsiteY167" fmla="*/ 3334988 h 3355086"/>
                <a:gd name="connsiteX168" fmla="*/ 1507712 w 3359086"/>
                <a:gd name="connsiteY168" fmla="*/ 3328797 h 3355086"/>
                <a:gd name="connsiteX169" fmla="*/ 1513903 w 3359086"/>
                <a:gd name="connsiteY169" fmla="*/ 3322606 h 3355086"/>
                <a:gd name="connsiteX170" fmla="*/ 1457896 w 3359086"/>
                <a:gd name="connsiteY170" fmla="*/ 3321844 h 3355086"/>
                <a:gd name="connsiteX171" fmla="*/ 1464088 w 3359086"/>
                <a:gd name="connsiteY171" fmla="*/ 3328035 h 3355086"/>
                <a:gd name="connsiteX172" fmla="*/ 1457896 w 3359086"/>
                <a:gd name="connsiteY172" fmla="*/ 3334227 h 3355086"/>
                <a:gd name="connsiteX173" fmla="*/ 1451705 w 3359086"/>
                <a:gd name="connsiteY173" fmla="*/ 3328035 h 3355086"/>
                <a:gd name="connsiteX174" fmla="*/ 1457896 w 3359086"/>
                <a:gd name="connsiteY174" fmla="*/ 3321844 h 3355086"/>
                <a:gd name="connsiteX175" fmla="*/ 1404747 w 3359086"/>
                <a:gd name="connsiteY175" fmla="*/ 3321368 h 3355086"/>
                <a:gd name="connsiteX176" fmla="*/ 1410271 w 3359086"/>
                <a:gd name="connsiteY176" fmla="*/ 3326892 h 3355086"/>
                <a:gd name="connsiteX177" fmla="*/ 1404747 w 3359086"/>
                <a:gd name="connsiteY177" fmla="*/ 3332417 h 3355086"/>
                <a:gd name="connsiteX178" fmla="*/ 1399222 w 3359086"/>
                <a:gd name="connsiteY178" fmla="*/ 3326892 h 3355086"/>
                <a:gd name="connsiteX179" fmla="*/ 1404747 w 3359086"/>
                <a:gd name="connsiteY179" fmla="*/ 3321368 h 3355086"/>
                <a:gd name="connsiteX180" fmla="*/ 1781746 w 3359086"/>
                <a:gd name="connsiteY180" fmla="*/ 3321272 h 3355086"/>
                <a:gd name="connsiteX181" fmla="*/ 1787938 w 3359086"/>
                <a:gd name="connsiteY181" fmla="*/ 3327463 h 3355086"/>
                <a:gd name="connsiteX182" fmla="*/ 1781746 w 3359086"/>
                <a:gd name="connsiteY182" fmla="*/ 3333655 h 3355086"/>
                <a:gd name="connsiteX183" fmla="*/ 1775555 w 3359086"/>
                <a:gd name="connsiteY183" fmla="*/ 3327463 h 3355086"/>
                <a:gd name="connsiteX184" fmla="*/ 1781746 w 3359086"/>
                <a:gd name="connsiteY184" fmla="*/ 3321272 h 3355086"/>
                <a:gd name="connsiteX185" fmla="*/ 1997869 w 3359086"/>
                <a:gd name="connsiteY185" fmla="*/ 3320701 h 3355086"/>
                <a:gd name="connsiteX186" fmla="*/ 1999964 w 3359086"/>
                <a:gd name="connsiteY186" fmla="*/ 3322796 h 3355086"/>
                <a:gd name="connsiteX187" fmla="*/ 1997869 w 3359086"/>
                <a:gd name="connsiteY187" fmla="*/ 3324892 h 3355086"/>
                <a:gd name="connsiteX188" fmla="*/ 1995773 w 3359086"/>
                <a:gd name="connsiteY188" fmla="*/ 3322796 h 3355086"/>
                <a:gd name="connsiteX189" fmla="*/ 1997869 w 3359086"/>
                <a:gd name="connsiteY189" fmla="*/ 3320701 h 3355086"/>
                <a:gd name="connsiteX190" fmla="*/ 1839944 w 3359086"/>
                <a:gd name="connsiteY190" fmla="*/ 3320701 h 3355086"/>
                <a:gd name="connsiteX191" fmla="*/ 1846136 w 3359086"/>
                <a:gd name="connsiteY191" fmla="*/ 3326892 h 3355086"/>
                <a:gd name="connsiteX192" fmla="*/ 1839944 w 3359086"/>
                <a:gd name="connsiteY192" fmla="*/ 3333084 h 3355086"/>
                <a:gd name="connsiteX193" fmla="*/ 1833753 w 3359086"/>
                <a:gd name="connsiteY193" fmla="*/ 3326892 h 3355086"/>
                <a:gd name="connsiteX194" fmla="*/ 1839944 w 3359086"/>
                <a:gd name="connsiteY194" fmla="*/ 3320701 h 3355086"/>
                <a:gd name="connsiteX195" fmla="*/ 1531143 w 3359086"/>
                <a:gd name="connsiteY195" fmla="*/ 3319939 h 3355086"/>
                <a:gd name="connsiteX196" fmla="*/ 1537334 w 3359086"/>
                <a:gd name="connsiteY196" fmla="*/ 3326130 h 3355086"/>
                <a:gd name="connsiteX197" fmla="*/ 1531143 w 3359086"/>
                <a:gd name="connsiteY197" fmla="*/ 3332321 h 3355086"/>
                <a:gd name="connsiteX198" fmla="*/ 1524952 w 3359086"/>
                <a:gd name="connsiteY198" fmla="*/ 3326130 h 3355086"/>
                <a:gd name="connsiteX199" fmla="*/ 1531143 w 3359086"/>
                <a:gd name="connsiteY199" fmla="*/ 3319939 h 3355086"/>
                <a:gd name="connsiteX200" fmla="*/ 1895189 w 3359086"/>
                <a:gd name="connsiteY200" fmla="*/ 3319368 h 3355086"/>
                <a:gd name="connsiteX201" fmla="*/ 1901380 w 3359086"/>
                <a:gd name="connsiteY201" fmla="*/ 3325559 h 3355086"/>
                <a:gd name="connsiteX202" fmla="*/ 1895189 w 3359086"/>
                <a:gd name="connsiteY202" fmla="*/ 3331750 h 3355086"/>
                <a:gd name="connsiteX203" fmla="*/ 1888998 w 3359086"/>
                <a:gd name="connsiteY203" fmla="*/ 3325559 h 3355086"/>
                <a:gd name="connsiteX204" fmla="*/ 1895189 w 3359086"/>
                <a:gd name="connsiteY204" fmla="*/ 3319368 h 3355086"/>
                <a:gd name="connsiteX205" fmla="*/ 1473517 w 3359086"/>
                <a:gd name="connsiteY205" fmla="*/ 3318796 h 3355086"/>
                <a:gd name="connsiteX206" fmla="*/ 1479709 w 3359086"/>
                <a:gd name="connsiteY206" fmla="*/ 3324987 h 3355086"/>
                <a:gd name="connsiteX207" fmla="*/ 1473517 w 3359086"/>
                <a:gd name="connsiteY207" fmla="*/ 3331179 h 3355086"/>
                <a:gd name="connsiteX208" fmla="*/ 1467326 w 3359086"/>
                <a:gd name="connsiteY208" fmla="*/ 3324987 h 3355086"/>
                <a:gd name="connsiteX209" fmla="*/ 1473517 w 3359086"/>
                <a:gd name="connsiteY209" fmla="*/ 3318796 h 3355086"/>
                <a:gd name="connsiteX210" fmla="*/ 1823179 w 3359086"/>
                <a:gd name="connsiteY210" fmla="*/ 3318129 h 3355086"/>
                <a:gd name="connsiteX211" fmla="*/ 1829371 w 3359086"/>
                <a:gd name="connsiteY211" fmla="*/ 3324320 h 3355086"/>
                <a:gd name="connsiteX212" fmla="*/ 1823179 w 3359086"/>
                <a:gd name="connsiteY212" fmla="*/ 3330511 h 3355086"/>
                <a:gd name="connsiteX213" fmla="*/ 1816988 w 3359086"/>
                <a:gd name="connsiteY213" fmla="*/ 3324320 h 3355086"/>
                <a:gd name="connsiteX214" fmla="*/ 1823179 w 3359086"/>
                <a:gd name="connsiteY214" fmla="*/ 3318129 h 3355086"/>
                <a:gd name="connsiteX215" fmla="*/ 1947766 w 3359086"/>
                <a:gd name="connsiteY215" fmla="*/ 3317939 h 3355086"/>
                <a:gd name="connsiteX216" fmla="*/ 1953958 w 3359086"/>
                <a:gd name="connsiteY216" fmla="*/ 3324130 h 3355086"/>
                <a:gd name="connsiteX217" fmla="*/ 1947766 w 3359086"/>
                <a:gd name="connsiteY217" fmla="*/ 3330322 h 3355086"/>
                <a:gd name="connsiteX218" fmla="*/ 1941575 w 3359086"/>
                <a:gd name="connsiteY218" fmla="*/ 3324130 h 3355086"/>
                <a:gd name="connsiteX219" fmla="*/ 1947766 w 3359086"/>
                <a:gd name="connsiteY219" fmla="*/ 3317939 h 3355086"/>
                <a:gd name="connsiteX220" fmla="*/ 1366837 w 3359086"/>
                <a:gd name="connsiteY220" fmla="*/ 3317367 h 3355086"/>
                <a:gd name="connsiteX221" fmla="*/ 1370932 w 3359086"/>
                <a:gd name="connsiteY221" fmla="*/ 3321463 h 3355086"/>
                <a:gd name="connsiteX222" fmla="*/ 1366837 w 3359086"/>
                <a:gd name="connsiteY222" fmla="*/ 3325559 h 3355086"/>
                <a:gd name="connsiteX223" fmla="*/ 1362741 w 3359086"/>
                <a:gd name="connsiteY223" fmla="*/ 3321463 h 3355086"/>
                <a:gd name="connsiteX224" fmla="*/ 1366837 w 3359086"/>
                <a:gd name="connsiteY224" fmla="*/ 3317367 h 3355086"/>
                <a:gd name="connsiteX225" fmla="*/ 1418843 w 3359086"/>
                <a:gd name="connsiteY225" fmla="*/ 3317081 h 3355086"/>
                <a:gd name="connsiteX226" fmla="*/ 1425035 w 3359086"/>
                <a:gd name="connsiteY226" fmla="*/ 3323272 h 3355086"/>
                <a:gd name="connsiteX227" fmla="*/ 1418843 w 3359086"/>
                <a:gd name="connsiteY227" fmla="*/ 3329464 h 3355086"/>
                <a:gd name="connsiteX228" fmla="*/ 1412652 w 3359086"/>
                <a:gd name="connsiteY228" fmla="*/ 3323272 h 3355086"/>
                <a:gd name="connsiteX229" fmla="*/ 1418843 w 3359086"/>
                <a:gd name="connsiteY229" fmla="*/ 3317081 h 3355086"/>
                <a:gd name="connsiteX230" fmla="*/ 1880139 w 3359086"/>
                <a:gd name="connsiteY230" fmla="*/ 3316415 h 3355086"/>
                <a:gd name="connsiteX231" fmla="*/ 1886330 w 3359086"/>
                <a:gd name="connsiteY231" fmla="*/ 3322606 h 3355086"/>
                <a:gd name="connsiteX232" fmla="*/ 1880139 w 3359086"/>
                <a:gd name="connsiteY232" fmla="*/ 3328797 h 3355086"/>
                <a:gd name="connsiteX233" fmla="*/ 1873948 w 3359086"/>
                <a:gd name="connsiteY233" fmla="*/ 3322606 h 3355086"/>
                <a:gd name="connsiteX234" fmla="*/ 1880139 w 3359086"/>
                <a:gd name="connsiteY234" fmla="*/ 3316415 h 3355086"/>
                <a:gd name="connsiteX235" fmla="*/ 1489804 w 3359086"/>
                <a:gd name="connsiteY235" fmla="*/ 3316415 h 3355086"/>
                <a:gd name="connsiteX236" fmla="*/ 1495996 w 3359086"/>
                <a:gd name="connsiteY236" fmla="*/ 3322606 h 3355086"/>
                <a:gd name="connsiteX237" fmla="*/ 1489804 w 3359086"/>
                <a:gd name="connsiteY237" fmla="*/ 3328797 h 3355086"/>
                <a:gd name="connsiteX238" fmla="*/ 1483613 w 3359086"/>
                <a:gd name="connsiteY238" fmla="*/ 3322606 h 3355086"/>
                <a:gd name="connsiteX239" fmla="*/ 1489804 w 3359086"/>
                <a:gd name="connsiteY239" fmla="*/ 3316415 h 3355086"/>
                <a:gd name="connsiteX240" fmla="*/ 1805749 w 3359086"/>
                <a:gd name="connsiteY240" fmla="*/ 3316129 h 3355086"/>
                <a:gd name="connsiteX241" fmla="*/ 1811941 w 3359086"/>
                <a:gd name="connsiteY241" fmla="*/ 3322320 h 3355086"/>
                <a:gd name="connsiteX242" fmla="*/ 1805749 w 3359086"/>
                <a:gd name="connsiteY242" fmla="*/ 3328511 h 3355086"/>
                <a:gd name="connsiteX243" fmla="*/ 1799558 w 3359086"/>
                <a:gd name="connsiteY243" fmla="*/ 3322320 h 3355086"/>
                <a:gd name="connsiteX244" fmla="*/ 1805749 w 3359086"/>
                <a:gd name="connsiteY244" fmla="*/ 3316129 h 3355086"/>
                <a:gd name="connsiteX245" fmla="*/ 2034254 w 3359086"/>
                <a:gd name="connsiteY245" fmla="*/ 3315367 h 3355086"/>
                <a:gd name="connsiteX246" fmla="*/ 2035397 w 3359086"/>
                <a:gd name="connsiteY246" fmla="*/ 3316510 h 3355086"/>
                <a:gd name="connsiteX247" fmla="*/ 2034254 w 3359086"/>
                <a:gd name="connsiteY247" fmla="*/ 3317653 h 3355086"/>
                <a:gd name="connsiteX248" fmla="*/ 2033111 w 3359086"/>
                <a:gd name="connsiteY248" fmla="*/ 3316510 h 3355086"/>
                <a:gd name="connsiteX249" fmla="*/ 2034254 w 3359086"/>
                <a:gd name="connsiteY249" fmla="*/ 3315367 h 3355086"/>
                <a:gd name="connsiteX250" fmla="*/ 1506759 w 3359086"/>
                <a:gd name="connsiteY250" fmla="*/ 3314414 h 3355086"/>
                <a:gd name="connsiteX251" fmla="*/ 1512951 w 3359086"/>
                <a:gd name="connsiteY251" fmla="*/ 3320605 h 3355086"/>
                <a:gd name="connsiteX252" fmla="*/ 1506759 w 3359086"/>
                <a:gd name="connsiteY252" fmla="*/ 3326797 h 3355086"/>
                <a:gd name="connsiteX253" fmla="*/ 1500568 w 3359086"/>
                <a:gd name="connsiteY253" fmla="*/ 3320605 h 3355086"/>
                <a:gd name="connsiteX254" fmla="*/ 1506759 w 3359086"/>
                <a:gd name="connsiteY254" fmla="*/ 3314414 h 3355086"/>
                <a:gd name="connsiteX255" fmla="*/ 1934146 w 3359086"/>
                <a:gd name="connsiteY255" fmla="*/ 3314319 h 3355086"/>
                <a:gd name="connsiteX256" fmla="*/ 1940338 w 3359086"/>
                <a:gd name="connsiteY256" fmla="*/ 3320510 h 3355086"/>
                <a:gd name="connsiteX257" fmla="*/ 1934146 w 3359086"/>
                <a:gd name="connsiteY257" fmla="*/ 3326701 h 3355086"/>
                <a:gd name="connsiteX258" fmla="*/ 1927955 w 3359086"/>
                <a:gd name="connsiteY258" fmla="*/ 3320510 h 3355086"/>
                <a:gd name="connsiteX259" fmla="*/ 1934146 w 3359086"/>
                <a:gd name="connsiteY259" fmla="*/ 3314319 h 3355086"/>
                <a:gd name="connsiteX260" fmla="*/ 1433512 w 3359086"/>
                <a:gd name="connsiteY260" fmla="*/ 3314224 h 3355086"/>
                <a:gd name="connsiteX261" fmla="*/ 1439703 w 3359086"/>
                <a:gd name="connsiteY261" fmla="*/ 3320415 h 3355086"/>
                <a:gd name="connsiteX262" fmla="*/ 1433512 w 3359086"/>
                <a:gd name="connsiteY262" fmla="*/ 3326606 h 3355086"/>
                <a:gd name="connsiteX263" fmla="*/ 1427321 w 3359086"/>
                <a:gd name="connsiteY263" fmla="*/ 3320415 h 3355086"/>
                <a:gd name="connsiteX264" fmla="*/ 1433512 w 3359086"/>
                <a:gd name="connsiteY264" fmla="*/ 3314224 h 3355086"/>
                <a:gd name="connsiteX265" fmla="*/ 1864423 w 3359086"/>
                <a:gd name="connsiteY265" fmla="*/ 3314129 h 3355086"/>
                <a:gd name="connsiteX266" fmla="*/ 1870615 w 3359086"/>
                <a:gd name="connsiteY266" fmla="*/ 3320320 h 3355086"/>
                <a:gd name="connsiteX267" fmla="*/ 1864423 w 3359086"/>
                <a:gd name="connsiteY267" fmla="*/ 3326512 h 3355086"/>
                <a:gd name="connsiteX268" fmla="*/ 1858232 w 3359086"/>
                <a:gd name="connsiteY268" fmla="*/ 3320320 h 3355086"/>
                <a:gd name="connsiteX269" fmla="*/ 1864423 w 3359086"/>
                <a:gd name="connsiteY269" fmla="*/ 3314129 h 3355086"/>
                <a:gd name="connsiteX270" fmla="*/ 1524571 w 3359086"/>
                <a:gd name="connsiteY270" fmla="*/ 3312795 h 3355086"/>
                <a:gd name="connsiteX271" fmla="*/ 1530763 w 3359086"/>
                <a:gd name="connsiteY271" fmla="*/ 3318986 h 3355086"/>
                <a:gd name="connsiteX272" fmla="*/ 1524571 w 3359086"/>
                <a:gd name="connsiteY272" fmla="*/ 3325177 h 3355086"/>
                <a:gd name="connsiteX273" fmla="*/ 1518380 w 3359086"/>
                <a:gd name="connsiteY273" fmla="*/ 3318986 h 3355086"/>
                <a:gd name="connsiteX274" fmla="*/ 1524571 w 3359086"/>
                <a:gd name="connsiteY274" fmla="*/ 3312795 h 3355086"/>
                <a:gd name="connsiteX275" fmla="*/ 1329404 w 3359086"/>
                <a:gd name="connsiteY275" fmla="*/ 3312795 h 3355086"/>
                <a:gd name="connsiteX276" fmla="*/ 1331975 w 3359086"/>
                <a:gd name="connsiteY276" fmla="*/ 3315367 h 3355086"/>
                <a:gd name="connsiteX277" fmla="*/ 1329404 w 3359086"/>
                <a:gd name="connsiteY277" fmla="*/ 3317938 h 3355086"/>
                <a:gd name="connsiteX278" fmla="*/ 1326832 w 3359086"/>
                <a:gd name="connsiteY278" fmla="*/ 3315367 h 3355086"/>
                <a:gd name="connsiteX279" fmla="*/ 1329404 w 3359086"/>
                <a:gd name="connsiteY279" fmla="*/ 3312795 h 3355086"/>
                <a:gd name="connsiteX280" fmla="*/ 1848040 w 3359086"/>
                <a:gd name="connsiteY280" fmla="*/ 3312224 h 3355086"/>
                <a:gd name="connsiteX281" fmla="*/ 1854231 w 3359086"/>
                <a:gd name="connsiteY281" fmla="*/ 3318415 h 3355086"/>
                <a:gd name="connsiteX282" fmla="*/ 1848040 w 3359086"/>
                <a:gd name="connsiteY282" fmla="*/ 3324606 h 3355086"/>
                <a:gd name="connsiteX283" fmla="*/ 1841849 w 3359086"/>
                <a:gd name="connsiteY283" fmla="*/ 3318415 h 3355086"/>
                <a:gd name="connsiteX284" fmla="*/ 1848040 w 3359086"/>
                <a:gd name="connsiteY284" fmla="*/ 3312224 h 3355086"/>
                <a:gd name="connsiteX285" fmla="*/ 1985390 w 3359086"/>
                <a:gd name="connsiteY285" fmla="*/ 3312129 h 3355086"/>
                <a:gd name="connsiteX286" fmla="*/ 1991582 w 3359086"/>
                <a:gd name="connsiteY286" fmla="*/ 3318320 h 3355086"/>
                <a:gd name="connsiteX287" fmla="*/ 1985390 w 3359086"/>
                <a:gd name="connsiteY287" fmla="*/ 3324511 h 3355086"/>
                <a:gd name="connsiteX288" fmla="*/ 1979199 w 3359086"/>
                <a:gd name="connsiteY288" fmla="*/ 3318320 h 3355086"/>
                <a:gd name="connsiteX289" fmla="*/ 1985390 w 3359086"/>
                <a:gd name="connsiteY289" fmla="*/ 3312129 h 3355086"/>
                <a:gd name="connsiteX290" fmla="*/ 1448752 w 3359086"/>
                <a:gd name="connsiteY290" fmla="*/ 3311938 h 3355086"/>
                <a:gd name="connsiteX291" fmla="*/ 1454944 w 3359086"/>
                <a:gd name="connsiteY291" fmla="*/ 3318129 h 3355086"/>
                <a:gd name="connsiteX292" fmla="*/ 1448752 w 3359086"/>
                <a:gd name="connsiteY292" fmla="*/ 3324320 h 3355086"/>
                <a:gd name="connsiteX293" fmla="*/ 1442561 w 3359086"/>
                <a:gd name="connsiteY293" fmla="*/ 3318129 h 3355086"/>
                <a:gd name="connsiteX294" fmla="*/ 1448752 w 3359086"/>
                <a:gd name="connsiteY294" fmla="*/ 3311938 h 3355086"/>
                <a:gd name="connsiteX295" fmla="*/ 1380077 w 3359086"/>
                <a:gd name="connsiteY295" fmla="*/ 3311652 h 3355086"/>
                <a:gd name="connsiteX296" fmla="*/ 1386268 w 3359086"/>
                <a:gd name="connsiteY296" fmla="*/ 3317843 h 3355086"/>
                <a:gd name="connsiteX297" fmla="*/ 1380077 w 3359086"/>
                <a:gd name="connsiteY297" fmla="*/ 3324034 h 3355086"/>
                <a:gd name="connsiteX298" fmla="*/ 1373886 w 3359086"/>
                <a:gd name="connsiteY298" fmla="*/ 3317843 h 3355086"/>
                <a:gd name="connsiteX299" fmla="*/ 1380077 w 3359086"/>
                <a:gd name="connsiteY299" fmla="*/ 3311652 h 3355086"/>
                <a:gd name="connsiteX300" fmla="*/ 1919954 w 3359086"/>
                <a:gd name="connsiteY300" fmla="*/ 3311367 h 3355086"/>
                <a:gd name="connsiteX301" fmla="*/ 1926146 w 3359086"/>
                <a:gd name="connsiteY301" fmla="*/ 3317558 h 3355086"/>
                <a:gd name="connsiteX302" fmla="*/ 1919954 w 3359086"/>
                <a:gd name="connsiteY302" fmla="*/ 3323750 h 3355086"/>
                <a:gd name="connsiteX303" fmla="*/ 1913763 w 3359086"/>
                <a:gd name="connsiteY303" fmla="*/ 3317558 h 3355086"/>
                <a:gd name="connsiteX304" fmla="*/ 1919954 w 3359086"/>
                <a:gd name="connsiteY304" fmla="*/ 3311367 h 3355086"/>
                <a:gd name="connsiteX305" fmla="*/ 1830799 w 3359086"/>
                <a:gd name="connsiteY305" fmla="*/ 3310795 h 3355086"/>
                <a:gd name="connsiteX306" fmla="*/ 1836991 w 3359086"/>
                <a:gd name="connsiteY306" fmla="*/ 3316986 h 3355086"/>
                <a:gd name="connsiteX307" fmla="*/ 1830799 w 3359086"/>
                <a:gd name="connsiteY307" fmla="*/ 3323178 h 3355086"/>
                <a:gd name="connsiteX308" fmla="*/ 1824608 w 3359086"/>
                <a:gd name="connsiteY308" fmla="*/ 3316986 h 3355086"/>
                <a:gd name="connsiteX309" fmla="*/ 1830799 w 3359086"/>
                <a:gd name="connsiteY309" fmla="*/ 3310795 h 3355086"/>
                <a:gd name="connsiteX310" fmla="*/ 1464563 w 3359086"/>
                <a:gd name="connsiteY310" fmla="*/ 3310128 h 3355086"/>
                <a:gd name="connsiteX311" fmla="*/ 1470755 w 3359086"/>
                <a:gd name="connsiteY311" fmla="*/ 3316319 h 3355086"/>
                <a:gd name="connsiteX312" fmla="*/ 1464563 w 3359086"/>
                <a:gd name="connsiteY312" fmla="*/ 3322510 h 3355086"/>
                <a:gd name="connsiteX313" fmla="*/ 1458372 w 3359086"/>
                <a:gd name="connsiteY313" fmla="*/ 3316319 h 3355086"/>
                <a:gd name="connsiteX314" fmla="*/ 1464563 w 3359086"/>
                <a:gd name="connsiteY314" fmla="*/ 3310128 h 3355086"/>
                <a:gd name="connsiteX315" fmla="*/ 1812797 w 3359086"/>
                <a:gd name="connsiteY315" fmla="*/ 3309652 h 3355086"/>
                <a:gd name="connsiteX316" fmla="*/ 1818989 w 3359086"/>
                <a:gd name="connsiteY316" fmla="*/ 3315843 h 3355086"/>
                <a:gd name="connsiteX317" fmla="*/ 1812797 w 3359086"/>
                <a:gd name="connsiteY317" fmla="*/ 3322035 h 3355086"/>
                <a:gd name="connsiteX318" fmla="*/ 1806606 w 3359086"/>
                <a:gd name="connsiteY318" fmla="*/ 3315843 h 3355086"/>
                <a:gd name="connsiteX319" fmla="*/ 1812797 w 3359086"/>
                <a:gd name="connsiteY319" fmla="*/ 3309652 h 3355086"/>
                <a:gd name="connsiteX320" fmla="*/ 2070259 w 3359086"/>
                <a:gd name="connsiteY320" fmla="*/ 3309462 h 3355086"/>
                <a:gd name="connsiteX321" fmla="*/ 2070449 w 3359086"/>
                <a:gd name="connsiteY321" fmla="*/ 3309652 h 3355086"/>
                <a:gd name="connsiteX322" fmla="*/ 2070259 w 3359086"/>
                <a:gd name="connsiteY322" fmla="*/ 3309843 h 3355086"/>
                <a:gd name="connsiteX323" fmla="*/ 2070068 w 3359086"/>
                <a:gd name="connsiteY323" fmla="*/ 3309652 h 3355086"/>
                <a:gd name="connsiteX324" fmla="*/ 2070259 w 3359086"/>
                <a:gd name="connsiteY324" fmla="*/ 3309462 h 3355086"/>
                <a:gd name="connsiteX325" fmla="*/ 1905285 w 3359086"/>
                <a:gd name="connsiteY325" fmla="*/ 3309176 h 3355086"/>
                <a:gd name="connsiteX326" fmla="*/ 1911476 w 3359086"/>
                <a:gd name="connsiteY326" fmla="*/ 3315367 h 3355086"/>
                <a:gd name="connsiteX327" fmla="*/ 1905285 w 3359086"/>
                <a:gd name="connsiteY327" fmla="*/ 3321558 h 3355086"/>
                <a:gd name="connsiteX328" fmla="*/ 1899094 w 3359086"/>
                <a:gd name="connsiteY328" fmla="*/ 3315367 h 3355086"/>
                <a:gd name="connsiteX329" fmla="*/ 1905285 w 3359086"/>
                <a:gd name="connsiteY329" fmla="*/ 3309176 h 3355086"/>
                <a:gd name="connsiteX330" fmla="*/ 1481232 w 3359086"/>
                <a:gd name="connsiteY330" fmla="*/ 3308795 h 3355086"/>
                <a:gd name="connsiteX331" fmla="*/ 1487424 w 3359086"/>
                <a:gd name="connsiteY331" fmla="*/ 3314986 h 3355086"/>
                <a:gd name="connsiteX332" fmla="*/ 1481232 w 3359086"/>
                <a:gd name="connsiteY332" fmla="*/ 3321178 h 3355086"/>
                <a:gd name="connsiteX333" fmla="*/ 1475041 w 3359086"/>
                <a:gd name="connsiteY333" fmla="*/ 3314986 h 3355086"/>
                <a:gd name="connsiteX334" fmla="*/ 1481232 w 3359086"/>
                <a:gd name="connsiteY334" fmla="*/ 3308795 h 3355086"/>
                <a:gd name="connsiteX335" fmla="*/ 1393792 w 3359086"/>
                <a:gd name="connsiteY335" fmla="*/ 3308795 h 3355086"/>
                <a:gd name="connsiteX336" fmla="*/ 1399984 w 3359086"/>
                <a:gd name="connsiteY336" fmla="*/ 3314986 h 3355086"/>
                <a:gd name="connsiteX337" fmla="*/ 1393792 w 3359086"/>
                <a:gd name="connsiteY337" fmla="*/ 3321178 h 3355086"/>
                <a:gd name="connsiteX338" fmla="*/ 1387601 w 3359086"/>
                <a:gd name="connsiteY338" fmla="*/ 3314986 h 3355086"/>
                <a:gd name="connsiteX339" fmla="*/ 1393792 w 3359086"/>
                <a:gd name="connsiteY339" fmla="*/ 3308795 h 3355086"/>
                <a:gd name="connsiteX340" fmla="*/ 1793747 w 3359086"/>
                <a:gd name="connsiteY340" fmla="*/ 3308509 h 3355086"/>
                <a:gd name="connsiteX341" fmla="*/ 1799939 w 3359086"/>
                <a:gd name="connsiteY341" fmla="*/ 3314700 h 3355086"/>
                <a:gd name="connsiteX342" fmla="*/ 1793747 w 3359086"/>
                <a:gd name="connsiteY342" fmla="*/ 3320892 h 3355086"/>
                <a:gd name="connsiteX343" fmla="*/ 1793462 w 3359086"/>
                <a:gd name="connsiteY343" fmla="*/ 3320607 h 3355086"/>
                <a:gd name="connsiteX344" fmla="*/ 1787366 w 3359086"/>
                <a:gd name="connsiteY344" fmla="*/ 3326701 h 3355086"/>
                <a:gd name="connsiteX345" fmla="*/ 1781175 w 3359086"/>
                <a:gd name="connsiteY345" fmla="*/ 3320510 h 3355086"/>
                <a:gd name="connsiteX346" fmla="*/ 1787366 w 3359086"/>
                <a:gd name="connsiteY346" fmla="*/ 3314319 h 3355086"/>
                <a:gd name="connsiteX347" fmla="*/ 1787652 w 3359086"/>
                <a:gd name="connsiteY347" fmla="*/ 3314605 h 3355086"/>
                <a:gd name="connsiteX348" fmla="*/ 1972627 w 3359086"/>
                <a:gd name="connsiteY348" fmla="*/ 3308414 h 3355086"/>
                <a:gd name="connsiteX349" fmla="*/ 1978819 w 3359086"/>
                <a:gd name="connsiteY349" fmla="*/ 3314605 h 3355086"/>
                <a:gd name="connsiteX350" fmla="*/ 1972627 w 3359086"/>
                <a:gd name="connsiteY350" fmla="*/ 3320797 h 3355086"/>
                <a:gd name="connsiteX351" fmla="*/ 1966436 w 3359086"/>
                <a:gd name="connsiteY351" fmla="*/ 3314605 h 3355086"/>
                <a:gd name="connsiteX352" fmla="*/ 1972627 w 3359086"/>
                <a:gd name="connsiteY352" fmla="*/ 3308414 h 3355086"/>
                <a:gd name="connsiteX353" fmla="*/ 1498758 w 3359086"/>
                <a:gd name="connsiteY353" fmla="*/ 3307747 h 3355086"/>
                <a:gd name="connsiteX354" fmla="*/ 1504950 w 3359086"/>
                <a:gd name="connsiteY354" fmla="*/ 3313938 h 3355086"/>
                <a:gd name="connsiteX355" fmla="*/ 1498758 w 3359086"/>
                <a:gd name="connsiteY355" fmla="*/ 3320129 h 3355086"/>
                <a:gd name="connsiteX356" fmla="*/ 1492567 w 3359086"/>
                <a:gd name="connsiteY356" fmla="*/ 3313938 h 3355086"/>
                <a:gd name="connsiteX357" fmla="*/ 1498758 w 3359086"/>
                <a:gd name="connsiteY357" fmla="*/ 3307747 h 3355086"/>
                <a:gd name="connsiteX358" fmla="*/ 1292447 w 3359086"/>
                <a:gd name="connsiteY358" fmla="*/ 3307652 h 3355086"/>
                <a:gd name="connsiteX359" fmla="*/ 1293399 w 3359086"/>
                <a:gd name="connsiteY359" fmla="*/ 3308605 h 3355086"/>
                <a:gd name="connsiteX360" fmla="*/ 1292447 w 3359086"/>
                <a:gd name="connsiteY360" fmla="*/ 3309557 h 3355086"/>
                <a:gd name="connsiteX361" fmla="*/ 1291494 w 3359086"/>
                <a:gd name="connsiteY361" fmla="*/ 3308605 h 3355086"/>
                <a:gd name="connsiteX362" fmla="*/ 1292447 w 3359086"/>
                <a:gd name="connsiteY362" fmla="*/ 3307652 h 3355086"/>
                <a:gd name="connsiteX363" fmla="*/ 1890045 w 3359086"/>
                <a:gd name="connsiteY363" fmla="*/ 3307461 h 3355086"/>
                <a:gd name="connsiteX364" fmla="*/ 1896237 w 3359086"/>
                <a:gd name="connsiteY364" fmla="*/ 3313652 h 3355086"/>
                <a:gd name="connsiteX365" fmla="*/ 1890045 w 3359086"/>
                <a:gd name="connsiteY365" fmla="*/ 3319843 h 3355086"/>
                <a:gd name="connsiteX366" fmla="*/ 1883854 w 3359086"/>
                <a:gd name="connsiteY366" fmla="*/ 3313652 h 3355086"/>
                <a:gd name="connsiteX367" fmla="*/ 1890045 w 3359086"/>
                <a:gd name="connsiteY367" fmla="*/ 3307461 h 3355086"/>
                <a:gd name="connsiteX368" fmla="*/ 1517141 w 3359086"/>
                <a:gd name="connsiteY368" fmla="*/ 3306795 h 3355086"/>
                <a:gd name="connsiteX369" fmla="*/ 1523332 w 3359086"/>
                <a:gd name="connsiteY369" fmla="*/ 3312986 h 3355086"/>
                <a:gd name="connsiteX370" fmla="*/ 1517141 w 3359086"/>
                <a:gd name="connsiteY370" fmla="*/ 3319177 h 3355086"/>
                <a:gd name="connsiteX371" fmla="*/ 1510950 w 3359086"/>
                <a:gd name="connsiteY371" fmla="*/ 3312986 h 3355086"/>
                <a:gd name="connsiteX372" fmla="*/ 1517141 w 3359086"/>
                <a:gd name="connsiteY372" fmla="*/ 3306795 h 3355086"/>
                <a:gd name="connsiteX373" fmla="*/ 1873948 w 3359086"/>
                <a:gd name="connsiteY373" fmla="*/ 3306223 h 3355086"/>
                <a:gd name="connsiteX374" fmla="*/ 1880140 w 3359086"/>
                <a:gd name="connsiteY374" fmla="*/ 3312414 h 3355086"/>
                <a:gd name="connsiteX375" fmla="*/ 1873948 w 3359086"/>
                <a:gd name="connsiteY375" fmla="*/ 3318605 h 3355086"/>
                <a:gd name="connsiteX376" fmla="*/ 1867757 w 3359086"/>
                <a:gd name="connsiteY376" fmla="*/ 3312414 h 3355086"/>
                <a:gd name="connsiteX377" fmla="*/ 1873948 w 3359086"/>
                <a:gd name="connsiteY377" fmla="*/ 3306223 h 3355086"/>
                <a:gd name="connsiteX378" fmla="*/ 1536667 w 3359086"/>
                <a:gd name="connsiteY378" fmla="*/ 3305842 h 3355086"/>
                <a:gd name="connsiteX379" fmla="*/ 1542812 w 3359086"/>
                <a:gd name="connsiteY379" fmla="*/ 3311986 h 3355086"/>
                <a:gd name="connsiteX380" fmla="*/ 1543335 w 3359086"/>
                <a:gd name="connsiteY380" fmla="*/ 3311462 h 3355086"/>
                <a:gd name="connsiteX381" fmla="*/ 1549526 w 3359086"/>
                <a:gd name="connsiteY381" fmla="*/ 3317653 h 3355086"/>
                <a:gd name="connsiteX382" fmla="*/ 1549336 w 3359086"/>
                <a:gd name="connsiteY382" fmla="*/ 3317843 h 3355086"/>
                <a:gd name="connsiteX383" fmla="*/ 1555433 w 3359086"/>
                <a:gd name="connsiteY383" fmla="*/ 3323939 h 3355086"/>
                <a:gd name="connsiteX384" fmla="*/ 1549241 w 3359086"/>
                <a:gd name="connsiteY384" fmla="*/ 3330130 h 3355086"/>
                <a:gd name="connsiteX385" fmla="*/ 1543050 w 3359086"/>
                <a:gd name="connsiteY385" fmla="*/ 3323939 h 3355086"/>
                <a:gd name="connsiteX386" fmla="*/ 1543240 w 3359086"/>
                <a:gd name="connsiteY386" fmla="*/ 3323750 h 3355086"/>
                <a:gd name="connsiteX387" fmla="*/ 1537191 w 3359086"/>
                <a:gd name="connsiteY387" fmla="*/ 3317700 h 3355086"/>
                <a:gd name="connsiteX388" fmla="*/ 1536667 w 3359086"/>
                <a:gd name="connsiteY388" fmla="*/ 3318224 h 3355086"/>
                <a:gd name="connsiteX389" fmla="*/ 1530476 w 3359086"/>
                <a:gd name="connsiteY389" fmla="*/ 3312033 h 3355086"/>
                <a:gd name="connsiteX390" fmla="*/ 1536667 w 3359086"/>
                <a:gd name="connsiteY390" fmla="*/ 3305842 h 3355086"/>
                <a:gd name="connsiteX391" fmla="*/ 2022633 w 3359086"/>
                <a:gd name="connsiteY391" fmla="*/ 3305652 h 3355086"/>
                <a:gd name="connsiteX392" fmla="*/ 2028825 w 3359086"/>
                <a:gd name="connsiteY392" fmla="*/ 3311843 h 3355086"/>
                <a:gd name="connsiteX393" fmla="*/ 2022633 w 3359086"/>
                <a:gd name="connsiteY393" fmla="*/ 3318034 h 3355086"/>
                <a:gd name="connsiteX394" fmla="*/ 2016442 w 3359086"/>
                <a:gd name="connsiteY394" fmla="*/ 3311843 h 3355086"/>
                <a:gd name="connsiteX395" fmla="*/ 2022633 w 3359086"/>
                <a:gd name="connsiteY395" fmla="*/ 3305652 h 3355086"/>
                <a:gd name="connsiteX396" fmla="*/ 1341786 w 3359086"/>
                <a:gd name="connsiteY396" fmla="*/ 3305556 h 3355086"/>
                <a:gd name="connsiteX397" fmla="*/ 1347978 w 3359086"/>
                <a:gd name="connsiteY397" fmla="*/ 3311747 h 3355086"/>
                <a:gd name="connsiteX398" fmla="*/ 1341786 w 3359086"/>
                <a:gd name="connsiteY398" fmla="*/ 3317938 h 3355086"/>
                <a:gd name="connsiteX399" fmla="*/ 1335595 w 3359086"/>
                <a:gd name="connsiteY399" fmla="*/ 3311747 h 3355086"/>
                <a:gd name="connsiteX400" fmla="*/ 1341786 w 3359086"/>
                <a:gd name="connsiteY400" fmla="*/ 3305556 h 3355086"/>
                <a:gd name="connsiteX401" fmla="*/ 1857184 w 3359086"/>
                <a:gd name="connsiteY401" fmla="*/ 3305271 h 3355086"/>
                <a:gd name="connsiteX402" fmla="*/ 1863376 w 3359086"/>
                <a:gd name="connsiteY402" fmla="*/ 3311462 h 3355086"/>
                <a:gd name="connsiteX403" fmla="*/ 1857184 w 3359086"/>
                <a:gd name="connsiteY403" fmla="*/ 3317653 h 3355086"/>
                <a:gd name="connsiteX404" fmla="*/ 1850993 w 3359086"/>
                <a:gd name="connsiteY404" fmla="*/ 3311462 h 3355086"/>
                <a:gd name="connsiteX405" fmla="*/ 1857184 w 3359086"/>
                <a:gd name="connsiteY405" fmla="*/ 3305271 h 3355086"/>
                <a:gd name="connsiteX406" fmla="*/ 1557241 w 3359086"/>
                <a:gd name="connsiteY406" fmla="*/ 3304794 h 3355086"/>
                <a:gd name="connsiteX407" fmla="*/ 1562814 w 3359086"/>
                <a:gd name="connsiteY407" fmla="*/ 3310366 h 3355086"/>
                <a:gd name="connsiteX408" fmla="*/ 1563052 w 3359086"/>
                <a:gd name="connsiteY408" fmla="*/ 3310128 h 3355086"/>
                <a:gd name="connsiteX409" fmla="*/ 1569244 w 3359086"/>
                <a:gd name="connsiteY409" fmla="*/ 3316319 h 3355086"/>
                <a:gd name="connsiteX410" fmla="*/ 1569005 w 3359086"/>
                <a:gd name="connsiteY410" fmla="*/ 3316558 h 3355086"/>
                <a:gd name="connsiteX411" fmla="*/ 1574386 w 3359086"/>
                <a:gd name="connsiteY411" fmla="*/ 3321939 h 3355086"/>
                <a:gd name="connsiteX412" fmla="*/ 1573243 w 3359086"/>
                <a:gd name="connsiteY412" fmla="*/ 3323082 h 3355086"/>
                <a:gd name="connsiteX413" fmla="*/ 1578959 w 3359086"/>
                <a:gd name="connsiteY413" fmla="*/ 3328797 h 3355086"/>
                <a:gd name="connsiteX414" fmla="*/ 1572767 w 3359086"/>
                <a:gd name="connsiteY414" fmla="*/ 3334988 h 3355086"/>
                <a:gd name="connsiteX415" fmla="*/ 1566576 w 3359086"/>
                <a:gd name="connsiteY415" fmla="*/ 3328797 h 3355086"/>
                <a:gd name="connsiteX416" fmla="*/ 1567719 w 3359086"/>
                <a:gd name="connsiteY416" fmla="*/ 3327654 h 3355086"/>
                <a:gd name="connsiteX417" fmla="*/ 1562004 w 3359086"/>
                <a:gd name="connsiteY417" fmla="*/ 3321939 h 3355086"/>
                <a:gd name="connsiteX418" fmla="*/ 1562243 w 3359086"/>
                <a:gd name="connsiteY418" fmla="*/ 3321701 h 3355086"/>
                <a:gd name="connsiteX419" fmla="*/ 1557480 w 3359086"/>
                <a:gd name="connsiteY419" fmla="*/ 3316938 h 3355086"/>
                <a:gd name="connsiteX420" fmla="*/ 1557241 w 3359086"/>
                <a:gd name="connsiteY420" fmla="*/ 3317176 h 3355086"/>
                <a:gd name="connsiteX421" fmla="*/ 1551050 w 3359086"/>
                <a:gd name="connsiteY421" fmla="*/ 3310985 h 3355086"/>
                <a:gd name="connsiteX422" fmla="*/ 1557241 w 3359086"/>
                <a:gd name="connsiteY422" fmla="*/ 3304794 h 3355086"/>
                <a:gd name="connsiteX423" fmla="*/ 1839467 w 3359086"/>
                <a:gd name="connsiteY423" fmla="*/ 3304509 h 3355086"/>
                <a:gd name="connsiteX424" fmla="*/ 1845659 w 3359086"/>
                <a:gd name="connsiteY424" fmla="*/ 3310700 h 3355086"/>
                <a:gd name="connsiteX425" fmla="*/ 1839467 w 3359086"/>
                <a:gd name="connsiteY425" fmla="*/ 3316891 h 3355086"/>
                <a:gd name="connsiteX426" fmla="*/ 1833276 w 3359086"/>
                <a:gd name="connsiteY426" fmla="*/ 3310700 h 3355086"/>
                <a:gd name="connsiteX427" fmla="*/ 1839467 w 3359086"/>
                <a:gd name="connsiteY427" fmla="*/ 3304509 h 3355086"/>
                <a:gd name="connsiteX428" fmla="*/ 1820703 w 3359086"/>
                <a:gd name="connsiteY428" fmla="*/ 3303842 h 3355086"/>
                <a:gd name="connsiteX429" fmla="*/ 1826895 w 3359086"/>
                <a:gd name="connsiteY429" fmla="*/ 3310033 h 3355086"/>
                <a:gd name="connsiteX430" fmla="*/ 1820703 w 3359086"/>
                <a:gd name="connsiteY430" fmla="*/ 3316224 h 3355086"/>
                <a:gd name="connsiteX431" fmla="*/ 1814512 w 3359086"/>
                <a:gd name="connsiteY431" fmla="*/ 3310033 h 3355086"/>
                <a:gd name="connsiteX432" fmla="*/ 1820703 w 3359086"/>
                <a:gd name="connsiteY432" fmla="*/ 3303842 h 3355086"/>
                <a:gd name="connsiteX433" fmla="*/ 1800891 w 3359086"/>
                <a:gd name="connsiteY433" fmla="*/ 3302985 h 3355086"/>
                <a:gd name="connsiteX434" fmla="*/ 1807083 w 3359086"/>
                <a:gd name="connsiteY434" fmla="*/ 3309176 h 3355086"/>
                <a:gd name="connsiteX435" fmla="*/ 1800891 w 3359086"/>
                <a:gd name="connsiteY435" fmla="*/ 3315367 h 3355086"/>
                <a:gd name="connsiteX436" fmla="*/ 1794700 w 3359086"/>
                <a:gd name="connsiteY436" fmla="*/ 3309176 h 3355086"/>
                <a:gd name="connsiteX437" fmla="*/ 1800891 w 3359086"/>
                <a:gd name="connsiteY437" fmla="*/ 3302985 h 3355086"/>
                <a:gd name="connsiteX438" fmla="*/ 1454562 w 3359086"/>
                <a:gd name="connsiteY438" fmla="*/ 3302985 h 3355086"/>
                <a:gd name="connsiteX439" fmla="*/ 1460754 w 3359086"/>
                <a:gd name="connsiteY439" fmla="*/ 3309176 h 3355086"/>
                <a:gd name="connsiteX440" fmla="*/ 1454562 w 3359086"/>
                <a:gd name="connsiteY440" fmla="*/ 3315367 h 3355086"/>
                <a:gd name="connsiteX441" fmla="*/ 1448371 w 3359086"/>
                <a:gd name="connsiteY441" fmla="*/ 3309176 h 3355086"/>
                <a:gd name="connsiteX442" fmla="*/ 1454562 w 3359086"/>
                <a:gd name="connsiteY442" fmla="*/ 3302985 h 3355086"/>
                <a:gd name="connsiteX443" fmla="*/ 1354549 w 3359086"/>
                <a:gd name="connsiteY443" fmla="*/ 3302604 h 3355086"/>
                <a:gd name="connsiteX444" fmla="*/ 1360741 w 3359086"/>
                <a:gd name="connsiteY444" fmla="*/ 3308795 h 3355086"/>
                <a:gd name="connsiteX445" fmla="*/ 1354549 w 3359086"/>
                <a:gd name="connsiteY445" fmla="*/ 3314986 h 3355086"/>
                <a:gd name="connsiteX446" fmla="*/ 1348358 w 3359086"/>
                <a:gd name="connsiteY446" fmla="*/ 3308795 h 3355086"/>
                <a:gd name="connsiteX447" fmla="*/ 1354549 w 3359086"/>
                <a:gd name="connsiteY447" fmla="*/ 3302604 h 3355086"/>
                <a:gd name="connsiteX448" fmla="*/ 1471612 w 3359086"/>
                <a:gd name="connsiteY448" fmla="*/ 3302318 h 3355086"/>
                <a:gd name="connsiteX449" fmla="*/ 1477803 w 3359086"/>
                <a:gd name="connsiteY449" fmla="*/ 3308509 h 3355086"/>
                <a:gd name="connsiteX450" fmla="*/ 1471612 w 3359086"/>
                <a:gd name="connsiteY450" fmla="*/ 3314700 h 3355086"/>
                <a:gd name="connsiteX451" fmla="*/ 1465421 w 3359086"/>
                <a:gd name="connsiteY451" fmla="*/ 3308509 h 3355086"/>
                <a:gd name="connsiteX452" fmla="*/ 1471612 w 3359086"/>
                <a:gd name="connsiteY452" fmla="*/ 3302318 h 3355086"/>
                <a:gd name="connsiteX453" fmla="*/ 2010727 w 3359086"/>
                <a:gd name="connsiteY453" fmla="*/ 3301937 h 3355086"/>
                <a:gd name="connsiteX454" fmla="*/ 2016919 w 3359086"/>
                <a:gd name="connsiteY454" fmla="*/ 3308128 h 3355086"/>
                <a:gd name="connsiteX455" fmla="*/ 2010727 w 3359086"/>
                <a:gd name="connsiteY455" fmla="*/ 3314320 h 3355086"/>
                <a:gd name="connsiteX456" fmla="*/ 2004536 w 3359086"/>
                <a:gd name="connsiteY456" fmla="*/ 3308128 h 3355086"/>
                <a:gd name="connsiteX457" fmla="*/ 2010727 w 3359086"/>
                <a:gd name="connsiteY457" fmla="*/ 3301937 h 3355086"/>
                <a:gd name="connsiteX458" fmla="*/ 1779841 w 3359086"/>
                <a:gd name="connsiteY458" fmla="*/ 3301746 h 3355086"/>
                <a:gd name="connsiteX459" fmla="*/ 1786032 w 3359086"/>
                <a:gd name="connsiteY459" fmla="*/ 3307937 h 3355086"/>
                <a:gd name="connsiteX460" fmla="*/ 1779841 w 3359086"/>
                <a:gd name="connsiteY460" fmla="*/ 3314128 h 3355086"/>
                <a:gd name="connsiteX461" fmla="*/ 1779555 w 3359086"/>
                <a:gd name="connsiteY461" fmla="*/ 3313843 h 3355086"/>
                <a:gd name="connsiteX462" fmla="*/ 1773649 w 3359086"/>
                <a:gd name="connsiteY462" fmla="*/ 3319748 h 3355086"/>
                <a:gd name="connsiteX463" fmla="*/ 1773602 w 3359086"/>
                <a:gd name="connsiteY463" fmla="*/ 3319701 h 3355086"/>
                <a:gd name="connsiteX464" fmla="*/ 1768792 w 3359086"/>
                <a:gd name="connsiteY464" fmla="*/ 3324511 h 3355086"/>
                <a:gd name="connsiteX465" fmla="*/ 1769363 w 3359086"/>
                <a:gd name="connsiteY465" fmla="*/ 3325082 h 3355086"/>
                <a:gd name="connsiteX466" fmla="*/ 1763363 w 3359086"/>
                <a:gd name="connsiteY466" fmla="*/ 3331082 h 3355086"/>
                <a:gd name="connsiteX467" fmla="*/ 1764983 w 3359086"/>
                <a:gd name="connsiteY467" fmla="*/ 3332702 h 3355086"/>
                <a:gd name="connsiteX468" fmla="*/ 1758791 w 3359086"/>
                <a:gd name="connsiteY468" fmla="*/ 3338893 h 3355086"/>
                <a:gd name="connsiteX469" fmla="*/ 1752600 w 3359086"/>
                <a:gd name="connsiteY469" fmla="*/ 3332702 h 3355086"/>
                <a:gd name="connsiteX470" fmla="*/ 1758601 w 3359086"/>
                <a:gd name="connsiteY470" fmla="*/ 3326702 h 3355086"/>
                <a:gd name="connsiteX471" fmla="*/ 1756981 w 3359086"/>
                <a:gd name="connsiteY471" fmla="*/ 3325082 h 3355086"/>
                <a:gd name="connsiteX472" fmla="*/ 1762505 w 3359086"/>
                <a:gd name="connsiteY472" fmla="*/ 3319558 h 3355086"/>
                <a:gd name="connsiteX473" fmla="*/ 1761934 w 3359086"/>
                <a:gd name="connsiteY473" fmla="*/ 3318986 h 3355086"/>
                <a:gd name="connsiteX474" fmla="*/ 1768125 w 3359086"/>
                <a:gd name="connsiteY474" fmla="*/ 3312795 h 3355086"/>
                <a:gd name="connsiteX475" fmla="*/ 1768173 w 3359086"/>
                <a:gd name="connsiteY475" fmla="*/ 3312843 h 3355086"/>
                <a:gd name="connsiteX476" fmla="*/ 1773649 w 3359086"/>
                <a:gd name="connsiteY476" fmla="*/ 3307366 h 3355086"/>
                <a:gd name="connsiteX477" fmla="*/ 1773935 w 3359086"/>
                <a:gd name="connsiteY477" fmla="*/ 3307652 h 3355086"/>
                <a:gd name="connsiteX478" fmla="*/ 1489709 w 3359086"/>
                <a:gd name="connsiteY478" fmla="*/ 3301746 h 3355086"/>
                <a:gd name="connsiteX479" fmla="*/ 1495901 w 3359086"/>
                <a:gd name="connsiteY479" fmla="*/ 3307937 h 3355086"/>
                <a:gd name="connsiteX480" fmla="*/ 1489709 w 3359086"/>
                <a:gd name="connsiteY480" fmla="*/ 3314128 h 3355086"/>
                <a:gd name="connsiteX481" fmla="*/ 1483518 w 3359086"/>
                <a:gd name="connsiteY481" fmla="*/ 3307937 h 3355086"/>
                <a:gd name="connsiteX482" fmla="*/ 1489709 w 3359086"/>
                <a:gd name="connsiteY482" fmla="*/ 3301746 h 3355086"/>
                <a:gd name="connsiteX483" fmla="*/ 1508854 w 3359086"/>
                <a:gd name="connsiteY483" fmla="*/ 3301079 h 3355086"/>
                <a:gd name="connsiteX484" fmla="*/ 1515046 w 3359086"/>
                <a:gd name="connsiteY484" fmla="*/ 3307270 h 3355086"/>
                <a:gd name="connsiteX485" fmla="*/ 1508854 w 3359086"/>
                <a:gd name="connsiteY485" fmla="*/ 3313461 h 3355086"/>
                <a:gd name="connsiteX486" fmla="*/ 1502663 w 3359086"/>
                <a:gd name="connsiteY486" fmla="*/ 3307270 h 3355086"/>
                <a:gd name="connsiteX487" fmla="*/ 1508854 w 3359086"/>
                <a:gd name="connsiteY487" fmla="*/ 3301079 h 3355086"/>
                <a:gd name="connsiteX488" fmla="*/ 1757457 w 3359086"/>
                <a:gd name="connsiteY488" fmla="*/ 3300127 h 3355086"/>
                <a:gd name="connsiteX489" fmla="*/ 1763649 w 3359086"/>
                <a:gd name="connsiteY489" fmla="*/ 3306318 h 3355086"/>
                <a:gd name="connsiteX490" fmla="*/ 1758125 w 3359086"/>
                <a:gd name="connsiteY490" fmla="*/ 3311843 h 3355086"/>
                <a:gd name="connsiteX491" fmla="*/ 1758505 w 3359086"/>
                <a:gd name="connsiteY491" fmla="*/ 3312223 h 3355086"/>
                <a:gd name="connsiteX492" fmla="*/ 1753600 w 3359086"/>
                <a:gd name="connsiteY492" fmla="*/ 3317129 h 3355086"/>
                <a:gd name="connsiteX493" fmla="*/ 1753933 w 3359086"/>
                <a:gd name="connsiteY493" fmla="*/ 3317462 h 3355086"/>
                <a:gd name="connsiteX494" fmla="*/ 1749123 w 3359086"/>
                <a:gd name="connsiteY494" fmla="*/ 3322272 h 3355086"/>
                <a:gd name="connsiteX495" fmla="*/ 1749838 w 3359086"/>
                <a:gd name="connsiteY495" fmla="*/ 3322987 h 3355086"/>
                <a:gd name="connsiteX496" fmla="*/ 1744694 w 3359086"/>
                <a:gd name="connsiteY496" fmla="*/ 3328130 h 3355086"/>
                <a:gd name="connsiteX497" fmla="*/ 1746218 w 3359086"/>
                <a:gd name="connsiteY497" fmla="*/ 3329654 h 3355086"/>
                <a:gd name="connsiteX498" fmla="*/ 1740407 w 3359086"/>
                <a:gd name="connsiteY498" fmla="*/ 3335464 h 3355086"/>
                <a:gd name="connsiteX499" fmla="*/ 1743075 w 3359086"/>
                <a:gd name="connsiteY499" fmla="*/ 3338131 h 3355086"/>
                <a:gd name="connsiteX500" fmla="*/ 1736883 w 3359086"/>
                <a:gd name="connsiteY500" fmla="*/ 3344323 h 3355086"/>
                <a:gd name="connsiteX501" fmla="*/ 1730692 w 3359086"/>
                <a:gd name="connsiteY501" fmla="*/ 3338131 h 3355086"/>
                <a:gd name="connsiteX502" fmla="*/ 1736502 w 3359086"/>
                <a:gd name="connsiteY502" fmla="*/ 3332321 h 3355086"/>
                <a:gd name="connsiteX503" fmla="*/ 1733835 w 3359086"/>
                <a:gd name="connsiteY503" fmla="*/ 3329654 h 3355086"/>
                <a:gd name="connsiteX504" fmla="*/ 1738979 w 3359086"/>
                <a:gd name="connsiteY504" fmla="*/ 3324511 h 3355086"/>
                <a:gd name="connsiteX505" fmla="*/ 1737455 w 3359086"/>
                <a:gd name="connsiteY505" fmla="*/ 3322987 h 3355086"/>
                <a:gd name="connsiteX506" fmla="*/ 1742265 w 3359086"/>
                <a:gd name="connsiteY506" fmla="*/ 3318177 h 3355086"/>
                <a:gd name="connsiteX507" fmla="*/ 1741550 w 3359086"/>
                <a:gd name="connsiteY507" fmla="*/ 3317462 h 3355086"/>
                <a:gd name="connsiteX508" fmla="*/ 1746456 w 3359086"/>
                <a:gd name="connsiteY508" fmla="*/ 3312556 h 3355086"/>
                <a:gd name="connsiteX509" fmla="*/ 1746123 w 3359086"/>
                <a:gd name="connsiteY509" fmla="*/ 3312223 h 3355086"/>
                <a:gd name="connsiteX510" fmla="*/ 1751647 w 3359086"/>
                <a:gd name="connsiteY510" fmla="*/ 3306699 h 3355086"/>
                <a:gd name="connsiteX511" fmla="*/ 1751266 w 3359086"/>
                <a:gd name="connsiteY511" fmla="*/ 3306318 h 3355086"/>
                <a:gd name="connsiteX512" fmla="*/ 1757457 w 3359086"/>
                <a:gd name="connsiteY512" fmla="*/ 3300127 h 3355086"/>
                <a:gd name="connsiteX513" fmla="*/ 1529143 w 3359086"/>
                <a:gd name="connsiteY513" fmla="*/ 3300127 h 3355086"/>
                <a:gd name="connsiteX514" fmla="*/ 1535335 w 3359086"/>
                <a:gd name="connsiteY514" fmla="*/ 3306318 h 3355086"/>
                <a:gd name="connsiteX515" fmla="*/ 1529143 w 3359086"/>
                <a:gd name="connsiteY515" fmla="*/ 3312510 h 3355086"/>
                <a:gd name="connsiteX516" fmla="*/ 1522952 w 3359086"/>
                <a:gd name="connsiteY516" fmla="*/ 3306318 h 3355086"/>
                <a:gd name="connsiteX517" fmla="*/ 1529143 w 3359086"/>
                <a:gd name="connsiteY517" fmla="*/ 3300127 h 3355086"/>
                <a:gd name="connsiteX518" fmla="*/ 1884711 w 3359086"/>
                <a:gd name="connsiteY518" fmla="*/ 3299365 h 3355086"/>
                <a:gd name="connsiteX519" fmla="*/ 1890903 w 3359086"/>
                <a:gd name="connsiteY519" fmla="*/ 3305556 h 3355086"/>
                <a:gd name="connsiteX520" fmla="*/ 1884711 w 3359086"/>
                <a:gd name="connsiteY520" fmla="*/ 3311747 h 3355086"/>
                <a:gd name="connsiteX521" fmla="*/ 1878520 w 3359086"/>
                <a:gd name="connsiteY521" fmla="*/ 3305556 h 3355086"/>
                <a:gd name="connsiteX522" fmla="*/ 1884711 w 3359086"/>
                <a:gd name="connsiteY522" fmla="*/ 3299365 h 3355086"/>
                <a:gd name="connsiteX523" fmla="*/ 1998440 w 3359086"/>
                <a:gd name="connsiteY523" fmla="*/ 3298984 h 3355086"/>
                <a:gd name="connsiteX524" fmla="*/ 2004632 w 3359086"/>
                <a:gd name="connsiteY524" fmla="*/ 3305175 h 3355086"/>
                <a:gd name="connsiteX525" fmla="*/ 1998440 w 3359086"/>
                <a:gd name="connsiteY525" fmla="*/ 3311367 h 3355086"/>
                <a:gd name="connsiteX526" fmla="*/ 1992249 w 3359086"/>
                <a:gd name="connsiteY526" fmla="*/ 3305175 h 3355086"/>
                <a:gd name="connsiteX527" fmla="*/ 1998440 w 3359086"/>
                <a:gd name="connsiteY527" fmla="*/ 3298984 h 3355086"/>
                <a:gd name="connsiteX528" fmla="*/ 1867471 w 3359086"/>
                <a:gd name="connsiteY528" fmla="*/ 3298984 h 3355086"/>
                <a:gd name="connsiteX529" fmla="*/ 1873663 w 3359086"/>
                <a:gd name="connsiteY529" fmla="*/ 3305175 h 3355086"/>
                <a:gd name="connsiteX530" fmla="*/ 1867471 w 3359086"/>
                <a:gd name="connsiteY530" fmla="*/ 3311367 h 3355086"/>
                <a:gd name="connsiteX531" fmla="*/ 1861280 w 3359086"/>
                <a:gd name="connsiteY531" fmla="*/ 3305175 h 3355086"/>
                <a:gd name="connsiteX532" fmla="*/ 1867471 w 3359086"/>
                <a:gd name="connsiteY532" fmla="*/ 3298984 h 3355086"/>
                <a:gd name="connsiteX533" fmla="*/ 2059400 w 3359086"/>
                <a:gd name="connsiteY533" fmla="*/ 3298794 h 3355086"/>
                <a:gd name="connsiteX534" fmla="*/ 2065496 w 3359086"/>
                <a:gd name="connsiteY534" fmla="*/ 3304890 h 3355086"/>
                <a:gd name="connsiteX535" fmla="*/ 2059400 w 3359086"/>
                <a:gd name="connsiteY535" fmla="*/ 3310986 h 3355086"/>
                <a:gd name="connsiteX536" fmla="*/ 2053304 w 3359086"/>
                <a:gd name="connsiteY536" fmla="*/ 3304890 h 3355086"/>
                <a:gd name="connsiteX537" fmla="*/ 2059400 w 3359086"/>
                <a:gd name="connsiteY537" fmla="*/ 3298794 h 3355086"/>
                <a:gd name="connsiteX538" fmla="*/ 1550765 w 3359086"/>
                <a:gd name="connsiteY538" fmla="*/ 3298698 h 3355086"/>
                <a:gd name="connsiteX539" fmla="*/ 1556957 w 3359086"/>
                <a:gd name="connsiteY539" fmla="*/ 3304889 h 3355086"/>
                <a:gd name="connsiteX540" fmla="*/ 1550765 w 3359086"/>
                <a:gd name="connsiteY540" fmla="*/ 3311080 h 3355086"/>
                <a:gd name="connsiteX541" fmla="*/ 1544574 w 3359086"/>
                <a:gd name="connsiteY541" fmla="*/ 3304889 h 3355086"/>
                <a:gd name="connsiteX542" fmla="*/ 1550765 w 3359086"/>
                <a:gd name="connsiteY542" fmla="*/ 3298698 h 3355086"/>
                <a:gd name="connsiteX543" fmla="*/ 1303972 w 3359086"/>
                <a:gd name="connsiteY543" fmla="*/ 3298698 h 3355086"/>
                <a:gd name="connsiteX544" fmla="*/ 1310164 w 3359086"/>
                <a:gd name="connsiteY544" fmla="*/ 3304889 h 3355086"/>
                <a:gd name="connsiteX545" fmla="*/ 1303972 w 3359086"/>
                <a:gd name="connsiteY545" fmla="*/ 3311080 h 3355086"/>
                <a:gd name="connsiteX546" fmla="*/ 1297781 w 3359086"/>
                <a:gd name="connsiteY546" fmla="*/ 3304889 h 3355086"/>
                <a:gd name="connsiteX547" fmla="*/ 1303972 w 3359086"/>
                <a:gd name="connsiteY547" fmla="*/ 3298698 h 3355086"/>
                <a:gd name="connsiteX548" fmla="*/ 1849087 w 3359086"/>
                <a:gd name="connsiteY548" fmla="*/ 3298508 h 3355086"/>
                <a:gd name="connsiteX549" fmla="*/ 1855279 w 3359086"/>
                <a:gd name="connsiteY549" fmla="*/ 3304699 h 3355086"/>
                <a:gd name="connsiteX550" fmla="*/ 1849087 w 3359086"/>
                <a:gd name="connsiteY550" fmla="*/ 3310890 h 3355086"/>
                <a:gd name="connsiteX551" fmla="*/ 1842896 w 3359086"/>
                <a:gd name="connsiteY551" fmla="*/ 3304699 h 3355086"/>
                <a:gd name="connsiteX552" fmla="*/ 1849087 w 3359086"/>
                <a:gd name="connsiteY552" fmla="*/ 3298508 h 3355086"/>
                <a:gd name="connsiteX553" fmla="*/ 1829561 w 3359086"/>
                <a:gd name="connsiteY553" fmla="*/ 3297746 h 3355086"/>
                <a:gd name="connsiteX554" fmla="*/ 1835753 w 3359086"/>
                <a:gd name="connsiteY554" fmla="*/ 3303937 h 3355086"/>
                <a:gd name="connsiteX555" fmla="*/ 1829561 w 3359086"/>
                <a:gd name="connsiteY555" fmla="*/ 3310129 h 3355086"/>
                <a:gd name="connsiteX556" fmla="*/ 1823370 w 3359086"/>
                <a:gd name="connsiteY556" fmla="*/ 3303937 h 3355086"/>
                <a:gd name="connsiteX557" fmla="*/ 1829561 w 3359086"/>
                <a:gd name="connsiteY557" fmla="*/ 3297746 h 3355086"/>
                <a:gd name="connsiteX558" fmla="*/ 1733645 w 3359086"/>
                <a:gd name="connsiteY558" fmla="*/ 3297746 h 3355086"/>
                <a:gd name="connsiteX559" fmla="*/ 1739837 w 3359086"/>
                <a:gd name="connsiteY559" fmla="*/ 3303937 h 3355086"/>
                <a:gd name="connsiteX560" fmla="*/ 1734598 w 3359086"/>
                <a:gd name="connsiteY560" fmla="*/ 3309176 h 3355086"/>
                <a:gd name="connsiteX561" fmla="*/ 1735931 w 3359086"/>
                <a:gd name="connsiteY561" fmla="*/ 3310509 h 3355086"/>
                <a:gd name="connsiteX562" fmla="*/ 1731549 w 3359086"/>
                <a:gd name="connsiteY562" fmla="*/ 3314891 h 3355086"/>
                <a:gd name="connsiteX563" fmla="*/ 1732502 w 3359086"/>
                <a:gd name="connsiteY563" fmla="*/ 3315843 h 3355086"/>
                <a:gd name="connsiteX564" fmla="*/ 1728358 w 3359086"/>
                <a:gd name="connsiteY564" fmla="*/ 3319987 h 3355086"/>
                <a:gd name="connsiteX565" fmla="*/ 1729359 w 3359086"/>
                <a:gd name="connsiteY565" fmla="*/ 3320987 h 3355086"/>
                <a:gd name="connsiteX566" fmla="*/ 1725025 w 3359086"/>
                <a:gd name="connsiteY566" fmla="*/ 3325321 h 3355086"/>
                <a:gd name="connsiteX567" fmla="*/ 1726597 w 3359086"/>
                <a:gd name="connsiteY567" fmla="*/ 3326892 h 3355086"/>
                <a:gd name="connsiteX568" fmla="*/ 1721644 w 3359086"/>
                <a:gd name="connsiteY568" fmla="*/ 3331846 h 3355086"/>
                <a:gd name="connsiteX569" fmla="*/ 1724119 w 3359086"/>
                <a:gd name="connsiteY569" fmla="*/ 3334321 h 3355086"/>
                <a:gd name="connsiteX570" fmla="*/ 1718309 w 3359086"/>
                <a:gd name="connsiteY570" fmla="*/ 3340132 h 3355086"/>
                <a:gd name="connsiteX571" fmla="*/ 1722024 w 3359086"/>
                <a:gd name="connsiteY571" fmla="*/ 3343846 h 3355086"/>
                <a:gd name="connsiteX572" fmla="*/ 1715833 w 3359086"/>
                <a:gd name="connsiteY572" fmla="*/ 3350038 h 3355086"/>
                <a:gd name="connsiteX573" fmla="*/ 1709642 w 3359086"/>
                <a:gd name="connsiteY573" fmla="*/ 3343846 h 3355086"/>
                <a:gd name="connsiteX574" fmla="*/ 1715452 w 3359086"/>
                <a:gd name="connsiteY574" fmla="*/ 3338037 h 3355086"/>
                <a:gd name="connsiteX575" fmla="*/ 1711737 w 3359086"/>
                <a:gd name="connsiteY575" fmla="*/ 3334321 h 3355086"/>
                <a:gd name="connsiteX576" fmla="*/ 1716690 w 3359086"/>
                <a:gd name="connsiteY576" fmla="*/ 3329368 h 3355086"/>
                <a:gd name="connsiteX577" fmla="*/ 1714214 w 3359086"/>
                <a:gd name="connsiteY577" fmla="*/ 3326892 h 3355086"/>
                <a:gd name="connsiteX578" fmla="*/ 1718548 w 3359086"/>
                <a:gd name="connsiteY578" fmla="*/ 3322559 h 3355086"/>
                <a:gd name="connsiteX579" fmla="*/ 1716976 w 3359086"/>
                <a:gd name="connsiteY579" fmla="*/ 3320987 h 3355086"/>
                <a:gd name="connsiteX580" fmla="*/ 1721119 w 3359086"/>
                <a:gd name="connsiteY580" fmla="*/ 3316844 h 3355086"/>
                <a:gd name="connsiteX581" fmla="*/ 1720119 w 3359086"/>
                <a:gd name="connsiteY581" fmla="*/ 3315843 h 3355086"/>
                <a:gd name="connsiteX582" fmla="*/ 1724500 w 3359086"/>
                <a:gd name="connsiteY582" fmla="*/ 3311462 h 3355086"/>
                <a:gd name="connsiteX583" fmla="*/ 1723548 w 3359086"/>
                <a:gd name="connsiteY583" fmla="*/ 3310509 h 3355086"/>
                <a:gd name="connsiteX584" fmla="*/ 1728787 w 3359086"/>
                <a:gd name="connsiteY584" fmla="*/ 3305270 h 3355086"/>
                <a:gd name="connsiteX585" fmla="*/ 1727454 w 3359086"/>
                <a:gd name="connsiteY585" fmla="*/ 3303937 h 3355086"/>
                <a:gd name="connsiteX586" fmla="*/ 1733645 w 3359086"/>
                <a:gd name="connsiteY586" fmla="*/ 3297746 h 3355086"/>
                <a:gd name="connsiteX587" fmla="*/ 1985771 w 3359086"/>
                <a:gd name="connsiteY587" fmla="*/ 3296793 h 3355086"/>
                <a:gd name="connsiteX588" fmla="*/ 1991963 w 3359086"/>
                <a:gd name="connsiteY588" fmla="*/ 3302984 h 3355086"/>
                <a:gd name="connsiteX589" fmla="*/ 1985771 w 3359086"/>
                <a:gd name="connsiteY589" fmla="*/ 3309176 h 3355086"/>
                <a:gd name="connsiteX590" fmla="*/ 1979580 w 3359086"/>
                <a:gd name="connsiteY590" fmla="*/ 3302984 h 3355086"/>
                <a:gd name="connsiteX591" fmla="*/ 1985771 w 3359086"/>
                <a:gd name="connsiteY591" fmla="*/ 3296793 h 3355086"/>
                <a:gd name="connsiteX592" fmla="*/ 1808892 w 3359086"/>
                <a:gd name="connsiteY592" fmla="*/ 3296603 h 3355086"/>
                <a:gd name="connsiteX593" fmla="*/ 1815084 w 3359086"/>
                <a:gd name="connsiteY593" fmla="*/ 3302794 h 3355086"/>
                <a:gd name="connsiteX594" fmla="*/ 1808892 w 3359086"/>
                <a:gd name="connsiteY594" fmla="*/ 3308986 h 3355086"/>
                <a:gd name="connsiteX595" fmla="*/ 1802701 w 3359086"/>
                <a:gd name="connsiteY595" fmla="*/ 3302794 h 3355086"/>
                <a:gd name="connsiteX596" fmla="*/ 1808892 w 3359086"/>
                <a:gd name="connsiteY596" fmla="*/ 3296603 h 3355086"/>
                <a:gd name="connsiteX597" fmla="*/ 1573815 w 3359086"/>
                <a:gd name="connsiteY597" fmla="*/ 3296603 h 3355086"/>
                <a:gd name="connsiteX598" fmla="*/ 1580007 w 3359086"/>
                <a:gd name="connsiteY598" fmla="*/ 3302794 h 3355086"/>
                <a:gd name="connsiteX599" fmla="*/ 1579340 w 3359086"/>
                <a:gd name="connsiteY599" fmla="*/ 3303461 h 3355086"/>
                <a:gd name="connsiteX600" fmla="*/ 1585341 w 3359086"/>
                <a:gd name="connsiteY600" fmla="*/ 3309461 h 3355086"/>
                <a:gd name="connsiteX601" fmla="*/ 1584959 w 3359086"/>
                <a:gd name="connsiteY601" fmla="*/ 3309843 h 3355086"/>
                <a:gd name="connsiteX602" fmla="*/ 1590103 w 3359086"/>
                <a:gd name="connsiteY602" fmla="*/ 3314986 h 3355086"/>
                <a:gd name="connsiteX603" fmla="*/ 1589579 w 3359086"/>
                <a:gd name="connsiteY603" fmla="*/ 3315510 h 3355086"/>
                <a:gd name="connsiteX604" fmla="*/ 1594295 w 3359086"/>
                <a:gd name="connsiteY604" fmla="*/ 3320225 h 3355086"/>
                <a:gd name="connsiteX605" fmla="*/ 1593199 w 3359086"/>
                <a:gd name="connsiteY605" fmla="*/ 3321321 h 3355086"/>
                <a:gd name="connsiteX606" fmla="*/ 1598104 w 3359086"/>
                <a:gd name="connsiteY606" fmla="*/ 3326225 h 3355086"/>
                <a:gd name="connsiteX607" fmla="*/ 1596056 w 3359086"/>
                <a:gd name="connsiteY607" fmla="*/ 3328274 h 3355086"/>
                <a:gd name="connsiteX608" fmla="*/ 1601438 w 3359086"/>
                <a:gd name="connsiteY608" fmla="*/ 3333655 h 3355086"/>
                <a:gd name="connsiteX609" fmla="*/ 1595246 w 3359086"/>
                <a:gd name="connsiteY609" fmla="*/ 3339847 h 3355086"/>
                <a:gd name="connsiteX610" fmla="*/ 1589055 w 3359086"/>
                <a:gd name="connsiteY610" fmla="*/ 3333655 h 3355086"/>
                <a:gd name="connsiteX611" fmla="*/ 1591103 w 3359086"/>
                <a:gd name="connsiteY611" fmla="*/ 3331608 h 3355086"/>
                <a:gd name="connsiteX612" fmla="*/ 1585721 w 3359086"/>
                <a:gd name="connsiteY612" fmla="*/ 3326225 h 3355086"/>
                <a:gd name="connsiteX613" fmla="*/ 1586817 w 3359086"/>
                <a:gd name="connsiteY613" fmla="*/ 3325130 h 3355086"/>
                <a:gd name="connsiteX614" fmla="*/ 1581912 w 3359086"/>
                <a:gd name="connsiteY614" fmla="*/ 3320225 h 3355086"/>
                <a:gd name="connsiteX615" fmla="*/ 1582435 w 3359086"/>
                <a:gd name="connsiteY615" fmla="*/ 3319702 h 3355086"/>
                <a:gd name="connsiteX616" fmla="*/ 1577720 w 3359086"/>
                <a:gd name="connsiteY616" fmla="*/ 3314986 h 3355086"/>
                <a:gd name="connsiteX617" fmla="*/ 1578102 w 3359086"/>
                <a:gd name="connsiteY617" fmla="*/ 3314605 h 3355086"/>
                <a:gd name="connsiteX618" fmla="*/ 1572958 w 3359086"/>
                <a:gd name="connsiteY618" fmla="*/ 3309461 h 3355086"/>
                <a:gd name="connsiteX619" fmla="*/ 1573624 w 3359086"/>
                <a:gd name="connsiteY619" fmla="*/ 3308795 h 3355086"/>
                <a:gd name="connsiteX620" fmla="*/ 1567624 w 3359086"/>
                <a:gd name="connsiteY620" fmla="*/ 3302794 h 3355086"/>
                <a:gd name="connsiteX621" fmla="*/ 1573815 w 3359086"/>
                <a:gd name="connsiteY621" fmla="*/ 3296603 h 3355086"/>
                <a:gd name="connsiteX622" fmla="*/ 1443227 w 3359086"/>
                <a:gd name="connsiteY622" fmla="*/ 3296317 h 3355086"/>
                <a:gd name="connsiteX623" fmla="*/ 1449419 w 3359086"/>
                <a:gd name="connsiteY623" fmla="*/ 3302508 h 3355086"/>
                <a:gd name="connsiteX624" fmla="*/ 1443227 w 3359086"/>
                <a:gd name="connsiteY624" fmla="*/ 3308699 h 3355086"/>
                <a:gd name="connsiteX625" fmla="*/ 1444465 w 3359086"/>
                <a:gd name="connsiteY625" fmla="*/ 3309937 h 3355086"/>
                <a:gd name="connsiteX626" fmla="*/ 1438274 w 3359086"/>
                <a:gd name="connsiteY626" fmla="*/ 3316129 h 3355086"/>
                <a:gd name="connsiteX627" fmla="*/ 1432083 w 3359086"/>
                <a:gd name="connsiteY627" fmla="*/ 3309937 h 3355086"/>
                <a:gd name="connsiteX628" fmla="*/ 1438274 w 3359086"/>
                <a:gd name="connsiteY628" fmla="*/ 3303746 h 3355086"/>
                <a:gd name="connsiteX629" fmla="*/ 1437036 w 3359086"/>
                <a:gd name="connsiteY629" fmla="*/ 3302508 h 3355086"/>
                <a:gd name="connsiteX630" fmla="*/ 1443227 w 3359086"/>
                <a:gd name="connsiteY630" fmla="*/ 3296317 h 3355086"/>
                <a:gd name="connsiteX631" fmla="*/ 1460849 w 3359086"/>
                <a:gd name="connsiteY631" fmla="*/ 3296031 h 3355086"/>
                <a:gd name="connsiteX632" fmla="*/ 1467041 w 3359086"/>
                <a:gd name="connsiteY632" fmla="*/ 3302222 h 3355086"/>
                <a:gd name="connsiteX633" fmla="*/ 1460849 w 3359086"/>
                <a:gd name="connsiteY633" fmla="*/ 3308413 h 3355086"/>
                <a:gd name="connsiteX634" fmla="*/ 1454658 w 3359086"/>
                <a:gd name="connsiteY634" fmla="*/ 3302222 h 3355086"/>
                <a:gd name="connsiteX635" fmla="*/ 1460849 w 3359086"/>
                <a:gd name="connsiteY635" fmla="*/ 3296031 h 3355086"/>
                <a:gd name="connsiteX636" fmla="*/ 1315783 w 3359086"/>
                <a:gd name="connsiteY636" fmla="*/ 3295650 h 3355086"/>
                <a:gd name="connsiteX637" fmla="*/ 1321974 w 3359086"/>
                <a:gd name="connsiteY637" fmla="*/ 3301841 h 3355086"/>
                <a:gd name="connsiteX638" fmla="*/ 1315783 w 3359086"/>
                <a:gd name="connsiteY638" fmla="*/ 3308033 h 3355086"/>
                <a:gd name="connsiteX639" fmla="*/ 1309592 w 3359086"/>
                <a:gd name="connsiteY639" fmla="*/ 3301841 h 3355086"/>
                <a:gd name="connsiteX640" fmla="*/ 1315783 w 3359086"/>
                <a:gd name="connsiteY640" fmla="*/ 3295650 h 3355086"/>
                <a:gd name="connsiteX641" fmla="*/ 1479613 w 3359086"/>
                <a:gd name="connsiteY641" fmla="*/ 3295460 h 3355086"/>
                <a:gd name="connsiteX642" fmla="*/ 1485805 w 3359086"/>
                <a:gd name="connsiteY642" fmla="*/ 3301651 h 3355086"/>
                <a:gd name="connsiteX643" fmla="*/ 1479613 w 3359086"/>
                <a:gd name="connsiteY643" fmla="*/ 3307842 h 3355086"/>
                <a:gd name="connsiteX644" fmla="*/ 1473422 w 3359086"/>
                <a:gd name="connsiteY644" fmla="*/ 3301651 h 3355086"/>
                <a:gd name="connsiteX645" fmla="*/ 1479613 w 3359086"/>
                <a:gd name="connsiteY645" fmla="*/ 3295460 h 3355086"/>
                <a:gd name="connsiteX646" fmla="*/ 1786794 w 3359086"/>
                <a:gd name="connsiteY646" fmla="*/ 3294888 h 3355086"/>
                <a:gd name="connsiteX647" fmla="*/ 1792986 w 3359086"/>
                <a:gd name="connsiteY647" fmla="*/ 3301079 h 3355086"/>
                <a:gd name="connsiteX648" fmla="*/ 1786794 w 3359086"/>
                <a:gd name="connsiteY648" fmla="*/ 3307270 h 3355086"/>
                <a:gd name="connsiteX649" fmla="*/ 1780603 w 3359086"/>
                <a:gd name="connsiteY649" fmla="*/ 3301079 h 3355086"/>
                <a:gd name="connsiteX650" fmla="*/ 1786794 w 3359086"/>
                <a:gd name="connsiteY650" fmla="*/ 3294888 h 3355086"/>
                <a:gd name="connsiteX651" fmla="*/ 2048350 w 3359086"/>
                <a:gd name="connsiteY651" fmla="*/ 3294793 h 3355086"/>
                <a:gd name="connsiteX652" fmla="*/ 2054542 w 3359086"/>
                <a:gd name="connsiteY652" fmla="*/ 3300984 h 3355086"/>
                <a:gd name="connsiteX653" fmla="*/ 2048350 w 3359086"/>
                <a:gd name="connsiteY653" fmla="*/ 3307176 h 3355086"/>
                <a:gd name="connsiteX654" fmla="*/ 2042159 w 3359086"/>
                <a:gd name="connsiteY654" fmla="*/ 3300984 h 3355086"/>
                <a:gd name="connsiteX655" fmla="*/ 2048350 w 3359086"/>
                <a:gd name="connsiteY655" fmla="*/ 3294793 h 3355086"/>
                <a:gd name="connsiteX656" fmla="*/ 1499520 w 3359086"/>
                <a:gd name="connsiteY656" fmla="*/ 3294507 h 3355086"/>
                <a:gd name="connsiteX657" fmla="*/ 1505712 w 3359086"/>
                <a:gd name="connsiteY657" fmla="*/ 3300698 h 3355086"/>
                <a:gd name="connsiteX658" fmla="*/ 1499520 w 3359086"/>
                <a:gd name="connsiteY658" fmla="*/ 3306889 h 3355086"/>
                <a:gd name="connsiteX659" fmla="*/ 1493329 w 3359086"/>
                <a:gd name="connsiteY659" fmla="*/ 3300698 h 3355086"/>
                <a:gd name="connsiteX660" fmla="*/ 1499520 w 3359086"/>
                <a:gd name="connsiteY660" fmla="*/ 3294507 h 3355086"/>
                <a:gd name="connsiteX661" fmla="*/ 1708308 w 3359086"/>
                <a:gd name="connsiteY661" fmla="*/ 3294412 h 3355086"/>
                <a:gd name="connsiteX662" fmla="*/ 1714500 w 3359086"/>
                <a:gd name="connsiteY662" fmla="*/ 3300603 h 3355086"/>
                <a:gd name="connsiteX663" fmla="*/ 1709452 w 3359086"/>
                <a:gd name="connsiteY663" fmla="*/ 3305651 h 3355086"/>
                <a:gd name="connsiteX664" fmla="*/ 1712024 w 3359086"/>
                <a:gd name="connsiteY664" fmla="*/ 3308223 h 3355086"/>
                <a:gd name="connsiteX665" fmla="*/ 1708023 w 3359086"/>
                <a:gd name="connsiteY665" fmla="*/ 3312224 h 3355086"/>
                <a:gd name="connsiteX666" fmla="*/ 1709737 w 3359086"/>
                <a:gd name="connsiteY666" fmla="*/ 3313938 h 3355086"/>
                <a:gd name="connsiteX667" fmla="*/ 1706212 w 3359086"/>
                <a:gd name="connsiteY667" fmla="*/ 3317462 h 3355086"/>
                <a:gd name="connsiteX668" fmla="*/ 1707736 w 3359086"/>
                <a:gd name="connsiteY668" fmla="*/ 3318986 h 3355086"/>
                <a:gd name="connsiteX669" fmla="*/ 1704165 w 3359086"/>
                <a:gd name="connsiteY669" fmla="*/ 3322557 h 3355086"/>
                <a:gd name="connsiteX670" fmla="*/ 1706023 w 3359086"/>
                <a:gd name="connsiteY670" fmla="*/ 3324415 h 3355086"/>
                <a:gd name="connsiteX671" fmla="*/ 1701974 w 3359086"/>
                <a:gd name="connsiteY671" fmla="*/ 3328464 h 3355086"/>
                <a:gd name="connsiteX672" fmla="*/ 1704403 w 3359086"/>
                <a:gd name="connsiteY672" fmla="*/ 3330893 h 3355086"/>
                <a:gd name="connsiteX673" fmla="*/ 1699593 w 3359086"/>
                <a:gd name="connsiteY673" fmla="*/ 3335703 h 3355086"/>
                <a:gd name="connsiteX674" fmla="*/ 1703070 w 3359086"/>
                <a:gd name="connsiteY674" fmla="*/ 3339179 h 3355086"/>
                <a:gd name="connsiteX675" fmla="*/ 1696878 w 3359086"/>
                <a:gd name="connsiteY675" fmla="*/ 3345370 h 3355086"/>
                <a:gd name="connsiteX676" fmla="*/ 1690687 w 3359086"/>
                <a:gd name="connsiteY676" fmla="*/ 3339179 h 3355086"/>
                <a:gd name="connsiteX677" fmla="*/ 1695496 w 3359086"/>
                <a:gd name="connsiteY677" fmla="*/ 3334370 h 3355086"/>
                <a:gd name="connsiteX678" fmla="*/ 1692020 w 3359086"/>
                <a:gd name="connsiteY678" fmla="*/ 3330893 h 3355086"/>
                <a:gd name="connsiteX679" fmla="*/ 1696069 w 3359086"/>
                <a:gd name="connsiteY679" fmla="*/ 3326844 h 3355086"/>
                <a:gd name="connsiteX680" fmla="*/ 1693640 w 3359086"/>
                <a:gd name="connsiteY680" fmla="*/ 3324415 h 3355086"/>
                <a:gd name="connsiteX681" fmla="*/ 1697212 w 3359086"/>
                <a:gd name="connsiteY681" fmla="*/ 3320844 h 3355086"/>
                <a:gd name="connsiteX682" fmla="*/ 1695354 w 3359086"/>
                <a:gd name="connsiteY682" fmla="*/ 3318986 h 3355086"/>
                <a:gd name="connsiteX683" fmla="*/ 1698878 w 3359086"/>
                <a:gd name="connsiteY683" fmla="*/ 3315462 h 3355086"/>
                <a:gd name="connsiteX684" fmla="*/ 1697354 w 3359086"/>
                <a:gd name="connsiteY684" fmla="*/ 3313938 h 3355086"/>
                <a:gd name="connsiteX685" fmla="*/ 1701355 w 3359086"/>
                <a:gd name="connsiteY685" fmla="*/ 3309937 h 3355086"/>
                <a:gd name="connsiteX686" fmla="*/ 1699641 w 3359086"/>
                <a:gd name="connsiteY686" fmla="*/ 3308223 h 3355086"/>
                <a:gd name="connsiteX687" fmla="*/ 1704689 w 3359086"/>
                <a:gd name="connsiteY687" fmla="*/ 3303175 h 3355086"/>
                <a:gd name="connsiteX688" fmla="*/ 1702117 w 3359086"/>
                <a:gd name="connsiteY688" fmla="*/ 3300603 h 3355086"/>
                <a:gd name="connsiteX689" fmla="*/ 1708308 w 3359086"/>
                <a:gd name="connsiteY689" fmla="*/ 3294412 h 3355086"/>
                <a:gd name="connsiteX690" fmla="*/ 1598294 w 3359086"/>
                <a:gd name="connsiteY690" fmla="*/ 3293650 h 3355086"/>
                <a:gd name="connsiteX691" fmla="*/ 1604486 w 3359086"/>
                <a:gd name="connsiteY691" fmla="*/ 3299841 h 3355086"/>
                <a:gd name="connsiteX692" fmla="*/ 1602676 w 3359086"/>
                <a:gd name="connsiteY692" fmla="*/ 3301651 h 3355086"/>
                <a:gd name="connsiteX693" fmla="*/ 1608486 w 3359086"/>
                <a:gd name="connsiteY693" fmla="*/ 3307461 h 3355086"/>
                <a:gd name="connsiteX694" fmla="*/ 1607343 w 3359086"/>
                <a:gd name="connsiteY694" fmla="*/ 3308605 h 3355086"/>
                <a:gd name="connsiteX695" fmla="*/ 1612106 w 3359086"/>
                <a:gd name="connsiteY695" fmla="*/ 3313367 h 3355086"/>
                <a:gd name="connsiteX696" fmla="*/ 1611201 w 3359086"/>
                <a:gd name="connsiteY696" fmla="*/ 3314272 h 3355086"/>
                <a:gd name="connsiteX697" fmla="*/ 1615345 w 3359086"/>
                <a:gd name="connsiteY697" fmla="*/ 3318415 h 3355086"/>
                <a:gd name="connsiteX698" fmla="*/ 1614059 w 3359086"/>
                <a:gd name="connsiteY698" fmla="*/ 3319701 h 3355086"/>
                <a:gd name="connsiteX699" fmla="*/ 1618202 w 3359086"/>
                <a:gd name="connsiteY699" fmla="*/ 3323844 h 3355086"/>
                <a:gd name="connsiteX700" fmla="*/ 1616154 w 3359086"/>
                <a:gd name="connsiteY700" fmla="*/ 3325892 h 3355086"/>
                <a:gd name="connsiteX701" fmla="*/ 1620678 w 3359086"/>
                <a:gd name="connsiteY701" fmla="*/ 3330416 h 3355086"/>
                <a:gd name="connsiteX702" fmla="*/ 1617630 w 3359086"/>
                <a:gd name="connsiteY702" fmla="*/ 3333464 h 3355086"/>
                <a:gd name="connsiteX703" fmla="*/ 1622965 w 3359086"/>
                <a:gd name="connsiteY703" fmla="*/ 3338798 h 3355086"/>
                <a:gd name="connsiteX704" fmla="*/ 1616773 w 3359086"/>
                <a:gd name="connsiteY704" fmla="*/ 3344990 h 3355086"/>
                <a:gd name="connsiteX705" fmla="*/ 1610582 w 3359086"/>
                <a:gd name="connsiteY705" fmla="*/ 3338798 h 3355086"/>
                <a:gd name="connsiteX706" fmla="*/ 1613630 w 3359086"/>
                <a:gd name="connsiteY706" fmla="*/ 3335751 h 3355086"/>
                <a:gd name="connsiteX707" fmla="*/ 1608296 w 3359086"/>
                <a:gd name="connsiteY707" fmla="*/ 3330416 h 3355086"/>
                <a:gd name="connsiteX708" fmla="*/ 1610343 w 3359086"/>
                <a:gd name="connsiteY708" fmla="*/ 3328369 h 3355086"/>
                <a:gd name="connsiteX709" fmla="*/ 1605819 w 3359086"/>
                <a:gd name="connsiteY709" fmla="*/ 3323844 h 3355086"/>
                <a:gd name="connsiteX710" fmla="*/ 1607105 w 3359086"/>
                <a:gd name="connsiteY710" fmla="*/ 3322558 h 3355086"/>
                <a:gd name="connsiteX711" fmla="*/ 1602962 w 3359086"/>
                <a:gd name="connsiteY711" fmla="*/ 3318415 h 3355086"/>
                <a:gd name="connsiteX712" fmla="*/ 1603867 w 3359086"/>
                <a:gd name="connsiteY712" fmla="*/ 3317511 h 3355086"/>
                <a:gd name="connsiteX713" fmla="*/ 1599723 w 3359086"/>
                <a:gd name="connsiteY713" fmla="*/ 3313367 h 3355086"/>
                <a:gd name="connsiteX714" fmla="*/ 1600866 w 3359086"/>
                <a:gd name="connsiteY714" fmla="*/ 3312224 h 3355086"/>
                <a:gd name="connsiteX715" fmla="*/ 1596104 w 3359086"/>
                <a:gd name="connsiteY715" fmla="*/ 3307461 h 3355086"/>
                <a:gd name="connsiteX716" fmla="*/ 1597914 w 3359086"/>
                <a:gd name="connsiteY716" fmla="*/ 3305652 h 3355086"/>
                <a:gd name="connsiteX717" fmla="*/ 1592103 w 3359086"/>
                <a:gd name="connsiteY717" fmla="*/ 3299841 h 3355086"/>
                <a:gd name="connsiteX718" fmla="*/ 1598294 w 3359086"/>
                <a:gd name="connsiteY718" fmla="*/ 3293650 h 3355086"/>
                <a:gd name="connsiteX719" fmla="*/ 1327975 w 3359086"/>
                <a:gd name="connsiteY719" fmla="*/ 3293460 h 3355086"/>
                <a:gd name="connsiteX720" fmla="*/ 1334167 w 3359086"/>
                <a:gd name="connsiteY720" fmla="*/ 3299651 h 3355086"/>
                <a:gd name="connsiteX721" fmla="*/ 1327975 w 3359086"/>
                <a:gd name="connsiteY721" fmla="*/ 3305842 h 3355086"/>
                <a:gd name="connsiteX722" fmla="*/ 1321784 w 3359086"/>
                <a:gd name="connsiteY722" fmla="*/ 3299651 h 3355086"/>
                <a:gd name="connsiteX723" fmla="*/ 1327975 w 3359086"/>
                <a:gd name="connsiteY723" fmla="*/ 3293460 h 3355086"/>
                <a:gd name="connsiteX724" fmla="*/ 1520856 w 3359086"/>
                <a:gd name="connsiteY724" fmla="*/ 3292983 h 3355086"/>
                <a:gd name="connsiteX725" fmla="*/ 1527048 w 3359086"/>
                <a:gd name="connsiteY725" fmla="*/ 3299174 h 3355086"/>
                <a:gd name="connsiteX726" fmla="*/ 1520856 w 3359086"/>
                <a:gd name="connsiteY726" fmla="*/ 3305366 h 3355086"/>
                <a:gd name="connsiteX727" fmla="*/ 1514665 w 3359086"/>
                <a:gd name="connsiteY727" fmla="*/ 3299174 h 3355086"/>
                <a:gd name="connsiteX728" fmla="*/ 1520856 w 3359086"/>
                <a:gd name="connsiteY728" fmla="*/ 3292983 h 3355086"/>
                <a:gd name="connsiteX729" fmla="*/ 1896808 w 3359086"/>
                <a:gd name="connsiteY729" fmla="*/ 3292793 h 3355086"/>
                <a:gd name="connsiteX730" fmla="*/ 1902999 w 3359086"/>
                <a:gd name="connsiteY730" fmla="*/ 3298984 h 3355086"/>
                <a:gd name="connsiteX731" fmla="*/ 1901618 w 3359086"/>
                <a:gd name="connsiteY731" fmla="*/ 3300366 h 3355086"/>
                <a:gd name="connsiteX732" fmla="*/ 1907381 w 3359086"/>
                <a:gd name="connsiteY732" fmla="*/ 3306128 h 3355086"/>
                <a:gd name="connsiteX733" fmla="*/ 1901189 w 3359086"/>
                <a:gd name="connsiteY733" fmla="*/ 3312319 h 3355086"/>
                <a:gd name="connsiteX734" fmla="*/ 1894998 w 3359086"/>
                <a:gd name="connsiteY734" fmla="*/ 3306128 h 3355086"/>
                <a:gd name="connsiteX735" fmla="*/ 1896379 w 3359086"/>
                <a:gd name="connsiteY735" fmla="*/ 3304747 h 3355086"/>
                <a:gd name="connsiteX736" fmla="*/ 1890617 w 3359086"/>
                <a:gd name="connsiteY736" fmla="*/ 3298984 h 3355086"/>
                <a:gd name="connsiteX737" fmla="*/ 1896808 w 3359086"/>
                <a:gd name="connsiteY737" fmla="*/ 3292793 h 3355086"/>
                <a:gd name="connsiteX738" fmla="*/ 1878901 w 3359086"/>
                <a:gd name="connsiteY738" fmla="*/ 3292412 h 3355086"/>
                <a:gd name="connsiteX739" fmla="*/ 1885093 w 3359086"/>
                <a:gd name="connsiteY739" fmla="*/ 3298603 h 3355086"/>
                <a:gd name="connsiteX740" fmla="*/ 1878901 w 3359086"/>
                <a:gd name="connsiteY740" fmla="*/ 3304795 h 3355086"/>
                <a:gd name="connsiteX741" fmla="*/ 1872710 w 3359086"/>
                <a:gd name="connsiteY741" fmla="*/ 3298603 h 3355086"/>
                <a:gd name="connsiteX742" fmla="*/ 1878901 w 3359086"/>
                <a:gd name="connsiteY742" fmla="*/ 3292412 h 3355086"/>
                <a:gd name="connsiteX743" fmla="*/ 1763172 w 3359086"/>
                <a:gd name="connsiteY743" fmla="*/ 3292221 h 3355086"/>
                <a:gd name="connsiteX744" fmla="*/ 1769363 w 3359086"/>
                <a:gd name="connsiteY744" fmla="*/ 3298412 h 3355086"/>
                <a:gd name="connsiteX745" fmla="*/ 1763172 w 3359086"/>
                <a:gd name="connsiteY745" fmla="*/ 3304603 h 3355086"/>
                <a:gd name="connsiteX746" fmla="*/ 1756981 w 3359086"/>
                <a:gd name="connsiteY746" fmla="*/ 3298412 h 3355086"/>
                <a:gd name="connsiteX747" fmla="*/ 1763172 w 3359086"/>
                <a:gd name="connsiteY747" fmla="*/ 3292221 h 3355086"/>
                <a:gd name="connsiteX748" fmla="*/ 1340548 w 3359086"/>
                <a:gd name="connsiteY748" fmla="*/ 3291840 h 3355086"/>
                <a:gd name="connsiteX749" fmla="*/ 1346740 w 3359086"/>
                <a:gd name="connsiteY749" fmla="*/ 3298031 h 3355086"/>
                <a:gd name="connsiteX750" fmla="*/ 1340548 w 3359086"/>
                <a:gd name="connsiteY750" fmla="*/ 3304223 h 3355086"/>
                <a:gd name="connsiteX751" fmla="*/ 1334357 w 3359086"/>
                <a:gd name="connsiteY751" fmla="*/ 3298031 h 3355086"/>
                <a:gd name="connsiteX752" fmla="*/ 1340548 w 3359086"/>
                <a:gd name="connsiteY752" fmla="*/ 3291840 h 3355086"/>
                <a:gd name="connsiteX753" fmla="*/ 2037016 w 3359086"/>
                <a:gd name="connsiteY753" fmla="*/ 3291650 h 3355086"/>
                <a:gd name="connsiteX754" fmla="*/ 2043207 w 3359086"/>
                <a:gd name="connsiteY754" fmla="*/ 3297841 h 3355086"/>
                <a:gd name="connsiteX755" fmla="*/ 2037016 w 3359086"/>
                <a:gd name="connsiteY755" fmla="*/ 3304032 h 3355086"/>
                <a:gd name="connsiteX756" fmla="*/ 2030825 w 3359086"/>
                <a:gd name="connsiteY756" fmla="*/ 3297841 h 3355086"/>
                <a:gd name="connsiteX757" fmla="*/ 2037016 w 3359086"/>
                <a:gd name="connsiteY757" fmla="*/ 3291650 h 3355086"/>
                <a:gd name="connsiteX758" fmla="*/ 1859851 w 3359086"/>
                <a:gd name="connsiteY758" fmla="*/ 3291650 h 3355086"/>
                <a:gd name="connsiteX759" fmla="*/ 1866043 w 3359086"/>
                <a:gd name="connsiteY759" fmla="*/ 3297841 h 3355086"/>
                <a:gd name="connsiteX760" fmla="*/ 1859851 w 3359086"/>
                <a:gd name="connsiteY760" fmla="*/ 3304032 h 3355086"/>
                <a:gd name="connsiteX761" fmla="*/ 1853660 w 3359086"/>
                <a:gd name="connsiteY761" fmla="*/ 3297841 h 3355086"/>
                <a:gd name="connsiteX762" fmla="*/ 1859851 w 3359086"/>
                <a:gd name="connsiteY762" fmla="*/ 3291650 h 3355086"/>
                <a:gd name="connsiteX763" fmla="*/ 2095690 w 3359086"/>
                <a:gd name="connsiteY763" fmla="*/ 3291554 h 3355086"/>
                <a:gd name="connsiteX764" fmla="*/ 2101310 w 3359086"/>
                <a:gd name="connsiteY764" fmla="*/ 3297174 h 3355086"/>
                <a:gd name="connsiteX765" fmla="*/ 2095690 w 3359086"/>
                <a:gd name="connsiteY765" fmla="*/ 3302793 h 3355086"/>
                <a:gd name="connsiteX766" fmla="*/ 2090070 w 3359086"/>
                <a:gd name="connsiteY766" fmla="*/ 3297174 h 3355086"/>
                <a:gd name="connsiteX767" fmla="*/ 2095690 w 3359086"/>
                <a:gd name="connsiteY767" fmla="*/ 3291554 h 3355086"/>
                <a:gd name="connsiteX768" fmla="*/ 1266538 w 3359086"/>
                <a:gd name="connsiteY768" fmla="*/ 3291459 h 3355086"/>
                <a:gd name="connsiteX769" fmla="*/ 1272444 w 3359086"/>
                <a:gd name="connsiteY769" fmla="*/ 3297365 h 3355086"/>
                <a:gd name="connsiteX770" fmla="*/ 1266538 w 3359086"/>
                <a:gd name="connsiteY770" fmla="*/ 3303270 h 3355086"/>
                <a:gd name="connsiteX771" fmla="*/ 1260633 w 3359086"/>
                <a:gd name="connsiteY771" fmla="*/ 3297365 h 3355086"/>
                <a:gd name="connsiteX772" fmla="*/ 1266538 w 3359086"/>
                <a:gd name="connsiteY772" fmla="*/ 3291459 h 3355086"/>
                <a:gd name="connsiteX773" fmla="*/ 1543621 w 3359086"/>
                <a:gd name="connsiteY773" fmla="*/ 3290697 h 3355086"/>
                <a:gd name="connsiteX774" fmla="*/ 1549813 w 3359086"/>
                <a:gd name="connsiteY774" fmla="*/ 3296888 h 3355086"/>
                <a:gd name="connsiteX775" fmla="*/ 1543621 w 3359086"/>
                <a:gd name="connsiteY775" fmla="*/ 3303079 h 3355086"/>
                <a:gd name="connsiteX776" fmla="*/ 1537430 w 3359086"/>
                <a:gd name="connsiteY776" fmla="*/ 3296888 h 3355086"/>
                <a:gd name="connsiteX777" fmla="*/ 1543621 w 3359086"/>
                <a:gd name="connsiteY777" fmla="*/ 3290697 h 3355086"/>
                <a:gd name="connsiteX778" fmla="*/ 1839467 w 3359086"/>
                <a:gd name="connsiteY778" fmla="*/ 3290412 h 3355086"/>
                <a:gd name="connsiteX779" fmla="*/ 1845659 w 3359086"/>
                <a:gd name="connsiteY779" fmla="*/ 3296603 h 3355086"/>
                <a:gd name="connsiteX780" fmla="*/ 1839467 w 3359086"/>
                <a:gd name="connsiteY780" fmla="*/ 3302794 h 3355086"/>
                <a:gd name="connsiteX781" fmla="*/ 1833276 w 3359086"/>
                <a:gd name="connsiteY781" fmla="*/ 3296603 h 3355086"/>
                <a:gd name="connsiteX782" fmla="*/ 1839467 w 3359086"/>
                <a:gd name="connsiteY782" fmla="*/ 3290412 h 3355086"/>
                <a:gd name="connsiteX783" fmla="*/ 1681257 w 3359086"/>
                <a:gd name="connsiteY783" fmla="*/ 3289935 h 3355086"/>
                <a:gd name="connsiteX784" fmla="*/ 1687449 w 3359086"/>
                <a:gd name="connsiteY784" fmla="*/ 3296126 h 3355086"/>
                <a:gd name="connsiteX785" fmla="*/ 1682495 w 3359086"/>
                <a:gd name="connsiteY785" fmla="*/ 3301079 h 3355086"/>
                <a:gd name="connsiteX786" fmla="*/ 1686592 w 3359086"/>
                <a:gd name="connsiteY786" fmla="*/ 3305175 h 3355086"/>
                <a:gd name="connsiteX787" fmla="*/ 1682924 w 3359086"/>
                <a:gd name="connsiteY787" fmla="*/ 3308843 h 3355086"/>
                <a:gd name="connsiteX788" fmla="*/ 1685734 w 3359086"/>
                <a:gd name="connsiteY788" fmla="*/ 3311652 h 3355086"/>
                <a:gd name="connsiteX789" fmla="*/ 1682734 w 3359086"/>
                <a:gd name="connsiteY789" fmla="*/ 3314653 h 3355086"/>
                <a:gd name="connsiteX790" fmla="*/ 1684972 w 3359086"/>
                <a:gd name="connsiteY790" fmla="*/ 3316891 h 3355086"/>
                <a:gd name="connsiteX791" fmla="*/ 1682115 w 3359086"/>
                <a:gd name="connsiteY791" fmla="*/ 3319748 h 3355086"/>
                <a:gd name="connsiteX792" fmla="*/ 1684306 w 3359086"/>
                <a:gd name="connsiteY792" fmla="*/ 3321939 h 3355086"/>
                <a:gd name="connsiteX793" fmla="*/ 1681162 w 3359086"/>
                <a:gd name="connsiteY793" fmla="*/ 3325083 h 3355086"/>
                <a:gd name="connsiteX794" fmla="*/ 1683734 w 3359086"/>
                <a:gd name="connsiteY794" fmla="*/ 3327654 h 3355086"/>
                <a:gd name="connsiteX795" fmla="*/ 1679828 w 3359086"/>
                <a:gd name="connsiteY795" fmla="*/ 3331559 h 3355086"/>
                <a:gd name="connsiteX796" fmla="*/ 1683258 w 3359086"/>
                <a:gd name="connsiteY796" fmla="*/ 3334988 h 3355086"/>
                <a:gd name="connsiteX797" fmla="*/ 1678257 w 3359086"/>
                <a:gd name="connsiteY797" fmla="*/ 3339989 h 3355086"/>
                <a:gd name="connsiteX798" fmla="*/ 1682782 w 3359086"/>
                <a:gd name="connsiteY798" fmla="*/ 3344513 h 3355086"/>
                <a:gd name="connsiteX799" fmla="*/ 1676590 w 3359086"/>
                <a:gd name="connsiteY799" fmla="*/ 3350704 h 3355086"/>
                <a:gd name="connsiteX800" fmla="*/ 1670399 w 3359086"/>
                <a:gd name="connsiteY800" fmla="*/ 3344513 h 3355086"/>
                <a:gd name="connsiteX801" fmla="*/ 1675400 w 3359086"/>
                <a:gd name="connsiteY801" fmla="*/ 3339513 h 3355086"/>
                <a:gd name="connsiteX802" fmla="*/ 1670875 w 3359086"/>
                <a:gd name="connsiteY802" fmla="*/ 3334988 h 3355086"/>
                <a:gd name="connsiteX803" fmla="*/ 1674780 w 3359086"/>
                <a:gd name="connsiteY803" fmla="*/ 3331083 h 3355086"/>
                <a:gd name="connsiteX804" fmla="*/ 1671351 w 3359086"/>
                <a:gd name="connsiteY804" fmla="*/ 3327654 h 3355086"/>
                <a:gd name="connsiteX805" fmla="*/ 1674495 w 3359086"/>
                <a:gd name="connsiteY805" fmla="*/ 3324511 h 3355086"/>
                <a:gd name="connsiteX806" fmla="*/ 1671923 w 3359086"/>
                <a:gd name="connsiteY806" fmla="*/ 3321939 h 3355086"/>
                <a:gd name="connsiteX807" fmla="*/ 1674781 w 3359086"/>
                <a:gd name="connsiteY807" fmla="*/ 3319082 h 3355086"/>
                <a:gd name="connsiteX808" fmla="*/ 1672590 w 3359086"/>
                <a:gd name="connsiteY808" fmla="*/ 3316891 h 3355086"/>
                <a:gd name="connsiteX809" fmla="*/ 1675590 w 3359086"/>
                <a:gd name="connsiteY809" fmla="*/ 3313891 h 3355086"/>
                <a:gd name="connsiteX810" fmla="*/ 1673351 w 3359086"/>
                <a:gd name="connsiteY810" fmla="*/ 3311652 h 3355086"/>
                <a:gd name="connsiteX811" fmla="*/ 1677018 w 3359086"/>
                <a:gd name="connsiteY811" fmla="*/ 3307985 h 3355086"/>
                <a:gd name="connsiteX812" fmla="*/ 1674209 w 3359086"/>
                <a:gd name="connsiteY812" fmla="*/ 3305175 h 3355086"/>
                <a:gd name="connsiteX813" fmla="*/ 1679162 w 3359086"/>
                <a:gd name="connsiteY813" fmla="*/ 3300222 h 3355086"/>
                <a:gd name="connsiteX814" fmla="*/ 1675066 w 3359086"/>
                <a:gd name="connsiteY814" fmla="*/ 3296126 h 3355086"/>
                <a:gd name="connsiteX815" fmla="*/ 1681257 w 3359086"/>
                <a:gd name="connsiteY815" fmla="*/ 3289935 h 3355086"/>
                <a:gd name="connsiteX816" fmla="*/ 1624488 w 3359086"/>
                <a:gd name="connsiteY816" fmla="*/ 3289554 h 3355086"/>
                <a:gd name="connsiteX817" fmla="*/ 1630680 w 3359086"/>
                <a:gd name="connsiteY817" fmla="*/ 3295745 h 3355086"/>
                <a:gd name="connsiteX818" fmla="*/ 1627441 w 3359086"/>
                <a:gd name="connsiteY818" fmla="*/ 3298984 h 3355086"/>
                <a:gd name="connsiteX819" fmla="*/ 1633252 w 3359086"/>
                <a:gd name="connsiteY819" fmla="*/ 3304794 h 3355086"/>
                <a:gd name="connsiteX820" fmla="*/ 1631108 w 3359086"/>
                <a:gd name="connsiteY820" fmla="*/ 3306938 h 3355086"/>
                <a:gd name="connsiteX821" fmla="*/ 1635442 w 3359086"/>
                <a:gd name="connsiteY821" fmla="*/ 3311271 h 3355086"/>
                <a:gd name="connsiteX822" fmla="*/ 1633775 w 3359086"/>
                <a:gd name="connsiteY822" fmla="*/ 3312938 h 3355086"/>
                <a:gd name="connsiteX823" fmla="*/ 1637443 w 3359086"/>
                <a:gd name="connsiteY823" fmla="*/ 3316605 h 3355086"/>
                <a:gd name="connsiteX824" fmla="*/ 1635871 w 3359086"/>
                <a:gd name="connsiteY824" fmla="*/ 3318177 h 3355086"/>
                <a:gd name="connsiteX825" fmla="*/ 1639253 w 3359086"/>
                <a:gd name="connsiteY825" fmla="*/ 3321558 h 3355086"/>
                <a:gd name="connsiteX826" fmla="*/ 1637110 w 3359086"/>
                <a:gd name="connsiteY826" fmla="*/ 3323701 h 3355086"/>
                <a:gd name="connsiteX827" fmla="*/ 1640872 w 3359086"/>
                <a:gd name="connsiteY827" fmla="*/ 3327463 h 3355086"/>
                <a:gd name="connsiteX828" fmla="*/ 1637918 w 3359086"/>
                <a:gd name="connsiteY828" fmla="*/ 3330417 h 3355086"/>
                <a:gd name="connsiteX829" fmla="*/ 1642300 w 3359086"/>
                <a:gd name="connsiteY829" fmla="*/ 3334798 h 3355086"/>
                <a:gd name="connsiteX830" fmla="*/ 1638156 w 3359086"/>
                <a:gd name="connsiteY830" fmla="*/ 3338941 h 3355086"/>
                <a:gd name="connsiteX831" fmla="*/ 1643539 w 3359086"/>
                <a:gd name="connsiteY831" fmla="*/ 3344323 h 3355086"/>
                <a:gd name="connsiteX832" fmla="*/ 1637347 w 3359086"/>
                <a:gd name="connsiteY832" fmla="*/ 3350514 h 3355086"/>
                <a:gd name="connsiteX833" fmla="*/ 1631156 w 3359086"/>
                <a:gd name="connsiteY833" fmla="*/ 3344323 h 3355086"/>
                <a:gd name="connsiteX834" fmla="*/ 1635299 w 3359086"/>
                <a:gd name="connsiteY834" fmla="*/ 3340180 h 3355086"/>
                <a:gd name="connsiteX835" fmla="*/ 1629917 w 3359086"/>
                <a:gd name="connsiteY835" fmla="*/ 3334798 h 3355086"/>
                <a:gd name="connsiteX836" fmla="*/ 1632870 w 3359086"/>
                <a:gd name="connsiteY836" fmla="*/ 3331845 h 3355086"/>
                <a:gd name="connsiteX837" fmla="*/ 1628489 w 3359086"/>
                <a:gd name="connsiteY837" fmla="*/ 3327463 h 3355086"/>
                <a:gd name="connsiteX838" fmla="*/ 1630632 w 3359086"/>
                <a:gd name="connsiteY838" fmla="*/ 3325320 h 3355086"/>
                <a:gd name="connsiteX839" fmla="*/ 1626870 w 3359086"/>
                <a:gd name="connsiteY839" fmla="*/ 3321558 h 3355086"/>
                <a:gd name="connsiteX840" fmla="*/ 1628442 w 3359086"/>
                <a:gd name="connsiteY840" fmla="*/ 3319987 h 3355086"/>
                <a:gd name="connsiteX841" fmla="*/ 1625060 w 3359086"/>
                <a:gd name="connsiteY841" fmla="*/ 3316605 h 3355086"/>
                <a:gd name="connsiteX842" fmla="*/ 1626727 w 3359086"/>
                <a:gd name="connsiteY842" fmla="*/ 3314939 h 3355086"/>
                <a:gd name="connsiteX843" fmla="*/ 1623059 w 3359086"/>
                <a:gd name="connsiteY843" fmla="*/ 3311271 h 3355086"/>
                <a:gd name="connsiteX844" fmla="*/ 1625202 w 3359086"/>
                <a:gd name="connsiteY844" fmla="*/ 3309128 h 3355086"/>
                <a:gd name="connsiteX845" fmla="*/ 1620869 w 3359086"/>
                <a:gd name="connsiteY845" fmla="*/ 3304794 h 3355086"/>
                <a:gd name="connsiteX846" fmla="*/ 1624108 w 3359086"/>
                <a:gd name="connsiteY846" fmla="*/ 3301556 h 3355086"/>
                <a:gd name="connsiteX847" fmla="*/ 1618297 w 3359086"/>
                <a:gd name="connsiteY847" fmla="*/ 3295745 h 3355086"/>
                <a:gd name="connsiteX848" fmla="*/ 1624488 w 3359086"/>
                <a:gd name="connsiteY848" fmla="*/ 3289554 h 3355086"/>
                <a:gd name="connsiteX849" fmla="*/ 1430464 w 3359086"/>
                <a:gd name="connsiteY849" fmla="*/ 3289459 h 3355086"/>
                <a:gd name="connsiteX850" fmla="*/ 1436656 w 3359086"/>
                <a:gd name="connsiteY850" fmla="*/ 3295650 h 3355086"/>
                <a:gd name="connsiteX851" fmla="*/ 1431131 w 3359086"/>
                <a:gd name="connsiteY851" fmla="*/ 3301175 h 3355086"/>
                <a:gd name="connsiteX852" fmla="*/ 1432750 w 3359086"/>
                <a:gd name="connsiteY852" fmla="*/ 3302794 h 3355086"/>
                <a:gd name="connsiteX853" fmla="*/ 1426702 w 3359086"/>
                <a:gd name="connsiteY853" fmla="*/ 3308842 h 3355086"/>
                <a:gd name="connsiteX854" fmla="*/ 1429036 w 3359086"/>
                <a:gd name="connsiteY854" fmla="*/ 3311176 h 3355086"/>
                <a:gd name="connsiteX855" fmla="*/ 1422844 w 3359086"/>
                <a:gd name="connsiteY855" fmla="*/ 3317367 h 3355086"/>
                <a:gd name="connsiteX856" fmla="*/ 1416653 w 3359086"/>
                <a:gd name="connsiteY856" fmla="*/ 3311176 h 3355086"/>
                <a:gd name="connsiteX857" fmla="*/ 1422701 w 3359086"/>
                <a:gd name="connsiteY857" fmla="*/ 3305128 h 3355086"/>
                <a:gd name="connsiteX858" fmla="*/ 1420367 w 3359086"/>
                <a:gd name="connsiteY858" fmla="*/ 3302794 h 3355086"/>
                <a:gd name="connsiteX859" fmla="*/ 1425892 w 3359086"/>
                <a:gd name="connsiteY859" fmla="*/ 3297269 h 3355086"/>
                <a:gd name="connsiteX860" fmla="*/ 1424273 w 3359086"/>
                <a:gd name="connsiteY860" fmla="*/ 3295650 h 3355086"/>
                <a:gd name="connsiteX861" fmla="*/ 1430464 w 3359086"/>
                <a:gd name="connsiteY861" fmla="*/ 3289459 h 3355086"/>
                <a:gd name="connsiteX862" fmla="*/ 2025300 w 3359086"/>
                <a:gd name="connsiteY862" fmla="*/ 3289364 h 3355086"/>
                <a:gd name="connsiteX863" fmla="*/ 2031492 w 3359086"/>
                <a:gd name="connsiteY863" fmla="*/ 3295555 h 3355086"/>
                <a:gd name="connsiteX864" fmla="*/ 2025300 w 3359086"/>
                <a:gd name="connsiteY864" fmla="*/ 3301747 h 3355086"/>
                <a:gd name="connsiteX865" fmla="*/ 2019109 w 3359086"/>
                <a:gd name="connsiteY865" fmla="*/ 3295555 h 3355086"/>
                <a:gd name="connsiteX866" fmla="*/ 2025300 w 3359086"/>
                <a:gd name="connsiteY866" fmla="*/ 3289364 h 3355086"/>
                <a:gd name="connsiteX867" fmla="*/ 1448752 w 3359086"/>
                <a:gd name="connsiteY867" fmla="*/ 3288887 h 3355086"/>
                <a:gd name="connsiteX868" fmla="*/ 1454944 w 3359086"/>
                <a:gd name="connsiteY868" fmla="*/ 3295078 h 3355086"/>
                <a:gd name="connsiteX869" fmla="*/ 1448752 w 3359086"/>
                <a:gd name="connsiteY869" fmla="*/ 3301269 h 3355086"/>
                <a:gd name="connsiteX870" fmla="*/ 1442561 w 3359086"/>
                <a:gd name="connsiteY870" fmla="*/ 3295078 h 3355086"/>
                <a:gd name="connsiteX871" fmla="*/ 1448752 w 3359086"/>
                <a:gd name="connsiteY871" fmla="*/ 3288887 h 3355086"/>
                <a:gd name="connsiteX872" fmla="*/ 1738026 w 3359086"/>
                <a:gd name="connsiteY872" fmla="*/ 3288602 h 3355086"/>
                <a:gd name="connsiteX873" fmla="*/ 1744217 w 3359086"/>
                <a:gd name="connsiteY873" fmla="*/ 3294793 h 3355086"/>
                <a:gd name="connsiteX874" fmla="*/ 1738026 w 3359086"/>
                <a:gd name="connsiteY874" fmla="*/ 3300984 h 3355086"/>
                <a:gd name="connsiteX875" fmla="*/ 1731835 w 3359086"/>
                <a:gd name="connsiteY875" fmla="*/ 3294793 h 3355086"/>
                <a:gd name="connsiteX876" fmla="*/ 1738026 w 3359086"/>
                <a:gd name="connsiteY876" fmla="*/ 3288602 h 3355086"/>
                <a:gd name="connsiteX877" fmla="*/ 1817750 w 3359086"/>
                <a:gd name="connsiteY877" fmla="*/ 3288411 h 3355086"/>
                <a:gd name="connsiteX878" fmla="*/ 1823942 w 3359086"/>
                <a:gd name="connsiteY878" fmla="*/ 3294602 h 3355086"/>
                <a:gd name="connsiteX879" fmla="*/ 1817750 w 3359086"/>
                <a:gd name="connsiteY879" fmla="*/ 3300793 h 3355086"/>
                <a:gd name="connsiteX880" fmla="*/ 1811559 w 3359086"/>
                <a:gd name="connsiteY880" fmla="*/ 3294602 h 3355086"/>
                <a:gd name="connsiteX881" fmla="*/ 1817750 w 3359086"/>
                <a:gd name="connsiteY881" fmla="*/ 3288411 h 3355086"/>
                <a:gd name="connsiteX882" fmla="*/ 1277492 w 3359086"/>
                <a:gd name="connsiteY882" fmla="*/ 3288030 h 3355086"/>
                <a:gd name="connsiteX883" fmla="*/ 1283684 w 3359086"/>
                <a:gd name="connsiteY883" fmla="*/ 3294221 h 3355086"/>
                <a:gd name="connsiteX884" fmla="*/ 1277492 w 3359086"/>
                <a:gd name="connsiteY884" fmla="*/ 3300412 h 3355086"/>
                <a:gd name="connsiteX885" fmla="*/ 1271301 w 3359086"/>
                <a:gd name="connsiteY885" fmla="*/ 3294221 h 3355086"/>
                <a:gd name="connsiteX886" fmla="*/ 1277492 w 3359086"/>
                <a:gd name="connsiteY886" fmla="*/ 3288030 h 3355086"/>
                <a:gd name="connsiteX887" fmla="*/ 1468278 w 3359086"/>
                <a:gd name="connsiteY887" fmla="*/ 3287840 h 3355086"/>
                <a:gd name="connsiteX888" fmla="*/ 1474470 w 3359086"/>
                <a:gd name="connsiteY888" fmla="*/ 3294031 h 3355086"/>
                <a:gd name="connsiteX889" fmla="*/ 1468278 w 3359086"/>
                <a:gd name="connsiteY889" fmla="*/ 3300222 h 3355086"/>
                <a:gd name="connsiteX890" fmla="*/ 1462087 w 3359086"/>
                <a:gd name="connsiteY890" fmla="*/ 3294031 h 3355086"/>
                <a:gd name="connsiteX891" fmla="*/ 1468278 w 3359086"/>
                <a:gd name="connsiteY891" fmla="*/ 3287840 h 3355086"/>
                <a:gd name="connsiteX892" fmla="*/ 2013299 w 3359086"/>
                <a:gd name="connsiteY892" fmla="*/ 3287745 h 3355086"/>
                <a:gd name="connsiteX893" fmla="*/ 2019491 w 3359086"/>
                <a:gd name="connsiteY893" fmla="*/ 3293936 h 3355086"/>
                <a:gd name="connsiteX894" fmla="*/ 2013299 w 3359086"/>
                <a:gd name="connsiteY894" fmla="*/ 3300127 h 3355086"/>
                <a:gd name="connsiteX895" fmla="*/ 2007108 w 3359086"/>
                <a:gd name="connsiteY895" fmla="*/ 3293936 h 3355086"/>
                <a:gd name="connsiteX896" fmla="*/ 2013299 w 3359086"/>
                <a:gd name="connsiteY896" fmla="*/ 3287745 h 3355086"/>
                <a:gd name="connsiteX897" fmla="*/ 1567910 w 3359086"/>
                <a:gd name="connsiteY897" fmla="*/ 3287268 h 3355086"/>
                <a:gd name="connsiteX898" fmla="*/ 1574101 w 3359086"/>
                <a:gd name="connsiteY898" fmla="*/ 3293459 h 3355086"/>
                <a:gd name="connsiteX899" fmla="*/ 1567910 w 3359086"/>
                <a:gd name="connsiteY899" fmla="*/ 3299651 h 3355086"/>
                <a:gd name="connsiteX900" fmla="*/ 1561719 w 3359086"/>
                <a:gd name="connsiteY900" fmla="*/ 3293459 h 3355086"/>
                <a:gd name="connsiteX901" fmla="*/ 1567910 w 3359086"/>
                <a:gd name="connsiteY901" fmla="*/ 3287268 h 3355086"/>
                <a:gd name="connsiteX902" fmla="*/ 2085403 w 3359086"/>
                <a:gd name="connsiteY902" fmla="*/ 3286982 h 3355086"/>
                <a:gd name="connsiteX903" fmla="*/ 2091595 w 3359086"/>
                <a:gd name="connsiteY903" fmla="*/ 3293173 h 3355086"/>
                <a:gd name="connsiteX904" fmla="*/ 2085403 w 3359086"/>
                <a:gd name="connsiteY904" fmla="*/ 3299365 h 3355086"/>
                <a:gd name="connsiteX905" fmla="*/ 2079212 w 3359086"/>
                <a:gd name="connsiteY905" fmla="*/ 3293173 h 3355086"/>
                <a:gd name="connsiteX906" fmla="*/ 2085403 w 3359086"/>
                <a:gd name="connsiteY906" fmla="*/ 3286982 h 3355086"/>
                <a:gd name="connsiteX907" fmla="*/ 2000725 w 3359086"/>
                <a:gd name="connsiteY907" fmla="*/ 3286697 h 3355086"/>
                <a:gd name="connsiteX908" fmla="*/ 2006917 w 3359086"/>
                <a:gd name="connsiteY908" fmla="*/ 3292888 h 3355086"/>
                <a:gd name="connsiteX909" fmla="*/ 2000725 w 3359086"/>
                <a:gd name="connsiteY909" fmla="*/ 3299080 h 3355086"/>
                <a:gd name="connsiteX910" fmla="*/ 1994534 w 3359086"/>
                <a:gd name="connsiteY910" fmla="*/ 3292888 h 3355086"/>
                <a:gd name="connsiteX911" fmla="*/ 2000725 w 3359086"/>
                <a:gd name="connsiteY911" fmla="*/ 3286697 h 3355086"/>
                <a:gd name="connsiteX912" fmla="*/ 1489233 w 3359086"/>
                <a:gd name="connsiteY912" fmla="*/ 3286030 h 3355086"/>
                <a:gd name="connsiteX913" fmla="*/ 1495425 w 3359086"/>
                <a:gd name="connsiteY913" fmla="*/ 3292221 h 3355086"/>
                <a:gd name="connsiteX914" fmla="*/ 1489233 w 3359086"/>
                <a:gd name="connsiteY914" fmla="*/ 3298412 h 3355086"/>
                <a:gd name="connsiteX915" fmla="*/ 1483042 w 3359086"/>
                <a:gd name="connsiteY915" fmla="*/ 3292221 h 3355086"/>
                <a:gd name="connsiteX916" fmla="*/ 1489233 w 3359086"/>
                <a:gd name="connsiteY916" fmla="*/ 3286030 h 3355086"/>
                <a:gd name="connsiteX917" fmla="*/ 1288636 w 3359086"/>
                <a:gd name="connsiteY917" fmla="*/ 3285649 h 3355086"/>
                <a:gd name="connsiteX918" fmla="*/ 1294828 w 3359086"/>
                <a:gd name="connsiteY918" fmla="*/ 3291840 h 3355086"/>
                <a:gd name="connsiteX919" fmla="*/ 1288636 w 3359086"/>
                <a:gd name="connsiteY919" fmla="*/ 3298031 h 3355086"/>
                <a:gd name="connsiteX920" fmla="*/ 1282445 w 3359086"/>
                <a:gd name="connsiteY920" fmla="*/ 3291840 h 3355086"/>
                <a:gd name="connsiteX921" fmla="*/ 1288636 w 3359086"/>
                <a:gd name="connsiteY921" fmla="*/ 3285649 h 3355086"/>
                <a:gd name="connsiteX922" fmla="*/ 1794509 w 3359086"/>
                <a:gd name="connsiteY922" fmla="*/ 3285363 h 3355086"/>
                <a:gd name="connsiteX923" fmla="*/ 1800701 w 3359086"/>
                <a:gd name="connsiteY923" fmla="*/ 3291554 h 3355086"/>
                <a:gd name="connsiteX924" fmla="*/ 1794509 w 3359086"/>
                <a:gd name="connsiteY924" fmla="*/ 3297745 h 3355086"/>
                <a:gd name="connsiteX925" fmla="*/ 1788318 w 3359086"/>
                <a:gd name="connsiteY925" fmla="*/ 3291554 h 3355086"/>
                <a:gd name="connsiteX926" fmla="*/ 1794509 w 3359086"/>
                <a:gd name="connsiteY926" fmla="*/ 3285363 h 3355086"/>
                <a:gd name="connsiteX927" fmla="*/ 1910333 w 3359086"/>
                <a:gd name="connsiteY927" fmla="*/ 3285268 h 3355086"/>
                <a:gd name="connsiteX928" fmla="*/ 1916525 w 3359086"/>
                <a:gd name="connsiteY928" fmla="*/ 3291459 h 3355086"/>
                <a:gd name="connsiteX929" fmla="*/ 1914334 w 3359086"/>
                <a:gd name="connsiteY929" fmla="*/ 3293650 h 3355086"/>
                <a:gd name="connsiteX930" fmla="*/ 1919859 w 3359086"/>
                <a:gd name="connsiteY930" fmla="*/ 3299174 h 3355086"/>
                <a:gd name="connsiteX931" fmla="*/ 1917525 w 3359086"/>
                <a:gd name="connsiteY931" fmla="*/ 3301508 h 3355086"/>
                <a:gd name="connsiteX932" fmla="*/ 1922907 w 3359086"/>
                <a:gd name="connsiteY932" fmla="*/ 3306889 h 3355086"/>
                <a:gd name="connsiteX933" fmla="*/ 1916715 w 3359086"/>
                <a:gd name="connsiteY933" fmla="*/ 3313081 h 3355086"/>
                <a:gd name="connsiteX934" fmla="*/ 1910524 w 3359086"/>
                <a:gd name="connsiteY934" fmla="*/ 3306889 h 3355086"/>
                <a:gd name="connsiteX935" fmla="*/ 1912857 w 3359086"/>
                <a:gd name="connsiteY935" fmla="*/ 3304556 h 3355086"/>
                <a:gd name="connsiteX936" fmla="*/ 1907476 w 3359086"/>
                <a:gd name="connsiteY936" fmla="*/ 3299174 h 3355086"/>
                <a:gd name="connsiteX937" fmla="*/ 1909666 w 3359086"/>
                <a:gd name="connsiteY937" fmla="*/ 3296984 h 3355086"/>
                <a:gd name="connsiteX938" fmla="*/ 1904142 w 3359086"/>
                <a:gd name="connsiteY938" fmla="*/ 3291459 h 3355086"/>
                <a:gd name="connsiteX939" fmla="*/ 1910333 w 3359086"/>
                <a:gd name="connsiteY939" fmla="*/ 3285268 h 3355086"/>
                <a:gd name="connsiteX940" fmla="*/ 2131504 w 3359086"/>
                <a:gd name="connsiteY940" fmla="*/ 3285078 h 3355086"/>
                <a:gd name="connsiteX941" fmla="*/ 2135600 w 3359086"/>
                <a:gd name="connsiteY941" fmla="*/ 3289174 h 3355086"/>
                <a:gd name="connsiteX942" fmla="*/ 2131504 w 3359086"/>
                <a:gd name="connsiteY942" fmla="*/ 3293269 h 3355086"/>
                <a:gd name="connsiteX943" fmla="*/ 2127408 w 3359086"/>
                <a:gd name="connsiteY943" fmla="*/ 3289174 h 3355086"/>
                <a:gd name="connsiteX944" fmla="*/ 2131504 w 3359086"/>
                <a:gd name="connsiteY944" fmla="*/ 3285078 h 3355086"/>
                <a:gd name="connsiteX945" fmla="*/ 1229677 w 3359086"/>
                <a:gd name="connsiteY945" fmla="*/ 3284982 h 3355086"/>
                <a:gd name="connsiteX946" fmla="*/ 1233964 w 3359086"/>
                <a:gd name="connsiteY946" fmla="*/ 3289268 h 3355086"/>
                <a:gd name="connsiteX947" fmla="*/ 1229677 w 3359086"/>
                <a:gd name="connsiteY947" fmla="*/ 3293554 h 3355086"/>
                <a:gd name="connsiteX948" fmla="*/ 1225391 w 3359086"/>
                <a:gd name="connsiteY948" fmla="*/ 3289268 h 3355086"/>
                <a:gd name="connsiteX949" fmla="*/ 1229677 w 3359086"/>
                <a:gd name="connsiteY949" fmla="*/ 3284982 h 3355086"/>
                <a:gd name="connsiteX950" fmla="*/ 1891760 w 3359086"/>
                <a:gd name="connsiteY950" fmla="*/ 3284411 h 3355086"/>
                <a:gd name="connsiteX951" fmla="*/ 1897951 w 3359086"/>
                <a:gd name="connsiteY951" fmla="*/ 3290602 h 3355086"/>
                <a:gd name="connsiteX952" fmla="*/ 1891760 w 3359086"/>
                <a:gd name="connsiteY952" fmla="*/ 3296793 h 3355086"/>
                <a:gd name="connsiteX953" fmla="*/ 1885569 w 3359086"/>
                <a:gd name="connsiteY953" fmla="*/ 3290602 h 3355086"/>
                <a:gd name="connsiteX954" fmla="*/ 1891760 w 3359086"/>
                <a:gd name="connsiteY954" fmla="*/ 3284411 h 3355086"/>
                <a:gd name="connsiteX955" fmla="*/ 1652491 w 3359086"/>
                <a:gd name="connsiteY955" fmla="*/ 3284125 h 3355086"/>
                <a:gd name="connsiteX956" fmla="*/ 1658683 w 3359086"/>
                <a:gd name="connsiteY956" fmla="*/ 3290316 h 3355086"/>
                <a:gd name="connsiteX957" fmla="*/ 1653730 w 3359086"/>
                <a:gd name="connsiteY957" fmla="*/ 3295269 h 3355086"/>
                <a:gd name="connsiteX958" fmla="*/ 1659541 w 3359086"/>
                <a:gd name="connsiteY958" fmla="*/ 3301079 h 3355086"/>
                <a:gd name="connsiteX959" fmla="*/ 1656111 w 3359086"/>
                <a:gd name="connsiteY959" fmla="*/ 3304508 h 3355086"/>
                <a:gd name="connsiteX960" fmla="*/ 1660208 w 3359086"/>
                <a:gd name="connsiteY960" fmla="*/ 3308604 h 3355086"/>
                <a:gd name="connsiteX961" fmla="*/ 1657731 w 3359086"/>
                <a:gd name="connsiteY961" fmla="*/ 3311081 h 3355086"/>
                <a:gd name="connsiteX962" fmla="*/ 1660970 w 3359086"/>
                <a:gd name="connsiteY962" fmla="*/ 3314319 h 3355086"/>
                <a:gd name="connsiteX963" fmla="*/ 1658731 w 3359086"/>
                <a:gd name="connsiteY963" fmla="*/ 3316558 h 3355086"/>
                <a:gd name="connsiteX964" fmla="*/ 1661541 w 3359086"/>
                <a:gd name="connsiteY964" fmla="*/ 3319367 h 3355086"/>
                <a:gd name="connsiteX965" fmla="*/ 1659159 w 3359086"/>
                <a:gd name="connsiteY965" fmla="*/ 3321749 h 3355086"/>
                <a:gd name="connsiteX966" fmla="*/ 1662112 w 3359086"/>
                <a:gd name="connsiteY966" fmla="*/ 3324701 h 3355086"/>
                <a:gd name="connsiteX967" fmla="*/ 1659159 w 3359086"/>
                <a:gd name="connsiteY967" fmla="*/ 3327654 h 3355086"/>
                <a:gd name="connsiteX968" fmla="*/ 1662589 w 3359086"/>
                <a:gd name="connsiteY968" fmla="*/ 3331083 h 3355086"/>
                <a:gd name="connsiteX969" fmla="*/ 1658635 w 3359086"/>
                <a:gd name="connsiteY969" fmla="*/ 3335036 h 3355086"/>
                <a:gd name="connsiteX970" fmla="*/ 1662969 w 3359086"/>
                <a:gd name="connsiteY970" fmla="*/ 3339370 h 3355086"/>
                <a:gd name="connsiteX971" fmla="*/ 1656778 w 3359086"/>
                <a:gd name="connsiteY971" fmla="*/ 3345561 h 3355086"/>
                <a:gd name="connsiteX972" fmla="*/ 1650587 w 3359086"/>
                <a:gd name="connsiteY972" fmla="*/ 3339370 h 3355086"/>
                <a:gd name="connsiteX973" fmla="*/ 1654540 w 3359086"/>
                <a:gd name="connsiteY973" fmla="*/ 3335417 h 3355086"/>
                <a:gd name="connsiteX974" fmla="*/ 1650206 w 3359086"/>
                <a:gd name="connsiteY974" fmla="*/ 3331083 h 3355086"/>
                <a:gd name="connsiteX975" fmla="*/ 1653159 w 3359086"/>
                <a:gd name="connsiteY975" fmla="*/ 3328131 h 3355086"/>
                <a:gd name="connsiteX976" fmla="*/ 1649729 w 3359086"/>
                <a:gd name="connsiteY976" fmla="*/ 3324701 h 3355086"/>
                <a:gd name="connsiteX977" fmla="*/ 1652110 w 3359086"/>
                <a:gd name="connsiteY977" fmla="*/ 3322320 h 3355086"/>
                <a:gd name="connsiteX978" fmla="*/ 1649158 w 3359086"/>
                <a:gd name="connsiteY978" fmla="*/ 3319367 h 3355086"/>
                <a:gd name="connsiteX979" fmla="*/ 1651396 w 3359086"/>
                <a:gd name="connsiteY979" fmla="*/ 3317129 h 3355086"/>
                <a:gd name="connsiteX980" fmla="*/ 1648587 w 3359086"/>
                <a:gd name="connsiteY980" fmla="*/ 3314319 h 3355086"/>
                <a:gd name="connsiteX981" fmla="*/ 1651064 w 3359086"/>
                <a:gd name="connsiteY981" fmla="*/ 3311843 h 3355086"/>
                <a:gd name="connsiteX982" fmla="*/ 1647825 w 3359086"/>
                <a:gd name="connsiteY982" fmla="*/ 3308604 h 3355086"/>
                <a:gd name="connsiteX983" fmla="*/ 1651254 w 3359086"/>
                <a:gd name="connsiteY983" fmla="*/ 3305175 h 3355086"/>
                <a:gd name="connsiteX984" fmla="*/ 1647158 w 3359086"/>
                <a:gd name="connsiteY984" fmla="*/ 3301079 h 3355086"/>
                <a:gd name="connsiteX985" fmla="*/ 1652111 w 3359086"/>
                <a:gd name="connsiteY985" fmla="*/ 3296127 h 3355086"/>
                <a:gd name="connsiteX986" fmla="*/ 1646300 w 3359086"/>
                <a:gd name="connsiteY986" fmla="*/ 3290316 h 3355086"/>
                <a:gd name="connsiteX987" fmla="*/ 1652491 w 3359086"/>
                <a:gd name="connsiteY987" fmla="*/ 3284125 h 3355086"/>
                <a:gd name="connsiteX988" fmla="*/ 1300257 w 3359086"/>
                <a:gd name="connsiteY988" fmla="*/ 3283935 h 3355086"/>
                <a:gd name="connsiteX989" fmla="*/ 1306449 w 3359086"/>
                <a:gd name="connsiteY989" fmla="*/ 3290126 h 3355086"/>
                <a:gd name="connsiteX990" fmla="*/ 1300257 w 3359086"/>
                <a:gd name="connsiteY990" fmla="*/ 3296317 h 3355086"/>
                <a:gd name="connsiteX991" fmla="*/ 1294066 w 3359086"/>
                <a:gd name="connsiteY991" fmla="*/ 3290126 h 3355086"/>
                <a:gd name="connsiteX992" fmla="*/ 1300257 w 3359086"/>
                <a:gd name="connsiteY992" fmla="*/ 3283935 h 3355086"/>
                <a:gd name="connsiteX993" fmla="*/ 2075020 w 3359086"/>
                <a:gd name="connsiteY993" fmla="*/ 3283649 h 3355086"/>
                <a:gd name="connsiteX994" fmla="*/ 2081212 w 3359086"/>
                <a:gd name="connsiteY994" fmla="*/ 3289840 h 3355086"/>
                <a:gd name="connsiteX995" fmla="*/ 2075020 w 3359086"/>
                <a:gd name="connsiteY995" fmla="*/ 3296031 h 3355086"/>
                <a:gd name="connsiteX996" fmla="*/ 2068829 w 3359086"/>
                <a:gd name="connsiteY996" fmla="*/ 3289840 h 3355086"/>
                <a:gd name="connsiteX997" fmla="*/ 2075020 w 3359086"/>
                <a:gd name="connsiteY997" fmla="*/ 3283649 h 3355086"/>
                <a:gd name="connsiteX998" fmla="*/ 1711070 w 3359086"/>
                <a:gd name="connsiteY998" fmla="*/ 3283554 h 3355086"/>
                <a:gd name="connsiteX999" fmla="*/ 1717261 w 3359086"/>
                <a:gd name="connsiteY999" fmla="*/ 3289745 h 3355086"/>
                <a:gd name="connsiteX1000" fmla="*/ 1711070 w 3359086"/>
                <a:gd name="connsiteY1000" fmla="*/ 3295936 h 3355086"/>
                <a:gd name="connsiteX1001" fmla="*/ 1704879 w 3359086"/>
                <a:gd name="connsiteY1001" fmla="*/ 3289745 h 3355086"/>
                <a:gd name="connsiteX1002" fmla="*/ 1711070 w 3359086"/>
                <a:gd name="connsiteY1002" fmla="*/ 3283554 h 3355086"/>
                <a:gd name="connsiteX1003" fmla="*/ 1511617 w 3359086"/>
                <a:gd name="connsiteY1003" fmla="*/ 3283363 h 3355086"/>
                <a:gd name="connsiteX1004" fmla="*/ 1517809 w 3359086"/>
                <a:gd name="connsiteY1004" fmla="*/ 3289554 h 3355086"/>
                <a:gd name="connsiteX1005" fmla="*/ 1511617 w 3359086"/>
                <a:gd name="connsiteY1005" fmla="*/ 3295745 h 3355086"/>
                <a:gd name="connsiteX1006" fmla="*/ 1505426 w 3359086"/>
                <a:gd name="connsiteY1006" fmla="*/ 3289554 h 3355086"/>
                <a:gd name="connsiteX1007" fmla="*/ 1511617 w 3359086"/>
                <a:gd name="connsiteY1007" fmla="*/ 3283363 h 3355086"/>
                <a:gd name="connsiteX1008" fmla="*/ 1871852 w 3359086"/>
                <a:gd name="connsiteY1008" fmla="*/ 3282887 h 3355086"/>
                <a:gd name="connsiteX1009" fmla="*/ 1878044 w 3359086"/>
                <a:gd name="connsiteY1009" fmla="*/ 3289078 h 3355086"/>
                <a:gd name="connsiteX1010" fmla="*/ 1871852 w 3359086"/>
                <a:gd name="connsiteY1010" fmla="*/ 3295270 h 3355086"/>
                <a:gd name="connsiteX1011" fmla="*/ 1865661 w 3359086"/>
                <a:gd name="connsiteY1011" fmla="*/ 3289078 h 3355086"/>
                <a:gd name="connsiteX1012" fmla="*/ 1871852 w 3359086"/>
                <a:gd name="connsiteY1012" fmla="*/ 3282887 h 3355086"/>
                <a:gd name="connsiteX1013" fmla="*/ 1312258 w 3359086"/>
                <a:gd name="connsiteY1013" fmla="*/ 3282887 h 3355086"/>
                <a:gd name="connsiteX1014" fmla="*/ 1318450 w 3359086"/>
                <a:gd name="connsiteY1014" fmla="*/ 3289078 h 3355086"/>
                <a:gd name="connsiteX1015" fmla="*/ 1312258 w 3359086"/>
                <a:gd name="connsiteY1015" fmla="*/ 3295270 h 3355086"/>
                <a:gd name="connsiteX1016" fmla="*/ 1306067 w 3359086"/>
                <a:gd name="connsiteY1016" fmla="*/ 3289078 h 3355086"/>
                <a:gd name="connsiteX1017" fmla="*/ 1312258 w 3359086"/>
                <a:gd name="connsiteY1017" fmla="*/ 3282887 h 3355086"/>
                <a:gd name="connsiteX1018" fmla="*/ 1593913 w 3359086"/>
                <a:gd name="connsiteY1018" fmla="*/ 3282696 h 3355086"/>
                <a:gd name="connsiteX1019" fmla="*/ 1600105 w 3359086"/>
                <a:gd name="connsiteY1019" fmla="*/ 3288887 h 3355086"/>
                <a:gd name="connsiteX1020" fmla="*/ 1593913 w 3359086"/>
                <a:gd name="connsiteY1020" fmla="*/ 3295078 h 3355086"/>
                <a:gd name="connsiteX1021" fmla="*/ 1587722 w 3359086"/>
                <a:gd name="connsiteY1021" fmla="*/ 3288887 h 3355086"/>
                <a:gd name="connsiteX1022" fmla="*/ 1593913 w 3359086"/>
                <a:gd name="connsiteY1022" fmla="*/ 3282696 h 3355086"/>
                <a:gd name="connsiteX1023" fmla="*/ 1324736 w 3359086"/>
                <a:gd name="connsiteY1023" fmla="*/ 3282315 h 3355086"/>
                <a:gd name="connsiteX1024" fmla="*/ 1330928 w 3359086"/>
                <a:gd name="connsiteY1024" fmla="*/ 3288506 h 3355086"/>
                <a:gd name="connsiteX1025" fmla="*/ 1324736 w 3359086"/>
                <a:gd name="connsiteY1025" fmla="*/ 3294698 h 3355086"/>
                <a:gd name="connsiteX1026" fmla="*/ 1318545 w 3359086"/>
                <a:gd name="connsiteY1026" fmla="*/ 3288506 h 3355086"/>
                <a:gd name="connsiteX1027" fmla="*/ 1324736 w 3359086"/>
                <a:gd name="connsiteY1027" fmla="*/ 3282315 h 3355086"/>
                <a:gd name="connsiteX1028" fmla="*/ 1398650 w 3359086"/>
                <a:gd name="connsiteY1028" fmla="*/ 3281839 h 3355086"/>
                <a:gd name="connsiteX1029" fmla="*/ 1404842 w 3359086"/>
                <a:gd name="connsiteY1029" fmla="*/ 3288030 h 3355086"/>
                <a:gd name="connsiteX1030" fmla="*/ 1400126 w 3359086"/>
                <a:gd name="connsiteY1030" fmla="*/ 3292745 h 3355086"/>
                <a:gd name="connsiteX1031" fmla="*/ 1403318 w 3359086"/>
                <a:gd name="connsiteY1031" fmla="*/ 3295936 h 3355086"/>
                <a:gd name="connsiteX1032" fmla="*/ 1398603 w 3359086"/>
                <a:gd name="connsiteY1032" fmla="*/ 3300651 h 3355086"/>
                <a:gd name="connsiteX1033" fmla="*/ 1401889 w 3359086"/>
                <a:gd name="connsiteY1033" fmla="*/ 3303937 h 3355086"/>
                <a:gd name="connsiteX1034" fmla="*/ 1395698 w 3359086"/>
                <a:gd name="connsiteY1034" fmla="*/ 3310129 h 3355086"/>
                <a:gd name="connsiteX1035" fmla="*/ 1389507 w 3359086"/>
                <a:gd name="connsiteY1035" fmla="*/ 3303937 h 3355086"/>
                <a:gd name="connsiteX1036" fmla="*/ 1394221 w 3359086"/>
                <a:gd name="connsiteY1036" fmla="*/ 3299223 h 3355086"/>
                <a:gd name="connsiteX1037" fmla="*/ 1390935 w 3359086"/>
                <a:gd name="connsiteY1037" fmla="*/ 3295936 h 3355086"/>
                <a:gd name="connsiteX1038" fmla="*/ 1395650 w 3359086"/>
                <a:gd name="connsiteY1038" fmla="*/ 3291221 h 3355086"/>
                <a:gd name="connsiteX1039" fmla="*/ 1392459 w 3359086"/>
                <a:gd name="connsiteY1039" fmla="*/ 3288030 h 3355086"/>
                <a:gd name="connsiteX1040" fmla="*/ 1398650 w 3359086"/>
                <a:gd name="connsiteY1040" fmla="*/ 3281839 h 3355086"/>
                <a:gd name="connsiteX1041" fmla="*/ 2064257 w 3359086"/>
                <a:gd name="connsiteY1041" fmla="*/ 3281172 h 3355086"/>
                <a:gd name="connsiteX1042" fmla="*/ 2070448 w 3359086"/>
                <a:gd name="connsiteY1042" fmla="*/ 3287363 h 3355086"/>
                <a:gd name="connsiteX1043" fmla="*/ 2064257 w 3359086"/>
                <a:gd name="connsiteY1043" fmla="*/ 3293554 h 3355086"/>
                <a:gd name="connsiteX1044" fmla="*/ 2058066 w 3359086"/>
                <a:gd name="connsiteY1044" fmla="*/ 3287363 h 3355086"/>
                <a:gd name="connsiteX1045" fmla="*/ 2064257 w 3359086"/>
                <a:gd name="connsiteY1045" fmla="*/ 3281172 h 3355086"/>
                <a:gd name="connsiteX1046" fmla="*/ 1769554 w 3359086"/>
                <a:gd name="connsiteY1046" fmla="*/ 3281172 h 3355086"/>
                <a:gd name="connsiteX1047" fmla="*/ 1775745 w 3359086"/>
                <a:gd name="connsiteY1047" fmla="*/ 3287363 h 3355086"/>
                <a:gd name="connsiteX1048" fmla="*/ 1769554 w 3359086"/>
                <a:gd name="connsiteY1048" fmla="*/ 3293554 h 3355086"/>
                <a:gd name="connsiteX1049" fmla="*/ 1763363 w 3359086"/>
                <a:gd name="connsiteY1049" fmla="*/ 3287363 h 3355086"/>
                <a:gd name="connsiteX1050" fmla="*/ 1769554 w 3359086"/>
                <a:gd name="connsiteY1050" fmla="*/ 3281172 h 3355086"/>
                <a:gd name="connsiteX1051" fmla="*/ 1416367 w 3359086"/>
                <a:gd name="connsiteY1051" fmla="*/ 3281077 h 3355086"/>
                <a:gd name="connsiteX1052" fmla="*/ 1422559 w 3359086"/>
                <a:gd name="connsiteY1052" fmla="*/ 3287268 h 3355086"/>
                <a:gd name="connsiteX1053" fmla="*/ 1416749 w 3359086"/>
                <a:gd name="connsiteY1053" fmla="*/ 3293078 h 3355086"/>
                <a:gd name="connsiteX1054" fmla="*/ 1419511 w 3359086"/>
                <a:gd name="connsiteY1054" fmla="*/ 3295840 h 3355086"/>
                <a:gd name="connsiteX1055" fmla="*/ 1414510 w 3359086"/>
                <a:gd name="connsiteY1055" fmla="*/ 3300842 h 3355086"/>
                <a:gd name="connsiteX1056" fmla="*/ 1416938 w 3359086"/>
                <a:gd name="connsiteY1056" fmla="*/ 3303270 h 3355086"/>
                <a:gd name="connsiteX1057" fmla="*/ 1410795 w 3359086"/>
                <a:gd name="connsiteY1057" fmla="*/ 3309414 h 3355086"/>
                <a:gd name="connsiteX1058" fmla="*/ 1414177 w 3359086"/>
                <a:gd name="connsiteY1058" fmla="*/ 3312795 h 3355086"/>
                <a:gd name="connsiteX1059" fmla="*/ 1407985 w 3359086"/>
                <a:gd name="connsiteY1059" fmla="*/ 3318986 h 3355086"/>
                <a:gd name="connsiteX1060" fmla="*/ 1401794 w 3359086"/>
                <a:gd name="connsiteY1060" fmla="*/ 3312795 h 3355086"/>
                <a:gd name="connsiteX1061" fmla="*/ 1407938 w 3359086"/>
                <a:gd name="connsiteY1061" fmla="*/ 3306652 h 3355086"/>
                <a:gd name="connsiteX1062" fmla="*/ 1404556 w 3359086"/>
                <a:gd name="connsiteY1062" fmla="*/ 3303270 h 3355086"/>
                <a:gd name="connsiteX1063" fmla="*/ 1409557 w 3359086"/>
                <a:gd name="connsiteY1063" fmla="*/ 3298269 h 3355086"/>
                <a:gd name="connsiteX1064" fmla="*/ 1407128 w 3359086"/>
                <a:gd name="connsiteY1064" fmla="*/ 3295840 h 3355086"/>
                <a:gd name="connsiteX1065" fmla="*/ 1412938 w 3359086"/>
                <a:gd name="connsiteY1065" fmla="*/ 3290030 h 3355086"/>
                <a:gd name="connsiteX1066" fmla="*/ 1410176 w 3359086"/>
                <a:gd name="connsiteY1066" fmla="*/ 3287268 h 3355086"/>
                <a:gd name="connsiteX1067" fmla="*/ 1416367 w 3359086"/>
                <a:gd name="connsiteY1067" fmla="*/ 3281077 h 3355086"/>
                <a:gd name="connsiteX1068" fmla="*/ 1850516 w 3359086"/>
                <a:gd name="connsiteY1068" fmla="*/ 3280505 h 3355086"/>
                <a:gd name="connsiteX1069" fmla="*/ 1856707 w 3359086"/>
                <a:gd name="connsiteY1069" fmla="*/ 3286696 h 3355086"/>
                <a:gd name="connsiteX1070" fmla="*/ 1850516 w 3359086"/>
                <a:gd name="connsiteY1070" fmla="*/ 3292888 h 3355086"/>
                <a:gd name="connsiteX1071" fmla="*/ 1844325 w 3359086"/>
                <a:gd name="connsiteY1071" fmla="*/ 3286696 h 3355086"/>
                <a:gd name="connsiteX1072" fmla="*/ 1850516 w 3359086"/>
                <a:gd name="connsiteY1072" fmla="*/ 3280505 h 3355086"/>
                <a:gd name="connsiteX1073" fmla="*/ 1435417 w 3359086"/>
                <a:gd name="connsiteY1073" fmla="*/ 3279744 h 3355086"/>
                <a:gd name="connsiteX1074" fmla="*/ 1441609 w 3359086"/>
                <a:gd name="connsiteY1074" fmla="*/ 3285935 h 3355086"/>
                <a:gd name="connsiteX1075" fmla="*/ 1435417 w 3359086"/>
                <a:gd name="connsiteY1075" fmla="*/ 3292126 h 3355086"/>
                <a:gd name="connsiteX1076" fmla="*/ 1429226 w 3359086"/>
                <a:gd name="connsiteY1076" fmla="*/ 3285935 h 3355086"/>
                <a:gd name="connsiteX1077" fmla="*/ 1435417 w 3359086"/>
                <a:gd name="connsiteY1077" fmla="*/ 3279744 h 3355086"/>
                <a:gd name="connsiteX1078" fmla="*/ 1239678 w 3359086"/>
                <a:gd name="connsiteY1078" fmla="*/ 3279744 h 3355086"/>
                <a:gd name="connsiteX1079" fmla="*/ 1245870 w 3359086"/>
                <a:gd name="connsiteY1079" fmla="*/ 3285935 h 3355086"/>
                <a:gd name="connsiteX1080" fmla="*/ 1239678 w 3359086"/>
                <a:gd name="connsiteY1080" fmla="*/ 3292126 h 3355086"/>
                <a:gd name="connsiteX1081" fmla="*/ 1233487 w 3359086"/>
                <a:gd name="connsiteY1081" fmla="*/ 3285935 h 3355086"/>
                <a:gd name="connsiteX1082" fmla="*/ 1239678 w 3359086"/>
                <a:gd name="connsiteY1082" fmla="*/ 3279744 h 3355086"/>
                <a:gd name="connsiteX1083" fmla="*/ 2053303 w 3359086"/>
                <a:gd name="connsiteY1083" fmla="*/ 3279458 h 3355086"/>
                <a:gd name="connsiteX1084" fmla="*/ 2059495 w 3359086"/>
                <a:gd name="connsiteY1084" fmla="*/ 3285649 h 3355086"/>
                <a:gd name="connsiteX1085" fmla="*/ 2053303 w 3359086"/>
                <a:gd name="connsiteY1085" fmla="*/ 3291840 h 3355086"/>
                <a:gd name="connsiteX1086" fmla="*/ 2047112 w 3359086"/>
                <a:gd name="connsiteY1086" fmla="*/ 3285649 h 3355086"/>
                <a:gd name="connsiteX1087" fmla="*/ 2053303 w 3359086"/>
                <a:gd name="connsiteY1087" fmla="*/ 3279458 h 3355086"/>
                <a:gd name="connsiteX1088" fmla="*/ 1535620 w 3359086"/>
                <a:gd name="connsiteY1088" fmla="*/ 3279458 h 3355086"/>
                <a:gd name="connsiteX1089" fmla="*/ 1541811 w 3359086"/>
                <a:gd name="connsiteY1089" fmla="*/ 3285649 h 3355086"/>
                <a:gd name="connsiteX1090" fmla="*/ 1535620 w 3359086"/>
                <a:gd name="connsiteY1090" fmla="*/ 3291840 h 3355086"/>
                <a:gd name="connsiteX1091" fmla="*/ 1529429 w 3359086"/>
                <a:gd name="connsiteY1091" fmla="*/ 3285649 h 3355086"/>
                <a:gd name="connsiteX1092" fmla="*/ 1535620 w 3359086"/>
                <a:gd name="connsiteY1092" fmla="*/ 3279458 h 3355086"/>
                <a:gd name="connsiteX1093" fmla="*/ 2121979 w 3359086"/>
                <a:gd name="connsiteY1093" fmla="*/ 3278601 h 3355086"/>
                <a:gd name="connsiteX1094" fmla="*/ 2128170 w 3359086"/>
                <a:gd name="connsiteY1094" fmla="*/ 3284792 h 3355086"/>
                <a:gd name="connsiteX1095" fmla="*/ 2121979 w 3359086"/>
                <a:gd name="connsiteY1095" fmla="*/ 3290983 h 3355086"/>
                <a:gd name="connsiteX1096" fmla="*/ 2115788 w 3359086"/>
                <a:gd name="connsiteY1096" fmla="*/ 3284792 h 3355086"/>
                <a:gd name="connsiteX1097" fmla="*/ 2121979 w 3359086"/>
                <a:gd name="connsiteY1097" fmla="*/ 3278601 h 3355086"/>
                <a:gd name="connsiteX1098" fmla="*/ 1193387 w 3359086"/>
                <a:gd name="connsiteY1098" fmla="*/ 3278601 h 3355086"/>
                <a:gd name="connsiteX1099" fmla="*/ 1195482 w 3359086"/>
                <a:gd name="connsiteY1099" fmla="*/ 3280697 h 3355086"/>
                <a:gd name="connsiteX1100" fmla="*/ 1193387 w 3359086"/>
                <a:gd name="connsiteY1100" fmla="*/ 3282792 h 3355086"/>
                <a:gd name="connsiteX1101" fmla="*/ 1191291 w 3359086"/>
                <a:gd name="connsiteY1101" fmla="*/ 3280697 h 3355086"/>
                <a:gd name="connsiteX1102" fmla="*/ 1193387 w 3359086"/>
                <a:gd name="connsiteY1102" fmla="*/ 3278601 h 3355086"/>
                <a:gd name="connsiteX1103" fmla="*/ 2041874 w 3359086"/>
                <a:gd name="connsiteY1103" fmla="*/ 3278315 h 3355086"/>
                <a:gd name="connsiteX1104" fmla="*/ 2048066 w 3359086"/>
                <a:gd name="connsiteY1104" fmla="*/ 3284506 h 3355086"/>
                <a:gd name="connsiteX1105" fmla="*/ 2041874 w 3359086"/>
                <a:gd name="connsiteY1105" fmla="*/ 3290697 h 3355086"/>
                <a:gd name="connsiteX1106" fmla="*/ 2035683 w 3359086"/>
                <a:gd name="connsiteY1106" fmla="*/ 3284506 h 3355086"/>
                <a:gd name="connsiteX1107" fmla="*/ 2041874 w 3359086"/>
                <a:gd name="connsiteY1107" fmla="*/ 3278315 h 3355086"/>
                <a:gd name="connsiteX1108" fmla="*/ 2166747 w 3359086"/>
                <a:gd name="connsiteY1108" fmla="*/ 3277934 h 3355086"/>
                <a:gd name="connsiteX1109" fmla="*/ 2169414 w 3359086"/>
                <a:gd name="connsiteY1109" fmla="*/ 3280601 h 3355086"/>
                <a:gd name="connsiteX1110" fmla="*/ 2166747 w 3359086"/>
                <a:gd name="connsiteY1110" fmla="*/ 3283268 h 3355086"/>
                <a:gd name="connsiteX1111" fmla="*/ 2164080 w 3359086"/>
                <a:gd name="connsiteY1111" fmla="*/ 3280601 h 3355086"/>
                <a:gd name="connsiteX1112" fmla="*/ 2166747 w 3359086"/>
                <a:gd name="connsiteY1112" fmla="*/ 3277934 h 3355086"/>
                <a:gd name="connsiteX1113" fmla="*/ 2029967 w 3359086"/>
                <a:gd name="connsiteY1113" fmla="*/ 3277648 h 3355086"/>
                <a:gd name="connsiteX1114" fmla="*/ 2036159 w 3359086"/>
                <a:gd name="connsiteY1114" fmla="*/ 3283839 h 3355086"/>
                <a:gd name="connsiteX1115" fmla="*/ 2029967 w 3359086"/>
                <a:gd name="connsiteY1115" fmla="*/ 3290030 h 3355086"/>
                <a:gd name="connsiteX1116" fmla="*/ 2023776 w 3359086"/>
                <a:gd name="connsiteY1116" fmla="*/ 3283839 h 3355086"/>
                <a:gd name="connsiteX1117" fmla="*/ 2029967 w 3359086"/>
                <a:gd name="connsiteY1117" fmla="*/ 3277648 h 3355086"/>
                <a:gd name="connsiteX1118" fmla="*/ 1975865 w 3359086"/>
                <a:gd name="connsiteY1118" fmla="*/ 3277648 h 3355086"/>
                <a:gd name="connsiteX1119" fmla="*/ 1982057 w 3359086"/>
                <a:gd name="connsiteY1119" fmla="*/ 3283839 h 3355086"/>
                <a:gd name="connsiteX1120" fmla="*/ 1976961 w 3359086"/>
                <a:gd name="connsiteY1120" fmla="*/ 3288935 h 3355086"/>
                <a:gd name="connsiteX1121" fmla="*/ 1980057 w 3359086"/>
                <a:gd name="connsiteY1121" fmla="*/ 3292030 h 3355086"/>
                <a:gd name="connsiteX1122" fmla="*/ 1974818 w 3359086"/>
                <a:gd name="connsiteY1122" fmla="*/ 3297270 h 3355086"/>
                <a:gd name="connsiteX1123" fmla="*/ 1978913 w 3359086"/>
                <a:gd name="connsiteY1123" fmla="*/ 3301365 h 3355086"/>
                <a:gd name="connsiteX1124" fmla="*/ 1972722 w 3359086"/>
                <a:gd name="connsiteY1124" fmla="*/ 3307556 h 3355086"/>
                <a:gd name="connsiteX1125" fmla="*/ 1966531 w 3359086"/>
                <a:gd name="connsiteY1125" fmla="*/ 3301365 h 3355086"/>
                <a:gd name="connsiteX1126" fmla="*/ 1971770 w 3359086"/>
                <a:gd name="connsiteY1126" fmla="*/ 3296127 h 3355086"/>
                <a:gd name="connsiteX1127" fmla="*/ 1967674 w 3359086"/>
                <a:gd name="connsiteY1127" fmla="*/ 3292030 h 3355086"/>
                <a:gd name="connsiteX1128" fmla="*/ 1972769 w 3359086"/>
                <a:gd name="connsiteY1128" fmla="*/ 3286935 h 3355086"/>
                <a:gd name="connsiteX1129" fmla="*/ 1969674 w 3359086"/>
                <a:gd name="connsiteY1129" fmla="*/ 3283839 h 3355086"/>
                <a:gd name="connsiteX1130" fmla="*/ 1975865 w 3359086"/>
                <a:gd name="connsiteY1130" fmla="*/ 3277648 h 3355086"/>
                <a:gd name="connsiteX1131" fmla="*/ 1990534 w 3359086"/>
                <a:gd name="connsiteY1131" fmla="*/ 3277553 h 3355086"/>
                <a:gd name="connsiteX1132" fmla="*/ 1996726 w 3359086"/>
                <a:gd name="connsiteY1132" fmla="*/ 3283744 h 3355086"/>
                <a:gd name="connsiteX1133" fmla="*/ 1991058 w 3359086"/>
                <a:gd name="connsiteY1133" fmla="*/ 3289412 h 3355086"/>
                <a:gd name="connsiteX1134" fmla="*/ 1993868 w 3359086"/>
                <a:gd name="connsiteY1134" fmla="*/ 3292221 h 3355086"/>
                <a:gd name="connsiteX1135" fmla="*/ 1987676 w 3359086"/>
                <a:gd name="connsiteY1135" fmla="*/ 3298412 h 3355086"/>
                <a:gd name="connsiteX1136" fmla="*/ 1981485 w 3359086"/>
                <a:gd name="connsiteY1136" fmla="*/ 3292221 h 3355086"/>
                <a:gd name="connsiteX1137" fmla="*/ 1987152 w 3359086"/>
                <a:gd name="connsiteY1137" fmla="*/ 3286554 h 3355086"/>
                <a:gd name="connsiteX1138" fmla="*/ 1984343 w 3359086"/>
                <a:gd name="connsiteY1138" fmla="*/ 3283744 h 3355086"/>
                <a:gd name="connsiteX1139" fmla="*/ 1990534 w 3359086"/>
                <a:gd name="connsiteY1139" fmla="*/ 3277553 h 3355086"/>
                <a:gd name="connsiteX1140" fmla="*/ 1455800 w 3359086"/>
                <a:gd name="connsiteY1140" fmla="*/ 3277553 h 3355086"/>
                <a:gd name="connsiteX1141" fmla="*/ 1461992 w 3359086"/>
                <a:gd name="connsiteY1141" fmla="*/ 3283744 h 3355086"/>
                <a:gd name="connsiteX1142" fmla="*/ 1455800 w 3359086"/>
                <a:gd name="connsiteY1142" fmla="*/ 3289936 h 3355086"/>
                <a:gd name="connsiteX1143" fmla="*/ 1449609 w 3359086"/>
                <a:gd name="connsiteY1143" fmla="*/ 3283744 h 3355086"/>
                <a:gd name="connsiteX1144" fmla="*/ 1455800 w 3359086"/>
                <a:gd name="connsiteY1144" fmla="*/ 3277553 h 3355086"/>
                <a:gd name="connsiteX1145" fmla="*/ 2004440 w 3359086"/>
                <a:gd name="connsiteY1145" fmla="*/ 3277457 h 3355086"/>
                <a:gd name="connsiteX1146" fmla="*/ 2010632 w 3359086"/>
                <a:gd name="connsiteY1146" fmla="*/ 3283648 h 3355086"/>
                <a:gd name="connsiteX1147" fmla="*/ 2004440 w 3359086"/>
                <a:gd name="connsiteY1147" fmla="*/ 3289840 h 3355086"/>
                <a:gd name="connsiteX1148" fmla="*/ 1998249 w 3359086"/>
                <a:gd name="connsiteY1148" fmla="*/ 3283648 h 3355086"/>
                <a:gd name="connsiteX1149" fmla="*/ 2004440 w 3359086"/>
                <a:gd name="connsiteY1149" fmla="*/ 3277457 h 3355086"/>
                <a:gd name="connsiteX1150" fmla="*/ 2017585 w 3359086"/>
                <a:gd name="connsiteY1150" fmla="*/ 3277362 h 3355086"/>
                <a:gd name="connsiteX1151" fmla="*/ 2023777 w 3359086"/>
                <a:gd name="connsiteY1151" fmla="*/ 3283553 h 3355086"/>
                <a:gd name="connsiteX1152" fmla="*/ 2017585 w 3359086"/>
                <a:gd name="connsiteY1152" fmla="*/ 3289744 h 3355086"/>
                <a:gd name="connsiteX1153" fmla="*/ 2011394 w 3359086"/>
                <a:gd name="connsiteY1153" fmla="*/ 3283553 h 3355086"/>
                <a:gd name="connsiteX1154" fmla="*/ 2017585 w 3359086"/>
                <a:gd name="connsiteY1154" fmla="*/ 3277362 h 3355086"/>
                <a:gd name="connsiteX1155" fmla="*/ 1682305 w 3359086"/>
                <a:gd name="connsiteY1155" fmla="*/ 3277077 h 3355086"/>
                <a:gd name="connsiteX1156" fmla="*/ 1688497 w 3359086"/>
                <a:gd name="connsiteY1156" fmla="*/ 3283268 h 3355086"/>
                <a:gd name="connsiteX1157" fmla="*/ 1682305 w 3359086"/>
                <a:gd name="connsiteY1157" fmla="*/ 3289459 h 3355086"/>
                <a:gd name="connsiteX1158" fmla="*/ 1676114 w 3359086"/>
                <a:gd name="connsiteY1158" fmla="*/ 3283268 h 3355086"/>
                <a:gd name="connsiteX1159" fmla="*/ 1682305 w 3359086"/>
                <a:gd name="connsiteY1159" fmla="*/ 3277077 h 3355086"/>
                <a:gd name="connsiteX1160" fmla="*/ 1943290 w 3359086"/>
                <a:gd name="connsiteY1160" fmla="*/ 3276886 h 3355086"/>
                <a:gd name="connsiteX1161" fmla="*/ 1949482 w 3359086"/>
                <a:gd name="connsiteY1161" fmla="*/ 3283077 h 3355086"/>
                <a:gd name="connsiteX1162" fmla="*/ 1945434 w 3359086"/>
                <a:gd name="connsiteY1162" fmla="*/ 3287126 h 3355086"/>
                <a:gd name="connsiteX1163" fmla="*/ 1950244 w 3359086"/>
                <a:gd name="connsiteY1163" fmla="*/ 3291935 h 3355086"/>
                <a:gd name="connsiteX1164" fmla="*/ 1946719 w 3359086"/>
                <a:gd name="connsiteY1164" fmla="*/ 3295460 h 3355086"/>
                <a:gd name="connsiteX1165" fmla="*/ 1950911 w 3359086"/>
                <a:gd name="connsiteY1165" fmla="*/ 3299651 h 3355086"/>
                <a:gd name="connsiteX1166" fmla="*/ 1946481 w 3359086"/>
                <a:gd name="connsiteY1166" fmla="*/ 3304080 h 3355086"/>
                <a:gd name="connsiteX1167" fmla="*/ 1951957 w 3359086"/>
                <a:gd name="connsiteY1167" fmla="*/ 3309556 h 3355086"/>
                <a:gd name="connsiteX1168" fmla="*/ 1945766 w 3359086"/>
                <a:gd name="connsiteY1168" fmla="*/ 3315748 h 3355086"/>
                <a:gd name="connsiteX1169" fmla="*/ 1939575 w 3359086"/>
                <a:gd name="connsiteY1169" fmla="*/ 3309556 h 3355086"/>
                <a:gd name="connsiteX1170" fmla="*/ 1944004 w 3359086"/>
                <a:gd name="connsiteY1170" fmla="*/ 3305127 h 3355086"/>
                <a:gd name="connsiteX1171" fmla="*/ 1938528 w 3359086"/>
                <a:gd name="connsiteY1171" fmla="*/ 3299651 h 3355086"/>
                <a:gd name="connsiteX1172" fmla="*/ 1942052 w 3359086"/>
                <a:gd name="connsiteY1172" fmla="*/ 3296127 h 3355086"/>
                <a:gd name="connsiteX1173" fmla="*/ 1937861 w 3359086"/>
                <a:gd name="connsiteY1173" fmla="*/ 3291935 h 3355086"/>
                <a:gd name="connsiteX1174" fmla="*/ 1941909 w 3359086"/>
                <a:gd name="connsiteY1174" fmla="*/ 3287888 h 3355086"/>
                <a:gd name="connsiteX1175" fmla="*/ 1937099 w 3359086"/>
                <a:gd name="connsiteY1175" fmla="*/ 3283077 h 3355086"/>
                <a:gd name="connsiteX1176" fmla="*/ 1943290 w 3359086"/>
                <a:gd name="connsiteY1176" fmla="*/ 3276886 h 3355086"/>
                <a:gd name="connsiteX1177" fmla="*/ 1827561 w 3359086"/>
                <a:gd name="connsiteY1177" fmla="*/ 3276886 h 3355086"/>
                <a:gd name="connsiteX1178" fmla="*/ 1833753 w 3359086"/>
                <a:gd name="connsiteY1178" fmla="*/ 3283077 h 3355086"/>
                <a:gd name="connsiteX1179" fmla="*/ 1827561 w 3359086"/>
                <a:gd name="connsiteY1179" fmla="*/ 3289269 h 3355086"/>
                <a:gd name="connsiteX1180" fmla="*/ 1821370 w 3359086"/>
                <a:gd name="connsiteY1180" fmla="*/ 3283077 h 3355086"/>
                <a:gd name="connsiteX1181" fmla="*/ 1827561 w 3359086"/>
                <a:gd name="connsiteY1181" fmla="*/ 3276886 h 3355086"/>
                <a:gd name="connsiteX1182" fmla="*/ 1621726 w 3359086"/>
                <a:gd name="connsiteY1182" fmla="*/ 3276600 h 3355086"/>
                <a:gd name="connsiteX1183" fmla="*/ 1627918 w 3359086"/>
                <a:gd name="connsiteY1183" fmla="*/ 3282791 h 3355086"/>
                <a:gd name="connsiteX1184" fmla="*/ 1621726 w 3359086"/>
                <a:gd name="connsiteY1184" fmla="*/ 3288983 h 3355086"/>
                <a:gd name="connsiteX1185" fmla="*/ 1615535 w 3359086"/>
                <a:gd name="connsiteY1185" fmla="*/ 3282791 h 3355086"/>
                <a:gd name="connsiteX1186" fmla="*/ 1621726 w 3359086"/>
                <a:gd name="connsiteY1186" fmla="*/ 3276600 h 3355086"/>
                <a:gd name="connsiteX1187" fmla="*/ 1925287 w 3359086"/>
                <a:gd name="connsiteY1187" fmla="*/ 3275743 h 3355086"/>
                <a:gd name="connsiteX1188" fmla="*/ 1931479 w 3359086"/>
                <a:gd name="connsiteY1188" fmla="*/ 3281934 h 3355086"/>
                <a:gd name="connsiteX1189" fmla="*/ 1927764 w 3359086"/>
                <a:gd name="connsiteY1189" fmla="*/ 3285649 h 3355086"/>
                <a:gd name="connsiteX1190" fmla="*/ 1933955 w 3359086"/>
                <a:gd name="connsiteY1190" fmla="*/ 3291840 h 3355086"/>
                <a:gd name="connsiteX1191" fmla="*/ 1931098 w 3359086"/>
                <a:gd name="connsiteY1191" fmla="*/ 3294698 h 3355086"/>
                <a:gd name="connsiteX1192" fmla="*/ 1935766 w 3359086"/>
                <a:gd name="connsiteY1192" fmla="*/ 3299365 h 3355086"/>
                <a:gd name="connsiteX1193" fmla="*/ 1932479 w 3359086"/>
                <a:gd name="connsiteY1193" fmla="*/ 3302651 h 3355086"/>
                <a:gd name="connsiteX1194" fmla="*/ 1937766 w 3359086"/>
                <a:gd name="connsiteY1194" fmla="*/ 3307937 h 3355086"/>
                <a:gd name="connsiteX1195" fmla="*/ 1931574 w 3359086"/>
                <a:gd name="connsiteY1195" fmla="*/ 3314128 h 3355086"/>
                <a:gd name="connsiteX1196" fmla="*/ 1925383 w 3359086"/>
                <a:gd name="connsiteY1196" fmla="*/ 3307937 h 3355086"/>
                <a:gd name="connsiteX1197" fmla="*/ 1928669 w 3359086"/>
                <a:gd name="connsiteY1197" fmla="*/ 3304651 h 3355086"/>
                <a:gd name="connsiteX1198" fmla="*/ 1923383 w 3359086"/>
                <a:gd name="connsiteY1198" fmla="*/ 3299365 h 3355086"/>
                <a:gd name="connsiteX1199" fmla="*/ 1926241 w 3359086"/>
                <a:gd name="connsiteY1199" fmla="*/ 3296508 h 3355086"/>
                <a:gd name="connsiteX1200" fmla="*/ 1921573 w 3359086"/>
                <a:gd name="connsiteY1200" fmla="*/ 3291840 h 3355086"/>
                <a:gd name="connsiteX1201" fmla="*/ 1925287 w 3359086"/>
                <a:gd name="connsiteY1201" fmla="*/ 3288126 h 3355086"/>
                <a:gd name="connsiteX1202" fmla="*/ 1919096 w 3359086"/>
                <a:gd name="connsiteY1202" fmla="*/ 3281934 h 3355086"/>
                <a:gd name="connsiteX1203" fmla="*/ 1925287 w 3359086"/>
                <a:gd name="connsiteY1203" fmla="*/ 3275743 h 3355086"/>
                <a:gd name="connsiteX1204" fmla="*/ 1742789 w 3359086"/>
                <a:gd name="connsiteY1204" fmla="*/ 3275457 h 3355086"/>
                <a:gd name="connsiteX1205" fmla="*/ 1748980 w 3359086"/>
                <a:gd name="connsiteY1205" fmla="*/ 3281648 h 3355086"/>
                <a:gd name="connsiteX1206" fmla="*/ 1742789 w 3359086"/>
                <a:gd name="connsiteY1206" fmla="*/ 3287840 h 3355086"/>
                <a:gd name="connsiteX1207" fmla="*/ 1736598 w 3359086"/>
                <a:gd name="connsiteY1207" fmla="*/ 3281648 h 3355086"/>
                <a:gd name="connsiteX1208" fmla="*/ 1742789 w 3359086"/>
                <a:gd name="connsiteY1208" fmla="*/ 3275457 h 3355086"/>
                <a:gd name="connsiteX1209" fmla="*/ 2112454 w 3359086"/>
                <a:gd name="connsiteY1209" fmla="*/ 3275076 h 3355086"/>
                <a:gd name="connsiteX1210" fmla="*/ 2118645 w 3359086"/>
                <a:gd name="connsiteY1210" fmla="*/ 3281267 h 3355086"/>
                <a:gd name="connsiteX1211" fmla="*/ 2112454 w 3359086"/>
                <a:gd name="connsiteY1211" fmla="*/ 3287459 h 3355086"/>
                <a:gd name="connsiteX1212" fmla="*/ 2106263 w 3359086"/>
                <a:gd name="connsiteY1212" fmla="*/ 3281267 h 3355086"/>
                <a:gd name="connsiteX1213" fmla="*/ 2112454 w 3359086"/>
                <a:gd name="connsiteY1213" fmla="*/ 3275076 h 3355086"/>
                <a:gd name="connsiteX1214" fmla="*/ 1477803 w 3359086"/>
                <a:gd name="connsiteY1214" fmla="*/ 3274314 h 3355086"/>
                <a:gd name="connsiteX1215" fmla="*/ 1483995 w 3359086"/>
                <a:gd name="connsiteY1215" fmla="*/ 3280505 h 3355086"/>
                <a:gd name="connsiteX1216" fmla="*/ 1477803 w 3359086"/>
                <a:gd name="connsiteY1216" fmla="*/ 3286696 h 3355086"/>
                <a:gd name="connsiteX1217" fmla="*/ 1471612 w 3359086"/>
                <a:gd name="connsiteY1217" fmla="*/ 3280505 h 3355086"/>
                <a:gd name="connsiteX1218" fmla="*/ 1477803 w 3359086"/>
                <a:gd name="connsiteY1218" fmla="*/ 3274314 h 3355086"/>
                <a:gd name="connsiteX1219" fmla="*/ 1561337 w 3359086"/>
                <a:gd name="connsiteY1219" fmla="*/ 3274124 h 3355086"/>
                <a:gd name="connsiteX1220" fmla="*/ 1567529 w 3359086"/>
                <a:gd name="connsiteY1220" fmla="*/ 3280315 h 3355086"/>
                <a:gd name="connsiteX1221" fmla="*/ 1561337 w 3359086"/>
                <a:gd name="connsiteY1221" fmla="*/ 3286506 h 3355086"/>
                <a:gd name="connsiteX1222" fmla="*/ 1555146 w 3359086"/>
                <a:gd name="connsiteY1222" fmla="*/ 3280315 h 3355086"/>
                <a:gd name="connsiteX1223" fmla="*/ 1561337 w 3359086"/>
                <a:gd name="connsiteY1223" fmla="*/ 3274124 h 3355086"/>
                <a:gd name="connsiteX1224" fmla="*/ 1905952 w 3359086"/>
                <a:gd name="connsiteY1224" fmla="*/ 3273838 h 3355086"/>
                <a:gd name="connsiteX1225" fmla="*/ 1912144 w 3359086"/>
                <a:gd name="connsiteY1225" fmla="*/ 3280029 h 3355086"/>
                <a:gd name="connsiteX1226" fmla="*/ 1905952 w 3359086"/>
                <a:gd name="connsiteY1226" fmla="*/ 3286220 h 3355086"/>
                <a:gd name="connsiteX1227" fmla="*/ 1899761 w 3359086"/>
                <a:gd name="connsiteY1227" fmla="*/ 3280029 h 3355086"/>
                <a:gd name="connsiteX1228" fmla="*/ 1905952 w 3359086"/>
                <a:gd name="connsiteY1228" fmla="*/ 3273838 h 3355086"/>
                <a:gd name="connsiteX1229" fmla="*/ 1334261 w 3359086"/>
                <a:gd name="connsiteY1229" fmla="*/ 3273457 h 3355086"/>
                <a:gd name="connsiteX1230" fmla="*/ 1340453 w 3359086"/>
                <a:gd name="connsiteY1230" fmla="*/ 3279648 h 3355086"/>
                <a:gd name="connsiteX1231" fmla="*/ 1337976 w 3359086"/>
                <a:gd name="connsiteY1231" fmla="*/ 3282125 h 3355086"/>
                <a:gd name="connsiteX1232" fmla="*/ 1344073 w 3359086"/>
                <a:gd name="connsiteY1232" fmla="*/ 3288220 h 3355086"/>
                <a:gd name="connsiteX1233" fmla="*/ 1337881 w 3359086"/>
                <a:gd name="connsiteY1233" fmla="*/ 3294411 h 3355086"/>
                <a:gd name="connsiteX1234" fmla="*/ 1331690 w 3359086"/>
                <a:gd name="connsiteY1234" fmla="*/ 3288220 h 3355086"/>
                <a:gd name="connsiteX1235" fmla="*/ 1334166 w 3359086"/>
                <a:gd name="connsiteY1235" fmla="*/ 3285744 h 3355086"/>
                <a:gd name="connsiteX1236" fmla="*/ 1328070 w 3359086"/>
                <a:gd name="connsiteY1236" fmla="*/ 3279648 h 3355086"/>
                <a:gd name="connsiteX1237" fmla="*/ 1334261 w 3359086"/>
                <a:gd name="connsiteY1237" fmla="*/ 3273457 h 3355086"/>
                <a:gd name="connsiteX1238" fmla="*/ 1349120 w 3359086"/>
                <a:gd name="connsiteY1238" fmla="*/ 3273362 h 3355086"/>
                <a:gd name="connsiteX1239" fmla="*/ 1355311 w 3359086"/>
                <a:gd name="connsiteY1239" fmla="*/ 3279553 h 3355086"/>
                <a:gd name="connsiteX1240" fmla="*/ 1352311 w 3359086"/>
                <a:gd name="connsiteY1240" fmla="*/ 3282553 h 3355086"/>
                <a:gd name="connsiteX1241" fmla="*/ 1357979 w 3359086"/>
                <a:gd name="connsiteY1241" fmla="*/ 3288220 h 3355086"/>
                <a:gd name="connsiteX1242" fmla="*/ 1354549 w 3359086"/>
                <a:gd name="connsiteY1242" fmla="*/ 3291650 h 3355086"/>
                <a:gd name="connsiteX1243" fmla="*/ 1359884 w 3359086"/>
                <a:gd name="connsiteY1243" fmla="*/ 3296984 h 3355086"/>
                <a:gd name="connsiteX1244" fmla="*/ 1353692 w 3359086"/>
                <a:gd name="connsiteY1244" fmla="*/ 3303175 h 3355086"/>
                <a:gd name="connsiteX1245" fmla="*/ 1347501 w 3359086"/>
                <a:gd name="connsiteY1245" fmla="*/ 3296984 h 3355086"/>
                <a:gd name="connsiteX1246" fmla="*/ 1350931 w 3359086"/>
                <a:gd name="connsiteY1246" fmla="*/ 3293555 h 3355086"/>
                <a:gd name="connsiteX1247" fmla="*/ 1345596 w 3359086"/>
                <a:gd name="connsiteY1247" fmla="*/ 3288220 h 3355086"/>
                <a:gd name="connsiteX1248" fmla="*/ 1348596 w 3359086"/>
                <a:gd name="connsiteY1248" fmla="*/ 3285221 h 3355086"/>
                <a:gd name="connsiteX1249" fmla="*/ 1342929 w 3359086"/>
                <a:gd name="connsiteY1249" fmla="*/ 3279553 h 3355086"/>
                <a:gd name="connsiteX1250" fmla="*/ 1349120 w 3359086"/>
                <a:gd name="connsiteY1250" fmla="*/ 3273362 h 3355086"/>
                <a:gd name="connsiteX1251" fmla="*/ 1320260 w 3359086"/>
                <a:gd name="connsiteY1251" fmla="*/ 3273362 h 3355086"/>
                <a:gd name="connsiteX1252" fmla="*/ 1326451 w 3359086"/>
                <a:gd name="connsiteY1252" fmla="*/ 3279553 h 3355086"/>
                <a:gd name="connsiteX1253" fmla="*/ 1320260 w 3359086"/>
                <a:gd name="connsiteY1253" fmla="*/ 3285745 h 3355086"/>
                <a:gd name="connsiteX1254" fmla="*/ 1314069 w 3359086"/>
                <a:gd name="connsiteY1254" fmla="*/ 3279553 h 3355086"/>
                <a:gd name="connsiteX1255" fmla="*/ 1320260 w 3359086"/>
                <a:gd name="connsiteY1255" fmla="*/ 3273362 h 3355086"/>
                <a:gd name="connsiteX1256" fmla="*/ 1307020 w 3359086"/>
                <a:gd name="connsiteY1256" fmla="*/ 3273171 h 3355086"/>
                <a:gd name="connsiteX1257" fmla="*/ 1313211 w 3359086"/>
                <a:gd name="connsiteY1257" fmla="*/ 3279362 h 3355086"/>
                <a:gd name="connsiteX1258" fmla="*/ 1307020 w 3359086"/>
                <a:gd name="connsiteY1258" fmla="*/ 3285553 h 3355086"/>
                <a:gd name="connsiteX1259" fmla="*/ 1300829 w 3359086"/>
                <a:gd name="connsiteY1259" fmla="*/ 3279362 h 3355086"/>
                <a:gd name="connsiteX1260" fmla="*/ 1307020 w 3359086"/>
                <a:gd name="connsiteY1260" fmla="*/ 3273171 h 3355086"/>
                <a:gd name="connsiteX1261" fmla="*/ 1294542 w 3359086"/>
                <a:gd name="connsiteY1261" fmla="*/ 3273171 h 3355086"/>
                <a:gd name="connsiteX1262" fmla="*/ 1300734 w 3359086"/>
                <a:gd name="connsiteY1262" fmla="*/ 3279362 h 3355086"/>
                <a:gd name="connsiteX1263" fmla="*/ 1294542 w 3359086"/>
                <a:gd name="connsiteY1263" fmla="*/ 3285553 h 3355086"/>
                <a:gd name="connsiteX1264" fmla="*/ 1288780 w 3359086"/>
                <a:gd name="connsiteY1264" fmla="*/ 3279791 h 3355086"/>
                <a:gd name="connsiteX1265" fmla="*/ 1282731 w 3359086"/>
                <a:gd name="connsiteY1265" fmla="*/ 3285839 h 3355086"/>
                <a:gd name="connsiteX1266" fmla="*/ 1277398 w 3359086"/>
                <a:gd name="connsiteY1266" fmla="*/ 3280506 h 3355086"/>
                <a:gd name="connsiteX1267" fmla="*/ 1271396 w 3359086"/>
                <a:gd name="connsiteY1267" fmla="*/ 3286506 h 3355086"/>
                <a:gd name="connsiteX1268" fmla="*/ 1266587 w 3359086"/>
                <a:gd name="connsiteY1268" fmla="*/ 3281697 h 3355086"/>
                <a:gd name="connsiteX1269" fmla="*/ 1260538 w 3359086"/>
                <a:gd name="connsiteY1269" fmla="*/ 3287745 h 3355086"/>
                <a:gd name="connsiteX1270" fmla="*/ 1256157 w 3359086"/>
                <a:gd name="connsiteY1270" fmla="*/ 3283363 h 3355086"/>
                <a:gd name="connsiteX1271" fmla="*/ 1249965 w 3359086"/>
                <a:gd name="connsiteY1271" fmla="*/ 3289555 h 3355086"/>
                <a:gd name="connsiteX1272" fmla="*/ 1243774 w 3359086"/>
                <a:gd name="connsiteY1272" fmla="*/ 3283363 h 3355086"/>
                <a:gd name="connsiteX1273" fmla="*/ 1249965 w 3359086"/>
                <a:gd name="connsiteY1273" fmla="*/ 3277172 h 3355086"/>
                <a:gd name="connsiteX1274" fmla="*/ 1255393 w 3359086"/>
                <a:gd name="connsiteY1274" fmla="*/ 3282600 h 3355086"/>
                <a:gd name="connsiteX1275" fmla="*/ 1254347 w 3359086"/>
                <a:gd name="connsiteY1275" fmla="*/ 3281553 h 3355086"/>
                <a:gd name="connsiteX1276" fmla="*/ 1260538 w 3359086"/>
                <a:gd name="connsiteY1276" fmla="*/ 3275362 h 3355086"/>
                <a:gd name="connsiteX1277" fmla="*/ 1265348 w 3359086"/>
                <a:gd name="connsiteY1277" fmla="*/ 3280172 h 3355086"/>
                <a:gd name="connsiteX1278" fmla="*/ 1271396 w 3359086"/>
                <a:gd name="connsiteY1278" fmla="*/ 3274124 h 3355086"/>
                <a:gd name="connsiteX1279" fmla="*/ 1276730 w 3359086"/>
                <a:gd name="connsiteY1279" fmla="*/ 3279458 h 3355086"/>
                <a:gd name="connsiteX1280" fmla="*/ 1282731 w 3359086"/>
                <a:gd name="connsiteY1280" fmla="*/ 3273457 h 3355086"/>
                <a:gd name="connsiteX1281" fmla="*/ 1288494 w 3359086"/>
                <a:gd name="connsiteY1281" fmla="*/ 3279219 h 3355086"/>
                <a:gd name="connsiteX1282" fmla="*/ 1365122 w 3359086"/>
                <a:gd name="connsiteY1282" fmla="*/ 3272981 h 3355086"/>
                <a:gd name="connsiteX1283" fmla="*/ 1371314 w 3359086"/>
                <a:gd name="connsiteY1283" fmla="*/ 3279172 h 3355086"/>
                <a:gd name="connsiteX1284" fmla="*/ 1367457 w 3359086"/>
                <a:gd name="connsiteY1284" fmla="*/ 3283030 h 3355086"/>
                <a:gd name="connsiteX1285" fmla="*/ 1372648 w 3359086"/>
                <a:gd name="connsiteY1285" fmla="*/ 3288220 h 3355086"/>
                <a:gd name="connsiteX1286" fmla="*/ 1369122 w 3359086"/>
                <a:gd name="connsiteY1286" fmla="*/ 3291745 h 3355086"/>
                <a:gd name="connsiteX1287" fmla="*/ 1373695 w 3359086"/>
                <a:gd name="connsiteY1287" fmla="*/ 3296317 h 3355086"/>
                <a:gd name="connsiteX1288" fmla="*/ 1368646 w 3359086"/>
                <a:gd name="connsiteY1288" fmla="*/ 3301365 h 3355086"/>
                <a:gd name="connsiteX1289" fmla="*/ 1373886 w 3359086"/>
                <a:gd name="connsiteY1289" fmla="*/ 3306604 h 3355086"/>
                <a:gd name="connsiteX1290" fmla="*/ 1367694 w 3359086"/>
                <a:gd name="connsiteY1290" fmla="*/ 3312796 h 3355086"/>
                <a:gd name="connsiteX1291" fmla="*/ 1361503 w 3359086"/>
                <a:gd name="connsiteY1291" fmla="*/ 3306604 h 3355086"/>
                <a:gd name="connsiteX1292" fmla="*/ 1366551 w 3359086"/>
                <a:gd name="connsiteY1292" fmla="*/ 3301556 h 3355086"/>
                <a:gd name="connsiteX1293" fmla="*/ 1361312 w 3359086"/>
                <a:gd name="connsiteY1293" fmla="*/ 3296317 h 3355086"/>
                <a:gd name="connsiteX1294" fmla="*/ 1364837 w 3359086"/>
                <a:gd name="connsiteY1294" fmla="*/ 3292792 h 3355086"/>
                <a:gd name="connsiteX1295" fmla="*/ 1360265 w 3359086"/>
                <a:gd name="connsiteY1295" fmla="*/ 3288220 h 3355086"/>
                <a:gd name="connsiteX1296" fmla="*/ 1364122 w 3359086"/>
                <a:gd name="connsiteY1296" fmla="*/ 3284364 h 3355086"/>
                <a:gd name="connsiteX1297" fmla="*/ 1358931 w 3359086"/>
                <a:gd name="connsiteY1297" fmla="*/ 3279172 h 3355086"/>
                <a:gd name="connsiteX1298" fmla="*/ 1365122 w 3359086"/>
                <a:gd name="connsiteY1298" fmla="*/ 3272981 h 3355086"/>
                <a:gd name="connsiteX1299" fmla="*/ 1802986 w 3359086"/>
                <a:gd name="connsiteY1299" fmla="*/ 3272028 h 3355086"/>
                <a:gd name="connsiteX1300" fmla="*/ 1809178 w 3359086"/>
                <a:gd name="connsiteY1300" fmla="*/ 3278219 h 3355086"/>
                <a:gd name="connsiteX1301" fmla="*/ 1802986 w 3359086"/>
                <a:gd name="connsiteY1301" fmla="*/ 3284410 h 3355086"/>
                <a:gd name="connsiteX1302" fmla="*/ 1796795 w 3359086"/>
                <a:gd name="connsiteY1302" fmla="*/ 3278219 h 3355086"/>
                <a:gd name="connsiteX1303" fmla="*/ 1802986 w 3359086"/>
                <a:gd name="connsiteY1303" fmla="*/ 3272028 h 3355086"/>
                <a:gd name="connsiteX1304" fmla="*/ 1382267 w 3359086"/>
                <a:gd name="connsiteY1304" fmla="*/ 3271933 h 3355086"/>
                <a:gd name="connsiteX1305" fmla="*/ 1388459 w 3359086"/>
                <a:gd name="connsiteY1305" fmla="*/ 3278124 h 3355086"/>
                <a:gd name="connsiteX1306" fmla="*/ 1383268 w 3359086"/>
                <a:gd name="connsiteY1306" fmla="*/ 3283315 h 3355086"/>
                <a:gd name="connsiteX1307" fmla="*/ 1388174 w 3359086"/>
                <a:gd name="connsiteY1307" fmla="*/ 3288220 h 3355086"/>
                <a:gd name="connsiteX1308" fmla="*/ 1384220 w 3359086"/>
                <a:gd name="connsiteY1308" fmla="*/ 3292174 h 3355086"/>
                <a:gd name="connsiteX1309" fmla="*/ 1388078 w 3359086"/>
                <a:gd name="connsiteY1309" fmla="*/ 3296031 h 3355086"/>
                <a:gd name="connsiteX1310" fmla="*/ 1383362 w 3359086"/>
                <a:gd name="connsiteY1310" fmla="*/ 3300746 h 3355086"/>
                <a:gd name="connsiteX1311" fmla="*/ 1387601 w 3359086"/>
                <a:gd name="connsiteY1311" fmla="*/ 3304985 h 3355086"/>
                <a:gd name="connsiteX1312" fmla="*/ 1381410 w 3359086"/>
                <a:gd name="connsiteY1312" fmla="*/ 3311176 h 3355086"/>
                <a:gd name="connsiteX1313" fmla="*/ 1375219 w 3359086"/>
                <a:gd name="connsiteY1313" fmla="*/ 3304985 h 3355086"/>
                <a:gd name="connsiteX1314" fmla="*/ 1379934 w 3359086"/>
                <a:gd name="connsiteY1314" fmla="*/ 3300270 h 3355086"/>
                <a:gd name="connsiteX1315" fmla="*/ 1375695 w 3359086"/>
                <a:gd name="connsiteY1315" fmla="*/ 3296031 h 3355086"/>
                <a:gd name="connsiteX1316" fmla="*/ 1379649 w 3359086"/>
                <a:gd name="connsiteY1316" fmla="*/ 3292078 h 3355086"/>
                <a:gd name="connsiteX1317" fmla="*/ 1375791 w 3359086"/>
                <a:gd name="connsiteY1317" fmla="*/ 3288220 h 3355086"/>
                <a:gd name="connsiteX1318" fmla="*/ 1380982 w 3359086"/>
                <a:gd name="connsiteY1318" fmla="*/ 3283030 h 3355086"/>
                <a:gd name="connsiteX1319" fmla="*/ 1376076 w 3359086"/>
                <a:gd name="connsiteY1319" fmla="*/ 3278124 h 3355086"/>
                <a:gd name="connsiteX1320" fmla="*/ 1382267 w 3359086"/>
                <a:gd name="connsiteY1320" fmla="*/ 3271933 h 3355086"/>
                <a:gd name="connsiteX1321" fmla="*/ 1157573 w 3359086"/>
                <a:gd name="connsiteY1321" fmla="*/ 3271266 h 3355086"/>
                <a:gd name="connsiteX1322" fmla="*/ 1157858 w 3359086"/>
                <a:gd name="connsiteY1322" fmla="*/ 3271552 h 3355086"/>
                <a:gd name="connsiteX1323" fmla="*/ 1157573 w 3359086"/>
                <a:gd name="connsiteY1323" fmla="*/ 3271837 h 3355086"/>
                <a:gd name="connsiteX1324" fmla="*/ 1157287 w 3359086"/>
                <a:gd name="connsiteY1324" fmla="*/ 3271552 h 3355086"/>
                <a:gd name="connsiteX1325" fmla="*/ 1157573 w 3359086"/>
                <a:gd name="connsiteY1325" fmla="*/ 3271266 h 3355086"/>
                <a:gd name="connsiteX1326" fmla="*/ 1885092 w 3359086"/>
                <a:gd name="connsiteY1326" fmla="*/ 3270885 h 3355086"/>
                <a:gd name="connsiteX1327" fmla="*/ 1891284 w 3359086"/>
                <a:gd name="connsiteY1327" fmla="*/ 3277076 h 3355086"/>
                <a:gd name="connsiteX1328" fmla="*/ 1885092 w 3359086"/>
                <a:gd name="connsiteY1328" fmla="*/ 3283267 h 3355086"/>
                <a:gd name="connsiteX1329" fmla="*/ 1878901 w 3359086"/>
                <a:gd name="connsiteY1329" fmla="*/ 3277076 h 3355086"/>
                <a:gd name="connsiteX1330" fmla="*/ 1885092 w 3359086"/>
                <a:gd name="connsiteY1330" fmla="*/ 3270885 h 3355086"/>
                <a:gd name="connsiteX1331" fmla="*/ 2201513 w 3359086"/>
                <a:gd name="connsiteY1331" fmla="*/ 3270695 h 3355086"/>
                <a:gd name="connsiteX1332" fmla="*/ 2202465 w 3359086"/>
                <a:gd name="connsiteY1332" fmla="*/ 3271648 h 3355086"/>
                <a:gd name="connsiteX1333" fmla="*/ 2201513 w 3359086"/>
                <a:gd name="connsiteY1333" fmla="*/ 3272600 h 3355086"/>
                <a:gd name="connsiteX1334" fmla="*/ 2200560 w 3359086"/>
                <a:gd name="connsiteY1334" fmla="*/ 3271648 h 3355086"/>
                <a:gd name="connsiteX1335" fmla="*/ 2201513 w 3359086"/>
                <a:gd name="connsiteY1335" fmla="*/ 3270695 h 3355086"/>
                <a:gd name="connsiteX1336" fmla="*/ 1400650 w 3359086"/>
                <a:gd name="connsiteY1336" fmla="*/ 3270219 h 3355086"/>
                <a:gd name="connsiteX1337" fmla="*/ 1406842 w 3359086"/>
                <a:gd name="connsiteY1337" fmla="*/ 3276410 h 3355086"/>
                <a:gd name="connsiteX1338" fmla="*/ 1400650 w 3359086"/>
                <a:gd name="connsiteY1338" fmla="*/ 3282601 h 3355086"/>
                <a:gd name="connsiteX1339" fmla="*/ 1394459 w 3359086"/>
                <a:gd name="connsiteY1339" fmla="*/ 3276410 h 3355086"/>
                <a:gd name="connsiteX1340" fmla="*/ 1400650 w 3359086"/>
                <a:gd name="connsiteY1340" fmla="*/ 3270219 h 3355086"/>
                <a:gd name="connsiteX1341" fmla="*/ 2157983 w 3359086"/>
                <a:gd name="connsiteY1341" fmla="*/ 3269742 h 3355086"/>
                <a:gd name="connsiteX1342" fmla="*/ 2164175 w 3359086"/>
                <a:gd name="connsiteY1342" fmla="*/ 3275933 h 3355086"/>
                <a:gd name="connsiteX1343" fmla="*/ 2157983 w 3359086"/>
                <a:gd name="connsiteY1343" fmla="*/ 3282125 h 3355086"/>
                <a:gd name="connsiteX1344" fmla="*/ 2151792 w 3359086"/>
                <a:gd name="connsiteY1344" fmla="*/ 3275933 h 3355086"/>
                <a:gd name="connsiteX1345" fmla="*/ 2157983 w 3359086"/>
                <a:gd name="connsiteY1345" fmla="*/ 3269742 h 3355086"/>
                <a:gd name="connsiteX1346" fmla="*/ 1501330 w 3359086"/>
                <a:gd name="connsiteY1346" fmla="*/ 3269742 h 3355086"/>
                <a:gd name="connsiteX1347" fmla="*/ 1507522 w 3359086"/>
                <a:gd name="connsiteY1347" fmla="*/ 3275933 h 3355086"/>
                <a:gd name="connsiteX1348" fmla="*/ 1501330 w 3359086"/>
                <a:gd name="connsiteY1348" fmla="*/ 3282125 h 3355086"/>
                <a:gd name="connsiteX1349" fmla="*/ 1495139 w 3359086"/>
                <a:gd name="connsiteY1349" fmla="*/ 3275933 h 3355086"/>
                <a:gd name="connsiteX1350" fmla="*/ 1501330 w 3359086"/>
                <a:gd name="connsiteY1350" fmla="*/ 3269742 h 3355086"/>
                <a:gd name="connsiteX1351" fmla="*/ 1651539 w 3359086"/>
                <a:gd name="connsiteY1351" fmla="*/ 3268599 h 3355086"/>
                <a:gd name="connsiteX1352" fmla="*/ 1657730 w 3359086"/>
                <a:gd name="connsiteY1352" fmla="*/ 3274790 h 3355086"/>
                <a:gd name="connsiteX1353" fmla="*/ 1651539 w 3359086"/>
                <a:gd name="connsiteY1353" fmla="*/ 3280982 h 3355086"/>
                <a:gd name="connsiteX1354" fmla="*/ 1645348 w 3359086"/>
                <a:gd name="connsiteY1354" fmla="*/ 3274790 h 3355086"/>
                <a:gd name="connsiteX1355" fmla="*/ 1651539 w 3359086"/>
                <a:gd name="connsiteY1355" fmla="*/ 3268599 h 3355086"/>
                <a:gd name="connsiteX1356" fmla="*/ 2023204 w 3359086"/>
                <a:gd name="connsiteY1356" fmla="*/ 3268313 h 3355086"/>
                <a:gd name="connsiteX1357" fmla="*/ 2029396 w 3359086"/>
                <a:gd name="connsiteY1357" fmla="*/ 3274504 h 3355086"/>
                <a:gd name="connsiteX1358" fmla="*/ 2023204 w 3359086"/>
                <a:gd name="connsiteY1358" fmla="*/ 3280696 h 3355086"/>
                <a:gd name="connsiteX1359" fmla="*/ 2017013 w 3359086"/>
                <a:gd name="connsiteY1359" fmla="*/ 3274504 h 3355086"/>
                <a:gd name="connsiteX1360" fmla="*/ 2023204 w 3359086"/>
                <a:gd name="connsiteY1360" fmla="*/ 3268313 h 3355086"/>
                <a:gd name="connsiteX1361" fmla="*/ 2009107 w 3359086"/>
                <a:gd name="connsiteY1361" fmla="*/ 3268313 h 3355086"/>
                <a:gd name="connsiteX1362" fmla="*/ 2015299 w 3359086"/>
                <a:gd name="connsiteY1362" fmla="*/ 3274504 h 3355086"/>
                <a:gd name="connsiteX1363" fmla="*/ 2009107 w 3359086"/>
                <a:gd name="connsiteY1363" fmla="*/ 3280696 h 3355086"/>
                <a:gd name="connsiteX1364" fmla="*/ 2002916 w 3359086"/>
                <a:gd name="connsiteY1364" fmla="*/ 3274504 h 3355086"/>
                <a:gd name="connsiteX1365" fmla="*/ 2009107 w 3359086"/>
                <a:gd name="connsiteY1365" fmla="*/ 3268313 h 3355086"/>
                <a:gd name="connsiteX1366" fmla="*/ 2036349 w 3359086"/>
                <a:gd name="connsiteY1366" fmla="*/ 3268123 h 3355086"/>
                <a:gd name="connsiteX1367" fmla="*/ 2042541 w 3359086"/>
                <a:gd name="connsiteY1367" fmla="*/ 3274314 h 3355086"/>
                <a:gd name="connsiteX1368" fmla="*/ 2036349 w 3359086"/>
                <a:gd name="connsiteY1368" fmla="*/ 3280505 h 3355086"/>
                <a:gd name="connsiteX1369" fmla="*/ 2030158 w 3359086"/>
                <a:gd name="connsiteY1369" fmla="*/ 3274314 h 3355086"/>
                <a:gd name="connsiteX1370" fmla="*/ 2036349 w 3359086"/>
                <a:gd name="connsiteY1370" fmla="*/ 3268123 h 3355086"/>
                <a:gd name="connsiteX1371" fmla="*/ 1714118 w 3359086"/>
                <a:gd name="connsiteY1371" fmla="*/ 3268123 h 3355086"/>
                <a:gd name="connsiteX1372" fmla="*/ 1720310 w 3359086"/>
                <a:gd name="connsiteY1372" fmla="*/ 3274314 h 3355086"/>
                <a:gd name="connsiteX1373" fmla="*/ 1714118 w 3359086"/>
                <a:gd name="connsiteY1373" fmla="*/ 3280505 h 3355086"/>
                <a:gd name="connsiteX1374" fmla="*/ 1707927 w 3359086"/>
                <a:gd name="connsiteY1374" fmla="*/ 3274314 h 3355086"/>
                <a:gd name="connsiteX1375" fmla="*/ 1714118 w 3359086"/>
                <a:gd name="connsiteY1375" fmla="*/ 3268123 h 3355086"/>
                <a:gd name="connsiteX1376" fmla="*/ 2048732 w 3359086"/>
                <a:gd name="connsiteY1376" fmla="*/ 3268028 h 3355086"/>
                <a:gd name="connsiteX1377" fmla="*/ 2054590 w 3359086"/>
                <a:gd name="connsiteY1377" fmla="*/ 3273885 h 3355086"/>
                <a:gd name="connsiteX1378" fmla="*/ 2060447 w 3359086"/>
                <a:gd name="connsiteY1378" fmla="*/ 3268028 h 3355086"/>
                <a:gd name="connsiteX1379" fmla="*/ 2066258 w 3359086"/>
                <a:gd name="connsiteY1379" fmla="*/ 3273838 h 3355086"/>
                <a:gd name="connsiteX1380" fmla="*/ 2071687 w 3359086"/>
                <a:gd name="connsiteY1380" fmla="*/ 3268409 h 3355086"/>
                <a:gd name="connsiteX1381" fmla="*/ 2077354 w 3359086"/>
                <a:gd name="connsiteY1381" fmla="*/ 3274077 h 3355086"/>
                <a:gd name="connsiteX1382" fmla="*/ 2082355 w 3359086"/>
                <a:gd name="connsiteY1382" fmla="*/ 3269076 h 3355086"/>
                <a:gd name="connsiteX1383" fmla="*/ 2088165 w 3359086"/>
                <a:gd name="connsiteY1383" fmla="*/ 3274886 h 3355086"/>
                <a:gd name="connsiteX1384" fmla="*/ 2092642 w 3359086"/>
                <a:gd name="connsiteY1384" fmla="*/ 3270409 h 3355086"/>
                <a:gd name="connsiteX1385" fmla="*/ 2098643 w 3359086"/>
                <a:gd name="connsiteY1385" fmla="*/ 3276409 h 3355086"/>
                <a:gd name="connsiteX1386" fmla="*/ 2102643 w 3359086"/>
                <a:gd name="connsiteY1386" fmla="*/ 3272409 h 3355086"/>
                <a:gd name="connsiteX1387" fmla="*/ 2108834 w 3359086"/>
                <a:gd name="connsiteY1387" fmla="*/ 3278600 h 3355086"/>
                <a:gd name="connsiteX1388" fmla="*/ 2102643 w 3359086"/>
                <a:gd name="connsiteY1388" fmla="*/ 3284792 h 3355086"/>
                <a:gd name="connsiteX1389" fmla="*/ 2096643 w 3359086"/>
                <a:gd name="connsiteY1389" fmla="*/ 3278791 h 3355086"/>
                <a:gd name="connsiteX1390" fmla="*/ 2092642 w 3359086"/>
                <a:gd name="connsiteY1390" fmla="*/ 3282792 h 3355086"/>
                <a:gd name="connsiteX1391" fmla="*/ 2086832 w 3359086"/>
                <a:gd name="connsiteY1391" fmla="*/ 3276982 h 3355086"/>
                <a:gd name="connsiteX1392" fmla="*/ 2082355 w 3359086"/>
                <a:gd name="connsiteY1392" fmla="*/ 3281458 h 3355086"/>
                <a:gd name="connsiteX1393" fmla="*/ 2076688 w 3359086"/>
                <a:gd name="connsiteY1393" fmla="*/ 3275791 h 3355086"/>
                <a:gd name="connsiteX1394" fmla="*/ 2071687 w 3359086"/>
                <a:gd name="connsiteY1394" fmla="*/ 3280791 h 3355086"/>
                <a:gd name="connsiteX1395" fmla="*/ 2065877 w 3359086"/>
                <a:gd name="connsiteY1395" fmla="*/ 3274981 h 3355086"/>
                <a:gd name="connsiteX1396" fmla="*/ 2060447 w 3359086"/>
                <a:gd name="connsiteY1396" fmla="*/ 3280411 h 3355086"/>
                <a:gd name="connsiteX1397" fmla="*/ 2054590 w 3359086"/>
                <a:gd name="connsiteY1397" fmla="*/ 3274553 h 3355086"/>
                <a:gd name="connsiteX1398" fmla="*/ 2048732 w 3359086"/>
                <a:gd name="connsiteY1398" fmla="*/ 3280411 h 3355086"/>
                <a:gd name="connsiteX1399" fmla="*/ 2042541 w 3359086"/>
                <a:gd name="connsiteY1399" fmla="*/ 3274219 h 3355086"/>
                <a:gd name="connsiteX1400" fmla="*/ 2048732 w 3359086"/>
                <a:gd name="connsiteY1400" fmla="*/ 3268028 h 3355086"/>
                <a:gd name="connsiteX1401" fmla="*/ 1994153 w 3359086"/>
                <a:gd name="connsiteY1401" fmla="*/ 3268028 h 3355086"/>
                <a:gd name="connsiteX1402" fmla="*/ 2000344 w 3359086"/>
                <a:gd name="connsiteY1402" fmla="*/ 3274219 h 3355086"/>
                <a:gd name="connsiteX1403" fmla="*/ 1994153 w 3359086"/>
                <a:gd name="connsiteY1403" fmla="*/ 3280411 h 3355086"/>
                <a:gd name="connsiteX1404" fmla="*/ 1987962 w 3359086"/>
                <a:gd name="connsiteY1404" fmla="*/ 3274219 h 3355086"/>
                <a:gd name="connsiteX1405" fmla="*/ 1994153 w 3359086"/>
                <a:gd name="connsiteY1405" fmla="*/ 3268028 h 3355086"/>
                <a:gd name="connsiteX1406" fmla="*/ 1420558 w 3359086"/>
                <a:gd name="connsiteY1406" fmla="*/ 3267456 h 3355086"/>
                <a:gd name="connsiteX1407" fmla="*/ 1426749 w 3359086"/>
                <a:gd name="connsiteY1407" fmla="*/ 3273647 h 3355086"/>
                <a:gd name="connsiteX1408" fmla="*/ 1420558 w 3359086"/>
                <a:gd name="connsiteY1408" fmla="*/ 3279838 h 3355086"/>
                <a:gd name="connsiteX1409" fmla="*/ 1414367 w 3359086"/>
                <a:gd name="connsiteY1409" fmla="*/ 3273647 h 3355086"/>
                <a:gd name="connsiteX1410" fmla="*/ 1420558 w 3359086"/>
                <a:gd name="connsiteY1410" fmla="*/ 3267456 h 3355086"/>
                <a:gd name="connsiteX1411" fmla="*/ 1977961 w 3359086"/>
                <a:gd name="connsiteY1411" fmla="*/ 3267171 h 3355086"/>
                <a:gd name="connsiteX1412" fmla="*/ 1984153 w 3359086"/>
                <a:gd name="connsiteY1412" fmla="*/ 3273362 h 3355086"/>
                <a:gd name="connsiteX1413" fmla="*/ 1977961 w 3359086"/>
                <a:gd name="connsiteY1413" fmla="*/ 3279553 h 3355086"/>
                <a:gd name="connsiteX1414" fmla="*/ 1971770 w 3359086"/>
                <a:gd name="connsiteY1414" fmla="*/ 3273362 h 3355086"/>
                <a:gd name="connsiteX1415" fmla="*/ 1977961 w 3359086"/>
                <a:gd name="connsiteY1415" fmla="*/ 3267171 h 3355086"/>
                <a:gd name="connsiteX1416" fmla="*/ 1589055 w 3359086"/>
                <a:gd name="connsiteY1416" fmla="*/ 3267075 h 3355086"/>
                <a:gd name="connsiteX1417" fmla="*/ 1595247 w 3359086"/>
                <a:gd name="connsiteY1417" fmla="*/ 3273266 h 3355086"/>
                <a:gd name="connsiteX1418" fmla="*/ 1589055 w 3359086"/>
                <a:gd name="connsiteY1418" fmla="*/ 3279458 h 3355086"/>
                <a:gd name="connsiteX1419" fmla="*/ 1582864 w 3359086"/>
                <a:gd name="connsiteY1419" fmla="*/ 3273266 h 3355086"/>
                <a:gd name="connsiteX1420" fmla="*/ 1589055 w 3359086"/>
                <a:gd name="connsiteY1420" fmla="*/ 3267075 h 3355086"/>
                <a:gd name="connsiteX1421" fmla="*/ 1862708 w 3359086"/>
                <a:gd name="connsiteY1421" fmla="*/ 3266599 h 3355086"/>
                <a:gd name="connsiteX1422" fmla="*/ 1868900 w 3359086"/>
                <a:gd name="connsiteY1422" fmla="*/ 3272790 h 3355086"/>
                <a:gd name="connsiteX1423" fmla="*/ 1862708 w 3359086"/>
                <a:gd name="connsiteY1423" fmla="*/ 3278981 h 3355086"/>
                <a:gd name="connsiteX1424" fmla="*/ 1856517 w 3359086"/>
                <a:gd name="connsiteY1424" fmla="*/ 3272790 h 3355086"/>
                <a:gd name="connsiteX1425" fmla="*/ 1862708 w 3359086"/>
                <a:gd name="connsiteY1425" fmla="*/ 3266599 h 3355086"/>
                <a:gd name="connsiteX1426" fmla="*/ 1960625 w 3359086"/>
                <a:gd name="connsiteY1426" fmla="*/ 3265551 h 3355086"/>
                <a:gd name="connsiteX1427" fmla="*/ 1966817 w 3359086"/>
                <a:gd name="connsiteY1427" fmla="*/ 3271742 h 3355086"/>
                <a:gd name="connsiteX1428" fmla="*/ 1960626 w 3359086"/>
                <a:gd name="connsiteY1428" fmla="*/ 3277934 h 3355086"/>
                <a:gd name="connsiteX1429" fmla="*/ 1966341 w 3359086"/>
                <a:gd name="connsiteY1429" fmla="*/ 3283648 h 3355086"/>
                <a:gd name="connsiteX1430" fmla="*/ 1961816 w 3359086"/>
                <a:gd name="connsiteY1430" fmla="*/ 3288173 h 3355086"/>
                <a:gd name="connsiteX1431" fmla="*/ 1965579 w 3359086"/>
                <a:gd name="connsiteY1431" fmla="*/ 3291935 h 3355086"/>
                <a:gd name="connsiteX1432" fmla="*/ 1961197 w 3359086"/>
                <a:gd name="connsiteY1432" fmla="*/ 3296317 h 3355086"/>
                <a:gd name="connsiteX1433" fmla="*/ 1965198 w 3359086"/>
                <a:gd name="connsiteY1433" fmla="*/ 3300317 h 3355086"/>
                <a:gd name="connsiteX1434" fmla="*/ 1959720 w 3359086"/>
                <a:gd name="connsiteY1434" fmla="*/ 3305795 h 3355086"/>
                <a:gd name="connsiteX1435" fmla="*/ 1965673 w 3359086"/>
                <a:gd name="connsiteY1435" fmla="*/ 3311747 h 3355086"/>
                <a:gd name="connsiteX1436" fmla="*/ 1959482 w 3359086"/>
                <a:gd name="connsiteY1436" fmla="*/ 3317938 h 3355086"/>
                <a:gd name="connsiteX1437" fmla="*/ 1953291 w 3359086"/>
                <a:gd name="connsiteY1437" fmla="*/ 3311747 h 3355086"/>
                <a:gd name="connsiteX1438" fmla="*/ 1958768 w 3359086"/>
                <a:gd name="connsiteY1438" fmla="*/ 3306271 h 3355086"/>
                <a:gd name="connsiteX1439" fmla="*/ 1952815 w 3359086"/>
                <a:gd name="connsiteY1439" fmla="*/ 3300317 h 3355086"/>
                <a:gd name="connsiteX1440" fmla="*/ 1957196 w 3359086"/>
                <a:gd name="connsiteY1440" fmla="*/ 3295936 h 3355086"/>
                <a:gd name="connsiteX1441" fmla="*/ 1953196 w 3359086"/>
                <a:gd name="connsiteY1441" fmla="*/ 3291935 h 3355086"/>
                <a:gd name="connsiteX1442" fmla="*/ 1957720 w 3359086"/>
                <a:gd name="connsiteY1442" fmla="*/ 3287411 h 3355086"/>
                <a:gd name="connsiteX1443" fmla="*/ 1953958 w 3359086"/>
                <a:gd name="connsiteY1443" fmla="*/ 3283648 h 3355086"/>
                <a:gd name="connsiteX1444" fmla="*/ 1960149 w 3359086"/>
                <a:gd name="connsiteY1444" fmla="*/ 3277458 h 3355086"/>
                <a:gd name="connsiteX1445" fmla="*/ 1954434 w 3359086"/>
                <a:gd name="connsiteY1445" fmla="*/ 3271742 h 3355086"/>
                <a:gd name="connsiteX1446" fmla="*/ 1960625 w 3359086"/>
                <a:gd name="connsiteY1446" fmla="*/ 3265551 h 3355086"/>
                <a:gd name="connsiteX1447" fmla="*/ 1776507 w 3359086"/>
                <a:gd name="connsiteY1447" fmla="*/ 3265456 h 3355086"/>
                <a:gd name="connsiteX1448" fmla="*/ 1782699 w 3359086"/>
                <a:gd name="connsiteY1448" fmla="*/ 3271647 h 3355086"/>
                <a:gd name="connsiteX1449" fmla="*/ 1776507 w 3359086"/>
                <a:gd name="connsiteY1449" fmla="*/ 3277838 h 3355086"/>
                <a:gd name="connsiteX1450" fmla="*/ 1770316 w 3359086"/>
                <a:gd name="connsiteY1450" fmla="*/ 3271647 h 3355086"/>
                <a:gd name="connsiteX1451" fmla="*/ 1776507 w 3359086"/>
                <a:gd name="connsiteY1451" fmla="*/ 3265456 h 3355086"/>
                <a:gd name="connsiteX1452" fmla="*/ 1300543 w 3359086"/>
                <a:gd name="connsiteY1452" fmla="*/ 3263646 h 3355086"/>
                <a:gd name="connsiteX1453" fmla="*/ 1306735 w 3359086"/>
                <a:gd name="connsiteY1453" fmla="*/ 3269837 h 3355086"/>
                <a:gd name="connsiteX1454" fmla="*/ 1300543 w 3359086"/>
                <a:gd name="connsiteY1454" fmla="*/ 3276028 h 3355086"/>
                <a:gd name="connsiteX1455" fmla="*/ 1294352 w 3359086"/>
                <a:gd name="connsiteY1455" fmla="*/ 3269837 h 3355086"/>
                <a:gd name="connsiteX1456" fmla="*/ 1300543 w 3359086"/>
                <a:gd name="connsiteY1456" fmla="*/ 3263646 h 3355086"/>
                <a:gd name="connsiteX1457" fmla="*/ 1526761 w 3359086"/>
                <a:gd name="connsiteY1457" fmla="*/ 3263551 h 3355086"/>
                <a:gd name="connsiteX1458" fmla="*/ 1532953 w 3359086"/>
                <a:gd name="connsiteY1458" fmla="*/ 3269742 h 3355086"/>
                <a:gd name="connsiteX1459" fmla="*/ 1526761 w 3359086"/>
                <a:gd name="connsiteY1459" fmla="*/ 3275934 h 3355086"/>
                <a:gd name="connsiteX1460" fmla="*/ 1520570 w 3359086"/>
                <a:gd name="connsiteY1460" fmla="*/ 3269742 h 3355086"/>
                <a:gd name="connsiteX1461" fmla="*/ 1526761 w 3359086"/>
                <a:gd name="connsiteY1461" fmla="*/ 3263551 h 3355086"/>
                <a:gd name="connsiteX1462" fmla="*/ 1287303 w 3359086"/>
                <a:gd name="connsiteY1462" fmla="*/ 3263551 h 3355086"/>
                <a:gd name="connsiteX1463" fmla="*/ 1293495 w 3359086"/>
                <a:gd name="connsiteY1463" fmla="*/ 3269742 h 3355086"/>
                <a:gd name="connsiteX1464" fmla="*/ 1287303 w 3359086"/>
                <a:gd name="connsiteY1464" fmla="*/ 3275934 h 3355086"/>
                <a:gd name="connsiteX1465" fmla="*/ 1281112 w 3359086"/>
                <a:gd name="connsiteY1465" fmla="*/ 3269742 h 3355086"/>
                <a:gd name="connsiteX1466" fmla="*/ 1287303 w 3359086"/>
                <a:gd name="connsiteY1466" fmla="*/ 3263551 h 3355086"/>
                <a:gd name="connsiteX1467" fmla="*/ 1441989 w 3359086"/>
                <a:gd name="connsiteY1467" fmla="*/ 3263361 h 3355086"/>
                <a:gd name="connsiteX1468" fmla="*/ 1448180 w 3359086"/>
                <a:gd name="connsiteY1468" fmla="*/ 3269552 h 3355086"/>
                <a:gd name="connsiteX1469" fmla="*/ 1441989 w 3359086"/>
                <a:gd name="connsiteY1469" fmla="*/ 3275743 h 3355086"/>
                <a:gd name="connsiteX1470" fmla="*/ 1435798 w 3359086"/>
                <a:gd name="connsiteY1470" fmla="*/ 3269552 h 3355086"/>
                <a:gd name="connsiteX1471" fmla="*/ 1441989 w 3359086"/>
                <a:gd name="connsiteY1471" fmla="*/ 3263361 h 3355086"/>
                <a:gd name="connsiteX1472" fmla="*/ 1314735 w 3359086"/>
                <a:gd name="connsiteY1472" fmla="*/ 3263361 h 3355086"/>
                <a:gd name="connsiteX1473" fmla="*/ 1320926 w 3359086"/>
                <a:gd name="connsiteY1473" fmla="*/ 3269552 h 3355086"/>
                <a:gd name="connsiteX1474" fmla="*/ 1314735 w 3359086"/>
                <a:gd name="connsiteY1474" fmla="*/ 3275743 h 3355086"/>
                <a:gd name="connsiteX1475" fmla="*/ 1308544 w 3359086"/>
                <a:gd name="connsiteY1475" fmla="*/ 3269552 h 3355086"/>
                <a:gd name="connsiteX1476" fmla="*/ 1314735 w 3359086"/>
                <a:gd name="connsiteY1476" fmla="*/ 3263361 h 3355086"/>
                <a:gd name="connsiteX1477" fmla="*/ 1941956 w 3359086"/>
                <a:gd name="connsiteY1477" fmla="*/ 3262979 h 3355086"/>
                <a:gd name="connsiteX1478" fmla="*/ 1948148 w 3359086"/>
                <a:gd name="connsiteY1478" fmla="*/ 3269170 h 3355086"/>
                <a:gd name="connsiteX1479" fmla="*/ 1941956 w 3359086"/>
                <a:gd name="connsiteY1479" fmla="*/ 3275361 h 3355086"/>
                <a:gd name="connsiteX1480" fmla="*/ 1935765 w 3359086"/>
                <a:gd name="connsiteY1480" fmla="*/ 3269170 h 3355086"/>
                <a:gd name="connsiteX1481" fmla="*/ 1941956 w 3359086"/>
                <a:gd name="connsiteY1481" fmla="*/ 3262979 h 3355086"/>
                <a:gd name="connsiteX1482" fmla="*/ 1329975 w 3359086"/>
                <a:gd name="connsiteY1482" fmla="*/ 3262598 h 3355086"/>
                <a:gd name="connsiteX1483" fmla="*/ 1336167 w 3359086"/>
                <a:gd name="connsiteY1483" fmla="*/ 3268789 h 3355086"/>
                <a:gd name="connsiteX1484" fmla="*/ 1329975 w 3359086"/>
                <a:gd name="connsiteY1484" fmla="*/ 3274981 h 3355086"/>
                <a:gd name="connsiteX1485" fmla="*/ 1323784 w 3359086"/>
                <a:gd name="connsiteY1485" fmla="*/ 3268789 h 3355086"/>
                <a:gd name="connsiteX1486" fmla="*/ 1329975 w 3359086"/>
                <a:gd name="connsiteY1486" fmla="*/ 3262598 h 3355086"/>
                <a:gd name="connsiteX1487" fmla="*/ 1346453 w 3359086"/>
                <a:gd name="connsiteY1487" fmla="*/ 3261170 h 3355086"/>
                <a:gd name="connsiteX1488" fmla="*/ 1352644 w 3359086"/>
                <a:gd name="connsiteY1488" fmla="*/ 3267361 h 3355086"/>
                <a:gd name="connsiteX1489" fmla="*/ 1346453 w 3359086"/>
                <a:gd name="connsiteY1489" fmla="*/ 3273553 h 3355086"/>
                <a:gd name="connsiteX1490" fmla="*/ 1340262 w 3359086"/>
                <a:gd name="connsiteY1490" fmla="*/ 3267361 h 3355086"/>
                <a:gd name="connsiteX1491" fmla="*/ 1346453 w 3359086"/>
                <a:gd name="connsiteY1491" fmla="*/ 3261170 h 3355086"/>
                <a:gd name="connsiteX1492" fmla="*/ 1838515 w 3359086"/>
                <a:gd name="connsiteY1492" fmla="*/ 3260694 h 3355086"/>
                <a:gd name="connsiteX1493" fmla="*/ 1844707 w 3359086"/>
                <a:gd name="connsiteY1493" fmla="*/ 3266885 h 3355086"/>
                <a:gd name="connsiteX1494" fmla="*/ 1838515 w 3359086"/>
                <a:gd name="connsiteY1494" fmla="*/ 3273076 h 3355086"/>
                <a:gd name="connsiteX1495" fmla="*/ 1832324 w 3359086"/>
                <a:gd name="connsiteY1495" fmla="*/ 3266885 h 3355086"/>
                <a:gd name="connsiteX1496" fmla="*/ 1838515 w 3359086"/>
                <a:gd name="connsiteY1496" fmla="*/ 3260694 h 3355086"/>
                <a:gd name="connsiteX1497" fmla="*/ 1921668 w 3359086"/>
                <a:gd name="connsiteY1497" fmla="*/ 3259265 h 3355086"/>
                <a:gd name="connsiteX1498" fmla="*/ 1927859 w 3359086"/>
                <a:gd name="connsiteY1498" fmla="*/ 3265456 h 3355086"/>
                <a:gd name="connsiteX1499" fmla="*/ 1921668 w 3359086"/>
                <a:gd name="connsiteY1499" fmla="*/ 3271647 h 3355086"/>
                <a:gd name="connsiteX1500" fmla="*/ 1915477 w 3359086"/>
                <a:gd name="connsiteY1500" fmla="*/ 3265456 h 3355086"/>
                <a:gd name="connsiteX1501" fmla="*/ 1921668 w 3359086"/>
                <a:gd name="connsiteY1501" fmla="*/ 3259265 h 3355086"/>
                <a:gd name="connsiteX1502" fmla="*/ 1246965 w 3359086"/>
                <a:gd name="connsiteY1502" fmla="*/ 3259217 h 3355086"/>
                <a:gd name="connsiteX1503" fmla="*/ 1241916 w 3359086"/>
                <a:gd name="connsiteY1503" fmla="*/ 3264266 h 3355086"/>
                <a:gd name="connsiteX1504" fmla="*/ 1246488 w 3359086"/>
                <a:gd name="connsiteY1504" fmla="*/ 3268838 h 3355086"/>
                <a:gd name="connsiteX1505" fmla="*/ 1251537 w 3359086"/>
                <a:gd name="connsiteY1505" fmla="*/ 3263789 h 3355086"/>
                <a:gd name="connsiteX1506" fmla="*/ 1364170 w 3359086"/>
                <a:gd name="connsiteY1506" fmla="*/ 3258788 h 3355086"/>
                <a:gd name="connsiteX1507" fmla="*/ 1370361 w 3359086"/>
                <a:gd name="connsiteY1507" fmla="*/ 3264979 h 3355086"/>
                <a:gd name="connsiteX1508" fmla="*/ 1364170 w 3359086"/>
                <a:gd name="connsiteY1508" fmla="*/ 3271171 h 3355086"/>
                <a:gd name="connsiteX1509" fmla="*/ 1357979 w 3359086"/>
                <a:gd name="connsiteY1509" fmla="*/ 3264979 h 3355086"/>
                <a:gd name="connsiteX1510" fmla="*/ 1364170 w 3359086"/>
                <a:gd name="connsiteY1510" fmla="*/ 3258788 h 3355086"/>
                <a:gd name="connsiteX1511" fmla="*/ 1683448 w 3359086"/>
                <a:gd name="connsiteY1511" fmla="*/ 3258598 h 3355086"/>
                <a:gd name="connsiteX1512" fmla="*/ 1689640 w 3359086"/>
                <a:gd name="connsiteY1512" fmla="*/ 3264789 h 3355086"/>
                <a:gd name="connsiteX1513" fmla="*/ 1683448 w 3359086"/>
                <a:gd name="connsiteY1513" fmla="*/ 3270980 h 3355086"/>
                <a:gd name="connsiteX1514" fmla="*/ 1677257 w 3359086"/>
                <a:gd name="connsiteY1514" fmla="*/ 3264789 h 3355086"/>
                <a:gd name="connsiteX1515" fmla="*/ 1683448 w 3359086"/>
                <a:gd name="connsiteY1515" fmla="*/ 3258598 h 3355086"/>
                <a:gd name="connsiteX1516" fmla="*/ 1618678 w 3359086"/>
                <a:gd name="connsiteY1516" fmla="*/ 3258122 h 3355086"/>
                <a:gd name="connsiteX1517" fmla="*/ 1624870 w 3359086"/>
                <a:gd name="connsiteY1517" fmla="*/ 3264313 h 3355086"/>
                <a:gd name="connsiteX1518" fmla="*/ 1618678 w 3359086"/>
                <a:gd name="connsiteY1518" fmla="*/ 3270505 h 3355086"/>
                <a:gd name="connsiteX1519" fmla="*/ 1612487 w 3359086"/>
                <a:gd name="connsiteY1519" fmla="*/ 3264313 h 3355086"/>
                <a:gd name="connsiteX1520" fmla="*/ 1618678 w 3359086"/>
                <a:gd name="connsiteY1520" fmla="*/ 3258122 h 3355086"/>
                <a:gd name="connsiteX1521" fmla="*/ 2057304 w 3359086"/>
                <a:gd name="connsiteY1521" fmla="*/ 3257931 h 3355086"/>
                <a:gd name="connsiteX1522" fmla="*/ 2063496 w 3359086"/>
                <a:gd name="connsiteY1522" fmla="*/ 3264122 h 3355086"/>
                <a:gd name="connsiteX1523" fmla="*/ 2057304 w 3359086"/>
                <a:gd name="connsiteY1523" fmla="*/ 3270313 h 3355086"/>
                <a:gd name="connsiteX1524" fmla="*/ 2051113 w 3359086"/>
                <a:gd name="connsiteY1524" fmla="*/ 3264122 h 3355086"/>
                <a:gd name="connsiteX1525" fmla="*/ 2057304 w 3359086"/>
                <a:gd name="connsiteY1525" fmla="*/ 3257931 h 3355086"/>
                <a:gd name="connsiteX1526" fmla="*/ 1465135 w 3359086"/>
                <a:gd name="connsiteY1526" fmla="*/ 3257836 h 3355086"/>
                <a:gd name="connsiteX1527" fmla="*/ 1471327 w 3359086"/>
                <a:gd name="connsiteY1527" fmla="*/ 3264027 h 3355086"/>
                <a:gd name="connsiteX1528" fmla="*/ 1465135 w 3359086"/>
                <a:gd name="connsiteY1528" fmla="*/ 3270219 h 3355086"/>
                <a:gd name="connsiteX1529" fmla="*/ 1458944 w 3359086"/>
                <a:gd name="connsiteY1529" fmla="*/ 3264027 h 3355086"/>
                <a:gd name="connsiteX1530" fmla="*/ 1465135 w 3359086"/>
                <a:gd name="connsiteY1530" fmla="*/ 3257836 h 3355086"/>
                <a:gd name="connsiteX1531" fmla="*/ 2044064 w 3359086"/>
                <a:gd name="connsiteY1531" fmla="*/ 3257646 h 3355086"/>
                <a:gd name="connsiteX1532" fmla="*/ 2050256 w 3359086"/>
                <a:gd name="connsiteY1532" fmla="*/ 3263837 h 3355086"/>
                <a:gd name="connsiteX1533" fmla="*/ 2044064 w 3359086"/>
                <a:gd name="connsiteY1533" fmla="*/ 3270028 h 3355086"/>
                <a:gd name="connsiteX1534" fmla="*/ 2037873 w 3359086"/>
                <a:gd name="connsiteY1534" fmla="*/ 3263837 h 3355086"/>
                <a:gd name="connsiteX1535" fmla="*/ 2044064 w 3359086"/>
                <a:gd name="connsiteY1535" fmla="*/ 3257646 h 3355086"/>
                <a:gd name="connsiteX1536" fmla="*/ 2029777 w 3359086"/>
                <a:gd name="connsiteY1536" fmla="*/ 3256979 h 3355086"/>
                <a:gd name="connsiteX1537" fmla="*/ 2035969 w 3359086"/>
                <a:gd name="connsiteY1537" fmla="*/ 3263170 h 3355086"/>
                <a:gd name="connsiteX1538" fmla="*/ 2029777 w 3359086"/>
                <a:gd name="connsiteY1538" fmla="*/ 3269362 h 3355086"/>
                <a:gd name="connsiteX1539" fmla="*/ 2023586 w 3359086"/>
                <a:gd name="connsiteY1539" fmla="*/ 3263170 h 3355086"/>
                <a:gd name="connsiteX1540" fmla="*/ 2029777 w 3359086"/>
                <a:gd name="connsiteY1540" fmla="*/ 3256979 h 3355086"/>
                <a:gd name="connsiteX1541" fmla="*/ 1748027 w 3359086"/>
                <a:gd name="connsiteY1541" fmla="*/ 3256979 h 3355086"/>
                <a:gd name="connsiteX1542" fmla="*/ 1754219 w 3359086"/>
                <a:gd name="connsiteY1542" fmla="*/ 3263170 h 3355086"/>
                <a:gd name="connsiteX1543" fmla="*/ 1748027 w 3359086"/>
                <a:gd name="connsiteY1543" fmla="*/ 3269362 h 3355086"/>
                <a:gd name="connsiteX1544" fmla="*/ 1741836 w 3359086"/>
                <a:gd name="connsiteY1544" fmla="*/ 3263170 h 3355086"/>
                <a:gd name="connsiteX1545" fmla="*/ 1748027 w 3359086"/>
                <a:gd name="connsiteY1545" fmla="*/ 3256979 h 3355086"/>
                <a:gd name="connsiteX1546" fmla="*/ 2014441 w 3359086"/>
                <a:gd name="connsiteY1546" fmla="*/ 3255645 h 3355086"/>
                <a:gd name="connsiteX1547" fmla="*/ 2020633 w 3359086"/>
                <a:gd name="connsiteY1547" fmla="*/ 3261836 h 3355086"/>
                <a:gd name="connsiteX1548" fmla="*/ 2014441 w 3359086"/>
                <a:gd name="connsiteY1548" fmla="*/ 3268027 h 3355086"/>
                <a:gd name="connsiteX1549" fmla="*/ 2008250 w 3359086"/>
                <a:gd name="connsiteY1549" fmla="*/ 3261836 h 3355086"/>
                <a:gd name="connsiteX1550" fmla="*/ 2014441 w 3359086"/>
                <a:gd name="connsiteY1550" fmla="*/ 3255645 h 3355086"/>
                <a:gd name="connsiteX1551" fmla="*/ 1554194 w 3359086"/>
                <a:gd name="connsiteY1551" fmla="*/ 3255455 h 3355086"/>
                <a:gd name="connsiteX1552" fmla="*/ 1560386 w 3359086"/>
                <a:gd name="connsiteY1552" fmla="*/ 3261646 h 3355086"/>
                <a:gd name="connsiteX1553" fmla="*/ 1554194 w 3359086"/>
                <a:gd name="connsiteY1553" fmla="*/ 3267838 h 3355086"/>
                <a:gd name="connsiteX1554" fmla="*/ 1548003 w 3359086"/>
                <a:gd name="connsiteY1554" fmla="*/ 3261646 h 3355086"/>
                <a:gd name="connsiteX1555" fmla="*/ 1554194 w 3359086"/>
                <a:gd name="connsiteY1555" fmla="*/ 3255455 h 3355086"/>
                <a:gd name="connsiteX1556" fmla="*/ 1383410 w 3359086"/>
                <a:gd name="connsiteY1556" fmla="*/ 3255264 h 3355086"/>
                <a:gd name="connsiteX1557" fmla="*/ 1389602 w 3359086"/>
                <a:gd name="connsiteY1557" fmla="*/ 3261455 h 3355086"/>
                <a:gd name="connsiteX1558" fmla="*/ 1383410 w 3359086"/>
                <a:gd name="connsiteY1558" fmla="*/ 3267646 h 3355086"/>
                <a:gd name="connsiteX1559" fmla="*/ 1377219 w 3359086"/>
                <a:gd name="connsiteY1559" fmla="*/ 3261455 h 3355086"/>
                <a:gd name="connsiteX1560" fmla="*/ 1383410 w 3359086"/>
                <a:gd name="connsiteY1560" fmla="*/ 3255264 h 3355086"/>
                <a:gd name="connsiteX1561" fmla="*/ 1899761 w 3359086"/>
                <a:gd name="connsiteY1561" fmla="*/ 3254026 h 3355086"/>
                <a:gd name="connsiteX1562" fmla="*/ 1905953 w 3359086"/>
                <a:gd name="connsiteY1562" fmla="*/ 3260217 h 3355086"/>
                <a:gd name="connsiteX1563" fmla="*/ 1899761 w 3359086"/>
                <a:gd name="connsiteY1563" fmla="*/ 3266409 h 3355086"/>
                <a:gd name="connsiteX1564" fmla="*/ 1893570 w 3359086"/>
                <a:gd name="connsiteY1564" fmla="*/ 3260217 h 3355086"/>
                <a:gd name="connsiteX1565" fmla="*/ 1899761 w 3359086"/>
                <a:gd name="connsiteY1565" fmla="*/ 3254026 h 3355086"/>
                <a:gd name="connsiteX1566" fmla="*/ 1997773 w 3359086"/>
                <a:gd name="connsiteY1566" fmla="*/ 3253454 h 3355086"/>
                <a:gd name="connsiteX1567" fmla="*/ 2003965 w 3359086"/>
                <a:gd name="connsiteY1567" fmla="*/ 3259645 h 3355086"/>
                <a:gd name="connsiteX1568" fmla="*/ 1997773 w 3359086"/>
                <a:gd name="connsiteY1568" fmla="*/ 3265836 h 3355086"/>
                <a:gd name="connsiteX1569" fmla="*/ 1991582 w 3359086"/>
                <a:gd name="connsiteY1569" fmla="*/ 3259645 h 3355086"/>
                <a:gd name="connsiteX1570" fmla="*/ 1997773 w 3359086"/>
                <a:gd name="connsiteY1570" fmla="*/ 3253454 h 3355086"/>
                <a:gd name="connsiteX1571" fmla="*/ 1812416 w 3359086"/>
                <a:gd name="connsiteY1571" fmla="*/ 3253073 h 3355086"/>
                <a:gd name="connsiteX1572" fmla="*/ 1818607 w 3359086"/>
                <a:gd name="connsiteY1572" fmla="*/ 3259264 h 3355086"/>
                <a:gd name="connsiteX1573" fmla="*/ 1812416 w 3359086"/>
                <a:gd name="connsiteY1573" fmla="*/ 3265456 h 3355086"/>
                <a:gd name="connsiteX1574" fmla="*/ 1806225 w 3359086"/>
                <a:gd name="connsiteY1574" fmla="*/ 3259264 h 3355086"/>
                <a:gd name="connsiteX1575" fmla="*/ 1812416 w 3359086"/>
                <a:gd name="connsiteY1575" fmla="*/ 3253073 h 3355086"/>
                <a:gd name="connsiteX1576" fmla="*/ 1130141 w 3359086"/>
                <a:gd name="connsiteY1576" fmla="*/ 3252788 h 3355086"/>
                <a:gd name="connsiteX1577" fmla="*/ 1134999 w 3359086"/>
                <a:gd name="connsiteY1577" fmla="*/ 3257646 h 3355086"/>
                <a:gd name="connsiteX1578" fmla="*/ 1130141 w 3359086"/>
                <a:gd name="connsiteY1578" fmla="*/ 3262504 h 3355086"/>
                <a:gd name="connsiteX1579" fmla="*/ 1125283 w 3359086"/>
                <a:gd name="connsiteY1579" fmla="*/ 3257646 h 3355086"/>
                <a:gd name="connsiteX1580" fmla="*/ 1130141 w 3359086"/>
                <a:gd name="connsiteY1580" fmla="*/ 3252788 h 3355086"/>
                <a:gd name="connsiteX1581" fmla="*/ 1265300 w 3359086"/>
                <a:gd name="connsiteY1581" fmla="*/ 3252502 h 3355086"/>
                <a:gd name="connsiteX1582" fmla="*/ 1271492 w 3359086"/>
                <a:gd name="connsiteY1582" fmla="*/ 3258693 h 3355086"/>
                <a:gd name="connsiteX1583" fmla="*/ 1265300 w 3359086"/>
                <a:gd name="connsiteY1583" fmla="*/ 3264885 h 3355086"/>
                <a:gd name="connsiteX1584" fmla="*/ 1259109 w 3359086"/>
                <a:gd name="connsiteY1584" fmla="*/ 3258693 h 3355086"/>
                <a:gd name="connsiteX1585" fmla="*/ 1265300 w 3359086"/>
                <a:gd name="connsiteY1585" fmla="*/ 3252502 h 3355086"/>
                <a:gd name="connsiteX1586" fmla="*/ 1220057 w 3359086"/>
                <a:gd name="connsiteY1586" fmla="*/ 3252502 h 3355086"/>
                <a:gd name="connsiteX1587" fmla="*/ 1225201 w 3359086"/>
                <a:gd name="connsiteY1587" fmla="*/ 3257645 h 3355086"/>
                <a:gd name="connsiteX1588" fmla="*/ 1230344 w 3359086"/>
                <a:gd name="connsiteY1588" fmla="*/ 3252502 h 3355086"/>
                <a:gd name="connsiteX1589" fmla="*/ 1235821 w 3359086"/>
                <a:gd name="connsiteY1589" fmla="*/ 3257978 h 3355086"/>
                <a:gd name="connsiteX1590" fmla="*/ 1241202 w 3359086"/>
                <a:gd name="connsiteY1590" fmla="*/ 3252597 h 3355086"/>
                <a:gd name="connsiteX1591" fmla="*/ 1247061 w 3359086"/>
                <a:gd name="connsiteY1591" fmla="*/ 3258455 h 3355086"/>
                <a:gd name="connsiteX1592" fmla="*/ 1252823 w 3359086"/>
                <a:gd name="connsiteY1592" fmla="*/ 3252693 h 3355086"/>
                <a:gd name="connsiteX1593" fmla="*/ 1259014 w 3359086"/>
                <a:gd name="connsiteY1593" fmla="*/ 3258884 h 3355086"/>
                <a:gd name="connsiteX1594" fmla="*/ 1253251 w 3359086"/>
                <a:gd name="connsiteY1594" fmla="*/ 3264647 h 3355086"/>
                <a:gd name="connsiteX1595" fmla="*/ 1257490 w 3359086"/>
                <a:gd name="connsiteY1595" fmla="*/ 3268885 h 3355086"/>
                <a:gd name="connsiteX1596" fmla="*/ 1263110 w 3359086"/>
                <a:gd name="connsiteY1596" fmla="*/ 3263265 h 3355086"/>
                <a:gd name="connsiteX1597" fmla="*/ 1269063 w 3359086"/>
                <a:gd name="connsiteY1597" fmla="*/ 3269218 h 3355086"/>
                <a:gd name="connsiteX1598" fmla="*/ 1274825 w 3359086"/>
                <a:gd name="connsiteY1598" fmla="*/ 3263456 h 3355086"/>
                <a:gd name="connsiteX1599" fmla="*/ 1281017 w 3359086"/>
                <a:gd name="connsiteY1599" fmla="*/ 3269647 h 3355086"/>
                <a:gd name="connsiteX1600" fmla="*/ 1274825 w 3359086"/>
                <a:gd name="connsiteY1600" fmla="*/ 3275839 h 3355086"/>
                <a:gd name="connsiteX1601" fmla="*/ 1268872 w 3359086"/>
                <a:gd name="connsiteY1601" fmla="*/ 3269885 h 3355086"/>
                <a:gd name="connsiteX1602" fmla="*/ 1263110 w 3359086"/>
                <a:gd name="connsiteY1602" fmla="*/ 3275648 h 3355086"/>
                <a:gd name="connsiteX1603" fmla="*/ 1257586 w 3359086"/>
                <a:gd name="connsiteY1603" fmla="*/ 3270123 h 3355086"/>
                <a:gd name="connsiteX1604" fmla="*/ 1251965 w 3359086"/>
                <a:gd name="connsiteY1604" fmla="*/ 3275743 h 3355086"/>
                <a:gd name="connsiteX1605" fmla="*/ 1246869 w 3359086"/>
                <a:gd name="connsiteY1605" fmla="*/ 3270648 h 3355086"/>
                <a:gd name="connsiteX1606" fmla="*/ 1241392 w 3359086"/>
                <a:gd name="connsiteY1606" fmla="*/ 3276124 h 3355086"/>
                <a:gd name="connsiteX1607" fmla="*/ 1236773 w 3359086"/>
                <a:gd name="connsiteY1607" fmla="*/ 3271505 h 3355086"/>
                <a:gd name="connsiteX1608" fmla="*/ 1231296 w 3359086"/>
                <a:gd name="connsiteY1608" fmla="*/ 3276981 h 3355086"/>
                <a:gd name="connsiteX1609" fmla="*/ 1227106 w 3359086"/>
                <a:gd name="connsiteY1609" fmla="*/ 3272791 h 3355086"/>
                <a:gd name="connsiteX1610" fmla="*/ 1221485 w 3359086"/>
                <a:gd name="connsiteY1610" fmla="*/ 3278410 h 3355086"/>
                <a:gd name="connsiteX1611" fmla="*/ 1217675 w 3359086"/>
                <a:gd name="connsiteY1611" fmla="*/ 3274600 h 3355086"/>
                <a:gd name="connsiteX1612" fmla="*/ 1211865 w 3359086"/>
                <a:gd name="connsiteY1612" fmla="*/ 3280411 h 3355086"/>
                <a:gd name="connsiteX1613" fmla="*/ 1208626 w 3359086"/>
                <a:gd name="connsiteY1613" fmla="*/ 3277172 h 3355086"/>
                <a:gd name="connsiteX1614" fmla="*/ 1202530 w 3359086"/>
                <a:gd name="connsiteY1614" fmla="*/ 3283267 h 3355086"/>
                <a:gd name="connsiteX1615" fmla="*/ 1196339 w 3359086"/>
                <a:gd name="connsiteY1615" fmla="*/ 3277076 h 3355086"/>
                <a:gd name="connsiteX1616" fmla="*/ 1202530 w 3359086"/>
                <a:gd name="connsiteY1616" fmla="*/ 3270885 h 3355086"/>
                <a:gd name="connsiteX1617" fmla="*/ 1205769 w 3359086"/>
                <a:gd name="connsiteY1617" fmla="*/ 3274124 h 3355086"/>
                <a:gd name="connsiteX1618" fmla="*/ 1211865 w 3359086"/>
                <a:gd name="connsiteY1618" fmla="*/ 3268028 h 3355086"/>
                <a:gd name="connsiteX1619" fmla="*/ 1215675 w 3359086"/>
                <a:gd name="connsiteY1619" fmla="*/ 3271838 h 3355086"/>
                <a:gd name="connsiteX1620" fmla="*/ 1221485 w 3359086"/>
                <a:gd name="connsiteY1620" fmla="*/ 3266028 h 3355086"/>
                <a:gd name="connsiteX1621" fmla="*/ 1225676 w 3359086"/>
                <a:gd name="connsiteY1621" fmla="*/ 3270219 h 3355086"/>
                <a:gd name="connsiteX1622" fmla="*/ 1231296 w 3359086"/>
                <a:gd name="connsiteY1622" fmla="*/ 3264599 h 3355086"/>
                <a:gd name="connsiteX1623" fmla="*/ 1235916 w 3359086"/>
                <a:gd name="connsiteY1623" fmla="*/ 3269218 h 3355086"/>
                <a:gd name="connsiteX1624" fmla="*/ 1240679 w 3359086"/>
                <a:gd name="connsiteY1624" fmla="*/ 3264456 h 3355086"/>
                <a:gd name="connsiteX1625" fmla="*/ 1235726 w 3359086"/>
                <a:gd name="connsiteY1625" fmla="*/ 3259503 h 3355086"/>
                <a:gd name="connsiteX1626" fmla="*/ 1230344 w 3359086"/>
                <a:gd name="connsiteY1626" fmla="*/ 3264885 h 3355086"/>
                <a:gd name="connsiteX1627" fmla="*/ 1225201 w 3359086"/>
                <a:gd name="connsiteY1627" fmla="*/ 3259741 h 3355086"/>
                <a:gd name="connsiteX1628" fmla="*/ 1220057 w 3359086"/>
                <a:gd name="connsiteY1628" fmla="*/ 3264885 h 3355086"/>
                <a:gd name="connsiteX1629" fmla="*/ 1215247 w 3359086"/>
                <a:gd name="connsiteY1629" fmla="*/ 3260074 h 3355086"/>
                <a:gd name="connsiteX1630" fmla="*/ 1210246 w 3359086"/>
                <a:gd name="connsiteY1630" fmla="*/ 3265075 h 3355086"/>
                <a:gd name="connsiteX1631" fmla="*/ 1205817 w 3359086"/>
                <a:gd name="connsiteY1631" fmla="*/ 3260646 h 3355086"/>
                <a:gd name="connsiteX1632" fmla="*/ 1200816 w 3359086"/>
                <a:gd name="connsiteY1632" fmla="*/ 3265646 h 3355086"/>
                <a:gd name="connsiteX1633" fmla="*/ 1196864 w 3359086"/>
                <a:gd name="connsiteY1633" fmla="*/ 3261694 h 3355086"/>
                <a:gd name="connsiteX1634" fmla="*/ 1191863 w 3359086"/>
                <a:gd name="connsiteY1634" fmla="*/ 3266695 h 3355086"/>
                <a:gd name="connsiteX1635" fmla="*/ 1188291 w 3359086"/>
                <a:gd name="connsiteY1635" fmla="*/ 3263122 h 3355086"/>
                <a:gd name="connsiteX1636" fmla="*/ 1183099 w 3359086"/>
                <a:gd name="connsiteY1636" fmla="*/ 3268313 h 3355086"/>
                <a:gd name="connsiteX1637" fmla="*/ 1179956 w 3359086"/>
                <a:gd name="connsiteY1637" fmla="*/ 3265170 h 3355086"/>
                <a:gd name="connsiteX1638" fmla="*/ 1174432 w 3359086"/>
                <a:gd name="connsiteY1638" fmla="*/ 3270694 h 3355086"/>
                <a:gd name="connsiteX1639" fmla="*/ 1171766 w 3359086"/>
                <a:gd name="connsiteY1639" fmla="*/ 3268028 h 3355086"/>
                <a:gd name="connsiteX1640" fmla="*/ 1166050 w 3359086"/>
                <a:gd name="connsiteY1640" fmla="*/ 3273742 h 3355086"/>
                <a:gd name="connsiteX1641" fmla="*/ 1159859 w 3359086"/>
                <a:gd name="connsiteY1641" fmla="*/ 3267551 h 3355086"/>
                <a:gd name="connsiteX1642" fmla="*/ 1166050 w 3359086"/>
                <a:gd name="connsiteY1642" fmla="*/ 3261360 h 3355086"/>
                <a:gd name="connsiteX1643" fmla="*/ 1168717 w 3359086"/>
                <a:gd name="connsiteY1643" fmla="*/ 3264027 h 3355086"/>
                <a:gd name="connsiteX1644" fmla="*/ 1174432 w 3359086"/>
                <a:gd name="connsiteY1644" fmla="*/ 3258312 h 3355086"/>
                <a:gd name="connsiteX1645" fmla="*/ 1177575 w 3359086"/>
                <a:gd name="connsiteY1645" fmla="*/ 3261455 h 3355086"/>
                <a:gd name="connsiteX1646" fmla="*/ 1183099 w 3359086"/>
                <a:gd name="connsiteY1646" fmla="*/ 3255931 h 3355086"/>
                <a:gd name="connsiteX1647" fmla="*/ 1186672 w 3359086"/>
                <a:gd name="connsiteY1647" fmla="*/ 3259503 h 3355086"/>
                <a:gd name="connsiteX1648" fmla="*/ 1191863 w 3359086"/>
                <a:gd name="connsiteY1648" fmla="*/ 3254312 h 3355086"/>
                <a:gd name="connsiteX1649" fmla="*/ 1195816 w 3359086"/>
                <a:gd name="connsiteY1649" fmla="*/ 3258265 h 3355086"/>
                <a:gd name="connsiteX1650" fmla="*/ 1200816 w 3359086"/>
                <a:gd name="connsiteY1650" fmla="*/ 3253264 h 3355086"/>
                <a:gd name="connsiteX1651" fmla="*/ 1205246 w 3359086"/>
                <a:gd name="connsiteY1651" fmla="*/ 3257693 h 3355086"/>
                <a:gd name="connsiteX1652" fmla="*/ 1210246 w 3359086"/>
                <a:gd name="connsiteY1652" fmla="*/ 3252693 h 3355086"/>
                <a:gd name="connsiteX1653" fmla="*/ 1215056 w 3359086"/>
                <a:gd name="connsiteY1653" fmla="*/ 3257503 h 3355086"/>
                <a:gd name="connsiteX1654" fmla="*/ 1278731 w 3359086"/>
                <a:gd name="connsiteY1654" fmla="*/ 3251835 h 3355086"/>
                <a:gd name="connsiteX1655" fmla="*/ 1284922 w 3359086"/>
                <a:gd name="connsiteY1655" fmla="*/ 3258026 h 3355086"/>
                <a:gd name="connsiteX1656" fmla="*/ 1278731 w 3359086"/>
                <a:gd name="connsiteY1656" fmla="*/ 3264217 h 3355086"/>
                <a:gd name="connsiteX1657" fmla="*/ 1272540 w 3359086"/>
                <a:gd name="connsiteY1657" fmla="*/ 3258026 h 3355086"/>
                <a:gd name="connsiteX1658" fmla="*/ 1278731 w 3359086"/>
                <a:gd name="connsiteY1658" fmla="*/ 3251835 h 3355086"/>
                <a:gd name="connsiteX1659" fmla="*/ 1490090 w 3359086"/>
                <a:gd name="connsiteY1659" fmla="*/ 3250597 h 3355086"/>
                <a:gd name="connsiteX1660" fmla="*/ 1496282 w 3359086"/>
                <a:gd name="connsiteY1660" fmla="*/ 3256788 h 3355086"/>
                <a:gd name="connsiteX1661" fmla="*/ 1490090 w 3359086"/>
                <a:gd name="connsiteY1661" fmla="*/ 3262979 h 3355086"/>
                <a:gd name="connsiteX1662" fmla="*/ 1483899 w 3359086"/>
                <a:gd name="connsiteY1662" fmla="*/ 3256788 h 3355086"/>
                <a:gd name="connsiteX1663" fmla="*/ 1490090 w 3359086"/>
                <a:gd name="connsiteY1663" fmla="*/ 3250597 h 3355086"/>
                <a:gd name="connsiteX1664" fmla="*/ 1293113 w 3359086"/>
                <a:gd name="connsiteY1664" fmla="*/ 3250597 h 3355086"/>
                <a:gd name="connsiteX1665" fmla="*/ 1299305 w 3359086"/>
                <a:gd name="connsiteY1665" fmla="*/ 3256788 h 3355086"/>
                <a:gd name="connsiteX1666" fmla="*/ 1293113 w 3359086"/>
                <a:gd name="connsiteY1666" fmla="*/ 3262979 h 3355086"/>
                <a:gd name="connsiteX1667" fmla="*/ 1286922 w 3359086"/>
                <a:gd name="connsiteY1667" fmla="*/ 3256788 h 3355086"/>
                <a:gd name="connsiteX1668" fmla="*/ 1293113 w 3359086"/>
                <a:gd name="connsiteY1668" fmla="*/ 3250597 h 3355086"/>
                <a:gd name="connsiteX1669" fmla="*/ 1404175 w 3359086"/>
                <a:gd name="connsiteY1669" fmla="*/ 3250216 h 3355086"/>
                <a:gd name="connsiteX1670" fmla="*/ 1410367 w 3359086"/>
                <a:gd name="connsiteY1670" fmla="*/ 3256407 h 3355086"/>
                <a:gd name="connsiteX1671" fmla="*/ 1404175 w 3359086"/>
                <a:gd name="connsiteY1671" fmla="*/ 3262598 h 3355086"/>
                <a:gd name="connsiteX1672" fmla="*/ 1397984 w 3359086"/>
                <a:gd name="connsiteY1672" fmla="*/ 3256407 h 3355086"/>
                <a:gd name="connsiteX1673" fmla="*/ 1404175 w 3359086"/>
                <a:gd name="connsiteY1673" fmla="*/ 3250216 h 3355086"/>
                <a:gd name="connsiteX1674" fmla="*/ 1979770 w 3359086"/>
                <a:gd name="connsiteY1674" fmla="*/ 3250121 h 3355086"/>
                <a:gd name="connsiteX1675" fmla="*/ 1985962 w 3359086"/>
                <a:gd name="connsiteY1675" fmla="*/ 3256312 h 3355086"/>
                <a:gd name="connsiteX1676" fmla="*/ 1979770 w 3359086"/>
                <a:gd name="connsiteY1676" fmla="*/ 3262504 h 3355086"/>
                <a:gd name="connsiteX1677" fmla="*/ 1973579 w 3359086"/>
                <a:gd name="connsiteY1677" fmla="*/ 3256312 h 3355086"/>
                <a:gd name="connsiteX1678" fmla="*/ 1979770 w 3359086"/>
                <a:gd name="connsiteY1678" fmla="*/ 3250121 h 3355086"/>
                <a:gd name="connsiteX1679" fmla="*/ 1308829 w 3359086"/>
                <a:gd name="connsiteY1679" fmla="*/ 3248406 h 3355086"/>
                <a:gd name="connsiteX1680" fmla="*/ 1315021 w 3359086"/>
                <a:gd name="connsiteY1680" fmla="*/ 3254597 h 3355086"/>
                <a:gd name="connsiteX1681" fmla="*/ 1308829 w 3359086"/>
                <a:gd name="connsiteY1681" fmla="*/ 3260788 h 3355086"/>
                <a:gd name="connsiteX1682" fmla="*/ 1302638 w 3359086"/>
                <a:gd name="connsiteY1682" fmla="*/ 3254597 h 3355086"/>
                <a:gd name="connsiteX1683" fmla="*/ 1308829 w 3359086"/>
                <a:gd name="connsiteY1683" fmla="*/ 3248406 h 3355086"/>
                <a:gd name="connsiteX1684" fmla="*/ 1876139 w 3359086"/>
                <a:gd name="connsiteY1684" fmla="*/ 3247073 h 3355086"/>
                <a:gd name="connsiteX1685" fmla="*/ 1882330 w 3359086"/>
                <a:gd name="connsiteY1685" fmla="*/ 3253264 h 3355086"/>
                <a:gd name="connsiteX1686" fmla="*/ 1876139 w 3359086"/>
                <a:gd name="connsiteY1686" fmla="*/ 3259455 h 3355086"/>
                <a:gd name="connsiteX1687" fmla="*/ 1869948 w 3359086"/>
                <a:gd name="connsiteY1687" fmla="*/ 3253264 h 3355086"/>
                <a:gd name="connsiteX1688" fmla="*/ 1876139 w 3359086"/>
                <a:gd name="connsiteY1688" fmla="*/ 3247073 h 3355086"/>
                <a:gd name="connsiteX1689" fmla="*/ 1650491 w 3359086"/>
                <a:gd name="connsiteY1689" fmla="*/ 3246882 h 3355086"/>
                <a:gd name="connsiteX1690" fmla="*/ 1656682 w 3359086"/>
                <a:gd name="connsiteY1690" fmla="*/ 3253073 h 3355086"/>
                <a:gd name="connsiteX1691" fmla="*/ 1650491 w 3359086"/>
                <a:gd name="connsiteY1691" fmla="*/ 3259265 h 3355086"/>
                <a:gd name="connsiteX1692" fmla="*/ 1644300 w 3359086"/>
                <a:gd name="connsiteY1692" fmla="*/ 3253073 h 3355086"/>
                <a:gd name="connsiteX1693" fmla="*/ 1650491 w 3359086"/>
                <a:gd name="connsiteY1693" fmla="*/ 3246882 h 3355086"/>
                <a:gd name="connsiteX1694" fmla="*/ 1717452 w 3359086"/>
                <a:gd name="connsiteY1694" fmla="*/ 3246215 h 3355086"/>
                <a:gd name="connsiteX1695" fmla="*/ 1723644 w 3359086"/>
                <a:gd name="connsiteY1695" fmla="*/ 3252406 h 3355086"/>
                <a:gd name="connsiteX1696" fmla="*/ 1717452 w 3359086"/>
                <a:gd name="connsiteY1696" fmla="*/ 3258598 h 3355086"/>
                <a:gd name="connsiteX1697" fmla="*/ 1711261 w 3359086"/>
                <a:gd name="connsiteY1697" fmla="*/ 3252406 h 3355086"/>
                <a:gd name="connsiteX1698" fmla="*/ 1717452 w 3359086"/>
                <a:gd name="connsiteY1698" fmla="*/ 3246215 h 3355086"/>
                <a:gd name="connsiteX1699" fmla="*/ 2092928 w 3359086"/>
                <a:gd name="connsiteY1699" fmla="*/ 3246120 h 3355086"/>
                <a:gd name="connsiteX1700" fmla="*/ 2098786 w 3359086"/>
                <a:gd name="connsiteY1700" fmla="*/ 3251978 h 3355086"/>
                <a:gd name="connsiteX1701" fmla="*/ 2104453 w 3359086"/>
                <a:gd name="connsiteY1701" fmla="*/ 3246311 h 3355086"/>
                <a:gd name="connsiteX1702" fmla="*/ 2109835 w 3359086"/>
                <a:gd name="connsiteY1702" fmla="*/ 3251692 h 3355086"/>
                <a:gd name="connsiteX1703" fmla="*/ 2115216 w 3359086"/>
                <a:gd name="connsiteY1703" fmla="*/ 3246311 h 3355086"/>
                <a:gd name="connsiteX1704" fmla="*/ 2120216 w 3359086"/>
                <a:gd name="connsiteY1704" fmla="*/ 3251311 h 3355086"/>
                <a:gd name="connsiteX1705" fmla="*/ 2125312 w 3359086"/>
                <a:gd name="connsiteY1705" fmla="*/ 3246215 h 3355086"/>
                <a:gd name="connsiteX1706" fmla="*/ 2130123 w 3359086"/>
                <a:gd name="connsiteY1706" fmla="*/ 3251025 h 3355086"/>
                <a:gd name="connsiteX1707" fmla="*/ 2134837 w 3359086"/>
                <a:gd name="connsiteY1707" fmla="*/ 3246311 h 3355086"/>
                <a:gd name="connsiteX1708" fmla="*/ 2139552 w 3359086"/>
                <a:gd name="connsiteY1708" fmla="*/ 3251026 h 3355086"/>
                <a:gd name="connsiteX1709" fmla="*/ 2143982 w 3359086"/>
                <a:gd name="connsiteY1709" fmla="*/ 3246596 h 3355086"/>
                <a:gd name="connsiteX1710" fmla="*/ 2148697 w 3359086"/>
                <a:gd name="connsiteY1710" fmla="*/ 3251311 h 3355086"/>
                <a:gd name="connsiteX1711" fmla="*/ 2152649 w 3359086"/>
                <a:gd name="connsiteY1711" fmla="*/ 3247359 h 3355086"/>
                <a:gd name="connsiteX1712" fmla="*/ 2157460 w 3359086"/>
                <a:gd name="connsiteY1712" fmla="*/ 3252170 h 3355086"/>
                <a:gd name="connsiteX1713" fmla="*/ 2161127 w 3359086"/>
                <a:gd name="connsiteY1713" fmla="*/ 3248502 h 3355086"/>
                <a:gd name="connsiteX1714" fmla="*/ 2166175 w 3359086"/>
                <a:gd name="connsiteY1714" fmla="*/ 3253550 h 3355086"/>
                <a:gd name="connsiteX1715" fmla="*/ 2169413 w 3359086"/>
                <a:gd name="connsiteY1715" fmla="*/ 3250311 h 3355086"/>
                <a:gd name="connsiteX1716" fmla="*/ 2174700 w 3359086"/>
                <a:gd name="connsiteY1716" fmla="*/ 3255597 h 3355086"/>
                <a:gd name="connsiteX1717" fmla="*/ 2177414 w 3359086"/>
                <a:gd name="connsiteY1717" fmla="*/ 3252883 h 3355086"/>
                <a:gd name="connsiteX1718" fmla="*/ 2183130 w 3359086"/>
                <a:gd name="connsiteY1718" fmla="*/ 3258598 h 3355086"/>
                <a:gd name="connsiteX1719" fmla="*/ 2185511 w 3359086"/>
                <a:gd name="connsiteY1719" fmla="*/ 3256217 h 3355086"/>
                <a:gd name="connsiteX1720" fmla="*/ 2191559 w 3359086"/>
                <a:gd name="connsiteY1720" fmla="*/ 3262265 h 3355086"/>
                <a:gd name="connsiteX1721" fmla="*/ 2193416 w 3359086"/>
                <a:gd name="connsiteY1721" fmla="*/ 3260408 h 3355086"/>
                <a:gd name="connsiteX1722" fmla="*/ 2199607 w 3359086"/>
                <a:gd name="connsiteY1722" fmla="*/ 3266599 h 3355086"/>
                <a:gd name="connsiteX1723" fmla="*/ 2193416 w 3359086"/>
                <a:gd name="connsiteY1723" fmla="*/ 3272790 h 3355086"/>
                <a:gd name="connsiteX1724" fmla="*/ 2187368 w 3359086"/>
                <a:gd name="connsiteY1724" fmla="*/ 3266742 h 3355086"/>
                <a:gd name="connsiteX1725" fmla="*/ 2185511 w 3359086"/>
                <a:gd name="connsiteY1725" fmla="*/ 3268599 h 3355086"/>
                <a:gd name="connsiteX1726" fmla="*/ 2179796 w 3359086"/>
                <a:gd name="connsiteY1726" fmla="*/ 3262884 h 3355086"/>
                <a:gd name="connsiteX1727" fmla="*/ 2177414 w 3359086"/>
                <a:gd name="connsiteY1727" fmla="*/ 3265265 h 3355086"/>
                <a:gd name="connsiteX1728" fmla="*/ 2172128 w 3359086"/>
                <a:gd name="connsiteY1728" fmla="*/ 3259979 h 3355086"/>
                <a:gd name="connsiteX1729" fmla="*/ 2169413 w 3359086"/>
                <a:gd name="connsiteY1729" fmla="*/ 3262693 h 3355086"/>
                <a:gd name="connsiteX1730" fmla="*/ 2164365 w 3359086"/>
                <a:gd name="connsiteY1730" fmla="*/ 3257646 h 3355086"/>
                <a:gd name="connsiteX1731" fmla="*/ 2161127 w 3359086"/>
                <a:gd name="connsiteY1731" fmla="*/ 3260884 h 3355086"/>
                <a:gd name="connsiteX1732" fmla="*/ 2156317 w 3359086"/>
                <a:gd name="connsiteY1732" fmla="*/ 3256074 h 3355086"/>
                <a:gd name="connsiteX1733" fmla="*/ 2152649 w 3359086"/>
                <a:gd name="connsiteY1733" fmla="*/ 3259741 h 3355086"/>
                <a:gd name="connsiteX1734" fmla="*/ 2147934 w 3359086"/>
                <a:gd name="connsiteY1734" fmla="*/ 3255027 h 3355086"/>
                <a:gd name="connsiteX1735" fmla="*/ 2143982 w 3359086"/>
                <a:gd name="connsiteY1735" fmla="*/ 3258979 h 3355086"/>
                <a:gd name="connsiteX1736" fmla="*/ 2139267 w 3359086"/>
                <a:gd name="connsiteY1736" fmla="*/ 3254264 h 3355086"/>
                <a:gd name="connsiteX1737" fmla="*/ 2134837 w 3359086"/>
                <a:gd name="connsiteY1737" fmla="*/ 3258693 h 3355086"/>
                <a:gd name="connsiteX1738" fmla="*/ 2130027 w 3359086"/>
                <a:gd name="connsiteY1738" fmla="*/ 3253883 h 3355086"/>
                <a:gd name="connsiteX1739" fmla="*/ 2125312 w 3359086"/>
                <a:gd name="connsiteY1739" fmla="*/ 3258598 h 3355086"/>
                <a:gd name="connsiteX1740" fmla="*/ 2120312 w 3359086"/>
                <a:gd name="connsiteY1740" fmla="*/ 3253598 h 3355086"/>
                <a:gd name="connsiteX1741" fmla="*/ 2115216 w 3359086"/>
                <a:gd name="connsiteY1741" fmla="*/ 3258693 h 3355086"/>
                <a:gd name="connsiteX1742" fmla="*/ 2109835 w 3359086"/>
                <a:gd name="connsiteY1742" fmla="*/ 3253312 h 3355086"/>
                <a:gd name="connsiteX1743" fmla="*/ 2104453 w 3359086"/>
                <a:gd name="connsiteY1743" fmla="*/ 3258693 h 3355086"/>
                <a:gd name="connsiteX1744" fmla="*/ 2098595 w 3359086"/>
                <a:gd name="connsiteY1744" fmla="*/ 3252836 h 3355086"/>
                <a:gd name="connsiteX1745" fmla="*/ 2093023 w 3359086"/>
                <a:gd name="connsiteY1745" fmla="*/ 3258408 h 3355086"/>
                <a:gd name="connsiteX1746" fmla="*/ 2097500 w 3359086"/>
                <a:gd name="connsiteY1746" fmla="*/ 3262884 h 3355086"/>
                <a:gd name="connsiteX1747" fmla="*/ 2102643 w 3359086"/>
                <a:gd name="connsiteY1747" fmla="*/ 3257741 h 3355086"/>
                <a:gd name="connsiteX1748" fmla="*/ 2107834 w 3359086"/>
                <a:gd name="connsiteY1748" fmla="*/ 3262932 h 3355086"/>
                <a:gd name="connsiteX1749" fmla="*/ 2112549 w 3359086"/>
                <a:gd name="connsiteY1749" fmla="*/ 3258217 h 3355086"/>
                <a:gd name="connsiteX1750" fmla="*/ 2117788 w 3359086"/>
                <a:gd name="connsiteY1750" fmla="*/ 3263456 h 3355086"/>
                <a:gd name="connsiteX1751" fmla="*/ 2122074 w 3359086"/>
                <a:gd name="connsiteY1751" fmla="*/ 3259170 h 3355086"/>
                <a:gd name="connsiteX1752" fmla="*/ 2127503 w 3359086"/>
                <a:gd name="connsiteY1752" fmla="*/ 3264599 h 3355086"/>
                <a:gd name="connsiteX1753" fmla="*/ 2131408 w 3359086"/>
                <a:gd name="connsiteY1753" fmla="*/ 3260694 h 3355086"/>
                <a:gd name="connsiteX1754" fmla="*/ 2136980 w 3359086"/>
                <a:gd name="connsiteY1754" fmla="*/ 3266266 h 3355086"/>
                <a:gd name="connsiteX1755" fmla="*/ 2140362 w 3359086"/>
                <a:gd name="connsiteY1755" fmla="*/ 3262884 h 3355086"/>
                <a:gd name="connsiteX1756" fmla="*/ 2146315 w 3359086"/>
                <a:gd name="connsiteY1756" fmla="*/ 3268837 h 3355086"/>
                <a:gd name="connsiteX1757" fmla="*/ 2149220 w 3359086"/>
                <a:gd name="connsiteY1757" fmla="*/ 3265932 h 3355086"/>
                <a:gd name="connsiteX1758" fmla="*/ 2155411 w 3359086"/>
                <a:gd name="connsiteY1758" fmla="*/ 3272123 h 3355086"/>
                <a:gd name="connsiteX1759" fmla="*/ 2149220 w 3359086"/>
                <a:gd name="connsiteY1759" fmla="*/ 3278315 h 3355086"/>
                <a:gd name="connsiteX1760" fmla="*/ 2143267 w 3359086"/>
                <a:gd name="connsiteY1760" fmla="*/ 3272362 h 3355086"/>
                <a:gd name="connsiteX1761" fmla="*/ 2140362 w 3359086"/>
                <a:gd name="connsiteY1761" fmla="*/ 3275267 h 3355086"/>
                <a:gd name="connsiteX1762" fmla="*/ 2134790 w 3359086"/>
                <a:gd name="connsiteY1762" fmla="*/ 3269695 h 3355086"/>
                <a:gd name="connsiteX1763" fmla="*/ 2131408 w 3359086"/>
                <a:gd name="connsiteY1763" fmla="*/ 3273076 h 3355086"/>
                <a:gd name="connsiteX1764" fmla="*/ 2125979 w 3359086"/>
                <a:gd name="connsiteY1764" fmla="*/ 3267648 h 3355086"/>
                <a:gd name="connsiteX1765" fmla="*/ 2122074 w 3359086"/>
                <a:gd name="connsiteY1765" fmla="*/ 3271552 h 3355086"/>
                <a:gd name="connsiteX1766" fmla="*/ 2116835 w 3359086"/>
                <a:gd name="connsiteY1766" fmla="*/ 3266314 h 3355086"/>
                <a:gd name="connsiteX1767" fmla="*/ 2112549 w 3359086"/>
                <a:gd name="connsiteY1767" fmla="*/ 3270599 h 3355086"/>
                <a:gd name="connsiteX1768" fmla="*/ 2107358 w 3359086"/>
                <a:gd name="connsiteY1768" fmla="*/ 3265408 h 3355086"/>
                <a:gd name="connsiteX1769" fmla="*/ 2102643 w 3359086"/>
                <a:gd name="connsiteY1769" fmla="*/ 3270123 h 3355086"/>
                <a:gd name="connsiteX1770" fmla="*/ 2097405 w 3359086"/>
                <a:gd name="connsiteY1770" fmla="*/ 3264885 h 3355086"/>
                <a:gd name="connsiteX1771" fmla="*/ 2092261 w 3359086"/>
                <a:gd name="connsiteY1771" fmla="*/ 3270028 h 3355086"/>
                <a:gd name="connsiteX1772" fmla="*/ 2086832 w 3359086"/>
                <a:gd name="connsiteY1772" fmla="*/ 3264599 h 3355086"/>
                <a:gd name="connsiteX1773" fmla="*/ 2081307 w 3359086"/>
                <a:gd name="connsiteY1773" fmla="*/ 3270123 h 3355086"/>
                <a:gd name="connsiteX1774" fmla="*/ 2075544 w 3359086"/>
                <a:gd name="connsiteY1774" fmla="*/ 3264361 h 3355086"/>
                <a:gd name="connsiteX1775" fmla="*/ 2069686 w 3359086"/>
                <a:gd name="connsiteY1775" fmla="*/ 3270219 h 3355086"/>
                <a:gd name="connsiteX1776" fmla="*/ 2063495 w 3359086"/>
                <a:gd name="connsiteY1776" fmla="*/ 3264027 h 3355086"/>
                <a:gd name="connsiteX1777" fmla="*/ 2069686 w 3359086"/>
                <a:gd name="connsiteY1777" fmla="*/ 3257836 h 3355086"/>
                <a:gd name="connsiteX1778" fmla="*/ 2075449 w 3359086"/>
                <a:gd name="connsiteY1778" fmla="*/ 3263599 h 3355086"/>
                <a:gd name="connsiteX1779" fmla="*/ 2081307 w 3359086"/>
                <a:gd name="connsiteY1779" fmla="*/ 3257741 h 3355086"/>
                <a:gd name="connsiteX1780" fmla="*/ 2086737 w 3359086"/>
                <a:gd name="connsiteY1780" fmla="*/ 3263170 h 3355086"/>
                <a:gd name="connsiteX1781" fmla="*/ 2092166 w 3359086"/>
                <a:gd name="connsiteY1781" fmla="*/ 3257741 h 3355086"/>
                <a:gd name="connsiteX1782" fmla="*/ 2086737 w 3359086"/>
                <a:gd name="connsiteY1782" fmla="*/ 3252311 h 3355086"/>
                <a:gd name="connsiteX1783" fmla="*/ 2092928 w 3359086"/>
                <a:gd name="connsiteY1783" fmla="*/ 3246120 h 3355086"/>
                <a:gd name="connsiteX1784" fmla="*/ 2080450 w 3359086"/>
                <a:gd name="connsiteY1784" fmla="*/ 3245454 h 3355086"/>
                <a:gd name="connsiteX1785" fmla="*/ 2086642 w 3359086"/>
                <a:gd name="connsiteY1785" fmla="*/ 3251645 h 3355086"/>
                <a:gd name="connsiteX1786" fmla="*/ 2080450 w 3359086"/>
                <a:gd name="connsiteY1786" fmla="*/ 3257836 h 3355086"/>
                <a:gd name="connsiteX1787" fmla="*/ 2074259 w 3359086"/>
                <a:gd name="connsiteY1787" fmla="*/ 3251645 h 3355086"/>
                <a:gd name="connsiteX1788" fmla="*/ 2080450 w 3359086"/>
                <a:gd name="connsiteY1788" fmla="*/ 3245454 h 3355086"/>
                <a:gd name="connsiteX1789" fmla="*/ 1960244 w 3359086"/>
                <a:gd name="connsiteY1789" fmla="*/ 3245358 h 3355086"/>
                <a:gd name="connsiteX1790" fmla="*/ 1966436 w 3359086"/>
                <a:gd name="connsiteY1790" fmla="*/ 3251549 h 3355086"/>
                <a:gd name="connsiteX1791" fmla="*/ 1960244 w 3359086"/>
                <a:gd name="connsiteY1791" fmla="*/ 3257741 h 3355086"/>
                <a:gd name="connsiteX1792" fmla="*/ 1954053 w 3359086"/>
                <a:gd name="connsiteY1792" fmla="*/ 3251549 h 3355086"/>
                <a:gd name="connsiteX1793" fmla="*/ 1960244 w 3359086"/>
                <a:gd name="connsiteY1793" fmla="*/ 3245358 h 3355086"/>
                <a:gd name="connsiteX1794" fmla="*/ 1583626 w 3359086"/>
                <a:gd name="connsiteY1794" fmla="*/ 3245168 h 3355086"/>
                <a:gd name="connsiteX1795" fmla="*/ 1589818 w 3359086"/>
                <a:gd name="connsiteY1795" fmla="*/ 3251359 h 3355086"/>
                <a:gd name="connsiteX1796" fmla="*/ 1583626 w 3359086"/>
                <a:gd name="connsiteY1796" fmla="*/ 3257550 h 3355086"/>
                <a:gd name="connsiteX1797" fmla="*/ 1577435 w 3359086"/>
                <a:gd name="connsiteY1797" fmla="*/ 3251359 h 3355086"/>
                <a:gd name="connsiteX1798" fmla="*/ 1583626 w 3359086"/>
                <a:gd name="connsiteY1798" fmla="*/ 3245168 h 3355086"/>
                <a:gd name="connsiteX1799" fmla="*/ 1325784 w 3359086"/>
                <a:gd name="connsiteY1799" fmla="*/ 3245168 h 3355086"/>
                <a:gd name="connsiteX1800" fmla="*/ 1331975 w 3359086"/>
                <a:gd name="connsiteY1800" fmla="*/ 3251359 h 3355086"/>
                <a:gd name="connsiteX1801" fmla="*/ 1325784 w 3359086"/>
                <a:gd name="connsiteY1801" fmla="*/ 3257550 h 3355086"/>
                <a:gd name="connsiteX1802" fmla="*/ 1319593 w 3359086"/>
                <a:gd name="connsiteY1802" fmla="*/ 3251359 h 3355086"/>
                <a:gd name="connsiteX1803" fmla="*/ 1325784 w 3359086"/>
                <a:gd name="connsiteY1803" fmla="*/ 3245168 h 3355086"/>
                <a:gd name="connsiteX1804" fmla="*/ 1094803 w 3359086"/>
                <a:gd name="connsiteY1804" fmla="*/ 3244977 h 3355086"/>
                <a:gd name="connsiteX1805" fmla="*/ 1097089 w 3359086"/>
                <a:gd name="connsiteY1805" fmla="*/ 3247263 h 3355086"/>
                <a:gd name="connsiteX1806" fmla="*/ 1094803 w 3359086"/>
                <a:gd name="connsiteY1806" fmla="*/ 3249549 h 3355086"/>
                <a:gd name="connsiteX1807" fmla="*/ 1092517 w 3359086"/>
                <a:gd name="connsiteY1807" fmla="*/ 3247263 h 3355086"/>
                <a:gd name="connsiteX1808" fmla="*/ 1094803 w 3359086"/>
                <a:gd name="connsiteY1808" fmla="*/ 3244977 h 3355086"/>
                <a:gd name="connsiteX1809" fmla="*/ 2067115 w 3359086"/>
                <a:gd name="connsiteY1809" fmla="*/ 3244311 h 3355086"/>
                <a:gd name="connsiteX1810" fmla="*/ 2073307 w 3359086"/>
                <a:gd name="connsiteY1810" fmla="*/ 3250502 h 3355086"/>
                <a:gd name="connsiteX1811" fmla="*/ 2067115 w 3359086"/>
                <a:gd name="connsiteY1811" fmla="*/ 3256693 h 3355086"/>
                <a:gd name="connsiteX1812" fmla="*/ 2060924 w 3359086"/>
                <a:gd name="connsiteY1812" fmla="*/ 3250502 h 3355086"/>
                <a:gd name="connsiteX1813" fmla="*/ 2067115 w 3359086"/>
                <a:gd name="connsiteY1813" fmla="*/ 3244311 h 3355086"/>
                <a:gd name="connsiteX1814" fmla="*/ 1426749 w 3359086"/>
                <a:gd name="connsiteY1814" fmla="*/ 3243644 h 3355086"/>
                <a:gd name="connsiteX1815" fmla="*/ 1432941 w 3359086"/>
                <a:gd name="connsiteY1815" fmla="*/ 3249835 h 3355086"/>
                <a:gd name="connsiteX1816" fmla="*/ 1426749 w 3359086"/>
                <a:gd name="connsiteY1816" fmla="*/ 3256026 h 3355086"/>
                <a:gd name="connsiteX1817" fmla="*/ 1420558 w 3359086"/>
                <a:gd name="connsiteY1817" fmla="*/ 3249835 h 3355086"/>
                <a:gd name="connsiteX1818" fmla="*/ 1426749 w 3359086"/>
                <a:gd name="connsiteY1818" fmla="*/ 3243644 h 3355086"/>
                <a:gd name="connsiteX1819" fmla="*/ 1784222 w 3359086"/>
                <a:gd name="connsiteY1819" fmla="*/ 3243358 h 3355086"/>
                <a:gd name="connsiteX1820" fmla="*/ 1790414 w 3359086"/>
                <a:gd name="connsiteY1820" fmla="*/ 3249549 h 3355086"/>
                <a:gd name="connsiteX1821" fmla="*/ 1784222 w 3359086"/>
                <a:gd name="connsiteY1821" fmla="*/ 3255740 h 3355086"/>
                <a:gd name="connsiteX1822" fmla="*/ 1778031 w 3359086"/>
                <a:gd name="connsiteY1822" fmla="*/ 3249549 h 3355086"/>
                <a:gd name="connsiteX1823" fmla="*/ 1784222 w 3359086"/>
                <a:gd name="connsiteY1823" fmla="*/ 3243358 h 3355086"/>
                <a:gd name="connsiteX1824" fmla="*/ 2262568 w 3359086"/>
                <a:gd name="connsiteY1824" fmla="*/ 3242405 h 3355086"/>
                <a:gd name="connsiteX1825" fmla="*/ 2266759 w 3359086"/>
                <a:gd name="connsiteY1825" fmla="*/ 3246596 h 3355086"/>
                <a:gd name="connsiteX1826" fmla="*/ 2262568 w 3359086"/>
                <a:gd name="connsiteY1826" fmla="*/ 3250787 h 3355086"/>
                <a:gd name="connsiteX1827" fmla="*/ 2258377 w 3359086"/>
                <a:gd name="connsiteY1827" fmla="*/ 3246596 h 3355086"/>
                <a:gd name="connsiteX1828" fmla="*/ 2262568 w 3359086"/>
                <a:gd name="connsiteY1828" fmla="*/ 3242405 h 3355086"/>
                <a:gd name="connsiteX1829" fmla="*/ 2052541 w 3359086"/>
                <a:gd name="connsiteY1829" fmla="*/ 3242310 h 3355086"/>
                <a:gd name="connsiteX1830" fmla="*/ 2058733 w 3359086"/>
                <a:gd name="connsiteY1830" fmla="*/ 3248501 h 3355086"/>
                <a:gd name="connsiteX1831" fmla="*/ 2052541 w 3359086"/>
                <a:gd name="connsiteY1831" fmla="*/ 3254692 h 3355086"/>
                <a:gd name="connsiteX1832" fmla="*/ 2046350 w 3359086"/>
                <a:gd name="connsiteY1832" fmla="*/ 3248501 h 3355086"/>
                <a:gd name="connsiteX1833" fmla="*/ 2052541 w 3359086"/>
                <a:gd name="connsiteY1833" fmla="*/ 3242310 h 3355086"/>
                <a:gd name="connsiteX1834" fmla="*/ 1517046 w 3359086"/>
                <a:gd name="connsiteY1834" fmla="*/ 3241167 h 3355086"/>
                <a:gd name="connsiteX1835" fmla="*/ 1523238 w 3359086"/>
                <a:gd name="connsiteY1835" fmla="*/ 3247358 h 3355086"/>
                <a:gd name="connsiteX1836" fmla="*/ 1517046 w 3359086"/>
                <a:gd name="connsiteY1836" fmla="*/ 3253550 h 3355086"/>
                <a:gd name="connsiteX1837" fmla="*/ 1510855 w 3359086"/>
                <a:gd name="connsiteY1837" fmla="*/ 3247358 h 3355086"/>
                <a:gd name="connsiteX1838" fmla="*/ 1517046 w 3359086"/>
                <a:gd name="connsiteY1838" fmla="*/ 3241167 h 3355086"/>
                <a:gd name="connsiteX1839" fmla="*/ 1344262 w 3359086"/>
                <a:gd name="connsiteY1839" fmla="*/ 3240691 h 3355086"/>
                <a:gd name="connsiteX1840" fmla="*/ 1350454 w 3359086"/>
                <a:gd name="connsiteY1840" fmla="*/ 3246882 h 3355086"/>
                <a:gd name="connsiteX1841" fmla="*/ 1344262 w 3359086"/>
                <a:gd name="connsiteY1841" fmla="*/ 3253073 h 3355086"/>
                <a:gd name="connsiteX1842" fmla="*/ 1338071 w 3359086"/>
                <a:gd name="connsiteY1842" fmla="*/ 3246882 h 3355086"/>
                <a:gd name="connsiteX1843" fmla="*/ 1344262 w 3359086"/>
                <a:gd name="connsiteY1843" fmla="*/ 3240691 h 3355086"/>
                <a:gd name="connsiteX1844" fmla="*/ 1228534 w 3359086"/>
                <a:gd name="connsiteY1844" fmla="*/ 3239643 h 3355086"/>
                <a:gd name="connsiteX1845" fmla="*/ 1234726 w 3359086"/>
                <a:gd name="connsiteY1845" fmla="*/ 3245834 h 3355086"/>
                <a:gd name="connsiteX1846" fmla="*/ 1228534 w 3359086"/>
                <a:gd name="connsiteY1846" fmla="*/ 3252026 h 3355086"/>
                <a:gd name="connsiteX1847" fmla="*/ 1223057 w 3359086"/>
                <a:gd name="connsiteY1847" fmla="*/ 3246549 h 3355086"/>
                <a:gd name="connsiteX1848" fmla="*/ 1216913 w 3359086"/>
                <a:gd name="connsiteY1848" fmla="*/ 3252693 h 3355086"/>
                <a:gd name="connsiteX1849" fmla="*/ 1211675 w 3359086"/>
                <a:gd name="connsiteY1849" fmla="*/ 3247454 h 3355086"/>
                <a:gd name="connsiteX1850" fmla="*/ 1206245 w 3359086"/>
                <a:gd name="connsiteY1850" fmla="*/ 3252883 h 3355086"/>
                <a:gd name="connsiteX1851" fmla="*/ 1201245 w 3359086"/>
                <a:gd name="connsiteY1851" fmla="*/ 3247883 h 3355086"/>
                <a:gd name="connsiteX1852" fmla="*/ 1196149 w 3359086"/>
                <a:gd name="connsiteY1852" fmla="*/ 3252979 h 3355086"/>
                <a:gd name="connsiteX1853" fmla="*/ 1191434 w 3359086"/>
                <a:gd name="connsiteY1853" fmla="*/ 3248263 h 3355086"/>
                <a:gd name="connsiteX1854" fmla="*/ 1186719 w 3359086"/>
                <a:gd name="connsiteY1854" fmla="*/ 3252979 h 3355086"/>
                <a:gd name="connsiteX1855" fmla="*/ 1182385 w 3359086"/>
                <a:gd name="connsiteY1855" fmla="*/ 3248644 h 3355086"/>
                <a:gd name="connsiteX1856" fmla="*/ 1177861 w 3359086"/>
                <a:gd name="connsiteY1856" fmla="*/ 3253168 h 3355086"/>
                <a:gd name="connsiteX1857" fmla="*/ 1173766 w 3359086"/>
                <a:gd name="connsiteY1857" fmla="*/ 3249073 h 3355086"/>
                <a:gd name="connsiteX1858" fmla="*/ 1169288 w 3359086"/>
                <a:gd name="connsiteY1858" fmla="*/ 3253550 h 3355086"/>
                <a:gd name="connsiteX1859" fmla="*/ 1165621 w 3359086"/>
                <a:gd name="connsiteY1859" fmla="*/ 3249883 h 3355086"/>
                <a:gd name="connsiteX1860" fmla="*/ 1161097 w 3359086"/>
                <a:gd name="connsiteY1860" fmla="*/ 3254407 h 3355086"/>
                <a:gd name="connsiteX1861" fmla="*/ 1157811 w 3359086"/>
                <a:gd name="connsiteY1861" fmla="*/ 3251121 h 3355086"/>
                <a:gd name="connsiteX1862" fmla="*/ 1153191 w 3359086"/>
                <a:gd name="connsiteY1862" fmla="*/ 3255740 h 3355086"/>
                <a:gd name="connsiteX1863" fmla="*/ 1150286 w 3359086"/>
                <a:gd name="connsiteY1863" fmla="*/ 3252835 h 3355086"/>
                <a:gd name="connsiteX1864" fmla="*/ 1145380 w 3359086"/>
                <a:gd name="connsiteY1864" fmla="*/ 3257741 h 3355086"/>
                <a:gd name="connsiteX1865" fmla="*/ 1142904 w 3359086"/>
                <a:gd name="connsiteY1865" fmla="*/ 3255265 h 3355086"/>
                <a:gd name="connsiteX1866" fmla="*/ 1137761 w 3359086"/>
                <a:gd name="connsiteY1866" fmla="*/ 3260408 h 3355086"/>
                <a:gd name="connsiteX1867" fmla="*/ 1131570 w 3359086"/>
                <a:gd name="connsiteY1867" fmla="*/ 3254216 h 3355086"/>
                <a:gd name="connsiteX1868" fmla="*/ 1137761 w 3359086"/>
                <a:gd name="connsiteY1868" fmla="*/ 3248025 h 3355086"/>
                <a:gd name="connsiteX1869" fmla="*/ 1140237 w 3359086"/>
                <a:gd name="connsiteY1869" fmla="*/ 3250501 h 3355086"/>
                <a:gd name="connsiteX1870" fmla="*/ 1145380 w 3359086"/>
                <a:gd name="connsiteY1870" fmla="*/ 3245358 h 3355086"/>
                <a:gd name="connsiteX1871" fmla="*/ 1148286 w 3359086"/>
                <a:gd name="connsiteY1871" fmla="*/ 3248264 h 3355086"/>
                <a:gd name="connsiteX1872" fmla="*/ 1153191 w 3359086"/>
                <a:gd name="connsiteY1872" fmla="*/ 3243358 h 3355086"/>
                <a:gd name="connsiteX1873" fmla="*/ 1156477 w 3359086"/>
                <a:gd name="connsiteY1873" fmla="*/ 3246644 h 3355086"/>
                <a:gd name="connsiteX1874" fmla="*/ 1161097 w 3359086"/>
                <a:gd name="connsiteY1874" fmla="*/ 3242024 h 3355086"/>
                <a:gd name="connsiteX1875" fmla="*/ 1164764 w 3359086"/>
                <a:gd name="connsiteY1875" fmla="*/ 3245691 h 3355086"/>
                <a:gd name="connsiteX1876" fmla="*/ 1169288 w 3359086"/>
                <a:gd name="connsiteY1876" fmla="*/ 3241167 h 3355086"/>
                <a:gd name="connsiteX1877" fmla="*/ 1173384 w 3359086"/>
                <a:gd name="connsiteY1877" fmla="*/ 3245263 h 3355086"/>
                <a:gd name="connsiteX1878" fmla="*/ 1177861 w 3359086"/>
                <a:gd name="connsiteY1878" fmla="*/ 3240786 h 3355086"/>
                <a:gd name="connsiteX1879" fmla="*/ 1182195 w 3359086"/>
                <a:gd name="connsiteY1879" fmla="*/ 3245120 h 3355086"/>
                <a:gd name="connsiteX1880" fmla="*/ 1186719 w 3359086"/>
                <a:gd name="connsiteY1880" fmla="*/ 3240596 h 3355086"/>
                <a:gd name="connsiteX1881" fmla="*/ 1191434 w 3359086"/>
                <a:gd name="connsiteY1881" fmla="*/ 3245311 h 3355086"/>
                <a:gd name="connsiteX1882" fmla="*/ 1196149 w 3359086"/>
                <a:gd name="connsiteY1882" fmla="*/ 3240596 h 3355086"/>
                <a:gd name="connsiteX1883" fmla="*/ 1201150 w 3359086"/>
                <a:gd name="connsiteY1883" fmla="*/ 3245596 h 3355086"/>
                <a:gd name="connsiteX1884" fmla="*/ 1206245 w 3359086"/>
                <a:gd name="connsiteY1884" fmla="*/ 3240501 h 3355086"/>
                <a:gd name="connsiteX1885" fmla="*/ 1211484 w 3359086"/>
                <a:gd name="connsiteY1885" fmla="*/ 3245739 h 3355086"/>
                <a:gd name="connsiteX1886" fmla="*/ 1216913 w 3359086"/>
                <a:gd name="connsiteY1886" fmla="*/ 3240310 h 3355086"/>
                <a:gd name="connsiteX1887" fmla="*/ 1222391 w 3359086"/>
                <a:gd name="connsiteY1887" fmla="*/ 3245787 h 3355086"/>
                <a:gd name="connsiteX1888" fmla="*/ 2036730 w 3359086"/>
                <a:gd name="connsiteY1888" fmla="*/ 3239262 h 3355086"/>
                <a:gd name="connsiteX1889" fmla="*/ 2042922 w 3359086"/>
                <a:gd name="connsiteY1889" fmla="*/ 3245453 h 3355086"/>
                <a:gd name="connsiteX1890" fmla="*/ 2036730 w 3359086"/>
                <a:gd name="connsiteY1890" fmla="*/ 3251644 h 3355086"/>
                <a:gd name="connsiteX1891" fmla="*/ 2030539 w 3359086"/>
                <a:gd name="connsiteY1891" fmla="*/ 3245453 h 3355086"/>
                <a:gd name="connsiteX1892" fmla="*/ 2036730 w 3359086"/>
                <a:gd name="connsiteY1892" fmla="*/ 3239262 h 3355086"/>
                <a:gd name="connsiteX1893" fmla="*/ 1939003 w 3359086"/>
                <a:gd name="connsiteY1893" fmla="*/ 3239072 h 3355086"/>
                <a:gd name="connsiteX1894" fmla="*/ 1945195 w 3359086"/>
                <a:gd name="connsiteY1894" fmla="*/ 3245263 h 3355086"/>
                <a:gd name="connsiteX1895" fmla="*/ 1939003 w 3359086"/>
                <a:gd name="connsiteY1895" fmla="*/ 3251455 h 3355086"/>
                <a:gd name="connsiteX1896" fmla="*/ 1932812 w 3359086"/>
                <a:gd name="connsiteY1896" fmla="*/ 3245263 h 3355086"/>
                <a:gd name="connsiteX1897" fmla="*/ 1939003 w 3359086"/>
                <a:gd name="connsiteY1897" fmla="*/ 3239072 h 3355086"/>
                <a:gd name="connsiteX1898" fmla="*/ 1241011 w 3359086"/>
                <a:gd name="connsiteY1898" fmla="*/ 3238500 h 3355086"/>
                <a:gd name="connsiteX1899" fmla="*/ 1247203 w 3359086"/>
                <a:gd name="connsiteY1899" fmla="*/ 3244691 h 3355086"/>
                <a:gd name="connsiteX1900" fmla="*/ 1241011 w 3359086"/>
                <a:gd name="connsiteY1900" fmla="*/ 3250883 h 3355086"/>
                <a:gd name="connsiteX1901" fmla="*/ 1234820 w 3359086"/>
                <a:gd name="connsiteY1901" fmla="*/ 3244691 h 3355086"/>
                <a:gd name="connsiteX1902" fmla="*/ 1241011 w 3359086"/>
                <a:gd name="connsiteY1902" fmla="*/ 3238500 h 3355086"/>
                <a:gd name="connsiteX1903" fmla="*/ 1850516 w 3359086"/>
                <a:gd name="connsiteY1903" fmla="*/ 3238119 h 3355086"/>
                <a:gd name="connsiteX1904" fmla="*/ 1856707 w 3359086"/>
                <a:gd name="connsiteY1904" fmla="*/ 3244310 h 3355086"/>
                <a:gd name="connsiteX1905" fmla="*/ 1850516 w 3359086"/>
                <a:gd name="connsiteY1905" fmla="*/ 3250501 h 3355086"/>
                <a:gd name="connsiteX1906" fmla="*/ 1844325 w 3359086"/>
                <a:gd name="connsiteY1906" fmla="*/ 3244310 h 3355086"/>
                <a:gd name="connsiteX1907" fmla="*/ 1850516 w 3359086"/>
                <a:gd name="connsiteY1907" fmla="*/ 3238119 h 3355086"/>
                <a:gd name="connsiteX1908" fmla="*/ 1254632 w 3359086"/>
                <a:gd name="connsiteY1908" fmla="*/ 3236595 h 3355086"/>
                <a:gd name="connsiteX1909" fmla="*/ 1260823 w 3359086"/>
                <a:gd name="connsiteY1909" fmla="*/ 3242786 h 3355086"/>
                <a:gd name="connsiteX1910" fmla="*/ 1254632 w 3359086"/>
                <a:gd name="connsiteY1910" fmla="*/ 3248977 h 3355086"/>
                <a:gd name="connsiteX1911" fmla="*/ 1248441 w 3359086"/>
                <a:gd name="connsiteY1911" fmla="*/ 3242786 h 3355086"/>
                <a:gd name="connsiteX1912" fmla="*/ 1254632 w 3359086"/>
                <a:gd name="connsiteY1912" fmla="*/ 3236595 h 3355086"/>
                <a:gd name="connsiteX1913" fmla="*/ 1060227 w 3359086"/>
                <a:gd name="connsiteY1913" fmla="*/ 3236310 h 3355086"/>
                <a:gd name="connsiteX1914" fmla="*/ 1060418 w 3359086"/>
                <a:gd name="connsiteY1914" fmla="*/ 3236500 h 3355086"/>
                <a:gd name="connsiteX1915" fmla="*/ 1060227 w 3359086"/>
                <a:gd name="connsiteY1915" fmla="*/ 3236691 h 3355086"/>
                <a:gd name="connsiteX1916" fmla="*/ 1060037 w 3359086"/>
                <a:gd name="connsiteY1916" fmla="*/ 3236500 h 3355086"/>
                <a:gd name="connsiteX1917" fmla="*/ 1060227 w 3359086"/>
                <a:gd name="connsiteY1917" fmla="*/ 3236310 h 3355086"/>
                <a:gd name="connsiteX1918" fmla="*/ 1451228 w 3359086"/>
                <a:gd name="connsiteY1918" fmla="*/ 3234976 h 3355086"/>
                <a:gd name="connsiteX1919" fmla="*/ 1457419 w 3359086"/>
                <a:gd name="connsiteY1919" fmla="*/ 3241167 h 3355086"/>
                <a:gd name="connsiteX1920" fmla="*/ 1451228 w 3359086"/>
                <a:gd name="connsiteY1920" fmla="*/ 3247359 h 3355086"/>
                <a:gd name="connsiteX1921" fmla="*/ 1445037 w 3359086"/>
                <a:gd name="connsiteY1921" fmla="*/ 3241167 h 3355086"/>
                <a:gd name="connsiteX1922" fmla="*/ 1451228 w 3359086"/>
                <a:gd name="connsiteY1922" fmla="*/ 3234976 h 3355086"/>
                <a:gd name="connsiteX1923" fmla="*/ 2019490 w 3359086"/>
                <a:gd name="connsiteY1923" fmla="*/ 3234881 h 3355086"/>
                <a:gd name="connsiteX1924" fmla="*/ 2025682 w 3359086"/>
                <a:gd name="connsiteY1924" fmla="*/ 3241072 h 3355086"/>
                <a:gd name="connsiteX1925" fmla="*/ 2019490 w 3359086"/>
                <a:gd name="connsiteY1925" fmla="*/ 3247264 h 3355086"/>
                <a:gd name="connsiteX1926" fmla="*/ 2013299 w 3359086"/>
                <a:gd name="connsiteY1926" fmla="*/ 3241072 h 3355086"/>
                <a:gd name="connsiteX1927" fmla="*/ 2019490 w 3359086"/>
                <a:gd name="connsiteY1927" fmla="*/ 3234881 h 3355086"/>
                <a:gd name="connsiteX1928" fmla="*/ 1364360 w 3359086"/>
                <a:gd name="connsiteY1928" fmla="*/ 3234595 h 3355086"/>
                <a:gd name="connsiteX1929" fmla="*/ 1370552 w 3359086"/>
                <a:gd name="connsiteY1929" fmla="*/ 3240786 h 3355086"/>
                <a:gd name="connsiteX1930" fmla="*/ 1364360 w 3359086"/>
                <a:gd name="connsiteY1930" fmla="*/ 3246978 h 3355086"/>
                <a:gd name="connsiteX1931" fmla="*/ 1358169 w 3359086"/>
                <a:gd name="connsiteY1931" fmla="*/ 3240786 h 3355086"/>
                <a:gd name="connsiteX1932" fmla="*/ 1364360 w 3359086"/>
                <a:gd name="connsiteY1932" fmla="*/ 3234595 h 3355086"/>
                <a:gd name="connsiteX1933" fmla="*/ 2296096 w 3359086"/>
                <a:gd name="connsiteY1933" fmla="*/ 3234024 h 3355086"/>
                <a:gd name="connsiteX1934" fmla="*/ 2298192 w 3359086"/>
                <a:gd name="connsiteY1934" fmla="*/ 3236119 h 3355086"/>
                <a:gd name="connsiteX1935" fmla="*/ 2296096 w 3359086"/>
                <a:gd name="connsiteY1935" fmla="*/ 3238215 h 3355086"/>
                <a:gd name="connsiteX1936" fmla="*/ 2294001 w 3359086"/>
                <a:gd name="connsiteY1936" fmla="*/ 3236119 h 3355086"/>
                <a:gd name="connsiteX1937" fmla="*/ 2296096 w 3359086"/>
                <a:gd name="connsiteY1937" fmla="*/ 3234024 h 3355086"/>
                <a:gd name="connsiteX1938" fmla="*/ 1269396 w 3359086"/>
                <a:gd name="connsiteY1938" fmla="*/ 3233643 h 3355086"/>
                <a:gd name="connsiteX1939" fmla="*/ 1275588 w 3359086"/>
                <a:gd name="connsiteY1939" fmla="*/ 3239834 h 3355086"/>
                <a:gd name="connsiteX1940" fmla="*/ 1269396 w 3359086"/>
                <a:gd name="connsiteY1940" fmla="*/ 3246025 h 3355086"/>
                <a:gd name="connsiteX1941" fmla="*/ 1263205 w 3359086"/>
                <a:gd name="connsiteY1941" fmla="*/ 3239834 h 3355086"/>
                <a:gd name="connsiteX1942" fmla="*/ 1269396 w 3359086"/>
                <a:gd name="connsiteY1942" fmla="*/ 3233643 h 3355086"/>
                <a:gd name="connsiteX1943" fmla="*/ 1684686 w 3359086"/>
                <a:gd name="connsiteY1943" fmla="*/ 3232976 h 3355086"/>
                <a:gd name="connsiteX1944" fmla="*/ 1690878 w 3359086"/>
                <a:gd name="connsiteY1944" fmla="*/ 3239167 h 3355086"/>
                <a:gd name="connsiteX1945" fmla="*/ 1684686 w 3359086"/>
                <a:gd name="connsiteY1945" fmla="*/ 3245358 h 3355086"/>
                <a:gd name="connsiteX1946" fmla="*/ 1678495 w 3359086"/>
                <a:gd name="connsiteY1946" fmla="*/ 3239167 h 3355086"/>
                <a:gd name="connsiteX1947" fmla="*/ 1684686 w 3359086"/>
                <a:gd name="connsiteY1947" fmla="*/ 3232976 h 3355086"/>
                <a:gd name="connsiteX1948" fmla="*/ 2130075 w 3359086"/>
                <a:gd name="connsiteY1948" fmla="*/ 3232690 h 3355086"/>
                <a:gd name="connsiteX1949" fmla="*/ 2135648 w 3359086"/>
                <a:gd name="connsiteY1949" fmla="*/ 3238262 h 3355086"/>
                <a:gd name="connsiteX1950" fmla="*/ 2140648 w 3359086"/>
                <a:gd name="connsiteY1950" fmla="*/ 3233262 h 3355086"/>
                <a:gd name="connsiteX1951" fmla="*/ 2145696 w 3359086"/>
                <a:gd name="connsiteY1951" fmla="*/ 3238309 h 3355086"/>
                <a:gd name="connsiteX1952" fmla="*/ 2150458 w 3359086"/>
                <a:gd name="connsiteY1952" fmla="*/ 3233547 h 3355086"/>
                <a:gd name="connsiteX1953" fmla="*/ 2155174 w 3359086"/>
                <a:gd name="connsiteY1953" fmla="*/ 3238262 h 3355086"/>
                <a:gd name="connsiteX1954" fmla="*/ 2159698 w 3359086"/>
                <a:gd name="connsiteY1954" fmla="*/ 3233738 h 3355086"/>
                <a:gd name="connsiteX1955" fmla="*/ 2164080 w 3359086"/>
                <a:gd name="connsiteY1955" fmla="*/ 3238119 h 3355086"/>
                <a:gd name="connsiteX1956" fmla="*/ 2168366 w 3359086"/>
                <a:gd name="connsiteY1956" fmla="*/ 3233833 h 3355086"/>
                <a:gd name="connsiteX1957" fmla="*/ 2172605 w 3359086"/>
                <a:gd name="connsiteY1957" fmla="*/ 3238071 h 3355086"/>
                <a:gd name="connsiteX1958" fmla="*/ 2176557 w 3359086"/>
                <a:gd name="connsiteY1958" fmla="*/ 3234119 h 3355086"/>
                <a:gd name="connsiteX1959" fmla="*/ 2180748 w 3359086"/>
                <a:gd name="connsiteY1959" fmla="*/ 3238309 h 3355086"/>
                <a:gd name="connsiteX1960" fmla="*/ 2184367 w 3359086"/>
                <a:gd name="connsiteY1960" fmla="*/ 3234690 h 3355086"/>
                <a:gd name="connsiteX1961" fmla="*/ 2188654 w 3359086"/>
                <a:gd name="connsiteY1961" fmla="*/ 3238976 h 3355086"/>
                <a:gd name="connsiteX1962" fmla="*/ 2191987 w 3359086"/>
                <a:gd name="connsiteY1962" fmla="*/ 3235643 h 3355086"/>
                <a:gd name="connsiteX1963" fmla="*/ 2196464 w 3359086"/>
                <a:gd name="connsiteY1963" fmla="*/ 3240120 h 3355086"/>
                <a:gd name="connsiteX1964" fmla="*/ 2199322 w 3359086"/>
                <a:gd name="connsiteY1964" fmla="*/ 3237262 h 3355086"/>
                <a:gd name="connsiteX1965" fmla="*/ 2204037 w 3359086"/>
                <a:gd name="connsiteY1965" fmla="*/ 3241976 h 3355086"/>
                <a:gd name="connsiteX1966" fmla="*/ 2206656 w 3359086"/>
                <a:gd name="connsiteY1966" fmla="*/ 3239357 h 3355086"/>
                <a:gd name="connsiteX1967" fmla="*/ 2211705 w 3359086"/>
                <a:gd name="connsiteY1967" fmla="*/ 3244405 h 3355086"/>
                <a:gd name="connsiteX1968" fmla="*/ 2213800 w 3359086"/>
                <a:gd name="connsiteY1968" fmla="*/ 3242310 h 3355086"/>
                <a:gd name="connsiteX1969" fmla="*/ 2219277 w 3359086"/>
                <a:gd name="connsiteY1969" fmla="*/ 3247787 h 3355086"/>
                <a:gd name="connsiteX1970" fmla="*/ 2221039 w 3359086"/>
                <a:gd name="connsiteY1970" fmla="*/ 3246025 h 3355086"/>
                <a:gd name="connsiteX1971" fmla="*/ 2227040 w 3359086"/>
                <a:gd name="connsiteY1971" fmla="*/ 3252026 h 3355086"/>
                <a:gd name="connsiteX1972" fmla="*/ 2228278 w 3359086"/>
                <a:gd name="connsiteY1972" fmla="*/ 3250788 h 3355086"/>
                <a:gd name="connsiteX1973" fmla="*/ 2234279 w 3359086"/>
                <a:gd name="connsiteY1973" fmla="*/ 3256789 h 3355086"/>
                <a:gd name="connsiteX1974" fmla="*/ 2228278 w 3359086"/>
                <a:gd name="connsiteY1974" fmla="*/ 3262790 h 3355086"/>
                <a:gd name="connsiteX1975" fmla="*/ 2222467 w 3359086"/>
                <a:gd name="connsiteY1975" fmla="*/ 3256979 h 3355086"/>
                <a:gd name="connsiteX1976" fmla="*/ 2221039 w 3359086"/>
                <a:gd name="connsiteY1976" fmla="*/ 3258407 h 3355086"/>
                <a:gd name="connsiteX1977" fmla="*/ 2215562 w 3359086"/>
                <a:gd name="connsiteY1977" fmla="*/ 3252930 h 3355086"/>
                <a:gd name="connsiteX1978" fmla="*/ 2213800 w 3359086"/>
                <a:gd name="connsiteY1978" fmla="*/ 3254692 h 3355086"/>
                <a:gd name="connsiteX1979" fmla="*/ 2208752 w 3359086"/>
                <a:gd name="connsiteY1979" fmla="*/ 3249644 h 3355086"/>
                <a:gd name="connsiteX1980" fmla="*/ 2206656 w 3359086"/>
                <a:gd name="connsiteY1980" fmla="*/ 3251740 h 3355086"/>
                <a:gd name="connsiteX1981" fmla="*/ 2201942 w 3359086"/>
                <a:gd name="connsiteY1981" fmla="*/ 3247025 h 3355086"/>
                <a:gd name="connsiteX1982" fmla="*/ 2199322 w 3359086"/>
                <a:gd name="connsiteY1982" fmla="*/ 3249645 h 3355086"/>
                <a:gd name="connsiteX1983" fmla="*/ 2194845 w 3359086"/>
                <a:gd name="connsiteY1983" fmla="*/ 3245168 h 3355086"/>
                <a:gd name="connsiteX1984" fmla="*/ 2191987 w 3359086"/>
                <a:gd name="connsiteY1984" fmla="*/ 3248025 h 3355086"/>
                <a:gd name="connsiteX1985" fmla="*/ 2187701 w 3359086"/>
                <a:gd name="connsiteY1985" fmla="*/ 3243739 h 3355086"/>
                <a:gd name="connsiteX1986" fmla="*/ 2184367 w 3359086"/>
                <a:gd name="connsiteY1986" fmla="*/ 3247073 h 3355086"/>
                <a:gd name="connsiteX1987" fmla="*/ 2180177 w 3359086"/>
                <a:gd name="connsiteY1987" fmla="*/ 3242882 h 3355086"/>
                <a:gd name="connsiteX1988" fmla="*/ 2176557 w 3359086"/>
                <a:gd name="connsiteY1988" fmla="*/ 3246501 h 3355086"/>
                <a:gd name="connsiteX1989" fmla="*/ 2172319 w 3359086"/>
                <a:gd name="connsiteY1989" fmla="*/ 3242263 h 3355086"/>
                <a:gd name="connsiteX1990" fmla="*/ 2168366 w 3359086"/>
                <a:gd name="connsiteY1990" fmla="*/ 3246215 h 3355086"/>
                <a:gd name="connsiteX1991" fmla="*/ 2163985 w 3359086"/>
                <a:gd name="connsiteY1991" fmla="*/ 3241834 h 3355086"/>
                <a:gd name="connsiteX1992" fmla="*/ 2159698 w 3359086"/>
                <a:gd name="connsiteY1992" fmla="*/ 3246121 h 3355086"/>
                <a:gd name="connsiteX1993" fmla="*/ 2154983 w 3359086"/>
                <a:gd name="connsiteY1993" fmla="*/ 3241405 h 3355086"/>
                <a:gd name="connsiteX1994" fmla="*/ 2150458 w 3359086"/>
                <a:gd name="connsiteY1994" fmla="*/ 3245929 h 3355086"/>
                <a:gd name="connsiteX1995" fmla="*/ 2145411 w 3359086"/>
                <a:gd name="connsiteY1995" fmla="*/ 3240882 h 3355086"/>
                <a:gd name="connsiteX1996" fmla="*/ 2140648 w 3359086"/>
                <a:gd name="connsiteY1996" fmla="*/ 3245644 h 3355086"/>
                <a:gd name="connsiteX1997" fmla="*/ 2135076 w 3359086"/>
                <a:gd name="connsiteY1997" fmla="*/ 3240072 h 3355086"/>
                <a:gd name="connsiteX1998" fmla="*/ 2130075 w 3359086"/>
                <a:gd name="connsiteY1998" fmla="*/ 3245072 h 3355086"/>
                <a:gd name="connsiteX1999" fmla="*/ 2123884 w 3359086"/>
                <a:gd name="connsiteY1999" fmla="*/ 3238881 h 3355086"/>
                <a:gd name="connsiteX2000" fmla="*/ 2130075 w 3359086"/>
                <a:gd name="connsiteY2000" fmla="*/ 3232690 h 3355086"/>
                <a:gd name="connsiteX2001" fmla="*/ 1615344 w 3359086"/>
                <a:gd name="connsiteY2001" fmla="*/ 3232404 h 3355086"/>
                <a:gd name="connsiteX2002" fmla="*/ 1621536 w 3359086"/>
                <a:gd name="connsiteY2002" fmla="*/ 3238595 h 3355086"/>
                <a:gd name="connsiteX2003" fmla="*/ 1615344 w 3359086"/>
                <a:gd name="connsiteY2003" fmla="*/ 3244786 h 3355086"/>
                <a:gd name="connsiteX2004" fmla="*/ 1609153 w 3359086"/>
                <a:gd name="connsiteY2004" fmla="*/ 3238595 h 3355086"/>
                <a:gd name="connsiteX2005" fmla="*/ 1615344 w 3359086"/>
                <a:gd name="connsiteY2005" fmla="*/ 3232404 h 3355086"/>
                <a:gd name="connsiteX2006" fmla="*/ 2118550 w 3359086"/>
                <a:gd name="connsiteY2006" fmla="*/ 3231547 h 3355086"/>
                <a:gd name="connsiteX2007" fmla="*/ 2124742 w 3359086"/>
                <a:gd name="connsiteY2007" fmla="*/ 3237738 h 3355086"/>
                <a:gd name="connsiteX2008" fmla="*/ 2118550 w 3359086"/>
                <a:gd name="connsiteY2008" fmla="*/ 3243929 h 3355086"/>
                <a:gd name="connsiteX2009" fmla="*/ 2112359 w 3359086"/>
                <a:gd name="connsiteY2009" fmla="*/ 3237738 h 3355086"/>
                <a:gd name="connsiteX2010" fmla="*/ 2118550 w 3359086"/>
                <a:gd name="connsiteY2010" fmla="*/ 3231547 h 3355086"/>
                <a:gd name="connsiteX2011" fmla="*/ 1753933 w 3359086"/>
                <a:gd name="connsiteY2011" fmla="*/ 3231166 h 3355086"/>
                <a:gd name="connsiteX2012" fmla="*/ 1760124 w 3359086"/>
                <a:gd name="connsiteY2012" fmla="*/ 3237357 h 3355086"/>
                <a:gd name="connsiteX2013" fmla="*/ 1753933 w 3359086"/>
                <a:gd name="connsiteY2013" fmla="*/ 3243548 h 3355086"/>
                <a:gd name="connsiteX2014" fmla="*/ 1747742 w 3359086"/>
                <a:gd name="connsiteY2014" fmla="*/ 3237357 h 3355086"/>
                <a:gd name="connsiteX2015" fmla="*/ 1753933 w 3359086"/>
                <a:gd name="connsiteY2015" fmla="*/ 3231166 h 3355086"/>
                <a:gd name="connsiteX2016" fmla="*/ 1915953 w 3359086"/>
                <a:gd name="connsiteY2016" fmla="*/ 3230785 h 3355086"/>
                <a:gd name="connsiteX2017" fmla="*/ 1922145 w 3359086"/>
                <a:gd name="connsiteY2017" fmla="*/ 3236976 h 3355086"/>
                <a:gd name="connsiteX2018" fmla="*/ 1915953 w 3359086"/>
                <a:gd name="connsiteY2018" fmla="*/ 3243168 h 3355086"/>
                <a:gd name="connsiteX2019" fmla="*/ 1909762 w 3359086"/>
                <a:gd name="connsiteY2019" fmla="*/ 3236976 h 3355086"/>
                <a:gd name="connsiteX2020" fmla="*/ 1915953 w 3359086"/>
                <a:gd name="connsiteY2020" fmla="*/ 3230785 h 3355086"/>
                <a:gd name="connsiteX2021" fmla="*/ 2106072 w 3359086"/>
                <a:gd name="connsiteY2021" fmla="*/ 3229547 h 3355086"/>
                <a:gd name="connsiteX2022" fmla="*/ 2112263 w 3359086"/>
                <a:gd name="connsiteY2022" fmla="*/ 3235738 h 3355086"/>
                <a:gd name="connsiteX2023" fmla="*/ 2106072 w 3359086"/>
                <a:gd name="connsiteY2023" fmla="*/ 3241930 h 3355086"/>
                <a:gd name="connsiteX2024" fmla="*/ 2099881 w 3359086"/>
                <a:gd name="connsiteY2024" fmla="*/ 3235738 h 3355086"/>
                <a:gd name="connsiteX2025" fmla="*/ 2106072 w 3359086"/>
                <a:gd name="connsiteY2025" fmla="*/ 3229547 h 3355086"/>
                <a:gd name="connsiteX2026" fmla="*/ 1546192 w 3359086"/>
                <a:gd name="connsiteY2026" fmla="*/ 3229452 h 3355086"/>
                <a:gd name="connsiteX2027" fmla="*/ 1552384 w 3359086"/>
                <a:gd name="connsiteY2027" fmla="*/ 3235643 h 3355086"/>
                <a:gd name="connsiteX2028" fmla="*/ 1546192 w 3359086"/>
                <a:gd name="connsiteY2028" fmla="*/ 3241834 h 3355086"/>
                <a:gd name="connsiteX2029" fmla="*/ 1540001 w 3359086"/>
                <a:gd name="connsiteY2029" fmla="*/ 3235643 h 3355086"/>
                <a:gd name="connsiteX2030" fmla="*/ 1546192 w 3359086"/>
                <a:gd name="connsiteY2030" fmla="*/ 3229452 h 3355086"/>
                <a:gd name="connsiteX2031" fmla="*/ 1285493 w 3359086"/>
                <a:gd name="connsiteY2031" fmla="*/ 3229452 h 3355086"/>
                <a:gd name="connsiteX2032" fmla="*/ 1291685 w 3359086"/>
                <a:gd name="connsiteY2032" fmla="*/ 3235643 h 3355086"/>
                <a:gd name="connsiteX2033" fmla="*/ 1285493 w 3359086"/>
                <a:gd name="connsiteY2033" fmla="*/ 3241834 h 3355086"/>
                <a:gd name="connsiteX2034" fmla="*/ 1279302 w 3359086"/>
                <a:gd name="connsiteY2034" fmla="*/ 3235643 h 3355086"/>
                <a:gd name="connsiteX2035" fmla="*/ 1285493 w 3359086"/>
                <a:gd name="connsiteY2035" fmla="*/ 3229452 h 3355086"/>
                <a:gd name="connsiteX2036" fmla="*/ 2000821 w 3359086"/>
                <a:gd name="connsiteY2036" fmla="*/ 3228975 h 3355086"/>
                <a:gd name="connsiteX2037" fmla="*/ 2007013 w 3359086"/>
                <a:gd name="connsiteY2037" fmla="*/ 3235166 h 3355086"/>
                <a:gd name="connsiteX2038" fmla="*/ 2000821 w 3359086"/>
                <a:gd name="connsiteY2038" fmla="*/ 3241358 h 3355086"/>
                <a:gd name="connsiteX2039" fmla="*/ 1994630 w 3359086"/>
                <a:gd name="connsiteY2039" fmla="*/ 3235166 h 3355086"/>
                <a:gd name="connsiteX2040" fmla="*/ 2000821 w 3359086"/>
                <a:gd name="connsiteY2040" fmla="*/ 3228975 h 3355086"/>
                <a:gd name="connsiteX2041" fmla="*/ 1822703 w 3359086"/>
                <a:gd name="connsiteY2041" fmla="*/ 3226880 h 3355086"/>
                <a:gd name="connsiteX2042" fmla="*/ 1828894 w 3359086"/>
                <a:gd name="connsiteY2042" fmla="*/ 3233071 h 3355086"/>
                <a:gd name="connsiteX2043" fmla="*/ 1822703 w 3359086"/>
                <a:gd name="connsiteY2043" fmla="*/ 3239263 h 3355086"/>
                <a:gd name="connsiteX2044" fmla="*/ 1816512 w 3359086"/>
                <a:gd name="connsiteY2044" fmla="*/ 3233071 h 3355086"/>
                <a:gd name="connsiteX2045" fmla="*/ 1822703 w 3359086"/>
                <a:gd name="connsiteY2045" fmla="*/ 3226880 h 3355086"/>
                <a:gd name="connsiteX2046" fmla="*/ 2092451 w 3359086"/>
                <a:gd name="connsiteY2046" fmla="*/ 3226689 h 3355086"/>
                <a:gd name="connsiteX2047" fmla="*/ 2098643 w 3359086"/>
                <a:gd name="connsiteY2047" fmla="*/ 3232880 h 3355086"/>
                <a:gd name="connsiteX2048" fmla="*/ 2092451 w 3359086"/>
                <a:gd name="connsiteY2048" fmla="*/ 3239071 h 3355086"/>
                <a:gd name="connsiteX2049" fmla="*/ 2086260 w 3359086"/>
                <a:gd name="connsiteY2049" fmla="*/ 3232880 h 3355086"/>
                <a:gd name="connsiteX2050" fmla="*/ 2092451 w 3359086"/>
                <a:gd name="connsiteY2050" fmla="*/ 3226689 h 3355086"/>
                <a:gd name="connsiteX2051" fmla="*/ 1386173 w 3359086"/>
                <a:gd name="connsiteY2051" fmla="*/ 3226689 h 3355086"/>
                <a:gd name="connsiteX2052" fmla="*/ 1392364 w 3359086"/>
                <a:gd name="connsiteY2052" fmla="*/ 3232880 h 3355086"/>
                <a:gd name="connsiteX2053" fmla="*/ 1386173 w 3359086"/>
                <a:gd name="connsiteY2053" fmla="*/ 3239071 h 3355086"/>
                <a:gd name="connsiteX2054" fmla="*/ 1379982 w 3359086"/>
                <a:gd name="connsiteY2054" fmla="*/ 3232880 h 3355086"/>
                <a:gd name="connsiteX2055" fmla="*/ 1386173 w 3359086"/>
                <a:gd name="connsiteY2055" fmla="*/ 3226689 h 3355086"/>
                <a:gd name="connsiteX2056" fmla="*/ 2329148 w 3359086"/>
                <a:gd name="connsiteY2056" fmla="*/ 3225165 h 3355086"/>
                <a:gd name="connsiteX2057" fmla="*/ 2329433 w 3359086"/>
                <a:gd name="connsiteY2057" fmla="*/ 3225451 h 3355086"/>
                <a:gd name="connsiteX2058" fmla="*/ 2329148 w 3359086"/>
                <a:gd name="connsiteY2058" fmla="*/ 3225736 h 3355086"/>
                <a:gd name="connsiteX2059" fmla="*/ 2328862 w 3359086"/>
                <a:gd name="connsiteY2059" fmla="*/ 3225451 h 3355086"/>
                <a:gd name="connsiteX2060" fmla="*/ 2329148 w 3359086"/>
                <a:gd name="connsiteY2060" fmla="*/ 3225165 h 3355086"/>
                <a:gd name="connsiteX2061" fmla="*/ 1190148 w 3359086"/>
                <a:gd name="connsiteY2061" fmla="*/ 3225070 h 3355086"/>
                <a:gd name="connsiteX2062" fmla="*/ 1196339 w 3359086"/>
                <a:gd name="connsiteY2062" fmla="*/ 3231261 h 3355086"/>
                <a:gd name="connsiteX2063" fmla="*/ 1190148 w 3359086"/>
                <a:gd name="connsiteY2063" fmla="*/ 3237453 h 3355086"/>
                <a:gd name="connsiteX2064" fmla="*/ 1185480 w 3359086"/>
                <a:gd name="connsiteY2064" fmla="*/ 3232785 h 3355086"/>
                <a:gd name="connsiteX2065" fmla="*/ 1179575 w 3359086"/>
                <a:gd name="connsiteY2065" fmla="*/ 3238691 h 3355086"/>
                <a:gd name="connsiteX2066" fmla="*/ 1175003 w 3359086"/>
                <a:gd name="connsiteY2066" fmla="*/ 3234119 h 3355086"/>
                <a:gd name="connsiteX2067" fmla="*/ 1169765 w 3359086"/>
                <a:gd name="connsiteY2067" fmla="*/ 3239357 h 3355086"/>
                <a:gd name="connsiteX2068" fmla="*/ 1165384 w 3359086"/>
                <a:gd name="connsiteY2068" fmla="*/ 3234976 h 3355086"/>
                <a:gd name="connsiteX2069" fmla="*/ 1160716 w 3359086"/>
                <a:gd name="connsiteY2069" fmla="*/ 3239643 h 3355086"/>
                <a:gd name="connsiteX2070" fmla="*/ 1156573 w 3359086"/>
                <a:gd name="connsiteY2070" fmla="*/ 3235500 h 3355086"/>
                <a:gd name="connsiteX2071" fmla="*/ 1152143 w 3359086"/>
                <a:gd name="connsiteY2071" fmla="*/ 3239929 h 3355086"/>
                <a:gd name="connsiteX2072" fmla="*/ 1148286 w 3359086"/>
                <a:gd name="connsiteY2072" fmla="*/ 3236072 h 3355086"/>
                <a:gd name="connsiteX2073" fmla="*/ 1144238 w 3359086"/>
                <a:gd name="connsiteY2073" fmla="*/ 3240120 h 3355086"/>
                <a:gd name="connsiteX2074" fmla="*/ 1140666 w 3359086"/>
                <a:gd name="connsiteY2074" fmla="*/ 3236548 h 3355086"/>
                <a:gd name="connsiteX2075" fmla="*/ 1136618 w 3359086"/>
                <a:gd name="connsiteY2075" fmla="*/ 3240595 h 3355086"/>
                <a:gd name="connsiteX2076" fmla="*/ 1133284 w 3359086"/>
                <a:gd name="connsiteY2076" fmla="*/ 3237261 h 3355086"/>
                <a:gd name="connsiteX2077" fmla="*/ 1129283 w 3359086"/>
                <a:gd name="connsiteY2077" fmla="*/ 3241262 h 3355086"/>
                <a:gd name="connsiteX2078" fmla="*/ 1126331 w 3359086"/>
                <a:gd name="connsiteY2078" fmla="*/ 3238310 h 3355086"/>
                <a:gd name="connsiteX2079" fmla="*/ 1122235 w 3359086"/>
                <a:gd name="connsiteY2079" fmla="*/ 3242405 h 3355086"/>
                <a:gd name="connsiteX2080" fmla="*/ 1119616 w 3359086"/>
                <a:gd name="connsiteY2080" fmla="*/ 3239786 h 3355086"/>
                <a:gd name="connsiteX2081" fmla="*/ 1115282 w 3359086"/>
                <a:gd name="connsiteY2081" fmla="*/ 3244119 h 3355086"/>
                <a:gd name="connsiteX2082" fmla="*/ 1113092 w 3359086"/>
                <a:gd name="connsiteY2082" fmla="*/ 3241929 h 3355086"/>
                <a:gd name="connsiteX2083" fmla="*/ 1108519 w 3359086"/>
                <a:gd name="connsiteY2083" fmla="*/ 3246501 h 3355086"/>
                <a:gd name="connsiteX2084" fmla="*/ 1106662 w 3359086"/>
                <a:gd name="connsiteY2084" fmla="*/ 3244644 h 3355086"/>
                <a:gd name="connsiteX2085" fmla="*/ 1101661 w 3359086"/>
                <a:gd name="connsiteY2085" fmla="*/ 3249645 h 3355086"/>
                <a:gd name="connsiteX2086" fmla="*/ 1095470 w 3359086"/>
                <a:gd name="connsiteY2086" fmla="*/ 3243453 h 3355086"/>
                <a:gd name="connsiteX2087" fmla="*/ 1101661 w 3359086"/>
                <a:gd name="connsiteY2087" fmla="*/ 3237262 h 3355086"/>
                <a:gd name="connsiteX2088" fmla="*/ 1103519 w 3359086"/>
                <a:gd name="connsiteY2088" fmla="*/ 3239120 h 3355086"/>
                <a:gd name="connsiteX2089" fmla="*/ 1108519 w 3359086"/>
                <a:gd name="connsiteY2089" fmla="*/ 3234119 h 3355086"/>
                <a:gd name="connsiteX2090" fmla="*/ 1110710 w 3359086"/>
                <a:gd name="connsiteY2090" fmla="*/ 3236310 h 3355086"/>
                <a:gd name="connsiteX2091" fmla="*/ 1115282 w 3359086"/>
                <a:gd name="connsiteY2091" fmla="*/ 3231737 h 3355086"/>
                <a:gd name="connsiteX2092" fmla="*/ 1117902 w 3359086"/>
                <a:gd name="connsiteY2092" fmla="*/ 3234357 h 3355086"/>
                <a:gd name="connsiteX2093" fmla="*/ 1122235 w 3359086"/>
                <a:gd name="connsiteY2093" fmla="*/ 3230023 h 3355086"/>
                <a:gd name="connsiteX2094" fmla="*/ 1125188 w 3359086"/>
                <a:gd name="connsiteY2094" fmla="*/ 3232976 h 3355086"/>
                <a:gd name="connsiteX2095" fmla="*/ 1129283 w 3359086"/>
                <a:gd name="connsiteY2095" fmla="*/ 3228880 h 3355086"/>
                <a:gd name="connsiteX2096" fmla="*/ 1132617 w 3359086"/>
                <a:gd name="connsiteY2096" fmla="*/ 3232214 h 3355086"/>
                <a:gd name="connsiteX2097" fmla="*/ 1136618 w 3359086"/>
                <a:gd name="connsiteY2097" fmla="*/ 3228213 h 3355086"/>
                <a:gd name="connsiteX2098" fmla="*/ 1140190 w 3359086"/>
                <a:gd name="connsiteY2098" fmla="*/ 3231785 h 3355086"/>
                <a:gd name="connsiteX2099" fmla="*/ 1144238 w 3359086"/>
                <a:gd name="connsiteY2099" fmla="*/ 3227737 h 3355086"/>
                <a:gd name="connsiteX2100" fmla="*/ 1148095 w 3359086"/>
                <a:gd name="connsiteY2100" fmla="*/ 3231594 h 3355086"/>
                <a:gd name="connsiteX2101" fmla="*/ 1152143 w 3359086"/>
                <a:gd name="connsiteY2101" fmla="*/ 3227546 h 3355086"/>
                <a:gd name="connsiteX2102" fmla="*/ 1156287 w 3359086"/>
                <a:gd name="connsiteY2102" fmla="*/ 3231690 h 3355086"/>
                <a:gd name="connsiteX2103" fmla="*/ 1160716 w 3359086"/>
                <a:gd name="connsiteY2103" fmla="*/ 3227261 h 3355086"/>
                <a:gd name="connsiteX2104" fmla="*/ 1165098 w 3359086"/>
                <a:gd name="connsiteY2104" fmla="*/ 3231642 h 3355086"/>
                <a:gd name="connsiteX2105" fmla="*/ 1169765 w 3359086"/>
                <a:gd name="connsiteY2105" fmla="*/ 3226975 h 3355086"/>
                <a:gd name="connsiteX2106" fmla="*/ 1174337 w 3359086"/>
                <a:gd name="connsiteY2106" fmla="*/ 3231547 h 3355086"/>
                <a:gd name="connsiteX2107" fmla="*/ 1179575 w 3359086"/>
                <a:gd name="connsiteY2107" fmla="*/ 3226308 h 3355086"/>
                <a:gd name="connsiteX2108" fmla="*/ 1184243 w 3359086"/>
                <a:gd name="connsiteY2108" fmla="*/ 3230976 h 3355086"/>
                <a:gd name="connsiteX2109" fmla="*/ 1477708 w 3359086"/>
                <a:gd name="connsiteY2109" fmla="*/ 3224118 h 3355086"/>
                <a:gd name="connsiteX2110" fmla="*/ 1483899 w 3359086"/>
                <a:gd name="connsiteY2110" fmla="*/ 3230309 h 3355086"/>
                <a:gd name="connsiteX2111" fmla="*/ 1477708 w 3359086"/>
                <a:gd name="connsiteY2111" fmla="*/ 3236500 h 3355086"/>
                <a:gd name="connsiteX2112" fmla="*/ 1471517 w 3359086"/>
                <a:gd name="connsiteY2112" fmla="*/ 3230309 h 3355086"/>
                <a:gd name="connsiteX2113" fmla="*/ 1477708 w 3359086"/>
                <a:gd name="connsiteY2113" fmla="*/ 3224118 h 3355086"/>
                <a:gd name="connsiteX2114" fmla="*/ 1303115 w 3359086"/>
                <a:gd name="connsiteY2114" fmla="*/ 3223737 h 3355086"/>
                <a:gd name="connsiteX2115" fmla="*/ 1309307 w 3359086"/>
                <a:gd name="connsiteY2115" fmla="*/ 3229928 h 3355086"/>
                <a:gd name="connsiteX2116" fmla="*/ 1303115 w 3359086"/>
                <a:gd name="connsiteY2116" fmla="*/ 3236119 h 3355086"/>
                <a:gd name="connsiteX2117" fmla="*/ 1296924 w 3359086"/>
                <a:gd name="connsiteY2117" fmla="*/ 3229928 h 3355086"/>
                <a:gd name="connsiteX2118" fmla="*/ 1303115 w 3359086"/>
                <a:gd name="connsiteY2118" fmla="*/ 3223737 h 3355086"/>
                <a:gd name="connsiteX2119" fmla="*/ 1201673 w 3359086"/>
                <a:gd name="connsiteY2119" fmla="*/ 3223260 h 3355086"/>
                <a:gd name="connsiteX2120" fmla="*/ 1207864 w 3359086"/>
                <a:gd name="connsiteY2120" fmla="*/ 3229451 h 3355086"/>
                <a:gd name="connsiteX2121" fmla="*/ 1201673 w 3359086"/>
                <a:gd name="connsiteY2121" fmla="*/ 3235642 h 3355086"/>
                <a:gd name="connsiteX2122" fmla="*/ 1195482 w 3359086"/>
                <a:gd name="connsiteY2122" fmla="*/ 3229451 h 3355086"/>
                <a:gd name="connsiteX2123" fmla="*/ 1201673 w 3359086"/>
                <a:gd name="connsiteY2123" fmla="*/ 3223260 h 3355086"/>
                <a:gd name="connsiteX2124" fmla="*/ 2077592 w 3359086"/>
                <a:gd name="connsiteY2124" fmla="*/ 3222594 h 3355086"/>
                <a:gd name="connsiteX2125" fmla="*/ 2083784 w 3359086"/>
                <a:gd name="connsiteY2125" fmla="*/ 3228785 h 3355086"/>
                <a:gd name="connsiteX2126" fmla="*/ 2077592 w 3359086"/>
                <a:gd name="connsiteY2126" fmla="*/ 3234976 h 3355086"/>
                <a:gd name="connsiteX2127" fmla="*/ 2071401 w 3359086"/>
                <a:gd name="connsiteY2127" fmla="*/ 3228785 h 3355086"/>
                <a:gd name="connsiteX2128" fmla="*/ 2077592 w 3359086"/>
                <a:gd name="connsiteY2128" fmla="*/ 3222594 h 3355086"/>
                <a:gd name="connsiteX2129" fmla="*/ 1980342 w 3359086"/>
                <a:gd name="connsiteY2129" fmla="*/ 3221355 h 3355086"/>
                <a:gd name="connsiteX2130" fmla="*/ 1986534 w 3359086"/>
                <a:gd name="connsiteY2130" fmla="*/ 3227546 h 3355086"/>
                <a:gd name="connsiteX2131" fmla="*/ 1980342 w 3359086"/>
                <a:gd name="connsiteY2131" fmla="*/ 3233737 h 3355086"/>
                <a:gd name="connsiteX2132" fmla="*/ 1974151 w 3359086"/>
                <a:gd name="connsiteY2132" fmla="*/ 3227546 h 3355086"/>
                <a:gd name="connsiteX2133" fmla="*/ 1980342 w 3359086"/>
                <a:gd name="connsiteY2133" fmla="*/ 3221355 h 3355086"/>
                <a:gd name="connsiteX2134" fmla="*/ 1214341 w 3359086"/>
                <a:gd name="connsiteY2134" fmla="*/ 3220403 h 3355086"/>
                <a:gd name="connsiteX2135" fmla="*/ 1220533 w 3359086"/>
                <a:gd name="connsiteY2135" fmla="*/ 3226594 h 3355086"/>
                <a:gd name="connsiteX2136" fmla="*/ 1214341 w 3359086"/>
                <a:gd name="connsiteY2136" fmla="*/ 3232786 h 3355086"/>
                <a:gd name="connsiteX2137" fmla="*/ 1208150 w 3359086"/>
                <a:gd name="connsiteY2137" fmla="*/ 3226594 h 3355086"/>
                <a:gd name="connsiteX2138" fmla="*/ 1214341 w 3359086"/>
                <a:gd name="connsiteY2138" fmla="*/ 3220403 h 3355086"/>
                <a:gd name="connsiteX2139" fmla="*/ 1890807 w 3359086"/>
                <a:gd name="connsiteY2139" fmla="*/ 3220307 h 3355086"/>
                <a:gd name="connsiteX2140" fmla="*/ 1896999 w 3359086"/>
                <a:gd name="connsiteY2140" fmla="*/ 3226498 h 3355086"/>
                <a:gd name="connsiteX2141" fmla="*/ 1890807 w 3359086"/>
                <a:gd name="connsiteY2141" fmla="*/ 3232690 h 3355086"/>
                <a:gd name="connsiteX2142" fmla="*/ 1884616 w 3359086"/>
                <a:gd name="connsiteY2142" fmla="*/ 3226498 h 3355086"/>
                <a:gd name="connsiteX2143" fmla="*/ 1890807 w 3359086"/>
                <a:gd name="connsiteY2143" fmla="*/ 3220307 h 3355086"/>
                <a:gd name="connsiteX2144" fmla="*/ 2168746 w 3359086"/>
                <a:gd name="connsiteY2144" fmla="*/ 3217450 h 3355086"/>
                <a:gd name="connsiteX2145" fmla="*/ 2174080 w 3359086"/>
                <a:gd name="connsiteY2145" fmla="*/ 3222784 h 3355086"/>
                <a:gd name="connsiteX2146" fmla="*/ 2178271 w 3359086"/>
                <a:gd name="connsiteY2146" fmla="*/ 3218593 h 3355086"/>
                <a:gd name="connsiteX2147" fmla="*/ 2183082 w 3359086"/>
                <a:gd name="connsiteY2147" fmla="*/ 3223403 h 3355086"/>
                <a:gd name="connsiteX2148" fmla="*/ 2187130 w 3359086"/>
                <a:gd name="connsiteY2148" fmla="*/ 3219355 h 3355086"/>
                <a:gd name="connsiteX2149" fmla="*/ 2191511 w 3359086"/>
                <a:gd name="connsiteY2149" fmla="*/ 3223736 h 3355086"/>
                <a:gd name="connsiteX2150" fmla="*/ 2195416 w 3359086"/>
                <a:gd name="connsiteY2150" fmla="*/ 3219831 h 3355086"/>
                <a:gd name="connsiteX2151" fmla="*/ 2199417 w 3359086"/>
                <a:gd name="connsiteY2151" fmla="*/ 3223831 h 3355086"/>
                <a:gd name="connsiteX2152" fmla="*/ 2203036 w 3359086"/>
                <a:gd name="connsiteY2152" fmla="*/ 3220212 h 3355086"/>
                <a:gd name="connsiteX2153" fmla="*/ 2206894 w 3359086"/>
                <a:gd name="connsiteY2153" fmla="*/ 3224070 h 3355086"/>
                <a:gd name="connsiteX2154" fmla="*/ 2210371 w 3359086"/>
                <a:gd name="connsiteY2154" fmla="*/ 3220593 h 3355086"/>
                <a:gd name="connsiteX2155" fmla="*/ 2214086 w 3359086"/>
                <a:gd name="connsiteY2155" fmla="*/ 3224308 h 3355086"/>
                <a:gd name="connsiteX2156" fmla="*/ 2217229 w 3359086"/>
                <a:gd name="connsiteY2156" fmla="*/ 3221165 h 3355086"/>
                <a:gd name="connsiteX2157" fmla="*/ 2220991 w 3359086"/>
                <a:gd name="connsiteY2157" fmla="*/ 3224927 h 3355086"/>
                <a:gd name="connsiteX2158" fmla="*/ 2223896 w 3359086"/>
                <a:gd name="connsiteY2158" fmla="*/ 3222022 h 3355086"/>
                <a:gd name="connsiteX2159" fmla="*/ 2227849 w 3359086"/>
                <a:gd name="connsiteY2159" fmla="*/ 3225975 h 3355086"/>
                <a:gd name="connsiteX2160" fmla="*/ 2230373 w 3359086"/>
                <a:gd name="connsiteY2160" fmla="*/ 3223451 h 3355086"/>
                <a:gd name="connsiteX2161" fmla="*/ 2234517 w 3359086"/>
                <a:gd name="connsiteY2161" fmla="*/ 3227594 h 3355086"/>
                <a:gd name="connsiteX2162" fmla="*/ 2236755 w 3359086"/>
                <a:gd name="connsiteY2162" fmla="*/ 3225356 h 3355086"/>
                <a:gd name="connsiteX2163" fmla="*/ 2241232 w 3359086"/>
                <a:gd name="connsiteY2163" fmla="*/ 3229833 h 3355086"/>
                <a:gd name="connsiteX2164" fmla="*/ 2243137 w 3359086"/>
                <a:gd name="connsiteY2164" fmla="*/ 3227928 h 3355086"/>
                <a:gd name="connsiteX2165" fmla="*/ 2247994 w 3359086"/>
                <a:gd name="connsiteY2165" fmla="*/ 3232786 h 3355086"/>
                <a:gd name="connsiteX2166" fmla="*/ 2249519 w 3359086"/>
                <a:gd name="connsiteY2166" fmla="*/ 3231261 h 3355086"/>
                <a:gd name="connsiteX2167" fmla="*/ 2254805 w 3359086"/>
                <a:gd name="connsiteY2167" fmla="*/ 3236547 h 3355086"/>
                <a:gd name="connsiteX2168" fmla="*/ 2255900 w 3359086"/>
                <a:gd name="connsiteY2168" fmla="*/ 3235452 h 3355086"/>
                <a:gd name="connsiteX2169" fmla="*/ 2262092 w 3359086"/>
                <a:gd name="connsiteY2169" fmla="*/ 3241643 h 3355086"/>
                <a:gd name="connsiteX2170" fmla="*/ 2255900 w 3359086"/>
                <a:gd name="connsiteY2170" fmla="*/ 3247834 h 3355086"/>
                <a:gd name="connsiteX2171" fmla="*/ 2250614 w 3359086"/>
                <a:gd name="connsiteY2171" fmla="*/ 3242548 h 3355086"/>
                <a:gd name="connsiteX2172" fmla="*/ 2249519 w 3359086"/>
                <a:gd name="connsiteY2172" fmla="*/ 3243643 h 3355086"/>
                <a:gd name="connsiteX2173" fmla="*/ 2244661 w 3359086"/>
                <a:gd name="connsiteY2173" fmla="*/ 3238786 h 3355086"/>
                <a:gd name="connsiteX2174" fmla="*/ 2243137 w 3359086"/>
                <a:gd name="connsiteY2174" fmla="*/ 3240310 h 3355086"/>
                <a:gd name="connsiteX2175" fmla="*/ 2238661 w 3359086"/>
                <a:gd name="connsiteY2175" fmla="*/ 3235834 h 3355086"/>
                <a:gd name="connsiteX2176" fmla="*/ 2236755 w 3359086"/>
                <a:gd name="connsiteY2176" fmla="*/ 3237739 h 3355086"/>
                <a:gd name="connsiteX2177" fmla="*/ 2232612 w 3359086"/>
                <a:gd name="connsiteY2177" fmla="*/ 3233595 h 3355086"/>
                <a:gd name="connsiteX2178" fmla="*/ 2230373 w 3359086"/>
                <a:gd name="connsiteY2178" fmla="*/ 3235833 h 3355086"/>
                <a:gd name="connsiteX2179" fmla="*/ 2226420 w 3359086"/>
                <a:gd name="connsiteY2179" fmla="*/ 3231880 h 3355086"/>
                <a:gd name="connsiteX2180" fmla="*/ 2223896 w 3359086"/>
                <a:gd name="connsiteY2180" fmla="*/ 3234404 h 3355086"/>
                <a:gd name="connsiteX2181" fmla="*/ 2220134 w 3359086"/>
                <a:gd name="connsiteY2181" fmla="*/ 3230642 h 3355086"/>
                <a:gd name="connsiteX2182" fmla="*/ 2217229 w 3359086"/>
                <a:gd name="connsiteY2182" fmla="*/ 3233547 h 3355086"/>
                <a:gd name="connsiteX2183" fmla="*/ 2213514 w 3359086"/>
                <a:gd name="connsiteY2183" fmla="*/ 3229833 h 3355086"/>
                <a:gd name="connsiteX2184" fmla="*/ 2210371 w 3359086"/>
                <a:gd name="connsiteY2184" fmla="*/ 3232976 h 3355086"/>
                <a:gd name="connsiteX2185" fmla="*/ 2206513 w 3359086"/>
                <a:gd name="connsiteY2185" fmla="*/ 3229118 h 3355086"/>
                <a:gd name="connsiteX2186" fmla="*/ 2203036 w 3359086"/>
                <a:gd name="connsiteY2186" fmla="*/ 3232594 h 3355086"/>
                <a:gd name="connsiteX2187" fmla="*/ 2199036 w 3359086"/>
                <a:gd name="connsiteY2187" fmla="*/ 3228594 h 3355086"/>
                <a:gd name="connsiteX2188" fmla="*/ 2195416 w 3359086"/>
                <a:gd name="connsiteY2188" fmla="*/ 3232213 h 3355086"/>
                <a:gd name="connsiteX2189" fmla="*/ 2191035 w 3359086"/>
                <a:gd name="connsiteY2189" fmla="*/ 3227833 h 3355086"/>
                <a:gd name="connsiteX2190" fmla="*/ 2187130 w 3359086"/>
                <a:gd name="connsiteY2190" fmla="*/ 3231737 h 3355086"/>
                <a:gd name="connsiteX2191" fmla="*/ 2182320 w 3359086"/>
                <a:gd name="connsiteY2191" fmla="*/ 3226927 h 3355086"/>
                <a:gd name="connsiteX2192" fmla="*/ 2178271 w 3359086"/>
                <a:gd name="connsiteY2192" fmla="*/ 3230976 h 3355086"/>
                <a:gd name="connsiteX2193" fmla="*/ 2172937 w 3359086"/>
                <a:gd name="connsiteY2193" fmla="*/ 3225642 h 3355086"/>
                <a:gd name="connsiteX2194" fmla="*/ 2168746 w 3359086"/>
                <a:gd name="connsiteY2194" fmla="*/ 3229832 h 3355086"/>
                <a:gd name="connsiteX2195" fmla="*/ 2162555 w 3359086"/>
                <a:gd name="connsiteY2195" fmla="*/ 3223641 h 3355086"/>
                <a:gd name="connsiteX2196" fmla="*/ 2168746 w 3359086"/>
                <a:gd name="connsiteY2196" fmla="*/ 3217450 h 3355086"/>
                <a:gd name="connsiteX2197" fmla="*/ 2061304 w 3359086"/>
                <a:gd name="connsiteY2197" fmla="*/ 3217069 h 3355086"/>
                <a:gd name="connsiteX2198" fmla="*/ 2067496 w 3359086"/>
                <a:gd name="connsiteY2198" fmla="*/ 3223260 h 3355086"/>
                <a:gd name="connsiteX2199" fmla="*/ 2061304 w 3359086"/>
                <a:gd name="connsiteY2199" fmla="*/ 3229452 h 3355086"/>
                <a:gd name="connsiteX2200" fmla="*/ 2055113 w 3359086"/>
                <a:gd name="connsiteY2200" fmla="*/ 3223260 h 3355086"/>
                <a:gd name="connsiteX2201" fmla="*/ 2061304 w 3359086"/>
                <a:gd name="connsiteY2201" fmla="*/ 3217069 h 3355086"/>
                <a:gd name="connsiteX2202" fmla="*/ 1649444 w 3359086"/>
                <a:gd name="connsiteY2202" fmla="*/ 3216879 h 3355086"/>
                <a:gd name="connsiteX2203" fmla="*/ 1655636 w 3359086"/>
                <a:gd name="connsiteY2203" fmla="*/ 3223070 h 3355086"/>
                <a:gd name="connsiteX2204" fmla="*/ 1649444 w 3359086"/>
                <a:gd name="connsiteY2204" fmla="*/ 3229261 h 3355086"/>
                <a:gd name="connsiteX2205" fmla="*/ 1643253 w 3359086"/>
                <a:gd name="connsiteY2205" fmla="*/ 3223070 h 3355086"/>
                <a:gd name="connsiteX2206" fmla="*/ 1649444 w 3359086"/>
                <a:gd name="connsiteY2206" fmla="*/ 3216879 h 3355086"/>
                <a:gd name="connsiteX2207" fmla="*/ 1409985 w 3359086"/>
                <a:gd name="connsiteY2207" fmla="*/ 3216497 h 3355086"/>
                <a:gd name="connsiteX2208" fmla="*/ 1416176 w 3359086"/>
                <a:gd name="connsiteY2208" fmla="*/ 3222688 h 3355086"/>
                <a:gd name="connsiteX2209" fmla="*/ 1409985 w 3359086"/>
                <a:gd name="connsiteY2209" fmla="*/ 3228880 h 3355086"/>
                <a:gd name="connsiteX2210" fmla="*/ 1403794 w 3359086"/>
                <a:gd name="connsiteY2210" fmla="*/ 3222688 h 3355086"/>
                <a:gd name="connsiteX2211" fmla="*/ 1409985 w 3359086"/>
                <a:gd name="connsiteY2211" fmla="*/ 3216497 h 3355086"/>
                <a:gd name="connsiteX2212" fmla="*/ 1228153 w 3359086"/>
                <a:gd name="connsiteY2212" fmla="*/ 3216402 h 3355086"/>
                <a:gd name="connsiteX2213" fmla="*/ 1234345 w 3359086"/>
                <a:gd name="connsiteY2213" fmla="*/ 3222593 h 3355086"/>
                <a:gd name="connsiteX2214" fmla="*/ 1228153 w 3359086"/>
                <a:gd name="connsiteY2214" fmla="*/ 3228784 h 3355086"/>
                <a:gd name="connsiteX2215" fmla="*/ 1221962 w 3359086"/>
                <a:gd name="connsiteY2215" fmla="*/ 3222593 h 3355086"/>
                <a:gd name="connsiteX2216" fmla="*/ 1228153 w 3359086"/>
                <a:gd name="connsiteY2216" fmla="*/ 3216402 h 3355086"/>
                <a:gd name="connsiteX2217" fmla="*/ 1322355 w 3359086"/>
                <a:gd name="connsiteY2217" fmla="*/ 3216212 h 3355086"/>
                <a:gd name="connsiteX2218" fmla="*/ 1328547 w 3359086"/>
                <a:gd name="connsiteY2218" fmla="*/ 3222403 h 3355086"/>
                <a:gd name="connsiteX2219" fmla="*/ 1322355 w 3359086"/>
                <a:gd name="connsiteY2219" fmla="*/ 3228595 h 3355086"/>
                <a:gd name="connsiteX2220" fmla="*/ 1316164 w 3359086"/>
                <a:gd name="connsiteY2220" fmla="*/ 3222403 h 3355086"/>
                <a:gd name="connsiteX2221" fmla="*/ 1322355 w 3359086"/>
                <a:gd name="connsiteY2221" fmla="*/ 3216212 h 3355086"/>
                <a:gd name="connsiteX2222" fmla="*/ 1721167 w 3359086"/>
                <a:gd name="connsiteY2222" fmla="*/ 3216117 h 3355086"/>
                <a:gd name="connsiteX2223" fmla="*/ 1727359 w 3359086"/>
                <a:gd name="connsiteY2223" fmla="*/ 3222308 h 3355086"/>
                <a:gd name="connsiteX2224" fmla="*/ 1721167 w 3359086"/>
                <a:gd name="connsiteY2224" fmla="*/ 3228499 h 3355086"/>
                <a:gd name="connsiteX2225" fmla="*/ 1714976 w 3359086"/>
                <a:gd name="connsiteY2225" fmla="*/ 3222308 h 3355086"/>
                <a:gd name="connsiteX2226" fmla="*/ 1721167 w 3359086"/>
                <a:gd name="connsiteY2226" fmla="*/ 3216117 h 3355086"/>
                <a:gd name="connsiteX2227" fmla="*/ 2158269 w 3359086"/>
                <a:gd name="connsiteY2227" fmla="*/ 3215450 h 3355086"/>
                <a:gd name="connsiteX2228" fmla="*/ 2164461 w 3359086"/>
                <a:gd name="connsiteY2228" fmla="*/ 3221641 h 3355086"/>
                <a:gd name="connsiteX2229" fmla="*/ 2158269 w 3359086"/>
                <a:gd name="connsiteY2229" fmla="*/ 3227832 h 3355086"/>
                <a:gd name="connsiteX2230" fmla="*/ 2152078 w 3359086"/>
                <a:gd name="connsiteY2230" fmla="*/ 3221641 h 3355086"/>
                <a:gd name="connsiteX2231" fmla="*/ 2158269 w 3359086"/>
                <a:gd name="connsiteY2231" fmla="*/ 3215450 h 3355086"/>
                <a:gd name="connsiteX2232" fmla="*/ 1577720 w 3359086"/>
                <a:gd name="connsiteY2232" fmla="*/ 3214973 h 3355086"/>
                <a:gd name="connsiteX2233" fmla="*/ 1583911 w 3359086"/>
                <a:gd name="connsiteY2233" fmla="*/ 3221164 h 3355086"/>
                <a:gd name="connsiteX2234" fmla="*/ 1577720 w 3359086"/>
                <a:gd name="connsiteY2234" fmla="*/ 3227356 h 3355086"/>
                <a:gd name="connsiteX2235" fmla="*/ 1571529 w 3359086"/>
                <a:gd name="connsiteY2235" fmla="*/ 3221164 h 3355086"/>
                <a:gd name="connsiteX2236" fmla="*/ 1577720 w 3359086"/>
                <a:gd name="connsiteY2236" fmla="*/ 3214973 h 3355086"/>
                <a:gd name="connsiteX2237" fmla="*/ 1792699 w 3359086"/>
                <a:gd name="connsiteY2237" fmla="*/ 3212973 h 3355086"/>
                <a:gd name="connsiteX2238" fmla="*/ 1798891 w 3359086"/>
                <a:gd name="connsiteY2238" fmla="*/ 3219164 h 3355086"/>
                <a:gd name="connsiteX2239" fmla="*/ 1792699 w 3359086"/>
                <a:gd name="connsiteY2239" fmla="*/ 3225355 h 3355086"/>
                <a:gd name="connsiteX2240" fmla="*/ 1786508 w 3359086"/>
                <a:gd name="connsiteY2240" fmla="*/ 3219164 h 3355086"/>
                <a:gd name="connsiteX2241" fmla="*/ 1792699 w 3359086"/>
                <a:gd name="connsiteY2241" fmla="*/ 3212973 h 3355086"/>
                <a:gd name="connsiteX2242" fmla="*/ 2146744 w 3359086"/>
                <a:gd name="connsiteY2242" fmla="*/ 3212687 h 3355086"/>
                <a:gd name="connsiteX2243" fmla="*/ 2152936 w 3359086"/>
                <a:gd name="connsiteY2243" fmla="*/ 3218878 h 3355086"/>
                <a:gd name="connsiteX2244" fmla="*/ 2146744 w 3359086"/>
                <a:gd name="connsiteY2244" fmla="*/ 3225069 h 3355086"/>
                <a:gd name="connsiteX2245" fmla="*/ 2140553 w 3359086"/>
                <a:gd name="connsiteY2245" fmla="*/ 3218878 h 3355086"/>
                <a:gd name="connsiteX2246" fmla="*/ 2146744 w 3359086"/>
                <a:gd name="connsiteY2246" fmla="*/ 3212687 h 3355086"/>
                <a:gd name="connsiteX2247" fmla="*/ 1957958 w 3359086"/>
                <a:gd name="connsiteY2247" fmla="*/ 3211545 h 3355086"/>
                <a:gd name="connsiteX2248" fmla="*/ 1964150 w 3359086"/>
                <a:gd name="connsiteY2248" fmla="*/ 3217736 h 3355086"/>
                <a:gd name="connsiteX2249" fmla="*/ 1957958 w 3359086"/>
                <a:gd name="connsiteY2249" fmla="*/ 3223927 h 3355086"/>
                <a:gd name="connsiteX2250" fmla="*/ 1951767 w 3359086"/>
                <a:gd name="connsiteY2250" fmla="*/ 3217736 h 3355086"/>
                <a:gd name="connsiteX2251" fmla="*/ 1957958 w 3359086"/>
                <a:gd name="connsiteY2251" fmla="*/ 3211545 h 3355086"/>
                <a:gd name="connsiteX2252" fmla="*/ 1243298 w 3359086"/>
                <a:gd name="connsiteY2252" fmla="*/ 3210973 h 3355086"/>
                <a:gd name="connsiteX2253" fmla="*/ 1249489 w 3359086"/>
                <a:gd name="connsiteY2253" fmla="*/ 3217164 h 3355086"/>
                <a:gd name="connsiteX2254" fmla="*/ 1243298 w 3359086"/>
                <a:gd name="connsiteY2254" fmla="*/ 3223355 h 3355086"/>
                <a:gd name="connsiteX2255" fmla="*/ 1237107 w 3359086"/>
                <a:gd name="connsiteY2255" fmla="*/ 3217164 h 3355086"/>
                <a:gd name="connsiteX2256" fmla="*/ 1243298 w 3359086"/>
                <a:gd name="connsiteY2256" fmla="*/ 3210973 h 3355086"/>
                <a:gd name="connsiteX2257" fmla="*/ 1506473 w 3359086"/>
                <a:gd name="connsiteY2257" fmla="*/ 3210687 h 3355086"/>
                <a:gd name="connsiteX2258" fmla="*/ 1512665 w 3359086"/>
                <a:gd name="connsiteY2258" fmla="*/ 3216878 h 3355086"/>
                <a:gd name="connsiteX2259" fmla="*/ 1506473 w 3359086"/>
                <a:gd name="connsiteY2259" fmla="*/ 3223069 h 3355086"/>
                <a:gd name="connsiteX2260" fmla="*/ 1500282 w 3359086"/>
                <a:gd name="connsiteY2260" fmla="*/ 3216878 h 3355086"/>
                <a:gd name="connsiteX2261" fmla="*/ 1506473 w 3359086"/>
                <a:gd name="connsiteY2261" fmla="*/ 3210687 h 3355086"/>
                <a:gd name="connsiteX2262" fmla="*/ 2043398 w 3359086"/>
                <a:gd name="connsiteY2262" fmla="*/ 3209830 h 3355086"/>
                <a:gd name="connsiteX2263" fmla="*/ 2049589 w 3359086"/>
                <a:gd name="connsiteY2263" fmla="*/ 3216021 h 3355086"/>
                <a:gd name="connsiteX2264" fmla="*/ 2043398 w 3359086"/>
                <a:gd name="connsiteY2264" fmla="*/ 3222212 h 3355086"/>
                <a:gd name="connsiteX2265" fmla="*/ 2037207 w 3359086"/>
                <a:gd name="connsiteY2265" fmla="*/ 3216021 h 3355086"/>
                <a:gd name="connsiteX2266" fmla="*/ 2043398 w 3359086"/>
                <a:gd name="connsiteY2266" fmla="*/ 3209830 h 3355086"/>
                <a:gd name="connsiteX2267" fmla="*/ 2134171 w 3359086"/>
                <a:gd name="connsiteY2267" fmla="*/ 3208687 h 3355086"/>
                <a:gd name="connsiteX2268" fmla="*/ 2140363 w 3359086"/>
                <a:gd name="connsiteY2268" fmla="*/ 3214878 h 3355086"/>
                <a:gd name="connsiteX2269" fmla="*/ 2134171 w 3359086"/>
                <a:gd name="connsiteY2269" fmla="*/ 3221070 h 3355086"/>
                <a:gd name="connsiteX2270" fmla="*/ 2127980 w 3359086"/>
                <a:gd name="connsiteY2270" fmla="*/ 3214878 h 3355086"/>
                <a:gd name="connsiteX2271" fmla="*/ 2134171 w 3359086"/>
                <a:gd name="connsiteY2271" fmla="*/ 3208687 h 3355086"/>
                <a:gd name="connsiteX2272" fmla="*/ 1150238 w 3359086"/>
                <a:gd name="connsiteY2272" fmla="*/ 3208496 h 3355086"/>
                <a:gd name="connsiteX2273" fmla="*/ 1156430 w 3359086"/>
                <a:gd name="connsiteY2273" fmla="*/ 3214687 h 3355086"/>
                <a:gd name="connsiteX2274" fmla="*/ 1150238 w 3359086"/>
                <a:gd name="connsiteY2274" fmla="*/ 3220879 h 3355086"/>
                <a:gd name="connsiteX2275" fmla="*/ 1146381 w 3359086"/>
                <a:gd name="connsiteY2275" fmla="*/ 3217022 h 3355086"/>
                <a:gd name="connsiteX2276" fmla="*/ 1140618 w 3359086"/>
                <a:gd name="connsiteY2276" fmla="*/ 3222784 h 3355086"/>
                <a:gd name="connsiteX2277" fmla="*/ 1136904 w 3359086"/>
                <a:gd name="connsiteY2277" fmla="*/ 3219070 h 3355086"/>
                <a:gd name="connsiteX2278" fmla="*/ 1131855 w 3359086"/>
                <a:gd name="connsiteY2278" fmla="*/ 3224118 h 3355086"/>
                <a:gd name="connsiteX2279" fmla="*/ 1128283 w 3359086"/>
                <a:gd name="connsiteY2279" fmla="*/ 3220546 h 3355086"/>
                <a:gd name="connsiteX2280" fmla="*/ 1123854 w 3359086"/>
                <a:gd name="connsiteY2280" fmla="*/ 3224975 h 3355086"/>
                <a:gd name="connsiteX2281" fmla="*/ 1120378 w 3359086"/>
                <a:gd name="connsiteY2281" fmla="*/ 3221498 h 3355086"/>
                <a:gd name="connsiteX2282" fmla="*/ 1116329 w 3359086"/>
                <a:gd name="connsiteY2282" fmla="*/ 3225547 h 3355086"/>
                <a:gd name="connsiteX2283" fmla="*/ 1113043 w 3359086"/>
                <a:gd name="connsiteY2283" fmla="*/ 3222261 h 3355086"/>
                <a:gd name="connsiteX2284" fmla="*/ 1109281 w 3359086"/>
                <a:gd name="connsiteY2284" fmla="*/ 3226022 h 3355086"/>
                <a:gd name="connsiteX2285" fmla="*/ 1106233 w 3359086"/>
                <a:gd name="connsiteY2285" fmla="*/ 3222974 h 3355086"/>
                <a:gd name="connsiteX2286" fmla="*/ 1102709 w 3359086"/>
                <a:gd name="connsiteY2286" fmla="*/ 3226499 h 3355086"/>
                <a:gd name="connsiteX2287" fmla="*/ 1099899 w 3359086"/>
                <a:gd name="connsiteY2287" fmla="*/ 3223689 h 3355086"/>
                <a:gd name="connsiteX2288" fmla="*/ 1096327 w 3359086"/>
                <a:gd name="connsiteY2288" fmla="*/ 3227260 h 3355086"/>
                <a:gd name="connsiteX2289" fmla="*/ 1093851 w 3359086"/>
                <a:gd name="connsiteY2289" fmla="*/ 3224784 h 3355086"/>
                <a:gd name="connsiteX2290" fmla="*/ 1090231 w 3359086"/>
                <a:gd name="connsiteY2290" fmla="*/ 3228403 h 3355086"/>
                <a:gd name="connsiteX2291" fmla="*/ 1087993 w 3359086"/>
                <a:gd name="connsiteY2291" fmla="*/ 3226165 h 3355086"/>
                <a:gd name="connsiteX2292" fmla="*/ 1084230 w 3359086"/>
                <a:gd name="connsiteY2292" fmla="*/ 3229927 h 3355086"/>
                <a:gd name="connsiteX2293" fmla="*/ 1082325 w 3359086"/>
                <a:gd name="connsiteY2293" fmla="*/ 3228023 h 3355086"/>
                <a:gd name="connsiteX2294" fmla="*/ 1078324 w 3359086"/>
                <a:gd name="connsiteY2294" fmla="*/ 3232023 h 3355086"/>
                <a:gd name="connsiteX2295" fmla="*/ 1076706 w 3359086"/>
                <a:gd name="connsiteY2295" fmla="*/ 3230405 h 3355086"/>
                <a:gd name="connsiteX2296" fmla="*/ 1072324 w 3359086"/>
                <a:gd name="connsiteY2296" fmla="*/ 3234786 h 3355086"/>
                <a:gd name="connsiteX2297" fmla="*/ 1071085 w 3359086"/>
                <a:gd name="connsiteY2297" fmla="*/ 3233547 h 3355086"/>
                <a:gd name="connsiteX2298" fmla="*/ 1066323 w 3359086"/>
                <a:gd name="connsiteY2298" fmla="*/ 3238309 h 3355086"/>
                <a:gd name="connsiteX2299" fmla="*/ 1060132 w 3359086"/>
                <a:gd name="connsiteY2299" fmla="*/ 3232118 h 3355086"/>
                <a:gd name="connsiteX2300" fmla="*/ 1066323 w 3359086"/>
                <a:gd name="connsiteY2300" fmla="*/ 3225927 h 3355086"/>
                <a:gd name="connsiteX2301" fmla="*/ 1067562 w 3359086"/>
                <a:gd name="connsiteY2301" fmla="*/ 3227166 h 3355086"/>
                <a:gd name="connsiteX2302" fmla="*/ 1072324 w 3359086"/>
                <a:gd name="connsiteY2302" fmla="*/ 3222403 h 3355086"/>
                <a:gd name="connsiteX2303" fmla="*/ 1073943 w 3359086"/>
                <a:gd name="connsiteY2303" fmla="*/ 3224022 h 3355086"/>
                <a:gd name="connsiteX2304" fmla="*/ 1078324 w 3359086"/>
                <a:gd name="connsiteY2304" fmla="*/ 3219641 h 3355086"/>
                <a:gd name="connsiteX2305" fmla="*/ 1080229 w 3359086"/>
                <a:gd name="connsiteY2305" fmla="*/ 3221546 h 3355086"/>
                <a:gd name="connsiteX2306" fmla="*/ 1084230 w 3359086"/>
                <a:gd name="connsiteY2306" fmla="*/ 3217545 h 3355086"/>
                <a:gd name="connsiteX2307" fmla="*/ 1086469 w 3359086"/>
                <a:gd name="connsiteY2307" fmla="*/ 3219784 h 3355086"/>
                <a:gd name="connsiteX2308" fmla="*/ 1090231 w 3359086"/>
                <a:gd name="connsiteY2308" fmla="*/ 3216021 h 3355086"/>
                <a:gd name="connsiteX2309" fmla="*/ 1092708 w 3359086"/>
                <a:gd name="connsiteY2309" fmla="*/ 3218498 h 3355086"/>
                <a:gd name="connsiteX2310" fmla="*/ 1096327 w 3359086"/>
                <a:gd name="connsiteY2310" fmla="*/ 3214878 h 3355086"/>
                <a:gd name="connsiteX2311" fmla="*/ 1099137 w 3359086"/>
                <a:gd name="connsiteY2311" fmla="*/ 3217688 h 3355086"/>
                <a:gd name="connsiteX2312" fmla="*/ 1102709 w 3359086"/>
                <a:gd name="connsiteY2312" fmla="*/ 3214116 h 3355086"/>
                <a:gd name="connsiteX2313" fmla="*/ 1105757 w 3359086"/>
                <a:gd name="connsiteY2313" fmla="*/ 3217164 h 3355086"/>
                <a:gd name="connsiteX2314" fmla="*/ 1109281 w 3359086"/>
                <a:gd name="connsiteY2314" fmla="*/ 3213640 h 3355086"/>
                <a:gd name="connsiteX2315" fmla="*/ 1112567 w 3359086"/>
                <a:gd name="connsiteY2315" fmla="*/ 3216926 h 3355086"/>
                <a:gd name="connsiteX2316" fmla="*/ 1116329 w 3359086"/>
                <a:gd name="connsiteY2316" fmla="*/ 3213164 h 3355086"/>
                <a:gd name="connsiteX2317" fmla="*/ 1119806 w 3359086"/>
                <a:gd name="connsiteY2317" fmla="*/ 3216641 h 3355086"/>
                <a:gd name="connsiteX2318" fmla="*/ 1123854 w 3359086"/>
                <a:gd name="connsiteY2318" fmla="*/ 3212592 h 3355086"/>
                <a:gd name="connsiteX2319" fmla="*/ 1127426 w 3359086"/>
                <a:gd name="connsiteY2319" fmla="*/ 3216164 h 3355086"/>
                <a:gd name="connsiteX2320" fmla="*/ 1131855 w 3359086"/>
                <a:gd name="connsiteY2320" fmla="*/ 3211735 h 3355086"/>
                <a:gd name="connsiteX2321" fmla="*/ 1135570 w 3359086"/>
                <a:gd name="connsiteY2321" fmla="*/ 3215450 h 3355086"/>
                <a:gd name="connsiteX2322" fmla="*/ 1140618 w 3359086"/>
                <a:gd name="connsiteY2322" fmla="*/ 3210402 h 3355086"/>
                <a:gd name="connsiteX2323" fmla="*/ 1144475 w 3359086"/>
                <a:gd name="connsiteY2323" fmla="*/ 3214259 h 3355086"/>
                <a:gd name="connsiteX2324" fmla="*/ 1863566 w 3359086"/>
                <a:gd name="connsiteY2324" fmla="*/ 3207354 h 3355086"/>
                <a:gd name="connsiteX2325" fmla="*/ 1869758 w 3359086"/>
                <a:gd name="connsiteY2325" fmla="*/ 3213545 h 3355086"/>
                <a:gd name="connsiteX2326" fmla="*/ 1863566 w 3359086"/>
                <a:gd name="connsiteY2326" fmla="*/ 3219736 h 3355086"/>
                <a:gd name="connsiteX2327" fmla="*/ 1857375 w 3359086"/>
                <a:gd name="connsiteY2327" fmla="*/ 3213545 h 3355086"/>
                <a:gd name="connsiteX2328" fmla="*/ 1863566 w 3359086"/>
                <a:gd name="connsiteY2328" fmla="*/ 3207354 h 3355086"/>
                <a:gd name="connsiteX2329" fmla="*/ 997838 w 3359086"/>
                <a:gd name="connsiteY2329" fmla="*/ 3207354 h 3355086"/>
                <a:gd name="connsiteX2330" fmla="*/ 999076 w 3359086"/>
                <a:gd name="connsiteY2330" fmla="*/ 3208592 h 3355086"/>
                <a:gd name="connsiteX2331" fmla="*/ 997838 w 3359086"/>
                <a:gd name="connsiteY2331" fmla="*/ 3209831 h 3355086"/>
                <a:gd name="connsiteX2332" fmla="*/ 996600 w 3359086"/>
                <a:gd name="connsiteY2332" fmla="*/ 3208592 h 3355086"/>
                <a:gd name="connsiteX2333" fmla="*/ 997838 w 3359086"/>
                <a:gd name="connsiteY2333" fmla="*/ 3207354 h 3355086"/>
                <a:gd name="connsiteX2334" fmla="*/ 1343500 w 3359086"/>
                <a:gd name="connsiteY2334" fmla="*/ 3206687 h 3355086"/>
                <a:gd name="connsiteX2335" fmla="*/ 1349692 w 3359086"/>
                <a:gd name="connsiteY2335" fmla="*/ 3212878 h 3355086"/>
                <a:gd name="connsiteX2336" fmla="*/ 1343500 w 3359086"/>
                <a:gd name="connsiteY2336" fmla="*/ 3219070 h 3355086"/>
                <a:gd name="connsiteX2337" fmla="*/ 1337309 w 3359086"/>
                <a:gd name="connsiteY2337" fmla="*/ 3212878 h 3355086"/>
                <a:gd name="connsiteX2338" fmla="*/ 1343500 w 3359086"/>
                <a:gd name="connsiteY2338" fmla="*/ 3206687 h 3355086"/>
                <a:gd name="connsiteX2339" fmla="*/ 1160716 w 3359086"/>
                <a:gd name="connsiteY2339" fmla="*/ 3205639 h 3355086"/>
                <a:gd name="connsiteX2340" fmla="*/ 1166908 w 3359086"/>
                <a:gd name="connsiteY2340" fmla="*/ 3211830 h 3355086"/>
                <a:gd name="connsiteX2341" fmla="*/ 1160716 w 3359086"/>
                <a:gd name="connsiteY2341" fmla="*/ 3218021 h 3355086"/>
                <a:gd name="connsiteX2342" fmla="*/ 1154525 w 3359086"/>
                <a:gd name="connsiteY2342" fmla="*/ 3211830 h 3355086"/>
                <a:gd name="connsiteX2343" fmla="*/ 1160716 w 3359086"/>
                <a:gd name="connsiteY2343" fmla="*/ 3205639 h 3355086"/>
                <a:gd name="connsiteX2344" fmla="*/ 1435893 w 3359086"/>
                <a:gd name="connsiteY2344" fmla="*/ 3203829 h 3355086"/>
                <a:gd name="connsiteX2345" fmla="*/ 1442084 w 3359086"/>
                <a:gd name="connsiteY2345" fmla="*/ 3210020 h 3355086"/>
                <a:gd name="connsiteX2346" fmla="*/ 1435893 w 3359086"/>
                <a:gd name="connsiteY2346" fmla="*/ 3216211 h 3355086"/>
                <a:gd name="connsiteX2347" fmla="*/ 1429702 w 3359086"/>
                <a:gd name="connsiteY2347" fmla="*/ 3210020 h 3355086"/>
                <a:gd name="connsiteX2348" fmla="*/ 1435893 w 3359086"/>
                <a:gd name="connsiteY2348" fmla="*/ 3203829 h 3355086"/>
                <a:gd name="connsiteX2349" fmla="*/ 1259966 w 3359086"/>
                <a:gd name="connsiteY2349" fmla="*/ 3203829 h 3355086"/>
                <a:gd name="connsiteX2350" fmla="*/ 1266157 w 3359086"/>
                <a:gd name="connsiteY2350" fmla="*/ 3210020 h 3355086"/>
                <a:gd name="connsiteX2351" fmla="*/ 1259966 w 3359086"/>
                <a:gd name="connsiteY2351" fmla="*/ 3216211 h 3355086"/>
                <a:gd name="connsiteX2352" fmla="*/ 1253775 w 3359086"/>
                <a:gd name="connsiteY2352" fmla="*/ 3210020 h 3355086"/>
                <a:gd name="connsiteX2353" fmla="*/ 1259966 w 3359086"/>
                <a:gd name="connsiteY2353" fmla="*/ 3203829 h 3355086"/>
                <a:gd name="connsiteX2354" fmla="*/ 2120264 w 3359086"/>
                <a:gd name="connsiteY2354" fmla="*/ 3203448 h 3355086"/>
                <a:gd name="connsiteX2355" fmla="*/ 2126456 w 3359086"/>
                <a:gd name="connsiteY2355" fmla="*/ 3209639 h 3355086"/>
                <a:gd name="connsiteX2356" fmla="*/ 2120264 w 3359086"/>
                <a:gd name="connsiteY2356" fmla="*/ 3215830 h 3355086"/>
                <a:gd name="connsiteX2357" fmla="*/ 2114073 w 3359086"/>
                <a:gd name="connsiteY2357" fmla="*/ 3209639 h 3355086"/>
                <a:gd name="connsiteX2358" fmla="*/ 2120264 w 3359086"/>
                <a:gd name="connsiteY2358" fmla="*/ 3203448 h 3355086"/>
                <a:gd name="connsiteX2359" fmla="*/ 1172241 w 3359086"/>
                <a:gd name="connsiteY2359" fmla="*/ 3201734 h 3355086"/>
                <a:gd name="connsiteX2360" fmla="*/ 1178433 w 3359086"/>
                <a:gd name="connsiteY2360" fmla="*/ 3207925 h 3355086"/>
                <a:gd name="connsiteX2361" fmla="*/ 1172241 w 3359086"/>
                <a:gd name="connsiteY2361" fmla="*/ 3214116 h 3355086"/>
                <a:gd name="connsiteX2362" fmla="*/ 1166050 w 3359086"/>
                <a:gd name="connsiteY2362" fmla="*/ 3207925 h 3355086"/>
                <a:gd name="connsiteX2363" fmla="*/ 1172241 w 3359086"/>
                <a:gd name="connsiteY2363" fmla="*/ 3201734 h 3355086"/>
                <a:gd name="connsiteX2364" fmla="*/ 2023776 w 3359086"/>
                <a:gd name="connsiteY2364" fmla="*/ 3200496 h 3355086"/>
                <a:gd name="connsiteX2365" fmla="*/ 2029967 w 3359086"/>
                <a:gd name="connsiteY2365" fmla="*/ 3206687 h 3355086"/>
                <a:gd name="connsiteX2366" fmla="*/ 2023776 w 3359086"/>
                <a:gd name="connsiteY2366" fmla="*/ 3212878 h 3355086"/>
                <a:gd name="connsiteX2367" fmla="*/ 2017585 w 3359086"/>
                <a:gd name="connsiteY2367" fmla="*/ 3206687 h 3355086"/>
                <a:gd name="connsiteX2368" fmla="*/ 2023776 w 3359086"/>
                <a:gd name="connsiteY2368" fmla="*/ 3200496 h 3355086"/>
                <a:gd name="connsiteX2369" fmla="*/ 1933574 w 3359086"/>
                <a:gd name="connsiteY2369" fmla="*/ 3199257 h 3355086"/>
                <a:gd name="connsiteX2370" fmla="*/ 1939765 w 3359086"/>
                <a:gd name="connsiteY2370" fmla="*/ 3205448 h 3355086"/>
                <a:gd name="connsiteX2371" fmla="*/ 1933574 w 3359086"/>
                <a:gd name="connsiteY2371" fmla="*/ 3211640 h 3355086"/>
                <a:gd name="connsiteX2372" fmla="*/ 1927383 w 3359086"/>
                <a:gd name="connsiteY2372" fmla="*/ 3205448 h 3355086"/>
                <a:gd name="connsiteX2373" fmla="*/ 1933574 w 3359086"/>
                <a:gd name="connsiteY2373" fmla="*/ 3199257 h 3355086"/>
                <a:gd name="connsiteX2374" fmla="*/ 1686020 w 3359086"/>
                <a:gd name="connsiteY2374" fmla="*/ 3198114 h 3355086"/>
                <a:gd name="connsiteX2375" fmla="*/ 1692212 w 3359086"/>
                <a:gd name="connsiteY2375" fmla="*/ 3204305 h 3355086"/>
                <a:gd name="connsiteX2376" fmla="*/ 1686020 w 3359086"/>
                <a:gd name="connsiteY2376" fmla="*/ 3210496 h 3355086"/>
                <a:gd name="connsiteX2377" fmla="*/ 1679829 w 3359086"/>
                <a:gd name="connsiteY2377" fmla="*/ 3204305 h 3355086"/>
                <a:gd name="connsiteX2378" fmla="*/ 1686020 w 3359086"/>
                <a:gd name="connsiteY2378" fmla="*/ 3198114 h 3355086"/>
                <a:gd name="connsiteX2379" fmla="*/ 1611629 w 3359086"/>
                <a:gd name="connsiteY2379" fmla="*/ 3197447 h 3355086"/>
                <a:gd name="connsiteX2380" fmla="*/ 1617821 w 3359086"/>
                <a:gd name="connsiteY2380" fmla="*/ 3203638 h 3355086"/>
                <a:gd name="connsiteX2381" fmla="*/ 1611629 w 3359086"/>
                <a:gd name="connsiteY2381" fmla="*/ 3209830 h 3355086"/>
                <a:gd name="connsiteX2382" fmla="*/ 1605438 w 3359086"/>
                <a:gd name="connsiteY2382" fmla="*/ 3203638 h 3355086"/>
                <a:gd name="connsiteX2383" fmla="*/ 1611629 w 3359086"/>
                <a:gd name="connsiteY2383" fmla="*/ 3197447 h 3355086"/>
                <a:gd name="connsiteX2384" fmla="*/ 2199512 w 3359086"/>
                <a:gd name="connsiteY2384" fmla="*/ 3197257 h 3355086"/>
                <a:gd name="connsiteX2385" fmla="*/ 2205656 w 3359086"/>
                <a:gd name="connsiteY2385" fmla="*/ 3203400 h 3355086"/>
                <a:gd name="connsiteX2386" fmla="*/ 2208942 w 3359086"/>
                <a:gd name="connsiteY2386" fmla="*/ 3200114 h 3355086"/>
                <a:gd name="connsiteX2387" fmla="*/ 2214181 w 3359086"/>
                <a:gd name="connsiteY2387" fmla="*/ 3205353 h 3355086"/>
                <a:gd name="connsiteX2388" fmla="*/ 2217419 w 3359086"/>
                <a:gd name="connsiteY2388" fmla="*/ 3202115 h 3355086"/>
                <a:gd name="connsiteX2389" fmla="*/ 2222039 w 3359086"/>
                <a:gd name="connsiteY2389" fmla="*/ 3206735 h 3355086"/>
                <a:gd name="connsiteX2390" fmla="*/ 2225230 w 3359086"/>
                <a:gd name="connsiteY2390" fmla="*/ 3203544 h 3355086"/>
                <a:gd name="connsiteX2391" fmla="*/ 2229278 w 3359086"/>
                <a:gd name="connsiteY2391" fmla="*/ 3207592 h 3355086"/>
                <a:gd name="connsiteX2392" fmla="*/ 2232374 w 3359086"/>
                <a:gd name="connsiteY2392" fmla="*/ 3204496 h 3355086"/>
                <a:gd name="connsiteX2393" fmla="*/ 2236041 w 3359086"/>
                <a:gd name="connsiteY2393" fmla="*/ 3208163 h 3355086"/>
                <a:gd name="connsiteX2394" fmla="*/ 2239041 w 3359086"/>
                <a:gd name="connsiteY2394" fmla="*/ 3205163 h 3355086"/>
                <a:gd name="connsiteX2395" fmla="*/ 2242518 w 3359086"/>
                <a:gd name="connsiteY2395" fmla="*/ 3208639 h 3355086"/>
                <a:gd name="connsiteX2396" fmla="*/ 2245328 w 3359086"/>
                <a:gd name="connsiteY2396" fmla="*/ 3205829 h 3355086"/>
                <a:gd name="connsiteX2397" fmla="*/ 2248662 w 3359086"/>
                <a:gd name="connsiteY2397" fmla="*/ 3209163 h 3355086"/>
                <a:gd name="connsiteX2398" fmla="*/ 2251233 w 3359086"/>
                <a:gd name="connsiteY2398" fmla="*/ 3206592 h 3355086"/>
                <a:gd name="connsiteX2399" fmla="*/ 2254519 w 3359086"/>
                <a:gd name="connsiteY2399" fmla="*/ 3209878 h 3355086"/>
                <a:gd name="connsiteX2400" fmla="*/ 2256948 w 3359086"/>
                <a:gd name="connsiteY2400" fmla="*/ 3207449 h 3355086"/>
                <a:gd name="connsiteX2401" fmla="*/ 2260377 w 3359086"/>
                <a:gd name="connsiteY2401" fmla="*/ 3210878 h 3355086"/>
                <a:gd name="connsiteX2402" fmla="*/ 2262473 w 3359086"/>
                <a:gd name="connsiteY2402" fmla="*/ 3208782 h 3355086"/>
                <a:gd name="connsiteX2403" fmla="*/ 2266092 w 3359086"/>
                <a:gd name="connsiteY2403" fmla="*/ 3212402 h 3355086"/>
                <a:gd name="connsiteX2404" fmla="*/ 2267902 w 3359086"/>
                <a:gd name="connsiteY2404" fmla="*/ 3210592 h 3355086"/>
                <a:gd name="connsiteX2405" fmla="*/ 2271807 w 3359086"/>
                <a:gd name="connsiteY2405" fmla="*/ 3214497 h 3355086"/>
                <a:gd name="connsiteX2406" fmla="*/ 2273331 w 3359086"/>
                <a:gd name="connsiteY2406" fmla="*/ 3212973 h 3355086"/>
                <a:gd name="connsiteX2407" fmla="*/ 2277618 w 3359086"/>
                <a:gd name="connsiteY2407" fmla="*/ 3217259 h 3355086"/>
                <a:gd name="connsiteX2408" fmla="*/ 2278856 w 3359086"/>
                <a:gd name="connsiteY2408" fmla="*/ 3216021 h 3355086"/>
                <a:gd name="connsiteX2409" fmla="*/ 2283570 w 3359086"/>
                <a:gd name="connsiteY2409" fmla="*/ 3220736 h 3355086"/>
                <a:gd name="connsiteX2410" fmla="*/ 2284475 w 3359086"/>
                <a:gd name="connsiteY2410" fmla="*/ 3219831 h 3355086"/>
                <a:gd name="connsiteX2411" fmla="*/ 2289666 w 3359086"/>
                <a:gd name="connsiteY2411" fmla="*/ 3225022 h 3355086"/>
                <a:gd name="connsiteX2412" fmla="*/ 2290190 w 3359086"/>
                <a:gd name="connsiteY2412" fmla="*/ 3224498 h 3355086"/>
                <a:gd name="connsiteX2413" fmla="*/ 2296382 w 3359086"/>
                <a:gd name="connsiteY2413" fmla="*/ 3230689 h 3355086"/>
                <a:gd name="connsiteX2414" fmla="*/ 2290190 w 3359086"/>
                <a:gd name="connsiteY2414" fmla="*/ 3236881 h 3355086"/>
                <a:gd name="connsiteX2415" fmla="*/ 2284999 w 3359086"/>
                <a:gd name="connsiteY2415" fmla="*/ 3231689 h 3355086"/>
                <a:gd name="connsiteX2416" fmla="*/ 2284475 w 3359086"/>
                <a:gd name="connsiteY2416" fmla="*/ 3232213 h 3355086"/>
                <a:gd name="connsiteX2417" fmla="*/ 2279760 w 3359086"/>
                <a:gd name="connsiteY2417" fmla="*/ 3227499 h 3355086"/>
                <a:gd name="connsiteX2418" fmla="*/ 2278856 w 3359086"/>
                <a:gd name="connsiteY2418" fmla="*/ 3228403 h 3355086"/>
                <a:gd name="connsiteX2419" fmla="*/ 2274570 w 3359086"/>
                <a:gd name="connsiteY2419" fmla="*/ 3224117 h 3355086"/>
                <a:gd name="connsiteX2420" fmla="*/ 2273331 w 3359086"/>
                <a:gd name="connsiteY2420" fmla="*/ 3225355 h 3355086"/>
                <a:gd name="connsiteX2421" fmla="*/ 2269426 w 3359086"/>
                <a:gd name="connsiteY2421" fmla="*/ 3221450 h 3355086"/>
                <a:gd name="connsiteX2422" fmla="*/ 2267902 w 3359086"/>
                <a:gd name="connsiteY2422" fmla="*/ 3222974 h 3355086"/>
                <a:gd name="connsiteX2423" fmla="*/ 2264283 w 3359086"/>
                <a:gd name="connsiteY2423" fmla="*/ 3219355 h 3355086"/>
                <a:gd name="connsiteX2424" fmla="*/ 2262473 w 3359086"/>
                <a:gd name="connsiteY2424" fmla="*/ 3221165 h 3355086"/>
                <a:gd name="connsiteX2425" fmla="*/ 2259044 w 3359086"/>
                <a:gd name="connsiteY2425" fmla="*/ 3217736 h 3355086"/>
                <a:gd name="connsiteX2426" fmla="*/ 2256948 w 3359086"/>
                <a:gd name="connsiteY2426" fmla="*/ 3219831 h 3355086"/>
                <a:gd name="connsiteX2427" fmla="*/ 2253662 w 3359086"/>
                <a:gd name="connsiteY2427" fmla="*/ 3216545 h 3355086"/>
                <a:gd name="connsiteX2428" fmla="*/ 2251233 w 3359086"/>
                <a:gd name="connsiteY2428" fmla="*/ 3218974 h 3355086"/>
                <a:gd name="connsiteX2429" fmla="*/ 2247899 w 3359086"/>
                <a:gd name="connsiteY2429" fmla="*/ 3215640 h 3355086"/>
                <a:gd name="connsiteX2430" fmla="*/ 2245328 w 3359086"/>
                <a:gd name="connsiteY2430" fmla="*/ 3218211 h 3355086"/>
                <a:gd name="connsiteX2431" fmla="*/ 2241852 w 3359086"/>
                <a:gd name="connsiteY2431" fmla="*/ 3214735 h 3355086"/>
                <a:gd name="connsiteX2432" fmla="*/ 2239041 w 3359086"/>
                <a:gd name="connsiteY2432" fmla="*/ 3217546 h 3355086"/>
                <a:gd name="connsiteX2433" fmla="*/ 2235374 w 3359086"/>
                <a:gd name="connsiteY2433" fmla="*/ 3213879 h 3355086"/>
                <a:gd name="connsiteX2434" fmla="*/ 2232374 w 3359086"/>
                <a:gd name="connsiteY2434" fmla="*/ 3216878 h 3355086"/>
                <a:gd name="connsiteX2435" fmla="*/ 2228326 w 3359086"/>
                <a:gd name="connsiteY2435" fmla="*/ 3212831 h 3355086"/>
                <a:gd name="connsiteX2436" fmla="*/ 2225230 w 3359086"/>
                <a:gd name="connsiteY2436" fmla="*/ 3215926 h 3355086"/>
                <a:gd name="connsiteX2437" fmla="*/ 2220610 w 3359086"/>
                <a:gd name="connsiteY2437" fmla="*/ 3211306 h 3355086"/>
                <a:gd name="connsiteX2438" fmla="*/ 2217419 w 3359086"/>
                <a:gd name="connsiteY2438" fmla="*/ 3214497 h 3355086"/>
                <a:gd name="connsiteX2439" fmla="*/ 2212180 w 3359086"/>
                <a:gd name="connsiteY2439" fmla="*/ 3209259 h 3355086"/>
                <a:gd name="connsiteX2440" fmla="*/ 2208942 w 3359086"/>
                <a:gd name="connsiteY2440" fmla="*/ 3212497 h 3355086"/>
                <a:gd name="connsiteX2441" fmla="*/ 2202799 w 3359086"/>
                <a:gd name="connsiteY2441" fmla="*/ 3206353 h 3355086"/>
                <a:gd name="connsiteX2442" fmla="*/ 2199512 w 3359086"/>
                <a:gd name="connsiteY2442" fmla="*/ 3209639 h 3355086"/>
                <a:gd name="connsiteX2443" fmla="*/ 2193321 w 3359086"/>
                <a:gd name="connsiteY2443" fmla="*/ 3203448 h 3355086"/>
                <a:gd name="connsiteX2444" fmla="*/ 2199512 w 3359086"/>
                <a:gd name="connsiteY2444" fmla="*/ 3197257 h 3355086"/>
                <a:gd name="connsiteX2445" fmla="*/ 1185005 w 3359086"/>
                <a:gd name="connsiteY2445" fmla="*/ 3196495 h 3355086"/>
                <a:gd name="connsiteX2446" fmla="*/ 1191196 w 3359086"/>
                <a:gd name="connsiteY2446" fmla="*/ 3202686 h 3355086"/>
                <a:gd name="connsiteX2447" fmla="*/ 1185005 w 3359086"/>
                <a:gd name="connsiteY2447" fmla="*/ 3208878 h 3355086"/>
                <a:gd name="connsiteX2448" fmla="*/ 1178814 w 3359086"/>
                <a:gd name="connsiteY2448" fmla="*/ 3202686 h 3355086"/>
                <a:gd name="connsiteX2449" fmla="*/ 1185005 w 3359086"/>
                <a:gd name="connsiteY2449" fmla="*/ 3196495 h 3355086"/>
                <a:gd name="connsiteX2450" fmla="*/ 2104929 w 3359086"/>
                <a:gd name="connsiteY2450" fmla="*/ 3196400 h 3355086"/>
                <a:gd name="connsiteX2451" fmla="*/ 2111121 w 3359086"/>
                <a:gd name="connsiteY2451" fmla="*/ 3202591 h 3355086"/>
                <a:gd name="connsiteX2452" fmla="*/ 2104929 w 3359086"/>
                <a:gd name="connsiteY2452" fmla="*/ 3208782 h 3355086"/>
                <a:gd name="connsiteX2453" fmla="*/ 2098738 w 3359086"/>
                <a:gd name="connsiteY2453" fmla="*/ 3202591 h 3355086"/>
                <a:gd name="connsiteX2454" fmla="*/ 2104929 w 3359086"/>
                <a:gd name="connsiteY2454" fmla="*/ 3196400 h 3355086"/>
                <a:gd name="connsiteX2455" fmla="*/ 1760219 w 3359086"/>
                <a:gd name="connsiteY2455" fmla="*/ 3196114 h 3355086"/>
                <a:gd name="connsiteX2456" fmla="*/ 1766411 w 3359086"/>
                <a:gd name="connsiteY2456" fmla="*/ 3202305 h 3355086"/>
                <a:gd name="connsiteX2457" fmla="*/ 1760219 w 3359086"/>
                <a:gd name="connsiteY2457" fmla="*/ 3208496 h 3355086"/>
                <a:gd name="connsiteX2458" fmla="*/ 1754028 w 3359086"/>
                <a:gd name="connsiteY2458" fmla="*/ 3202305 h 3355086"/>
                <a:gd name="connsiteX2459" fmla="*/ 1760219 w 3359086"/>
                <a:gd name="connsiteY2459" fmla="*/ 3196114 h 3355086"/>
                <a:gd name="connsiteX2460" fmla="*/ 1366551 w 3359086"/>
                <a:gd name="connsiteY2460" fmla="*/ 3194685 h 3355086"/>
                <a:gd name="connsiteX2461" fmla="*/ 1372742 w 3359086"/>
                <a:gd name="connsiteY2461" fmla="*/ 3200876 h 3355086"/>
                <a:gd name="connsiteX2462" fmla="*/ 1366551 w 3359086"/>
                <a:gd name="connsiteY2462" fmla="*/ 3207067 h 3355086"/>
                <a:gd name="connsiteX2463" fmla="*/ 1360360 w 3359086"/>
                <a:gd name="connsiteY2463" fmla="*/ 3200876 h 3355086"/>
                <a:gd name="connsiteX2464" fmla="*/ 1366551 w 3359086"/>
                <a:gd name="connsiteY2464" fmla="*/ 3194685 h 3355086"/>
                <a:gd name="connsiteX2465" fmla="*/ 1278349 w 3359086"/>
                <a:gd name="connsiteY2465" fmla="*/ 3194685 h 3355086"/>
                <a:gd name="connsiteX2466" fmla="*/ 1284541 w 3359086"/>
                <a:gd name="connsiteY2466" fmla="*/ 3200876 h 3355086"/>
                <a:gd name="connsiteX2467" fmla="*/ 1278349 w 3359086"/>
                <a:gd name="connsiteY2467" fmla="*/ 3207067 h 3355086"/>
                <a:gd name="connsiteX2468" fmla="*/ 1272158 w 3359086"/>
                <a:gd name="connsiteY2468" fmla="*/ 3200876 h 3355086"/>
                <a:gd name="connsiteX2469" fmla="*/ 1278349 w 3359086"/>
                <a:gd name="connsiteY2469" fmla="*/ 3194685 h 3355086"/>
                <a:gd name="connsiteX2470" fmla="*/ 1537525 w 3359086"/>
                <a:gd name="connsiteY2470" fmla="*/ 3194209 h 3355086"/>
                <a:gd name="connsiteX2471" fmla="*/ 1543717 w 3359086"/>
                <a:gd name="connsiteY2471" fmla="*/ 3200400 h 3355086"/>
                <a:gd name="connsiteX2472" fmla="*/ 1537525 w 3359086"/>
                <a:gd name="connsiteY2472" fmla="*/ 3206592 h 3355086"/>
                <a:gd name="connsiteX2473" fmla="*/ 1531334 w 3359086"/>
                <a:gd name="connsiteY2473" fmla="*/ 3200400 h 3355086"/>
                <a:gd name="connsiteX2474" fmla="*/ 1537525 w 3359086"/>
                <a:gd name="connsiteY2474" fmla="*/ 3194209 h 3355086"/>
                <a:gd name="connsiteX2475" fmla="*/ 2388869 w 3359086"/>
                <a:gd name="connsiteY2475" fmla="*/ 3193828 h 3355086"/>
                <a:gd name="connsiteX2476" fmla="*/ 2391155 w 3359086"/>
                <a:gd name="connsiteY2476" fmla="*/ 3196114 h 3355086"/>
                <a:gd name="connsiteX2477" fmla="*/ 2388869 w 3359086"/>
                <a:gd name="connsiteY2477" fmla="*/ 3198400 h 3355086"/>
                <a:gd name="connsiteX2478" fmla="*/ 2386583 w 3359086"/>
                <a:gd name="connsiteY2478" fmla="*/ 3196114 h 3355086"/>
                <a:gd name="connsiteX2479" fmla="*/ 2388869 w 3359086"/>
                <a:gd name="connsiteY2479" fmla="*/ 3193828 h 3355086"/>
                <a:gd name="connsiteX2480" fmla="*/ 2189130 w 3359086"/>
                <a:gd name="connsiteY2480" fmla="*/ 3193352 h 3355086"/>
                <a:gd name="connsiteX2481" fmla="*/ 2195322 w 3359086"/>
                <a:gd name="connsiteY2481" fmla="*/ 3199543 h 3355086"/>
                <a:gd name="connsiteX2482" fmla="*/ 2189130 w 3359086"/>
                <a:gd name="connsiteY2482" fmla="*/ 3205734 h 3355086"/>
                <a:gd name="connsiteX2483" fmla="*/ 2182939 w 3359086"/>
                <a:gd name="connsiteY2483" fmla="*/ 3199543 h 3355086"/>
                <a:gd name="connsiteX2484" fmla="*/ 2189130 w 3359086"/>
                <a:gd name="connsiteY2484" fmla="*/ 3193352 h 3355086"/>
                <a:gd name="connsiteX2485" fmla="*/ 1834038 w 3359086"/>
                <a:gd name="connsiteY2485" fmla="*/ 3191447 h 3355086"/>
                <a:gd name="connsiteX2486" fmla="*/ 1840230 w 3359086"/>
                <a:gd name="connsiteY2486" fmla="*/ 3197638 h 3355086"/>
                <a:gd name="connsiteX2487" fmla="*/ 1834038 w 3359086"/>
                <a:gd name="connsiteY2487" fmla="*/ 3203830 h 3355086"/>
                <a:gd name="connsiteX2488" fmla="*/ 1827847 w 3359086"/>
                <a:gd name="connsiteY2488" fmla="*/ 3197638 h 3355086"/>
                <a:gd name="connsiteX2489" fmla="*/ 1834038 w 3359086"/>
                <a:gd name="connsiteY2489" fmla="*/ 3191447 h 3355086"/>
                <a:gd name="connsiteX2490" fmla="*/ 1108709 w 3359086"/>
                <a:gd name="connsiteY2490" fmla="*/ 3189637 h 3355086"/>
                <a:gd name="connsiteX2491" fmla="*/ 1114901 w 3359086"/>
                <a:gd name="connsiteY2491" fmla="*/ 3195828 h 3355086"/>
                <a:gd name="connsiteX2492" fmla="*/ 1108709 w 3359086"/>
                <a:gd name="connsiteY2492" fmla="*/ 3202020 h 3355086"/>
                <a:gd name="connsiteX2493" fmla="*/ 1105900 w 3359086"/>
                <a:gd name="connsiteY2493" fmla="*/ 3199210 h 3355086"/>
                <a:gd name="connsiteX2494" fmla="*/ 1100232 w 3359086"/>
                <a:gd name="connsiteY2494" fmla="*/ 3204877 h 3355086"/>
                <a:gd name="connsiteX2495" fmla="*/ 1097517 w 3359086"/>
                <a:gd name="connsiteY2495" fmla="*/ 3202163 h 3355086"/>
                <a:gd name="connsiteX2496" fmla="*/ 1092612 w 3359086"/>
                <a:gd name="connsiteY2496" fmla="*/ 3207067 h 3355086"/>
                <a:gd name="connsiteX2497" fmla="*/ 1089802 w 3359086"/>
                <a:gd name="connsiteY2497" fmla="*/ 3204258 h 3355086"/>
                <a:gd name="connsiteX2498" fmla="*/ 1085563 w 3359086"/>
                <a:gd name="connsiteY2498" fmla="*/ 3208496 h 3355086"/>
                <a:gd name="connsiteX2499" fmla="*/ 1082944 w 3359086"/>
                <a:gd name="connsiteY2499" fmla="*/ 3205877 h 3355086"/>
                <a:gd name="connsiteX2500" fmla="*/ 1079182 w 3359086"/>
                <a:gd name="connsiteY2500" fmla="*/ 3209639 h 3355086"/>
                <a:gd name="connsiteX2501" fmla="*/ 1076610 w 3359086"/>
                <a:gd name="connsiteY2501" fmla="*/ 3207068 h 3355086"/>
                <a:gd name="connsiteX2502" fmla="*/ 1073181 w 3359086"/>
                <a:gd name="connsiteY2502" fmla="*/ 3210496 h 3355086"/>
                <a:gd name="connsiteX2503" fmla="*/ 1070800 w 3359086"/>
                <a:gd name="connsiteY2503" fmla="*/ 3208116 h 3355086"/>
                <a:gd name="connsiteX2504" fmla="*/ 1067657 w 3359086"/>
                <a:gd name="connsiteY2504" fmla="*/ 3211259 h 3355086"/>
                <a:gd name="connsiteX2505" fmla="*/ 1065466 w 3359086"/>
                <a:gd name="connsiteY2505" fmla="*/ 3209068 h 3355086"/>
                <a:gd name="connsiteX2506" fmla="*/ 1062322 w 3359086"/>
                <a:gd name="connsiteY2506" fmla="*/ 3212212 h 3355086"/>
                <a:gd name="connsiteX2507" fmla="*/ 1060322 w 3359086"/>
                <a:gd name="connsiteY2507" fmla="*/ 3210212 h 3355086"/>
                <a:gd name="connsiteX2508" fmla="*/ 1057179 w 3359086"/>
                <a:gd name="connsiteY2508" fmla="*/ 3213355 h 3355086"/>
                <a:gd name="connsiteX2509" fmla="*/ 1055369 w 3359086"/>
                <a:gd name="connsiteY2509" fmla="*/ 3211545 h 3355086"/>
                <a:gd name="connsiteX2510" fmla="*/ 1052131 w 3359086"/>
                <a:gd name="connsiteY2510" fmla="*/ 3214783 h 3355086"/>
                <a:gd name="connsiteX2511" fmla="*/ 1050607 w 3359086"/>
                <a:gd name="connsiteY2511" fmla="*/ 3213259 h 3355086"/>
                <a:gd name="connsiteX2512" fmla="*/ 1047082 w 3359086"/>
                <a:gd name="connsiteY2512" fmla="*/ 3216783 h 3355086"/>
                <a:gd name="connsiteX2513" fmla="*/ 1045940 w 3359086"/>
                <a:gd name="connsiteY2513" fmla="*/ 3215641 h 3355086"/>
                <a:gd name="connsiteX2514" fmla="*/ 1042130 w 3359086"/>
                <a:gd name="connsiteY2514" fmla="*/ 3219450 h 3355086"/>
                <a:gd name="connsiteX2515" fmla="*/ 1041177 w 3359086"/>
                <a:gd name="connsiteY2515" fmla="*/ 3218497 h 3355086"/>
                <a:gd name="connsiteX2516" fmla="*/ 1036986 w 3359086"/>
                <a:gd name="connsiteY2516" fmla="*/ 3222688 h 3355086"/>
                <a:gd name="connsiteX2517" fmla="*/ 1035463 w 3359086"/>
                <a:gd name="connsiteY2517" fmla="*/ 3221165 h 3355086"/>
                <a:gd name="connsiteX2518" fmla="*/ 1031747 w 3359086"/>
                <a:gd name="connsiteY2518" fmla="*/ 3224880 h 3355086"/>
                <a:gd name="connsiteX2519" fmla="*/ 1027366 w 3359086"/>
                <a:gd name="connsiteY2519" fmla="*/ 3220499 h 3355086"/>
                <a:gd name="connsiteX2520" fmla="*/ 1031081 w 3359086"/>
                <a:gd name="connsiteY2520" fmla="*/ 3216783 h 3355086"/>
                <a:gd name="connsiteX2521" fmla="*/ 1030795 w 3359086"/>
                <a:gd name="connsiteY2521" fmla="*/ 3216497 h 3355086"/>
                <a:gd name="connsiteX2522" fmla="*/ 1036986 w 3359086"/>
                <a:gd name="connsiteY2522" fmla="*/ 3210306 h 3355086"/>
                <a:gd name="connsiteX2523" fmla="*/ 1037939 w 3359086"/>
                <a:gd name="connsiteY2523" fmla="*/ 3211259 h 3355086"/>
                <a:gd name="connsiteX2524" fmla="*/ 1042130 w 3359086"/>
                <a:gd name="connsiteY2524" fmla="*/ 3207068 h 3355086"/>
                <a:gd name="connsiteX2525" fmla="*/ 1043273 w 3359086"/>
                <a:gd name="connsiteY2525" fmla="*/ 3208211 h 3355086"/>
                <a:gd name="connsiteX2526" fmla="*/ 1047082 w 3359086"/>
                <a:gd name="connsiteY2526" fmla="*/ 3204401 h 3355086"/>
                <a:gd name="connsiteX2527" fmla="*/ 1048607 w 3359086"/>
                <a:gd name="connsiteY2527" fmla="*/ 3205926 h 3355086"/>
                <a:gd name="connsiteX2528" fmla="*/ 1052131 w 3359086"/>
                <a:gd name="connsiteY2528" fmla="*/ 3202401 h 3355086"/>
                <a:gd name="connsiteX2529" fmla="*/ 1053941 w 3359086"/>
                <a:gd name="connsiteY2529" fmla="*/ 3204211 h 3355086"/>
                <a:gd name="connsiteX2530" fmla="*/ 1057179 w 3359086"/>
                <a:gd name="connsiteY2530" fmla="*/ 3200972 h 3355086"/>
                <a:gd name="connsiteX2531" fmla="*/ 1059179 w 3359086"/>
                <a:gd name="connsiteY2531" fmla="*/ 3202972 h 3355086"/>
                <a:gd name="connsiteX2532" fmla="*/ 1062322 w 3359086"/>
                <a:gd name="connsiteY2532" fmla="*/ 3199829 h 3355086"/>
                <a:gd name="connsiteX2533" fmla="*/ 1064513 w 3359086"/>
                <a:gd name="connsiteY2533" fmla="*/ 3202020 h 3355086"/>
                <a:gd name="connsiteX2534" fmla="*/ 1067657 w 3359086"/>
                <a:gd name="connsiteY2534" fmla="*/ 3198876 h 3355086"/>
                <a:gd name="connsiteX2535" fmla="*/ 1070038 w 3359086"/>
                <a:gd name="connsiteY2535" fmla="*/ 3201257 h 3355086"/>
                <a:gd name="connsiteX2536" fmla="*/ 1073181 w 3359086"/>
                <a:gd name="connsiteY2536" fmla="*/ 3198114 h 3355086"/>
                <a:gd name="connsiteX2537" fmla="*/ 1075753 w 3359086"/>
                <a:gd name="connsiteY2537" fmla="*/ 3200686 h 3355086"/>
                <a:gd name="connsiteX2538" fmla="*/ 1079182 w 3359086"/>
                <a:gd name="connsiteY2538" fmla="*/ 3197257 h 3355086"/>
                <a:gd name="connsiteX2539" fmla="*/ 1081801 w 3359086"/>
                <a:gd name="connsiteY2539" fmla="*/ 3199876 h 3355086"/>
                <a:gd name="connsiteX2540" fmla="*/ 1085563 w 3359086"/>
                <a:gd name="connsiteY2540" fmla="*/ 3196114 h 3355086"/>
                <a:gd name="connsiteX2541" fmla="*/ 1088373 w 3359086"/>
                <a:gd name="connsiteY2541" fmla="*/ 3198924 h 3355086"/>
                <a:gd name="connsiteX2542" fmla="*/ 1092612 w 3359086"/>
                <a:gd name="connsiteY2542" fmla="*/ 3194685 h 3355086"/>
                <a:gd name="connsiteX2543" fmla="*/ 1095327 w 3359086"/>
                <a:gd name="connsiteY2543" fmla="*/ 3197400 h 3355086"/>
                <a:gd name="connsiteX2544" fmla="*/ 1100232 w 3359086"/>
                <a:gd name="connsiteY2544" fmla="*/ 3192495 h 3355086"/>
                <a:gd name="connsiteX2545" fmla="*/ 1103042 w 3359086"/>
                <a:gd name="connsiteY2545" fmla="*/ 3195305 h 3355086"/>
                <a:gd name="connsiteX2546" fmla="*/ 1199197 w 3359086"/>
                <a:gd name="connsiteY2546" fmla="*/ 3189542 h 3355086"/>
                <a:gd name="connsiteX2547" fmla="*/ 1205389 w 3359086"/>
                <a:gd name="connsiteY2547" fmla="*/ 3195733 h 3355086"/>
                <a:gd name="connsiteX2548" fmla="*/ 1199197 w 3359086"/>
                <a:gd name="connsiteY2548" fmla="*/ 3201924 h 3355086"/>
                <a:gd name="connsiteX2549" fmla="*/ 1193006 w 3359086"/>
                <a:gd name="connsiteY2549" fmla="*/ 3195733 h 3355086"/>
                <a:gd name="connsiteX2550" fmla="*/ 1199197 w 3359086"/>
                <a:gd name="connsiteY2550" fmla="*/ 3189542 h 3355086"/>
                <a:gd name="connsiteX2551" fmla="*/ 2002249 w 3359086"/>
                <a:gd name="connsiteY2551" fmla="*/ 3188875 h 3355086"/>
                <a:gd name="connsiteX2552" fmla="*/ 2008441 w 3359086"/>
                <a:gd name="connsiteY2552" fmla="*/ 3195066 h 3355086"/>
                <a:gd name="connsiteX2553" fmla="*/ 2002249 w 3359086"/>
                <a:gd name="connsiteY2553" fmla="*/ 3201257 h 3355086"/>
                <a:gd name="connsiteX2554" fmla="*/ 1996058 w 3359086"/>
                <a:gd name="connsiteY2554" fmla="*/ 3195066 h 3355086"/>
                <a:gd name="connsiteX2555" fmla="*/ 2002249 w 3359086"/>
                <a:gd name="connsiteY2555" fmla="*/ 3188875 h 3355086"/>
                <a:gd name="connsiteX2556" fmla="*/ 1464087 w 3359086"/>
                <a:gd name="connsiteY2556" fmla="*/ 3188399 h 3355086"/>
                <a:gd name="connsiteX2557" fmla="*/ 1470279 w 3359086"/>
                <a:gd name="connsiteY2557" fmla="*/ 3194590 h 3355086"/>
                <a:gd name="connsiteX2558" fmla="*/ 1464087 w 3359086"/>
                <a:gd name="connsiteY2558" fmla="*/ 3200781 h 3355086"/>
                <a:gd name="connsiteX2559" fmla="*/ 1457896 w 3359086"/>
                <a:gd name="connsiteY2559" fmla="*/ 3194590 h 3355086"/>
                <a:gd name="connsiteX2560" fmla="*/ 1464087 w 3359086"/>
                <a:gd name="connsiteY2560" fmla="*/ 3188399 h 3355086"/>
                <a:gd name="connsiteX2561" fmla="*/ 2177605 w 3359086"/>
                <a:gd name="connsiteY2561" fmla="*/ 3188113 h 3355086"/>
                <a:gd name="connsiteX2562" fmla="*/ 2183797 w 3359086"/>
                <a:gd name="connsiteY2562" fmla="*/ 3194304 h 3355086"/>
                <a:gd name="connsiteX2563" fmla="*/ 2177605 w 3359086"/>
                <a:gd name="connsiteY2563" fmla="*/ 3200495 h 3355086"/>
                <a:gd name="connsiteX2564" fmla="*/ 2171414 w 3359086"/>
                <a:gd name="connsiteY2564" fmla="*/ 3194304 h 3355086"/>
                <a:gd name="connsiteX2565" fmla="*/ 2177605 w 3359086"/>
                <a:gd name="connsiteY2565" fmla="*/ 3188113 h 3355086"/>
                <a:gd name="connsiteX2566" fmla="*/ 2088070 w 3359086"/>
                <a:gd name="connsiteY2566" fmla="*/ 3187542 h 3355086"/>
                <a:gd name="connsiteX2567" fmla="*/ 2094261 w 3359086"/>
                <a:gd name="connsiteY2567" fmla="*/ 3193733 h 3355086"/>
                <a:gd name="connsiteX2568" fmla="*/ 2088070 w 3359086"/>
                <a:gd name="connsiteY2568" fmla="*/ 3199924 h 3355086"/>
                <a:gd name="connsiteX2569" fmla="*/ 2081879 w 3359086"/>
                <a:gd name="connsiteY2569" fmla="*/ 3193733 h 3355086"/>
                <a:gd name="connsiteX2570" fmla="*/ 2088070 w 3359086"/>
                <a:gd name="connsiteY2570" fmla="*/ 3187542 h 3355086"/>
                <a:gd name="connsiteX2571" fmla="*/ 1118139 w 3359086"/>
                <a:gd name="connsiteY2571" fmla="*/ 3185637 h 3355086"/>
                <a:gd name="connsiteX2572" fmla="*/ 1124331 w 3359086"/>
                <a:gd name="connsiteY2572" fmla="*/ 3191828 h 3355086"/>
                <a:gd name="connsiteX2573" fmla="*/ 1118139 w 3359086"/>
                <a:gd name="connsiteY2573" fmla="*/ 3198019 h 3355086"/>
                <a:gd name="connsiteX2574" fmla="*/ 1111948 w 3359086"/>
                <a:gd name="connsiteY2574" fmla="*/ 3191828 h 3355086"/>
                <a:gd name="connsiteX2575" fmla="*/ 1118139 w 3359086"/>
                <a:gd name="connsiteY2575" fmla="*/ 3185637 h 3355086"/>
                <a:gd name="connsiteX2576" fmla="*/ 1906999 w 3359086"/>
                <a:gd name="connsiteY2576" fmla="*/ 3184303 h 3355086"/>
                <a:gd name="connsiteX2577" fmla="*/ 1913191 w 3359086"/>
                <a:gd name="connsiteY2577" fmla="*/ 3190494 h 3355086"/>
                <a:gd name="connsiteX2578" fmla="*/ 1906999 w 3359086"/>
                <a:gd name="connsiteY2578" fmla="*/ 3196686 h 3355086"/>
                <a:gd name="connsiteX2579" fmla="*/ 1900808 w 3359086"/>
                <a:gd name="connsiteY2579" fmla="*/ 3190494 h 3355086"/>
                <a:gd name="connsiteX2580" fmla="*/ 1906999 w 3359086"/>
                <a:gd name="connsiteY2580" fmla="*/ 3184303 h 3355086"/>
                <a:gd name="connsiteX2581" fmla="*/ 2420492 w 3359086"/>
                <a:gd name="connsiteY2581" fmla="*/ 3184113 h 3355086"/>
                <a:gd name="connsiteX2582" fmla="*/ 2420683 w 3359086"/>
                <a:gd name="connsiteY2582" fmla="*/ 3184303 h 3355086"/>
                <a:gd name="connsiteX2583" fmla="*/ 2420492 w 3359086"/>
                <a:gd name="connsiteY2583" fmla="*/ 3184494 h 3355086"/>
                <a:gd name="connsiteX2584" fmla="*/ 2420302 w 3359086"/>
                <a:gd name="connsiteY2584" fmla="*/ 3184303 h 3355086"/>
                <a:gd name="connsiteX2585" fmla="*/ 2420492 w 3359086"/>
                <a:gd name="connsiteY2585" fmla="*/ 3184113 h 3355086"/>
                <a:gd name="connsiteX2586" fmla="*/ 1298447 w 3359086"/>
                <a:gd name="connsiteY2586" fmla="*/ 3183351 h 3355086"/>
                <a:gd name="connsiteX2587" fmla="*/ 1304639 w 3359086"/>
                <a:gd name="connsiteY2587" fmla="*/ 3189542 h 3355086"/>
                <a:gd name="connsiteX2588" fmla="*/ 1298447 w 3359086"/>
                <a:gd name="connsiteY2588" fmla="*/ 3195733 h 3355086"/>
                <a:gd name="connsiteX2589" fmla="*/ 1292256 w 3359086"/>
                <a:gd name="connsiteY2589" fmla="*/ 3189542 h 3355086"/>
                <a:gd name="connsiteX2590" fmla="*/ 1298447 w 3359086"/>
                <a:gd name="connsiteY2590" fmla="*/ 3183351 h 3355086"/>
                <a:gd name="connsiteX2591" fmla="*/ 2164841 w 3359086"/>
                <a:gd name="connsiteY2591" fmla="*/ 3181255 h 3355086"/>
                <a:gd name="connsiteX2592" fmla="*/ 2171032 w 3359086"/>
                <a:gd name="connsiteY2592" fmla="*/ 3187446 h 3355086"/>
                <a:gd name="connsiteX2593" fmla="*/ 2164841 w 3359086"/>
                <a:gd name="connsiteY2593" fmla="*/ 3193637 h 3355086"/>
                <a:gd name="connsiteX2594" fmla="*/ 2158650 w 3359086"/>
                <a:gd name="connsiteY2594" fmla="*/ 3187446 h 3355086"/>
                <a:gd name="connsiteX2595" fmla="*/ 2164841 w 3359086"/>
                <a:gd name="connsiteY2595" fmla="*/ 3181255 h 3355086"/>
                <a:gd name="connsiteX2596" fmla="*/ 1214818 w 3359086"/>
                <a:gd name="connsiteY2596" fmla="*/ 3180779 h 3355086"/>
                <a:gd name="connsiteX2597" fmla="*/ 1221010 w 3359086"/>
                <a:gd name="connsiteY2597" fmla="*/ 3186970 h 3355086"/>
                <a:gd name="connsiteX2598" fmla="*/ 1214818 w 3359086"/>
                <a:gd name="connsiteY2598" fmla="*/ 3193162 h 3355086"/>
                <a:gd name="connsiteX2599" fmla="*/ 1208627 w 3359086"/>
                <a:gd name="connsiteY2599" fmla="*/ 3186970 h 3355086"/>
                <a:gd name="connsiteX2600" fmla="*/ 1214818 w 3359086"/>
                <a:gd name="connsiteY2600" fmla="*/ 3180779 h 3355086"/>
                <a:gd name="connsiteX2601" fmla="*/ 1128521 w 3359086"/>
                <a:gd name="connsiteY2601" fmla="*/ 3180398 h 3355086"/>
                <a:gd name="connsiteX2602" fmla="*/ 1134712 w 3359086"/>
                <a:gd name="connsiteY2602" fmla="*/ 3186589 h 3355086"/>
                <a:gd name="connsiteX2603" fmla="*/ 1128521 w 3359086"/>
                <a:gd name="connsiteY2603" fmla="*/ 3192780 h 3355086"/>
                <a:gd name="connsiteX2604" fmla="*/ 1122330 w 3359086"/>
                <a:gd name="connsiteY2604" fmla="*/ 3186589 h 3355086"/>
                <a:gd name="connsiteX2605" fmla="*/ 1128521 w 3359086"/>
                <a:gd name="connsiteY2605" fmla="*/ 3180398 h 3355086"/>
                <a:gd name="connsiteX2606" fmla="*/ 1391697 w 3359086"/>
                <a:gd name="connsiteY2606" fmla="*/ 3180112 h 3355086"/>
                <a:gd name="connsiteX2607" fmla="*/ 1397888 w 3359086"/>
                <a:gd name="connsiteY2607" fmla="*/ 3186303 h 3355086"/>
                <a:gd name="connsiteX2608" fmla="*/ 1391697 w 3359086"/>
                <a:gd name="connsiteY2608" fmla="*/ 3192495 h 3355086"/>
                <a:gd name="connsiteX2609" fmla="*/ 1385506 w 3359086"/>
                <a:gd name="connsiteY2609" fmla="*/ 3186303 h 3355086"/>
                <a:gd name="connsiteX2610" fmla="*/ 1391697 w 3359086"/>
                <a:gd name="connsiteY2610" fmla="*/ 3180112 h 3355086"/>
                <a:gd name="connsiteX2611" fmla="*/ 1648205 w 3359086"/>
                <a:gd name="connsiteY2611" fmla="*/ 3176588 h 3355086"/>
                <a:gd name="connsiteX2612" fmla="*/ 1654397 w 3359086"/>
                <a:gd name="connsiteY2612" fmla="*/ 3182779 h 3355086"/>
                <a:gd name="connsiteX2613" fmla="*/ 1648205 w 3359086"/>
                <a:gd name="connsiteY2613" fmla="*/ 3188971 h 3355086"/>
                <a:gd name="connsiteX2614" fmla="*/ 1642014 w 3359086"/>
                <a:gd name="connsiteY2614" fmla="*/ 3182779 h 3355086"/>
                <a:gd name="connsiteX2615" fmla="*/ 1648205 w 3359086"/>
                <a:gd name="connsiteY2615" fmla="*/ 3176588 h 3355086"/>
                <a:gd name="connsiteX2616" fmla="*/ 2242375 w 3359086"/>
                <a:gd name="connsiteY2616" fmla="*/ 3176493 h 3355086"/>
                <a:gd name="connsiteX2617" fmla="*/ 2248471 w 3359086"/>
                <a:gd name="connsiteY2617" fmla="*/ 3182588 h 3355086"/>
                <a:gd name="connsiteX2618" fmla="*/ 2250566 w 3359086"/>
                <a:gd name="connsiteY2618" fmla="*/ 3180493 h 3355086"/>
                <a:gd name="connsiteX2619" fmla="*/ 2255805 w 3359086"/>
                <a:gd name="connsiteY2619" fmla="*/ 3185732 h 3355086"/>
                <a:gd name="connsiteX2620" fmla="*/ 2257996 w 3359086"/>
                <a:gd name="connsiteY2620" fmla="*/ 3183541 h 3355086"/>
                <a:gd name="connsiteX2621" fmla="*/ 2262425 w 3359086"/>
                <a:gd name="connsiteY2621" fmla="*/ 3187970 h 3355086"/>
                <a:gd name="connsiteX2622" fmla="*/ 2264663 w 3359086"/>
                <a:gd name="connsiteY2622" fmla="*/ 3185732 h 3355086"/>
                <a:gd name="connsiteX2623" fmla="*/ 2268521 w 3359086"/>
                <a:gd name="connsiteY2623" fmla="*/ 3189589 h 3355086"/>
                <a:gd name="connsiteX2624" fmla="*/ 2270759 w 3359086"/>
                <a:gd name="connsiteY2624" fmla="*/ 3187351 h 3355086"/>
                <a:gd name="connsiteX2625" fmla="*/ 2274189 w 3359086"/>
                <a:gd name="connsiteY2625" fmla="*/ 3190780 h 3355086"/>
                <a:gd name="connsiteX2626" fmla="*/ 2276284 w 3359086"/>
                <a:gd name="connsiteY2626" fmla="*/ 3188685 h 3355086"/>
                <a:gd name="connsiteX2627" fmla="*/ 2279427 w 3359086"/>
                <a:gd name="connsiteY2627" fmla="*/ 3191828 h 3355086"/>
                <a:gd name="connsiteX2628" fmla="*/ 2281523 w 3359086"/>
                <a:gd name="connsiteY2628" fmla="*/ 3189732 h 3355086"/>
                <a:gd name="connsiteX2629" fmla="*/ 2284428 w 3359086"/>
                <a:gd name="connsiteY2629" fmla="*/ 3192637 h 3355086"/>
                <a:gd name="connsiteX2630" fmla="*/ 2286380 w 3359086"/>
                <a:gd name="connsiteY2630" fmla="*/ 3190685 h 3355086"/>
                <a:gd name="connsiteX2631" fmla="*/ 2289286 w 3359086"/>
                <a:gd name="connsiteY2631" fmla="*/ 3193591 h 3355086"/>
                <a:gd name="connsiteX2632" fmla="*/ 2291048 w 3359086"/>
                <a:gd name="connsiteY2632" fmla="*/ 3191828 h 3355086"/>
                <a:gd name="connsiteX2633" fmla="*/ 2294000 w 3359086"/>
                <a:gd name="connsiteY2633" fmla="*/ 3194780 h 3355086"/>
                <a:gd name="connsiteX2634" fmla="*/ 2295524 w 3359086"/>
                <a:gd name="connsiteY2634" fmla="*/ 3193256 h 3355086"/>
                <a:gd name="connsiteX2635" fmla="*/ 2298620 w 3359086"/>
                <a:gd name="connsiteY2635" fmla="*/ 3196352 h 3355086"/>
                <a:gd name="connsiteX2636" fmla="*/ 2300001 w 3359086"/>
                <a:gd name="connsiteY2636" fmla="*/ 3194971 h 3355086"/>
                <a:gd name="connsiteX2637" fmla="*/ 2303430 w 3359086"/>
                <a:gd name="connsiteY2637" fmla="*/ 3198400 h 3355086"/>
                <a:gd name="connsiteX2638" fmla="*/ 2304573 w 3359086"/>
                <a:gd name="connsiteY2638" fmla="*/ 3197257 h 3355086"/>
                <a:gd name="connsiteX2639" fmla="*/ 2308240 w 3359086"/>
                <a:gd name="connsiteY2639" fmla="*/ 3200924 h 3355086"/>
                <a:gd name="connsiteX2640" fmla="*/ 2309050 w 3359086"/>
                <a:gd name="connsiteY2640" fmla="*/ 3200114 h 3355086"/>
                <a:gd name="connsiteX2641" fmla="*/ 2313194 w 3359086"/>
                <a:gd name="connsiteY2641" fmla="*/ 3204257 h 3355086"/>
                <a:gd name="connsiteX2642" fmla="*/ 2313812 w 3359086"/>
                <a:gd name="connsiteY2642" fmla="*/ 3203639 h 3355086"/>
                <a:gd name="connsiteX2643" fmla="*/ 2318432 w 3359086"/>
                <a:gd name="connsiteY2643" fmla="*/ 3208258 h 3355086"/>
                <a:gd name="connsiteX2644" fmla="*/ 2318670 w 3359086"/>
                <a:gd name="connsiteY2644" fmla="*/ 3208020 h 3355086"/>
                <a:gd name="connsiteX2645" fmla="*/ 2324862 w 3359086"/>
                <a:gd name="connsiteY2645" fmla="*/ 3214211 h 3355086"/>
                <a:gd name="connsiteX2646" fmla="*/ 2324814 w 3359086"/>
                <a:gd name="connsiteY2646" fmla="*/ 3214260 h 3355086"/>
                <a:gd name="connsiteX2647" fmla="*/ 2329910 w 3359086"/>
                <a:gd name="connsiteY2647" fmla="*/ 3219355 h 3355086"/>
                <a:gd name="connsiteX2648" fmla="*/ 2323718 w 3359086"/>
                <a:gd name="connsiteY2648" fmla="*/ 3225547 h 3355086"/>
                <a:gd name="connsiteX2649" fmla="*/ 2317527 w 3359086"/>
                <a:gd name="connsiteY2649" fmla="*/ 3219355 h 3355086"/>
                <a:gd name="connsiteX2650" fmla="*/ 2317575 w 3359086"/>
                <a:gd name="connsiteY2650" fmla="*/ 3219307 h 3355086"/>
                <a:gd name="connsiteX2651" fmla="*/ 2314051 w 3359086"/>
                <a:gd name="connsiteY2651" fmla="*/ 3215783 h 3355086"/>
                <a:gd name="connsiteX2652" fmla="*/ 2313812 w 3359086"/>
                <a:gd name="connsiteY2652" fmla="*/ 3216022 h 3355086"/>
                <a:gd name="connsiteX2653" fmla="*/ 2309669 w 3359086"/>
                <a:gd name="connsiteY2653" fmla="*/ 3211878 h 3355086"/>
                <a:gd name="connsiteX2654" fmla="*/ 2309050 w 3359086"/>
                <a:gd name="connsiteY2654" fmla="*/ 3212497 h 3355086"/>
                <a:gd name="connsiteX2655" fmla="*/ 2305383 w 3359086"/>
                <a:gd name="connsiteY2655" fmla="*/ 3208830 h 3355086"/>
                <a:gd name="connsiteX2656" fmla="*/ 2304573 w 3359086"/>
                <a:gd name="connsiteY2656" fmla="*/ 3209639 h 3355086"/>
                <a:gd name="connsiteX2657" fmla="*/ 2301144 w 3359086"/>
                <a:gd name="connsiteY2657" fmla="*/ 3206210 h 3355086"/>
                <a:gd name="connsiteX2658" fmla="*/ 2300001 w 3359086"/>
                <a:gd name="connsiteY2658" fmla="*/ 3207353 h 3355086"/>
                <a:gd name="connsiteX2659" fmla="*/ 2296905 w 3359086"/>
                <a:gd name="connsiteY2659" fmla="*/ 3204258 h 3355086"/>
                <a:gd name="connsiteX2660" fmla="*/ 2295524 w 3359086"/>
                <a:gd name="connsiteY2660" fmla="*/ 3205639 h 3355086"/>
                <a:gd name="connsiteX2661" fmla="*/ 2292572 w 3359086"/>
                <a:gd name="connsiteY2661" fmla="*/ 3202687 h 3355086"/>
                <a:gd name="connsiteX2662" fmla="*/ 2291048 w 3359086"/>
                <a:gd name="connsiteY2662" fmla="*/ 3204211 h 3355086"/>
                <a:gd name="connsiteX2663" fmla="*/ 2288142 w 3359086"/>
                <a:gd name="connsiteY2663" fmla="*/ 3201305 h 3355086"/>
                <a:gd name="connsiteX2664" fmla="*/ 2286380 w 3359086"/>
                <a:gd name="connsiteY2664" fmla="*/ 3203067 h 3355086"/>
                <a:gd name="connsiteX2665" fmla="*/ 2283475 w 3359086"/>
                <a:gd name="connsiteY2665" fmla="*/ 3200163 h 3355086"/>
                <a:gd name="connsiteX2666" fmla="*/ 2281523 w 3359086"/>
                <a:gd name="connsiteY2666" fmla="*/ 3202115 h 3355086"/>
                <a:gd name="connsiteX2667" fmla="*/ 2278380 w 3359086"/>
                <a:gd name="connsiteY2667" fmla="*/ 3198972 h 3355086"/>
                <a:gd name="connsiteX2668" fmla="*/ 2276284 w 3359086"/>
                <a:gd name="connsiteY2668" fmla="*/ 3201067 h 3355086"/>
                <a:gd name="connsiteX2669" fmla="*/ 2272855 w 3359086"/>
                <a:gd name="connsiteY2669" fmla="*/ 3197638 h 3355086"/>
                <a:gd name="connsiteX2670" fmla="*/ 2270759 w 3359086"/>
                <a:gd name="connsiteY2670" fmla="*/ 3199734 h 3355086"/>
                <a:gd name="connsiteX2671" fmla="*/ 2266902 w 3359086"/>
                <a:gd name="connsiteY2671" fmla="*/ 3195876 h 3355086"/>
                <a:gd name="connsiteX2672" fmla="*/ 2264663 w 3359086"/>
                <a:gd name="connsiteY2672" fmla="*/ 3198114 h 3355086"/>
                <a:gd name="connsiteX2673" fmla="*/ 2260234 w 3359086"/>
                <a:gd name="connsiteY2673" fmla="*/ 3193685 h 3355086"/>
                <a:gd name="connsiteX2674" fmla="*/ 2257996 w 3359086"/>
                <a:gd name="connsiteY2674" fmla="*/ 3195923 h 3355086"/>
                <a:gd name="connsiteX2675" fmla="*/ 2252757 w 3359086"/>
                <a:gd name="connsiteY2675" fmla="*/ 3190685 h 3355086"/>
                <a:gd name="connsiteX2676" fmla="*/ 2250566 w 3359086"/>
                <a:gd name="connsiteY2676" fmla="*/ 3192876 h 3355086"/>
                <a:gd name="connsiteX2677" fmla="*/ 2244471 w 3359086"/>
                <a:gd name="connsiteY2677" fmla="*/ 3186780 h 3355086"/>
                <a:gd name="connsiteX2678" fmla="*/ 2242375 w 3359086"/>
                <a:gd name="connsiteY2678" fmla="*/ 3188875 h 3355086"/>
                <a:gd name="connsiteX2679" fmla="*/ 2236184 w 3359086"/>
                <a:gd name="connsiteY2679" fmla="*/ 3182684 h 3355086"/>
                <a:gd name="connsiteX2680" fmla="*/ 2242375 w 3359086"/>
                <a:gd name="connsiteY2680" fmla="*/ 3176493 h 3355086"/>
                <a:gd name="connsiteX2681" fmla="*/ 2069401 w 3359086"/>
                <a:gd name="connsiteY2681" fmla="*/ 3176397 h 3355086"/>
                <a:gd name="connsiteX2682" fmla="*/ 2075593 w 3359086"/>
                <a:gd name="connsiteY2682" fmla="*/ 3182588 h 3355086"/>
                <a:gd name="connsiteX2683" fmla="*/ 2069401 w 3359086"/>
                <a:gd name="connsiteY2683" fmla="*/ 3188779 h 3355086"/>
                <a:gd name="connsiteX2684" fmla="*/ 2063210 w 3359086"/>
                <a:gd name="connsiteY2684" fmla="*/ 3182588 h 3355086"/>
                <a:gd name="connsiteX2685" fmla="*/ 2069401 w 3359086"/>
                <a:gd name="connsiteY2685" fmla="*/ 3176397 h 3355086"/>
                <a:gd name="connsiteX2686" fmla="*/ 1725262 w 3359086"/>
                <a:gd name="connsiteY2686" fmla="*/ 3175826 h 3355086"/>
                <a:gd name="connsiteX2687" fmla="*/ 1731454 w 3359086"/>
                <a:gd name="connsiteY2687" fmla="*/ 3182017 h 3355086"/>
                <a:gd name="connsiteX2688" fmla="*/ 1725262 w 3359086"/>
                <a:gd name="connsiteY2688" fmla="*/ 3188208 h 3355086"/>
                <a:gd name="connsiteX2689" fmla="*/ 1719071 w 3359086"/>
                <a:gd name="connsiteY2689" fmla="*/ 3182017 h 3355086"/>
                <a:gd name="connsiteX2690" fmla="*/ 1725262 w 3359086"/>
                <a:gd name="connsiteY2690" fmla="*/ 3175826 h 3355086"/>
                <a:gd name="connsiteX2691" fmla="*/ 1978723 w 3359086"/>
                <a:gd name="connsiteY2691" fmla="*/ 3174587 h 3355086"/>
                <a:gd name="connsiteX2692" fmla="*/ 1984915 w 3359086"/>
                <a:gd name="connsiteY2692" fmla="*/ 3180778 h 3355086"/>
                <a:gd name="connsiteX2693" fmla="*/ 1978723 w 3359086"/>
                <a:gd name="connsiteY2693" fmla="*/ 3186969 h 3355086"/>
                <a:gd name="connsiteX2694" fmla="*/ 1972532 w 3359086"/>
                <a:gd name="connsiteY2694" fmla="*/ 3180778 h 3355086"/>
                <a:gd name="connsiteX2695" fmla="*/ 1978723 w 3359086"/>
                <a:gd name="connsiteY2695" fmla="*/ 3174587 h 3355086"/>
                <a:gd name="connsiteX2696" fmla="*/ 1571243 w 3359086"/>
                <a:gd name="connsiteY2696" fmla="*/ 3174492 h 3355086"/>
                <a:gd name="connsiteX2697" fmla="*/ 1577435 w 3359086"/>
                <a:gd name="connsiteY2697" fmla="*/ 3180683 h 3355086"/>
                <a:gd name="connsiteX2698" fmla="*/ 1571243 w 3359086"/>
                <a:gd name="connsiteY2698" fmla="*/ 3186875 h 3355086"/>
                <a:gd name="connsiteX2699" fmla="*/ 1565052 w 3359086"/>
                <a:gd name="connsiteY2699" fmla="*/ 3180683 h 3355086"/>
                <a:gd name="connsiteX2700" fmla="*/ 1571243 w 3359086"/>
                <a:gd name="connsiteY2700" fmla="*/ 3174492 h 3355086"/>
                <a:gd name="connsiteX2701" fmla="*/ 1140142 w 3359086"/>
                <a:gd name="connsiteY2701" fmla="*/ 3173635 h 3355086"/>
                <a:gd name="connsiteX2702" fmla="*/ 1146333 w 3359086"/>
                <a:gd name="connsiteY2702" fmla="*/ 3179826 h 3355086"/>
                <a:gd name="connsiteX2703" fmla="*/ 1140142 w 3359086"/>
                <a:gd name="connsiteY2703" fmla="*/ 3186018 h 3355086"/>
                <a:gd name="connsiteX2704" fmla="*/ 1133951 w 3359086"/>
                <a:gd name="connsiteY2704" fmla="*/ 3179826 h 3355086"/>
                <a:gd name="connsiteX2705" fmla="*/ 1140142 w 3359086"/>
                <a:gd name="connsiteY2705" fmla="*/ 3173635 h 3355086"/>
                <a:gd name="connsiteX2706" fmla="*/ 2150554 w 3359086"/>
                <a:gd name="connsiteY2706" fmla="*/ 3172587 h 3355086"/>
                <a:gd name="connsiteX2707" fmla="*/ 2156745 w 3359086"/>
                <a:gd name="connsiteY2707" fmla="*/ 3178778 h 3355086"/>
                <a:gd name="connsiteX2708" fmla="*/ 2150554 w 3359086"/>
                <a:gd name="connsiteY2708" fmla="*/ 3184969 h 3355086"/>
                <a:gd name="connsiteX2709" fmla="*/ 2144363 w 3359086"/>
                <a:gd name="connsiteY2709" fmla="*/ 3178778 h 3355086"/>
                <a:gd name="connsiteX2710" fmla="*/ 2150554 w 3359086"/>
                <a:gd name="connsiteY2710" fmla="*/ 3172587 h 3355086"/>
                <a:gd name="connsiteX2711" fmla="*/ 1801939 w 3359086"/>
                <a:gd name="connsiteY2711" fmla="*/ 3172302 h 3355086"/>
                <a:gd name="connsiteX2712" fmla="*/ 1808131 w 3359086"/>
                <a:gd name="connsiteY2712" fmla="*/ 3178493 h 3355086"/>
                <a:gd name="connsiteX2713" fmla="*/ 1801939 w 3359086"/>
                <a:gd name="connsiteY2713" fmla="*/ 3184684 h 3355086"/>
                <a:gd name="connsiteX2714" fmla="*/ 1795748 w 3359086"/>
                <a:gd name="connsiteY2714" fmla="*/ 3178493 h 3355086"/>
                <a:gd name="connsiteX2715" fmla="*/ 1801939 w 3359086"/>
                <a:gd name="connsiteY2715" fmla="*/ 3172302 h 3355086"/>
                <a:gd name="connsiteX2716" fmla="*/ 2233136 w 3359086"/>
                <a:gd name="connsiteY2716" fmla="*/ 3171254 h 3355086"/>
                <a:gd name="connsiteX2717" fmla="*/ 2239328 w 3359086"/>
                <a:gd name="connsiteY2717" fmla="*/ 3177445 h 3355086"/>
                <a:gd name="connsiteX2718" fmla="*/ 2233136 w 3359086"/>
                <a:gd name="connsiteY2718" fmla="*/ 3183637 h 3355086"/>
                <a:gd name="connsiteX2719" fmla="*/ 2226945 w 3359086"/>
                <a:gd name="connsiteY2719" fmla="*/ 3177445 h 3355086"/>
                <a:gd name="connsiteX2720" fmla="*/ 2233136 w 3359086"/>
                <a:gd name="connsiteY2720" fmla="*/ 3171254 h 3355086"/>
                <a:gd name="connsiteX2721" fmla="*/ 1494757 w 3359086"/>
                <a:gd name="connsiteY2721" fmla="*/ 3169825 h 3355086"/>
                <a:gd name="connsiteX2722" fmla="*/ 1500949 w 3359086"/>
                <a:gd name="connsiteY2722" fmla="*/ 3176016 h 3355086"/>
                <a:gd name="connsiteX2723" fmla="*/ 1494757 w 3359086"/>
                <a:gd name="connsiteY2723" fmla="*/ 3182207 h 3355086"/>
                <a:gd name="connsiteX2724" fmla="*/ 1488566 w 3359086"/>
                <a:gd name="connsiteY2724" fmla="*/ 3176016 h 3355086"/>
                <a:gd name="connsiteX2725" fmla="*/ 1494757 w 3359086"/>
                <a:gd name="connsiteY2725" fmla="*/ 3169825 h 3355086"/>
                <a:gd name="connsiteX2726" fmla="*/ 1232153 w 3359086"/>
                <a:gd name="connsiteY2726" fmla="*/ 3169825 h 3355086"/>
                <a:gd name="connsiteX2727" fmla="*/ 1238344 w 3359086"/>
                <a:gd name="connsiteY2727" fmla="*/ 3176016 h 3355086"/>
                <a:gd name="connsiteX2728" fmla="*/ 1232153 w 3359086"/>
                <a:gd name="connsiteY2728" fmla="*/ 3182207 h 3355086"/>
                <a:gd name="connsiteX2729" fmla="*/ 1225962 w 3359086"/>
                <a:gd name="connsiteY2729" fmla="*/ 3176016 h 3355086"/>
                <a:gd name="connsiteX2730" fmla="*/ 1232153 w 3359086"/>
                <a:gd name="connsiteY2730" fmla="*/ 3169825 h 3355086"/>
                <a:gd name="connsiteX2731" fmla="*/ 1320641 w 3359086"/>
                <a:gd name="connsiteY2731" fmla="*/ 3169349 h 3355086"/>
                <a:gd name="connsiteX2732" fmla="*/ 1326833 w 3359086"/>
                <a:gd name="connsiteY2732" fmla="*/ 3175540 h 3355086"/>
                <a:gd name="connsiteX2733" fmla="*/ 1320641 w 3359086"/>
                <a:gd name="connsiteY2733" fmla="*/ 3181731 h 3355086"/>
                <a:gd name="connsiteX2734" fmla="*/ 1314450 w 3359086"/>
                <a:gd name="connsiteY2734" fmla="*/ 3175540 h 3355086"/>
                <a:gd name="connsiteX2735" fmla="*/ 1320641 w 3359086"/>
                <a:gd name="connsiteY2735" fmla="*/ 3169349 h 3355086"/>
                <a:gd name="connsiteX2736" fmla="*/ 1065751 w 3359086"/>
                <a:gd name="connsiteY2736" fmla="*/ 3168301 h 3355086"/>
                <a:gd name="connsiteX2737" fmla="*/ 1071943 w 3359086"/>
                <a:gd name="connsiteY2737" fmla="*/ 3174492 h 3355086"/>
                <a:gd name="connsiteX2738" fmla="*/ 1065751 w 3359086"/>
                <a:gd name="connsiteY2738" fmla="*/ 3180684 h 3355086"/>
                <a:gd name="connsiteX2739" fmla="*/ 1064132 w 3359086"/>
                <a:gd name="connsiteY2739" fmla="*/ 3179065 h 3355086"/>
                <a:gd name="connsiteX2740" fmla="*/ 1058417 w 3359086"/>
                <a:gd name="connsiteY2740" fmla="*/ 3184780 h 3355086"/>
                <a:gd name="connsiteX2741" fmla="*/ 1056702 w 3359086"/>
                <a:gd name="connsiteY2741" fmla="*/ 3183065 h 3355086"/>
                <a:gd name="connsiteX2742" fmla="*/ 1051940 w 3359086"/>
                <a:gd name="connsiteY2742" fmla="*/ 3187828 h 3355086"/>
                <a:gd name="connsiteX2743" fmla="*/ 1050178 w 3359086"/>
                <a:gd name="connsiteY2743" fmla="*/ 3186066 h 3355086"/>
                <a:gd name="connsiteX2744" fmla="*/ 1046035 w 3359086"/>
                <a:gd name="connsiteY2744" fmla="*/ 3190209 h 3355086"/>
                <a:gd name="connsiteX2745" fmla="*/ 1044272 w 3359086"/>
                <a:gd name="connsiteY2745" fmla="*/ 3188446 h 3355086"/>
                <a:gd name="connsiteX2746" fmla="*/ 1040796 w 3359086"/>
                <a:gd name="connsiteY2746" fmla="*/ 3191923 h 3355086"/>
                <a:gd name="connsiteX2747" fmla="*/ 1039081 w 3359086"/>
                <a:gd name="connsiteY2747" fmla="*/ 3190208 h 3355086"/>
                <a:gd name="connsiteX2748" fmla="*/ 1035938 w 3359086"/>
                <a:gd name="connsiteY2748" fmla="*/ 3193351 h 3355086"/>
                <a:gd name="connsiteX2749" fmla="*/ 1034272 w 3359086"/>
                <a:gd name="connsiteY2749" fmla="*/ 3191685 h 3355086"/>
                <a:gd name="connsiteX2750" fmla="*/ 1031366 w 3359086"/>
                <a:gd name="connsiteY2750" fmla="*/ 3194590 h 3355086"/>
                <a:gd name="connsiteX2751" fmla="*/ 1029890 w 3359086"/>
                <a:gd name="connsiteY2751" fmla="*/ 3193114 h 3355086"/>
                <a:gd name="connsiteX2752" fmla="*/ 1027175 w 3359086"/>
                <a:gd name="connsiteY2752" fmla="*/ 3195829 h 3355086"/>
                <a:gd name="connsiteX2753" fmla="*/ 1025746 w 3359086"/>
                <a:gd name="connsiteY2753" fmla="*/ 3194400 h 3355086"/>
                <a:gd name="connsiteX2754" fmla="*/ 1022984 w 3359086"/>
                <a:gd name="connsiteY2754" fmla="*/ 3197161 h 3355086"/>
                <a:gd name="connsiteX2755" fmla="*/ 1021794 w 3359086"/>
                <a:gd name="connsiteY2755" fmla="*/ 3195971 h 3355086"/>
                <a:gd name="connsiteX2756" fmla="*/ 1018984 w 3359086"/>
                <a:gd name="connsiteY2756" fmla="*/ 3198781 h 3355086"/>
                <a:gd name="connsiteX2757" fmla="*/ 1017984 w 3359086"/>
                <a:gd name="connsiteY2757" fmla="*/ 3197781 h 3355086"/>
                <a:gd name="connsiteX2758" fmla="*/ 1014983 w 3359086"/>
                <a:gd name="connsiteY2758" fmla="*/ 3200781 h 3355086"/>
                <a:gd name="connsiteX2759" fmla="*/ 1014222 w 3359086"/>
                <a:gd name="connsiteY2759" fmla="*/ 3200020 h 3355086"/>
                <a:gd name="connsiteX2760" fmla="*/ 1010983 w 3359086"/>
                <a:gd name="connsiteY2760" fmla="*/ 3203258 h 3355086"/>
                <a:gd name="connsiteX2761" fmla="*/ 1010459 w 3359086"/>
                <a:gd name="connsiteY2761" fmla="*/ 3202734 h 3355086"/>
                <a:gd name="connsiteX2762" fmla="*/ 1006792 w 3359086"/>
                <a:gd name="connsiteY2762" fmla="*/ 3206401 h 3355086"/>
                <a:gd name="connsiteX2763" fmla="*/ 1006506 w 3359086"/>
                <a:gd name="connsiteY2763" fmla="*/ 3206116 h 3355086"/>
                <a:gd name="connsiteX2764" fmla="*/ 1002410 w 3359086"/>
                <a:gd name="connsiteY2764" fmla="*/ 3210211 h 3355086"/>
                <a:gd name="connsiteX2765" fmla="*/ 996219 w 3359086"/>
                <a:gd name="connsiteY2765" fmla="*/ 3204020 h 3355086"/>
                <a:gd name="connsiteX2766" fmla="*/ 1002410 w 3359086"/>
                <a:gd name="connsiteY2766" fmla="*/ 3197829 h 3355086"/>
                <a:gd name="connsiteX2767" fmla="*/ 1002696 w 3359086"/>
                <a:gd name="connsiteY2767" fmla="*/ 3198115 h 3355086"/>
                <a:gd name="connsiteX2768" fmla="*/ 1006792 w 3359086"/>
                <a:gd name="connsiteY2768" fmla="*/ 3194019 h 3355086"/>
                <a:gd name="connsiteX2769" fmla="*/ 1007316 w 3359086"/>
                <a:gd name="connsiteY2769" fmla="*/ 3194543 h 3355086"/>
                <a:gd name="connsiteX2770" fmla="*/ 1010983 w 3359086"/>
                <a:gd name="connsiteY2770" fmla="*/ 3190875 h 3355086"/>
                <a:gd name="connsiteX2771" fmla="*/ 1011745 w 3359086"/>
                <a:gd name="connsiteY2771" fmla="*/ 3191637 h 3355086"/>
                <a:gd name="connsiteX2772" fmla="*/ 1014983 w 3359086"/>
                <a:gd name="connsiteY2772" fmla="*/ 3188399 h 3355086"/>
                <a:gd name="connsiteX2773" fmla="*/ 1015983 w 3359086"/>
                <a:gd name="connsiteY2773" fmla="*/ 3189399 h 3355086"/>
                <a:gd name="connsiteX2774" fmla="*/ 1018984 w 3359086"/>
                <a:gd name="connsiteY2774" fmla="*/ 3186398 h 3355086"/>
                <a:gd name="connsiteX2775" fmla="*/ 1020175 w 3359086"/>
                <a:gd name="connsiteY2775" fmla="*/ 3187589 h 3355086"/>
                <a:gd name="connsiteX2776" fmla="*/ 1022984 w 3359086"/>
                <a:gd name="connsiteY2776" fmla="*/ 3184779 h 3355086"/>
                <a:gd name="connsiteX2777" fmla="*/ 1024413 w 3359086"/>
                <a:gd name="connsiteY2777" fmla="*/ 3186208 h 3355086"/>
                <a:gd name="connsiteX2778" fmla="*/ 1027175 w 3359086"/>
                <a:gd name="connsiteY2778" fmla="*/ 3183446 h 3355086"/>
                <a:gd name="connsiteX2779" fmla="*/ 1028651 w 3359086"/>
                <a:gd name="connsiteY2779" fmla="*/ 3184922 h 3355086"/>
                <a:gd name="connsiteX2780" fmla="*/ 1031366 w 3359086"/>
                <a:gd name="connsiteY2780" fmla="*/ 3182207 h 3355086"/>
                <a:gd name="connsiteX2781" fmla="*/ 1033033 w 3359086"/>
                <a:gd name="connsiteY2781" fmla="*/ 3183874 h 3355086"/>
                <a:gd name="connsiteX2782" fmla="*/ 1035938 w 3359086"/>
                <a:gd name="connsiteY2782" fmla="*/ 3180969 h 3355086"/>
                <a:gd name="connsiteX2783" fmla="*/ 1037653 w 3359086"/>
                <a:gd name="connsiteY2783" fmla="*/ 3182684 h 3355086"/>
                <a:gd name="connsiteX2784" fmla="*/ 1040796 w 3359086"/>
                <a:gd name="connsiteY2784" fmla="*/ 3179540 h 3355086"/>
                <a:gd name="connsiteX2785" fmla="*/ 1042559 w 3359086"/>
                <a:gd name="connsiteY2785" fmla="*/ 3181303 h 3355086"/>
                <a:gd name="connsiteX2786" fmla="*/ 1046035 w 3359086"/>
                <a:gd name="connsiteY2786" fmla="*/ 3177826 h 3355086"/>
                <a:gd name="connsiteX2787" fmla="*/ 1047797 w 3359086"/>
                <a:gd name="connsiteY2787" fmla="*/ 3179588 h 3355086"/>
                <a:gd name="connsiteX2788" fmla="*/ 1051940 w 3359086"/>
                <a:gd name="connsiteY2788" fmla="*/ 3175445 h 3355086"/>
                <a:gd name="connsiteX2789" fmla="*/ 1053655 w 3359086"/>
                <a:gd name="connsiteY2789" fmla="*/ 3177160 h 3355086"/>
                <a:gd name="connsiteX2790" fmla="*/ 1058417 w 3359086"/>
                <a:gd name="connsiteY2790" fmla="*/ 3172397 h 3355086"/>
                <a:gd name="connsiteX2791" fmla="*/ 1060036 w 3359086"/>
                <a:gd name="connsiteY2791" fmla="*/ 3174016 h 3355086"/>
                <a:gd name="connsiteX2792" fmla="*/ 1877948 w 3359086"/>
                <a:gd name="connsiteY2792" fmla="*/ 3166110 h 3355086"/>
                <a:gd name="connsiteX2793" fmla="*/ 1884140 w 3359086"/>
                <a:gd name="connsiteY2793" fmla="*/ 3172301 h 3355086"/>
                <a:gd name="connsiteX2794" fmla="*/ 1877948 w 3359086"/>
                <a:gd name="connsiteY2794" fmla="*/ 3178492 h 3355086"/>
                <a:gd name="connsiteX2795" fmla="*/ 1871757 w 3359086"/>
                <a:gd name="connsiteY2795" fmla="*/ 3172301 h 3355086"/>
                <a:gd name="connsiteX2796" fmla="*/ 1877948 w 3359086"/>
                <a:gd name="connsiteY2796" fmla="*/ 3166110 h 3355086"/>
                <a:gd name="connsiteX2797" fmla="*/ 1153191 w 3359086"/>
                <a:gd name="connsiteY2797" fmla="*/ 3165062 h 3355086"/>
                <a:gd name="connsiteX2798" fmla="*/ 1159383 w 3359086"/>
                <a:gd name="connsiteY2798" fmla="*/ 3171253 h 3355086"/>
                <a:gd name="connsiteX2799" fmla="*/ 1153191 w 3359086"/>
                <a:gd name="connsiteY2799" fmla="*/ 3177444 h 3355086"/>
                <a:gd name="connsiteX2800" fmla="*/ 1147000 w 3359086"/>
                <a:gd name="connsiteY2800" fmla="*/ 3171253 h 3355086"/>
                <a:gd name="connsiteX2801" fmla="*/ 1153191 w 3359086"/>
                <a:gd name="connsiteY2801" fmla="*/ 3165062 h 3355086"/>
                <a:gd name="connsiteX2802" fmla="*/ 903350 w 3359086"/>
                <a:gd name="connsiteY2802" fmla="*/ 3164872 h 3355086"/>
                <a:gd name="connsiteX2803" fmla="*/ 903445 w 3359086"/>
                <a:gd name="connsiteY2803" fmla="*/ 3164967 h 3355086"/>
                <a:gd name="connsiteX2804" fmla="*/ 903350 w 3359086"/>
                <a:gd name="connsiteY2804" fmla="*/ 3165062 h 3355086"/>
                <a:gd name="connsiteX2805" fmla="*/ 903255 w 3359086"/>
                <a:gd name="connsiteY2805" fmla="*/ 3164967 h 3355086"/>
                <a:gd name="connsiteX2806" fmla="*/ 903350 w 3359086"/>
                <a:gd name="connsiteY2806" fmla="*/ 3164872 h 3355086"/>
                <a:gd name="connsiteX2807" fmla="*/ 2222753 w 3359086"/>
                <a:gd name="connsiteY2807" fmla="*/ 3164491 h 3355086"/>
                <a:gd name="connsiteX2808" fmla="*/ 2228944 w 3359086"/>
                <a:gd name="connsiteY2808" fmla="*/ 3170682 h 3355086"/>
                <a:gd name="connsiteX2809" fmla="*/ 2222753 w 3359086"/>
                <a:gd name="connsiteY2809" fmla="*/ 3176873 h 3355086"/>
                <a:gd name="connsiteX2810" fmla="*/ 2216562 w 3359086"/>
                <a:gd name="connsiteY2810" fmla="*/ 3170682 h 3355086"/>
                <a:gd name="connsiteX2811" fmla="*/ 2222753 w 3359086"/>
                <a:gd name="connsiteY2811" fmla="*/ 3164491 h 3355086"/>
                <a:gd name="connsiteX2812" fmla="*/ 1073943 w 3359086"/>
                <a:gd name="connsiteY2812" fmla="*/ 3162967 h 3355086"/>
                <a:gd name="connsiteX2813" fmla="*/ 1080135 w 3359086"/>
                <a:gd name="connsiteY2813" fmla="*/ 3169158 h 3355086"/>
                <a:gd name="connsiteX2814" fmla="*/ 1073943 w 3359086"/>
                <a:gd name="connsiteY2814" fmla="*/ 3175349 h 3355086"/>
                <a:gd name="connsiteX2815" fmla="*/ 1067752 w 3359086"/>
                <a:gd name="connsiteY2815" fmla="*/ 3169158 h 3355086"/>
                <a:gd name="connsiteX2816" fmla="*/ 1073943 w 3359086"/>
                <a:gd name="connsiteY2816" fmla="*/ 3162967 h 3355086"/>
                <a:gd name="connsiteX2817" fmla="*/ 2048827 w 3359086"/>
                <a:gd name="connsiteY2817" fmla="*/ 3162586 h 3355086"/>
                <a:gd name="connsiteX2818" fmla="*/ 2055019 w 3359086"/>
                <a:gd name="connsiteY2818" fmla="*/ 3168777 h 3355086"/>
                <a:gd name="connsiteX2819" fmla="*/ 2048827 w 3359086"/>
                <a:gd name="connsiteY2819" fmla="*/ 3174969 h 3355086"/>
                <a:gd name="connsiteX2820" fmla="*/ 2042636 w 3359086"/>
                <a:gd name="connsiteY2820" fmla="*/ 3168777 h 3355086"/>
                <a:gd name="connsiteX2821" fmla="*/ 2048827 w 3359086"/>
                <a:gd name="connsiteY2821" fmla="*/ 3162586 h 3355086"/>
                <a:gd name="connsiteX2822" fmla="*/ 1419224 w 3359086"/>
                <a:gd name="connsiteY2822" fmla="*/ 3162396 h 3355086"/>
                <a:gd name="connsiteX2823" fmla="*/ 1425415 w 3359086"/>
                <a:gd name="connsiteY2823" fmla="*/ 3168587 h 3355086"/>
                <a:gd name="connsiteX2824" fmla="*/ 1419224 w 3359086"/>
                <a:gd name="connsiteY2824" fmla="*/ 3174778 h 3355086"/>
                <a:gd name="connsiteX2825" fmla="*/ 1413033 w 3359086"/>
                <a:gd name="connsiteY2825" fmla="*/ 3168587 h 3355086"/>
                <a:gd name="connsiteX2826" fmla="*/ 1419224 w 3359086"/>
                <a:gd name="connsiteY2826" fmla="*/ 3162396 h 3355086"/>
                <a:gd name="connsiteX2827" fmla="*/ 2134837 w 3359086"/>
                <a:gd name="connsiteY2827" fmla="*/ 3161824 h 3355086"/>
                <a:gd name="connsiteX2828" fmla="*/ 2141029 w 3359086"/>
                <a:gd name="connsiteY2828" fmla="*/ 3168015 h 3355086"/>
                <a:gd name="connsiteX2829" fmla="*/ 2134837 w 3359086"/>
                <a:gd name="connsiteY2829" fmla="*/ 3174206 h 3355086"/>
                <a:gd name="connsiteX2830" fmla="*/ 2128646 w 3359086"/>
                <a:gd name="connsiteY2830" fmla="*/ 3168015 h 3355086"/>
                <a:gd name="connsiteX2831" fmla="*/ 2134837 w 3359086"/>
                <a:gd name="connsiteY2831" fmla="*/ 3161824 h 3355086"/>
                <a:gd name="connsiteX2832" fmla="*/ 1952815 w 3359086"/>
                <a:gd name="connsiteY2832" fmla="*/ 3157347 h 3355086"/>
                <a:gd name="connsiteX2833" fmla="*/ 1959007 w 3359086"/>
                <a:gd name="connsiteY2833" fmla="*/ 3163538 h 3355086"/>
                <a:gd name="connsiteX2834" fmla="*/ 1952815 w 3359086"/>
                <a:gd name="connsiteY2834" fmla="*/ 3169729 h 3355086"/>
                <a:gd name="connsiteX2835" fmla="*/ 1946624 w 3359086"/>
                <a:gd name="connsiteY2835" fmla="*/ 3163538 h 3355086"/>
                <a:gd name="connsiteX2836" fmla="*/ 1952815 w 3359086"/>
                <a:gd name="connsiteY2836" fmla="*/ 3157347 h 3355086"/>
                <a:gd name="connsiteX2837" fmla="*/ 1251299 w 3359086"/>
                <a:gd name="connsiteY2837" fmla="*/ 3156395 h 3355086"/>
                <a:gd name="connsiteX2838" fmla="*/ 1257491 w 3359086"/>
                <a:gd name="connsiteY2838" fmla="*/ 3162586 h 3355086"/>
                <a:gd name="connsiteX2839" fmla="*/ 1251299 w 3359086"/>
                <a:gd name="connsiteY2839" fmla="*/ 3168778 h 3355086"/>
                <a:gd name="connsiteX2840" fmla="*/ 1245108 w 3359086"/>
                <a:gd name="connsiteY2840" fmla="*/ 3162586 h 3355086"/>
                <a:gd name="connsiteX2841" fmla="*/ 1251299 w 3359086"/>
                <a:gd name="connsiteY2841" fmla="*/ 3156395 h 3355086"/>
                <a:gd name="connsiteX2842" fmla="*/ 1083182 w 3359086"/>
                <a:gd name="connsiteY2842" fmla="*/ 3156109 h 3355086"/>
                <a:gd name="connsiteX2843" fmla="*/ 1089374 w 3359086"/>
                <a:gd name="connsiteY2843" fmla="*/ 3162300 h 3355086"/>
                <a:gd name="connsiteX2844" fmla="*/ 1083182 w 3359086"/>
                <a:gd name="connsiteY2844" fmla="*/ 3168491 h 3355086"/>
                <a:gd name="connsiteX2845" fmla="*/ 1076991 w 3359086"/>
                <a:gd name="connsiteY2845" fmla="*/ 3162300 h 3355086"/>
                <a:gd name="connsiteX2846" fmla="*/ 1083182 w 3359086"/>
                <a:gd name="connsiteY2846" fmla="*/ 3156109 h 3355086"/>
                <a:gd name="connsiteX2847" fmla="*/ 2211133 w 3359086"/>
                <a:gd name="connsiteY2847" fmla="*/ 3155919 h 3355086"/>
                <a:gd name="connsiteX2848" fmla="*/ 2217324 w 3359086"/>
                <a:gd name="connsiteY2848" fmla="*/ 3162110 h 3355086"/>
                <a:gd name="connsiteX2849" fmla="*/ 2211133 w 3359086"/>
                <a:gd name="connsiteY2849" fmla="*/ 3168301 h 3355086"/>
                <a:gd name="connsiteX2850" fmla="*/ 2204942 w 3359086"/>
                <a:gd name="connsiteY2850" fmla="*/ 3162110 h 3355086"/>
                <a:gd name="connsiteX2851" fmla="*/ 2211133 w 3359086"/>
                <a:gd name="connsiteY2851" fmla="*/ 3155919 h 3355086"/>
                <a:gd name="connsiteX2852" fmla="*/ 1167669 w 3359086"/>
                <a:gd name="connsiteY2852" fmla="*/ 3154395 h 3355086"/>
                <a:gd name="connsiteX2853" fmla="*/ 1173860 w 3359086"/>
                <a:gd name="connsiteY2853" fmla="*/ 3160586 h 3355086"/>
                <a:gd name="connsiteX2854" fmla="*/ 1167669 w 3359086"/>
                <a:gd name="connsiteY2854" fmla="*/ 3166777 h 3355086"/>
                <a:gd name="connsiteX2855" fmla="*/ 1161478 w 3359086"/>
                <a:gd name="connsiteY2855" fmla="*/ 3160586 h 3355086"/>
                <a:gd name="connsiteX2856" fmla="*/ 1167669 w 3359086"/>
                <a:gd name="connsiteY2856" fmla="*/ 3154395 h 3355086"/>
                <a:gd name="connsiteX2857" fmla="*/ 2286761 w 3359086"/>
                <a:gd name="connsiteY2857" fmla="*/ 3153061 h 3355086"/>
                <a:gd name="connsiteX2858" fmla="*/ 2292953 w 3359086"/>
                <a:gd name="connsiteY2858" fmla="*/ 3159252 h 3355086"/>
                <a:gd name="connsiteX2859" fmla="*/ 2293715 w 3359086"/>
                <a:gd name="connsiteY2859" fmla="*/ 3158490 h 3355086"/>
                <a:gd name="connsiteX2860" fmla="*/ 2298906 w 3359086"/>
                <a:gd name="connsiteY2860" fmla="*/ 3163681 h 3355086"/>
                <a:gd name="connsiteX2861" fmla="*/ 2299906 w 3359086"/>
                <a:gd name="connsiteY2861" fmla="*/ 3162681 h 3355086"/>
                <a:gd name="connsiteX2862" fmla="*/ 2304288 w 3359086"/>
                <a:gd name="connsiteY2862" fmla="*/ 3167062 h 3355086"/>
                <a:gd name="connsiteX2863" fmla="*/ 2305430 w 3359086"/>
                <a:gd name="connsiteY2863" fmla="*/ 3165920 h 3355086"/>
                <a:gd name="connsiteX2864" fmla="*/ 2309145 w 3359086"/>
                <a:gd name="connsiteY2864" fmla="*/ 3169634 h 3355086"/>
                <a:gd name="connsiteX2865" fmla="*/ 2310383 w 3359086"/>
                <a:gd name="connsiteY2865" fmla="*/ 3168396 h 3355086"/>
                <a:gd name="connsiteX2866" fmla="*/ 2313574 w 3359086"/>
                <a:gd name="connsiteY2866" fmla="*/ 3171587 h 3355086"/>
                <a:gd name="connsiteX2867" fmla="*/ 2314765 w 3359086"/>
                <a:gd name="connsiteY2867" fmla="*/ 3170396 h 3355086"/>
                <a:gd name="connsiteX2868" fmla="*/ 2317623 w 3359086"/>
                <a:gd name="connsiteY2868" fmla="*/ 3173254 h 3355086"/>
                <a:gd name="connsiteX2869" fmla="*/ 2318861 w 3359086"/>
                <a:gd name="connsiteY2869" fmla="*/ 3172016 h 3355086"/>
                <a:gd name="connsiteX2870" fmla="*/ 2321433 w 3359086"/>
                <a:gd name="connsiteY2870" fmla="*/ 3174588 h 3355086"/>
                <a:gd name="connsiteX2871" fmla="*/ 2322575 w 3359086"/>
                <a:gd name="connsiteY2871" fmla="*/ 3173445 h 3355086"/>
                <a:gd name="connsiteX2872" fmla="*/ 2325099 w 3359086"/>
                <a:gd name="connsiteY2872" fmla="*/ 3175969 h 3355086"/>
                <a:gd name="connsiteX2873" fmla="*/ 2326195 w 3359086"/>
                <a:gd name="connsiteY2873" fmla="*/ 3174873 h 3355086"/>
                <a:gd name="connsiteX2874" fmla="*/ 2328767 w 3359086"/>
                <a:gd name="connsiteY2874" fmla="*/ 3177445 h 3355086"/>
                <a:gd name="connsiteX2875" fmla="*/ 2329719 w 3359086"/>
                <a:gd name="connsiteY2875" fmla="*/ 3176493 h 3355086"/>
                <a:gd name="connsiteX2876" fmla="*/ 2332386 w 3359086"/>
                <a:gd name="connsiteY2876" fmla="*/ 3179160 h 3355086"/>
                <a:gd name="connsiteX2877" fmla="*/ 2333148 w 3359086"/>
                <a:gd name="connsiteY2877" fmla="*/ 3178397 h 3355086"/>
                <a:gd name="connsiteX2878" fmla="*/ 2336054 w 3359086"/>
                <a:gd name="connsiteY2878" fmla="*/ 3181303 h 3355086"/>
                <a:gd name="connsiteX2879" fmla="*/ 2336672 w 3359086"/>
                <a:gd name="connsiteY2879" fmla="*/ 3180684 h 3355086"/>
                <a:gd name="connsiteX2880" fmla="*/ 2339815 w 3359086"/>
                <a:gd name="connsiteY2880" fmla="*/ 3183827 h 3355086"/>
                <a:gd name="connsiteX2881" fmla="*/ 2340196 w 3359086"/>
                <a:gd name="connsiteY2881" fmla="*/ 3183446 h 3355086"/>
                <a:gd name="connsiteX2882" fmla="*/ 2343816 w 3359086"/>
                <a:gd name="connsiteY2882" fmla="*/ 3187066 h 3355086"/>
                <a:gd name="connsiteX2883" fmla="*/ 2344007 w 3359086"/>
                <a:gd name="connsiteY2883" fmla="*/ 3186875 h 3355086"/>
                <a:gd name="connsiteX2884" fmla="*/ 2350199 w 3359086"/>
                <a:gd name="connsiteY2884" fmla="*/ 3193066 h 3355086"/>
                <a:gd name="connsiteX2885" fmla="*/ 2350055 w 3359086"/>
                <a:gd name="connsiteY2885" fmla="*/ 3193210 h 3355086"/>
                <a:gd name="connsiteX2886" fmla="*/ 2354103 w 3359086"/>
                <a:gd name="connsiteY2886" fmla="*/ 3197257 h 3355086"/>
                <a:gd name="connsiteX2887" fmla="*/ 2353770 w 3359086"/>
                <a:gd name="connsiteY2887" fmla="*/ 3197590 h 3355086"/>
                <a:gd name="connsiteX2888" fmla="*/ 2358295 w 3359086"/>
                <a:gd name="connsiteY2888" fmla="*/ 3202114 h 3355086"/>
                <a:gd name="connsiteX2889" fmla="*/ 2357056 w 3359086"/>
                <a:gd name="connsiteY2889" fmla="*/ 3203353 h 3355086"/>
                <a:gd name="connsiteX2890" fmla="*/ 2361532 w 3359086"/>
                <a:gd name="connsiteY2890" fmla="*/ 3207830 h 3355086"/>
                <a:gd name="connsiteX2891" fmla="*/ 2356675 w 3359086"/>
                <a:gd name="connsiteY2891" fmla="*/ 3212687 h 3355086"/>
                <a:gd name="connsiteX2892" fmla="*/ 2352198 w 3359086"/>
                <a:gd name="connsiteY2892" fmla="*/ 3208211 h 3355086"/>
                <a:gd name="connsiteX2893" fmla="*/ 2352103 w 3359086"/>
                <a:gd name="connsiteY2893" fmla="*/ 3208306 h 3355086"/>
                <a:gd name="connsiteX2894" fmla="*/ 2345912 w 3359086"/>
                <a:gd name="connsiteY2894" fmla="*/ 3202114 h 3355086"/>
                <a:gd name="connsiteX2895" fmla="*/ 2346245 w 3359086"/>
                <a:gd name="connsiteY2895" fmla="*/ 3201781 h 3355086"/>
                <a:gd name="connsiteX2896" fmla="*/ 2341721 w 3359086"/>
                <a:gd name="connsiteY2896" fmla="*/ 3197257 h 3355086"/>
                <a:gd name="connsiteX2897" fmla="*/ 2341864 w 3359086"/>
                <a:gd name="connsiteY2897" fmla="*/ 3197114 h 3355086"/>
                <a:gd name="connsiteX2898" fmla="*/ 2340387 w 3359086"/>
                <a:gd name="connsiteY2898" fmla="*/ 3195638 h 3355086"/>
                <a:gd name="connsiteX2899" fmla="*/ 2340196 w 3359086"/>
                <a:gd name="connsiteY2899" fmla="*/ 3195829 h 3355086"/>
                <a:gd name="connsiteX2900" fmla="*/ 2337053 w 3359086"/>
                <a:gd name="connsiteY2900" fmla="*/ 3192686 h 3355086"/>
                <a:gd name="connsiteX2901" fmla="*/ 2336672 w 3359086"/>
                <a:gd name="connsiteY2901" fmla="*/ 3193066 h 3355086"/>
                <a:gd name="connsiteX2902" fmla="*/ 2333767 w 3359086"/>
                <a:gd name="connsiteY2902" fmla="*/ 3190161 h 3355086"/>
                <a:gd name="connsiteX2903" fmla="*/ 2333148 w 3359086"/>
                <a:gd name="connsiteY2903" fmla="*/ 3190780 h 3355086"/>
                <a:gd name="connsiteX2904" fmla="*/ 2330481 w 3359086"/>
                <a:gd name="connsiteY2904" fmla="*/ 3188113 h 3355086"/>
                <a:gd name="connsiteX2905" fmla="*/ 2329719 w 3359086"/>
                <a:gd name="connsiteY2905" fmla="*/ 3188875 h 3355086"/>
                <a:gd name="connsiteX2906" fmla="*/ 2327147 w 3359086"/>
                <a:gd name="connsiteY2906" fmla="*/ 3186303 h 3355086"/>
                <a:gd name="connsiteX2907" fmla="*/ 2326195 w 3359086"/>
                <a:gd name="connsiteY2907" fmla="*/ 3187255 h 3355086"/>
                <a:gd name="connsiteX2908" fmla="*/ 2323671 w 3359086"/>
                <a:gd name="connsiteY2908" fmla="*/ 3184731 h 3355086"/>
                <a:gd name="connsiteX2909" fmla="*/ 2322575 w 3359086"/>
                <a:gd name="connsiteY2909" fmla="*/ 3185827 h 3355086"/>
                <a:gd name="connsiteX2910" fmla="*/ 2320004 w 3359086"/>
                <a:gd name="connsiteY2910" fmla="*/ 3183256 h 3355086"/>
                <a:gd name="connsiteX2911" fmla="*/ 2318861 w 3359086"/>
                <a:gd name="connsiteY2911" fmla="*/ 3184398 h 3355086"/>
                <a:gd name="connsiteX2912" fmla="*/ 2316003 w 3359086"/>
                <a:gd name="connsiteY2912" fmla="*/ 3181541 h 3355086"/>
                <a:gd name="connsiteX2913" fmla="*/ 2314765 w 3359086"/>
                <a:gd name="connsiteY2913" fmla="*/ 3182779 h 3355086"/>
                <a:gd name="connsiteX2914" fmla="*/ 2311574 w 3359086"/>
                <a:gd name="connsiteY2914" fmla="*/ 3179588 h 3355086"/>
                <a:gd name="connsiteX2915" fmla="*/ 2310383 w 3359086"/>
                <a:gd name="connsiteY2915" fmla="*/ 3180778 h 3355086"/>
                <a:gd name="connsiteX2916" fmla="*/ 2306669 w 3359086"/>
                <a:gd name="connsiteY2916" fmla="*/ 3177064 h 3355086"/>
                <a:gd name="connsiteX2917" fmla="*/ 2305430 w 3359086"/>
                <a:gd name="connsiteY2917" fmla="*/ 3178303 h 3355086"/>
                <a:gd name="connsiteX2918" fmla="*/ 2301048 w 3359086"/>
                <a:gd name="connsiteY2918" fmla="*/ 3173921 h 3355086"/>
                <a:gd name="connsiteX2919" fmla="*/ 2299906 w 3359086"/>
                <a:gd name="connsiteY2919" fmla="*/ 3175063 h 3355086"/>
                <a:gd name="connsiteX2920" fmla="*/ 2294716 w 3359086"/>
                <a:gd name="connsiteY2920" fmla="*/ 3169873 h 3355086"/>
                <a:gd name="connsiteX2921" fmla="*/ 2293715 w 3359086"/>
                <a:gd name="connsiteY2921" fmla="*/ 3170873 h 3355086"/>
                <a:gd name="connsiteX2922" fmla="*/ 2287524 w 3359086"/>
                <a:gd name="connsiteY2922" fmla="*/ 3164681 h 3355086"/>
                <a:gd name="connsiteX2923" fmla="*/ 2286761 w 3359086"/>
                <a:gd name="connsiteY2923" fmla="*/ 3165444 h 3355086"/>
                <a:gd name="connsiteX2924" fmla="*/ 2280570 w 3359086"/>
                <a:gd name="connsiteY2924" fmla="*/ 3159252 h 3355086"/>
                <a:gd name="connsiteX2925" fmla="*/ 2286761 w 3359086"/>
                <a:gd name="connsiteY2925" fmla="*/ 3153061 h 3355086"/>
                <a:gd name="connsiteX2926" fmla="*/ 1345024 w 3359086"/>
                <a:gd name="connsiteY2926" fmla="*/ 3152394 h 3355086"/>
                <a:gd name="connsiteX2927" fmla="*/ 1351216 w 3359086"/>
                <a:gd name="connsiteY2927" fmla="*/ 3158585 h 3355086"/>
                <a:gd name="connsiteX2928" fmla="*/ 1345024 w 3359086"/>
                <a:gd name="connsiteY2928" fmla="*/ 3164776 h 3355086"/>
                <a:gd name="connsiteX2929" fmla="*/ 1338833 w 3359086"/>
                <a:gd name="connsiteY2929" fmla="*/ 3158585 h 3355086"/>
                <a:gd name="connsiteX2930" fmla="*/ 1345024 w 3359086"/>
                <a:gd name="connsiteY2930" fmla="*/ 3152394 h 3355086"/>
                <a:gd name="connsiteX2931" fmla="*/ 1687448 w 3359086"/>
                <a:gd name="connsiteY2931" fmla="*/ 3151823 h 3355086"/>
                <a:gd name="connsiteX2932" fmla="*/ 1693640 w 3359086"/>
                <a:gd name="connsiteY2932" fmla="*/ 3158014 h 3355086"/>
                <a:gd name="connsiteX2933" fmla="*/ 1687448 w 3359086"/>
                <a:gd name="connsiteY2933" fmla="*/ 3164205 h 3355086"/>
                <a:gd name="connsiteX2934" fmla="*/ 1681257 w 3359086"/>
                <a:gd name="connsiteY2934" fmla="*/ 3158014 h 3355086"/>
                <a:gd name="connsiteX2935" fmla="*/ 1687448 w 3359086"/>
                <a:gd name="connsiteY2935" fmla="*/ 3151823 h 3355086"/>
                <a:gd name="connsiteX2936" fmla="*/ 1607629 w 3359086"/>
                <a:gd name="connsiteY2936" fmla="*/ 3151156 h 3355086"/>
                <a:gd name="connsiteX2937" fmla="*/ 1613820 w 3359086"/>
                <a:gd name="connsiteY2937" fmla="*/ 3157347 h 3355086"/>
                <a:gd name="connsiteX2938" fmla="*/ 1607629 w 3359086"/>
                <a:gd name="connsiteY2938" fmla="*/ 3163538 h 3355086"/>
                <a:gd name="connsiteX2939" fmla="*/ 1601438 w 3359086"/>
                <a:gd name="connsiteY2939" fmla="*/ 3157347 h 3355086"/>
                <a:gd name="connsiteX2940" fmla="*/ 1607629 w 3359086"/>
                <a:gd name="connsiteY2940" fmla="*/ 3151156 h 3355086"/>
                <a:gd name="connsiteX2941" fmla="*/ 2479071 w 3359086"/>
                <a:gd name="connsiteY2941" fmla="*/ 3150585 h 3355086"/>
                <a:gd name="connsiteX2942" fmla="*/ 2480500 w 3359086"/>
                <a:gd name="connsiteY2942" fmla="*/ 3152014 h 3355086"/>
                <a:gd name="connsiteX2943" fmla="*/ 2479071 w 3359086"/>
                <a:gd name="connsiteY2943" fmla="*/ 3153442 h 3355086"/>
                <a:gd name="connsiteX2944" fmla="*/ 2477642 w 3359086"/>
                <a:gd name="connsiteY2944" fmla="*/ 3152014 h 3355086"/>
                <a:gd name="connsiteX2945" fmla="*/ 2479071 w 3359086"/>
                <a:gd name="connsiteY2945" fmla="*/ 3150585 h 3355086"/>
                <a:gd name="connsiteX2946" fmla="*/ 1767268 w 3359086"/>
                <a:gd name="connsiteY2946" fmla="*/ 3149632 h 3355086"/>
                <a:gd name="connsiteX2947" fmla="*/ 1773460 w 3359086"/>
                <a:gd name="connsiteY2947" fmla="*/ 3155823 h 3355086"/>
                <a:gd name="connsiteX2948" fmla="*/ 1767268 w 3359086"/>
                <a:gd name="connsiteY2948" fmla="*/ 3162014 h 3355086"/>
                <a:gd name="connsiteX2949" fmla="*/ 1761077 w 3359086"/>
                <a:gd name="connsiteY2949" fmla="*/ 3155823 h 3355086"/>
                <a:gd name="connsiteX2950" fmla="*/ 1767268 w 3359086"/>
                <a:gd name="connsiteY2950" fmla="*/ 3149632 h 3355086"/>
                <a:gd name="connsiteX2951" fmla="*/ 2117216 w 3359086"/>
                <a:gd name="connsiteY2951" fmla="*/ 3148489 h 3355086"/>
                <a:gd name="connsiteX2952" fmla="*/ 2123407 w 3359086"/>
                <a:gd name="connsiteY2952" fmla="*/ 3154680 h 3355086"/>
                <a:gd name="connsiteX2953" fmla="*/ 2117216 w 3359086"/>
                <a:gd name="connsiteY2953" fmla="*/ 3160871 h 3355086"/>
                <a:gd name="connsiteX2954" fmla="*/ 2111025 w 3359086"/>
                <a:gd name="connsiteY2954" fmla="*/ 3154680 h 3355086"/>
                <a:gd name="connsiteX2955" fmla="*/ 2117216 w 3359086"/>
                <a:gd name="connsiteY2955" fmla="*/ 3148489 h 3355086"/>
                <a:gd name="connsiteX2956" fmla="*/ 1528095 w 3359086"/>
                <a:gd name="connsiteY2956" fmla="*/ 3147632 h 3355086"/>
                <a:gd name="connsiteX2957" fmla="*/ 1534287 w 3359086"/>
                <a:gd name="connsiteY2957" fmla="*/ 3153823 h 3355086"/>
                <a:gd name="connsiteX2958" fmla="*/ 1528095 w 3359086"/>
                <a:gd name="connsiteY2958" fmla="*/ 3160014 h 3355086"/>
                <a:gd name="connsiteX2959" fmla="*/ 1521904 w 3359086"/>
                <a:gd name="connsiteY2959" fmla="*/ 3153823 h 3355086"/>
                <a:gd name="connsiteX2960" fmla="*/ 1528095 w 3359086"/>
                <a:gd name="connsiteY2960" fmla="*/ 3147632 h 3355086"/>
                <a:gd name="connsiteX2961" fmla="*/ 1093565 w 3359086"/>
                <a:gd name="connsiteY2961" fmla="*/ 3147632 h 3355086"/>
                <a:gd name="connsiteX2962" fmla="*/ 1099756 w 3359086"/>
                <a:gd name="connsiteY2962" fmla="*/ 3153823 h 3355086"/>
                <a:gd name="connsiteX2963" fmla="*/ 1093565 w 3359086"/>
                <a:gd name="connsiteY2963" fmla="*/ 3160014 h 3355086"/>
                <a:gd name="connsiteX2964" fmla="*/ 1087374 w 3359086"/>
                <a:gd name="connsiteY2964" fmla="*/ 3153823 h 3355086"/>
                <a:gd name="connsiteX2965" fmla="*/ 1093565 w 3359086"/>
                <a:gd name="connsiteY2965" fmla="*/ 3147632 h 3355086"/>
                <a:gd name="connsiteX2966" fmla="*/ 2278760 w 3359086"/>
                <a:gd name="connsiteY2966" fmla="*/ 3146298 h 3355086"/>
                <a:gd name="connsiteX2967" fmla="*/ 2284952 w 3359086"/>
                <a:gd name="connsiteY2967" fmla="*/ 3152489 h 3355086"/>
                <a:gd name="connsiteX2968" fmla="*/ 2278760 w 3359086"/>
                <a:gd name="connsiteY2968" fmla="*/ 3158680 h 3355086"/>
                <a:gd name="connsiteX2969" fmla="*/ 2272569 w 3359086"/>
                <a:gd name="connsiteY2969" fmla="*/ 3152489 h 3355086"/>
                <a:gd name="connsiteX2970" fmla="*/ 2278760 w 3359086"/>
                <a:gd name="connsiteY2970" fmla="*/ 3146298 h 3355086"/>
                <a:gd name="connsiteX2971" fmla="*/ 2026253 w 3359086"/>
                <a:gd name="connsiteY2971" fmla="*/ 3146108 h 3355086"/>
                <a:gd name="connsiteX2972" fmla="*/ 2032445 w 3359086"/>
                <a:gd name="connsiteY2972" fmla="*/ 3152299 h 3355086"/>
                <a:gd name="connsiteX2973" fmla="*/ 2026253 w 3359086"/>
                <a:gd name="connsiteY2973" fmla="*/ 3158490 h 3355086"/>
                <a:gd name="connsiteX2974" fmla="*/ 2020062 w 3359086"/>
                <a:gd name="connsiteY2974" fmla="*/ 3152299 h 3355086"/>
                <a:gd name="connsiteX2975" fmla="*/ 2026253 w 3359086"/>
                <a:gd name="connsiteY2975" fmla="*/ 3146108 h 3355086"/>
                <a:gd name="connsiteX2976" fmla="*/ 2198084 w 3359086"/>
                <a:gd name="connsiteY2976" fmla="*/ 3145346 h 3355086"/>
                <a:gd name="connsiteX2977" fmla="*/ 2204275 w 3359086"/>
                <a:gd name="connsiteY2977" fmla="*/ 3151537 h 3355086"/>
                <a:gd name="connsiteX2978" fmla="*/ 2198084 w 3359086"/>
                <a:gd name="connsiteY2978" fmla="*/ 3157728 h 3355086"/>
                <a:gd name="connsiteX2979" fmla="*/ 2191893 w 3359086"/>
                <a:gd name="connsiteY2979" fmla="*/ 3151537 h 3355086"/>
                <a:gd name="connsiteX2980" fmla="*/ 2198084 w 3359086"/>
                <a:gd name="connsiteY2980" fmla="*/ 3145346 h 3355086"/>
                <a:gd name="connsiteX2981" fmla="*/ 1846421 w 3359086"/>
                <a:gd name="connsiteY2981" fmla="*/ 3144489 h 3355086"/>
                <a:gd name="connsiteX2982" fmla="*/ 1852613 w 3359086"/>
                <a:gd name="connsiteY2982" fmla="*/ 3150680 h 3355086"/>
                <a:gd name="connsiteX2983" fmla="*/ 1846421 w 3359086"/>
                <a:gd name="connsiteY2983" fmla="*/ 3156871 h 3355086"/>
                <a:gd name="connsiteX2984" fmla="*/ 1840230 w 3359086"/>
                <a:gd name="connsiteY2984" fmla="*/ 3150680 h 3355086"/>
                <a:gd name="connsiteX2985" fmla="*/ 1846421 w 3359086"/>
                <a:gd name="connsiteY2985" fmla="*/ 3144489 h 3355086"/>
                <a:gd name="connsiteX2986" fmla="*/ 1021270 w 3359086"/>
                <a:gd name="connsiteY2986" fmla="*/ 3144203 h 3355086"/>
                <a:gd name="connsiteX2987" fmla="*/ 1027462 w 3359086"/>
                <a:gd name="connsiteY2987" fmla="*/ 3150394 h 3355086"/>
                <a:gd name="connsiteX2988" fmla="*/ 1021270 w 3359086"/>
                <a:gd name="connsiteY2988" fmla="*/ 3156586 h 3355086"/>
                <a:gd name="connsiteX2989" fmla="*/ 1020984 w 3359086"/>
                <a:gd name="connsiteY2989" fmla="*/ 3156300 h 3355086"/>
                <a:gd name="connsiteX2990" fmla="*/ 1015174 w 3359086"/>
                <a:gd name="connsiteY2990" fmla="*/ 3162109 h 3355086"/>
                <a:gd name="connsiteX2991" fmla="*/ 1014698 w 3359086"/>
                <a:gd name="connsiteY2991" fmla="*/ 3161633 h 3355086"/>
                <a:gd name="connsiteX2992" fmla="*/ 1009935 w 3359086"/>
                <a:gd name="connsiteY2992" fmla="*/ 3166396 h 3355086"/>
                <a:gd name="connsiteX2993" fmla="*/ 1009268 w 3359086"/>
                <a:gd name="connsiteY2993" fmla="*/ 3165730 h 3355086"/>
                <a:gd name="connsiteX2994" fmla="*/ 1005268 w 3359086"/>
                <a:gd name="connsiteY2994" fmla="*/ 3169729 h 3355086"/>
                <a:gd name="connsiteX2995" fmla="*/ 1004554 w 3359086"/>
                <a:gd name="connsiteY2995" fmla="*/ 3169015 h 3355086"/>
                <a:gd name="connsiteX2996" fmla="*/ 1001172 w 3359086"/>
                <a:gd name="connsiteY2996" fmla="*/ 3172396 h 3355086"/>
                <a:gd name="connsiteX2997" fmla="*/ 1000410 w 3359086"/>
                <a:gd name="connsiteY2997" fmla="*/ 3171634 h 3355086"/>
                <a:gd name="connsiteX2998" fmla="*/ 997457 w 3359086"/>
                <a:gd name="connsiteY2998" fmla="*/ 3174587 h 3355086"/>
                <a:gd name="connsiteX2999" fmla="*/ 996648 w 3359086"/>
                <a:gd name="connsiteY2999" fmla="*/ 3173778 h 3355086"/>
                <a:gd name="connsiteX3000" fmla="*/ 994028 w 3359086"/>
                <a:gd name="connsiteY3000" fmla="*/ 3176397 h 3355086"/>
                <a:gd name="connsiteX3001" fmla="*/ 993314 w 3359086"/>
                <a:gd name="connsiteY3001" fmla="*/ 3175683 h 3355086"/>
                <a:gd name="connsiteX3002" fmla="*/ 990885 w 3359086"/>
                <a:gd name="connsiteY3002" fmla="*/ 3178111 h 3355086"/>
                <a:gd name="connsiteX3003" fmla="*/ 990171 w 3359086"/>
                <a:gd name="connsiteY3003" fmla="*/ 3177397 h 3355086"/>
                <a:gd name="connsiteX3004" fmla="*/ 987837 w 3359086"/>
                <a:gd name="connsiteY3004" fmla="*/ 3179731 h 3355086"/>
                <a:gd name="connsiteX3005" fmla="*/ 987313 w 3359086"/>
                <a:gd name="connsiteY3005" fmla="*/ 3179207 h 3355086"/>
                <a:gd name="connsiteX3006" fmla="*/ 984884 w 3359086"/>
                <a:gd name="connsiteY3006" fmla="*/ 3181636 h 3355086"/>
                <a:gd name="connsiteX3007" fmla="*/ 984456 w 3359086"/>
                <a:gd name="connsiteY3007" fmla="*/ 3181208 h 3355086"/>
                <a:gd name="connsiteX3008" fmla="*/ 981932 w 3359086"/>
                <a:gd name="connsiteY3008" fmla="*/ 3183731 h 3355086"/>
                <a:gd name="connsiteX3009" fmla="*/ 981694 w 3359086"/>
                <a:gd name="connsiteY3009" fmla="*/ 3183494 h 3355086"/>
                <a:gd name="connsiteX3010" fmla="*/ 978884 w 3359086"/>
                <a:gd name="connsiteY3010" fmla="*/ 3186304 h 3355086"/>
                <a:gd name="connsiteX3011" fmla="*/ 978741 w 3359086"/>
                <a:gd name="connsiteY3011" fmla="*/ 3186161 h 3355086"/>
                <a:gd name="connsiteX3012" fmla="*/ 978265 w 3359086"/>
                <a:gd name="connsiteY3012" fmla="*/ 3186637 h 3355086"/>
                <a:gd name="connsiteX3013" fmla="*/ 978503 w 3359086"/>
                <a:gd name="connsiteY3013" fmla="*/ 3186875 h 3355086"/>
                <a:gd name="connsiteX3014" fmla="*/ 974217 w 3359086"/>
                <a:gd name="connsiteY3014" fmla="*/ 3191161 h 3355086"/>
                <a:gd name="connsiteX3015" fmla="*/ 974217 w 3359086"/>
                <a:gd name="connsiteY3015" fmla="*/ 3191161 h 3355086"/>
                <a:gd name="connsiteX3016" fmla="*/ 968597 w 3359086"/>
                <a:gd name="connsiteY3016" fmla="*/ 3196780 h 3355086"/>
                <a:gd name="connsiteX3017" fmla="*/ 962977 w 3359086"/>
                <a:gd name="connsiteY3017" fmla="*/ 3191161 h 3355086"/>
                <a:gd name="connsiteX3018" fmla="*/ 966692 w 3359086"/>
                <a:gd name="connsiteY3018" fmla="*/ 3187447 h 3355086"/>
                <a:gd name="connsiteX3019" fmla="*/ 966120 w 3359086"/>
                <a:gd name="connsiteY3019" fmla="*/ 3186875 h 3355086"/>
                <a:gd name="connsiteX3020" fmla="*/ 969692 w 3359086"/>
                <a:gd name="connsiteY3020" fmla="*/ 3183303 h 3355086"/>
                <a:gd name="connsiteX3021" fmla="*/ 969454 w 3359086"/>
                <a:gd name="connsiteY3021" fmla="*/ 3183065 h 3355086"/>
                <a:gd name="connsiteX3022" fmla="*/ 975645 w 3359086"/>
                <a:gd name="connsiteY3022" fmla="*/ 3176874 h 3355086"/>
                <a:gd name="connsiteX3023" fmla="*/ 975788 w 3359086"/>
                <a:gd name="connsiteY3023" fmla="*/ 3177017 h 3355086"/>
                <a:gd name="connsiteX3024" fmla="*/ 978884 w 3359086"/>
                <a:gd name="connsiteY3024" fmla="*/ 3173921 h 3355086"/>
                <a:gd name="connsiteX3025" fmla="*/ 979122 w 3359086"/>
                <a:gd name="connsiteY3025" fmla="*/ 3174159 h 3355086"/>
                <a:gd name="connsiteX3026" fmla="*/ 981932 w 3359086"/>
                <a:gd name="connsiteY3026" fmla="*/ 3171349 h 3355086"/>
                <a:gd name="connsiteX3027" fmla="*/ 982361 w 3359086"/>
                <a:gd name="connsiteY3027" fmla="*/ 3171778 h 3355086"/>
                <a:gd name="connsiteX3028" fmla="*/ 984884 w 3359086"/>
                <a:gd name="connsiteY3028" fmla="*/ 3169254 h 3355086"/>
                <a:gd name="connsiteX3029" fmla="*/ 985408 w 3359086"/>
                <a:gd name="connsiteY3029" fmla="*/ 3169778 h 3355086"/>
                <a:gd name="connsiteX3030" fmla="*/ 987837 w 3359086"/>
                <a:gd name="connsiteY3030" fmla="*/ 3167348 h 3355086"/>
                <a:gd name="connsiteX3031" fmla="*/ 988552 w 3359086"/>
                <a:gd name="connsiteY3031" fmla="*/ 3168063 h 3355086"/>
                <a:gd name="connsiteX3032" fmla="*/ 990885 w 3359086"/>
                <a:gd name="connsiteY3032" fmla="*/ 3165729 h 3355086"/>
                <a:gd name="connsiteX3033" fmla="*/ 991600 w 3359086"/>
                <a:gd name="connsiteY3033" fmla="*/ 3166444 h 3355086"/>
                <a:gd name="connsiteX3034" fmla="*/ 994028 w 3359086"/>
                <a:gd name="connsiteY3034" fmla="*/ 3164015 h 3355086"/>
                <a:gd name="connsiteX3035" fmla="*/ 994838 w 3359086"/>
                <a:gd name="connsiteY3035" fmla="*/ 3164825 h 3355086"/>
                <a:gd name="connsiteX3036" fmla="*/ 997457 w 3359086"/>
                <a:gd name="connsiteY3036" fmla="*/ 3162205 h 3355086"/>
                <a:gd name="connsiteX3037" fmla="*/ 998219 w 3359086"/>
                <a:gd name="connsiteY3037" fmla="*/ 3162967 h 3355086"/>
                <a:gd name="connsiteX3038" fmla="*/ 1001172 w 3359086"/>
                <a:gd name="connsiteY3038" fmla="*/ 3160014 h 3355086"/>
                <a:gd name="connsiteX3039" fmla="*/ 1001887 w 3359086"/>
                <a:gd name="connsiteY3039" fmla="*/ 3160729 h 3355086"/>
                <a:gd name="connsiteX3040" fmla="*/ 1005268 w 3359086"/>
                <a:gd name="connsiteY3040" fmla="*/ 3157347 h 3355086"/>
                <a:gd name="connsiteX3041" fmla="*/ 1005935 w 3359086"/>
                <a:gd name="connsiteY3041" fmla="*/ 3158014 h 3355086"/>
                <a:gd name="connsiteX3042" fmla="*/ 1009935 w 3359086"/>
                <a:gd name="connsiteY3042" fmla="*/ 3154013 h 3355086"/>
                <a:gd name="connsiteX3043" fmla="*/ 1010412 w 3359086"/>
                <a:gd name="connsiteY3043" fmla="*/ 3154490 h 3355086"/>
                <a:gd name="connsiteX3044" fmla="*/ 1015174 w 3359086"/>
                <a:gd name="connsiteY3044" fmla="*/ 3149727 h 3355086"/>
                <a:gd name="connsiteX3045" fmla="*/ 1015460 w 3359086"/>
                <a:gd name="connsiteY3045" fmla="*/ 3150013 h 3355086"/>
                <a:gd name="connsiteX3046" fmla="*/ 1449323 w 3359086"/>
                <a:gd name="connsiteY3046" fmla="*/ 3141250 h 3355086"/>
                <a:gd name="connsiteX3047" fmla="*/ 1455515 w 3359086"/>
                <a:gd name="connsiteY3047" fmla="*/ 3147441 h 3355086"/>
                <a:gd name="connsiteX3048" fmla="*/ 1449323 w 3359086"/>
                <a:gd name="connsiteY3048" fmla="*/ 3153632 h 3355086"/>
                <a:gd name="connsiteX3049" fmla="*/ 1443132 w 3359086"/>
                <a:gd name="connsiteY3049" fmla="*/ 3147441 h 3355086"/>
                <a:gd name="connsiteX3050" fmla="*/ 1449323 w 3359086"/>
                <a:gd name="connsiteY3050" fmla="*/ 3141250 h 3355086"/>
                <a:gd name="connsiteX3051" fmla="*/ 1183862 w 3359086"/>
                <a:gd name="connsiteY3051" fmla="*/ 3141250 h 3355086"/>
                <a:gd name="connsiteX3052" fmla="*/ 1190054 w 3359086"/>
                <a:gd name="connsiteY3052" fmla="*/ 3147441 h 3355086"/>
                <a:gd name="connsiteX3053" fmla="*/ 1183862 w 3359086"/>
                <a:gd name="connsiteY3053" fmla="*/ 3153632 h 3355086"/>
                <a:gd name="connsiteX3054" fmla="*/ 1177671 w 3359086"/>
                <a:gd name="connsiteY3054" fmla="*/ 3147441 h 3355086"/>
                <a:gd name="connsiteX3055" fmla="*/ 1183862 w 3359086"/>
                <a:gd name="connsiteY3055" fmla="*/ 3141250 h 3355086"/>
                <a:gd name="connsiteX3056" fmla="*/ 1272444 w 3359086"/>
                <a:gd name="connsiteY3056" fmla="*/ 3140012 h 3355086"/>
                <a:gd name="connsiteX3057" fmla="*/ 1278636 w 3359086"/>
                <a:gd name="connsiteY3057" fmla="*/ 3146203 h 3355086"/>
                <a:gd name="connsiteX3058" fmla="*/ 1272444 w 3359086"/>
                <a:gd name="connsiteY3058" fmla="*/ 3152395 h 3355086"/>
                <a:gd name="connsiteX3059" fmla="*/ 1266253 w 3359086"/>
                <a:gd name="connsiteY3059" fmla="*/ 3146203 h 3355086"/>
                <a:gd name="connsiteX3060" fmla="*/ 1272444 w 3359086"/>
                <a:gd name="connsiteY3060" fmla="*/ 3140012 h 3355086"/>
                <a:gd name="connsiteX3061" fmla="*/ 2269616 w 3359086"/>
                <a:gd name="connsiteY3061" fmla="*/ 3137726 h 3355086"/>
                <a:gd name="connsiteX3062" fmla="*/ 2275807 w 3359086"/>
                <a:gd name="connsiteY3062" fmla="*/ 3143917 h 3355086"/>
                <a:gd name="connsiteX3063" fmla="*/ 2269616 w 3359086"/>
                <a:gd name="connsiteY3063" fmla="*/ 3150108 h 3355086"/>
                <a:gd name="connsiteX3064" fmla="*/ 2263425 w 3359086"/>
                <a:gd name="connsiteY3064" fmla="*/ 3143917 h 3355086"/>
                <a:gd name="connsiteX3065" fmla="*/ 2269616 w 3359086"/>
                <a:gd name="connsiteY3065" fmla="*/ 3137726 h 3355086"/>
                <a:gd name="connsiteX3066" fmla="*/ 1028223 w 3359086"/>
                <a:gd name="connsiteY3066" fmla="*/ 3137345 h 3355086"/>
                <a:gd name="connsiteX3067" fmla="*/ 1034414 w 3359086"/>
                <a:gd name="connsiteY3067" fmla="*/ 3143536 h 3355086"/>
                <a:gd name="connsiteX3068" fmla="*/ 1028223 w 3359086"/>
                <a:gd name="connsiteY3068" fmla="*/ 3149728 h 3355086"/>
                <a:gd name="connsiteX3069" fmla="*/ 1022032 w 3359086"/>
                <a:gd name="connsiteY3069" fmla="*/ 3143536 h 3355086"/>
                <a:gd name="connsiteX3070" fmla="*/ 1028223 w 3359086"/>
                <a:gd name="connsiteY3070" fmla="*/ 3137345 h 3355086"/>
                <a:gd name="connsiteX3071" fmla="*/ 1105376 w 3359086"/>
                <a:gd name="connsiteY3071" fmla="*/ 3137154 h 3355086"/>
                <a:gd name="connsiteX3072" fmla="*/ 1111567 w 3359086"/>
                <a:gd name="connsiteY3072" fmla="*/ 3143345 h 3355086"/>
                <a:gd name="connsiteX3073" fmla="*/ 1105376 w 3359086"/>
                <a:gd name="connsiteY3073" fmla="*/ 3149536 h 3355086"/>
                <a:gd name="connsiteX3074" fmla="*/ 1099185 w 3359086"/>
                <a:gd name="connsiteY3074" fmla="*/ 3143345 h 3355086"/>
                <a:gd name="connsiteX3075" fmla="*/ 1105376 w 3359086"/>
                <a:gd name="connsiteY3075" fmla="*/ 3137154 h 3355086"/>
                <a:gd name="connsiteX3076" fmla="*/ 1924526 w 3359086"/>
                <a:gd name="connsiteY3076" fmla="*/ 3136678 h 3355086"/>
                <a:gd name="connsiteX3077" fmla="*/ 1930717 w 3359086"/>
                <a:gd name="connsiteY3077" fmla="*/ 3142869 h 3355086"/>
                <a:gd name="connsiteX3078" fmla="*/ 1924526 w 3359086"/>
                <a:gd name="connsiteY3078" fmla="*/ 3149061 h 3355086"/>
                <a:gd name="connsiteX3079" fmla="*/ 1918335 w 3359086"/>
                <a:gd name="connsiteY3079" fmla="*/ 3142869 h 3355086"/>
                <a:gd name="connsiteX3080" fmla="*/ 1924526 w 3359086"/>
                <a:gd name="connsiteY3080" fmla="*/ 3136678 h 3355086"/>
                <a:gd name="connsiteX3081" fmla="*/ 2338291 w 3359086"/>
                <a:gd name="connsiteY3081" fmla="*/ 3133725 h 3355086"/>
                <a:gd name="connsiteX3082" fmla="*/ 2344483 w 3359086"/>
                <a:gd name="connsiteY3082" fmla="*/ 3139916 h 3355086"/>
                <a:gd name="connsiteX3083" fmla="*/ 2344150 w 3359086"/>
                <a:gd name="connsiteY3083" fmla="*/ 3140250 h 3355086"/>
                <a:gd name="connsiteX3084" fmla="*/ 2349437 w 3359086"/>
                <a:gd name="connsiteY3084" fmla="*/ 3145536 h 3355086"/>
                <a:gd name="connsiteX3085" fmla="*/ 2349341 w 3359086"/>
                <a:gd name="connsiteY3085" fmla="*/ 3145632 h 3355086"/>
                <a:gd name="connsiteX3086" fmla="*/ 2351103 w 3359086"/>
                <a:gd name="connsiteY3086" fmla="*/ 3147394 h 3355086"/>
                <a:gd name="connsiteX3087" fmla="*/ 2351150 w 3359086"/>
                <a:gd name="connsiteY3087" fmla="*/ 3147346 h 3355086"/>
                <a:gd name="connsiteX3088" fmla="*/ 2354199 w 3359086"/>
                <a:gd name="connsiteY3088" fmla="*/ 3150395 h 3355086"/>
                <a:gd name="connsiteX3089" fmla="*/ 2354389 w 3359086"/>
                <a:gd name="connsiteY3089" fmla="*/ 3150204 h 3355086"/>
                <a:gd name="connsiteX3090" fmla="*/ 2357056 w 3359086"/>
                <a:gd name="connsiteY3090" fmla="*/ 3152871 h 3355086"/>
                <a:gd name="connsiteX3091" fmla="*/ 2357341 w 3359086"/>
                <a:gd name="connsiteY3091" fmla="*/ 3152585 h 3355086"/>
                <a:gd name="connsiteX3092" fmla="*/ 2359675 w 3359086"/>
                <a:gd name="connsiteY3092" fmla="*/ 3154919 h 3355086"/>
                <a:gd name="connsiteX3093" fmla="*/ 2359913 w 3359086"/>
                <a:gd name="connsiteY3093" fmla="*/ 3154680 h 3355086"/>
                <a:gd name="connsiteX3094" fmla="*/ 2362104 w 3359086"/>
                <a:gd name="connsiteY3094" fmla="*/ 3156871 h 3355086"/>
                <a:gd name="connsiteX3095" fmla="*/ 2362390 w 3359086"/>
                <a:gd name="connsiteY3095" fmla="*/ 3156585 h 3355086"/>
                <a:gd name="connsiteX3096" fmla="*/ 2364581 w 3359086"/>
                <a:gd name="connsiteY3096" fmla="*/ 3158776 h 3355086"/>
                <a:gd name="connsiteX3097" fmla="*/ 2364771 w 3359086"/>
                <a:gd name="connsiteY3097" fmla="*/ 3158586 h 3355086"/>
                <a:gd name="connsiteX3098" fmla="*/ 2367009 w 3359086"/>
                <a:gd name="connsiteY3098" fmla="*/ 3160824 h 3355086"/>
                <a:gd name="connsiteX3099" fmla="*/ 2367152 w 3359086"/>
                <a:gd name="connsiteY3099" fmla="*/ 3160681 h 3355086"/>
                <a:gd name="connsiteX3100" fmla="*/ 2369629 w 3359086"/>
                <a:gd name="connsiteY3100" fmla="*/ 3163158 h 3355086"/>
                <a:gd name="connsiteX3101" fmla="*/ 2369629 w 3359086"/>
                <a:gd name="connsiteY3101" fmla="*/ 3163157 h 3355086"/>
                <a:gd name="connsiteX3102" fmla="*/ 2375820 w 3359086"/>
                <a:gd name="connsiteY3102" fmla="*/ 3169348 h 3355086"/>
                <a:gd name="connsiteX3103" fmla="*/ 2375725 w 3359086"/>
                <a:gd name="connsiteY3103" fmla="*/ 3169444 h 3355086"/>
                <a:gd name="connsiteX3104" fmla="*/ 2378392 w 3359086"/>
                <a:gd name="connsiteY3104" fmla="*/ 3172111 h 3355086"/>
                <a:gd name="connsiteX3105" fmla="*/ 2378059 w 3359086"/>
                <a:gd name="connsiteY3105" fmla="*/ 3172445 h 3355086"/>
                <a:gd name="connsiteX3106" fmla="*/ 2381155 w 3359086"/>
                <a:gd name="connsiteY3106" fmla="*/ 3175540 h 3355086"/>
                <a:gd name="connsiteX3107" fmla="*/ 2380679 w 3359086"/>
                <a:gd name="connsiteY3107" fmla="*/ 3176017 h 3355086"/>
                <a:gd name="connsiteX3108" fmla="*/ 2384203 w 3359086"/>
                <a:gd name="connsiteY3108" fmla="*/ 3179540 h 3355086"/>
                <a:gd name="connsiteX3109" fmla="*/ 2383488 w 3359086"/>
                <a:gd name="connsiteY3109" fmla="*/ 3180255 h 3355086"/>
                <a:gd name="connsiteX3110" fmla="*/ 2387537 w 3359086"/>
                <a:gd name="connsiteY3110" fmla="*/ 3184303 h 3355086"/>
                <a:gd name="connsiteX3111" fmla="*/ 2386584 w 3359086"/>
                <a:gd name="connsiteY3111" fmla="*/ 3185256 h 3355086"/>
                <a:gd name="connsiteX3112" fmla="*/ 2391155 w 3359086"/>
                <a:gd name="connsiteY3112" fmla="*/ 3189827 h 3355086"/>
                <a:gd name="connsiteX3113" fmla="*/ 2384964 w 3359086"/>
                <a:gd name="connsiteY3113" fmla="*/ 3196018 h 3355086"/>
                <a:gd name="connsiteX3114" fmla="*/ 2378773 w 3359086"/>
                <a:gd name="connsiteY3114" fmla="*/ 3189827 h 3355086"/>
                <a:gd name="connsiteX3115" fmla="*/ 2379725 w 3359086"/>
                <a:gd name="connsiteY3115" fmla="*/ 3188875 h 3355086"/>
                <a:gd name="connsiteX3116" fmla="*/ 2375154 w 3359086"/>
                <a:gd name="connsiteY3116" fmla="*/ 3184303 h 3355086"/>
                <a:gd name="connsiteX3117" fmla="*/ 2375868 w 3359086"/>
                <a:gd name="connsiteY3117" fmla="*/ 3183589 h 3355086"/>
                <a:gd name="connsiteX3118" fmla="*/ 2371820 w 3359086"/>
                <a:gd name="connsiteY3118" fmla="*/ 3179540 h 3355086"/>
                <a:gd name="connsiteX3119" fmla="*/ 2372296 w 3359086"/>
                <a:gd name="connsiteY3119" fmla="*/ 3179064 h 3355086"/>
                <a:gd name="connsiteX3120" fmla="*/ 2368772 w 3359086"/>
                <a:gd name="connsiteY3120" fmla="*/ 3175540 h 3355086"/>
                <a:gd name="connsiteX3121" fmla="*/ 2369105 w 3359086"/>
                <a:gd name="connsiteY3121" fmla="*/ 3175207 h 3355086"/>
                <a:gd name="connsiteX3122" fmla="*/ 2366010 w 3359086"/>
                <a:gd name="connsiteY3122" fmla="*/ 3172111 h 3355086"/>
                <a:gd name="connsiteX3123" fmla="*/ 2366105 w 3359086"/>
                <a:gd name="connsiteY3123" fmla="*/ 3172016 h 3355086"/>
                <a:gd name="connsiteX3124" fmla="*/ 2364914 w 3359086"/>
                <a:gd name="connsiteY3124" fmla="*/ 3170825 h 3355086"/>
                <a:gd name="connsiteX3125" fmla="*/ 2364771 w 3359086"/>
                <a:gd name="connsiteY3125" fmla="*/ 3170968 h 3355086"/>
                <a:gd name="connsiteX3126" fmla="*/ 2362580 w 3359086"/>
                <a:gd name="connsiteY3126" fmla="*/ 3168777 h 3355086"/>
                <a:gd name="connsiteX3127" fmla="*/ 2362390 w 3359086"/>
                <a:gd name="connsiteY3127" fmla="*/ 3168967 h 3355086"/>
                <a:gd name="connsiteX3128" fmla="*/ 2360199 w 3359086"/>
                <a:gd name="connsiteY3128" fmla="*/ 3166776 h 3355086"/>
                <a:gd name="connsiteX3129" fmla="*/ 2359913 w 3359086"/>
                <a:gd name="connsiteY3129" fmla="*/ 3167062 h 3355086"/>
                <a:gd name="connsiteX3130" fmla="*/ 2357580 w 3359086"/>
                <a:gd name="connsiteY3130" fmla="*/ 3164729 h 3355086"/>
                <a:gd name="connsiteX3131" fmla="*/ 2357341 w 3359086"/>
                <a:gd name="connsiteY3131" fmla="*/ 3164967 h 3355086"/>
                <a:gd name="connsiteX3132" fmla="*/ 2354675 w 3359086"/>
                <a:gd name="connsiteY3132" fmla="*/ 3162301 h 3355086"/>
                <a:gd name="connsiteX3133" fmla="*/ 2354389 w 3359086"/>
                <a:gd name="connsiteY3133" fmla="*/ 3162586 h 3355086"/>
                <a:gd name="connsiteX3134" fmla="*/ 2351341 w 3359086"/>
                <a:gd name="connsiteY3134" fmla="*/ 3159538 h 3355086"/>
                <a:gd name="connsiteX3135" fmla="*/ 2351150 w 3359086"/>
                <a:gd name="connsiteY3135" fmla="*/ 3159728 h 3355086"/>
                <a:gd name="connsiteX3136" fmla="*/ 2347579 w 3359086"/>
                <a:gd name="connsiteY3136" fmla="*/ 3156157 h 3355086"/>
                <a:gd name="connsiteX3137" fmla="*/ 2347531 w 3359086"/>
                <a:gd name="connsiteY3137" fmla="*/ 3156205 h 3355086"/>
                <a:gd name="connsiteX3138" fmla="*/ 2341340 w 3359086"/>
                <a:gd name="connsiteY3138" fmla="*/ 3150013 h 3355086"/>
                <a:gd name="connsiteX3139" fmla="*/ 2341435 w 3359086"/>
                <a:gd name="connsiteY3139" fmla="*/ 3149918 h 3355086"/>
                <a:gd name="connsiteX3140" fmla="*/ 2337054 w 3359086"/>
                <a:gd name="connsiteY3140" fmla="*/ 3145536 h 3355086"/>
                <a:gd name="connsiteX3141" fmla="*/ 2337387 w 3359086"/>
                <a:gd name="connsiteY3141" fmla="*/ 3145204 h 3355086"/>
                <a:gd name="connsiteX3142" fmla="*/ 2332100 w 3359086"/>
                <a:gd name="connsiteY3142" fmla="*/ 3139916 h 3355086"/>
                <a:gd name="connsiteX3143" fmla="*/ 2338291 w 3359086"/>
                <a:gd name="connsiteY3143" fmla="*/ 3133725 h 3355086"/>
                <a:gd name="connsiteX3144" fmla="*/ 2097690 w 3359086"/>
                <a:gd name="connsiteY3144" fmla="*/ 3132487 h 3355086"/>
                <a:gd name="connsiteX3145" fmla="*/ 2103882 w 3359086"/>
                <a:gd name="connsiteY3145" fmla="*/ 3138678 h 3355086"/>
                <a:gd name="connsiteX3146" fmla="*/ 2097690 w 3359086"/>
                <a:gd name="connsiteY3146" fmla="*/ 3144870 h 3355086"/>
                <a:gd name="connsiteX3147" fmla="*/ 2091499 w 3359086"/>
                <a:gd name="connsiteY3147" fmla="*/ 3138678 h 3355086"/>
                <a:gd name="connsiteX3148" fmla="*/ 2097690 w 3359086"/>
                <a:gd name="connsiteY3148" fmla="*/ 3132487 h 3355086"/>
                <a:gd name="connsiteX3149" fmla="*/ 2183510 w 3359086"/>
                <a:gd name="connsiteY3149" fmla="*/ 3132392 h 3355086"/>
                <a:gd name="connsiteX3150" fmla="*/ 2189702 w 3359086"/>
                <a:gd name="connsiteY3150" fmla="*/ 3138583 h 3355086"/>
                <a:gd name="connsiteX3151" fmla="*/ 2183510 w 3359086"/>
                <a:gd name="connsiteY3151" fmla="*/ 3144774 h 3355086"/>
                <a:gd name="connsiteX3152" fmla="*/ 2177319 w 3359086"/>
                <a:gd name="connsiteY3152" fmla="*/ 3138583 h 3355086"/>
                <a:gd name="connsiteX3153" fmla="*/ 2183510 w 3359086"/>
                <a:gd name="connsiteY3153" fmla="*/ 3132392 h 3355086"/>
                <a:gd name="connsiteX3154" fmla="*/ 1371790 w 3359086"/>
                <a:gd name="connsiteY3154" fmla="*/ 3132201 h 3355086"/>
                <a:gd name="connsiteX3155" fmla="*/ 1377982 w 3359086"/>
                <a:gd name="connsiteY3155" fmla="*/ 3138392 h 3355086"/>
                <a:gd name="connsiteX3156" fmla="*/ 1371790 w 3359086"/>
                <a:gd name="connsiteY3156" fmla="*/ 3144584 h 3355086"/>
                <a:gd name="connsiteX3157" fmla="*/ 1365599 w 3359086"/>
                <a:gd name="connsiteY3157" fmla="*/ 3138392 h 3355086"/>
                <a:gd name="connsiteX3158" fmla="*/ 1371790 w 3359086"/>
                <a:gd name="connsiteY3158" fmla="*/ 3132201 h 3355086"/>
                <a:gd name="connsiteX3159" fmla="*/ 842677 w 3359086"/>
                <a:gd name="connsiteY3159" fmla="*/ 3130963 h 3355086"/>
                <a:gd name="connsiteX3160" fmla="*/ 842962 w 3359086"/>
                <a:gd name="connsiteY3160" fmla="*/ 3131249 h 3355086"/>
                <a:gd name="connsiteX3161" fmla="*/ 842677 w 3359086"/>
                <a:gd name="connsiteY3161" fmla="*/ 3131534 h 3355086"/>
                <a:gd name="connsiteX3162" fmla="*/ 842391 w 3359086"/>
                <a:gd name="connsiteY3162" fmla="*/ 3131249 h 3355086"/>
                <a:gd name="connsiteX3163" fmla="*/ 842677 w 3359086"/>
                <a:gd name="connsiteY3163" fmla="*/ 3130963 h 3355086"/>
                <a:gd name="connsiteX3164" fmla="*/ 1036129 w 3359086"/>
                <a:gd name="connsiteY3164" fmla="*/ 3128772 h 3355086"/>
                <a:gd name="connsiteX3165" fmla="*/ 1042321 w 3359086"/>
                <a:gd name="connsiteY3165" fmla="*/ 3134963 h 3355086"/>
                <a:gd name="connsiteX3166" fmla="*/ 1036129 w 3359086"/>
                <a:gd name="connsiteY3166" fmla="*/ 3141154 h 3355086"/>
                <a:gd name="connsiteX3167" fmla="*/ 1029938 w 3359086"/>
                <a:gd name="connsiteY3167" fmla="*/ 3134963 h 3355086"/>
                <a:gd name="connsiteX3168" fmla="*/ 1036129 w 3359086"/>
                <a:gd name="connsiteY3168" fmla="*/ 3128772 h 3355086"/>
                <a:gd name="connsiteX3169" fmla="*/ 2259234 w 3359086"/>
                <a:gd name="connsiteY3169" fmla="*/ 3127248 h 3355086"/>
                <a:gd name="connsiteX3170" fmla="*/ 2265426 w 3359086"/>
                <a:gd name="connsiteY3170" fmla="*/ 3133439 h 3355086"/>
                <a:gd name="connsiteX3171" fmla="*/ 2259234 w 3359086"/>
                <a:gd name="connsiteY3171" fmla="*/ 3139630 h 3355086"/>
                <a:gd name="connsiteX3172" fmla="*/ 2253043 w 3359086"/>
                <a:gd name="connsiteY3172" fmla="*/ 3133439 h 3355086"/>
                <a:gd name="connsiteX3173" fmla="*/ 2259234 w 3359086"/>
                <a:gd name="connsiteY3173" fmla="*/ 3127248 h 3355086"/>
                <a:gd name="connsiteX3174" fmla="*/ 2332481 w 3359086"/>
                <a:gd name="connsiteY3174" fmla="*/ 3126677 h 3355086"/>
                <a:gd name="connsiteX3175" fmla="*/ 2338673 w 3359086"/>
                <a:gd name="connsiteY3175" fmla="*/ 3132868 h 3355086"/>
                <a:gd name="connsiteX3176" fmla="*/ 2332481 w 3359086"/>
                <a:gd name="connsiteY3176" fmla="*/ 3139059 h 3355086"/>
                <a:gd name="connsiteX3177" fmla="*/ 2326290 w 3359086"/>
                <a:gd name="connsiteY3177" fmla="*/ 3132868 h 3355086"/>
                <a:gd name="connsiteX3178" fmla="*/ 2332481 w 3359086"/>
                <a:gd name="connsiteY3178" fmla="*/ 3126677 h 3355086"/>
                <a:gd name="connsiteX3179" fmla="*/ 2001202 w 3359086"/>
                <a:gd name="connsiteY3179" fmla="*/ 3126296 h 3355086"/>
                <a:gd name="connsiteX3180" fmla="*/ 2007394 w 3359086"/>
                <a:gd name="connsiteY3180" fmla="*/ 3132487 h 3355086"/>
                <a:gd name="connsiteX3181" fmla="*/ 2001202 w 3359086"/>
                <a:gd name="connsiteY3181" fmla="*/ 3138679 h 3355086"/>
                <a:gd name="connsiteX3182" fmla="*/ 1995011 w 3359086"/>
                <a:gd name="connsiteY3182" fmla="*/ 3132487 h 3355086"/>
                <a:gd name="connsiteX3183" fmla="*/ 2001202 w 3359086"/>
                <a:gd name="connsiteY3183" fmla="*/ 3126296 h 3355086"/>
                <a:gd name="connsiteX3184" fmla="*/ 1201959 w 3359086"/>
                <a:gd name="connsiteY3184" fmla="*/ 3125438 h 3355086"/>
                <a:gd name="connsiteX3185" fmla="*/ 1208150 w 3359086"/>
                <a:gd name="connsiteY3185" fmla="*/ 3131629 h 3355086"/>
                <a:gd name="connsiteX3186" fmla="*/ 1201959 w 3359086"/>
                <a:gd name="connsiteY3186" fmla="*/ 3137821 h 3355086"/>
                <a:gd name="connsiteX3187" fmla="*/ 1195768 w 3359086"/>
                <a:gd name="connsiteY3187" fmla="*/ 3131629 h 3355086"/>
                <a:gd name="connsiteX3188" fmla="*/ 1201959 w 3359086"/>
                <a:gd name="connsiteY3188" fmla="*/ 3125438 h 3355086"/>
                <a:gd name="connsiteX3189" fmla="*/ 1118615 w 3359086"/>
                <a:gd name="connsiteY3189" fmla="*/ 3124200 h 3355086"/>
                <a:gd name="connsiteX3190" fmla="*/ 1124806 w 3359086"/>
                <a:gd name="connsiteY3190" fmla="*/ 3130391 h 3355086"/>
                <a:gd name="connsiteX3191" fmla="*/ 1118615 w 3359086"/>
                <a:gd name="connsiteY3191" fmla="*/ 3136583 h 3355086"/>
                <a:gd name="connsiteX3192" fmla="*/ 1112424 w 3359086"/>
                <a:gd name="connsiteY3192" fmla="*/ 3130391 h 3355086"/>
                <a:gd name="connsiteX3193" fmla="*/ 1118615 w 3359086"/>
                <a:gd name="connsiteY3193" fmla="*/ 3124200 h 3355086"/>
                <a:gd name="connsiteX3194" fmla="*/ 1646872 w 3359086"/>
                <a:gd name="connsiteY3194" fmla="*/ 3123724 h 3355086"/>
                <a:gd name="connsiteX3195" fmla="*/ 1653064 w 3359086"/>
                <a:gd name="connsiteY3195" fmla="*/ 3129915 h 3355086"/>
                <a:gd name="connsiteX3196" fmla="*/ 1646872 w 3359086"/>
                <a:gd name="connsiteY3196" fmla="*/ 3136106 h 3355086"/>
                <a:gd name="connsiteX3197" fmla="*/ 1640681 w 3359086"/>
                <a:gd name="connsiteY3197" fmla="*/ 3129915 h 3355086"/>
                <a:gd name="connsiteX3198" fmla="*/ 1646872 w 3359086"/>
                <a:gd name="connsiteY3198" fmla="*/ 3123724 h 3355086"/>
                <a:gd name="connsiteX3199" fmla="*/ 1729644 w 3359086"/>
                <a:gd name="connsiteY3199" fmla="*/ 3122962 h 3355086"/>
                <a:gd name="connsiteX3200" fmla="*/ 1735836 w 3359086"/>
                <a:gd name="connsiteY3200" fmla="*/ 3129153 h 3355086"/>
                <a:gd name="connsiteX3201" fmla="*/ 1729644 w 3359086"/>
                <a:gd name="connsiteY3201" fmla="*/ 3135345 h 3355086"/>
                <a:gd name="connsiteX3202" fmla="*/ 1723453 w 3359086"/>
                <a:gd name="connsiteY3202" fmla="*/ 3129153 h 3355086"/>
                <a:gd name="connsiteX3203" fmla="*/ 1729644 w 3359086"/>
                <a:gd name="connsiteY3203" fmla="*/ 3122962 h 3355086"/>
                <a:gd name="connsiteX3204" fmla="*/ 1564099 w 3359086"/>
                <a:gd name="connsiteY3204" fmla="*/ 3121533 h 3355086"/>
                <a:gd name="connsiteX3205" fmla="*/ 1570291 w 3359086"/>
                <a:gd name="connsiteY3205" fmla="*/ 3127724 h 3355086"/>
                <a:gd name="connsiteX3206" fmla="*/ 1564099 w 3359086"/>
                <a:gd name="connsiteY3206" fmla="*/ 3133916 h 3355086"/>
                <a:gd name="connsiteX3207" fmla="*/ 1557908 w 3359086"/>
                <a:gd name="connsiteY3207" fmla="*/ 3127724 h 3355086"/>
                <a:gd name="connsiteX3208" fmla="*/ 1564099 w 3359086"/>
                <a:gd name="connsiteY3208" fmla="*/ 3121533 h 3355086"/>
                <a:gd name="connsiteX3209" fmla="*/ 1295875 w 3359086"/>
                <a:gd name="connsiteY3209" fmla="*/ 3120581 h 3355086"/>
                <a:gd name="connsiteX3210" fmla="*/ 1302067 w 3359086"/>
                <a:gd name="connsiteY3210" fmla="*/ 3126772 h 3355086"/>
                <a:gd name="connsiteX3211" fmla="*/ 1295875 w 3359086"/>
                <a:gd name="connsiteY3211" fmla="*/ 3132964 h 3355086"/>
                <a:gd name="connsiteX3212" fmla="*/ 1289684 w 3359086"/>
                <a:gd name="connsiteY3212" fmla="*/ 3126772 h 3355086"/>
                <a:gd name="connsiteX3213" fmla="*/ 1295875 w 3359086"/>
                <a:gd name="connsiteY3213" fmla="*/ 3120581 h 3355086"/>
                <a:gd name="connsiteX3214" fmla="*/ 1812131 w 3359086"/>
                <a:gd name="connsiteY3214" fmla="*/ 3119152 h 3355086"/>
                <a:gd name="connsiteX3215" fmla="*/ 1818322 w 3359086"/>
                <a:gd name="connsiteY3215" fmla="*/ 3125343 h 3355086"/>
                <a:gd name="connsiteX3216" fmla="*/ 1812131 w 3359086"/>
                <a:gd name="connsiteY3216" fmla="*/ 3131535 h 3355086"/>
                <a:gd name="connsiteX3217" fmla="*/ 1805940 w 3359086"/>
                <a:gd name="connsiteY3217" fmla="*/ 3125343 h 3355086"/>
                <a:gd name="connsiteX3218" fmla="*/ 1812131 w 3359086"/>
                <a:gd name="connsiteY3218" fmla="*/ 3119152 h 3355086"/>
                <a:gd name="connsiteX3219" fmla="*/ 1045368 w 3359086"/>
                <a:gd name="connsiteY3219" fmla="*/ 3118199 h 3355086"/>
                <a:gd name="connsiteX3220" fmla="*/ 1051560 w 3359086"/>
                <a:gd name="connsiteY3220" fmla="*/ 3124390 h 3355086"/>
                <a:gd name="connsiteX3221" fmla="*/ 1045368 w 3359086"/>
                <a:gd name="connsiteY3221" fmla="*/ 3130582 h 3355086"/>
                <a:gd name="connsiteX3222" fmla="*/ 1039177 w 3359086"/>
                <a:gd name="connsiteY3222" fmla="*/ 3124390 h 3355086"/>
                <a:gd name="connsiteX3223" fmla="*/ 1045368 w 3359086"/>
                <a:gd name="connsiteY3223" fmla="*/ 3118199 h 3355086"/>
                <a:gd name="connsiteX3224" fmla="*/ 2325814 w 3359086"/>
                <a:gd name="connsiteY3224" fmla="*/ 3118104 h 3355086"/>
                <a:gd name="connsiteX3225" fmla="*/ 2332006 w 3359086"/>
                <a:gd name="connsiteY3225" fmla="*/ 3124295 h 3355086"/>
                <a:gd name="connsiteX3226" fmla="*/ 2325814 w 3359086"/>
                <a:gd name="connsiteY3226" fmla="*/ 3130486 h 3355086"/>
                <a:gd name="connsiteX3227" fmla="*/ 2319623 w 3359086"/>
                <a:gd name="connsiteY3227" fmla="*/ 3124295 h 3355086"/>
                <a:gd name="connsiteX3228" fmla="*/ 2325814 w 3359086"/>
                <a:gd name="connsiteY3228" fmla="*/ 3118104 h 3355086"/>
                <a:gd name="connsiteX3229" fmla="*/ 975455 w 3359086"/>
                <a:gd name="connsiteY3229" fmla="*/ 3117247 h 3355086"/>
                <a:gd name="connsiteX3230" fmla="*/ 981646 w 3359086"/>
                <a:gd name="connsiteY3230" fmla="*/ 3123438 h 3355086"/>
                <a:gd name="connsiteX3231" fmla="*/ 975740 w 3359086"/>
                <a:gd name="connsiteY3231" fmla="*/ 3129344 h 3355086"/>
                <a:gd name="connsiteX3232" fmla="*/ 976883 w 3359086"/>
                <a:gd name="connsiteY3232" fmla="*/ 3130487 h 3355086"/>
                <a:gd name="connsiteX3233" fmla="*/ 971930 w 3359086"/>
                <a:gd name="connsiteY3233" fmla="*/ 3135440 h 3355086"/>
                <a:gd name="connsiteX3234" fmla="*/ 972787 w 3359086"/>
                <a:gd name="connsiteY3234" fmla="*/ 3136297 h 3355086"/>
                <a:gd name="connsiteX3235" fmla="*/ 968835 w 3359086"/>
                <a:gd name="connsiteY3235" fmla="*/ 3140250 h 3355086"/>
                <a:gd name="connsiteX3236" fmla="*/ 969454 w 3359086"/>
                <a:gd name="connsiteY3236" fmla="*/ 3140869 h 3355086"/>
                <a:gd name="connsiteX3237" fmla="*/ 966121 w 3359086"/>
                <a:gd name="connsiteY3237" fmla="*/ 3144203 h 3355086"/>
                <a:gd name="connsiteX3238" fmla="*/ 966502 w 3359086"/>
                <a:gd name="connsiteY3238" fmla="*/ 3144584 h 3355086"/>
                <a:gd name="connsiteX3239" fmla="*/ 963691 w 3359086"/>
                <a:gd name="connsiteY3239" fmla="*/ 3147395 h 3355086"/>
                <a:gd name="connsiteX3240" fmla="*/ 964024 w 3359086"/>
                <a:gd name="connsiteY3240" fmla="*/ 3147727 h 3355086"/>
                <a:gd name="connsiteX3241" fmla="*/ 961644 w 3359086"/>
                <a:gd name="connsiteY3241" fmla="*/ 3150107 h 3355086"/>
                <a:gd name="connsiteX3242" fmla="*/ 961835 w 3359086"/>
                <a:gd name="connsiteY3242" fmla="*/ 3150298 h 3355086"/>
                <a:gd name="connsiteX3243" fmla="*/ 959691 w 3359086"/>
                <a:gd name="connsiteY3243" fmla="*/ 3152443 h 3355086"/>
                <a:gd name="connsiteX3244" fmla="*/ 959833 w 3359086"/>
                <a:gd name="connsiteY3244" fmla="*/ 3152585 h 3355086"/>
                <a:gd name="connsiteX3245" fmla="*/ 957786 w 3359086"/>
                <a:gd name="connsiteY3245" fmla="*/ 3154632 h 3355086"/>
                <a:gd name="connsiteX3246" fmla="*/ 957929 w 3359086"/>
                <a:gd name="connsiteY3246" fmla="*/ 3154775 h 3355086"/>
                <a:gd name="connsiteX3247" fmla="*/ 955881 w 3359086"/>
                <a:gd name="connsiteY3247" fmla="*/ 3156823 h 3355086"/>
                <a:gd name="connsiteX3248" fmla="*/ 956024 w 3359086"/>
                <a:gd name="connsiteY3248" fmla="*/ 3156966 h 3355086"/>
                <a:gd name="connsiteX3249" fmla="*/ 953880 w 3359086"/>
                <a:gd name="connsiteY3249" fmla="*/ 3159110 h 3355086"/>
                <a:gd name="connsiteX3250" fmla="*/ 954118 w 3359086"/>
                <a:gd name="connsiteY3250" fmla="*/ 3159347 h 3355086"/>
                <a:gd name="connsiteX3251" fmla="*/ 951737 w 3359086"/>
                <a:gd name="connsiteY3251" fmla="*/ 3161729 h 3355086"/>
                <a:gd name="connsiteX3252" fmla="*/ 952118 w 3359086"/>
                <a:gd name="connsiteY3252" fmla="*/ 3162110 h 3355086"/>
                <a:gd name="connsiteX3253" fmla="*/ 949452 w 3359086"/>
                <a:gd name="connsiteY3253" fmla="*/ 3164777 h 3355086"/>
                <a:gd name="connsiteX3254" fmla="*/ 949928 w 3359086"/>
                <a:gd name="connsiteY3254" fmla="*/ 3165253 h 3355086"/>
                <a:gd name="connsiteX3255" fmla="*/ 946928 w 3359086"/>
                <a:gd name="connsiteY3255" fmla="*/ 3168253 h 3355086"/>
                <a:gd name="connsiteX3256" fmla="*/ 947547 w 3359086"/>
                <a:gd name="connsiteY3256" fmla="*/ 3168872 h 3355086"/>
                <a:gd name="connsiteX3257" fmla="*/ 944069 w 3359086"/>
                <a:gd name="connsiteY3257" fmla="*/ 3172349 h 3355086"/>
                <a:gd name="connsiteX3258" fmla="*/ 944879 w 3359086"/>
                <a:gd name="connsiteY3258" fmla="*/ 3173159 h 3355086"/>
                <a:gd name="connsiteX3259" fmla="*/ 938688 w 3359086"/>
                <a:gd name="connsiteY3259" fmla="*/ 3179350 h 3355086"/>
                <a:gd name="connsiteX3260" fmla="*/ 937879 w 3359086"/>
                <a:gd name="connsiteY3260" fmla="*/ 3178541 h 3355086"/>
                <a:gd name="connsiteX3261" fmla="*/ 935641 w 3359086"/>
                <a:gd name="connsiteY3261" fmla="*/ 3180778 h 3355086"/>
                <a:gd name="connsiteX3262" fmla="*/ 933069 w 3359086"/>
                <a:gd name="connsiteY3262" fmla="*/ 3178207 h 3355086"/>
                <a:gd name="connsiteX3263" fmla="*/ 935307 w 3359086"/>
                <a:gd name="connsiteY3263" fmla="*/ 3175969 h 3355086"/>
                <a:gd name="connsiteX3264" fmla="*/ 932497 w 3359086"/>
                <a:gd name="connsiteY3264" fmla="*/ 3173159 h 3355086"/>
                <a:gd name="connsiteX3265" fmla="*/ 935974 w 3359086"/>
                <a:gd name="connsiteY3265" fmla="*/ 3169682 h 3355086"/>
                <a:gd name="connsiteX3266" fmla="*/ 935164 w 3359086"/>
                <a:gd name="connsiteY3266" fmla="*/ 3168872 h 3355086"/>
                <a:gd name="connsiteX3267" fmla="*/ 938164 w 3359086"/>
                <a:gd name="connsiteY3267" fmla="*/ 3165872 h 3355086"/>
                <a:gd name="connsiteX3268" fmla="*/ 937545 w 3359086"/>
                <a:gd name="connsiteY3268" fmla="*/ 3165253 h 3355086"/>
                <a:gd name="connsiteX3269" fmla="*/ 940212 w 3359086"/>
                <a:gd name="connsiteY3269" fmla="*/ 3162586 h 3355086"/>
                <a:gd name="connsiteX3270" fmla="*/ 939736 w 3359086"/>
                <a:gd name="connsiteY3270" fmla="*/ 3162110 h 3355086"/>
                <a:gd name="connsiteX3271" fmla="*/ 942118 w 3359086"/>
                <a:gd name="connsiteY3271" fmla="*/ 3159729 h 3355086"/>
                <a:gd name="connsiteX3272" fmla="*/ 941736 w 3359086"/>
                <a:gd name="connsiteY3272" fmla="*/ 3159347 h 3355086"/>
                <a:gd name="connsiteX3273" fmla="*/ 943879 w 3359086"/>
                <a:gd name="connsiteY3273" fmla="*/ 3157204 h 3355086"/>
                <a:gd name="connsiteX3274" fmla="*/ 943641 w 3359086"/>
                <a:gd name="connsiteY3274" fmla="*/ 3156966 h 3355086"/>
                <a:gd name="connsiteX3275" fmla="*/ 945689 w 3359086"/>
                <a:gd name="connsiteY3275" fmla="*/ 3154918 h 3355086"/>
                <a:gd name="connsiteX3276" fmla="*/ 945546 w 3359086"/>
                <a:gd name="connsiteY3276" fmla="*/ 3154775 h 3355086"/>
                <a:gd name="connsiteX3277" fmla="*/ 947594 w 3359086"/>
                <a:gd name="connsiteY3277" fmla="*/ 3152728 h 3355086"/>
                <a:gd name="connsiteX3278" fmla="*/ 947451 w 3359086"/>
                <a:gd name="connsiteY3278" fmla="*/ 3152585 h 3355086"/>
                <a:gd name="connsiteX3279" fmla="*/ 949595 w 3359086"/>
                <a:gd name="connsiteY3279" fmla="*/ 3150441 h 3355086"/>
                <a:gd name="connsiteX3280" fmla="*/ 949452 w 3359086"/>
                <a:gd name="connsiteY3280" fmla="*/ 3150298 h 3355086"/>
                <a:gd name="connsiteX3281" fmla="*/ 951833 w 3359086"/>
                <a:gd name="connsiteY3281" fmla="*/ 3147918 h 3355086"/>
                <a:gd name="connsiteX3282" fmla="*/ 951642 w 3359086"/>
                <a:gd name="connsiteY3282" fmla="*/ 3147727 h 3355086"/>
                <a:gd name="connsiteX3283" fmla="*/ 954452 w 3359086"/>
                <a:gd name="connsiteY3283" fmla="*/ 3144917 h 3355086"/>
                <a:gd name="connsiteX3284" fmla="*/ 954119 w 3359086"/>
                <a:gd name="connsiteY3284" fmla="*/ 3144584 h 3355086"/>
                <a:gd name="connsiteX3285" fmla="*/ 957453 w 3359086"/>
                <a:gd name="connsiteY3285" fmla="*/ 3141250 h 3355086"/>
                <a:gd name="connsiteX3286" fmla="*/ 957072 w 3359086"/>
                <a:gd name="connsiteY3286" fmla="*/ 3140869 h 3355086"/>
                <a:gd name="connsiteX3287" fmla="*/ 961024 w 3359086"/>
                <a:gd name="connsiteY3287" fmla="*/ 3136917 h 3355086"/>
                <a:gd name="connsiteX3288" fmla="*/ 960405 w 3359086"/>
                <a:gd name="connsiteY3288" fmla="*/ 3136297 h 3355086"/>
                <a:gd name="connsiteX3289" fmla="*/ 965358 w 3359086"/>
                <a:gd name="connsiteY3289" fmla="*/ 3131344 h 3355086"/>
                <a:gd name="connsiteX3290" fmla="*/ 964501 w 3359086"/>
                <a:gd name="connsiteY3290" fmla="*/ 3130487 h 3355086"/>
                <a:gd name="connsiteX3291" fmla="*/ 970407 w 3359086"/>
                <a:gd name="connsiteY3291" fmla="*/ 3124581 h 3355086"/>
                <a:gd name="connsiteX3292" fmla="*/ 969264 w 3359086"/>
                <a:gd name="connsiteY3292" fmla="*/ 3123438 h 3355086"/>
                <a:gd name="connsiteX3293" fmla="*/ 975455 w 3359086"/>
                <a:gd name="connsiteY3293" fmla="*/ 3117247 h 3355086"/>
                <a:gd name="connsiteX3294" fmla="*/ 2167127 w 3359086"/>
                <a:gd name="connsiteY3294" fmla="*/ 3116676 h 3355086"/>
                <a:gd name="connsiteX3295" fmla="*/ 2173319 w 3359086"/>
                <a:gd name="connsiteY3295" fmla="*/ 3122867 h 3355086"/>
                <a:gd name="connsiteX3296" fmla="*/ 2167127 w 3359086"/>
                <a:gd name="connsiteY3296" fmla="*/ 3129058 h 3355086"/>
                <a:gd name="connsiteX3297" fmla="*/ 2160936 w 3359086"/>
                <a:gd name="connsiteY3297" fmla="*/ 3122867 h 3355086"/>
                <a:gd name="connsiteX3298" fmla="*/ 2167127 w 3359086"/>
                <a:gd name="connsiteY3298" fmla="*/ 3116676 h 3355086"/>
                <a:gd name="connsiteX3299" fmla="*/ 1482089 w 3359086"/>
                <a:gd name="connsiteY3299" fmla="*/ 3116390 h 3355086"/>
                <a:gd name="connsiteX3300" fmla="*/ 1488281 w 3359086"/>
                <a:gd name="connsiteY3300" fmla="*/ 3122581 h 3355086"/>
                <a:gd name="connsiteX3301" fmla="*/ 1482089 w 3359086"/>
                <a:gd name="connsiteY3301" fmla="*/ 3128772 h 3355086"/>
                <a:gd name="connsiteX3302" fmla="*/ 1475898 w 3359086"/>
                <a:gd name="connsiteY3302" fmla="*/ 3122581 h 3355086"/>
                <a:gd name="connsiteX3303" fmla="*/ 1482089 w 3359086"/>
                <a:gd name="connsiteY3303" fmla="*/ 3116390 h 3355086"/>
                <a:gd name="connsiteX3304" fmla="*/ 2536888 w 3359086"/>
                <a:gd name="connsiteY3304" fmla="*/ 3115056 h 3355086"/>
                <a:gd name="connsiteX3305" fmla="*/ 2539459 w 3359086"/>
                <a:gd name="connsiteY3305" fmla="*/ 3117628 h 3355086"/>
                <a:gd name="connsiteX3306" fmla="*/ 2536888 w 3359086"/>
                <a:gd name="connsiteY3306" fmla="*/ 3120200 h 3355086"/>
                <a:gd name="connsiteX3307" fmla="*/ 2534316 w 3359086"/>
                <a:gd name="connsiteY3307" fmla="*/ 3117628 h 3355086"/>
                <a:gd name="connsiteX3308" fmla="*/ 2536888 w 3359086"/>
                <a:gd name="connsiteY3308" fmla="*/ 3115056 h 3355086"/>
                <a:gd name="connsiteX3309" fmla="*/ 2247423 w 3359086"/>
                <a:gd name="connsiteY3309" fmla="*/ 3114389 h 3355086"/>
                <a:gd name="connsiteX3310" fmla="*/ 2253615 w 3359086"/>
                <a:gd name="connsiteY3310" fmla="*/ 3120580 h 3355086"/>
                <a:gd name="connsiteX3311" fmla="*/ 2247423 w 3359086"/>
                <a:gd name="connsiteY3311" fmla="*/ 3126772 h 3355086"/>
                <a:gd name="connsiteX3312" fmla="*/ 2241232 w 3359086"/>
                <a:gd name="connsiteY3312" fmla="*/ 3120580 h 3355086"/>
                <a:gd name="connsiteX3313" fmla="*/ 2247423 w 3359086"/>
                <a:gd name="connsiteY3313" fmla="*/ 3114389 h 3355086"/>
                <a:gd name="connsiteX3314" fmla="*/ 2076068 w 3359086"/>
                <a:gd name="connsiteY3314" fmla="*/ 3113342 h 3355086"/>
                <a:gd name="connsiteX3315" fmla="*/ 2082260 w 3359086"/>
                <a:gd name="connsiteY3315" fmla="*/ 3119533 h 3355086"/>
                <a:gd name="connsiteX3316" fmla="*/ 2076068 w 3359086"/>
                <a:gd name="connsiteY3316" fmla="*/ 3125724 h 3355086"/>
                <a:gd name="connsiteX3317" fmla="*/ 2069877 w 3359086"/>
                <a:gd name="connsiteY3317" fmla="*/ 3119533 h 3355086"/>
                <a:gd name="connsiteX3318" fmla="*/ 2076068 w 3359086"/>
                <a:gd name="connsiteY3318" fmla="*/ 3113342 h 3355086"/>
                <a:gd name="connsiteX3319" fmla="*/ 1893665 w 3359086"/>
                <a:gd name="connsiteY3319" fmla="*/ 3112389 h 3355086"/>
                <a:gd name="connsiteX3320" fmla="*/ 1899857 w 3359086"/>
                <a:gd name="connsiteY3320" fmla="*/ 3118580 h 3355086"/>
                <a:gd name="connsiteX3321" fmla="*/ 1893665 w 3359086"/>
                <a:gd name="connsiteY3321" fmla="*/ 3124771 h 3355086"/>
                <a:gd name="connsiteX3322" fmla="*/ 1887474 w 3359086"/>
                <a:gd name="connsiteY3322" fmla="*/ 3118580 h 3355086"/>
                <a:gd name="connsiteX3323" fmla="*/ 1893665 w 3359086"/>
                <a:gd name="connsiteY3323" fmla="*/ 3112389 h 3355086"/>
                <a:gd name="connsiteX3324" fmla="*/ 1133665 w 3359086"/>
                <a:gd name="connsiteY3324" fmla="*/ 3108674 h 3355086"/>
                <a:gd name="connsiteX3325" fmla="*/ 1139856 w 3359086"/>
                <a:gd name="connsiteY3325" fmla="*/ 3114865 h 3355086"/>
                <a:gd name="connsiteX3326" fmla="*/ 1133665 w 3359086"/>
                <a:gd name="connsiteY3326" fmla="*/ 3121057 h 3355086"/>
                <a:gd name="connsiteX3327" fmla="*/ 1127474 w 3359086"/>
                <a:gd name="connsiteY3327" fmla="*/ 3114865 h 3355086"/>
                <a:gd name="connsiteX3328" fmla="*/ 1133665 w 3359086"/>
                <a:gd name="connsiteY3328" fmla="*/ 3108674 h 3355086"/>
                <a:gd name="connsiteX3329" fmla="*/ 981074 w 3359086"/>
                <a:gd name="connsiteY3329" fmla="*/ 3108579 h 3355086"/>
                <a:gd name="connsiteX3330" fmla="*/ 987266 w 3359086"/>
                <a:gd name="connsiteY3330" fmla="*/ 3114770 h 3355086"/>
                <a:gd name="connsiteX3331" fmla="*/ 981074 w 3359086"/>
                <a:gd name="connsiteY3331" fmla="*/ 3120961 h 3355086"/>
                <a:gd name="connsiteX3332" fmla="*/ 974883 w 3359086"/>
                <a:gd name="connsiteY3332" fmla="*/ 3114770 h 3355086"/>
                <a:gd name="connsiteX3333" fmla="*/ 981074 w 3359086"/>
                <a:gd name="connsiteY3333" fmla="*/ 3108579 h 3355086"/>
                <a:gd name="connsiteX3334" fmla="*/ 1401127 w 3359086"/>
                <a:gd name="connsiteY3334" fmla="*/ 3108294 h 3355086"/>
                <a:gd name="connsiteX3335" fmla="*/ 1407319 w 3359086"/>
                <a:gd name="connsiteY3335" fmla="*/ 3114485 h 3355086"/>
                <a:gd name="connsiteX3336" fmla="*/ 1401127 w 3359086"/>
                <a:gd name="connsiteY3336" fmla="*/ 3120676 h 3355086"/>
                <a:gd name="connsiteX3337" fmla="*/ 1394936 w 3359086"/>
                <a:gd name="connsiteY3337" fmla="*/ 3114485 h 3355086"/>
                <a:gd name="connsiteX3338" fmla="*/ 1401127 w 3359086"/>
                <a:gd name="connsiteY3338" fmla="*/ 3108294 h 3355086"/>
                <a:gd name="connsiteX3339" fmla="*/ 2318003 w 3359086"/>
                <a:gd name="connsiteY3339" fmla="*/ 3107531 h 3355086"/>
                <a:gd name="connsiteX3340" fmla="*/ 2324194 w 3359086"/>
                <a:gd name="connsiteY3340" fmla="*/ 3113722 h 3355086"/>
                <a:gd name="connsiteX3341" fmla="*/ 2318003 w 3359086"/>
                <a:gd name="connsiteY3341" fmla="*/ 3119914 h 3355086"/>
                <a:gd name="connsiteX3342" fmla="*/ 2311812 w 3359086"/>
                <a:gd name="connsiteY3342" fmla="*/ 3113722 h 3355086"/>
                <a:gd name="connsiteX3343" fmla="*/ 2318003 w 3359086"/>
                <a:gd name="connsiteY3343" fmla="*/ 3107531 h 3355086"/>
                <a:gd name="connsiteX3344" fmla="*/ 1222057 w 3359086"/>
                <a:gd name="connsiteY3344" fmla="*/ 3106484 h 3355086"/>
                <a:gd name="connsiteX3345" fmla="*/ 1228248 w 3359086"/>
                <a:gd name="connsiteY3345" fmla="*/ 3112675 h 3355086"/>
                <a:gd name="connsiteX3346" fmla="*/ 1222057 w 3359086"/>
                <a:gd name="connsiteY3346" fmla="*/ 3118866 h 3355086"/>
                <a:gd name="connsiteX3347" fmla="*/ 1215866 w 3359086"/>
                <a:gd name="connsiteY3347" fmla="*/ 3112675 h 3355086"/>
                <a:gd name="connsiteX3348" fmla="*/ 1222057 w 3359086"/>
                <a:gd name="connsiteY3348" fmla="*/ 3106484 h 3355086"/>
                <a:gd name="connsiteX3349" fmla="*/ 2384107 w 3359086"/>
                <a:gd name="connsiteY3349" fmla="*/ 3106007 h 3355086"/>
                <a:gd name="connsiteX3350" fmla="*/ 2390299 w 3359086"/>
                <a:gd name="connsiteY3350" fmla="*/ 3112198 h 3355086"/>
                <a:gd name="connsiteX3351" fmla="*/ 2388489 w 3359086"/>
                <a:gd name="connsiteY3351" fmla="*/ 3114009 h 3355086"/>
                <a:gd name="connsiteX3352" fmla="*/ 2393918 w 3359086"/>
                <a:gd name="connsiteY3352" fmla="*/ 3119437 h 3355086"/>
                <a:gd name="connsiteX3353" fmla="*/ 2392441 w 3359086"/>
                <a:gd name="connsiteY3353" fmla="*/ 3120914 h 3355086"/>
                <a:gd name="connsiteX3354" fmla="*/ 2396871 w 3359086"/>
                <a:gd name="connsiteY3354" fmla="*/ 3125343 h 3355086"/>
                <a:gd name="connsiteX3355" fmla="*/ 2395680 w 3359086"/>
                <a:gd name="connsiteY3355" fmla="*/ 3126534 h 3355086"/>
                <a:gd name="connsiteX3356" fmla="*/ 2399347 w 3359086"/>
                <a:gd name="connsiteY3356" fmla="*/ 3130201 h 3355086"/>
                <a:gd name="connsiteX3357" fmla="*/ 2398347 w 3359086"/>
                <a:gd name="connsiteY3357" fmla="*/ 3131201 h 3355086"/>
                <a:gd name="connsiteX3358" fmla="*/ 2401348 w 3359086"/>
                <a:gd name="connsiteY3358" fmla="*/ 3134201 h 3355086"/>
                <a:gd name="connsiteX3359" fmla="*/ 2400585 w 3359086"/>
                <a:gd name="connsiteY3359" fmla="*/ 3134964 h 3355086"/>
                <a:gd name="connsiteX3360" fmla="*/ 2403061 w 3359086"/>
                <a:gd name="connsiteY3360" fmla="*/ 3137440 h 3355086"/>
                <a:gd name="connsiteX3361" fmla="*/ 2402347 w 3359086"/>
                <a:gd name="connsiteY3361" fmla="*/ 3138154 h 3355086"/>
                <a:gd name="connsiteX3362" fmla="*/ 2404491 w 3359086"/>
                <a:gd name="connsiteY3362" fmla="*/ 3140297 h 3355086"/>
                <a:gd name="connsiteX3363" fmla="*/ 2403871 w 3359086"/>
                <a:gd name="connsiteY3363" fmla="*/ 3140917 h 3355086"/>
                <a:gd name="connsiteX3364" fmla="*/ 2405824 w 3359086"/>
                <a:gd name="connsiteY3364" fmla="*/ 3142869 h 3355086"/>
                <a:gd name="connsiteX3365" fmla="*/ 2405205 w 3359086"/>
                <a:gd name="connsiteY3365" fmla="*/ 3143488 h 3355086"/>
                <a:gd name="connsiteX3366" fmla="*/ 2407063 w 3359086"/>
                <a:gd name="connsiteY3366" fmla="*/ 3145345 h 3355086"/>
                <a:gd name="connsiteX3367" fmla="*/ 2406443 w 3359086"/>
                <a:gd name="connsiteY3367" fmla="*/ 3145965 h 3355086"/>
                <a:gd name="connsiteX3368" fmla="*/ 2408396 w 3359086"/>
                <a:gd name="connsiteY3368" fmla="*/ 3147917 h 3355086"/>
                <a:gd name="connsiteX3369" fmla="*/ 2407729 w 3359086"/>
                <a:gd name="connsiteY3369" fmla="*/ 3148584 h 3355086"/>
                <a:gd name="connsiteX3370" fmla="*/ 2409730 w 3359086"/>
                <a:gd name="connsiteY3370" fmla="*/ 3150584 h 3355086"/>
                <a:gd name="connsiteX3371" fmla="*/ 2408967 w 3359086"/>
                <a:gd name="connsiteY3371" fmla="*/ 3151347 h 3355086"/>
                <a:gd name="connsiteX3372" fmla="*/ 2411253 w 3359086"/>
                <a:gd name="connsiteY3372" fmla="*/ 3153632 h 3355086"/>
                <a:gd name="connsiteX3373" fmla="*/ 2410396 w 3359086"/>
                <a:gd name="connsiteY3373" fmla="*/ 3154490 h 3355086"/>
                <a:gd name="connsiteX3374" fmla="*/ 2413063 w 3359086"/>
                <a:gd name="connsiteY3374" fmla="*/ 3157156 h 3355086"/>
                <a:gd name="connsiteX3375" fmla="*/ 2412063 w 3359086"/>
                <a:gd name="connsiteY3375" fmla="*/ 3158156 h 3355086"/>
                <a:gd name="connsiteX3376" fmla="*/ 2415064 w 3359086"/>
                <a:gd name="connsiteY3376" fmla="*/ 3161157 h 3355086"/>
                <a:gd name="connsiteX3377" fmla="*/ 2413873 w 3359086"/>
                <a:gd name="connsiteY3377" fmla="*/ 3162348 h 3355086"/>
                <a:gd name="connsiteX3378" fmla="*/ 2417349 w 3359086"/>
                <a:gd name="connsiteY3378" fmla="*/ 3165824 h 3355086"/>
                <a:gd name="connsiteX3379" fmla="*/ 2416063 w 3359086"/>
                <a:gd name="connsiteY3379" fmla="*/ 3167110 h 3355086"/>
                <a:gd name="connsiteX3380" fmla="*/ 2420112 w 3359086"/>
                <a:gd name="connsiteY3380" fmla="*/ 3171158 h 3355086"/>
                <a:gd name="connsiteX3381" fmla="*/ 2418588 w 3359086"/>
                <a:gd name="connsiteY3381" fmla="*/ 3172683 h 3355086"/>
                <a:gd name="connsiteX3382" fmla="*/ 2423159 w 3359086"/>
                <a:gd name="connsiteY3382" fmla="*/ 3177254 h 3355086"/>
                <a:gd name="connsiteX3383" fmla="*/ 2416968 w 3359086"/>
                <a:gd name="connsiteY3383" fmla="*/ 3183445 h 3355086"/>
                <a:gd name="connsiteX3384" fmla="*/ 2410777 w 3359086"/>
                <a:gd name="connsiteY3384" fmla="*/ 3177254 h 3355086"/>
                <a:gd name="connsiteX3385" fmla="*/ 2412301 w 3359086"/>
                <a:gd name="connsiteY3385" fmla="*/ 3175731 h 3355086"/>
                <a:gd name="connsiteX3386" fmla="*/ 2407729 w 3359086"/>
                <a:gd name="connsiteY3386" fmla="*/ 3171158 h 3355086"/>
                <a:gd name="connsiteX3387" fmla="*/ 2409015 w 3359086"/>
                <a:gd name="connsiteY3387" fmla="*/ 3169873 h 3355086"/>
                <a:gd name="connsiteX3388" fmla="*/ 2404967 w 3359086"/>
                <a:gd name="connsiteY3388" fmla="*/ 3165824 h 3355086"/>
                <a:gd name="connsiteX3389" fmla="*/ 2406158 w 3359086"/>
                <a:gd name="connsiteY3389" fmla="*/ 3164634 h 3355086"/>
                <a:gd name="connsiteX3390" fmla="*/ 2402681 w 3359086"/>
                <a:gd name="connsiteY3390" fmla="*/ 3161157 h 3355086"/>
                <a:gd name="connsiteX3391" fmla="*/ 2403681 w 3359086"/>
                <a:gd name="connsiteY3391" fmla="*/ 3160157 h 3355086"/>
                <a:gd name="connsiteX3392" fmla="*/ 2400680 w 3359086"/>
                <a:gd name="connsiteY3392" fmla="*/ 3157156 h 3355086"/>
                <a:gd name="connsiteX3393" fmla="*/ 2401537 w 3359086"/>
                <a:gd name="connsiteY3393" fmla="*/ 3156299 h 3355086"/>
                <a:gd name="connsiteX3394" fmla="*/ 2398871 w 3359086"/>
                <a:gd name="connsiteY3394" fmla="*/ 3153632 h 3355086"/>
                <a:gd name="connsiteX3395" fmla="*/ 2399633 w 3359086"/>
                <a:gd name="connsiteY3395" fmla="*/ 3152870 h 3355086"/>
                <a:gd name="connsiteX3396" fmla="*/ 2397347 w 3359086"/>
                <a:gd name="connsiteY3396" fmla="*/ 3150584 h 3355086"/>
                <a:gd name="connsiteX3397" fmla="*/ 2398013 w 3359086"/>
                <a:gd name="connsiteY3397" fmla="*/ 3149918 h 3355086"/>
                <a:gd name="connsiteX3398" fmla="*/ 2396013 w 3359086"/>
                <a:gd name="connsiteY3398" fmla="*/ 3147917 h 3355086"/>
                <a:gd name="connsiteX3399" fmla="*/ 2396633 w 3359086"/>
                <a:gd name="connsiteY3399" fmla="*/ 3147298 h 3355086"/>
                <a:gd name="connsiteX3400" fmla="*/ 2394680 w 3359086"/>
                <a:gd name="connsiteY3400" fmla="*/ 3145345 h 3355086"/>
                <a:gd name="connsiteX3401" fmla="*/ 2395298 w 3359086"/>
                <a:gd name="connsiteY3401" fmla="*/ 3144727 h 3355086"/>
                <a:gd name="connsiteX3402" fmla="*/ 2393441 w 3359086"/>
                <a:gd name="connsiteY3402" fmla="*/ 3142869 h 3355086"/>
                <a:gd name="connsiteX3403" fmla="*/ 2394061 w 3359086"/>
                <a:gd name="connsiteY3403" fmla="*/ 3142250 h 3355086"/>
                <a:gd name="connsiteX3404" fmla="*/ 2392108 w 3359086"/>
                <a:gd name="connsiteY3404" fmla="*/ 3140297 h 3355086"/>
                <a:gd name="connsiteX3405" fmla="*/ 2392822 w 3359086"/>
                <a:gd name="connsiteY3405" fmla="*/ 3139583 h 3355086"/>
                <a:gd name="connsiteX3406" fmla="*/ 2390679 w 3359086"/>
                <a:gd name="connsiteY3406" fmla="*/ 3137440 h 3355086"/>
                <a:gd name="connsiteX3407" fmla="*/ 2391441 w 3359086"/>
                <a:gd name="connsiteY3407" fmla="*/ 3136678 h 3355086"/>
                <a:gd name="connsiteX3408" fmla="*/ 2388965 w 3359086"/>
                <a:gd name="connsiteY3408" fmla="*/ 3134201 h 3355086"/>
                <a:gd name="connsiteX3409" fmla="*/ 2389965 w 3359086"/>
                <a:gd name="connsiteY3409" fmla="*/ 3133201 h 3355086"/>
                <a:gd name="connsiteX3410" fmla="*/ 2386965 w 3359086"/>
                <a:gd name="connsiteY3410" fmla="*/ 3130201 h 3355086"/>
                <a:gd name="connsiteX3411" fmla="*/ 2388155 w 3359086"/>
                <a:gd name="connsiteY3411" fmla="*/ 3129011 h 3355086"/>
                <a:gd name="connsiteX3412" fmla="*/ 2384488 w 3359086"/>
                <a:gd name="connsiteY3412" fmla="*/ 3125343 h 3355086"/>
                <a:gd name="connsiteX3413" fmla="*/ 2385964 w 3359086"/>
                <a:gd name="connsiteY3413" fmla="*/ 3123867 h 3355086"/>
                <a:gd name="connsiteX3414" fmla="*/ 2381535 w 3359086"/>
                <a:gd name="connsiteY3414" fmla="*/ 3119437 h 3355086"/>
                <a:gd name="connsiteX3415" fmla="*/ 2383345 w 3359086"/>
                <a:gd name="connsiteY3415" fmla="*/ 3117628 h 3355086"/>
                <a:gd name="connsiteX3416" fmla="*/ 2377916 w 3359086"/>
                <a:gd name="connsiteY3416" fmla="*/ 3112198 h 3355086"/>
                <a:gd name="connsiteX3417" fmla="*/ 2384107 w 3359086"/>
                <a:gd name="connsiteY3417" fmla="*/ 3106007 h 3355086"/>
                <a:gd name="connsiteX3418" fmla="*/ 1055845 w 3359086"/>
                <a:gd name="connsiteY3418" fmla="*/ 3105436 h 3355086"/>
                <a:gd name="connsiteX3419" fmla="*/ 1062037 w 3359086"/>
                <a:gd name="connsiteY3419" fmla="*/ 3111627 h 3355086"/>
                <a:gd name="connsiteX3420" fmla="*/ 1055845 w 3359086"/>
                <a:gd name="connsiteY3420" fmla="*/ 3117819 h 3355086"/>
                <a:gd name="connsiteX3421" fmla="*/ 1049654 w 3359086"/>
                <a:gd name="connsiteY3421" fmla="*/ 3111627 h 3355086"/>
                <a:gd name="connsiteX3422" fmla="*/ 1055845 w 3359086"/>
                <a:gd name="connsiteY3422" fmla="*/ 3105436 h 3355086"/>
                <a:gd name="connsiteX3423" fmla="*/ 2565940 w 3359086"/>
                <a:gd name="connsiteY3423" fmla="*/ 3104198 h 3355086"/>
                <a:gd name="connsiteX3424" fmla="*/ 2566130 w 3359086"/>
                <a:gd name="connsiteY3424" fmla="*/ 3104389 h 3355086"/>
                <a:gd name="connsiteX3425" fmla="*/ 2565940 w 3359086"/>
                <a:gd name="connsiteY3425" fmla="*/ 3104579 h 3355086"/>
                <a:gd name="connsiteX3426" fmla="*/ 2565749 w 3359086"/>
                <a:gd name="connsiteY3426" fmla="*/ 3104389 h 3355086"/>
                <a:gd name="connsiteX3427" fmla="*/ 2565940 w 3359086"/>
                <a:gd name="connsiteY3427" fmla="*/ 3104198 h 3355086"/>
                <a:gd name="connsiteX3428" fmla="*/ 1973770 w 3359086"/>
                <a:gd name="connsiteY3428" fmla="*/ 3102864 h 3355086"/>
                <a:gd name="connsiteX3429" fmla="*/ 1979961 w 3359086"/>
                <a:gd name="connsiteY3429" fmla="*/ 3109055 h 3355086"/>
                <a:gd name="connsiteX3430" fmla="*/ 1973770 w 3359086"/>
                <a:gd name="connsiteY3430" fmla="*/ 3115246 h 3355086"/>
                <a:gd name="connsiteX3431" fmla="*/ 1967579 w 3359086"/>
                <a:gd name="connsiteY3431" fmla="*/ 3109055 h 3355086"/>
                <a:gd name="connsiteX3432" fmla="*/ 1973770 w 3359086"/>
                <a:gd name="connsiteY3432" fmla="*/ 3102864 h 3355086"/>
                <a:gd name="connsiteX3433" fmla="*/ 2234088 w 3359086"/>
                <a:gd name="connsiteY3433" fmla="*/ 3098959 h 3355086"/>
                <a:gd name="connsiteX3434" fmla="*/ 2240280 w 3359086"/>
                <a:gd name="connsiteY3434" fmla="*/ 3105150 h 3355086"/>
                <a:gd name="connsiteX3435" fmla="*/ 2234088 w 3359086"/>
                <a:gd name="connsiteY3435" fmla="*/ 3111342 h 3355086"/>
                <a:gd name="connsiteX3436" fmla="*/ 2227897 w 3359086"/>
                <a:gd name="connsiteY3436" fmla="*/ 3105150 h 3355086"/>
                <a:gd name="connsiteX3437" fmla="*/ 2234088 w 3359086"/>
                <a:gd name="connsiteY3437" fmla="*/ 3098959 h 3355086"/>
                <a:gd name="connsiteX3438" fmla="*/ 2148744 w 3359086"/>
                <a:gd name="connsiteY3438" fmla="*/ 3098006 h 3355086"/>
                <a:gd name="connsiteX3439" fmla="*/ 2154936 w 3359086"/>
                <a:gd name="connsiteY3439" fmla="*/ 3104197 h 3355086"/>
                <a:gd name="connsiteX3440" fmla="*/ 2148744 w 3359086"/>
                <a:gd name="connsiteY3440" fmla="*/ 3110389 h 3355086"/>
                <a:gd name="connsiteX3441" fmla="*/ 2142553 w 3359086"/>
                <a:gd name="connsiteY3441" fmla="*/ 3104197 h 3355086"/>
                <a:gd name="connsiteX3442" fmla="*/ 2148744 w 3359086"/>
                <a:gd name="connsiteY3442" fmla="*/ 3098006 h 3355086"/>
                <a:gd name="connsiteX3443" fmla="*/ 987742 w 3359086"/>
                <a:gd name="connsiteY3443" fmla="*/ 3097911 h 3355086"/>
                <a:gd name="connsiteX3444" fmla="*/ 993933 w 3359086"/>
                <a:gd name="connsiteY3444" fmla="*/ 3104102 h 3355086"/>
                <a:gd name="connsiteX3445" fmla="*/ 987742 w 3359086"/>
                <a:gd name="connsiteY3445" fmla="*/ 3110293 h 3355086"/>
                <a:gd name="connsiteX3446" fmla="*/ 981551 w 3359086"/>
                <a:gd name="connsiteY3446" fmla="*/ 3104102 h 3355086"/>
                <a:gd name="connsiteX3447" fmla="*/ 987742 w 3359086"/>
                <a:gd name="connsiteY3447" fmla="*/ 3097911 h 3355086"/>
                <a:gd name="connsiteX3448" fmla="*/ 1321688 w 3359086"/>
                <a:gd name="connsiteY3448" fmla="*/ 3097530 h 3355086"/>
                <a:gd name="connsiteX3449" fmla="*/ 1327880 w 3359086"/>
                <a:gd name="connsiteY3449" fmla="*/ 3103721 h 3355086"/>
                <a:gd name="connsiteX3450" fmla="*/ 1321688 w 3359086"/>
                <a:gd name="connsiteY3450" fmla="*/ 3109912 h 3355086"/>
                <a:gd name="connsiteX3451" fmla="*/ 1315497 w 3359086"/>
                <a:gd name="connsiteY3451" fmla="*/ 3103721 h 3355086"/>
                <a:gd name="connsiteX3452" fmla="*/ 1321688 w 3359086"/>
                <a:gd name="connsiteY3452" fmla="*/ 3097530 h 3355086"/>
                <a:gd name="connsiteX3453" fmla="*/ 2379630 w 3359086"/>
                <a:gd name="connsiteY3453" fmla="*/ 3097245 h 3355086"/>
                <a:gd name="connsiteX3454" fmla="*/ 2385822 w 3359086"/>
                <a:gd name="connsiteY3454" fmla="*/ 3103436 h 3355086"/>
                <a:gd name="connsiteX3455" fmla="*/ 2379630 w 3359086"/>
                <a:gd name="connsiteY3455" fmla="*/ 3109627 h 3355086"/>
                <a:gd name="connsiteX3456" fmla="*/ 2373439 w 3359086"/>
                <a:gd name="connsiteY3456" fmla="*/ 3103436 h 3355086"/>
                <a:gd name="connsiteX3457" fmla="*/ 2379630 w 3359086"/>
                <a:gd name="connsiteY3457" fmla="*/ 3097245 h 3355086"/>
                <a:gd name="connsiteX3458" fmla="*/ 924877 w 3359086"/>
                <a:gd name="connsiteY3458" fmla="*/ 3096102 h 3355086"/>
                <a:gd name="connsiteX3459" fmla="*/ 931069 w 3359086"/>
                <a:gd name="connsiteY3459" fmla="*/ 3102293 h 3355086"/>
                <a:gd name="connsiteX3460" fmla="*/ 926068 w 3359086"/>
                <a:gd name="connsiteY3460" fmla="*/ 3107294 h 3355086"/>
                <a:gd name="connsiteX3461" fmla="*/ 928402 w 3359086"/>
                <a:gd name="connsiteY3461" fmla="*/ 3109627 h 3355086"/>
                <a:gd name="connsiteX3462" fmla="*/ 924306 w 3359086"/>
                <a:gd name="connsiteY3462" fmla="*/ 3113723 h 3355086"/>
                <a:gd name="connsiteX3463" fmla="*/ 926306 w 3359086"/>
                <a:gd name="connsiteY3463" fmla="*/ 3115723 h 3355086"/>
                <a:gd name="connsiteX3464" fmla="*/ 922972 w 3359086"/>
                <a:gd name="connsiteY3464" fmla="*/ 3119057 h 3355086"/>
                <a:gd name="connsiteX3465" fmla="*/ 924591 w 3359086"/>
                <a:gd name="connsiteY3465" fmla="*/ 3120676 h 3355086"/>
                <a:gd name="connsiteX3466" fmla="*/ 921829 w 3359086"/>
                <a:gd name="connsiteY3466" fmla="*/ 3123438 h 3355086"/>
                <a:gd name="connsiteX3467" fmla="*/ 923353 w 3359086"/>
                <a:gd name="connsiteY3467" fmla="*/ 3124962 h 3355086"/>
                <a:gd name="connsiteX3468" fmla="*/ 921114 w 3359086"/>
                <a:gd name="connsiteY3468" fmla="*/ 3127201 h 3355086"/>
                <a:gd name="connsiteX3469" fmla="*/ 922400 w 3359086"/>
                <a:gd name="connsiteY3469" fmla="*/ 3128486 h 3355086"/>
                <a:gd name="connsiteX3470" fmla="*/ 920448 w 3359086"/>
                <a:gd name="connsiteY3470" fmla="*/ 3130438 h 3355086"/>
                <a:gd name="connsiteX3471" fmla="*/ 921544 w 3359086"/>
                <a:gd name="connsiteY3471" fmla="*/ 3131534 h 3355086"/>
                <a:gd name="connsiteX3472" fmla="*/ 919734 w 3359086"/>
                <a:gd name="connsiteY3472" fmla="*/ 3133345 h 3355086"/>
                <a:gd name="connsiteX3473" fmla="*/ 920781 w 3359086"/>
                <a:gd name="connsiteY3473" fmla="*/ 3134392 h 3355086"/>
                <a:gd name="connsiteX3474" fmla="*/ 919019 w 3359086"/>
                <a:gd name="connsiteY3474" fmla="*/ 3136154 h 3355086"/>
                <a:gd name="connsiteX3475" fmla="*/ 920019 w 3359086"/>
                <a:gd name="connsiteY3475" fmla="*/ 3137154 h 3355086"/>
                <a:gd name="connsiteX3476" fmla="*/ 918257 w 3359086"/>
                <a:gd name="connsiteY3476" fmla="*/ 3138916 h 3355086"/>
                <a:gd name="connsiteX3477" fmla="*/ 919258 w 3359086"/>
                <a:gd name="connsiteY3477" fmla="*/ 3139916 h 3355086"/>
                <a:gd name="connsiteX3478" fmla="*/ 917257 w 3359086"/>
                <a:gd name="connsiteY3478" fmla="*/ 3141917 h 3355086"/>
                <a:gd name="connsiteX3479" fmla="*/ 918305 w 3359086"/>
                <a:gd name="connsiteY3479" fmla="*/ 3142964 h 3355086"/>
                <a:gd name="connsiteX3480" fmla="*/ 916066 w 3359086"/>
                <a:gd name="connsiteY3480" fmla="*/ 3145203 h 3355086"/>
                <a:gd name="connsiteX3481" fmla="*/ 917162 w 3359086"/>
                <a:gd name="connsiteY3481" fmla="*/ 3146298 h 3355086"/>
                <a:gd name="connsiteX3482" fmla="*/ 914638 w 3359086"/>
                <a:gd name="connsiteY3482" fmla="*/ 3148822 h 3355086"/>
                <a:gd name="connsiteX3483" fmla="*/ 915829 w 3359086"/>
                <a:gd name="connsiteY3483" fmla="*/ 3150013 h 3355086"/>
                <a:gd name="connsiteX3484" fmla="*/ 912781 w 3359086"/>
                <a:gd name="connsiteY3484" fmla="*/ 3153061 h 3355086"/>
                <a:gd name="connsiteX3485" fmla="*/ 914114 w 3359086"/>
                <a:gd name="connsiteY3485" fmla="*/ 3154394 h 3355086"/>
                <a:gd name="connsiteX3486" fmla="*/ 910589 w 3359086"/>
                <a:gd name="connsiteY3486" fmla="*/ 3157918 h 3355086"/>
                <a:gd name="connsiteX3487" fmla="*/ 911923 w 3359086"/>
                <a:gd name="connsiteY3487" fmla="*/ 3159252 h 3355086"/>
                <a:gd name="connsiteX3488" fmla="*/ 905827 w 3359086"/>
                <a:gd name="connsiteY3488" fmla="*/ 3165348 h 3355086"/>
                <a:gd name="connsiteX3489" fmla="*/ 899731 w 3359086"/>
                <a:gd name="connsiteY3489" fmla="*/ 3159252 h 3355086"/>
                <a:gd name="connsiteX3490" fmla="*/ 903160 w 3359086"/>
                <a:gd name="connsiteY3490" fmla="*/ 3155823 h 3355086"/>
                <a:gd name="connsiteX3491" fmla="*/ 901731 w 3359086"/>
                <a:gd name="connsiteY3491" fmla="*/ 3154394 h 3355086"/>
                <a:gd name="connsiteX3492" fmla="*/ 904779 w 3359086"/>
                <a:gd name="connsiteY3492" fmla="*/ 3151346 h 3355086"/>
                <a:gd name="connsiteX3493" fmla="*/ 903446 w 3359086"/>
                <a:gd name="connsiteY3493" fmla="*/ 3150013 h 3355086"/>
                <a:gd name="connsiteX3494" fmla="*/ 905970 w 3359086"/>
                <a:gd name="connsiteY3494" fmla="*/ 3147489 h 3355086"/>
                <a:gd name="connsiteX3495" fmla="*/ 904779 w 3359086"/>
                <a:gd name="connsiteY3495" fmla="*/ 3146298 h 3355086"/>
                <a:gd name="connsiteX3496" fmla="*/ 907018 w 3359086"/>
                <a:gd name="connsiteY3496" fmla="*/ 3144060 h 3355086"/>
                <a:gd name="connsiteX3497" fmla="*/ 905922 w 3359086"/>
                <a:gd name="connsiteY3497" fmla="*/ 3142964 h 3355086"/>
                <a:gd name="connsiteX3498" fmla="*/ 907922 w 3359086"/>
                <a:gd name="connsiteY3498" fmla="*/ 3140964 h 3355086"/>
                <a:gd name="connsiteX3499" fmla="*/ 906875 w 3359086"/>
                <a:gd name="connsiteY3499" fmla="*/ 3139916 h 3355086"/>
                <a:gd name="connsiteX3500" fmla="*/ 908637 w 3359086"/>
                <a:gd name="connsiteY3500" fmla="*/ 3138154 h 3355086"/>
                <a:gd name="connsiteX3501" fmla="*/ 907637 w 3359086"/>
                <a:gd name="connsiteY3501" fmla="*/ 3137154 h 3355086"/>
                <a:gd name="connsiteX3502" fmla="*/ 909399 w 3359086"/>
                <a:gd name="connsiteY3502" fmla="*/ 3135392 h 3355086"/>
                <a:gd name="connsiteX3503" fmla="*/ 908399 w 3359086"/>
                <a:gd name="connsiteY3503" fmla="*/ 3134392 h 3355086"/>
                <a:gd name="connsiteX3504" fmla="*/ 910209 w 3359086"/>
                <a:gd name="connsiteY3504" fmla="*/ 3132582 h 3355086"/>
                <a:gd name="connsiteX3505" fmla="*/ 909161 w 3359086"/>
                <a:gd name="connsiteY3505" fmla="*/ 3131534 h 3355086"/>
                <a:gd name="connsiteX3506" fmla="*/ 911114 w 3359086"/>
                <a:gd name="connsiteY3506" fmla="*/ 3129582 h 3355086"/>
                <a:gd name="connsiteX3507" fmla="*/ 910018 w 3359086"/>
                <a:gd name="connsiteY3507" fmla="*/ 3128486 h 3355086"/>
                <a:gd name="connsiteX3508" fmla="*/ 912256 w 3359086"/>
                <a:gd name="connsiteY3508" fmla="*/ 3126248 h 3355086"/>
                <a:gd name="connsiteX3509" fmla="*/ 910970 w 3359086"/>
                <a:gd name="connsiteY3509" fmla="*/ 3124962 h 3355086"/>
                <a:gd name="connsiteX3510" fmla="*/ 913733 w 3359086"/>
                <a:gd name="connsiteY3510" fmla="*/ 3122200 h 3355086"/>
                <a:gd name="connsiteX3511" fmla="*/ 912209 w 3359086"/>
                <a:gd name="connsiteY3511" fmla="*/ 3120676 h 3355086"/>
                <a:gd name="connsiteX3512" fmla="*/ 915543 w 3359086"/>
                <a:gd name="connsiteY3512" fmla="*/ 3117343 h 3355086"/>
                <a:gd name="connsiteX3513" fmla="*/ 913923 w 3359086"/>
                <a:gd name="connsiteY3513" fmla="*/ 3115723 h 3355086"/>
                <a:gd name="connsiteX3514" fmla="*/ 918019 w 3359086"/>
                <a:gd name="connsiteY3514" fmla="*/ 3111627 h 3355086"/>
                <a:gd name="connsiteX3515" fmla="*/ 916019 w 3359086"/>
                <a:gd name="connsiteY3515" fmla="*/ 3109627 h 3355086"/>
                <a:gd name="connsiteX3516" fmla="*/ 921020 w 3359086"/>
                <a:gd name="connsiteY3516" fmla="*/ 3104627 h 3355086"/>
                <a:gd name="connsiteX3517" fmla="*/ 918686 w 3359086"/>
                <a:gd name="connsiteY3517" fmla="*/ 3102293 h 3355086"/>
                <a:gd name="connsiteX3518" fmla="*/ 924877 w 3359086"/>
                <a:gd name="connsiteY3518" fmla="*/ 3096102 h 3355086"/>
                <a:gd name="connsiteX3519" fmla="*/ 2308954 w 3359086"/>
                <a:gd name="connsiteY3519" fmla="*/ 3094768 h 3355086"/>
                <a:gd name="connsiteX3520" fmla="*/ 2315146 w 3359086"/>
                <a:gd name="connsiteY3520" fmla="*/ 3100959 h 3355086"/>
                <a:gd name="connsiteX3521" fmla="*/ 2308954 w 3359086"/>
                <a:gd name="connsiteY3521" fmla="*/ 3107151 h 3355086"/>
                <a:gd name="connsiteX3522" fmla="*/ 2302763 w 3359086"/>
                <a:gd name="connsiteY3522" fmla="*/ 3100959 h 3355086"/>
                <a:gd name="connsiteX3523" fmla="*/ 2308954 w 3359086"/>
                <a:gd name="connsiteY3523" fmla="*/ 3094768 h 3355086"/>
                <a:gd name="connsiteX3524" fmla="*/ 782860 w 3359086"/>
                <a:gd name="connsiteY3524" fmla="*/ 3094768 h 3355086"/>
                <a:gd name="connsiteX3525" fmla="*/ 783145 w 3359086"/>
                <a:gd name="connsiteY3525" fmla="*/ 3095054 h 3355086"/>
                <a:gd name="connsiteX3526" fmla="*/ 782860 w 3359086"/>
                <a:gd name="connsiteY3526" fmla="*/ 3095339 h 3355086"/>
                <a:gd name="connsiteX3527" fmla="*/ 782574 w 3359086"/>
                <a:gd name="connsiteY3527" fmla="*/ 3095054 h 3355086"/>
                <a:gd name="connsiteX3528" fmla="*/ 782860 w 3359086"/>
                <a:gd name="connsiteY3528" fmla="*/ 3094768 h 3355086"/>
                <a:gd name="connsiteX3529" fmla="*/ 1689068 w 3359086"/>
                <a:gd name="connsiteY3529" fmla="*/ 3091815 h 3355086"/>
                <a:gd name="connsiteX3530" fmla="*/ 1695259 w 3359086"/>
                <a:gd name="connsiteY3530" fmla="*/ 3098006 h 3355086"/>
                <a:gd name="connsiteX3531" fmla="*/ 1689068 w 3359086"/>
                <a:gd name="connsiteY3531" fmla="*/ 3104197 h 3355086"/>
                <a:gd name="connsiteX3532" fmla="*/ 1682877 w 3359086"/>
                <a:gd name="connsiteY3532" fmla="*/ 3098006 h 3355086"/>
                <a:gd name="connsiteX3533" fmla="*/ 1689068 w 3359086"/>
                <a:gd name="connsiteY3533" fmla="*/ 3091815 h 3355086"/>
                <a:gd name="connsiteX3534" fmla="*/ 1603152 w 3359086"/>
                <a:gd name="connsiteY3534" fmla="*/ 3091148 h 3355086"/>
                <a:gd name="connsiteX3535" fmla="*/ 1609344 w 3359086"/>
                <a:gd name="connsiteY3535" fmla="*/ 3097339 h 3355086"/>
                <a:gd name="connsiteX3536" fmla="*/ 1603152 w 3359086"/>
                <a:gd name="connsiteY3536" fmla="*/ 3103531 h 3355086"/>
                <a:gd name="connsiteX3537" fmla="*/ 1596961 w 3359086"/>
                <a:gd name="connsiteY3537" fmla="*/ 3097339 h 3355086"/>
                <a:gd name="connsiteX3538" fmla="*/ 1603152 w 3359086"/>
                <a:gd name="connsiteY3538" fmla="*/ 3091148 h 3355086"/>
                <a:gd name="connsiteX3539" fmla="*/ 2052161 w 3359086"/>
                <a:gd name="connsiteY3539" fmla="*/ 3090672 h 3355086"/>
                <a:gd name="connsiteX3540" fmla="*/ 2058353 w 3359086"/>
                <a:gd name="connsiteY3540" fmla="*/ 3096863 h 3355086"/>
                <a:gd name="connsiteX3541" fmla="*/ 2052161 w 3359086"/>
                <a:gd name="connsiteY3541" fmla="*/ 3103054 h 3355086"/>
                <a:gd name="connsiteX3542" fmla="*/ 2045970 w 3359086"/>
                <a:gd name="connsiteY3542" fmla="*/ 3096863 h 3355086"/>
                <a:gd name="connsiteX3543" fmla="*/ 2052161 w 3359086"/>
                <a:gd name="connsiteY3543" fmla="*/ 3090672 h 3355086"/>
                <a:gd name="connsiteX3544" fmla="*/ 1150429 w 3359086"/>
                <a:gd name="connsiteY3544" fmla="*/ 3090196 h 3355086"/>
                <a:gd name="connsiteX3545" fmla="*/ 1156621 w 3359086"/>
                <a:gd name="connsiteY3545" fmla="*/ 3096387 h 3355086"/>
                <a:gd name="connsiteX3546" fmla="*/ 1150429 w 3359086"/>
                <a:gd name="connsiteY3546" fmla="*/ 3102578 h 3355086"/>
                <a:gd name="connsiteX3547" fmla="*/ 1144238 w 3359086"/>
                <a:gd name="connsiteY3547" fmla="*/ 3096387 h 3355086"/>
                <a:gd name="connsiteX3548" fmla="*/ 1150429 w 3359086"/>
                <a:gd name="connsiteY3548" fmla="*/ 3090196 h 3355086"/>
                <a:gd name="connsiteX3549" fmla="*/ 1067847 w 3359086"/>
                <a:gd name="connsiteY3549" fmla="*/ 3090101 h 3355086"/>
                <a:gd name="connsiteX3550" fmla="*/ 1074039 w 3359086"/>
                <a:gd name="connsiteY3550" fmla="*/ 3096292 h 3355086"/>
                <a:gd name="connsiteX3551" fmla="*/ 1067847 w 3359086"/>
                <a:gd name="connsiteY3551" fmla="*/ 3102483 h 3355086"/>
                <a:gd name="connsiteX3552" fmla="*/ 1061656 w 3359086"/>
                <a:gd name="connsiteY3552" fmla="*/ 3096292 h 3355086"/>
                <a:gd name="connsiteX3553" fmla="*/ 1067847 w 3359086"/>
                <a:gd name="connsiteY3553" fmla="*/ 3090101 h 3355086"/>
                <a:gd name="connsiteX3554" fmla="*/ 1774888 w 3359086"/>
                <a:gd name="connsiteY3554" fmla="*/ 3089434 h 3355086"/>
                <a:gd name="connsiteX3555" fmla="*/ 1781080 w 3359086"/>
                <a:gd name="connsiteY3555" fmla="*/ 3095625 h 3355086"/>
                <a:gd name="connsiteX3556" fmla="*/ 1774888 w 3359086"/>
                <a:gd name="connsiteY3556" fmla="*/ 3101817 h 3355086"/>
                <a:gd name="connsiteX3557" fmla="*/ 1768697 w 3359086"/>
                <a:gd name="connsiteY3557" fmla="*/ 3095625 h 3355086"/>
                <a:gd name="connsiteX3558" fmla="*/ 1774888 w 3359086"/>
                <a:gd name="connsiteY3558" fmla="*/ 3089434 h 3355086"/>
                <a:gd name="connsiteX3559" fmla="*/ 1517713 w 3359086"/>
                <a:gd name="connsiteY3559" fmla="*/ 3087243 h 3355086"/>
                <a:gd name="connsiteX3560" fmla="*/ 1523905 w 3359086"/>
                <a:gd name="connsiteY3560" fmla="*/ 3093434 h 3355086"/>
                <a:gd name="connsiteX3561" fmla="*/ 1517713 w 3359086"/>
                <a:gd name="connsiteY3561" fmla="*/ 3099626 h 3355086"/>
                <a:gd name="connsiteX3562" fmla="*/ 1511522 w 3359086"/>
                <a:gd name="connsiteY3562" fmla="*/ 3093434 h 3355086"/>
                <a:gd name="connsiteX3563" fmla="*/ 1517713 w 3359086"/>
                <a:gd name="connsiteY3563" fmla="*/ 3087243 h 3355086"/>
                <a:gd name="connsiteX3564" fmla="*/ 928306 w 3359086"/>
                <a:gd name="connsiteY3564" fmla="*/ 3087148 h 3355086"/>
                <a:gd name="connsiteX3565" fmla="*/ 934498 w 3359086"/>
                <a:gd name="connsiteY3565" fmla="*/ 3093339 h 3355086"/>
                <a:gd name="connsiteX3566" fmla="*/ 928306 w 3359086"/>
                <a:gd name="connsiteY3566" fmla="*/ 3099530 h 3355086"/>
                <a:gd name="connsiteX3567" fmla="*/ 922115 w 3359086"/>
                <a:gd name="connsiteY3567" fmla="*/ 3093339 h 3355086"/>
                <a:gd name="connsiteX3568" fmla="*/ 928306 w 3359086"/>
                <a:gd name="connsiteY3568" fmla="*/ 3087148 h 3355086"/>
                <a:gd name="connsiteX3569" fmla="*/ 2374296 w 3359086"/>
                <a:gd name="connsiteY3569" fmla="*/ 3086577 h 3355086"/>
                <a:gd name="connsiteX3570" fmla="*/ 2380488 w 3359086"/>
                <a:gd name="connsiteY3570" fmla="*/ 3092768 h 3355086"/>
                <a:gd name="connsiteX3571" fmla="*/ 2374296 w 3359086"/>
                <a:gd name="connsiteY3571" fmla="*/ 3098959 h 3355086"/>
                <a:gd name="connsiteX3572" fmla="*/ 2368105 w 3359086"/>
                <a:gd name="connsiteY3572" fmla="*/ 3092768 h 3355086"/>
                <a:gd name="connsiteX3573" fmla="*/ 2374296 w 3359086"/>
                <a:gd name="connsiteY3573" fmla="*/ 3086577 h 3355086"/>
                <a:gd name="connsiteX3574" fmla="*/ 995552 w 3359086"/>
                <a:gd name="connsiteY3574" fmla="*/ 3085148 h 3355086"/>
                <a:gd name="connsiteX3575" fmla="*/ 1001743 w 3359086"/>
                <a:gd name="connsiteY3575" fmla="*/ 3091339 h 3355086"/>
                <a:gd name="connsiteX3576" fmla="*/ 995552 w 3359086"/>
                <a:gd name="connsiteY3576" fmla="*/ 3097530 h 3355086"/>
                <a:gd name="connsiteX3577" fmla="*/ 989361 w 3359086"/>
                <a:gd name="connsiteY3577" fmla="*/ 3091339 h 3355086"/>
                <a:gd name="connsiteX3578" fmla="*/ 995552 w 3359086"/>
                <a:gd name="connsiteY3578" fmla="*/ 3085148 h 3355086"/>
                <a:gd name="connsiteX3579" fmla="*/ 1244345 w 3359086"/>
                <a:gd name="connsiteY3579" fmla="*/ 3084100 h 3355086"/>
                <a:gd name="connsiteX3580" fmla="*/ 1250536 w 3359086"/>
                <a:gd name="connsiteY3580" fmla="*/ 3090291 h 3355086"/>
                <a:gd name="connsiteX3581" fmla="*/ 1244345 w 3359086"/>
                <a:gd name="connsiteY3581" fmla="*/ 3096482 h 3355086"/>
                <a:gd name="connsiteX3582" fmla="*/ 1238154 w 3359086"/>
                <a:gd name="connsiteY3582" fmla="*/ 3090291 h 3355086"/>
                <a:gd name="connsiteX3583" fmla="*/ 1244345 w 3359086"/>
                <a:gd name="connsiteY3583" fmla="*/ 3084100 h 3355086"/>
                <a:gd name="connsiteX3584" fmla="*/ 1859851 w 3359086"/>
                <a:gd name="connsiteY3584" fmla="*/ 3083910 h 3355086"/>
                <a:gd name="connsiteX3585" fmla="*/ 1866043 w 3359086"/>
                <a:gd name="connsiteY3585" fmla="*/ 3090101 h 3355086"/>
                <a:gd name="connsiteX3586" fmla="*/ 1859851 w 3359086"/>
                <a:gd name="connsiteY3586" fmla="*/ 3096292 h 3355086"/>
                <a:gd name="connsiteX3587" fmla="*/ 1853660 w 3359086"/>
                <a:gd name="connsiteY3587" fmla="*/ 3090101 h 3355086"/>
                <a:gd name="connsiteX3588" fmla="*/ 1859851 w 3359086"/>
                <a:gd name="connsiteY3588" fmla="*/ 3083910 h 3355086"/>
                <a:gd name="connsiteX3589" fmla="*/ 2218943 w 3359086"/>
                <a:gd name="connsiteY3589" fmla="*/ 3080671 h 3355086"/>
                <a:gd name="connsiteX3590" fmla="*/ 2225135 w 3359086"/>
                <a:gd name="connsiteY3590" fmla="*/ 3086862 h 3355086"/>
                <a:gd name="connsiteX3591" fmla="*/ 2218943 w 3359086"/>
                <a:gd name="connsiteY3591" fmla="*/ 3093053 h 3355086"/>
                <a:gd name="connsiteX3592" fmla="*/ 2212752 w 3359086"/>
                <a:gd name="connsiteY3592" fmla="*/ 3086862 h 3355086"/>
                <a:gd name="connsiteX3593" fmla="*/ 2218943 w 3359086"/>
                <a:gd name="connsiteY3593" fmla="*/ 3080671 h 3355086"/>
                <a:gd name="connsiteX3594" fmla="*/ 1433131 w 3359086"/>
                <a:gd name="connsiteY3594" fmla="*/ 3080385 h 3355086"/>
                <a:gd name="connsiteX3595" fmla="*/ 1439323 w 3359086"/>
                <a:gd name="connsiteY3595" fmla="*/ 3086576 h 3355086"/>
                <a:gd name="connsiteX3596" fmla="*/ 1433131 w 3359086"/>
                <a:gd name="connsiteY3596" fmla="*/ 3092767 h 3355086"/>
                <a:gd name="connsiteX3597" fmla="*/ 1426940 w 3359086"/>
                <a:gd name="connsiteY3597" fmla="*/ 3086576 h 3355086"/>
                <a:gd name="connsiteX3598" fmla="*/ 1433131 w 3359086"/>
                <a:gd name="connsiteY3598" fmla="*/ 3080385 h 3355086"/>
                <a:gd name="connsiteX3599" fmla="*/ 2298477 w 3359086"/>
                <a:gd name="connsiteY3599" fmla="*/ 3079528 h 3355086"/>
                <a:gd name="connsiteX3600" fmla="*/ 2304669 w 3359086"/>
                <a:gd name="connsiteY3600" fmla="*/ 3085719 h 3355086"/>
                <a:gd name="connsiteX3601" fmla="*/ 2298477 w 3359086"/>
                <a:gd name="connsiteY3601" fmla="*/ 3091911 h 3355086"/>
                <a:gd name="connsiteX3602" fmla="*/ 2292286 w 3359086"/>
                <a:gd name="connsiteY3602" fmla="*/ 3085719 h 3355086"/>
                <a:gd name="connsiteX3603" fmla="*/ 2298477 w 3359086"/>
                <a:gd name="connsiteY3603" fmla="*/ 3079528 h 3355086"/>
                <a:gd name="connsiteX3604" fmla="*/ 932687 w 3359086"/>
                <a:gd name="connsiteY3604" fmla="*/ 3076385 h 3355086"/>
                <a:gd name="connsiteX3605" fmla="*/ 938878 w 3359086"/>
                <a:gd name="connsiteY3605" fmla="*/ 3082576 h 3355086"/>
                <a:gd name="connsiteX3606" fmla="*/ 932687 w 3359086"/>
                <a:gd name="connsiteY3606" fmla="*/ 3088767 h 3355086"/>
                <a:gd name="connsiteX3607" fmla="*/ 926496 w 3359086"/>
                <a:gd name="connsiteY3607" fmla="*/ 3082576 h 3355086"/>
                <a:gd name="connsiteX3608" fmla="*/ 932687 w 3359086"/>
                <a:gd name="connsiteY3608" fmla="*/ 3076385 h 3355086"/>
                <a:gd name="connsiteX3609" fmla="*/ 2128265 w 3359086"/>
                <a:gd name="connsiteY3609" fmla="*/ 3075909 h 3355086"/>
                <a:gd name="connsiteX3610" fmla="*/ 2134457 w 3359086"/>
                <a:gd name="connsiteY3610" fmla="*/ 3082100 h 3355086"/>
                <a:gd name="connsiteX3611" fmla="*/ 2128265 w 3359086"/>
                <a:gd name="connsiteY3611" fmla="*/ 3088291 h 3355086"/>
                <a:gd name="connsiteX3612" fmla="*/ 2122074 w 3359086"/>
                <a:gd name="connsiteY3612" fmla="*/ 3082100 h 3355086"/>
                <a:gd name="connsiteX3613" fmla="*/ 2128265 w 3359086"/>
                <a:gd name="connsiteY3613" fmla="*/ 3075909 h 3355086"/>
                <a:gd name="connsiteX3614" fmla="*/ 1943671 w 3359086"/>
                <a:gd name="connsiteY3614" fmla="*/ 3075432 h 3355086"/>
                <a:gd name="connsiteX3615" fmla="*/ 1949863 w 3359086"/>
                <a:gd name="connsiteY3615" fmla="*/ 3081623 h 3355086"/>
                <a:gd name="connsiteX3616" fmla="*/ 1943671 w 3359086"/>
                <a:gd name="connsiteY3616" fmla="*/ 3087815 h 3355086"/>
                <a:gd name="connsiteX3617" fmla="*/ 1937480 w 3359086"/>
                <a:gd name="connsiteY3617" fmla="*/ 3081623 h 3355086"/>
                <a:gd name="connsiteX3618" fmla="*/ 1943671 w 3359086"/>
                <a:gd name="connsiteY3618" fmla="*/ 3075432 h 3355086"/>
                <a:gd name="connsiteX3619" fmla="*/ 2431065 w 3359086"/>
                <a:gd name="connsiteY3619" fmla="*/ 3075337 h 3355086"/>
                <a:gd name="connsiteX3620" fmla="*/ 2437257 w 3359086"/>
                <a:gd name="connsiteY3620" fmla="*/ 3081528 h 3355086"/>
                <a:gd name="connsiteX3621" fmla="*/ 2433875 w 3359086"/>
                <a:gd name="connsiteY3621" fmla="*/ 3084910 h 3355086"/>
                <a:gd name="connsiteX3622" fmla="*/ 2439542 w 3359086"/>
                <a:gd name="connsiteY3622" fmla="*/ 3090577 h 3355086"/>
                <a:gd name="connsiteX3623" fmla="*/ 2436590 w 3359086"/>
                <a:gd name="connsiteY3623" fmla="*/ 3093530 h 3355086"/>
                <a:gd name="connsiteX3624" fmla="*/ 2441257 w 3359086"/>
                <a:gd name="connsiteY3624" fmla="*/ 3098197 h 3355086"/>
                <a:gd name="connsiteX3625" fmla="*/ 2438685 w 3359086"/>
                <a:gd name="connsiteY3625" fmla="*/ 3100769 h 3355086"/>
                <a:gd name="connsiteX3626" fmla="*/ 2442400 w 3359086"/>
                <a:gd name="connsiteY3626" fmla="*/ 3104483 h 3355086"/>
                <a:gd name="connsiteX3627" fmla="*/ 2440161 w 3359086"/>
                <a:gd name="connsiteY3627" fmla="*/ 3106722 h 3355086"/>
                <a:gd name="connsiteX3628" fmla="*/ 2443162 w 3359086"/>
                <a:gd name="connsiteY3628" fmla="*/ 3109722 h 3355086"/>
                <a:gd name="connsiteX3629" fmla="*/ 2441162 w 3359086"/>
                <a:gd name="connsiteY3629" fmla="*/ 3111722 h 3355086"/>
                <a:gd name="connsiteX3630" fmla="*/ 2443544 w 3359086"/>
                <a:gd name="connsiteY3630" fmla="*/ 3114104 h 3355086"/>
                <a:gd name="connsiteX3631" fmla="*/ 2441782 w 3359086"/>
                <a:gd name="connsiteY3631" fmla="*/ 3115866 h 3355086"/>
                <a:gd name="connsiteX3632" fmla="*/ 2443829 w 3359086"/>
                <a:gd name="connsiteY3632" fmla="*/ 3117913 h 3355086"/>
                <a:gd name="connsiteX3633" fmla="*/ 2442161 w 3359086"/>
                <a:gd name="connsiteY3633" fmla="*/ 3119581 h 3355086"/>
                <a:gd name="connsiteX3634" fmla="*/ 2443923 w 3359086"/>
                <a:gd name="connsiteY3634" fmla="*/ 3121343 h 3355086"/>
                <a:gd name="connsiteX3635" fmla="*/ 2442400 w 3359086"/>
                <a:gd name="connsiteY3635" fmla="*/ 3122866 h 3355086"/>
                <a:gd name="connsiteX3636" fmla="*/ 2444020 w 3359086"/>
                <a:gd name="connsiteY3636" fmla="*/ 3124486 h 3355086"/>
                <a:gd name="connsiteX3637" fmla="*/ 2442591 w 3359086"/>
                <a:gd name="connsiteY3637" fmla="*/ 3125916 h 3355086"/>
                <a:gd name="connsiteX3638" fmla="*/ 2444209 w 3359086"/>
                <a:gd name="connsiteY3638" fmla="*/ 3127534 h 3355086"/>
                <a:gd name="connsiteX3639" fmla="*/ 2442781 w 3359086"/>
                <a:gd name="connsiteY3639" fmla="*/ 3128962 h 3355086"/>
                <a:gd name="connsiteX3640" fmla="*/ 2444496 w 3359086"/>
                <a:gd name="connsiteY3640" fmla="*/ 3130677 h 3355086"/>
                <a:gd name="connsiteX3641" fmla="*/ 2443067 w 3359086"/>
                <a:gd name="connsiteY3641" fmla="*/ 3132106 h 3355086"/>
                <a:gd name="connsiteX3642" fmla="*/ 2444972 w 3359086"/>
                <a:gd name="connsiteY3642" fmla="*/ 3134011 h 3355086"/>
                <a:gd name="connsiteX3643" fmla="*/ 2443448 w 3359086"/>
                <a:gd name="connsiteY3643" fmla="*/ 3135535 h 3355086"/>
                <a:gd name="connsiteX3644" fmla="*/ 2445639 w 3359086"/>
                <a:gd name="connsiteY3644" fmla="*/ 3137726 h 3355086"/>
                <a:gd name="connsiteX3645" fmla="*/ 2444115 w 3359086"/>
                <a:gd name="connsiteY3645" fmla="*/ 3139250 h 3355086"/>
                <a:gd name="connsiteX3646" fmla="*/ 2446686 w 3359086"/>
                <a:gd name="connsiteY3646" fmla="*/ 3141821 h 3355086"/>
                <a:gd name="connsiteX3647" fmla="*/ 2445019 w 3359086"/>
                <a:gd name="connsiteY3647" fmla="*/ 3143488 h 3355086"/>
                <a:gd name="connsiteX3648" fmla="*/ 2448020 w 3359086"/>
                <a:gd name="connsiteY3648" fmla="*/ 3146488 h 3355086"/>
                <a:gd name="connsiteX3649" fmla="*/ 2446210 w 3359086"/>
                <a:gd name="connsiteY3649" fmla="*/ 3148298 h 3355086"/>
                <a:gd name="connsiteX3650" fmla="*/ 2449735 w 3359086"/>
                <a:gd name="connsiteY3650" fmla="*/ 3151822 h 3355086"/>
                <a:gd name="connsiteX3651" fmla="*/ 2447781 w 3359086"/>
                <a:gd name="connsiteY3651" fmla="*/ 3153776 h 3355086"/>
                <a:gd name="connsiteX3652" fmla="*/ 2451925 w 3359086"/>
                <a:gd name="connsiteY3652" fmla="*/ 3157919 h 3355086"/>
                <a:gd name="connsiteX3653" fmla="*/ 2448925 w 3359086"/>
                <a:gd name="connsiteY3653" fmla="*/ 3160919 h 3355086"/>
                <a:gd name="connsiteX3654" fmla="*/ 2452687 w 3359086"/>
                <a:gd name="connsiteY3654" fmla="*/ 3164681 h 3355086"/>
                <a:gd name="connsiteX3655" fmla="*/ 2448401 w 3359086"/>
                <a:gd name="connsiteY3655" fmla="*/ 3168967 h 3355086"/>
                <a:gd name="connsiteX3656" fmla="*/ 2444115 w 3359086"/>
                <a:gd name="connsiteY3656" fmla="*/ 3164681 h 3355086"/>
                <a:gd name="connsiteX3657" fmla="*/ 2445209 w 3359086"/>
                <a:gd name="connsiteY3657" fmla="*/ 3163587 h 3355086"/>
                <a:gd name="connsiteX3658" fmla="*/ 2439542 w 3359086"/>
                <a:gd name="connsiteY3658" fmla="*/ 3157919 h 3355086"/>
                <a:gd name="connsiteX3659" fmla="*/ 2441495 w 3359086"/>
                <a:gd name="connsiteY3659" fmla="*/ 3155966 h 3355086"/>
                <a:gd name="connsiteX3660" fmla="*/ 2437352 w 3359086"/>
                <a:gd name="connsiteY3660" fmla="*/ 3151822 h 3355086"/>
                <a:gd name="connsiteX3661" fmla="*/ 2439161 w 3359086"/>
                <a:gd name="connsiteY3661" fmla="*/ 3150013 h 3355086"/>
                <a:gd name="connsiteX3662" fmla="*/ 2435637 w 3359086"/>
                <a:gd name="connsiteY3662" fmla="*/ 3146488 h 3355086"/>
                <a:gd name="connsiteX3663" fmla="*/ 2437304 w 3359086"/>
                <a:gd name="connsiteY3663" fmla="*/ 3144821 h 3355086"/>
                <a:gd name="connsiteX3664" fmla="*/ 2434304 w 3359086"/>
                <a:gd name="connsiteY3664" fmla="*/ 3141821 h 3355086"/>
                <a:gd name="connsiteX3665" fmla="*/ 2435827 w 3359086"/>
                <a:gd name="connsiteY3665" fmla="*/ 3140298 h 3355086"/>
                <a:gd name="connsiteX3666" fmla="*/ 2433256 w 3359086"/>
                <a:gd name="connsiteY3666" fmla="*/ 3137726 h 3355086"/>
                <a:gd name="connsiteX3667" fmla="*/ 2434780 w 3359086"/>
                <a:gd name="connsiteY3667" fmla="*/ 3136202 h 3355086"/>
                <a:gd name="connsiteX3668" fmla="*/ 2432589 w 3359086"/>
                <a:gd name="connsiteY3668" fmla="*/ 3134011 h 3355086"/>
                <a:gd name="connsiteX3669" fmla="*/ 2434018 w 3359086"/>
                <a:gd name="connsiteY3669" fmla="*/ 3132582 h 3355086"/>
                <a:gd name="connsiteX3670" fmla="*/ 2432113 w 3359086"/>
                <a:gd name="connsiteY3670" fmla="*/ 3130677 h 3355086"/>
                <a:gd name="connsiteX3671" fmla="*/ 2433542 w 3359086"/>
                <a:gd name="connsiteY3671" fmla="*/ 3129249 h 3355086"/>
                <a:gd name="connsiteX3672" fmla="*/ 2431827 w 3359086"/>
                <a:gd name="connsiteY3672" fmla="*/ 3127534 h 3355086"/>
                <a:gd name="connsiteX3673" fmla="*/ 2433256 w 3359086"/>
                <a:gd name="connsiteY3673" fmla="*/ 3126105 h 3355086"/>
                <a:gd name="connsiteX3674" fmla="*/ 2431637 w 3359086"/>
                <a:gd name="connsiteY3674" fmla="*/ 3124486 h 3355086"/>
                <a:gd name="connsiteX3675" fmla="*/ 2433161 w 3359086"/>
                <a:gd name="connsiteY3675" fmla="*/ 3122963 h 3355086"/>
                <a:gd name="connsiteX3676" fmla="*/ 2431541 w 3359086"/>
                <a:gd name="connsiteY3676" fmla="*/ 3121343 h 3355086"/>
                <a:gd name="connsiteX3677" fmla="*/ 2433208 w 3359086"/>
                <a:gd name="connsiteY3677" fmla="*/ 3119676 h 3355086"/>
                <a:gd name="connsiteX3678" fmla="*/ 2431446 w 3359086"/>
                <a:gd name="connsiteY3678" fmla="*/ 3117913 h 3355086"/>
                <a:gd name="connsiteX3679" fmla="*/ 2433208 w 3359086"/>
                <a:gd name="connsiteY3679" fmla="*/ 3116151 h 3355086"/>
                <a:gd name="connsiteX3680" fmla="*/ 2431161 w 3359086"/>
                <a:gd name="connsiteY3680" fmla="*/ 3114104 h 3355086"/>
                <a:gd name="connsiteX3681" fmla="*/ 2433161 w 3359086"/>
                <a:gd name="connsiteY3681" fmla="*/ 3112104 h 3355086"/>
                <a:gd name="connsiteX3682" fmla="*/ 2430779 w 3359086"/>
                <a:gd name="connsiteY3682" fmla="*/ 3109722 h 3355086"/>
                <a:gd name="connsiteX3683" fmla="*/ 2433017 w 3359086"/>
                <a:gd name="connsiteY3683" fmla="*/ 3107484 h 3355086"/>
                <a:gd name="connsiteX3684" fmla="*/ 2430017 w 3359086"/>
                <a:gd name="connsiteY3684" fmla="*/ 3104483 h 3355086"/>
                <a:gd name="connsiteX3685" fmla="*/ 2432589 w 3359086"/>
                <a:gd name="connsiteY3685" fmla="*/ 3101912 h 3355086"/>
                <a:gd name="connsiteX3686" fmla="*/ 2428875 w 3359086"/>
                <a:gd name="connsiteY3686" fmla="*/ 3098197 h 3355086"/>
                <a:gd name="connsiteX3687" fmla="*/ 2431828 w 3359086"/>
                <a:gd name="connsiteY3687" fmla="*/ 3095245 h 3355086"/>
                <a:gd name="connsiteX3688" fmla="*/ 2427160 w 3359086"/>
                <a:gd name="connsiteY3688" fmla="*/ 3090577 h 3355086"/>
                <a:gd name="connsiteX3689" fmla="*/ 2430541 w 3359086"/>
                <a:gd name="connsiteY3689" fmla="*/ 3087196 h 3355086"/>
                <a:gd name="connsiteX3690" fmla="*/ 2424874 w 3359086"/>
                <a:gd name="connsiteY3690" fmla="*/ 3081528 h 3355086"/>
                <a:gd name="connsiteX3691" fmla="*/ 2431065 w 3359086"/>
                <a:gd name="connsiteY3691" fmla="*/ 3075337 h 3355086"/>
                <a:gd name="connsiteX3692" fmla="*/ 2367819 w 3359086"/>
                <a:gd name="connsiteY3692" fmla="*/ 3073718 h 3355086"/>
                <a:gd name="connsiteX3693" fmla="*/ 2374011 w 3359086"/>
                <a:gd name="connsiteY3693" fmla="*/ 3079909 h 3355086"/>
                <a:gd name="connsiteX3694" fmla="*/ 2367819 w 3359086"/>
                <a:gd name="connsiteY3694" fmla="*/ 3086100 h 3355086"/>
                <a:gd name="connsiteX3695" fmla="*/ 2361628 w 3359086"/>
                <a:gd name="connsiteY3695" fmla="*/ 3079909 h 3355086"/>
                <a:gd name="connsiteX3696" fmla="*/ 2367819 w 3359086"/>
                <a:gd name="connsiteY3696" fmla="*/ 3073718 h 3355086"/>
                <a:gd name="connsiteX3697" fmla="*/ 1081468 w 3359086"/>
                <a:gd name="connsiteY3697" fmla="*/ 3071908 h 3355086"/>
                <a:gd name="connsiteX3698" fmla="*/ 1087660 w 3359086"/>
                <a:gd name="connsiteY3698" fmla="*/ 3078099 h 3355086"/>
                <a:gd name="connsiteX3699" fmla="*/ 1081468 w 3359086"/>
                <a:gd name="connsiteY3699" fmla="*/ 3084290 h 3355086"/>
                <a:gd name="connsiteX3700" fmla="*/ 1075277 w 3359086"/>
                <a:gd name="connsiteY3700" fmla="*/ 3078099 h 3355086"/>
                <a:gd name="connsiteX3701" fmla="*/ 1081468 w 3359086"/>
                <a:gd name="connsiteY3701" fmla="*/ 3071908 h 3355086"/>
                <a:gd name="connsiteX3702" fmla="*/ 1350168 w 3359086"/>
                <a:gd name="connsiteY3702" fmla="*/ 3070479 h 3355086"/>
                <a:gd name="connsiteX3703" fmla="*/ 1356359 w 3359086"/>
                <a:gd name="connsiteY3703" fmla="*/ 3076670 h 3355086"/>
                <a:gd name="connsiteX3704" fmla="*/ 1350168 w 3359086"/>
                <a:gd name="connsiteY3704" fmla="*/ 3082861 h 3355086"/>
                <a:gd name="connsiteX3705" fmla="*/ 1343977 w 3359086"/>
                <a:gd name="connsiteY3705" fmla="*/ 3076670 h 3355086"/>
                <a:gd name="connsiteX3706" fmla="*/ 1350168 w 3359086"/>
                <a:gd name="connsiteY3706" fmla="*/ 3070479 h 3355086"/>
                <a:gd name="connsiteX3707" fmla="*/ 1004696 w 3359086"/>
                <a:gd name="connsiteY3707" fmla="*/ 3069908 h 3355086"/>
                <a:gd name="connsiteX3708" fmla="*/ 1010887 w 3359086"/>
                <a:gd name="connsiteY3708" fmla="*/ 3076099 h 3355086"/>
                <a:gd name="connsiteX3709" fmla="*/ 1004696 w 3359086"/>
                <a:gd name="connsiteY3709" fmla="*/ 3082290 h 3355086"/>
                <a:gd name="connsiteX3710" fmla="*/ 998505 w 3359086"/>
                <a:gd name="connsiteY3710" fmla="*/ 3076099 h 3355086"/>
                <a:gd name="connsiteX3711" fmla="*/ 1004696 w 3359086"/>
                <a:gd name="connsiteY3711" fmla="*/ 3069908 h 3355086"/>
                <a:gd name="connsiteX3712" fmla="*/ 1169288 w 3359086"/>
                <a:gd name="connsiteY3712" fmla="*/ 3068384 h 3355086"/>
                <a:gd name="connsiteX3713" fmla="*/ 1175480 w 3359086"/>
                <a:gd name="connsiteY3713" fmla="*/ 3074575 h 3355086"/>
                <a:gd name="connsiteX3714" fmla="*/ 1169288 w 3359086"/>
                <a:gd name="connsiteY3714" fmla="*/ 3080766 h 3355086"/>
                <a:gd name="connsiteX3715" fmla="*/ 1163097 w 3359086"/>
                <a:gd name="connsiteY3715" fmla="*/ 3074575 h 3355086"/>
                <a:gd name="connsiteX3716" fmla="*/ 1169288 w 3359086"/>
                <a:gd name="connsiteY3716" fmla="*/ 3068384 h 3355086"/>
                <a:gd name="connsiteX3717" fmla="*/ 2621756 w 3359086"/>
                <a:gd name="connsiteY3717" fmla="*/ 3067241 h 3355086"/>
                <a:gd name="connsiteX3718" fmla="*/ 2622041 w 3359086"/>
                <a:gd name="connsiteY3718" fmla="*/ 3067527 h 3355086"/>
                <a:gd name="connsiteX3719" fmla="*/ 2621756 w 3359086"/>
                <a:gd name="connsiteY3719" fmla="*/ 3067812 h 3355086"/>
                <a:gd name="connsiteX3720" fmla="*/ 2621470 w 3359086"/>
                <a:gd name="connsiteY3720" fmla="*/ 3067527 h 3355086"/>
                <a:gd name="connsiteX3721" fmla="*/ 2621756 w 3359086"/>
                <a:gd name="connsiteY3721" fmla="*/ 3067241 h 3355086"/>
                <a:gd name="connsiteX3722" fmla="*/ 878109 w 3359086"/>
                <a:gd name="connsiteY3722" fmla="*/ 3064764 h 3355086"/>
                <a:gd name="connsiteX3723" fmla="*/ 884300 w 3359086"/>
                <a:gd name="connsiteY3723" fmla="*/ 3070955 h 3355086"/>
                <a:gd name="connsiteX3724" fmla="*/ 878966 w 3359086"/>
                <a:gd name="connsiteY3724" fmla="*/ 3076290 h 3355086"/>
                <a:gd name="connsiteX3725" fmla="*/ 882872 w 3359086"/>
                <a:gd name="connsiteY3725" fmla="*/ 3080195 h 3355086"/>
                <a:gd name="connsiteX3726" fmla="*/ 878585 w 3359086"/>
                <a:gd name="connsiteY3726" fmla="*/ 3084481 h 3355086"/>
                <a:gd name="connsiteX3727" fmla="*/ 882110 w 3359086"/>
                <a:gd name="connsiteY3727" fmla="*/ 3088005 h 3355086"/>
                <a:gd name="connsiteX3728" fmla="*/ 878681 w 3359086"/>
                <a:gd name="connsiteY3728" fmla="*/ 3091434 h 3355086"/>
                <a:gd name="connsiteX3729" fmla="*/ 881729 w 3359086"/>
                <a:gd name="connsiteY3729" fmla="*/ 3094482 h 3355086"/>
                <a:gd name="connsiteX3730" fmla="*/ 879014 w 3359086"/>
                <a:gd name="connsiteY3730" fmla="*/ 3097197 h 3355086"/>
                <a:gd name="connsiteX3731" fmla="*/ 881729 w 3359086"/>
                <a:gd name="connsiteY3731" fmla="*/ 3099911 h 3355086"/>
                <a:gd name="connsiteX3732" fmla="*/ 879490 w 3359086"/>
                <a:gd name="connsiteY3732" fmla="*/ 3102150 h 3355086"/>
                <a:gd name="connsiteX3733" fmla="*/ 881919 w 3359086"/>
                <a:gd name="connsiteY3733" fmla="*/ 3104578 h 3355086"/>
                <a:gd name="connsiteX3734" fmla="*/ 880109 w 3359086"/>
                <a:gd name="connsiteY3734" fmla="*/ 3106388 h 3355086"/>
                <a:gd name="connsiteX3735" fmla="*/ 882396 w 3359086"/>
                <a:gd name="connsiteY3735" fmla="*/ 3108674 h 3355086"/>
                <a:gd name="connsiteX3736" fmla="*/ 880729 w 3359086"/>
                <a:gd name="connsiteY3736" fmla="*/ 3110341 h 3355086"/>
                <a:gd name="connsiteX3737" fmla="*/ 882777 w 3359086"/>
                <a:gd name="connsiteY3737" fmla="*/ 3112389 h 3355086"/>
                <a:gd name="connsiteX3738" fmla="*/ 881300 w 3359086"/>
                <a:gd name="connsiteY3738" fmla="*/ 3113866 h 3355086"/>
                <a:gd name="connsiteX3739" fmla="*/ 883253 w 3359086"/>
                <a:gd name="connsiteY3739" fmla="*/ 3115818 h 3355086"/>
                <a:gd name="connsiteX3740" fmla="*/ 881729 w 3359086"/>
                <a:gd name="connsiteY3740" fmla="*/ 3117342 h 3355086"/>
                <a:gd name="connsiteX3741" fmla="*/ 883539 w 3359086"/>
                <a:gd name="connsiteY3741" fmla="*/ 3119152 h 3355086"/>
                <a:gd name="connsiteX3742" fmla="*/ 881919 w 3359086"/>
                <a:gd name="connsiteY3742" fmla="*/ 3120772 h 3355086"/>
                <a:gd name="connsiteX3743" fmla="*/ 883729 w 3359086"/>
                <a:gd name="connsiteY3743" fmla="*/ 3122581 h 3355086"/>
                <a:gd name="connsiteX3744" fmla="*/ 881872 w 3359086"/>
                <a:gd name="connsiteY3744" fmla="*/ 3124439 h 3355086"/>
                <a:gd name="connsiteX3745" fmla="*/ 883633 w 3359086"/>
                <a:gd name="connsiteY3745" fmla="*/ 3126200 h 3355086"/>
                <a:gd name="connsiteX3746" fmla="*/ 881490 w 3359086"/>
                <a:gd name="connsiteY3746" fmla="*/ 3128343 h 3355086"/>
                <a:gd name="connsiteX3747" fmla="*/ 883348 w 3359086"/>
                <a:gd name="connsiteY3747" fmla="*/ 3130201 h 3355086"/>
                <a:gd name="connsiteX3748" fmla="*/ 880729 w 3359086"/>
                <a:gd name="connsiteY3748" fmla="*/ 3132820 h 3355086"/>
                <a:gd name="connsiteX3749" fmla="*/ 882587 w 3359086"/>
                <a:gd name="connsiteY3749" fmla="*/ 3134678 h 3355086"/>
                <a:gd name="connsiteX3750" fmla="*/ 879587 w 3359086"/>
                <a:gd name="connsiteY3750" fmla="*/ 3137678 h 3355086"/>
                <a:gd name="connsiteX3751" fmla="*/ 881539 w 3359086"/>
                <a:gd name="connsiteY3751" fmla="*/ 3139630 h 3355086"/>
                <a:gd name="connsiteX3752" fmla="*/ 876537 w 3359086"/>
                <a:gd name="connsiteY3752" fmla="*/ 3144632 h 3355086"/>
                <a:gd name="connsiteX3753" fmla="*/ 877156 w 3359086"/>
                <a:gd name="connsiteY3753" fmla="*/ 3145251 h 3355086"/>
                <a:gd name="connsiteX3754" fmla="*/ 873823 w 3359086"/>
                <a:gd name="connsiteY3754" fmla="*/ 3148584 h 3355086"/>
                <a:gd name="connsiteX3755" fmla="*/ 870489 w 3359086"/>
                <a:gd name="connsiteY3755" fmla="*/ 3145251 h 3355086"/>
                <a:gd name="connsiteX3756" fmla="*/ 872633 w 3359086"/>
                <a:gd name="connsiteY3756" fmla="*/ 3143108 h 3355086"/>
                <a:gd name="connsiteX3757" fmla="*/ 869156 w 3359086"/>
                <a:gd name="connsiteY3757" fmla="*/ 3139630 h 3355086"/>
                <a:gd name="connsiteX3758" fmla="*/ 872156 w 3359086"/>
                <a:gd name="connsiteY3758" fmla="*/ 3136630 h 3355086"/>
                <a:gd name="connsiteX3759" fmla="*/ 870204 w 3359086"/>
                <a:gd name="connsiteY3759" fmla="*/ 3134678 h 3355086"/>
                <a:gd name="connsiteX3760" fmla="*/ 872824 w 3359086"/>
                <a:gd name="connsiteY3760" fmla="*/ 3132059 h 3355086"/>
                <a:gd name="connsiteX3761" fmla="*/ 870966 w 3359086"/>
                <a:gd name="connsiteY3761" fmla="*/ 3130201 h 3355086"/>
                <a:gd name="connsiteX3762" fmla="*/ 873109 w 3359086"/>
                <a:gd name="connsiteY3762" fmla="*/ 3128058 h 3355086"/>
                <a:gd name="connsiteX3763" fmla="*/ 871251 w 3359086"/>
                <a:gd name="connsiteY3763" fmla="*/ 3126200 h 3355086"/>
                <a:gd name="connsiteX3764" fmla="*/ 873109 w 3359086"/>
                <a:gd name="connsiteY3764" fmla="*/ 3124343 h 3355086"/>
                <a:gd name="connsiteX3765" fmla="*/ 871347 w 3359086"/>
                <a:gd name="connsiteY3765" fmla="*/ 3122581 h 3355086"/>
                <a:gd name="connsiteX3766" fmla="*/ 872966 w 3359086"/>
                <a:gd name="connsiteY3766" fmla="*/ 3120962 h 3355086"/>
                <a:gd name="connsiteX3767" fmla="*/ 871156 w 3359086"/>
                <a:gd name="connsiteY3767" fmla="*/ 3119152 h 3355086"/>
                <a:gd name="connsiteX3768" fmla="*/ 872680 w 3359086"/>
                <a:gd name="connsiteY3768" fmla="*/ 3117628 h 3355086"/>
                <a:gd name="connsiteX3769" fmla="*/ 870870 w 3359086"/>
                <a:gd name="connsiteY3769" fmla="*/ 3115818 h 3355086"/>
                <a:gd name="connsiteX3770" fmla="*/ 872347 w 3359086"/>
                <a:gd name="connsiteY3770" fmla="*/ 3114342 h 3355086"/>
                <a:gd name="connsiteX3771" fmla="*/ 870394 w 3359086"/>
                <a:gd name="connsiteY3771" fmla="*/ 3112389 h 3355086"/>
                <a:gd name="connsiteX3772" fmla="*/ 872061 w 3359086"/>
                <a:gd name="connsiteY3772" fmla="*/ 3110722 h 3355086"/>
                <a:gd name="connsiteX3773" fmla="*/ 870013 w 3359086"/>
                <a:gd name="connsiteY3773" fmla="*/ 3108674 h 3355086"/>
                <a:gd name="connsiteX3774" fmla="*/ 871823 w 3359086"/>
                <a:gd name="connsiteY3774" fmla="*/ 3106864 h 3355086"/>
                <a:gd name="connsiteX3775" fmla="*/ 869537 w 3359086"/>
                <a:gd name="connsiteY3775" fmla="*/ 3104578 h 3355086"/>
                <a:gd name="connsiteX3776" fmla="*/ 871775 w 3359086"/>
                <a:gd name="connsiteY3776" fmla="*/ 3102340 h 3355086"/>
                <a:gd name="connsiteX3777" fmla="*/ 869346 w 3359086"/>
                <a:gd name="connsiteY3777" fmla="*/ 3099911 h 3355086"/>
                <a:gd name="connsiteX3778" fmla="*/ 872061 w 3359086"/>
                <a:gd name="connsiteY3778" fmla="*/ 3097197 h 3355086"/>
                <a:gd name="connsiteX3779" fmla="*/ 869346 w 3359086"/>
                <a:gd name="connsiteY3779" fmla="*/ 3094482 h 3355086"/>
                <a:gd name="connsiteX3780" fmla="*/ 872775 w 3359086"/>
                <a:gd name="connsiteY3780" fmla="*/ 3091053 h 3355086"/>
                <a:gd name="connsiteX3781" fmla="*/ 869727 w 3359086"/>
                <a:gd name="connsiteY3781" fmla="*/ 3088005 h 3355086"/>
                <a:gd name="connsiteX3782" fmla="*/ 874013 w 3359086"/>
                <a:gd name="connsiteY3782" fmla="*/ 3083719 h 3355086"/>
                <a:gd name="connsiteX3783" fmla="*/ 870489 w 3359086"/>
                <a:gd name="connsiteY3783" fmla="*/ 3080195 h 3355086"/>
                <a:gd name="connsiteX3784" fmla="*/ 875824 w 3359086"/>
                <a:gd name="connsiteY3784" fmla="*/ 3074861 h 3355086"/>
                <a:gd name="connsiteX3785" fmla="*/ 871918 w 3359086"/>
                <a:gd name="connsiteY3785" fmla="*/ 3070955 h 3355086"/>
                <a:gd name="connsiteX3786" fmla="*/ 878109 w 3359086"/>
                <a:gd name="connsiteY3786" fmla="*/ 3064764 h 3355086"/>
                <a:gd name="connsiteX3787" fmla="*/ 2427922 w 3359086"/>
                <a:gd name="connsiteY3787" fmla="*/ 3064383 h 3355086"/>
                <a:gd name="connsiteX3788" fmla="*/ 2434114 w 3359086"/>
                <a:gd name="connsiteY3788" fmla="*/ 3070574 h 3355086"/>
                <a:gd name="connsiteX3789" fmla="*/ 2427922 w 3359086"/>
                <a:gd name="connsiteY3789" fmla="*/ 3076766 h 3355086"/>
                <a:gd name="connsiteX3790" fmla="*/ 2421731 w 3359086"/>
                <a:gd name="connsiteY3790" fmla="*/ 3070574 h 3355086"/>
                <a:gd name="connsiteX3791" fmla="*/ 2427922 w 3359086"/>
                <a:gd name="connsiteY3791" fmla="*/ 3064383 h 3355086"/>
                <a:gd name="connsiteX3792" fmla="*/ 2025681 w 3359086"/>
                <a:gd name="connsiteY3792" fmla="*/ 3064097 h 3355086"/>
                <a:gd name="connsiteX3793" fmla="*/ 2031873 w 3359086"/>
                <a:gd name="connsiteY3793" fmla="*/ 3070288 h 3355086"/>
                <a:gd name="connsiteX3794" fmla="*/ 2025681 w 3359086"/>
                <a:gd name="connsiteY3794" fmla="*/ 3076480 h 3355086"/>
                <a:gd name="connsiteX3795" fmla="*/ 2019490 w 3359086"/>
                <a:gd name="connsiteY3795" fmla="*/ 3070288 h 3355086"/>
                <a:gd name="connsiteX3796" fmla="*/ 2025681 w 3359086"/>
                <a:gd name="connsiteY3796" fmla="*/ 3064097 h 3355086"/>
                <a:gd name="connsiteX3797" fmla="*/ 937926 w 3359086"/>
                <a:gd name="connsiteY3797" fmla="*/ 3063526 h 3355086"/>
                <a:gd name="connsiteX3798" fmla="*/ 944118 w 3359086"/>
                <a:gd name="connsiteY3798" fmla="*/ 3069717 h 3355086"/>
                <a:gd name="connsiteX3799" fmla="*/ 937926 w 3359086"/>
                <a:gd name="connsiteY3799" fmla="*/ 3075909 h 3355086"/>
                <a:gd name="connsiteX3800" fmla="*/ 931735 w 3359086"/>
                <a:gd name="connsiteY3800" fmla="*/ 3069717 h 3355086"/>
                <a:gd name="connsiteX3801" fmla="*/ 937926 w 3359086"/>
                <a:gd name="connsiteY3801" fmla="*/ 3063526 h 3355086"/>
                <a:gd name="connsiteX3802" fmla="*/ 2286475 w 3359086"/>
                <a:gd name="connsiteY3802" fmla="*/ 3061335 h 3355086"/>
                <a:gd name="connsiteX3803" fmla="*/ 2292667 w 3359086"/>
                <a:gd name="connsiteY3803" fmla="*/ 3067526 h 3355086"/>
                <a:gd name="connsiteX3804" fmla="*/ 2286475 w 3359086"/>
                <a:gd name="connsiteY3804" fmla="*/ 3073717 h 3355086"/>
                <a:gd name="connsiteX3805" fmla="*/ 2280284 w 3359086"/>
                <a:gd name="connsiteY3805" fmla="*/ 3067526 h 3355086"/>
                <a:gd name="connsiteX3806" fmla="*/ 2286475 w 3359086"/>
                <a:gd name="connsiteY3806" fmla="*/ 3061335 h 3355086"/>
                <a:gd name="connsiteX3807" fmla="*/ 2201894 w 3359086"/>
                <a:gd name="connsiteY3807" fmla="*/ 3058954 h 3355086"/>
                <a:gd name="connsiteX3808" fmla="*/ 2208086 w 3359086"/>
                <a:gd name="connsiteY3808" fmla="*/ 3065145 h 3355086"/>
                <a:gd name="connsiteX3809" fmla="*/ 2201894 w 3359086"/>
                <a:gd name="connsiteY3809" fmla="*/ 3071336 h 3355086"/>
                <a:gd name="connsiteX3810" fmla="*/ 2195703 w 3359086"/>
                <a:gd name="connsiteY3810" fmla="*/ 3065145 h 3355086"/>
                <a:gd name="connsiteX3811" fmla="*/ 2201894 w 3359086"/>
                <a:gd name="connsiteY3811" fmla="*/ 3058954 h 3355086"/>
                <a:gd name="connsiteX3812" fmla="*/ 2360104 w 3359086"/>
                <a:gd name="connsiteY3812" fmla="*/ 3058478 h 3355086"/>
                <a:gd name="connsiteX3813" fmla="*/ 2366295 w 3359086"/>
                <a:gd name="connsiteY3813" fmla="*/ 3064669 h 3355086"/>
                <a:gd name="connsiteX3814" fmla="*/ 2360104 w 3359086"/>
                <a:gd name="connsiteY3814" fmla="*/ 3070861 h 3355086"/>
                <a:gd name="connsiteX3815" fmla="*/ 2353913 w 3359086"/>
                <a:gd name="connsiteY3815" fmla="*/ 3064669 h 3355086"/>
                <a:gd name="connsiteX3816" fmla="*/ 2360104 w 3359086"/>
                <a:gd name="connsiteY3816" fmla="*/ 3058478 h 3355086"/>
                <a:gd name="connsiteX3817" fmla="*/ 1269110 w 3359086"/>
                <a:gd name="connsiteY3817" fmla="*/ 3057906 h 3355086"/>
                <a:gd name="connsiteX3818" fmla="*/ 1275302 w 3359086"/>
                <a:gd name="connsiteY3818" fmla="*/ 3064097 h 3355086"/>
                <a:gd name="connsiteX3819" fmla="*/ 1269110 w 3359086"/>
                <a:gd name="connsiteY3819" fmla="*/ 3070288 h 3355086"/>
                <a:gd name="connsiteX3820" fmla="*/ 1262919 w 3359086"/>
                <a:gd name="connsiteY3820" fmla="*/ 3064097 h 3355086"/>
                <a:gd name="connsiteX3821" fmla="*/ 1269110 w 3359086"/>
                <a:gd name="connsiteY3821" fmla="*/ 3057906 h 3355086"/>
                <a:gd name="connsiteX3822" fmla="*/ 724186 w 3359086"/>
                <a:gd name="connsiteY3822" fmla="*/ 3056573 h 3355086"/>
                <a:gd name="connsiteX3823" fmla="*/ 724376 w 3359086"/>
                <a:gd name="connsiteY3823" fmla="*/ 3056764 h 3355086"/>
                <a:gd name="connsiteX3824" fmla="*/ 724186 w 3359086"/>
                <a:gd name="connsiteY3824" fmla="*/ 3056954 h 3355086"/>
                <a:gd name="connsiteX3825" fmla="*/ 723995 w 3359086"/>
                <a:gd name="connsiteY3825" fmla="*/ 3056764 h 3355086"/>
                <a:gd name="connsiteX3826" fmla="*/ 724186 w 3359086"/>
                <a:gd name="connsiteY3826" fmla="*/ 3056573 h 3355086"/>
                <a:gd name="connsiteX3827" fmla="*/ 1645348 w 3359086"/>
                <a:gd name="connsiteY3827" fmla="*/ 3055906 h 3355086"/>
                <a:gd name="connsiteX3828" fmla="*/ 1651540 w 3359086"/>
                <a:gd name="connsiteY3828" fmla="*/ 3062097 h 3355086"/>
                <a:gd name="connsiteX3829" fmla="*/ 1645348 w 3359086"/>
                <a:gd name="connsiteY3829" fmla="*/ 3068288 h 3355086"/>
                <a:gd name="connsiteX3830" fmla="*/ 1639157 w 3359086"/>
                <a:gd name="connsiteY3830" fmla="*/ 3062097 h 3355086"/>
                <a:gd name="connsiteX3831" fmla="*/ 1645348 w 3359086"/>
                <a:gd name="connsiteY3831" fmla="*/ 3055906 h 3355086"/>
                <a:gd name="connsiteX3832" fmla="*/ 1734502 w 3359086"/>
                <a:gd name="connsiteY3832" fmla="*/ 3055049 h 3355086"/>
                <a:gd name="connsiteX3833" fmla="*/ 1740694 w 3359086"/>
                <a:gd name="connsiteY3833" fmla="*/ 3061240 h 3355086"/>
                <a:gd name="connsiteX3834" fmla="*/ 1734502 w 3359086"/>
                <a:gd name="connsiteY3834" fmla="*/ 3067431 h 3355086"/>
                <a:gd name="connsiteX3835" fmla="*/ 1728311 w 3359086"/>
                <a:gd name="connsiteY3835" fmla="*/ 3061240 h 3355086"/>
                <a:gd name="connsiteX3836" fmla="*/ 1734502 w 3359086"/>
                <a:gd name="connsiteY3836" fmla="*/ 3055049 h 3355086"/>
                <a:gd name="connsiteX3837" fmla="*/ 880205 w 3359086"/>
                <a:gd name="connsiteY3837" fmla="*/ 3053811 h 3355086"/>
                <a:gd name="connsiteX3838" fmla="*/ 886396 w 3359086"/>
                <a:gd name="connsiteY3838" fmla="*/ 3060002 h 3355086"/>
                <a:gd name="connsiteX3839" fmla="*/ 880205 w 3359086"/>
                <a:gd name="connsiteY3839" fmla="*/ 3066193 h 3355086"/>
                <a:gd name="connsiteX3840" fmla="*/ 874014 w 3359086"/>
                <a:gd name="connsiteY3840" fmla="*/ 3060002 h 3355086"/>
                <a:gd name="connsiteX3841" fmla="*/ 880205 w 3359086"/>
                <a:gd name="connsiteY3841" fmla="*/ 3053811 h 3355086"/>
                <a:gd name="connsiteX3842" fmla="*/ 1556384 w 3359086"/>
                <a:gd name="connsiteY3842" fmla="*/ 3053525 h 3355086"/>
                <a:gd name="connsiteX3843" fmla="*/ 1562576 w 3359086"/>
                <a:gd name="connsiteY3843" fmla="*/ 3059716 h 3355086"/>
                <a:gd name="connsiteX3844" fmla="*/ 1556384 w 3359086"/>
                <a:gd name="connsiteY3844" fmla="*/ 3065907 h 3355086"/>
                <a:gd name="connsiteX3845" fmla="*/ 1550193 w 3359086"/>
                <a:gd name="connsiteY3845" fmla="*/ 3059716 h 3355086"/>
                <a:gd name="connsiteX3846" fmla="*/ 1556384 w 3359086"/>
                <a:gd name="connsiteY3846" fmla="*/ 3053525 h 3355086"/>
                <a:gd name="connsiteX3847" fmla="*/ 1015364 w 3359086"/>
                <a:gd name="connsiteY3847" fmla="*/ 3051810 h 3355086"/>
                <a:gd name="connsiteX3848" fmla="*/ 1021556 w 3359086"/>
                <a:gd name="connsiteY3848" fmla="*/ 3058001 h 3355086"/>
                <a:gd name="connsiteX3849" fmla="*/ 1015364 w 3359086"/>
                <a:gd name="connsiteY3849" fmla="*/ 3064192 h 3355086"/>
                <a:gd name="connsiteX3850" fmla="*/ 1009173 w 3359086"/>
                <a:gd name="connsiteY3850" fmla="*/ 3058001 h 3355086"/>
                <a:gd name="connsiteX3851" fmla="*/ 1015364 w 3359086"/>
                <a:gd name="connsiteY3851" fmla="*/ 3051810 h 3355086"/>
                <a:gd name="connsiteX3852" fmla="*/ 2423921 w 3359086"/>
                <a:gd name="connsiteY3852" fmla="*/ 3051429 h 3355086"/>
                <a:gd name="connsiteX3853" fmla="*/ 2430113 w 3359086"/>
                <a:gd name="connsiteY3853" fmla="*/ 3057620 h 3355086"/>
                <a:gd name="connsiteX3854" fmla="*/ 2423921 w 3359086"/>
                <a:gd name="connsiteY3854" fmla="*/ 3063811 h 3355086"/>
                <a:gd name="connsiteX3855" fmla="*/ 2417730 w 3359086"/>
                <a:gd name="connsiteY3855" fmla="*/ 3057620 h 3355086"/>
                <a:gd name="connsiteX3856" fmla="*/ 2423921 w 3359086"/>
                <a:gd name="connsiteY3856" fmla="*/ 3051429 h 3355086"/>
                <a:gd name="connsiteX3857" fmla="*/ 1823084 w 3359086"/>
                <a:gd name="connsiteY3857" fmla="*/ 3050858 h 3355086"/>
                <a:gd name="connsiteX3858" fmla="*/ 1829276 w 3359086"/>
                <a:gd name="connsiteY3858" fmla="*/ 3057049 h 3355086"/>
                <a:gd name="connsiteX3859" fmla="*/ 1823084 w 3359086"/>
                <a:gd name="connsiteY3859" fmla="*/ 3063240 h 3355086"/>
                <a:gd name="connsiteX3860" fmla="*/ 1816893 w 3359086"/>
                <a:gd name="connsiteY3860" fmla="*/ 3057049 h 3355086"/>
                <a:gd name="connsiteX3861" fmla="*/ 1823084 w 3359086"/>
                <a:gd name="connsiteY3861" fmla="*/ 3050858 h 3355086"/>
                <a:gd name="connsiteX3862" fmla="*/ 1096993 w 3359086"/>
                <a:gd name="connsiteY3862" fmla="*/ 3050381 h 3355086"/>
                <a:gd name="connsiteX3863" fmla="*/ 1103185 w 3359086"/>
                <a:gd name="connsiteY3863" fmla="*/ 3056572 h 3355086"/>
                <a:gd name="connsiteX3864" fmla="*/ 1096993 w 3359086"/>
                <a:gd name="connsiteY3864" fmla="*/ 3062764 h 3355086"/>
                <a:gd name="connsiteX3865" fmla="*/ 1090802 w 3359086"/>
                <a:gd name="connsiteY3865" fmla="*/ 3056572 h 3355086"/>
                <a:gd name="connsiteX3866" fmla="*/ 1096993 w 3359086"/>
                <a:gd name="connsiteY3866" fmla="*/ 3050381 h 3355086"/>
                <a:gd name="connsiteX3867" fmla="*/ 2105500 w 3359086"/>
                <a:gd name="connsiteY3867" fmla="*/ 3050096 h 3355086"/>
                <a:gd name="connsiteX3868" fmla="*/ 2111692 w 3359086"/>
                <a:gd name="connsiteY3868" fmla="*/ 3056287 h 3355086"/>
                <a:gd name="connsiteX3869" fmla="*/ 2105500 w 3359086"/>
                <a:gd name="connsiteY3869" fmla="*/ 3062479 h 3355086"/>
                <a:gd name="connsiteX3870" fmla="*/ 2099309 w 3359086"/>
                <a:gd name="connsiteY3870" fmla="*/ 3056287 h 3355086"/>
                <a:gd name="connsiteX3871" fmla="*/ 2105500 w 3359086"/>
                <a:gd name="connsiteY3871" fmla="*/ 3050096 h 3355086"/>
                <a:gd name="connsiteX3872" fmla="*/ 944403 w 3359086"/>
                <a:gd name="connsiteY3872" fmla="*/ 3048191 h 3355086"/>
                <a:gd name="connsiteX3873" fmla="*/ 950595 w 3359086"/>
                <a:gd name="connsiteY3873" fmla="*/ 3054382 h 3355086"/>
                <a:gd name="connsiteX3874" fmla="*/ 944403 w 3359086"/>
                <a:gd name="connsiteY3874" fmla="*/ 3060573 h 3355086"/>
                <a:gd name="connsiteX3875" fmla="*/ 938212 w 3359086"/>
                <a:gd name="connsiteY3875" fmla="*/ 3054382 h 3355086"/>
                <a:gd name="connsiteX3876" fmla="*/ 944403 w 3359086"/>
                <a:gd name="connsiteY3876" fmla="*/ 3048191 h 3355086"/>
                <a:gd name="connsiteX3877" fmla="*/ 1468183 w 3359086"/>
                <a:gd name="connsiteY3877" fmla="*/ 3047905 h 3355086"/>
                <a:gd name="connsiteX3878" fmla="*/ 1474374 w 3359086"/>
                <a:gd name="connsiteY3878" fmla="*/ 3054096 h 3355086"/>
                <a:gd name="connsiteX3879" fmla="*/ 1468183 w 3359086"/>
                <a:gd name="connsiteY3879" fmla="*/ 3060287 h 3355086"/>
                <a:gd name="connsiteX3880" fmla="*/ 1461992 w 3359086"/>
                <a:gd name="connsiteY3880" fmla="*/ 3054096 h 3355086"/>
                <a:gd name="connsiteX3881" fmla="*/ 1468183 w 3359086"/>
                <a:gd name="connsiteY3881" fmla="*/ 3047905 h 3355086"/>
                <a:gd name="connsiteX3882" fmla="*/ 1910619 w 3359086"/>
                <a:gd name="connsiteY3882" fmla="*/ 3043619 h 3355086"/>
                <a:gd name="connsiteX3883" fmla="*/ 1916811 w 3359086"/>
                <a:gd name="connsiteY3883" fmla="*/ 3049810 h 3355086"/>
                <a:gd name="connsiteX3884" fmla="*/ 1910619 w 3359086"/>
                <a:gd name="connsiteY3884" fmla="*/ 3056001 h 3355086"/>
                <a:gd name="connsiteX3885" fmla="*/ 1904428 w 3359086"/>
                <a:gd name="connsiteY3885" fmla="*/ 3049810 h 3355086"/>
                <a:gd name="connsiteX3886" fmla="*/ 1910619 w 3359086"/>
                <a:gd name="connsiteY3886" fmla="*/ 3043619 h 3355086"/>
                <a:gd name="connsiteX3887" fmla="*/ 1190434 w 3359086"/>
                <a:gd name="connsiteY3887" fmla="*/ 3042762 h 3355086"/>
                <a:gd name="connsiteX3888" fmla="*/ 1196625 w 3359086"/>
                <a:gd name="connsiteY3888" fmla="*/ 3048953 h 3355086"/>
                <a:gd name="connsiteX3889" fmla="*/ 1190434 w 3359086"/>
                <a:gd name="connsiteY3889" fmla="*/ 3055144 h 3355086"/>
                <a:gd name="connsiteX3890" fmla="*/ 1184243 w 3359086"/>
                <a:gd name="connsiteY3890" fmla="*/ 3048953 h 3355086"/>
                <a:gd name="connsiteX3891" fmla="*/ 1190434 w 3359086"/>
                <a:gd name="connsiteY3891" fmla="*/ 3042762 h 3355086"/>
                <a:gd name="connsiteX3892" fmla="*/ 2478976 w 3359086"/>
                <a:gd name="connsiteY3892" fmla="*/ 3041333 h 3355086"/>
                <a:gd name="connsiteX3893" fmla="*/ 2485168 w 3359086"/>
                <a:gd name="connsiteY3893" fmla="*/ 3047524 h 3355086"/>
                <a:gd name="connsiteX3894" fmla="*/ 2480119 w 3359086"/>
                <a:gd name="connsiteY3894" fmla="*/ 3052572 h 3355086"/>
                <a:gd name="connsiteX3895" fmla="*/ 2486215 w 3359086"/>
                <a:gd name="connsiteY3895" fmla="*/ 3058668 h 3355086"/>
                <a:gd name="connsiteX3896" fmla="*/ 2481643 w 3359086"/>
                <a:gd name="connsiteY3896" fmla="*/ 3063241 h 3355086"/>
                <a:gd name="connsiteX3897" fmla="*/ 2486500 w 3359086"/>
                <a:gd name="connsiteY3897" fmla="*/ 3068098 h 3355086"/>
                <a:gd name="connsiteX3898" fmla="*/ 2482452 w 3359086"/>
                <a:gd name="connsiteY3898" fmla="*/ 3072146 h 3355086"/>
                <a:gd name="connsiteX3899" fmla="*/ 2486406 w 3359086"/>
                <a:gd name="connsiteY3899" fmla="*/ 3076099 h 3355086"/>
                <a:gd name="connsiteX3900" fmla="*/ 2482738 w 3359086"/>
                <a:gd name="connsiteY3900" fmla="*/ 3079767 h 3355086"/>
                <a:gd name="connsiteX3901" fmla="*/ 2485834 w 3359086"/>
                <a:gd name="connsiteY3901" fmla="*/ 3082862 h 3355086"/>
                <a:gd name="connsiteX3902" fmla="*/ 2482595 w 3359086"/>
                <a:gd name="connsiteY3902" fmla="*/ 3086101 h 3355086"/>
                <a:gd name="connsiteX3903" fmla="*/ 2485072 w 3359086"/>
                <a:gd name="connsiteY3903" fmla="*/ 3088577 h 3355086"/>
                <a:gd name="connsiteX3904" fmla="*/ 2482072 w 3359086"/>
                <a:gd name="connsiteY3904" fmla="*/ 3091577 h 3355086"/>
                <a:gd name="connsiteX3905" fmla="*/ 2484025 w 3359086"/>
                <a:gd name="connsiteY3905" fmla="*/ 3093529 h 3355086"/>
                <a:gd name="connsiteX3906" fmla="*/ 2481310 w 3359086"/>
                <a:gd name="connsiteY3906" fmla="*/ 3096245 h 3355086"/>
                <a:gd name="connsiteX3907" fmla="*/ 2482976 w 3359086"/>
                <a:gd name="connsiteY3907" fmla="*/ 3097911 h 3355086"/>
                <a:gd name="connsiteX3908" fmla="*/ 2480404 w 3359086"/>
                <a:gd name="connsiteY3908" fmla="*/ 3100483 h 3355086"/>
                <a:gd name="connsiteX3909" fmla="*/ 2481833 w 3359086"/>
                <a:gd name="connsiteY3909" fmla="*/ 3101912 h 3355086"/>
                <a:gd name="connsiteX3910" fmla="*/ 2479500 w 3359086"/>
                <a:gd name="connsiteY3910" fmla="*/ 3104245 h 3355086"/>
                <a:gd name="connsiteX3911" fmla="*/ 2480881 w 3359086"/>
                <a:gd name="connsiteY3911" fmla="*/ 3105626 h 3355086"/>
                <a:gd name="connsiteX3912" fmla="*/ 2478594 w 3359086"/>
                <a:gd name="connsiteY3912" fmla="*/ 3107913 h 3355086"/>
                <a:gd name="connsiteX3913" fmla="*/ 2480023 w 3359086"/>
                <a:gd name="connsiteY3913" fmla="*/ 3109341 h 3355086"/>
                <a:gd name="connsiteX3914" fmla="*/ 2477785 w 3359086"/>
                <a:gd name="connsiteY3914" fmla="*/ 3111579 h 3355086"/>
                <a:gd name="connsiteX3915" fmla="*/ 2479357 w 3359086"/>
                <a:gd name="connsiteY3915" fmla="*/ 3113151 h 3355086"/>
                <a:gd name="connsiteX3916" fmla="*/ 2477167 w 3359086"/>
                <a:gd name="connsiteY3916" fmla="*/ 3115342 h 3355086"/>
                <a:gd name="connsiteX3917" fmla="*/ 2478977 w 3359086"/>
                <a:gd name="connsiteY3917" fmla="*/ 3117152 h 3355086"/>
                <a:gd name="connsiteX3918" fmla="*/ 2476786 w 3359086"/>
                <a:gd name="connsiteY3918" fmla="*/ 3119343 h 3355086"/>
                <a:gd name="connsiteX3919" fmla="*/ 2478976 w 3359086"/>
                <a:gd name="connsiteY3919" fmla="*/ 3121533 h 3355086"/>
                <a:gd name="connsiteX3920" fmla="*/ 2476690 w 3359086"/>
                <a:gd name="connsiteY3920" fmla="*/ 3123819 h 3355086"/>
                <a:gd name="connsiteX3921" fmla="*/ 2479262 w 3359086"/>
                <a:gd name="connsiteY3921" fmla="*/ 3126391 h 3355086"/>
                <a:gd name="connsiteX3922" fmla="*/ 2476975 w 3359086"/>
                <a:gd name="connsiteY3922" fmla="*/ 3128678 h 3355086"/>
                <a:gd name="connsiteX3923" fmla="*/ 2480023 w 3359086"/>
                <a:gd name="connsiteY3923" fmla="*/ 3131725 h 3355086"/>
                <a:gd name="connsiteX3924" fmla="*/ 2477642 w 3359086"/>
                <a:gd name="connsiteY3924" fmla="*/ 3134106 h 3355086"/>
                <a:gd name="connsiteX3925" fmla="*/ 2481263 w 3359086"/>
                <a:gd name="connsiteY3925" fmla="*/ 3137726 h 3355086"/>
                <a:gd name="connsiteX3926" fmla="*/ 2478738 w 3359086"/>
                <a:gd name="connsiteY3926" fmla="*/ 3140251 h 3355086"/>
                <a:gd name="connsiteX3927" fmla="*/ 2482976 w 3359086"/>
                <a:gd name="connsiteY3927" fmla="*/ 3144488 h 3355086"/>
                <a:gd name="connsiteX3928" fmla="*/ 2476785 w 3359086"/>
                <a:gd name="connsiteY3928" fmla="*/ 3150679 h 3355086"/>
                <a:gd name="connsiteX3929" fmla="*/ 2470594 w 3359086"/>
                <a:gd name="connsiteY3929" fmla="*/ 3144488 h 3355086"/>
                <a:gd name="connsiteX3930" fmla="*/ 2473118 w 3359086"/>
                <a:gd name="connsiteY3930" fmla="*/ 3141964 h 3355086"/>
                <a:gd name="connsiteX3931" fmla="*/ 2468880 w 3359086"/>
                <a:gd name="connsiteY3931" fmla="*/ 3137726 h 3355086"/>
                <a:gd name="connsiteX3932" fmla="*/ 2471261 w 3359086"/>
                <a:gd name="connsiteY3932" fmla="*/ 3135345 h 3355086"/>
                <a:gd name="connsiteX3933" fmla="*/ 2467641 w 3359086"/>
                <a:gd name="connsiteY3933" fmla="*/ 3131725 h 3355086"/>
                <a:gd name="connsiteX3934" fmla="*/ 2469927 w 3359086"/>
                <a:gd name="connsiteY3934" fmla="*/ 3129439 h 3355086"/>
                <a:gd name="connsiteX3935" fmla="*/ 2466879 w 3359086"/>
                <a:gd name="connsiteY3935" fmla="*/ 3126391 h 3355086"/>
                <a:gd name="connsiteX3936" fmla="*/ 2469165 w 3359086"/>
                <a:gd name="connsiteY3936" fmla="*/ 3124105 h 3355086"/>
                <a:gd name="connsiteX3937" fmla="*/ 2466593 w 3359086"/>
                <a:gd name="connsiteY3937" fmla="*/ 3121533 h 3355086"/>
                <a:gd name="connsiteX3938" fmla="*/ 2468784 w 3359086"/>
                <a:gd name="connsiteY3938" fmla="*/ 3119342 h 3355086"/>
                <a:gd name="connsiteX3939" fmla="*/ 2466594 w 3359086"/>
                <a:gd name="connsiteY3939" fmla="*/ 3117152 h 3355086"/>
                <a:gd name="connsiteX3940" fmla="*/ 2468785 w 3359086"/>
                <a:gd name="connsiteY3940" fmla="*/ 3114961 h 3355086"/>
                <a:gd name="connsiteX3941" fmla="*/ 2466975 w 3359086"/>
                <a:gd name="connsiteY3941" fmla="*/ 3113151 h 3355086"/>
                <a:gd name="connsiteX3942" fmla="*/ 2469213 w 3359086"/>
                <a:gd name="connsiteY3942" fmla="*/ 3110913 h 3355086"/>
                <a:gd name="connsiteX3943" fmla="*/ 2467641 w 3359086"/>
                <a:gd name="connsiteY3943" fmla="*/ 3109341 h 3355086"/>
                <a:gd name="connsiteX3944" fmla="*/ 2469928 w 3359086"/>
                <a:gd name="connsiteY3944" fmla="*/ 3107055 h 3355086"/>
                <a:gd name="connsiteX3945" fmla="*/ 2468499 w 3359086"/>
                <a:gd name="connsiteY3945" fmla="*/ 3105626 h 3355086"/>
                <a:gd name="connsiteX3946" fmla="*/ 2470832 w 3359086"/>
                <a:gd name="connsiteY3946" fmla="*/ 3103293 h 3355086"/>
                <a:gd name="connsiteX3947" fmla="*/ 2469451 w 3359086"/>
                <a:gd name="connsiteY3947" fmla="*/ 3101912 h 3355086"/>
                <a:gd name="connsiteX3948" fmla="*/ 2472023 w 3359086"/>
                <a:gd name="connsiteY3948" fmla="*/ 3099340 h 3355086"/>
                <a:gd name="connsiteX3949" fmla="*/ 2470594 w 3359086"/>
                <a:gd name="connsiteY3949" fmla="*/ 3097911 h 3355086"/>
                <a:gd name="connsiteX3950" fmla="*/ 2473309 w 3359086"/>
                <a:gd name="connsiteY3950" fmla="*/ 3095196 h 3355086"/>
                <a:gd name="connsiteX3951" fmla="*/ 2471642 w 3359086"/>
                <a:gd name="connsiteY3951" fmla="*/ 3093529 h 3355086"/>
                <a:gd name="connsiteX3952" fmla="*/ 2474642 w 3359086"/>
                <a:gd name="connsiteY3952" fmla="*/ 3090529 h 3355086"/>
                <a:gd name="connsiteX3953" fmla="*/ 2472690 w 3359086"/>
                <a:gd name="connsiteY3953" fmla="*/ 3088577 h 3355086"/>
                <a:gd name="connsiteX3954" fmla="*/ 2475928 w 3359086"/>
                <a:gd name="connsiteY3954" fmla="*/ 3085339 h 3355086"/>
                <a:gd name="connsiteX3955" fmla="*/ 2473451 w 3359086"/>
                <a:gd name="connsiteY3955" fmla="*/ 3082862 h 3355086"/>
                <a:gd name="connsiteX3956" fmla="*/ 2477118 w 3359086"/>
                <a:gd name="connsiteY3956" fmla="*/ 3079195 h 3355086"/>
                <a:gd name="connsiteX3957" fmla="*/ 2474023 w 3359086"/>
                <a:gd name="connsiteY3957" fmla="*/ 3076099 h 3355086"/>
                <a:gd name="connsiteX3958" fmla="*/ 2478071 w 3359086"/>
                <a:gd name="connsiteY3958" fmla="*/ 3072051 h 3355086"/>
                <a:gd name="connsiteX3959" fmla="*/ 2474118 w 3359086"/>
                <a:gd name="connsiteY3959" fmla="*/ 3068098 h 3355086"/>
                <a:gd name="connsiteX3960" fmla="*/ 2478690 w 3359086"/>
                <a:gd name="connsiteY3960" fmla="*/ 3063526 h 3355086"/>
                <a:gd name="connsiteX3961" fmla="*/ 2473833 w 3359086"/>
                <a:gd name="connsiteY3961" fmla="*/ 3058668 h 3355086"/>
                <a:gd name="connsiteX3962" fmla="*/ 2478881 w 3359086"/>
                <a:gd name="connsiteY3962" fmla="*/ 3053620 h 3355086"/>
                <a:gd name="connsiteX3963" fmla="*/ 2472785 w 3359086"/>
                <a:gd name="connsiteY3963" fmla="*/ 3047524 h 3355086"/>
                <a:gd name="connsiteX3964" fmla="*/ 2478976 w 3359086"/>
                <a:gd name="connsiteY3964" fmla="*/ 3041333 h 3355086"/>
                <a:gd name="connsiteX3965" fmla="*/ 883157 w 3359086"/>
                <a:gd name="connsiteY3965" fmla="*/ 3040666 h 3355086"/>
                <a:gd name="connsiteX3966" fmla="*/ 889349 w 3359086"/>
                <a:gd name="connsiteY3966" fmla="*/ 3046857 h 3355086"/>
                <a:gd name="connsiteX3967" fmla="*/ 883157 w 3359086"/>
                <a:gd name="connsiteY3967" fmla="*/ 3053048 h 3355086"/>
                <a:gd name="connsiteX3968" fmla="*/ 876966 w 3359086"/>
                <a:gd name="connsiteY3968" fmla="*/ 3046857 h 3355086"/>
                <a:gd name="connsiteX3969" fmla="*/ 883157 w 3359086"/>
                <a:gd name="connsiteY3969" fmla="*/ 3040666 h 3355086"/>
                <a:gd name="connsiteX3970" fmla="*/ 2351055 w 3359086"/>
                <a:gd name="connsiteY3970" fmla="*/ 3040380 h 3355086"/>
                <a:gd name="connsiteX3971" fmla="*/ 2357247 w 3359086"/>
                <a:gd name="connsiteY3971" fmla="*/ 3046571 h 3355086"/>
                <a:gd name="connsiteX3972" fmla="*/ 2351055 w 3359086"/>
                <a:gd name="connsiteY3972" fmla="*/ 3052762 h 3355086"/>
                <a:gd name="connsiteX3973" fmla="*/ 2344864 w 3359086"/>
                <a:gd name="connsiteY3973" fmla="*/ 3046571 h 3355086"/>
                <a:gd name="connsiteX3974" fmla="*/ 2351055 w 3359086"/>
                <a:gd name="connsiteY3974" fmla="*/ 3040380 h 3355086"/>
                <a:gd name="connsiteX3975" fmla="*/ 2272664 w 3359086"/>
                <a:gd name="connsiteY3975" fmla="*/ 3039999 h 3355086"/>
                <a:gd name="connsiteX3976" fmla="*/ 2278856 w 3359086"/>
                <a:gd name="connsiteY3976" fmla="*/ 3046190 h 3355086"/>
                <a:gd name="connsiteX3977" fmla="*/ 2272664 w 3359086"/>
                <a:gd name="connsiteY3977" fmla="*/ 3052382 h 3355086"/>
                <a:gd name="connsiteX3978" fmla="*/ 2266473 w 3359086"/>
                <a:gd name="connsiteY3978" fmla="*/ 3046190 h 3355086"/>
                <a:gd name="connsiteX3979" fmla="*/ 2272664 w 3359086"/>
                <a:gd name="connsiteY3979" fmla="*/ 3039999 h 3355086"/>
                <a:gd name="connsiteX3980" fmla="*/ 2649474 w 3359086"/>
                <a:gd name="connsiteY3980" fmla="*/ 3039714 h 3355086"/>
                <a:gd name="connsiteX3981" fmla="*/ 2653093 w 3359086"/>
                <a:gd name="connsiteY3981" fmla="*/ 3043334 h 3355086"/>
                <a:gd name="connsiteX3982" fmla="*/ 2649474 w 3359086"/>
                <a:gd name="connsiteY3982" fmla="*/ 3046953 h 3355086"/>
                <a:gd name="connsiteX3983" fmla="*/ 2645854 w 3359086"/>
                <a:gd name="connsiteY3983" fmla="*/ 3043334 h 3355086"/>
                <a:gd name="connsiteX3984" fmla="*/ 2649474 w 3359086"/>
                <a:gd name="connsiteY3984" fmla="*/ 3039714 h 3355086"/>
                <a:gd name="connsiteX3985" fmla="*/ 1381410 w 3359086"/>
                <a:gd name="connsiteY3985" fmla="*/ 3039142 h 3355086"/>
                <a:gd name="connsiteX3986" fmla="*/ 1387601 w 3359086"/>
                <a:gd name="connsiteY3986" fmla="*/ 3045333 h 3355086"/>
                <a:gd name="connsiteX3987" fmla="*/ 1381410 w 3359086"/>
                <a:gd name="connsiteY3987" fmla="*/ 3051524 h 3355086"/>
                <a:gd name="connsiteX3988" fmla="*/ 1375219 w 3359086"/>
                <a:gd name="connsiteY3988" fmla="*/ 3045333 h 3355086"/>
                <a:gd name="connsiteX3989" fmla="*/ 1381410 w 3359086"/>
                <a:gd name="connsiteY3989" fmla="*/ 3039142 h 3355086"/>
                <a:gd name="connsiteX3990" fmla="*/ 2418873 w 3359086"/>
                <a:gd name="connsiteY3990" fmla="*/ 3036094 h 3355086"/>
                <a:gd name="connsiteX3991" fmla="*/ 2425065 w 3359086"/>
                <a:gd name="connsiteY3991" fmla="*/ 3042285 h 3355086"/>
                <a:gd name="connsiteX3992" fmla="*/ 2418873 w 3359086"/>
                <a:gd name="connsiteY3992" fmla="*/ 3048477 h 3355086"/>
                <a:gd name="connsiteX3993" fmla="*/ 2412682 w 3359086"/>
                <a:gd name="connsiteY3993" fmla="*/ 3042285 h 3355086"/>
                <a:gd name="connsiteX3994" fmla="*/ 2418873 w 3359086"/>
                <a:gd name="connsiteY3994" fmla="*/ 3036094 h 3355086"/>
                <a:gd name="connsiteX3995" fmla="*/ 2182748 w 3359086"/>
                <a:gd name="connsiteY3995" fmla="*/ 3033713 h 3355086"/>
                <a:gd name="connsiteX3996" fmla="*/ 2188940 w 3359086"/>
                <a:gd name="connsiteY3996" fmla="*/ 3039904 h 3355086"/>
                <a:gd name="connsiteX3997" fmla="*/ 2182748 w 3359086"/>
                <a:gd name="connsiteY3997" fmla="*/ 3046096 h 3355086"/>
                <a:gd name="connsiteX3998" fmla="*/ 2176557 w 3359086"/>
                <a:gd name="connsiteY3998" fmla="*/ 3039904 h 3355086"/>
                <a:gd name="connsiteX3999" fmla="*/ 2182748 w 3359086"/>
                <a:gd name="connsiteY3999" fmla="*/ 3033713 h 3355086"/>
                <a:gd name="connsiteX4000" fmla="*/ 1996535 w 3359086"/>
                <a:gd name="connsiteY4000" fmla="*/ 3033237 h 3355086"/>
                <a:gd name="connsiteX4001" fmla="*/ 2002726 w 3359086"/>
                <a:gd name="connsiteY4001" fmla="*/ 3039428 h 3355086"/>
                <a:gd name="connsiteX4002" fmla="*/ 1996535 w 3359086"/>
                <a:gd name="connsiteY4002" fmla="*/ 3045619 h 3355086"/>
                <a:gd name="connsiteX4003" fmla="*/ 1990344 w 3359086"/>
                <a:gd name="connsiteY4003" fmla="*/ 3039428 h 3355086"/>
                <a:gd name="connsiteX4004" fmla="*/ 1996535 w 3359086"/>
                <a:gd name="connsiteY4004" fmla="*/ 3033237 h 3355086"/>
                <a:gd name="connsiteX4005" fmla="*/ 1027651 w 3359086"/>
                <a:gd name="connsiteY4005" fmla="*/ 3030570 h 3355086"/>
                <a:gd name="connsiteX4006" fmla="*/ 1033843 w 3359086"/>
                <a:gd name="connsiteY4006" fmla="*/ 3036761 h 3355086"/>
                <a:gd name="connsiteX4007" fmla="*/ 1027651 w 3359086"/>
                <a:gd name="connsiteY4007" fmla="*/ 3042952 h 3355086"/>
                <a:gd name="connsiteX4008" fmla="*/ 1021460 w 3359086"/>
                <a:gd name="connsiteY4008" fmla="*/ 3036761 h 3355086"/>
                <a:gd name="connsiteX4009" fmla="*/ 1027651 w 3359086"/>
                <a:gd name="connsiteY4009" fmla="*/ 3030570 h 3355086"/>
                <a:gd name="connsiteX4010" fmla="*/ 830389 w 3359086"/>
                <a:gd name="connsiteY4010" fmla="*/ 3030284 h 3355086"/>
                <a:gd name="connsiteX4011" fmla="*/ 836581 w 3359086"/>
                <a:gd name="connsiteY4011" fmla="*/ 3036475 h 3355086"/>
                <a:gd name="connsiteX4012" fmla="*/ 830865 w 3359086"/>
                <a:gd name="connsiteY4012" fmla="*/ 3042191 h 3355086"/>
                <a:gd name="connsiteX4013" fmla="*/ 836485 w 3359086"/>
                <a:gd name="connsiteY4013" fmla="*/ 3047810 h 3355086"/>
                <a:gd name="connsiteX4014" fmla="*/ 831913 w 3359086"/>
                <a:gd name="connsiteY4014" fmla="*/ 3052382 h 3355086"/>
                <a:gd name="connsiteX4015" fmla="*/ 836962 w 3359086"/>
                <a:gd name="connsiteY4015" fmla="*/ 3057430 h 3355086"/>
                <a:gd name="connsiteX4016" fmla="*/ 833342 w 3359086"/>
                <a:gd name="connsiteY4016" fmla="*/ 3061050 h 3355086"/>
                <a:gd name="connsiteX4017" fmla="*/ 837914 w 3359086"/>
                <a:gd name="connsiteY4017" fmla="*/ 3065621 h 3355086"/>
                <a:gd name="connsiteX4018" fmla="*/ 835103 w 3359086"/>
                <a:gd name="connsiteY4018" fmla="*/ 3068431 h 3355086"/>
                <a:gd name="connsiteX4019" fmla="*/ 839248 w 3359086"/>
                <a:gd name="connsiteY4019" fmla="*/ 3072575 h 3355086"/>
                <a:gd name="connsiteX4020" fmla="*/ 836962 w 3359086"/>
                <a:gd name="connsiteY4020" fmla="*/ 3074861 h 3355086"/>
                <a:gd name="connsiteX4021" fmla="*/ 840676 w 3359086"/>
                <a:gd name="connsiteY4021" fmla="*/ 3078575 h 3355086"/>
                <a:gd name="connsiteX4022" fmla="*/ 838866 w 3359086"/>
                <a:gd name="connsiteY4022" fmla="*/ 3080385 h 3355086"/>
                <a:gd name="connsiteX4023" fmla="*/ 842296 w 3359086"/>
                <a:gd name="connsiteY4023" fmla="*/ 3083814 h 3355086"/>
                <a:gd name="connsiteX4024" fmla="*/ 840819 w 3359086"/>
                <a:gd name="connsiteY4024" fmla="*/ 3085291 h 3355086"/>
                <a:gd name="connsiteX4025" fmla="*/ 844010 w 3359086"/>
                <a:gd name="connsiteY4025" fmla="*/ 3088481 h 3355086"/>
                <a:gd name="connsiteX4026" fmla="*/ 842676 w 3359086"/>
                <a:gd name="connsiteY4026" fmla="*/ 3089815 h 3355086"/>
                <a:gd name="connsiteX4027" fmla="*/ 845629 w 3359086"/>
                <a:gd name="connsiteY4027" fmla="*/ 3092768 h 3355086"/>
                <a:gd name="connsiteX4028" fmla="*/ 844343 w 3359086"/>
                <a:gd name="connsiteY4028" fmla="*/ 3094054 h 3355086"/>
                <a:gd name="connsiteX4029" fmla="*/ 847058 w 3359086"/>
                <a:gd name="connsiteY4029" fmla="*/ 3096768 h 3355086"/>
                <a:gd name="connsiteX4030" fmla="*/ 845724 w 3359086"/>
                <a:gd name="connsiteY4030" fmla="*/ 3098102 h 3355086"/>
                <a:gd name="connsiteX4031" fmla="*/ 848392 w 3359086"/>
                <a:gd name="connsiteY4031" fmla="*/ 3100769 h 3355086"/>
                <a:gd name="connsiteX4032" fmla="*/ 846820 w 3359086"/>
                <a:gd name="connsiteY4032" fmla="*/ 3102341 h 3355086"/>
                <a:gd name="connsiteX4033" fmla="*/ 849439 w 3359086"/>
                <a:gd name="connsiteY4033" fmla="*/ 3104960 h 3355086"/>
                <a:gd name="connsiteX4034" fmla="*/ 847629 w 3359086"/>
                <a:gd name="connsiteY4034" fmla="*/ 3106770 h 3355086"/>
                <a:gd name="connsiteX4035" fmla="*/ 850106 w 3359086"/>
                <a:gd name="connsiteY4035" fmla="*/ 3109246 h 3355086"/>
                <a:gd name="connsiteX4036" fmla="*/ 847915 w 3359086"/>
                <a:gd name="connsiteY4036" fmla="*/ 3111437 h 3355086"/>
                <a:gd name="connsiteX4037" fmla="*/ 850487 w 3359086"/>
                <a:gd name="connsiteY4037" fmla="*/ 3114008 h 3355086"/>
                <a:gd name="connsiteX4038" fmla="*/ 847867 w 3359086"/>
                <a:gd name="connsiteY4038" fmla="*/ 3116628 h 3355086"/>
                <a:gd name="connsiteX4039" fmla="*/ 850391 w 3359086"/>
                <a:gd name="connsiteY4039" fmla="*/ 3119152 h 3355086"/>
                <a:gd name="connsiteX4040" fmla="*/ 847343 w 3359086"/>
                <a:gd name="connsiteY4040" fmla="*/ 3122200 h 3355086"/>
                <a:gd name="connsiteX4041" fmla="*/ 849916 w 3359086"/>
                <a:gd name="connsiteY4041" fmla="*/ 3124772 h 3355086"/>
                <a:gd name="connsiteX4042" fmla="*/ 843724 w 3359086"/>
                <a:gd name="connsiteY4042" fmla="*/ 3130963 h 3355086"/>
                <a:gd name="connsiteX4043" fmla="*/ 837533 w 3359086"/>
                <a:gd name="connsiteY4043" fmla="*/ 3124772 h 3355086"/>
                <a:gd name="connsiteX4044" fmla="*/ 840581 w 3359086"/>
                <a:gd name="connsiteY4044" fmla="*/ 3121724 h 3355086"/>
                <a:gd name="connsiteX4045" fmla="*/ 838009 w 3359086"/>
                <a:gd name="connsiteY4045" fmla="*/ 3119152 h 3355086"/>
                <a:gd name="connsiteX4046" fmla="*/ 840628 w 3359086"/>
                <a:gd name="connsiteY4046" fmla="*/ 3116533 h 3355086"/>
                <a:gd name="connsiteX4047" fmla="*/ 838104 w 3359086"/>
                <a:gd name="connsiteY4047" fmla="*/ 3114008 h 3355086"/>
                <a:gd name="connsiteX4048" fmla="*/ 840294 w 3359086"/>
                <a:gd name="connsiteY4048" fmla="*/ 3111818 h 3355086"/>
                <a:gd name="connsiteX4049" fmla="*/ 837723 w 3359086"/>
                <a:gd name="connsiteY4049" fmla="*/ 3109246 h 3355086"/>
                <a:gd name="connsiteX4050" fmla="*/ 839533 w 3359086"/>
                <a:gd name="connsiteY4050" fmla="*/ 3107437 h 3355086"/>
                <a:gd name="connsiteX4051" fmla="*/ 837056 w 3359086"/>
                <a:gd name="connsiteY4051" fmla="*/ 3104960 h 3355086"/>
                <a:gd name="connsiteX4052" fmla="*/ 838628 w 3359086"/>
                <a:gd name="connsiteY4052" fmla="*/ 3103388 h 3355086"/>
                <a:gd name="connsiteX4053" fmla="*/ 836009 w 3359086"/>
                <a:gd name="connsiteY4053" fmla="*/ 3100769 h 3355086"/>
                <a:gd name="connsiteX4054" fmla="*/ 837342 w 3359086"/>
                <a:gd name="connsiteY4054" fmla="*/ 3099436 h 3355086"/>
                <a:gd name="connsiteX4055" fmla="*/ 834675 w 3359086"/>
                <a:gd name="connsiteY4055" fmla="*/ 3096768 h 3355086"/>
                <a:gd name="connsiteX4056" fmla="*/ 835961 w 3359086"/>
                <a:gd name="connsiteY4056" fmla="*/ 3095482 h 3355086"/>
                <a:gd name="connsiteX4057" fmla="*/ 833247 w 3359086"/>
                <a:gd name="connsiteY4057" fmla="*/ 3092768 h 3355086"/>
                <a:gd name="connsiteX4058" fmla="*/ 834580 w 3359086"/>
                <a:gd name="connsiteY4058" fmla="*/ 3091435 h 3355086"/>
                <a:gd name="connsiteX4059" fmla="*/ 831627 w 3359086"/>
                <a:gd name="connsiteY4059" fmla="*/ 3088481 h 3355086"/>
                <a:gd name="connsiteX4060" fmla="*/ 833104 w 3359086"/>
                <a:gd name="connsiteY4060" fmla="*/ 3087005 h 3355086"/>
                <a:gd name="connsiteX4061" fmla="*/ 829913 w 3359086"/>
                <a:gd name="connsiteY4061" fmla="*/ 3083814 h 3355086"/>
                <a:gd name="connsiteX4062" fmla="*/ 831722 w 3359086"/>
                <a:gd name="connsiteY4062" fmla="*/ 3082005 h 3355086"/>
                <a:gd name="connsiteX4063" fmla="*/ 828293 w 3359086"/>
                <a:gd name="connsiteY4063" fmla="*/ 3078575 h 3355086"/>
                <a:gd name="connsiteX4064" fmla="*/ 830579 w 3359086"/>
                <a:gd name="connsiteY4064" fmla="*/ 3076289 h 3355086"/>
                <a:gd name="connsiteX4065" fmla="*/ 826865 w 3359086"/>
                <a:gd name="connsiteY4065" fmla="*/ 3072575 h 3355086"/>
                <a:gd name="connsiteX4066" fmla="*/ 829675 w 3359086"/>
                <a:gd name="connsiteY4066" fmla="*/ 3069765 h 3355086"/>
                <a:gd name="connsiteX4067" fmla="*/ 825531 w 3359086"/>
                <a:gd name="connsiteY4067" fmla="*/ 3065621 h 3355086"/>
                <a:gd name="connsiteX4068" fmla="*/ 829150 w 3359086"/>
                <a:gd name="connsiteY4068" fmla="*/ 3062002 h 3355086"/>
                <a:gd name="connsiteX4069" fmla="*/ 824579 w 3359086"/>
                <a:gd name="connsiteY4069" fmla="*/ 3057430 h 3355086"/>
                <a:gd name="connsiteX4070" fmla="*/ 829151 w 3359086"/>
                <a:gd name="connsiteY4070" fmla="*/ 3052859 h 3355086"/>
                <a:gd name="connsiteX4071" fmla="*/ 824102 w 3359086"/>
                <a:gd name="connsiteY4071" fmla="*/ 3047810 h 3355086"/>
                <a:gd name="connsiteX4072" fmla="*/ 829818 w 3359086"/>
                <a:gd name="connsiteY4072" fmla="*/ 3042095 h 3355086"/>
                <a:gd name="connsiteX4073" fmla="*/ 824198 w 3359086"/>
                <a:gd name="connsiteY4073" fmla="*/ 3036475 h 3355086"/>
                <a:gd name="connsiteX4074" fmla="*/ 830389 w 3359086"/>
                <a:gd name="connsiteY4074" fmla="*/ 3030284 h 3355086"/>
                <a:gd name="connsiteX4075" fmla="*/ 952118 w 3359086"/>
                <a:gd name="connsiteY4075" fmla="*/ 3030093 h 3355086"/>
                <a:gd name="connsiteX4076" fmla="*/ 958310 w 3359086"/>
                <a:gd name="connsiteY4076" fmla="*/ 3036284 h 3355086"/>
                <a:gd name="connsiteX4077" fmla="*/ 952118 w 3359086"/>
                <a:gd name="connsiteY4077" fmla="*/ 3042476 h 3355086"/>
                <a:gd name="connsiteX4078" fmla="*/ 945927 w 3359086"/>
                <a:gd name="connsiteY4078" fmla="*/ 3036284 h 3355086"/>
                <a:gd name="connsiteX4079" fmla="*/ 952118 w 3359086"/>
                <a:gd name="connsiteY4079" fmla="*/ 3030093 h 3355086"/>
                <a:gd name="connsiteX4080" fmla="*/ 694372 w 3359086"/>
                <a:gd name="connsiteY4080" fmla="*/ 3029807 h 3355086"/>
                <a:gd name="connsiteX4081" fmla="*/ 696848 w 3359086"/>
                <a:gd name="connsiteY4081" fmla="*/ 3032284 h 3355086"/>
                <a:gd name="connsiteX4082" fmla="*/ 694372 w 3359086"/>
                <a:gd name="connsiteY4082" fmla="*/ 3034760 h 3355086"/>
                <a:gd name="connsiteX4083" fmla="*/ 691895 w 3359086"/>
                <a:gd name="connsiteY4083" fmla="*/ 3032284 h 3355086"/>
                <a:gd name="connsiteX4084" fmla="*/ 694372 w 3359086"/>
                <a:gd name="connsiteY4084" fmla="*/ 3029807 h 3355086"/>
                <a:gd name="connsiteX4085" fmla="*/ 2526410 w 3359086"/>
                <a:gd name="connsiteY4085" fmla="*/ 3028950 h 3355086"/>
                <a:gd name="connsiteX4086" fmla="*/ 2532602 w 3359086"/>
                <a:gd name="connsiteY4086" fmla="*/ 3035141 h 3355086"/>
                <a:gd name="connsiteX4087" fmla="*/ 2526982 w 3359086"/>
                <a:gd name="connsiteY4087" fmla="*/ 3040761 h 3355086"/>
                <a:gd name="connsiteX4088" fmla="*/ 2531173 w 3359086"/>
                <a:gd name="connsiteY4088" fmla="*/ 3044952 h 3355086"/>
                <a:gd name="connsiteX4089" fmla="*/ 2526030 w 3359086"/>
                <a:gd name="connsiteY4089" fmla="*/ 3050096 h 3355086"/>
                <a:gd name="connsiteX4090" fmla="*/ 2529363 w 3359086"/>
                <a:gd name="connsiteY4090" fmla="*/ 3053429 h 3355086"/>
                <a:gd name="connsiteX4091" fmla="*/ 2524696 w 3359086"/>
                <a:gd name="connsiteY4091" fmla="*/ 3058097 h 3355086"/>
                <a:gd name="connsiteX4092" fmla="*/ 2527267 w 3359086"/>
                <a:gd name="connsiteY4092" fmla="*/ 3060668 h 3355086"/>
                <a:gd name="connsiteX4093" fmla="*/ 2522981 w 3359086"/>
                <a:gd name="connsiteY4093" fmla="*/ 3064955 h 3355086"/>
                <a:gd name="connsiteX4094" fmla="*/ 2524981 w 3359086"/>
                <a:gd name="connsiteY4094" fmla="*/ 3066955 h 3355086"/>
                <a:gd name="connsiteX4095" fmla="*/ 2521077 w 3359086"/>
                <a:gd name="connsiteY4095" fmla="*/ 3070860 h 3355086"/>
                <a:gd name="connsiteX4096" fmla="*/ 2522696 w 3359086"/>
                <a:gd name="connsiteY4096" fmla="*/ 3072479 h 3355086"/>
                <a:gd name="connsiteX4097" fmla="*/ 2519076 w 3359086"/>
                <a:gd name="connsiteY4097" fmla="*/ 3076099 h 3355086"/>
                <a:gd name="connsiteX4098" fmla="*/ 2520409 w 3359086"/>
                <a:gd name="connsiteY4098" fmla="*/ 3077432 h 3355086"/>
                <a:gd name="connsiteX4099" fmla="*/ 2516980 w 3359086"/>
                <a:gd name="connsiteY4099" fmla="*/ 3080862 h 3355086"/>
                <a:gd name="connsiteX4100" fmla="*/ 2518219 w 3359086"/>
                <a:gd name="connsiteY4100" fmla="*/ 3082100 h 3355086"/>
                <a:gd name="connsiteX4101" fmla="*/ 2515028 w 3359086"/>
                <a:gd name="connsiteY4101" fmla="*/ 3085291 h 3355086"/>
                <a:gd name="connsiteX4102" fmla="*/ 2516219 w 3359086"/>
                <a:gd name="connsiteY4102" fmla="*/ 3086481 h 3355086"/>
                <a:gd name="connsiteX4103" fmla="*/ 2513123 w 3359086"/>
                <a:gd name="connsiteY4103" fmla="*/ 3089577 h 3355086"/>
                <a:gd name="connsiteX4104" fmla="*/ 2514504 w 3359086"/>
                <a:gd name="connsiteY4104" fmla="*/ 3090958 h 3355086"/>
                <a:gd name="connsiteX4105" fmla="*/ 2511551 w 3359086"/>
                <a:gd name="connsiteY4105" fmla="*/ 3093911 h 3355086"/>
                <a:gd name="connsiteX4106" fmla="*/ 2513075 w 3359086"/>
                <a:gd name="connsiteY4106" fmla="*/ 3095435 h 3355086"/>
                <a:gd name="connsiteX4107" fmla="*/ 2510170 w 3359086"/>
                <a:gd name="connsiteY4107" fmla="*/ 3098340 h 3355086"/>
                <a:gd name="connsiteX4108" fmla="*/ 2511932 w 3359086"/>
                <a:gd name="connsiteY4108" fmla="*/ 3100102 h 3355086"/>
                <a:gd name="connsiteX4109" fmla="*/ 2509027 w 3359086"/>
                <a:gd name="connsiteY4109" fmla="*/ 3103007 h 3355086"/>
                <a:gd name="connsiteX4110" fmla="*/ 2511265 w 3359086"/>
                <a:gd name="connsiteY4110" fmla="*/ 3105245 h 3355086"/>
                <a:gd name="connsiteX4111" fmla="*/ 2508360 w 3359086"/>
                <a:gd name="connsiteY4111" fmla="*/ 3108150 h 3355086"/>
                <a:gd name="connsiteX4112" fmla="*/ 2510980 w 3359086"/>
                <a:gd name="connsiteY4112" fmla="*/ 3110770 h 3355086"/>
                <a:gd name="connsiteX4113" fmla="*/ 2508075 w 3359086"/>
                <a:gd name="connsiteY4113" fmla="*/ 3113676 h 3355086"/>
                <a:gd name="connsiteX4114" fmla="*/ 2511265 w 3359086"/>
                <a:gd name="connsiteY4114" fmla="*/ 3116866 h 3355086"/>
                <a:gd name="connsiteX4115" fmla="*/ 2508265 w 3359086"/>
                <a:gd name="connsiteY4115" fmla="*/ 3119866 h 3355086"/>
                <a:gd name="connsiteX4116" fmla="*/ 2512028 w 3359086"/>
                <a:gd name="connsiteY4116" fmla="*/ 3123628 h 3355086"/>
                <a:gd name="connsiteX4117" fmla="*/ 2508694 w 3359086"/>
                <a:gd name="connsiteY4117" fmla="*/ 3126962 h 3355086"/>
                <a:gd name="connsiteX4118" fmla="*/ 2512789 w 3359086"/>
                <a:gd name="connsiteY4118" fmla="*/ 3131058 h 3355086"/>
                <a:gd name="connsiteX4119" fmla="*/ 2507170 w 3359086"/>
                <a:gd name="connsiteY4119" fmla="*/ 3136677 h 3355086"/>
                <a:gd name="connsiteX4120" fmla="*/ 2501550 w 3359086"/>
                <a:gd name="connsiteY4120" fmla="*/ 3131058 h 3355086"/>
                <a:gd name="connsiteX4121" fmla="*/ 2504313 w 3359086"/>
                <a:gd name="connsiteY4121" fmla="*/ 3128296 h 3355086"/>
                <a:gd name="connsiteX4122" fmla="*/ 2499645 w 3359086"/>
                <a:gd name="connsiteY4122" fmla="*/ 3123628 h 3355086"/>
                <a:gd name="connsiteX4123" fmla="*/ 2502645 w 3359086"/>
                <a:gd name="connsiteY4123" fmla="*/ 3120628 h 3355086"/>
                <a:gd name="connsiteX4124" fmla="*/ 2498883 w 3359086"/>
                <a:gd name="connsiteY4124" fmla="*/ 3116866 h 3355086"/>
                <a:gd name="connsiteX4125" fmla="*/ 2501788 w 3359086"/>
                <a:gd name="connsiteY4125" fmla="*/ 3113961 h 3355086"/>
                <a:gd name="connsiteX4126" fmla="*/ 2498598 w 3359086"/>
                <a:gd name="connsiteY4126" fmla="*/ 3110770 h 3355086"/>
                <a:gd name="connsiteX4127" fmla="*/ 2501503 w 3359086"/>
                <a:gd name="connsiteY4127" fmla="*/ 3107865 h 3355086"/>
                <a:gd name="connsiteX4128" fmla="*/ 2498883 w 3359086"/>
                <a:gd name="connsiteY4128" fmla="*/ 3105245 h 3355086"/>
                <a:gd name="connsiteX4129" fmla="*/ 2501788 w 3359086"/>
                <a:gd name="connsiteY4129" fmla="*/ 3102340 h 3355086"/>
                <a:gd name="connsiteX4130" fmla="*/ 2499550 w 3359086"/>
                <a:gd name="connsiteY4130" fmla="*/ 3100102 h 3355086"/>
                <a:gd name="connsiteX4131" fmla="*/ 2502455 w 3359086"/>
                <a:gd name="connsiteY4131" fmla="*/ 3097197 h 3355086"/>
                <a:gd name="connsiteX4132" fmla="*/ 2500693 w 3359086"/>
                <a:gd name="connsiteY4132" fmla="*/ 3095435 h 3355086"/>
                <a:gd name="connsiteX4133" fmla="*/ 2503646 w 3359086"/>
                <a:gd name="connsiteY4133" fmla="*/ 3092482 h 3355086"/>
                <a:gd name="connsiteX4134" fmla="*/ 2502122 w 3359086"/>
                <a:gd name="connsiteY4134" fmla="*/ 3090958 h 3355086"/>
                <a:gd name="connsiteX4135" fmla="*/ 2505217 w 3359086"/>
                <a:gd name="connsiteY4135" fmla="*/ 3087863 h 3355086"/>
                <a:gd name="connsiteX4136" fmla="*/ 2503836 w 3359086"/>
                <a:gd name="connsiteY4136" fmla="*/ 3086481 h 3355086"/>
                <a:gd name="connsiteX4137" fmla="*/ 2507027 w 3359086"/>
                <a:gd name="connsiteY4137" fmla="*/ 3083291 h 3355086"/>
                <a:gd name="connsiteX4138" fmla="*/ 2505836 w 3359086"/>
                <a:gd name="connsiteY4138" fmla="*/ 3082100 h 3355086"/>
                <a:gd name="connsiteX4139" fmla="*/ 2509265 w 3359086"/>
                <a:gd name="connsiteY4139" fmla="*/ 3078671 h 3355086"/>
                <a:gd name="connsiteX4140" fmla="*/ 2508027 w 3359086"/>
                <a:gd name="connsiteY4140" fmla="*/ 3077432 h 3355086"/>
                <a:gd name="connsiteX4141" fmla="*/ 2511646 w 3359086"/>
                <a:gd name="connsiteY4141" fmla="*/ 3073813 h 3355086"/>
                <a:gd name="connsiteX4142" fmla="*/ 2510313 w 3359086"/>
                <a:gd name="connsiteY4142" fmla="*/ 3072479 h 3355086"/>
                <a:gd name="connsiteX4143" fmla="*/ 2514218 w 3359086"/>
                <a:gd name="connsiteY4143" fmla="*/ 3068574 h 3355086"/>
                <a:gd name="connsiteX4144" fmla="*/ 2512599 w 3359086"/>
                <a:gd name="connsiteY4144" fmla="*/ 3066955 h 3355086"/>
                <a:gd name="connsiteX4145" fmla="*/ 2516885 w 3359086"/>
                <a:gd name="connsiteY4145" fmla="*/ 3062669 h 3355086"/>
                <a:gd name="connsiteX4146" fmla="*/ 2514885 w 3359086"/>
                <a:gd name="connsiteY4146" fmla="*/ 3060668 h 3355086"/>
                <a:gd name="connsiteX4147" fmla="*/ 2519552 w 3359086"/>
                <a:gd name="connsiteY4147" fmla="*/ 3056001 h 3355086"/>
                <a:gd name="connsiteX4148" fmla="*/ 2516981 w 3359086"/>
                <a:gd name="connsiteY4148" fmla="*/ 3053429 h 3355086"/>
                <a:gd name="connsiteX4149" fmla="*/ 2522124 w 3359086"/>
                <a:gd name="connsiteY4149" fmla="*/ 3048286 h 3355086"/>
                <a:gd name="connsiteX4150" fmla="*/ 2518791 w 3359086"/>
                <a:gd name="connsiteY4150" fmla="*/ 3044952 h 3355086"/>
                <a:gd name="connsiteX4151" fmla="*/ 2524410 w 3359086"/>
                <a:gd name="connsiteY4151" fmla="*/ 3039333 h 3355086"/>
                <a:gd name="connsiteX4152" fmla="*/ 2520219 w 3359086"/>
                <a:gd name="connsiteY4152" fmla="*/ 3035141 h 3355086"/>
                <a:gd name="connsiteX4153" fmla="*/ 2526410 w 3359086"/>
                <a:gd name="connsiteY4153" fmla="*/ 3028950 h 3355086"/>
                <a:gd name="connsiteX4154" fmla="*/ 2676334 w 3359086"/>
                <a:gd name="connsiteY4154" fmla="*/ 3028760 h 3355086"/>
                <a:gd name="connsiteX4155" fmla="*/ 2676619 w 3359086"/>
                <a:gd name="connsiteY4155" fmla="*/ 3029046 h 3355086"/>
                <a:gd name="connsiteX4156" fmla="*/ 2676334 w 3359086"/>
                <a:gd name="connsiteY4156" fmla="*/ 3029331 h 3355086"/>
                <a:gd name="connsiteX4157" fmla="*/ 2676048 w 3359086"/>
                <a:gd name="connsiteY4157" fmla="*/ 3029046 h 3355086"/>
                <a:gd name="connsiteX4158" fmla="*/ 2676334 w 3359086"/>
                <a:gd name="connsiteY4158" fmla="*/ 3028760 h 3355086"/>
                <a:gd name="connsiteX4159" fmla="*/ 2477261 w 3359086"/>
                <a:gd name="connsiteY4159" fmla="*/ 3028093 h 3355086"/>
                <a:gd name="connsiteX4160" fmla="*/ 2483453 w 3359086"/>
                <a:gd name="connsiteY4160" fmla="*/ 3034284 h 3355086"/>
                <a:gd name="connsiteX4161" fmla="*/ 2477261 w 3359086"/>
                <a:gd name="connsiteY4161" fmla="*/ 3040476 h 3355086"/>
                <a:gd name="connsiteX4162" fmla="*/ 2471070 w 3359086"/>
                <a:gd name="connsiteY4162" fmla="*/ 3034284 h 3355086"/>
                <a:gd name="connsiteX4163" fmla="*/ 2477261 w 3359086"/>
                <a:gd name="connsiteY4163" fmla="*/ 3028093 h 3355086"/>
                <a:gd name="connsiteX4164" fmla="*/ 787241 w 3359086"/>
                <a:gd name="connsiteY4164" fmla="*/ 3027903 h 3355086"/>
                <a:gd name="connsiteX4165" fmla="*/ 793433 w 3359086"/>
                <a:gd name="connsiteY4165" fmla="*/ 3034094 h 3355086"/>
                <a:gd name="connsiteX4166" fmla="*/ 790384 w 3359086"/>
                <a:gd name="connsiteY4166" fmla="*/ 3037142 h 3355086"/>
                <a:gd name="connsiteX4167" fmla="*/ 796004 w 3359086"/>
                <a:gd name="connsiteY4167" fmla="*/ 3042761 h 3355086"/>
                <a:gd name="connsiteX4168" fmla="*/ 793669 w 3359086"/>
                <a:gd name="connsiteY4168" fmla="*/ 3045095 h 3355086"/>
                <a:gd name="connsiteX4169" fmla="*/ 798766 w 3359086"/>
                <a:gd name="connsiteY4169" fmla="*/ 3050191 h 3355086"/>
                <a:gd name="connsiteX4170" fmla="*/ 796909 w 3359086"/>
                <a:gd name="connsiteY4170" fmla="*/ 3052048 h 3355086"/>
                <a:gd name="connsiteX4171" fmla="*/ 801624 w 3359086"/>
                <a:gd name="connsiteY4171" fmla="*/ 3056763 h 3355086"/>
                <a:gd name="connsiteX4172" fmla="*/ 800147 w 3359086"/>
                <a:gd name="connsiteY4172" fmla="*/ 3058240 h 3355086"/>
                <a:gd name="connsiteX4173" fmla="*/ 804481 w 3359086"/>
                <a:gd name="connsiteY4173" fmla="*/ 3062573 h 3355086"/>
                <a:gd name="connsiteX4174" fmla="*/ 803195 w 3359086"/>
                <a:gd name="connsiteY4174" fmla="*/ 3063859 h 3355086"/>
                <a:gd name="connsiteX4175" fmla="*/ 807244 w 3359086"/>
                <a:gd name="connsiteY4175" fmla="*/ 3067907 h 3355086"/>
                <a:gd name="connsiteX4176" fmla="*/ 806101 w 3359086"/>
                <a:gd name="connsiteY4176" fmla="*/ 3069051 h 3355086"/>
                <a:gd name="connsiteX4177" fmla="*/ 809910 w 3359086"/>
                <a:gd name="connsiteY4177" fmla="*/ 3072860 h 3355086"/>
                <a:gd name="connsiteX4178" fmla="*/ 808767 w 3359086"/>
                <a:gd name="connsiteY4178" fmla="*/ 3074004 h 3355086"/>
                <a:gd name="connsiteX4179" fmla="*/ 812291 w 3359086"/>
                <a:gd name="connsiteY4179" fmla="*/ 3077528 h 3355086"/>
                <a:gd name="connsiteX4180" fmla="*/ 811006 w 3359086"/>
                <a:gd name="connsiteY4180" fmla="*/ 3078814 h 3355086"/>
                <a:gd name="connsiteX4181" fmla="*/ 814483 w 3359086"/>
                <a:gd name="connsiteY4181" fmla="*/ 3082290 h 3355086"/>
                <a:gd name="connsiteX4182" fmla="*/ 812958 w 3359086"/>
                <a:gd name="connsiteY4182" fmla="*/ 3083815 h 3355086"/>
                <a:gd name="connsiteX4183" fmla="*/ 816292 w 3359086"/>
                <a:gd name="connsiteY4183" fmla="*/ 3087148 h 3355086"/>
                <a:gd name="connsiteX4184" fmla="*/ 814435 w 3359086"/>
                <a:gd name="connsiteY4184" fmla="*/ 3089006 h 3355086"/>
                <a:gd name="connsiteX4185" fmla="*/ 817625 w 3359086"/>
                <a:gd name="connsiteY4185" fmla="*/ 3092196 h 3355086"/>
                <a:gd name="connsiteX4186" fmla="*/ 815482 w 3359086"/>
                <a:gd name="connsiteY4186" fmla="*/ 3094339 h 3355086"/>
                <a:gd name="connsiteX4187" fmla="*/ 818673 w 3359086"/>
                <a:gd name="connsiteY4187" fmla="*/ 3097530 h 3355086"/>
                <a:gd name="connsiteX4188" fmla="*/ 815863 w 3359086"/>
                <a:gd name="connsiteY4188" fmla="*/ 3100340 h 3355086"/>
                <a:gd name="connsiteX4189" fmla="*/ 819054 w 3359086"/>
                <a:gd name="connsiteY4189" fmla="*/ 3103531 h 3355086"/>
                <a:gd name="connsiteX4190" fmla="*/ 814578 w 3359086"/>
                <a:gd name="connsiteY4190" fmla="*/ 3108007 h 3355086"/>
                <a:gd name="connsiteX4191" fmla="*/ 816483 w 3359086"/>
                <a:gd name="connsiteY4191" fmla="*/ 3109912 h 3355086"/>
                <a:gd name="connsiteX4192" fmla="*/ 812864 w 3359086"/>
                <a:gd name="connsiteY4192" fmla="*/ 3113532 h 3355086"/>
                <a:gd name="connsiteX4193" fmla="*/ 809244 w 3359086"/>
                <a:gd name="connsiteY4193" fmla="*/ 3109912 h 3355086"/>
                <a:gd name="connsiteX4194" fmla="*/ 811149 w 3359086"/>
                <a:gd name="connsiteY4194" fmla="*/ 3108008 h 3355086"/>
                <a:gd name="connsiteX4195" fmla="*/ 806672 w 3359086"/>
                <a:gd name="connsiteY4195" fmla="*/ 3103531 h 3355086"/>
                <a:gd name="connsiteX4196" fmla="*/ 809482 w 3359086"/>
                <a:gd name="connsiteY4196" fmla="*/ 3100721 h 3355086"/>
                <a:gd name="connsiteX4197" fmla="*/ 806291 w 3359086"/>
                <a:gd name="connsiteY4197" fmla="*/ 3097530 h 3355086"/>
                <a:gd name="connsiteX4198" fmla="*/ 808434 w 3359086"/>
                <a:gd name="connsiteY4198" fmla="*/ 3095387 h 3355086"/>
                <a:gd name="connsiteX4199" fmla="*/ 805243 w 3359086"/>
                <a:gd name="connsiteY4199" fmla="*/ 3092196 h 3355086"/>
                <a:gd name="connsiteX4200" fmla="*/ 807101 w 3359086"/>
                <a:gd name="connsiteY4200" fmla="*/ 3090339 h 3355086"/>
                <a:gd name="connsiteX4201" fmla="*/ 803910 w 3359086"/>
                <a:gd name="connsiteY4201" fmla="*/ 3087148 h 3355086"/>
                <a:gd name="connsiteX4202" fmla="*/ 805434 w 3359086"/>
                <a:gd name="connsiteY4202" fmla="*/ 3085624 h 3355086"/>
                <a:gd name="connsiteX4203" fmla="*/ 802100 w 3359086"/>
                <a:gd name="connsiteY4203" fmla="*/ 3082290 h 3355086"/>
                <a:gd name="connsiteX4204" fmla="*/ 803386 w 3359086"/>
                <a:gd name="connsiteY4204" fmla="*/ 3081005 h 3355086"/>
                <a:gd name="connsiteX4205" fmla="*/ 799909 w 3359086"/>
                <a:gd name="connsiteY4205" fmla="*/ 3077528 h 3355086"/>
                <a:gd name="connsiteX4206" fmla="*/ 801053 w 3359086"/>
                <a:gd name="connsiteY4206" fmla="*/ 3076385 h 3355086"/>
                <a:gd name="connsiteX4207" fmla="*/ 797528 w 3359086"/>
                <a:gd name="connsiteY4207" fmla="*/ 3072860 h 3355086"/>
                <a:gd name="connsiteX4208" fmla="*/ 798671 w 3359086"/>
                <a:gd name="connsiteY4208" fmla="*/ 3071718 h 3355086"/>
                <a:gd name="connsiteX4209" fmla="*/ 794861 w 3359086"/>
                <a:gd name="connsiteY4209" fmla="*/ 3067907 h 3355086"/>
                <a:gd name="connsiteX4210" fmla="*/ 796147 w 3359086"/>
                <a:gd name="connsiteY4210" fmla="*/ 3066622 h 3355086"/>
                <a:gd name="connsiteX4211" fmla="*/ 792099 w 3359086"/>
                <a:gd name="connsiteY4211" fmla="*/ 3062573 h 3355086"/>
                <a:gd name="connsiteX4212" fmla="*/ 793575 w 3359086"/>
                <a:gd name="connsiteY4212" fmla="*/ 3061097 h 3355086"/>
                <a:gd name="connsiteX4213" fmla="*/ 789241 w 3359086"/>
                <a:gd name="connsiteY4213" fmla="*/ 3056763 h 3355086"/>
                <a:gd name="connsiteX4214" fmla="*/ 791098 w 3359086"/>
                <a:gd name="connsiteY4214" fmla="*/ 3054906 h 3355086"/>
                <a:gd name="connsiteX4215" fmla="*/ 786383 w 3359086"/>
                <a:gd name="connsiteY4215" fmla="*/ 3050191 h 3355086"/>
                <a:gd name="connsiteX4216" fmla="*/ 788717 w 3359086"/>
                <a:gd name="connsiteY4216" fmla="*/ 3047857 h 3355086"/>
                <a:gd name="connsiteX4217" fmla="*/ 783621 w 3359086"/>
                <a:gd name="connsiteY4217" fmla="*/ 3042761 h 3355086"/>
                <a:gd name="connsiteX4218" fmla="*/ 786669 w 3359086"/>
                <a:gd name="connsiteY4218" fmla="*/ 3039713 h 3355086"/>
                <a:gd name="connsiteX4219" fmla="*/ 781050 w 3359086"/>
                <a:gd name="connsiteY4219" fmla="*/ 3034094 h 3355086"/>
                <a:gd name="connsiteX4220" fmla="*/ 787241 w 3359086"/>
                <a:gd name="connsiteY4220" fmla="*/ 3027903 h 3355086"/>
                <a:gd name="connsiteX4221" fmla="*/ 1296542 w 3359086"/>
                <a:gd name="connsiteY4221" fmla="*/ 3027521 h 3355086"/>
                <a:gd name="connsiteX4222" fmla="*/ 1302734 w 3359086"/>
                <a:gd name="connsiteY4222" fmla="*/ 3033712 h 3355086"/>
                <a:gd name="connsiteX4223" fmla="*/ 1296542 w 3359086"/>
                <a:gd name="connsiteY4223" fmla="*/ 3039904 h 3355086"/>
                <a:gd name="connsiteX4224" fmla="*/ 1290351 w 3359086"/>
                <a:gd name="connsiteY4224" fmla="*/ 3033712 h 3355086"/>
                <a:gd name="connsiteX4225" fmla="*/ 1296542 w 3359086"/>
                <a:gd name="connsiteY4225" fmla="*/ 3027521 h 3355086"/>
                <a:gd name="connsiteX4226" fmla="*/ 1114615 w 3359086"/>
                <a:gd name="connsiteY4226" fmla="*/ 3025331 h 3355086"/>
                <a:gd name="connsiteX4227" fmla="*/ 1120806 w 3359086"/>
                <a:gd name="connsiteY4227" fmla="*/ 3031522 h 3355086"/>
                <a:gd name="connsiteX4228" fmla="*/ 1114615 w 3359086"/>
                <a:gd name="connsiteY4228" fmla="*/ 3037714 h 3355086"/>
                <a:gd name="connsiteX4229" fmla="*/ 1108424 w 3359086"/>
                <a:gd name="connsiteY4229" fmla="*/ 3031522 h 3355086"/>
                <a:gd name="connsiteX4230" fmla="*/ 1114615 w 3359086"/>
                <a:gd name="connsiteY4230" fmla="*/ 3025331 h 3355086"/>
                <a:gd name="connsiteX4231" fmla="*/ 887063 w 3359086"/>
                <a:gd name="connsiteY4231" fmla="*/ 3025236 h 3355086"/>
                <a:gd name="connsiteX4232" fmla="*/ 893254 w 3359086"/>
                <a:gd name="connsiteY4232" fmla="*/ 3031427 h 3355086"/>
                <a:gd name="connsiteX4233" fmla="*/ 887063 w 3359086"/>
                <a:gd name="connsiteY4233" fmla="*/ 3037618 h 3355086"/>
                <a:gd name="connsiteX4234" fmla="*/ 880872 w 3359086"/>
                <a:gd name="connsiteY4234" fmla="*/ 3031427 h 3355086"/>
                <a:gd name="connsiteX4235" fmla="*/ 887063 w 3359086"/>
                <a:gd name="connsiteY4235" fmla="*/ 3025236 h 3355086"/>
                <a:gd name="connsiteX4236" fmla="*/ 2563939 w 3359086"/>
                <a:gd name="connsiteY4236" fmla="*/ 3024093 h 3355086"/>
                <a:gd name="connsiteX4237" fmla="*/ 2570130 w 3359086"/>
                <a:gd name="connsiteY4237" fmla="*/ 3030284 h 3355086"/>
                <a:gd name="connsiteX4238" fmla="*/ 2564511 w 3359086"/>
                <a:gd name="connsiteY4238" fmla="*/ 3035904 h 3355086"/>
                <a:gd name="connsiteX4239" fmla="*/ 2566701 w 3359086"/>
                <a:gd name="connsiteY4239" fmla="*/ 3038094 h 3355086"/>
                <a:gd name="connsiteX4240" fmla="*/ 2561510 w 3359086"/>
                <a:gd name="connsiteY4240" fmla="*/ 3043286 h 3355086"/>
                <a:gd name="connsiteX4241" fmla="*/ 2563177 w 3359086"/>
                <a:gd name="connsiteY4241" fmla="*/ 3044952 h 3355086"/>
                <a:gd name="connsiteX4242" fmla="*/ 2558319 w 3359086"/>
                <a:gd name="connsiteY4242" fmla="*/ 3049810 h 3355086"/>
                <a:gd name="connsiteX4243" fmla="*/ 2559653 w 3359086"/>
                <a:gd name="connsiteY4243" fmla="*/ 3051143 h 3355086"/>
                <a:gd name="connsiteX4244" fmla="*/ 2555176 w 3359086"/>
                <a:gd name="connsiteY4244" fmla="*/ 3055620 h 3355086"/>
                <a:gd name="connsiteX4245" fmla="*/ 2556319 w 3359086"/>
                <a:gd name="connsiteY4245" fmla="*/ 3056763 h 3355086"/>
                <a:gd name="connsiteX4246" fmla="*/ 2552080 w 3359086"/>
                <a:gd name="connsiteY4246" fmla="*/ 3061002 h 3355086"/>
                <a:gd name="connsiteX4247" fmla="*/ 2553175 w 3359086"/>
                <a:gd name="connsiteY4247" fmla="*/ 3062097 h 3355086"/>
                <a:gd name="connsiteX4248" fmla="*/ 2549127 w 3359086"/>
                <a:gd name="connsiteY4248" fmla="*/ 3066145 h 3355086"/>
                <a:gd name="connsiteX4249" fmla="*/ 2550223 w 3359086"/>
                <a:gd name="connsiteY4249" fmla="*/ 3067240 h 3355086"/>
                <a:gd name="connsiteX4250" fmla="*/ 2546461 w 3359086"/>
                <a:gd name="connsiteY4250" fmla="*/ 3071003 h 3355086"/>
                <a:gd name="connsiteX4251" fmla="*/ 2547747 w 3359086"/>
                <a:gd name="connsiteY4251" fmla="*/ 3072289 h 3355086"/>
                <a:gd name="connsiteX4252" fmla="*/ 2544031 w 3359086"/>
                <a:gd name="connsiteY4252" fmla="*/ 3076004 h 3355086"/>
                <a:gd name="connsiteX4253" fmla="*/ 2545555 w 3359086"/>
                <a:gd name="connsiteY4253" fmla="*/ 3077528 h 3355086"/>
                <a:gd name="connsiteX4254" fmla="*/ 2541984 w 3359086"/>
                <a:gd name="connsiteY4254" fmla="*/ 3081099 h 3355086"/>
                <a:gd name="connsiteX4255" fmla="*/ 2543842 w 3359086"/>
                <a:gd name="connsiteY4255" fmla="*/ 3082957 h 3355086"/>
                <a:gd name="connsiteX4256" fmla="*/ 2540270 w 3359086"/>
                <a:gd name="connsiteY4256" fmla="*/ 3086529 h 3355086"/>
                <a:gd name="connsiteX4257" fmla="*/ 2542603 w 3359086"/>
                <a:gd name="connsiteY4257" fmla="*/ 3088862 h 3355086"/>
                <a:gd name="connsiteX4258" fmla="*/ 2539078 w 3359086"/>
                <a:gd name="connsiteY4258" fmla="*/ 3092387 h 3355086"/>
                <a:gd name="connsiteX4259" fmla="*/ 2541840 w 3359086"/>
                <a:gd name="connsiteY4259" fmla="*/ 3095149 h 3355086"/>
                <a:gd name="connsiteX4260" fmla="*/ 2538316 w 3359086"/>
                <a:gd name="connsiteY4260" fmla="*/ 3098673 h 3355086"/>
                <a:gd name="connsiteX4261" fmla="*/ 2541650 w 3359086"/>
                <a:gd name="connsiteY4261" fmla="*/ 3102007 h 3355086"/>
                <a:gd name="connsiteX4262" fmla="*/ 2538079 w 3359086"/>
                <a:gd name="connsiteY4262" fmla="*/ 3105579 h 3355086"/>
                <a:gd name="connsiteX4263" fmla="*/ 2542032 w 3359086"/>
                <a:gd name="connsiteY4263" fmla="*/ 3109531 h 3355086"/>
                <a:gd name="connsiteX4264" fmla="*/ 2535840 w 3359086"/>
                <a:gd name="connsiteY4264" fmla="*/ 3115723 h 3355086"/>
                <a:gd name="connsiteX4265" fmla="*/ 2529649 w 3359086"/>
                <a:gd name="connsiteY4265" fmla="*/ 3109531 h 3355086"/>
                <a:gd name="connsiteX4266" fmla="*/ 2533220 w 3359086"/>
                <a:gd name="connsiteY4266" fmla="*/ 3105960 h 3355086"/>
                <a:gd name="connsiteX4267" fmla="*/ 2529268 w 3359086"/>
                <a:gd name="connsiteY4267" fmla="*/ 3102007 h 3355086"/>
                <a:gd name="connsiteX4268" fmla="*/ 2532792 w 3359086"/>
                <a:gd name="connsiteY4268" fmla="*/ 3098483 h 3355086"/>
                <a:gd name="connsiteX4269" fmla="*/ 2529458 w 3359086"/>
                <a:gd name="connsiteY4269" fmla="*/ 3095149 h 3355086"/>
                <a:gd name="connsiteX4270" fmla="*/ 2532983 w 3359086"/>
                <a:gd name="connsiteY4270" fmla="*/ 3091624 h 3355086"/>
                <a:gd name="connsiteX4271" fmla="*/ 2530221 w 3359086"/>
                <a:gd name="connsiteY4271" fmla="*/ 3088862 h 3355086"/>
                <a:gd name="connsiteX4272" fmla="*/ 2533793 w 3359086"/>
                <a:gd name="connsiteY4272" fmla="*/ 3085291 h 3355086"/>
                <a:gd name="connsiteX4273" fmla="*/ 2531459 w 3359086"/>
                <a:gd name="connsiteY4273" fmla="*/ 3082957 h 3355086"/>
                <a:gd name="connsiteX4274" fmla="*/ 2535031 w 3359086"/>
                <a:gd name="connsiteY4274" fmla="*/ 3079386 h 3355086"/>
                <a:gd name="connsiteX4275" fmla="*/ 2533173 w 3359086"/>
                <a:gd name="connsiteY4275" fmla="*/ 3077528 h 3355086"/>
                <a:gd name="connsiteX4276" fmla="*/ 2536888 w 3359086"/>
                <a:gd name="connsiteY4276" fmla="*/ 3073813 h 3355086"/>
                <a:gd name="connsiteX4277" fmla="*/ 2535364 w 3359086"/>
                <a:gd name="connsiteY4277" fmla="*/ 3072289 h 3355086"/>
                <a:gd name="connsiteX4278" fmla="*/ 2539127 w 3359086"/>
                <a:gd name="connsiteY4278" fmla="*/ 3068526 h 3355086"/>
                <a:gd name="connsiteX4279" fmla="*/ 2537841 w 3359086"/>
                <a:gd name="connsiteY4279" fmla="*/ 3067240 h 3355086"/>
                <a:gd name="connsiteX4280" fmla="*/ 2541889 w 3359086"/>
                <a:gd name="connsiteY4280" fmla="*/ 3063193 h 3355086"/>
                <a:gd name="connsiteX4281" fmla="*/ 2540793 w 3359086"/>
                <a:gd name="connsiteY4281" fmla="*/ 3062097 h 3355086"/>
                <a:gd name="connsiteX4282" fmla="*/ 2545031 w 3359086"/>
                <a:gd name="connsiteY4282" fmla="*/ 3057859 h 3355086"/>
                <a:gd name="connsiteX4283" fmla="*/ 2543936 w 3359086"/>
                <a:gd name="connsiteY4283" fmla="*/ 3056763 h 3355086"/>
                <a:gd name="connsiteX4284" fmla="*/ 2548413 w 3359086"/>
                <a:gd name="connsiteY4284" fmla="*/ 3052286 h 3355086"/>
                <a:gd name="connsiteX4285" fmla="*/ 2547270 w 3359086"/>
                <a:gd name="connsiteY4285" fmla="*/ 3051143 h 3355086"/>
                <a:gd name="connsiteX4286" fmla="*/ 2552127 w 3359086"/>
                <a:gd name="connsiteY4286" fmla="*/ 3046286 h 3355086"/>
                <a:gd name="connsiteX4287" fmla="*/ 2550794 w 3359086"/>
                <a:gd name="connsiteY4287" fmla="*/ 3044952 h 3355086"/>
                <a:gd name="connsiteX4288" fmla="*/ 2555985 w 3359086"/>
                <a:gd name="connsiteY4288" fmla="*/ 3039761 h 3355086"/>
                <a:gd name="connsiteX4289" fmla="*/ 2554319 w 3359086"/>
                <a:gd name="connsiteY4289" fmla="*/ 3038094 h 3355086"/>
                <a:gd name="connsiteX4290" fmla="*/ 2559939 w 3359086"/>
                <a:gd name="connsiteY4290" fmla="*/ 3032475 h 3355086"/>
                <a:gd name="connsiteX4291" fmla="*/ 2557748 w 3359086"/>
                <a:gd name="connsiteY4291" fmla="*/ 3030284 h 3355086"/>
                <a:gd name="connsiteX4292" fmla="*/ 2563939 w 3359086"/>
                <a:gd name="connsiteY4292" fmla="*/ 3024093 h 3355086"/>
                <a:gd name="connsiteX4293" fmla="*/ 2080164 w 3359086"/>
                <a:gd name="connsiteY4293" fmla="*/ 3020092 h 3355086"/>
                <a:gd name="connsiteX4294" fmla="*/ 2086355 w 3359086"/>
                <a:gd name="connsiteY4294" fmla="*/ 3026283 h 3355086"/>
                <a:gd name="connsiteX4295" fmla="*/ 2080164 w 3359086"/>
                <a:gd name="connsiteY4295" fmla="*/ 3032474 h 3355086"/>
                <a:gd name="connsiteX4296" fmla="*/ 2073973 w 3359086"/>
                <a:gd name="connsiteY4296" fmla="*/ 3026283 h 3355086"/>
                <a:gd name="connsiteX4297" fmla="*/ 2080164 w 3359086"/>
                <a:gd name="connsiteY4297" fmla="*/ 3020092 h 3355086"/>
                <a:gd name="connsiteX4298" fmla="*/ 2340387 w 3359086"/>
                <a:gd name="connsiteY4298" fmla="*/ 3019235 h 3355086"/>
                <a:gd name="connsiteX4299" fmla="*/ 2346579 w 3359086"/>
                <a:gd name="connsiteY4299" fmla="*/ 3025426 h 3355086"/>
                <a:gd name="connsiteX4300" fmla="*/ 2340387 w 3359086"/>
                <a:gd name="connsiteY4300" fmla="*/ 3031617 h 3355086"/>
                <a:gd name="connsiteX4301" fmla="*/ 2334196 w 3359086"/>
                <a:gd name="connsiteY4301" fmla="*/ 3025426 h 3355086"/>
                <a:gd name="connsiteX4302" fmla="*/ 2340387 w 3359086"/>
                <a:gd name="connsiteY4302" fmla="*/ 3019235 h 3355086"/>
                <a:gd name="connsiteX4303" fmla="*/ 2412586 w 3359086"/>
                <a:gd name="connsiteY4303" fmla="*/ 3017996 h 3355086"/>
                <a:gd name="connsiteX4304" fmla="*/ 2418778 w 3359086"/>
                <a:gd name="connsiteY4304" fmla="*/ 3024187 h 3355086"/>
                <a:gd name="connsiteX4305" fmla="*/ 2412586 w 3359086"/>
                <a:gd name="connsiteY4305" fmla="*/ 3030379 h 3355086"/>
                <a:gd name="connsiteX4306" fmla="*/ 2406395 w 3359086"/>
                <a:gd name="connsiteY4306" fmla="*/ 3024187 h 3355086"/>
                <a:gd name="connsiteX4307" fmla="*/ 2412586 w 3359086"/>
                <a:gd name="connsiteY4307" fmla="*/ 3017996 h 3355086"/>
                <a:gd name="connsiteX4308" fmla="*/ 784955 w 3359086"/>
                <a:gd name="connsiteY4308" fmla="*/ 3017806 h 3355086"/>
                <a:gd name="connsiteX4309" fmla="*/ 791146 w 3359086"/>
                <a:gd name="connsiteY4309" fmla="*/ 3023997 h 3355086"/>
                <a:gd name="connsiteX4310" fmla="*/ 784955 w 3359086"/>
                <a:gd name="connsiteY4310" fmla="*/ 3030188 h 3355086"/>
                <a:gd name="connsiteX4311" fmla="*/ 778764 w 3359086"/>
                <a:gd name="connsiteY4311" fmla="*/ 3023997 h 3355086"/>
                <a:gd name="connsiteX4312" fmla="*/ 784955 w 3359086"/>
                <a:gd name="connsiteY4312" fmla="*/ 3017806 h 3355086"/>
                <a:gd name="connsiteX4313" fmla="*/ 2527458 w 3359086"/>
                <a:gd name="connsiteY4313" fmla="*/ 3017425 h 3355086"/>
                <a:gd name="connsiteX4314" fmla="*/ 2533649 w 3359086"/>
                <a:gd name="connsiteY4314" fmla="*/ 3023616 h 3355086"/>
                <a:gd name="connsiteX4315" fmla="*/ 2527458 w 3359086"/>
                <a:gd name="connsiteY4315" fmla="*/ 3029807 h 3355086"/>
                <a:gd name="connsiteX4316" fmla="*/ 2521267 w 3359086"/>
                <a:gd name="connsiteY4316" fmla="*/ 3023616 h 3355086"/>
                <a:gd name="connsiteX4317" fmla="*/ 2527458 w 3359086"/>
                <a:gd name="connsiteY4317" fmla="*/ 3017425 h 3355086"/>
                <a:gd name="connsiteX4318" fmla="*/ 831055 w 3359086"/>
                <a:gd name="connsiteY4318" fmla="*/ 3016949 h 3355086"/>
                <a:gd name="connsiteX4319" fmla="*/ 837247 w 3359086"/>
                <a:gd name="connsiteY4319" fmla="*/ 3023140 h 3355086"/>
                <a:gd name="connsiteX4320" fmla="*/ 831055 w 3359086"/>
                <a:gd name="connsiteY4320" fmla="*/ 3029331 h 3355086"/>
                <a:gd name="connsiteX4321" fmla="*/ 824864 w 3359086"/>
                <a:gd name="connsiteY4321" fmla="*/ 3023140 h 3355086"/>
                <a:gd name="connsiteX4322" fmla="*/ 831055 w 3359086"/>
                <a:gd name="connsiteY4322" fmla="*/ 3016949 h 3355086"/>
                <a:gd name="connsiteX4323" fmla="*/ 1690877 w 3359086"/>
                <a:gd name="connsiteY4323" fmla="*/ 3015520 h 3355086"/>
                <a:gd name="connsiteX4324" fmla="*/ 1697069 w 3359086"/>
                <a:gd name="connsiteY4324" fmla="*/ 3021711 h 3355086"/>
                <a:gd name="connsiteX4325" fmla="*/ 1690877 w 3359086"/>
                <a:gd name="connsiteY4325" fmla="*/ 3027903 h 3355086"/>
                <a:gd name="connsiteX4326" fmla="*/ 1684686 w 3359086"/>
                <a:gd name="connsiteY4326" fmla="*/ 3021711 h 3355086"/>
                <a:gd name="connsiteX4327" fmla="*/ 1690877 w 3359086"/>
                <a:gd name="connsiteY4327" fmla="*/ 3015520 h 3355086"/>
                <a:gd name="connsiteX4328" fmla="*/ 2567368 w 3359086"/>
                <a:gd name="connsiteY4328" fmla="*/ 3015139 h 3355086"/>
                <a:gd name="connsiteX4329" fmla="*/ 2573559 w 3359086"/>
                <a:gd name="connsiteY4329" fmla="*/ 3021330 h 3355086"/>
                <a:gd name="connsiteX4330" fmla="*/ 2567368 w 3359086"/>
                <a:gd name="connsiteY4330" fmla="*/ 3027521 h 3355086"/>
                <a:gd name="connsiteX4331" fmla="*/ 2561177 w 3359086"/>
                <a:gd name="connsiteY4331" fmla="*/ 3021330 h 3355086"/>
                <a:gd name="connsiteX4332" fmla="*/ 2567368 w 3359086"/>
                <a:gd name="connsiteY4332" fmla="*/ 3015139 h 3355086"/>
                <a:gd name="connsiteX4333" fmla="*/ 2256948 w 3359086"/>
                <a:gd name="connsiteY4333" fmla="*/ 3015139 h 3355086"/>
                <a:gd name="connsiteX4334" fmla="*/ 2263140 w 3359086"/>
                <a:gd name="connsiteY4334" fmla="*/ 3021330 h 3355086"/>
                <a:gd name="connsiteX4335" fmla="*/ 2256948 w 3359086"/>
                <a:gd name="connsiteY4335" fmla="*/ 3027521 h 3355086"/>
                <a:gd name="connsiteX4336" fmla="*/ 2250757 w 3359086"/>
                <a:gd name="connsiteY4336" fmla="*/ 3021330 h 3355086"/>
                <a:gd name="connsiteX4337" fmla="*/ 2256948 w 3359086"/>
                <a:gd name="connsiteY4337" fmla="*/ 3015139 h 3355086"/>
                <a:gd name="connsiteX4338" fmla="*/ 1598390 w 3359086"/>
                <a:gd name="connsiteY4338" fmla="*/ 3014663 h 3355086"/>
                <a:gd name="connsiteX4339" fmla="*/ 1604582 w 3359086"/>
                <a:gd name="connsiteY4339" fmla="*/ 3020854 h 3355086"/>
                <a:gd name="connsiteX4340" fmla="*/ 1598390 w 3359086"/>
                <a:gd name="connsiteY4340" fmla="*/ 3027046 h 3355086"/>
                <a:gd name="connsiteX4341" fmla="*/ 1592199 w 3359086"/>
                <a:gd name="connsiteY4341" fmla="*/ 3020854 h 3355086"/>
                <a:gd name="connsiteX4342" fmla="*/ 1598390 w 3359086"/>
                <a:gd name="connsiteY4342" fmla="*/ 3014663 h 3355086"/>
                <a:gd name="connsiteX4343" fmla="*/ 749903 w 3359086"/>
                <a:gd name="connsiteY4343" fmla="*/ 3013234 h 3355086"/>
                <a:gd name="connsiteX4344" fmla="*/ 756094 w 3359086"/>
                <a:gd name="connsiteY4344" fmla="*/ 3019425 h 3355086"/>
                <a:gd name="connsiteX4345" fmla="*/ 754094 w 3359086"/>
                <a:gd name="connsiteY4345" fmla="*/ 3021426 h 3355086"/>
                <a:gd name="connsiteX4346" fmla="*/ 760189 w 3359086"/>
                <a:gd name="connsiteY4346" fmla="*/ 3027521 h 3355086"/>
                <a:gd name="connsiteX4347" fmla="*/ 758665 w 3359086"/>
                <a:gd name="connsiteY4347" fmla="*/ 3029045 h 3355086"/>
                <a:gd name="connsiteX4348" fmla="*/ 764285 w 3359086"/>
                <a:gd name="connsiteY4348" fmla="*/ 3034665 h 3355086"/>
                <a:gd name="connsiteX4349" fmla="*/ 763047 w 3359086"/>
                <a:gd name="connsiteY4349" fmla="*/ 3035903 h 3355086"/>
                <a:gd name="connsiteX4350" fmla="*/ 768287 w 3359086"/>
                <a:gd name="connsiteY4350" fmla="*/ 3041142 h 3355086"/>
                <a:gd name="connsiteX4351" fmla="*/ 767239 w 3359086"/>
                <a:gd name="connsiteY4351" fmla="*/ 3042190 h 3355086"/>
                <a:gd name="connsiteX4352" fmla="*/ 772096 w 3359086"/>
                <a:gd name="connsiteY4352" fmla="*/ 3047047 h 3355086"/>
                <a:gd name="connsiteX4353" fmla="*/ 771096 w 3359086"/>
                <a:gd name="connsiteY4353" fmla="*/ 3048048 h 3355086"/>
                <a:gd name="connsiteX4354" fmla="*/ 775716 w 3359086"/>
                <a:gd name="connsiteY4354" fmla="*/ 3052667 h 3355086"/>
                <a:gd name="connsiteX4355" fmla="*/ 774573 w 3359086"/>
                <a:gd name="connsiteY4355" fmla="*/ 3053811 h 3355086"/>
                <a:gd name="connsiteX4356" fmla="*/ 778954 w 3359086"/>
                <a:gd name="connsiteY4356" fmla="*/ 3058192 h 3355086"/>
                <a:gd name="connsiteX4357" fmla="*/ 777668 w 3359086"/>
                <a:gd name="connsiteY4357" fmla="*/ 3059478 h 3355086"/>
                <a:gd name="connsiteX4358" fmla="*/ 781812 w 3359086"/>
                <a:gd name="connsiteY4358" fmla="*/ 3063621 h 3355086"/>
                <a:gd name="connsiteX4359" fmla="*/ 780240 w 3359086"/>
                <a:gd name="connsiteY4359" fmla="*/ 3065193 h 3355086"/>
                <a:gd name="connsiteX4360" fmla="*/ 784288 w 3359086"/>
                <a:gd name="connsiteY4360" fmla="*/ 3069241 h 3355086"/>
                <a:gd name="connsiteX4361" fmla="*/ 782383 w 3359086"/>
                <a:gd name="connsiteY4361" fmla="*/ 3071146 h 3355086"/>
                <a:gd name="connsiteX4362" fmla="*/ 786289 w 3359086"/>
                <a:gd name="connsiteY4362" fmla="*/ 3075051 h 3355086"/>
                <a:gd name="connsiteX4363" fmla="*/ 783955 w 3359086"/>
                <a:gd name="connsiteY4363" fmla="*/ 3077385 h 3355086"/>
                <a:gd name="connsiteX4364" fmla="*/ 787812 w 3359086"/>
                <a:gd name="connsiteY4364" fmla="*/ 3081242 h 3355086"/>
                <a:gd name="connsiteX4365" fmla="*/ 784955 w 3359086"/>
                <a:gd name="connsiteY4365" fmla="*/ 3084100 h 3355086"/>
                <a:gd name="connsiteX4366" fmla="*/ 788670 w 3359086"/>
                <a:gd name="connsiteY4366" fmla="*/ 3087814 h 3355086"/>
                <a:gd name="connsiteX4367" fmla="*/ 782478 w 3359086"/>
                <a:gd name="connsiteY4367" fmla="*/ 3094006 h 3355086"/>
                <a:gd name="connsiteX4368" fmla="*/ 776287 w 3359086"/>
                <a:gd name="connsiteY4368" fmla="*/ 3087814 h 3355086"/>
                <a:gd name="connsiteX4369" fmla="*/ 779144 w 3359086"/>
                <a:gd name="connsiteY4369" fmla="*/ 3084957 h 3355086"/>
                <a:gd name="connsiteX4370" fmla="*/ 775430 w 3359086"/>
                <a:gd name="connsiteY4370" fmla="*/ 3081242 h 3355086"/>
                <a:gd name="connsiteX4371" fmla="*/ 777763 w 3359086"/>
                <a:gd name="connsiteY4371" fmla="*/ 3078909 h 3355086"/>
                <a:gd name="connsiteX4372" fmla="*/ 773906 w 3359086"/>
                <a:gd name="connsiteY4372" fmla="*/ 3075051 h 3355086"/>
                <a:gd name="connsiteX4373" fmla="*/ 775811 w 3359086"/>
                <a:gd name="connsiteY4373" fmla="*/ 3073146 h 3355086"/>
                <a:gd name="connsiteX4374" fmla="*/ 771906 w 3359086"/>
                <a:gd name="connsiteY4374" fmla="*/ 3069241 h 3355086"/>
                <a:gd name="connsiteX4375" fmla="*/ 773478 w 3359086"/>
                <a:gd name="connsiteY4375" fmla="*/ 3067670 h 3355086"/>
                <a:gd name="connsiteX4376" fmla="*/ 769429 w 3359086"/>
                <a:gd name="connsiteY4376" fmla="*/ 3063621 h 3355086"/>
                <a:gd name="connsiteX4377" fmla="*/ 770715 w 3359086"/>
                <a:gd name="connsiteY4377" fmla="*/ 3062335 h 3355086"/>
                <a:gd name="connsiteX4378" fmla="*/ 766572 w 3359086"/>
                <a:gd name="connsiteY4378" fmla="*/ 3058192 h 3355086"/>
                <a:gd name="connsiteX4379" fmla="*/ 767715 w 3359086"/>
                <a:gd name="connsiteY4379" fmla="*/ 3057050 h 3355086"/>
                <a:gd name="connsiteX4380" fmla="*/ 763333 w 3359086"/>
                <a:gd name="connsiteY4380" fmla="*/ 3052667 h 3355086"/>
                <a:gd name="connsiteX4381" fmla="*/ 764333 w 3359086"/>
                <a:gd name="connsiteY4381" fmla="*/ 3051667 h 3355086"/>
                <a:gd name="connsiteX4382" fmla="*/ 759714 w 3359086"/>
                <a:gd name="connsiteY4382" fmla="*/ 3047047 h 3355086"/>
                <a:gd name="connsiteX4383" fmla="*/ 760761 w 3359086"/>
                <a:gd name="connsiteY4383" fmla="*/ 3046000 h 3355086"/>
                <a:gd name="connsiteX4384" fmla="*/ 755904 w 3359086"/>
                <a:gd name="connsiteY4384" fmla="*/ 3041142 h 3355086"/>
                <a:gd name="connsiteX4385" fmla="*/ 757142 w 3359086"/>
                <a:gd name="connsiteY4385" fmla="*/ 3039904 h 3355086"/>
                <a:gd name="connsiteX4386" fmla="*/ 751903 w 3359086"/>
                <a:gd name="connsiteY4386" fmla="*/ 3034665 h 3355086"/>
                <a:gd name="connsiteX4387" fmla="*/ 753427 w 3359086"/>
                <a:gd name="connsiteY4387" fmla="*/ 3033141 h 3355086"/>
                <a:gd name="connsiteX4388" fmla="*/ 747807 w 3359086"/>
                <a:gd name="connsiteY4388" fmla="*/ 3027521 h 3355086"/>
                <a:gd name="connsiteX4389" fmla="*/ 749807 w 3359086"/>
                <a:gd name="connsiteY4389" fmla="*/ 3025521 h 3355086"/>
                <a:gd name="connsiteX4390" fmla="*/ 743712 w 3359086"/>
                <a:gd name="connsiteY4390" fmla="*/ 3019425 h 3355086"/>
                <a:gd name="connsiteX4391" fmla="*/ 749903 w 3359086"/>
                <a:gd name="connsiteY4391" fmla="*/ 3013234 h 3355086"/>
                <a:gd name="connsiteX4392" fmla="*/ 1214056 w 3359086"/>
                <a:gd name="connsiteY4392" fmla="*/ 3013044 h 3355086"/>
                <a:gd name="connsiteX4393" fmla="*/ 1220248 w 3359086"/>
                <a:gd name="connsiteY4393" fmla="*/ 3019235 h 3355086"/>
                <a:gd name="connsiteX4394" fmla="*/ 1214056 w 3359086"/>
                <a:gd name="connsiteY4394" fmla="*/ 3025426 h 3355086"/>
                <a:gd name="connsiteX4395" fmla="*/ 1207865 w 3359086"/>
                <a:gd name="connsiteY4395" fmla="*/ 3019235 h 3355086"/>
                <a:gd name="connsiteX4396" fmla="*/ 1214056 w 3359086"/>
                <a:gd name="connsiteY4396" fmla="*/ 3013044 h 3355086"/>
                <a:gd name="connsiteX4397" fmla="*/ 1783079 w 3359086"/>
                <a:gd name="connsiteY4397" fmla="*/ 3012853 h 3355086"/>
                <a:gd name="connsiteX4398" fmla="*/ 1789271 w 3359086"/>
                <a:gd name="connsiteY4398" fmla="*/ 3019044 h 3355086"/>
                <a:gd name="connsiteX4399" fmla="*/ 1783079 w 3359086"/>
                <a:gd name="connsiteY4399" fmla="*/ 3025236 h 3355086"/>
                <a:gd name="connsiteX4400" fmla="*/ 1776888 w 3359086"/>
                <a:gd name="connsiteY4400" fmla="*/ 3019044 h 3355086"/>
                <a:gd name="connsiteX4401" fmla="*/ 1783079 w 3359086"/>
                <a:gd name="connsiteY4401" fmla="*/ 3012853 h 3355086"/>
                <a:gd name="connsiteX4402" fmla="*/ 2474594 w 3359086"/>
                <a:gd name="connsiteY4402" fmla="*/ 3012567 h 3355086"/>
                <a:gd name="connsiteX4403" fmla="*/ 2480786 w 3359086"/>
                <a:gd name="connsiteY4403" fmla="*/ 3018758 h 3355086"/>
                <a:gd name="connsiteX4404" fmla="*/ 2474594 w 3359086"/>
                <a:gd name="connsiteY4404" fmla="*/ 3024950 h 3355086"/>
                <a:gd name="connsiteX4405" fmla="*/ 2468403 w 3359086"/>
                <a:gd name="connsiteY4405" fmla="*/ 3018758 h 3355086"/>
                <a:gd name="connsiteX4406" fmla="*/ 2474594 w 3359086"/>
                <a:gd name="connsiteY4406" fmla="*/ 3012567 h 3355086"/>
                <a:gd name="connsiteX4407" fmla="*/ 1506473 w 3359086"/>
                <a:gd name="connsiteY4407" fmla="*/ 3010567 h 3355086"/>
                <a:gd name="connsiteX4408" fmla="*/ 1512665 w 3359086"/>
                <a:gd name="connsiteY4408" fmla="*/ 3016758 h 3355086"/>
                <a:gd name="connsiteX4409" fmla="*/ 1506473 w 3359086"/>
                <a:gd name="connsiteY4409" fmla="*/ 3022949 h 3355086"/>
                <a:gd name="connsiteX4410" fmla="*/ 1500282 w 3359086"/>
                <a:gd name="connsiteY4410" fmla="*/ 3016758 h 3355086"/>
                <a:gd name="connsiteX4411" fmla="*/ 1506473 w 3359086"/>
                <a:gd name="connsiteY4411" fmla="*/ 3010567 h 3355086"/>
                <a:gd name="connsiteX4412" fmla="*/ 2597943 w 3359086"/>
                <a:gd name="connsiteY4412" fmla="*/ 3009043 h 3355086"/>
                <a:gd name="connsiteX4413" fmla="*/ 2604134 w 3359086"/>
                <a:gd name="connsiteY4413" fmla="*/ 3015234 h 3355086"/>
                <a:gd name="connsiteX4414" fmla="*/ 2598039 w 3359086"/>
                <a:gd name="connsiteY4414" fmla="*/ 3021330 h 3355086"/>
                <a:gd name="connsiteX4415" fmla="*/ 2599468 w 3359086"/>
                <a:gd name="connsiteY4415" fmla="*/ 3022759 h 3355086"/>
                <a:gd name="connsiteX4416" fmla="*/ 2593800 w 3359086"/>
                <a:gd name="connsiteY4416" fmla="*/ 3028426 h 3355086"/>
                <a:gd name="connsiteX4417" fmla="*/ 2594895 w 3359086"/>
                <a:gd name="connsiteY4417" fmla="*/ 3029521 h 3355086"/>
                <a:gd name="connsiteX4418" fmla="*/ 2589561 w 3359086"/>
                <a:gd name="connsiteY4418" fmla="*/ 3034856 h 3355086"/>
                <a:gd name="connsiteX4419" fmla="*/ 2590609 w 3359086"/>
                <a:gd name="connsiteY4419" fmla="*/ 3035903 h 3355086"/>
                <a:gd name="connsiteX4420" fmla="*/ 2585608 w 3359086"/>
                <a:gd name="connsiteY4420" fmla="*/ 3040904 h 3355086"/>
                <a:gd name="connsiteX4421" fmla="*/ 2586608 w 3359086"/>
                <a:gd name="connsiteY4421" fmla="*/ 3041904 h 3355086"/>
                <a:gd name="connsiteX4422" fmla="*/ 2581894 w 3359086"/>
                <a:gd name="connsiteY4422" fmla="*/ 3046619 h 3355086"/>
                <a:gd name="connsiteX4423" fmla="*/ 2582989 w 3359086"/>
                <a:gd name="connsiteY4423" fmla="*/ 3047714 h 3355086"/>
                <a:gd name="connsiteX4424" fmla="*/ 2578369 w 3359086"/>
                <a:gd name="connsiteY4424" fmla="*/ 3052334 h 3355086"/>
                <a:gd name="connsiteX4425" fmla="*/ 2579655 w 3359086"/>
                <a:gd name="connsiteY4425" fmla="*/ 3053620 h 3355086"/>
                <a:gd name="connsiteX4426" fmla="*/ 2575274 w 3359086"/>
                <a:gd name="connsiteY4426" fmla="*/ 3058002 h 3355086"/>
                <a:gd name="connsiteX4427" fmla="*/ 2576893 w 3359086"/>
                <a:gd name="connsiteY4427" fmla="*/ 3059620 h 3355086"/>
                <a:gd name="connsiteX4428" fmla="*/ 2572654 w 3359086"/>
                <a:gd name="connsiteY4428" fmla="*/ 3063859 h 3355086"/>
                <a:gd name="connsiteX4429" fmla="*/ 2574607 w 3359086"/>
                <a:gd name="connsiteY4429" fmla="*/ 3065812 h 3355086"/>
                <a:gd name="connsiteX4430" fmla="*/ 2570464 w 3359086"/>
                <a:gd name="connsiteY4430" fmla="*/ 3069956 h 3355086"/>
                <a:gd name="connsiteX4431" fmla="*/ 2572892 w 3359086"/>
                <a:gd name="connsiteY4431" fmla="*/ 3072384 h 3355086"/>
                <a:gd name="connsiteX4432" fmla="*/ 2568749 w 3359086"/>
                <a:gd name="connsiteY4432" fmla="*/ 3076528 h 3355086"/>
                <a:gd name="connsiteX4433" fmla="*/ 2571749 w 3359086"/>
                <a:gd name="connsiteY4433" fmla="*/ 3079528 h 3355086"/>
                <a:gd name="connsiteX4434" fmla="*/ 2567702 w 3359086"/>
                <a:gd name="connsiteY4434" fmla="*/ 3083576 h 3355086"/>
                <a:gd name="connsiteX4435" fmla="*/ 2571274 w 3359086"/>
                <a:gd name="connsiteY4435" fmla="*/ 3087148 h 3355086"/>
                <a:gd name="connsiteX4436" fmla="*/ 2567177 w 3359086"/>
                <a:gd name="connsiteY4436" fmla="*/ 3091244 h 3355086"/>
                <a:gd name="connsiteX4437" fmla="*/ 2571273 w 3359086"/>
                <a:gd name="connsiteY4437" fmla="*/ 3095340 h 3355086"/>
                <a:gd name="connsiteX4438" fmla="*/ 2565177 w 3359086"/>
                <a:gd name="connsiteY4438" fmla="*/ 3101436 h 3355086"/>
                <a:gd name="connsiteX4439" fmla="*/ 2559081 w 3359086"/>
                <a:gd name="connsiteY4439" fmla="*/ 3095340 h 3355086"/>
                <a:gd name="connsiteX4440" fmla="*/ 2563082 w 3359086"/>
                <a:gd name="connsiteY4440" fmla="*/ 3091339 h 3355086"/>
                <a:gd name="connsiteX4441" fmla="*/ 2558891 w 3359086"/>
                <a:gd name="connsiteY4441" fmla="*/ 3087148 h 3355086"/>
                <a:gd name="connsiteX4442" fmla="*/ 2562939 w 3359086"/>
                <a:gd name="connsiteY4442" fmla="*/ 3083101 h 3355086"/>
                <a:gd name="connsiteX4443" fmla="*/ 2559367 w 3359086"/>
                <a:gd name="connsiteY4443" fmla="*/ 3079528 h 3355086"/>
                <a:gd name="connsiteX4444" fmla="*/ 2563510 w 3359086"/>
                <a:gd name="connsiteY4444" fmla="*/ 3075385 h 3355086"/>
                <a:gd name="connsiteX4445" fmla="*/ 2560510 w 3359086"/>
                <a:gd name="connsiteY4445" fmla="*/ 3072384 h 3355086"/>
                <a:gd name="connsiteX4446" fmla="*/ 2564653 w 3359086"/>
                <a:gd name="connsiteY4446" fmla="*/ 3068241 h 3355086"/>
                <a:gd name="connsiteX4447" fmla="*/ 2562225 w 3359086"/>
                <a:gd name="connsiteY4447" fmla="*/ 3065812 h 3355086"/>
                <a:gd name="connsiteX4448" fmla="*/ 2566464 w 3359086"/>
                <a:gd name="connsiteY4448" fmla="*/ 3061574 h 3355086"/>
                <a:gd name="connsiteX4449" fmla="*/ 2564510 w 3359086"/>
                <a:gd name="connsiteY4449" fmla="*/ 3059620 h 3355086"/>
                <a:gd name="connsiteX4450" fmla="*/ 2568891 w 3359086"/>
                <a:gd name="connsiteY4450" fmla="*/ 3055239 h 3355086"/>
                <a:gd name="connsiteX4451" fmla="*/ 2567273 w 3359086"/>
                <a:gd name="connsiteY4451" fmla="*/ 3053620 h 3355086"/>
                <a:gd name="connsiteX4452" fmla="*/ 2571893 w 3359086"/>
                <a:gd name="connsiteY4452" fmla="*/ 3049000 h 3355086"/>
                <a:gd name="connsiteX4453" fmla="*/ 2570607 w 3359086"/>
                <a:gd name="connsiteY4453" fmla="*/ 3047714 h 3355086"/>
                <a:gd name="connsiteX4454" fmla="*/ 2575321 w 3359086"/>
                <a:gd name="connsiteY4454" fmla="*/ 3043000 h 3355086"/>
                <a:gd name="connsiteX4455" fmla="*/ 2574226 w 3359086"/>
                <a:gd name="connsiteY4455" fmla="*/ 3041904 h 3355086"/>
                <a:gd name="connsiteX4456" fmla="*/ 2579227 w 3359086"/>
                <a:gd name="connsiteY4456" fmla="*/ 3036904 h 3355086"/>
                <a:gd name="connsiteX4457" fmla="*/ 2578226 w 3359086"/>
                <a:gd name="connsiteY4457" fmla="*/ 3035903 h 3355086"/>
                <a:gd name="connsiteX4458" fmla="*/ 2583560 w 3359086"/>
                <a:gd name="connsiteY4458" fmla="*/ 3030569 h 3355086"/>
                <a:gd name="connsiteX4459" fmla="*/ 2582513 w 3359086"/>
                <a:gd name="connsiteY4459" fmla="*/ 3029521 h 3355086"/>
                <a:gd name="connsiteX4460" fmla="*/ 2588180 w 3359086"/>
                <a:gd name="connsiteY4460" fmla="*/ 3023854 h 3355086"/>
                <a:gd name="connsiteX4461" fmla="*/ 2587085 w 3359086"/>
                <a:gd name="connsiteY4461" fmla="*/ 3022759 h 3355086"/>
                <a:gd name="connsiteX4462" fmla="*/ 2593181 w 3359086"/>
                <a:gd name="connsiteY4462" fmla="*/ 3016663 h 3355086"/>
                <a:gd name="connsiteX4463" fmla="*/ 2591752 w 3359086"/>
                <a:gd name="connsiteY4463" fmla="*/ 3015234 h 3355086"/>
                <a:gd name="connsiteX4464" fmla="*/ 2597943 w 3359086"/>
                <a:gd name="connsiteY4464" fmla="*/ 3009043 h 3355086"/>
                <a:gd name="connsiteX4465" fmla="*/ 961357 w 3359086"/>
                <a:gd name="connsiteY4465" fmla="*/ 3009043 h 3355086"/>
                <a:gd name="connsiteX4466" fmla="*/ 967549 w 3359086"/>
                <a:gd name="connsiteY4466" fmla="*/ 3015234 h 3355086"/>
                <a:gd name="connsiteX4467" fmla="*/ 961357 w 3359086"/>
                <a:gd name="connsiteY4467" fmla="*/ 3021426 h 3355086"/>
                <a:gd name="connsiteX4468" fmla="*/ 955166 w 3359086"/>
                <a:gd name="connsiteY4468" fmla="*/ 3015234 h 3355086"/>
                <a:gd name="connsiteX4469" fmla="*/ 961357 w 3359086"/>
                <a:gd name="connsiteY4469" fmla="*/ 3009043 h 3355086"/>
                <a:gd name="connsiteX4470" fmla="*/ 892111 w 3359086"/>
                <a:gd name="connsiteY4470" fmla="*/ 3007138 h 3355086"/>
                <a:gd name="connsiteX4471" fmla="*/ 898302 w 3359086"/>
                <a:gd name="connsiteY4471" fmla="*/ 3013329 h 3355086"/>
                <a:gd name="connsiteX4472" fmla="*/ 892111 w 3359086"/>
                <a:gd name="connsiteY4472" fmla="*/ 3019520 h 3355086"/>
                <a:gd name="connsiteX4473" fmla="*/ 885920 w 3359086"/>
                <a:gd name="connsiteY4473" fmla="*/ 3013329 h 3355086"/>
                <a:gd name="connsiteX4474" fmla="*/ 892111 w 3359086"/>
                <a:gd name="connsiteY4474" fmla="*/ 3007138 h 3355086"/>
                <a:gd name="connsiteX4475" fmla="*/ 1874519 w 3359086"/>
                <a:gd name="connsiteY4475" fmla="*/ 3006947 h 3355086"/>
                <a:gd name="connsiteX4476" fmla="*/ 1880711 w 3359086"/>
                <a:gd name="connsiteY4476" fmla="*/ 3013138 h 3355086"/>
                <a:gd name="connsiteX4477" fmla="*/ 1874519 w 3359086"/>
                <a:gd name="connsiteY4477" fmla="*/ 3019330 h 3355086"/>
                <a:gd name="connsiteX4478" fmla="*/ 1868328 w 3359086"/>
                <a:gd name="connsiteY4478" fmla="*/ 3013138 h 3355086"/>
                <a:gd name="connsiteX4479" fmla="*/ 1874519 w 3359086"/>
                <a:gd name="connsiteY4479" fmla="*/ 3006947 h 3355086"/>
                <a:gd name="connsiteX4480" fmla="*/ 722661 w 3359086"/>
                <a:gd name="connsiteY4480" fmla="*/ 3006186 h 3355086"/>
                <a:gd name="connsiteX4481" fmla="*/ 728852 w 3359086"/>
                <a:gd name="connsiteY4481" fmla="*/ 3012377 h 3355086"/>
                <a:gd name="connsiteX4482" fmla="*/ 727757 w 3359086"/>
                <a:gd name="connsiteY4482" fmla="*/ 3013472 h 3355086"/>
                <a:gd name="connsiteX4483" fmla="*/ 733806 w 3359086"/>
                <a:gd name="connsiteY4483" fmla="*/ 3019520 h 3355086"/>
                <a:gd name="connsiteX4484" fmla="*/ 732805 w 3359086"/>
                <a:gd name="connsiteY4484" fmla="*/ 3020521 h 3355086"/>
                <a:gd name="connsiteX4485" fmla="*/ 738472 w 3359086"/>
                <a:gd name="connsiteY4485" fmla="*/ 3026188 h 3355086"/>
                <a:gd name="connsiteX4486" fmla="*/ 737520 w 3359086"/>
                <a:gd name="connsiteY4486" fmla="*/ 3027140 h 3355086"/>
                <a:gd name="connsiteX4487" fmla="*/ 742854 w 3359086"/>
                <a:gd name="connsiteY4487" fmla="*/ 3032474 h 3355086"/>
                <a:gd name="connsiteX4488" fmla="*/ 741759 w 3359086"/>
                <a:gd name="connsiteY4488" fmla="*/ 3033570 h 3355086"/>
                <a:gd name="connsiteX4489" fmla="*/ 746855 w 3359086"/>
                <a:gd name="connsiteY4489" fmla="*/ 3038665 h 3355086"/>
                <a:gd name="connsiteX4490" fmla="*/ 745474 w 3359086"/>
                <a:gd name="connsiteY4490" fmla="*/ 3040047 h 3355086"/>
                <a:gd name="connsiteX4491" fmla="*/ 750379 w 3359086"/>
                <a:gd name="connsiteY4491" fmla="*/ 3044952 h 3355086"/>
                <a:gd name="connsiteX4492" fmla="*/ 748760 w 3359086"/>
                <a:gd name="connsiteY4492" fmla="*/ 3046571 h 3355086"/>
                <a:gd name="connsiteX4493" fmla="*/ 753427 w 3359086"/>
                <a:gd name="connsiteY4493" fmla="*/ 3051238 h 3355086"/>
                <a:gd name="connsiteX4494" fmla="*/ 751379 w 3359086"/>
                <a:gd name="connsiteY4494" fmla="*/ 3053287 h 3355086"/>
                <a:gd name="connsiteX4495" fmla="*/ 755904 w 3359086"/>
                <a:gd name="connsiteY4495" fmla="*/ 3057811 h 3355086"/>
                <a:gd name="connsiteX4496" fmla="*/ 753332 w 3359086"/>
                <a:gd name="connsiteY4496" fmla="*/ 3060383 h 3355086"/>
                <a:gd name="connsiteX4497" fmla="*/ 757808 w 3359086"/>
                <a:gd name="connsiteY4497" fmla="*/ 3064859 h 3355086"/>
                <a:gd name="connsiteX4498" fmla="*/ 753379 w 3359086"/>
                <a:gd name="connsiteY4498" fmla="*/ 3069289 h 3355086"/>
                <a:gd name="connsiteX4499" fmla="*/ 756285 w 3359086"/>
                <a:gd name="connsiteY4499" fmla="*/ 3072194 h 3355086"/>
                <a:gd name="connsiteX4500" fmla="*/ 752951 w 3359086"/>
                <a:gd name="connsiteY4500" fmla="*/ 3075528 h 3355086"/>
                <a:gd name="connsiteX4501" fmla="*/ 749617 w 3359086"/>
                <a:gd name="connsiteY4501" fmla="*/ 3072194 h 3355086"/>
                <a:gd name="connsiteX4502" fmla="*/ 751189 w 3359086"/>
                <a:gd name="connsiteY4502" fmla="*/ 3070623 h 3355086"/>
                <a:gd name="connsiteX4503" fmla="*/ 745426 w 3359086"/>
                <a:gd name="connsiteY4503" fmla="*/ 3064859 h 3355086"/>
                <a:gd name="connsiteX4504" fmla="*/ 747997 w 3359086"/>
                <a:gd name="connsiteY4504" fmla="*/ 3062288 h 3355086"/>
                <a:gd name="connsiteX4505" fmla="*/ 743521 w 3359086"/>
                <a:gd name="connsiteY4505" fmla="*/ 3057811 h 3355086"/>
                <a:gd name="connsiteX4506" fmla="*/ 745569 w 3359086"/>
                <a:gd name="connsiteY4506" fmla="*/ 3055763 h 3355086"/>
                <a:gd name="connsiteX4507" fmla="*/ 741045 w 3359086"/>
                <a:gd name="connsiteY4507" fmla="*/ 3051238 h 3355086"/>
                <a:gd name="connsiteX4508" fmla="*/ 742664 w 3359086"/>
                <a:gd name="connsiteY4508" fmla="*/ 3049620 h 3355086"/>
                <a:gd name="connsiteX4509" fmla="*/ 737997 w 3359086"/>
                <a:gd name="connsiteY4509" fmla="*/ 3044952 h 3355086"/>
                <a:gd name="connsiteX4510" fmla="*/ 739378 w 3359086"/>
                <a:gd name="connsiteY4510" fmla="*/ 3043572 h 3355086"/>
                <a:gd name="connsiteX4511" fmla="*/ 734472 w 3359086"/>
                <a:gd name="connsiteY4511" fmla="*/ 3038665 h 3355086"/>
                <a:gd name="connsiteX4512" fmla="*/ 735567 w 3359086"/>
                <a:gd name="connsiteY4512" fmla="*/ 3037570 h 3355086"/>
                <a:gd name="connsiteX4513" fmla="*/ 730472 w 3359086"/>
                <a:gd name="connsiteY4513" fmla="*/ 3032474 h 3355086"/>
                <a:gd name="connsiteX4514" fmla="*/ 731424 w 3359086"/>
                <a:gd name="connsiteY4514" fmla="*/ 3031523 h 3355086"/>
                <a:gd name="connsiteX4515" fmla="*/ 726090 w 3359086"/>
                <a:gd name="connsiteY4515" fmla="*/ 3026188 h 3355086"/>
                <a:gd name="connsiteX4516" fmla="*/ 727091 w 3359086"/>
                <a:gd name="connsiteY4516" fmla="*/ 3025188 h 3355086"/>
                <a:gd name="connsiteX4517" fmla="*/ 721423 w 3359086"/>
                <a:gd name="connsiteY4517" fmla="*/ 3019520 h 3355086"/>
                <a:gd name="connsiteX4518" fmla="*/ 722518 w 3359086"/>
                <a:gd name="connsiteY4518" fmla="*/ 3018425 h 3355086"/>
                <a:gd name="connsiteX4519" fmla="*/ 716470 w 3359086"/>
                <a:gd name="connsiteY4519" fmla="*/ 3012377 h 3355086"/>
                <a:gd name="connsiteX4520" fmla="*/ 722661 w 3359086"/>
                <a:gd name="connsiteY4520" fmla="*/ 3006186 h 3355086"/>
                <a:gd name="connsiteX4521" fmla="*/ 783145 w 3359086"/>
                <a:gd name="connsiteY4521" fmla="*/ 3006090 h 3355086"/>
                <a:gd name="connsiteX4522" fmla="*/ 789337 w 3359086"/>
                <a:gd name="connsiteY4522" fmla="*/ 3012281 h 3355086"/>
                <a:gd name="connsiteX4523" fmla="*/ 783145 w 3359086"/>
                <a:gd name="connsiteY4523" fmla="*/ 3018473 h 3355086"/>
                <a:gd name="connsiteX4524" fmla="*/ 776954 w 3359086"/>
                <a:gd name="connsiteY4524" fmla="*/ 3012281 h 3355086"/>
                <a:gd name="connsiteX4525" fmla="*/ 783145 w 3359086"/>
                <a:gd name="connsiteY4525" fmla="*/ 3006090 h 3355086"/>
                <a:gd name="connsiteX4526" fmla="*/ 1041749 w 3359086"/>
                <a:gd name="connsiteY4526" fmla="*/ 3005804 h 3355086"/>
                <a:gd name="connsiteX4527" fmla="*/ 1047940 w 3359086"/>
                <a:gd name="connsiteY4527" fmla="*/ 3011995 h 3355086"/>
                <a:gd name="connsiteX4528" fmla="*/ 1041749 w 3359086"/>
                <a:gd name="connsiteY4528" fmla="*/ 3018186 h 3355086"/>
                <a:gd name="connsiteX4529" fmla="*/ 1035558 w 3359086"/>
                <a:gd name="connsiteY4529" fmla="*/ 3011995 h 3355086"/>
                <a:gd name="connsiteX4530" fmla="*/ 1041749 w 3359086"/>
                <a:gd name="connsiteY4530" fmla="*/ 3005804 h 3355086"/>
                <a:gd name="connsiteX4531" fmla="*/ 2570416 w 3359086"/>
                <a:gd name="connsiteY4531" fmla="*/ 3004852 h 3355086"/>
                <a:gd name="connsiteX4532" fmla="*/ 2576608 w 3359086"/>
                <a:gd name="connsiteY4532" fmla="*/ 3011043 h 3355086"/>
                <a:gd name="connsiteX4533" fmla="*/ 2570416 w 3359086"/>
                <a:gd name="connsiteY4533" fmla="*/ 3017235 h 3355086"/>
                <a:gd name="connsiteX4534" fmla="*/ 2564225 w 3359086"/>
                <a:gd name="connsiteY4534" fmla="*/ 3011043 h 3355086"/>
                <a:gd name="connsiteX4535" fmla="*/ 2570416 w 3359086"/>
                <a:gd name="connsiteY4535" fmla="*/ 3004852 h 3355086"/>
                <a:gd name="connsiteX4536" fmla="*/ 2161127 w 3359086"/>
                <a:gd name="connsiteY4536" fmla="*/ 3004376 h 3355086"/>
                <a:gd name="connsiteX4537" fmla="*/ 2167318 w 3359086"/>
                <a:gd name="connsiteY4537" fmla="*/ 3010567 h 3355086"/>
                <a:gd name="connsiteX4538" fmla="*/ 2161127 w 3359086"/>
                <a:gd name="connsiteY4538" fmla="*/ 3016758 h 3355086"/>
                <a:gd name="connsiteX4539" fmla="*/ 2154936 w 3359086"/>
                <a:gd name="connsiteY4539" fmla="*/ 3010567 h 3355086"/>
                <a:gd name="connsiteX4540" fmla="*/ 2161127 w 3359086"/>
                <a:gd name="connsiteY4540" fmla="*/ 3004376 h 3355086"/>
                <a:gd name="connsiteX4541" fmla="*/ 745902 w 3359086"/>
                <a:gd name="connsiteY4541" fmla="*/ 3004090 h 3355086"/>
                <a:gd name="connsiteX4542" fmla="*/ 752093 w 3359086"/>
                <a:gd name="connsiteY4542" fmla="*/ 3010281 h 3355086"/>
                <a:gd name="connsiteX4543" fmla="*/ 745902 w 3359086"/>
                <a:gd name="connsiteY4543" fmla="*/ 3016472 h 3355086"/>
                <a:gd name="connsiteX4544" fmla="*/ 739711 w 3359086"/>
                <a:gd name="connsiteY4544" fmla="*/ 3010281 h 3355086"/>
                <a:gd name="connsiteX4545" fmla="*/ 745902 w 3359086"/>
                <a:gd name="connsiteY4545" fmla="*/ 3004090 h 3355086"/>
                <a:gd name="connsiteX4546" fmla="*/ 2527744 w 3359086"/>
                <a:gd name="connsiteY4546" fmla="*/ 3003899 h 3355086"/>
                <a:gd name="connsiteX4547" fmla="*/ 2533935 w 3359086"/>
                <a:gd name="connsiteY4547" fmla="*/ 3010090 h 3355086"/>
                <a:gd name="connsiteX4548" fmla="*/ 2527744 w 3359086"/>
                <a:gd name="connsiteY4548" fmla="*/ 3016282 h 3355086"/>
                <a:gd name="connsiteX4549" fmla="*/ 2521553 w 3359086"/>
                <a:gd name="connsiteY4549" fmla="*/ 3010090 h 3355086"/>
                <a:gd name="connsiteX4550" fmla="*/ 2527744 w 3359086"/>
                <a:gd name="connsiteY4550" fmla="*/ 3003899 h 3355086"/>
                <a:gd name="connsiteX4551" fmla="*/ 1415700 w 3359086"/>
                <a:gd name="connsiteY4551" fmla="*/ 3003042 h 3355086"/>
                <a:gd name="connsiteX4552" fmla="*/ 1421892 w 3359086"/>
                <a:gd name="connsiteY4552" fmla="*/ 3009233 h 3355086"/>
                <a:gd name="connsiteX4553" fmla="*/ 1415700 w 3359086"/>
                <a:gd name="connsiteY4553" fmla="*/ 3015425 h 3355086"/>
                <a:gd name="connsiteX4554" fmla="*/ 1409509 w 3359086"/>
                <a:gd name="connsiteY4554" fmla="*/ 3009233 h 3355086"/>
                <a:gd name="connsiteX4555" fmla="*/ 1415700 w 3359086"/>
                <a:gd name="connsiteY4555" fmla="*/ 3003042 h 3355086"/>
                <a:gd name="connsiteX4556" fmla="*/ 2679572 w 3359086"/>
                <a:gd name="connsiteY4556" fmla="*/ 3001804 h 3355086"/>
                <a:gd name="connsiteX4557" fmla="*/ 2685763 w 3359086"/>
                <a:gd name="connsiteY4557" fmla="*/ 3007995 h 3355086"/>
                <a:gd name="connsiteX4558" fmla="*/ 2679620 w 3359086"/>
                <a:gd name="connsiteY4558" fmla="*/ 3014139 h 3355086"/>
                <a:gd name="connsiteX4559" fmla="*/ 2683764 w 3359086"/>
                <a:gd name="connsiteY4559" fmla="*/ 3018282 h 3355086"/>
                <a:gd name="connsiteX4560" fmla="*/ 2677572 w 3359086"/>
                <a:gd name="connsiteY4560" fmla="*/ 3024473 h 3355086"/>
                <a:gd name="connsiteX4561" fmla="*/ 2671381 w 3359086"/>
                <a:gd name="connsiteY4561" fmla="*/ 3018282 h 3355086"/>
                <a:gd name="connsiteX4562" fmla="*/ 2677525 w 3359086"/>
                <a:gd name="connsiteY4562" fmla="*/ 3012139 h 3355086"/>
                <a:gd name="connsiteX4563" fmla="*/ 2673381 w 3359086"/>
                <a:gd name="connsiteY4563" fmla="*/ 3007995 h 3355086"/>
                <a:gd name="connsiteX4564" fmla="*/ 2679572 w 3359086"/>
                <a:gd name="connsiteY4564" fmla="*/ 3001804 h 3355086"/>
                <a:gd name="connsiteX4565" fmla="*/ 2622327 w 3359086"/>
                <a:gd name="connsiteY4565" fmla="*/ 3001709 h 3355086"/>
                <a:gd name="connsiteX4566" fmla="*/ 2628518 w 3359086"/>
                <a:gd name="connsiteY4566" fmla="*/ 3007900 h 3355086"/>
                <a:gd name="connsiteX4567" fmla="*/ 2622422 w 3359086"/>
                <a:gd name="connsiteY4567" fmla="*/ 3013996 h 3355086"/>
                <a:gd name="connsiteX4568" fmla="*/ 2623375 w 3359086"/>
                <a:gd name="connsiteY4568" fmla="*/ 3014948 h 3355086"/>
                <a:gd name="connsiteX4569" fmla="*/ 2617612 w 3359086"/>
                <a:gd name="connsiteY4569" fmla="*/ 3020711 h 3355086"/>
                <a:gd name="connsiteX4570" fmla="*/ 2618613 w 3359086"/>
                <a:gd name="connsiteY4570" fmla="*/ 3021711 h 3355086"/>
                <a:gd name="connsiteX4571" fmla="*/ 2613183 w 3359086"/>
                <a:gd name="connsiteY4571" fmla="*/ 3027141 h 3355086"/>
                <a:gd name="connsiteX4572" fmla="*/ 2614326 w 3359086"/>
                <a:gd name="connsiteY4572" fmla="*/ 3028283 h 3355086"/>
                <a:gd name="connsiteX4573" fmla="*/ 2609088 w 3359086"/>
                <a:gd name="connsiteY4573" fmla="*/ 3033522 h 3355086"/>
                <a:gd name="connsiteX4574" fmla="*/ 2610517 w 3359086"/>
                <a:gd name="connsiteY4574" fmla="*/ 3034951 h 3355086"/>
                <a:gd name="connsiteX4575" fmla="*/ 2605516 w 3359086"/>
                <a:gd name="connsiteY4575" fmla="*/ 3039952 h 3355086"/>
                <a:gd name="connsiteX4576" fmla="*/ 2607182 w 3359086"/>
                <a:gd name="connsiteY4576" fmla="*/ 3041618 h 3355086"/>
                <a:gd name="connsiteX4577" fmla="*/ 2602324 w 3359086"/>
                <a:gd name="connsiteY4577" fmla="*/ 3046476 h 3355086"/>
                <a:gd name="connsiteX4578" fmla="*/ 2604515 w 3359086"/>
                <a:gd name="connsiteY4578" fmla="*/ 3048667 h 3355086"/>
                <a:gd name="connsiteX4579" fmla="*/ 2599705 w 3359086"/>
                <a:gd name="connsiteY4579" fmla="*/ 3053477 h 3355086"/>
                <a:gd name="connsiteX4580" fmla="*/ 2602324 w 3359086"/>
                <a:gd name="connsiteY4580" fmla="*/ 3056096 h 3355086"/>
                <a:gd name="connsiteX4581" fmla="*/ 2597657 w 3359086"/>
                <a:gd name="connsiteY4581" fmla="*/ 3060763 h 3355086"/>
                <a:gd name="connsiteX4582" fmla="*/ 2600896 w 3359086"/>
                <a:gd name="connsiteY4582" fmla="*/ 3064002 h 3355086"/>
                <a:gd name="connsiteX4583" fmla="*/ 2596324 w 3359086"/>
                <a:gd name="connsiteY4583" fmla="*/ 3068575 h 3355086"/>
                <a:gd name="connsiteX4584" fmla="*/ 2600134 w 3359086"/>
                <a:gd name="connsiteY4584" fmla="*/ 3072384 h 3355086"/>
                <a:gd name="connsiteX4585" fmla="*/ 2594086 w 3359086"/>
                <a:gd name="connsiteY4585" fmla="*/ 3078432 h 3355086"/>
                <a:gd name="connsiteX4586" fmla="*/ 2597087 w 3359086"/>
                <a:gd name="connsiteY4586" fmla="*/ 3081433 h 3355086"/>
                <a:gd name="connsiteX4587" fmla="*/ 2593753 w 3359086"/>
                <a:gd name="connsiteY4587" fmla="*/ 3084767 h 3355086"/>
                <a:gd name="connsiteX4588" fmla="*/ 2590419 w 3359086"/>
                <a:gd name="connsiteY4588" fmla="*/ 3081433 h 3355086"/>
                <a:gd name="connsiteX4589" fmla="*/ 2593609 w 3359086"/>
                <a:gd name="connsiteY4589" fmla="*/ 3078243 h 3355086"/>
                <a:gd name="connsiteX4590" fmla="*/ 2587751 w 3359086"/>
                <a:gd name="connsiteY4590" fmla="*/ 3072384 h 3355086"/>
                <a:gd name="connsiteX4591" fmla="*/ 2592323 w 3359086"/>
                <a:gd name="connsiteY4591" fmla="*/ 3067812 h 3355086"/>
                <a:gd name="connsiteX4592" fmla="*/ 2588514 w 3359086"/>
                <a:gd name="connsiteY4592" fmla="*/ 3064002 h 3355086"/>
                <a:gd name="connsiteX4593" fmla="*/ 2593181 w 3359086"/>
                <a:gd name="connsiteY4593" fmla="*/ 3059335 h 3355086"/>
                <a:gd name="connsiteX4594" fmla="*/ 2589942 w 3359086"/>
                <a:gd name="connsiteY4594" fmla="*/ 3056096 h 3355086"/>
                <a:gd name="connsiteX4595" fmla="*/ 2594752 w 3359086"/>
                <a:gd name="connsiteY4595" fmla="*/ 3051286 h 3355086"/>
                <a:gd name="connsiteX4596" fmla="*/ 2592133 w 3359086"/>
                <a:gd name="connsiteY4596" fmla="*/ 3048667 h 3355086"/>
                <a:gd name="connsiteX4597" fmla="*/ 2596991 w 3359086"/>
                <a:gd name="connsiteY4597" fmla="*/ 3043809 h 3355086"/>
                <a:gd name="connsiteX4598" fmla="*/ 2594800 w 3359086"/>
                <a:gd name="connsiteY4598" fmla="*/ 3041618 h 3355086"/>
                <a:gd name="connsiteX4599" fmla="*/ 2599801 w 3359086"/>
                <a:gd name="connsiteY4599" fmla="*/ 3036618 h 3355086"/>
                <a:gd name="connsiteX4600" fmla="*/ 2598134 w 3359086"/>
                <a:gd name="connsiteY4600" fmla="*/ 3034951 h 3355086"/>
                <a:gd name="connsiteX4601" fmla="*/ 2603373 w 3359086"/>
                <a:gd name="connsiteY4601" fmla="*/ 3029712 h 3355086"/>
                <a:gd name="connsiteX4602" fmla="*/ 2601944 w 3359086"/>
                <a:gd name="connsiteY4602" fmla="*/ 3028283 h 3355086"/>
                <a:gd name="connsiteX4603" fmla="*/ 2607373 w 3359086"/>
                <a:gd name="connsiteY4603" fmla="*/ 3022854 h 3355086"/>
                <a:gd name="connsiteX4604" fmla="*/ 2606230 w 3359086"/>
                <a:gd name="connsiteY4604" fmla="*/ 3021711 h 3355086"/>
                <a:gd name="connsiteX4605" fmla="*/ 2611992 w 3359086"/>
                <a:gd name="connsiteY4605" fmla="*/ 3015949 h 3355086"/>
                <a:gd name="connsiteX4606" fmla="*/ 2610992 w 3359086"/>
                <a:gd name="connsiteY4606" fmla="*/ 3014948 h 3355086"/>
                <a:gd name="connsiteX4607" fmla="*/ 2617088 w 3359086"/>
                <a:gd name="connsiteY4607" fmla="*/ 3008852 h 3355086"/>
                <a:gd name="connsiteX4608" fmla="*/ 2616136 w 3359086"/>
                <a:gd name="connsiteY4608" fmla="*/ 3007900 h 3355086"/>
                <a:gd name="connsiteX4609" fmla="*/ 2622327 w 3359086"/>
                <a:gd name="connsiteY4609" fmla="*/ 3001709 h 3355086"/>
                <a:gd name="connsiteX4610" fmla="*/ 664273 w 3359086"/>
                <a:gd name="connsiteY4610" fmla="*/ 3001423 h 3355086"/>
                <a:gd name="connsiteX4611" fmla="*/ 669798 w 3359086"/>
                <a:gd name="connsiteY4611" fmla="*/ 3006947 h 3355086"/>
                <a:gd name="connsiteX4612" fmla="*/ 664273 w 3359086"/>
                <a:gd name="connsiteY4612" fmla="*/ 3012472 h 3355086"/>
                <a:gd name="connsiteX4613" fmla="*/ 658749 w 3359086"/>
                <a:gd name="connsiteY4613" fmla="*/ 3006947 h 3355086"/>
                <a:gd name="connsiteX4614" fmla="*/ 664273 w 3359086"/>
                <a:gd name="connsiteY4614" fmla="*/ 3001423 h 3355086"/>
                <a:gd name="connsiteX4615" fmla="*/ 832675 w 3359086"/>
                <a:gd name="connsiteY4615" fmla="*/ 3001328 h 3355086"/>
                <a:gd name="connsiteX4616" fmla="*/ 838867 w 3359086"/>
                <a:gd name="connsiteY4616" fmla="*/ 3007519 h 3355086"/>
                <a:gd name="connsiteX4617" fmla="*/ 832675 w 3359086"/>
                <a:gd name="connsiteY4617" fmla="*/ 3013711 h 3355086"/>
                <a:gd name="connsiteX4618" fmla="*/ 826484 w 3359086"/>
                <a:gd name="connsiteY4618" fmla="*/ 3007519 h 3355086"/>
                <a:gd name="connsiteX4619" fmla="*/ 832675 w 3359086"/>
                <a:gd name="connsiteY4619" fmla="*/ 3001328 h 3355086"/>
                <a:gd name="connsiteX4620" fmla="*/ 2602706 w 3359086"/>
                <a:gd name="connsiteY4620" fmla="*/ 3000661 h 3355086"/>
                <a:gd name="connsiteX4621" fmla="*/ 2608897 w 3359086"/>
                <a:gd name="connsiteY4621" fmla="*/ 3006852 h 3355086"/>
                <a:gd name="connsiteX4622" fmla="*/ 2602706 w 3359086"/>
                <a:gd name="connsiteY4622" fmla="*/ 3013044 h 3355086"/>
                <a:gd name="connsiteX4623" fmla="*/ 2596515 w 3359086"/>
                <a:gd name="connsiteY4623" fmla="*/ 3006852 h 3355086"/>
                <a:gd name="connsiteX4624" fmla="*/ 2602706 w 3359086"/>
                <a:gd name="connsiteY4624" fmla="*/ 3000661 h 3355086"/>
                <a:gd name="connsiteX4625" fmla="*/ 2703861 w 3359086"/>
                <a:gd name="connsiteY4625" fmla="*/ 3000185 h 3355086"/>
                <a:gd name="connsiteX4626" fmla="*/ 2707195 w 3359086"/>
                <a:gd name="connsiteY4626" fmla="*/ 3003519 h 3355086"/>
                <a:gd name="connsiteX4627" fmla="*/ 2703861 w 3359086"/>
                <a:gd name="connsiteY4627" fmla="*/ 3006853 h 3355086"/>
                <a:gd name="connsiteX4628" fmla="*/ 2700527 w 3359086"/>
                <a:gd name="connsiteY4628" fmla="*/ 3003519 h 3355086"/>
                <a:gd name="connsiteX4629" fmla="*/ 2703861 w 3359086"/>
                <a:gd name="connsiteY4629" fmla="*/ 3000185 h 3355086"/>
                <a:gd name="connsiteX4630" fmla="*/ 2658522 w 3359086"/>
                <a:gd name="connsiteY4630" fmla="*/ 2999994 h 3355086"/>
                <a:gd name="connsiteX4631" fmla="*/ 2664714 w 3359086"/>
                <a:gd name="connsiteY4631" fmla="*/ 3006185 h 3355086"/>
                <a:gd name="connsiteX4632" fmla="*/ 2658760 w 3359086"/>
                <a:gd name="connsiteY4632" fmla="*/ 3012138 h 3355086"/>
                <a:gd name="connsiteX4633" fmla="*/ 2661380 w 3359086"/>
                <a:gd name="connsiteY4633" fmla="*/ 3014758 h 3355086"/>
                <a:gd name="connsiteX4634" fmla="*/ 2655522 w 3359086"/>
                <a:gd name="connsiteY4634" fmla="*/ 3020616 h 3355086"/>
                <a:gd name="connsiteX4635" fmla="*/ 2658713 w 3359086"/>
                <a:gd name="connsiteY4635" fmla="*/ 3023806 h 3355086"/>
                <a:gd name="connsiteX4636" fmla="*/ 2652997 w 3359086"/>
                <a:gd name="connsiteY4636" fmla="*/ 3029522 h 3355086"/>
                <a:gd name="connsiteX4637" fmla="*/ 2656807 w 3359086"/>
                <a:gd name="connsiteY4637" fmla="*/ 3033331 h 3355086"/>
                <a:gd name="connsiteX4638" fmla="*/ 2650616 w 3359086"/>
                <a:gd name="connsiteY4638" fmla="*/ 3039523 h 3355086"/>
                <a:gd name="connsiteX4639" fmla="*/ 2644425 w 3359086"/>
                <a:gd name="connsiteY4639" fmla="*/ 3033331 h 3355086"/>
                <a:gd name="connsiteX4640" fmla="*/ 2650140 w 3359086"/>
                <a:gd name="connsiteY4640" fmla="*/ 3027617 h 3355086"/>
                <a:gd name="connsiteX4641" fmla="*/ 2646330 w 3359086"/>
                <a:gd name="connsiteY4641" fmla="*/ 3023806 h 3355086"/>
                <a:gd name="connsiteX4642" fmla="*/ 2652187 w 3359086"/>
                <a:gd name="connsiteY4642" fmla="*/ 3017949 h 3355086"/>
                <a:gd name="connsiteX4643" fmla="*/ 2648997 w 3359086"/>
                <a:gd name="connsiteY4643" fmla="*/ 3014758 h 3355086"/>
                <a:gd name="connsiteX4644" fmla="*/ 2654950 w 3359086"/>
                <a:gd name="connsiteY4644" fmla="*/ 3008805 h 3355086"/>
                <a:gd name="connsiteX4645" fmla="*/ 2652331 w 3359086"/>
                <a:gd name="connsiteY4645" fmla="*/ 3006185 h 3355086"/>
                <a:gd name="connsiteX4646" fmla="*/ 2658522 w 3359086"/>
                <a:gd name="connsiteY4646" fmla="*/ 2999994 h 3355086"/>
                <a:gd name="connsiteX4647" fmla="*/ 700182 w 3359086"/>
                <a:gd name="connsiteY4647" fmla="*/ 2998947 h 3355086"/>
                <a:gd name="connsiteX4648" fmla="*/ 706374 w 3359086"/>
                <a:gd name="connsiteY4648" fmla="*/ 3005138 h 3355086"/>
                <a:gd name="connsiteX4649" fmla="*/ 705374 w 3359086"/>
                <a:gd name="connsiteY4649" fmla="*/ 3006138 h 3355086"/>
                <a:gd name="connsiteX4650" fmla="*/ 711517 w 3359086"/>
                <a:gd name="connsiteY4650" fmla="*/ 3012281 h 3355086"/>
                <a:gd name="connsiteX4651" fmla="*/ 710326 w 3359086"/>
                <a:gd name="connsiteY4651" fmla="*/ 3013473 h 3355086"/>
                <a:gd name="connsiteX4652" fmla="*/ 716089 w 3359086"/>
                <a:gd name="connsiteY4652" fmla="*/ 3019235 h 3355086"/>
                <a:gd name="connsiteX4653" fmla="*/ 714660 w 3359086"/>
                <a:gd name="connsiteY4653" fmla="*/ 3020664 h 3355086"/>
                <a:gd name="connsiteX4654" fmla="*/ 720185 w 3359086"/>
                <a:gd name="connsiteY4654" fmla="*/ 3026188 h 3355086"/>
                <a:gd name="connsiteX4655" fmla="*/ 718328 w 3359086"/>
                <a:gd name="connsiteY4655" fmla="*/ 3028046 h 3355086"/>
                <a:gd name="connsiteX4656" fmla="*/ 723614 w 3359086"/>
                <a:gd name="connsiteY4656" fmla="*/ 3033331 h 3355086"/>
                <a:gd name="connsiteX4657" fmla="*/ 721375 w 3359086"/>
                <a:gd name="connsiteY4657" fmla="*/ 3035570 h 3355086"/>
                <a:gd name="connsiteX4658" fmla="*/ 726566 w 3359086"/>
                <a:gd name="connsiteY4658" fmla="*/ 3040761 h 3355086"/>
                <a:gd name="connsiteX4659" fmla="*/ 723709 w 3359086"/>
                <a:gd name="connsiteY4659" fmla="*/ 3043619 h 3355086"/>
                <a:gd name="connsiteX4660" fmla="*/ 728566 w 3359086"/>
                <a:gd name="connsiteY4660" fmla="*/ 3048477 h 3355086"/>
                <a:gd name="connsiteX4661" fmla="*/ 722566 w 3359086"/>
                <a:gd name="connsiteY4661" fmla="*/ 3054478 h 3355086"/>
                <a:gd name="connsiteX4662" fmla="*/ 716565 w 3359086"/>
                <a:gd name="connsiteY4662" fmla="*/ 3048477 h 3355086"/>
                <a:gd name="connsiteX4663" fmla="*/ 719232 w 3359086"/>
                <a:gd name="connsiteY4663" fmla="*/ 3045810 h 3355086"/>
                <a:gd name="connsiteX4664" fmla="*/ 714184 w 3359086"/>
                <a:gd name="connsiteY4664" fmla="*/ 3040761 h 3355086"/>
                <a:gd name="connsiteX4665" fmla="*/ 716422 w 3359086"/>
                <a:gd name="connsiteY4665" fmla="*/ 3038523 h 3355086"/>
                <a:gd name="connsiteX4666" fmla="*/ 711231 w 3359086"/>
                <a:gd name="connsiteY4666" fmla="*/ 3033331 h 3355086"/>
                <a:gd name="connsiteX4667" fmla="*/ 713088 w 3359086"/>
                <a:gd name="connsiteY4667" fmla="*/ 3031475 h 3355086"/>
                <a:gd name="connsiteX4668" fmla="*/ 707802 w 3359086"/>
                <a:gd name="connsiteY4668" fmla="*/ 3026188 h 3355086"/>
                <a:gd name="connsiteX4669" fmla="*/ 709231 w 3359086"/>
                <a:gd name="connsiteY4669" fmla="*/ 3024760 h 3355086"/>
                <a:gd name="connsiteX4670" fmla="*/ 703706 w 3359086"/>
                <a:gd name="connsiteY4670" fmla="*/ 3019235 h 3355086"/>
                <a:gd name="connsiteX4671" fmla="*/ 704897 w 3359086"/>
                <a:gd name="connsiteY4671" fmla="*/ 3018044 h 3355086"/>
                <a:gd name="connsiteX4672" fmla="*/ 699135 w 3359086"/>
                <a:gd name="connsiteY4672" fmla="*/ 3012281 h 3355086"/>
                <a:gd name="connsiteX4673" fmla="*/ 700135 w 3359086"/>
                <a:gd name="connsiteY4673" fmla="*/ 3011282 h 3355086"/>
                <a:gd name="connsiteX4674" fmla="*/ 693991 w 3359086"/>
                <a:gd name="connsiteY4674" fmla="*/ 3005138 h 3355086"/>
                <a:gd name="connsiteX4675" fmla="*/ 700182 w 3359086"/>
                <a:gd name="connsiteY4675" fmla="*/ 2998947 h 3355086"/>
                <a:gd name="connsiteX4676" fmla="*/ 717518 w 3359086"/>
                <a:gd name="connsiteY4676" fmla="*/ 2998375 h 3355086"/>
                <a:gd name="connsiteX4677" fmla="*/ 723710 w 3359086"/>
                <a:gd name="connsiteY4677" fmla="*/ 3004566 h 3355086"/>
                <a:gd name="connsiteX4678" fmla="*/ 717518 w 3359086"/>
                <a:gd name="connsiteY4678" fmla="*/ 3010757 h 3355086"/>
                <a:gd name="connsiteX4679" fmla="*/ 711327 w 3359086"/>
                <a:gd name="connsiteY4679" fmla="*/ 3004566 h 3355086"/>
                <a:gd name="connsiteX4680" fmla="*/ 717518 w 3359086"/>
                <a:gd name="connsiteY4680" fmla="*/ 2998375 h 3355086"/>
                <a:gd name="connsiteX4681" fmla="*/ 1964340 w 3359086"/>
                <a:gd name="connsiteY4681" fmla="*/ 2997708 h 3355086"/>
                <a:gd name="connsiteX4682" fmla="*/ 1970532 w 3359086"/>
                <a:gd name="connsiteY4682" fmla="*/ 3003899 h 3355086"/>
                <a:gd name="connsiteX4683" fmla="*/ 1964340 w 3359086"/>
                <a:gd name="connsiteY4683" fmla="*/ 3010091 h 3355086"/>
                <a:gd name="connsiteX4684" fmla="*/ 1958149 w 3359086"/>
                <a:gd name="connsiteY4684" fmla="*/ 3003899 h 3355086"/>
                <a:gd name="connsiteX4685" fmla="*/ 1964340 w 3359086"/>
                <a:gd name="connsiteY4685" fmla="*/ 2997708 h 3355086"/>
                <a:gd name="connsiteX4686" fmla="*/ 2404871 w 3359086"/>
                <a:gd name="connsiteY4686" fmla="*/ 2996851 h 3355086"/>
                <a:gd name="connsiteX4687" fmla="*/ 2411063 w 3359086"/>
                <a:gd name="connsiteY4687" fmla="*/ 3003042 h 3355086"/>
                <a:gd name="connsiteX4688" fmla="*/ 2404871 w 3359086"/>
                <a:gd name="connsiteY4688" fmla="*/ 3009234 h 3355086"/>
                <a:gd name="connsiteX4689" fmla="*/ 2398680 w 3359086"/>
                <a:gd name="connsiteY4689" fmla="*/ 3003042 h 3355086"/>
                <a:gd name="connsiteX4690" fmla="*/ 2404871 w 3359086"/>
                <a:gd name="connsiteY4690" fmla="*/ 2996851 h 3355086"/>
                <a:gd name="connsiteX4691" fmla="*/ 1134427 w 3359086"/>
                <a:gd name="connsiteY4691" fmla="*/ 2996184 h 3355086"/>
                <a:gd name="connsiteX4692" fmla="*/ 1140619 w 3359086"/>
                <a:gd name="connsiteY4692" fmla="*/ 3002375 h 3355086"/>
                <a:gd name="connsiteX4693" fmla="*/ 1134427 w 3359086"/>
                <a:gd name="connsiteY4693" fmla="*/ 3008567 h 3355086"/>
                <a:gd name="connsiteX4694" fmla="*/ 1128236 w 3359086"/>
                <a:gd name="connsiteY4694" fmla="*/ 3002375 h 3355086"/>
                <a:gd name="connsiteX4695" fmla="*/ 1134427 w 3359086"/>
                <a:gd name="connsiteY4695" fmla="*/ 2996184 h 3355086"/>
                <a:gd name="connsiteX4696" fmla="*/ 2643187 w 3359086"/>
                <a:gd name="connsiteY4696" fmla="*/ 2995232 h 3355086"/>
                <a:gd name="connsiteX4697" fmla="*/ 2649378 w 3359086"/>
                <a:gd name="connsiteY4697" fmla="*/ 3001423 h 3355086"/>
                <a:gd name="connsiteX4698" fmla="*/ 2643187 w 3359086"/>
                <a:gd name="connsiteY4698" fmla="*/ 3007614 h 3355086"/>
                <a:gd name="connsiteX4699" fmla="*/ 2644426 w 3359086"/>
                <a:gd name="connsiteY4699" fmla="*/ 3008852 h 3355086"/>
                <a:gd name="connsiteX4700" fmla="*/ 2638567 w 3359086"/>
                <a:gd name="connsiteY4700" fmla="*/ 3014710 h 3355086"/>
                <a:gd name="connsiteX4701" fmla="*/ 2640139 w 3359086"/>
                <a:gd name="connsiteY4701" fmla="*/ 3016282 h 3355086"/>
                <a:gd name="connsiteX4702" fmla="*/ 2634520 w 3359086"/>
                <a:gd name="connsiteY4702" fmla="*/ 3021901 h 3355086"/>
                <a:gd name="connsiteX4703" fmla="*/ 2636425 w 3359086"/>
                <a:gd name="connsiteY4703" fmla="*/ 3023806 h 3355086"/>
                <a:gd name="connsiteX4704" fmla="*/ 2630995 w 3359086"/>
                <a:gd name="connsiteY4704" fmla="*/ 3029236 h 3355086"/>
                <a:gd name="connsiteX4705" fmla="*/ 2633376 w 3359086"/>
                <a:gd name="connsiteY4705" fmla="*/ 3031617 h 3355086"/>
                <a:gd name="connsiteX4706" fmla="*/ 2628042 w 3359086"/>
                <a:gd name="connsiteY4706" fmla="*/ 3036952 h 3355086"/>
                <a:gd name="connsiteX4707" fmla="*/ 2630995 w 3359086"/>
                <a:gd name="connsiteY4707" fmla="*/ 3039904 h 3355086"/>
                <a:gd name="connsiteX4708" fmla="*/ 2625757 w 3359086"/>
                <a:gd name="connsiteY4708" fmla="*/ 3045143 h 3355086"/>
                <a:gd name="connsiteX4709" fmla="*/ 2629185 w 3359086"/>
                <a:gd name="connsiteY4709" fmla="*/ 3048571 h 3355086"/>
                <a:gd name="connsiteX4710" fmla="*/ 2624137 w 3359086"/>
                <a:gd name="connsiteY4710" fmla="*/ 3053620 h 3355086"/>
                <a:gd name="connsiteX4711" fmla="*/ 2628232 w 3359086"/>
                <a:gd name="connsiteY4711" fmla="*/ 3057715 h 3355086"/>
                <a:gd name="connsiteX4712" fmla="*/ 2622041 w 3359086"/>
                <a:gd name="connsiteY4712" fmla="*/ 3063907 h 3355086"/>
                <a:gd name="connsiteX4713" fmla="*/ 2615850 w 3359086"/>
                <a:gd name="connsiteY4713" fmla="*/ 3057715 h 3355086"/>
                <a:gd name="connsiteX4714" fmla="*/ 2620898 w 3359086"/>
                <a:gd name="connsiteY4714" fmla="*/ 3052667 h 3355086"/>
                <a:gd name="connsiteX4715" fmla="*/ 2616803 w 3359086"/>
                <a:gd name="connsiteY4715" fmla="*/ 3048571 h 3355086"/>
                <a:gd name="connsiteX4716" fmla="*/ 2622041 w 3359086"/>
                <a:gd name="connsiteY4716" fmla="*/ 3043333 h 3355086"/>
                <a:gd name="connsiteX4717" fmla="*/ 2618613 w 3359086"/>
                <a:gd name="connsiteY4717" fmla="*/ 3039904 h 3355086"/>
                <a:gd name="connsiteX4718" fmla="*/ 2623947 w 3359086"/>
                <a:gd name="connsiteY4718" fmla="*/ 3034570 h 3355086"/>
                <a:gd name="connsiteX4719" fmla="*/ 2620994 w 3359086"/>
                <a:gd name="connsiteY4719" fmla="*/ 3031617 h 3355086"/>
                <a:gd name="connsiteX4720" fmla="*/ 2626423 w 3359086"/>
                <a:gd name="connsiteY4720" fmla="*/ 3026188 h 3355086"/>
                <a:gd name="connsiteX4721" fmla="*/ 2624042 w 3359086"/>
                <a:gd name="connsiteY4721" fmla="*/ 3023806 h 3355086"/>
                <a:gd name="connsiteX4722" fmla="*/ 2629661 w 3359086"/>
                <a:gd name="connsiteY4722" fmla="*/ 3018187 h 3355086"/>
                <a:gd name="connsiteX4723" fmla="*/ 2627757 w 3359086"/>
                <a:gd name="connsiteY4723" fmla="*/ 3016282 h 3355086"/>
                <a:gd name="connsiteX4724" fmla="*/ 2633615 w 3359086"/>
                <a:gd name="connsiteY4724" fmla="*/ 3010424 h 3355086"/>
                <a:gd name="connsiteX4725" fmla="*/ 2632043 w 3359086"/>
                <a:gd name="connsiteY4725" fmla="*/ 3008852 h 3355086"/>
                <a:gd name="connsiteX4726" fmla="*/ 2638234 w 3359086"/>
                <a:gd name="connsiteY4726" fmla="*/ 3002661 h 3355086"/>
                <a:gd name="connsiteX4727" fmla="*/ 2638436 w 3359086"/>
                <a:gd name="connsiteY4727" fmla="*/ 3002863 h 3355086"/>
                <a:gd name="connsiteX4728" fmla="*/ 2636996 w 3359086"/>
                <a:gd name="connsiteY4728" fmla="*/ 3001423 h 3355086"/>
                <a:gd name="connsiteX4729" fmla="*/ 2643187 w 3359086"/>
                <a:gd name="connsiteY4729" fmla="*/ 2995232 h 3355086"/>
                <a:gd name="connsiteX4730" fmla="*/ 2328004 w 3359086"/>
                <a:gd name="connsiteY4730" fmla="*/ 2994565 h 3355086"/>
                <a:gd name="connsiteX4731" fmla="*/ 2334196 w 3359086"/>
                <a:gd name="connsiteY4731" fmla="*/ 3000756 h 3355086"/>
                <a:gd name="connsiteX4732" fmla="*/ 2328004 w 3359086"/>
                <a:gd name="connsiteY4732" fmla="*/ 3006947 h 3355086"/>
                <a:gd name="connsiteX4733" fmla="*/ 2321813 w 3359086"/>
                <a:gd name="connsiteY4733" fmla="*/ 3000756 h 3355086"/>
                <a:gd name="connsiteX4734" fmla="*/ 2328004 w 3359086"/>
                <a:gd name="connsiteY4734" fmla="*/ 2994565 h 3355086"/>
                <a:gd name="connsiteX4735" fmla="*/ 2470975 w 3359086"/>
                <a:gd name="connsiteY4735" fmla="*/ 2994374 h 3355086"/>
                <a:gd name="connsiteX4736" fmla="*/ 2477167 w 3359086"/>
                <a:gd name="connsiteY4736" fmla="*/ 3000565 h 3355086"/>
                <a:gd name="connsiteX4737" fmla="*/ 2470975 w 3359086"/>
                <a:gd name="connsiteY4737" fmla="*/ 3006757 h 3355086"/>
                <a:gd name="connsiteX4738" fmla="*/ 2464784 w 3359086"/>
                <a:gd name="connsiteY4738" fmla="*/ 3000565 h 3355086"/>
                <a:gd name="connsiteX4739" fmla="*/ 2470975 w 3359086"/>
                <a:gd name="connsiteY4739" fmla="*/ 2994374 h 3355086"/>
                <a:gd name="connsiteX4740" fmla="*/ 2627756 w 3359086"/>
                <a:gd name="connsiteY4740" fmla="*/ 2994184 h 3355086"/>
                <a:gd name="connsiteX4741" fmla="*/ 2633947 w 3359086"/>
                <a:gd name="connsiteY4741" fmla="*/ 3000375 h 3355086"/>
                <a:gd name="connsiteX4742" fmla="*/ 2627756 w 3359086"/>
                <a:gd name="connsiteY4742" fmla="*/ 3006567 h 3355086"/>
                <a:gd name="connsiteX4743" fmla="*/ 2621565 w 3359086"/>
                <a:gd name="connsiteY4743" fmla="*/ 3000375 h 3355086"/>
                <a:gd name="connsiteX4744" fmla="*/ 2627756 w 3359086"/>
                <a:gd name="connsiteY4744" fmla="*/ 2994184 h 3355086"/>
                <a:gd name="connsiteX4745" fmla="*/ 680275 w 3359086"/>
                <a:gd name="connsiteY4745" fmla="*/ 2993708 h 3355086"/>
                <a:gd name="connsiteX4746" fmla="*/ 686467 w 3359086"/>
                <a:gd name="connsiteY4746" fmla="*/ 2999899 h 3355086"/>
                <a:gd name="connsiteX4747" fmla="*/ 684847 w 3359086"/>
                <a:gd name="connsiteY4747" fmla="*/ 3001519 h 3355086"/>
                <a:gd name="connsiteX4748" fmla="*/ 690943 w 3359086"/>
                <a:gd name="connsiteY4748" fmla="*/ 3007614 h 3355086"/>
                <a:gd name="connsiteX4749" fmla="*/ 688895 w 3359086"/>
                <a:gd name="connsiteY4749" fmla="*/ 3009662 h 3355086"/>
                <a:gd name="connsiteX4750" fmla="*/ 694848 w 3359086"/>
                <a:gd name="connsiteY4750" fmla="*/ 3015615 h 3355086"/>
                <a:gd name="connsiteX4751" fmla="*/ 692372 w 3359086"/>
                <a:gd name="connsiteY4751" fmla="*/ 3018092 h 3355086"/>
                <a:gd name="connsiteX4752" fmla="*/ 698087 w 3359086"/>
                <a:gd name="connsiteY4752" fmla="*/ 3023806 h 3355086"/>
                <a:gd name="connsiteX4753" fmla="*/ 691895 w 3359086"/>
                <a:gd name="connsiteY4753" fmla="*/ 3029998 h 3355086"/>
                <a:gd name="connsiteX4754" fmla="*/ 685704 w 3359086"/>
                <a:gd name="connsiteY4754" fmla="*/ 3023806 h 3355086"/>
                <a:gd name="connsiteX4755" fmla="*/ 688181 w 3359086"/>
                <a:gd name="connsiteY4755" fmla="*/ 3021330 h 3355086"/>
                <a:gd name="connsiteX4756" fmla="*/ 682466 w 3359086"/>
                <a:gd name="connsiteY4756" fmla="*/ 3015615 h 3355086"/>
                <a:gd name="connsiteX4757" fmla="*/ 684514 w 3359086"/>
                <a:gd name="connsiteY4757" fmla="*/ 3013568 h 3355086"/>
                <a:gd name="connsiteX4758" fmla="*/ 678560 w 3359086"/>
                <a:gd name="connsiteY4758" fmla="*/ 3007614 h 3355086"/>
                <a:gd name="connsiteX4759" fmla="*/ 680180 w 3359086"/>
                <a:gd name="connsiteY4759" fmla="*/ 3005995 h 3355086"/>
                <a:gd name="connsiteX4760" fmla="*/ 674084 w 3359086"/>
                <a:gd name="connsiteY4760" fmla="*/ 2999899 h 3355086"/>
                <a:gd name="connsiteX4761" fmla="*/ 680275 w 3359086"/>
                <a:gd name="connsiteY4761" fmla="*/ 2993708 h 3355086"/>
                <a:gd name="connsiteX4762" fmla="*/ 742092 w 3359086"/>
                <a:gd name="connsiteY4762" fmla="*/ 2993517 h 3355086"/>
                <a:gd name="connsiteX4763" fmla="*/ 748283 w 3359086"/>
                <a:gd name="connsiteY4763" fmla="*/ 2999708 h 3355086"/>
                <a:gd name="connsiteX4764" fmla="*/ 742092 w 3359086"/>
                <a:gd name="connsiteY4764" fmla="*/ 3005900 h 3355086"/>
                <a:gd name="connsiteX4765" fmla="*/ 735901 w 3359086"/>
                <a:gd name="connsiteY4765" fmla="*/ 2999708 h 3355086"/>
                <a:gd name="connsiteX4766" fmla="*/ 742092 w 3359086"/>
                <a:gd name="connsiteY4766" fmla="*/ 2993517 h 3355086"/>
                <a:gd name="connsiteX4767" fmla="*/ 2573178 w 3359086"/>
                <a:gd name="connsiteY4767" fmla="*/ 2992851 h 3355086"/>
                <a:gd name="connsiteX4768" fmla="*/ 2579369 w 3359086"/>
                <a:gd name="connsiteY4768" fmla="*/ 2999042 h 3355086"/>
                <a:gd name="connsiteX4769" fmla="*/ 2573178 w 3359086"/>
                <a:gd name="connsiteY4769" fmla="*/ 3005233 h 3355086"/>
                <a:gd name="connsiteX4770" fmla="*/ 2566987 w 3359086"/>
                <a:gd name="connsiteY4770" fmla="*/ 2999042 h 3355086"/>
                <a:gd name="connsiteX4771" fmla="*/ 2573178 w 3359086"/>
                <a:gd name="connsiteY4771" fmla="*/ 2992851 h 3355086"/>
                <a:gd name="connsiteX4772" fmla="*/ 1326736 w 3359086"/>
                <a:gd name="connsiteY4772" fmla="*/ 2992374 h 3355086"/>
                <a:gd name="connsiteX4773" fmla="*/ 1332928 w 3359086"/>
                <a:gd name="connsiteY4773" fmla="*/ 2998565 h 3355086"/>
                <a:gd name="connsiteX4774" fmla="*/ 1326736 w 3359086"/>
                <a:gd name="connsiteY4774" fmla="*/ 3004757 h 3355086"/>
                <a:gd name="connsiteX4775" fmla="*/ 1320545 w 3359086"/>
                <a:gd name="connsiteY4775" fmla="*/ 2998565 h 3355086"/>
                <a:gd name="connsiteX4776" fmla="*/ 1326736 w 3359086"/>
                <a:gd name="connsiteY4776" fmla="*/ 2992374 h 3355086"/>
                <a:gd name="connsiteX4777" fmla="*/ 781907 w 3359086"/>
                <a:gd name="connsiteY4777" fmla="*/ 2992374 h 3355086"/>
                <a:gd name="connsiteX4778" fmla="*/ 788098 w 3359086"/>
                <a:gd name="connsiteY4778" fmla="*/ 2998565 h 3355086"/>
                <a:gd name="connsiteX4779" fmla="*/ 781907 w 3359086"/>
                <a:gd name="connsiteY4779" fmla="*/ 3004757 h 3355086"/>
                <a:gd name="connsiteX4780" fmla="*/ 775716 w 3359086"/>
                <a:gd name="connsiteY4780" fmla="*/ 2998565 h 3355086"/>
                <a:gd name="connsiteX4781" fmla="*/ 781907 w 3359086"/>
                <a:gd name="connsiteY4781" fmla="*/ 2992374 h 3355086"/>
                <a:gd name="connsiteX4782" fmla="*/ 2682334 w 3359086"/>
                <a:gd name="connsiteY4782" fmla="*/ 2991898 h 3355086"/>
                <a:gd name="connsiteX4783" fmla="*/ 2688526 w 3359086"/>
                <a:gd name="connsiteY4783" fmla="*/ 2998089 h 3355086"/>
                <a:gd name="connsiteX4784" fmla="*/ 2682334 w 3359086"/>
                <a:gd name="connsiteY4784" fmla="*/ 3004280 h 3355086"/>
                <a:gd name="connsiteX4785" fmla="*/ 2676143 w 3359086"/>
                <a:gd name="connsiteY4785" fmla="*/ 2998089 h 3355086"/>
                <a:gd name="connsiteX4786" fmla="*/ 2682334 w 3359086"/>
                <a:gd name="connsiteY4786" fmla="*/ 2991898 h 3355086"/>
                <a:gd name="connsiteX4787" fmla="*/ 660844 w 3359086"/>
                <a:gd name="connsiteY4787" fmla="*/ 2991803 h 3355086"/>
                <a:gd name="connsiteX4788" fmla="*/ 667035 w 3359086"/>
                <a:gd name="connsiteY4788" fmla="*/ 2997994 h 3355086"/>
                <a:gd name="connsiteX4789" fmla="*/ 660844 w 3359086"/>
                <a:gd name="connsiteY4789" fmla="*/ 3004186 h 3355086"/>
                <a:gd name="connsiteX4790" fmla="*/ 654653 w 3359086"/>
                <a:gd name="connsiteY4790" fmla="*/ 2997994 h 3355086"/>
                <a:gd name="connsiteX4791" fmla="*/ 660844 w 3359086"/>
                <a:gd name="connsiteY4791" fmla="*/ 2991803 h 3355086"/>
                <a:gd name="connsiteX4792" fmla="*/ 2662523 w 3359086"/>
                <a:gd name="connsiteY4792" fmla="*/ 2991612 h 3355086"/>
                <a:gd name="connsiteX4793" fmla="*/ 2668714 w 3359086"/>
                <a:gd name="connsiteY4793" fmla="*/ 2997803 h 3355086"/>
                <a:gd name="connsiteX4794" fmla="*/ 2662523 w 3359086"/>
                <a:gd name="connsiteY4794" fmla="*/ 3003994 h 3355086"/>
                <a:gd name="connsiteX4795" fmla="*/ 2656332 w 3359086"/>
                <a:gd name="connsiteY4795" fmla="*/ 2997803 h 3355086"/>
                <a:gd name="connsiteX4796" fmla="*/ 2662523 w 3359086"/>
                <a:gd name="connsiteY4796" fmla="*/ 2991612 h 3355086"/>
                <a:gd name="connsiteX4797" fmla="*/ 694753 w 3359086"/>
                <a:gd name="connsiteY4797" fmla="*/ 2991517 h 3355086"/>
                <a:gd name="connsiteX4798" fmla="*/ 700944 w 3359086"/>
                <a:gd name="connsiteY4798" fmla="*/ 2997708 h 3355086"/>
                <a:gd name="connsiteX4799" fmla="*/ 694753 w 3359086"/>
                <a:gd name="connsiteY4799" fmla="*/ 3003899 h 3355086"/>
                <a:gd name="connsiteX4800" fmla="*/ 688562 w 3359086"/>
                <a:gd name="connsiteY4800" fmla="*/ 2997708 h 3355086"/>
                <a:gd name="connsiteX4801" fmla="*/ 694753 w 3359086"/>
                <a:gd name="connsiteY4801" fmla="*/ 2991517 h 3355086"/>
                <a:gd name="connsiteX4802" fmla="*/ 2607373 w 3359086"/>
                <a:gd name="connsiteY4802" fmla="*/ 2991136 h 3355086"/>
                <a:gd name="connsiteX4803" fmla="*/ 2613565 w 3359086"/>
                <a:gd name="connsiteY4803" fmla="*/ 2997327 h 3355086"/>
                <a:gd name="connsiteX4804" fmla="*/ 2607373 w 3359086"/>
                <a:gd name="connsiteY4804" fmla="*/ 3003519 h 3355086"/>
                <a:gd name="connsiteX4805" fmla="*/ 2601182 w 3359086"/>
                <a:gd name="connsiteY4805" fmla="*/ 2997327 h 3355086"/>
                <a:gd name="connsiteX4806" fmla="*/ 2607373 w 3359086"/>
                <a:gd name="connsiteY4806" fmla="*/ 2991136 h 3355086"/>
                <a:gd name="connsiteX4807" fmla="*/ 712184 w 3359086"/>
                <a:gd name="connsiteY4807" fmla="*/ 2989707 h 3355086"/>
                <a:gd name="connsiteX4808" fmla="*/ 718375 w 3359086"/>
                <a:gd name="connsiteY4808" fmla="*/ 2995898 h 3355086"/>
                <a:gd name="connsiteX4809" fmla="*/ 712184 w 3359086"/>
                <a:gd name="connsiteY4809" fmla="*/ 3002090 h 3355086"/>
                <a:gd name="connsiteX4810" fmla="*/ 705993 w 3359086"/>
                <a:gd name="connsiteY4810" fmla="*/ 2995898 h 3355086"/>
                <a:gd name="connsiteX4811" fmla="*/ 712184 w 3359086"/>
                <a:gd name="connsiteY4811" fmla="*/ 2989707 h 3355086"/>
                <a:gd name="connsiteX4812" fmla="*/ 637508 w 3359086"/>
                <a:gd name="connsiteY4812" fmla="*/ 2989231 h 3355086"/>
                <a:gd name="connsiteX4813" fmla="*/ 638746 w 3359086"/>
                <a:gd name="connsiteY4813" fmla="*/ 2990469 h 3355086"/>
                <a:gd name="connsiteX4814" fmla="*/ 637508 w 3359086"/>
                <a:gd name="connsiteY4814" fmla="*/ 2991707 h 3355086"/>
                <a:gd name="connsiteX4815" fmla="*/ 636270 w 3359086"/>
                <a:gd name="connsiteY4815" fmla="*/ 2990469 h 3355086"/>
                <a:gd name="connsiteX4816" fmla="*/ 637508 w 3359086"/>
                <a:gd name="connsiteY4816" fmla="*/ 2989231 h 3355086"/>
                <a:gd name="connsiteX4817" fmla="*/ 2729483 w 3359086"/>
                <a:gd name="connsiteY4817" fmla="*/ 2988850 h 3355086"/>
                <a:gd name="connsiteX4818" fmla="*/ 2729674 w 3359086"/>
                <a:gd name="connsiteY4818" fmla="*/ 2989040 h 3355086"/>
                <a:gd name="connsiteX4819" fmla="*/ 2729483 w 3359086"/>
                <a:gd name="connsiteY4819" fmla="*/ 2989231 h 3355086"/>
                <a:gd name="connsiteX4820" fmla="*/ 2729293 w 3359086"/>
                <a:gd name="connsiteY4820" fmla="*/ 2989040 h 3355086"/>
                <a:gd name="connsiteX4821" fmla="*/ 2729483 w 3359086"/>
                <a:gd name="connsiteY4821" fmla="*/ 2988850 h 3355086"/>
                <a:gd name="connsiteX4822" fmla="*/ 2527363 w 3359086"/>
                <a:gd name="connsiteY4822" fmla="*/ 2988088 h 3355086"/>
                <a:gd name="connsiteX4823" fmla="*/ 2533554 w 3359086"/>
                <a:gd name="connsiteY4823" fmla="*/ 2994279 h 3355086"/>
                <a:gd name="connsiteX4824" fmla="*/ 2527363 w 3359086"/>
                <a:gd name="connsiteY4824" fmla="*/ 3000470 h 3355086"/>
                <a:gd name="connsiteX4825" fmla="*/ 2521172 w 3359086"/>
                <a:gd name="connsiteY4825" fmla="*/ 2994279 h 3355086"/>
                <a:gd name="connsiteX4826" fmla="*/ 2527363 w 3359086"/>
                <a:gd name="connsiteY4826" fmla="*/ 2988088 h 3355086"/>
                <a:gd name="connsiteX4827" fmla="*/ 2648521 w 3359086"/>
                <a:gd name="connsiteY4827" fmla="*/ 2987802 h 3355086"/>
                <a:gd name="connsiteX4828" fmla="*/ 2654712 w 3359086"/>
                <a:gd name="connsiteY4828" fmla="*/ 2993993 h 3355086"/>
                <a:gd name="connsiteX4829" fmla="*/ 2648521 w 3359086"/>
                <a:gd name="connsiteY4829" fmla="*/ 3000184 h 3355086"/>
                <a:gd name="connsiteX4830" fmla="*/ 2642330 w 3359086"/>
                <a:gd name="connsiteY4830" fmla="*/ 2993993 h 3355086"/>
                <a:gd name="connsiteX4831" fmla="*/ 2648521 w 3359086"/>
                <a:gd name="connsiteY4831" fmla="*/ 2987802 h 3355086"/>
                <a:gd name="connsiteX4832" fmla="*/ 2239136 w 3359086"/>
                <a:gd name="connsiteY4832" fmla="*/ 2986278 h 3355086"/>
                <a:gd name="connsiteX4833" fmla="*/ 2245328 w 3359086"/>
                <a:gd name="connsiteY4833" fmla="*/ 2992469 h 3355086"/>
                <a:gd name="connsiteX4834" fmla="*/ 2239136 w 3359086"/>
                <a:gd name="connsiteY4834" fmla="*/ 2998660 h 3355086"/>
                <a:gd name="connsiteX4835" fmla="*/ 2232945 w 3359086"/>
                <a:gd name="connsiteY4835" fmla="*/ 2992469 h 3355086"/>
                <a:gd name="connsiteX4836" fmla="*/ 2239136 w 3359086"/>
                <a:gd name="connsiteY4836" fmla="*/ 2986278 h 3355086"/>
                <a:gd name="connsiteX4837" fmla="*/ 2705861 w 3359086"/>
                <a:gd name="connsiteY4837" fmla="*/ 2986183 h 3355086"/>
                <a:gd name="connsiteX4838" fmla="*/ 2712053 w 3359086"/>
                <a:gd name="connsiteY4838" fmla="*/ 2992374 h 3355086"/>
                <a:gd name="connsiteX4839" fmla="*/ 2705861 w 3359086"/>
                <a:gd name="connsiteY4839" fmla="*/ 2998565 h 3355086"/>
                <a:gd name="connsiteX4840" fmla="*/ 2699670 w 3359086"/>
                <a:gd name="connsiteY4840" fmla="*/ 2992374 h 3355086"/>
                <a:gd name="connsiteX4841" fmla="*/ 2705861 w 3359086"/>
                <a:gd name="connsiteY4841" fmla="*/ 2986183 h 3355086"/>
                <a:gd name="connsiteX4842" fmla="*/ 898397 w 3359086"/>
                <a:gd name="connsiteY4842" fmla="*/ 2986088 h 3355086"/>
                <a:gd name="connsiteX4843" fmla="*/ 904589 w 3359086"/>
                <a:gd name="connsiteY4843" fmla="*/ 2992279 h 3355086"/>
                <a:gd name="connsiteX4844" fmla="*/ 898397 w 3359086"/>
                <a:gd name="connsiteY4844" fmla="*/ 2998471 h 3355086"/>
                <a:gd name="connsiteX4845" fmla="*/ 892206 w 3359086"/>
                <a:gd name="connsiteY4845" fmla="*/ 2992279 h 3355086"/>
                <a:gd name="connsiteX4846" fmla="*/ 898397 w 3359086"/>
                <a:gd name="connsiteY4846" fmla="*/ 2986088 h 3355086"/>
                <a:gd name="connsiteX4847" fmla="*/ 2633471 w 3359086"/>
                <a:gd name="connsiteY4847" fmla="*/ 2985993 h 3355086"/>
                <a:gd name="connsiteX4848" fmla="*/ 2639663 w 3359086"/>
                <a:gd name="connsiteY4848" fmla="*/ 2992184 h 3355086"/>
                <a:gd name="connsiteX4849" fmla="*/ 2633471 w 3359086"/>
                <a:gd name="connsiteY4849" fmla="*/ 2998375 h 3355086"/>
                <a:gd name="connsiteX4850" fmla="*/ 2627280 w 3359086"/>
                <a:gd name="connsiteY4850" fmla="*/ 2992184 h 3355086"/>
                <a:gd name="connsiteX4851" fmla="*/ 2633471 w 3359086"/>
                <a:gd name="connsiteY4851" fmla="*/ 2985993 h 3355086"/>
                <a:gd name="connsiteX4852" fmla="*/ 675226 w 3359086"/>
                <a:gd name="connsiteY4852" fmla="*/ 2985897 h 3355086"/>
                <a:gd name="connsiteX4853" fmla="*/ 681418 w 3359086"/>
                <a:gd name="connsiteY4853" fmla="*/ 2992088 h 3355086"/>
                <a:gd name="connsiteX4854" fmla="*/ 675226 w 3359086"/>
                <a:gd name="connsiteY4854" fmla="*/ 2998279 h 3355086"/>
                <a:gd name="connsiteX4855" fmla="*/ 669035 w 3359086"/>
                <a:gd name="connsiteY4855" fmla="*/ 2992088 h 3355086"/>
                <a:gd name="connsiteX4856" fmla="*/ 675226 w 3359086"/>
                <a:gd name="connsiteY4856" fmla="*/ 2985897 h 3355086"/>
                <a:gd name="connsiteX4857" fmla="*/ 2052065 w 3359086"/>
                <a:gd name="connsiteY4857" fmla="*/ 2985516 h 3355086"/>
                <a:gd name="connsiteX4858" fmla="*/ 2058257 w 3359086"/>
                <a:gd name="connsiteY4858" fmla="*/ 2991707 h 3355086"/>
                <a:gd name="connsiteX4859" fmla="*/ 2052065 w 3359086"/>
                <a:gd name="connsiteY4859" fmla="*/ 2997899 h 3355086"/>
                <a:gd name="connsiteX4860" fmla="*/ 2045874 w 3359086"/>
                <a:gd name="connsiteY4860" fmla="*/ 2991707 h 3355086"/>
                <a:gd name="connsiteX4861" fmla="*/ 2052065 w 3359086"/>
                <a:gd name="connsiteY4861" fmla="*/ 2985516 h 3355086"/>
                <a:gd name="connsiteX4862" fmla="*/ 972216 w 3359086"/>
                <a:gd name="connsiteY4862" fmla="*/ 2984469 h 3355086"/>
                <a:gd name="connsiteX4863" fmla="*/ 978408 w 3359086"/>
                <a:gd name="connsiteY4863" fmla="*/ 2990660 h 3355086"/>
                <a:gd name="connsiteX4864" fmla="*/ 972216 w 3359086"/>
                <a:gd name="connsiteY4864" fmla="*/ 2996851 h 3355086"/>
                <a:gd name="connsiteX4865" fmla="*/ 966025 w 3359086"/>
                <a:gd name="connsiteY4865" fmla="*/ 2990660 h 3355086"/>
                <a:gd name="connsiteX4866" fmla="*/ 972216 w 3359086"/>
                <a:gd name="connsiteY4866" fmla="*/ 2984469 h 3355086"/>
                <a:gd name="connsiteX4867" fmla="*/ 688943 w 3359086"/>
                <a:gd name="connsiteY4867" fmla="*/ 2983802 h 3355086"/>
                <a:gd name="connsiteX4868" fmla="*/ 695135 w 3359086"/>
                <a:gd name="connsiteY4868" fmla="*/ 2989993 h 3355086"/>
                <a:gd name="connsiteX4869" fmla="*/ 688943 w 3359086"/>
                <a:gd name="connsiteY4869" fmla="*/ 2996184 h 3355086"/>
                <a:gd name="connsiteX4870" fmla="*/ 682752 w 3359086"/>
                <a:gd name="connsiteY4870" fmla="*/ 2989993 h 3355086"/>
                <a:gd name="connsiteX4871" fmla="*/ 688943 w 3359086"/>
                <a:gd name="connsiteY4871" fmla="*/ 2983802 h 3355086"/>
                <a:gd name="connsiteX4872" fmla="*/ 2667285 w 3359086"/>
                <a:gd name="connsiteY4872" fmla="*/ 2983326 h 3355086"/>
                <a:gd name="connsiteX4873" fmla="*/ 2673476 w 3359086"/>
                <a:gd name="connsiteY4873" fmla="*/ 2989517 h 3355086"/>
                <a:gd name="connsiteX4874" fmla="*/ 2667285 w 3359086"/>
                <a:gd name="connsiteY4874" fmla="*/ 2995708 h 3355086"/>
                <a:gd name="connsiteX4875" fmla="*/ 2661094 w 3359086"/>
                <a:gd name="connsiteY4875" fmla="*/ 2989517 h 3355086"/>
                <a:gd name="connsiteX4876" fmla="*/ 2667285 w 3359086"/>
                <a:gd name="connsiteY4876" fmla="*/ 2983326 h 3355086"/>
                <a:gd name="connsiteX4877" fmla="*/ 835151 w 3359086"/>
                <a:gd name="connsiteY4877" fmla="*/ 2983040 h 3355086"/>
                <a:gd name="connsiteX4878" fmla="*/ 841343 w 3359086"/>
                <a:gd name="connsiteY4878" fmla="*/ 2989231 h 3355086"/>
                <a:gd name="connsiteX4879" fmla="*/ 835151 w 3359086"/>
                <a:gd name="connsiteY4879" fmla="*/ 2995422 h 3355086"/>
                <a:gd name="connsiteX4880" fmla="*/ 828960 w 3359086"/>
                <a:gd name="connsiteY4880" fmla="*/ 2989231 h 3355086"/>
                <a:gd name="connsiteX4881" fmla="*/ 835151 w 3359086"/>
                <a:gd name="connsiteY4881" fmla="*/ 2983040 h 3355086"/>
                <a:gd name="connsiteX4882" fmla="*/ 656653 w 3359086"/>
                <a:gd name="connsiteY4882" fmla="*/ 2983040 h 3355086"/>
                <a:gd name="connsiteX4883" fmla="*/ 662844 w 3359086"/>
                <a:gd name="connsiteY4883" fmla="*/ 2989231 h 3355086"/>
                <a:gd name="connsiteX4884" fmla="*/ 656653 w 3359086"/>
                <a:gd name="connsiteY4884" fmla="*/ 2995422 h 3355086"/>
                <a:gd name="connsiteX4885" fmla="*/ 650462 w 3359086"/>
                <a:gd name="connsiteY4885" fmla="*/ 2989231 h 3355086"/>
                <a:gd name="connsiteX4886" fmla="*/ 656653 w 3359086"/>
                <a:gd name="connsiteY4886" fmla="*/ 2983040 h 3355086"/>
                <a:gd name="connsiteX4887" fmla="*/ 2685859 w 3359086"/>
                <a:gd name="connsiteY4887" fmla="*/ 2982468 h 3355086"/>
                <a:gd name="connsiteX4888" fmla="*/ 2692051 w 3359086"/>
                <a:gd name="connsiteY4888" fmla="*/ 2988659 h 3355086"/>
                <a:gd name="connsiteX4889" fmla="*/ 2685859 w 3359086"/>
                <a:gd name="connsiteY4889" fmla="*/ 2994851 h 3355086"/>
                <a:gd name="connsiteX4890" fmla="*/ 2679668 w 3359086"/>
                <a:gd name="connsiteY4890" fmla="*/ 2988659 h 3355086"/>
                <a:gd name="connsiteX4891" fmla="*/ 2685859 w 3359086"/>
                <a:gd name="connsiteY4891" fmla="*/ 2982468 h 3355086"/>
                <a:gd name="connsiteX4892" fmla="*/ 738568 w 3359086"/>
                <a:gd name="connsiteY4892" fmla="*/ 2981325 h 3355086"/>
                <a:gd name="connsiteX4893" fmla="*/ 744760 w 3359086"/>
                <a:gd name="connsiteY4893" fmla="*/ 2987516 h 3355086"/>
                <a:gd name="connsiteX4894" fmla="*/ 738568 w 3359086"/>
                <a:gd name="connsiteY4894" fmla="*/ 2993708 h 3355086"/>
                <a:gd name="connsiteX4895" fmla="*/ 732377 w 3359086"/>
                <a:gd name="connsiteY4895" fmla="*/ 2987516 h 3355086"/>
                <a:gd name="connsiteX4896" fmla="*/ 738568 w 3359086"/>
                <a:gd name="connsiteY4896" fmla="*/ 2981325 h 3355086"/>
                <a:gd name="connsiteX4897" fmla="*/ 2612040 w 3359086"/>
                <a:gd name="connsiteY4897" fmla="*/ 2980278 h 3355086"/>
                <a:gd name="connsiteX4898" fmla="*/ 2618232 w 3359086"/>
                <a:gd name="connsiteY4898" fmla="*/ 2986469 h 3355086"/>
                <a:gd name="connsiteX4899" fmla="*/ 2612040 w 3359086"/>
                <a:gd name="connsiteY4899" fmla="*/ 2992660 h 3355086"/>
                <a:gd name="connsiteX4900" fmla="*/ 2605849 w 3359086"/>
                <a:gd name="connsiteY4900" fmla="*/ 2986469 h 3355086"/>
                <a:gd name="connsiteX4901" fmla="*/ 2612040 w 3359086"/>
                <a:gd name="connsiteY4901" fmla="*/ 2980278 h 3355086"/>
                <a:gd name="connsiteX4902" fmla="*/ 2654331 w 3359086"/>
                <a:gd name="connsiteY4902" fmla="*/ 2979992 h 3355086"/>
                <a:gd name="connsiteX4903" fmla="*/ 2660523 w 3359086"/>
                <a:gd name="connsiteY4903" fmla="*/ 2986183 h 3355086"/>
                <a:gd name="connsiteX4904" fmla="*/ 2654331 w 3359086"/>
                <a:gd name="connsiteY4904" fmla="*/ 2992374 h 3355086"/>
                <a:gd name="connsiteX4905" fmla="*/ 2648140 w 3359086"/>
                <a:gd name="connsiteY4905" fmla="*/ 2986183 h 3355086"/>
                <a:gd name="connsiteX4906" fmla="*/ 2654331 w 3359086"/>
                <a:gd name="connsiteY4906" fmla="*/ 2979992 h 3355086"/>
                <a:gd name="connsiteX4907" fmla="*/ 706945 w 3359086"/>
                <a:gd name="connsiteY4907" fmla="*/ 2979896 h 3355086"/>
                <a:gd name="connsiteX4908" fmla="*/ 713137 w 3359086"/>
                <a:gd name="connsiteY4908" fmla="*/ 2986087 h 3355086"/>
                <a:gd name="connsiteX4909" fmla="*/ 706945 w 3359086"/>
                <a:gd name="connsiteY4909" fmla="*/ 2992279 h 3355086"/>
                <a:gd name="connsiteX4910" fmla="*/ 700754 w 3359086"/>
                <a:gd name="connsiteY4910" fmla="*/ 2986087 h 3355086"/>
                <a:gd name="connsiteX4911" fmla="*/ 706945 w 3359086"/>
                <a:gd name="connsiteY4911" fmla="*/ 2979896 h 3355086"/>
                <a:gd name="connsiteX4912" fmla="*/ 2575464 w 3359086"/>
                <a:gd name="connsiteY4912" fmla="*/ 2979039 h 3355086"/>
                <a:gd name="connsiteX4913" fmla="*/ 2581656 w 3359086"/>
                <a:gd name="connsiteY4913" fmla="*/ 2985230 h 3355086"/>
                <a:gd name="connsiteX4914" fmla="*/ 2575464 w 3359086"/>
                <a:gd name="connsiteY4914" fmla="*/ 2991421 h 3355086"/>
                <a:gd name="connsiteX4915" fmla="*/ 2569273 w 3359086"/>
                <a:gd name="connsiteY4915" fmla="*/ 2985230 h 3355086"/>
                <a:gd name="connsiteX4916" fmla="*/ 2575464 w 3359086"/>
                <a:gd name="connsiteY4916" fmla="*/ 2979039 h 3355086"/>
                <a:gd name="connsiteX4917" fmla="*/ 1240249 w 3359086"/>
                <a:gd name="connsiteY4917" fmla="*/ 2978849 h 3355086"/>
                <a:gd name="connsiteX4918" fmla="*/ 1246441 w 3359086"/>
                <a:gd name="connsiteY4918" fmla="*/ 2985040 h 3355086"/>
                <a:gd name="connsiteX4919" fmla="*/ 1240249 w 3359086"/>
                <a:gd name="connsiteY4919" fmla="*/ 2991231 h 3355086"/>
                <a:gd name="connsiteX4920" fmla="*/ 1234058 w 3359086"/>
                <a:gd name="connsiteY4920" fmla="*/ 2985040 h 3355086"/>
                <a:gd name="connsiteX4921" fmla="*/ 1240249 w 3359086"/>
                <a:gd name="connsiteY4921" fmla="*/ 2978849 h 3355086"/>
                <a:gd name="connsiteX4922" fmla="*/ 669607 w 3359086"/>
                <a:gd name="connsiteY4922" fmla="*/ 2978087 h 3355086"/>
                <a:gd name="connsiteX4923" fmla="*/ 675798 w 3359086"/>
                <a:gd name="connsiteY4923" fmla="*/ 2984278 h 3355086"/>
                <a:gd name="connsiteX4924" fmla="*/ 669607 w 3359086"/>
                <a:gd name="connsiteY4924" fmla="*/ 2990470 h 3355086"/>
                <a:gd name="connsiteX4925" fmla="*/ 663416 w 3359086"/>
                <a:gd name="connsiteY4925" fmla="*/ 2984278 h 3355086"/>
                <a:gd name="connsiteX4926" fmla="*/ 669607 w 3359086"/>
                <a:gd name="connsiteY4926" fmla="*/ 2978087 h 3355086"/>
                <a:gd name="connsiteX4927" fmla="*/ 1057941 w 3359086"/>
                <a:gd name="connsiteY4927" fmla="*/ 2977134 h 3355086"/>
                <a:gd name="connsiteX4928" fmla="*/ 1064133 w 3359086"/>
                <a:gd name="connsiteY4928" fmla="*/ 2983325 h 3355086"/>
                <a:gd name="connsiteX4929" fmla="*/ 1057941 w 3359086"/>
                <a:gd name="connsiteY4929" fmla="*/ 2989517 h 3355086"/>
                <a:gd name="connsiteX4930" fmla="*/ 1051750 w 3359086"/>
                <a:gd name="connsiteY4930" fmla="*/ 2983325 h 3355086"/>
                <a:gd name="connsiteX4931" fmla="*/ 1057941 w 3359086"/>
                <a:gd name="connsiteY4931" fmla="*/ 2977134 h 3355086"/>
                <a:gd name="connsiteX4932" fmla="*/ 2639377 w 3359086"/>
                <a:gd name="connsiteY4932" fmla="*/ 2976944 h 3355086"/>
                <a:gd name="connsiteX4933" fmla="*/ 2645568 w 3359086"/>
                <a:gd name="connsiteY4933" fmla="*/ 2983135 h 3355086"/>
                <a:gd name="connsiteX4934" fmla="*/ 2639377 w 3359086"/>
                <a:gd name="connsiteY4934" fmla="*/ 2989326 h 3355086"/>
                <a:gd name="connsiteX4935" fmla="*/ 2633186 w 3359086"/>
                <a:gd name="connsiteY4935" fmla="*/ 2983135 h 3355086"/>
                <a:gd name="connsiteX4936" fmla="*/ 2639377 w 3359086"/>
                <a:gd name="connsiteY4936" fmla="*/ 2976944 h 3355086"/>
                <a:gd name="connsiteX4937" fmla="*/ 781335 w 3359086"/>
                <a:gd name="connsiteY4937" fmla="*/ 2976468 h 3355086"/>
                <a:gd name="connsiteX4938" fmla="*/ 787527 w 3359086"/>
                <a:gd name="connsiteY4938" fmla="*/ 2982659 h 3355086"/>
                <a:gd name="connsiteX4939" fmla="*/ 781335 w 3359086"/>
                <a:gd name="connsiteY4939" fmla="*/ 2988850 h 3355086"/>
                <a:gd name="connsiteX4940" fmla="*/ 775144 w 3359086"/>
                <a:gd name="connsiteY4940" fmla="*/ 2982659 h 3355086"/>
                <a:gd name="connsiteX4941" fmla="*/ 781335 w 3359086"/>
                <a:gd name="connsiteY4941" fmla="*/ 2976468 h 3355086"/>
                <a:gd name="connsiteX4942" fmla="*/ 2708719 w 3359086"/>
                <a:gd name="connsiteY4942" fmla="*/ 2975515 h 3355086"/>
                <a:gd name="connsiteX4943" fmla="*/ 2714910 w 3359086"/>
                <a:gd name="connsiteY4943" fmla="*/ 2981706 h 3355086"/>
                <a:gd name="connsiteX4944" fmla="*/ 2708719 w 3359086"/>
                <a:gd name="connsiteY4944" fmla="*/ 2987897 h 3355086"/>
                <a:gd name="connsiteX4945" fmla="*/ 2702528 w 3359086"/>
                <a:gd name="connsiteY4945" fmla="*/ 2981706 h 3355086"/>
                <a:gd name="connsiteX4946" fmla="*/ 2708719 w 3359086"/>
                <a:gd name="connsiteY4946" fmla="*/ 2975515 h 3355086"/>
                <a:gd name="connsiteX4947" fmla="*/ 2672524 w 3359086"/>
                <a:gd name="connsiteY4947" fmla="*/ 2975229 h 3355086"/>
                <a:gd name="connsiteX4948" fmla="*/ 2678716 w 3359086"/>
                <a:gd name="connsiteY4948" fmla="*/ 2981420 h 3355086"/>
                <a:gd name="connsiteX4949" fmla="*/ 2672524 w 3359086"/>
                <a:gd name="connsiteY4949" fmla="*/ 2987611 h 3355086"/>
                <a:gd name="connsiteX4950" fmla="*/ 2666333 w 3359086"/>
                <a:gd name="connsiteY4950" fmla="*/ 2981420 h 3355086"/>
                <a:gd name="connsiteX4951" fmla="*/ 2672524 w 3359086"/>
                <a:gd name="connsiteY4951" fmla="*/ 2975229 h 3355086"/>
                <a:gd name="connsiteX4952" fmla="*/ 682847 w 3359086"/>
                <a:gd name="connsiteY4952" fmla="*/ 2975229 h 3355086"/>
                <a:gd name="connsiteX4953" fmla="*/ 689038 w 3359086"/>
                <a:gd name="connsiteY4953" fmla="*/ 2981420 h 3355086"/>
                <a:gd name="connsiteX4954" fmla="*/ 682847 w 3359086"/>
                <a:gd name="connsiteY4954" fmla="*/ 2987611 h 3355086"/>
                <a:gd name="connsiteX4955" fmla="*/ 676656 w 3359086"/>
                <a:gd name="connsiteY4955" fmla="*/ 2981420 h 3355086"/>
                <a:gd name="connsiteX4956" fmla="*/ 682847 w 3359086"/>
                <a:gd name="connsiteY4956" fmla="*/ 2975229 h 3355086"/>
                <a:gd name="connsiteX4957" fmla="*/ 651890 w 3359086"/>
                <a:gd name="connsiteY4957" fmla="*/ 2974467 h 3355086"/>
                <a:gd name="connsiteX4958" fmla="*/ 658081 w 3359086"/>
                <a:gd name="connsiteY4958" fmla="*/ 2980658 h 3355086"/>
                <a:gd name="connsiteX4959" fmla="*/ 651890 w 3359086"/>
                <a:gd name="connsiteY4959" fmla="*/ 2986850 h 3355086"/>
                <a:gd name="connsiteX4960" fmla="*/ 645699 w 3359086"/>
                <a:gd name="connsiteY4960" fmla="*/ 2980658 h 3355086"/>
                <a:gd name="connsiteX4961" fmla="*/ 651890 w 3359086"/>
                <a:gd name="connsiteY4961" fmla="*/ 2974467 h 3355086"/>
                <a:gd name="connsiteX4962" fmla="*/ 633888 w 3359086"/>
                <a:gd name="connsiteY4962" fmla="*/ 2974467 h 3355086"/>
                <a:gd name="connsiteX4963" fmla="*/ 640079 w 3359086"/>
                <a:gd name="connsiteY4963" fmla="*/ 2980658 h 3355086"/>
                <a:gd name="connsiteX4964" fmla="*/ 633888 w 3359086"/>
                <a:gd name="connsiteY4964" fmla="*/ 2986850 h 3355086"/>
                <a:gd name="connsiteX4965" fmla="*/ 627697 w 3359086"/>
                <a:gd name="connsiteY4965" fmla="*/ 2980658 h 3355086"/>
                <a:gd name="connsiteX4966" fmla="*/ 633888 w 3359086"/>
                <a:gd name="connsiteY4966" fmla="*/ 2974467 h 3355086"/>
                <a:gd name="connsiteX4967" fmla="*/ 2690145 w 3359086"/>
                <a:gd name="connsiteY4967" fmla="*/ 2973324 h 3355086"/>
                <a:gd name="connsiteX4968" fmla="*/ 2696336 w 3359086"/>
                <a:gd name="connsiteY4968" fmla="*/ 2979515 h 3355086"/>
                <a:gd name="connsiteX4969" fmla="*/ 2690145 w 3359086"/>
                <a:gd name="connsiteY4969" fmla="*/ 2985707 h 3355086"/>
                <a:gd name="connsiteX4970" fmla="*/ 2683954 w 3359086"/>
                <a:gd name="connsiteY4970" fmla="*/ 2979515 h 3355086"/>
                <a:gd name="connsiteX4971" fmla="*/ 2690145 w 3359086"/>
                <a:gd name="connsiteY4971" fmla="*/ 2973324 h 3355086"/>
                <a:gd name="connsiteX4972" fmla="*/ 2466117 w 3359086"/>
                <a:gd name="connsiteY4972" fmla="*/ 2973229 h 3355086"/>
                <a:gd name="connsiteX4973" fmla="*/ 2472308 w 3359086"/>
                <a:gd name="connsiteY4973" fmla="*/ 2979420 h 3355086"/>
                <a:gd name="connsiteX4974" fmla="*/ 2466117 w 3359086"/>
                <a:gd name="connsiteY4974" fmla="*/ 2985611 h 3355086"/>
                <a:gd name="connsiteX4975" fmla="*/ 2459926 w 3359086"/>
                <a:gd name="connsiteY4975" fmla="*/ 2979420 h 3355086"/>
                <a:gd name="connsiteX4976" fmla="*/ 2466117 w 3359086"/>
                <a:gd name="connsiteY4976" fmla="*/ 2973229 h 3355086"/>
                <a:gd name="connsiteX4977" fmla="*/ 2395727 w 3359086"/>
                <a:gd name="connsiteY4977" fmla="*/ 2972372 h 3355086"/>
                <a:gd name="connsiteX4978" fmla="*/ 2401919 w 3359086"/>
                <a:gd name="connsiteY4978" fmla="*/ 2978563 h 3355086"/>
                <a:gd name="connsiteX4979" fmla="*/ 2395727 w 3359086"/>
                <a:gd name="connsiteY4979" fmla="*/ 2984755 h 3355086"/>
                <a:gd name="connsiteX4980" fmla="*/ 2389536 w 3359086"/>
                <a:gd name="connsiteY4980" fmla="*/ 2978563 h 3355086"/>
                <a:gd name="connsiteX4981" fmla="*/ 2395727 w 3359086"/>
                <a:gd name="connsiteY4981" fmla="*/ 2972372 h 3355086"/>
                <a:gd name="connsiteX4982" fmla="*/ 2660617 w 3359086"/>
                <a:gd name="connsiteY4982" fmla="*/ 2971800 h 3355086"/>
                <a:gd name="connsiteX4983" fmla="*/ 2666809 w 3359086"/>
                <a:gd name="connsiteY4983" fmla="*/ 2977991 h 3355086"/>
                <a:gd name="connsiteX4984" fmla="*/ 2660617 w 3359086"/>
                <a:gd name="connsiteY4984" fmla="*/ 2984183 h 3355086"/>
                <a:gd name="connsiteX4985" fmla="*/ 2654426 w 3359086"/>
                <a:gd name="connsiteY4985" fmla="*/ 2977991 h 3355086"/>
                <a:gd name="connsiteX4986" fmla="*/ 2660617 w 3359086"/>
                <a:gd name="connsiteY4986" fmla="*/ 2971800 h 3355086"/>
                <a:gd name="connsiteX4987" fmla="*/ 2731484 w 3359086"/>
                <a:gd name="connsiteY4987" fmla="*/ 2971134 h 3355086"/>
                <a:gd name="connsiteX4988" fmla="*/ 2737484 w 3359086"/>
                <a:gd name="connsiteY4988" fmla="*/ 2977135 h 3355086"/>
                <a:gd name="connsiteX4989" fmla="*/ 2731484 w 3359086"/>
                <a:gd name="connsiteY4989" fmla="*/ 2983135 h 3355086"/>
                <a:gd name="connsiteX4990" fmla="*/ 2725483 w 3359086"/>
                <a:gd name="connsiteY4990" fmla="*/ 2977135 h 3355086"/>
                <a:gd name="connsiteX4991" fmla="*/ 2731484 w 3359086"/>
                <a:gd name="connsiteY4991" fmla="*/ 2971134 h 3355086"/>
                <a:gd name="connsiteX4992" fmla="*/ 2137028 w 3359086"/>
                <a:gd name="connsiteY4992" fmla="*/ 2970562 h 3355086"/>
                <a:gd name="connsiteX4993" fmla="*/ 2143219 w 3359086"/>
                <a:gd name="connsiteY4993" fmla="*/ 2976753 h 3355086"/>
                <a:gd name="connsiteX4994" fmla="*/ 2137028 w 3359086"/>
                <a:gd name="connsiteY4994" fmla="*/ 2982945 h 3355086"/>
                <a:gd name="connsiteX4995" fmla="*/ 2130837 w 3359086"/>
                <a:gd name="connsiteY4995" fmla="*/ 2976753 h 3355086"/>
                <a:gd name="connsiteX4996" fmla="*/ 2137028 w 3359086"/>
                <a:gd name="connsiteY4996" fmla="*/ 2970562 h 3355086"/>
                <a:gd name="connsiteX4997" fmla="*/ 1643824 w 3359086"/>
                <a:gd name="connsiteY4997" fmla="*/ 2970371 h 3355086"/>
                <a:gd name="connsiteX4998" fmla="*/ 1650016 w 3359086"/>
                <a:gd name="connsiteY4998" fmla="*/ 2976562 h 3355086"/>
                <a:gd name="connsiteX4999" fmla="*/ 1643824 w 3359086"/>
                <a:gd name="connsiteY4999" fmla="*/ 2982754 h 3355086"/>
                <a:gd name="connsiteX5000" fmla="*/ 1637633 w 3359086"/>
                <a:gd name="connsiteY5000" fmla="*/ 2976562 h 3355086"/>
                <a:gd name="connsiteX5001" fmla="*/ 1643824 w 3359086"/>
                <a:gd name="connsiteY5001" fmla="*/ 2970371 h 3355086"/>
                <a:gd name="connsiteX5002" fmla="*/ 663416 w 3359086"/>
                <a:gd name="connsiteY5002" fmla="*/ 2969895 h 3355086"/>
                <a:gd name="connsiteX5003" fmla="*/ 669608 w 3359086"/>
                <a:gd name="connsiteY5003" fmla="*/ 2976086 h 3355086"/>
                <a:gd name="connsiteX5004" fmla="*/ 663416 w 3359086"/>
                <a:gd name="connsiteY5004" fmla="*/ 2982277 h 3355086"/>
                <a:gd name="connsiteX5005" fmla="*/ 657225 w 3359086"/>
                <a:gd name="connsiteY5005" fmla="*/ 2976086 h 3355086"/>
                <a:gd name="connsiteX5006" fmla="*/ 663416 w 3359086"/>
                <a:gd name="connsiteY5006" fmla="*/ 2969895 h 3355086"/>
                <a:gd name="connsiteX5007" fmla="*/ 2526124 w 3359086"/>
                <a:gd name="connsiteY5007" fmla="*/ 2969800 h 3355086"/>
                <a:gd name="connsiteX5008" fmla="*/ 2532315 w 3359086"/>
                <a:gd name="connsiteY5008" fmla="*/ 2975991 h 3355086"/>
                <a:gd name="connsiteX5009" fmla="*/ 2526124 w 3359086"/>
                <a:gd name="connsiteY5009" fmla="*/ 2982182 h 3355086"/>
                <a:gd name="connsiteX5010" fmla="*/ 2519933 w 3359086"/>
                <a:gd name="connsiteY5010" fmla="*/ 2975991 h 3355086"/>
                <a:gd name="connsiteX5011" fmla="*/ 2526124 w 3359086"/>
                <a:gd name="connsiteY5011" fmla="*/ 2969800 h 3355086"/>
                <a:gd name="connsiteX5012" fmla="*/ 1739741 w 3359086"/>
                <a:gd name="connsiteY5012" fmla="*/ 2969419 h 3355086"/>
                <a:gd name="connsiteX5013" fmla="*/ 1745933 w 3359086"/>
                <a:gd name="connsiteY5013" fmla="*/ 2975610 h 3355086"/>
                <a:gd name="connsiteX5014" fmla="*/ 1739741 w 3359086"/>
                <a:gd name="connsiteY5014" fmla="*/ 2981802 h 3355086"/>
                <a:gd name="connsiteX5015" fmla="*/ 1733550 w 3359086"/>
                <a:gd name="connsiteY5015" fmla="*/ 2975610 h 3355086"/>
                <a:gd name="connsiteX5016" fmla="*/ 1739741 w 3359086"/>
                <a:gd name="connsiteY5016" fmla="*/ 2969419 h 3355086"/>
                <a:gd name="connsiteX5017" fmla="*/ 701706 w 3359086"/>
                <a:gd name="connsiteY5017" fmla="*/ 2968847 h 3355086"/>
                <a:gd name="connsiteX5018" fmla="*/ 707898 w 3359086"/>
                <a:gd name="connsiteY5018" fmla="*/ 2975038 h 3355086"/>
                <a:gd name="connsiteX5019" fmla="*/ 701706 w 3359086"/>
                <a:gd name="connsiteY5019" fmla="*/ 2981230 h 3355086"/>
                <a:gd name="connsiteX5020" fmla="*/ 695515 w 3359086"/>
                <a:gd name="connsiteY5020" fmla="*/ 2975038 h 3355086"/>
                <a:gd name="connsiteX5021" fmla="*/ 701706 w 3359086"/>
                <a:gd name="connsiteY5021" fmla="*/ 2968847 h 3355086"/>
                <a:gd name="connsiteX5022" fmla="*/ 2616326 w 3359086"/>
                <a:gd name="connsiteY5022" fmla="*/ 2967895 h 3355086"/>
                <a:gd name="connsiteX5023" fmla="*/ 2622517 w 3359086"/>
                <a:gd name="connsiteY5023" fmla="*/ 2974086 h 3355086"/>
                <a:gd name="connsiteX5024" fmla="*/ 2616326 w 3359086"/>
                <a:gd name="connsiteY5024" fmla="*/ 2980278 h 3355086"/>
                <a:gd name="connsiteX5025" fmla="*/ 2610135 w 3359086"/>
                <a:gd name="connsiteY5025" fmla="*/ 2974086 h 3355086"/>
                <a:gd name="connsiteX5026" fmla="*/ 2616326 w 3359086"/>
                <a:gd name="connsiteY5026" fmla="*/ 2967895 h 3355086"/>
                <a:gd name="connsiteX5027" fmla="*/ 1548002 w 3359086"/>
                <a:gd name="connsiteY5027" fmla="*/ 2967800 h 3355086"/>
                <a:gd name="connsiteX5028" fmla="*/ 1554194 w 3359086"/>
                <a:gd name="connsiteY5028" fmla="*/ 2973991 h 3355086"/>
                <a:gd name="connsiteX5029" fmla="*/ 1548002 w 3359086"/>
                <a:gd name="connsiteY5029" fmla="*/ 2980182 h 3355086"/>
                <a:gd name="connsiteX5030" fmla="*/ 1541811 w 3359086"/>
                <a:gd name="connsiteY5030" fmla="*/ 2973991 h 3355086"/>
                <a:gd name="connsiteX5031" fmla="*/ 1548002 w 3359086"/>
                <a:gd name="connsiteY5031" fmla="*/ 2967800 h 3355086"/>
                <a:gd name="connsiteX5032" fmla="*/ 735520 w 3359086"/>
                <a:gd name="connsiteY5032" fmla="*/ 2967228 h 3355086"/>
                <a:gd name="connsiteX5033" fmla="*/ 741712 w 3359086"/>
                <a:gd name="connsiteY5033" fmla="*/ 2973419 h 3355086"/>
                <a:gd name="connsiteX5034" fmla="*/ 735520 w 3359086"/>
                <a:gd name="connsiteY5034" fmla="*/ 2979610 h 3355086"/>
                <a:gd name="connsiteX5035" fmla="*/ 729329 w 3359086"/>
                <a:gd name="connsiteY5035" fmla="*/ 2973419 h 3355086"/>
                <a:gd name="connsiteX5036" fmla="*/ 735520 w 3359086"/>
                <a:gd name="connsiteY5036" fmla="*/ 2967228 h 3355086"/>
                <a:gd name="connsiteX5037" fmla="*/ 2678429 w 3359086"/>
                <a:gd name="connsiteY5037" fmla="*/ 2966943 h 3355086"/>
                <a:gd name="connsiteX5038" fmla="*/ 2684621 w 3359086"/>
                <a:gd name="connsiteY5038" fmla="*/ 2973134 h 3355086"/>
                <a:gd name="connsiteX5039" fmla="*/ 2678429 w 3359086"/>
                <a:gd name="connsiteY5039" fmla="*/ 2979325 h 3355086"/>
                <a:gd name="connsiteX5040" fmla="*/ 2672238 w 3359086"/>
                <a:gd name="connsiteY5040" fmla="*/ 2973134 h 3355086"/>
                <a:gd name="connsiteX5041" fmla="*/ 2678429 w 3359086"/>
                <a:gd name="connsiteY5041" fmla="*/ 2966943 h 3355086"/>
                <a:gd name="connsiteX5042" fmla="*/ 2645282 w 3359086"/>
                <a:gd name="connsiteY5042" fmla="*/ 2966847 h 3355086"/>
                <a:gd name="connsiteX5043" fmla="*/ 2651473 w 3359086"/>
                <a:gd name="connsiteY5043" fmla="*/ 2973038 h 3355086"/>
                <a:gd name="connsiteX5044" fmla="*/ 2645282 w 3359086"/>
                <a:gd name="connsiteY5044" fmla="*/ 2979229 h 3355086"/>
                <a:gd name="connsiteX5045" fmla="*/ 2639091 w 3359086"/>
                <a:gd name="connsiteY5045" fmla="*/ 2973038 h 3355086"/>
                <a:gd name="connsiteX5046" fmla="*/ 2645282 w 3359086"/>
                <a:gd name="connsiteY5046" fmla="*/ 2966847 h 3355086"/>
                <a:gd name="connsiteX5047" fmla="*/ 2313717 w 3359086"/>
                <a:gd name="connsiteY5047" fmla="*/ 2966085 h 3355086"/>
                <a:gd name="connsiteX5048" fmla="*/ 2319909 w 3359086"/>
                <a:gd name="connsiteY5048" fmla="*/ 2972276 h 3355086"/>
                <a:gd name="connsiteX5049" fmla="*/ 2313717 w 3359086"/>
                <a:gd name="connsiteY5049" fmla="*/ 2978467 h 3355086"/>
                <a:gd name="connsiteX5050" fmla="*/ 2307526 w 3359086"/>
                <a:gd name="connsiteY5050" fmla="*/ 2972276 h 3355086"/>
                <a:gd name="connsiteX5051" fmla="*/ 2313717 w 3359086"/>
                <a:gd name="connsiteY5051" fmla="*/ 2966085 h 3355086"/>
                <a:gd name="connsiteX5052" fmla="*/ 676465 w 3359086"/>
                <a:gd name="connsiteY5052" fmla="*/ 2965990 h 3355086"/>
                <a:gd name="connsiteX5053" fmla="*/ 682656 w 3359086"/>
                <a:gd name="connsiteY5053" fmla="*/ 2972181 h 3355086"/>
                <a:gd name="connsiteX5054" fmla="*/ 676465 w 3359086"/>
                <a:gd name="connsiteY5054" fmla="*/ 2978372 h 3355086"/>
                <a:gd name="connsiteX5055" fmla="*/ 670274 w 3359086"/>
                <a:gd name="connsiteY5055" fmla="*/ 2972181 h 3355086"/>
                <a:gd name="connsiteX5056" fmla="*/ 676465 w 3359086"/>
                <a:gd name="connsiteY5056" fmla="*/ 2965990 h 3355086"/>
                <a:gd name="connsiteX5057" fmla="*/ 646366 w 3359086"/>
                <a:gd name="connsiteY5057" fmla="*/ 2965895 h 3355086"/>
                <a:gd name="connsiteX5058" fmla="*/ 652558 w 3359086"/>
                <a:gd name="connsiteY5058" fmla="*/ 2972086 h 3355086"/>
                <a:gd name="connsiteX5059" fmla="*/ 646366 w 3359086"/>
                <a:gd name="connsiteY5059" fmla="*/ 2978278 h 3355086"/>
                <a:gd name="connsiteX5060" fmla="*/ 640175 w 3359086"/>
                <a:gd name="connsiteY5060" fmla="*/ 2972086 h 3355086"/>
                <a:gd name="connsiteX5061" fmla="*/ 646366 w 3359086"/>
                <a:gd name="connsiteY5061" fmla="*/ 2965895 h 3355086"/>
                <a:gd name="connsiteX5062" fmla="*/ 2712338 w 3359086"/>
                <a:gd name="connsiteY5062" fmla="*/ 2965228 h 3355086"/>
                <a:gd name="connsiteX5063" fmla="*/ 2718530 w 3359086"/>
                <a:gd name="connsiteY5063" fmla="*/ 2971419 h 3355086"/>
                <a:gd name="connsiteX5064" fmla="*/ 2712338 w 3359086"/>
                <a:gd name="connsiteY5064" fmla="*/ 2977611 h 3355086"/>
                <a:gd name="connsiteX5065" fmla="*/ 2706147 w 3359086"/>
                <a:gd name="connsiteY5065" fmla="*/ 2971419 h 3355086"/>
                <a:gd name="connsiteX5066" fmla="*/ 2712338 w 3359086"/>
                <a:gd name="connsiteY5066" fmla="*/ 2965228 h 3355086"/>
                <a:gd name="connsiteX5067" fmla="*/ 1835086 w 3359086"/>
                <a:gd name="connsiteY5067" fmla="*/ 2964942 h 3355086"/>
                <a:gd name="connsiteX5068" fmla="*/ 1841278 w 3359086"/>
                <a:gd name="connsiteY5068" fmla="*/ 2971133 h 3355086"/>
                <a:gd name="connsiteX5069" fmla="*/ 1835086 w 3359086"/>
                <a:gd name="connsiteY5069" fmla="*/ 2977325 h 3355086"/>
                <a:gd name="connsiteX5070" fmla="*/ 1828895 w 3359086"/>
                <a:gd name="connsiteY5070" fmla="*/ 2971133 h 3355086"/>
                <a:gd name="connsiteX5071" fmla="*/ 1835086 w 3359086"/>
                <a:gd name="connsiteY5071" fmla="*/ 2964942 h 3355086"/>
                <a:gd name="connsiteX5072" fmla="*/ 629602 w 3359086"/>
                <a:gd name="connsiteY5072" fmla="*/ 2964847 h 3355086"/>
                <a:gd name="connsiteX5073" fmla="*/ 635794 w 3359086"/>
                <a:gd name="connsiteY5073" fmla="*/ 2971038 h 3355086"/>
                <a:gd name="connsiteX5074" fmla="*/ 629602 w 3359086"/>
                <a:gd name="connsiteY5074" fmla="*/ 2977229 h 3355086"/>
                <a:gd name="connsiteX5075" fmla="*/ 623411 w 3359086"/>
                <a:gd name="connsiteY5075" fmla="*/ 2971038 h 3355086"/>
                <a:gd name="connsiteX5076" fmla="*/ 629602 w 3359086"/>
                <a:gd name="connsiteY5076" fmla="*/ 2964847 h 3355086"/>
                <a:gd name="connsiteX5077" fmla="*/ 2695098 w 3359086"/>
                <a:gd name="connsiteY5077" fmla="*/ 2964276 h 3355086"/>
                <a:gd name="connsiteX5078" fmla="*/ 2701290 w 3359086"/>
                <a:gd name="connsiteY5078" fmla="*/ 2970467 h 3355086"/>
                <a:gd name="connsiteX5079" fmla="*/ 2695098 w 3359086"/>
                <a:gd name="connsiteY5079" fmla="*/ 2976658 h 3355086"/>
                <a:gd name="connsiteX5080" fmla="*/ 2688907 w 3359086"/>
                <a:gd name="connsiteY5080" fmla="*/ 2970467 h 3355086"/>
                <a:gd name="connsiteX5081" fmla="*/ 2695098 w 3359086"/>
                <a:gd name="connsiteY5081" fmla="*/ 2964276 h 3355086"/>
                <a:gd name="connsiteX5082" fmla="*/ 2667190 w 3359086"/>
                <a:gd name="connsiteY5082" fmla="*/ 2962942 h 3355086"/>
                <a:gd name="connsiteX5083" fmla="*/ 2673382 w 3359086"/>
                <a:gd name="connsiteY5083" fmla="*/ 2969133 h 3355086"/>
                <a:gd name="connsiteX5084" fmla="*/ 2667190 w 3359086"/>
                <a:gd name="connsiteY5084" fmla="*/ 2975324 h 3355086"/>
                <a:gd name="connsiteX5085" fmla="*/ 2660999 w 3359086"/>
                <a:gd name="connsiteY5085" fmla="*/ 2969133 h 3355086"/>
                <a:gd name="connsiteX5086" fmla="*/ 2667190 w 3359086"/>
                <a:gd name="connsiteY5086" fmla="*/ 2962942 h 3355086"/>
                <a:gd name="connsiteX5087" fmla="*/ 2577179 w 3359086"/>
                <a:gd name="connsiteY5087" fmla="*/ 2962942 h 3355086"/>
                <a:gd name="connsiteX5088" fmla="*/ 2583370 w 3359086"/>
                <a:gd name="connsiteY5088" fmla="*/ 2969133 h 3355086"/>
                <a:gd name="connsiteX5089" fmla="*/ 2577179 w 3359086"/>
                <a:gd name="connsiteY5089" fmla="*/ 2975324 h 3355086"/>
                <a:gd name="connsiteX5090" fmla="*/ 2570988 w 3359086"/>
                <a:gd name="connsiteY5090" fmla="*/ 2969133 h 3355086"/>
                <a:gd name="connsiteX5091" fmla="*/ 2577179 w 3359086"/>
                <a:gd name="connsiteY5091" fmla="*/ 2962942 h 3355086"/>
                <a:gd name="connsiteX5092" fmla="*/ 1156620 w 3359086"/>
                <a:gd name="connsiteY5092" fmla="*/ 2962656 h 3355086"/>
                <a:gd name="connsiteX5093" fmla="*/ 1162812 w 3359086"/>
                <a:gd name="connsiteY5093" fmla="*/ 2968847 h 3355086"/>
                <a:gd name="connsiteX5094" fmla="*/ 1156620 w 3359086"/>
                <a:gd name="connsiteY5094" fmla="*/ 2975038 h 3355086"/>
                <a:gd name="connsiteX5095" fmla="*/ 1150429 w 3359086"/>
                <a:gd name="connsiteY5095" fmla="*/ 2968847 h 3355086"/>
                <a:gd name="connsiteX5096" fmla="*/ 1156620 w 3359086"/>
                <a:gd name="connsiteY5096" fmla="*/ 2962656 h 3355086"/>
                <a:gd name="connsiteX5097" fmla="*/ 838866 w 3359086"/>
                <a:gd name="connsiteY5097" fmla="*/ 2961894 h 3355086"/>
                <a:gd name="connsiteX5098" fmla="*/ 845058 w 3359086"/>
                <a:gd name="connsiteY5098" fmla="*/ 2968085 h 3355086"/>
                <a:gd name="connsiteX5099" fmla="*/ 838866 w 3359086"/>
                <a:gd name="connsiteY5099" fmla="*/ 2974276 h 3355086"/>
                <a:gd name="connsiteX5100" fmla="*/ 832675 w 3359086"/>
                <a:gd name="connsiteY5100" fmla="*/ 2968085 h 3355086"/>
                <a:gd name="connsiteX5101" fmla="*/ 838866 w 3359086"/>
                <a:gd name="connsiteY5101" fmla="*/ 2961894 h 3355086"/>
                <a:gd name="connsiteX5102" fmla="*/ 1453228 w 3359086"/>
                <a:gd name="connsiteY5102" fmla="*/ 2961704 h 3355086"/>
                <a:gd name="connsiteX5103" fmla="*/ 1459420 w 3359086"/>
                <a:gd name="connsiteY5103" fmla="*/ 2967895 h 3355086"/>
                <a:gd name="connsiteX5104" fmla="*/ 1453228 w 3359086"/>
                <a:gd name="connsiteY5104" fmla="*/ 2974087 h 3355086"/>
                <a:gd name="connsiteX5105" fmla="*/ 1447037 w 3359086"/>
                <a:gd name="connsiteY5105" fmla="*/ 2967895 h 3355086"/>
                <a:gd name="connsiteX5106" fmla="*/ 1453228 w 3359086"/>
                <a:gd name="connsiteY5106" fmla="*/ 2961704 h 3355086"/>
                <a:gd name="connsiteX5107" fmla="*/ 906208 w 3359086"/>
                <a:gd name="connsiteY5107" fmla="*/ 2961609 h 3355086"/>
                <a:gd name="connsiteX5108" fmla="*/ 912400 w 3359086"/>
                <a:gd name="connsiteY5108" fmla="*/ 2967800 h 3355086"/>
                <a:gd name="connsiteX5109" fmla="*/ 906208 w 3359086"/>
                <a:gd name="connsiteY5109" fmla="*/ 2973991 h 3355086"/>
                <a:gd name="connsiteX5110" fmla="*/ 900017 w 3359086"/>
                <a:gd name="connsiteY5110" fmla="*/ 2967800 h 3355086"/>
                <a:gd name="connsiteX5111" fmla="*/ 906208 w 3359086"/>
                <a:gd name="connsiteY5111" fmla="*/ 2961609 h 3355086"/>
                <a:gd name="connsiteX5112" fmla="*/ 656843 w 3359086"/>
                <a:gd name="connsiteY5112" fmla="*/ 2961323 h 3355086"/>
                <a:gd name="connsiteX5113" fmla="*/ 663035 w 3359086"/>
                <a:gd name="connsiteY5113" fmla="*/ 2967514 h 3355086"/>
                <a:gd name="connsiteX5114" fmla="*/ 656843 w 3359086"/>
                <a:gd name="connsiteY5114" fmla="*/ 2973705 h 3355086"/>
                <a:gd name="connsiteX5115" fmla="*/ 650652 w 3359086"/>
                <a:gd name="connsiteY5115" fmla="*/ 2967514 h 3355086"/>
                <a:gd name="connsiteX5116" fmla="*/ 656843 w 3359086"/>
                <a:gd name="connsiteY5116" fmla="*/ 2961323 h 3355086"/>
                <a:gd name="connsiteX5117" fmla="*/ 2756535 w 3359086"/>
                <a:gd name="connsiteY5117" fmla="*/ 2959608 h 3355086"/>
                <a:gd name="connsiteX5118" fmla="*/ 2759107 w 3359086"/>
                <a:gd name="connsiteY5118" fmla="*/ 2962180 h 3355086"/>
                <a:gd name="connsiteX5119" fmla="*/ 2756535 w 3359086"/>
                <a:gd name="connsiteY5119" fmla="*/ 2964752 h 3355086"/>
                <a:gd name="connsiteX5120" fmla="*/ 2753963 w 3359086"/>
                <a:gd name="connsiteY5120" fmla="*/ 2962180 h 3355086"/>
                <a:gd name="connsiteX5121" fmla="*/ 2756535 w 3359086"/>
                <a:gd name="connsiteY5121" fmla="*/ 2959608 h 3355086"/>
                <a:gd name="connsiteX5122" fmla="*/ 2734341 w 3359086"/>
                <a:gd name="connsiteY5122" fmla="*/ 2959513 h 3355086"/>
                <a:gd name="connsiteX5123" fmla="*/ 2740532 w 3359086"/>
                <a:gd name="connsiteY5123" fmla="*/ 2965704 h 3355086"/>
                <a:gd name="connsiteX5124" fmla="*/ 2734341 w 3359086"/>
                <a:gd name="connsiteY5124" fmla="*/ 2971895 h 3355086"/>
                <a:gd name="connsiteX5125" fmla="*/ 2728150 w 3359086"/>
                <a:gd name="connsiteY5125" fmla="*/ 2965704 h 3355086"/>
                <a:gd name="connsiteX5126" fmla="*/ 2734341 w 3359086"/>
                <a:gd name="connsiteY5126" fmla="*/ 2959513 h 3355086"/>
                <a:gd name="connsiteX5127" fmla="*/ 607790 w 3359086"/>
                <a:gd name="connsiteY5127" fmla="*/ 2959227 h 3355086"/>
                <a:gd name="connsiteX5128" fmla="*/ 612077 w 3359086"/>
                <a:gd name="connsiteY5128" fmla="*/ 2963513 h 3355086"/>
                <a:gd name="connsiteX5129" fmla="*/ 607790 w 3359086"/>
                <a:gd name="connsiteY5129" fmla="*/ 2967800 h 3355086"/>
                <a:gd name="connsiteX5130" fmla="*/ 603504 w 3359086"/>
                <a:gd name="connsiteY5130" fmla="*/ 2963513 h 3355086"/>
                <a:gd name="connsiteX5131" fmla="*/ 607790 w 3359086"/>
                <a:gd name="connsiteY5131" fmla="*/ 2959227 h 3355086"/>
                <a:gd name="connsiteX5132" fmla="*/ 2684906 w 3359086"/>
                <a:gd name="connsiteY5132" fmla="*/ 2958370 h 3355086"/>
                <a:gd name="connsiteX5133" fmla="*/ 2691097 w 3359086"/>
                <a:gd name="connsiteY5133" fmla="*/ 2964561 h 3355086"/>
                <a:gd name="connsiteX5134" fmla="*/ 2684906 w 3359086"/>
                <a:gd name="connsiteY5134" fmla="*/ 2970753 h 3355086"/>
                <a:gd name="connsiteX5135" fmla="*/ 2678715 w 3359086"/>
                <a:gd name="connsiteY5135" fmla="*/ 2964561 h 3355086"/>
                <a:gd name="connsiteX5136" fmla="*/ 2684906 w 3359086"/>
                <a:gd name="connsiteY5136" fmla="*/ 2958370 h 3355086"/>
                <a:gd name="connsiteX5137" fmla="*/ 781526 w 3359086"/>
                <a:gd name="connsiteY5137" fmla="*/ 2958084 h 3355086"/>
                <a:gd name="connsiteX5138" fmla="*/ 787717 w 3359086"/>
                <a:gd name="connsiteY5138" fmla="*/ 2964275 h 3355086"/>
                <a:gd name="connsiteX5139" fmla="*/ 781526 w 3359086"/>
                <a:gd name="connsiteY5139" fmla="*/ 2970467 h 3355086"/>
                <a:gd name="connsiteX5140" fmla="*/ 775335 w 3359086"/>
                <a:gd name="connsiteY5140" fmla="*/ 2964275 h 3355086"/>
                <a:gd name="connsiteX5141" fmla="*/ 781526 w 3359086"/>
                <a:gd name="connsiteY5141" fmla="*/ 2958084 h 3355086"/>
                <a:gd name="connsiteX5142" fmla="*/ 640270 w 3359086"/>
                <a:gd name="connsiteY5142" fmla="*/ 2957227 h 3355086"/>
                <a:gd name="connsiteX5143" fmla="*/ 646462 w 3359086"/>
                <a:gd name="connsiteY5143" fmla="*/ 2963418 h 3355086"/>
                <a:gd name="connsiteX5144" fmla="*/ 640270 w 3359086"/>
                <a:gd name="connsiteY5144" fmla="*/ 2969610 h 3355086"/>
                <a:gd name="connsiteX5145" fmla="*/ 634079 w 3359086"/>
                <a:gd name="connsiteY5145" fmla="*/ 2963418 h 3355086"/>
                <a:gd name="connsiteX5146" fmla="*/ 640270 w 3359086"/>
                <a:gd name="connsiteY5146" fmla="*/ 2957227 h 3355086"/>
                <a:gd name="connsiteX5147" fmla="*/ 1929002 w 3359086"/>
                <a:gd name="connsiteY5147" fmla="*/ 2957037 h 3355086"/>
                <a:gd name="connsiteX5148" fmla="*/ 1935194 w 3359086"/>
                <a:gd name="connsiteY5148" fmla="*/ 2963228 h 3355086"/>
                <a:gd name="connsiteX5149" fmla="*/ 1929002 w 3359086"/>
                <a:gd name="connsiteY5149" fmla="*/ 2969419 h 3355086"/>
                <a:gd name="connsiteX5150" fmla="*/ 1922811 w 3359086"/>
                <a:gd name="connsiteY5150" fmla="*/ 2963228 h 3355086"/>
                <a:gd name="connsiteX5151" fmla="*/ 1929002 w 3359086"/>
                <a:gd name="connsiteY5151" fmla="*/ 2957037 h 3355086"/>
                <a:gd name="connsiteX5152" fmla="*/ 696658 w 3359086"/>
                <a:gd name="connsiteY5152" fmla="*/ 2956179 h 3355086"/>
                <a:gd name="connsiteX5153" fmla="*/ 702850 w 3359086"/>
                <a:gd name="connsiteY5153" fmla="*/ 2962370 h 3355086"/>
                <a:gd name="connsiteX5154" fmla="*/ 696658 w 3359086"/>
                <a:gd name="connsiteY5154" fmla="*/ 2968561 h 3355086"/>
                <a:gd name="connsiteX5155" fmla="*/ 690467 w 3359086"/>
                <a:gd name="connsiteY5155" fmla="*/ 2962370 h 3355086"/>
                <a:gd name="connsiteX5156" fmla="*/ 696658 w 3359086"/>
                <a:gd name="connsiteY5156" fmla="*/ 2956179 h 3355086"/>
                <a:gd name="connsiteX5157" fmla="*/ 984980 w 3359086"/>
                <a:gd name="connsiteY5157" fmla="*/ 2956084 h 3355086"/>
                <a:gd name="connsiteX5158" fmla="*/ 991171 w 3359086"/>
                <a:gd name="connsiteY5158" fmla="*/ 2962275 h 3355086"/>
                <a:gd name="connsiteX5159" fmla="*/ 984980 w 3359086"/>
                <a:gd name="connsiteY5159" fmla="*/ 2968467 h 3355086"/>
                <a:gd name="connsiteX5160" fmla="*/ 978789 w 3359086"/>
                <a:gd name="connsiteY5160" fmla="*/ 2962275 h 3355086"/>
                <a:gd name="connsiteX5161" fmla="*/ 984980 w 3359086"/>
                <a:gd name="connsiteY5161" fmla="*/ 2956084 h 3355086"/>
                <a:gd name="connsiteX5162" fmla="*/ 670083 w 3359086"/>
                <a:gd name="connsiteY5162" fmla="*/ 2955608 h 3355086"/>
                <a:gd name="connsiteX5163" fmla="*/ 676275 w 3359086"/>
                <a:gd name="connsiteY5163" fmla="*/ 2961799 h 3355086"/>
                <a:gd name="connsiteX5164" fmla="*/ 670083 w 3359086"/>
                <a:gd name="connsiteY5164" fmla="*/ 2967990 h 3355086"/>
                <a:gd name="connsiteX5165" fmla="*/ 663892 w 3359086"/>
                <a:gd name="connsiteY5165" fmla="*/ 2961799 h 3355086"/>
                <a:gd name="connsiteX5166" fmla="*/ 670083 w 3359086"/>
                <a:gd name="connsiteY5166" fmla="*/ 2955608 h 3355086"/>
                <a:gd name="connsiteX5167" fmla="*/ 2651188 w 3359086"/>
                <a:gd name="connsiteY5167" fmla="*/ 2955512 h 3355086"/>
                <a:gd name="connsiteX5168" fmla="*/ 2657379 w 3359086"/>
                <a:gd name="connsiteY5168" fmla="*/ 2961703 h 3355086"/>
                <a:gd name="connsiteX5169" fmla="*/ 2651188 w 3359086"/>
                <a:gd name="connsiteY5169" fmla="*/ 2967894 h 3355086"/>
                <a:gd name="connsiteX5170" fmla="*/ 2644997 w 3359086"/>
                <a:gd name="connsiteY5170" fmla="*/ 2961703 h 3355086"/>
                <a:gd name="connsiteX5171" fmla="*/ 2651188 w 3359086"/>
                <a:gd name="connsiteY5171" fmla="*/ 2955512 h 3355086"/>
                <a:gd name="connsiteX5172" fmla="*/ 624458 w 3359086"/>
                <a:gd name="connsiteY5172" fmla="*/ 2955417 h 3355086"/>
                <a:gd name="connsiteX5173" fmla="*/ 630649 w 3359086"/>
                <a:gd name="connsiteY5173" fmla="*/ 2961608 h 3355086"/>
                <a:gd name="connsiteX5174" fmla="*/ 624458 w 3359086"/>
                <a:gd name="connsiteY5174" fmla="*/ 2967800 h 3355086"/>
                <a:gd name="connsiteX5175" fmla="*/ 618267 w 3359086"/>
                <a:gd name="connsiteY5175" fmla="*/ 2961608 h 3355086"/>
                <a:gd name="connsiteX5176" fmla="*/ 624458 w 3359086"/>
                <a:gd name="connsiteY5176" fmla="*/ 2955417 h 3355086"/>
                <a:gd name="connsiteX5177" fmla="*/ 2716720 w 3359086"/>
                <a:gd name="connsiteY5177" fmla="*/ 2955227 h 3355086"/>
                <a:gd name="connsiteX5178" fmla="*/ 2722911 w 3359086"/>
                <a:gd name="connsiteY5178" fmla="*/ 2961418 h 3355086"/>
                <a:gd name="connsiteX5179" fmla="*/ 2716720 w 3359086"/>
                <a:gd name="connsiteY5179" fmla="*/ 2967609 h 3355086"/>
                <a:gd name="connsiteX5180" fmla="*/ 2710529 w 3359086"/>
                <a:gd name="connsiteY5180" fmla="*/ 2961418 h 3355086"/>
                <a:gd name="connsiteX5181" fmla="*/ 2716720 w 3359086"/>
                <a:gd name="connsiteY5181" fmla="*/ 2955227 h 3355086"/>
                <a:gd name="connsiteX5182" fmla="*/ 2700813 w 3359086"/>
                <a:gd name="connsiteY5182" fmla="*/ 2955227 h 3355086"/>
                <a:gd name="connsiteX5183" fmla="*/ 2707005 w 3359086"/>
                <a:gd name="connsiteY5183" fmla="*/ 2961418 h 3355086"/>
                <a:gd name="connsiteX5184" fmla="*/ 2700813 w 3359086"/>
                <a:gd name="connsiteY5184" fmla="*/ 2967609 h 3355086"/>
                <a:gd name="connsiteX5185" fmla="*/ 2694622 w 3359086"/>
                <a:gd name="connsiteY5185" fmla="*/ 2961418 h 3355086"/>
                <a:gd name="connsiteX5186" fmla="*/ 2700813 w 3359086"/>
                <a:gd name="connsiteY5186" fmla="*/ 2955227 h 3355086"/>
                <a:gd name="connsiteX5187" fmla="*/ 2620327 w 3359086"/>
                <a:gd name="connsiteY5187" fmla="*/ 2953607 h 3355086"/>
                <a:gd name="connsiteX5188" fmla="*/ 2626518 w 3359086"/>
                <a:gd name="connsiteY5188" fmla="*/ 2959798 h 3355086"/>
                <a:gd name="connsiteX5189" fmla="*/ 2620327 w 3359086"/>
                <a:gd name="connsiteY5189" fmla="*/ 2965990 h 3355086"/>
                <a:gd name="connsiteX5190" fmla="*/ 2614136 w 3359086"/>
                <a:gd name="connsiteY5190" fmla="*/ 2959798 h 3355086"/>
                <a:gd name="connsiteX5191" fmla="*/ 2620327 w 3359086"/>
                <a:gd name="connsiteY5191" fmla="*/ 2953607 h 3355086"/>
                <a:gd name="connsiteX5192" fmla="*/ 2673952 w 3359086"/>
                <a:gd name="connsiteY5192" fmla="*/ 2953227 h 3355086"/>
                <a:gd name="connsiteX5193" fmla="*/ 2680144 w 3359086"/>
                <a:gd name="connsiteY5193" fmla="*/ 2959418 h 3355086"/>
                <a:gd name="connsiteX5194" fmla="*/ 2673952 w 3359086"/>
                <a:gd name="connsiteY5194" fmla="*/ 2965609 h 3355086"/>
                <a:gd name="connsiteX5195" fmla="*/ 2667761 w 3359086"/>
                <a:gd name="connsiteY5195" fmla="*/ 2959418 h 3355086"/>
                <a:gd name="connsiteX5196" fmla="*/ 2673952 w 3359086"/>
                <a:gd name="connsiteY5196" fmla="*/ 2953227 h 3355086"/>
                <a:gd name="connsiteX5197" fmla="*/ 2218943 w 3359086"/>
                <a:gd name="connsiteY5197" fmla="*/ 2953036 h 3355086"/>
                <a:gd name="connsiteX5198" fmla="*/ 2225135 w 3359086"/>
                <a:gd name="connsiteY5198" fmla="*/ 2959227 h 3355086"/>
                <a:gd name="connsiteX5199" fmla="*/ 2218943 w 3359086"/>
                <a:gd name="connsiteY5199" fmla="*/ 2965419 h 3355086"/>
                <a:gd name="connsiteX5200" fmla="*/ 2212752 w 3359086"/>
                <a:gd name="connsiteY5200" fmla="*/ 2959227 h 3355086"/>
                <a:gd name="connsiteX5201" fmla="*/ 2218943 w 3359086"/>
                <a:gd name="connsiteY5201" fmla="*/ 2953036 h 3355086"/>
                <a:gd name="connsiteX5202" fmla="*/ 1360169 w 3359086"/>
                <a:gd name="connsiteY5202" fmla="*/ 2952274 h 3355086"/>
                <a:gd name="connsiteX5203" fmla="*/ 1366361 w 3359086"/>
                <a:gd name="connsiteY5203" fmla="*/ 2958465 h 3355086"/>
                <a:gd name="connsiteX5204" fmla="*/ 1360169 w 3359086"/>
                <a:gd name="connsiteY5204" fmla="*/ 2964656 h 3355086"/>
                <a:gd name="connsiteX5205" fmla="*/ 1353978 w 3359086"/>
                <a:gd name="connsiteY5205" fmla="*/ 2958465 h 3355086"/>
                <a:gd name="connsiteX5206" fmla="*/ 1360169 w 3359086"/>
                <a:gd name="connsiteY5206" fmla="*/ 2952274 h 3355086"/>
                <a:gd name="connsiteX5207" fmla="*/ 649985 w 3359086"/>
                <a:gd name="connsiteY5207" fmla="*/ 2952179 h 3355086"/>
                <a:gd name="connsiteX5208" fmla="*/ 656177 w 3359086"/>
                <a:gd name="connsiteY5208" fmla="*/ 2958370 h 3355086"/>
                <a:gd name="connsiteX5209" fmla="*/ 649985 w 3359086"/>
                <a:gd name="connsiteY5209" fmla="*/ 2964562 h 3355086"/>
                <a:gd name="connsiteX5210" fmla="*/ 643794 w 3359086"/>
                <a:gd name="connsiteY5210" fmla="*/ 2958370 h 3355086"/>
                <a:gd name="connsiteX5211" fmla="*/ 649985 w 3359086"/>
                <a:gd name="connsiteY5211" fmla="*/ 2952179 h 3355086"/>
                <a:gd name="connsiteX5212" fmla="*/ 732948 w 3359086"/>
                <a:gd name="connsiteY5212" fmla="*/ 2951036 h 3355086"/>
                <a:gd name="connsiteX5213" fmla="*/ 739139 w 3359086"/>
                <a:gd name="connsiteY5213" fmla="*/ 2957227 h 3355086"/>
                <a:gd name="connsiteX5214" fmla="*/ 732948 w 3359086"/>
                <a:gd name="connsiteY5214" fmla="*/ 2963418 h 3355086"/>
                <a:gd name="connsiteX5215" fmla="*/ 726757 w 3359086"/>
                <a:gd name="connsiteY5215" fmla="*/ 2957227 h 3355086"/>
                <a:gd name="connsiteX5216" fmla="*/ 732948 w 3359086"/>
                <a:gd name="connsiteY5216" fmla="*/ 2951036 h 3355086"/>
                <a:gd name="connsiteX5217" fmla="*/ 2691764 w 3359086"/>
                <a:gd name="connsiteY5217" fmla="*/ 2949417 h 3355086"/>
                <a:gd name="connsiteX5218" fmla="*/ 2697955 w 3359086"/>
                <a:gd name="connsiteY5218" fmla="*/ 2955608 h 3355086"/>
                <a:gd name="connsiteX5219" fmla="*/ 2691764 w 3359086"/>
                <a:gd name="connsiteY5219" fmla="*/ 2961799 h 3355086"/>
                <a:gd name="connsiteX5220" fmla="*/ 2685573 w 3359086"/>
                <a:gd name="connsiteY5220" fmla="*/ 2955608 h 3355086"/>
                <a:gd name="connsiteX5221" fmla="*/ 2691764 w 3359086"/>
                <a:gd name="connsiteY5221" fmla="*/ 2949417 h 3355086"/>
                <a:gd name="connsiteX5222" fmla="*/ 2459831 w 3359086"/>
                <a:gd name="connsiteY5222" fmla="*/ 2948845 h 3355086"/>
                <a:gd name="connsiteX5223" fmla="*/ 2466022 w 3359086"/>
                <a:gd name="connsiteY5223" fmla="*/ 2955036 h 3355086"/>
                <a:gd name="connsiteX5224" fmla="*/ 2459831 w 3359086"/>
                <a:gd name="connsiteY5224" fmla="*/ 2961228 h 3355086"/>
                <a:gd name="connsiteX5225" fmla="*/ 2453640 w 3359086"/>
                <a:gd name="connsiteY5225" fmla="*/ 2955036 h 3355086"/>
                <a:gd name="connsiteX5226" fmla="*/ 2459831 w 3359086"/>
                <a:gd name="connsiteY5226" fmla="*/ 2948845 h 3355086"/>
                <a:gd name="connsiteX5227" fmla="*/ 2523839 w 3359086"/>
                <a:gd name="connsiteY5227" fmla="*/ 2948559 h 3355086"/>
                <a:gd name="connsiteX5228" fmla="*/ 2530030 w 3359086"/>
                <a:gd name="connsiteY5228" fmla="*/ 2954750 h 3355086"/>
                <a:gd name="connsiteX5229" fmla="*/ 2523839 w 3359086"/>
                <a:gd name="connsiteY5229" fmla="*/ 2960942 h 3355086"/>
                <a:gd name="connsiteX5230" fmla="*/ 2517648 w 3359086"/>
                <a:gd name="connsiteY5230" fmla="*/ 2954750 h 3355086"/>
                <a:gd name="connsiteX5231" fmla="*/ 2523839 w 3359086"/>
                <a:gd name="connsiteY5231" fmla="*/ 2948559 h 3355086"/>
                <a:gd name="connsiteX5232" fmla="*/ 2737960 w 3359086"/>
                <a:gd name="connsiteY5232" fmla="*/ 2948369 h 3355086"/>
                <a:gd name="connsiteX5233" fmla="*/ 2744152 w 3359086"/>
                <a:gd name="connsiteY5233" fmla="*/ 2954560 h 3355086"/>
                <a:gd name="connsiteX5234" fmla="*/ 2737960 w 3359086"/>
                <a:gd name="connsiteY5234" fmla="*/ 2960751 h 3355086"/>
                <a:gd name="connsiteX5235" fmla="*/ 2731769 w 3359086"/>
                <a:gd name="connsiteY5235" fmla="*/ 2954560 h 3355086"/>
                <a:gd name="connsiteX5236" fmla="*/ 2737960 w 3359086"/>
                <a:gd name="connsiteY5236" fmla="*/ 2948369 h 3355086"/>
                <a:gd name="connsiteX5237" fmla="*/ 633602 w 3359086"/>
                <a:gd name="connsiteY5237" fmla="*/ 2948369 h 3355086"/>
                <a:gd name="connsiteX5238" fmla="*/ 639793 w 3359086"/>
                <a:gd name="connsiteY5238" fmla="*/ 2954560 h 3355086"/>
                <a:gd name="connsiteX5239" fmla="*/ 633602 w 3359086"/>
                <a:gd name="connsiteY5239" fmla="*/ 2960751 h 3355086"/>
                <a:gd name="connsiteX5240" fmla="*/ 627411 w 3359086"/>
                <a:gd name="connsiteY5240" fmla="*/ 2954560 h 3355086"/>
                <a:gd name="connsiteX5241" fmla="*/ 633602 w 3359086"/>
                <a:gd name="connsiteY5241" fmla="*/ 2948369 h 3355086"/>
                <a:gd name="connsiteX5242" fmla="*/ 603408 w 3359086"/>
                <a:gd name="connsiteY5242" fmla="*/ 2946940 h 3355086"/>
                <a:gd name="connsiteX5243" fmla="*/ 609599 w 3359086"/>
                <a:gd name="connsiteY5243" fmla="*/ 2953131 h 3355086"/>
                <a:gd name="connsiteX5244" fmla="*/ 603408 w 3359086"/>
                <a:gd name="connsiteY5244" fmla="*/ 2959322 h 3355086"/>
                <a:gd name="connsiteX5245" fmla="*/ 597217 w 3359086"/>
                <a:gd name="connsiteY5245" fmla="*/ 2953131 h 3355086"/>
                <a:gd name="connsiteX5246" fmla="*/ 603408 w 3359086"/>
                <a:gd name="connsiteY5246" fmla="*/ 2946940 h 3355086"/>
                <a:gd name="connsiteX5247" fmla="*/ 582549 w 3359086"/>
                <a:gd name="connsiteY5247" fmla="*/ 2946464 h 3355086"/>
                <a:gd name="connsiteX5248" fmla="*/ 582834 w 3359086"/>
                <a:gd name="connsiteY5248" fmla="*/ 2946750 h 3355086"/>
                <a:gd name="connsiteX5249" fmla="*/ 582549 w 3359086"/>
                <a:gd name="connsiteY5249" fmla="*/ 2947035 h 3355086"/>
                <a:gd name="connsiteX5250" fmla="*/ 582263 w 3359086"/>
                <a:gd name="connsiteY5250" fmla="*/ 2946750 h 3355086"/>
                <a:gd name="connsiteX5251" fmla="*/ 582549 w 3359086"/>
                <a:gd name="connsiteY5251" fmla="*/ 2946464 h 3355086"/>
                <a:gd name="connsiteX5252" fmla="*/ 2707099 w 3359086"/>
                <a:gd name="connsiteY5252" fmla="*/ 2946178 h 3355086"/>
                <a:gd name="connsiteX5253" fmla="*/ 2713290 w 3359086"/>
                <a:gd name="connsiteY5253" fmla="*/ 2952369 h 3355086"/>
                <a:gd name="connsiteX5254" fmla="*/ 2707099 w 3359086"/>
                <a:gd name="connsiteY5254" fmla="*/ 2958561 h 3355086"/>
                <a:gd name="connsiteX5255" fmla="*/ 2700908 w 3359086"/>
                <a:gd name="connsiteY5255" fmla="*/ 2952369 h 3355086"/>
                <a:gd name="connsiteX5256" fmla="*/ 2707099 w 3359086"/>
                <a:gd name="connsiteY5256" fmla="*/ 2946178 h 3355086"/>
                <a:gd name="connsiteX5257" fmla="*/ 618648 w 3359086"/>
                <a:gd name="connsiteY5257" fmla="*/ 2946083 h 3355086"/>
                <a:gd name="connsiteX5258" fmla="*/ 624839 w 3359086"/>
                <a:gd name="connsiteY5258" fmla="*/ 2952274 h 3355086"/>
                <a:gd name="connsiteX5259" fmla="*/ 618648 w 3359086"/>
                <a:gd name="connsiteY5259" fmla="*/ 2958465 h 3355086"/>
                <a:gd name="connsiteX5260" fmla="*/ 612457 w 3359086"/>
                <a:gd name="connsiteY5260" fmla="*/ 2952274 h 3355086"/>
                <a:gd name="connsiteX5261" fmla="*/ 618648 w 3359086"/>
                <a:gd name="connsiteY5261" fmla="*/ 2946083 h 3355086"/>
                <a:gd name="connsiteX5262" fmla="*/ 2020919 w 3359086"/>
                <a:gd name="connsiteY5262" fmla="*/ 2945892 h 3355086"/>
                <a:gd name="connsiteX5263" fmla="*/ 2027111 w 3359086"/>
                <a:gd name="connsiteY5263" fmla="*/ 2952083 h 3355086"/>
                <a:gd name="connsiteX5264" fmla="*/ 2020919 w 3359086"/>
                <a:gd name="connsiteY5264" fmla="*/ 2958275 h 3355086"/>
                <a:gd name="connsiteX5265" fmla="*/ 2014728 w 3359086"/>
                <a:gd name="connsiteY5265" fmla="*/ 2952083 h 3355086"/>
                <a:gd name="connsiteX5266" fmla="*/ 2020919 w 3359086"/>
                <a:gd name="connsiteY5266" fmla="*/ 2945892 h 3355086"/>
                <a:gd name="connsiteX5267" fmla="*/ 2721958 w 3359086"/>
                <a:gd name="connsiteY5267" fmla="*/ 2945416 h 3355086"/>
                <a:gd name="connsiteX5268" fmla="*/ 2728150 w 3359086"/>
                <a:gd name="connsiteY5268" fmla="*/ 2951607 h 3355086"/>
                <a:gd name="connsiteX5269" fmla="*/ 2721958 w 3359086"/>
                <a:gd name="connsiteY5269" fmla="*/ 2957798 h 3355086"/>
                <a:gd name="connsiteX5270" fmla="*/ 2715767 w 3359086"/>
                <a:gd name="connsiteY5270" fmla="*/ 2951607 h 3355086"/>
                <a:gd name="connsiteX5271" fmla="*/ 2721958 w 3359086"/>
                <a:gd name="connsiteY5271" fmla="*/ 2945416 h 3355086"/>
                <a:gd name="connsiteX5272" fmla="*/ 2578131 w 3359086"/>
                <a:gd name="connsiteY5272" fmla="*/ 2944368 h 3355086"/>
                <a:gd name="connsiteX5273" fmla="*/ 2584323 w 3359086"/>
                <a:gd name="connsiteY5273" fmla="*/ 2950559 h 3355086"/>
                <a:gd name="connsiteX5274" fmla="*/ 2578131 w 3359086"/>
                <a:gd name="connsiteY5274" fmla="*/ 2956751 h 3355086"/>
                <a:gd name="connsiteX5275" fmla="*/ 2571940 w 3359086"/>
                <a:gd name="connsiteY5275" fmla="*/ 2950559 h 3355086"/>
                <a:gd name="connsiteX5276" fmla="*/ 2578131 w 3359086"/>
                <a:gd name="connsiteY5276" fmla="*/ 2944368 h 3355086"/>
                <a:gd name="connsiteX5277" fmla="*/ 2384774 w 3359086"/>
                <a:gd name="connsiteY5277" fmla="*/ 2944178 h 3355086"/>
                <a:gd name="connsiteX5278" fmla="*/ 2390966 w 3359086"/>
                <a:gd name="connsiteY5278" fmla="*/ 2950369 h 3355086"/>
                <a:gd name="connsiteX5279" fmla="*/ 2384774 w 3359086"/>
                <a:gd name="connsiteY5279" fmla="*/ 2956561 h 3355086"/>
                <a:gd name="connsiteX5280" fmla="*/ 2378583 w 3359086"/>
                <a:gd name="connsiteY5280" fmla="*/ 2950369 h 3355086"/>
                <a:gd name="connsiteX5281" fmla="*/ 2384774 w 3359086"/>
                <a:gd name="connsiteY5281" fmla="*/ 2944178 h 3355086"/>
                <a:gd name="connsiteX5282" fmla="*/ 1076420 w 3359086"/>
                <a:gd name="connsiteY5282" fmla="*/ 2944082 h 3355086"/>
                <a:gd name="connsiteX5283" fmla="*/ 1082612 w 3359086"/>
                <a:gd name="connsiteY5283" fmla="*/ 2950273 h 3355086"/>
                <a:gd name="connsiteX5284" fmla="*/ 1076420 w 3359086"/>
                <a:gd name="connsiteY5284" fmla="*/ 2956465 h 3355086"/>
                <a:gd name="connsiteX5285" fmla="*/ 1070229 w 3359086"/>
                <a:gd name="connsiteY5285" fmla="*/ 2950273 h 3355086"/>
                <a:gd name="connsiteX5286" fmla="*/ 1076420 w 3359086"/>
                <a:gd name="connsiteY5286" fmla="*/ 2944082 h 3355086"/>
                <a:gd name="connsiteX5287" fmla="*/ 663606 w 3359086"/>
                <a:gd name="connsiteY5287" fmla="*/ 2943987 h 3355086"/>
                <a:gd name="connsiteX5288" fmla="*/ 669798 w 3359086"/>
                <a:gd name="connsiteY5288" fmla="*/ 2950178 h 3355086"/>
                <a:gd name="connsiteX5289" fmla="*/ 663606 w 3359086"/>
                <a:gd name="connsiteY5289" fmla="*/ 2956369 h 3355086"/>
                <a:gd name="connsiteX5290" fmla="*/ 657415 w 3359086"/>
                <a:gd name="connsiteY5290" fmla="*/ 2950178 h 3355086"/>
                <a:gd name="connsiteX5291" fmla="*/ 663606 w 3359086"/>
                <a:gd name="connsiteY5291" fmla="*/ 2943987 h 3355086"/>
                <a:gd name="connsiteX5292" fmla="*/ 2759297 w 3359086"/>
                <a:gd name="connsiteY5292" fmla="*/ 2943797 h 3355086"/>
                <a:gd name="connsiteX5293" fmla="*/ 2765488 w 3359086"/>
                <a:gd name="connsiteY5293" fmla="*/ 2949988 h 3355086"/>
                <a:gd name="connsiteX5294" fmla="*/ 2759297 w 3359086"/>
                <a:gd name="connsiteY5294" fmla="*/ 2956180 h 3355086"/>
                <a:gd name="connsiteX5295" fmla="*/ 2753106 w 3359086"/>
                <a:gd name="connsiteY5295" fmla="*/ 2949988 h 3355086"/>
                <a:gd name="connsiteX5296" fmla="*/ 2759297 w 3359086"/>
                <a:gd name="connsiteY5296" fmla="*/ 2943797 h 3355086"/>
                <a:gd name="connsiteX5297" fmla="*/ 2656998 w 3359086"/>
                <a:gd name="connsiteY5297" fmla="*/ 2942654 h 3355086"/>
                <a:gd name="connsiteX5298" fmla="*/ 2663190 w 3359086"/>
                <a:gd name="connsiteY5298" fmla="*/ 2948845 h 3355086"/>
                <a:gd name="connsiteX5299" fmla="*/ 2656998 w 3359086"/>
                <a:gd name="connsiteY5299" fmla="*/ 2955037 h 3355086"/>
                <a:gd name="connsiteX5300" fmla="*/ 2650807 w 3359086"/>
                <a:gd name="connsiteY5300" fmla="*/ 2948845 h 3355086"/>
                <a:gd name="connsiteX5301" fmla="*/ 2656998 w 3359086"/>
                <a:gd name="connsiteY5301" fmla="*/ 2942654 h 3355086"/>
                <a:gd name="connsiteX5302" fmla="*/ 2681001 w 3359086"/>
                <a:gd name="connsiteY5302" fmla="*/ 2942559 h 3355086"/>
                <a:gd name="connsiteX5303" fmla="*/ 2687192 w 3359086"/>
                <a:gd name="connsiteY5303" fmla="*/ 2948750 h 3355086"/>
                <a:gd name="connsiteX5304" fmla="*/ 2681001 w 3359086"/>
                <a:gd name="connsiteY5304" fmla="*/ 2954941 h 3355086"/>
                <a:gd name="connsiteX5305" fmla="*/ 2674810 w 3359086"/>
                <a:gd name="connsiteY5305" fmla="*/ 2948750 h 3355086"/>
                <a:gd name="connsiteX5306" fmla="*/ 2681001 w 3359086"/>
                <a:gd name="connsiteY5306" fmla="*/ 2942559 h 3355086"/>
                <a:gd name="connsiteX5307" fmla="*/ 642746 w 3359086"/>
                <a:gd name="connsiteY5307" fmla="*/ 2942178 h 3355086"/>
                <a:gd name="connsiteX5308" fmla="*/ 648937 w 3359086"/>
                <a:gd name="connsiteY5308" fmla="*/ 2948369 h 3355086"/>
                <a:gd name="connsiteX5309" fmla="*/ 642746 w 3359086"/>
                <a:gd name="connsiteY5309" fmla="*/ 2954560 h 3355086"/>
                <a:gd name="connsiteX5310" fmla="*/ 636555 w 3359086"/>
                <a:gd name="connsiteY5310" fmla="*/ 2948369 h 3355086"/>
                <a:gd name="connsiteX5311" fmla="*/ 642746 w 3359086"/>
                <a:gd name="connsiteY5311" fmla="*/ 2942178 h 3355086"/>
                <a:gd name="connsiteX5312" fmla="*/ 691895 w 3359086"/>
                <a:gd name="connsiteY5312" fmla="*/ 2941701 h 3355086"/>
                <a:gd name="connsiteX5313" fmla="*/ 698087 w 3359086"/>
                <a:gd name="connsiteY5313" fmla="*/ 2947892 h 3355086"/>
                <a:gd name="connsiteX5314" fmla="*/ 691895 w 3359086"/>
                <a:gd name="connsiteY5314" fmla="*/ 2954084 h 3355086"/>
                <a:gd name="connsiteX5315" fmla="*/ 685704 w 3359086"/>
                <a:gd name="connsiteY5315" fmla="*/ 2947892 h 3355086"/>
                <a:gd name="connsiteX5316" fmla="*/ 691895 w 3359086"/>
                <a:gd name="connsiteY5316" fmla="*/ 2941701 h 3355086"/>
                <a:gd name="connsiteX5317" fmla="*/ 2699099 w 3359086"/>
                <a:gd name="connsiteY5317" fmla="*/ 2939892 h 3355086"/>
                <a:gd name="connsiteX5318" fmla="*/ 2705290 w 3359086"/>
                <a:gd name="connsiteY5318" fmla="*/ 2946083 h 3355086"/>
                <a:gd name="connsiteX5319" fmla="*/ 2699099 w 3359086"/>
                <a:gd name="connsiteY5319" fmla="*/ 2952274 h 3355086"/>
                <a:gd name="connsiteX5320" fmla="*/ 2692908 w 3359086"/>
                <a:gd name="connsiteY5320" fmla="*/ 2946083 h 3355086"/>
                <a:gd name="connsiteX5321" fmla="*/ 2699099 w 3359086"/>
                <a:gd name="connsiteY5321" fmla="*/ 2939892 h 3355086"/>
                <a:gd name="connsiteX5322" fmla="*/ 1269396 w 3359086"/>
                <a:gd name="connsiteY5322" fmla="*/ 2939701 h 3355086"/>
                <a:gd name="connsiteX5323" fmla="*/ 1275588 w 3359086"/>
                <a:gd name="connsiteY5323" fmla="*/ 2945892 h 3355086"/>
                <a:gd name="connsiteX5324" fmla="*/ 1269396 w 3359086"/>
                <a:gd name="connsiteY5324" fmla="*/ 2952084 h 3355086"/>
                <a:gd name="connsiteX5325" fmla="*/ 1263205 w 3359086"/>
                <a:gd name="connsiteY5325" fmla="*/ 2945892 h 3355086"/>
                <a:gd name="connsiteX5326" fmla="*/ 1269396 w 3359086"/>
                <a:gd name="connsiteY5326" fmla="*/ 2939701 h 3355086"/>
                <a:gd name="connsiteX5327" fmla="*/ 626459 w 3359086"/>
                <a:gd name="connsiteY5327" fmla="*/ 2939034 h 3355086"/>
                <a:gd name="connsiteX5328" fmla="*/ 632650 w 3359086"/>
                <a:gd name="connsiteY5328" fmla="*/ 2945225 h 3355086"/>
                <a:gd name="connsiteX5329" fmla="*/ 626459 w 3359086"/>
                <a:gd name="connsiteY5329" fmla="*/ 2951417 h 3355086"/>
                <a:gd name="connsiteX5330" fmla="*/ 620268 w 3359086"/>
                <a:gd name="connsiteY5330" fmla="*/ 2945225 h 3355086"/>
                <a:gd name="connsiteX5331" fmla="*/ 626459 w 3359086"/>
                <a:gd name="connsiteY5331" fmla="*/ 2939034 h 3355086"/>
                <a:gd name="connsiteX5332" fmla="*/ 2742437 w 3359086"/>
                <a:gd name="connsiteY5332" fmla="*/ 2937510 h 3355086"/>
                <a:gd name="connsiteX5333" fmla="*/ 2748629 w 3359086"/>
                <a:gd name="connsiteY5333" fmla="*/ 2943701 h 3355086"/>
                <a:gd name="connsiteX5334" fmla="*/ 2742437 w 3359086"/>
                <a:gd name="connsiteY5334" fmla="*/ 2949892 h 3355086"/>
                <a:gd name="connsiteX5335" fmla="*/ 2736246 w 3359086"/>
                <a:gd name="connsiteY5335" fmla="*/ 2943701 h 3355086"/>
                <a:gd name="connsiteX5336" fmla="*/ 2742437 w 3359086"/>
                <a:gd name="connsiteY5336" fmla="*/ 2937510 h 3355086"/>
                <a:gd name="connsiteX5337" fmla="*/ 843819 w 3359086"/>
                <a:gd name="connsiteY5337" fmla="*/ 2937510 h 3355086"/>
                <a:gd name="connsiteX5338" fmla="*/ 850010 w 3359086"/>
                <a:gd name="connsiteY5338" fmla="*/ 2943701 h 3355086"/>
                <a:gd name="connsiteX5339" fmla="*/ 843819 w 3359086"/>
                <a:gd name="connsiteY5339" fmla="*/ 2949892 h 3355086"/>
                <a:gd name="connsiteX5340" fmla="*/ 837628 w 3359086"/>
                <a:gd name="connsiteY5340" fmla="*/ 2943701 h 3355086"/>
                <a:gd name="connsiteX5341" fmla="*/ 843819 w 3359086"/>
                <a:gd name="connsiteY5341" fmla="*/ 2937510 h 3355086"/>
                <a:gd name="connsiteX5342" fmla="*/ 2623946 w 3359086"/>
                <a:gd name="connsiteY5342" fmla="*/ 2937224 h 3355086"/>
                <a:gd name="connsiteX5343" fmla="*/ 2630138 w 3359086"/>
                <a:gd name="connsiteY5343" fmla="*/ 2943415 h 3355086"/>
                <a:gd name="connsiteX5344" fmla="*/ 2623946 w 3359086"/>
                <a:gd name="connsiteY5344" fmla="*/ 2949607 h 3355086"/>
                <a:gd name="connsiteX5345" fmla="*/ 2617755 w 3359086"/>
                <a:gd name="connsiteY5345" fmla="*/ 2943415 h 3355086"/>
                <a:gd name="connsiteX5346" fmla="*/ 2623946 w 3359086"/>
                <a:gd name="connsiteY5346" fmla="*/ 2937224 h 3355086"/>
                <a:gd name="connsiteX5347" fmla="*/ 2713957 w 3359086"/>
                <a:gd name="connsiteY5347" fmla="*/ 2936939 h 3355086"/>
                <a:gd name="connsiteX5348" fmla="*/ 2720148 w 3359086"/>
                <a:gd name="connsiteY5348" fmla="*/ 2943130 h 3355086"/>
                <a:gd name="connsiteX5349" fmla="*/ 2713957 w 3359086"/>
                <a:gd name="connsiteY5349" fmla="*/ 2949322 h 3355086"/>
                <a:gd name="connsiteX5350" fmla="*/ 2707766 w 3359086"/>
                <a:gd name="connsiteY5350" fmla="*/ 2943130 h 3355086"/>
                <a:gd name="connsiteX5351" fmla="*/ 2713957 w 3359086"/>
                <a:gd name="connsiteY5351" fmla="*/ 2936939 h 3355086"/>
                <a:gd name="connsiteX5352" fmla="*/ 782668 w 3359086"/>
                <a:gd name="connsiteY5352" fmla="*/ 2936844 h 3355086"/>
                <a:gd name="connsiteX5353" fmla="*/ 788860 w 3359086"/>
                <a:gd name="connsiteY5353" fmla="*/ 2943035 h 3355086"/>
                <a:gd name="connsiteX5354" fmla="*/ 782668 w 3359086"/>
                <a:gd name="connsiteY5354" fmla="*/ 2949226 h 3355086"/>
                <a:gd name="connsiteX5355" fmla="*/ 776477 w 3359086"/>
                <a:gd name="connsiteY5355" fmla="*/ 2943035 h 3355086"/>
                <a:gd name="connsiteX5356" fmla="*/ 782668 w 3359086"/>
                <a:gd name="connsiteY5356" fmla="*/ 2936844 h 3355086"/>
                <a:gd name="connsiteX5357" fmla="*/ 612266 w 3359086"/>
                <a:gd name="connsiteY5357" fmla="*/ 2936653 h 3355086"/>
                <a:gd name="connsiteX5358" fmla="*/ 618457 w 3359086"/>
                <a:gd name="connsiteY5358" fmla="*/ 2942844 h 3355086"/>
                <a:gd name="connsiteX5359" fmla="*/ 612266 w 3359086"/>
                <a:gd name="connsiteY5359" fmla="*/ 2949036 h 3355086"/>
                <a:gd name="connsiteX5360" fmla="*/ 606075 w 3359086"/>
                <a:gd name="connsiteY5360" fmla="*/ 2942844 h 3355086"/>
                <a:gd name="connsiteX5361" fmla="*/ 612266 w 3359086"/>
                <a:gd name="connsiteY5361" fmla="*/ 2936653 h 3355086"/>
                <a:gd name="connsiteX5362" fmla="*/ 598169 w 3359086"/>
                <a:gd name="connsiteY5362" fmla="*/ 2936653 h 3355086"/>
                <a:gd name="connsiteX5363" fmla="*/ 604361 w 3359086"/>
                <a:gd name="connsiteY5363" fmla="*/ 2942844 h 3355086"/>
                <a:gd name="connsiteX5364" fmla="*/ 598169 w 3359086"/>
                <a:gd name="connsiteY5364" fmla="*/ 2949036 h 3355086"/>
                <a:gd name="connsiteX5365" fmla="*/ 591978 w 3359086"/>
                <a:gd name="connsiteY5365" fmla="*/ 2942844 h 3355086"/>
                <a:gd name="connsiteX5366" fmla="*/ 598169 w 3359086"/>
                <a:gd name="connsiteY5366" fmla="*/ 2936653 h 3355086"/>
                <a:gd name="connsiteX5367" fmla="*/ 2727864 w 3359086"/>
                <a:gd name="connsiteY5367" fmla="*/ 2935605 h 3355086"/>
                <a:gd name="connsiteX5368" fmla="*/ 2734056 w 3359086"/>
                <a:gd name="connsiteY5368" fmla="*/ 2941796 h 3355086"/>
                <a:gd name="connsiteX5369" fmla="*/ 2727864 w 3359086"/>
                <a:gd name="connsiteY5369" fmla="*/ 2947987 h 3355086"/>
                <a:gd name="connsiteX5370" fmla="*/ 2721673 w 3359086"/>
                <a:gd name="connsiteY5370" fmla="*/ 2941796 h 3355086"/>
                <a:gd name="connsiteX5371" fmla="*/ 2727864 w 3359086"/>
                <a:gd name="connsiteY5371" fmla="*/ 2935605 h 3355086"/>
                <a:gd name="connsiteX5372" fmla="*/ 915638 w 3359086"/>
                <a:gd name="connsiteY5372" fmla="*/ 2933414 h 3355086"/>
                <a:gd name="connsiteX5373" fmla="*/ 921829 w 3359086"/>
                <a:gd name="connsiteY5373" fmla="*/ 2939605 h 3355086"/>
                <a:gd name="connsiteX5374" fmla="*/ 915638 w 3359086"/>
                <a:gd name="connsiteY5374" fmla="*/ 2945797 h 3355086"/>
                <a:gd name="connsiteX5375" fmla="*/ 909447 w 3359086"/>
                <a:gd name="connsiteY5375" fmla="*/ 2939605 h 3355086"/>
                <a:gd name="connsiteX5376" fmla="*/ 915638 w 3359086"/>
                <a:gd name="connsiteY5376" fmla="*/ 2933414 h 3355086"/>
                <a:gd name="connsiteX5377" fmla="*/ 2297334 w 3359086"/>
                <a:gd name="connsiteY5377" fmla="*/ 2933319 h 3355086"/>
                <a:gd name="connsiteX5378" fmla="*/ 2303526 w 3359086"/>
                <a:gd name="connsiteY5378" fmla="*/ 2939510 h 3355086"/>
                <a:gd name="connsiteX5379" fmla="*/ 2297334 w 3359086"/>
                <a:gd name="connsiteY5379" fmla="*/ 2945701 h 3355086"/>
                <a:gd name="connsiteX5380" fmla="*/ 2291143 w 3359086"/>
                <a:gd name="connsiteY5380" fmla="*/ 2939510 h 3355086"/>
                <a:gd name="connsiteX5381" fmla="*/ 2297334 w 3359086"/>
                <a:gd name="connsiteY5381" fmla="*/ 2933319 h 3355086"/>
                <a:gd name="connsiteX5382" fmla="*/ 731043 w 3359086"/>
                <a:gd name="connsiteY5382" fmla="*/ 2932367 h 3355086"/>
                <a:gd name="connsiteX5383" fmla="*/ 737235 w 3359086"/>
                <a:gd name="connsiteY5383" fmla="*/ 2938558 h 3355086"/>
                <a:gd name="connsiteX5384" fmla="*/ 731043 w 3359086"/>
                <a:gd name="connsiteY5384" fmla="*/ 2944749 h 3355086"/>
                <a:gd name="connsiteX5385" fmla="*/ 724852 w 3359086"/>
                <a:gd name="connsiteY5385" fmla="*/ 2938558 h 3355086"/>
                <a:gd name="connsiteX5386" fmla="*/ 731043 w 3359086"/>
                <a:gd name="connsiteY5386" fmla="*/ 2932367 h 3355086"/>
                <a:gd name="connsiteX5387" fmla="*/ 2762916 w 3359086"/>
                <a:gd name="connsiteY5387" fmla="*/ 2931795 h 3355086"/>
                <a:gd name="connsiteX5388" fmla="*/ 2769107 w 3359086"/>
                <a:gd name="connsiteY5388" fmla="*/ 2937986 h 3355086"/>
                <a:gd name="connsiteX5389" fmla="*/ 2762916 w 3359086"/>
                <a:gd name="connsiteY5389" fmla="*/ 2944177 h 3355086"/>
                <a:gd name="connsiteX5390" fmla="*/ 2756725 w 3359086"/>
                <a:gd name="connsiteY5390" fmla="*/ 2937986 h 3355086"/>
                <a:gd name="connsiteX5391" fmla="*/ 2762916 w 3359086"/>
                <a:gd name="connsiteY5391" fmla="*/ 2931795 h 3355086"/>
                <a:gd name="connsiteX5392" fmla="*/ 2110168 w 3359086"/>
                <a:gd name="connsiteY5392" fmla="*/ 2931795 h 3355086"/>
                <a:gd name="connsiteX5393" fmla="*/ 2116360 w 3359086"/>
                <a:gd name="connsiteY5393" fmla="*/ 2937986 h 3355086"/>
                <a:gd name="connsiteX5394" fmla="*/ 2110168 w 3359086"/>
                <a:gd name="connsiteY5394" fmla="*/ 2944177 h 3355086"/>
                <a:gd name="connsiteX5395" fmla="*/ 2103977 w 3359086"/>
                <a:gd name="connsiteY5395" fmla="*/ 2937986 h 3355086"/>
                <a:gd name="connsiteX5396" fmla="*/ 2110168 w 3359086"/>
                <a:gd name="connsiteY5396" fmla="*/ 2931795 h 3355086"/>
                <a:gd name="connsiteX5397" fmla="*/ 635317 w 3359086"/>
                <a:gd name="connsiteY5397" fmla="*/ 2931224 h 3355086"/>
                <a:gd name="connsiteX5398" fmla="*/ 641508 w 3359086"/>
                <a:gd name="connsiteY5398" fmla="*/ 2937415 h 3355086"/>
                <a:gd name="connsiteX5399" fmla="*/ 635317 w 3359086"/>
                <a:gd name="connsiteY5399" fmla="*/ 2943606 h 3355086"/>
                <a:gd name="connsiteX5400" fmla="*/ 629126 w 3359086"/>
                <a:gd name="connsiteY5400" fmla="*/ 2937415 h 3355086"/>
                <a:gd name="connsiteX5401" fmla="*/ 635317 w 3359086"/>
                <a:gd name="connsiteY5401" fmla="*/ 2931224 h 3355086"/>
                <a:gd name="connsiteX5402" fmla="*/ 657224 w 3359086"/>
                <a:gd name="connsiteY5402" fmla="*/ 2930843 h 3355086"/>
                <a:gd name="connsiteX5403" fmla="*/ 663416 w 3359086"/>
                <a:gd name="connsiteY5403" fmla="*/ 2937034 h 3355086"/>
                <a:gd name="connsiteX5404" fmla="*/ 657224 w 3359086"/>
                <a:gd name="connsiteY5404" fmla="*/ 2943225 h 3355086"/>
                <a:gd name="connsiteX5405" fmla="*/ 651033 w 3359086"/>
                <a:gd name="connsiteY5405" fmla="*/ 2937034 h 3355086"/>
                <a:gd name="connsiteX5406" fmla="*/ 657224 w 3359086"/>
                <a:gd name="connsiteY5406" fmla="*/ 2930843 h 3355086"/>
                <a:gd name="connsiteX5407" fmla="*/ 2688049 w 3359086"/>
                <a:gd name="connsiteY5407" fmla="*/ 2930652 h 3355086"/>
                <a:gd name="connsiteX5408" fmla="*/ 2694240 w 3359086"/>
                <a:gd name="connsiteY5408" fmla="*/ 2936843 h 3355086"/>
                <a:gd name="connsiteX5409" fmla="*/ 2688049 w 3359086"/>
                <a:gd name="connsiteY5409" fmla="*/ 2943034 h 3355086"/>
                <a:gd name="connsiteX5410" fmla="*/ 2681858 w 3359086"/>
                <a:gd name="connsiteY5410" fmla="*/ 2936843 h 3355086"/>
                <a:gd name="connsiteX5411" fmla="*/ 2688049 w 3359086"/>
                <a:gd name="connsiteY5411" fmla="*/ 2930652 h 3355086"/>
                <a:gd name="connsiteX5412" fmla="*/ 2706718 w 3359086"/>
                <a:gd name="connsiteY5412" fmla="*/ 2929509 h 3355086"/>
                <a:gd name="connsiteX5413" fmla="*/ 2712910 w 3359086"/>
                <a:gd name="connsiteY5413" fmla="*/ 2935700 h 3355086"/>
                <a:gd name="connsiteX5414" fmla="*/ 2706718 w 3359086"/>
                <a:gd name="connsiteY5414" fmla="*/ 2941892 h 3355086"/>
                <a:gd name="connsiteX5415" fmla="*/ 2700527 w 3359086"/>
                <a:gd name="connsiteY5415" fmla="*/ 2935700 h 3355086"/>
                <a:gd name="connsiteX5416" fmla="*/ 2706718 w 3359086"/>
                <a:gd name="connsiteY5416" fmla="*/ 2929509 h 3355086"/>
                <a:gd name="connsiteX5417" fmla="*/ 577977 w 3359086"/>
                <a:gd name="connsiteY5417" fmla="*/ 2929414 h 3355086"/>
                <a:gd name="connsiteX5418" fmla="*/ 584073 w 3359086"/>
                <a:gd name="connsiteY5418" fmla="*/ 2935510 h 3355086"/>
                <a:gd name="connsiteX5419" fmla="*/ 577977 w 3359086"/>
                <a:gd name="connsiteY5419" fmla="*/ 2941606 h 3355086"/>
                <a:gd name="connsiteX5420" fmla="*/ 571881 w 3359086"/>
                <a:gd name="connsiteY5420" fmla="*/ 2935510 h 3355086"/>
                <a:gd name="connsiteX5421" fmla="*/ 577977 w 3359086"/>
                <a:gd name="connsiteY5421" fmla="*/ 2929414 h 3355086"/>
                <a:gd name="connsiteX5422" fmla="*/ 618838 w 3359086"/>
                <a:gd name="connsiteY5422" fmla="*/ 2929128 h 3355086"/>
                <a:gd name="connsiteX5423" fmla="*/ 625030 w 3359086"/>
                <a:gd name="connsiteY5423" fmla="*/ 2935319 h 3355086"/>
                <a:gd name="connsiteX5424" fmla="*/ 618838 w 3359086"/>
                <a:gd name="connsiteY5424" fmla="*/ 2941510 h 3355086"/>
                <a:gd name="connsiteX5425" fmla="*/ 612647 w 3359086"/>
                <a:gd name="connsiteY5425" fmla="*/ 2935319 h 3355086"/>
                <a:gd name="connsiteX5426" fmla="*/ 618838 w 3359086"/>
                <a:gd name="connsiteY5426" fmla="*/ 2929128 h 3355086"/>
                <a:gd name="connsiteX5427" fmla="*/ 2783777 w 3359086"/>
                <a:gd name="connsiteY5427" fmla="*/ 2929033 h 3355086"/>
                <a:gd name="connsiteX5428" fmla="*/ 2789301 w 3359086"/>
                <a:gd name="connsiteY5428" fmla="*/ 2934557 h 3355086"/>
                <a:gd name="connsiteX5429" fmla="*/ 2783777 w 3359086"/>
                <a:gd name="connsiteY5429" fmla="*/ 2940082 h 3355086"/>
                <a:gd name="connsiteX5430" fmla="*/ 2778252 w 3359086"/>
                <a:gd name="connsiteY5430" fmla="*/ 2934557 h 3355086"/>
                <a:gd name="connsiteX5431" fmla="*/ 2783777 w 3359086"/>
                <a:gd name="connsiteY5431" fmla="*/ 2929033 h 3355086"/>
                <a:gd name="connsiteX5432" fmla="*/ 2662523 w 3359086"/>
                <a:gd name="connsiteY5432" fmla="*/ 2927890 h 3355086"/>
                <a:gd name="connsiteX5433" fmla="*/ 2668714 w 3359086"/>
                <a:gd name="connsiteY5433" fmla="*/ 2934081 h 3355086"/>
                <a:gd name="connsiteX5434" fmla="*/ 2662523 w 3359086"/>
                <a:gd name="connsiteY5434" fmla="*/ 2940272 h 3355086"/>
                <a:gd name="connsiteX5435" fmla="*/ 2656332 w 3359086"/>
                <a:gd name="connsiteY5435" fmla="*/ 2934081 h 3355086"/>
                <a:gd name="connsiteX5436" fmla="*/ 2662523 w 3359086"/>
                <a:gd name="connsiteY5436" fmla="*/ 2927890 h 3355086"/>
                <a:gd name="connsiteX5437" fmla="*/ 2721387 w 3359086"/>
                <a:gd name="connsiteY5437" fmla="*/ 2927223 h 3355086"/>
                <a:gd name="connsiteX5438" fmla="*/ 2727578 w 3359086"/>
                <a:gd name="connsiteY5438" fmla="*/ 2933414 h 3355086"/>
                <a:gd name="connsiteX5439" fmla="*/ 2721387 w 3359086"/>
                <a:gd name="connsiteY5439" fmla="*/ 2939605 h 3355086"/>
                <a:gd name="connsiteX5440" fmla="*/ 2715196 w 3359086"/>
                <a:gd name="connsiteY5440" fmla="*/ 2933414 h 3355086"/>
                <a:gd name="connsiteX5441" fmla="*/ 2721387 w 3359086"/>
                <a:gd name="connsiteY5441" fmla="*/ 2927223 h 3355086"/>
                <a:gd name="connsiteX5442" fmla="*/ 605123 w 3359086"/>
                <a:gd name="connsiteY5442" fmla="*/ 2927033 h 3355086"/>
                <a:gd name="connsiteX5443" fmla="*/ 611314 w 3359086"/>
                <a:gd name="connsiteY5443" fmla="*/ 2933224 h 3355086"/>
                <a:gd name="connsiteX5444" fmla="*/ 605123 w 3359086"/>
                <a:gd name="connsiteY5444" fmla="*/ 2939415 h 3355086"/>
                <a:gd name="connsiteX5445" fmla="*/ 598932 w 3359086"/>
                <a:gd name="connsiteY5445" fmla="*/ 2933224 h 3355086"/>
                <a:gd name="connsiteX5446" fmla="*/ 605123 w 3359086"/>
                <a:gd name="connsiteY5446" fmla="*/ 2927033 h 3355086"/>
                <a:gd name="connsiteX5447" fmla="*/ 2747771 w 3359086"/>
                <a:gd name="connsiteY5447" fmla="*/ 2926842 h 3355086"/>
                <a:gd name="connsiteX5448" fmla="*/ 2753963 w 3359086"/>
                <a:gd name="connsiteY5448" fmla="*/ 2933033 h 3355086"/>
                <a:gd name="connsiteX5449" fmla="*/ 2747771 w 3359086"/>
                <a:gd name="connsiteY5449" fmla="*/ 2939225 h 3355086"/>
                <a:gd name="connsiteX5450" fmla="*/ 2741580 w 3359086"/>
                <a:gd name="connsiteY5450" fmla="*/ 2933033 h 3355086"/>
                <a:gd name="connsiteX5451" fmla="*/ 2747771 w 3359086"/>
                <a:gd name="connsiteY5451" fmla="*/ 2926842 h 3355086"/>
                <a:gd name="connsiteX5452" fmla="*/ 592169 w 3359086"/>
                <a:gd name="connsiteY5452" fmla="*/ 2926556 h 3355086"/>
                <a:gd name="connsiteX5453" fmla="*/ 598360 w 3359086"/>
                <a:gd name="connsiteY5453" fmla="*/ 2932747 h 3355086"/>
                <a:gd name="connsiteX5454" fmla="*/ 592169 w 3359086"/>
                <a:gd name="connsiteY5454" fmla="*/ 2938939 h 3355086"/>
                <a:gd name="connsiteX5455" fmla="*/ 585978 w 3359086"/>
                <a:gd name="connsiteY5455" fmla="*/ 2932747 h 3355086"/>
                <a:gd name="connsiteX5456" fmla="*/ 592169 w 3359086"/>
                <a:gd name="connsiteY5456" fmla="*/ 2926556 h 3355086"/>
                <a:gd name="connsiteX5457" fmla="*/ 2734436 w 3359086"/>
                <a:gd name="connsiteY5457" fmla="*/ 2925699 h 3355086"/>
                <a:gd name="connsiteX5458" fmla="*/ 2740628 w 3359086"/>
                <a:gd name="connsiteY5458" fmla="*/ 2931890 h 3355086"/>
                <a:gd name="connsiteX5459" fmla="*/ 2734436 w 3359086"/>
                <a:gd name="connsiteY5459" fmla="*/ 2938082 h 3355086"/>
                <a:gd name="connsiteX5460" fmla="*/ 2728245 w 3359086"/>
                <a:gd name="connsiteY5460" fmla="*/ 2931890 h 3355086"/>
                <a:gd name="connsiteX5461" fmla="*/ 2734436 w 3359086"/>
                <a:gd name="connsiteY5461" fmla="*/ 2925699 h 3355086"/>
                <a:gd name="connsiteX5462" fmla="*/ 687514 w 3359086"/>
                <a:gd name="connsiteY5462" fmla="*/ 2925128 h 3355086"/>
                <a:gd name="connsiteX5463" fmla="*/ 693706 w 3359086"/>
                <a:gd name="connsiteY5463" fmla="*/ 2931319 h 3355086"/>
                <a:gd name="connsiteX5464" fmla="*/ 687514 w 3359086"/>
                <a:gd name="connsiteY5464" fmla="*/ 2937511 h 3355086"/>
                <a:gd name="connsiteX5465" fmla="*/ 681323 w 3359086"/>
                <a:gd name="connsiteY5465" fmla="*/ 2931319 h 3355086"/>
                <a:gd name="connsiteX5466" fmla="*/ 687514 w 3359086"/>
                <a:gd name="connsiteY5466" fmla="*/ 2925128 h 3355086"/>
                <a:gd name="connsiteX5467" fmla="*/ 1181576 w 3359086"/>
                <a:gd name="connsiteY5467" fmla="*/ 2924366 h 3355086"/>
                <a:gd name="connsiteX5468" fmla="*/ 1187767 w 3359086"/>
                <a:gd name="connsiteY5468" fmla="*/ 2930557 h 3355086"/>
                <a:gd name="connsiteX5469" fmla="*/ 1181576 w 3359086"/>
                <a:gd name="connsiteY5469" fmla="*/ 2936748 h 3355086"/>
                <a:gd name="connsiteX5470" fmla="*/ 1175385 w 3359086"/>
                <a:gd name="connsiteY5470" fmla="*/ 2930557 h 3355086"/>
                <a:gd name="connsiteX5471" fmla="*/ 1181576 w 3359086"/>
                <a:gd name="connsiteY5471" fmla="*/ 2924366 h 3355086"/>
                <a:gd name="connsiteX5472" fmla="*/ 2520314 w 3359086"/>
                <a:gd name="connsiteY5472" fmla="*/ 2924175 h 3355086"/>
                <a:gd name="connsiteX5473" fmla="*/ 2526505 w 3359086"/>
                <a:gd name="connsiteY5473" fmla="*/ 2930366 h 3355086"/>
                <a:gd name="connsiteX5474" fmla="*/ 2520314 w 3359086"/>
                <a:gd name="connsiteY5474" fmla="*/ 2936558 h 3355086"/>
                <a:gd name="connsiteX5475" fmla="*/ 2514123 w 3359086"/>
                <a:gd name="connsiteY5475" fmla="*/ 2930366 h 3355086"/>
                <a:gd name="connsiteX5476" fmla="*/ 2520314 w 3359086"/>
                <a:gd name="connsiteY5476" fmla="*/ 2924175 h 3355086"/>
                <a:gd name="connsiteX5477" fmla="*/ 999743 w 3359086"/>
                <a:gd name="connsiteY5477" fmla="*/ 2923509 h 3355086"/>
                <a:gd name="connsiteX5478" fmla="*/ 1005935 w 3359086"/>
                <a:gd name="connsiteY5478" fmla="*/ 2929700 h 3355086"/>
                <a:gd name="connsiteX5479" fmla="*/ 999743 w 3359086"/>
                <a:gd name="connsiteY5479" fmla="*/ 2935891 h 3355086"/>
                <a:gd name="connsiteX5480" fmla="*/ 993552 w 3359086"/>
                <a:gd name="connsiteY5480" fmla="*/ 2929700 h 3355086"/>
                <a:gd name="connsiteX5481" fmla="*/ 999743 w 3359086"/>
                <a:gd name="connsiteY5481" fmla="*/ 2923509 h 3355086"/>
                <a:gd name="connsiteX5482" fmla="*/ 2578131 w 3359086"/>
                <a:gd name="connsiteY5482" fmla="*/ 2923032 h 3355086"/>
                <a:gd name="connsiteX5483" fmla="*/ 2584323 w 3359086"/>
                <a:gd name="connsiteY5483" fmla="*/ 2929223 h 3355086"/>
                <a:gd name="connsiteX5484" fmla="*/ 2578131 w 3359086"/>
                <a:gd name="connsiteY5484" fmla="*/ 2935415 h 3355086"/>
                <a:gd name="connsiteX5485" fmla="*/ 2571940 w 3359086"/>
                <a:gd name="connsiteY5485" fmla="*/ 2929223 h 3355086"/>
                <a:gd name="connsiteX5486" fmla="*/ 2578131 w 3359086"/>
                <a:gd name="connsiteY5486" fmla="*/ 2923032 h 3355086"/>
                <a:gd name="connsiteX5487" fmla="*/ 2452020 w 3359086"/>
                <a:gd name="connsiteY5487" fmla="*/ 2920746 h 3355086"/>
                <a:gd name="connsiteX5488" fmla="*/ 2458211 w 3359086"/>
                <a:gd name="connsiteY5488" fmla="*/ 2926937 h 3355086"/>
                <a:gd name="connsiteX5489" fmla="*/ 2452020 w 3359086"/>
                <a:gd name="connsiteY5489" fmla="*/ 2933128 h 3355086"/>
                <a:gd name="connsiteX5490" fmla="*/ 2445829 w 3359086"/>
                <a:gd name="connsiteY5490" fmla="*/ 2926937 h 3355086"/>
                <a:gd name="connsiteX5491" fmla="*/ 2452020 w 3359086"/>
                <a:gd name="connsiteY5491" fmla="*/ 2920746 h 3355086"/>
                <a:gd name="connsiteX5492" fmla="*/ 2767393 w 3359086"/>
                <a:gd name="connsiteY5492" fmla="*/ 2920175 h 3355086"/>
                <a:gd name="connsiteX5493" fmla="*/ 2773584 w 3359086"/>
                <a:gd name="connsiteY5493" fmla="*/ 2926366 h 3355086"/>
                <a:gd name="connsiteX5494" fmla="*/ 2767393 w 3359086"/>
                <a:gd name="connsiteY5494" fmla="*/ 2932557 h 3355086"/>
                <a:gd name="connsiteX5495" fmla="*/ 2761202 w 3359086"/>
                <a:gd name="connsiteY5495" fmla="*/ 2926366 h 3355086"/>
                <a:gd name="connsiteX5496" fmla="*/ 2767393 w 3359086"/>
                <a:gd name="connsiteY5496" fmla="*/ 2920175 h 3355086"/>
                <a:gd name="connsiteX5497" fmla="*/ 1692782 w 3359086"/>
                <a:gd name="connsiteY5497" fmla="*/ 2919984 h 3355086"/>
                <a:gd name="connsiteX5498" fmla="*/ 1698973 w 3359086"/>
                <a:gd name="connsiteY5498" fmla="*/ 2926175 h 3355086"/>
                <a:gd name="connsiteX5499" fmla="*/ 1692782 w 3359086"/>
                <a:gd name="connsiteY5499" fmla="*/ 2932367 h 3355086"/>
                <a:gd name="connsiteX5500" fmla="*/ 1686591 w 3359086"/>
                <a:gd name="connsiteY5500" fmla="*/ 2926175 h 3355086"/>
                <a:gd name="connsiteX5501" fmla="*/ 1692782 w 3359086"/>
                <a:gd name="connsiteY5501" fmla="*/ 2919984 h 3355086"/>
                <a:gd name="connsiteX5502" fmla="*/ 1593151 w 3359086"/>
                <a:gd name="connsiteY5502" fmla="*/ 2919127 h 3355086"/>
                <a:gd name="connsiteX5503" fmla="*/ 1599343 w 3359086"/>
                <a:gd name="connsiteY5503" fmla="*/ 2925318 h 3355086"/>
                <a:gd name="connsiteX5504" fmla="*/ 1593151 w 3359086"/>
                <a:gd name="connsiteY5504" fmla="*/ 2931510 h 3355086"/>
                <a:gd name="connsiteX5505" fmla="*/ 1586960 w 3359086"/>
                <a:gd name="connsiteY5505" fmla="*/ 2925318 h 3355086"/>
                <a:gd name="connsiteX5506" fmla="*/ 1593151 w 3359086"/>
                <a:gd name="connsiteY5506" fmla="*/ 2919127 h 3355086"/>
                <a:gd name="connsiteX5507" fmla="*/ 627792 w 3359086"/>
                <a:gd name="connsiteY5507" fmla="*/ 2919032 h 3355086"/>
                <a:gd name="connsiteX5508" fmla="*/ 633983 w 3359086"/>
                <a:gd name="connsiteY5508" fmla="*/ 2925223 h 3355086"/>
                <a:gd name="connsiteX5509" fmla="*/ 627792 w 3359086"/>
                <a:gd name="connsiteY5509" fmla="*/ 2931414 h 3355086"/>
                <a:gd name="connsiteX5510" fmla="*/ 621601 w 3359086"/>
                <a:gd name="connsiteY5510" fmla="*/ 2925223 h 3355086"/>
                <a:gd name="connsiteX5511" fmla="*/ 627792 w 3359086"/>
                <a:gd name="connsiteY5511" fmla="*/ 2919032 h 3355086"/>
                <a:gd name="connsiteX5512" fmla="*/ 610837 w 3359086"/>
                <a:gd name="connsiteY5512" fmla="*/ 2918555 h 3355086"/>
                <a:gd name="connsiteX5513" fmla="*/ 617028 w 3359086"/>
                <a:gd name="connsiteY5513" fmla="*/ 2924746 h 3355086"/>
                <a:gd name="connsiteX5514" fmla="*/ 610837 w 3359086"/>
                <a:gd name="connsiteY5514" fmla="*/ 2930938 h 3355086"/>
                <a:gd name="connsiteX5515" fmla="*/ 604646 w 3359086"/>
                <a:gd name="connsiteY5515" fmla="*/ 2924746 h 3355086"/>
                <a:gd name="connsiteX5516" fmla="*/ 610837 w 3359086"/>
                <a:gd name="connsiteY5516" fmla="*/ 2918555 h 3355086"/>
                <a:gd name="connsiteX5517" fmla="*/ 2807588 w 3359086"/>
                <a:gd name="connsiteY5517" fmla="*/ 2918460 h 3355086"/>
                <a:gd name="connsiteX5518" fmla="*/ 2808827 w 3359086"/>
                <a:gd name="connsiteY5518" fmla="*/ 2919698 h 3355086"/>
                <a:gd name="connsiteX5519" fmla="*/ 2807588 w 3359086"/>
                <a:gd name="connsiteY5519" fmla="*/ 2920936 h 3355086"/>
                <a:gd name="connsiteX5520" fmla="*/ 2806350 w 3359086"/>
                <a:gd name="connsiteY5520" fmla="*/ 2919698 h 3355086"/>
                <a:gd name="connsiteX5521" fmla="*/ 2807588 w 3359086"/>
                <a:gd name="connsiteY5521" fmla="*/ 2918460 h 3355086"/>
                <a:gd name="connsiteX5522" fmla="*/ 2626899 w 3359086"/>
                <a:gd name="connsiteY5522" fmla="*/ 2918460 h 3355086"/>
                <a:gd name="connsiteX5523" fmla="*/ 2633090 w 3359086"/>
                <a:gd name="connsiteY5523" fmla="*/ 2924651 h 3355086"/>
                <a:gd name="connsiteX5524" fmla="*/ 2626899 w 3359086"/>
                <a:gd name="connsiteY5524" fmla="*/ 2930842 h 3355086"/>
                <a:gd name="connsiteX5525" fmla="*/ 2620708 w 3359086"/>
                <a:gd name="connsiteY5525" fmla="*/ 2924651 h 3355086"/>
                <a:gd name="connsiteX5526" fmla="*/ 2626899 w 3359086"/>
                <a:gd name="connsiteY5526" fmla="*/ 2918460 h 3355086"/>
                <a:gd name="connsiteX5527" fmla="*/ 572737 w 3359086"/>
                <a:gd name="connsiteY5527" fmla="*/ 2918365 h 3355086"/>
                <a:gd name="connsiteX5528" fmla="*/ 578928 w 3359086"/>
                <a:gd name="connsiteY5528" fmla="*/ 2924556 h 3355086"/>
                <a:gd name="connsiteX5529" fmla="*/ 572737 w 3359086"/>
                <a:gd name="connsiteY5529" fmla="*/ 2930747 h 3355086"/>
                <a:gd name="connsiteX5530" fmla="*/ 566546 w 3359086"/>
                <a:gd name="connsiteY5530" fmla="*/ 2924556 h 3355086"/>
                <a:gd name="connsiteX5531" fmla="*/ 572737 w 3359086"/>
                <a:gd name="connsiteY5531" fmla="*/ 2918365 h 3355086"/>
                <a:gd name="connsiteX5532" fmla="*/ 2714624 w 3359086"/>
                <a:gd name="connsiteY5532" fmla="*/ 2918174 h 3355086"/>
                <a:gd name="connsiteX5533" fmla="*/ 2720815 w 3359086"/>
                <a:gd name="connsiteY5533" fmla="*/ 2924365 h 3355086"/>
                <a:gd name="connsiteX5534" fmla="*/ 2714624 w 3359086"/>
                <a:gd name="connsiteY5534" fmla="*/ 2930557 h 3355086"/>
                <a:gd name="connsiteX5535" fmla="*/ 2708433 w 3359086"/>
                <a:gd name="connsiteY5535" fmla="*/ 2924365 h 3355086"/>
                <a:gd name="connsiteX5536" fmla="*/ 2714624 w 3359086"/>
                <a:gd name="connsiteY5536" fmla="*/ 2918174 h 3355086"/>
                <a:gd name="connsiteX5537" fmla="*/ 2695098 w 3359086"/>
                <a:gd name="connsiteY5537" fmla="*/ 2917222 h 3355086"/>
                <a:gd name="connsiteX5538" fmla="*/ 2701290 w 3359086"/>
                <a:gd name="connsiteY5538" fmla="*/ 2923413 h 3355086"/>
                <a:gd name="connsiteX5539" fmla="*/ 2695098 w 3359086"/>
                <a:gd name="connsiteY5539" fmla="*/ 2929604 h 3355086"/>
                <a:gd name="connsiteX5540" fmla="*/ 2688907 w 3359086"/>
                <a:gd name="connsiteY5540" fmla="*/ 2923413 h 3355086"/>
                <a:gd name="connsiteX5541" fmla="*/ 2695098 w 3359086"/>
                <a:gd name="connsiteY5541" fmla="*/ 2917222 h 3355086"/>
                <a:gd name="connsiteX5542" fmla="*/ 1792128 w 3359086"/>
                <a:gd name="connsiteY5542" fmla="*/ 2917222 h 3355086"/>
                <a:gd name="connsiteX5543" fmla="*/ 1798320 w 3359086"/>
                <a:gd name="connsiteY5543" fmla="*/ 2923413 h 3355086"/>
                <a:gd name="connsiteX5544" fmla="*/ 1792128 w 3359086"/>
                <a:gd name="connsiteY5544" fmla="*/ 2929604 h 3355086"/>
                <a:gd name="connsiteX5545" fmla="*/ 1785937 w 3359086"/>
                <a:gd name="connsiteY5545" fmla="*/ 2923413 h 3355086"/>
                <a:gd name="connsiteX5546" fmla="*/ 1792128 w 3359086"/>
                <a:gd name="connsiteY5546" fmla="*/ 2917222 h 3355086"/>
                <a:gd name="connsiteX5547" fmla="*/ 2729293 w 3359086"/>
                <a:gd name="connsiteY5547" fmla="*/ 2916936 h 3355086"/>
                <a:gd name="connsiteX5548" fmla="*/ 2735484 w 3359086"/>
                <a:gd name="connsiteY5548" fmla="*/ 2923127 h 3355086"/>
                <a:gd name="connsiteX5549" fmla="*/ 2729293 w 3359086"/>
                <a:gd name="connsiteY5549" fmla="*/ 2929318 h 3355086"/>
                <a:gd name="connsiteX5550" fmla="*/ 2723102 w 3359086"/>
                <a:gd name="connsiteY5550" fmla="*/ 2923127 h 3355086"/>
                <a:gd name="connsiteX5551" fmla="*/ 2729293 w 3359086"/>
                <a:gd name="connsiteY5551" fmla="*/ 2916936 h 3355086"/>
                <a:gd name="connsiteX5552" fmla="*/ 597503 w 3359086"/>
                <a:gd name="connsiteY5552" fmla="*/ 2916936 h 3355086"/>
                <a:gd name="connsiteX5553" fmla="*/ 603694 w 3359086"/>
                <a:gd name="connsiteY5553" fmla="*/ 2923127 h 3355086"/>
                <a:gd name="connsiteX5554" fmla="*/ 597503 w 3359086"/>
                <a:gd name="connsiteY5554" fmla="*/ 2929318 h 3355086"/>
                <a:gd name="connsiteX5555" fmla="*/ 591312 w 3359086"/>
                <a:gd name="connsiteY5555" fmla="*/ 2923127 h 3355086"/>
                <a:gd name="connsiteX5556" fmla="*/ 597503 w 3359086"/>
                <a:gd name="connsiteY5556" fmla="*/ 2916936 h 3355086"/>
                <a:gd name="connsiteX5557" fmla="*/ 585406 w 3359086"/>
                <a:gd name="connsiteY5557" fmla="*/ 2916365 h 3355086"/>
                <a:gd name="connsiteX5558" fmla="*/ 591597 w 3359086"/>
                <a:gd name="connsiteY5558" fmla="*/ 2922556 h 3355086"/>
                <a:gd name="connsiteX5559" fmla="*/ 585406 w 3359086"/>
                <a:gd name="connsiteY5559" fmla="*/ 2928747 h 3355086"/>
                <a:gd name="connsiteX5560" fmla="*/ 579215 w 3359086"/>
                <a:gd name="connsiteY5560" fmla="*/ 2922556 h 3355086"/>
                <a:gd name="connsiteX5561" fmla="*/ 585406 w 3359086"/>
                <a:gd name="connsiteY5561" fmla="*/ 2916365 h 3355086"/>
                <a:gd name="connsiteX5562" fmla="*/ 553402 w 3359086"/>
                <a:gd name="connsiteY5562" fmla="*/ 2916365 h 3355086"/>
                <a:gd name="connsiteX5563" fmla="*/ 555403 w 3359086"/>
                <a:gd name="connsiteY5563" fmla="*/ 2918365 h 3355086"/>
                <a:gd name="connsiteX5564" fmla="*/ 553402 w 3359086"/>
                <a:gd name="connsiteY5564" fmla="*/ 2920365 h 3355086"/>
                <a:gd name="connsiteX5565" fmla="*/ 551402 w 3359086"/>
                <a:gd name="connsiteY5565" fmla="*/ 2918365 h 3355086"/>
                <a:gd name="connsiteX5566" fmla="*/ 553402 w 3359086"/>
                <a:gd name="connsiteY5566" fmla="*/ 2916365 h 3355086"/>
                <a:gd name="connsiteX5567" fmla="*/ 2753867 w 3359086"/>
                <a:gd name="connsiteY5567" fmla="*/ 2916270 h 3355086"/>
                <a:gd name="connsiteX5568" fmla="*/ 2760058 w 3359086"/>
                <a:gd name="connsiteY5568" fmla="*/ 2922461 h 3355086"/>
                <a:gd name="connsiteX5569" fmla="*/ 2753867 w 3359086"/>
                <a:gd name="connsiteY5569" fmla="*/ 2928652 h 3355086"/>
                <a:gd name="connsiteX5570" fmla="*/ 2747676 w 3359086"/>
                <a:gd name="connsiteY5570" fmla="*/ 2922461 h 3355086"/>
                <a:gd name="connsiteX5571" fmla="*/ 2753867 w 3359086"/>
                <a:gd name="connsiteY5571" fmla="*/ 2916270 h 3355086"/>
                <a:gd name="connsiteX5572" fmla="*/ 650938 w 3359086"/>
                <a:gd name="connsiteY5572" fmla="*/ 2915888 h 3355086"/>
                <a:gd name="connsiteX5573" fmla="*/ 657129 w 3359086"/>
                <a:gd name="connsiteY5573" fmla="*/ 2922079 h 3355086"/>
                <a:gd name="connsiteX5574" fmla="*/ 650938 w 3359086"/>
                <a:gd name="connsiteY5574" fmla="*/ 2928271 h 3355086"/>
                <a:gd name="connsiteX5575" fmla="*/ 644747 w 3359086"/>
                <a:gd name="connsiteY5575" fmla="*/ 2922079 h 3355086"/>
                <a:gd name="connsiteX5576" fmla="*/ 650938 w 3359086"/>
                <a:gd name="connsiteY5576" fmla="*/ 2915888 h 3355086"/>
                <a:gd name="connsiteX5577" fmla="*/ 2787205 w 3359086"/>
                <a:gd name="connsiteY5577" fmla="*/ 2915698 h 3355086"/>
                <a:gd name="connsiteX5578" fmla="*/ 2793396 w 3359086"/>
                <a:gd name="connsiteY5578" fmla="*/ 2921889 h 3355086"/>
                <a:gd name="connsiteX5579" fmla="*/ 2787205 w 3359086"/>
                <a:gd name="connsiteY5579" fmla="*/ 2928080 h 3355086"/>
                <a:gd name="connsiteX5580" fmla="*/ 2781014 w 3359086"/>
                <a:gd name="connsiteY5580" fmla="*/ 2921889 h 3355086"/>
                <a:gd name="connsiteX5581" fmla="*/ 2787205 w 3359086"/>
                <a:gd name="connsiteY5581" fmla="*/ 2915698 h 3355086"/>
                <a:gd name="connsiteX5582" fmla="*/ 2741675 w 3359086"/>
                <a:gd name="connsiteY5582" fmla="*/ 2915698 h 3355086"/>
                <a:gd name="connsiteX5583" fmla="*/ 2747866 w 3359086"/>
                <a:gd name="connsiteY5583" fmla="*/ 2921889 h 3355086"/>
                <a:gd name="connsiteX5584" fmla="*/ 2741675 w 3359086"/>
                <a:gd name="connsiteY5584" fmla="*/ 2928080 h 3355086"/>
                <a:gd name="connsiteX5585" fmla="*/ 2735484 w 3359086"/>
                <a:gd name="connsiteY5585" fmla="*/ 2921889 h 3355086"/>
                <a:gd name="connsiteX5586" fmla="*/ 2741675 w 3359086"/>
                <a:gd name="connsiteY5586" fmla="*/ 2915698 h 3355086"/>
                <a:gd name="connsiteX5587" fmla="*/ 2196178 w 3359086"/>
                <a:gd name="connsiteY5587" fmla="*/ 2915031 h 3355086"/>
                <a:gd name="connsiteX5588" fmla="*/ 2202370 w 3359086"/>
                <a:gd name="connsiteY5588" fmla="*/ 2921222 h 3355086"/>
                <a:gd name="connsiteX5589" fmla="*/ 2196178 w 3359086"/>
                <a:gd name="connsiteY5589" fmla="*/ 2927413 h 3355086"/>
                <a:gd name="connsiteX5590" fmla="*/ 2189987 w 3359086"/>
                <a:gd name="connsiteY5590" fmla="*/ 2921222 h 3355086"/>
                <a:gd name="connsiteX5591" fmla="*/ 2196178 w 3359086"/>
                <a:gd name="connsiteY5591" fmla="*/ 2915031 h 3355086"/>
                <a:gd name="connsiteX5592" fmla="*/ 1494281 w 3359086"/>
                <a:gd name="connsiteY5592" fmla="*/ 2914650 h 3355086"/>
                <a:gd name="connsiteX5593" fmla="*/ 1500473 w 3359086"/>
                <a:gd name="connsiteY5593" fmla="*/ 2920841 h 3355086"/>
                <a:gd name="connsiteX5594" fmla="*/ 1494281 w 3359086"/>
                <a:gd name="connsiteY5594" fmla="*/ 2927033 h 3355086"/>
                <a:gd name="connsiteX5595" fmla="*/ 1488090 w 3359086"/>
                <a:gd name="connsiteY5595" fmla="*/ 2920841 h 3355086"/>
                <a:gd name="connsiteX5596" fmla="*/ 1494281 w 3359086"/>
                <a:gd name="connsiteY5596" fmla="*/ 2914650 h 3355086"/>
                <a:gd name="connsiteX5597" fmla="*/ 784955 w 3359086"/>
                <a:gd name="connsiteY5597" fmla="*/ 2912364 h 3355086"/>
                <a:gd name="connsiteX5598" fmla="*/ 791146 w 3359086"/>
                <a:gd name="connsiteY5598" fmla="*/ 2918555 h 3355086"/>
                <a:gd name="connsiteX5599" fmla="*/ 784955 w 3359086"/>
                <a:gd name="connsiteY5599" fmla="*/ 2924746 h 3355086"/>
                <a:gd name="connsiteX5600" fmla="*/ 778764 w 3359086"/>
                <a:gd name="connsiteY5600" fmla="*/ 2918555 h 3355086"/>
                <a:gd name="connsiteX5601" fmla="*/ 784955 w 3359086"/>
                <a:gd name="connsiteY5601" fmla="*/ 2912364 h 3355086"/>
                <a:gd name="connsiteX5602" fmla="*/ 2371915 w 3359086"/>
                <a:gd name="connsiteY5602" fmla="*/ 2911697 h 3355086"/>
                <a:gd name="connsiteX5603" fmla="*/ 2378107 w 3359086"/>
                <a:gd name="connsiteY5603" fmla="*/ 2917888 h 3355086"/>
                <a:gd name="connsiteX5604" fmla="*/ 2371915 w 3359086"/>
                <a:gd name="connsiteY5604" fmla="*/ 2924080 h 3355086"/>
                <a:gd name="connsiteX5605" fmla="*/ 2365724 w 3359086"/>
                <a:gd name="connsiteY5605" fmla="*/ 2917888 h 3355086"/>
                <a:gd name="connsiteX5606" fmla="*/ 2371915 w 3359086"/>
                <a:gd name="connsiteY5606" fmla="*/ 2911697 h 3355086"/>
                <a:gd name="connsiteX5607" fmla="*/ 2667761 w 3359086"/>
                <a:gd name="connsiteY5607" fmla="*/ 2911126 h 3355086"/>
                <a:gd name="connsiteX5608" fmla="*/ 2673953 w 3359086"/>
                <a:gd name="connsiteY5608" fmla="*/ 2917317 h 3355086"/>
                <a:gd name="connsiteX5609" fmla="*/ 2667761 w 3359086"/>
                <a:gd name="connsiteY5609" fmla="*/ 2923509 h 3355086"/>
                <a:gd name="connsiteX5610" fmla="*/ 2661570 w 3359086"/>
                <a:gd name="connsiteY5610" fmla="*/ 2917317 h 3355086"/>
                <a:gd name="connsiteX5611" fmla="*/ 2667761 w 3359086"/>
                <a:gd name="connsiteY5611" fmla="*/ 2911126 h 3355086"/>
                <a:gd name="connsiteX5612" fmla="*/ 729900 w 3359086"/>
                <a:gd name="connsiteY5612" fmla="*/ 2910936 h 3355086"/>
                <a:gd name="connsiteX5613" fmla="*/ 736091 w 3359086"/>
                <a:gd name="connsiteY5613" fmla="*/ 2917127 h 3355086"/>
                <a:gd name="connsiteX5614" fmla="*/ 729900 w 3359086"/>
                <a:gd name="connsiteY5614" fmla="*/ 2923318 h 3355086"/>
                <a:gd name="connsiteX5615" fmla="*/ 723709 w 3359086"/>
                <a:gd name="connsiteY5615" fmla="*/ 2917127 h 3355086"/>
                <a:gd name="connsiteX5616" fmla="*/ 729900 w 3359086"/>
                <a:gd name="connsiteY5616" fmla="*/ 2910936 h 3355086"/>
                <a:gd name="connsiteX5617" fmla="*/ 1890331 w 3359086"/>
                <a:gd name="connsiteY5617" fmla="*/ 2910745 h 3355086"/>
                <a:gd name="connsiteX5618" fmla="*/ 1896523 w 3359086"/>
                <a:gd name="connsiteY5618" fmla="*/ 2916936 h 3355086"/>
                <a:gd name="connsiteX5619" fmla="*/ 1890331 w 3359086"/>
                <a:gd name="connsiteY5619" fmla="*/ 2923128 h 3355086"/>
                <a:gd name="connsiteX5620" fmla="*/ 1884140 w 3359086"/>
                <a:gd name="connsiteY5620" fmla="*/ 2916936 h 3355086"/>
                <a:gd name="connsiteX5621" fmla="*/ 1890331 w 3359086"/>
                <a:gd name="connsiteY5621" fmla="*/ 2910745 h 3355086"/>
                <a:gd name="connsiteX5622" fmla="*/ 850201 w 3359086"/>
                <a:gd name="connsiteY5622" fmla="*/ 2909412 h 3355086"/>
                <a:gd name="connsiteX5623" fmla="*/ 856393 w 3359086"/>
                <a:gd name="connsiteY5623" fmla="*/ 2915603 h 3355086"/>
                <a:gd name="connsiteX5624" fmla="*/ 850201 w 3359086"/>
                <a:gd name="connsiteY5624" fmla="*/ 2921794 h 3355086"/>
                <a:gd name="connsiteX5625" fmla="*/ 844010 w 3359086"/>
                <a:gd name="connsiteY5625" fmla="*/ 2915603 h 3355086"/>
                <a:gd name="connsiteX5626" fmla="*/ 850201 w 3359086"/>
                <a:gd name="connsiteY5626" fmla="*/ 2909412 h 3355086"/>
                <a:gd name="connsiteX5627" fmla="*/ 2772727 w 3359086"/>
                <a:gd name="connsiteY5627" fmla="*/ 2908649 h 3355086"/>
                <a:gd name="connsiteX5628" fmla="*/ 2778918 w 3359086"/>
                <a:gd name="connsiteY5628" fmla="*/ 2914840 h 3355086"/>
                <a:gd name="connsiteX5629" fmla="*/ 2772727 w 3359086"/>
                <a:gd name="connsiteY5629" fmla="*/ 2921032 h 3355086"/>
                <a:gd name="connsiteX5630" fmla="*/ 2766536 w 3359086"/>
                <a:gd name="connsiteY5630" fmla="*/ 2914840 h 3355086"/>
                <a:gd name="connsiteX5631" fmla="*/ 2772727 w 3359086"/>
                <a:gd name="connsiteY5631" fmla="*/ 2908649 h 3355086"/>
                <a:gd name="connsiteX5632" fmla="*/ 566642 w 3359086"/>
                <a:gd name="connsiteY5632" fmla="*/ 2907411 h 3355086"/>
                <a:gd name="connsiteX5633" fmla="*/ 572833 w 3359086"/>
                <a:gd name="connsiteY5633" fmla="*/ 2913602 h 3355086"/>
                <a:gd name="connsiteX5634" fmla="*/ 566642 w 3359086"/>
                <a:gd name="connsiteY5634" fmla="*/ 2919793 h 3355086"/>
                <a:gd name="connsiteX5635" fmla="*/ 560451 w 3359086"/>
                <a:gd name="connsiteY5635" fmla="*/ 2913602 h 3355086"/>
                <a:gd name="connsiteX5636" fmla="*/ 566642 w 3359086"/>
                <a:gd name="connsiteY5636" fmla="*/ 2907411 h 3355086"/>
                <a:gd name="connsiteX5637" fmla="*/ 602551 w 3359086"/>
                <a:gd name="connsiteY5637" fmla="*/ 2906935 h 3355086"/>
                <a:gd name="connsiteX5638" fmla="*/ 608742 w 3359086"/>
                <a:gd name="connsiteY5638" fmla="*/ 2913126 h 3355086"/>
                <a:gd name="connsiteX5639" fmla="*/ 602551 w 3359086"/>
                <a:gd name="connsiteY5639" fmla="*/ 2919318 h 3355086"/>
                <a:gd name="connsiteX5640" fmla="*/ 596360 w 3359086"/>
                <a:gd name="connsiteY5640" fmla="*/ 2913126 h 3355086"/>
                <a:gd name="connsiteX5641" fmla="*/ 602551 w 3359086"/>
                <a:gd name="connsiteY5641" fmla="*/ 2906935 h 3355086"/>
                <a:gd name="connsiteX5642" fmla="*/ 1396841 w 3359086"/>
                <a:gd name="connsiteY5642" fmla="*/ 2906554 h 3355086"/>
                <a:gd name="connsiteX5643" fmla="*/ 1403033 w 3359086"/>
                <a:gd name="connsiteY5643" fmla="*/ 2912745 h 3355086"/>
                <a:gd name="connsiteX5644" fmla="*/ 1396841 w 3359086"/>
                <a:gd name="connsiteY5644" fmla="*/ 2918936 h 3355086"/>
                <a:gd name="connsiteX5645" fmla="*/ 1390650 w 3359086"/>
                <a:gd name="connsiteY5645" fmla="*/ 2912745 h 3355086"/>
                <a:gd name="connsiteX5646" fmla="*/ 1396841 w 3359086"/>
                <a:gd name="connsiteY5646" fmla="*/ 2906554 h 3355086"/>
                <a:gd name="connsiteX5647" fmla="*/ 1097279 w 3359086"/>
                <a:gd name="connsiteY5647" fmla="*/ 2906459 h 3355086"/>
                <a:gd name="connsiteX5648" fmla="*/ 1103470 w 3359086"/>
                <a:gd name="connsiteY5648" fmla="*/ 2912650 h 3355086"/>
                <a:gd name="connsiteX5649" fmla="*/ 1097279 w 3359086"/>
                <a:gd name="connsiteY5649" fmla="*/ 2918841 h 3355086"/>
                <a:gd name="connsiteX5650" fmla="*/ 1091088 w 3359086"/>
                <a:gd name="connsiteY5650" fmla="*/ 2912650 h 3355086"/>
                <a:gd name="connsiteX5651" fmla="*/ 1097279 w 3359086"/>
                <a:gd name="connsiteY5651" fmla="*/ 2906459 h 3355086"/>
                <a:gd name="connsiteX5652" fmla="*/ 683704 w 3359086"/>
                <a:gd name="connsiteY5652" fmla="*/ 2906173 h 3355086"/>
                <a:gd name="connsiteX5653" fmla="*/ 689896 w 3359086"/>
                <a:gd name="connsiteY5653" fmla="*/ 2912364 h 3355086"/>
                <a:gd name="connsiteX5654" fmla="*/ 683704 w 3359086"/>
                <a:gd name="connsiteY5654" fmla="*/ 2918555 h 3355086"/>
                <a:gd name="connsiteX5655" fmla="*/ 677513 w 3359086"/>
                <a:gd name="connsiteY5655" fmla="*/ 2912364 h 3355086"/>
                <a:gd name="connsiteX5656" fmla="*/ 683704 w 3359086"/>
                <a:gd name="connsiteY5656" fmla="*/ 2906173 h 3355086"/>
                <a:gd name="connsiteX5657" fmla="*/ 2737580 w 3359086"/>
                <a:gd name="connsiteY5657" fmla="*/ 2905887 h 3355086"/>
                <a:gd name="connsiteX5658" fmla="*/ 2743771 w 3359086"/>
                <a:gd name="connsiteY5658" fmla="*/ 2912078 h 3355086"/>
                <a:gd name="connsiteX5659" fmla="*/ 2737580 w 3359086"/>
                <a:gd name="connsiteY5659" fmla="*/ 2918269 h 3355086"/>
                <a:gd name="connsiteX5660" fmla="*/ 2731389 w 3359086"/>
                <a:gd name="connsiteY5660" fmla="*/ 2912078 h 3355086"/>
                <a:gd name="connsiteX5661" fmla="*/ 2737580 w 3359086"/>
                <a:gd name="connsiteY5661" fmla="*/ 2905887 h 3355086"/>
                <a:gd name="connsiteX5662" fmla="*/ 578072 w 3359086"/>
                <a:gd name="connsiteY5662" fmla="*/ 2905887 h 3355086"/>
                <a:gd name="connsiteX5663" fmla="*/ 583977 w 3359086"/>
                <a:gd name="connsiteY5663" fmla="*/ 2911792 h 3355086"/>
                <a:gd name="connsiteX5664" fmla="*/ 589406 w 3359086"/>
                <a:gd name="connsiteY5664" fmla="*/ 2906363 h 3355086"/>
                <a:gd name="connsiteX5665" fmla="*/ 595597 w 3359086"/>
                <a:gd name="connsiteY5665" fmla="*/ 2912554 h 3355086"/>
                <a:gd name="connsiteX5666" fmla="*/ 589406 w 3359086"/>
                <a:gd name="connsiteY5666" fmla="*/ 2918746 h 3355086"/>
                <a:gd name="connsiteX5667" fmla="*/ 583501 w 3359086"/>
                <a:gd name="connsiteY5667" fmla="*/ 2912840 h 3355086"/>
                <a:gd name="connsiteX5668" fmla="*/ 578072 w 3359086"/>
                <a:gd name="connsiteY5668" fmla="*/ 2918269 h 3355086"/>
                <a:gd name="connsiteX5669" fmla="*/ 571881 w 3359086"/>
                <a:gd name="connsiteY5669" fmla="*/ 2912078 h 3355086"/>
                <a:gd name="connsiteX5670" fmla="*/ 578072 w 3359086"/>
                <a:gd name="connsiteY5670" fmla="*/ 2905887 h 3355086"/>
                <a:gd name="connsiteX5671" fmla="*/ 2722721 w 3359086"/>
                <a:gd name="connsiteY5671" fmla="*/ 2905697 h 3355086"/>
                <a:gd name="connsiteX5672" fmla="*/ 2728912 w 3359086"/>
                <a:gd name="connsiteY5672" fmla="*/ 2911888 h 3355086"/>
                <a:gd name="connsiteX5673" fmla="*/ 2722721 w 3359086"/>
                <a:gd name="connsiteY5673" fmla="*/ 2918080 h 3355086"/>
                <a:gd name="connsiteX5674" fmla="*/ 2716530 w 3359086"/>
                <a:gd name="connsiteY5674" fmla="*/ 2911888 h 3355086"/>
                <a:gd name="connsiteX5675" fmla="*/ 2722721 w 3359086"/>
                <a:gd name="connsiteY5675" fmla="*/ 2905697 h 3355086"/>
                <a:gd name="connsiteX5676" fmla="*/ 620172 w 3359086"/>
                <a:gd name="connsiteY5676" fmla="*/ 2905316 h 3355086"/>
                <a:gd name="connsiteX5677" fmla="*/ 626364 w 3359086"/>
                <a:gd name="connsiteY5677" fmla="*/ 2911507 h 3355086"/>
                <a:gd name="connsiteX5678" fmla="*/ 620172 w 3359086"/>
                <a:gd name="connsiteY5678" fmla="*/ 2917698 h 3355086"/>
                <a:gd name="connsiteX5679" fmla="*/ 613981 w 3359086"/>
                <a:gd name="connsiteY5679" fmla="*/ 2911507 h 3355086"/>
                <a:gd name="connsiteX5680" fmla="*/ 620172 w 3359086"/>
                <a:gd name="connsiteY5680" fmla="*/ 2905316 h 3355086"/>
                <a:gd name="connsiteX5681" fmla="*/ 2749486 w 3359086"/>
                <a:gd name="connsiteY5681" fmla="*/ 2905221 h 3355086"/>
                <a:gd name="connsiteX5682" fmla="*/ 2755249 w 3359086"/>
                <a:gd name="connsiteY5682" fmla="*/ 2910984 h 3355086"/>
                <a:gd name="connsiteX5683" fmla="*/ 2760630 w 3359086"/>
                <a:gd name="connsiteY5683" fmla="*/ 2905602 h 3355086"/>
                <a:gd name="connsiteX5684" fmla="*/ 2766822 w 3359086"/>
                <a:gd name="connsiteY5684" fmla="*/ 2911793 h 3355086"/>
                <a:gd name="connsiteX5685" fmla="*/ 2760630 w 3359086"/>
                <a:gd name="connsiteY5685" fmla="*/ 2917984 h 3355086"/>
                <a:gd name="connsiteX5686" fmla="*/ 2754867 w 3359086"/>
                <a:gd name="connsiteY5686" fmla="*/ 2912222 h 3355086"/>
                <a:gd name="connsiteX5687" fmla="*/ 2749486 w 3359086"/>
                <a:gd name="connsiteY5687" fmla="*/ 2917603 h 3355086"/>
                <a:gd name="connsiteX5688" fmla="*/ 2743295 w 3359086"/>
                <a:gd name="connsiteY5688" fmla="*/ 2911412 h 3355086"/>
                <a:gd name="connsiteX5689" fmla="*/ 2749486 w 3359086"/>
                <a:gd name="connsiteY5689" fmla="*/ 2905221 h 3355086"/>
                <a:gd name="connsiteX5690" fmla="*/ 2791586 w 3359086"/>
                <a:gd name="connsiteY5690" fmla="*/ 2903220 h 3355086"/>
                <a:gd name="connsiteX5691" fmla="*/ 2797778 w 3359086"/>
                <a:gd name="connsiteY5691" fmla="*/ 2909411 h 3355086"/>
                <a:gd name="connsiteX5692" fmla="*/ 2791586 w 3359086"/>
                <a:gd name="connsiteY5692" fmla="*/ 2915602 h 3355086"/>
                <a:gd name="connsiteX5693" fmla="*/ 2785395 w 3359086"/>
                <a:gd name="connsiteY5693" fmla="*/ 2909411 h 3355086"/>
                <a:gd name="connsiteX5694" fmla="*/ 2791586 w 3359086"/>
                <a:gd name="connsiteY5694" fmla="*/ 2903220 h 3355086"/>
                <a:gd name="connsiteX5695" fmla="*/ 2702051 w 3359086"/>
                <a:gd name="connsiteY5695" fmla="*/ 2902077 h 3355086"/>
                <a:gd name="connsiteX5696" fmla="*/ 2708242 w 3359086"/>
                <a:gd name="connsiteY5696" fmla="*/ 2908268 h 3355086"/>
                <a:gd name="connsiteX5697" fmla="*/ 2702051 w 3359086"/>
                <a:gd name="connsiteY5697" fmla="*/ 2914459 h 3355086"/>
                <a:gd name="connsiteX5698" fmla="*/ 2695860 w 3359086"/>
                <a:gd name="connsiteY5698" fmla="*/ 2908268 h 3355086"/>
                <a:gd name="connsiteX5699" fmla="*/ 2702051 w 3359086"/>
                <a:gd name="connsiteY5699" fmla="*/ 2902077 h 3355086"/>
                <a:gd name="connsiteX5700" fmla="*/ 926972 w 3359086"/>
                <a:gd name="connsiteY5700" fmla="*/ 2901125 h 3355086"/>
                <a:gd name="connsiteX5701" fmla="*/ 933164 w 3359086"/>
                <a:gd name="connsiteY5701" fmla="*/ 2907316 h 3355086"/>
                <a:gd name="connsiteX5702" fmla="*/ 926972 w 3359086"/>
                <a:gd name="connsiteY5702" fmla="*/ 2913507 h 3355086"/>
                <a:gd name="connsiteX5703" fmla="*/ 920781 w 3359086"/>
                <a:gd name="connsiteY5703" fmla="*/ 2907316 h 3355086"/>
                <a:gd name="connsiteX5704" fmla="*/ 926972 w 3359086"/>
                <a:gd name="connsiteY5704" fmla="*/ 2901125 h 3355086"/>
                <a:gd name="connsiteX5705" fmla="*/ 1986628 w 3359086"/>
                <a:gd name="connsiteY5705" fmla="*/ 2900839 h 3355086"/>
                <a:gd name="connsiteX5706" fmla="*/ 1992820 w 3359086"/>
                <a:gd name="connsiteY5706" fmla="*/ 2907030 h 3355086"/>
                <a:gd name="connsiteX5707" fmla="*/ 1986628 w 3359086"/>
                <a:gd name="connsiteY5707" fmla="*/ 2913221 h 3355086"/>
                <a:gd name="connsiteX5708" fmla="*/ 1980437 w 3359086"/>
                <a:gd name="connsiteY5708" fmla="*/ 2907030 h 3355086"/>
                <a:gd name="connsiteX5709" fmla="*/ 1986628 w 3359086"/>
                <a:gd name="connsiteY5709" fmla="*/ 2900839 h 3355086"/>
                <a:gd name="connsiteX5710" fmla="*/ 548163 w 3359086"/>
                <a:gd name="connsiteY5710" fmla="*/ 2900363 h 3355086"/>
                <a:gd name="connsiteX5711" fmla="*/ 554354 w 3359086"/>
                <a:gd name="connsiteY5711" fmla="*/ 2906554 h 3355086"/>
                <a:gd name="connsiteX5712" fmla="*/ 548163 w 3359086"/>
                <a:gd name="connsiteY5712" fmla="*/ 2912746 h 3355086"/>
                <a:gd name="connsiteX5713" fmla="*/ 541972 w 3359086"/>
                <a:gd name="connsiteY5713" fmla="*/ 2906554 h 3355086"/>
                <a:gd name="connsiteX5714" fmla="*/ 548163 w 3359086"/>
                <a:gd name="connsiteY5714" fmla="*/ 2900363 h 3355086"/>
                <a:gd name="connsiteX5715" fmla="*/ 2810922 w 3359086"/>
                <a:gd name="connsiteY5715" fmla="*/ 2899982 h 3355086"/>
                <a:gd name="connsiteX5716" fmla="*/ 2817114 w 3359086"/>
                <a:gd name="connsiteY5716" fmla="*/ 2906173 h 3355086"/>
                <a:gd name="connsiteX5717" fmla="*/ 2810922 w 3359086"/>
                <a:gd name="connsiteY5717" fmla="*/ 2912364 h 3355086"/>
                <a:gd name="connsiteX5718" fmla="*/ 2804731 w 3359086"/>
                <a:gd name="connsiteY5718" fmla="*/ 2906173 h 3355086"/>
                <a:gd name="connsiteX5719" fmla="*/ 2810922 w 3359086"/>
                <a:gd name="connsiteY5719" fmla="*/ 2899982 h 3355086"/>
                <a:gd name="connsiteX5720" fmla="*/ 645032 w 3359086"/>
                <a:gd name="connsiteY5720" fmla="*/ 2898934 h 3355086"/>
                <a:gd name="connsiteX5721" fmla="*/ 651224 w 3359086"/>
                <a:gd name="connsiteY5721" fmla="*/ 2905125 h 3355086"/>
                <a:gd name="connsiteX5722" fmla="*/ 645032 w 3359086"/>
                <a:gd name="connsiteY5722" fmla="*/ 2911317 h 3355086"/>
                <a:gd name="connsiteX5723" fmla="*/ 638841 w 3359086"/>
                <a:gd name="connsiteY5723" fmla="*/ 2905125 h 3355086"/>
                <a:gd name="connsiteX5724" fmla="*/ 645032 w 3359086"/>
                <a:gd name="connsiteY5724" fmla="*/ 2898934 h 3355086"/>
                <a:gd name="connsiteX5725" fmla="*/ 2577179 w 3359086"/>
                <a:gd name="connsiteY5725" fmla="*/ 2898553 h 3355086"/>
                <a:gd name="connsiteX5726" fmla="*/ 2583370 w 3359086"/>
                <a:gd name="connsiteY5726" fmla="*/ 2904744 h 3355086"/>
                <a:gd name="connsiteX5727" fmla="*/ 2577179 w 3359086"/>
                <a:gd name="connsiteY5727" fmla="*/ 2910936 h 3355086"/>
                <a:gd name="connsiteX5728" fmla="*/ 2570988 w 3359086"/>
                <a:gd name="connsiteY5728" fmla="*/ 2904744 h 3355086"/>
                <a:gd name="connsiteX5729" fmla="*/ 2577179 w 3359086"/>
                <a:gd name="connsiteY5729" fmla="*/ 2898553 h 3355086"/>
                <a:gd name="connsiteX5730" fmla="*/ 2778823 w 3359086"/>
                <a:gd name="connsiteY5730" fmla="*/ 2897220 h 3355086"/>
                <a:gd name="connsiteX5731" fmla="*/ 2785015 w 3359086"/>
                <a:gd name="connsiteY5731" fmla="*/ 2903411 h 3355086"/>
                <a:gd name="connsiteX5732" fmla="*/ 2778823 w 3359086"/>
                <a:gd name="connsiteY5732" fmla="*/ 2909602 h 3355086"/>
                <a:gd name="connsiteX5733" fmla="*/ 2772632 w 3359086"/>
                <a:gd name="connsiteY5733" fmla="*/ 2903411 h 3355086"/>
                <a:gd name="connsiteX5734" fmla="*/ 2778823 w 3359086"/>
                <a:gd name="connsiteY5734" fmla="*/ 2897220 h 3355086"/>
                <a:gd name="connsiteX5735" fmla="*/ 2629090 w 3359086"/>
                <a:gd name="connsiteY5735" fmla="*/ 2896838 h 3355086"/>
                <a:gd name="connsiteX5736" fmla="*/ 2635282 w 3359086"/>
                <a:gd name="connsiteY5736" fmla="*/ 2903029 h 3355086"/>
                <a:gd name="connsiteX5737" fmla="*/ 2629090 w 3359086"/>
                <a:gd name="connsiteY5737" fmla="*/ 2909221 h 3355086"/>
                <a:gd name="connsiteX5738" fmla="*/ 2622899 w 3359086"/>
                <a:gd name="connsiteY5738" fmla="*/ 2903029 h 3355086"/>
                <a:gd name="connsiteX5739" fmla="*/ 2629090 w 3359086"/>
                <a:gd name="connsiteY5739" fmla="*/ 2896838 h 3355086"/>
                <a:gd name="connsiteX5740" fmla="*/ 2515457 w 3359086"/>
                <a:gd name="connsiteY5740" fmla="*/ 2896077 h 3355086"/>
                <a:gd name="connsiteX5741" fmla="*/ 2521648 w 3359086"/>
                <a:gd name="connsiteY5741" fmla="*/ 2902268 h 3355086"/>
                <a:gd name="connsiteX5742" fmla="*/ 2515457 w 3359086"/>
                <a:gd name="connsiteY5742" fmla="*/ 2908459 h 3355086"/>
                <a:gd name="connsiteX5743" fmla="*/ 2509266 w 3359086"/>
                <a:gd name="connsiteY5743" fmla="*/ 2902268 h 3355086"/>
                <a:gd name="connsiteX5744" fmla="*/ 2515457 w 3359086"/>
                <a:gd name="connsiteY5744" fmla="*/ 2896077 h 3355086"/>
                <a:gd name="connsiteX5745" fmla="*/ 2278570 w 3359086"/>
                <a:gd name="connsiteY5745" fmla="*/ 2895886 h 3355086"/>
                <a:gd name="connsiteX5746" fmla="*/ 2284761 w 3359086"/>
                <a:gd name="connsiteY5746" fmla="*/ 2902077 h 3355086"/>
                <a:gd name="connsiteX5747" fmla="*/ 2278570 w 3359086"/>
                <a:gd name="connsiteY5747" fmla="*/ 2908269 h 3355086"/>
                <a:gd name="connsiteX5748" fmla="*/ 2272379 w 3359086"/>
                <a:gd name="connsiteY5748" fmla="*/ 2902077 h 3355086"/>
                <a:gd name="connsiteX5749" fmla="*/ 2278570 w 3359086"/>
                <a:gd name="connsiteY5749" fmla="*/ 2895886 h 3355086"/>
                <a:gd name="connsiteX5750" fmla="*/ 1301686 w 3359086"/>
                <a:gd name="connsiteY5750" fmla="*/ 2895124 h 3355086"/>
                <a:gd name="connsiteX5751" fmla="*/ 1307878 w 3359086"/>
                <a:gd name="connsiteY5751" fmla="*/ 2901315 h 3355086"/>
                <a:gd name="connsiteX5752" fmla="*/ 1301686 w 3359086"/>
                <a:gd name="connsiteY5752" fmla="*/ 2907506 h 3355086"/>
                <a:gd name="connsiteX5753" fmla="*/ 1295495 w 3359086"/>
                <a:gd name="connsiteY5753" fmla="*/ 2901315 h 3355086"/>
                <a:gd name="connsiteX5754" fmla="*/ 1301686 w 3359086"/>
                <a:gd name="connsiteY5754" fmla="*/ 2895124 h 3355086"/>
                <a:gd name="connsiteX5755" fmla="*/ 580738 w 3359086"/>
                <a:gd name="connsiteY5755" fmla="*/ 2895029 h 3355086"/>
                <a:gd name="connsiteX5756" fmla="*/ 586929 w 3359086"/>
                <a:gd name="connsiteY5756" fmla="*/ 2901220 h 3355086"/>
                <a:gd name="connsiteX5757" fmla="*/ 580738 w 3359086"/>
                <a:gd name="connsiteY5757" fmla="*/ 2907412 h 3355086"/>
                <a:gd name="connsiteX5758" fmla="*/ 575452 w 3359086"/>
                <a:gd name="connsiteY5758" fmla="*/ 2902125 h 3355086"/>
                <a:gd name="connsiteX5759" fmla="*/ 570071 w 3359086"/>
                <a:gd name="connsiteY5759" fmla="*/ 2907506 h 3355086"/>
                <a:gd name="connsiteX5760" fmla="*/ 565546 w 3359086"/>
                <a:gd name="connsiteY5760" fmla="*/ 2902981 h 3355086"/>
                <a:gd name="connsiteX5761" fmla="*/ 559783 w 3359086"/>
                <a:gd name="connsiteY5761" fmla="*/ 2908744 h 3355086"/>
                <a:gd name="connsiteX5762" fmla="*/ 553592 w 3359086"/>
                <a:gd name="connsiteY5762" fmla="*/ 2902553 h 3355086"/>
                <a:gd name="connsiteX5763" fmla="*/ 559783 w 3359086"/>
                <a:gd name="connsiteY5763" fmla="*/ 2896362 h 3355086"/>
                <a:gd name="connsiteX5764" fmla="*/ 564308 w 3359086"/>
                <a:gd name="connsiteY5764" fmla="*/ 2900887 h 3355086"/>
                <a:gd name="connsiteX5765" fmla="*/ 570071 w 3359086"/>
                <a:gd name="connsiteY5765" fmla="*/ 2895124 h 3355086"/>
                <a:gd name="connsiteX5766" fmla="*/ 575357 w 3359086"/>
                <a:gd name="connsiteY5766" fmla="*/ 2900410 h 3355086"/>
                <a:gd name="connsiteX5767" fmla="*/ 594074 w 3359086"/>
                <a:gd name="connsiteY5767" fmla="*/ 2894076 h 3355086"/>
                <a:gd name="connsiteX5768" fmla="*/ 600265 w 3359086"/>
                <a:gd name="connsiteY5768" fmla="*/ 2900267 h 3355086"/>
                <a:gd name="connsiteX5769" fmla="*/ 594074 w 3359086"/>
                <a:gd name="connsiteY5769" fmla="*/ 2906459 h 3355086"/>
                <a:gd name="connsiteX5770" fmla="*/ 587883 w 3359086"/>
                <a:gd name="connsiteY5770" fmla="*/ 2900267 h 3355086"/>
                <a:gd name="connsiteX5771" fmla="*/ 594074 w 3359086"/>
                <a:gd name="connsiteY5771" fmla="*/ 2894076 h 3355086"/>
                <a:gd name="connsiteX5772" fmla="*/ 2746247 w 3359086"/>
                <a:gd name="connsiteY5772" fmla="*/ 2893981 h 3355086"/>
                <a:gd name="connsiteX5773" fmla="*/ 2752200 w 3359086"/>
                <a:gd name="connsiteY5773" fmla="*/ 2899934 h 3355086"/>
                <a:gd name="connsiteX5774" fmla="*/ 2757963 w 3359086"/>
                <a:gd name="connsiteY5774" fmla="*/ 2894171 h 3355086"/>
                <a:gd name="connsiteX5775" fmla="*/ 2763345 w 3359086"/>
                <a:gd name="connsiteY5775" fmla="*/ 2899553 h 3355086"/>
                <a:gd name="connsiteX5776" fmla="*/ 2768155 w 3359086"/>
                <a:gd name="connsiteY5776" fmla="*/ 2894743 h 3355086"/>
                <a:gd name="connsiteX5777" fmla="*/ 2774346 w 3359086"/>
                <a:gd name="connsiteY5777" fmla="*/ 2900934 h 3355086"/>
                <a:gd name="connsiteX5778" fmla="*/ 2768155 w 3359086"/>
                <a:gd name="connsiteY5778" fmla="*/ 2907126 h 3355086"/>
                <a:gd name="connsiteX5779" fmla="*/ 2762773 w 3359086"/>
                <a:gd name="connsiteY5779" fmla="*/ 2901744 h 3355086"/>
                <a:gd name="connsiteX5780" fmla="*/ 2757963 w 3359086"/>
                <a:gd name="connsiteY5780" fmla="*/ 2906554 h 3355086"/>
                <a:gd name="connsiteX5781" fmla="*/ 2752010 w 3359086"/>
                <a:gd name="connsiteY5781" fmla="*/ 2900600 h 3355086"/>
                <a:gd name="connsiteX5782" fmla="*/ 2746247 w 3359086"/>
                <a:gd name="connsiteY5782" fmla="*/ 2906363 h 3355086"/>
                <a:gd name="connsiteX5783" fmla="*/ 2740056 w 3359086"/>
                <a:gd name="connsiteY5783" fmla="*/ 2900172 h 3355086"/>
                <a:gd name="connsiteX5784" fmla="*/ 2746247 w 3359086"/>
                <a:gd name="connsiteY5784" fmla="*/ 2893981 h 3355086"/>
                <a:gd name="connsiteX5785" fmla="*/ 2672524 w 3359086"/>
                <a:gd name="connsiteY5785" fmla="*/ 2892076 h 3355086"/>
                <a:gd name="connsiteX5786" fmla="*/ 2678716 w 3359086"/>
                <a:gd name="connsiteY5786" fmla="*/ 2898267 h 3355086"/>
                <a:gd name="connsiteX5787" fmla="*/ 2672524 w 3359086"/>
                <a:gd name="connsiteY5787" fmla="*/ 2904459 h 3355086"/>
                <a:gd name="connsiteX5788" fmla="*/ 2666333 w 3359086"/>
                <a:gd name="connsiteY5788" fmla="*/ 2898267 h 3355086"/>
                <a:gd name="connsiteX5789" fmla="*/ 2672524 w 3359086"/>
                <a:gd name="connsiteY5789" fmla="*/ 2892076 h 3355086"/>
                <a:gd name="connsiteX5790" fmla="*/ 2730817 w 3359086"/>
                <a:gd name="connsiteY5790" fmla="*/ 2891695 h 3355086"/>
                <a:gd name="connsiteX5791" fmla="*/ 2737009 w 3359086"/>
                <a:gd name="connsiteY5791" fmla="*/ 2897886 h 3355086"/>
                <a:gd name="connsiteX5792" fmla="*/ 2730817 w 3359086"/>
                <a:gd name="connsiteY5792" fmla="*/ 2904078 h 3355086"/>
                <a:gd name="connsiteX5793" fmla="*/ 2724626 w 3359086"/>
                <a:gd name="connsiteY5793" fmla="*/ 2897886 h 3355086"/>
                <a:gd name="connsiteX5794" fmla="*/ 2730817 w 3359086"/>
                <a:gd name="connsiteY5794" fmla="*/ 2891695 h 3355086"/>
                <a:gd name="connsiteX5795" fmla="*/ 2796825 w 3359086"/>
                <a:gd name="connsiteY5795" fmla="*/ 2890933 h 3355086"/>
                <a:gd name="connsiteX5796" fmla="*/ 2803016 w 3359086"/>
                <a:gd name="connsiteY5796" fmla="*/ 2897124 h 3355086"/>
                <a:gd name="connsiteX5797" fmla="*/ 2796825 w 3359086"/>
                <a:gd name="connsiteY5797" fmla="*/ 2903315 h 3355086"/>
                <a:gd name="connsiteX5798" fmla="*/ 2790634 w 3359086"/>
                <a:gd name="connsiteY5798" fmla="*/ 2897124 h 3355086"/>
                <a:gd name="connsiteX5799" fmla="*/ 2796825 w 3359086"/>
                <a:gd name="connsiteY5799" fmla="*/ 2890933 h 3355086"/>
                <a:gd name="connsiteX5800" fmla="*/ 612647 w 3359086"/>
                <a:gd name="connsiteY5800" fmla="*/ 2889980 h 3355086"/>
                <a:gd name="connsiteX5801" fmla="*/ 618839 w 3359086"/>
                <a:gd name="connsiteY5801" fmla="*/ 2896171 h 3355086"/>
                <a:gd name="connsiteX5802" fmla="*/ 612647 w 3359086"/>
                <a:gd name="connsiteY5802" fmla="*/ 2902363 h 3355086"/>
                <a:gd name="connsiteX5803" fmla="*/ 606456 w 3359086"/>
                <a:gd name="connsiteY5803" fmla="*/ 2896171 h 3355086"/>
                <a:gd name="connsiteX5804" fmla="*/ 612647 w 3359086"/>
                <a:gd name="connsiteY5804" fmla="*/ 2889980 h 3355086"/>
                <a:gd name="connsiteX5805" fmla="*/ 2442495 w 3359086"/>
                <a:gd name="connsiteY5805" fmla="*/ 2888552 h 3355086"/>
                <a:gd name="connsiteX5806" fmla="*/ 2448686 w 3359086"/>
                <a:gd name="connsiteY5806" fmla="*/ 2894743 h 3355086"/>
                <a:gd name="connsiteX5807" fmla="*/ 2442495 w 3359086"/>
                <a:gd name="connsiteY5807" fmla="*/ 2900934 h 3355086"/>
                <a:gd name="connsiteX5808" fmla="*/ 2436304 w 3359086"/>
                <a:gd name="connsiteY5808" fmla="*/ 2894743 h 3355086"/>
                <a:gd name="connsiteX5809" fmla="*/ 2442495 w 3359086"/>
                <a:gd name="connsiteY5809" fmla="*/ 2888552 h 3355086"/>
                <a:gd name="connsiteX5810" fmla="*/ 541972 w 3359086"/>
                <a:gd name="connsiteY5810" fmla="*/ 2888552 h 3355086"/>
                <a:gd name="connsiteX5811" fmla="*/ 548163 w 3359086"/>
                <a:gd name="connsiteY5811" fmla="*/ 2894743 h 3355086"/>
                <a:gd name="connsiteX5812" fmla="*/ 541972 w 3359086"/>
                <a:gd name="connsiteY5812" fmla="*/ 2900934 h 3355086"/>
                <a:gd name="connsiteX5813" fmla="*/ 535781 w 3359086"/>
                <a:gd name="connsiteY5813" fmla="*/ 2894743 h 3355086"/>
                <a:gd name="connsiteX5814" fmla="*/ 541972 w 3359086"/>
                <a:gd name="connsiteY5814" fmla="*/ 2888552 h 3355086"/>
                <a:gd name="connsiteX5815" fmla="*/ 2080259 w 3359086"/>
                <a:gd name="connsiteY5815" fmla="*/ 2887790 h 3355086"/>
                <a:gd name="connsiteX5816" fmla="*/ 2086451 w 3359086"/>
                <a:gd name="connsiteY5816" fmla="*/ 2893981 h 3355086"/>
                <a:gd name="connsiteX5817" fmla="*/ 2080259 w 3359086"/>
                <a:gd name="connsiteY5817" fmla="*/ 2900172 h 3355086"/>
                <a:gd name="connsiteX5818" fmla="*/ 2074068 w 3359086"/>
                <a:gd name="connsiteY5818" fmla="*/ 2893981 h 3355086"/>
                <a:gd name="connsiteX5819" fmla="*/ 2080259 w 3359086"/>
                <a:gd name="connsiteY5819" fmla="*/ 2887790 h 3355086"/>
                <a:gd name="connsiteX5820" fmla="*/ 2815113 w 3359086"/>
                <a:gd name="connsiteY5820" fmla="*/ 2886647 h 3355086"/>
                <a:gd name="connsiteX5821" fmla="*/ 2821305 w 3359086"/>
                <a:gd name="connsiteY5821" fmla="*/ 2892838 h 3355086"/>
                <a:gd name="connsiteX5822" fmla="*/ 2815113 w 3359086"/>
                <a:gd name="connsiteY5822" fmla="*/ 2899030 h 3355086"/>
                <a:gd name="connsiteX5823" fmla="*/ 2808922 w 3359086"/>
                <a:gd name="connsiteY5823" fmla="*/ 2892838 h 3355086"/>
                <a:gd name="connsiteX5824" fmla="*/ 2815113 w 3359086"/>
                <a:gd name="connsiteY5824" fmla="*/ 2886647 h 3355086"/>
                <a:gd name="connsiteX5825" fmla="*/ 2834068 w 3359086"/>
                <a:gd name="connsiteY5825" fmla="*/ 2886552 h 3355086"/>
                <a:gd name="connsiteX5826" fmla="*/ 2838354 w 3359086"/>
                <a:gd name="connsiteY5826" fmla="*/ 2890838 h 3355086"/>
                <a:gd name="connsiteX5827" fmla="*/ 2834068 w 3359086"/>
                <a:gd name="connsiteY5827" fmla="*/ 2895124 h 3355086"/>
                <a:gd name="connsiteX5828" fmla="*/ 2829782 w 3359086"/>
                <a:gd name="connsiteY5828" fmla="*/ 2890838 h 3355086"/>
                <a:gd name="connsiteX5829" fmla="*/ 2834068 w 3359086"/>
                <a:gd name="connsiteY5829" fmla="*/ 2886552 h 3355086"/>
                <a:gd name="connsiteX5830" fmla="*/ 729805 w 3359086"/>
                <a:gd name="connsiteY5830" fmla="*/ 2886361 h 3355086"/>
                <a:gd name="connsiteX5831" fmla="*/ 735996 w 3359086"/>
                <a:gd name="connsiteY5831" fmla="*/ 2892552 h 3355086"/>
                <a:gd name="connsiteX5832" fmla="*/ 729805 w 3359086"/>
                <a:gd name="connsiteY5832" fmla="*/ 2898744 h 3355086"/>
                <a:gd name="connsiteX5833" fmla="*/ 723614 w 3359086"/>
                <a:gd name="connsiteY5833" fmla="*/ 2892552 h 3355086"/>
                <a:gd name="connsiteX5834" fmla="*/ 729805 w 3359086"/>
                <a:gd name="connsiteY5834" fmla="*/ 2886361 h 3355086"/>
                <a:gd name="connsiteX5835" fmla="*/ 1016698 w 3359086"/>
                <a:gd name="connsiteY5835" fmla="*/ 2886266 h 3355086"/>
                <a:gd name="connsiteX5836" fmla="*/ 1022890 w 3359086"/>
                <a:gd name="connsiteY5836" fmla="*/ 2892457 h 3355086"/>
                <a:gd name="connsiteX5837" fmla="*/ 1016698 w 3359086"/>
                <a:gd name="connsiteY5837" fmla="*/ 2898648 h 3355086"/>
                <a:gd name="connsiteX5838" fmla="*/ 1010507 w 3359086"/>
                <a:gd name="connsiteY5838" fmla="*/ 2892457 h 3355086"/>
                <a:gd name="connsiteX5839" fmla="*/ 1016698 w 3359086"/>
                <a:gd name="connsiteY5839" fmla="*/ 2886266 h 3355086"/>
                <a:gd name="connsiteX5840" fmla="*/ 2708719 w 3359086"/>
                <a:gd name="connsiteY5840" fmla="*/ 2884837 h 3355086"/>
                <a:gd name="connsiteX5841" fmla="*/ 2714910 w 3359086"/>
                <a:gd name="connsiteY5841" fmla="*/ 2891028 h 3355086"/>
                <a:gd name="connsiteX5842" fmla="*/ 2708719 w 3359086"/>
                <a:gd name="connsiteY5842" fmla="*/ 2897220 h 3355086"/>
                <a:gd name="connsiteX5843" fmla="*/ 2702528 w 3359086"/>
                <a:gd name="connsiteY5843" fmla="*/ 2891028 h 3355086"/>
                <a:gd name="connsiteX5844" fmla="*/ 2708719 w 3359086"/>
                <a:gd name="connsiteY5844" fmla="*/ 2884837 h 3355086"/>
                <a:gd name="connsiteX5845" fmla="*/ 680561 w 3359086"/>
                <a:gd name="connsiteY5845" fmla="*/ 2884551 h 3355086"/>
                <a:gd name="connsiteX5846" fmla="*/ 686752 w 3359086"/>
                <a:gd name="connsiteY5846" fmla="*/ 2890742 h 3355086"/>
                <a:gd name="connsiteX5847" fmla="*/ 680561 w 3359086"/>
                <a:gd name="connsiteY5847" fmla="*/ 2896934 h 3355086"/>
                <a:gd name="connsiteX5848" fmla="*/ 674370 w 3359086"/>
                <a:gd name="connsiteY5848" fmla="*/ 2890742 h 3355086"/>
                <a:gd name="connsiteX5849" fmla="*/ 680561 w 3359086"/>
                <a:gd name="connsiteY5849" fmla="*/ 2884551 h 3355086"/>
                <a:gd name="connsiteX5850" fmla="*/ 788574 w 3359086"/>
                <a:gd name="connsiteY5850" fmla="*/ 2884361 h 3355086"/>
                <a:gd name="connsiteX5851" fmla="*/ 794766 w 3359086"/>
                <a:gd name="connsiteY5851" fmla="*/ 2890552 h 3355086"/>
                <a:gd name="connsiteX5852" fmla="*/ 788574 w 3359086"/>
                <a:gd name="connsiteY5852" fmla="*/ 2896743 h 3355086"/>
                <a:gd name="connsiteX5853" fmla="*/ 782383 w 3359086"/>
                <a:gd name="connsiteY5853" fmla="*/ 2890552 h 3355086"/>
                <a:gd name="connsiteX5854" fmla="*/ 788574 w 3359086"/>
                <a:gd name="connsiteY5854" fmla="*/ 2884361 h 3355086"/>
                <a:gd name="connsiteX5855" fmla="*/ 524351 w 3359086"/>
                <a:gd name="connsiteY5855" fmla="*/ 2884265 h 3355086"/>
                <a:gd name="connsiteX5856" fmla="*/ 529018 w 3359086"/>
                <a:gd name="connsiteY5856" fmla="*/ 2888932 h 3355086"/>
                <a:gd name="connsiteX5857" fmla="*/ 524351 w 3359086"/>
                <a:gd name="connsiteY5857" fmla="*/ 2893600 h 3355086"/>
                <a:gd name="connsiteX5858" fmla="*/ 519684 w 3359086"/>
                <a:gd name="connsiteY5858" fmla="*/ 2888932 h 3355086"/>
                <a:gd name="connsiteX5859" fmla="*/ 524351 w 3359086"/>
                <a:gd name="connsiteY5859" fmla="*/ 2884265 h 3355086"/>
                <a:gd name="connsiteX5860" fmla="*/ 571785 w 3359086"/>
                <a:gd name="connsiteY5860" fmla="*/ 2882742 h 3355086"/>
                <a:gd name="connsiteX5861" fmla="*/ 577976 w 3359086"/>
                <a:gd name="connsiteY5861" fmla="*/ 2888933 h 3355086"/>
                <a:gd name="connsiteX5862" fmla="*/ 571785 w 3359086"/>
                <a:gd name="connsiteY5862" fmla="*/ 2895124 h 3355086"/>
                <a:gd name="connsiteX5863" fmla="*/ 567165 w 3359086"/>
                <a:gd name="connsiteY5863" fmla="*/ 2890504 h 3355086"/>
                <a:gd name="connsiteX5864" fmla="*/ 561498 w 3359086"/>
                <a:gd name="connsiteY5864" fmla="*/ 2896171 h 3355086"/>
                <a:gd name="connsiteX5865" fmla="*/ 557498 w 3359086"/>
                <a:gd name="connsiteY5865" fmla="*/ 2892171 h 3355086"/>
                <a:gd name="connsiteX5866" fmla="*/ 552163 w 3359086"/>
                <a:gd name="connsiteY5866" fmla="*/ 2897505 h 3355086"/>
                <a:gd name="connsiteX5867" fmla="*/ 545972 w 3359086"/>
                <a:gd name="connsiteY5867" fmla="*/ 2891314 h 3355086"/>
                <a:gd name="connsiteX5868" fmla="*/ 552163 w 3359086"/>
                <a:gd name="connsiteY5868" fmla="*/ 2885123 h 3355086"/>
                <a:gd name="connsiteX5869" fmla="*/ 556164 w 3359086"/>
                <a:gd name="connsiteY5869" fmla="*/ 2889124 h 3355086"/>
                <a:gd name="connsiteX5870" fmla="*/ 561498 w 3359086"/>
                <a:gd name="connsiteY5870" fmla="*/ 2883789 h 3355086"/>
                <a:gd name="connsiteX5871" fmla="*/ 566118 w 3359086"/>
                <a:gd name="connsiteY5871" fmla="*/ 2888409 h 3355086"/>
                <a:gd name="connsiteX5872" fmla="*/ 2766821 w 3359086"/>
                <a:gd name="connsiteY5872" fmla="*/ 2882551 h 3355086"/>
                <a:gd name="connsiteX5873" fmla="*/ 2772013 w 3359086"/>
                <a:gd name="connsiteY5873" fmla="*/ 2887742 h 3355086"/>
                <a:gd name="connsiteX5874" fmla="*/ 2776251 w 3359086"/>
                <a:gd name="connsiteY5874" fmla="*/ 2883504 h 3355086"/>
                <a:gd name="connsiteX5875" fmla="*/ 2782156 w 3359086"/>
                <a:gd name="connsiteY5875" fmla="*/ 2889409 h 3355086"/>
                <a:gd name="connsiteX5876" fmla="*/ 2785776 w 3359086"/>
                <a:gd name="connsiteY5876" fmla="*/ 2885789 h 3355086"/>
                <a:gd name="connsiteX5877" fmla="*/ 2791967 w 3359086"/>
                <a:gd name="connsiteY5877" fmla="*/ 2891980 h 3355086"/>
                <a:gd name="connsiteX5878" fmla="*/ 2785776 w 3359086"/>
                <a:gd name="connsiteY5878" fmla="*/ 2898172 h 3355086"/>
                <a:gd name="connsiteX5879" fmla="*/ 2779871 w 3359086"/>
                <a:gd name="connsiteY5879" fmla="*/ 2892266 h 3355086"/>
                <a:gd name="connsiteX5880" fmla="*/ 2776251 w 3359086"/>
                <a:gd name="connsiteY5880" fmla="*/ 2895886 h 3355086"/>
                <a:gd name="connsiteX5881" fmla="*/ 2771060 w 3359086"/>
                <a:gd name="connsiteY5881" fmla="*/ 2890695 h 3355086"/>
                <a:gd name="connsiteX5882" fmla="*/ 2766821 w 3359086"/>
                <a:gd name="connsiteY5882" fmla="*/ 2894934 h 3355086"/>
                <a:gd name="connsiteX5883" fmla="*/ 2760630 w 3359086"/>
                <a:gd name="connsiteY5883" fmla="*/ 2888742 h 3355086"/>
                <a:gd name="connsiteX5884" fmla="*/ 2766821 w 3359086"/>
                <a:gd name="connsiteY5884" fmla="*/ 2882551 h 3355086"/>
                <a:gd name="connsiteX5885" fmla="*/ 2755201 w 3359086"/>
                <a:gd name="connsiteY5885" fmla="*/ 2880837 h 3355086"/>
                <a:gd name="connsiteX5886" fmla="*/ 2761393 w 3359086"/>
                <a:gd name="connsiteY5886" fmla="*/ 2887028 h 3355086"/>
                <a:gd name="connsiteX5887" fmla="*/ 2755201 w 3359086"/>
                <a:gd name="connsiteY5887" fmla="*/ 2893219 h 3355086"/>
                <a:gd name="connsiteX5888" fmla="*/ 2749010 w 3359086"/>
                <a:gd name="connsiteY5888" fmla="*/ 2887028 h 3355086"/>
                <a:gd name="connsiteX5889" fmla="*/ 2755201 w 3359086"/>
                <a:gd name="connsiteY5889" fmla="*/ 2880837 h 3355086"/>
                <a:gd name="connsiteX5890" fmla="*/ 1209484 w 3359086"/>
                <a:gd name="connsiteY5890" fmla="*/ 2880646 h 3355086"/>
                <a:gd name="connsiteX5891" fmla="*/ 1215675 w 3359086"/>
                <a:gd name="connsiteY5891" fmla="*/ 2886837 h 3355086"/>
                <a:gd name="connsiteX5892" fmla="*/ 1209484 w 3359086"/>
                <a:gd name="connsiteY5892" fmla="*/ 2893028 h 3355086"/>
                <a:gd name="connsiteX5893" fmla="*/ 1203293 w 3359086"/>
                <a:gd name="connsiteY5893" fmla="*/ 2886837 h 3355086"/>
                <a:gd name="connsiteX5894" fmla="*/ 1209484 w 3359086"/>
                <a:gd name="connsiteY5894" fmla="*/ 2880646 h 3355086"/>
                <a:gd name="connsiteX5895" fmla="*/ 585501 w 3359086"/>
                <a:gd name="connsiteY5895" fmla="*/ 2879884 h 3355086"/>
                <a:gd name="connsiteX5896" fmla="*/ 591692 w 3359086"/>
                <a:gd name="connsiteY5896" fmla="*/ 2886075 h 3355086"/>
                <a:gd name="connsiteX5897" fmla="*/ 585501 w 3359086"/>
                <a:gd name="connsiteY5897" fmla="*/ 2892267 h 3355086"/>
                <a:gd name="connsiteX5898" fmla="*/ 579310 w 3359086"/>
                <a:gd name="connsiteY5898" fmla="*/ 2886075 h 3355086"/>
                <a:gd name="connsiteX5899" fmla="*/ 585501 w 3359086"/>
                <a:gd name="connsiteY5899" fmla="*/ 2879884 h 3355086"/>
                <a:gd name="connsiteX5900" fmla="*/ 639508 w 3359086"/>
                <a:gd name="connsiteY5900" fmla="*/ 2879694 h 3355086"/>
                <a:gd name="connsiteX5901" fmla="*/ 645700 w 3359086"/>
                <a:gd name="connsiteY5901" fmla="*/ 2885885 h 3355086"/>
                <a:gd name="connsiteX5902" fmla="*/ 639508 w 3359086"/>
                <a:gd name="connsiteY5902" fmla="*/ 2892076 h 3355086"/>
                <a:gd name="connsiteX5903" fmla="*/ 633317 w 3359086"/>
                <a:gd name="connsiteY5903" fmla="*/ 2885885 h 3355086"/>
                <a:gd name="connsiteX5904" fmla="*/ 639508 w 3359086"/>
                <a:gd name="connsiteY5904" fmla="*/ 2879694 h 3355086"/>
                <a:gd name="connsiteX5905" fmla="*/ 2802921 w 3359086"/>
                <a:gd name="connsiteY5905" fmla="*/ 2878646 h 3355086"/>
                <a:gd name="connsiteX5906" fmla="*/ 2809113 w 3359086"/>
                <a:gd name="connsiteY5906" fmla="*/ 2884837 h 3355086"/>
                <a:gd name="connsiteX5907" fmla="*/ 2802921 w 3359086"/>
                <a:gd name="connsiteY5907" fmla="*/ 2891029 h 3355086"/>
                <a:gd name="connsiteX5908" fmla="*/ 2796730 w 3359086"/>
                <a:gd name="connsiteY5908" fmla="*/ 2884837 h 3355086"/>
                <a:gd name="connsiteX5909" fmla="*/ 2802921 w 3359086"/>
                <a:gd name="connsiteY5909" fmla="*/ 2878646 h 3355086"/>
                <a:gd name="connsiteX5910" fmla="*/ 858202 w 3359086"/>
                <a:gd name="connsiteY5910" fmla="*/ 2877312 h 3355086"/>
                <a:gd name="connsiteX5911" fmla="*/ 864394 w 3359086"/>
                <a:gd name="connsiteY5911" fmla="*/ 2883503 h 3355086"/>
                <a:gd name="connsiteX5912" fmla="*/ 858202 w 3359086"/>
                <a:gd name="connsiteY5912" fmla="*/ 2889694 h 3355086"/>
                <a:gd name="connsiteX5913" fmla="*/ 852011 w 3359086"/>
                <a:gd name="connsiteY5913" fmla="*/ 2883503 h 3355086"/>
                <a:gd name="connsiteX5914" fmla="*/ 858202 w 3359086"/>
                <a:gd name="connsiteY5914" fmla="*/ 2877312 h 3355086"/>
                <a:gd name="connsiteX5915" fmla="*/ 2739008 w 3359086"/>
                <a:gd name="connsiteY5915" fmla="*/ 2876074 h 3355086"/>
                <a:gd name="connsiteX5916" fmla="*/ 2745199 w 3359086"/>
                <a:gd name="connsiteY5916" fmla="*/ 2882265 h 3355086"/>
                <a:gd name="connsiteX5917" fmla="*/ 2739008 w 3359086"/>
                <a:gd name="connsiteY5917" fmla="*/ 2888456 h 3355086"/>
                <a:gd name="connsiteX5918" fmla="*/ 2732817 w 3359086"/>
                <a:gd name="connsiteY5918" fmla="*/ 2882265 h 3355086"/>
                <a:gd name="connsiteX5919" fmla="*/ 2739008 w 3359086"/>
                <a:gd name="connsiteY5919" fmla="*/ 2876074 h 3355086"/>
                <a:gd name="connsiteX5920" fmla="*/ 2856833 w 3359086"/>
                <a:gd name="connsiteY5920" fmla="*/ 2875884 h 3355086"/>
                <a:gd name="connsiteX5921" fmla="*/ 2857023 w 3359086"/>
                <a:gd name="connsiteY5921" fmla="*/ 2876075 h 3355086"/>
                <a:gd name="connsiteX5922" fmla="*/ 2856833 w 3359086"/>
                <a:gd name="connsiteY5922" fmla="*/ 2876265 h 3355086"/>
                <a:gd name="connsiteX5923" fmla="*/ 2856642 w 3359086"/>
                <a:gd name="connsiteY5923" fmla="*/ 2876075 h 3355086"/>
                <a:gd name="connsiteX5924" fmla="*/ 2856833 w 3359086"/>
                <a:gd name="connsiteY5924" fmla="*/ 2875884 h 3355086"/>
                <a:gd name="connsiteX5925" fmla="*/ 2356961 w 3359086"/>
                <a:gd name="connsiteY5925" fmla="*/ 2874740 h 3355086"/>
                <a:gd name="connsiteX5926" fmla="*/ 2363153 w 3359086"/>
                <a:gd name="connsiteY5926" fmla="*/ 2880931 h 3355086"/>
                <a:gd name="connsiteX5927" fmla="*/ 2356961 w 3359086"/>
                <a:gd name="connsiteY5927" fmla="*/ 2887123 h 3355086"/>
                <a:gd name="connsiteX5928" fmla="*/ 2350770 w 3359086"/>
                <a:gd name="connsiteY5928" fmla="*/ 2880931 h 3355086"/>
                <a:gd name="connsiteX5929" fmla="*/ 2356961 w 3359086"/>
                <a:gd name="connsiteY5929" fmla="*/ 2874740 h 3355086"/>
                <a:gd name="connsiteX5930" fmla="*/ 2820257 w 3359086"/>
                <a:gd name="connsiteY5930" fmla="*/ 2873597 h 3355086"/>
                <a:gd name="connsiteX5931" fmla="*/ 2826448 w 3359086"/>
                <a:gd name="connsiteY5931" fmla="*/ 2879788 h 3355086"/>
                <a:gd name="connsiteX5932" fmla="*/ 2820257 w 3359086"/>
                <a:gd name="connsiteY5932" fmla="*/ 2885980 h 3355086"/>
                <a:gd name="connsiteX5933" fmla="*/ 2814066 w 3359086"/>
                <a:gd name="connsiteY5933" fmla="*/ 2879788 h 3355086"/>
                <a:gd name="connsiteX5934" fmla="*/ 2820257 w 3359086"/>
                <a:gd name="connsiteY5934" fmla="*/ 2873597 h 3355086"/>
                <a:gd name="connsiteX5935" fmla="*/ 605313 w 3359086"/>
                <a:gd name="connsiteY5935" fmla="*/ 2872645 h 3355086"/>
                <a:gd name="connsiteX5936" fmla="*/ 611504 w 3359086"/>
                <a:gd name="connsiteY5936" fmla="*/ 2878836 h 3355086"/>
                <a:gd name="connsiteX5937" fmla="*/ 605313 w 3359086"/>
                <a:gd name="connsiteY5937" fmla="*/ 2885028 h 3355086"/>
                <a:gd name="connsiteX5938" fmla="*/ 599122 w 3359086"/>
                <a:gd name="connsiteY5938" fmla="*/ 2878836 h 3355086"/>
                <a:gd name="connsiteX5939" fmla="*/ 605313 w 3359086"/>
                <a:gd name="connsiteY5939" fmla="*/ 2872645 h 3355086"/>
                <a:gd name="connsiteX5940" fmla="*/ 2630423 w 3359086"/>
                <a:gd name="connsiteY5940" fmla="*/ 2872264 h 3355086"/>
                <a:gd name="connsiteX5941" fmla="*/ 2636614 w 3359086"/>
                <a:gd name="connsiteY5941" fmla="*/ 2878455 h 3355086"/>
                <a:gd name="connsiteX5942" fmla="*/ 2630423 w 3359086"/>
                <a:gd name="connsiteY5942" fmla="*/ 2884646 h 3355086"/>
                <a:gd name="connsiteX5943" fmla="*/ 2624232 w 3359086"/>
                <a:gd name="connsiteY5943" fmla="*/ 2878455 h 3355086"/>
                <a:gd name="connsiteX5944" fmla="*/ 2630423 w 3359086"/>
                <a:gd name="connsiteY5944" fmla="*/ 2872264 h 3355086"/>
                <a:gd name="connsiteX5945" fmla="*/ 2170652 w 3359086"/>
                <a:gd name="connsiteY5945" fmla="*/ 2871788 h 3355086"/>
                <a:gd name="connsiteX5946" fmla="*/ 2176843 w 3359086"/>
                <a:gd name="connsiteY5946" fmla="*/ 2877979 h 3355086"/>
                <a:gd name="connsiteX5947" fmla="*/ 2170652 w 3359086"/>
                <a:gd name="connsiteY5947" fmla="*/ 2884171 h 3355086"/>
                <a:gd name="connsiteX5948" fmla="*/ 2164461 w 3359086"/>
                <a:gd name="connsiteY5948" fmla="*/ 2877979 h 3355086"/>
                <a:gd name="connsiteX5949" fmla="*/ 2170652 w 3359086"/>
                <a:gd name="connsiteY5949" fmla="*/ 2871788 h 3355086"/>
                <a:gd name="connsiteX5950" fmla="*/ 552354 w 3359086"/>
                <a:gd name="connsiteY5950" fmla="*/ 2871693 h 3355086"/>
                <a:gd name="connsiteX5951" fmla="*/ 558545 w 3359086"/>
                <a:gd name="connsiteY5951" fmla="*/ 2877884 h 3355086"/>
                <a:gd name="connsiteX5952" fmla="*/ 552354 w 3359086"/>
                <a:gd name="connsiteY5952" fmla="*/ 2884075 h 3355086"/>
                <a:gd name="connsiteX5953" fmla="*/ 549068 w 3359086"/>
                <a:gd name="connsiteY5953" fmla="*/ 2880789 h 3355086"/>
                <a:gd name="connsiteX5954" fmla="*/ 543877 w 3359086"/>
                <a:gd name="connsiteY5954" fmla="*/ 2885980 h 3355086"/>
                <a:gd name="connsiteX5955" fmla="*/ 541068 w 3359086"/>
                <a:gd name="connsiteY5955" fmla="*/ 2883171 h 3355086"/>
                <a:gd name="connsiteX5956" fmla="*/ 535114 w 3359086"/>
                <a:gd name="connsiteY5956" fmla="*/ 2889123 h 3355086"/>
                <a:gd name="connsiteX5957" fmla="*/ 528923 w 3359086"/>
                <a:gd name="connsiteY5957" fmla="*/ 2882932 h 3355086"/>
                <a:gd name="connsiteX5958" fmla="*/ 535114 w 3359086"/>
                <a:gd name="connsiteY5958" fmla="*/ 2876741 h 3355086"/>
                <a:gd name="connsiteX5959" fmla="*/ 537924 w 3359086"/>
                <a:gd name="connsiteY5959" fmla="*/ 2879551 h 3355086"/>
                <a:gd name="connsiteX5960" fmla="*/ 543877 w 3359086"/>
                <a:gd name="connsiteY5960" fmla="*/ 2873597 h 3355086"/>
                <a:gd name="connsiteX5961" fmla="*/ 547164 w 3359086"/>
                <a:gd name="connsiteY5961" fmla="*/ 2876884 h 3355086"/>
                <a:gd name="connsiteX5962" fmla="*/ 501205 w 3359086"/>
                <a:gd name="connsiteY5962" fmla="*/ 2871502 h 3355086"/>
                <a:gd name="connsiteX5963" fmla="*/ 501491 w 3359086"/>
                <a:gd name="connsiteY5963" fmla="*/ 2871788 h 3355086"/>
                <a:gd name="connsiteX5964" fmla="*/ 501205 w 3359086"/>
                <a:gd name="connsiteY5964" fmla="*/ 2872073 h 3355086"/>
                <a:gd name="connsiteX5965" fmla="*/ 500919 w 3359086"/>
                <a:gd name="connsiteY5965" fmla="*/ 2871788 h 3355086"/>
                <a:gd name="connsiteX5966" fmla="*/ 501205 w 3359086"/>
                <a:gd name="connsiteY5966" fmla="*/ 2871502 h 3355086"/>
                <a:gd name="connsiteX5967" fmla="*/ 2838068 w 3359086"/>
                <a:gd name="connsiteY5967" fmla="*/ 2870645 h 3355086"/>
                <a:gd name="connsiteX5968" fmla="*/ 2844259 w 3359086"/>
                <a:gd name="connsiteY5968" fmla="*/ 2876836 h 3355086"/>
                <a:gd name="connsiteX5969" fmla="*/ 2838068 w 3359086"/>
                <a:gd name="connsiteY5969" fmla="*/ 2883028 h 3355086"/>
                <a:gd name="connsiteX5970" fmla="*/ 2831877 w 3359086"/>
                <a:gd name="connsiteY5970" fmla="*/ 2876836 h 3355086"/>
                <a:gd name="connsiteX5971" fmla="*/ 2838068 w 3359086"/>
                <a:gd name="connsiteY5971" fmla="*/ 2870645 h 3355086"/>
                <a:gd name="connsiteX5972" fmla="*/ 2574988 w 3359086"/>
                <a:gd name="connsiteY5972" fmla="*/ 2870549 h 3355086"/>
                <a:gd name="connsiteX5973" fmla="*/ 2581179 w 3359086"/>
                <a:gd name="connsiteY5973" fmla="*/ 2876740 h 3355086"/>
                <a:gd name="connsiteX5974" fmla="*/ 2574988 w 3359086"/>
                <a:gd name="connsiteY5974" fmla="*/ 2882932 h 3355086"/>
                <a:gd name="connsiteX5975" fmla="*/ 2568797 w 3359086"/>
                <a:gd name="connsiteY5975" fmla="*/ 2876740 h 3355086"/>
                <a:gd name="connsiteX5976" fmla="*/ 2574988 w 3359086"/>
                <a:gd name="connsiteY5976" fmla="*/ 2870549 h 3355086"/>
                <a:gd name="connsiteX5977" fmla="*/ 2676619 w 3359086"/>
                <a:gd name="connsiteY5977" fmla="*/ 2870264 h 3355086"/>
                <a:gd name="connsiteX5978" fmla="*/ 2682811 w 3359086"/>
                <a:gd name="connsiteY5978" fmla="*/ 2876455 h 3355086"/>
                <a:gd name="connsiteX5979" fmla="*/ 2676619 w 3359086"/>
                <a:gd name="connsiteY5979" fmla="*/ 2882647 h 3355086"/>
                <a:gd name="connsiteX5980" fmla="*/ 2670428 w 3359086"/>
                <a:gd name="connsiteY5980" fmla="*/ 2876455 h 3355086"/>
                <a:gd name="connsiteX5981" fmla="*/ 2676619 w 3359086"/>
                <a:gd name="connsiteY5981" fmla="*/ 2870264 h 3355086"/>
                <a:gd name="connsiteX5982" fmla="*/ 518254 w 3359086"/>
                <a:gd name="connsiteY5982" fmla="*/ 2870169 h 3355086"/>
                <a:gd name="connsiteX5983" fmla="*/ 524446 w 3359086"/>
                <a:gd name="connsiteY5983" fmla="*/ 2876360 h 3355086"/>
                <a:gd name="connsiteX5984" fmla="*/ 518254 w 3359086"/>
                <a:gd name="connsiteY5984" fmla="*/ 2882551 h 3355086"/>
                <a:gd name="connsiteX5985" fmla="*/ 512063 w 3359086"/>
                <a:gd name="connsiteY5985" fmla="*/ 2876360 h 3355086"/>
                <a:gd name="connsiteX5986" fmla="*/ 518254 w 3359086"/>
                <a:gd name="connsiteY5986" fmla="*/ 2870169 h 3355086"/>
                <a:gd name="connsiteX5987" fmla="*/ 2776060 w 3359086"/>
                <a:gd name="connsiteY5987" fmla="*/ 2869883 h 3355086"/>
                <a:gd name="connsiteX5988" fmla="*/ 2781490 w 3359086"/>
                <a:gd name="connsiteY5988" fmla="*/ 2875312 h 3355086"/>
                <a:gd name="connsiteX5989" fmla="*/ 2785014 w 3359086"/>
                <a:gd name="connsiteY5989" fmla="*/ 2871788 h 3355086"/>
                <a:gd name="connsiteX5990" fmla="*/ 2790396 w 3359086"/>
                <a:gd name="connsiteY5990" fmla="*/ 2877169 h 3355086"/>
                <a:gd name="connsiteX5991" fmla="*/ 2793396 w 3359086"/>
                <a:gd name="connsiteY5991" fmla="*/ 2874169 h 3355086"/>
                <a:gd name="connsiteX5992" fmla="*/ 2799588 w 3359086"/>
                <a:gd name="connsiteY5992" fmla="*/ 2880360 h 3355086"/>
                <a:gd name="connsiteX5993" fmla="*/ 2793396 w 3359086"/>
                <a:gd name="connsiteY5993" fmla="*/ 2886552 h 3355086"/>
                <a:gd name="connsiteX5994" fmla="*/ 2788015 w 3359086"/>
                <a:gd name="connsiteY5994" fmla="*/ 2881170 h 3355086"/>
                <a:gd name="connsiteX5995" fmla="*/ 2785014 w 3359086"/>
                <a:gd name="connsiteY5995" fmla="*/ 2884171 h 3355086"/>
                <a:gd name="connsiteX5996" fmla="*/ 2779585 w 3359086"/>
                <a:gd name="connsiteY5996" fmla="*/ 2878741 h 3355086"/>
                <a:gd name="connsiteX5997" fmla="*/ 2776060 w 3359086"/>
                <a:gd name="connsiteY5997" fmla="*/ 2882265 h 3355086"/>
                <a:gd name="connsiteX5998" fmla="*/ 2769869 w 3359086"/>
                <a:gd name="connsiteY5998" fmla="*/ 2876074 h 3355086"/>
                <a:gd name="connsiteX5999" fmla="*/ 2776060 w 3359086"/>
                <a:gd name="connsiteY5999" fmla="*/ 2869883 h 3355086"/>
                <a:gd name="connsiteX6000" fmla="*/ 562546 w 3359086"/>
                <a:gd name="connsiteY6000" fmla="*/ 2869311 h 3355086"/>
                <a:gd name="connsiteX6001" fmla="*/ 568737 w 3359086"/>
                <a:gd name="connsiteY6001" fmla="*/ 2875502 h 3355086"/>
                <a:gd name="connsiteX6002" fmla="*/ 562546 w 3359086"/>
                <a:gd name="connsiteY6002" fmla="*/ 2881693 h 3355086"/>
                <a:gd name="connsiteX6003" fmla="*/ 556355 w 3359086"/>
                <a:gd name="connsiteY6003" fmla="*/ 2875502 h 3355086"/>
                <a:gd name="connsiteX6004" fmla="*/ 562546 w 3359086"/>
                <a:gd name="connsiteY6004" fmla="*/ 2869311 h 3355086"/>
                <a:gd name="connsiteX6005" fmla="*/ 2764345 w 3359086"/>
                <a:gd name="connsiteY6005" fmla="*/ 2866359 h 3355086"/>
                <a:gd name="connsiteX6006" fmla="*/ 2770536 w 3359086"/>
                <a:gd name="connsiteY6006" fmla="*/ 2872550 h 3355086"/>
                <a:gd name="connsiteX6007" fmla="*/ 2764345 w 3359086"/>
                <a:gd name="connsiteY6007" fmla="*/ 2878741 h 3355086"/>
                <a:gd name="connsiteX6008" fmla="*/ 2758154 w 3359086"/>
                <a:gd name="connsiteY6008" fmla="*/ 2872550 h 3355086"/>
                <a:gd name="connsiteX6009" fmla="*/ 2764345 w 3359086"/>
                <a:gd name="connsiteY6009" fmla="*/ 2866359 h 3355086"/>
                <a:gd name="connsiteX6010" fmla="*/ 2715100 w 3359086"/>
                <a:gd name="connsiteY6010" fmla="*/ 2865406 h 3355086"/>
                <a:gd name="connsiteX6011" fmla="*/ 2721292 w 3359086"/>
                <a:gd name="connsiteY6011" fmla="*/ 2871597 h 3355086"/>
                <a:gd name="connsiteX6012" fmla="*/ 2715100 w 3359086"/>
                <a:gd name="connsiteY6012" fmla="*/ 2877788 h 3355086"/>
                <a:gd name="connsiteX6013" fmla="*/ 2708909 w 3359086"/>
                <a:gd name="connsiteY6013" fmla="*/ 2871597 h 3355086"/>
                <a:gd name="connsiteX6014" fmla="*/ 2715100 w 3359086"/>
                <a:gd name="connsiteY6014" fmla="*/ 2865406 h 3355086"/>
                <a:gd name="connsiteX6015" fmla="*/ 940212 w 3359086"/>
                <a:gd name="connsiteY6015" fmla="*/ 2864358 h 3355086"/>
                <a:gd name="connsiteX6016" fmla="*/ 946404 w 3359086"/>
                <a:gd name="connsiteY6016" fmla="*/ 2870549 h 3355086"/>
                <a:gd name="connsiteX6017" fmla="*/ 940212 w 3359086"/>
                <a:gd name="connsiteY6017" fmla="*/ 2876741 h 3355086"/>
                <a:gd name="connsiteX6018" fmla="*/ 934021 w 3359086"/>
                <a:gd name="connsiteY6018" fmla="*/ 2870549 h 3355086"/>
                <a:gd name="connsiteX6019" fmla="*/ 940212 w 3359086"/>
                <a:gd name="connsiteY6019" fmla="*/ 2864358 h 3355086"/>
                <a:gd name="connsiteX6020" fmla="*/ 1642109 w 3359086"/>
                <a:gd name="connsiteY6020" fmla="*/ 2864168 h 3355086"/>
                <a:gd name="connsiteX6021" fmla="*/ 1648301 w 3359086"/>
                <a:gd name="connsiteY6021" fmla="*/ 2870359 h 3355086"/>
                <a:gd name="connsiteX6022" fmla="*/ 1642109 w 3359086"/>
                <a:gd name="connsiteY6022" fmla="*/ 2876550 h 3355086"/>
                <a:gd name="connsiteX6023" fmla="*/ 1635918 w 3359086"/>
                <a:gd name="connsiteY6023" fmla="*/ 2870359 h 3355086"/>
                <a:gd name="connsiteX6024" fmla="*/ 1642109 w 3359086"/>
                <a:gd name="connsiteY6024" fmla="*/ 2864168 h 3355086"/>
                <a:gd name="connsiteX6025" fmla="*/ 2509075 w 3359086"/>
                <a:gd name="connsiteY6025" fmla="*/ 2864072 h 3355086"/>
                <a:gd name="connsiteX6026" fmla="*/ 2515267 w 3359086"/>
                <a:gd name="connsiteY6026" fmla="*/ 2870263 h 3355086"/>
                <a:gd name="connsiteX6027" fmla="*/ 2509075 w 3359086"/>
                <a:gd name="connsiteY6027" fmla="*/ 2876455 h 3355086"/>
                <a:gd name="connsiteX6028" fmla="*/ 2502884 w 3359086"/>
                <a:gd name="connsiteY6028" fmla="*/ 2870263 h 3355086"/>
                <a:gd name="connsiteX6029" fmla="*/ 2509075 w 3359086"/>
                <a:gd name="connsiteY6029" fmla="*/ 2864072 h 3355086"/>
                <a:gd name="connsiteX6030" fmla="*/ 576833 w 3359086"/>
                <a:gd name="connsiteY6030" fmla="*/ 2864072 h 3355086"/>
                <a:gd name="connsiteX6031" fmla="*/ 583024 w 3359086"/>
                <a:gd name="connsiteY6031" fmla="*/ 2870263 h 3355086"/>
                <a:gd name="connsiteX6032" fmla="*/ 576833 w 3359086"/>
                <a:gd name="connsiteY6032" fmla="*/ 2876455 h 3355086"/>
                <a:gd name="connsiteX6033" fmla="*/ 570642 w 3359086"/>
                <a:gd name="connsiteY6033" fmla="*/ 2870263 h 3355086"/>
                <a:gd name="connsiteX6034" fmla="*/ 576833 w 3359086"/>
                <a:gd name="connsiteY6034" fmla="*/ 2864072 h 3355086"/>
                <a:gd name="connsiteX6035" fmla="*/ 1120806 w 3359086"/>
                <a:gd name="connsiteY6035" fmla="*/ 2863501 h 3355086"/>
                <a:gd name="connsiteX6036" fmla="*/ 1126998 w 3359086"/>
                <a:gd name="connsiteY6036" fmla="*/ 2869692 h 3355086"/>
                <a:gd name="connsiteX6037" fmla="*/ 1120806 w 3359086"/>
                <a:gd name="connsiteY6037" fmla="*/ 2875884 h 3355086"/>
                <a:gd name="connsiteX6038" fmla="*/ 1114615 w 3359086"/>
                <a:gd name="connsiteY6038" fmla="*/ 2869692 h 3355086"/>
                <a:gd name="connsiteX6039" fmla="*/ 1120806 w 3359086"/>
                <a:gd name="connsiteY6039" fmla="*/ 2863501 h 3355086"/>
                <a:gd name="connsiteX6040" fmla="*/ 1745360 w 3359086"/>
                <a:gd name="connsiteY6040" fmla="*/ 2863120 h 3355086"/>
                <a:gd name="connsiteX6041" fmla="*/ 1751552 w 3359086"/>
                <a:gd name="connsiteY6041" fmla="*/ 2869311 h 3355086"/>
                <a:gd name="connsiteX6042" fmla="*/ 1745360 w 3359086"/>
                <a:gd name="connsiteY6042" fmla="*/ 2875503 h 3355086"/>
                <a:gd name="connsiteX6043" fmla="*/ 1739169 w 3359086"/>
                <a:gd name="connsiteY6043" fmla="*/ 2869311 h 3355086"/>
                <a:gd name="connsiteX6044" fmla="*/ 1745360 w 3359086"/>
                <a:gd name="connsiteY6044" fmla="*/ 2863120 h 3355086"/>
                <a:gd name="connsiteX6045" fmla="*/ 1538953 w 3359086"/>
                <a:gd name="connsiteY6045" fmla="*/ 2861405 h 3355086"/>
                <a:gd name="connsiteX6046" fmla="*/ 1545145 w 3359086"/>
                <a:gd name="connsiteY6046" fmla="*/ 2867596 h 3355086"/>
                <a:gd name="connsiteX6047" fmla="*/ 1538953 w 3359086"/>
                <a:gd name="connsiteY6047" fmla="*/ 2873788 h 3355086"/>
                <a:gd name="connsiteX6048" fmla="*/ 1532762 w 3359086"/>
                <a:gd name="connsiteY6048" fmla="*/ 2867596 h 3355086"/>
                <a:gd name="connsiteX6049" fmla="*/ 1538953 w 3359086"/>
                <a:gd name="connsiteY6049" fmla="*/ 2861405 h 3355086"/>
                <a:gd name="connsiteX6050" fmla="*/ 2826257 w 3359086"/>
                <a:gd name="connsiteY6050" fmla="*/ 2860548 h 3355086"/>
                <a:gd name="connsiteX6051" fmla="*/ 2832448 w 3359086"/>
                <a:gd name="connsiteY6051" fmla="*/ 2866739 h 3355086"/>
                <a:gd name="connsiteX6052" fmla="*/ 2826257 w 3359086"/>
                <a:gd name="connsiteY6052" fmla="*/ 2872930 h 3355086"/>
                <a:gd name="connsiteX6053" fmla="*/ 2820066 w 3359086"/>
                <a:gd name="connsiteY6053" fmla="*/ 2866739 h 3355086"/>
                <a:gd name="connsiteX6054" fmla="*/ 2826257 w 3359086"/>
                <a:gd name="connsiteY6054" fmla="*/ 2860548 h 3355086"/>
                <a:gd name="connsiteX6055" fmla="*/ 678274 w 3359086"/>
                <a:gd name="connsiteY6055" fmla="*/ 2859881 h 3355086"/>
                <a:gd name="connsiteX6056" fmla="*/ 684466 w 3359086"/>
                <a:gd name="connsiteY6056" fmla="*/ 2866072 h 3355086"/>
                <a:gd name="connsiteX6057" fmla="*/ 678274 w 3359086"/>
                <a:gd name="connsiteY6057" fmla="*/ 2872264 h 3355086"/>
                <a:gd name="connsiteX6058" fmla="*/ 672083 w 3359086"/>
                <a:gd name="connsiteY6058" fmla="*/ 2866072 h 3355086"/>
                <a:gd name="connsiteX6059" fmla="*/ 678274 w 3359086"/>
                <a:gd name="connsiteY6059" fmla="*/ 2859881 h 3355086"/>
                <a:gd name="connsiteX6060" fmla="*/ 542829 w 3359086"/>
                <a:gd name="connsiteY6060" fmla="*/ 2858834 h 3355086"/>
                <a:gd name="connsiteX6061" fmla="*/ 549020 w 3359086"/>
                <a:gd name="connsiteY6061" fmla="*/ 2865025 h 3355086"/>
                <a:gd name="connsiteX6062" fmla="*/ 542829 w 3359086"/>
                <a:gd name="connsiteY6062" fmla="*/ 2871216 h 3355086"/>
                <a:gd name="connsiteX6063" fmla="*/ 540258 w 3359086"/>
                <a:gd name="connsiteY6063" fmla="*/ 2868645 h 3355086"/>
                <a:gd name="connsiteX6064" fmla="*/ 535019 w 3359086"/>
                <a:gd name="connsiteY6064" fmla="*/ 2873883 h 3355086"/>
                <a:gd name="connsiteX6065" fmla="*/ 532828 w 3359086"/>
                <a:gd name="connsiteY6065" fmla="*/ 2871692 h 3355086"/>
                <a:gd name="connsiteX6066" fmla="*/ 527399 w 3359086"/>
                <a:gd name="connsiteY6066" fmla="*/ 2877121 h 3355086"/>
                <a:gd name="connsiteX6067" fmla="*/ 521208 w 3359086"/>
                <a:gd name="connsiteY6067" fmla="*/ 2870930 h 3355086"/>
                <a:gd name="connsiteX6068" fmla="*/ 527399 w 3359086"/>
                <a:gd name="connsiteY6068" fmla="*/ 2864739 h 3355086"/>
                <a:gd name="connsiteX6069" fmla="*/ 529590 w 3359086"/>
                <a:gd name="connsiteY6069" fmla="*/ 2866930 h 3355086"/>
                <a:gd name="connsiteX6070" fmla="*/ 535019 w 3359086"/>
                <a:gd name="connsiteY6070" fmla="*/ 2861501 h 3355086"/>
                <a:gd name="connsiteX6071" fmla="*/ 537591 w 3359086"/>
                <a:gd name="connsiteY6071" fmla="*/ 2864073 h 3355086"/>
                <a:gd name="connsiteX6072" fmla="*/ 2747009 w 3359086"/>
                <a:gd name="connsiteY6072" fmla="*/ 2858548 h 3355086"/>
                <a:gd name="connsiteX6073" fmla="*/ 2753200 w 3359086"/>
                <a:gd name="connsiteY6073" fmla="*/ 2864739 h 3355086"/>
                <a:gd name="connsiteX6074" fmla="*/ 2747009 w 3359086"/>
                <a:gd name="connsiteY6074" fmla="*/ 2870930 h 3355086"/>
                <a:gd name="connsiteX6075" fmla="*/ 2740818 w 3359086"/>
                <a:gd name="connsiteY6075" fmla="*/ 2864739 h 3355086"/>
                <a:gd name="connsiteX6076" fmla="*/ 2747009 w 3359086"/>
                <a:gd name="connsiteY6076" fmla="*/ 2858548 h 3355086"/>
                <a:gd name="connsiteX6077" fmla="*/ 730853 w 3359086"/>
                <a:gd name="connsiteY6077" fmla="*/ 2858357 h 3355086"/>
                <a:gd name="connsiteX6078" fmla="*/ 737044 w 3359086"/>
                <a:gd name="connsiteY6078" fmla="*/ 2864548 h 3355086"/>
                <a:gd name="connsiteX6079" fmla="*/ 730853 w 3359086"/>
                <a:gd name="connsiteY6079" fmla="*/ 2870740 h 3355086"/>
                <a:gd name="connsiteX6080" fmla="*/ 724662 w 3359086"/>
                <a:gd name="connsiteY6080" fmla="*/ 2864548 h 3355086"/>
                <a:gd name="connsiteX6081" fmla="*/ 730853 w 3359086"/>
                <a:gd name="connsiteY6081" fmla="*/ 2858357 h 3355086"/>
                <a:gd name="connsiteX6082" fmla="*/ 1847945 w 3359086"/>
                <a:gd name="connsiteY6082" fmla="*/ 2858262 h 3355086"/>
                <a:gd name="connsiteX6083" fmla="*/ 1854137 w 3359086"/>
                <a:gd name="connsiteY6083" fmla="*/ 2864453 h 3355086"/>
                <a:gd name="connsiteX6084" fmla="*/ 1847945 w 3359086"/>
                <a:gd name="connsiteY6084" fmla="*/ 2870644 h 3355086"/>
                <a:gd name="connsiteX6085" fmla="*/ 1841754 w 3359086"/>
                <a:gd name="connsiteY6085" fmla="*/ 2864453 h 3355086"/>
                <a:gd name="connsiteX6086" fmla="*/ 1847945 w 3359086"/>
                <a:gd name="connsiteY6086" fmla="*/ 2858262 h 3355086"/>
                <a:gd name="connsiteX6087" fmla="*/ 634555 w 3359086"/>
                <a:gd name="connsiteY6087" fmla="*/ 2857786 h 3355086"/>
                <a:gd name="connsiteX6088" fmla="*/ 640746 w 3359086"/>
                <a:gd name="connsiteY6088" fmla="*/ 2863977 h 3355086"/>
                <a:gd name="connsiteX6089" fmla="*/ 634555 w 3359086"/>
                <a:gd name="connsiteY6089" fmla="*/ 2870169 h 3355086"/>
                <a:gd name="connsiteX6090" fmla="*/ 628364 w 3359086"/>
                <a:gd name="connsiteY6090" fmla="*/ 2863977 h 3355086"/>
                <a:gd name="connsiteX6091" fmla="*/ 634555 w 3359086"/>
                <a:gd name="connsiteY6091" fmla="*/ 2857786 h 3355086"/>
                <a:gd name="connsiteX6092" fmla="*/ 511397 w 3359086"/>
                <a:gd name="connsiteY6092" fmla="*/ 2857596 h 3355086"/>
                <a:gd name="connsiteX6093" fmla="*/ 517588 w 3359086"/>
                <a:gd name="connsiteY6093" fmla="*/ 2863787 h 3355086"/>
                <a:gd name="connsiteX6094" fmla="*/ 511397 w 3359086"/>
                <a:gd name="connsiteY6094" fmla="*/ 2869978 h 3355086"/>
                <a:gd name="connsiteX6095" fmla="*/ 505206 w 3359086"/>
                <a:gd name="connsiteY6095" fmla="*/ 2863787 h 3355086"/>
                <a:gd name="connsiteX6096" fmla="*/ 511397 w 3359086"/>
                <a:gd name="connsiteY6096" fmla="*/ 2857596 h 3355086"/>
                <a:gd name="connsiteX6097" fmla="*/ 2843021 w 3359086"/>
                <a:gd name="connsiteY6097" fmla="*/ 2856738 h 3355086"/>
                <a:gd name="connsiteX6098" fmla="*/ 2849213 w 3359086"/>
                <a:gd name="connsiteY6098" fmla="*/ 2862929 h 3355086"/>
                <a:gd name="connsiteX6099" fmla="*/ 2843021 w 3359086"/>
                <a:gd name="connsiteY6099" fmla="*/ 2869120 h 3355086"/>
                <a:gd name="connsiteX6100" fmla="*/ 2836830 w 3359086"/>
                <a:gd name="connsiteY6100" fmla="*/ 2862929 h 3355086"/>
                <a:gd name="connsiteX6101" fmla="*/ 2843021 w 3359086"/>
                <a:gd name="connsiteY6101" fmla="*/ 2856738 h 3355086"/>
                <a:gd name="connsiteX6102" fmla="*/ 2785681 w 3359086"/>
                <a:gd name="connsiteY6102" fmla="*/ 2856167 h 3355086"/>
                <a:gd name="connsiteX6103" fmla="*/ 2791634 w 3359086"/>
                <a:gd name="connsiteY6103" fmla="*/ 2862120 h 3355086"/>
                <a:gd name="connsiteX6104" fmla="*/ 2794349 w 3359086"/>
                <a:gd name="connsiteY6104" fmla="*/ 2859405 h 3355086"/>
                <a:gd name="connsiteX6105" fmla="*/ 2799445 w 3359086"/>
                <a:gd name="connsiteY6105" fmla="*/ 2864501 h 3355086"/>
                <a:gd name="connsiteX6106" fmla="*/ 2801778 w 3359086"/>
                <a:gd name="connsiteY6106" fmla="*/ 2862168 h 3355086"/>
                <a:gd name="connsiteX6107" fmla="*/ 2807969 w 3359086"/>
                <a:gd name="connsiteY6107" fmla="*/ 2868359 h 3355086"/>
                <a:gd name="connsiteX6108" fmla="*/ 2809874 w 3359086"/>
                <a:gd name="connsiteY6108" fmla="*/ 2866454 h 3355086"/>
                <a:gd name="connsiteX6109" fmla="*/ 2816065 w 3359086"/>
                <a:gd name="connsiteY6109" fmla="*/ 2872645 h 3355086"/>
                <a:gd name="connsiteX6110" fmla="*/ 2809874 w 3359086"/>
                <a:gd name="connsiteY6110" fmla="*/ 2878837 h 3355086"/>
                <a:gd name="connsiteX6111" fmla="*/ 2803683 w 3359086"/>
                <a:gd name="connsiteY6111" fmla="*/ 2872645 h 3355086"/>
                <a:gd name="connsiteX6112" fmla="*/ 2804804 w 3359086"/>
                <a:gd name="connsiteY6112" fmla="*/ 2871524 h 3355086"/>
                <a:gd name="connsiteX6113" fmla="*/ 2801778 w 3359086"/>
                <a:gd name="connsiteY6113" fmla="*/ 2874550 h 3355086"/>
                <a:gd name="connsiteX6114" fmla="*/ 2796682 w 3359086"/>
                <a:gd name="connsiteY6114" fmla="*/ 2869454 h 3355086"/>
                <a:gd name="connsiteX6115" fmla="*/ 2794349 w 3359086"/>
                <a:gd name="connsiteY6115" fmla="*/ 2871787 h 3355086"/>
                <a:gd name="connsiteX6116" fmla="*/ 2788396 w 3359086"/>
                <a:gd name="connsiteY6116" fmla="*/ 2865834 h 3355086"/>
                <a:gd name="connsiteX6117" fmla="*/ 2785681 w 3359086"/>
                <a:gd name="connsiteY6117" fmla="*/ 2868549 h 3355086"/>
                <a:gd name="connsiteX6118" fmla="*/ 2779490 w 3359086"/>
                <a:gd name="connsiteY6118" fmla="*/ 2862358 h 3355086"/>
                <a:gd name="connsiteX6119" fmla="*/ 2785681 w 3359086"/>
                <a:gd name="connsiteY6119" fmla="*/ 2856167 h 3355086"/>
                <a:gd name="connsiteX6120" fmla="*/ 2860548 w 3359086"/>
                <a:gd name="connsiteY6120" fmla="*/ 2855214 h 3355086"/>
                <a:gd name="connsiteX6121" fmla="*/ 2866549 w 3359086"/>
                <a:gd name="connsiteY6121" fmla="*/ 2861215 h 3355086"/>
                <a:gd name="connsiteX6122" fmla="*/ 2860548 w 3359086"/>
                <a:gd name="connsiteY6122" fmla="*/ 2867216 h 3355086"/>
                <a:gd name="connsiteX6123" fmla="*/ 2854547 w 3359086"/>
                <a:gd name="connsiteY6123" fmla="*/ 2861215 h 3355086"/>
                <a:gd name="connsiteX6124" fmla="*/ 2860548 w 3359086"/>
                <a:gd name="connsiteY6124" fmla="*/ 2855214 h 3355086"/>
                <a:gd name="connsiteX6125" fmla="*/ 1437036 w 3359086"/>
                <a:gd name="connsiteY6125" fmla="*/ 2854833 h 3355086"/>
                <a:gd name="connsiteX6126" fmla="*/ 1443228 w 3359086"/>
                <a:gd name="connsiteY6126" fmla="*/ 2861024 h 3355086"/>
                <a:gd name="connsiteX6127" fmla="*/ 1437036 w 3359086"/>
                <a:gd name="connsiteY6127" fmla="*/ 2867216 h 3355086"/>
                <a:gd name="connsiteX6128" fmla="*/ 1430845 w 3359086"/>
                <a:gd name="connsiteY6128" fmla="*/ 2861024 h 3355086"/>
                <a:gd name="connsiteX6129" fmla="*/ 1437036 w 3359086"/>
                <a:gd name="connsiteY6129" fmla="*/ 2854833 h 3355086"/>
                <a:gd name="connsiteX6130" fmla="*/ 553116 w 3359086"/>
                <a:gd name="connsiteY6130" fmla="*/ 2854547 h 3355086"/>
                <a:gd name="connsiteX6131" fmla="*/ 559308 w 3359086"/>
                <a:gd name="connsiteY6131" fmla="*/ 2860738 h 3355086"/>
                <a:gd name="connsiteX6132" fmla="*/ 553116 w 3359086"/>
                <a:gd name="connsiteY6132" fmla="*/ 2866930 h 3355086"/>
                <a:gd name="connsiteX6133" fmla="*/ 546925 w 3359086"/>
                <a:gd name="connsiteY6133" fmla="*/ 2860738 h 3355086"/>
                <a:gd name="connsiteX6134" fmla="*/ 553116 w 3359086"/>
                <a:gd name="connsiteY6134" fmla="*/ 2854547 h 3355086"/>
                <a:gd name="connsiteX6135" fmla="*/ 2257234 w 3359086"/>
                <a:gd name="connsiteY6135" fmla="*/ 2853404 h 3355086"/>
                <a:gd name="connsiteX6136" fmla="*/ 2263426 w 3359086"/>
                <a:gd name="connsiteY6136" fmla="*/ 2859595 h 3355086"/>
                <a:gd name="connsiteX6137" fmla="*/ 2257234 w 3359086"/>
                <a:gd name="connsiteY6137" fmla="*/ 2865786 h 3355086"/>
                <a:gd name="connsiteX6138" fmla="*/ 2251043 w 3359086"/>
                <a:gd name="connsiteY6138" fmla="*/ 2859595 h 3355086"/>
                <a:gd name="connsiteX6139" fmla="*/ 2257234 w 3359086"/>
                <a:gd name="connsiteY6139" fmla="*/ 2853404 h 3355086"/>
                <a:gd name="connsiteX6140" fmla="*/ 598264 w 3359086"/>
                <a:gd name="connsiteY6140" fmla="*/ 2853023 h 3355086"/>
                <a:gd name="connsiteX6141" fmla="*/ 604455 w 3359086"/>
                <a:gd name="connsiteY6141" fmla="*/ 2859214 h 3355086"/>
                <a:gd name="connsiteX6142" fmla="*/ 598264 w 3359086"/>
                <a:gd name="connsiteY6142" fmla="*/ 2865406 h 3355086"/>
                <a:gd name="connsiteX6143" fmla="*/ 592073 w 3359086"/>
                <a:gd name="connsiteY6143" fmla="*/ 2859214 h 3355086"/>
                <a:gd name="connsiteX6144" fmla="*/ 598264 w 3359086"/>
                <a:gd name="connsiteY6144" fmla="*/ 2853023 h 3355086"/>
                <a:gd name="connsiteX6145" fmla="*/ 495300 w 3359086"/>
                <a:gd name="connsiteY6145" fmla="*/ 2852452 h 3355086"/>
                <a:gd name="connsiteX6146" fmla="*/ 501301 w 3359086"/>
                <a:gd name="connsiteY6146" fmla="*/ 2858453 h 3355086"/>
                <a:gd name="connsiteX6147" fmla="*/ 495300 w 3359086"/>
                <a:gd name="connsiteY6147" fmla="*/ 2864454 h 3355086"/>
                <a:gd name="connsiteX6148" fmla="*/ 489299 w 3359086"/>
                <a:gd name="connsiteY6148" fmla="*/ 2858453 h 3355086"/>
                <a:gd name="connsiteX6149" fmla="*/ 495300 w 3359086"/>
                <a:gd name="connsiteY6149" fmla="*/ 2852452 h 3355086"/>
                <a:gd name="connsiteX6150" fmla="*/ 793622 w 3359086"/>
                <a:gd name="connsiteY6150" fmla="*/ 2852357 h 3355086"/>
                <a:gd name="connsiteX6151" fmla="*/ 799814 w 3359086"/>
                <a:gd name="connsiteY6151" fmla="*/ 2858548 h 3355086"/>
                <a:gd name="connsiteX6152" fmla="*/ 793622 w 3359086"/>
                <a:gd name="connsiteY6152" fmla="*/ 2864739 h 3355086"/>
                <a:gd name="connsiteX6153" fmla="*/ 787431 w 3359086"/>
                <a:gd name="connsiteY6153" fmla="*/ 2858548 h 3355086"/>
                <a:gd name="connsiteX6154" fmla="*/ 793622 w 3359086"/>
                <a:gd name="connsiteY6154" fmla="*/ 2852357 h 3355086"/>
                <a:gd name="connsiteX6155" fmla="*/ 2431065 w 3359086"/>
                <a:gd name="connsiteY6155" fmla="*/ 2851880 h 3355086"/>
                <a:gd name="connsiteX6156" fmla="*/ 2437257 w 3359086"/>
                <a:gd name="connsiteY6156" fmla="*/ 2858071 h 3355086"/>
                <a:gd name="connsiteX6157" fmla="*/ 2431065 w 3359086"/>
                <a:gd name="connsiteY6157" fmla="*/ 2864263 h 3355086"/>
                <a:gd name="connsiteX6158" fmla="*/ 2424874 w 3359086"/>
                <a:gd name="connsiteY6158" fmla="*/ 2858071 h 3355086"/>
                <a:gd name="connsiteX6159" fmla="*/ 2431065 w 3359086"/>
                <a:gd name="connsiteY6159" fmla="*/ 2851880 h 3355086"/>
                <a:gd name="connsiteX6160" fmla="*/ 2773489 w 3359086"/>
                <a:gd name="connsiteY6160" fmla="*/ 2850166 h 3355086"/>
                <a:gd name="connsiteX6161" fmla="*/ 2779680 w 3359086"/>
                <a:gd name="connsiteY6161" fmla="*/ 2856357 h 3355086"/>
                <a:gd name="connsiteX6162" fmla="*/ 2773489 w 3359086"/>
                <a:gd name="connsiteY6162" fmla="*/ 2862548 h 3355086"/>
                <a:gd name="connsiteX6163" fmla="*/ 2767298 w 3359086"/>
                <a:gd name="connsiteY6163" fmla="*/ 2856357 h 3355086"/>
                <a:gd name="connsiteX6164" fmla="*/ 2773489 w 3359086"/>
                <a:gd name="connsiteY6164" fmla="*/ 2850166 h 3355086"/>
                <a:gd name="connsiteX6165" fmla="*/ 1948814 w 3359086"/>
                <a:gd name="connsiteY6165" fmla="*/ 2849785 h 3355086"/>
                <a:gd name="connsiteX6166" fmla="*/ 1955006 w 3359086"/>
                <a:gd name="connsiteY6166" fmla="*/ 2855976 h 3355086"/>
                <a:gd name="connsiteX6167" fmla="*/ 1948814 w 3359086"/>
                <a:gd name="connsiteY6167" fmla="*/ 2862168 h 3355086"/>
                <a:gd name="connsiteX6168" fmla="*/ 1942623 w 3359086"/>
                <a:gd name="connsiteY6168" fmla="*/ 2855976 h 3355086"/>
                <a:gd name="connsiteX6169" fmla="*/ 1948814 w 3359086"/>
                <a:gd name="connsiteY6169" fmla="*/ 2849785 h 3355086"/>
                <a:gd name="connsiteX6170" fmla="*/ 2833115 w 3359086"/>
                <a:gd name="connsiteY6170" fmla="*/ 2847499 h 3355086"/>
                <a:gd name="connsiteX6171" fmla="*/ 2839306 w 3359086"/>
                <a:gd name="connsiteY6171" fmla="*/ 2853690 h 3355086"/>
                <a:gd name="connsiteX6172" fmla="*/ 2833115 w 3359086"/>
                <a:gd name="connsiteY6172" fmla="*/ 2859881 h 3355086"/>
                <a:gd name="connsiteX6173" fmla="*/ 2826924 w 3359086"/>
                <a:gd name="connsiteY6173" fmla="*/ 2853690 h 3355086"/>
                <a:gd name="connsiteX6174" fmla="*/ 2833115 w 3359086"/>
                <a:gd name="connsiteY6174" fmla="*/ 2847499 h 3355086"/>
                <a:gd name="connsiteX6175" fmla="*/ 568356 w 3359086"/>
                <a:gd name="connsiteY6175" fmla="*/ 2846261 h 3355086"/>
                <a:gd name="connsiteX6176" fmla="*/ 574547 w 3359086"/>
                <a:gd name="connsiteY6176" fmla="*/ 2852452 h 3355086"/>
                <a:gd name="connsiteX6177" fmla="*/ 568356 w 3359086"/>
                <a:gd name="connsiteY6177" fmla="*/ 2858643 h 3355086"/>
                <a:gd name="connsiteX6178" fmla="*/ 562165 w 3359086"/>
                <a:gd name="connsiteY6178" fmla="*/ 2852452 h 3355086"/>
                <a:gd name="connsiteX6179" fmla="*/ 568356 w 3359086"/>
                <a:gd name="connsiteY6179" fmla="*/ 2846261 h 3355086"/>
                <a:gd name="connsiteX6180" fmla="*/ 2804159 w 3359086"/>
                <a:gd name="connsiteY6180" fmla="*/ 2846165 h 3355086"/>
                <a:gd name="connsiteX6181" fmla="*/ 2809255 w 3359086"/>
                <a:gd name="connsiteY6181" fmla="*/ 2851262 h 3355086"/>
                <a:gd name="connsiteX6182" fmla="*/ 2810732 w 3359086"/>
                <a:gd name="connsiteY6182" fmla="*/ 2849785 h 3355086"/>
                <a:gd name="connsiteX6183" fmla="*/ 2816257 w 3359086"/>
                <a:gd name="connsiteY6183" fmla="*/ 2855310 h 3355086"/>
                <a:gd name="connsiteX6184" fmla="*/ 2817590 w 3359086"/>
                <a:gd name="connsiteY6184" fmla="*/ 2853976 h 3355086"/>
                <a:gd name="connsiteX6185" fmla="*/ 2823781 w 3359086"/>
                <a:gd name="connsiteY6185" fmla="*/ 2860167 h 3355086"/>
                <a:gd name="connsiteX6186" fmla="*/ 2817590 w 3359086"/>
                <a:gd name="connsiteY6186" fmla="*/ 2866359 h 3355086"/>
                <a:gd name="connsiteX6187" fmla="*/ 2812066 w 3359086"/>
                <a:gd name="connsiteY6187" fmla="*/ 2860834 h 3355086"/>
                <a:gd name="connsiteX6188" fmla="*/ 2810732 w 3359086"/>
                <a:gd name="connsiteY6188" fmla="*/ 2862168 h 3355086"/>
                <a:gd name="connsiteX6189" fmla="*/ 2805636 w 3359086"/>
                <a:gd name="connsiteY6189" fmla="*/ 2857071 h 3355086"/>
                <a:gd name="connsiteX6190" fmla="*/ 2804159 w 3359086"/>
                <a:gd name="connsiteY6190" fmla="*/ 2858548 h 3355086"/>
                <a:gd name="connsiteX6191" fmla="*/ 2797968 w 3359086"/>
                <a:gd name="connsiteY6191" fmla="*/ 2852356 h 3355086"/>
                <a:gd name="connsiteX6192" fmla="*/ 2804159 w 3359086"/>
                <a:gd name="connsiteY6192" fmla="*/ 2846165 h 3355086"/>
                <a:gd name="connsiteX6193" fmla="*/ 2680049 w 3359086"/>
                <a:gd name="connsiteY6193" fmla="*/ 2845499 h 3355086"/>
                <a:gd name="connsiteX6194" fmla="*/ 2686240 w 3359086"/>
                <a:gd name="connsiteY6194" fmla="*/ 2851690 h 3355086"/>
                <a:gd name="connsiteX6195" fmla="*/ 2680049 w 3359086"/>
                <a:gd name="connsiteY6195" fmla="*/ 2857881 h 3355086"/>
                <a:gd name="connsiteX6196" fmla="*/ 2673858 w 3359086"/>
                <a:gd name="connsiteY6196" fmla="*/ 2851690 h 3355086"/>
                <a:gd name="connsiteX6197" fmla="*/ 2680049 w 3359086"/>
                <a:gd name="connsiteY6197" fmla="*/ 2845499 h 3355086"/>
                <a:gd name="connsiteX6198" fmla="*/ 532923 w 3359086"/>
                <a:gd name="connsiteY6198" fmla="*/ 2844832 h 3355086"/>
                <a:gd name="connsiteX6199" fmla="*/ 539114 w 3359086"/>
                <a:gd name="connsiteY6199" fmla="*/ 2851023 h 3355086"/>
                <a:gd name="connsiteX6200" fmla="*/ 532923 w 3359086"/>
                <a:gd name="connsiteY6200" fmla="*/ 2857214 h 3355086"/>
                <a:gd name="connsiteX6201" fmla="*/ 531209 w 3359086"/>
                <a:gd name="connsiteY6201" fmla="*/ 2855500 h 3355086"/>
                <a:gd name="connsiteX6202" fmla="*/ 525589 w 3359086"/>
                <a:gd name="connsiteY6202" fmla="*/ 2861119 h 3355086"/>
                <a:gd name="connsiteX6203" fmla="*/ 524161 w 3359086"/>
                <a:gd name="connsiteY6203" fmla="*/ 2859691 h 3355086"/>
                <a:gd name="connsiteX6204" fmla="*/ 519017 w 3359086"/>
                <a:gd name="connsiteY6204" fmla="*/ 2864835 h 3355086"/>
                <a:gd name="connsiteX6205" fmla="*/ 512826 w 3359086"/>
                <a:gd name="connsiteY6205" fmla="*/ 2858643 h 3355086"/>
                <a:gd name="connsiteX6206" fmla="*/ 519017 w 3359086"/>
                <a:gd name="connsiteY6206" fmla="*/ 2852452 h 3355086"/>
                <a:gd name="connsiteX6207" fmla="*/ 520446 w 3359086"/>
                <a:gd name="connsiteY6207" fmla="*/ 2853881 h 3355086"/>
                <a:gd name="connsiteX6208" fmla="*/ 525589 w 3359086"/>
                <a:gd name="connsiteY6208" fmla="*/ 2848737 h 3355086"/>
                <a:gd name="connsiteX6209" fmla="*/ 527304 w 3359086"/>
                <a:gd name="connsiteY6209" fmla="*/ 2850452 h 3355086"/>
                <a:gd name="connsiteX6210" fmla="*/ 1337309 w 3359086"/>
                <a:gd name="connsiteY6210" fmla="*/ 2844642 h 3355086"/>
                <a:gd name="connsiteX6211" fmla="*/ 1343501 w 3359086"/>
                <a:gd name="connsiteY6211" fmla="*/ 2850833 h 3355086"/>
                <a:gd name="connsiteX6212" fmla="*/ 1337309 w 3359086"/>
                <a:gd name="connsiteY6212" fmla="*/ 2857024 h 3355086"/>
                <a:gd name="connsiteX6213" fmla="*/ 1331118 w 3359086"/>
                <a:gd name="connsiteY6213" fmla="*/ 2850833 h 3355086"/>
                <a:gd name="connsiteX6214" fmla="*/ 1337309 w 3359086"/>
                <a:gd name="connsiteY6214" fmla="*/ 2844642 h 3355086"/>
                <a:gd name="connsiteX6215" fmla="*/ 2882550 w 3359086"/>
                <a:gd name="connsiteY6215" fmla="*/ 2844356 h 3355086"/>
                <a:gd name="connsiteX6216" fmla="*/ 2884455 w 3359086"/>
                <a:gd name="connsiteY6216" fmla="*/ 2846261 h 3355086"/>
                <a:gd name="connsiteX6217" fmla="*/ 2882550 w 3359086"/>
                <a:gd name="connsiteY6217" fmla="*/ 2848166 h 3355086"/>
                <a:gd name="connsiteX6218" fmla="*/ 2880645 w 3359086"/>
                <a:gd name="connsiteY6218" fmla="*/ 2846261 h 3355086"/>
                <a:gd name="connsiteX6219" fmla="*/ 2882550 w 3359086"/>
                <a:gd name="connsiteY6219" fmla="*/ 2844356 h 3355086"/>
                <a:gd name="connsiteX6220" fmla="*/ 2630709 w 3359086"/>
                <a:gd name="connsiteY6220" fmla="*/ 2844261 h 3355086"/>
                <a:gd name="connsiteX6221" fmla="*/ 2636900 w 3359086"/>
                <a:gd name="connsiteY6221" fmla="*/ 2850452 h 3355086"/>
                <a:gd name="connsiteX6222" fmla="*/ 2630709 w 3359086"/>
                <a:gd name="connsiteY6222" fmla="*/ 2856643 h 3355086"/>
                <a:gd name="connsiteX6223" fmla="*/ 2624518 w 3359086"/>
                <a:gd name="connsiteY6223" fmla="*/ 2850452 h 3355086"/>
                <a:gd name="connsiteX6224" fmla="*/ 2630709 w 3359086"/>
                <a:gd name="connsiteY6224" fmla="*/ 2844261 h 3355086"/>
                <a:gd name="connsiteX6225" fmla="*/ 1036129 w 3359086"/>
                <a:gd name="connsiteY6225" fmla="*/ 2844070 h 3355086"/>
                <a:gd name="connsiteX6226" fmla="*/ 1042321 w 3359086"/>
                <a:gd name="connsiteY6226" fmla="*/ 2850261 h 3355086"/>
                <a:gd name="connsiteX6227" fmla="*/ 1036129 w 3359086"/>
                <a:gd name="connsiteY6227" fmla="*/ 2856453 h 3355086"/>
                <a:gd name="connsiteX6228" fmla="*/ 1029938 w 3359086"/>
                <a:gd name="connsiteY6228" fmla="*/ 2850261 h 3355086"/>
                <a:gd name="connsiteX6229" fmla="*/ 1036129 w 3359086"/>
                <a:gd name="connsiteY6229" fmla="*/ 2844070 h 3355086"/>
                <a:gd name="connsiteX6230" fmla="*/ 2721006 w 3359086"/>
                <a:gd name="connsiteY6230" fmla="*/ 2843403 h 3355086"/>
                <a:gd name="connsiteX6231" fmla="*/ 2727198 w 3359086"/>
                <a:gd name="connsiteY6231" fmla="*/ 2849594 h 3355086"/>
                <a:gd name="connsiteX6232" fmla="*/ 2721006 w 3359086"/>
                <a:gd name="connsiteY6232" fmla="*/ 2855785 h 3355086"/>
                <a:gd name="connsiteX6233" fmla="*/ 2714815 w 3359086"/>
                <a:gd name="connsiteY6233" fmla="*/ 2849594 h 3355086"/>
                <a:gd name="connsiteX6234" fmla="*/ 2721006 w 3359086"/>
                <a:gd name="connsiteY6234" fmla="*/ 2843403 h 3355086"/>
                <a:gd name="connsiteX6235" fmla="*/ 2848832 w 3359086"/>
                <a:gd name="connsiteY6235" fmla="*/ 2842927 h 3355086"/>
                <a:gd name="connsiteX6236" fmla="*/ 2855023 w 3359086"/>
                <a:gd name="connsiteY6236" fmla="*/ 2849118 h 3355086"/>
                <a:gd name="connsiteX6237" fmla="*/ 2848832 w 3359086"/>
                <a:gd name="connsiteY6237" fmla="*/ 2855310 h 3355086"/>
                <a:gd name="connsiteX6238" fmla="*/ 2842641 w 3359086"/>
                <a:gd name="connsiteY6238" fmla="*/ 2849118 h 3355086"/>
                <a:gd name="connsiteX6239" fmla="*/ 2848832 w 3359086"/>
                <a:gd name="connsiteY6239" fmla="*/ 2842927 h 3355086"/>
                <a:gd name="connsiteX6240" fmla="*/ 2795587 w 3359086"/>
                <a:gd name="connsiteY6240" fmla="*/ 2841117 h 3355086"/>
                <a:gd name="connsiteX6241" fmla="*/ 2801778 w 3359086"/>
                <a:gd name="connsiteY6241" fmla="*/ 2847308 h 3355086"/>
                <a:gd name="connsiteX6242" fmla="*/ 2795587 w 3359086"/>
                <a:gd name="connsiteY6242" fmla="*/ 2853500 h 3355086"/>
                <a:gd name="connsiteX6243" fmla="*/ 2789396 w 3359086"/>
                <a:gd name="connsiteY6243" fmla="*/ 2847308 h 3355086"/>
                <a:gd name="connsiteX6244" fmla="*/ 2795587 w 3359086"/>
                <a:gd name="connsiteY6244" fmla="*/ 2841117 h 3355086"/>
                <a:gd name="connsiteX6245" fmla="*/ 868108 w 3359086"/>
                <a:gd name="connsiteY6245" fmla="*/ 2840831 h 3355086"/>
                <a:gd name="connsiteX6246" fmla="*/ 874300 w 3359086"/>
                <a:gd name="connsiteY6246" fmla="*/ 2847022 h 3355086"/>
                <a:gd name="connsiteX6247" fmla="*/ 868108 w 3359086"/>
                <a:gd name="connsiteY6247" fmla="*/ 2853214 h 3355086"/>
                <a:gd name="connsiteX6248" fmla="*/ 861917 w 3359086"/>
                <a:gd name="connsiteY6248" fmla="*/ 2847022 h 3355086"/>
                <a:gd name="connsiteX6249" fmla="*/ 868108 w 3359086"/>
                <a:gd name="connsiteY6249" fmla="*/ 2840831 h 3355086"/>
                <a:gd name="connsiteX6250" fmla="*/ 2865215 w 3359086"/>
                <a:gd name="connsiteY6250" fmla="*/ 2840355 h 3355086"/>
                <a:gd name="connsiteX6251" fmla="*/ 2871406 w 3359086"/>
                <a:gd name="connsiteY6251" fmla="*/ 2846546 h 3355086"/>
                <a:gd name="connsiteX6252" fmla="*/ 2865215 w 3359086"/>
                <a:gd name="connsiteY6252" fmla="*/ 2852737 h 3355086"/>
                <a:gd name="connsiteX6253" fmla="*/ 2859024 w 3359086"/>
                <a:gd name="connsiteY6253" fmla="*/ 2846546 h 3355086"/>
                <a:gd name="connsiteX6254" fmla="*/ 2865215 w 3359086"/>
                <a:gd name="connsiteY6254" fmla="*/ 2840355 h 3355086"/>
                <a:gd name="connsiteX6255" fmla="*/ 473106 w 3359086"/>
                <a:gd name="connsiteY6255" fmla="*/ 2839498 h 3355086"/>
                <a:gd name="connsiteX6256" fmla="*/ 474630 w 3359086"/>
                <a:gd name="connsiteY6256" fmla="*/ 2841022 h 3355086"/>
                <a:gd name="connsiteX6257" fmla="*/ 473106 w 3359086"/>
                <a:gd name="connsiteY6257" fmla="*/ 2842546 h 3355086"/>
                <a:gd name="connsiteX6258" fmla="*/ 471582 w 3359086"/>
                <a:gd name="connsiteY6258" fmla="*/ 2841022 h 3355086"/>
                <a:gd name="connsiteX6259" fmla="*/ 473106 w 3359086"/>
                <a:gd name="connsiteY6259" fmla="*/ 2839498 h 3355086"/>
                <a:gd name="connsiteX6260" fmla="*/ 488536 w 3359086"/>
                <a:gd name="connsiteY6260" fmla="*/ 2838927 h 3355086"/>
                <a:gd name="connsiteX6261" fmla="*/ 494727 w 3359086"/>
                <a:gd name="connsiteY6261" fmla="*/ 2845118 h 3355086"/>
                <a:gd name="connsiteX6262" fmla="*/ 488536 w 3359086"/>
                <a:gd name="connsiteY6262" fmla="*/ 2851309 h 3355086"/>
                <a:gd name="connsiteX6263" fmla="*/ 482345 w 3359086"/>
                <a:gd name="connsiteY6263" fmla="*/ 2845118 h 3355086"/>
                <a:gd name="connsiteX6264" fmla="*/ 488536 w 3359086"/>
                <a:gd name="connsiteY6264" fmla="*/ 2838927 h 3355086"/>
                <a:gd name="connsiteX6265" fmla="*/ 2754724 w 3359086"/>
                <a:gd name="connsiteY6265" fmla="*/ 2838736 h 3355086"/>
                <a:gd name="connsiteX6266" fmla="*/ 2760915 w 3359086"/>
                <a:gd name="connsiteY6266" fmla="*/ 2844927 h 3355086"/>
                <a:gd name="connsiteX6267" fmla="*/ 2754724 w 3359086"/>
                <a:gd name="connsiteY6267" fmla="*/ 2851119 h 3355086"/>
                <a:gd name="connsiteX6268" fmla="*/ 2748533 w 3359086"/>
                <a:gd name="connsiteY6268" fmla="*/ 2844927 h 3355086"/>
                <a:gd name="connsiteX6269" fmla="*/ 2754724 w 3359086"/>
                <a:gd name="connsiteY6269" fmla="*/ 2838736 h 3355086"/>
                <a:gd name="connsiteX6270" fmla="*/ 2571464 w 3359086"/>
                <a:gd name="connsiteY6270" fmla="*/ 2838641 h 3355086"/>
                <a:gd name="connsiteX6271" fmla="*/ 2577655 w 3359086"/>
                <a:gd name="connsiteY6271" fmla="*/ 2844832 h 3355086"/>
                <a:gd name="connsiteX6272" fmla="*/ 2571464 w 3359086"/>
                <a:gd name="connsiteY6272" fmla="*/ 2851023 h 3355086"/>
                <a:gd name="connsiteX6273" fmla="*/ 2565273 w 3359086"/>
                <a:gd name="connsiteY6273" fmla="*/ 2844832 h 3355086"/>
                <a:gd name="connsiteX6274" fmla="*/ 2571464 w 3359086"/>
                <a:gd name="connsiteY6274" fmla="*/ 2838641 h 3355086"/>
                <a:gd name="connsiteX6275" fmla="*/ 543496 w 3359086"/>
                <a:gd name="connsiteY6275" fmla="*/ 2838260 h 3355086"/>
                <a:gd name="connsiteX6276" fmla="*/ 549687 w 3359086"/>
                <a:gd name="connsiteY6276" fmla="*/ 2844451 h 3355086"/>
                <a:gd name="connsiteX6277" fmla="*/ 543496 w 3359086"/>
                <a:gd name="connsiteY6277" fmla="*/ 2850642 h 3355086"/>
                <a:gd name="connsiteX6278" fmla="*/ 537305 w 3359086"/>
                <a:gd name="connsiteY6278" fmla="*/ 2844451 h 3355086"/>
                <a:gd name="connsiteX6279" fmla="*/ 543496 w 3359086"/>
                <a:gd name="connsiteY6279" fmla="*/ 2838260 h 3355086"/>
                <a:gd name="connsiteX6280" fmla="*/ 2047112 w 3359086"/>
                <a:gd name="connsiteY6280" fmla="*/ 2837879 h 3355086"/>
                <a:gd name="connsiteX6281" fmla="*/ 2053304 w 3359086"/>
                <a:gd name="connsiteY6281" fmla="*/ 2844070 h 3355086"/>
                <a:gd name="connsiteX6282" fmla="*/ 2047112 w 3359086"/>
                <a:gd name="connsiteY6282" fmla="*/ 2850262 h 3355086"/>
                <a:gd name="connsiteX6283" fmla="*/ 2040921 w 3359086"/>
                <a:gd name="connsiteY6283" fmla="*/ 2844070 h 3355086"/>
                <a:gd name="connsiteX6284" fmla="*/ 2047112 w 3359086"/>
                <a:gd name="connsiteY6284" fmla="*/ 2837879 h 3355086"/>
                <a:gd name="connsiteX6285" fmla="*/ 515587 w 3359086"/>
                <a:gd name="connsiteY6285" fmla="*/ 2835212 h 3355086"/>
                <a:gd name="connsiteX6286" fmla="*/ 521778 w 3359086"/>
                <a:gd name="connsiteY6286" fmla="*/ 2841403 h 3355086"/>
                <a:gd name="connsiteX6287" fmla="*/ 515587 w 3359086"/>
                <a:gd name="connsiteY6287" fmla="*/ 2847595 h 3355086"/>
                <a:gd name="connsiteX6288" fmla="*/ 514968 w 3359086"/>
                <a:gd name="connsiteY6288" fmla="*/ 2846976 h 3355086"/>
                <a:gd name="connsiteX6289" fmla="*/ 509873 w 3359086"/>
                <a:gd name="connsiteY6289" fmla="*/ 2852071 h 3355086"/>
                <a:gd name="connsiteX6290" fmla="*/ 509349 w 3359086"/>
                <a:gd name="connsiteY6290" fmla="*/ 2851547 h 3355086"/>
                <a:gd name="connsiteX6291" fmla="*/ 503681 w 3359086"/>
                <a:gd name="connsiteY6291" fmla="*/ 2857214 h 3355086"/>
                <a:gd name="connsiteX6292" fmla="*/ 497490 w 3359086"/>
                <a:gd name="connsiteY6292" fmla="*/ 2851023 h 3355086"/>
                <a:gd name="connsiteX6293" fmla="*/ 503681 w 3359086"/>
                <a:gd name="connsiteY6293" fmla="*/ 2844832 h 3355086"/>
                <a:gd name="connsiteX6294" fmla="*/ 504205 w 3359086"/>
                <a:gd name="connsiteY6294" fmla="*/ 2845356 h 3355086"/>
                <a:gd name="connsiteX6295" fmla="*/ 509873 w 3359086"/>
                <a:gd name="connsiteY6295" fmla="*/ 2839688 h 3355086"/>
                <a:gd name="connsiteX6296" fmla="*/ 510492 w 3359086"/>
                <a:gd name="connsiteY6296" fmla="*/ 2840307 h 3355086"/>
                <a:gd name="connsiteX6297" fmla="*/ 630268 w 3359086"/>
                <a:gd name="connsiteY6297" fmla="*/ 2833021 h 3355086"/>
                <a:gd name="connsiteX6298" fmla="*/ 636460 w 3359086"/>
                <a:gd name="connsiteY6298" fmla="*/ 2839212 h 3355086"/>
                <a:gd name="connsiteX6299" fmla="*/ 630268 w 3359086"/>
                <a:gd name="connsiteY6299" fmla="*/ 2845403 h 3355086"/>
                <a:gd name="connsiteX6300" fmla="*/ 624077 w 3359086"/>
                <a:gd name="connsiteY6300" fmla="*/ 2839212 h 3355086"/>
                <a:gd name="connsiteX6301" fmla="*/ 630268 w 3359086"/>
                <a:gd name="connsiteY6301" fmla="*/ 2833021 h 3355086"/>
                <a:gd name="connsiteX6302" fmla="*/ 2339625 w 3359086"/>
                <a:gd name="connsiteY6302" fmla="*/ 2832735 h 3355086"/>
                <a:gd name="connsiteX6303" fmla="*/ 2345817 w 3359086"/>
                <a:gd name="connsiteY6303" fmla="*/ 2838926 h 3355086"/>
                <a:gd name="connsiteX6304" fmla="*/ 2339625 w 3359086"/>
                <a:gd name="connsiteY6304" fmla="*/ 2845117 h 3355086"/>
                <a:gd name="connsiteX6305" fmla="*/ 2333434 w 3359086"/>
                <a:gd name="connsiteY6305" fmla="*/ 2838926 h 3355086"/>
                <a:gd name="connsiteX6306" fmla="*/ 2339625 w 3359086"/>
                <a:gd name="connsiteY6306" fmla="*/ 2832735 h 3355086"/>
                <a:gd name="connsiteX6307" fmla="*/ 2782633 w 3359086"/>
                <a:gd name="connsiteY6307" fmla="*/ 2832164 h 3355086"/>
                <a:gd name="connsiteX6308" fmla="*/ 2788825 w 3359086"/>
                <a:gd name="connsiteY6308" fmla="*/ 2838355 h 3355086"/>
                <a:gd name="connsiteX6309" fmla="*/ 2782633 w 3359086"/>
                <a:gd name="connsiteY6309" fmla="*/ 2844547 h 3355086"/>
                <a:gd name="connsiteX6310" fmla="*/ 2776442 w 3359086"/>
                <a:gd name="connsiteY6310" fmla="*/ 2838355 h 3355086"/>
                <a:gd name="connsiteX6311" fmla="*/ 2782633 w 3359086"/>
                <a:gd name="connsiteY6311" fmla="*/ 2832164 h 3355086"/>
                <a:gd name="connsiteX6312" fmla="*/ 2814351 w 3359086"/>
                <a:gd name="connsiteY6312" fmla="*/ 2831783 h 3355086"/>
                <a:gd name="connsiteX6313" fmla="*/ 2819780 w 3359086"/>
                <a:gd name="connsiteY6313" fmla="*/ 2837212 h 3355086"/>
                <a:gd name="connsiteX6314" fmla="*/ 2820352 w 3359086"/>
                <a:gd name="connsiteY6314" fmla="*/ 2836640 h 3355086"/>
                <a:gd name="connsiteX6315" fmla="*/ 2825543 w 3359086"/>
                <a:gd name="connsiteY6315" fmla="*/ 2841832 h 3355086"/>
                <a:gd name="connsiteX6316" fmla="*/ 2826067 w 3359086"/>
                <a:gd name="connsiteY6316" fmla="*/ 2841308 h 3355086"/>
                <a:gd name="connsiteX6317" fmla="*/ 2832259 w 3359086"/>
                <a:gd name="connsiteY6317" fmla="*/ 2847499 h 3355086"/>
                <a:gd name="connsiteX6318" fmla="*/ 2826067 w 3359086"/>
                <a:gd name="connsiteY6318" fmla="*/ 2853690 h 3355086"/>
                <a:gd name="connsiteX6319" fmla="*/ 2820876 w 3359086"/>
                <a:gd name="connsiteY6319" fmla="*/ 2848499 h 3355086"/>
                <a:gd name="connsiteX6320" fmla="*/ 2820352 w 3359086"/>
                <a:gd name="connsiteY6320" fmla="*/ 2849023 h 3355086"/>
                <a:gd name="connsiteX6321" fmla="*/ 2814923 w 3359086"/>
                <a:gd name="connsiteY6321" fmla="*/ 2843593 h 3355086"/>
                <a:gd name="connsiteX6322" fmla="*/ 2814351 w 3359086"/>
                <a:gd name="connsiteY6322" fmla="*/ 2844165 h 3355086"/>
                <a:gd name="connsiteX6323" fmla="*/ 2808160 w 3359086"/>
                <a:gd name="connsiteY6323" fmla="*/ 2837974 h 3355086"/>
                <a:gd name="connsiteX6324" fmla="*/ 2814351 w 3359086"/>
                <a:gd name="connsiteY6324" fmla="*/ 2831783 h 3355086"/>
                <a:gd name="connsiteX6325" fmla="*/ 676941 w 3359086"/>
                <a:gd name="connsiteY6325" fmla="*/ 2831783 h 3355086"/>
                <a:gd name="connsiteX6326" fmla="*/ 683133 w 3359086"/>
                <a:gd name="connsiteY6326" fmla="*/ 2837974 h 3355086"/>
                <a:gd name="connsiteX6327" fmla="*/ 676941 w 3359086"/>
                <a:gd name="connsiteY6327" fmla="*/ 2844165 h 3355086"/>
                <a:gd name="connsiteX6328" fmla="*/ 670750 w 3359086"/>
                <a:gd name="connsiteY6328" fmla="*/ 2837974 h 3355086"/>
                <a:gd name="connsiteX6329" fmla="*/ 676941 w 3359086"/>
                <a:gd name="connsiteY6329" fmla="*/ 2831783 h 3355086"/>
                <a:gd name="connsiteX6330" fmla="*/ 1240535 w 3359086"/>
                <a:gd name="connsiteY6330" fmla="*/ 2831306 h 3355086"/>
                <a:gd name="connsiteX6331" fmla="*/ 1246727 w 3359086"/>
                <a:gd name="connsiteY6331" fmla="*/ 2837497 h 3355086"/>
                <a:gd name="connsiteX6332" fmla="*/ 1240535 w 3359086"/>
                <a:gd name="connsiteY6332" fmla="*/ 2843689 h 3355086"/>
                <a:gd name="connsiteX6333" fmla="*/ 1234344 w 3359086"/>
                <a:gd name="connsiteY6333" fmla="*/ 2837497 h 3355086"/>
                <a:gd name="connsiteX6334" fmla="*/ 1240535 w 3359086"/>
                <a:gd name="connsiteY6334" fmla="*/ 2831306 h 3355086"/>
                <a:gd name="connsiteX6335" fmla="*/ 591692 w 3359086"/>
                <a:gd name="connsiteY6335" fmla="*/ 2830926 h 3355086"/>
                <a:gd name="connsiteX6336" fmla="*/ 597883 w 3359086"/>
                <a:gd name="connsiteY6336" fmla="*/ 2837117 h 3355086"/>
                <a:gd name="connsiteX6337" fmla="*/ 591692 w 3359086"/>
                <a:gd name="connsiteY6337" fmla="*/ 2843308 h 3355086"/>
                <a:gd name="connsiteX6338" fmla="*/ 585501 w 3359086"/>
                <a:gd name="connsiteY6338" fmla="*/ 2837117 h 3355086"/>
                <a:gd name="connsiteX6339" fmla="*/ 591692 w 3359086"/>
                <a:gd name="connsiteY6339" fmla="*/ 2830926 h 3355086"/>
                <a:gd name="connsiteX6340" fmla="*/ 522731 w 3359086"/>
                <a:gd name="connsiteY6340" fmla="*/ 2829497 h 3355086"/>
                <a:gd name="connsiteX6341" fmla="*/ 528922 w 3359086"/>
                <a:gd name="connsiteY6341" fmla="*/ 2835688 h 3355086"/>
                <a:gd name="connsiteX6342" fmla="*/ 522731 w 3359086"/>
                <a:gd name="connsiteY6342" fmla="*/ 2841880 h 3355086"/>
                <a:gd name="connsiteX6343" fmla="*/ 516540 w 3359086"/>
                <a:gd name="connsiteY6343" fmla="*/ 2835688 h 3355086"/>
                <a:gd name="connsiteX6344" fmla="*/ 522731 w 3359086"/>
                <a:gd name="connsiteY6344" fmla="*/ 2829497 h 3355086"/>
                <a:gd name="connsiteX6345" fmla="*/ 2855499 w 3359086"/>
                <a:gd name="connsiteY6345" fmla="*/ 2829116 h 3355086"/>
                <a:gd name="connsiteX6346" fmla="*/ 2861690 w 3359086"/>
                <a:gd name="connsiteY6346" fmla="*/ 2835307 h 3355086"/>
                <a:gd name="connsiteX6347" fmla="*/ 2855499 w 3359086"/>
                <a:gd name="connsiteY6347" fmla="*/ 2841498 h 3355086"/>
                <a:gd name="connsiteX6348" fmla="*/ 2849308 w 3359086"/>
                <a:gd name="connsiteY6348" fmla="*/ 2835307 h 3355086"/>
                <a:gd name="connsiteX6349" fmla="*/ 2855499 w 3359086"/>
                <a:gd name="connsiteY6349" fmla="*/ 2829116 h 3355086"/>
                <a:gd name="connsiteX6350" fmla="*/ 2500979 w 3359086"/>
                <a:gd name="connsiteY6350" fmla="*/ 2827687 h 3355086"/>
                <a:gd name="connsiteX6351" fmla="*/ 2507170 w 3359086"/>
                <a:gd name="connsiteY6351" fmla="*/ 2833878 h 3355086"/>
                <a:gd name="connsiteX6352" fmla="*/ 2500979 w 3359086"/>
                <a:gd name="connsiteY6352" fmla="*/ 2840070 h 3355086"/>
                <a:gd name="connsiteX6353" fmla="*/ 2494788 w 3359086"/>
                <a:gd name="connsiteY6353" fmla="*/ 2833878 h 3355086"/>
                <a:gd name="connsiteX6354" fmla="*/ 2500979 w 3359086"/>
                <a:gd name="connsiteY6354" fmla="*/ 2827687 h 3355086"/>
                <a:gd name="connsiteX6355" fmla="*/ 733138 w 3359086"/>
                <a:gd name="connsiteY6355" fmla="*/ 2826544 h 3355086"/>
                <a:gd name="connsiteX6356" fmla="*/ 739330 w 3359086"/>
                <a:gd name="connsiteY6356" fmla="*/ 2832735 h 3355086"/>
                <a:gd name="connsiteX6357" fmla="*/ 733138 w 3359086"/>
                <a:gd name="connsiteY6357" fmla="*/ 2838927 h 3355086"/>
                <a:gd name="connsiteX6358" fmla="*/ 726947 w 3359086"/>
                <a:gd name="connsiteY6358" fmla="*/ 2832735 h 3355086"/>
                <a:gd name="connsiteX6359" fmla="*/ 733138 w 3359086"/>
                <a:gd name="connsiteY6359" fmla="*/ 2826544 h 3355086"/>
                <a:gd name="connsiteX6360" fmla="*/ 559974 w 3359086"/>
                <a:gd name="connsiteY6360" fmla="*/ 2826354 h 3355086"/>
                <a:gd name="connsiteX6361" fmla="*/ 566165 w 3359086"/>
                <a:gd name="connsiteY6361" fmla="*/ 2832545 h 3355086"/>
                <a:gd name="connsiteX6362" fmla="*/ 559974 w 3359086"/>
                <a:gd name="connsiteY6362" fmla="*/ 2838736 h 3355086"/>
                <a:gd name="connsiteX6363" fmla="*/ 553783 w 3359086"/>
                <a:gd name="connsiteY6363" fmla="*/ 2832545 h 3355086"/>
                <a:gd name="connsiteX6364" fmla="*/ 559974 w 3359086"/>
                <a:gd name="connsiteY6364" fmla="*/ 2826354 h 3355086"/>
                <a:gd name="connsiteX6365" fmla="*/ 2870739 w 3359086"/>
                <a:gd name="connsiteY6365" fmla="*/ 2825782 h 3355086"/>
                <a:gd name="connsiteX6366" fmla="*/ 2876931 w 3359086"/>
                <a:gd name="connsiteY6366" fmla="*/ 2831973 h 3355086"/>
                <a:gd name="connsiteX6367" fmla="*/ 2870739 w 3359086"/>
                <a:gd name="connsiteY6367" fmla="*/ 2838164 h 3355086"/>
                <a:gd name="connsiteX6368" fmla="*/ 2864548 w 3359086"/>
                <a:gd name="connsiteY6368" fmla="*/ 2831973 h 3355086"/>
                <a:gd name="connsiteX6369" fmla="*/ 2870739 w 3359086"/>
                <a:gd name="connsiteY6369" fmla="*/ 2825782 h 3355086"/>
                <a:gd name="connsiteX6370" fmla="*/ 2886836 w 3359086"/>
                <a:gd name="connsiteY6370" fmla="*/ 2824544 h 3355086"/>
                <a:gd name="connsiteX6371" fmla="*/ 2893028 w 3359086"/>
                <a:gd name="connsiteY6371" fmla="*/ 2830735 h 3355086"/>
                <a:gd name="connsiteX6372" fmla="*/ 2886836 w 3359086"/>
                <a:gd name="connsiteY6372" fmla="*/ 2836926 h 3355086"/>
                <a:gd name="connsiteX6373" fmla="*/ 2880645 w 3359086"/>
                <a:gd name="connsiteY6373" fmla="*/ 2830735 h 3355086"/>
                <a:gd name="connsiteX6374" fmla="*/ 2886836 w 3359086"/>
                <a:gd name="connsiteY6374" fmla="*/ 2824544 h 3355086"/>
                <a:gd name="connsiteX6375" fmla="*/ 2805588 w 3359086"/>
                <a:gd name="connsiteY6375" fmla="*/ 2824448 h 3355086"/>
                <a:gd name="connsiteX6376" fmla="*/ 2811780 w 3359086"/>
                <a:gd name="connsiteY6376" fmla="*/ 2830639 h 3355086"/>
                <a:gd name="connsiteX6377" fmla="*/ 2805588 w 3359086"/>
                <a:gd name="connsiteY6377" fmla="*/ 2836831 h 3355086"/>
                <a:gd name="connsiteX6378" fmla="*/ 2799397 w 3359086"/>
                <a:gd name="connsiteY6378" fmla="*/ 2830639 h 3355086"/>
                <a:gd name="connsiteX6379" fmla="*/ 2805588 w 3359086"/>
                <a:gd name="connsiteY6379" fmla="*/ 2824448 h 3355086"/>
                <a:gd name="connsiteX6380" fmla="*/ 2142077 w 3359086"/>
                <a:gd name="connsiteY6380" fmla="*/ 2822924 h 3355086"/>
                <a:gd name="connsiteX6381" fmla="*/ 2148268 w 3359086"/>
                <a:gd name="connsiteY6381" fmla="*/ 2829115 h 3355086"/>
                <a:gd name="connsiteX6382" fmla="*/ 2142077 w 3359086"/>
                <a:gd name="connsiteY6382" fmla="*/ 2835307 h 3355086"/>
                <a:gd name="connsiteX6383" fmla="*/ 2135886 w 3359086"/>
                <a:gd name="connsiteY6383" fmla="*/ 2829115 h 3355086"/>
                <a:gd name="connsiteX6384" fmla="*/ 2142077 w 3359086"/>
                <a:gd name="connsiteY6384" fmla="*/ 2822924 h 3355086"/>
                <a:gd name="connsiteX6385" fmla="*/ 955738 w 3359086"/>
                <a:gd name="connsiteY6385" fmla="*/ 2822544 h 3355086"/>
                <a:gd name="connsiteX6386" fmla="*/ 961929 w 3359086"/>
                <a:gd name="connsiteY6386" fmla="*/ 2828735 h 3355086"/>
                <a:gd name="connsiteX6387" fmla="*/ 955738 w 3359086"/>
                <a:gd name="connsiteY6387" fmla="*/ 2834926 h 3355086"/>
                <a:gd name="connsiteX6388" fmla="*/ 949547 w 3359086"/>
                <a:gd name="connsiteY6388" fmla="*/ 2828735 h 3355086"/>
                <a:gd name="connsiteX6389" fmla="*/ 955738 w 3359086"/>
                <a:gd name="connsiteY6389" fmla="*/ 2822544 h 3355086"/>
                <a:gd name="connsiteX6390" fmla="*/ 466438 w 3359086"/>
                <a:gd name="connsiteY6390" fmla="*/ 2820734 h 3355086"/>
                <a:gd name="connsiteX6391" fmla="*/ 472629 w 3359086"/>
                <a:gd name="connsiteY6391" fmla="*/ 2826925 h 3355086"/>
                <a:gd name="connsiteX6392" fmla="*/ 466438 w 3359086"/>
                <a:gd name="connsiteY6392" fmla="*/ 2833116 h 3355086"/>
                <a:gd name="connsiteX6393" fmla="*/ 460247 w 3359086"/>
                <a:gd name="connsiteY6393" fmla="*/ 2826925 h 3355086"/>
                <a:gd name="connsiteX6394" fmla="*/ 466438 w 3359086"/>
                <a:gd name="connsiteY6394" fmla="*/ 2820734 h 3355086"/>
                <a:gd name="connsiteX6395" fmla="*/ 505205 w 3359086"/>
                <a:gd name="connsiteY6395" fmla="*/ 2820543 h 3355086"/>
                <a:gd name="connsiteX6396" fmla="*/ 511396 w 3359086"/>
                <a:gd name="connsiteY6396" fmla="*/ 2826734 h 3355086"/>
                <a:gd name="connsiteX6397" fmla="*/ 506015 w 3359086"/>
                <a:gd name="connsiteY6397" fmla="*/ 2832116 h 3355086"/>
                <a:gd name="connsiteX6398" fmla="*/ 506348 w 3359086"/>
                <a:gd name="connsiteY6398" fmla="*/ 2832449 h 3355086"/>
                <a:gd name="connsiteX6399" fmla="*/ 501109 w 3359086"/>
                <a:gd name="connsiteY6399" fmla="*/ 2837689 h 3355086"/>
                <a:gd name="connsiteX6400" fmla="*/ 501395 w 3359086"/>
                <a:gd name="connsiteY6400" fmla="*/ 2837974 h 3355086"/>
                <a:gd name="connsiteX6401" fmla="*/ 495204 w 3359086"/>
                <a:gd name="connsiteY6401" fmla="*/ 2844165 h 3355086"/>
                <a:gd name="connsiteX6402" fmla="*/ 489013 w 3359086"/>
                <a:gd name="connsiteY6402" fmla="*/ 2837974 h 3355086"/>
                <a:gd name="connsiteX6403" fmla="*/ 494252 w 3359086"/>
                <a:gd name="connsiteY6403" fmla="*/ 2832735 h 3355086"/>
                <a:gd name="connsiteX6404" fmla="*/ 493966 w 3359086"/>
                <a:gd name="connsiteY6404" fmla="*/ 2832449 h 3355086"/>
                <a:gd name="connsiteX6405" fmla="*/ 499348 w 3359086"/>
                <a:gd name="connsiteY6405" fmla="*/ 2827068 h 3355086"/>
                <a:gd name="connsiteX6406" fmla="*/ 499014 w 3359086"/>
                <a:gd name="connsiteY6406" fmla="*/ 2826734 h 3355086"/>
                <a:gd name="connsiteX6407" fmla="*/ 505205 w 3359086"/>
                <a:gd name="connsiteY6407" fmla="*/ 2820543 h 3355086"/>
                <a:gd name="connsiteX6408" fmla="*/ 533876 w 3359086"/>
                <a:gd name="connsiteY6408" fmla="*/ 2820067 h 3355086"/>
                <a:gd name="connsiteX6409" fmla="*/ 540067 w 3359086"/>
                <a:gd name="connsiteY6409" fmla="*/ 2826258 h 3355086"/>
                <a:gd name="connsiteX6410" fmla="*/ 533876 w 3359086"/>
                <a:gd name="connsiteY6410" fmla="*/ 2832449 h 3355086"/>
                <a:gd name="connsiteX6411" fmla="*/ 527685 w 3359086"/>
                <a:gd name="connsiteY6411" fmla="*/ 2826258 h 3355086"/>
                <a:gd name="connsiteX6412" fmla="*/ 533876 w 3359086"/>
                <a:gd name="connsiteY6412" fmla="*/ 2820067 h 3355086"/>
                <a:gd name="connsiteX6413" fmla="*/ 2726245 w 3359086"/>
                <a:gd name="connsiteY6413" fmla="*/ 2818448 h 3355086"/>
                <a:gd name="connsiteX6414" fmla="*/ 2732436 w 3359086"/>
                <a:gd name="connsiteY6414" fmla="*/ 2824639 h 3355086"/>
                <a:gd name="connsiteX6415" fmla="*/ 2726245 w 3359086"/>
                <a:gd name="connsiteY6415" fmla="*/ 2830830 h 3355086"/>
                <a:gd name="connsiteX6416" fmla="*/ 2720054 w 3359086"/>
                <a:gd name="connsiteY6416" fmla="*/ 2824639 h 3355086"/>
                <a:gd name="connsiteX6417" fmla="*/ 2726245 w 3359086"/>
                <a:gd name="connsiteY6417" fmla="*/ 2818448 h 3355086"/>
                <a:gd name="connsiteX6418" fmla="*/ 2682525 w 3359086"/>
                <a:gd name="connsiteY6418" fmla="*/ 2817400 h 3355086"/>
                <a:gd name="connsiteX6419" fmla="*/ 2688716 w 3359086"/>
                <a:gd name="connsiteY6419" fmla="*/ 2823591 h 3355086"/>
                <a:gd name="connsiteX6420" fmla="*/ 2682525 w 3359086"/>
                <a:gd name="connsiteY6420" fmla="*/ 2829782 h 3355086"/>
                <a:gd name="connsiteX6421" fmla="*/ 2676334 w 3359086"/>
                <a:gd name="connsiteY6421" fmla="*/ 2823591 h 3355086"/>
                <a:gd name="connsiteX6422" fmla="*/ 2682525 w 3359086"/>
                <a:gd name="connsiteY6422" fmla="*/ 2817400 h 3355086"/>
                <a:gd name="connsiteX6423" fmla="*/ 2762154 w 3359086"/>
                <a:gd name="connsiteY6423" fmla="*/ 2816447 h 3355086"/>
                <a:gd name="connsiteX6424" fmla="*/ 2768346 w 3359086"/>
                <a:gd name="connsiteY6424" fmla="*/ 2822638 h 3355086"/>
                <a:gd name="connsiteX6425" fmla="*/ 2762154 w 3359086"/>
                <a:gd name="connsiteY6425" fmla="*/ 2828830 h 3355086"/>
                <a:gd name="connsiteX6426" fmla="*/ 2755963 w 3359086"/>
                <a:gd name="connsiteY6426" fmla="*/ 2822638 h 3355086"/>
                <a:gd name="connsiteX6427" fmla="*/ 2762154 w 3359086"/>
                <a:gd name="connsiteY6427" fmla="*/ 2816447 h 3355086"/>
                <a:gd name="connsiteX6428" fmla="*/ 2824829 w 3359086"/>
                <a:gd name="connsiteY6428" fmla="*/ 2816162 h 3355086"/>
                <a:gd name="connsiteX6429" fmla="*/ 2831020 w 3359086"/>
                <a:gd name="connsiteY6429" fmla="*/ 2822353 h 3355086"/>
                <a:gd name="connsiteX6430" fmla="*/ 2830591 w 3359086"/>
                <a:gd name="connsiteY6430" fmla="*/ 2822782 h 3355086"/>
                <a:gd name="connsiteX6431" fmla="*/ 2836735 w 3359086"/>
                <a:gd name="connsiteY6431" fmla="*/ 2828925 h 3355086"/>
                <a:gd name="connsiteX6432" fmla="*/ 2836354 w 3359086"/>
                <a:gd name="connsiteY6432" fmla="*/ 2829306 h 3355086"/>
                <a:gd name="connsiteX6433" fmla="*/ 2841402 w 3359086"/>
                <a:gd name="connsiteY6433" fmla="*/ 2834354 h 3355086"/>
                <a:gd name="connsiteX6434" fmla="*/ 2841069 w 3359086"/>
                <a:gd name="connsiteY6434" fmla="*/ 2834688 h 3355086"/>
                <a:gd name="connsiteX6435" fmla="*/ 2846927 w 3359086"/>
                <a:gd name="connsiteY6435" fmla="*/ 2840545 h 3355086"/>
                <a:gd name="connsiteX6436" fmla="*/ 2840735 w 3359086"/>
                <a:gd name="connsiteY6436" fmla="*/ 2846736 h 3355086"/>
                <a:gd name="connsiteX6437" fmla="*/ 2834544 w 3359086"/>
                <a:gd name="connsiteY6437" fmla="*/ 2840545 h 3355086"/>
                <a:gd name="connsiteX6438" fmla="*/ 2834877 w 3359086"/>
                <a:gd name="connsiteY6438" fmla="*/ 2840212 h 3355086"/>
                <a:gd name="connsiteX6439" fmla="*/ 2829020 w 3359086"/>
                <a:gd name="connsiteY6439" fmla="*/ 2834354 h 3355086"/>
                <a:gd name="connsiteX6440" fmla="*/ 2829400 w 3359086"/>
                <a:gd name="connsiteY6440" fmla="*/ 2833974 h 3355086"/>
                <a:gd name="connsiteX6441" fmla="*/ 2824352 w 3359086"/>
                <a:gd name="connsiteY6441" fmla="*/ 2828925 h 3355086"/>
                <a:gd name="connsiteX6442" fmla="*/ 2824780 w 3359086"/>
                <a:gd name="connsiteY6442" fmla="*/ 2828497 h 3355086"/>
                <a:gd name="connsiteX6443" fmla="*/ 2818638 w 3359086"/>
                <a:gd name="connsiteY6443" fmla="*/ 2822353 h 3355086"/>
                <a:gd name="connsiteX6444" fmla="*/ 2824829 w 3359086"/>
                <a:gd name="connsiteY6444" fmla="*/ 2816162 h 3355086"/>
                <a:gd name="connsiteX6445" fmla="*/ 800290 w 3359086"/>
                <a:gd name="connsiteY6445" fmla="*/ 2816067 h 3355086"/>
                <a:gd name="connsiteX6446" fmla="*/ 806481 w 3359086"/>
                <a:gd name="connsiteY6446" fmla="*/ 2822258 h 3355086"/>
                <a:gd name="connsiteX6447" fmla="*/ 800290 w 3359086"/>
                <a:gd name="connsiteY6447" fmla="*/ 2828449 h 3355086"/>
                <a:gd name="connsiteX6448" fmla="*/ 794099 w 3359086"/>
                <a:gd name="connsiteY6448" fmla="*/ 2822258 h 3355086"/>
                <a:gd name="connsiteX6449" fmla="*/ 800290 w 3359086"/>
                <a:gd name="connsiteY6449" fmla="*/ 2816067 h 3355086"/>
                <a:gd name="connsiteX6450" fmla="*/ 2863119 w 3359086"/>
                <a:gd name="connsiteY6450" fmla="*/ 2815209 h 3355086"/>
                <a:gd name="connsiteX6451" fmla="*/ 2869310 w 3359086"/>
                <a:gd name="connsiteY6451" fmla="*/ 2821400 h 3355086"/>
                <a:gd name="connsiteX6452" fmla="*/ 2863119 w 3359086"/>
                <a:gd name="connsiteY6452" fmla="*/ 2827592 h 3355086"/>
                <a:gd name="connsiteX6453" fmla="*/ 2856928 w 3359086"/>
                <a:gd name="connsiteY6453" fmla="*/ 2821400 h 3355086"/>
                <a:gd name="connsiteX6454" fmla="*/ 2863119 w 3359086"/>
                <a:gd name="connsiteY6454" fmla="*/ 2815209 h 3355086"/>
                <a:gd name="connsiteX6455" fmla="*/ 1147286 w 3359086"/>
                <a:gd name="connsiteY6455" fmla="*/ 2815019 h 3355086"/>
                <a:gd name="connsiteX6456" fmla="*/ 1153477 w 3359086"/>
                <a:gd name="connsiteY6456" fmla="*/ 2821210 h 3355086"/>
                <a:gd name="connsiteX6457" fmla="*/ 1147286 w 3359086"/>
                <a:gd name="connsiteY6457" fmla="*/ 2827401 h 3355086"/>
                <a:gd name="connsiteX6458" fmla="*/ 1141095 w 3359086"/>
                <a:gd name="connsiteY6458" fmla="*/ 2821210 h 3355086"/>
                <a:gd name="connsiteX6459" fmla="*/ 1147286 w 3359086"/>
                <a:gd name="connsiteY6459" fmla="*/ 2815019 h 3355086"/>
                <a:gd name="connsiteX6460" fmla="*/ 512349 w 3359086"/>
                <a:gd name="connsiteY6460" fmla="*/ 2812637 h 3355086"/>
                <a:gd name="connsiteX6461" fmla="*/ 518540 w 3359086"/>
                <a:gd name="connsiteY6461" fmla="*/ 2818828 h 3355086"/>
                <a:gd name="connsiteX6462" fmla="*/ 512349 w 3359086"/>
                <a:gd name="connsiteY6462" fmla="*/ 2825019 h 3355086"/>
                <a:gd name="connsiteX6463" fmla="*/ 506158 w 3359086"/>
                <a:gd name="connsiteY6463" fmla="*/ 2818828 h 3355086"/>
                <a:gd name="connsiteX6464" fmla="*/ 512349 w 3359086"/>
                <a:gd name="connsiteY6464" fmla="*/ 2812637 h 3355086"/>
                <a:gd name="connsiteX6465" fmla="*/ 2629757 w 3359086"/>
                <a:gd name="connsiteY6465" fmla="*/ 2812447 h 3355086"/>
                <a:gd name="connsiteX6466" fmla="*/ 2635948 w 3359086"/>
                <a:gd name="connsiteY6466" fmla="*/ 2818638 h 3355086"/>
                <a:gd name="connsiteX6467" fmla="*/ 2629757 w 3359086"/>
                <a:gd name="connsiteY6467" fmla="*/ 2824829 h 3355086"/>
                <a:gd name="connsiteX6468" fmla="*/ 2623566 w 3359086"/>
                <a:gd name="connsiteY6468" fmla="*/ 2818638 h 3355086"/>
                <a:gd name="connsiteX6469" fmla="*/ 2629757 w 3359086"/>
                <a:gd name="connsiteY6469" fmla="*/ 2812447 h 3355086"/>
                <a:gd name="connsiteX6470" fmla="*/ 2791586 w 3359086"/>
                <a:gd name="connsiteY6470" fmla="*/ 2812066 h 3355086"/>
                <a:gd name="connsiteX6471" fmla="*/ 2797778 w 3359086"/>
                <a:gd name="connsiteY6471" fmla="*/ 2818257 h 3355086"/>
                <a:gd name="connsiteX6472" fmla="*/ 2791586 w 3359086"/>
                <a:gd name="connsiteY6472" fmla="*/ 2824448 h 3355086"/>
                <a:gd name="connsiteX6473" fmla="*/ 2785395 w 3359086"/>
                <a:gd name="connsiteY6473" fmla="*/ 2818257 h 3355086"/>
                <a:gd name="connsiteX6474" fmla="*/ 2791586 w 3359086"/>
                <a:gd name="connsiteY6474" fmla="*/ 2812066 h 3355086"/>
                <a:gd name="connsiteX6475" fmla="*/ 2877216 w 3359086"/>
                <a:gd name="connsiteY6475" fmla="*/ 2811209 h 3355086"/>
                <a:gd name="connsiteX6476" fmla="*/ 2883407 w 3359086"/>
                <a:gd name="connsiteY6476" fmla="*/ 2817400 h 3355086"/>
                <a:gd name="connsiteX6477" fmla="*/ 2877216 w 3359086"/>
                <a:gd name="connsiteY6477" fmla="*/ 2823591 h 3355086"/>
                <a:gd name="connsiteX6478" fmla="*/ 2871025 w 3359086"/>
                <a:gd name="connsiteY6478" fmla="*/ 2817400 h 3355086"/>
                <a:gd name="connsiteX6479" fmla="*/ 2877216 w 3359086"/>
                <a:gd name="connsiteY6479" fmla="*/ 2811209 h 3355086"/>
                <a:gd name="connsiteX6480" fmla="*/ 2908173 w 3359086"/>
                <a:gd name="connsiteY6480" fmla="*/ 2811113 h 3355086"/>
                <a:gd name="connsiteX6481" fmla="*/ 2912554 w 3359086"/>
                <a:gd name="connsiteY6481" fmla="*/ 2815494 h 3355086"/>
                <a:gd name="connsiteX6482" fmla="*/ 2908173 w 3359086"/>
                <a:gd name="connsiteY6482" fmla="*/ 2819876 h 3355086"/>
                <a:gd name="connsiteX6483" fmla="*/ 2903791 w 3359086"/>
                <a:gd name="connsiteY6483" fmla="*/ 2815494 h 3355086"/>
                <a:gd name="connsiteX6484" fmla="*/ 2908173 w 3359086"/>
                <a:gd name="connsiteY6484" fmla="*/ 2811113 h 3355086"/>
                <a:gd name="connsiteX6485" fmla="*/ 2417540 w 3359086"/>
                <a:gd name="connsiteY6485" fmla="*/ 2810352 h 3355086"/>
                <a:gd name="connsiteX6486" fmla="*/ 2423732 w 3359086"/>
                <a:gd name="connsiteY6486" fmla="*/ 2816543 h 3355086"/>
                <a:gd name="connsiteX6487" fmla="*/ 2417540 w 3359086"/>
                <a:gd name="connsiteY6487" fmla="*/ 2822734 h 3355086"/>
                <a:gd name="connsiteX6488" fmla="*/ 2411349 w 3359086"/>
                <a:gd name="connsiteY6488" fmla="*/ 2816543 h 3355086"/>
                <a:gd name="connsiteX6489" fmla="*/ 2417540 w 3359086"/>
                <a:gd name="connsiteY6489" fmla="*/ 2810352 h 3355086"/>
                <a:gd name="connsiteX6490" fmla="*/ 2892170 w 3359086"/>
                <a:gd name="connsiteY6490" fmla="*/ 2809209 h 3355086"/>
                <a:gd name="connsiteX6491" fmla="*/ 2898362 w 3359086"/>
                <a:gd name="connsiteY6491" fmla="*/ 2815400 h 3355086"/>
                <a:gd name="connsiteX6492" fmla="*/ 2892170 w 3359086"/>
                <a:gd name="connsiteY6492" fmla="*/ 2821591 h 3355086"/>
                <a:gd name="connsiteX6493" fmla="*/ 2885979 w 3359086"/>
                <a:gd name="connsiteY6493" fmla="*/ 2815400 h 3355086"/>
                <a:gd name="connsiteX6494" fmla="*/ 2892170 w 3359086"/>
                <a:gd name="connsiteY6494" fmla="*/ 2809209 h 3355086"/>
                <a:gd name="connsiteX6495" fmla="*/ 2841116 w 3359086"/>
                <a:gd name="connsiteY6495" fmla="*/ 2807780 h 3355086"/>
                <a:gd name="connsiteX6496" fmla="*/ 2847307 w 3359086"/>
                <a:gd name="connsiteY6496" fmla="*/ 2813971 h 3355086"/>
                <a:gd name="connsiteX6497" fmla="*/ 2845974 w 3359086"/>
                <a:gd name="connsiteY6497" fmla="*/ 2815304 h 3355086"/>
                <a:gd name="connsiteX6498" fmla="*/ 2851213 w 3359086"/>
                <a:gd name="connsiteY6498" fmla="*/ 2820543 h 3355086"/>
                <a:gd name="connsiteX6499" fmla="*/ 2850070 w 3359086"/>
                <a:gd name="connsiteY6499" fmla="*/ 2821686 h 3355086"/>
                <a:gd name="connsiteX6500" fmla="*/ 2855404 w 3359086"/>
                <a:gd name="connsiteY6500" fmla="*/ 2827020 h 3355086"/>
                <a:gd name="connsiteX6501" fmla="*/ 2849213 w 3359086"/>
                <a:gd name="connsiteY6501" fmla="*/ 2833211 h 3355086"/>
                <a:gd name="connsiteX6502" fmla="*/ 2843022 w 3359086"/>
                <a:gd name="connsiteY6502" fmla="*/ 2827020 h 3355086"/>
                <a:gd name="connsiteX6503" fmla="*/ 2844165 w 3359086"/>
                <a:gd name="connsiteY6503" fmla="*/ 2825878 h 3355086"/>
                <a:gd name="connsiteX6504" fmla="*/ 2838831 w 3359086"/>
                <a:gd name="connsiteY6504" fmla="*/ 2820543 h 3355086"/>
                <a:gd name="connsiteX6505" fmla="*/ 2840164 w 3359086"/>
                <a:gd name="connsiteY6505" fmla="*/ 2819211 h 3355086"/>
                <a:gd name="connsiteX6506" fmla="*/ 2834925 w 3359086"/>
                <a:gd name="connsiteY6506" fmla="*/ 2813971 h 3355086"/>
                <a:gd name="connsiteX6507" fmla="*/ 2841116 w 3359086"/>
                <a:gd name="connsiteY6507" fmla="*/ 2807780 h 3355086"/>
                <a:gd name="connsiteX6508" fmla="*/ 459009 w 3359086"/>
                <a:gd name="connsiteY6508" fmla="*/ 2806446 h 3355086"/>
                <a:gd name="connsiteX6509" fmla="*/ 465200 w 3359086"/>
                <a:gd name="connsiteY6509" fmla="*/ 2812637 h 3355086"/>
                <a:gd name="connsiteX6510" fmla="*/ 459009 w 3359086"/>
                <a:gd name="connsiteY6510" fmla="*/ 2818828 h 3355086"/>
                <a:gd name="connsiteX6511" fmla="*/ 452818 w 3359086"/>
                <a:gd name="connsiteY6511" fmla="*/ 2812637 h 3355086"/>
                <a:gd name="connsiteX6512" fmla="*/ 459009 w 3359086"/>
                <a:gd name="connsiteY6512" fmla="*/ 2806446 h 3355086"/>
                <a:gd name="connsiteX6513" fmla="*/ 2815684 w 3359086"/>
                <a:gd name="connsiteY6513" fmla="*/ 2806065 h 3355086"/>
                <a:gd name="connsiteX6514" fmla="*/ 2821876 w 3359086"/>
                <a:gd name="connsiteY6514" fmla="*/ 2812256 h 3355086"/>
                <a:gd name="connsiteX6515" fmla="*/ 2815684 w 3359086"/>
                <a:gd name="connsiteY6515" fmla="*/ 2818448 h 3355086"/>
                <a:gd name="connsiteX6516" fmla="*/ 2809493 w 3359086"/>
                <a:gd name="connsiteY6516" fmla="*/ 2812256 h 3355086"/>
                <a:gd name="connsiteX6517" fmla="*/ 2815684 w 3359086"/>
                <a:gd name="connsiteY6517" fmla="*/ 2806065 h 3355086"/>
                <a:gd name="connsiteX6518" fmla="*/ 585692 w 3359086"/>
                <a:gd name="connsiteY6518" fmla="*/ 2805875 h 3355086"/>
                <a:gd name="connsiteX6519" fmla="*/ 591883 w 3359086"/>
                <a:gd name="connsiteY6519" fmla="*/ 2812066 h 3355086"/>
                <a:gd name="connsiteX6520" fmla="*/ 585692 w 3359086"/>
                <a:gd name="connsiteY6520" fmla="*/ 2818257 h 3355086"/>
                <a:gd name="connsiteX6521" fmla="*/ 579501 w 3359086"/>
                <a:gd name="connsiteY6521" fmla="*/ 2812066 h 3355086"/>
                <a:gd name="connsiteX6522" fmla="*/ 585692 w 3359086"/>
                <a:gd name="connsiteY6522" fmla="*/ 2805875 h 3355086"/>
                <a:gd name="connsiteX6523" fmla="*/ 445103 w 3359086"/>
                <a:gd name="connsiteY6523" fmla="*/ 2805779 h 3355086"/>
                <a:gd name="connsiteX6524" fmla="*/ 448627 w 3359086"/>
                <a:gd name="connsiteY6524" fmla="*/ 2809303 h 3355086"/>
                <a:gd name="connsiteX6525" fmla="*/ 445103 w 3359086"/>
                <a:gd name="connsiteY6525" fmla="*/ 2812827 h 3355086"/>
                <a:gd name="connsiteX6526" fmla="*/ 441579 w 3359086"/>
                <a:gd name="connsiteY6526" fmla="*/ 2809303 h 3355086"/>
                <a:gd name="connsiteX6527" fmla="*/ 445103 w 3359086"/>
                <a:gd name="connsiteY6527" fmla="*/ 2805779 h 3355086"/>
                <a:gd name="connsiteX6528" fmla="*/ 2233136 w 3359086"/>
                <a:gd name="connsiteY6528" fmla="*/ 2805303 h 3355086"/>
                <a:gd name="connsiteX6529" fmla="*/ 2239328 w 3359086"/>
                <a:gd name="connsiteY6529" fmla="*/ 2811494 h 3355086"/>
                <a:gd name="connsiteX6530" fmla="*/ 2233136 w 3359086"/>
                <a:gd name="connsiteY6530" fmla="*/ 2817685 h 3355086"/>
                <a:gd name="connsiteX6531" fmla="*/ 2226945 w 3359086"/>
                <a:gd name="connsiteY6531" fmla="*/ 2811494 h 3355086"/>
                <a:gd name="connsiteX6532" fmla="*/ 2233136 w 3359086"/>
                <a:gd name="connsiteY6532" fmla="*/ 2805303 h 3355086"/>
                <a:gd name="connsiteX6533" fmla="*/ 626840 w 3359086"/>
                <a:gd name="connsiteY6533" fmla="*/ 2804827 h 3355086"/>
                <a:gd name="connsiteX6534" fmla="*/ 633031 w 3359086"/>
                <a:gd name="connsiteY6534" fmla="*/ 2811018 h 3355086"/>
                <a:gd name="connsiteX6535" fmla="*/ 626840 w 3359086"/>
                <a:gd name="connsiteY6535" fmla="*/ 2817210 h 3355086"/>
                <a:gd name="connsiteX6536" fmla="*/ 620649 w 3359086"/>
                <a:gd name="connsiteY6536" fmla="*/ 2811018 h 3355086"/>
                <a:gd name="connsiteX6537" fmla="*/ 626840 w 3359086"/>
                <a:gd name="connsiteY6537" fmla="*/ 2804827 h 3355086"/>
                <a:gd name="connsiteX6538" fmla="*/ 494442 w 3359086"/>
                <a:gd name="connsiteY6538" fmla="*/ 2804732 h 3355086"/>
                <a:gd name="connsiteX6539" fmla="*/ 500634 w 3359086"/>
                <a:gd name="connsiteY6539" fmla="*/ 2810923 h 3355086"/>
                <a:gd name="connsiteX6540" fmla="*/ 494775 w 3359086"/>
                <a:gd name="connsiteY6540" fmla="*/ 2816781 h 3355086"/>
                <a:gd name="connsiteX6541" fmla="*/ 496156 w 3359086"/>
                <a:gd name="connsiteY6541" fmla="*/ 2818162 h 3355086"/>
                <a:gd name="connsiteX6542" fmla="*/ 491061 w 3359086"/>
                <a:gd name="connsiteY6542" fmla="*/ 2823258 h 3355086"/>
                <a:gd name="connsiteX6543" fmla="*/ 492251 w 3359086"/>
                <a:gd name="connsiteY6543" fmla="*/ 2824448 h 3355086"/>
                <a:gd name="connsiteX6544" fmla="*/ 486108 w 3359086"/>
                <a:gd name="connsiteY6544" fmla="*/ 2830592 h 3355086"/>
                <a:gd name="connsiteX6545" fmla="*/ 487108 w 3359086"/>
                <a:gd name="connsiteY6545" fmla="*/ 2831592 h 3355086"/>
                <a:gd name="connsiteX6546" fmla="*/ 480917 w 3359086"/>
                <a:gd name="connsiteY6546" fmla="*/ 2837784 h 3355086"/>
                <a:gd name="connsiteX6547" fmla="*/ 474726 w 3359086"/>
                <a:gd name="connsiteY6547" fmla="*/ 2831592 h 3355086"/>
                <a:gd name="connsiteX6548" fmla="*/ 480869 w 3359086"/>
                <a:gd name="connsiteY6548" fmla="*/ 2825449 h 3355086"/>
                <a:gd name="connsiteX6549" fmla="*/ 479869 w 3359086"/>
                <a:gd name="connsiteY6549" fmla="*/ 2824448 h 3355086"/>
                <a:gd name="connsiteX6550" fmla="*/ 484964 w 3359086"/>
                <a:gd name="connsiteY6550" fmla="*/ 2819353 h 3355086"/>
                <a:gd name="connsiteX6551" fmla="*/ 483774 w 3359086"/>
                <a:gd name="connsiteY6551" fmla="*/ 2818162 h 3355086"/>
                <a:gd name="connsiteX6552" fmla="*/ 489632 w 3359086"/>
                <a:gd name="connsiteY6552" fmla="*/ 2812304 h 3355086"/>
                <a:gd name="connsiteX6553" fmla="*/ 488251 w 3359086"/>
                <a:gd name="connsiteY6553" fmla="*/ 2810923 h 3355086"/>
                <a:gd name="connsiteX6554" fmla="*/ 494442 w 3359086"/>
                <a:gd name="connsiteY6554" fmla="*/ 2804732 h 3355086"/>
                <a:gd name="connsiteX6555" fmla="*/ 551973 w 3359086"/>
                <a:gd name="connsiteY6555" fmla="*/ 2803874 h 3355086"/>
                <a:gd name="connsiteX6556" fmla="*/ 558164 w 3359086"/>
                <a:gd name="connsiteY6556" fmla="*/ 2810065 h 3355086"/>
                <a:gd name="connsiteX6557" fmla="*/ 551973 w 3359086"/>
                <a:gd name="connsiteY6557" fmla="*/ 2816257 h 3355086"/>
                <a:gd name="connsiteX6558" fmla="*/ 545782 w 3359086"/>
                <a:gd name="connsiteY6558" fmla="*/ 2810065 h 3355086"/>
                <a:gd name="connsiteX6559" fmla="*/ 551973 w 3359086"/>
                <a:gd name="connsiteY6559" fmla="*/ 2803874 h 3355086"/>
                <a:gd name="connsiteX6560" fmla="*/ 2566415 w 3359086"/>
                <a:gd name="connsiteY6560" fmla="*/ 2802446 h 3355086"/>
                <a:gd name="connsiteX6561" fmla="*/ 2572606 w 3359086"/>
                <a:gd name="connsiteY6561" fmla="*/ 2808637 h 3355086"/>
                <a:gd name="connsiteX6562" fmla="*/ 2566415 w 3359086"/>
                <a:gd name="connsiteY6562" fmla="*/ 2814829 h 3355086"/>
                <a:gd name="connsiteX6563" fmla="*/ 2560224 w 3359086"/>
                <a:gd name="connsiteY6563" fmla="*/ 2808637 h 3355086"/>
                <a:gd name="connsiteX6564" fmla="*/ 2566415 w 3359086"/>
                <a:gd name="connsiteY6564" fmla="*/ 2802446 h 3355086"/>
                <a:gd name="connsiteX6565" fmla="*/ 1694782 w 3359086"/>
                <a:gd name="connsiteY6565" fmla="*/ 2802351 h 3355086"/>
                <a:gd name="connsiteX6566" fmla="*/ 1700974 w 3359086"/>
                <a:gd name="connsiteY6566" fmla="*/ 2808542 h 3355086"/>
                <a:gd name="connsiteX6567" fmla="*/ 1694782 w 3359086"/>
                <a:gd name="connsiteY6567" fmla="*/ 2814733 h 3355086"/>
                <a:gd name="connsiteX6568" fmla="*/ 1688591 w 3359086"/>
                <a:gd name="connsiteY6568" fmla="*/ 2808542 h 3355086"/>
                <a:gd name="connsiteX6569" fmla="*/ 1694782 w 3359086"/>
                <a:gd name="connsiteY6569" fmla="*/ 2802351 h 3355086"/>
                <a:gd name="connsiteX6570" fmla="*/ 1587531 w 3359086"/>
                <a:gd name="connsiteY6570" fmla="*/ 2801398 h 3355086"/>
                <a:gd name="connsiteX6571" fmla="*/ 1593723 w 3359086"/>
                <a:gd name="connsiteY6571" fmla="*/ 2807589 h 3355086"/>
                <a:gd name="connsiteX6572" fmla="*/ 1587531 w 3359086"/>
                <a:gd name="connsiteY6572" fmla="*/ 2813780 h 3355086"/>
                <a:gd name="connsiteX6573" fmla="*/ 1581340 w 3359086"/>
                <a:gd name="connsiteY6573" fmla="*/ 2807589 h 3355086"/>
                <a:gd name="connsiteX6574" fmla="*/ 1587531 w 3359086"/>
                <a:gd name="connsiteY6574" fmla="*/ 2801398 h 3355086"/>
                <a:gd name="connsiteX6575" fmla="*/ 2929033 w 3359086"/>
                <a:gd name="connsiteY6575" fmla="*/ 2800636 h 3355086"/>
                <a:gd name="connsiteX6576" fmla="*/ 2929223 w 3359086"/>
                <a:gd name="connsiteY6576" fmla="*/ 2800827 h 3355086"/>
                <a:gd name="connsiteX6577" fmla="*/ 2929033 w 3359086"/>
                <a:gd name="connsiteY6577" fmla="*/ 2801017 h 3355086"/>
                <a:gd name="connsiteX6578" fmla="*/ 2928842 w 3359086"/>
                <a:gd name="connsiteY6578" fmla="*/ 2800827 h 3355086"/>
                <a:gd name="connsiteX6579" fmla="*/ 2929033 w 3359086"/>
                <a:gd name="connsiteY6579" fmla="*/ 2800636 h 3355086"/>
                <a:gd name="connsiteX6580" fmla="*/ 676751 w 3359086"/>
                <a:gd name="connsiteY6580" fmla="*/ 2800064 h 3355086"/>
                <a:gd name="connsiteX6581" fmla="*/ 682942 w 3359086"/>
                <a:gd name="connsiteY6581" fmla="*/ 2806255 h 3355086"/>
                <a:gd name="connsiteX6582" fmla="*/ 676751 w 3359086"/>
                <a:gd name="connsiteY6582" fmla="*/ 2812447 h 3355086"/>
                <a:gd name="connsiteX6583" fmla="*/ 670560 w 3359086"/>
                <a:gd name="connsiteY6583" fmla="*/ 2806255 h 3355086"/>
                <a:gd name="connsiteX6584" fmla="*/ 676751 w 3359086"/>
                <a:gd name="connsiteY6584" fmla="*/ 2800064 h 3355086"/>
                <a:gd name="connsiteX6585" fmla="*/ 524446 w 3359086"/>
                <a:gd name="connsiteY6585" fmla="*/ 2799779 h 3355086"/>
                <a:gd name="connsiteX6586" fmla="*/ 530637 w 3359086"/>
                <a:gd name="connsiteY6586" fmla="*/ 2805970 h 3355086"/>
                <a:gd name="connsiteX6587" fmla="*/ 524446 w 3359086"/>
                <a:gd name="connsiteY6587" fmla="*/ 2812162 h 3355086"/>
                <a:gd name="connsiteX6588" fmla="*/ 518255 w 3359086"/>
                <a:gd name="connsiteY6588" fmla="*/ 2805970 h 3355086"/>
                <a:gd name="connsiteX6589" fmla="*/ 524446 w 3359086"/>
                <a:gd name="connsiteY6589" fmla="*/ 2799779 h 3355086"/>
                <a:gd name="connsiteX6590" fmla="*/ 879919 w 3359086"/>
                <a:gd name="connsiteY6590" fmla="*/ 2799493 h 3355086"/>
                <a:gd name="connsiteX6591" fmla="*/ 886110 w 3359086"/>
                <a:gd name="connsiteY6591" fmla="*/ 2805684 h 3355086"/>
                <a:gd name="connsiteX6592" fmla="*/ 879919 w 3359086"/>
                <a:gd name="connsiteY6592" fmla="*/ 2811876 h 3355086"/>
                <a:gd name="connsiteX6593" fmla="*/ 873728 w 3359086"/>
                <a:gd name="connsiteY6593" fmla="*/ 2805684 h 3355086"/>
                <a:gd name="connsiteX6594" fmla="*/ 879919 w 3359086"/>
                <a:gd name="connsiteY6594" fmla="*/ 2799493 h 3355086"/>
                <a:gd name="connsiteX6595" fmla="*/ 1801748 w 3359086"/>
                <a:gd name="connsiteY6595" fmla="*/ 2799303 h 3355086"/>
                <a:gd name="connsiteX6596" fmla="*/ 1807940 w 3359086"/>
                <a:gd name="connsiteY6596" fmla="*/ 2805494 h 3355086"/>
                <a:gd name="connsiteX6597" fmla="*/ 1801748 w 3359086"/>
                <a:gd name="connsiteY6597" fmla="*/ 2811685 h 3355086"/>
                <a:gd name="connsiteX6598" fmla="*/ 1795557 w 3359086"/>
                <a:gd name="connsiteY6598" fmla="*/ 2805494 h 3355086"/>
                <a:gd name="connsiteX6599" fmla="*/ 1801748 w 3359086"/>
                <a:gd name="connsiteY6599" fmla="*/ 2799303 h 3355086"/>
                <a:gd name="connsiteX6600" fmla="*/ 2835592 w 3359086"/>
                <a:gd name="connsiteY6600" fmla="*/ 2799017 h 3355086"/>
                <a:gd name="connsiteX6601" fmla="*/ 2841784 w 3359086"/>
                <a:gd name="connsiteY6601" fmla="*/ 2805208 h 3355086"/>
                <a:gd name="connsiteX6602" fmla="*/ 2835592 w 3359086"/>
                <a:gd name="connsiteY6602" fmla="*/ 2811399 h 3355086"/>
                <a:gd name="connsiteX6603" fmla="*/ 2829401 w 3359086"/>
                <a:gd name="connsiteY6603" fmla="*/ 2805208 h 3355086"/>
                <a:gd name="connsiteX6604" fmla="*/ 2835592 w 3359086"/>
                <a:gd name="connsiteY6604" fmla="*/ 2799017 h 3355086"/>
                <a:gd name="connsiteX6605" fmla="*/ 479202 w 3359086"/>
                <a:gd name="connsiteY6605" fmla="*/ 2796731 h 3355086"/>
                <a:gd name="connsiteX6606" fmla="*/ 485393 w 3359086"/>
                <a:gd name="connsiteY6606" fmla="*/ 2802922 h 3355086"/>
                <a:gd name="connsiteX6607" fmla="*/ 480155 w 3359086"/>
                <a:gd name="connsiteY6607" fmla="*/ 2808161 h 3355086"/>
                <a:gd name="connsiteX6608" fmla="*/ 482345 w 3359086"/>
                <a:gd name="connsiteY6608" fmla="*/ 2810351 h 3355086"/>
                <a:gd name="connsiteX6609" fmla="*/ 476820 w 3359086"/>
                <a:gd name="connsiteY6609" fmla="*/ 2815876 h 3355086"/>
                <a:gd name="connsiteX6610" fmla="*/ 478725 w 3359086"/>
                <a:gd name="connsiteY6610" fmla="*/ 2817781 h 3355086"/>
                <a:gd name="connsiteX6611" fmla="*/ 472534 w 3359086"/>
                <a:gd name="connsiteY6611" fmla="*/ 2823972 h 3355086"/>
                <a:gd name="connsiteX6612" fmla="*/ 466343 w 3359086"/>
                <a:gd name="connsiteY6612" fmla="*/ 2817781 h 3355086"/>
                <a:gd name="connsiteX6613" fmla="*/ 471868 w 3359086"/>
                <a:gd name="connsiteY6613" fmla="*/ 2812256 h 3355086"/>
                <a:gd name="connsiteX6614" fmla="*/ 469963 w 3359086"/>
                <a:gd name="connsiteY6614" fmla="*/ 2810351 h 3355086"/>
                <a:gd name="connsiteX6615" fmla="*/ 475201 w 3359086"/>
                <a:gd name="connsiteY6615" fmla="*/ 2805113 h 3355086"/>
                <a:gd name="connsiteX6616" fmla="*/ 473011 w 3359086"/>
                <a:gd name="connsiteY6616" fmla="*/ 2802922 h 3355086"/>
                <a:gd name="connsiteX6617" fmla="*/ 479202 w 3359086"/>
                <a:gd name="connsiteY6617" fmla="*/ 2796731 h 3355086"/>
                <a:gd name="connsiteX6618" fmla="*/ 2884550 w 3359086"/>
                <a:gd name="connsiteY6618" fmla="*/ 2796540 h 3355086"/>
                <a:gd name="connsiteX6619" fmla="*/ 2890741 w 3359086"/>
                <a:gd name="connsiteY6619" fmla="*/ 2802731 h 3355086"/>
                <a:gd name="connsiteX6620" fmla="*/ 2884550 w 3359086"/>
                <a:gd name="connsiteY6620" fmla="*/ 2808923 h 3355086"/>
                <a:gd name="connsiteX6621" fmla="*/ 2878359 w 3359086"/>
                <a:gd name="connsiteY6621" fmla="*/ 2802731 h 3355086"/>
                <a:gd name="connsiteX6622" fmla="*/ 2884550 w 3359086"/>
                <a:gd name="connsiteY6622" fmla="*/ 2796540 h 3355086"/>
                <a:gd name="connsiteX6623" fmla="*/ 1481137 w 3359086"/>
                <a:gd name="connsiteY6623" fmla="*/ 2796540 h 3355086"/>
                <a:gd name="connsiteX6624" fmla="*/ 1487328 w 3359086"/>
                <a:gd name="connsiteY6624" fmla="*/ 2802731 h 3355086"/>
                <a:gd name="connsiteX6625" fmla="*/ 1481137 w 3359086"/>
                <a:gd name="connsiteY6625" fmla="*/ 2808923 h 3355086"/>
                <a:gd name="connsiteX6626" fmla="*/ 1474946 w 3359086"/>
                <a:gd name="connsiteY6626" fmla="*/ 2802731 h 3355086"/>
                <a:gd name="connsiteX6627" fmla="*/ 1481137 w 3359086"/>
                <a:gd name="connsiteY6627" fmla="*/ 2796540 h 3355086"/>
                <a:gd name="connsiteX6628" fmla="*/ 1058227 w 3359086"/>
                <a:gd name="connsiteY6628" fmla="*/ 2796254 h 3355086"/>
                <a:gd name="connsiteX6629" fmla="*/ 1064419 w 3359086"/>
                <a:gd name="connsiteY6629" fmla="*/ 2802445 h 3355086"/>
                <a:gd name="connsiteX6630" fmla="*/ 1058227 w 3359086"/>
                <a:gd name="connsiteY6630" fmla="*/ 2808636 h 3355086"/>
                <a:gd name="connsiteX6631" fmla="*/ 1052036 w 3359086"/>
                <a:gd name="connsiteY6631" fmla="*/ 2802445 h 3355086"/>
                <a:gd name="connsiteX6632" fmla="*/ 1058227 w 3359086"/>
                <a:gd name="connsiteY6632" fmla="*/ 2796254 h 3355086"/>
                <a:gd name="connsiteX6633" fmla="*/ 2898266 w 3359086"/>
                <a:gd name="connsiteY6633" fmla="*/ 2793969 h 3355086"/>
                <a:gd name="connsiteX6634" fmla="*/ 2904457 w 3359086"/>
                <a:gd name="connsiteY6634" fmla="*/ 2800160 h 3355086"/>
                <a:gd name="connsiteX6635" fmla="*/ 2898266 w 3359086"/>
                <a:gd name="connsiteY6635" fmla="*/ 2806351 h 3355086"/>
                <a:gd name="connsiteX6636" fmla="*/ 2892075 w 3359086"/>
                <a:gd name="connsiteY6636" fmla="*/ 2800160 h 3355086"/>
                <a:gd name="connsiteX6637" fmla="*/ 2898266 w 3359086"/>
                <a:gd name="connsiteY6637" fmla="*/ 2793969 h 3355086"/>
                <a:gd name="connsiteX6638" fmla="*/ 501967 w 3359086"/>
                <a:gd name="connsiteY6638" fmla="*/ 2793969 h 3355086"/>
                <a:gd name="connsiteX6639" fmla="*/ 508158 w 3359086"/>
                <a:gd name="connsiteY6639" fmla="*/ 2800160 h 3355086"/>
                <a:gd name="connsiteX6640" fmla="*/ 501967 w 3359086"/>
                <a:gd name="connsiteY6640" fmla="*/ 2806351 h 3355086"/>
                <a:gd name="connsiteX6641" fmla="*/ 495776 w 3359086"/>
                <a:gd name="connsiteY6641" fmla="*/ 2800160 h 3355086"/>
                <a:gd name="connsiteX6642" fmla="*/ 501967 w 3359086"/>
                <a:gd name="connsiteY6642" fmla="*/ 2793969 h 3355086"/>
                <a:gd name="connsiteX6643" fmla="*/ 2913030 w 3359086"/>
                <a:gd name="connsiteY6643" fmla="*/ 2793302 h 3355086"/>
                <a:gd name="connsiteX6644" fmla="*/ 2919222 w 3359086"/>
                <a:gd name="connsiteY6644" fmla="*/ 2799493 h 3355086"/>
                <a:gd name="connsiteX6645" fmla="*/ 2913030 w 3359086"/>
                <a:gd name="connsiteY6645" fmla="*/ 2805684 h 3355086"/>
                <a:gd name="connsiteX6646" fmla="*/ 2906839 w 3359086"/>
                <a:gd name="connsiteY6646" fmla="*/ 2799493 h 3355086"/>
                <a:gd name="connsiteX6647" fmla="*/ 2913030 w 3359086"/>
                <a:gd name="connsiteY6647" fmla="*/ 2793302 h 3355086"/>
                <a:gd name="connsiteX6648" fmla="*/ 1907381 w 3359086"/>
                <a:gd name="connsiteY6648" fmla="*/ 2792349 h 3355086"/>
                <a:gd name="connsiteX6649" fmla="*/ 1913572 w 3359086"/>
                <a:gd name="connsiteY6649" fmla="*/ 2798540 h 3355086"/>
                <a:gd name="connsiteX6650" fmla="*/ 1907381 w 3359086"/>
                <a:gd name="connsiteY6650" fmla="*/ 2804732 h 3355086"/>
                <a:gd name="connsiteX6651" fmla="*/ 1901190 w 3359086"/>
                <a:gd name="connsiteY6651" fmla="*/ 2798540 h 3355086"/>
                <a:gd name="connsiteX6652" fmla="*/ 1907381 w 3359086"/>
                <a:gd name="connsiteY6652" fmla="*/ 2792349 h 3355086"/>
                <a:gd name="connsiteX6653" fmla="*/ 2852165 w 3359086"/>
                <a:gd name="connsiteY6653" fmla="*/ 2791587 h 3355086"/>
                <a:gd name="connsiteX6654" fmla="*/ 2858356 w 3359086"/>
                <a:gd name="connsiteY6654" fmla="*/ 2797778 h 3355086"/>
                <a:gd name="connsiteX6655" fmla="*/ 2855880 w 3359086"/>
                <a:gd name="connsiteY6655" fmla="*/ 2800255 h 3355086"/>
                <a:gd name="connsiteX6656" fmla="*/ 2861595 w 3359086"/>
                <a:gd name="connsiteY6656" fmla="*/ 2805970 h 3355086"/>
                <a:gd name="connsiteX6657" fmla="*/ 2859500 w 3359086"/>
                <a:gd name="connsiteY6657" fmla="*/ 2808066 h 3355086"/>
                <a:gd name="connsiteX6658" fmla="*/ 2864643 w 3359086"/>
                <a:gd name="connsiteY6658" fmla="*/ 2813209 h 3355086"/>
                <a:gd name="connsiteX6659" fmla="*/ 2858452 w 3359086"/>
                <a:gd name="connsiteY6659" fmla="*/ 2819400 h 3355086"/>
                <a:gd name="connsiteX6660" fmla="*/ 2852261 w 3359086"/>
                <a:gd name="connsiteY6660" fmla="*/ 2813209 h 3355086"/>
                <a:gd name="connsiteX6661" fmla="*/ 2854356 w 3359086"/>
                <a:gd name="connsiteY6661" fmla="*/ 2811114 h 3355086"/>
                <a:gd name="connsiteX6662" fmla="*/ 2849213 w 3359086"/>
                <a:gd name="connsiteY6662" fmla="*/ 2805970 h 3355086"/>
                <a:gd name="connsiteX6663" fmla="*/ 2851689 w 3359086"/>
                <a:gd name="connsiteY6663" fmla="*/ 2803494 h 3355086"/>
                <a:gd name="connsiteX6664" fmla="*/ 2845974 w 3359086"/>
                <a:gd name="connsiteY6664" fmla="*/ 2797778 h 3355086"/>
                <a:gd name="connsiteX6665" fmla="*/ 2852165 w 3359086"/>
                <a:gd name="connsiteY6665" fmla="*/ 2791587 h 3355086"/>
                <a:gd name="connsiteX6666" fmla="*/ 2769012 w 3359086"/>
                <a:gd name="connsiteY6666" fmla="*/ 2791397 h 3355086"/>
                <a:gd name="connsiteX6667" fmla="*/ 2775203 w 3359086"/>
                <a:gd name="connsiteY6667" fmla="*/ 2797588 h 3355086"/>
                <a:gd name="connsiteX6668" fmla="*/ 2769012 w 3359086"/>
                <a:gd name="connsiteY6668" fmla="*/ 2803780 h 3355086"/>
                <a:gd name="connsiteX6669" fmla="*/ 2762821 w 3359086"/>
                <a:gd name="connsiteY6669" fmla="*/ 2797588 h 3355086"/>
                <a:gd name="connsiteX6670" fmla="*/ 2769012 w 3359086"/>
                <a:gd name="connsiteY6670" fmla="*/ 2791397 h 3355086"/>
                <a:gd name="connsiteX6671" fmla="*/ 736853 w 3359086"/>
                <a:gd name="connsiteY6671" fmla="*/ 2790444 h 3355086"/>
                <a:gd name="connsiteX6672" fmla="*/ 743045 w 3359086"/>
                <a:gd name="connsiteY6672" fmla="*/ 2796635 h 3355086"/>
                <a:gd name="connsiteX6673" fmla="*/ 736853 w 3359086"/>
                <a:gd name="connsiteY6673" fmla="*/ 2802826 h 3355086"/>
                <a:gd name="connsiteX6674" fmla="*/ 730662 w 3359086"/>
                <a:gd name="connsiteY6674" fmla="*/ 2796635 h 3355086"/>
                <a:gd name="connsiteX6675" fmla="*/ 736853 w 3359086"/>
                <a:gd name="connsiteY6675" fmla="*/ 2790444 h 3355086"/>
                <a:gd name="connsiteX6676" fmla="*/ 2730722 w 3359086"/>
                <a:gd name="connsiteY6676" fmla="*/ 2790349 h 3355086"/>
                <a:gd name="connsiteX6677" fmla="*/ 2736913 w 3359086"/>
                <a:gd name="connsiteY6677" fmla="*/ 2796540 h 3355086"/>
                <a:gd name="connsiteX6678" fmla="*/ 2730722 w 3359086"/>
                <a:gd name="connsiteY6678" fmla="*/ 2802731 h 3355086"/>
                <a:gd name="connsiteX6679" fmla="*/ 2724531 w 3359086"/>
                <a:gd name="connsiteY6679" fmla="*/ 2796540 h 3355086"/>
                <a:gd name="connsiteX6680" fmla="*/ 2730722 w 3359086"/>
                <a:gd name="connsiteY6680" fmla="*/ 2790349 h 3355086"/>
                <a:gd name="connsiteX6681" fmla="*/ 2800254 w 3359086"/>
                <a:gd name="connsiteY6681" fmla="*/ 2789492 h 3355086"/>
                <a:gd name="connsiteX6682" fmla="*/ 2806446 w 3359086"/>
                <a:gd name="connsiteY6682" fmla="*/ 2795683 h 3355086"/>
                <a:gd name="connsiteX6683" fmla="*/ 2800254 w 3359086"/>
                <a:gd name="connsiteY6683" fmla="*/ 2801874 h 3355086"/>
                <a:gd name="connsiteX6684" fmla="*/ 2794063 w 3359086"/>
                <a:gd name="connsiteY6684" fmla="*/ 2795683 h 3355086"/>
                <a:gd name="connsiteX6685" fmla="*/ 2800254 w 3359086"/>
                <a:gd name="connsiteY6685" fmla="*/ 2789492 h 3355086"/>
                <a:gd name="connsiteX6686" fmla="*/ 437863 w 3359086"/>
                <a:gd name="connsiteY6686" fmla="*/ 2788063 h 3355086"/>
                <a:gd name="connsiteX6687" fmla="*/ 444054 w 3359086"/>
                <a:gd name="connsiteY6687" fmla="*/ 2794254 h 3355086"/>
                <a:gd name="connsiteX6688" fmla="*/ 437863 w 3359086"/>
                <a:gd name="connsiteY6688" fmla="*/ 2800445 h 3355086"/>
                <a:gd name="connsiteX6689" fmla="*/ 431672 w 3359086"/>
                <a:gd name="connsiteY6689" fmla="*/ 2794254 h 3355086"/>
                <a:gd name="connsiteX6690" fmla="*/ 437863 w 3359086"/>
                <a:gd name="connsiteY6690" fmla="*/ 2788063 h 3355086"/>
                <a:gd name="connsiteX6691" fmla="*/ 1376552 w 3359086"/>
                <a:gd name="connsiteY6691" fmla="*/ 2787872 h 3355086"/>
                <a:gd name="connsiteX6692" fmla="*/ 1382744 w 3359086"/>
                <a:gd name="connsiteY6692" fmla="*/ 2794063 h 3355086"/>
                <a:gd name="connsiteX6693" fmla="*/ 1376552 w 3359086"/>
                <a:gd name="connsiteY6693" fmla="*/ 2800255 h 3355086"/>
                <a:gd name="connsiteX6694" fmla="*/ 1370361 w 3359086"/>
                <a:gd name="connsiteY6694" fmla="*/ 2794063 h 3355086"/>
                <a:gd name="connsiteX6695" fmla="*/ 1376552 w 3359086"/>
                <a:gd name="connsiteY6695" fmla="*/ 2787872 h 3355086"/>
                <a:gd name="connsiteX6696" fmla="*/ 483393 w 3359086"/>
                <a:gd name="connsiteY6696" fmla="*/ 2787396 h 3355086"/>
                <a:gd name="connsiteX6697" fmla="*/ 489585 w 3359086"/>
                <a:gd name="connsiteY6697" fmla="*/ 2793587 h 3355086"/>
                <a:gd name="connsiteX6698" fmla="*/ 483393 w 3359086"/>
                <a:gd name="connsiteY6698" fmla="*/ 2799778 h 3355086"/>
                <a:gd name="connsiteX6699" fmla="*/ 477202 w 3359086"/>
                <a:gd name="connsiteY6699" fmla="*/ 2793587 h 3355086"/>
                <a:gd name="connsiteX6700" fmla="*/ 483393 w 3359086"/>
                <a:gd name="connsiteY6700" fmla="*/ 2787396 h 3355086"/>
                <a:gd name="connsiteX6701" fmla="*/ 2490882 w 3359086"/>
                <a:gd name="connsiteY6701" fmla="*/ 2786539 h 3355086"/>
                <a:gd name="connsiteX6702" fmla="*/ 2497074 w 3359086"/>
                <a:gd name="connsiteY6702" fmla="*/ 2792730 h 3355086"/>
                <a:gd name="connsiteX6703" fmla="*/ 2490882 w 3359086"/>
                <a:gd name="connsiteY6703" fmla="*/ 2798921 h 3355086"/>
                <a:gd name="connsiteX6704" fmla="*/ 2484691 w 3359086"/>
                <a:gd name="connsiteY6704" fmla="*/ 2792730 h 3355086"/>
                <a:gd name="connsiteX6705" fmla="*/ 2490882 w 3359086"/>
                <a:gd name="connsiteY6705" fmla="*/ 2786539 h 3355086"/>
                <a:gd name="connsiteX6706" fmla="*/ 2683954 w 3359086"/>
                <a:gd name="connsiteY6706" fmla="*/ 2785682 h 3355086"/>
                <a:gd name="connsiteX6707" fmla="*/ 2690145 w 3359086"/>
                <a:gd name="connsiteY6707" fmla="*/ 2791873 h 3355086"/>
                <a:gd name="connsiteX6708" fmla="*/ 2683954 w 3359086"/>
                <a:gd name="connsiteY6708" fmla="*/ 2798064 h 3355086"/>
                <a:gd name="connsiteX6709" fmla="*/ 2677763 w 3359086"/>
                <a:gd name="connsiteY6709" fmla="*/ 2791873 h 3355086"/>
                <a:gd name="connsiteX6710" fmla="*/ 2683954 w 3359086"/>
                <a:gd name="connsiteY6710" fmla="*/ 2785682 h 3355086"/>
                <a:gd name="connsiteX6711" fmla="*/ 2825686 w 3359086"/>
                <a:gd name="connsiteY6711" fmla="*/ 2785587 h 3355086"/>
                <a:gd name="connsiteX6712" fmla="*/ 2831877 w 3359086"/>
                <a:gd name="connsiteY6712" fmla="*/ 2791778 h 3355086"/>
                <a:gd name="connsiteX6713" fmla="*/ 2825686 w 3359086"/>
                <a:gd name="connsiteY6713" fmla="*/ 2797969 h 3355086"/>
                <a:gd name="connsiteX6714" fmla="*/ 2819495 w 3359086"/>
                <a:gd name="connsiteY6714" fmla="*/ 2791778 h 3355086"/>
                <a:gd name="connsiteX6715" fmla="*/ 2825686 w 3359086"/>
                <a:gd name="connsiteY6715" fmla="*/ 2785587 h 3355086"/>
                <a:gd name="connsiteX6716" fmla="*/ 2319718 w 3359086"/>
                <a:gd name="connsiteY6716" fmla="*/ 2785301 h 3355086"/>
                <a:gd name="connsiteX6717" fmla="*/ 2325910 w 3359086"/>
                <a:gd name="connsiteY6717" fmla="*/ 2791492 h 3355086"/>
                <a:gd name="connsiteX6718" fmla="*/ 2319718 w 3359086"/>
                <a:gd name="connsiteY6718" fmla="*/ 2797683 h 3355086"/>
                <a:gd name="connsiteX6719" fmla="*/ 2313527 w 3359086"/>
                <a:gd name="connsiteY6719" fmla="*/ 2791492 h 3355086"/>
                <a:gd name="connsiteX6720" fmla="*/ 2319718 w 3359086"/>
                <a:gd name="connsiteY6720" fmla="*/ 2785301 h 3355086"/>
                <a:gd name="connsiteX6721" fmla="*/ 2866262 w 3359086"/>
                <a:gd name="connsiteY6721" fmla="*/ 2784253 h 3355086"/>
                <a:gd name="connsiteX6722" fmla="*/ 2872454 w 3359086"/>
                <a:gd name="connsiteY6722" fmla="*/ 2790444 h 3355086"/>
                <a:gd name="connsiteX6723" fmla="*/ 2869310 w 3359086"/>
                <a:gd name="connsiteY6723" fmla="*/ 2793588 h 3355086"/>
                <a:gd name="connsiteX6724" fmla="*/ 2874454 w 3359086"/>
                <a:gd name="connsiteY6724" fmla="*/ 2798731 h 3355086"/>
                <a:gd name="connsiteX6725" fmla="*/ 2871835 w 3359086"/>
                <a:gd name="connsiteY6725" fmla="*/ 2801351 h 3355086"/>
                <a:gd name="connsiteX6726" fmla="*/ 2877597 w 3359086"/>
                <a:gd name="connsiteY6726" fmla="*/ 2807113 h 3355086"/>
                <a:gd name="connsiteX6727" fmla="*/ 2871406 w 3359086"/>
                <a:gd name="connsiteY6727" fmla="*/ 2813305 h 3355086"/>
                <a:gd name="connsiteX6728" fmla="*/ 2865215 w 3359086"/>
                <a:gd name="connsiteY6728" fmla="*/ 2807113 h 3355086"/>
                <a:gd name="connsiteX6729" fmla="*/ 2867834 w 3359086"/>
                <a:gd name="connsiteY6729" fmla="*/ 2804494 h 3355086"/>
                <a:gd name="connsiteX6730" fmla="*/ 2862072 w 3359086"/>
                <a:gd name="connsiteY6730" fmla="*/ 2798731 h 3355086"/>
                <a:gd name="connsiteX6731" fmla="*/ 2865215 w 3359086"/>
                <a:gd name="connsiteY6731" fmla="*/ 2795589 h 3355086"/>
                <a:gd name="connsiteX6732" fmla="*/ 2860071 w 3359086"/>
                <a:gd name="connsiteY6732" fmla="*/ 2790444 h 3355086"/>
                <a:gd name="connsiteX6733" fmla="*/ 2866262 w 3359086"/>
                <a:gd name="connsiteY6733" fmla="*/ 2784253 h 3355086"/>
                <a:gd name="connsiteX6734" fmla="*/ 2010441 w 3359086"/>
                <a:gd name="connsiteY6734" fmla="*/ 2781681 h 3355086"/>
                <a:gd name="connsiteX6735" fmla="*/ 2016633 w 3359086"/>
                <a:gd name="connsiteY6735" fmla="*/ 2787872 h 3355086"/>
                <a:gd name="connsiteX6736" fmla="*/ 2010441 w 3359086"/>
                <a:gd name="connsiteY6736" fmla="*/ 2794063 h 3355086"/>
                <a:gd name="connsiteX6737" fmla="*/ 2004250 w 3359086"/>
                <a:gd name="connsiteY6737" fmla="*/ 2787872 h 3355086"/>
                <a:gd name="connsiteX6738" fmla="*/ 2010441 w 3359086"/>
                <a:gd name="connsiteY6738" fmla="*/ 2781681 h 3355086"/>
                <a:gd name="connsiteX6739" fmla="*/ 2892742 w 3359086"/>
                <a:gd name="connsiteY6739" fmla="*/ 2781586 h 3355086"/>
                <a:gd name="connsiteX6740" fmla="*/ 2898934 w 3359086"/>
                <a:gd name="connsiteY6740" fmla="*/ 2787777 h 3355086"/>
                <a:gd name="connsiteX6741" fmla="*/ 2892742 w 3359086"/>
                <a:gd name="connsiteY6741" fmla="*/ 2793969 h 3355086"/>
                <a:gd name="connsiteX6742" fmla="*/ 2886551 w 3359086"/>
                <a:gd name="connsiteY6742" fmla="*/ 2787777 h 3355086"/>
                <a:gd name="connsiteX6743" fmla="*/ 2892742 w 3359086"/>
                <a:gd name="connsiteY6743" fmla="*/ 2781586 h 3355086"/>
                <a:gd name="connsiteX6744" fmla="*/ 467962 w 3359086"/>
                <a:gd name="connsiteY6744" fmla="*/ 2780348 h 3355086"/>
                <a:gd name="connsiteX6745" fmla="*/ 474153 w 3359086"/>
                <a:gd name="connsiteY6745" fmla="*/ 2786539 h 3355086"/>
                <a:gd name="connsiteX6746" fmla="*/ 468582 w 3359086"/>
                <a:gd name="connsiteY6746" fmla="*/ 2792111 h 3355086"/>
                <a:gd name="connsiteX6747" fmla="*/ 471963 w 3359086"/>
                <a:gd name="connsiteY6747" fmla="*/ 2795492 h 3355086"/>
                <a:gd name="connsiteX6748" fmla="*/ 466724 w 3359086"/>
                <a:gd name="connsiteY6748" fmla="*/ 2800732 h 3355086"/>
                <a:gd name="connsiteX6749" fmla="*/ 469486 w 3359086"/>
                <a:gd name="connsiteY6749" fmla="*/ 2803493 h 3355086"/>
                <a:gd name="connsiteX6750" fmla="*/ 463295 w 3359086"/>
                <a:gd name="connsiteY6750" fmla="*/ 2809684 h 3355086"/>
                <a:gd name="connsiteX6751" fmla="*/ 457104 w 3359086"/>
                <a:gd name="connsiteY6751" fmla="*/ 2803493 h 3355086"/>
                <a:gd name="connsiteX6752" fmla="*/ 462343 w 3359086"/>
                <a:gd name="connsiteY6752" fmla="*/ 2798254 h 3355086"/>
                <a:gd name="connsiteX6753" fmla="*/ 459581 w 3359086"/>
                <a:gd name="connsiteY6753" fmla="*/ 2795492 h 3355086"/>
                <a:gd name="connsiteX6754" fmla="*/ 465153 w 3359086"/>
                <a:gd name="connsiteY6754" fmla="*/ 2789921 h 3355086"/>
                <a:gd name="connsiteX6755" fmla="*/ 461771 w 3359086"/>
                <a:gd name="connsiteY6755" fmla="*/ 2786539 h 3355086"/>
                <a:gd name="connsiteX6756" fmla="*/ 467962 w 3359086"/>
                <a:gd name="connsiteY6756" fmla="*/ 2780348 h 3355086"/>
                <a:gd name="connsiteX6757" fmla="*/ 2846450 w 3359086"/>
                <a:gd name="connsiteY6757" fmla="*/ 2780253 h 3355086"/>
                <a:gd name="connsiteX6758" fmla="*/ 2852641 w 3359086"/>
                <a:gd name="connsiteY6758" fmla="*/ 2786444 h 3355086"/>
                <a:gd name="connsiteX6759" fmla="*/ 2846450 w 3359086"/>
                <a:gd name="connsiteY6759" fmla="*/ 2792635 h 3355086"/>
                <a:gd name="connsiteX6760" fmla="*/ 2840259 w 3359086"/>
                <a:gd name="connsiteY6760" fmla="*/ 2786444 h 3355086"/>
                <a:gd name="connsiteX6761" fmla="*/ 2846450 w 3359086"/>
                <a:gd name="connsiteY6761" fmla="*/ 2780253 h 3355086"/>
                <a:gd name="connsiteX6762" fmla="*/ 544353 w 3359086"/>
                <a:gd name="connsiteY6762" fmla="*/ 2778729 h 3355086"/>
                <a:gd name="connsiteX6763" fmla="*/ 550544 w 3359086"/>
                <a:gd name="connsiteY6763" fmla="*/ 2784920 h 3355086"/>
                <a:gd name="connsiteX6764" fmla="*/ 544353 w 3359086"/>
                <a:gd name="connsiteY6764" fmla="*/ 2791111 h 3355086"/>
                <a:gd name="connsiteX6765" fmla="*/ 538162 w 3359086"/>
                <a:gd name="connsiteY6765" fmla="*/ 2784920 h 3355086"/>
                <a:gd name="connsiteX6766" fmla="*/ 544353 w 3359086"/>
                <a:gd name="connsiteY6766" fmla="*/ 2778729 h 3355086"/>
                <a:gd name="connsiteX6767" fmla="*/ 2905410 w 3359086"/>
                <a:gd name="connsiteY6767" fmla="*/ 2778538 h 3355086"/>
                <a:gd name="connsiteX6768" fmla="*/ 2911601 w 3359086"/>
                <a:gd name="connsiteY6768" fmla="*/ 2784729 h 3355086"/>
                <a:gd name="connsiteX6769" fmla="*/ 2905410 w 3359086"/>
                <a:gd name="connsiteY6769" fmla="*/ 2790920 h 3355086"/>
                <a:gd name="connsiteX6770" fmla="*/ 2899219 w 3359086"/>
                <a:gd name="connsiteY6770" fmla="*/ 2784729 h 3355086"/>
                <a:gd name="connsiteX6771" fmla="*/ 2905410 w 3359086"/>
                <a:gd name="connsiteY6771" fmla="*/ 2778538 h 3355086"/>
                <a:gd name="connsiteX6772" fmla="*/ 2933509 w 3359086"/>
                <a:gd name="connsiteY6772" fmla="*/ 2778062 h 3355086"/>
                <a:gd name="connsiteX6773" fmla="*/ 2939509 w 3359086"/>
                <a:gd name="connsiteY6773" fmla="*/ 2784063 h 3355086"/>
                <a:gd name="connsiteX6774" fmla="*/ 2933509 w 3359086"/>
                <a:gd name="connsiteY6774" fmla="*/ 2790064 h 3355086"/>
                <a:gd name="connsiteX6775" fmla="*/ 2927508 w 3359086"/>
                <a:gd name="connsiteY6775" fmla="*/ 2784063 h 3355086"/>
                <a:gd name="connsiteX6776" fmla="*/ 2933509 w 3359086"/>
                <a:gd name="connsiteY6776" fmla="*/ 2778062 h 3355086"/>
                <a:gd name="connsiteX6777" fmla="*/ 580357 w 3359086"/>
                <a:gd name="connsiteY6777" fmla="*/ 2777681 h 3355086"/>
                <a:gd name="connsiteX6778" fmla="*/ 586549 w 3359086"/>
                <a:gd name="connsiteY6778" fmla="*/ 2783872 h 3355086"/>
                <a:gd name="connsiteX6779" fmla="*/ 580357 w 3359086"/>
                <a:gd name="connsiteY6779" fmla="*/ 2790064 h 3355086"/>
                <a:gd name="connsiteX6780" fmla="*/ 574166 w 3359086"/>
                <a:gd name="connsiteY6780" fmla="*/ 2783872 h 3355086"/>
                <a:gd name="connsiteX6781" fmla="*/ 580357 w 3359086"/>
                <a:gd name="connsiteY6781" fmla="*/ 2777681 h 3355086"/>
                <a:gd name="connsiteX6782" fmla="*/ 2918840 w 3359086"/>
                <a:gd name="connsiteY6782" fmla="*/ 2777204 h 3355086"/>
                <a:gd name="connsiteX6783" fmla="*/ 2925031 w 3359086"/>
                <a:gd name="connsiteY6783" fmla="*/ 2783395 h 3355086"/>
                <a:gd name="connsiteX6784" fmla="*/ 2918840 w 3359086"/>
                <a:gd name="connsiteY6784" fmla="*/ 2789586 h 3355086"/>
                <a:gd name="connsiteX6785" fmla="*/ 2912649 w 3359086"/>
                <a:gd name="connsiteY6785" fmla="*/ 2783395 h 3355086"/>
                <a:gd name="connsiteX6786" fmla="*/ 2918840 w 3359086"/>
                <a:gd name="connsiteY6786" fmla="*/ 2777204 h 3355086"/>
                <a:gd name="connsiteX6787" fmla="*/ 515206 w 3359086"/>
                <a:gd name="connsiteY6787" fmla="*/ 2777014 h 3355086"/>
                <a:gd name="connsiteX6788" fmla="*/ 521398 w 3359086"/>
                <a:gd name="connsiteY6788" fmla="*/ 2783205 h 3355086"/>
                <a:gd name="connsiteX6789" fmla="*/ 515206 w 3359086"/>
                <a:gd name="connsiteY6789" fmla="*/ 2789396 h 3355086"/>
                <a:gd name="connsiteX6790" fmla="*/ 509015 w 3359086"/>
                <a:gd name="connsiteY6790" fmla="*/ 2783205 h 3355086"/>
                <a:gd name="connsiteX6791" fmla="*/ 515206 w 3359086"/>
                <a:gd name="connsiteY6791" fmla="*/ 2777014 h 3355086"/>
                <a:gd name="connsiteX6792" fmla="*/ 2627375 w 3359086"/>
                <a:gd name="connsiteY6792" fmla="*/ 2776443 h 3355086"/>
                <a:gd name="connsiteX6793" fmla="*/ 2633566 w 3359086"/>
                <a:gd name="connsiteY6793" fmla="*/ 2782634 h 3355086"/>
                <a:gd name="connsiteX6794" fmla="*/ 2627375 w 3359086"/>
                <a:gd name="connsiteY6794" fmla="*/ 2788825 h 3355086"/>
                <a:gd name="connsiteX6795" fmla="*/ 2621184 w 3359086"/>
                <a:gd name="connsiteY6795" fmla="*/ 2782634 h 3355086"/>
                <a:gd name="connsiteX6796" fmla="*/ 2627375 w 3359086"/>
                <a:gd name="connsiteY6796" fmla="*/ 2776443 h 3355086"/>
                <a:gd name="connsiteX6797" fmla="*/ 1274920 w 3359086"/>
                <a:gd name="connsiteY6797" fmla="*/ 2775680 h 3355086"/>
                <a:gd name="connsiteX6798" fmla="*/ 1281112 w 3359086"/>
                <a:gd name="connsiteY6798" fmla="*/ 2781871 h 3355086"/>
                <a:gd name="connsiteX6799" fmla="*/ 1274920 w 3359086"/>
                <a:gd name="connsiteY6799" fmla="*/ 2788063 h 3355086"/>
                <a:gd name="connsiteX6800" fmla="*/ 1268729 w 3359086"/>
                <a:gd name="connsiteY6800" fmla="*/ 2781871 h 3355086"/>
                <a:gd name="connsiteX6801" fmla="*/ 1274920 w 3359086"/>
                <a:gd name="connsiteY6801" fmla="*/ 2775680 h 3355086"/>
                <a:gd name="connsiteX6802" fmla="*/ 973740 w 3359086"/>
                <a:gd name="connsiteY6802" fmla="*/ 2775395 h 3355086"/>
                <a:gd name="connsiteX6803" fmla="*/ 979931 w 3359086"/>
                <a:gd name="connsiteY6803" fmla="*/ 2781586 h 3355086"/>
                <a:gd name="connsiteX6804" fmla="*/ 973740 w 3359086"/>
                <a:gd name="connsiteY6804" fmla="*/ 2787778 h 3355086"/>
                <a:gd name="connsiteX6805" fmla="*/ 967549 w 3359086"/>
                <a:gd name="connsiteY6805" fmla="*/ 2781586 h 3355086"/>
                <a:gd name="connsiteX6806" fmla="*/ 973740 w 3359086"/>
                <a:gd name="connsiteY6806" fmla="*/ 2775395 h 3355086"/>
                <a:gd name="connsiteX6807" fmla="*/ 808767 w 3359086"/>
                <a:gd name="connsiteY6807" fmla="*/ 2775109 h 3355086"/>
                <a:gd name="connsiteX6808" fmla="*/ 814958 w 3359086"/>
                <a:gd name="connsiteY6808" fmla="*/ 2781300 h 3355086"/>
                <a:gd name="connsiteX6809" fmla="*/ 808767 w 3359086"/>
                <a:gd name="connsiteY6809" fmla="*/ 2787492 h 3355086"/>
                <a:gd name="connsiteX6810" fmla="*/ 802576 w 3359086"/>
                <a:gd name="connsiteY6810" fmla="*/ 2781300 h 3355086"/>
                <a:gd name="connsiteX6811" fmla="*/ 808767 w 3359086"/>
                <a:gd name="connsiteY6811" fmla="*/ 2775109 h 3355086"/>
                <a:gd name="connsiteX6812" fmla="*/ 2863405 w 3359086"/>
                <a:gd name="connsiteY6812" fmla="*/ 2773966 h 3355086"/>
                <a:gd name="connsiteX6813" fmla="*/ 2869596 w 3359086"/>
                <a:gd name="connsiteY6813" fmla="*/ 2780157 h 3355086"/>
                <a:gd name="connsiteX6814" fmla="*/ 2863405 w 3359086"/>
                <a:gd name="connsiteY6814" fmla="*/ 2786348 h 3355086"/>
                <a:gd name="connsiteX6815" fmla="*/ 2857214 w 3359086"/>
                <a:gd name="connsiteY6815" fmla="*/ 2780157 h 3355086"/>
                <a:gd name="connsiteX6816" fmla="*/ 2863405 w 3359086"/>
                <a:gd name="connsiteY6816" fmla="*/ 2773966 h 3355086"/>
                <a:gd name="connsiteX6817" fmla="*/ 491489 w 3359086"/>
                <a:gd name="connsiteY6817" fmla="*/ 2773395 h 3355086"/>
                <a:gd name="connsiteX6818" fmla="*/ 497680 w 3359086"/>
                <a:gd name="connsiteY6818" fmla="*/ 2779586 h 3355086"/>
                <a:gd name="connsiteX6819" fmla="*/ 491489 w 3359086"/>
                <a:gd name="connsiteY6819" fmla="*/ 2785777 h 3355086"/>
                <a:gd name="connsiteX6820" fmla="*/ 485298 w 3359086"/>
                <a:gd name="connsiteY6820" fmla="*/ 2779586 h 3355086"/>
                <a:gd name="connsiteX6821" fmla="*/ 491489 w 3359086"/>
                <a:gd name="connsiteY6821" fmla="*/ 2773395 h 3355086"/>
                <a:gd name="connsiteX6822" fmla="*/ 454723 w 3359086"/>
                <a:gd name="connsiteY6822" fmla="*/ 2773395 h 3355086"/>
                <a:gd name="connsiteX6823" fmla="*/ 460914 w 3359086"/>
                <a:gd name="connsiteY6823" fmla="*/ 2779586 h 3355086"/>
                <a:gd name="connsiteX6824" fmla="*/ 455723 w 3359086"/>
                <a:gd name="connsiteY6824" fmla="*/ 2784777 h 3355086"/>
                <a:gd name="connsiteX6825" fmla="*/ 459675 w 3359086"/>
                <a:gd name="connsiteY6825" fmla="*/ 2788729 h 3355086"/>
                <a:gd name="connsiteX6826" fmla="*/ 453627 w 3359086"/>
                <a:gd name="connsiteY6826" fmla="*/ 2794778 h 3355086"/>
                <a:gd name="connsiteX6827" fmla="*/ 456914 w 3359086"/>
                <a:gd name="connsiteY6827" fmla="*/ 2798064 h 3355086"/>
                <a:gd name="connsiteX6828" fmla="*/ 450722 w 3359086"/>
                <a:gd name="connsiteY6828" fmla="*/ 2804255 h 3355086"/>
                <a:gd name="connsiteX6829" fmla="*/ 444531 w 3359086"/>
                <a:gd name="connsiteY6829" fmla="*/ 2798064 h 3355086"/>
                <a:gd name="connsiteX6830" fmla="*/ 450579 w 3359086"/>
                <a:gd name="connsiteY6830" fmla="*/ 2792016 h 3355086"/>
                <a:gd name="connsiteX6831" fmla="*/ 447293 w 3359086"/>
                <a:gd name="connsiteY6831" fmla="*/ 2788729 h 3355086"/>
                <a:gd name="connsiteX6832" fmla="*/ 452484 w 3359086"/>
                <a:gd name="connsiteY6832" fmla="*/ 2783538 h 3355086"/>
                <a:gd name="connsiteX6833" fmla="*/ 448532 w 3359086"/>
                <a:gd name="connsiteY6833" fmla="*/ 2779586 h 3355086"/>
                <a:gd name="connsiteX6834" fmla="*/ 454723 w 3359086"/>
                <a:gd name="connsiteY6834" fmla="*/ 2773395 h 3355086"/>
                <a:gd name="connsiteX6835" fmla="*/ 624363 w 3359086"/>
                <a:gd name="connsiteY6835" fmla="*/ 2773109 h 3355086"/>
                <a:gd name="connsiteX6836" fmla="*/ 630554 w 3359086"/>
                <a:gd name="connsiteY6836" fmla="*/ 2779300 h 3355086"/>
                <a:gd name="connsiteX6837" fmla="*/ 624363 w 3359086"/>
                <a:gd name="connsiteY6837" fmla="*/ 2785491 h 3355086"/>
                <a:gd name="connsiteX6838" fmla="*/ 618172 w 3359086"/>
                <a:gd name="connsiteY6838" fmla="*/ 2779300 h 3355086"/>
                <a:gd name="connsiteX6839" fmla="*/ 624363 w 3359086"/>
                <a:gd name="connsiteY6839" fmla="*/ 2773109 h 3355086"/>
                <a:gd name="connsiteX6840" fmla="*/ 429767 w 3359086"/>
                <a:gd name="connsiteY6840" fmla="*/ 2772823 h 3355086"/>
                <a:gd name="connsiteX6841" fmla="*/ 435958 w 3359086"/>
                <a:gd name="connsiteY6841" fmla="*/ 2779014 h 3355086"/>
                <a:gd name="connsiteX6842" fmla="*/ 429767 w 3359086"/>
                <a:gd name="connsiteY6842" fmla="*/ 2785205 h 3355086"/>
                <a:gd name="connsiteX6843" fmla="*/ 423576 w 3359086"/>
                <a:gd name="connsiteY6843" fmla="*/ 2779014 h 3355086"/>
                <a:gd name="connsiteX6844" fmla="*/ 429767 w 3359086"/>
                <a:gd name="connsiteY6844" fmla="*/ 2772823 h 3355086"/>
                <a:gd name="connsiteX6845" fmla="*/ 417385 w 3359086"/>
                <a:gd name="connsiteY6845" fmla="*/ 2771394 h 3355086"/>
                <a:gd name="connsiteX6846" fmla="*/ 422528 w 3359086"/>
                <a:gd name="connsiteY6846" fmla="*/ 2776537 h 3355086"/>
                <a:gd name="connsiteX6847" fmla="*/ 417385 w 3359086"/>
                <a:gd name="connsiteY6847" fmla="*/ 2781681 h 3355086"/>
                <a:gd name="connsiteX6848" fmla="*/ 412241 w 3359086"/>
                <a:gd name="connsiteY6848" fmla="*/ 2776537 h 3355086"/>
                <a:gd name="connsiteX6849" fmla="*/ 417385 w 3359086"/>
                <a:gd name="connsiteY6849" fmla="*/ 2771394 h 3355086"/>
                <a:gd name="connsiteX6850" fmla="*/ 472249 w 3359086"/>
                <a:gd name="connsiteY6850" fmla="*/ 2768346 h 3355086"/>
                <a:gd name="connsiteX6851" fmla="*/ 478440 w 3359086"/>
                <a:gd name="connsiteY6851" fmla="*/ 2774537 h 3355086"/>
                <a:gd name="connsiteX6852" fmla="*/ 472249 w 3359086"/>
                <a:gd name="connsiteY6852" fmla="*/ 2780728 h 3355086"/>
                <a:gd name="connsiteX6853" fmla="*/ 466058 w 3359086"/>
                <a:gd name="connsiteY6853" fmla="*/ 2774537 h 3355086"/>
                <a:gd name="connsiteX6854" fmla="*/ 472249 w 3359086"/>
                <a:gd name="connsiteY6854" fmla="*/ 2768346 h 3355086"/>
                <a:gd name="connsiteX6855" fmla="*/ 2110263 w 3359086"/>
                <a:gd name="connsiteY6855" fmla="*/ 2767870 h 3355086"/>
                <a:gd name="connsiteX6856" fmla="*/ 2116455 w 3359086"/>
                <a:gd name="connsiteY6856" fmla="*/ 2774061 h 3355086"/>
                <a:gd name="connsiteX6857" fmla="*/ 2110263 w 3359086"/>
                <a:gd name="connsiteY6857" fmla="*/ 2780253 h 3355086"/>
                <a:gd name="connsiteX6858" fmla="*/ 2104072 w 3359086"/>
                <a:gd name="connsiteY6858" fmla="*/ 2774061 h 3355086"/>
                <a:gd name="connsiteX6859" fmla="*/ 2110263 w 3359086"/>
                <a:gd name="connsiteY6859" fmla="*/ 2767870 h 3355086"/>
                <a:gd name="connsiteX6860" fmla="*/ 2953702 w 3359086"/>
                <a:gd name="connsiteY6860" fmla="*/ 2767679 h 3355086"/>
                <a:gd name="connsiteX6861" fmla="*/ 2955226 w 3359086"/>
                <a:gd name="connsiteY6861" fmla="*/ 2769203 h 3355086"/>
                <a:gd name="connsiteX6862" fmla="*/ 2953702 w 3359086"/>
                <a:gd name="connsiteY6862" fmla="*/ 2770727 h 3355086"/>
                <a:gd name="connsiteX6863" fmla="*/ 2952178 w 3359086"/>
                <a:gd name="connsiteY6863" fmla="*/ 2769203 h 3355086"/>
                <a:gd name="connsiteX6864" fmla="*/ 2953702 w 3359086"/>
                <a:gd name="connsiteY6864" fmla="*/ 2767679 h 3355086"/>
                <a:gd name="connsiteX6865" fmla="*/ 2877597 w 3359086"/>
                <a:gd name="connsiteY6865" fmla="*/ 2767489 h 3355086"/>
                <a:gd name="connsiteX6866" fmla="*/ 2883789 w 3359086"/>
                <a:gd name="connsiteY6866" fmla="*/ 2773680 h 3355086"/>
                <a:gd name="connsiteX6867" fmla="*/ 2879549 w 3359086"/>
                <a:gd name="connsiteY6867" fmla="*/ 2777919 h 3355086"/>
                <a:gd name="connsiteX6868" fmla="*/ 2885027 w 3359086"/>
                <a:gd name="connsiteY6868" fmla="*/ 2783396 h 3355086"/>
                <a:gd name="connsiteX6869" fmla="*/ 2881312 w 3359086"/>
                <a:gd name="connsiteY6869" fmla="*/ 2787110 h 3355086"/>
                <a:gd name="connsiteX6870" fmla="*/ 2886742 w 3359086"/>
                <a:gd name="connsiteY6870" fmla="*/ 2792539 h 3355086"/>
                <a:gd name="connsiteX6871" fmla="*/ 2880550 w 3359086"/>
                <a:gd name="connsiteY6871" fmla="*/ 2798731 h 3355086"/>
                <a:gd name="connsiteX6872" fmla="*/ 2874359 w 3359086"/>
                <a:gd name="connsiteY6872" fmla="*/ 2792539 h 3355086"/>
                <a:gd name="connsiteX6873" fmla="*/ 2878073 w 3359086"/>
                <a:gd name="connsiteY6873" fmla="*/ 2788825 h 3355086"/>
                <a:gd name="connsiteX6874" fmla="*/ 2872644 w 3359086"/>
                <a:gd name="connsiteY6874" fmla="*/ 2783396 h 3355086"/>
                <a:gd name="connsiteX6875" fmla="*/ 2876883 w 3359086"/>
                <a:gd name="connsiteY6875" fmla="*/ 2779157 h 3355086"/>
                <a:gd name="connsiteX6876" fmla="*/ 2871406 w 3359086"/>
                <a:gd name="connsiteY6876" fmla="*/ 2773680 h 3355086"/>
                <a:gd name="connsiteX6877" fmla="*/ 2877597 w 3359086"/>
                <a:gd name="connsiteY6877" fmla="*/ 2767489 h 3355086"/>
                <a:gd name="connsiteX6878" fmla="*/ 2808541 w 3359086"/>
                <a:gd name="connsiteY6878" fmla="*/ 2764251 h 3355086"/>
                <a:gd name="connsiteX6879" fmla="*/ 2814733 w 3359086"/>
                <a:gd name="connsiteY6879" fmla="*/ 2770442 h 3355086"/>
                <a:gd name="connsiteX6880" fmla="*/ 2808541 w 3359086"/>
                <a:gd name="connsiteY6880" fmla="*/ 2776633 h 3355086"/>
                <a:gd name="connsiteX6881" fmla="*/ 2802350 w 3359086"/>
                <a:gd name="connsiteY6881" fmla="*/ 2770442 h 3355086"/>
                <a:gd name="connsiteX6882" fmla="*/ 2808541 w 3359086"/>
                <a:gd name="connsiteY6882" fmla="*/ 2764251 h 3355086"/>
                <a:gd name="connsiteX6883" fmla="*/ 677893 w 3359086"/>
                <a:gd name="connsiteY6883" fmla="*/ 2764155 h 3355086"/>
                <a:gd name="connsiteX6884" fmla="*/ 684085 w 3359086"/>
                <a:gd name="connsiteY6884" fmla="*/ 2770346 h 3355086"/>
                <a:gd name="connsiteX6885" fmla="*/ 677893 w 3359086"/>
                <a:gd name="connsiteY6885" fmla="*/ 2776537 h 3355086"/>
                <a:gd name="connsiteX6886" fmla="*/ 671702 w 3359086"/>
                <a:gd name="connsiteY6886" fmla="*/ 2770346 h 3355086"/>
                <a:gd name="connsiteX6887" fmla="*/ 677893 w 3359086"/>
                <a:gd name="connsiteY6887" fmla="*/ 2764155 h 3355086"/>
                <a:gd name="connsiteX6888" fmla="*/ 2401633 w 3359086"/>
                <a:gd name="connsiteY6888" fmla="*/ 2763488 h 3355086"/>
                <a:gd name="connsiteX6889" fmla="*/ 2407824 w 3359086"/>
                <a:gd name="connsiteY6889" fmla="*/ 2769679 h 3355086"/>
                <a:gd name="connsiteX6890" fmla="*/ 2401633 w 3359086"/>
                <a:gd name="connsiteY6890" fmla="*/ 2775871 h 3355086"/>
                <a:gd name="connsiteX6891" fmla="*/ 2395442 w 3359086"/>
                <a:gd name="connsiteY6891" fmla="*/ 2769679 h 3355086"/>
                <a:gd name="connsiteX6892" fmla="*/ 2401633 w 3359086"/>
                <a:gd name="connsiteY6892" fmla="*/ 2763488 h 3355086"/>
                <a:gd name="connsiteX6893" fmla="*/ 2775203 w 3359086"/>
                <a:gd name="connsiteY6893" fmla="*/ 2763107 h 3355086"/>
                <a:gd name="connsiteX6894" fmla="*/ 2781395 w 3359086"/>
                <a:gd name="connsiteY6894" fmla="*/ 2769298 h 3355086"/>
                <a:gd name="connsiteX6895" fmla="*/ 2775203 w 3359086"/>
                <a:gd name="connsiteY6895" fmla="*/ 2775490 h 3355086"/>
                <a:gd name="connsiteX6896" fmla="*/ 2769012 w 3359086"/>
                <a:gd name="connsiteY6896" fmla="*/ 2769298 h 3355086"/>
                <a:gd name="connsiteX6897" fmla="*/ 2775203 w 3359086"/>
                <a:gd name="connsiteY6897" fmla="*/ 2763107 h 3355086"/>
                <a:gd name="connsiteX6898" fmla="*/ 2913316 w 3359086"/>
                <a:gd name="connsiteY6898" fmla="*/ 2762822 h 3355086"/>
                <a:gd name="connsiteX6899" fmla="*/ 2919508 w 3359086"/>
                <a:gd name="connsiteY6899" fmla="*/ 2769013 h 3355086"/>
                <a:gd name="connsiteX6900" fmla="*/ 2913316 w 3359086"/>
                <a:gd name="connsiteY6900" fmla="*/ 2775205 h 3355086"/>
                <a:gd name="connsiteX6901" fmla="*/ 2907125 w 3359086"/>
                <a:gd name="connsiteY6901" fmla="*/ 2769013 h 3355086"/>
                <a:gd name="connsiteX6902" fmla="*/ 2913316 w 3359086"/>
                <a:gd name="connsiteY6902" fmla="*/ 2762822 h 3355086"/>
                <a:gd name="connsiteX6903" fmla="*/ 2835497 w 3359086"/>
                <a:gd name="connsiteY6903" fmla="*/ 2762727 h 3355086"/>
                <a:gd name="connsiteX6904" fmla="*/ 2841688 w 3359086"/>
                <a:gd name="connsiteY6904" fmla="*/ 2768918 h 3355086"/>
                <a:gd name="connsiteX6905" fmla="*/ 2835497 w 3359086"/>
                <a:gd name="connsiteY6905" fmla="*/ 2775109 h 3355086"/>
                <a:gd name="connsiteX6906" fmla="*/ 2829306 w 3359086"/>
                <a:gd name="connsiteY6906" fmla="*/ 2768918 h 3355086"/>
                <a:gd name="connsiteX6907" fmla="*/ 2835497 w 3359086"/>
                <a:gd name="connsiteY6907" fmla="*/ 2762727 h 3355086"/>
                <a:gd name="connsiteX6908" fmla="*/ 456437 w 3359086"/>
                <a:gd name="connsiteY6908" fmla="*/ 2762536 h 3355086"/>
                <a:gd name="connsiteX6909" fmla="*/ 462628 w 3359086"/>
                <a:gd name="connsiteY6909" fmla="*/ 2768727 h 3355086"/>
                <a:gd name="connsiteX6910" fmla="*/ 456437 w 3359086"/>
                <a:gd name="connsiteY6910" fmla="*/ 2774919 h 3355086"/>
                <a:gd name="connsiteX6911" fmla="*/ 450246 w 3359086"/>
                <a:gd name="connsiteY6911" fmla="*/ 2768727 h 3355086"/>
                <a:gd name="connsiteX6912" fmla="*/ 456437 w 3359086"/>
                <a:gd name="connsiteY6912" fmla="*/ 2762536 h 3355086"/>
                <a:gd name="connsiteX6913" fmla="*/ 2559557 w 3359086"/>
                <a:gd name="connsiteY6913" fmla="*/ 2761679 h 3355086"/>
                <a:gd name="connsiteX6914" fmla="*/ 2565748 w 3359086"/>
                <a:gd name="connsiteY6914" fmla="*/ 2767870 h 3355086"/>
                <a:gd name="connsiteX6915" fmla="*/ 2559557 w 3359086"/>
                <a:gd name="connsiteY6915" fmla="*/ 2774062 h 3355086"/>
                <a:gd name="connsiteX6916" fmla="*/ 2553366 w 3359086"/>
                <a:gd name="connsiteY6916" fmla="*/ 2767870 h 3355086"/>
                <a:gd name="connsiteX6917" fmla="*/ 2559557 w 3359086"/>
                <a:gd name="connsiteY6917" fmla="*/ 2761679 h 3355086"/>
                <a:gd name="connsiteX6918" fmla="*/ 2938938 w 3359086"/>
                <a:gd name="connsiteY6918" fmla="*/ 2761107 h 3355086"/>
                <a:gd name="connsiteX6919" fmla="*/ 2945130 w 3359086"/>
                <a:gd name="connsiteY6919" fmla="*/ 2767298 h 3355086"/>
                <a:gd name="connsiteX6920" fmla="*/ 2938938 w 3359086"/>
                <a:gd name="connsiteY6920" fmla="*/ 2773490 h 3355086"/>
                <a:gd name="connsiteX6921" fmla="*/ 2932747 w 3359086"/>
                <a:gd name="connsiteY6921" fmla="*/ 2767298 h 3355086"/>
                <a:gd name="connsiteX6922" fmla="*/ 2938938 w 3359086"/>
                <a:gd name="connsiteY6922" fmla="*/ 2761107 h 3355086"/>
                <a:gd name="connsiteX6923" fmla="*/ 2925603 w 3359086"/>
                <a:gd name="connsiteY6923" fmla="*/ 2761107 h 3355086"/>
                <a:gd name="connsiteX6924" fmla="*/ 2931794 w 3359086"/>
                <a:gd name="connsiteY6924" fmla="*/ 2767298 h 3355086"/>
                <a:gd name="connsiteX6925" fmla="*/ 2925603 w 3359086"/>
                <a:gd name="connsiteY6925" fmla="*/ 2773490 h 3355086"/>
                <a:gd name="connsiteX6926" fmla="*/ 2919412 w 3359086"/>
                <a:gd name="connsiteY6926" fmla="*/ 2767298 h 3355086"/>
                <a:gd name="connsiteX6927" fmla="*/ 2925603 w 3359086"/>
                <a:gd name="connsiteY6927" fmla="*/ 2761107 h 3355086"/>
                <a:gd name="connsiteX6928" fmla="*/ 1176908 w 3359086"/>
                <a:gd name="connsiteY6928" fmla="*/ 2760440 h 3355086"/>
                <a:gd name="connsiteX6929" fmla="*/ 1183099 w 3359086"/>
                <a:gd name="connsiteY6929" fmla="*/ 2766631 h 3355086"/>
                <a:gd name="connsiteX6930" fmla="*/ 1176908 w 3359086"/>
                <a:gd name="connsiteY6930" fmla="*/ 2772823 h 3355086"/>
                <a:gd name="connsiteX6931" fmla="*/ 1170717 w 3359086"/>
                <a:gd name="connsiteY6931" fmla="*/ 2766631 h 3355086"/>
                <a:gd name="connsiteX6932" fmla="*/ 1176908 w 3359086"/>
                <a:gd name="connsiteY6932" fmla="*/ 2760440 h 3355086"/>
                <a:gd name="connsiteX6933" fmla="*/ 2857309 w 3359086"/>
                <a:gd name="connsiteY6933" fmla="*/ 2759393 h 3355086"/>
                <a:gd name="connsiteX6934" fmla="*/ 2863501 w 3359086"/>
                <a:gd name="connsiteY6934" fmla="*/ 2765584 h 3355086"/>
                <a:gd name="connsiteX6935" fmla="*/ 2857309 w 3359086"/>
                <a:gd name="connsiteY6935" fmla="*/ 2771775 h 3355086"/>
                <a:gd name="connsiteX6936" fmla="*/ 2851118 w 3359086"/>
                <a:gd name="connsiteY6936" fmla="*/ 2765584 h 3355086"/>
                <a:gd name="connsiteX6937" fmla="*/ 2857309 w 3359086"/>
                <a:gd name="connsiteY6937" fmla="*/ 2759393 h 3355086"/>
                <a:gd name="connsiteX6938" fmla="*/ 397383 w 3359086"/>
                <a:gd name="connsiteY6938" fmla="*/ 2758917 h 3355086"/>
                <a:gd name="connsiteX6939" fmla="*/ 397764 w 3359086"/>
                <a:gd name="connsiteY6939" fmla="*/ 2759298 h 3355086"/>
                <a:gd name="connsiteX6940" fmla="*/ 397383 w 3359086"/>
                <a:gd name="connsiteY6940" fmla="*/ 2759679 h 3355086"/>
                <a:gd name="connsiteX6941" fmla="*/ 397002 w 3359086"/>
                <a:gd name="connsiteY6941" fmla="*/ 2759298 h 3355086"/>
                <a:gd name="connsiteX6942" fmla="*/ 397383 w 3359086"/>
                <a:gd name="connsiteY6942" fmla="*/ 2758917 h 3355086"/>
                <a:gd name="connsiteX6943" fmla="*/ 2734150 w 3359086"/>
                <a:gd name="connsiteY6943" fmla="*/ 2758631 h 3355086"/>
                <a:gd name="connsiteX6944" fmla="*/ 2740342 w 3359086"/>
                <a:gd name="connsiteY6944" fmla="*/ 2764822 h 3355086"/>
                <a:gd name="connsiteX6945" fmla="*/ 2734150 w 3359086"/>
                <a:gd name="connsiteY6945" fmla="*/ 2771014 h 3355086"/>
                <a:gd name="connsiteX6946" fmla="*/ 2727959 w 3359086"/>
                <a:gd name="connsiteY6946" fmla="*/ 2764822 h 3355086"/>
                <a:gd name="connsiteX6947" fmla="*/ 2734150 w 3359086"/>
                <a:gd name="connsiteY6947" fmla="*/ 2758631 h 3355086"/>
                <a:gd name="connsiteX6948" fmla="*/ 443293 w 3359086"/>
                <a:gd name="connsiteY6948" fmla="*/ 2756440 h 3355086"/>
                <a:gd name="connsiteX6949" fmla="*/ 449484 w 3359086"/>
                <a:gd name="connsiteY6949" fmla="*/ 2762631 h 3355086"/>
                <a:gd name="connsiteX6950" fmla="*/ 444007 w 3359086"/>
                <a:gd name="connsiteY6950" fmla="*/ 2768108 h 3355086"/>
                <a:gd name="connsiteX6951" fmla="*/ 449104 w 3359086"/>
                <a:gd name="connsiteY6951" fmla="*/ 2773204 h 3355086"/>
                <a:gd name="connsiteX6952" fmla="*/ 443484 w 3359086"/>
                <a:gd name="connsiteY6952" fmla="*/ 2778824 h 3355086"/>
                <a:gd name="connsiteX6953" fmla="*/ 447865 w 3359086"/>
                <a:gd name="connsiteY6953" fmla="*/ 2783205 h 3355086"/>
                <a:gd name="connsiteX6954" fmla="*/ 441674 w 3359086"/>
                <a:gd name="connsiteY6954" fmla="*/ 2789396 h 3355086"/>
                <a:gd name="connsiteX6955" fmla="*/ 435483 w 3359086"/>
                <a:gd name="connsiteY6955" fmla="*/ 2783205 h 3355086"/>
                <a:gd name="connsiteX6956" fmla="*/ 441102 w 3359086"/>
                <a:gd name="connsiteY6956" fmla="*/ 2777586 h 3355086"/>
                <a:gd name="connsiteX6957" fmla="*/ 436721 w 3359086"/>
                <a:gd name="connsiteY6957" fmla="*/ 2773204 h 3355086"/>
                <a:gd name="connsiteX6958" fmla="*/ 442198 w 3359086"/>
                <a:gd name="connsiteY6958" fmla="*/ 2767727 h 3355086"/>
                <a:gd name="connsiteX6959" fmla="*/ 437102 w 3359086"/>
                <a:gd name="connsiteY6959" fmla="*/ 2762631 h 3355086"/>
                <a:gd name="connsiteX6960" fmla="*/ 443293 w 3359086"/>
                <a:gd name="connsiteY6960" fmla="*/ 2756440 h 3355086"/>
                <a:gd name="connsiteX6961" fmla="*/ 2874930 w 3359086"/>
                <a:gd name="connsiteY6961" fmla="*/ 2754726 h 3355086"/>
                <a:gd name="connsiteX6962" fmla="*/ 2881122 w 3359086"/>
                <a:gd name="connsiteY6962" fmla="*/ 2760917 h 3355086"/>
                <a:gd name="connsiteX6963" fmla="*/ 2874930 w 3359086"/>
                <a:gd name="connsiteY6963" fmla="*/ 2767108 h 3355086"/>
                <a:gd name="connsiteX6964" fmla="*/ 2868739 w 3359086"/>
                <a:gd name="connsiteY6964" fmla="*/ 2760917 h 3355086"/>
                <a:gd name="connsiteX6965" fmla="*/ 2874930 w 3359086"/>
                <a:gd name="connsiteY6965" fmla="*/ 2754726 h 3355086"/>
                <a:gd name="connsiteX6966" fmla="*/ 409574 w 3359086"/>
                <a:gd name="connsiteY6966" fmla="*/ 2754345 h 3355086"/>
                <a:gd name="connsiteX6967" fmla="*/ 415766 w 3359086"/>
                <a:gd name="connsiteY6967" fmla="*/ 2760536 h 3355086"/>
                <a:gd name="connsiteX6968" fmla="*/ 409574 w 3359086"/>
                <a:gd name="connsiteY6968" fmla="*/ 2766727 h 3355086"/>
                <a:gd name="connsiteX6969" fmla="*/ 403383 w 3359086"/>
                <a:gd name="connsiteY6969" fmla="*/ 2760536 h 3355086"/>
                <a:gd name="connsiteX6970" fmla="*/ 409574 w 3359086"/>
                <a:gd name="connsiteY6970" fmla="*/ 2754345 h 3355086"/>
                <a:gd name="connsiteX6971" fmla="*/ 894111 w 3359086"/>
                <a:gd name="connsiteY6971" fmla="*/ 2752821 h 3355086"/>
                <a:gd name="connsiteX6972" fmla="*/ 900302 w 3359086"/>
                <a:gd name="connsiteY6972" fmla="*/ 2759012 h 3355086"/>
                <a:gd name="connsiteX6973" fmla="*/ 894111 w 3359086"/>
                <a:gd name="connsiteY6973" fmla="*/ 2765203 h 3355086"/>
                <a:gd name="connsiteX6974" fmla="*/ 887920 w 3359086"/>
                <a:gd name="connsiteY6974" fmla="*/ 2759012 h 3355086"/>
                <a:gd name="connsiteX6975" fmla="*/ 894111 w 3359086"/>
                <a:gd name="connsiteY6975" fmla="*/ 2752821 h 3355086"/>
                <a:gd name="connsiteX6976" fmla="*/ 506253 w 3359086"/>
                <a:gd name="connsiteY6976" fmla="*/ 2751678 h 3355086"/>
                <a:gd name="connsiteX6977" fmla="*/ 512444 w 3359086"/>
                <a:gd name="connsiteY6977" fmla="*/ 2757869 h 3355086"/>
                <a:gd name="connsiteX6978" fmla="*/ 506253 w 3359086"/>
                <a:gd name="connsiteY6978" fmla="*/ 2764060 h 3355086"/>
                <a:gd name="connsiteX6979" fmla="*/ 500062 w 3359086"/>
                <a:gd name="connsiteY6979" fmla="*/ 2757869 h 3355086"/>
                <a:gd name="connsiteX6980" fmla="*/ 506253 w 3359086"/>
                <a:gd name="connsiteY6980" fmla="*/ 2751678 h 3355086"/>
                <a:gd name="connsiteX6981" fmla="*/ 2205989 w 3359086"/>
                <a:gd name="connsiteY6981" fmla="*/ 2751106 h 3355086"/>
                <a:gd name="connsiteX6982" fmla="*/ 2212181 w 3359086"/>
                <a:gd name="connsiteY6982" fmla="*/ 2757297 h 3355086"/>
                <a:gd name="connsiteX6983" fmla="*/ 2205989 w 3359086"/>
                <a:gd name="connsiteY6983" fmla="*/ 2763488 h 3355086"/>
                <a:gd name="connsiteX6984" fmla="*/ 2199798 w 3359086"/>
                <a:gd name="connsiteY6984" fmla="*/ 2757297 h 3355086"/>
                <a:gd name="connsiteX6985" fmla="*/ 2205989 w 3359086"/>
                <a:gd name="connsiteY6985" fmla="*/ 2751106 h 3355086"/>
                <a:gd name="connsiteX6986" fmla="*/ 431768 w 3359086"/>
                <a:gd name="connsiteY6986" fmla="*/ 2750630 h 3355086"/>
                <a:gd name="connsiteX6987" fmla="*/ 437959 w 3359086"/>
                <a:gd name="connsiteY6987" fmla="*/ 2756821 h 3355086"/>
                <a:gd name="connsiteX6988" fmla="*/ 432530 w 3359086"/>
                <a:gd name="connsiteY6988" fmla="*/ 2762251 h 3355086"/>
                <a:gd name="connsiteX6989" fmla="*/ 437959 w 3359086"/>
                <a:gd name="connsiteY6989" fmla="*/ 2767679 h 3355086"/>
                <a:gd name="connsiteX6990" fmla="*/ 431768 w 3359086"/>
                <a:gd name="connsiteY6990" fmla="*/ 2773870 h 3355086"/>
                <a:gd name="connsiteX6991" fmla="*/ 425577 w 3359086"/>
                <a:gd name="connsiteY6991" fmla="*/ 2767679 h 3355086"/>
                <a:gd name="connsiteX6992" fmla="*/ 431006 w 3359086"/>
                <a:gd name="connsiteY6992" fmla="*/ 2762251 h 3355086"/>
                <a:gd name="connsiteX6993" fmla="*/ 425577 w 3359086"/>
                <a:gd name="connsiteY6993" fmla="*/ 2756821 h 3355086"/>
                <a:gd name="connsiteX6994" fmla="*/ 431768 w 3359086"/>
                <a:gd name="connsiteY6994" fmla="*/ 2750630 h 3355086"/>
                <a:gd name="connsiteX6995" fmla="*/ 537400 w 3359086"/>
                <a:gd name="connsiteY6995" fmla="*/ 2750535 h 3355086"/>
                <a:gd name="connsiteX6996" fmla="*/ 543591 w 3359086"/>
                <a:gd name="connsiteY6996" fmla="*/ 2756726 h 3355086"/>
                <a:gd name="connsiteX6997" fmla="*/ 537400 w 3359086"/>
                <a:gd name="connsiteY6997" fmla="*/ 2762917 h 3355086"/>
                <a:gd name="connsiteX6998" fmla="*/ 531209 w 3359086"/>
                <a:gd name="connsiteY6998" fmla="*/ 2756726 h 3355086"/>
                <a:gd name="connsiteX6999" fmla="*/ 537400 w 3359086"/>
                <a:gd name="connsiteY6999" fmla="*/ 2750535 h 3355086"/>
                <a:gd name="connsiteX7000" fmla="*/ 2911506 w 3359086"/>
                <a:gd name="connsiteY7000" fmla="*/ 2750439 h 3355086"/>
                <a:gd name="connsiteX7001" fmla="*/ 2917698 w 3359086"/>
                <a:gd name="connsiteY7001" fmla="*/ 2756630 h 3355086"/>
                <a:gd name="connsiteX7002" fmla="*/ 2911506 w 3359086"/>
                <a:gd name="connsiteY7002" fmla="*/ 2762821 h 3355086"/>
                <a:gd name="connsiteX7003" fmla="*/ 2905315 w 3359086"/>
                <a:gd name="connsiteY7003" fmla="*/ 2756630 h 3355086"/>
                <a:gd name="connsiteX7004" fmla="*/ 2911506 w 3359086"/>
                <a:gd name="connsiteY7004" fmla="*/ 2750439 h 3355086"/>
                <a:gd name="connsiteX7005" fmla="*/ 481202 w 3359086"/>
                <a:gd name="connsiteY7005" fmla="*/ 2750439 h 3355086"/>
                <a:gd name="connsiteX7006" fmla="*/ 487393 w 3359086"/>
                <a:gd name="connsiteY7006" fmla="*/ 2756630 h 3355086"/>
                <a:gd name="connsiteX7007" fmla="*/ 481202 w 3359086"/>
                <a:gd name="connsiteY7007" fmla="*/ 2762821 h 3355086"/>
                <a:gd name="connsiteX7008" fmla="*/ 475011 w 3359086"/>
                <a:gd name="connsiteY7008" fmla="*/ 2756630 h 3355086"/>
                <a:gd name="connsiteX7009" fmla="*/ 481202 w 3359086"/>
                <a:gd name="connsiteY7009" fmla="*/ 2750439 h 3355086"/>
                <a:gd name="connsiteX7010" fmla="*/ 2684144 w 3359086"/>
                <a:gd name="connsiteY7010" fmla="*/ 2749868 h 3355086"/>
                <a:gd name="connsiteX7011" fmla="*/ 2690336 w 3359086"/>
                <a:gd name="connsiteY7011" fmla="*/ 2756059 h 3355086"/>
                <a:gd name="connsiteX7012" fmla="*/ 2684144 w 3359086"/>
                <a:gd name="connsiteY7012" fmla="*/ 2762250 h 3355086"/>
                <a:gd name="connsiteX7013" fmla="*/ 2677953 w 3359086"/>
                <a:gd name="connsiteY7013" fmla="*/ 2756059 h 3355086"/>
                <a:gd name="connsiteX7014" fmla="*/ 2684144 w 3359086"/>
                <a:gd name="connsiteY7014" fmla="*/ 2749868 h 3355086"/>
                <a:gd name="connsiteX7015" fmla="*/ 742378 w 3359086"/>
                <a:gd name="connsiteY7015" fmla="*/ 2749772 h 3355086"/>
                <a:gd name="connsiteX7016" fmla="*/ 748569 w 3359086"/>
                <a:gd name="connsiteY7016" fmla="*/ 2755963 h 3355086"/>
                <a:gd name="connsiteX7017" fmla="*/ 742378 w 3359086"/>
                <a:gd name="connsiteY7017" fmla="*/ 2762155 h 3355086"/>
                <a:gd name="connsiteX7018" fmla="*/ 736187 w 3359086"/>
                <a:gd name="connsiteY7018" fmla="*/ 2755963 h 3355086"/>
                <a:gd name="connsiteX7019" fmla="*/ 742378 w 3359086"/>
                <a:gd name="connsiteY7019" fmla="*/ 2749772 h 3355086"/>
                <a:gd name="connsiteX7020" fmla="*/ 2889313 w 3359086"/>
                <a:gd name="connsiteY7020" fmla="*/ 2749392 h 3355086"/>
                <a:gd name="connsiteX7021" fmla="*/ 2895504 w 3359086"/>
                <a:gd name="connsiteY7021" fmla="*/ 2755583 h 3355086"/>
                <a:gd name="connsiteX7022" fmla="*/ 2889932 w 3359086"/>
                <a:gd name="connsiteY7022" fmla="*/ 2761155 h 3355086"/>
                <a:gd name="connsiteX7023" fmla="*/ 2896075 w 3359086"/>
                <a:gd name="connsiteY7023" fmla="*/ 2767298 h 3355086"/>
                <a:gd name="connsiteX7024" fmla="*/ 2891313 w 3359086"/>
                <a:gd name="connsiteY7024" fmla="*/ 2772061 h 3355086"/>
                <a:gd name="connsiteX7025" fmla="*/ 2896647 w 3359086"/>
                <a:gd name="connsiteY7025" fmla="*/ 2777395 h 3355086"/>
                <a:gd name="connsiteX7026" fmla="*/ 2890456 w 3359086"/>
                <a:gd name="connsiteY7026" fmla="*/ 2783587 h 3355086"/>
                <a:gd name="connsiteX7027" fmla="*/ 2884265 w 3359086"/>
                <a:gd name="connsiteY7027" fmla="*/ 2777395 h 3355086"/>
                <a:gd name="connsiteX7028" fmla="*/ 2889027 w 3359086"/>
                <a:gd name="connsiteY7028" fmla="*/ 2772633 h 3355086"/>
                <a:gd name="connsiteX7029" fmla="*/ 2883693 w 3359086"/>
                <a:gd name="connsiteY7029" fmla="*/ 2767298 h 3355086"/>
                <a:gd name="connsiteX7030" fmla="*/ 2889265 w 3359086"/>
                <a:gd name="connsiteY7030" fmla="*/ 2761726 h 3355086"/>
                <a:gd name="connsiteX7031" fmla="*/ 2883122 w 3359086"/>
                <a:gd name="connsiteY7031" fmla="*/ 2755583 h 3355086"/>
                <a:gd name="connsiteX7032" fmla="*/ 2889313 w 3359086"/>
                <a:gd name="connsiteY7032" fmla="*/ 2749392 h 3355086"/>
                <a:gd name="connsiteX7033" fmla="*/ 461009 w 3359086"/>
                <a:gd name="connsiteY7033" fmla="*/ 2747296 h 3355086"/>
                <a:gd name="connsiteX7034" fmla="*/ 467200 w 3359086"/>
                <a:gd name="connsiteY7034" fmla="*/ 2753487 h 3355086"/>
                <a:gd name="connsiteX7035" fmla="*/ 461009 w 3359086"/>
                <a:gd name="connsiteY7035" fmla="*/ 2759678 h 3355086"/>
                <a:gd name="connsiteX7036" fmla="*/ 454818 w 3359086"/>
                <a:gd name="connsiteY7036" fmla="*/ 2753487 h 3355086"/>
                <a:gd name="connsiteX7037" fmla="*/ 461009 w 3359086"/>
                <a:gd name="connsiteY7037" fmla="*/ 2747296 h 3355086"/>
                <a:gd name="connsiteX7038" fmla="*/ 2922079 w 3359086"/>
                <a:gd name="connsiteY7038" fmla="*/ 2746915 h 3355086"/>
                <a:gd name="connsiteX7039" fmla="*/ 2928270 w 3359086"/>
                <a:gd name="connsiteY7039" fmla="*/ 2753106 h 3355086"/>
                <a:gd name="connsiteX7040" fmla="*/ 2922079 w 3359086"/>
                <a:gd name="connsiteY7040" fmla="*/ 2759297 h 3355086"/>
                <a:gd name="connsiteX7041" fmla="*/ 2915888 w 3359086"/>
                <a:gd name="connsiteY7041" fmla="*/ 2753106 h 3355086"/>
                <a:gd name="connsiteX7042" fmla="*/ 2922079 w 3359086"/>
                <a:gd name="connsiteY7042" fmla="*/ 2746915 h 3355086"/>
                <a:gd name="connsiteX7043" fmla="*/ 575976 w 3359086"/>
                <a:gd name="connsiteY7043" fmla="*/ 2746058 h 3355086"/>
                <a:gd name="connsiteX7044" fmla="*/ 582167 w 3359086"/>
                <a:gd name="connsiteY7044" fmla="*/ 2752249 h 3355086"/>
                <a:gd name="connsiteX7045" fmla="*/ 575976 w 3359086"/>
                <a:gd name="connsiteY7045" fmla="*/ 2758440 h 3355086"/>
                <a:gd name="connsiteX7046" fmla="*/ 569785 w 3359086"/>
                <a:gd name="connsiteY7046" fmla="*/ 2752249 h 3355086"/>
                <a:gd name="connsiteX7047" fmla="*/ 575976 w 3359086"/>
                <a:gd name="connsiteY7047" fmla="*/ 2746058 h 3355086"/>
                <a:gd name="connsiteX7048" fmla="*/ 2958559 w 3359086"/>
                <a:gd name="connsiteY7048" fmla="*/ 2745581 h 3355086"/>
                <a:gd name="connsiteX7049" fmla="*/ 2964751 w 3359086"/>
                <a:gd name="connsiteY7049" fmla="*/ 2751772 h 3355086"/>
                <a:gd name="connsiteX7050" fmla="*/ 2958559 w 3359086"/>
                <a:gd name="connsiteY7050" fmla="*/ 2757964 h 3355086"/>
                <a:gd name="connsiteX7051" fmla="*/ 2952368 w 3359086"/>
                <a:gd name="connsiteY7051" fmla="*/ 2751772 h 3355086"/>
                <a:gd name="connsiteX7052" fmla="*/ 2958559 w 3359086"/>
                <a:gd name="connsiteY7052" fmla="*/ 2745581 h 3355086"/>
                <a:gd name="connsiteX7053" fmla="*/ 421290 w 3359086"/>
                <a:gd name="connsiteY7053" fmla="*/ 2745391 h 3355086"/>
                <a:gd name="connsiteX7054" fmla="*/ 427481 w 3359086"/>
                <a:gd name="connsiteY7054" fmla="*/ 2751582 h 3355086"/>
                <a:gd name="connsiteX7055" fmla="*/ 421385 w 3359086"/>
                <a:gd name="connsiteY7055" fmla="*/ 2757678 h 3355086"/>
                <a:gd name="connsiteX7056" fmla="*/ 427100 w 3359086"/>
                <a:gd name="connsiteY7056" fmla="*/ 2763393 h 3355086"/>
                <a:gd name="connsiteX7057" fmla="*/ 420909 w 3359086"/>
                <a:gd name="connsiteY7057" fmla="*/ 2769585 h 3355086"/>
                <a:gd name="connsiteX7058" fmla="*/ 414718 w 3359086"/>
                <a:gd name="connsiteY7058" fmla="*/ 2763393 h 3355086"/>
                <a:gd name="connsiteX7059" fmla="*/ 420814 w 3359086"/>
                <a:gd name="connsiteY7059" fmla="*/ 2757297 h 3355086"/>
                <a:gd name="connsiteX7060" fmla="*/ 415099 w 3359086"/>
                <a:gd name="connsiteY7060" fmla="*/ 2751582 h 3355086"/>
                <a:gd name="connsiteX7061" fmla="*/ 421290 w 3359086"/>
                <a:gd name="connsiteY7061" fmla="*/ 2745391 h 3355086"/>
                <a:gd name="connsiteX7062" fmla="*/ 2933128 w 3359086"/>
                <a:gd name="connsiteY7062" fmla="*/ 2744724 h 3355086"/>
                <a:gd name="connsiteX7063" fmla="*/ 2939319 w 3359086"/>
                <a:gd name="connsiteY7063" fmla="*/ 2750915 h 3355086"/>
                <a:gd name="connsiteX7064" fmla="*/ 2933128 w 3359086"/>
                <a:gd name="connsiteY7064" fmla="*/ 2757107 h 3355086"/>
                <a:gd name="connsiteX7065" fmla="*/ 2926937 w 3359086"/>
                <a:gd name="connsiteY7065" fmla="*/ 2750915 h 3355086"/>
                <a:gd name="connsiteX7066" fmla="*/ 2933128 w 3359086"/>
                <a:gd name="connsiteY7066" fmla="*/ 2744724 h 3355086"/>
                <a:gd name="connsiteX7067" fmla="*/ 2945224 w 3359086"/>
                <a:gd name="connsiteY7067" fmla="*/ 2744248 h 3355086"/>
                <a:gd name="connsiteX7068" fmla="*/ 2951415 w 3359086"/>
                <a:gd name="connsiteY7068" fmla="*/ 2750439 h 3355086"/>
                <a:gd name="connsiteX7069" fmla="*/ 2945224 w 3359086"/>
                <a:gd name="connsiteY7069" fmla="*/ 2756630 h 3355086"/>
                <a:gd name="connsiteX7070" fmla="*/ 2939033 w 3359086"/>
                <a:gd name="connsiteY7070" fmla="*/ 2750439 h 3355086"/>
                <a:gd name="connsiteX7071" fmla="*/ 2945224 w 3359086"/>
                <a:gd name="connsiteY7071" fmla="*/ 2744248 h 3355086"/>
                <a:gd name="connsiteX7072" fmla="*/ 2901505 w 3359086"/>
                <a:gd name="connsiteY7072" fmla="*/ 2743867 h 3355086"/>
                <a:gd name="connsiteX7073" fmla="*/ 2907696 w 3359086"/>
                <a:gd name="connsiteY7073" fmla="*/ 2750058 h 3355086"/>
                <a:gd name="connsiteX7074" fmla="*/ 2901695 w 3359086"/>
                <a:gd name="connsiteY7074" fmla="*/ 2756059 h 3355086"/>
                <a:gd name="connsiteX7075" fmla="*/ 2907220 w 3359086"/>
                <a:gd name="connsiteY7075" fmla="*/ 2761583 h 3355086"/>
                <a:gd name="connsiteX7076" fmla="*/ 2902124 w 3359086"/>
                <a:gd name="connsiteY7076" fmla="*/ 2766680 h 3355086"/>
                <a:gd name="connsiteX7077" fmla="*/ 2907982 w 3359086"/>
                <a:gd name="connsiteY7077" fmla="*/ 2772537 h 3355086"/>
                <a:gd name="connsiteX7078" fmla="*/ 2901791 w 3359086"/>
                <a:gd name="connsiteY7078" fmla="*/ 2778728 h 3355086"/>
                <a:gd name="connsiteX7079" fmla="*/ 2895600 w 3359086"/>
                <a:gd name="connsiteY7079" fmla="*/ 2772537 h 3355086"/>
                <a:gd name="connsiteX7080" fmla="*/ 2900696 w 3359086"/>
                <a:gd name="connsiteY7080" fmla="*/ 2767442 h 3355086"/>
                <a:gd name="connsiteX7081" fmla="*/ 2894838 w 3359086"/>
                <a:gd name="connsiteY7081" fmla="*/ 2761583 h 3355086"/>
                <a:gd name="connsiteX7082" fmla="*/ 2900838 w 3359086"/>
                <a:gd name="connsiteY7082" fmla="*/ 2755583 h 3355086"/>
                <a:gd name="connsiteX7083" fmla="*/ 2895314 w 3359086"/>
                <a:gd name="connsiteY7083" fmla="*/ 2750058 h 3355086"/>
                <a:gd name="connsiteX7084" fmla="*/ 2901505 w 3359086"/>
                <a:gd name="connsiteY7084" fmla="*/ 2743867 h 3355086"/>
                <a:gd name="connsiteX7085" fmla="*/ 444722 w 3359086"/>
                <a:gd name="connsiteY7085" fmla="*/ 2743010 h 3355086"/>
                <a:gd name="connsiteX7086" fmla="*/ 450913 w 3359086"/>
                <a:gd name="connsiteY7086" fmla="*/ 2749201 h 3355086"/>
                <a:gd name="connsiteX7087" fmla="*/ 444722 w 3359086"/>
                <a:gd name="connsiteY7087" fmla="*/ 2755392 h 3355086"/>
                <a:gd name="connsiteX7088" fmla="*/ 438531 w 3359086"/>
                <a:gd name="connsiteY7088" fmla="*/ 2749201 h 3355086"/>
                <a:gd name="connsiteX7089" fmla="*/ 444722 w 3359086"/>
                <a:gd name="connsiteY7089" fmla="*/ 2743010 h 3355086"/>
                <a:gd name="connsiteX7090" fmla="*/ 1083278 w 3359086"/>
                <a:gd name="connsiteY7090" fmla="*/ 2742438 h 3355086"/>
                <a:gd name="connsiteX7091" fmla="*/ 1089469 w 3359086"/>
                <a:gd name="connsiteY7091" fmla="*/ 2748629 h 3355086"/>
                <a:gd name="connsiteX7092" fmla="*/ 1083278 w 3359086"/>
                <a:gd name="connsiteY7092" fmla="*/ 2754820 h 3355086"/>
                <a:gd name="connsiteX7093" fmla="*/ 1077087 w 3359086"/>
                <a:gd name="connsiteY7093" fmla="*/ 2748629 h 3355086"/>
                <a:gd name="connsiteX7094" fmla="*/ 1083278 w 3359086"/>
                <a:gd name="connsiteY7094" fmla="*/ 2742438 h 3355086"/>
                <a:gd name="connsiteX7095" fmla="*/ 411194 w 3359086"/>
                <a:gd name="connsiteY7095" fmla="*/ 2741105 h 3355086"/>
                <a:gd name="connsiteX7096" fmla="*/ 417385 w 3359086"/>
                <a:gd name="connsiteY7096" fmla="*/ 2747296 h 3355086"/>
                <a:gd name="connsiteX7097" fmla="*/ 411194 w 3359086"/>
                <a:gd name="connsiteY7097" fmla="*/ 2753488 h 3355086"/>
                <a:gd name="connsiteX7098" fmla="*/ 405003 w 3359086"/>
                <a:gd name="connsiteY7098" fmla="*/ 2747296 h 3355086"/>
                <a:gd name="connsiteX7099" fmla="*/ 411194 w 3359086"/>
                <a:gd name="connsiteY7099" fmla="*/ 2741105 h 3355086"/>
                <a:gd name="connsiteX7100" fmla="*/ 2478690 w 3359086"/>
                <a:gd name="connsiteY7100" fmla="*/ 2740152 h 3355086"/>
                <a:gd name="connsiteX7101" fmla="*/ 2484882 w 3359086"/>
                <a:gd name="connsiteY7101" fmla="*/ 2746343 h 3355086"/>
                <a:gd name="connsiteX7102" fmla="*/ 2478690 w 3359086"/>
                <a:gd name="connsiteY7102" fmla="*/ 2752534 h 3355086"/>
                <a:gd name="connsiteX7103" fmla="*/ 2472499 w 3359086"/>
                <a:gd name="connsiteY7103" fmla="*/ 2746343 h 3355086"/>
                <a:gd name="connsiteX7104" fmla="*/ 2478690 w 3359086"/>
                <a:gd name="connsiteY7104" fmla="*/ 2740152 h 3355086"/>
                <a:gd name="connsiteX7105" fmla="*/ 2912173 w 3359086"/>
                <a:gd name="connsiteY7105" fmla="*/ 2738628 h 3355086"/>
                <a:gd name="connsiteX7106" fmla="*/ 2918365 w 3359086"/>
                <a:gd name="connsiteY7106" fmla="*/ 2744819 h 3355086"/>
                <a:gd name="connsiteX7107" fmla="*/ 2912173 w 3359086"/>
                <a:gd name="connsiteY7107" fmla="*/ 2751010 h 3355086"/>
                <a:gd name="connsiteX7108" fmla="*/ 2905982 w 3359086"/>
                <a:gd name="connsiteY7108" fmla="*/ 2744819 h 3355086"/>
                <a:gd name="connsiteX7109" fmla="*/ 2912173 w 3359086"/>
                <a:gd name="connsiteY7109" fmla="*/ 2738628 h 3355086"/>
                <a:gd name="connsiteX7110" fmla="*/ 431386 w 3359086"/>
                <a:gd name="connsiteY7110" fmla="*/ 2738152 h 3355086"/>
                <a:gd name="connsiteX7111" fmla="*/ 437577 w 3359086"/>
                <a:gd name="connsiteY7111" fmla="*/ 2744343 h 3355086"/>
                <a:gd name="connsiteX7112" fmla="*/ 431386 w 3359086"/>
                <a:gd name="connsiteY7112" fmla="*/ 2750535 h 3355086"/>
                <a:gd name="connsiteX7113" fmla="*/ 425195 w 3359086"/>
                <a:gd name="connsiteY7113" fmla="*/ 2744343 h 3355086"/>
                <a:gd name="connsiteX7114" fmla="*/ 431386 w 3359086"/>
                <a:gd name="connsiteY7114" fmla="*/ 2738152 h 3355086"/>
                <a:gd name="connsiteX7115" fmla="*/ 400906 w 3359086"/>
                <a:gd name="connsiteY7115" fmla="*/ 2738057 h 3355086"/>
                <a:gd name="connsiteX7116" fmla="*/ 407098 w 3359086"/>
                <a:gd name="connsiteY7116" fmla="*/ 2744248 h 3355086"/>
                <a:gd name="connsiteX7117" fmla="*/ 400906 w 3359086"/>
                <a:gd name="connsiteY7117" fmla="*/ 2750439 h 3355086"/>
                <a:gd name="connsiteX7118" fmla="*/ 394715 w 3359086"/>
                <a:gd name="connsiteY7118" fmla="*/ 2744248 h 3355086"/>
                <a:gd name="connsiteX7119" fmla="*/ 400906 w 3359086"/>
                <a:gd name="connsiteY7119" fmla="*/ 2738057 h 3355086"/>
                <a:gd name="connsiteX7120" fmla="*/ 623125 w 3359086"/>
                <a:gd name="connsiteY7120" fmla="*/ 2737390 h 3355086"/>
                <a:gd name="connsiteX7121" fmla="*/ 629317 w 3359086"/>
                <a:gd name="connsiteY7121" fmla="*/ 2743581 h 3355086"/>
                <a:gd name="connsiteX7122" fmla="*/ 623125 w 3359086"/>
                <a:gd name="connsiteY7122" fmla="*/ 2749772 h 3355086"/>
                <a:gd name="connsiteX7123" fmla="*/ 616934 w 3359086"/>
                <a:gd name="connsiteY7123" fmla="*/ 2743581 h 3355086"/>
                <a:gd name="connsiteX7124" fmla="*/ 623125 w 3359086"/>
                <a:gd name="connsiteY7124" fmla="*/ 2737390 h 3355086"/>
                <a:gd name="connsiteX7125" fmla="*/ 2845022 w 3359086"/>
                <a:gd name="connsiteY7125" fmla="*/ 2737295 h 3355086"/>
                <a:gd name="connsiteX7126" fmla="*/ 2851213 w 3359086"/>
                <a:gd name="connsiteY7126" fmla="*/ 2743486 h 3355086"/>
                <a:gd name="connsiteX7127" fmla="*/ 2845022 w 3359086"/>
                <a:gd name="connsiteY7127" fmla="*/ 2749678 h 3355086"/>
                <a:gd name="connsiteX7128" fmla="*/ 2838831 w 3359086"/>
                <a:gd name="connsiteY7128" fmla="*/ 2743486 h 3355086"/>
                <a:gd name="connsiteX7129" fmla="*/ 2845022 w 3359086"/>
                <a:gd name="connsiteY7129" fmla="*/ 2737295 h 3355086"/>
                <a:gd name="connsiteX7130" fmla="*/ 389953 w 3359086"/>
                <a:gd name="connsiteY7130" fmla="*/ 2736723 h 3355086"/>
                <a:gd name="connsiteX7131" fmla="*/ 395953 w 3359086"/>
                <a:gd name="connsiteY7131" fmla="*/ 2742724 h 3355086"/>
                <a:gd name="connsiteX7132" fmla="*/ 389953 w 3359086"/>
                <a:gd name="connsiteY7132" fmla="*/ 2748725 h 3355086"/>
                <a:gd name="connsiteX7133" fmla="*/ 383952 w 3359086"/>
                <a:gd name="connsiteY7133" fmla="*/ 2742724 h 3355086"/>
                <a:gd name="connsiteX7134" fmla="*/ 389953 w 3359086"/>
                <a:gd name="connsiteY7134" fmla="*/ 2736723 h 3355086"/>
                <a:gd name="connsiteX7135" fmla="*/ 2868072 w 3359086"/>
                <a:gd name="connsiteY7135" fmla="*/ 2736342 h 3355086"/>
                <a:gd name="connsiteX7136" fmla="*/ 2874264 w 3359086"/>
                <a:gd name="connsiteY7136" fmla="*/ 2742533 h 3355086"/>
                <a:gd name="connsiteX7137" fmla="*/ 2868072 w 3359086"/>
                <a:gd name="connsiteY7137" fmla="*/ 2748725 h 3355086"/>
                <a:gd name="connsiteX7138" fmla="*/ 2861881 w 3359086"/>
                <a:gd name="connsiteY7138" fmla="*/ 2742533 h 3355086"/>
                <a:gd name="connsiteX7139" fmla="*/ 2868072 w 3359086"/>
                <a:gd name="connsiteY7139" fmla="*/ 2736342 h 3355086"/>
                <a:gd name="connsiteX7140" fmla="*/ 2816256 w 3359086"/>
                <a:gd name="connsiteY7140" fmla="*/ 2735961 h 3355086"/>
                <a:gd name="connsiteX7141" fmla="*/ 2822448 w 3359086"/>
                <a:gd name="connsiteY7141" fmla="*/ 2742152 h 3355086"/>
                <a:gd name="connsiteX7142" fmla="*/ 2816256 w 3359086"/>
                <a:gd name="connsiteY7142" fmla="*/ 2748343 h 3355086"/>
                <a:gd name="connsiteX7143" fmla="*/ 2810065 w 3359086"/>
                <a:gd name="connsiteY7143" fmla="*/ 2742152 h 3355086"/>
                <a:gd name="connsiteX7144" fmla="*/ 2816256 w 3359086"/>
                <a:gd name="connsiteY7144" fmla="*/ 2735961 h 3355086"/>
                <a:gd name="connsiteX7145" fmla="*/ 2623470 w 3359086"/>
                <a:gd name="connsiteY7145" fmla="*/ 2735961 h 3355086"/>
                <a:gd name="connsiteX7146" fmla="*/ 2629661 w 3359086"/>
                <a:gd name="connsiteY7146" fmla="*/ 2742152 h 3355086"/>
                <a:gd name="connsiteX7147" fmla="*/ 2623470 w 3359086"/>
                <a:gd name="connsiteY7147" fmla="*/ 2748343 h 3355086"/>
                <a:gd name="connsiteX7148" fmla="*/ 2617279 w 3359086"/>
                <a:gd name="connsiteY7148" fmla="*/ 2742152 h 3355086"/>
                <a:gd name="connsiteX7149" fmla="*/ 2623470 w 3359086"/>
                <a:gd name="connsiteY7149" fmla="*/ 2735961 h 3355086"/>
                <a:gd name="connsiteX7150" fmla="*/ 1640204 w 3359086"/>
                <a:gd name="connsiteY7150" fmla="*/ 2734152 h 3355086"/>
                <a:gd name="connsiteX7151" fmla="*/ 1646396 w 3359086"/>
                <a:gd name="connsiteY7151" fmla="*/ 2740343 h 3355086"/>
                <a:gd name="connsiteX7152" fmla="*/ 1640204 w 3359086"/>
                <a:gd name="connsiteY7152" fmla="*/ 2746534 h 3355086"/>
                <a:gd name="connsiteX7153" fmla="*/ 1634013 w 3359086"/>
                <a:gd name="connsiteY7153" fmla="*/ 2740343 h 3355086"/>
                <a:gd name="connsiteX7154" fmla="*/ 1640204 w 3359086"/>
                <a:gd name="connsiteY7154" fmla="*/ 2734152 h 3355086"/>
                <a:gd name="connsiteX7155" fmla="*/ 2921983 w 3359086"/>
                <a:gd name="connsiteY7155" fmla="*/ 2734056 h 3355086"/>
                <a:gd name="connsiteX7156" fmla="*/ 2928175 w 3359086"/>
                <a:gd name="connsiteY7156" fmla="*/ 2740247 h 3355086"/>
                <a:gd name="connsiteX7157" fmla="*/ 2921983 w 3359086"/>
                <a:gd name="connsiteY7157" fmla="*/ 2746438 h 3355086"/>
                <a:gd name="connsiteX7158" fmla="*/ 2915792 w 3359086"/>
                <a:gd name="connsiteY7158" fmla="*/ 2740247 h 3355086"/>
                <a:gd name="connsiteX7159" fmla="*/ 2921983 w 3359086"/>
                <a:gd name="connsiteY7159" fmla="*/ 2734056 h 3355086"/>
                <a:gd name="connsiteX7160" fmla="*/ 2886455 w 3359086"/>
                <a:gd name="connsiteY7160" fmla="*/ 2733580 h 3355086"/>
                <a:gd name="connsiteX7161" fmla="*/ 2892646 w 3359086"/>
                <a:gd name="connsiteY7161" fmla="*/ 2739771 h 3355086"/>
                <a:gd name="connsiteX7162" fmla="*/ 2886455 w 3359086"/>
                <a:gd name="connsiteY7162" fmla="*/ 2745962 h 3355086"/>
                <a:gd name="connsiteX7163" fmla="*/ 2880264 w 3359086"/>
                <a:gd name="connsiteY7163" fmla="*/ 2739771 h 3355086"/>
                <a:gd name="connsiteX7164" fmla="*/ 2886455 w 3359086"/>
                <a:gd name="connsiteY7164" fmla="*/ 2733580 h 3355086"/>
                <a:gd name="connsiteX7165" fmla="*/ 2977990 w 3359086"/>
                <a:gd name="connsiteY7165" fmla="*/ 2733389 h 3355086"/>
                <a:gd name="connsiteX7166" fmla="*/ 2981514 w 3359086"/>
                <a:gd name="connsiteY7166" fmla="*/ 2736913 h 3355086"/>
                <a:gd name="connsiteX7167" fmla="*/ 2977990 w 3359086"/>
                <a:gd name="connsiteY7167" fmla="*/ 2740438 h 3355086"/>
                <a:gd name="connsiteX7168" fmla="*/ 2974466 w 3359086"/>
                <a:gd name="connsiteY7168" fmla="*/ 2736913 h 3355086"/>
                <a:gd name="connsiteX7169" fmla="*/ 2977990 w 3359086"/>
                <a:gd name="connsiteY7169" fmla="*/ 2733389 h 3355086"/>
                <a:gd name="connsiteX7170" fmla="*/ 420147 w 3359086"/>
                <a:gd name="connsiteY7170" fmla="*/ 2733104 h 3355086"/>
                <a:gd name="connsiteX7171" fmla="*/ 426338 w 3359086"/>
                <a:gd name="connsiteY7171" fmla="*/ 2739295 h 3355086"/>
                <a:gd name="connsiteX7172" fmla="*/ 420147 w 3359086"/>
                <a:gd name="connsiteY7172" fmla="*/ 2745487 h 3355086"/>
                <a:gd name="connsiteX7173" fmla="*/ 413956 w 3359086"/>
                <a:gd name="connsiteY7173" fmla="*/ 2739295 h 3355086"/>
                <a:gd name="connsiteX7174" fmla="*/ 420147 w 3359086"/>
                <a:gd name="connsiteY7174" fmla="*/ 2733104 h 3355086"/>
                <a:gd name="connsiteX7175" fmla="*/ 1751552 w 3359086"/>
                <a:gd name="connsiteY7175" fmla="*/ 2733009 h 3355086"/>
                <a:gd name="connsiteX7176" fmla="*/ 1757743 w 3359086"/>
                <a:gd name="connsiteY7176" fmla="*/ 2739200 h 3355086"/>
                <a:gd name="connsiteX7177" fmla="*/ 1751552 w 3359086"/>
                <a:gd name="connsiteY7177" fmla="*/ 2745391 h 3355086"/>
                <a:gd name="connsiteX7178" fmla="*/ 1745361 w 3359086"/>
                <a:gd name="connsiteY7178" fmla="*/ 2739200 h 3355086"/>
                <a:gd name="connsiteX7179" fmla="*/ 1751552 w 3359086"/>
                <a:gd name="connsiteY7179" fmla="*/ 2733009 h 3355086"/>
                <a:gd name="connsiteX7180" fmla="*/ 2297048 w 3359086"/>
                <a:gd name="connsiteY7180" fmla="*/ 2731961 h 3355086"/>
                <a:gd name="connsiteX7181" fmla="*/ 2303240 w 3359086"/>
                <a:gd name="connsiteY7181" fmla="*/ 2738152 h 3355086"/>
                <a:gd name="connsiteX7182" fmla="*/ 2297048 w 3359086"/>
                <a:gd name="connsiteY7182" fmla="*/ 2744343 h 3355086"/>
                <a:gd name="connsiteX7183" fmla="*/ 2290857 w 3359086"/>
                <a:gd name="connsiteY7183" fmla="*/ 2738152 h 3355086"/>
                <a:gd name="connsiteX7184" fmla="*/ 2297048 w 3359086"/>
                <a:gd name="connsiteY7184" fmla="*/ 2731961 h 3355086"/>
                <a:gd name="connsiteX7185" fmla="*/ 2780632 w 3359086"/>
                <a:gd name="connsiteY7185" fmla="*/ 2731485 h 3355086"/>
                <a:gd name="connsiteX7186" fmla="*/ 2786823 w 3359086"/>
                <a:gd name="connsiteY7186" fmla="*/ 2737676 h 3355086"/>
                <a:gd name="connsiteX7187" fmla="*/ 2780632 w 3359086"/>
                <a:gd name="connsiteY7187" fmla="*/ 2743867 h 3355086"/>
                <a:gd name="connsiteX7188" fmla="*/ 2774441 w 3359086"/>
                <a:gd name="connsiteY7188" fmla="*/ 2737676 h 3355086"/>
                <a:gd name="connsiteX7189" fmla="*/ 2780632 w 3359086"/>
                <a:gd name="connsiteY7189" fmla="*/ 2731485 h 3355086"/>
                <a:gd name="connsiteX7190" fmla="*/ 1529143 w 3359086"/>
                <a:gd name="connsiteY7190" fmla="*/ 2731104 h 3355086"/>
                <a:gd name="connsiteX7191" fmla="*/ 1535335 w 3359086"/>
                <a:gd name="connsiteY7191" fmla="*/ 2737295 h 3355086"/>
                <a:gd name="connsiteX7192" fmla="*/ 1529143 w 3359086"/>
                <a:gd name="connsiteY7192" fmla="*/ 2743486 h 3355086"/>
                <a:gd name="connsiteX7193" fmla="*/ 1522952 w 3359086"/>
                <a:gd name="connsiteY7193" fmla="*/ 2737295 h 3355086"/>
                <a:gd name="connsiteX7194" fmla="*/ 1529143 w 3359086"/>
                <a:gd name="connsiteY7194" fmla="*/ 2731104 h 3355086"/>
                <a:gd name="connsiteX7195" fmla="*/ 2931604 w 3359086"/>
                <a:gd name="connsiteY7195" fmla="*/ 2730437 h 3355086"/>
                <a:gd name="connsiteX7196" fmla="*/ 2937795 w 3359086"/>
                <a:gd name="connsiteY7196" fmla="*/ 2736628 h 3355086"/>
                <a:gd name="connsiteX7197" fmla="*/ 2931604 w 3359086"/>
                <a:gd name="connsiteY7197" fmla="*/ 2742820 h 3355086"/>
                <a:gd name="connsiteX7198" fmla="*/ 2925413 w 3359086"/>
                <a:gd name="connsiteY7198" fmla="*/ 2736628 h 3355086"/>
                <a:gd name="connsiteX7199" fmla="*/ 2931604 w 3359086"/>
                <a:gd name="connsiteY7199" fmla="*/ 2730437 h 3355086"/>
                <a:gd name="connsiteX7200" fmla="*/ 2901314 w 3359086"/>
                <a:gd name="connsiteY7200" fmla="*/ 2729675 h 3355086"/>
                <a:gd name="connsiteX7201" fmla="*/ 2907505 w 3359086"/>
                <a:gd name="connsiteY7201" fmla="*/ 2735866 h 3355086"/>
                <a:gd name="connsiteX7202" fmla="*/ 2901314 w 3359086"/>
                <a:gd name="connsiteY7202" fmla="*/ 2742057 h 3355086"/>
                <a:gd name="connsiteX7203" fmla="*/ 2895123 w 3359086"/>
                <a:gd name="connsiteY7203" fmla="*/ 2735866 h 3355086"/>
                <a:gd name="connsiteX7204" fmla="*/ 2901314 w 3359086"/>
                <a:gd name="connsiteY7204" fmla="*/ 2729675 h 3355086"/>
                <a:gd name="connsiteX7205" fmla="*/ 819340 w 3359086"/>
                <a:gd name="connsiteY7205" fmla="*/ 2728913 h 3355086"/>
                <a:gd name="connsiteX7206" fmla="*/ 825531 w 3359086"/>
                <a:gd name="connsiteY7206" fmla="*/ 2735104 h 3355086"/>
                <a:gd name="connsiteX7207" fmla="*/ 819340 w 3359086"/>
                <a:gd name="connsiteY7207" fmla="*/ 2741296 h 3355086"/>
                <a:gd name="connsiteX7208" fmla="*/ 813149 w 3359086"/>
                <a:gd name="connsiteY7208" fmla="*/ 2735104 h 3355086"/>
                <a:gd name="connsiteX7209" fmla="*/ 819340 w 3359086"/>
                <a:gd name="connsiteY7209" fmla="*/ 2728913 h 3355086"/>
                <a:gd name="connsiteX7210" fmla="*/ 410146 w 3359086"/>
                <a:gd name="connsiteY7210" fmla="*/ 2728341 h 3355086"/>
                <a:gd name="connsiteX7211" fmla="*/ 416337 w 3359086"/>
                <a:gd name="connsiteY7211" fmla="*/ 2734532 h 3355086"/>
                <a:gd name="connsiteX7212" fmla="*/ 410146 w 3359086"/>
                <a:gd name="connsiteY7212" fmla="*/ 2740724 h 3355086"/>
                <a:gd name="connsiteX7213" fmla="*/ 403955 w 3359086"/>
                <a:gd name="connsiteY7213" fmla="*/ 2734532 h 3355086"/>
                <a:gd name="connsiteX7214" fmla="*/ 410146 w 3359086"/>
                <a:gd name="connsiteY7214" fmla="*/ 2728341 h 3355086"/>
                <a:gd name="connsiteX7215" fmla="*/ 2964465 w 3359086"/>
                <a:gd name="connsiteY7215" fmla="*/ 2728055 h 3355086"/>
                <a:gd name="connsiteX7216" fmla="*/ 2970657 w 3359086"/>
                <a:gd name="connsiteY7216" fmla="*/ 2734246 h 3355086"/>
                <a:gd name="connsiteX7217" fmla="*/ 2964465 w 3359086"/>
                <a:gd name="connsiteY7217" fmla="*/ 2740438 h 3355086"/>
                <a:gd name="connsiteX7218" fmla="*/ 2958274 w 3359086"/>
                <a:gd name="connsiteY7218" fmla="*/ 2734246 h 3355086"/>
                <a:gd name="connsiteX7219" fmla="*/ 2964465 w 3359086"/>
                <a:gd name="connsiteY7219" fmla="*/ 2728055 h 3355086"/>
                <a:gd name="connsiteX7220" fmla="*/ 1861851 w 3359086"/>
                <a:gd name="connsiteY7220" fmla="*/ 2727865 h 3355086"/>
                <a:gd name="connsiteX7221" fmla="*/ 1868042 w 3359086"/>
                <a:gd name="connsiteY7221" fmla="*/ 2734056 h 3355086"/>
                <a:gd name="connsiteX7222" fmla="*/ 1861851 w 3359086"/>
                <a:gd name="connsiteY7222" fmla="*/ 2740247 h 3355086"/>
                <a:gd name="connsiteX7223" fmla="*/ 1855660 w 3359086"/>
                <a:gd name="connsiteY7223" fmla="*/ 2734056 h 3355086"/>
                <a:gd name="connsiteX7224" fmla="*/ 1861851 w 3359086"/>
                <a:gd name="connsiteY7224" fmla="*/ 2727865 h 3355086"/>
                <a:gd name="connsiteX7225" fmla="*/ 2952464 w 3359086"/>
                <a:gd name="connsiteY7225" fmla="*/ 2727198 h 3355086"/>
                <a:gd name="connsiteX7226" fmla="*/ 2958655 w 3359086"/>
                <a:gd name="connsiteY7226" fmla="*/ 2733389 h 3355086"/>
                <a:gd name="connsiteX7227" fmla="*/ 2952464 w 3359086"/>
                <a:gd name="connsiteY7227" fmla="*/ 2739580 h 3355086"/>
                <a:gd name="connsiteX7228" fmla="*/ 2947464 w 3359086"/>
                <a:gd name="connsiteY7228" fmla="*/ 2734580 h 3355086"/>
                <a:gd name="connsiteX7229" fmla="*/ 2941605 w 3359086"/>
                <a:gd name="connsiteY7229" fmla="*/ 2740438 h 3355086"/>
                <a:gd name="connsiteX7230" fmla="*/ 2935414 w 3359086"/>
                <a:gd name="connsiteY7230" fmla="*/ 2734246 h 3355086"/>
                <a:gd name="connsiteX7231" fmla="*/ 2941605 w 3359086"/>
                <a:gd name="connsiteY7231" fmla="*/ 2728055 h 3355086"/>
                <a:gd name="connsiteX7232" fmla="*/ 2946606 w 3359086"/>
                <a:gd name="connsiteY7232" fmla="*/ 2733056 h 3355086"/>
                <a:gd name="connsiteX7233" fmla="*/ 2913506 w 3359086"/>
                <a:gd name="connsiteY7233" fmla="*/ 2725293 h 3355086"/>
                <a:gd name="connsiteX7234" fmla="*/ 2919697 w 3359086"/>
                <a:gd name="connsiteY7234" fmla="*/ 2731484 h 3355086"/>
                <a:gd name="connsiteX7235" fmla="*/ 2913506 w 3359086"/>
                <a:gd name="connsiteY7235" fmla="*/ 2737676 h 3355086"/>
                <a:gd name="connsiteX7236" fmla="*/ 2907315 w 3359086"/>
                <a:gd name="connsiteY7236" fmla="*/ 2731484 h 3355086"/>
                <a:gd name="connsiteX7237" fmla="*/ 2913506 w 3359086"/>
                <a:gd name="connsiteY7237" fmla="*/ 2725293 h 3355086"/>
                <a:gd name="connsiteX7238" fmla="*/ 471201 w 3359086"/>
                <a:gd name="connsiteY7238" fmla="*/ 2724912 h 3355086"/>
                <a:gd name="connsiteX7239" fmla="*/ 477392 w 3359086"/>
                <a:gd name="connsiteY7239" fmla="*/ 2731103 h 3355086"/>
                <a:gd name="connsiteX7240" fmla="*/ 471201 w 3359086"/>
                <a:gd name="connsiteY7240" fmla="*/ 2737294 h 3355086"/>
                <a:gd name="connsiteX7241" fmla="*/ 465010 w 3359086"/>
                <a:gd name="connsiteY7241" fmla="*/ 2731103 h 3355086"/>
                <a:gd name="connsiteX7242" fmla="*/ 471201 w 3359086"/>
                <a:gd name="connsiteY7242" fmla="*/ 2724912 h 3355086"/>
                <a:gd name="connsiteX7243" fmla="*/ 449865 w 3359086"/>
                <a:gd name="connsiteY7243" fmla="*/ 2724150 h 3355086"/>
                <a:gd name="connsiteX7244" fmla="*/ 456056 w 3359086"/>
                <a:gd name="connsiteY7244" fmla="*/ 2730341 h 3355086"/>
                <a:gd name="connsiteX7245" fmla="*/ 449865 w 3359086"/>
                <a:gd name="connsiteY7245" fmla="*/ 2736533 h 3355086"/>
                <a:gd name="connsiteX7246" fmla="*/ 443674 w 3359086"/>
                <a:gd name="connsiteY7246" fmla="*/ 2730341 h 3355086"/>
                <a:gd name="connsiteX7247" fmla="*/ 449865 w 3359086"/>
                <a:gd name="connsiteY7247" fmla="*/ 2724150 h 3355086"/>
                <a:gd name="connsiteX7248" fmla="*/ 1419700 w 3359086"/>
                <a:gd name="connsiteY7248" fmla="*/ 2724055 h 3355086"/>
                <a:gd name="connsiteX7249" fmla="*/ 1425892 w 3359086"/>
                <a:gd name="connsiteY7249" fmla="*/ 2730246 h 3355086"/>
                <a:gd name="connsiteX7250" fmla="*/ 1419700 w 3359086"/>
                <a:gd name="connsiteY7250" fmla="*/ 2736437 h 3355086"/>
                <a:gd name="connsiteX7251" fmla="*/ 1413509 w 3359086"/>
                <a:gd name="connsiteY7251" fmla="*/ 2730246 h 3355086"/>
                <a:gd name="connsiteX7252" fmla="*/ 1419700 w 3359086"/>
                <a:gd name="connsiteY7252" fmla="*/ 2724055 h 3355086"/>
                <a:gd name="connsiteX7253" fmla="*/ 370902 w 3359086"/>
                <a:gd name="connsiteY7253" fmla="*/ 2724055 h 3355086"/>
                <a:gd name="connsiteX7254" fmla="*/ 372236 w 3359086"/>
                <a:gd name="connsiteY7254" fmla="*/ 2725388 h 3355086"/>
                <a:gd name="connsiteX7255" fmla="*/ 370902 w 3359086"/>
                <a:gd name="connsiteY7255" fmla="*/ 2726722 h 3355086"/>
                <a:gd name="connsiteX7256" fmla="*/ 369569 w 3359086"/>
                <a:gd name="connsiteY7256" fmla="*/ 2725388 h 3355086"/>
                <a:gd name="connsiteX7257" fmla="*/ 370902 w 3359086"/>
                <a:gd name="connsiteY7257" fmla="*/ 2724055 h 3355086"/>
                <a:gd name="connsiteX7258" fmla="*/ 680561 w 3359086"/>
                <a:gd name="connsiteY7258" fmla="*/ 2723769 h 3355086"/>
                <a:gd name="connsiteX7259" fmla="*/ 686752 w 3359086"/>
                <a:gd name="connsiteY7259" fmla="*/ 2729960 h 3355086"/>
                <a:gd name="connsiteX7260" fmla="*/ 680561 w 3359086"/>
                <a:gd name="connsiteY7260" fmla="*/ 2736151 h 3355086"/>
                <a:gd name="connsiteX7261" fmla="*/ 674370 w 3359086"/>
                <a:gd name="connsiteY7261" fmla="*/ 2729960 h 3355086"/>
                <a:gd name="connsiteX7262" fmla="*/ 680561 w 3359086"/>
                <a:gd name="connsiteY7262" fmla="*/ 2723769 h 3355086"/>
                <a:gd name="connsiteX7263" fmla="*/ 497871 w 3359086"/>
                <a:gd name="connsiteY7263" fmla="*/ 2723388 h 3355086"/>
                <a:gd name="connsiteX7264" fmla="*/ 504062 w 3359086"/>
                <a:gd name="connsiteY7264" fmla="*/ 2729579 h 3355086"/>
                <a:gd name="connsiteX7265" fmla="*/ 497871 w 3359086"/>
                <a:gd name="connsiteY7265" fmla="*/ 2735770 h 3355086"/>
                <a:gd name="connsiteX7266" fmla="*/ 491680 w 3359086"/>
                <a:gd name="connsiteY7266" fmla="*/ 2729579 h 3355086"/>
                <a:gd name="connsiteX7267" fmla="*/ 497871 w 3359086"/>
                <a:gd name="connsiteY7267" fmla="*/ 2723388 h 3355086"/>
                <a:gd name="connsiteX7268" fmla="*/ 2736627 w 3359086"/>
                <a:gd name="connsiteY7268" fmla="*/ 2723007 h 3355086"/>
                <a:gd name="connsiteX7269" fmla="*/ 2742818 w 3359086"/>
                <a:gd name="connsiteY7269" fmla="*/ 2729198 h 3355086"/>
                <a:gd name="connsiteX7270" fmla="*/ 2736627 w 3359086"/>
                <a:gd name="connsiteY7270" fmla="*/ 2735390 h 3355086"/>
                <a:gd name="connsiteX7271" fmla="*/ 2730436 w 3359086"/>
                <a:gd name="connsiteY7271" fmla="*/ 2729198 h 3355086"/>
                <a:gd name="connsiteX7272" fmla="*/ 2736627 w 3359086"/>
                <a:gd name="connsiteY7272" fmla="*/ 2723007 h 3355086"/>
                <a:gd name="connsiteX7273" fmla="*/ 994409 w 3359086"/>
                <a:gd name="connsiteY7273" fmla="*/ 2722340 h 3355086"/>
                <a:gd name="connsiteX7274" fmla="*/ 1000601 w 3359086"/>
                <a:gd name="connsiteY7274" fmla="*/ 2728531 h 3355086"/>
                <a:gd name="connsiteX7275" fmla="*/ 994409 w 3359086"/>
                <a:gd name="connsiteY7275" fmla="*/ 2734723 h 3355086"/>
                <a:gd name="connsiteX7276" fmla="*/ 988218 w 3359086"/>
                <a:gd name="connsiteY7276" fmla="*/ 2728531 h 3355086"/>
                <a:gd name="connsiteX7277" fmla="*/ 994409 w 3359086"/>
                <a:gd name="connsiteY7277" fmla="*/ 2722340 h 3355086"/>
                <a:gd name="connsiteX7278" fmla="*/ 432910 w 3359086"/>
                <a:gd name="connsiteY7278" fmla="*/ 2721674 h 3355086"/>
                <a:gd name="connsiteX7279" fmla="*/ 439101 w 3359086"/>
                <a:gd name="connsiteY7279" fmla="*/ 2727865 h 3355086"/>
                <a:gd name="connsiteX7280" fmla="*/ 432910 w 3359086"/>
                <a:gd name="connsiteY7280" fmla="*/ 2734056 h 3355086"/>
                <a:gd name="connsiteX7281" fmla="*/ 426719 w 3359086"/>
                <a:gd name="connsiteY7281" fmla="*/ 2727865 h 3355086"/>
                <a:gd name="connsiteX7282" fmla="*/ 432910 w 3359086"/>
                <a:gd name="connsiteY7282" fmla="*/ 2721674 h 3355086"/>
                <a:gd name="connsiteX7283" fmla="*/ 2923793 w 3359086"/>
                <a:gd name="connsiteY7283" fmla="*/ 2720817 h 3355086"/>
                <a:gd name="connsiteX7284" fmla="*/ 2929984 w 3359086"/>
                <a:gd name="connsiteY7284" fmla="*/ 2727008 h 3355086"/>
                <a:gd name="connsiteX7285" fmla="*/ 2923793 w 3359086"/>
                <a:gd name="connsiteY7285" fmla="*/ 2733199 h 3355086"/>
                <a:gd name="connsiteX7286" fmla="*/ 2917602 w 3359086"/>
                <a:gd name="connsiteY7286" fmla="*/ 2727008 h 3355086"/>
                <a:gd name="connsiteX7287" fmla="*/ 2923793 w 3359086"/>
                <a:gd name="connsiteY7287" fmla="*/ 2720817 h 3355086"/>
                <a:gd name="connsiteX7288" fmla="*/ 381666 w 3359086"/>
                <a:gd name="connsiteY7288" fmla="*/ 2719578 h 3355086"/>
                <a:gd name="connsiteX7289" fmla="*/ 387430 w 3359086"/>
                <a:gd name="connsiteY7289" fmla="*/ 2725341 h 3355086"/>
                <a:gd name="connsiteX7290" fmla="*/ 391477 w 3359086"/>
                <a:gd name="connsiteY7290" fmla="*/ 2721293 h 3355086"/>
                <a:gd name="connsiteX7291" fmla="*/ 397668 w 3359086"/>
                <a:gd name="connsiteY7291" fmla="*/ 2727484 h 3355086"/>
                <a:gd name="connsiteX7292" fmla="*/ 400811 w 3359086"/>
                <a:gd name="connsiteY7292" fmla="*/ 2724341 h 3355086"/>
                <a:gd name="connsiteX7293" fmla="*/ 407002 w 3359086"/>
                <a:gd name="connsiteY7293" fmla="*/ 2730532 h 3355086"/>
                <a:gd name="connsiteX7294" fmla="*/ 400811 w 3359086"/>
                <a:gd name="connsiteY7294" fmla="*/ 2736723 h 3355086"/>
                <a:gd name="connsiteX7295" fmla="*/ 394620 w 3359086"/>
                <a:gd name="connsiteY7295" fmla="*/ 2730532 h 3355086"/>
                <a:gd name="connsiteX7296" fmla="*/ 391477 w 3359086"/>
                <a:gd name="connsiteY7296" fmla="*/ 2733675 h 3355086"/>
                <a:gd name="connsiteX7297" fmla="*/ 385714 w 3359086"/>
                <a:gd name="connsiteY7297" fmla="*/ 2727913 h 3355086"/>
                <a:gd name="connsiteX7298" fmla="*/ 381666 w 3359086"/>
                <a:gd name="connsiteY7298" fmla="*/ 2731960 h 3355086"/>
                <a:gd name="connsiteX7299" fmla="*/ 375475 w 3359086"/>
                <a:gd name="connsiteY7299" fmla="*/ 2725769 h 3355086"/>
                <a:gd name="connsiteX7300" fmla="*/ 381666 w 3359086"/>
                <a:gd name="connsiteY7300" fmla="*/ 2719578 h 3355086"/>
                <a:gd name="connsiteX7301" fmla="*/ 531304 w 3359086"/>
                <a:gd name="connsiteY7301" fmla="*/ 2718912 h 3355086"/>
                <a:gd name="connsiteX7302" fmla="*/ 537495 w 3359086"/>
                <a:gd name="connsiteY7302" fmla="*/ 2725103 h 3355086"/>
                <a:gd name="connsiteX7303" fmla="*/ 531304 w 3359086"/>
                <a:gd name="connsiteY7303" fmla="*/ 2731294 h 3355086"/>
                <a:gd name="connsiteX7304" fmla="*/ 525113 w 3359086"/>
                <a:gd name="connsiteY7304" fmla="*/ 2725103 h 3355086"/>
                <a:gd name="connsiteX7305" fmla="*/ 531304 w 3359086"/>
                <a:gd name="connsiteY7305" fmla="*/ 2718912 h 3355086"/>
                <a:gd name="connsiteX7306" fmla="*/ 1970055 w 3359086"/>
                <a:gd name="connsiteY7306" fmla="*/ 2718721 h 3355086"/>
                <a:gd name="connsiteX7307" fmla="*/ 1976247 w 3359086"/>
                <a:gd name="connsiteY7307" fmla="*/ 2724912 h 3355086"/>
                <a:gd name="connsiteX7308" fmla="*/ 1970055 w 3359086"/>
                <a:gd name="connsiteY7308" fmla="*/ 2731103 h 3355086"/>
                <a:gd name="connsiteX7309" fmla="*/ 1963864 w 3359086"/>
                <a:gd name="connsiteY7309" fmla="*/ 2724912 h 3355086"/>
                <a:gd name="connsiteX7310" fmla="*/ 1970055 w 3359086"/>
                <a:gd name="connsiteY7310" fmla="*/ 2718721 h 3355086"/>
                <a:gd name="connsiteX7311" fmla="*/ 419290 w 3359086"/>
                <a:gd name="connsiteY7311" fmla="*/ 2718245 h 3355086"/>
                <a:gd name="connsiteX7312" fmla="*/ 425481 w 3359086"/>
                <a:gd name="connsiteY7312" fmla="*/ 2724436 h 3355086"/>
                <a:gd name="connsiteX7313" fmla="*/ 419290 w 3359086"/>
                <a:gd name="connsiteY7313" fmla="*/ 2730628 h 3355086"/>
                <a:gd name="connsiteX7314" fmla="*/ 413099 w 3359086"/>
                <a:gd name="connsiteY7314" fmla="*/ 2724436 h 3355086"/>
                <a:gd name="connsiteX7315" fmla="*/ 419290 w 3359086"/>
                <a:gd name="connsiteY7315" fmla="*/ 2718245 h 3355086"/>
                <a:gd name="connsiteX7316" fmla="*/ 2550699 w 3359086"/>
                <a:gd name="connsiteY7316" fmla="*/ 2715768 h 3355086"/>
                <a:gd name="connsiteX7317" fmla="*/ 2556890 w 3359086"/>
                <a:gd name="connsiteY7317" fmla="*/ 2721959 h 3355086"/>
                <a:gd name="connsiteX7318" fmla="*/ 2550699 w 3359086"/>
                <a:gd name="connsiteY7318" fmla="*/ 2728151 h 3355086"/>
                <a:gd name="connsiteX7319" fmla="*/ 2544508 w 3359086"/>
                <a:gd name="connsiteY7319" fmla="*/ 2721959 h 3355086"/>
                <a:gd name="connsiteX7320" fmla="*/ 2550699 w 3359086"/>
                <a:gd name="connsiteY7320" fmla="*/ 2715768 h 3355086"/>
                <a:gd name="connsiteX7321" fmla="*/ 408050 w 3359086"/>
                <a:gd name="connsiteY7321" fmla="*/ 2714339 h 3355086"/>
                <a:gd name="connsiteX7322" fmla="*/ 414242 w 3359086"/>
                <a:gd name="connsiteY7322" fmla="*/ 2720530 h 3355086"/>
                <a:gd name="connsiteX7323" fmla="*/ 408050 w 3359086"/>
                <a:gd name="connsiteY7323" fmla="*/ 2726722 h 3355086"/>
                <a:gd name="connsiteX7324" fmla="*/ 401859 w 3359086"/>
                <a:gd name="connsiteY7324" fmla="*/ 2720530 h 3355086"/>
                <a:gd name="connsiteX7325" fmla="*/ 408050 w 3359086"/>
                <a:gd name="connsiteY7325" fmla="*/ 2714339 h 3355086"/>
                <a:gd name="connsiteX7326" fmla="*/ 1312925 w 3359086"/>
                <a:gd name="connsiteY7326" fmla="*/ 2713292 h 3355086"/>
                <a:gd name="connsiteX7327" fmla="*/ 1319117 w 3359086"/>
                <a:gd name="connsiteY7327" fmla="*/ 2719483 h 3355086"/>
                <a:gd name="connsiteX7328" fmla="*/ 1312925 w 3359086"/>
                <a:gd name="connsiteY7328" fmla="*/ 2725674 h 3355086"/>
                <a:gd name="connsiteX7329" fmla="*/ 1306734 w 3359086"/>
                <a:gd name="connsiteY7329" fmla="*/ 2719483 h 3355086"/>
                <a:gd name="connsiteX7330" fmla="*/ 1312925 w 3359086"/>
                <a:gd name="connsiteY7330" fmla="*/ 2713292 h 3355086"/>
                <a:gd name="connsiteX7331" fmla="*/ 2983324 w 3359086"/>
                <a:gd name="connsiteY7331" fmla="*/ 2712530 h 3355086"/>
                <a:gd name="connsiteX7332" fmla="*/ 2989515 w 3359086"/>
                <a:gd name="connsiteY7332" fmla="*/ 2718721 h 3355086"/>
                <a:gd name="connsiteX7333" fmla="*/ 2983324 w 3359086"/>
                <a:gd name="connsiteY7333" fmla="*/ 2724913 h 3355086"/>
                <a:gd name="connsiteX7334" fmla="*/ 2977133 w 3359086"/>
                <a:gd name="connsiteY7334" fmla="*/ 2718721 h 3355086"/>
                <a:gd name="connsiteX7335" fmla="*/ 2983324 w 3359086"/>
                <a:gd name="connsiteY7335" fmla="*/ 2712530 h 3355086"/>
                <a:gd name="connsiteX7336" fmla="*/ 2383249 w 3359086"/>
                <a:gd name="connsiteY7336" fmla="*/ 2710815 h 3355086"/>
                <a:gd name="connsiteX7337" fmla="*/ 2389441 w 3359086"/>
                <a:gd name="connsiteY7337" fmla="*/ 2717006 h 3355086"/>
                <a:gd name="connsiteX7338" fmla="*/ 2383249 w 3359086"/>
                <a:gd name="connsiteY7338" fmla="*/ 2723198 h 3355086"/>
                <a:gd name="connsiteX7339" fmla="*/ 2377058 w 3359086"/>
                <a:gd name="connsiteY7339" fmla="*/ 2717006 h 3355086"/>
                <a:gd name="connsiteX7340" fmla="*/ 2383249 w 3359086"/>
                <a:gd name="connsiteY7340" fmla="*/ 2710815 h 3355086"/>
                <a:gd name="connsiteX7341" fmla="*/ 2878645 w 3359086"/>
                <a:gd name="connsiteY7341" fmla="*/ 2710720 h 3355086"/>
                <a:gd name="connsiteX7342" fmla="*/ 2884836 w 3359086"/>
                <a:gd name="connsiteY7342" fmla="*/ 2716911 h 3355086"/>
                <a:gd name="connsiteX7343" fmla="*/ 2878645 w 3359086"/>
                <a:gd name="connsiteY7343" fmla="*/ 2723103 h 3355086"/>
                <a:gd name="connsiteX7344" fmla="*/ 2872454 w 3359086"/>
                <a:gd name="connsiteY7344" fmla="*/ 2716911 h 3355086"/>
                <a:gd name="connsiteX7345" fmla="*/ 2878645 w 3359086"/>
                <a:gd name="connsiteY7345" fmla="*/ 2710720 h 3355086"/>
                <a:gd name="connsiteX7346" fmla="*/ 572642 w 3359086"/>
                <a:gd name="connsiteY7346" fmla="*/ 2710529 h 3355086"/>
                <a:gd name="connsiteX7347" fmla="*/ 578833 w 3359086"/>
                <a:gd name="connsiteY7347" fmla="*/ 2716720 h 3355086"/>
                <a:gd name="connsiteX7348" fmla="*/ 572642 w 3359086"/>
                <a:gd name="connsiteY7348" fmla="*/ 2722911 h 3355086"/>
                <a:gd name="connsiteX7349" fmla="*/ 566451 w 3359086"/>
                <a:gd name="connsiteY7349" fmla="*/ 2716720 h 3355086"/>
                <a:gd name="connsiteX7350" fmla="*/ 572642 w 3359086"/>
                <a:gd name="connsiteY7350" fmla="*/ 2710529 h 3355086"/>
                <a:gd name="connsiteX7351" fmla="*/ 2898076 w 3359086"/>
                <a:gd name="connsiteY7351" fmla="*/ 2710244 h 3355086"/>
                <a:gd name="connsiteX7352" fmla="*/ 2904268 w 3359086"/>
                <a:gd name="connsiteY7352" fmla="*/ 2716435 h 3355086"/>
                <a:gd name="connsiteX7353" fmla="*/ 2898076 w 3359086"/>
                <a:gd name="connsiteY7353" fmla="*/ 2722626 h 3355086"/>
                <a:gd name="connsiteX7354" fmla="*/ 2891885 w 3359086"/>
                <a:gd name="connsiteY7354" fmla="*/ 2716435 h 3355086"/>
                <a:gd name="connsiteX7355" fmla="*/ 2898076 w 3359086"/>
                <a:gd name="connsiteY7355" fmla="*/ 2710244 h 3355086"/>
                <a:gd name="connsiteX7356" fmla="*/ 2960560 w 3359086"/>
                <a:gd name="connsiteY7356" fmla="*/ 2709958 h 3355086"/>
                <a:gd name="connsiteX7357" fmla="*/ 2966132 w 3359086"/>
                <a:gd name="connsiteY7357" fmla="*/ 2715530 h 3355086"/>
                <a:gd name="connsiteX7358" fmla="*/ 2971228 w 3359086"/>
                <a:gd name="connsiteY7358" fmla="*/ 2710434 h 3355086"/>
                <a:gd name="connsiteX7359" fmla="*/ 2977419 w 3359086"/>
                <a:gd name="connsiteY7359" fmla="*/ 2716625 h 3355086"/>
                <a:gd name="connsiteX7360" fmla="*/ 2971228 w 3359086"/>
                <a:gd name="connsiteY7360" fmla="*/ 2722817 h 3355086"/>
                <a:gd name="connsiteX7361" fmla="*/ 2965656 w 3359086"/>
                <a:gd name="connsiteY7361" fmla="*/ 2717244 h 3355086"/>
                <a:gd name="connsiteX7362" fmla="*/ 2960560 w 3359086"/>
                <a:gd name="connsiteY7362" fmla="*/ 2722340 h 3355086"/>
                <a:gd name="connsiteX7363" fmla="*/ 2956274 w 3359086"/>
                <a:gd name="connsiteY7363" fmla="*/ 2718054 h 3355086"/>
                <a:gd name="connsiteX7364" fmla="*/ 2950940 w 3359086"/>
                <a:gd name="connsiteY7364" fmla="*/ 2723389 h 3355086"/>
                <a:gd name="connsiteX7365" fmla="*/ 2947559 w 3359086"/>
                <a:gd name="connsiteY7365" fmla="*/ 2720007 h 3355086"/>
                <a:gd name="connsiteX7366" fmla="*/ 2941891 w 3359086"/>
                <a:gd name="connsiteY7366" fmla="*/ 2725674 h 3355086"/>
                <a:gd name="connsiteX7367" fmla="*/ 2939224 w 3359086"/>
                <a:gd name="connsiteY7367" fmla="*/ 2723007 h 3355086"/>
                <a:gd name="connsiteX7368" fmla="*/ 2933128 w 3359086"/>
                <a:gd name="connsiteY7368" fmla="*/ 2729104 h 3355086"/>
                <a:gd name="connsiteX7369" fmla="*/ 2926937 w 3359086"/>
                <a:gd name="connsiteY7369" fmla="*/ 2722912 h 3355086"/>
                <a:gd name="connsiteX7370" fmla="*/ 2933128 w 3359086"/>
                <a:gd name="connsiteY7370" fmla="*/ 2716721 h 3355086"/>
                <a:gd name="connsiteX7371" fmla="*/ 2935795 w 3359086"/>
                <a:gd name="connsiteY7371" fmla="*/ 2719388 h 3355086"/>
                <a:gd name="connsiteX7372" fmla="*/ 2941891 w 3359086"/>
                <a:gd name="connsiteY7372" fmla="*/ 2713292 h 3355086"/>
                <a:gd name="connsiteX7373" fmla="*/ 2945273 w 3359086"/>
                <a:gd name="connsiteY7373" fmla="*/ 2716673 h 3355086"/>
                <a:gd name="connsiteX7374" fmla="*/ 2950940 w 3359086"/>
                <a:gd name="connsiteY7374" fmla="*/ 2711006 h 3355086"/>
                <a:gd name="connsiteX7375" fmla="*/ 2955226 w 3359086"/>
                <a:gd name="connsiteY7375" fmla="*/ 2715292 h 3355086"/>
                <a:gd name="connsiteX7376" fmla="*/ 2682811 w 3359086"/>
                <a:gd name="connsiteY7376" fmla="*/ 2709672 h 3355086"/>
                <a:gd name="connsiteX7377" fmla="*/ 2689002 w 3359086"/>
                <a:gd name="connsiteY7377" fmla="*/ 2715863 h 3355086"/>
                <a:gd name="connsiteX7378" fmla="*/ 2682811 w 3359086"/>
                <a:gd name="connsiteY7378" fmla="*/ 2722054 h 3355086"/>
                <a:gd name="connsiteX7379" fmla="*/ 2676620 w 3359086"/>
                <a:gd name="connsiteY7379" fmla="*/ 2715863 h 3355086"/>
                <a:gd name="connsiteX7380" fmla="*/ 2682811 w 3359086"/>
                <a:gd name="connsiteY7380" fmla="*/ 2709672 h 3355086"/>
                <a:gd name="connsiteX7381" fmla="*/ 2854070 w 3359086"/>
                <a:gd name="connsiteY7381" fmla="*/ 2709005 h 3355086"/>
                <a:gd name="connsiteX7382" fmla="*/ 2860262 w 3359086"/>
                <a:gd name="connsiteY7382" fmla="*/ 2715196 h 3355086"/>
                <a:gd name="connsiteX7383" fmla="*/ 2854070 w 3359086"/>
                <a:gd name="connsiteY7383" fmla="*/ 2721388 h 3355086"/>
                <a:gd name="connsiteX7384" fmla="*/ 2847879 w 3359086"/>
                <a:gd name="connsiteY7384" fmla="*/ 2715196 h 3355086"/>
                <a:gd name="connsiteX7385" fmla="*/ 2854070 w 3359086"/>
                <a:gd name="connsiteY7385" fmla="*/ 2709005 h 3355086"/>
                <a:gd name="connsiteX7386" fmla="*/ 2913411 w 3359086"/>
                <a:gd name="connsiteY7386" fmla="*/ 2708148 h 3355086"/>
                <a:gd name="connsiteX7387" fmla="*/ 2919602 w 3359086"/>
                <a:gd name="connsiteY7387" fmla="*/ 2714339 h 3355086"/>
                <a:gd name="connsiteX7388" fmla="*/ 2913411 w 3359086"/>
                <a:gd name="connsiteY7388" fmla="*/ 2720530 h 3355086"/>
                <a:gd name="connsiteX7389" fmla="*/ 2907220 w 3359086"/>
                <a:gd name="connsiteY7389" fmla="*/ 2714339 h 3355086"/>
                <a:gd name="connsiteX7390" fmla="*/ 2913411 w 3359086"/>
                <a:gd name="connsiteY7390" fmla="*/ 2708148 h 3355086"/>
                <a:gd name="connsiteX7391" fmla="*/ 2074830 w 3359086"/>
                <a:gd name="connsiteY7391" fmla="*/ 2706148 h 3355086"/>
                <a:gd name="connsiteX7392" fmla="*/ 2081022 w 3359086"/>
                <a:gd name="connsiteY7392" fmla="*/ 2712339 h 3355086"/>
                <a:gd name="connsiteX7393" fmla="*/ 2074830 w 3359086"/>
                <a:gd name="connsiteY7393" fmla="*/ 2718530 h 3355086"/>
                <a:gd name="connsiteX7394" fmla="*/ 2068639 w 3359086"/>
                <a:gd name="connsiteY7394" fmla="*/ 2712339 h 3355086"/>
                <a:gd name="connsiteX7395" fmla="*/ 2074830 w 3359086"/>
                <a:gd name="connsiteY7395" fmla="*/ 2706148 h 3355086"/>
                <a:gd name="connsiteX7396" fmla="*/ 2925793 w 3359086"/>
                <a:gd name="connsiteY7396" fmla="*/ 2705196 h 3355086"/>
                <a:gd name="connsiteX7397" fmla="*/ 2931985 w 3359086"/>
                <a:gd name="connsiteY7397" fmla="*/ 2711387 h 3355086"/>
                <a:gd name="connsiteX7398" fmla="*/ 2925793 w 3359086"/>
                <a:gd name="connsiteY7398" fmla="*/ 2717578 h 3355086"/>
                <a:gd name="connsiteX7399" fmla="*/ 2919602 w 3359086"/>
                <a:gd name="connsiteY7399" fmla="*/ 2711387 h 3355086"/>
                <a:gd name="connsiteX7400" fmla="*/ 2925793 w 3359086"/>
                <a:gd name="connsiteY7400" fmla="*/ 2705196 h 3355086"/>
                <a:gd name="connsiteX7401" fmla="*/ 2823305 w 3359086"/>
                <a:gd name="connsiteY7401" fmla="*/ 2704338 h 3355086"/>
                <a:gd name="connsiteX7402" fmla="*/ 2829496 w 3359086"/>
                <a:gd name="connsiteY7402" fmla="*/ 2710529 h 3355086"/>
                <a:gd name="connsiteX7403" fmla="*/ 2823305 w 3359086"/>
                <a:gd name="connsiteY7403" fmla="*/ 2716720 h 3355086"/>
                <a:gd name="connsiteX7404" fmla="*/ 2817114 w 3359086"/>
                <a:gd name="connsiteY7404" fmla="*/ 2710529 h 3355086"/>
                <a:gd name="connsiteX7405" fmla="*/ 2823305 w 3359086"/>
                <a:gd name="connsiteY7405" fmla="*/ 2704338 h 3355086"/>
                <a:gd name="connsiteX7406" fmla="*/ 749712 w 3359086"/>
                <a:gd name="connsiteY7406" fmla="*/ 2704053 h 3355086"/>
                <a:gd name="connsiteX7407" fmla="*/ 755904 w 3359086"/>
                <a:gd name="connsiteY7407" fmla="*/ 2710244 h 3355086"/>
                <a:gd name="connsiteX7408" fmla="*/ 749712 w 3359086"/>
                <a:gd name="connsiteY7408" fmla="*/ 2716435 h 3355086"/>
                <a:gd name="connsiteX7409" fmla="*/ 743521 w 3359086"/>
                <a:gd name="connsiteY7409" fmla="*/ 2710244 h 3355086"/>
                <a:gd name="connsiteX7410" fmla="*/ 749712 w 3359086"/>
                <a:gd name="connsiteY7410" fmla="*/ 2704053 h 3355086"/>
                <a:gd name="connsiteX7411" fmla="*/ 363092 w 3359086"/>
                <a:gd name="connsiteY7411" fmla="*/ 2701671 h 3355086"/>
                <a:gd name="connsiteX7412" fmla="*/ 368045 w 3359086"/>
                <a:gd name="connsiteY7412" fmla="*/ 2706624 h 3355086"/>
                <a:gd name="connsiteX7413" fmla="*/ 372522 w 3359086"/>
                <a:gd name="connsiteY7413" fmla="*/ 2702147 h 3355086"/>
                <a:gd name="connsiteX7414" fmla="*/ 377809 w 3359086"/>
                <a:gd name="connsiteY7414" fmla="*/ 2707434 h 3355086"/>
                <a:gd name="connsiteX7415" fmla="*/ 381285 w 3359086"/>
                <a:gd name="connsiteY7415" fmla="*/ 2703957 h 3355086"/>
                <a:gd name="connsiteX7416" fmla="*/ 386905 w 3359086"/>
                <a:gd name="connsiteY7416" fmla="*/ 2709577 h 3355086"/>
                <a:gd name="connsiteX7417" fmla="*/ 389762 w 3359086"/>
                <a:gd name="connsiteY7417" fmla="*/ 2706720 h 3355086"/>
                <a:gd name="connsiteX7418" fmla="*/ 395906 w 3359086"/>
                <a:gd name="connsiteY7418" fmla="*/ 2712864 h 3355086"/>
                <a:gd name="connsiteX7419" fmla="*/ 398430 w 3359086"/>
                <a:gd name="connsiteY7419" fmla="*/ 2710339 h 3355086"/>
                <a:gd name="connsiteX7420" fmla="*/ 404621 w 3359086"/>
                <a:gd name="connsiteY7420" fmla="*/ 2716530 h 3355086"/>
                <a:gd name="connsiteX7421" fmla="*/ 398430 w 3359086"/>
                <a:gd name="connsiteY7421" fmla="*/ 2722721 h 3355086"/>
                <a:gd name="connsiteX7422" fmla="*/ 392287 w 3359086"/>
                <a:gd name="connsiteY7422" fmla="*/ 2716578 h 3355086"/>
                <a:gd name="connsiteX7423" fmla="*/ 389762 w 3359086"/>
                <a:gd name="connsiteY7423" fmla="*/ 2719102 h 3355086"/>
                <a:gd name="connsiteX7424" fmla="*/ 384142 w 3359086"/>
                <a:gd name="connsiteY7424" fmla="*/ 2713483 h 3355086"/>
                <a:gd name="connsiteX7425" fmla="*/ 381285 w 3359086"/>
                <a:gd name="connsiteY7425" fmla="*/ 2716340 h 3355086"/>
                <a:gd name="connsiteX7426" fmla="*/ 375999 w 3359086"/>
                <a:gd name="connsiteY7426" fmla="*/ 2711053 h 3355086"/>
                <a:gd name="connsiteX7427" fmla="*/ 372522 w 3359086"/>
                <a:gd name="connsiteY7427" fmla="*/ 2714530 h 3355086"/>
                <a:gd name="connsiteX7428" fmla="*/ 367569 w 3359086"/>
                <a:gd name="connsiteY7428" fmla="*/ 2709576 h 3355086"/>
                <a:gd name="connsiteX7429" fmla="*/ 363092 w 3359086"/>
                <a:gd name="connsiteY7429" fmla="*/ 2714053 h 3355086"/>
                <a:gd name="connsiteX7430" fmla="*/ 356901 w 3359086"/>
                <a:gd name="connsiteY7430" fmla="*/ 2707862 h 3355086"/>
                <a:gd name="connsiteX7431" fmla="*/ 363092 w 3359086"/>
                <a:gd name="connsiteY7431" fmla="*/ 2701671 h 3355086"/>
                <a:gd name="connsiteX7432" fmla="*/ 910684 w 3359086"/>
                <a:gd name="connsiteY7432" fmla="*/ 2700433 h 3355086"/>
                <a:gd name="connsiteX7433" fmla="*/ 916876 w 3359086"/>
                <a:gd name="connsiteY7433" fmla="*/ 2706624 h 3355086"/>
                <a:gd name="connsiteX7434" fmla="*/ 910684 w 3359086"/>
                <a:gd name="connsiteY7434" fmla="*/ 2712815 h 3355086"/>
                <a:gd name="connsiteX7435" fmla="*/ 904493 w 3359086"/>
                <a:gd name="connsiteY7435" fmla="*/ 2706624 h 3355086"/>
                <a:gd name="connsiteX7436" fmla="*/ 910684 w 3359086"/>
                <a:gd name="connsiteY7436" fmla="*/ 2700433 h 3355086"/>
                <a:gd name="connsiteX7437" fmla="*/ 1209960 w 3359086"/>
                <a:gd name="connsiteY7437" fmla="*/ 2699195 h 3355086"/>
                <a:gd name="connsiteX7438" fmla="*/ 1216152 w 3359086"/>
                <a:gd name="connsiteY7438" fmla="*/ 2705386 h 3355086"/>
                <a:gd name="connsiteX7439" fmla="*/ 1209960 w 3359086"/>
                <a:gd name="connsiteY7439" fmla="*/ 2711578 h 3355086"/>
                <a:gd name="connsiteX7440" fmla="*/ 1203769 w 3359086"/>
                <a:gd name="connsiteY7440" fmla="*/ 2705386 h 3355086"/>
                <a:gd name="connsiteX7441" fmla="*/ 1209960 w 3359086"/>
                <a:gd name="connsiteY7441" fmla="*/ 2699195 h 3355086"/>
                <a:gd name="connsiteX7442" fmla="*/ 3001994 w 3359086"/>
                <a:gd name="connsiteY7442" fmla="*/ 2698623 h 3355086"/>
                <a:gd name="connsiteX7443" fmla="*/ 3007233 w 3359086"/>
                <a:gd name="connsiteY7443" fmla="*/ 2703862 h 3355086"/>
                <a:gd name="connsiteX7444" fmla="*/ 3001994 w 3359086"/>
                <a:gd name="connsiteY7444" fmla="*/ 2709100 h 3355086"/>
                <a:gd name="connsiteX7445" fmla="*/ 2996755 w 3359086"/>
                <a:gd name="connsiteY7445" fmla="*/ 2703862 h 3355086"/>
                <a:gd name="connsiteX7446" fmla="*/ 3001994 w 3359086"/>
                <a:gd name="connsiteY7446" fmla="*/ 2698623 h 3355086"/>
                <a:gd name="connsiteX7447" fmla="*/ 438911 w 3359086"/>
                <a:gd name="connsiteY7447" fmla="*/ 2698433 h 3355086"/>
                <a:gd name="connsiteX7448" fmla="*/ 445102 w 3359086"/>
                <a:gd name="connsiteY7448" fmla="*/ 2704624 h 3355086"/>
                <a:gd name="connsiteX7449" fmla="*/ 438911 w 3359086"/>
                <a:gd name="connsiteY7449" fmla="*/ 2710815 h 3355086"/>
                <a:gd name="connsiteX7450" fmla="*/ 432720 w 3359086"/>
                <a:gd name="connsiteY7450" fmla="*/ 2704624 h 3355086"/>
                <a:gd name="connsiteX7451" fmla="*/ 438911 w 3359086"/>
                <a:gd name="connsiteY7451" fmla="*/ 2698433 h 3355086"/>
                <a:gd name="connsiteX7452" fmla="*/ 421004 w 3359086"/>
                <a:gd name="connsiteY7452" fmla="*/ 2698242 h 3355086"/>
                <a:gd name="connsiteX7453" fmla="*/ 427195 w 3359086"/>
                <a:gd name="connsiteY7453" fmla="*/ 2704433 h 3355086"/>
                <a:gd name="connsiteX7454" fmla="*/ 421004 w 3359086"/>
                <a:gd name="connsiteY7454" fmla="*/ 2710625 h 3355086"/>
                <a:gd name="connsiteX7455" fmla="*/ 414813 w 3359086"/>
                <a:gd name="connsiteY7455" fmla="*/ 2704433 h 3355086"/>
                <a:gd name="connsiteX7456" fmla="*/ 421004 w 3359086"/>
                <a:gd name="connsiteY7456" fmla="*/ 2698242 h 3355086"/>
                <a:gd name="connsiteX7457" fmla="*/ 623315 w 3359086"/>
                <a:gd name="connsiteY7457" fmla="*/ 2697290 h 3355086"/>
                <a:gd name="connsiteX7458" fmla="*/ 629506 w 3359086"/>
                <a:gd name="connsiteY7458" fmla="*/ 2703481 h 3355086"/>
                <a:gd name="connsiteX7459" fmla="*/ 623315 w 3359086"/>
                <a:gd name="connsiteY7459" fmla="*/ 2709673 h 3355086"/>
                <a:gd name="connsiteX7460" fmla="*/ 617124 w 3359086"/>
                <a:gd name="connsiteY7460" fmla="*/ 2703481 h 3355086"/>
                <a:gd name="connsiteX7461" fmla="*/ 623315 w 3359086"/>
                <a:gd name="connsiteY7461" fmla="*/ 2697290 h 3355086"/>
                <a:gd name="connsiteX7462" fmla="*/ 461581 w 3359086"/>
                <a:gd name="connsiteY7462" fmla="*/ 2696528 h 3355086"/>
                <a:gd name="connsiteX7463" fmla="*/ 467772 w 3359086"/>
                <a:gd name="connsiteY7463" fmla="*/ 2702719 h 3355086"/>
                <a:gd name="connsiteX7464" fmla="*/ 461581 w 3359086"/>
                <a:gd name="connsiteY7464" fmla="*/ 2708911 h 3355086"/>
                <a:gd name="connsiteX7465" fmla="*/ 455390 w 3359086"/>
                <a:gd name="connsiteY7465" fmla="*/ 2702719 h 3355086"/>
                <a:gd name="connsiteX7466" fmla="*/ 461581 w 3359086"/>
                <a:gd name="connsiteY7466" fmla="*/ 2696528 h 3355086"/>
                <a:gd name="connsiteX7467" fmla="*/ 406907 w 3359086"/>
                <a:gd name="connsiteY7467" fmla="*/ 2696528 h 3355086"/>
                <a:gd name="connsiteX7468" fmla="*/ 413098 w 3359086"/>
                <a:gd name="connsiteY7468" fmla="*/ 2702719 h 3355086"/>
                <a:gd name="connsiteX7469" fmla="*/ 406907 w 3359086"/>
                <a:gd name="connsiteY7469" fmla="*/ 2708911 h 3355086"/>
                <a:gd name="connsiteX7470" fmla="*/ 400716 w 3359086"/>
                <a:gd name="connsiteY7470" fmla="*/ 2702719 h 3355086"/>
                <a:gd name="connsiteX7471" fmla="*/ 406907 w 3359086"/>
                <a:gd name="connsiteY7471" fmla="*/ 2696528 h 3355086"/>
                <a:gd name="connsiteX7472" fmla="*/ 2784919 w 3359086"/>
                <a:gd name="connsiteY7472" fmla="*/ 2696052 h 3355086"/>
                <a:gd name="connsiteX7473" fmla="*/ 2791110 w 3359086"/>
                <a:gd name="connsiteY7473" fmla="*/ 2702243 h 3355086"/>
                <a:gd name="connsiteX7474" fmla="*/ 2784919 w 3359086"/>
                <a:gd name="connsiteY7474" fmla="*/ 2708434 h 3355086"/>
                <a:gd name="connsiteX7475" fmla="*/ 2778728 w 3359086"/>
                <a:gd name="connsiteY7475" fmla="*/ 2702243 h 3355086"/>
                <a:gd name="connsiteX7476" fmla="*/ 2784919 w 3359086"/>
                <a:gd name="connsiteY7476" fmla="*/ 2696052 h 3355086"/>
                <a:gd name="connsiteX7477" fmla="*/ 2989611 w 3359086"/>
                <a:gd name="connsiteY7477" fmla="*/ 2694242 h 3355086"/>
                <a:gd name="connsiteX7478" fmla="*/ 2995802 w 3359086"/>
                <a:gd name="connsiteY7478" fmla="*/ 2700433 h 3355086"/>
                <a:gd name="connsiteX7479" fmla="*/ 2989611 w 3359086"/>
                <a:gd name="connsiteY7479" fmla="*/ 2706624 h 3355086"/>
                <a:gd name="connsiteX7480" fmla="*/ 2983420 w 3359086"/>
                <a:gd name="connsiteY7480" fmla="*/ 2700433 h 3355086"/>
                <a:gd name="connsiteX7481" fmla="*/ 2989611 w 3359086"/>
                <a:gd name="connsiteY7481" fmla="*/ 2694242 h 3355086"/>
                <a:gd name="connsiteX7482" fmla="*/ 2969418 w 3359086"/>
                <a:gd name="connsiteY7482" fmla="*/ 2692146 h 3355086"/>
                <a:gd name="connsiteX7483" fmla="*/ 2974276 w 3359086"/>
                <a:gd name="connsiteY7483" fmla="*/ 2697004 h 3355086"/>
                <a:gd name="connsiteX7484" fmla="*/ 2978848 w 3359086"/>
                <a:gd name="connsiteY7484" fmla="*/ 2692432 h 3355086"/>
                <a:gd name="connsiteX7485" fmla="*/ 2985040 w 3359086"/>
                <a:gd name="connsiteY7485" fmla="*/ 2698623 h 3355086"/>
                <a:gd name="connsiteX7486" fmla="*/ 2978848 w 3359086"/>
                <a:gd name="connsiteY7486" fmla="*/ 2704814 h 3355086"/>
                <a:gd name="connsiteX7487" fmla="*/ 2973990 w 3359086"/>
                <a:gd name="connsiteY7487" fmla="*/ 2699956 h 3355086"/>
                <a:gd name="connsiteX7488" fmla="*/ 2969418 w 3359086"/>
                <a:gd name="connsiteY7488" fmla="*/ 2704528 h 3355086"/>
                <a:gd name="connsiteX7489" fmla="*/ 2965751 w 3359086"/>
                <a:gd name="connsiteY7489" fmla="*/ 2700862 h 3355086"/>
                <a:gd name="connsiteX7490" fmla="*/ 2960941 w 3359086"/>
                <a:gd name="connsiteY7490" fmla="*/ 2705671 h 3355086"/>
                <a:gd name="connsiteX7491" fmla="*/ 2958036 w 3359086"/>
                <a:gd name="connsiteY7491" fmla="*/ 2702767 h 3355086"/>
                <a:gd name="connsiteX7492" fmla="*/ 2952940 w 3359086"/>
                <a:gd name="connsiteY7492" fmla="*/ 2707862 h 3355086"/>
                <a:gd name="connsiteX7493" fmla="*/ 2950321 w 3359086"/>
                <a:gd name="connsiteY7493" fmla="*/ 2705243 h 3355086"/>
                <a:gd name="connsiteX7494" fmla="*/ 2944748 w 3359086"/>
                <a:gd name="connsiteY7494" fmla="*/ 2710815 h 3355086"/>
                <a:gd name="connsiteX7495" fmla="*/ 2942034 w 3359086"/>
                <a:gd name="connsiteY7495" fmla="*/ 2708101 h 3355086"/>
                <a:gd name="connsiteX7496" fmla="*/ 2935985 w 3359086"/>
                <a:gd name="connsiteY7496" fmla="*/ 2714149 h 3355086"/>
                <a:gd name="connsiteX7497" fmla="*/ 2929794 w 3359086"/>
                <a:gd name="connsiteY7497" fmla="*/ 2707958 h 3355086"/>
                <a:gd name="connsiteX7498" fmla="*/ 2935985 w 3359086"/>
                <a:gd name="connsiteY7498" fmla="*/ 2701767 h 3355086"/>
                <a:gd name="connsiteX7499" fmla="*/ 2938700 w 3359086"/>
                <a:gd name="connsiteY7499" fmla="*/ 2704482 h 3355086"/>
                <a:gd name="connsiteX7500" fmla="*/ 2944748 w 3359086"/>
                <a:gd name="connsiteY7500" fmla="*/ 2698433 h 3355086"/>
                <a:gd name="connsiteX7501" fmla="*/ 2947367 w 3359086"/>
                <a:gd name="connsiteY7501" fmla="*/ 2701053 h 3355086"/>
                <a:gd name="connsiteX7502" fmla="*/ 2952940 w 3359086"/>
                <a:gd name="connsiteY7502" fmla="*/ 2695480 h 3355086"/>
                <a:gd name="connsiteX7503" fmla="*/ 2955845 w 3359086"/>
                <a:gd name="connsiteY7503" fmla="*/ 2698385 h 3355086"/>
                <a:gd name="connsiteX7504" fmla="*/ 2960941 w 3359086"/>
                <a:gd name="connsiteY7504" fmla="*/ 2693289 h 3355086"/>
                <a:gd name="connsiteX7505" fmla="*/ 2964608 w 3359086"/>
                <a:gd name="connsiteY7505" fmla="*/ 2696956 h 3355086"/>
                <a:gd name="connsiteX7506" fmla="*/ 490251 w 3359086"/>
                <a:gd name="connsiteY7506" fmla="*/ 2691861 h 3355086"/>
                <a:gd name="connsiteX7507" fmla="*/ 496442 w 3359086"/>
                <a:gd name="connsiteY7507" fmla="*/ 2698052 h 3355086"/>
                <a:gd name="connsiteX7508" fmla="*/ 490251 w 3359086"/>
                <a:gd name="connsiteY7508" fmla="*/ 2704243 h 3355086"/>
                <a:gd name="connsiteX7509" fmla="*/ 484060 w 3359086"/>
                <a:gd name="connsiteY7509" fmla="*/ 2698052 h 3355086"/>
                <a:gd name="connsiteX7510" fmla="*/ 490251 w 3359086"/>
                <a:gd name="connsiteY7510" fmla="*/ 2691861 h 3355086"/>
                <a:gd name="connsiteX7511" fmla="*/ 2617755 w 3359086"/>
                <a:gd name="connsiteY7511" fmla="*/ 2690432 h 3355086"/>
                <a:gd name="connsiteX7512" fmla="*/ 2623947 w 3359086"/>
                <a:gd name="connsiteY7512" fmla="*/ 2696623 h 3355086"/>
                <a:gd name="connsiteX7513" fmla="*/ 2617755 w 3359086"/>
                <a:gd name="connsiteY7513" fmla="*/ 2702814 h 3355086"/>
                <a:gd name="connsiteX7514" fmla="*/ 2611564 w 3359086"/>
                <a:gd name="connsiteY7514" fmla="*/ 2696623 h 3355086"/>
                <a:gd name="connsiteX7515" fmla="*/ 2617755 w 3359086"/>
                <a:gd name="connsiteY7515" fmla="*/ 2690432 h 3355086"/>
                <a:gd name="connsiteX7516" fmla="*/ 2175509 w 3359086"/>
                <a:gd name="connsiteY7516" fmla="*/ 2690432 h 3355086"/>
                <a:gd name="connsiteX7517" fmla="*/ 2181701 w 3359086"/>
                <a:gd name="connsiteY7517" fmla="*/ 2696623 h 3355086"/>
                <a:gd name="connsiteX7518" fmla="*/ 2175509 w 3359086"/>
                <a:gd name="connsiteY7518" fmla="*/ 2702814 h 3355086"/>
                <a:gd name="connsiteX7519" fmla="*/ 2169318 w 3359086"/>
                <a:gd name="connsiteY7519" fmla="*/ 2696623 h 3355086"/>
                <a:gd name="connsiteX7520" fmla="*/ 2175509 w 3359086"/>
                <a:gd name="connsiteY7520" fmla="*/ 2690432 h 3355086"/>
                <a:gd name="connsiteX7521" fmla="*/ 3020377 w 3359086"/>
                <a:gd name="connsiteY7521" fmla="*/ 2689289 h 3355086"/>
                <a:gd name="connsiteX7522" fmla="*/ 3020758 w 3359086"/>
                <a:gd name="connsiteY7522" fmla="*/ 2689670 h 3355086"/>
                <a:gd name="connsiteX7523" fmla="*/ 3020377 w 3359086"/>
                <a:gd name="connsiteY7523" fmla="*/ 2690051 h 3355086"/>
                <a:gd name="connsiteX7524" fmla="*/ 3019996 w 3359086"/>
                <a:gd name="connsiteY7524" fmla="*/ 2689670 h 3355086"/>
                <a:gd name="connsiteX7525" fmla="*/ 3020377 w 3359086"/>
                <a:gd name="connsiteY7525" fmla="*/ 2689289 h 3355086"/>
                <a:gd name="connsiteX7526" fmla="*/ 344900 w 3359086"/>
                <a:gd name="connsiteY7526" fmla="*/ 2688241 h 3355086"/>
                <a:gd name="connsiteX7527" fmla="*/ 347376 w 3359086"/>
                <a:gd name="connsiteY7527" fmla="*/ 2690718 h 3355086"/>
                <a:gd name="connsiteX7528" fmla="*/ 344900 w 3359086"/>
                <a:gd name="connsiteY7528" fmla="*/ 2693194 h 3355086"/>
                <a:gd name="connsiteX7529" fmla="*/ 342423 w 3359086"/>
                <a:gd name="connsiteY7529" fmla="*/ 2690718 h 3355086"/>
                <a:gd name="connsiteX7530" fmla="*/ 344900 w 3359086"/>
                <a:gd name="connsiteY7530" fmla="*/ 2688241 h 3355086"/>
                <a:gd name="connsiteX7531" fmla="*/ 2464117 w 3359086"/>
                <a:gd name="connsiteY7531" fmla="*/ 2688146 h 3355086"/>
                <a:gd name="connsiteX7532" fmla="*/ 2470309 w 3359086"/>
                <a:gd name="connsiteY7532" fmla="*/ 2694337 h 3355086"/>
                <a:gd name="connsiteX7533" fmla="*/ 2464117 w 3359086"/>
                <a:gd name="connsiteY7533" fmla="*/ 2700529 h 3355086"/>
                <a:gd name="connsiteX7534" fmla="*/ 2457926 w 3359086"/>
                <a:gd name="connsiteY7534" fmla="*/ 2694337 h 3355086"/>
                <a:gd name="connsiteX7535" fmla="*/ 2464117 w 3359086"/>
                <a:gd name="connsiteY7535" fmla="*/ 2688146 h 3355086"/>
                <a:gd name="connsiteX7536" fmla="*/ 2925603 w 3359086"/>
                <a:gd name="connsiteY7536" fmla="*/ 2684621 h 3355086"/>
                <a:gd name="connsiteX7537" fmla="*/ 2931794 w 3359086"/>
                <a:gd name="connsiteY7537" fmla="*/ 2690812 h 3355086"/>
                <a:gd name="connsiteX7538" fmla="*/ 2925603 w 3359086"/>
                <a:gd name="connsiteY7538" fmla="*/ 2697004 h 3355086"/>
                <a:gd name="connsiteX7539" fmla="*/ 2919412 w 3359086"/>
                <a:gd name="connsiteY7539" fmla="*/ 2690812 h 3355086"/>
                <a:gd name="connsiteX7540" fmla="*/ 2925603 w 3359086"/>
                <a:gd name="connsiteY7540" fmla="*/ 2684621 h 3355086"/>
                <a:gd name="connsiteX7541" fmla="*/ 2909410 w 3359086"/>
                <a:gd name="connsiteY7541" fmla="*/ 2684431 h 3355086"/>
                <a:gd name="connsiteX7542" fmla="*/ 2915602 w 3359086"/>
                <a:gd name="connsiteY7542" fmla="*/ 2690622 h 3355086"/>
                <a:gd name="connsiteX7543" fmla="*/ 2909410 w 3359086"/>
                <a:gd name="connsiteY7543" fmla="*/ 2696813 h 3355086"/>
                <a:gd name="connsiteX7544" fmla="*/ 2903219 w 3359086"/>
                <a:gd name="connsiteY7544" fmla="*/ 2690622 h 3355086"/>
                <a:gd name="connsiteX7545" fmla="*/ 2909410 w 3359086"/>
                <a:gd name="connsiteY7545" fmla="*/ 2684431 h 3355086"/>
                <a:gd name="connsiteX7546" fmla="*/ 354329 w 3359086"/>
                <a:gd name="connsiteY7546" fmla="*/ 2683669 h 3355086"/>
                <a:gd name="connsiteX7547" fmla="*/ 358758 w 3359086"/>
                <a:gd name="connsiteY7547" fmla="*/ 2688098 h 3355086"/>
                <a:gd name="connsiteX7548" fmla="*/ 362616 w 3359086"/>
                <a:gd name="connsiteY7548" fmla="*/ 2684240 h 3355086"/>
                <a:gd name="connsiteX7549" fmla="*/ 367284 w 3359086"/>
                <a:gd name="connsiteY7549" fmla="*/ 2688907 h 3355086"/>
                <a:gd name="connsiteX7550" fmla="*/ 370427 w 3359086"/>
                <a:gd name="connsiteY7550" fmla="*/ 2685764 h 3355086"/>
                <a:gd name="connsiteX7551" fmla="*/ 375428 w 3359086"/>
                <a:gd name="connsiteY7551" fmla="*/ 2690765 h 3355086"/>
                <a:gd name="connsiteX7552" fmla="*/ 378047 w 3359086"/>
                <a:gd name="connsiteY7552" fmla="*/ 2688146 h 3355086"/>
                <a:gd name="connsiteX7553" fmla="*/ 383619 w 3359086"/>
                <a:gd name="connsiteY7553" fmla="*/ 2693718 h 3355086"/>
                <a:gd name="connsiteX7554" fmla="*/ 386238 w 3359086"/>
                <a:gd name="connsiteY7554" fmla="*/ 2691098 h 3355086"/>
                <a:gd name="connsiteX7555" fmla="*/ 392382 w 3359086"/>
                <a:gd name="connsiteY7555" fmla="*/ 2697242 h 3355086"/>
                <a:gd name="connsiteX7556" fmla="*/ 395573 w 3359086"/>
                <a:gd name="connsiteY7556" fmla="*/ 2694051 h 3355086"/>
                <a:gd name="connsiteX7557" fmla="*/ 401764 w 3359086"/>
                <a:gd name="connsiteY7557" fmla="*/ 2700242 h 3355086"/>
                <a:gd name="connsiteX7558" fmla="*/ 395573 w 3359086"/>
                <a:gd name="connsiteY7558" fmla="*/ 2706434 h 3355086"/>
                <a:gd name="connsiteX7559" fmla="*/ 389429 w 3359086"/>
                <a:gd name="connsiteY7559" fmla="*/ 2700289 h 3355086"/>
                <a:gd name="connsiteX7560" fmla="*/ 386238 w 3359086"/>
                <a:gd name="connsiteY7560" fmla="*/ 2703481 h 3355086"/>
                <a:gd name="connsiteX7561" fmla="*/ 380667 w 3359086"/>
                <a:gd name="connsiteY7561" fmla="*/ 2697909 h 3355086"/>
                <a:gd name="connsiteX7562" fmla="*/ 378047 w 3359086"/>
                <a:gd name="connsiteY7562" fmla="*/ 2700529 h 3355086"/>
                <a:gd name="connsiteX7563" fmla="*/ 373046 w 3359086"/>
                <a:gd name="connsiteY7563" fmla="*/ 2695528 h 3355086"/>
                <a:gd name="connsiteX7564" fmla="*/ 370427 w 3359086"/>
                <a:gd name="connsiteY7564" fmla="*/ 2698147 h 3355086"/>
                <a:gd name="connsiteX7565" fmla="*/ 365760 w 3359086"/>
                <a:gd name="connsiteY7565" fmla="*/ 2693479 h 3355086"/>
                <a:gd name="connsiteX7566" fmla="*/ 362616 w 3359086"/>
                <a:gd name="connsiteY7566" fmla="*/ 2696623 h 3355086"/>
                <a:gd name="connsiteX7567" fmla="*/ 358187 w 3359086"/>
                <a:gd name="connsiteY7567" fmla="*/ 2692194 h 3355086"/>
                <a:gd name="connsiteX7568" fmla="*/ 354329 w 3359086"/>
                <a:gd name="connsiteY7568" fmla="*/ 2696052 h 3355086"/>
                <a:gd name="connsiteX7569" fmla="*/ 348138 w 3359086"/>
                <a:gd name="connsiteY7569" fmla="*/ 2689860 h 3355086"/>
                <a:gd name="connsiteX7570" fmla="*/ 354329 w 3359086"/>
                <a:gd name="connsiteY7570" fmla="*/ 2683669 h 3355086"/>
                <a:gd name="connsiteX7571" fmla="*/ 526065 w 3359086"/>
                <a:gd name="connsiteY7571" fmla="*/ 2683479 h 3355086"/>
                <a:gd name="connsiteX7572" fmla="*/ 532256 w 3359086"/>
                <a:gd name="connsiteY7572" fmla="*/ 2689670 h 3355086"/>
                <a:gd name="connsiteX7573" fmla="*/ 526065 w 3359086"/>
                <a:gd name="connsiteY7573" fmla="*/ 2695861 h 3355086"/>
                <a:gd name="connsiteX7574" fmla="*/ 519874 w 3359086"/>
                <a:gd name="connsiteY7574" fmla="*/ 2689670 h 3355086"/>
                <a:gd name="connsiteX7575" fmla="*/ 526065 w 3359086"/>
                <a:gd name="connsiteY7575" fmla="*/ 2683479 h 3355086"/>
                <a:gd name="connsiteX7576" fmla="*/ 2737675 w 3359086"/>
                <a:gd name="connsiteY7576" fmla="*/ 2683097 h 3355086"/>
                <a:gd name="connsiteX7577" fmla="*/ 2743867 w 3359086"/>
                <a:gd name="connsiteY7577" fmla="*/ 2689288 h 3355086"/>
                <a:gd name="connsiteX7578" fmla="*/ 2737675 w 3359086"/>
                <a:gd name="connsiteY7578" fmla="*/ 2695480 h 3355086"/>
                <a:gd name="connsiteX7579" fmla="*/ 2731484 w 3359086"/>
                <a:gd name="connsiteY7579" fmla="*/ 2689288 h 3355086"/>
                <a:gd name="connsiteX7580" fmla="*/ 2737675 w 3359086"/>
                <a:gd name="connsiteY7580" fmla="*/ 2683097 h 3355086"/>
                <a:gd name="connsiteX7581" fmla="*/ 2888741 w 3359086"/>
                <a:gd name="connsiteY7581" fmla="*/ 2682336 h 3355086"/>
                <a:gd name="connsiteX7582" fmla="*/ 2894932 w 3359086"/>
                <a:gd name="connsiteY7582" fmla="*/ 2688527 h 3355086"/>
                <a:gd name="connsiteX7583" fmla="*/ 2888741 w 3359086"/>
                <a:gd name="connsiteY7583" fmla="*/ 2694718 h 3355086"/>
                <a:gd name="connsiteX7584" fmla="*/ 2882550 w 3359086"/>
                <a:gd name="connsiteY7584" fmla="*/ 2688527 h 3355086"/>
                <a:gd name="connsiteX7585" fmla="*/ 2888741 w 3359086"/>
                <a:gd name="connsiteY7585" fmla="*/ 2682336 h 3355086"/>
                <a:gd name="connsiteX7586" fmla="*/ 1111472 w 3359086"/>
                <a:gd name="connsiteY7586" fmla="*/ 2682240 h 3355086"/>
                <a:gd name="connsiteX7587" fmla="*/ 1117663 w 3359086"/>
                <a:gd name="connsiteY7587" fmla="*/ 2688431 h 3355086"/>
                <a:gd name="connsiteX7588" fmla="*/ 1111472 w 3359086"/>
                <a:gd name="connsiteY7588" fmla="*/ 2694623 h 3355086"/>
                <a:gd name="connsiteX7589" fmla="*/ 1105281 w 3359086"/>
                <a:gd name="connsiteY7589" fmla="*/ 2688431 h 3355086"/>
                <a:gd name="connsiteX7590" fmla="*/ 1111472 w 3359086"/>
                <a:gd name="connsiteY7590" fmla="*/ 2682240 h 3355086"/>
                <a:gd name="connsiteX7591" fmla="*/ 3007708 w 3359086"/>
                <a:gd name="connsiteY7591" fmla="*/ 2678716 h 3355086"/>
                <a:gd name="connsiteX7592" fmla="*/ 3013900 w 3359086"/>
                <a:gd name="connsiteY7592" fmla="*/ 2684907 h 3355086"/>
                <a:gd name="connsiteX7593" fmla="*/ 3007708 w 3359086"/>
                <a:gd name="connsiteY7593" fmla="*/ 2691098 h 3355086"/>
                <a:gd name="connsiteX7594" fmla="*/ 3001517 w 3359086"/>
                <a:gd name="connsiteY7594" fmla="*/ 2684907 h 3355086"/>
                <a:gd name="connsiteX7595" fmla="*/ 3007708 w 3359086"/>
                <a:gd name="connsiteY7595" fmla="*/ 2678716 h 3355086"/>
                <a:gd name="connsiteX7596" fmla="*/ 684942 w 3359086"/>
                <a:gd name="connsiteY7596" fmla="*/ 2678526 h 3355086"/>
                <a:gd name="connsiteX7597" fmla="*/ 691133 w 3359086"/>
                <a:gd name="connsiteY7597" fmla="*/ 2684717 h 3355086"/>
                <a:gd name="connsiteX7598" fmla="*/ 684942 w 3359086"/>
                <a:gd name="connsiteY7598" fmla="*/ 2690908 h 3355086"/>
                <a:gd name="connsiteX7599" fmla="*/ 678751 w 3359086"/>
                <a:gd name="connsiteY7599" fmla="*/ 2684717 h 3355086"/>
                <a:gd name="connsiteX7600" fmla="*/ 684942 w 3359086"/>
                <a:gd name="connsiteY7600" fmla="*/ 2678526 h 3355086"/>
                <a:gd name="connsiteX7601" fmla="*/ 2862548 w 3359086"/>
                <a:gd name="connsiteY7601" fmla="*/ 2677478 h 3355086"/>
                <a:gd name="connsiteX7602" fmla="*/ 2868739 w 3359086"/>
                <a:gd name="connsiteY7602" fmla="*/ 2683669 h 3355086"/>
                <a:gd name="connsiteX7603" fmla="*/ 2862548 w 3359086"/>
                <a:gd name="connsiteY7603" fmla="*/ 2689861 h 3355086"/>
                <a:gd name="connsiteX7604" fmla="*/ 2856357 w 3359086"/>
                <a:gd name="connsiteY7604" fmla="*/ 2683669 h 3355086"/>
                <a:gd name="connsiteX7605" fmla="*/ 2862548 w 3359086"/>
                <a:gd name="connsiteY7605" fmla="*/ 2677478 h 3355086"/>
                <a:gd name="connsiteX7606" fmla="*/ 832199 w 3359086"/>
                <a:gd name="connsiteY7606" fmla="*/ 2677192 h 3355086"/>
                <a:gd name="connsiteX7607" fmla="*/ 838390 w 3359086"/>
                <a:gd name="connsiteY7607" fmla="*/ 2683383 h 3355086"/>
                <a:gd name="connsiteX7608" fmla="*/ 832199 w 3359086"/>
                <a:gd name="connsiteY7608" fmla="*/ 2689574 h 3355086"/>
                <a:gd name="connsiteX7609" fmla="*/ 826008 w 3359086"/>
                <a:gd name="connsiteY7609" fmla="*/ 2683383 h 3355086"/>
                <a:gd name="connsiteX7610" fmla="*/ 832199 w 3359086"/>
                <a:gd name="connsiteY7610" fmla="*/ 2677192 h 3355086"/>
                <a:gd name="connsiteX7611" fmla="*/ 2979133 w 3359086"/>
                <a:gd name="connsiteY7611" fmla="*/ 2673954 h 3355086"/>
                <a:gd name="connsiteX7612" fmla="*/ 2983372 w 3359086"/>
                <a:gd name="connsiteY7612" fmla="*/ 2678192 h 3355086"/>
                <a:gd name="connsiteX7613" fmla="*/ 2987420 w 3359086"/>
                <a:gd name="connsiteY7613" fmla="*/ 2674144 h 3355086"/>
                <a:gd name="connsiteX7614" fmla="*/ 2992850 w 3359086"/>
                <a:gd name="connsiteY7614" fmla="*/ 2679573 h 3355086"/>
                <a:gd name="connsiteX7615" fmla="*/ 2996755 w 3359086"/>
                <a:gd name="connsiteY7615" fmla="*/ 2675668 h 3355086"/>
                <a:gd name="connsiteX7616" fmla="*/ 3002946 w 3359086"/>
                <a:gd name="connsiteY7616" fmla="*/ 2681859 h 3355086"/>
                <a:gd name="connsiteX7617" fmla="*/ 2996755 w 3359086"/>
                <a:gd name="connsiteY7617" fmla="*/ 2688051 h 3355086"/>
                <a:gd name="connsiteX7618" fmla="*/ 2991326 w 3359086"/>
                <a:gd name="connsiteY7618" fmla="*/ 2682621 h 3355086"/>
                <a:gd name="connsiteX7619" fmla="*/ 2987420 w 3359086"/>
                <a:gd name="connsiteY7619" fmla="*/ 2686527 h 3355086"/>
                <a:gd name="connsiteX7620" fmla="*/ 2983182 w 3359086"/>
                <a:gd name="connsiteY7620" fmla="*/ 2682288 h 3355086"/>
                <a:gd name="connsiteX7621" fmla="*/ 2979133 w 3359086"/>
                <a:gd name="connsiteY7621" fmla="*/ 2686336 h 3355086"/>
                <a:gd name="connsiteX7622" fmla="*/ 2975847 w 3359086"/>
                <a:gd name="connsiteY7622" fmla="*/ 2683051 h 3355086"/>
                <a:gd name="connsiteX7623" fmla="*/ 2971704 w 3359086"/>
                <a:gd name="connsiteY7623" fmla="*/ 2687193 h 3355086"/>
                <a:gd name="connsiteX7624" fmla="*/ 2968990 w 3359086"/>
                <a:gd name="connsiteY7624" fmla="*/ 2684479 h 3355086"/>
                <a:gd name="connsiteX7625" fmla="*/ 2964465 w 3359086"/>
                <a:gd name="connsiteY7625" fmla="*/ 2689003 h 3355086"/>
                <a:gd name="connsiteX7626" fmla="*/ 2961893 w 3359086"/>
                <a:gd name="connsiteY7626" fmla="*/ 2686431 h 3355086"/>
                <a:gd name="connsiteX7627" fmla="*/ 2957035 w 3359086"/>
                <a:gd name="connsiteY7627" fmla="*/ 2691289 h 3355086"/>
                <a:gd name="connsiteX7628" fmla="*/ 2953940 w 3359086"/>
                <a:gd name="connsiteY7628" fmla="*/ 2688194 h 3355086"/>
                <a:gd name="connsiteX7629" fmla="*/ 2948463 w 3359086"/>
                <a:gd name="connsiteY7629" fmla="*/ 2693671 h 3355086"/>
                <a:gd name="connsiteX7630" fmla="*/ 2944462 w 3359086"/>
                <a:gd name="connsiteY7630" fmla="*/ 2689670 h 3355086"/>
                <a:gd name="connsiteX7631" fmla="*/ 2938366 w 3359086"/>
                <a:gd name="connsiteY7631" fmla="*/ 2695766 h 3355086"/>
                <a:gd name="connsiteX7632" fmla="*/ 2932175 w 3359086"/>
                <a:gd name="connsiteY7632" fmla="*/ 2689574 h 3355086"/>
                <a:gd name="connsiteX7633" fmla="*/ 2938366 w 3359086"/>
                <a:gd name="connsiteY7633" fmla="*/ 2683383 h 3355086"/>
                <a:gd name="connsiteX7634" fmla="*/ 2942367 w 3359086"/>
                <a:gd name="connsiteY7634" fmla="*/ 2687384 h 3355086"/>
                <a:gd name="connsiteX7635" fmla="*/ 2948463 w 3359086"/>
                <a:gd name="connsiteY7635" fmla="*/ 2681288 h 3355086"/>
                <a:gd name="connsiteX7636" fmla="*/ 2951558 w 3359086"/>
                <a:gd name="connsiteY7636" fmla="*/ 2684383 h 3355086"/>
                <a:gd name="connsiteX7637" fmla="*/ 2957035 w 3359086"/>
                <a:gd name="connsiteY7637" fmla="*/ 2678906 h 3355086"/>
                <a:gd name="connsiteX7638" fmla="*/ 2959608 w 3359086"/>
                <a:gd name="connsiteY7638" fmla="*/ 2681479 h 3355086"/>
                <a:gd name="connsiteX7639" fmla="*/ 2964465 w 3359086"/>
                <a:gd name="connsiteY7639" fmla="*/ 2676621 h 3355086"/>
                <a:gd name="connsiteX7640" fmla="*/ 2967180 w 3359086"/>
                <a:gd name="connsiteY7640" fmla="*/ 2679336 h 3355086"/>
                <a:gd name="connsiteX7641" fmla="*/ 2971704 w 3359086"/>
                <a:gd name="connsiteY7641" fmla="*/ 2674811 h 3355086"/>
                <a:gd name="connsiteX7642" fmla="*/ 2974990 w 3359086"/>
                <a:gd name="connsiteY7642" fmla="*/ 2678097 h 3355086"/>
                <a:gd name="connsiteX7643" fmla="*/ 394525 w 3359086"/>
                <a:gd name="connsiteY7643" fmla="*/ 2672906 h 3355086"/>
                <a:gd name="connsiteX7644" fmla="*/ 400716 w 3359086"/>
                <a:gd name="connsiteY7644" fmla="*/ 2679097 h 3355086"/>
                <a:gd name="connsiteX7645" fmla="*/ 394525 w 3359086"/>
                <a:gd name="connsiteY7645" fmla="*/ 2685289 h 3355086"/>
                <a:gd name="connsiteX7646" fmla="*/ 388334 w 3359086"/>
                <a:gd name="connsiteY7646" fmla="*/ 2679097 h 3355086"/>
                <a:gd name="connsiteX7647" fmla="*/ 394525 w 3359086"/>
                <a:gd name="connsiteY7647" fmla="*/ 2672906 h 3355086"/>
                <a:gd name="connsiteX7648" fmla="*/ 409288 w 3359086"/>
                <a:gd name="connsiteY7648" fmla="*/ 2672429 h 3355086"/>
                <a:gd name="connsiteX7649" fmla="*/ 415479 w 3359086"/>
                <a:gd name="connsiteY7649" fmla="*/ 2678620 h 3355086"/>
                <a:gd name="connsiteX7650" fmla="*/ 409288 w 3359086"/>
                <a:gd name="connsiteY7650" fmla="*/ 2684811 h 3355086"/>
                <a:gd name="connsiteX7651" fmla="*/ 403097 w 3359086"/>
                <a:gd name="connsiteY7651" fmla="*/ 2678620 h 3355086"/>
                <a:gd name="connsiteX7652" fmla="*/ 409288 w 3359086"/>
                <a:gd name="connsiteY7652" fmla="*/ 2672429 h 3355086"/>
                <a:gd name="connsiteX7653" fmla="*/ 2271426 w 3359086"/>
                <a:gd name="connsiteY7653" fmla="*/ 2672144 h 3355086"/>
                <a:gd name="connsiteX7654" fmla="*/ 2277617 w 3359086"/>
                <a:gd name="connsiteY7654" fmla="*/ 2678335 h 3355086"/>
                <a:gd name="connsiteX7655" fmla="*/ 2271426 w 3359086"/>
                <a:gd name="connsiteY7655" fmla="*/ 2684526 h 3355086"/>
                <a:gd name="connsiteX7656" fmla="*/ 2265235 w 3359086"/>
                <a:gd name="connsiteY7656" fmla="*/ 2678335 h 3355086"/>
                <a:gd name="connsiteX7657" fmla="*/ 2271426 w 3359086"/>
                <a:gd name="connsiteY7657" fmla="*/ 2672144 h 3355086"/>
                <a:gd name="connsiteX7658" fmla="*/ 570547 w 3359086"/>
                <a:gd name="connsiteY7658" fmla="*/ 2670715 h 3355086"/>
                <a:gd name="connsiteX7659" fmla="*/ 576738 w 3359086"/>
                <a:gd name="connsiteY7659" fmla="*/ 2676906 h 3355086"/>
                <a:gd name="connsiteX7660" fmla="*/ 570547 w 3359086"/>
                <a:gd name="connsiteY7660" fmla="*/ 2683097 h 3355086"/>
                <a:gd name="connsiteX7661" fmla="*/ 564356 w 3359086"/>
                <a:gd name="connsiteY7661" fmla="*/ 2676906 h 3355086"/>
                <a:gd name="connsiteX7662" fmla="*/ 570547 w 3359086"/>
                <a:gd name="connsiteY7662" fmla="*/ 2670715 h 3355086"/>
                <a:gd name="connsiteX7663" fmla="*/ 428338 w 3359086"/>
                <a:gd name="connsiteY7663" fmla="*/ 2670048 h 3355086"/>
                <a:gd name="connsiteX7664" fmla="*/ 434529 w 3359086"/>
                <a:gd name="connsiteY7664" fmla="*/ 2676239 h 3355086"/>
                <a:gd name="connsiteX7665" fmla="*/ 428338 w 3359086"/>
                <a:gd name="connsiteY7665" fmla="*/ 2682430 h 3355086"/>
                <a:gd name="connsiteX7666" fmla="*/ 422147 w 3359086"/>
                <a:gd name="connsiteY7666" fmla="*/ 2676239 h 3355086"/>
                <a:gd name="connsiteX7667" fmla="*/ 428338 w 3359086"/>
                <a:gd name="connsiteY7667" fmla="*/ 2670048 h 3355086"/>
                <a:gd name="connsiteX7668" fmla="*/ 2829401 w 3359086"/>
                <a:gd name="connsiteY7668" fmla="*/ 2669001 h 3355086"/>
                <a:gd name="connsiteX7669" fmla="*/ 2835593 w 3359086"/>
                <a:gd name="connsiteY7669" fmla="*/ 2675192 h 3355086"/>
                <a:gd name="connsiteX7670" fmla="*/ 2829401 w 3359086"/>
                <a:gd name="connsiteY7670" fmla="*/ 2681384 h 3355086"/>
                <a:gd name="connsiteX7671" fmla="*/ 2823210 w 3359086"/>
                <a:gd name="connsiteY7671" fmla="*/ 2675192 h 3355086"/>
                <a:gd name="connsiteX7672" fmla="*/ 2829401 w 3359086"/>
                <a:gd name="connsiteY7672" fmla="*/ 2669001 h 3355086"/>
                <a:gd name="connsiteX7673" fmla="*/ 344804 w 3359086"/>
                <a:gd name="connsiteY7673" fmla="*/ 2665190 h 3355086"/>
                <a:gd name="connsiteX7674" fmla="*/ 348566 w 3359086"/>
                <a:gd name="connsiteY7674" fmla="*/ 2668953 h 3355086"/>
                <a:gd name="connsiteX7675" fmla="*/ 352043 w 3359086"/>
                <a:gd name="connsiteY7675" fmla="*/ 2665476 h 3355086"/>
                <a:gd name="connsiteX7676" fmla="*/ 356091 w 3359086"/>
                <a:gd name="connsiteY7676" fmla="*/ 2669524 h 3355086"/>
                <a:gd name="connsiteX7677" fmla="*/ 358901 w 3359086"/>
                <a:gd name="connsiteY7677" fmla="*/ 2666714 h 3355086"/>
                <a:gd name="connsiteX7678" fmla="*/ 363235 w 3359086"/>
                <a:gd name="connsiteY7678" fmla="*/ 2671048 h 3355086"/>
                <a:gd name="connsiteX7679" fmla="*/ 365854 w 3359086"/>
                <a:gd name="connsiteY7679" fmla="*/ 2668429 h 3355086"/>
                <a:gd name="connsiteX7680" fmla="*/ 370712 w 3359086"/>
                <a:gd name="connsiteY7680" fmla="*/ 2673287 h 3355086"/>
                <a:gd name="connsiteX7681" fmla="*/ 373665 w 3359086"/>
                <a:gd name="connsiteY7681" fmla="*/ 2670334 h 3355086"/>
                <a:gd name="connsiteX7682" fmla="*/ 379094 w 3359086"/>
                <a:gd name="connsiteY7682" fmla="*/ 2675763 h 3355086"/>
                <a:gd name="connsiteX7683" fmla="*/ 382904 w 3359086"/>
                <a:gd name="connsiteY7683" fmla="*/ 2671953 h 3355086"/>
                <a:gd name="connsiteX7684" fmla="*/ 389095 w 3359086"/>
                <a:gd name="connsiteY7684" fmla="*/ 2678144 h 3355086"/>
                <a:gd name="connsiteX7685" fmla="*/ 382904 w 3359086"/>
                <a:gd name="connsiteY7685" fmla="*/ 2684335 h 3355086"/>
                <a:gd name="connsiteX7686" fmla="*/ 377475 w 3359086"/>
                <a:gd name="connsiteY7686" fmla="*/ 2678906 h 3355086"/>
                <a:gd name="connsiteX7687" fmla="*/ 373665 w 3359086"/>
                <a:gd name="connsiteY7687" fmla="*/ 2682717 h 3355086"/>
                <a:gd name="connsiteX7688" fmla="*/ 368807 w 3359086"/>
                <a:gd name="connsiteY7688" fmla="*/ 2677859 h 3355086"/>
                <a:gd name="connsiteX7689" fmla="*/ 365854 w 3359086"/>
                <a:gd name="connsiteY7689" fmla="*/ 2680811 h 3355086"/>
                <a:gd name="connsiteX7690" fmla="*/ 361521 w 3359086"/>
                <a:gd name="connsiteY7690" fmla="*/ 2676478 h 3355086"/>
                <a:gd name="connsiteX7691" fmla="*/ 358901 w 3359086"/>
                <a:gd name="connsiteY7691" fmla="*/ 2679097 h 3355086"/>
                <a:gd name="connsiteX7692" fmla="*/ 354853 w 3359086"/>
                <a:gd name="connsiteY7692" fmla="*/ 2675049 h 3355086"/>
                <a:gd name="connsiteX7693" fmla="*/ 352043 w 3359086"/>
                <a:gd name="connsiteY7693" fmla="*/ 2677859 h 3355086"/>
                <a:gd name="connsiteX7694" fmla="*/ 348280 w 3359086"/>
                <a:gd name="connsiteY7694" fmla="*/ 2674096 h 3355086"/>
                <a:gd name="connsiteX7695" fmla="*/ 344804 w 3359086"/>
                <a:gd name="connsiteY7695" fmla="*/ 2677573 h 3355086"/>
                <a:gd name="connsiteX7696" fmla="*/ 341090 w 3359086"/>
                <a:gd name="connsiteY7696" fmla="*/ 2673859 h 3355086"/>
                <a:gd name="connsiteX7697" fmla="*/ 336613 w 3359086"/>
                <a:gd name="connsiteY7697" fmla="*/ 2678335 h 3355086"/>
                <a:gd name="connsiteX7698" fmla="*/ 330422 w 3359086"/>
                <a:gd name="connsiteY7698" fmla="*/ 2672144 h 3355086"/>
                <a:gd name="connsiteX7699" fmla="*/ 336613 w 3359086"/>
                <a:gd name="connsiteY7699" fmla="*/ 2665953 h 3355086"/>
                <a:gd name="connsiteX7700" fmla="*/ 340327 w 3359086"/>
                <a:gd name="connsiteY7700" fmla="*/ 2669667 h 3355086"/>
                <a:gd name="connsiteX7701" fmla="*/ 452627 w 3359086"/>
                <a:gd name="connsiteY7701" fmla="*/ 2665000 h 3355086"/>
                <a:gd name="connsiteX7702" fmla="*/ 458818 w 3359086"/>
                <a:gd name="connsiteY7702" fmla="*/ 2671191 h 3355086"/>
                <a:gd name="connsiteX7703" fmla="*/ 452627 w 3359086"/>
                <a:gd name="connsiteY7703" fmla="*/ 2677382 h 3355086"/>
                <a:gd name="connsiteX7704" fmla="*/ 446436 w 3359086"/>
                <a:gd name="connsiteY7704" fmla="*/ 2671191 h 3355086"/>
                <a:gd name="connsiteX7705" fmla="*/ 452627 w 3359086"/>
                <a:gd name="connsiteY7705" fmla="*/ 2665000 h 3355086"/>
                <a:gd name="connsiteX7706" fmla="*/ 2679858 w 3359086"/>
                <a:gd name="connsiteY7706" fmla="*/ 2664619 h 3355086"/>
                <a:gd name="connsiteX7707" fmla="*/ 2686049 w 3359086"/>
                <a:gd name="connsiteY7707" fmla="*/ 2670810 h 3355086"/>
                <a:gd name="connsiteX7708" fmla="*/ 2679858 w 3359086"/>
                <a:gd name="connsiteY7708" fmla="*/ 2677002 h 3355086"/>
                <a:gd name="connsiteX7709" fmla="*/ 2673667 w 3359086"/>
                <a:gd name="connsiteY7709" fmla="*/ 2670810 h 3355086"/>
                <a:gd name="connsiteX7710" fmla="*/ 2679858 w 3359086"/>
                <a:gd name="connsiteY7710" fmla="*/ 2664619 h 3355086"/>
                <a:gd name="connsiteX7711" fmla="*/ 2539745 w 3359086"/>
                <a:gd name="connsiteY7711" fmla="*/ 2664333 h 3355086"/>
                <a:gd name="connsiteX7712" fmla="*/ 2545937 w 3359086"/>
                <a:gd name="connsiteY7712" fmla="*/ 2670524 h 3355086"/>
                <a:gd name="connsiteX7713" fmla="*/ 2539745 w 3359086"/>
                <a:gd name="connsiteY7713" fmla="*/ 2676716 h 3355086"/>
                <a:gd name="connsiteX7714" fmla="*/ 2533554 w 3359086"/>
                <a:gd name="connsiteY7714" fmla="*/ 2670524 h 3355086"/>
                <a:gd name="connsiteX7715" fmla="*/ 2539745 w 3359086"/>
                <a:gd name="connsiteY7715" fmla="*/ 2664333 h 3355086"/>
                <a:gd name="connsiteX7716" fmla="*/ 3025521 w 3359086"/>
                <a:gd name="connsiteY7716" fmla="*/ 2664048 h 3355086"/>
                <a:gd name="connsiteX7717" fmla="*/ 3031521 w 3359086"/>
                <a:gd name="connsiteY7717" fmla="*/ 2670049 h 3355086"/>
                <a:gd name="connsiteX7718" fmla="*/ 3025521 w 3359086"/>
                <a:gd name="connsiteY7718" fmla="*/ 2676050 h 3355086"/>
                <a:gd name="connsiteX7719" fmla="*/ 3019520 w 3359086"/>
                <a:gd name="connsiteY7719" fmla="*/ 2670049 h 3355086"/>
                <a:gd name="connsiteX7720" fmla="*/ 3025521 w 3359086"/>
                <a:gd name="connsiteY7720" fmla="*/ 2664048 h 3355086"/>
                <a:gd name="connsiteX7721" fmla="*/ 1018031 w 3359086"/>
                <a:gd name="connsiteY7721" fmla="*/ 2663000 h 3355086"/>
                <a:gd name="connsiteX7722" fmla="*/ 1024222 w 3359086"/>
                <a:gd name="connsiteY7722" fmla="*/ 2669191 h 3355086"/>
                <a:gd name="connsiteX7723" fmla="*/ 1018031 w 3359086"/>
                <a:gd name="connsiteY7723" fmla="*/ 2675382 h 3355086"/>
                <a:gd name="connsiteX7724" fmla="*/ 1011840 w 3359086"/>
                <a:gd name="connsiteY7724" fmla="*/ 2669191 h 3355086"/>
                <a:gd name="connsiteX7725" fmla="*/ 1018031 w 3359086"/>
                <a:gd name="connsiteY7725" fmla="*/ 2663000 h 3355086"/>
                <a:gd name="connsiteX7726" fmla="*/ 3014281 w 3359086"/>
                <a:gd name="connsiteY7726" fmla="*/ 2659571 h 3355086"/>
                <a:gd name="connsiteX7727" fmla="*/ 3020472 w 3359086"/>
                <a:gd name="connsiteY7727" fmla="*/ 2665762 h 3355086"/>
                <a:gd name="connsiteX7728" fmla="*/ 3014281 w 3359086"/>
                <a:gd name="connsiteY7728" fmla="*/ 2671954 h 3355086"/>
                <a:gd name="connsiteX7729" fmla="*/ 3008090 w 3359086"/>
                <a:gd name="connsiteY7729" fmla="*/ 2665762 h 3355086"/>
                <a:gd name="connsiteX7730" fmla="*/ 3014281 w 3359086"/>
                <a:gd name="connsiteY7730" fmla="*/ 2659571 h 3355086"/>
                <a:gd name="connsiteX7731" fmla="*/ 1697069 w 3359086"/>
                <a:gd name="connsiteY7731" fmla="*/ 2659095 h 3355086"/>
                <a:gd name="connsiteX7732" fmla="*/ 1703261 w 3359086"/>
                <a:gd name="connsiteY7732" fmla="*/ 2665286 h 3355086"/>
                <a:gd name="connsiteX7733" fmla="*/ 1697069 w 3359086"/>
                <a:gd name="connsiteY7733" fmla="*/ 2671477 h 3355086"/>
                <a:gd name="connsiteX7734" fmla="*/ 1690878 w 3359086"/>
                <a:gd name="connsiteY7734" fmla="*/ 2665286 h 3355086"/>
                <a:gd name="connsiteX7735" fmla="*/ 1697069 w 3359086"/>
                <a:gd name="connsiteY7735" fmla="*/ 2659095 h 3355086"/>
                <a:gd name="connsiteX7736" fmla="*/ 2937700 w 3359086"/>
                <a:gd name="connsiteY7736" fmla="*/ 2658713 h 3355086"/>
                <a:gd name="connsiteX7737" fmla="*/ 2943892 w 3359086"/>
                <a:gd name="connsiteY7737" fmla="*/ 2664904 h 3355086"/>
                <a:gd name="connsiteX7738" fmla="*/ 2937700 w 3359086"/>
                <a:gd name="connsiteY7738" fmla="*/ 2671096 h 3355086"/>
                <a:gd name="connsiteX7739" fmla="*/ 2931509 w 3359086"/>
                <a:gd name="connsiteY7739" fmla="*/ 2664904 h 3355086"/>
                <a:gd name="connsiteX7740" fmla="*/ 2937700 w 3359086"/>
                <a:gd name="connsiteY7740" fmla="*/ 2658713 h 3355086"/>
                <a:gd name="connsiteX7741" fmla="*/ 1581435 w 3359086"/>
                <a:gd name="connsiteY7741" fmla="*/ 2658142 h 3355086"/>
                <a:gd name="connsiteX7742" fmla="*/ 1587626 w 3359086"/>
                <a:gd name="connsiteY7742" fmla="*/ 2664333 h 3355086"/>
                <a:gd name="connsiteX7743" fmla="*/ 1581435 w 3359086"/>
                <a:gd name="connsiteY7743" fmla="*/ 2670524 h 3355086"/>
                <a:gd name="connsiteX7744" fmla="*/ 1575244 w 3359086"/>
                <a:gd name="connsiteY7744" fmla="*/ 2664333 h 3355086"/>
                <a:gd name="connsiteX7745" fmla="*/ 1581435 w 3359086"/>
                <a:gd name="connsiteY7745" fmla="*/ 2658142 h 3355086"/>
                <a:gd name="connsiteX7746" fmla="*/ 483393 w 3359086"/>
                <a:gd name="connsiteY7746" fmla="*/ 2656618 h 3355086"/>
                <a:gd name="connsiteX7747" fmla="*/ 489585 w 3359086"/>
                <a:gd name="connsiteY7747" fmla="*/ 2662809 h 3355086"/>
                <a:gd name="connsiteX7748" fmla="*/ 483393 w 3359086"/>
                <a:gd name="connsiteY7748" fmla="*/ 2669001 h 3355086"/>
                <a:gd name="connsiteX7749" fmla="*/ 477202 w 3359086"/>
                <a:gd name="connsiteY7749" fmla="*/ 2662809 h 3355086"/>
                <a:gd name="connsiteX7750" fmla="*/ 483393 w 3359086"/>
                <a:gd name="connsiteY7750" fmla="*/ 2656618 h 3355086"/>
                <a:gd name="connsiteX7751" fmla="*/ 2788157 w 3359086"/>
                <a:gd name="connsiteY7751" fmla="*/ 2656428 h 3355086"/>
                <a:gd name="connsiteX7752" fmla="*/ 2794348 w 3359086"/>
                <a:gd name="connsiteY7752" fmla="*/ 2662619 h 3355086"/>
                <a:gd name="connsiteX7753" fmla="*/ 2788157 w 3359086"/>
                <a:gd name="connsiteY7753" fmla="*/ 2668810 h 3355086"/>
                <a:gd name="connsiteX7754" fmla="*/ 2781966 w 3359086"/>
                <a:gd name="connsiteY7754" fmla="*/ 2662619 h 3355086"/>
                <a:gd name="connsiteX7755" fmla="*/ 2788157 w 3359086"/>
                <a:gd name="connsiteY7755" fmla="*/ 2656428 h 3355086"/>
                <a:gd name="connsiteX7756" fmla="*/ 2920555 w 3359086"/>
                <a:gd name="connsiteY7756" fmla="*/ 2655951 h 3355086"/>
                <a:gd name="connsiteX7757" fmla="*/ 2926746 w 3359086"/>
                <a:gd name="connsiteY7757" fmla="*/ 2662142 h 3355086"/>
                <a:gd name="connsiteX7758" fmla="*/ 2920555 w 3359086"/>
                <a:gd name="connsiteY7758" fmla="*/ 2668334 h 3355086"/>
                <a:gd name="connsiteX7759" fmla="*/ 2914364 w 3359086"/>
                <a:gd name="connsiteY7759" fmla="*/ 2662142 h 3355086"/>
                <a:gd name="connsiteX7760" fmla="*/ 2920555 w 3359086"/>
                <a:gd name="connsiteY7760" fmla="*/ 2655951 h 3355086"/>
                <a:gd name="connsiteX7761" fmla="*/ 1812226 w 3359086"/>
                <a:gd name="connsiteY7761" fmla="*/ 2655856 h 3355086"/>
                <a:gd name="connsiteX7762" fmla="*/ 1818418 w 3359086"/>
                <a:gd name="connsiteY7762" fmla="*/ 2662047 h 3355086"/>
                <a:gd name="connsiteX7763" fmla="*/ 1812226 w 3359086"/>
                <a:gd name="connsiteY7763" fmla="*/ 2668238 h 3355086"/>
                <a:gd name="connsiteX7764" fmla="*/ 1806035 w 3359086"/>
                <a:gd name="connsiteY7764" fmla="*/ 2662047 h 3355086"/>
                <a:gd name="connsiteX7765" fmla="*/ 1812226 w 3359086"/>
                <a:gd name="connsiteY7765" fmla="*/ 2655856 h 3355086"/>
                <a:gd name="connsiteX7766" fmla="*/ 2989611 w 3359086"/>
                <a:gd name="connsiteY7766" fmla="*/ 2654904 h 3355086"/>
                <a:gd name="connsiteX7767" fmla="*/ 2993325 w 3359086"/>
                <a:gd name="connsiteY7767" fmla="*/ 2658619 h 3355086"/>
                <a:gd name="connsiteX7768" fmla="*/ 2996659 w 3359086"/>
                <a:gd name="connsiteY7768" fmla="*/ 2655285 h 3355086"/>
                <a:gd name="connsiteX7769" fmla="*/ 3001422 w 3359086"/>
                <a:gd name="connsiteY7769" fmla="*/ 2660047 h 3355086"/>
                <a:gd name="connsiteX7770" fmla="*/ 3004756 w 3359086"/>
                <a:gd name="connsiteY7770" fmla="*/ 2656713 h 3355086"/>
                <a:gd name="connsiteX7771" fmla="*/ 3010947 w 3359086"/>
                <a:gd name="connsiteY7771" fmla="*/ 2662904 h 3355086"/>
                <a:gd name="connsiteX7772" fmla="*/ 3004756 w 3359086"/>
                <a:gd name="connsiteY7772" fmla="*/ 2669095 h 3355086"/>
                <a:gd name="connsiteX7773" fmla="*/ 2999994 w 3359086"/>
                <a:gd name="connsiteY7773" fmla="*/ 2664333 h 3355086"/>
                <a:gd name="connsiteX7774" fmla="*/ 2996659 w 3359086"/>
                <a:gd name="connsiteY7774" fmla="*/ 2667667 h 3355086"/>
                <a:gd name="connsiteX7775" fmla="*/ 2992944 w 3359086"/>
                <a:gd name="connsiteY7775" fmla="*/ 2663953 h 3355086"/>
                <a:gd name="connsiteX7776" fmla="*/ 2989611 w 3359086"/>
                <a:gd name="connsiteY7776" fmla="*/ 2667286 h 3355086"/>
                <a:gd name="connsiteX7777" fmla="*/ 2986658 w 3359086"/>
                <a:gd name="connsiteY7777" fmla="*/ 2664333 h 3355086"/>
                <a:gd name="connsiteX7778" fmla="*/ 2983134 w 3359086"/>
                <a:gd name="connsiteY7778" fmla="*/ 2667857 h 3355086"/>
                <a:gd name="connsiteX7779" fmla="*/ 2980468 w 3359086"/>
                <a:gd name="connsiteY7779" fmla="*/ 2665191 h 3355086"/>
                <a:gd name="connsiteX7780" fmla="*/ 2976657 w 3359086"/>
                <a:gd name="connsiteY7780" fmla="*/ 2669001 h 3355086"/>
                <a:gd name="connsiteX7781" fmla="*/ 2973800 w 3359086"/>
                <a:gd name="connsiteY7781" fmla="*/ 2666143 h 3355086"/>
                <a:gd name="connsiteX7782" fmla="*/ 2969608 w 3359086"/>
                <a:gd name="connsiteY7782" fmla="*/ 2670334 h 3355086"/>
                <a:gd name="connsiteX7783" fmla="*/ 2966036 w 3359086"/>
                <a:gd name="connsiteY7783" fmla="*/ 2666763 h 3355086"/>
                <a:gd name="connsiteX7784" fmla="*/ 2961322 w 3359086"/>
                <a:gd name="connsiteY7784" fmla="*/ 2671477 h 3355086"/>
                <a:gd name="connsiteX7785" fmla="*/ 2956322 w 3359086"/>
                <a:gd name="connsiteY7785" fmla="*/ 2666477 h 3355086"/>
                <a:gd name="connsiteX7786" fmla="*/ 2950940 w 3359086"/>
                <a:gd name="connsiteY7786" fmla="*/ 2671858 h 3355086"/>
                <a:gd name="connsiteX7787" fmla="*/ 2944749 w 3359086"/>
                <a:gd name="connsiteY7787" fmla="*/ 2665667 h 3355086"/>
                <a:gd name="connsiteX7788" fmla="*/ 2950940 w 3359086"/>
                <a:gd name="connsiteY7788" fmla="*/ 2659476 h 3355086"/>
                <a:gd name="connsiteX7789" fmla="*/ 2955941 w 3359086"/>
                <a:gd name="connsiteY7789" fmla="*/ 2664477 h 3355086"/>
                <a:gd name="connsiteX7790" fmla="*/ 2961322 w 3359086"/>
                <a:gd name="connsiteY7790" fmla="*/ 2659095 h 3355086"/>
                <a:gd name="connsiteX7791" fmla="*/ 2964893 w 3359086"/>
                <a:gd name="connsiteY7791" fmla="*/ 2662667 h 3355086"/>
                <a:gd name="connsiteX7792" fmla="*/ 2969608 w 3359086"/>
                <a:gd name="connsiteY7792" fmla="*/ 2657952 h 3355086"/>
                <a:gd name="connsiteX7793" fmla="*/ 2972466 w 3359086"/>
                <a:gd name="connsiteY7793" fmla="*/ 2660810 h 3355086"/>
                <a:gd name="connsiteX7794" fmla="*/ 2976657 w 3359086"/>
                <a:gd name="connsiteY7794" fmla="*/ 2656618 h 3355086"/>
                <a:gd name="connsiteX7795" fmla="*/ 2979324 w 3359086"/>
                <a:gd name="connsiteY7795" fmla="*/ 2659285 h 3355086"/>
                <a:gd name="connsiteX7796" fmla="*/ 2983134 w 3359086"/>
                <a:gd name="connsiteY7796" fmla="*/ 2655475 h 3355086"/>
                <a:gd name="connsiteX7797" fmla="*/ 2986087 w 3359086"/>
                <a:gd name="connsiteY7797" fmla="*/ 2658428 h 3355086"/>
                <a:gd name="connsiteX7798" fmla="*/ 3043237 w 3359086"/>
                <a:gd name="connsiteY7798" fmla="*/ 2654713 h 3355086"/>
                <a:gd name="connsiteX7799" fmla="*/ 3044476 w 3359086"/>
                <a:gd name="connsiteY7799" fmla="*/ 2655951 h 3355086"/>
                <a:gd name="connsiteX7800" fmla="*/ 3043237 w 3359086"/>
                <a:gd name="connsiteY7800" fmla="*/ 2657189 h 3355086"/>
                <a:gd name="connsiteX7801" fmla="*/ 3041999 w 3359086"/>
                <a:gd name="connsiteY7801" fmla="*/ 2655951 h 3355086"/>
                <a:gd name="connsiteX7802" fmla="*/ 3043237 w 3359086"/>
                <a:gd name="connsiteY7802" fmla="*/ 2654713 h 3355086"/>
                <a:gd name="connsiteX7803" fmla="*/ 1466945 w 3359086"/>
                <a:gd name="connsiteY7803" fmla="*/ 2652903 h 3355086"/>
                <a:gd name="connsiteX7804" fmla="*/ 1473137 w 3359086"/>
                <a:gd name="connsiteY7804" fmla="*/ 2659094 h 3355086"/>
                <a:gd name="connsiteX7805" fmla="*/ 1466945 w 3359086"/>
                <a:gd name="connsiteY7805" fmla="*/ 2665285 h 3355086"/>
                <a:gd name="connsiteX7806" fmla="*/ 1460754 w 3359086"/>
                <a:gd name="connsiteY7806" fmla="*/ 2659094 h 3355086"/>
                <a:gd name="connsiteX7807" fmla="*/ 1466945 w 3359086"/>
                <a:gd name="connsiteY7807" fmla="*/ 2652903 h 3355086"/>
                <a:gd name="connsiteX7808" fmla="*/ 759142 w 3359086"/>
                <a:gd name="connsiteY7808" fmla="*/ 2652903 h 3355086"/>
                <a:gd name="connsiteX7809" fmla="*/ 765333 w 3359086"/>
                <a:gd name="connsiteY7809" fmla="*/ 2659094 h 3355086"/>
                <a:gd name="connsiteX7810" fmla="*/ 759142 w 3359086"/>
                <a:gd name="connsiteY7810" fmla="*/ 2665285 h 3355086"/>
                <a:gd name="connsiteX7811" fmla="*/ 752951 w 3359086"/>
                <a:gd name="connsiteY7811" fmla="*/ 2659094 h 3355086"/>
                <a:gd name="connsiteX7812" fmla="*/ 759142 w 3359086"/>
                <a:gd name="connsiteY7812" fmla="*/ 2652903 h 3355086"/>
                <a:gd name="connsiteX7813" fmla="*/ 625030 w 3359086"/>
                <a:gd name="connsiteY7813" fmla="*/ 2652522 h 3355086"/>
                <a:gd name="connsiteX7814" fmla="*/ 631221 w 3359086"/>
                <a:gd name="connsiteY7814" fmla="*/ 2658713 h 3355086"/>
                <a:gd name="connsiteX7815" fmla="*/ 625030 w 3359086"/>
                <a:gd name="connsiteY7815" fmla="*/ 2664904 h 3355086"/>
                <a:gd name="connsiteX7816" fmla="*/ 618839 w 3359086"/>
                <a:gd name="connsiteY7816" fmla="*/ 2658713 h 3355086"/>
                <a:gd name="connsiteX7817" fmla="*/ 625030 w 3359086"/>
                <a:gd name="connsiteY7817" fmla="*/ 2652522 h 3355086"/>
                <a:gd name="connsiteX7818" fmla="*/ 2362009 w 3359086"/>
                <a:gd name="connsiteY7818" fmla="*/ 2651855 h 3355086"/>
                <a:gd name="connsiteX7819" fmla="*/ 2368201 w 3359086"/>
                <a:gd name="connsiteY7819" fmla="*/ 2658046 h 3355086"/>
                <a:gd name="connsiteX7820" fmla="*/ 2362009 w 3359086"/>
                <a:gd name="connsiteY7820" fmla="*/ 2664238 h 3355086"/>
                <a:gd name="connsiteX7821" fmla="*/ 2355818 w 3359086"/>
                <a:gd name="connsiteY7821" fmla="*/ 2658046 h 3355086"/>
                <a:gd name="connsiteX7822" fmla="*/ 2362009 w 3359086"/>
                <a:gd name="connsiteY7822" fmla="*/ 2651855 h 3355086"/>
                <a:gd name="connsiteX7823" fmla="*/ 319468 w 3359086"/>
                <a:gd name="connsiteY7823" fmla="*/ 2651284 h 3355086"/>
                <a:gd name="connsiteX7824" fmla="*/ 323183 w 3359086"/>
                <a:gd name="connsiteY7824" fmla="*/ 2654999 h 3355086"/>
                <a:gd name="connsiteX7825" fmla="*/ 319468 w 3359086"/>
                <a:gd name="connsiteY7825" fmla="*/ 2658714 h 3355086"/>
                <a:gd name="connsiteX7826" fmla="*/ 315753 w 3359086"/>
                <a:gd name="connsiteY7826" fmla="*/ 2654999 h 3355086"/>
                <a:gd name="connsiteX7827" fmla="*/ 319468 w 3359086"/>
                <a:gd name="connsiteY7827" fmla="*/ 2651284 h 3355086"/>
                <a:gd name="connsiteX7828" fmla="*/ 2898362 w 3359086"/>
                <a:gd name="connsiteY7828" fmla="*/ 2650808 h 3355086"/>
                <a:gd name="connsiteX7829" fmla="*/ 2904553 w 3359086"/>
                <a:gd name="connsiteY7829" fmla="*/ 2656999 h 3355086"/>
                <a:gd name="connsiteX7830" fmla="*/ 2898362 w 3359086"/>
                <a:gd name="connsiteY7830" fmla="*/ 2663190 h 3355086"/>
                <a:gd name="connsiteX7831" fmla="*/ 2892171 w 3359086"/>
                <a:gd name="connsiteY7831" fmla="*/ 2656999 h 3355086"/>
                <a:gd name="connsiteX7832" fmla="*/ 2898362 w 3359086"/>
                <a:gd name="connsiteY7832" fmla="*/ 2650808 h 3355086"/>
                <a:gd name="connsiteX7833" fmla="*/ 1925573 w 3359086"/>
                <a:gd name="connsiteY7833" fmla="*/ 2648427 h 3355086"/>
                <a:gd name="connsiteX7834" fmla="*/ 1931765 w 3359086"/>
                <a:gd name="connsiteY7834" fmla="*/ 2654618 h 3355086"/>
                <a:gd name="connsiteX7835" fmla="*/ 1925573 w 3359086"/>
                <a:gd name="connsiteY7835" fmla="*/ 2660809 h 3355086"/>
                <a:gd name="connsiteX7836" fmla="*/ 1919382 w 3359086"/>
                <a:gd name="connsiteY7836" fmla="*/ 2654618 h 3355086"/>
                <a:gd name="connsiteX7837" fmla="*/ 1925573 w 3359086"/>
                <a:gd name="connsiteY7837" fmla="*/ 2648427 h 3355086"/>
                <a:gd name="connsiteX7838" fmla="*/ 382142 w 3359086"/>
                <a:gd name="connsiteY7838" fmla="*/ 2646903 h 3355086"/>
                <a:gd name="connsiteX7839" fmla="*/ 388333 w 3359086"/>
                <a:gd name="connsiteY7839" fmla="*/ 2653094 h 3355086"/>
                <a:gd name="connsiteX7840" fmla="*/ 382142 w 3359086"/>
                <a:gd name="connsiteY7840" fmla="*/ 2659285 h 3355086"/>
                <a:gd name="connsiteX7841" fmla="*/ 375951 w 3359086"/>
                <a:gd name="connsiteY7841" fmla="*/ 2653094 h 3355086"/>
                <a:gd name="connsiteX7842" fmla="*/ 382142 w 3359086"/>
                <a:gd name="connsiteY7842" fmla="*/ 2646903 h 3355086"/>
                <a:gd name="connsiteX7843" fmla="*/ 334517 w 3359086"/>
                <a:gd name="connsiteY7843" fmla="*/ 2645950 h 3355086"/>
                <a:gd name="connsiteX7844" fmla="*/ 337612 w 3359086"/>
                <a:gd name="connsiteY7844" fmla="*/ 2649046 h 3355086"/>
                <a:gd name="connsiteX7845" fmla="*/ 340708 w 3359086"/>
                <a:gd name="connsiteY7845" fmla="*/ 2645950 h 3355086"/>
                <a:gd name="connsiteX7846" fmla="*/ 344041 w 3359086"/>
                <a:gd name="connsiteY7846" fmla="*/ 2649284 h 3355086"/>
                <a:gd name="connsiteX7847" fmla="*/ 346804 w 3359086"/>
                <a:gd name="connsiteY7847" fmla="*/ 2646521 h 3355086"/>
                <a:gd name="connsiteX7848" fmla="*/ 350472 w 3359086"/>
                <a:gd name="connsiteY7848" fmla="*/ 2650188 h 3355086"/>
                <a:gd name="connsiteX7849" fmla="*/ 353281 w 3359086"/>
                <a:gd name="connsiteY7849" fmla="*/ 2647379 h 3355086"/>
                <a:gd name="connsiteX7850" fmla="*/ 357377 w 3359086"/>
                <a:gd name="connsiteY7850" fmla="*/ 2651475 h 3355086"/>
                <a:gd name="connsiteX7851" fmla="*/ 360806 w 3359086"/>
                <a:gd name="connsiteY7851" fmla="*/ 2648046 h 3355086"/>
                <a:gd name="connsiteX7852" fmla="*/ 365474 w 3359086"/>
                <a:gd name="connsiteY7852" fmla="*/ 2652714 h 3355086"/>
                <a:gd name="connsiteX7853" fmla="*/ 370141 w 3359086"/>
                <a:gd name="connsiteY7853" fmla="*/ 2648046 h 3355086"/>
                <a:gd name="connsiteX7854" fmla="*/ 376332 w 3359086"/>
                <a:gd name="connsiteY7854" fmla="*/ 2654237 h 3355086"/>
                <a:gd name="connsiteX7855" fmla="*/ 370141 w 3359086"/>
                <a:gd name="connsiteY7855" fmla="*/ 2660428 h 3355086"/>
                <a:gd name="connsiteX7856" fmla="*/ 365474 w 3359086"/>
                <a:gd name="connsiteY7856" fmla="*/ 2655761 h 3355086"/>
                <a:gd name="connsiteX7857" fmla="*/ 360806 w 3359086"/>
                <a:gd name="connsiteY7857" fmla="*/ 2660428 h 3355086"/>
                <a:gd name="connsiteX7858" fmla="*/ 356710 w 3359086"/>
                <a:gd name="connsiteY7858" fmla="*/ 2656333 h 3355086"/>
                <a:gd name="connsiteX7859" fmla="*/ 353281 w 3359086"/>
                <a:gd name="connsiteY7859" fmla="*/ 2659762 h 3355086"/>
                <a:gd name="connsiteX7860" fmla="*/ 349614 w 3359086"/>
                <a:gd name="connsiteY7860" fmla="*/ 2656094 h 3355086"/>
                <a:gd name="connsiteX7861" fmla="*/ 346804 w 3359086"/>
                <a:gd name="connsiteY7861" fmla="*/ 2658904 h 3355086"/>
                <a:gd name="connsiteX7862" fmla="*/ 343470 w 3359086"/>
                <a:gd name="connsiteY7862" fmla="*/ 2655570 h 3355086"/>
                <a:gd name="connsiteX7863" fmla="*/ 340708 w 3359086"/>
                <a:gd name="connsiteY7863" fmla="*/ 2658332 h 3355086"/>
                <a:gd name="connsiteX7864" fmla="*/ 337612 w 3359086"/>
                <a:gd name="connsiteY7864" fmla="*/ 2655237 h 3355086"/>
                <a:gd name="connsiteX7865" fmla="*/ 334517 w 3359086"/>
                <a:gd name="connsiteY7865" fmla="*/ 2658332 h 3355086"/>
                <a:gd name="connsiteX7866" fmla="*/ 331469 w 3359086"/>
                <a:gd name="connsiteY7866" fmla="*/ 2655284 h 3355086"/>
                <a:gd name="connsiteX7867" fmla="*/ 327564 w 3359086"/>
                <a:gd name="connsiteY7867" fmla="*/ 2659190 h 3355086"/>
                <a:gd name="connsiteX7868" fmla="*/ 321373 w 3359086"/>
                <a:gd name="connsiteY7868" fmla="*/ 2652998 h 3355086"/>
                <a:gd name="connsiteX7869" fmla="*/ 327564 w 3359086"/>
                <a:gd name="connsiteY7869" fmla="*/ 2646807 h 3355086"/>
                <a:gd name="connsiteX7870" fmla="*/ 330612 w 3359086"/>
                <a:gd name="connsiteY7870" fmla="*/ 2649855 h 3355086"/>
                <a:gd name="connsiteX7871" fmla="*/ 3031521 w 3359086"/>
                <a:gd name="connsiteY7871" fmla="*/ 2644140 h 3355086"/>
                <a:gd name="connsiteX7872" fmla="*/ 3037713 w 3359086"/>
                <a:gd name="connsiteY7872" fmla="*/ 2650331 h 3355086"/>
                <a:gd name="connsiteX7873" fmla="*/ 3031521 w 3359086"/>
                <a:gd name="connsiteY7873" fmla="*/ 2656523 h 3355086"/>
                <a:gd name="connsiteX7874" fmla="*/ 3025330 w 3359086"/>
                <a:gd name="connsiteY7874" fmla="*/ 2650331 h 3355086"/>
                <a:gd name="connsiteX7875" fmla="*/ 3031521 w 3359086"/>
                <a:gd name="connsiteY7875" fmla="*/ 2644140 h 3355086"/>
                <a:gd name="connsiteX7876" fmla="*/ 522064 w 3359086"/>
                <a:gd name="connsiteY7876" fmla="*/ 2644045 h 3355086"/>
                <a:gd name="connsiteX7877" fmla="*/ 528255 w 3359086"/>
                <a:gd name="connsiteY7877" fmla="*/ 2650236 h 3355086"/>
                <a:gd name="connsiteX7878" fmla="*/ 522064 w 3359086"/>
                <a:gd name="connsiteY7878" fmla="*/ 2656428 h 3355086"/>
                <a:gd name="connsiteX7879" fmla="*/ 515873 w 3359086"/>
                <a:gd name="connsiteY7879" fmla="*/ 2650236 h 3355086"/>
                <a:gd name="connsiteX7880" fmla="*/ 522064 w 3359086"/>
                <a:gd name="connsiteY7880" fmla="*/ 2644045 h 3355086"/>
                <a:gd name="connsiteX7881" fmla="*/ 397858 w 3359086"/>
                <a:gd name="connsiteY7881" fmla="*/ 2643950 h 3355086"/>
                <a:gd name="connsiteX7882" fmla="*/ 404049 w 3359086"/>
                <a:gd name="connsiteY7882" fmla="*/ 2650141 h 3355086"/>
                <a:gd name="connsiteX7883" fmla="*/ 397858 w 3359086"/>
                <a:gd name="connsiteY7883" fmla="*/ 2656332 h 3355086"/>
                <a:gd name="connsiteX7884" fmla="*/ 391667 w 3359086"/>
                <a:gd name="connsiteY7884" fmla="*/ 2650141 h 3355086"/>
                <a:gd name="connsiteX7885" fmla="*/ 397858 w 3359086"/>
                <a:gd name="connsiteY7885" fmla="*/ 2643950 h 3355086"/>
                <a:gd name="connsiteX7886" fmla="*/ 1354931 w 3359086"/>
                <a:gd name="connsiteY7886" fmla="*/ 2643664 h 3355086"/>
                <a:gd name="connsiteX7887" fmla="*/ 1361122 w 3359086"/>
                <a:gd name="connsiteY7887" fmla="*/ 2649855 h 3355086"/>
                <a:gd name="connsiteX7888" fmla="*/ 1354931 w 3359086"/>
                <a:gd name="connsiteY7888" fmla="*/ 2656046 h 3355086"/>
                <a:gd name="connsiteX7889" fmla="*/ 1348740 w 3359086"/>
                <a:gd name="connsiteY7889" fmla="*/ 2649855 h 3355086"/>
                <a:gd name="connsiteX7890" fmla="*/ 1354931 w 3359086"/>
                <a:gd name="connsiteY7890" fmla="*/ 2643664 h 3355086"/>
                <a:gd name="connsiteX7891" fmla="*/ 2870167 w 3359086"/>
                <a:gd name="connsiteY7891" fmla="*/ 2642330 h 3355086"/>
                <a:gd name="connsiteX7892" fmla="*/ 2876359 w 3359086"/>
                <a:gd name="connsiteY7892" fmla="*/ 2648521 h 3355086"/>
                <a:gd name="connsiteX7893" fmla="*/ 2870167 w 3359086"/>
                <a:gd name="connsiteY7893" fmla="*/ 2654713 h 3355086"/>
                <a:gd name="connsiteX7894" fmla="*/ 2863976 w 3359086"/>
                <a:gd name="connsiteY7894" fmla="*/ 2648521 h 3355086"/>
                <a:gd name="connsiteX7895" fmla="*/ 2870167 w 3359086"/>
                <a:gd name="connsiteY7895" fmla="*/ 2642330 h 3355086"/>
                <a:gd name="connsiteX7896" fmla="*/ 930020 w 3359086"/>
                <a:gd name="connsiteY7896" fmla="*/ 2641854 h 3355086"/>
                <a:gd name="connsiteX7897" fmla="*/ 936212 w 3359086"/>
                <a:gd name="connsiteY7897" fmla="*/ 2648045 h 3355086"/>
                <a:gd name="connsiteX7898" fmla="*/ 930020 w 3359086"/>
                <a:gd name="connsiteY7898" fmla="*/ 2654236 h 3355086"/>
                <a:gd name="connsiteX7899" fmla="*/ 923829 w 3359086"/>
                <a:gd name="connsiteY7899" fmla="*/ 2648045 h 3355086"/>
                <a:gd name="connsiteX7900" fmla="*/ 930020 w 3359086"/>
                <a:gd name="connsiteY7900" fmla="*/ 2641854 h 3355086"/>
                <a:gd name="connsiteX7901" fmla="*/ 2610040 w 3359086"/>
                <a:gd name="connsiteY7901" fmla="*/ 2639568 h 3355086"/>
                <a:gd name="connsiteX7902" fmla="*/ 2616232 w 3359086"/>
                <a:gd name="connsiteY7902" fmla="*/ 2645759 h 3355086"/>
                <a:gd name="connsiteX7903" fmla="*/ 2610040 w 3359086"/>
                <a:gd name="connsiteY7903" fmla="*/ 2651951 h 3355086"/>
                <a:gd name="connsiteX7904" fmla="*/ 2603849 w 3359086"/>
                <a:gd name="connsiteY7904" fmla="*/ 2645759 h 3355086"/>
                <a:gd name="connsiteX7905" fmla="*/ 2610040 w 3359086"/>
                <a:gd name="connsiteY7905" fmla="*/ 2639568 h 3355086"/>
                <a:gd name="connsiteX7906" fmla="*/ 2737199 w 3359086"/>
                <a:gd name="connsiteY7906" fmla="*/ 2638521 h 3355086"/>
                <a:gd name="connsiteX7907" fmla="*/ 2743390 w 3359086"/>
                <a:gd name="connsiteY7907" fmla="*/ 2644712 h 3355086"/>
                <a:gd name="connsiteX7908" fmla="*/ 2737199 w 3359086"/>
                <a:gd name="connsiteY7908" fmla="*/ 2650903 h 3355086"/>
                <a:gd name="connsiteX7909" fmla="*/ 2731008 w 3359086"/>
                <a:gd name="connsiteY7909" fmla="*/ 2644712 h 3355086"/>
                <a:gd name="connsiteX7910" fmla="*/ 2737199 w 3359086"/>
                <a:gd name="connsiteY7910" fmla="*/ 2638521 h 3355086"/>
                <a:gd name="connsiteX7911" fmla="*/ 418147 w 3359086"/>
                <a:gd name="connsiteY7911" fmla="*/ 2638521 h 3355086"/>
                <a:gd name="connsiteX7912" fmla="*/ 424338 w 3359086"/>
                <a:gd name="connsiteY7912" fmla="*/ 2644712 h 3355086"/>
                <a:gd name="connsiteX7913" fmla="*/ 418147 w 3359086"/>
                <a:gd name="connsiteY7913" fmla="*/ 2650903 h 3355086"/>
                <a:gd name="connsiteX7914" fmla="*/ 411956 w 3359086"/>
                <a:gd name="connsiteY7914" fmla="*/ 2644712 h 3355086"/>
                <a:gd name="connsiteX7915" fmla="*/ 418147 w 3359086"/>
                <a:gd name="connsiteY7915" fmla="*/ 2638521 h 3355086"/>
                <a:gd name="connsiteX7916" fmla="*/ 2035682 w 3359086"/>
                <a:gd name="connsiteY7916" fmla="*/ 2637187 h 3355086"/>
                <a:gd name="connsiteX7917" fmla="*/ 2041873 w 3359086"/>
                <a:gd name="connsiteY7917" fmla="*/ 2643378 h 3355086"/>
                <a:gd name="connsiteX7918" fmla="*/ 2035682 w 3359086"/>
                <a:gd name="connsiteY7918" fmla="*/ 2649570 h 3355086"/>
                <a:gd name="connsiteX7919" fmla="*/ 2029491 w 3359086"/>
                <a:gd name="connsiteY7919" fmla="*/ 2643378 h 3355086"/>
                <a:gd name="connsiteX7920" fmla="*/ 2035682 w 3359086"/>
                <a:gd name="connsiteY7920" fmla="*/ 2637187 h 3355086"/>
                <a:gd name="connsiteX7921" fmla="*/ 2963608 w 3359086"/>
                <a:gd name="connsiteY7921" fmla="*/ 2633472 h 3355086"/>
                <a:gd name="connsiteX7922" fmla="*/ 2969704 w 3359086"/>
                <a:gd name="connsiteY7922" fmla="*/ 2639568 h 3355086"/>
                <a:gd name="connsiteX7923" fmla="*/ 2974276 w 3359086"/>
                <a:gd name="connsiteY7923" fmla="*/ 2634996 h 3355086"/>
                <a:gd name="connsiteX7924" fmla="*/ 2978658 w 3359086"/>
                <a:gd name="connsiteY7924" fmla="*/ 2639377 h 3355086"/>
                <a:gd name="connsiteX7925" fmla="*/ 2982563 w 3359086"/>
                <a:gd name="connsiteY7925" fmla="*/ 2635472 h 3355086"/>
                <a:gd name="connsiteX7926" fmla="*/ 2985849 w 3359086"/>
                <a:gd name="connsiteY7926" fmla="*/ 2638758 h 3355086"/>
                <a:gd name="connsiteX7927" fmla="*/ 2989230 w 3359086"/>
                <a:gd name="connsiteY7927" fmla="*/ 2635377 h 3355086"/>
                <a:gd name="connsiteX7928" fmla="*/ 2992040 w 3359086"/>
                <a:gd name="connsiteY7928" fmla="*/ 2638187 h 3355086"/>
                <a:gd name="connsiteX7929" fmla="*/ 2995135 w 3359086"/>
                <a:gd name="connsiteY7929" fmla="*/ 2635092 h 3355086"/>
                <a:gd name="connsiteX7930" fmla="*/ 2997945 w 3359086"/>
                <a:gd name="connsiteY7930" fmla="*/ 2637902 h 3355086"/>
                <a:gd name="connsiteX7931" fmla="*/ 3000755 w 3359086"/>
                <a:gd name="connsiteY7931" fmla="*/ 2635092 h 3355086"/>
                <a:gd name="connsiteX7932" fmla="*/ 3004088 w 3359086"/>
                <a:gd name="connsiteY7932" fmla="*/ 2638426 h 3355086"/>
                <a:gd name="connsiteX7933" fmla="*/ 3006756 w 3359086"/>
                <a:gd name="connsiteY7933" fmla="*/ 2635758 h 3355086"/>
                <a:gd name="connsiteX7934" fmla="*/ 3010947 w 3359086"/>
                <a:gd name="connsiteY7934" fmla="*/ 2639949 h 3355086"/>
                <a:gd name="connsiteX7935" fmla="*/ 3013614 w 3359086"/>
                <a:gd name="connsiteY7935" fmla="*/ 2637282 h 3355086"/>
                <a:gd name="connsiteX7936" fmla="*/ 3019092 w 3359086"/>
                <a:gd name="connsiteY7936" fmla="*/ 2642759 h 3355086"/>
                <a:gd name="connsiteX7937" fmla="*/ 3021806 w 3359086"/>
                <a:gd name="connsiteY7937" fmla="*/ 2640045 h 3355086"/>
                <a:gd name="connsiteX7938" fmla="*/ 3027997 w 3359086"/>
                <a:gd name="connsiteY7938" fmla="*/ 2646236 h 3355086"/>
                <a:gd name="connsiteX7939" fmla="*/ 3021806 w 3359086"/>
                <a:gd name="connsiteY7939" fmla="*/ 2652427 h 3355086"/>
                <a:gd name="connsiteX7940" fmla="*/ 3016329 w 3359086"/>
                <a:gd name="connsiteY7940" fmla="*/ 2646950 h 3355086"/>
                <a:gd name="connsiteX7941" fmla="*/ 3013614 w 3359086"/>
                <a:gd name="connsiteY7941" fmla="*/ 2649665 h 3355086"/>
                <a:gd name="connsiteX7942" fmla="*/ 3009423 w 3359086"/>
                <a:gd name="connsiteY7942" fmla="*/ 2645474 h 3355086"/>
                <a:gd name="connsiteX7943" fmla="*/ 3006756 w 3359086"/>
                <a:gd name="connsiteY7943" fmla="*/ 2648141 h 3355086"/>
                <a:gd name="connsiteX7944" fmla="*/ 3003422 w 3359086"/>
                <a:gd name="connsiteY7944" fmla="*/ 2644807 h 3355086"/>
                <a:gd name="connsiteX7945" fmla="*/ 3000755 w 3359086"/>
                <a:gd name="connsiteY7945" fmla="*/ 2647474 h 3355086"/>
                <a:gd name="connsiteX7946" fmla="*/ 2997945 w 3359086"/>
                <a:gd name="connsiteY7946" fmla="*/ 2644664 h 3355086"/>
                <a:gd name="connsiteX7947" fmla="*/ 2995135 w 3359086"/>
                <a:gd name="connsiteY7947" fmla="*/ 2647474 h 3355086"/>
                <a:gd name="connsiteX7948" fmla="*/ 2992325 w 3359086"/>
                <a:gd name="connsiteY7948" fmla="*/ 2644664 h 3355086"/>
                <a:gd name="connsiteX7949" fmla="*/ 2989230 w 3359086"/>
                <a:gd name="connsiteY7949" fmla="*/ 2647759 h 3355086"/>
                <a:gd name="connsiteX7950" fmla="*/ 2985944 w 3359086"/>
                <a:gd name="connsiteY7950" fmla="*/ 2644473 h 3355086"/>
                <a:gd name="connsiteX7951" fmla="*/ 2982563 w 3359086"/>
                <a:gd name="connsiteY7951" fmla="*/ 2647855 h 3355086"/>
                <a:gd name="connsiteX7952" fmla="*/ 2978182 w 3359086"/>
                <a:gd name="connsiteY7952" fmla="*/ 2643473 h 3355086"/>
                <a:gd name="connsiteX7953" fmla="*/ 2974276 w 3359086"/>
                <a:gd name="connsiteY7953" fmla="*/ 2647378 h 3355086"/>
                <a:gd name="connsiteX7954" fmla="*/ 2968180 w 3359086"/>
                <a:gd name="connsiteY7954" fmla="*/ 2641283 h 3355086"/>
                <a:gd name="connsiteX7955" fmla="*/ 2963608 w 3359086"/>
                <a:gd name="connsiteY7955" fmla="*/ 2645854 h 3355086"/>
                <a:gd name="connsiteX7956" fmla="*/ 2957417 w 3359086"/>
                <a:gd name="connsiteY7956" fmla="*/ 2639663 h 3355086"/>
                <a:gd name="connsiteX7957" fmla="*/ 2963608 w 3359086"/>
                <a:gd name="connsiteY7957" fmla="*/ 2633472 h 3355086"/>
                <a:gd name="connsiteX7958" fmla="*/ 1246727 w 3359086"/>
                <a:gd name="connsiteY7958" fmla="*/ 2630805 h 3355086"/>
                <a:gd name="connsiteX7959" fmla="*/ 1252918 w 3359086"/>
                <a:gd name="connsiteY7959" fmla="*/ 2636996 h 3355086"/>
                <a:gd name="connsiteX7960" fmla="*/ 1246727 w 3359086"/>
                <a:gd name="connsiteY7960" fmla="*/ 2643187 h 3355086"/>
                <a:gd name="connsiteX7961" fmla="*/ 1240536 w 3359086"/>
                <a:gd name="connsiteY7961" fmla="*/ 2636996 h 3355086"/>
                <a:gd name="connsiteX7962" fmla="*/ 1246727 w 3359086"/>
                <a:gd name="connsiteY7962" fmla="*/ 2630805 h 3355086"/>
                <a:gd name="connsiteX7963" fmla="*/ 2949511 w 3359086"/>
                <a:gd name="connsiteY7963" fmla="*/ 2630138 h 3355086"/>
                <a:gd name="connsiteX7964" fmla="*/ 2955702 w 3359086"/>
                <a:gd name="connsiteY7964" fmla="*/ 2636329 h 3355086"/>
                <a:gd name="connsiteX7965" fmla="*/ 2949511 w 3359086"/>
                <a:gd name="connsiteY7965" fmla="*/ 2642521 h 3355086"/>
                <a:gd name="connsiteX7966" fmla="*/ 2943320 w 3359086"/>
                <a:gd name="connsiteY7966" fmla="*/ 2636329 h 3355086"/>
                <a:gd name="connsiteX7967" fmla="*/ 2949511 w 3359086"/>
                <a:gd name="connsiteY7967" fmla="*/ 2630138 h 3355086"/>
                <a:gd name="connsiteX7968" fmla="*/ 444341 w 3359086"/>
                <a:gd name="connsiteY7968" fmla="*/ 2630043 h 3355086"/>
                <a:gd name="connsiteX7969" fmla="*/ 450532 w 3359086"/>
                <a:gd name="connsiteY7969" fmla="*/ 2636234 h 3355086"/>
                <a:gd name="connsiteX7970" fmla="*/ 444341 w 3359086"/>
                <a:gd name="connsiteY7970" fmla="*/ 2642426 h 3355086"/>
                <a:gd name="connsiteX7971" fmla="*/ 438150 w 3359086"/>
                <a:gd name="connsiteY7971" fmla="*/ 2636234 h 3355086"/>
                <a:gd name="connsiteX7972" fmla="*/ 444341 w 3359086"/>
                <a:gd name="connsiteY7972" fmla="*/ 2630043 h 3355086"/>
                <a:gd name="connsiteX7973" fmla="*/ 2446972 w 3359086"/>
                <a:gd name="connsiteY7973" fmla="*/ 2629948 h 3355086"/>
                <a:gd name="connsiteX7974" fmla="*/ 2453163 w 3359086"/>
                <a:gd name="connsiteY7974" fmla="*/ 2636139 h 3355086"/>
                <a:gd name="connsiteX7975" fmla="*/ 2446972 w 3359086"/>
                <a:gd name="connsiteY7975" fmla="*/ 2642330 h 3355086"/>
                <a:gd name="connsiteX7976" fmla="*/ 2440781 w 3359086"/>
                <a:gd name="connsiteY7976" fmla="*/ 2636139 h 3355086"/>
                <a:gd name="connsiteX7977" fmla="*/ 2446972 w 3359086"/>
                <a:gd name="connsiteY7977" fmla="*/ 2629948 h 3355086"/>
                <a:gd name="connsiteX7978" fmla="*/ 2834449 w 3359086"/>
                <a:gd name="connsiteY7978" fmla="*/ 2629757 h 3355086"/>
                <a:gd name="connsiteX7979" fmla="*/ 2840641 w 3359086"/>
                <a:gd name="connsiteY7979" fmla="*/ 2635948 h 3355086"/>
                <a:gd name="connsiteX7980" fmla="*/ 2834449 w 3359086"/>
                <a:gd name="connsiteY7980" fmla="*/ 2642140 h 3355086"/>
                <a:gd name="connsiteX7981" fmla="*/ 2828258 w 3359086"/>
                <a:gd name="connsiteY7981" fmla="*/ 2635948 h 3355086"/>
                <a:gd name="connsiteX7982" fmla="*/ 2834449 w 3359086"/>
                <a:gd name="connsiteY7982" fmla="*/ 2629757 h 3355086"/>
                <a:gd name="connsiteX7983" fmla="*/ 3048571 w 3359086"/>
                <a:gd name="connsiteY7983" fmla="*/ 2629472 h 3355086"/>
                <a:gd name="connsiteX7984" fmla="*/ 3054762 w 3359086"/>
                <a:gd name="connsiteY7984" fmla="*/ 2635663 h 3355086"/>
                <a:gd name="connsiteX7985" fmla="*/ 3048571 w 3359086"/>
                <a:gd name="connsiteY7985" fmla="*/ 2641855 h 3355086"/>
                <a:gd name="connsiteX7986" fmla="*/ 3042380 w 3359086"/>
                <a:gd name="connsiteY7986" fmla="*/ 2635663 h 3355086"/>
                <a:gd name="connsiteX7987" fmla="*/ 3048571 w 3359086"/>
                <a:gd name="connsiteY7987" fmla="*/ 2629472 h 3355086"/>
                <a:gd name="connsiteX7988" fmla="*/ 691228 w 3359086"/>
                <a:gd name="connsiteY7988" fmla="*/ 2627948 h 3355086"/>
                <a:gd name="connsiteX7989" fmla="*/ 697420 w 3359086"/>
                <a:gd name="connsiteY7989" fmla="*/ 2634139 h 3355086"/>
                <a:gd name="connsiteX7990" fmla="*/ 691228 w 3359086"/>
                <a:gd name="connsiteY7990" fmla="*/ 2640330 h 3355086"/>
                <a:gd name="connsiteX7991" fmla="*/ 685037 w 3359086"/>
                <a:gd name="connsiteY7991" fmla="*/ 2634139 h 3355086"/>
                <a:gd name="connsiteX7992" fmla="*/ 691228 w 3359086"/>
                <a:gd name="connsiteY7992" fmla="*/ 2627948 h 3355086"/>
                <a:gd name="connsiteX7993" fmla="*/ 569880 w 3359086"/>
                <a:gd name="connsiteY7993" fmla="*/ 2626329 h 3355086"/>
                <a:gd name="connsiteX7994" fmla="*/ 576071 w 3359086"/>
                <a:gd name="connsiteY7994" fmla="*/ 2632520 h 3355086"/>
                <a:gd name="connsiteX7995" fmla="*/ 569880 w 3359086"/>
                <a:gd name="connsiteY7995" fmla="*/ 2638711 h 3355086"/>
                <a:gd name="connsiteX7996" fmla="*/ 563689 w 3359086"/>
                <a:gd name="connsiteY7996" fmla="*/ 2632520 h 3355086"/>
                <a:gd name="connsiteX7997" fmla="*/ 569880 w 3359086"/>
                <a:gd name="connsiteY7997" fmla="*/ 2626329 h 3355086"/>
                <a:gd name="connsiteX7998" fmla="*/ 2931127 w 3359086"/>
                <a:gd name="connsiteY7998" fmla="*/ 2624614 h 3355086"/>
                <a:gd name="connsiteX7999" fmla="*/ 2937319 w 3359086"/>
                <a:gd name="connsiteY7999" fmla="*/ 2630805 h 3355086"/>
                <a:gd name="connsiteX8000" fmla="*/ 2931127 w 3359086"/>
                <a:gd name="connsiteY8000" fmla="*/ 2636996 h 3355086"/>
                <a:gd name="connsiteX8001" fmla="*/ 2924936 w 3359086"/>
                <a:gd name="connsiteY8001" fmla="*/ 2630805 h 3355086"/>
                <a:gd name="connsiteX8002" fmla="*/ 2931127 w 3359086"/>
                <a:gd name="connsiteY8002" fmla="*/ 2624614 h 3355086"/>
                <a:gd name="connsiteX8003" fmla="*/ 3038474 w 3359086"/>
                <a:gd name="connsiteY8003" fmla="*/ 2624138 h 3355086"/>
                <a:gd name="connsiteX8004" fmla="*/ 3044665 w 3359086"/>
                <a:gd name="connsiteY8004" fmla="*/ 2630329 h 3355086"/>
                <a:gd name="connsiteX8005" fmla="*/ 3038474 w 3359086"/>
                <a:gd name="connsiteY8005" fmla="*/ 2636521 h 3355086"/>
                <a:gd name="connsiteX8006" fmla="*/ 3032283 w 3359086"/>
                <a:gd name="connsiteY8006" fmla="*/ 2630329 h 3355086"/>
                <a:gd name="connsiteX8007" fmla="*/ 3038474 w 3359086"/>
                <a:gd name="connsiteY8007" fmla="*/ 2624138 h 3355086"/>
                <a:gd name="connsiteX8008" fmla="*/ 2141600 w 3359086"/>
                <a:gd name="connsiteY8008" fmla="*/ 2622709 h 3355086"/>
                <a:gd name="connsiteX8009" fmla="*/ 2147792 w 3359086"/>
                <a:gd name="connsiteY8009" fmla="*/ 2628900 h 3355086"/>
                <a:gd name="connsiteX8010" fmla="*/ 2141600 w 3359086"/>
                <a:gd name="connsiteY8010" fmla="*/ 2635092 h 3355086"/>
                <a:gd name="connsiteX8011" fmla="*/ 2135409 w 3359086"/>
                <a:gd name="connsiteY8011" fmla="*/ 2628900 h 3355086"/>
                <a:gd name="connsiteX8012" fmla="*/ 2141600 w 3359086"/>
                <a:gd name="connsiteY8012" fmla="*/ 2622709 h 3355086"/>
                <a:gd name="connsiteX8013" fmla="*/ 357377 w 3359086"/>
                <a:gd name="connsiteY8013" fmla="*/ 2621947 h 3355086"/>
                <a:gd name="connsiteX8014" fmla="*/ 363568 w 3359086"/>
                <a:gd name="connsiteY8014" fmla="*/ 2628138 h 3355086"/>
                <a:gd name="connsiteX8015" fmla="*/ 357377 w 3359086"/>
                <a:gd name="connsiteY8015" fmla="*/ 2634329 h 3355086"/>
                <a:gd name="connsiteX8016" fmla="*/ 353519 w 3359086"/>
                <a:gd name="connsiteY8016" fmla="*/ 2630472 h 3355086"/>
                <a:gd name="connsiteX8017" fmla="*/ 347757 w 3359086"/>
                <a:gd name="connsiteY8017" fmla="*/ 2636235 h 3355086"/>
                <a:gd name="connsiteX8018" fmla="*/ 344471 w 3359086"/>
                <a:gd name="connsiteY8018" fmla="*/ 2632949 h 3355086"/>
                <a:gd name="connsiteX8019" fmla="*/ 340328 w 3359086"/>
                <a:gd name="connsiteY8019" fmla="*/ 2637092 h 3355086"/>
                <a:gd name="connsiteX8020" fmla="*/ 337470 w 3359086"/>
                <a:gd name="connsiteY8020" fmla="*/ 2634234 h 3355086"/>
                <a:gd name="connsiteX8021" fmla="*/ 334231 w 3359086"/>
                <a:gd name="connsiteY8021" fmla="*/ 2637473 h 3355086"/>
                <a:gd name="connsiteX8022" fmla="*/ 331660 w 3359086"/>
                <a:gd name="connsiteY8022" fmla="*/ 2634902 h 3355086"/>
                <a:gd name="connsiteX8023" fmla="*/ 328898 w 3359086"/>
                <a:gd name="connsiteY8023" fmla="*/ 2637664 h 3355086"/>
                <a:gd name="connsiteX8024" fmla="*/ 326515 w 3359086"/>
                <a:gd name="connsiteY8024" fmla="*/ 2635282 h 3355086"/>
                <a:gd name="connsiteX8025" fmla="*/ 323563 w 3359086"/>
                <a:gd name="connsiteY8025" fmla="*/ 2638234 h 3355086"/>
                <a:gd name="connsiteX8026" fmla="*/ 321230 w 3359086"/>
                <a:gd name="connsiteY8026" fmla="*/ 2635901 h 3355086"/>
                <a:gd name="connsiteX8027" fmla="*/ 317658 w 3359086"/>
                <a:gd name="connsiteY8027" fmla="*/ 2639473 h 3355086"/>
                <a:gd name="connsiteX8028" fmla="*/ 315277 w 3359086"/>
                <a:gd name="connsiteY8028" fmla="*/ 2637092 h 3355086"/>
                <a:gd name="connsiteX8029" fmla="*/ 310800 w 3359086"/>
                <a:gd name="connsiteY8029" fmla="*/ 2641569 h 3355086"/>
                <a:gd name="connsiteX8030" fmla="*/ 304609 w 3359086"/>
                <a:gd name="connsiteY8030" fmla="*/ 2635377 h 3355086"/>
                <a:gd name="connsiteX8031" fmla="*/ 310800 w 3359086"/>
                <a:gd name="connsiteY8031" fmla="*/ 2629186 h 3355086"/>
                <a:gd name="connsiteX8032" fmla="*/ 313181 w 3359086"/>
                <a:gd name="connsiteY8032" fmla="*/ 2631567 h 3355086"/>
                <a:gd name="connsiteX8033" fmla="*/ 317658 w 3359086"/>
                <a:gd name="connsiteY8033" fmla="*/ 2627090 h 3355086"/>
                <a:gd name="connsiteX8034" fmla="*/ 319991 w 3359086"/>
                <a:gd name="connsiteY8034" fmla="*/ 2629424 h 3355086"/>
                <a:gd name="connsiteX8035" fmla="*/ 323563 w 3359086"/>
                <a:gd name="connsiteY8035" fmla="*/ 2625852 h 3355086"/>
                <a:gd name="connsiteX8036" fmla="*/ 325945 w 3359086"/>
                <a:gd name="connsiteY8036" fmla="*/ 2628234 h 3355086"/>
                <a:gd name="connsiteX8037" fmla="*/ 328898 w 3359086"/>
                <a:gd name="connsiteY8037" fmla="*/ 2625281 h 3355086"/>
                <a:gd name="connsiteX8038" fmla="*/ 331469 w 3359086"/>
                <a:gd name="connsiteY8038" fmla="*/ 2627852 h 3355086"/>
                <a:gd name="connsiteX8039" fmla="*/ 334231 w 3359086"/>
                <a:gd name="connsiteY8039" fmla="*/ 2625090 h 3355086"/>
                <a:gd name="connsiteX8040" fmla="*/ 337089 w 3359086"/>
                <a:gd name="connsiteY8040" fmla="*/ 2627948 h 3355086"/>
                <a:gd name="connsiteX8041" fmla="*/ 340328 w 3359086"/>
                <a:gd name="connsiteY8041" fmla="*/ 2624709 h 3355086"/>
                <a:gd name="connsiteX8042" fmla="*/ 343614 w 3359086"/>
                <a:gd name="connsiteY8042" fmla="*/ 2627995 h 3355086"/>
                <a:gd name="connsiteX8043" fmla="*/ 347757 w 3359086"/>
                <a:gd name="connsiteY8043" fmla="*/ 2623852 h 3355086"/>
                <a:gd name="connsiteX8044" fmla="*/ 351614 w 3359086"/>
                <a:gd name="connsiteY8044" fmla="*/ 2627710 h 3355086"/>
                <a:gd name="connsiteX8045" fmla="*/ 847534 w 3359086"/>
                <a:gd name="connsiteY8045" fmla="*/ 2619375 h 3355086"/>
                <a:gd name="connsiteX8046" fmla="*/ 853725 w 3359086"/>
                <a:gd name="connsiteY8046" fmla="*/ 2625566 h 3355086"/>
                <a:gd name="connsiteX8047" fmla="*/ 847534 w 3359086"/>
                <a:gd name="connsiteY8047" fmla="*/ 2631758 h 3355086"/>
                <a:gd name="connsiteX8048" fmla="*/ 841343 w 3359086"/>
                <a:gd name="connsiteY8048" fmla="*/ 2625566 h 3355086"/>
                <a:gd name="connsiteX8049" fmla="*/ 847534 w 3359086"/>
                <a:gd name="connsiteY8049" fmla="*/ 2619375 h 3355086"/>
                <a:gd name="connsiteX8050" fmla="*/ 3065525 w 3359086"/>
                <a:gd name="connsiteY8050" fmla="*/ 2619185 h 3355086"/>
                <a:gd name="connsiteX8051" fmla="*/ 3068002 w 3359086"/>
                <a:gd name="connsiteY8051" fmla="*/ 2621662 h 3355086"/>
                <a:gd name="connsiteX8052" fmla="*/ 3065525 w 3359086"/>
                <a:gd name="connsiteY8052" fmla="*/ 2624138 h 3355086"/>
                <a:gd name="connsiteX8053" fmla="*/ 3063049 w 3359086"/>
                <a:gd name="connsiteY8053" fmla="*/ 2621662 h 3355086"/>
                <a:gd name="connsiteX8054" fmla="*/ 3065525 w 3359086"/>
                <a:gd name="connsiteY8054" fmla="*/ 2619185 h 3355086"/>
                <a:gd name="connsiteX8055" fmla="*/ 370046 w 3359086"/>
                <a:gd name="connsiteY8055" fmla="*/ 2618328 h 3355086"/>
                <a:gd name="connsiteX8056" fmla="*/ 376237 w 3359086"/>
                <a:gd name="connsiteY8056" fmla="*/ 2624519 h 3355086"/>
                <a:gd name="connsiteX8057" fmla="*/ 370046 w 3359086"/>
                <a:gd name="connsiteY8057" fmla="*/ 2630710 h 3355086"/>
                <a:gd name="connsiteX8058" fmla="*/ 363855 w 3359086"/>
                <a:gd name="connsiteY8058" fmla="*/ 2624519 h 3355086"/>
                <a:gd name="connsiteX8059" fmla="*/ 370046 w 3359086"/>
                <a:gd name="connsiteY8059" fmla="*/ 2618328 h 3355086"/>
                <a:gd name="connsiteX8060" fmla="*/ 477583 w 3359086"/>
                <a:gd name="connsiteY8060" fmla="*/ 2617470 h 3355086"/>
                <a:gd name="connsiteX8061" fmla="*/ 483774 w 3359086"/>
                <a:gd name="connsiteY8061" fmla="*/ 2623661 h 3355086"/>
                <a:gd name="connsiteX8062" fmla="*/ 477583 w 3359086"/>
                <a:gd name="connsiteY8062" fmla="*/ 2629852 h 3355086"/>
                <a:gd name="connsiteX8063" fmla="*/ 471392 w 3359086"/>
                <a:gd name="connsiteY8063" fmla="*/ 2623661 h 3355086"/>
                <a:gd name="connsiteX8064" fmla="*/ 477583 w 3359086"/>
                <a:gd name="connsiteY8064" fmla="*/ 2617470 h 3355086"/>
                <a:gd name="connsiteX8065" fmla="*/ 2907315 w 3359086"/>
                <a:gd name="connsiteY8065" fmla="*/ 2615946 h 3355086"/>
                <a:gd name="connsiteX8066" fmla="*/ 2913507 w 3359086"/>
                <a:gd name="connsiteY8066" fmla="*/ 2622137 h 3355086"/>
                <a:gd name="connsiteX8067" fmla="*/ 2907315 w 3359086"/>
                <a:gd name="connsiteY8067" fmla="*/ 2628328 h 3355086"/>
                <a:gd name="connsiteX8068" fmla="*/ 2901124 w 3359086"/>
                <a:gd name="connsiteY8068" fmla="*/ 2622137 h 3355086"/>
                <a:gd name="connsiteX8069" fmla="*/ 2907315 w 3359086"/>
                <a:gd name="connsiteY8069" fmla="*/ 2615946 h 3355086"/>
                <a:gd name="connsiteX8070" fmla="*/ 1142999 w 3359086"/>
                <a:gd name="connsiteY8070" fmla="*/ 2614994 h 3355086"/>
                <a:gd name="connsiteX8071" fmla="*/ 1149191 w 3359086"/>
                <a:gd name="connsiteY8071" fmla="*/ 2621185 h 3355086"/>
                <a:gd name="connsiteX8072" fmla="*/ 1142999 w 3359086"/>
                <a:gd name="connsiteY8072" fmla="*/ 2627376 h 3355086"/>
                <a:gd name="connsiteX8073" fmla="*/ 1136808 w 3359086"/>
                <a:gd name="connsiteY8073" fmla="*/ 2621185 h 3355086"/>
                <a:gd name="connsiteX8074" fmla="*/ 1142999 w 3359086"/>
                <a:gd name="connsiteY8074" fmla="*/ 2614994 h 3355086"/>
                <a:gd name="connsiteX8075" fmla="*/ 2675096 w 3359086"/>
                <a:gd name="connsiteY8075" fmla="*/ 2614422 h 3355086"/>
                <a:gd name="connsiteX8076" fmla="*/ 2681287 w 3359086"/>
                <a:gd name="connsiteY8076" fmla="*/ 2620613 h 3355086"/>
                <a:gd name="connsiteX8077" fmla="*/ 2675096 w 3359086"/>
                <a:gd name="connsiteY8077" fmla="*/ 2626804 h 3355086"/>
                <a:gd name="connsiteX8078" fmla="*/ 2668905 w 3359086"/>
                <a:gd name="connsiteY8078" fmla="*/ 2620613 h 3355086"/>
                <a:gd name="connsiteX8079" fmla="*/ 2675096 w 3359086"/>
                <a:gd name="connsiteY8079" fmla="*/ 2614422 h 3355086"/>
                <a:gd name="connsiteX8080" fmla="*/ 386809 w 3359086"/>
                <a:gd name="connsiteY8080" fmla="*/ 2612517 h 3355086"/>
                <a:gd name="connsiteX8081" fmla="*/ 393000 w 3359086"/>
                <a:gd name="connsiteY8081" fmla="*/ 2618708 h 3355086"/>
                <a:gd name="connsiteX8082" fmla="*/ 386809 w 3359086"/>
                <a:gd name="connsiteY8082" fmla="*/ 2624900 h 3355086"/>
                <a:gd name="connsiteX8083" fmla="*/ 380618 w 3359086"/>
                <a:gd name="connsiteY8083" fmla="*/ 2618708 h 3355086"/>
                <a:gd name="connsiteX8084" fmla="*/ 386809 w 3359086"/>
                <a:gd name="connsiteY8084" fmla="*/ 2612517 h 3355086"/>
                <a:gd name="connsiteX8085" fmla="*/ 2789872 w 3359086"/>
                <a:gd name="connsiteY8085" fmla="*/ 2612327 h 3355086"/>
                <a:gd name="connsiteX8086" fmla="*/ 2796063 w 3359086"/>
                <a:gd name="connsiteY8086" fmla="*/ 2618518 h 3355086"/>
                <a:gd name="connsiteX8087" fmla="*/ 2789872 w 3359086"/>
                <a:gd name="connsiteY8087" fmla="*/ 2624709 h 3355086"/>
                <a:gd name="connsiteX8088" fmla="*/ 2783681 w 3359086"/>
                <a:gd name="connsiteY8088" fmla="*/ 2618518 h 3355086"/>
                <a:gd name="connsiteX8089" fmla="*/ 2789872 w 3359086"/>
                <a:gd name="connsiteY8089" fmla="*/ 2612327 h 3355086"/>
                <a:gd name="connsiteX8090" fmla="*/ 3054857 w 3359086"/>
                <a:gd name="connsiteY8090" fmla="*/ 2608898 h 3355086"/>
                <a:gd name="connsiteX8091" fmla="*/ 3061048 w 3359086"/>
                <a:gd name="connsiteY8091" fmla="*/ 2615089 h 3355086"/>
                <a:gd name="connsiteX8092" fmla="*/ 3054857 w 3359086"/>
                <a:gd name="connsiteY8092" fmla="*/ 2621280 h 3355086"/>
                <a:gd name="connsiteX8093" fmla="*/ 3048666 w 3359086"/>
                <a:gd name="connsiteY8093" fmla="*/ 2615089 h 3355086"/>
                <a:gd name="connsiteX8094" fmla="*/ 3054857 w 3359086"/>
                <a:gd name="connsiteY8094" fmla="*/ 2608898 h 3355086"/>
                <a:gd name="connsiteX8095" fmla="*/ 2987230 w 3359086"/>
                <a:gd name="connsiteY8095" fmla="*/ 2608803 h 3355086"/>
                <a:gd name="connsiteX8096" fmla="*/ 2992659 w 3359086"/>
                <a:gd name="connsiteY8096" fmla="*/ 2614232 h 3355086"/>
                <a:gd name="connsiteX8097" fmla="*/ 2995707 w 3359086"/>
                <a:gd name="connsiteY8097" fmla="*/ 2611184 h 3355086"/>
                <a:gd name="connsiteX8098" fmla="*/ 2999612 w 3359086"/>
                <a:gd name="connsiteY8098" fmla="*/ 2615089 h 3355086"/>
                <a:gd name="connsiteX8099" fmla="*/ 3002184 w 3359086"/>
                <a:gd name="connsiteY8099" fmla="*/ 2612517 h 3355086"/>
                <a:gd name="connsiteX8100" fmla="*/ 3005375 w 3359086"/>
                <a:gd name="connsiteY8100" fmla="*/ 2615708 h 3355086"/>
                <a:gd name="connsiteX8101" fmla="*/ 3007613 w 3359086"/>
                <a:gd name="connsiteY8101" fmla="*/ 2613470 h 3355086"/>
                <a:gd name="connsiteX8102" fmla="*/ 3010423 w 3359086"/>
                <a:gd name="connsiteY8102" fmla="*/ 2616280 h 3355086"/>
                <a:gd name="connsiteX8103" fmla="*/ 3012471 w 3359086"/>
                <a:gd name="connsiteY8103" fmla="*/ 2614232 h 3355086"/>
                <a:gd name="connsiteX8104" fmla="*/ 3015614 w 3359086"/>
                <a:gd name="connsiteY8104" fmla="*/ 2617375 h 3355086"/>
                <a:gd name="connsiteX8105" fmla="*/ 3017519 w 3359086"/>
                <a:gd name="connsiteY8105" fmla="*/ 2615470 h 3355086"/>
                <a:gd name="connsiteX8106" fmla="*/ 3021282 w 3359086"/>
                <a:gd name="connsiteY8106" fmla="*/ 2619232 h 3355086"/>
                <a:gd name="connsiteX8107" fmla="*/ 3023234 w 3359086"/>
                <a:gd name="connsiteY8107" fmla="*/ 2617280 h 3355086"/>
                <a:gd name="connsiteX8108" fmla="*/ 3028092 w 3359086"/>
                <a:gd name="connsiteY8108" fmla="*/ 2622138 h 3355086"/>
                <a:gd name="connsiteX8109" fmla="*/ 3030092 w 3359086"/>
                <a:gd name="connsiteY8109" fmla="*/ 2620137 h 3355086"/>
                <a:gd name="connsiteX8110" fmla="*/ 3036283 w 3359086"/>
                <a:gd name="connsiteY8110" fmla="*/ 2626328 h 3355086"/>
                <a:gd name="connsiteX8111" fmla="*/ 3030092 w 3359086"/>
                <a:gd name="connsiteY8111" fmla="*/ 2632519 h 3355086"/>
                <a:gd name="connsiteX8112" fmla="*/ 3025235 w 3359086"/>
                <a:gd name="connsiteY8112" fmla="*/ 2627662 h 3355086"/>
                <a:gd name="connsiteX8113" fmla="*/ 3023234 w 3359086"/>
                <a:gd name="connsiteY8113" fmla="*/ 2629663 h 3355086"/>
                <a:gd name="connsiteX8114" fmla="*/ 3019472 w 3359086"/>
                <a:gd name="connsiteY8114" fmla="*/ 2625900 h 3355086"/>
                <a:gd name="connsiteX8115" fmla="*/ 3017519 w 3359086"/>
                <a:gd name="connsiteY8115" fmla="*/ 2627853 h 3355086"/>
                <a:gd name="connsiteX8116" fmla="*/ 3014376 w 3359086"/>
                <a:gd name="connsiteY8116" fmla="*/ 2624710 h 3355086"/>
                <a:gd name="connsiteX8117" fmla="*/ 3012471 w 3359086"/>
                <a:gd name="connsiteY8117" fmla="*/ 2626614 h 3355086"/>
                <a:gd name="connsiteX8118" fmla="*/ 3009662 w 3359086"/>
                <a:gd name="connsiteY8118" fmla="*/ 2623805 h 3355086"/>
                <a:gd name="connsiteX8119" fmla="*/ 3007613 w 3359086"/>
                <a:gd name="connsiteY8119" fmla="*/ 2625853 h 3355086"/>
                <a:gd name="connsiteX8120" fmla="*/ 3004422 w 3359086"/>
                <a:gd name="connsiteY8120" fmla="*/ 2622662 h 3355086"/>
                <a:gd name="connsiteX8121" fmla="*/ 3002184 w 3359086"/>
                <a:gd name="connsiteY8121" fmla="*/ 2624900 h 3355086"/>
                <a:gd name="connsiteX8122" fmla="*/ 2998279 w 3359086"/>
                <a:gd name="connsiteY8122" fmla="*/ 2620995 h 3355086"/>
                <a:gd name="connsiteX8123" fmla="*/ 2995707 w 3359086"/>
                <a:gd name="connsiteY8123" fmla="*/ 2623566 h 3355086"/>
                <a:gd name="connsiteX8124" fmla="*/ 2990278 w 3359086"/>
                <a:gd name="connsiteY8124" fmla="*/ 2618137 h 3355086"/>
                <a:gd name="connsiteX8125" fmla="*/ 2987230 w 3359086"/>
                <a:gd name="connsiteY8125" fmla="*/ 2621185 h 3355086"/>
                <a:gd name="connsiteX8126" fmla="*/ 2981039 w 3359086"/>
                <a:gd name="connsiteY8126" fmla="*/ 2614994 h 3355086"/>
                <a:gd name="connsiteX8127" fmla="*/ 2987230 w 3359086"/>
                <a:gd name="connsiteY8127" fmla="*/ 2608803 h 3355086"/>
                <a:gd name="connsiteX8128" fmla="*/ 2526410 w 3359086"/>
                <a:gd name="connsiteY8128" fmla="*/ 2606802 h 3355086"/>
                <a:gd name="connsiteX8129" fmla="*/ 2532602 w 3359086"/>
                <a:gd name="connsiteY8129" fmla="*/ 2612993 h 3355086"/>
                <a:gd name="connsiteX8130" fmla="*/ 2526410 w 3359086"/>
                <a:gd name="connsiteY8130" fmla="*/ 2619184 h 3355086"/>
                <a:gd name="connsiteX8131" fmla="*/ 2520219 w 3359086"/>
                <a:gd name="connsiteY8131" fmla="*/ 2612993 h 3355086"/>
                <a:gd name="connsiteX8132" fmla="*/ 2526410 w 3359086"/>
                <a:gd name="connsiteY8132" fmla="*/ 2606802 h 3355086"/>
                <a:gd name="connsiteX8133" fmla="*/ 2242470 w 3359086"/>
                <a:gd name="connsiteY8133" fmla="*/ 2605469 h 3355086"/>
                <a:gd name="connsiteX8134" fmla="*/ 2248662 w 3359086"/>
                <a:gd name="connsiteY8134" fmla="*/ 2611660 h 3355086"/>
                <a:gd name="connsiteX8135" fmla="*/ 2242470 w 3359086"/>
                <a:gd name="connsiteY8135" fmla="*/ 2617851 h 3355086"/>
                <a:gd name="connsiteX8136" fmla="*/ 2236279 w 3359086"/>
                <a:gd name="connsiteY8136" fmla="*/ 2611660 h 3355086"/>
                <a:gd name="connsiteX8137" fmla="*/ 2242470 w 3359086"/>
                <a:gd name="connsiteY8137" fmla="*/ 2605469 h 3355086"/>
                <a:gd name="connsiteX8138" fmla="*/ 2975990 w 3359086"/>
                <a:gd name="connsiteY8138" fmla="*/ 2604897 h 3355086"/>
                <a:gd name="connsiteX8139" fmla="*/ 2982181 w 3359086"/>
                <a:gd name="connsiteY8139" fmla="*/ 2611088 h 3355086"/>
                <a:gd name="connsiteX8140" fmla="*/ 2975990 w 3359086"/>
                <a:gd name="connsiteY8140" fmla="*/ 2617279 h 3355086"/>
                <a:gd name="connsiteX8141" fmla="*/ 2969799 w 3359086"/>
                <a:gd name="connsiteY8141" fmla="*/ 2611088 h 3355086"/>
                <a:gd name="connsiteX8142" fmla="*/ 2975990 w 3359086"/>
                <a:gd name="connsiteY8142" fmla="*/ 2604897 h 3355086"/>
                <a:gd name="connsiteX8143" fmla="*/ 408717 w 3359086"/>
                <a:gd name="connsiteY8143" fmla="*/ 2603754 h 3355086"/>
                <a:gd name="connsiteX8144" fmla="*/ 414909 w 3359086"/>
                <a:gd name="connsiteY8144" fmla="*/ 2609945 h 3355086"/>
                <a:gd name="connsiteX8145" fmla="*/ 408717 w 3359086"/>
                <a:gd name="connsiteY8145" fmla="*/ 2616136 h 3355086"/>
                <a:gd name="connsiteX8146" fmla="*/ 402526 w 3359086"/>
                <a:gd name="connsiteY8146" fmla="*/ 2609945 h 3355086"/>
                <a:gd name="connsiteX8147" fmla="*/ 408717 w 3359086"/>
                <a:gd name="connsiteY8147" fmla="*/ 2603754 h 3355086"/>
                <a:gd name="connsiteX8148" fmla="*/ 2876740 w 3359086"/>
                <a:gd name="connsiteY8148" fmla="*/ 2603373 h 3355086"/>
                <a:gd name="connsiteX8149" fmla="*/ 2882932 w 3359086"/>
                <a:gd name="connsiteY8149" fmla="*/ 2609564 h 3355086"/>
                <a:gd name="connsiteX8150" fmla="*/ 2876740 w 3359086"/>
                <a:gd name="connsiteY8150" fmla="*/ 2615755 h 3355086"/>
                <a:gd name="connsiteX8151" fmla="*/ 2870549 w 3359086"/>
                <a:gd name="connsiteY8151" fmla="*/ 2609564 h 3355086"/>
                <a:gd name="connsiteX8152" fmla="*/ 2876740 w 3359086"/>
                <a:gd name="connsiteY8152" fmla="*/ 2603373 h 3355086"/>
                <a:gd name="connsiteX8153" fmla="*/ 628649 w 3359086"/>
                <a:gd name="connsiteY8153" fmla="*/ 2602516 h 3355086"/>
                <a:gd name="connsiteX8154" fmla="*/ 634841 w 3359086"/>
                <a:gd name="connsiteY8154" fmla="*/ 2608707 h 3355086"/>
                <a:gd name="connsiteX8155" fmla="*/ 628649 w 3359086"/>
                <a:gd name="connsiteY8155" fmla="*/ 2614898 h 3355086"/>
                <a:gd name="connsiteX8156" fmla="*/ 622458 w 3359086"/>
                <a:gd name="connsiteY8156" fmla="*/ 2608707 h 3355086"/>
                <a:gd name="connsiteX8157" fmla="*/ 628649 w 3359086"/>
                <a:gd name="connsiteY8157" fmla="*/ 2602516 h 3355086"/>
                <a:gd name="connsiteX8158" fmla="*/ 519302 w 3359086"/>
                <a:gd name="connsiteY8158" fmla="*/ 2600135 h 3355086"/>
                <a:gd name="connsiteX8159" fmla="*/ 525493 w 3359086"/>
                <a:gd name="connsiteY8159" fmla="*/ 2606326 h 3355086"/>
                <a:gd name="connsiteX8160" fmla="*/ 519302 w 3359086"/>
                <a:gd name="connsiteY8160" fmla="*/ 2612517 h 3355086"/>
                <a:gd name="connsiteX8161" fmla="*/ 513111 w 3359086"/>
                <a:gd name="connsiteY8161" fmla="*/ 2606326 h 3355086"/>
                <a:gd name="connsiteX8162" fmla="*/ 519302 w 3359086"/>
                <a:gd name="connsiteY8162" fmla="*/ 2600135 h 3355086"/>
                <a:gd name="connsiteX8163" fmla="*/ 2961036 w 3359086"/>
                <a:gd name="connsiteY8163" fmla="*/ 2598801 h 3355086"/>
                <a:gd name="connsiteX8164" fmla="*/ 2967227 w 3359086"/>
                <a:gd name="connsiteY8164" fmla="*/ 2604992 h 3355086"/>
                <a:gd name="connsiteX8165" fmla="*/ 2961036 w 3359086"/>
                <a:gd name="connsiteY8165" fmla="*/ 2611184 h 3355086"/>
                <a:gd name="connsiteX8166" fmla="*/ 2954845 w 3359086"/>
                <a:gd name="connsiteY8166" fmla="*/ 2604992 h 3355086"/>
                <a:gd name="connsiteX8167" fmla="*/ 2961036 w 3359086"/>
                <a:gd name="connsiteY8167" fmla="*/ 2598801 h 3355086"/>
                <a:gd name="connsiteX8168" fmla="*/ 334612 w 3359086"/>
                <a:gd name="connsiteY8168" fmla="*/ 2597658 h 3355086"/>
                <a:gd name="connsiteX8169" fmla="*/ 340803 w 3359086"/>
                <a:gd name="connsiteY8169" fmla="*/ 2603849 h 3355086"/>
                <a:gd name="connsiteX8170" fmla="*/ 334612 w 3359086"/>
                <a:gd name="connsiteY8170" fmla="*/ 2610041 h 3355086"/>
                <a:gd name="connsiteX8171" fmla="*/ 332183 w 3359086"/>
                <a:gd name="connsiteY8171" fmla="*/ 2607613 h 3355086"/>
                <a:gd name="connsiteX8172" fmla="*/ 327088 w 3359086"/>
                <a:gd name="connsiteY8172" fmla="*/ 2612708 h 3355086"/>
                <a:gd name="connsiteX8173" fmla="*/ 325088 w 3359086"/>
                <a:gd name="connsiteY8173" fmla="*/ 2610708 h 3355086"/>
                <a:gd name="connsiteX8174" fmla="*/ 321278 w 3359086"/>
                <a:gd name="connsiteY8174" fmla="*/ 2614518 h 3355086"/>
                <a:gd name="connsiteX8175" fmla="*/ 319563 w 3359086"/>
                <a:gd name="connsiteY8175" fmla="*/ 2612803 h 3355086"/>
                <a:gd name="connsiteX8176" fmla="*/ 316515 w 3359086"/>
                <a:gd name="connsiteY8176" fmla="*/ 2615851 h 3355086"/>
                <a:gd name="connsiteX8177" fmla="*/ 314896 w 3359086"/>
                <a:gd name="connsiteY8177" fmla="*/ 2614232 h 3355086"/>
                <a:gd name="connsiteX8178" fmla="*/ 311943 w 3359086"/>
                <a:gd name="connsiteY8178" fmla="*/ 2617185 h 3355086"/>
                <a:gd name="connsiteX8179" fmla="*/ 310371 w 3359086"/>
                <a:gd name="connsiteY8179" fmla="*/ 2615613 h 3355086"/>
                <a:gd name="connsiteX8180" fmla="*/ 307085 w 3359086"/>
                <a:gd name="connsiteY8180" fmla="*/ 2618900 h 3355086"/>
                <a:gd name="connsiteX8181" fmla="*/ 305513 w 3359086"/>
                <a:gd name="connsiteY8181" fmla="*/ 2617328 h 3355086"/>
                <a:gd name="connsiteX8182" fmla="*/ 301466 w 3359086"/>
                <a:gd name="connsiteY8182" fmla="*/ 2621376 h 3355086"/>
                <a:gd name="connsiteX8183" fmla="*/ 298846 w 3359086"/>
                <a:gd name="connsiteY8183" fmla="*/ 2618756 h 3355086"/>
                <a:gd name="connsiteX8184" fmla="*/ 294608 w 3359086"/>
                <a:gd name="connsiteY8184" fmla="*/ 2622994 h 3355086"/>
                <a:gd name="connsiteX8185" fmla="*/ 290131 w 3359086"/>
                <a:gd name="connsiteY8185" fmla="*/ 2618518 h 3355086"/>
                <a:gd name="connsiteX8186" fmla="*/ 294608 w 3359086"/>
                <a:gd name="connsiteY8186" fmla="*/ 2614041 h 3355086"/>
                <a:gd name="connsiteX8187" fmla="*/ 295513 w 3359086"/>
                <a:gd name="connsiteY8187" fmla="*/ 2614946 h 3355086"/>
                <a:gd name="connsiteX8188" fmla="*/ 301466 w 3359086"/>
                <a:gd name="connsiteY8188" fmla="*/ 2608993 h 3355086"/>
                <a:gd name="connsiteX8189" fmla="*/ 303037 w 3359086"/>
                <a:gd name="connsiteY8189" fmla="*/ 2610565 h 3355086"/>
                <a:gd name="connsiteX8190" fmla="*/ 307085 w 3359086"/>
                <a:gd name="connsiteY8190" fmla="*/ 2606517 h 3355086"/>
                <a:gd name="connsiteX8191" fmla="*/ 308656 w 3359086"/>
                <a:gd name="connsiteY8191" fmla="*/ 2608089 h 3355086"/>
                <a:gd name="connsiteX8192" fmla="*/ 311943 w 3359086"/>
                <a:gd name="connsiteY8192" fmla="*/ 2604802 h 3355086"/>
                <a:gd name="connsiteX8193" fmla="*/ 313562 w 3359086"/>
                <a:gd name="connsiteY8193" fmla="*/ 2606422 h 3355086"/>
                <a:gd name="connsiteX8194" fmla="*/ 316515 w 3359086"/>
                <a:gd name="connsiteY8194" fmla="*/ 2603469 h 3355086"/>
                <a:gd name="connsiteX8195" fmla="*/ 318229 w 3359086"/>
                <a:gd name="connsiteY8195" fmla="*/ 2605184 h 3355086"/>
                <a:gd name="connsiteX8196" fmla="*/ 321278 w 3359086"/>
                <a:gd name="connsiteY8196" fmla="*/ 2602135 h 3355086"/>
                <a:gd name="connsiteX8197" fmla="*/ 323278 w 3359086"/>
                <a:gd name="connsiteY8197" fmla="*/ 2604135 h 3355086"/>
                <a:gd name="connsiteX8198" fmla="*/ 327088 w 3359086"/>
                <a:gd name="connsiteY8198" fmla="*/ 2600325 h 3355086"/>
                <a:gd name="connsiteX8199" fmla="*/ 329516 w 3359086"/>
                <a:gd name="connsiteY8199" fmla="*/ 2602754 h 3355086"/>
                <a:gd name="connsiteX8200" fmla="*/ 1044701 w 3359086"/>
                <a:gd name="connsiteY8200" fmla="*/ 2596706 h 3355086"/>
                <a:gd name="connsiteX8201" fmla="*/ 1050893 w 3359086"/>
                <a:gd name="connsiteY8201" fmla="*/ 2602897 h 3355086"/>
                <a:gd name="connsiteX8202" fmla="*/ 1044701 w 3359086"/>
                <a:gd name="connsiteY8202" fmla="*/ 2609089 h 3355086"/>
                <a:gd name="connsiteX8203" fmla="*/ 1038510 w 3359086"/>
                <a:gd name="connsiteY8203" fmla="*/ 2602897 h 3355086"/>
                <a:gd name="connsiteX8204" fmla="*/ 1044701 w 3359086"/>
                <a:gd name="connsiteY8204" fmla="*/ 2596706 h 3355086"/>
                <a:gd name="connsiteX8205" fmla="*/ 770857 w 3359086"/>
                <a:gd name="connsiteY8205" fmla="*/ 2595848 h 3355086"/>
                <a:gd name="connsiteX8206" fmla="*/ 777049 w 3359086"/>
                <a:gd name="connsiteY8206" fmla="*/ 2602039 h 3355086"/>
                <a:gd name="connsiteX8207" fmla="*/ 770857 w 3359086"/>
                <a:gd name="connsiteY8207" fmla="*/ 2608231 h 3355086"/>
                <a:gd name="connsiteX8208" fmla="*/ 764666 w 3359086"/>
                <a:gd name="connsiteY8208" fmla="*/ 2602039 h 3355086"/>
                <a:gd name="connsiteX8209" fmla="*/ 770857 w 3359086"/>
                <a:gd name="connsiteY8209" fmla="*/ 2595848 h 3355086"/>
                <a:gd name="connsiteX8210" fmla="*/ 3071145 w 3359086"/>
                <a:gd name="connsiteY8210" fmla="*/ 2594324 h 3355086"/>
                <a:gd name="connsiteX8211" fmla="*/ 3077336 w 3359086"/>
                <a:gd name="connsiteY8211" fmla="*/ 2600515 h 3355086"/>
                <a:gd name="connsiteX8212" fmla="*/ 3071145 w 3359086"/>
                <a:gd name="connsiteY8212" fmla="*/ 2606707 h 3355086"/>
                <a:gd name="connsiteX8213" fmla="*/ 3064954 w 3359086"/>
                <a:gd name="connsiteY8213" fmla="*/ 2600515 h 3355086"/>
                <a:gd name="connsiteX8214" fmla="*/ 3071145 w 3359086"/>
                <a:gd name="connsiteY8214" fmla="*/ 2594324 h 3355086"/>
                <a:gd name="connsiteX8215" fmla="*/ 344614 w 3359086"/>
                <a:gd name="connsiteY8215" fmla="*/ 2593372 h 3355086"/>
                <a:gd name="connsiteX8216" fmla="*/ 350806 w 3359086"/>
                <a:gd name="connsiteY8216" fmla="*/ 2599563 h 3355086"/>
                <a:gd name="connsiteX8217" fmla="*/ 344614 w 3359086"/>
                <a:gd name="connsiteY8217" fmla="*/ 2605754 h 3355086"/>
                <a:gd name="connsiteX8218" fmla="*/ 338423 w 3359086"/>
                <a:gd name="connsiteY8218" fmla="*/ 2599563 h 3355086"/>
                <a:gd name="connsiteX8219" fmla="*/ 344614 w 3359086"/>
                <a:gd name="connsiteY8219" fmla="*/ 2593372 h 3355086"/>
                <a:gd name="connsiteX8220" fmla="*/ 437006 w 3359086"/>
                <a:gd name="connsiteY8220" fmla="*/ 2591181 h 3355086"/>
                <a:gd name="connsiteX8221" fmla="*/ 443197 w 3359086"/>
                <a:gd name="connsiteY8221" fmla="*/ 2597372 h 3355086"/>
                <a:gd name="connsiteX8222" fmla="*/ 437006 w 3359086"/>
                <a:gd name="connsiteY8222" fmla="*/ 2603563 h 3355086"/>
                <a:gd name="connsiteX8223" fmla="*/ 430815 w 3359086"/>
                <a:gd name="connsiteY8223" fmla="*/ 2597372 h 3355086"/>
                <a:gd name="connsiteX8224" fmla="*/ 437006 w 3359086"/>
                <a:gd name="connsiteY8224" fmla="*/ 2591181 h 3355086"/>
                <a:gd name="connsiteX8225" fmla="*/ 2941129 w 3359086"/>
                <a:gd name="connsiteY8225" fmla="*/ 2589848 h 3355086"/>
                <a:gd name="connsiteX8226" fmla="*/ 2947320 w 3359086"/>
                <a:gd name="connsiteY8226" fmla="*/ 2596039 h 3355086"/>
                <a:gd name="connsiteX8227" fmla="*/ 2941129 w 3359086"/>
                <a:gd name="connsiteY8227" fmla="*/ 2602230 h 3355086"/>
                <a:gd name="connsiteX8228" fmla="*/ 2934938 w 3359086"/>
                <a:gd name="connsiteY8228" fmla="*/ 2596039 h 3355086"/>
                <a:gd name="connsiteX8229" fmla="*/ 2941129 w 3359086"/>
                <a:gd name="connsiteY8229" fmla="*/ 2589848 h 3355086"/>
                <a:gd name="connsiteX8230" fmla="*/ 2735008 w 3359086"/>
                <a:gd name="connsiteY8230" fmla="*/ 2588895 h 3355086"/>
                <a:gd name="connsiteX8231" fmla="*/ 2741200 w 3359086"/>
                <a:gd name="connsiteY8231" fmla="*/ 2595086 h 3355086"/>
                <a:gd name="connsiteX8232" fmla="*/ 2735008 w 3359086"/>
                <a:gd name="connsiteY8232" fmla="*/ 2601277 h 3355086"/>
                <a:gd name="connsiteX8233" fmla="*/ 2728817 w 3359086"/>
                <a:gd name="connsiteY8233" fmla="*/ 2595086 h 3355086"/>
                <a:gd name="connsiteX8234" fmla="*/ 2735008 w 3359086"/>
                <a:gd name="connsiteY8234" fmla="*/ 2588895 h 3355086"/>
                <a:gd name="connsiteX8235" fmla="*/ 3062001 w 3359086"/>
                <a:gd name="connsiteY8235" fmla="*/ 2587847 h 3355086"/>
                <a:gd name="connsiteX8236" fmla="*/ 3068192 w 3359086"/>
                <a:gd name="connsiteY8236" fmla="*/ 2594038 h 3355086"/>
                <a:gd name="connsiteX8237" fmla="*/ 3062001 w 3359086"/>
                <a:gd name="connsiteY8237" fmla="*/ 2600230 h 3355086"/>
                <a:gd name="connsiteX8238" fmla="*/ 3055810 w 3359086"/>
                <a:gd name="connsiteY8238" fmla="*/ 2594038 h 3355086"/>
                <a:gd name="connsiteX8239" fmla="*/ 3062001 w 3359086"/>
                <a:gd name="connsiteY8239" fmla="*/ 2587847 h 3355086"/>
                <a:gd name="connsiteX8240" fmla="*/ 358234 w 3359086"/>
                <a:gd name="connsiteY8240" fmla="*/ 2587086 h 3355086"/>
                <a:gd name="connsiteX8241" fmla="*/ 364425 w 3359086"/>
                <a:gd name="connsiteY8241" fmla="*/ 2593277 h 3355086"/>
                <a:gd name="connsiteX8242" fmla="*/ 358234 w 3359086"/>
                <a:gd name="connsiteY8242" fmla="*/ 2599468 h 3355086"/>
                <a:gd name="connsiteX8243" fmla="*/ 352043 w 3359086"/>
                <a:gd name="connsiteY8243" fmla="*/ 2593277 h 3355086"/>
                <a:gd name="connsiteX8244" fmla="*/ 358234 w 3359086"/>
                <a:gd name="connsiteY8244" fmla="*/ 2587086 h 3355086"/>
                <a:gd name="connsiteX8245" fmla="*/ 2838164 w 3359086"/>
                <a:gd name="connsiteY8245" fmla="*/ 2586133 h 3355086"/>
                <a:gd name="connsiteX8246" fmla="*/ 2844355 w 3359086"/>
                <a:gd name="connsiteY8246" fmla="*/ 2592324 h 3355086"/>
                <a:gd name="connsiteX8247" fmla="*/ 2838164 w 3359086"/>
                <a:gd name="connsiteY8247" fmla="*/ 2598515 h 3355086"/>
                <a:gd name="connsiteX8248" fmla="*/ 2831973 w 3359086"/>
                <a:gd name="connsiteY8248" fmla="*/ 2592324 h 3355086"/>
                <a:gd name="connsiteX8249" fmla="*/ 2838164 w 3359086"/>
                <a:gd name="connsiteY8249" fmla="*/ 2586133 h 3355086"/>
                <a:gd name="connsiteX8250" fmla="*/ 2337720 w 3359086"/>
                <a:gd name="connsiteY8250" fmla="*/ 2586133 h 3355086"/>
                <a:gd name="connsiteX8251" fmla="*/ 2343912 w 3359086"/>
                <a:gd name="connsiteY8251" fmla="*/ 2592324 h 3355086"/>
                <a:gd name="connsiteX8252" fmla="*/ 2337720 w 3359086"/>
                <a:gd name="connsiteY8252" fmla="*/ 2598515 h 3355086"/>
                <a:gd name="connsiteX8253" fmla="*/ 2331529 w 3359086"/>
                <a:gd name="connsiteY8253" fmla="*/ 2592324 h 3355086"/>
                <a:gd name="connsiteX8254" fmla="*/ 2337720 w 3359086"/>
                <a:gd name="connsiteY8254" fmla="*/ 2586133 h 3355086"/>
                <a:gd name="connsiteX8255" fmla="*/ 3008947 w 3359086"/>
                <a:gd name="connsiteY8255" fmla="*/ 2584895 h 3355086"/>
                <a:gd name="connsiteX8256" fmla="*/ 3013757 w 3359086"/>
                <a:gd name="connsiteY8256" fmla="*/ 2589705 h 3355086"/>
                <a:gd name="connsiteX8257" fmla="*/ 3015424 w 3359086"/>
                <a:gd name="connsiteY8257" fmla="*/ 2588038 h 3355086"/>
                <a:gd name="connsiteX8258" fmla="*/ 3019091 w 3359086"/>
                <a:gd name="connsiteY8258" fmla="*/ 2591705 h 3355086"/>
                <a:gd name="connsiteX8259" fmla="*/ 3020472 w 3359086"/>
                <a:gd name="connsiteY8259" fmla="*/ 2590324 h 3355086"/>
                <a:gd name="connsiteX8260" fmla="*/ 3023568 w 3359086"/>
                <a:gd name="connsiteY8260" fmla="*/ 2593419 h 3355086"/>
                <a:gd name="connsiteX8261" fmla="*/ 3024758 w 3359086"/>
                <a:gd name="connsiteY8261" fmla="*/ 2592229 h 3355086"/>
                <a:gd name="connsiteX8262" fmla="*/ 3027854 w 3359086"/>
                <a:gd name="connsiteY8262" fmla="*/ 2595325 h 3355086"/>
                <a:gd name="connsiteX8263" fmla="*/ 3028949 w 3359086"/>
                <a:gd name="connsiteY8263" fmla="*/ 2594229 h 3355086"/>
                <a:gd name="connsiteX8264" fmla="*/ 3032426 w 3359086"/>
                <a:gd name="connsiteY8264" fmla="*/ 2597706 h 3355086"/>
                <a:gd name="connsiteX8265" fmla="*/ 3033616 w 3359086"/>
                <a:gd name="connsiteY8265" fmla="*/ 2596515 h 3355086"/>
                <a:gd name="connsiteX8266" fmla="*/ 3037950 w 3359086"/>
                <a:gd name="connsiteY8266" fmla="*/ 2600849 h 3355086"/>
                <a:gd name="connsiteX8267" fmla="*/ 3039236 w 3359086"/>
                <a:gd name="connsiteY8267" fmla="*/ 2599563 h 3355086"/>
                <a:gd name="connsiteX8268" fmla="*/ 3044761 w 3359086"/>
                <a:gd name="connsiteY8268" fmla="*/ 2605088 h 3355086"/>
                <a:gd name="connsiteX8269" fmla="*/ 3046190 w 3359086"/>
                <a:gd name="connsiteY8269" fmla="*/ 2603659 h 3355086"/>
                <a:gd name="connsiteX8270" fmla="*/ 3052381 w 3359086"/>
                <a:gd name="connsiteY8270" fmla="*/ 2609850 h 3355086"/>
                <a:gd name="connsiteX8271" fmla="*/ 3046190 w 3359086"/>
                <a:gd name="connsiteY8271" fmla="*/ 2616042 h 3355086"/>
                <a:gd name="connsiteX8272" fmla="*/ 3040665 w 3359086"/>
                <a:gd name="connsiteY8272" fmla="*/ 2610516 h 3355086"/>
                <a:gd name="connsiteX8273" fmla="*/ 3039236 w 3359086"/>
                <a:gd name="connsiteY8273" fmla="*/ 2611945 h 3355086"/>
                <a:gd name="connsiteX8274" fmla="*/ 3034903 w 3359086"/>
                <a:gd name="connsiteY8274" fmla="*/ 2607612 h 3355086"/>
                <a:gd name="connsiteX8275" fmla="*/ 3033616 w 3359086"/>
                <a:gd name="connsiteY8275" fmla="*/ 2608898 h 3355086"/>
                <a:gd name="connsiteX8276" fmla="*/ 3030139 w 3359086"/>
                <a:gd name="connsiteY8276" fmla="*/ 2605421 h 3355086"/>
                <a:gd name="connsiteX8277" fmla="*/ 3028949 w 3359086"/>
                <a:gd name="connsiteY8277" fmla="*/ 2606611 h 3355086"/>
                <a:gd name="connsiteX8278" fmla="*/ 3025853 w 3359086"/>
                <a:gd name="connsiteY8278" fmla="*/ 2603516 h 3355086"/>
                <a:gd name="connsiteX8279" fmla="*/ 3024758 w 3359086"/>
                <a:gd name="connsiteY8279" fmla="*/ 2604611 h 3355086"/>
                <a:gd name="connsiteX8280" fmla="*/ 3021663 w 3359086"/>
                <a:gd name="connsiteY8280" fmla="*/ 2601516 h 3355086"/>
                <a:gd name="connsiteX8281" fmla="*/ 3020472 w 3359086"/>
                <a:gd name="connsiteY8281" fmla="*/ 2602706 h 3355086"/>
                <a:gd name="connsiteX8282" fmla="*/ 3016805 w 3359086"/>
                <a:gd name="connsiteY8282" fmla="*/ 2599040 h 3355086"/>
                <a:gd name="connsiteX8283" fmla="*/ 3015424 w 3359086"/>
                <a:gd name="connsiteY8283" fmla="*/ 2600421 h 3355086"/>
                <a:gd name="connsiteX8284" fmla="*/ 3010614 w 3359086"/>
                <a:gd name="connsiteY8284" fmla="*/ 2595611 h 3355086"/>
                <a:gd name="connsiteX8285" fmla="*/ 3008947 w 3359086"/>
                <a:gd name="connsiteY8285" fmla="*/ 2597278 h 3355086"/>
                <a:gd name="connsiteX8286" fmla="*/ 3002756 w 3359086"/>
                <a:gd name="connsiteY8286" fmla="*/ 2591086 h 3355086"/>
                <a:gd name="connsiteX8287" fmla="*/ 3008947 w 3359086"/>
                <a:gd name="connsiteY8287" fmla="*/ 2584895 h 3355086"/>
                <a:gd name="connsiteX8288" fmla="*/ 3087338 w 3359086"/>
                <a:gd name="connsiteY8288" fmla="*/ 2582990 h 3355086"/>
                <a:gd name="connsiteX8289" fmla="*/ 3091052 w 3359086"/>
                <a:gd name="connsiteY8289" fmla="*/ 2586705 h 3355086"/>
                <a:gd name="connsiteX8290" fmla="*/ 3087338 w 3359086"/>
                <a:gd name="connsiteY8290" fmla="*/ 2590419 h 3355086"/>
                <a:gd name="connsiteX8291" fmla="*/ 3083623 w 3359086"/>
                <a:gd name="connsiteY8291" fmla="*/ 2586705 h 3355086"/>
                <a:gd name="connsiteX8292" fmla="*/ 3087338 w 3359086"/>
                <a:gd name="connsiteY8292" fmla="*/ 2582990 h 3355086"/>
                <a:gd name="connsiteX8293" fmla="*/ 2600039 w 3359086"/>
                <a:gd name="connsiteY8293" fmla="*/ 2582895 h 3355086"/>
                <a:gd name="connsiteX8294" fmla="*/ 2606230 w 3359086"/>
                <a:gd name="connsiteY8294" fmla="*/ 2589086 h 3355086"/>
                <a:gd name="connsiteX8295" fmla="*/ 2600039 w 3359086"/>
                <a:gd name="connsiteY8295" fmla="*/ 2595277 h 3355086"/>
                <a:gd name="connsiteX8296" fmla="*/ 2593848 w 3359086"/>
                <a:gd name="connsiteY8296" fmla="*/ 2589086 h 3355086"/>
                <a:gd name="connsiteX8297" fmla="*/ 2600039 w 3359086"/>
                <a:gd name="connsiteY8297" fmla="*/ 2582895 h 3355086"/>
                <a:gd name="connsiteX8298" fmla="*/ 3000184 w 3359086"/>
                <a:gd name="connsiteY8298" fmla="*/ 2580323 h 3355086"/>
                <a:gd name="connsiteX8299" fmla="*/ 3006376 w 3359086"/>
                <a:gd name="connsiteY8299" fmla="*/ 2586514 h 3355086"/>
                <a:gd name="connsiteX8300" fmla="*/ 3000184 w 3359086"/>
                <a:gd name="connsiteY8300" fmla="*/ 2592705 h 3355086"/>
                <a:gd name="connsiteX8301" fmla="*/ 2993993 w 3359086"/>
                <a:gd name="connsiteY8301" fmla="*/ 2586514 h 3355086"/>
                <a:gd name="connsiteX8302" fmla="*/ 3000184 w 3359086"/>
                <a:gd name="connsiteY8302" fmla="*/ 2580323 h 3355086"/>
                <a:gd name="connsiteX8303" fmla="*/ 376332 w 3359086"/>
                <a:gd name="connsiteY8303" fmla="*/ 2577942 h 3355086"/>
                <a:gd name="connsiteX8304" fmla="*/ 382523 w 3359086"/>
                <a:gd name="connsiteY8304" fmla="*/ 2584133 h 3355086"/>
                <a:gd name="connsiteX8305" fmla="*/ 376332 w 3359086"/>
                <a:gd name="connsiteY8305" fmla="*/ 2590324 h 3355086"/>
                <a:gd name="connsiteX8306" fmla="*/ 370141 w 3359086"/>
                <a:gd name="connsiteY8306" fmla="*/ 2584133 h 3355086"/>
                <a:gd name="connsiteX8307" fmla="*/ 376332 w 3359086"/>
                <a:gd name="connsiteY8307" fmla="*/ 2577942 h 3355086"/>
                <a:gd name="connsiteX8308" fmla="*/ 2915316 w 3359086"/>
                <a:gd name="connsiteY8308" fmla="*/ 2577275 h 3355086"/>
                <a:gd name="connsiteX8309" fmla="*/ 2921507 w 3359086"/>
                <a:gd name="connsiteY8309" fmla="*/ 2583466 h 3355086"/>
                <a:gd name="connsiteX8310" fmla="*/ 2915316 w 3359086"/>
                <a:gd name="connsiteY8310" fmla="*/ 2589657 h 3355086"/>
                <a:gd name="connsiteX8311" fmla="*/ 2909125 w 3359086"/>
                <a:gd name="connsiteY8311" fmla="*/ 2583466 h 3355086"/>
                <a:gd name="connsiteX8312" fmla="*/ 2915316 w 3359086"/>
                <a:gd name="connsiteY8312" fmla="*/ 2577275 h 3355086"/>
                <a:gd name="connsiteX8313" fmla="*/ 571023 w 3359086"/>
                <a:gd name="connsiteY8313" fmla="*/ 2576989 h 3355086"/>
                <a:gd name="connsiteX8314" fmla="*/ 577214 w 3359086"/>
                <a:gd name="connsiteY8314" fmla="*/ 2583180 h 3355086"/>
                <a:gd name="connsiteX8315" fmla="*/ 571023 w 3359086"/>
                <a:gd name="connsiteY8315" fmla="*/ 2589371 h 3355086"/>
                <a:gd name="connsiteX8316" fmla="*/ 564832 w 3359086"/>
                <a:gd name="connsiteY8316" fmla="*/ 2583180 h 3355086"/>
                <a:gd name="connsiteX8317" fmla="*/ 571023 w 3359086"/>
                <a:gd name="connsiteY8317" fmla="*/ 2576989 h 3355086"/>
                <a:gd name="connsiteX8318" fmla="*/ 1638204 w 3359086"/>
                <a:gd name="connsiteY8318" fmla="*/ 2576894 h 3355086"/>
                <a:gd name="connsiteX8319" fmla="*/ 1644396 w 3359086"/>
                <a:gd name="connsiteY8319" fmla="*/ 2583085 h 3355086"/>
                <a:gd name="connsiteX8320" fmla="*/ 1638204 w 3359086"/>
                <a:gd name="connsiteY8320" fmla="*/ 2589276 h 3355086"/>
                <a:gd name="connsiteX8321" fmla="*/ 1632013 w 3359086"/>
                <a:gd name="connsiteY8321" fmla="*/ 2583085 h 3355086"/>
                <a:gd name="connsiteX8322" fmla="*/ 1638204 w 3359086"/>
                <a:gd name="connsiteY8322" fmla="*/ 2576894 h 3355086"/>
                <a:gd name="connsiteX8323" fmla="*/ 952213 w 3359086"/>
                <a:gd name="connsiteY8323" fmla="*/ 2576513 h 3355086"/>
                <a:gd name="connsiteX8324" fmla="*/ 958405 w 3359086"/>
                <a:gd name="connsiteY8324" fmla="*/ 2582704 h 3355086"/>
                <a:gd name="connsiteX8325" fmla="*/ 952213 w 3359086"/>
                <a:gd name="connsiteY8325" fmla="*/ 2588896 h 3355086"/>
                <a:gd name="connsiteX8326" fmla="*/ 946022 w 3359086"/>
                <a:gd name="connsiteY8326" fmla="*/ 2582704 h 3355086"/>
                <a:gd name="connsiteX8327" fmla="*/ 952213 w 3359086"/>
                <a:gd name="connsiteY8327" fmla="*/ 2576513 h 3355086"/>
                <a:gd name="connsiteX8328" fmla="*/ 1758124 w 3359086"/>
                <a:gd name="connsiteY8328" fmla="*/ 2575751 h 3355086"/>
                <a:gd name="connsiteX8329" fmla="*/ 1764316 w 3359086"/>
                <a:gd name="connsiteY8329" fmla="*/ 2581942 h 3355086"/>
                <a:gd name="connsiteX8330" fmla="*/ 1758124 w 3359086"/>
                <a:gd name="connsiteY8330" fmla="*/ 2588133 h 3355086"/>
                <a:gd name="connsiteX8331" fmla="*/ 1751933 w 3359086"/>
                <a:gd name="connsiteY8331" fmla="*/ 2581942 h 3355086"/>
                <a:gd name="connsiteX8332" fmla="*/ 1758124 w 3359086"/>
                <a:gd name="connsiteY8332" fmla="*/ 2575751 h 3355086"/>
                <a:gd name="connsiteX8333" fmla="*/ 473011 w 3359086"/>
                <a:gd name="connsiteY8333" fmla="*/ 2574036 h 3355086"/>
                <a:gd name="connsiteX8334" fmla="*/ 479203 w 3359086"/>
                <a:gd name="connsiteY8334" fmla="*/ 2580227 h 3355086"/>
                <a:gd name="connsiteX8335" fmla="*/ 473011 w 3359086"/>
                <a:gd name="connsiteY8335" fmla="*/ 2586418 h 3355086"/>
                <a:gd name="connsiteX8336" fmla="*/ 466820 w 3359086"/>
                <a:gd name="connsiteY8336" fmla="*/ 2580227 h 3355086"/>
                <a:gd name="connsiteX8337" fmla="*/ 473011 w 3359086"/>
                <a:gd name="connsiteY8337" fmla="*/ 2574036 h 3355086"/>
                <a:gd name="connsiteX8338" fmla="*/ 313753 w 3359086"/>
                <a:gd name="connsiteY8338" fmla="*/ 2573941 h 3355086"/>
                <a:gd name="connsiteX8339" fmla="*/ 319944 w 3359086"/>
                <a:gd name="connsiteY8339" fmla="*/ 2580132 h 3355086"/>
                <a:gd name="connsiteX8340" fmla="*/ 313753 w 3359086"/>
                <a:gd name="connsiteY8340" fmla="*/ 2586323 h 3355086"/>
                <a:gd name="connsiteX8341" fmla="*/ 312753 w 3359086"/>
                <a:gd name="connsiteY8341" fmla="*/ 2585323 h 3355086"/>
                <a:gd name="connsiteX8342" fmla="*/ 308133 w 3359086"/>
                <a:gd name="connsiteY8342" fmla="*/ 2589943 h 3355086"/>
                <a:gd name="connsiteX8343" fmla="*/ 307228 w 3359086"/>
                <a:gd name="connsiteY8343" fmla="*/ 2589038 h 3355086"/>
                <a:gd name="connsiteX8344" fmla="*/ 303656 w 3359086"/>
                <a:gd name="connsiteY8344" fmla="*/ 2592610 h 3355086"/>
                <a:gd name="connsiteX8345" fmla="*/ 302989 w 3359086"/>
                <a:gd name="connsiteY8345" fmla="*/ 2591944 h 3355086"/>
                <a:gd name="connsiteX8346" fmla="*/ 299846 w 3359086"/>
                <a:gd name="connsiteY8346" fmla="*/ 2595086 h 3355086"/>
                <a:gd name="connsiteX8347" fmla="*/ 299036 w 3359086"/>
                <a:gd name="connsiteY8347" fmla="*/ 2594277 h 3355086"/>
                <a:gd name="connsiteX8348" fmla="*/ 295846 w 3359086"/>
                <a:gd name="connsiteY8348" fmla="*/ 2597467 h 3355086"/>
                <a:gd name="connsiteX8349" fmla="*/ 295084 w 3359086"/>
                <a:gd name="connsiteY8349" fmla="*/ 2596705 h 3355086"/>
                <a:gd name="connsiteX8350" fmla="*/ 291369 w 3359086"/>
                <a:gd name="connsiteY8350" fmla="*/ 2600420 h 3355086"/>
                <a:gd name="connsiteX8351" fmla="*/ 290321 w 3359086"/>
                <a:gd name="connsiteY8351" fmla="*/ 2599372 h 3355086"/>
                <a:gd name="connsiteX8352" fmla="*/ 285749 w 3359086"/>
                <a:gd name="connsiteY8352" fmla="*/ 2603944 h 3355086"/>
                <a:gd name="connsiteX8353" fmla="*/ 279558 w 3359086"/>
                <a:gd name="connsiteY8353" fmla="*/ 2597753 h 3355086"/>
                <a:gd name="connsiteX8354" fmla="*/ 285749 w 3359086"/>
                <a:gd name="connsiteY8354" fmla="*/ 2591562 h 3355086"/>
                <a:gd name="connsiteX8355" fmla="*/ 286797 w 3359086"/>
                <a:gd name="connsiteY8355" fmla="*/ 2592610 h 3355086"/>
                <a:gd name="connsiteX8356" fmla="*/ 291369 w 3359086"/>
                <a:gd name="connsiteY8356" fmla="*/ 2588038 h 3355086"/>
                <a:gd name="connsiteX8357" fmla="*/ 292131 w 3359086"/>
                <a:gd name="connsiteY8357" fmla="*/ 2588800 h 3355086"/>
                <a:gd name="connsiteX8358" fmla="*/ 295846 w 3359086"/>
                <a:gd name="connsiteY8358" fmla="*/ 2585085 h 3355086"/>
                <a:gd name="connsiteX8359" fmla="*/ 296655 w 3359086"/>
                <a:gd name="connsiteY8359" fmla="*/ 2585895 h 3355086"/>
                <a:gd name="connsiteX8360" fmla="*/ 299846 w 3359086"/>
                <a:gd name="connsiteY8360" fmla="*/ 2582704 h 3355086"/>
                <a:gd name="connsiteX8361" fmla="*/ 300513 w 3359086"/>
                <a:gd name="connsiteY8361" fmla="*/ 2583371 h 3355086"/>
                <a:gd name="connsiteX8362" fmla="*/ 303656 w 3359086"/>
                <a:gd name="connsiteY8362" fmla="*/ 2580228 h 3355086"/>
                <a:gd name="connsiteX8363" fmla="*/ 304561 w 3359086"/>
                <a:gd name="connsiteY8363" fmla="*/ 2581133 h 3355086"/>
                <a:gd name="connsiteX8364" fmla="*/ 308133 w 3359086"/>
                <a:gd name="connsiteY8364" fmla="*/ 2577561 h 3355086"/>
                <a:gd name="connsiteX8365" fmla="*/ 309133 w 3359086"/>
                <a:gd name="connsiteY8365" fmla="*/ 2578561 h 3355086"/>
                <a:gd name="connsiteX8366" fmla="*/ 2988182 w 3359086"/>
                <a:gd name="connsiteY8366" fmla="*/ 2573655 h 3355086"/>
                <a:gd name="connsiteX8367" fmla="*/ 2994373 w 3359086"/>
                <a:gd name="connsiteY8367" fmla="*/ 2579846 h 3355086"/>
                <a:gd name="connsiteX8368" fmla="*/ 2988182 w 3359086"/>
                <a:gd name="connsiteY8368" fmla="*/ 2586037 h 3355086"/>
                <a:gd name="connsiteX8369" fmla="*/ 2981991 w 3359086"/>
                <a:gd name="connsiteY8369" fmla="*/ 2579846 h 3355086"/>
                <a:gd name="connsiteX8370" fmla="*/ 2988182 w 3359086"/>
                <a:gd name="connsiteY8370" fmla="*/ 2573655 h 3355086"/>
                <a:gd name="connsiteX8371" fmla="*/ 1518665 w 3359086"/>
                <a:gd name="connsiteY8371" fmla="*/ 2573655 h 3355086"/>
                <a:gd name="connsiteX8372" fmla="*/ 1524857 w 3359086"/>
                <a:gd name="connsiteY8372" fmla="*/ 2579846 h 3355086"/>
                <a:gd name="connsiteX8373" fmla="*/ 1518665 w 3359086"/>
                <a:gd name="connsiteY8373" fmla="*/ 2586037 h 3355086"/>
                <a:gd name="connsiteX8374" fmla="*/ 1512474 w 3359086"/>
                <a:gd name="connsiteY8374" fmla="*/ 2579846 h 3355086"/>
                <a:gd name="connsiteX8375" fmla="*/ 1518665 w 3359086"/>
                <a:gd name="connsiteY8375" fmla="*/ 2573655 h 3355086"/>
                <a:gd name="connsiteX8376" fmla="*/ 3077622 w 3359086"/>
                <a:gd name="connsiteY8376" fmla="*/ 2572893 h 3355086"/>
                <a:gd name="connsiteX8377" fmla="*/ 3083814 w 3359086"/>
                <a:gd name="connsiteY8377" fmla="*/ 2579084 h 3355086"/>
                <a:gd name="connsiteX8378" fmla="*/ 3077622 w 3359086"/>
                <a:gd name="connsiteY8378" fmla="*/ 2585276 h 3355086"/>
                <a:gd name="connsiteX8379" fmla="*/ 3071431 w 3359086"/>
                <a:gd name="connsiteY8379" fmla="*/ 2579084 h 3355086"/>
                <a:gd name="connsiteX8380" fmla="*/ 3077622 w 3359086"/>
                <a:gd name="connsiteY8380" fmla="*/ 2572893 h 3355086"/>
                <a:gd name="connsiteX8381" fmla="*/ 699801 w 3359086"/>
                <a:gd name="connsiteY8381" fmla="*/ 2571560 h 3355086"/>
                <a:gd name="connsiteX8382" fmla="*/ 705993 w 3359086"/>
                <a:gd name="connsiteY8382" fmla="*/ 2577751 h 3355086"/>
                <a:gd name="connsiteX8383" fmla="*/ 699801 w 3359086"/>
                <a:gd name="connsiteY8383" fmla="*/ 2583942 h 3355086"/>
                <a:gd name="connsiteX8384" fmla="*/ 693610 w 3359086"/>
                <a:gd name="connsiteY8384" fmla="*/ 2577751 h 3355086"/>
                <a:gd name="connsiteX8385" fmla="*/ 699801 w 3359086"/>
                <a:gd name="connsiteY8385" fmla="*/ 2571560 h 3355086"/>
                <a:gd name="connsiteX8386" fmla="*/ 1876805 w 3359086"/>
                <a:gd name="connsiteY8386" fmla="*/ 2570131 h 3355086"/>
                <a:gd name="connsiteX8387" fmla="*/ 1882997 w 3359086"/>
                <a:gd name="connsiteY8387" fmla="*/ 2576322 h 3355086"/>
                <a:gd name="connsiteX8388" fmla="*/ 1876805 w 3359086"/>
                <a:gd name="connsiteY8388" fmla="*/ 2582513 h 3355086"/>
                <a:gd name="connsiteX8389" fmla="*/ 1870614 w 3359086"/>
                <a:gd name="connsiteY8389" fmla="*/ 2576322 h 3355086"/>
                <a:gd name="connsiteX8390" fmla="*/ 1876805 w 3359086"/>
                <a:gd name="connsiteY8390" fmla="*/ 2570131 h 3355086"/>
                <a:gd name="connsiteX8391" fmla="*/ 321563 w 3359086"/>
                <a:gd name="connsiteY8391" fmla="*/ 2569083 h 3355086"/>
                <a:gd name="connsiteX8392" fmla="*/ 327754 w 3359086"/>
                <a:gd name="connsiteY8392" fmla="*/ 2575274 h 3355086"/>
                <a:gd name="connsiteX8393" fmla="*/ 321563 w 3359086"/>
                <a:gd name="connsiteY8393" fmla="*/ 2581466 h 3355086"/>
                <a:gd name="connsiteX8394" fmla="*/ 315372 w 3359086"/>
                <a:gd name="connsiteY8394" fmla="*/ 2575274 h 3355086"/>
                <a:gd name="connsiteX8395" fmla="*/ 321563 w 3359086"/>
                <a:gd name="connsiteY8395" fmla="*/ 2569083 h 3355086"/>
                <a:gd name="connsiteX8396" fmla="*/ 1401222 w 3359086"/>
                <a:gd name="connsiteY8396" fmla="*/ 2566130 h 3355086"/>
                <a:gd name="connsiteX8397" fmla="*/ 1407413 w 3359086"/>
                <a:gd name="connsiteY8397" fmla="*/ 2572321 h 3355086"/>
                <a:gd name="connsiteX8398" fmla="*/ 1401222 w 3359086"/>
                <a:gd name="connsiteY8398" fmla="*/ 2578513 h 3355086"/>
                <a:gd name="connsiteX8399" fmla="*/ 1395031 w 3359086"/>
                <a:gd name="connsiteY8399" fmla="*/ 2572321 h 3355086"/>
                <a:gd name="connsiteX8400" fmla="*/ 1401222 w 3359086"/>
                <a:gd name="connsiteY8400" fmla="*/ 2566130 h 3355086"/>
                <a:gd name="connsiteX8401" fmla="*/ 400145 w 3359086"/>
                <a:gd name="connsiteY8401" fmla="*/ 2565273 h 3355086"/>
                <a:gd name="connsiteX8402" fmla="*/ 406336 w 3359086"/>
                <a:gd name="connsiteY8402" fmla="*/ 2571464 h 3355086"/>
                <a:gd name="connsiteX8403" fmla="*/ 400145 w 3359086"/>
                <a:gd name="connsiteY8403" fmla="*/ 2577655 h 3355086"/>
                <a:gd name="connsiteX8404" fmla="*/ 393954 w 3359086"/>
                <a:gd name="connsiteY8404" fmla="*/ 2571464 h 3355086"/>
                <a:gd name="connsiteX8405" fmla="*/ 400145 w 3359086"/>
                <a:gd name="connsiteY8405" fmla="*/ 2565273 h 3355086"/>
                <a:gd name="connsiteX8406" fmla="*/ 2427065 w 3359086"/>
                <a:gd name="connsiteY8406" fmla="*/ 2565083 h 3355086"/>
                <a:gd name="connsiteX8407" fmla="*/ 2433257 w 3359086"/>
                <a:gd name="connsiteY8407" fmla="*/ 2571274 h 3355086"/>
                <a:gd name="connsiteX8408" fmla="*/ 2427065 w 3359086"/>
                <a:gd name="connsiteY8408" fmla="*/ 2577465 h 3355086"/>
                <a:gd name="connsiteX8409" fmla="*/ 2420874 w 3359086"/>
                <a:gd name="connsiteY8409" fmla="*/ 2571274 h 3355086"/>
                <a:gd name="connsiteX8410" fmla="*/ 2427065 w 3359086"/>
                <a:gd name="connsiteY8410" fmla="*/ 2565083 h 3355086"/>
                <a:gd name="connsiteX8411" fmla="*/ 255269 w 3359086"/>
                <a:gd name="connsiteY8411" fmla="*/ 2565083 h 3355086"/>
                <a:gd name="connsiteX8412" fmla="*/ 255460 w 3359086"/>
                <a:gd name="connsiteY8412" fmla="*/ 2565273 h 3355086"/>
                <a:gd name="connsiteX8413" fmla="*/ 255269 w 3359086"/>
                <a:gd name="connsiteY8413" fmla="*/ 2565464 h 3355086"/>
                <a:gd name="connsiteX8414" fmla="*/ 255079 w 3359086"/>
                <a:gd name="connsiteY8414" fmla="*/ 2565273 h 3355086"/>
                <a:gd name="connsiteX8415" fmla="*/ 255269 w 3359086"/>
                <a:gd name="connsiteY8415" fmla="*/ 2565083 h 3355086"/>
                <a:gd name="connsiteX8416" fmla="*/ 2971894 w 3359086"/>
                <a:gd name="connsiteY8416" fmla="*/ 2564321 h 3355086"/>
                <a:gd name="connsiteX8417" fmla="*/ 2978086 w 3359086"/>
                <a:gd name="connsiteY8417" fmla="*/ 2570512 h 3355086"/>
                <a:gd name="connsiteX8418" fmla="*/ 2971894 w 3359086"/>
                <a:gd name="connsiteY8418" fmla="*/ 2576704 h 3355086"/>
                <a:gd name="connsiteX8419" fmla="*/ 2965703 w 3359086"/>
                <a:gd name="connsiteY8419" fmla="*/ 2570512 h 3355086"/>
                <a:gd name="connsiteX8420" fmla="*/ 2971894 w 3359086"/>
                <a:gd name="connsiteY8420" fmla="*/ 2564321 h 3355086"/>
                <a:gd name="connsiteX8421" fmla="*/ 2790062 w 3359086"/>
                <a:gd name="connsiteY8421" fmla="*/ 2563273 h 3355086"/>
                <a:gd name="connsiteX8422" fmla="*/ 2796254 w 3359086"/>
                <a:gd name="connsiteY8422" fmla="*/ 2569464 h 3355086"/>
                <a:gd name="connsiteX8423" fmla="*/ 2790062 w 3359086"/>
                <a:gd name="connsiteY8423" fmla="*/ 2575655 h 3355086"/>
                <a:gd name="connsiteX8424" fmla="*/ 2783871 w 3359086"/>
                <a:gd name="connsiteY8424" fmla="*/ 2569464 h 3355086"/>
                <a:gd name="connsiteX8425" fmla="*/ 2790062 w 3359086"/>
                <a:gd name="connsiteY8425" fmla="*/ 2563273 h 3355086"/>
                <a:gd name="connsiteX8426" fmla="*/ 332231 w 3359086"/>
                <a:gd name="connsiteY8426" fmla="*/ 2562225 h 3355086"/>
                <a:gd name="connsiteX8427" fmla="*/ 338422 w 3359086"/>
                <a:gd name="connsiteY8427" fmla="*/ 2568416 h 3355086"/>
                <a:gd name="connsiteX8428" fmla="*/ 332231 w 3359086"/>
                <a:gd name="connsiteY8428" fmla="*/ 2574608 h 3355086"/>
                <a:gd name="connsiteX8429" fmla="*/ 326040 w 3359086"/>
                <a:gd name="connsiteY8429" fmla="*/ 2568416 h 3355086"/>
                <a:gd name="connsiteX8430" fmla="*/ 332231 w 3359086"/>
                <a:gd name="connsiteY8430" fmla="*/ 2562225 h 3355086"/>
                <a:gd name="connsiteX8431" fmla="*/ 1992439 w 3359086"/>
                <a:gd name="connsiteY8431" fmla="*/ 2560511 h 3355086"/>
                <a:gd name="connsiteX8432" fmla="*/ 1998631 w 3359086"/>
                <a:gd name="connsiteY8432" fmla="*/ 2566702 h 3355086"/>
                <a:gd name="connsiteX8433" fmla="*/ 1992439 w 3359086"/>
                <a:gd name="connsiteY8433" fmla="*/ 2572893 h 3355086"/>
                <a:gd name="connsiteX8434" fmla="*/ 1986248 w 3359086"/>
                <a:gd name="connsiteY8434" fmla="*/ 2566702 h 3355086"/>
                <a:gd name="connsiteX8435" fmla="*/ 1992439 w 3359086"/>
                <a:gd name="connsiteY8435" fmla="*/ 2560511 h 3355086"/>
                <a:gd name="connsiteX8436" fmla="*/ 2882169 w 3359086"/>
                <a:gd name="connsiteY8436" fmla="*/ 2560225 h 3355086"/>
                <a:gd name="connsiteX8437" fmla="*/ 2888360 w 3359086"/>
                <a:gd name="connsiteY8437" fmla="*/ 2566416 h 3355086"/>
                <a:gd name="connsiteX8438" fmla="*/ 2882169 w 3359086"/>
                <a:gd name="connsiteY8438" fmla="*/ 2572607 h 3355086"/>
                <a:gd name="connsiteX8439" fmla="*/ 2875978 w 3359086"/>
                <a:gd name="connsiteY8439" fmla="*/ 2566416 h 3355086"/>
                <a:gd name="connsiteX8440" fmla="*/ 2882169 w 3359086"/>
                <a:gd name="connsiteY8440" fmla="*/ 2560225 h 3355086"/>
                <a:gd name="connsiteX8441" fmla="*/ 3093148 w 3359086"/>
                <a:gd name="connsiteY8441" fmla="*/ 2558606 h 3355086"/>
                <a:gd name="connsiteX8442" fmla="*/ 3099340 w 3359086"/>
                <a:gd name="connsiteY8442" fmla="*/ 2564797 h 3355086"/>
                <a:gd name="connsiteX8443" fmla="*/ 3093148 w 3359086"/>
                <a:gd name="connsiteY8443" fmla="*/ 2570989 h 3355086"/>
                <a:gd name="connsiteX8444" fmla="*/ 3086957 w 3359086"/>
                <a:gd name="connsiteY8444" fmla="*/ 2564797 h 3355086"/>
                <a:gd name="connsiteX8445" fmla="*/ 3093148 w 3359086"/>
                <a:gd name="connsiteY8445" fmla="*/ 2558606 h 3355086"/>
                <a:gd name="connsiteX8446" fmla="*/ 2668142 w 3359086"/>
                <a:gd name="connsiteY8446" fmla="*/ 2558415 h 3355086"/>
                <a:gd name="connsiteX8447" fmla="*/ 2674333 w 3359086"/>
                <a:gd name="connsiteY8447" fmla="*/ 2564606 h 3355086"/>
                <a:gd name="connsiteX8448" fmla="*/ 2668142 w 3359086"/>
                <a:gd name="connsiteY8448" fmla="*/ 2570798 h 3355086"/>
                <a:gd name="connsiteX8449" fmla="*/ 2661951 w 3359086"/>
                <a:gd name="connsiteY8449" fmla="*/ 2564606 h 3355086"/>
                <a:gd name="connsiteX8450" fmla="*/ 2668142 w 3359086"/>
                <a:gd name="connsiteY8450" fmla="*/ 2558415 h 3355086"/>
                <a:gd name="connsiteX8451" fmla="*/ 3022187 w 3359086"/>
                <a:gd name="connsiteY8451" fmla="*/ 2556320 h 3355086"/>
                <a:gd name="connsiteX8452" fmla="*/ 3028140 w 3359086"/>
                <a:gd name="connsiteY8452" fmla="*/ 2562273 h 3355086"/>
                <a:gd name="connsiteX8453" fmla="*/ 3028759 w 3359086"/>
                <a:gd name="connsiteY8453" fmla="*/ 2561654 h 3355086"/>
                <a:gd name="connsiteX8454" fmla="*/ 3033188 w 3359086"/>
                <a:gd name="connsiteY8454" fmla="*/ 2566082 h 3355086"/>
                <a:gd name="connsiteX8455" fmla="*/ 3033616 w 3359086"/>
                <a:gd name="connsiteY8455" fmla="*/ 2565654 h 3355086"/>
                <a:gd name="connsiteX8456" fmla="*/ 3037141 w 3359086"/>
                <a:gd name="connsiteY8456" fmla="*/ 2569178 h 3355086"/>
                <a:gd name="connsiteX8457" fmla="*/ 3037426 w 3359086"/>
                <a:gd name="connsiteY8457" fmla="*/ 2568893 h 3355086"/>
                <a:gd name="connsiteX8458" fmla="*/ 3040618 w 3359086"/>
                <a:gd name="connsiteY8458" fmla="*/ 2572084 h 3355086"/>
                <a:gd name="connsiteX8459" fmla="*/ 3040856 w 3359086"/>
                <a:gd name="connsiteY8459" fmla="*/ 2571846 h 3355086"/>
                <a:gd name="connsiteX8460" fmla="*/ 3044237 w 3359086"/>
                <a:gd name="connsiteY8460" fmla="*/ 2575227 h 3355086"/>
                <a:gd name="connsiteX8461" fmla="*/ 3044570 w 3359086"/>
                <a:gd name="connsiteY8461" fmla="*/ 2574894 h 3355086"/>
                <a:gd name="connsiteX8462" fmla="*/ 3048523 w 3359086"/>
                <a:gd name="connsiteY8462" fmla="*/ 2578846 h 3355086"/>
                <a:gd name="connsiteX8463" fmla="*/ 3049047 w 3359086"/>
                <a:gd name="connsiteY8463" fmla="*/ 2578322 h 3355086"/>
                <a:gd name="connsiteX8464" fmla="*/ 3054048 w 3359086"/>
                <a:gd name="connsiteY8464" fmla="*/ 2583323 h 3355086"/>
                <a:gd name="connsiteX8465" fmla="*/ 3054762 w 3359086"/>
                <a:gd name="connsiteY8465" fmla="*/ 2582609 h 3355086"/>
                <a:gd name="connsiteX8466" fmla="*/ 3060953 w 3359086"/>
                <a:gd name="connsiteY8466" fmla="*/ 2588800 h 3355086"/>
                <a:gd name="connsiteX8467" fmla="*/ 3054762 w 3359086"/>
                <a:gd name="connsiteY8467" fmla="*/ 2594991 h 3355086"/>
                <a:gd name="connsiteX8468" fmla="*/ 3049761 w 3359086"/>
                <a:gd name="connsiteY8468" fmla="*/ 2589991 h 3355086"/>
                <a:gd name="connsiteX8469" fmla="*/ 3049047 w 3359086"/>
                <a:gd name="connsiteY8469" fmla="*/ 2590705 h 3355086"/>
                <a:gd name="connsiteX8470" fmla="*/ 3045094 w 3359086"/>
                <a:gd name="connsiteY8470" fmla="*/ 2586752 h 3355086"/>
                <a:gd name="connsiteX8471" fmla="*/ 3044570 w 3359086"/>
                <a:gd name="connsiteY8471" fmla="*/ 2587276 h 3355086"/>
                <a:gd name="connsiteX8472" fmla="*/ 3041189 w 3359086"/>
                <a:gd name="connsiteY8472" fmla="*/ 2583895 h 3355086"/>
                <a:gd name="connsiteX8473" fmla="*/ 3040856 w 3359086"/>
                <a:gd name="connsiteY8473" fmla="*/ 2584228 h 3355086"/>
                <a:gd name="connsiteX8474" fmla="*/ 3037665 w 3359086"/>
                <a:gd name="connsiteY8474" fmla="*/ 2581037 h 3355086"/>
                <a:gd name="connsiteX8475" fmla="*/ 3037426 w 3359086"/>
                <a:gd name="connsiteY8475" fmla="*/ 2581275 h 3355086"/>
                <a:gd name="connsiteX8476" fmla="*/ 3033902 w 3359086"/>
                <a:gd name="connsiteY8476" fmla="*/ 2577751 h 3355086"/>
                <a:gd name="connsiteX8477" fmla="*/ 3033616 w 3359086"/>
                <a:gd name="connsiteY8477" fmla="*/ 2578036 h 3355086"/>
                <a:gd name="connsiteX8478" fmla="*/ 3029188 w 3359086"/>
                <a:gd name="connsiteY8478" fmla="*/ 2573608 h 3355086"/>
                <a:gd name="connsiteX8479" fmla="*/ 3028759 w 3359086"/>
                <a:gd name="connsiteY8479" fmla="*/ 2574037 h 3355086"/>
                <a:gd name="connsiteX8480" fmla="*/ 3022806 w 3359086"/>
                <a:gd name="connsiteY8480" fmla="*/ 2568084 h 3355086"/>
                <a:gd name="connsiteX8481" fmla="*/ 3022187 w 3359086"/>
                <a:gd name="connsiteY8481" fmla="*/ 2568703 h 3355086"/>
                <a:gd name="connsiteX8482" fmla="*/ 3015996 w 3359086"/>
                <a:gd name="connsiteY8482" fmla="*/ 2562511 h 3355086"/>
                <a:gd name="connsiteX8483" fmla="*/ 3022187 w 3359086"/>
                <a:gd name="connsiteY8483" fmla="*/ 2556320 h 3355086"/>
                <a:gd name="connsiteX8484" fmla="*/ 865726 w 3359086"/>
                <a:gd name="connsiteY8484" fmla="*/ 2554891 h 3355086"/>
                <a:gd name="connsiteX8485" fmla="*/ 871918 w 3359086"/>
                <a:gd name="connsiteY8485" fmla="*/ 2561082 h 3355086"/>
                <a:gd name="connsiteX8486" fmla="*/ 865726 w 3359086"/>
                <a:gd name="connsiteY8486" fmla="*/ 2567273 h 3355086"/>
                <a:gd name="connsiteX8487" fmla="*/ 859535 w 3359086"/>
                <a:gd name="connsiteY8487" fmla="*/ 2561082 h 3355086"/>
                <a:gd name="connsiteX8488" fmla="*/ 865726 w 3359086"/>
                <a:gd name="connsiteY8488" fmla="*/ 2554891 h 3355086"/>
                <a:gd name="connsiteX8489" fmla="*/ 1287398 w 3359086"/>
                <a:gd name="connsiteY8489" fmla="*/ 2554796 h 3355086"/>
                <a:gd name="connsiteX8490" fmla="*/ 1293590 w 3359086"/>
                <a:gd name="connsiteY8490" fmla="*/ 2560987 h 3355086"/>
                <a:gd name="connsiteX8491" fmla="*/ 1287398 w 3359086"/>
                <a:gd name="connsiteY8491" fmla="*/ 2567179 h 3355086"/>
                <a:gd name="connsiteX8492" fmla="*/ 1281207 w 3359086"/>
                <a:gd name="connsiteY8492" fmla="*/ 2560987 h 3355086"/>
                <a:gd name="connsiteX8493" fmla="*/ 1287398 w 3359086"/>
                <a:gd name="connsiteY8493" fmla="*/ 2554796 h 3355086"/>
                <a:gd name="connsiteX8494" fmla="*/ 346900 w 3359086"/>
                <a:gd name="connsiteY8494" fmla="*/ 2552700 h 3355086"/>
                <a:gd name="connsiteX8495" fmla="*/ 353091 w 3359086"/>
                <a:gd name="connsiteY8495" fmla="*/ 2558891 h 3355086"/>
                <a:gd name="connsiteX8496" fmla="*/ 346900 w 3359086"/>
                <a:gd name="connsiteY8496" fmla="*/ 2565083 h 3355086"/>
                <a:gd name="connsiteX8497" fmla="*/ 340709 w 3359086"/>
                <a:gd name="connsiteY8497" fmla="*/ 2558891 h 3355086"/>
                <a:gd name="connsiteX8498" fmla="*/ 346900 w 3359086"/>
                <a:gd name="connsiteY8498" fmla="*/ 2552700 h 3355086"/>
                <a:gd name="connsiteX8499" fmla="*/ 2950368 w 3359086"/>
                <a:gd name="connsiteY8499" fmla="*/ 2551653 h 3355086"/>
                <a:gd name="connsiteX8500" fmla="*/ 2956559 w 3359086"/>
                <a:gd name="connsiteY8500" fmla="*/ 2557844 h 3355086"/>
                <a:gd name="connsiteX8501" fmla="*/ 2950368 w 3359086"/>
                <a:gd name="connsiteY8501" fmla="*/ 2564035 h 3355086"/>
                <a:gd name="connsiteX8502" fmla="*/ 2944177 w 3359086"/>
                <a:gd name="connsiteY8502" fmla="*/ 2557844 h 3355086"/>
                <a:gd name="connsiteX8503" fmla="*/ 2950368 w 3359086"/>
                <a:gd name="connsiteY8503" fmla="*/ 2551653 h 3355086"/>
                <a:gd name="connsiteX8504" fmla="*/ 518159 w 3359086"/>
                <a:gd name="connsiteY8504" fmla="*/ 2551462 h 3355086"/>
                <a:gd name="connsiteX8505" fmla="*/ 524350 w 3359086"/>
                <a:gd name="connsiteY8505" fmla="*/ 2557653 h 3355086"/>
                <a:gd name="connsiteX8506" fmla="*/ 518159 w 3359086"/>
                <a:gd name="connsiteY8506" fmla="*/ 2563845 h 3355086"/>
                <a:gd name="connsiteX8507" fmla="*/ 511968 w 3359086"/>
                <a:gd name="connsiteY8507" fmla="*/ 2557653 h 3355086"/>
                <a:gd name="connsiteX8508" fmla="*/ 518159 w 3359086"/>
                <a:gd name="connsiteY8508" fmla="*/ 2551462 h 3355086"/>
                <a:gd name="connsiteX8509" fmla="*/ 3084861 w 3359086"/>
                <a:gd name="connsiteY8509" fmla="*/ 2550986 h 3355086"/>
                <a:gd name="connsiteX8510" fmla="*/ 3091052 w 3359086"/>
                <a:gd name="connsiteY8510" fmla="*/ 2557177 h 3355086"/>
                <a:gd name="connsiteX8511" fmla="*/ 3084861 w 3359086"/>
                <a:gd name="connsiteY8511" fmla="*/ 2563368 h 3355086"/>
                <a:gd name="connsiteX8512" fmla="*/ 3078670 w 3359086"/>
                <a:gd name="connsiteY8512" fmla="*/ 2557177 h 3355086"/>
                <a:gd name="connsiteX8513" fmla="*/ 3084861 w 3359086"/>
                <a:gd name="connsiteY8513" fmla="*/ 2550986 h 3355086"/>
                <a:gd name="connsiteX8514" fmla="*/ 3012852 w 3359086"/>
                <a:gd name="connsiteY8514" fmla="*/ 2549081 h 3355086"/>
                <a:gd name="connsiteX8515" fmla="*/ 3019043 w 3359086"/>
                <a:gd name="connsiteY8515" fmla="*/ 2555272 h 3355086"/>
                <a:gd name="connsiteX8516" fmla="*/ 3012852 w 3359086"/>
                <a:gd name="connsiteY8516" fmla="*/ 2561464 h 3355086"/>
                <a:gd name="connsiteX8517" fmla="*/ 3006661 w 3359086"/>
                <a:gd name="connsiteY8517" fmla="*/ 2555272 h 3355086"/>
                <a:gd name="connsiteX8518" fmla="*/ 3012852 w 3359086"/>
                <a:gd name="connsiteY8518" fmla="*/ 2549081 h 3355086"/>
                <a:gd name="connsiteX8519" fmla="*/ 430910 w 3359086"/>
                <a:gd name="connsiteY8519" fmla="*/ 2548319 h 3355086"/>
                <a:gd name="connsiteX8520" fmla="*/ 437101 w 3359086"/>
                <a:gd name="connsiteY8520" fmla="*/ 2554510 h 3355086"/>
                <a:gd name="connsiteX8521" fmla="*/ 430910 w 3359086"/>
                <a:gd name="connsiteY8521" fmla="*/ 2560701 h 3355086"/>
                <a:gd name="connsiteX8522" fmla="*/ 424719 w 3359086"/>
                <a:gd name="connsiteY8522" fmla="*/ 2554510 h 3355086"/>
                <a:gd name="connsiteX8523" fmla="*/ 430910 w 3359086"/>
                <a:gd name="connsiteY8523" fmla="*/ 2548319 h 3355086"/>
                <a:gd name="connsiteX8524" fmla="*/ 2103881 w 3359086"/>
                <a:gd name="connsiteY8524" fmla="*/ 2547366 h 3355086"/>
                <a:gd name="connsiteX8525" fmla="*/ 2110073 w 3359086"/>
                <a:gd name="connsiteY8525" fmla="*/ 2553557 h 3355086"/>
                <a:gd name="connsiteX8526" fmla="*/ 2103881 w 3359086"/>
                <a:gd name="connsiteY8526" fmla="*/ 2559749 h 3355086"/>
                <a:gd name="connsiteX8527" fmla="*/ 2097690 w 3359086"/>
                <a:gd name="connsiteY8527" fmla="*/ 2553557 h 3355086"/>
                <a:gd name="connsiteX8528" fmla="*/ 2103881 w 3359086"/>
                <a:gd name="connsiteY8528" fmla="*/ 2547366 h 3355086"/>
                <a:gd name="connsiteX8529" fmla="*/ 634269 w 3359086"/>
                <a:gd name="connsiteY8529" fmla="*/ 2546985 h 3355086"/>
                <a:gd name="connsiteX8530" fmla="*/ 640460 w 3359086"/>
                <a:gd name="connsiteY8530" fmla="*/ 2553176 h 3355086"/>
                <a:gd name="connsiteX8531" fmla="*/ 634269 w 3359086"/>
                <a:gd name="connsiteY8531" fmla="*/ 2559367 h 3355086"/>
                <a:gd name="connsiteX8532" fmla="*/ 628078 w 3359086"/>
                <a:gd name="connsiteY8532" fmla="*/ 2553176 h 3355086"/>
                <a:gd name="connsiteX8533" fmla="*/ 634269 w 3359086"/>
                <a:gd name="connsiteY8533" fmla="*/ 2546985 h 3355086"/>
                <a:gd name="connsiteX8534" fmla="*/ 3108578 w 3359086"/>
                <a:gd name="connsiteY8534" fmla="*/ 2546795 h 3355086"/>
                <a:gd name="connsiteX8535" fmla="*/ 3113055 w 3359086"/>
                <a:gd name="connsiteY8535" fmla="*/ 2551272 h 3355086"/>
                <a:gd name="connsiteX8536" fmla="*/ 3108578 w 3359086"/>
                <a:gd name="connsiteY8536" fmla="*/ 2555749 h 3355086"/>
                <a:gd name="connsiteX8537" fmla="*/ 3104102 w 3359086"/>
                <a:gd name="connsiteY8537" fmla="*/ 2551272 h 3355086"/>
                <a:gd name="connsiteX8538" fmla="*/ 3108578 w 3359086"/>
                <a:gd name="connsiteY8538" fmla="*/ 2546795 h 3355086"/>
                <a:gd name="connsiteX8539" fmla="*/ 300513 w 3359086"/>
                <a:gd name="connsiteY8539" fmla="*/ 2545366 h 3355086"/>
                <a:gd name="connsiteX8540" fmla="*/ 306705 w 3359086"/>
                <a:gd name="connsiteY8540" fmla="*/ 2551557 h 3355086"/>
                <a:gd name="connsiteX8541" fmla="*/ 300513 w 3359086"/>
                <a:gd name="connsiteY8541" fmla="*/ 2557748 h 3355086"/>
                <a:gd name="connsiteX8542" fmla="*/ 300465 w 3359086"/>
                <a:gd name="connsiteY8542" fmla="*/ 2557701 h 3355086"/>
                <a:gd name="connsiteX8543" fmla="*/ 296608 w 3359086"/>
                <a:gd name="connsiteY8543" fmla="*/ 2561558 h 3355086"/>
                <a:gd name="connsiteX8544" fmla="*/ 296703 w 3359086"/>
                <a:gd name="connsiteY8544" fmla="*/ 2561653 h 3355086"/>
                <a:gd name="connsiteX8545" fmla="*/ 293226 w 3359086"/>
                <a:gd name="connsiteY8545" fmla="*/ 2565130 h 3355086"/>
                <a:gd name="connsiteX8546" fmla="*/ 293464 w 3359086"/>
                <a:gd name="connsiteY8546" fmla="*/ 2565368 h 3355086"/>
                <a:gd name="connsiteX8547" fmla="*/ 290178 w 3359086"/>
                <a:gd name="connsiteY8547" fmla="*/ 2568654 h 3355086"/>
                <a:gd name="connsiteX8548" fmla="*/ 290321 w 3359086"/>
                <a:gd name="connsiteY8548" fmla="*/ 2568797 h 3355086"/>
                <a:gd name="connsiteX8549" fmla="*/ 286797 w 3359086"/>
                <a:gd name="connsiteY8549" fmla="*/ 2572321 h 3355086"/>
                <a:gd name="connsiteX8550" fmla="*/ 286798 w 3359086"/>
                <a:gd name="connsiteY8550" fmla="*/ 2572321 h 3355086"/>
                <a:gd name="connsiteX8551" fmla="*/ 280606 w 3359086"/>
                <a:gd name="connsiteY8551" fmla="*/ 2578513 h 3355086"/>
                <a:gd name="connsiteX8552" fmla="*/ 280415 w 3359086"/>
                <a:gd name="connsiteY8552" fmla="*/ 2578322 h 3355086"/>
                <a:gd name="connsiteX8553" fmla="*/ 276129 w 3359086"/>
                <a:gd name="connsiteY8553" fmla="*/ 2582609 h 3355086"/>
                <a:gd name="connsiteX8554" fmla="*/ 275033 w 3359086"/>
                <a:gd name="connsiteY8554" fmla="*/ 2581514 h 3355086"/>
                <a:gd name="connsiteX8555" fmla="*/ 270319 w 3359086"/>
                <a:gd name="connsiteY8555" fmla="*/ 2586228 h 3355086"/>
                <a:gd name="connsiteX8556" fmla="*/ 265271 w 3359086"/>
                <a:gd name="connsiteY8556" fmla="*/ 2581180 h 3355086"/>
                <a:gd name="connsiteX8557" fmla="*/ 269986 w 3359086"/>
                <a:gd name="connsiteY8557" fmla="*/ 2576465 h 3355086"/>
                <a:gd name="connsiteX8558" fmla="*/ 269938 w 3359086"/>
                <a:gd name="connsiteY8558" fmla="*/ 2576417 h 3355086"/>
                <a:gd name="connsiteX8559" fmla="*/ 276129 w 3359086"/>
                <a:gd name="connsiteY8559" fmla="*/ 2570226 h 3355086"/>
                <a:gd name="connsiteX8560" fmla="*/ 276319 w 3359086"/>
                <a:gd name="connsiteY8560" fmla="*/ 2570417 h 3355086"/>
                <a:gd name="connsiteX8561" fmla="*/ 277939 w 3359086"/>
                <a:gd name="connsiteY8561" fmla="*/ 2568797 h 3355086"/>
                <a:gd name="connsiteX8562" fmla="*/ 281225 w 3359086"/>
                <a:gd name="connsiteY8562" fmla="*/ 2565511 h 3355086"/>
                <a:gd name="connsiteX8563" fmla="*/ 281082 w 3359086"/>
                <a:gd name="connsiteY8563" fmla="*/ 2565368 h 3355086"/>
                <a:gd name="connsiteX8564" fmla="*/ 284559 w 3359086"/>
                <a:gd name="connsiteY8564" fmla="*/ 2561891 h 3355086"/>
                <a:gd name="connsiteX8565" fmla="*/ 284321 w 3359086"/>
                <a:gd name="connsiteY8565" fmla="*/ 2561653 h 3355086"/>
                <a:gd name="connsiteX8566" fmla="*/ 288607 w 3359086"/>
                <a:gd name="connsiteY8566" fmla="*/ 2557367 h 3355086"/>
                <a:gd name="connsiteX8567" fmla="*/ 288512 w 3359086"/>
                <a:gd name="connsiteY8567" fmla="*/ 2557272 h 3355086"/>
                <a:gd name="connsiteX8568" fmla="*/ 294703 w 3359086"/>
                <a:gd name="connsiteY8568" fmla="*/ 2551081 h 3355086"/>
                <a:gd name="connsiteX8569" fmla="*/ 294750 w 3359086"/>
                <a:gd name="connsiteY8569" fmla="*/ 2551129 h 3355086"/>
                <a:gd name="connsiteX8570" fmla="*/ 2510313 w 3359086"/>
                <a:gd name="connsiteY8570" fmla="*/ 2542889 h 3355086"/>
                <a:gd name="connsiteX8571" fmla="*/ 2516505 w 3359086"/>
                <a:gd name="connsiteY8571" fmla="*/ 2549080 h 3355086"/>
                <a:gd name="connsiteX8572" fmla="*/ 2510313 w 3359086"/>
                <a:gd name="connsiteY8572" fmla="*/ 2555272 h 3355086"/>
                <a:gd name="connsiteX8573" fmla="*/ 2504122 w 3359086"/>
                <a:gd name="connsiteY8573" fmla="*/ 2549080 h 3355086"/>
                <a:gd name="connsiteX8574" fmla="*/ 2510313 w 3359086"/>
                <a:gd name="connsiteY8574" fmla="*/ 2542889 h 3355086"/>
                <a:gd name="connsiteX8575" fmla="*/ 1178337 w 3359086"/>
                <a:gd name="connsiteY8575" fmla="*/ 2540222 h 3355086"/>
                <a:gd name="connsiteX8576" fmla="*/ 1184529 w 3359086"/>
                <a:gd name="connsiteY8576" fmla="*/ 2546413 h 3355086"/>
                <a:gd name="connsiteX8577" fmla="*/ 1178337 w 3359086"/>
                <a:gd name="connsiteY8577" fmla="*/ 2552605 h 3355086"/>
                <a:gd name="connsiteX8578" fmla="*/ 1172146 w 3359086"/>
                <a:gd name="connsiteY8578" fmla="*/ 2546413 h 3355086"/>
                <a:gd name="connsiteX8579" fmla="*/ 1178337 w 3359086"/>
                <a:gd name="connsiteY8579" fmla="*/ 2540222 h 3355086"/>
                <a:gd name="connsiteX8580" fmla="*/ 366617 w 3359086"/>
                <a:gd name="connsiteY8580" fmla="*/ 2539937 h 3355086"/>
                <a:gd name="connsiteX8581" fmla="*/ 372808 w 3359086"/>
                <a:gd name="connsiteY8581" fmla="*/ 2546128 h 3355086"/>
                <a:gd name="connsiteX8582" fmla="*/ 366617 w 3359086"/>
                <a:gd name="connsiteY8582" fmla="*/ 2552320 h 3355086"/>
                <a:gd name="connsiteX8583" fmla="*/ 360426 w 3359086"/>
                <a:gd name="connsiteY8583" fmla="*/ 2546128 h 3355086"/>
                <a:gd name="connsiteX8584" fmla="*/ 366617 w 3359086"/>
                <a:gd name="connsiteY8584" fmla="*/ 2539937 h 3355086"/>
                <a:gd name="connsiteX8585" fmla="*/ 2999803 w 3359086"/>
                <a:gd name="connsiteY8585" fmla="*/ 2539461 h 3355086"/>
                <a:gd name="connsiteX8586" fmla="*/ 3005994 w 3359086"/>
                <a:gd name="connsiteY8586" fmla="*/ 2545652 h 3355086"/>
                <a:gd name="connsiteX8587" fmla="*/ 2999803 w 3359086"/>
                <a:gd name="connsiteY8587" fmla="*/ 2551843 h 3355086"/>
                <a:gd name="connsiteX8588" fmla="*/ 2993612 w 3359086"/>
                <a:gd name="connsiteY8588" fmla="*/ 2545652 h 3355086"/>
                <a:gd name="connsiteX8589" fmla="*/ 2999803 w 3359086"/>
                <a:gd name="connsiteY8589" fmla="*/ 2539461 h 3355086"/>
                <a:gd name="connsiteX8590" fmla="*/ 3124104 w 3359086"/>
                <a:gd name="connsiteY8590" fmla="*/ 2538318 h 3355086"/>
                <a:gd name="connsiteX8591" fmla="*/ 3124199 w 3359086"/>
                <a:gd name="connsiteY8591" fmla="*/ 2538318 h 3355086"/>
                <a:gd name="connsiteX8592" fmla="*/ 3124199 w 3359086"/>
                <a:gd name="connsiteY8592" fmla="*/ 2538413 h 3355086"/>
                <a:gd name="connsiteX8593" fmla="*/ 308705 w 3359086"/>
                <a:gd name="connsiteY8593" fmla="*/ 2537937 h 3355086"/>
                <a:gd name="connsiteX8594" fmla="*/ 314897 w 3359086"/>
                <a:gd name="connsiteY8594" fmla="*/ 2544128 h 3355086"/>
                <a:gd name="connsiteX8595" fmla="*/ 308705 w 3359086"/>
                <a:gd name="connsiteY8595" fmla="*/ 2550319 h 3355086"/>
                <a:gd name="connsiteX8596" fmla="*/ 302514 w 3359086"/>
                <a:gd name="connsiteY8596" fmla="*/ 2544128 h 3355086"/>
                <a:gd name="connsiteX8597" fmla="*/ 308705 w 3359086"/>
                <a:gd name="connsiteY8597" fmla="*/ 2537937 h 3355086"/>
                <a:gd name="connsiteX8598" fmla="*/ 2840354 w 3359086"/>
                <a:gd name="connsiteY8598" fmla="*/ 2537841 h 3355086"/>
                <a:gd name="connsiteX8599" fmla="*/ 2846546 w 3359086"/>
                <a:gd name="connsiteY8599" fmla="*/ 2544032 h 3355086"/>
                <a:gd name="connsiteX8600" fmla="*/ 2840354 w 3359086"/>
                <a:gd name="connsiteY8600" fmla="*/ 2550224 h 3355086"/>
                <a:gd name="connsiteX8601" fmla="*/ 2834163 w 3359086"/>
                <a:gd name="connsiteY8601" fmla="*/ 2544032 h 3355086"/>
                <a:gd name="connsiteX8602" fmla="*/ 2840354 w 3359086"/>
                <a:gd name="connsiteY8602" fmla="*/ 2537841 h 3355086"/>
                <a:gd name="connsiteX8603" fmla="*/ 3099720 w 3359086"/>
                <a:gd name="connsiteY8603" fmla="*/ 2536222 h 3355086"/>
                <a:gd name="connsiteX8604" fmla="*/ 3105911 w 3359086"/>
                <a:gd name="connsiteY8604" fmla="*/ 2542413 h 3355086"/>
                <a:gd name="connsiteX8605" fmla="*/ 3099720 w 3359086"/>
                <a:gd name="connsiteY8605" fmla="*/ 2548604 h 3355086"/>
                <a:gd name="connsiteX8606" fmla="*/ 3093529 w 3359086"/>
                <a:gd name="connsiteY8606" fmla="*/ 2542413 h 3355086"/>
                <a:gd name="connsiteX8607" fmla="*/ 3099720 w 3359086"/>
                <a:gd name="connsiteY8607" fmla="*/ 2536222 h 3355086"/>
                <a:gd name="connsiteX8608" fmla="*/ 2922269 w 3359086"/>
                <a:gd name="connsiteY8608" fmla="*/ 2534698 h 3355086"/>
                <a:gd name="connsiteX8609" fmla="*/ 2928461 w 3359086"/>
                <a:gd name="connsiteY8609" fmla="*/ 2540889 h 3355086"/>
                <a:gd name="connsiteX8610" fmla="*/ 2922269 w 3359086"/>
                <a:gd name="connsiteY8610" fmla="*/ 2547080 h 3355086"/>
                <a:gd name="connsiteX8611" fmla="*/ 2916078 w 3359086"/>
                <a:gd name="connsiteY8611" fmla="*/ 2540889 h 3355086"/>
                <a:gd name="connsiteX8612" fmla="*/ 2922269 w 3359086"/>
                <a:gd name="connsiteY8612" fmla="*/ 2534698 h 3355086"/>
                <a:gd name="connsiteX8613" fmla="*/ 2730817 w 3359086"/>
                <a:gd name="connsiteY8613" fmla="*/ 2533746 h 3355086"/>
                <a:gd name="connsiteX8614" fmla="*/ 2737009 w 3359086"/>
                <a:gd name="connsiteY8614" fmla="*/ 2539937 h 3355086"/>
                <a:gd name="connsiteX8615" fmla="*/ 2730817 w 3359086"/>
                <a:gd name="connsiteY8615" fmla="*/ 2546128 h 3355086"/>
                <a:gd name="connsiteX8616" fmla="*/ 2724626 w 3359086"/>
                <a:gd name="connsiteY8616" fmla="*/ 2539937 h 3355086"/>
                <a:gd name="connsiteX8617" fmla="*/ 2730817 w 3359086"/>
                <a:gd name="connsiteY8617" fmla="*/ 2533746 h 3355086"/>
                <a:gd name="connsiteX8618" fmla="*/ 3042189 w 3359086"/>
                <a:gd name="connsiteY8618" fmla="*/ 2532984 h 3355086"/>
                <a:gd name="connsiteX8619" fmla="*/ 3048381 w 3359086"/>
                <a:gd name="connsiteY8619" fmla="*/ 2539175 h 3355086"/>
                <a:gd name="connsiteX8620" fmla="*/ 3047762 w 3359086"/>
                <a:gd name="connsiteY8620" fmla="*/ 2539794 h 3355086"/>
                <a:gd name="connsiteX8621" fmla="*/ 3053238 w 3359086"/>
                <a:gd name="connsiteY8621" fmla="*/ 2545270 h 3355086"/>
                <a:gd name="connsiteX8622" fmla="*/ 3052524 w 3359086"/>
                <a:gd name="connsiteY8622" fmla="*/ 2545985 h 3355086"/>
                <a:gd name="connsiteX8623" fmla="*/ 3056668 w 3359086"/>
                <a:gd name="connsiteY8623" fmla="*/ 2550128 h 3355086"/>
                <a:gd name="connsiteX8624" fmla="*/ 3056000 w 3359086"/>
                <a:gd name="connsiteY8624" fmla="*/ 2550796 h 3355086"/>
                <a:gd name="connsiteX8625" fmla="*/ 3059524 w 3359086"/>
                <a:gd name="connsiteY8625" fmla="*/ 2554319 h 3355086"/>
                <a:gd name="connsiteX8626" fmla="*/ 3058953 w 3359086"/>
                <a:gd name="connsiteY8626" fmla="*/ 2554891 h 3355086"/>
                <a:gd name="connsiteX8627" fmla="*/ 3062383 w 3359086"/>
                <a:gd name="connsiteY8627" fmla="*/ 2558320 h 3355086"/>
                <a:gd name="connsiteX8628" fmla="*/ 3061954 w 3359086"/>
                <a:gd name="connsiteY8628" fmla="*/ 2558750 h 3355086"/>
                <a:gd name="connsiteX8629" fmla="*/ 3065715 w 3359086"/>
                <a:gd name="connsiteY8629" fmla="*/ 2562511 h 3355086"/>
                <a:gd name="connsiteX8630" fmla="*/ 3065620 w 3359086"/>
                <a:gd name="connsiteY8630" fmla="*/ 2562606 h 3355086"/>
                <a:gd name="connsiteX8631" fmla="*/ 3069669 w 3359086"/>
                <a:gd name="connsiteY8631" fmla="*/ 2566655 h 3355086"/>
                <a:gd name="connsiteX8632" fmla="*/ 3069907 w 3359086"/>
                <a:gd name="connsiteY8632" fmla="*/ 2566416 h 3355086"/>
                <a:gd name="connsiteX8633" fmla="*/ 3076099 w 3359086"/>
                <a:gd name="connsiteY8633" fmla="*/ 2572607 h 3355086"/>
                <a:gd name="connsiteX8634" fmla="*/ 3069907 w 3359086"/>
                <a:gd name="connsiteY8634" fmla="*/ 2578799 h 3355086"/>
                <a:gd name="connsiteX8635" fmla="*/ 3064240 w 3359086"/>
                <a:gd name="connsiteY8635" fmla="*/ 2573131 h 3355086"/>
                <a:gd name="connsiteX8636" fmla="*/ 3064001 w 3359086"/>
                <a:gd name="connsiteY8636" fmla="*/ 2573370 h 3355086"/>
                <a:gd name="connsiteX8637" fmla="*/ 3057810 w 3359086"/>
                <a:gd name="connsiteY8637" fmla="*/ 2567178 h 3355086"/>
                <a:gd name="connsiteX8638" fmla="*/ 3057905 w 3359086"/>
                <a:gd name="connsiteY8638" fmla="*/ 2567084 h 3355086"/>
                <a:gd name="connsiteX8639" fmla="*/ 3053333 w 3359086"/>
                <a:gd name="connsiteY8639" fmla="*/ 2562511 h 3355086"/>
                <a:gd name="connsiteX8640" fmla="*/ 3053762 w 3359086"/>
                <a:gd name="connsiteY8640" fmla="*/ 2562083 h 3355086"/>
                <a:gd name="connsiteX8641" fmla="*/ 3050000 w 3359086"/>
                <a:gd name="connsiteY8641" fmla="*/ 2558320 h 3355086"/>
                <a:gd name="connsiteX8642" fmla="*/ 3050572 w 3359086"/>
                <a:gd name="connsiteY8642" fmla="*/ 2557749 h 3355086"/>
                <a:gd name="connsiteX8643" fmla="*/ 3047142 w 3359086"/>
                <a:gd name="connsiteY8643" fmla="*/ 2554319 h 3355086"/>
                <a:gd name="connsiteX8644" fmla="*/ 3047809 w 3359086"/>
                <a:gd name="connsiteY8644" fmla="*/ 2553652 h 3355086"/>
                <a:gd name="connsiteX8645" fmla="*/ 3044285 w 3359086"/>
                <a:gd name="connsiteY8645" fmla="*/ 2550128 h 3355086"/>
                <a:gd name="connsiteX8646" fmla="*/ 3044999 w 3359086"/>
                <a:gd name="connsiteY8646" fmla="*/ 2549414 h 3355086"/>
                <a:gd name="connsiteX8647" fmla="*/ 3040856 w 3359086"/>
                <a:gd name="connsiteY8647" fmla="*/ 2545270 h 3355086"/>
                <a:gd name="connsiteX8648" fmla="*/ 3041474 w 3359086"/>
                <a:gd name="connsiteY8648" fmla="*/ 2544652 h 3355086"/>
                <a:gd name="connsiteX8649" fmla="*/ 3035998 w 3359086"/>
                <a:gd name="connsiteY8649" fmla="*/ 2539175 h 3355086"/>
                <a:gd name="connsiteX8650" fmla="*/ 3042189 w 3359086"/>
                <a:gd name="connsiteY8650" fmla="*/ 2532984 h 3355086"/>
                <a:gd name="connsiteX8651" fmla="*/ 785240 w 3359086"/>
                <a:gd name="connsiteY8651" fmla="*/ 2532317 h 3355086"/>
                <a:gd name="connsiteX8652" fmla="*/ 791431 w 3359086"/>
                <a:gd name="connsiteY8652" fmla="*/ 2538508 h 3355086"/>
                <a:gd name="connsiteX8653" fmla="*/ 785240 w 3359086"/>
                <a:gd name="connsiteY8653" fmla="*/ 2544699 h 3355086"/>
                <a:gd name="connsiteX8654" fmla="*/ 779049 w 3359086"/>
                <a:gd name="connsiteY8654" fmla="*/ 2538508 h 3355086"/>
                <a:gd name="connsiteX8655" fmla="*/ 785240 w 3359086"/>
                <a:gd name="connsiteY8655" fmla="*/ 2532317 h 3355086"/>
                <a:gd name="connsiteX8656" fmla="*/ 2209990 w 3359086"/>
                <a:gd name="connsiteY8656" fmla="*/ 2531269 h 3355086"/>
                <a:gd name="connsiteX8657" fmla="*/ 2216182 w 3359086"/>
                <a:gd name="connsiteY8657" fmla="*/ 2537460 h 3355086"/>
                <a:gd name="connsiteX8658" fmla="*/ 2209990 w 3359086"/>
                <a:gd name="connsiteY8658" fmla="*/ 2543652 h 3355086"/>
                <a:gd name="connsiteX8659" fmla="*/ 2203799 w 3359086"/>
                <a:gd name="connsiteY8659" fmla="*/ 2537460 h 3355086"/>
                <a:gd name="connsiteX8660" fmla="*/ 2209990 w 3359086"/>
                <a:gd name="connsiteY8660" fmla="*/ 2531269 h 3355086"/>
                <a:gd name="connsiteX8661" fmla="*/ 320325 w 3359086"/>
                <a:gd name="connsiteY8661" fmla="*/ 2528030 h 3355086"/>
                <a:gd name="connsiteX8662" fmla="*/ 326516 w 3359086"/>
                <a:gd name="connsiteY8662" fmla="*/ 2534221 h 3355086"/>
                <a:gd name="connsiteX8663" fmla="*/ 320325 w 3359086"/>
                <a:gd name="connsiteY8663" fmla="*/ 2540413 h 3355086"/>
                <a:gd name="connsiteX8664" fmla="*/ 314134 w 3359086"/>
                <a:gd name="connsiteY8664" fmla="*/ 2534221 h 3355086"/>
                <a:gd name="connsiteX8665" fmla="*/ 320325 w 3359086"/>
                <a:gd name="connsiteY8665" fmla="*/ 2528030 h 3355086"/>
                <a:gd name="connsiteX8666" fmla="*/ 232696 w 3359086"/>
                <a:gd name="connsiteY8666" fmla="*/ 2527364 h 3355086"/>
                <a:gd name="connsiteX8667" fmla="*/ 232886 w 3359086"/>
                <a:gd name="connsiteY8667" fmla="*/ 2527555 h 3355086"/>
                <a:gd name="connsiteX8668" fmla="*/ 232696 w 3359086"/>
                <a:gd name="connsiteY8668" fmla="*/ 2527745 h 3355086"/>
                <a:gd name="connsiteX8669" fmla="*/ 232505 w 3359086"/>
                <a:gd name="connsiteY8669" fmla="*/ 2527555 h 3355086"/>
                <a:gd name="connsiteX8670" fmla="*/ 232696 w 3359086"/>
                <a:gd name="connsiteY8670" fmla="*/ 2527364 h 3355086"/>
                <a:gd name="connsiteX8671" fmla="*/ 2982182 w 3359086"/>
                <a:gd name="connsiteY8671" fmla="*/ 2526506 h 3355086"/>
                <a:gd name="connsiteX8672" fmla="*/ 2988373 w 3359086"/>
                <a:gd name="connsiteY8672" fmla="*/ 2532697 h 3355086"/>
                <a:gd name="connsiteX8673" fmla="*/ 2982182 w 3359086"/>
                <a:gd name="connsiteY8673" fmla="*/ 2538889 h 3355086"/>
                <a:gd name="connsiteX8674" fmla="*/ 2975991 w 3359086"/>
                <a:gd name="connsiteY8674" fmla="*/ 2532697 h 3355086"/>
                <a:gd name="connsiteX8675" fmla="*/ 2982182 w 3359086"/>
                <a:gd name="connsiteY8675" fmla="*/ 2526506 h 3355086"/>
                <a:gd name="connsiteX8676" fmla="*/ 469963 w 3359086"/>
                <a:gd name="connsiteY8676" fmla="*/ 2526030 h 3355086"/>
                <a:gd name="connsiteX8677" fmla="*/ 476155 w 3359086"/>
                <a:gd name="connsiteY8677" fmla="*/ 2532221 h 3355086"/>
                <a:gd name="connsiteX8678" fmla="*/ 469963 w 3359086"/>
                <a:gd name="connsiteY8678" fmla="*/ 2538412 h 3355086"/>
                <a:gd name="connsiteX8679" fmla="*/ 463772 w 3359086"/>
                <a:gd name="connsiteY8679" fmla="*/ 2532221 h 3355086"/>
                <a:gd name="connsiteX8680" fmla="*/ 469963 w 3359086"/>
                <a:gd name="connsiteY8680" fmla="*/ 2526030 h 3355086"/>
                <a:gd name="connsiteX8681" fmla="*/ 3035141 w 3359086"/>
                <a:gd name="connsiteY8681" fmla="*/ 2525268 h 3355086"/>
                <a:gd name="connsiteX8682" fmla="*/ 3041332 w 3359086"/>
                <a:gd name="connsiteY8682" fmla="*/ 2531459 h 3355086"/>
                <a:gd name="connsiteX8683" fmla="*/ 3035141 w 3359086"/>
                <a:gd name="connsiteY8683" fmla="*/ 2537651 h 3355086"/>
                <a:gd name="connsiteX8684" fmla="*/ 3028950 w 3359086"/>
                <a:gd name="connsiteY8684" fmla="*/ 2531459 h 3355086"/>
                <a:gd name="connsiteX8685" fmla="*/ 3035141 w 3359086"/>
                <a:gd name="connsiteY8685" fmla="*/ 2525268 h 3355086"/>
                <a:gd name="connsiteX8686" fmla="*/ 1074895 w 3359086"/>
                <a:gd name="connsiteY8686" fmla="*/ 2523078 h 3355086"/>
                <a:gd name="connsiteX8687" fmla="*/ 1081087 w 3359086"/>
                <a:gd name="connsiteY8687" fmla="*/ 2529269 h 3355086"/>
                <a:gd name="connsiteX8688" fmla="*/ 1074895 w 3359086"/>
                <a:gd name="connsiteY8688" fmla="*/ 2535460 h 3355086"/>
                <a:gd name="connsiteX8689" fmla="*/ 1068704 w 3359086"/>
                <a:gd name="connsiteY8689" fmla="*/ 2529269 h 3355086"/>
                <a:gd name="connsiteX8690" fmla="*/ 1074895 w 3359086"/>
                <a:gd name="connsiteY8690" fmla="*/ 2523078 h 3355086"/>
                <a:gd name="connsiteX8691" fmla="*/ 392620 w 3359086"/>
                <a:gd name="connsiteY8691" fmla="*/ 2522982 h 3355086"/>
                <a:gd name="connsiteX8692" fmla="*/ 398811 w 3359086"/>
                <a:gd name="connsiteY8692" fmla="*/ 2529173 h 3355086"/>
                <a:gd name="connsiteX8693" fmla="*/ 392620 w 3359086"/>
                <a:gd name="connsiteY8693" fmla="*/ 2535365 h 3355086"/>
                <a:gd name="connsiteX8694" fmla="*/ 386429 w 3359086"/>
                <a:gd name="connsiteY8694" fmla="*/ 2529173 h 3355086"/>
                <a:gd name="connsiteX8695" fmla="*/ 392620 w 3359086"/>
                <a:gd name="connsiteY8695" fmla="*/ 2522982 h 3355086"/>
                <a:gd name="connsiteX8696" fmla="*/ 281273 w 3359086"/>
                <a:gd name="connsiteY8696" fmla="*/ 2522411 h 3355086"/>
                <a:gd name="connsiteX8697" fmla="*/ 287465 w 3359086"/>
                <a:gd name="connsiteY8697" fmla="*/ 2528602 h 3355086"/>
                <a:gd name="connsiteX8698" fmla="*/ 282177 w 3359086"/>
                <a:gd name="connsiteY8698" fmla="*/ 2533889 h 3355086"/>
                <a:gd name="connsiteX8699" fmla="*/ 283368 w 3359086"/>
                <a:gd name="connsiteY8699" fmla="*/ 2535079 h 3355086"/>
                <a:gd name="connsiteX8700" fmla="*/ 279320 w 3359086"/>
                <a:gd name="connsiteY8700" fmla="*/ 2539128 h 3355086"/>
                <a:gd name="connsiteX8701" fmla="*/ 280511 w 3359086"/>
                <a:gd name="connsiteY8701" fmla="*/ 2540318 h 3355086"/>
                <a:gd name="connsiteX8702" fmla="*/ 276939 w 3359086"/>
                <a:gd name="connsiteY8702" fmla="*/ 2543890 h 3355086"/>
                <a:gd name="connsiteX8703" fmla="*/ 278035 w 3359086"/>
                <a:gd name="connsiteY8703" fmla="*/ 2544985 h 3355086"/>
                <a:gd name="connsiteX8704" fmla="*/ 274462 w 3359086"/>
                <a:gd name="connsiteY8704" fmla="*/ 2548557 h 3355086"/>
                <a:gd name="connsiteX8705" fmla="*/ 275367 w 3359086"/>
                <a:gd name="connsiteY8705" fmla="*/ 2549462 h 3355086"/>
                <a:gd name="connsiteX8706" fmla="*/ 271366 w 3359086"/>
                <a:gd name="connsiteY8706" fmla="*/ 2553463 h 3355086"/>
                <a:gd name="connsiteX8707" fmla="*/ 272033 w 3359086"/>
                <a:gd name="connsiteY8707" fmla="*/ 2554129 h 3355086"/>
                <a:gd name="connsiteX8708" fmla="*/ 267175 w 3359086"/>
                <a:gd name="connsiteY8708" fmla="*/ 2558988 h 3355086"/>
                <a:gd name="connsiteX8709" fmla="*/ 267556 w 3359086"/>
                <a:gd name="connsiteY8709" fmla="*/ 2559368 h 3355086"/>
                <a:gd name="connsiteX8710" fmla="*/ 261365 w 3359086"/>
                <a:gd name="connsiteY8710" fmla="*/ 2565559 h 3355086"/>
                <a:gd name="connsiteX8711" fmla="*/ 255174 w 3359086"/>
                <a:gd name="connsiteY8711" fmla="*/ 2559368 h 3355086"/>
                <a:gd name="connsiteX8712" fmla="*/ 260032 w 3359086"/>
                <a:gd name="connsiteY8712" fmla="*/ 2554510 h 3355086"/>
                <a:gd name="connsiteX8713" fmla="*/ 259651 w 3359086"/>
                <a:gd name="connsiteY8713" fmla="*/ 2554129 h 3355086"/>
                <a:gd name="connsiteX8714" fmla="*/ 263651 w 3359086"/>
                <a:gd name="connsiteY8714" fmla="*/ 2550129 h 3355086"/>
                <a:gd name="connsiteX8715" fmla="*/ 262985 w 3359086"/>
                <a:gd name="connsiteY8715" fmla="*/ 2549462 h 3355086"/>
                <a:gd name="connsiteX8716" fmla="*/ 266557 w 3359086"/>
                <a:gd name="connsiteY8716" fmla="*/ 2545890 h 3355086"/>
                <a:gd name="connsiteX8717" fmla="*/ 265652 w 3359086"/>
                <a:gd name="connsiteY8717" fmla="*/ 2544985 h 3355086"/>
                <a:gd name="connsiteX8718" fmla="*/ 269223 w 3359086"/>
                <a:gd name="connsiteY8718" fmla="*/ 2541414 h 3355086"/>
                <a:gd name="connsiteX8719" fmla="*/ 268128 w 3359086"/>
                <a:gd name="connsiteY8719" fmla="*/ 2540318 h 3355086"/>
                <a:gd name="connsiteX8720" fmla="*/ 272176 w 3359086"/>
                <a:gd name="connsiteY8720" fmla="*/ 2536270 h 3355086"/>
                <a:gd name="connsiteX8721" fmla="*/ 270986 w 3359086"/>
                <a:gd name="connsiteY8721" fmla="*/ 2535079 h 3355086"/>
                <a:gd name="connsiteX8722" fmla="*/ 276272 w 3359086"/>
                <a:gd name="connsiteY8722" fmla="*/ 2529793 h 3355086"/>
                <a:gd name="connsiteX8723" fmla="*/ 275082 w 3359086"/>
                <a:gd name="connsiteY8723" fmla="*/ 2528602 h 3355086"/>
                <a:gd name="connsiteX8724" fmla="*/ 281273 w 3359086"/>
                <a:gd name="connsiteY8724" fmla="*/ 2522411 h 3355086"/>
                <a:gd name="connsiteX8725" fmla="*/ 3114484 w 3359086"/>
                <a:gd name="connsiteY8725" fmla="*/ 2522220 h 3355086"/>
                <a:gd name="connsiteX8726" fmla="*/ 3120676 w 3359086"/>
                <a:gd name="connsiteY8726" fmla="*/ 2528411 h 3355086"/>
                <a:gd name="connsiteX8727" fmla="*/ 3114484 w 3359086"/>
                <a:gd name="connsiteY8727" fmla="*/ 2534602 h 3355086"/>
                <a:gd name="connsiteX8728" fmla="*/ 3108293 w 3359086"/>
                <a:gd name="connsiteY8728" fmla="*/ 2528411 h 3355086"/>
                <a:gd name="connsiteX8729" fmla="*/ 3114484 w 3359086"/>
                <a:gd name="connsiteY8729" fmla="*/ 2522220 h 3355086"/>
                <a:gd name="connsiteX8730" fmla="*/ 573976 w 3359086"/>
                <a:gd name="connsiteY8730" fmla="*/ 2522220 h 3355086"/>
                <a:gd name="connsiteX8731" fmla="*/ 580167 w 3359086"/>
                <a:gd name="connsiteY8731" fmla="*/ 2528411 h 3355086"/>
                <a:gd name="connsiteX8732" fmla="*/ 573976 w 3359086"/>
                <a:gd name="connsiteY8732" fmla="*/ 2534602 h 3355086"/>
                <a:gd name="connsiteX8733" fmla="*/ 567785 w 3359086"/>
                <a:gd name="connsiteY8733" fmla="*/ 2528411 h 3355086"/>
                <a:gd name="connsiteX8734" fmla="*/ 573976 w 3359086"/>
                <a:gd name="connsiteY8734" fmla="*/ 2522220 h 3355086"/>
                <a:gd name="connsiteX8735" fmla="*/ 2587561 w 3359086"/>
                <a:gd name="connsiteY8735" fmla="*/ 2519934 h 3355086"/>
                <a:gd name="connsiteX8736" fmla="*/ 2593752 w 3359086"/>
                <a:gd name="connsiteY8736" fmla="*/ 2526125 h 3355086"/>
                <a:gd name="connsiteX8737" fmla="*/ 2587561 w 3359086"/>
                <a:gd name="connsiteY8737" fmla="*/ 2532317 h 3355086"/>
                <a:gd name="connsiteX8738" fmla="*/ 2581370 w 3359086"/>
                <a:gd name="connsiteY8738" fmla="*/ 2526125 h 3355086"/>
                <a:gd name="connsiteX8739" fmla="*/ 2587561 w 3359086"/>
                <a:gd name="connsiteY8739" fmla="*/ 2519934 h 3355086"/>
                <a:gd name="connsiteX8740" fmla="*/ 3025044 w 3359086"/>
                <a:gd name="connsiteY8740" fmla="*/ 2515172 h 3355086"/>
                <a:gd name="connsiteX8741" fmla="*/ 3031235 w 3359086"/>
                <a:gd name="connsiteY8741" fmla="*/ 2521363 h 3355086"/>
                <a:gd name="connsiteX8742" fmla="*/ 3025044 w 3359086"/>
                <a:gd name="connsiteY8742" fmla="*/ 2527555 h 3355086"/>
                <a:gd name="connsiteX8743" fmla="*/ 3018853 w 3359086"/>
                <a:gd name="connsiteY8743" fmla="*/ 2521363 h 3355086"/>
                <a:gd name="connsiteX8744" fmla="*/ 3025044 w 3359086"/>
                <a:gd name="connsiteY8744" fmla="*/ 2515172 h 3355086"/>
                <a:gd name="connsiteX8745" fmla="*/ 336327 w 3359086"/>
                <a:gd name="connsiteY8745" fmla="*/ 2514981 h 3355086"/>
                <a:gd name="connsiteX8746" fmla="*/ 342518 w 3359086"/>
                <a:gd name="connsiteY8746" fmla="*/ 2521172 h 3355086"/>
                <a:gd name="connsiteX8747" fmla="*/ 336327 w 3359086"/>
                <a:gd name="connsiteY8747" fmla="*/ 2527363 h 3355086"/>
                <a:gd name="connsiteX8748" fmla="*/ 330136 w 3359086"/>
                <a:gd name="connsiteY8748" fmla="*/ 2521172 h 3355086"/>
                <a:gd name="connsiteX8749" fmla="*/ 336327 w 3359086"/>
                <a:gd name="connsiteY8749" fmla="*/ 2514981 h 3355086"/>
                <a:gd name="connsiteX8750" fmla="*/ 287369 w 3359086"/>
                <a:gd name="connsiteY8750" fmla="*/ 2514410 h 3355086"/>
                <a:gd name="connsiteX8751" fmla="*/ 293560 w 3359086"/>
                <a:gd name="connsiteY8751" fmla="*/ 2520601 h 3355086"/>
                <a:gd name="connsiteX8752" fmla="*/ 287369 w 3359086"/>
                <a:gd name="connsiteY8752" fmla="*/ 2526792 h 3355086"/>
                <a:gd name="connsiteX8753" fmla="*/ 281178 w 3359086"/>
                <a:gd name="connsiteY8753" fmla="*/ 2520601 h 3355086"/>
                <a:gd name="connsiteX8754" fmla="*/ 287369 w 3359086"/>
                <a:gd name="connsiteY8754" fmla="*/ 2514410 h 3355086"/>
                <a:gd name="connsiteX8755" fmla="*/ 3107054 w 3359086"/>
                <a:gd name="connsiteY8755" fmla="*/ 2513362 h 3355086"/>
                <a:gd name="connsiteX8756" fmla="*/ 3113246 w 3359086"/>
                <a:gd name="connsiteY8756" fmla="*/ 2519553 h 3355086"/>
                <a:gd name="connsiteX8757" fmla="*/ 3107054 w 3359086"/>
                <a:gd name="connsiteY8757" fmla="*/ 2525745 h 3355086"/>
                <a:gd name="connsiteX8758" fmla="*/ 3100863 w 3359086"/>
                <a:gd name="connsiteY8758" fmla="*/ 2519553 h 3355086"/>
                <a:gd name="connsiteX8759" fmla="*/ 3107054 w 3359086"/>
                <a:gd name="connsiteY8759" fmla="*/ 2513362 h 3355086"/>
                <a:gd name="connsiteX8760" fmla="*/ 2310098 w 3359086"/>
                <a:gd name="connsiteY8760" fmla="*/ 2513076 h 3355086"/>
                <a:gd name="connsiteX8761" fmla="*/ 2316289 w 3359086"/>
                <a:gd name="connsiteY8761" fmla="*/ 2519267 h 3355086"/>
                <a:gd name="connsiteX8762" fmla="*/ 2310098 w 3359086"/>
                <a:gd name="connsiteY8762" fmla="*/ 2525459 h 3355086"/>
                <a:gd name="connsiteX8763" fmla="*/ 2303907 w 3359086"/>
                <a:gd name="connsiteY8763" fmla="*/ 2519267 h 3355086"/>
                <a:gd name="connsiteX8764" fmla="*/ 2310098 w 3359086"/>
                <a:gd name="connsiteY8764" fmla="*/ 2513076 h 3355086"/>
                <a:gd name="connsiteX8765" fmla="*/ 2886169 w 3359086"/>
                <a:gd name="connsiteY8765" fmla="*/ 2512600 h 3355086"/>
                <a:gd name="connsiteX8766" fmla="*/ 2892361 w 3359086"/>
                <a:gd name="connsiteY8766" fmla="*/ 2518791 h 3355086"/>
                <a:gd name="connsiteX8767" fmla="*/ 2886169 w 3359086"/>
                <a:gd name="connsiteY8767" fmla="*/ 2524982 h 3355086"/>
                <a:gd name="connsiteX8768" fmla="*/ 2879978 w 3359086"/>
                <a:gd name="connsiteY8768" fmla="*/ 2518791 h 3355086"/>
                <a:gd name="connsiteX8769" fmla="*/ 2886169 w 3359086"/>
                <a:gd name="connsiteY8769" fmla="*/ 2512600 h 3355086"/>
                <a:gd name="connsiteX8770" fmla="*/ 3060477 w 3359086"/>
                <a:gd name="connsiteY8770" fmla="*/ 2510504 h 3355086"/>
                <a:gd name="connsiteX8771" fmla="*/ 3066668 w 3359086"/>
                <a:gd name="connsiteY8771" fmla="*/ 2516695 h 3355086"/>
                <a:gd name="connsiteX8772" fmla="*/ 3064906 w 3359086"/>
                <a:gd name="connsiteY8772" fmla="*/ 2518457 h 3355086"/>
                <a:gd name="connsiteX8773" fmla="*/ 3069907 w 3359086"/>
                <a:gd name="connsiteY8773" fmla="*/ 2523458 h 3355086"/>
                <a:gd name="connsiteX8774" fmla="*/ 3068192 w 3359086"/>
                <a:gd name="connsiteY8774" fmla="*/ 2525173 h 3355086"/>
                <a:gd name="connsiteX8775" fmla="*/ 3072288 w 3359086"/>
                <a:gd name="connsiteY8775" fmla="*/ 2529269 h 3355086"/>
                <a:gd name="connsiteX8776" fmla="*/ 3070764 w 3359086"/>
                <a:gd name="connsiteY8776" fmla="*/ 2530793 h 3355086"/>
                <a:gd name="connsiteX8777" fmla="*/ 3074383 w 3359086"/>
                <a:gd name="connsiteY8777" fmla="*/ 2534412 h 3355086"/>
                <a:gd name="connsiteX8778" fmla="*/ 3073097 w 3359086"/>
                <a:gd name="connsiteY8778" fmla="*/ 2535698 h 3355086"/>
                <a:gd name="connsiteX8779" fmla="*/ 3076860 w 3359086"/>
                <a:gd name="connsiteY8779" fmla="*/ 2539460 h 3355086"/>
                <a:gd name="connsiteX8780" fmla="*/ 3075907 w 3359086"/>
                <a:gd name="connsiteY8780" fmla="*/ 2540413 h 3355086"/>
                <a:gd name="connsiteX8781" fmla="*/ 3080194 w 3359086"/>
                <a:gd name="connsiteY8781" fmla="*/ 2544699 h 3355086"/>
                <a:gd name="connsiteX8782" fmla="*/ 3079574 w 3359086"/>
                <a:gd name="connsiteY8782" fmla="*/ 2545319 h 3355086"/>
                <a:gd name="connsiteX8783" fmla="*/ 3084765 w 3359086"/>
                <a:gd name="connsiteY8783" fmla="*/ 2550509 h 3355086"/>
                <a:gd name="connsiteX8784" fmla="*/ 3078574 w 3359086"/>
                <a:gd name="connsiteY8784" fmla="*/ 2556701 h 3355086"/>
                <a:gd name="connsiteX8785" fmla="*/ 3072383 w 3359086"/>
                <a:gd name="connsiteY8785" fmla="*/ 2550509 h 3355086"/>
                <a:gd name="connsiteX8786" fmla="*/ 3073002 w 3359086"/>
                <a:gd name="connsiteY8786" fmla="*/ 2549890 h 3355086"/>
                <a:gd name="connsiteX8787" fmla="*/ 3067811 w 3359086"/>
                <a:gd name="connsiteY8787" fmla="*/ 2544699 h 3355086"/>
                <a:gd name="connsiteX8788" fmla="*/ 3068764 w 3359086"/>
                <a:gd name="connsiteY8788" fmla="*/ 2543746 h 3355086"/>
                <a:gd name="connsiteX8789" fmla="*/ 3064478 w 3359086"/>
                <a:gd name="connsiteY8789" fmla="*/ 2539460 h 3355086"/>
                <a:gd name="connsiteX8790" fmla="*/ 3065764 w 3359086"/>
                <a:gd name="connsiteY8790" fmla="*/ 2538175 h 3355086"/>
                <a:gd name="connsiteX8791" fmla="*/ 3062001 w 3359086"/>
                <a:gd name="connsiteY8791" fmla="*/ 2534412 h 3355086"/>
                <a:gd name="connsiteX8792" fmla="*/ 3063525 w 3359086"/>
                <a:gd name="connsiteY8792" fmla="*/ 2532888 h 3355086"/>
                <a:gd name="connsiteX8793" fmla="*/ 3059906 w 3359086"/>
                <a:gd name="connsiteY8793" fmla="*/ 2529269 h 3355086"/>
                <a:gd name="connsiteX8794" fmla="*/ 3061621 w 3359086"/>
                <a:gd name="connsiteY8794" fmla="*/ 2527555 h 3355086"/>
                <a:gd name="connsiteX8795" fmla="*/ 3057525 w 3359086"/>
                <a:gd name="connsiteY8795" fmla="*/ 2523458 h 3355086"/>
                <a:gd name="connsiteX8796" fmla="*/ 3059287 w 3359086"/>
                <a:gd name="connsiteY8796" fmla="*/ 2521696 h 3355086"/>
                <a:gd name="connsiteX8797" fmla="*/ 3054286 w 3359086"/>
                <a:gd name="connsiteY8797" fmla="*/ 2516695 h 3355086"/>
                <a:gd name="connsiteX8798" fmla="*/ 3060477 w 3359086"/>
                <a:gd name="connsiteY8798" fmla="*/ 2510504 h 3355086"/>
                <a:gd name="connsiteX8799" fmla="*/ 3129248 w 3359086"/>
                <a:gd name="connsiteY8799" fmla="*/ 2510123 h 3355086"/>
                <a:gd name="connsiteX8800" fmla="*/ 3134296 w 3359086"/>
                <a:gd name="connsiteY8800" fmla="*/ 2515171 h 3355086"/>
                <a:gd name="connsiteX8801" fmla="*/ 3129248 w 3359086"/>
                <a:gd name="connsiteY8801" fmla="*/ 2520219 h 3355086"/>
                <a:gd name="connsiteX8802" fmla="*/ 3124200 w 3359086"/>
                <a:gd name="connsiteY8802" fmla="*/ 2515171 h 3355086"/>
                <a:gd name="connsiteX8803" fmla="*/ 3129248 w 3359086"/>
                <a:gd name="connsiteY8803" fmla="*/ 2510123 h 3355086"/>
                <a:gd name="connsiteX8804" fmla="*/ 2958559 w 3359086"/>
                <a:gd name="connsiteY8804" fmla="*/ 2509552 h 3355086"/>
                <a:gd name="connsiteX8805" fmla="*/ 2964751 w 3359086"/>
                <a:gd name="connsiteY8805" fmla="*/ 2515743 h 3355086"/>
                <a:gd name="connsiteX8806" fmla="*/ 2958559 w 3359086"/>
                <a:gd name="connsiteY8806" fmla="*/ 2521935 h 3355086"/>
                <a:gd name="connsiteX8807" fmla="*/ 2952368 w 3359086"/>
                <a:gd name="connsiteY8807" fmla="*/ 2515743 h 3355086"/>
                <a:gd name="connsiteX8808" fmla="*/ 2958559 w 3359086"/>
                <a:gd name="connsiteY8808" fmla="*/ 2509552 h 3355086"/>
                <a:gd name="connsiteX8809" fmla="*/ 710755 w 3359086"/>
                <a:gd name="connsiteY8809" fmla="*/ 2509076 h 3355086"/>
                <a:gd name="connsiteX8810" fmla="*/ 716946 w 3359086"/>
                <a:gd name="connsiteY8810" fmla="*/ 2515267 h 3355086"/>
                <a:gd name="connsiteX8811" fmla="*/ 710755 w 3359086"/>
                <a:gd name="connsiteY8811" fmla="*/ 2521458 h 3355086"/>
                <a:gd name="connsiteX8812" fmla="*/ 704564 w 3359086"/>
                <a:gd name="connsiteY8812" fmla="*/ 2515267 h 3355086"/>
                <a:gd name="connsiteX8813" fmla="*/ 710755 w 3359086"/>
                <a:gd name="connsiteY8813" fmla="*/ 2509076 h 3355086"/>
                <a:gd name="connsiteX8814" fmla="*/ 2788252 w 3359086"/>
                <a:gd name="connsiteY8814" fmla="*/ 2508980 h 3355086"/>
                <a:gd name="connsiteX8815" fmla="*/ 2794444 w 3359086"/>
                <a:gd name="connsiteY8815" fmla="*/ 2515171 h 3355086"/>
                <a:gd name="connsiteX8816" fmla="*/ 2788252 w 3359086"/>
                <a:gd name="connsiteY8816" fmla="*/ 2521363 h 3355086"/>
                <a:gd name="connsiteX8817" fmla="*/ 2782061 w 3359086"/>
                <a:gd name="connsiteY8817" fmla="*/ 2515171 h 3355086"/>
                <a:gd name="connsiteX8818" fmla="*/ 2788252 w 3359086"/>
                <a:gd name="connsiteY8818" fmla="*/ 2508980 h 3355086"/>
                <a:gd name="connsiteX8819" fmla="*/ 296227 w 3359086"/>
                <a:gd name="connsiteY8819" fmla="*/ 2504028 h 3355086"/>
                <a:gd name="connsiteX8820" fmla="*/ 302418 w 3359086"/>
                <a:gd name="connsiteY8820" fmla="*/ 2510219 h 3355086"/>
                <a:gd name="connsiteX8821" fmla="*/ 296227 w 3359086"/>
                <a:gd name="connsiteY8821" fmla="*/ 2516410 h 3355086"/>
                <a:gd name="connsiteX8822" fmla="*/ 290036 w 3359086"/>
                <a:gd name="connsiteY8822" fmla="*/ 2510219 h 3355086"/>
                <a:gd name="connsiteX8823" fmla="*/ 296227 w 3359086"/>
                <a:gd name="connsiteY8823" fmla="*/ 2504028 h 3355086"/>
                <a:gd name="connsiteX8824" fmla="*/ 977645 w 3359086"/>
                <a:gd name="connsiteY8824" fmla="*/ 2503932 h 3355086"/>
                <a:gd name="connsiteX8825" fmla="*/ 983837 w 3359086"/>
                <a:gd name="connsiteY8825" fmla="*/ 2510123 h 3355086"/>
                <a:gd name="connsiteX8826" fmla="*/ 977645 w 3359086"/>
                <a:gd name="connsiteY8826" fmla="*/ 2516315 h 3355086"/>
                <a:gd name="connsiteX8827" fmla="*/ 971454 w 3359086"/>
                <a:gd name="connsiteY8827" fmla="*/ 2510123 h 3355086"/>
                <a:gd name="connsiteX8828" fmla="*/ 977645 w 3359086"/>
                <a:gd name="connsiteY8828" fmla="*/ 2503932 h 3355086"/>
                <a:gd name="connsiteX8829" fmla="*/ 3144106 w 3359086"/>
                <a:gd name="connsiteY8829" fmla="*/ 2502408 h 3355086"/>
                <a:gd name="connsiteX8830" fmla="*/ 3144297 w 3359086"/>
                <a:gd name="connsiteY8830" fmla="*/ 2502599 h 3355086"/>
                <a:gd name="connsiteX8831" fmla="*/ 3144106 w 3359086"/>
                <a:gd name="connsiteY8831" fmla="*/ 2502789 h 3355086"/>
                <a:gd name="connsiteX8832" fmla="*/ 3143916 w 3359086"/>
                <a:gd name="connsiteY8832" fmla="*/ 2502599 h 3355086"/>
                <a:gd name="connsiteX8833" fmla="*/ 3144106 w 3359086"/>
                <a:gd name="connsiteY8833" fmla="*/ 2502408 h 3355086"/>
                <a:gd name="connsiteX8834" fmla="*/ 3055429 w 3359086"/>
                <a:gd name="connsiteY8834" fmla="*/ 2502122 h 3355086"/>
                <a:gd name="connsiteX8835" fmla="*/ 3061620 w 3359086"/>
                <a:gd name="connsiteY8835" fmla="*/ 2508313 h 3355086"/>
                <a:gd name="connsiteX8836" fmla="*/ 3055429 w 3359086"/>
                <a:gd name="connsiteY8836" fmla="*/ 2514505 h 3355086"/>
                <a:gd name="connsiteX8837" fmla="*/ 3049238 w 3359086"/>
                <a:gd name="connsiteY8837" fmla="*/ 2508313 h 3355086"/>
                <a:gd name="connsiteX8838" fmla="*/ 3055429 w 3359086"/>
                <a:gd name="connsiteY8838" fmla="*/ 2502122 h 3355086"/>
                <a:gd name="connsiteX8839" fmla="*/ 3010852 w 3359086"/>
                <a:gd name="connsiteY8839" fmla="*/ 2501932 h 3355086"/>
                <a:gd name="connsiteX8840" fmla="*/ 3017043 w 3359086"/>
                <a:gd name="connsiteY8840" fmla="*/ 2508123 h 3355086"/>
                <a:gd name="connsiteX8841" fmla="*/ 3010852 w 3359086"/>
                <a:gd name="connsiteY8841" fmla="*/ 2514314 h 3355086"/>
                <a:gd name="connsiteX8842" fmla="*/ 3004661 w 3359086"/>
                <a:gd name="connsiteY8842" fmla="*/ 2508123 h 3355086"/>
                <a:gd name="connsiteX8843" fmla="*/ 3010852 w 3359086"/>
                <a:gd name="connsiteY8843" fmla="*/ 2501932 h 3355086"/>
                <a:gd name="connsiteX8844" fmla="*/ 426148 w 3359086"/>
                <a:gd name="connsiteY8844" fmla="*/ 2500979 h 3355086"/>
                <a:gd name="connsiteX8845" fmla="*/ 432339 w 3359086"/>
                <a:gd name="connsiteY8845" fmla="*/ 2507170 h 3355086"/>
                <a:gd name="connsiteX8846" fmla="*/ 426148 w 3359086"/>
                <a:gd name="connsiteY8846" fmla="*/ 2513361 h 3355086"/>
                <a:gd name="connsiteX8847" fmla="*/ 419957 w 3359086"/>
                <a:gd name="connsiteY8847" fmla="*/ 2507170 h 3355086"/>
                <a:gd name="connsiteX8848" fmla="*/ 426148 w 3359086"/>
                <a:gd name="connsiteY8848" fmla="*/ 2500979 h 3355086"/>
                <a:gd name="connsiteX8849" fmla="*/ 263747 w 3359086"/>
                <a:gd name="connsiteY8849" fmla="*/ 2500313 h 3355086"/>
                <a:gd name="connsiteX8850" fmla="*/ 269938 w 3359086"/>
                <a:gd name="connsiteY8850" fmla="*/ 2506504 h 3355086"/>
                <a:gd name="connsiteX8851" fmla="*/ 265033 w 3359086"/>
                <a:gd name="connsiteY8851" fmla="*/ 2511410 h 3355086"/>
                <a:gd name="connsiteX8852" fmla="*/ 267271 w 3359086"/>
                <a:gd name="connsiteY8852" fmla="*/ 2513647 h 3355086"/>
                <a:gd name="connsiteX8853" fmla="*/ 263222 w 3359086"/>
                <a:gd name="connsiteY8853" fmla="*/ 2517696 h 3355086"/>
                <a:gd name="connsiteX8854" fmla="*/ 265366 w 3359086"/>
                <a:gd name="connsiteY8854" fmla="*/ 2519839 h 3355086"/>
                <a:gd name="connsiteX8855" fmla="*/ 261603 w 3359086"/>
                <a:gd name="connsiteY8855" fmla="*/ 2523601 h 3355086"/>
                <a:gd name="connsiteX8856" fmla="*/ 263461 w 3359086"/>
                <a:gd name="connsiteY8856" fmla="*/ 2525459 h 3355086"/>
                <a:gd name="connsiteX8857" fmla="*/ 259556 w 3359086"/>
                <a:gd name="connsiteY8857" fmla="*/ 2529364 h 3355086"/>
                <a:gd name="connsiteX8858" fmla="*/ 261175 w 3359086"/>
                <a:gd name="connsiteY8858" fmla="*/ 2530983 h 3355086"/>
                <a:gd name="connsiteX8859" fmla="*/ 256650 w 3359086"/>
                <a:gd name="connsiteY8859" fmla="*/ 2535508 h 3355086"/>
                <a:gd name="connsiteX8860" fmla="*/ 257841 w 3359086"/>
                <a:gd name="connsiteY8860" fmla="*/ 2536698 h 3355086"/>
                <a:gd name="connsiteX8861" fmla="*/ 251935 w 3359086"/>
                <a:gd name="connsiteY8861" fmla="*/ 2542604 h 3355086"/>
                <a:gd name="connsiteX8862" fmla="*/ 252316 w 3359086"/>
                <a:gd name="connsiteY8862" fmla="*/ 2542985 h 3355086"/>
                <a:gd name="connsiteX8863" fmla="*/ 246887 w 3359086"/>
                <a:gd name="connsiteY8863" fmla="*/ 2548415 h 3355086"/>
                <a:gd name="connsiteX8864" fmla="*/ 241458 w 3359086"/>
                <a:gd name="connsiteY8864" fmla="*/ 2542985 h 3355086"/>
                <a:gd name="connsiteX8865" fmla="*/ 246602 w 3359086"/>
                <a:gd name="connsiteY8865" fmla="*/ 2537841 h 3355086"/>
                <a:gd name="connsiteX8866" fmla="*/ 245459 w 3359086"/>
                <a:gd name="connsiteY8866" fmla="*/ 2536698 h 3355086"/>
                <a:gd name="connsiteX8867" fmla="*/ 249983 w 3359086"/>
                <a:gd name="connsiteY8867" fmla="*/ 2532174 h 3355086"/>
                <a:gd name="connsiteX8868" fmla="*/ 248793 w 3359086"/>
                <a:gd name="connsiteY8868" fmla="*/ 2530983 h 3355086"/>
                <a:gd name="connsiteX8869" fmla="*/ 252698 w 3359086"/>
                <a:gd name="connsiteY8869" fmla="*/ 2527078 h 3355086"/>
                <a:gd name="connsiteX8870" fmla="*/ 251079 w 3359086"/>
                <a:gd name="connsiteY8870" fmla="*/ 2525459 h 3355086"/>
                <a:gd name="connsiteX8871" fmla="*/ 254841 w 3359086"/>
                <a:gd name="connsiteY8871" fmla="*/ 2521697 h 3355086"/>
                <a:gd name="connsiteX8872" fmla="*/ 252983 w 3359086"/>
                <a:gd name="connsiteY8872" fmla="*/ 2519839 h 3355086"/>
                <a:gd name="connsiteX8873" fmla="*/ 257032 w 3359086"/>
                <a:gd name="connsiteY8873" fmla="*/ 2515790 h 3355086"/>
                <a:gd name="connsiteX8874" fmla="*/ 254889 w 3359086"/>
                <a:gd name="connsiteY8874" fmla="*/ 2513647 h 3355086"/>
                <a:gd name="connsiteX8875" fmla="*/ 259794 w 3359086"/>
                <a:gd name="connsiteY8875" fmla="*/ 2508742 h 3355086"/>
                <a:gd name="connsiteX8876" fmla="*/ 257556 w 3359086"/>
                <a:gd name="connsiteY8876" fmla="*/ 2506504 h 3355086"/>
                <a:gd name="connsiteX8877" fmla="*/ 263747 w 3359086"/>
                <a:gd name="connsiteY8877" fmla="*/ 2500313 h 3355086"/>
                <a:gd name="connsiteX8878" fmla="*/ 3121056 w 3359086"/>
                <a:gd name="connsiteY8878" fmla="*/ 2498979 h 3355086"/>
                <a:gd name="connsiteX8879" fmla="*/ 3127248 w 3359086"/>
                <a:gd name="connsiteY8879" fmla="*/ 2505170 h 3355086"/>
                <a:gd name="connsiteX8880" fmla="*/ 3121056 w 3359086"/>
                <a:gd name="connsiteY8880" fmla="*/ 2511361 h 3355086"/>
                <a:gd name="connsiteX8881" fmla="*/ 3114865 w 3359086"/>
                <a:gd name="connsiteY8881" fmla="*/ 2505170 h 3355086"/>
                <a:gd name="connsiteX8882" fmla="*/ 3121056 w 3359086"/>
                <a:gd name="connsiteY8882" fmla="*/ 2498979 h 3355086"/>
                <a:gd name="connsiteX8883" fmla="*/ 357949 w 3359086"/>
                <a:gd name="connsiteY8883" fmla="*/ 2498027 h 3355086"/>
                <a:gd name="connsiteX8884" fmla="*/ 364140 w 3359086"/>
                <a:gd name="connsiteY8884" fmla="*/ 2504218 h 3355086"/>
                <a:gd name="connsiteX8885" fmla="*/ 357949 w 3359086"/>
                <a:gd name="connsiteY8885" fmla="*/ 2510409 h 3355086"/>
                <a:gd name="connsiteX8886" fmla="*/ 351758 w 3359086"/>
                <a:gd name="connsiteY8886" fmla="*/ 2504218 h 3355086"/>
                <a:gd name="connsiteX8887" fmla="*/ 357949 w 3359086"/>
                <a:gd name="connsiteY8887" fmla="*/ 2498027 h 3355086"/>
                <a:gd name="connsiteX8888" fmla="*/ 518921 w 3359086"/>
                <a:gd name="connsiteY8888" fmla="*/ 2497551 h 3355086"/>
                <a:gd name="connsiteX8889" fmla="*/ 525112 w 3359086"/>
                <a:gd name="connsiteY8889" fmla="*/ 2503742 h 3355086"/>
                <a:gd name="connsiteX8890" fmla="*/ 518921 w 3359086"/>
                <a:gd name="connsiteY8890" fmla="*/ 2509933 h 3355086"/>
                <a:gd name="connsiteX8891" fmla="*/ 512730 w 3359086"/>
                <a:gd name="connsiteY8891" fmla="*/ 2503742 h 3355086"/>
                <a:gd name="connsiteX8892" fmla="*/ 518921 w 3359086"/>
                <a:gd name="connsiteY8892" fmla="*/ 2497551 h 3355086"/>
                <a:gd name="connsiteX8893" fmla="*/ 2658903 w 3359086"/>
                <a:gd name="connsiteY8893" fmla="*/ 2496503 h 3355086"/>
                <a:gd name="connsiteX8894" fmla="*/ 2665094 w 3359086"/>
                <a:gd name="connsiteY8894" fmla="*/ 2502694 h 3355086"/>
                <a:gd name="connsiteX8895" fmla="*/ 2658903 w 3359086"/>
                <a:gd name="connsiteY8895" fmla="*/ 2508886 h 3355086"/>
                <a:gd name="connsiteX8896" fmla="*/ 2652712 w 3359086"/>
                <a:gd name="connsiteY8896" fmla="*/ 2502694 h 3355086"/>
                <a:gd name="connsiteX8897" fmla="*/ 2658903 w 3359086"/>
                <a:gd name="connsiteY8897" fmla="*/ 2496503 h 3355086"/>
                <a:gd name="connsiteX8898" fmla="*/ 2403919 w 3359086"/>
                <a:gd name="connsiteY8898" fmla="*/ 2493169 h 3355086"/>
                <a:gd name="connsiteX8899" fmla="*/ 2410111 w 3359086"/>
                <a:gd name="connsiteY8899" fmla="*/ 2499360 h 3355086"/>
                <a:gd name="connsiteX8900" fmla="*/ 2403919 w 3359086"/>
                <a:gd name="connsiteY8900" fmla="*/ 2505552 h 3355086"/>
                <a:gd name="connsiteX8901" fmla="*/ 2397728 w 3359086"/>
                <a:gd name="connsiteY8901" fmla="*/ 2499360 h 3355086"/>
                <a:gd name="connsiteX8902" fmla="*/ 2403919 w 3359086"/>
                <a:gd name="connsiteY8902" fmla="*/ 2493169 h 3355086"/>
                <a:gd name="connsiteX8903" fmla="*/ 267937 w 3359086"/>
                <a:gd name="connsiteY8903" fmla="*/ 2491645 h 3355086"/>
                <a:gd name="connsiteX8904" fmla="*/ 274129 w 3359086"/>
                <a:gd name="connsiteY8904" fmla="*/ 2497836 h 3355086"/>
                <a:gd name="connsiteX8905" fmla="*/ 267937 w 3359086"/>
                <a:gd name="connsiteY8905" fmla="*/ 2504028 h 3355086"/>
                <a:gd name="connsiteX8906" fmla="*/ 261746 w 3359086"/>
                <a:gd name="connsiteY8906" fmla="*/ 2497836 h 3355086"/>
                <a:gd name="connsiteX8907" fmla="*/ 267937 w 3359086"/>
                <a:gd name="connsiteY8907" fmla="*/ 2491645 h 3355086"/>
                <a:gd name="connsiteX8908" fmla="*/ 3047809 w 3359086"/>
                <a:gd name="connsiteY8908" fmla="*/ 2491550 h 3355086"/>
                <a:gd name="connsiteX8909" fmla="*/ 3054001 w 3359086"/>
                <a:gd name="connsiteY8909" fmla="*/ 2497741 h 3355086"/>
                <a:gd name="connsiteX8910" fmla="*/ 3047809 w 3359086"/>
                <a:gd name="connsiteY8910" fmla="*/ 2503932 h 3355086"/>
                <a:gd name="connsiteX8911" fmla="*/ 3041618 w 3359086"/>
                <a:gd name="connsiteY8911" fmla="*/ 2497741 h 3355086"/>
                <a:gd name="connsiteX8912" fmla="*/ 3047809 w 3359086"/>
                <a:gd name="connsiteY8912" fmla="*/ 2491550 h 3355086"/>
                <a:gd name="connsiteX8913" fmla="*/ 308990 w 3359086"/>
                <a:gd name="connsiteY8913" fmla="*/ 2490788 h 3355086"/>
                <a:gd name="connsiteX8914" fmla="*/ 315181 w 3359086"/>
                <a:gd name="connsiteY8914" fmla="*/ 2496979 h 3355086"/>
                <a:gd name="connsiteX8915" fmla="*/ 308990 w 3359086"/>
                <a:gd name="connsiteY8915" fmla="*/ 2503171 h 3355086"/>
                <a:gd name="connsiteX8916" fmla="*/ 302799 w 3359086"/>
                <a:gd name="connsiteY8916" fmla="*/ 2496979 h 3355086"/>
                <a:gd name="connsiteX8917" fmla="*/ 308990 w 3359086"/>
                <a:gd name="connsiteY8917" fmla="*/ 2490788 h 3355086"/>
                <a:gd name="connsiteX8918" fmla="*/ 3115055 w 3359086"/>
                <a:gd name="connsiteY8918" fmla="*/ 2489835 h 3355086"/>
                <a:gd name="connsiteX8919" fmla="*/ 3121246 w 3359086"/>
                <a:gd name="connsiteY8919" fmla="*/ 2496026 h 3355086"/>
                <a:gd name="connsiteX8920" fmla="*/ 3115055 w 3359086"/>
                <a:gd name="connsiteY8920" fmla="*/ 2502217 h 3355086"/>
                <a:gd name="connsiteX8921" fmla="*/ 3108864 w 3359086"/>
                <a:gd name="connsiteY8921" fmla="*/ 2496026 h 3355086"/>
                <a:gd name="connsiteX8922" fmla="*/ 3115055 w 3359086"/>
                <a:gd name="connsiteY8922" fmla="*/ 2489835 h 3355086"/>
                <a:gd name="connsiteX8923" fmla="*/ 210883 w 3359086"/>
                <a:gd name="connsiteY8923" fmla="*/ 2488787 h 3355086"/>
                <a:gd name="connsiteX8924" fmla="*/ 211168 w 3359086"/>
                <a:gd name="connsiteY8924" fmla="*/ 2489073 h 3355086"/>
                <a:gd name="connsiteX8925" fmla="*/ 210883 w 3359086"/>
                <a:gd name="connsiteY8925" fmla="*/ 2489358 h 3355086"/>
                <a:gd name="connsiteX8926" fmla="*/ 210597 w 3359086"/>
                <a:gd name="connsiteY8926" fmla="*/ 2489073 h 3355086"/>
                <a:gd name="connsiteX8927" fmla="*/ 210883 w 3359086"/>
                <a:gd name="connsiteY8927" fmla="*/ 2488787 h 3355086"/>
                <a:gd name="connsiteX8928" fmla="*/ 2927794 w 3359086"/>
                <a:gd name="connsiteY8928" fmla="*/ 2487740 h 3355086"/>
                <a:gd name="connsiteX8929" fmla="*/ 2933985 w 3359086"/>
                <a:gd name="connsiteY8929" fmla="*/ 2493931 h 3355086"/>
                <a:gd name="connsiteX8930" fmla="*/ 2927794 w 3359086"/>
                <a:gd name="connsiteY8930" fmla="*/ 2500122 h 3355086"/>
                <a:gd name="connsiteX8931" fmla="*/ 2921603 w 3359086"/>
                <a:gd name="connsiteY8931" fmla="*/ 2493931 h 3355086"/>
                <a:gd name="connsiteX8932" fmla="*/ 2927794 w 3359086"/>
                <a:gd name="connsiteY8932" fmla="*/ 2487740 h 3355086"/>
                <a:gd name="connsiteX8933" fmla="*/ 1699450 w 3359086"/>
                <a:gd name="connsiteY8933" fmla="*/ 2486882 h 3355086"/>
                <a:gd name="connsiteX8934" fmla="*/ 1705642 w 3359086"/>
                <a:gd name="connsiteY8934" fmla="*/ 2493073 h 3355086"/>
                <a:gd name="connsiteX8935" fmla="*/ 1699450 w 3359086"/>
                <a:gd name="connsiteY8935" fmla="*/ 2499265 h 3355086"/>
                <a:gd name="connsiteX8936" fmla="*/ 1693259 w 3359086"/>
                <a:gd name="connsiteY8936" fmla="*/ 2493073 h 3355086"/>
                <a:gd name="connsiteX8937" fmla="*/ 1699450 w 3359086"/>
                <a:gd name="connsiteY8937" fmla="*/ 2486882 h 3355086"/>
                <a:gd name="connsiteX8938" fmla="*/ 1574863 w 3359086"/>
                <a:gd name="connsiteY8938" fmla="*/ 2485835 h 3355086"/>
                <a:gd name="connsiteX8939" fmla="*/ 1581055 w 3359086"/>
                <a:gd name="connsiteY8939" fmla="*/ 2492026 h 3355086"/>
                <a:gd name="connsiteX8940" fmla="*/ 1574863 w 3359086"/>
                <a:gd name="connsiteY8940" fmla="*/ 2498217 h 3355086"/>
                <a:gd name="connsiteX8941" fmla="*/ 1568672 w 3359086"/>
                <a:gd name="connsiteY8941" fmla="*/ 2492026 h 3355086"/>
                <a:gd name="connsiteX8942" fmla="*/ 1574863 w 3359086"/>
                <a:gd name="connsiteY8942" fmla="*/ 2485835 h 3355086"/>
                <a:gd name="connsiteX8943" fmla="*/ 642175 w 3359086"/>
                <a:gd name="connsiteY8943" fmla="*/ 2485454 h 3355086"/>
                <a:gd name="connsiteX8944" fmla="*/ 648367 w 3359086"/>
                <a:gd name="connsiteY8944" fmla="*/ 2491645 h 3355086"/>
                <a:gd name="connsiteX8945" fmla="*/ 642175 w 3359086"/>
                <a:gd name="connsiteY8945" fmla="*/ 2497837 h 3355086"/>
                <a:gd name="connsiteX8946" fmla="*/ 635984 w 3359086"/>
                <a:gd name="connsiteY8946" fmla="*/ 2491645 h 3355086"/>
                <a:gd name="connsiteX8947" fmla="*/ 642175 w 3359086"/>
                <a:gd name="connsiteY8947" fmla="*/ 2485454 h 3355086"/>
                <a:gd name="connsiteX8948" fmla="*/ 3135058 w 3359086"/>
                <a:gd name="connsiteY8948" fmla="*/ 2485359 h 3355086"/>
                <a:gd name="connsiteX8949" fmla="*/ 3141250 w 3359086"/>
                <a:gd name="connsiteY8949" fmla="*/ 2491550 h 3355086"/>
                <a:gd name="connsiteX8950" fmla="*/ 3135058 w 3359086"/>
                <a:gd name="connsiteY8950" fmla="*/ 2497741 h 3355086"/>
                <a:gd name="connsiteX8951" fmla="*/ 3128867 w 3359086"/>
                <a:gd name="connsiteY8951" fmla="*/ 2491550 h 3355086"/>
                <a:gd name="connsiteX8952" fmla="*/ 3135058 w 3359086"/>
                <a:gd name="connsiteY8952" fmla="*/ 2485359 h 3355086"/>
                <a:gd name="connsiteX8953" fmla="*/ 2991421 w 3359086"/>
                <a:gd name="connsiteY8953" fmla="*/ 2484978 h 3355086"/>
                <a:gd name="connsiteX8954" fmla="*/ 2997612 w 3359086"/>
                <a:gd name="connsiteY8954" fmla="*/ 2491169 h 3355086"/>
                <a:gd name="connsiteX8955" fmla="*/ 2991421 w 3359086"/>
                <a:gd name="connsiteY8955" fmla="*/ 2497360 h 3355086"/>
                <a:gd name="connsiteX8956" fmla="*/ 2985230 w 3359086"/>
                <a:gd name="connsiteY8956" fmla="*/ 2491169 h 3355086"/>
                <a:gd name="connsiteX8957" fmla="*/ 2991421 w 3359086"/>
                <a:gd name="connsiteY8957" fmla="*/ 2484978 h 3355086"/>
                <a:gd name="connsiteX8958" fmla="*/ 2840735 w 3359086"/>
                <a:gd name="connsiteY8958" fmla="*/ 2484406 h 3355086"/>
                <a:gd name="connsiteX8959" fmla="*/ 2846927 w 3359086"/>
                <a:gd name="connsiteY8959" fmla="*/ 2490597 h 3355086"/>
                <a:gd name="connsiteX8960" fmla="*/ 2840735 w 3359086"/>
                <a:gd name="connsiteY8960" fmla="*/ 2496788 h 3355086"/>
                <a:gd name="connsiteX8961" fmla="*/ 2834544 w 3359086"/>
                <a:gd name="connsiteY8961" fmla="*/ 2490597 h 3355086"/>
                <a:gd name="connsiteX8962" fmla="*/ 2840735 w 3359086"/>
                <a:gd name="connsiteY8962" fmla="*/ 2484406 h 3355086"/>
                <a:gd name="connsiteX8963" fmla="*/ 886777 w 3359086"/>
                <a:gd name="connsiteY8963" fmla="*/ 2483454 h 3355086"/>
                <a:gd name="connsiteX8964" fmla="*/ 892969 w 3359086"/>
                <a:gd name="connsiteY8964" fmla="*/ 2489645 h 3355086"/>
                <a:gd name="connsiteX8965" fmla="*/ 886777 w 3359086"/>
                <a:gd name="connsiteY8965" fmla="*/ 2495836 h 3355086"/>
                <a:gd name="connsiteX8966" fmla="*/ 880586 w 3359086"/>
                <a:gd name="connsiteY8966" fmla="*/ 2489645 h 3355086"/>
                <a:gd name="connsiteX8967" fmla="*/ 886777 w 3359086"/>
                <a:gd name="connsiteY8967" fmla="*/ 2483454 h 3355086"/>
                <a:gd name="connsiteX8968" fmla="*/ 1823465 w 3359086"/>
                <a:gd name="connsiteY8968" fmla="*/ 2483358 h 3355086"/>
                <a:gd name="connsiteX8969" fmla="*/ 1829657 w 3359086"/>
                <a:gd name="connsiteY8969" fmla="*/ 2489549 h 3355086"/>
                <a:gd name="connsiteX8970" fmla="*/ 1823465 w 3359086"/>
                <a:gd name="connsiteY8970" fmla="*/ 2495741 h 3355086"/>
                <a:gd name="connsiteX8971" fmla="*/ 1817274 w 3359086"/>
                <a:gd name="connsiteY8971" fmla="*/ 2489549 h 3355086"/>
                <a:gd name="connsiteX8972" fmla="*/ 1823465 w 3359086"/>
                <a:gd name="connsiteY8972" fmla="*/ 2483358 h 3355086"/>
                <a:gd name="connsiteX8973" fmla="*/ 274510 w 3359086"/>
                <a:gd name="connsiteY8973" fmla="*/ 2480787 h 3355086"/>
                <a:gd name="connsiteX8974" fmla="*/ 280701 w 3359086"/>
                <a:gd name="connsiteY8974" fmla="*/ 2486978 h 3355086"/>
                <a:gd name="connsiteX8975" fmla="*/ 274510 w 3359086"/>
                <a:gd name="connsiteY8975" fmla="*/ 2493169 h 3355086"/>
                <a:gd name="connsiteX8976" fmla="*/ 268319 w 3359086"/>
                <a:gd name="connsiteY8976" fmla="*/ 2486978 h 3355086"/>
                <a:gd name="connsiteX8977" fmla="*/ 274510 w 3359086"/>
                <a:gd name="connsiteY8977" fmla="*/ 2480787 h 3355086"/>
                <a:gd name="connsiteX8978" fmla="*/ 1451895 w 3359086"/>
                <a:gd name="connsiteY8978" fmla="*/ 2480215 h 3355086"/>
                <a:gd name="connsiteX8979" fmla="*/ 1458087 w 3359086"/>
                <a:gd name="connsiteY8979" fmla="*/ 2486406 h 3355086"/>
                <a:gd name="connsiteX8980" fmla="*/ 1451895 w 3359086"/>
                <a:gd name="connsiteY8980" fmla="*/ 2492597 h 3355086"/>
                <a:gd name="connsiteX8981" fmla="*/ 1445704 w 3359086"/>
                <a:gd name="connsiteY8981" fmla="*/ 2486406 h 3355086"/>
                <a:gd name="connsiteX8982" fmla="*/ 1451895 w 3359086"/>
                <a:gd name="connsiteY8982" fmla="*/ 2480215 h 3355086"/>
                <a:gd name="connsiteX8983" fmla="*/ 3073812 w 3359086"/>
                <a:gd name="connsiteY8983" fmla="*/ 2479739 h 3355086"/>
                <a:gd name="connsiteX8984" fmla="*/ 3080003 w 3359086"/>
                <a:gd name="connsiteY8984" fmla="*/ 2485930 h 3355086"/>
                <a:gd name="connsiteX8985" fmla="*/ 3077146 w 3359086"/>
                <a:gd name="connsiteY8985" fmla="*/ 2488787 h 3355086"/>
                <a:gd name="connsiteX8986" fmla="*/ 3083337 w 3359086"/>
                <a:gd name="connsiteY8986" fmla="*/ 2494978 h 3355086"/>
                <a:gd name="connsiteX8987" fmla="*/ 3080575 w 3359086"/>
                <a:gd name="connsiteY8987" fmla="*/ 2497741 h 3355086"/>
                <a:gd name="connsiteX8988" fmla="*/ 3085338 w 3359086"/>
                <a:gd name="connsiteY8988" fmla="*/ 2502503 h 3355086"/>
                <a:gd name="connsiteX8989" fmla="*/ 3082765 w 3359086"/>
                <a:gd name="connsiteY8989" fmla="*/ 2505076 h 3355086"/>
                <a:gd name="connsiteX8990" fmla="*/ 3086861 w 3359086"/>
                <a:gd name="connsiteY8990" fmla="*/ 2509171 h 3355086"/>
                <a:gd name="connsiteX8991" fmla="*/ 3084623 w 3359086"/>
                <a:gd name="connsiteY8991" fmla="*/ 2511410 h 3355086"/>
                <a:gd name="connsiteX8992" fmla="*/ 3088480 w 3359086"/>
                <a:gd name="connsiteY8992" fmla="*/ 2515267 h 3355086"/>
                <a:gd name="connsiteX8993" fmla="*/ 3086575 w 3359086"/>
                <a:gd name="connsiteY8993" fmla="*/ 2517172 h 3355086"/>
                <a:gd name="connsiteX8994" fmla="*/ 3090766 w 3359086"/>
                <a:gd name="connsiteY8994" fmla="*/ 2521363 h 3355086"/>
                <a:gd name="connsiteX8995" fmla="*/ 3089290 w 3359086"/>
                <a:gd name="connsiteY8995" fmla="*/ 2522840 h 3355086"/>
                <a:gd name="connsiteX8996" fmla="*/ 3094196 w 3359086"/>
                <a:gd name="connsiteY8996" fmla="*/ 2527745 h 3355086"/>
                <a:gd name="connsiteX8997" fmla="*/ 3093195 w 3359086"/>
                <a:gd name="connsiteY8997" fmla="*/ 2528746 h 3355086"/>
                <a:gd name="connsiteX8998" fmla="*/ 3099053 w 3359086"/>
                <a:gd name="connsiteY8998" fmla="*/ 2534603 h 3355086"/>
                <a:gd name="connsiteX8999" fmla="*/ 3092862 w 3359086"/>
                <a:gd name="connsiteY8999" fmla="*/ 2540794 h 3355086"/>
                <a:gd name="connsiteX9000" fmla="*/ 3086671 w 3359086"/>
                <a:gd name="connsiteY9000" fmla="*/ 2534603 h 3355086"/>
                <a:gd name="connsiteX9001" fmla="*/ 3087671 w 3359086"/>
                <a:gd name="connsiteY9001" fmla="*/ 2533603 h 3355086"/>
                <a:gd name="connsiteX9002" fmla="*/ 3081813 w 3359086"/>
                <a:gd name="connsiteY9002" fmla="*/ 2527745 h 3355086"/>
                <a:gd name="connsiteX9003" fmla="*/ 3083289 w 3359086"/>
                <a:gd name="connsiteY9003" fmla="*/ 2526269 h 3355086"/>
                <a:gd name="connsiteX9004" fmla="*/ 3078384 w 3359086"/>
                <a:gd name="connsiteY9004" fmla="*/ 2521363 h 3355086"/>
                <a:gd name="connsiteX9005" fmla="*/ 3080289 w 3359086"/>
                <a:gd name="connsiteY9005" fmla="*/ 2519458 h 3355086"/>
                <a:gd name="connsiteX9006" fmla="*/ 3076098 w 3359086"/>
                <a:gd name="connsiteY9006" fmla="*/ 2515267 h 3355086"/>
                <a:gd name="connsiteX9007" fmla="*/ 3078336 w 3359086"/>
                <a:gd name="connsiteY9007" fmla="*/ 2513029 h 3355086"/>
                <a:gd name="connsiteX9008" fmla="*/ 3074479 w 3359086"/>
                <a:gd name="connsiteY9008" fmla="*/ 2509171 h 3355086"/>
                <a:gd name="connsiteX9009" fmla="*/ 3077051 w 3359086"/>
                <a:gd name="connsiteY9009" fmla="*/ 2506599 h 3355086"/>
                <a:gd name="connsiteX9010" fmla="*/ 3072955 w 3359086"/>
                <a:gd name="connsiteY9010" fmla="*/ 2502503 h 3355086"/>
                <a:gd name="connsiteX9011" fmla="*/ 3075718 w 3359086"/>
                <a:gd name="connsiteY9011" fmla="*/ 2499741 h 3355086"/>
                <a:gd name="connsiteX9012" fmla="*/ 3070955 w 3359086"/>
                <a:gd name="connsiteY9012" fmla="*/ 2494978 h 3355086"/>
                <a:gd name="connsiteX9013" fmla="*/ 3073812 w 3359086"/>
                <a:gd name="connsiteY9013" fmla="*/ 2492122 h 3355086"/>
                <a:gd name="connsiteX9014" fmla="*/ 3067621 w 3359086"/>
                <a:gd name="connsiteY9014" fmla="*/ 2485930 h 3355086"/>
                <a:gd name="connsiteX9015" fmla="*/ 3073812 w 3359086"/>
                <a:gd name="connsiteY9015" fmla="*/ 2479739 h 3355086"/>
                <a:gd name="connsiteX9016" fmla="*/ 3036760 w 3359086"/>
                <a:gd name="connsiteY9016" fmla="*/ 2478024 h 3355086"/>
                <a:gd name="connsiteX9017" fmla="*/ 3042951 w 3359086"/>
                <a:gd name="connsiteY9017" fmla="*/ 2484215 h 3355086"/>
                <a:gd name="connsiteX9018" fmla="*/ 3036760 w 3359086"/>
                <a:gd name="connsiteY9018" fmla="*/ 2490407 h 3355086"/>
                <a:gd name="connsiteX9019" fmla="*/ 3030569 w 3359086"/>
                <a:gd name="connsiteY9019" fmla="*/ 2484215 h 3355086"/>
                <a:gd name="connsiteX9020" fmla="*/ 3036760 w 3359086"/>
                <a:gd name="connsiteY9020" fmla="*/ 2478024 h 3355086"/>
                <a:gd name="connsiteX9021" fmla="*/ 386333 w 3359086"/>
                <a:gd name="connsiteY9021" fmla="*/ 2476310 h 3355086"/>
                <a:gd name="connsiteX9022" fmla="*/ 392524 w 3359086"/>
                <a:gd name="connsiteY9022" fmla="*/ 2482501 h 3355086"/>
                <a:gd name="connsiteX9023" fmla="*/ 386333 w 3359086"/>
                <a:gd name="connsiteY9023" fmla="*/ 2488692 h 3355086"/>
                <a:gd name="connsiteX9024" fmla="*/ 380142 w 3359086"/>
                <a:gd name="connsiteY9024" fmla="*/ 2482501 h 3355086"/>
                <a:gd name="connsiteX9025" fmla="*/ 386333 w 3359086"/>
                <a:gd name="connsiteY9025" fmla="*/ 2476310 h 3355086"/>
                <a:gd name="connsiteX9026" fmla="*/ 1944909 w 3359086"/>
                <a:gd name="connsiteY9026" fmla="*/ 2475453 h 3355086"/>
                <a:gd name="connsiteX9027" fmla="*/ 1951101 w 3359086"/>
                <a:gd name="connsiteY9027" fmla="*/ 2481644 h 3355086"/>
                <a:gd name="connsiteX9028" fmla="*/ 1944909 w 3359086"/>
                <a:gd name="connsiteY9028" fmla="*/ 2487835 h 3355086"/>
                <a:gd name="connsiteX9029" fmla="*/ 1938718 w 3359086"/>
                <a:gd name="connsiteY9029" fmla="*/ 2481644 h 3355086"/>
                <a:gd name="connsiteX9030" fmla="*/ 1944909 w 3359086"/>
                <a:gd name="connsiteY9030" fmla="*/ 2475453 h 3355086"/>
                <a:gd name="connsiteX9031" fmla="*/ 3128390 w 3359086"/>
                <a:gd name="connsiteY9031" fmla="*/ 2475167 h 3355086"/>
                <a:gd name="connsiteX9032" fmla="*/ 3134581 w 3359086"/>
                <a:gd name="connsiteY9032" fmla="*/ 2481358 h 3355086"/>
                <a:gd name="connsiteX9033" fmla="*/ 3128390 w 3359086"/>
                <a:gd name="connsiteY9033" fmla="*/ 2487549 h 3355086"/>
                <a:gd name="connsiteX9034" fmla="*/ 3122199 w 3359086"/>
                <a:gd name="connsiteY9034" fmla="*/ 2481358 h 3355086"/>
                <a:gd name="connsiteX9035" fmla="*/ 3128390 w 3359086"/>
                <a:gd name="connsiteY9035" fmla="*/ 2475167 h 3355086"/>
                <a:gd name="connsiteX9036" fmla="*/ 326611 w 3359086"/>
                <a:gd name="connsiteY9036" fmla="*/ 2473738 h 3355086"/>
                <a:gd name="connsiteX9037" fmla="*/ 332802 w 3359086"/>
                <a:gd name="connsiteY9037" fmla="*/ 2479929 h 3355086"/>
                <a:gd name="connsiteX9038" fmla="*/ 326611 w 3359086"/>
                <a:gd name="connsiteY9038" fmla="*/ 2486120 h 3355086"/>
                <a:gd name="connsiteX9039" fmla="*/ 320420 w 3359086"/>
                <a:gd name="connsiteY9039" fmla="*/ 2479929 h 3355086"/>
                <a:gd name="connsiteX9040" fmla="*/ 326611 w 3359086"/>
                <a:gd name="connsiteY9040" fmla="*/ 2473738 h 3355086"/>
                <a:gd name="connsiteX9041" fmla="*/ 3149250 w 3359086"/>
                <a:gd name="connsiteY9041" fmla="*/ 2473167 h 3355086"/>
                <a:gd name="connsiteX9042" fmla="*/ 3154680 w 3359086"/>
                <a:gd name="connsiteY9042" fmla="*/ 2478596 h 3355086"/>
                <a:gd name="connsiteX9043" fmla="*/ 3149250 w 3359086"/>
                <a:gd name="connsiteY9043" fmla="*/ 2484025 h 3355086"/>
                <a:gd name="connsiteX9044" fmla="*/ 3143821 w 3359086"/>
                <a:gd name="connsiteY9044" fmla="*/ 2478596 h 3355086"/>
                <a:gd name="connsiteX9045" fmla="*/ 3149250 w 3359086"/>
                <a:gd name="connsiteY9045" fmla="*/ 2473167 h 3355086"/>
                <a:gd name="connsiteX9046" fmla="*/ 468629 w 3359086"/>
                <a:gd name="connsiteY9046" fmla="*/ 2473071 h 3355086"/>
                <a:gd name="connsiteX9047" fmla="*/ 474820 w 3359086"/>
                <a:gd name="connsiteY9047" fmla="*/ 2479262 h 3355086"/>
                <a:gd name="connsiteX9048" fmla="*/ 468629 w 3359086"/>
                <a:gd name="connsiteY9048" fmla="*/ 2485453 h 3355086"/>
                <a:gd name="connsiteX9049" fmla="*/ 462438 w 3359086"/>
                <a:gd name="connsiteY9049" fmla="*/ 2479262 h 3355086"/>
                <a:gd name="connsiteX9050" fmla="*/ 468629 w 3359086"/>
                <a:gd name="connsiteY9050" fmla="*/ 2473071 h 3355086"/>
                <a:gd name="connsiteX9051" fmla="*/ 2724435 w 3359086"/>
                <a:gd name="connsiteY9051" fmla="*/ 2472786 h 3355086"/>
                <a:gd name="connsiteX9052" fmla="*/ 2730626 w 3359086"/>
                <a:gd name="connsiteY9052" fmla="*/ 2478977 h 3355086"/>
                <a:gd name="connsiteX9053" fmla="*/ 2724435 w 3359086"/>
                <a:gd name="connsiteY9053" fmla="*/ 2485168 h 3355086"/>
                <a:gd name="connsiteX9054" fmla="*/ 2718244 w 3359086"/>
                <a:gd name="connsiteY9054" fmla="*/ 2478977 h 3355086"/>
                <a:gd name="connsiteX9055" fmla="*/ 2724435 w 3359086"/>
                <a:gd name="connsiteY9055" fmla="*/ 2472786 h 3355086"/>
                <a:gd name="connsiteX9056" fmla="*/ 2491358 w 3359086"/>
                <a:gd name="connsiteY9056" fmla="*/ 2472023 h 3355086"/>
                <a:gd name="connsiteX9057" fmla="*/ 2497549 w 3359086"/>
                <a:gd name="connsiteY9057" fmla="*/ 2478214 h 3355086"/>
                <a:gd name="connsiteX9058" fmla="*/ 2491358 w 3359086"/>
                <a:gd name="connsiteY9058" fmla="*/ 2484406 h 3355086"/>
                <a:gd name="connsiteX9059" fmla="*/ 2485167 w 3359086"/>
                <a:gd name="connsiteY9059" fmla="*/ 2478214 h 3355086"/>
                <a:gd name="connsiteX9060" fmla="*/ 2491358 w 3359086"/>
                <a:gd name="connsiteY9060" fmla="*/ 2472023 h 3355086"/>
                <a:gd name="connsiteX9061" fmla="*/ 1332261 w 3359086"/>
                <a:gd name="connsiteY9061" fmla="*/ 2470499 h 3355086"/>
                <a:gd name="connsiteX9062" fmla="*/ 1338453 w 3359086"/>
                <a:gd name="connsiteY9062" fmla="*/ 2476690 h 3355086"/>
                <a:gd name="connsiteX9063" fmla="*/ 1332261 w 3359086"/>
                <a:gd name="connsiteY9063" fmla="*/ 2482882 h 3355086"/>
                <a:gd name="connsiteX9064" fmla="*/ 1326070 w 3359086"/>
                <a:gd name="connsiteY9064" fmla="*/ 2476690 h 3355086"/>
                <a:gd name="connsiteX9065" fmla="*/ 1332261 w 3359086"/>
                <a:gd name="connsiteY9065" fmla="*/ 2470499 h 3355086"/>
                <a:gd name="connsiteX9066" fmla="*/ 250411 w 3359086"/>
                <a:gd name="connsiteY9066" fmla="*/ 2469547 h 3355086"/>
                <a:gd name="connsiteX9067" fmla="*/ 256603 w 3359086"/>
                <a:gd name="connsiteY9067" fmla="*/ 2475738 h 3355086"/>
                <a:gd name="connsiteX9068" fmla="*/ 250602 w 3359086"/>
                <a:gd name="connsiteY9068" fmla="*/ 2481738 h 3355086"/>
                <a:gd name="connsiteX9069" fmla="*/ 253936 w 3359086"/>
                <a:gd name="connsiteY9069" fmla="*/ 2485072 h 3355086"/>
                <a:gd name="connsiteX9070" fmla="*/ 249174 w 3359086"/>
                <a:gd name="connsiteY9070" fmla="*/ 2489835 h 3355086"/>
                <a:gd name="connsiteX9071" fmla="*/ 252412 w 3359086"/>
                <a:gd name="connsiteY9071" fmla="*/ 2493073 h 3355086"/>
                <a:gd name="connsiteX9072" fmla="*/ 248316 w 3359086"/>
                <a:gd name="connsiteY9072" fmla="*/ 2497170 h 3355086"/>
                <a:gd name="connsiteX9073" fmla="*/ 251174 w 3359086"/>
                <a:gd name="connsiteY9073" fmla="*/ 2500027 h 3355086"/>
                <a:gd name="connsiteX9074" fmla="*/ 247126 w 3359086"/>
                <a:gd name="connsiteY9074" fmla="*/ 2504075 h 3355086"/>
                <a:gd name="connsiteX9075" fmla="*/ 249745 w 3359086"/>
                <a:gd name="connsiteY9075" fmla="*/ 2506694 h 3355086"/>
                <a:gd name="connsiteX9076" fmla="*/ 245315 w 3359086"/>
                <a:gd name="connsiteY9076" fmla="*/ 2511124 h 3355086"/>
                <a:gd name="connsiteX9077" fmla="*/ 247459 w 3359086"/>
                <a:gd name="connsiteY9077" fmla="*/ 2513267 h 3355086"/>
                <a:gd name="connsiteX9078" fmla="*/ 242315 w 3359086"/>
                <a:gd name="connsiteY9078" fmla="*/ 2518411 h 3355086"/>
                <a:gd name="connsiteX9079" fmla="*/ 244030 w 3359086"/>
                <a:gd name="connsiteY9079" fmla="*/ 2520125 h 3355086"/>
                <a:gd name="connsiteX9080" fmla="*/ 237838 w 3359086"/>
                <a:gd name="connsiteY9080" fmla="*/ 2526316 h 3355086"/>
                <a:gd name="connsiteX9081" fmla="*/ 231647 w 3359086"/>
                <a:gd name="connsiteY9081" fmla="*/ 2520125 h 3355086"/>
                <a:gd name="connsiteX9082" fmla="*/ 236791 w 3359086"/>
                <a:gd name="connsiteY9082" fmla="*/ 2514981 h 3355086"/>
                <a:gd name="connsiteX9083" fmla="*/ 235077 w 3359086"/>
                <a:gd name="connsiteY9083" fmla="*/ 2513267 h 3355086"/>
                <a:gd name="connsiteX9084" fmla="*/ 239506 w 3359086"/>
                <a:gd name="connsiteY9084" fmla="*/ 2508838 h 3355086"/>
                <a:gd name="connsiteX9085" fmla="*/ 237363 w 3359086"/>
                <a:gd name="connsiteY9085" fmla="*/ 2506694 h 3355086"/>
                <a:gd name="connsiteX9086" fmla="*/ 241410 w 3359086"/>
                <a:gd name="connsiteY9086" fmla="*/ 2502647 h 3355086"/>
                <a:gd name="connsiteX9087" fmla="*/ 238791 w 3359086"/>
                <a:gd name="connsiteY9087" fmla="*/ 2500027 h 3355086"/>
                <a:gd name="connsiteX9088" fmla="*/ 242887 w 3359086"/>
                <a:gd name="connsiteY9088" fmla="*/ 2495931 h 3355086"/>
                <a:gd name="connsiteX9089" fmla="*/ 240030 w 3359086"/>
                <a:gd name="connsiteY9089" fmla="*/ 2493073 h 3355086"/>
                <a:gd name="connsiteX9090" fmla="*/ 244792 w 3359086"/>
                <a:gd name="connsiteY9090" fmla="*/ 2488311 h 3355086"/>
                <a:gd name="connsiteX9091" fmla="*/ 241554 w 3359086"/>
                <a:gd name="connsiteY9091" fmla="*/ 2485072 h 3355086"/>
                <a:gd name="connsiteX9092" fmla="*/ 247554 w 3359086"/>
                <a:gd name="connsiteY9092" fmla="*/ 2479072 h 3355086"/>
                <a:gd name="connsiteX9093" fmla="*/ 244220 w 3359086"/>
                <a:gd name="connsiteY9093" fmla="*/ 2475738 h 3355086"/>
                <a:gd name="connsiteX9094" fmla="*/ 250411 w 3359086"/>
                <a:gd name="connsiteY9094" fmla="*/ 2469547 h 3355086"/>
                <a:gd name="connsiteX9095" fmla="*/ 3068383 w 3359086"/>
                <a:gd name="connsiteY9095" fmla="*/ 2468595 h 3355086"/>
                <a:gd name="connsiteX9096" fmla="*/ 3074575 w 3359086"/>
                <a:gd name="connsiteY9096" fmla="*/ 2474786 h 3355086"/>
                <a:gd name="connsiteX9097" fmla="*/ 3068383 w 3359086"/>
                <a:gd name="connsiteY9097" fmla="*/ 2480977 h 3355086"/>
                <a:gd name="connsiteX9098" fmla="*/ 3062192 w 3359086"/>
                <a:gd name="connsiteY9098" fmla="*/ 2474786 h 3355086"/>
                <a:gd name="connsiteX9099" fmla="*/ 3068383 w 3359086"/>
                <a:gd name="connsiteY9099" fmla="*/ 2468595 h 3355086"/>
                <a:gd name="connsiteX9100" fmla="*/ 284321 w 3359086"/>
                <a:gd name="connsiteY9100" fmla="*/ 2467166 h 3355086"/>
                <a:gd name="connsiteX9101" fmla="*/ 290512 w 3359086"/>
                <a:gd name="connsiteY9101" fmla="*/ 2473357 h 3355086"/>
                <a:gd name="connsiteX9102" fmla="*/ 284321 w 3359086"/>
                <a:gd name="connsiteY9102" fmla="*/ 2479548 h 3355086"/>
                <a:gd name="connsiteX9103" fmla="*/ 278130 w 3359086"/>
                <a:gd name="connsiteY9103" fmla="*/ 2473357 h 3355086"/>
                <a:gd name="connsiteX9104" fmla="*/ 284321 w 3359086"/>
                <a:gd name="connsiteY9104" fmla="*/ 2467166 h 3355086"/>
                <a:gd name="connsiteX9105" fmla="*/ 3163443 w 3359086"/>
                <a:gd name="connsiteY9105" fmla="*/ 2466213 h 3355086"/>
                <a:gd name="connsiteX9106" fmla="*/ 3163633 w 3359086"/>
                <a:gd name="connsiteY9106" fmla="*/ 2466403 h 3355086"/>
                <a:gd name="connsiteX9107" fmla="*/ 3163443 w 3359086"/>
                <a:gd name="connsiteY9107" fmla="*/ 2466594 h 3355086"/>
                <a:gd name="connsiteX9108" fmla="*/ 3163252 w 3359086"/>
                <a:gd name="connsiteY9108" fmla="*/ 2466403 h 3355086"/>
                <a:gd name="connsiteX9109" fmla="*/ 3163443 w 3359086"/>
                <a:gd name="connsiteY9109" fmla="*/ 2466213 h 3355086"/>
                <a:gd name="connsiteX9110" fmla="*/ 2061971 w 3359086"/>
                <a:gd name="connsiteY9110" fmla="*/ 2463832 h 3355086"/>
                <a:gd name="connsiteX9111" fmla="*/ 2068163 w 3359086"/>
                <a:gd name="connsiteY9111" fmla="*/ 2470023 h 3355086"/>
                <a:gd name="connsiteX9112" fmla="*/ 2061971 w 3359086"/>
                <a:gd name="connsiteY9112" fmla="*/ 2476214 h 3355086"/>
                <a:gd name="connsiteX9113" fmla="*/ 2055780 w 3359086"/>
                <a:gd name="connsiteY9113" fmla="*/ 2470023 h 3355086"/>
                <a:gd name="connsiteX9114" fmla="*/ 2061971 w 3359086"/>
                <a:gd name="connsiteY9114" fmla="*/ 2463832 h 3355086"/>
                <a:gd name="connsiteX9115" fmla="*/ 2965513 w 3359086"/>
                <a:gd name="connsiteY9115" fmla="*/ 2463356 h 3355086"/>
                <a:gd name="connsiteX9116" fmla="*/ 2971704 w 3359086"/>
                <a:gd name="connsiteY9116" fmla="*/ 2469547 h 3355086"/>
                <a:gd name="connsiteX9117" fmla="*/ 2965513 w 3359086"/>
                <a:gd name="connsiteY9117" fmla="*/ 2475739 h 3355086"/>
                <a:gd name="connsiteX9118" fmla="*/ 2959322 w 3359086"/>
                <a:gd name="connsiteY9118" fmla="*/ 2469547 h 3355086"/>
                <a:gd name="connsiteX9119" fmla="*/ 2965513 w 3359086"/>
                <a:gd name="connsiteY9119" fmla="*/ 2463356 h 3355086"/>
                <a:gd name="connsiteX9120" fmla="*/ 802480 w 3359086"/>
                <a:gd name="connsiteY9120" fmla="*/ 2462022 h 3355086"/>
                <a:gd name="connsiteX9121" fmla="*/ 808672 w 3359086"/>
                <a:gd name="connsiteY9121" fmla="*/ 2468213 h 3355086"/>
                <a:gd name="connsiteX9122" fmla="*/ 802480 w 3359086"/>
                <a:gd name="connsiteY9122" fmla="*/ 2474404 h 3355086"/>
                <a:gd name="connsiteX9123" fmla="*/ 796289 w 3359086"/>
                <a:gd name="connsiteY9123" fmla="*/ 2468213 h 3355086"/>
                <a:gd name="connsiteX9124" fmla="*/ 802480 w 3359086"/>
                <a:gd name="connsiteY9124" fmla="*/ 2462022 h 3355086"/>
                <a:gd name="connsiteX9125" fmla="*/ 579214 w 3359086"/>
                <a:gd name="connsiteY9125" fmla="*/ 2461737 h 3355086"/>
                <a:gd name="connsiteX9126" fmla="*/ 585405 w 3359086"/>
                <a:gd name="connsiteY9126" fmla="*/ 2467928 h 3355086"/>
                <a:gd name="connsiteX9127" fmla="*/ 579214 w 3359086"/>
                <a:gd name="connsiteY9127" fmla="*/ 2474119 h 3355086"/>
                <a:gd name="connsiteX9128" fmla="*/ 573023 w 3359086"/>
                <a:gd name="connsiteY9128" fmla="*/ 2467928 h 3355086"/>
                <a:gd name="connsiteX9129" fmla="*/ 579214 w 3359086"/>
                <a:gd name="connsiteY9129" fmla="*/ 2461737 h 3355086"/>
                <a:gd name="connsiteX9130" fmla="*/ 3141630 w 3359086"/>
                <a:gd name="connsiteY9130" fmla="*/ 2461165 h 3355086"/>
                <a:gd name="connsiteX9131" fmla="*/ 3147822 w 3359086"/>
                <a:gd name="connsiteY9131" fmla="*/ 2467356 h 3355086"/>
                <a:gd name="connsiteX9132" fmla="*/ 3141630 w 3359086"/>
                <a:gd name="connsiteY9132" fmla="*/ 2473547 h 3355086"/>
                <a:gd name="connsiteX9133" fmla="*/ 3135439 w 3359086"/>
                <a:gd name="connsiteY9133" fmla="*/ 2467356 h 3355086"/>
                <a:gd name="connsiteX9134" fmla="*/ 3141630 w 3359086"/>
                <a:gd name="connsiteY9134" fmla="*/ 2461165 h 3355086"/>
                <a:gd name="connsiteX9135" fmla="*/ 3020948 w 3359086"/>
                <a:gd name="connsiteY9135" fmla="*/ 2460974 h 3355086"/>
                <a:gd name="connsiteX9136" fmla="*/ 3027139 w 3359086"/>
                <a:gd name="connsiteY9136" fmla="*/ 2467165 h 3355086"/>
                <a:gd name="connsiteX9137" fmla="*/ 3020948 w 3359086"/>
                <a:gd name="connsiteY9137" fmla="*/ 2473357 h 3355086"/>
                <a:gd name="connsiteX9138" fmla="*/ 3014757 w 3359086"/>
                <a:gd name="connsiteY9138" fmla="*/ 2467165 h 3355086"/>
                <a:gd name="connsiteX9139" fmla="*/ 3020948 w 3359086"/>
                <a:gd name="connsiteY9139" fmla="*/ 2460974 h 3355086"/>
                <a:gd name="connsiteX9140" fmla="*/ 2888551 w 3359086"/>
                <a:gd name="connsiteY9140" fmla="*/ 2460022 h 3355086"/>
                <a:gd name="connsiteX9141" fmla="*/ 2894743 w 3359086"/>
                <a:gd name="connsiteY9141" fmla="*/ 2466213 h 3355086"/>
                <a:gd name="connsiteX9142" fmla="*/ 2888551 w 3359086"/>
                <a:gd name="connsiteY9142" fmla="*/ 2472404 h 3355086"/>
                <a:gd name="connsiteX9143" fmla="*/ 2882360 w 3359086"/>
                <a:gd name="connsiteY9143" fmla="*/ 2466213 h 3355086"/>
                <a:gd name="connsiteX9144" fmla="*/ 2888551 w 3359086"/>
                <a:gd name="connsiteY9144" fmla="*/ 2460022 h 3355086"/>
                <a:gd name="connsiteX9145" fmla="*/ 202501 w 3359086"/>
                <a:gd name="connsiteY9145" fmla="*/ 2458974 h 3355086"/>
                <a:gd name="connsiteX9146" fmla="*/ 208216 w 3359086"/>
                <a:gd name="connsiteY9146" fmla="*/ 2464689 h 3355086"/>
                <a:gd name="connsiteX9147" fmla="*/ 202501 w 3359086"/>
                <a:gd name="connsiteY9147" fmla="*/ 2470404 h 3355086"/>
                <a:gd name="connsiteX9148" fmla="*/ 196786 w 3359086"/>
                <a:gd name="connsiteY9148" fmla="*/ 2464689 h 3355086"/>
                <a:gd name="connsiteX9149" fmla="*/ 202501 w 3359086"/>
                <a:gd name="connsiteY9149" fmla="*/ 2458974 h 3355086"/>
                <a:gd name="connsiteX9150" fmla="*/ 254888 w 3359086"/>
                <a:gd name="connsiteY9150" fmla="*/ 2458212 h 3355086"/>
                <a:gd name="connsiteX9151" fmla="*/ 261079 w 3359086"/>
                <a:gd name="connsiteY9151" fmla="*/ 2464403 h 3355086"/>
                <a:gd name="connsiteX9152" fmla="*/ 254888 w 3359086"/>
                <a:gd name="connsiteY9152" fmla="*/ 2470594 h 3355086"/>
                <a:gd name="connsiteX9153" fmla="*/ 248697 w 3359086"/>
                <a:gd name="connsiteY9153" fmla="*/ 2464403 h 3355086"/>
                <a:gd name="connsiteX9154" fmla="*/ 254888 w 3359086"/>
                <a:gd name="connsiteY9154" fmla="*/ 2458212 h 3355086"/>
                <a:gd name="connsiteX9155" fmla="*/ 3090481 w 3359086"/>
                <a:gd name="connsiteY9155" fmla="*/ 2458022 h 3355086"/>
                <a:gd name="connsiteX9156" fmla="*/ 3096672 w 3359086"/>
                <a:gd name="connsiteY9156" fmla="*/ 2464213 h 3355086"/>
                <a:gd name="connsiteX9157" fmla="*/ 3092767 w 3359086"/>
                <a:gd name="connsiteY9157" fmla="*/ 2468119 h 3355086"/>
                <a:gd name="connsiteX9158" fmla="*/ 3098577 w 3359086"/>
                <a:gd name="connsiteY9158" fmla="*/ 2473928 h 3355086"/>
                <a:gd name="connsiteX9159" fmla="*/ 3094958 w 3359086"/>
                <a:gd name="connsiteY9159" fmla="*/ 2477548 h 3355086"/>
                <a:gd name="connsiteX9160" fmla="*/ 3099720 w 3359086"/>
                <a:gd name="connsiteY9160" fmla="*/ 2482310 h 3355086"/>
                <a:gd name="connsiteX9161" fmla="*/ 3096386 w 3359086"/>
                <a:gd name="connsiteY9161" fmla="*/ 2485644 h 3355086"/>
                <a:gd name="connsiteX9162" fmla="*/ 3100577 w 3359086"/>
                <a:gd name="connsiteY9162" fmla="*/ 2489835 h 3355086"/>
                <a:gd name="connsiteX9163" fmla="*/ 3097672 w 3359086"/>
                <a:gd name="connsiteY9163" fmla="*/ 2492741 h 3355086"/>
                <a:gd name="connsiteX9164" fmla="*/ 3101911 w 3359086"/>
                <a:gd name="connsiteY9164" fmla="*/ 2496979 h 3355086"/>
                <a:gd name="connsiteX9165" fmla="*/ 3099530 w 3359086"/>
                <a:gd name="connsiteY9165" fmla="*/ 2499360 h 3355086"/>
                <a:gd name="connsiteX9166" fmla="*/ 3104197 w 3359086"/>
                <a:gd name="connsiteY9166" fmla="*/ 2504027 h 3355086"/>
                <a:gd name="connsiteX9167" fmla="*/ 3102292 w 3359086"/>
                <a:gd name="connsiteY9167" fmla="*/ 2505933 h 3355086"/>
                <a:gd name="connsiteX9168" fmla="*/ 3107816 w 3359086"/>
                <a:gd name="connsiteY9168" fmla="*/ 2511457 h 3355086"/>
                <a:gd name="connsiteX9169" fmla="*/ 3101625 w 3359086"/>
                <a:gd name="connsiteY9169" fmla="*/ 2517648 h 3355086"/>
                <a:gd name="connsiteX9170" fmla="*/ 3095434 w 3359086"/>
                <a:gd name="connsiteY9170" fmla="*/ 2511457 h 3355086"/>
                <a:gd name="connsiteX9171" fmla="*/ 3097339 w 3359086"/>
                <a:gd name="connsiteY9171" fmla="*/ 2509552 h 3355086"/>
                <a:gd name="connsiteX9172" fmla="*/ 3091815 w 3359086"/>
                <a:gd name="connsiteY9172" fmla="*/ 2504027 h 3355086"/>
                <a:gd name="connsiteX9173" fmla="*/ 3094195 w 3359086"/>
                <a:gd name="connsiteY9173" fmla="*/ 2501647 h 3355086"/>
                <a:gd name="connsiteX9174" fmla="*/ 3089528 w 3359086"/>
                <a:gd name="connsiteY9174" fmla="*/ 2496979 h 3355086"/>
                <a:gd name="connsiteX9175" fmla="*/ 3092433 w 3359086"/>
                <a:gd name="connsiteY9175" fmla="*/ 2494074 h 3355086"/>
                <a:gd name="connsiteX9176" fmla="*/ 3088195 w 3359086"/>
                <a:gd name="connsiteY9176" fmla="*/ 2489835 h 3355086"/>
                <a:gd name="connsiteX9177" fmla="*/ 3091529 w 3359086"/>
                <a:gd name="connsiteY9177" fmla="*/ 2486501 h 3355086"/>
                <a:gd name="connsiteX9178" fmla="*/ 3087338 w 3359086"/>
                <a:gd name="connsiteY9178" fmla="*/ 2482310 h 3355086"/>
                <a:gd name="connsiteX9179" fmla="*/ 3090957 w 3359086"/>
                <a:gd name="connsiteY9179" fmla="*/ 2478691 h 3355086"/>
                <a:gd name="connsiteX9180" fmla="*/ 3086195 w 3359086"/>
                <a:gd name="connsiteY9180" fmla="*/ 2473928 h 3355086"/>
                <a:gd name="connsiteX9181" fmla="*/ 3090100 w 3359086"/>
                <a:gd name="connsiteY9181" fmla="*/ 2470024 h 3355086"/>
                <a:gd name="connsiteX9182" fmla="*/ 3084290 w 3359086"/>
                <a:gd name="connsiteY9182" fmla="*/ 2464213 h 3355086"/>
                <a:gd name="connsiteX9183" fmla="*/ 3090481 w 3359086"/>
                <a:gd name="connsiteY9183" fmla="*/ 2458022 h 3355086"/>
                <a:gd name="connsiteX9184" fmla="*/ 1217580 w 3359086"/>
                <a:gd name="connsiteY9184" fmla="*/ 2457355 h 3355086"/>
                <a:gd name="connsiteX9185" fmla="*/ 1223771 w 3359086"/>
                <a:gd name="connsiteY9185" fmla="*/ 2463546 h 3355086"/>
                <a:gd name="connsiteX9186" fmla="*/ 1217580 w 3359086"/>
                <a:gd name="connsiteY9186" fmla="*/ 2469737 h 3355086"/>
                <a:gd name="connsiteX9187" fmla="*/ 1211389 w 3359086"/>
                <a:gd name="connsiteY9187" fmla="*/ 2463546 h 3355086"/>
                <a:gd name="connsiteX9188" fmla="*/ 1217580 w 3359086"/>
                <a:gd name="connsiteY9188" fmla="*/ 2457355 h 3355086"/>
                <a:gd name="connsiteX9189" fmla="*/ 3060001 w 3359086"/>
                <a:gd name="connsiteY9189" fmla="*/ 2454783 h 3355086"/>
                <a:gd name="connsiteX9190" fmla="*/ 3066193 w 3359086"/>
                <a:gd name="connsiteY9190" fmla="*/ 2460974 h 3355086"/>
                <a:gd name="connsiteX9191" fmla="*/ 3060001 w 3359086"/>
                <a:gd name="connsiteY9191" fmla="*/ 2467166 h 3355086"/>
                <a:gd name="connsiteX9192" fmla="*/ 3053810 w 3359086"/>
                <a:gd name="connsiteY9192" fmla="*/ 2460974 h 3355086"/>
                <a:gd name="connsiteX9193" fmla="*/ 3060001 w 3359086"/>
                <a:gd name="connsiteY9193" fmla="*/ 2454783 h 3355086"/>
                <a:gd name="connsiteX9194" fmla="*/ 350424 w 3359086"/>
                <a:gd name="connsiteY9194" fmla="*/ 2452116 h 3355086"/>
                <a:gd name="connsiteX9195" fmla="*/ 356615 w 3359086"/>
                <a:gd name="connsiteY9195" fmla="*/ 2458307 h 3355086"/>
                <a:gd name="connsiteX9196" fmla="*/ 350424 w 3359086"/>
                <a:gd name="connsiteY9196" fmla="*/ 2464499 h 3355086"/>
                <a:gd name="connsiteX9197" fmla="*/ 344233 w 3359086"/>
                <a:gd name="connsiteY9197" fmla="*/ 2458307 h 3355086"/>
                <a:gd name="connsiteX9198" fmla="*/ 350424 w 3359086"/>
                <a:gd name="connsiteY9198" fmla="*/ 2452116 h 3355086"/>
                <a:gd name="connsiteX9199" fmla="*/ 3136391 w 3359086"/>
                <a:gd name="connsiteY9199" fmla="*/ 2450592 h 3355086"/>
                <a:gd name="connsiteX9200" fmla="*/ 3142582 w 3359086"/>
                <a:gd name="connsiteY9200" fmla="*/ 2456783 h 3355086"/>
                <a:gd name="connsiteX9201" fmla="*/ 3136391 w 3359086"/>
                <a:gd name="connsiteY9201" fmla="*/ 2462975 h 3355086"/>
                <a:gd name="connsiteX9202" fmla="*/ 3130200 w 3359086"/>
                <a:gd name="connsiteY9202" fmla="*/ 2456783 h 3355086"/>
                <a:gd name="connsiteX9203" fmla="*/ 3136391 w 3359086"/>
                <a:gd name="connsiteY9203" fmla="*/ 2450592 h 3355086"/>
                <a:gd name="connsiteX9204" fmla="*/ 2572225 w 3359086"/>
                <a:gd name="connsiteY9204" fmla="*/ 2450211 h 3355086"/>
                <a:gd name="connsiteX9205" fmla="*/ 2578417 w 3359086"/>
                <a:gd name="connsiteY9205" fmla="*/ 2456402 h 3355086"/>
                <a:gd name="connsiteX9206" fmla="*/ 2572225 w 3359086"/>
                <a:gd name="connsiteY9206" fmla="*/ 2462593 h 3355086"/>
                <a:gd name="connsiteX9207" fmla="*/ 2566034 w 3359086"/>
                <a:gd name="connsiteY9207" fmla="*/ 2456402 h 3355086"/>
                <a:gd name="connsiteX9208" fmla="*/ 2572225 w 3359086"/>
                <a:gd name="connsiteY9208" fmla="*/ 2450211 h 3355086"/>
                <a:gd name="connsiteX9209" fmla="*/ 298418 w 3359086"/>
                <a:gd name="connsiteY9209" fmla="*/ 2450021 h 3355086"/>
                <a:gd name="connsiteX9210" fmla="*/ 304609 w 3359086"/>
                <a:gd name="connsiteY9210" fmla="*/ 2456212 h 3355086"/>
                <a:gd name="connsiteX9211" fmla="*/ 298418 w 3359086"/>
                <a:gd name="connsiteY9211" fmla="*/ 2462404 h 3355086"/>
                <a:gd name="connsiteX9212" fmla="*/ 292227 w 3359086"/>
                <a:gd name="connsiteY9212" fmla="*/ 2456212 h 3355086"/>
                <a:gd name="connsiteX9213" fmla="*/ 298418 w 3359086"/>
                <a:gd name="connsiteY9213" fmla="*/ 2450021 h 3355086"/>
                <a:gd name="connsiteX9214" fmla="*/ 189928 w 3359086"/>
                <a:gd name="connsiteY9214" fmla="*/ 2449735 h 3355086"/>
                <a:gd name="connsiteX9215" fmla="*/ 190213 w 3359086"/>
                <a:gd name="connsiteY9215" fmla="*/ 2450021 h 3355086"/>
                <a:gd name="connsiteX9216" fmla="*/ 189928 w 3359086"/>
                <a:gd name="connsiteY9216" fmla="*/ 2450306 h 3355086"/>
                <a:gd name="connsiteX9217" fmla="*/ 189642 w 3359086"/>
                <a:gd name="connsiteY9217" fmla="*/ 2450021 h 3355086"/>
                <a:gd name="connsiteX9218" fmla="*/ 189928 w 3359086"/>
                <a:gd name="connsiteY9218" fmla="*/ 2449735 h 3355086"/>
                <a:gd name="connsiteX9219" fmla="*/ 2173604 w 3359086"/>
                <a:gd name="connsiteY9219" fmla="*/ 2449163 h 3355086"/>
                <a:gd name="connsiteX9220" fmla="*/ 2179796 w 3359086"/>
                <a:gd name="connsiteY9220" fmla="*/ 2455354 h 3355086"/>
                <a:gd name="connsiteX9221" fmla="*/ 2173604 w 3359086"/>
                <a:gd name="connsiteY9221" fmla="*/ 2461546 h 3355086"/>
                <a:gd name="connsiteX9222" fmla="*/ 2167413 w 3359086"/>
                <a:gd name="connsiteY9222" fmla="*/ 2455354 h 3355086"/>
                <a:gd name="connsiteX9223" fmla="*/ 2173604 w 3359086"/>
                <a:gd name="connsiteY9223" fmla="*/ 2449163 h 3355086"/>
                <a:gd name="connsiteX9224" fmla="*/ 2784442 w 3359086"/>
                <a:gd name="connsiteY9224" fmla="*/ 2449068 h 3355086"/>
                <a:gd name="connsiteX9225" fmla="*/ 2790634 w 3359086"/>
                <a:gd name="connsiteY9225" fmla="*/ 2455259 h 3355086"/>
                <a:gd name="connsiteX9226" fmla="*/ 2784442 w 3359086"/>
                <a:gd name="connsiteY9226" fmla="*/ 2461451 h 3355086"/>
                <a:gd name="connsiteX9227" fmla="*/ 2778251 w 3359086"/>
                <a:gd name="connsiteY9227" fmla="*/ 2455259 h 3355086"/>
                <a:gd name="connsiteX9228" fmla="*/ 2784442 w 3359086"/>
                <a:gd name="connsiteY9228" fmla="*/ 2449068 h 3355086"/>
                <a:gd name="connsiteX9229" fmla="*/ 423004 w 3359086"/>
                <a:gd name="connsiteY9229" fmla="*/ 2448878 h 3355086"/>
                <a:gd name="connsiteX9230" fmla="*/ 429196 w 3359086"/>
                <a:gd name="connsiteY9230" fmla="*/ 2455069 h 3355086"/>
                <a:gd name="connsiteX9231" fmla="*/ 423004 w 3359086"/>
                <a:gd name="connsiteY9231" fmla="*/ 2461261 h 3355086"/>
                <a:gd name="connsiteX9232" fmla="*/ 416813 w 3359086"/>
                <a:gd name="connsiteY9232" fmla="*/ 2455069 h 3355086"/>
                <a:gd name="connsiteX9233" fmla="*/ 423004 w 3359086"/>
                <a:gd name="connsiteY9233" fmla="*/ 2448878 h 3355086"/>
                <a:gd name="connsiteX9234" fmla="*/ 234409 w 3359086"/>
                <a:gd name="connsiteY9234" fmla="*/ 2448306 h 3355086"/>
                <a:gd name="connsiteX9235" fmla="*/ 240601 w 3359086"/>
                <a:gd name="connsiteY9235" fmla="*/ 2454497 h 3355086"/>
                <a:gd name="connsiteX9236" fmla="*/ 234933 w 3359086"/>
                <a:gd name="connsiteY9236" fmla="*/ 2460164 h 3355086"/>
                <a:gd name="connsiteX9237" fmla="*/ 239268 w 3359086"/>
                <a:gd name="connsiteY9237" fmla="*/ 2464498 h 3355086"/>
                <a:gd name="connsiteX9238" fmla="*/ 234600 w 3359086"/>
                <a:gd name="connsiteY9238" fmla="*/ 2469166 h 3355086"/>
                <a:gd name="connsiteX9239" fmla="*/ 238600 w 3359086"/>
                <a:gd name="connsiteY9239" fmla="*/ 2473166 h 3355086"/>
                <a:gd name="connsiteX9240" fmla="*/ 234219 w 3359086"/>
                <a:gd name="connsiteY9240" fmla="*/ 2477548 h 3355086"/>
                <a:gd name="connsiteX9241" fmla="*/ 237838 w 3359086"/>
                <a:gd name="connsiteY9241" fmla="*/ 2481167 h 3355086"/>
                <a:gd name="connsiteX9242" fmla="*/ 233457 w 3359086"/>
                <a:gd name="connsiteY9242" fmla="*/ 2485549 h 3355086"/>
                <a:gd name="connsiteX9243" fmla="*/ 236600 w 3359086"/>
                <a:gd name="connsiteY9243" fmla="*/ 2488692 h 3355086"/>
                <a:gd name="connsiteX9244" fmla="*/ 231647 w 3359086"/>
                <a:gd name="connsiteY9244" fmla="*/ 2493645 h 3355086"/>
                <a:gd name="connsiteX9245" fmla="*/ 234315 w 3359086"/>
                <a:gd name="connsiteY9245" fmla="*/ 2496312 h 3355086"/>
                <a:gd name="connsiteX9246" fmla="*/ 228218 w 3359086"/>
                <a:gd name="connsiteY9246" fmla="*/ 2502408 h 3355086"/>
                <a:gd name="connsiteX9247" fmla="*/ 229933 w 3359086"/>
                <a:gd name="connsiteY9247" fmla="*/ 2504123 h 3355086"/>
                <a:gd name="connsiteX9248" fmla="*/ 224313 w 3359086"/>
                <a:gd name="connsiteY9248" fmla="*/ 2509743 h 3355086"/>
                <a:gd name="connsiteX9249" fmla="*/ 218693 w 3359086"/>
                <a:gd name="connsiteY9249" fmla="*/ 2504123 h 3355086"/>
                <a:gd name="connsiteX9250" fmla="*/ 224218 w 3359086"/>
                <a:gd name="connsiteY9250" fmla="*/ 2498598 h 3355086"/>
                <a:gd name="connsiteX9251" fmla="*/ 221932 w 3359086"/>
                <a:gd name="connsiteY9251" fmla="*/ 2496312 h 3355086"/>
                <a:gd name="connsiteX9252" fmla="*/ 226885 w 3359086"/>
                <a:gd name="connsiteY9252" fmla="*/ 2491359 h 3355086"/>
                <a:gd name="connsiteX9253" fmla="*/ 224218 w 3359086"/>
                <a:gd name="connsiteY9253" fmla="*/ 2488692 h 3355086"/>
                <a:gd name="connsiteX9254" fmla="*/ 228599 w 3359086"/>
                <a:gd name="connsiteY9254" fmla="*/ 2484311 h 3355086"/>
                <a:gd name="connsiteX9255" fmla="*/ 225456 w 3359086"/>
                <a:gd name="connsiteY9255" fmla="*/ 2481167 h 3355086"/>
                <a:gd name="connsiteX9256" fmla="*/ 229837 w 3359086"/>
                <a:gd name="connsiteY9256" fmla="*/ 2476786 h 3355086"/>
                <a:gd name="connsiteX9257" fmla="*/ 226218 w 3359086"/>
                <a:gd name="connsiteY9257" fmla="*/ 2473166 h 3355086"/>
                <a:gd name="connsiteX9258" fmla="*/ 230885 w 3359086"/>
                <a:gd name="connsiteY9258" fmla="*/ 2468499 h 3355086"/>
                <a:gd name="connsiteX9259" fmla="*/ 226885 w 3359086"/>
                <a:gd name="connsiteY9259" fmla="*/ 2464498 h 3355086"/>
                <a:gd name="connsiteX9260" fmla="*/ 232552 w 3359086"/>
                <a:gd name="connsiteY9260" fmla="*/ 2458831 h 3355086"/>
                <a:gd name="connsiteX9261" fmla="*/ 228218 w 3359086"/>
                <a:gd name="connsiteY9261" fmla="*/ 2454497 h 3355086"/>
                <a:gd name="connsiteX9262" fmla="*/ 234409 w 3359086"/>
                <a:gd name="connsiteY9262" fmla="*/ 2448306 h 3355086"/>
                <a:gd name="connsiteX9263" fmla="*/ 3154965 w 3359086"/>
                <a:gd name="connsiteY9263" fmla="*/ 2448021 h 3355086"/>
                <a:gd name="connsiteX9264" fmla="*/ 3161157 w 3359086"/>
                <a:gd name="connsiteY9264" fmla="*/ 2454212 h 3355086"/>
                <a:gd name="connsiteX9265" fmla="*/ 3154965 w 3359086"/>
                <a:gd name="connsiteY9265" fmla="*/ 2460403 h 3355086"/>
                <a:gd name="connsiteX9266" fmla="*/ 3148774 w 3359086"/>
                <a:gd name="connsiteY9266" fmla="*/ 2454212 h 3355086"/>
                <a:gd name="connsiteX9267" fmla="*/ 3154965 w 3359086"/>
                <a:gd name="connsiteY9267" fmla="*/ 2448021 h 3355086"/>
                <a:gd name="connsiteX9268" fmla="*/ 3086957 w 3359086"/>
                <a:gd name="connsiteY9268" fmla="*/ 2446401 h 3355086"/>
                <a:gd name="connsiteX9269" fmla="*/ 3093148 w 3359086"/>
                <a:gd name="connsiteY9269" fmla="*/ 2452592 h 3355086"/>
                <a:gd name="connsiteX9270" fmla="*/ 3086957 w 3359086"/>
                <a:gd name="connsiteY9270" fmla="*/ 2458784 h 3355086"/>
                <a:gd name="connsiteX9271" fmla="*/ 3080766 w 3359086"/>
                <a:gd name="connsiteY9271" fmla="*/ 2452592 h 3355086"/>
                <a:gd name="connsiteX9272" fmla="*/ 3086957 w 3359086"/>
                <a:gd name="connsiteY9272" fmla="*/ 2446401 h 3355086"/>
                <a:gd name="connsiteX9273" fmla="*/ 262127 w 3359086"/>
                <a:gd name="connsiteY9273" fmla="*/ 2444211 h 3355086"/>
                <a:gd name="connsiteX9274" fmla="*/ 268318 w 3359086"/>
                <a:gd name="connsiteY9274" fmla="*/ 2450402 h 3355086"/>
                <a:gd name="connsiteX9275" fmla="*/ 262127 w 3359086"/>
                <a:gd name="connsiteY9275" fmla="*/ 2456593 h 3355086"/>
                <a:gd name="connsiteX9276" fmla="*/ 255936 w 3359086"/>
                <a:gd name="connsiteY9276" fmla="*/ 2450402 h 3355086"/>
                <a:gd name="connsiteX9277" fmla="*/ 262127 w 3359086"/>
                <a:gd name="connsiteY9277" fmla="*/ 2444211 h 3355086"/>
                <a:gd name="connsiteX9278" fmla="*/ 1108805 w 3359086"/>
                <a:gd name="connsiteY9278" fmla="*/ 2441448 h 3355086"/>
                <a:gd name="connsiteX9279" fmla="*/ 1114996 w 3359086"/>
                <a:gd name="connsiteY9279" fmla="*/ 2447639 h 3355086"/>
                <a:gd name="connsiteX9280" fmla="*/ 1108805 w 3359086"/>
                <a:gd name="connsiteY9280" fmla="*/ 2453830 h 3355086"/>
                <a:gd name="connsiteX9281" fmla="*/ 1102614 w 3359086"/>
                <a:gd name="connsiteY9281" fmla="*/ 2447639 h 3355086"/>
                <a:gd name="connsiteX9282" fmla="*/ 1108805 w 3359086"/>
                <a:gd name="connsiteY9282" fmla="*/ 2441448 h 3355086"/>
                <a:gd name="connsiteX9283" fmla="*/ 724471 w 3359086"/>
                <a:gd name="connsiteY9283" fmla="*/ 2439924 h 3355086"/>
                <a:gd name="connsiteX9284" fmla="*/ 730662 w 3359086"/>
                <a:gd name="connsiteY9284" fmla="*/ 2446115 h 3355086"/>
                <a:gd name="connsiteX9285" fmla="*/ 724471 w 3359086"/>
                <a:gd name="connsiteY9285" fmla="*/ 2452307 h 3355086"/>
                <a:gd name="connsiteX9286" fmla="*/ 718280 w 3359086"/>
                <a:gd name="connsiteY9286" fmla="*/ 2446115 h 3355086"/>
                <a:gd name="connsiteX9287" fmla="*/ 724471 w 3359086"/>
                <a:gd name="connsiteY9287" fmla="*/ 2439924 h 3355086"/>
                <a:gd name="connsiteX9288" fmla="*/ 2999517 w 3359086"/>
                <a:gd name="connsiteY9288" fmla="*/ 2439448 h 3355086"/>
                <a:gd name="connsiteX9289" fmla="*/ 3005708 w 3359086"/>
                <a:gd name="connsiteY9289" fmla="*/ 2445639 h 3355086"/>
                <a:gd name="connsiteX9290" fmla="*/ 2999517 w 3359086"/>
                <a:gd name="connsiteY9290" fmla="*/ 2451830 h 3355086"/>
                <a:gd name="connsiteX9291" fmla="*/ 2993326 w 3359086"/>
                <a:gd name="connsiteY9291" fmla="*/ 2445639 h 3355086"/>
                <a:gd name="connsiteX9292" fmla="*/ 2999517 w 3359086"/>
                <a:gd name="connsiteY9292" fmla="*/ 2439448 h 3355086"/>
                <a:gd name="connsiteX9293" fmla="*/ 521683 w 3359086"/>
                <a:gd name="connsiteY9293" fmla="*/ 2438115 h 3355086"/>
                <a:gd name="connsiteX9294" fmla="*/ 527874 w 3359086"/>
                <a:gd name="connsiteY9294" fmla="*/ 2444306 h 3355086"/>
                <a:gd name="connsiteX9295" fmla="*/ 521683 w 3359086"/>
                <a:gd name="connsiteY9295" fmla="*/ 2450498 h 3355086"/>
                <a:gd name="connsiteX9296" fmla="*/ 515492 w 3359086"/>
                <a:gd name="connsiteY9296" fmla="*/ 2444306 h 3355086"/>
                <a:gd name="connsiteX9297" fmla="*/ 521683 w 3359086"/>
                <a:gd name="connsiteY9297" fmla="*/ 2438115 h 3355086"/>
                <a:gd name="connsiteX9298" fmla="*/ 3047618 w 3359086"/>
                <a:gd name="connsiteY9298" fmla="*/ 2437638 h 3355086"/>
                <a:gd name="connsiteX9299" fmla="*/ 3053809 w 3359086"/>
                <a:gd name="connsiteY9299" fmla="*/ 2443829 h 3355086"/>
                <a:gd name="connsiteX9300" fmla="*/ 3047618 w 3359086"/>
                <a:gd name="connsiteY9300" fmla="*/ 2450020 h 3355086"/>
                <a:gd name="connsiteX9301" fmla="*/ 3041427 w 3359086"/>
                <a:gd name="connsiteY9301" fmla="*/ 2443829 h 3355086"/>
                <a:gd name="connsiteX9302" fmla="*/ 3047618 w 3359086"/>
                <a:gd name="connsiteY9302" fmla="*/ 2437638 h 3355086"/>
                <a:gd name="connsiteX9303" fmla="*/ 3105721 w 3359086"/>
                <a:gd name="connsiteY9303" fmla="*/ 2437162 h 3355086"/>
                <a:gd name="connsiteX9304" fmla="*/ 3111912 w 3359086"/>
                <a:gd name="connsiteY9304" fmla="*/ 2443353 h 3355086"/>
                <a:gd name="connsiteX9305" fmla="*/ 3107102 w 3359086"/>
                <a:gd name="connsiteY9305" fmla="*/ 2448164 h 3355086"/>
                <a:gd name="connsiteX9306" fmla="*/ 3112675 w 3359086"/>
                <a:gd name="connsiteY9306" fmla="*/ 2453735 h 3355086"/>
                <a:gd name="connsiteX9307" fmla="*/ 3108293 w 3359086"/>
                <a:gd name="connsiteY9307" fmla="*/ 2458117 h 3355086"/>
                <a:gd name="connsiteX9308" fmla="*/ 3113055 w 3359086"/>
                <a:gd name="connsiteY9308" fmla="*/ 2462879 h 3355086"/>
                <a:gd name="connsiteX9309" fmla="*/ 3109055 w 3359086"/>
                <a:gd name="connsiteY9309" fmla="*/ 2466880 h 3355086"/>
                <a:gd name="connsiteX9310" fmla="*/ 3113532 w 3359086"/>
                <a:gd name="connsiteY9310" fmla="*/ 2471356 h 3355086"/>
                <a:gd name="connsiteX9311" fmla="*/ 3110150 w 3359086"/>
                <a:gd name="connsiteY9311" fmla="*/ 2474739 h 3355086"/>
                <a:gd name="connsiteX9312" fmla="*/ 3114770 w 3359086"/>
                <a:gd name="connsiteY9312" fmla="*/ 2479358 h 3355086"/>
                <a:gd name="connsiteX9313" fmla="*/ 3111912 w 3359086"/>
                <a:gd name="connsiteY9313" fmla="*/ 2482216 h 3355086"/>
                <a:gd name="connsiteX9314" fmla="*/ 3117246 w 3359086"/>
                <a:gd name="connsiteY9314" fmla="*/ 2487549 h 3355086"/>
                <a:gd name="connsiteX9315" fmla="*/ 3111055 w 3359086"/>
                <a:gd name="connsiteY9315" fmla="*/ 2493740 h 3355086"/>
                <a:gd name="connsiteX9316" fmla="*/ 3104864 w 3359086"/>
                <a:gd name="connsiteY9316" fmla="*/ 2487549 h 3355086"/>
                <a:gd name="connsiteX9317" fmla="*/ 3107721 w 3359086"/>
                <a:gd name="connsiteY9317" fmla="*/ 2484692 h 3355086"/>
                <a:gd name="connsiteX9318" fmla="*/ 3102387 w 3359086"/>
                <a:gd name="connsiteY9318" fmla="*/ 2479358 h 3355086"/>
                <a:gd name="connsiteX9319" fmla="*/ 3105769 w 3359086"/>
                <a:gd name="connsiteY9319" fmla="*/ 2475977 h 3355086"/>
                <a:gd name="connsiteX9320" fmla="*/ 3101149 w 3359086"/>
                <a:gd name="connsiteY9320" fmla="*/ 2471356 h 3355086"/>
                <a:gd name="connsiteX9321" fmla="*/ 3105150 w 3359086"/>
                <a:gd name="connsiteY9321" fmla="*/ 2467356 h 3355086"/>
                <a:gd name="connsiteX9322" fmla="*/ 3100673 w 3359086"/>
                <a:gd name="connsiteY9322" fmla="*/ 2462879 h 3355086"/>
                <a:gd name="connsiteX9323" fmla="*/ 3105054 w 3359086"/>
                <a:gd name="connsiteY9323" fmla="*/ 2458498 h 3355086"/>
                <a:gd name="connsiteX9324" fmla="*/ 3100292 w 3359086"/>
                <a:gd name="connsiteY9324" fmla="*/ 2453735 h 3355086"/>
                <a:gd name="connsiteX9325" fmla="*/ 3105102 w 3359086"/>
                <a:gd name="connsiteY9325" fmla="*/ 2448926 h 3355086"/>
                <a:gd name="connsiteX9326" fmla="*/ 3099530 w 3359086"/>
                <a:gd name="connsiteY9326" fmla="*/ 2443353 h 3355086"/>
                <a:gd name="connsiteX9327" fmla="*/ 3105721 w 3359086"/>
                <a:gd name="connsiteY9327" fmla="*/ 2437162 h 3355086"/>
                <a:gd name="connsiteX9328" fmla="*/ 3148964 w 3359086"/>
                <a:gd name="connsiteY9328" fmla="*/ 2436400 h 3355086"/>
                <a:gd name="connsiteX9329" fmla="*/ 3155155 w 3359086"/>
                <a:gd name="connsiteY9329" fmla="*/ 2442591 h 3355086"/>
                <a:gd name="connsiteX9330" fmla="*/ 3148964 w 3359086"/>
                <a:gd name="connsiteY9330" fmla="*/ 2448782 h 3355086"/>
                <a:gd name="connsiteX9331" fmla="*/ 3142773 w 3359086"/>
                <a:gd name="connsiteY9331" fmla="*/ 2442591 h 3355086"/>
                <a:gd name="connsiteX9332" fmla="*/ 3148964 w 3359086"/>
                <a:gd name="connsiteY9332" fmla="*/ 2436400 h 3355086"/>
                <a:gd name="connsiteX9333" fmla="*/ 237267 w 3359086"/>
                <a:gd name="connsiteY9333" fmla="*/ 2436400 h 3355086"/>
                <a:gd name="connsiteX9334" fmla="*/ 243458 w 3359086"/>
                <a:gd name="connsiteY9334" fmla="*/ 2442591 h 3355086"/>
                <a:gd name="connsiteX9335" fmla="*/ 237267 w 3359086"/>
                <a:gd name="connsiteY9335" fmla="*/ 2448782 h 3355086"/>
                <a:gd name="connsiteX9336" fmla="*/ 231076 w 3359086"/>
                <a:gd name="connsiteY9336" fmla="*/ 2442591 h 3355086"/>
                <a:gd name="connsiteX9337" fmla="*/ 237267 w 3359086"/>
                <a:gd name="connsiteY9337" fmla="*/ 2436400 h 3355086"/>
                <a:gd name="connsiteX9338" fmla="*/ 2931794 w 3359086"/>
                <a:gd name="connsiteY9338" fmla="*/ 2436114 h 3355086"/>
                <a:gd name="connsiteX9339" fmla="*/ 2937986 w 3359086"/>
                <a:gd name="connsiteY9339" fmla="*/ 2442305 h 3355086"/>
                <a:gd name="connsiteX9340" fmla="*/ 2931794 w 3359086"/>
                <a:gd name="connsiteY9340" fmla="*/ 2448496 h 3355086"/>
                <a:gd name="connsiteX9341" fmla="*/ 2925603 w 3359086"/>
                <a:gd name="connsiteY9341" fmla="*/ 2442305 h 3355086"/>
                <a:gd name="connsiteX9342" fmla="*/ 2931794 w 3359086"/>
                <a:gd name="connsiteY9342" fmla="*/ 2436114 h 3355086"/>
                <a:gd name="connsiteX9343" fmla="*/ 3168491 w 3359086"/>
                <a:gd name="connsiteY9343" fmla="*/ 2436019 h 3355086"/>
                <a:gd name="connsiteX9344" fmla="*/ 3174110 w 3359086"/>
                <a:gd name="connsiteY9344" fmla="*/ 2441639 h 3355086"/>
                <a:gd name="connsiteX9345" fmla="*/ 3168491 w 3359086"/>
                <a:gd name="connsiteY9345" fmla="*/ 2447259 h 3355086"/>
                <a:gd name="connsiteX9346" fmla="*/ 3162871 w 3359086"/>
                <a:gd name="connsiteY9346" fmla="*/ 2441639 h 3355086"/>
                <a:gd name="connsiteX9347" fmla="*/ 3168491 w 3359086"/>
                <a:gd name="connsiteY9347" fmla="*/ 2436019 h 3355086"/>
                <a:gd name="connsiteX9348" fmla="*/ 3080956 w 3359086"/>
                <a:gd name="connsiteY9348" fmla="*/ 2432304 h 3355086"/>
                <a:gd name="connsiteX9349" fmla="*/ 3087147 w 3359086"/>
                <a:gd name="connsiteY9349" fmla="*/ 2438495 h 3355086"/>
                <a:gd name="connsiteX9350" fmla="*/ 3080956 w 3359086"/>
                <a:gd name="connsiteY9350" fmla="*/ 2444686 h 3355086"/>
                <a:gd name="connsiteX9351" fmla="*/ 3074765 w 3359086"/>
                <a:gd name="connsiteY9351" fmla="*/ 2438495 h 3355086"/>
                <a:gd name="connsiteX9352" fmla="*/ 3080956 w 3359086"/>
                <a:gd name="connsiteY9352" fmla="*/ 2432304 h 3355086"/>
                <a:gd name="connsiteX9353" fmla="*/ 2278951 w 3359086"/>
                <a:gd name="connsiteY9353" fmla="*/ 2432114 h 3355086"/>
                <a:gd name="connsiteX9354" fmla="*/ 2285143 w 3359086"/>
                <a:gd name="connsiteY9354" fmla="*/ 2438305 h 3355086"/>
                <a:gd name="connsiteX9355" fmla="*/ 2278951 w 3359086"/>
                <a:gd name="connsiteY9355" fmla="*/ 2444497 h 3355086"/>
                <a:gd name="connsiteX9356" fmla="*/ 2272760 w 3359086"/>
                <a:gd name="connsiteY9356" fmla="*/ 2438305 h 3355086"/>
                <a:gd name="connsiteX9357" fmla="*/ 2278951 w 3359086"/>
                <a:gd name="connsiteY9357" fmla="*/ 2432114 h 3355086"/>
                <a:gd name="connsiteX9358" fmla="*/ 3182112 w 3359086"/>
                <a:gd name="connsiteY9358" fmla="*/ 2429637 h 3355086"/>
                <a:gd name="connsiteX9359" fmla="*/ 3182397 w 3359086"/>
                <a:gd name="connsiteY9359" fmla="*/ 2429923 h 3355086"/>
                <a:gd name="connsiteX9360" fmla="*/ 3182112 w 3359086"/>
                <a:gd name="connsiteY9360" fmla="*/ 2430208 h 3355086"/>
                <a:gd name="connsiteX9361" fmla="*/ 3181826 w 3359086"/>
                <a:gd name="connsiteY9361" fmla="*/ 2429923 h 3355086"/>
                <a:gd name="connsiteX9362" fmla="*/ 3182112 w 3359086"/>
                <a:gd name="connsiteY9362" fmla="*/ 2429637 h 3355086"/>
                <a:gd name="connsiteX9363" fmla="*/ 318039 w 3359086"/>
                <a:gd name="connsiteY9363" fmla="*/ 2428590 h 3355086"/>
                <a:gd name="connsiteX9364" fmla="*/ 324230 w 3359086"/>
                <a:gd name="connsiteY9364" fmla="*/ 2434781 h 3355086"/>
                <a:gd name="connsiteX9365" fmla="*/ 318039 w 3359086"/>
                <a:gd name="connsiteY9365" fmla="*/ 2440973 h 3355086"/>
                <a:gd name="connsiteX9366" fmla="*/ 311848 w 3359086"/>
                <a:gd name="connsiteY9366" fmla="*/ 2434781 h 3355086"/>
                <a:gd name="connsiteX9367" fmla="*/ 318039 w 3359086"/>
                <a:gd name="connsiteY9367" fmla="*/ 2428590 h 3355086"/>
                <a:gd name="connsiteX9368" fmla="*/ 2646901 w 3359086"/>
                <a:gd name="connsiteY9368" fmla="*/ 2427923 h 3355086"/>
                <a:gd name="connsiteX9369" fmla="*/ 2653093 w 3359086"/>
                <a:gd name="connsiteY9369" fmla="*/ 2434114 h 3355086"/>
                <a:gd name="connsiteX9370" fmla="*/ 2646901 w 3359086"/>
                <a:gd name="connsiteY9370" fmla="*/ 2440306 h 3355086"/>
                <a:gd name="connsiteX9371" fmla="*/ 2640710 w 3359086"/>
                <a:gd name="connsiteY9371" fmla="*/ 2434114 h 3355086"/>
                <a:gd name="connsiteX9372" fmla="*/ 2646901 w 3359086"/>
                <a:gd name="connsiteY9372" fmla="*/ 2427923 h 3355086"/>
                <a:gd name="connsiteX9373" fmla="*/ 219932 w 3359086"/>
                <a:gd name="connsiteY9373" fmla="*/ 2427732 h 3355086"/>
                <a:gd name="connsiteX9374" fmla="*/ 226123 w 3359086"/>
                <a:gd name="connsiteY9374" fmla="*/ 2433923 h 3355086"/>
                <a:gd name="connsiteX9375" fmla="*/ 220550 w 3359086"/>
                <a:gd name="connsiteY9375" fmla="*/ 2439497 h 3355086"/>
                <a:gd name="connsiteX9376" fmla="*/ 225742 w 3359086"/>
                <a:gd name="connsiteY9376" fmla="*/ 2444687 h 3355086"/>
                <a:gd name="connsiteX9377" fmla="*/ 220931 w 3359086"/>
                <a:gd name="connsiteY9377" fmla="*/ 2449497 h 3355086"/>
                <a:gd name="connsiteX9378" fmla="*/ 225647 w 3359086"/>
                <a:gd name="connsiteY9378" fmla="*/ 2454212 h 3355086"/>
                <a:gd name="connsiteX9379" fmla="*/ 221074 w 3359086"/>
                <a:gd name="connsiteY9379" fmla="*/ 2458784 h 3355086"/>
                <a:gd name="connsiteX9380" fmla="*/ 225265 w 3359086"/>
                <a:gd name="connsiteY9380" fmla="*/ 2462975 h 3355086"/>
                <a:gd name="connsiteX9381" fmla="*/ 220313 w 3359086"/>
                <a:gd name="connsiteY9381" fmla="*/ 2467928 h 3355086"/>
                <a:gd name="connsiteX9382" fmla="*/ 223933 w 3359086"/>
                <a:gd name="connsiteY9382" fmla="*/ 2471547 h 3355086"/>
                <a:gd name="connsiteX9383" fmla="*/ 218359 w 3359086"/>
                <a:gd name="connsiteY9383" fmla="*/ 2477120 h 3355086"/>
                <a:gd name="connsiteX9384" fmla="*/ 221360 w 3359086"/>
                <a:gd name="connsiteY9384" fmla="*/ 2480120 h 3355086"/>
                <a:gd name="connsiteX9385" fmla="*/ 215169 w 3359086"/>
                <a:gd name="connsiteY9385" fmla="*/ 2486311 h 3355086"/>
                <a:gd name="connsiteX9386" fmla="*/ 208978 w 3359086"/>
                <a:gd name="connsiteY9386" fmla="*/ 2480120 h 3355086"/>
                <a:gd name="connsiteX9387" fmla="*/ 214550 w 3359086"/>
                <a:gd name="connsiteY9387" fmla="*/ 2474548 h 3355086"/>
                <a:gd name="connsiteX9388" fmla="*/ 211550 w 3359086"/>
                <a:gd name="connsiteY9388" fmla="*/ 2471547 h 3355086"/>
                <a:gd name="connsiteX9389" fmla="*/ 216502 w 3359086"/>
                <a:gd name="connsiteY9389" fmla="*/ 2466595 h 3355086"/>
                <a:gd name="connsiteX9390" fmla="*/ 212883 w 3359086"/>
                <a:gd name="connsiteY9390" fmla="*/ 2462975 h 3355086"/>
                <a:gd name="connsiteX9391" fmla="*/ 217455 w 3359086"/>
                <a:gd name="connsiteY9391" fmla="*/ 2458403 h 3355086"/>
                <a:gd name="connsiteX9392" fmla="*/ 213264 w 3359086"/>
                <a:gd name="connsiteY9392" fmla="*/ 2454212 h 3355086"/>
                <a:gd name="connsiteX9393" fmla="*/ 218074 w 3359086"/>
                <a:gd name="connsiteY9393" fmla="*/ 2449402 h 3355086"/>
                <a:gd name="connsiteX9394" fmla="*/ 213359 w 3359086"/>
                <a:gd name="connsiteY9394" fmla="*/ 2444687 h 3355086"/>
                <a:gd name="connsiteX9395" fmla="*/ 218931 w 3359086"/>
                <a:gd name="connsiteY9395" fmla="*/ 2439115 h 3355086"/>
                <a:gd name="connsiteX9396" fmla="*/ 213741 w 3359086"/>
                <a:gd name="connsiteY9396" fmla="*/ 2433923 h 3355086"/>
                <a:gd name="connsiteX9397" fmla="*/ 219932 w 3359086"/>
                <a:gd name="connsiteY9397" fmla="*/ 2427732 h 3355086"/>
                <a:gd name="connsiteX9398" fmla="*/ 273176 w 3359086"/>
                <a:gd name="connsiteY9398" fmla="*/ 2426970 h 3355086"/>
                <a:gd name="connsiteX9399" fmla="*/ 279367 w 3359086"/>
                <a:gd name="connsiteY9399" fmla="*/ 2433161 h 3355086"/>
                <a:gd name="connsiteX9400" fmla="*/ 273176 w 3359086"/>
                <a:gd name="connsiteY9400" fmla="*/ 2439353 h 3355086"/>
                <a:gd name="connsiteX9401" fmla="*/ 266985 w 3359086"/>
                <a:gd name="connsiteY9401" fmla="*/ 2433161 h 3355086"/>
                <a:gd name="connsiteX9402" fmla="*/ 273176 w 3359086"/>
                <a:gd name="connsiteY9402" fmla="*/ 2426970 h 3355086"/>
                <a:gd name="connsiteX9403" fmla="*/ 2839211 w 3359086"/>
                <a:gd name="connsiteY9403" fmla="*/ 2425542 h 3355086"/>
                <a:gd name="connsiteX9404" fmla="*/ 2845403 w 3359086"/>
                <a:gd name="connsiteY9404" fmla="*/ 2431733 h 3355086"/>
                <a:gd name="connsiteX9405" fmla="*/ 2839211 w 3359086"/>
                <a:gd name="connsiteY9405" fmla="*/ 2437924 h 3355086"/>
                <a:gd name="connsiteX9406" fmla="*/ 2833020 w 3359086"/>
                <a:gd name="connsiteY9406" fmla="*/ 2431733 h 3355086"/>
                <a:gd name="connsiteX9407" fmla="*/ 2839211 w 3359086"/>
                <a:gd name="connsiteY9407" fmla="*/ 2425542 h 3355086"/>
                <a:gd name="connsiteX9408" fmla="*/ 3144964 w 3359086"/>
                <a:gd name="connsiteY9408" fmla="*/ 2425256 h 3355086"/>
                <a:gd name="connsiteX9409" fmla="*/ 3151155 w 3359086"/>
                <a:gd name="connsiteY9409" fmla="*/ 2431447 h 3355086"/>
                <a:gd name="connsiteX9410" fmla="*/ 3144964 w 3359086"/>
                <a:gd name="connsiteY9410" fmla="*/ 2437639 h 3355086"/>
                <a:gd name="connsiteX9411" fmla="*/ 3138773 w 3359086"/>
                <a:gd name="connsiteY9411" fmla="*/ 2431447 h 3355086"/>
                <a:gd name="connsiteX9412" fmla="*/ 3144964 w 3359086"/>
                <a:gd name="connsiteY9412" fmla="*/ 2425256 h 3355086"/>
                <a:gd name="connsiteX9413" fmla="*/ 381666 w 3359086"/>
                <a:gd name="connsiteY9413" fmla="*/ 2425161 h 3355086"/>
                <a:gd name="connsiteX9414" fmla="*/ 387858 w 3359086"/>
                <a:gd name="connsiteY9414" fmla="*/ 2431352 h 3355086"/>
                <a:gd name="connsiteX9415" fmla="*/ 381666 w 3359086"/>
                <a:gd name="connsiteY9415" fmla="*/ 2437543 h 3355086"/>
                <a:gd name="connsiteX9416" fmla="*/ 375475 w 3359086"/>
                <a:gd name="connsiteY9416" fmla="*/ 2431352 h 3355086"/>
                <a:gd name="connsiteX9417" fmla="*/ 381666 w 3359086"/>
                <a:gd name="connsiteY9417" fmla="*/ 2425161 h 3355086"/>
                <a:gd name="connsiteX9418" fmla="*/ 3103721 w 3359086"/>
                <a:gd name="connsiteY9418" fmla="*/ 2425065 h 3355086"/>
                <a:gd name="connsiteX9419" fmla="*/ 3109912 w 3359086"/>
                <a:gd name="connsiteY9419" fmla="*/ 2431256 h 3355086"/>
                <a:gd name="connsiteX9420" fmla="*/ 3103721 w 3359086"/>
                <a:gd name="connsiteY9420" fmla="*/ 2437448 h 3355086"/>
                <a:gd name="connsiteX9421" fmla="*/ 3097530 w 3359086"/>
                <a:gd name="connsiteY9421" fmla="*/ 2431256 h 3355086"/>
                <a:gd name="connsiteX9422" fmla="*/ 3103721 w 3359086"/>
                <a:gd name="connsiteY9422" fmla="*/ 2425065 h 3355086"/>
                <a:gd name="connsiteX9423" fmla="*/ 1006601 w 3359086"/>
                <a:gd name="connsiteY9423" fmla="*/ 2423637 h 3355086"/>
                <a:gd name="connsiteX9424" fmla="*/ 1012793 w 3359086"/>
                <a:gd name="connsiteY9424" fmla="*/ 2429828 h 3355086"/>
                <a:gd name="connsiteX9425" fmla="*/ 1006601 w 3359086"/>
                <a:gd name="connsiteY9425" fmla="*/ 2436020 h 3355086"/>
                <a:gd name="connsiteX9426" fmla="*/ 1000410 w 3359086"/>
                <a:gd name="connsiteY9426" fmla="*/ 2429828 h 3355086"/>
                <a:gd name="connsiteX9427" fmla="*/ 1006601 w 3359086"/>
                <a:gd name="connsiteY9427" fmla="*/ 2423637 h 3355086"/>
                <a:gd name="connsiteX9428" fmla="*/ 3161442 w 3359086"/>
                <a:gd name="connsiteY9428" fmla="*/ 2422875 h 3355086"/>
                <a:gd name="connsiteX9429" fmla="*/ 3167633 w 3359086"/>
                <a:gd name="connsiteY9429" fmla="*/ 2429066 h 3355086"/>
                <a:gd name="connsiteX9430" fmla="*/ 3161442 w 3359086"/>
                <a:gd name="connsiteY9430" fmla="*/ 2435258 h 3355086"/>
                <a:gd name="connsiteX9431" fmla="*/ 3155251 w 3359086"/>
                <a:gd name="connsiteY9431" fmla="*/ 2429066 h 3355086"/>
                <a:gd name="connsiteX9432" fmla="*/ 3161442 w 3359086"/>
                <a:gd name="connsiteY9432" fmla="*/ 2422875 h 3355086"/>
                <a:gd name="connsiteX9433" fmla="*/ 242220 w 3359086"/>
                <a:gd name="connsiteY9433" fmla="*/ 2422112 h 3355086"/>
                <a:gd name="connsiteX9434" fmla="*/ 248411 w 3359086"/>
                <a:gd name="connsiteY9434" fmla="*/ 2428303 h 3355086"/>
                <a:gd name="connsiteX9435" fmla="*/ 242220 w 3359086"/>
                <a:gd name="connsiteY9435" fmla="*/ 2434495 h 3355086"/>
                <a:gd name="connsiteX9436" fmla="*/ 236029 w 3359086"/>
                <a:gd name="connsiteY9436" fmla="*/ 2428303 h 3355086"/>
                <a:gd name="connsiteX9437" fmla="*/ 242220 w 3359086"/>
                <a:gd name="connsiteY9437" fmla="*/ 2422112 h 3355086"/>
                <a:gd name="connsiteX9438" fmla="*/ 181641 w 3359086"/>
                <a:gd name="connsiteY9438" fmla="*/ 2419065 h 3355086"/>
                <a:gd name="connsiteX9439" fmla="*/ 187166 w 3359086"/>
                <a:gd name="connsiteY9439" fmla="*/ 2424589 h 3355086"/>
                <a:gd name="connsiteX9440" fmla="*/ 181641 w 3359086"/>
                <a:gd name="connsiteY9440" fmla="*/ 2430114 h 3355086"/>
                <a:gd name="connsiteX9441" fmla="*/ 176117 w 3359086"/>
                <a:gd name="connsiteY9441" fmla="*/ 2424589 h 3355086"/>
                <a:gd name="connsiteX9442" fmla="*/ 181641 w 3359086"/>
                <a:gd name="connsiteY9442" fmla="*/ 2419065 h 3355086"/>
                <a:gd name="connsiteX9443" fmla="*/ 652652 w 3359086"/>
                <a:gd name="connsiteY9443" fmla="*/ 2417541 h 3355086"/>
                <a:gd name="connsiteX9444" fmla="*/ 658843 w 3359086"/>
                <a:gd name="connsiteY9444" fmla="*/ 2423732 h 3355086"/>
                <a:gd name="connsiteX9445" fmla="*/ 652652 w 3359086"/>
                <a:gd name="connsiteY9445" fmla="*/ 2429923 h 3355086"/>
                <a:gd name="connsiteX9446" fmla="*/ 646461 w 3359086"/>
                <a:gd name="connsiteY9446" fmla="*/ 2423732 h 3355086"/>
                <a:gd name="connsiteX9447" fmla="*/ 652652 w 3359086"/>
                <a:gd name="connsiteY9447" fmla="*/ 2417541 h 3355086"/>
                <a:gd name="connsiteX9448" fmla="*/ 3119532 w 3359086"/>
                <a:gd name="connsiteY9448" fmla="*/ 2417159 h 3355086"/>
                <a:gd name="connsiteX9449" fmla="*/ 3125724 w 3359086"/>
                <a:gd name="connsiteY9449" fmla="*/ 2423350 h 3355086"/>
                <a:gd name="connsiteX9450" fmla="*/ 3120151 w 3359086"/>
                <a:gd name="connsiteY9450" fmla="*/ 2428923 h 3355086"/>
                <a:gd name="connsiteX9451" fmla="*/ 3125628 w 3359086"/>
                <a:gd name="connsiteY9451" fmla="*/ 2434399 h 3355086"/>
                <a:gd name="connsiteX9452" fmla="*/ 3120627 w 3359086"/>
                <a:gd name="connsiteY9452" fmla="*/ 2439401 h 3355086"/>
                <a:gd name="connsiteX9453" fmla="*/ 3125533 w 3359086"/>
                <a:gd name="connsiteY9453" fmla="*/ 2444306 h 3355086"/>
                <a:gd name="connsiteX9454" fmla="*/ 3121056 w 3359086"/>
                <a:gd name="connsiteY9454" fmla="*/ 2448783 h 3355086"/>
                <a:gd name="connsiteX9455" fmla="*/ 3125819 w 3359086"/>
                <a:gd name="connsiteY9455" fmla="*/ 2453545 h 3355086"/>
                <a:gd name="connsiteX9456" fmla="*/ 3121961 w 3359086"/>
                <a:gd name="connsiteY9456" fmla="*/ 2457403 h 3355086"/>
                <a:gd name="connsiteX9457" fmla="*/ 3127152 w 3359086"/>
                <a:gd name="connsiteY9457" fmla="*/ 2462594 h 3355086"/>
                <a:gd name="connsiteX9458" fmla="*/ 3124009 w 3359086"/>
                <a:gd name="connsiteY9458" fmla="*/ 2465737 h 3355086"/>
                <a:gd name="connsiteX9459" fmla="*/ 3130009 w 3359086"/>
                <a:gd name="connsiteY9459" fmla="*/ 2471737 h 3355086"/>
                <a:gd name="connsiteX9460" fmla="*/ 3123818 w 3359086"/>
                <a:gd name="connsiteY9460" fmla="*/ 2477929 h 3355086"/>
                <a:gd name="connsiteX9461" fmla="*/ 3117627 w 3359086"/>
                <a:gd name="connsiteY9461" fmla="*/ 2471737 h 3355086"/>
                <a:gd name="connsiteX9462" fmla="*/ 3120770 w 3359086"/>
                <a:gd name="connsiteY9462" fmla="*/ 2468594 h 3355086"/>
                <a:gd name="connsiteX9463" fmla="*/ 3114770 w 3359086"/>
                <a:gd name="connsiteY9463" fmla="*/ 2462594 h 3355086"/>
                <a:gd name="connsiteX9464" fmla="*/ 3118627 w 3359086"/>
                <a:gd name="connsiteY9464" fmla="*/ 2458737 h 3355086"/>
                <a:gd name="connsiteX9465" fmla="*/ 3113436 w 3359086"/>
                <a:gd name="connsiteY9465" fmla="*/ 2453545 h 3355086"/>
                <a:gd name="connsiteX9466" fmla="*/ 3117912 w 3359086"/>
                <a:gd name="connsiteY9466" fmla="*/ 2449069 h 3355086"/>
                <a:gd name="connsiteX9467" fmla="*/ 3113150 w 3359086"/>
                <a:gd name="connsiteY9467" fmla="*/ 2444306 h 3355086"/>
                <a:gd name="connsiteX9468" fmla="*/ 3118151 w 3359086"/>
                <a:gd name="connsiteY9468" fmla="*/ 2439305 h 3355086"/>
                <a:gd name="connsiteX9469" fmla="*/ 3113246 w 3359086"/>
                <a:gd name="connsiteY9469" fmla="*/ 2434399 h 3355086"/>
                <a:gd name="connsiteX9470" fmla="*/ 3118818 w 3359086"/>
                <a:gd name="connsiteY9470" fmla="*/ 2428828 h 3355086"/>
                <a:gd name="connsiteX9471" fmla="*/ 3113341 w 3359086"/>
                <a:gd name="connsiteY9471" fmla="*/ 2423350 h 3355086"/>
                <a:gd name="connsiteX9472" fmla="*/ 3119532 w 3359086"/>
                <a:gd name="connsiteY9472" fmla="*/ 2417159 h 3355086"/>
                <a:gd name="connsiteX9473" fmla="*/ 3030092 w 3359086"/>
                <a:gd name="connsiteY9473" fmla="*/ 2416207 h 3355086"/>
                <a:gd name="connsiteX9474" fmla="*/ 3036283 w 3359086"/>
                <a:gd name="connsiteY9474" fmla="*/ 2422398 h 3355086"/>
                <a:gd name="connsiteX9475" fmla="*/ 3030092 w 3359086"/>
                <a:gd name="connsiteY9475" fmla="*/ 2428590 h 3355086"/>
                <a:gd name="connsiteX9476" fmla="*/ 3023901 w 3359086"/>
                <a:gd name="connsiteY9476" fmla="*/ 2422398 h 3355086"/>
                <a:gd name="connsiteX9477" fmla="*/ 3030092 w 3359086"/>
                <a:gd name="connsiteY9477" fmla="*/ 2416207 h 3355086"/>
                <a:gd name="connsiteX9478" fmla="*/ 221265 w 3359086"/>
                <a:gd name="connsiteY9478" fmla="*/ 2415350 h 3355086"/>
                <a:gd name="connsiteX9479" fmla="*/ 227456 w 3359086"/>
                <a:gd name="connsiteY9479" fmla="*/ 2421541 h 3355086"/>
                <a:gd name="connsiteX9480" fmla="*/ 221265 w 3359086"/>
                <a:gd name="connsiteY9480" fmla="*/ 2427732 h 3355086"/>
                <a:gd name="connsiteX9481" fmla="*/ 215074 w 3359086"/>
                <a:gd name="connsiteY9481" fmla="*/ 2421541 h 3355086"/>
                <a:gd name="connsiteX9482" fmla="*/ 221265 w 3359086"/>
                <a:gd name="connsiteY9482" fmla="*/ 2415350 h 3355086"/>
                <a:gd name="connsiteX9483" fmla="*/ 3071431 w 3359086"/>
                <a:gd name="connsiteY9483" fmla="*/ 2414969 h 3355086"/>
                <a:gd name="connsiteX9484" fmla="*/ 3077622 w 3359086"/>
                <a:gd name="connsiteY9484" fmla="*/ 2421160 h 3355086"/>
                <a:gd name="connsiteX9485" fmla="*/ 3071431 w 3359086"/>
                <a:gd name="connsiteY9485" fmla="*/ 2427352 h 3355086"/>
                <a:gd name="connsiteX9486" fmla="*/ 3065240 w 3359086"/>
                <a:gd name="connsiteY9486" fmla="*/ 2421160 h 3355086"/>
                <a:gd name="connsiteX9487" fmla="*/ 3071431 w 3359086"/>
                <a:gd name="connsiteY9487" fmla="*/ 2414969 h 3355086"/>
                <a:gd name="connsiteX9488" fmla="*/ 469296 w 3359086"/>
                <a:gd name="connsiteY9488" fmla="*/ 2414778 h 3355086"/>
                <a:gd name="connsiteX9489" fmla="*/ 475487 w 3359086"/>
                <a:gd name="connsiteY9489" fmla="*/ 2420969 h 3355086"/>
                <a:gd name="connsiteX9490" fmla="*/ 469296 w 3359086"/>
                <a:gd name="connsiteY9490" fmla="*/ 2427161 h 3355086"/>
                <a:gd name="connsiteX9491" fmla="*/ 463105 w 3359086"/>
                <a:gd name="connsiteY9491" fmla="*/ 2420969 h 3355086"/>
                <a:gd name="connsiteX9492" fmla="*/ 469296 w 3359086"/>
                <a:gd name="connsiteY9492" fmla="*/ 2414778 h 3355086"/>
                <a:gd name="connsiteX9493" fmla="*/ 2377439 w 3359086"/>
                <a:gd name="connsiteY9493" fmla="*/ 2413445 h 3355086"/>
                <a:gd name="connsiteX9494" fmla="*/ 2383631 w 3359086"/>
                <a:gd name="connsiteY9494" fmla="*/ 2419636 h 3355086"/>
                <a:gd name="connsiteX9495" fmla="*/ 2377439 w 3359086"/>
                <a:gd name="connsiteY9495" fmla="*/ 2425828 h 3355086"/>
                <a:gd name="connsiteX9496" fmla="*/ 2371248 w 3359086"/>
                <a:gd name="connsiteY9496" fmla="*/ 2419636 h 3355086"/>
                <a:gd name="connsiteX9497" fmla="*/ 2377439 w 3359086"/>
                <a:gd name="connsiteY9497" fmla="*/ 2413445 h 3355086"/>
                <a:gd name="connsiteX9498" fmla="*/ 2970942 w 3359086"/>
                <a:gd name="connsiteY9498" fmla="*/ 2412683 h 3355086"/>
                <a:gd name="connsiteX9499" fmla="*/ 2977133 w 3359086"/>
                <a:gd name="connsiteY9499" fmla="*/ 2418874 h 3355086"/>
                <a:gd name="connsiteX9500" fmla="*/ 2970942 w 3359086"/>
                <a:gd name="connsiteY9500" fmla="*/ 2425066 h 3355086"/>
                <a:gd name="connsiteX9501" fmla="*/ 2964751 w 3359086"/>
                <a:gd name="connsiteY9501" fmla="*/ 2418874 h 3355086"/>
                <a:gd name="connsiteX9502" fmla="*/ 2970942 w 3359086"/>
                <a:gd name="connsiteY9502" fmla="*/ 2412683 h 3355086"/>
                <a:gd name="connsiteX9503" fmla="*/ 3156775 w 3359086"/>
                <a:gd name="connsiteY9503" fmla="*/ 2410778 h 3355086"/>
                <a:gd name="connsiteX9504" fmla="*/ 3162967 w 3359086"/>
                <a:gd name="connsiteY9504" fmla="*/ 2416969 h 3355086"/>
                <a:gd name="connsiteX9505" fmla="*/ 3156775 w 3359086"/>
                <a:gd name="connsiteY9505" fmla="*/ 2423161 h 3355086"/>
                <a:gd name="connsiteX9506" fmla="*/ 3150584 w 3359086"/>
                <a:gd name="connsiteY9506" fmla="*/ 2416969 h 3355086"/>
                <a:gd name="connsiteX9507" fmla="*/ 3156775 w 3359086"/>
                <a:gd name="connsiteY9507" fmla="*/ 2410778 h 3355086"/>
                <a:gd name="connsiteX9508" fmla="*/ 3099720 w 3359086"/>
                <a:gd name="connsiteY9508" fmla="*/ 2410492 h 3355086"/>
                <a:gd name="connsiteX9509" fmla="*/ 3105911 w 3359086"/>
                <a:gd name="connsiteY9509" fmla="*/ 2416683 h 3355086"/>
                <a:gd name="connsiteX9510" fmla="*/ 3099720 w 3359086"/>
                <a:gd name="connsiteY9510" fmla="*/ 2422875 h 3355086"/>
                <a:gd name="connsiteX9511" fmla="*/ 3093529 w 3359086"/>
                <a:gd name="connsiteY9511" fmla="*/ 2416683 h 3355086"/>
                <a:gd name="connsiteX9512" fmla="*/ 3099720 w 3359086"/>
                <a:gd name="connsiteY9512" fmla="*/ 2410492 h 3355086"/>
                <a:gd name="connsiteX9513" fmla="*/ 169926 w 3359086"/>
                <a:gd name="connsiteY9513" fmla="*/ 2410302 h 3355086"/>
                <a:gd name="connsiteX9514" fmla="*/ 170116 w 3359086"/>
                <a:gd name="connsiteY9514" fmla="*/ 2410492 h 3355086"/>
                <a:gd name="connsiteX9515" fmla="*/ 169926 w 3359086"/>
                <a:gd name="connsiteY9515" fmla="*/ 2410683 h 3355086"/>
                <a:gd name="connsiteX9516" fmla="*/ 169735 w 3359086"/>
                <a:gd name="connsiteY9516" fmla="*/ 2410492 h 3355086"/>
                <a:gd name="connsiteX9517" fmla="*/ 169926 w 3359086"/>
                <a:gd name="connsiteY9517" fmla="*/ 2410302 h 3355086"/>
                <a:gd name="connsiteX9518" fmla="*/ 3174206 w 3359086"/>
                <a:gd name="connsiteY9518" fmla="*/ 2410111 h 3355086"/>
                <a:gd name="connsiteX9519" fmla="*/ 3180397 w 3359086"/>
                <a:gd name="connsiteY9519" fmla="*/ 2416302 h 3355086"/>
                <a:gd name="connsiteX9520" fmla="*/ 3174206 w 3359086"/>
                <a:gd name="connsiteY9520" fmla="*/ 2422494 h 3355086"/>
                <a:gd name="connsiteX9521" fmla="*/ 3168015 w 3359086"/>
                <a:gd name="connsiteY9521" fmla="*/ 2416302 h 3355086"/>
                <a:gd name="connsiteX9522" fmla="*/ 3174206 w 3359086"/>
                <a:gd name="connsiteY9522" fmla="*/ 2410111 h 3355086"/>
                <a:gd name="connsiteX9523" fmla="*/ 3131533 w 3359086"/>
                <a:gd name="connsiteY9523" fmla="*/ 2409635 h 3355086"/>
                <a:gd name="connsiteX9524" fmla="*/ 3137725 w 3359086"/>
                <a:gd name="connsiteY9524" fmla="*/ 2415826 h 3355086"/>
                <a:gd name="connsiteX9525" fmla="*/ 3132200 w 3359086"/>
                <a:gd name="connsiteY9525" fmla="*/ 2421351 h 3355086"/>
                <a:gd name="connsiteX9526" fmla="*/ 3137344 w 3359086"/>
                <a:gd name="connsiteY9526" fmla="*/ 2426494 h 3355086"/>
                <a:gd name="connsiteX9527" fmla="*/ 3132391 w 3359086"/>
                <a:gd name="connsiteY9527" fmla="*/ 2431448 h 3355086"/>
                <a:gd name="connsiteX9528" fmla="*/ 3137630 w 3359086"/>
                <a:gd name="connsiteY9528" fmla="*/ 2436686 h 3355086"/>
                <a:gd name="connsiteX9529" fmla="*/ 3133438 w 3359086"/>
                <a:gd name="connsiteY9529" fmla="*/ 2440877 h 3355086"/>
                <a:gd name="connsiteX9530" fmla="*/ 3139248 w 3359086"/>
                <a:gd name="connsiteY9530" fmla="*/ 2446687 h 3355086"/>
                <a:gd name="connsiteX9531" fmla="*/ 3133057 w 3359086"/>
                <a:gd name="connsiteY9531" fmla="*/ 2452879 h 3355086"/>
                <a:gd name="connsiteX9532" fmla="*/ 3126866 w 3359086"/>
                <a:gd name="connsiteY9532" fmla="*/ 2446687 h 3355086"/>
                <a:gd name="connsiteX9533" fmla="*/ 3131057 w 3359086"/>
                <a:gd name="connsiteY9533" fmla="*/ 2442496 h 3355086"/>
                <a:gd name="connsiteX9534" fmla="*/ 3125247 w 3359086"/>
                <a:gd name="connsiteY9534" fmla="*/ 2436686 h 3355086"/>
                <a:gd name="connsiteX9535" fmla="*/ 3130200 w 3359086"/>
                <a:gd name="connsiteY9535" fmla="*/ 2431734 h 3355086"/>
                <a:gd name="connsiteX9536" fmla="*/ 3124961 w 3359086"/>
                <a:gd name="connsiteY9536" fmla="*/ 2426494 h 3355086"/>
                <a:gd name="connsiteX9537" fmla="*/ 3130485 w 3359086"/>
                <a:gd name="connsiteY9537" fmla="*/ 2420970 h 3355086"/>
                <a:gd name="connsiteX9538" fmla="*/ 3125342 w 3359086"/>
                <a:gd name="connsiteY9538" fmla="*/ 2415826 h 3355086"/>
                <a:gd name="connsiteX9539" fmla="*/ 3131533 w 3359086"/>
                <a:gd name="connsiteY9539" fmla="*/ 2409635 h 3355086"/>
                <a:gd name="connsiteX9540" fmla="*/ 206597 w 3359086"/>
                <a:gd name="connsiteY9540" fmla="*/ 2408111 h 3355086"/>
                <a:gd name="connsiteX9541" fmla="*/ 212788 w 3359086"/>
                <a:gd name="connsiteY9541" fmla="*/ 2414302 h 3355086"/>
                <a:gd name="connsiteX9542" fmla="*/ 207311 w 3359086"/>
                <a:gd name="connsiteY9542" fmla="*/ 2419780 h 3355086"/>
                <a:gd name="connsiteX9543" fmla="*/ 213168 w 3359086"/>
                <a:gd name="connsiteY9543" fmla="*/ 2425637 h 3355086"/>
                <a:gd name="connsiteX9544" fmla="*/ 208168 w 3359086"/>
                <a:gd name="connsiteY9544" fmla="*/ 2430638 h 3355086"/>
                <a:gd name="connsiteX9545" fmla="*/ 213454 w 3359086"/>
                <a:gd name="connsiteY9545" fmla="*/ 2435924 h 3355086"/>
                <a:gd name="connsiteX9546" fmla="*/ 208454 w 3359086"/>
                <a:gd name="connsiteY9546" fmla="*/ 2440925 h 3355086"/>
                <a:gd name="connsiteX9547" fmla="*/ 213168 w 3359086"/>
                <a:gd name="connsiteY9547" fmla="*/ 2445639 h 3355086"/>
                <a:gd name="connsiteX9548" fmla="*/ 207739 w 3359086"/>
                <a:gd name="connsiteY9548" fmla="*/ 2451068 h 3355086"/>
                <a:gd name="connsiteX9549" fmla="*/ 211740 w 3359086"/>
                <a:gd name="connsiteY9549" fmla="*/ 2455069 h 3355086"/>
                <a:gd name="connsiteX9550" fmla="*/ 205549 w 3359086"/>
                <a:gd name="connsiteY9550" fmla="*/ 2461261 h 3355086"/>
                <a:gd name="connsiteX9551" fmla="*/ 199358 w 3359086"/>
                <a:gd name="connsiteY9551" fmla="*/ 2455069 h 3355086"/>
                <a:gd name="connsiteX9552" fmla="*/ 204787 w 3359086"/>
                <a:gd name="connsiteY9552" fmla="*/ 2449640 h 3355086"/>
                <a:gd name="connsiteX9553" fmla="*/ 200786 w 3359086"/>
                <a:gd name="connsiteY9553" fmla="*/ 2445639 h 3355086"/>
                <a:gd name="connsiteX9554" fmla="*/ 205786 w 3359086"/>
                <a:gd name="connsiteY9554" fmla="*/ 2440639 h 3355086"/>
                <a:gd name="connsiteX9555" fmla="*/ 201072 w 3359086"/>
                <a:gd name="connsiteY9555" fmla="*/ 2435924 h 3355086"/>
                <a:gd name="connsiteX9556" fmla="*/ 206072 w 3359086"/>
                <a:gd name="connsiteY9556" fmla="*/ 2430924 h 3355086"/>
                <a:gd name="connsiteX9557" fmla="*/ 200786 w 3359086"/>
                <a:gd name="connsiteY9557" fmla="*/ 2425637 h 3355086"/>
                <a:gd name="connsiteX9558" fmla="*/ 206263 w 3359086"/>
                <a:gd name="connsiteY9558" fmla="*/ 2420160 h 3355086"/>
                <a:gd name="connsiteX9559" fmla="*/ 200406 w 3359086"/>
                <a:gd name="connsiteY9559" fmla="*/ 2414302 h 3355086"/>
                <a:gd name="connsiteX9560" fmla="*/ 206597 w 3359086"/>
                <a:gd name="connsiteY9560" fmla="*/ 2408111 h 3355086"/>
                <a:gd name="connsiteX9561" fmla="*/ 288988 w 3359086"/>
                <a:gd name="connsiteY9561" fmla="*/ 2405634 h 3355086"/>
                <a:gd name="connsiteX9562" fmla="*/ 295179 w 3359086"/>
                <a:gd name="connsiteY9562" fmla="*/ 2411825 h 3355086"/>
                <a:gd name="connsiteX9563" fmla="*/ 288988 w 3359086"/>
                <a:gd name="connsiteY9563" fmla="*/ 2418017 h 3355086"/>
                <a:gd name="connsiteX9564" fmla="*/ 282797 w 3359086"/>
                <a:gd name="connsiteY9564" fmla="*/ 2411825 h 3355086"/>
                <a:gd name="connsiteX9565" fmla="*/ 288988 w 3359086"/>
                <a:gd name="connsiteY9565" fmla="*/ 2405634 h 3355086"/>
                <a:gd name="connsiteX9566" fmla="*/ 2715386 w 3359086"/>
                <a:gd name="connsiteY9566" fmla="*/ 2405539 h 3355086"/>
                <a:gd name="connsiteX9567" fmla="*/ 2721578 w 3359086"/>
                <a:gd name="connsiteY9567" fmla="*/ 2411730 h 3355086"/>
                <a:gd name="connsiteX9568" fmla="*/ 2715386 w 3359086"/>
                <a:gd name="connsiteY9568" fmla="*/ 2417922 h 3355086"/>
                <a:gd name="connsiteX9569" fmla="*/ 2709195 w 3359086"/>
                <a:gd name="connsiteY9569" fmla="*/ 2411730 h 3355086"/>
                <a:gd name="connsiteX9570" fmla="*/ 2715386 w 3359086"/>
                <a:gd name="connsiteY9570" fmla="*/ 2405539 h 3355086"/>
                <a:gd name="connsiteX9571" fmla="*/ 250507 w 3359086"/>
                <a:gd name="connsiteY9571" fmla="*/ 2404587 h 3355086"/>
                <a:gd name="connsiteX9572" fmla="*/ 256699 w 3359086"/>
                <a:gd name="connsiteY9572" fmla="*/ 2410778 h 3355086"/>
                <a:gd name="connsiteX9573" fmla="*/ 250507 w 3359086"/>
                <a:gd name="connsiteY9573" fmla="*/ 2416970 h 3355086"/>
                <a:gd name="connsiteX9574" fmla="*/ 244316 w 3359086"/>
                <a:gd name="connsiteY9574" fmla="*/ 2410778 h 3355086"/>
                <a:gd name="connsiteX9575" fmla="*/ 250507 w 3359086"/>
                <a:gd name="connsiteY9575" fmla="*/ 2404587 h 3355086"/>
                <a:gd name="connsiteX9576" fmla="*/ 3118770 w 3359086"/>
                <a:gd name="connsiteY9576" fmla="*/ 2404396 h 3355086"/>
                <a:gd name="connsiteX9577" fmla="*/ 3124961 w 3359086"/>
                <a:gd name="connsiteY9577" fmla="*/ 2410587 h 3355086"/>
                <a:gd name="connsiteX9578" fmla="*/ 3118770 w 3359086"/>
                <a:gd name="connsiteY9578" fmla="*/ 2416779 h 3355086"/>
                <a:gd name="connsiteX9579" fmla="*/ 3112579 w 3359086"/>
                <a:gd name="connsiteY9579" fmla="*/ 2410587 h 3355086"/>
                <a:gd name="connsiteX9580" fmla="*/ 3118770 w 3359086"/>
                <a:gd name="connsiteY9580" fmla="*/ 2404396 h 3355086"/>
                <a:gd name="connsiteX9581" fmla="*/ 911256 w 3359086"/>
                <a:gd name="connsiteY9581" fmla="*/ 2404396 h 3355086"/>
                <a:gd name="connsiteX9582" fmla="*/ 917448 w 3359086"/>
                <a:gd name="connsiteY9582" fmla="*/ 2410587 h 3355086"/>
                <a:gd name="connsiteX9583" fmla="*/ 911256 w 3359086"/>
                <a:gd name="connsiteY9583" fmla="*/ 2416779 h 3355086"/>
                <a:gd name="connsiteX9584" fmla="*/ 905065 w 3359086"/>
                <a:gd name="connsiteY9584" fmla="*/ 2410587 h 3355086"/>
                <a:gd name="connsiteX9585" fmla="*/ 911256 w 3359086"/>
                <a:gd name="connsiteY9585" fmla="*/ 2404396 h 3355086"/>
                <a:gd name="connsiteX9586" fmla="*/ 2888932 w 3359086"/>
                <a:gd name="connsiteY9586" fmla="*/ 2402396 h 3355086"/>
                <a:gd name="connsiteX9587" fmla="*/ 2895124 w 3359086"/>
                <a:gd name="connsiteY9587" fmla="*/ 2408587 h 3355086"/>
                <a:gd name="connsiteX9588" fmla="*/ 2888932 w 3359086"/>
                <a:gd name="connsiteY9588" fmla="*/ 2414778 h 3355086"/>
                <a:gd name="connsiteX9589" fmla="*/ 2882741 w 3359086"/>
                <a:gd name="connsiteY9589" fmla="*/ 2408587 h 3355086"/>
                <a:gd name="connsiteX9590" fmla="*/ 2888932 w 3359086"/>
                <a:gd name="connsiteY9590" fmla="*/ 2402396 h 3355086"/>
                <a:gd name="connsiteX9591" fmla="*/ 344328 w 3359086"/>
                <a:gd name="connsiteY9591" fmla="*/ 2401920 h 3355086"/>
                <a:gd name="connsiteX9592" fmla="*/ 350519 w 3359086"/>
                <a:gd name="connsiteY9592" fmla="*/ 2408111 h 3355086"/>
                <a:gd name="connsiteX9593" fmla="*/ 344328 w 3359086"/>
                <a:gd name="connsiteY9593" fmla="*/ 2414303 h 3355086"/>
                <a:gd name="connsiteX9594" fmla="*/ 338137 w 3359086"/>
                <a:gd name="connsiteY9594" fmla="*/ 2408111 h 3355086"/>
                <a:gd name="connsiteX9595" fmla="*/ 344328 w 3359086"/>
                <a:gd name="connsiteY9595" fmla="*/ 2401920 h 3355086"/>
                <a:gd name="connsiteX9596" fmla="*/ 195262 w 3359086"/>
                <a:gd name="connsiteY9596" fmla="*/ 2401253 h 3355086"/>
                <a:gd name="connsiteX9597" fmla="*/ 201453 w 3359086"/>
                <a:gd name="connsiteY9597" fmla="*/ 2407444 h 3355086"/>
                <a:gd name="connsiteX9598" fmla="*/ 196167 w 3359086"/>
                <a:gd name="connsiteY9598" fmla="*/ 2412731 h 3355086"/>
                <a:gd name="connsiteX9599" fmla="*/ 201930 w 3359086"/>
                <a:gd name="connsiteY9599" fmla="*/ 2418493 h 3355086"/>
                <a:gd name="connsiteX9600" fmla="*/ 196452 w 3359086"/>
                <a:gd name="connsiteY9600" fmla="*/ 2423971 h 3355086"/>
                <a:gd name="connsiteX9601" fmla="*/ 201548 w 3359086"/>
                <a:gd name="connsiteY9601" fmla="*/ 2429066 h 3355086"/>
                <a:gd name="connsiteX9602" fmla="*/ 195452 w 3359086"/>
                <a:gd name="connsiteY9602" fmla="*/ 2435163 h 3355086"/>
                <a:gd name="connsiteX9603" fmla="*/ 199738 w 3359086"/>
                <a:gd name="connsiteY9603" fmla="*/ 2439448 h 3355086"/>
                <a:gd name="connsiteX9604" fmla="*/ 193547 w 3359086"/>
                <a:gd name="connsiteY9604" fmla="*/ 2445640 h 3355086"/>
                <a:gd name="connsiteX9605" fmla="*/ 187356 w 3359086"/>
                <a:gd name="connsiteY9605" fmla="*/ 2439448 h 3355086"/>
                <a:gd name="connsiteX9606" fmla="*/ 193451 w 3359086"/>
                <a:gd name="connsiteY9606" fmla="*/ 2433353 h 3355086"/>
                <a:gd name="connsiteX9607" fmla="*/ 189166 w 3359086"/>
                <a:gd name="connsiteY9607" fmla="*/ 2429066 h 3355086"/>
                <a:gd name="connsiteX9608" fmla="*/ 194642 w 3359086"/>
                <a:gd name="connsiteY9608" fmla="*/ 2423590 h 3355086"/>
                <a:gd name="connsiteX9609" fmla="*/ 189547 w 3359086"/>
                <a:gd name="connsiteY9609" fmla="*/ 2418493 h 3355086"/>
                <a:gd name="connsiteX9610" fmla="*/ 194833 w 3359086"/>
                <a:gd name="connsiteY9610" fmla="*/ 2413207 h 3355086"/>
                <a:gd name="connsiteX9611" fmla="*/ 189071 w 3359086"/>
                <a:gd name="connsiteY9611" fmla="*/ 2407444 h 3355086"/>
                <a:gd name="connsiteX9612" fmla="*/ 195262 w 3359086"/>
                <a:gd name="connsiteY9612" fmla="*/ 2401253 h 3355086"/>
                <a:gd name="connsiteX9613" fmla="*/ 224408 w 3359086"/>
                <a:gd name="connsiteY9613" fmla="*/ 2400681 h 3355086"/>
                <a:gd name="connsiteX9614" fmla="*/ 230599 w 3359086"/>
                <a:gd name="connsiteY9614" fmla="*/ 2406872 h 3355086"/>
                <a:gd name="connsiteX9615" fmla="*/ 224408 w 3359086"/>
                <a:gd name="connsiteY9615" fmla="*/ 2413064 h 3355086"/>
                <a:gd name="connsiteX9616" fmla="*/ 218217 w 3359086"/>
                <a:gd name="connsiteY9616" fmla="*/ 2406872 h 3355086"/>
                <a:gd name="connsiteX9617" fmla="*/ 224408 w 3359086"/>
                <a:gd name="connsiteY9617" fmla="*/ 2400681 h 3355086"/>
                <a:gd name="connsiteX9618" fmla="*/ 3154203 w 3359086"/>
                <a:gd name="connsiteY9618" fmla="*/ 2398967 h 3355086"/>
                <a:gd name="connsiteX9619" fmla="*/ 3160394 w 3359086"/>
                <a:gd name="connsiteY9619" fmla="*/ 2405158 h 3355086"/>
                <a:gd name="connsiteX9620" fmla="*/ 3154203 w 3359086"/>
                <a:gd name="connsiteY9620" fmla="*/ 2411349 h 3355086"/>
                <a:gd name="connsiteX9621" fmla="*/ 3148012 w 3359086"/>
                <a:gd name="connsiteY9621" fmla="*/ 2405158 h 3355086"/>
                <a:gd name="connsiteX9622" fmla="*/ 3154203 w 3359086"/>
                <a:gd name="connsiteY9622" fmla="*/ 2398967 h 3355086"/>
                <a:gd name="connsiteX9623" fmla="*/ 3187065 w 3359086"/>
                <a:gd name="connsiteY9623" fmla="*/ 2398491 h 3355086"/>
                <a:gd name="connsiteX9624" fmla="*/ 3192780 w 3359086"/>
                <a:gd name="connsiteY9624" fmla="*/ 2404206 h 3355086"/>
                <a:gd name="connsiteX9625" fmla="*/ 3187065 w 3359086"/>
                <a:gd name="connsiteY9625" fmla="*/ 2409921 h 3355086"/>
                <a:gd name="connsiteX9626" fmla="*/ 3181350 w 3359086"/>
                <a:gd name="connsiteY9626" fmla="*/ 2404206 h 3355086"/>
                <a:gd name="connsiteX9627" fmla="*/ 3187065 w 3359086"/>
                <a:gd name="connsiteY9627" fmla="*/ 2398491 h 3355086"/>
                <a:gd name="connsiteX9628" fmla="*/ 3132200 w 3359086"/>
                <a:gd name="connsiteY9628" fmla="*/ 2397824 h 3355086"/>
                <a:gd name="connsiteX9629" fmla="*/ 3138391 w 3359086"/>
                <a:gd name="connsiteY9629" fmla="*/ 2404015 h 3355086"/>
                <a:gd name="connsiteX9630" fmla="*/ 3132200 w 3359086"/>
                <a:gd name="connsiteY9630" fmla="*/ 2410207 h 3355086"/>
                <a:gd name="connsiteX9631" fmla="*/ 3126009 w 3359086"/>
                <a:gd name="connsiteY9631" fmla="*/ 2404015 h 3355086"/>
                <a:gd name="connsiteX9632" fmla="*/ 3132200 w 3359086"/>
                <a:gd name="connsiteY9632" fmla="*/ 2397824 h 3355086"/>
                <a:gd name="connsiteX9633" fmla="*/ 3168586 w 3359086"/>
                <a:gd name="connsiteY9633" fmla="*/ 2397157 h 3355086"/>
                <a:gd name="connsiteX9634" fmla="*/ 3174777 w 3359086"/>
                <a:gd name="connsiteY9634" fmla="*/ 2403348 h 3355086"/>
                <a:gd name="connsiteX9635" fmla="*/ 3168586 w 3359086"/>
                <a:gd name="connsiteY9635" fmla="*/ 2409540 h 3355086"/>
                <a:gd name="connsiteX9636" fmla="*/ 3162395 w 3359086"/>
                <a:gd name="connsiteY9636" fmla="*/ 2403348 h 3355086"/>
                <a:gd name="connsiteX9637" fmla="*/ 3168586 w 3359086"/>
                <a:gd name="connsiteY9637" fmla="*/ 2397157 h 3355086"/>
                <a:gd name="connsiteX9638" fmla="*/ 586930 w 3359086"/>
                <a:gd name="connsiteY9638" fmla="*/ 2395157 h 3355086"/>
                <a:gd name="connsiteX9639" fmla="*/ 593121 w 3359086"/>
                <a:gd name="connsiteY9639" fmla="*/ 2401348 h 3355086"/>
                <a:gd name="connsiteX9640" fmla="*/ 586930 w 3359086"/>
                <a:gd name="connsiteY9640" fmla="*/ 2407540 h 3355086"/>
                <a:gd name="connsiteX9641" fmla="*/ 580739 w 3359086"/>
                <a:gd name="connsiteY9641" fmla="*/ 2401348 h 3355086"/>
                <a:gd name="connsiteX9642" fmla="*/ 586930 w 3359086"/>
                <a:gd name="connsiteY9642" fmla="*/ 2395157 h 3355086"/>
                <a:gd name="connsiteX9643" fmla="*/ 206787 w 3359086"/>
                <a:gd name="connsiteY9643" fmla="*/ 2395157 h 3355086"/>
                <a:gd name="connsiteX9644" fmla="*/ 212979 w 3359086"/>
                <a:gd name="connsiteY9644" fmla="*/ 2401348 h 3355086"/>
                <a:gd name="connsiteX9645" fmla="*/ 206787 w 3359086"/>
                <a:gd name="connsiteY9645" fmla="*/ 2407540 h 3355086"/>
                <a:gd name="connsiteX9646" fmla="*/ 200596 w 3359086"/>
                <a:gd name="connsiteY9646" fmla="*/ 2401348 h 3355086"/>
                <a:gd name="connsiteX9647" fmla="*/ 206787 w 3359086"/>
                <a:gd name="connsiteY9647" fmla="*/ 2395157 h 3355086"/>
                <a:gd name="connsiteX9648" fmla="*/ 2469070 w 3359086"/>
                <a:gd name="connsiteY9648" fmla="*/ 2393728 h 3355086"/>
                <a:gd name="connsiteX9649" fmla="*/ 2475261 w 3359086"/>
                <a:gd name="connsiteY9649" fmla="*/ 2399919 h 3355086"/>
                <a:gd name="connsiteX9650" fmla="*/ 2469070 w 3359086"/>
                <a:gd name="connsiteY9650" fmla="*/ 2406111 h 3355086"/>
                <a:gd name="connsiteX9651" fmla="*/ 2462879 w 3359086"/>
                <a:gd name="connsiteY9651" fmla="*/ 2399919 h 3355086"/>
                <a:gd name="connsiteX9652" fmla="*/ 2469070 w 3359086"/>
                <a:gd name="connsiteY9652" fmla="*/ 2393728 h 3355086"/>
                <a:gd name="connsiteX9653" fmla="*/ 3057524 w 3359086"/>
                <a:gd name="connsiteY9653" fmla="*/ 2393537 h 3355086"/>
                <a:gd name="connsiteX9654" fmla="*/ 3063715 w 3359086"/>
                <a:gd name="connsiteY9654" fmla="*/ 2399728 h 3355086"/>
                <a:gd name="connsiteX9655" fmla="*/ 3057524 w 3359086"/>
                <a:gd name="connsiteY9655" fmla="*/ 2405920 h 3355086"/>
                <a:gd name="connsiteX9656" fmla="*/ 3051333 w 3359086"/>
                <a:gd name="connsiteY9656" fmla="*/ 2399728 h 3355086"/>
                <a:gd name="connsiteX9657" fmla="*/ 3057524 w 3359086"/>
                <a:gd name="connsiteY9657" fmla="*/ 2393537 h 3355086"/>
                <a:gd name="connsiteX9658" fmla="*/ 3092767 w 3359086"/>
                <a:gd name="connsiteY9658" fmla="*/ 2392966 h 3355086"/>
                <a:gd name="connsiteX9659" fmla="*/ 3098959 w 3359086"/>
                <a:gd name="connsiteY9659" fmla="*/ 2399157 h 3355086"/>
                <a:gd name="connsiteX9660" fmla="*/ 3092767 w 3359086"/>
                <a:gd name="connsiteY9660" fmla="*/ 2405349 h 3355086"/>
                <a:gd name="connsiteX9661" fmla="*/ 3086576 w 3359086"/>
                <a:gd name="connsiteY9661" fmla="*/ 2399157 h 3355086"/>
                <a:gd name="connsiteX9662" fmla="*/ 3092767 w 3359086"/>
                <a:gd name="connsiteY9662" fmla="*/ 2392966 h 3355086"/>
                <a:gd name="connsiteX9663" fmla="*/ 3200114 w 3359086"/>
                <a:gd name="connsiteY9663" fmla="*/ 2392680 h 3355086"/>
                <a:gd name="connsiteX9664" fmla="*/ 3200399 w 3359086"/>
                <a:gd name="connsiteY9664" fmla="*/ 2392966 h 3355086"/>
                <a:gd name="connsiteX9665" fmla="*/ 3200114 w 3359086"/>
                <a:gd name="connsiteY9665" fmla="*/ 2393251 h 3355086"/>
                <a:gd name="connsiteX9666" fmla="*/ 3199828 w 3359086"/>
                <a:gd name="connsiteY9666" fmla="*/ 2392966 h 3355086"/>
                <a:gd name="connsiteX9667" fmla="*/ 3200114 w 3359086"/>
                <a:gd name="connsiteY9667" fmla="*/ 2392680 h 3355086"/>
                <a:gd name="connsiteX9668" fmla="*/ 172878 w 3359086"/>
                <a:gd name="connsiteY9668" fmla="*/ 2392109 h 3355086"/>
                <a:gd name="connsiteX9669" fmla="*/ 179069 w 3359086"/>
                <a:gd name="connsiteY9669" fmla="*/ 2398300 h 3355086"/>
                <a:gd name="connsiteX9670" fmla="*/ 172878 w 3359086"/>
                <a:gd name="connsiteY9670" fmla="*/ 2404491 h 3355086"/>
                <a:gd name="connsiteX9671" fmla="*/ 166687 w 3359086"/>
                <a:gd name="connsiteY9671" fmla="*/ 2398300 h 3355086"/>
                <a:gd name="connsiteX9672" fmla="*/ 172878 w 3359086"/>
                <a:gd name="connsiteY9672" fmla="*/ 2392109 h 3355086"/>
                <a:gd name="connsiteX9673" fmla="*/ 3142868 w 3359086"/>
                <a:gd name="connsiteY9673" fmla="*/ 2391823 h 3355086"/>
                <a:gd name="connsiteX9674" fmla="*/ 3149059 w 3359086"/>
                <a:gd name="connsiteY9674" fmla="*/ 2398014 h 3355086"/>
                <a:gd name="connsiteX9675" fmla="*/ 3143059 w 3359086"/>
                <a:gd name="connsiteY9675" fmla="*/ 2404015 h 3355086"/>
                <a:gd name="connsiteX9676" fmla="*/ 3148583 w 3359086"/>
                <a:gd name="connsiteY9676" fmla="*/ 2409539 h 3355086"/>
                <a:gd name="connsiteX9677" fmla="*/ 3143392 w 3359086"/>
                <a:gd name="connsiteY9677" fmla="*/ 2414731 h 3355086"/>
                <a:gd name="connsiteX9678" fmla="*/ 3149155 w 3359086"/>
                <a:gd name="connsiteY9678" fmla="*/ 2420493 h 3355086"/>
                <a:gd name="connsiteX9679" fmla="*/ 3142964 w 3359086"/>
                <a:gd name="connsiteY9679" fmla="*/ 2426684 h 3355086"/>
                <a:gd name="connsiteX9680" fmla="*/ 3136773 w 3359086"/>
                <a:gd name="connsiteY9680" fmla="*/ 2420493 h 3355086"/>
                <a:gd name="connsiteX9681" fmla="*/ 3141964 w 3359086"/>
                <a:gd name="connsiteY9681" fmla="*/ 2415303 h 3355086"/>
                <a:gd name="connsiteX9682" fmla="*/ 3136201 w 3359086"/>
                <a:gd name="connsiteY9682" fmla="*/ 2409539 h 3355086"/>
                <a:gd name="connsiteX9683" fmla="*/ 3142201 w 3359086"/>
                <a:gd name="connsiteY9683" fmla="*/ 2403539 h 3355086"/>
                <a:gd name="connsiteX9684" fmla="*/ 3136677 w 3359086"/>
                <a:gd name="connsiteY9684" fmla="*/ 2398014 h 3355086"/>
                <a:gd name="connsiteX9685" fmla="*/ 3142868 w 3359086"/>
                <a:gd name="connsiteY9685" fmla="*/ 2391823 h 3355086"/>
                <a:gd name="connsiteX9686" fmla="*/ 421766 w 3359086"/>
                <a:gd name="connsiteY9686" fmla="*/ 2391728 h 3355086"/>
                <a:gd name="connsiteX9687" fmla="*/ 427957 w 3359086"/>
                <a:gd name="connsiteY9687" fmla="*/ 2397919 h 3355086"/>
                <a:gd name="connsiteX9688" fmla="*/ 421766 w 3359086"/>
                <a:gd name="connsiteY9688" fmla="*/ 2404111 h 3355086"/>
                <a:gd name="connsiteX9689" fmla="*/ 415575 w 3359086"/>
                <a:gd name="connsiteY9689" fmla="*/ 2397919 h 3355086"/>
                <a:gd name="connsiteX9690" fmla="*/ 421766 w 3359086"/>
                <a:gd name="connsiteY9690" fmla="*/ 2391728 h 3355086"/>
                <a:gd name="connsiteX9691" fmla="*/ 3006184 w 3359086"/>
                <a:gd name="connsiteY9691" fmla="*/ 2389728 h 3355086"/>
                <a:gd name="connsiteX9692" fmla="*/ 3012376 w 3359086"/>
                <a:gd name="connsiteY9692" fmla="*/ 2395919 h 3355086"/>
                <a:gd name="connsiteX9693" fmla="*/ 3006184 w 3359086"/>
                <a:gd name="connsiteY9693" fmla="*/ 2402110 h 3355086"/>
                <a:gd name="connsiteX9694" fmla="*/ 2999993 w 3359086"/>
                <a:gd name="connsiteY9694" fmla="*/ 2395919 h 3355086"/>
                <a:gd name="connsiteX9695" fmla="*/ 3006184 w 3359086"/>
                <a:gd name="connsiteY9695" fmla="*/ 2389728 h 3355086"/>
                <a:gd name="connsiteX9696" fmla="*/ 3116579 w 3359086"/>
                <a:gd name="connsiteY9696" fmla="*/ 2389537 h 3355086"/>
                <a:gd name="connsiteX9697" fmla="*/ 3122771 w 3359086"/>
                <a:gd name="connsiteY9697" fmla="*/ 2395728 h 3355086"/>
                <a:gd name="connsiteX9698" fmla="*/ 3116579 w 3359086"/>
                <a:gd name="connsiteY9698" fmla="*/ 2401920 h 3355086"/>
                <a:gd name="connsiteX9699" fmla="*/ 3110388 w 3359086"/>
                <a:gd name="connsiteY9699" fmla="*/ 2395728 h 3355086"/>
                <a:gd name="connsiteX9700" fmla="*/ 3116579 w 3359086"/>
                <a:gd name="connsiteY9700" fmla="*/ 2389537 h 3355086"/>
                <a:gd name="connsiteX9701" fmla="*/ 194405 w 3359086"/>
                <a:gd name="connsiteY9701" fmla="*/ 2389156 h 3355086"/>
                <a:gd name="connsiteX9702" fmla="*/ 200596 w 3359086"/>
                <a:gd name="connsiteY9702" fmla="*/ 2395347 h 3355086"/>
                <a:gd name="connsiteX9703" fmla="*/ 194405 w 3359086"/>
                <a:gd name="connsiteY9703" fmla="*/ 2401538 h 3355086"/>
                <a:gd name="connsiteX9704" fmla="*/ 188214 w 3359086"/>
                <a:gd name="connsiteY9704" fmla="*/ 2395347 h 3355086"/>
                <a:gd name="connsiteX9705" fmla="*/ 194405 w 3359086"/>
                <a:gd name="connsiteY9705" fmla="*/ 2389156 h 3355086"/>
                <a:gd name="connsiteX9706" fmla="*/ 1636013 w 3359086"/>
                <a:gd name="connsiteY9706" fmla="*/ 2388775 h 3355086"/>
                <a:gd name="connsiteX9707" fmla="*/ 1642205 w 3359086"/>
                <a:gd name="connsiteY9707" fmla="*/ 2394966 h 3355086"/>
                <a:gd name="connsiteX9708" fmla="*/ 1636013 w 3359086"/>
                <a:gd name="connsiteY9708" fmla="*/ 2401158 h 3355086"/>
                <a:gd name="connsiteX9709" fmla="*/ 1629822 w 3359086"/>
                <a:gd name="connsiteY9709" fmla="*/ 2394966 h 3355086"/>
                <a:gd name="connsiteX9710" fmla="*/ 1636013 w 3359086"/>
                <a:gd name="connsiteY9710" fmla="*/ 2388775 h 3355086"/>
                <a:gd name="connsiteX9711" fmla="*/ 1765267 w 3359086"/>
                <a:gd name="connsiteY9711" fmla="*/ 2387441 h 3355086"/>
                <a:gd name="connsiteX9712" fmla="*/ 1771459 w 3359086"/>
                <a:gd name="connsiteY9712" fmla="*/ 2393632 h 3355086"/>
                <a:gd name="connsiteX9713" fmla="*/ 1765267 w 3359086"/>
                <a:gd name="connsiteY9713" fmla="*/ 2399824 h 3355086"/>
                <a:gd name="connsiteX9714" fmla="*/ 1759076 w 3359086"/>
                <a:gd name="connsiteY9714" fmla="*/ 2393632 h 3355086"/>
                <a:gd name="connsiteX9715" fmla="*/ 1765267 w 3359086"/>
                <a:gd name="connsiteY9715" fmla="*/ 2387441 h 3355086"/>
                <a:gd name="connsiteX9716" fmla="*/ 3153250 w 3359086"/>
                <a:gd name="connsiteY9716" fmla="*/ 2387156 h 3355086"/>
                <a:gd name="connsiteX9717" fmla="*/ 3159442 w 3359086"/>
                <a:gd name="connsiteY9717" fmla="*/ 2393347 h 3355086"/>
                <a:gd name="connsiteX9718" fmla="*/ 3153250 w 3359086"/>
                <a:gd name="connsiteY9718" fmla="*/ 2399539 h 3355086"/>
                <a:gd name="connsiteX9719" fmla="*/ 3147059 w 3359086"/>
                <a:gd name="connsiteY9719" fmla="*/ 2393347 h 3355086"/>
                <a:gd name="connsiteX9720" fmla="*/ 3153250 w 3359086"/>
                <a:gd name="connsiteY9720" fmla="*/ 2387156 h 3355086"/>
                <a:gd name="connsiteX9721" fmla="*/ 1507331 w 3359086"/>
                <a:gd name="connsiteY9721" fmla="*/ 2385156 h 3355086"/>
                <a:gd name="connsiteX9722" fmla="*/ 1513522 w 3359086"/>
                <a:gd name="connsiteY9722" fmla="*/ 2391347 h 3355086"/>
                <a:gd name="connsiteX9723" fmla="*/ 1507331 w 3359086"/>
                <a:gd name="connsiteY9723" fmla="*/ 2397538 h 3355086"/>
                <a:gd name="connsiteX9724" fmla="*/ 1501140 w 3359086"/>
                <a:gd name="connsiteY9724" fmla="*/ 2391347 h 3355086"/>
                <a:gd name="connsiteX9725" fmla="*/ 1507331 w 3359086"/>
                <a:gd name="connsiteY9725" fmla="*/ 2385156 h 3355086"/>
                <a:gd name="connsiteX9726" fmla="*/ 3132486 w 3359086"/>
                <a:gd name="connsiteY9726" fmla="*/ 2384584 h 3355086"/>
                <a:gd name="connsiteX9727" fmla="*/ 3138677 w 3359086"/>
                <a:gd name="connsiteY9727" fmla="*/ 2390775 h 3355086"/>
                <a:gd name="connsiteX9728" fmla="*/ 3132486 w 3359086"/>
                <a:gd name="connsiteY9728" fmla="*/ 2396967 h 3355086"/>
                <a:gd name="connsiteX9729" fmla="*/ 3126295 w 3359086"/>
                <a:gd name="connsiteY9729" fmla="*/ 2390775 h 3355086"/>
                <a:gd name="connsiteX9730" fmla="*/ 3132486 w 3359086"/>
                <a:gd name="connsiteY9730" fmla="*/ 2384584 h 3355086"/>
                <a:gd name="connsiteX9731" fmla="*/ 3165252 w 3359086"/>
                <a:gd name="connsiteY9731" fmla="*/ 2384394 h 3355086"/>
                <a:gd name="connsiteX9732" fmla="*/ 3171443 w 3359086"/>
                <a:gd name="connsiteY9732" fmla="*/ 2390585 h 3355086"/>
                <a:gd name="connsiteX9733" fmla="*/ 3165252 w 3359086"/>
                <a:gd name="connsiteY9733" fmla="*/ 2396776 h 3355086"/>
                <a:gd name="connsiteX9734" fmla="*/ 3159061 w 3359086"/>
                <a:gd name="connsiteY9734" fmla="*/ 2390585 h 3355086"/>
                <a:gd name="connsiteX9735" fmla="*/ 3165252 w 3359086"/>
                <a:gd name="connsiteY9735" fmla="*/ 2384394 h 3355086"/>
                <a:gd name="connsiteX9736" fmla="*/ 822864 w 3359086"/>
                <a:gd name="connsiteY9736" fmla="*/ 2384298 h 3355086"/>
                <a:gd name="connsiteX9737" fmla="*/ 829056 w 3359086"/>
                <a:gd name="connsiteY9737" fmla="*/ 2390489 h 3355086"/>
                <a:gd name="connsiteX9738" fmla="*/ 822864 w 3359086"/>
                <a:gd name="connsiteY9738" fmla="*/ 2396681 h 3355086"/>
                <a:gd name="connsiteX9739" fmla="*/ 816673 w 3359086"/>
                <a:gd name="connsiteY9739" fmla="*/ 2390489 h 3355086"/>
                <a:gd name="connsiteX9740" fmla="*/ 822864 w 3359086"/>
                <a:gd name="connsiteY9740" fmla="*/ 2384298 h 3355086"/>
                <a:gd name="connsiteX9741" fmla="*/ 3180492 w 3359086"/>
                <a:gd name="connsiteY9741" fmla="*/ 2384203 h 3355086"/>
                <a:gd name="connsiteX9742" fmla="*/ 3186683 w 3359086"/>
                <a:gd name="connsiteY9742" fmla="*/ 2390394 h 3355086"/>
                <a:gd name="connsiteX9743" fmla="*/ 3180492 w 3359086"/>
                <a:gd name="connsiteY9743" fmla="*/ 2396586 h 3355086"/>
                <a:gd name="connsiteX9744" fmla="*/ 3174301 w 3359086"/>
                <a:gd name="connsiteY9744" fmla="*/ 2390394 h 3355086"/>
                <a:gd name="connsiteX9745" fmla="*/ 3180492 w 3359086"/>
                <a:gd name="connsiteY9745" fmla="*/ 2384203 h 3355086"/>
                <a:gd name="connsiteX9746" fmla="*/ 184213 w 3359086"/>
                <a:gd name="connsiteY9746" fmla="*/ 2383822 h 3355086"/>
                <a:gd name="connsiteX9747" fmla="*/ 190404 w 3359086"/>
                <a:gd name="connsiteY9747" fmla="*/ 2390013 h 3355086"/>
                <a:gd name="connsiteX9748" fmla="*/ 184689 w 3359086"/>
                <a:gd name="connsiteY9748" fmla="*/ 2395729 h 3355086"/>
                <a:gd name="connsiteX9749" fmla="*/ 190881 w 3359086"/>
                <a:gd name="connsiteY9749" fmla="*/ 2401919 h 3355086"/>
                <a:gd name="connsiteX9750" fmla="*/ 184832 w 3359086"/>
                <a:gd name="connsiteY9750" fmla="*/ 2407968 h 3355086"/>
                <a:gd name="connsiteX9751" fmla="*/ 190213 w 3359086"/>
                <a:gd name="connsiteY9751" fmla="*/ 2413349 h 3355086"/>
                <a:gd name="connsiteX9752" fmla="*/ 184022 w 3359086"/>
                <a:gd name="connsiteY9752" fmla="*/ 2419540 h 3355086"/>
                <a:gd name="connsiteX9753" fmla="*/ 177831 w 3359086"/>
                <a:gd name="connsiteY9753" fmla="*/ 2413349 h 3355086"/>
                <a:gd name="connsiteX9754" fmla="*/ 183879 w 3359086"/>
                <a:gd name="connsiteY9754" fmla="*/ 2407301 h 3355086"/>
                <a:gd name="connsiteX9755" fmla="*/ 178498 w 3359086"/>
                <a:gd name="connsiteY9755" fmla="*/ 2401919 h 3355086"/>
                <a:gd name="connsiteX9756" fmla="*/ 184212 w 3359086"/>
                <a:gd name="connsiteY9756" fmla="*/ 2396205 h 3355086"/>
                <a:gd name="connsiteX9757" fmla="*/ 178022 w 3359086"/>
                <a:gd name="connsiteY9757" fmla="*/ 2390013 h 3355086"/>
                <a:gd name="connsiteX9758" fmla="*/ 184213 w 3359086"/>
                <a:gd name="connsiteY9758" fmla="*/ 2383822 h 3355086"/>
                <a:gd name="connsiteX9759" fmla="*/ 262984 w 3359086"/>
                <a:gd name="connsiteY9759" fmla="*/ 2383250 h 3355086"/>
                <a:gd name="connsiteX9760" fmla="*/ 269176 w 3359086"/>
                <a:gd name="connsiteY9760" fmla="*/ 2389441 h 3355086"/>
                <a:gd name="connsiteX9761" fmla="*/ 262984 w 3359086"/>
                <a:gd name="connsiteY9761" fmla="*/ 2395633 h 3355086"/>
                <a:gd name="connsiteX9762" fmla="*/ 256793 w 3359086"/>
                <a:gd name="connsiteY9762" fmla="*/ 2389441 h 3355086"/>
                <a:gd name="connsiteX9763" fmla="*/ 262984 w 3359086"/>
                <a:gd name="connsiteY9763" fmla="*/ 2383250 h 3355086"/>
                <a:gd name="connsiteX9764" fmla="*/ 2778061 w 3359086"/>
                <a:gd name="connsiteY9764" fmla="*/ 2383155 h 3355086"/>
                <a:gd name="connsiteX9765" fmla="*/ 2784252 w 3359086"/>
                <a:gd name="connsiteY9765" fmla="*/ 2389346 h 3355086"/>
                <a:gd name="connsiteX9766" fmla="*/ 2778061 w 3359086"/>
                <a:gd name="connsiteY9766" fmla="*/ 2395538 h 3355086"/>
                <a:gd name="connsiteX9767" fmla="*/ 2771870 w 3359086"/>
                <a:gd name="connsiteY9767" fmla="*/ 2389346 h 3355086"/>
                <a:gd name="connsiteX9768" fmla="*/ 2778061 w 3359086"/>
                <a:gd name="connsiteY9768" fmla="*/ 2383155 h 3355086"/>
                <a:gd name="connsiteX9769" fmla="*/ 230219 w 3359086"/>
                <a:gd name="connsiteY9769" fmla="*/ 2383060 h 3355086"/>
                <a:gd name="connsiteX9770" fmla="*/ 236410 w 3359086"/>
                <a:gd name="connsiteY9770" fmla="*/ 2389251 h 3355086"/>
                <a:gd name="connsiteX9771" fmla="*/ 230219 w 3359086"/>
                <a:gd name="connsiteY9771" fmla="*/ 2395443 h 3355086"/>
                <a:gd name="connsiteX9772" fmla="*/ 224028 w 3359086"/>
                <a:gd name="connsiteY9772" fmla="*/ 2389251 h 3355086"/>
                <a:gd name="connsiteX9773" fmla="*/ 230219 w 3359086"/>
                <a:gd name="connsiteY9773" fmla="*/ 2383060 h 3355086"/>
                <a:gd name="connsiteX9774" fmla="*/ 1892617 w 3359086"/>
                <a:gd name="connsiteY9774" fmla="*/ 2381536 h 3355086"/>
                <a:gd name="connsiteX9775" fmla="*/ 1898809 w 3359086"/>
                <a:gd name="connsiteY9775" fmla="*/ 2387727 h 3355086"/>
                <a:gd name="connsiteX9776" fmla="*/ 1892617 w 3359086"/>
                <a:gd name="connsiteY9776" fmla="*/ 2393919 h 3355086"/>
                <a:gd name="connsiteX9777" fmla="*/ 1886426 w 3359086"/>
                <a:gd name="connsiteY9777" fmla="*/ 2387727 h 3355086"/>
                <a:gd name="connsiteX9778" fmla="*/ 1892617 w 3359086"/>
                <a:gd name="connsiteY9778" fmla="*/ 2381536 h 3355086"/>
                <a:gd name="connsiteX9779" fmla="*/ 208406 w 3359086"/>
                <a:gd name="connsiteY9779" fmla="*/ 2380012 h 3355086"/>
                <a:gd name="connsiteX9780" fmla="*/ 214598 w 3359086"/>
                <a:gd name="connsiteY9780" fmla="*/ 2386203 h 3355086"/>
                <a:gd name="connsiteX9781" fmla="*/ 208406 w 3359086"/>
                <a:gd name="connsiteY9781" fmla="*/ 2392395 h 3355086"/>
                <a:gd name="connsiteX9782" fmla="*/ 202215 w 3359086"/>
                <a:gd name="connsiteY9782" fmla="*/ 2386203 h 3355086"/>
                <a:gd name="connsiteX9783" fmla="*/ 208406 w 3359086"/>
                <a:gd name="connsiteY9783" fmla="*/ 2380012 h 3355086"/>
                <a:gd name="connsiteX9784" fmla="*/ 174021 w 3359086"/>
                <a:gd name="connsiteY9784" fmla="*/ 2379821 h 3355086"/>
                <a:gd name="connsiteX9785" fmla="*/ 180212 w 3359086"/>
                <a:gd name="connsiteY9785" fmla="*/ 2386012 h 3355086"/>
                <a:gd name="connsiteX9786" fmla="*/ 174021 w 3359086"/>
                <a:gd name="connsiteY9786" fmla="*/ 2392204 h 3355086"/>
                <a:gd name="connsiteX9787" fmla="*/ 167830 w 3359086"/>
                <a:gd name="connsiteY9787" fmla="*/ 2386012 h 3355086"/>
                <a:gd name="connsiteX9788" fmla="*/ 174021 w 3359086"/>
                <a:gd name="connsiteY9788" fmla="*/ 2379821 h 3355086"/>
                <a:gd name="connsiteX9789" fmla="*/ 2933985 w 3359086"/>
                <a:gd name="connsiteY9789" fmla="*/ 2379536 h 3355086"/>
                <a:gd name="connsiteX9790" fmla="*/ 2940176 w 3359086"/>
                <a:gd name="connsiteY9790" fmla="*/ 2385727 h 3355086"/>
                <a:gd name="connsiteX9791" fmla="*/ 2933985 w 3359086"/>
                <a:gd name="connsiteY9791" fmla="*/ 2391919 h 3355086"/>
                <a:gd name="connsiteX9792" fmla="*/ 2927794 w 3359086"/>
                <a:gd name="connsiteY9792" fmla="*/ 2385727 h 3355086"/>
                <a:gd name="connsiteX9793" fmla="*/ 2933985 w 3359086"/>
                <a:gd name="connsiteY9793" fmla="*/ 2379536 h 3355086"/>
                <a:gd name="connsiteX9794" fmla="*/ 3143916 w 3359086"/>
                <a:gd name="connsiteY9794" fmla="*/ 2379345 h 3355086"/>
                <a:gd name="connsiteX9795" fmla="*/ 3150107 w 3359086"/>
                <a:gd name="connsiteY9795" fmla="*/ 2385536 h 3355086"/>
                <a:gd name="connsiteX9796" fmla="*/ 3143916 w 3359086"/>
                <a:gd name="connsiteY9796" fmla="*/ 2391728 h 3355086"/>
                <a:gd name="connsiteX9797" fmla="*/ 3137725 w 3359086"/>
                <a:gd name="connsiteY9797" fmla="*/ 2385536 h 3355086"/>
                <a:gd name="connsiteX9798" fmla="*/ 3143916 w 3359086"/>
                <a:gd name="connsiteY9798" fmla="*/ 2379345 h 3355086"/>
                <a:gd name="connsiteX9799" fmla="*/ 310800 w 3359086"/>
                <a:gd name="connsiteY9799" fmla="*/ 2379250 h 3355086"/>
                <a:gd name="connsiteX9800" fmla="*/ 316991 w 3359086"/>
                <a:gd name="connsiteY9800" fmla="*/ 2385441 h 3355086"/>
                <a:gd name="connsiteX9801" fmla="*/ 310800 w 3359086"/>
                <a:gd name="connsiteY9801" fmla="*/ 2391633 h 3355086"/>
                <a:gd name="connsiteX9802" fmla="*/ 304609 w 3359086"/>
                <a:gd name="connsiteY9802" fmla="*/ 2385441 h 3355086"/>
                <a:gd name="connsiteX9803" fmla="*/ 310800 w 3359086"/>
                <a:gd name="connsiteY9803" fmla="*/ 2379250 h 3355086"/>
                <a:gd name="connsiteX9804" fmla="*/ 161829 w 3359086"/>
                <a:gd name="connsiteY9804" fmla="*/ 2378679 h 3355086"/>
                <a:gd name="connsiteX9805" fmla="*/ 167163 w 3359086"/>
                <a:gd name="connsiteY9805" fmla="*/ 2384013 h 3355086"/>
                <a:gd name="connsiteX9806" fmla="*/ 161829 w 3359086"/>
                <a:gd name="connsiteY9806" fmla="*/ 2389347 h 3355086"/>
                <a:gd name="connsiteX9807" fmla="*/ 156495 w 3359086"/>
                <a:gd name="connsiteY9807" fmla="*/ 2384013 h 3355086"/>
                <a:gd name="connsiteX9808" fmla="*/ 161829 w 3359086"/>
                <a:gd name="connsiteY9808" fmla="*/ 2378679 h 3355086"/>
                <a:gd name="connsiteX9809" fmla="*/ 1381696 w 3359086"/>
                <a:gd name="connsiteY9809" fmla="*/ 2377345 h 3355086"/>
                <a:gd name="connsiteX9810" fmla="*/ 1387888 w 3359086"/>
                <a:gd name="connsiteY9810" fmla="*/ 2383536 h 3355086"/>
                <a:gd name="connsiteX9811" fmla="*/ 1381696 w 3359086"/>
                <a:gd name="connsiteY9811" fmla="*/ 2389728 h 3355086"/>
                <a:gd name="connsiteX9812" fmla="*/ 1375505 w 3359086"/>
                <a:gd name="connsiteY9812" fmla="*/ 2383536 h 3355086"/>
                <a:gd name="connsiteX9813" fmla="*/ 1381696 w 3359086"/>
                <a:gd name="connsiteY9813" fmla="*/ 2377345 h 3355086"/>
                <a:gd name="connsiteX9814" fmla="*/ 193738 w 3359086"/>
                <a:gd name="connsiteY9814" fmla="*/ 2375630 h 3355086"/>
                <a:gd name="connsiteX9815" fmla="*/ 199929 w 3359086"/>
                <a:gd name="connsiteY9815" fmla="*/ 2381821 h 3355086"/>
                <a:gd name="connsiteX9816" fmla="*/ 193738 w 3359086"/>
                <a:gd name="connsiteY9816" fmla="*/ 2388013 h 3355086"/>
                <a:gd name="connsiteX9817" fmla="*/ 187547 w 3359086"/>
                <a:gd name="connsiteY9817" fmla="*/ 2381821 h 3355086"/>
                <a:gd name="connsiteX9818" fmla="*/ 193738 w 3359086"/>
                <a:gd name="connsiteY9818" fmla="*/ 2375630 h 3355086"/>
                <a:gd name="connsiteX9819" fmla="*/ 3153632 w 3359086"/>
                <a:gd name="connsiteY9819" fmla="*/ 2374773 h 3355086"/>
                <a:gd name="connsiteX9820" fmla="*/ 3159823 w 3359086"/>
                <a:gd name="connsiteY9820" fmla="*/ 2380964 h 3355086"/>
                <a:gd name="connsiteX9821" fmla="*/ 3153632 w 3359086"/>
                <a:gd name="connsiteY9821" fmla="*/ 2387156 h 3355086"/>
                <a:gd name="connsiteX9822" fmla="*/ 3147441 w 3359086"/>
                <a:gd name="connsiteY9822" fmla="*/ 2380964 h 3355086"/>
                <a:gd name="connsiteX9823" fmla="*/ 3153632 w 3359086"/>
                <a:gd name="connsiteY9823" fmla="*/ 2374773 h 3355086"/>
                <a:gd name="connsiteX9824" fmla="*/ 2553842 w 3359086"/>
                <a:gd name="connsiteY9824" fmla="*/ 2373345 h 3355086"/>
                <a:gd name="connsiteX9825" fmla="*/ 2560033 w 3359086"/>
                <a:gd name="connsiteY9825" fmla="*/ 2379536 h 3355086"/>
                <a:gd name="connsiteX9826" fmla="*/ 2553842 w 3359086"/>
                <a:gd name="connsiteY9826" fmla="*/ 2385728 h 3355086"/>
                <a:gd name="connsiteX9827" fmla="*/ 2547651 w 3359086"/>
                <a:gd name="connsiteY9827" fmla="*/ 2379536 h 3355086"/>
                <a:gd name="connsiteX9828" fmla="*/ 2553842 w 3359086"/>
                <a:gd name="connsiteY9828" fmla="*/ 2373345 h 3355086"/>
                <a:gd name="connsiteX9829" fmla="*/ 526827 w 3359086"/>
                <a:gd name="connsiteY9829" fmla="*/ 2372868 h 3355086"/>
                <a:gd name="connsiteX9830" fmla="*/ 533018 w 3359086"/>
                <a:gd name="connsiteY9830" fmla="*/ 2379059 h 3355086"/>
                <a:gd name="connsiteX9831" fmla="*/ 526827 w 3359086"/>
                <a:gd name="connsiteY9831" fmla="*/ 2385251 h 3355086"/>
                <a:gd name="connsiteX9832" fmla="*/ 520636 w 3359086"/>
                <a:gd name="connsiteY9832" fmla="*/ 2379059 h 3355086"/>
                <a:gd name="connsiteX9833" fmla="*/ 526827 w 3359086"/>
                <a:gd name="connsiteY9833" fmla="*/ 2372868 h 3355086"/>
                <a:gd name="connsiteX9834" fmla="*/ 3192493 w 3359086"/>
                <a:gd name="connsiteY9834" fmla="*/ 2371916 h 3355086"/>
                <a:gd name="connsiteX9835" fmla="*/ 3198685 w 3359086"/>
                <a:gd name="connsiteY9835" fmla="*/ 2378107 h 3355086"/>
                <a:gd name="connsiteX9836" fmla="*/ 3192493 w 3359086"/>
                <a:gd name="connsiteY9836" fmla="*/ 2384299 h 3355086"/>
                <a:gd name="connsiteX9837" fmla="*/ 3186302 w 3359086"/>
                <a:gd name="connsiteY9837" fmla="*/ 2378107 h 3355086"/>
                <a:gd name="connsiteX9838" fmla="*/ 3192493 w 3359086"/>
                <a:gd name="connsiteY9838" fmla="*/ 2371916 h 3355086"/>
                <a:gd name="connsiteX9839" fmla="*/ 3111912 w 3359086"/>
                <a:gd name="connsiteY9839" fmla="*/ 2371725 h 3355086"/>
                <a:gd name="connsiteX9840" fmla="*/ 3118103 w 3359086"/>
                <a:gd name="connsiteY9840" fmla="*/ 2377916 h 3355086"/>
                <a:gd name="connsiteX9841" fmla="*/ 3111912 w 3359086"/>
                <a:gd name="connsiteY9841" fmla="*/ 2384107 h 3355086"/>
                <a:gd name="connsiteX9842" fmla="*/ 3105721 w 3359086"/>
                <a:gd name="connsiteY9842" fmla="*/ 2377916 h 3355086"/>
                <a:gd name="connsiteX9843" fmla="*/ 3111912 w 3359086"/>
                <a:gd name="connsiteY9843" fmla="*/ 2371725 h 3355086"/>
                <a:gd name="connsiteX9844" fmla="*/ 3163823 w 3359086"/>
                <a:gd name="connsiteY9844" fmla="*/ 2371630 h 3355086"/>
                <a:gd name="connsiteX9845" fmla="*/ 3170014 w 3359086"/>
                <a:gd name="connsiteY9845" fmla="*/ 2377821 h 3355086"/>
                <a:gd name="connsiteX9846" fmla="*/ 3163823 w 3359086"/>
                <a:gd name="connsiteY9846" fmla="*/ 2384013 h 3355086"/>
                <a:gd name="connsiteX9847" fmla="*/ 3157632 w 3359086"/>
                <a:gd name="connsiteY9847" fmla="*/ 2377821 h 3355086"/>
                <a:gd name="connsiteX9848" fmla="*/ 3163823 w 3359086"/>
                <a:gd name="connsiteY9848" fmla="*/ 2371630 h 3355086"/>
                <a:gd name="connsiteX9849" fmla="*/ 3082004 w 3359086"/>
                <a:gd name="connsiteY9849" fmla="*/ 2371630 h 3355086"/>
                <a:gd name="connsiteX9850" fmla="*/ 3088195 w 3359086"/>
                <a:gd name="connsiteY9850" fmla="*/ 2377821 h 3355086"/>
                <a:gd name="connsiteX9851" fmla="*/ 3082004 w 3359086"/>
                <a:gd name="connsiteY9851" fmla="*/ 2384013 h 3355086"/>
                <a:gd name="connsiteX9852" fmla="*/ 3075813 w 3359086"/>
                <a:gd name="connsiteY9852" fmla="*/ 2377821 h 3355086"/>
                <a:gd name="connsiteX9853" fmla="*/ 3082004 w 3359086"/>
                <a:gd name="connsiteY9853" fmla="*/ 2371630 h 3355086"/>
                <a:gd name="connsiteX9854" fmla="*/ 2015775 w 3359086"/>
                <a:gd name="connsiteY9854" fmla="*/ 2371535 h 3355086"/>
                <a:gd name="connsiteX9855" fmla="*/ 2021967 w 3359086"/>
                <a:gd name="connsiteY9855" fmla="*/ 2377726 h 3355086"/>
                <a:gd name="connsiteX9856" fmla="*/ 2015775 w 3359086"/>
                <a:gd name="connsiteY9856" fmla="*/ 2383918 h 3355086"/>
                <a:gd name="connsiteX9857" fmla="*/ 2009584 w 3359086"/>
                <a:gd name="connsiteY9857" fmla="*/ 2377726 h 3355086"/>
                <a:gd name="connsiteX9858" fmla="*/ 2015775 w 3359086"/>
                <a:gd name="connsiteY9858" fmla="*/ 2371535 h 3355086"/>
                <a:gd name="connsiteX9859" fmla="*/ 183070 w 3359086"/>
                <a:gd name="connsiteY9859" fmla="*/ 2371058 h 3355086"/>
                <a:gd name="connsiteX9860" fmla="*/ 189262 w 3359086"/>
                <a:gd name="connsiteY9860" fmla="*/ 2377249 h 3355086"/>
                <a:gd name="connsiteX9861" fmla="*/ 183070 w 3359086"/>
                <a:gd name="connsiteY9861" fmla="*/ 2383441 h 3355086"/>
                <a:gd name="connsiteX9862" fmla="*/ 176879 w 3359086"/>
                <a:gd name="connsiteY9862" fmla="*/ 2377249 h 3355086"/>
                <a:gd name="connsiteX9863" fmla="*/ 183070 w 3359086"/>
                <a:gd name="connsiteY9863" fmla="*/ 2371058 h 3355086"/>
                <a:gd name="connsiteX9864" fmla="*/ 3176301 w 3359086"/>
                <a:gd name="connsiteY9864" fmla="*/ 2370582 h 3355086"/>
                <a:gd name="connsiteX9865" fmla="*/ 3182492 w 3359086"/>
                <a:gd name="connsiteY9865" fmla="*/ 2376773 h 3355086"/>
                <a:gd name="connsiteX9866" fmla="*/ 3176301 w 3359086"/>
                <a:gd name="connsiteY9866" fmla="*/ 2382965 h 3355086"/>
                <a:gd name="connsiteX9867" fmla="*/ 3170110 w 3359086"/>
                <a:gd name="connsiteY9867" fmla="*/ 2376773 h 3355086"/>
                <a:gd name="connsiteX9868" fmla="*/ 3176301 w 3359086"/>
                <a:gd name="connsiteY9868" fmla="*/ 2370582 h 3355086"/>
                <a:gd name="connsiteX9869" fmla="*/ 150780 w 3359086"/>
                <a:gd name="connsiteY9869" fmla="*/ 2370487 h 3355086"/>
                <a:gd name="connsiteX9870" fmla="*/ 150876 w 3359086"/>
                <a:gd name="connsiteY9870" fmla="*/ 2370582 h 3355086"/>
                <a:gd name="connsiteX9871" fmla="*/ 150780 w 3359086"/>
                <a:gd name="connsiteY9871" fmla="*/ 2370677 h 3355086"/>
                <a:gd name="connsiteX9872" fmla="*/ 150685 w 3359086"/>
                <a:gd name="connsiteY9872" fmla="*/ 2370582 h 3355086"/>
                <a:gd name="connsiteX9873" fmla="*/ 150780 w 3359086"/>
                <a:gd name="connsiteY9873" fmla="*/ 2370487 h 3355086"/>
                <a:gd name="connsiteX9874" fmla="*/ 3131724 w 3359086"/>
                <a:gd name="connsiteY9874" fmla="*/ 2369344 h 3355086"/>
                <a:gd name="connsiteX9875" fmla="*/ 3137915 w 3359086"/>
                <a:gd name="connsiteY9875" fmla="*/ 2375535 h 3355086"/>
                <a:gd name="connsiteX9876" fmla="*/ 3131724 w 3359086"/>
                <a:gd name="connsiteY9876" fmla="*/ 2381726 h 3355086"/>
                <a:gd name="connsiteX9877" fmla="*/ 3125533 w 3359086"/>
                <a:gd name="connsiteY9877" fmla="*/ 2375535 h 3355086"/>
                <a:gd name="connsiteX9878" fmla="*/ 3131724 w 3359086"/>
                <a:gd name="connsiteY9878" fmla="*/ 2369344 h 3355086"/>
                <a:gd name="connsiteX9879" fmla="*/ 378713 w 3359086"/>
                <a:gd name="connsiteY9879" fmla="*/ 2369154 h 3355086"/>
                <a:gd name="connsiteX9880" fmla="*/ 384904 w 3359086"/>
                <a:gd name="connsiteY9880" fmla="*/ 2375345 h 3355086"/>
                <a:gd name="connsiteX9881" fmla="*/ 378713 w 3359086"/>
                <a:gd name="connsiteY9881" fmla="*/ 2381537 h 3355086"/>
                <a:gd name="connsiteX9882" fmla="*/ 372522 w 3359086"/>
                <a:gd name="connsiteY9882" fmla="*/ 2375345 h 3355086"/>
                <a:gd name="connsiteX9883" fmla="*/ 378713 w 3359086"/>
                <a:gd name="connsiteY9883" fmla="*/ 2369154 h 3355086"/>
                <a:gd name="connsiteX9884" fmla="*/ 3037807 w 3359086"/>
                <a:gd name="connsiteY9884" fmla="*/ 2367439 h 3355086"/>
                <a:gd name="connsiteX9885" fmla="*/ 3043998 w 3359086"/>
                <a:gd name="connsiteY9885" fmla="*/ 2373630 h 3355086"/>
                <a:gd name="connsiteX9886" fmla="*/ 3037807 w 3359086"/>
                <a:gd name="connsiteY9886" fmla="*/ 2379822 h 3355086"/>
                <a:gd name="connsiteX9887" fmla="*/ 3031616 w 3359086"/>
                <a:gd name="connsiteY9887" fmla="*/ 2373630 h 3355086"/>
                <a:gd name="connsiteX9888" fmla="*/ 3037807 w 3359086"/>
                <a:gd name="connsiteY9888" fmla="*/ 2367439 h 3355086"/>
                <a:gd name="connsiteX9889" fmla="*/ 173735 w 3359086"/>
                <a:gd name="connsiteY9889" fmla="*/ 2367153 h 3355086"/>
                <a:gd name="connsiteX9890" fmla="*/ 179926 w 3359086"/>
                <a:gd name="connsiteY9890" fmla="*/ 2373344 h 3355086"/>
                <a:gd name="connsiteX9891" fmla="*/ 173735 w 3359086"/>
                <a:gd name="connsiteY9891" fmla="*/ 2379536 h 3355086"/>
                <a:gd name="connsiteX9892" fmla="*/ 167544 w 3359086"/>
                <a:gd name="connsiteY9892" fmla="*/ 2373344 h 3355086"/>
                <a:gd name="connsiteX9893" fmla="*/ 173735 w 3359086"/>
                <a:gd name="connsiteY9893" fmla="*/ 2367153 h 3355086"/>
                <a:gd name="connsiteX9894" fmla="*/ 1261014 w 3359086"/>
                <a:gd name="connsiteY9894" fmla="*/ 2365725 h 3355086"/>
                <a:gd name="connsiteX9895" fmla="*/ 1267205 w 3359086"/>
                <a:gd name="connsiteY9895" fmla="*/ 2371916 h 3355086"/>
                <a:gd name="connsiteX9896" fmla="*/ 1261014 w 3359086"/>
                <a:gd name="connsiteY9896" fmla="*/ 2378108 h 3355086"/>
                <a:gd name="connsiteX9897" fmla="*/ 1254823 w 3359086"/>
                <a:gd name="connsiteY9897" fmla="*/ 2371916 h 3355086"/>
                <a:gd name="connsiteX9898" fmla="*/ 1261014 w 3359086"/>
                <a:gd name="connsiteY9898" fmla="*/ 2365725 h 3355086"/>
                <a:gd name="connsiteX9899" fmla="*/ 3144964 w 3359086"/>
                <a:gd name="connsiteY9899" fmla="*/ 2365629 h 3355086"/>
                <a:gd name="connsiteX9900" fmla="*/ 3151155 w 3359086"/>
                <a:gd name="connsiteY9900" fmla="*/ 2371820 h 3355086"/>
                <a:gd name="connsiteX9901" fmla="*/ 3144964 w 3359086"/>
                <a:gd name="connsiteY9901" fmla="*/ 2378011 h 3355086"/>
                <a:gd name="connsiteX9902" fmla="*/ 3138773 w 3359086"/>
                <a:gd name="connsiteY9902" fmla="*/ 2371820 h 3355086"/>
                <a:gd name="connsiteX9903" fmla="*/ 3144964 w 3359086"/>
                <a:gd name="connsiteY9903" fmla="*/ 2365629 h 3355086"/>
                <a:gd name="connsiteX9904" fmla="*/ 163544 w 3359086"/>
                <a:gd name="connsiteY9904" fmla="*/ 2364772 h 3355086"/>
                <a:gd name="connsiteX9905" fmla="*/ 169735 w 3359086"/>
                <a:gd name="connsiteY9905" fmla="*/ 2370963 h 3355086"/>
                <a:gd name="connsiteX9906" fmla="*/ 163544 w 3359086"/>
                <a:gd name="connsiteY9906" fmla="*/ 2377155 h 3355086"/>
                <a:gd name="connsiteX9907" fmla="*/ 157353 w 3359086"/>
                <a:gd name="connsiteY9907" fmla="*/ 2370963 h 3355086"/>
                <a:gd name="connsiteX9908" fmla="*/ 163544 w 3359086"/>
                <a:gd name="connsiteY9908" fmla="*/ 2364772 h 3355086"/>
                <a:gd name="connsiteX9909" fmla="*/ 741235 w 3359086"/>
                <a:gd name="connsiteY9909" fmla="*/ 2363724 h 3355086"/>
                <a:gd name="connsiteX9910" fmla="*/ 747427 w 3359086"/>
                <a:gd name="connsiteY9910" fmla="*/ 2369915 h 3355086"/>
                <a:gd name="connsiteX9911" fmla="*/ 741235 w 3359086"/>
                <a:gd name="connsiteY9911" fmla="*/ 2376107 h 3355086"/>
                <a:gd name="connsiteX9912" fmla="*/ 735044 w 3359086"/>
                <a:gd name="connsiteY9912" fmla="*/ 2369915 h 3355086"/>
                <a:gd name="connsiteX9913" fmla="*/ 741235 w 3359086"/>
                <a:gd name="connsiteY9913" fmla="*/ 2363724 h 3355086"/>
                <a:gd name="connsiteX9914" fmla="*/ 212121 w 3359086"/>
                <a:gd name="connsiteY9914" fmla="*/ 2362200 h 3355086"/>
                <a:gd name="connsiteX9915" fmla="*/ 218312 w 3359086"/>
                <a:gd name="connsiteY9915" fmla="*/ 2368391 h 3355086"/>
                <a:gd name="connsiteX9916" fmla="*/ 212121 w 3359086"/>
                <a:gd name="connsiteY9916" fmla="*/ 2374582 h 3355086"/>
                <a:gd name="connsiteX9917" fmla="*/ 205930 w 3359086"/>
                <a:gd name="connsiteY9917" fmla="*/ 2368391 h 3355086"/>
                <a:gd name="connsiteX9918" fmla="*/ 212121 w 3359086"/>
                <a:gd name="connsiteY9918" fmla="*/ 2362200 h 3355086"/>
                <a:gd name="connsiteX9919" fmla="*/ 239744 w 3359086"/>
                <a:gd name="connsiteY9919" fmla="*/ 2361724 h 3355086"/>
                <a:gd name="connsiteX9920" fmla="*/ 245935 w 3359086"/>
                <a:gd name="connsiteY9920" fmla="*/ 2367915 h 3355086"/>
                <a:gd name="connsiteX9921" fmla="*/ 239744 w 3359086"/>
                <a:gd name="connsiteY9921" fmla="*/ 2374107 h 3355086"/>
                <a:gd name="connsiteX9922" fmla="*/ 233553 w 3359086"/>
                <a:gd name="connsiteY9922" fmla="*/ 2367915 h 3355086"/>
                <a:gd name="connsiteX9923" fmla="*/ 239744 w 3359086"/>
                <a:gd name="connsiteY9923" fmla="*/ 2361724 h 3355086"/>
                <a:gd name="connsiteX9924" fmla="*/ 3204781 w 3359086"/>
                <a:gd name="connsiteY9924" fmla="*/ 2361057 h 3355086"/>
                <a:gd name="connsiteX9925" fmla="*/ 3210306 w 3359086"/>
                <a:gd name="connsiteY9925" fmla="*/ 2366582 h 3355086"/>
                <a:gd name="connsiteX9926" fmla="*/ 3204781 w 3359086"/>
                <a:gd name="connsiteY9926" fmla="*/ 2372106 h 3355086"/>
                <a:gd name="connsiteX9927" fmla="*/ 3199257 w 3359086"/>
                <a:gd name="connsiteY9927" fmla="*/ 2366582 h 3355086"/>
                <a:gd name="connsiteX9928" fmla="*/ 3204781 w 3359086"/>
                <a:gd name="connsiteY9928" fmla="*/ 2361057 h 3355086"/>
                <a:gd name="connsiteX9929" fmla="*/ 2835211 w 3359086"/>
                <a:gd name="connsiteY9929" fmla="*/ 2361057 h 3355086"/>
                <a:gd name="connsiteX9930" fmla="*/ 2841402 w 3359086"/>
                <a:gd name="connsiteY9930" fmla="*/ 2367248 h 3355086"/>
                <a:gd name="connsiteX9931" fmla="*/ 2835211 w 3359086"/>
                <a:gd name="connsiteY9931" fmla="*/ 2373440 h 3355086"/>
                <a:gd name="connsiteX9932" fmla="*/ 2829020 w 3359086"/>
                <a:gd name="connsiteY9932" fmla="*/ 2367248 h 3355086"/>
                <a:gd name="connsiteX9933" fmla="*/ 2835211 w 3359086"/>
                <a:gd name="connsiteY9933" fmla="*/ 2361057 h 3355086"/>
                <a:gd name="connsiteX9934" fmla="*/ 194023 w 3359086"/>
                <a:gd name="connsiteY9934" fmla="*/ 2360200 h 3355086"/>
                <a:gd name="connsiteX9935" fmla="*/ 200215 w 3359086"/>
                <a:gd name="connsiteY9935" fmla="*/ 2366391 h 3355086"/>
                <a:gd name="connsiteX9936" fmla="*/ 194023 w 3359086"/>
                <a:gd name="connsiteY9936" fmla="*/ 2372583 h 3355086"/>
                <a:gd name="connsiteX9937" fmla="*/ 187832 w 3359086"/>
                <a:gd name="connsiteY9937" fmla="*/ 2366391 h 3355086"/>
                <a:gd name="connsiteX9938" fmla="*/ 194023 w 3359086"/>
                <a:gd name="connsiteY9938" fmla="*/ 2360200 h 3355086"/>
                <a:gd name="connsiteX9939" fmla="*/ 2133218 w 3359086"/>
                <a:gd name="connsiteY9939" fmla="*/ 2358295 h 3355086"/>
                <a:gd name="connsiteX9940" fmla="*/ 2139410 w 3359086"/>
                <a:gd name="connsiteY9940" fmla="*/ 2364486 h 3355086"/>
                <a:gd name="connsiteX9941" fmla="*/ 2133218 w 3359086"/>
                <a:gd name="connsiteY9941" fmla="*/ 2370678 h 3355086"/>
                <a:gd name="connsiteX9942" fmla="*/ 2127027 w 3359086"/>
                <a:gd name="connsiteY9942" fmla="*/ 2364486 h 3355086"/>
                <a:gd name="connsiteX9943" fmla="*/ 2133218 w 3359086"/>
                <a:gd name="connsiteY9943" fmla="*/ 2358295 h 3355086"/>
                <a:gd name="connsiteX9944" fmla="*/ 3187350 w 3359086"/>
                <a:gd name="connsiteY9944" fmla="*/ 2357438 h 3355086"/>
                <a:gd name="connsiteX9945" fmla="*/ 3193541 w 3359086"/>
                <a:gd name="connsiteY9945" fmla="*/ 2363629 h 3355086"/>
                <a:gd name="connsiteX9946" fmla="*/ 3187350 w 3359086"/>
                <a:gd name="connsiteY9946" fmla="*/ 2369820 h 3355086"/>
                <a:gd name="connsiteX9947" fmla="*/ 3181159 w 3359086"/>
                <a:gd name="connsiteY9947" fmla="*/ 2363629 h 3355086"/>
                <a:gd name="connsiteX9948" fmla="*/ 3187350 w 3359086"/>
                <a:gd name="connsiteY9948" fmla="*/ 2357438 h 3355086"/>
                <a:gd name="connsiteX9949" fmla="*/ 2974657 w 3359086"/>
                <a:gd name="connsiteY9949" fmla="*/ 2357247 h 3355086"/>
                <a:gd name="connsiteX9950" fmla="*/ 2980849 w 3359086"/>
                <a:gd name="connsiteY9950" fmla="*/ 2363438 h 3355086"/>
                <a:gd name="connsiteX9951" fmla="*/ 2974657 w 3359086"/>
                <a:gd name="connsiteY9951" fmla="*/ 2369630 h 3355086"/>
                <a:gd name="connsiteX9952" fmla="*/ 2968466 w 3359086"/>
                <a:gd name="connsiteY9952" fmla="*/ 2363438 h 3355086"/>
                <a:gd name="connsiteX9953" fmla="*/ 2974657 w 3359086"/>
                <a:gd name="connsiteY9953" fmla="*/ 2357247 h 3355086"/>
                <a:gd name="connsiteX9954" fmla="*/ 280796 w 3359086"/>
                <a:gd name="connsiteY9954" fmla="*/ 2357247 h 3355086"/>
                <a:gd name="connsiteX9955" fmla="*/ 286987 w 3359086"/>
                <a:gd name="connsiteY9955" fmla="*/ 2363438 h 3355086"/>
                <a:gd name="connsiteX9956" fmla="*/ 280796 w 3359086"/>
                <a:gd name="connsiteY9956" fmla="*/ 2369630 h 3355086"/>
                <a:gd name="connsiteX9957" fmla="*/ 274605 w 3359086"/>
                <a:gd name="connsiteY9957" fmla="*/ 2363438 h 3355086"/>
                <a:gd name="connsiteX9958" fmla="*/ 280796 w 3359086"/>
                <a:gd name="connsiteY9958" fmla="*/ 2357247 h 3355086"/>
                <a:gd name="connsiteX9959" fmla="*/ 3174110 w 3359086"/>
                <a:gd name="connsiteY9959" fmla="*/ 2357057 h 3355086"/>
                <a:gd name="connsiteX9960" fmla="*/ 3180302 w 3359086"/>
                <a:gd name="connsiteY9960" fmla="*/ 2363248 h 3355086"/>
                <a:gd name="connsiteX9961" fmla="*/ 3174110 w 3359086"/>
                <a:gd name="connsiteY9961" fmla="*/ 2369440 h 3355086"/>
                <a:gd name="connsiteX9962" fmla="*/ 3169776 w 3359086"/>
                <a:gd name="connsiteY9962" fmla="*/ 2365106 h 3355086"/>
                <a:gd name="connsiteX9963" fmla="*/ 3163918 w 3359086"/>
                <a:gd name="connsiteY9963" fmla="*/ 2370964 h 3355086"/>
                <a:gd name="connsiteX9964" fmla="*/ 3160965 w 3359086"/>
                <a:gd name="connsiteY9964" fmla="*/ 2368011 h 3355086"/>
                <a:gd name="connsiteX9965" fmla="*/ 3154870 w 3359086"/>
                <a:gd name="connsiteY9965" fmla="*/ 2374107 h 3355086"/>
                <a:gd name="connsiteX9966" fmla="*/ 3148679 w 3359086"/>
                <a:gd name="connsiteY9966" fmla="*/ 2367915 h 3355086"/>
                <a:gd name="connsiteX9967" fmla="*/ 3154870 w 3359086"/>
                <a:gd name="connsiteY9967" fmla="*/ 2361724 h 3355086"/>
                <a:gd name="connsiteX9968" fmla="*/ 3157823 w 3359086"/>
                <a:gd name="connsiteY9968" fmla="*/ 2364677 h 3355086"/>
                <a:gd name="connsiteX9969" fmla="*/ 3163918 w 3359086"/>
                <a:gd name="connsiteY9969" fmla="*/ 2358581 h 3355086"/>
                <a:gd name="connsiteX9970" fmla="*/ 3168252 w 3359086"/>
                <a:gd name="connsiteY9970" fmla="*/ 2362915 h 3355086"/>
                <a:gd name="connsiteX9971" fmla="*/ 181736 w 3359086"/>
                <a:gd name="connsiteY9971" fmla="*/ 2357057 h 3355086"/>
                <a:gd name="connsiteX9972" fmla="*/ 187927 w 3359086"/>
                <a:gd name="connsiteY9972" fmla="*/ 2363248 h 3355086"/>
                <a:gd name="connsiteX9973" fmla="*/ 181736 w 3359086"/>
                <a:gd name="connsiteY9973" fmla="*/ 2369440 h 3355086"/>
                <a:gd name="connsiteX9974" fmla="*/ 175545 w 3359086"/>
                <a:gd name="connsiteY9974" fmla="*/ 2363248 h 3355086"/>
                <a:gd name="connsiteX9975" fmla="*/ 181736 w 3359086"/>
                <a:gd name="connsiteY9975" fmla="*/ 2357057 h 3355086"/>
                <a:gd name="connsiteX9976" fmla="*/ 3217354 w 3359086"/>
                <a:gd name="connsiteY9976" fmla="*/ 2355533 h 3355086"/>
                <a:gd name="connsiteX9977" fmla="*/ 3217545 w 3359086"/>
                <a:gd name="connsiteY9977" fmla="*/ 2355723 h 3355086"/>
                <a:gd name="connsiteX9978" fmla="*/ 3217354 w 3359086"/>
                <a:gd name="connsiteY9978" fmla="*/ 2355914 h 3355086"/>
                <a:gd name="connsiteX9979" fmla="*/ 3217164 w 3359086"/>
                <a:gd name="connsiteY9979" fmla="*/ 2355723 h 3355086"/>
                <a:gd name="connsiteX9980" fmla="*/ 3217354 w 3359086"/>
                <a:gd name="connsiteY9980" fmla="*/ 2355533 h 3355086"/>
                <a:gd name="connsiteX9981" fmla="*/ 2631947 w 3359086"/>
                <a:gd name="connsiteY9981" fmla="*/ 2352485 h 3355086"/>
                <a:gd name="connsiteX9982" fmla="*/ 2638138 w 3359086"/>
                <a:gd name="connsiteY9982" fmla="*/ 2358676 h 3355086"/>
                <a:gd name="connsiteX9983" fmla="*/ 2631947 w 3359086"/>
                <a:gd name="connsiteY9983" fmla="*/ 2364868 h 3355086"/>
                <a:gd name="connsiteX9984" fmla="*/ 2625756 w 3359086"/>
                <a:gd name="connsiteY9984" fmla="*/ 2358676 h 3355086"/>
                <a:gd name="connsiteX9985" fmla="*/ 2631947 w 3359086"/>
                <a:gd name="connsiteY9985" fmla="*/ 2352485 h 3355086"/>
                <a:gd name="connsiteX9986" fmla="*/ 3128866 w 3359086"/>
                <a:gd name="connsiteY9986" fmla="*/ 2351342 h 3355086"/>
                <a:gd name="connsiteX9987" fmla="*/ 3135058 w 3359086"/>
                <a:gd name="connsiteY9987" fmla="*/ 2357533 h 3355086"/>
                <a:gd name="connsiteX9988" fmla="*/ 3128866 w 3359086"/>
                <a:gd name="connsiteY9988" fmla="*/ 2363724 h 3355086"/>
                <a:gd name="connsiteX9989" fmla="*/ 3122675 w 3359086"/>
                <a:gd name="connsiteY9989" fmla="*/ 2357533 h 3355086"/>
                <a:gd name="connsiteX9990" fmla="*/ 3128866 w 3359086"/>
                <a:gd name="connsiteY9990" fmla="*/ 2351342 h 3355086"/>
                <a:gd name="connsiteX9991" fmla="*/ 1146714 w 3359086"/>
                <a:gd name="connsiteY9991" fmla="*/ 2351342 h 3355086"/>
                <a:gd name="connsiteX9992" fmla="*/ 1152906 w 3359086"/>
                <a:gd name="connsiteY9992" fmla="*/ 2357533 h 3355086"/>
                <a:gd name="connsiteX9993" fmla="*/ 1146714 w 3359086"/>
                <a:gd name="connsiteY9993" fmla="*/ 2363724 h 3355086"/>
                <a:gd name="connsiteX9994" fmla="*/ 1140523 w 3359086"/>
                <a:gd name="connsiteY9994" fmla="*/ 2357533 h 3355086"/>
                <a:gd name="connsiteX9995" fmla="*/ 1146714 w 3359086"/>
                <a:gd name="connsiteY9995" fmla="*/ 2351342 h 3355086"/>
                <a:gd name="connsiteX9996" fmla="*/ 472249 w 3359086"/>
                <a:gd name="connsiteY9996" fmla="*/ 2350866 h 3355086"/>
                <a:gd name="connsiteX9997" fmla="*/ 478440 w 3359086"/>
                <a:gd name="connsiteY9997" fmla="*/ 2357057 h 3355086"/>
                <a:gd name="connsiteX9998" fmla="*/ 472249 w 3359086"/>
                <a:gd name="connsiteY9998" fmla="*/ 2363249 h 3355086"/>
                <a:gd name="connsiteX9999" fmla="*/ 466058 w 3359086"/>
                <a:gd name="connsiteY9999" fmla="*/ 2357057 h 3355086"/>
                <a:gd name="connsiteX10000" fmla="*/ 472249 w 3359086"/>
                <a:gd name="connsiteY10000" fmla="*/ 2350866 h 3355086"/>
                <a:gd name="connsiteX10001" fmla="*/ 153256 w 3359086"/>
                <a:gd name="connsiteY10001" fmla="*/ 2350484 h 3355086"/>
                <a:gd name="connsiteX10002" fmla="*/ 158877 w 3359086"/>
                <a:gd name="connsiteY10002" fmla="*/ 2356104 h 3355086"/>
                <a:gd name="connsiteX10003" fmla="*/ 163639 w 3359086"/>
                <a:gd name="connsiteY10003" fmla="*/ 2351342 h 3355086"/>
                <a:gd name="connsiteX10004" fmla="*/ 169306 w 3359086"/>
                <a:gd name="connsiteY10004" fmla="*/ 2357009 h 3355086"/>
                <a:gd name="connsiteX10005" fmla="*/ 172497 w 3359086"/>
                <a:gd name="connsiteY10005" fmla="*/ 2353818 h 3355086"/>
                <a:gd name="connsiteX10006" fmla="*/ 178689 w 3359086"/>
                <a:gd name="connsiteY10006" fmla="*/ 2360009 h 3355086"/>
                <a:gd name="connsiteX10007" fmla="*/ 172497 w 3359086"/>
                <a:gd name="connsiteY10007" fmla="*/ 2366201 h 3355086"/>
                <a:gd name="connsiteX10008" fmla="*/ 166830 w 3359086"/>
                <a:gd name="connsiteY10008" fmla="*/ 2360533 h 3355086"/>
                <a:gd name="connsiteX10009" fmla="*/ 163639 w 3359086"/>
                <a:gd name="connsiteY10009" fmla="*/ 2363724 h 3355086"/>
                <a:gd name="connsiteX10010" fmla="*/ 158019 w 3359086"/>
                <a:gd name="connsiteY10010" fmla="*/ 2358104 h 3355086"/>
                <a:gd name="connsiteX10011" fmla="*/ 153256 w 3359086"/>
                <a:gd name="connsiteY10011" fmla="*/ 2362867 h 3355086"/>
                <a:gd name="connsiteX10012" fmla="*/ 147065 w 3359086"/>
                <a:gd name="connsiteY10012" fmla="*/ 2356675 h 3355086"/>
                <a:gd name="connsiteX10013" fmla="*/ 153256 w 3359086"/>
                <a:gd name="connsiteY10013" fmla="*/ 2350484 h 3355086"/>
                <a:gd name="connsiteX10014" fmla="*/ 3103816 w 3359086"/>
                <a:gd name="connsiteY10014" fmla="*/ 2350389 h 3355086"/>
                <a:gd name="connsiteX10015" fmla="*/ 3110008 w 3359086"/>
                <a:gd name="connsiteY10015" fmla="*/ 2356580 h 3355086"/>
                <a:gd name="connsiteX10016" fmla="*/ 3103816 w 3359086"/>
                <a:gd name="connsiteY10016" fmla="*/ 2362772 h 3355086"/>
                <a:gd name="connsiteX10017" fmla="*/ 3097625 w 3359086"/>
                <a:gd name="connsiteY10017" fmla="*/ 2356580 h 3355086"/>
                <a:gd name="connsiteX10018" fmla="*/ 3103816 w 3359086"/>
                <a:gd name="connsiteY10018" fmla="*/ 2350389 h 3355086"/>
                <a:gd name="connsiteX10019" fmla="*/ 3145249 w 3359086"/>
                <a:gd name="connsiteY10019" fmla="*/ 2349818 h 3355086"/>
                <a:gd name="connsiteX10020" fmla="*/ 3151440 w 3359086"/>
                <a:gd name="connsiteY10020" fmla="*/ 2356009 h 3355086"/>
                <a:gd name="connsiteX10021" fmla="*/ 3145249 w 3359086"/>
                <a:gd name="connsiteY10021" fmla="*/ 2362201 h 3355086"/>
                <a:gd name="connsiteX10022" fmla="*/ 3139058 w 3359086"/>
                <a:gd name="connsiteY10022" fmla="*/ 2356009 h 3355086"/>
                <a:gd name="connsiteX10023" fmla="*/ 3145249 w 3359086"/>
                <a:gd name="connsiteY10023" fmla="*/ 2349818 h 3355086"/>
                <a:gd name="connsiteX10024" fmla="*/ 339947 w 3359086"/>
                <a:gd name="connsiteY10024" fmla="*/ 2347055 h 3355086"/>
                <a:gd name="connsiteX10025" fmla="*/ 346138 w 3359086"/>
                <a:gd name="connsiteY10025" fmla="*/ 2353246 h 3355086"/>
                <a:gd name="connsiteX10026" fmla="*/ 339947 w 3359086"/>
                <a:gd name="connsiteY10026" fmla="*/ 2359438 h 3355086"/>
                <a:gd name="connsiteX10027" fmla="*/ 333756 w 3359086"/>
                <a:gd name="connsiteY10027" fmla="*/ 2353246 h 3355086"/>
                <a:gd name="connsiteX10028" fmla="*/ 339947 w 3359086"/>
                <a:gd name="connsiteY10028" fmla="*/ 2347055 h 3355086"/>
                <a:gd name="connsiteX10029" fmla="*/ 3066192 w 3359086"/>
                <a:gd name="connsiteY10029" fmla="*/ 2345722 h 3355086"/>
                <a:gd name="connsiteX10030" fmla="*/ 3072383 w 3359086"/>
                <a:gd name="connsiteY10030" fmla="*/ 2351913 h 3355086"/>
                <a:gd name="connsiteX10031" fmla="*/ 3066192 w 3359086"/>
                <a:gd name="connsiteY10031" fmla="*/ 2358105 h 3355086"/>
                <a:gd name="connsiteX10032" fmla="*/ 3060001 w 3359086"/>
                <a:gd name="connsiteY10032" fmla="*/ 2351913 h 3355086"/>
                <a:gd name="connsiteX10033" fmla="*/ 3066192 w 3359086"/>
                <a:gd name="connsiteY10033" fmla="*/ 2345722 h 3355086"/>
                <a:gd name="connsiteX10034" fmla="*/ 3198590 w 3359086"/>
                <a:gd name="connsiteY10034" fmla="*/ 2345150 h 3355086"/>
                <a:gd name="connsiteX10035" fmla="*/ 3204781 w 3359086"/>
                <a:gd name="connsiteY10035" fmla="*/ 2351341 h 3355086"/>
                <a:gd name="connsiteX10036" fmla="*/ 3198590 w 3359086"/>
                <a:gd name="connsiteY10036" fmla="*/ 2357533 h 3355086"/>
                <a:gd name="connsiteX10037" fmla="*/ 3192399 w 3359086"/>
                <a:gd name="connsiteY10037" fmla="*/ 2351341 h 3355086"/>
                <a:gd name="connsiteX10038" fmla="*/ 3198590 w 3359086"/>
                <a:gd name="connsiteY10038" fmla="*/ 2345150 h 3355086"/>
                <a:gd name="connsiteX10039" fmla="*/ 3173824 w 3359086"/>
                <a:gd name="connsiteY10039" fmla="*/ 2343150 h 3355086"/>
                <a:gd name="connsiteX10040" fmla="*/ 3179158 w 3359086"/>
                <a:gd name="connsiteY10040" fmla="*/ 2348484 h 3355086"/>
                <a:gd name="connsiteX10041" fmla="*/ 3184492 w 3359086"/>
                <a:gd name="connsiteY10041" fmla="*/ 2343150 h 3355086"/>
                <a:gd name="connsiteX10042" fmla="*/ 3190684 w 3359086"/>
                <a:gd name="connsiteY10042" fmla="*/ 2349341 h 3355086"/>
                <a:gd name="connsiteX10043" fmla="*/ 3184492 w 3359086"/>
                <a:gd name="connsiteY10043" fmla="*/ 2355532 h 3355086"/>
                <a:gd name="connsiteX10044" fmla="*/ 3179158 w 3359086"/>
                <a:gd name="connsiteY10044" fmla="*/ 2350198 h 3355086"/>
                <a:gd name="connsiteX10045" fmla="*/ 3173824 w 3359086"/>
                <a:gd name="connsiteY10045" fmla="*/ 2355532 h 3355086"/>
                <a:gd name="connsiteX10046" fmla="*/ 3170301 w 3359086"/>
                <a:gd name="connsiteY10046" fmla="*/ 2352009 h 3355086"/>
                <a:gd name="connsiteX10047" fmla="*/ 3165062 w 3359086"/>
                <a:gd name="connsiteY10047" fmla="*/ 2357248 h 3355086"/>
                <a:gd name="connsiteX10048" fmla="*/ 3161966 w 3359086"/>
                <a:gd name="connsiteY10048" fmla="*/ 2354152 h 3355086"/>
                <a:gd name="connsiteX10049" fmla="*/ 3156394 w 3359086"/>
                <a:gd name="connsiteY10049" fmla="*/ 2359724 h 3355086"/>
                <a:gd name="connsiteX10050" fmla="*/ 3150203 w 3359086"/>
                <a:gd name="connsiteY10050" fmla="*/ 2353532 h 3355086"/>
                <a:gd name="connsiteX10051" fmla="*/ 3156394 w 3359086"/>
                <a:gd name="connsiteY10051" fmla="*/ 2347341 h 3355086"/>
                <a:gd name="connsiteX10052" fmla="*/ 3159490 w 3359086"/>
                <a:gd name="connsiteY10052" fmla="*/ 2350437 h 3355086"/>
                <a:gd name="connsiteX10053" fmla="*/ 3165062 w 3359086"/>
                <a:gd name="connsiteY10053" fmla="*/ 2344865 h 3355086"/>
                <a:gd name="connsiteX10054" fmla="*/ 3168586 w 3359086"/>
                <a:gd name="connsiteY10054" fmla="*/ 2348389 h 3355086"/>
                <a:gd name="connsiteX10055" fmla="*/ 666178 w 3359086"/>
                <a:gd name="connsiteY10055" fmla="*/ 2342865 h 3355086"/>
                <a:gd name="connsiteX10056" fmla="*/ 672369 w 3359086"/>
                <a:gd name="connsiteY10056" fmla="*/ 2349056 h 3355086"/>
                <a:gd name="connsiteX10057" fmla="*/ 666178 w 3359086"/>
                <a:gd name="connsiteY10057" fmla="*/ 2355247 h 3355086"/>
                <a:gd name="connsiteX10058" fmla="*/ 659987 w 3359086"/>
                <a:gd name="connsiteY10058" fmla="*/ 2349056 h 3355086"/>
                <a:gd name="connsiteX10059" fmla="*/ 666178 w 3359086"/>
                <a:gd name="connsiteY10059" fmla="*/ 2342865 h 3355086"/>
                <a:gd name="connsiteX10060" fmla="*/ 2243899 w 3359086"/>
                <a:gd name="connsiteY10060" fmla="*/ 2342769 h 3355086"/>
                <a:gd name="connsiteX10061" fmla="*/ 2250090 w 3359086"/>
                <a:gd name="connsiteY10061" fmla="*/ 2348960 h 3355086"/>
                <a:gd name="connsiteX10062" fmla="*/ 2243899 w 3359086"/>
                <a:gd name="connsiteY10062" fmla="*/ 2355152 h 3355086"/>
                <a:gd name="connsiteX10063" fmla="*/ 2237708 w 3359086"/>
                <a:gd name="connsiteY10063" fmla="*/ 2348960 h 3355086"/>
                <a:gd name="connsiteX10064" fmla="*/ 2243899 w 3359086"/>
                <a:gd name="connsiteY10064" fmla="*/ 2342769 h 3355086"/>
                <a:gd name="connsiteX10065" fmla="*/ 196024 w 3359086"/>
                <a:gd name="connsiteY10065" fmla="*/ 2342007 h 3355086"/>
                <a:gd name="connsiteX10066" fmla="*/ 202215 w 3359086"/>
                <a:gd name="connsiteY10066" fmla="*/ 2348198 h 3355086"/>
                <a:gd name="connsiteX10067" fmla="*/ 196024 w 3359086"/>
                <a:gd name="connsiteY10067" fmla="*/ 2354390 h 3355086"/>
                <a:gd name="connsiteX10068" fmla="*/ 189833 w 3359086"/>
                <a:gd name="connsiteY10068" fmla="*/ 2348198 h 3355086"/>
                <a:gd name="connsiteX10069" fmla="*/ 196024 w 3359086"/>
                <a:gd name="connsiteY10069" fmla="*/ 2342007 h 3355086"/>
                <a:gd name="connsiteX10070" fmla="*/ 218979 w 3359086"/>
                <a:gd name="connsiteY10070" fmla="*/ 2340769 h 3355086"/>
                <a:gd name="connsiteX10071" fmla="*/ 225170 w 3359086"/>
                <a:gd name="connsiteY10071" fmla="*/ 2346960 h 3355086"/>
                <a:gd name="connsiteX10072" fmla="*/ 218979 w 3359086"/>
                <a:gd name="connsiteY10072" fmla="*/ 2353151 h 3355086"/>
                <a:gd name="connsiteX10073" fmla="*/ 212788 w 3359086"/>
                <a:gd name="connsiteY10073" fmla="*/ 2346960 h 3355086"/>
                <a:gd name="connsiteX10074" fmla="*/ 218979 w 3359086"/>
                <a:gd name="connsiteY10074" fmla="*/ 2340769 h 3355086"/>
                <a:gd name="connsiteX10075" fmla="*/ 2887122 w 3359086"/>
                <a:gd name="connsiteY10075" fmla="*/ 2339245 h 3355086"/>
                <a:gd name="connsiteX10076" fmla="*/ 2893314 w 3359086"/>
                <a:gd name="connsiteY10076" fmla="*/ 2345436 h 3355086"/>
                <a:gd name="connsiteX10077" fmla="*/ 2887122 w 3359086"/>
                <a:gd name="connsiteY10077" fmla="*/ 2351628 h 3355086"/>
                <a:gd name="connsiteX10078" fmla="*/ 2880931 w 3359086"/>
                <a:gd name="connsiteY10078" fmla="*/ 2345436 h 3355086"/>
                <a:gd name="connsiteX10079" fmla="*/ 2887122 w 3359086"/>
                <a:gd name="connsiteY10079" fmla="*/ 2339245 h 3355086"/>
                <a:gd name="connsiteX10080" fmla="*/ 142970 w 3359086"/>
                <a:gd name="connsiteY10080" fmla="*/ 2338102 h 3355086"/>
                <a:gd name="connsiteX10081" fmla="*/ 147828 w 3359086"/>
                <a:gd name="connsiteY10081" fmla="*/ 2342960 h 3355086"/>
                <a:gd name="connsiteX10082" fmla="*/ 142970 w 3359086"/>
                <a:gd name="connsiteY10082" fmla="*/ 2347817 h 3355086"/>
                <a:gd name="connsiteX10083" fmla="*/ 138112 w 3359086"/>
                <a:gd name="connsiteY10083" fmla="*/ 2342960 h 3355086"/>
                <a:gd name="connsiteX10084" fmla="*/ 142970 w 3359086"/>
                <a:gd name="connsiteY10084" fmla="*/ 2338102 h 3355086"/>
                <a:gd name="connsiteX10085" fmla="*/ 153828 w 3359086"/>
                <a:gd name="connsiteY10085" fmla="*/ 2336292 h 3355086"/>
                <a:gd name="connsiteX10086" fmla="*/ 158638 w 3359086"/>
                <a:gd name="connsiteY10086" fmla="*/ 2341103 h 3355086"/>
                <a:gd name="connsiteX10087" fmla="*/ 162496 w 3359086"/>
                <a:gd name="connsiteY10087" fmla="*/ 2337245 h 3355086"/>
                <a:gd name="connsiteX10088" fmla="*/ 167592 w 3359086"/>
                <a:gd name="connsiteY10088" fmla="*/ 2342341 h 3355086"/>
                <a:gd name="connsiteX10089" fmla="*/ 170783 w 3359086"/>
                <a:gd name="connsiteY10089" fmla="*/ 2339150 h 3355086"/>
                <a:gd name="connsiteX10090" fmla="*/ 176879 w 3359086"/>
                <a:gd name="connsiteY10090" fmla="*/ 2345246 h 3355086"/>
                <a:gd name="connsiteX10091" fmla="*/ 181070 w 3359086"/>
                <a:gd name="connsiteY10091" fmla="*/ 2341055 h 3355086"/>
                <a:gd name="connsiteX10092" fmla="*/ 187261 w 3359086"/>
                <a:gd name="connsiteY10092" fmla="*/ 2347246 h 3355086"/>
                <a:gd name="connsiteX10093" fmla="*/ 181070 w 3359086"/>
                <a:gd name="connsiteY10093" fmla="*/ 2353438 h 3355086"/>
                <a:gd name="connsiteX10094" fmla="*/ 174974 w 3359086"/>
                <a:gd name="connsiteY10094" fmla="*/ 2347341 h 3355086"/>
                <a:gd name="connsiteX10095" fmla="*/ 170783 w 3359086"/>
                <a:gd name="connsiteY10095" fmla="*/ 2351532 h 3355086"/>
                <a:gd name="connsiteX10096" fmla="*/ 165687 w 3359086"/>
                <a:gd name="connsiteY10096" fmla="*/ 2346436 h 3355086"/>
                <a:gd name="connsiteX10097" fmla="*/ 162496 w 3359086"/>
                <a:gd name="connsiteY10097" fmla="*/ 2349628 h 3355086"/>
                <a:gd name="connsiteX10098" fmla="*/ 157685 w 3359086"/>
                <a:gd name="connsiteY10098" fmla="*/ 2344817 h 3355086"/>
                <a:gd name="connsiteX10099" fmla="*/ 153828 w 3359086"/>
                <a:gd name="connsiteY10099" fmla="*/ 2348675 h 3355086"/>
                <a:gd name="connsiteX10100" fmla="*/ 147637 w 3359086"/>
                <a:gd name="connsiteY10100" fmla="*/ 2342483 h 3355086"/>
                <a:gd name="connsiteX10101" fmla="*/ 153828 w 3359086"/>
                <a:gd name="connsiteY10101" fmla="*/ 2336292 h 3355086"/>
                <a:gd name="connsiteX10102" fmla="*/ 253936 w 3359086"/>
                <a:gd name="connsiteY10102" fmla="*/ 2335911 h 3355086"/>
                <a:gd name="connsiteX10103" fmla="*/ 260127 w 3359086"/>
                <a:gd name="connsiteY10103" fmla="*/ 2342102 h 3355086"/>
                <a:gd name="connsiteX10104" fmla="*/ 253936 w 3359086"/>
                <a:gd name="connsiteY10104" fmla="*/ 2348294 h 3355086"/>
                <a:gd name="connsiteX10105" fmla="*/ 247745 w 3359086"/>
                <a:gd name="connsiteY10105" fmla="*/ 2342102 h 3355086"/>
                <a:gd name="connsiteX10106" fmla="*/ 253936 w 3359086"/>
                <a:gd name="connsiteY10106" fmla="*/ 2335911 h 3355086"/>
                <a:gd name="connsiteX10107" fmla="*/ 3011233 w 3359086"/>
                <a:gd name="connsiteY10107" fmla="*/ 2335530 h 3355086"/>
                <a:gd name="connsiteX10108" fmla="*/ 3017425 w 3359086"/>
                <a:gd name="connsiteY10108" fmla="*/ 2341721 h 3355086"/>
                <a:gd name="connsiteX10109" fmla="*/ 3011233 w 3359086"/>
                <a:gd name="connsiteY10109" fmla="*/ 2347913 h 3355086"/>
                <a:gd name="connsiteX10110" fmla="*/ 3005042 w 3359086"/>
                <a:gd name="connsiteY10110" fmla="*/ 2341721 h 3355086"/>
                <a:gd name="connsiteX10111" fmla="*/ 3011233 w 3359086"/>
                <a:gd name="connsiteY10111" fmla="*/ 2335530 h 3355086"/>
                <a:gd name="connsiteX10112" fmla="*/ 1039367 w 3359086"/>
                <a:gd name="connsiteY10112" fmla="*/ 2334959 h 3355086"/>
                <a:gd name="connsiteX10113" fmla="*/ 1045558 w 3359086"/>
                <a:gd name="connsiteY10113" fmla="*/ 2341150 h 3355086"/>
                <a:gd name="connsiteX10114" fmla="*/ 1039367 w 3359086"/>
                <a:gd name="connsiteY10114" fmla="*/ 2347341 h 3355086"/>
                <a:gd name="connsiteX10115" fmla="*/ 1033176 w 3359086"/>
                <a:gd name="connsiteY10115" fmla="*/ 2341150 h 3355086"/>
                <a:gd name="connsiteX10116" fmla="*/ 1039367 w 3359086"/>
                <a:gd name="connsiteY10116" fmla="*/ 2334959 h 3355086"/>
                <a:gd name="connsiteX10117" fmla="*/ 3210019 w 3359086"/>
                <a:gd name="connsiteY10117" fmla="*/ 2333435 h 3355086"/>
                <a:gd name="connsiteX10118" fmla="*/ 3216211 w 3359086"/>
                <a:gd name="connsiteY10118" fmla="*/ 2339626 h 3355086"/>
                <a:gd name="connsiteX10119" fmla="*/ 3210019 w 3359086"/>
                <a:gd name="connsiteY10119" fmla="*/ 2345818 h 3355086"/>
                <a:gd name="connsiteX10120" fmla="*/ 3203828 w 3359086"/>
                <a:gd name="connsiteY10120" fmla="*/ 2339626 h 3355086"/>
                <a:gd name="connsiteX10121" fmla="*/ 3210019 w 3359086"/>
                <a:gd name="connsiteY10121" fmla="*/ 2333435 h 3355086"/>
                <a:gd name="connsiteX10122" fmla="*/ 2703575 w 3359086"/>
                <a:gd name="connsiteY10122" fmla="*/ 2331720 h 3355086"/>
                <a:gd name="connsiteX10123" fmla="*/ 2709766 w 3359086"/>
                <a:gd name="connsiteY10123" fmla="*/ 2337911 h 3355086"/>
                <a:gd name="connsiteX10124" fmla="*/ 2703575 w 3359086"/>
                <a:gd name="connsiteY10124" fmla="*/ 2344103 h 3355086"/>
                <a:gd name="connsiteX10125" fmla="*/ 2697384 w 3359086"/>
                <a:gd name="connsiteY10125" fmla="*/ 2337911 h 3355086"/>
                <a:gd name="connsiteX10126" fmla="*/ 2703575 w 3359086"/>
                <a:gd name="connsiteY10126" fmla="*/ 2331720 h 3355086"/>
                <a:gd name="connsiteX10127" fmla="*/ 3144107 w 3359086"/>
                <a:gd name="connsiteY10127" fmla="*/ 2331625 h 3355086"/>
                <a:gd name="connsiteX10128" fmla="*/ 3150298 w 3359086"/>
                <a:gd name="connsiteY10128" fmla="*/ 2337816 h 3355086"/>
                <a:gd name="connsiteX10129" fmla="*/ 3144107 w 3359086"/>
                <a:gd name="connsiteY10129" fmla="*/ 2344008 h 3355086"/>
                <a:gd name="connsiteX10130" fmla="*/ 3137916 w 3359086"/>
                <a:gd name="connsiteY10130" fmla="*/ 2337816 h 3355086"/>
                <a:gd name="connsiteX10131" fmla="*/ 3144107 w 3359086"/>
                <a:gd name="connsiteY10131" fmla="*/ 2331625 h 3355086"/>
                <a:gd name="connsiteX10132" fmla="*/ 3194780 w 3359086"/>
                <a:gd name="connsiteY10132" fmla="*/ 2329911 h 3355086"/>
                <a:gd name="connsiteX10133" fmla="*/ 3200971 w 3359086"/>
                <a:gd name="connsiteY10133" fmla="*/ 2336102 h 3355086"/>
                <a:gd name="connsiteX10134" fmla="*/ 3194780 w 3359086"/>
                <a:gd name="connsiteY10134" fmla="*/ 2342293 h 3355086"/>
                <a:gd name="connsiteX10135" fmla="*/ 3188589 w 3359086"/>
                <a:gd name="connsiteY10135" fmla="*/ 2336102 h 3355086"/>
                <a:gd name="connsiteX10136" fmla="*/ 3194780 w 3359086"/>
                <a:gd name="connsiteY10136" fmla="*/ 2329911 h 3355086"/>
                <a:gd name="connsiteX10137" fmla="*/ 3123342 w 3359086"/>
                <a:gd name="connsiteY10137" fmla="*/ 2329911 h 3355086"/>
                <a:gd name="connsiteX10138" fmla="*/ 3129533 w 3359086"/>
                <a:gd name="connsiteY10138" fmla="*/ 2336102 h 3355086"/>
                <a:gd name="connsiteX10139" fmla="*/ 3123342 w 3359086"/>
                <a:gd name="connsiteY10139" fmla="*/ 2342293 h 3355086"/>
                <a:gd name="connsiteX10140" fmla="*/ 3117151 w 3359086"/>
                <a:gd name="connsiteY10140" fmla="*/ 2336102 h 3355086"/>
                <a:gd name="connsiteX10141" fmla="*/ 3123342 w 3359086"/>
                <a:gd name="connsiteY10141" fmla="*/ 2329911 h 3355086"/>
                <a:gd name="connsiteX10142" fmla="*/ 422719 w 3359086"/>
                <a:gd name="connsiteY10142" fmla="*/ 2329244 h 3355086"/>
                <a:gd name="connsiteX10143" fmla="*/ 428910 w 3359086"/>
                <a:gd name="connsiteY10143" fmla="*/ 2335435 h 3355086"/>
                <a:gd name="connsiteX10144" fmla="*/ 422719 w 3359086"/>
                <a:gd name="connsiteY10144" fmla="*/ 2341627 h 3355086"/>
                <a:gd name="connsiteX10145" fmla="*/ 416528 w 3359086"/>
                <a:gd name="connsiteY10145" fmla="*/ 2335435 h 3355086"/>
                <a:gd name="connsiteX10146" fmla="*/ 422719 w 3359086"/>
                <a:gd name="connsiteY10146" fmla="*/ 2329244 h 3355086"/>
                <a:gd name="connsiteX10147" fmla="*/ 3183445 w 3359086"/>
                <a:gd name="connsiteY10147" fmla="*/ 2328577 h 3355086"/>
                <a:gd name="connsiteX10148" fmla="*/ 3189636 w 3359086"/>
                <a:gd name="connsiteY10148" fmla="*/ 2334768 h 3355086"/>
                <a:gd name="connsiteX10149" fmla="*/ 3183445 w 3359086"/>
                <a:gd name="connsiteY10149" fmla="*/ 2340959 h 3355086"/>
                <a:gd name="connsiteX10150" fmla="*/ 3179206 w 3359086"/>
                <a:gd name="connsiteY10150" fmla="*/ 2336720 h 3355086"/>
                <a:gd name="connsiteX10151" fmla="*/ 3174777 w 3359086"/>
                <a:gd name="connsiteY10151" fmla="*/ 2341150 h 3355086"/>
                <a:gd name="connsiteX10152" fmla="*/ 3171396 w 3359086"/>
                <a:gd name="connsiteY10152" fmla="*/ 2337769 h 3355086"/>
                <a:gd name="connsiteX10153" fmla="*/ 3166871 w 3359086"/>
                <a:gd name="connsiteY10153" fmla="*/ 2342293 h 3355086"/>
                <a:gd name="connsiteX10154" fmla="*/ 3162823 w 3359086"/>
                <a:gd name="connsiteY10154" fmla="*/ 2338245 h 3355086"/>
                <a:gd name="connsiteX10155" fmla="*/ 3157537 w 3359086"/>
                <a:gd name="connsiteY10155" fmla="*/ 2343532 h 3355086"/>
                <a:gd name="connsiteX10156" fmla="*/ 3151346 w 3359086"/>
                <a:gd name="connsiteY10156" fmla="*/ 2337340 h 3355086"/>
                <a:gd name="connsiteX10157" fmla="*/ 3157537 w 3359086"/>
                <a:gd name="connsiteY10157" fmla="*/ 2331149 h 3355086"/>
                <a:gd name="connsiteX10158" fmla="*/ 3161585 w 3359086"/>
                <a:gd name="connsiteY10158" fmla="*/ 2335197 h 3355086"/>
                <a:gd name="connsiteX10159" fmla="*/ 3166871 w 3359086"/>
                <a:gd name="connsiteY10159" fmla="*/ 2329911 h 3355086"/>
                <a:gd name="connsiteX10160" fmla="*/ 3170252 w 3359086"/>
                <a:gd name="connsiteY10160" fmla="*/ 2333292 h 3355086"/>
                <a:gd name="connsiteX10161" fmla="*/ 3174777 w 3359086"/>
                <a:gd name="connsiteY10161" fmla="*/ 2328767 h 3355086"/>
                <a:gd name="connsiteX10162" fmla="*/ 3179016 w 3359086"/>
                <a:gd name="connsiteY10162" fmla="*/ 2333006 h 3355086"/>
                <a:gd name="connsiteX10163" fmla="*/ 2347340 w 3359086"/>
                <a:gd name="connsiteY10163" fmla="*/ 2325624 h 3355086"/>
                <a:gd name="connsiteX10164" fmla="*/ 2353532 w 3359086"/>
                <a:gd name="connsiteY10164" fmla="*/ 2331815 h 3355086"/>
                <a:gd name="connsiteX10165" fmla="*/ 2347340 w 3359086"/>
                <a:gd name="connsiteY10165" fmla="*/ 2338007 h 3355086"/>
                <a:gd name="connsiteX10166" fmla="*/ 2341149 w 3359086"/>
                <a:gd name="connsiteY10166" fmla="*/ 2331815 h 3355086"/>
                <a:gd name="connsiteX10167" fmla="*/ 2347340 w 3359086"/>
                <a:gd name="connsiteY10167" fmla="*/ 2325624 h 3355086"/>
                <a:gd name="connsiteX10168" fmla="*/ 305180 w 3359086"/>
                <a:gd name="connsiteY10168" fmla="*/ 2325624 h 3355086"/>
                <a:gd name="connsiteX10169" fmla="*/ 311371 w 3359086"/>
                <a:gd name="connsiteY10169" fmla="*/ 2331815 h 3355086"/>
                <a:gd name="connsiteX10170" fmla="*/ 305180 w 3359086"/>
                <a:gd name="connsiteY10170" fmla="*/ 2338007 h 3355086"/>
                <a:gd name="connsiteX10171" fmla="*/ 298989 w 3359086"/>
                <a:gd name="connsiteY10171" fmla="*/ 2331815 h 3355086"/>
                <a:gd name="connsiteX10172" fmla="*/ 305180 w 3359086"/>
                <a:gd name="connsiteY10172" fmla="*/ 2325624 h 3355086"/>
                <a:gd name="connsiteX10173" fmla="*/ 3091433 w 3359086"/>
                <a:gd name="connsiteY10173" fmla="*/ 2324767 h 3355086"/>
                <a:gd name="connsiteX10174" fmla="*/ 3097624 w 3359086"/>
                <a:gd name="connsiteY10174" fmla="*/ 2330958 h 3355086"/>
                <a:gd name="connsiteX10175" fmla="*/ 3091433 w 3359086"/>
                <a:gd name="connsiteY10175" fmla="*/ 2337150 h 3355086"/>
                <a:gd name="connsiteX10176" fmla="*/ 3085242 w 3359086"/>
                <a:gd name="connsiteY10176" fmla="*/ 2330958 h 3355086"/>
                <a:gd name="connsiteX10177" fmla="*/ 3091433 w 3359086"/>
                <a:gd name="connsiteY10177" fmla="*/ 2324767 h 3355086"/>
                <a:gd name="connsiteX10178" fmla="*/ 3221831 w 3359086"/>
                <a:gd name="connsiteY10178" fmla="*/ 2323243 h 3355086"/>
                <a:gd name="connsiteX10179" fmla="*/ 3227165 w 3359086"/>
                <a:gd name="connsiteY10179" fmla="*/ 2328577 h 3355086"/>
                <a:gd name="connsiteX10180" fmla="*/ 3221831 w 3359086"/>
                <a:gd name="connsiteY10180" fmla="*/ 2333911 h 3355086"/>
                <a:gd name="connsiteX10181" fmla="*/ 3216497 w 3359086"/>
                <a:gd name="connsiteY10181" fmla="*/ 2328577 h 3355086"/>
                <a:gd name="connsiteX10182" fmla="*/ 3221831 w 3359086"/>
                <a:gd name="connsiteY10182" fmla="*/ 2323243 h 3355086"/>
                <a:gd name="connsiteX10183" fmla="*/ 597407 w 3359086"/>
                <a:gd name="connsiteY10183" fmla="*/ 2322005 h 3355086"/>
                <a:gd name="connsiteX10184" fmla="*/ 603598 w 3359086"/>
                <a:gd name="connsiteY10184" fmla="*/ 2328196 h 3355086"/>
                <a:gd name="connsiteX10185" fmla="*/ 597407 w 3359086"/>
                <a:gd name="connsiteY10185" fmla="*/ 2334388 h 3355086"/>
                <a:gd name="connsiteX10186" fmla="*/ 591216 w 3359086"/>
                <a:gd name="connsiteY10186" fmla="*/ 2328196 h 3355086"/>
                <a:gd name="connsiteX10187" fmla="*/ 597407 w 3359086"/>
                <a:gd name="connsiteY10187" fmla="*/ 2322005 h 3355086"/>
                <a:gd name="connsiteX10188" fmla="*/ 153066 w 3359086"/>
                <a:gd name="connsiteY10188" fmla="*/ 2321529 h 3355086"/>
                <a:gd name="connsiteX10189" fmla="*/ 157161 w 3359086"/>
                <a:gd name="connsiteY10189" fmla="*/ 2325625 h 3355086"/>
                <a:gd name="connsiteX10190" fmla="*/ 160686 w 3359086"/>
                <a:gd name="connsiteY10190" fmla="*/ 2322100 h 3355086"/>
                <a:gd name="connsiteX10191" fmla="*/ 165354 w 3359086"/>
                <a:gd name="connsiteY10191" fmla="*/ 2326767 h 3355086"/>
                <a:gd name="connsiteX10192" fmla="*/ 169354 w 3359086"/>
                <a:gd name="connsiteY10192" fmla="*/ 2322767 h 3355086"/>
                <a:gd name="connsiteX10193" fmla="*/ 175402 w 3359086"/>
                <a:gd name="connsiteY10193" fmla="*/ 2328815 h 3355086"/>
                <a:gd name="connsiteX10194" fmla="*/ 181546 w 3359086"/>
                <a:gd name="connsiteY10194" fmla="*/ 2322671 h 3355086"/>
                <a:gd name="connsiteX10195" fmla="*/ 187737 w 3359086"/>
                <a:gd name="connsiteY10195" fmla="*/ 2328862 h 3355086"/>
                <a:gd name="connsiteX10196" fmla="*/ 181546 w 3359086"/>
                <a:gd name="connsiteY10196" fmla="*/ 2335054 h 3355086"/>
                <a:gd name="connsiteX10197" fmla="*/ 175498 w 3359086"/>
                <a:gd name="connsiteY10197" fmla="*/ 2329006 h 3355086"/>
                <a:gd name="connsiteX10198" fmla="*/ 169354 w 3359086"/>
                <a:gd name="connsiteY10198" fmla="*/ 2335149 h 3355086"/>
                <a:gd name="connsiteX10199" fmla="*/ 164687 w 3359086"/>
                <a:gd name="connsiteY10199" fmla="*/ 2330482 h 3355086"/>
                <a:gd name="connsiteX10200" fmla="*/ 160686 w 3359086"/>
                <a:gd name="connsiteY10200" fmla="*/ 2334483 h 3355086"/>
                <a:gd name="connsiteX10201" fmla="*/ 156590 w 3359086"/>
                <a:gd name="connsiteY10201" fmla="*/ 2330387 h 3355086"/>
                <a:gd name="connsiteX10202" fmla="*/ 153066 w 3359086"/>
                <a:gd name="connsiteY10202" fmla="*/ 2333912 h 3355086"/>
                <a:gd name="connsiteX10203" fmla="*/ 148875 w 3359086"/>
                <a:gd name="connsiteY10203" fmla="*/ 2329721 h 3355086"/>
                <a:gd name="connsiteX10204" fmla="*/ 144208 w 3359086"/>
                <a:gd name="connsiteY10204" fmla="*/ 2334388 h 3355086"/>
                <a:gd name="connsiteX10205" fmla="*/ 138017 w 3359086"/>
                <a:gd name="connsiteY10205" fmla="*/ 2328196 h 3355086"/>
                <a:gd name="connsiteX10206" fmla="*/ 144208 w 3359086"/>
                <a:gd name="connsiteY10206" fmla="*/ 2322005 h 3355086"/>
                <a:gd name="connsiteX10207" fmla="*/ 148399 w 3359086"/>
                <a:gd name="connsiteY10207" fmla="*/ 2326196 h 3355086"/>
                <a:gd name="connsiteX10208" fmla="*/ 200596 w 3359086"/>
                <a:gd name="connsiteY10208" fmla="*/ 2320671 h 3355086"/>
                <a:gd name="connsiteX10209" fmla="*/ 206787 w 3359086"/>
                <a:gd name="connsiteY10209" fmla="*/ 2326862 h 3355086"/>
                <a:gd name="connsiteX10210" fmla="*/ 200596 w 3359086"/>
                <a:gd name="connsiteY10210" fmla="*/ 2333053 h 3355086"/>
                <a:gd name="connsiteX10211" fmla="*/ 194405 w 3359086"/>
                <a:gd name="connsiteY10211" fmla="*/ 2326862 h 3355086"/>
                <a:gd name="connsiteX10212" fmla="*/ 200596 w 3359086"/>
                <a:gd name="connsiteY10212" fmla="*/ 2320671 h 3355086"/>
                <a:gd name="connsiteX10213" fmla="*/ 2934080 w 3359086"/>
                <a:gd name="connsiteY10213" fmla="*/ 2317814 h 3355086"/>
                <a:gd name="connsiteX10214" fmla="*/ 2940271 w 3359086"/>
                <a:gd name="connsiteY10214" fmla="*/ 2324005 h 3355086"/>
                <a:gd name="connsiteX10215" fmla="*/ 2934080 w 3359086"/>
                <a:gd name="connsiteY10215" fmla="*/ 2330197 h 3355086"/>
                <a:gd name="connsiteX10216" fmla="*/ 2927889 w 3359086"/>
                <a:gd name="connsiteY10216" fmla="*/ 2324005 h 3355086"/>
                <a:gd name="connsiteX10217" fmla="*/ 2934080 w 3359086"/>
                <a:gd name="connsiteY10217" fmla="*/ 2317814 h 3355086"/>
                <a:gd name="connsiteX10218" fmla="*/ 3205162 w 3359086"/>
                <a:gd name="connsiteY10218" fmla="*/ 2317528 h 3355086"/>
                <a:gd name="connsiteX10219" fmla="*/ 3211353 w 3359086"/>
                <a:gd name="connsiteY10219" fmla="*/ 2323719 h 3355086"/>
                <a:gd name="connsiteX10220" fmla="*/ 3205162 w 3359086"/>
                <a:gd name="connsiteY10220" fmla="*/ 2329911 h 3355086"/>
                <a:gd name="connsiteX10221" fmla="*/ 3198971 w 3359086"/>
                <a:gd name="connsiteY10221" fmla="*/ 2323719 h 3355086"/>
                <a:gd name="connsiteX10222" fmla="*/ 3205162 w 3359086"/>
                <a:gd name="connsiteY10222" fmla="*/ 2317528 h 3355086"/>
                <a:gd name="connsiteX10223" fmla="*/ 939355 w 3359086"/>
                <a:gd name="connsiteY10223" fmla="*/ 2317337 h 3355086"/>
                <a:gd name="connsiteX10224" fmla="*/ 945546 w 3359086"/>
                <a:gd name="connsiteY10224" fmla="*/ 2323528 h 3355086"/>
                <a:gd name="connsiteX10225" fmla="*/ 939355 w 3359086"/>
                <a:gd name="connsiteY10225" fmla="*/ 2329720 h 3355086"/>
                <a:gd name="connsiteX10226" fmla="*/ 933164 w 3359086"/>
                <a:gd name="connsiteY10226" fmla="*/ 2323528 h 3355086"/>
                <a:gd name="connsiteX10227" fmla="*/ 939355 w 3359086"/>
                <a:gd name="connsiteY10227" fmla="*/ 2317337 h 3355086"/>
                <a:gd name="connsiteX10228" fmla="*/ 230028 w 3359086"/>
                <a:gd name="connsiteY10228" fmla="*/ 2315242 h 3355086"/>
                <a:gd name="connsiteX10229" fmla="*/ 236219 w 3359086"/>
                <a:gd name="connsiteY10229" fmla="*/ 2321433 h 3355086"/>
                <a:gd name="connsiteX10230" fmla="*/ 230028 w 3359086"/>
                <a:gd name="connsiteY10230" fmla="*/ 2327625 h 3355086"/>
                <a:gd name="connsiteX10231" fmla="*/ 223837 w 3359086"/>
                <a:gd name="connsiteY10231" fmla="*/ 2321433 h 3355086"/>
                <a:gd name="connsiteX10232" fmla="*/ 230028 w 3359086"/>
                <a:gd name="connsiteY10232" fmla="*/ 2315242 h 3355086"/>
                <a:gd name="connsiteX10233" fmla="*/ 3044094 w 3359086"/>
                <a:gd name="connsiteY10233" fmla="*/ 2314385 h 3355086"/>
                <a:gd name="connsiteX10234" fmla="*/ 3050285 w 3359086"/>
                <a:gd name="connsiteY10234" fmla="*/ 2320576 h 3355086"/>
                <a:gd name="connsiteX10235" fmla="*/ 3044094 w 3359086"/>
                <a:gd name="connsiteY10235" fmla="*/ 2326768 h 3355086"/>
                <a:gd name="connsiteX10236" fmla="*/ 3037903 w 3359086"/>
                <a:gd name="connsiteY10236" fmla="*/ 2320576 h 3355086"/>
                <a:gd name="connsiteX10237" fmla="*/ 3044094 w 3359086"/>
                <a:gd name="connsiteY10237" fmla="*/ 2314385 h 3355086"/>
                <a:gd name="connsiteX10238" fmla="*/ 3157632 w 3359086"/>
                <a:gd name="connsiteY10238" fmla="*/ 2312670 h 3355086"/>
                <a:gd name="connsiteX10239" fmla="*/ 3163490 w 3359086"/>
                <a:gd name="connsiteY10239" fmla="*/ 2318528 h 3355086"/>
                <a:gd name="connsiteX10240" fmla="*/ 3168681 w 3359086"/>
                <a:gd name="connsiteY10240" fmla="*/ 2313337 h 3355086"/>
                <a:gd name="connsiteX10241" fmla="*/ 3172587 w 3359086"/>
                <a:gd name="connsiteY10241" fmla="*/ 2317242 h 3355086"/>
                <a:gd name="connsiteX10242" fmla="*/ 3176587 w 3359086"/>
                <a:gd name="connsiteY10242" fmla="*/ 2313242 h 3355086"/>
                <a:gd name="connsiteX10243" fmla="*/ 3180397 w 3359086"/>
                <a:gd name="connsiteY10243" fmla="*/ 2317052 h 3355086"/>
                <a:gd name="connsiteX10244" fmla="*/ 3184016 w 3359086"/>
                <a:gd name="connsiteY10244" fmla="*/ 2313432 h 3355086"/>
                <a:gd name="connsiteX10245" fmla="*/ 3189160 w 3359086"/>
                <a:gd name="connsiteY10245" fmla="*/ 2318576 h 3355086"/>
                <a:gd name="connsiteX10246" fmla="*/ 3193065 w 3359086"/>
                <a:gd name="connsiteY10246" fmla="*/ 2314671 h 3355086"/>
                <a:gd name="connsiteX10247" fmla="*/ 3199257 w 3359086"/>
                <a:gd name="connsiteY10247" fmla="*/ 2320862 h 3355086"/>
                <a:gd name="connsiteX10248" fmla="*/ 3193065 w 3359086"/>
                <a:gd name="connsiteY10248" fmla="*/ 2327054 h 3355086"/>
                <a:gd name="connsiteX10249" fmla="*/ 3187921 w 3359086"/>
                <a:gd name="connsiteY10249" fmla="*/ 2321910 h 3355086"/>
                <a:gd name="connsiteX10250" fmla="*/ 3184016 w 3359086"/>
                <a:gd name="connsiteY10250" fmla="*/ 2325815 h 3355086"/>
                <a:gd name="connsiteX10251" fmla="*/ 3180206 w 3359086"/>
                <a:gd name="connsiteY10251" fmla="*/ 2322005 h 3355086"/>
                <a:gd name="connsiteX10252" fmla="*/ 3176587 w 3359086"/>
                <a:gd name="connsiteY10252" fmla="*/ 2325624 h 3355086"/>
                <a:gd name="connsiteX10253" fmla="*/ 3172682 w 3359086"/>
                <a:gd name="connsiteY10253" fmla="*/ 2321719 h 3355086"/>
                <a:gd name="connsiteX10254" fmla="*/ 3168681 w 3359086"/>
                <a:gd name="connsiteY10254" fmla="*/ 2325720 h 3355086"/>
                <a:gd name="connsiteX10255" fmla="*/ 3162823 w 3359086"/>
                <a:gd name="connsiteY10255" fmla="*/ 2319862 h 3355086"/>
                <a:gd name="connsiteX10256" fmla="*/ 3157632 w 3359086"/>
                <a:gd name="connsiteY10256" fmla="*/ 2325053 h 3355086"/>
                <a:gd name="connsiteX10257" fmla="*/ 3151441 w 3359086"/>
                <a:gd name="connsiteY10257" fmla="*/ 2318861 h 3355086"/>
                <a:gd name="connsiteX10258" fmla="*/ 3157632 w 3359086"/>
                <a:gd name="connsiteY10258" fmla="*/ 2312670 h 3355086"/>
                <a:gd name="connsiteX10259" fmla="*/ 2769012 w 3359086"/>
                <a:gd name="connsiteY10259" fmla="*/ 2310956 h 3355086"/>
                <a:gd name="connsiteX10260" fmla="*/ 2775203 w 3359086"/>
                <a:gd name="connsiteY10260" fmla="*/ 2317147 h 3355086"/>
                <a:gd name="connsiteX10261" fmla="*/ 2769012 w 3359086"/>
                <a:gd name="connsiteY10261" fmla="*/ 2323339 h 3355086"/>
                <a:gd name="connsiteX10262" fmla="*/ 2762821 w 3359086"/>
                <a:gd name="connsiteY10262" fmla="*/ 2317147 h 3355086"/>
                <a:gd name="connsiteX10263" fmla="*/ 2769012 w 3359086"/>
                <a:gd name="connsiteY10263" fmla="*/ 2310956 h 3355086"/>
                <a:gd name="connsiteX10264" fmla="*/ 3140582 w 3359086"/>
                <a:gd name="connsiteY10264" fmla="*/ 2310194 h 3355086"/>
                <a:gd name="connsiteX10265" fmla="*/ 3146773 w 3359086"/>
                <a:gd name="connsiteY10265" fmla="*/ 2316385 h 3355086"/>
                <a:gd name="connsiteX10266" fmla="*/ 3140582 w 3359086"/>
                <a:gd name="connsiteY10266" fmla="*/ 2322577 h 3355086"/>
                <a:gd name="connsiteX10267" fmla="*/ 3134391 w 3359086"/>
                <a:gd name="connsiteY10267" fmla="*/ 2316385 h 3355086"/>
                <a:gd name="connsiteX10268" fmla="*/ 3140582 w 3359086"/>
                <a:gd name="connsiteY10268" fmla="*/ 2310194 h 3355086"/>
                <a:gd name="connsiteX10269" fmla="*/ 377951 w 3359086"/>
                <a:gd name="connsiteY10269" fmla="*/ 2308098 h 3355086"/>
                <a:gd name="connsiteX10270" fmla="*/ 384143 w 3359086"/>
                <a:gd name="connsiteY10270" fmla="*/ 2314289 h 3355086"/>
                <a:gd name="connsiteX10271" fmla="*/ 377951 w 3359086"/>
                <a:gd name="connsiteY10271" fmla="*/ 2320481 h 3355086"/>
                <a:gd name="connsiteX10272" fmla="*/ 371760 w 3359086"/>
                <a:gd name="connsiteY10272" fmla="*/ 2314289 h 3355086"/>
                <a:gd name="connsiteX10273" fmla="*/ 377951 w 3359086"/>
                <a:gd name="connsiteY10273" fmla="*/ 2308098 h 3355086"/>
                <a:gd name="connsiteX10274" fmla="*/ 2443352 w 3359086"/>
                <a:gd name="connsiteY10274" fmla="*/ 2307527 h 3355086"/>
                <a:gd name="connsiteX10275" fmla="*/ 2449544 w 3359086"/>
                <a:gd name="connsiteY10275" fmla="*/ 2313718 h 3355086"/>
                <a:gd name="connsiteX10276" fmla="*/ 2443352 w 3359086"/>
                <a:gd name="connsiteY10276" fmla="*/ 2319910 h 3355086"/>
                <a:gd name="connsiteX10277" fmla="*/ 2437161 w 3359086"/>
                <a:gd name="connsiteY10277" fmla="*/ 2313718 h 3355086"/>
                <a:gd name="connsiteX10278" fmla="*/ 2443352 w 3359086"/>
                <a:gd name="connsiteY10278" fmla="*/ 2307527 h 3355086"/>
                <a:gd name="connsiteX10279" fmla="*/ 3215830 w 3359086"/>
                <a:gd name="connsiteY10279" fmla="*/ 2305717 h 3355086"/>
                <a:gd name="connsiteX10280" fmla="*/ 3222021 w 3359086"/>
                <a:gd name="connsiteY10280" fmla="*/ 2311908 h 3355086"/>
                <a:gd name="connsiteX10281" fmla="*/ 3215830 w 3359086"/>
                <a:gd name="connsiteY10281" fmla="*/ 2318100 h 3355086"/>
                <a:gd name="connsiteX10282" fmla="*/ 3209639 w 3359086"/>
                <a:gd name="connsiteY10282" fmla="*/ 2311908 h 3355086"/>
                <a:gd name="connsiteX10283" fmla="*/ 3215830 w 3359086"/>
                <a:gd name="connsiteY10283" fmla="*/ 2305717 h 3355086"/>
                <a:gd name="connsiteX10284" fmla="*/ 274034 w 3359086"/>
                <a:gd name="connsiteY10284" fmla="*/ 2304765 h 3355086"/>
                <a:gd name="connsiteX10285" fmla="*/ 280225 w 3359086"/>
                <a:gd name="connsiteY10285" fmla="*/ 2310956 h 3355086"/>
                <a:gd name="connsiteX10286" fmla="*/ 274034 w 3359086"/>
                <a:gd name="connsiteY10286" fmla="*/ 2317147 h 3355086"/>
                <a:gd name="connsiteX10287" fmla="*/ 267843 w 3359086"/>
                <a:gd name="connsiteY10287" fmla="*/ 2310956 h 3355086"/>
                <a:gd name="connsiteX10288" fmla="*/ 274034 w 3359086"/>
                <a:gd name="connsiteY10288" fmla="*/ 2304765 h 3355086"/>
                <a:gd name="connsiteX10289" fmla="*/ 3113817 w 3359086"/>
                <a:gd name="connsiteY10289" fmla="*/ 2304383 h 3355086"/>
                <a:gd name="connsiteX10290" fmla="*/ 3120008 w 3359086"/>
                <a:gd name="connsiteY10290" fmla="*/ 2310574 h 3355086"/>
                <a:gd name="connsiteX10291" fmla="*/ 3113817 w 3359086"/>
                <a:gd name="connsiteY10291" fmla="*/ 2316766 h 3355086"/>
                <a:gd name="connsiteX10292" fmla="*/ 3107626 w 3359086"/>
                <a:gd name="connsiteY10292" fmla="*/ 2310574 h 3355086"/>
                <a:gd name="connsiteX10293" fmla="*/ 3113817 w 3359086"/>
                <a:gd name="connsiteY10293" fmla="*/ 2304383 h 3355086"/>
                <a:gd name="connsiteX10294" fmla="*/ 168687 w 3359086"/>
                <a:gd name="connsiteY10294" fmla="*/ 2304193 h 3355086"/>
                <a:gd name="connsiteX10295" fmla="*/ 174879 w 3359086"/>
                <a:gd name="connsiteY10295" fmla="*/ 2310384 h 3355086"/>
                <a:gd name="connsiteX10296" fmla="*/ 168687 w 3359086"/>
                <a:gd name="connsiteY10296" fmla="*/ 2316576 h 3355086"/>
                <a:gd name="connsiteX10297" fmla="*/ 164210 w 3359086"/>
                <a:gd name="connsiteY10297" fmla="*/ 2312099 h 3355086"/>
                <a:gd name="connsiteX10298" fmla="*/ 158686 w 3359086"/>
                <a:gd name="connsiteY10298" fmla="*/ 2317624 h 3355086"/>
                <a:gd name="connsiteX10299" fmla="*/ 155209 w 3359086"/>
                <a:gd name="connsiteY10299" fmla="*/ 2314147 h 3355086"/>
                <a:gd name="connsiteX10300" fmla="*/ 151256 w 3359086"/>
                <a:gd name="connsiteY10300" fmla="*/ 2318100 h 3355086"/>
                <a:gd name="connsiteX10301" fmla="*/ 148018 w 3359086"/>
                <a:gd name="connsiteY10301" fmla="*/ 2314861 h 3355086"/>
                <a:gd name="connsiteX10302" fmla="*/ 143922 w 3359086"/>
                <a:gd name="connsiteY10302" fmla="*/ 2318957 h 3355086"/>
                <a:gd name="connsiteX10303" fmla="*/ 140208 w 3359086"/>
                <a:gd name="connsiteY10303" fmla="*/ 2315242 h 3355086"/>
                <a:gd name="connsiteX10304" fmla="*/ 134683 w 3359086"/>
                <a:gd name="connsiteY10304" fmla="*/ 2320766 h 3355086"/>
                <a:gd name="connsiteX10305" fmla="*/ 128492 w 3359086"/>
                <a:gd name="connsiteY10305" fmla="*/ 2314575 h 3355086"/>
                <a:gd name="connsiteX10306" fmla="*/ 134683 w 3359086"/>
                <a:gd name="connsiteY10306" fmla="*/ 2308384 h 3355086"/>
                <a:gd name="connsiteX10307" fmla="*/ 138398 w 3359086"/>
                <a:gd name="connsiteY10307" fmla="*/ 2312098 h 3355086"/>
                <a:gd name="connsiteX10308" fmla="*/ 143922 w 3359086"/>
                <a:gd name="connsiteY10308" fmla="*/ 2306574 h 3355086"/>
                <a:gd name="connsiteX10309" fmla="*/ 147161 w 3359086"/>
                <a:gd name="connsiteY10309" fmla="*/ 2309812 h 3355086"/>
                <a:gd name="connsiteX10310" fmla="*/ 151256 w 3359086"/>
                <a:gd name="connsiteY10310" fmla="*/ 2305717 h 3355086"/>
                <a:gd name="connsiteX10311" fmla="*/ 154733 w 3359086"/>
                <a:gd name="connsiteY10311" fmla="*/ 2309194 h 3355086"/>
                <a:gd name="connsiteX10312" fmla="*/ 158686 w 3359086"/>
                <a:gd name="connsiteY10312" fmla="*/ 2305241 h 3355086"/>
                <a:gd name="connsiteX10313" fmla="*/ 163162 w 3359086"/>
                <a:gd name="connsiteY10313" fmla="*/ 2309718 h 3355086"/>
                <a:gd name="connsiteX10314" fmla="*/ 534733 w 3359086"/>
                <a:gd name="connsiteY10314" fmla="*/ 2301336 h 3355086"/>
                <a:gd name="connsiteX10315" fmla="*/ 540924 w 3359086"/>
                <a:gd name="connsiteY10315" fmla="*/ 2307527 h 3355086"/>
                <a:gd name="connsiteX10316" fmla="*/ 534733 w 3359086"/>
                <a:gd name="connsiteY10316" fmla="*/ 2313718 h 3355086"/>
                <a:gd name="connsiteX10317" fmla="*/ 528542 w 3359086"/>
                <a:gd name="connsiteY10317" fmla="*/ 2307527 h 3355086"/>
                <a:gd name="connsiteX10318" fmla="*/ 534733 w 3359086"/>
                <a:gd name="connsiteY10318" fmla="*/ 2301336 h 3355086"/>
                <a:gd name="connsiteX10319" fmla="*/ 184213 w 3359086"/>
                <a:gd name="connsiteY10319" fmla="*/ 2301240 h 3355086"/>
                <a:gd name="connsiteX10320" fmla="*/ 190404 w 3359086"/>
                <a:gd name="connsiteY10320" fmla="*/ 2307431 h 3355086"/>
                <a:gd name="connsiteX10321" fmla="*/ 184213 w 3359086"/>
                <a:gd name="connsiteY10321" fmla="*/ 2313623 h 3355086"/>
                <a:gd name="connsiteX10322" fmla="*/ 178022 w 3359086"/>
                <a:gd name="connsiteY10322" fmla="*/ 2307431 h 3355086"/>
                <a:gd name="connsiteX10323" fmla="*/ 184213 w 3359086"/>
                <a:gd name="connsiteY10323" fmla="*/ 2301240 h 3355086"/>
                <a:gd name="connsiteX10324" fmla="*/ 846676 w 3359086"/>
                <a:gd name="connsiteY10324" fmla="*/ 2298859 h 3355086"/>
                <a:gd name="connsiteX10325" fmla="*/ 852868 w 3359086"/>
                <a:gd name="connsiteY10325" fmla="*/ 2305050 h 3355086"/>
                <a:gd name="connsiteX10326" fmla="*/ 846676 w 3359086"/>
                <a:gd name="connsiteY10326" fmla="*/ 2311242 h 3355086"/>
                <a:gd name="connsiteX10327" fmla="*/ 840485 w 3359086"/>
                <a:gd name="connsiteY10327" fmla="*/ 2305050 h 3355086"/>
                <a:gd name="connsiteX10328" fmla="*/ 846676 w 3359086"/>
                <a:gd name="connsiteY10328" fmla="*/ 2298859 h 3355086"/>
                <a:gd name="connsiteX10329" fmla="*/ 125063 w 3359086"/>
                <a:gd name="connsiteY10329" fmla="*/ 2297621 h 3355086"/>
                <a:gd name="connsiteX10330" fmla="*/ 129159 w 3359086"/>
                <a:gd name="connsiteY10330" fmla="*/ 2301717 h 3355086"/>
                <a:gd name="connsiteX10331" fmla="*/ 125063 w 3359086"/>
                <a:gd name="connsiteY10331" fmla="*/ 2305813 h 3355086"/>
                <a:gd name="connsiteX10332" fmla="*/ 120967 w 3359086"/>
                <a:gd name="connsiteY10332" fmla="*/ 2301717 h 3355086"/>
                <a:gd name="connsiteX10333" fmla="*/ 125063 w 3359086"/>
                <a:gd name="connsiteY10333" fmla="*/ 2297621 h 3355086"/>
                <a:gd name="connsiteX10334" fmla="*/ 2976371 w 3359086"/>
                <a:gd name="connsiteY10334" fmla="*/ 2296954 h 3355086"/>
                <a:gd name="connsiteX10335" fmla="*/ 2982563 w 3359086"/>
                <a:gd name="connsiteY10335" fmla="*/ 2303145 h 3355086"/>
                <a:gd name="connsiteX10336" fmla="*/ 2976371 w 3359086"/>
                <a:gd name="connsiteY10336" fmla="*/ 2309337 h 3355086"/>
                <a:gd name="connsiteX10337" fmla="*/ 2970180 w 3359086"/>
                <a:gd name="connsiteY10337" fmla="*/ 2303145 h 3355086"/>
                <a:gd name="connsiteX10338" fmla="*/ 2976371 w 3359086"/>
                <a:gd name="connsiteY10338" fmla="*/ 2296954 h 3355086"/>
                <a:gd name="connsiteX10339" fmla="*/ 208787 w 3359086"/>
                <a:gd name="connsiteY10339" fmla="*/ 2295240 h 3355086"/>
                <a:gd name="connsiteX10340" fmla="*/ 214978 w 3359086"/>
                <a:gd name="connsiteY10340" fmla="*/ 2301431 h 3355086"/>
                <a:gd name="connsiteX10341" fmla="*/ 208787 w 3359086"/>
                <a:gd name="connsiteY10341" fmla="*/ 2307622 h 3355086"/>
                <a:gd name="connsiteX10342" fmla="*/ 202596 w 3359086"/>
                <a:gd name="connsiteY10342" fmla="*/ 2301431 h 3355086"/>
                <a:gd name="connsiteX10343" fmla="*/ 208787 w 3359086"/>
                <a:gd name="connsiteY10343" fmla="*/ 2295240 h 3355086"/>
                <a:gd name="connsiteX10344" fmla="*/ 3226783 w 3359086"/>
                <a:gd name="connsiteY10344" fmla="*/ 2294668 h 3355086"/>
                <a:gd name="connsiteX10345" fmla="*/ 3232975 w 3359086"/>
                <a:gd name="connsiteY10345" fmla="*/ 2300859 h 3355086"/>
                <a:gd name="connsiteX10346" fmla="*/ 3226783 w 3359086"/>
                <a:gd name="connsiteY10346" fmla="*/ 2307051 h 3355086"/>
                <a:gd name="connsiteX10347" fmla="*/ 3220592 w 3359086"/>
                <a:gd name="connsiteY10347" fmla="*/ 2300859 h 3355086"/>
                <a:gd name="connsiteX10348" fmla="*/ 3226783 w 3359086"/>
                <a:gd name="connsiteY10348" fmla="*/ 2294668 h 3355086"/>
                <a:gd name="connsiteX10349" fmla="*/ 3169824 w 3359086"/>
                <a:gd name="connsiteY10349" fmla="*/ 2294478 h 3355086"/>
                <a:gd name="connsiteX10350" fmla="*/ 3175157 w 3359086"/>
                <a:gd name="connsiteY10350" fmla="*/ 2299812 h 3355086"/>
                <a:gd name="connsiteX10351" fmla="*/ 3178777 w 3359086"/>
                <a:gd name="connsiteY10351" fmla="*/ 2296192 h 3355086"/>
                <a:gd name="connsiteX10352" fmla="*/ 3182873 w 3359086"/>
                <a:gd name="connsiteY10352" fmla="*/ 2300288 h 3355086"/>
                <a:gd name="connsiteX10353" fmla="*/ 3185826 w 3359086"/>
                <a:gd name="connsiteY10353" fmla="*/ 2297335 h 3355086"/>
                <a:gd name="connsiteX10354" fmla="*/ 3190160 w 3359086"/>
                <a:gd name="connsiteY10354" fmla="*/ 2301669 h 3355086"/>
                <a:gd name="connsiteX10355" fmla="*/ 3193065 w 3359086"/>
                <a:gd name="connsiteY10355" fmla="*/ 2298764 h 3355086"/>
                <a:gd name="connsiteX10356" fmla="*/ 3199161 w 3359086"/>
                <a:gd name="connsiteY10356" fmla="*/ 2304860 h 3355086"/>
                <a:gd name="connsiteX10357" fmla="*/ 3202590 w 3359086"/>
                <a:gd name="connsiteY10357" fmla="*/ 2301431 h 3355086"/>
                <a:gd name="connsiteX10358" fmla="*/ 3208782 w 3359086"/>
                <a:gd name="connsiteY10358" fmla="*/ 2307622 h 3355086"/>
                <a:gd name="connsiteX10359" fmla="*/ 3202590 w 3359086"/>
                <a:gd name="connsiteY10359" fmla="*/ 2313814 h 3355086"/>
                <a:gd name="connsiteX10360" fmla="*/ 3196494 w 3359086"/>
                <a:gd name="connsiteY10360" fmla="*/ 2307718 h 3355086"/>
                <a:gd name="connsiteX10361" fmla="*/ 3193065 w 3359086"/>
                <a:gd name="connsiteY10361" fmla="*/ 2311146 h 3355086"/>
                <a:gd name="connsiteX10362" fmla="*/ 3188731 w 3359086"/>
                <a:gd name="connsiteY10362" fmla="*/ 2306813 h 3355086"/>
                <a:gd name="connsiteX10363" fmla="*/ 3185826 w 3359086"/>
                <a:gd name="connsiteY10363" fmla="*/ 2309718 h 3355086"/>
                <a:gd name="connsiteX10364" fmla="*/ 3181730 w 3359086"/>
                <a:gd name="connsiteY10364" fmla="*/ 2305622 h 3355086"/>
                <a:gd name="connsiteX10365" fmla="*/ 3178777 w 3359086"/>
                <a:gd name="connsiteY10365" fmla="*/ 2308575 h 3355086"/>
                <a:gd name="connsiteX10366" fmla="*/ 3173443 w 3359086"/>
                <a:gd name="connsiteY10366" fmla="*/ 2303241 h 3355086"/>
                <a:gd name="connsiteX10367" fmla="*/ 3169824 w 3359086"/>
                <a:gd name="connsiteY10367" fmla="*/ 2306860 h 3355086"/>
                <a:gd name="connsiteX10368" fmla="*/ 3163633 w 3359086"/>
                <a:gd name="connsiteY10368" fmla="*/ 2300669 h 3355086"/>
                <a:gd name="connsiteX10369" fmla="*/ 3169824 w 3359086"/>
                <a:gd name="connsiteY10369" fmla="*/ 2294478 h 3355086"/>
                <a:gd name="connsiteX10370" fmla="*/ 3073336 w 3359086"/>
                <a:gd name="connsiteY10370" fmla="*/ 2293811 h 3355086"/>
                <a:gd name="connsiteX10371" fmla="*/ 3079527 w 3359086"/>
                <a:gd name="connsiteY10371" fmla="*/ 2300002 h 3355086"/>
                <a:gd name="connsiteX10372" fmla="*/ 3073336 w 3359086"/>
                <a:gd name="connsiteY10372" fmla="*/ 2306194 h 3355086"/>
                <a:gd name="connsiteX10373" fmla="*/ 3067145 w 3359086"/>
                <a:gd name="connsiteY10373" fmla="*/ 2300002 h 3355086"/>
                <a:gd name="connsiteX10374" fmla="*/ 3073336 w 3359086"/>
                <a:gd name="connsiteY10374" fmla="*/ 2293811 h 3355086"/>
                <a:gd name="connsiteX10375" fmla="*/ 3155917 w 3359086"/>
                <a:gd name="connsiteY10375" fmla="*/ 2291144 h 3355086"/>
                <a:gd name="connsiteX10376" fmla="*/ 3162109 w 3359086"/>
                <a:gd name="connsiteY10376" fmla="*/ 2297335 h 3355086"/>
                <a:gd name="connsiteX10377" fmla="*/ 3155917 w 3359086"/>
                <a:gd name="connsiteY10377" fmla="*/ 2303527 h 3355086"/>
                <a:gd name="connsiteX10378" fmla="*/ 3149726 w 3359086"/>
                <a:gd name="connsiteY10378" fmla="*/ 2297335 h 3355086"/>
                <a:gd name="connsiteX10379" fmla="*/ 3155917 w 3359086"/>
                <a:gd name="connsiteY10379" fmla="*/ 2291144 h 3355086"/>
                <a:gd name="connsiteX10380" fmla="*/ 2828639 w 3359086"/>
                <a:gd name="connsiteY10380" fmla="*/ 2290477 h 3355086"/>
                <a:gd name="connsiteX10381" fmla="*/ 2834830 w 3359086"/>
                <a:gd name="connsiteY10381" fmla="*/ 2296668 h 3355086"/>
                <a:gd name="connsiteX10382" fmla="*/ 2828639 w 3359086"/>
                <a:gd name="connsiteY10382" fmla="*/ 2302859 h 3355086"/>
                <a:gd name="connsiteX10383" fmla="*/ 2822448 w 3359086"/>
                <a:gd name="connsiteY10383" fmla="*/ 2296668 h 3355086"/>
                <a:gd name="connsiteX10384" fmla="*/ 2828639 w 3359086"/>
                <a:gd name="connsiteY10384" fmla="*/ 2290477 h 3355086"/>
                <a:gd name="connsiteX10385" fmla="*/ 3212210 w 3359086"/>
                <a:gd name="connsiteY10385" fmla="*/ 2288953 h 3355086"/>
                <a:gd name="connsiteX10386" fmla="*/ 3218402 w 3359086"/>
                <a:gd name="connsiteY10386" fmla="*/ 2295144 h 3355086"/>
                <a:gd name="connsiteX10387" fmla="*/ 3212210 w 3359086"/>
                <a:gd name="connsiteY10387" fmla="*/ 2301336 h 3355086"/>
                <a:gd name="connsiteX10388" fmla="*/ 3206019 w 3359086"/>
                <a:gd name="connsiteY10388" fmla="*/ 2295144 h 3355086"/>
                <a:gd name="connsiteX10389" fmla="*/ 3212210 w 3359086"/>
                <a:gd name="connsiteY10389" fmla="*/ 2288953 h 3355086"/>
                <a:gd name="connsiteX10390" fmla="*/ 2532030 w 3359086"/>
                <a:gd name="connsiteY10390" fmla="*/ 2288762 h 3355086"/>
                <a:gd name="connsiteX10391" fmla="*/ 2538222 w 3359086"/>
                <a:gd name="connsiteY10391" fmla="*/ 2294953 h 3355086"/>
                <a:gd name="connsiteX10392" fmla="*/ 2532030 w 3359086"/>
                <a:gd name="connsiteY10392" fmla="*/ 2301145 h 3355086"/>
                <a:gd name="connsiteX10393" fmla="*/ 2525839 w 3359086"/>
                <a:gd name="connsiteY10393" fmla="*/ 2294953 h 3355086"/>
                <a:gd name="connsiteX10394" fmla="*/ 2532030 w 3359086"/>
                <a:gd name="connsiteY10394" fmla="*/ 2288762 h 3355086"/>
                <a:gd name="connsiteX10395" fmla="*/ 337660 w 3359086"/>
                <a:gd name="connsiteY10395" fmla="*/ 2287429 h 3355086"/>
                <a:gd name="connsiteX10396" fmla="*/ 343851 w 3359086"/>
                <a:gd name="connsiteY10396" fmla="*/ 2293620 h 3355086"/>
                <a:gd name="connsiteX10397" fmla="*/ 337660 w 3359086"/>
                <a:gd name="connsiteY10397" fmla="*/ 2299812 h 3355086"/>
                <a:gd name="connsiteX10398" fmla="*/ 331469 w 3359086"/>
                <a:gd name="connsiteY10398" fmla="*/ 2293620 h 3355086"/>
                <a:gd name="connsiteX10399" fmla="*/ 337660 w 3359086"/>
                <a:gd name="connsiteY10399" fmla="*/ 2287429 h 3355086"/>
                <a:gd name="connsiteX10400" fmla="*/ 157162 w 3359086"/>
                <a:gd name="connsiteY10400" fmla="*/ 2286381 h 3355086"/>
                <a:gd name="connsiteX10401" fmla="*/ 163353 w 3359086"/>
                <a:gd name="connsiteY10401" fmla="*/ 2292572 h 3355086"/>
                <a:gd name="connsiteX10402" fmla="*/ 157162 w 3359086"/>
                <a:gd name="connsiteY10402" fmla="*/ 2298764 h 3355086"/>
                <a:gd name="connsiteX10403" fmla="*/ 154162 w 3359086"/>
                <a:gd name="connsiteY10403" fmla="*/ 2295763 h 3355086"/>
                <a:gd name="connsiteX10404" fmla="*/ 148970 w 3359086"/>
                <a:gd name="connsiteY10404" fmla="*/ 2300955 h 3355086"/>
                <a:gd name="connsiteX10405" fmla="*/ 146446 w 3359086"/>
                <a:gd name="connsiteY10405" fmla="*/ 2298431 h 3355086"/>
                <a:gd name="connsiteX10406" fmla="*/ 142303 w 3359086"/>
                <a:gd name="connsiteY10406" fmla="*/ 2302574 h 3355086"/>
                <a:gd name="connsiteX10407" fmla="*/ 139684 w 3359086"/>
                <a:gd name="connsiteY10407" fmla="*/ 2299955 h 3355086"/>
                <a:gd name="connsiteX10408" fmla="*/ 134969 w 3359086"/>
                <a:gd name="connsiteY10408" fmla="*/ 2304670 h 3355086"/>
                <a:gd name="connsiteX10409" fmla="*/ 128778 w 3359086"/>
                <a:gd name="connsiteY10409" fmla="*/ 2298478 h 3355086"/>
                <a:gd name="connsiteX10410" fmla="*/ 134969 w 3359086"/>
                <a:gd name="connsiteY10410" fmla="*/ 2292287 h 3355086"/>
                <a:gd name="connsiteX10411" fmla="*/ 137588 w 3359086"/>
                <a:gd name="connsiteY10411" fmla="*/ 2294906 h 3355086"/>
                <a:gd name="connsiteX10412" fmla="*/ 142303 w 3359086"/>
                <a:gd name="connsiteY10412" fmla="*/ 2290191 h 3355086"/>
                <a:gd name="connsiteX10413" fmla="*/ 144827 w 3359086"/>
                <a:gd name="connsiteY10413" fmla="*/ 2292715 h 3355086"/>
                <a:gd name="connsiteX10414" fmla="*/ 148970 w 3359086"/>
                <a:gd name="connsiteY10414" fmla="*/ 2288572 h 3355086"/>
                <a:gd name="connsiteX10415" fmla="*/ 151971 w 3359086"/>
                <a:gd name="connsiteY10415" fmla="*/ 2291573 h 3355086"/>
                <a:gd name="connsiteX10416" fmla="*/ 3238024 w 3359086"/>
                <a:gd name="connsiteY10416" fmla="*/ 2285524 h 3355086"/>
                <a:gd name="connsiteX10417" fmla="*/ 3242881 w 3359086"/>
                <a:gd name="connsiteY10417" fmla="*/ 2290382 h 3355086"/>
                <a:gd name="connsiteX10418" fmla="*/ 3238024 w 3359086"/>
                <a:gd name="connsiteY10418" fmla="*/ 2295239 h 3355086"/>
                <a:gd name="connsiteX10419" fmla="*/ 3233166 w 3359086"/>
                <a:gd name="connsiteY10419" fmla="*/ 2290382 h 3355086"/>
                <a:gd name="connsiteX10420" fmla="*/ 3238024 w 3359086"/>
                <a:gd name="connsiteY10420" fmla="*/ 2285524 h 3355086"/>
                <a:gd name="connsiteX10421" fmla="*/ 3133724 w 3359086"/>
                <a:gd name="connsiteY10421" fmla="*/ 2284857 h 3355086"/>
                <a:gd name="connsiteX10422" fmla="*/ 3139915 w 3359086"/>
                <a:gd name="connsiteY10422" fmla="*/ 2291048 h 3355086"/>
                <a:gd name="connsiteX10423" fmla="*/ 3133724 w 3359086"/>
                <a:gd name="connsiteY10423" fmla="*/ 2297240 h 3355086"/>
                <a:gd name="connsiteX10424" fmla="*/ 3127533 w 3359086"/>
                <a:gd name="connsiteY10424" fmla="*/ 2291048 h 3355086"/>
                <a:gd name="connsiteX10425" fmla="*/ 3133724 w 3359086"/>
                <a:gd name="connsiteY10425" fmla="*/ 2284857 h 3355086"/>
                <a:gd name="connsiteX10426" fmla="*/ 246316 w 3359086"/>
                <a:gd name="connsiteY10426" fmla="*/ 2284571 h 3355086"/>
                <a:gd name="connsiteX10427" fmla="*/ 252508 w 3359086"/>
                <a:gd name="connsiteY10427" fmla="*/ 2290762 h 3355086"/>
                <a:gd name="connsiteX10428" fmla="*/ 246316 w 3359086"/>
                <a:gd name="connsiteY10428" fmla="*/ 2296954 h 3355086"/>
                <a:gd name="connsiteX10429" fmla="*/ 240125 w 3359086"/>
                <a:gd name="connsiteY10429" fmla="*/ 2290762 h 3355086"/>
                <a:gd name="connsiteX10430" fmla="*/ 246316 w 3359086"/>
                <a:gd name="connsiteY10430" fmla="*/ 2284571 h 3355086"/>
                <a:gd name="connsiteX10431" fmla="*/ 169735 w 3359086"/>
                <a:gd name="connsiteY10431" fmla="*/ 2282571 h 3355086"/>
                <a:gd name="connsiteX10432" fmla="*/ 175926 w 3359086"/>
                <a:gd name="connsiteY10432" fmla="*/ 2288762 h 3355086"/>
                <a:gd name="connsiteX10433" fmla="*/ 169735 w 3359086"/>
                <a:gd name="connsiteY10433" fmla="*/ 2294953 h 3355086"/>
                <a:gd name="connsiteX10434" fmla="*/ 163544 w 3359086"/>
                <a:gd name="connsiteY10434" fmla="*/ 2288762 h 3355086"/>
                <a:gd name="connsiteX10435" fmla="*/ 169735 w 3359086"/>
                <a:gd name="connsiteY10435" fmla="*/ 2282571 h 3355086"/>
                <a:gd name="connsiteX10436" fmla="*/ 1702021 w 3359086"/>
                <a:gd name="connsiteY10436" fmla="*/ 2281809 h 3355086"/>
                <a:gd name="connsiteX10437" fmla="*/ 1708213 w 3359086"/>
                <a:gd name="connsiteY10437" fmla="*/ 2288000 h 3355086"/>
                <a:gd name="connsiteX10438" fmla="*/ 1702021 w 3359086"/>
                <a:gd name="connsiteY10438" fmla="*/ 2294192 h 3355086"/>
                <a:gd name="connsiteX10439" fmla="*/ 1695830 w 3359086"/>
                <a:gd name="connsiteY10439" fmla="*/ 2288000 h 3355086"/>
                <a:gd name="connsiteX10440" fmla="*/ 1702021 w 3359086"/>
                <a:gd name="connsiteY10440" fmla="*/ 2281809 h 3355086"/>
                <a:gd name="connsiteX10441" fmla="*/ 477773 w 3359086"/>
                <a:gd name="connsiteY10441" fmla="*/ 2281047 h 3355086"/>
                <a:gd name="connsiteX10442" fmla="*/ 483965 w 3359086"/>
                <a:gd name="connsiteY10442" fmla="*/ 2287238 h 3355086"/>
                <a:gd name="connsiteX10443" fmla="*/ 477773 w 3359086"/>
                <a:gd name="connsiteY10443" fmla="*/ 2293430 h 3355086"/>
                <a:gd name="connsiteX10444" fmla="*/ 471582 w 3359086"/>
                <a:gd name="connsiteY10444" fmla="*/ 2287238 h 3355086"/>
                <a:gd name="connsiteX10445" fmla="*/ 477773 w 3359086"/>
                <a:gd name="connsiteY10445" fmla="*/ 2281047 h 3355086"/>
                <a:gd name="connsiteX10446" fmla="*/ 1567910 w 3359086"/>
                <a:gd name="connsiteY10446" fmla="*/ 2280666 h 3355086"/>
                <a:gd name="connsiteX10447" fmla="*/ 1574101 w 3359086"/>
                <a:gd name="connsiteY10447" fmla="*/ 2286857 h 3355086"/>
                <a:gd name="connsiteX10448" fmla="*/ 1567910 w 3359086"/>
                <a:gd name="connsiteY10448" fmla="*/ 2293049 h 3355086"/>
                <a:gd name="connsiteX10449" fmla="*/ 1561719 w 3359086"/>
                <a:gd name="connsiteY10449" fmla="*/ 2286857 h 3355086"/>
                <a:gd name="connsiteX10450" fmla="*/ 1567910 w 3359086"/>
                <a:gd name="connsiteY10450" fmla="*/ 2280666 h 3355086"/>
                <a:gd name="connsiteX10451" fmla="*/ 761332 w 3359086"/>
                <a:gd name="connsiteY10451" fmla="*/ 2280000 h 3355086"/>
                <a:gd name="connsiteX10452" fmla="*/ 767524 w 3359086"/>
                <a:gd name="connsiteY10452" fmla="*/ 2286191 h 3355086"/>
                <a:gd name="connsiteX10453" fmla="*/ 761332 w 3359086"/>
                <a:gd name="connsiteY10453" fmla="*/ 2292383 h 3355086"/>
                <a:gd name="connsiteX10454" fmla="*/ 755141 w 3359086"/>
                <a:gd name="connsiteY10454" fmla="*/ 2286191 h 3355086"/>
                <a:gd name="connsiteX10455" fmla="*/ 761332 w 3359086"/>
                <a:gd name="connsiteY10455" fmla="*/ 2280000 h 3355086"/>
                <a:gd name="connsiteX10456" fmla="*/ 1835371 w 3359086"/>
                <a:gd name="connsiteY10456" fmla="*/ 2277999 h 3355086"/>
                <a:gd name="connsiteX10457" fmla="*/ 1841563 w 3359086"/>
                <a:gd name="connsiteY10457" fmla="*/ 2284190 h 3355086"/>
                <a:gd name="connsiteX10458" fmla="*/ 1835371 w 3359086"/>
                <a:gd name="connsiteY10458" fmla="*/ 2290382 h 3355086"/>
                <a:gd name="connsiteX10459" fmla="*/ 1829180 w 3359086"/>
                <a:gd name="connsiteY10459" fmla="*/ 2284190 h 3355086"/>
                <a:gd name="connsiteX10460" fmla="*/ 1835371 w 3359086"/>
                <a:gd name="connsiteY10460" fmla="*/ 2277999 h 3355086"/>
                <a:gd name="connsiteX10461" fmla="*/ 3222116 w 3359086"/>
                <a:gd name="connsiteY10461" fmla="*/ 2277142 h 3355086"/>
                <a:gd name="connsiteX10462" fmla="*/ 3228307 w 3359086"/>
                <a:gd name="connsiteY10462" fmla="*/ 2283333 h 3355086"/>
                <a:gd name="connsiteX10463" fmla="*/ 3222116 w 3359086"/>
                <a:gd name="connsiteY10463" fmla="*/ 2289525 h 3355086"/>
                <a:gd name="connsiteX10464" fmla="*/ 3215925 w 3359086"/>
                <a:gd name="connsiteY10464" fmla="*/ 2283333 h 3355086"/>
                <a:gd name="connsiteX10465" fmla="*/ 3222116 w 3359086"/>
                <a:gd name="connsiteY10465" fmla="*/ 2277142 h 3355086"/>
                <a:gd name="connsiteX10466" fmla="*/ 3180682 w 3359086"/>
                <a:gd name="connsiteY10466" fmla="*/ 2277142 h 3355086"/>
                <a:gd name="connsiteX10467" fmla="*/ 3185778 w 3359086"/>
                <a:gd name="connsiteY10467" fmla="*/ 2282238 h 3355086"/>
                <a:gd name="connsiteX10468" fmla="*/ 3188112 w 3359086"/>
                <a:gd name="connsiteY10468" fmla="*/ 2279904 h 3355086"/>
                <a:gd name="connsiteX10469" fmla="*/ 3192446 w 3359086"/>
                <a:gd name="connsiteY10469" fmla="*/ 2284238 h 3355086"/>
                <a:gd name="connsiteX10470" fmla="*/ 3194494 w 3359086"/>
                <a:gd name="connsiteY10470" fmla="*/ 2282190 h 3355086"/>
                <a:gd name="connsiteX10471" fmla="*/ 3199637 w 3359086"/>
                <a:gd name="connsiteY10471" fmla="*/ 2287334 h 3355086"/>
                <a:gd name="connsiteX10472" fmla="*/ 3201923 w 3359086"/>
                <a:gd name="connsiteY10472" fmla="*/ 2285048 h 3355086"/>
                <a:gd name="connsiteX10473" fmla="*/ 3208114 w 3359086"/>
                <a:gd name="connsiteY10473" fmla="*/ 2291239 h 3355086"/>
                <a:gd name="connsiteX10474" fmla="*/ 3201923 w 3359086"/>
                <a:gd name="connsiteY10474" fmla="*/ 2297431 h 3355086"/>
                <a:gd name="connsiteX10475" fmla="*/ 3196780 w 3359086"/>
                <a:gd name="connsiteY10475" fmla="*/ 2292287 h 3355086"/>
                <a:gd name="connsiteX10476" fmla="*/ 3194494 w 3359086"/>
                <a:gd name="connsiteY10476" fmla="*/ 2294573 h 3355086"/>
                <a:gd name="connsiteX10477" fmla="*/ 3190160 w 3359086"/>
                <a:gd name="connsiteY10477" fmla="*/ 2290238 h 3355086"/>
                <a:gd name="connsiteX10478" fmla="*/ 3188112 w 3359086"/>
                <a:gd name="connsiteY10478" fmla="*/ 2292286 h 3355086"/>
                <a:gd name="connsiteX10479" fmla="*/ 3183016 w 3359086"/>
                <a:gd name="connsiteY10479" fmla="*/ 2287191 h 3355086"/>
                <a:gd name="connsiteX10480" fmla="*/ 3180682 w 3359086"/>
                <a:gd name="connsiteY10480" fmla="*/ 2289525 h 3355086"/>
                <a:gd name="connsiteX10481" fmla="*/ 3174491 w 3359086"/>
                <a:gd name="connsiteY10481" fmla="*/ 2283333 h 3355086"/>
                <a:gd name="connsiteX10482" fmla="*/ 3180682 w 3359086"/>
                <a:gd name="connsiteY10482" fmla="*/ 2277142 h 3355086"/>
                <a:gd name="connsiteX10483" fmla="*/ 3014376 w 3359086"/>
                <a:gd name="connsiteY10483" fmla="*/ 2276571 h 3355086"/>
                <a:gd name="connsiteX10484" fmla="*/ 3020567 w 3359086"/>
                <a:gd name="connsiteY10484" fmla="*/ 2282762 h 3355086"/>
                <a:gd name="connsiteX10485" fmla="*/ 3014376 w 3359086"/>
                <a:gd name="connsiteY10485" fmla="*/ 2288954 h 3355086"/>
                <a:gd name="connsiteX10486" fmla="*/ 3008185 w 3359086"/>
                <a:gd name="connsiteY10486" fmla="*/ 2282762 h 3355086"/>
                <a:gd name="connsiteX10487" fmla="*/ 3014376 w 3359086"/>
                <a:gd name="connsiteY10487" fmla="*/ 2276571 h 3355086"/>
                <a:gd name="connsiteX10488" fmla="*/ 190023 w 3359086"/>
                <a:gd name="connsiteY10488" fmla="*/ 2275999 h 3355086"/>
                <a:gd name="connsiteX10489" fmla="*/ 196215 w 3359086"/>
                <a:gd name="connsiteY10489" fmla="*/ 2282190 h 3355086"/>
                <a:gd name="connsiteX10490" fmla="*/ 190023 w 3359086"/>
                <a:gd name="connsiteY10490" fmla="*/ 2288382 h 3355086"/>
                <a:gd name="connsiteX10491" fmla="*/ 183832 w 3359086"/>
                <a:gd name="connsiteY10491" fmla="*/ 2282190 h 3355086"/>
                <a:gd name="connsiteX10492" fmla="*/ 190023 w 3359086"/>
                <a:gd name="connsiteY10492" fmla="*/ 2275999 h 3355086"/>
                <a:gd name="connsiteX10493" fmla="*/ 1435988 w 3359086"/>
                <a:gd name="connsiteY10493" fmla="*/ 2274666 h 3355086"/>
                <a:gd name="connsiteX10494" fmla="*/ 1442180 w 3359086"/>
                <a:gd name="connsiteY10494" fmla="*/ 2280857 h 3355086"/>
                <a:gd name="connsiteX10495" fmla="*/ 1435988 w 3359086"/>
                <a:gd name="connsiteY10495" fmla="*/ 2287049 h 3355086"/>
                <a:gd name="connsiteX10496" fmla="*/ 1429797 w 3359086"/>
                <a:gd name="connsiteY10496" fmla="*/ 2280857 h 3355086"/>
                <a:gd name="connsiteX10497" fmla="*/ 1435988 w 3359086"/>
                <a:gd name="connsiteY10497" fmla="*/ 2274666 h 3355086"/>
                <a:gd name="connsiteX10498" fmla="*/ 3099434 w 3359086"/>
                <a:gd name="connsiteY10498" fmla="*/ 2273999 h 3355086"/>
                <a:gd name="connsiteX10499" fmla="*/ 3105625 w 3359086"/>
                <a:gd name="connsiteY10499" fmla="*/ 2280190 h 3355086"/>
                <a:gd name="connsiteX10500" fmla="*/ 3099434 w 3359086"/>
                <a:gd name="connsiteY10500" fmla="*/ 2286382 h 3355086"/>
                <a:gd name="connsiteX10501" fmla="*/ 3093243 w 3359086"/>
                <a:gd name="connsiteY10501" fmla="*/ 2280190 h 3355086"/>
                <a:gd name="connsiteX10502" fmla="*/ 3099434 w 3359086"/>
                <a:gd name="connsiteY10502" fmla="*/ 2273999 h 3355086"/>
                <a:gd name="connsiteX10503" fmla="*/ 3169443 w 3359086"/>
                <a:gd name="connsiteY10503" fmla="*/ 2272951 h 3355086"/>
                <a:gd name="connsiteX10504" fmla="*/ 3175634 w 3359086"/>
                <a:gd name="connsiteY10504" fmla="*/ 2279142 h 3355086"/>
                <a:gd name="connsiteX10505" fmla="*/ 3169443 w 3359086"/>
                <a:gd name="connsiteY10505" fmla="*/ 2285334 h 3355086"/>
                <a:gd name="connsiteX10506" fmla="*/ 3163252 w 3359086"/>
                <a:gd name="connsiteY10506" fmla="*/ 2279142 h 3355086"/>
                <a:gd name="connsiteX10507" fmla="*/ 3169443 w 3359086"/>
                <a:gd name="connsiteY10507" fmla="*/ 2272951 h 3355086"/>
                <a:gd name="connsiteX10508" fmla="*/ 2882741 w 3359086"/>
                <a:gd name="connsiteY10508" fmla="*/ 2270284 h 3355086"/>
                <a:gd name="connsiteX10509" fmla="*/ 2888932 w 3359086"/>
                <a:gd name="connsiteY10509" fmla="*/ 2276475 h 3355086"/>
                <a:gd name="connsiteX10510" fmla="*/ 2882741 w 3359086"/>
                <a:gd name="connsiteY10510" fmla="*/ 2282667 h 3355086"/>
                <a:gd name="connsiteX10511" fmla="*/ 2876550 w 3359086"/>
                <a:gd name="connsiteY10511" fmla="*/ 2276475 h 3355086"/>
                <a:gd name="connsiteX10512" fmla="*/ 2882741 w 3359086"/>
                <a:gd name="connsiteY10512" fmla="*/ 2270284 h 3355086"/>
                <a:gd name="connsiteX10513" fmla="*/ 2613659 w 3359086"/>
                <a:gd name="connsiteY10513" fmla="*/ 2269808 h 3355086"/>
                <a:gd name="connsiteX10514" fmla="*/ 2619850 w 3359086"/>
                <a:gd name="connsiteY10514" fmla="*/ 2275999 h 3355086"/>
                <a:gd name="connsiteX10515" fmla="*/ 2613659 w 3359086"/>
                <a:gd name="connsiteY10515" fmla="*/ 2282191 h 3355086"/>
                <a:gd name="connsiteX10516" fmla="*/ 2607468 w 3359086"/>
                <a:gd name="connsiteY10516" fmla="*/ 2275999 h 3355086"/>
                <a:gd name="connsiteX10517" fmla="*/ 2613659 w 3359086"/>
                <a:gd name="connsiteY10517" fmla="*/ 2269808 h 3355086"/>
                <a:gd name="connsiteX10518" fmla="*/ 1964911 w 3359086"/>
                <a:gd name="connsiteY10518" fmla="*/ 2269808 h 3355086"/>
                <a:gd name="connsiteX10519" fmla="*/ 1971103 w 3359086"/>
                <a:gd name="connsiteY10519" fmla="*/ 2275999 h 3355086"/>
                <a:gd name="connsiteX10520" fmla="*/ 1964911 w 3359086"/>
                <a:gd name="connsiteY10520" fmla="*/ 2282191 h 3355086"/>
                <a:gd name="connsiteX10521" fmla="*/ 1958720 w 3359086"/>
                <a:gd name="connsiteY10521" fmla="*/ 2275999 h 3355086"/>
                <a:gd name="connsiteX10522" fmla="*/ 1964911 w 3359086"/>
                <a:gd name="connsiteY10522" fmla="*/ 2269808 h 3355086"/>
                <a:gd name="connsiteX10523" fmla="*/ 146780 w 3359086"/>
                <a:gd name="connsiteY10523" fmla="*/ 2269332 h 3355086"/>
                <a:gd name="connsiteX10524" fmla="*/ 152971 w 3359086"/>
                <a:gd name="connsiteY10524" fmla="*/ 2275523 h 3355086"/>
                <a:gd name="connsiteX10525" fmla="*/ 146780 w 3359086"/>
                <a:gd name="connsiteY10525" fmla="*/ 2281714 h 3355086"/>
                <a:gd name="connsiteX10526" fmla="*/ 144970 w 3359086"/>
                <a:gd name="connsiteY10526" fmla="*/ 2279904 h 3355086"/>
                <a:gd name="connsiteX10527" fmla="*/ 139921 w 3359086"/>
                <a:gd name="connsiteY10527" fmla="*/ 2284953 h 3355086"/>
                <a:gd name="connsiteX10528" fmla="*/ 138254 w 3359086"/>
                <a:gd name="connsiteY10528" fmla="*/ 2283286 h 3355086"/>
                <a:gd name="connsiteX10529" fmla="*/ 133730 w 3359086"/>
                <a:gd name="connsiteY10529" fmla="*/ 2287810 h 3355086"/>
                <a:gd name="connsiteX10530" fmla="*/ 131635 w 3359086"/>
                <a:gd name="connsiteY10530" fmla="*/ 2285715 h 3355086"/>
                <a:gd name="connsiteX10531" fmla="*/ 126110 w 3359086"/>
                <a:gd name="connsiteY10531" fmla="*/ 2291239 h 3355086"/>
                <a:gd name="connsiteX10532" fmla="*/ 119919 w 3359086"/>
                <a:gd name="connsiteY10532" fmla="*/ 2285048 h 3355086"/>
                <a:gd name="connsiteX10533" fmla="*/ 126110 w 3359086"/>
                <a:gd name="connsiteY10533" fmla="*/ 2278857 h 3355086"/>
                <a:gd name="connsiteX10534" fmla="*/ 128205 w 3359086"/>
                <a:gd name="connsiteY10534" fmla="*/ 2280953 h 3355086"/>
                <a:gd name="connsiteX10535" fmla="*/ 133730 w 3359086"/>
                <a:gd name="connsiteY10535" fmla="*/ 2275428 h 3355086"/>
                <a:gd name="connsiteX10536" fmla="*/ 135396 w 3359086"/>
                <a:gd name="connsiteY10536" fmla="*/ 2277095 h 3355086"/>
                <a:gd name="connsiteX10537" fmla="*/ 139921 w 3359086"/>
                <a:gd name="connsiteY10537" fmla="*/ 2272570 h 3355086"/>
                <a:gd name="connsiteX10538" fmla="*/ 141731 w 3359086"/>
                <a:gd name="connsiteY10538" fmla="*/ 2274381 h 3355086"/>
                <a:gd name="connsiteX10539" fmla="*/ 301466 w 3359086"/>
                <a:gd name="connsiteY10539" fmla="*/ 2267331 h 3355086"/>
                <a:gd name="connsiteX10540" fmla="*/ 307657 w 3359086"/>
                <a:gd name="connsiteY10540" fmla="*/ 2273522 h 3355086"/>
                <a:gd name="connsiteX10541" fmla="*/ 301466 w 3359086"/>
                <a:gd name="connsiteY10541" fmla="*/ 2279714 h 3355086"/>
                <a:gd name="connsiteX10542" fmla="*/ 295275 w 3359086"/>
                <a:gd name="connsiteY10542" fmla="*/ 2273522 h 3355086"/>
                <a:gd name="connsiteX10543" fmla="*/ 301466 w 3359086"/>
                <a:gd name="connsiteY10543" fmla="*/ 2267331 h 3355086"/>
                <a:gd name="connsiteX10544" fmla="*/ 3232213 w 3359086"/>
                <a:gd name="connsiteY10544" fmla="*/ 2266093 h 3355086"/>
                <a:gd name="connsiteX10545" fmla="*/ 3238404 w 3359086"/>
                <a:gd name="connsiteY10545" fmla="*/ 2272284 h 3355086"/>
                <a:gd name="connsiteX10546" fmla="*/ 3232213 w 3359086"/>
                <a:gd name="connsiteY10546" fmla="*/ 2278476 h 3355086"/>
                <a:gd name="connsiteX10547" fmla="*/ 3226022 w 3359086"/>
                <a:gd name="connsiteY10547" fmla="*/ 2272284 h 3355086"/>
                <a:gd name="connsiteX10548" fmla="*/ 3232213 w 3359086"/>
                <a:gd name="connsiteY10548" fmla="*/ 2266093 h 3355086"/>
                <a:gd name="connsiteX10549" fmla="*/ 117252 w 3359086"/>
                <a:gd name="connsiteY10549" fmla="*/ 2266093 h 3355086"/>
                <a:gd name="connsiteX10550" fmla="*/ 123444 w 3359086"/>
                <a:gd name="connsiteY10550" fmla="*/ 2272284 h 3355086"/>
                <a:gd name="connsiteX10551" fmla="*/ 117252 w 3359086"/>
                <a:gd name="connsiteY10551" fmla="*/ 2278476 h 3355086"/>
                <a:gd name="connsiteX10552" fmla="*/ 111061 w 3359086"/>
                <a:gd name="connsiteY10552" fmla="*/ 2272284 h 3355086"/>
                <a:gd name="connsiteX10553" fmla="*/ 117252 w 3359086"/>
                <a:gd name="connsiteY10553" fmla="*/ 2266093 h 3355086"/>
                <a:gd name="connsiteX10554" fmla="*/ 3151346 w 3359086"/>
                <a:gd name="connsiteY10554" fmla="*/ 2265998 h 3355086"/>
                <a:gd name="connsiteX10555" fmla="*/ 3157537 w 3359086"/>
                <a:gd name="connsiteY10555" fmla="*/ 2272189 h 3355086"/>
                <a:gd name="connsiteX10556" fmla="*/ 3151346 w 3359086"/>
                <a:gd name="connsiteY10556" fmla="*/ 2278381 h 3355086"/>
                <a:gd name="connsiteX10557" fmla="*/ 3145155 w 3359086"/>
                <a:gd name="connsiteY10557" fmla="*/ 2272189 h 3355086"/>
                <a:gd name="connsiteX10558" fmla="*/ 3151346 w 3359086"/>
                <a:gd name="connsiteY10558" fmla="*/ 2265998 h 3355086"/>
                <a:gd name="connsiteX10559" fmla="*/ 221646 w 3359086"/>
                <a:gd name="connsiteY10559" fmla="*/ 2264950 h 3355086"/>
                <a:gd name="connsiteX10560" fmla="*/ 227837 w 3359086"/>
                <a:gd name="connsiteY10560" fmla="*/ 2271141 h 3355086"/>
                <a:gd name="connsiteX10561" fmla="*/ 221646 w 3359086"/>
                <a:gd name="connsiteY10561" fmla="*/ 2277333 h 3355086"/>
                <a:gd name="connsiteX10562" fmla="*/ 215455 w 3359086"/>
                <a:gd name="connsiteY10562" fmla="*/ 2271141 h 3355086"/>
                <a:gd name="connsiteX10563" fmla="*/ 221646 w 3359086"/>
                <a:gd name="connsiteY10563" fmla="*/ 2264950 h 3355086"/>
                <a:gd name="connsiteX10564" fmla="*/ 1309115 w 3359086"/>
                <a:gd name="connsiteY10564" fmla="*/ 2264855 h 3355086"/>
                <a:gd name="connsiteX10565" fmla="*/ 1315307 w 3359086"/>
                <a:gd name="connsiteY10565" fmla="*/ 2271046 h 3355086"/>
                <a:gd name="connsiteX10566" fmla="*/ 1309115 w 3359086"/>
                <a:gd name="connsiteY10566" fmla="*/ 2277238 h 3355086"/>
                <a:gd name="connsiteX10567" fmla="*/ 1302924 w 3359086"/>
                <a:gd name="connsiteY10567" fmla="*/ 2271046 h 3355086"/>
                <a:gd name="connsiteX10568" fmla="*/ 1309115 w 3359086"/>
                <a:gd name="connsiteY10568" fmla="*/ 2264855 h 3355086"/>
                <a:gd name="connsiteX10569" fmla="*/ 156876 w 3359086"/>
                <a:gd name="connsiteY10569" fmla="*/ 2264664 h 3355086"/>
                <a:gd name="connsiteX10570" fmla="*/ 163068 w 3359086"/>
                <a:gd name="connsiteY10570" fmla="*/ 2270855 h 3355086"/>
                <a:gd name="connsiteX10571" fmla="*/ 156876 w 3359086"/>
                <a:gd name="connsiteY10571" fmla="*/ 2277047 h 3355086"/>
                <a:gd name="connsiteX10572" fmla="*/ 150685 w 3359086"/>
                <a:gd name="connsiteY10572" fmla="*/ 2270855 h 3355086"/>
                <a:gd name="connsiteX10573" fmla="*/ 156876 w 3359086"/>
                <a:gd name="connsiteY10573" fmla="*/ 2264664 h 3355086"/>
                <a:gd name="connsiteX10574" fmla="*/ 426148 w 3359086"/>
                <a:gd name="connsiteY10574" fmla="*/ 2261140 h 3355086"/>
                <a:gd name="connsiteX10575" fmla="*/ 432339 w 3359086"/>
                <a:gd name="connsiteY10575" fmla="*/ 2267331 h 3355086"/>
                <a:gd name="connsiteX10576" fmla="*/ 426148 w 3359086"/>
                <a:gd name="connsiteY10576" fmla="*/ 2273522 h 3355086"/>
                <a:gd name="connsiteX10577" fmla="*/ 419957 w 3359086"/>
                <a:gd name="connsiteY10577" fmla="*/ 2267331 h 3355086"/>
                <a:gd name="connsiteX10578" fmla="*/ 426148 w 3359086"/>
                <a:gd name="connsiteY10578" fmla="*/ 2261140 h 3355086"/>
                <a:gd name="connsiteX10579" fmla="*/ 682942 w 3359086"/>
                <a:gd name="connsiteY10579" fmla="*/ 2260950 h 3355086"/>
                <a:gd name="connsiteX10580" fmla="*/ 689133 w 3359086"/>
                <a:gd name="connsiteY10580" fmla="*/ 2267141 h 3355086"/>
                <a:gd name="connsiteX10581" fmla="*/ 682942 w 3359086"/>
                <a:gd name="connsiteY10581" fmla="*/ 2273333 h 3355086"/>
                <a:gd name="connsiteX10582" fmla="*/ 676751 w 3359086"/>
                <a:gd name="connsiteY10582" fmla="*/ 2267141 h 3355086"/>
                <a:gd name="connsiteX10583" fmla="*/ 682942 w 3359086"/>
                <a:gd name="connsiteY10583" fmla="*/ 2260950 h 3355086"/>
                <a:gd name="connsiteX10584" fmla="*/ 3190589 w 3359086"/>
                <a:gd name="connsiteY10584" fmla="*/ 2260473 h 3355086"/>
                <a:gd name="connsiteX10585" fmla="*/ 3195637 w 3359086"/>
                <a:gd name="connsiteY10585" fmla="*/ 2265521 h 3355086"/>
                <a:gd name="connsiteX10586" fmla="*/ 3196875 w 3359086"/>
                <a:gd name="connsiteY10586" fmla="*/ 2264283 h 3355086"/>
                <a:gd name="connsiteX10587" fmla="*/ 3201638 w 3359086"/>
                <a:gd name="connsiteY10587" fmla="*/ 2269046 h 3355086"/>
                <a:gd name="connsiteX10588" fmla="*/ 3202876 w 3359086"/>
                <a:gd name="connsiteY10588" fmla="*/ 2267808 h 3355086"/>
                <a:gd name="connsiteX10589" fmla="*/ 3208877 w 3359086"/>
                <a:gd name="connsiteY10589" fmla="*/ 2273808 h 3355086"/>
                <a:gd name="connsiteX10590" fmla="*/ 3210782 w 3359086"/>
                <a:gd name="connsiteY10590" fmla="*/ 2271903 h 3355086"/>
                <a:gd name="connsiteX10591" fmla="*/ 3216973 w 3359086"/>
                <a:gd name="connsiteY10591" fmla="*/ 2278094 h 3355086"/>
                <a:gd name="connsiteX10592" fmla="*/ 3210782 w 3359086"/>
                <a:gd name="connsiteY10592" fmla="*/ 2284286 h 3355086"/>
                <a:gd name="connsiteX10593" fmla="*/ 3204782 w 3359086"/>
                <a:gd name="connsiteY10593" fmla="*/ 2278285 h 3355086"/>
                <a:gd name="connsiteX10594" fmla="*/ 3202876 w 3359086"/>
                <a:gd name="connsiteY10594" fmla="*/ 2280191 h 3355086"/>
                <a:gd name="connsiteX10595" fmla="*/ 3198113 w 3359086"/>
                <a:gd name="connsiteY10595" fmla="*/ 2275427 h 3355086"/>
                <a:gd name="connsiteX10596" fmla="*/ 3196875 w 3359086"/>
                <a:gd name="connsiteY10596" fmla="*/ 2276665 h 3355086"/>
                <a:gd name="connsiteX10597" fmla="*/ 3191827 w 3359086"/>
                <a:gd name="connsiteY10597" fmla="*/ 2271618 h 3355086"/>
                <a:gd name="connsiteX10598" fmla="*/ 3190589 w 3359086"/>
                <a:gd name="connsiteY10598" fmla="*/ 2272856 h 3355086"/>
                <a:gd name="connsiteX10599" fmla="*/ 3184398 w 3359086"/>
                <a:gd name="connsiteY10599" fmla="*/ 2266664 h 3355086"/>
                <a:gd name="connsiteX10600" fmla="*/ 3190589 w 3359086"/>
                <a:gd name="connsiteY10600" fmla="*/ 2260473 h 3355086"/>
                <a:gd name="connsiteX10601" fmla="*/ 3219640 w 3359086"/>
                <a:gd name="connsiteY10601" fmla="*/ 2259521 h 3355086"/>
                <a:gd name="connsiteX10602" fmla="*/ 3225832 w 3359086"/>
                <a:gd name="connsiteY10602" fmla="*/ 2265712 h 3355086"/>
                <a:gd name="connsiteX10603" fmla="*/ 3219640 w 3359086"/>
                <a:gd name="connsiteY10603" fmla="*/ 2271903 h 3355086"/>
                <a:gd name="connsiteX10604" fmla="*/ 3213449 w 3359086"/>
                <a:gd name="connsiteY10604" fmla="*/ 2265712 h 3355086"/>
                <a:gd name="connsiteX10605" fmla="*/ 3219640 w 3359086"/>
                <a:gd name="connsiteY10605" fmla="*/ 2259521 h 3355086"/>
                <a:gd name="connsiteX10606" fmla="*/ 2088356 w 3359086"/>
                <a:gd name="connsiteY10606" fmla="*/ 2258283 h 3355086"/>
                <a:gd name="connsiteX10607" fmla="*/ 2094547 w 3359086"/>
                <a:gd name="connsiteY10607" fmla="*/ 2264474 h 3355086"/>
                <a:gd name="connsiteX10608" fmla="*/ 2088356 w 3359086"/>
                <a:gd name="connsiteY10608" fmla="*/ 2270666 h 3355086"/>
                <a:gd name="connsiteX10609" fmla="*/ 2082165 w 3359086"/>
                <a:gd name="connsiteY10609" fmla="*/ 2264474 h 3355086"/>
                <a:gd name="connsiteX10610" fmla="*/ 2088356 w 3359086"/>
                <a:gd name="connsiteY10610" fmla="*/ 2258283 h 3355086"/>
                <a:gd name="connsiteX10611" fmla="*/ 173354 w 3359086"/>
                <a:gd name="connsiteY10611" fmla="*/ 2257425 h 3355086"/>
                <a:gd name="connsiteX10612" fmla="*/ 179546 w 3359086"/>
                <a:gd name="connsiteY10612" fmla="*/ 2263616 h 3355086"/>
                <a:gd name="connsiteX10613" fmla="*/ 173354 w 3359086"/>
                <a:gd name="connsiteY10613" fmla="*/ 2269807 h 3355086"/>
                <a:gd name="connsiteX10614" fmla="*/ 167163 w 3359086"/>
                <a:gd name="connsiteY10614" fmla="*/ 2263616 h 3355086"/>
                <a:gd name="connsiteX10615" fmla="*/ 173354 w 3359086"/>
                <a:gd name="connsiteY10615" fmla="*/ 2257425 h 3355086"/>
                <a:gd name="connsiteX10616" fmla="*/ 3048476 w 3359086"/>
                <a:gd name="connsiteY10616" fmla="*/ 2256854 h 3355086"/>
                <a:gd name="connsiteX10617" fmla="*/ 3054668 w 3359086"/>
                <a:gd name="connsiteY10617" fmla="*/ 2263045 h 3355086"/>
                <a:gd name="connsiteX10618" fmla="*/ 3048476 w 3359086"/>
                <a:gd name="connsiteY10618" fmla="*/ 2269236 h 3355086"/>
                <a:gd name="connsiteX10619" fmla="*/ 3042285 w 3359086"/>
                <a:gd name="connsiteY10619" fmla="*/ 2263045 h 3355086"/>
                <a:gd name="connsiteX10620" fmla="*/ 3048476 w 3359086"/>
                <a:gd name="connsiteY10620" fmla="*/ 2256854 h 3355086"/>
                <a:gd name="connsiteX10621" fmla="*/ 108299 w 3359086"/>
                <a:gd name="connsiteY10621" fmla="*/ 2256854 h 3355086"/>
                <a:gd name="connsiteX10622" fmla="*/ 111537 w 3359086"/>
                <a:gd name="connsiteY10622" fmla="*/ 2260093 h 3355086"/>
                <a:gd name="connsiteX10623" fmla="*/ 108299 w 3359086"/>
                <a:gd name="connsiteY10623" fmla="*/ 2263331 h 3355086"/>
                <a:gd name="connsiteX10624" fmla="*/ 105060 w 3359086"/>
                <a:gd name="connsiteY10624" fmla="*/ 2260093 h 3355086"/>
                <a:gd name="connsiteX10625" fmla="*/ 108299 w 3359086"/>
                <a:gd name="connsiteY10625" fmla="*/ 2256854 h 3355086"/>
                <a:gd name="connsiteX10626" fmla="*/ 3242595 w 3359086"/>
                <a:gd name="connsiteY10626" fmla="*/ 2255711 h 3355086"/>
                <a:gd name="connsiteX10627" fmla="*/ 3248786 w 3359086"/>
                <a:gd name="connsiteY10627" fmla="*/ 2261902 h 3355086"/>
                <a:gd name="connsiteX10628" fmla="*/ 3242595 w 3359086"/>
                <a:gd name="connsiteY10628" fmla="*/ 2268094 h 3355086"/>
                <a:gd name="connsiteX10629" fmla="*/ 3236404 w 3359086"/>
                <a:gd name="connsiteY10629" fmla="*/ 2261902 h 3355086"/>
                <a:gd name="connsiteX10630" fmla="*/ 3242595 w 3359086"/>
                <a:gd name="connsiteY10630" fmla="*/ 2255711 h 3355086"/>
                <a:gd name="connsiteX10631" fmla="*/ 3181540 w 3359086"/>
                <a:gd name="connsiteY10631" fmla="*/ 2255425 h 3355086"/>
                <a:gd name="connsiteX10632" fmla="*/ 3187732 w 3359086"/>
                <a:gd name="connsiteY10632" fmla="*/ 2261616 h 3355086"/>
                <a:gd name="connsiteX10633" fmla="*/ 3181540 w 3359086"/>
                <a:gd name="connsiteY10633" fmla="*/ 2267808 h 3355086"/>
                <a:gd name="connsiteX10634" fmla="*/ 3175349 w 3359086"/>
                <a:gd name="connsiteY10634" fmla="*/ 2261616 h 3355086"/>
                <a:gd name="connsiteX10635" fmla="*/ 3181540 w 3359086"/>
                <a:gd name="connsiteY10635" fmla="*/ 2255425 h 3355086"/>
                <a:gd name="connsiteX10636" fmla="*/ 3122580 w 3359086"/>
                <a:gd name="connsiteY10636" fmla="*/ 2254854 h 3355086"/>
                <a:gd name="connsiteX10637" fmla="*/ 3128772 w 3359086"/>
                <a:gd name="connsiteY10637" fmla="*/ 2261045 h 3355086"/>
                <a:gd name="connsiteX10638" fmla="*/ 3122580 w 3359086"/>
                <a:gd name="connsiteY10638" fmla="*/ 2267237 h 3355086"/>
                <a:gd name="connsiteX10639" fmla="*/ 3116389 w 3359086"/>
                <a:gd name="connsiteY10639" fmla="*/ 2261045 h 3355086"/>
                <a:gd name="connsiteX10640" fmla="*/ 3122580 w 3359086"/>
                <a:gd name="connsiteY10640" fmla="*/ 2254854 h 3355086"/>
                <a:gd name="connsiteX10641" fmla="*/ 137350 w 3359086"/>
                <a:gd name="connsiteY10641" fmla="*/ 2253044 h 3355086"/>
                <a:gd name="connsiteX10642" fmla="*/ 143541 w 3359086"/>
                <a:gd name="connsiteY10642" fmla="*/ 2259235 h 3355086"/>
                <a:gd name="connsiteX10643" fmla="*/ 137350 w 3359086"/>
                <a:gd name="connsiteY10643" fmla="*/ 2265427 h 3355086"/>
                <a:gd name="connsiteX10644" fmla="*/ 136540 w 3359086"/>
                <a:gd name="connsiteY10644" fmla="*/ 2264617 h 3355086"/>
                <a:gd name="connsiteX10645" fmla="*/ 131444 w 3359086"/>
                <a:gd name="connsiteY10645" fmla="*/ 2269713 h 3355086"/>
                <a:gd name="connsiteX10646" fmla="*/ 130491 w 3359086"/>
                <a:gd name="connsiteY10646" fmla="*/ 2268761 h 3355086"/>
                <a:gd name="connsiteX10647" fmla="*/ 125444 w 3359086"/>
                <a:gd name="connsiteY10647" fmla="*/ 2273809 h 3355086"/>
                <a:gd name="connsiteX10648" fmla="*/ 119253 w 3359086"/>
                <a:gd name="connsiteY10648" fmla="*/ 2267617 h 3355086"/>
                <a:gd name="connsiteX10649" fmla="*/ 125444 w 3359086"/>
                <a:gd name="connsiteY10649" fmla="*/ 2261426 h 3355086"/>
                <a:gd name="connsiteX10650" fmla="*/ 126396 w 3359086"/>
                <a:gd name="connsiteY10650" fmla="*/ 2262378 h 3355086"/>
                <a:gd name="connsiteX10651" fmla="*/ 131444 w 3359086"/>
                <a:gd name="connsiteY10651" fmla="*/ 2257330 h 3355086"/>
                <a:gd name="connsiteX10652" fmla="*/ 132254 w 3359086"/>
                <a:gd name="connsiteY10652" fmla="*/ 2258140 h 3355086"/>
                <a:gd name="connsiteX10653" fmla="*/ 1188815 w 3359086"/>
                <a:gd name="connsiteY10653" fmla="*/ 2252091 h 3355086"/>
                <a:gd name="connsiteX10654" fmla="*/ 1195006 w 3359086"/>
                <a:gd name="connsiteY10654" fmla="*/ 2258282 h 3355086"/>
                <a:gd name="connsiteX10655" fmla="*/ 1188815 w 3359086"/>
                <a:gd name="connsiteY10655" fmla="*/ 2264474 h 3355086"/>
                <a:gd name="connsiteX10656" fmla="*/ 1182624 w 3359086"/>
                <a:gd name="connsiteY10656" fmla="*/ 2258282 h 3355086"/>
                <a:gd name="connsiteX10657" fmla="*/ 1188815 w 3359086"/>
                <a:gd name="connsiteY10657" fmla="*/ 2252091 h 3355086"/>
                <a:gd name="connsiteX10658" fmla="*/ 2688431 w 3359086"/>
                <a:gd name="connsiteY10658" fmla="*/ 2250853 h 3355086"/>
                <a:gd name="connsiteX10659" fmla="*/ 2694622 w 3359086"/>
                <a:gd name="connsiteY10659" fmla="*/ 2257044 h 3355086"/>
                <a:gd name="connsiteX10660" fmla="*/ 2688431 w 3359086"/>
                <a:gd name="connsiteY10660" fmla="*/ 2263236 h 3355086"/>
                <a:gd name="connsiteX10661" fmla="*/ 2682240 w 3359086"/>
                <a:gd name="connsiteY10661" fmla="*/ 2257044 h 3355086"/>
                <a:gd name="connsiteX10662" fmla="*/ 2688431 w 3359086"/>
                <a:gd name="connsiteY10662" fmla="*/ 2250853 h 3355086"/>
                <a:gd name="connsiteX10663" fmla="*/ 2931604 w 3359086"/>
                <a:gd name="connsiteY10663" fmla="*/ 2250567 h 3355086"/>
                <a:gd name="connsiteX10664" fmla="*/ 2937795 w 3359086"/>
                <a:gd name="connsiteY10664" fmla="*/ 2256758 h 3355086"/>
                <a:gd name="connsiteX10665" fmla="*/ 2931604 w 3359086"/>
                <a:gd name="connsiteY10665" fmla="*/ 2262950 h 3355086"/>
                <a:gd name="connsiteX10666" fmla="*/ 2925413 w 3359086"/>
                <a:gd name="connsiteY10666" fmla="*/ 2256758 h 3355086"/>
                <a:gd name="connsiteX10667" fmla="*/ 2931604 w 3359086"/>
                <a:gd name="connsiteY10667" fmla="*/ 2250567 h 3355086"/>
                <a:gd name="connsiteX10668" fmla="*/ 3253454 w 3359086"/>
                <a:gd name="connsiteY10668" fmla="*/ 2247996 h 3355086"/>
                <a:gd name="connsiteX10669" fmla="*/ 3257549 w 3359086"/>
                <a:gd name="connsiteY10669" fmla="*/ 2252092 h 3355086"/>
                <a:gd name="connsiteX10670" fmla="*/ 3253454 w 3359086"/>
                <a:gd name="connsiteY10670" fmla="*/ 2256188 h 3355086"/>
                <a:gd name="connsiteX10671" fmla="*/ 3249358 w 3359086"/>
                <a:gd name="connsiteY10671" fmla="*/ 2252092 h 3355086"/>
                <a:gd name="connsiteX10672" fmla="*/ 3253454 w 3359086"/>
                <a:gd name="connsiteY10672" fmla="*/ 2247996 h 3355086"/>
                <a:gd name="connsiteX10673" fmla="*/ 269176 w 3359086"/>
                <a:gd name="connsiteY10673" fmla="*/ 2247900 h 3355086"/>
                <a:gd name="connsiteX10674" fmla="*/ 275367 w 3359086"/>
                <a:gd name="connsiteY10674" fmla="*/ 2254091 h 3355086"/>
                <a:gd name="connsiteX10675" fmla="*/ 269176 w 3359086"/>
                <a:gd name="connsiteY10675" fmla="*/ 2260282 h 3355086"/>
                <a:gd name="connsiteX10676" fmla="*/ 262985 w 3359086"/>
                <a:gd name="connsiteY10676" fmla="*/ 2254091 h 3355086"/>
                <a:gd name="connsiteX10677" fmla="*/ 269176 w 3359086"/>
                <a:gd name="connsiteY10677" fmla="*/ 2247900 h 3355086"/>
                <a:gd name="connsiteX10678" fmla="*/ 3228689 w 3359086"/>
                <a:gd name="connsiteY10678" fmla="*/ 2247805 h 3355086"/>
                <a:gd name="connsiteX10679" fmla="*/ 3234880 w 3359086"/>
                <a:gd name="connsiteY10679" fmla="*/ 2253996 h 3355086"/>
                <a:gd name="connsiteX10680" fmla="*/ 3228689 w 3359086"/>
                <a:gd name="connsiteY10680" fmla="*/ 2260188 h 3355086"/>
                <a:gd name="connsiteX10681" fmla="*/ 3222498 w 3359086"/>
                <a:gd name="connsiteY10681" fmla="*/ 2253996 h 3355086"/>
                <a:gd name="connsiteX10682" fmla="*/ 3228689 w 3359086"/>
                <a:gd name="connsiteY10682" fmla="*/ 2247805 h 3355086"/>
                <a:gd name="connsiteX10683" fmla="*/ 3166871 w 3359086"/>
                <a:gd name="connsiteY10683" fmla="*/ 2247805 h 3355086"/>
                <a:gd name="connsiteX10684" fmla="*/ 3173063 w 3359086"/>
                <a:gd name="connsiteY10684" fmla="*/ 2253996 h 3355086"/>
                <a:gd name="connsiteX10685" fmla="*/ 3166871 w 3359086"/>
                <a:gd name="connsiteY10685" fmla="*/ 2260188 h 3355086"/>
                <a:gd name="connsiteX10686" fmla="*/ 3160680 w 3359086"/>
                <a:gd name="connsiteY10686" fmla="*/ 2253996 h 3355086"/>
                <a:gd name="connsiteX10687" fmla="*/ 3166871 w 3359086"/>
                <a:gd name="connsiteY10687" fmla="*/ 2247805 h 3355086"/>
                <a:gd name="connsiteX10688" fmla="*/ 145446 w 3359086"/>
                <a:gd name="connsiteY10688" fmla="*/ 2247519 h 3355086"/>
                <a:gd name="connsiteX10689" fmla="*/ 151638 w 3359086"/>
                <a:gd name="connsiteY10689" fmla="*/ 2253710 h 3355086"/>
                <a:gd name="connsiteX10690" fmla="*/ 145446 w 3359086"/>
                <a:gd name="connsiteY10690" fmla="*/ 2259902 h 3355086"/>
                <a:gd name="connsiteX10691" fmla="*/ 139255 w 3359086"/>
                <a:gd name="connsiteY10691" fmla="*/ 2253710 h 3355086"/>
                <a:gd name="connsiteX10692" fmla="*/ 145446 w 3359086"/>
                <a:gd name="connsiteY10692" fmla="*/ 2247519 h 3355086"/>
                <a:gd name="connsiteX10693" fmla="*/ 199834 w 3359086"/>
                <a:gd name="connsiteY10693" fmla="*/ 2246186 h 3355086"/>
                <a:gd name="connsiteX10694" fmla="*/ 206025 w 3359086"/>
                <a:gd name="connsiteY10694" fmla="*/ 2252377 h 3355086"/>
                <a:gd name="connsiteX10695" fmla="*/ 199834 w 3359086"/>
                <a:gd name="connsiteY10695" fmla="*/ 2258569 h 3355086"/>
                <a:gd name="connsiteX10696" fmla="*/ 193643 w 3359086"/>
                <a:gd name="connsiteY10696" fmla="*/ 2252377 h 3355086"/>
                <a:gd name="connsiteX10697" fmla="*/ 199834 w 3359086"/>
                <a:gd name="connsiteY10697" fmla="*/ 2246186 h 3355086"/>
                <a:gd name="connsiteX10698" fmla="*/ 3199542 w 3359086"/>
                <a:gd name="connsiteY10698" fmla="*/ 2244662 h 3355086"/>
                <a:gd name="connsiteX10699" fmla="*/ 3204638 w 3359086"/>
                <a:gd name="connsiteY10699" fmla="*/ 2249758 h 3355086"/>
                <a:gd name="connsiteX10700" fmla="*/ 3204971 w 3359086"/>
                <a:gd name="connsiteY10700" fmla="*/ 2249424 h 3355086"/>
                <a:gd name="connsiteX10701" fmla="*/ 3210401 w 3359086"/>
                <a:gd name="connsiteY10701" fmla="*/ 2254853 h 3355086"/>
                <a:gd name="connsiteX10702" fmla="*/ 3211067 w 3359086"/>
                <a:gd name="connsiteY10702" fmla="*/ 2254187 h 3355086"/>
                <a:gd name="connsiteX10703" fmla="*/ 3217258 w 3359086"/>
                <a:gd name="connsiteY10703" fmla="*/ 2260378 h 3355086"/>
                <a:gd name="connsiteX10704" fmla="*/ 3211067 w 3359086"/>
                <a:gd name="connsiteY10704" fmla="*/ 2266570 h 3355086"/>
                <a:gd name="connsiteX10705" fmla="*/ 3205638 w 3359086"/>
                <a:gd name="connsiteY10705" fmla="*/ 2261140 h 3355086"/>
                <a:gd name="connsiteX10706" fmla="*/ 3204971 w 3359086"/>
                <a:gd name="connsiteY10706" fmla="*/ 2261807 h 3355086"/>
                <a:gd name="connsiteX10707" fmla="*/ 3199876 w 3359086"/>
                <a:gd name="connsiteY10707" fmla="*/ 2256711 h 3355086"/>
                <a:gd name="connsiteX10708" fmla="*/ 3199542 w 3359086"/>
                <a:gd name="connsiteY10708" fmla="*/ 2257045 h 3355086"/>
                <a:gd name="connsiteX10709" fmla="*/ 3193351 w 3359086"/>
                <a:gd name="connsiteY10709" fmla="*/ 2250853 h 3355086"/>
                <a:gd name="connsiteX10710" fmla="*/ 3199542 w 3359086"/>
                <a:gd name="connsiteY10710" fmla="*/ 2244662 h 3355086"/>
                <a:gd name="connsiteX10711" fmla="*/ 2204656 w 3359086"/>
                <a:gd name="connsiteY10711" fmla="*/ 2244471 h 3355086"/>
                <a:gd name="connsiteX10712" fmla="*/ 2210848 w 3359086"/>
                <a:gd name="connsiteY10712" fmla="*/ 2250662 h 3355086"/>
                <a:gd name="connsiteX10713" fmla="*/ 2204656 w 3359086"/>
                <a:gd name="connsiteY10713" fmla="*/ 2256853 h 3355086"/>
                <a:gd name="connsiteX10714" fmla="*/ 2198465 w 3359086"/>
                <a:gd name="connsiteY10714" fmla="*/ 2250662 h 3355086"/>
                <a:gd name="connsiteX10715" fmla="*/ 2204656 w 3359086"/>
                <a:gd name="connsiteY10715" fmla="*/ 2244471 h 3355086"/>
                <a:gd name="connsiteX10716" fmla="*/ 611219 w 3359086"/>
                <a:gd name="connsiteY10716" fmla="*/ 2242090 h 3355086"/>
                <a:gd name="connsiteX10717" fmla="*/ 617410 w 3359086"/>
                <a:gd name="connsiteY10717" fmla="*/ 2248281 h 3355086"/>
                <a:gd name="connsiteX10718" fmla="*/ 611219 w 3359086"/>
                <a:gd name="connsiteY10718" fmla="*/ 2254472 h 3355086"/>
                <a:gd name="connsiteX10719" fmla="*/ 605028 w 3359086"/>
                <a:gd name="connsiteY10719" fmla="*/ 2248281 h 3355086"/>
                <a:gd name="connsiteX10720" fmla="*/ 611219 w 3359086"/>
                <a:gd name="connsiteY10720" fmla="*/ 2242090 h 3355086"/>
                <a:gd name="connsiteX10721" fmla="*/ 379475 w 3359086"/>
                <a:gd name="connsiteY10721" fmla="*/ 2241614 h 3355086"/>
                <a:gd name="connsiteX10722" fmla="*/ 385667 w 3359086"/>
                <a:gd name="connsiteY10722" fmla="*/ 2247805 h 3355086"/>
                <a:gd name="connsiteX10723" fmla="*/ 379475 w 3359086"/>
                <a:gd name="connsiteY10723" fmla="*/ 2253997 h 3355086"/>
                <a:gd name="connsiteX10724" fmla="*/ 373284 w 3359086"/>
                <a:gd name="connsiteY10724" fmla="*/ 2247805 h 3355086"/>
                <a:gd name="connsiteX10725" fmla="*/ 379475 w 3359086"/>
                <a:gd name="connsiteY10725" fmla="*/ 2241614 h 3355086"/>
                <a:gd name="connsiteX10726" fmla="*/ 158686 w 3359086"/>
                <a:gd name="connsiteY10726" fmla="*/ 2239613 h 3355086"/>
                <a:gd name="connsiteX10727" fmla="*/ 164877 w 3359086"/>
                <a:gd name="connsiteY10727" fmla="*/ 2245804 h 3355086"/>
                <a:gd name="connsiteX10728" fmla="*/ 158686 w 3359086"/>
                <a:gd name="connsiteY10728" fmla="*/ 2251996 h 3355086"/>
                <a:gd name="connsiteX10729" fmla="*/ 152495 w 3359086"/>
                <a:gd name="connsiteY10729" fmla="*/ 2245804 h 3355086"/>
                <a:gd name="connsiteX10730" fmla="*/ 158686 w 3359086"/>
                <a:gd name="connsiteY10730" fmla="*/ 2239613 h 3355086"/>
                <a:gd name="connsiteX10731" fmla="*/ 3192303 w 3359086"/>
                <a:gd name="connsiteY10731" fmla="*/ 2238661 h 3355086"/>
                <a:gd name="connsiteX10732" fmla="*/ 3198494 w 3359086"/>
                <a:gd name="connsiteY10732" fmla="*/ 2244852 h 3355086"/>
                <a:gd name="connsiteX10733" fmla="*/ 3192303 w 3359086"/>
                <a:gd name="connsiteY10733" fmla="*/ 2251044 h 3355086"/>
                <a:gd name="connsiteX10734" fmla="*/ 3186112 w 3359086"/>
                <a:gd name="connsiteY10734" fmla="*/ 2244852 h 3355086"/>
                <a:gd name="connsiteX10735" fmla="*/ 3192303 w 3359086"/>
                <a:gd name="connsiteY10735" fmla="*/ 2238661 h 3355086"/>
                <a:gd name="connsiteX10736" fmla="*/ 3078860 w 3359086"/>
                <a:gd name="connsiteY10736" fmla="*/ 2237708 h 3355086"/>
                <a:gd name="connsiteX10737" fmla="*/ 3085052 w 3359086"/>
                <a:gd name="connsiteY10737" fmla="*/ 2243899 h 3355086"/>
                <a:gd name="connsiteX10738" fmla="*/ 3078860 w 3359086"/>
                <a:gd name="connsiteY10738" fmla="*/ 2250091 h 3355086"/>
                <a:gd name="connsiteX10739" fmla="*/ 3072669 w 3359086"/>
                <a:gd name="connsiteY10739" fmla="*/ 2243899 h 3355086"/>
                <a:gd name="connsiteX10740" fmla="*/ 3078860 w 3359086"/>
                <a:gd name="connsiteY10740" fmla="*/ 2237708 h 3355086"/>
                <a:gd name="connsiteX10741" fmla="*/ 128777 w 3359086"/>
                <a:gd name="connsiteY10741" fmla="*/ 2237518 h 3355086"/>
                <a:gd name="connsiteX10742" fmla="*/ 134969 w 3359086"/>
                <a:gd name="connsiteY10742" fmla="*/ 2243709 h 3355086"/>
                <a:gd name="connsiteX10743" fmla="*/ 129682 w 3359086"/>
                <a:gd name="connsiteY10743" fmla="*/ 2248996 h 3355086"/>
                <a:gd name="connsiteX10744" fmla="*/ 129730 w 3359086"/>
                <a:gd name="connsiteY10744" fmla="*/ 2249043 h 3355086"/>
                <a:gd name="connsiteX10745" fmla="*/ 123538 w 3359086"/>
                <a:gd name="connsiteY10745" fmla="*/ 2255234 h 3355086"/>
                <a:gd name="connsiteX10746" fmla="*/ 123015 w 3359086"/>
                <a:gd name="connsiteY10746" fmla="*/ 2254711 h 3355086"/>
                <a:gd name="connsiteX10747" fmla="*/ 117252 w 3359086"/>
                <a:gd name="connsiteY10747" fmla="*/ 2260474 h 3355086"/>
                <a:gd name="connsiteX10748" fmla="*/ 111061 w 3359086"/>
                <a:gd name="connsiteY10748" fmla="*/ 2254282 h 3355086"/>
                <a:gd name="connsiteX10749" fmla="*/ 117252 w 3359086"/>
                <a:gd name="connsiteY10749" fmla="*/ 2248091 h 3355086"/>
                <a:gd name="connsiteX10750" fmla="*/ 117775 w 3359086"/>
                <a:gd name="connsiteY10750" fmla="*/ 2248615 h 3355086"/>
                <a:gd name="connsiteX10751" fmla="*/ 122633 w 3359086"/>
                <a:gd name="connsiteY10751" fmla="*/ 2243757 h 3355086"/>
                <a:gd name="connsiteX10752" fmla="*/ 122586 w 3359086"/>
                <a:gd name="connsiteY10752" fmla="*/ 2243709 h 3355086"/>
                <a:gd name="connsiteX10753" fmla="*/ 128777 w 3359086"/>
                <a:gd name="connsiteY10753" fmla="*/ 2237518 h 3355086"/>
                <a:gd name="connsiteX10754" fmla="*/ 1076134 w 3359086"/>
                <a:gd name="connsiteY10754" fmla="*/ 2237423 h 3355086"/>
                <a:gd name="connsiteX10755" fmla="*/ 1082325 w 3359086"/>
                <a:gd name="connsiteY10755" fmla="*/ 2243614 h 3355086"/>
                <a:gd name="connsiteX10756" fmla="*/ 1076134 w 3359086"/>
                <a:gd name="connsiteY10756" fmla="*/ 2249806 h 3355086"/>
                <a:gd name="connsiteX10757" fmla="*/ 1069943 w 3359086"/>
                <a:gd name="connsiteY10757" fmla="*/ 2243614 h 3355086"/>
                <a:gd name="connsiteX10758" fmla="*/ 1076134 w 3359086"/>
                <a:gd name="connsiteY10758" fmla="*/ 2237423 h 3355086"/>
                <a:gd name="connsiteX10759" fmla="*/ 3238023 w 3359086"/>
                <a:gd name="connsiteY10759" fmla="*/ 2236756 h 3355086"/>
                <a:gd name="connsiteX10760" fmla="*/ 3244215 w 3359086"/>
                <a:gd name="connsiteY10760" fmla="*/ 2242947 h 3355086"/>
                <a:gd name="connsiteX10761" fmla="*/ 3238023 w 3359086"/>
                <a:gd name="connsiteY10761" fmla="*/ 2249138 h 3355086"/>
                <a:gd name="connsiteX10762" fmla="*/ 3231832 w 3359086"/>
                <a:gd name="connsiteY10762" fmla="*/ 2242947 h 3355086"/>
                <a:gd name="connsiteX10763" fmla="*/ 3238023 w 3359086"/>
                <a:gd name="connsiteY10763" fmla="*/ 2236756 h 3355086"/>
                <a:gd name="connsiteX10764" fmla="*/ 3142964 w 3359086"/>
                <a:gd name="connsiteY10764" fmla="*/ 2236375 h 3355086"/>
                <a:gd name="connsiteX10765" fmla="*/ 3149155 w 3359086"/>
                <a:gd name="connsiteY10765" fmla="*/ 2242566 h 3355086"/>
                <a:gd name="connsiteX10766" fmla="*/ 3142964 w 3359086"/>
                <a:gd name="connsiteY10766" fmla="*/ 2248758 h 3355086"/>
                <a:gd name="connsiteX10767" fmla="*/ 3136773 w 3359086"/>
                <a:gd name="connsiteY10767" fmla="*/ 2242566 h 3355086"/>
                <a:gd name="connsiteX10768" fmla="*/ 3142964 w 3359086"/>
                <a:gd name="connsiteY10768" fmla="*/ 2236375 h 3355086"/>
                <a:gd name="connsiteX10769" fmla="*/ 109156 w 3359086"/>
                <a:gd name="connsiteY10769" fmla="*/ 2235422 h 3355086"/>
                <a:gd name="connsiteX10770" fmla="*/ 115347 w 3359086"/>
                <a:gd name="connsiteY10770" fmla="*/ 2241613 h 3355086"/>
                <a:gd name="connsiteX10771" fmla="*/ 109156 w 3359086"/>
                <a:gd name="connsiteY10771" fmla="*/ 2247805 h 3355086"/>
                <a:gd name="connsiteX10772" fmla="*/ 102965 w 3359086"/>
                <a:gd name="connsiteY10772" fmla="*/ 2241613 h 3355086"/>
                <a:gd name="connsiteX10773" fmla="*/ 109156 w 3359086"/>
                <a:gd name="connsiteY10773" fmla="*/ 2235422 h 3355086"/>
                <a:gd name="connsiteX10774" fmla="*/ 2756820 w 3359086"/>
                <a:gd name="connsiteY10774" fmla="*/ 2231994 h 3355086"/>
                <a:gd name="connsiteX10775" fmla="*/ 2763011 w 3359086"/>
                <a:gd name="connsiteY10775" fmla="*/ 2238185 h 3355086"/>
                <a:gd name="connsiteX10776" fmla="*/ 2756820 w 3359086"/>
                <a:gd name="connsiteY10776" fmla="*/ 2244376 h 3355086"/>
                <a:gd name="connsiteX10777" fmla="*/ 2750629 w 3359086"/>
                <a:gd name="connsiteY10777" fmla="*/ 2238185 h 3355086"/>
                <a:gd name="connsiteX10778" fmla="*/ 2756820 w 3359086"/>
                <a:gd name="connsiteY10778" fmla="*/ 2231994 h 3355086"/>
                <a:gd name="connsiteX10779" fmla="*/ 2975705 w 3359086"/>
                <a:gd name="connsiteY10779" fmla="*/ 2231422 h 3355086"/>
                <a:gd name="connsiteX10780" fmla="*/ 2981896 w 3359086"/>
                <a:gd name="connsiteY10780" fmla="*/ 2237613 h 3355086"/>
                <a:gd name="connsiteX10781" fmla="*/ 2975705 w 3359086"/>
                <a:gd name="connsiteY10781" fmla="*/ 2243805 h 3355086"/>
                <a:gd name="connsiteX10782" fmla="*/ 2969514 w 3359086"/>
                <a:gd name="connsiteY10782" fmla="*/ 2237613 h 3355086"/>
                <a:gd name="connsiteX10783" fmla="*/ 2975705 w 3359086"/>
                <a:gd name="connsiteY10783" fmla="*/ 2231422 h 3355086"/>
                <a:gd name="connsiteX10784" fmla="*/ 135254 w 3359086"/>
                <a:gd name="connsiteY10784" fmla="*/ 2231136 h 3355086"/>
                <a:gd name="connsiteX10785" fmla="*/ 141446 w 3359086"/>
                <a:gd name="connsiteY10785" fmla="*/ 2237327 h 3355086"/>
                <a:gd name="connsiteX10786" fmla="*/ 135254 w 3359086"/>
                <a:gd name="connsiteY10786" fmla="*/ 2243519 h 3355086"/>
                <a:gd name="connsiteX10787" fmla="*/ 129063 w 3359086"/>
                <a:gd name="connsiteY10787" fmla="*/ 2237327 h 3355086"/>
                <a:gd name="connsiteX10788" fmla="*/ 135254 w 3359086"/>
                <a:gd name="connsiteY10788" fmla="*/ 2231136 h 3355086"/>
                <a:gd name="connsiteX10789" fmla="*/ 3180587 w 3359086"/>
                <a:gd name="connsiteY10789" fmla="*/ 2230374 h 3355086"/>
                <a:gd name="connsiteX10790" fmla="*/ 3186779 w 3359086"/>
                <a:gd name="connsiteY10790" fmla="*/ 2236565 h 3355086"/>
                <a:gd name="connsiteX10791" fmla="*/ 3180587 w 3359086"/>
                <a:gd name="connsiteY10791" fmla="*/ 2242757 h 3355086"/>
                <a:gd name="connsiteX10792" fmla="*/ 3174396 w 3359086"/>
                <a:gd name="connsiteY10792" fmla="*/ 2236565 h 3355086"/>
                <a:gd name="connsiteX10793" fmla="*/ 3180587 w 3359086"/>
                <a:gd name="connsiteY10793" fmla="*/ 2230374 h 3355086"/>
                <a:gd name="connsiteX10794" fmla="*/ 3207733 w 3359086"/>
                <a:gd name="connsiteY10794" fmla="*/ 2229517 h 3355086"/>
                <a:gd name="connsiteX10795" fmla="*/ 3213925 w 3359086"/>
                <a:gd name="connsiteY10795" fmla="*/ 2235708 h 3355086"/>
                <a:gd name="connsiteX10796" fmla="*/ 3213544 w 3359086"/>
                <a:gd name="connsiteY10796" fmla="*/ 2236089 h 3355086"/>
                <a:gd name="connsiteX10797" fmla="*/ 3218974 w 3359086"/>
                <a:gd name="connsiteY10797" fmla="*/ 2241518 h 3355086"/>
                <a:gd name="connsiteX10798" fmla="*/ 3219259 w 3359086"/>
                <a:gd name="connsiteY10798" fmla="*/ 2241233 h 3355086"/>
                <a:gd name="connsiteX10799" fmla="*/ 3225451 w 3359086"/>
                <a:gd name="connsiteY10799" fmla="*/ 2247424 h 3355086"/>
                <a:gd name="connsiteX10800" fmla="*/ 3219259 w 3359086"/>
                <a:gd name="connsiteY10800" fmla="*/ 2253616 h 3355086"/>
                <a:gd name="connsiteX10801" fmla="*/ 3213068 w 3359086"/>
                <a:gd name="connsiteY10801" fmla="*/ 2247424 h 3355086"/>
                <a:gd name="connsiteX10802" fmla="*/ 3212782 w 3359086"/>
                <a:gd name="connsiteY10802" fmla="*/ 2247710 h 3355086"/>
                <a:gd name="connsiteX10803" fmla="*/ 3206591 w 3359086"/>
                <a:gd name="connsiteY10803" fmla="*/ 2241518 h 3355086"/>
                <a:gd name="connsiteX10804" fmla="*/ 3206971 w 3359086"/>
                <a:gd name="connsiteY10804" fmla="*/ 2241138 h 3355086"/>
                <a:gd name="connsiteX10805" fmla="*/ 3201542 w 3359086"/>
                <a:gd name="connsiteY10805" fmla="*/ 2235708 h 3355086"/>
                <a:gd name="connsiteX10806" fmla="*/ 3207733 w 3359086"/>
                <a:gd name="connsiteY10806" fmla="*/ 2229517 h 3355086"/>
                <a:gd name="connsiteX10807" fmla="*/ 2313050 w 3359086"/>
                <a:gd name="connsiteY10807" fmla="*/ 2229041 h 3355086"/>
                <a:gd name="connsiteX10808" fmla="*/ 2319242 w 3359086"/>
                <a:gd name="connsiteY10808" fmla="*/ 2235232 h 3355086"/>
                <a:gd name="connsiteX10809" fmla="*/ 2313050 w 3359086"/>
                <a:gd name="connsiteY10809" fmla="*/ 2241424 h 3355086"/>
                <a:gd name="connsiteX10810" fmla="*/ 2306859 w 3359086"/>
                <a:gd name="connsiteY10810" fmla="*/ 2235232 h 3355086"/>
                <a:gd name="connsiteX10811" fmla="*/ 2313050 w 3359086"/>
                <a:gd name="connsiteY10811" fmla="*/ 2229041 h 3355086"/>
                <a:gd name="connsiteX10812" fmla="*/ 240410 w 3359086"/>
                <a:gd name="connsiteY10812" fmla="*/ 2229041 h 3355086"/>
                <a:gd name="connsiteX10813" fmla="*/ 246601 w 3359086"/>
                <a:gd name="connsiteY10813" fmla="*/ 2235232 h 3355086"/>
                <a:gd name="connsiteX10814" fmla="*/ 240410 w 3359086"/>
                <a:gd name="connsiteY10814" fmla="*/ 2241424 h 3355086"/>
                <a:gd name="connsiteX10815" fmla="*/ 234219 w 3359086"/>
                <a:gd name="connsiteY10815" fmla="*/ 2235232 h 3355086"/>
                <a:gd name="connsiteX10816" fmla="*/ 240410 w 3359086"/>
                <a:gd name="connsiteY10816" fmla="*/ 2229041 h 3355086"/>
                <a:gd name="connsiteX10817" fmla="*/ 3227355 w 3359086"/>
                <a:gd name="connsiteY10817" fmla="*/ 2228946 h 3355086"/>
                <a:gd name="connsiteX10818" fmla="*/ 3233547 w 3359086"/>
                <a:gd name="connsiteY10818" fmla="*/ 2235137 h 3355086"/>
                <a:gd name="connsiteX10819" fmla="*/ 3227355 w 3359086"/>
                <a:gd name="connsiteY10819" fmla="*/ 2241329 h 3355086"/>
                <a:gd name="connsiteX10820" fmla="*/ 3221164 w 3359086"/>
                <a:gd name="connsiteY10820" fmla="*/ 2235137 h 3355086"/>
                <a:gd name="connsiteX10821" fmla="*/ 3227355 w 3359086"/>
                <a:gd name="connsiteY10821" fmla="*/ 2228946 h 3355086"/>
                <a:gd name="connsiteX10822" fmla="*/ 180593 w 3359086"/>
                <a:gd name="connsiteY10822" fmla="*/ 2227993 h 3355086"/>
                <a:gd name="connsiteX10823" fmla="*/ 186785 w 3359086"/>
                <a:gd name="connsiteY10823" fmla="*/ 2234184 h 3355086"/>
                <a:gd name="connsiteX10824" fmla="*/ 180593 w 3359086"/>
                <a:gd name="connsiteY10824" fmla="*/ 2240376 h 3355086"/>
                <a:gd name="connsiteX10825" fmla="*/ 174402 w 3359086"/>
                <a:gd name="connsiteY10825" fmla="*/ 2234184 h 3355086"/>
                <a:gd name="connsiteX10826" fmla="*/ 180593 w 3359086"/>
                <a:gd name="connsiteY10826" fmla="*/ 2227993 h 3355086"/>
                <a:gd name="connsiteX10827" fmla="*/ 3247548 w 3359086"/>
                <a:gd name="connsiteY10827" fmla="*/ 2226374 h 3355086"/>
                <a:gd name="connsiteX10828" fmla="*/ 3253740 w 3359086"/>
                <a:gd name="connsiteY10828" fmla="*/ 2232565 h 3355086"/>
                <a:gd name="connsiteX10829" fmla="*/ 3247548 w 3359086"/>
                <a:gd name="connsiteY10829" fmla="*/ 2238757 h 3355086"/>
                <a:gd name="connsiteX10830" fmla="*/ 3241357 w 3359086"/>
                <a:gd name="connsiteY10830" fmla="*/ 2232565 h 3355086"/>
                <a:gd name="connsiteX10831" fmla="*/ 3247548 w 3359086"/>
                <a:gd name="connsiteY10831" fmla="*/ 2226374 h 3355086"/>
                <a:gd name="connsiteX10832" fmla="*/ 100964 w 3359086"/>
                <a:gd name="connsiteY10832" fmla="*/ 2223516 h 3355086"/>
                <a:gd name="connsiteX10833" fmla="*/ 107156 w 3359086"/>
                <a:gd name="connsiteY10833" fmla="*/ 2229707 h 3355086"/>
                <a:gd name="connsiteX10834" fmla="*/ 100964 w 3359086"/>
                <a:gd name="connsiteY10834" fmla="*/ 2235899 h 3355086"/>
                <a:gd name="connsiteX10835" fmla="*/ 94773 w 3359086"/>
                <a:gd name="connsiteY10835" fmla="*/ 2229707 h 3355086"/>
                <a:gd name="connsiteX10836" fmla="*/ 100964 w 3359086"/>
                <a:gd name="connsiteY10836" fmla="*/ 2223516 h 3355086"/>
                <a:gd name="connsiteX10837" fmla="*/ 545782 w 3359086"/>
                <a:gd name="connsiteY10837" fmla="*/ 2223421 h 3355086"/>
                <a:gd name="connsiteX10838" fmla="*/ 551973 w 3359086"/>
                <a:gd name="connsiteY10838" fmla="*/ 2229612 h 3355086"/>
                <a:gd name="connsiteX10839" fmla="*/ 545782 w 3359086"/>
                <a:gd name="connsiteY10839" fmla="*/ 2235804 h 3355086"/>
                <a:gd name="connsiteX10840" fmla="*/ 539591 w 3359086"/>
                <a:gd name="connsiteY10840" fmla="*/ 2229612 h 3355086"/>
                <a:gd name="connsiteX10841" fmla="*/ 545782 w 3359086"/>
                <a:gd name="connsiteY10841" fmla="*/ 2223421 h 3355086"/>
                <a:gd name="connsiteX10842" fmla="*/ 3201923 w 3359086"/>
                <a:gd name="connsiteY10842" fmla="*/ 2222659 h 3355086"/>
                <a:gd name="connsiteX10843" fmla="*/ 3208114 w 3359086"/>
                <a:gd name="connsiteY10843" fmla="*/ 2228850 h 3355086"/>
                <a:gd name="connsiteX10844" fmla="*/ 3201923 w 3359086"/>
                <a:gd name="connsiteY10844" fmla="*/ 2235042 h 3355086"/>
                <a:gd name="connsiteX10845" fmla="*/ 3195732 w 3359086"/>
                <a:gd name="connsiteY10845" fmla="*/ 2228850 h 3355086"/>
                <a:gd name="connsiteX10846" fmla="*/ 3201923 w 3359086"/>
                <a:gd name="connsiteY10846" fmla="*/ 2222659 h 3355086"/>
                <a:gd name="connsiteX10847" fmla="*/ 337565 w 3359086"/>
                <a:gd name="connsiteY10847" fmla="*/ 2222659 h 3355086"/>
                <a:gd name="connsiteX10848" fmla="*/ 343756 w 3359086"/>
                <a:gd name="connsiteY10848" fmla="*/ 2228850 h 3355086"/>
                <a:gd name="connsiteX10849" fmla="*/ 337565 w 3359086"/>
                <a:gd name="connsiteY10849" fmla="*/ 2235042 h 3355086"/>
                <a:gd name="connsiteX10850" fmla="*/ 331374 w 3359086"/>
                <a:gd name="connsiteY10850" fmla="*/ 2228850 h 3355086"/>
                <a:gd name="connsiteX10851" fmla="*/ 337565 w 3359086"/>
                <a:gd name="connsiteY10851" fmla="*/ 2222659 h 3355086"/>
                <a:gd name="connsiteX10852" fmla="*/ 120776 w 3359086"/>
                <a:gd name="connsiteY10852" fmla="*/ 2222659 h 3355086"/>
                <a:gd name="connsiteX10853" fmla="*/ 126968 w 3359086"/>
                <a:gd name="connsiteY10853" fmla="*/ 2228850 h 3355086"/>
                <a:gd name="connsiteX10854" fmla="*/ 121300 w 3359086"/>
                <a:gd name="connsiteY10854" fmla="*/ 2234518 h 3355086"/>
                <a:gd name="connsiteX10855" fmla="*/ 122015 w 3359086"/>
                <a:gd name="connsiteY10855" fmla="*/ 2235232 h 3355086"/>
                <a:gd name="connsiteX10856" fmla="*/ 115823 w 3359086"/>
                <a:gd name="connsiteY10856" fmla="*/ 2241424 h 3355086"/>
                <a:gd name="connsiteX10857" fmla="*/ 109632 w 3359086"/>
                <a:gd name="connsiteY10857" fmla="*/ 2235232 h 3355086"/>
                <a:gd name="connsiteX10858" fmla="*/ 115299 w 3359086"/>
                <a:gd name="connsiteY10858" fmla="*/ 2229565 h 3355086"/>
                <a:gd name="connsiteX10859" fmla="*/ 114585 w 3359086"/>
                <a:gd name="connsiteY10859" fmla="*/ 2228850 h 3355086"/>
                <a:gd name="connsiteX10860" fmla="*/ 120776 w 3359086"/>
                <a:gd name="connsiteY10860" fmla="*/ 2222659 h 3355086"/>
                <a:gd name="connsiteX10861" fmla="*/ 145827 w 3359086"/>
                <a:gd name="connsiteY10861" fmla="*/ 2222564 h 3355086"/>
                <a:gd name="connsiteX10862" fmla="*/ 152019 w 3359086"/>
                <a:gd name="connsiteY10862" fmla="*/ 2228755 h 3355086"/>
                <a:gd name="connsiteX10863" fmla="*/ 145827 w 3359086"/>
                <a:gd name="connsiteY10863" fmla="*/ 2234947 h 3355086"/>
                <a:gd name="connsiteX10864" fmla="*/ 139636 w 3359086"/>
                <a:gd name="connsiteY10864" fmla="*/ 2228755 h 3355086"/>
                <a:gd name="connsiteX10865" fmla="*/ 145827 w 3359086"/>
                <a:gd name="connsiteY10865" fmla="*/ 2222564 h 3355086"/>
                <a:gd name="connsiteX10866" fmla="*/ 971359 w 3359086"/>
                <a:gd name="connsiteY10866" fmla="*/ 2221611 h 3355086"/>
                <a:gd name="connsiteX10867" fmla="*/ 977550 w 3359086"/>
                <a:gd name="connsiteY10867" fmla="*/ 2227802 h 3355086"/>
                <a:gd name="connsiteX10868" fmla="*/ 971359 w 3359086"/>
                <a:gd name="connsiteY10868" fmla="*/ 2233994 h 3355086"/>
                <a:gd name="connsiteX10869" fmla="*/ 965168 w 3359086"/>
                <a:gd name="connsiteY10869" fmla="*/ 2227802 h 3355086"/>
                <a:gd name="connsiteX10870" fmla="*/ 971359 w 3359086"/>
                <a:gd name="connsiteY10870" fmla="*/ 2221611 h 3355086"/>
                <a:gd name="connsiteX10871" fmla="*/ 3105816 w 3359086"/>
                <a:gd name="connsiteY10871" fmla="*/ 2219230 h 3355086"/>
                <a:gd name="connsiteX10872" fmla="*/ 3112007 w 3359086"/>
                <a:gd name="connsiteY10872" fmla="*/ 2225421 h 3355086"/>
                <a:gd name="connsiteX10873" fmla="*/ 3105816 w 3359086"/>
                <a:gd name="connsiteY10873" fmla="*/ 2231613 h 3355086"/>
                <a:gd name="connsiteX10874" fmla="*/ 3099625 w 3359086"/>
                <a:gd name="connsiteY10874" fmla="*/ 2225421 h 3355086"/>
                <a:gd name="connsiteX10875" fmla="*/ 3105816 w 3359086"/>
                <a:gd name="connsiteY10875" fmla="*/ 2219230 h 3355086"/>
                <a:gd name="connsiteX10876" fmla="*/ 3160966 w 3359086"/>
                <a:gd name="connsiteY10876" fmla="*/ 2218563 h 3355086"/>
                <a:gd name="connsiteX10877" fmla="*/ 3167158 w 3359086"/>
                <a:gd name="connsiteY10877" fmla="*/ 2224754 h 3355086"/>
                <a:gd name="connsiteX10878" fmla="*/ 3160966 w 3359086"/>
                <a:gd name="connsiteY10878" fmla="*/ 2230946 h 3355086"/>
                <a:gd name="connsiteX10879" fmla="*/ 3154775 w 3359086"/>
                <a:gd name="connsiteY10879" fmla="*/ 2224754 h 3355086"/>
                <a:gd name="connsiteX10880" fmla="*/ 3160966 w 3359086"/>
                <a:gd name="connsiteY10880" fmla="*/ 2218563 h 3355086"/>
                <a:gd name="connsiteX10881" fmla="*/ 3235642 w 3359086"/>
                <a:gd name="connsiteY10881" fmla="*/ 2217420 h 3355086"/>
                <a:gd name="connsiteX10882" fmla="*/ 3241834 w 3359086"/>
                <a:gd name="connsiteY10882" fmla="*/ 2223611 h 3355086"/>
                <a:gd name="connsiteX10883" fmla="*/ 3235642 w 3359086"/>
                <a:gd name="connsiteY10883" fmla="*/ 2229803 h 3355086"/>
                <a:gd name="connsiteX10884" fmla="*/ 3229451 w 3359086"/>
                <a:gd name="connsiteY10884" fmla="*/ 2223611 h 3355086"/>
                <a:gd name="connsiteX10885" fmla="*/ 3235642 w 3359086"/>
                <a:gd name="connsiteY10885" fmla="*/ 2217420 h 3355086"/>
                <a:gd name="connsiteX10886" fmla="*/ 3257549 w 3359086"/>
                <a:gd name="connsiteY10886" fmla="*/ 2216658 h 3355086"/>
                <a:gd name="connsiteX10887" fmla="*/ 3263740 w 3359086"/>
                <a:gd name="connsiteY10887" fmla="*/ 2222849 h 3355086"/>
                <a:gd name="connsiteX10888" fmla="*/ 3257549 w 3359086"/>
                <a:gd name="connsiteY10888" fmla="*/ 2229040 h 3355086"/>
                <a:gd name="connsiteX10889" fmla="*/ 3251358 w 3359086"/>
                <a:gd name="connsiteY10889" fmla="*/ 2222849 h 3355086"/>
                <a:gd name="connsiteX10890" fmla="*/ 3257549 w 3359086"/>
                <a:gd name="connsiteY10890" fmla="*/ 2216658 h 3355086"/>
                <a:gd name="connsiteX10891" fmla="*/ 92583 w 3359086"/>
                <a:gd name="connsiteY10891" fmla="*/ 2216277 h 3355086"/>
                <a:gd name="connsiteX10892" fmla="*/ 94678 w 3359086"/>
                <a:gd name="connsiteY10892" fmla="*/ 2218373 h 3355086"/>
                <a:gd name="connsiteX10893" fmla="*/ 92583 w 3359086"/>
                <a:gd name="connsiteY10893" fmla="*/ 2220468 h 3355086"/>
                <a:gd name="connsiteX10894" fmla="*/ 90487 w 3359086"/>
                <a:gd name="connsiteY10894" fmla="*/ 2218373 h 3355086"/>
                <a:gd name="connsiteX10895" fmla="*/ 92583 w 3359086"/>
                <a:gd name="connsiteY10895" fmla="*/ 2216277 h 3355086"/>
                <a:gd name="connsiteX10896" fmla="*/ 108299 w 3359086"/>
                <a:gd name="connsiteY10896" fmla="*/ 2215991 h 3355086"/>
                <a:gd name="connsiteX10897" fmla="*/ 114491 w 3359086"/>
                <a:gd name="connsiteY10897" fmla="*/ 2222182 h 3355086"/>
                <a:gd name="connsiteX10898" fmla="*/ 108299 w 3359086"/>
                <a:gd name="connsiteY10898" fmla="*/ 2228374 h 3355086"/>
                <a:gd name="connsiteX10899" fmla="*/ 102108 w 3359086"/>
                <a:gd name="connsiteY10899" fmla="*/ 2222182 h 3355086"/>
                <a:gd name="connsiteX10900" fmla="*/ 108299 w 3359086"/>
                <a:gd name="connsiteY10900" fmla="*/ 2215991 h 3355086"/>
                <a:gd name="connsiteX10901" fmla="*/ 126110 w 3359086"/>
                <a:gd name="connsiteY10901" fmla="*/ 2215420 h 3355086"/>
                <a:gd name="connsiteX10902" fmla="*/ 132302 w 3359086"/>
                <a:gd name="connsiteY10902" fmla="*/ 2221611 h 3355086"/>
                <a:gd name="connsiteX10903" fmla="*/ 126110 w 3359086"/>
                <a:gd name="connsiteY10903" fmla="*/ 2227803 h 3355086"/>
                <a:gd name="connsiteX10904" fmla="*/ 119919 w 3359086"/>
                <a:gd name="connsiteY10904" fmla="*/ 2221611 h 3355086"/>
                <a:gd name="connsiteX10905" fmla="*/ 126110 w 3359086"/>
                <a:gd name="connsiteY10905" fmla="*/ 2215420 h 3355086"/>
                <a:gd name="connsiteX10906" fmla="*/ 3215449 w 3359086"/>
                <a:gd name="connsiteY10906" fmla="*/ 2215039 h 3355086"/>
                <a:gd name="connsiteX10907" fmla="*/ 3221641 w 3359086"/>
                <a:gd name="connsiteY10907" fmla="*/ 2221230 h 3355086"/>
                <a:gd name="connsiteX10908" fmla="*/ 3220640 w 3359086"/>
                <a:gd name="connsiteY10908" fmla="*/ 2222231 h 3355086"/>
                <a:gd name="connsiteX10909" fmla="*/ 3226593 w 3359086"/>
                <a:gd name="connsiteY10909" fmla="*/ 2228183 h 3355086"/>
                <a:gd name="connsiteX10910" fmla="*/ 3220402 w 3359086"/>
                <a:gd name="connsiteY10910" fmla="*/ 2234375 h 3355086"/>
                <a:gd name="connsiteX10911" fmla="*/ 3214211 w 3359086"/>
                <a:gd name="connsiteY10911" fmla="*/ 2228183 h 3355086"/>
                <a:gd name="connsiteX10912" fmla="*/ 3215211 w 3359086"/>
                <a:gd name="connsiteY10912" fmla="*/ 2227184 h 3355086"/>
                <a:gd name="connsiteX10913" fmla="*/ 3209258 w 3359086"/>
                <a:gd name="connsiteY10913" fmla="*/ 2221230 h 3355086"/>
                <a:gd name="connsiteX10914" fmla="*/ 3215449 w 3359086"/>
                <a:gd name="connsiteY10914" fmla="*/ 2215039 h 3355086"/>
                <a:gd name="connsiteX10915" fmla="*/ 3192589 w 3359086"/>
                <a:gd name="connsiteY10915" fmla="*/ 2213706 h 3355086"/>
                <a:gd name="connsiteX10916" fmla="*/ 3198780 w 3359086"/>
                <a:gd name="connsiteY10916" fmla="*/ 2219897 h 3355086"/>
                <a:gd name="connsiteX10917" fmla="*/ 3192589 w 3359086"/>
                <a:gd name="connsiteY10917" fmla="*/ 2226088 h 3355086"/>
                <a:gd name="connsiteX10918" fmla="*/ 3186398 w 3359086"/>
                <a:gd name="connsiteY10918" fmla="*/ 2219897 h 3355086"/>
                <a:gd name="connsiteX10919" fmla="*/ 3192589 w 3359086"/>
                <a:gd name="connsiteY10919" fmla="*/ 2213706 h 3355086"/>
                <a:gd name="connsiteX10920" fmla="*/ 2818923 w 3359086"/>
                <a:gd name="connsiteY10920" fmla="*/ 2213515 h 3355086"/>
                <a:gd name="connsiteX10921" fmla="*/ 2825115 w 3359086"/>
                <a:gd name="connsiteY10921" fmla="*/ 2219706 h 3355086"/>
                <a:gd name="connsiteX10922" fmla="*/ 2818923 w 3359086"/>
                <a:gd name="connsiteY10922" fmla="*/ 2225897 h 3355086"/>
                <a:gd name="connsiteX10923" fmla="*/ 2812732 w 3359086"/>
                <a:gd name="connsiteY10923" fmla="*/ 2219706 h 3355086"/>
                <a:gd name="connsiteX10924" fmla="*/ 2818923 w 3359086"/>
                <a:gd name="connsiteY10924" fmla="*/ 2213515 h 3355086"/>
                <a:gd name="connsiteX10925" fmla="*/ 2413634 w 3359086"/>
                <a:gd name="connsiteY10925" fmla="*/ 2212848 h 3355086"/>
                <a:gd name="connsiteX10926" fmla="*/ 2419826 w 3359086"/>
                <a:gd name="connsiteY10926" fmla="*/ 2219039 h 3355086"/>
                <a:gd name="connsiteX10927" fmla="*/ 2413634 w 3359086"/>
                <a:gd name="connsiteY10927" fmla="*/ 2225231 h 3355086"/>
                <a:gd name="connsiteX10928" fmla="*/ 2407443 w 3359086"/>
                <a:gd name="connsiteY10928" fmla="*/ 2219039 h 3355086"/>
                <a:gd name="connsiteX10929" fmla="*/ 2413634 w 3359086"/>
                <a:gd name="connsiteY10929" fmla="*/ 2212848 h 3355086"/>
                <a:gd name="connsiteX10930" fmla="*/ 3015233 w 3359086"/>
                <a:gd name="connsiteY10930" fmla="*/ 2212753 h 3355086"/>
                <a:gd name="connsiteX10931" fmla="*/ 3021424 w 3359086"/>
                <a:gd name="connsiteY10931" fmla="*/ 2218944 h 3355086"/>
                <a:gd name="connsiteX10932" fmla="*/ 3015233 w 3359086"/>
                <a:gd name="connsiteY10932" fmla="*/ 2225136 h 3355086"/>
                <a:gd name="connsiteX10933" fmla="*/ 3009042 w 3359086"/>
                <a:gd name="connsiteY10933" fmla="*/ 2218944 h 3355086"/>
                <a:gd name="connsiteX10934" fmla="*/ 3015233 w 3359086"/>
                <a:gd name="connsiteY10934" fmla="*/ 2212753 h 3355086"/>
                <a:gd name="connsiteX10935" fmla="*/ 214883 w 3359086"/>
                <a:gd name="connsiteY10935" fmla="*/ 2210848 h 3355086"/>
                <a:gd name="connsiteX10936" fmla="*/ 221074 w 3359086"/>
                <a:gd name="connsiteY10936" fmla="*/ 2217039 h 3355086"/>
                <a:gd name="connsiteX10937" fmla="*/ 214883 w 3359086"/>
                <a:gd name="connsiteY10937" fmla="*/ 2223230 h 3355086"/>
                <a:gd name="connsiteX10938" fmla="*/ 208692 w 3359086"/>
                <a:gd name="connsiteY10938" fmla="*/ 2217039 h 3355086"/>
                <a:gd name="connsiteX10939" fmla="*/ 214883 w 3359086"/>
                <a:gd name="connsiteY10939" fmla="*/ 2210848 h 3355086"/>
                <a:gd name="connsiteX10940" fmla="*/ 3268027 w 3359086"/>
                <a:gd name="connsiteY10940" fmla="*/ 2210467 h 3355086"/>
                <a:gd name="connsiteX10941" fmla="*/ 3271170 w 3359086"/>
                <a:gd name="connsiteY10941" fmla="*/ 2213610 h 3355086"/>
                <a:gd name="connsiteX10942" fmla="*/ 3268027 w 3359086"/>
                <a:gd name="connsiteY10942" fmla="*/ 2216754 h 3355086"/>
                <a:gd name="connsiteX10943" fmla="*/ 3264884 w 3359086"/>
                <a:gd name="connsiteY10943" fmla="*/ 2213610 h 3355086"/>
                <a:gd name="connsiteX10944" fmla="*/ 3268027 w 3359086"/>
                <a:gd name="connsiteY10944" fmla="*/ 2210467 h 3355086"/>
                <a:gd name="connsiteX10945" fmla="*/ 163544 w 3359086"/>
                <a:gd name="connsiteY10945" fmla="*/ 2210467 h 3355086"/>
                <a:gd name="connsiteX10946" fmla="*/ 169735 w 3359086"/>
                <a:gd name="connsiteY10946" fmla="*/ 2216658 h 3355086"/>
                <a:gd name="connsiteX10947" fmla="*/ 163544 w 3359086"/>
                <a:gd name="connsiteY10947" fmla="*/ 2222850 h 3355086"/>
                <a:gd name="connsiteX10948" fmla="*/ 157353 w 3359086"/>
                <a:gd name="connsiteY10948" fmla="*/ 2216658 h 3355086"/>
                <a:gd name="connsiteX10949" fmla="*/ 163544 w 3359086"/>
                <a:gd name="connsiteY10949" fmla="*/ 2210467 h 3355086"/>
                <a:gd name="connsiteX10950" fmla="*/ 3227831 w 3359086"/>
                <a:gd name="connsiteY10950" fmla="*/ 2209324 h 3355086"/>
                <a:gd name="connsiteX10951" fmla="*/ 3234022 w 3359086"/>
                <a:gd name="connsiteY10951" fmla="*/ 2215515 h 3355086"/>
                <a:gd name="connsiteX10952" fmla="*/ 3227831 w 3359086"/>
                <a:gd name="connsiteY10952" fmla="*/ 2221707 h 3355086"/>
                <a:gd name="connsiteX10953" fmla="*/ 3221640 w 3359086"/>
                <a:gd name="connsiteY10953" fmla="*/ 2215515 h 3355086"/>
                <a:gd name="connsiteX10954" fmla="*/ 3227831 w 3359086"/>
                <a:gd name="connsiteY10954" fmla="*/ 2209324 h 3355086"/>
                <a:gd name="connsiteX10955" fmla="*/ 113347 w 3359086"/>
                <a:gd name="connsiteY10955" fmla="*/ 2208562 h 3355086"/>
                <a:gd name="connsiteX10956" fmla="*/ 119539 w 3359086"/>
                <a:gd name="connsiteY10956" fmla="*/ 2214753 h 3355086"/>
                <a:gd name="connsiteX10957" fmla="*/ 113347 w 3359086"/>
                <a:gd name="connsiteY10957" fmla="*/ 2220945 h 3355086"/>
                <a:gd name="connsiteX10958" fmla="*/ 107156 w 3359086"/>
                <a:gd name="connsiteY10958" fmla="*/ 2214753 h 3355086"/>
                <a:gd name="connsiteX10959" fmla="*/ 113347 w 3359086"/>
                <a:gd name="connsiteY10959" fmla="*/ 2208562 h 3355086"/>
                <a:gd name="connsiteX10960" fmla="*/ 3210591 w 3359086"/>
                <a:gd name="connsiteY10960" fmla="*/ 2207324 h 3355086"/>
                <a:gd name="connsiteX10961" fmla="*/ 3216782 w 3359086"/>
                <a:gd name="connsiteY10961" fmla="*/ 2213515 h 3355086"/>
                <a:gd name="connsiteX10962" fmla="*/ 3210591 w 3359086"/>
                <a:gd name="connsiteY10962" fmla="*/ 2219707 h 3355086"/>
                <a:gd name="connsiteX10963" fmla="*/ 3204400 w 3359086"/>
                <a:gd name="connsiteY10963" fmla="*/ 2213515 h 3355086"/>
                <a:gd name="connsiteX10964" fmla="*/ 3210591 w 3359086"/>
                <a:gd name="connsiteY10964" fmla="*/ 2207324 h 3355086"/>
                <a:gd name="connsiteX10965" fmla="*/ 3244119 w 3359086"/>
                <a:gd name="connsiteY10965" fmla="*/ 2206466 h 3355086"/>
                <a:gd name="connsiteX10966" fmla="*/ 3250310 w 3359086"/>
                <a:gd name="connsiteY10966" fmla="*/ 2212657 h 3355086"/>
                <a:gd name="connsiteX10967" fmla="*/ 3244119 w 3359086"/>
                <a:gd name="connsiteY10967" fmla="*/ 2218849 h 3355086"/>
                <a:gd name="connsiteX10968" fmla="*/ 3237928 w 3359086"/>
                <a:gd name="connsiteY10968" fmla="*/ 2212657 h 3355086"/>
                <a:gd name="connsiteX10969" fmla="*/ 3244119 w 3359086"/>
                <a:gd name="connsiteY10969" fmla="*/ 2206466 h 3355086"/>
                <a:gd name="connsiteX10970" fmla="*/ 134397 w 3359086"/>
                <a:gd name="connsiteY10970" fmla="*/ 2206181 h 3355086"/>
                <a:gd name="connsiteX10971" fmla="*/ 140589 w 3359086"/>
                <a:gd name="connsiteY10971" fmla="*/ 2212372 h 3355086"/>
                <a:gd name="connsiteX10972" fmla="*/ 134397 w 3359086"/>
                <a:gd name="connsiteY10972" fmla="*/ 2218564 h 3355086"/>
                <a:gd name="connsiteX10973" fmla="*/ 128206 w 3359086"/>
                <a:gd name="connsiteY10973" fmla="*/ 2212372 h 3355086"/>
                <a:gd name="connsiteX10974" fmla="*/ 134397 w 3359086"/>
                <a:gd name="connsiteY10974" fmla="*/ 2206181 h 3355086"/>
                <a:gd name="connsiteX10975" fmla="*/ 874490 w 3359086"/>
                <a:gd name="connsiteY10975" fmla="*/ 2205133 h 3355086"/>
                <a:gd name="connsiteX10976" fmla="*/ 880681 w 3359086"/>
                <a:gd name="connsiteY10976" fmla="*/ 2211324 h 3355086"/>
                <a:gd name="connsiteX10977" fmla="*/ 874490 w 3359086"/>
                <a:gd name="connsiteY10977" fmla="*/ 2217516 h 3355086"/>
                <a:gd name="connsiteX10978" fmla="*/ 868299 w 3359086"/>
                <a:gd name="connsiteY10978" fmla="*/ 2211324 h 3355086"/>
                <a:gd name="connsiteX10979" fmla="*/ 874490 w 3359086"/>
                <a:gd name="connsiteY10979" fmla="*/ 2205133 h 3355086"/>
                <a:gd name="connsiteX10980" fmla="*/ 486346 w 3359086"/>
                <a:gd name="connsiteY10980" fmla="*/ 2205038 h 3355086"/>
                <a:gd name="connsiteX10981" fmla="*/ 492537 w 3359086"/>
                <a:gd name="connsiteY10981" fmla="*/ 2211229 h 3355086"/>
                <a:gd name="connsiteX10982" fmla="*/ 486346 w 3359086"/>
                <a:gd name="connsiteY10982" fmla="*/ 2217420 h 3355086"/>
                <a:gd name="connsiteX10983" fmla="*/ 480155 w 3359086"/>
                <a:gd name="connsiteY10983" fmla="*/ 2211229 h 3355086"/>
                <a:gd name="connsiteX10984" fmla="*/ 486346 w 3359086"/>
                <a:gd name="connsiteY10984" fmla="*/ 2205038 h 3355086"/>
                <a:gd name="connsiteX10985" fmla="*/ 299942 w 3359086"/>
                <a:gd name="connsiteY10985" fmla="*/ 2204276 h 3355086"/>
                <a:gd name="connsiteX10986" fmla="*/ 306133 w 3359086"/>
                <a:gd name="connsiteY10986" fmla="*/ 2210467 h 3355086"/>
                <a:gd name="connsiteX10987" fmla="*/ 299942 w 3359086"/>
                <a:gd name="connsiteY10987" fmla="*/ 2216659 h 3355086"/>
                <a:gd name="connsiteX10988" fmla="*/ 293751 w 3359086"/>
                <a:gd name="connsiteY10988" fmla="*/ 2210467 h 3355086"/>
                <a:gd name="connsiteX10989" fmla="*/ 299942 w 3359086"/>
                <a:gd name="connsiteY10989" fmla="*/ 2204276 h 3355086"/>
                <a:gd name="connsiteX10990" fmla="*/ 100869 w 3359086"/>
                <a:gd name="connsiteY10990" fmla="*/ 2203609 h 3355086"/>
                <a:gd name="connsiteX10991" fmla="*/ 107061 w 3359086"/>
                <a:gd name="connsiteY10991" fmla="*/ 2209800 h 3355086"/>
                <a:gd name="connsiteX10992" fmla="*/ 100869 w 3359086"/>
                <a:gd name="connsiteY10992" fmla="*/ 2215992 h 3355086"/>
                <a:gd name="connsiteX10993" fmla="*/ 94678 w 3359086"/>
                <a:gd name="connsiteY10993" fmla="*/ 2209800 h 3355086"/>
                <a:gd name="connsiteX10994" fmla="*/ 100869 w 3359086"/>
                <a:gd name="connsiteY10994" fmla="*/ 2203609 h 3355086"/>
                <a:gd name="connsiteX10995" fmla="*/ 3176777 w 3359086"/>
                <a:gd name="connsiteY10995" fmla="*/ 2201418 h 3355086"/>
                <a:gd name="connsiteX10996" fmla="*/ 3182969 w 3359086"/>
                <a:gd name="connsiteY10996" fmla="*/ 2207609 h 3355086"/>
                <a:gd name="connsiteX10997" fmla="*/ 3176777 w 3359086"/>
                <a:gd name="connsiteY10997" fmla="*/ 2213801 h 3355086"/>
                <a:gd name="connsiteX10998" fmla="*/ 3170586 w 3359086"/>
                <a:gd name="connsiteY10998" fmla="*/ 2207609 h 3355086"/>
                <a:gd name="connsiteX10999" fmla="*/ 3176777 w 3359086"/>
                <a:gd name="connsiteY10999" fmla="*/ 2201418 h 3355086"/>
                <a:gd name="connsiteX11000" fmla="*/ 3129724 w 3359086"/>
                <a:gd name="connsiteY11000" fmla="*/ 2201418 h 3355086"/>
                <a:gd name="connsiteX11001" fmla="*/ 3135916 w 3359086"/>
                <a:gd name="connsiteY11001" fmla="*/ 2207609 h 3355086"/>
                <a:gd name="connsiteX11002" fmla="*/ 3129724 w 3359086"/>
                <a:gd name="connsiteY11002" fmla="*/ 2213801 h 3355086"/>
                <a:gd name="connsiteX11003" fmla="*/ 3123533 w 3359086"/>
                <a:gd name="connsiteY11003" fmla="*/ 2207609 h 3355086"/>
                <a:gd name="connsiteX11004" fmla="*/ 3129724 w 3359086"/>
                <a:gd name="connsiteY11004" fmla="*/ 2201418 h 3355086"/>
                <a:gd name="connsiteX11005" fmla="*/ 3222688 w 3359086"/>
                <a:gd name="connsiteY11005" fmla="*/ 2201323 h 3355086"/>
                <a:gd name="connsiteX11006" fmla="*/ 3228879 w 3359086"/>
                <a:gd name="connsiteY11006" fmla="*/ 2207514 h 3355086"/>
                <a:gd name="connsiteX11007" fmla="*/ 3222688 w 3359086"/>
                <a:gd name="connsiteY11007" fmla="*/ 2213705 h 3355086"/>
                <a:gd name="connsiteX11008" fmla="*/ 3216497 w 3359086"/>
                <a:gd name="connsiteY11008" fmla="*/ 2207514 h 3355086"/>
                <a:gd name="connsiteX11009" fmla="*/ 3222688 w 3359086"/>
                <a:gd name="connsiteY11009" fmla="*/ 2201323 h 3355086"/>
                <a:gd name="connsiteX11010" fmla="*/ 117919 w 3359086"/>
                <a:gd name="connsiteY11010" fmla="*/ 2200466 h 3355086"/>
                <a:gd name="connsiteX11011" fmla="*/ 124111 w 3359086"/>
                <a:gd name="connsiteY11011" fmla="*/ 2206657 h 3355086"/>
                <a:gd name="connsiteX11012" fmla="*/ 117919 w 3359086"/>
                <a:gd name="connsiteY11012" fmla="*/ 2212849 h 3355086"/>
                <a:gd name="connsiteX11013" fmla="*/ 111728 w 3359086"/>
                <a:gd name="connsiteY11013" fmla="*/ 2206657 h 3355086"/>
                <a:gd name="connsiteX11014" fmla="*/ 117919 w 3359086"/>
                <a:gd name="connsiteY11014" fmla="*/ 2200466 h 3355086"/>
                <a:gd name="connsiteX11015" fmla="*/ 3203257 w 3359086"/>
                <a:gd name="connsiteY11015" fmla="*/ 2197704 h 3355086"/>
                <a:gd name="connsiteX11016" fmla="*/ 3209449 w 3359086"/>
                <a:gd name="connsiteY11016" fmla="*/ 2203895 h 3355086"/>
                <a:gd name="connsiteX11017" fmla="*/ 3203257 w 3359086"/>
                <a:gd name="connsiteY11017" fmla="*/ 2210087 h 3355086"/>
                <a:gd name="connsiteX11018" fmla="*/ 3197066 w 3359086"/>
                <a:gd name="connsiteY11018" fmla="*/ 2203895 h 3355086"/>
                <a:gd name="connsiteX11019" fmla="*/ 3203257 w 3359086"/>
                <a:gd name="connsiteY11019" fmla="*/ 2197704 h 3355086"/>
                <a:gd name="connsiteX11020" fmla="*/ 3235261 w 3359086"/>
                <a:gd name="connsiteY11020" fmla="*/ 2197227 h 3355086"/>
                <a:gd name="connsiteX11021" fmla="*/ 3241452 w 3359086"/>
                <a:gd name="connsiteY11021" fmla="*/ 2203418 h 3355086"/>
                <a:gd name="connsiteX11022" fmla="*/ 3235261 w 3359086"/>
                <a:gd name="connsiteY11022" fmla="*/ 2209610 h 3355086"/>
                <a:gd name="connsiteX11023" fmla="*/ 3229070 w 3359086"/>
                <a:gd name="connsiteY11023" fmla="*/ 2203418 h 3355086"/>
                <a:gd name="connsiteX11024" fmla="*/ 3235261 w 3359086"/>
                <a:gd name="connsiteY11024" fmla="*/ 2197227 h 3355086"/>
                <a:gd name="connsiteX11025" fmla="*/ 3252882 w 3359086"/>
                <a:gd name="connsiteY11025" fmla="*/ 2196179 h 3355086"/>
                <a:gd name="connsiteX11026" fmla="*/ 3259074 w 3359086"/>
                <a:gd name="connsiteY11026" fmla="*/ 2202370 h 3355086"/>
                <a:gd name="connsiteX11027" fmla="*/ 3252882 w 3359086"/>
                <a:gd name="connsiteY11027" fmla="*/ 2208562 h 3355086"/>
                <a:gd name="connsiteX11028" fmla="*/ 3246691 w 3359086"/>
                <a:gd name="connsiteY11028" fmla="*/ 2202370 h 3355086"/>
                <a:gd name="connsiteX11029" fmla="*/ 3252882 w 3359086"/>
                <a:gd name="connsiteY11029" fmla="*/ 2196179 h 3355086"/>
                <a:gd name="connsiteX11030" fmla="*/ 2506408 w 3359086"/>
                <a:gd name="connsiteY11030" fmla="*/ 2196179 h 3355086"/>
                <a:gd name="connsiteX11031" fmla="*/ 2512600 w 3359086"/>
                <a:gd name="connsiteY11031" fmla="*/ 2202370 h 3355086"/>
                <a:gd name="connsiteX11032" fmla="*/ 2506408 w 3359086"/>
                <a:gd name="connsiteY11032" fmla="*/ 2208562 h 3355086"/>
                <a:gd name="connsiteX11033" fmla="*/ 2500217 w 3359086"/>
                <a:gd name="connsiteY11033" fmla="*/ 2202370 h 3355086"/>
                <a:gd name="connsiteX11034" fmla="*/ 2506408 w 3359086"/>
                <a:gd name="connsiteY11034" fmla="*/ 2196179 h 3355086"/>
                <a:gd name="connsiteX11035" fmla="*/ 2875406 w 3359086"/>
                <a:gd name="connsiteY11035" fmla="*/ 2195417 h 3355086"/>
                <a:gd name="connsiteX11036" fmla="*/ 2881597 w 3359086"/>
                <a:gd name="connsiteY11036" fmla="*/ 2201608 h 3355086"/>
                <a:gd name="connsiteX11037" fmla="*/ 2875406 w 3359086"/>
                <a:gd name="connsiteY11037" fmla="*/ 2207800 h 3355086"/>
                <a:gd name="connsiteX11038" fmla="*/ 2869215 w 3359086"/>
                <a:gd name="connsiteY11038" fmla="*/ 2201608 h 3355086"/>
                <a:gd name="connsiteX11039" fmla="*/ 2875406 w 3359086"/>
                <a:gd name="connsiteY11039" fmla="*/ 2195417 h 3355086"/>
                <a:gd name="connsiteX11040" fmla="*/ 106203 w 3359086"/>
                <a:gd name="connsiteY11040" fmla="*/ 2195227 h 3355086"/>
                <a:gd name="connsiteX11041" fmla="*/ 112395 w 3359086"/>
                <a:gd name="connsiteY11041" fmla="*/ 2201418 h 3355086"/>
                <a:gd name="connsiteX11042" fmla="*/ 106203 w 3359086"/>
                <a:gd name="connsiteY11042" fmla="*/ 2207609 h 3355086"/>
                <a:gd name="connsiteX11043" fmla="*/ 100012 w 3359086"/>
                <a:gd name="connsiteY11043" fmla="*/ 2201418 h 3355086"/>
                <a:gd name="connsiteX11044" fmla="*/ 106203 w 3359086"/>
                <a:gd name="connsiteY11044" fmla="*/ 2195227 h 3355086"/>
                <a:gd name="connsiteX11045" fmla="*/ 3050666 w 3359086"/>
                <a:gd name="connsiteY11045" fmla="*/ 2194655 h 3355086"/>
                <a:gd name="connsiteX11046" fmla="*/ 3056857 w 3359086"/>
                <a:gd name="connsiteY11046" fmla="*/ 2200846 h 3355086"/>
                <a:gd name="connsiteX11047" fmla="*/ 3050666 w 3359086"/>
                <a:gd name="connsiteY11047" fmla="*/ 2207038 h 3355086"/>
                <a:gd name="connsiteX11048" fmla="*/ 3044475 w 3359086"/>
                <a:gd name="connsiteY11048" fmla="*/ 2200846 h 3355086"/>
                <a:gd name="connsiteX11049" fmla="*/ 3050666 w 3359086"/>
                <a:gd name="connsiteY11049" fmla="*/ 2194655 h 3355086"/>
                <a:gd name="connsiteX11050" fmla="*/ 148685 w 3359086"/>
                <a:gd name="connsiteY11050" fmla="*/ 2193703 h 3355086"/>
                <a:gd name="connsiteX11051" fmla="*/ 154877 w 3359086"/>
                <a:gd name="connsiteY11051" fmla="*/ 2199894 h 3355086"/>
                <a:gd name="connsiteX11052" fmla="*/ 148685 w 3359086"/>
                <a:gd name="connsiteY11052" fmla="*/ 2206086 h 3355086"/>
                <a:gd name="connsiteX11053" fmla="*/ 142494 w 3359086"/>
                <a:gd name="connsiteY11053" fmla="*/ 2199894 h 3355086"/>
                <a:gd name="connsiteX11054" fmla="*/ 148685 w 3359086"/>
                <a:gd name="connsiteY11054" fmla="*/ 2193703 h 3355086"/>
                <a:gd name="connsiteX11055" fmla="*/ 192404 w 3359086"/>
                <a:gd name="connsiteY11055" fmla="*/ 2193322 h 3355086"/>
                <a:gd name="connsiteX11056" fmla="*/ 198596 w 3359086"/>
                <a:gd name="connsiteY11056" fmla="*/ 2199513 h 3355086"/>
                <a:gd name="connsiteX11057" fmla="*/ 192404 w 3359086"/>
                <a:gd name="connsiteY11057" fmla="*/ 2205705 h 3355086"/>
                <a:gd name="connsiteX11058" fmla="*/ 186213 w 3359086"/>
                <a:gd name="connsiteY11058" fmla="*/ 2199513 h 3355086"/>
                <a:gd name="connsiteX11059" fmla="*/ 192404 w 3359086"/>
                <a:gd name="connsiteY11059" fmla="*/ 2193322 h 3355086"/>
                <a:gd name="connsiteX11060" fmla="*/ 3218401 w 3359086"/>
                <a:gd name="connsiteY11060" fmla="*/ 2192750 h 3355086"/>
                <a:gd name="connsiteX11061" fmla="*/ 3224593 w 3359086"/>
                <a:gd name="connsiteY11061" fmla="*/ 2198941 h 3355086"/>
                <a:gd name="connsiteX11062" fmla="*/ 3218401 w 3359086"/>
                <a:gd name="connsiteY11062" fmla="*/ 2205133 h 3355086"/>
                <a:gd name="connsiteX11063" fmla="*/ 3212210 w 3359086"/>
                <a:gd name="connsiteY11063" fmla="*/ 2198941 h 3355086"/>
                <a:gd name="connsiteX11064" fmla="*/ 3218401 w 3359086"/>
                <a:gd name="connsiteY11064" fmla="*/ 2192750 h 3355086"/>
                <a:gd name="connsiteX11065" fmla="*/ 93439 w 3359086"/>
                <a:gd name="connsiteY11065" fmla="*/ 2191893 h 3355086"/>
                <a:gd name="connsiteX11066" fmla="*/ 99631 w 3359086"/>
                <a:gd name="connsiteY11066" fmla="*/ 2198084 h 3355086"/>
                <a:gd name="connsiteX11067" fmla="*/ 93439 w 3359086"/>
                <a:gd name="connsiteY11067" fmla="*/ 2204276 h 3355086"/>
                <a:gd name="connsiteX11068" fmla="*/ 87248 w 3359086"/>
                <a:gd name="connsiteY11068" fmla="*/ 2198084 h 3355086"/>
                <a:gd name="connsiteX11069" fmla="*/ 93439 w 3359086"/>
                <a:gd name="connsiteY11069" fmla="*/ 2191893 h 3355086"/>
                <a:gd name="connsiteX11070" fmla="*/ 124396 w 3359086"/>
                <a:gd name="connsiteY11070" fmla="*/ 2190560 h 3355086"/>
                <a:gd name="connsiteX11071" fmla="*/ 130588 w 3359086"/>
                <a:gd name="connsiteY11071" fmla="*/ 2196751 h 3355086"/>
                <a:gd name="connsiteX11072" fmla="*/ 124396 w 3359086"/>
                <a:gd name="connsiteY11072" fmla="*/ 2202943 h 3355086"/>
                <a:gd name="connsiteX11073" fmla="*/ 118205 w 3359086"/>
                <a:gd name="connsiteY11073" fmla="*/ 2196751 h 3355086"/>
                <a:gd name="connsiteX11074" fmla="*/ 124396 w 3359086"/>
                <a:gd name="connsiteY11074" fmla="*/ 2190560 h 3355086"/>
                <a:gd name="connsiteX11075" fmla="*/ 785240 w 3359086"/>
                <a:gd name="connsiteY11075" fmla="*/ 2188369 h 3355086"/>
                <a:gd name="connsiteX11076" fmla="*/ 791431 w 3359086"/>
                <a:gd name="connsiteY11076" fmla="*/ 2194560 h 3355086"/>
                <a:gd name="connsiteX11077" fmla="*/ 785240 w 3359086"/>
                <a:gd name="connsiteY11077" fmla="*/ 2200751 h 3355086"/>
                <a:gd name="connsiteX11078" fmla="*/ 779049 w 3359086"/>
                <a:gd name="connsiteY11078" fmla="*/ 2194560 h 3355086"/>
                <a:gd name="connsiteX11079" fmla="*/ 785240 w 3359086"/>
                <a:gd name="connsiteY11079" fmla="*/ 2188369 h 3355086"/>
                <a:gd name="connsiteX11080" fmla="*/ 3229641 w 3359086"/>
                <a:gd name="connsiteY11080" fmla="*/ 2188274 h 3355086"/>
                <a:gd name="connsiteX11081" fmla="*/ 3235832 w 3359086"/>
                <a:gd name="connsiteY11081" fmla="*/ 2194465 h 3355086"/>
                <a:gd name="connsiteX11082" fmla="*/ 3229641 w 3359086"/>
                <a:gd name="connsiteY11082" fmla="*/ 2200657 h 3355086"/>
                <a:gd name="connsiteX11083" fmla="*/ 3223450 w 3359086"/>
                <a:gd name="connsiteY11083" fmla="*/ 2194465 h 3355086"/>
                <a:gd name="connsiteX11084" fmla="*/ 3229641 w 3359086"/>
                <a:gd name="connsiteY11084" fmla="*/ 2188274 h 3355086"/>
                <a:gd name="connsiteX11085" fmla="*/ 432434 w 3359086"/>
                <a:gd name="connsiteY11085" fmla="*/ 2187131 h 3355086"/>
                <a:gd name="connsiteX11086" fmla="*/ 438625 w 3359086"/>
                <a:gd name="connsiteY11086" fmla="*/ 2193322 h 3355086"/>
                <a:gd name="connsiteX11087" fmla="*/ 432434 w 3359086"/>
                <a:gd name="connsiteY11087" fmla="*/ 2199514 h 3355086"/>
                <a:gd name="connsiteX11088" fmla="*/ 426243 w 3359086"/>
                <a:gd name="connsiteY11088" fmla="*/ 2193322 h 3355086"/>
                <a:gd name="connsiteX11089" fmla="*/ 432434 w 3359086"/>
                <a:gd name="connsiteY11089" fmla="*/ 2187131 h 3355086"/>
                <a:gd name="connsiteX11090" fmla="*/ 3262121 w 3359086"/>
                <a:gd name="connsiteY11090" fmla="*/ 2186559 h 3355086"/>
                <a:gd name="connsiteX11091" fmla="*/ 3268313 w 3359086"/>
                <a:gd name="connsiteY11091" fmla="*/ 2192750 h 3355086"/>
                <a:gd name="connsiteX11092" fmla="*/ 3262121 w 3359086"/>
                <a:gd name="connsiteY11092" fmla="*/ 2198942 h 3355086"/>
                <a:gd name="connsiteX11093" fmla="*/ 3255930 w 3359086"/>
                <a:gd name="connsiteY11093" fmla="*/ 2192750 h 3355086"/>
                <a:gd name="connsiteX11094" fmla="*/ 3262121 w 3359086"/>
                <a:gd name="connsiteY11094" fmla="*/ 2186559 h 3355086"/>
                <a:gd name="connsiteX11095" fmla="*/ 266318 w 3359086"/>
                <a:gd name="connsiteY11095" fmla="*/ 2186464 h 3355086"/>
                <a:gd name="connsiteX11096" fmla="*/ 272510 w 3359086"/>
                <a:gd name="connsiteY11096" fmla="*/ 2192655 h 3355086"/>
                <a:gd name="connsiteX11097" fmla="*/ 266318 w 3359086"/>
                <a:gd name="connsiteY11097" fmla="*/ 2198847 h 3355086"/>
                <a:gd name="connsiteX11098" fmla="*/ 260127 w 3359086"/>
                <a:gd name="connsiteY11098" fmla="*/ 2192655 h 3355086"/>
                <a:gd name="connsiteX11099" fmla="*/ 266318 w 3359086"/>
                <a:gd name="connsiteY11099" fmla="*/ 2186464 h 3355086"/>
                <a:gd name="connsiteX11100" fmla="*/ 110299 w 3359086"/>
                <a:gd name="connsiteY11100" fmla="*/ 2186178 h 3355086"/>
                <a:gd name="connsiteX11101" fmla="*/ 116490 w 3359086"/>
                <a:gd name="connsiteY11101" fmla="*/ 2192369 h 3355086"/>
                <a:gd name="connsiteX11102" fmla="*/ 110299 w 3359086"/>
                <a:gd name="connsiteY11102" fmla="*/ 2198561 h 3355086"/>
                <a:gd name="connsiteX11103" fmla="*/ 104108 w 3359086"/>
                <a:gd name="connsiteY11103" fmla="*/ 2192369 h 3355086"/>
                <a:gd name="connsiteX11104" fmla="*/ 110299 w 3359086"/>
                <a:gd name="connsiteY11104" fmla="*/ 2186178 h 3355086"/>
                <a:gd name="connsiteX11105" fmla="*/ 3242785 w 3359086"/>
                <a:gd name="connsiteY11105" fmla="*/ 2185892 h 3355086"/>
                <a:gd name="connsiteX11106" fmla="*/ 3248977 w 3359086"/>
                <a:gd name="connsiteY11106" fmla="*/ 2192083 h 3355086"/>
                <a:gd name="connsiteX11107" fmla="*/ 3242785 w 3359086"/>
                <a:gd name="connsiteY11107" fmla="*/ 2198275 h 3355086"/>
                <a:gd name="connsiteX11108" fmla="*/ 3236594 w 3359086"/>
                <a:gd name="connsiteY11108" fmla="*/ 2192083 h 3355086"/>
                <a:gd name="connsiteX11109" fmla="*/ 3242785 w 3359086"/>
                <a:gd name="connsiteY11109" fmla="*/ 2185892 h 3355086"/>
                <a:gd name="connsiteX11110" fmla="*/ 3190684 w 3359086"/>
                <a:gd name="connsiteY11110" fmla="*/ 2185035 h 3355086"/>
                <a:gd name="connsiteX11111" fmla="*/ 3196876 w 3359086"/>
                <a:gd name="connsiteY11111" fmla="*/ 2191226 h 3355086"/>
                <a:gd name="connsiteX11112" fmla="*/ 3190684 w 3359086"/>
                <a:gd name="connsiteY11112" fmla="*/ 2197418 h 3355086"/>
                <a:gd name="connsiteX11113" fmla="*/ 3184493 w 3359086"/>
                <a:gd name="connsiteY11113" fmla="*/ 2191226 h 3355086"/>
                <a:gd name="connsiteX11114" fmla="*/ 3190684 w 3359086"/>
                <a:gd name="connsiteY11114" fmla="*/ 2185035 h 3355086"/>
                <a:gd name="connsiteX11115" fmla="*/ 3150774 w 3359086"/>
                <a:gd name="connsiteY11115" fmla="*/ 2184273 h 3355086"/>
                <a:gd name="connsiteX11116" fmla="*/ 3156965 w 3359086"/>
                <a:gd name="connsiteY11116" fmla="*/ 2190464 h 3355086"/>
                <a:gd name="connsiteX11117" fmla="*/ 3150774 w 3359086"/>
                <a:gd name="connsiteY11117" fmla="*/ 2196656 h 3355086"/>
                <a:gd name="connsiteX11118" fmla="*/ 3144583 w 3359086"/>
                <a:gd name="connsiteY11118" fmla="*/ 2190464 h 3355086"/>
                <a:gd name="connsiteX11119" fmla="*/ 3150774 w 3359086"/>
                <a:gd name="connsiteY11119" fmla="*/ 2184273 h 3355086"/>
                <a:gd name="connsiteX11120" fmla="*/ 3212687 w 3359086"/>
                <a:gd name="connsiteY11120" fmla="*/ 2182463 h 3355086"/>
                <a:gd name="connsiteX11121" fmla="*/ 3218878 w 3359086"/>
                <a:gd name="connsiteY11121" fmla="*/ 2188654 h 3355086"/>
                <a:gd name="connsiteX11122" fmla="*/ 3212687 w 3359086"/>
                <a:gd name="connsiteY11122" fmla="*/ 2194846 h 3355086"/>
                <a:gd name="connsiteX11123" fmla="*/ 3206496 w 3359086"/>
                <a:gd name="connsiteY11123" fmla="*/ 2188654 h 3355086"/>
                <a:gd name="connsiteX11124" fmla="*/ 3212687 w 3359086"/>
                <a:gd name="connsiteY11124" fmla="*/ 2182463 h 3355086"/>
                <a:gd name="connsiteX11125" fmla="*/ 99345 w 3359086"/>
                <a:gd name="connsiteY11125" fmla="*/ 2182463 h 3355086"/>
                <a:gd name="connsiteX11126" fmla="*/ 105537 w 3359086"/>
                <a:gd name="connsiteY11126" fmla="*/ 2188654 h 3355086"/>
                <a:gd name="connsiteX11127" fmla="*/ 99345 w 3359086"/>
                <a:gd name="connsiteY11127" fmla="*/ 2194846 h 3355086"/>
                <a:gd name="connsiteX11128" fmla="*/ 93154 w 3359086"/>
                <a:gd name="connsiteY11128" fmla="*/ 2188654 h 3355086"/>
                <a:gd name="connsiteX11129" fmla="*/ 99345 w 3359086"/>
                <a:gd name="connsiteY11129" fmla="*/ 2182463 h 3355086"/>
                <a:gd name="connsiteX11130" fmla="*/ 85819 w 3359086"/>
                <a:gd name="connsiteY11130" fmla="*/ 2180844 h 3355086"/>
                <a:gd name="connsiteX11131" fmla="*/ 92011 w 3359086"/>
                <a:gd name="connsiteY11131" fmla="*/ 2187035 h 3355086"/>
                <a:gd name="connsiteX11132" fmla="*/ 85819 w 3359086"/>
                <a:gd name="connsiteY11132" fmla="*/ 2193227 h 3355086"/>
                <a:gd name="connsiteX11133" fmla="*/ 79628 w 3359086"/>
                <a:gd name="connsiteY11133" fmla="*/ 2187035 h 3355086"/>
                <a:gd name="connsiteX11134" fmla="*/ 85819 w 3359086"/>
                <a:gd name="connsiteY11134" fmla="*/ 2180844 h 3355086"/>
                <a:gd name="connsiteX11135" fmla="*/ 2591657 w 3359086"/>
                <a:gd name="connsiteY11135" fmla="*/ 2179416 h 3355086"/>
                <a:gd name="connsiteX11136" fmla="*/ 2597848 w 3359086"/>
                <a:gd name="connsiteY11136" fmla="*/ 2185607 h 3355086"/>
                <a:gd name="connsiteX11137" fmla="*/ 2591657 w 3359086"/>
                <a:gd name="connsiteY11137" fmla="*/ 2191799 h 3355086"/>
                <a:gd name="connsiteX11138" fmla="*/ 2585466 w 3359086"/>
                <a:gd name="connsiteY11138" fmla="*/ 2185607 h 3355086"/>
                <a:gd name="connsiteX11139" fmla="*/ 2591657 w 3359086"/>
                <a:gd name="connsiteY11139" fmla="*/ 2179416 h 3355086"/>
                <a:gd name="connsiteX11140" fmla="*/ 3225641 w 3359086"/>
                <a:gd name="connsiteY11140" fmla="*/ 2178844 h 3355086"/>
                <a:gd name="connsiteX11141" fmla="*/ 3231832 w 3359086"/>
                <a:gd name="connsiteY11141" fmla="*/ 2185035 h 3355086"/>
                <a:gd name="connsiteX11142" fmla="*/ 3225641 w 3359086"/>
                <a:gd name="connsiteY11142" fmla="*/ 2191226 h 3355086"/>
                <a:gd name="connsiteX11143" fmla="*/ 3219450 w 3359086"/>
                <a:gd name="connsiteY11143" fmla="*/ 2185035 h 3355086"/>
                <a:gd name="connsiteX11144" fmla="*/ 3225641 w 3359086"/>
                <a:gd name="connsiteY11144" fmla="*/ 2178844 h 3355086"/>
                <a:gd name="connsiteX11145" fmla="*/ 2926365 w 3359086"/>
                <a:gd name="connsiteY11145" fmla="*/ 2177701 h 3355086"/>
                <a:gd name="connsiteX11146" fmla="*/ 2932557 w 3359086"/>
                <a:gd name="connsiteY11146" fmla="*/ 2183892 h 3355086"/>
                <a:gd name="connsiteX11147" fmla="*/ 2926365 w 3359086"/>
                <a:gd name="connsiteY11147" fmla="*/ 2190084 h 3355086"/>
                <a:gd name="connsiteX11148" fmla="*/ 2920174 w 3359086"/>
                <a:gd name="connsiteY11148" fmla="*/ 2183892 h 3355086"/>
                <a:gd name="connsiteX11149" fmla="*/ 2926365 w 3359086"/>
                <a:gd name="connsiteY11149" fmla="*/ 2177701 h 3355086"/>
                <a:gd name="connsiteX11150" fmla="*/ 135635 w 3359086"/>
                <a:gd name="connsiteY11150" fmla="*/ 2177701 h 3355086"/>
                <a:gd name="connsiteX11151" fmla="*/ 141827 w 3359086"/>
                <a:gd name="connsiteY11151" fmla="*/ 2183892 h 3355086"/>
                <a:gd name="connsiteX11152" fmla="*/ 135635 w 3359086"/>
                <a:gd name="connsiteY11152" fmla="*/ 2190084 h 3355086"/>
                <a:gd name="connsiteX11153" fmla="*/ 129444 w 3359086"/>
                <a:gd name="connsiteY11153" fmla="*/ 2183892 h 3355086"/>
                <a:gd name="connsiteX11154" fmla="*/ 135635 w 3359086"/>
                <a:gd name="connsiteY11154" fmla="*/ 2177701 h 3355086"/>
                <a:gd name="connsiteX11155" fmla="*/ 3271741 w 3359086"/>
                <a:gd name="connsiteY11155" fmla="*/ 2177511 h 3355086"/>
                <a:gd name="connsiteX11156" fmla="*/ 3277933 w 3359086"/>
                <a:gd name="connsiteY11156" fmla="*/ 2183702 h 3355086"/>
                <a:gd name="connsiteX11157" fmla="*/ 3271741 w 3359086"/>
                <a:gd name="connsiteY11157" fmla="*/ 2189893 h 3355086"/>
                <a:gd name="connsiteX11158" fmla="*/ 3265550 w 3359086"/>
                <a:gd name="connsiteY11158" fmla="*/ 2183702 h 3355086"/>
                <a:gd name="connsiteX11159" fmla="*/ 3271741 w 3359086"/>
                <a:gd name="connsiteY11159" fmla="*/ 2177511 h 3355086"/>
                <a:gd name="connsiteX11160" fmla="*/ 3082289 w 3359086"/>
                <a:gd name="connsiteY11160" fmla="*/ 2177225 h 3355086"/>
                <a:gd name="connsiteX11161" fmla="*/ 3088480 w 3359086"/>
                <a:gd name="connsiteY11161" fmla="*/ 2183416 h 3355086"/>
                <a:gd name="connsiteX11162" fmla="*/ 3082289 w 3359086"/>
                <a:gd name="connsiteY11162" fmla="*/ 2189607 h 3355086"/>
                <a:gd name="connsiteX11163" fmla="*/ 3076098 w 3359086"/>
                <a:gd name="connsiteY11163" fmla="*/ 2183416 h 3355086"/>
                <a:gd name="connsiteX11164" fmla="*/ 3082289 w 3359086"/>
                <a:gd name="connsiteY11164" fmla="*/ 2177225 h 3355086"/>
                <a:gd name="connsiteX11165" fmla="*/ 172497 w 3359086"/>
                <a:gd name="connsiteY11165" fmla="*/ 2176463 h 3355086"/>
                <a:gd name="connsiteX11166" fmla="*/ 178689 w 3359086"/>
                <a:gd name="connsiteY11166" fmla="*/ 2182654 h 3355086"/>
                <a:gd name="connsiteX11167" fmla="*/ 172497 w 3359086"/>
                <a:gd name="connsiteY11167" fmla="*/ 2188845 h 3355086"/>
                <a:gd name="connsiteX11168" fmla="*/ 166306 w 3359086"/>
                <a:gd name="connsiteY11168" fmla="*/ 2182654 h 3355086"/>
                <a:gd name="connsiteX11169" fmla="*/ 172497 w 3359086"/>
                <a:gd name="connsiteY11169" fmla="*/ 2176463 h 3355086"/>
                <a:gd name="connsiteX11170" fmla="*/ 3236499 w 3359086"/>
                <a:gd name="connsiteY11170" fmla="*/ 2175987 h 3355086"/>
                <a:gd name="connsiteX11171" fmla="*/ 3242690 w 3359086"/>
                <a:gd name="connsiteY11171" fmla="*/ 2182178 h 3355086"/>
                <a:gd name="connsiteX11172" fmla="*/ 3236499 w 3359086"/>
                <a:gd name="connsiteY11172" fmla="*/ 2188370 h 3355086"/>
                <a:gd name="connsiteX11173" fmla="*/ 3230308 w 3359086"/>
                <a:gd name="connsiteY11173" fmla="*/ 2182178 h 3355086"/>
                <a:gd name="connsiteX11174" fmla="*/ 3236499 w 3359086"/>
                <a:gd name="connsiteY11174" fmla="*/ 2175987 h 3355086"/>
                <a:gd name="connsiteX11175" fmla="*/ 78009 w 3359086"/>
                <a:gd name="connsiteY11175" fmla="*/ 2175701 h 3355086"/>
                <a:gd name="connsiteX11176" fmla="*/ 78866 w 3359086"/>
                <a:gd name="connsiteY11176" fmla="*/ 2176558 h 3355086"/>
                <a:gd name="connsiteX11177" fmla="*/ 78009 w 3359086"/>
                <a:gd name="connsiteY11177" fmla="*/ 2177415 h 3355086"/>
                <a:gd name="connsiteX11178" fmla="*/ 77152 w 3359086"/>
                <a:gd name="connsiteY11178" fmla="*/ 2176558 h 3355086"/>
                <a:gd name="connsiteX11179" fmla="*/ 78009 w 3359086"/>
                <a:gd name="connsiteY11179" fmla="*/ 2175701 h 3355086"/>
                <a:gd name="connsiteX11180" fmla="*/ 115442 w 3359086"/>
                <a:gd name="connsiteY11180" fmla="*/ 2175605 h 3355086"/>
                <a:gd name="connsiteX11181" fmla="*/ 121634 w 3359086"/>
                <a:gd name="connsiteY11181" fmla="*/ 2181796 h 3355086"/>
                <a:gd name="connsiteX11182" fmla="*/ 115442 w 3359086"/>
                <a:gd name="connsiteY11182" fmla="*/ 2187988 h 3355086"/>
                <a:gd name="connsiteX11183" fmla="*/ 109251 w 3359086"/>
                <a:gd name="connsiteY11183" fmla="*/ 2181796 h 3355086"/>
                <a:gd name="connsiteX11184" fmla="*/ 115442 w 3359086"/>
                <a:gd name="connsiteY11184" fmla="*/ 2175605 h 3355086"/>
                <a:gd name="connsiteX11185" fmla="*/ 3250501 w 3359086"/>
                <a:gd name="connsiteY11185" fmla="*/ 2175225 h 3355086"/>
                <a:gd name="connsiteX11186" fmla="*/ 3256693 w 3359086"/>
                <a:gd name="connsiteY11186" fmla="*/ 2181416 h 3355086"/>
                <a:gd name="connsiteX11187" fmla="*/ 3250501 w 3359086"/>
                <a:gd name="connsiteY11187" fmla="*/ 2187608 h 3355086"/>
                <a:gd name="connsiteX11188" fmla="*/ 3244310 w 3359086"/>
                <a:gd name="connsiteY11188" fmla="*/ 2181416 h 3355086"/>
                <a:gd name="connsiteX11189" fmla="*/ 3250501 w 3359086"/>
                <a:gd name="connsiteY11189" fmla="*/ 2175225 h 3355086"/>
                <a:gd name="connsiteX11190" fmla="*/ 3281838 w 3359086"/>
                <a:gd name="connsiteY11190" fmla="*/ 2173034 h 3355086"/>
                <a:gd name="connsiteX11191" fmla="*/ 3283934 w 3359086"/>
                <a:gd name="connsiteY11191" fmla="*/ 2175130 h 3355086"/>
                <a:gd name="connsiteX11192" fmla="*/ 3281838 w 3359086"/>
                <a:gd name="connsiteY11192" fmla="*/ 2177225 h 3355086"/>
                <a:gd name="connsiteX11193" fmla="*/ 3279743 w 3359086"/>
                <a:gd name="connsiteY11193" fmla="*/ 2175130 h 3355086"/>
                <a:gd name="connsiteX11194" fmla="*/ 3281838 w 3359086"/>
                <a:gd name="connsiteY11194" fmla="*/ 2173034 h 3355086"/>
                <a:gd name="connsiteX11195" fmla="*/ 103345 w 3359086"/>
                <a:gd name="connsiteY11195" fmla="*/ 2172653 h 3355086"/>
                <a:gd name="connsiteX11196" fmla="*/ 109537 w 3359086"/>
                <a:gd name="connsiteY11196" fmla="*/ 2178844 h 3355086"/>
                <a:gd name="connsiteX11197" fmla="*/ 103345 w 3359086"/>
                <a:gd name="connsiteY11197" fmla="*/ 2185036 h 3355086"/>
                <a:gd name="connsiteX11198" fmla="*/ 97154 w 3359086"/>
                <a:gd name="connsiteY11198" fmla="*/ 2178844 h 3355086"/>
                <a:gd name="connsiteX11199" fmla="*/ 103345 w 3359086"/>
                <a:gd name="connsiteY11199" fmla="*/ 2172653 h 3355086"/>
                <a:gd name="connsiteX11200" fmla="*/ 703325 w 3359086"/>
                <a:gd name="connsiteY11200" fmla="*/ 2171605 h 3355086"/>
                <a:gd name="connsiteX11201" fmla="*/ 709516 w 3359086"/>
                <a:gd name="connsiteY11201" fmla="*/ 2177796 h 3355086"/>
                <a:gd name="connsiteX11202" fmla="*/ 703325 w 3359086"/>
                <a:gd name="connsiteY11202" fmla="*/ 2183988 h 3355086"/>
                <a:gd name="connsiteX11203" fmla="*/ 697134 w 3359086"/>
                <a:gd name="connsiteY11203" fmla="*/ 2177796 h 3355086"/>
                <a:gd name="connsiteX11204" fmla="*/ 703325 w 3359086"/>
                <a:gd name="connsiteY11204" fmla="*/ 2171605 h 3355086"/>
                <a:gd name="connsiteX11205" fmla="*/ 92582 w 3359086"/>
                <a:gd name="connsiteY11205" fmla="*/ 2170462 h 3355086"/>
                <a:gd name="connsiteX11206" fmla="*/ 98774 w 3359086"/>
                <a:gd name="connsiteY11206" fmla="*/ 2176653 h 3355086"/>
                <a:gd name="connsiteX11207" fmla="*/ 92582 w 3359086"/>
                <a:gd name="connsiteY11207" fmla="*/ 2182845 h 3355086"/>
                <a:gd name="connsiteX11208" fmla="*/ 86391 w 3359086"/>
                <a:gd name="connsiteY11208" fmla="*/ 2176653 h 3355086"/>
                <a:gd name="connsiteX11209" fmla="*/ 92582 w 3359086"/>
                <a:gd name="connsiteY11209" fmla="*/ 2170462 h 3355086"/>
                <a:gd name="connsiteX11210" fmla="*/ 383857 w 3359086"/>
                <a:gd name="connsiteY11210" fmla="*/ 2169700 h 3355086"/>
                <a:gd name="connsiteX11211" fmla="*/ 390048 w 3359086"/>
                <a:gd name="connsiteY11211" fmla="*/ 2175891 h 3355086"/>
                <a:gd name="connsiteX11212" fmla="*/ 383857 w 3359086"/>
                <a:gd name="connsiteY11212" fmla="*/ 2182083 h 3355086"/>
                <a:gd name="connsiteX11213" fmla="*/ 377666 w 3359086"/>
                <a:gd name="connsiteY11213" fmla="*/ 2175891 h 3355086"/>
                <a:gd name="connsiteX11214" fmla="*/ 383857 w 3359086"/>
                <a:gd name="connsiteY11214" fmla="*/ 2169700 h 3355086"/>
                <a:gd name="connsiteX11215" fmla="*/ 3202781 w 3359086"/>
                <a:gd name="connsiteY11215" fmla="*/ 2169319 h 3355086"/>
                <a:gd name="connsiteX11216" fmla="*/ 3208972 w 3359086"/>
                <a:gd name="connsiteY11216" fmla="*/ 2175510 h 3355086"/>
                <a:gd name="connsiteX11217" fmla="*/ 3202781 w 3359086"/>
                <a:gd name="connsiteY11217" fmla="*/ 2181701 h 3355086"/>
                <a:gd name="connsiteX11218" fmla="*/ 3196590 w 3359086"/>
                <a:gd name="connsiteY11218" fmla="*/ 2175510 h 3355086"/>
                <a:gd name="connsiteX11219" fmla="*/ 3202781 w 3359086"/>
                <a:gd name="connsiteY11219" fmla="*/ 2169319 h 3355086"/>
                <a:gd name="connsiteX11220" fmla="*/ 236505 w 3359086"/>
                <a:gd name="connsiteY11220" fmla="*/ 2169319 h 3355086"/>
                <a:gd name="connsiteX11221" fmla="*/ 242696 w 3359086"/>
                <a:gd name="connsiteY11221" fmla="*/ 2175510 h 3355086"/>
                <a:gd name="connsiteX11222" fmla="*/ 236505 w 3359086"/>
                <a:gd name="connsiteY11222" fmla="*/ 2181701 h 3355086"/>
                <a:gd name="connsiteX11223" fmla="*/ 230314 w 3359086"/>
                <a:gd name="connsiteY11223" fmla="*/ 2175510 h 3355086"/>
                <a:gd name="connsiteX11224" fmla="*/ 236505 w 3359086"/>
                <a:gd name="connsiteY11224" fmla="*/ 2169319 h 3355086"/>
                <a:gd name="connsiteX11225" fmla="*/ 3221068 w 3359086"/>
                <a:gd name="connsiteY11225" fmla="*/ 2167890 h 3355086"/>
                <a:gd name="connsiteX11226" fmla="*/ 3227260 w 3359086"/>
                <a:gd name="connsiteY11226" fmla="*/ 2174081 h 3355086"/>
                <a:gd name="connsiteX11227" fmla="*/ 3221068 w 3359086"/>
                <a:gd name="connsiteY11227" fmla="*/ 2180273 h 3355086"/>
                <a:gd name="connsiteX11228" fmla="*/ 3214877 w 3359086"/>
                <a:gd name="connsiteY11228" fmla="*/ 2174081 h 3355086"/>
                <a:gd name="connsiteX11229" fmla="*/ 3221068 w 3359086"/>
                <a:gd name="connsiteY11229" fmla="*/ 2167890 h 3355086"/>
                <a:gd name="connsiteX11230" fmla="*/ 3169253 w 3359086"/>
                <a:gd name="connsiteY11230" fmla="*/ 2167700 h 3355086"/>
                <a:gd name="connsiteX11231" fmla="*/ 3175445 w 3359086"/>
                <a:gd name="connsiteY11231" fmla="*/ 2173891 h 3355086"/>
                <a:gd name="connsiteX11232" fmla="*/ 3169253 w 3359086"/>
                <a:gd name="connsiteY11232" fmla="*/ 2180082 h 3355086"/>
                <a:gd name="connsiteX11233" fmla="*/ 3163062 w 3359086"/>
                <a:gd name="connsiteY11233" fmla="*/ 2173891 h 3355086"/>
                <a:gd name="connsiteX11234" fmla="*/ 3169253 w 3359086"/>
                <a:gd name="connsiteY11234" fmla="*/ 2167700 h 3355086"/>
                <a:gd name="connsiteX11235" fmla="*/ 1633727 w 3359086"/>
                <a:gd name="connsiteY11235" fmla="*/ 2165700 h 3355086"/>
                <a:gd name="connsiteX11236" fmla="*/ 1639919 w 3359086"/>
                <a:gd name="connsiteY11236" fmla="*/ 2171891 h 3355086"/>
                <a:gd name="connsiteX11237" fmla="*/ 1633727 w 3359086"/>
                <a:gd name="connsiteY11237" fmla="*/ 2178083 h 3355086"/>
                <a:gd name="connsiteX11238" fmla="*/ 1627536 w 3359086"/>
                <a:gd name="connsiteY11238" fmla="*/ 2171891 h 3355086"/>
                <a:gd name="connsiteX11239" fmla="*/ 1633727 w 3359086"/>
                <a:gd name="connsiteY11239" fmla="*/ 2165700 h 3355086"/>
                <a:gd name="connsiteX11240" fmla="*/ 3258502 w 3359086"/>
                <a:gd name="connsiteY11240" fmla="*/ 2165128 h 3355086"/>
                <a:gd name="connsiteX11241" fmla="*/ 3264693 w 3359086"/>
                <a:gd name="connsiteY11241" fmla="*/ 2171319 h 3355086"/>
                <a:gd name="connsiteX11242" fmla="*/ 3258502 w 3359086"/>
                <a:gd name="connsiteY11242" fmla="*/ 2177511 h 3355086"/>
                <a:gd name="connsiteX11243" fmla="*/ 3252311 w 3359086"/>
                <a:gd name="connsiteY11243" fmla="*/ 2171319 h 3355086"/>
                <a:gd name="connsiteX11244" fmla="*/ 3258502 w 3359086"/>
                <a:gd name="connsiteY11244" fmla="*/ 2165128 h 3355086"/>
                <a:gd name="connsiteX11245" fmla="*/ 3243262 w 3359086"/>
                <a:gd name="connsiteY11245" fmla="*/ 2164271 h 3355086"/>
                <a:gd name="connsiteX11246" fmla="*/ 3249453 w 3359086"/>
                <a:gd name="connsiteY11246" fmla="*/ 2170462 h 3355086"/>
                <a:gd name="connsiteX11247" fmla="*/ 3243262 w 3359086"/>
                <a:gd name="connsiteY11247" fmla="*/ 2176653 h 3355086"/>
                <a:gd name="connsiteX11248" fmla="*/ 3238500 w 3359086"/>
                <a:gd name="connsiteY11248" fmla="*/ 2171891 h 3355086"/>
                <a:gd name="connsiteX11249" fmla="*/ 3232403 w 3359086"/>
                <a:gd name="connsiteY11249" fmla="*/ 2177986 h 3355086"/>
                <a:gd name="connsiteX11250" fmla="*/ 3226212 w 3359086"/>
                <a:gd name="connsiteY11250" fmla="*/ 2171795 h 3355086"/>
                <a:gd name="connsiteX11251" fmla="*/ 3232403 w 3359086"/>
                <a:gd name="connsiteY11251" fmla="*/ 2165604 h 3355086"/>
                <a:gd name="connsiteX11252" fmla="*/ 3237166 w 3359086"/>
                <a:gd name="connsiteY11252" fmla="*/ 2170367 h 3355086"/>
                <a:gd name="connsiteX11253" fmla="*/ 1772887 w 3359086"/>
                <a:gd name="connsiteY11253" fmla="*/ 2164271 h 3355086"/>
                <a:gd name="connsiteX11254" fmla="*/ 1779079 w 3359086"/>
                <a:gd name="connsiteY11254" fmla="*/ 2170462 h 3355086"/>
                <a:gd name="connsiteX11255" fmla="*/ 1772887 w 3359086"/>
                <a:gd name="connsiteY11255" fmla="*/ 2176653 h 3355086"/>
                <a:gd name="connsiteX11256" fmla="*/ 1766696 w 3359086"/>
                <a:gd name="connsiteY11256" fmla="*/ 2170462 h 3355086"/>
                <a:gd name="connsiteX11257" fmla="*/ 1772887 w 3359086"/>
                <a:gd name="connsiteY11257" fmla="*/ 2164271 h 3355086"/>
                <a:gd name="connsiteX11258" fmla="*/ 2669762 w 3359086"/>
                <a:gd name="connsiteY11258" fmla="*/ 2162747 h 3355086"/>
                <a:gd name="connsiteX11259" fmla="*/ 2675953 w 3359086"/>
                <a:gd name="connsiteY11259" fmla="*/ 2168938 h 3355086"/>
                <a:gd name="connsiteX11260" fmla="*/ 2669762 w 3359086"/>
                <a:gd name="connsiteY11260" fmla="*/ 2175130 h 3355086"/>
                <a:gd name="connsiteX11261" fmla="*/ 2663571 w 3359086"/>
                <a:gd name="connsiteY11261" fmla="*/ 2168938 h 3355086"/>
                <a:gd name="connsiteX11262" fmla="*/ 2669762 w 3359086"/>
                <a:gd name="connsiteY11262" fmla="*/ 2162747 h 3355086"/>
                <a:gd name="connsiteX11263" fmla="*/ 124205 w 3359086"/>
                <a:gd name="connsiteY11263" fmla="*/ 2162271 h 3355086"/>
                <a:gd name="connsiteX11264" fmla="*/ 130396 w 3359086"/>
                <a:gd name="connsiteY11264" fmla="*/ 2168462 h 3355086"/>
                <a:gd name="connsiteX11265" fmla="*/ 124205 w 3359086"/>
                <a:gd name="connsiteY11265" fmla="*/ 2174654 h 3355086"/>
                <a:gd name="connsiteX11266" fmla="*/ 118014 w 3359086"/>
                <a:gd name="connsiteY11266" fmla="*/ 2168462 h 3355086"/>
                <a:gd name="connsiteX11267" fmla="*/ 124205 w 3359086"/>
                <a:gd name="connsiteY11267" fmla="*/ 2162271 h 3355086"/>
                <a:gd name="connsiteX11268" fmla="*/ 1495424 w 3359086"/>
                <a:gd name="connsiteY11268" fmla="*/ 2161985 h 3355086"/>
                <a:gd name="connsiteX11269" fmla="*/ 1501615 w 3359086"/>
                <a:gd name="connsiteY11269" fmla="*/ 2168176 h 3355086"/>
                <a:gd name="connsiteX11270" fmla="*/ 1495424 w 3359086"/>
                <a:gd name="connsiteY11270" fmla="*/ 2174368 h 3355086"/>
                <a:gd name="connsiteX11271" fmla="*/ 1489233 w 3359086"/>
                <a:gd name="connsiteY11271" fmla="*/ 2168176 h 3355086"/>
                <a:gd name="connsiteX11272" fmla="*/ 1495424 w 3359086"/>
                <a:gd name="connsiteY11272" fmla="*/ 2161985 h 3355086"/>
                <a:gd name="connsiteX11273" fmla="*/ 2972275 w 3359086"/>
                <a:gd name="connsiteY11273" fmla="*/ 2160556 h 3355086"/>
                <a:gd name="connsiteX11274" fmla="*/ 2978467 w 3359086"/>
                <a:gd name="connsiteY11274" fmla="*/ 2166747 h 3355086"/>
                <a:gd name="connsiteX11275" fmla="*/ 2972275 w 3359086"/>
                <a:gd name="connsiteY11275" fmla="*/ 2172938 h 3355086"/>
                <a:gd name="connsiteX11276" fmla="*/ 2966084 w 3359086"/>
                <a:gd name="connsiteY11276" fmla="*/ 2166747 h 3355086"/>
                <a:gd name="connsiteX11277" fmla="*/ 2972275 w 3359086"/>
                <a:gd name="connsiteY11277" fmla="*/ 2160556 h 3355086"/>
                <a:gd name="connsiteX11278" fmla="*/ 3110293 w 3359086"/>
                <a:gd name="connsiteY11278" fmla="*/ 2160366 h 3355086"/>
                <a:gd name="connsiteX11279" fmla="*/ 3116484 w 3359086"/>
                <a:gd name="connsiteY11279" fmla="*/ 2166557 h 3355086"/>
                <a:gd name="connsiteX11280" fmla="*/ 3110293 w 3359086"/>
                <a:gd name="connsiteY11280" fmla="*/ 2172749 h 3355086"/>
                <a:gd name="connsiteX11281" fmla="*/ 3104102 w 3359086"/>
                <a:gd name="connsiteY11281" fmla="*/ 2166557 h 3355086"/>
                <a:gd name="connsiteX11282" fmla="*/ 3110293 w 3359086"/>
                <a:gd name="connsiteY11282" fmla="*/ 2160366 h 3355086"/>
                <a:gd name="connsiteX11283" fmla="*/ 155066 w 3359086"/>
                <a:gd name="connsiteY11283" fmla="*/ 2160270 h 3355086"/>
                <a:gd name="connsiteX11284" fmla="*/ 161258 w 3359086"/>
                <a:gd name="connsiteY11284" fmla="*/ 2166461 h 3355086"/>
                <a:gd name="connsiteX11285" fmla="*/ 155066 w 3359086"/>
                <a:gd name="connsiteY11285" fmla="*/ 2172653 h 3355086"/>
                <a:gd name="connsiteX11286" fmla="*/ 148875 w 3359086"/>
                <a:gd name="connsiteY11286" fmla="*/ 2166461 h 3355086"/>
                <a:gd name="connsiteX11287" fmla="*/ 155066 w 3359086"/>
                <a:gd name="connsiteY11287" fmla="*/ 2160270 h 3355086"/>
                <a:gd name="connsiteX11288" fmla="*/ 85819 w 3359086"/>
                <a:gd name="connsiteY11288" fmla="*/ 2159127 h 3355086"/>
                <a:gd name="connsiteX11289" fmla="*/ 91582 w 3359086"/>
                <a:gd name="connsiteY11289" fmla="*/ 2164890 h 3355086"/>
                <a:gd name="connsiteX11290" fmla="*/ 96773 w 3359086"/>
                <a:gd name="connsiteY11290" fmla="*/ 2159699 h 3355086"/>
                <a:gd name="connsiteX11291" fmla="*/ 102917 w 3359086"/>
                <a:gd name="connsiteY11291" fmla="*/ 2165842 h 3355086"/>
                <a:gd name="connsiteX11292" fmla="*/ 107441 w 3359086"/>
                <a:gd name="connsiteY11292" fmla="*/ 2161318 h 3355086"/>
                <a:gd name="connsiteX11293" fmla="*/ 113633 w 3359086"/>
                <a:gd name="connsiteY11293" fmla="*/ 2167509 h 3355086"/>
                <a:gd name="connsiteX11294" fmla="*/ 107441 w 3359086"/>
                <a:gd name="connsiteY11294" fmla="*/ 2173701 h 3355086"/>
                <a:gd name="connsiteX11295" fmla="*/ 101298 w 3359086"/>
                <a:gd name="connsiteY11295" fmla="*/ 2167557 h 3355086"/>
                <a:gd name="connsiteX11296" fmla="*/ 96773 w 3359086"/>
                <a:gd name="connsiteY11296" fmla="*/ 2172082 h 3355086"/>
                <a:gd name="connsiteX11297" fmla="*/ 91010 w 3359086"/>
                <a:gd name="connsiteY11297" fmla="*/ 2166319 h 3355086"/>
                <a:gd name="connsiteX11298" fmla="*/ 85819 w 3359086"/>
                <a:gd name="connsiteY11298" fmla="*/ 2171510 h 3355086"/>
                <a:gd name="connsiteX11299" fmla="*/ 79628 w 3359086"/>
                <a:gd name="connsiteY11299" fmla="*/ 2165318 h 3355086"/>
                <a:gd name="connsiteX11300" fmla="*/ 85819 w 3359086"/>
                <a:gd name="connsiteY11300" fmla="*/ 2159127 h 3355086"/>
                <a:gd name="connsiteX11301" fmla="*/ 1908904 w 3359086"/>
                <a:gd name="connsiteY11301" fmla="*/ 2158175 h 3355086"/>
                <a:gd name="connsiteX11302" fmla="*/ 1915096 w 3359086"/>
                <a:gd name="connsiteY11302" fmla="*/ 2164366 h 3355086"/>
                <a:gd name="connsiteX11303" fmla="*/ 1908904 w 3359086"/>
                <a:gd name="connsiteY11303" fmla="*/ 2170557 h 3355086"/>
                <a:gd name="connsiteX11304" fmla="*/ 1902713 w 3359086"/>
                <a:gd name="connsiteY11304" fmla="*/ 2164366 h 3355086"/>
                <a:gd name="connsiteX11305" fmla="*/ 1908904 w 3359086"/>
                <a:gd name="connsiteY11305" fmla="*/ 2158175 h 3355086"/>
                <a:gd name="connsiteX11306" fmla="*/ 3266884 w 3359086"/>
                <a:gd name="connsiteY11306" fmla="*/ 2155603 h 3355086"/>
                <a:gd name="connsiteX11307" fmla="*/ 3273076 w 3359086"/>
                <a:gd name="connsiteY11307" fmla="*/ 2161794 h 3355086"/>
                <a:gd name="connsiteX11308" fmla="*/ 3266884 w 3359086"/>
                <a:gd name="connsiteY11308" fmla="*/ 2167986 h 3355086"/>
                <a:gd name="connsiteX11309" fmla="*/ 3260693 w 3359086"/>
                <a:gd name="connsiteY11309" fmla="*/ 2161794 h 3355086"/>
                <a:gd name="connsiteX11310" fmla="*/ 3266884 w 3359086"/>
                <a:gd name="connsiteY11310" fmla="*/ 2155603 h 3355086"/>
                <a:gd name="connsiteX11311" fmla="*/ 628459 w 3359086"/>
                <a:gd name="connsiteY11311" fmla="*/ 2155032 h 3355086"/>
                <a:gd name="connsiteX11312" fmla="*/ 634650 w 3359086"/>
                <a:gd name="connsiteY11312" fmla="*/ 2161223 h 3355086"/>
                <a:gd name="connsiteX11313" fmla="*/ 628459 w 3359086"/>
                <a:gd name="connsiteY11313" fmla="*/ 2167414 h 3355086"/>
                <a:gd name="connsiteX11314" fmla="*/ 622268 w 3359086"/>
                <a:gd name="connsiteY11314" fmla="*/ 2161223 h 3355086"/>
                <a:gd name="connsiteX11315" fmla="*/ 628459 w 3359086"/>
                <a:gd name="connsiteY11315" fmla="*/ 2155032 h 3355086"/>
                <a:gd name="connsiteX11316" fmla="*/ 3213449 w 3359086"/>
                <a:gd name="connsiteY11316" fmla="*/ 2154270 h 3355086"/>
                <a:gd name="connsiteX11317" fmla="*/ 3219640 w 3359086"/>
                <a:gd name="connsiteY11317" fmla="*/ 2160461 h 3355086"/>
                <a:gd name="connsiteX11318" fmla="*/ 3213449 w 3359086"/>
                <a:gd name="connsiteY11318" fmla="*/ 2166653 h 3355086"/>
                <a:gd name="connsiteX11319" fmla="*/ 3207258 w 3359086"/>
                <a:gd name="connsiteY11319" fmla="*/ 2160461 h 3355086"/>
                <a:gd name="connsiteX11320" fmla="*/ 3213449 w 3359086"/>
                <a:gd name="connsiteY11320" fmla="*/ 2154270 h 3355086"/>
                <a:gd name="connsiteX11321" fmla="*/ 1361979 w 3359086"/>
                <a:gd name="connsiteY11321" fmla="*/ 2154079 h 3355086"/>
                <a:gd name="connsiteX11322" fmla="*/ 1368171 w 3359086"/>
                <a:gd name="connsiteY11322" fmla="*/ 2160270 h 3355086"/>
                <a:gd name="connsiteX11323" fmla="*/ 1361979 w 3359086"/>
                <a:gd name="connsiteY11323" fmla="*/ 2166462 h 3355086"/>
                <a:gd name="connsiteX11324" fmla="*/ 1355788 w 3359086"/>
                <a:gd name="connsiteY11324" fmla="*/ 2160270 h 3355086"/>
                <a:gd name="connsiteX11325" fmla="*/ 1361979 w 3359086"/>
                <a:gd name="connsiteY11325" fmla="*/ 2154079 h 3355086"/>
                <a:gd name="connsiteX11326" fmla="*/ 3238785 w 3359086"/>
                <a:gd name="connsiteY11326" fmla="*/ 2153126 h 3355086"/>
                <a:gd name="connsiteX11327" fmla="*/ 3244452 w 3359086"/>
                <a:gd name="connsiteY11327" fmla="*/ 2158794 h 3355086"/>
                <a:gd name="connsiteX11328" fmla="*/ 3250024 w 3359086"/>
                <a:gd name="connsiteY11328" fmla="*/ 2153222 h 3355086"/>
                <a:gd name="connsiteX11329" fmla="*/ 3256215 w 3359086"/>
                <a:gd name="connsiteY11329" fmla="*/ 2159413 h 3355086"/>
                <a:gd name="connsiteX11330" fmla="*/ 3250024 w 3359086"/>
                <a:gd name="connsiteY11330" fmla="*/ 2165605 h 3355086"/>
                <a:gd name="connsiteX11331" fmla="*/ 3244357 w 3359086"/>
                <a:gd name="connsiteY11331" fmla="*/ 2159937 h 3355086"/>
                <a:gd name="connsiteX11332" fmla="*/ 3238785 w 3359086"/>
                <a:gd name="connsiteY11332" fmla="*/ 2165509 h 3355086"/>
                <a:gd name="connsiteX11333" fmla="*/ 3234166 w 3359086"/>
                <a:gd name="connsiteY11333" fmla="*/ 2160889 h 3355086"/>
                <a:gd name="connsiteX11334" fmla="*/ 3228689 w 3359086"/>
                <a:gd name="connsiteY11334" fmla="*/ 2166366 h 3355086"/>
                <a:gd name="connsiteX11335" fmla="*/ 3222498 w 3359086"/>
                <a:gd name="connsiteY11335" fmla="*/ 2160175 h 3355086"/>
                <a:gd name="connsiteX11336" fmla="*/ 3228689 w 3359086"/>
                <a:gd name="connsiteY11336" fmla="*/ 2153984 h 3355086"/>
                <a:gd name="connsiteX11337" fmla="*/ 3233308 w 3359086"/>
                <a:gd name="connsiteY11337" fmla="*/ 2158603 h 3355086"/>
                <a:gd name="connsiteX11338" fmla="*/ 340137 w 3359086"/>
                <a:gd name="connsiteY11338" fmla="*/ 2152746 h 3355086"/>
                <a:gd name="connsiteX11339" fmla="*/ 346328 w 3359086"/>
                <a:gd name="connsiteY11339" fmla="*/ 2158937 h 3355086"/>
                <a:gd name="connsiteX11340" fmla="*/ 340137 w 3359086"/>
                <a:gd name="connsiteY11340" fmla="*/ 2165129 h 3355086"/>
                <a:gd name="connsiteX11341" fmla="*/ 333946 w 3359086"/>
                <a:gd name="connsiteY11341" fmla="*/ 2158937 h 3355086"/>
                <a:gd name="connsiteX11342" fmla="*/ 340137 w 3359086"/>
                <a:gd name="connsiteY11342" fmla="*/ 2152746 h 3355086"/>
                <a:gd name="connsiteX11343" fmla="*/ 210025 w 3359086"/>
                <a:gd name="connsiteY11343" fmla="*/ 2152746 h 3355086"/>
                <a:gd name="connsiteX11344" fmla="*/ 216217 w 3359086"/>
                <a:gd name="connsiteY11344" fmla="*/ 2158937 h 3355086"/>
                <a:gd name="connsiteX11345" fmla="*/ 210025 w 3359086"/>
                <a:gd name="connsiteY11345" fmla="*/ 2165129 h 3355086"/>
                <a:gd name="connsiteX11346" fmla="*/ 203834 w 3359086"/>
                <a:gd name="connsiteY11346" fmla="*/ 2158937 h 3355086"/>
                <a:gd name="connsiteX11347" fmla="*/ 210025 w 3359086"/>
                <a:gd name="connsiteY11347" fmla="*/ 2152746 h 3355086"/>
                <a:gd name="connsiteX11348" fmla="*/ 3185445 w 3359086"/>
                <a:gd name="connsiteY11348" fmla="*/ 2151888 h 3355086"/>
                <a:gd name="connsiteX11349" fmla="*/ 3191636 w 3359086"/>
                <a:gd name="connsiteY11349" fmla="*/ 2158079 h 3355086"/>
                <a:gd name="connsiteX11350" fmla="*/ 3185445 w 3359086"/>
                <a:gd name="connsiteY11350" fmla="*/ 2164271 h 3355086"/>
                <a:gd name="connsiteX11351" fmla="*/ 3179254 w 3359086"/>
                <a:gd name="connsiteY11351" fmla="*/ 2158079 h 3355086"/>
                <a:gd name="connsiteX11352" fmla="*/ 3185445 w 3359086"/>
                <a:gd name="connsiteY11352" fmla="*/ 2151888 h 3355086"/>
                <a:gd name="connsiteX11353" fmla="*/ 2038825 w 3359086"/>
                <a:gd name="connsiteY11353" fmla="*/ 2148459 h 3355086"/>
                <a:gd name="connsiteX11354" fmla="*/ 2045017 w 3359086"/>
                <a:gd name="connsiteY11354" fmla="*/ 2154650 h 3355086"/>
                <a:gd name="connsiteX11355" fmla="*/ 2038825 w 3359086"/>
                <a:gd name="connsiteY11355" fmla="*/ 2160842 h 3355086"/>
                <a:gd name="connsiteX11356" fmla="*/ 2032634 w 3359086"/>
                <a:gd name="connsiteY11356" fmla="*/ 2154650 h 3355086"/>
                <a:gd name="connsiteX11357" fmla="*/ 2038825 w 3359086"/>
                <a:gd name="connsiteY11357" fmla="*/ 2148459 h 3355086"/>
                <a:gd name="connsiteX11358" fmla="*/ 78866 w 3359086"/>
                <a:gd name="connsiteY11358" fmla="*/ 2148364 h 3355086"/>
                <a:gd name="connsiteX11359" fmla="*/ 85058 w 3359086"/>
                <a:gd name="connsiteY11359" fmla="*/ 2154555 h 3355086"/>
                <a:gd name="connsiteX11360" fmla="*/ 78866 w 3359086"/>
                <a:gd name="connsiteY11360" fmla="*/ 2160747 h 3355086"/>
                <a:gd name="connsiteX11361" fmla="*/ 72675 w 3359086"/>
                <a:gd name="connsiteY11361" fmla="*/ 2154555 h 3355086"/>
                <a:gd name="connsiteX11362" fmla="*/ 78866 w 3359086"/>
                <a:gd name="connsiteY11362" fmla="*/ 2148364 h 3355086"/>
                <a:gd name="connsiteX11363" fmla="*/ 114204 w 3359086"/>
                <a:gd name="connsiteY11363" fmla="*/ 2147507 h 3355086"/>
                <a:gd name="connsiteX11364" fmla="*/ 120396 w 3359086"/>
                <a:gd name="connsiteY11364" fmla="*/ 2153698 h 3355086"/>
                <a:gd name="connsiteX11365" fmla="*/ 114204 w 3359086"/>
                <a:gd name="connsiteY11365" fmla="*/ 2159890 h 3355086"/>
                <a:gd name="connsiteX11366" fmla="*/ 108013 w 3359086"/>
                <a:gd name="connsiteY11366" fmla="*/ 2153698 h 3355086"/>
                <a:gd name="connsiteX11367" fmla="*/ 114204 w 3359086"/>
                <a:gd name="connsiteY11367" fmla="*/ 2147507 h 3355086"/>
                <a:gd name="connsiteX11368" fmla="*/ 90487 w 3359086"/>
                <a:gd name="connsiteY11368" fmla="*/ 2147507 h 3355086"/>
                <a:gd name="connsiteX11369" fmla="*/ 95535 w 3359086"/>
                <a:gd name="connsiteY11369" fmla="*/ 2152555 h 3355086"/>
                <a:gd name="connsiteX11370" fmla="*/ 100298 w 3359086"/>
                <a:gd name="connsiteY11370" fmla="*/ 2147792 h 3355086"/>
                <a:gd name="connsiteX11371" fmla="*/ 106490 w 3359086"/>
                <a:gd name="connsiteY11371" fmla="*/ 2153983 h 3355086"/>
                <a:gd name="connsiteX11372" fmla="*/ 100298 w 3359086"/>
                <a:gd name="connsiteY11372" fmla="*/ 2160175 h 3355086"/>
                <a:gd name="connsiteX11373" fmla="*/ 95250 w 3359086"/>
                <a:gd name="connsiteY11373" fmla="*/ 2155126 h 3355086"/>
                <a:gd name="connsiteX11374" fmla="*/ 90487 w 3359086"/>
                <a:gd name="connsiteY11374" fmla="*/ 2159890 h 3355086"/>
                <a:gd name="connsiteX11375" fmla="*/ 84296 w 3359086"/>
                <a:gd name="connsiteY11375" fmla="*/ 2153698 h 3355086"/>
                <a:gd name="connsiteX11376" fmla="*/ 90487 w 3359086"/>
                <a:gd name="connsiteY11376" fmla="*/ 2147507 h 3355086"/>
                <a:gd name="connsiteX11377" fmla="*/ 3275742 w 3359086"/>
                <a:gd name="connsiteY11377" fmla="*/ 2146745 h 3355086"/>
                <a:gd name="connsiteX11378" fmla="*/ 3281933 w 3359086"/>
                <a:gd name="connsiteY11378" fmla="*/ 2152936 h 3355086"/>
                <a:gd name="connsiteX11379" fmla="*/ 3275742 w 3359086"/>
                <a:gd name="connsiteY11379" fmla="*/ 2159128 h 3355086"/>
                <a:gd name="connsiteX11380" fmla="*/ 3269551 w 3359086"/>
                <a:gd name="connsiteY11380" fmla="*/ 2152936 h 3355086"/>
                <a:gd name="connsiteX11381" fmla="*/ 3275742 w 3359086"/>
                <a:gd name="connsiteY11381" fmla="*/ 2146745 h 3355086"/>
                <a:gd name="connsiteX11382" fmla="*/ 2741008 w 3359086"/>
                <a:gd name="connsiteY11382" fmla="*/ 2146269 h 3355086"/>
                <a:gd name="connsiteX11383" fmla="*/ 2747200 w 3359086"/>
                <a:gd name="connsiteY11383" fmla="*/ 2152460 h 3355086"/>
                <a:gd name="connsiteX11384" fmla="*/ 2741008 w 3359086"/>
                <a:gd name="connsiteY11384" fmla="*/ 2158651 h 3355086"/>
                <a:gd name="connsiteX11385" fmla="*/ 2734817 w 3359086"/>
                <a:gd name="connsiteY11385" fmla="*/ 2152460 h 3355086"/>
                <a:gd name="connsiteX11386" fmla="*/ 2741008 w 3359086"/>
                <a:gd name="connsiteY11386" fmla="*/ 2146269 h 3355086"/>
                <a:gd name="connsiteX11387" fmla="*/ 139921 w 3359086"/>
                <a:gd name="connsiteY11387" fmla="*/ 2144745 h 3355086"/>
                <a:gd name="connsiteX11388" fmla="*/ 146113 w 3359086"/>
                <a:gd name="connsiteY11388" fmla="*/ 2150936 h 3355086"/>
                <a:gd name="connsiteX11389" fmla="*/ 139921 w 3359086"/>
                <a:gd name="connsiteY11389" fmla="*/ 2157128 h 3355086"/>
                <a:gd name="connsiteX11390" fmla="*/ 133730 w 3359086"/>
                <a:gd name="connsiteY11390" fmla="*/ 2150936 h 3355086"/>
                <a:gd name="connsiteX11391" fmla="*/ 139921 w 3359086"/>
                <a:gd name="connsiteY11391" fmla="*/ 2144745 h 3355086"/>
                <a:gd name="connsiteX11392" fmla="*/ 3135058 w 3359086"/>
                <a:gd name="connsiteY11392" fmla="*/ 2144078 h 3355086"/>
                <a:gd name="connsiteX11393" fmla="*/ 3141250 w 3359086"/>
                <a:gd name="connsiteY11393" fmla="*/ 2150269 h 3355086"/>
                <a:gd name="connsiteX11394" fmla="*/ 3135058 w 3359086"/>
                <a:gd name="connsiteY11394" fmla="*/ 2156461 h 3355086"/>
                <a:gd name="connsiteX11395" fmla="*/ 3128867 w 3359086"/>
                <a:gd name="connsiteY11395" fmla="*/ 2150269 h 3355086"/>
                <a:gd name="connsiteX11396" fmla="*/ 3135058 w 3359086"/>
                <a:gd name="connsiteY11396" fmla="*/ 2144078 h 3355086"/>
                <a:gd name="connsiteX11397" fmla="*/ 3013614 w 3359086"/>
                <a:gd name="connsiteY11397" fmla="*/ 2143887 h 3355086"/>
                <a:gd name="connsiteX11398" fmla="*/ 3019806 w 3359086"/>
                <a:gd name="connsiteY11398" fmla="*/ 2150078 h 3355086"/>
                <a:gd name="connsiteX11399" fmla="*/ 3013614 w 3359086"/>
                <a:gd name="connsiteY11399" fmla="*/ 2156269 h 3355086"/>
                <a:gd name="connsiteX11400" fmla="*/ 3007423 w 3359086"/>
                <a:gd name="connsiteY11400" fmla="*/ 2150078 h 3355086"/>
                <a:gd name="connsiteX11401" fmla="*/ 3013614 w 3359086"/>
                <a:gd name="connsiteY11401" fmla="*/ 2143887 h 3355086"/>
                <a:gd name="connsiteX11402" fmla="*/ 1235678 w 3359086"/>
                <a:gd name="connsiteY11402" fmla="*/ 2143125 h 3355086"/>
                <a:gd name="connsiteX11403" fmla="*/ 1241870 w 3359086"/>
                <a:gd name="connsiteY11403" fmla="*/ 2149316 h 3355086"/>
                <a:gd name="connsiteX11404" fmla="*/ 1235678 w 3359086"/>
                <a:gd name="connsiteY11404" fmla="*/ 2155507 h 3355086"/>
                <a:gd name="connsiteX11405" fmla="*/ 1229487 w 3359086"/>
                <a:gd name="connsiteY11405" fmla="*/ 2149316 h 3355086"/>
                <a:gd name="connsiteX11406" fmla="*/ 1235678 w 3359086"/>
                <a:gd name="connsiteY11406" fmla="*/ 2143125 h 3355086"/>
                <a:gd name="connsiteX11407" fmla="*/ 3257073 w 3359086"/>
                <a:gd name="connsiteY11407" fmla="*/ 2142840 h 3355086"/>
                <a:gd name="connsiteX11408" fmla="*/ 3263265 w 3359086"/>
                <a:gd name="connsiteY11408" fmla="*/ 2149031 h 3355086"/>
                <a:gd name="connsiteX11409" fmla="*/ 3257073 w 3359086"/>
                <a:gd name="connsiteY11409" fmla="*/ 2155222 h 3355086"/>
                <a:gd name="connsiteX11410" fmla="*/ 3250882 w 3359086"/>
                <a:gd name="connsiteY11410" fmla="*/ 2149031 h 3355086"/>
                <a:gd name="connsiteX11411" fmla="*/ 3257073 w 3359086"/>
                <a:gd name="connsiteY11411" fmla="*/ 2142840 h 3355086"/>
                <a:gd name="connsiteX11412" fmla="*/ 3235451 w 3359086"/>
                <a:gd name="connsiteY11412" fmla="*/ 2140744 h 3355086"/>
                <a:gd name="connsiteX11413" fmla="*/ 3240500 w 3359086"/>
                <a:gd name="connsiteY11413" fmla="*/ 2145793 h 3355086"/>
                <a:gd name="connsiteX11414" fmla="*/ 3245072 w 3359086"/>
                <a:gd name="connsiteY11414" fmla="*/ 2141220 h 3355086"/>
                <a:gd name="connsiteX11415" fmla="*/ 3251263 w 3359086"/>
                <a:gd name="connsiteY11415" fmla="*/ 2147411 h 3355086"/>
                <a:gd name="connsiteX11416" fmla="*/ 3245072 w 3359086"/>
                <a:gd name="connsiteY11416" fmla="*/ 2153603 h 3355086"/>
                <a:gd name="connsiteX11417" fmla="*/ 3240023 w 3359086"/>
                <a:gd name="connsiteY11417" fmla="*/ 2148554 h 3355086"/>
                <a:gd name="connsiteX11418" fmla="*/ 3235451 w 3359086"/>
                <a:gd name="connsiteY11418" fmla="*/ 2153126 h 3355086"/>
                <a:gd name="connsiteX11419" fmla="*/ 3229260 w 3359086"/>
                <a:gd name="connsiteY11419" fmla="*/ 2146935 h 3355086"/>
                <a:gd name="connsiteX11420" fmla="*/ 3235451 w 3359086"/>
                <a:gd name="connsiteY11420" fmla="*/ 2140744 h 3355086"/>
                <a:gd name="connsiteX11421" fmla="*/ 3222783 w 3359086"/>
                <a:gd name="connsiteY11421" fmla="*/ 2139887 h 3355086"/>
                <a:gd name="connsiteX11422" fmla="*/ 3228974 w 3359086"/>
                <a:gd name="connsiteY11422" fmla="*/ 2146078 h 3355086"/>
                <a:gd name="connsiteX11423" fmla="*/ 3222783 w 3359086"/>
                <a:gd name="connsiteY11423" fmla="*/ 2152270 h 3355086"/>
                <a:gd name="connsiteX11424" fmla="*/ 3216592 w 3359086"/>
                <a:gd name="connsiteY11424" fmla="*/ 2146078 h 3355086"/>
                <a:gd name="connsiteX11425" fmla="*/ 3222783 w 3359086"/>
                <a:gd name="connsiteY11425" fmla="*/ 2139887 h 3355086"/>
                <a:gd name="connsiteX11426" fmla="*/ 560260 w 3359086"/>
                <a:gd name="connsiteY11426" fmla="*/ 2138744 h 3355086"/>
                <a:gd name="connsiteX11427" fmla="*/ 566452 w 3359086"/>
                <a:gd name="connsiteY11427" fmla="*/ 2144935 h 3355086"/>
                <a:gd name="connsiteX11428" fmla="*/ 560260 w 3359086"/>
                <a:gd name="connsiteY11428" fmla="*/ 2151127 h 3355086"/>
                <a:gd name="connsiteX11429" fmla="*/ 554069 w 3359086"/>
                <a:gd name="connsiteY11429" fmla="*/ 2144935 h 3355086"/>
                <a:gd name="connsiteX11430" fmla="*/ 560260 w 3359086"/>
                <a:gd name="connsiteY11430" fmla="*/ 2138744 h 3355086"/>
                <a:gd name="connsiteX11431" fmla="*/ 71818 w 3359086"/>
                <a:gd name="connsiteY11431" fmla="*/ 2138744 h 3355086"/>
                <a:gd name="connsiteX11432" fmla="*/ 77438 w 3359086"/>
                <a:gd name="connsiteY11432" fmla="*/ 2144364 h 3355086"/>
                <a:gd name="connsiteX11433" fmla="*/ 71818 w 3359086"/>
                <a:gd name="connsiteY11433" fmla="*/ 2149983 h 3355086"/>
                <a:gd name="connsiteX11434" fmla="*/ 66198 w 3359086"/>
                <a:gd name="connsiteY11434" fmla="*/ 2144364 h 3355086"/>
                <a:gd name="connsiteX11435" fmla="*/ 71818 w 3359086"/>
                <a:gd name="connsiteY11435" fmla="*/ 2138744 h 3355086"/>
                <a:gd name="connsiteX11436" fmla="*/ 3284981 w 3359086"/>
                <a:gd name="connsiteY11436" fmla="*/ 2138267 h 3355086"/>
                <a:gd name="connsiteX11437" fmla="*/ 3291172 w 3359086"/>
                <a:gd name="connsiteY11437" fmla="*/ 2144458 h 3355086"/>
                <a:gd name="connsiteX11438" fmla="*/ 3284981 w 3359086"/>
                <a:gd name="connsiteY11438" fmla="*/ 2150650 h 3355086"/>
                <a:gd name="connsiteX11439" fmla="*/ 3278790 w 3359086"/>
                <a:gd name="connsiteY11439" fmla="*/ 2144458 h 3355086"/>
                <a:gd name="connsiteX11440" fmla="*/ 3284981 w 3359086"/>
                <a:gd name="connsiteY11440" fmla="*/ 2138267 h 3355086"/>
                <a:gd name="connsiteX11441" fmla="*/ 186689 w 3359086"/>
                <a:gd name="connsiteY11441" fmla="*/ 2136744 h 3355086"/>
                <a:gd name="connsiteX11442" fmla="*/ 192880 w 3359086"/>
                <a:gd name="connsiteY11442" fmla="*/ 2142935 h 3355086"/>
                <a:gd name="connsiteX11443" fmla="*/ 186689 w 3359086"/>
                <a:gd name="connsiteY11443" fmla="*/ 2149126 h 3355086"/>
                <a:gd name="connsiteX11444" fmla="*/ 180498 w 3359086"/>
                <a:gd name="connsiteY11444" fmla="*/ 2142935 h 3355086"/>
                <a:gd name="connsiteX11445" fmla="*/ 186689 w 3359086"/>
                <a:gd name="connsiteY11445" fmla="*/ 2136744 h 3355086"/>
                <a:gd name="connsiteX11446" fmla="*/ 3199637 w 3359086"/>
                <a:gd name="connsiteY11446" fmla="*/ 2136648 h 3355086"/>
                <a:gd name="connsiteX11447" fmla="*/ 3205829 w 3359086"/>
                <a:gd name="connsiteY11447" fmla="*/ 2142839 h 3355086"/>
                <a:gd name="connsiteX11448" fmla="*/ 3199637 w 3359086"/>
                <a:gd name="connsiteY11448" fmla="*/ 2149031 h 3355086"/>
                <a:gd name="connsiteX11449" fmla="*/ 3193446 w 3359086"/>
                <a:gd name="connsiteY11449" fmla="*/ 2142839 h 3355086"/>
                <a:gd name="connsiteX11450" fmla="*/ 3199637 w 3359086"/>
                <a:gd name="connsiteY11450" fmla="*/ 2136648 h 3355086"/>
                <a:gd name="connsiteX11451" fmla="*/ 2160841 w 3359086"/>
                <a:gd name="connsiteY11451" fmla="*/ 2136553 h 3355086"/>
                <a:gd name="connsiteX11452" fmla="*/ 2167032 w 3359086"/>
                <a:gd name="connsiteY11452" fmla="*/ 2142744 h 3355086"/>
                <a:gd name="connsiteX11453" fmla="*/ 2160841 w 3359086"/>
                <a:gd name="connsiteY11453" fmla="*/ 2148936 h 3355086"/>
                <a:gd name="connsiteX11454" fmla="*/ 2154650 w 3359086"/>
                <a:gd name="connsiteY11454" fmla="*/ 2142744 h 3355086"/>
                <a:gd name="connsiteX11455" fmla="*/ 2160841 w 3359086"/>
                <a:gd name="connsiteY11455" fmla="*/ 2136553 h 3355086"/>
                <a:gd name="connsiteX11456" fmla="*/ 300894 w 3359086"/>
                <a:gd name="connsiteY11456" fmla="*/ 2136362 h 3355086"/>
                <a:gd name="connsiteX11457" fmla="*/ 307086 w 3359086"/>
                <a:gd name="connsiteY11457" fmla="*/ 2142553 h 3355086"/>
                <a:gd name="connsiteX11458" fmla="*/ 300894 w 3359086"/>
                <a:gd name="connsiteY11458" fmla="*/ 2148745 h 3355086"/>
                <a:gd name="connsiteX11459" fmla="*/ 294703 w 3359086"/>
                <a:gd name="connsiteY11459" fmla="*/ 2142553 h 3355086"/>
                <a:gd name="connsiteX11460" fmla="*/ 300894 w 3359086"/>
                <a:gd name="connsiteY11460" fmla="*/ 2136362 h 3355086"/>
                <a:gd name="connsiteX11461" fmla="*/ 3294888 w 3359086"/>
                <a:gd name="connsiteY11461" fmla="*/ 2135791 h 3355086"/>
                <a:gd name="connsiteX11462" fmla="*/ 3295840 w 3359086"/>
                <a:gd name="connsiteY11462" fmla="*/ 2136744 h 3355086"/>
                <a:gd name="connsiteX11463" fmla="*/ 3294888 w 3359086"/>
                <a:gd name="connsiteY11463" fmla="*/ 2137696 h 3355086"/>
                <a:gd name="connsiteX11464" fmla="*/ 3293935 w 3359086"/>
                <a:gd name="connsiteY11464" fmla="*/ 2136744 h 3355086"/>
                <a:gd name="connsiteX11465" fmla="*/ 3294888 w 3359086"/>
                <a:gd name="connsiteY11465" fmla="*/ 2135791 h 3355086"/>
                <a:gd name="connsiteX11466" fmla="*/ 93725 w 3359086"/>
                <a:gd name="connsiteY11466" fmla="*/ 2134838 h 3355086"/>
                <a:gd name="connsiteX11467" fmla="*/ 99917 w 3359086"/>
                <a:gd name="connsiteY11467" fmla="*/ 2141029 h 3355086"/>
                <a:gd name="connsiteX11468" fmla="*/ 93725 w 3359086"/>
                <a:gd name="connsiteY11468" fmla="*/ 2147221 h 3355086"/>
                <a:gd name="connsiteX11469" fmla="*/ 89534 w 3359086"/>
                <a:gd name="connsiteY11469" fmla="*/ 2143030 h 3355086"/>
                <a:gd name="connsiteX11470" fmla="*/ 84295 w 3359086"/>
                <a:gd name="connsiteY11470" fmla="*/ 2148269 h 3355086"/>
                <a:gd name="connsiteX11471" fmla="*/ 78104 w 3359086"/>
                <a:gd name="connsiteY11471" fmla="*/ 2142077 h 3355086"/>
                <a:gd name="connsiteX11472" fmla="*/ 84295 w 3359086"/>
                <a:gd name="connsiteY11472" fmla="*/ 2135886 h 3355086"/>
                <a:gd name="connsiteX11473" fmla="*/ 88486 w 3359086"/>
                <a:gd name="connsiteY11473" fmla="*/ 2140077 h 3355086"/>
                <a:gd name="connsiteX11474" fmla="*/ 105441 w 3359086"/>
                <a:gd name="connsiteY11474" fmla="*/ 2133505 h 3355086"/>
                <a:gd name="connsiteX11475" fmla="*/ 111633 w 3359086"/>
                <a:gd name="connsiteY11475" fmla="*/ 2139696 h 3355086"/>
                <a:gd name="connsiteX11476" fmla="*/ 105441 w 3359086"/>
                <a:gd name="connsiteY11476" fmla="*/ 2145888 h 3355086"/>
                <a:gd name="connsiteX11477" fmla="*/ 99250 w 3359086"/>
                <a:gd name="connsiteY11477" fmla="*/ 2139696 h 3355086"/>
                <a:gd name="connsiteX11478" fmla="*/ 105441 w 3359086"/>
                <a:gd name="connsiteY11478" fmla="*/ 2133505 h 3355086"/>
                <a:gd name="connsiteX11479" fmla="*/ 3264312 w 3359086"/>
                <a:gd name="connsiteY11479" fmla="*/ 2133029 h 3355086"/>
                <a:gd name="connsiteX11480" fmla="*/ 3270503 w 3359086"/>
                <a:gd name="connsiteY11480" fmla="*/ 2139220 h 3355086"/>
                <a:gd name="connsiteX11481" fmla="*/ 3264312 w 3359086"/>
                <a:gd name="connsiteY11481" fmla="*/ 2145412 h 3355086"/>
                <a:gd name="connsiteX11482" fmla="*/ 3258121 w 3359086"/>
                <a:gd name="connsiteY11482" fmla="*/ 2139220 h 3355086"/>
                <a:gd name="connsiteX11483" fmla="*/ 3264312 w 3359086"/>
                <a:gd name="connsiteY11483" fmla="*/ 2133029 h 3355086"/>
                <a:gd name="connsiteX11484" fmla="*/ 1117472 w 3359086"/>
                <a:gd name="connsiteY11484" fmla="*/ 2130457 h 3355086"/>
                <a:gd name="connsiteX11485" fmla="*/ 1123664 w 3359086"/>
                <a:gd name="connsiteY11485" fmla="*/ 2136648 h 3355086"/>
                <a:gd name="connsiteX11486" fmla="*/ 1117472 w 3359086"/>
                <a:gd name="connsiteY11486" fmla="*/ 2142840 h 3355086"/>
                <a:gd name="connsiteX11487" fmla="*/ 1111281 w 3359086"/>
                <a:gd name="connsiteY11487" fmla="*/ 2136648 h 3355086"/>
                <a:gd name="connsiteX11488" fmla="*/ 1117472 w 3359086"/>
                <a:gd name="connsiteY11488" fmla="*/ 2130457 h 3355086"/>
                <a:gd name="connsiteX11489" fmla="*/ 2805874 w 3359086"/>
                <a:gd name="connsiteY11489" fmla="*/ 2130076 h 3355086"/>
                <a:gd name="connsiteX11490" fmla="*/ 2812066 w 3359086"/>
                <a:gd name="connsiteY11490" fmla="*/ 2136267 h 3355086"/>
                <a:gd name="connsiteX11491" fmla="*/ 2805874 w 3359086"/>
                <a:gd name="connsiteY11491" fmla="*/ 2142459 h 3355086"/>
                <a:gd name="connsiteX11492" fmla="*/ 2799683 w 3359086"/>
                <a:gd name="connsiteY11492" fmla="*/ 2136267 h 3355086"/>
                <a:gd name="connsiteX11493" fmla="*/ 2805874 w 3359086"/>
                <a:gd name="connsiteY11493" fmla="*/ 2130076 h 3355086"/>
                <a:gd name="connsiteX11494" fmla="*/ 126587 w 3359086"/>
                <a:gd name="connsiteY11494" fmla="*/ 2129790 h 3355086"/>
                <a:gd name="connsiteX11495" fmla="*/ 132778 w 3359086"/>
                <a:gd name="connsiteY11495" fmla="*/ 2135981 h 3355086"/>
                <a:gd name="connsiteX11496" fmla="*/ 126587 w 3359086"/>
                <a:gd name="connsiteY11496" fmla="*/ 2142173 h 3355086"/>
                <a:gd name="connsiteX11497" fmla="*/ 120396 w 3359086"/>
                <a:gd name="connsiteY11497" fmla="*/ 2135981 h 3355086"/>
                <a:gd name="connsiteX11498" fmla="*/ 126587 w 3359086"/>
                <a:gd name="connsiteY11498" fmla="*/ 2129790 h 3355086"/>
                <a:gd name="connsiteX11499" fmla="*/ 3156870 w 3359086"/>
                <a:gd name="connsiteY11499" fmla="*/ 2128457 h 3355086"/>
                <a:gd name="connsiteX11500" fmla="*/ 3163061 w 3359086"/>
                <a:gd name="connsiteY11500" fmla="*/ 2134648 h 3355086"/>
                <a:gd name="connsiteX11501" fmla="*/ 3156870 w 3359086"/>
                <a:gd name="connsiteY11501" fmla="*/ 2140840 h 3355086"/>
                <a:gd name="connsiteX11502" fmla="*/ 3150679 w 3359086"/>
                <a:gd name="connsiteY11502" fmla="*/ 2134648 h 3355086"/>
                <a:gd name="connsiteX11503" fmla="*/ 3156870 w 3359086"/>
                <a:gd name="connsiteY11503" fmla="*/ 2128457 h 3355086"/>
                <a:gd name="connsiteX11504" fmla="*/ 3241833 w 3359086"/>
                <a:gd name="connsiteY11504" fmla="*/ 2128171 h 3355086"/>
                <a:gd name="connsiteX11505" fmla="*/ 3247405 w 3359086"/>
                <a:gd name="connsiteY11505" fmla="*/ 2133743 h 3355086"/>
                <a:gd name="connsiteX11506" fmla="*/ 3251167 w 3359086"/>
                <a:gd name="connsiteY11506" fmla="*/ 2129981 h 3355086"/>
                <a:gd name="connsiteX11507" fmla="*/ 3257359 w 3359086"/>
                <a:gd name="connsiteY11507" fmla="*/ 2136172 h 3355086"/>
                <a:gd name="connsiteX11508" fmla="*/ 3251167 w 3359086"/>
                <a:gd name="connsiteY11508" fmla="*/ 2142364 h 3355086"/>
                <a:gd name="connsiteX11509" fmla="*/ 3245595 w 3359086"/>
                <a:gd name="connsiteY11509" fmla="*/ 2136792 h 3355086"/>
                <a:gd name="connsiteX11510" fmla="*/ 3241833 w 3359086"/>
                <a:gd name="connsiteY11510" fmla="*/ 2140554 h 3355086"/>
                <a:gd name="connsiteX11511" fmla="*/ 3235642 w 3359086"/>
                <a:gd name="connsiteY11511" fmla="*/ 2134362 h 3355086"/>
                <a:gd name="connsiteX11512" fmla="*/ 3241833 w 3359086"/>
                <a:gd name="connsiteY11512" fmla="*/ 2128171 h 3355086"/>
                <a:gd name="connsiteX11513" fmla="*/ 3050476 w 3359086"/>
                <a:gd name="connsiteY11513" fmla="*/ 2127790 h 3355086"/>
                <a:gd name="connsiteX11514" fmla="*/ 3056668 w 3359086"/>
                <a:gd name="connsiteY11514" fmla="*/ 2133981 h 3355086"/>
                <a:gd name="connsiteX11515" fmla="*/ 3050476 w 3359086"/>
                <a:gd name="connsiteY11515" fmla="*/ 2140172 h 3355086"/>
                <a:gd name="connsiteX11516" fmla="*/ 3044285 w 3359086"/>
                <a:gd name="connsiteY11516" fmla="*/ 2133981 h 3355086"/>
                <a:gd name="connsiteX11517" fmla="*/ 3050476 w 3359086"/>
                <a:gd name="connsiteY11517" fmla="*/ 2127790 h 3355086"/>
                <a:gd name="connsiteX11518" fmla="*/ 3230974 w 3359086"/>
                <a:gd name="connsiteY11518" fmla="*/ 2126171 h 3355086"/>
                <a:gd name="connsiteX11519" fmla="*/ 3237165 w 3359086"/>
                <a:gd name="connsiteY11519" fmla="*/ 2132362 h 3355086"/>
                <a:gd name="connsiteX11520" fmla="*/ 3230974 w 3359086"/>
                <a:gd name="connsiteY11520" fmla="*/ 2138553 h 3355086"/>
                <a:gd name="connsiteX11521" fmla="*/ 3224783 w 3359086"/>
                <a:gd name="connsiteY11521" fmla="*/ 2132362 h 3355086"/>
                <a:gd name="connsiteX11522" fmla="*/ 3230974 w 3359086"/>
                <a:gd name="connsiteY11522" fmla="*/ 2126171 h 3355086"/>
                <a:gd name="connsiteX11523" fmla="*/ 3271932 w 3359086"/>
                <a:gd name="connsiteY11523" fmla="*/ 2123790 h 3355086"/>
                <a:gd name="connsiteX11524" fmla="*/ 3278124 w 3359086"/>
                <a:gd name="connsiteY11524" fmla="*/ 2129981 h 3355086"/>
                <a:gd name="connsiteX11525" fmla="*/ 3271932 w 3359086"/>
                <a:gd name="connsiteY11525" fmla="*/ 2136172 h 3355086"/>
                <a:gd name="connsiteX11526" fmla="*/ 3265741 w 3359086"/>
                <a:gd name="connsiteY11526" fmla="*/ 2129981 h 3355086"/>
                <a:gd name="connsiteX11527" fmla="*/ 3271932 w 3359086"/>
                <a:gd name="connsiteY11527" fmla="*/ 2123790 h 3355086"/>
                <a:gd name="connsiteX11528" fmla="*/ 2274474 w 3359086"/>
                <a:gd name="connsiteY11528" fmla="*/ 2123313 h 3355086"/>
                <a:gd name="connsiteX11529" fmla="*/ 2280666 w 3359086"/>
                <a:gd name="connsiteY11529" fmla="*/ 2129504 h 3355086"/>
                <a:gd name="connsiteX11530" fmla="*/ 2274474 w 3359086"/>
                <a:gd name="connsiteY11530" fmla="*/ 2135696 h 3355086"/>
                <a:gd name="connsiteX11531" fmla="*/ 2268283 w 3359086"/>
                <a:gd name="connsiteY11531" fmla="*/ 2129504 h 3355086"/>
                <a:gd name="connsiteX11532" fmla="*/ 2274474 w 3359086"/>
                <a:gd name="connsiteY11532" fmla="*/ 2123313 h 3355086"/>
                <a:gd name="connsiteX11533" fmla="*/ 498252 w 3359086"/>
                <a:gd name="connsiteY11533" fmla="*/ 2122742 h 3355086"/>
                <a:gd name="connsiteX11534" fmla="*/ 504443 w 3359086"/>
                <a:gd name="connsiteY11534" fmla="*/ 2128933 h 3355086"/>
                <a:gd name="connsiteX11535" fmla="*/ 498252 w 3359086"/>
                <a:gd name="connsiteY11535" fmla="*/ 2135124 h 3355086"/>
                <a:gd name="connsiteX11536" fmla="*/ 492061 w 3359086"/>
                <a:gd name="connsiteY11536" fmla="*/ 2128933 h 3355086"/>
                <a:gd name="connsiteX11537" fmla="*/ 498252 w 3359086"/>
                <a:gd name="connsiteY11537" fmla="*/ 2122742 h 3355086"/>
                <a:gd name="connsiteX11538" fmla="*/ 87534 w 3359086"/>
                <a:gd name="connsiteY11538" fmla="*/ 2122551 h 3355086"/>
                <a:gd name="connsiteX11539" fmla="*/ 93726 w 3359086"/>
                <a:gd name="connsiteY11539" fmla="*/ 2128742 h 3355086"/>
                <a:gd name="connsiteX11540" fmla="*/ 87534 w 3359086"/>
                <a:gd name="connsiteY11540" fmla="*/ 2134934 h 3355086"/>
                <a:gd name="connsiteX11541" fmla="*/ 84057 w 3359086"/>
                <a:gd name="connsiteY11541" fmla="*/ 2131457 h 3355086"/>
                <a:gd name="connsiteX11542" fmla="*/ 78199 w 3359086"/>
                <a:gd name="connsiteY11542" fmla="*/ 2137316 h 3355086"/>
                <a:gd name="connsiteX11543" fmla="*/ 72008 w 3359086"/>
                <a:gd name="connsiteY11543" fmla="*/ 2131124 h 3355086"/>
                <a:gd name="connsiteX11544" fmla="*/ 78199 w 3359086"/>
                <a:gd name="connsiteY11544" fmla="*/ 2124933 h 3355086"/>
                <a:gd name="connsiteX11545" fmla="*/ 81675 w 3359086"/>
                <a:gd name="connsiteY11545" fmla="*/ 2128410 h 3355086"/>
                <a:gd name="connsiteX11546" fmla="*/ 3211924 w 3359086"/>
                <a:gd name="connsiteY11546" fmla="*/ 2122075 h 3355086"/>
                <a:gd name="connsiteX11547" fmla="*/ 3218115 w 3359086"/>
                <a:gd name="connsiteY11547" fmla="*/ 2128266 h 3355086"/>
                <a:gd name="connsiteX11548" fmla="*/ 3211924 w 3359086"/>
                <a:gd name="connsiteY11548" fmla="*/ 2134458 h 3355086"/>
                <a:gd name="connsiteX11549" fmla="*/ 3205733 w 3359086"/>
                <a:gd name="connsiteY11549" fmla="*/ 2128266 h 3355086"/>
                <a:gd name="connsiteX11550" fmla="*/ 3211924 w 3359086"/>
                <a:gd name="connsiteY11550" fmla="*/ 2122075 h 3355086"/>
                <a:gd name="connsiteX11551" fmla="*/ 166115 w 3359086"/>
                <a:gd name="connsiteY11551" fmla="*/ 2121408 h 3355086"/>
                <a:gd name="connsiteX11552" fmla="*/ 172306 w 3359086"/>
                <a:gd name="connsiteY11552" fmla="*/ 2127599 h 3355086"/>
                <a:gd name="connsiteX11553" fmla="*/ 166115 w 3359086"/>
                <a:gd name="connsiteY11553" fmla="*/ 2133790 h 3355086"/>
                <a:gd name="connsiteX11554" fmla="*/ 159924 w 3359086"/>
                <a:gd name="connsiteY11554" fmla="*/ 2127599 h 3355086"/>
                <a:gd name="connsiteX11555" fmla="*/ 166115 w 3359086"/>
                <a:gd name="connsiteY11555" fmla="*/ 2121408 h 3355086"/>
                <a:gd name="connsiteX11556" fmla="*/ 265937 w 3359086"/>
                <a:gd name="connsiteY11556" fmla="*/ 2120456 h 3355086"/>
                <a:gd name="connsiteX11557" fmla="*/ 272128 w 3359086"/>
                <a:gd name="connsiteY11557" fmla="*/ 2126647 h 3355086"/>
                <a:gd name="connsiteX11558" fmla="*/ 265937 w 3359086"/>
                <a:gd name="connsiteY11558" fmla="*/ 2132839 h 3355086"/>
                <a:gd name="connsiteX11559" fmla="*/ 259746 w 3359086"/>
                <a:gd name="connsiteY11559" fmla="*/ 2126647 h 3355086"/>
                <a:gd name="connsiteX11560" fmla="*/ 265937 w 3359086"/>
                <a:gd name="connsiteY11560" fmla="*/ 2120456 h 3355086"/>
                <a:gd name="connsiteX11561" fmla="*/ 97631 w 3359086"/>
                <a:gd name="connsiteY11561" fmla="*/ 2120075 h 3355086"/>
                <a:gd name="connsiteX11562" fmla="*/ 103822 w 3359086"/>
                <a:gd name="connsiteY11562" fmla="*/ 2126266 h 3355086"/>
                <a:gd name="connsiteX11563" fmla="*/ 97631 w 3359086"/>
                <a:gd name="connsiteY11563" fmla="*/ 2132457 h 3355086"/>
                <a:gd name="connsiteX11564" fmla="*/ 91440 w 3359086"/>
                <a:gd name="connsiteY11564" fmla="*/ 2126266 h 3355086"/>
                <a:gd name="connsiteX11565" fmla="*/ 97631 w 3359086"/>
                <a:gd name="connsiteY11565" fmla="*/ 2120075 h 3355086"/>
                <a:gd name="connsiteX11566" fmla="*/ 3257359 w 3359086"/>
                <a:gd name="connsiteY11566" fmla="*/ 2119313 h 3355086"/>
                <a:gd name="connsiteX11567" fmla="*/ 3263551 w 3359086"/>
                <a:gd name="connsiteY11567" fmla="*/ 2125504 h 3355086"/>
                <a:gd name="connsiteX11568" fmla="*/ 3257359 w 3359086"/>
                <a:gd name="connsiteY11568" fmla="*/ 2131695 h 3355086"/>
                <a:gd name="connsiteX11569" fmla="*/ 3251168 w 3359086"/>
                <a:gd name="connsiteY11569" fmla="*/ 2125504 h 3355086"/>
                <a:gd name="connsiteX11570" fmla="*/ 3257359 w 3359086"/>
                <a:gd name="connsiteY11570" fmla="*/ 2119313 h 3355086"/>
                <a:gd name="connsiteX11571" fmla="*/ 1007840 w 3359086"/>
                <a:gd name="connsiteY11571" fmla="*/ 2116836 h 3355086"/>
                <a:gd name="connsiteX11572" fmla="*/ 1014031 w 3359086"/>
                <a:gd name="connsiteY11572" fmla="*/ 2123027 h 3355086"/>
                <a:gd name="connsiteX11573" fmla="*/ 1007840 w 3359086"/>
                <a:gd name="connsiteY11573" fmla="*/ 2129219 h 3355086"/>
                <a:gd name="connsiteX11574" fmla="*/ 1001649 w 3359086"/>
                <a:gd name="connsiteY11574" fmla="*/ 2123027 h 3355086"/>
                <a:gd name="connsiteX11575" fmla="*/ 1007840 w 3359086"/>
                <a:gd name="connsiteY11575" fmla="*/ 2116836 h 3355086"/>
                <a:gd name="connsiteX11576" fmla="*/ 3247739 w 3359086"/>
                <a:gd name="connsiteY11576" fmla="*/ 2116265 h 3355086"/>
                <a:gd name="connsiteX11577" fmla="*/ 3253930 w 3359086"/>
                <a:gd name="connsiteY11577" fmla="*/ 2122456 h 3355086"/>
                <a:gd name="connsiteX11578" fmla="*/ 3247739 w 3359086"/>
                <a:gd name="connsiteY11578" fmla="*/ 2128648 h 3355086"/>
                <a:gd name="connsiteX11579" fmla="*/ 3241548 w 3359086"/>
                <a:gd name="connsiteY11579" fmla="*/ 2122456 h 3355086"/>
                <a:gd name="connsiteX11580" fmla="*/ 3247739 w 3359086"/>
                <a:gd name="connsiteY11580" fmla="*/ 2116265 h 3355086"/>
                <a:gd name="connsiteX11581" fmla="*/ 115061 w 3359086"/>
                <a:gd name="connsiteY11581" fmla="*/ 2115503 h 3355086"/>
                <a:gd name="connsiteX11582" fmla="*/ 121252 w 3359086"/>
                <a:gd name="connsiteY11582" fmla="*/ 2121694 h 3355086"/>
                <a:gd name="connsiteX11583" fmla="*/ 115061 w 3359086"/>
                <a:gd name="connsiteY11583" fmla="*/ 2127886 h 3355086"/>
                <a:gd name="connsiteX11584" fmla="*/ 108870 w 3359086"/>
                <a:gd name="connsiteY11584" fmla="*/ 2121694 h 3355086"/>
                <a:gd name="connsiteX11585" fmla="*/ 115061 w 3359086"/>
                <a:gd name="connsiteY11585" fmla="*/ 2115503 h 3355086"/>
                <a:gd name="connsiteX11586" fmla="*/ 3279933 w 3359086"/>
                <a:gd name="connsiteY11586" fmla="*/ 2115026 h 3355086"/>
                <a:gd name="connsiteX11587" fmla="*/ 3286124 w 3359086"/>
                <a:gd name="connsiteY11587" fmla="*/ 2121217 h 3355086"/>
                <a:gd name="connsiteX11588" fmla="*/ 3279933 w 3359086"/>
                <a:gd name="connsiteY11588" fmla="*/ 2127409 h 3355086"/>
                <a:gd name="connsiteX11589" fmla="*/ 3273742 w 3359086"/>
                <a:gd name="connsiteY11589" fmla="*/ 2121217 h 3355086"/>
                <a:gd name="connsiteX11590" fmla="*/ 3279933 w 3359086"/>
                <a:gd name="connsiteY11590" fmla="*/ 2115026 h 3355086"/>
                <a:gd name="connsiteX11591" fmla="*/ 71913 w 3359086"/>
                <a:gd name="connsiteY11591" fmla="*/ 2114550 h 3355086"/>
                <a:gd name="connsiteX11592" fmla="*/ 78104 w 3359086"/>
                <a:gd name="connsiteY11592" fmla="*/ 2120741 h 3355086"/>
                <a:gd name="connsiteX11593" fmla="*/ 71913 w 3359086"/>
                <a:gd name="connsiteY11593" fmla="*/ 2126932 h 3355086"/>
                <a:gd name="connsiteX11594" fmla="*/ 65722 w 3359086"/>
                <a:gd name="connsiteY11594" fmla="*/ 2120741 h 3355086"/>
                <a:gd name="connsiteX11595" fmla="*/ 71913 w 3359086"/>
                <a:gd name="connsiteY11595" fmla="*/ 2114550 h 3355086"/>
                <a:gd name="connsiteX11596" fmla="*/ 2864738 w 3359086"/>
                <a:gd name="connsiteY11596" fmla="*/ 2114360 h 3355086"/>
                <a:gd name="connsiteX11597" fmla="*/ 2870930 w 3359086"/>
                <a:gd name="connsiteY11597" fmla="*/ 2120551 h 3355086"/>
                <a:gd name="connsiteX11598" fmla="*/ 2864738 w 3359086"/>
                <a:gd name="connsiteY11598" fmla="*/ 2126743 h 3355086"/>
                <a:gd name="connsiteX11599" fmla="*/ 2858547 w 3359086"/>
                <a:gd name="connsiteY11599" fmla="*/ 2120551 h 3355086"/>
                <a:gd name="connsiteX11600" fmla="*/ 2864738 w 3359086"/>
                <a:gd name="connsiteY11600" fmla="*/ 2114360 h 3355086"/>
                <a:gd name="connsiteX11601" fmla="*/ 3175920 w 3359086"/>
                <a:gd name="connsiteY11601" fmla="*/ 2113407 h 3355086"/>
                <a:gd name="connsiteX11602" fmla="*/ 3182111 w 3359086"/>
                <a:gd name="connsiteY11602" fmla="*/ 2119598 h 3355086"/>
                <a:gd name="connsiteX11603" fmla="*/ 3175920 w 3359086"/>
                <a:gd name="connsiteY11603" fmla="*/ 2125790 h 3355086"/>
                <a:gd name="connsiteX11604" fmla="*/ 3169729 w 3359086"/>
                <a:gd name="connsiteY11604" fmla="*/ 2119598 h 3355086"/>
                <a:gd name="connsiteX11605" fmla="*/ 3175920 w 3359086"/>
                <a:gd name="connsiteY11605" fmla="*/ 2113407 h 3355086"/>
                <a:gd name="connsiteX11606" fmla="*/ 3238309 w 3359086"/>
                <a:gd name="connsiteY11606" fmla="*/ 2113121 h 3355086"/>
                <a:gd name="connsiteX11607" fmla="*/ 3244501 w 3359086"/>
                <a:gd name="connsiteY11607" fmla="*/ 2119312 h 3355086"/>
                <a:gd name="connsiteX11608" fmla="*/ 3238309 w 3359086"/>
                <a:gd name="connsiteY11608" fmla="*/ 2125504 h 3355086"/>
                <a:gd name="connsiteX11609" fmla="*/ 3232118 w 3359086"/>
                <a:gd name="connsiteY11609" fmla="*/ 2119312 h 3355086"/>
                <a:gd name="connsiteX11610" fmla="*/ 3238309 w 3359086"/>
                <a:gd name="connsiteY11610" fmla="*/ 2113121 h 3355086"/>
                <a:gd name="connsiteX11611" fmla="*/ 3083337 w 3359086"/>
                <a:gd name="connsiteY11611" fmla="*/ 2112169 h 3355086"/>
                <a:gd name="connsiteX11612" fmla="*/ 3089528 w 3359086"/>
                <a:gd name="connsiteY11612" fmla="*/ 2118360 h 3355086"/>
                <a:gd name="connsiteX11613" fmla="*/ 3083337 w 3359086"/>
                <a:gd name="connsiteY11613" fmla="*/ 2124551 h 3355086"/>
                <a:gd name="connsiteX11614" fmla="*/ 3077146 w 3359086"/>
                <a:gd name="connsiteY11614" fmla="*/ 2118360 h 3355086"/>
                <a:gd name="connsiteX11615" fmla="*/ 3083337 w 3359086"/>
                <a:gd name="connsiteY11615" fmla="*/ 2112169 h 3355086"/>
                <a:gd name="connsiteX11616" fmla="*/ 81819 w 3359086"/>
                <a:gd name="connsiteY11616" fmla="*/ 2110931 h 3355086"/>
                <a:gd name="connsiteX11617" fmla="*/ 88010 w 3359086"/>
                <a:gd name="connsiteY11617" fmla="*/ 2117122 h 3355086"/>
                <a:gd name="connsiteX11618" fmla="*/ 81819 w 3359086"/>
                <a:gd name="connsiteY11618" fmla="*/ 2123314 h 3355086"/>
                <a:gd name="connsiteX11619" fmla="*/ 75628 w 3359086"/>
                <a:gd name="connsiteY11619" fmla="*/ 2117122 h 3355086"/>
                <a:gd name="connsiteX11620" fmla="*/ 81819 w 3359086"/>
                <a:gd name="connsiteY11620" fmla="*/ 2110931 h 3355086"/>
                <a:gd name="connsiteX11621" fmla="*/ 2379535 w 3359086"/>
                <a:gd name="connsiteY11621" fmla="*/ 2109407 h 3355086"/>
                <a:gd name="connsiteX11622" fmla="*/ 2385727 w 3359086"/>
                <a:gd name="connsiteY11622" fmla="*/ 2115598 h 3355086"/>
                <a:gd name="connsiteX11623" fmla="*/ 2379535 w 3359086"/>
                <a:gd name="connsiteY11623" fmla="*/ 2121790 h 3355086"/>
                <a:gd name="connsiteX11624" fmla="*/ 2373344 w 3359086"/>
                <a:gd name="connsiteY11624" fmla="*/ 2115598 h 3355086"/>
                <a:gd name="connsiteX11625" fmla="*/ 2379535 w 3359086"/>
                <a:gd name="connsiteY11625" fmla="*/ 2109407 h 3355086"/>
                <a:gd name="connsiteX11626" fmla="*/ 3263645 w 3359086"/>
                <a:gd name="connsiteY11626" fmla="*/ 2109216 h 3355086"/>
                <a:gd name="connsiteX11627" fmla="*/ 3269837 w 3359086"/>
                <a:gd name="connsiteY11627" fmla="*/ 2115407 h 3355086"/>
                <a:gd name="connsiteX11628" fmla="*/ 3263645 w 3359086"/>
                <a:gd name="connsiteY11628" fmla="*/ 2121599 h 3355086"/>
                <a:gd name="connsiteX11629" fmla="*/ 3257454 w 3359086"/>
                <a:gd name="connsiteY11629" fmla="*/ 2115407 h 3355086"/>
                <a:gd name="connsiteX11630" fmla="*/ 3263645 w 3359086"/>
                <a:gd name="connsiteY11630" fmla="*/ 2109216 h 3355086"/>
                <a:gd name="connsiteX11631" fmla="*/ 3222688 w 3359086"/>
                <a:gd name="connsiteY11631" fmla="*/ 2108169 h 3355086"/>
                <a:gd name="connsiteX11632" fmla="*/ 3228879 w 3359086"/>
                <a:gd name="connsiteY11632" fmla="*/ 2114360 h 3355086"/>
                <a:gd name="connsiteX11633" fmla="*/ 3222688 w 3359086"/>
                <a:gd name="connsiteY11633" fmla="*/ 2120551 h 3355086"/>
                <a:gd name="connsiteX11634" fmla="*/ 3216497 w 3359086"/>
                <a:gd name="connsiteY11634" fmla="*/ 2114360 h 3355086"/>
                <a:gd name="connsiteX11635" fmla="*/ 3222688 w 3359086"/>
                <a:gd name="connsiteY11635" fmla="*/ 2108169 h 3355086"/>
                <a:gd name="connsiteX11636" fmla="*/ 90773 w 3359086"/>
                <a:gd name="connsiteY11636" fmla="*/ 2107311 h 3355086"/>
                <a:gd name="connsiteX11637" fmla="*/ 96965 w 3359086"/>
                <a:gd name="connsiteY11637" fmla="*/ 2113502 h 3355086"/>
                <a:gd name="connsiteX11638" fmla="*/ 90773 w 3359086"/>
                <a:gd name="connsiteY11638" fmla="*/ 2119694 h 3355086"/>
                <a:gd name="connsiteX11639" fmla="*/ 84582 w 3359086"/>
                <a:gd name="connsiteY11639" fmla="*/ 2113502 h 3355086"/>
                <a:gd name="connsiteX11640" fmla="*/ 90773 w 3359086"/>
                <a:gd name="connsiteY11640" fmla="*/ 2107311 h 3355086"/>
                <a:gd name="connsiteX11641" fmla="*/ 442054 w 3359086"/>
                <a:gd name="connsiteY11641" fmla="*/ 2107216 h 3355086"/>
                <a:gd name="connsiteX11642" fmla="*/ 448246 w 3359086"/>
                <a:gd name="connsiteY11642" fmla="*/ 2113407 h 3355086"/>
                <a:gd name="connsiteX11643" fmla="*/ 442054 w 3359086"/>
                <a:gd name="connsiteY11643" fmla="*/ 2119599 h 3355086"/>
                <a:gd name="connsiteX11644" fmla="*/ 435863 w 3359086"/>
                <a:gd name="connsiteY11644" fmla="*/ 2113407 h 3355086"/>
                <a:gd name="connsiteX11645" fmla="*/ 442054 w 3359086"/>
                <a:gd name="connsiteY11645" fmla="*/ 2107216 h 3355086"/>
                <a:gd name="connsiteX11646" fmla="*/ 3288410 w 3359086"/>
                <a:gd name="connsiteY11646" fmla="*/ 2106930 h 3355086"/>
                <a:gd name="connsiteX11647" fmla="*/ 3294602 w 3359086"/>
                <a:gd name="connsiteY11647" fmla="*/ 2113121 h 3355086"/>
                <a:gd name="connsiteX11648" fmla="*/ 3288410 w 3359086"/>
                <a:gd name="connsiteY11648" fmla="*/ 2119313 h 3355086"/>
                <a:gd name="connsiteX11649" fmla="*/ 3282219 w 3359086"/>
                <a:gd name="connsiteY11649" fmla="*/ 2113121 h 3355086"/>
                <a:gd name="connsiteX11650" fmla="*/ 3288410 w 3359086"/>
                <a:gd name="connsiteY11650" fmla="*/ 2106930 h 3355086"/>
                <a:gd name="connsiteX11651" fmla="*/ 148208 w 3359086"/>
                <a:gd name="connsiteY11651" fmla="*/ 2106645 h 3355086"/>
                <a:gd name="connsiteX11652" fmla="*/ 154399 w 3359086"/>
                <a:gd name="connsiteY11652" fmla="*/ 2112836 h 3355086"/>
                <a:gd name="connsiteX11653" fmla="*/ 148208 w 3359086"/>
                <a:gd name="connsiteY11653" fmla="*/ 2119028 h 3355086"/>
                <a:gd name="connsiteX11654" fmla="*/ 142017 w 3359086"/>
                <a:gd name="connsiteY11654" fmla="*/ 2112836 h 3355086"/>
                <a:gd name="connsiteX11655" fmla="*/ 148208 w 3359086"/>
                <a:gd name="connsiteY11655" fmla="*/ 2106645 h 3355086"/>
                <a:gd name="connsiteX11656" fmla="*/ 234886 w 3359086"/>
                <a:gd name="connsiteY11656" fmla="*/ 2105121 h 3355086"/>
                <a:gd name="connsiteX11657" fmla="*/ 241077 w 3359086"/>
                <a:gd name="connsiteY11657" fmla="*/ 2111312 h 3355086"/>
                <a:gd name="connsiteX11658" fmla="*/ 234886 w 3359086"/>
                <a:gd name="connsiteY11658" fmla="*/ 2117504 h 3355086"/>
                <a:gd name="connsiteX11659" fmla="*/ 228695 w 3359086"/>
                <a:gd name="connsiteY11659" fmla="*/ 2111312 h 3355086"/>
                <a:gd name="connsiteX11660" fmla="*/ 234886 w 3359086"/>
                <a:gd name="connsiteY11660" fmla="*/ 2105121 h 3355086"/>
                <a:gd name="connsiteX11661" fmla="*/ 3253358 w 3359086"/>
                <a:gd name="connsiteY11661" fmla="*/ 2104930 h 3355086"/>
                <a:gd name="connsiteX11662" fmla="*/ 3259549 w 3359086"/>
                <a:gd name="connsiteY11662" fmla="*/ 2111121 h 3355086"/>
                <a:gd name="connsiteX11663" fmla="*/ 3253358 w 3359086"/>
                <a:gd name="connsiteY11663" fmla="*/ 2117313 h 3355086"/>
                <a:gd name="connsiteX11664" fmla="*/ 3247167 w 3359086"/>
                <a:gd name="connsiteY11664" fmla="*/ 2111121 h 3355086"/>
                <a:gd name="connsiteX11665" fmla="*/ 3253358 w 3359086"/>
                <a:gd name="connsiteY11665" fmla="*/ 2104930 h 3355086"/>
                <a:gd name="connsiteX11666" fmla="*/ 65531 w 3359086"/>
                <a:gd name="connsiteY11666" fmla="*/ 2104835 h 3355086"/>
                <a:gd name="connsiteX11667" fmla="*/ 71723 w 3359086"/>
                <a:gd name="connsiteY11667" fmla="*/ 2111026 h 3355086"/>
                <a:gd name="connsiteX11668" fmla="*/ 65531 w 3359086"/>
                <a:gd name="connsiteY11668" fmla="*/ 2117218 h 3355086"/>
                <a:gd name="connsiteX11669" fmla="*/ 59340 w 3359086"/>
                <a:gd name="connsiteY11669" fmla="*/ 2111026 h 3355086"/>
                <a:gd name="connsiteX11670" fmla="*/ 65531 w 3359086"/>
                <a:gd name="connsiteY11670" fmla="*/ 2104835 h 3355086"/>
                <a:gd name="connsiteX11671" fmla="*/ 906589 w 3359086"/>
                <a:gd name="connsiteY11671" fmla="*/ 2102834 h 3355086"/>
                <a:gd name="connsiteX11672" fmla="*/ 912781 w 3359086"/>
                <a:gd name="connsiteY11672" fmla="*/ 2109025 h 3355086"/>
                <a:gd name="connsiteX11673" fmla="*/ 906589 w 3359086"/>
                <a:gd name="connsiteY11673" fmla="*/ 2115217 h 3355086"/>
                <a:gd name="connsiteX11674" fmla="*/ 900398 w 3359086"/>
                <a:gd name="connsiteY11674" fmla="*/ 2109025 h 3355086"/>
                <a:gd name="connsiteX11675" fmla="*/ 906589 w 3359086"/>
                <a:gd name="connsiteY11675" fmla="*/ 2102834 h 3355086"/>
                <a:gd name="connsiteX11676" fmla="*/ 105060 w 3359086"/>
                <a:gd name="connsiteY11676" fmla="*/ 2101882 h 3355086"/>
                <a:gd name="connsiteX11677" fmla="*/ 111252 w 3359086"/>
                <a:gd name="connsiteY11677" fmla="*/ 2108073 h 3355086"/>
                <a:gd name="connsiteX11678" fmla="*/ 105060 w 3359086"/>
                <a:gd name="connsiteY11678" fmla="*/ 2114265 h 3355086"/>
                <a:gd name="connsiteX11679" fmla="*/ 98869 w 3359086"/>
                <a:gd name="connsiteY11679" fmla="*/ 2108073 h 3355086"/>
                <a:gd name="connsiteX11680" fmla="*/ 105060 w 3359086"/>
                <a:gd name="connsiteY11680" fmla="*/ 2101882 h 3355086"/>
                <a:gd name="connsiteX11681" fmla="*/ 3244881 w 3359086"/>
                <a:gd name="connsiteY11681" fmla="*/ 2100739 h 3355086"/>
                <a:gd name="connsiteX11682" fmla="*/ 3251073 w 3359086"/>
                <a:gd name="connsiteY11682" fmla="*/ 2106930 h 3355086"/>
                <a:gd name="connsiteX11683" fmla="*/ 3244881 w 3359086"/>
                <a:gd name="connsiteY11683" fmla="*/ 2113122 h 3355086"/>
                <a:gd name="connsiteX11684" fmla="*/ 3238690 w 3359086"/>
                <a:gd name="connsiteY11684" fmla="*/ 2106930 h 3355086"/>
                <a:gd name="connsiteX11685" fmla="*/ 3244881 w 3359086"/>
                <a:gd name="connsiteY11685" fmla="*/ 2100739 h 3355086"/>
                <a:gd name="connsiteX11686" fmla="*/ 76199 w 3359086"/>
                <a:gd name="connsiteY11686" fmla="*/ 2099882 h 3355086"/>
                <a:gd name="connsiteX11687" fmla="*/ 82390 w 3359086"/>
                <a:gd name="connsiteY11687" fmla="*/ 2106073 h 3355086"/>
                <a:gd name="connsiteX11688" fmla="*/ 76199 w 3359086"/>
                <a:gd name="connsiteY11688" fmla="*/ 2112265 h 3355086"/>
                <a:gd name="connsiteX11689" fmla="*/ 70008 w 3359086"/>
                <a:gd name="connsiteY11689" fmla="*/ 2106073 h 3355086"/>
                <a:gd name="connsiteX11690" fmla="*/ 76199 w 3359086"/>
                <a:gd name="connsiteY11690" fmla="*/ 2099882 h 3355086"/>
                <a:gd name="connsiteX11691" fmla="*/ 3297460 w 3359086"/>
                <a:gd name="connsiteY11691" fmla="*/ 2099787 h 3355086"/>
                <a:gd name="connsiteX11692" fmla="*/ 3303079 w 3359086"/>
                <a:gd name="connsiteY11692" fmla="*/ 2105407 h 3355086"/>
                <a:gd name="connsiteX11693" fmla="*/ 3297460 w 3359086"/>
                <a:gd name="connsiteY11693" fmla="*/ 2111026 h 3355086"/>
                <a:gd name="connsiteX11694" fmla="*/ 3291840 w 3359086"/>
                <a:gd name="connsiteY11694" fmla="*/ 2105407 h 3355086"/>
                <a:gd name="connsiteX11695" fmla="*/ 3297460 w 3359086"/>
                <a:gd name="connsiteY11695" fmla="*/ 2099787 h 3355086"/>
                <a:gd name="connsiteX11696" fmla="*/ 3270122 w 3359086"/>
                <a:gd name="connsiteY11696" fmla="*/ 2099787 h 3355086"/>
                <a:gd name="connsiteX11697" fmla="*/ 3276313 w 3359086"/>
                <a:gd name="connsiteY11697" fmla="*/ 2105978 h 3355086"/>
                <a:gd name="connsiteX11698" fmla="*/ 3270122 w 3359086"/>
                <a:gd name="connsiteY11698" fmla="*/ 2112170 h 3355086"/>
                <a:gd name="connsiteX11699" fmla="*/ 3263931 w 3359086"/>
                <a:gd name="connsiteY11699" fmla="*/ 2105978 h 3355086"/>
                <a:gd name="connsiteX11700" fmla="*/ 3270122 w 3359086"/>
                <a:gd name="connsiteY11700" fmla="*/ 2099787 h 3355086"/>
                <a:gd name="connsiteX11701" fmla="*/ 3192684 w 3359086"/>
                <a:gd name="connsiteY11701" fmla="*/ 2099025 h 3355086"/>
                <a:gd name="connsiteX11702" fmla="*/ 3198875 w 3359086"/>
                <a:gd name="connsiteY11702" fmla="*/ 2105216 h 3355086"/>
                <a:gd name="connsiteX11703" fmla="*/ 3192684 w 3359086"/>
                <a:gd name="connsiteY11703" fmla="*/ 2111408 h 3355086"/>
                <a:gd name="connsiteX11704" fmla="*/ 3186493 w 3359086"/>
                <a:gd name="connsiteY11704" fmla="*/ 2105216 h 3355086"/>
                <a:gd name="connsiteX11705" fmla="*/ 3192684 w 3359086"/>
                <a:gd name="connsiteY11705" fmla="*/ 2099025 h 3355086"/>
                <a:gd name="connsiteX11706" fmla="*/ 2917983 w 3359086"/>
                <a:gd name="connsiteY11706" fmla="*/ 2099025 h 3355086"/>
                <a:gd name="connsiteX11707" fmla="*/ 2924174 w 3359086"/>
                <a:gd name="connsiteY11707" fmla="*/ 2105216 h 3355086"/>
                <a:gd name="connsiteX11708" fmla="*/ 2917983 w 3359086"/>
                <a:gd name="connsiteY11708" fmla="*/ 2111408 h 3355086"/>
                <a:gd name="connsiteX11709" fmla="*/ 2911792 w 3359086"/>
                <a:gd name="connsiteY11709" fmla="*/ 2105216 h 3355086"/>
                <a:gd name="connsiteX11710" fmla="*/ 2917983 w 3359086"/>
                <a:gd name="connsiteY11710" fmla="*/ 2099025 h 3355086"/>
                <a:gd name="connsiteX11711" fmla="*/ 58864 w 3359086"/>
                <a:gd name="connsiteY11711" fmla="*/ 2097596 h 3355086"/>
                <a:gd name="connsiteX11712" fmla="*/ 62960 w 3359086"/>
                <a:gd name="connsiteY11712" fmla="*/ 2101692 h 3355086"/>
                <a:gd name="connsiteX11713" fmla="*/ 58864 w 3359086"/>
                <a:gd name="connsiteY11713" fmla="*/ 2105787 h 3355086"/>
                <a:gd name="connsiteX11714" fmla="*/ 54768 w 3359086"/>
                <a:gd name="connsiteY11714" fmla="*/ 2101692 h 3355086"/>
                <a:gd name="connsiteX11715" fmla="*/ 58864 w 3359086"/>
                <a:gd name="connsiteY11715" fmla="*/ 2097596 h 3355086"/>
                <a:gd name="connsiteX11716" fmla="*/ 3112483 w 3359086"/>
                <a:gd name="connsiteY11716" fmla="*/ 2097215 h 3355086"/>
                <a:gd name="connsiteX11717" fmla="*/ 3118675 w 3359086"/>
                <a:gd name="connsiteY11717" fmla="*/ 2103406 h 3355086"/>
                <a:gd name="connsiteX11718" fmla="*/ 3112483 w 3359086"/>
                <a:gd name="connsiteY11718" fmla="*/ 2109598 h 3355086"/>
                <a:gd name="connsiteX11719" fmla="*/ 3106292 w 3359086"/>
                <a:gd name="connsiteY11719" fmla="*/ 2103406 h 3355086"/>
                <a:gd name="connsiteX11720" fmla="*/ 3112483 w 3359086"/>
                <a:gd name="connsiteY11720" fmla="*/ 2097215 h 3355086"/>
                <a:gd name="connsiteX11721" fmla="*/ 2476499 w 3359086"/>
                <a:gd name="connsiteY11721" fmla="*/ 2095215 h 3355086"/>
                <a:gd name="connsiteX11722" fmla="*/ 2482690 w 3359086"/>
                <a:gd name="connsiteY11722" fmla="*/ 2101406 h 3355086"/>
                <a:gd name="connsiteX11723" fmla="*/ 2476499 w 3359086"/>
                <a:gd name="connsiteY11723" fmla="*/ 2107597 h 3355086"/>
                <a:gd name="connsiteX11724" fmla="*/ 2470308 w 3359086"/>
                <a:gd name="connsiteY11724" fmla="*/ 2101406 h 3355086"/>
                <a:gd name="connsiteX11725" fmla="*/ 2476499 w 3359086"/>
                <a:gd name="connsiteY11725" fmla="*/ 2095215 h 3355086"/>
                <a:gd name="connsiteX11726" fmla="*/ 84486 w 3359086"/>
                <a:gd name="connsiteY11726" fmla="*/ 2095119 h 3355086"/>
                <a:gd name="connsiteX11727" fmla="*/ 90678 w 3359086"/>
                <a:gd name="connsiteY11727" fmla="*/ 2101310 h 3355086"/>
                <a:gd name="connsiteX11728" fmla="*/ 84486 w 3359086"/>
                <a:gd name="connsiteY11728" fmla="*/ 2107502 h 3355086"/>
                <a:gd name="connsiteX11729" fmla="*/ 78295 w 3359086"/>
                <a:gd name="connsiteY11729" fmla="*/ 2101310 h 3355086"/>
                <a:gd name="connsiteX11730" fmla="*/ 84486 w 3359086"/>
                <a:gd name="connsiteY11730" fmla="*/ 2095119 h 3355086"/>
                <a:gd name="connsiteX11731" fmla="*/ 3232022 w 3359086"/>
                <a:gd name="connsiteY11731" fmla="*/ 2094833 h 3355086"/>
                <a:gd name="connsiteX11732" fmla="*/ 3238213 w 3359086"/>
                <a:gd name="connsiteY11732" fmla="*/ 2101024 h 3355086"/>
                <a:gd name="connsiteX11733" fmla="*/ 3232022 w 3359086"/>
                <a:gd name="connsiteY11733" fmla="*/ 2107216 h 3355086"/>
                <a:gd name="connsiteX11734" fmla="*/ 3225831 w 3359086"/>
                <a:gd name="connsiteY11734" fmla="*/ 2101024 h 3355086"/>
                <a:gd name="connsiteX11735" fmla="*/ 3232022 w 3359086"/>
                <a:gd name="connsiteY11735" fmla="*/ 2094833 h 3355086"/>
                <a:gd name="connsiteX11736" fmla="*/ 3258978 w 3359086"/>
                <a:gd name="connsiteY11736" fmla="*/ 2094167 h 3355086"/>
                <a:gd name="connsiteX11737" fmla="*/ 3265169 w 3359086"/>
                <a:gd name="connsiteY11737" fmla="*/ 2100358 h 3355086"/>
                <a:gd name="connsiteX11738" fmla="*/ 3258978 w 3359086"/>
                <a:gd name="connsiteY11738" fmla="*/ 2106549 h 3355086"/>
                <a:gd name="connsiteX11739" fmla="*/ 3252787 w 3359086"/>
                <a:gd name="connsiteY11739" fmla="*/ 2100358 h 3355086"/>
                <a:gd name="connsiteX11740" fmla="*/ 3258978 w 3359086"/>
                <a:gd name="connsiteY11740" fmla="*/ 2094167 h 3355086"/>
                <a:gd name="connsiteX11741" fmla="*/ 132492 w 3359086"/>
                <a:gd name="connsiteY11741" fmla="*/ 2092452 h 3355086"/>
                <a:gd name="connsiteX11742" fmla="*/ 138684 w 3359086"/>
                <a:gd name="connsiteY11742" fmla="*/ 2098643 h 3355086"/>
                <a:gd name="connsiteX11743" fmla="*/ 132492 w 3359086"/>
                <a:gd name="connsiteY11743" fmla="*/ 2104835 h 3355086"/>
                <a:gd name="connsiteX11744" fmla="*/ 126301 w 3359086"/>
                <a:gd name="connsiteY11744" fmla="*/ 2098643 h 3355086"/>
                <a:gd name="connsiteX11745" fmla="*/ 132492 w 3359086"/>
                <a:gd name="connsiteY11745" fmla="*/ 2092452 h 3355086"/>
                <a:gd name="connsiteX11746" fmla="*/ 391286 w 3359086"/>
                <a:gd name="connsiteY11746" fmla="*/ 2092071 h 3355086"/>
                <a:gd name="connsiteX11747" fmla="*/ 397477 w 3359086"/>
                <a:gd name="connsiteY11747" fmla="*/ 2098262 h 3355086"/>
                <a:gd name="connsiteX11748" fmla="*/ 391286 w 3359086"/>
                <a:gd name="connsiteY11748" fmla="*/ 2104453 h 3355086"/>
                <a:gd name="connsiteX11749" fmla="*/ 385095 w 3359086"/>
                <a:gd name="connsiteY11749" fmla="*/ 2098262 h 3355086"/>
                <a:gd name="connsiteX11750" fmla="*/ 391286 w 3359086"/>
                <a:gd name="connsiteY11750" fmla="*/ 2092071 h 3355086"/>
                <a:gd name="connsiteX11751" fmla="*/ 3276980 w 3359086"/>
                <a:gd name="connsiteY11751" fmla="*/ 2090833 h 3355086"/>
                <a:gd name="connsiteX11752" fmla="*/ 3283171 w 3359086"/>
                <a:gd name="connsiteY11752" fmla="*/ 2097024 h 3355086"/>
                <a:gd name="connsiteX11753" fmla="*/ 3276980 w 3359086"/>
                <a:gd name="connsiteY11753" fmla="*/ 2103216 h 3355086"/>
                <a:gd name="connsiteX11754" fmla="*/ 3270789 w 3359086"/>
                <a:gd name="connsiteY11754" fmla="*/ 2097024 h 3355086"/>
                <a:gd name="connsiteX11755" fmla="*/ 3276980 w 3359086"/>
                <a:gd name="connsiteY11755" fmla="*/ 2090833 h 3355086"/>
                <a:gd name="connsiteX11756" fmla="*/ 207263 w 3359086"/>
                <a:gd name="connsiteY11756" fmla="*/ 2090357 h 3355086"/>
                <a:gd name="connsiteX11757" fmla="*/ 213454 w 3359086"/>
                <a:gd name="connsiteY11757" fmla="*/ 2096548 h 3355086"/>
                <a:gd name="connsiteX11758" fmla="*/ 207263 w 3359086"/>
                <a:gd name="connsiteY11758" fmla="*/ 2102740 h 3355086"/>
                <a:gd name="connsiteX11759" fmla="*/ 201072 w 3359086"/>
                <a:gd name="connsiteY11759" fmla="*/ 2096548 h 3355086"/>
                <a:gd name="connsiteX11760" fmla="*/ 207263 w 3359086"/>
                <a:gd name="connsiteY11760" fmla="*/ 2090357 h 3355086"/>
                <a:gd name="connsiteX11761" fmla="*/ 70675 w 3359086"/>
                <a:gd name="connsiteY11761" fmla="*/ 2089404 h 3355086"/>
                <a:gd name="connsiteX11762" fmla="*/ 76866 w 3359086"/>
                <a:gd name="connsiteY11762" fmla="*/ 2095595 h 3355086"/>
                <a:gd name="connsiteX11763" fmla="*/ 70675 w 3359086"/>
                <a:gd name="connsiteY11763" fmla="*/ 2101786 h 3355086"/>
                <a:gd name="connsiteX11764" fmla="*/ 64484 w 3359086"/>
                <a:gd name="connsiteY11764" fmla="*/ 2095595 h 3355086"/>
                <a:gd name="connsiteX11765" fmla="*/ 70675 w 3359086"/>
                <a:gd name="connsiteY11765" fmla="*/ 2089404 h 3355086"/>
                <a:gd name="connsiteX11766" fmla="*/ 3250787 w 3359086"/>
                <a:gd name="connsiteY11766" fmla="*/ 2088833 h 3355086"/>
                <a:gd name="connsiteX11767" fmla="*/ 3256978 w 3359086"/>
                <a:gd name="connsiteY11767" fmla="*/ 2095024 h 3355086"/>
                <a:gd name="connsiteX11768" fmla="*/ 3250787 w 3359086"/>
                <a:gd name="connsiteY11768" fmla="*/ 2101216 h 3355086"/>
                <a:gd name="connsiteX11769" fmla="*/ 3244596 w 3359086"/>
                <a:gd name="connsiteY11769" fmla="*/ 2095024 h 3355086"/>
                <a:gd name="connsiteX11770" fmla="*/ 3250787 w 3359086"/>
                <a:gd name="connsiteY11770" fmla="*/ 2088833 h 3355086"/>
                <a:gd name="connsiteX11771" fmla="*/ 96297 w 3359086"/>
                <a:gd name="connsiteY11771" fmla="*/ 2088833 h 3355086"/>
                <a:gd name="connsiteX11772" fmla="*/ 102489 w 3359086"/>
                <a:gd name="connsiteY11772" fmla="*/ 2095024 h 3355086"/>
                <a:gd name="connsiteX11773" fmla="*/ 96297 w 3359086"/>
                <a:gd name="connsiteY11773" fmla="*/ 2101216 h 3355086"/>
                <a:gd name="connsiteX11774" fmla="*/ 90106 w 3359086"/>
                <a:gd name="connsiteY11774" fmla="*/ 2095024 h 3355086"/>
                <a:gd name="connsiteX11775" fmla="*/ 96297 w 3359086"/>
                <a:gd name="connsiteY11775" fmla="*/ 2088833 h 3355086"/>
                <a:gd name="connsiteX11776" fmla="*/ 813434 w 3359086"/>
                <a:gd name="connsiteY11776" fmla="*/ 2088642 h 3355086"/>
                <a:gd name="connsiteX11777" fmla="*/ 819626 w 3359086"/>
                <a:gd name="connsiteY11777" fmla="*/ 2094833 h 3355086"/>
                <a:gd name="connsiteX11778" fmla="*/ 813434 w 3359086"/>
                <a:gd name="connsiteY11778" fmla="*/ 2101025 h 3355086"/>
                <a:gd name="connsiteX11779" fmla="*/ 807243 w 3359086"/>
                <a:gd name="connsiteY11779" fmla="*/ 2094833 h 3355086"/>
                <a:gd name="connsiteX11780" fmla="*/ 813434 w 3359086"/>
                <a:gd name="connsiteY11780" fmla="*/ 2088642 h 3355086"/>
                <a:gd name="connsiteX11781" fmla="*/ 3207162 w 3359086"/>
                <a:gd name="connsiteY11781" fmla="*/ 2085118 h 3355086"/>
                <a:gd name="connsiteX11782" fmla="*/ 3213353 w 3359086"/>
                <a:gd name="connsiteY11782" fmla="*/ 2091309 h 3355086"/>
                <a:gd name="connsiteX11783" fmla="*/ 3207162 w 3359086"/>
                <a:gd name="connsiteY11783" fmla="*/ 2097501 h 3355086"/>
                <a:gd name="connsiteX11784" fmla="*/ 3200971 w 3359086"/>
                <a:gd name="connsiteY11784" fmla="*/ 2091309 h 3355086"/>
                <a:gd name="connsiteX11785" fmla="*/ 3207162 w 3359086"/>
                <a:gd name="connsiteY11785" fmla="*/ 2085118 h 3355086"/>
                <a:gd name="connsiteX11786" fmla="*/ 2965894 w 3359086"/>
                <a:gd name="connsiteY11786" fmla="*/ 2084166 h 3355086"/>
                <a:gd name="connsiteX11787" fmla="*/ 2972085 w 3359086"/>
                <a:gd name="connsiteY11787" fmla="*/ 2090357 h 3355086"/>
                <a:gd name="connsiteX11788" fmla="*/ 2965894 w 3359086"/>
                <a:gd name="connsiteY11788" fmla="*/ 2096549 h 3355086"/>
                <a:gd name="connsiteX11789" fmla="*/ 2959703 w 3359086"/>
                <a:gd name="connsiteY11789" fmla="*/ 2090357 h 3355086"/>
                <a:gd name="connsiteX11790" fmla="*/ 2965894 w 3359086"/>
                <a:gd name="connsiteY11790" fmla="*/ 2084166 h 3355086"/>
                <a:gd name="connsiteX11791" fmla="*/ 3264502 w 3359086"/>
                <a:gd name="connsiteY11791" fmla="*/ 2084070 h 3355086"/>
                <a:gd name="connsiteX11792" fmla="*/ 3270694 w 3359086"/>
                <a:gd name="connsiteY11792" fmla="*/ 2090261 h 3355086"/>
                <a:gd name="connsiteX11793" fmla="*/ 3264502 w 3359086"/>
                <a:gd name="connsiteY11793" fmla="*/ 2096453 h 3355086"/>
                <a:gd name="connsiteX11794" fmla="*/ 3258311 w 3359086"/>
                <a:gd name="connsiteY11794" fmla="*/ 2090261 h 3355086"/>
                <a:gd name="connsiteX11795" fmla="*/ 3264502 w 3359086"/>
                <a:gd name="connsiteY11795" fmla="*/ 2084070 h 3355086"/>
                <a:gd name="connsiteX11796" fmla="*/ 78771 w 3359086"/>
                <a:gd name="connsiteY11796" fmla="*/ 2083594 h 3355086"/>
                <a:gd name="connsiteX11797" fmla="*/ 84963 w 3359086"/>
                <a:gd name="connsiteY11797" fmla="*/ 2089785 h 3355086"/>
                <a:gd name="connsiteX11798" fmla="*/ 78771 w 3359086"/>
                <a:gd name="connsiteY11798" fmla="*/ 2095976 h 3355086"/>
                <a:gd name="connsiteX11799" fmla="*/ 72580 w 3359086"/>
                <a:gd name="connsiteY11799" fmla="*/ 2089785 h 3355086"/>
                <a:gd name="connsiteX11800" fmla="*/ 78771 w 3359086"/>
                <a:gd name="connsiteY11800" fmla="*/ 2083594 h 3355086"/>
                <a:gd name="connsiteX11801" fmla="*/ 3138296 w 3359086"/>
                <a:gd name="connsiteY11801" fmla="*/ 2082737 h 3355086"/>
                <a:gd name="connsiteX11802" fmla="*/ 3144488 w 3359086"/>
                <a:gd name="connsiteY11802" fmla="*/ 2088928 h 3355086"/>
                <a:gd name="connsiteX11803" fmla="*/ 3138296 w 3359086"/>
                <a:gd name="connsiteY11803" fmla="*/ 2095120 h 3355086"/>
                <a:gd name="connsiteX11804" fmla="*/ 3132105 w 3359086"/>
                <a:gd name="connsiteY11804" fmla="*/ 2088928 h 3355086"/>
                <a:gd name="connsiteX11805" fmla="*/ 3138296 w 3359086"/>
                <a:gd name="connsiteY11805" fmla="*/ 2082737 h 3355086"/>
                <a:gd name="connsiteX11806" fmla="*/ 3284219 w 3359086"/>
                <a:gd name="connsiteY11806" fmla="*/ 2082451 h 3355086"/>
                <a:gd name="connsiteX11807" fmla="*/ 3290411 w 3359086"/>
                <a:gd name="connsiteY11807" fmla="*/ 2088642 h 3355086"/>
                <a:gd name="connsiteX11808" fmla="*/ 3284219 w 3359086"/>
                <a:gd name="connsiteY11808" fmla="*/ 2094834 h 3355086"/>
                <a:gd name="connsiteX11809" fmla="*/ 3278028 w 3359086"/>
                <a:gd name="connsiteY11809" fmla="*/ 2088642 h 3355086"/>
                <a:gd name="connsiteX11810" fmla="*/ 3284219 w 3359086"/>
                <a:gd name="connsiteY11810" fmla="*/ 2082451 h 3355086"/>
                <a:gd name="connsiteX11811" fmla="*/ 3240118 w 3359086"/>
                <a:gd name="connsiteY11811" fmla="*/ 2082165 h 3355086"/>
                <a:gd name="connsiteX11812" fmla="*/ 3246310 w 3359086"/>
                <a:gd name="connsiteY11812" fmla="*/ 2088356 h 3355086"/>
                <a:gd name="connsiteX11813" fmla="*/ 3240118 w 3359086"/>
                <a:gd name="connsiteY11813" fmla="*/ 2094548 h 3355086"/>
                <a:gd name="connsiteX11814" fmla="*/ 3233927 w 3359086"/>
                <a:gd name="connsiteY11814" fmla="*/ 2088356 h 3355086"/>
                <a:gd name="connsiteX11815" fmla="*/ 3240118 w 3359086"/>
                <a:gd name="connsiteY11815" fmla="*/ 2082165 h 3355086"/>
                <a:gd name="connsiteX11816" fmla="*/ 2565463 w 3359086"/>
                <a:gd name="connsiteY11816" fmla="*/ 2081117 h 3355086"/>
                <a:gd name="connsiteX11817" fmla="*/ 2571654 w 3359086"/>
                <a:gd name="connsiteY11817" fmla="*/ 2087308 h 3355086"/>
                <a:gd name="connsiteX11818" fmla="*/ 2565463 w 3359086"/>
                <a:gd name="connsiteY11818" fmla="*/ 2093500 h 3355086"/>
                <a:gd name="connsiteX11819" fmla="*/ 2559272 w 3359086"/>
                <a:gd name="connsiteY11819" fmla="*/ 2087308 h 3355086"/>
                <a:gd name="connsiteX11820" fmla="*/ 2565463 w 3359086"/>
                <a:gd name="connsiteY11820" fmla="*/ 2081117 h 3355086"/>
                <a:gd name="connsiteX11821" fmla="*/ 65055 w 3359086"/>
                <a:gd name="connsiteY11821" fmla="*/ 2079498 h 3355086"/>
                <a:gd name="connsiteX11822" fmla="*/ 71247 w 3359086"/>
                <a:gd name="connsiteY11822" fmla="*/ 2085689 h 3355086"/>
                <a:gd name="connsiteX11823" fmla="*/ 65055 w 3359086"/>
                <a:gd name="connsiteY11823" fmla="*/ 2091881 h 3355086"/>
                <a:gd name="connsiteX11824" fmla="*/ 58864 w 3359086"/>
                <a:gd name="connsiteY11824" fmla="*/ 2085689 h 3355086"/>
                <a:gd name="connsiteX11825" fmla="*/ 65055 w 3359086"/>
                <a:gd name="connsiteY11825" fmla="*/ 2079498 h 3355086"/>
                <a:gd name="connsiteX11826" fmla="*/ 118967 w 3359086"/>
                <a:gd name="connsiteY11826" fmla="*/ 2078927 h 3355086"/>
                <a:gd name="connsiteX11827" fmla="*/ 125159 w 3359086"/>
                <a:gd name="connsiteY11827" fmla="*/ 2085118 h 3355086"/>
                <a:gd name="connsiteX11828" fmla="*/ 118967 w 3359086"/>
                <a:gd name="connsiteY11828" fmla="*/ 2091310 h 3355086"/>
                <a:gd name="connsiteX11829" fmla="*/ 112776 w 3359086"/>
                <a:gd name="connsiteY11829" fmla="*/ 2085118 h 3355086"/>
                <a:gd name="connsiteX11830" fmla="*/ 118967 w 3359086"/>
                <a:gd name="connsiteY11830" fmla="*/ 2078927 h 3355086"/>
                <a:gd name="connsiteX11831" fmla="*/ 3256216 w 3359086"/>
                <a:gd name="connsiteY11831" fmla="*/ 2077593 h 3355086"/>
                <a:gd name="connsiteX11832" fmla="*/ 3262408 w 3359086"/>
                <a:gd name="connsiteY11832" fmla="*/ 2083784 h 3355086"/>
                <a:gd name="connsiteX11833" fmla="*/ 3256216 w 3359086"/>
                <a:gd name="connsiteY11833" fmla="*/ 2089976 h 3355086"/>
                <a:gd name="connsiteX11834" fmla="*/ 3250025 w 3359086"/>
                <a:gd name="connsiteY11834" fmla="*/ 2083784 h 3355086"/>
                <a:gd name="connsiteX11835" fmla="*/ 3256216 w 3359086"/>
                <a:gd name="connsiteY11835" fmla="*/ 2077593 h 3355086"/>
                <a:gd name="connsiteX11836" fmla="*/ 345661 w 3359086"/>
                <a:gd name="connsiteY11836" fmla="*/ 2077403 h 3355086"/>
                <a:gd name="connsiteX11837" fmla="*/ 351852 w 3359086"/>
                <a:gd name="connsiteY11837" fmla="*/ 2083594 h 3355086"/>
                <a:gd name="connsiteX11838" fmla="*/ 345661 w 3359086"/>
                <a:gd name="connsiteY11838" fmla="*/ 2089786 h 3355086"/>
                <a:gd name="connsiteX11839" fmla="*/ 339470 w 3359086"/>
                <a:gd name="connsiteY11839" fmla="*/ 2083594 h 3355086"/>
                <a:gd name="connsiteX11840" fmla="*/ 345661 w 3359086"/>
                <a:gd name="connsiteY11840" fmla="*/ 2077403 h 3355086"/>
                <a:gd name="connsiteX11841" fmla="*/ 88677 w 3359086"/>
                <a:gd name="connsiteY11841" fmla="*/ 2076450 h 3355086"/>
                <a:gd name="connsiteX11842" fmla="*/ 94869 w 3359086"/>
                <a:gd name="connsiteY11842" fmla="*/ 2082641 h 3355086"/>
                <a:gd name="connsiteX11843" fmla="*/ 88677 w 3359086"/>
                <a:gd name="connsiteY11843" fmla="*/ 2088832 h 3355086"/>
                <a:gd name="connsiteX11844" fmla="*/ 82486 w 3359086"/>
                <a:gd name="connsiteY11844" fmla="*/ 2082641 h 3355086"/>
                <a:gd name="connsiteX11845" fmla="*/ 88677 w 3359086"/>
                <a:gd name="connsiteY11845" fmla="*/ 2076450 h 3355086"/>
                <a:gd name="connsiteX11846" fmla="*/ 182974 w 3359086"/>
                <a:gd name="connsiteY11846" fmla="*/ 2076165 h 3355086"/>
                <a:gd name="connsiteX11847" fmla="*/ 189166 w 3359086"/>
                <a:gd name="connsiteY11847" fmla="*/ 2082356 h 3355086"/>
                <a:gd name="connsiteX11848" fmla="*/ 182974 w 3359086"/>
                <a:gd name="connsiteY11848" fmla="*/ 2088547 h 3355086"/>
                <a:gd name="connsiteX11849" fmla="*/ 176783 w 3359086"/>
                <a:gd name="connsiteY11849" fmla="*/ 2082356 h 3355086"/>
                <a:gd name="connsiteX11850" fmla="*/ 182974 w 3359086"/>
                <a:gd name="connsiteY11850" fmla="*/ 2076165 h 3355086"/>
                <a:gd name="connsiteX11851" fmla="*/ 3292030 w 3359086"/>
                <a:gd name="connsiteY11851" fmla="*/ 2074641 h 3355086"/>
                <a:gd name="connsiteX11852" fmla="*/ 3298221 w 3359086"/>
                <a:gd name="connsiteY11852" fmla="*/ 2080832 h 3355086"/>
                <a:gd name="connsiteX11853" fmla="*/ 3292030 w 3359086"/>
                <a:gd name="connsiteY11853" fmla="*/ 2087024 h 3355086"/>
                <a:gd name="connsiteX11854" fmla="*/ 3285839 w 3359086"/>
                <a:gd name="connsiteY11854" fmla="*/ 2080832 h 3355086"/>
                <a:gd name="connsiteX11855" fmla="*/ 3292030 w 3359086"/>
                <a:gd name="connsiteY11855" fmla="*/ 2074641 h 3355086"/>
                <a:gd name="connsiteX11856" fmla="*/ 727995 w 3359086"/>
                <a:gd name="connsiteY11856" fmla="*/ 2074641 h 3355086"/>
                <a:gd name="connsiteX11857" fmla="*/ 734187 w 3359086"/>
                <a:gd name="connsiteY11857" fmla="*/ 2080832 h 3355086"/>
                <a:gd name="connsiteX11858" fmla="*/ 727995 w 3359086"/>
                <a:gd name="connsiteY11858" fmla="*/ 2087024 h 3355086"/>
                <a:gd name="connsiteX11859" fmla="*/ 721804 w 3359086"/>
                <a:gd name="connsiteY11859" fmla="*/ 2080832 h 3355086"/>
                <a:gd name="connsiteX11860" fmla="*/ 727995 w 3359086"/>
                <a:gd name="connsiteY11860" fmla="*/ 2074641 h 3355086"/>
                <a:gd name="connsiteX11861" fmla="*/ 3270122 w 3359086"/>
                <a:gd name="connsiteY11861" fmla="*/ 2074450 h 3355086"/>
                <a:gd name="connsiteX11862" fmla="*/ 3276313 w 3359086"/>
                <a:gd name="connsiteY11862" fmla="*/ 2080641 h 3355086"/>
                <a:gd name="connsiteX11863" fmla="*/ 3270122 w 3359086"/>
                <a:gd name="connsiteY11863" fmla="*/ 2086833 h 3355086"/>
                <a:gd name="connsiteX11864" fmla="*/ 3263931 w 3359086"/>
                <a:gd name="connsiteY11864" fmla="*/ 2080641 h 3355086"/>
                <a:gd name="connsiteX11865" fmla="*/ 3270122 w 3359086"/>
                <a:gd name="connsiteY11865" fmla="*/ 2074450 h 3355086"/>
                <a:gd name="connsiteX11866" fmla="*/ 73437 w 3359086"/>
                <a:gd name="connsiteY11866" fmla="*/ 2072640 h 3355086"/>
                <a:gd name="connsiteX11867" fmla="*/ 79628 w 3359086"/>
                <a:gd name="connsiteY11867" fmla="*/ 2078831 h 3355086"/>
                <a:gd name="connsiteX11868" fmla="*/ 73437 w 3359086"/>
                <a:gd name="connsiteY11868" fmla="*/ 2085023 h 3355086"/>
                <a:gd name="connsiteX11869" fmla="*/ 67246 w 3359086"/>
                <a:gd name="connsiteY11869" fmla="*/ 2078831 h 3355086"/>
                <a:gd name="connsiteX11870" fmla="*/ 73437 w 3359086"/>
                <a:gd name="connsiteY11870" fmla="*/ 2072640 h 3355086"/>
                <a:gd name="connsiteX11871" fmla="*/ 3219735 w 3359086"/>
                <a:gd name="connsiteY11871" fmla="*/ 2071878 h 3355086"/>
                <a:gd name="connsiteX11872" fmla="*/ 3225926 w 3359086"/>
                <a:gd name="connsiteY11872" fmla="*/ 2078069 h 3355086"/>
                <a:gd name="connsiteX11873" fmla="*/ 3219735 w 3359086"/>
                <a:gd name="connsiteY11873" fmla="*/ 2084261 h 3355086"/>
                <a:gd name="connsiteX11874" fmla="*/ 3213544 w 3359086"/>
                <a:gd name="connsiteY11874" fmla="*/ 2078069 h 3355086"/>
                <a:gd name="connsiteX11875" fmla="*/ 3219735 w 3359086"/>
                <a:gd name="connsiteY11875" fmla="*/ 2071878 h 3355086"/>
                <a:gd name="connsiteX11876" fmla="*/ 59340 w 3359086"/>
                <a:gd name="connsiteY11876" fmla="*/ 2070164 h 3355086"/>
                <a:gd name="connsiteX11877" fmla="*/ 65532 w 3359086"/>
                <a:gd name="connsiteY11877" fmla="*/ 2076355 h 3355086"/>
                <a:gd name="connsiteX11878" fmla="*/ 59340 w 3359086"/>
                <a:gd name="connsiteY11878" fmla="*/ 2082547 h 3355086"/>
                <a:gd name="connsiteX11879" fmla="*/ 53149 w 3359086"/>
                <a:gd name="connsiteY11879" fmla="*/ 2076355 h 3355086"/>
                <a:gd name="connsiteX11880" fmla="*/ 59340 w 3359086"/>
                <a:gd name="connsiteY11880" fmla="*/ 2070164 h 3355086"/>
                <a:gd name="connsiteX11881" fmla="*/ 3247262 w 3359086"/>
                <a:gd name="connsiteY11881" fmla="*/ 2070069 h 3355086"/>
                <a:gd name="connsiteX11882" fmla="*/ 3253454 w 3359086"/>
                <a:gd name="connsiteY11882" fmla="*/ 2076260 h 3355086"/>
                <a:gd name="connsiteX11883" fmla="*/ 3247262 w 3359086"/>
                <a:gd name="connsiteY11883" fmla="*/ 2082451 h 3355086"/>
                <a:gd name="connsiteX11884" fmla="*/ 3241071 w 3359086"/>
                <a:gd name="connsiteY11884" fmla="*/ 2076260 h 3355086"/>
                <a:gd name="connsiteX11885" fmla="*/ 3247262 w 3359086"/>
                <a:gd name="connsiteY11885" fmla="*/ 2070069 h 3355086"/>
                <a:gd name="connsiteX11886" fmla="*/ 3008947 w 3359086"/>
                <a:gd name="connsiteY11886" fmla="*/ 2069783 h 3355086"/>
                <a:gd name="connsiteX11887" fmla="*/ 3015138 w 3359086"/>
                <a:gd name="connsiteY11887" fmla="*/ 2075974 h 3355086"/>
                <a:gd name="connsiteX11888" fmla="*/ 3008947 w 3359086"/>
                <a:gd name="connsiteY11888" fmla="*/ 2082166 h 3355086"/>
                <a:gd name="connsiteX11889" fmla="*/ 3002756 w 3359086"/>
                <a:gd name="connsiteY11889" fmla="*/ 2075974 h 3355086"/>
                <a:gd name="connsiteX11890" fmla="*/ 3008947 w 3359086"/>
                <a:gd name="connsiteY11890" fmla="*/ 2069783 h 3355086"/>
                <a:gd name="connsiteX11891" fmla="*/ 3160966 w 3359086"/>
                <a:gd name="connsiteY11891" fmla="*/ 2068830 h 3355086"/>
                <a:gd name="connsiteX11892" fmla="*/ 3167158 w 3359086"/>
                <a:gd name="connsiteY11892" fmla="*/ 2075021 h 3355086"/>
                <a:gd name="connsiteX11893" fmla="*/ 3160966 w 3359086"/>
                <a:gd name="connsiteY11893" fmla="*/ 2081213 h 3355086"/>
                <a:gd name="connsiteX11894" fmla="*/ 3154775 w 3359086"/>
                <a:gd name="connsiteY11894" fmla="*/ 2075021 h 3355086"/>
                <a:gd name="connsiteX11895" fmla="*/ 3160966 w 3359086"/>
                <a:gd name="connsiteY11895" fmla="*/ 2068830 h 3355086"/>
                <a:gd name="connsiteX11896" fmla="*/ 3300221 w 3359086"/>
                <a:gd name="connsiteY11896" fmla="*/ 2067211 h 3355086"/>
                <a:gd name="connsiteX11897" fmla="*/ 3306413 w 3359086"/>
                <a:gd name="connsiteY11897" fmla="*/ 2073402 h 3355086"/>
                <a:gd name="connsiteX11898" fmla="*/ 3300221 w 3359086"/>
                <a:gd name="connsiteY11898" fmla="*/ 2079594 h 3355086"/>
                <a:gd name="connsiteX11899" fmla="*/ 3294030 w 3359086"/>
                <a:gd name="connsiteY11899" fmla="*/ 2073402 h 3355086"/>
                <a:gd name="connsiteX11900" fmla="*/ 3300221 w 3359086"/>
                <a:gd name="connsiteY11900" fmla="*/ 2067211 h 3355086"/>
                <a:gd name="connsiteX11901" fmla="*/ 2646902 w 3359086"/>
                <a:gd name="connsiteY11901" fmla="*/ 2067116 h 3355086"/>
                <a:gd name="connsiteX11902" fmla="*/ 2653094 w 3359086"/>
                <a:gd name="connsiteY11902" fmla="*/ 2073307 h 3355086"/>
                <a:gd name="connsiteX11903" fmla="*/ 2646902 w 3359086"/>
                <a:gd name="connsiteY11903" fmla="*/ 2079498 h 3355086"/>
                <a:gd name="connsiteX11904" fmla="*/ 2640711 w 3359086"/>
                <a:gd name="connsiteY11904" fmla="*/ 2073307 h 3355086"/>
                <a:gd name="connsiteX11905" fmla="*/ 2646902 w 3359086"/>
                <a:gd name="connsiteY11905" fmla="*/ 2067116 h 3355086"/>
                <a:gd name="connsiteX11906" fmla="*/ 3261455 w 3359086"/>
                <a:gd name="connsiteY11906" fmla="*/ 2067021 h 3355086"/>
                <a:gd name="connsiteX11907" fmla="*/ 3267646 w 3359086"/>
                <a:gd name="connsiteY11907" fmla="*/ 2073212 h 3355086"/>
                <a:gd name="connsiteX11908" fmla="*/ 3261455 w 3359086"/>
                <a:gd name="connsiteY11908" fmla="*/ 2079404 h 3355086"/>
                <a:gd name="connsiteX11909" fmla="*/ 3255264 w 3359086"/>
                <a:gd name="connsiteY11909" fmla="*/ 2073212 h 3355086"/>
                <a:gd name="connsiteX11910" fmla="*/ 3261455 w 3359086"/>
                <a:gd name="connsiteY11910" fmla="*/ 2067021 h 3355086"/>
                <a:gd name="connsiteX11911" fmla="*/ 107156 w 3359086"/>
                <a:gd name="connsiteY11911" fmla="*/ 2065973 h 3355086"/>
                <a:gd name="connsiteX11912" fmla="*/ 113347 w 3359086"/>
                <a:gd name="connsiteY11912" fmla="*/ 2072164 h 3355086"/>
                <a:gd name="connsiteX11913" fmla="*/ 107156 w 3359086"/>
                <a:gd name="connsiteY11913" fmla="*/ 2078356 h 3355086"/>
                <a:gd name="connsiteX11914" fmla="*/ 100965 w 3359086"/>
                <a:gd name="connsiteY11914" fmla="*/ 2072164 h 3355086"/>
                <a:gd name="connsiteX11915" fmla="*/ 107156 w 3359086"/>
                <a:gd name="connsiteY11915" fmla="*/ 2065973 h 3355086"/>
                <a:gd name="connsiteX11916" fmla="*/ 3275932 w 3359086"/>
                <a:gd name="connsiteY11916" fmla="*/ 2065401 h 3355086"/>
                <a:gd name="connsiteX11917" fmla="*/ 3282123 w 3359086"/>
                <a:gd name="connsiteY11917" fmla="*/ 2071592 h 3355086"/>
                <a:gd name="connsiteX11918" fmla="*/ 3275932 w 3359086"/>
                <a:gd name="connsiteY11918" fmla="*/ 2077784 h 3355086"/>
                <a:gd name="connsiteX11919" fmla="*/ 3269741 w 3359086"/>
                <a:gd name="connsiteY11919" fmla="*/ 2071592 h 3355086"/>
                <a:gd name="connsiteX11920" fmla="*/ 3275932 w 3359086"/>
                <a:gd name="connsiteY11920" fmla="*/ 2065401 h 3355086"/>
                <a:gd name="connsiteX11921" fmla="*/ 81914 w 3359086"/>
                <a:gd name="connsiteY11921" fmla="*/ 2064639 h 3355086"/>
                <a:gd name="connsiteX11922" fmla="*/ 88106 w 3359086"/>
                <a:gd name="connsiteY11922" fmla="*/ 2070830 h 3355086"/>
                <a:gd name="connsiteX11923" fmla="*/ 81914 w 3359086"/>
                <a:gd name="connsiteY11923" fmla="*/ 2077022 h 3355086"/>
                <a:gd name="connsiteX11924" fmla="*/ 75723 w 3359086"/>
                <a:gd name="connsiteY11924" fmla="*/ 2070830 h 3355086"/>
                <a:gd name="connsiteX11925" fmla="*/ 81914 w 3359086"/>
                <a:gd name="connsiteY11925" fmla="*/ 2064639 h 3355086"/>
                <a:gd name="connsiteX11926" fmla="*/ 304799 w 3359086"/>
                <a:gd name="connsiteY11926" fmla="*/ 2063306 h 3355086"/>
                <a:gd name="connsiteX11927" fmla="*/ 310991 w 3359086"/>
                <a:gd name="connsiteY11927" fmla="*/ 2069497 h 3355086"/>
                <a:gd name="connsiteX11928" fmla="*/ 304799 w 3359086"/>
                <a:gd name="connsiteY11928" fmla="*/ 2075689 h 3355086"/>
                <a:gd name="connsiteX11929" fmla="*/ 298608 w 3359086"/>
                <a:gd name="connsiteY11929" fmla="*/ 2069497 h 3355086"/>
                <a:gd name="connsiteX11930" fmla="*/ 304799 w 3359086"/>
                <a:gd name="connsiteY11930" fmla="*/ 2063306 h 3355086"/>
                <a:gd name="connsiteX11931" fmla="*/ 161734 w 3359086"/>
                <a:gd name="connsiteY11931" fmla="*/ 2062544 h 3355086"/>
                <a:gd name="connsiteX11932" fmla="*/ 167925 w 3359086"/>
                <a:gd name="connsiteY11932" fmla="*/ 2068735 h 3355086"/>
                <a:gd name="connsiteX11933" fmla="*/ 161734 w 3359086"/>
                <a:gd name="connsiteY11933" fmla="*/ 2074927 h 3355086"/>
                <a:gd name="connsiteX11934" fmla="*/ 155543 w 3359086"/>
                <a:gd name="connsiteY11934" fmla="*/ 2068735 h 3355086"/>
                <a:gd name="connsiteX11935" fmla="*/ 161734 w 3359086"/>
                <a:gd name="connsiteY11935" fmla="*/ 2062544 h 3355086"/>
                <a:gd name="connsiteX11936" fmla="*/ 3309175 w 3359086"/>
                <a:gd name="connsiteY11936" fmla="*/ 2062353 h 3355086"/>
                <a:gd name="connsiteX11937" fmla="*/ 3313271 w 3359086"/>
                <a:gd name="connsiteY11937" fmla="*/ 2066449 h 3355086"/>
                <a:gd name="connsiteX11938" fmla="*/ 3309175 w 3359086"/>
                <a:gd name="connsiteY11938" fmla="*/ 2070544 h 3355086"/>
                <a:gd name="connsiteX11939" fmla="*/ 3305079 w 3359086"/>
                <a:gd name="connsiteY11939" fmla="*/ 2066449 h 3355086"/>
                <a:gd name="connsiteX11940" fmla="*/ 3309175 w 3359086"/>
                <a:gd name="connsiteY11940" fmla="*/ 2062353 h 3355086"/>
                <a:gd name="connsiteX11941" fmla="*/ 68389 w 3359086"/>
                <a:gd name="connsiteY11941" fmla="*/ 2062258 h 3355086"/>
                <a:gd name="connsiteX11942" fmla="*/ 74580 w 3359086"/>
                <a:gd name="connsiteY11942" fmla="*/ 2068449 h 3355086"/>
                <a:gd name="connsiteX11943" fmla="*/ 68389 w 3359086"/>
                <a:gd name="connsiteY11943" fmla="*/ 2074641 h 3355086"/>
                <a:gd name="connsiteX11944" fmla="*/ 62198 w 3359086"/>
                <a:gd name="connsiteY11944" fmla="*/ 2068449 h 3355086"/>
                <a:gd name="connsiteX11945" fmla="*/ 68389 w 3359086"/>
                <a:gd name="connsiteY11945" fmla="*/ 2062258 h 3355086"/>
                <a:gd name="connsiteX11946" fmla="*/ 53339 w 3359086"/>
                <a:gd name="connsiteY11946" fmla="*/ 2061401 h 3355086"/>
                <a:gd name="connsiteX11947" fmla="*/ 59531 w 3359086"/>
                <a:gd name="connsiteY11947" fmla="*/ 2067592 h 3355086"/>
                <a:gd name="connsiteX11948" fmla="*/ 53339 w 3359086"/>
                <a:gd name="connsiteY11948" fmla="*/ 2073784 h 3355086"/>
                <a:gd name="connsiteX11949" fmla="*/ 47148 w 3359086"/>
                <a:gd name="connsiteY11949" fmla="*/ 2067592 h 3355086"/>
                <a:gd name="connsiteX11950" fmla="*/ 53339 w 3359086"/>
                <a:gd name="connsiteY11950" fmla="*/ 2061401 h 3355086"/>
                <a:gd name="connsiteX11951" fmla="*/ 649890 w 3359086"/>
                <a:gd name="connsiteY11951" fmla="*/ 2060734 h 3355086"/>
                <a:gd name="connsiteX11952" fmla="*/ 656081 w 3359086"/>
                <a:gd name="connsiteY11952" fmla="*/ 2066925 h 3355086"/>
                <a:gd name="connsiteX11953" fmla="*/ 649890 w 3359086"/>
                <a:gd name="connsiteY11953" fmla="*/ 2073117 h 3355086"/>
                <a:gd name="connsiteX11954" fmla="*/ 643699 w 3359086"/>
                <a:gd name="connsiteY11954" fmla="*/ 2066925 h 3355086"/>
                <a:gd name="connsiteX11955" fmla="*/ 649890 w 3359086"/>
                <a:gd name="connsiteY11955" fmla="*/ 2060734 h 3355086"/>
                <a:gd name="connsiteX11956" fmla="*/ 3230593 w 3359086"/>
                <a:gd name="connsiteY11956" fmla="*/ 2059305 h 3355086"/>
                <a:gd name="connsiteX11957" fmla="*/ 3236785 w 3359086"/>
                <a:gd name="connsiteY11957" fmla="*/ 2065496 h 3355086"/>
                <a:gd name="connsiteX11958" fmla="*/ 3230593 w 3359086"/>
                <a:gd name="connsiteY11958" fmla="*/ 2071688 h 3355086"/>
                <a:gd name="connsiteX11959" fmla="*/ 3224402 w 3359086"/>
                <a:gd name="connsiteY11959" fmla="*/ 2065496 h 3355086"/>
                <a:gd name="connsiteX11960" fmla="*/ 3230593 w 3359086"/>
                <a:gd name="connsiteY11960" fmla="*/ 2059305 h 3355086"/>
                <a:gd name="connsiteX11961" fmla="*/ 3253549 w 3359086"/>
                <a:gd name="connsiteY11961" fmla="*/ 2058543 h 3355086"/>
                <a:gd name="connsiteX11962" fmla="*/ 3259741 w 3359086"/>
                <a:gd name="connsiteY11962" fmla="*/ 2064734 h 3355086"/>
                <a:gd name="connsiteX11963" fmla="*/ 3253549 w 3359086"/>
                <a:gd name="connsiteY11963" fmla="*/ 2070926 h 3355086"/>
                <a:gd name="connsiteX11964" fmla="*/ 3247358 w 3359086"/>
                <a:gd name="connsiteY11964" fmla="*/ 2064734 h 3355086"/>
                <a:gd name="connsiteX11965" fmla="*/ 3253549 w 3359086"/>
                <a:gd name="connsiteY11965" fmla="*/ 2058543 h 3355086"/>
                <a:gd name="connsiteX11966" fmla="*/ 3282124 w 3359086"/>
                <a:gd name="connsiteY11966" fmla="*/ 2056924 h 3355086"/>
                <a:gd name="connsiteX11967" fmla="*/ 3288316 w 3359086"/>
                <a:gd name="connsiteY11967" fmla="*/ 2063115 h 3355086"/>
                <a:gd name="connsiteX11968" fmla="*/ 3282124 w 3359086"/>
                <a:gd name="connsiteY11968" fmla="*/ 2069307 h 3355086"/>
                <a:gd name="connsiteX11969" fmla="*/ 3275933 w 3359086"/>
                <a:gd name="connsiteY11969" fmla="*/ 2063115 h 3355086"/>
                <a:gd name="connsiteX11970" fmla="*/ 3282124 w 3359086"/>
                <a:gd name="connsiteY11970" fmla="*/ 2056924 h 3355086"/>
                <a:gd name="connsiteX11971" fmla="*/ 3266503 w 3359086"/>
                <a:gd name="connsiteY11971" fmla="*/ 2056924 h 3355086"/>
                <a:gd name="connsiteX11972" fmla="*/ 3272694 w 3359086"/>
                <a:gd name="connsiteY11972" fmla="*/ 2063115 h 3355086"/>
                <a:gd name="connsiteX11973" fmla="*/ 3266503 w 3359086"/>
                <a:gd name="connsiteY11973" fmla="*/ 2069307 h 3355086"/>
                <a:gd name="connsiteX11974" fmla="*/ 3260312 w 3359086"/>
                <a:gd name="connsiteY11974" fmla="*/ 2063115 h 3355086"/>
                <a:gd name="connsiteX11975" fmla="*/ 3266503 w 3359086"/>
                <a:gd name="connsiteY11975" fmla="*/ 2056924 h 3355086"/>
                <a:gd name="connsiteX11976" fmla="*/ 47053 w 3359086"/>
                <a:gd name="connsiteY11976" fmla="*/ 2056924 h 3355086"/>
                <a:gd name="connsiteX11977" fmla="*/ 49435 w 3359086"/>
                <a:gd name="connsiteY11977" fmla="*/ 2059305 h 3355086"/>
                <a:gd name="connsiteX11978" fmla="*/ 47053 w 3359086"/>
                <a:gd name="connsiteY11978" fmla="*/ 2061687 h 3355086"/>
                <a:gd name="connsiteX11979" fmla="*/ 44672 w 3359086"/>
                <a:gd name="connsiteY11979" fmla="*/ 2059305 h 3355086"/>
                <a:gd name="connsiteX11980" fmla="*/ 47053 w 3359086"/>
                <a:gd name="connsiteY11980" fmla="*/ 2056924 h 3355086"/>
                <a:gd name="connsiteX11981" fmla="*/ 3047428 w 3359086"/>
                <a:gd name="connsiteY11981" fmla="*/ 2055971 h 3355086"/>
                <a:gd name="connsiteX11982" fmla="*/ 3053619 w 3359086"/>
                <a:gd name="connsiteY11982" fmla="*/ 2062162 h 3355086"/>
                <a:gd name="connsiteX11983" fmla="*/ 3047428 w 3359086"/>
                <a:gd name="connsiteY11983" fmla="*/ 2068354 h 3355086"/>
                <a:gd name="connsiteX11984" fmla="*/ 3041237 w 3359086"/>
                <a:gd name="connsiteY11984" fmla="*/ 2062162 h 3355086"/>
                <a:gd name="connsiteX11985" fmla="*/ 3047428 w 3359086"/>
                <a:gd name="connsiteY11985" fmla="*/ 2055971 h 3355086"/>
                <a:gd name="connsiteX11986" fmla="*/ 3180778 w 3359086"/>
                <a:gd name="connsiteY11986" fmla="*/ 2055495 h 3355086"/>
                <a:gd name="connsiteX11987" fmla="*/ 3186969 w 3359086"/>
                <a:gd name="connsiteY11987" fmla="*/ 2061686 h 3355086"/>
                <a:gd name="connsiteX11988" fmla="*/ 3180778 w 3359086"/>
                <a:gd name="connsiteY11988" fmla="*/ 2067878 h 3355086"/>
                <a:gd name="connsiteX11989" fmla="*/ 3174587 w 3359086"/>
                <a:gd name="connsiteY11989" fmla="*/ 2061686 h 3355086"/>
                <a:gd name="connsiteX11990" fmla="*/ 3180778 w 3359086"/>
                <a:gd name="connsiteY11990" fmla="*/ 2055495 h 3355086"/>
                <a:gd name="connsiteX11991" fmla="*/ 96964 w 3359086"/>
                <a:gd name="connsiteY11991" fmla="*/ 2053590 h 3355086"/>
                <a:gd name="connsiteX11992" fmla="*/ 103156 w 3359086"/>
                <a:gd name="connsiteY11992" fmla="*/ 2059781 h 3355086"/>
                <a:gd name="connsiteX11993" fmla="*/ 96964 w 3359086"/>
                <a:gd name="connsiteY11993" fmla="*/ 2065973 h 3355086"/>
                <a:gd name="connsiteX11994" fmla="*/ 90773 w 3359086"/>
                <a:gd name="connsiteY11994" fmla="*/ 2059781 h 3355086"/>
                <a:gd name="connsiteX11995" fmla="*/ 96964 w 3359086"/>
                <a:gd name="connsiteY11995" fmla="*/ 2053590 h 3355086"/>
                <a:gd name="connsiteX11996" fmla="*/ 2721197 w 3359086"/>
                <a:gd name="connsiteY11996" fmla="*/ 2053495 h 3355086"/>
                <a:gd name="connsiteX11997" fmla="*/ 2727388 w 3359086"/>
                <a:gd name="connsiteY11997" fmla="*/ 2059686 h 3355086"/>
                <a:gd name="connsiteX11998" fmla="*/ 2721197 w 3359086"/>
                <a:gd name="connsiteY11998" fmla="*/ 2065878 h 3355086"/>
                <a:gd name="connsiteX11999" fmla="*/ 2715006 w 3359086"/>
                <a:gd name="connsiteY11999" fmla="*/ 2059686 h 3355086"/>
                <a:gd name="connsiteX12000" fmla="*/ 2721197 w 3359086"/>
                <a:gd name="connsiteY12000" fmla="*/ 2053495 h 3355086"/>
                <a:gd name="connsiteX12001" fmla="*/ 76009 w 3359086"/>
                <a:gd name="connsiteY12001" fmla="*/ 2053400 h 3355086"/>
                <a:gd name="connsiteX12002" fmla="*/ 82201 w 3359086"/>
                <a:gd name="connsiteY12002" fmla="*/ 2059591 h 3355086"/>
                <a:gd name="connsiteX12003" fmla="*/ 76009 w 3359086"/>
                <a:gd name="connsiteY12003" fmla="*/ 2065782 h 3355086"/>
                <a:gd name="connsiteX12004" fmla="*/ 69818 w 3359086"/>
                <a:gd name="connsiteY12004" fmla="*/ 2059591 h 3355086"/>
                <a:gd name="connsiteX12005" fmla="*/ 76009 w 3359086"/>
                <a:gd name="connsiteY12005" fmla="*/ 2053400 h 3355086"/>
                <a:gd name="connsiteX12006" fmla="*/ 63436 w 3359086"/>
                <a:gd name="connsiteY12006" fmla="*/ 2052352 h 3355086"/>
                <a:gd name="connsiteX12007" fmla="*/ 69627 w 3359086"/>
                <a:gd name="connsiteY12007" fmla="*/ 2058543 h 3355086"/>
                <a:gd name="connsiteX12008" fmla="*/ 63436 w 3359086"/>
                <a:gd name="connsiteY12008" fmla="*/ 2064734 h 3355086"/>
                <a:gd name="connsiteX12009" fmla="*/ 57245 w 3359086"/>
                <a:gd name="connsiteY12009" fmla="*/ 2058543 h 3355086"/>
                <a:gd name="connsiteX12010" fmla="*/ 63436 w 3359086"/>
                <a:gd name="connsiteY12010" fmla="*/ 2052352 h 3355086"/>
                <a:gd name="connsiteX12011" fmla="*/ 268319 w 3359086"/>
                <a:gd name="connsiteY12011" fmla="*/ 2049685 h 3355086"/>
                <a:gd name="connsiteX12012" fmla="*/ 274510 w 3359086"/>
                <a:gd name="connsiteY12012" fmla="*/ 2055876 h 3355086"/>
                <a:gd name="connsiteX12013" fmla="*/ 268319 w 3359086"/>
                <a:gd name="connsiteY12013" fmla="*/ 2062068 h 3355086"/>
                <a:gd name="connsiteX12014" fmla="*/ 262128 w 3359086"/>
                <a:gd name="connsiteY12014" fmla="*/ 2055876 h 3355086"/>
                <a:gd name="connsiteX12015" fmla="*/ 268319 w 3359086"/>
                <a:gd name="connsiteY12015" fmla="*/ 2049685 h 3355086"/>
                <a:gd name="connsiteX12016" fmla="*/ 143065 w 3359086"/>
                <a:gd name="connsiteY12016" fmla="*/ 2049495 h 3355086"/>
                <a:gd name="connsiteX12017" fmla="*/ 149257 w 3359086"/>
                <a:gd name="connsiteY12017" fmla="*/ 2055686 h 3355086"/>
                <a:gd name="connsiteX12018" fmla="*/ 143065 w 3359086"/>
                <a:gd name="connsiteY12018" fmla="*/ 2061878 h 3355086"/>
                <a:gd name="connsiteX12019" fmla="*/ 136874 w 3359086"/>
                <a:gd name="connsiteY12019" fmla="*/ 2055686 h 3355086"/>
                <a:gd name="connsiteX12020" fmla="*/ 143065 w 3359086"/>
                <a:gd name="connsiteY12020" fmla="*/ 2049495 h 3355086"/>
                <a:gd name="connsiteX12021" fmla="*/ 3288601 w 3359086"/>
                <a:gd name="connsiteY12021" fmla="*/ 2048923 h 3355086"/>
                <a:gd name="connsiteX12022" fmla="*/ 3294793 w 3359086"/>
                <a:gd name="connsiteY12022" fmla="*/ 2055114 h 3355086"/>
                <a:gd name="connsiteX12023" fmla="*/ 3288601 w 3359086"/>
                <a:gd name="connsiteY12023" fmla="*/ 2061305 h 3355086"/>
                <a:gd name="connsiteX12024" fmla="*/ 3282410 w 3359086"/>
                <a:gd name="connsiteY12024" fmla="*/ 2055114 h 3355086"/>
                <a:gd name="connsiteX12025" fmla="*/ 3288601 w 3359086"/>
                <a:gd name="connsiteY12025" fmla="*/ 2048923 h 3355086"/>
                <a:gd name="connsiteX12026" fmla="*/ 3259169 w 3359086"/>
                <a:gd name="connsiteY12026" fmla="*/ 2047590 h 3355086"/>
                <a:gd name="connsiteX12027" fmla="*/ 3265361 w 3359086"/>
                <a:gd name="connsiteY12027" fmla="*/ 2053781 h 3355086"/>
                <a:gd name="connsiteX12028" fmla="*/ 3259169 w 3359086"/>
                <a:gd name="connsiteY12028" fmla="*/ 2059972 h 3355086"/>
                <a:gd name="connsiteX12029" fmla="*/ 3252978 w 3359086"/>
                <a:gd name="connsiteY12029" fmla="*/ 2053781 h 3355086"/>
                <a:gd name="connsiteX12030" fmla="*/ 3259169 w 3359086"/>
                <a:gd name="connsiteY12030" fmla="*/ 2047590 h 3355086"/>
                <a:gd name="connsiteX12031" fmla="*/ 3271456 w 3359086"/>
                <a:gd name="connsiteY12031" fmla="*/ 2047304 h 3355086"/>
                <a:gd name="connsiteX12032" fmla="*/ 3277647 w 3359086"/>
                <a:gd name="connsiteY12032" fmla="*/ 2053495 h 3355086"/>
                <a:gd name="connsiteX12033" fmla="*/ 3271456 w 3359086"/>
                <a:gd name="connsiteY12033" fmla="*/ 2059687 h 3355086"/>
                <a:gd name="connsiteX12034" fmla="*/ 3265265 w 3359086"/>
                <a:gd name="connsiteY12034" fmla="*/ 2053495 h 3355086"/>
                <a:gd name="connsiteX12035" fmla="*/ 3271456 w 3359086"/>
                <a:gd name="connsiteY12035" fmla="*/ 2047304 h 3355086"/>
                <a:gd name="connsiteX12036" fmla="*/ 3240023 w 3359086"/>
                <a:gd name="connsiteY12036" fmla="*/ 2047208 h 3355086"/>
                <a:gd name="connsiteX12037" fmla="*/ 3246214 w 3359086"/>
                <a:gd name="connsiteY12037" fmla="*/ 2053399 h 3355086"/>
                <a:gd name="connsiteX12038" fmla="*/ 3240023 w 3359086"/>
                <a:gd name="connsiteY12038" fmla="*/ 2059591 h 3355086"/>
                <a:gd name="connsiteX12039" fmla="*/ 3233832 w 3359086"/>
                <a:gd name="connsiteY12039" fmla="*/ 2053399 h 3355086"/>
                <a:gd name="connsiteX12040" fmla="*/ 3240023 w 3359086"/>
                <a:gd name="connsiteY12040" fmla="*/ 2047208 h 3355086"/>
                <a:gd name="connsiteX12041" fmla="*/ 578643 w 3359086"/>
                <a:gd name="connsiteY12041" fmla="*/ 2047208 h 3355086"/>
                <a:gd name="connsiteX12042" fmla="*/ 584835 w 3359086"/>
                <a:gd name="connsiteY12042" fmla="*/ 2053399 h 3355086"/>
                <a:gd name="connsiteX12043" fmla="*/ 578643 w 3359086"/>
                <a:gd name="connsiteY12043" fmla="*/ 2059591 h 3355086"/>
                <a:gd name="connsiteX12044" fmla="*/ 572452 w 3359086"/>
                <a:gd name="connsiteY12044" fmla="*/ 2053399 h 3355086"/>
                <a:gd name="connsiteX12045" fmla="*/ 578643 w 3359086"/>
                <a:gd name="connsiteY12045" fmla="*/ 2047208 h 3355086"/>
                <a:gd name="connsiteX12046" fmla="*/ 58388 w 3359086"/>
                <a:gd name="connsiteY12046" fmla="*/ 2043113 h 3355086"/>
                <a:gd name="connsiteX12047" fmla="*/ 64580 w 3359086"/>
                <a:gd name="connsiteY12047" fmla="*/ 2049304 h 3355086"/>
                <a:gd name="connsiteX12048" fmla="*/ 58388 w 3359086"/>
                <a:gd name="connsiteY12048" fmla="*/ 2055495 h 3355086"/>
                <a:gd name="connsiteX12049" fmla="*/ 52197 w 3359086"/>
                <a:gd name="connsiteY12049" fmla="*/ 2049304 h 3355086"/>
                <a:gd name="connsiteX12050" fmla="*/ 58388 w 3359086"/>
                <a:gd name="connsiteY12050" fmla="*/ 2043113 h 3355086"/>
                <a:gd name="connsiteX12051" fmla="*/ 3198018 w 3359086"/>
                <a:gd name="connsiteY12051" fmla="*/ 2042732 h 3355086"/>
                <a:gd name="connsiteX12052" fmla="*/ 3204209 w 3359086"/>
                <a:gd name="connsiteY12052" fmla="*/ 2048923 h 3355086"/>
                <a:gd name="connsiteX12053" fmla="*/ 3198018 w 3359086"/>
                <a:gd name="connsiteY12053" fmla="*/ 2055115 h 3355086"/>
                <a:gd name="connsiteX12054" fmla="*/ 3191827 w 3359086"/>
                <a:gd name="connsiteY12054" fmla="*/ 2048923 h 3355086"/>
                <a:gd name="connsiteX12055" fmla="*/ 3198018 w 3359086"/>
                <a:gd name="connsiteY12055" fmla="*/ 2042732 h 3355086"/>
                <a:gd name="connsiteX12056" fmla="*/ 70580 w 3359086"/>
                <a:gd name="connsiteY12056" fmla="*/ 2042732 h 3355086"/>
                <a:gd name="connsiteX12057" fmla="*/ 76772 w 3359086"/>
                <a:gd name="connsiteY12057" fmla="*/ 2048923 h 3355086"/>
                <a:gd name="connsiteX12058" fmla="*/ 70580 w 3359086"/>
                <a:gd name="connsiteY12058" fmla="*/ 2055115 h 3355086"/>
                <a:gd name="connsiteX12059" fmla="*/ 64389 w 3359086"/>
                <a:gd name="connsiteY12059" fmla="*/ 2048923 h 3355086"/>
                <a:gd name="connsiteX12060" fmla="*/ 70580 w 3359086"/>
                <a:gd name="connsiteY12060" fmla="*/ 2042732 h 3355086"/>
                <a:gd name="connsiteX12061" fmla="*/ 3081718 w 3359086"/>
                <a:gd name="connsiteY12061" fmla="*/ 2042541 h 3355086"/>
                <a:gd name="connsiteX12062" fmla="*/ 3087909 w 3359086"/>
                <a:gd name="connsiteY12062" fmla="*/ 2048732 h 3355086"/>
                <a:gd name="connsiteX12063" fmla="*/ 3081718 w 3359086"/>
                <a:gd name="connsiteY12063" fmla="*/ 2054924 h 3355086"/>
                <a:gd name="connsiteX12064" fmla="*/ 3075527 w 3359086"/>
                <a:gd name="connsiteY12064" fmla="*/ 2048732 h 3355086"/>
                <a:gd name="connsiteX12065" fmla="*/ 3081718 w 3359086"/>
                <a:gd name="connsiteY12065" fmla="*/ 2042541 h 3355086"/>
                <a:gd name="connsiteX12066" fmla="*/ 88201 w 3359086"/>
                <a:gd name="connsiteY12066" fmla="*/ 2041779 h 3355086"/>
                <a:gd name="connsiteX12067" fmla="*/ 94393 w 3359086"/>
                <a:gd name="connsiteY12067" fmla="*/ 2047970 h 3355086"/>
                <a:gd name="connsiteX12068" fmla="*/ 88201 w 3359086"/>
                <a:gd name="connsiteY12068" fmla="*/ 2054161 h 3355086"/>
                <a:gd name="connsiteX12069" fmla="*/ 82010 w 3359086"/>
                <a:gd name="connsiteY12069" fmla="*/ 2047970 h 3355086"/>
                <a:gd name="connsiteX12070" fmla="*/ 88201 w 3359086"/>
                <a:gd name="connsiteY12070" fmla="*/ 2041779 h 3355086"/>
                <a:gd name="connsiteX12071" fmla="*/ 3295649 w 3359086"/>
                <a:gd name="connsiteY12071" fmla="*/ 2041398 h 3355086"/>
                <a:gd name="connsiteX12072" fmla="*/ 3301840 w 3359086"/>
                <a:gd name="connsiteY12072" fmla="*/ 2047589 h 3355086"/>
                <a:gd name="connsiteX12073" fmla="*/ 3295649 w 3359086"/>
                <a:gd name="connsiteY12073" fmla="*/ 2053781 h 3355086"/>
                <a:gd name="connsiteX12074" fmla="*/ 3289458 w 3359086"/>
                <a:gd name="connsiteY12074" fmla="*/ 2047589 h 3355086"/>
                <a:gd name="connsiteX12075" fmla="*/ 3295649 w 3359086"/>
                <a:gd name="connsiteY12075" fmla="*/ 2041398 h 3355086"/>
                <a:gd name="connsiteX12076" fmla="*/ 2788919 w 3359086"/>
                <a:gd name="connsiteY12076" fmla="*/ 2040065 h 3355086"/>
                <a:gd name="connsiteX12077" fmla="*/ 2795111 w 3359086"/>
                <a:gd name="connsiteY12077" fmla="*/ 2046256 h 3355086"/>
                <a:gd name="connsiteX12078" fmla="*/ 2788919 w 3359086"/>
                <a:gd name="connsiteY12078" fmla="*/ 2052448 h 3355086"/>
                <a:gd name="connsiteX12079" fmla="*/ 2782728 w 3359086"/>
                <a:gd name="connsiteY12079" fmla="*/ 2046256 h 3355086"/>
                <a:gd name="connsiteX12080" fmla="*/ 2788919 w 3359086"/>
                <a:gd name="connsiteY12080" fmla="*/ 2040065 h 3355086"/>
                <a:gd name="connsiteX12081" fmla="*/ 1704879 w 3359086"/>
                <a:gd name="connsiteY12081" fmla="*/ 2039779 h 3355086"/>
                <a:gd name="connsiteX12082" fmla="*/ 1711071 w 3359086"/>
                <a:gd name="connsiteY12082" fmla="*/ 2045970 h 3355086"/>
                <a:gd name="connsiteX12083" fmla="*/ 1704879 w 3359086"/>
                <a:gd name="connsiteY12083" fmla="*/ 2052162 h 3355086"/>
                <a:gd name="connsiteX12084" fmla="*/ 1698688 w 3359086"/>
                <a:gd name="connsiteY12084" fmla="*/ 2045970 h 3355086"/>
                <a:gd name="connsiteX12085" fmla="*/ 1704879 w 3359086"/>
                <a:gd name="connsiteY12085" fmla="*/ 2039779 h 3355086"/>
                <a:gd name="connsiteX12086" fmla="*/ 1560385 w 3359086"/>
                <a:gd name="connsiteY12086" fmla="*/ 2038541 h 3355086"/>
                <a:gd name="connsiteX12087" fmla="*/ 1566577 w 3359086"/>
                <a:gd name="connsiteY12087" fmla="*/ 2044732 h 3355086"/>
                <a:gd name="connsiteX12088" fmla="*/ 1560385 w 3359086"/>
                <a:gd name="connsiteY12088" fmla="*/ 2050924 h 3355086"/>
                <a:gd name="connsiteX12089" fmla="*/ 1554194 w 3359086"/>
                <a:gd name="connsiteY12089" fmla="*/ 2044732 h 3355086"/>
                <a:gd name="connsiteX12090" fmla="*/ 1560385 w 3359086"/>
                <a:gd name="connsiteY12090" fmla="*/ 2038541 h 3355086"/>
                <a:gd name="connsiteX12091" fmla="*/ 3276504 w 3359086"/>
                <a:gd name="connsiteY12091" fmla="*/ 2038350 h 3355086"/>
                <a:gd name="connsiteX12092" fmla="*/ 3282696 w 3359086"/>
                <a:gd name="connsiteY12092" fmla="*/ 2044541 h 3355086"/>
                <a:gd name="connsiteX12093" fmla="*/ 3276504 w 3359086"/>
                <a:gd name="connsiteY12093" fmla="*/ 2050732 h 3355086"/>
                <a:gd name="connsiteX12094" fmla="*/ 3270313 w 3359086"/>
                <a:gd name="connsiteY12094" fmla="*/ 2044541 h 3355086"/>
                <a:gd name="connsiteX12095" fmla="*/ 3276504 w 3359086"/>
                <a:gd name="connsiteY12095" fmla="*/ 2038350 h 3355086"/>
                <a:gd name="connsiteX12096" fmla="*/ 3264217 w 3359086"/>
                <a:gd name="connsiteY12096" fmla="*/ 2037207 h 3355086"/>
                <a:gd name="connsiteX12097" fmla="*/ 3270409 w 3359086"/>
                <a:gd name="connsiteY12097" fmla="*/ 2043398 h 3355086"/>
                <a:gd name="connsiteX12098" fmla="*/ 3264217 w 3359086"/>
                <a:gd name="connsiteY12098" fmla="*/ 2049590 h 3355086"/>
                <a:gd name="connsiteX12099" fmla="*/ 3258026 w 3359086"/>
                <a:gd name="connsiteY12099" fmla="*/ 2043398 h 3355086"/>
                <a:gd name="connsiteX12100" fmla="*/ 3264217 w 3359086"/>
                <a:gd name="connsiteY12100" fmla="*/ 2037207 h 3355086"/>
                <a:gd name="connsiteX12101" fmla="*/ 126872 w 3359086"/>
                <a:gd name="connsiteY12101" fmla="*/ 2036921 h 3355086"/>
                <a:gd name="connsiteX12102" fmla="*/ 133064 w 3359086"/>
                <a:gd name="connsiteY12102" fmla="*/ 2043112 h 3355086"/>
                <a:gd name="connsiteX12103" fmla="*/ 126872 w 3359086"/>
                <a:gd name="connsiteY12103" fmla="*/ 2049304 h 3355086"/>
                <a:gd name="connsiteX12104" fmla="*/ 120681 w 3359086"/>
                <a:gd name="connsiteY12104" fmla="*/ 2043112 h 3355086"/>
                <a:gd name="connsiteX12105" fmla="*/ 126872 w 3359086"/>
                <a:gd name="connsiteY12105" fmla="*/ 2036921 h 3355086"/>
                <a:gd name="connsiteX12106" fmla="*/ 235838 w 3359086"/>
                <a:gd name="connsiteY12106" fmla="*/ 2036541 h 3355086"/>
                <a:gd name="connsiteX12107" fmla="*/ 242029 w 3359086"/>
                <a:gd name="connsiteY12107" fmla="*/ 2042732 h 3355086"/>
                <a:gd name="connsiteX12108" fmla="*/ 235838 w 3359086"/>
                <a:gd name="connsiteY12108" fmla="*/ 2048924 h 3355086"/>
                <a:gd name="connsiteX12109" fmla="*/ 229647 w 3359086"/>
                <a:gd name="connsiteY12109" fmla="*/ 2042732 h 3355086"/>
                <a:gd name="connsiteX12110" fmla="*/ 235838 w 3359086"/>
                <a:gd name="connsiteY12110" fmla="*/ 2036541 h 3355086"/>
                <a:gd name="connsiteX12111" fmla="*/ 1847659 w 3359086"/>
                <a:gd name="connsiteY12111" fmla="*/ 2035874 h 3355086"/>
                <a:gd name="connsiteX12112" fmla="*/ 1853851 w 3359086"/>
                <a:gd name="connsiteY12112" fmla="*/ 2042065 h 3355086"/>
                <a:gd name="connsiteX12113" fmla="*/ 1847659 w 3359086"/>
                <a:gd name="connsiteY12113" fmla="*/ 2048257 h 3355086"/>
                <a:gd name="connsiteX12114" fmla="*/ 1841468 w 3359086"/>
                <a:gd name="connsiteY12114" fmla="*/ 2042065 h 3355086"/>
                <a:gd name="connsiteX12115" fmla="*/ 1847659 w 3359086"/>
                <a:gd name="connsiteY12115" fmla="*/ 2035874 h 3355086"/>
                <a:gd name="connsiteX12116" fmla="*/ 3248119 w 3359086"/>
                <a:gd name="connsiteY12116" fmla="*/ 2035683 h 3355086"/>
                <a:gd name="connsiteX12117" fmla="*/ 3254311 w 3359086"/>
                <a:gd name="connsiteY12117" fmla="*/ 2041874 h 3355086"/>
                <a:gd name="connsiteX12118" fmla="*/ 3248119 w 3359086"/>
                <a:gd name="connsiteY12118" fmla="*/ 2048065 h 3355086"/>
                <a:gd name="connsiteX12119" fmla="*/ 3241928 w 3359086"/>
                <a:gd name="connsiteY12119" fmla="*/ 2041874 h 3355086"/>
                <a:gd name="connsiteX12120" fmla="*/ 3248119 w 3359086"/>
                <a:gd name="connsiteY12120" fmla="*/ 2035683 h 3355086"/>
                <a:gd name="connsiteX12121" fmla="*/ 3303174 w 3359086"/>
                <a:gd name="connsiteY12121" fmla="*/ 2034350 h 3355086"/>
                <a:gd name="connsiteX12122" fmla="*/ 3309365 w 3359086"/>
                <a:gd name="connsiteY12122" fmla="*/ 2040541 h 3355086"/>
                <a:gd name="connsiteX12123" fmla="*/ 3303174 w 3359086"/>
                <a:gd name="connsiteY12123" fmla="*/ 2046732 h 3355086"/>
                <a:gd name="connsiteX12124" fmla="*/ 3296983 w 3359086"/>
                <a:gd name="connsiteY12124" fmla="*/ 2040541 h 3355086"/>
                <a:gd name="connsiteX12125" fmla="*/ 3303174 w 3359086"/>
                <a:gd name="connsiteY12125" fmla="*/ 2034350 h 3355086"/>
                <a:gd name="connsiteX12126" fmla="*/ 53339 w 3359086"/>
                <a:gd name="connsiteY12126" fmla="*/ 2034350 h 3355086"/>
                <a:gd name="connsiteX12127" fmla="*/ 59531 w 3359086"/>
                <a:gd name="connsiteY12127" fmla="*/ 2040541 h 3355086"/>
                <a:gd name="connsiteX12128" fmla="*/ 53339 w 3359086"/>
                <a:gd name="connsiteY12128" fmla="*/ 2046732 h 3355086"/>
                <a:gd name="connsiteX12129" fmla="*/ 47148 w 3359086"/>
                <a:gd name="connsiteY12129" fmla="*/ 2040541 h 3355086"/>
                <a:gd name="connsiteX12130" fmla="*/ 53339 w 3359086"/>
                <a:gd name="connsiteY12130" fmla="*/ 2034350 h 3355086"/>
                <a:gd name="connsiteX12131" fmla="*/ 513968 w 3359086"/>
                <a:gd name="connsiteY12131" fmla="*/ 2033969 h 3355086"/>
                <a:gd name="connsiteX12132" fmla="*/ 520159 w 3359086"/>
                <a:gd name="connsiteY12132" fmla="*/ 2040160 h 3355086"/>
                <a:gd name="connsiteX12133" fmla="*/ 513968 w 3359086"/>
                <a:gd name="connsiteY12133" fmla="*/ 2046352 h 3355086"/>
                <a:gd name="connsiteX12134" fmla="*/ 507777 w 3359086"/>
                <a:gd name="connsiteY12134" fmla="*/ 2040160 h 3355086"/>
                <a:gd name="connsiteX12135" fmla="*/ 513968 w 3359086"/>
                <a:gd name="connsiteY12135" fmla="*/ 2033969 h 3355086"/>
                <a:gd name="connsiteX12136" fmla="*/ 1420082 w 3359086"/>
                <a:gd name="connsiteY12136" fmla="*/ 2032635 h 3355086"/>
                <a:gd name="connsiteX12137" fmla="*/ 1426274 w 3359086"/>
                <a:gd name="connsiteY12137" fmla="*/ 2038826 h 3355086"/>
                <a:gd name="connsiteX12138" fmla="*/ 1420082 w 3359086"/>
                <a:gd name="connsiteY12138" fmla="*/ 2045018 h 3355086"/>
                <a:gd name="connsiteX12139" fmla="*/ 1413891 w 3359086"/>
                <a:gd name="connsiteY12139" fmla="*/ 2038826 h 3355086"/>
                <a:gd name="connsiteX12140" fmla="*/ 1420082 w 3359086"/>
                <a:gd name="connsiteY12140" fmla="*/ 2032635 h 3355086"/>
                <a:gd name="connsiteX12141" fmla="*/ 65626 w 3359086"/>
                <a:gd name="connsiteY12141" fmla="*/ 2032540 h 3355086"/>
                <a:gd name="connsiteX12142" fmla="*/ 71818 w 3359086"/>
                <a:gd name="connsiteY12142" fmla="*/ 2038731 h 3355086"/>
                <a:gd name="connsiteX12143" fmla="*/ 65626 w 3359086"/>
                <a:gd name="connsiteY12143" fmla="*/ 2044922 h 3355086"/>
                <a:gd name="connsiteX12144" fmla="*/ 59435 w 3359086"/>
                <a:gd name="connsiteY12144" fmla="*/ 2038731 h 3355086"/>
                <a:gd name="connsiteX12145" fmla="*/ 65626 w 3359086"/>
                <a:gd name="connsiteY12145" fmla="*/ 2032540 h 3355086"/>
                <a:gd name="connsiteX12146" fmla="*/ 80581 w 3359086"/>
                <a:gd name="connsiteY12146" fmla="*/ 2030540 h 3355086"/>
                <a:gd name="connsiteX12147" fmla="*/ 86772 w 3359086"/>
                <a:gd name="connsiteY12147" fmla="*/ 2036731 h 3355086"/>
                <a:gd name="connsiteX12148" fmla="*/ 80581 w 3359086"/>
                <a:gd name="connsiteY12148" fmla="*/ 2042923 h 3355086"/>
                <a:gd name="connsiteX12149" fmla="*/ 74390 w 3359086"/>
                <a:gd name="connsiteY12149" fmla="*/ 2036731 h 3355086"/>
                <a:gd name="connsiteX12150" fmla="*/ 80581 w 3359086"/>
                <a:gd name="connsiteY12150" fmla="*/ 2030540 h 3355086"/>
                <a:gd name="connsiteX12151" fmla="*/ 3213067 w 3359086"/>
                <a:gd name="connsiteY12151" fmla="*/ 2030445 h 3355086"/>
                <a:gd name="connsiteX12152" fmla="*/ 3219259 w 3359086"/>
                <a:gd name="connsiteY12152" fmla="*/ 2036636 h 3355086"/>
                <a:gd name="connsiteX12153" fmla="*/ 3213067 w 3359086"/>
                <a:gd name="connsiteY12153" fmla="*/ 2042828 h 3355086"/>
                <a:gd name="connsiteX12154" fmla="*/ 3206876 w 3359086"/>
                <a:gd name="connsiteY12154" fmla="*/ 2036636 h 3355086"/>
                <a:gd name="connsiteX12155" fmla="*/ 3213067 w 3359086"/>
                <a:gd name="connsiteY12155" fmla="*/ 2030445 h 3355086"/>
                <a:gd name="connsiteX12156" fmla="*/ 3281648 w 3359086"/>
                <a:gd name="connsiteY12156" fmla="*/ 2029778 h 3355086"/>
                <a:gd name="connsiteX12157" fmla="*/ 3287839 w 3359086"/>
                <a:gd name="connsiteY12157" fmla="*/ 2035969 h 3355086"/>
                <a:gd name="connsiteX12158" fmla="*/ 3281648 w 3359086"/>
                <a:gd name="connsiteY12158" fmla="*/ 2042161 h 3355086"/>
                <a:gd name="connsiteX12159" fmla="*/ 3275457 w 3359086"/>
                <a:gd name="connsiteY12159" fmla="*/ 2035969 h 3355086"/>
                <a:gd name="connsiteX12160" fmla="*/ 3281648 w 3359086"/>
                <a:gd name="connsiteY12160" fmla="*/ 2029778 h 3355086"/>
                <a:gd name="connsiteX12161" fmla="*/ 3112198 w 3359086"/>
                <a:gd name="connsiteY12161" fmla="*/ 2029683 h 3355086"/>
                <a:gd name="connsiteX12162" fmla="*/ 3118390 w 3359086"/>
                <a:gd name="connsiteY12162" fmla="*/ 2035874 h 3355086"/>
                <a:gd name="connsiteX12163" fmla="*/ 3112198 w 3359086"/>
                <a:gd name="connsiteY12163" fmla="*/ 2042066 h 3355086"/>
                <a:gd name="connsiteX12164" fmla="*/ 3106007 w 3359086"/>
                <a:gd name="connsiteY12164" fmla="*/ 2035874 h 3355086"/>
                <a:gd name="connsiteX12165" fmla="*/ 3112198 w 3359086"/>
                <a:gd name="connsiteY12165" fmla="*/ 2029683 h 3355086"/>
                <a:gd name="connsiteX12166" fmla="*/ 1984152 w 3359086"/>
                <a:gd name="connsiteY12166" fmla="*/ 2028158 h 3355086"/>
                <a:gd name="connsiteX12167" fmla="*/ 1990344 w 3359086"/>
                <a:gd name="connsiteY12167" fmla="*/ 2034349 h 3355086"/>
                <a:gd name="connsiteX12168" fmla="*/ 1984152 w 3359086"/>
                <a:gd name="connsiteY12168" fmla="*/ 2040541 h 3355086"/>
                <a:gd name="connsiteX12169" fmla="*/ 1977961 w 3359086"/>
                <a:gd name="connsiteY12169" fmla="*/ 2034349 h 3355086"/>
                <a:gd name="connsiteX12170" fmla="*/ 1984152 w 3359086"/>
                <a:gd name="connsiteY12170" fmla="*/ 2028158 h 3355086"/>
                <a:gd name="connsiteX12171" fmla="*/ 3311270 w 3359086"/>
                <a:gd name="connsiteY12171" fmla="*/ 2027778 h 3355086"/>
                <a:gd name="connsiteX12172" fmla="*/ 3317462 w 3359086"/>
                <a:gd name="connsiteY12172" fmla="*/ 2033969 h 3355086"/>
                <a:gd name="connsiteX12173" fmla="*/ 3311270 w 3359086"/>
                <a:gd name="connsiteY12173" fmla="*/ 2040160 h 3355086"/>
                <a:gd name="connsiteX12174" fmla="*/ 3305079 w 3359086"/>
                <a:gd name="connsiteY12174" fmla="*/ 2033969 h 3355086"/>
                <a:gd name="connsiteX12175" fmla="*/ 3311270 w 3359086"/>
                <a:gd name="connsiteY12175" fmla="*/ 2027778 h 3355086"/>
                <a:gd name="connsiteX12176" fmla="*/ 3268979 w 3359086"/>
                <a:gd name="connsiteY12176" fmla="*/ 2027301 h 3355086"/>
                <a:gd name="connsiteX12177" fmla="*/ 3275171 w 3359086"/>
                <a:gd name="connsiteY12177" fmla="*/ 2033492 h 3355086"/>
                <a:gd name="connsiteX12178" fmla="*/ 3268979 w 3359086"/>
                <a:gd name="connsiteY12178" fmla="*/ 2039684 h 3355086"/>
                <a:gd name="connsiteX12179" fmla="*/ 3262788 w 3359086"/>
                <a:gd name="connsiteY12179" fmla="*/ 2033492 h 3355086"/>
                <a:gd name="connsiteX12180" fmla="*/ 3268979 w 3359086"/>
                <a:gd name="connsiteY12180" fmla="*/ 2027301 h 3355086"/>
                <a:gd name="connsiteX12181" fmla="*/ 2850356 w 3359086"/>
                <a:gd name="connsiteY12181" fmla="*/ 2027111 h 3355086"/>
                <a:gd name="connsiteX12182" fmla="*/ 2856547 w 3359086"/>
                <a:gd name="connsiteY12182" fmla="*/ 2033302 h 3355086"/>
                <a:gd name="connsiteX12183" fmla="*/ 2850356 w 3359086"/>
                <a:gd name="connsiteY12183" fmla="*/ 2039494 h 3355086"/>
                <a:gd name="connsiteX12184" fmla="*/ 2844165 w 3359086"/>
                <a:gd name="connsiteY12184" fmla="*/ 2033302 h 3355086"/>
                <a:gd name="connsiteX12185" fmla="*/ 2850356 w 3359086"/>
                <a:gd name="connsiteY12185" fmla="*/ 2027111 h 3355086"/>
                <a:gd name="connsiteX12186" fmla="*/ 48005 w 3359086"/>
                <a:gd name="connsiteY12186" fmla="*/ 2026063 h 3355086"/>
                <a:gd name="connsiteX12187" fmla="*/ 54197 w 3359086"/>
                <a:gd name="connsiteY12187" fmla="*/ 2032254 h 3355086"/>
                <a:gd name="connsiteX12188" fmla="*/ 48005 w 3359086"/>
                <a:gd name="connsiteY12188" fmla="*/ 2038446 h 3355086"/>
                <a:gd name="connsiteX12189" fmla="*/ 41814 w 3359086"/>
                <a:gd name="connsiteY12189" fmla="*/ 2032254 h 3355086"/>
                <a:gd name="connsiteX12190" fmla="*/ 48005 w 3359086"/>
                <a:gd name="connsiteY12190" fmla="*/ 2026063 h 3355086"/>
                <a:gd name="connsiteX12191" fmla="*/ 3320034 w 3359086"/>
                <a:gd name="connsiteY12191" fmla="*/ 2025206 h 3355086"/>
                <a:gd name="connsiteX12192" fmla="*/ 3322510 w 3359086"/>
                <a:gd name="connsiteY12192" fmla="*/ 2027682 h 3355086"/>
                <a:gd name="connsiteX12193" fmla="*/ 3320034 w 3359086"/>
                <a:gd name="connsiteY12193" fmla="*/ 2030159 h 3355086"/>
                <a:gd name="connsiteX12194" fmla="*/ 3317557 w 3359086"/>
                <a:gd name="connsiteY12194" fmla="*/ 2027682 h 3355086"/>
                <a:gd name="connsiteX12195" fmla="*/ 3320034 w 3359086"/>
                <a:gd name="connsiteY12195" fmla="*/ 2025206 h 3355086"/>
                <a:gd name="connsiteX12196" fmla="*/ 112870 w 3359086"/>
                <a:gd name="connsiteY12196" fmla="*/ 2024920 h 3355086"/>
                <a:gd name="connsiteX12197" fmla="*/ 119062 w 3359086"/>
                <a:gd name="connsiteY12197" fmla="*/ 2031111 h 3355086"/>
                <a:gd name="connsiteX12198" fmla="*/ 112870 w 3359086"/>
                <a:gd name="connsiteY12198" fmla="*/ 2037303 h 3355086"/>
                <a:gd name="connsiteX12199" fmla="*/ 106679 w 3359086"/>
                <a:gd name="connsiteY12199" fmla="*/ 2031111 h 3355086"/>
                <a:gd name="connsiteX12200" fmla="*/ 112870 w 3359086"/>
                <a:gd name="connsiteY12200" fmla="*/ 2024920 h 3355086"/>
                <a:gd name="connsiteX12201" fmla="*/ 3255168 w 3359086"/>
                <a:gd name="connsiteY12201" fmla="*/ 2024729 h 3355086"/>
                <a:gd name="connsiteX12202" fmla="*/ 3261359 w 3359086"/>
                <a:gd name="connsiteY12202" fmla="*/ 2030920 h 3355086"/>
                <a:gd name="connsiteX12203" fmla="*/ 3255168 w 3359086"/>
                <a:gd name="connsiteY12203" fmla="*/ 2037112 h 3355086"/>
                <a:gd name="connsiteX12204" fmla="*/ 3248977 w 3359086"/>
                <a:gd name="connsiteY12204" fmla="*/ 2030920 h 3355086"/>
                <a:gd name="connsiteX12205" fmla="*/ 3255168 w 3359086"/>
                <a:gd name="connsiteY12205" fmla="*/ 2024729 h 3355086"/>
                <a:gd name="connsiteX12206" fmla="*/ 1287398 w 3359086"/>
                <a:gd name="connsiteY12206" fmla="*/ 2023872 h 3355086"/>
                <a:gd name="connsiteX12207" fmla="*/ 1293590 w 3359086"/>
                <a:gd name="connsiteY12207" fmla="*/ 2030063 h 3355086"/>
                <a:gd name="connsiteX12208" fmla="*/ 1287398 w 3359086"/>
                <a:gd name="connsiteY12208" fmla="*/ 2036255 h 3355086"/>
                <a:gd name="connsiteX12209" fmla="*/ 1281207 w 3359086"/>
                <a:gd name="connsiteY12209" fmla="*/ 2030063 h 3355086"/>
                <a:gd name="connsiteX12210" fmla="*/ 1287398 w 3359086"/>
                <a:gd name="connsiteY12210" fmla="*/ 2023872 h 3355086"/>
                <a:gd name="connsiteX12211" fmla="*/ 207073 w 3359086"/>
                <a:gd name="connsiteY12211" fmla="*/ 2023872 h 3355086"/>
                <a:gd name="connsiteX12212" fmla="*/ 213264 w 3359086"/>
                <a:gd name="connsiteY12212" fmla="*/ 2030063 h 3355086"/>
                <a:gd name="connsiteX12213" fmla="*/ 207073 w 3359086"/>
                <a:gd name="connsiteY12213" fmla="*/ 2036255 h 3355086"/>
                <a:gd name="connsiteX12214" fmla="*/ 200882 w 3359086"/>
                <a:gd name="connsiteY12214" fmla="*/ 2030063 h 3355086"/>
                <a:gd name="connsiteX12215" fmla="*/ 207073 w 3359086"/>
                <a:gd name="connsiteY12215" fmla="*/ 2023872 h 3355086"/>
                <a:gd name="connsiteX12216" fmla="*/ 61055 w 3359086"/>
                <a:gd name="connsiteY12216" fmla="*/ 2022920 h 3355086"/>
                <a:gd name="connsiteX12217" fmla="*/ 67246 w 3359086"/>
                <a:gd name="connsiteY12217" fmla="*/ 2029111 h 3355086"/>
                <a:gd name="connsiteX12218" fmla="*/ 61055 w 3359086"/>
                <a:gd name="connsiteY12218" fmla="*/ 2035303 h 3355086"/>
                <a:gd name="connsiteX12219" fmla="*/ 54864 w 3359086"/>
                <a:gd name="connsiteY12219" fmla="*/ 2029111 h 3355086"/>
                <a:gd name="connsiteX12220" fmla="*/ 61055 w 3359086"/>
                <a:gd name="connsiteY12220" fmla="*/ 2022920 h 3355086"/>
                <a:gd name="connsiteX12221" fmla="*/ 3287172 w 3359086"/>
                <a:gd name="connsiteY12221" fmla="*/ 2021777 h 3355086"/>
                <a:gd name="connsiteX12222" fmla="*/ 3293364 w 3359086"/>
                <a:gd name="connsiteY12222" fmla="*/ 2027968 h 3355086"/>
                <a:gd name="connsiteX12223" fmla="*/ 3287172 w 3359086"/>
                <a:gd name="connsiteY12223" fmla="*/ 2034160 h 3355086"/>
                <a:gd name="connsiteX12224" fmla="*/ 3280981 w 3359086"/>
                <a:gd name="connsiteY12224" fmla="*/ 2027968 h 3355086"/>
                <a:gd name="connsiteX12225" fmla="*/ 3287172 w 3359086"/>
                <a:gd name="connsiteY12225" fmla="*/ 2021777 h 3355086"/>
                <a:gd name="connsiteX12226" fmla="*/ 455294 w 3359086"/>
                <a:gd name="connsiteY12226" fmla="*/ 2021205 h 3355086"/>
                <a:gd name="connsiteX12227" fmla="*/ 461485 w 3359086"/>
                <a:gd name="connsiteY12227" fmla="*/ 2027396 h 3355086"/>
                <a:gd name="connsiteX12228" fmla="*/ 455294 w 3359086"/>
                <a:gd name="connsiteY12228" fmla="*/ 2033588 h 3355086"/>
                <a:gd name="connsiteX12229" fmla="*/ 449103 w 3359086"/>
                <a:gd name="connsiteY12229" fmla="*/ 2027396 h 3355086"/>
                <a:gd name="connsiteX12230" fmla="*/ 455294 w 3359086"/>
                <a:gd name="connsiteY12230" fmla="*/ 2021205 h 3355086"/>
                <a:gd name="connsiteX12231" fmla="*/ 74008 w 3359086"/>
                <a:gd name="connsiteY12231" fmla="*/ 2019776 h 3355086"/>
                <a:gd name="connsiteX12232" fmla="*/ 80200 w 3359086"/>
                <a:gd name="connsiteY12232" fmla="*/ 2025967 h 3355086"/>
                <a:gd name="connsiteX12233" fmla="*/ 74008 w 3359086"/>
                <a:gd name="connsiteY12233" fmla="*/ 2032159 h 3355086"/>
                <a:gd name="connsiteX12234" fmla="*/ 67817 w 3359086"/>
                <a:gd name="connsiteY12234" fmla="*/ 2025967 h 3355086"/>
                <a:gd name="connsiteX12235" fmla="*/ 74008 w 3359086"/>
                <a:gd name="connsiteY12235" fmla="*/ 2019776 h 3355086"/>
                <a:gd name="connsiteX12236" fmla="*/ 3226022 w 3359086"/>
                <a:gd name="connsiteY12236" fmla="*/ 2018729 h 3355086"/>
                <a:gd name="connsiteX12237" fmla="*/ 3232213 w 3359086"/>
                <a:gd name="connsiteY12237" fmla="*/ 2024920 h 3355086"/>
                <a:gd name="connsiteX12238" fmla="*/ 3226022 w 3359086"/>
                <a:gd name="connsiteY12238" fmla="*/ 2031112 h 3355086"/>
                <a:gd name="connsiteX12239" fmla="*/ 3219831 w 3359086"/>
                <a:gd name="connsiteY12239" fmla="*/ 2024920 h 3355086"/>
                <a:gd name="connsiteX12240" fmla="*/ 3226022 w 3359086"/>
                <a:gd name="connsiteY12240" fmla="*/ 2018729 h 3355086"/>
                <a:gd name="connsiteX12241" fmla="*/ 2112073 w 3359086"/>
                <a:gd name="connsiteY12241" fmla="*/ 2018538 h 3355086"/>
                <a:gd name="connsiteX12242" fmla="*/ 2118265 w 3359086"/>
                <a:gd name="connsiteY12242" fmla="*/ 2024729 h 3355086"/>
                <a:gd name="connsiteX12243" fmla="*/ 2112073 w 3359086"/>
                <a:gd name="connsiteY12243" fmla="*/ 2030921 h 3355086"/>
                <a:gd name="connsiteX12244" fmla="*/ 2105882 w 3359086"/>
                <a:gd name="connsiteY12244" fmla="*/ 2024729 h 3355086"/>
                <a:gd name="connsiteX12245" fmla="*/ 2112073 w 3359086"/>
                <a:gd name="connsiteY12245" fmla="*/ 2018538 h 3355086"/>
                <a:gd name="connsiteX12246" fmla="*/ 42385 w 3359086"/>
                <a:gd name="connsiteY12246" fmla="*/ 2018253 h 3355086"/>
                <a:gd name="connsiteX12247" fmla="*/ 48577 w 3359086"/>
                <a:gd name="connsiteY12247" fmla="*/ 2024444 h 3355086"/>
                <a:gd name="connsiteX12248" fmla="*/ 42385 w 3359086"/>
                <a:gd name="connsiteY12248" fmla="*/ 2030635 h 3355086"/>
                <a:gd name="connsiteX12249" fmla="*/ 36194 w 3359086"/>
                <a:gd name="connsiteY12249" fmla="*/ 2024444 h 3355086"/>
                <a:gd name="connsiteX12250" fmla="*/ 42385 w 3359086"/>
                <a:gd name="connsiteY12250" fmla="*/ 2018253 h 3355086"/>
                <a:gd name="connsiteX12251" fmla="*/ 3273551 w 3359086"/>
                <a:gd name="connsiteY12251" fmla="*/ 2017967 h 3355086"/>
                <a:gd name="connsiteX12252" fmla="*/ 3279742 w 3359086"/>
                <a:gd name="connsiteY12252" fmla="*/ 2024158 h 3355086"/>
                <a:gd name="connsiteX12253" fmla="*/ 3273551 w 3359086"/>
                <a:gd name="connsiteY12253" fmla="*/ 2030349 h 3355086"/>
                <a:gd name="connsiteX12254" fmla="*/ 3267360 w 3359086"/>
                <a:gd name="connsiteY12254" fmla="*/ 2024158 h 3355086"/>
                <a:gd name="connsiteX12255" fmla="*/ 3273551 w 3359086"/>
                <a:gd name="connsiteY12255" fmla="*/ 2017967 h 3355086"/>
                <a:gd name="connsiteX12256" fmla="*/ 3139058 w 3359086"/>
                <a:gd name="connsiteY12256" fmla="*/ 2017300 h 3355086"/>
                <a:gd name="connsiteX12257" fmla="*/ 3145249 w 3359086"/>
                <a:gd name="connsiteY12257" fmla="*/ 2023491 h 3355086"/>
                <a:gd name="connsiteX12258" fmla="*/ 3139058 w 3359086"/>
                <a:gd name="connsiteY12258" fmla="*/ 2029683 h 3355086"/>
                <a:gd name="connsiteX12259" fmla="*/ 3132867 w 3359086"/>
                <a:gd name="connsiteY12259" fmla="*/ 2023491 h 3355086"/>
                <a:gd name="connsiteX12260" fmla="*/ 3139058 w 3359086"/>
                <a:gd name="connsiteY12260" fmla="*/ 2017300 h 3355086"/>
                <a:gd name="connsiteX12261" fmla="*/ 36289 w 3359086"/>
                <a:gd name="connsiteY12261" fmla="*/ 2016443 h 3355086"/>
                <a:gd name="connsiteX12262" fmla="*/ 36861 w 3359086"/>
                <a:gd name="connsiteY12262" fmla="*/ 2017015 h 3355086"/>
                <a:gd name="connsiteX12263" fmla="*/ 36289 w 3359086"/>
                <a:gd name="connsiteY12263" fmla="*/ 2017586 h 3355086"/>
                <a:gd name="connsiteX12264" fmla="*/ 35718 w 3359086"/>
                <a:gd name="connsiteY12264" fmla="*/ 2017015 h 3355086"/>
                <a:gd name="connsiteX12265" fmla="*/ 36289 w 3359086"/>
                <a:gd name="connsiteY12265" fmla="*/ 2016443 h 3355086"/>
                <a:gd name="connsiteX12266" fmla="*/ 2905886 w 3359086"/>
                <a:gd name="connsiteY12266" fmla="*/ 2014538 h 3355086"/>
                <a:gd name="connsiteX12267" fmla="*/ 2912078 w 3359086"/>
                <a:gd name="connsiteY12267" fmla="*/ 2020729 h 3355086"/>
                <a:gd name="connsiteX12268" fmla="*/ 2905886 w 3359086"/>
                <a:gd name="connsiteY12268" fmla="*/ 2026920 h 3355086"/>
                <a:gd name="connsiteX12269" fmla="*/ 2899695 w 3359086"/>
                <a:gd name="connsiteY12269" fmla="*/ 2020729 h 3355086"/>
                <a:gd name="connsiteX12270" fmla="*/ 2905886 w 3359086"/>
                <a:gd name="connsiteY12270" fmla="*/ 2014538 h 3355086"/>
                <a:gd name="connsiteX12271" fmla="*/ 3292982 w 3359086"/>
                <a:gd name="connsiteY12271" fmla="*/ 2014252 h 3355086"/>
                <a:gd name="connsiteX12272" fmla="*/ 3299173 w 3359086"/>
                <a:gd name="connsiteY12272" fmla="*/ 2020443 h 3355086"/>
                <a:gd name="connsiteX12273" fmla="*/ 3292982 w 3359086"/>
                <a:gd name="connsiteY12273" fmla="*/ 2026634 h 3355086"/>
                <a:gd name="connsiteX12274" fmla="*/ 3286791 w 3359086"/>
                <a:gd name="connsiteY12274" fmla="*/ 2020443 h 3355086"/>
                <a:gd name="connsiteX12275" fmla="*/ 3292982 w 3359086"/>
                <a:gd name="connsiteY12275" fmla="*/ 2014252 h 3355086"/>
                <a:gd name="connsiteX12276" fmla="*/ 3261359 w 3359086"/>
                <a:gd name="connsiteY12276" fmla="*/ 2014252 h 3355086"/>
                <a:gd name="connsiteX12277" fmla="*/ 3267550 w 3359086"/>
                <a:gd name="connsiteY12277" fmla="*/ 2020443 h 3355086"/>
                <a:gd name="connsiteX12278" fmla="*/ 3261359 w 3359086"/>
                <a:gd name="connsiteY12278" fmla="*/ 2026634 h 3355086"/>
                <a:gd name="connsiteX12279" fmla="*/ 3255168 w 3359086"/>
                <a:gd name="connsiteY12279" fmla="*/ 2020443 h 3355086"/>
                <a:gd name="connsiteX12280" fmla="*/ 3261359 w 3359086"/>
                <a:gd name="connsiteY12280" fmla="*/ 2014252 h 3355086"/>
                <a:gd name="connsiteX12281" fmla="*/ 56578 w 3359086"/>
                <a:gd name="connsiteY12281" fmla="*/ 2013776 h 3355086"/>
                <a:gd name="connsiteX12282" fmla="*/ 62770 w 3359086"/>
                <a:gd name="connsiteY12282" fmla="*/ 2019967 h 3355086"/>
                <a:gd name="connsiteX12283" fmla="*/ 56578 w 3359086"/>
                <a:gd name="connsiteY12283" fmla="*/ 2026159 h 3355086"/>
                <a:gd name="connsiteX12284" fmla="*/ 50387 w 3359086"/>
                <a:gd name="connsiteY12284" fmla="*/ 2019967 h 3355086"/>
                <a:gd name="connsiteX12285" fmla="*/ 56578 w 3359086"/>
                <a:gd name="connsiteY12285" fmla="*/ 2013776 h 3355086"/>
                <a:gd name="connsiteX12286" fmla="*/ 1163764 w 3359086"/>
                <a:gd name="connsiteY12286" fmla="*/ 2013585 h 3355086"/>
                <a:gd name="connsiteX12287" fmla="*/ 1169956 w 3359086"/>
                <a:gd name="connsiteY12287" fmla="*/ 2019776 h 3355086"/>
                <a:gd name="connsiteX12288" fmla="*/ 1163764 w 3359086"/>
                <a:gd name="connsiteY12288" fmla="*/ 2025968 h 3355086"/>
                <a:gd name="connsiteX12289" fmla="*/ 1157573 w 3359086"/>
                <a:gd name="connsiteY12289" fmla="*/ 2019776 h 3355086"/>
                <a:gd name="connsiteX12290" fmla="*/ 1163764 w 3359086"/>
                <a:gd name="connsiteY12290" fmla="*/ 2013585 h 3355086"/>
                <a:gd name="connsiteX12291" fmla="*/ 100774 w 3359086"/>
                <a:gd name="connsiteY12291" fmla="*/ 2013490 h 3355086"/>
                <a:gd name="connsiteX12292" fmla="*/ 106965 w 3359086"/>
                <a:gd name="connsiteY12292" fmla="*/ 2019681 h 3355086"/>
                <a:gd name="connsiteX12293" fmla="*/ 100774 w 3359086"/>
                <a:gd name="connsiteY12293" fmla="*/ 2025872 h 3355086"/>
                <a:gd name="connsiteX12294" fmla="*/ 94583 w 3359086"/>
                <a:gd name="connsiteY12294" fmla="*/ 2019681 h 3355086"/>
                <a:gd name="connsiteX12295" fmla="*/ 100774 w 3359086"/>
                <a:gd name="connsiteY12295" fmla="*/ 2013490 h 3355086"/>
                <a:gd name="connsiteX12296" fmla="*/ 181736 w 3359086"/>
                <a:gd name="connsiteY12296" fmla="*/ 2011680 h 3355086"/>
                <a:gd name="connsiteX12297" fmla="*/ 187927 w 3359086"/>
                <a:gd name="connsiteY12297" fmla="*/ 2017871 h 3355086"/>
                <a:gd name="connsiteX12298" fmla="*/ 181736 w 3359086"/>
                <a:gd name="connsiteY12298" fmla="*/ 2024063 h 3355086"/>
                <a:gd name="connsiteX12299" fmla="*/ 175545 w 3359086"/>
                <a:gd name="connsiteY12299" fmla="*/ 2017871 h 3355086"/>
                <a:gd name="connsiteX12300" fmla="*/ 181736 w 3359086"/>
                <a:gd name="connsiteY12300" fmla="*/ 2011680 h 3355086"/>
                <a:gd name="connsiteX12301" fmla="*/ 68293 w 3359086"/>
                <a:gd name="connsiteY12301" fmla="*/ 2009585 h 3355086"/>
                <a:gd name="connsiteX12302" fmla="*/ 74485 w 3359086"/>
                <a:gd name="connsiteY12302" fmla="*/ 2015776 h 3355086"/>
                <a:gd name="connsiteX12303" fmla="*/ 68293 w 3359086"/>
                <a:gd name="connsiteY12303" fmla="*/ 2021968 h 3355086"/>
                <a:gd name="connsiteX12304" fmla="*/ 62102 w 3359086"/>
                <a:gd name="connsiteY12304" fmla="*/ 2015776 h 3355086"/>
                <a:gd name="connsiteX12305" fmla="*/ 68293 w 3359086"/>
                <a:gd name="connsiteY12305" fmla="*/ 2009585 h 3355086"/>
                <a:gd name="connsiteX12306" fmla="*/ 3278028 w 3359086"/>
                <a:gd name="connsiteY12306" fmla="*/ 2009108 h 3355086"/>
                <a:gd name="connsiteX12307" fmla="*/ 3284219 w 3359086"/>
                <a:gd name="connsiteY12307" fmla="*/ 2015299 h 3355086"/>
                <a:gd name="connsiteX12308" fmla="*/ 3278028 w 3359086"/>
                <a:gd name="connsiteY12308" fmla="*/ 2021491 h 3355086"/>
                <a:gd name="connsiteX12309" fmla="*/ 3271837 w 3359086"/>
                <a:gd name="connsiteY12309" fmla="*/ 2015299 h 3355086"/>
                <a:gd name="connsiteX12310" fmla="*/ 3278028 w 3359086"/>
                <a:gd name="connsiteY12310" fmla="*/ 2009108 h 3355086"/>
                <a:gd name="connsiteX12311" fmla="*/ 402335 w 3359086"/>
                <a:gd name="connsiteY12311" fmla="*/ 2008823 h 3355086"/>
                <a:gd name="connsiteX12312" fmla="*/ 408526 w 3359086"/>
                <a:gd name="connsiteY12312" fmla="*/ 2015014 h 3355086"/>
                <a:gd name="connsiteX12313" fmla="*/ 402335 w 3359086"/>
                <a:gd name="connsiteY12313" fmla="*/ 2021206 h 3355086"/>
                <a:gd name="connsiteX12314" fmla="*/ 396144 w 3359086"/>
                <a:gd name="connsiteY12314" fmla="*/ 2015014 h 3355086"/>
                <a:gd name="connsiteX12315" fmla="*/ 402335 w 3359086"/>
                <a:gd name="connsiteY12315" fmla="*/ 2008823 h 3355086"/>
                <a:gd name="connsiteX12316" fmla="*/ 2230849 w 3359086"/>
                <a:gd name="connsiteY12316" fmla="*/ 2007870 h 3355086"/>
                <a:gd name="connsiteX12317" fmla="*/ 2237041 w 3359086"/>
                <a:gd name="connsiteY12317" fmla="*/ 2014061 h 3355086"/>
                <a:gd name="connsiteX12318" fmla="*/ 2230849 w 3359086"/>
                <a:gd name="connsiteY12318" fmla="*/ 2020253 h 3355086"/>
                <a:gd name="connsiteX12319" fmla="*/ 2224658 w 3359086"/>
                <a:gd name="connsiteY12319" fmla="*/ 2014061 h 3355086"/>
                <a:gd name="connsiteX12320" fmla="*/ 2230849 w 3359086"/>
                <a:gd name="connsiteY12320" fmla="*/ 2007870 h 3355086"/>
                <a:gd name="connsiteX12321" fmla="*/ 3237166 w 3359086"/>
                <a:gd name="connsiteY12321" fmla="*/ 2007584 h 3355086"/>
                <a:gd name="connsiteX12322" fmla="*/ 3243358 w 3359086"/>
                <a:gd name="connsiteY12322" fmla="*/ 2013775 h 3355086"/>
                <a:gd name="connsiteX12323" fmla="*/ 3237166 w 3359086"/>
                <a:gd name="connsiteY12323" fmla="*/ 2019967 h 3355086"/>
                <a:gd name="connsiteX12324" fmla="*/ 3230975 w 3359086"/>
                <a:gd name="connsiteY12324" fmla="*/ 2013775 h 3355086"/>
                <a:gd name="connsiteX12325" fmla="*/ 3237166 w 3359086"/>
                <a:gd name="connsiteY12325" fmla="*/ 2007584 h 3355086"/>
                <a:gd name="connsiteX12326" fmla="*/ 3299269 w 3359086"/>
                <a:gd name="connsiteY12326" fmla="*/ 2007204 h 3355086"/>
                <a:gd name="connsiteX12327" fmla="*/ 3305460 w 3359086"/>
                <a:gd name="connsiteY12327" fmla="*/ 2013395 h 3355086"/>
                <a:gd name="connsiteX12328" fmla="*/ 3299269 w 3359086"/>
                <a:gd name="connsiteY12328" fmla="*/ 2019587 h 3355086"/>
                <a:gd name="connsiteX12329" fmla="*/ 3293078 w 3359086"/>
                <a:gd name="connsiteY12329" fmla="*/ 2013395 h 3355086"/>
                <a:gd name="connsiteX12330" fmla="*/ 3299269 w 3359086"/>
                <a:gd name="connsiteY12330" fmla="*/ 2007204 h 3355086"/>
                <a:gd name="connsiteX12331" fmla="*/ 3162775 w 3359086"/>
                <a:gd name="connsiteY12331" fmla="*/ 2005394 h 3355086"/>
                <a:gd name="connsiteX12332" fmla="*/ 3168967 w 3359086"/>
                <a:gd name="connsiteY12332" fmla="*/ 2011585 h 3355086"/>
                <a:gd name="connsiteX12333" fmla="*/ 3162775 w 3359086"/>
                <a:gd name="connsiteY12333" fmla="*/ 2017777 h 3355086"/>
                <a:gd name="connsiteX12334" fmla="*/ 3156584 w 3359086"/>
                <a:gd name="connsiteY12334" fmla="*/ 2011585 h 3355086"/>
                <a:gd name="connsiteX12335" fmla="*/ 3162775 w 3359086"/>
                <a:gd name="connsiteY12335" fmla="*/ 2005394 h 3355086"/>
                <a:gd name="connsiteX12336" fmla="*/ 52101 w 3359086"/>
                <a:gd name="connsiteY12336" fmla="*/ 2005203 h 3355086"/>
                <a:gd name="connsiteX12337" fmla="*/ 58292 w 3359086"/>
                <a:gd name="connsiteY12337" fmla="*/ 2011394 h 3355086"/>
                <a:gd name="connsiteX12338" fmla="*/ 52101 w 3359086"/>
                <a:gd name="connsiteY12338" fmla="*/ 2017586 h 3355086"/>
                <a:gd name="connsiteX12339" fmla="*/ 45910 w 3359086"/>
                <a:gd name="connsiteY12339" fmla="*/ 2011394 h 3355086"/>
                <a:gd name="connsiteX12340" fmla="*/ 52101 w 3359086"/>
                <a:gd name="connsiteY12340" fmla="*/ 2005203 h 3355086"/>
                <a:gd name="connsiteX12341" fmla="*/ 3266693 w 3359086"/>
                <a:gd name="connsiteY12341" fmla="*/ 2004346 h 3355086"/>
                <a:gd name="connsiteX12342" fmla="*/ 3272884 w 3359086"/>
                <a:gd name="connsiteY12342" fmla="*/ 2010537 h 3355086"/>
                <a:gd name="connsiteX12343" fmla="*/ 3266693 w 3359086"/>
                <a:gd name="connsiteY12343" fmla="*/ 2016729 h 3355086"/>
                <a:gd name="connsiteX12344" fmla="*/ 3260502 w 3359086"/>
                <a:gd name="connsiteY12344" fmla="*/ 2010537 h 3355086"/>
                <a:gd name="connsiteX12345" fmla="*/ 3266693 w 3359086"/>
                <a:gd name="connsiteY12345" fmla="*/ 2004346 h 3355086"/>
                <a:gd name="connsiteX12346" fmla="*/ 1049178 w 3359086"/>
                <a:gd name="connsiteY12346" fmla="*/ 2002727 h 3355086"/>
                <a:gd name="connsiteX12347" fmla="*/ 1055370 w 3359086"/>
                <a:gd name="connsiteY12347" fmla="*/ 2008918 h 3355086"/>
                <a:gd name="connsiteX12348" fmla="*/ 1049178 w 3359086"/>
                <a:gd name="connsiteY12348" fmla="*/ 2015110 h 3355086"/>
                <a:gd name="connsiteX12349" fmla="*/ 1042987 w 3359086"/>
                <a:gd name="connsiteY12349" fmla="*/ 2008918 h 3355086"/>
                <a:gd name="connsiteX12350" fmla="*/ 1049178 w 3359086"/>
                <a:gd name="connsiteY12350" fmla="*/ 2002727 h 3355086"/>
                <a:gd name="connsiteX12351" fmla="*/ 90296 w 3359086"/>
                <a:gd name="connsiteY12351" fmla="*/ 2002536 h 3355086"/>
                <a:gd name="connsiteX12352" fmla="*/ 96488 w 3359086"/>
                <a:gd name="connsiteY12352" fmla="*/ 2008727 h 3355086"/>
                <a:gd name="connsiteX12353" fmla="*/ 90296 w 3359086"/>
                <a:gd name="connsiteY12353" fmla="*/ 2014919 h 3355086"/>
                <a:gd name="connsiteX12354" fmla="*/ 84105 w 3359086"/>
                <a:gd name="connsiteY12354" fmla="*/ 2008727 h 3355086"/>
                <a:gd name="connsiteX12355" fmla="*/ 90296 w 3359086"/>
                <a:gd name="connsiteY12355" fmla="*/ 2002536 h 3355086"/>
                <a:gd name="connsiteX12356" fmla="*/ 2955988 w 3359086"/>
                <a:gd name="connsiteY12356" fmla="*/ 2002346 h 3355086"/>
                <a:gd name="connsiteX12357" fmla="*/ 2962179 w 3359086"/>
                <a:gd name="connsiteY12357" fmla="*/ 2008537 h 3355086"/>
                <a:gd name="connsiteX12358" fmla="*/ 2955988 w 3359086"/>
                <a:gd name="connsiteY12358" fmla="*/ 2014728 h 3355086"/>
                <a:gd name="connsiteX12359" fmla="*/ 2949797 w 3359086"/>
                <a:gd name="connsiteY12359" fmla="*/ 2008537 h 3355086"/>
                <a:gd name="connsiteX12360" fmla="*/ 2955988 w 3359086"/>
                <a:gd name="connsiteY12360" fmla="*/ 2002346 h 3355086"/>
                <a:gd name="connsiteX12361" fmla="*/ 3282505 w 3359086"/>
                <a:gd name="connsiteY12361" fmla="*/ 2000822 h 3355086"/>
                <a:gd name="connsiteX12362" fmla="*/ 3288696 w 3359086"/>
                <a:gd name="connsiteY12362" fmla="*/ 2007013 h 3355086"/>
                <a:gd name="connsiteX12363" fmla="*/ 3282505 w 3359086"/>
                <a:gd name="connsiteY12363" fmla="*/ 2013205 h 3355086"/>
                <a:gd name="connsiteX12364" fmla="*/ 3276314 w 3359086"/>
                <a:gd name="connsiteY12364" fmla="*/ 2007013 h 3355086"/>
                <a:gd name="connsiteX12365" fmla="*/ 3282505 w 3359086"/>
                <a:gd name="connsiteY12365" fmla="*/ 2000822 h 3355086"/>
                <a:gd name="connsiteX12366" fmla="*/ 3306032 w 3359086"/>
                <a:gd name="connsiteY12366" fmla="*/ 2000536 h 3355086"/>
                <a:gd name="connsiteX12367" fmla="*/ 3312223 w 3359086"/>
                <a:gd name="connsiteY12367" fmla="*/ 2006727 h 3355086"/>
                <a:gd name="connsiteX12368" fmla="*/ 3306032 w 3359086"/>
                <a:gd name="connsiteY12368" fmla="*/ 2012919 h 3355086"/>
                <a:gd name="connsiteX12369" fmla="*/ 3299841 w 3359086"/>
                <a:gd name="connsiteY12369" fmla="*/ 2006727 h 3355086"/>
                <a:gd name="connsiteX12370" fmla="*/ 3306032 w 3359086"/>
                <a:gd name="connsiteY12370" fmla="*/ 2000536 h 3355086"/>
                <a:gd name="connsiteX12371" fmla="*/ 159448 w 3359086"/>
                <a:gd name="connsiteY12371" fmla="*/ 2000060 h 3355086"/>
                <a:gd name="connsiteX12372" fmla="*/ 165639 w 3359086"/>
                <a:gd name="connsiteY12372" fmla="*/ 2006251 h 3355086"/>
                <a:gd name="connsiteX12373" fmla="*/ 159448 w 3359086"/>
                <a:gd name="connsiteY12373" fmla="*/ 2012443 h 3355086"/>
                <a:gd name="connsiteX12374" fmla="*/ 153257 w 3359086"/>
                <a:gd name="connsiteY12374" fmla="*/ 2006251 h 3355086"/>
                <a:gd name="connsiteX12375" fmla="*/ 159448 w 3359086"/>
                <a:gd name="connsiteY12375" fmla="*/ 2000060 h 3355086"/>
                <a:gd name="connsiteX12376" fmla="*/ 63150 w 3359086"/>
                <a:gd name="connsiteY12376" fmla="*/ 1999869 h 3355086"/>
                <a:gd name="connsiteX12377" fmla="*/ 69342 w 3359086"/>
                <a:gd name="connsiteY12377" fmla="*/ 2006060 h 3355086"/>
                <a:gd name="connsiteX12378" fmla="*/ 63150 w 3359086"/>
                <a:gd name="connsiteY12378" fmla="*/ 2012252 h 3355086"/>
                <a:gd name="connsiteX12379" fmla="*/ 56959 w 3359086"/>
                <a:gd name="connsiteY12379" fmla="*/ 2006060 h 3355086"/>
                <a:gd name="connsiteX12380" fmla="*/ 63150 w 3359086"/>
                <a:gd name="connsiteY12380" fmla="*/ 1999869 h 3355086"/>
                <a:gd name="connsiteX12381" fmla="*/ 3246786 w 3359086"/>
                <a:gd name="connsiteY12381" fmla="*/ 1996916 h 3355086"/>
                <a:gd name="connsiteX12382" fmla="*/ 3252977 w 3359086"/>
                <a:gd name="connsiteY12382" fmla="*/ 2003107 h 3355086"/>
                <a:gd name="connsiteX12383" fmla="*/ 3246786 w 3359086"/>
                <a:gd name="connsiteY12383" fmla="*/ 2009299 h 3355086"/>
                <a:gd name="connsiteX12384" fmla="*/ 3240595 w 3359086"/>
                <a:gd name="connsiteY12384" fmla="*/ 2003107 h 3355086"/>
                <a:gd name="connsiteX12385" fmla="*/ 3246786 w 3359086"/>
                <a:gd name="connsiteY12385" fmla="*/ 1996916 h 3355086"/>
                <a:gd name="connsiteX12386" fmla="*/ 2340673 w 3359086"/>
                <a:gd name="connsiteY12386" fmla="*/ 1996821 h 3355086"/>
                <a:gd name="connsiteX12387" fmla="*/ 2346865 w 3359086"/>
                <a:gd name="connsiteY12387" fmla="*/ 2003012 h 3355086"/>
                <a:gd name="connsiteX12388" fmla="*/ 2340673 w 3359086"/>
                <a:gd name="connsiteY12388" fmla="*/ 2009203 h 3355086"/>
                <a:gd name="connsiteX12389" fmla="*/ 2334482 w 3359086"/>
                <a:gd name="connsiteY12389" fmla="*/ 2003012 h 3355086"/>
                <a:gd name="connsiteX12390" fmla="*/ 2340673 w 3359086"/>
                <a:gd name="connsiteY12390" fmla="*/ 1996821 h 3355086"/>
                <a:gd name="connsiteX12391" fmla="*/ 354710 w 3359086"/>
                <a:gd name="connsiteY12391" fmla="*/ 1996821 h 3355086"/>
                <a:gd name="connsiteX12392" fmla="*/ 360901 w 3359086"/>
                <a:gd name="connsiteY12392" fmla="*/ 2003012 h 3355086"/>
                <a:gd name="connsiteX12393" fmla="*/ 354710 w 3359086"/>
                <a:gd name="connsiteY12393" fmla="*/ 2009203 h 3355086"/>
                <a:gd name="connsiteX12394" fmla="*/ 348519 w 3359086"/>
                <a:gd name="connsiteY12394" fmla="*/ 2003012 h 3355086"/>
                <a:gd name="connsiteX12395" fmla="*/ 354710 w 3359086"/>
                <a:gd name="connsiteY12395" fmla="*/ 1996821 h 3355086"/>
                <a:gd name="connsiteX12396" fmla="*/ 3271551 w 3359086"/>
                <a:gd name="connsiteY12396" fmla="*/ 1994821 h 3355086"/>
                <a:gd name="connsiteX12397" fmla="*/ 3277742 w 3359086"/>
                <a:gd name="connsiteY12397" fmla="*/ 2001012 h 3355086"/>
                <a:gd name="connsiteX12398" fmla="*/ 3271551 w 3359086"/>
                <a:gd name="connsiteY12398" fmla="*/ 2007204 h 3355086"/>
                <a:gd name="connsiteX12399" fmla="*/ 3265360 w 3359086"/>
                <a:gd name="connsiteY12399" fmla="*/ 2001012 h 3355086"/>
                <a:gd name="connsiteX12400" fmla="*/ 3271551 w 3359086"/>
                <a:gd name="connsiteY12400" fmla="*/ 1994821 h 3355086"/>
                <a:gd name="connsiteX12401" fmla="*/ 3313461 w 3359086"/>
                <a:gd name="connsiteY12401" fmla="*/ 1994345 h 3355086"/>
                <a:gd name="connsiteX12402" fmla="*/ 3319652 w 3359086"/>
                <a:gd name="connsiteY12402" fmla="*/ 2000536 h 3355086"/>
                <a:gd name="connsiteX12403" fmla="*/ 3313461 w 3359086"/>
                <a:gd name="connsiteY12403" fmla="*/ 2006728 h 3355086"/>
                <a:gd name="connsiteX12404" fmla="*/ 3307270 w 3359086"/>
                <a:gd name="connsiteY12404" fmla="*/ 2000536 h 3355086"/>
                <a:gd name="connsiteX12405" fmla="*/ 3313461 w 3359086"/>
                <a:gd name="connsiteY12405" fmla="*/ 1994345 h 3355086"/>
                <a:gd name="connsiteX12406" fmla="*/ 3183445 w 3359086"/>
                <a:gd name="connsiteY12406" fmla="*/ 1993964 h 3355086"/>
                <a:gd name="connsiteX12407" fmla="*/ 3189636 w 3359086"/>
                <a:gd name="connsiteY12407" fmla="*/ 2000155 h 3355086"/>
                <a:gd name="connsiteX12408" fmla="*/ 3183445 w 3359086"/>
                <a:gd name="connsiteY12408" fmla="*/ 2006347 h 3355086"/>
                <a:gd name="connsiteX12409" fmla="*/ 3177254 w 3359086"/>
                <a:gd name="connsiteY12409" fmla="*/ 2000155 h 3355086"/>
                <a:gd name="connsiteX12410" fmla="*/ 3183445 w 3359086"/>
                <a:gd name="connsiteY12410" fmla="*/ 1993964 h 3355086"/>
                <a:gd name="connsiteX12411" fmla="*/ 81438 w 3359086"/>
                <a:gd name="connsiteY12411" fmla="*/ 1992059 h 3355086"/>
                <a:gd name="connsiteX12412" fmla="*/ 87629 w 3359086"/>
                <a:gd name="connsiteY12412" fmla="*/ 1998250 h 3355086"/>
                <a:gd name="connsiteX12413" fmla="*/ 81438 w 3359086"/>
                <a:gd name="connsiteY12413" fmla="*/ 2004441 h 3355086"/>
                <a:gd name="connsiteX12414" fmla="*/ 75247 w 3359086"/>
                <a:gd name="connsiteY12414" fmla="*/ 1998250 h 3355086"/>
                <a:gd name="connsiteX12415" fmla="*/ 81438 w 3359086"/>
                <a:gd name="connsiteY12415" fmla="*/ 1992059 h 3355086"/>
                <a:gd name="connsiteX12416" fmla="*/ 943546 w 3359086"/>
                <a:gd name="connsiteY12416" fmla="*/ 1991678 h 3355086"/>
                <a:gd name="connsiteX12417" fmla="*/ 949737 w 3359086"/>
                <a:gd name="connsiteY12417" fmla="*/ 1997869 h 3355086"/>
                <a:gd name="connsiteX12418" fmla="*/ 943546 w 3359086"/>
                <a:gd name="connsiteY12418" fmla="*/ 2004061 h 3355086"/>
                <a:gd name="connsiteX12419" fmla="*/ 937355 w 3359086"/>
                <a:gd name="connsiteY12419" fmla="*/ 1997869 h 3355086"/>
                <a:gd name="connsiteX12420" fmla="*/ 943546 w 3359086"/>
                <a:gd name="connsiteY12420" fmla="*/ 1991678 h 3355086"/>
                <a:gd name="connsiteX12421" fmla="*/ 58578 w 3359086"/>
                <a:gd name="connsiteY12421" fmla="*/ 1990630 h 3355086"/>
                <a:gd name="connsiteX12422" fmla="*/ 64770 w 3359086"/>
                <a:gd name="connsiteY12422" fmla="*/ 1996821 h 3355086"/>
                <a:gd name="connsiteX12423" fmla="*/ 58578 w 3359086"/>
                <a:gd name="connsiteY12423" fmla="*/ 2003013 h 3355086"/>
                <a:gd name="connsiteX12424" fmla="*/ 52387 w 3359086"/>
                <a:gd name="connsiteY12424" fmla="*/ 1996821 h 3355086"/>
                <a:gd name="connsiteX12425" fmla="*/ 58578 w 3359086"/>
                <a:gd name="connsiteY12425" fmla="*/ 1990630 h 3355086"/>
                <a:gd name="connsiteX12426" fmla="*/ 3000946 w 3359086"/>
                <a:gd name="connsiteY12426" fmla="*/ 1990535 h 3355086"/>
                <a:gd name="connsiteX12427" fmla="*/ 3007137 w 3359086"/>
                <a:gd name="connsiteY12427" fmla="*/ 1996726 h 3355086"/>
                <a:gd name="connsiteX12428" fmla="*/ 3000946 w 3359086"/>
                <a:gd name="connsiteY12428" fmla="*/ 2002918 h 3355086"/>
                <a:gd name="connsiteX12429" fmla="*/ 2994755 w 3359086"/>
                <a:gd name="connsiteY12429" fmla="*/ 1996726 h 3355086"/>
                <a:gd name="connsiteX12430" fmla="*/ 3000946 w 3359086"/>
                <a:gd name="connsiteY12430" fmla="*/ 1990535 h 3355086"/>
                <a:gd name="connsiteX12431" fmla="*/ 140017 w 3359086"/>
                <a:gd name="connsiteY12431" fmla="*/ 1988820 h 3355086"/>
                <a:gd name="connsiteX12432" fmla="*/ 146209 w 3359086"/>
                <a:gd name="connsiteY12432" fmla="*/ 1995011 h 3355086"/>
                <a:gd name="connsiteX12433" fmla="*/ 140017 w 3359086"/>
                <a:gd name="connsiteY12433" fmla="*/ 2001203 h 3355086"/>
                <a:gd name="connsiteX12434" fmla="*/ 133826 w 3359086"/>
                <a:gd name="connsiteY12434" fmla="*/ 1995011 h 3355086"/>
                <a:gd name="connsiteX12435" fmla="*/ 140017 w 3359086"/>
                <a:gd name="connsiteY12435" fmla="*/ 1988820 h 3355086"/>
                <a:gd name="connsiteX12436" fmla="*/ 3330130 w 3359086"/>
                <a:gd name="connsiteY12436" fmla="*/ 1988630 h 3355086"/>
                <a:gd name="connsiteX12437" fmla="*/ 3330702 w 3359086"/>
                <a:gd name="connsiteY12437" fmla="*/ 1989202 h 3355086"/>
                <a:gd name="connsiteX12438" fmla="*/ 3330130 w 3359086"/>
                <a:gd name="connsiteY12438" fmla="*/ 1989773 h 3355086"/>
                <a:gd name="connsiteX12439" fmla="*/ 3329559 w 3359086"/>
                <a:gd name="connsiteY12439" fmla="*/ 1989202 h 3355086"/>
                <a:gd name="connsiteX12440" fmla="*/ 3330130 w 3359086"/>
                <a:gd name="connsiteY12440" fmla="*/ 1988630 h 3355086"/>
                <a:gd name="connsiteX12441" fmla="*/ 3321462 w 3359086"/>
                <a:gd name="connsiteY12441" fmla="*/ 1988534 h 3355086"/>
                <a:gd name="connsiteX12442" fmla="*/ 3327558 w 3359086"/>
                <a:gd name="connsiteY12442" fmla="*/ 1994630 h 3355086"/>
                <a:gd name="connsiteX12443" fmla="*/ 3321462 w 3359086"/>
                <a:gd name="connsiteY12443" fmla="*/ 2000726 h 3355086"/>
                <a:gd name="connsiteX12444" fmla="*/ 3315366 w 3359086"/>
                <a:gd name="connsiteY12444" fmla="*/ 1994630 h 3355086"/>
                <a:gd name="connsiteX12445" fmla="*/ 3321462 w 3359086"/>
                <a:gd name="connsiteY12445" fmla="*/ 1988534 h 3355086"/>
                <a:gd name="connsiteX12446" fmla="*/ 3254977 w 3359086"/>
                <a:gd name="connsiteY12446" fmla="*/ 1986725 h 3355086"/>
                <a:gd name="connsiteX12447" fmla="*/ 3261169 w 3359086"/>
                <a:gd name="connsiteY12447" fmla="*/ 1992916 h 3355086"/>
                <a:gd name="connsiteX12448" fmla="*/ 3254977 w 3359086"/>
                <a:gd name="connsiteY12448" fmla="*/ 1999107 h 3355086"/>
                <a:gd name="connsiteX12449" fmla="*/ 3248786 w 3359086"/>
                <a:gd name="connsiteY12449" fmla="*/ 1992916 h 3355086"/>
                <a:gd name="connsiteX12450" fmla="*/ 3254977 w 3359086"/>
                <a:gd name="connsiteY12450" fmla="*/ 1986725 h 3355086"/>
                <a:gd name="connsiteX12451" fmla="*/ 3275932 w 3359086"/>
                <a:gd name="connsiteY12451" fmla="*/ 1985963 h 3355086"/>
                <a:gd name="connsiteX12452" fmla="*/ 3282123 w 3359086"/>
                <a:gd name="connsiteY12452" fmla="*/ 1992154 h 3355086"/>
                <a:gd name="connsiteX12453" fmla="*/ 3275932 w 3359086"/>
                <a:gd name="connsiteY12453" fmla="*/ 1998345 h 3355086"/>
                <a:gd name="connsiteX12454" fmla="*/ 3269741 w 3359086"/>
                <a:gd name="connsiteY12454" fmla="*/ 1992154 h 3355086"/>
                <a:gd name="connsiteX12455" fmla="*/ 3275932 w 3359086"/>
                <a:gd name="connsiteY12455" fmla="*/ 1985963 h 3355086"/>
                <a:gd name="connsiteX12456" fmla="*/ 2441638 w 3359086"/>
                <a:gd name="connsiteY12456" fmla="*/ 1985772 h 3355086"/>
                <a:gd name="connsiteX12457" fmla="*/ 2447829 w 3359086"/>
                <a:gd name="connsiteY12457" fmla="*/ 1991963 h 3355086"/>
                <a:gd name="connsiteX12458" fmla="*/ 2441638 w 3359086"/>
                <a:gd name="connsiteY12458" fmla="*/ 1998155 h 3355086"/>
                <a:gd name="connsiteX12459" fmla="*/ 2435447 w 3359086"/>
                <a:gd name="connsiteY12459" fmla="*/ 1991963 h 3355086"/>
                <a:gd name="connsiteX12460" fmla="*/ 2441638 w 3359086"/>
                <a:gd name="connsiteY12460" fmla="*/ 1985772 h 3355086"/>
                <a:gd name="connsiteX12461" fmla="*/ 311943 w 3359086"/>
                <a:gd name="connsiteY12461" fmla="*/ 1985201 h 3355086"/>
                <a:gd name="connsiteX12462" fmla="*/ 318135 w 3359086"/>
                <a:gd name="connsiteY12462" fmla="*/ 1991392 h 3355086"/>
                <a:gd name="connsiteX12463" fmla="*/ 311943 w 3359086"/>
                <a:gd name="connsiteY12463" fmla="*/ 1997583 h 3355086"/>
                <a:gd name="connsiteX12464" fmla="*/ 305752 w 3359086"/>
                <a:gd name="connsiteY12464" fmla="*/ 1991392 h 3355086"/>
                <a:gd name="connsiteX12465" fmla="*/ 311943 w 3359086"/>
                <a:gd name="connsiteY12465" fmla="*/ 1985201 h 3355086"/>
                <a:gd name="connsiteX12466" fmla="*/ 3201447 w 3359086"/>
                <a:gd name="connsiteY12466" fmla="*/ 1983010 h 3355086"/>
                <a:gd name="connsiteX12467" fmla="*/ 3207639 w 3359086"/>
                <a:gd name="connsiteY12467" fmla="*/ 1989201 h 3355086"/>
                <a:gd name="connsiteX12468" fmla="*/ 3201447 w 3359086"/>
                <a:gd name="connsiteY12468" fmla="*/ 1995393 h 3355086"/>
                <a:gd name="connsiteX12469" fmla="*/ 3195256 w 3359086"/>
                <a:gd name="connsiteY12469" fmla="*/ 1989201 h 3355086"/>
                <a:gd name="connsiteX12470" fmla="*/ 3201447 w 3359086"/>
                <a:gd name="connsiteY12470" fmla="*/ 1983010 h 3355086"/>
                <a:gd name="connsiteX12471" fmla="*/ 73818 w 3359086"/>
                <a:gd name="connsiteY12471" fmla="*/ 1982153 h 3355086"/>
                <a:gd name="connsiteX12472" fmla="*/ 80009 w 3359086"/>
                <a:gd name="connsiteY12472" fmla="*/ 1988344 h 3355086"/>
                <a:gd name="connsiteX12473" fmla="*/ 73818 w 3359086"/>
                <a:gd name="connsiteY12473" fmla="*/ 1994536 h 3355086"/>
                <a:gd name="connsiteX12474" fmla="*/ 67627 w 3359086"/>
                <a:gd name="connsiteY12474" fmla="*/ 1988344 h 3355086"/>
                <a:gd name="connsiteX12475" fmla="*/ 73818 w 3359086"/>
                <a:gd name="connsiteY12475" fmla="*/ 1982153 h 3355086"/>
                <a:gd name="connsiteX12476" fmla="*/ 37813 w 3359086"/>
                <a:gd name="connsiteY12476" fmla="*/ 1982153 h 3355086"/>
                <a:gd name="connsiteX12477" fmla="*/ 44005 w 3359086"/>
                <a:gd name="connsiteY12477" fmla="*/ 1988344 h 3355086"/>
                <a:gd name="connsiteX12478" fmla="*/ 42909 w 3359086"/>
                <a:gd name="connsiteY12478" fmla="*/ 1989440 h 3355086"/>
                <a:gd name="connsiteX12479" fmla="*/ 49054 w 3359086"/>
                <a:gd name="connsiteY12479" fmla="*/ 1995583 h 3355086"/>
                <a:gd name="connsiteX12480" fmla="*/ 47529 w 3359086"/>
                <a:gd name="connsiteY12480" fmla="*/ 1997108 h 3355086"/>
                <a:gd name="connsiteX12481" fmla="*/ 53720 w 3359086"/>
                <a:gd name="connsiteY12481" fmla="*/ 2003298 h 3355086"/>
                <a:gd name="connsiteX12482" fmla="*/ 47529 w 3359086"/>
                <a:gd name="connsiteY12482" fmla="*/ 2009490 h 3355086"/>
                <a:gd name="connsiteX12483" fmla="*/ 41338 w 3359086"/>
                <a:gd name="connsiteY12483" fmla="*/ 2003298 h 3355086"/>
                <a:gd name="connsiteX12484" fmla="*/ 42862 w 3359086"/>
                <a:gd name="connsiteY12484" fmla="*/ 2001774 h 3355086"/>
                <a:gd name="connsiteX12485" fmla="*/ 36671 w 3359086"/>
                <a:gd name="connsiteY12485" fmla="*/ 1995583 h 3355086"/>
                <a:gd name="connsiteX12486" fmla="*/ 37765 w 3359086"/>
                <a:gd name="connsiteY12486" fmla="*/ 1994489 h 3355086"/>
                <a:gd name="connsiteX12487" fmla="*/ 31622 w 3359086"/>
                <a:gd name="connsiteY12487" fmla="*/ 1988344 h 3355086"/>
                <a:gd name="connsiteX12488" fmla="*/ 37813 w 3359086"/>
                <a:gd name="connsiteY12488" fmla="*/ 1982153 h 3355086"/>
                <a:gd name="connsiteX12489" fmla="*/ 846391 w 3359086"/>
                <a:gd name="connsiteY12489" fmla="*/ 1980629 h 3355086"/>
                <a:gd name="connsiteX12490" fmla="*/ 852583 w 3359086"/>
                <a:gd name="connsiteY12490" fmla="*/ 1986820 h 3355086"/>
                <a:gd name="connsiteX12491" fmla="*/ 846391 w 3359086"/>
                <a:gd name="connsiteY12491" fmla="*/ 1993012 h 3355086"/>
                <a:gd name="connsiteX12492" fmla="*/ 840200 w 3359086"/>
                <a:gd name="connsiteY12492" fmla="*/ 1986820 h 3355086"/>
                <a:gd name="connsiteX12493" fmla="*/ 846391 w 3359086"/>
                <a:gd name="connsiteY12493" fmla="*/ 1980629 h 3355086"/>
                <a:gd name="connsiteX12494" fmla="*/ 3041237 w 3359086"/>
                <a:gd name="connsiteY12494" fmla="*/ 1979200 h 3355086"/>
                <a:gd name="connsiteX12495" fmla="*/ 3047428 w 3359086"/>
                <a:gd name="connsiteY12495" fmla="*/ 1985391 h 3355086"/>
                <a:gd name="connsiteX12496" fmla="*/ 3041237 w 3359086"/>
                <a:gd name="connsiteY12496" fmla="*/ 1991583 h 3355086"/>
                <a:gd name="connsiteX12497" fmla="*/ 3035046 w 3359086"/>
                <a:gd name="connsiteY12497" fmla="*/ 1985391 h 3355086"/>
                <a:gd name="connsiteX12498" fmla="*/ 3041237 w 3359086"/>
                <a:gd name="connsiteY12498" fmla="*/ 1979200 h 3355086"/>
                <a:gd name="connsiteX12499" fmla="*/ 123157 w 3359086"/>
                <a:gd name="connsiteY12499" fmla="*/ 1978152 h 3355086"/>
                <a:gd name="connsiteX12500" fmla="*/ 129349 w 3359086"/>
                <a:gd name="connsiteY12500" fmla="*/ 1984343 h 3355086"/>
                <a:gd name="connsiteX12501" fmla="*/ 123157 w 3359086"/>
                <a:gd name="connsiteY12501" fmla="*/ 1990535 h 3355086"/>
                <a:gd name="connsiteX12502" fmla="*/ 116966 w 3359086"/>
                <a:gd name="connsiteY12502" fmla="*/ 1984343 h 3355086"/>
                <a:gd name="connsiteX12503" fmla="*/ 123157 w 3359086"/>
                <a:gd name="connsiteY12503" fmla="*/ 1978152 h 3355086"/>
                <a:gd name="connsiteX12504" fmla="*/ 3262026 w 3359086"/>
                <a:gd name="connsiteY12504" fmla="*/ 1977009 h 3355086"/>
                <a:gd name="connsiteX12505" fmla="*/ 3268217 w 3359086"/>
                <a:gd name="connsiteY12505" fmla="*/ 1983200 h 3355086"/>
                <a:gd name="connsiteX12506" fmla="*/ 3262026 w 3359086"/>
                <a:gd name="connsiteY12506" fmla="*/ 1989392 h 3355086"/>
                <a:gd name="connsiteX12507" fmla="*/ 3255835 w 3359086"/>
                <a:gd name="connsiteY12507" fmla="*/ 1983200 h 3355086"/>
                <a:gd name="connsiteX12508" fmla="*/ 3262026 w 3359086"/>
                <a:gd name="connsiteY12508" fmla="*/ 1977009 h 3355086"/>
                <a:gd name="connsiteX12509" fmla="*/ 32480 w 3359086"/>
                <a:gd name="connsiteY12509" fmla="*/ 1976724 h 3355086"/>
                <a:gd name="connsiteX12510" fmla="*/ 37242 w 3359086"/>
                <a:gd name="connsiteY12510" fmla="*/ 1981487 h 3355086"/>
                <a:gd name="connsiteX12511" fmla="*/ 32480 w 3359086"/>
                <a:gd name="connsiteY12511" fmla="*/ 1986249 h 3355086"/>
                <a:gd name="connsiteX12512" fmla="*/ 27717 w 3359086"/>
                <a:gd name="connsiteY12512" fmla="*/ 1981487 h 3355086"/>
                <a:gd name="connsiteX12513" fmla="*/ 32480 w 3359086"/>
                <a:gd name="connsiteY12513" fmla="*/ 1976724 h 3355086"/>
                <a:gd name="connsiteX12514" fmla="*/ 2534411 w 3359086"/>
                <a:gd name="connsiteY12514" fmla="*/ 1974819 h 3355086"/>
                <a:gd name="connsiteX12515" fmla="*/ 2540603 w 3359086"/>
                <a:gd name="connsiteY12515" fmla="*/ 1981010 h 3355086"/>
                <a:gd name="connsiteX12516" fmla="*/ 2534411 w 3359086"/>
                <a:gd name="connsiteY12516" fmla="*/ 1987201 h 3355086"/>
                <a:gd name="connsiteX12517" fmla="*/ 2528220 w 3359086"/>
                <a:gd name="connsiteY12517" fmla="*/ 1981010 h 3355086"/>
                <a:gd name="connsiteX12518" fmla="*/ 2534411 w 3359086"/>
                <a:gd name="connsiteY12518" fmla="*/ 1974819 h 3355086"/>
                <a:gd name="connsiteX12519" fmla="*/ 273748 w 3359086"/>
                <a:gd name="connsiteY12519" fmla="*/ 1974057 h 3355086"/>
                <a:gd name="connsiteX12520" fmla="*/ 279939 w 3359086"/>
                <a:gd name="connsiteY12520" fmla="*/ 1980248 h 3355086"/>
                <a:gd name="connsiteX12521" fmla="*/ 273748 w 3359086"/>
                <a:gd name="connsiteY12521" fmla="*/ 1986439 h 3355086"/>
                <a:gd name="connsiteX12522" fmla="*/ 267557 w 3359086"/>
                <a:gd name="connsiteY12522" fmla="*/ 1980248 h 3355086"/>
                <a:gd name="connsiteX12523" fmla="*/ 273748 w 3359086"/>
                <a:gd name="connsiteY12523" fmla="*/ 1974057 h 3355086"/>
                <a:gd name="connsiteX12524" fmla="*/ 67246 w 3359086"/>
                <a:gd name="connsiteY12524" fmla="*/ 1972628 h 3355086"/>
                <a:gd name="connsiteX12525" fmla="*/ 73438 w 3359086"/>
                <a:gd name="connsiteY12525" fmla="*/ 1978819 h 3355086"/>
                <a:gd name="connsiteX12526" fmla="*/ 67246 w 3359086"/>
                <a:gd name="connsiteY12526" fmla="*/ 1985011 h 3355086"/>
                <a:gd name="connsiteX12527" fmla="*/ 61055 w 3359086"/>
                <a:gd name="connsiteY12527" fmla="*/ 1978819 h 3355086"/>
                <a:gd name="connsiteX12528" fmla="*/ 67246 w 3359086"/>
                <a:gd name="connsiteY12528" fmla="*/ 1972628 h 3355086"/>
                <a:gd name="connsiteX12529" fmla="*/ 3217068 w 3359086"/>
                <a:gd name="connsiteY12529" fmla="*/ 1972533 h 3355086"/>
                <a:gd name="connsiteX12530" fmla="*/ 3223259 w 3359086"/>
                <a:gd name="connsiteY12530" fmla="*/ 1978724 h 3355086"/>
                <a:gd name="connsiteX12531" fmla="*/ 3217068 w 3359086"/>
                <a:gd name="connsiteY12531" fmla="*/ 1984916 h 3355086"/>
                <a:gd name="connsiteX12532" fmla="*/ 3210877 w 3359086"/>
                <a:gd name="connsiteY12532" fmla="*/ 1978724 h 3355086"/>
                <a:gd name="connsiteX12533" fmla="*/ 3217068 w 3359086"/>
                <a:gd name="connsiteY12533" fmla="*/ 1972533 h 3355086"/>
                <a:gd name="connsiteX12534" fmla="*/ 757332 w 3359086"/>
                <a:gd name="connsiteY12534" fmla="*/ 1969866 h 3355086"/>
                <a:gd name="connsiteX12535" fmla="*/ 763524 w 3359086"/>
                <a:gd name="connsiteY12535" fmla="*/ 1976057 h 3355086"/>
                <a:gd name="connsiteX12536" fmla="*/ 757332 w 3359086"/>
                <a:gd name="connsiteY12536" fmla="*/ 1982249 h 3355086"/>
                <a:gd name="connsiteX12537" fmla="*/ 751141 w 3359086"/>
                <a:gd name="connsiteY12537" fmla="*/ 1976057 h 3355086"/>
                <a:gd name="connsiteX12538" fmla="*/ 757332 w 3359086"/>
                <a:gd name="connsiteY12538" fmla="*/ 1969866 h 3355086"/>
                <a:gd name="connsiteX12539" fmla="*/ 3077146 w 3359086"/>
                <a:gd name="connsiteY12539" fmla="*/ 1968341 h 3355086"/>
                <a:gd name="connsiteX12540" fmla="*/ 3083337 w 3359086"/>
                <a:gd name="connsiteY12540" fmla="*/ 1974532 h 3355086"/>
                <a:gd name="connsiteX12541" fmla="*/ 3077146 w 3359086"/>
                <a:gd name="connsiteY12541" fmla="*/ 1980724 h 3355086"/>
                <a:gd name="connsiteX12542" fmla="*/ 3070955 w 3359086"/>
                <a:gd name="connsiteY12542" fmla="*/ 1974532 h 3355086"/>
                <a:gd name="connsiteX12543" fmla="*/ 3077146 w 3359086"/>
                <a:gd name="connsiteY12543" fmla="*/ 1968341 h 3355086"/>
                <a:gd name="connsiteX12544" fmla="*/ 108584 w 3359086"/>
                <a:gd name="connsiteY12544" fmla="*/ 1967865 h 3355086"/>
                <a:gd name="connsiteX12545" fmla="*/ 114776 w 3359086"/>
                <a:gd name="connsiteY12545" fmla="*/ 1974056 h 3355086"/>
                <a:gd name="connsiteX12546" fmla="*/ 108584 w 3359086"/>
                <a:gd name="connsiteY12546" fmla="*/ 1980248 h 3355086"/>
                <a:gd name="connsiteX12547" fmla="*/ 102393 w 3359086"/>
                <a:gd name="connsiteY12547" fmla="*/ 1974056 h 3355086"/>
                <a:gd name="connsiteX12548" fmla="*/ 108584 w 3359086"/>
                <a:gd name="connsiteY12548" fmla="*/ 1967865 h 3355086"/>
                <a:gd name="connsiteX12549" fmla="*/ 3268122 w 3359086"/>
                <a:gd name="connsiteY12549" fmla="*/ 1967770 h 3355086"/>
                <a:gd name="connsiteX12550" fmla="*/ 3274314 w 3359086"/>
                <a:gd name="connsiteY12550" fmla="*/ 1973961 h 3355086"/>
                <a:gd name="connsiteX12551" fmla="*/ 3268122 w 3359086"/>
                <a:gd name="connsiteY12551" fmla="*/ 1980153 h 3355086"/>
                <a:gd name="connsiteX12552" fmla="*/ 3261931 w 3359086"/>
                <a:gd name="connsiteY12552" fmla="*/ 1973961 h 3355086"/>
                <a:gd name="connsiteX12553" fmla="*/ 3268122 w 3359086"/>
                <a:gd name="connsiteY12553" fmla="*/ 1967770 h 3355086"/>
                <a:gd name="connsiteX12554" fmla="*/ 3308889 w 3359086"/>
                <a:gd name="connsiteY12554" fmla="*/ 1965770 h 3355086"/>
                <a:gd name="connsiteX12555" fmla="*/ 3315081 w 3359086"/>
                <a:gd name="connsiteY12555" fmla="*/ 1971961 h 3355086"/>
                <a:gd name="connsiteX12556" fmla="*/ 3308937 w 3359086"/>
                <a:gd name="connsiteY12556" fmla="*/ 1978105 h 3355086"/>
                <a:gd name="connsiteX12557" fmla="*/ 3308984 w 3359086"/>
                <a:gd name="connsiteY12557" fmla="*/ 1978152 h 3355086"/>
                <a:gd name="connsiteX12558" fmla="*/ 3302888 w 3359086"/>
                <a:gd name="connsiteY12558" fmla="*/ 1984249 h 3355086"/>
                <a:gd name="connsiteX12559" fmla="*/ 3303364 w 3359086"/>
                <a:gd name="connsiteY12559" fmla="*/ 1984724 h 3355086"/>
                <a:gd name="connsiteX12560" fmla="*/ 3297316 w 3359086"/>
                <a:gd name="connsiteY12560" fmla="*/ 1990773 h 3355086"/>
                <a:gd name="connsiteX12561" fmla="*/ 3298221 w 3359086"/>
                <a:gd name="connsiteY12561" fmla="*/ 1991678 h 3355086"/>
                <a:gd name="connsiteX12562" fmla="*/ 3292030 w 3359086"/>
                <a:gd name="connsiteY12562" fmla="*/ 1997870 h 3355086"/>
                <a:gd name="connsiteX12563" fmla="*/ 3293268 w 3359086"/>
                <a:gd name="connsiteY12563" fmla="*/ 1999107 h 3355086"/>
                <a:gd name="connsiteX12564" fmla="*/ 3287077 w 3359086"/>
                <a:gd name="connsiteY12564" fmla="*/ 2005299 h 3355086"/>
                <a:gd name="connsiteX12565" fmla="*/ 3280886 w 3359086"/>
                <a:gd name="connsiteY12565" fmla="*/ 1999107 h 3355086"/>
                <a:gd name="connsiteX12566" fmla="*/ 3287077 w 3359086"/>
                <a:gd name="connsiteY12566" fmla="*/ 1992916 h 3355086"/>
                <a:gd name="connsiteX12567" fmla="*/ 3285839 w 3359086"/>
                <a:gd name="connsiteY12567" fmla="*/ 1991678 h 3355086"/>
                <a:gd name="connsiteX12568" fmla="*/ 3291888 w 3359086"/>
                <a:gd name="connsiteY12568" fmla="*/ 1985630 h 3355086"/>
                <a:gd name="connsiteX12569" fmla="*/ 3290982 w 3359086"/>
                <a:gd name="connsiteY12569" fmla="*/ 1984724 h 3355086"/>
                <a:gd name="connsiteX12570" fmla="*/ 3297078 w 3359086"/>
                <a:gd name="connsiteY12570" fmla="*/ 1978628 h 3355086"/>
                <a:gd name="connsiteX12571" fmla="*/ 3296602 w 3359086"/>
                <a:gd name="connsiteY12571" fmla="*/ 1978152 h 3355086"/>
                <a:gd name="connsiteX12572" fmla="*/ 3302745 w 3359086"/>
                <a:gd name="connsiteY12572" fmla="*/ 1972009 h 3355086"/>
                <a:gd name="connsiteX12573" fmla="*/ 3302698 w 3359086"/>
                <a:gd name="connsiteY12573" fmla="*/ 1971961 h 3355086"/>
                <a:gd name="connsiteX12574" fmla="*/ 3308889 w 3359086"/>
                <a:gd name="connsiteY12574" fmla="*/ 1965770 h 3355086"/>
                <a:gd name="connsiteX12575" fmla="*/ 2619374 w 3359086"/>
                <a:gd name="connsiteY12575" fmla="*/ 1964150 h 3355086"/>
                <a:gd name="connsiteX12576" fmla="*/ 2625565 w 3359086"/>
                <a:gd name="connsiteY12576" fmla="*/ 1970341 h 3355086"/>
                <a:gd name="connsiteX12577" fmla="*/ 2619374 w 3359086"/>
                <a:gd name="connsiteY12577" fmla="*/ 1976533 h 3355086"/>
                <a:gd name="connsiteX12578" fmla="*/ 2613183 w 3359086"/>
                <a:gd name="connsiteY12578" fmla="*/ 1970341 h 3355086"/>
                <a:gd name="connsiteX12579" fmla="*/ 2619374 w 3359086"/>
                <a:gd name="connsiteY12579" fmla="*/ 1964150 h 3355086"/>
                <a:gd name="connsiteX12580" fmla="*/ 61531 w 3359086"/>
                <a:gd name="connsiteY12580" fmla="*/ 1963579 h 3355086"/>
                <a:gd name="connsiteX12581" fmla="*/ 67723 w 3359086"/>
                <a:gd name="connsiteY12581" fmla="*/ 1969770 h 3355086"/>
                <a:gd name="connsiteX12582" fmla="*/ 61531 w 3359086"/>
                <a:gd name="connsiteY12582" fmla="*/ 1975961 h 3355086"/>
                <a:gd name="connsiteX12583" fmla="*/ 55340 w 3359086"/>
                <a:gd name="connsiteY12583" fmla="*/ 1969770 h 3355086"/>
                <a:gd name="connsiteX12584" fmla="*/ 61531 w 3359086"/>
                <a:gd name="connsiteY12584" fmla="*/ 1963579 h 3355086"/>
                <a:gd name="connsiteX12585" fmla="*/ 239744 w 3359086"/>
                <a:gd name="connsiteY12585" fmla="*/ 1963388 h 3355086"/>
                <a:gd name="connsiteX12586" fmla="*/ 245935 w 3359086"/>
                <a:gd name="connsiteY12586" fmla="*/ 1969579 h 3355086"/>
                <a:gd name="connsiteX12587" fmla="*/ 239744 w 3359086"/>
                <a:gd name="connsiteY12587" fmla="*/ 1975771 h 3355086"/>
                <a:gd name="connsiteX12588" fmla="*/ 233553 w 3359086"/>
                <a:gd name="connsiteY12588" fmla="*/ 1969579 h 3355086"/>
                <a:gd name="connsiteX12589" fmla="*/ 239744 w 3359086"/>
                <a:gd name="connsiteY12589" fmla="*/ 1963388 h 3355086"/>
                <a:gd name="connsiteX12590" fmla="*/ 3230593 w 3359086"/>
                <a:gd name="connsiteY12590" fmla="*/ 1962531 h 3355086"/>
                <a:gd name="connsiteX12591" fmla="*/ 3236785 w 3359086"/>
                <a:gd name="connsiteY12591" fmla="*/ 1968722 h 3355086"/>
                <a:gd name="connsiteX12592" fmla="*/ 3230593 w 3359086"/>
                <a:gd name="connsiteY12592" fmla="*/ 1974914 h 3355086"/>
                <a:gd name="connsiteX12593" fmla="*/ 3224402 w 3359086"/>
                <a:gd name="connsiteY12593" fmla="*/ 1968722 h 3355086"/>
                <a:gd name="connsiteX12594" fmla="*/ 3230593 w 3359086"/>
                <a:gd name="connsiteY12594" fmla="*/ 1962531 h 3355086"/>
                <a:gd name="connsiteX12595" fmla="*/ 3315557 w 3359086"/>
                <a:gd name="connsiteY12595" fmla="*/ 1959959 h 3355086"/>
                <a:gd name="connsiteX12596" fmla="*/ 3321748 w 3359086"/>
                <a:gd name="connsiteY12596" fmla="*/ 1966150 h 3355086"/>
                <a:gd name="connsiteX12597" fmla="*/ 3315557 w 3359086"/>
                <a:gd name="connsiteY12597" fmla="*/ 1972342 h 3355086"/>
                <a:gd name="connsiteX12598" fmla="*/ 3309366 w 3359086"/>
                <a:gd name="connsiteY12598" fmla="*/ 1966150 h 3355086"/>
                <a:gd name="connsiteX12599" fmla="*/ 3315557 w 3359086"/>
                <a:gd name="connsiteY12599" fmla="*/ 1959959 h 3355086"/>
                <a:gd name="connsiteX12600" fmla="*/ 675893 w 3359086"/>
                <a:gd name="connsiteY12600" fmla="*/ 1959197 h 3355086"/>
                <a:gd name="connsiteX12601" fmla="*/ 682085 w 3359086"/>
                <a:gd name="connsiteY12601" fmla="*/ 1965388 h 3355086"/>
                <a:gd name="connsiteX12602" fmla="*/ 675893 w 3359086"/>
                <a:gd name="connsiteY12602" fmla="*/ 1971580 h 3355086"/>
                <a:gd name="connsiteX12603" fmla="*/ 669702 w 3359086"/>
                <a:gd name="connsiteY12603" fmla="*/ 1965388 h 3355086"/>
                <a:gd name="connsiteX12604" fmla="*/ 675893 w 3359086"/>
                <a:gd name="connsiteY12604" fmla="*/ 1959197 h 3355086"/>
                <a:gd name="connsiteX12605" fmla="*/ 3273361 w 3359086"/>
                <a:gd name="connsiteY12605" fmla="*/ 1958912 h 3355086"/>
                <a:gd name="connsiteX12606" fmla="*/ 3279552 w 3359086"/>
                <a:gd name="connsiteY12606" fmla="*/ 1965103 h 3355086"/>
                <a:gd name="connsiteX12607" fmla="*/ 3273361 w 3359086"/>
                <a:gd name="connsiteY12607" fmla="*/ 1971295 h 3355086"/>
                <a:gd name="connsiteX12608" fmla="*/ 3267170 w 3359086"/>
                <a:gd name="connsiteY12608" fmla="*/ 1965103 h 3355086"/>
                <a:gd name="connsiteX12609" fmla="*/ 3273361 w 3359086"/>
                <a:gd name="connsiteY12609" fmla="*/ 1958912 h 3355086"/>
                <a:gd name="connsiteX12610" fmla="*/ 96011 w 3359086"/>
                <a:gd name="connsiteY12610" fmla="*/ 1958054 h 3355086"/>
                <a:gd name="connsiteX12611" fmla="*/ 102202 w 3359086"/>
                <a:gd name="connsiteY12611" fmla="*/ 1964245 h 3355086"/>
                <a:gd name="connsiteX12612" fmla="*/ 96011 w 3359086"/>
                <a:gd name="connsiteY12612" fmla="*/ 1970437 h 3355086"/>
                <a:gd name="connsiteX12613" fmla="*/ 89820 w 3359086"/>
                <a:gd name="connsiteY12613" fmla="*/ 1964245 h 3355086"/>
                <a:gd name="connsiteX12614" fmla="*/ 96011 w 3359086"/>
                <a:gd name="connsiteY12614" fmla="*/ 1958054 h 3355086"/>
                <a:gd name="connsiteX12615" fmla="*/ 3109055 w 3359086"/>
                <a:gd name="connsiteY12615" fmla="*/ 1957769 h 3355086"/>
                <a:gd name="connsiteX12616" fmla="*/ 3115246 w 3359086"/>
                <a:gd name="connsiteY12616" fmla="*/ 1963960 h 3355086"/>
                <a:gd name="connsiteX12617" fmla="*/ 3109055 w 3359086"/>
                <a:gd name="connsiteY12617" fmla="*/ 1970152 h 3355086"/>
                <a:gd name="connsiteX12618" fmla="*/ 3102864 w 3359086"/>
                <a:gd name="connsiteY12618" fmla="*/ 1963960 h 3355086"/>
                <a:gd name="connsiteX12619" fmla="*/ 3109055 w 3359086"/>
                <a:gd name="connsiteY12619" fmla="*/ 1957769 h 3355086"/>
                <a:gd name="connsiteX12620" fmla="*/ 56578 w 3359086"/>
                <a:gd name="connsiteY12620" fmla="*/ 1955007 h 3355086"/>
                <a:gd name="connsiteX12621" fmla="*/ 62770 w 3359086"/>
                <a:gd name="connsiteY12621" fmla="*/ 1961198 h 3355086"/>
                <a:gd name="connsiteX12622" fmla="*/ 56578 w 3359086"/>
                <a:gd name="connsiteY12622" fmla="*/ 1967389 h 3355086"/>
                <a:gd name="connsiteX12623" fmla="*/ 50387 w 3359086"/>
                <a:gd name="connsiteY12623" fmla="*/ 1961198 h 3355086"/>
                <a:gd name="connsiteX12624" fmla="*/ 56578 w 3359086"/>
                <a:gd name="connsiteY12624" fmla="*/ 1955007 h 3355086"/>
                <a:gd name="connsiteX12625" fmla="*/ 3322891 w 3359086"/>
                <a:gd name="connsiteY12625" fmla="*/ 1954530 h 3355086"/>
                <a:gd name="connsiteX12626" fmla="*/ 3329083 w 3359086"/>
                <a:gd name="connsiteY12626" fmla="*/ 1960721 h 3355086"/>
                <a:gd name="connsiteX12627" fmla="*/ 3322891 w 3359086"/>
                <a:gd name="connsiteY12627" fmla="*/ 1966913 h 3355086"/>
                <a:gd name="connsiteX12628" fmla="*/ 3316700 w 3359086"/>
                <a:gd name="connsiteY12628" fmla="*/ 1960721 h 3355086"/>
                <a:gd name="connsiteX12629" fmla="*/ 3322891 w 3359086"/>
                <a:gd name="connsiteY12629" fmla="*/ 1954530 h 3355086"/>
                <a:gd name="connsiteX12630" fmla="*/ 2697003 w 3359086"/>
                <a:gd name="connsiteY12630" fmla="*/ 1953673 h 3355086"/>
                <a:gd name="connsiteX12631" fmla="*/ 2703194 w 3359086"/>
                <a:gd name="connsiteY12631" fmla="*/ 1959864 h 3355086"/>
                <a:gd name="connsiteX12632" fmla="*/ 2697003 w 3359086"/>
                <a:gd name="connsiteY12632" fmla="*/ 1966055 h 3355086"/>
                <a:gd name="connsiteX12633" fmla="*/ 2690812 w 3359086"/>
                <a:gd name="connsiteY12633" fmla="*/ 1959864 h 3355086"/>
                <a:gd name="connsiteX12634" fmla="*/ 2697003 w 3359086"/>
                <a:gd name="connsiteY12634" fmla="*/ 1953673 h 3355086"/>
                <a:gd name="connsiteX12635" fmla="*/ 209645 w 3359086"/>
                <a:gd name="connsiteY12635" fmla="*/ 1953101 h 3355086"/>
                <a:gd name="connsiteX12636" fmla="*/ 215836 w 3359086"/>
                <a:gd name="connsiteY12636" fmla="*/ 1959292 h 3355086"/>
                <a:gd name="connsiteX12637" fmla="*/ 209645 w 3359086"/>
                <a:gd name="connsiteY12637" fmla="*/ 1965484 h 3355086"/>
                <a:gd name="connsiteX12638" fmla="*/ 203454 w 3359086"/>
                <a:gd name="connsiteY12638" fmla="*/ 1959292 h 3355086"/>
                <a:gd name="connsiteX12639" fmla="*/ 209645 w 3359086"/>
                <a:gd name="connsiteY12639" fmla="*/ 1953101 h 3355086"/>
                <a:gd name="connsiteX12640" fmla="*/ 3242119 w 3359086"/>
                <a:gd name="connsiteY12640" fmla="*/ 1953006 h 3355086"/>
                <a:gd name="connsiteX12641" fmla="*/ 3248310 w 3359086"/>
                <a:gd name="connsiteY12641" fmla="*/ 1959197 h 3355086"/>
                <a:gd name="connsiteX12642" fmla="*/ 3242119 w 3359086"/>
                <a:gd name="connsiteY12642" fmla="*/ 1965389 h 3355086"/>
                <a:gd name="connsiteX12643" fmla="*/ 3235928 w 3359086"/>
                <a:gd name="connsiteY12643" fmla="*/ 1959197 h 3355086"/>
                <a:gd name="connsiteX12644" fmla="*/ 3242119 w 3359086"/>
                <a:gd name="connsiteY12644" fmla="*/ 1953006 h 3355086"/>
                <a:gd name="connsiteX12645" fmla="*/ 3330893 w 3359086"/>
                <a:gd name="connsiteY12645" fmla="*/ 1950911 h 3355086"/>
                <a:gd name="connsiteX12646" fmla="*/ 3335655 w 3359086"/>
                <a:gd name="connsiteY12646" fmla="*/ 1955673 h 3355086"/>
                <a:gd name="connsiteX12647" fmla="*/ 3330893 w 3359086"/>
                <a:gd name="connsiteY12647" fmla="*/ 1960436 h 3355086"/>
                <a:gd name="connsiteX12648" fmla="*/ 3326130 w 3359086"/>
                <a:gd name="connsiteY12648" fmla="*/ 1955673 h 3355086"/>
                <a:gd name="connsiteX12649" fmla="*/ 3330893 w 3359086"/>
                <a:gd name="connsiteY12649" fmla="*/ 1950911 h 3355086"/>
                <a:gd name="connsiteX12650" fmla="*/ 601598 w 3359086"/>
                <a:gd name="connsiteY12650" fmla="*/ 1948911 h 3355086"/>
                <a:gd name="connsiteX12651" fmla="*/ 607790 w 3359086"/>
                <a:gd name="connsiteY12651" fmla="*/ 1955102 h 3355086"/>
                <a:gd name="connsiteX12652" fmla="*/ 601598 w 3359086"/>
                <a:gd name="connsiteY12652" fmla="*/ 1961293 h 3355086"/>
                <a:gd name="connsiteX12653" fmla="*/ 595407 w 3359086"/>
                <a:gd name="connsiteY12653" fmla="*/ 1955102 h 3355086"/>
                <a:gd name="connsiteX12654" fmla="*/ 601598 w 3359086"/>
                <a:gd name="connsiteY12654" fmla="*/ 1948911 h 3355086"/>
                <a:gd name="connsiteX12655" fmla="*/ 85248 w 3359086"/>
                <a:gd name="connsiteY12655" fmla="*/ 1948720 h 3355086"/>
                <a:gd name="connsiteX12656" fmla="*/ 91440 w 3359086"/>
                <a:gd name="connsiteY12656" fmla="*/ 1954911 h 3355086"/>
                <a:gd name="connsiteX12657" fmla="*/ 85248 w 3359086"/>
                <a:gd name="connsiteY12657" fmla="*/ 1961103 h 3355086"/>
                <a:gd name="connsiteX12658" fmla="*/ 79057 w 3359086"/>
                <a:gd name="connsiteY12658" fmla="*/ 1954911 h 3355086"/>
                <a:gd name="connsiteX12659" fmla="*/ 85248 w 3359086"/>
                <a:gd name="connsiteY12659" fmla="*/ 1948720 h 3355086"/>
                <a:gd name="connsiteX12660" fmla="*/ 3137249 w 3359086"/>
                <a:gd name="connsiteY12660" fmla="*/ 1947767 h 3355086"/>
                <a:gd name="connsiteX12661" fmla="*/ 3143440 w 3359086"/>
                <a:gd name="connsiteY12661" fmla="*/ 1953958 h 3355086"/>
                <a:gd name="connsiteX12662" fmla="*/ 3137249 w 3359086"/>
                <a:gd name="connsiteY12662" fmla="*/ 1960150 h 3355086"/>
                <a:gd name="connsiteX12663" fmla="*/ 3131058 w 3359086"/>
                <a:gd name="connsiteY12663" fmla="*/ 1953958 h 3355086"/>
                <a:gd name="connsiteX12664" fmla="*/ 3137249 w 3359086"/>
                <a:gd name="connsiteY12664" fmla="*/ 1947767 h 3355086"/>
                <a:gd name="connsiteX12665" fmla="*/ 3252025 w 3359086"/>
                <a:gd name="connsiteY12665" fmla="*/ 1943862 h 3355086"/>
                <a:gd name="connsiteX12666" fmla="*/ 3258217 w 3359086"/>
                <a:gd name="connsiteY12666" fmla="*/ 1950053 h 3355086"/>
                <a:gd name="connsiteX12667" fmla="*/ 3252025 w 3359086"/>
                <a:gd name="connsiteY12667" fmla="*/ 1956244 h 3355086"/>
                <a:gd name="connsiteX12668" fmla="*/ 3245834 w 3359086"/>
                <a:gd name="connsiteY12668" fmla="*/ 1950053 h 3355086"/>
                <a:gd name="connsiteX12669" fmla="*/ 3252025 w 3359086"/>
                <a:gd name="connsiteY12669" fmla="*/ 1943862 h 3355086"/>
                <a:gd name="connsiteX12670" fmla="*/ 2767583 w 3359086"/>
                <a:gd name="connsiteY12670" fmla="*/ 1943481 h 3355086"/>
                <a:gd name="connsiteX12671" fmla="*/ 2773774 w 3359086"/>
                <a:gd name="connsiteY12671" fmla="*/ 1949672 h 3355086"/>
                <a:gd name="connsiteX12672" fmla="*/ 2767583 w 3359086"/>
                <a:gd name="connsiteY12672" fmla="*/ 1955864 h 3355086"/>
                <a:gd name="connsiteX12673" fmla="*/ 2761392 w 3359086"/>
                <a:gd name="connsiteY12673" fmla="*/ 1949672 h 3355086"/>
                <a:gd name="connsiteX12674" fmla="*/ 2767583 w 3359086"/>
                <a:gd name="connsiteY12674" fmla="*/ 1943481 h 3355086"/>
                <a:gd name="connsiteX12675" fmla="*/ 183070 w 3359086"/>
                <a:gd name="connsiteY12675" fmla="*/ 1943196 h 3355086"/>
                <a:gd name="connsiteX12676" fmla="*/ 189262 w 3359086"/>
                <a:gd name="connsiteY12676" fmla="*/ 1949387 h 3355086"/>
                <a:gd name="connsiteX12677" fmla="*/ 183070 w 3359086"/>
                <a:gd name="connsiteY12677" fmla="*/ 1955579 h 3355086"/>
                <a:gd name="connsiteX12678" fmla="*/ 176879 w 3359086"/>
                <a:gd name="connsiteY12678" fmla="*/ 1949387 h 3355086"/>
                <a:gd name="connsiteX12679" fmla="*/ 183070 w 3359086"/>
                <a:gd name="connsiteY12679" fmla="*/ 1943196 h 3355086"/>
                <a:gd name="connsiteX12680" fmla="*/ 76104 w 3359086"/>
                <a:gd name="connsiteY12680" fmla="*/ 1939766 h 3355086"/>
                <a:gd name="connsiteX12681" fmla="*/ 82296 w 3359086"/>
                <a:gd name="connsiteY12681" fmla="*/ 1945957 h 3355086"/>
                <a:gd name="connsiteX12682" fmla="*/ 76104 w 3359086"/>
                <a:gd name="connsiteY12682" fmla="*/ 1952149 h 3355086"/>
                <a:gd name="connsiteX12683" fmla="*/ 69913 w 3359086"/>
                <a:gd name="connsiteY12683" fmla="*/ 1945957 h 3355086"/>
                <a:gd name="connsiteX12684" fmla="*/ 76104 w 3359086"/>
                <a:gd name="connsiteY12684" fmla="*/ 1939766 h 3355086"/>
                <a:gd name="connsiteX12685" fmla="*/ 533971 w 3359086"/>
                <a:gd name="connsiteY12685" fmla="*/ 1938909 h 3355086"/>
                <a:gd name="connsiteX12686" fmla="*/ 540162 w 3359086"/>
                <a:gd name="connsiteY12686" fmla="*/ 1945100 h 3355086"/>
                <a:gd name="connsiteX12687" fmla="*/ 533971 w 3359086"/>
                <a:gd name="connsiteY12687" fmla="*/ 1951292 h 3355086"/>
                <a:gd name="connsiteX12688" fmla="*/ 527780 w 3359086"/>
                <a:gd name="connsiteY12688" fmla="*/ 1945100 h 3355086"/>
                <a:gd name="connsiteX12689" fmla="*/ 533971 w 3359086"/>
                <a:gd name="connsiteY12689" fmla="*/ 1938909 h 3355086"/>
                <a:gd name="connsiteX12690" fmla="*/ 28765 w 3359086"/>
                <a:gd name="connsiteY12690" fmla="*/ 1938719 h 3355086"/>
                <a:gd name="connsiteX12691" fmla="*/ 34957 w 3359086"/>
                <a:gd name="connsiteY12691" fmla="*/ 1944910 h 3355086"/>
                <a:gd name="connsiteX12692" fmla="*/ 34242 w 3359086"/>
                <a:gd name="connsiteY12692" fmla="*/ 1945625 h 3355086"/>
                <a:gd name="connsiteX12693" fmla="*/ 39719 w 3359086"/>
                <a:gd name="connsiteY12693" fmla="*/ 1951101 h 3355086"/>
                <a:gd name="connsiteX12694" fmla="*/ 38671 w 3359086"/>
                <a:gd name="connsiteY12694" fmla="*/ 1952149 h 3355086"/>
                <a:gd name="connsiteX12695" fmla="*/ 44196 w 3359086"/>
                <a:gd name="connsiteY12695" fmla="*/ 1957673 h 3355086"/>
                <a:gd name="connsiteX12696" fmla="*/ 42814 w 3359086"/>
                <a:gd name="connsiteY12696" fmla="*/ 1959055 h 3355086"/>
                <a:gd name="connsiteX12697" fmla="*/ 48387 w 3359086"/>
                <a:gd name="connsiteY12697" fmla="*/ 1964627 h 3355086"/>
                <a:gd name="connsiteX12698" fmla="*/ 46672 w 3359086"/>
                <a:gd name="connsiteY12698" fmla="*/ 1966342 h 3355086"/>
                <a:gd name="connsiteX12699" fmla="*/ 52387 w 3359086"/>
                <a:gd name="connsiteY12699" fmla="*/ 1972056 h 3355086"/>
                <a:gd name="connsiteX12700" fmla="*/ 50482 w 3359086"/>
                <a:gd name="connsiteY12700" fmla="*/ 1973961 h 3355086"/>
                <a:gd name="connsiteX12701" fmla="*/ 56388 w 3359086"/>
                <a:gd name="connsiteY12701" fmla="*/ 1979866 h 3355086"/>
                <a:gd name="connsiteX12702" fmla="*/ 54292 w 3359086"/>
                <a:gd name="connsiteY12702" fmla="*/ 1981962 h 3355086"/>
                <a:gd name="connsiteX12703" fmla="*/ 60483 w 3359086"/>
                <a:gd name="connsiteY12703" fmla="*/ 1988153 h 3355086"/>
                <a:gd name="connsiteX12704" fmla="*/ 54292 w 3359086"/>
                <a:gd name="connsiteY12704" fmla="*/ 1994344 h 3355086"/>
                <a:gd name="connsiteX12705" fmla="*/ 48101 w 3359086"/>
                <a:gd name="connsiteY12705" fmla="*/ 1988153 h 3355086"/>
                <a:gd name="connsiteX12706" fmla="*/ 50196 w 3359086"/>
                <a:gd name="connsiteY12706" fmla="*/ 1986058 h 3355086"/>
                <a:gd name="connsiteX12707" fmla="*/ 44005 w 3359086"/>
                <a:gd name="connsiteY12707" fmla="*/ 1979866 h 3355086"/>
                <a:gd name="connsiteX12708" fmla="*/ 45909 w 3359086"/>
                <a:gd name="connsiteY12708" fmla="*/ 1977962 h 3355086"/>
                <a:gd name="connsiteX12709" fmla="*/ 40004 w 3359086"/>
                <a:gd name="connsiteY12709" fmla="*/ 1972056 h 3355086"/>
                <a:gd name="connsiteX12710" fmla="*/ 41718 w 3359086"/>
                <a:gd name="connsiteY12710" fmla="*/ 1970342 h 3355086"/>
                <a:gd name="connsiteX12711" fmla="*/ 36004 w 3359086"/>
                <a:gd name="connsiteY12711" fmla="*/ 1964627 h 3355086"/>
                <a:gd name="connsiteX12712" fmla="*/ 37385 w 3359086"/>
                <a:gd name="connsiteY12712" fmla="*/ 1963246 h 3355086"/>
                <a:gd name="connsiteX12713" fmla="*/ 31813 w 3359086"/>
                <a:gd name="connsiteY12713" fmla="*/ 1957673 h 3355086"/>
                <a:gd name="connsiteX12714" fmla="*/ 32860 w 3359086"/>
                <a:gd name="connsiteY12714" fmla="*/ 1956626 h 3355086"/>
                <a:gd name="connsiteX12715" fmla="*/ 27336 w 3359086"/>
                <a:gd name="connsiteY12715" fmla="*/ 1951101 h 3355086"/>
                <a:gd name="connsiteX12716" fmla="*/ 28050 w 3359086"/>
                <a:gd name="connsiteY12716" fmla="*/ 1950387 h 3355086"/>
                <a:gd name="connsiteX12717" fmla="*/ 22574 w 3359086"/>
                <a:gd name="connsiteY12717" fmla="*/ 1944910 h 3355086"/>
                <a:gd name="connsiteX12718" fmla="*/ 28765 w 3359086"/>
                <a:gd name="connsiteY12718" fmla="*/ 1938719 h 3355086"/>
                <a:gd name="connsiteX12719" fmla="*/ 3162014 w 3359086"/>
                <a:gd name="connsiteY12719" fmla="*/ 1938052 h 3355086"/>
                <a:gd name="connsiteX12720" fmla="*/ 3168205 w 3359086"/>
                <a:gd name="connsiteY12720" fmla="*/ 1944243 h 3355086"/>
                <a:gd name="connsiteX12721" fmla="*/ 3162014 w 3359086"/>
                <a:gd name="connsiteY12721" fmla="*/ 1950434 h 3355086"/>
                <a:gd name="connsiteX12722" fmla="*/ 3155823 w 3359086"/>
                <a:gd name="connsiteY12722" fmla="*/ 1944243 h 3355086"/>
                <a:gd name="connsiteX12723" fmla="*/ 3162014 w 3359086"/>
                <a:gd name="connsiteY12723" fmla="*/ 1938052 h 3355086"/>
                <a:gd name="connsiteX12724" fmla="*/ 23622 w 3359086"/>
                <a:gd name="connsiteY12724" fmla="*/ 1936528 h 3355086"/>
                <a:gd name="connsiteX12725" fmla="*/ 26194 w 3359086"/>
                <a:gd name="connsiteY12725" fmla="*/ 1939100 h 3355086"/>
                <a:gd name="connsiteX12726" fmla="*/ 23622 w 3359086"/>
                <a:gd name="connsiteY12726" fmla="*/ 1941672 h 3355086"/>
                <a:gd name="connsiteX12727" fmla="*/ 21050 w 3359086"/>
                <a:gd name="connsiteY12727" fmla="*/ 1939100 h 3355086"/>
                <a:gd name="connsiteX12728" fmla="*/ 23622 w 3359086"/>
                <a:gd name="connsiteY12728" fmla="*/ 1936528 h 3355086"/>
                <a:gd name="connsiteX12729" fmla="*/ 3260407 w 3359086"/>
                <a:gd name="connsiteY12729" fmla="*/ 1935195 h 3355086"/>
                <a:gd name="connsiteX12730" fmla="*/ 3266599 w 3359086"/>
                <a:gd name="connsiteY12730" fmla="*/ 1941386 h 3355086"/>
                <a:gd name="connsiteX12731" fmla="*/ 3260407 w 3359086"/>
                <a:gd name="connsiteY12731" fmla="*/ 1947578 h 3355086"/>
                <a:gd name="connsiteX12732" fmla="*/ 3254216 w 3359086"/>
                <a:gd name="connsiteY12732" fmla="*/ 1941386 h 3355086"/>
                <a:gd name="connsiteX12733" fmla="*/ 3260407 w 3359086"/>
                <a:gd name="connsiteY12733" fmla="*/ 1935195 h 3355086"/>
                <a:gd name="connsiteX12734" fmla="*/ 2831782 w 3359086"/>
                <a:gd name="connsiteY12734" fmla="*/ 1933671 h 3355086"/>
                <a:gd name="connsiteX12735" fmla="*/ 2837974 w 3359086"/>
                <a:gd name="connsiteY12735" fmla="*/ 1939862 h 3355086"/>
                <a:gd name="connsiteX12736" fmla="*/ 2831782 w 3359086"/>
                <a:gd name="connsiteY12736" fmla="*/ 1946054 h 3355086"/>
                <a:gd name="connsiteX12737" fmla="*/ 2825591 w 3359086"/>
                <a:gd name="connsiteY12737" fmla="*/ 1939862 h 3355086"/>
                <a:gd name="connsiteX12738" fmla="*/ 2831782 w 3359086"/>
                <a:gd name="connsiteY12738" fmla="*/ 1933671 h 3355086"/>
                <a:gd name="connsiteX12739" fmla="*/ 159734 w 3359086"/>
                <a:gd name="connsiteY12739" fmla="*/ 1933671 h 3355086"/>
                <a:gd name="connsiteX12740" fmla="*/ 165925 w 3359086"/>
                <a:gd name="connsiteY12740" fmla="*/ 1939862 h 3355086"/>
                <a:gd name="connsiteX12741" fmla="*/ 159734 w 3359086"/>
                <a:gd name="connsiteY12741" fmla="*/ 1946054 h 3355086"/>
                <a:gd name="connsiteX12742" fmla="*/ 153543 w 3359086"/>
                <a:gd name="connsiteY12742" fmla="*/ 1939862 h 3355086"/>
                <a:gd name="connsiteX12743" fmla="*/ 159734 w 3359086"/>
                <a:gd name="connsiteY12743" fmla="*/ 1933671 h 3355086"/>
                <a:gd name="connsiteX12744" fmla="*/ 68293 w 3359086"/>
                <a:gd name="connsiteY12744" fmla="*/ 1931289 h 3355086"/>
                <a:gd name="connsiteX12745" fmla="*/ 74485 w 3359086"/>
                <a:gd name="connsiteY12745" fmla="*/ 1937480 h 3355086"/>
                <a:gd name="connsiteX12746" fmla="*/ 68293 w 3359086"/>
                <a:gd name="connsiteY12746" fmla="*/ 1943672 h 3355086"/>
                <a:gd name="connsiteX12747" fmla="*/ 62102 w 3359086"/>
                <a:gd name="connsiteY12747" fmla="*/ 1937480 h 3355086"/>
                <a:gd name="connsiteX12748" fmla="*/ 68293 w 3359086"/>
                <a:gd name="connsiteY12748" fmla="*/ 1931289 h 3355086"/>
                <a:gd name="connsiteX12749" fmla="*/ 472725 w 3359086"/>
                <a:gd name="connsiteY12749" fmla="*/ 1929194 h 3355086"/>
                <a:gd name="connsiteX12750" fmla="*/ 478916 w 3359086"/>
                <a:gd name="connsiteY12750" fmla="*/ 1935385 h 3355086"/>
                <a:gd name="connsiteX12751" fmla="*/ 472725 w 3359086"/>
                <a:gd name="connsiteY12751" fmla="*/ 1941577 h 3355086"/>
                <a:gd name="connsiteX12752" fmla="*/ 466534 w 3359086"/>
                <a:gd name="connsiteY12752" fmla="*/ 1935385 h 3355086"/>
                <a:gd name="connsiteX12753" fmla="*/ 472725 w 3359086"/>
                <a:gd name="connsiteY12753" fmla="*/ 1929194 h 3355086"/>
                <a:gd name="connsiteX12754" fmla="*/ 3183731 w 3359086"/>
                <a:gd name="connsiteY12754" fmla="*/ 1928813 h 3355086"/>
                <a:gd name="connsiteX12755" fmla="*/ 3189922 w 3359086"/>
                <a:gd name="connsiteY12755" fmla="*/ 1935004 h 3355086"/>
                <a:gd name="connsiteX12756" fmla="*/ 3183731 w 3359086"/>
                <a:gd name="connsiteY12756" fmla="*/ 1941195 h 3355086"/>
                <a:gd name="connsiteX12757" fmla="*/ 3177540 w 3359086"/>
                <a:gd name="connsiteY12757" fmla="*/ 1935004 h 3355086"/>
                <a:gd name="connsiteX12758" fmla="*/ 3183731 w 3359086"/>
                <a:gd name="connsiteY12758" fmla="*/ 1928813 h 3355086"/>
                <a:gd name="connsiteX12759" fmla="*/ 3267550 w 3359086"/>
                <a:gd name="connsiteY12759" fmla="*/ 1926908 h 3355086"/>
                <a:gd name="connsiteX12760" fmla="*/ 3273742 w 3359086"/>
                <a:gd name="connsiteY12760" fmla="*/ 1933099 h 3355086"/>
                <a:gd name="connsiteX12761" fmla="*/ 3267550 w 3359086"/>
                <a:gd name="connsiteY12761" fmla="*/ 1939291 h 3355086"/>
                <a:gd name="connsiteX12762" fmla="*/ 3261359 w 3359086"/>
                <a:gd name="connsiteY12762" fmla="*/ 1933099 h 3355086"/>
                <a:gd name="connsiteX12763" fmla="*/ 3267550 w 3359086"/>
                <a:gd name="connsiteY12763" fmla="*/ 1926908 h 3355086"/>
                <a:gd name="connsiteX12764" fmla="*/ 139350 w 3359086"/>
                <a:gd name="connsiteY12764" fmla="*/ 1924622 h 3355086"/>
                <a:gd name="connsiteX12765" fmla="*/ 145542 w 3359086"/>
                <a:gd name="connsiteY12765" fmla="*/ 1930813 h 3355086"/>
                <a:gd name="connsiteX12766" fmla="*/ 139350 w 3359086"/>
                <a:gd name="connsiteY12766" fmla="*/ 1937005 h 3355086"/>
                <a:gd name="connsiteX12767" fmla="*/ 133159 w 3359086"/>
                <a:gd name="connsiteY12767" fmla="*/ 1930813 h 3355086"/>
                <a:gd name="connsiteX12768" fmla="*/ 139350 w 3359086"/>
                <a:gd name="connsiteY12768" fmla="*/ 1924622 h 3355086"/>
                <a:gd name="connsiteX12769" fmla="*/ 2889789 w 3359086"/>
                <a:gd name="connsiteY12769" fmla="*/ 1924146 h 3355086"/>
                <a:gd name="connsiteX12770" fmla="*/ 2895981 w 3359086"/>
                <a:gd name="connsiteY12770" fmla="*/ 1930337 h 3355086"/>
                <a:gd name="connsiteX12771" fmla="*/ 2889789 w 3359086"/>
                <a:gd name="connsiteY12771" fmla="*/ 1936529 h 3355086"/>
                <a:gd name="connsiteX12772" fmla="*/ 2883598 w 3359086"/>
                <a:gd name="connsiteY12772" fmla="*/ 1930337 h 3355086"/>
                <a:gd name="connsiteX12773" fmla="*/ 2889789 w 3359086"/>
                <a:gd name="connsiteY12773" fmla="*/ 1924146 h 3355086"/>
                <a:gd name="connsiteX12774" fmla="*/ 61626 w 3359086"/>
                <a:gd name="connsiteY12774" fmla="*/ 1923193 h 3355086"/>
                <a:gd name="connsiteX12775" fmla="*/ 67817 w 3359086"/>
                <a:gd name="connsiteY12775" fmla="*/ 1929384 h 3355086"/>
                <a:gd name="connsiteX12776" fmla="*/ 61626 w 3359086"/>
                <a:gd name="connsiteY12776" fmla="*/ 1935576 h 3355086"/>
                <a:gd name="connsiteX12777" fmla="*/ 55435 w 3359086"/>
                <a:gd name="connsiteY12777" fmla="*/ 1929384 h 3355086"/>
                <a:gd name="connsiteX12778" fmla="*/ 61626 w 3359086"/>
                <a:gd name="connsiteY12778" fmla="*/ 1923193 h 3355086"/>
                <a:gd name="connsiteX12779" fmla="*/ 3202590 w 3359086"/>
                <a:gd name="connsiteY12779" fmla="*/ 1919859 h 3355086"/>
                <a:gd name="connsiteX12780" fmla="*/ 3208782 w 3359086"/>
                <a:gd name="connsiteY12780" fmla="*/ 1926050 h 3355086"/>
                <a:gd name="connsiteX12781" fmla="*/ 3202590 w 3359086"/>
                <a:gd name="connsiteY12781" fmla="*/ 1932241 h 3355086"/>
                <a:gd name="connsiteX12782" fmla="*/ 3196399 w 3359086"/>
                <a:gd name="connsiteY12782" fmla="*/ 1926050 h 3355086"/>
                <a:gd name="connsiteX12783" fmla="*/ 3202590 w 3359086"/>
                <a:gd name="connsiteY12783" fmla="*/ 1919859 h 3355086"/>
                <a:gd name="connsiteX12784" fmla="*/ 417289 w 3359086"/>
                <a:gd name="connsiteY12784" fmla="*/ 1919859 h 3355086"/>
                <a:gd name="connsiteX12785" fmla="*/ 423480 w 3359086"/>
                <a:gd name="connsiteY12785" fmla="*/ 1926050 h 3355086"/>
                <a:gd name="connsiteX12786" fmla="*/ 417289 w 3359086"/>
                <a:gd name="connsiteY12786" fmla="*/ 1932242 h 3355086"/>
                <a:gd name="connsiteX12787" fmla="*/ 411098 w 3359086"/>
                <a:gd name="connsiteY12787" fmla="*/ 1926050 h 3355086"/>
                <a:gd name="connsiteX12788" fmla="*/ 417289 w 3359086"/>
                <a:gd name="connsiteY12788" fmla="*/ 1919859 h 3355086"/>
                <a:gd name="connsiteX12789" fmla="*/ 3273647 w 3359086"/>
                <a:gd name="connsiteY12789" fmla="*/ 1919002 h 3355086"/>
                <a:gd name="connsiteX12790" fmla="*/ 3279838 w 3359086"/>
                <a:gd name="connsiteY12790" fmla="*/ 1925193 h 3355086"/>
                <a:gd name="connsiteX12791" fmla="*/ 3273647 w 3359086"/>
                <a:gd name="connsiteY12791" fmla="*/ 1931384 h 3355086"/>
                <a:gd name="connsiteX12792" fmla="*/ 3267456 w 3359086"/>
                <a:gd name="connsiteY12792" fmla="*/ 1925193 h 3355086"/>
                <a:gd name="connsiteX12793" fmla="*/ 3273647 w 3359086"/>
                <a:gd name="connsiteY12793" fmla="*/ 1919002 h 3355086"/>
                <a:gd name="connsiteX12794" fmla="*/ 121633 w 3359086"/>
                <a:gd name="connsiteY12794" fmla="*/ 1915954 h 3355086"/>
                <a:gd name="connsiteX12795" fmla="*/ 127825 w 3359086"/>
                <a:gd name="connsiteY12795" fmla="*/ 1922145 h 3355086"/>
                <a:gd name="connsiteX12796" fmla="*/ 121633 w 3359086"/>
                <a:gd name="connsiteY12796" fmla="*/ 1928337 h 3355086"/>
                <a:gd name="connsiteX12797" fmla="*/ 115442 w 3359086"/>
                <a:gd name="connsiteY12797" fmla="*/ 1922145 h 3355086"/>
                <a:gd name="connsiteX12798" fmla="*/ 121633 w 3359086"/>
                <a:gd name="connsiteY12798" fmla="*/ 1915954 h 3355086"/>
                <a:gd name="connsiteX12799" fmla="*/ 3331558 w 3359086"/>
                <a:gd name="connsiteY12799" fmla="*/ 1915192 h 3355086"/>
                <a:gd name="connsiteX12800" fmla="*/ 3337750 w 3359086"/>
                <a:gd name="connsiteY12800" fmla="*/ 1921383 h 3355086"/>
                <a:gd name="connsiteX12801" fmla="*/ 3331558 w 3359086"/>
                <a:gd name="connsiteY12801" fmla="*/ 1927575 h 3355086"/>
                <a:gd name="connsiteX12802" fmla="*/ 3330177 w 3359086"/>
                <a:gd name="connsiteY12802" fmla="*/ 1926194 h 3355086"/>
                <a:gd name="connsiteX12803" fmla="*/ 3324224 w 3359086"/>
                <a:gd name="connsiteY12803" fmla="*/ 1932147 h 3355086"/>
                <a:gd name="connsiteX12804" fmla="*/ 3323414 w 3359086"/>
                <a:gd name="connsiteY12804" fmla="*/ 1931337 h 3355086"/>
                <a:gd name="connsiteX12805" fmla="*/ 3317652 w 3359086"/>
                <a:gd name="connsiteY12805" fmla="*/ 1937100 h 3355086"/>
                <a:gd name="connsiteX12806" fmla="*/ 3317224 w 3359086"/>
                <a:gd name="connsiteY12806" fmla="*/ 1936672 h 3355086"/>
                <a:gd name="connsiteX12807" fmla="*/ 3312223 w 3359086"/>
                <a:gd name="connsiteY12807" fmla="*/ 1941672 h 3355086"/>
                <a:gd name="connsiteX12808" fmla="*/ 3312318 w 3359086"/>
                <a:gd name="connsiteY12808" fmla="*/ 1941766 h 3355086"/>
                <a:gd name="connsiteX12809" fmla="*/ 3306794 w 3359086"/>
                <a:gd name="connsiteY12809" fmla="*/ 1947291 h 3355086"/>
                <a:gd name="connsiteX12810" fmla="*/ 3307270 w 3359086"/>
                <a:gd name="connsiteY12810" fmla="*/ 1947767 h 3355086"/>
                <a:gd name="connsiteX12811" fmla="*/ 3301793 w 3359086"/>
                <a:gd name="connsiteY12811" fmla="*/ 1953245 h 3355086"/>
                <a:gd name="connsiteX12812" fmla="*/ 3302698 w 3359086"/>
                <a:gd name="connsiteY12812" fmla="*/ 1954149 h 3355086"/>
                <a:gd name="connsiteX12813" fmla="*/ 3297174 w 3359086"/>
                <a:gd name="connsiteY12813" fmla="*/ 1959674 h 3355086"/>
                <a:gd name="connsiteX12814" fmla="*/ 3298412 w 3359086"/>
                <a:gd name="connsiteY12814" fmla="*/ 1960912 h 3355086"/>
                <a:gd name="connsiteX12815" fmla="*/ 3292791 w 3359086"/>
                <a:gd name="connsiteY12815" fmla="*/ 1966532 h 3355086"/>
                <a:gd name="connsiteX12816" fmla="*/ 3294315 w 3359086"/>
                <a:gd name="connsiteY12816" fmla="*/ 1968056 h 3355086"/>
                <a:gd name="connsiteX12817" fmla="*/ 3288553 w 3359086"/>
                <a:gd name="connsiteY12817" fmla="*/ 1973818 h 3355086"/>
                <a:gd name="connsiteX12818" fmla="*/ 3290315 w 3359086"/>
                <a:gd name="connsiteY12818" fmla="*/ 1975580 h 3355086"/>
                <a:gd name="connsiteX12819" fmla="*/ 3284267 w 3359086"/>
                <a:gd name="connsiteY12819" fmla="*/ 1981629 h 3355086"/>
                <a:gd name="connsiteX12820" fmla="*/ 3286315 w 3359086"/>
                <a:gd name="connsiteY12820" fmla="*/ 1983677 h 3355086"/>
                <a:gd name="connsiteX12821" fmla="*/ 3280124 w 3359086"/>
                <a:gd name="connsiteY12821" fmla="*/ 1989868 h 3355086"/>
                <a:gd name="connsiteX12822" fmla="*/ 3273933 w 3359086"/>
                <a:gd name="connsiteY12822" fmla="*/ 1983677 h 3355086"/>
                <a:gd name="connsiteX12823" fmla="*/ 3279981 w 3359086"/>
                <a:gd name="connsiteY12823" fmla="*/ 1977629 h 3355086"/>
                <a:gd name="connsiteX12824" fmla="*/ 3277933 w 3359086"/>
                <a:gd name="connsiteY12824" fmla="*/ 1975580 h 3355086"/>
                <a:gd name="connsiteX12825" fmla="*/ 3283695 w 3359086"/>
                <a:gd name="connsiteY12825" fmla="*/ 1969818 h 3355086"/>
                <a:gd name="connsiteX12826" fmla="*/ 3281933 w 3359086"/>
                <a:gd name="connsiteY12826" fmla="*/ 1968056 h 3355086"/>
                <a:gd name="connsiteX12827" fmla="*/ 3287553 w 3359086"/>
                <a:gd name="connsiteY12827" fmla="*/ 1962436 h 3355086"/>
                <a:gd name="connsiteX12828" fmla="*/ 3286029 w 3359086"/>
                <a:gd name="connsiteY12828" fmla="*/ 1960912 h 3355086"/>
                <a:gd name="connsiteX12829" fmla="*/ 3291554 w 3359086"/>
                <a:gd name="connsiteY12829" fmla="*/ 1955387 h 3355086"/>
                <a:gd name="connsiteX12830" fmla="*/ 3290316 w 3359086"/>
                <a:gd name="connsiteY12830" fmla="*/ 1954149 h 3355086"/>
                <a:gd name="connsiteX12831" fmla="*/ 3295793 w 3359086"/>
                <a:gd name="connsiteY12831" fmla="*/ 1948672 h 3355086"/>
                <a:gd name="connsiteX12832" fmla="*/ 3294888 w 3359086"/>
                <a:gd name="connsiteY12832" fmla="*/ 1947767 h 3355086"/>
                <a:gd name="connsiteX12833" fmla="*/ 3300412 w 3359086"/>
                <a:gd name="connsiteY12833" fmla="*/ 1942243 h 3355086"/>
                <a:gd name="connsiteX12834" fmla="*/ 3299936 w 3359086"/>
                <a:gd name="connsiteY12834" fmla="*/ 1941766 h 3355086"/>
                <a:gd name="connsiteX12835" fmla="*/ 3305460 w 3359086"/>
                <a:gd name="connsiteY12835" fmla="*/ 1936242 h 3355086"/>
                <a:gd name="connsiteX12836" fmla="*/ 3305365 w 3359086"/>
                <a:gd name="connsiteY12836" fmla="*/ 1936147 h 3355086"/>
                <a:gd name="connsiteX12837" fmla="*/ 3311556 w 3359086"/>
                <a:gd name="connsiteY12837" fmla="*/ 1929956 h 3355086"/>
                <a:gd name="connsiteX12838" fmla="*/ 3311985 w 3359086"/>
                <a:gd name="connsiteY12838" fmla="*/ 1930385 h 3355086"/>
                <a:gd name="connsiteX12839" fmla="*/ 3317652 w 3359086"/>
                <a:gd name="connsiteY12839" fmla="*/ 1924717 h 3355086"/>
                <a:gd name="connsiteX12840" fmla="*/ 3318462 w 3359086"/>
                <a:gd name="connsiteY12840" fmla="*/ 1925527 h 3355086"/>
                <a:gd name="connsiteX12841" fmla="*/ 3324224 w 3359086"/>
                <a:gd name="connsiteY12841" fmla="*/ 1919764 h 3355086"/>
                <a:gd name="connsiteX12842" fmla="*/ 3325605 w 3359086"/>
                <a:gd name="connsiteY12842" fmla="*/ 1921145 h 3355086"/>
                <a:gd name="connsiteX12843" fmla="*/ 2942176 w 3359086"/>
                <a:gd name="connsiteY12843" fmla="*/ 1915001 h 3355086"/>
                <a:gd name="connsiteX12844" fmla="*/ 2948368 w 3359086"/>
                <a:gd name="connsiteY12844" fmla="*/ 1921192 h 3355086"/>
                <a:gd name="connsiteX12845" fmla="*/ 2942176 w 3359086"/>
                <a:gd name="connsiteY12845" fmla="*/ 1927384 h 3355086"/>
                <a:gd name="connsiteX12846" fmla="*/ 2935985 w 3359086"/>
                <a:gd name="connsiteY12846" fmla="*/ 1921192 h 3355086"/>
                <a:gd name="connsiteX12847" fmla="*/ 2942176 w 3359086"/>
                <a:gd name="connsiteY12847" fmla="*/ 1915001 h 3355086"/>
                <a:gd name="connsiteX12848" fmla="*/ 3339560 w 3359086"/>
                <a:gd name="connsiteY12848" fmla="*/ 1914430 h 3355086"/>
                <a:gd name="connsiteX12849" fmla="*/ 3342132 w 3359086"/>
                <a:gd name="connsiteY12849" fmla="*/ 1917002 h 3355086"/>
                <a:gd name="connsiteX12850" fmla="*/ 3339560 w 3359086"/>
                <a:gd name="connsiteY12850" fmla="*/ 1919574 h 3355086"/>
                <a:gd name="connsiteX12851" fmla="*/ 3336988 w 3359086"/>
                <a:gd name="connsiteY12851" fmla="*/ 1917002 h 3355086"/>
                <a:gd name="connsiteX12852" fmla="*/ 3339560 w 3359086"/>
                <a:gd name="connsiteY12852" fmla="*/ 1914430 h 3355086"/>
                <a:gd name="connsiteX12853" fmla="*/ 3218973 w 3359086"/>
                <a:gd name="connsiteY12853" fmla="*/ 1911382 h 3355086"/>
                <a:gd name="connsiteX12854" fmla="*/ 3225165 w 3359086"/>
                <a:gd name="connsiteY12854" fmla="*/ 1917573 h 3355086"/>
                <a:gd name="connsiteX12855" fmla="*/ 3218973 w 3359086"/>
                <a:gd name="connsiteY12855" fmla="*/ 1923765 h 3355086"/>
                <a:gd name="connsiteX12856" fmla="*/ 3212782 w 3359086"/>
                <a:gd name="connsiteY12856" fmla="*/ 1917573 h 3355086"/>
                <a:gd name="connsiteX12857" fmla="*/ 3218973 w 3359086"/>
                <a:gd name="connsiteY12857" fmla="*/ 1911382 h 3355086"/>
                <a:gd name="connsiteX12858" fmla="*/ 367474 w 3359086"/>
                <a:gd name="connsiteY12858" fmla="*/ 1910906 h 3355086"/>
                <a:gd name="connsiteX12859" fmla="*/ 373665 w 3359086"/>
                <a:gd name="connsiteY12859" fmla="*/ 1917097 h 3355086"/>
                <a:gd name="connsiteX12860" fmla="*/ 367474 w 3359086"/>
                <a:gd name="connsiteY12860" fmla="*/ 1923289 h 3355086"/>
                <a:gd name="connsiteX12861" fmla="*/ 361283 w 3359086"/>
                <a:gd name="connsiteY12861" fmla="*/ 1917097 h 3355086"/>
                <a:gd name="connsiteX12862" fmla="*/ 367474 w 3359086"/>
                <a:gd name="connsiteY12862" fmla="*/ 1910906 h 3355086"/>
                <a:gd name="connsiteX12863" fmla="*/ 106394 w 3359086"/>
                <a:gd name="connsiteY12863" fmla="*/ 1907572 h 3355086"/>
                <a:gd name="connsiteX12864" fmla="*/ 112585 w 3359086"/>
                <a:gd name="connsiteY12864" fmla="*/ 1913763 h 3355086"/>
                <a:gd name="connsiteX12865" fmla="*/ 106394 w 3359086"/>
                <a:gd name="connsiteY12865" fmla="*/ 1919955 h 3355086"/>
                <a:gd name="connsiteX12866" fmla="*/ 100203 w 3359086"/>
                <a:gd name="connsiteY12866" fmla="*/ 1913763 h 3355086"/>
                <a:gd name="connsiteX12867" fmla="*/ 106394 w 3359086"/>
                <a:gd name="connsiteY12867" fmla="*/ 1907572 h 3355086"/>
                <a:gd name="connsiteX12868" fmla="*/ 2989325 w 3359086"/>
                <a:gd name="connsiteY12868" fmla="*/ 1906238 h 3355086"/>
                <a:gd name="connsiteX12869" fmla="*/ 2995516 w 3359086"/>
                <a:gd name="connsiteY12869" fmla="*/ 1912429 h 3355086"/>
                <a:gd name="connsiteX12870" fmla="*/ 2989325 w 3359086"/>
                <a:gd name="connsiteY12870" fmla="*/ 1918621 h 3355086"/>
                <a:gd name="connsiteX12871" fmla="*/ 2983134 w 3359086"/>
                <a:gd name="connsiteY12871" fmla="*/ 1912429 h 3355086"/>
                <a:gd name="connsiteX12872" fmla="*/ 2989325 w 3359086"/>
                <a:gd name="connsiteY12872" fmla="*/ 1906238 h 3355086"/>
                <a:gd name="connsiteX12873" fmla="*/ 1631156 w 3359086"/>
                <a:gd name="connsiteY12873" fmla="*/ 1903571 h 3355086"/>
                <a:gd name="connsiteX12874" fmla="*/ 1637347 w 3359086"/>
                <a:gd name="connsiteY12874" fmla="*/ 1909762 h 3355086"/>
                <a:gd name="connsiteX12875" fmla="*/ 1631156 w 3359086"/>
                <a:gd name="connsiteY12875" fmla="*/ 1915954 h 3355086"/>
                <a:gd name="connsiteX12876" fmla="*/ 1624965 w 3359086"/>
                <a:gd name="connsiteY12876" fmla="*/ 1909762 h 3355086"/>
                <a:gd name="connsiteX12877" fmla="*/ 1631156 w 3359086"/>
                <a:gd name="connsiteY12877" fmla="*/ 1903571 h 3355086"/>
                <a:gd name="connsiteX12878" fmla="*/ 3233070 w 3359086"/>
                <a:gd name="connsiteY12878" fmla="*/ 1903286 h 3355086"/>
                <a:gd name="connsiteX12879" fmla="*/ 3239261 w 3359086"/>
                <a:gd name="connsiteY12879" fmla="*/ 1909477 h 3355086"/>
                <a:gd name="connsiteX12880" fmla="*/ 3233070 w 3359086"/>
                <a:gd name="connsiteY12880" fmla="*/ 1915669 h 3355086"/>
                <a:gd name="connsiteX12881" fmla="*/ 3226879 w 3359086"/>
                <a:gd name="connsiteY12881" fmla="*/ 1909477 h 3355086"/>
                <a:gd name="connsiteX12882" fmla="*/ 3233070 w 3359086"/>
                <a:gd name="connsiteY12882" fmla="*/ 1903286 h 3355086"/>
                <a:gd name="connsiteX12883" fmla="*/ 322611 w 3359086"/>
                <a:gd name="connsiteY12883" fmla="*/ 1902238 h 3355086"/>
                <a:gd name="connsiteX12884" fmla="*/ 328802 w 3359086"/>
                <a:gd name="connsiteY12884" fmla="*/ 1908429 h 3355086"/>
                <a:gd name="connsiteX12885" fmla="*/ 322611 w 3359086"/>
                <a:gd name="connsiteY12885" fmla="*/ 1914621 h 3355086"/>
                <a:gd name="connsiteX12886" fmla="*/ 316420 w 3359086"/>
                <a:gd name="connsiteY12886" fmla="*/ 1908429 h 3355086"/>
                <a:gd name="connsiteX12887" fmla="*/ 322611 w 3359086"/>
                <a:gd name="connsiteY12887" fmla="*/ 1902238 h 3355086"/>
                <a:gd name="connsiteX12888" fmla="*/ 1780698 w 3359086"/>
                <a:gd name="connsiteY12888" fmla="*/ 1902143 h 3355086"/>
                <a:gd name="connsiteX12889" fmla="*/ 1786890 w 3359086"/>
                <a:gd name="connsiteY12889" fmla="*/ 1908334 h 3355086"/>
                <a:gd name="connsiteX12890" fmla="*/ 1780698 w 3359086"/>
                <a:gd name="connsiteY12890" fmla="*/ 1914526 h 3355086"/>
                <a:gd name="connsiteX12891" fmla="*/ 1774507 w 3359086"/>
                <a:gd name="connsiteY12891" fmla="*/ 1908334 h 3355086"/>
                <a:gd name="connsiteX12892" fmla="*/ 1780698 w 3359086"/>
                <a:gd name="connsiteY12892" fmla="*/ 1902143 h 3355086"/>
                <a:gd name="connsiteX12893" fmla="*/ 1483708 w 3359086"/>
                <a:gd name="connsiteY12893" fmla="*/ 1899952 h 3355086"/>
                <a:gd name="connsiteX12894" fmla="*/ 1489900 w 3359086"/>
                <a:gd name="connsiteY12894" fmla="*/ 1906143 h 3355086"/>
                <a:gd name="connsiteX12895" fmla="*/ 1483708 w 3359086"/>
                <a:gd name="connsiteY12895" fmla="*/ 1912334 h 3355086"/>
                <a:gd name="connsiteX12896" fmla="*/ 1477517 w 3359086"/>
                <a:gd name="connsiteY12896" fmla="*/ 1906143 h 3355086"/>
                <a:gd name="connsiteX12897" fmla="*/ 1483708 w 3359086"/>
                <a:gd name="connsiteY12897" fmla="*/ 1899952 h 3355086"/>
                <a:gd name="connsiteX12898" fmla="*/ 93249 w 3359086"/>
                <a:gd name="connsiteY12898" fmla="*/ 1899666 h 3355086"/>
                <a:gd name="connsiteX12899" fmla="*/ 99440 w 3359086"/>
                <a:gd name="connsiteY12899" fmla="*/ 1905857 h 3355086"/>
                <a:gd name="connsiteX12900" fmla="*/ 93249 w 3359086"/>
                <a:gd name="connsiteY12900" fmla="*/ 1912049 h 3355086"/>
                <a:gd name="connsiteX12901" fmla="*/ 87058 w 3359086"/>
                <a:gd name="connsiteY12901" fmla="*/ 1905857 h 3355086"/>
                <a:gd name="connsiteX12902" fmla="*/ 93249 w 3359086"/>
                <a:gd name="connsiteY12902" fmla="*/ 1899666 h 3355086"/>
                <a:gd name="connsiteX12903" fmla="*/ 3031521 w 3359086"/>
                <a:gd name="connsiteY12903" fmla="*/ 1897666 h 3355086"/>
                <a:gd name="connsiteX12904" fmla="*/ 3037713 w 3359086"/>
                <a:gd name="connsiteY12904" fmla="*/ 1903857 h 3355086"/>
                <a:gd name="connsiteX12905" fmla="*/ 3031521 w 3359086"/>
                <a:gd name="connsiteY12905" fmla="*/ 1910049 h 3355086"/>
                <a:gd name="connsiteX12906" fmla="*/ 3025330 w 3359086"/>
                <a:gd name="connsiteY12906" fmla="*/ 1903857 h 3355086"/>
                <a:gd name="connsiteX12907" fmla="*/ 3031521 w 3359086"/>
                <a:gd name="connsiteY12907" fmla="*/ 1897666 h 3355086"/>
                <a:gd name="connsiteX12908" fmla="*/ 1924049 w 3359086"/>
                <a:gd name="connsiteY12908" fmla="*/ 1896809 h 3355086"/>
                <a:gd name="connsiteX12909" fmla="*/ 1930240 w 3359086"/>
                <a:gd name="connsiteY12909" fmla="*/ 1903000 h 3355086"/>
                <a:gd name="connsiteX12910" fmla="*/ 1924049 w 3359086"/>
                <a:gd name="connsiteY12910" fmla="*/ 1909191 h 3355086"/>
                <a:gd name="connsiteX12911" fmla="*/ 1917858 w 3359086"/>
                <a:gd name="connsiteY12911" fmla="*/ 1903000 h 3355086"/>
                <a:gd name="connsiteX12912" fmla="*/ 1924049 w 3359086"/>
                <a:gd name="connsiteY12912" fmla="*/ 1896809 h 3355086"/>
                <a:gd name="connsiteX12913" fmla="*/ 15716 w 3359086"/>
                <a:gd name="connsiteY12913" fmla="*/ 1896809 h 3355086"/>
                <a:gd name="connsiteX12914" fmla="*/ 16001 w 3359086"/>
                <a:gd name="connsiteY12914" fmla="*/ 1897095 h 3355086"/>
                <a:gd name="connsiteX12915" fmla="*/ 15716 w 3359086"/>
                <a:gd name="connsiteY12915" fmla="*/ 1897380 h 3355086"/>
                <a:gd name="connsiteX12916" fmla="*/ 15430 w 3359086"/>
                <a:gd name="connsiteY12916" fmla="*/ 1897095 h 3355086"/>
                <a:gd name="connsiteX12917" fmla="*/ 15716 w 3359086"/>
                <a:gd name="connsiteY12917" fmla="*/ 1896809 h 3355086"/>
                <a:gd name="connsiteX12918" fmla="*/ 20859 w 3359086"/>
                <a:gd name="connsiteY12918" fmla="*/ 1895761 h 3355086"/>
                <a:gd name="connsiteX12919" fmla="*/ 27051 w 3359086"/>
                <a:gd name="connsiteY12919" fmla="*/ 1901952 h 3355086"/>
                <a:gd name="connsiteX12920" fmla="*/ 26812 w 3359086"/>
                <a:gd name="connsiteY12920" fmla="*/ 1902191 h 3355086"/>
                <a:gd name="connsiteX12921" fmla="*/ 31718 w 3359086"/>
                <a:gd name="connsiteY12921" fmla="*/ 1907095 h 3355086"/>
                <a:gd name="connsiteX12922" fmla="*/ 31050 w 3359086"/>
                <a:gd name="connsiteY12922" fmla="*/ 1907763 h 3355086"/>
                <a:gd name="connsiteX12923" fmla="*/ 35909 w 3359086"/>
                <a:gd name="connsiteY12923" fmla="*/ 1912620 h 3355086"/>
                <a:gd name="connsiteX12924" fmla="*/ 34956 w 3359086"/>
                <a:gd name="connsiteY12924" fmla="*/ 1913573 h 3355086"/>
                <a:gd name="connsiteX12925" fmla="*/ 39814 w 3359086"/>
                <a:gd name="connsiteY12925" fmla="*/ 1918430 h 3355086"/>
                <a:gd name="connsiteX12926" fmla="*/ 38576 w 3359086"/>
                <a:gd name="connsiteY12926" fmla="*/ 1919669 h 3355086"/>
                <a:gd name="connsiteX12927" fmla="*/ 43529 w 3359086"/>
                <a:gd name="connsiteY12927" fmla="*/ 1924621 h 3355086"/>
                <a:gd name="connsiteX12928" fmla="*/ 42099 w 3359086"/>
                <a:gd name="connsiteY12928" fmla="*/ 1926051 h 3355086"/>
                <a:gd name="connsiteX12929" fmla="*/ 47148 w 3359086"/>
                <a:gd name="connsiteY12929" fmla="*/ 1931099 h 3355086"/>
                <a:gd name="connsiteX12930" fmla="*/ 45434 w 3359086"/>
                <a:gd name="connsiteY12930" fmla="*/ 1932814 h 3355086"/>
                <a:gd name="connsiteX12931" fmla="*/ 50673 w 3359086"/>
                <a:gd name="connsiteY12931" fmla="*/ 1938052 h 3355086"/>
                <a:gd name="connsiteX12932" fmla="*/ 48863 w 3359086"/>
                <a:gd name="connsiteY12932" fmla="*/ 1939862 h 3355086"/>
                <a:gd name="connsiteX12933" fmla="*/ 54388 w 3359086"/>
                <a:gd name="connsiteY12933" fmla="*/ 1945386 h 3355086"/>
                <a:gd name="connsiteX12934" fmla="*/ 52530 w 3359086"/>
                <a:gd name="connsiteY12934" fmla="*/ 1947244 h 3355086"/>
                <a:gd name="connsiteX12935" fmla="*/ 58388 w 3359086"/>
                <a:gd name="connsiteY12935" fmla="*/ 1953101 h 3355086"/>
                <a:gd name="connsiteX12936" fmla="*/ 52196 w 3359086"/>
                <a:gd name="connsiteY12936" fmla="*/ 1959293 h 3355086"/>
                <a:gd name="connsiteX12937" fmla="*/ 46005 w 3359086"/>
                <a:gd name="connsiteY12937" fmla="*/ 1953101 h 3355086"/>
                <a:gd name="connsiteX12938" fmla="*/ 47862 w 3359086"/>
                <a:gd name="connsiteY12938" fmla="*/ 1951244 h 3355086"/>
                <a:gd name="connsiteX12939" fmla="*/ 42005 w 3359086"/>
                <a:gd name="connsiteY12939" fmla="*/ 1945386 h 3355086"/>
                <a:gd name="connsiteX12940" fmla="*/ 43814 w 3359086"/>
                <a:gd name="connsiteY12940" fmla="*/ 1943577 h 3355086"/>
                <a:gd name="connsiteX12941" fmla="*/ 38290 w 3359086"/>
                <a:gd name="connsiteY12941" fmla="*/ 1938052 h 3355086"/>
                <a:gd name="connsiteX12942" fmla="*/ 40004 w 3359086"/>
                <a:gd name="connsiteY12942" fmla="*/ 1936338 h 3355086"/>
                <a:gd name="connsiteX12943" fmla="*/ 34766 w 3359086"/>
                <a:gd name="connsiteY12943" fmla="*/ 1931099 h 3355086"/>
                <a:gd name="connsiteX12944" fmla="*/ 36194 w 3359086"/>
                <a:gd name="connsiteY12944" fmla="*/ 1929671 h 3355086"/>
                <a:gd name="connsiteX12945" fmla="*/ 31146 w 3359086"/>
                <a:gd name="connsiteY12945" fmla="*/ 1924621 h 3355086"/>
                <a:gd name="connsiteX12946" fmla="*/ 32384 w 3359086"/>
                <a:gd name="connsiteY12946" fmla="*/ 1923383 h 3355086"/>
                <a:gd name="connsiteX12947" fmla="*/ 27432 w 3359086"/>
                <a:gd name="connsiteY12947" fmla="*/ 1918430 h 3355086"/>
                <a:gd name="connsiteX12948" fmla="*/ 28383 w 3359086"/>
                <a:gd name="connsiteY12948" fmla="*/ 1917479 h 3355086"/>
                <a:gd name="connsiteX12949" fmla="*/ 23526 w 3359086"/>
                <a:gd name="connsiteY12949" fmla="*/ 1912620 h 3355086"/>
                <a:gd name="connsiteX12950" fmla="*/ 24192 w 3359086"/>
                <a:gd name="connsiteY12950" fmla="*/ 1911954 h 3355086"/>
                <a:gd name="connsiteX12951" fmla="*/ 19335 w 3359086"/>
                <a:gd name="connsiteY12951" fmla="*/ 1907095 h 3355086"/>
                <a:gd name="connsiteX12952" fmla="*/ 19572 w 3359086"/>
                <a:gd name="connsiteY12952" fmla="*/ 1906858 h 3355086"/>
                <a:gd name="connsiteX12953" fmla="*/ 14668 w 3359086"/>
                <a:gd name="connsiteY12953" fmla="*/ 1901952 h 3355086"/>
                <a:gd name="connsiteX12954" fmla="*/ 20859 w 3359086"/>
                <a:gd name="connsiteY12954" fmla="*/ 1895761 h 3355086"/>
                <a:gd name="connsiteX12955" fmla="*/ 3245167 w 3359086"/>
                <a:gd name="connsiteY12955" fmla="*/ 1895571 h 3355086"/>
                <a:gd name="connsiteX12956" fmla="*/ 3251359 w 3359086"/>
                <a:gd name="connsiteY12956" fmla="*/ 1901762 h 3355086"/>
                <a:gd name="connsiteX12957" fmla="*/ 3245167 w 3359086"/>
                <a:gd name="connsiteY12957" fmla="*/ 1907954 h 3355086"/>
                <a:gd name="connsiteX12958" fmla="*/ 3238976 w 3359086"/>
                <a:gd name="connsiteY12958" fmla="*/ 1901762 h 3355086"/>
                <a:gd name="connsiteX12959" fmla="*/ 3245167 w 3359086"/>
                <a:gd name="connsiteY12959" fmla="*/ 1895571 h 3355086"/>
                <a:gd name="connsiteX12960" fmla="*/ 282606 w 3359086"/>
                <a:gd name="connsiteY12960" fmla="*/ 1893856 h 3355086"/>
                <a:gd name="connsiteX12961" fmla="*/ 288797 w 3359086"/>
                <a:gd name="connsiteY12961" fmla="*/ 1900047 h 3355086"/>
                <a:gd name="connsiteX12962" fmla="*/ 282606 w 3359086"/>
                <a:gd name="connsiteY12962" fmla="*/ 1906238 h 3355086"/>
                <a:gd name="connsiteX12963" fmla="*/ 276415 w 3359086"/>
                <a:gd name="connsiteY12963" fmla="*/ 1900047 h 3355086"/>
                <a:gd name="connsiteX12964" fmla="*/ 282606 w 3359086"/>
                <a:gd name="connsiteY12964" fmla="*/ 1893856 h 3355086"/>
                <a:gd name="connsiteX12965" fmla="*/ 1344739 w 3359086"/>
                <a:gd name="connsiteY12965" fmla="*/ 1893761 h 3355086"/>
                <a:gd name="connsiteX12966" fmla="*/ 1350931 w 3359086"/>
                <a:gd name="connsiteY12966" fmla="*/ 1899952 h 3355086"/>
                <a:gd name="connsiteX12967" fmla="*/ 1344739 w 3359086"/>
                <a:gd name="connsiteY12967" fmla="*/ 1906144 h 3355086"/>
                <a:gd name="connsiteX12968" fmla="*/ 1338548 w 3359086"/>
                <a:gd name="connsiteY12968" fmla="*/ 1899952 h 3355086"/>
                <a:gd name="connsiteX12969" fmla="*/ 1344739 w 3359086"/>
                <a:gd name="connsiteY12969" fmla="*/ 1893761 h 3355086"/>
                <a:gd name="connsiteX12970" fmla="*/ 82010 w 3359086"/>
                <a:gd name="connsiteY12970" fmla="*/ 1892046 h 3355086"/>
                <a:gd name="connsiteX12971" fmla="*/ 88202 w 3359086"/>
                <a:gd name="connsiteY12971" fmla="*/ 1898237 h 3355086"/>
                <a:gd name="connsiteX12972" fmla="*/ 82010 w 3359086"/>
                <a:gd name="connsiteY12972" fmla="*/ 1904428 h 3355086"/>
                <a:gd name="connsiteX12973" fmla="*/ 75819 w 3359086"/>
                <a:gd name="connsiteY12973" fmla="*/ 1898237 h 3355086"/>
                <a:gd name="connsiteX12974" fmla="*/ 82010 w 3359086"/>
                <a:gd name="connsiteY12974" fmla="*/ 1892046 h 3355086"/>
                <a:gd name="connsiteX12975" fmla="*/ 2057875 w 3359086"/>
                <a:gd name="connsiteY12975" fmla="*/ 1889951 h 3355086"/>
                <a:gd name="connsiteX12976" fmla="*/ 2064067 w 3359086"/>
                <a:gd name="connsiteY12976" fmla="*/ 1896142 h 3355086"/>
                <a:gd name="connsiteX12977" fmla="*/ 2057875 w 3359086"/>
                <a:gd name="connsiteY12977" fmla="*/ 1902334 h 3355086"/>
                <a:gd name="connsiteX12978" fmla="*/ 2051684 w 3359086"/>
                <a:gd name="connsiteY12978" fmla="*/ 1896142 h 3355086"/>
                <a:gd name="connsiteX12979" fmla="*/ 2057875 w 3359086"/>
                <a:gd name="connsiteY12979" fmla="*/ 1889951 h 3355086"/>
                <a:gd name="connsiteX12980" fmla="*/ 3069240 w 3359086"/>
                <a:gd name="connsiteY12980" fmla="*/ 1889570 h 3355086"/>
                <a:gd name="connsiteX12981" fmla="*/ 3075432 w 3359086"/>
                <a:gd name="connsiteY12981" fmla="*/ 1895761 h 3355086"/>
                <a:gd name="connsiteX12982" fmla="*/ 3069240 w 3359086"/>
                <a:gd name="connsiteY12982" fmla="*/ 1901953 h 3355086"/>
                <a:gd name="connsiteX12983" fmla="*/ 3063049 w 3359086"/>
                <a:gd name="connsiteY12983" fmla="*/ 1895761 h 3355086"/>
                <a:gd name="connsiteX12984" fmla="*/ 3069240 w 3359086"/>
                <a:gd name="connsiteY12984" fmla="*/ 1889570 h 3355086"/>
                <a:gd name="connsiteX12985" fmla="*/ 3255454 w 3359086"/>
                <a:gd name="connsiteY12985" fmla="*/ 1888141 h 3355086"/>
                <a:gd name="connsiteX12986" fmla="*/ 3261645 w 3359086"/>
                <a:gd name="connsiteY12986" fmla="*/ 1894332 h 3355086"/>
                <a:gd name="connsiteX12987" fmla="*/ 3255454 w 3359086"/>
                <a:gd name="connsiteY12987" fmla="*/ 1900524 h 3355086"/>
                <a:gd name="connsiteX12988" fmla="*/ 3249263 w 3359086"/>
                <a:gd name="connsiteY12988" fmla="*/ 1894332 h 3355086"/>
                <a:gd name="connsiteX12989" fmla="*/ 3255454 w 3359086"/>
                <a:gd name="connsiteY12989" fmla="*/ 1888141 h 3355086"/>
                <a:gd name="connsiteX12990" fmla="*/ 1215484 w 3359086"/>
                <a:gd name="connsiteY12990" fmla="*/ 1886522 h 3355086"/>
                <a:gd name="connsiteX12991" fmla="*/ 1221675 w 3359086"/>
                <a:gd name="connsiteY12991" fmla="*/ 1892713 h 3355086"/>
                <a:gd name="connsiteX12992" fmla="*/ 1215484 w 3359086"/>
                <a:gd name="connsiteY12992" fmla="*/ 1898905 h 3355086"/>
                <a:gd name="connsiteX12993" fmla="*/ 1209293 w 3359086"/>
                <a:gd name="connsiteY12993" fmla="*/ 1892713 h 3355086"/>
                <a:gd name="connsiteX12994" fmla="*/ 1215484 w 3359086"/>
                <a:gd name="connsiteY12994" fmla="*/ 1886522 h 3355086"/>
                <a:gd name="connsiteX12995" fmla="*/ 246887 w 3359086"/>
                <a:gd name="connsiteY12995" fmla="*/ 1885855 h 3355086"/>
                <a:gd name="connsiteX12996" fmla="*/ 253078 w 3359086"/>
                <a:gd name="connsiteY12996" fmla="*/ 1892046 h 3355086"/>
                <a:gd name="connsiteX12997" fmla="*/ 246887 w 3359086"/>
                <a:gd name="connsiteY12997" fmla="*/ 1898238 h 3355086"/>
                <a:gd name="connsiteX12998" fmla="*/ 240696 w 3359086"/>
                <a:gd name="connsiteY12998" fmla="*/ 1892046 h 3355086"/>
                <a:gd name="connsiteX12999" fmla="*/ 246887 w 3359086"/>
                <a:gd name="connsiteY12999" fmla="*/ 1885855 h 3355086"/>
                <a:gd name="connsiteX13000" fmla="*/ 72485 w 3359086"/>
                <a:gd name="connsiteY13000" fmla="*/ 1884807 h 3355086"/>
                <a:gd name="connsiteX13001" fmla="*/ 78677 w 3359086"/>
                <a:gd name="connsiteY13001" fmla="*/ 1890998 h 3355086"/>
                <a:gd name="connsiteX13002" fmla="*/ 72485 w 3359086"/>
                <a:gd name="connsiteY13002" fmla="*/ 1897190 h 3355086"/>
                <a:gd name="connsiteX13003" fmla="*/ 66294 w 3359086"/>
                <a:gd name="connsiteY13003" fmla="*/ 1890998 h 3355086"/>
                <a:gd name="connsiteX13004" fmla="*/ 72485 w 3359086"/>
                <a:gd name="connsiteY13004" fmla="*/ 1884807 h 3355086"/>
                <a:gd name="connsiteX13005" fmla="*/ 2181796 w 3359086"/>
                <a:gd name="connsiteY13005" fmla="*/ 1882616 h 3355086"/>
                <a:gd name="connsiteX13006" fmla="*/ 2187988 w 3359086"/>
                <a:gd name="connsiteY13006" fmla="*/ 1888807 h 3355086"/>
                <a:gd name="connsiteX13007" fmla="*/ 2181796 w 3359086"/>
                <a:gd name="connsiteY13007" fmla="*/ 1894999 h 3355086"/>
                <a:gd name="connsiteX13008" fmla="*/ 2175605 w 3359086"/>
                <a:gd name="connsiteY13008" fmla="*/ 1888807 h 3355086"/>
                <a:gd name="connsiteX13009" fmla="*/ 2181796 w 3359086"/>
                <a:gd name="connsiteY13009" fmla="*/ 1882616 h 3355086"/>
                <a:gd name="connsiteX13010" fmla="*/ 3102673 w 3359086"/>
                <a:gd name="connsiteY13010" fmla="*/ 1881664 h 3355086"/>
                <a:gd name="connsiteX13011" fmla="*/ 3108865 w 3359086"/>
                <a:gd name="connsiteY13011" fmla="*/ 1887855 h 3355086"/>
                <a:gd name="connsiteX13012" fmla="*/ 3102673 w 3359086"/>
                <a:gd name="connsiteY13012" fmla="*/ 1894047 h 3355086"/>
                <a:gd name="connsiteX13013" fmla="*/ 3096482 w 3359086"/>
                <a:gd name="connsiteY13013" fmla="*/ 1887855 h 3355086"/>
                <a:gd name="connsiteX13014" fmla="*/ 3102673 w 3359086"/>
                <a:gd name="connsiteY13014" fmla="*/ 1881664 h 3355086"/>
                <a:gd name="connsiteX13015" fmla="*/ 3264122 w 3359086"/>
                <a:gd name="connsiteY13015" fmla="*/ 1881092 h 3355086"/>
                <a:gd name="connsiteX13016" fmla="*/ 3270313 w 3359086"/>
                <a:gd name="connsiteY13016" fmla="*/ 1887283 h 3355086"/>
                <a:gd name="connsiteX13017" fmla="*/ 3264122 w 3359086"/>
                <a:gd name="connsiteY13017" fmla="*/ 1893475 h 3355086"/>
                <a:gd name="connsiteX13018" fmla="*/ 3257931 w 3359086"/>
                <a:gd name="connsiteY13018" fmla="*/ 1887283 h 3355086"/>
                <a:gd name="connsiteX13019" fmla="*/ 3264122 w 3359086"/>
                <a:gd name="connsiteY13019" fmla="*/ 1881092 h 3355086"/>
                <a:gd name="connsiteX13020" fmla="*/ 1096136 w 3359086"/>
                <a:gd name="connsiteY13020" fmla="*/ 1879187 h 3355086"/>
                <a:gd name="connsiteX13021" fmla="*/ 1102328 w 3359086"/>
                <a:gd name="connsiteY13021" fmla="*/ 1885378 h 3355086"/>
                <a:gd name="connsiteX13022" fmla="*/ 1096136 w 3359086"/>
                <a:gd name="connsiteY13022" fmla="*/ 1891570 h 3355086"/>
                <a:gd name="connsiteX13023" fmla="*/ 1089945 w 3359086"/>
                <a:gd name="connsiteY13023" fmla="*/ 1885378 h 3355086"/>
                <a:gd name="connsiteX13024" fmla="*/ 1096136 w 3359086"/>
                <a:gd name="connsiteY13024" fmla="*/ 1879187 h 3355086"/>
                <a:gd name="connsiteX13025" fmla="*/ 3347561 w 3359086"/>
                <a:gd name="connsiteY13025" fmla="*/ 1878521 h 3355086"/>
                <a:gd name="connsiteX13026" fmla="*/ 3347847 w 3359086"/>
                <a:gd name="connsiteY13026" fmla="*/ 1878807 h 3355086"/>
                <a:gd name="connsiteX13027" fmla="*/ 3347561 w 3359086"/>
                <a:gd name="connsiteY13027" fmla="*/ 1879093 h 3355086"/>
                <a:gd name="connsiteX13028" fmla="*/ 3347275 w 3359086"/>
                <a:gd name="connsiteY13028" fmla="*/ 1878807 h 3355086"/>
                <a:gd name="connsiteX13029" fmla="*/ 3347561 w 3359086"/>
                <a:gd name="connsiteY13029" fmla="*/ 1878521 h 3355086"/>
                <a:gd name="connsiteX13030" fmla="*/ 215264 w 3359086"/>
                <a:gd name="connsiteY13030" fmla="*/ 1878140 h 3355086"/>
                <a:gd name="connsiteX13031" fmla="*/ 221455 w 3359086"/>
                <a:gd name="connsiteY13031" fmla="*/ 1884331 h 3355086"/>
                <a:gd name="connsiteX13032" fmla="*/ 215264 w 3359086"/>
                <a:gd name="connsiteY13032" fmla="*/ 1890523 h 3355086"/>
                <a:gd name="connsiteX13033" fmla="*/ 209073 w 3359086"/>
                <a:gd name="connsiteY13033" fmla="*/ 1884331 h 3355086"/>
                <a:gd name="connsiteX13034" fmla="*/ 215264 w 3359086"/>
                <a:gd name="connsiteY13034" fmla="*/ 1878140 h 3355086"/>
                <a:gd name="connsiteX13035" fmla="*/ 64388 w 3359086"/>
                <a:gd name="connsiteY13035" fmla="*/ 1877949 h 3355086"/>
                <a:gd name="connsiteX13036" fmla="*/ 70579 w 3359086"/>
                <a:gd name="connsiteY13036" fmla="*/ 1884140 h 3355086"/>
                <a:gd name="connsiteX13037" fmla="*/ 64388 w 3359086"/>
                <a:gd name="connsiteY13037" fmla="*/ 1890332 h 3355086"/>
                <a:gd name="connsiteX13038" fmla="*/ 58197 w 3359086"/>
                <a:gd name="connsiteY13038" fmla="*/ 1884140 h 3355086"/>
                <a:gd name="connsiteX13039" fmla="*/ 64388 w 3359086"/>
                <a:gd name="connsiteY13039" fmla="*/ 1877949 h 3355086"/>
                <a:gd name="connsiteX13040" fmla="*/ 3339465 w 3359086"/>
                <a:gd name="connsiteY13040" fmla="*/ 1876235 h 3355086"/>
                <a:gd name="connsiteX13041" fmla="*/ 3345561 w 3359086"/>
                <a:gd name="connsiteY13041" fmla="*/ 1882331 h 3355086"/>
                <a:gd name="connsiteX13042" fmla="*/ 3339465 w 3359086"/>
                <a:gd name="connsiteY13042" fmla="*/ 1888427 h 3355086"/>
                <a:gd name="connsiteX13043" fmla="*/ 3337750 w 3359086"/>
                <a:gd name="connsiteY13043" fmla="*/ 1886712 h 3355086"/>
                <a:gd name="connsiteX13044" fmla="*/ 3332035 w 3359086"/>
                <a:gd name="connsiteY13044" fmla="*/ 1892428 h 3355086"/>
                <a:gd name="connsiteX13045" fmla="*/ 3330797 w 3359086"/>
                <a:gd name="connsiteY13045" fmla="*/ 1891190 h 3355086"/>
                <a:gd name="connsiteX13046" fmla="*/ 3325463 w 3359086"/>
                <a:gd name="connsiteY13046" fmla="*/ 1896524 h 3355086"/>
                <a:gd name="connsiteX13047" fmla="*/ 3324653 w 3359086"/>
                <a:gd name="connsiteY13047" fmla="*/ 1895714 h 3355086"/>
                <a:gd name="connsiteX13048" fmla="*/ 3319462 w 3359086"/>
                <a:gd name="connsiteY13048" fmla="*/ 1900905 h 3355086"/>
                <a:gd name="connsiteX13049" fmla="*/ 3319080 w 3359086"/>
                <a:gd name="connsiteY13049" fmla="*/ 1900523 h 3355086"/>
                <a:gd name="connsiteX13050" fmla="*/ 3315271 w 3359086"/>
                <a:gd name="connsiteY13050" fmla="*/ 1904333 h 3355086"/>
                <a:gd name="connsiteX13051" fmla="*/ 3310414 w 3359086"/>
                <a:gd name="connsiteY13051" fmla="*/ 1909191 h 3355086"/>
                <a:gd name="connsiteX13052" fmla="*/ 3310890 w 3359086"/>
                <a:gd name="connsiteY13052" fmla="*/ 1909667 h 3355086"/>
                <a:gd name="connsiteX13053" fmla="*/ 3306032 w 3359086"/>
                <a:gd name="connsiteY13053" fmla="*/ 1914525 h 3355086"/>
                <a:gd name="connsiteX13054" fmla="*/ 3306794 w 3359086"/>
                <a:gd name="connsiteY13054" fmla="*/ 1915287 h 3355086"/>
                <a:gd name="connsiteX13055" fmla="*/ 3301936 w 3359086"/>
                <a:gd name="connsiteY13055" fmla="*/ 1920145 h 3355086"/>
                <a:gd name="connsiteX13056" fmla="*/ 3302983 w 3359086"/>
                <a:gd name="connsiteY13056" fmla="*/ 1921192 h 3355086"/>
                <a:gd name="connsiteX13057" fmla="*/ 3297983 w 3359086"/>
                <a:gd name="connsiteY13057" fmla="*/ 1926193 h 3355086"/>
                <a:gd name="connsiteX13058" fmla="*/ 3299365 w 3359086"/>
                <a:gd name="connsiteY13058" fmla="*/ 1927574 h 3355086"/>
                <a:gd name="connsiteX13059" fmla="*/ 3294220 w 3359086"/>
                <a:gd name="connsiteY13059" fmla="*/ 1932718 h 3355086"/>
                <a:gd name="connsiteX13060" fmla="*/ 3295745 w 3359086"/>
                <a:gd name="connsiteY13060" fmla="*/ 1934242 h 3355086"/>
                <a:gd name="connsiteX13061" fmla="*/ 3290363 w 3359086"/>
                <a:gd name="connsiteY13061" fmla="*/ 1939624 h 3355086"/>
                <a:gd name="connsiteX13062" fmla="*/ 3292126 w 3359086"/>
                <a:gd name="connsiteY13062" fmla="*/ 1941386 h 3355086"/>
                <a:gd name="connsiteX13063" fmla="*/ 3286459 w 3359086"/>
                <a:gd name="connsiteY13063" fmla="*/ 1947053 h 3355086"/>
                <a:gd name="connsiteX13064" fmla="*/ 3288316 w 3359086"/>
                <a:gd name="connsiteY13064" fmla="*/ 1948910 h 3355086"/>
                <a:gd name="connsiteX13065" fmla="*/ 3282267 w 3359086"/>
                <a:gd name="connsiteY13065" fmla="*/ 1954959 h 3355086"/>
                <a:gd name="connsiteX13066" fmla="*/ 3284125 w 3359086"/>
                <a:gd name="connsiteY13066" fmla="*/ 1956816 h 3355086"/>
                <a:gd name="connsiteX13067" fmla="*/ 3277933 w 3359086"/>
                <a:gd name="connsiteY13067" fmla="*/ 1963008 h 3355086"/>
                <a:gd name="connsiteX13068" fmla="*/ 3271742 w 3359086"/>
                <a:gd name="connsiteY13068" fmla="*/ 1956816 h 3355086"/>
                <a:gd name="connsiteX13069" fmla="*/ 3277790 w 3359086"/>
                <a:gd name="connsiteY13069" fmla="*/ 1950768 h 3355086"/>
                <a:gd name="connsiteX13070" fmla="*/ 3275933 w 3359086"/>
                <a:gd name="connsiteY13070" fmla="*/ 1948910 h 3355086"/>
                <a:gd name="connsiteX13071" fmla="*/ 3281600 w 3359086"/>
                <a:gd name="connsiteY13071" fmla="*/ 1943243 h 3355086"/>
                <a:gd name="connsiteX13072" fmla="*/ 3279743 w 3359086"/>
                <a:gd name="connsiteY13072" fmla="*/ 1941386 h 3355086"/>
                <a:gd name="connsiteX13073" fmla="*/ 3285124 w 3359086"/>
                <a:gd name="connsiteY13073" fmla="*/ 1936005 h 3355086"/>
                <a:gd name="connsiteX13074" fmla="*/ 3283362 w 3359086"/>
                <a:gd name="connsiteY13074" fmla="*/ 1934242 h 3355086"/>
                <a:gd name="connsiteX13075" fmla="*/ 3288506 w 3359086"/>
                <a:gd name="connsiteY13075" fmla="*/ 1929098 h 3355086"/>
                <a:gd name="connsiteX13076" fmla="*/ 3286982 w 3359086"/>
                <a:gd name="connsiteY13076" fmla="*/ 1927574 h 3355086"/>
                <a:gd name="connsiteX13077" fmla="*/ 3291982 w 3359086"/>
                <a:gd name="connsiteY13077" fmla="*/ 1922574 h 3355086"/>
                <a:gd name="connsiteX13078" fmla="*/ 3290601 w 3359086"/>
                <a:gd name="connsiteY13078" fmla="*/ 1921192 h 3355086"/>
                <a:gd name="connsiteX13079" fmla="*/ 3295458 w 3359086"/>
                <a:gd name="connsiteY13079" fmla="*/ 1916335 h 3355086"/>
                <a:gd name="connsiteX13080" fmla="*/ 3294411 w 3359086"/>
                <a:gd name="connsiteY13080" fmla="*/ 1915287 h 3355086"/>
                <a:gd name="connsiteX13081" fmla="*/ 3299269 w 3359086"/>
                <a:gd name="connsiteY13081" fmla="*/ 1910429 h 3355086"/>
                <a:gd name="connsiteX13082" fmla="*/ 3298507 w 3359086"/>
                <a:gd name="connsiteY13082" fmla="*/ 1909667 h 3355086"/>
                <a:gd name="connsiteX13083" fmla="*/ 3303365 w 3359086"/>
                <a:gd name="connsiteY13083" fmla="*/ 1904809 h 3355086"/>
                <a:gd name="connsiteX13084" fmla="*/ 3302889 w 3359086"/>
                <a:gd name="connsiteY13084" fmla="*/ 1904333 h 3355086"/>
                <a:gd name="connsiteX13085" fmla="*/ 3307842 w 3359086"/>
                <a:gd name="connsiteY13085" fmla="*/ 1899381 h 3355086"/>
                <a:gd name="connsiteX13086" fmla="*/ 3307841 w 3359086"/>
                <a:gd name="connsiteY13086" fmla="*/ 1899380 h 3355086"/>
                <a:gd name="connsiteX13087" fmla="*/ 3314032 w 3359086"/>
                <a:gd name="connsiteY13087" fmla="*/ 1893189 h 3355086"/>
                <a:gd name="connsiteX13088" fmla="*/ 3314414 w 3359086"/>
                <a:gd name="connsiteY13088" fmla="*/ 1893571 h 3355086"/>
                <a:gd name="connsiteX13089" fmla="*/ 3319462 w 3359086"/>
                <a:gd name="connsiteY13089" fmla="*/ 1888522 h 3355086"/>
                <a:gd name="connsiteX13090" fmla="*/ 3320272 w 3359086"/>
                <a:gd name="connsiteY13090" fmla="*/ 1889332 h 3355086"/>
                <a:gd name="connsiteX13091" fmla="*/ 3325463 w 3359086"/>
                <a:gd name="connsiteY13091" fmla="*/ 1884141 h 3355086"/>
                <a:gd name="connsiteX13092" fmla="*/ 3326701 w 3359086"/>
                <a:gd name="connsiteY13092" fmla="*/ 1885379 h 3355086"/>
                <a:gd name="connsiteX13093" fmla="*/ 3332035 w 3359086"/>
                <a:gd name="connsiteY13093" fmla="*/ 1880045 h 3355086"/>
                <a:gd name="connsiteX13094" fmla="*/ 3333845 w 3359086"/>
                <a:gd name="connsiteY13094" fmla="*/ 1881855 h 3355086"/>
                <a:gd name="connsiteX13095" fmla="*/ 2296191 w 3359086"/>
                <a:gd name="connsiteY13095" fmla="*/ 1875187 h 3355086"/>
                <a:gd name="connsiteX13096" fmla="*/ 2302383 w 3359086"/>
                <a:gd name="connsiteY13096" fmla="*/ 1881378 h 3355086"/>
                <a:gd name="connsiteX13097" fmla="*/ 2296191 w 3359086"/>
                <a:gd name="connsiteY13097" fmla="*/ 1887570 h 3355086"/>
                <a:gd name="connsiteX13098" fmla="*/ 2290000 w 3359086"/>
                <a:gd name="connsiteY13098" fmla="*/ 1881378 h 3355086"/>
                <a:gd name="connsiteX13099" fmla="*/ 2296191 w 3359086"/>
                <a:gd name="connsiteY13099" fmla="*/ 1875187 h 3355086"/>
                <a:gd name="connsiteX13100" fmla="*/ 3271551 w 3359086"/>
                <a:gd name="connsiteY13100" fmla="*/ 1874330 h 3355086"/>
                <a:gd name="connsiteX13101" fmla="*/ 3277742 w 3359086"/>
                <a:gd name="connsiteY13101" fmla="*/ 1880521 h 3355086"/>
                <a:gd name="connsiteX13102" fmla="*/ 3271551 w 3359086"/>
                <a:gd name="connsiteY13102" fmla="*/ 1886713 h 3355086"/>
                <a:gd name="connsiteX13103" fmla="*/ 3265360 w 3359086"/>
                <a:gd name="connsiteY13103" fmla="*/ 1880521 h 3355086"/>
                <a:gd name="connsiteX13104" fmla="*/ 3271551 w 3359086"/>
                <a:gd name="connsiteY13104" fmla="*/ 1874330 h 3355086"/>
                <a:gd name="connsiteX13105" fmla="*/ 3132296 w 3359086"/>
                <a:gd name="connsiteY13105" fmla="*/ 1874139 h 3355086"/>
                <a:gd name="connsiteX13106" fmla="*/ 3138487 w 3359086"/>
                <a:gd name="connsiteY13106" fmla="*/ 1880330 h 3355086"/>
                <a:gd name="connsiteX13107" fmla="*/ 3132296 w 3359086"/>
                <a:gd name="connsiteY13107" fmla="*/ 1886522 h 3355086"/>
                <a:gd name="connsiteX13108" fmla="*/ 3126105 w 3359086"/>
                <a:gd name="connsiteY13108" fmla="*/ 1880330 h 3355086"/>
                <a:gd name="connsiteX13109" fmla="*/ 3132296 w 3359086"/>
                <a:gd name="connsiteY13109" fmla="*/ 1874139 h 3355086"/>
                <a:gd name="connsiteX13110" fmla="*/ 986027 w 3359086"/>
                <a:gd name="connsiteY13110" fmla="*/ 1871758 h 3355086"/>
                <a:gd name="connsiteX13111" fmla="*/ 992218 w 3359086"/>
                <a:gd name="connsiteY13111" fmla="*/ 1877949 h 3355086"/>
                <a:gd name="connsiteX13112" fmla="*/ 986027 w 3359086"/>
                <a:gd name="connsiteY13112" fmla="*/ 1884141 h 3355086"/>
                <a:gd name="connsiteX13113" fmla="*/ 979836 w 3359086"/>
                <a:gd name="connsiteY13113" fmla="*/ 1877949 h 3355086"/>
                <a:gd name="connsiteX13114" fmla="*/ 986027 w 3359086"/>
                <a:gd name="connsiteY13114" fmla="*/ 1871758 h 3355086"/>
                <a:gd name="connsiteX13115" fmla="*/ 187356 w 3359086"/>
                <a:gd name="connsiteY13115" fmla="*/ 1870805 h 3355086"/>
                <a:gd name="connsiteX13116" fmla="*/ 193547 w 3359086"/>
                <a:gd name="connsiteY13116" fmla="*/ 1876996 h 3355086"/>
                <a:gd name="connsiteX13117" fmla="*/ 187356 w 3359086"/>
                <a:gd name="connsiteY13117" fmla="*/ 1883188 h 3355086"/>
                <a:gd name="connsiteX13118" fmla="*/ 181165 w 3359086"/>
                <a:gd name="connsiteY13118" fmla="*/ 1876996 h 3355086"/>
                <a:gd name="connsiteX13119" fmla="*/ 187356 w 3359086"/>
                <a:gd name="connsiteY13119" fmla="*/ 1870805 h 3355086"/>
                <a:gd name="connsiteX13120" fmla="*/ 2401442 w 3359086"/>
                <a:gd name="connsiteY13120" fmla="*/ 1867948 h 3355086"/>
                <a:gd name="connsiteX13121" fmla="*/ 2407634 w 3359086"/>
                <a:gd name="connsiteY13121" fmla="*/ 1874139 h 3355086"/>
                <a:gd name="connsiteX13122" fmla="*/ 2401442 w 3359086"/>
                <a:gd name="connsiteY13122" fmla="*/ 1880330 h 3355086"/>
                <a:gd name="connsiteX13123" fmla="*/ 2395251 w 3359086"/>
                <a:gd name="connsiteY13123" fmla="*/ 1874139 h 3355086"/>
                <a:gd name="connsiteX13124" fmla="*/ 2401442 w 3359086"/>
                <a:gd name="connsiteY13124" fmla="*/ 1867948 h 3355086"/>
                <a:gd name="connsiteX13125" fmla="*/ 3158394 w 3359086"/>
                <a:gd name="connsiteY13125" fmla="*/ 1866900 h 3355086"/>
                <a:gd name="connsiteX13126" fmla="*/ 3164585 w 3359086"/>
                <a:gd name="connsiteY13126" fmla="*/ 1873091 h 3355086"/>
                <a:gd name="connsiteX13127" fmla="*/ 3158394 w 3359086"/>
                <a:gd name="connsiteY13127" fmla="*/ 1879282 h 3355086"/>
                <a:gd name="connsiteX13128" fmla="*/ 3152203 w 3359086"/>
                <a:gd name="connsiteY13128" fmla="*/ 1873091 h 3355086"/>
                <a:gd name="connsiteX13129" fmla="*/ 3158394 w 3359086"/>
                <a:gd name="connsiteY13129" fmla="*/ 1866900 h 3355086"/>
                <a:gd name="connsiteX13130" fmla="*/ 884776 w 3359086"/>
                <a:gd name="connsiteY13130" fmla="*/ 1864614 h 3355086"/>
                <a:gd name="connsiteX13131" fmla="*/ 890968 w 3359086"/>
                <a:gd name="connsiteY13131" fmla="*/ 1870805 h 3355086"/>
                <a:gd name="connsiteX13132" fmla="*/ 884776 w 3359086"/>
                <a:gd name="connsiteY13132" fmla="*/ 1876997 h 3355086"/>
                <a:gd name="connsiteX13133" fmla="*/ 878585 w 3359086"/>
                <a:gd name="connsiteY13133" fmla="*/ 1870805 h 3355086"/>
                <a:gd name="connsiteX13134" fmla="*/ 884776 w 3359086"/>
                <a:gd name="connsiteY13134" fmla="*/ 1864614 h 3355086"/>
                <a:gd name="connsiteX13135" fmla="*/ 162782 w 3359086"/>
                <a:gd name="connsiteY13135" fmla="*/ 1863662 h 3355086"/>
                <a:gd name="connsiteX13136" fmla="*/ 168973 w 3359086"/>
                <a:gd name="connsiteY13136" fmla="*/ 1869853 h 3355086"/>
                <a:gd name="connsiteX13137" fmla="*/ 162782 w 3359086"/>
                <a:gd name="connsiteY13137" fmla="*/ 1876045 h 3355086"/>
                <a:gd name="connsiteX13138" fmla="*/ 156591 w 3359086"/>
                <a:gd name="connsiteY13138" fmla="*/ 1869853 h 3355086"/>
                <a:gd name="connsiteX13139" fmla="*/ 162782 w 3359086"/>
                <a:gd name="connsiteY13139" fmla="*/ 1863662 h 3355086"/>
                <a:gd name="connsiteX13140" fmla="*/ 2498121 w 3359086"/>
                <a:gd name="connsiteY13140" fmla="*/ 1860804 h 3355086"/>
                <a:gd name="connsiteX13141" fmla="*/ 2504313 w 3359086"/>
                <a:gd name="connsiteY13141" fmla="*/ 1866995 h 3355086"/>
                <a:gd name="connsiteX13142" fmla="*/ 2498121 w 3359086"/>
                <a:gd name="connsiteY13142" fmla="*/ 1873186 h 3355086"/>
                <a:gd name="connsiteX13143" fmla="*/ 2491930 w 3359086"/>
                <a:gd name="connsiteY13143" fmla="*/ 1866995 h 3355086"/>
                <a:gd name="connsiteX13144" fmla="*/ 2498121 w 3359086"/>
                <a:gd name="connsiteY13144" fmla="*/ 1860804 h 3355086"/>
                <a:gd name="connsiteX13145" fmla="*/ 3181254 w 3359086"/>
                <a:gd name="connsiteY13145" fmla="*/ 1860042 h 3355086"/>
                <a:gd name="connsiteX13146" fmla="*/ 3187446 w 3359086"/>
                <a:gd name="connsiteY13146" fmla="*/ 1866233 h 3355086"/>
                <a:gd name="connsiteX13147" fmla="*/ 3181254 w 3359086"/>
                <a:gd name="connsiteY13147" fmla="*/ 1872425 h 3355086"/>
                <a:gd name="connsiteX13148" fmla="*/ 3175063 w 3359086"/>
                <a:gd name="connsiteY13148" fmla="*/ 1866233 h 3355086"/>
                <a:gd name="connsiteX13149" fmla="*/ 3181254 w 3359086"/>
                <a:gd name="connsiteY13149" fmla="*/ 1860042 h 3355086"/>
                <a:gd name="connsiteX13150" fmla="*/ 791908 w 3359086"/>
                <a:gd name="connsiteY13150" fmla="*/ 1857566 h 3355086"/>
                <a:gd name="connsiteX13151" fmla="*/ 798100 w 3359086"/>
                <a:gd name="connsiteY13151" fmla="*/ 1863757 h 3355086"/>
                <a:gd name="connsiteX13152" fmla="*/ 791908 w 3359086"/>
                <a:gd name="connsiteY13152" fmla="*/ 1869949 h 3355086"/>
                <a:gd name="connsiteX13153" fmla="*/ 785717 w 3359086"/>
                <a:gd name="connsiteY13153" fmla="*/ 1863757 h 3355086"/>
                <a:gd name="connsiteX13154" fmla="*/ 791908 w 3359086"/>
                <a:gd name="connsiteY13154" fmla="*/ 1857566 h 3355086"/>
                <a:gd name="connsiteX13155" fmla="*/ 141350 w 3359086"/>
                <a:gd name="connsiteY13155" fmla="*/ 1856899 h 3355086"/>
                <a:gd name="connsiteX13156" fmla="*/ 147542 w 3359086"/>
                <a:gd name="connsiteY13156" fmla="*/ 1863090 h 3355086"/>
                <a:gd name="connsiteX13157" fmla="*/ 141350 w 3359086"/>
                <a:gd name="connsiteY13157" fmla="*/ 1869282 h 3355086"/>
                <a:gd name="connsiteX13158" fmla="*/ 135159 w 3359086"/>
                <a:gd name="connsiteY13158" fmla="*/ 1863090 h 3355086"/>
                <a:gd name="connsiteX13159" fmla="*/ 141350 w 3359086"/>
                <a:gd name="connsiteY13159" fmla="*/ 1856899 h 3355086"/>
                <a:gd name="connsiteX13160" fmla="*/ 13907 w 3359086"/>
                <a:gd name="connsiteY13160" fmla="*/ 1855566 h 3355086"/>
                <a:gd name="connsiteX13161" fmla="*/ 17144 w 3359086"/>
                <a:gd name="connsiteY13161" fmla="*/ 1858805 h 3355086"/>
                <a:gd name="connsiteX13162" fmla="*/ 18478 w 3359086"/>
                <a:gd name="connsiteY13162" fmla="*/ 1857471 h 3355086"/>
                <a:gd name="connsiteX13163" fmla="*/ 24670 w 3359086"/>
                <a:gd name="connsiteY13163" fmla="*/ 1863662 h 3355086"/>
                <a:gd name="connsiteX13164" fmla="*/ 24527 w 3359086"/>
                <a:gd name="connsiteY13164" fmla="*/ 1863805 h 3355086"/>
                <a:gd name="connsiteX13165" fmla="*/ 28861 w 3359086"/>
                <a:gd name="connsiteY13165" fmla="*/ 1868138 h 3355086"/>
                <a:gd name="connsiteX13166" fmla="*/ 28383 w 3359086"/>
                <a:gd name="connsiteY13166" fmla="*/ 1868616 h 3355086"/>
                <a:gd name="connsiteX13167" fmla="*/ 32575 w 3359086"/>
                <a:gd name="connsiteY13167" fmla="*/ 1872806 h 3355086"/>
                <a:gd name="connsiteX13168" fmla="*/ 31813 w 3359086"/>
                <a:gd name="connsiteY13168" fmla="*/ 1873568 h 3355086"/>
                <a:gd name="connsiteX13169" fmla="*/ 36005 w 3359086"/>
                <a:gd name="connsiteY13169" fmla="*/ 1877758 h 3355086"/>
                <a:gd name="connsiteX13170" fmla="*/ 35051 w 3359086"/>
                <a:gd name="connsiteY13170" fmla="*/ 1878712 h 3355086"/>
                <a:gd name="connsiteX13171" fmla="*/ 39338 w 3359086"/>
                <a:gd name="connsiteY13171" fmla="*/ 1882997 h 3355086"/>
                <a:gd name="connsiteX13172" fmla="*/ 38147 w 3359086"/>
                <a:gd name="connsiteY13172" fmla="*/ 1884188 h 3355086"/>
                <a:gd name="connsiteX13173" fmla="*/ 42576 w 3359086"/>
                <a:gd name="connsiteY13173" fmla="*/ 1888617 h 3355086"/>
                <a:gd name="connsiteX13174" fmla="*/ 41242 w 3359086"/>
                <a:gd name="connsiteY13174" fmla="*/ 1889951 h 3355086"/>
                <a:gd name="connsiteX13175" fmla="*/ 45815 w 3359086"/>
                <a:gd name="connsiteY13175" fmla="*/ 1894523 h 3355086"/>
                <a:gd name="connsiteX13176" fmla="*/ 44434 w 3359086"/>
                <a:gd name="connsiteY13176" fmla="*/ 1895904 h 3355086"/>
                <a:gd name="connsiteX13177" fmla="*/ 49339 w 3359086"/>
                <a:gd name="connsiteY13177" fmla="*/ 1900809 h 3355086"/>
                <a:gd name="connsiteX13178" fmla="*/ 47910 w 3359086"/>
                <a:gd name="connsiteY13178" fmla="*/ 1902238 h 3355086"/>
                <a:gd name="connsiteX13179" fmla="*/ 53054 w 3359086"/>
                <a:gd name="connsiteY13179" fmla="*/ 1907381 h 3355086"/>
                <a:gd name="connsiteX13180" fmla="*/ 51719 w 3359086"/>
                <a:gd name="connsiteY13180" fmla="*/ 1908716 h 3355086"/>
                <a:gd name="connsiteX13181" fmla="*/ 57340 w 3359086"/>
                <a:gd name="connsiteY13181" fmla="*/ 1914335 h 3355086"/>
                <a:gd name="connsiteX13182" fmla="*/ 56101 w 3359086"/>
                <a:gd name="connsiteY13182" fmla="*/ 1915574 h 3355086"/>
                <a:gd name="connsiteX13183" fmla="*/ 62198 w 3359086"/>
                <a:gd name="connsiteY13183" fmla="*/ 1921669 h 3355086"/>
                <a:gd name="connsiteX13184" fmla="*/ 56006 w 3359086"/>
                <a:gd name="connsiteY13184" fmla="*/ 1927861 h 3355086"/>
                <a:gd name="connsiteX13185" fmla="*/ 49815 w 3359086"/>
                <a:gd name="connsiteY13185" fmla="*/ 1921669 h 3355086"/>
                <a:gd name="connsiteX13186" fmla="*/ 51053 w 3359086"/>
                <a:gd name="connsiteY13186" fmla="*/ 1920431 h 3355086"/>
                <a:gd name="connsiteX13187" fmla="*/ 44957 w 3359086"/>
                <a:gd name="connsiteY13187" fmla="*/ 1914335 h 3355086"/>
                <a:gd name="connsiteX13188" fmla="*/ 46290 w 3359086"/>
                <a:gd name="connsiteY13188" fmla="*/ 1913002 h 3355086"/>
                <a:gd name="connsiteX13189" fmla="*/ 40671 w 3359086"/>
                <a:gd name="connsiteY13189" fmla="*/ 1907381 h 3355086"/>
                <a:gd name="connsiteX13190" fmla="*/ 42099 w 3359086"/>
                <a:gd name="connsiteY13190" fmla="*/ 1905953 h 3355086"/>
                <a:gd name="connsiteX13191" fmla="*/ 36957 w 3359086"/>
                <a:gd name="connsiteY13191" fmla="*/ 1900809 h 3355086"/>
                <a:gd name="connsiteX13192" fmla="*/ 38337 w 3359086"/>
                <a:gd name="connsiteY13192" fmla="*/ 1899429 h 3355086"/>
                <a:gd name="connsiteX13193" fmla="*/ 33432 w 3359086"/>
                <a:gd name="connsiteY13193" fmla="*/ 1894523 h 3355086"/>
                <a:gd name="connsiteX13194" fmla="*/ 34765 w 3359086"/>
                <a:gd name="connsiteY13194" fmla="*/ 1893190 h 3355086"/>
                <a:gd name="connsiteX13195" fmla="*/ 30194 w 3359086"/>
                <a:gd name="connsiteY13195" fmla="*/ 1888617 h 3355086"/>
                <a:gd name="connsiteX13196" fmla="*/ 31384 w 3359086"/>
                <a:gd name="connsiteY13196" fmla="*/ 1887427 h 3355086"/>
                <a:gd name="connsiteX13197" fmla="*/ 26955 w 3359086"/>
                <a:gd name="connsiteY13197" fmla="*/ 1882997 h 3355086"/>
                <a:gd name="connsiteX13198" fmla="*/ 27907 w 3359086"/>
                <a:gd name="connsiteY13198" fmla="*/ 1882045 h 3355086"/>
                <a:gd name="connsiteX13199" fmla="*/ 23622 w 3359086"/>
                <a:gd name="connsiteY13199" fmla="*/ 1877758 h 3355086"/>
                <a:gd name="connsiteX13200" fmla="*/ 24383 w 3359086"/>
                <a:gd name="connsiteY13200" fmla="*/ 1876997 h 3355086"/>
                <a:gd name="connsiteX13201" fmla="*/ 20192 w 3359086"/>
                <a:gd name="connsiteY13201" fmla="*/ 1872806 h 3355086"/>
                <a:gd name="connsiteX13202" fmla="*/ 20668 w 3359086"/>
                <a:gd name="connsiteY13202" fmla="*/ 1872330 h 3355086"/>
                <a:gd name="connsiteX13203" fmla="*/ 16478 w 3359086"/>
                <a:gd name="connsiteY13203" fmla="*/ 1868138 h 3355086"/>
                <a:gd name="connsiteX13204" fmla="*/ 16620 w 3359086"/>
                <a:gd name="connsiteY13204" fmla="*/ 1867996 h 3355086"/>
                <a:gd name="connsiteX13205" fmla="*/ 12287 w 3359086"/>
                <a:gd name="connsiteY13205" fmla="*/ 1863662 h 3355086"/>
                <a:gd name="connsiteX13206" fmla="*/ 13144 w 3359086"/>
                <a:gd name="connsiteY13206" fmla="*/ 1862805 h 3355086"/>
                <a:gd name="connsiteX13207" fmla="*/ 9906 w 3359086"/>
                <a:gd name="connsiteY13207" fmla="*/ 1859567 h 3355086"/>
                <a:gd name="connsiteX13208" fmla="*/ 13907 w 3359086"/>
                <a:gd name="connsiteY13208" fmla="*/ 1855566 h 3355086"/>
                <a:gd name="connsiteX13209" fmla="*/ 2586704 w 3359086"/>
                <a:gd name="connsiteY13209" fmla="*/ 1853851 h 3355086"/>
                <a:gd name="connsiteX13210" fmla="*/ 2592895 w 3359086"/>
                <a:gd name="connsiteY13210" fmla="*/ 1860042 h 3355086"/>
                <a:gd name="connsiteX13211" fmla="*/ 2586704 w 3359086"/>
                <a:gd name="connsiteY13211" fmla="*/ 1866234 h 3355086"/>
                <a:gd name="connsiteX13212" fmla="*/ 2580513 w 3359086"/>
                <a:gd name="connsiteY13212" fmla="*/ 1860042 h 3355086"/>
                <a:gd name="connsiteX13213" fmla="*/ 2586704 w 3359086"/>
                <a:gd name="connsiteY13213" fmla="*/ 1853851 h 3355086"/>
                <a:gd name="connsiteX13214" fmla="*/ 3201161 w 3359086"/>
                <a:gd name="connsiteY13214" fmla="*/ 1853375 h 3355086"/>
                <a:gd name="connsiteX13215" fmla="*/ 3207353 w 3359086"/>
                <a:gd name="connsiteY13215" fmla="*/ 1859566 h 3355086"/>
                <a:gd name="connsiteX13216" fmla="*/ 3201161 w 3359086"/>
                <a:gd name="connsiteY13216" fmla="*/ 1865757 h 3355086"/>
                <a:gd name="connsiteX13217" fmla="*/ 3194970 w 3359086"/>
                <a:gd name="connsiteY13217" fmla="*/ 1859566 h 3355086"/>
                <a:gd name="connsiteX13218" fmla="*/ 3201161 w 3359086"/>
                <a:gd name="connsiteY13218" fmla="*/ 1853375 h 3355086"/>
                <a:gd name="connsiteX13219" fmla="*/ 706945 w 3359086"/>
                <a:gd name="connsiteY13219" fmla="*/ 1850708 h 3355086"/>
                <a:gd name="connsiteX13220" fmla="*/ 713137 w 3359086"/>
                <a:gd name="connsiteY13220" fmla="*/ 1856899 h 3355086"/>
                <a:gd name="connsiteX13221" fmla="*/ 706945 w 3359086"/>
                <a:gd name="connsiteY13221" fmla="*/ 1863091 h 3355086"/>
                <a:gd name="connsiteX13222" fmla="*/ 700754 w 3359086"/>
                <a:gd name="connsiteY13222" fmla="*/ 1856899 h 3355086"/>
                <a:gd name="connsiteX13223" fmla="*/ 706945 w 3359086"/>
                <a:gd name="connsiteY13223" fmla="*/ 1850708 h 3355086"/>
                <a:gd name="connsiteX13224" fmla="*/ 122681 w 3359086"/>
                <a:gd name="connsiteY13224" fmla="*/ 1850422 h 3355086"/>
                <a:gd name="connsiteX13225" fmla="*/ 128873 w 3359086"/>
                <a:gd name="connsiteY13225" fmla="*/ 1856613 h 3355086"/>
                <a:gd name="connsiteX13226" fmla="*/ 122681 w 3359086"/>
                <a:gd name="connsiteY13226" fmla="*/ 1862805 h 3355086"/>
                <a:gd name="connsiteX13227" fmla="*/ 116490 w 3359086"/>
                <a:gd name="connsiteY13227" fmla="*/ 1856613 h 3355086"/>
                <a:gd name="connsiteX13228" fmla="*/ 122681 w 3359086"/>
                <a:gd name="connsiteY13228" fmla="*/ 1850422 h 3355086"/>
                <a:gd name="connsiteX13229" fmla="*/ 3218401 w 3359086"/>
                <a:gd name="connsiteY13229" fmla="*/ 1847088 h 3355086"/>
                <a:gd name="connsiteX13230" fmla="*/ 3224593 w 3359086"/>
                <a:gd name="connsiteY13230" fmla="*/ 1853279 h 3355086"/>
                <a:gd name="connsiteX13231" fmla="*/ 3218401 w 3359086"/>
                <a:gd name="connsiteY13231" fmla="*/ 1859471 h 3355086"/>
                <a:gd name="connsiteX13232" fmla="*/ 3212210 w 3359086"/>
                <a:gd name="connsiteY13232" fmla="*/ 1853279 h 3355086"/>
                <a:gd name="connsiteX13233" fmla="*/ 3218401 w 3359086"/>
                <a:gd name="connsiteY13233" fmla="*/ 1847088 h 3355086"/>
                <a:gd name="connsiteX13234" fmla="*/ 2667666 w 3359086"/>
                <a:gd name="connsiteY13234" fmla="*/ 1847088 h 3355086"/>
                <a:gd name="connsiteX13235" fmla="*/ 2673857 w 3359086"/>
                <a:gd name="connsiteY13235" fmla="*/ 1853279 h 3355086"/>
                <a:gd name="connsiteX13236" fmla="*/ 2667666 w 3359086"/>
                <a:gd name="connsiteY13236" fmla="*/ 1859471 h 3355086"/>
                <a:gd name="connsiteX13237" fmla="*/ 2661475 w 3359086"/>
                <a:gd name="connsiteY13237" fmla="*/ 1853279 h 3355086"/>
                <a:gd name="connsiteX13238" fmla="*/ 2667666 w 3359086"/>
                <a:gd name="connsiteY13238" fmla="*/ 1847088 h 3355086"/>
                <a:gd name="connsiteX13239" fmla="*/ 106584 w 3359086"/>
                <a:gd name="connsiteY13239" fmla="*/ 1844231 h 3355086"/>
                <a:gd name="connsiteX13240" fmla="*/ 112776 w 3359086"/>
                <a:gd name="connsiteY13240" fmla="*/ 1850422 h 3355086"/>
                <a:gd name="connsiteX13241" fmla="*/ 106584 w 3359086"/>
                <a:gd name="connsiteY13241" fmla="*/ 1856614 h 3355086"/>
                <a:gd name="connsiteX13242" fmla="*/ 100393 w 3359086"/>
                <a:gd name="connsiteY13242" fmla="*/ 1850422 h 3355086"/>
                <a:gd name="connsiteX13243" fmla="*/ 106584 w 3359086"/>
                <a:gd name="connsiteY13243" fmla="*/ 1844231 h 3355086"/>
                <a:gd name="connsiteX13244" fmla="*/ 629411 w 3359086"/>
                <a:gd name="connsiteY13244" fmla="*/ 1844040 h 3355086"/>
                <a:gd name="connsiteX13245" fmla="*/ 635603 w 3359086"/>
                <a:gd name="connsiteY13245" fmla="*/ 1850231 h 3355086"/>
                <a:gd name="connsiteX13246" fmla="*/ 629411 w 3359086"/>
                <a:gd name="connsiteY13246" fmla="*/ 1856423 h 3355086"/>
                <a:gd name="connsiteX13247" fmla="*/ 623220 w 3359086"/>
                <a:gd name="connsiteY13247" fmla="*/ 1850231 h 3355086"/>
                <a:gd name="connsiteX13248" fmla="*/ 629411 w 3359086"/>
                <a:gd name="connsiteY13248" fmla="*/ 1844040 h 3355086"/>
                <a:gd name="connsiteX13249" fmla="*/ 3233260 w 3359086"/>
                <a:gd name="connsiteY13249" fmla="*/ 1840992 h 3355086"/>
                <a:gd name="connsiteX13250" fmla="*/ 3239452 w 3359086"/>
                <a:gd name="connsiteY13250" fmla="*/ 1847183 h 3355086"/>
                <a:gd name="connsiteX13251" fmla="*/ 3233260 w 3359086"/>
                <a:gd name="connsiteY13251" fmla="*/ 1853375 h 3355086"/>
                <a:gd name="connsiteX13252" fmla="*/ 3227069 w 3359086"/>
                <a:gd name="connsiteY13252" fmla="*/ 1847183 h 3355086"/>
                <a:gd name="connsiteX13253" fmla="*/ 3233260 w 3359086"/>
                <a:gd name="connsiteY13253" fmla="*/ 1840992 h 3355086"/>
                <a:gd name="connsiteX13254" fmla="*/ 3339179 w 3359086"/>
                <a:gd name="connsiteY13254" fmla="*/ 1840707 h 3355086"/>
                <a:gd name="connsiteX13255" fmla="*/ 3345370 w 3359086"/>
                <a:gd name="connsiteY13255" fmla="*/ 1846898 h 3355086"/>
                <a:gd name="connsiteX13256" fmla="*/ 3339179 w 3359086"/>
                <a:gd name="connsiteY13256" fmla="*/ 1853089 h 3355086"/>
                <a:gd name="connsiteX13257" fmla="*/ 3337465 w 3359086"/>
                <a:gd name="connsiteY13257" fmla="*/ 1851375 h 3355086"/>
                <a:gd name="connsiteX13258" fmla="*/ 3332416 w 3359086"/>
                <a:gd name="connsiteY13258" fmla="*/ 1856423 h 3355086"/>
                <a:gd name="connsiteX13259" fmla="*/ 3331130 w 3359086"/>
                <a:gd name="connsiteY13259" fmla="*/ 1855137 h 3355086"/>
                <a:gd name="connsiteX13260" fmla="*/ 3326320 w 3359086"/>
                <a:gd name="connsiteY13260" fmla="*/ 1859947 h 3355086"/>
                <a:gd name="connsiteX13261" fmla="*/ 3325463 w 3359086"/>
                <a:gd name="connsiteY13261" fmla="*/ 1859090 h 3355086"/>
                <a:gd name="connsiteX13262" fmla="*/ 3320891 w 3359086"/>
                <a:gd name="connsiteY13262" fmla="*/ 1863661 h 3355086"/>
                <a:gd name="connsiteX13263" fmla="*/ 3320463 w 3359086"/>
                <a:gd name="connsiteY13263" fmla="*/ 1863233 h 3355086"/>
                <a:gd name="connsiteX13264" fmla="*/ 3316033 w 3359086"/>
                <a:gd name="connsiteY13264" fmla="*/ 1867663 h 3355086"/>
                <a:gd name="connsiteX13265" fmla="*/ 3315985 w 3359086"/>
                <a:gd name="connsiteY13265" fmla="*/ 1867615 h 3355086"/>
                <a:gd name="connsiteX13266" fmla="*/ 3313652 w 3359086"/>
                <a:gd name="connsiteY13266" fmla="*/ 1869948 h 3355086"/>
                <a:gd name="connsiteX13267" fmla="*/ 3313938 w 3359086"/>
                <a:gd name="connsiteY13267" fmla="*/ 1870234 h 3355086"/>
                <a:gd name="connsiteX13268" fmla="*/ 3309699 w 3359086"/>
                <a:gd name="connsiteY13268" fmla="*/ 1874473 h 3355086"/>
                <a:gd name="connsiteX13269" fmla="*/ 3310318 w 3359086"/>
                <a:gd name="connsiteY13269" fmla="*/ 1875091 h 3355086"/>
                <a:gd name="connsiteX13270" fmla="*/ 3306126 w 3359086"/>
                <a:gd name="connsiteY13270" fmla="*/ 1879283 h 3355086"/>
                <a:gd name="connsiteX13271" fmla="*/ 3306984 w 3359086"/>
                <a:gd name="connsiteY13271" fmla="*/ 1880140 h 3355086"/>
                <a:gd name="connsiteX13272" fmla="*/ 3302651 w 3359086"/>
                <a:gd name="connsiteY13272" fmla="*/ 1884474 h 3355086"/>
                <a:gd name="connsiteX13273" fmla="*/ 3303746 w 3359086"/>
                <a:gd name="connsiteY13273" fmla="*/ 1885569 h 3355086"/>
                <a:gd name="connsiteX13274" fmla="*/ 3299269 w 3359086"/>
                <a:gd name="connsiteY13274" fmla="*/ 1890046 h 3355086"/>
                <a:gd name="connsiteX13275" fmla="*/ 3300508 w 3359086"/>
                <a:gd name="connsiteY13275" fmla="*/ 1891284 h 3355086"/>
                <a:gd name="connsiteX13276" fmla="*/ 3295793 w 3359086"/>
                <a:gd name="connsiteY13276" fmla="*/ 1895999 h 3355086"/>
                <a:gd name="connsiteX13277" fmla="*/ 3297174 w 3359086"/>
                <a:gd name="connsiteY13277" fmla="*/ 1897380 h 3355086"/>
                <a:gd name="connsiteX13278" fmla="*/ 3292173 w 3359086"/>
                <a:gd name="connsiteY13278" fmla="*/ 1902381 h 3355086"/>
                <a:gd name="connsiteX13279" fmla="*/ 3293554 w 3359086"/>
                <a:gd name="connsiteY13279" fmla="*/ 1903762 h 3355086"/>
                <a:gd name="connsiteX13280" fmla="*/ 3288173 w 3359086"/>
                <a:gd name="connsiteY13280" fmla="*/ 1909144 h 3355086"/>
                <a:gd name="connsiteX13281" fmla="*/ 3289553 w 3359086"/>
                <a:gd name="connsiteY13281" fmla="*/ 1910524 h 3355086"/>
                <a:gd name="connsiteX13282" fmla="*/ 3283743 w 3359086"/>
                <a:gd name="connsiteY13282" fmla="*/ 1916335 h 3355086"/>
                <a:gd name="connsiteX13283" fmla="*/ 3285077 w 3359086"/>
                <a:gd name="connsiteY13283" fmla="*/ 1917668 h 3355086"/>
                <a:gd name="connsiteX13284" fmla="*/ 3278885 w 3359086"/>
                <a:gd name="connsiteY13284" fmla="*/ 1923860 h 3355086"/>
                <a:gd name="connsiteX13285" fmla="*/ 3272694 w 3359086"/>
                <a:gd name="connsiteY13285" fmla="*/ 1917668 h 3355086"/>
                <a:gd name="connsiteX13286" fmla="*/ 3278504 w 3359086"/>
                <a:gd name="connsiteY13286" fmla="*/ 1911858 h 3355086"/>
                <a:gd name="connsiteX13287" fmla="*/ 3277171 w 3359086"/>
                <a:gd name="connsiteY13287" fmla="*/ 1910524 h 3355086"/>
                <a:gd name="connsiteX13288" fmla="*/ 3282552 w 3359086"/>
                <a:gd name="connsiteY13288" fmla="*/ 1905143 h 3355086"/>
                <a:gd name="connsiteX13289" fmla="*/ 3281172 w 3359086"/>
                <a:gd name="connsiteY13289" fmla="*/ 1903762 h 3355086"/>
                <a:gd name="connsiteX13290" fmla="*/ 3286172 w 3359086"/>
                <a:gd name="connsiteY13290" fmla="*/ 1898762 h 3355086"/>
                <a:gd name="connsiteX13291" fmla="*/ 3284791 w 3359086"/>
                <a:gd name="connsiteY13291" fmla="*/ 1897380 h 3355086"/>
                <a:gd name="connsiteX13292" fmla="*/ 3289506 w 3359086"/>
                <a:gd name="connsiteY13292" fmla="*/ 1892665 h 3355086"/>
                <a:gd name="connsiteX13293" fmla="*/ 3288125 w 3359086"/>
                <a:gd name="connsiteY13293" fmla="*/ 1891284 h 3355086"/>
                <a:gd name="connsiteX13294" fmla="*/ 3292601 w 3359086"/>
                <a:gd name="connsiteY13294" fmla="*/ 1886808 h 3355086"/>
                <a:gd name="connsiteX13295" fmla="*/ 3291363 w 3359086"/>
                <a:gd name="connsiteY13295" fmla="*/ 1885569 h 3355086"/>
                <a:gd name="connsiteX13296" fmla="*/ 3295697 w 3359086"/>
                <a:gd name="connsiteY13296" fmla="*/ 1881235 h 3355086"/>
                <a:gd name="connsiteX13297" fmla="*/ 3294602 w 3359086"/>
                <a:gd name="connsiteY13297" fmla="*/ 1880140 h 3355086"/>
                <a:gd name="connsiteX13298" fmla="*/ 3298793 w 3359086"/>
                <a:gd name="connsiteY13298" fmla="*/ 1875949 h 3355086"/>
                <a:gd name="connsiteX13299" fmla="*/ 3297935 w 3359086"/>
                <a:gd name="connsiteY13299" fmla="*/ 1875091 h 3355086"/>
                <a:gd name="connsiteX13300" fmla="*/ 3302173 w 3359086"/>
                <a:gd name="connsiteY13300" fmla="*/ 1870853 h 3355086"/>
                <a:gd name="connsiteX13301" fmla="*/ 3301555 w 3359086"/>
                <a:gd name="connsiteY13301" fmla="*/ 1870234 h 3355086"/>
                <a:gd name="connsiteX13302" fmla="*/ 3305746 w 3359086"/>
                <a:gd name="connsiteY13302" fmla="*/ 1866043 h 3355086"/>
                <a:gd name="connsiteX13303" fmla="*/ 3305460 w 3359086"/>
                <a:gd name="connsiteY13303" fmla="*/ 1865757 h 3355086"/>
                <a:gd name="connsiteX13304" fmla="*/ 3311651 w 3359086"/>
                <a:gd name="connsiteY13304" fmla="*/ 1859566 h 3355086"/>
                <a:gd name="connsiteX13305" fmla="*/ 3311699 w 3359086"/>
                <a:gd name="connsiteY13305" fmla="*/ 1859614 h 3355086"/>
                <a:gd name="connsiteX13306" fmla="*/ 3316033 w 3359086"/>
                <a:gd name="connsiteY13306" fmla="*/ 1855280 h 3355086"/>
                <a:gd name="connsiteX13307" fmla="*/ 3316462 w 3359086"/>
                <a:gd name="connsiteY13307" fmla="*/ 1855709 h 3355086"/>
                <a:gd name="connsiteX13308" fmla="*/ 3320891 w 3359086"/>
                <a:gd name="connsiteY13308" fmla="*/ 1851279 h 3355086"/>
                <a:gd name="connsiteX13309" fmla="*/ 3321749 w 3359086"/>
                <a:gd name="connsiteY13309" fmla="*/ 1852137 h 3355086"/>
                <a:gd name="connsiteX13310" fmla="*/ 3326320 w 3359086"/>
                <a:gd name="connsiteY13310" fmla="*/ 1847565 h 3355086"/>
                <a:gd name="connsiteX13311" fmla="*/ 3327605 w 3359086"/>
                <a:gd name="connsiteY13311" fmla="*/ 1848851 h 3355086"/>
                <a:gd name="connsiteX13312" fmla="*/ 3332416 w 3359086"/>
                <a:gd name="connsiteY13312" fmla="*/ 1844040 h 3355086"/>
                <a:gd name="connsiteX13313" fmla="*/ 3334131 w 3359086"/>
                <a:gd name="connsiteY13313" fmla="*/ 1845755 h 3355086"/>
                <a:gd name="connsiteX13314" fmla="*/ 2741390 w 3359086"/>
                <a:gd name="connsiteY13314" fmla="*/ 1840611 h 3355086"/>
                <a:gd name="connsiteX13315" fmla="*/ 2747581 w 3359086"/>
                <a:gd name="connsiteY13315" fmla="*/ 1846802 h 3355086"/>
                <a:gd name="connsiteX13316" fmla="*/ 2741390 w 3359086"/>
                <a:gd name="connsiteY13316" fmla="*/ 1852994 h 3355086"/>
                <a:gd name="connsiteX13317" fmla="*/ 2735199 w 3359086"/>
                <a:gd name="connsiteY13317" fmla="*/ 1846802 h 3355086"/>
                <a:gd name="connsiteX13318" fmla="*/ 2741390 w 3359086"/>
                <a:gd name="connsiteY13318" fmla="*/ 1840611 h 3355086"/>
                <a:gd name="connsiteX13319" fmla="*/ 3346703 w 3359086"/>
                <a:gd name="connsiteY13319" fmla="*/ 1839945 h 3355086"/>
                <a:gd name="connsiteX13320" fmla="*/ 3350608 w 3359086"/>
                <a:gd name="connsiteY13320" fmla="*/ 1843850 h 3355086"/>
                <a:gd name="connsiteX13321" fmla="*/ 3346703 w 3359086"/>
                <a:gd name="connsiteY13321" fmla="*/ 1847756 h 3355086"/>
                <a:gd name="connsiteX13322" fmla="*/ 3342798 w 3359086"/>
                <a:gd name="connsiteY13322" fmla="*/ 1843850 h 3355086"/>
                <a:gd name="connsiteX13323" fmla="*/ 3346703 w 3359086"/>
                <a:gd name="connsiteY13323" fmla="*/ 1839945 h 3355086"/>
                <a:gd name="connsiteX13324" fmla="*/ 92677 w 3359086"/>
                <a:gd name="connsiteY13324" fmla="*/ 1838325 h 3355086"/>
                <a:gd name="connsiteX13325" fmla="*/ 98869 w 3359086"/>
                <a:gd name="connsiteY13325" fmla="*/ 1844516 h 3355086"/>
                <a:gd name="connsiteX13326" fmla="*/ 92677 w 3359086"/>
                <a:gd name="connsiteY13326" fmla="*/ 1850707 h 3355086"/>
                <a:gd name="connsiteX13327" fmla="*/ 86486 w 3359086"/>
                <a:gd name="connsiteY13327" fmla="*/ 1844516 h 3355086"/>
                <a:gd name="connsiteX13328" fmla="*/ 92677 w 3359086"/>
                <a:gd name="connsiteY13328" fmla="*/ 1838325 h 3355086"/>
                <a:gd name="connsiteX13329" fmla="*/ 558831 w 3359086"/>
                <a:gd name="connsiteY13329" fmla="*/ 1837658 h 3355086"/>
                <a:gd name="connsiteX13330" fmla="*/ 565022 w 3359086"/>
                <a:gd name="connsiteY13330" fmla="*/ 1843849 h 3355086"/>
                <a:gd name="connsiteX13331" fmla="*/ 558831 w 3359086"/>
                <a:gd name="connsiteY13331" fmla="*/ 1850041 h 3355086"/>
                <a:gd name="connsiteX13332" fmla="*/ 552640 w 3359086"/>
                <a:gd name="connsiteY13332" fmla="*/ 1843849 h 3355086"/>
                <a:gd name="connsiteX13333" fmla="*/ 558831 w 3359086"/>
                <a:gd name="connsiteY13333" fmla="*/ 1837658 h 3355086"/>
                <a:gd name="connsiteX13334" fmla="*/ 3246024 w 3359086"/>
                <a:gd name="connsiteY13334" fmla="*/ 1835277 h 3355086"/>
                <a:gd name="connsiteX13335" fmla="*/ 3252215 w 3359086"/>
                <a:gd name="connsiteY13335" fmla="*/ 1841468 h 3355086"/>
                <a:gd name="connsiteX13336" fmla="*/ 3246024 w 3359086"/>
                <a:gd name="connsiteY13336" fmla="*/ 1847660 h 3355086"/>
                <a:gd name="connsiteX13337" fmla="*/ 3239833 w 3359086"/>
                <a:gd name="connsiteY13337" fmla="*/ 1841468 h 3355086"/>
                <a:gd name="connsiteX13338" fmla="*/ 3246024 w 3359086"/>
                <a:gd name="connsiteY13338" fmla="*/ 1835277 h 3355086"/>
                <a:gd name="connsiteX13339" fmla="*/ 2808446 w 3359086"/>
                <a:gd name="connsiteY13339" fmla="*/ 1834420 h 3355086"/>
                <a:gd name="connsiteX13340" fmla="*/ 2814637 w 3359086"/>
                <a:gd name="connsiteY13340" fmla="*/ 1840611 h 3355086"/>
                <a:gd name="connsiteX13341" fmla="*/ 2808446 w 3359086"/>
                <a:gd name="connsiteY13341" fmla="*/ 1846803 h 3355086"/>
                <a:gd name="connsiteX13342" fmla="*/ 2802255 w 3359086"/>
                <a:gd name="connsiteY13342" fmla="*/ 1840611 h 3355086"/>
                <a:gd name="connsiteX13343" fmla="*/ 2808446 w 3359086"/>
                <a:gd name="connsiteY13343" fmla="*/ 1834420 h 3355086"/>
                <a:gd name="connsiteX13344" fmla="*/ 80867 w 3359086"/>
                <a:gd name="connsiteY13344" fmla="*/ 1832705 h 3355086"/>
                <a:gd name="connsiteX13345" fmla="*/ 87059 w 3359086"/>
                <a:gd name="connsiteY13345" fmla="*/ 1838896 h 3355086"/>
                <a:gd name="connsiteX13346" fmla="*/ 80867 w 3359086"/>
                <a:gd name="connsiteY13346" fmla="*/ 1845088 h 3355086"/>
                <a:gd name="connsiteX13347" fmla="*/ 74676 w 3359086"/>
                <a:gd name="connsiteY13347" fmla="*/ 1838896 h 3355086"/>
                <a:gd name="connsiteX13348" fmla="*/ 80867 w 3359086"/>
                <a:gd name="connsiteY13348" fmla="*/ 1832705 h 3355086"/>
                <a:gd name="connsiteX13349" fmla="*/ 494728 w 3359086"/>
                <a:gd name="connsiteY13349" fmla="*/ 1831562 h 3355086"/>
                <a:gd name="connsiteX13350" fmla="*/ 500919 w 3359086"/>
                <a:gd name="connsiteY13350" fmla="*/ 1837753 h 3355086"/>
                <a:gd name="connsiteX13351" fmla="*/ 494728 w 3359086"/>
                <a:gd name="connsiteY13351" fmla="*/ 1843945 h 3355086"/>
                <a:gd name="connsiteX13352" fmla="*/ 488537 w 3359086"/>
                <a:gd name="connsiteY13352" fmla="*/ 1837753 h 3355086"/>
                <a:gd name="connsiteX13353" fmla="*/ 494728 w 3359086"/>
                <a:gd name="connsiteY13353" fmla="*/ 1831562 h 3355086"/>
                <a:gd name="connsiteX13354" fmla="*/ 3256882 w 3359086"/>
                <a:gd name="connsiteY13354" fmla="*/ 1829753 h 3355086"/>
                <a:gd name="connsiteX13355" fmla="*/ 3263073 w 3359086"/>
                <a:gd name="connsiteY13355" fmla="*/ 1835944 h 3355086"/>
                <a:gd name="connsiteX13356" fmla="*/ 3256882 w 3359086"/>
                <a:gd name="connsiteY13356" fmla="*/ 1842136 h 3355086"/>
                <a:gd name="connsiteX13357" fmla="*/ 3250691 w 3359086"/>
                <a:gd name="connsiteY13357" fmla="*/ 1835944 h 3355086"/>
                <a:gd name="connsiteX13358" fmla="*/ 3256882 w 3359086"/>
                <a:gd name="connsiteY13358" fmla="*/ 1829753 h 3355086"/>
                <a:gd name="connsiteX13359" fmla="*/ 2869215 w 3359086"/>
                <a:gd name="connsiteY13359" fmla="*/ 1828324 h 3355086"/>
                <a:gd name="connsiteX13360" fmla="*/ 2875407 w 3359086"/>
                <a:gd name="connsiteY13360" fmla="*/ 1834515 h 3355086"/>
                <a:gd name="connsiteX13361" fmla="*/ 2869215 w 3359086"/>
                <a:gd name="connsiteY13361" fmla="*/ 1840707 h 3355086"/>
                <a:gd name="connsiteX13362" fmla="*/ 2863024 w 3359086"/>
                <a:gd name="connsiteY13362" fmla="*/ 1834515 h 3355086"/>
                <a:gd name="connsiteX13363" fmla="*/ 2869215 w 3359086"/>
                <a:gd name="connsiteY13363" fmla="*/ 1828324 h 3355086"/>
                <a:gd name="connsiteX13364" fmla="*/ 70865 w 3359086"/>
                <a:gd name="connsiteY13364" fmla="*/ 1827276 h 3355086"/>
                <a:gd name="connsiteX13365" fmla="*/ 77057 w 3359086"/>
                <a:gd name="connsiteY13365" fmla="*/ 1833467 h 3355086"/>
                <a:gd name="connsiteX13366" fmla="*/ 70865 w 3359086"/>
                <a:gd name="connsiteY13366" fmla="*/ 1839659 h 3355086"/>
                <a:gd name="connsiteX13367" fmla="*/ 64674 w 3359086"/>
                <a:gd name="connsiteY13367" fmla="*/ 1833467 h 3355086"/>
                <a:gd name="connsiteX13368" fmla="*/ 70865 w 3359086"/>
                <a:gd name="connsiteY13368" fmla="*/ 1827276 h 3355086"/>
                <a:gd name="connsiteX13369" fmla="*/ 436721 w 3359086"/>
                <a:gd name="connsiteY13369" fmla="*/ 1825657 h 3355086"/>
                <a:gd name="connsiteX13370" fmla="*/ 442912 w 3359086"/>
                <a:gd name="connsiteY13370" fmla="*/ 1831848 h 3355086"/>
                <a:gd name="connsiteX13371" fmla="*/ 436721 w 3359086"/>
                <a:gd name="connsiteY13371" fmla="*/ 1838040 h 3355086"/>
                <a:gd name="connsiteX13372" fmla="*/ 430530 w 3359086"/>
                <a:gd name="connsiteY13372" fmla="*/ 1831848 h 3355086"/>
                <a:gd name="connsiteX13373" fmla="*/ 436721 w 3359086"/>
                <a:gd name="connsiteY13373" fmla="*/ 1825657 h 3355086"/>
                <a:gd name="connsiteX13374" fmla="*/ 3266026 w 3359086"/>
                <a:gd name="connsiteY13374" fmla="*/ 1824514 h 3355086"/>
                <a:gd name="connsiteX13375" fmla="*/ 3272218 w 3359086"/>
                <a:gd name="connsiteY13375" fmla="*/ 1830705 h 3355086"/>
                <a:gd name="connsiteX13376" fmla="*/ 3266026 w 3359086"/>
                <a:gd name="connsiteY13376" fmla="*/ 1836897 h 3355086"/>
                <a:gd name="connsiteX13377" fmla="*/ 3259835 w 3359086"/>
                <a:gd name="connsiteY13377" fmla="*/ 1830705 h 3355086"/>
                <a:gd name="connsiteX13378" fmla="*/ 3266026 w 3359086"/>
                <a:gd name="connsiteY13378" fmla="*/ 1824514 h 3355086"/>
                <a:gd name="connsiteX13379" fmla="*/ 2924174 w 3359086"/>
                <a:gd name="connsiteY13379" fmla="*/ 1822514 h 3355086"/>
                <a:gd name="connsiteX13380" fmla="*/ 2930365 w 3359086"/>
                <a:gd name="connsiteY13380" fmla="*/ 1828705 h 3355086"/>
                <a:gd name="connsiteX13381" fmla="*/ 2924174 w 3359086"/>
                <a:gd name="connsiteY13381" fmla="*/ 1834897 h 3355086"/>
                <a:gd name="connsiteX13382" fmla="*/ 2917983 w 3359086"/>
                <a:gd name="connsiteY13382" fmla="*/ 1828705 h 3355086"/>
                <a:gd name="connsiteX13383" fmla="*/ 2924174 w 3359086"/>
                <a:gd name="connsiteY13383" fmla="*/ 1822514 h 3355086"/>
                <a:gd name="connsiteX13384" fmla="*/ 384428 w 3359086"/>
                <a:gd name="connsiteY13384" fmla="*/ 1819942 h 3355086"/>
                <a:gd name="connsiteX13385" fmla="*/ 390619 w 3359086"/>
                <a:gd name="connsiteY13385" fmla="*/ 1826133 h 3355086"/>
                <a:gd name="connsiteX13386" fmla="*/ 384428 w 3359086"/>
                <a:gd name="connsiteY13386" fmla="*/ 1832325 h 3355086"/>
                <a:gd name="connsiteX13387" fmla="*/ 378237 w 3359086"/>
                <a:gd name="connsiteY13387" fmla="*/ 1826133 h 3355086"/>
                <a:gd name="connsiteX13388" fmla="*/ 384428 w 3359086"/>
                <a:gd name="connsiteY13388" fmla="*/ 1819942 h 3355086"/>
                <a:gd name="connsiteX13389" fmla="*/ 2973609 w 3359086"/>
                <a:gd name="connsiteY13389" fmla="*/ 1816989 h 3355086"/>
                <a:gd name="connsiteX13390" fmla="*/ 2979800 w 3359086"/>
                <a:gd name="connsiteY13390" fmla="*/ 1823180 h 3355086"/>
                <a:gd name="connsiteX13391" fmla="*/ 2973609 w 3359086"/>
                <a:gd name="connsiteY13391" fmla="*/ 1829372 h 3355086"/>
                <a:gd name="connsiteX13392" fmla="*/ 2967418 w 3359086"/>
                <a:gd name="connsiteY13392" fmla="*/ 1823180 h 3355086"/>
                <a:gd name="connsiteX13393" fmla="*/ 2973609 w 3359086"/>
                <a:gd name="connsiteY13393" fmla="*/ 1816989 h 3355086"/>
                <a:gd name="connsiteX13394" fmla="*/ 8001 w 3359086"/>
                <a:gd name="connsiteY13394" fmla="*/ 1816418 h 3355086"/>
                <a:gd name="connsiteX13395" fmla="*/ 9334 w 3359086"/>
                <a:gd name="connsiteY13395" fmla="*/ 1817752 h 3355086"/>
                <a:gd name="connsiteX13396" fmla="*/ 8001 w 3359086"/>
                <a:gd name="connsiteY13396" fmla="*/ 1819085 h 3355086"/>
                <a:gd name="connsiteX13397" fmla="*/ 6667 w 3359086"/>
                <a:gd name="connsiteY13397" fmla="*/ 1817752 h 3355086"/>
                <a:gd name="connsiteX13398" fmla="*/ 8001 w 3359086"/>
                <a:gd name="connsiteY13398" fmla="*/ 1816418 h 3355086"/>
                <a:gd name="connsiteX13399" fmla="*/ 12572 w 3359086"/>
                <a:gd name="connsiteY13399" fmla="*/ 1814703 h 3355086"/>
                <a:gd name="connsiteX13400" fmla="*/ 16335 w 3359086"/>
                <a:gd name="connsiteY13400" fmla="*/ 1818465 h 3355086"/>
                <a:gd name="connsiteX13401" fmla="*/ 16668 w 3359086"/>
                <a:gd name="connsiteY13401" fmla="*/ 1818132 h 3355086"/>
                <a:gd name="connsiteX13402" fmla="*/ 20288 w 3359086"/>
                <a:gd name="connsiteY13402" fmla="*/ 1821752 h 3355086"/>
                <a:gd name="connsiteX13403" fmla="*/ 20383 w 3359086"/>
                <a:gd name="connsiteY13403" fmla="*/ 1821657 h 3355086"/>
                <a:gd name="connsiteX13404" fmla="*/ 26575 w 3359086"/>
                <a:gd name="connsiteY13404" fmla="*/ 1827848 h 3355086"/>
                <a:gd name="connsiteX13405" fmla="*/ 26337 w 3359086"/>
                <a:gd name="connsiteY13405" fmla="*/ 1828086 h 3355086"/>
                <a:gd name="connsiteX13406" fmla="*/ 29909 w 3359086"/>
                <a:gd name="connsiteY13406" fmla="*/ 1831657 h 3355086"/>
                <a:gd name="connsiteX13407" fmla="*/ 29385 w 3359086"/>
                <a:gd name="connsiteY13407" fmla="*/ 1832182 h 3355086"/>
                <a:gd name="connsiteX13408" fmla="*/ 32957 w 3359086"/>
                <a:gd name="connsiteY13408" fmla="*/ 1835753 h 3355086"/>
                <a:gd name="connsiteX13409" fmla="*/ 32385 w 3359086"/>
                <a:gd name="connsiteY13409" fmla="*/ 1836325 h 3355086"/>
                <a:gd name="connsiteX13410" fmla="*/ 36005 w 3359086"/>
                <a:gd name="connsiteY13410" fmla="*/ 1839944 h 3355086"/>
                <a:gd name="connsiteX13411" fmla="*/ 35147 w 3359086"/>
                <a:gd name="connsiteY13411" fmla="*/ 1840802 h 3355086"/>
                <a:gd name="connsiteX13412" fmla="*/ 38862 w 3359086"/>
                <a:gd name="connsiteY13412" fmla="*/ 1844516 h 3355086"/>
                <a:gd name="connsiteX13413" fmla="*/ 38004 w 3359086"/>
                <a:gd name="connsiteY13413" fmla="*/ 1845374 h 3355086"/>
                <a:gd name="connsiteX13414" fmla="*/ 41910 w 3359086"/>
                <a:gd name="connsiteY13414" fmla="*/ 1849279 h 3355086"/>
                <a:gd name="connsiteX13415" fmla="*/ 41005 w 3359086"/>
                <a:gd name="connsiteY13415" fmla="*/ 1850184 h 3355086"/>
                <a:gd name="connsiteX13416" fmla="*/ 45244 w 3359086"/>
                <a:gd name="connsiteY13416" fmla="*/ 1854422 h 3355086"/>
                <a:gd name="connsiteX13417" fmla="*/ 44433 w 3359086"/>
                <a:gd name="connsiteY13417" fmla="*/ 1855233 h 3355086"/>
                <a:gd name="connsiteX13418" fmla="*/ 48958 w 3359086"/>
                <a:gd name="connsiteY13418" fmla="*/ 1859756 h 3355086"/>
                <a:gd name="connsiteX13419" fmla="*/ 48243 w 3359086"/>
                <a:gd name="connsiteY13419" fmla="*/ 1860471 h 3355086"/>
                <a:gd name="connsiteX13420" fmla="*/ 53149 w 3359086"/>
                <a:gd name="connsiteY13420" fmla="*/ 1865376 h 3355086"/>
                <a:gd name="connsiteX13421" fmla="*/ 52624 w 3359086"/>
                <a:gd name="connsiteY13421" fmla="*/ 1865901 h 3355086"/>
                <a:gd name="connsiteX13422" fmla="*/ 58007 w 3359086"/>
                <a:gd name="connsiteY13422" fmla="*/ 1871282 h 3355086"/>
                <a:gd name="connsiteX13423" fmla="*/ 57769 w 3359086"/>
                <a:gd name="connsiteY13423" fmla="*/ 1871520 h 3355086"/>
                <a:gd name="connsiteX13424" fmla="*/ 63817 w 3359086"/>
                <a:gd name="connsiteY13424" fmla="*/ 1877568 h 3355086"/>
                <a:gd name="connsiteX13425" fmla="*/ 57626 w 3359086"/>
                <a:gd name="connsiteY13425" fmla="*/ 1883759 h 3355086"/>
                <a:gd name="connsiteX13426" fmla="*/ 51435 w 3359086"/>
                <a:gd name="connsiteY13426" fmla="*/ 1877568 h 3355086"/>
                <a:gd name="connsiteX13427" fmla="*/ 51672 w 3359086"/>
                <a:gd name="connsiteY13427" fmla="*/ 1877331 h 3355086"/>
                <a:gd name="connsiteX13428" fmla="*/ 45624 w 3359086"/>
                <a:gd name="connsiteY13428" fmla="*/ 1871282 h 3355086"/>
                <a:gd name="connsiteX13429" fmla="*/ 46148 w 3359086"/>
                <a:gd name="connsiteY13429" fmla="*/ 1870758 h 3355086"/>
                <a:gd name="connsiteX13430" fmla="*/ 40767 w 3359086"/>
                <a:gd name="connsiteY13430" fmla="*/ 1865376 h 3355086"/>
                <a:gd name="connsiteX13431" fmla="*/ 41480 w 3359086"/>
                <a:gd name="connsiteY13431" fmla="*/ 1864663 h 3355086"/>
                <a:gd name="connsiteX13432" fmla="*/ 36575 w 3359086"/>
                <a:gd name="connsiteY13432" fmla="*/ 1859756 h 3355086"/>
                <a:gd name="connsiteX13433" fmla="*/ 37384 w 3359086"/>
                <a:gd name="connsiteY13433" fmla="*/ 1858947 h 3355086"/>
                <a:gd name="connsiteX13434" fmla="*/ 32861 w 3359086"/>
                <a:gd name="connsiteY13434" fmla="*/ 1854422 h 3355086"/>
                <a:gd name="connsiteX13435" fmla="*/ 33765 w 3359086"/>
                <a:gd name="connsiteY13435" fmla="*/ 1853518 h 3355086"/>
                <a:gd name="connsiteX13436" fmla="*/ 29527 w 3359086"/>
                <a:gd name="connsiteY13436" fmla="*/ 1849279 h 3355086"/>
                <a:gd name="connsiteX13437" fmla="*/ 30384 w 3359086"/>
                <a:gd name="connsiteY13437" fmla="*/ 1848422 h 3355086"/>
                <a:gd name="connsiteX13438" fmla="*/ 26479 w 3359086"/>
                <a:gd name="connsiteY13438" fmla="*/ 1844516 h 3355086"/>
                <a:gd name="connsiteX13439" fmla="*/ 27336 w 3359086"/>
                <a:gd name="connsiteY13439" fmla="*/ 1843659 h 3355086"/>
                <a:gd name="connsiteX13440" fmla="*/ 23622 w 3359086"/>
                <a:gd name="connsiteY13440" fmla="*/ 1839944 h 3355086"/>
                <a:gd name="connsiteX13441" fmla="*/ 24193 w 3359086"/>
                <a:gd name="connsiteY13441" fmla="*/ 1839373 h 3355086"/>
                <a:gd name="connsiteX13442" fmla="*/ 20574 w 3359086"/>
                <a:gd name="connsiteY13442" fmla="*/ 1835753 h 3355086"/>
                <a:gd name="connsiteX13443" fmla="*/ 21098 w 3359086"/>
                <a:gd name="connsiteY13443" fmla="*/ 1835230 h 3355086"/>
                <a:gd name="connsiteX13444" fmla="*/ 17526 w 3359086"/>
                <a:gd name="connsiteY13444" fmla="*/ 1831657 h 3355086"/>
                <a:gd name="connsiteX13445" fmla="*/ 17763 w 3359086"/>
                <a:gd name="connsiteY13445" fmla="*/ 1831420 h 3355086"/>
                <a:gd name="connsiteX13446" fmla="*/ 16763 w 3359086"/>
                <a:gd name="connsiteY13446" fmla="*/ 1830420 h 3355086"/>
                <a:gd name="connsiteX13447" fmla="*/ 16668 w 3359086"/>
                <a:gd name="connsiteY13447" fmla="*/ 1830515 h 3355086"/>
                <a:gd name="connsiteX13448" fmla="*/ 12906 w 3359086"/>
                <a:gd name="connsiteY13448" fmla="*/ 1826752 h 3355086"/>
                <a:gd name="connsiteX13449" fmla="*/ 12572 w 3359086"/>
                <a:gd name="connsiteY13449" fmla="*/ 1827086 h 3355086"/>
                <a:gd name="connsiteX13450" fmla="*/ 6381 w 3359086"/>
                <a:gd name="connsiteY13450" fmla="*/ 1820894 h 3355086"/>
                <a:gd name="connsiteX13451" fmla="*/ 12572 w 3359086"/>
                <a:gd name="connsiteY13451" fmla="*/ 1814703 h 3355086"/>
                <a:gd name="connsiteX13452" fmla="*/ 337375 w 3359086"/>
                <a:gd name="connsiteY13452" fmla="*/ 1814417 h 3355086"/>
                <a:gd name="connsiteX13453" fmla="*/ 343566 w 3359086"/>
                <a:gd name="connsiteY13453" fmla="*/ 1820608 h 3355086"/>
                <a:gd name="connsiteX13454" fmla="*/ 337375 w 3359086"/>
                <a:gd name="connsiteY13454" fmla="*/ 1826800 h 3355086"/>
                <a:gd name="connsiteX13455" fmla="*/ 331184 w 3359086"/>
                <a:gd name="connsiteY13455" fmla="*/ 1820608 h 3355086"/>
                <a:gd name="connsiteX13456" fmla="*/ 337375 w 3359086"/>
                <a:gd name="connsiteY13456" fmla="*/ 1814417 h 3355086"/>
                <a:gd name="connsiteX13457" fmla="*/ 3017900 w 3359086"/>
                <a:gd name="connsiteY13457" fmla="*/ 1811560 h 3355086"/>
                <a:gd name="connsiteX13458" fmla="*/ 3024091 w 3359086"/>
                <a:gd name="connsiteY13458" fmla="*/ 1817751 h 3355086"/>
                <a:gd name="connsiteX13459" fmla="*/ 3017900 w 3359086"/>
                <a:gd name="connsiteY13459" fmla="*/ 1823943 h 3355086"/>
                <a:gd name="connsiteX13460" fmla="*/ 3011709 w 3359086"/>
                <a:gd name="connsiteY13460" fmla="*/ 1817751 h 3355086"/>
                <a:gd name="connsiteX13461" fmla="*/ 3017900 w 3359086"/>
                <a:gd name="connsiteY13461" fmla="*/ 1811560 h 3355086"/>
                <a:gd name="connsiteX13462" fmla="*/ 295274 w 3359086"/>
                <a:gd name="connsiteY13462" fmla="*/ 1809179 h 3355086"/>
                <a:gd name="connsiteX13463" fmla="*/ 301465 w 3359086"/>
                <a:gd name="connsiteY13463" fmla="*/ 1815370 h 3355086"/>
                <a:gd name="connsiteX13464" fmla="*/ 295274 w 3359086"/>
                <a:gd name="connsiteY13464" fmla="*/ 1821562 h 3355086"/>
                <a:gd name="connsiteX13465" fmla="*/ 289083 w 3359086"/>
                <a:gd name="connsiteY13465" fmla="*/ 1815370 h 3355086"/>
                <a:gd name="connsiteX13466" fmla="*/ 295274 w 3359086"/>
                <a:gd name="connsiteY13466" fmla="*/ 1809179 h 3355086"/>
                <a:gd name="connsiteX13467" fmla="*/ 3057524 w 3359086"/>
                <a:gd name="connsiteY13467" fmla="*/ 1806416 h 3355086"/>
                <a:gd name="connsiteX13468" fmla="*/ 3063715 w 3359086"/>
                <a:gd name="connsiteY13468" fmla="*/ 1812607 h 3355086"/>
                <a:gd name="connsiteX13469" fmla="*/ 3057524 w 3359086"/>
                <a:gd name="connsiteY13469" fmla="*/ 1818799 h 3355086"/>
                <a:gd name="connsiteX13470" fmla="*/ 3051333 w 3359086"/>
                <a:gd name="connsiteY13470" fmla="*/ 1812607 h 3355086"/>
                <a:gd name="connsiteX13471" fmla="*/ 3057524 w 3359086"/>
                <a:gd name="connsiteY13471" fmla="*/ 1806416 h 3355086"/>
                <a:gd name="connsiteX13472" fmla="*/ 3353276 w 3359086"/>
                <a:gd name="connsiteY13472" fmla="*/ 1804321 h 3355086"/>
                <a:gd name="connsiteX13473" fmla="*/ 3354705 w 3359086"/>
                <a:gd name="connsiteY13473" fmla="*/ 1805750 h 3355086"/>
                <a:gd name="connsiteX13474" fmla="*/ 3353276 w 3359086"/>
                <a:gd name="connsiteY13474" fmla="*/ 1807179 h 3355086"/>
                <a:gd name="connsiteX13475" fmla="*/ 3351847 w 3359086"/>
                <a:gd name="connsiteY13475" fmla="*/ 1805750 h 3355086"/>
                <a:gd name="connsiteX13476" fmla="*/ 3353276 w 3359086"/>
                <a:gd name="connsiteY13476" fmla="*/ 1804321 h 3355086"/>
                <a:gd name="connsiteX13477" fmla="*/ 257746 w 3359086"/>
                <a:gd name="connsiteY13477" fmla="*/ 1804130 h 3355086"/>
                <a:gd name="connsiteX13478" fmla="*/ 263937 w 3359086"/>
                <a:gd name="connsiteY13478" fmla="*/ 1810321 h 3355086"/>
                <a:gd name="connsiteX13479" fmla="*/ 257746 w 3359086"/>
                <a:gd name="connsiteY13479" fmla="*/ 1816513 h 3355086"/>
                <a:gd name="connsiteX13480" fmla="*/ 251555 w 3359086"/>
                <a:gd name="connsiteY13480" fmla="*/ 1810321 h 3355086"/>
                <a:gd name="connsiteX13481" fmla="*/ 257746 w 3359086"/>
                <a:gd name="connsiteY13481" fmla="*/ 1804130 h 3355086"/>
                <a:gd name="connsiteX13482" fmla="*/ 3345560 w 3359086"/>
                <a:gd name="connsiteY13482" fmla="*/ 1801940 h 3355086"/>
                <a:gd name="connsiteX13483" fmla="*/ 3351752 w 3359086"/>
                <a:gd name="connsiteY13483" fmla="*/ 1808131 h 3355086"/>
                <a:gd name="connsiteX13484" fmla="*/ 3345560 w 3359086"/>
                <a:gd name="connsiteY13484" fmla="*/ 1814323 h 3355086"/>
                <a:gd name="connsiteX13485" fmla="*/ 3343322 w 3359086"/>
                <a:gd name="connsiteY13485" fmla="*/ 1812085 h 3355086"/>
                <a:gd name="connsiteX13486" fmla="*/ 3338607 w 3359086"/>
                <a:gd name="connsiteY13486" fmla="*/ 1816799 h 3355086"/>
                <a:gd name="connsiteX13487" fmla="*/ 3336845 w 3359086"/>
                <a:gd name="connsiteY13487" fmla="*/ 1815037 h 3355086"/>
                <a:gd name="connsiteX13488" fmla="*/ 3332416 w 3359086"/>
                <a:gd name="connsiteY13488" fmla="*/ 1819465 h 3355086"/>
                <a:gd name="connsiteX13489" fmla="*/ 3331083 w 3359086"/>
                <a:gd name="connsiteY13489" fmla="*/ 1818132 h 3355086"/>
                <a:gd name="connsiteX13490" fmla="*/ 3326891 w 3359086"/>
                <a:gd name="connsiteY13490" fmla="*/ 1822324 h 3355086"/>
                <a:gd name="connsiteX13491" fmla="*/ 3325986 w 3359086"/>
                <a:gd name="connsiteY13491" fmla="*/ 1821419 h 3355086"/>
                <a:gd name="connsiteX13492" fmla="*/ 3322033 w 3359086"/>
                <a:gd name="connsiteY13492" fmla="*/ 1825372 h 3355086"/>
                <a:gd name="connsiteX13493" fmla="*/ 3321461 w 3359086"/>
                <a:gd name="connsiteY13493" fmla="*/ 1824800 h 3355086"/>
                <a:gd name="connsiteX13494" fmla="*/ 3317652 w 3359086"/>
                <a:gd name="connsiteY13494" fmla="*/ 1828610 h 3355086"/>
                <a:gd name="connsiteX13495" fmla="*/ 3317461 w 3359086"/>
                <a:gd name="connsiteY13495" fmla="*/ 1828419 h 3355086"/>
                <a:gd name="connsiteX13496" fmla="*/ 3316366 w 3359086"/>
                <a:gd name="connsiteY13496" fmla="*/ 1829515 h 3355086"/>
                <a:gd name="connsiteX13497" fmla="*/ 3316414 w 3359086"/>
                <a:gd name="connsiteY13497" fmla="*/ 1829562 h 3355086"/>
                <a:gd name="connsiteX13498" fmla="*/ 3312795 w 3359086"/>
                <a:gd name="connsiteY13498" fmla="*/ 1833182 h 3355086"/>
                <a:gd name="connsiteX13499" fmla="*/ 3313175 w 3359086"/>
                <a:gd name="connsiteY13499" fmla="*/ 1833562 h 3355086"/>
                <a:gd name="connsiteX13500" fmla="*/ 3309603 w 3359086"/>
                <a:gd name="connsiteY13500" fmla="*/ 1837135 h 3355086"/>
                <a:gd name="connsiteX13501" fmla="*/ 3310127 w 3359086"/>
                <a:gd name="connsiteY13501" fmla="*/ 1837658 h 3355086"/>
                <a:gd name="connsiteX13502" fmla="*/ 3306508 w 3359086"/>
                <a:gd name="connsiteY13502" fmla="*/ 1841278 h 3355086"/>
                <a:gd name="connsiteX13503" fmla="*/ 3307270 w 3359086"/>
                <a:gd name="connsiteY13503" fmla="*/ 1842040 h 3355086"/>
                <a:gd name="connsiteX13504" fmla="*/ 3303413 w 3359086"/>
                <a:gd name="connsiteY13504" fmla="*/ 1845898 h 3355086"/>
                <a:gd name="connsiteX13505" fmla="*/ 3304222 w 3359086"/>
                <a:gd name="connsiteY13505" fmla="*/ 1846707 h 3355086"/>
                <a:gd name="connsiteX13506" fmla="*/ 3300174 w 3359086"/>
                <a:gd name="connsiteY13506" fmla="*/ 1850756 h 3355086"/>
                <a:gd name="connsiteX13507" fmla="*/ 3301079 w 3359086"/>
                <a:gd name="connsiteY13507" fmla="*/ 1851660 h 3355086"/>
                <a:gd name="connsiteX13508" fmla="*/ 3296792 w 3359086"/>
                <a:gd name="connsiteY13508" fmla="*/ 1855946 h 3355086"/>
                <a:gd name="connsiteX13509" fmla="*/ 3297649 w 3359086"/>
                <a:gd name="connsiteY13509" fmla="*/ 1856803 h 3355086"/>
                <a:gd name="connsiteX13510" fmla="*/ 3292934 w 3359086"/>
                <a:gd name="connsiteY13510" fmla="*/ 1861519 h 3355086"/>
                <a:gd name="connsiteX13511" fmla="*/ 3293744 w 3359086"/>
                <a:gd name="connsiteY13511" fmla="*/ 1862328 h 3355086"/>
                <a:gd name="connsiteX13512" fmla="*/ 3288648 w 3359086"/>
                <a:gd name="connsiteY13512" fmla="*/ 1867425 h 3355086"/>
                <a:gd name="connsiteX13513" fmla="*/ 3289267 w 3359086"/>
                <a:gd name="connsiteY13513" fmla="*/ 1868043 h 3355086"/>
                <a:gd name="connsiteX13514" fmla="*/ 3283552 w 3359086"/>
                <a:gd name="connsiteY13514" fmla="*/ 1873758 h 3355086"/>
                <a:gd name="connsiteX13515" fmla="*/ 3283933 w 3359086"/>
                <a:gd name="connsiteY13515" fmla="*/ 1874139 h 3355086"/>
                <a:gd name="connsiteX13516" fmla="*/ 3277742 w 3359086"/>
                <a:gd name="connsiteY13516" fmla="*/ 1880330 h 3355086"/>
                <a:gd name="connsiteX13517" fmla="*/ 3271551 w 3359086"/>
                <a:gd name="connsiteY13517" fmla="*/ 1874139 h 3355086"/>
                <a:gd name="connsiteX13518" fmla="*/ 3277266 w 3359086"/>
                <a:gd name="connsiteY13518" fmla="*/ 1868424 h 3355086"/>
                <a:gd name="connsiteX13519" fmla="*/ 3276885 w 3359086"/>
                <a:gd name="connsiteY13519" fmla="*/ 1868043 h 3355086"/>
                <a:gd name="connsiteX13520" fmla="*/ 3281981 w 3359086"/>
                <a:gd name="connsiteY13520" fmla="*/ 1862947 h 3355086"/>
                <a:gd name="connsiteX13521" fmla="*/ 3281362 w 3359086"/>
                <a:gd name="connsiteY13521" fmla="*/ 1862328 h 3355086"/>
                <a:gd name="connsiteX13522" fmla="*/ 3286077 w 3359086"/>
                <a:gd name="connsiteY13522" fmla="*/ 1857613 h 3355086"/>
                <a:gd name="connsiteX13523" fmla="*/ 3285267 w 3359086"/>
                <a:gd name="connsiteY13523" fmla="*/ 1856803 h 3355086"/>
                <a:gd name="connsiteX13524" fmla="*/ 3289553 w 3359086"/>
                <a:gd name="connsiteY13524" fmla="*/ 1852517 h 3355086"/>
                <a:gd name="connsiteX13525" fmla="*/ 3288696 w 3359086"/>
                <a:gd name="connsiteY13525" fmla="*/ 1851660 h 3355086"/>
                <a:gd name="connsiteX13526" fmla="*/ 3292744 w 3359086"/>
                <a:gd name="connsiteY13526" fmla="*/ 1847612 h 3355086"/>
                <a:gd name="connsiteX13527" fmla="*/ 3291840 w 3359086"/>
                <a:gd name="connsiteY13527" fmla="*/ 1846707 h 3355086"/>
                <a:gd name="connsiteX13528" fmla="*/ 3295697 w 3359086"/>
                <a:gd name="connsiteY13528" fmla="*/ 1842850 h 3355086"/>
                <a:gd name="connsiteX13529" fmla="*/ 3294888 w 3359086"/>
                <a:gd name="connsiteY13529" fmla="*/ 1842040 h 3355086"/>
                <a:gd name="connsiteX13530" fmla="*/ 3298507 w 3359086"/>
                <a:gd name="connsiteY13530" fmla="*/ 1838421 h 3355086"/>
                <a:gd name="connsiteX13531" fmla="*/ 3297745 w 3359086"/>
                <a:gd name="connsiteY13531" fmla="*/ 1837658 h 3355086"/>
                <a:gd name="connsiteX13532" fmla="*/ 3301317 w 3359086"/>
                <a:gd name="connsiteY13532" fmla="*/ 1834086 h 3355086"/>
                <a:gd name="connsiteX13533" fmla="*/ 3300793 w 3359086"/>
                <a:gd name="connsiteY13533" fmla="*/ 1833562 h 3355086"/>
                <a:gd name="connsiteX13534" fmla="*/ 3304412 w 3359086"/>
                <a:gd name="connsiteY13534" fmla="*/ 1829943 h 3355086"/>
                <a:gd name="connsiteX13535" fmla="*/ 3304032 w 3359086"/>
                <a:gd name="connsiteY13535" fmla="*/ 1829562 h 3355086"/>
                <a:gd name="connsiteX13536" fmla="*/ 3307604 w 3359086"/>
                <a:gd name="connsiteY13536" fmla="*/ 1825990 h 3355086"/>
                <a:gd name="connsiteX13537" fmla="*/ 3307556 w 3359086"/>
                <a:gd name="connsiteY13537" fmla="*/ 1825942 h 3355086"/>
                <a:gd name="connsiteX13538" fmla="*/ 3313747 w 3359086"/>
                <a:gd name="connsiteY13538" fmla="*/ 1819751 h 3355086"/>
                <a:gd name="connsiteX13539" fmla="*/ 3313937 w 3359086"/>
                <a:gd name="connsiteY13539" fmla="*/ 1819942 h 3355086"/>
                <a:gd name="connsiteX13540" fmla="*/ 3317652 w 3359086"/>
                <a:gd name="connsiteY13540" fmla="*/ 1816227 h 3355086"/>
                <a:gd name="connsiteX13541" fmla="*/ 3318223 w 3359086"/>
                <a:gd name="connsiteY13541" fmla="*/ 1816799 h 3355086"/>
                <a:gd name="connsiteX13542" fmla="*/ 3322033 w 3359086"/>
                <a:gd name="connsiteY13542" fmla="*/ 1812989 h 3355086"/>
                <a:gd name="connsiteX13543" fmla="*/ 3322938 w 3359086"/>
                <a:gd name="connsiteY13543" fmla="*/ 1813894 h 3355086"/>
                <a:gd name="connsiteX13544" fmla="*/ 3326891 w 3359086"/>
                <a:gd name="connsiteY13544" fmla="*/ 1809941 h 3355086"/>
                <a:gd name="connsiteX13545" fmla="*/ 3328225 w 3359086"/>
                <a:gd name="connsiteY13545" fmla="*/ 1811275 h 3355086"/>
                <a:gd name="connsiteX13546" fmla="*/ 3332416 w 3359086"/>
                <a:gd name="connsiteY13546" fmla="*/ 1807083 h 3355086"/>
                <a:gd name="connsiteX13547" fmla="*/ 3334178 w 3359086"/>
                <a:gd name="connsiteY13547" fmla="*/ 1808845 h 3355086"/>
                <a:gd name="connsiteX13548" fmla="*/ 3338607 w 3359086"/>
                <a:gd name="connsiteY13548" fmla="*/ 1804416 h 3355086"/>
                <a:gd name="connsiteX13549" fmla="*/ 3340846 w 3359086"/>
                <a:gd name="connsiteY13549" fmla="*/ 1806655 h 3355086"/>
                <a:gd name="connsiteX13550" fmla="*/ 3092767 w 3359086"/>
                <a:gd name="connsiteY13550" fmla="*/ 1801463 h 3355086"/>
                <a:gd name="connsiteX13551" fmla="*/ 3098959 w 3359086"/>
                <a:gd name="connsiteY13551" fmla="*/ 1807654 h 3355086"/>
                <a:gd name="connsiteX13552" fmla="*/ 3092767 w 3359086"/>
                <a:gd name="connsiteY13552" fmla="*/ 1813846 h 3355086"/>
                <a:gd name="connsiteX13553" fmla="*/ 3086576 w 3359086"/>
                <a:gd name="connsiteY13553" fmla="*/ 1807654 h 3355086"/>
                <a:gd name="connsiteX13554" fmla="*/ 3092767 w 3359086"/>
                <a:gd name="connsiteY13554" fmla="*/ 1801463 h 3355086"/>
                <a:gd name="connsiteX13555" fmla="*/ 224408 w 3359086"/>
                <a:gd name="connsiteY13555" fmla="*/ 1799273 h 3355086"/>
                <a:gd name="connsiteX13556" fmla="*/ 230599 w 3359086"/>
                <a:gd name="connsiteY13556" fmla="*/ 1805464 h 3355086"/>
                <a:gd name="connsiteX13557" fmla="*/ 224408 w 3359086"/>
                <a:gd name="connsiteY13557" fmla="*/ 1811656 h 3355086"/>
                <a:gd name="connsiteX13558" fmla="*/ 218217 w 3359086"/>
                <a:gd name="connsiteY13558" fmla="*/ 1805464 h 3355086"/>
                <a:gd name="connsiteX13559" fmla="*/ 224408 w 3359086"/>
                <a:gd name="connsiteY13559" fmla="*/ 1799273 h 3355086"/>
                <a:gd name="connsiteX13560" fmla="*/ 3124009 w 3359086"/>
                <a:gd name="connsiteY13560" fmla="*/ 1796701 h 3355086"/>
                <a:gd name="connsiteX13561" fmla="*/ 3130201 w 3359086"/>
                <a:gd name="connsiteY13561" fmla="*/ 1802892 h 3355086"/>
                <a:gd name="connsiteX13562" fmla="*/ 3124009 w 3359086"/>
                <a:gd name="connsiteY13562" fmla="*/ 1809084 h 3355086"/>
                <a:gd name="connsiteX13563" fmla="*/ 3117818 w 3359086"/>
                <a:gd name="connsiteY13563" fmla="*/ 1802892 h 3355086"/>
                <a:gd name="connsiteX13564" fmla="*/ 3124009 w 3359086"/>
                <a:gd name="connsiteY13564" fmla="*/ 1796701 h 3355086"/>
                <a:gd name="connsiteX13565" fmla="*/ 194881 w 3359086"/>
                <a:gd name="connsiteY13565" fmla="*/ 1794605 h 3355086"/>
                <a:gd name="connsiteX13566" fmla="*/ 201073 w 3359086"/>
                <a:gd name="connsiteY13566" fmla="*/ 1800796 h 3355086"/>
                <a:gd name="connsiteX13567" fmla="*/ 194881 w 3359086"/>
                <a:gd name="connsiteY13567" fmla="*/ 1806988 h 3355086"/>
                <a:gd name="connsiteX13568" fmla="*/ 188690 w 3359086"/>
                <a:gd name="connsiteY13568" fmla="*/ 1800796 h 3355086"/>
                <a:gd name="connsiteX13569" fmla="*/ 194881 w 3359086"/>
                <a:gd name="connsiteY13569" fmla="*/ 1794605 h 3355086"/>
                <a:gd name="connsiteX13570" fmla="*/ 3151631 w 3359086"/>
                <a:gd name="connsiteY13570" fmla="*/ 1792129 h 3355086"/>
                <a:gd name="connsiteX13571" fmla="*/ 3157822 w 3359086"/>
                <a:gd name="connsiteY13571" fmla="*/ 1798320 h 3355086"/>
                <a:gd name="connsiteX13572" fmla="*/ 3151631 w 3359086"/>
                <a:gd name="connsiteY13572" fmla="*/ 1804512 h 3355086"/>
                <a:gd name="connsiteX13573" fmla="*/ 3145440 w 3359086"/>
                <a:gd name="connsiteY13573" fmla="*/ 1798320 h 3355086"/>
                <a:gd name="connsiteX13574" fmla="*/ 3151631 w 3359086"/>
                <a:gd name="connsiteY13574" fmla="*/ 1792129 h 3355086"/>
                <a:gd name="connsiteX13575" fmla="*/ 168877 w 3359086"/>
                <a:gd name="connsiteY13575" fmla="*/ 1790129 h 3355086"/>
                <a:gd name="connsiteX13576" fmla="*/ 175068 w 3359086"/>
                <a:gd name="connsiteY13576" fmla="*/ 1796320 h 3355086"/>
                <a:gd name="connsiteX13577" fmla="*/ 168877 w 3359086"/>
                <a:gd name="connsiteY13577" fmla="*/ 1802512 h 3355086"/>
                <a:gd name="connsiteX13578" fmla="*/ 162686 w 3359086"/>
                <a:gd name="connsiteY13578" fmla="*/ 1796320 h 3355086"/>
                <a:gd name="connsiteX13579" fmla="*/ 168877 w 3359086"/>
                <a:gd name="connsiteY13579" fmla="*/ 1790129 h 3355086"/>
                <a:gd name="connsiteX13580" fmla="*/ 3175825 w 3359086"/>
                <a:gd name="connsiteY13580" fmla="*/ 1787843 h 3355086"/>
                <a:gd name="connsiteX13581" fmla="*/ 3182017 w 3359086"/>
                <a:gd name="connsiteY13581" fmla="*/ 1794034 h 3355086"/>
                <a:gd name="connsiteX13582" fmla="*/ 3175825 w 3359086"/>
                <a:gd name="connsiteY13582" fmla="*/ 1800226 h 3355086"/>
                <a:gd name="connsiteX13583" fmla="*/ 3169634 w 3359086"/>
                <a:gd name="connsiteY13583" fmla="*/ 1794034 h 3355086"/>
                <a:gd name="connsiteX13584" fmla="*/ 3175825 w 3359086"/>
                <a:gd name="connsiteY13584" fmla="*/ 1787843 h 3355086"/>
                <a:gd name="connsiteX13585" fmla="*/ 146208 w 3359086"/>
                <a:gd name="connsiteY13585" fmla="*/ 1785842 h 3355086"/>
                <a:gd name="connsiteX13586" fmla="*/ 152400 w 3359086"/>
                <a:gd name="connsiteY13586" fmla="*/ 1792033 h 3355086"/>
                <a:gd name="connsiteX13587" fmla="*/ 146208 w 3359086"/>
                <a:gd name="connsiteY13587" fmla="*/ 1798225 h 3355086"/>
                <a:gd name="connsiteX13588" fmla="*/ 140017 w 3359086"/>
                <a:gd name="connsiteY13588" fmla="*/ 1792033 h 3355086"/>
                <a:gd name="connsiteX13589" fmla="*/ 146208 w 3359086"/>
                <a:gd name="connsiteY13589" fmla="*/ 1785842 h 3355086"/>
                <a:gd name="connsiteX13590" fmla="*/ 3196875 w 3359086"/>
                <a:gd name="connsiteY13590" fmla="*/ 1783652 h 3355086"/>
                <a:gd name="connsiteX13591" fmla="*/ 3203066 w 3359086"/>
                <a:gd name="connsiteY13591" fmla="*/ 1789843 h 3355086"/>
                <a:gd name="connsiteX13592" fmla="*/ 3196875 w 3359086"/>
                <a:gd name="connsiteY13592" fmla="*/ 1796035 h 3355086"/>
                <a:gd name="connsiteX13593" fmla="*/ 3190684 w 3359086"/>
                <a:gd name="connsiteY13593" fmla="*/ 1789843 h 3355086"/>
                <a:gd name="connsiteX13594" fmla="*/ 3196875 w 3359086"/>
                <a:gd name="connsiteY13594" fmla="*/ 1783652 h 3355086"/>
                <a:gd name="connsiteX13595" fmla="*/ 126396 w 3359086"/>
                <a:gd name="connsiteY13595" fmla="*/ 1781747 h 3355086"/>
                <a:gd name="connsiteX13596" fmla="*/ 132588 w 3359086"/>
                <a:gd name="connsiteY13596" fmla="*/ 1787938 h 3355086"/>
                <a:gd name="connsiteX13597" fmla="*/ 126396 w 3359086"/>
                <a:gd name="connsiteY13597" fmla="*/ 1794130 h 3355086"/>
                <a:gd name="connsiteX13598" fmla="*/ 120205 w 3359086"/>
                <a:gd name="connsiteY13598" fmla="*/ 1787938 h 3355086"/>
                <a:gd name="connsiteX13599" fmla="*/ 126396 w 3359086"/>
                <a:gd name="connsiteY13599" fmla="*/ 1781747 h 3355086"/>
                <a:gd name="connsiteX13600" fmla="*/ 3215258 w 3359086"/>
                <a:gd name="connsiteY13600" fmla="*/ 1779651 h 3355086"/>
                <a:gd name="connsiteX13601" fmla="*/ 3221449 w 3359086"/>
                <a:gd name="connsiteY13601" fmla="*/ 1785842 h 3355086"/>
                <a:gd name="connsiteX13602" fmla="*/ 3215258 w 3359086"/>
                <a:gd name="connsiteY13602" fmla="*/ 1792034 h 3355086"/>
                <a:gd name="connsiteX13603" fmla="*/ 3209067 w 3359086"/>
                <a:gd name="connsiteY13603" fmla="*/ 1785842 h 3355086"/>
                <a:gd name="connsiteX13604" fmla="*/ 3215258 w 3359086"/>
                <a:gd name="connsiteY13604" fmla="*/ 1779651 h 3355086"/>
                <a:gd name="connsiteX13605" fmla="*/ 109346 w 3359086"/>
                <a:gd name="connsiteY13605" fmla="*/ 1777841 h 3355086"/>
                <a:gd name="connsiteX13606" fmla="*/ 115538 w 3359086"/>
                <a:gd name="connsiteY13606" fmla="*/ 1784032 h 3355086"/>
                <a:gd name="connsiteX13607" fmla="*/ 109346 w 3359086"/>
                <a:gd name="connsiteY13607" fmla="*/ 1790224 h 3355086"/>
                <a:gd name="connsiteX13608" fmla="*/ 103155 w 3359086"/>
                <a:gd name="connsiteY13608" fmla="*/ 1784032 h 3355086"/>
                <a:gd name="connsiteX13609" fmla="*/ 109346 w 3359086"/>
                <a:gd name="connsiteY13609" fmla="*/ 1777841 h 3355086"/>
                <a:gd name="connsiteX13610" fmla="*/ 3231070 w 3359086"/>
                <a:gd name="connsiteY13610" fmla="*/ 1775841 h 3355086"/>
                <a:gd name="connsiteX13611" fmla="*/ 3237261 w 3359086"/>
                <a:gd name="connsiteY13611" fmla="*/ 1782032 h 3355086"/>
                <a:gd name="connsiteX13612" fmla="*/ 3231070 w 3359086"/>
                <a:gd name="connsiteY13612" fmla="*/ 1788224 h 3355086"/>
                <a:gd name="connsiteX13613" fmla="*/ 3224879 w 3359086"/>
                <a:gd name="connsiteY13613" fmla="*/ 1782032 h 3355086"/>
                <a:gd name="connsiteX13614" fmla="*/ 3231070 w 3359086"/>
                <a:gd name="connsiteY13614" fmla="*/ 1775841 h 3355086"/>
                <a:gd name="connsiteX13615" fmla="*/ 94582 w 3359086"/>
                <a:gd name="connsiteY13615" fmla="*/ 1774127 h 3355086"/>
                <a:gd name="connsiteX13616" fmla="*/ 100774 w 3359086"/>
                <a:gd name="connsiteY13616" fmla="*/ 1780318 h 3355086"/>
                <a:gd name="connsiteX13617" fmla="*/ 94582 w 3359086"/>
                <a:gd name="connsiteY13617" fmla="*/ 1786510 h 3355086"/>
                <a:gd name="connsiteX13618" fmla="*/ 88391 w 3359086"/>
                <a:gd name="connsiteY13618" fmla="*/ 1780318 h 3355086"/>
                <a:gd name="connsiteX13619" fmla="*/ 94582 w 3359086"/>
                <a:gd name="connsiteY13619" fmla="*/ 1774127 h 3355086"/>
                <a:gd name="connsiteX13620" fmla="*/ 7620 w 3359086"/>
                <a:gd name="connsiteY13620" fmla="*/ 1773936 h 3355086"/>
                <a:gd name="connsiteX13621" fmla="*/ 10239 w 3359086"/>
                <a:gd name="connsiteY13621" fmla="*/ 1776555 h 3355086"/>
                <a:gd name="connsiteX13622" fmla="*/ 11810 w 3359086"/>
                <a:gd name="connsiteY13622" fmla="*/ 1774984 h 3355086"/>
                <a:gd name="connsiteX13623" fmla="*/ 14954 w 3359086"/>
                <a:gd name="connsiteY13623" fmla="*/ 1778128 h 3355086"/>
                <a:gd name="connsiteX13624" fmla="*/ 15525 w 3359086"/>
                <a:gd name="connsiteY13624" fmla="*/ 1777556 h 3355086"/>
                <a:gd name="connsiteX13625" fmla="*/ 18478 w 3359086"/>
                <a:gd name="connsiteY13625" fmla="*/ 1780509 h 3355086"/>
                <a:gd name="connsiteX13626" fmla="*/ 18764 w 3359086"/>
                <a:gd name="connsiteY13626" fmla="*/ 1780223 h 3355086"/>
                <a:gd name="connsiteX13627" fmla="*/ 21716 w 3359086"/>
                <a:gd name="connsiteY13627" fmla="*/ 1783175 h 3355086"/>
                <a:gd name="connsiteX13628" fmla="*/ 21811 w 3359086"/>
                <a:gd name="connsiteY13628" fmla="*/ 1783080 h 3355086"/>
                <a:gd name="connsiteX13629" fmla="*/ 28003 w 3359086"/>
                <a:gd name="connsiteY13629" fmla="*/ 1789271 h 3355086"/>
                <a:gd name="connsiteX13630" fmla="*/ 27908 w 3359086"/>
                <a:gd name="connsiteY13630" fmla="*/ 1789366 h 3355086"/>
                <a:gd name="connsiteX13631" fmla="*/ 30766 w 3359086"/>
                <a:gd name="connsiteY13631" fmla="*/ 1792224 h 3355086"/>
                <a:gd name="connsiteX13632" fmla="*/ 30528 w 3359086"/>
                <a:gd name="connsiteY13632" fmla="*/ 1792462 h 3355086"/>
                <a:gd name="connsiteX13633" fmla="*/ 33528 w 3359086"/>
                <a:gd name="connsiteY13633" fmla="*/ 1795462 h 3355086"/>
                <a:gd name="connsiteX13634" fmla="*/ 33242 w 3359086"/>
                <a:gd name="connsiteY13634" fmla="*/ 1795748 h 3355086"/>
                <a:gd name="connsiteX13635" fmla="*/ 36290 w 3359086"/>
                <a:gd name="connsiteY13635" fmla="*/ 1798796 h 3355086"/>
                <a:gd name="connsiteX13636" fmla="*/ 35909 w 3359086"/>
                <a:gd name="connsiteY13636" fmla="*/ 1799178 h 3355086"/>
                <a:gd name="connsiteX13637" fmla="*/ 39148 w 3359086"/>
                <a:gd name="connsiteY13637" fmla="*/ 1802416 h 3355086"/>
                <a:gd name="connsiteX13638" fmla="*/ 38909 w 3359086"/>
                <a:gd name="connsiteY13638" fmla="*/ 1802655 h 3355086"/>
                <a:gd name="connsiteX13639" fmla="*/ 42385 w 3359086"/>
                <a:gd name="connsiteY13639" fmla="*/ 1806131 h 3355086"/>
                <a:gd name="connsiteX13640" fmla="*/ 42242 w 3359086"/>
                <a:gd name="connsiteY13640" fmla="*/ 1806274 h 3355086"/>
                <a:gd name="connsiteX13641" fmla="*/ 44148 w 3359086"/>
                <a:gd name="connsiteY13641" fmla="*/ 1808178 h 3355086"/>
                <a:gd name="connsiteX13642" fmla="*/ 44195 w 3359086"/>
                <a:gd name="connsiteY13642" fmla="*/ 1808131 h 3355086"/>
                <a:gd name="connsiteX13643" fmla="*/ 48910 w 3359086"/>
                <a:gd name="connsiteY13643" fmla="*/ 1812846 h 3355086"/>
                <a:gd name="connsiteX13644" fmla="*/ 49148 w 3359086"/>
                <a:gd name="connsiteY13644" fmla="*/ 1812608 h 3355086"/>
                <a:gd name="connsiteX13645" fmla="*/ 54482 w 3359086"/>
                <a:gd name="connsiteY13645" fmla="*/ 1817942 h 3355086"/>
                <a:gd name="connsiteX13646" fmla="*/ 55149 w 3359086"/>
                <a:gd name="connsiteY13646" fmla="*/ 1817275 h 3355086"/>
                <a:gd name="connsiteX13647" fmla="*/ 61150 w 3359086"/>
                <a:gd name="connsiteY13647" fmla="*/ 1823276 h 3355086"/>
                <a:gd name="connsiteX13648" fmla="*/ 62293 w 3359086"/>
                <a:gd name="connsiteY13648" fmla="*/ 1822133 h 3355086"/>
                <a:gd name="connsiteX13649" fmla="*/ 68485 w 3359086"/>
                <a:gd name="connsiteY13649" fmla="*/ 1828324 h 3355086"/>
                <a:gd name="connsiteX13650" fmla="*/ 62293 w 3359086"/>
                <a:gd name="connsiteY13650" fmla="*/ 1834516 h 3355086"/>
                <a:gd name="connsiteX13651" fmla="*/ 56292 w 3359086"/>
                <a:gd name="connsiteY13651" fmla="*/ 1828515 h 3355086"/>
                <a:gd name="connsiteX13652" fmla="*/ 55149 w 3359086"/>
                <a:gd name="connsiteY13652" fmla="*/ 1829658 h 3355086"/>
                <a:gd name="connsiteX13653" fmla="*/ 49815 w 3359086"/>
                <a:gd name="connsiteY13653" fmla="*/ 1824324 h 3355086"/>
                <a:gd name="connsiteX13654" fmla="*/ 49148 w 3359086"/>
                <a:gd name="connsiteY13654" fmla="*/ 1824991 h 3355086"/>
                <a:gd name="connsiteX13655" fmla="*/ 44433 w 3359086"/>
                <a:gd name="connsiteY13655" fmla="*/ 1820275 h 3355086"/>
                <a:gd name="connsiteX13656" fmla="*/ 44195 w 3359086"/>
                <a:gd name="connsiteY13656" fmla="*/ 1820513 h 3355086"/>
                <a:gd name="connsiteX13657" fmla="*/ 39956 w 3359086"/>
                <a:gd name="connsiteY13657" fmla="*/ 1816275 h 3355086"/>
                <a:gd name="connsiteX13658" fmla="*/ 39909 w 3359086"/>
                <a:gd name="connsiteY13658" fmla="*/ 1816322 h 3355086"/>
                <a:gd name="connsiteX13659" fmla="*/ 33718 w 3359086"/>
                <a:gd name="connsiteY13659" fmla="*/ 1810131 h 3355086"/>
                <a:gd name="connsiteX13660" fmla="*/ 33860 w 3359086"/>
                <a:gd name="connsiteY13660" fmla="*/ 1809989 h 3355086"/>
                <a:gd name="connsiteX13661" fmla="*/ 30003 w 3359086"/>
                <a:gd name="connsiteY13661" fmla="*/ 1806131 h 3355086"/>
                <a:gd name="connsiteX13662" fmla="*/ 30241 w 3359086"/>
                <a:gd name="connsiteY13662" fmla="*/ 1805893 h 3355086"/>
                <a:gd name="connsiteX13663" fmla="*/ 26765 w 3359086"/>
                <a:gd name="connsiteY13663" fmla="*/ 1802416 h 3355086"/>
                <a:gd name="connsiteX13664" fmla="*/ 27146 w 3359086"/>
                <a:gd name="connsiteY13664" fmla="*/ 1802036 h 3355086"/>
                <a:gd name="connsiteX13665" fmla="*/ 23907 w 3359086"/>
                <a:gd name="connsiteY13665" fmla="*/ 1798796 h 3355086"/>
                <a:gd name="connsiteX13666" fmla="*/ 24193 w 3359086"/>
                <a:gd name="connsiteY13666" fmla="*/ 1798510 h 3355086"/>
                <a:gd name="connsiteX13667" fmla="*/ 21145 w 3359086"/>
                <a:gd name="connsiteY13667" fmla="*/ 1795462 h 3355086"/>
                <a:gd name="connsiteX13668" fmla="*/ 21383 w 3359086"/>
                <a:gd name="connsiteY13668" fmla="*/ 1795224 h 3355086"/>
                <a:gd name="connsiteX13669" fmla="*/ 18764 w 3359086"/>
                <a:gd name="connsiteY13669" fmla="*/ 1792606 h 3355086"/>
                <a:gd name="connsiteX13670" fmla="*/ 18764 w 3359086"/>
                <a:gd name="connsiteY13670" fmla="*/ 1792606 h 3355086"/>
                <a:gd name="connsiteX13671" fmla="*/ 15811 w 3359086"/>
                <a:gd name="connsiteY13671" fmla="*/ 1789653 h 3355086"/>
                <a:gd name="connsiteX13672" fmla="*/ 15525 w 3359086"/>
                <a:gd name="connsiteY13672" fmla="*/ 1789939 h 3355086"/>
                <a:gd name="connsiteX13673" fmla="*/ 12382 w 3359086"/>
                <a:gd name="connsiteY13673" fmla="*/ 1786795 h 3355086"/>
                <a:gd name="connsiteX13674" fmla="*/ 11810 w 3359086"/>
                <a:gd name="connsiteY13674" fmla="*/ 1787367 h 3355086"/>
                <a:gd name="connsiteX13675" fmla="*/ 7858 w 3359086"/>
                <a:gd name="connsiteY13675" fmla="*/ 1783414 h 3355086"/>
                <a:gd name="connsiteX13676" fmla="*/ 7620 w 3359086"/>
                <a:gd name="connsiteY13676" fmla="*/ 1783652 h 3355086"/>
                <a:gd name="connsiteX13677" fmla="*/ 2762 w 3359086"/>
                <a:gd name="connsiteY13677" fmla="*/ 1778794 h 3355086"/>
                <a:gd name="connsiteX13678" fmla="*/ 7620 w 3359086"/>
                <a:gd name="connsiteY13678" fmla="*/ 1773936 h 3355086"/>
                <a:gd name="connsiteX13679" fmla="*/ 3244595 w 3359086"/>
                <a:gd name="connsiteY13679" fmla="*/ 1772222 h 3355086"/>
                <a:gd name="connsiteX13680" fmla="*/ 3250787 w 3359086"/>
                <a:gd name="connsiteY13680" fmla="*/ 1778413 h 3355086"/>
                <a:gd name="connsiteX13681" fmla="*/ 3244595 w 3359086"/>
                <a:gd name="connsiteY13681" fmla="*/ 1784605 h 3355086"/>
                <a:gd name="connsiteX13682" fmla="*/ 3238404 w 3359086"/>
                <a:gd name="connsiteY13682" fmla="*/ 1778413 h 3355086"/>
                <a:gd name="connsiteX13683" fmla="*/ 3244595 w 3359086"/>
                <a:gd name="connsiteY13683" fmla="*/ 1772222 h 3355086"/>
                <a:gd name="connsiteX13684" fmla="*/ 82010 w 3359086"/>
                <a:gd name="connsiteY13684" fmla="*/ 1770603 h 3355086"/>
                <a:gd name="connsiteX13685" fmla="*/ 88202 w 3359086"/>
                <a:gd name="connsiteY13685" fmla="*/ 1776794 h 3355086"/>
                <a:gd name="connsiteX13686" fmla="*/ 82010 w 3359086"/>
                <a:gd name="connsiteY13686" fmla="*/ 1782985 h 3355086"/>
                <a:gd name="connsiteX13687" fmla="*/ 75819 w 3359086"/>
                <a:gd name="connsiteY13687" fmla="*/ 1776794 h 3355086"/>
                <a:gd name="connsiteX13688" fmla="*/ 82010 w 3359086"/>
                <a:gd name="connsiteY13688" fmla="*/ 1770603 h 3355086"/>
                <a:gd name="connsiteX13689" fmla="*/ 3256121 w 3359086"/>
                <a:gd name="connsiteY13689" fmla="*/ 1768697 h 3355086"/>
                <a:gd name="connsiteX13690" fmla="*/ 3262312 w 3359086"/>
                <a:gd name="connsiteY13690" fmla="*/ 1774888 h 3355086"/>
                <a:gd name="connsiteX13691" fmla="*/ 3256121 w 3359086"/>
                <a:gd name="connsiteY13691" fmla="*/ 1781080 h 3355086"/>
                <a:gd name="connsiteX13692" fmla="*/ 3249930 w 3359086"/>
                <a:gd name="connsiteY13692" fmla="*/ 1774888 h 3355086"/>
                <a:gd name="connsiteX13693" fmla="*/ 3256121 w 3359086"/>
                <a:gd name="connsiteY13693" fmla="*/ 1768697 h 3355086"/>
                <a:gd name="connsiteX13694" fmla="*/ 3351276 w 3359086"/>
                <a:gd name="connsiteY13694" fmla="*/ 1764983 h 3355086"/>
                <a:gd name="connsiteX13695" fmla="*/ 3356134 w 3359086"/>
                <a:gd name="connsiteY13695" fmla="*/ 1769841 h 3355086"/>
                <a:gd name="connsiteX13696" fmla="*/ 3351276 w 3359086"/>
                <a:gd name="connsiteY13696" fmla="*/ 1774698 h 3355086"/>
                <a:gd name="connsiteX13697" fmla="*/ 3349275 w 3359086"/>
                <a:gd name="connsiteY13697" fmla="*/ 1772698 h 3355086"/>
                <a:gd name="connsiteX13698" fmla="*/ 3344132 w 3359086"/>
                <a:gd name="connsiteY13698" fmla="*/ 1777842 h 3355086"/>
                <a:gd name="connsiteX13699" fmla="*/ 3341846 w 3359086"/>
                <a:gd name="connsiteY13699" fmla="*/ 1775556 h 3355086"/>
                <a:gd name="connsiteX13700" fmla="*/ 3337750 w 3359086"/>
                <a:gd name="connsiteY13700" fmla="*/ 1779652 h 3355086"/>
                <a:gd name="connsiteX13701" fmla="*/ 3335892 w 3359086"/>
                <a:gd name="connsiteY13701" fmla="*/ 1777794 h 3355086"/>
                <a:gd name="connsiteX13702" fmla="*/ 3332035 w 3359086"/>
                <a:gd name="connsiteY13702" fmla="*/ 1781651 h 3355086"/>
                <a:gd name="connsiteX13703" fmla="*/ 3330607 w 3359086"/>
                <a:gd name="connsiteY13703" fmla="*/ 1780223 h 3355086"/>
                <a:gd name="connsiteX13704" fmla="*/ 3326987 w 3359086"/>
                <a:gd name="connsiteY13704" fmla="*/ 1783843 h 3355086"/>
                <a:gd name="connsiteX13705" fmla="*/ 3325891 w 3359086"/>
                <a:gd name="connsiteY13705" fmla="*/ 1782747 h 3355086"/>
                <a:gd name="connsiteX13706" fmla="*/ 3322510 w 3359086"/>
                <a:gd name="connsiteY13706" fmla="*/ 1786128 h 3355086"/>
                <a:gd name="connsiteX13707" fmla="*/ 3321748 w 3359086"/>
                <a:gd name="connsiteY13707" fmla="*/ 1785366 h 3355086"/>
                <a:gd name="connsiteX13708" fmla="*/ 3318605 w 3359086"/>
                <a:gd name="connsiteY13708" fmla="*/ 1788509 h 3355086"/>
                <a:gd name="connsiteX13709" fmla="*/ 3318176 w 3359086"/>
                <a:gd name="connsiteY13709" fmla="*/ 1788080 h 3355086"/>
                <a:gd name="connsiteX13710" fmla="*/ 3315080 w 3359086"/>
                <a:gd name="connsiteY13710" fmla="*/ 1791176 h 3355086"/>
                <a:gd name="connsiteX13711" fmla="*/ 3314890 w 3359086"/>
                <a:gd name="connsiteY13711" fmla="*/ 1790986 h 3355086"/>
                <a:gd name="connsiteX13712" fmla="*/ 3312318 w 3359086"/>
                <a:gd name="connsiteY13712" fmla="*/ 1793558 h 3355086"/>
                <a:gd name="connsiteX13713" fmla="*/ 3312508 w 3359086"/>
                <a:gd name="connsiteY13713" fmla="*/ 1793748 h 3355086"/>
                <a:gd name="connsiteX13714" fmla="*/ 3309508 w 3359086"/>
                <a:gd name="connsiteY13714" fmla="*/ 1796749 h 3355086"/>
                <a:gd name="connsiteX13715" fmla="*/ 3309747 w 3359086"/>
                <a:gd name="connsiteY13715" fmla="*/ 1796987 h 3355086"/>
                <a:gd name="connsiteX13716" fmla="*/ 3306651 w 3359086"/>
                <a:gd name="connsiteY13716" fmla="*/ 1800083 h 3355086"/>
                <a:gd name="connsiteX13717" fmla="*/ 3306984 w 3359086"/>
                <a:gd name="connsiteY13717" fmla="*/ 1800416 h 3355086"/>
                <a:gd name="connsiteX13718" fmla="*/ 3303603 w 3359086"/>
                <a:gd name="connsiteY13718" fmla="*/ 1803798 h 3355086"/>
                <a:gd name="connsiteX13719" fmla="*/ 3303936 w 3359086"/>
                <a:gd name="connsiteY13719" fmla="*/ 1804130 h 3355086"/>
                <a:gd name="connsiteX13720" fmla="*/ 3300269 w 3359086"/>
                <a:gd name="connsiteY13720" fmla="*/ 1807798 h 3355086"/>
                <a:gd name="connsiteX13721" fmla="*/ 3300508 w 3359086"/>
                <a:gd name="connsiteY13721" fmla="*/ 1808036 h 3355086"/>
                <a:gd name="connsiteX13722" fmla="*/ 3296555 w 3359086"/>
                <a:gd name="connsiteY13722" fmla="*/ 1811989 h 3355086"/>
                <a:gd name="connsiteX13723" fmla="*/ 3296602 w 3359086"/>
                <a:gd name="connsiteY13723" fmla="*/ 1812036 h 3355086"/>
                <a:gd name="connsiteX13724" fmla="*/ 3290410 w 3359086"/>
                <a:gd name="connsiteY13724" fmla="*/ 1818228 h 3355086"/>
                <a:gd name="connsiteX13725" fmla="*/ 3290267 w 3359086"/>
                <a:gd name="connsiteY13725" fmla="*/ 1818085 h 3355086"/>
                <a:gd name="connsiteX13726" fmla="*/ 3285743 w 3359086"/>
                <a:gd name="connsiteY13726" fmla="*/ 1822609 h 3355086"/>
                <a:gd name="connsiteX13727" fmla="*/ 3285267 w 3359086"/>
                <a:gd name="connsiteY13727" fmla="*/ 1822133 h 3355086"/>
                <a:gd name="connsiteX13728" fmla="*/ 3280314 w 3359086"/>
                <a:gd name="connsiteY13728" fmla="*/ 1827086 h 3355086"/>
                <a:gd name="connsiteX13729" fmla="*/ 3279457 w 3359086"/>
                <a:gd name="connsiteY13729" fmla="*/ 1826229 h 3355086"/>
                <a:gd name="connsiteX13730" fmla="*/ 3273837 w 3359086"/>
                <a:gd name="connsiteY13730" fmla="*/ 1831849 h 3355086"/>
                <a:gd name="connsiteX13731" fmla="*/ 3267646 w 3359086"/>
                <a:gd name="connsiteY13731" fmla="*/ 1825657 h 3355086"/>
                <a:gd name="connsiteX13732" fmla="*/ 3273837 w 3359086"/>
                <a:gd name="connsiteY13732" fmla="*/ 1819466 h 3355086"/>
                <a:gd name="connsiteX13733" fmla="*/ 3274694 w 3359086"/>
                <a:gd name="connsiteY13733" fmla="*/ 1820323 h 3355086"/>
                <a:gd name="connsiteX13734" fmla="*/ 3280314 w 3359086"/>
                <a:gd name="connsiteY13734" fmla="*/ 1814703 h 3355086"/>
                <a:gd name="connsiteX13735" fmla="*/ 3280790 w 3359086"/>
                <a:gd name="connsiteY13735" fmla="*/ 1815179 h 3355086"/>
                <a:gd name="connsiteX13736" fmla="*/ 3285743 w 3359086"/>
                <a:gd name="connsiteY13736" fmla="*/ 1810226 h 3355086"/>
                <a:gd name="connsiteX13737" fmla="*/ 3285886 w 3359086"/>
                <a:gd name="connsiteY13737" fmla="*/ 1810369 h 3355086"/>
                <a:gd name="connsiteX13738" fmla="*/ 3288172 w 3359086"/>
                <a:gd name="connsiteY13738" fmla="*/ 1808083 h 3355086"/>
                <a:gd name="connsiteX13739" fmla="*/ 3288125 w 3359086"/>
                <a:gd name="connsiteY13739" fmla="*/ 1808036 h 3355086"/>
                <a:gd name="connsiteX13740" fmla="*/ 3291792 w 3359086"/>
                <a:gd name="connsiteY13740" fmla="*/ 1804369 h 3355086"/>
                <a:gd name="connsiteX13741" fmla="*/ 3291554 w 3359086"/>
                <a:gd name="connsiteY13741" fmla="*/ 1804130 h 3355086"/>
                <a:gd name="connsiteX13742" fmla="*/ 3294935 w 3359086"/>
                <a:gd name="connsiteY13742" fmla="*/ 1800749 h 3355086"/>
                <a:gd name="connsiteX13743" fmla="*/ 3294602 w 3359086"/>
                <a:gd name="connsiteY13743" fmla="*/ 1800416 h 3355086"/>
                <a:gd name="connsiteX13744" fmla="*/ 3297697 w 3359086"/>
                <a:gd name="connsiteY13744" fmla="*/ 1797321 h 3355086"/>
                <a:gd name="connsiteX13745" fmla="*/ 3297364 w 3359086"/>
                <a:gd name="connsiteY13745" fmla="*/ 1796987 h 3355086"/>
                <a:gd name="connsiteX13746" fmla="*/ 3300364 w 3359086"/>
                <a:gd name="connsiteY13746" fmla="*/ 1793987 h 3355086"/>
                <a:gd name="connsiteX13747" fmla="*/ 3300126 w 3359086"/>
                <a:gd name="connsiteY13747" fmla="*/ 1793748 h 3355086"/>
                <a:gd name="connsiteX13748" fmla="*/ 3303079 w 3359086"/>
                <a:gd name="connsiteY13748" fmla="*/ 1790795 h 3355086"/>
                <a:gd name="connsiteX13749" fmla="*/ 3302889 w 3359086"/>
                <a:gd name="connsiteY13749" fmla="*/ 1790605 h 3355086"/>
                <a:gd name="connsiteX13750" fmla="*/ 3305794 w 3359086"/>
                <a:gd name="connsiteY13750" fmla="*/ 1787700 h 3355086"/>
                <a:gd name="connsiteX13751" fmla="*/ 3305746 w 3359086"/>
                <a:gd name="connsiteY13751" fmla="*/ 1787652 h 3355086"/>
                <a:gd name="connsiteX13752" fmla="*/ 3311937 w 3359086"/>
                <a:gd name="connsiteY13752" fmla="*/ 1781461 h 3355086"/>
                <a:gd name="connsiteX13753" fmla="*/ 3312175 w 3359086"/>
                <a:gd name="connsiteY13753" fmla="*/ 1781699 h 3355086"/>
                <a:gd name="connsiteX13754" fmla="*/ 3315080 w 3359086"/>
                <a:gd name="connsiteY13754" fmla="*/ 1778794 h 3355086"/>
                <a:gd name="connsiteX13755" fmla="*/ 3315509 w 3359086"/>
                <a:gd name="connsiteY13755" fmla="*/ 1779223 h 3355086"/>
                <a:gd name="connsiteX13756" fmla="*/ 3318605 w 3359086"/>
                <a:gd name="connsiteY13756" fmla="*/ 1776127 h 3355086"/>
                <a:gd name="connsiteX13757" fmla="*/ 3319367 w 3359086"/>
                <a:gd name="connsiteY13757" fmla="*/ 1776889 h 3355086"/>
                <a:gd name="connsiteX13758" fmla="*/ 3322510 w 3359086"/>
                <a:gd name="connsiteY13758" fmla="*/ 1773746 h 3355086"/>
                <a:gd name="connsiteX13759" fmla="*/ 3323606 w 3359086"/>
                <a:gd name="connsiteY13759" fmla="*/ 1774842 h 3355086"/>
                <a:gd name="connsiteX13760" fmla="*/ 3326987 w 3359086"/>
                <a:gd name="connsiteY13760" fmla="*/ 1771460 h 3355086"/>
                <a:gd name="connsiteX13761" fmla="*/ 3328416 w 3359086"/>
                <a:gd name="connsiteY13761" fmla="*/ 1772889 h 3355086"/>
                <a:gd name="connsiteX13762" fmla="*/ 3332035 w 3359086"/>
                <a:gd name="connsiteY13762" fmla="*/ 1769269 h 3355086"/>
                <a:gd name="connsiteX13763" fmla="*/ 3333892 w 3359086"/>
                <a:gd name="connsiteY13763" fmla="*/ 1771127 h 3355086"/>
                <a:gd name="connsiteX13764" fmla="*/ 3337750 w 3359086"/>
                <a:gd name="connsiteY13764" fmla="*/ 1767269 h 3355086"/>
                <a:gd name="connsiteX13765" fmla="*/ 3340036 w 3359086"/>
                <a:gd name="connsiteY13765" fmla="*/ 1769555 h 3355086"/>
                <a:gd name="connsiteX13766" fmla="*/ 3344132 w 3359086"/>
                <a:gd name="connsiteY13766" fmla="*/ 1765459 h 3355086"/>
                <a:gd name="connsiteX13767" fmla="*/ 3347466 w 3359086"/>
                <a:gd name="connsiteY13767" fmla="*/ 1768793 h 3355086"/>
                <a:gd name="connsiteX13768" fmla="*/ 1707736 w 3359086"/>
                <a:gd name="connsiteY13768" fmla="*/ 1756410 h 3355086"/>
                <a:gd name="connsiteX13769" fmla="*/ 1713928 w 3359086"/>
                <a:gd name="connsiteY13769" fmla="*/ 1762601 h 3355086"/>
                <a:gd name="connsiteX13770" fmla="*/ 1707736 w 3359086"/>
                <a:gd name="connsiteY13770" fmla="*/ 1768793 h 3355086"/>
                <a:gd name="connsiteX13771" fmla="*/ 1701545 w 3359086"/>
                <a:gd name="connsiteY13771" fmla="*/ 1762601 h 3355086"/>
                <a:gd name="connsiteX13772" fmla="*/ 1707736 w 3359086"/>
                <a:gd name="connsiteY13772" fmla="*/ 1756410 h 3355086"/>
                <a:gd name="connsiteX13773" fmla="*/ 1553336 w 3359086"/>
                <a:gd name="connsiteY13773" fmla="*/ 1755458 h 3355086"/>
                <a:gd name="connsiteX13774" fmla="*/ 1559528 w 3359086"/>
                <a:gd name="connsiteY13774" fmla="*/ 1761649 h 3355086"/>
                <a:gd name="connsiteX13775" fmla="*/ 1553336 w 3359086"/>
                <a:gd name="connsiteY13775" fmla="*/ 1767841 h 3355086"/>
                <a:gd name="connsiteX13776" fmla="*/ 1547145 w 3359086"/>
                <a:gd name="connsiteY13776" fmla="*/ 1761649 h 3355086"/>
                <a:gd name="connsiteX13777" fmla="*/ 1553336 w 3359086"/>
                <a:gd name="connsiteY13777" fmla="*/ 1755458 h 3355086"/>
                <a:gd name="connsiteX13778" fmla="*/ 1857946 w 3359086"/>
                <a:gd name="connsiteY13778" fmla="*/ 1753934 h 3355086"/>
                <a:gd name="connsiteX13779" fmla="*/ 1864138 w 3359086"/>
                <a:gd name="connsiteY13779" fmla="*/ 1760125 h 3355086"/>
                <a:gd name="connsiteX13780" fmla="*/ 1857946 w 3359086"/>
                <a:gd name="connsiteY13780" fmla="*/ 1766316 h 3355086"/>
                <a:gd name="connsiteX13781" fmla="*/ 1851755 w 3359086"/>
                <a:gd name="connsiteY13781" fmla="*/ 1760125 h 3355086"/>
                <a:gd name="connsiteX13782" fmla="*/ 1857946 w 3359086"/>
                <a:gd name="connsiteY13782" fmla="*/ 1753934 h 3355086"/>
                <a:gd name="connsiteX13783" fmla="*/ 1408080 w 3359086"/>
                <a:gd name="connsiteY13783" fmla="*/ 1752600 h 3355086"/>
                <a:gd name="connsiteX13784" fmla="*/ 1414272 w 3359086"/>
                <a:gd name="connsiteY13784" fmla="*/ 1758791 h 3355086"/>
                <a:gd name="connsiteX13785" fmla="*/ 1408080 w 3359086"/>
                <a:gd name="connsiteY13785" fmla="*/ 1764982 h 3355086"/>
                <a:gd name="connsiteX13786" fmla="*/ 1401889 w 3359086"/>
                <a:gd name="connsiteY13786" fmla="*/ 1758791 h 3355086"/>
                <a:gd name="connsiteX13787" fmla="*/ 1408080 w 3359086"/>
                <a:gd name="connsiteY13787" fmla="*/ 1752600 h 3355086"/>
                <a:gd name="connsiteX13788" fmla="*/ 1997392 w 3359086"/>
                <a:gd name="connsiteY13788" fmla="*/ 1750981 h 3355086"/>
                <a:gd name="connsiteX13789" fmla="*/ 2003584 w 3359086"/>
                <a:gd name="connsiteY13789" fmla="*/ 1757172 h 3355086"/>
                <a:gd name="connsiteX13790" fmla="*/ 1997392 w 3359086"/>
                <a:gd name="connsiteY13790" fmla="*/ 1763363 h 3355086"/>
                <a:gd name="connsiteX13791" fmla="*/ 1991201 w 3359086"/>
                <a:gd name="connsiteY13791" fmla="*/ 1757172 h 3355086"/>
                <a:gd name="connsiteX13792" fmla="*/ 1997392 w 3359086"/>
                <a:gd name="connsiteY13792" fmla="*/ 1750981 h 3355086"/>
                <a:gd name="connsiteX13793" fmla="*/ 1273587 w 3359086"/>
                <a:gd name="connsiteY13793" fmla="*/ 1749552 h 3355086"/>
                <a:gd name="connsiteX13794" fmla="*/ 1279779 w 3359086"/>
                <a:gd name="connsiteY13794" fmla="*/ 1755743 h 3355086"/>
                <a:gd name="connsiteX13795" fmla="*/ 1273587 w 3359086"/>
                <a:gd name="connsiteY13795" fmla="*/ 1761935 h 3355086"/>
                <a:gd name="connsiteX13796" fmla="*/ 1267396 w 3359086"/>
                <a:gd name="connsiteY13796" fmla="*/ 1755743 h 3355086"/>
                <a:gd name="connsiteX13797" fmla="*/ 1273587 w 3359086"/>
                <a:gd name="connsiteY13797" fmla="*/ 1749552 h 3355086"/>
                <a:gd name="connsiteX13798" fmla="*/ 2126360 w 3359086"/>
                <a:gd name="connsiteY13798" fmla="*/ 1747933 h 3355086"/>
                <a:gd name="connsiteX13799" fmla="*/ 2132551 w 3359086"/>
                <a:gd name="connsiteY13799" fmla="*/ 1754124 h 3355086"/>
                <a:gd name="connsiteX13800" fmla="*/ 2126360 w 3359086"/>
                <a:gd name="connsiteY13800" fmla="*/ 1760315 h 3355086"/>
                <a:gd name="connsiteX13801" fmla="*/ 2120169 w 3359086"/>
                <a:gd name="connsiteY13801" fmla="*/ 1754124 h 3355086"/>
                <a:gd name="connsiteX13802" fmla="*/ 2126360 w 3359086"/>
                <a:gd name="connsiteY13802" fmla="*/ 1747933 h 3355086"/>
                <a:gd name="connsiteX13803" fmla="*/ 1149381 w 3359086"/>
                <a:gd name="connsiteY13803" fmla="*/ 1746600 h 3355086"/>
                <a:gd name="connsiteX13804" fmla="*/ 1155573 w 3359086"/>
                <a:gd name="connsiteY13804" fmla="*/ 1752791 h 3355086"/>
                <a:gd name="connsiteX13805" fmla="*/ 1149381 w 3359086"/>
                <a:gd name="connsiteY13805" fmla="*/ 1758983 h 3355086"/>
                <a:gd name="connsiteX13806" fmla="*/ 1143190 w 3359086"/>
                <a:gd name="connsiteY13806" fmla="*/ 1752791 h 3355086"/>
                <a:gd name="connsiteX13807" fmla="*/ 1149381 w 3359086"/>
                <a:gd name="connsiteY13807" fmla="*/ 1746600 h 3355086"/>
                <a:gd name="connsiteX13808" fmla="*/ 2245328 w 3359086"/>
                <a:gd name="connsiteY13808" fmla="*/ 1745075 h 3355086"/>
                <a:gd name="connsiteX13809" fmla="*/ 2251520 w 3359086"/>
                <a:gd name="connsiteY13809" fmla="*/ 1751266 h 3355086"/>
                <a:gd name="connsiteX13810" fmla="*/ 2245328 w 3359086"/>
                <a:gd name="connsiteY13810" fmla="*/ 1757458 h 3355086"/>
                <a:gd name="connsiteX13811" fmla="*/ 2239137 w 3359086"/>
                <a:gd name="connsiteY13811" fmla="*/ 1751266 h 3355086"/>
                <a:gd name="connsiteX13812" fmla="*/ 2245328 w 3359086"/>
                <a:gd name="connsiteY13812" fmla="*/ 1745075 h 3355086"/>
                <a:gd name="connsiteX13813" fmla="*/ 1034795 w 3359086"/>
                <a:gd name="connsiteY13813" fmla="*/ 1743742 h 3355086"/>
                <a:gd name="connsiteX13814" fmla="*/ 1040987 w 3359086"/>
                <a:gd name="connsiteY13814" fmla="*/ 1749933 h 3355086"/>
                <a:gd name="connsiteX13815" fmla="*/ 1034795 w 3359086"/>
                <a:gd name="connsiteY13815" fmla="*/ 1756125 h 3355086"/>
                <a:gd name="connsiteX13816" fmla="*/ 1028604 w 3359086"/>
                <a:gd name="connsiteY13816" fmla="*/ 1749933 h 3355086"/>
                <a:gd name="connsiteX13817" fmla="*/ 1034795 w 3359086"/>
                <a:gd name="connsiteY13817" fmla="*/ 1743742 h 3355086"/>
                <a:gd name="connsiteX13818" fmla="*/ 2354960 w 3359086"/>
                <a:gd name="connsiteY13818" fmla="*/ 1742313 h 3355086"/>
                <a:gd name="connsiteX13819" fmla="*/ 2361152 w 3359086"/>
                <a:gd name="connsiteY13819" fmla="*/ 1748504 h 3355086"/>
                <a:gd name="connsiteX13820" fmla="*/ 2354960 w 3359086"/>
                <a:gd name="connsiteY13820" fmla="*/ 1754696 h 3355086"/>
                <a:gd name="connsiteX13821" fmla="*/ 2348769 w 3359086"/>
                <a:gd name="connsiteY13821" fmla="*/ 1748504 h 3355086"/>
                <a:gd name="connsiteX13822" fmla="*/ 2354960 w 3359086"/>
                <a:gd name="connsiteY13822" fmla="*/ 1742313 h 3355086"/>
                <a:gd name="connsiteX13823" fmla="*/ 929353 w 3359086"/>
                <a:gd name="connsiteY13823" fmla="*/ 1740980 h 3355086"/>
                <a:gd name="connsiteX13824" fmla="*/ 935545 w 3359086"/>
                <a:gd name="connsiteY13824" fmla="*/ 1747171 h 3355086"/>
                <a:gd name="connsiteX13825" fmla="*/ 929353 w 3359086"/>
                <a:gd name="connsiteY13825" fmla="*/ 1753363 h 3355086"/>
                <a:gd name="connsiteX13826" fmla="*/ 923162 w 3359086"/>
                <a:gd name="connsiteY13826" fmla="*/ 1747171 h 3355086"/>
                <a:gd name="connsiteX13827" fmla="*/ 929353 w 3359086"/>
                <a:gd name="connsiteY13827" fmla="*/ 1740980 h 3355086"/>
                <a:gd name="connsiteX13828" fmla="*/ 2455735 w 3359086"/>
                <a:gd name="connsiteY13828" fmla="*/ 1739551 h 3355086"/>
                <a:gd name="connsiteX13829" fmla="*/ 2461926 w 3359086"/>
                <a:gd name="connsiteY13829" fmla="*/ 1745742 h 3355086"/>
                <a:gd name="connsiteX13830" fmla="*/ 2455735 w 3359086"/>
                <a:gd name="connsiteY13830" fmla="*/ 1751934 h 3355086"/>
                <a:gd name="connsiteX13831" fmla="*/ 2449544 w 3359086"/>
                <a:gd name="connsiteY13831" fmla="*/ 1745742 h 3355086"/>
                <a:gd name="connsiteX13832" fmla="*/ 2455735 w 3359086"/>
                <a:gd name="connsiteY13832" fmla="*/ 1739551 h 3355086"/>
                <a:gd name="connsiteX13833" fmla="*/ 832484 w 3359086"/>
                <a:gd name="connsiteY13833" fmla="*/ 1738313 h 3355086"/>
                <a:gd name="connsiteX13834" fmla="*/ 838676 w 3359086"/>
                <a:gd name="connsiteY13834" fmla="*/ 1744504 h 3355086"/>
                <a:gd name="connsiteX13835" fmla="*/ 832484 w 3359086"/>
                <a:gd name="connsiteY13835" fmla="*/ 1750695 h 3355086"/>
                <a:gd name="connsiteX13836" fmla="*/ 826293 w 3359086"/>
                <a:gd name="connsiteY13836" fmla="*/ 1744504 h 3355086"/>
                <a:gd name="connsiteX13837" fmla="*/ 832484 w 3359086"/>
                <a:gd name="connsiteY13837" fmla="*/ 1738313 h 3355086"/>
                <a:gd name="connsiteX13838" fmla="*/ 2548127 w 3359086"/>
                <a:gd name="connsiteY13838" fmla="*/ 1736979 h 3355086"/>
                <a:gd name="connsiteX13839" fmla="*/ 2554319 w 3359086"/>
                <a:gd name="connsiteY13839" fmla="*/ 1743170 h 3355086"/>
                <a:gd name="connsiteX13840" fmla="*/ 2548127 w 3359086"/>
                <a:gd name="connsiteY13840" fmla="*/ 1749361 h 3355086"/>
                <a:gd name="connsiteX13841" fmla="*/ 2541936 w 3359086"/>
                <a:gd name="connsiteY13841" fmla="*/ 1743170 h 3355086"/>
                <a:gd name="connsiteX13842" fmla="*/ 2548127 w 3359086"/>
                <a:gd name="connsiteY13842" fmla="*/ 1736979 h 3355086"/>
                <a:gd name="connsiteX13843" fmla="*/ 743807 w 3359086"/>
                <a:gd name="connsiteY13843" fmla="*/ 1735741 h 3355086"/>
                <a:gd name="connsiteX13844" fmla="*/ 749998 w 3359086"/>
                <a:gd name="connsiteY13844" fmla="*/ 1741932 h 3355086"/>
                <a:gd name="connsiteX13845" fmla="*/ 743807 w 3359086"/>
                <a:gd name="connsiteY13845" fmla="*/ 1748124 h 3355086"/>
                <a:gd name="connsiteX13846" fmla="*/ 737616 w 3359086"/>
                <a:gd name="connsiteY13846" fmla="*/ 1741932 h 3355086"/>
                <a:gd name="connsiteX13847" fmla="*/ 743807 w 3359086"/>
                <a:gd name="connsiteY13847" fmla="*/ 1735741 h 3355086"/>
                <a:gd name="connsiteX13848" fmla="*/ 2632709 w 3359086"/>
                <a:gd name="connsiteY13848" fmla="*/ 1734408 h 3355086"/>
                <a:gd name="connsiteX13849" fmla="*/ 2638900 w 3359086"/>
                <a:gd name="connsiteY13849" fmla="*/ 1740599 h 3355086"/>
                <a:gd name="connsiteX13850" fmla="*/ 2632709 w 3359086"/>
                <a:gd name="connsiteY13850" fmla="*/ 1746791 h 3355086"/>
                <a:gd name="connsiteX13851" fmla="*/ 2626518 w 3359086"/>
                <a:gd name="connsiteY13851" fmla="*/ 1740599 h 3355086"/>
                <a:gd name="connsiteX13852" fmla="*/ 2632709 w 3359086"/>
                <a:gd name="connsiteY13852" fmla="*/ 1734408 h 3355086"/>
                <a:gd name="connsiteX13853" fmla="*/ 662749 w 3359086"/>
                <a:gd name="connsiteY13853" fmla="*/ 1733265 h 3355086"/>
                <a:gd name="connsiteX13854" fmla="*/ 668941 w 3359086"/>
                <a:gd name="connsiteY13854" fmla="*/ 1739456 h 3355086"/>
                <a:gd name="connsiteX13855" fmla="*/ 662749 w 3359086"/>
                <a:gd name="connsiteY13855" fmla="*/ 1745647 h 3355086"/>
                <a:gd name="connsiteX13856" fmla="*/ 656558 w 3359086"/>
                <a:gd name="connsiteY13856" fmla="*/ 1739456 h 3355086"/>
                <a:gd name="connsiteX13857" fmla="*/ 662749 w 3359086"/>
                <a:gd name="connsiteY13857" fmla="*/ 1733265 h 3355086"/>
                <a:gd name="connsiteX13858" fmla="*/ 7905 w 3359086"/>
                <a:gd name="connsiteY13858" fmla="*/ 1732693 h 3355086"/>
                <a:gd name="connsiteX13859" fmla="*/ 10525 w 3359086"/>
                <a:gd name="connsiteY13859" fmla="*/ 1735313 h 3355086"/>
                <a:gd name="connsiteX13860" fmla="*/ 11620 w 3359086"/>
                <a:gd name="connsiteY13860" fmla="*/ 1734217 h 3355086"/>
                <a:gd name="connsiteX13861" fmla="*/ 14144 w 3359086"/>
                <a:gd name="connsiteY13861" fmla="*/ 1736741 h 3355086"/>
                <a:gd name="connsiteX13862" fmla="*/ 15049 w 3359086"/>
                <a:gd name="connsiteY13862" fmla="*/ 1735836 h 3355086"/>
                <a:gd name="connsiteX13863" fmla="*/ 17335 w 3359086"/>
                <a:gd name="connsiteY13863" fmla="*/ 1738122 h 3355086"/>
                <a:gd name="connsiteX13864" fmla="*/ 18002 w 3359086"/>
                <a:gd name="connsiteY13864" fmla="*/ 1737455 h 3355086"/>
                <a:gd name="connsiteX13865" fmla="*/ 20288 w 3359086"/>
                <a:gd name="connsiteY13865" fmla="*/ 1739741 h 3355086"/>
                <a:gd name="connsiteX13866" fmla="*/ 20764 w 3359086"/>
                <a:gd name="connsiteY13866" fmla="*/ 1739265 h 3355086"/>
                <a:gd name="connsiteX13867" fmla="*/ 23050 w 3359086"/>
                <a:gd name="connsiteY13867" fmla="*/ 1741551 h 3355086"/>
                <a:gd name="connsiteX13868" fmla="*/ 23431 w 3359086"/>
                <a:gd name="connsiteY13868" fmla="*/ 1741170 h 3355086"/>
                <a:gd name="connsiteX13869" fmla="*/ 25717 w 3359086"/>
                <a:gd name="connsiteY13869" fmla="*/ 1743456 h 3355086"/>
                <a:gd name="connsiteX13870" fmla="*/ 26002 w 3359086"/>
                <a:gd name="connsiteY13870" fmla="*/ 1743171 h 3355086"/>
                <a:gd name="connsiteX13871" fmla="*/ 28430 w 3359086"/>
                <a:gd name="connsiteY13871" fmla="*/ 1745600 h 3355086"/>
                <a:gd name="connsiteX13872" fmla="*/ 28669 w 3359086"/>
                <a:gd name="connsiteY13872" fmla="*/ 1745361 h 3355086"/>
                <a:gd name="connsiteX13873" fmla="*/ 31194 w 3359086"/>
                <a:gd name="connsiteY13873" fmla="*/ 1747886 h 3355086"/>
                <a:gd name="connsiteX13874" fmla="*/ 31527 w 3359086"/>
                <a:gd name="connsiteY13874" fmla="*/ 1747552 h 3355086"/>
                <a:gd name="connsiteX13875" fmla="*/ 34337 w 3359086"/>
                <a:gd name="connsiteY13875" fmla="*/ 1750362 h 3355086"/>
                <a:gd name="connsiteX13876" fmla="*/ 34766 w 3359086"/>
                <a:gd name="connsiteY13876" fmla="*/ 1749933 h 3355086"/>
                <a:gd name="connsiteX13877" fmla="*/ 37957 w 3359086"/>
                <a:gd name="connsiteY13877" fmla="*/ 1753124 h 3355086"/>
                <a:gd name="connsiteX13878" fmla="*/ 38576 w 3359086"/>
                <a:gd name="connsiteY13878" fmla="*/ 1752505 h 3355086"/>
                <a:gd name="connsiteX13879" fmla="*/ 42100 w 3359086"/>
                <a:gd name="connsiteY13879" fmla="*/ 1756029 h 3355086"/>
                <a:gd name="connsiteX13880" fmla="*/ 42957 w 3359086"/>
                <a:gd name="connsiteY13880" fmla="*/ 1755172 h 3355086"/>
                <a:gd name="connsiteX13881" fmla="*/ 47005 w 3359086"/>
                <a:gd name="connsiteY13881" fmla="*/ 1759220 h 3355086"/>
                <a:gd name="connsiteX13882" fmla="*/ 48291 w 3359086"/>
                <a:gd name="connsiteY13882" fmla="*/ 1757934 h 3355086"/>
                <a:gd name="connsiteX13883" fmla="*/ 52958 w 3359086"/>
                <a:gd name="connsiteY13883" fmla="*/ 1762602 h 3355086"/>
                <a:gd name="connsiteX13884" fmla="*/ 54673 w 3359086"/>
                <a:gd name="connsiteY13884" fmla="*/ 1760887 h 3355086"/>
                <a:gd name="connsiteX13885" fmla="*/ 60007 w 3359086"/>
                <a:gd name="connsiteY13885" fmla="*/ 1766221 h 3355086"/>
                <a:gd name="connsiteX13886" fmla="*/ 62293 w 3359086"/>
                <a:gd name="connsiteY13886" fmla="*/ 1763935 h 3355086"/>
                <a:gd name="connsiteX13887" fmla="*/ 68389 w 3359086"/>
                <a:gd name="connsiteY13887" fmla="*/ 1770031 h 3355086"/>
                <a:gd name="connsiteX13888" fmla="*/ 71246 w 3359086"/>
                <a:gd name="connsiteY13888" fmla="*/ 1767174 h 3355086"/>
                <a:gd name="connsiteX13889" fmla="*/ 77438 w 3359086"/>
                <a:gd name="connsiteY13889" fmla="*/ 1773365 h 3355086"/>
                <a:gd name="connsiteX13890" fmla="*/ 71246 w 3359086"/>
                <a:gd name="connsiteY13890" fmla="*/ 1779557 h 3355086"/>
                <a:gd name="connsiteX13891" fmla="*/ 65150 w 3359086"/>
                <a:gd name="connsiteY13891" fmla="*/ 1773461 h 3355086"/>
                <a:gd name="connsiteX13892" fmla="*/ 62293 w 3359086"/>
                <a:gd name="connsiteY13892" fmla="*/ 1776318 h 3355086"/>
                <a:gd name="connsiteX13893" fmla="*/ 56959 w 3359086"/>
                <a:gd name="connsiteY13893" fmla="*/ 1770984 h 3355086"/>
                <a:gd name="connsiteX13894" fmla="*/ 54673 w 3359086"/>
                <a:gd name="connsiteY13894" fmla="*/ 1773270 h 3355086"/>
                <a:gd name="connsiteX13895" fmla="*/ 50006 w 3359086"/>
                <a:gd name="connsiteY13895" fmla="*/ 1768602 h 3355086"/>
                <a:gd name="connsiteX13896" fmla="*/ 48291 w 3359086"/>
                <a:gd name="connsiteY13896" fmla="*/ 1770317 h 3355086"/>
                <a:gd name="connsiteX13897" fmla="*/ 44243 w 3359086"/>
                <a:gd name="connsiteY13897" fmla="*/ 1766269 h 3355086"/>
                <a:gd name="connsiteX13898" fmla="*/ 42957 w 3359086"/>
                <a:gd name="connsiteY13898" fmla="*/ 1767555 h 3355086"/>
                <a:gd name="connsiteX13899" fmla="*/ 39433 w 3359086"/>
                <a:gd name="connsiteY13899" fmla="*/ 1764031 h 3355086"/>
                <a:gd name="connsiteX13900" fmla="*/ 38576 w 3359086"/>
                <a:gd name="connsiteY13900" fmla="*/ 1764888 h 3355086"/>
                <a:gd name="connsiteX13901" fmla="*/ 35385 w 3359086"/>
                <a:gd name="connsiteY13901" fmla="*/ 1761697 h 3355086"/>
                <a:gd name="connsiteX13902" fmla="*/ 34766 w 3359086"/>
                <a:gd name="connsiteY13902" fmla="*/ 1762315 h 3355086"/>
                <a:gd name="connsiteX13903" fmla="*/ 31956 w 3359086"/>
                <a:gd name="connsiteY13903" fmla="*/ 1759505 h 3355086"/>
                <a:gd name="connsiteX13904" fmla="*/ 31527 w 3359086"/>
                <a:gd name="connsiteY13904" fmla="*/ 1759934 h 3355086"/>
                <a:gd name="connsiteX13905" fmla="*/ 29003 w 3359086"/>
                <a:gd name="connsiteY13905" fmla="*/ 1757410 h 3355086"/>
                <a:gd name="connsiteX13906" fmla="*/ 28669 w 3359086"/>
                <a:gd name="connsiteY13906" fmla="*/ 1757744 h 3355086"/>
                <a:gd name="connsiteX13907" fmla="*/ 26240 w 3359086"/>
                <a:gd name="connsiteY13907" fmla="*/ 1755316 h 3355086"/>
                <a:gd name="connsiteX13908" fmla="*/ 26002 w 3359086"/>
                <a:gd name="connsiteY13908" fmla="*/ 1755554 h 3355086"/>
                <a:gd name="connsiteX13909" fmla="*/ 23716 w 3359086"/>
                <a:gd name="connsiteY13909" fmla="*/ 1753268 h 3355086"/>
                <a:gd name="connsiteX13910" fmla="*/ 23431 w 3359086"/>
                <a:gd name="connsiteY13910" fmla="*/ 1753553 h 3355086"/>
                <a:gd name="connsiteX13911" fmla="*/ 21145 w 3359086"/>
                <a:gd name="connsiteY13911" fmla="*/ 1751267 h 3355086"/>
                <a:gd name="connsiteX13912" fmla="*/ 20764 w 3359086"/>
                <a:gd name="connsiteY13912" fmla="*/ 1751648 h 3355086"/>
                <a:gd name="connsiteX13913" fmla="*/ 18478 w 3359086"/>
                <a:gd name="connsiteY13913" fmla="*/ 1749362 h 3355086"/>
                <a:gd name="connsiteX13914" fmla="*/ 18002 w 3359086"/>
                <a:gd name="connsiteY13914" fmla="*/ 1749838 h 3355086"/>
                <a:gd name="connsiteX13915" fmla="*/ 15716 w 3359086"/>
                <a:gd name="connsiteY13915" fmla="*/ 1747552 h 3355086"/>
                <a:gd name="connsiteX13916" fmla="*/ 15049 w 3359086"/>
                <a:gd name="connsiteY13916" fmla="*/ 1748219 h 3355086"/>
                <a:gd name="connsiteX13917" fmla="*/ 12525 w 3359086"/>
                <a:gd name="connsiteY13917" fmla="*/ 1745695 h 3355086"/>
                <a:gd name="connsiteX13918" fmla="*/ 11620 w 3359086"/>
                <a:gd name="connsiteY13918" fmla="*/ 1746600 h 3355086"/>
                <a:gd name="connsiteX13919" fmla="*/ 9001 w 3359086"/>
                <a:gd name="connsiteY13919" fmla="*/ 1743981 h 3355086"/>
                <a:gd name="connsiteX13920" fmla="*/ 7905 w 3359086"/>
                <a:gd name="connsiteY13920" fmla="*/ 1745076 h 3355086"/>
                <a:gd name="connsiteX13921" fmla="*/ 1714 w 3359086"/>
                <a:gd name="connsiteY13921" fmla="*/ 1738884 h 3355086"/>
                <a:gd name="connsiteX13922" fmla="*/ 2476 w 3359086"/>
                <a:gd name="connsiteY13922" fmla="*/ 1738122 h 3355086"/>
                <a:gd name="connsiteX13923" fmla="*/ 1809 w 3359086"/>
                <a:gd name="connsiteY13923" fmla="*/ 1737455 h 3355086"/>
                <a:gd name="connsiteX13924" fmla="*/ 3524 w 3359086"/>
                <a:gd name="connsiteY13924" fmla="*/ 1735741 h 3355086"/>
                <a:gd name="connsiteX13925" fmla="*/ 4190 w 3359086"/>
                <a:gd name="connsiteY13925" fmla="*/ 1736408 h 3355086"/>
                <a:gd name="connsiteX13926" fmla="*/ 2709862 w 3359086"/>
                <a:gd name="connsiteY13926" fmla="*/ 1732026 h 3355086"/>
                <a:gd name="connsiteX13927" fmla="*/ 2716053 w 3359086"/>
                <a:gd name="connsiteY13927" fmla="*/ 1738217 h 3355086"/>
                <a:gd name="connsiteX13928" fmla="*/ 2709862 w 3359086"/>
                <a:gd name="connsiteY13928" fmla="*/ 1744409 h 3355086"/>
                <a:gd name="connsiteX13929" fmla="*/ 2703671 w 3359086"/>
                <a:gd name="connsiteY13929" fmla="*/ 1738217 h 3355086"/>
                <a:gd name="connsiteX13930" fmla="*/ 2709862 w 3359086"/>
                <a:gd name="connsiteY13930" fmla="*/ 1732026 h 3355086"/>
                <a:gd name="connsiteX13931" fmla="*/ 588835 w 3359086"/>
                <a:gd name="connsiteY13931" fmla="*/ 1730883 h 3355086"/>
                <a:gd name="connsiteX13932" fmla="*/ 595027 w 3359086"/>
                <a:gd name="connsiteY13932" fmla="*/ 1737074 h 3355086"/>
                <a:gd name="connsiteX13933" fmla="*/ 588835 w 3359086"/>
                <a:gd name="connsiteY13933" fmla="*/ 1743265 h 3355086"/>
                <a:gd name="connsiteX13934" fmla="*/ 582644 w 3359086"/>
                <a:gd name="connsiteY13934" fmla="*/ 1737074 h 3355086"/>
                <a:gd name="connsiteX13935" fmla="*/ 588835 w 3359086"/>
                <a:gd name="connsiteY13935" fmla="*/ 1730883 h 3355086"/>
                <a:gd name="connsiteX13936" fmla="*/ 3356514 w 3359086"/>
                <a:gd name="connsiteY13936" fmla="*/ 1730217 h 3355086"/>
                <a:gd name="connsiteX13937" fmla="*/ 3358419 w 3359086"/>
                <a:gd name="connsiteY13937" fmla="*/ 1732122 h 3355086"/>
                <a:gd name="connsiteX13938" fmla="*/ 3356514 w 3359086"/>
                <a:gd name="connsiteY13938" fmla="*/ 1734027 h 3355086"/>
                <a:gd name="connsiteX13939" fmla="*/ 3354609 w 3359086"/>
                <a:gd name="connsiteY13939" fmla="*/ 1732122 h 3355086"/>
                <a:gd name="connsiteX13940" fmla="*/ 3356514 w 3359086"/>
                <a:gd name="connsiteY13940" fmla="*/ 1730217 h 3355086"/>
                <a:gd name="connsiteX13941" fmla="*/ 2780061 w 3359086"/>
                <a:gd name="connsiteY13941" fmla="*/ 1729645 h 3355086"/>
                <a:gd name="connsiteX13942" fmla="*/ 2786252 w 3359086"/>
                <a:gd name="connsiteY13942" fmla="*/ 1735836 h 3355086"/>
                <a:gd name="connsiteX13943" fmla="*/ 2780061 w 3359086"/>
                <a:gd name="connsiteY13943" fmla="*/ 1742028 h 3355086"/>
                <a:gd name="connsiteX13944" fmla="*/ 2773870 w 3359086"/>
                <a:gd name="connsiteY13944" fmla="*/ 1735836 h 3355086"/>
                <a:gd name="connsiteX13945" fmla="*/ 2780061 w 3359086"/>
                <a:gd name="connsiteY13945" fmla="*/ 1729645 h 3355086"/>
                <a:gd name="connsiteX13946" fmla="*/ 521779 w 3359086"/>
                <a:gd name="connsiteY13946" fmla="*/ 1728597 h 3355086"/>
                <a:gd name="connsiteX13947" fmla="*/ 527970 w 3359086"/>
                <a:gd name="connsiteY13947" fmla="*/ 1734788 h 3355086"/>
                <a:gd name="connsiteX13948" fmla="*/ 521779 w 3359086"/>
                <a:gd name="connsiteY13948" fmla="*/ 1740980 h 3355086"/>
                <a:gd name="connsiteX13949" fmla="*/ 515588 w 3359086"/>
                <a:gd name="connsiteY13949" fmla="*/ 1734788 h 3355086"/>
                <a:gd name="connsiteX13950" fmla="*/ 521779 w 3359086"/>
                <a:gd name="connsiteY13950" fmla="*/ 1728597 h 3355086"/>
                <a:gd name="connsiteX13951" fmla="*/ 2843783 w 3359086"/>
                <a:gd name="connsiteY13951" fmla="*/ 1727359 h 3355086"/>
                <a:gd name="connsiteX13952" fmla="*/ 2849974 w 3359086"/>
                <a:gd name="connsiteY13952" fmla="*/ 1733550 h 3355086"/>
                <a:gd name="connsiteX13953" fmla="*/ 2843783 w 3359086"/>
                <a:gd name="connsiteY13953" fmla="*/ 1739742 h 3355086"/>
                <a:gd name="connsiteX13954" fmla="*/ 2837592 w 3359086"/>
                <a:gd name="connsiteY13954" fmla="*/ 1733550 h 3355086"/>
                <a:gd name="connsiteX13955" fmla="*/ 2843783 w 3359086"/>
                <a:gd name="connsiteY13955" fmla="*/ 1727359 h 3355086"/>
                <a:gd name="connsiteX13956" fmla="*/ 3349084 w 3359086"/>
                <a:gd name="connsiteY13956" fmla="*/ 1727073 h 3355086"/>
                <a:gd name="connsiteX13957" fmla="*/ 3355276 w 3359086"/>
                <a:gd name="connsiteY13957" fmla="*/ 1733264 h 3355086"/>
                <a:gd name="connsiteX13958" fmla="*/ 3349084 w 3359086"/>
                <a:gd name="connsiteY13958" fmla="*/ 1739456 h 3355086"/>
                <a:gd name="connsiteX13959" fmla="*/ 3346227 w 3359086"/>
                <a:gd name="connsiteY13959" fmla="*/ 1736599 h 3355086"/>
                <a:gd name="connsiteX13960" fmla="*/ 3342322 w 3359086"/>
                <a:gd name="connsiteY13960" fmla="*/ 1740504 h 3355086"/>
                <a:gd name="connsiteX13961" fmla="*/ 3339988 w 3359086"/>
                <a:gd name="connsiteY13961" fmla="*/ 1738170 h 3355086"/>
                <a:gd name="connsiteX13962" fmla="*/ 3336416 w 3359086"/>
                <a:gd name="connsiteY13962" fmla="*/ 1741742 h 3355086"/>
                <a:gd name="connsiteX13963" fmla="*/ 3334416 w 3359086"/>
                <a:gd name="connsiteY13963" fmla="*/ 1739742 h 3355086"/>
                <a:gd name="connsiteX13964" fmla="*/ 3331177 w 3359086"/>
                <a:gd name="connsiteY13964" fmla="*/ 1742980 h 3355086"/>
                <a:gd name="connsiteX13965" fmla="*/ 3329510 w 3359086"/>
                <a:gd name="connsiteY13965" fmla="*/ 1741313 h 3355086"/>
                <a:gd name="connsiteX13966" fmla="*/ 3326510 w 3359086"/>
                <a:gd name="connsiteY13966" fmla="*/ 1744313 h 3355086"/>
                <a:gd name="connsiteX13967" fmla="*/ 3325225 w 3359086"/>
                <a:gd name="connsiteY13967" fmla="*/ 1743028 h 3355086"/>
                <a:gd name="connsiteX13968" fmla="*/ 3322510 w 3359086"/>
                <a:gd name="connsiteY13968" fmla="*/ 1745743 h 3355086"/>
                <a:gd name="connsiteX13969" fmla="*/ 3321509 w 3359086"/>
                <a:gd name="connsiteY13969" fmla="*/ 1744742 h 3355086"/>
                <a:gd name="connsiteX13970" fmla="*/ 3318890 w 3359086"/>
                <a:gd name="connsiteY13970" fmla="*/ 1747362 h 3355086"/>
                <a:gd name="connsiteX13971" fmla="*/ 3318128 w 3359086"/>
                <a:gd name="connsiteY13971" fmla="*/ 1746600 h 3355086"/>
                <a:gd name="connsiteX13972" fmla="*/ 3315747 w 3359086"/>
                <a:gd name="connsiteY13972" fmla="*/ 1748981 h 3355086"/>
                <a:gd name="connsiteX13973" fmla="*/ 3315128 w 3359086"/>
                <a:gd name="connsiteY13973" fmla="*/ 1748362 h 3355086"/>
                <a:gd name="connsiteX13974" fmla="*/ 3312794 w 3359086"/>
                <a:gd name="connsiteY13974" fmla="*/ 1750695 h 3355086"/>
                <a:gd name="connsiteX13975" fmla="*/ 3312365 w 3359086"/>
                <a:gd name="connsiteY13975" fmla="*/ 1750267 h 3355086"/>
                <a:gd name="connsiteX13976" fmla="*/ 3310127 w 3359086"/>
                <a:gd name="connsiteY13976" fmla="*/ 1752505 h 3355086"/>
                <a:gd name="connsiteX13977" fmla="*/ 3309842 w 3359086"/>
                <a:gd name="connsiteY13977" fmla="*/ 1752220 h 3355086"/>
                <a:gd name="connsiteX13978" fmla="*/ 3307556 w 3359086"/>
                <a:gd name="connsiteY13978" fmla="*/ 1754506 h 3355086"/>
                <a:gd name="connsiteX13979" fmla="*/ 3307318 w 3359086"/>
                <a:gd name="connsiteY13979" fmla="*/ 1754268 h 3355086"/>
                <a:gd name="connsiteX13980" fmla="*/ 3304984 w 3359086"/>
                <a:gd name="connsiteY13980" fmla="*/ 1756601 h 3355086"/>
                <a:gd name="connsiteX13981" fmla="*/ 3304698 w 3359086"/>
                <a:gd name="connsiteY13981" fmla="*/ 1756316 h 3355086"/>
                <a:gd name="connsiteX13982" fmla="*/ 3302222 w 3359086"/>
                <a:gd name="connsiteY13982" fmla="*/ 1758792 h 3355086"/>
                <a:gd name="connsiteX13983" fmla="*/ 3301841 w 3359086"/>
                <a:gd name="connsiteY13983" fmla="*/ 1758411 h 3355086"/>
                <a:gd name="connsiteX13984" fmla="*/ 3299174 w 3359086"/>
                <a:gd name="connsiteY13984" fmla="*/ 1761078 h 3355086"/>
                <a:gd name="connsiteX13985" fmla="*/ 3298697 w 3359086"/>
                <a:gd name="connsiteY13985" fmla="*/ 1760601 h 3355086"/>
                <a:gd name="connsiteX13986" fmla="*/ 3295744 w 3359086"/>
                <a:gd name="connsiteY13986" fmla="*/ 1763554 h 3355086"/>
                <a:gd name="connsiteX13987" fmla="*/ 3294983 w 3359086"/>
                <a:gd name="connsiteY13987" fmla="*/ 1762793 h 3355086"/>
                <a:gd name="connsiteX13988" fmla="*/ 3291649 w 3359086"/>
                <a:gd name="connsiteY13988" fmla="*/ 1766126 h 3355086"/>
                <a:gd name="connsiteX13989" fmla="*/ 3290553 w 3359086"/>
                <a:gd name="connsiteY13989" fmla="*/ 1765030 h 3355086"/>
                <a:gd name="connsiteX13990" fmla="*/ 3286791 w 3359086"/>
                <a:gd name="connsiteY13990" fmla="*/ 1768793 h 3355086"/>
                <a:gd name="connsiteX13991" fmla="*/ 3285362 w 3359086"/>
                <a:gd name="connsiteY13991" fmla="*/ 1767364 h 3355086"/>
                <a:gd name="connsiteX13992" fmla="*/ 3281076 w 3359086"/>
                <a:gd name="connsiteY13992" fmla="*/ 1771651 h 3355086"/>
                <a:gd name="connsiteX13993" fmla="*/ 3279124 w 3359086"/>
                <a:gd name="connsiteY13993" fmla="*/ 1769699 h 3355086"/>
                <a:gd name="connsiteX13994" fmla="*/ 3274123 w 3359086"/>
                <a:gd name="connsiteY13994" fmla="*/ 1774699 h 3355086"/>
                <a:gd name="connsiteX13995" fmla="*/ 3271598 w 3359086"/>
                <a:gd name="connsiteY13995" fmla="*/ 1772174 h 3355086"/>
                <a:gd name="connsiteX13996" fmla="*/ 3265931 w 3359086"/>
                <a:gd name="connsiteY13996" fmla="*/ 1777842 h 3355086"/>
                <a:gd name="connsiteX13997" fmla="*/ 3259740 w 3359086"/>
                <a:gd name="connsiteY13997" fmla="*/ 1771650 h 3355086"/>
                <a:gd name="connsiteX13998" fmla="*/ 3265931 w 3359086"/>
                <a:gd name="connsiteY13998" fmla="*/ 1765459 h 3355086"/>
                <a:gd name="connsiteX13999" fmla="*/ 3268456 w 3359086"/>
                <a:gd name="connsiteY13999" fmla="*/ 1767984 h 3355086"/>
                <a:gd name="connsiteX14000" fmla="*/ 3274123 w 3359086"/>
                <a:gd name="connsiteY14000" fmla="*/ 1762316 h 3355086"/>
                <a:gd name="connsiteX14001" fmla="*/ 3276076 w 3359086"/>
                <a:gd name="connsiteY14001" fmla="*/ 1764269 h 3355086"/>
                <a:gd name="connsiteX14002" fmla="*/ 3281076 w 3359086"/>
                <a:gd name="connsiteY14002" fmla="*/ 1759268 h 3355086"/>
                <a:gd name="connsiteX14003" fmla="*/ 3282504 w 3359086"/>
                <a:gd name="connsiteY14003" fmla="*/ 1760697 h 3355086"/>
                <a:gd name="connsiteX14004" fmla="*/ 3286791 w 3359086"/>
                <a:gd name="connsiteY14004" fmla="*/ 1756410 h 3355086"/>
                <a:gd name="connsiteX14005" fmla="*/ 3287886 w 3359086"/>
                <a:gd name="connsiteY14005" fmla="*/ 1757506 h 3355086"/>
                <a:gd name="connsiteX14006" fmla="*/ 3291649 w 3359086"/>
                <a:gd name="connsiteY14006" fmla="*/ 1753743 h 3355086"/>
                <a:gd name="connsiteX14007" fmla="*/ 3292411 w 3359086"/>
                <a:gd name="connsiteY14007" fmla="*/ 1754505 h 3355086"/>
                <a:gd name="connsiteX14008" fmla="*/ 3295744 w 3359086"/>
                <a:gd name="connsiteY14008" fmla="*/ 1751171 h 3355086"/>
                <a:gd name="connsiteX14009" fmla="*/ 3296221 w 3359086"/>
                <a:gd name="connsiteY14009" fmla="*/ 1751648 h 3355086"/>
                <a:gd name="connsiteX14010" fmla="*/ 3299174 w 3359086"/>
                <a:gd name="connsiteY14010" fmla="*/ 1748695 h 3355086"/>
                <a:gd name="connsiteX14011" fmla="*/ 3299555 w 3359086"/>
                <a:gd name="connsiteY14011" fmla="*/ 1749076 h 3355086"/>
                <a:gd name="connsiteX14012" fmla="*/ 3302222 w 3359086"/>
                <a:gd name="connsiteY14012" fmla="*/ 1746409 h 3355086"/>
                <a:gd name="connsiteX14013" fmla="*/ 3302508 w 3359086"/>
                <a:gd name="connsiteY14013" fmla="*/ 1746695 h 3355086"/>
                <a:gd name="connsiteX14014" fmla="*/ 3304984 w 3359086"/>
                <a:gd name="connsiteY14014" fmla="*/ 1744218 h 3355086"/>
                <a:gd name="connsiteX14015" fmla="*/ 3305223 w 3359086"/>
                <a:gd name="connsiteY14015" fmla="*/ 1744457 h 3355086"/>
                <a:gd name="connsiteX14016" fmla="*/ 3307556 w 3359086"/>
                <a:gd name="connsiteY14016" fmla="*/ 1742123 h 3355086"/>
                <a:gd name="connsiteX14017" fmla="*/ 3307841 w 3359086"/>
                <a:gd name="connsiteY14017" fmla="*/ 1742408 h 3355086"/>
                <a:gd name="connsiteX14018" fmla="*/ 3310127 w 3359086"/>
                <a:gd name="connsiteY14018" fmla="*/ 1740122 h 3355086"/>
                <a:gd name="connsiteX14019" fmla="*/ 3310556 w 3359086"/>
                <a:gd name="connsiteY14019" fmla="*/ 1740551 h 3355086"/>
                <a:gd name="connsiteX14020" fmla="*/ 3312794 w 3359086"/>
                <a:gd name="connsiteY14020" fmla="*/ 1738313 h 3355086"/>
                <a:gd name="connsiteX14021" fmla="*/ 3313413 w 3359086"/>
                <a:gd name="connsiteY14021" fmla="*/ 1738932 h 3355086"/>
                <a:gd name="connsiteX14022" fmla="*/ 3315747 w 3359086"/>
                <a:gd name="connsiteY14022" fmla="*/ 1736598 h 3355086"/>
                <a:gd name="connsiteX14023" fmla="*/ 3316509 w 3359086"/>
                <a:gd name="connsiteY14023" fmla="*/ 1737360 h 3355086"/>
                <a:gd name="connsiteX14024" fmla="*/ 3318890 w 3359086"/>
                <a:gd name="connsiteY14024" fmla="*/ 1734979 h 3355086"/>
                <a:gd name="connsiteX14025" fmla="*/ 3319891 w 3359086"/>
                <a:gd name="connsiteY14025" fmla="*/ 1735980 h 3355086"/>
                <a:gd name="connsiteX14026" fmla="*/ 3322510 w 3359086"/>
                <a:gd name="connsiteY14026" fmla="*/ 1733360 h 3355086"/>
                <a:gd name="connsiteX14027" fmla="*/ 3323795 w 3359086"/>
                <a:gd name="connsiteY14027" fmla="*/ 1734646 h 3355086"/>
                <a:gd name="connsiteX14028" fmla="*/ 3326510 w 3359086"/>
                <a:gd name="connsiteY14028" fmla="*/ 1731931 h 3355086"/>
                <a:gd name="connsiteX14029" fmla="*/ 3328177 w 3359086"/>
                <a:gd name="connsiteY14029" fmla="*/ 1733598 h 3355086"/>
                <a:gd name="connsiteX14030" fmla="*/ 3331177 w 3359086"/>
                <a:gd name="connsiteY14030" fmla="*/ 1730597 h 3355086"/>
                <a:gd name="connsiteX14031" fmla="*/ 3333178 w 3359086"/>
                <a:gd name="connsiteY14031" fmla="*/ 1732598 h 3355086"/>
                <a:gd name="connsiteX14032" fmla="*/ 3336416 w 3359086"/>
                <a:gd name="connsiteY14032" fmla="*/ 1729359 h 3355086"/>
                <a:gd name="connsiteX14033" fmla="*/ 3338750 w 3359086"/>
                <a:gd name="connsiteY14033" fmla="*/ 1731693 h 3355086"/>
                <a:gd name="connsiteX14034" fmla="*/ 3342322 w 3359086"/>
                <a:gd name="connsiteY14034" fmla="*/ 1728121 h 3355086"/>
                <a:gd name="connsiteX14035" fmla="*/ 3345179 w 3359086"/>
                <a:gd name="connsiteY14035" fmla="*/ 1730978 h 3355086"/>
                <a:gd name="connsiteX14036" fmla="*/ 460914 w 3359086"/>
                <a:gd name="connsiteY14036" fmla="*/ 1726407 h 3355086"/>
                <a:gd name="connsiteX14037" fmla="*/ 467105 w 3359086"/>
                <a:gd name="connsiteY14037" fmla="*/ 1732598 h 3355086"/>
                <a:gd name="connsiteX14038" fmla="*/ 460914 w 3359086"/>
                <a:gd name="connsiteY14038" fmla="*/ 1738789 h 3355086"/>
                <a:gd name="connsiteX14039" fmla="*/ 454723 w 3359086"/>
                <a:gd name="connsiteY14039" fmla="*/ 1732598 h 3355086"/>
                <a:gd name="connsiteX14040" fmla="*/ 460914 w 3359086"/>
                <a:gd name="connsiteY14040" fmla="*/ 1726407 h 3355086"/>
                <a:gd name="connsiteX14041" fmla="*/ 2901409 w 3359086"/>
                <a:gd name="connsiteY14041" fmla="*/ 1725263 h 3355086"/>
                <a:gd name="connsiteX14042" fmla="*/ 2907601 w 3359086"/>
                <a:gd name="connsiteY14042" fmla="*/ 1731454 h 3355086"/>
                <a:gd name="connsiteX14043" fmla="*/ 2901409 w 3359086"/>
                <a:gd name="connsiteY14043" fmla="*/ 1737646 h 3355086"/>
                <a:gd name="connsiteX14044" fmla="*/ 2895218 w 3359086"/>
                <a:gd name="connsiteY14044" fmla="*/ 1731454 h 3355086"/>
                <a:gd name="connsiteX14045" fmla="*/ 2901409 w 3359086"/>
                <a:gd name="connsiteY14045" fmla="*/ 1725263 h 3355086"/>
                <a:gd name="connsiteX14046" fmla="*/ 405955 w 3359086"/>
                <a:gd name="connsiteY14046" fmla="*/ 1724216 h 3355086"/>
                <a:gd name="connsiteX14047" fmla="*/ 412146 w 3359086"/>
                <a:gd name="connsiteY14047" fmla="*/ 1730407 h 3355086"/>
                <a:gd name="connsiteX14048" fmla="*/ 405955 w 3359086"/>
                <a:gd name="connsiteY14048" fmla="*/ 1736599 h 3355086"/>
                <a:gd name="connsiteX14049" fmla="*/ 399764 w 3359086"/>
                <a:gd name="connsiteY14049" fmla="*/ 1730407 h 3355086"/>
                <a:gd name="connsiteX14050" fmla="*/ 405955 w 3359086"/>
                <a:gd name="connsiteY14050" fmla="*/ 1724216 h 3355086"/>
                <a:gd name="connsiteX14051" fmla="*/ 2953321 w 3359086"/>
                <a:gd name="connsiteY14051" fmla="*/ 1723168 h 3355086"/>
                <a:gd name="connsiteX14052" fmla="*/ 2959512 w 3359086"/>
                <a:gd name="connsiteY14052" fmla="*/ 1729359 h 3355086"/>
                <a:gd name="connsiteX14053" fmla="*/ 2953321 w 3359086"/>
                <a:gd name="connsiteY14053" fmla="*/ 1735551 h 3355086"/>
                <a:gd name="connsiteX14054" fmla="*/ 2947130 w 3359086"/>
                <a:gd name="connsiteY14054" fmla="*/ 1729359 h 3355086"/>
                <a:gd name="connsiteX14055" fmla="*/ 2953321 w 3359086"/>
                <a:gd name="connsiteY14055" fmla="*/ 1723168 h 3355086"/>
                <a:gd name="connsiteX14056" fmla="*/ 356520 w 3359086"/>
                <a:gd name="connsiteY14056" fmla="*/ 1722216 h 3355086"/>
                <a:gd name="connsiteX14057" fmla="*/ 362712 w 3359086"/>
                <a:gd name="connsiteY14057" fmla="*/ 1728407 h 3355086"/>
                <a:gd name="connsiteX14058" fmla="*/ 356520 w 3359086"/>
                <a:gd name="connsiteY14058" fmla="*/ 1734599 h 3355086"/>
                <a:gd name="connsiteX14059" fmla="*/ 350329 w 3359086"/>
                <a:gd name="connsiteY14059" fmla="*/ 1728407 h 3355086"/>
                <a:gd name="connsiteX14060" fmla="*/ 356520 w 3359086"/>
                <a:gd name="connsiteY14060" fmla="*/ 1722216 h 3355086"/>
                <a:gd name="connsiteX14061" fmla="*/ 2999993 w 3359086"/>
                <a:gd name="connsiteY14061" fmla="*/ 1721168 h 3355086"/>
                <a:gd name="connsiteX14062" fmla="*/ 3006184 w 3359086"/>
                <a:gd name="connsiteY14062" fmla="*/ 1727359 h 3355086"/>
                <a:gd name="connsiteX14063" fmla="*/ 2999993 w 3359086"/>
                <a:gd name="connsiteY14063" fmla="*/ 1733551 h 3355086"/>
                <a:gd name="connsiteX14064" fmla="*/ 2993802 w 3359086"/>
                <a:gd name="connsiteY14064" fmla="*/ 1727359 h 3355086"/>
                <a:gd name="connsiteX14065" fmla="*/ 2999993 w 3359086"/>
                <a:gd name="connsiteY14065" fmla="*/ 1721168 h 3355086"/>
                <a:gd name="connsiteX14066" fmla="*/ 312133 w 3359086"/>
                <a:gd name="connsiteY14066" fmla="*/ 1720215 h 3355086"/>
                <a:gd name="connsiteX14067" fmla="*/ 318324 w 3359086"/>
                <a:gd name="connsiteY14067" fmla="*/ 1726406 h 3355086"/>
                <a:gd name="connsiteX14068" fmla="*/ 312133 w 3359086"/>
                <a:gd name="connsiteY14068" fmla="*/ 1732598 h 3355086"/>
                <a:gd name="connsiteX14069" fmla="*/ 305942 w 3359086"/>
                <a:gd name="connsiteY14069" fmla="*/ 1726406 h 3355086"/>
                <a:gd name="connsiteX14070" fmla="*/ 312133 w 3359086"/>
                <a:gd name="connsiteY14070" fmla="*/ 1720215 h 3355086"/>
                <a:gd name="connsiteX14071" fmla="*/ 3041808 w 3359086"/>
                <a:gd name="connsiteY14071" fmla="*/ 1719263 h 3355086"/>
                <a:gd name="connsiteX14072" fmla="*/ 3047999 w 3359086"/>
                <a:gd name="connsiteY14072" fmla="*/ 1725454 h 3355086"/>
                <a:gd name="connsiteX14073" fmla="*/ 3041808 w 3359086"/>
                <a:gd name="connsiteY14073" fmla="*/ 1731645 h 3355086"/>
                <a:gd name="connsiteX14074" fmla="*/ 3035617 w 3359086"/>
                <a:gd name="connsiteY14074" fmla="*/ 1725454 h 3355086"/>
                <a:gd name="connsiteX14075" fmla="*/ 3041808 w 3359086"/>
                <a:gd name="connsiteY14075" fmla="*/ 1719263 h 3355086"/>
                <a:gd name="connsiteX14076" fmla="*/ 272509 w 3359086"/>
                <a:gd name="connsiteY14076" fmla="*/ 1718310 h 3355086"/>
                <a:gd name="connsiteX14077" fmla="*/ 278701 w 3359086"/>
                <a:gd name="connsiteY14077" fmla="*/ 1724501 h 3355086"/>
                <a:gd name="connsiteX14078" fmla="*/ 272509 w 3359086"/>
                <a:gd name="connsiteY14078" fmla="*/ 1730693 h 3355086"/>
                <a:gd name="connsiteX14079" fmla="*/ 266318 w 3359086"/>
                <a:gd name="connsiteY14079" fmla="*/ 1724501 h 3355086"/>
                <a:gd name="connsiteX14080" fmla="*/ 272509 w 3359086"/>
                <a:gd name="connsiteY14080" fmla="*/ 1718310 h 3355086"/>
                <a:gd name="connsiteX14081" fmla="*/ 3079051 w 3359086"/>
                <a:gd name="connsiteY14081" fmla="*/ 1717358 h 3355086"/>
                <a:gd name="connsiteX14082" fmla="*/ 3085243 w 3359086"/>
                <a:gd name="connsiteY14082" fmla="*/ 1723549 h 3355086"/>
                <a:gd name="connsiteX14083" fmla="*/ 3079051 w 3359086"/>
                <a:gd name="connsiteY14083" fmla="*/ 1729741 h 3355086"/>
                <a:gd name="connsiteX14084" fmla="*/ 3072860 w 3359086"/>
                <a:gd name="connsiteY14084" fmla="*/ 1723549 h 3355086"/>
                <a:gd name="connsiteX14085" fmla="*/ 3079051 w 3359086"/>
                <a:gd name="connsiteY14085" fmla="*/ 1717358 h 3355086"/>
                <a:gd name="connsiteX14086" fmla="*/ 237267 w 3359086"/>
                <a:gd name="connsiteY14086" fmla="*/ 1716596 h 3355086"/>
                <a:gd name="connsiteX14087" fmla="*/ 243458 w 3359086"/>
                <a:gd name="connsiteY14087" fmla="*/ 1722787 h 3355086"/>
                <a:gd name="connsiteX14088" fmla="*/ 237267 w 3359086"/>
                <a:gd name="connsiteY14088" fmla="*/ 1728978 h 3355086"/>
                <a:gd name="connsiteX14089" fmla="*/ 231076 w 3359086"/>
                <a:gd name="connsiteY14089" fmla="*/ 1722787 h 3355086"/>
                <a:gd name="connsiteX14090" fmla="*/ 237267 w 3359086"/>
                <a:gd name="connsiteY14090" fmla="*/ 1716596 h 3355086"/>
                <a:gd name="connsiteX14091" fmla="*/ 3112198 w 3359086"/>
                <a:gd name="connsiteY14091" fmla="*/ 1715643 h 3355086"/>
                <a:gd name="connsiteX14092" fmla="*/ 3118390 w 3359086"/>
                <a:gd name="connsiteY14092" fmla="*/ 1721834 h 3355086"/>
                <a:gd name="connsiteX14093" fmla="*/ 3112198 w 3359086"/>
                <a:gd name="connsiteY14093" fmla="*/ 1728026 h 3355086"/>
                <a:gd name="connsiteX14094" fmla="*/ 3106007 w 3359086"/>
                <a:gd name="connsiteY14094" fmla="*/ 1721834 h 3355086"/>
                <a:gd name="connsiteX14095" fmla="*/ 3112198 w 3359086"/>
                <a:gd name="connsiteY14095" fmla="*/ 1715643 h 3355086"/>
                <a:gd name="connsiteX14096" fmla="*/ 206025 w 3359086"/>
                <a:gd name="connsiteY14096" fmla="*/ 1714786 h 3355086"/>
                <a:gd name="connsiteX14097" fmla="*/ 212217 w 3359086"/>
                <a:gd name="connsiteY14097" fmla="*/ 1720977 h 3355086"/>
                <a:gd name="connsiteX14098" fmla="*/ 206025 w 3359086"/>
                <a:gd name="connsiteY14098" fmla="*/ 1727169 h 3355086"/>
                <a:gd name="connsiteX14099" fmla="*/ 199834 w 3359086"/>
                <a:gd name="connsiteY14099" fmla="*/ 1720977 h 3355086"/>
                <a:gd name="connsiteX14100" fmla="*/ 206025 w 3359086"/>
                <a:gd name="connsiteY14100" fmla="*/ 1714786 h 3355086"/>
                <a:gd name="connsiteX14101" fmla="*/ 3141344 w 3359086"/>
                <a:gd name="connsiteY14101" fmla="*/ 1713929 h 3355086"/>
                <a:gd name="connsiteX14102" fmla="*/ 3147536 w 3359086"/>
                <a:gd name="connsiteY14102" fmla="*/ 1720120 h 3355086"/>
                <a:gd name="connsiteX14103" fmla="*/ 3141344 w 3359086"/>
                <a:gd name="connsiteY14103" fmla="*/ 1726312 h 3355086"/>
                <a:gd name="connsiteX14104" fmla="*/ 3135153 w 3359086"/>
                <a:gd name="connsiteY14104" fmla="*/ 1720120 h 3355086"/>
                <a:gd name="connsiteX14105" fmla="*/ 3141344 w 3359086"/>
                <a:gd name="connsiteY14105" fmla="*/ 1713929 h 3355086"/>
                <a:gd name="connsiteX14106" fmla="*/ 178402 w 3359086"/>
                <a:gd name="connsiteY14106" fmla="*/ 1713167 h 3355086"/>
                <a:gd name="connsiteX14107" fmla="*/ 184593 w 3359086"/>
                <a:gd name="connsiteY14107" fmla="*/ 1719358 h 3355086"/>
                <a:gd name="connsiteX14108" fmla="*/ 178402 w 3359086"/>
                <a:gd name="connsiteY14108" fmla="*/ 1725549 h 3355086"/>
                <a:gd name="connsiteX14109" fmla="*/ 172211 w 3359086"/>
                <a:gd name="connsiteY14109" fmla="*/ 1719358 h 3355086"/>
                <a:gd name="connsiteX14110" fmla="*/ 178402 w 3359086"/>
                <a:gd name="connsiteY14110" fmla="*/ 1713167 h 3355086"/>
                <a:gd name="connsiteX14111" fmla="*/ 3167062 w 3359086"/>
                <a:gd name="connsiteY14111" fmla="*/ 1712309 h 3355086"/>
                <a:gd name="connsiteX14112" fmla="*/ 3173253 w 3359086"/>
                <a:gd name="connsiteY14112" fmla="*/ 1718500 h 3355086"/>
                <a:gd name="connsiteX14113" fmla="*/ 3167062 w 3359086"/>
                <a:gd name="connsiteY14113" fmla="*/ 1724692 h 3355086"/>
                <a:gd name="connsiteX14114" fmla="*/ 3160871 w 3359086"/>
                <a:gd name="connsiteY14114" fmla="*/ 1718500 h 3355086"/>
                <a:gd name="connsiteX14115" fmla="*/ 3167062 w 3359086"/>
                <a:gd name="connsiteY14115" fmla="*/ 1712309 h 3355086"/>
                <a:gd name="connsiteX14116" fmla="*/ 154304 w 3359086"/>
                <a:gd name="connsiteY14116" fmla="*/ 1711547 h 3355086"/>
                <a:gd name="connsiteX14117" fmla="*/ 160496 w 3359086"/>
                <a:gd name="connsiteY14117" fmla="*/ 1717738 h 3355086"/>
                <a:gd name="connsiteX14118" fmla="*/ 154304 w 3359086"/>
                <a:gd name="connsiteY14118" fmla="*/ 1723930 h 3355086"/>
                <a:gd name="connsiteX14119" fmla="*/ 148113 w 3359086"/>
                <a:gd name="connsiteY14119" fmla="*/ 1717738 h 3355086"/>
                <a:gd name="connsiteX14120" fmla="*/ 154304 w 3359086"/>
                <a:gd name="connsiteY14120" fmla="*/ 1711547 h 3355086"/>
                <a:gd name="connsiteX14121" fmla="*/ 3189541 w 3359086"/>
                <a:gd name="connsiteY14121" fmla="*/ 1710786 h 3355086"/>
                <a:gd name="connsiteX14122" fmla="*/ 3195733 w 3359086"/>
                <a:gd name="connsiteY14122" fmla="*/ 1716977 h 3355086"/>
                <a:gd name="connsiteX14123" fmla="*/ 3189541 w 3359086"/>
                <a:gd name="connsiteY14123" fmla="*/ 1723168 h 3355086"/>
                <a:gd name="connsiteX14124" fmla="*/ 3183350 w 3359086"/>
                <a:gd name="connsiteY14124" fmla="*/ 1716977 h 3355086"/>
                <a:gd name="connsiteX14125" fmla="*/ 3189541 w 3359086"/>
                <a:gd name="connsiteY14125" fmla="*/ 1710786 h 3355086"/>
                <a:gd name="connsiteX14126" fmla="*/ 133159 w 3359086"/>
                <a:gd name="connsiteY14126" fmla="*/ 1710024 h 3355086"/>
                <a:gd name="connsiteX14127" fmla="*/ 139351 w 3359086"/>
                <a:gd name="connsiteY14127" fmla="*/ 1716215 h 3355086"/>
                <a:gd name="connsiteX14128" fmla="*/ 133159 w 3359086"/>
                <a:gd name="connsiteY14128" fmla="*/ 1722407 h 3355086"/>
                <a:gd name="connsiteX14129" fmla="*/ 126968 w 3359086"/>
                <a:gd name="connsiteY14129" fmla="*/ 1716215 h 3355086"/>
                <a:gd name="connsiteX14130" fmla="*/ 133159 w 3359086"/>
                <a:gd name="connsiteY14130" fmla="*/ 1710024 h 3355086"/>
                <a:gd name="connsiteX14131" fmla="*/ 3209162 w 3359086"/>
                <a:gd name="connsiteY14131" fmla="*/ 1709262 h 3355086"/>
                <a:gd name="connsiteX14132" fmla="*/ 3215354 w 3359086"/>
                <a:gd name="connsiteY14132" fmla="*/ 1715453 h 3355086"/>
                <a:gd name="connsiteX14133" fmla="*/ 3209162 w 3359086"/>
                <a:gd name="connsiteY14133" fmla="*/ 1721645 h 3355086"/>
                <a:gd name="connsiteX14134" fmla="*/ 3202971 w 3359086"/>
                <a:gd name="connsiteY14134" fmla="*/ 1715453 h 3355086"/>
                <a:gd name="connsiteX14135" fmla="*/ 3209162 w 3359086"/>
                <a:gd name="connsiteY14135" fmla="*/ 1709262 h 3355086"/>
                <a:gd name="connsiteX14136" fmla="*/ 114871 w 3359086"/>
                <a:gd name="connsiteY14136" fmla="*/ 1708595 h 3355086"/>
                <a:gd name="connsiteX14137" fmla="*/ 121063 w 3359086"/>
                <a:gd name="connsiteY14137" fmla="*/ 1714786 h 3355086"/>
                <a:gd name="connsiteX14138" fmla="*/ 114871 w 3359086"/>
                <a:gd name="connsiteY14138" fmla="*/ 1720978 h 3355086"/>
                <a:gd name="connsiteX14139" fmla="*/ 108680 w 3359086"/>
                <a:gd name="connsiteY14139" fmla="*/ 1714786 h 3355086"/>
                <a:gd name="connsiteX14140" fmla="*/ 114871 w 3359086"/>
                <a:gd name="connsiteY14140" fmla="*/ 1708595 h 3355086"/>
                <a:gd name="connsiteX14141" fmla="*/ 3226022 w 3359086"/>
                <a:gd name="connsiteY14141" fmla="*/ 1707833 h 3355086"/>
                <a:gd name="connsiteX14142" fmla="*/ 3232213 w 3359086"/>
                <a:gd name="connsiteY14142" fmla="*/ 1714024 h 3355086"/>
                <a:gd name="connsiteX14143" fmla="*/ 3226022 w 3359086"/>
                <a:gd name="connsiteY14143" fmla="*/ 1720216 h 3355086"/>
                <a:gd name="connsiteX14144" fmla="*/ 3219831 w 3359086"/>
                <a:gd name="connsiteY14144" fmla="*/ 1714024 h 3355086"/>
                <a:gd name="connsiteX14145" fmla="*/ 3226022 w 3359086"/>
                <a:gd name="connsiteY14145" fmla="*/ 1707833 h 3355086"/>
                <a:gd name="connsiteX14146" fmla="*/ 99155 w 3359086"/>
                <a:gd name="connsiteY14146" fmla="*/ 1707261 h 3355086"/>
                <a:gd name="connsiteX14147" fmla="*/ 105347 w 3359086"/>
                <a:gd name="connsiteY14147" fmla="*/ 1713452 h 3355086"/>
                <a:gd name="connsiteX14148" fmla="*/ 99155 w 3359086"/>
                <a:gd name="connsiteY14148" fmla="*/ 1719644 h 3355086"/>
                <a:gd name="connsiteX14149" fmla="*/ 92964 w 3359086"/>
                <a:gd name="connsiteY14149" fmla="*/ 1713452 h 3355086"/>
                <a:gd name="connsiteX14150" fmla="*/ 99155 w 3359086"/>
                <a:gd name="connsiteY14150" fmla="*/ 1707261 h 3355086"/>
                <a:gd name="connsiteX14151" fmla="*/ 3240595 w 3359086"/>
                <a:gd name="connsiteY14151" fmla="*/ 1706499 h 3355086"/>
                <a:gd name="connsiteX14152" fmla="*/ 3246786 w 3359086"/>
                <a:gd name="connsiteY14152" fmla="*/ 1712690 h 3355086"/>
                <a:gd name="connsiteX14153" fmla="*/ 3240595 w 3359086"/>
                <a:gd name="connsiteY14153" fmla="*/ 1718882 h 3355086"/>
                <a:gd name="connsiteX14154" fmla="*/ 3234404 w 3359086"/>
                <a:gd name="connsiteY14154" fmla="*/ 1712690 h 3355086"/>
                <a:gd name="connsiteX14155" fmla="*/ 3240595 w 3359086"/>
                <a:gd name="connsiteY14155" fmla="*/ 1706499 h 3355086"/>
                <a:gd name="connsiteX14156" fmla="*/ 85629 w 3359086"/>
                <a:gd name="connsiteY14156" fmla="*/ 1705928 h 3355086"/>
                <a:gd name="connsiteX14157" fmla="*/ 91821 w 3359086"/>
                <a:gd name="connsiteY14157" fmla="*/ 1712119 h 3355086"/>
                <a:gd name="connsiteX14158" fmla="*/ 85629 w 3359086"/>
                <a:gd name="connsiteY14158" fmla="*/ 1718311 h 3355086"/>
                <a:gd name="connsiteX14159" fmla="*/ 79438 w 3359086"/>
                <a:gd name="connsiteY14159" fmla="*/ 1712119 h 3355086"/>
                <a:gd name="connsiteX14160" fmla="*/ 85629 w 3359086"/>
                <a:gd name="connsiteY14160" fmla="*/ 1705928 h 3355086"/>
                <a:gd name="connsiteX14161" fmla="*/ 8762 w 3359086"/>
                <a:gd name="connsiteY14161" fmla="*/ 1691736 h 3355086"/>
                <a:gd name="connsiteX14162" fmla="*/ 10809 w 3359086"/>
                <a:gd name="connsiteY14162" fmla="*/ 1693784 h 3355086"/>
                <a:gd name="connsiteX14163" fmla="*/ 12286 w 3359086"/>
                <a:gd name="connsiteY14163" fmla="*/ 1692307 h 3355086"/>
                <a:gd name="connsiteX14164" fmla="*/ 14191 w 3359086"/>
                <a:gd name="connsiteY14164" fmla="*/ 1694213 h 3355086"/>
                <a:gd name="connsiteX14165" fmla="*/ 15430 w 3359086"/>
                <a:gd name="connsiteY14165" fmla="*/ 1692974 h 3355086"/>
                <a:gd name="connsiteX14166" fmla="*/ 17096 w 3359086"/>
                <a:gd name="connsiteY14166" fmla="*/ 1694641 h 3355086"/>
                <a:gd name="connsiteX14167" fmla="*/ 18192 w 3359086"/>
                <a:gd name="connsiteY14167" fmla="*/ 1693545 h 3355086"/>
                <a:gd name="connsiteX14168" fmla="*/ 19811 w 3359086"/>
                <a:gd name="connsiteY14168" fmla="*/ 1695165 h 3355086"/>
                <a:gd name="connsiteX14169" fmla="*/ 20764 w 3359086"/>
                <a:gd name="connsiteY14169" fmla="*/ 1694212 h 3355086"/>
                <a:gd name="connsiteX14170" fmla="*/ 22430 w 3359086"/>
                <a:gd name="connsiteY14170" fmla="*/ 1695879 h 3355086"/>
                <a:gd name="connsiteX14171" fmla="*/ 23335 w 3359086"/>
                <a:gd name="connsiteY14171" fmla="*/ 1694974 h 3355086"/>
                <a:gd name="connsiteX14172" fmla="*/ 24954 w 3359086"/>
                <a:gd name="connsiteY14172" fmla="*/ 1696594 h 3355086"/>
                <a:gd name="connsiteX14173" fmla="*/ 25812 w 3359086"/>
                <a:gd name="connsiteY14173" fmla="*/ 1695736 h 3355086"/>
                <a:gd name="connsiteX14174" fmla="*/ 27526 w 3359086"/>
                <a:gd name="connsiteY14174" fmla="*/ 1697451 h 3355086"/>
                <a:gd name="connsiteX14175" fmla="*/ 28479 w 3359086"/>
                <a:gd name="connsiteY14175" fmla="*/ 1696498 h 3355086"/>
                <a:gd name="connsiteX14176" fmla="*/ 30384 w 3359086"/>
                <a:gd name="connsiteY14176" fmla="*/ 1698403 h 3355086"/>
                <a:gd name="connsiteX14177" fmla="*/ 31432 w 3359086"/>
                <a:gd name="connsiteY14177" fmla="*/ 1697355 h 3355086"/>
                <a:gd name="connsiteX14178" fmla="*/ 33575 w 3359086"/>
                <a:gd name="connsiteY14178" fmla="*/ 1699498 h 3355086"/>
                <a:gd name="connsiteX14179" fmla="*/ 34861 w 3359086"/>
                <a:gd name="connsiteY14179" fmla="*/ 1698212 h 3355086"/>
                <a:gd name="connsiteX14180" fmla="*/ 37338 w 3359086"/>
                <a:gd name="connsiteY14180" fmla="*/ 1700689 h 3355086"/>
                <a:gd name="connsiteX14181" fmla="*/ 38861 w 3359086"/>
                <a:gd name="connsiteY14181" fmla="*/ 1699165 h 3355086"/>
                <a:gd name="connsiteX14182" fmla="*/ 41719 w 3359086"/>
                <a:gd name="connsiteY14182" fmla="*/ 1702023 h 3355086"/>
                <a:gd name="connsiteX14183" fmla="*/ 43624 w 3359086"/>
                <a:gd name="connsiteY14183" fmla="*/ 1700117 h 3355086"/>
                <a:gd name="connsiteX14184" fmla="*/ 47006 w 3359086"/>
                <a:gd name="connsiteY14184" fmla="*/ 1703498 h 3355086"/>
                <a:gd name="connsiteX14185" fmla="*/ 49339 w 3359086"/>
                <a:gd name="connsiteY14185" fmla="*/ 1701165 h 3355086"/>
                <a:gd name="connsiteX14186" fmla="*/ 53339 w 3359086"/>
                <a:gd name="connsiteY14186" fmla="*/ 1705166 h 3355086"/>
                <a:gd name="connsiteX14187" fmla="*/ 56197 w 3359086"/>
                <a:gd name="connsiteY14187" fmla="*/ 1702308 h 3355086"/>
                <a:gd name="connsiteX14188" fmla="*/ 60864 w 3359086"/>
                <a:gd name="connsiteY14188" fmla="*/ 1706975 h 3355086"/>
                <a:gd name="connsiteX14189" fmla="*/ 64388 w 3359086"/>
                <a:gd name="connsiteY14189" fmla="*/ 1703451 h 3355086"/>
                <a:gd name="connsiteX14190" fmla="*/ 69817 w 3359086"/>
                <a:gd name="connsiteY14190" fmla="*/ 1708881 h 3355086"/>
                <a:gd name="connsiteX14191" fmla="*/ 74104 w 3359086"/>
                <a:gd name="connsiteY14191" fmla="*/ 1704594 h 3355086"/>
                <a:gd name="connsiteX14192" fmla="*/ 80296 w 3359086"/>
                <a:gd name="connsiteY14192" fmla="*/ 1710785 h 3355086"/>
                <a:gd name="connsiteX14193" fmla="*/ 74104 w 3359086"/>
                <a:gd name="connsiteY14193" fmla="*/ 1716977 h 3355086"/>
                <a:gd name="connsiteX14194" fmla="*/ 68674 w 3359086"/>
                <a:gd name="connsiteY14194" fmla="*/ 1711547 h 3355086"/>
                <a:gd name="connsiteX14195" fmla="*/ 64388 w 3359086"/>
                <a:gd name="connsiteY14195" fmla="*/ 1715834 h 3355086"/>
                <a:gd name="connsiteX14196" fmla="*/ 59721 w 3359086"/>
                <a:gd name="connsiteY14196" fmla="*/ 1711167 h 3355086"/>
                <a:gd name="connsiteX14197" fmla="*/ 56197 w 3359086"/>
                <a:gd name="connsiteY14197" fmla="*/ 1714690 h 3355086"/>
                <a:gd name="connsiteX14198" fmla="*/ 52197 w 3359086"/>
                <a:gd name="connsiteY14198" fmla="*/ 1710690 h 3355086"/>
                <a:gd name="connsiteX14199" fmla="*/ 49339 w 3359086"/>
                <a:gd name="connsiteY14199" fmla="*/ 1713548 h 3355086"/>
                <a:gd name="connsiteX14200" fmla="*/ 45958 w 3359086"/>
                <a:gd name="connsiteY14200" fmla="*/ 1710166 h 3355086"/>
                <a:gd name="connsiteX14201" fmla="*/ 43624 w 3359086"/>
                <a:gd name="connsiteY14201" fmla="*/ 1712500 h 3355086"/>
                <a:gd name="connsiteX14202" fmla="*/ 40766 w 3359086"/>
                <a:gd name="connsiteY14202" fmla="*/ 1709642 h 3355086"/>
                <a:gd name="connsiteX14203" fmla="*/ 38861 w 3359086"/>
                <a:gd name="connsiteY14203" fmla="*/ 1711547 h 3355086"/>
                <a:gd name="connsiteX14204" fmla="*/ 36385 w 3359086"/>
                <a:gd name="connsiteY14204" fmla="*/ 1709071 h 3355086"/>
                <a:gd name="connsiteX14205" fmla="*/ 34861 w 3359086"/>
                <a:gd name="connsiteY14205" fmla="*/ 1710595 h 3355086"/>
                <a:gd name="connsiteX14206" fmla="*/ 32718 w 3359086"/>
                <a:gd name="connsiteY14206" fmla="*/ 1708452 h 3355086"/>
                <a:gd name="connsiteX14207" fmla="*/ 31432 w 3359086"/>
                <a:gd name="connsiteY14207" fmla="*/ 1709738 h 3355086"/>
                <a:gd name="connsiteX14208" fmla="*/ 29527 w 3359086"/>
                <a:gd name="connsiteY14208" fmla="*/ 1707833 h 3355086"/>
                <a:gd name="connsiteX14209" fmla="*/ 28479 w 3359086"/>
                <a:gd name="connsiteY14209" fmla="*/ 1708880 h 3355086"/>
                <a:gd name="connsiteX14210" fmla="*/ 26765 w 3359086"/>
                <a:gd name="connsiteY14210" fmla="*/ 1707166 h 3355086"/>
                <a:gd name="connsiteX14211" fmla="*/ 25812 w 3359086"/>
                <a:gd name="connsiteY14211" fmla="*/ 1708119 h 3355086"/>
                <a:gd name="connsiteX14212" fmla="*/ 24192 w 3359086"/>
                <a:gd name="connsiteY14212" fmla="*/ 1706500 h 3355086"/>
                <a:gd name="connsiteX14213" fmla="*/ 23335 w 3359086"/>
                <a:gd name="connsiteY14213" fmla="*/ 1707357 h 3355086"/>
                <a:gd name="connsiteX14214" fmla="*/ 21668 w 3359086"/>
                <a:gd name="connsiteY14214" fmla="*/ 1705691 h 3355086"/>
                <a:gd name="connsiteX14215" fmla="*/ 20764 w 3359086"/>
                <a:gd name="connsiteY14215" fmla="*/ 1706595 h 3355086"/>
                <a:gd name="connsiteX14216" fmla="*/ 19144 w 3359086"/>
                <a:gd name="connsiteY14216" fmla="*/ 1704976 h 3355086"/>
                <a:gd name="connsiteX14217" fmla="*/ 18192 w 3359086"/>
                <a:gd name="connsiteY14217" fmla="*/ 1705928 h 3355086"/>
                <a:gd name="connsiteX14218" fmla="*/ 16525 w 3359086"/>
                <a:gd name="connsiteY14218" fmla="*/ 1704262 h 3355086"/>
                <a:gd name="connsiteX14219" fmla="*/ 15430 w 3359086"/>
                <a:gd name="connsiteY14219" fmla="*/ 1705357 h 3355086"/>
                <a:gd name="connsiteX14220" fmla="*/ 13524 w 3359086"/>
                <a:gd name="connsiteY14220" fmla="*/ 1703452 h 3355086"/>
                <a:gd name="connsiteX14221" fmla="*/ 12286 w 3359086"/>
                <a:gd name="connsiteY14221" fmla="*/ 1704690 h 3355086"/>
                <a:gd name="connsiteX14222" fmla="*/ 10238 w 3359086"/>
                <a:gd name="connsiteY14222" fmla="*/ 1702642 h 3355086"/>
                <a:gd name="connsiteX14223" fmla="*/ 8762 w 3359086"/>
                <a:gd name="connsiteY14223" fmla="*/ 1704118 h 3355086"/>
                <a:gd name="connsiteX14224" fmla="*/ 5857 w 3359086"/>
                <a:gd name="connsiteY14224" fmla="*/ 1701214 h 3355086"/>
                <a:gd name="connsiteX14225" fmla="*/ 4858 w 3359086"/>
                <a:gd name="connsiteY14225" fmla="*/ 1702213 h 3355086"/>
                <a:gd name="connsiteX14226" fmla="*/ 0 w 3359086"/>
                <a:gd name="connsiteY14226" fmla="*/ 1697355 h 3355086"/>
                <a:gd name="connsiteX14227" fmla="*/ 4858 w 3359086"/>
                <a:gd name="connsiteY14227" fmla="*/ 1692497 h 3355086"/>
                <a:gd name="connsiteX14228" fmla="*/ 6429 w 3359086"/>
                <a:gd name="connsiteY14228" fmla="*/ 1694069 h 3355086"/>
                <a:gd name="connsiteX14229" fmla="*/ 3346322 w 3359086"/>
                <a:gd name="connsiteY14229" fmla="*/ 1689640 h 3355086"/>
                <a:gd name="connsiteX14230" fmla="*/ 3350227 w 3359086"/>
                <a:gd name="connsiteY14230" fmla="*/ 1693546 h 3355086"/>
                <a:gd name="connsiteX14231" fmla="*/ 3353371 w 3359086"/>
                <a:gd name="connsiteY14231" fmla="*/ 1690402 h 3355086"/>
                <a:gd name="connsiteX14232" fmla="*/ 3358419 w 3359086"/>
                <a:gd name="connsiteY14232" fmla="*/ 1695450 h 3355086"/>
                <a:gd name="connsiteX14233" fmla="*/ 3353371 w 3359086"/>
                <a:gd name="connsiteY14233" fmla="*/ 1700499 h 3355086"/>
                <a:gd name="connsiteX14234" fmla="*/ 3350608 w 3359086"/>
                <a:gd name="connsiteY14234" fmla="*/ 1697736 h 3355086"/>
                <a:gd name="connsiteX14235" fmla="*/ 3346322 w 3359086"/>
                <a:gd name="connsiteY14235" fmla="*/ 1702022 h 3355086"/>
                <a:gd name="connsiteX14236" fmla="*/ 3343465 w 3359086"/>
                <a:gd name="connsiteY14236" fmla="*/ 1699165 h 3355086"/>
                <a:gd name="connsiteX14237" fmla="*/ 3340131 w 3359086"/>
                <a:gd name="connsiteY14237" fmla="*/ 1702499 h 3355086"/>
                <a:gd name="connsiteX14238" fmla="*/ 3337559 w 3359086"/>
                <a:gd name="connsiteY14238" fmla="*/ 1699927 h 3355086"/>
                <a:gd name="connsiteX14239" fmla="*/ 3334607 w 3359086"/>
                <a:gd name="connsiteY14239" fmla="*/ 1702879 h 3355086"/>
                <a:gd name="connsiteX14240" fmla="*/ 3332417 w 3359086"/>
                <a:gd name="connsiteY14240" fmla="*/ 1700689 h 3355086"/>
                <a:gd name="connsiteX14241" fmla="*/ 3329749 w 3359086"/>
                <a:gd name="connsiteY14241" fmla="*/ 1703357 h 3355086"/>
                <a:gd name="connsiteX14242" fmla="*/ 3327844 w 3359086"/>
                <a:gd name="connsiteY14242" fmla="*/ 1701452 h 3355086"/>
                <a:gd name="connsiteX14243" fmla="*/ 3325463 w 3359086"/>
                <a:gd name="connsiteY14243" fmla="*/ 1703832 h 3355086"/>
                <a:gd name="connsiteX14244" fmla="*/ 3323843 w 3359086"/>
                <a:gd name="connsiteY14244" fmla="*/ 1702212 h 3355086"/>
                <a:gd name="connsiteX14245" fmla="*/ 3321652 w 3359086"/>
                <a:gd name="connsiteY14245" fmla="*/ 1704403 h 3355086"/>
                <a:gd name="connsiteX14246" fmla="*/ 3320320 w 3359086"/>
                <a:gd name="connsiteY14246" fmla="*/ 1703071 h 3355086"/>
                <a:gd name="connsiteX14247" fmla="*/ 3318414 w 3359086"/>
                <a:gd name="connsiteY14247" fmla="*/ 1704976 h 3355086"/>
                <a:gd name="connsiteX14248" fmla="*/ 3317271 w 3359086"/>
                <a:gd name="connsiteY14248" fmla="*/ 1703833 h 3355086"/>
                <a:gd name="connsiteX14249" fmla="*/ 3315461 w 3359086"/>
                <a:gd name="connsiteY14249" fmla="*/ 1705642 h 3355086"/>
                <a:gd name="connsiteX14250" fmla="*/ 3314366 w 3359086"/>
                <a:gd name="connsiteY14250" fmla="*/ 1704547 h 3355086"/>
                <a:gd name="connsiteX14251" fmla="*/ 3312699 w 3359086"/>
                <a:gd name="connsiteY14251" fmla="*/ 1706213 h 3355086"/>
                <a:gd name="connsiteX14252" fmla="*/ 3311842 w 3359086"/>
                <a:gd name="connsiteY14252" fmla="*/ 1705357 h 3355086"/>
                <a:gd name="connsiteX14253" fmla="*/ 3310223 w 3359086"/>
                <a:gd name="connsiteY14253" fmla="*/ 1706976 h 3355086"/>
                <a:gd name="connsiteX14254" fmla="*/ 3309318 w 3359086"/>
                <a:gd name="connsiteY14254" fmla="*/ 1706071 h 3355086"/>
                <a:gd name="connsiteX14255" fmla="*/ 3307746 w 3359086"/>
                <a:gd name="connsiteY14255" fmla="*/ 1707643 h 3355086"/>
                <a:gd name="connsiteX14256" fmla="*/ 3306841 w 3359086"/>
                <a:gd name="connsiteY14256" fmla="*/ 1706738 h 3355086"/>
                <a:gd name="connsiteX14257" fmla="*/ 3305174 w 3359086"/>
                <a:gd name="connsiteY14257" fmla="*/ 1708405 h 3355086"/>
                <a:gd name="connsiteX14258" fmla="*/ 3304174 w 3359086"/>
                <a:gd name="connsiteY14258" fmla="*/ 1707405 h 3355086"/>
                <a:gd name="connsiteX14259" fmla="*/ 3302317 w 3359086"/>
                <a:gd name="connsiteY14259" fmla="*/ 1709262 h 3355086"/>
                <a:gd name="connsiteX14260" fmla="*/ 3301174 w 3359086"/>
                <a:gd name="connsiteY14260" fmla="*/ 1708119 h 3355086"/>
                <a:gd name="connsiteX14261" fmla="*/ 3299174 w 3359086"/>
                <a:gd name="connsiteY14261" fmla="*/ 1710119 h 3355086"/>
                <a:gd name="connsiteX14262" fmla="*/ 3297841 w 3359086"/>
                <a:gd name="connsiteY14262" fmla="*/ 1708786 h 3355086"/>
                <a:gd name="connsiteX14263" fmla="*/ 3295554 w 3359086"/>
                <a:gd name="connsiteY14263" fmla="*/ 1711072 h 3355086"/>
                <a:gd name="connsiteX14264" fmla="*/ 3293839 w 3359086"/>
                <a:gd name="connsiteY14264" fmla="*/ 1709357 h 3355086"/>
                <a:gd name="connsiteX14265" fmla="*/ 3291173 w 3359086"/>
                <a:gd name="connsiteY14265" fmla="*/ 1712024 h 3355086"/>
                <a:gd name="connsiteX14266" fmla="*/ 3289078 w 3359086"/>
                <a:gd name="connsiteY14266" fmla="*/ 1709929 h 3355086"/>
                <a:gd name="connsiteX14267" fmla="*/ 3286029 w 3359086"/>
                <a:gd name="connsiteY14267" fmla="*/ 1712977 h 3355086"/>
                <a:gd name="connsiteX14268" fmla="*/ 3283457 w 3359086"/>
                <a:gd name="connsiteY14268" fmla="*/ 1710405 h 3355086"/>
                <a:gd name="connsiteX14269" fmla="*/ 3279838 w 3359086"/>
                <a:gd name="connsiteY14269" fmla="*/ 1714024 h 3355086"/>
                <a:gd name="connsiteX14270" fmla="*/ 3276694 w 3359086"/>
                <a:gd name="connsiteY14270" fmla="*/ 1710880 h 3355086"/>
                <a:gd name="connsiteX14271" fmla="*/ 3272408 w 3359086"/>
                <a:gd name="connsiteY14271" fmla="*/ 1715167 h 3355086"/>
                <a:gd name="connsiteX14272" fmla="*/ 3268551 w 3359086"/>
                <a:gd name="connsiteY14272" fmla="*/ 1711310 h 3355086"/>
                <a:gd name="connsiteX14273" fmla="*/ 3263455 w 3359086"/>
                <a:gd name="connsiteY14273" fmla="*/ 1716406 h 3355086"/>
                <a:gd name="connsiteX14274" fmla="*/ 3258788 w 3359086"/>
                <a:gd name="connsiteY14274" fmla="*/ 1711738 h 3355086"/>
                <a:gd name="connsiteX14275" fmla="*/ 3252977 w 3359086"/>
                <a:gd name="connsiteY14275" fmla="*/ 1717549 h 3355086"/>
                <a:gd name="connsiteX14276" fmla="*/ 3246786 w 3359086"/>
                <a:gd name="connsiteY14276" fmla="*/ 1711357 h 3355086"/>
                <a:gd name="connsiteX14277" fmla="*/ 3252977 w 3359086"/>
                <a:gd name="connsiteY14277" fmla="*/ 1705166 h 3355086"/>
                <a:gd name="connsiteX14278" fmla="*/ 3257645 w 3359086"/>
                <a:gd name="connsiteY14278" fmla="*/ 1709833 h 3355086"/>
                <a:gd name="connsiteX14279" fmla="*/ 3263455 w 3359086"/>
                <a:gd name="connsiteY14279" fmla="*/ 1704023 h 3355086"/>
                <a:gd name="connsiteX14280" fmla="*/ 3267312 w 3359086"/>
                <a:gd name="connsiteY14280" fmla="*/ 1707880 h 3355086"/>
                <a:gd name="connsiteX14281" fmla="*/ 3272408 w 3359086"/>
                <a:gd name="connsiteY14281" fmla="*/ 1702784 h 3355086"/>
                <a:gd name="connsiteX14282" fmla="*/ 3275551 w 3359086"/>
                <a:gd name="connsiteY14282" fmla="*/ 1705928 h 3355086"/>
                <a:gd name="connsiteX14283" fmla="*/ 3279838 w 3359086"/>
                <a:gd name="connsiteY14283" fmla="*/ 1701641 h 3355086"/>
                <a:gd name="connsiteX14284" fmla="*/ 3282410 w 3359086"/>
                <a:gd name="connsiteY14284" fmla="*/ 1704213 h 3355086"/>
                <a:gd name="connsiteX14285" fmla="*/ 3286029 w 3359086"/>
                <a:gd name="connsiteY14285" fmla="*/ 1700594 h 3355086"/>
                <a:gd name="connsiteX14286" fmla="*/ 3288125 w 3359086"/>
                <a:gd name="connsiteY14286" fmla="*/ 1702690 h 3355086"/>
                <a:gd name="connsiteX14287" fmla="*/ 3291173 w 3359086"/>
                <a:gd name="connsiteY14287" fmla="*/ 1699641 h 3355086"/>
                <a:gd name="connsiteX14288" fmla="*/ 3292887 w 3359086"/>
                <a:gd name="connsiteY14288" fmla="*/ 1701356 h 3355086"/>
                <a:gd name="connsiteX14289" fmla="*/ 3295554 w 3359086"/>
                <a:gd name="connsiteY14289" fmla="*/ 1698689 h 3355086"/>
                <a:gd name="connsiteX14290" fmla="*/ 3296888 w 3359086"/>
                <a:gd name="connsiteY14290" fmla="*/ 1700023 h 3355086"/>
                <a:gd name="connsiteX14291" fmla="*/ 3299174 w 3359086"/>
                <a:gd name="connsiteY14291" fmla="*/ 1697736 h 3355086"/>
                <a:gd name="connsiteX14292" fmla="*/ 3300317 w 3359086"/>
                <a:gd name="connsiteY14292" fmla="*/ 1698879 h 3355086"/>
                <a:gd name="connsiteX14293" fmla="*/ 3302317 w 3359086"/>
                <a:gd name="connsiteY14293" fmla="*/ 1696879 h 3355086"/>
                <a:gd name="connsiteX14294" fmla="*/ 3303317 w 3359086"/>
                <a:gd name="connsiteY14294" fmla="*/ 1697879 h 3355086"/>
                <a:gd name="connsiteX14295" fmla="*/ 3305174 w 3359086"/>
                <a:gd name="connsiteY14295" fmla="*/ 1696022 h 3355086"/>
                <a:gd name="connsiteX14296" fmla="*/ 3306079 w 3359086"/>
                <a:gd name="connsiteY14296" fmla="*/ 1696927 h 3355086"/>
                <a:gd name="connsiteX14297" fmla="*/ 3307746 w 3359086"/>
                <a:gd name="connsiteY14297" fmla="*/ 1695260 h 3355086"/>
                <a:gd name="connsiteX14298" fmla="*/ 3308651 w 3359086"/>
                <a:gd name="connsiteY14298" fmla="*/ 1696165 h 3355086"/>
                <a:gd name="connsiteX14299" fmla="*/ 3310223 w 3359086"/>
                <a:gd name="connsiteY14299" fmla="*/ 1694593 h 3355086"/>
                <a:gd name="connsiteX14300" fmla="*/ 3311080 w 3359086"/>
                <a:gd name="connsiteY14300" fmla="*/ 1695450 h 3355086"/>
                <a:gd name="connsiteX14301" fmla="*/ 3312699 w 3359086"/>
                <a:gd name="connsiteY14301" fmla="*/ 1693831 h 3355086"/>
                <a:gd name="connsiteX14302" fmla="*/ 3313794 w 3359086"/>
                <a:gd name="connsiteY14302" fmla="*/ 1694926 h 3355086"/>
                <a:gd name="connsiteX14303" fmla="*/ 3315461 w 3359086"/>
                <a:gd name="connsiteY14303" fmla="*/ 1693259 h 3355086"/>
                <a:gd name="connsiteX14304" fmla="*/ 3316605 w 3359086"/>
                <a:gd name="connsiteY14304" fmla="*/ 1694403 h 3355086"/>
                <a:gd name="connsiteX14305" fmla="*/ 3318414 w 3359086"/>
                <a:gd name="connsiteY14305" fmla="*/ 1692593 h 3355086"/>
                <a:gd name="connsiteX14306" fmla="*/ 3319747 w 3359086"/>
                <a:gd name="connsiteY14306" fmla="*/ 1693926 h 3355086"/>
                <a:gd name="connsiteX14307" fmla="*/ 3321652 w 3359086"/>
                <a:gd name="connsiteY14307" fmla="*/ 1692021 h 3355086"/>
                <a:gd name="connsiteX14308" fmla="*/ 3323272 w 3359086"/>
                <a:gd name="connsiteY14308" fmla="*/ 1693641 h 3355086"/>
                <a:gd name="connsiteX14309" fmla="*/ 3325463 w 3359086"/>
                <a:gd name="connsiteY14309" fmla="*/ 1691450 h 3355086"/>
                <a:gd name="connsiteX14310" fmla="*/ 3327368 w 3359086"/>
                <a:gd name="connsiteY14310" fmla="*/ 1693355 h 3355086"/>
                <a:gd name="connsiteX14311" fmla="*/ 3329749 w 3359086"/>
                <a:gd name="connsiteY14311" fmla="*/ 1690974 h 3355086"/>
                <a:gd name="connsiteX14312" fmla="*/ 3331940 w 3359086"/>
                <a:gd name="connsiteY14312" fmla="*/ 1693165 h 3355086"/>
                <a:gd name="connsiteX14313" fmla="*/ 3334607 w 3359086"/>
                <a:gd name="connsiteY14313" fmla="*/ 1690497 h 3355086"/>
                <a:gd name="connsiteX14314" fmla="*/ 3337178 w 3359086"/>
                <a:gd name="connsiteY14314" fmla="*/ 1693069 h 3355086"/>
                <a:gd name="connsiteX14315" fmla="*/ 3340131 w 3359086"/>
                <a:gd name="connsiteY14315" fmla="*/ 1690116 h 3355086"/>
                <a:gd name="connsiteX14316" fmla="*/ 3342989 w 3359086"/>
                <a:gd name="connsiteY14316" fmla="*/ 1692974 h 3355086"/>
                <a:gd name="connsiteX14317" fmla="*/ 79438 w 3359086"/>
                <a:gd name="connsiteY14317" fmla="*/ 1639824 h 3355086"/>
                <a:gd name="connsiteX14318" fmla="*/ 85629 w 3359086"/>
                <a:gd name="connsiteY14318" fmla="*/ 1646015 h 3355086"/>
                <a:gd name="connsiteX14319" fmla="*/ 79438 w 3359086"/>
                <a:gd name="connsiteY14319" fmla="*/ 1652207 h 3355086"/>
                <a:gd name="connsiteX14320" fmla="*/ 74581 w 3359086"/>
                <a:gd name="connsiteY14320" fmla="*/ 1647349 h 3355086"/>
                <a:gd name="connsiteX14321" fmla="*/ 68865 w 3359086"/>
                <a:gd name="connsiteY14321" fmla="*/ 1653064 h 3355086"/>
                <a:gd name="connsiteX14322" fmla="*/ 64864 w 3359086"/>
                <a:gd name="connsiteY14322" fmla="*/ 1649064 h 3355086"/>
                <a:gd name="connsiteX14323" fmla="*/ 59911 w 3359086"/>
                <a:gd name="connsiteY14323" fmla="*/ 1654017 h 3355086"/>
                <a:gd name="connsiteX14324" fmla="*/ 56625 w 3359086"/>
                <a:gd name="connsiteY14324" fmla="*/ 1650731 h 3355086"/>
                <a:gd name="connsiteX14325" fmla="*/ 52482 w 3359086"/>
                <a:gd name="connsiteY14325" fmla="*/ 1654874 h 3355086"/>
                <a:gd name="connsiteX14326" fmla="*/ 49720 w 3359086"/>
                <a:gd name="connsiteY14326" fmla="*/ 1652112 h 3355086"/>
                <a:gd name="connsiteX14327" fmla="*/ 46195 w 3359086"/>
                <a:gd name="connsiteY14327" fmla="*/ 1655636 h 3355086"/>
                <a:gd name="connsiteX14328" fmla="*/ 44004 w 3359086"/>
                <a:gd name="connsiteY14328" fmla="*/ 1653446 h 3355086"/>
                <a:gd name="connsiteX14329" fmla="*/ 41052 w 3359086"/>
                <a:gd name="connsiteY14329" fmla="*/ 1656398 h 3355086"/>
                <a:gd name="connsiteX14330" fmla="*/ 39242 w 3359086"/>
                <a:gd name="connsiteY14330" fmla="*/ 1654589 h 3355086"/>
                <a:gd name="connsiteX14331" fmla="*/ 36671 w 3359086"/>
                <a:gd name="connsiteY14331" fmla="*/ 1657160 h 3355086"/>
                <a:gd name="connsiteX14332" fmla="*/ 35147 w 3359086"/>
                <a:gd name="connsiteY14332" fmla="*/ 1655636 h 3355086"/>
                <a:gd name="connsiteX14333" fmla="*/ 32956 w 3359086"/>
                <a:gd name="connsiteY14333" fmla="*/ 1657826 h 3355086"/>
                <a:gd name="connsiteX14334" fmla="*/ 31718 w 3359086"/>
                <a:gd name="connsiteY14334" fmla="*/ 1656589 h 3355086"/>
                <a:gd name="connsiteX14335" fmla="*/ 29813 w 3359086"/>
                <a:gd name="connsiteY14335" fmla="*/ 1658494 h 3355086"/>
                <a:gd name="connsiteX14336" fmla="*/ 28765 w 3359086"/>
                <a:gd name="connsiteY14336" fmla="*/ 1657446 h 3355086"/>
                <a:gd name="connsiteX14337" fmla="*/ 27050 w 3359086"/>
                <a:gd name="connsiteY14337" fmla="*/ 1659160 h 3355086"/>
                <a:gd name="connsiteX14338" fmla="*/ 26050 w 3359086"/>
                <a:gd name="connsiteY14338" fmla="*/ 1658160 h 3355086"/>
                <a:gd name="connsiteX14339" fmla="*/ 24478 w 3359086"/>
                <a:gd name="connsiteY14339" fmla="*/ 1659732 h 3355086"/>
                <a:gd name="connsiteX14340" fmla="*/ 23526 w 3359086"/>
                <a:gd name="connsiteY14340" fmla="*/ 1658780 h 3355086"/>
                <a:gd name="connsiteX14341" fmla="*/ 22002 w 3359086"/>
                <a:gd name="connsiteY14341" fmla="*/ 1660304 h 3355086"/>
                <a:gd name="connsiteX14342" fmla="*/ 21001 w 3359086"/>
                <a:gd name="connsiteY14342" fmla="*/ 1659304 h 3355086"/>
                <a:gd name="connsiteX14343" fmla="*/ 19430 w 3359086"/>
                <a:gd name="connsiteY14343" fmla="*/ 1660875 h 3355086"/>
                <a:gd name="connsiteX14344" fmla="*/ 18334 w 3359086"/>
                <a:gd name="connsiteY14344" fmla="*/ 1659780 h 3355086"/>
                <a:gd name="connsiteX14345" fmla="*/ 16763 w 3359086"/>
                <a:gd name="connsiteY14345" fmla="*/ 1661351 h 3355086"/>
                <a:gd name="connsiteX14346" fmla="*/ 15525 w 3359086"/>
                <a:gd name="connsiteY14346" fmla="*/ 1660114 h 3355086"/>
                <a:gd name="connsiteX14347" fmla="*/ 13811 w 3359086"/>
                <a:gd name="connsiteY14347" fmla="*/ 1661828 h 3355086"/>
                <a:gd name="connsiteX14348" fmla="*/ 12381 w 3359086"/>
                <a:gd name="connsiteY14348" fmla="*/ 1660399 h 3355086"/>
                <a:gd name="connsiteX14349" fmla="*/ 10572 w 3359086"/>
                <a:gd name="connsiteY14349" fmla="*/ 1662208 h 3355086"/>
                <a:gd name="connsiteX14350" fmla="*/ 8953 w 3359086"/>
                <a:gd name="connsiteY14350" fmla="*/ 1660589 h 3355086"/>
                <a:gd name="connsiteX14351" fmla="*/ 6857 w 3359086"/>
                <a:gd name="connsiteY14351" fmla="*/ 1662685 h 3355086"/>
                <a:gd name="connsiteX14352" fmla="*/ 2618 w 3359086"/>
                <a:gd name="connsiteY14352" fmla="*/ 1658446 h 3355086"/>
                <a:gd name="connsiteX14353" fmla="*/ 2571 w 3359086"/>
                <a:gd name="connsiteY14353" fmla="*/ 1658493 h 3355086"/>
                <a:gd name="connsiteX14354" fmla="*/ 857 w 3359086"/>
                <a:gd name="connsiteY14354" fmla="*/ 1656778 h 3355086"/>
                <a:gd name="connsiteX14355" fmla="*/ 904 w 3359086"/>
                <a:gd name="connsiteY14355" fmla="*/ 1656731 h 3355086"/>
                <a:gd name="connsiteX14356" fmla="*/ 666 w 3359086"/>
                <a:gd name="connsiteY14356" fmla="*/ 1656493 h 3355086"/>
                <a:gd name="connsiteX14357" fmla="*/ 6857 w 3359086"/>
                <a:gd name="connsiteY14357" fmla="*/ 1650302 h 3355086"/>
                <a:gd name="connsiteX14358" fmla="*/ 8476 w 3359086"/>
                <a:gd name="connsiteY14358" fmla="*/ 1651921 h 3355086"/>
                <a:gd name="connsiteX14359" fmla="*/ 10572 w 3359086"/>
                <a:gd name="connsiteY14359" fmla="*/ 1649825 h 3355086"/>
                <a:gd name="connsiteX14360" fmla="*/ 12001 w 3359086"/>
                <a:gd name="connsiteY14360" fmla="*/ 1651255 h 3355086"/>
                <a:gd name="connsiteX14361" fmla="*/ 13811 w 3359086"/>
                <a:gd name="connsiteY14361" fmla="*/ 1649445 h 3355086"/>
                <a:gd name="connsiteX14362" fmla="*/ 15048 w 3359086"/>
                <a:gd name="connsiteY14362" fmla="*/ 1650683 h 3355086"/>
                <a:gd name="connsiteX14363" fmla="*/ 16763 w 3359086"/>
                <a:gd name="connsiteY14363" fmla="*/ 1648968 h 3355086"/>
                <a:gd name="connsiteX14364" fmla="*/ 17858 w 3359086"/>
                <a:gd name="connsiteY14364" fmla="*/ 1650064 h 3355086"/>
                <a:gd name="connsiteX14365" fmla="*/ 19430 w 3359086"/>
                <a:gd name="connsiteY14365" fmla="*/ 1648492 h 3355086"/>
                <a:gd name="connsiteX14366" fmla="*/ 20430 w 3359086"/>
                <a:gd name="connsiteY14366" fmla="*/ 1649493 h 3355086"/>
                <a:gd name="connsiteX14367" fmla="*/ 22002 w 3359086"/>
                <a:gd name="connsiteY14367" fmla="*/ 1647921 h 3355086"/>
                <a:gd name="connsiteX14368" fmla="*/ 22954 w 3359086"/>
                <a:gd name="connsiteY14368" fmla="*/ 1648873 h 3355086"/>
                <a:gd name="connsiteX14369" fmla="*/ 24478 w 3359086"/>
                <a:gd name="connsiteY14369" fmla="*/ 1647349 h 3355086"/>
                <a:gd name="connsiteX14370" fmla="*/ 25478 w 3359086"/>
                <a:gd name="connsiteY14370" fmla="*/ 1648350 h 3355086"/>
                <a:gd name="connsiteX14371" fmla="*/ 27050 w 3359086"/>
                <a:gd name="connsiteY14371" fmla="*/ 1646778 h 3355086"/>
                <a:gd name="connsiteX14372" fmla="*/ 28098 w 3359086"/>
                <a:gd name="connsiteY14372" fmla="*/ 1647826 h 3355086"/>
                <a:gd name="connsiteX14373" fmla="*/ 29813 w 3359086"/>
                <a:gd name="connsiteY14373" fmla="*/ 1646111 h 3355086"/>
                <a:gd name="connsiteX14374" fmla="*/ 31051 w 3359086"/>
                <a:gd name="connsiteY14374" fmla="*/ 1647349 h 3355086"/>
                <a:gd name="connsiteX14375" fmla="*/ 32956 w 3359086"/>
                <a:gd name="connsiteY14375" fmla="*/ 1645444 h 3355086"/>
                <a:gd name="connsiteX14376" fmla="*/ 34480 w 3359086"/>
                <a:gd name="connsiteY14376" fmla="*/ 1646968 h 3355086"/>
                <a:gd name="connsiteX14377" fmla="*/ 36671 w 3359086"/>
                <a:gd name="connsiteY14377" fmla="*/ 1644777 h 3355086"/>
                <a:gd name="connsiteX14378" fmla="*/ 38480 w 3359086"/>
                <a:gd name="connsiteY14378" fmla="*/ 1646587 h 3355086"/>
                <a:gd name="connsiteX14379" fmla="*/ 41052 w 3359086"/>
                <a:gd name="connsiteY14379" fmla="*/ 1644015 h 3355086"/>
                <a:gd name="connsiteX14380" fmla="*/ 43242 w 3359086"/>
                <a:gd name="connsiteY14380" fmla="*/ 1646206 h 3355086"/>
                <a:gd name="connsiteX14381" fmla="*/ 46195 w 3359086"/>
                <a:gd name="connsiteY14381" fmla="*/ 1643253 h 3355086"/>
                <a:gd name="connsiteX14382" fmla="*/ 48958 w 3359086"/>
                <a:gd name="connsiteY14382" fmla="*/ 1646016 h 3355086"/>
                <a:gd name="connsiteX14383" fmla="*/ 52482 w 3359086"/>
                <a:gd name="connsiteY14383" fmla="*/ 1642491 h 3355086"/>
                <a:gd name="connsiteX14384" fmla="*/ 55768 w 3359086"/>
                <a:gd name="connsiteY14384" fmla="*/ 1645777 h 3355086"/>
                <a:gd name="connsiteX14385" fmla="*/ 59911 w 3359086"/>
                <a:gd name="connsiteY14385" fmla="*/ 1641634 h 3355086"/>
                <a:gd name="connsiteX14386" fmla="*/ 63912 w 3359086"/>
                <a:gd name="connsiteY14386" fmla="*/ 1645635 h 3355086"/>
                <a:gd name="connsiteX14387" fmla="*/ 68865 w 3359086"/>
                <a:gd name="connsiteY14387" fmla="*/ 1640682 h 3355086"/>
                <a:gd name="connsiteX14388" fmla="*/ 73723 w 3359086"/>
                <a:gd name="connsiteY14388" fmla="*/ 1645539 h 3355086"/>
                <a:gd name="connsiteX14389" fmla="*/ 3247167 w 3359086"/>
                <a:gd name="connsiteY14389" fmla="*/ 1639348 h 3355086"/>
                <a:gd name="connsiteX14390" fmla="*/ 3253358 w 3359086"/>
                <a:gd name="connsiteY14390" fmla="*/ 1645539 h 3355086"/>
                <a:gd name="connsiteX14391" fmla="*/ 3258597 w 3359086"/>
                <a:gd name="connsiteY14391" fmla="*/ 1640300 h 3355086"/>
                <a:gd name="connsiteX14392" fmla="*/ 3263884 w 3359086"/>
                <a:gd name="connsiteY14392" fmla="*/ 1645586 h 3355086"/>
                <a:gd name="connsiteX14393" fmla="*/ 3268217 w 3359086"/>
                <a:gd name="connsiteY14393" fmla="*/ 1641253 h 3355086"/>
                <a:gd name="connsiteX14394" fmla="*/ 3272742 w 3359086"/>
                <a:gd name="connsiteY14394" fmla="*/ 1645778 h 3355086"/>
                <a:gd name="connsiteX14395" fmla="*/ 3276409 w 3359086"/>
                <a:gd name="connsiteY14395" fmla="*/ 1642110 h 3355086"/>
                <a:gd name="connsiteX14396" fmla="*/ 3280172 w 3359086"/>
                <a:gd name="connsiteY14396" fmla="*/ 1645872 h 3355086"/>
                <a:gd name="connsiteX14397" fmla="*/ 3283172 w 3359086"/>
                <a:gd name="connsiteY14397" fmla="*/ 1642872 h 3355086"/>
                <a:gd name="connsiteX14398" fmla="*/ 3286458 w 3359086"/>
                <a:gd name="connsiteY14398" fmla="*/ 1646158 h 3355086"/>
                <a:gd name="connsiteX14399" fmla="*/ 3288887 w 3359086"/>
                <a:gd name="connsiteY14399" fmla="*/ 1643729 h 3355086"/>
                <a:gd name="connsiteX14400" fmla="*/ 3291601 w 3359086"/>
                <a:gd name="connsiteY14400" fmla="*/ 1646444 h 3355086"/>
                <a:gd name="connsiteX14401" fmla="*/ 3293554 w 3359086"/>
                <a:gd name="connsiteY14401" fmla="*/ 1644491 h 3355086"/>
                <a:gd name="connsiteX14402" fmla="*/ 3295887 w 3359086"/>
                <a:gd name="connsiteY14402" fmla="*/ 1646825 h 3355086"/>
                <a:gd name="connsiteX14403" fmla="*/ 3297554 w 3359086"/>
                <a:gd name="connsiteY14403" fmla="*/ 1645158 h 3355086"/>
                <a:gd name="connsiteX14404" fmla="*/ 3299555 w 3359086"/>
                <a:gd name="connsiteY14404" fmla="*/ 1647159 h 3355086"/>
                <a:gd name="connsiteX14405" fmla="*/ 3300888 w 3359086"/>
                <a:gd name="connsiteY14405" fmla="*/ 1645825 h 3355086"/>
                <a:gd name="connsiteX14406" fmla="*/ 3302698 w 3359086"/>
                <a:gd name="connsiteY14406" fmla="*/ 1647635 h 3355086"/>
                <a:gd name="connsiteX14407" fmla="*/ 3303841 w 3359086"/>
                <a:gd name="connsiteY14407" fmla="*/ 1646492 h 3355086"/>
                <a:gd name="connsiteX14408" fmla="*/ 3305460 w 3359086"/>
                <a:gd name="connsiteY14408" fmla="*/ 1648111 h 3355086"/>
                <a:gd name="connsiteX14409" fmla="*/ 3306508 w 3359086"/>
                <a:gd name="connsiteY14409" fmla="*/ 1647063 h 3355086"/>
                <a:gd name="connsiteX14410" fmla="*/ 3308080 w 3359086"/>
                <a:gd name="connsiteY14410" fmla="*/ 1648635 h 3355086"/>
                <a:gd name="connsiteX14411" fmla="*/ 3309080 w 3359086"/>
                <a:gd name="connsiteY14411" fmla="*/ 1647635 h 3355086"/>
                <a:gd name="connsiteX14412" fmla="*/ 3310603 w 3359086"/>
                <a:gd name="connsiteY14412" fmla="*/ 1649159 h 3355086"/>
                <a:gd name="connsiteX14413" fmla="*/ 3311556 w 3359086"/>
                <a:gd name="connsiteY14413" fmla="*/ 1648206 h 3355086"/>
                <a:gd name="connsiteX14414" fmla="*/ 3313081 w 3359086"/>
                <a:gd name="connsiteY14414" fmla="*/ 1649731 h 3355086"/>
                <a:gd name="connsiteX14415" fmla="*/ 3314128 w 3359086"/>
                <a:gd name="connsiteY14415" fmla="*/ 1648683 h 3355086"/>
                <a:gd name="connsiteX14416" fmla="*/ 3315794 w 3359086"/>
                <a:gd name="connsiteY14416" fmla="*/ 1650350 h 3355086"/>
                <a:gd name="connsiteX14417" fmla="*/ 3316985 w 3359086"/>
                <a:gd name="connsiteY14417" fmla="*/ 1649159 h 3355086"/>
                <a:gd name="connsiteX14418" fmla="*/ 3318747 w 3359086"/>
                <a:gd name="connsiteY14418" fmla="*/ 1650921 h 3355086"/>
                <a:gd name="connsiteX14419" fmla="*/ 3320033 w 3359086"/>
                <a:gd name="connsiteY14419" fmla="*/ 1649635 h 3355086"/>
                <a:gd name="connsiteX14420" fmla="*/ 3322033 w 3359086"/>
                <a:gd name="connsiteY14420" fmla="*/ 1651635 h 3355086"/>
                <a:gd name="connsiteX14421" fmla="*/ 3323557 w 3359086"/>
                <a:gd name="connsiteY14421" fmla="*/ 1650111 h 3355086"/>
                <a:gd name="connsiteX14422" fmla="*/ 3325748 w 3359086"/>
                <a:gd name="connsiteY14422" fmla="*/ 1652302 h 3355086"/>
                <a:gd name="connsiteX14423" fmla="*/ 3327558 w 3359086"/>
                <a:gd name="connsiteY14423" fmla="*/ 1650492 h 3355086"/>
                <a:gd name="connsiteX14424" fmla="*/ 3330034 w 3359086"/>
                <a:gd name="connsiteY14424" fmla="*/ 1652969 h 3355086"/>
                <a:gd name="connsiteX14425" fmla="*/ 3332130 w 3359086"/>
                <a:gd name="connsiteY14425" fmla="*/ 1650873 h 3355086"/>
                <a:gd name="connsiteX14426" fmla="*/ 3334893 w 3359086"/>
                <a:gd name="connsiteY14426" fmla="*/ 1653636 h 3355086"/>
                <a:gd name="connsiteX14427" fmla="*/ 3337274 w 3359086"/>
                <a:gd name="connsiteY14427" fmla="*/ 1651254 h 3355086"/>
                <a:gd name="connsiteX14428" fmla="*/ 3340370 w 3359086"/>
                <a:gd name="connsiteY14428" fmla="*/ 1654350 h 3355086"/>
                <a:gd name="connsiteX14429" fmla="*/ 3343179 w 3359086"/>
                <a:gd name="connsiteY14429" fmla="*/ 1651540 h 3355086"/>
                <a:gd name="connsiteX14430" fmla="*/ 3346656 w 3359086"/>
                <a:gd name="connsiteY14430" fmla="*/ 1655017 h 3355086"/>
                <a:gd name="connsiteX14431" fmla="*/ 3349847 w 3359086"/>
                <a:gd name="connsiteY14431" fmla="*/ 1651826 h 3355086"/>
                <a:gd name="connsiteX14432" fmla="*/ 3355800 w 3359086"/>
                <a:gd name="connsiteY14432" fmla="*/ 1657779 h 3355086"/>
                <a:gd name="connsiteX14433" fmla="*/ 3357181 w 3359086"/>
                <a:gd name="connsiteY14433" fmla="*/ 1656398 h 3355086"/>
                <a:gd name="connsiteX14434" fmla="*/ 3359086 w 3359086"/>
                <a:gd name="connsiteY14434" fmla="*/ 1658303 h 3355086"/>
                <a:gd name="connsiteX14435" fmla="*/ 3357181 w 3359086"/>
                <a:gd name="connsiteY14435" fmla="*/ 1660208 h 3355086"/>
                <a:gd name="connsiteX14436" fmla="*/ 3355514 w 3359086"/>
                <a:gd name="connsiteY14436" fmla="*/ 1658541 h 3355086"/>
                <a:gd name="connsiteX14437" fmla="*/ 3349847 w 3359086"/>
                <a:gd name="connsiteY14437" fmla="*/ 1664209 h 3355086"/>
                <a:gd name="connsiteX14438" fmla="*/ 3346370 w 3359086"/>
                <a:gd name="connsiteY14438" fmla="*/ 1660732 h 3355086"/>
                <a:gd name="connsiteX14439" fmla="*/ 3343179 w 3359086"/>
                <a:gd name="connsiteY14439" fmla="*/ 1663922 h 3355086"/>
                <a:gd name="connsiteX14440" fmla="*/ 3340084 w 3359086"/>
                <a:gd name="connsiteY14440" fmla="*/ 1660827 h 3355086"/>
                <a:gd name="connsiteX14441" fmla="*/ 3337274 w 3359086"/>
                <a:gd name="connsiteY14441" fmla="*/ 1663636 h 3355086"/>
                <a:gd name="connsiteX14442" fmla="*/ 3334512 w 3359086"/>
                <a:gd name="connsiteY14442" fmla="*/ 1660874 h 3355086"/>
                <a:gd name="connsiteX14443" fmla="*/ 3332130 w 3359086"/>
                <a:gd name="connsiteY14443" fmla="*/ 1663256 h 3355086"/>
                <a:gd name="connsiteX14444" fmla="*/ 3329654 w 3359086"/>
                <a:gd name="connsiteY14444" fmla="*/ 1660779 h 3355086"/>
                <a:gd name="connsiteX14445" fmla="*/ 3327558 w 3359086"/>
                <a:gd name="connsiteY14445" fmla="*/ 1662875 h 3355086"/>
                <a:gd name="connsiteX14446" fmla="*/ 3325367 w 3359086"/>
                <a:gd name="connsiteY14446" fmla="*/ 1660684 h 3355086"/>
                <a:gd name="connsiteX14447" fmla="*/ 3323557 w 3359086"/>
                <a:gd name="connsiteY14447" fmla="*/ 1662494 h 3355086"/>
                <a:gd name="connsiteX14448" fmla="*/ 3321557 w 3359086"/>
                <a:gd name="connsiteY14448" fmla="*/ 1660494 h 3355086"/>
                <a:gd name="connsiteX14449" fmla="*/ 3320033 w 3359086"/>
                <a:gd name="connsiteY14449" fmla="*/ 1662018 h 3355086"/>
                <a:gd name="connsiteX14450" fmla="*/ 3318271 w 3359086"/>
                <a:gd name="connsiteY14450" fmla="*/ 1660256 h 3355086"/>
                <a:gd name="connsiteX14451" fmla="*/ 3316985 w 3359086"/>
                <a:gd name="connsiteY14451" fmla="*/ 1661541 h 3355086"/>
                <a:gd name="connsiteX14452" fmla="*/ 3315319 w 3359086"/>
                <a:gd name="connsiteY14452" fmla="*/ 1659875 h 3355086"/>
                <a:gd name="connsiteX14453" fmla="*/ 3314128 w 3359086"/>
                <a:gd name="connsiteY14453" fmla="*/ 1661066 h 3355086"/>
                <a:gd name="connsiteX14454" fmla="*/ 3312604 w 3359086"/>
                <a:gd name="connsiteY14454" fmla="*/ 1659542 h 3355086"/>
                <a:gd name="connsiteX14455" fmla="*/ 3311556 w 3359086"/>
                <a:gd name="connsiteY14455" fmla="*/ 1660589 h 3355086"/>
                <a:gd name="connsiteX14456" fmla="*/ 3310033 w 3359086"/>
                <a:gd name="connsiteY14456" fmla="*/ 1659066 h 3355086"/>
                <a:gd name="connsiteX14457" fmla="*/ 3309080 w 3359086"/>
                <a:gd name="connsiteY14457" fmla="*/ 1660018 h 3355086"/>
                <a:gd name="connsiteX14458" fmla="*/ 3307508 w 3359086"/>
                <a:gd name="connsiteY14458" fmla="*/ 1658446 h 3355086"/>
                <a:gd name="connsiteX14459" fmla="*/ 3306508 w 3359086"/>
                <a:gd name="connsiteY14459" fmla="*/ 1659446 h 3355086"/>
                <a:gd name="connsiteX14460" fmla="*/ 3304889 w 3359086"/>
                <a:gd name="connsiteY14460" fmla="*/ 1657827 h 3355086"/>
                <a:gd name="connsiteX14461" fmla="*/ 3303841 w 3359086"/>
                <a:gd name="connsiteY14461" fmla="*/ 1658874 h 3355086"/>
                <a:gd name="connsiteX14462" fmla="*/ 3302031 w 3359086"/>
                <a:gd name="connsiteY14462" fmla="*/ 1657065 h 3355086"/>
                <a:gd name="connsiteX14463" fmla="*/ 3300888 w 3359086"/>
                <a:gd name="connsiteY14463" fmla="*/ 1658208 h 3355086"/>
                <a:gd name="connsiteX14464" fmla="*/ 3298887 w 3359086"/>
                <a:gd name="connsiteY14464" fmla="*/ 1656207 h 3355086"/>
                <a:gd name="connsiteX14465" fmla="*/ 3297554 w 3359086"/>
                <a:gd name="connsiteY14465" fmla="*/ 1657540 h 3355086"/>
                <a:gd name="connsiteX14466" fmla="*/ 3295221 w 3359086"/>
                <a:gd name="connsiteY14466" fmla="*/ 1655207 h 3355086"/>
                <a:gd name="connsiteX14467" fmla="*/ 3293554 w 3359086"/>
                <a:gd name="connsiteY14467" fmla="*/ 1656874 h 3355086"/>
                <a:gd name="connsiteX14468" fmla="*/ 3290840 w 3359086"/>
                <a:gd name="connsiteY14468" fmla="*/ 1654159 h 3355086"/>
                <a:gd name="connsiteX14469" fmla="*/ 3288887 w 3359086"/>
                <a:gd name="connsiteY14469" fmla="*/ 1656112 h 3355086"/>
                <a:gd name="connsiteX14470" fmla="*/ 3285601 w 3359086"/>
                <a:gd name="connsiteY14470" fmla="*/ 1652826 h 3355086"/>
                <a:gd name="connsiteX14471" fmla="*/ 3283172 w 3359086"/>
                <a:gd name="connsiteY14471" fmla="*/ 1655255 h 3355086"/>
                <a:gd name="connsiteX14472" fmla="*/ 3279410 w 3359086"/>
                <a:gd name="connsiteY14472" fmla="*/ 1651492 h 3355086"/>
                <a:gd name="connsiteX14473" fmla="*/ 3276409 w 3359086"/>
                <a:gd name="connsiteY14473" fmla="*/ 1654493 h 3355086"/>
                <a:gd name="connsiteX14474" fmla="*/ 3271885 w 3359086"/>
                <a:gd name="connsiteY14474" fmla="*/ 1649968 h 3355086"/>
                <a:gd name="connsiteX14475" fmla="*/ 3268217 w 3359086"/>
                <a:gd name="connsiteY14475" fmla="*/ 1653636 h 3355086"/>
                <a:gd name="connsiteX14476" fmla="*/ 3262931 w 3359086"/>
                <a:gd name="connsiteY14476" fmla="*/ 1648349 h 3355086"/>
                <a:gd name="connsiteX14477" fmla="*/ 3258597 w 3359086"/>
                <a:gd name="connsiteY14477" fmla="*/ 1652683 h 3355086"/>
                <a:gd name="connsiteX14478" fmla="*/ 3252406 w 3359086"/>
                <a:gd name="connsiteY14478" fmla="*/ 1646491 h 3355086"/>
                <a:gd name="connsiteX14479" fmla="*/ 3252968 w 3359086"/>
                <a:gd name="connsiteY14479" fmla="*/ 1645929 h 3355086"/>
                <a:gd name="connsiteX14480" fmla="*/ 3247167 w 3359086"/>
                <a:gd name="connsiteY14480" fmla="*/ 1651730 h 3355086"/>
                <a:gd name="connsiteX14481" fmla="*/ 3240976 w 3359086"/>
                <a:gd name="connsiteY14481" fmla="*/ 1645539 h 3355086"/>
                <a:gd name="connsiteX14482" fmla="*/ 3247167 w 3359086"/>
                <a:gd name="connsiteY14482" fmla="*/ 1639348 h 3355086"/>
                <a:gd name="connsiteX14483" fmla="*/ 91916 w 3359086"/>
                <a:gd name="connsiteY14483" fmla="*/ 1638776 h 3355086"/>
                <a:gd name="connsiteX14484" fmla="*/ 98108 w 3359086"/>
                <a:gd name="connsiteY14484" fmla="*/ 1644967 h 3355086"/>
                <a:gd name="connsiteX14485" fmla="*/ 91916 w 3359086"/>
                <a:gd name="connsiteY14485" fmla="*/ 1651159 h 3355086"/>
                <a:gd name="connsiteX14486" fmla="*/ 85725 w 3359086"/>
                <a:gd name="connsiteY14486" fmla="*/ 1644967 h 3355086"/>
                <a:gd name="connsiteX14487" fmla="*/ 91916 w 3359086"/>
                <a:gd name="connsiteY14487" fmla="*/ 1638776 h 3355086"/>
                <a:gd name="connsiteX14488" fmla="*/ 3233737 w 3359086"/>
                <a:gd name="connsiteY14488" fmla="*/ 1638300 h 3355086"/>
                <a:gd name="connsiteX14489" fmla="*/ 3239928 w 3359086"/>
                <a:gd name="connsiteY14489" fmla="*/ 1644491 h 3355086"/>
                <a:gd name="connsiteX14490" fmla="*/ 3233737 w 3359086"/>
                <a:gd name="connsiteY14490" fmla="*/ 1650682 h 3355086"/>
                <a:gd name="connsiteX14491" fmla="*/ 3227546 w 3359086"/>
                <a:gd name="connsiteY14491" fmla="*/ 1644491 h 3355086"/>
                <a:gd name="connsiteX14492" fmla="*/ 3233737 w 3359086"/>
                <a:gd name="connsiteY14492" fmla="*/ 1638300 h 3355086"/>
                <a:gd name="connsiteX14493" fmla="*/ 106489 w 3359086"/>
                <a:gd name="connsiteY14493" fmla="*/ 1637729 h 3355086"/>
                <a:gd name="connsiteX14494" fmla="*/ 112681 w 3359086"/>
                <a:gd name="connsiteY14494" fmla="*/ 1643920 h 3355086"/>
                <a:gd name="connsiteX14495" fmla="*/ 106489 w 3359086"/>
                <a:gd name="connsiteY14495" fmla="*/ 1650112 h 3355086"/>
                <a:gd name="connsiteX14496" fmla="*/ 100298 w 3359086"/>
                <a:gd name="connsiteY14496" fmla="*/ 1643920 h 3355086"/>
                <a:gd name="connsiteX14497" fmla="*/ 106489 w 3359086"/>
                <a:gd name="connsiteY14497" fmla="*/ 1637729 h 3355086"/>
                <a:gd name="connsiteX14498" fmla="*/ 3218021 w 3359086"/>
                <a:gd name="connsiteY14498" fmla="*/ 1637253 h 3355086"/>
                <a:gd name="connsiteX14499" fmla="*/ 3224212 w 3359086"/>
                <a:gd name="connsiteY14499" fmla="*/ 1643444 h 3355086"/>
                <a:gd name="connsiteX14500" fmla="*/ 3218021 w 3359086"/>
                <a:gd name="connsiteY14500" fmla="*/ 1649635 h 3355086"/>
                <a:gd name="connsiteX14501" fmla="*/ 3211830 w 3359086"/>
                <a:gd name="connsiteY14501" fmla="*/ 1643444 h 3355086"/>
                <a:gd name="connsiteX14502" fmla="*/ 3218021 w 3359086"/>
                <a:gd name="connsiteY14502" fmla="*/ 1637253 h 3355086"/>
                <a:gd name="connsiteX14503" fmla="*/ 123538 w 3359086"/>
                <a:gd name="connsiteY14503" fmla="*/ 1636681 h 3355086"/>
                <a:gd name="connsiteX14504" fmla="*/ 129730 w 3359086"/>
                <a:gd name="connsiteY14504" fmla="*/ 1642872 h 3355086"/>
                <a:gd name="connsiteX14505" fmla="*/ 123538 w 3359086"/>
                <a:gd name="connsiteY14505" fmla="*/ 1649063 h 3355086"/>
                <a:gd name="connsiteX14506" fmla="*/ 117347 w 3359086"/>
                <a:gd name="connsiteY14506" fmla="*/ 1642872 h 3355086"/>
                <a:gd name="connsiteX14507" fmla="*/ 123538 w 3359086"/>
                <a:gd name="connsiteY14507" fmla="*/ 1636681 h 3355086"/>
                <a:gd name="connsiteX14508" fmla="*/ 3199828 w 3359086"/>
                <a:gd name="connsiteY14508" fmla="*/ 1636109 h 3355086"/>
                <a:gd name="connsiteX14509" fmla="*/ 3206019 w 3359086"/>
                <a:gd name="connsiteY14509" fmla="*/ 1642300 h 3355086"/>
                <a:gd name="connsiteX14510" fmla="*/ 3199828 w 3359086"/>
                <a:gd name="connsiteY14510" fmla="*/ 1648492 h 3355086"/>
                <a:gd name="connsiteX14511" fmla="*/ 3193637 w 3359086"/>
                <a:gd name="connsiteY14511" fmla="*/ 1642300 h 3355086"/>
                <a:gd name="connsiteX14512" fmla="*/ 3199828 w 3359086"/>
                <a:gd name="connsiteY14512" fmla="*/ 1636109 h 3355086"/>
                <a:gd name="connsiteX14513" fmla="*/ 143160 w 3359086"/>
                <a:gd name="connsiteY14513" fmla="*/ 1635538 h 3355086"/>
                <a:gd name="connsiteX14514" fmla="*/ 149352 w 3359086"/>
                <a:gd name="connsiteY14514" fmla="*/ 1641729 h 3355086"/>
                <a:gd name="connsiteX14515" fmla="*/ 143160 w 3359086"/>
                <a:gd name="connsiteY14515" fmla="*/ 1647921 h 3355086"/>
                <a:gd name="connsiteX14516" fmla="*/ 136969 w 3359086"/>
                <a:gd name="connsiteY14516" fmla="*/ 1641729 h 3355086"/>
                <a:gd name="connsiteX14517" fmla="*/ 143160 w 3359086"/>
                <a:gd name="connsiteY14517" fmla="*/ 1635538 h 3355086"/>
                <a:gd name="connsiteX14518" fmla="*/ 3178873 w 3359086"/>
                <a:gd name="connsiteY14518" fmla="*/ 1634966 h 3355086"/>
                <a:gd name="connsiteX14519" fmla="*/ 3185065 w 3359086"/>
                <a:gd name="connsiteY14519" fmla="*/ 1641157 h 3355086"/>
                <a:gd name="connsiteX14520" fmla="*/ 3178873 w 3359086"/>
                <a:gd name="connsiteY14520" fmla="*/ 1647349 h 3355086"/>
                <a:gd name="connsiteX14521" fmla="*/ 3172682 w 3359086"/>
                <a:gd name="connsiteY14521" fmla="*/ 1641157 h 3355086"/>
                <a:gd name="connsiteX14522" fmla="*/ 3178873 w 3359086"/>
                <a:gd name="connsiteY14522" fmla="*/ 1634966 h 3355086"/>
                <a:gd name="connsiteX14523" fmla="*/ 165734 w 3359086"/>
                <a:gd name="connsiteY14523" fmla="*/ 1634395 h 3355086"/>
                <a:gd name="connsiteX14524" fmla="*/ 171925 w 3359086"/>
                <a:gd name="connsiteY14524" fmla="*/ 1640586 h 3355086"/>
                <a:gd name="connsiteX14525" fmla="*/ 165734 w 3359086"/>
                <a:gd name="connsiteY14525" fmla="*/ 1646778 h 3355086"/>
                <a:gd name="connsiteX14526" fmla="*/ 159543 w 3359086"/>
                <a:gd name="connsiteY14526" fmla="*/ 1640586 h 3355086"/>
                <a:gd name="connsiteX14527" fmla="*/ 165734 w 3359086"/>
                <a:gd name="connsiteY14527" fmla="*/ 1634395 h 3355086"/>
                <a:gd name="connsiteX14528" fmla="*/ 3154870 w 3359086"/>
                <a:gd name="connsiteY14528" fmla="*/ 1633824 h 3355086"/>
                <a:gd name="connsiteX14529" fmla="*/ 3161061 w 3359086"/>
                <a:gd name="connsiteY14529" fmla="*/ 1640015 h 3355086"/>
                <a:gd name="connsiteX14530" fmla="*/ 3154870 w 3359086"/>
                <a:gd name="connsiteY14530" fmla="*/ 1646207 h 3355086"/>
                <a:gd name="connsiteX14531" fmla="*/ 3148679 w 3359086"/>
                <a:gd name="connsiteY14531" fmla="*/ 1640015 h 3355086"/>
                <a:gd name="connsiteX14532" fmla="*/ 3154870 w 3359086"/>
                <a:gd name="connsiteY14532" fmla="*/ 1633824 h 3355086"/>
                <a:gd name="connsiteX14533" fmla="*/ 191547 w 3359086"/>
                <a:gd name="connsiteY14533" fmla="*/ 1633157 h 3355086"/>
                <a:gd name="connsiteX14534" fmla="*/ 197739 w 3359086"/>
                <a:gd name="connsiteY14534" fmla="*/ 1639348 h 3355086"/>
                <a:gd name="connsiteX14535" fmla="*/ 191547 w 3359086"/>
                <a:gd name="connsiteY14535" fmla="*/ 1645540 h 3355086"/>
                <a:gd name="connsiteX14536" fmla="*/ 185356 w 3359086"/>
                <a:gd name="connsiteY14536" fmla="*/ 1639348 h 3355086"/>
                <a:gd name="connsiteX14537" fmla="*/ 191547 w 3359086"/>
                <a:gd name="connsiteY14537" fmla="*/ 1633157 h 3355086"/>
                <a:gd name="connsiteX14538" fmla="*/ 3127438 w 3359086"/>
                <a:gd name="connsiteY14538" fmla="*/ 1632490 h 3355086"/>
                <a:gd name="connsiteX14539" fmla="*/ 3133629 w 3359086"/>
                <a:gd name="connsiteY14539" fmla="*/ 1638681 h 3355086"/>
                <a:gd name="connsiteX14540" fmla="*/ 3127438 w 3359086"/>
                <a:gd name="connsiteY14540" fmla="*/ 1644872 h 3355086"/>
                <a:gd name="connsiteX14541" fmla="*/ 3121247 w 3359086"/>
                <a:gd name="connsiteY14541" fmla="*/ 1638681 h 3355086"/>
                <a:gd name="connsiteX14542" fmla="*/ 3127438 w 3359086"/>
                <a:gd name="connsiteY14542" fmla="*/ 1632490 h 3355086"/>
                <a:gd name="connsiteX14543" fmla="*/ 220884 w 3359086"/>
                <a:gd name="connsiteY14543" fmla="*/ 1631823 h 3355086"/>
                <a:gd name="connsiteX14544" fmla="*/ 227075 w 3359086"/>
                <a:gd name="connsiteY14544" fmla="*/ 1638014 h 3355086"/>
                <a:gd name="connsiteX14545" fmla="*/ 220884 w 3359086"/>
                <a:gd name="connsiteY14545" fmla="*/ 1644206 h 3355086"/>
                <a:gd name="connsiteX14546" fmla="*/ 214693 w 3359086"/>
                <a:gd name="connsiteY14546" fmla="*/ 1638014 h 3355086"/>
                <a:gd name="connsiteX14547" fmla="*/ 220884 w 3359086"/>
                <a:gd name="connsiteY14547" fmla="*/ 1631823 h 3355086"/>
                <a:gd name="connsiteX14548" fmla="*/ 3096291 w 3359086"/>
                <a:gd name="connsiteY14548" fmla="*/ 1631157 h 3355086"/>
                <a:gd name="connsiteX14549" fmla="*/ 3102482 w 3359086"/>
                <a:gd name="connsiteY14549" fmla="*/ 1637348 h 3355086"/>
                <a:gd name="connsiteX14550" fmla="*/ 3096291 w 3359086"/>
                <a:gd name="connsiteY14550" fmla="*/ 1643539 h 3355086"/>
                <a:gd name="connsiteX14551" fmla="*/ 3090100 w 3359086"/>
                <a:gd name="connsiteY14551" fmla="*/ 1637348 h 3355086"/>
                <a:gd name="connsiteX14552" fmla="*/ 3096291 w 3359086"/>
                <a:gd name="connsiteY14552" fmla="*/ 1631157 h 3355086"/>
                <a:gd name="connsiteX14553" fmla="*/ 254126 w 3359086"/>
                <a:gd name="connsiteY14553" fmla="*/ 1630490 h 3355086"/>
                <a:gd name="connsiteX14554" fmla="*/ 260317 w 3359086"/>
                <a:gd name="connsiteY14554" fmla="*/ 1636681 h 3355086"/>
                <a:gd name="connsiteX14555" fmla="*/ 254126 w 3359086"/>
                <a:gd name="connsiteY14555" fmla="*/ 1642873 h 3355086"/>
                <a:gd name="connsiteX14556" fmla="*/ 247935 w 3359086"/>
                <a:gd name="connsiteY14556" fmla="*/ 1636681 h 3355086"/>
                <a:gd name="connsiteX14557" fmla="*/ 254126 w 3359086"/>
                <a:gd name="connsiteY14557" fmla="*/ 1630490 h 3355086"/>
                <a:gd name="connsiteX14558" fmla="*/ 3061239 w 3359086"/>
                <a:gd name="connsiteY14558" fmla="*/ 1629823 h 3355086"/>
                <a:gd name="connsiteX14559" fmla="*/ 3067431 w 3359086"/>
                <a:gd name="connsiteY14559" fmla="*/ 1636014 h 3355086"/>
                <a:gd name="connsiteX14560" fmla="*/ 3061239 w 3359086"/>
                <a:gd name="connsiteY14560" fmla="*/ 1642205 h 3355086"/>
                <a:gd name="connsiteX14561" fmla="*/ 3055048 w 3359086"/>
                <a:gd name="connsiteY14561" fmla="*/ 1636014 h 3355086"/>
                <a:gd name="connsiteX14562" fmla="*/ 3061239 w 3359086"/>
                <a:gd name="connsiteY14562" fmla="*/ 1629823 h 3355086"/>
                <a:gd name="connsiteX14563" fmla="*/ 291559 w 3359086"/>
                <a:gd name="connsiteY14563" fmla="*/ 1629061 h 3355086"/>
                <a:gd name="connsiteX14564" fmla="*/ 297751 w 3359086"/>
                <a:gd name="connsiteY14564" fmla="*/ 1635252 h 3355086"/>
                <a:gd name="connsiteX14565" fmla="*/ 291559 w 3359086"/>
                <a:gd name="connsiteY14565" fmla="*/ 1641444 h 3355086"/>
                <a:gd name="connsiteX14566" fmla="*/ 285368 w 3359086"/>
                <a:gd name="connsiteY14566" fmla="*/ 1635252 h 3355086"/>
                <a:gd name="connsiteX14567" fmla="*/ 291559 w 3359086"/>
                <a:gd name="connsiteY14567" fmla="*/ 1629061 h 3355086"/>
                <a:gd name="connsiteX14568" fmla="*/ 3021710 w 3359086"/>
                <a:gd name="connsiteY14568" fmla="*/ 1628394 h 3355086"/>
                <a:gd name="connsiteX14569" fmla="*/ 3027902 w 3359086"/>
                <a:gd name="connsiteY14569" fmla="*/ 1634585 h 3355086"/>
                <a:gd name="connsiteX14570" fmla="*/ 3021710 w 3359086"/>
                <a:gd name="connsiteY14570" fmla="*/ 1640777 h 3355086"/>
                <a:gd name="connsiteX14571" fmla="*/ 3015519 w 3359086"/>
                <a:gd name="connsiteY14571" fmla="*/ 1634585 h 3355086"/>
                <a:gd name="connsiteX14572" fmla="*/ 3021710 w 3359086"/>
                <a:gd name="connsiteY14572" fmla="*/ 1628394 h 3355086"/>
                <a:gd name="connsiteX14573" fmla="*/ 333470 w 3359086"/>
                <a:gd name="connsiteY14573" fmla="*/ 1627632 h 3355086"/>
                <a:gd name="connsiteX14574" fmla="*/ 339661 w 3359086"/>
                <a:gd name="connsiteY14574" fmla="*/ 1633823 h 3355086"/>
                <a:gd name="connsiteX14575" fmla="*/ 333470 w 3359086"/>
                <a:gd name="connsiteY14575" fmla="*/ 1640015 h 3355086"/>
                <a:gd name="connsiteX14576" fmla="*/ 327279 w 3359086"/>
                <a:gd name="connsiteY14576" fmla="*/ 1633823 h 3355086"/>
                <a:gd name="connsiteX14577" fmla="*/ 333470 w 3359086"/>
                <a:gd name="connsiteY14577" fmla="*/ 1627632 h 3355086"/>
                <a:gd name="connsiteX14578" fmla="*/ 2977514 w 3359086"/>
                <a:gd name="connsiteY14578" fmla="*/ 1626870 h 3355086"/>
                <a:gd name="connsiteX14579" fmla="*/ 2983705 w 3359086"/>
                <a:gd name="connsiteY14579" fmla="*/ 1633061 h 3355086"/>
                <a:gd name="connsiteX14580" fmla="*/ 2977514 w 3359086"/>
                <a:gd name="connsiteY14580" fmla="*/ 1639253 h 3355086"/>
                <a:gd name="connsiteX14581" fmla="*/ 2971323 w 3359086"/>
                <a:gd name="connsiteY14581" fmla="*/ 1633061 h 3355086"/>
                <a:gd name="connsiteX14582" fmla="*/ 2977514 w 3359086"/>
                <a:gd name="connsiteY14582" fmla="*/ 1626870 h 3355086"/>
                <a:gd name="connsiteX14583" fmla="*/ 380332 w 3359086"/>
                <a:gd name="connsiteY14583" fmla="*/ 1626013 h 3355086"/>
                <a:gd name="connsiteX14584" fmla="*/ 386524 w 3359086"/>
                <a:gd name="connsiteY14584" fmla="*/ 1632204 h 3355086"/>
                <a:gd name="connsiteX14585" fmla="*/ 380332 w 3359086"/>
                <a:gd name="connsiteY14585" fmla="*/ 1638396 h 3355086"/>
                <a:gd name="connsiteX14586" fmla="*/ 374141 w 3359086"/>
                <a:gd name="connsiteY14586" fmla="*/ 1632204 h 3355086"/>
                <a:gd name="connsiteX14587" fmla="*/ 380332 w 3359086"/>
                <a:gd name="connsiteY14587" fmla="*/ 1626013 h 3355086"/>
                <a:gd name="connsiteX14588" fmla="*/ 2928270 w 3359086"/>
                <a:gd name="connsiteY14588" fmla="*/ 1625346 h 3355086"/>
                <a:gd name="connsiteX14589" fmla="*/ 2934461 w 3359086"/>
                <a:gd name="connsiteY14589" fmla="*/ 1631537 h 3355086"/>
                <a:gd name="connsiteX14590" fmla="*/ 2928270 w 3359086"/>
                <a:gd name="connsiteY14590" fmla="*/ 1637728 h 3355086"/>
                <a:gd name="connsiteX14591" fmla="*/ 2922079 w 3359086"/>
                <a:gd name="connsiteY14591" fmla="*/ 1631537 h 3355086"/>
                <a:gd name="connsiteX14592" fmla="*/ 2928270 w 3359086"/>
                <a:gd name="connsiteY14592" fmla="*/ 1625346 h 3355086"/>
                <a:gd name="connsiteX14593" fmla="*/ 432529 w 3359086"/>
                <a:gd name="connsiteY14593" fmla="*/ 1624489 h 3355086"/>
                <a:gd name="connsiteX14594" fmla="*/ 438721 w 3359086"/>
                <a:gd name="connsiteY14594" fmla="*/ 1630680 h 3355086"/>
                <a:gd name="connsiteX14595" fmla="*/ 432529 w 3359086"/>
                <a:gd name="connsiteY14595" fmla="*/ 1636872 h 3355086"/>
                <a:gd name="connsiteX14596" fmla="*/ 426338 w 3359086"/>
                <a:gd name="connsiteY14596" fmla="*/ 1630680 h 3355086"/>
                <a:gd name="connsiteX14597" fmla="*/ 432529 w 3359086"/>
                <a:gd name="connsiteY14597" fmla="*/ 1624489 h 3355086"/>
                <a:gd name="connsiteX14598" fmla="*/ 2873597 w 3359086"/>
                <a:gd name="connsiteY14598" fmla="*/ 1623632 h 3355086"/>
                <a:gd name="connsiteX14599" fmla="*/ 2879788 w 3359086"/>
                <a:gd name="connsiteY14599" fmla="*/ 1629823 h 3355086"/>
                <a:gd name="connsiteX14600" fmla="*/ 2873597 w 3359086"/>
                <a:gd name="connsiteY14600" fmla="*/ 1636015 h 3355086"/>
                <a:gd name="connsiteX14601" fmla="*/ 2867406 w 3359086"/>
                <a:gd name="connsiteY14601" fmla="*/ 1629823 h 3355086"/>
                <a:gd name="connsiteX14602" fmla="*/ 2873597 w 3359086"/>
                <a:gd name="connsiteY14602" fmla="*/ 1623632 h 3355086"/>
                <a:gd name="connsiteX14603" fmla="*/ 490346 w 3359086"/>
                <a:gd name="connsiteY14603" fmla="*/ 1622775 h 3355086"/>
                <a:gd name="connsiteX14604" fmla="*/ 496537 w 3359086"/>
                <a:gd name="connsiteY14604" fmla="*/ 1628966 h 3355086"/>
                <a:gd name="connsiteX14605" fmla="*/ 490346 w 3359086"/>
                <a:gd name="connsiteY14605" fmla="*/ 1635158 h 3355086"/>
                <a:gd name="connsiteX14606" fmla="*/ 484155 w 3359086"/>
                <a:gd name="connsiteY14606" fmla="*/ 1628966 h 3355086"/>
                <a:gd name="connsiteX14607" fmla="*/ 490346 w 3359086"/>
                <a:gd name="connsiteY14607" fmla="*/ 1622775 h 3355086"/>
                <a:gd name="connsiteX14608" fmla="*/ 2812922 w 3359086"/>
                <a:gd name="connsiteY14608" fmla="*/ 1622012 h 3355086"/>
                <a:gd name="connsiteX14609" fmla="*/ 2819113 w 3359086"/>
                <a:gd name="connsiteY14609" fmla="*/ 1628203 h 3355086"/>
                <a:gd name="connsiteX14610" fmla="*/ 2812922 w 3359086"/>
                <a:gd name="connsiteY14610" fmla="*/ 1634395 h 3355086"/>
                <a:gd name="connsiteX14611" fmla="*/ 2806731 w 3359086"/>
                <a:gd name="connsiteY14611" fmla="*/ 1628203 h 3355086"/>
                <a:gd name="connsiteX14612" fmla="*/ 2812922 w 3359086"/>
                <a:gd name="connsiteY14612" fmla="*/ 1622012 h 3355086"/>
                <a:gd name="connsiteX14613" fmla="*/ 554259 w 3359086"/>
                <a:gd name="connsiteY14613" fmla="*/ 1621060 h 3355086"/>
                <a:gd name="connsiteX14614" fmla="*/ 560450 w 3359086"/>
                <a:gd name="connsiteY14614" fmla="*/ 1627251 h 3355086"/>
                <a:gd name="connsiteX14615" fmla="*/ 554259 w 3359086"/>
                <a:gd name="connsiteY14615" fmla="*/ 1633443 h 3355086"/>
                <a:gd name="connsiteX14616" fmla="*/ 548068 w 3359086"/>
                <a:gd name="connsiteY14616" fmla="*/ 1627251 h 3355086"/>
                <a:gd name="connsiteX14617" fmla="*/ 554259 w 3359086"/>
                <a:gd name="connsiteY14617" fmla="*/ 1621060 h 3355086"/>
                <a:gd name="connsiteX14618" fmla="*/ 2746057 w 3359086"/>
                <a:gd name="connsiteY14618" fmla="*/ 1620298 h 3355086"/>
                <a:gd name="connsiteX14619" fmla="*/ 2752249 w 3359086"/>
                <a:gd name="connsiteY14619" fmla="*/ 1626489 h 3355086"/>
                <a:gd name="connsiteX14620" fmla="*/ 2746057 w 3359086"/>
                <a:gd name="connsiteY14620" fmla="*/ 1632680 h 3355086"/>
                <a:gd name="connsiteX14621" fmla="*/ 2739866 w 3359086"/>
                <a:gd name="connsiteY14621" fmla="*/ 1626489 h 3355086"/>
                <a:gd name="connsiteX14622" fmla="*/ 2746057 w 3359086"/>
                <a:gd name="connsiteY14622" fmla="*/ 1620298 h 3355086"/>
                <a:gd name="connsiteX14623" fmla="*/ 624649 w 3359086"/>
                <a:gd name="connsiteY14623" fmla="*/ 1619250 h 3355086"/>
                <a:gd name="connsiteX14624" fmla="*/ 630841 w 3359086"/>
                <a:gd name="connsiteY14624" fmla="*/ 1625441 h 3355086"/>
                <a:gd name="connsiteX14625" fmla="*/ 624649 w 3359086"/>
                <a:gd name="connsiteY14625" fmla="*/ 1631632 h 3355086"/>
                <a:gd name="connsiteX14626" fmla="*/ 618458 w 3359086"/>
                <a:gd name="connsiteY14626" fmla="*/ 1625441 h 3355086"/>
                <a:gd name="connsiteX14627" fmla="*/ 624649 w 3359086"/>
                <a:gd name="connsiteY14627" fmla="*/ 1619250 h 3355086"/>
                <a:gd name="connsiteX14628" fmla="*/ 2672429 w 3359086"/>
                <a:gd name="connsiteY14628" fmla="*/ 1618393 h 3355086"/>
                <a:gd name="connsiteX14629" fmla="*/ 2678620 w 3359086"/>
                <a:gd name="connsiteY14629" fmla="*/ 1624584 h 3355086"/>
                <a:gd name="connsiteX14630" fmla="*/ 2672429 w 3359086"/>
                <a:gd name="connsiteY14630" fmla="*/ 1630776 h 3355086"/>
                <a:gd name="connsiteX14631" fmla="*/ 2666238 w 3359086"/>
                <a:gd name="connsiteY14631" fmla="*/ 1624584 h 3355086"/>
                <a:gd name="connsiteX14632" fmla="*/ 2672429 w 3359086"/>
                <a:gd name="connsiteY14632" fmla="*/ 1618393 h 3355086"/>
                <a:gd name="connsiteX14633" fmla="*/ 702087 w 3359086"/>
                <a:gd name="connsiteY14633" fmla="*/ 1617441 h 3355086"/>
                <a:gd name="connsiteX14634" fmla="*/ 708279 w 3359086"/>
                <a:gd name="connsiteY14634" fmla="*/ 1623632 h 3355086"/>
                <a:gd name="connsiteX14635" fmla="*/ 702087 w 3359086"/>
                <a:gd name="connsiteY14635" fmla="*/ 1629824 h 3355086"/>
                <a:gd name="connsiteX14636" fmla="*/ 695896 w 3359086"/>
                <a:gd name="connsiteY14636" fmla="*/ 1623632 h 3355086"/>
                <a:gd name="connsiteX14637" fmla="*/ 702087 w 3359086"/>
                <a:gd name="connsiteY14637" fmla="*/ 1617441 h 3355086"/>
                <a:gd name="connsiteX14638" fmla="*/ 2591657 w 3359086"/>
                <a:gd name="connsiteY14638" fmla="*/ 1616488 h 3355086"/>
                <a:gd name="connsiteX14639" fmla="*/ 2597848 w 3359086"/>
                <a:gd name="connsiteY14639" fmla="*/ 1622679 h 3355086"/>
                <a:gd name="connsiteX14640" fmla="*/ 2591657 w 3359086"/>
                <a:gd name="connsiteY14640" fmla="*/ 1628871 h 3355086"/>
                <a:gd name="connsiteX14641" fmla="*/ 2585466 w 3359086"/>
                <a:gd name="connsiteY14641" fmla="*/ 1622679 h 3355086"/>
                <a:gd name="connsiteX14642" fmla="*/ 2591657 w 3359086"/>
                <a:gd name="connsiteY14642" fmla="*/ 1616488 h 3355086"/>
                <a:gd name="connsiteX14643" fmla="*/ 786859 w 3359086"/>
                <a:gd name="connsiteY14643" fmla="*/ 1615440 h 3355086"/>
                <a:gd name="connsiteX14644" fmla="*/ 793051 w 3359086"/>
                <a:gd name="connsiteY14644" fmla="*/ 1621631 h 3355086"/>
                <a:gd name="connsiteX14645" fmla="*/ 786859 w 3359086"/>
                <a:gd name="connsiteY14645" fmla="*/ 1627823 h 3355086"/>
                <a:gd name="connsiteX14646" fmla="*/ 780668 w 3359086"/>
                <a:gd name="connsiteY14646" fmla="*/ 1621631 h 3355086"/>
                <a:gd name="connsiteX14647" fmla="*/ 786859 w 3359086"/>
                <a:gd name="connsiteY14647" fmla="*/ 1615440 h 3355086"/>
                <a:gd name="connsiteX14648" fmla="*/ 2503265 w 3359086"/>
                <a:gd name="connsiteY14648" fmla="*/ 1614583 h 3355086"/>
                <a:gd name="connsiteX14649" fmla="*/ 2509456 w 3359086"/>
                <a:gd name="connsiteY14649" fmla="*/ 1620774 h 3355086"/>
                <a:gd name="connsiteX14650" fmla="*/ 2503265 w 3359086"/>
                <a:gd name="connsiteY14650" fmla="*/ 1626966 h 3355086"/>
                <a:gd name="connsiteX14651" fmla="*/ 2497074 w 3359086"/>
                <a:gd name="connsiteY14651" fmla="*/ 1620774 h 3355086"/>
                <a:gd name="connsiteX14652" fmla="*/ 2503265 w 3359086"/>
                <a:gd name="connsiteY14652" fmla="*/ 1614583 h 3355086"/>
                <a:gd name="connsiteX14653" fmla="*/ 879538 w 3359086"/>
                <a:gd name="connsiteY14653" fmla="*/ 1613440 h 3355086"/>
                <a:gd name="connsiteX14654" fmla="*/ 885729 w 3359086"/>
                <a:gd name="connsiteY14654" fmla="*/ 1619631 h 3355086"/>
                <a:gd name="connsiteX14655" fmla="*/ 879538 w 3359086"/>
                <a:gd name="connsiteY14655" fmla="*/ 1625822 h 3355086"/>
                <a:gd name="connsiteX14656" fmla="*/ 873347 w 3359086"/>
                <a:gd name="connsiteY14656" fmla="*/ 1619631 h 3355086"/>
                <a:gd name="connsiteX14657" fmla="*/ 879538 w 3359086"/>
                <a:gd name="connsiteY14657" fmla="*/ 1613440 h 3355086"/>
                <a:gd name="connsiteX14658" fmla="*/ 2406776 w 3359086"/>
                <a:gd name="connsiteY14658" fmla="*/ 1612487 h 3355086"/>
                <a:gd name="connsiteX14659" fmla="*/ 2412968 w 3359086"/>
                <a:gd name="connsiteY14659" fmla="*/ 1618678 h 3355086"/>
                <a:gd name="connsiteX14660" fmla="*/ 2406776 w 3359086"/>
                <a:gd name="connsiteY14660" fmla="*/ 1624870 h 3355086"/>
                <a:gd name="connsiteX14661" fmla="*/ 2400585 w 3359086"/>
                <a:gd name="connsiteY14661" fmla="*/ 1618678 h 3355086"/>
                <a:gd name="connsiteX14662" fmla="*/ 2406776 w 3359086"/>
                <a:gd name="connsiteY14662" fmla="*/ 1612487 h 3355086"/>
                <a:gd name="connsiteX14663" fmla="*/ 980598 w 3359086"/>
                <a:gd name="connsiteY14663" fmla="*/ 1611440 h 3355086"/>
                <a:gd name="connsiteX14664" fmla="*/ 986789 w 3359086"/>
                <a:gd name="connsiteY14664" fmla="*/ 1617631 h 3355086"/>
                <a:gd name="connsiteX14665" fmla="*/ 980598 w 3359086"/>
                <a:gd name="connsiteY14665" fmla="*/ 1623823 h 3355086"/>
                <a:gd name="connsiteX14666" fmla="*/ 974407 w 3359086"/>
                <a:gd name="connsiteY14666" fmla="*/ 1617631 h 3355086"/>
                <a:gd name="connsiteX14667" fmla="*/ 980598 w 3359086"/>
                <a:gd name="connsiteY14667" fmla="*/ 1611440 h 3355086"/>
                <a:gd name="connsiteX14668" fmla="*/ 2301620 w 3359086"/>
                <a:gd name="connsiteY14668" fmla="*/ 1610392 h 3355086"/>
                <a:gd name="connsiteX14669" fmla="*/ 2307811 w 3359086"/>
                <a:gd name="connsiteY14669" fmla="*/ 1616583 h 3355086"/>
                <a:gd name="connsiteX14670" fmla="*/ 2301620 w 3359086"/>
                <a:gd name="connsiteY14670" fmla="*/ 1622775 h 3355086"/>
                <a:gd name="connsiteX14671" fmla="*/ 2295429 w 3359086"/>
                <a:gd name="connsiteY14671" fmla="*/ 1616583 h 3355086"/>
                <a:gd name="connsiteX14672" fmla="*/ 2301620 w 3359086"/>
                <a:gd name="connsiteY14672" fmla="*/ 1610392 h 3355086"/>
                <a:gd name="connsiteX14673" fmla="*/ 1090516 w 3359086"/>
                <a:gd name="connsiteY14673" fmla="*/ 1609249 h 3355086"/>
                <a:gd name="connsiteX14674" fmla="*/ 1096708 w 3359086"/>
                <a:gd name="connsiteY14674" fmla="*/ 1615440 h 3355086"/>
                <a:gd name="connsiteX14675" fmla="*/ 1090516 w 3359086"/>
                <a:gd name="connsiteY14675" fmla="*/ 1621632 h 3355086"/>
                <a:gd name="connsiteX14676" fmla="*/ 1084325 w 3359086"/>
                <a:gd name="connsiteY14676" fmla="*/ 1615440 h 3355086"/>
                <a:gd name="connsiteX14677" fmla="*/ 1090516 w 3359086"/>
                <a:gd name="connsiteY14677" fmla="*/ 1609249 h 3355086"/>
                <a:gd name="connsiteX14678" fmla="*/ 2187416 w 3359086"/>
                <a:gd name="connsiteY14678" fmla="*/ 1608201 h 3355086"/>
                <a:gd name="connsiteX14679" fmla="*/ 2193608 w 3359086"/>
                <a:gd name="connsiteY14679" fmla="*/ 1614392 h 3355086"/>
                <a:gd name="connsiteX14680" fmla="*/ 2187416 w 3359086"/>
                <a:gd name="connsiteY14680" fmla="*/ 1620584 h 3355086"/>
                <a:gd name="connsiteX14681" fmla="*/ 2181225 w 3359086"/>
                <a:gd name="connsiteY14681" fmla="*/ 1614392 h 3355086"/>
                <a:gd name="connsiteX14682" fmla="*/ 2187416 w 3359086"/>
                <a:gd name="connsiteY14682" fmla="*/ 1608201 h 3355086"/>
                <a:gd name="connsiteX14683" fmla="*/ 1209865 w 3359086"/>
                <a:gd name="connsiteY14683" fmla="*/ 1607058 h 3355086"/>
                <a:gd name="connsiteX14684" fmla="*/ 1216056 w 3359086"/>
                <a:gd name="connsiteY14684" fmla="*/ 1613249 h 3355086"/>
                <a:gd name="connsiteX14685" fmla="*/ 1209865 w 3359086"/>
                <a:gd name="connsiteY14685" fmla="*/ 1619440 h 3355086"/>
                <a:gd name="connsiteX14686" fmla="*/ 1203674 w 3359086"/>
                <a:gd name="connsiteY14686" fmla="*/ 1613249 h 3355086"/>
                <a:gd name="connsiteX14687" fmla="*/ 1209865 w 3359086"/>
                <a:gd name="connsiteY14687" fmla="*/ 1607058 h 3355086"/>
                <a:gd name="connsiteX14688" fmla="*/ 2063495 w 3359086"/>
                <a:gd name="connsiteY14688" fmla="*/ 1605915 h 3355086"/>
                <a:gd name="connsiteX14689" fmla="*/ 2069686 w 3359086"/>
                <a:gd name="connsiteY14689" fmla="*/ 1612106 h 3355086"/>
                <a:gd name="connsiteX14690" fmla="*/ 2063495 w 3359086"/>
                <a:gd name="connsiteY14690" fmla="*/ 1618298 h 3355086"/>
                <a:gd name="connsiteX14691" fmla="*/ 2057304 w 3359086"/>
                <a:gd name="connsiteY14691" fmla="*/ 1612106 h 3355086"/>
                <a:gd name="connsiteX14692" fmla="*/ 2063495 w 3359086"/>
                <a:gd name="connsiteY14692" fmla="*/ 1605915 h 3355086"/>
                <a:gd name="connsiteX14693" fmla="*/ 1339214 w 3359086"/>
                <a:gd name="connsiteY14693" fmla="*/ 1604677 h 3355086"/>
                <a:gd name="connsiteX14694" fmla="*/ 1345406 w 3359086"/>
                <a:gd name="connsiteY14694" fmla="*/ 1610868 h 3355086"/>
                <a:gd name="connsiteX14695" fmla="*/ 1339214 w 3359086"/>
                <a:gd name="connsiteY14695" fmla="*/ 1617059 h 3355086"/>
                <a:gd name="connsiteX14696" fmla="*/ 1333023 w 3359086"/>
                <a:gd name="connsiteY14696" fmla="*/ 1610868 h 3355086"/>
                <a:gd name="connsiteX14697" fmla="*/ 1339214 w 3359086"/>
                <a:gd name="connsiteY14697" fmla="*/ 1604677 h 3355086"/>
                <a:gd name="connsiteX14698" fmla="*/ 1929383 w 3359086"/>
                <a:gd name="connsiteY14698" fmla="*/ 1603629 h 3355086"/>
                <a:gd name="connsiteX14699" fmla="*/ 1935575 w 3359086"/>
                <a:gd name="connsiteY14699" fmla="*/ 1609820 h 3355086"/>
                <a:gd name="connsiteX14700" fmla="*/ 1929383 w 3359086"/>
                <a:gd name="connsiteY14700" fmla="*/ 1616011 h 3355086"/>
                <a:gd name="connsiteX14701" fmla="*/ 1923192 w 3359086"/>
                <a:gd name="connsiteY14701" fmla="*/ 1609820 h 3355086"/>
                <a:gd name="connsiteX14702" fmla="*/ 1929383 w 3359086"/>
                <a:gd name="connsiteY14702" fmla="*/ 1603629 h 3355086"/>
                <a:gd name="connsiteX14703" fmla="*/ 1479041 w 3359086"/>
                <a:gd name="connsiteY14703" fmla="*/ 1602391 h 3355086"/>
                <a:gd name="connsiteX14704" fmla="*/ 1485232 w 3359086"/>
                <a:gd name="connsiteY14704" fmla="*/ 1608582 h 3355086"/>
                <a:gd name="connsiteX14705" fmla="*/ 1479041 w 3359086"/>
                <a:gd name="connsiteY14705" fmla="*/ 1614774 h 3355086"/>
                <a:gd name="connsiteX14706" fmla="*/ 1472850 w 3359086"/>
                <a:gd name="connsiteY14706" fmla="*/ 1608582 h 3355086"/>
                <a:gd name="connsiteX14707" fmla="*/ 1479041 w 3359086"/>
                <a:gd name="connsiteY14707" fmla="*/ 1602391 h 3355086"/>
                <a:gd name="connsiteX14708" fmla="*/ 1784508 w 3359086"/>
                <a:gd name="connsiteY14708" fmla="*/ 1601343 h 3355086"/>
                <a:gd name="connsiteX14709" fmla="*/ 1790700 w 3359086"/>
                <a:gd name="connsiteY14709" fmla="*/ 1607534 h 3355086"/>
                <a:gd name="connsiteX14710" fmla="*/ 1784508 w 3359086"/>
                <a:gd name="connsiteY14710" fmla="*/ 1613726 h 3355086"/>
                <a:gd name="connsiteX14711" fmla="*/ 1778317 w 3359086"/>
                <a:gd name="connsiteY14711" fmla="*/ 1607534 h 3355086"/>
                <a:gd name="connsiteX14712" fmla="*/ 1784508 w 3359086"/>
                <a:gd name="connsiteY14712" fmla="*/ 1601343 h 3355086"/>
                <a:gd name="connsiteX14713" fmla="*/ 1629727 w 3359086"/>
                <a:gd name="connsiteY14713" fmla="*/ 1600391 h 3355086"/>
                <a:gd name="connsiteX14714" fmla="*/ 1635919 w 3359086"/>
                <a:gd name="connsiteY14714" fmla="*/ 1606582 h 3355086"/>
                <a:gd name="connsiteX14715" fmla="*/ 1629727 w 3359086"/>
                <a:gd name="connsiteY14715" fmla="*/ 1612774 h 3355086"/>
                <a:gd name="connsiteX14716" fmla="*/ 1623536 w 3359086"/>
                <a:gd name="connsiteY14716" fmla="*/ 1606582 h 3355086"/>
                <a:gd name="connsiteX14717" fmla="*/ 1629727 w 3359086"/>
                <a:gd name="connsiteY14717" fmla="*/ 1600391 h 3355086"/>
                <a:gd name="connsiteX14718" fmla="*/ 3355371 w 3359086"/>
                <a:gd name="connsiteY14718" fmla="*/ 1583151 h 3355086"/>
                <a:gd name="connsiteX14719" fmla="*/ 3356705 w 3359086"/>
                <a:gd name="connsiteY14719" fmla="*/ 1584484 h 3355086"/>
                <a:gd name="connsiteX14720" fmla="*/ 3355371 w 3359086"/>
                <a:gd name="connsiteY14720" fmla="*/ 1585818 h 3355086"/>
                <a:gd name="connsiteX14721" fmla="*/ 3354038 w 3359086"/>
                <a:gd name="connsiteY14721" fmla="*/ 1584484 h 3355086"/>
                <a:gd name="connsiteX14722" fmla="*/ 3355371 w 3359086"/>
                <a:gd name="connsiteY14722" fmla="*/ 1583151 h 3355086"/>
                <a:gd name="connsiteX14723" fmla="*/ 66198 w 3359086"/>
                <a:gd name="connsiteY14723" fmla="*/ 1579055 h 3355086"/>
                <a:gd name="connsiteX14724" fmla="*/ 72389 w 3359086"/>
                <a:gd name="connsiteY14724" fmla="*/ 1585246 h 3355086"/>
                <a:gd name="connsiteX14725" fmla="*/ 66198 w 3359086"/>
                <a:gd name="connsiteY14725" fmla="*/ 1591438 h 3355086"/>
                <a:gd name="connsiteX14726" fmla="*/ 63483 w 3359086"/>
                <a:gd name="connsiteY14726" fmla="*/ 1588723 h 3355086"/>
                <a:gd name="connsiteX14727" fmla="*/ 57911 w 3359086"/>
                <a:gd name="connsiteY14727" fmla="*/ 1594294 h 3355086"/>
                <a:gd name="connsiteX14728" fmla="*/ 55816 w 3359086"/>
                <a:gd name="connsiteY14728" fmla="*/ 1592200 h 3355086"/>
                <a:gd name="connsiteX14729" fmla="*/ 50958 w 3359086"/>
                <a:gd name="connsiteY14729" fmla="*/ 1597058 h 3355086"/>
                <a:gd name="connsiteX14730" fmla="*/ 49338 w 3359086"/>
                <a:gd name="connsiteY14730" fmla="*/ 1595438 h 3355086"/>
                <a:gd name="connsiteX14731" fmla="*/ 45148 w 3359086"/>
                <a:gd name="connsiteY14731" fmla="*/ 1599628 h 3355086"/>
                <a:gd name="connsiteX14732" fmla="*/ 44005 w 3359086"/>
                <a:gd name="connsiteY14732" fmla="*/ 1598486 h 3355086"/>
                <a:gd name="connsiteX14733" fmla="*/ 40290 w 3359086"/>
                <a:gd name="connsiteY14733" fmla="*/ 1602201 h 3355086"/>
                <a:gd name="connsiteX14734" fmla="*/ 39433 w 3359086"/>
                <a:gd name="connsiteY14734" fmla="*/ 1601344 h 3355086"/>
                <a:gd name="connsiteX14735" fmla="*/ 36290 w 3359086"/>
                <a:gd name="connsiteY14735" fmla="*/ 1604487 h 3355086"/>
                <a:gd name="connsiteX14736" fmla="*/ 35670 w 3359086"/>
                <a:gd name="connsiteY14736" fmla="*/ 1603867 h 3355086"/>
                <a:gd name="connsiteX14737" fmla="*/ 32765 w 3359086"/>
                <a:gd name="connsiteY14737" fmla="*/ 1606772 h 3355086"/>
                <a:gd name="connsiteX14738" fmla="*/ 32289 w 3359086"/>
                <a:gd name="connsiteY14738" fmla="*/ 1606296 h 3355086"/>
                <a:gd name="connsiteX14739" fmla="*/ 29717 w 3359086"/>
                <a:gd name="connsiteY14739" fmla="*/ 1608868 h 3355086"/>
                <a:gd name="connsiteX14740" fmla="*/ 29336 w 3359086"/>
                <a:gd name="connsiteY14740" fmla="*/ 1608488 h 3355086"/>
                <a:gd name="connsiteX14741" fmla="*/ 26955 w 3359086"/>
                <a:gd name="connsiteY14741" fmla="*/ 1610869 h 3355086"/>
                <a:gd name="connsiteX14742" fmla="*/ 26621 w 3359086"/>
                <a:gd name="connsiteY14742" fmla="*/ 1610536 h 3355086"/>
                <a:gd name="connsiteX14743" fmla="*/ 24383 w 3359086"/>
                <a:gd name="connsiteY14743" fmla="*/ 1612774 h 3355086"/>
                <a:gd name="connsiteX14744" fmla="*/ 24001 w 3359086"/>
                <a:gd name="connsiteY14744" fmla="*/ 1612393 h 3355086"/>
                <a:gd name="connsiteX14745" fmla="*/ 21811 w 3359086"/>
                <a:gd name="connsiteY14745" fmla="*/ 1614583 h 3355086"/>
                <a:gd name="connsiteX14746" fmla="*/ 21383 w 3359086"/>
                <a:gd name="connsiteY14746" fmla="*/ 1614155 h 3355086"/>
                <a:gd name="connsiteX14747" fmla="*/ 19240 w 3359086"/>
                <a:gd name="connsiteY14747" fmla="*/ 1616297 h 3355086"/>
                <a:gd name="connsiteX14748" fmla="*/ 18573 w 3359086"/>
                <a:gd name="connsiteY14748" fmla="*/ 1615631 h 3355086"/>
                <a:gd name="connsiteX14749" fmla="*/ 16382 w 3359086"/>
                <a:gd name="connsiteY14749" fmla="*/ 1617822 h 3355086"/>
                <a:gd name="connsiteX14750" fmla="*/ 15525 w 3359086"/>
                <a:gd name="connsiteY14750" fmla="*/ 1616965 h 3355086"/>
                <a:gd name="connsiteX14751" fmla="*/ 13144 w 3359086"/>
                <a:gd name="connsiteY14751" fmla="*/ 1619346 h 3355086"/>
                <a:gd name="connsiteX14752" fmla="*/ 12096 w 3359086"/>
                <a:gd name="connsiteY14752" fmla="*/ 1618298 h 3355086"/>
                <a:gd name="connsiteX14753" fmla="*/ 9620 w 3359086"/>
                <a:gd name="connsiteY14753" fmla="*/ 1620774 h 3355086"/>
                <a:gd name="connsiteX14754" fmla="*/ 7572 w 3359086"/>
                <a:gd name="connsiteY14754" fmla="*/ 1618726 h 3355086"/>
                <a:gd name="connsiteX14755" fmla="*/ 5619 w 3359086"/>
                <a:gd name="connsiteY14755" fmla="*/ 1620679 h 3355086"/>
                <a:gd name="connsiteX14756" fmla="*/ 761 w 3359086"/>
                <a:gd name="connsiteY14756" fmla="*/ 1615821 h 3355086"/>
                <a:gd name="connsiteX14757" fmla="*/ 5619 w 3359086"/>
                <a:gd name="connsiteY14757" fmla="*/ 1610963 h 3355086"/>
                <a:gd name="connsiteX14758" fmla="*/ 6334 w 3359086"/>
                <a:gd name="connsiteY14758" fmla="*/ 1611678 h 3355086"/>
                <a:gd name="connsiteX14759" fmla="*/ 9620 w 3359086"/>
                <a:gd name="connsiteY14759" fmla="*/ 1608392 h 3355086"/>
                <a:gd name="connsiteX14760" fmla="*/ 10667 w 3359086"/>
                <a:gd name="connsiteY14760" fmla="*/ 1609440 h 3355086"/>
                <a:gd name="connsiteX14761" fmla="*/ 13144 w 3359086"/>
                <a:gd name="connsiteY14761" fmla="*/ 1606963 h 3355086"/>
                <a:gd name="connsiteX14762" fmla="*/ 14001 w 3359086"/>
                <a:gd name="connsiteY14762" fmla="*/ 1607820 h 3355086"/>
                <a:gd name="connsiteX14763" fmla="*/ 16382 w 3359086"/>
                <a:gd name="connsiteY14763" fmla="*/ 1605439 h 3355086"/>
                <a:gd name="connsiteX14764" fmla="*/ 17049 w 3359086"/>
                <a:gd name="connsiteY14764" fmla="*/ 1606106 h 3355086"/>
                <a:gd name="connsiteX14765" fmla="*/ 19240 w 3359086"/>
                <a:gd name="connsiteY14765" fmla="*/ 1603915 h 3355086"/>
                <a:gd name="connsiteX14766" fmla="*/ 19668 w 3359086"/>
                <a:gd name="connsiteY14766" fmla="*/ 1604343 h 3355086"/>
                <a:gd name="connsiteX14767" fmla="*/ 21811 w 3359086"/>
                <a:gd name="connsiteY14767" fmla="*/ 1602200 h 3355086"/>
                <a:gd name="connsiteX14768" fmla="*/ 22192 w 3359086"/>
                <a:gd name="connsiteY14768" fmla="*/ 1602582 h 3355086"/>
                <a:gd name="connsiteX14769" fmla="*/ 24383 w 3359086"/>
                <a:gd name="connsiteY14769" fmla="*/ 1600391 h 3355086"/>
                <a:gd name="connsiteX14770" fmla="*/ 24716 w 3359086"/>
                <a:gd name="connsiteY14770" fmla="*/ 1600725 h 3355086"/>
                <a:gd name="connsiteX14771" fmla="*/ 26955 w 3359086"/>
                <a:gd name="connsiteY14771" fmla="*/ 1598486 h 3355086"/>
                <a:gd name="connsiteX14772" fmla="*/ 27336 w 3359086"/>
                <a:gd name="connsiteY14772" fmla="*/ 1598867 h 3355086"/>
                <a:gd name="connsiteX14773" fmla="*/ 29717 w 3359086"/>
                <a:gd name="connsiteY14773" fmla="*/ 1596486 h 3355086"/>
                <a:gd name="connsiteX14774" fmla="*/ 30193 w 3359086"/>
                <a:gd name="connsiteY14774" fmla="*/ 1596962 h 3355086"/>
                <a:gd name="connsiteX14775" fmla="*/ 32765 w 3359086"/>
                <a:gd name="connsiteY14775" fmla="*/ 1594390 h 3355086"/>
                <a:gd name="connsiteX14776" fmla="*/ 33384 w 3359086"/>
                <a:gd name="connsiteY14776" fmla="*/ 1595010 h 3355086"/>
                <a:gd name="connsiteX14777" fmla="*/ 36290 w 3359086"/>
                <a:gd name="connsiteY14777" fmla="*/ 1592104 h 3355086"/>
                <a:gd name="connsiteX14778" fmla="*/ 37147 w 3359086"/>
                <a:gd name="connsiteY14778" fmla="*/ 1592961 h 3355086"/>
                <a:gd name="connsiteX14779" fmla="*/ 40290 w 3359086"/>
                <a:gd name="connsiteY14779" fmla="*/ 1589818 h 3355086"/>
                <a:gd name="connsiteX14780" fmla="*/ 41433 w 3359086"/>
                <a:gd name="connsiteY14780" fmla="*/ 1590961 h 3355086"/>
                <a:gd name="connsiteX14781" fmla="*/ 45148 w 3359086"/>
                <a:gd name="connsiteY14781" fmla="*/ 1587246 h 3355086"/>
                <a:gd name="connsiteX14782" fmla="*/ 46767 w 3359086"/>
                <a:gd name="connsiteY14782" fmla="*/ 1588866 h 3355086"/>
                <a:gd name="connsiteX14783" fmla="*/ 50958 w 3359086"/>
                <a:gd name="connsiteY14783" fmla="*/ 1584675 h 3355086"/>
                <a:gd name="connsiteX14784" fmla="*/ 53053 w 3359086"/>
                <a:gd name="connsiteY14784" fmla="*/ 1586770 h 3355086"/>
                <a:gd name="connsiteX14785" fmla="*/ 57911 w 3359086"/>
                <a:gd name="connsiteY14785" fmla="*/ 1581912 h 3355086"/>
                <a:gd name="connsiteX14786" fmla="*/ 60626 w 3359086"/>
                <a:gd name="connsiteY14786" fmla="*/ 1584627 h 3355086"/>
                <a:gd name="connsiteX14787" fmla="*/ 3261645 w 3359086"/>
                <a:gd name="connsiteY14787" fmla="*/ 1577626 h 3355086"/>
                <a:gd name="connsiteX14788" fmla="*/ 3267598 w 3359086"/>
                <a:gd name="connsiteY14788" fmla="*/ 1583580 h 3355086"/>
                <a:gd name="connsiteX14789" fmla="*/ 3270599 w 3359086"/>
                <a:gd name="connsiteY14789" fmla="*/ 1580579 h 3355086"/>
                <a:gd name="connsiteX14790" fmla="*/ 3275790 w 3359086"/>
                <a:gd name="connsiteY14790" fmla="*/ 1585770 h 3355086"/>
                <a:gd name="connsiteX14791" fmla="*/ 3278123 w 3359086"/>
                <a:gd name="connsiteY14791" fmla="*/ 1583436 h 3355086"/>
                <a:gd name="connsiteX14792" fmla="*/ 3282600 w 3359086"/>
                <a:gd name="connsiteY14792" fmla="*/ 1587913 h 3355086"/>
                <a:gd name="connsiteX14793" fmla="*/ 3284410 w 3359086"/>
                <a:gd name="connsiteY14793" fmla="*/ 1586103 h 3355086"/>
                <a:gd name="connsiteX14794" fmla="*/ 3288363 w 3359086"/>
                <a:gd name="connsiteY14794" fmla="*/ 1590056 h 3355086"/>
                <a:gd name="connsiteX14795" fmla="*/ 3289744 w 3359086"/>
                <a:gd name="connsiteY14795" fmla="*/ 1588675 h 3355086"/>
                <a:gd name="connsiteX14796" fmla="*/ 3293125 w 3359086"/>
                <a:gd name="connsiteY14796" fmla="*/ 1592056 h 3355086"/>
                <a:gd name="connsiteX14797" fmla="*/ 3294125 w 3359086"/>
                <a:gd name="connsiteY14797" fmla="*/ 1591056 h 3355086"/>
                <a:gd name="connsiteX14798" fmla="*/ 3297125 w 3359086"/>
                <a:gd name="connsiteY14798" fmla="*/ 1594057 h 3355086"/>
                <a:gd name="connsiteX14799" fmla="*/ 3297840 w 3359086"/>
                <a:gd name="connsiteY14799" fmla="*/ 1593342 h 3355086"/>
                <a:gd name="connsiteX14800" fmla="*/ 3300555 w 3359086"/>
                <a:gd name="connsiteY14800" fmla="*/ 1596057 h 3355086"/>
                <a:gd name="connsiteX14801" fmla="*/ 3301079 w 3359086"/>
                <a:gd name="connsiteY14801" fmla="*/ 1595533 h 3355086"/>
                <a:gd name="connsiteX14802" fmla="*/ 3303556 w 3359086"/>
                <a:gd name="connsiteY14802" fmla="*/ 1598010 h 3355086"/>
                <a:gd name="connsiteX14803" fmla="*/ 3303936 w 3359086"/>
                <a:gd name="connsiteY14803" fmla="*/ 1597629 h 3355086"/>
                <a:gd name="connsiteX14804" fmla="*/ 3306222 w 3359086"/>
                <a:gd name="connsiteY14804" fmla="*/ 1599915 h 3355086"/>
                <a:gd name="connsiteX14805" fmla="*/ 3306603 w 3359086"/>
                <a:gd name="connsiteY14805" fmla="*/ 1599533 h 3355086"/>
                <a:gd name="connsiteX14806" fmla="*/ 3308746 w 3359086"/>
                <a:gd name="connsiteY14806" fmla="*/ 1601677 h 3355086"/>
                <a:gd name="connsiteX14807" fmla="*/ 3309080 w 3359086"/>
                <a:gd name="connsiteY14807" fmla="*/ 1601343 h 3355086"/>
                <a:gd name="connsiteX14808" fmla="*/ 3311318 w 3359086"/>
                <a:gd name="connsiteY14808" fmla="*/ 1603582 h 3355086"/>
                <a:gd name="connsiteX14809" fmla="*/ 3311747 w 3359086"/>
                <a:gd name="connsiteY14809" fmla="*/ 1603153 h 3355086"/>
                <a:gd name="connsiteX14810" fmla="*/ 3313938 w 3359086"/>
                <a:gd name="connsiteY14810" fmla="*/ 1605344 h 3355086"/>
                <a:gd name="connsiteX14811" fmla="*/ 3314509 w 3359086"/>
                <a:gd name="connsiteY14811" fmla="*/ 1604772 h 3355086"/>
                <a:gd name="connsiteX14812" fmla="*/ 3316748 w 3359086"/>
                <a:gd name="connsiteY14812" fmla="*/ 1607011 h 3355086"/>
                <a:gd name="connsiteX14813" fmla="*/ 3317462 w 3359086"/>
                <a:gd name="connsiteY14813" fmla="*/ 1606296 h 3355086"/>
                <a:gd name="connsiteX14814" fmla="*/ 3319843 w 3359086"/>
                <a:gd name="connsiteY14814" fmla="*/ 1608677 h 3355086"/>
                <a:gd name="connsiteX14815" fmla="*/ 3320795 w 3359086"/>
                <a:gd name="connsiteY14815" fmla="*/ 1607725 h 3355086"/>
                <a:gd name="connsiteX14816" fmla="*/ 3323415 w 3359086"/>
                <a:gd name="connsiteY14816" fmla="*/ 1610345 h 3355086"/>
                <a:gd name="connsiteX14817" fmla="*/ 3324605 w 3359086"/>
                <a:gd name="connsiteY14817" fmla="*/ 1609154 h 3355086"/>
                <a:gd name="connsiteX14818" fmla="*/ 3327415 w 3359086"/>
                <a:gd name="connsiteY14818" fmla="*/ 1611964 h 3355086"/>
                <a:gd name="connsiteX14819" fmla="*/ 3328987 w 3359086"/>
                <a:gd name="connsiteY14819" fmla="*/ 1610392 h 3355086"/>
                <a:gd name="connsiteX14820" fmla="*/ 3332034 w 3359086"/>
                <a:gd name="connsiteY14820" fmla="*/ 1613440 h 3355086"/>
                <a:gd name="connsiteX14821" fmla="*/ 3333844 w 3359086"/>
                <a:gd name="connsiteY14821" fmla="*/ 1611630 h 3355086"/>
                <a:gd name="connsiteX14822" fmla="*/ 3337178 w 3359086"/>
                <a:gd name="connsiteY14822" fmla="*/ 1614964 h 3355086"/>
                <a:gd name="connsiteX14823" fmla="*/ 3339464 w 3359086"/>
                <a:gd name="connsiteY14823" fmla="*/ 1612678 h 3355086"/>
                <a:gd name="connsiteX14824" fmla="*/ 3343132 w 3359086"/>
                <a:gd name="connsiteY14824" fmla="*/ 1616346 h 3355086"/>
                <a:gd name="connsiteX14825" fmla="*/ 3345751 w 3359086"/>
                <a:gd name="connsiteY14825" fmla="*/ 1613726 h 3355086"/>
                <a:gd name="connsiteX14826" fmla="*/ 3350419 w 3359086"/>
                <a:gd name="connsiteY14826" fmla="*/ 1618393 h 3355086"/>
                <a:gd name="connsiteX14827" fmla="*/ 3352800 w 3359086"/>
                <a:gd name="connsiteY14827" fmla="*/ 1616012 h 3355086"/>
                <a:gd name="connsiteX14828" fmla="*/ 3357658 w 3359086"/>
                <a:gd name="connsiteY14828" fmla="*/ 1620870 h 3355086"/>
                <a:gd name="connsiteX14829" fmla="*/ 3352800 w 3359086"/>
                <a:gd name="connsiteY14829" fmla="*/ 1625728 h 3355086"/>
                <a:gd name="connsiteX14830" fmla="*/ 3349466 w 3359086"/>
                <a:gd name="connsiteY14830" fmla="*/ 1622394 h 3355086"/>
                <a:gd name="connsiteX14831" fmla="*/ 3345751 w 3359086"/>
                <a:gd name="connsiteY14831" fmla="*/ 1626109 h 3355086"/>
                <a:gd name="connsiteX14832" fmla="*/ 3342084 w 3359086"/>
                <a:gd name="connsiteY14832" fmla="*/ 1622441 h 3355086"/>
                <a:gd name="connsiteX14833" fmla="*/ 3339464 w 3359086"/>
                <a:gd name="connsiteY14833" fmla="*/ 1625061 h 3355086"/>
                <a:gd name="connsiteX14834" fmla="*/ 3336130 w 3359086"/>
                <a:gd name="connsiteY14834" fmla="*/ 1621727 h 3355086"/>
                <a:gd name="connsiteX14835" fmla="*/ 3333844 w 3359086"/>
                <a:gd name="connsiteY14835" fmla="*/ 1624013 h 3355086"/>
                <a:gd name="connsiteX14836" fmla="*/ 3330797 w 3359086"/>
                <a:gd name="connsiteY14836" fmla="*/ 1620965 h 3355086"/>
                <a:gd name="connsiteX14837" fmla="*/ 3328987 w 3359086"/>
                <a:gd name="connsiteY14837" fmla="*/ 1622775 h 3355086"/>
                <a:gd name="connsiteX14838" fmla="*/ 3326177 w 3359086"/>
                <a:gd name="connsiteY14838" fmla="*/ 1619965 h 3355086"/>
                <a:gd name="connsiteX14839" fmla="*/ 3324605 w 3359086"/>
                <a:gd name="connsiteY14839" fmla="*/ 1621537 h 3355086"/>
                <a:gd name="connsiteX14840" fmla="*/ 3321986 w 3359086"/>
                <a:gd name="connsiteY14840" fmla="*/ 1618918 h 3355086"/>
                <a:gd name="connsiteX14841" fmla="*/ 3320795 w 3359086"/>
                <a:gd name="connsiteY14841" fmla="*/ 1620108 h 3355086"/>
                <a:gd name="connsiteX14842" fmla="*/ 3318414 w 3359086"/>
                <a:gd name="connsiteY14842" fmla="*/ 1617727 h 3355086"/>
                <a:gd name="connsiteX14843" fmla="*/ 3317462 w 3359086"/>
                <a:gd name="connsiteY14843" fmla="*/ 1618678 h 3355086"/>
                <a:gd name="connsiteX14844" fmla="*/ 3315224 w 3359086"/>
                <a:gd name="connsiteY14844" fmla="*/ 1616440 h 3355086"/>
                <a:gd name="connsiteX14845" fmla="*/ 3314509 w 3359086"/>
                <a:gd name="connsiteY14845" fmla="*/ 1617155 h 3355086"/>
                <a:gd name="connsiteX14846" fmla="*/ 3312319 w 3359086"/>
                <a:gd name="connsiteY14846" fmla="*/ 1614965 h 3355086"/>
                <a:gd name="connsiteX14847" fmla="*/ 3311747 w 3359086"/>
                <a:gd name="connsiteY14847" fmla="*/ 1615536 h 3355086"/>
                <a:gd name="connsiteX14848" fmla="*/ 3309509 w 3359086"/>
                <a:gd name="connsiteY14848" fmla="*/ 1613298 h 3355086"/>
                <a:gd name="connsiteX14849" fmla="*/ 3309080 w 3359086"/>
                <a:gd name="connsiteY14849" fmla="*/ 1613726 h 3355086"/>
                <a:gd name="connsiteX14850" fmla="*/ 3306937 w 3359086"/>
                <a:gd name="connsiteY14850" fmla="*/ 1611583 h 3355086"/>
                <a:gd name="connsiteX14851" fmla="*/ 3306603 w 3359086"/>
                <a:gd name="connsiteY14851" fmla="*/ 1611916 h 3355086"/>
                <a:gd name="connsiteX14852" fmla="*/ 3304318 w 3359086"/>
                <a:gd name="connsiteY14852" fmla="*/ 1609631 h 3355086"/>
                <a:gd name="connsiteX14853" fmla="*/ 3303936 w 3359086"/>
                <a:gd name="connsiteY14853" fmla="*/ 1610012 h 3355086"/>
                <a:gd name="connsiteX14854" fmla="*/ 3301460 w 3359086"/>
                <a:gd name="connsiteY14854" fmla="*/ 1607536 h 3355086"/>
                <a:gd name="connsiteX14855" fmla="*/ 3301079 w 3359086"/>
                <a:gd name="connsiteY14855" fmla="*/ 1607916 h 3355086"/>
                <a:gd name="connsiteX14856" fmla="*/ 3298364 w 3359086"/>
                <a:gd name="connsiteY14856" fmla="*/ 1605201 h 3355086"/>
                <a:gd name="connsiteX14857" fmla="*/ 3297840 w 3359086"/>
                <a:gd name="connsiteY14857" fmla="*/ 1605725 h 3355086"/>
                <a:gd name="connsiteX14858" fmla="*/ 3294840 w 3359086"/>
                <a:gd name="connsiteY14858" fmla="*/ 1602724 h 3355086"/>
                <a:gd name="connsiteX14859" fmla="*/ 3294125 w 3359086"/>
                <a:gd name="connsiteY14859" fmla="*/ 1603439 h 3355086"/>
                <a:gd name="connsiteX14860" fmla="*/ 3290744 w 3359086"/>
                <a:gd name="connsiteY14860" fmla="*/ 1600058 h 3355086"/>
                <a:gd name="connsiteX14861" fmla="*/ 3289744 w 3359086"/>
                <a:gd name="connsiteY14861" fmla="*/ 1601058 h 3355086"/>
                <a:gd name="connsiteX14862" fmla="*/ 3285791 w 3359086"/>
                <a:gd name="connsiteY14862" fmla="*/ 1597105 h 3355086"/>
                <a:gd name="connsiteX14863" fmla="*/ 3284410 w 3359086"/>
                <a:gd name="connsiteY14863" fmla="*/ 1598486 h 3355086"/>
                <a:gd name="connsiteX14864" fmla="*/ 3279933 w 3359086"/>
                <a:gd name="connsiteY14864" fmla="*/ 1594009 h 3355086"/>
                <a:gd name="connsiteX14865" fmla="*/ 3278123 w 3359086"/>
                <a:gd name="connsiteY14865" fmla="*/ 1595819 h 3355086"/>
                <a:gd name="connsiteX14866" fmla="*/ 3272933 w 3359086"/>
                <a:gd name="connsiteY14866" fmla="*/ 1590628 h 3355086"/>
                <a:gd name="connsiteX14867" fmla="*/ 3270599 w 3359086"/>
                <a:gd name="connsiteY14867" fmla="*/ 1592962 h 3355086"/>
                <a:gd name="connsiteX14868" fmla="*/ 3264646 w 3359086"/>
                <a:gd name="connsiteY14868" fmla="*/ 1587008 h 3355086"/>
                <a:gd name="connsiteX14869" fmla="*/ 3261645 w 3359086"/>
                <a:gd name="connsiteY14869" fmla="*/ 1590009 h 3355086"/>
                <a:gd name="connsiteX14870" fmla="*/ 3255454 w 3359086"/>
                <a:gd name="connsiteY14870" fmla="*/ 1583817 h 3355086"/>
                <a:gd name="connsiteX14871" fmla="*/ 3261645 w 3359086"/>
                <a:gd name="connsiteY14871" fmla="*/ 1577626 h 3355086"/>
                <a:gd name="connsiteX14872" fmla="*/ 76009 w 3359086"/>
                <a:gd name="connsiteY14872" fmla="*/ 1576007 h 3355086"/>
                <a:gd name="connsiteX14873" fmla="*/ 82201 w 3359086"/>
                <a:gd name="connsiteY14873" fmla="*/ 1582198 h 3355086"/>
                <a:gd name="connsiteX14874" fmla="*/ 76009 w 3359086"/>
                <a:gd name="connsiteY14874" fmla="*/ 1588390 h 3355086"/>
                <a:gd name="connsiteX14875" fmla="*/ 69818 w 3359086"/>
                <a:gd name="connsiteY14875" fmla="*/ 1582198 h 3355086"/>
                <a:gd name="connsiteX14876" fmla="*/ 76009 w 3359086"/>
                <a:gd name="connsiteY14876" fmla="*/ 1576007 h 3355086"/>
                <a:gd name="connsiteX14877" fmla="*/ 3251072 w 3359086"/>
                <a:gd name="connsiteY14877" fmla="*/ 1574578 h 3355086"/>
                <a:gd name="connsiteX14878" fmla="*/ 3257263 w 3359086"/>
                <a:gd name="connsiteY14878" fmla="*/ 1580769 h 3355086"/>
                <a:gd name="connsiteX14879" fmla="*/ 3251072 w 3359086"/>
                <a:gd name="connsiteY14879" fmla="*/ 1586961 h 3355086"/>
                <a:gd name="connsiteX14880" fmla="*/ 3244881 w 3359086"/>
                <a:gd name="connsiteY14880" fmla="*/ 1580769 h 3355086"/>
                <a:gd name="connsiteX14881" fmla="*/ 3251072 w 3359086"/>
                <a:gd name="connsiteY14881" fmla="*/ 1574578 h 3355086"/>
                <a:gd name="connsiteX14882" fmla="*/ 87534 w 3359086"/>
                <a:gd name="connsiteY14882" fmla="*/ 1572863 h 3355086"/>
                <a:gd name="connsiteX14883" fmla="*/ 93726 w 3359086"/>
                <a:gd name="connsiteY14883" fmla="*/ 1579054 h 3355086"/>
                <a:gd name="connsiteX14884" fmla="*/ 87534 w 3359086"/>
                <a:gd name="connsiteY14884" fmla="*/ 1585246 h 3355086"/>
                <a:gd name="connsiteX14885" fmla="*/ 81343 w 3359086"/>
                <a:gd name="connsiteY14885" fmla="*/ 1579054 h 3355086"/>
                <a:gd name="connsiteX14886" fmla="*/ 87534 w 3359086"/>
                <a:gd name="connsiteY14886" fmla="*/ 1572863 h 3355086"/>
                <a:gd name="connsiteX14887" fmla="*/ 3238499 w 3359086"/>
                <a:gd name="connsiteY14887" fmla="*/ 1571244 h 3355086"/>
                <a:gd name="connsiteX14888" fmla="*/ 3244690 w 3359086"/>
                <a:gd name="connsiteY14888" fmla="*/ 1577435 h 3355086"/>
                <a:gd name="connsiteX14889" fmla="*/ 3238499 w 3359086"/>
                <a:gd name="connsiteY14889" fmla="*/ 1583627 h 3355086"/>
                <a:gd name="connsiteX14890" fmla="*/ 3232308 w 3359086"/>
                <a:gd name="connsiteY14890" fmla="*/ 1577435 h 3355086"/>
                <a:gd name="connsiteX14891" fmla="*/ 3238499 w 3359086"/>
                <a:gd name="connsiteY14891" fmla="*/ 1571244 h 3355086"/>
                <a:gd name="connsiteX14892" fmla="*/ 101155 w 3359086"/>
                <a:gd name="connsiteY14892" fmla="*/ 1569434 h 3355086"/>
                <a:gd name="connsiteX14893" fmla="*/ 107347 w 3359086"/>
                <a:gd name="connsiteY14893" fmla="*/ 1575625 h 3355086"/>
                <a:gd name="connsiteX14894" fmla="*/ 101155 w 3359086"/>
                <a:gd name="connsiteY14894" fmla="*/ 1581817 h 3355086"/>
                <a:gd name="connsiteX14895" fmla="*/ 94964 w 3359086"/>
                <a:gd name="connsiteY14895" fmla="*/ 1575625 h 3355086"/>
                <a:gd name="connsiteX14896" fmla="*/ 101155 w 3359086"/>
                <a:gd name="connsiteY14896" fmla="*/ 1569434 h 3355086"/>
                <a:gd name="connsiteX14897" fmla="*/ 3223926 w 3359086"/>
                <a:gd name="connsiteY14897" fmla="*/ 1567911 h 3355086"/>
                <a:gd name="connsiteX14898" fmla="*/ 3230117 w 3359086"/>
                <a:gd name="connsiteY14898" fmla="*/ 1574102 h 3355086"/>
                <a:gd name="connsiteX14899" fmla="*/ 3223926 w 3359086"/>
                <a:gd name="connsiteY14899" fmla="*/ 1580293 h 3355086"/>
                <a:gd name="connsiteX14900" fmla="*/ 3217735 w 3359086"/>
                <a:gd name="connsiteY14900" fmla="*/ 1574102 h 3355086"/>
                <a:gd name="connsiteX14901" fmla="*/ 3223926 w 3359086"/>
                <a:gd name="connsiteY14901" fmla="*/ 1567911 h 3355086"/>
                <a:gd name="connsiteX14902" fmla="*/ 117062 w 3359086"/>
                <a:gd name="connsiteY14902" fmla="*/ 1566005 h 3355086"/>
                <a:gd name="connsiteX14903" fmla="*/ 123253 w 3359086"/>
                <a:gd name="connsiteY14903" fmla="*/ 1572196 h 3355086"/>
                <a:gd name="connsiteX14904" fmla="*/ 117062 w 3359086"/>
                <a:gd name="connsiteY14904" fmla="*/ 1578388 h 3355086"/>
                <a:gd name="connsiteX14905" fmla="*/ 110871 w 3359086"/>
                <a:gd name="connsiteY14905" fmla="*/ 1572196 h 3355086"/>
                <a:gd name="connsiteX14906" fmla="*/ 117062 w 3359086"/>
                <a:gd name="connsiteY14906" fmla="*/ 1566005 h 3355086"/>
                <a:gd name="connsiteX14907" fmla="*/ 3206876 w 3359086"/>
                <a:gd name="connsiteY14907" fmla="*/ 1564291 h 3355086"/>
                <a:gd name="connsiteX14908" fmla="*/ 3213067 w 3359086"/>
                <a:gd name="connsiteY14908" fmla="*/ 1570482 h 3355086"/>
                <a:gd name="connsiteX14909" fmla="*/ 3206876 w 3359086"/>
                <a:gd name="connsiteY14909" fmla="*/ 1576674 h 3355086"/>
                <a:gd name="connsiteX14910" fmla="*/ 3200685 w 3359086"/>
                <a:gd name="connsiteY14910" fmla="*/ 1570482 h 3355086"/>
                <a:gd name="connsiteX14911" fmla="*/ 3206876 w 3359086"/>
                <a:gd name="connsiteY14911" fmla="*/ 1564291 h 3355086"/>
                <a:gd name="connsiteX14912" fmla="*/ 135445 w 3359086"/>
                <a:gd name="connsiteY14912" fmla="*/ 1562291 h 3355086"/>
                <a:gd name="connsiteX14913" fmla="*/ 141637 w 3359086"/>
                <a:gd name="connsiteY14913" fmla="*/ 1568482 h 3355086"/>
                <a:gd name="connsiteX14914" fmla="*/ 135445 w 3359086"/>
                <a:gd name="connsiteY14914" fmla="*/ 1574674 h 3355086"/>
                <a:gd name="connsiteX14915" fmla="*/ 129254 w 3359086"/>
                <a:gd name="connsiteY14915" fmla="*/ 1568482 h 3355086"/>
                <a:gd name="connsiteX14916" fmla="*/ 135445 w 3359086"/>
                <a:gd name="connsiteY14916" fmla="*/ 1562291 h 3355086"/>
                <a:gd name="connsiteX14917" fmla="*/ 3187255 w 3359086"/>
                <a:gd name="connsiteY14917" fmla="*/ 1560576 h 3355086"/>
                <a:gd name="connsiteX14918" fmla="*/ 3193446 w 3359086"/>
                <a:gd name="connsiteY14918" fmla="*/ 1566767 h 3355086"/>
                <a:gd name="connsiteX14919" fmla="*/ 3187255 w 3359086"/>
                <a:gd name="connsiteY14919" fmla="*/ 1572959 h 3355086"/>
                <a:gd name="connsiteX14920" fmla="*/ 3181064 w 3359086"/>
                <a:gd name="connsiteY14920" fmla="*/ 1566767 h 3355086"/>
                <a:gd name="connsiteX14921" fmla="*/ 3187255 w 3359086"/>
                <a:gd name="connsiteY14921" fmla="*/ 1560576 h 3355086"/>
                <a:gd name="connsiteX14922" fmla="*/ 156590 w 3359086"/>
                <a:gd name="connsiteY14922" fmla="*/ 1558481 h 3355086"/>
                <a:gd name="connsiteX14923" fmla="*/ 162782 w 3359086"/>
                <a:gd name="connsiteY14923" fmla="*/ 1564672 h 3355086"/>
                <a:gd name="connsiteX14924" fmla="*/ 156590 w 3359086"/>
                <a:gd name="connsiteY14924" fmla="*/ 1570864 h 3355086"/>
                <a:gd name="connsiteX14925" fmla="*/ 150399 w 3359086"/>
                <a:gd name="connsiteY14925" fmla="*/ 1564672 h 3355086"/>
                <a:gd name="connsiteX14926" fmla="*/ 156590 w 3359086"/>
                <a:gd name="connsiteY14926" fmla="*/ 1558481 h 3355086"/>
                <a:gd name="connsiteX14927" fmla="*/ 3164681 w 3359086"/>
                <a:gd name="connsiteY14927" fmla="*/ 1556671 h 3355086"/>
                <a:gd name="connsiteX14928" fmla="*/ 3170872 w 3359086"/>
                <a:gd name="connsiteY14928" fmla="*/ 1562862 h 3355086"/>
                <a:gd name="connsiteX14929" fmla="*/ 3164681 w 3359086"/>
                <a:gd name="connsiteY14929" fmla="*/ 1569054 h 3355086"/>
                <a:gd name="connsiteX14930" fmla="*/ 3158490 w 3359086"/>
                <a:gd name="connsiteY14930" fmla="*/ 1562862 h 3355086"/>
                <a:gd name="connsiteX14931" fmla="*/ 3164681 w 3359086"/>
                <a:gd name="connsiteY14931" fmla="*/ 1556671 h 3355086"/>
                <a:gd name="connsiteX14932" fmla="*/ 180879 w 3359086"/>
                <a:gd name="connsiteY14932" fmla="*/ 1554480 h 3355086"/>
                <a:gd name="connsiteX14933" fmla="*/ 187070 w 3359086"/>
                <a:gd name="connsiteY14933" fmla="*/ 1560671 h 3355086"/>
                <a:gd name="connsiteX14934" fmla="*/ 180879 w 3359086"/>
                <a:gd name="connsiteY14934" fmla="*/ 1566863 h 3355086"/>
                <a:gd name="connsiteX14935" fmla="*/ 174688 w 3359086"/>
                <a:gd name="connsiteY14935" fmla="*/ 1560671 h 3355086"/>
                <a:gd name="connsiteX14936" fmla="*/ 180879 w 3359086"/>
                <a:gd name="connsiteY14936" fmla="*/ 1554480 h 3355086"/>
                <a:gd name="connsiteX14937" fmla="*/ 3138868 w 3359086"/>
                <a:gd name="connsiteY14937" fmla="*/ 1552575 h 3355086"/>
                <a:gd name="connsiteX14938" fmla="*/ 3145059 w 3359086"/>
                <a:gd name="connsiteY14938" fmla="*/ 1558766 h 3355086"/>
                <a:gd name="connsiteX14939" fmla="*/ 3138868 w 3359086"/>
                <a:gd name="connsiteY14939" fmla="*/ 1564957 h 3355086"/>
                <a:gd name="connsiteX14940" fmla="*/ 3132677 w 3359086"/>
                <a:gd name="connsiteY14940" fmla="*/ 1558766 h 3355086"/>
                <a:gd name="connsiteX14941" fmla="*/ 3138868 w 3359086"/>
                <a:gd name="connsiteY14941" fmla="*/ 1552575 h 3355086"/>
                <a:gd name="connsiteX14942" fmla="*/ 208597 w 3359086"/>
                <a:gd name="connsiteY14942" fmla="*/ 1550384 h 3355086"/>
                <a:gd name="connsiteX14943" fmla="*/ 214788 w 3359086"/>
                <a:gd name="connsiteY14943" fmla="*/ 1556575 h 3355086"/>
                <a:gd name="connsiteX14944" fmla="*/ 208597 w 3359086"/>
                <a:gd name="connsiteY14944" fmla="*/ 1562767 h 3355086"/>
                <a:gd name="connsiteX14945" fmla="*/ 202406 w 3359086"/>
                <a:gd name="connsiteY14945" fmla="*/ 1556575 h 3355086"/>
                <a:gd name="connsiteX14946" fmla="*/ 208597 w 3359086"/>
                <a:gd name="connsiteY14946" fmla="*/ 1550384 h 3355086"/>
                <a:gd name="connsiteX14947" fmla="*/ 3109531 w 3359086"/>
                <a:gd name="connsiteY14947" fmla="*/ 1548384 h 3355086"/>
                <a:gd name="connsiteX14948" fmla="*/ 3115722 w 3359086"/>
                <a:gd name="connsiteY14948" fmla="*/ 1554575 h 3355086"/>
                <a:gd name="connsiteX14949" fmla="*/ 3109531 w 3359086"/>
                <a:gd name="connsiteY14949" fmla="*/ 1560767 h 3355086"/>
                <a:gd name="connsiteX14950" fmla="*/ 3103340 w 3359086"/>
                <a:gd name="connsiteY14950" fmla="*/ 1554575 h 3355086"/>
                <a:gd name="connsiteX14951" fmla="*/ 3109531 w 3359086"/>
                <a:gd name="connsiteY14951" fmla="*/ 1548384 h 3355086"/>
                <a:gd name="connsiteX14952" fmla="*/ 239934 w 3359086"/>
                <a:gd name="connsiteY14952" fmla="*/ 1546003 h 3355086"/>
                <a:gd name="connsiteX14953" fmla="*/ 246125 w 3359086"/>
                <a:gd name="connsiteY14953" fmla="*/ 1552194 h 3355086"/>
                <a:gd name="connsiteX14954" fmla="*/ 239934 w 3359086"/>
                <a:gd name="connsiteY14954" fmla="*/ 1558386 h 3355086"/>
                <a:gd name="connsiteX14955" fmla="*/ 233743 w 3359086"/>
                <a:gd name="connsiteY14955" fmla="*/ 1552194 h 3355086"/>
                <a:gd name="connsiteX14956" fmla="*/ 239934 w 3359086"/>
                <a:gd name="connsiteY14956" fmla="*/ 1546003 h 3355086"/>
                <a:gd name="connsiteX14957" fmla="*/ 3076289 w 3359086"/>
                <a:gd name="connsiteY14957" fmla="*/ 1543812 h 3355086"/>
                <a:gd name="connsiteX14958" fmla="*/ 3082480 w 3359086"/>
                <a:gd name="connsiteY14958" fmla="*/ 1550003 h 3355086"/>
                <a:gd name="connsiteX14959" fmla="*/ 3076289 w 3359086"/>
                <a:gd name="connsiteY14959" fmla="*/ 1556194 h 3355086"/>
                <a:gd name="connsiteX14960" fmla="*/ 3070098 w 3359086"/>
                <a:gd name="connsiteY14960" fmla="*/ 1550003 h 3355086"/>
                <a:gd name="connsiteX14961" fmla="*/ 3076289 w 3359086"/>
                <a:gd name="connsiteY14961" fmla="*/ 1543812 h 3355086"/>
                <a:gd name="connsiteX14962" fmla="*/ 275272 w 3359086"/>
                <a:gd name="connsiteY14962" fmla="*/ 1541431 h 3355086"/>
                <a:gd name="connsiteX14963" fmla="*/ 281463 w 3359086"/>
                <a:gd name="connsiteY14963" fmla="*/ 1547622 h 3355086"/>
                <a:gd name="connsiteX14964" fmla="*/ 275272 w 3359086"/>
                <a:gd name="connsiteY14964" fmla="*/ 1553813 h 3355086"/>
                <a:gd name="connsiteX14965" fmla="*/ 269081 w 3359086"/>
                <a:gd name="connsiteY14965" fmla="*/ 1547622 h 3355086"/>
                <a:gd name="connsiteX14966" fmla="*/ 275272 w 3359086"/>
                <a:gd name="connsiteY14966" fmla="*/ 1541431 h 3355086"/>
                <a:gd name="connsiteX14967" fmla="*/ 3038950 w 3359086"/>
                <a:gd name="connsiteY14967" fmla="*/ 1539240 h 3355086"/>
                <a:gd name="connsiteX14968" fmla="*/ 3045142 w 3359086"/>
                <a:gd name="connsiteY14968" fmla="*/ 1545431 h 3355086"/>
                <a:gd name="connsiteX14969" fmla="*/ 3038950 w 3359086"/>
                <a:gd name="connsiteY14969" fmla="*/ 1551623 h 3355086"/>
                <a:gd name="connsiteX14970" fmla="*/ 3032759 w 3359086"/>
                <a:gd name="connsiteY14970" fmla="*/ 1545431 h 3355086"/>
                <a:gd name="connsiteX14971" fmla="*/ 3038950 w 3359086"/>
                <a:gd name="connsiteY14971" fmla="*/ 1539240 h 3355086"/>
                <a:gd name="connsiteX14972" fmla="*/ 315086 w 3359086"/>
                <a:gd name="connsiteY14972" fmla="*/ 1536669 h 3355086"/>
                <a:gd name="connsiteX14973" fmla="*/ 321277 w 3359086"/>
                <a:gd name="connsiteY14973" fmla="*/ 1542860 h 3355086"/>
                <a:gd name="connsiteX14974" fmla="*/ 315086 w 3359086"/>
                <a:gd name="connsiteY14974" fmla="*/ 1549051 h 3355086"/>
                <a:gd name="connsiteX14975" fmla="*/ 308895 w 3359086"/>
                <a:gd name="connsiteY14975" fmla="*/ 1542860 h 3355086"/>
                <a:gd name="connsiteX14976" fmla="*/ 315086 w 3359086"/>
                <a:gd name="connsiteY14976" fmla="*/ 1536669 h 3355086"/>
                <a:gd name="connsiteX14977" fmla="*/ 2997041 w 3359086"/>
                <a:gd name="connsiteY14977" fmla="*/ 1534478 h 3355086"/>
                <a:gd name="connsiteX14978" fmla="*/ 3003232 w 3359086"/>
                <a:gd name="connsiteY14978" fmla="*/ 1540669 h 3355086"/>
                <a:gd name="connsiteX14979" fmla="*/ 2997041 w 3359086"/>
                <a:gd name="connsiteY14979" fmla="*/ 1546861 h 3355086"/>
                <a:gd name="connsiteX14980" fmla="*/ 2990850 w 3359086"/>
                <a:gd name="connsiteY14980" fmla="*/ 1540669 h 3355086"/>
                <a:gd name="connsiteX14981" fmla="*/ 2997041 w 3359086"/>
                <a:gd name="connsiteY14981" fmla="*/ 1534478 h 3355086"/>
                <a:gd name="connsiteX14982" fmla="*/ 359568 w 3359086"/>
                <a:gd name="connsiteY14982" fmla="*/ 1531811 h 3355086"/>
                <a:gd name="connsiteX14983" fmla="*/ 365760 w 3359086"/>
                <a:gd name="connsiteY14983" fmla="*/ 1538002 h 3355086"/>
                <a:gd name="connsiteX14984" fmla="*/ 359568 w 3359086"/>
                <a:gd name="connsiteY14984" fmla="*/ 1544194 h 3355086"/>
                <a:gd name="connsiteX14985" fmla="*/ 353377 w 3359086"/>
                <a:gd name="connsiteY14985" fmla="*/ 1538002 h 3355086"/>
                <a:gd name="connsiteX14986" fmla="*/ 359568 w 3359086"/>
                <a:gd name="connsiteY14986" fmla="*/ 1531811 h 3355086"/>
                <a:gd name="connsiteX14987" fmla="*/ 2950273 w 3359086"/>
                <a:gd name="connsiteY14987" fmla="*/ 1529429 h 3355086"/>
                <a:gd name="connsiteX14988" fmla="*/ 2956465 w 3359086"/>
                <a:gd name="connsiteY14988" fmla="*/ 1535620 h 3355086"/>
                <a:gd name="connsiteX14989" fmla="*/ 2950273 w 3359086"/>
                <a:gd name="connsiteY14989" fmla="*/ 1541812 h 3355086"/>
                <a:gd name="connsiteX14990" fmla="*/ 2944082 w 3359086"/>
                <a:gd name="connsiteY14990" fmla="*/ 1535620 h 3355086"/>
                <a:gd name="connsiteX14991" fmla="*/ 2950273 w 3359086"/>
                <a:gd name="connsiteY14991" fmla="*/ 1529429 h 3355086"/>
                <a:gd name="connsiteX14992" fmla="*/ 409098 w 3359086"/>
                <a:gd name="connsiteY14992" fmla="*/ 1526667 h 3355086"/>
                <a:gd name="connsiteX14993" fmla="*/ 415289 w 3359086"/>
                <a:gd name="connsiteY14993" fmla="*/ 1532858 h 3355086"/>
                <a:gd name="connsiteX14994" fmla="*/ 409098 w 3359086"/>
                <a:gd name="connsiteY14994" fmla="*/ 1539050 h 3355086"/>
                <a:gd name="connsiteX14995" fmla="*/ 402907 w 3359086"/>
                <a:gd name="connsiteY14995" fmla="*/ 1532858 h 3355086"/>
                <a:gd name="connsiteX14996" fmla="*/ 409098 w 3359086"/>
                <a:gd name="connsiteY14996" fmla="*/ 1526667 h 3355086"/>
                <a:gd name="connsiteX14997" fmla="*/ 58007 w 3359086"/>
                <a:gd name="connsiteY14997" fmla="*/ 1524476 h 3355086"/>
                <a:gd name="connsiteX14998" fmla="*/ 64198 w 3359086"/>
                <a:gd name="connsiteY14998" fmla="*/ 1530667 h 3355086"/>
                <a:gd name="connsiteX14999" fmla="*/ 58007 w 3359086"/>
                <a:gd name="connsiteY14999" fmla="*/ 1536859 h 3355086"/>
                <a:gd name="connsiteX15000" fmla="*/ 56959 w 3359086"/>
                <a:gd name="connsiteY15000" fmla="*/ 1535811 h 3355086"/>
                <a:gd name="connsiteX15001" fmla="*/ 51434 w 3359086"/>
                <a:gd name="connsiteY15001" fmla="*/ 1541336 h 3355086"/>
                <a:gd name="connsiteX15002" fmla="*/ 50910 w 3359086"/>
                <a:gd name="connsiteY15002" fmla="*/ 1540813 h 3355086"/>
                <a:gd name="connsiteX15003" fmla="*/ 46005 w 3359086"/>
                <a:gd name="connsiteY15003" fmla="*/ 1545718 h 3355086"/>
                <a:gd name="connsiteX15004" fmla="*/ 45671 w 3359086"/>
                <a:gd name="connsiteY15004" fmla="*/ 1545384 h 3355086"/>
                <a:gd name="connsiteX15005" fmla="*/ 43624 w 3359086"/>
                <a:gd name="connsiteY15005" fmla="*/ 1547432 h 3355086"/>
                <a:gd name="connsiteX15006" fmla="*/ 40100 w 3359086"/>
                <a:gd name="connsiteY15006" fmla="*/ 1550956 h 3355086"/>
                <a:gd name="connsiteX15007" fmla="*/ 40291 w 3359086"/>
                <a:gd name="connsiteY15007" fmla="*/ 1551146 h 3355086"/>
                <a:gd name="connsiteX15008" fmla="*/ 37052 w 3359086"/>
                <a:gd name="connsiteY15008" fmla="*/ 1554385 h 3355086"/>
                <a:gd name="connsiteX15009" fmla="*/ 37243 w 3359086"/>
                <a:gd name="connsiteY15009" fmla="*/ 1554575 h 3355086"/>
                <a:gd name="connsiteX15010" fmla="*/ 34194 w 3359086"/>
                <a:gd name="connsiteY15010" fmla="*/ 1557624 h 3355086"/>
                <a:gd name="connsiteX15011" fmla="*/ 34480 w 3359086"/>
                <a:gd name="connsiteY15011" fmla="*/ 1557909 h 3355086"/>
                <a:gd name="connsiteX15012" fmla="*/ 31527 w 3359086"/>
                <a:gd name="connsiteY15012" fmla="*/ 1560862 h 3355086"/>
                <a:gd name="connsiteX15013" fmla="*/ 31718 w 3359086"/>
                <a:gd name="connsiteY15013" fmla="*/ 1561052 h 3355086"/>
                <a:gd name="connsiteX15014" fmla="*/ 28908 w 3359086"/>
                <a:gd name="connsiteY15014" fmla="*/ 1563862 h 3355086"/>
                <a:gd name="connsiteX15015" fmla="*/ 29051 w 3359086"/>
                <a:gd name="connsiteY15015" fmla="*/ 1564005 h 3355086"/>
                <a:gd name="connsiteX15016" fmla="*/ 22859 w 3359086"/>
                <a:gd name="connsiteY15016" fmla="*/ 1570197 h 3355086"/>
                <a:gd name="connsiteX15017" fmla="*/ 22764 w 3359086"/>
                <a:gd name="connsiteY15017" fmla="*/ 1570102 h 3355086"/>
                <a:gd name="connsiteX15018" fmla="*/ 19907 w 3359086"/>
                <a:gd name="connsiteY15018" fmla="*/ 1572959 h 3355086"/>
                <a:gd name="connsiteX15019" fmla="*/ 19669 w 3359086"/>
                <a:gd name="connsiteY15019" fmla="*/ 1572721 h 3355086"/>
                <a:gd name="connsiteX15020" fmla="*/ 16859 w 3359086"/>
                <a:gd name="connsiteY15020" fmla="*/ 1575530 h 3355086"/>
                <a:gd name="connsiteX15021" fmla="*/ 16335 w 3359086"/>
                <a:gd name="connsiteY15021" fmla="*/ 1575007 h 3355086"/>
                <a:gd name="connsiteX15022" fmla="*/ 13334 w 3359086"/>
                <a:gd name="connsiteY15022" fmla="*/ 1578008 h 3355086"/>
                <a:gd name="connsiteX15023" fmla="*/ 12524 w 3359086"/>
                <a:gd name="connsiteY15023" fmla="*/ 1577198 h 3355086"/>
                <a:gd name="connsiteX15024" fmla="*/ 9429 w 3359086"/>
                <a:gd name="connsiteY15024" fmla="*/ 1580293 h 3355086"/>
                <a:gd name="connsiteX15025" fmla="*/ 5904 w 3359086"/>
                <a:gd name="connsiteY15025" fmla="*/ 1576769 h 3355086"/>
                <a:gd name="connsiteX15026" fmla="*/ 5047 w 3359086"/>
                <a:gd name="connsiteY15026" fmla="*/ 1577626 h 3355086"/>
                <a:gd name="connsiteX15027" fmla="*/ 3714 w 3359086"/>
                <a:gd name="connsiteY15027" fmla="*/ 1576292 h 3355086"/>
                <a:gd name="connsiteX15028" fmla="*/ 4571 w 3359086"/>
                <a:gd name="connsiteY15028" fmla="*/ 1575435 h 3355086"/>
                <a:gd name="connsiteX15029" fmla="*/ 3238 w 3359086"/>
                <a:gd name="connsiteY15029" fmla="*/ 1574102 h 3355086"/>
                <a:gd name="connsiteX15030" fmla="*/ 9429 w 3359086"/>
                <a:gd name="connsiteY15030" fmla="*/ 1567911 h 3355086"/>
                <a:gd name="connsiteX15031" fmla="*/ 10238 w 3359086"/>
                <a:gd name="connsiteY15031" fmla="*/ 1568721 h 3355086"/>
                <a:gd name="connsiteX15032" fmla="*/ 13334 w 3359086"/>
                <a:gd name="connsiteY15032" fmla="*/ 1565625 h 3355086"/>
                <a:gd name="connsiteX15033" fmla="*/ 13858 w 3359086"/>
                <a:gd name="connsiteY15033" fmla="*/ 1566149 h 3355086"/>
                <a:gd name="connsiteX15034" fmla="*/ 16859 w 3359086"/>
                <a:gd name="connsiteY15034" fmla="*/ 1563148 h 3355086"/>
                <a:gd name="connsiteX15035" fmla="*/ 17097 w 3359086"/>
                <a:gd name="connsiteY15035" fmla="*/ 1563386 h 3355086"/>
                <a:gd name="connsiteX15036" fmla="*/ 19383 w 3359086"/>
                <a:gd name="connsiteY15036" fmla="*/ 1561100 h 3355086"/>
                <a:gd name="connsiteX15037" fmla="*/ 19335 w 3359086"/>
                <a:gd name="connsiteY15037" fmla="*/ 1561052 h 3355086"/>
                <a:gd name="connsiteX15038" fmla="*/ 22287 w 3359086"/>
                <a:gd name="connsiteY15038" fmla="*/ 1558100 h 3355086"/>
                <a:gd name="connsiteX15039" fmla="*/ 22097 w 3359086"/>
                <a:gd name="connsiteY15039" fmla="*/ 1557909 h 3355086"/>
                <a:gd name="connsiteX15040" fmla="*/ 25145 w 3359086"/>
                <a:gd name="connsiteY15040" fmla="*/ 1554861 h 3355086"/>
                <a:gd name="connsiteX15041" fmla="*/ 24860 w 3359086"/>
                <a:gd name="connsiteY15041" fmla="*/ 1554575 h 3355086"/>
                <a:gd name="connsiteX15042" fmla="*/ 28098 w 3359086"/>
                <a:gd name="connsiteY15042" fmla="*/ 1551337 h 3355086"/>
                <a:gd name="connsiteX15043" fmla="*/ 27908 w 3359086"/>
                <a:gd name="connsiteY15043" fmla="*/ 1551146 h 3355086"/>
                <a:gd name="connsiteX15044" fmla="*/ 31431 w 3359086"/>
                <a:gd name="connsiteY15044" fmla="*/ 1547623 h 3355086"/>
                <a:gd name="connsiteX15045" fmla="*/ 31241 w 3359086"/>
                <a:gd name="connsiteY15045" fmla="*/ 1547432 h 3355086"/>
                <a:gd name="connsiteX15046" fmla="*/ 35147 w 3359086"/>
                <a:gd name="connsiteY15046" fmla="*/ 1543526 h 3355086"/>
                <a:gd name="connsiteX15047" fmla="*/ 41338 w 3359086"/>
                <a:gd name="connsiteY15047" fmla="*/ 1537335 h 3355086"/>
                <a:gd name="connsiteX15048" fmla="*/ 41671 w 3359086"/>
                <a:gd name="connsiteY15048" fmla="*/ 1537669 h 3355086"/>
                <a:gd name="connsiteX15049" fmla="*/ 46005 w 3359086"/>
                <a:gd name="connsiteY15049" fmla="*/ 1533335 h 3355086"/>
                <a:gd name="connsiteX15050" fmla="*/ 46528 w 3359086"/>
                <a:gd name="connsiteY15050" fmla="*/ 1533859 h 3355086"/>
                <a:gd name="connsiteX15051" fmla="*/ 51434 w 3359086"/>
                <a:gd name="connsiteY15051" fmla="*/ 1528953 h 3355086"/>
                <a:gd name="connsiteX15052" fmla="*/ 52482 w 3359086"/>
                <a:gd name="connsiteY15052" fmla="*/ 1530001 h 3355086"/>
                <a:gd name="connsiteX15053" fmla="*/ 2898171 w 3359086"/>
                <a:gd name="connsiteY15053" fmla="*/ 1524191 h 3355086"/>
                <a:gd name="connsiteX15054" fmla="*/ 2904363 w 3359086"/>
                <a:gd name="connsiteY15054" fmla="*/ 1530382 h 3355086"/>
                <a:gd name="connsiteX15055" fmla="*/ 2898171 w 3359086"/>
                <a:gd name="connsiteY15055" fmla="*/ 1536574 h 3355086"/>
                <a:gd name="connsiteX15056" fmla="*/ 2891980 w 3359086"/>
                <a:gd name="connsiteY15056" fmla="*/ 1530382 h 3355086"/>
                <a:gd name="connsiteX15057" fmla="*/ 2898171 w 3359086"/>
                <a:gd name="connsiteY15057" fmla="*/ 1524191 h 3355086"/>
                <a:gd name="connsiteX15058" fmla="*/ 3270789 w 3359086"/>
                <a:gd name="connsiteY15058" fmla="*/ 1522286 h 3355086"/>
                <a:gd name="connsiteX15059" fmla="*/ 3276647 w 3359086"/>
                <a:gd name="connsiteY15059" fmla="*/ 1528144 h 3355086"/>
                <a:gd name="connsiteX15060" fmla="*/ 3277838 w 3359086"/>
                <a:gd name="connsiteY15060" fmla="*/ 1526953 h 3355086"/>
                <a:gd name="connsiteX15061" fmla="*/ 3282981 w 3359086"/>
                <a:gd name="connsiteY15061" fmla="*/ 1532096 h 3355086"/>
                <a:gd name="connsiteX15062" fmla="*/ 3283743 w 3359086"/>
                <a:gd name="connsiteY15062" fmla="*/ 1531334 h 3355086"/>
                <a:gd name="connsiteX15063" fmla="*/ 3288362 w 3359086"/>
                <a:gd name="connsiteY15063" fmla="*/ 1535954 h 3355086"/>
                <a:gd name="connsiteX15064" fmla="*/ 3288791 w 3359086"/>
                <a:gd name="connsiteY15064" fmla="*/ 1535525 h 3355086"/>
                <a:gd name="connsiteX15065" fmla="*/ 3292887 w 3359086"/>
                <a:gd name="connsiteY15065" fmla="*/ 1539621 h 3355086"/>
                <a:gd name="connsiteX15066" fmla="*/ 3292982 w 3359086"/>
                <a:gd name="connsiteY15066" fmla="*/ 1539526 h 3355086"/>
                <a:gd name="connsiteX15067" fmla="*/ 3299173 w 3359086"/>
                <a:gd name="connsiteY15067" fmla="*/ 1545717 h 3355086"/>
                <a:gd name="connsiteX15068" fmla="*/ 3299125 w 3359086"/>
                <a:gd name="connsiteY15068" fmla="*/ 1545765 h 3355086"/>
                <a:gd name="connsiteX15069" fmla="*/ 3302793 w 3359086"/>
                <a:gd name="connsiteY15069" fmla="*/ 1549432 h 3355086"/>
                <a:gd name="connsiteX15070" fmla="*/ 3302555 w 3359086"/>
                <a:gd name="connsiteY15070" fmla="*/ 1549670 h 3355086"/>
                <a:gd name="connsiteX15071" fmla="*/ 3305936 w 3359086"/>
                <a:gd name="connsiteY15071" fmla="*/ 1553051 h 3355086"/>
                <a:gd name="connsiteX15072" fmla="*/ 3305698 w 3359086"/>
                <a:gd name="connsiteY15072" fmla="*/ 1553290 h 3355086"/>
                <a:gd name="connsiteX15073" fmla="*/ 3308794 w 3359086"/>
                <a:gd name="connsiteY15073" fmla="*/ 1556385 h 3355086"/>
                <a:gd name="connsiteX15074" fmla="*/ 3308556 w 3359086"/>
                <a:gd name="connsiteY15074" fmla="*/ 1556623 h 3355086"/>
                <a:gd name="connsiteX15075" fmla="*/ 3311557 w 3359086"/>
                <a:gd name="connsiteY15075" fmla="*/ 1559624 h 3355086"/>
                <a:gd name="connsiteX15076" fmla="*/ 3311367 w 3359086"/>
                <a:gd name="connsiteY15076" fmla="*/ 1559814 h 3355086"/>
                <a:gd name="connsiteX15077" fmla="*/ 3313700 w 3359086"/>
                <a:gd name="connsiteY15077" fmla="*/ 1562147 h 3355086"/>
                <a:gd name="connsiteX15078" fmla="*/ 3313842 w 3359086"/>
                <a:gd name="connsiteY15078" fmla="*/ 1562005 h 3355086"/>
                <a:gd name="connsiteX15079" fmla="*/ 3316747 w 3359086"/>
                <a:gd name="connsiteY15079" fmla="*/ 1564911 h 3355086"/>
                <a:gd name="connsiteX15080" fmla="*/ 3317176 w 3359086"/>
                <a:gd name="connsiteY15080" fmla="*/ 1564482 h 3355086"/>
                <a:gd name="connsiteX15081" fmla="*/ 3320176 w 3359086"/>
                <a:gd name="connsiteY15081" fmla="*/ 1567482 h 3355086"/>
                <a:gd name="connsiteX15082" fmla="*/ 3320795 w 3359086"/>
                <a:gd name="connsiteY15082" fmla="*/ 1566863 h 3355086"/>
                <a:gd name="connsiteX15083" fmla="*/ 3324034 w 3359086"/>
                <a:gd name="connsiteY15083" fmla="*/ 1570101 h 3355086"/>
                <a:gd name="connsiteX15084" fmla="*/ 3324986 w 3359086"/>
                <a:gd name="connsiteY15084" fmla="*/ 1569149 h 3355086"/>
                <a:gd name="connsiteX15085" fmla="*/ 3328415 w 3359086"/>
                <a:gd name="connsiteY15085" fmla="*/ 1572578 h 3355086"/>
                <a:gd name="connsiteX15086" fmla="*/ 3329749 w 3359086"/>
                <a:gd name="connsiteY15086" fmla="*/ 1571244 h 3355086"/>
                <a:gd name="connsiteX15087" fmla="*/ 3333369 w 3359086"/>
                <a:gd name="connsiteY15087" fmla="*/ 1574863 h 3355086"/>
                <a:gd name="connsiteX15088" fmla="*/ 3335083 w 3359086"/>
                <a:gd name="connsiteY15088" fmla="*/ 1573149 h 3355086"/>
                <a:gd name="connsiteX15089" fmla="*/ 3339036 w 3359086"/>
                <a:gd name="connsiteY15089" fmla="*/ 1577101 h 3355086"/>
                <a:gd name="connsiteX15090" fmla="*/ 3341083 w 3359086"/>
                <a:gd name="connsiteY15090" fmla="*/ 1575054 h 3355086"/>
                <a:gd name="connsiteX15091" fmla="*/ 3345322 w 3359086"/>
                <a:gd name="connsiteY15091" fmla="*/ 1579293 h 3355086"/>
                <a:gd name="connsiteX15092" fmla="*/ 3347846 w 3359086"/>
                <a:gd name="connsiteY15092" fmla="*/ 1576769 h 3355086"/>
                <a:gd name="connsiteX15093" fmla="*/ 3354038 w 3359086"/>
                <a:gd name="connsiteY15093" fmla="*/ 1582960 h 3355086"/>
                <a:gd name="connsiteX15094" fmla="*/ 3347846 w 3359086"/>
                <a:gd name="connsiteY15094" fmla="*/ 1589152 h 3355086"/>
                <a:gd name="connsiteX15095" fmla="*/ 3343607 w 3359086"/>
                <a:gd name="connsiteY15095" fmla="*/ 1584913 h 3355086"/>
                <a:gd name="connsiteX15096" fmla="*/ 3341083 w 3359086"/>
                <a:gd name="connsiteY15096" fmla="*/ 1587436 h 3355086"/>
                <a:gd name="connsiteX15097" fmla="*/ 3337131 w 3359086"/>
                <a:gd name="connsiteY15097" fmla="*/ 1583484 h 3355086"/>
                <a:gd name="connsiteX15098" fmla="*/ 3335083 w 3359086"/>
                <a:gd name="connsiteY15098" fmla="*/ 1585532 h 3355086"/>
                <a:gd name="connsiteX15099" fmla="*/ 3331464 w 3359086"/>
                <a:gd name="connsiteY15099" fmla="*/ 1581912 h 3355086"/>
                <a:gd name="connsiteX15100" fmla="*/ 3329749 w 3359086"/>
                <a:gd name="connsiteY15100" fmla="*/ 1583627 h 3355086"/>
                <a:gd name="connsiteX15101" fmla="*/ 3326320 w 3359086"/>
                <a:gd name="connsiteY15101" fmla="*/ 1580198 h 3355086"/>
                <a:gd name="connsiteX15102" fmla="*/ 3324986 w 3359086"/>
                <a:gd name="connsiteY15102" fmla="*/ 1581532 h 3355086"/>
                <a:gd name="connsiteX15103" fmla="*/ 3321747 w 3359086"/>
                <a:gd name="connsiteY15103" fmla="*/ 1578293 h 3355086"/>
                <a:gd name="connsiteX15104" fmla="*/ 3320795 w 3359086"/>
                <a:gd name="connsiteY15104" fmla="*/ 1579245 h 3355086"/>
                <a:gd name="connsiteX15105" fmla="*/ 3317795 w 3359086"/>
                <a:gd name="connsiteY15105" fmla="*/ 1576245 h 3355086"/>
                <a:gd name="connsiteX15106" fmla="*/ 3317176 w 3359086"/>
                <a:gd name="connsiteY15106" fmla="*/ 1576864 h 3355086"/>
                <a:gd name="connsiteX15107" fmla="*/ 3314271 w 3359086"/>
                <a:gd name="connsiteY15107" fmla="*/ 1573959 h 3355086"/>
                <a:gd name="connsiteX15108" fmla="*/ 3313842 w 3359086"/>
                <a:gd name="connsiteY15108" fmla="*/ 1574388 h 3355086"/>
                <a:gd name="connsiteX15109" fmla="*/ 3311032 w 3359086"/>
                <a:gd name="connsiteY15109" fmla="*/ 1571578 h 3355086"/>
                <a:gd name="connsiteX15110" fmla="*/ 3310889 w 3359086"/>
                <a:gd name="connsiteY15110" fmla="*/ 1571721 h 3355086"/>
                <a:gd name="connsiteX15111" fmla="*/ 3304698 w 3359086"/>
                <a:gd name="connsiteY15111" fmla="*/ 1565529 h 3355086"/>
                <a:gd name="connsiteX15112" fmla="*/ 3304698 w 3359086"/>
                <a:gd name="connsiteY15112" fmla="*/ 1565529 h 3355086"/>
                <a:gd name="connsiteX15113" fmla="*/ 3301841 w 3359086"/>
                <a:gd name="connsiteY15113" fmla="*/ 1562671 h 3355086"/>
                <a:gd name="connsiteX15114" fmla="*/ 3302031 w 3359086"/>
                <a:gd name="connsiteY15114" fmla="*/ 1562481 h 3355086"/>
                <a:gd name="connsiteX15115" fmla="*/ 3299174 w 3359086"/>
                <a:gd name="connsiteY15115" fmla="*/ 1559624 h 3355086"/>
                <a:gd name="connsiteX15116" fmla="*/ 3299412 w 3359086"/>
                <a:gd name="connsiteY15116" fmla="*/ 1559386 h 3355086"/>
                <a:gd name="connsiteX15117" fmla="*/ 3296411 w 3359086"/>
                <a:gd name="connsiteY15117" fmla="*/ 1556385 h 3355086"/>
                <a:gd name="connsiteX15118" fmla="*/ 3296649 w 3359086"/>
                <a:gd name="connsiteY15118" fmla="*/ 1556147 h 3355086"/>
                <a:gd name="connsiteX15119" fmla="*/ 3293554 w 3359086"/>
                <a:gd name="connsiteY15119" fmla="*/ 1553051 h 3355086"/>
                <a:gd name="connsiteX15120" fmla="*/ 3293792 w 3359086"/>
                <a:gd name="connsiteY15120" fmla="*/ 1552814 h 3355086"/>
                <a:gd name="connsiteX15121" fmla="*/ 3290411 w 3359086"/>
                <a:gd name="connsiteY15121" fmla="*/ 1549432 h 3355086"/>
                <a:gd name="connsiteX15122" fmla="*/ 3290458 w 3359086"/>
                <a:gd name="connsiteY15122" fmla="*/ 1549385 h 3355086"/>
                <a:gd name="connsiteX15123" fmla="*/ 3288886 w 3359086"/>
                <a:gd name="connsiteY15123" fmla="*/ 1547813 h 3355086"/>
                <a:gd name="connsiteX15124" fmla="*/ 3288791 w 3359086"/>
                <a:gd name="connsiteY15124" fmla="*/ 1547908 h 3355086"/>
                <a:gd name="connsiteX15125" fmla="*/ 3284172 w 3359086"/>
                <a:gd name="connsiteY15125" fmla="*/ 1543288 h 3355086"/>
                <a:gd name="connsiteX15126" fmla="*/ 3283743 w 3359086"/>
                <a:gd name="connsiteY15126" fmla="*/ 1543717 h 3355086"/>
                <a:gd name="connsiteX15127" fmla="*/ 3278600 w 3359086"/>
                <a:gd name="connsiteY15127" fmla="*/ 1538574 h 3355086"/>
                <a:gd name="connsiteX15128" fmla="*/ 3277838 w 3359086"/>
                <a:gd name="connsiteY15128" fmla="*/ 1539336 h 3355086"/>
                <a:gd name="connsiteX15129" fmla="*/ 3271980 w 3359086"/>
                <a:gd name="connsiteY15129" fmla="*/ 1533478 h 3355086"/>
                <a:gd name="connsiteX15130" fmla="*/ 3270789 w 3359086"/>
                <a:gd name="connsiteY15130" fmla="*/ 1534669 h 3355086"/>
                <a:gd name="connsiteX15131" fmla="*/ 3264598 w 3359086"/>
                <a:gd name="connsiteY15131" fmla="*/ 1528477 h 3355086"/>
                <a:gd name="connsiteX15132" fmla="*/ 3270789 w 3359086"/>
                <a:gd name="connsiteY15132" fmla="*/ 1522286 h 3355086"/>
                <a:gd name="connsiteX15133" fmla="*/ 464248 w 3359086"/>
                <a:gd name="connsiteY15133" fmla="*/ 1521333 h 3355086"/>
                <a:gd name="connsiteX15134" fmla="*/ 470439 w 3359086"/>
                <a:gd name="connsiteY15134" fmla="*/ 1527524 h 3355086"/>
                <a:gd name="connsiteX15135" fmla="*/ 464248 w 3359086"/>
                <a:gd name="connsiteY15135" fmla="*/ 1533715 h 3355086"/>
                <a:gd name="connsiteX15136" fmla="*/ 458057 w 3359086"/>
                <a:gd name="connsiteY15136" fmla="*/ 1527524 h 3355086"/>
                <a:gd name="connsiteX15137" fmla="*/ 464248 w 3359086"/>
                <a:gd name="connsiteY15137" fmla="*/ 1521333 h 3355086"/>
                <a:gd name="connsiteX15138" fmla="*/ 65722 w 3359086"/>
                <a:gd name="connsiteY15138" fmla="*/ 1519714 h 3355086"/>
                <a:gd name="connsiteX15139" fmla="*/ 71914 w 3359086"/>
                <a:gd name="connsiteY15139" fmla="*/ 1525905 h 3355086"/>
                <a:gd name="connsiteX15140" fmla="*/ 65722 w 3359086"/>
                <a:gd name="connsiteY15140" fmla="*/ 1532097 h 3355086"/>
                <a:gd name="connsiteX15141" fmla="*/ 59531 w 3359086"/>
                <a:gd name="connsiteY15141" fmla="*/ 1525905 h 3355086"/>
                <a:gd name="connsiteX15142" fmla="*/ 65722 w 3359086"/>
                <a:gd name="connsiteY15142" fmla="*/ 1519714 h 3355086"/>
                <a:gd name="connsiteX15143" fmla="*/ 2840354 w 3359086"/>
                <a:gd name="connsiteY15143" fmla="*/ 1518762 h 3355086"/>
                <a:gd name="connsiteX15144" fmla="*/ 2846546 w 3359086"/>
                <a:gd name="connsiteY15144" fmla="*/ 1524953 h 3355086"/>
                <a:gd name="connsiteX15145" fmla="*/ 2840354 w 3359086"/>
                <a:gd name="connsiteY15145" fmla="*/ 1531145 h 3355086"/>
                <a:gd name="connsiteX15146" fmla="*/ 2834163 w 3359086"/>
                <a:gd name="connsiteY15146" fmla="*/ 1524953 h 3355086"/>
                <a:gd name="connsiteX15147" fmla="*/ 2840354 w 3359086"/>
                <a:gd name="connsiteY15147" fmla="*/ 1518762 h 3355086"/>
                <a:gd name="connsiteX15148" fmla="*/ 3262312 w 3359086"/>
                <a:gd name="connsiteY15148" fmla="*/ 1517428 h 3355086"/>
                <a:gd name="connsiteX15149" fmla="*/ 3268503 w 3359086"/>
                <a:gd name="connsiteY15149" fmla="*/ 1523619 h 3355086"/>
                <a:gd name="connsiteX15150" fmla="*/ 3262312 w 3359086"/>
                <a:gd name="connsiteY15150" fmla="*/ 1529811 h 3355086"/>
                <a:gd name="connsiteX15151" fmla="*/ 3256121 w 3359086"/>
                <a:gd name="connsiteY15151" fmla="*/ 1523619 h 3355086"/>
                <a:gd name="connsiteX15152" fmla="*/ 3262312 w 3359086"/>
                <a:gd name="connsiteY15152" fmla="*/ 1517428 h 3355086"/>
                <a:gd name="connsiteX15153" fmla="*/ 525208 w 3359086"/>
                <a:gd name="connsiteY15153" fmla="*/ 1515809 h 3355086"/>
                <a:gd name="connsiteX15154" fmla="*/ 531399 w 3359086"/>
                <a:gd name="connsiteY15154" fmla="*/ 1522000 h 3355086"/>
                <a:gd name="connsiteX15155" fmla="*/ 525208 w 3359086"/>
                <a:gd name="connsiteY15155" fmla="*/ 1528191 h 3355086"/>
                <a:gd name="connsiteX15156" fmla="*/ 519017 w 3359086"/>
                <a:gd name="connsiteY15156" fmla="*/ 1522000 h 3355086"/>
                <a:gd name="connsiteX15157" fmla="*/ 525208 w 3359086"/>
                <a:gd name="connsiteY15157" fmla="*/ 1515809 h 3355086"/>
                <a:gd name="connsiteX15158" fmla="*/ 74961 w 3359086"/>
                <a:gd name="connsiteY15158" fmla="*/ 1514666 h 3355086"/>
                <a:gd name="connsiteX15159" fmla="*/ 81153 w 3359086"/>
                <a:gd name="connsiteY15159" fmla="*/ 1520857 h 3355086"/>
                <a:gd name="connsiteX15160" fmla="*/ 74961 w 3359086"/>
                <a:gd name="connsiteY15160" fmla="*/ 1527048 h 3355086"/>
                <a:gd name="connsiteX15161" fmla="*/ 68770 w 3359086"/>
                <a:gd name="connsiteY15161" fmla="*/ 1520857 h 3355086"/>
                <a:gd name="connsiteX15162" fmla="*/ 74961 w 3359086"/>
                <a:gd name="connsiteY15162" fmla="*/ 1514666 h 3355086"/>
                <a:gd name="connsiteX15163" fmla="*/ 2776537 w 3359086"/>
                <a:gd name="connsiteY15163" fmla="*/ 1513142 h 3355086"/>
                <a:gd name="connsiteX15164" fmla="*/ 2782728 w 3359086"/>
                <a:gd name="connsiteY15164" fmla="*/ 1519333 h 3355086"/>
                <a:gd name="connsiteX15165" fmla="*/ 2776537 w 3359086"/>
                <a:gd name="connsiteY15165" fmla="*/ 1525524 h 3355086"/>
                <a:gd name="connsiteX15166" fmla="*/ 2770346 w 3359086"/>
                <a:gd name="connsiteY15166" fmla="*/ 1519333 h 3355086"/>
                <a:gd name="connsiteX15167" fmla="*/ 2776537 w 3359086"/>
                <a:gd name="connsiteY15167" fmla="*/ 1513142 h 3355086"/>
                <a:gd name="connsiteX15168" fmla="*/ 3252406 w 3359086"/>
                <a:gd name="connsiteY15168" fmla="*/ 1512284 h 3355086"/>
                <a:gd name="connsiteX15169" fmla="*/ 3258597 w 3359086"/>
                <a:gd name="connsiteY15169" fmla="*/ 1518475 h 3355086"/>
                <a:gd name="connsiteX15170" fmla="*/ 3252406 w 3359086"/>
                <a:gd name="connsiteY15170" fmla="*/ 1524667 h 3355086"/>
                <a:gd name="connsiteX15171" fmla="*/ 3246215 w 3359086"/>
                <a:gd name="connsiteY15171" fmla="*/ 1518475 h 3355086"/>
                <a:gd name="connsiteX15172" fmla="*/ 3252406 w 3359086"/>
                <a:gd name="connsiteY15172" fmla="*/ 1512284 h 3355086"/>
                <a:gd name="connsiteX15173" fmla="*/ 3351085 w 3359086"/>
                <a:gd name="connsiteY15173" fmla="*/ 1510856 h 3355086"/>
                <a:gd name="connsiteX15174" fmla="*/ 3351370 w 3359086"/>
                <a:gd name="connsiteY15174" fmla="*/ 1511142 h 3355086"/>
                <a:gd name="connsiteX15175" fmla="*/ 3351085 w 3359086"/>
                <a:gd name="connsiteY15175" fmla="*/ 1511427 h 3355086"/>
                <a:gd name="connsiteX15176" fmla="*/ 3350799 w 3359086"/>
                <a:gd name="connsiteY15176" fmla="*/ 1511142 h 3355086"/>
                <a:gd name="connsiteX15177" fmla="*/ 3351085 w 3359086"/>
                <a:gd name="connsiteY15177" fmla="*/ 1510856 h 3355086"/>
                <a:gd name="connsiteX15178" fmla="*/ 592454 w 3359086"/>
                <a:gd name="connsiteY15178" fmla="*/ 1509999 h 3355086"/>
                <a:gd name="connsiteX15179" fmla="*/ 598645 w 3359086"/>
                <a:gd name="connsiteY15179" fmla="*/ 1516190 h 3355086"/>
                <a:gd name="connsiteX15180" fmla="*/ 592454 w 3359086"/>
                <a:gd name="connsiteY15180" fmla="*/ 1522382 h 3355086"/>
                <a:gd name="connsiteX15181" fmla="*/ 586263 w 3359086"/>
                <a:gd name="connsiteY15181" fmla="*/ 1516190 h 3355086"/>
                <a:gd name="connsiteX15182" fmla="*/ 592454 w 3359086"/>
                <a:gd name="connsiteY15182" fmla="*/ 1509999 h 3355086"/>
                <a:gd name="connsiteX15183" fmla="*/ 85819 w 3359086"/>
                <a:gd name="connsiteY15183" fmla="*/ 1509427 h 3355086"/>
                <a:gd name="connsiteX15184" fmla="*/ 92011 w 3359086"/>
                <a:gd name="connsiteY15184" fmla="*/ 1515618 h 3355086"/>
                <a:gd name="connsiteX15185" fmla="*/ 85819 w 3359086"/>
                <a:gd name="connsiteY15185" fmla="*/ 1521809 h 3355086"/>
                <a:gd name="connsiteX15186" fmla="*/ 79628 w 3359086"/>
                <a:gd name="connsiteY15186" fmla="*/ 1515618 h 3355086"/>
                <a:gd name="connsiteX15187" fmla="*/ 85819 w 3359086"/>
                <a:gd name="connsiteY15187" fmla="*/ 1509427 h 3355086"/>
                <a:gd name="connsiteX15188" fmla="*/ 2706242 w 3359086"/>
                <a:gd name="connsiteY15188" fmla="*/ 1507332 h 3355086"/>
                <a:gd name="connsiteX15189" fmla="*/ 2712433 w 3359086"/>
                <a:gd name="connsiteY15189" fmla="*/ 1513523 h 3355086"/>
                <a:gd name="connsiteX15190" fmla="*/ 2706242 w 3359086"/>
                <a:gd name="connsiteY15190" fmla="*/ 1519714 h 3355086"/>
                <a:gd name="connsiteX15191" fmla="*/ 2700051 w 3359086"/>
                <a:gd name="connsiteY15191" fmla="*/ 1513523 h 3355086"/>
                <a:gd name="connsiteX15192" fmla="*/ 2706242 w 3359086"/>
                <a:gd name="connsiteY15192" fmla="*/ 1507332 h 3355086"/>
                <a:gd name="connsiteX15193" fmla="*/ 3240690 w 3359086"/>
                <a:gd name="connsiteY15193" fmla="*/ 1506950 h 3355086"/>
                <a:gd name="connsiteX15194" fmla="*/ 3246882 w 3359086"/>
                <a:gd name="connsiteY15194" fmla="*/ 1513141 h 3355086"/>
                <a:gd name="connsiteX15195" fmla="*/ 3240690 w 3359086"/>
                <a:gd name="connsiteY15195" fmla="*/ 1519333 h 3355086"/>
                <a:gd name="connsiteX15196" fmla="*/ 3234499 w 3359086"/>
                <a:gd name="connsiteY15196" fmla="*/ 1513141 h 3355086"/>
                <a:gd name="connsiteX15197" fmla="*/ 3240690 w 3359086"/>
                <a:gd name="connsiteY15197" fmla="*/ 1506950 h 3355086"/>
                <a:gd name="connsiteX15198" fmla="*/ 666463 w 3359086"/>
                <a:gd name="connsiteY15198" fmla="*/ 1504093 h 3355086"/>
                <a:gd name="connsiteX15199" fmla="*/ 672655 w 3359086"/>
                <a:gd name="connsiteY15199" fmla="*/ 1510284 h 3355086"/>
                <a:gd name="connsiteX15200" fmla="*/ 666463 w 3359086"/>
                <a:gd name="connsiteY15200" fmla="*/ 1516476 h 3355086"/>
                <a:gd name="connsiteX15201" fmla="*/ 660272 w 3359086"/>
                <a:gd name="connsiteY15201" fmla="*/ 1510284 h 3355086"/>
                <a:gd name="connsiteX15202" fmla="*/ 666463 w 3359086"/>
                <a:gd name="connsiteY15202" fmla="*/ 1504093 h 3355086"/>
                <a:gd name="connsiteX15203" fmla="*/ 98583 w 3359086"/>
                <a:gd name="connsiteY15203" fmla="*/ 1503998 h 3355086"/>
                <a:gd name="connsiteX15204" fmla="*/ 104775 w 3359086"/>
                <a:gd name="connsiteY15204" fmla="*/ 1510189 h 3355086"/>
                <a:gd name="connsiteX15205" fmla="*/ 98583 w 3359086"/>
                <a:gd name="connsiteY15205" fmla="*/ 1516381 h 3355086"/>
                <a:gd name="connsiteX15206" fmla="*/ 92392 w 3359086"/>
                <a:gd name="connsiteY15206" fmla="*/ 1510189 h 3355086"/>
                <a:gd name="connsiteX15207" fmla="*/ 98583 w 3359086"/>
                <a:gd name="connsiteY15207" fmla="*/ 1503998 h 3355086"/>
                <a:gd name="connsiteX15208" fmla="*/ 3226974 w 3359086"/>
                <a:gd name="connsiteY15208" fmla="*/ 1501331 h 3355086"/>
                <a:gd name="connsiteX15209" fmla="*/ 3233165 w 3359086"/>
                <a:gd name="connsiteY15209" fmla="*/ 1507522 h 3355086"/>
                <a:gd name="connsiteX15210" fmla="*/ 3226974 w 3359086"/>
                <a:gd name="connsiteY15210" fmla="*/ 1513714 h 3355086"/>
                <a:gd name="connsiteX15211" fmla="*/ 3220783 w 3359086"/>
                <a:gd name="connsiteY15211" fmla="*/ 1507522 h 3355086"/>
                <a:gd name="connsiteX15212" fmla="*/ 3226974 w 3359086"/>
                <a:gd name="connsiteY15212" fmla="*/ 1501331 h 3355086"/>
                <a:gd name="connsiteX15213" fmla="*/ 2628899 w 3359086"/>
                <a:gd name="connsiteY15213" fmla="*/ 1501236 h 3355086"/>
                <a:gd name="connsiteX15214" fmla="*/ 2635090 w 3359086"/>
                <a:gd name="connsiteY15214" fmla="*/ 1507427 h 3355086"/>
                <a:gd name="connsiteX15215" fmla="*/ 2628899 w 3359086"/>
                <a:gd name="connsiteY15215" fmla="*/ 1513618 h 3355086"/>
                <a:gd name="connsiteX15216" fmla="*/ 2622708 w 3359086"/>
                <a:gd name="connsiteY15216" fmla="*/ 1507427 h 3355086"/>
                <a:gd name="connsiteX15217" fmla="*/ 2628899 w 3359086"/>
                <a:gd name="connsiteY15217" fmla="*/ 1501236 h 3355086"/>
                <a:gd name="connsiteX15218" fmla="*/ 113537 w 3359086"/>
                <a:gd name="connsiteY15218" fmla="*/ 1498187 h 3355086"/>
                <a:gd name="connsiteX15219" fmla="*/ 119728 w 3359086"/>
                <a:gd name="connsiteY15219" fmla="*/ 1504378 h 3355086"/>
                <a:gd name="connsiteX15220" fmla="*/ 113537 w 3359086"/>
                <a:gd name="connsiteY15220" fmla="*/ 1510570 h 3355086"/>
                <a:gd name="connsiteX15221" fmla="*/ 107346 w 3359086"/>
                <a:gd name="connsiteY15221" fmla="*/ 1504378 h 3355086"/>
                <a:gd name="connsiteX15222" fmla="*/ 113537 w 3359086"/>
                <a:gd name="connsiteY15222" fmla="*/ 1498187 h 3355086"/>
                <a:gd name="connsiteX15223" fmla="*/ 747616 w 3359086"/>
                <a:gd name="connsiteY15223" fmla="*/ 1497902 h 3355086"/>
                <a:gd name="connsiteX15224" fmla="*/ 753808 w 3359086"/>
                <a:gd name="connsiteY15224" fmla="*/ 1504093 h 3355086"/>
                <a:gd name="connsiteX15225" fmla="*/ 747616 w 3359086"/>
                <a:gd name="connsiteY15225" fmla="*/ 1510285 h 3355086"/>
                <a:gd name="connsiteX15226" fmla="*/ 741425 w 3359086"/>
                <a:gd name="connsiteY15226" fmla="*/ 1504093 h 3355086"/>
                <a:gd name="connsiteX15227" fmla="*/ 747616 w 3359086"/>
                <a:gd name="connsiteY15227" fmla="*/ 1497902 h 3355086"/>
                <a:gd name="connsiteX15228" fmla="*/ 10954 w 3359086"/>
                <a:gd name="connsiteY15228" fmla="*/ 1495997 h 3355086"/>
                <a:gd name="connsiteX15229" fmla="*/ 11239 w 3359086"/>
                <a:gd name="connsiteY15229" fmla="*/ 1496283 h 3355086"/>
                <a:gd name="connsiteX15230" fmla="*/ 10954 w 3359086"/>
                <a:gd name="connsiteY15230" fmla="*/ 1496569 h 3355086"/>
                <a:gd name="connsiteX15231" fmla="*/ 10668 w 3359086"/>
                <a:gd name="connsiteY15231" fmla="*/ 1496283 h 3355086"/>
                <a:gd name="connsiteX15232" fmla="*/ 10954 w 3359086"/>
                <a:gd name="connsiteY15232" fmla="*/ 1495997 h 3355086"/>
                <a:gd name="connsiteX15233" fmla="*/ 3210972 w 3359086"/>
                <a:gd name="connsiteY15233" fmla="*/ 1495425 h 3355086"/>
                <a:gd name="connsiteX15234" fmla="*/ 3217164 w 3359086"/>
                <a:gd name="connsiteY15234" fmla="*/ 1501616 h 3355086"/>
                <a:gd name="connsiteX15235" fmla="*/ 3210972 w 3359086"/>
                <a:gd name="connsiteY15235" fmla="*/ 1507807 h 3355086"/>
                <a:gd name="connsiteX15236" fmla="*/ 3204781 w 3359086"/>
                <a:gd name="connsiteY15236" fmla="*/ 1501616 h 3355086"/>
                <a:gd name="connsiteX15237" fmla="*/ 3210972 w 3359086"/>
                <a:gd name="connsiteY15237" fmla="*/ 1495425 h 3355086"/>
                <a:gd name="connsiteX15238" fmla="*/ 2544222 w 3359086"/>
                <a:gd name="connsiteY15238" fmla="*/ 1494949 h 3355086"/>
                <a:gd name="connsiteX15239" fmla="*/ 2550414 w 3359086"/>
                <a:gd name="connsiteY15239" fmla="*/ 1501140 h 3355086"/>
                <a:gd name="connsiteX15240" fmla="*/ 2544222 w 3359086"/>
                <a:gd name="connsiteY15240" fmla="*/ 1507332 h 3355086"/>
                <a:gd name="connsiteX15241" fmla="*/ 2538031 w 3359086"/>
                <a:gd name="connsiteY15241" fmla="*/ 1501140 h 3355086"/>
                <a:gd name="connsiteX15242" fmla="*/ 2544222 w 3359086"/>
                <a:gd name="connsiteY15242" fmla="*/ 1494949 h 3355086"/>
                <a:gd name="connsiteX15243" fmla="*/ 130777 w 3359086"/>
                <a:gd name="connsiteY15243" fmla="*/ 1492187 h 3355086"/>
                <a:gd name="connsiteX15244" fmla="*/ 136969 w 3359086"/>
                <a:gd name="connsiteY15244" fmla="*/ 1498378 h 3355086"/>
                <a:gd name="connsiteX15245" fmla="*/ 130777 w 3359086"/>
                <a:gd name="connsiteY15245" fmla="*/ 1504570 h 3355086"/>
                <a:gd name="connsiteX15246" fmla="*/ 124586 w 3359086"/>
                <a:gd name="connsiteY15246" fmla="*/ 1498378 h 3355086"/>
                <a:gd name="connsiteX15247" fmla="*/ 130777 w 3359086"/>
                <a:gd name="connsiteY15247" fmla="*/ 1492187 h 3355086"/>
                <a:gd name="connsiteX15248" fmla="*/ 836485 w 3359086"/>
                <a:gd name="connsiteY15248" fmla="*/ 1491520 h 3355086"/>
                <a:gd name="connsiteX15249" fmla="*/ 842677 w 3359086"/>
                <a:gd name="connsiteY15249" fmla="*/ 1497711 h 3355086"/>
                <a:gd name="connsiteX15250" fmla="*/ 836485 w 3359086"/>
                <a:gd name="connsiteY15250" fmla="*/ 1503903 h 3355086"/>
                <a:gd name="connsiteX15251" fmla="*/ 830294 w 3359086"/>
                <a:gd name="connsiteY15251" fmla="*/ 1497711 h 3355086"/>
                <a:gd name="connsiteX15252" fmla="*/ 836485 w 3359086"/>
                <a:gd name="connsiteY15252" fmla="*/ 1491520 h 3355086"/>
                <a:gd name="connsiteX15253" fmla="*/ 3192398 w 3359086"/>
                <a:gd name="connsiteY15253" fmla="*/ 1489329 h 3355086"/>
                <a:gd name="connsiteX15254" fmla="*/ 3198589 w 3359086"/>
                <a:gd name="connsiteY15254" fmla="*/ 1495520 h 3355086"/>
                <a:gd name="connsiteX15255" fmla="*/ 3192398 w 3359086"/>
                <a:gd name="connsiteY15255" fmla="*/ 1501711 h 3355086"/>
                <a:gd name="connsiteX15256" fmla="*/ 3186207 w 3359086"/>
                <a:gd name="connsiteY15256" fmla="*/ 1495520 h 3355086"/>
                <a:gd name="connsiteX15257" fmla="*/ 3192398 w 3359086"/>
                <a:gd name="connsiteY15257" fmla="*/ 1489329 h 3355086"/>
                <a:gd name="connsiteX15258" fmla="*/ 2451734 w 3359086"/>
                <a:gd name="connsiteY15258" fmla="*/ 1488472 h 3355086"/>
                <a:gd name="connsiteX15259" fmla="*/ 2457925 w 3359086"/>
                <a:gd name="connsiteY15259" fmla="*/ 1494663 h 3355086"/>
                <a:gd name="connsiteX15260" fmla="*/ 2451734 w 3359086"/>
                <a:gd name="connsiteY15260" fmla="*/ 1500855 h 3355086"/>
                <a:gd name="connsiteX15261" fmla="*/ 2445543 w 3359086"/>
                <a:gd name="connsiteY15261" fmla="*/ 1494663 h 3355086"/>
                <a:gd name="connsiteX15262" fmla="*/ 2451734 w 3359086"/>
                <a:gd name="connsiteY15262" fmla="*/ 1488472 h 3355086"/>
                <a:gd name="connsiteX15263" fmla="*/ 150780 w 3359086"/>
                <a:gd name="connsiteY15263" fmla="*/ 1485900 h 3355086"/>
                <a:gd name="connsiteX15264" fmla="*/ 156971 w 3359086"/>
                <a:gd name="connsiteY15264" fmla="*/ 1492091 h 3355086"/>
                <a:gd name="connsiteX15265" fmla="*/ 150780 w 3359086"/>
                <a:gd name="connsiteY15265" fmla="*/ 1498282 h 3355086"/>
                <a:gd name="connsiteX15266" fmla="*/ 144589 w 3359086"/>
                <a:gd name="connsiteY15266" fmla="*/ 1492091 h 3355086"/>
                <a:gd name="connsiteX15267" fmla="*/ 150780 w 3359086"/>
                <a:gd name="connsiteY15267" fmla="*/ 1485900 h 3355086"/>
                <a:gd name="connsiteX15268" fmla="*/ 933354 w 3359086"/>
                <a:gd name="connsiteY15268" fmla="*/ 1484948 h 3355086"/>
                <a:gd name="connsiteX15269" fmla="*/ 939546 w 3359086"/>
                <a:gd name="connsiteY15269" fmla="*/ 1491139 h 3355086"/>
                <a:gd name="connsiteX15270" fmla="*/ 933354 w 3359086"/>
                <a:gd name="connsiteY15270" fmla="*/ 1497331 h 3355086"/>
                <a:gd name="connsiteX15271" fmla="*/ 927163 w 3359086"/>
                <a:gd name="connsiteY15271" fmla="*/ 1491139 h 3355086"/>
                <a:gd name="connsiteX15272" fmla="*/ 933354 w 3359086"/>
                <a:gd name="connsiteY15272" fmla="*/ 1484948 h 3355086"/>
                <a:gd name="connsiteX15273" fmla="*/ 3171062 w 3359086"/>
                <a:gd name="connsiteY15273" fmla="*/ 1482852 h 3355086"/>
                <a:gd name="connsiteX15274" fmla="*/ 3177254 w 3359086"/>
                <a:gd name="connsiteY15274" fmla="*/ 1489043 h 3355086"/>
                <a:gd name="connsiteX15275" fmla="*/ 3171062 w 3359086"/>
                <a:gd name="connsiteY15275" fmla="*/ 1495235 h 3355086"/>
                <a:gd name="connsiteX15276" fmla="*/ 3164871 w 3359086"/>
                <a:gd name="connsiteY15276" fmla="*/ 1489043 h 3355086"/>
                <a:gd name="connsiteX15277" fmla="*/ 3171062 w 3359086"/>
                <a:gd name="connsiteY15277" fmla="*/ 1482852 h 3355086"/>
                <a:gd name="connsiteX15278" fmla="*/ 2350865 w 3359086"/>
                <a:gd name="connsiteY15278" fmla="*/ 1481804 h 3355086"/>
                <a:gd name="connsiteX15279" fmla="*/ 2357057 w 3359086"/>
                <a:gd name="connsiteY15279" fmla="*/ 1487995 h 3355086"/>
                <a:gd name="connsiteX15280" fmla="*/ 2350865 w 3359086"/>
                <a:gd name="connsiteY15280" fmla="*/ 1494187 h 3355086"/>
                <a:gd name="connsiteX15281" fmla="*/ 2344674 w 3359086"/>
                <a:gd name="connsiteY15281" fmla="*/ 1487995 h 3355086"/>
                <a:gd name="connsiteX15282" fmla="*/ 2350865 w 3359086"/>
                <a:gd name="connsiteY15282" fmla="*/ 1481804 h 3355086"/>
                <a:gd name="connsiteX15283" fmla="*/ 173735 w 3359086"/>
                <a:gd name="connsiteY15283" fmla="*/ 1479328 h 3355086"/>
                <a:gd name="connsiteX15284" fmla="*/ 179926 w 3359086"/>
                <a:gd name="connsiteY15284" fmla="*/ 1485519 h 3355086"/>
                <a:gd name="connsiteX15285" fmla="*/ 173735 w 3359086"/>
                <a:gd name="connsiteY15285" fmla="*/ 1491711 h 3355086"/>
                <a:gd name="connsiteX15286" fmla="*/ 167544 w 3359086"/>
                <a:gd name="connsiteY15286" fmla="*/ 1485519 h 3355086"/>
                <a:gd name="connsiteX15287" fmla="*/ 173735 w 3359086"/>
                <a:gd name="connsiteY15287" fmla="*/ 1479328 h 3355086"/>
                <a:gd name="connsiteX15288" fmla="*/ 1038986 w 3359086"/>
                <a:gd name="connsiteY15288" fmla="*/ 1478185 h 3355086"/>
                <a:gd name="connsiteX15289" fmla="*/ 1045178 w 3359086"/>
                <a:gd name="connsiteY15289" fmla="*/ 1484376 h 3355086"/>
                <a:gd name="connsiteX15290" fmla="*/ 1038986 w 3359086"/>
                <a:gd name="connsiteY15290" fmla="*/ 1490568 h 3355086"/>
                <a:gd name="connsiteX15291" fmla="*/ 1032795 w 3359086"/>
                <a:gd name="connsiteY15291" fmla="*/ 1484376 h 3355086"/>
                <a:gd name="connsiteX15292" fmla="*/ 1038986 w 3359086"/>
                <a:gd name="connsiteY15292" fmla="*/ 1478185 h 3355086"/>
                <a:gd name="connsiteX15293" fmla="*/ 3146678 w 3359086"/>
                <a:gd name="connsiteY15293" fmla="*/ 1476185 h 3355086"/>
                <a:gd name="connsiteX15294" fmla="*/ 3152870 w 3359086"/>
                <a:gd name="connsiteY15294" fmla="*/ 1482376 h 3355086"/>
                <a:gd name="connsiteX15295" fmla="*/ 3146678 w 3359086"/>
                <a:gd name="connsiteY15295" fmla="*/ 1488568 h 3355086"/>
                <a:gd name="connsiteX15296" fmla="*/ 3140487 w 3359086"/>
                <a:gd name="connsiteY15296" fmla="*/ 1482376 h 3355086"/>
                <a:gd name="connsiteX15297" fmla="*/ 3146678 w 3359086"/>
                <a:gd name="connsiteY15297" fmla="*/ 1476185 h 3355086"/>
                <a:gd name="connsiteX15298" fmla="*/ 2241136 w 3359086"/>
                <a:gd name="connsiteY15298" fmla="*/ 1475042 h 3355086"/>
                <a:gd name="connsiteX15299" fmla="*/ 2247328 w 3359086"/>
                <a:gd name="connsiteY15299" fmla="*/ 1481233 h 3355086"/>
                <a:gd name="connsiteX15300" fmla="*/ 2241136 w 3359086"/>
                <a:gd name="connsiteY15300" fmla="*/ 1487424 h 3355086"/>
                <a:gd name="connsiteX15301" fmla="*/ 2234945 w 3359086"/>
                <a:gd name="connsiteY15301" fmla="*/ 1481233 h 3355086"/>
                <a:gd name="connsiteX15302" fmla="*/ 2241136 w 3359086"/>
                <a:gd name="connsiteY15302" fmla="*/ 1475042 h 3355086"/>
                <a:gd name="connsiteX15303" fmla="*/ 3275647 w 3359086"/>
                <a:gd name="connsiteY15303" fmla="*/ 1472661 h 3355086"/>
                <a:gd name="connsiteX15304" fmla="*/ 3281838 w 3359086"/>
                <a:gd name="connsiteY15304" fmla="*/ 1478852 h 3355086"/>
                <a:gd name="connsiteX15305" fmla="*/ 3281695 w 3359086"/>
                <a:gd name="connsiteY15305" fmla="*/ 1478995 h 3355086"/>
                <a:gd name="connsiteX15306" fmla="*/ 3287553 w 3359086"/>
                <a:gd name="connsiteY15306" fmla="*/ 1484852 h 3355086"/>
                <a:gd name="connsiteX15307" fmla="*/ 3287077 w 3359086"/>
                <a:gd name="connsiteY15307" fmla="*/ 1485329 h 3355086"/>
                <a:gd name="connsiteX15308" fmla="*/ 3292315 w 3359086"/>
                <a:gd name="connsiteY15308" fmla="*/ 1490567 h 3355086"/>
                <a:gd name="connsiteX15309" fmla="*/ 3291696 w 3359086"/>
                <a:gd name="connsiteY15309" fmla="*/ 1491186 h 3355086"/>
                <a:gd name="connsiteX15310" fmla="*/ 3296506 w 3359086"/>
                <a:gd name="connsiteY15310" fmla="*/ 1495996 h 3355086"/>
                <a:gd name="connsiteX15311" fmla="*/ 3295744 w 3359086"/>
                <a:gd name="connsiteY15311" fmla="*/ 1496758 h 3355086"/>
                <a:gd name="connsiteX15312" fmla="*/ 3300126 w 3359086"/>
                <a:gd name="connsiteY15312" fmla="*/ 1501140 h 3355086"/>
                <a:gd name="connsiteX15313" fmla="*/ 3299316 w 3359086"/>
                <a:gd name="connsiteY15313" fmla="*/ 1501950 h 3355086"/>
                <a:gd name="connsiteX15314" fmla="*/ 3303364 w 3359086"/>
                <a:gd name="connsiteY15314" fmla="*/ 1505998 h 3355086"/>
                <a:gd name="connsiteX15315" fmla="*/ 3302602 w 3359086"/>
                <a:gd name="connsiteY15315" fmla="*/ 1506760 h 3355086"/>
                <a:gd name="connsiteX15316" fmla="*/ 3306413 w 3359086"/>
                <a:gd name="connsiteY15316" fmla="*/ 1510570 h 3355086"/>
                <a:gd name="connsiteX15317" fmla="*/ 3305651 w 3359086"/>
                <a:gd name="connsiteY15317" fmla="*/ 1511332 h 3355086"/>
                <a:gd name="connsiteX15318" fmla="*/ 3309270 w 3359086"/>
                <a:gd name="connsiteY15318" fmla="*/ 1514951 h 3355086"/>
                <a:gd name="connsiteX15319" fmla="*/ 3308699 w 3359086"/>
                <a:gd name="connsiteY15319" fmla="*/ 1515523 h 3355086"/>
                <a:gd name="connsiteX15320" fmla="*/ 3312223 w 3359086"/>
                <a:gd name="connsiteY15320" fmla="*/ 1519047 h 3355086"/>
                <a:gd name="connsiteX15321" fmla="*/ 3311794 w 3359086"/>
                <a:gd name="connsiteY15321" fmla="*/ 1519476 h 3355086"/>
                <a:gd name="connsiteX15322" fmla="*/ 3315271 w 3359086"/>
                <a:gd name="connsiteY15322" fmla="*/ 1522952 h 3355086"/>
                <a:gd name="connsiteX15323" fmla="*/ 3315080 w 3359086"/>
                <a:gd name="connsiteY15323" fmla="*/ 1523143 h 3355086"/>
                <a:gd name="connsiteX15324" fmla="*/ 3315938 w 3359086"/>
                <a:gd name="connsiteY15324" fmla="*/ 1524001 h 3355086"/>
                <a:gd name="connsiteX15325" fmla="*/ 3316033 w 3359086"/>
                <a:gd name="connsiteY15325" fmla="*/ 1523905 h 3355086"/>
                <a:gd name="connsiteX15326" fmla="*/ 3319701 w 3359086"/>
                <a:gd name="connsiteY15326" fmla="*/ 1527572 h 3355086"/>
                <a:gd name="connsiteX15327" fmla="*/ 3320129 w 3359086"/>
                <a:gd name="connsiteY15327" fmla="*/ 1527144 h 3355086"/>
                <a:gd name="connsiteX15328" fmla="*/ 3323986 w 3359086"/>
                <a:gd name="connsiteY15328" fmla="*/ 1531001 h 3355086"/>
                <a:gd name="connsiteX15329" fmla="*/ 3324796 w 3359086"/>
                <a:gd name="connsiteY15329" fmla="*/ 1530191 h 3355086"/>
                <a:gd name="connsiteX15330" fmla="*/ 3328749 w 3359086"/>
                <a:gd name="connsiteY15330" fmla="*/ 1534144 h 3355086"/>
                <a:gd name="connsiteX15331" fmla="*/ 3329939 w 3359086"/>
                <a:gd name="connsiteY15331" fmla="*/ 1532954 h 3355086"/>
                <a:gd name="connsiteX15332" fmla="*/ 3334178 w 3359086"/>
                <a:gd name="connsiteY15332" fmla="*/ 1537193 h 3355086"/>
                <a:gd name="connsiteX15333" fmla="*/ 3335749 w 3359086"/>
                <a:gd name="connsiteY15333" fmla="*/ 1535621 h 3355086"/>
                <a:gd name="connsiteX15334" fmla="*/ 3340274 w 3359086"/>
                <a:gd name="connsiteY15334" fmla="*/ 1540146 h 3355086"/>
                <a:gd name="connsiteX15335" fmla="*/ 3342322 w 3359086"/>
                <a:gd name="connsiteY15335" fmla="*/ 1538097 h 3355086"/>
                <a:gd name="connsiteX15336" fmla="*/ 3348228 w 3359086"/>
                <a:gd name="connsiteY15336" fmla="*/ 1544003 h 3355086"/>
                <a:gd name="connsiteX15337" fmla="*/ 3349657 w 3359086"/>
                <a:gd name="connsiteY15337" fmla="*/ 1542574 h 3355086"/>
                <a:gd name="connsiteX15338" fmla="*/ 3353657 w 3359086"/>
                <a:gd name="connsiteY15338" fmla="*/ 1546574 h 3355086"/>
                <a:gd name="connsiteX15339" fmla="*/ 3349657 w 3359086"/>
                <a:gd name="connsiteY15339" fmla="*/ 1550575 h 3355086"/>
                <a:gd name="connsiteX15340" fmla="*/ 3345942 w 3359086"/>
                <a:gd name="connsiteY15340" fmla="*/ 1546860 h 3355086"/>
                <a:gd name="connsiteX15341" fmla="*/ 3342322 w 3359086"/>
                <a:gd name="connsiteY15341" fmla="*/ 1550480 h 3355086"/>
                <a:gd name="connsiteX15342" fmla="*/ 3337797 w 3359086"/>
                <a:gd name="connsiteY15342" fmla="*/ 1545955 h 3355086"/>
                <a:gd name="connsiteX15343" fmla="*/ 3335749 w 3359086"/>
                <a:gd name="connsiteY15343" fmla="*/ 1548003 h 3355086"/>
                <a:gd name="connsiteX15344" fmla="*/ 3331511 w 3359086"/>
                <a:gd name="connsiteY15344" fmla="*/ 1543765 h 3355086"/>
                <a:gd name="connsiteX15345" fmla="*/ 3329939 w 3359086"/>
                <a:gd name="connsiteY15345" fmla="*/ 1545337 h 3355086"/>
                <a:gd name="connsiteX15346" fmla="*/ 3325986 w 3359086"/>
                <a:gd name="connsiteY15346" fmla="*/ 1541384 h 3355086"/>
                <a:gd name="connsiteX15347" fmla="*/ 3324796 w 3359086"/>
                <a:gd name="connsiteY15347" fmla="*/ 1542574 h 3355086"/>
                <a:gd name="connsiteX15348" fmla="*/ 3320939 w 3359086"/>
                <a:gd name="connsiteY15348" fmla="*/ 1538716 h 3355086"/>
                <a:gd name="connsiteX15349" fmla="*/ 3320129 w 3359086"/>
                <a:gd name="connsiteY15349" fmla="*/ 1539526 h 3355086"/>
                <a:gd name="connsiteX15350" fmla="*/ 3316462 w 3359086"/>
                <a:gd name="connsiteY15350" fmla="*/ 1535859 h 3355086"/>
                <a:gd name="connsiteX15351" fmla="*/ 3316033 w 3359086"/>
                <a:gd name="connsiteY15351" fmla="*/ 1536288 h 3355086"/>
                <a:gd name="connsiteX15352" fmla="*/ 3312509 w 3359086"/>
                <a:gd name="connsiteY15352" fmla="*/ 1532763 h 3355086"/>
                <a:gd name="connsiteX15353" fmla="*/ 3312413 w 3359086"/>
                <a:gd name="connsiteY15353" fmla="*/ 1532859 h 3355086"/>
                <a:gd name="connsiteX15354" fmla="*/ 3306222 w 3359086"/>
                <a:gd name="connsiteY15354" fmla="*/ 1526667 h 3355086"/>
                <a:gd name="connsiteX15355" fmla="*/ 3306413 w 3359086"/>
                <a:gd name="connsiteY15355" fmla="*/ 1526477 h 3355086"/>
                <a:gd name="connsiteX15356" fmla="*/ 3302889 w 3359086"/>
                <a:gd name="connsiteY15356" fmla="*/ 1522952 h 3355086"/>
                <a:gd name="connsiteX15357" fmla="*/ 3303318 w 3359086"/>
                <a:gd name="connsiteY15357" fmla="*/ 1522524 h 3355086"/>
                <a:gd name="connsiteX15358" fmla="*/ 3299841 w 3359086"/>
                <a:gd name="connsiteY15358" fmla="*/ 1519047 h 3355086"/>
                <a:gd name="connsiteX15359" fmla="*/ 3300412 w 3359086"/>
                <a:gd name="connsiteY15359" fmla="*/ 1518476 h 3355086"/>
                <a:gd name="connsiteX15360" fmla="*/ 3296888 w 3359086"/>
                <a:gd name="connsiteY15360" fmla="*/ 1514951 h 3355086"/>
                <a:gd name="connsiteX15361" fmla="*/ 3297649 w 3359086"/>
                <a:gd name="connsiteY15361" fmla="*/ 1514190 h 3355086"/>
                <a:gd name="connsiteX15362" fmla="*/ 3294030 w 3359086"/>
                <a:gd name="connsiteY15362" fmla="*/ 1510570 h 3355086"/>
                <a:gd name="connsiteX15363" fmla="*/ 3294792 w 3359086"/>
                <a:gd name="connsiteY15363" fmla="*/ 1509809 h 3355086"/>
                <a:gd name="connsiteX15364" fmla="*/ 3290982 w 3359086"/>
                <a:gd name="connsiteY15364" fmla="*/ 1505998 h 3355086"/>
                <a:gd name="connsiteX15365" fmla="*/ 3291792 w 3359086"/>
                <a:gd name="connsiteY15365" fmla="*/ 1505189 h 3355086"/>
                <a:gd name="connsiteX15366" fmla="*/ 3287744 w 3359086"/>
                <a:gd name="connsiteY15366" fmla="*/ 1501140 h 3355086"/>
                <a:gd name="connsiteX15367" fmla="*/ 3288506 w 3359086"/>
                <a:gd name="connsiteY15367" fmla="*/ 1500379 h 3355086"/>
                <a:gd name="connsiteX15368" fmla="*/ 3284124 w 3359086"/>
                <a:gd name="connsiteY15368" fmla="*/ 1495996 h 3355086"/>
                <a:gd name="connsiteX15369" fmla="*/ 3284743 w 3359086"/>
                <a:gd name="connsiteY15369" fmla="*/ 1495378 h 3355086"/>
                <a:gd name="connsiteX15370" fmla="*/ 3279933 w 3359086"/>
                <a:gd name="connsiteY15370" fmla="*/ 1490567 h 3355086"/>
                <a:gd name="connsiteX15371" fmla="*/ 3280409 w 3359086"/>
                <a:gd name="connsiteY15371" fmla="*/ 1490091 h 3355086"/>
                <a:gd name="connsiteX15372" fmla="*/ 3275171 w 3359086"/>
                <a:gd name="connsiteY15372" fmla="*/ 1484852 h 3355086"/>
                <a:gd name="connsiteX15373" fmla="*/ 3275314 w 3359086"/>
                <a:gd name="connsiteY15373" fmla="*/ 1484710 h 3355086"/>
                <a:gd name="connsiteX15374" fmla="*/ 3269456 w 3359086"/>
                <a:gd name="connsiteY15374" fmla="*/ 1478852 h 3355086"/>
                <a:gd name="connsiteX15375" fmla="*/ 3275647 w 3359086"/>
                <a:gd name="connsiteY15375" fmla="*/ 1472661 h 3355086"/>
                <a:gd name="connsiteX15376" fmla="*/ 199929 w 3359086"/>
                <a:gd name="connsiteY15376" fmla="*/ 1472470 h 3355086"/>
                <a:gd name="connsiteX15377" fmla="*/ 206120 w 3359086"/>
                <a:gd name="connsiteY15377" fmla="*/ 1478661 h 3355086"/>
                <a:gd name="connsiteX15378" fmla="*/ 199929 w 3359086"/>
                <a:gd name="connsiteY15378" fmla="*/ 1484853 h 3355086"/>
                <a:gd name="connsiteX15379" fmla="*/ 193738 w 3359086"/>
                <a:gd name="connsiteY15379" fmla="*/ 1478661 h 3355086"/>
                <a:gd name="connsiteX15380" fmla="*/ 199929 w 3359086"/>
                <a:gd name="connsiteY15380" fmla="*/ 1472470 h 3355086"/>
                <a:gd name="connsiteX15381" fmla="*/ 1153667 w 3359086"/>
                <a:gd name="connsiteY15381" fmla="*/ 1471422 h 3355086"/>
                <a:gd name="connsiteX15382" fmla="*/ 1159858 w 3359086"/>
                <a:gd name="connsiteY15382" fmla="*/ 1477613 h 3355086"/>
                <a:gd name="connsiteX15383" fmla="*/ 1153667 w 3359086"/>
                <a:gd name="connsiteY15383" fmla="*/ 1483805 h 3355086"/>
                <a:gd name="connsiteX15384" fmla="*/ 1147476 w 3359086"/>
                <a:gd name="connsiteY15384" fmla="*/ 1477613 h 3355086"/>
                <a:gd name="connsiteX15385" fmla="*/ 1153667 w 3359086"/>
                <a:gd name="connsiteY15385" fmla="*/ 1471422 h 3355086"/>
                <a:gd name="connsiteX15386" fmla="*/ 3343846 w 3359086"/>
                <a:gd name="connsiteY15386" fmla="*/ 1470375 h 3355086"/>
                <a:gd name="connsiteX15387" fmla="*/ 3346417 w 3359086"/>
                <a:gd name="connsiteY15387" fmla="*/ 1472947 h 3355086"/>
                <a:gd name="connsiteX15388" fmla="*/ 3343846 w 3359086"/>
                <a:gd name="connsiteY15388" fmla="*/ 1475518 h 3355086"/>
                <a:gd name="connsiteX15389" fmla="*/ 3341274 w 3359086"/>
                <a:gd name="connsiteY15389" fmla="*/ 1472947 h 3355086"/>
                <a:gd name="connsiteX15390" fmla="*/ 3343846 w 3359086"/>
                <a:gd name="connsiteY15390" fmla="*/ 1470375 h 3355086"/>
                <a:gd name="connsiteX15391" fmla="*/ 60007 w 3359086"/>
                <a:gd name="connsiteY15391" fmla="*/ 1469327 h 3355086"/>
                <a:gd name="connsiteX15392" fmla="*/ 66198 w 3359086"/>
                <a:gd name="connsiteY15392" fmla="*/ 1475518 h 3355086"/>
                <a:gd name="connsiteX15393" fmla="*/ 60007 w 3359086"/>
                <a:gd name="connsiteY15393" fmla="*/ 1481710 h 3355086"/>
                <a:gd name="connsiteX15394" fmla="*/ 54435 w 3359086"/>
                <a:gd name="connsiteY15394" fmla="*/ 1487282 h 3355086"/>
                <a:gd name="connsiteX15395" fmla="*/ 54673 w 3359086"/>
                <a:gd name="connsiteY15395" fmla="*/ 1487519 h 3355086"/>
                <a:gd name="connsiteX15396" fmla="*/ 49625 w 3359086"/>
                <a:gd name="connsiteY15396" fmla="*/ 1492568 h 3355086"/>
                <a:gd name="connsiteX15397" fmla="*/ 50197 w 3359086"/>
                <a:gd name="connsiteY15397" fmla="*/ 1493139 h 3355086"/>
                <a:gd name="connsiteX15398" fmla="*/ 45624 w 3359086"/>
                <a:gd name="connsiteY15398" fmla="*/ 1497711 h 3355086"/>
                <a:gd name="connsiteX15399" fmla="*/ 46291 w 3359086"/>
                <a:gd name="connsiteY15399" fmla="*/ 1498378 h 3355086"/>
                <a:gd name="connsiteX15400" fmla="*/ 42053 w 3359086"/>
                <a:gd name="connsiteY15400" fmla="*/ 1502616 h 3355086"/>
                <a:gd name="connsiteX15401" fmla="*/ 42863 w 3359086"/>
                <a:gd name="connsiteY15401" fmla="*/ 1503426 h 3355086"/>
                <a:gd name="connsiteX15402" fmla="*/ 38957 w 3359086"/>
                <a:gd name="connsiteY15402" fmla="*/ 1507332 h 3355086"/>
                <a:gd name="connsiteX15403" fmla="*/ 39814 w 3359086"/>
                <a:gd name="connsiteY15403" fmla="*/ 1508188 h 3355086"/>
                <a:gd name="connsiteX15404" fmla="*/ 36100 w 3359086"/>
                <a:gd name="connsiteY15404" fmla="*/ 1511903 h 3355086"/>
                <a:gd name="connsiteX15405" fmla="*/ 36862 w 3359086"/>
                <a:gd name="connsiteY15405" fmla="*/ 1512665 h 3355086"/>
                <a:gd name="connsiteX15406" fmla="*/ 33242 w 3359086"/>
                <a:gd name="connsiteY15406" fmla="*/ 1516285 h 3355086"/>
                <a:gd name="connsiteX15407" fmla="*/ 33909 w 3359086"/>
                <a:gd name="connsiteY15407" fmla="*/ 1516952 h 3355086"/>
                <a:gd name="connsiteX15408" fmla="*/ 30432 w 3359086"/>
                <a:gd name="connsiteY15408" fmla="*/ 1520429 h 3355086"/>
                <a:gd name="connsiteX15409" fmla="*/ 30956 w 3359086"/>
                <a:gd name="connsiteY15409" fmla="*/ 1520952 h 3355086"/>
                <a:gd name="connsiteX15410" fmla="*/ 27479 w 3359086"/>
                <a:gd name="connsiteY15410" fmla="*/ 1524429 h 3355086"/>
                <a:gd name="connsiteX15411" fmla="*/ 27718 w 3359086"/>
                <a:gd name="connsiteY15411" fmla="*/ 1524667 h 3355086"/>
                <a:gd name="connsiteX15412" fmla="*/ 24194 w 3359086"/>
                <a:gd name="connsiteY15412" fmla="*/ 1528191 h 3355086"/>
                <a:gd name="connsiteX15413" fmla="*/ 24289 w 3359086"/>
                <a:gd name="connsiteY15413" fmla="*/ 1528286 h 3355086"/>
                <a:gd name="connsiteX15414" fmla="*/ 18097 w 3359086"/>
                <a:gd name="connsiteY15414" fmla="*/ 1534478 h 3355086"/>
                <a:gd name="connsiteX15415" fmla="*/ 17859 w 3359086"/>
                <a:gd name="connsiteY15415" fmla="*/ 1534240 h 3355086"/>
                <a:gd name="connsiteX15416" fmla="*/ 14287 w 3359086"/>
                <a:gd name="connsiteY15416" fmla="*/ 1537812 h 3355086"/>
                <a:gd name="connsiteX15417" fmla="*/ 12525 w 3359086"/>
                <a:gd name="connsiteY15417" fmla="*/ 1536050 h 3355086"/>
                <a:gd name="connsiteX15418" fmla="*/ 9906 w 3359086"/>
                <a:gd name="connsiteY15418" fmla="*/ 1538669 h 3355086"/>
                <a:gd name="connsiteX15419" fmla="*/ 5905 w 3359086"/>
                <a:gd name="connsiteY15419" fmla="*/ 1534669 h 3355086"/>
                <a:gd name="connsiteX15420" fmla="*/ 8525 w 3359086"/>
                <a:gd name="connsiteY15420" fmla="*/ 1532049 h 3355086"/>
                <a:gd name="connsiteX15421" fmla="*/ 8096 w 3359086"/>
                <a:gd name="connsiteY15421" fmla="*/ 1531620 h 3355086"/>
                <a:gd name="connsiteX15422" fmla="*/ 14287 w 3359086"/>
                <a:gd name="connsiteY15422" fmla="*/ 1525429 h 3355086"/>
                <a:gd name="connsiteX15423" fmla="*/ 14525 w 3359086"/>
                <a:gd name="connsiteY15423" fmla="*/ 1525667 h 3355086"/>
                <a:gd name="connsiteX15424" fmla="*/ 15430 w 3359086"/>
                <a:gd name="connsiteY15424" fmla="*/ 1524762 h 3355086"/>
                <a:gd name="connsiteX15425" fmla="*/ 15335 w 3359086"/>
                <a:gd name="connsiteY15425" fmla="*/ 1524667 h 3355086"/>
                <a:gd name="connsiteX15426" fmla="*/ 18811 w 3359086"/>
                <a:gd name="connsiteY15426" fmla="*/ 1521191 h 3355086"/>
                <a:gd name="connsiteX15427" fmla="*/ 18573 w 3359086"/>
                <a:gd name="connsiteY15427" fmla="*/ 1520952 h 3355086"/>
                <a:gd name="connsiteX15428" fmla="*/ 22049 w 3359086"/>
                <a:gd name="connsiteY15428" fmla="*/ 1517476 h 3355086"/>
                <a:gd name="connsiteX15429" fmla="*/ 21526 w 3359086"/>
                <a:gd name="connsiteY15429" fmla="*/ 1516952 h 3355086"/>
                <a:gd name="connsiteX15430" fmla="*/ 25146 w 3359086"/>
                <a:gd name="connsiteY15430" fmla="*/ 1513332 h 3355086"/>
                <a:gd name="connsiteX15431" fmla="*/ 24479 w 3359086"/>
                <a:gd name="connsiteY15431" fmla="*/ 1512665 h 3355086"/>
                <a:gd name="connsiteX15432" fmla="*/ 28194 w 3359086"/>
                <a:gd name="connsiteY15432" fmla="*/ 1508950 h 3355086"/>
                <a:gd name="connsiteX15433" fmla="*/ 27432 w 3359086"/>
                <a:gd name="connsiteY15433" fmla="*/ 1508188 h 3355086"/>
                <a:gd name="connsiteX15434" fmla="*/ 31337 w 3359086"/>
                <a:gd name="connsiteY15434" fmla="*/ 1504283 h 3355086"/>
                <a:gd name="connsiteX15435" fmla="*/ 30480 w 3359086"/>
                <a:gd name="connsiteY15435" fmla="*/ 1503426 h 3355086"/>
                <a:gd name="connsiteX15436" fmla="*/ 34718 w 3359086"/>
                <a:gd name="connsiteY15436" fmla="*/ 1499188 h 3355086"/>
                <a:gd name="connsiteX15437" fmla="*/ 33908 w 3359086"/>
                <a:gd name="connsiteY15437" fmla="*/ 1498378 h 3355086"/>
                <a:gd name="connsiteX15438" fmla="*/ 38480 w 3359086"/>
                <a:gd name="connsiteY15438" fmla="*/ 1493806 h 3355086"/>
                <a:gd name="connsiteX15439" fmla="*/ 37814 w 3359086"/>
                <a:gd name="connsiteY15439" fmla="*/ 1493139 h 3355086"/>
                <a:gd name="connsiteX15440" fmla="*/ 42862 w 3359086"/>
                <a:gd name="connsiteY15440" fmla="*/ 1488091 h 3355086"/>
                <a:gd name="connsiteX15441" fmla="*/ 42291 w 3359086"/>
                <a:gd name="connsiteY15441" fmla="*/ 1487519 h 3355086"/>
                <a:gd name="connsiteX15442" fmla="*/ 47863 w 3359086"/>
                <a:gd name="connsiteY15442" fmla="*/ 1481947 h 3355086"/>
                <a:gd name="connsiteX15443" fmla="*/ 47625 w 3359086"/>
                <a:gd name="connsiteY15443" fmla="*/ 1481709 h 3355086"/>
                <a:gd name="connsiteX15444" fmla="*/ 53816 w 3359086"/>
                <a:gd name="connsiteY15444" fmla="*/ 1475518 h 3355086"/>
                <a:gd name="connsiteX15445" fmla="*/ 60007 w 3359086"/>
                <a:gd name="connsiteY15445" fmla="*/ 1469327 h 3355086"/>
                <a:gd name="connsiteX15446" fmla="*/ 3118960 w 3359086"/>
                <a:gd name="connsiteY15446" fmla="*/ 1469136 h 3355086"/>
                <a:gd name="connsiteX15447" fmla="*/ 3125152 w 3359086"/>
                <a:gd name="connsiteY15447" fmla="*/ 1475327 h 3355086"/>
                <a:gd name="connsiteX15448" fmla="*/ 3118960 w 3359086"/>
                <a:gd name="connsiteY15448" fmla="*/ 1481519 h 3355086"/>
                <a:gd name="connsiteX15449" fmla="*/ 3112769 w 3359086"/>
                <a:gd name="connsiteY15449" fmla="*/ 1475327 h 3355086"/>
                <a:gd name="connsiteX15450" fmla="*/ 3118960 w 3359086"/>
                <a:gd name="connsiteY15450" fmla="*/ 1469136 h 3355086"/>
                <a:gd name="connsiteX15451" fmla="*/ 2121979 w 3359086"/>
                <a:gd name="connsiteY15451" fmla="*/ 1468184 h 3355086"/>
                <a:gd name="connsiteX15452" fmla="*/ 2128170 w 3359086"/>
                <a:gd name="connsiteY15452" fmla="*/ 1474375 h 3355086"/>
                <a:gd name="connsiteX15453" fmla="*/ 2121979 w 3359086"/>
                <a:gd name="connsiteY15453" fmla="*/ 1480566 h 3355086"/>
                <a:gd name="connsiteX15454" fmla="*/ 2115788 w 3359086"/>
                <a:gd name="connsiteY15454" fmla="*/ 1474375 h 3355086"/>
                <a:gd name="connsiteX15455" fmla="*/ 2121979 w 3359086"/>
                <a:gd name="connsiteY15455" fmla="*/ 1468184 h 3355086"/>
                <a:gd name="connsiteX15456" fmla="*/ 3268884 w 3359086"/>
                <a:gd name="connsiteY15456" fmla="*/ 1466374 h 3355086"/>
                <a:gd name="connsiteX15457" fmla="*/ 3275075 w 3359086"/>
                <a:gd name="connsiteY15457" fmla="*/ 1472565 h 3355086"/>
                <a:gd name="connsiteX15458" fmla="*/ 3268884 w 3359086"/>
                <a:gd name="connsiteY15458" fmla="*/ 1478757 h 3355086"/>
                <a:gd name="connsiteX15459" fmla="*/ 3262693 w 3359086"/>
                <a:gd name="connsiteY15459" fmla="*/ 1472565 h 3355086"/>
                <a:gd name="connsiteX15460" fmla="*/ 3268884 w 3359086"/>
                <a:gd name="connsiteY15460" fmla="*/ 1466374 h 3355086"/>
                <a:gd name="connsiteX15461" fmla="*/ 229552 w 3359086"/>
                <a:gd name="connsiteY15461" fmla="*/ 1465326 h 3355086"/>
                <a:gd name="connsiteX15462" fmla="*/ 235743 w 3359086"/>
                <a:gd name="connsiteY15462" fmla="*/ 1471517 h 3355086"/>
                <a:gd name="connsiteX15463" fmla="*/ 229552 w 3359086"/>
                <a:gd name="connsiteY15463" fmla="*/ 1477709 h 3355086"/>
                <a:gd name="connsiteX15464" fmla="*/ 223361 w 3359086"/>
                <a:gd name="connsiteY15464" fmla="*/ 1471517 h 3355086"/>
                <a:gd name="connsiteX15465" fmla="*/ 229552 w 3359086"/>
                <a:gd name="connsiteY15465" fmla="*/ 1465326 h 3355086"/>
                <a:gd name="connsiteX15466" fmla="*/ 1277969 w 3359086"/>
                <a:gd name="connsiteY15466" fmla="*/ 1464564 h 3355086"/>
                <a:gd name="connsiteX15467" fmla="*/ 1284161 w 3359086"/>
                <a:gd name="connsiteY15467" fmla="*/ 1470755 h 3355086"/>
                <a:gd name="connsiteX15468" fmla="*/ 1277969 w 3359086"/>
                <a:gd name="connsiteY15468" fmla="*/ 1476947 h 3355086"/>
                <a:gd name="connsiteX15469" fmla="*/ 1271778 w 3359086"/>
                <a:gd name="connsiteY15469" fmla="*/ 1470755 h 3355086"/>
                <a:gd name="connsiteX15470" fmla="*/ 1277969 w 3359086"/>
                <a:gd name="connsiteY15470" fmla="*/ 1464564 h 3355086"/>
                <a:gd name="connsiteX15471" fmla="*/ 67436 w 3359086"/>
                <a:gd name="connsiteY15471" fmla="*/ 1462850 h 3355086"/>
                <a:gd name="connsiteX15472" fmla="*/ 73628 w 3359086"/>
                <a:gd name="connsiteY15472" fmla="*/ 1469041 h 3355086"/>
                <a:gd name="connsiteX15473" fmla="*/ 67436 w 3359086"/>
                <a:gd name="connsiteY15473" fmla="*/ 1475232 h 3355086"/>
                <a:gd name="connsiteX15474" fmla="*/ 61245 w 3359086"/>
                <a:gd name="connsiteY15474" fmla="*/ 1469041 h 3355086"/>
                <a:gd name="connsiteX15475" fmla="*/ 67436 w 3359086"/>
                <a:gd name="connsiteY15475" fmla="*/ 1462850 h 3355086"/>
                <a:gd name="connsiteX15476" fmla="*/ 3087433 w 3359086"/>
                <a:gd name="connsiteY15476" fmla="*/ 1461897 h 3355086"/>
                <a:gd name="connsiteX15477" fmla="*/ 3093625 w 3359086"/>
                <a:gd name="connsiteY15477" fmla="*/ 1468088 h 3355086"/>
                <a:gd name="connsiteX15478" fmla="*/ 3087433 w 3359086"/>
                <a:gd name="connsiteY15478" fmla="*/ 1474280 h 3355086"/>
                <a:gd name="connsiteX15479" fmla="*/ 3081242 w 3359086"/>
                <a:gd name="connsiteY15479" fmla="*/ 1468088 h 3355086"/>
                <a:gd name="connsiteX15480" fmla="*/ 3087433 w 3359086"/>
                <a:gd name="connsiteY15480" fmla="*/ 1461897 h 3355086"/>
                <a:gd name="connsiteX15481" fmla="*/ 1993106 w 3359086"/>
                <a:gd name="connsiteY15481" fmla="*/ 1461421 h 3355086"/>
                <a:gd name="connsiteX15482" fmla="*/ 1999297 w 3359086"/>
                <a:gd name="connsiteY15482" fmla="*/ 1467612 h 3355086"/>
                <a:gd name="connsiteX15483" fmla="*/ 1993106 w 3359086"/>
                <a:gd name="connsiteY15483" fmla="*/ 1473804 h 3355086"/>
                <a:gd name="connsiteX15484" fmla="*/ 1986915 w 3359086"/>
                <a:gd name="connsiteY15484" fmla="*/ 1467612 h 3355086"/>
                <a:gd name="connsiteX15485" fmla="*/ 1993106 w 3359086"/>
                <a:gd name="connsiteY15485" fmla="*/ 1461421 h 3355086"/>
                <a:gd name="connsiteX15486" fmla="*/ 3260883 w 3359086"/>
                <a:gd name="connsiteY15486" fmla="*/ 1459707 h 3355086"/>
                <a:gd name="connsiteX15487" fmla="*/ 3267074 w 3359086"/>
                <a:gd name="connsiteY15487" fmla="*/ 1465898 h 3355086"/>
                <a:gd name="connsiteX15488" fmla="*/ 3260883 w 3359086"/>
                <a:gd name="connsiteY15488" fmla="*/ 1472089 h 3355086"/>
                <a:gd name="connsiteX15489" fmla="*/ 3254692 w 3359086"/>
                <a:gd name="connsiteY15489" fmla="*/ 1465898 h 3355086"/>
                <a:gd name="connsiteX15490" fmla="*/ 3260883 w 3359086"/>
                <a:gd name="connsiteY15490" fmla="*/ 1459707 h 3355086"/>
                <a:gd name="connsiteX15491" fmla="*/ 1412176 w 3359086"/>
                <a:gd name="connsiteY15491" fmla="*/ 1458087 h 3355086"/>
                <a:gd name="connsiteX15492" fmla="*/ 1418368 w 3359086"/>
                <a:gd name="connsiteY15492" fmla="*/ 1464278 h 3355086"/>
                <a:gd name="connsiteX15493" fmla="*/ 1412176 w 3359086"/>
                <a:gd name="connsiteY15493" fmla="*/ 1470469 h 3355086"/>
                <a:gd name="connsiteX15494" fmla="*/ 1405985 w 3359086"/>
                <a:gd name="connsiteY15494" fmla="*/ 1464278 h 3355086"/>
                <a:gd name="connsiteX15495" fmla="*/ 1412176 w 3359086"/>
                <a:gd name="connsiteY15495" fmla="*/ 1458087 h 3355086"/>
                <a:gd name="connsiteX15496" fmla="*/ 263175 w 3359086"/>
                <a:gd name="connsiteY15496" fmla="*/ 1457897 h 3355086"/>
                <a:gd name="connsiteX15497" fmla="*/ 269367 w 3359086"/>
                <a:gd name="connsiteY15497" fmla="*/ 1464088 h 3355086"/>
                <a:gd name="connsiteX15498" fmla="*/ 263175 w 3359086"/>
                <a:gd name="connsiteY15498" fmla="*/ 1470280 h 3355086"/>
                <a:gd name="connsiteX15499" fmla="*/ 256984 w 3359086"/>
                <a:gd name="connsiteY15499" fmla="*/ 1464088 h 3355086"/>
                <a:gd name="connsiteX15500" fmla="*/ 263175 w 3359086"/>
                <a:gd name="connsiteY15500" fmla="*/ 1457897 h 3355086"/>
                <a:gd name="connsiteX15501" fmla="*/ 76104 w 3359086"/>
                <a:gd name="connsiteY15501" fmla="*/ 1455992 h 3355086"/>
                <a:gd name="connsiteX15502" fmla="*/ 82296 w 3359086"/>
                <a:gd name="connsiteY15502" fmla="*/ 1462183 h 3355086"/>
                <a:gd name="connsiteX15503" fmla="*/ 76104 w 3359086"/>
                <a:gd name="connsiteY15503" fmla="*/ 1468374 h 3355086"/>
                <a:gd name="connsiteX15504" fmla="*/ 69913 w 3359086"/>
                <a:gd name="connsiteY15504" fmla="*/ 1462183 h 3355086"/>
                <a:gd name="connsiteX15505" fmla="*/ 76104 w 3359086"/>
                <a:gd name="connsiteY15505" fmla="*/ 1455992 h 3355086"/>
                <a:gd name="connsiteX15506" fmla="*/ 1854231 w 3359086"/>
                <a:gd name="connsiteY15506" fmla="*/ 1455420 h 3355086"/>
                <a:gd name="connsiteX15507" fmla="*/ 1860423 w 3359086"/>
                <a:gd name="connsiteY15507" fmla="*/ 1461611 h 3355086"/>
                <a:gd name="connsiteX15508" fmla="*/ 1854231 w 3359086"/>
                <a:gd name="connsiteY15508" fmla="*/ 1467803 h 3355086"/>
                <a:gd name="connsiteX15509" fmla="*/ 1848040 w 3359086"/>
                <a:gd name="connsiteY15509" fmla="*/ 1461611 h 3355086"/>
                <a:gd name="connsiteX15510" fmla="*/ 1854231 w 3359086"/>
                <a:gd name="connsiteY15510" fmla="*/ 1455420 h 3355086"/>
                <a:gd name="connsiteX15511" fmla="*/ 3052000 w 3359086"/>
                <a:gd name="connsiteY15511" fmla="*/ 1454277 h 3355086"/>
                <a:gd name="connsiteX15512" fmla="*/ 3058192 w 3359086"/>
                <a:gd name="connsiteY15512" fmla="*/ 1460468 h 3355086"/>
                <a:gd name="connsiteX15513" fmla="*/ 3052000 w 3359086"/>
                <a:gd name="connsiteY15513" fmla="*/ 1466660 h 3355086"/>
                <a:gd name="connsiteX15514" fmla="*/ 3045809 w 3359086"/>
                <a:gd name="connsiteY15514" fmla="*/ 1460468 h 3355086"/>
                <a:gd name="connsiteX15515" fmla="*/ 3052000 w 3359086"/>
                <a:gd name="connsiteY15515" fmla="*/ 1454277 h 3355086"/>
                <a:gd name="connsiteX15516" fmla="*/ 1556194 w 3359086"/>
                <a:gd name="connsiteY15516" fmla="*/ 1453039 h 3355086"/>
                <a:gd name="connsiteX15517" fmla="*/ 1562386 w 3359086"/>
                <a:gd name="connsiteY15517" fmla="*/ 1459230 h 3355086"/>
                <a:gd name="connsiteX15518" fmla="*/ 1556194 w 3359086"/>
                <a:gd name="connsiteY15518" fmla="*/ 1465422 h 3355086"/>
                <a:gd name="connsiteX15519" fmla="*/ 1550003 w 3359086"/>
                <a:gd name="connsiteY15519" fmla="*/ 1459230 h 3355086"/>
                <a:gd name="connsiteX15520" fmla="*/ 1556194 w 3359086"/>
                <a:gd name="connsiteY15520" fmla="*/ 1453039 h 3355086"/>
                <a:gd name="connsiteX15521" fmla="*/ 3251453 w 3359086"/>
                <a:gd name="connsiteY15521" fmla="*/ 1452753 h 3355086"/>
                <a:gd name="connsiteX15522" fmla="*/ 3257645 w 3359086"/>
                <a:gd name="connsiteY15522" fmla="*/ 1458944 h 3355086"/>
                <a:gd name="connsiteX15523" fmla="*/ 3251453 w 3359086"/>
                <a:gd name="connsiteY15523" fmla="*/ 1465136 h 3355086"/>
                <a:gd name="connsiteX15524" fmla="*/ 3245262 w 3359086"/>
                <a:gd name="connsiteY15524" fmla="*/ 1458944 h 3355086"/>
                <a:gd name="connsiteX15525" fmla="*/ 3251453 w 3359086"/>
                <a:gd name="connsiteY15525" fmla="*/ 1452753 h 3355086"/>
                <a:gd name="connsiteX15526" fmla="*/ 1706498 w 3359086"/>
                <a:gd name="connsiteY15526" fmla="*/ 1451801 h 3355086"/>
                <a:gd name="connsiteX15527" fmla="*/ 1712690 w 3359086"/>
                <a:gd name="connsiteY15527" fmla="*/ 1457992 h 3355086"/>
                <a:gd name="connsiteX15528" fmla="*/ 1706498 w 3359086"/>
                <a:gd name="connsiteY15528" fmla="*/ 1464184 h 3355086"/>
                <a:gd name="connsiteX15529" fmla="*/ 1700307 w 3359086"/>
                <a:gd name="connsiteY15529" fmla="*/ 1457992 h 3355086"/>
                <a:gd name="connsiteX15530" fmla="*/ 1706498 w 3359086"/>
                <a:gd name="connsiteY15530" fmla="*/ 1451801 h 3355086"/>
                <a:gd name="connsiteX15531" fmla="*/ 17716 w 3359086"/>
                <a:gd name="connsiteY15531" fmla="*/ 1451801 h 3355086"/>
                <a:gd name="connsiteX15532" fmla="*/ 20288 w 3359086"/>
                <a:gd name="connsiteY15532" fmla="*/ 1454373 h 3355086"/>
                <a:gd name="connsiteX15533" fmla="*/ 17716 w 3359086"/>
                <a:gd name="connsiteY15533" fmla="*/ 1456944 h 3355086"/>
                <a:gd name="connsiteX15534" fmla="*/ 15144 w 3359086"/>
                <a:gd name="connsiteY15534" fmla="*/ 1454373 h 3355086"/>
                <a:gd name="connsiteX15535" fmla="*/ 17716 w 3359086"/>
                <a:gd name="connsiteY15535" fmla="*/ 1451801 h 3355086"/>
                <a:gd name="connsiteX15536" fmla="*/ 300989 w 3359086"/>
                <a:gd name="connsiteY15536" fmla="*/ 1450086 h 3355086"/>
                <a:gd name="connsiteX15537" fmla="*/ 307180 w 3359086"/>
                <a:gd name="connsiteY15537" fmla="*/ 1456277 h 3355086"/>
                <a:gd name="connsiteX15538" fmla="*/ 300989 w 3359086"/>
                <a:gd name="connsiteY15538" fmla="*/ 1462469 h 3355086"/>
                <a:gd name="connsiteX15539" fmla="*/ 294798 w 3359086"/>
                <a:gd name="connsiteY15539" fmla="*/ 1456277 h 3355086"/>
                <a:gd name="connsiteX15540" fmla="*/ 300989 w 3359086"/>
                <a:gd name="connsiteY15540" fmla="*/ 1450086 h 3355086"/>
                <a:gd name="connsiteX15541" fmla="*/ 86391 w 3359086"/>
                <a:gd name="connsiteY15541" fmla="*/ 1448848 h 3355086"/>
                <a:gd name="connsiteX15542" fmla="*/ 92583 w 3359086"/>
                <a:gd name="connsiteY15542" fmla="*/ 1455039 h 3355086"/>
                <a:gd name="connsiteX15543" fmla="*/ 86391 w 3359086"/>
                <a:gd name="connsiteY15543" fmla="*/ 1461230 h 3355086"/>
                <a:gd name="connsiteX15544" fmla="*/ 80200 w 3359086"/>
                <a:gd name="connsiteY15544" fmla="*/ 1455039 h 3355086"/>
                <a:gd name="connsiteX15545" fmla="*/ 86391 w 3359086"/>
                <a:gd name="connsiteY15545" fmla="*/ 1448848 h 3355086"/>
                <a:gd name="connsiteX15546" fmla="*/ 3012090 w 3359086"/>
                <a:gd name="connsiteY15546" fmla="*/ 1446371 h 3355086"/>
                <a:gd name="connsiteX15547" fmla="*/ 3018282 w 3359086"/>
                <a:gd name="connsiteY15547" fmla="*/ 1452562 h 3355086"/>
                <a:gd name="connsiteX15548" fmla="*/ 3012090 w 3359086"/>
                <a:gd name="connsiteY15548" fmla="*/ 1458754 h 3355086"/>
                <a:gd name="connsiteX15549" fmla="*/ 3005899 w 3359086"/>
                <a:gd name="connsiteY15549" fmla="*/ 1452562 h 3355086"/>
                <a:gd name="connsiteX15550" fmla="*/ 3012090 w 3359086"/>
                <a:gd name="connsiteY15550" fmla="*/ 1446371 h 3355086"/>
                <a:gd name="connsiteX15551" fmla="*/ 3240309 w 3359086"/>
                <a:gd name="connsiteY15551" fmla="*/ 1445419 h 3355086"/>
                <a:gd name="connsiteX15552" fmla="*/ 3246500 w 3359086"/>
                <a:gd name="connsiteY15552" fmla="*/ 1451610 h 3355086"/>
                <a:gd name="connsiteX15553" fmla="*/ 3240309 w 3359086"/>
                <a:gd name="connsiteY15553" fmla="*/ 1457801 h 3355086"/>
                <a:gd name="connsiteX15554" fmla="*/ 3234118 w 3359086"/>
                <a:gd name="connsiteY15554" fmla="*/ 1451610 h 3355086"/>
                <a:gd name="connsiteX15555" fmla="*/ 3240309 w 3359086"/>
                <a:gd name="connsiteY15555" fmla="*/ 1445419 h 3355086"/>
                <a:gd name="connsiteX15556" fmla="*/ 343280 w 3359086"/>
                <a:gd name="connsiteY15556" fmla="*/ 1441990 h 3355086"/>
                <a:gd name="connsiteX15557" fmla="*/ 349471 w 3359086"/>
                <a:gd name="connsiteY15557" fmla="*/ 1448181 h 3355086"/>
                <a:gd name="connsiteX15558" fmla="*/ 343280 w 3359086"/>
                <a:gd name="connsiteY15558" fmla="*/ 1454372 h 3355086"/>
                <a:gd name="connsiteX15559" fmla="*/ 337089 w 3359086"/>
                <a:gd name="connsiteY15559" fmla="*/ 1448181 h 3355086"/>
                <a:gd name="connsiteX15560" fmla="*/ 343280 w 3359086"/>
                <a:gd name="connsiteY15560" fmla="*/ 1441990 h 3355086"/>
                <a:gd name="connsiteX15561" fmla="*/ 98488 w 3359086"/>
                <a:gd name="connsiteY15561" fmla="*/ 1441419 h 3355086"/>
                <a:gd name="connsiteX15562" fmla="*/ 104680 w 3359086"/>
                <a:gd name="connsiteY15562" fmla="*/ 1447610 h 3355086"/>
                <a:gd name="connsiteX15563" fmla="*/ 98488 w 3359086"/>
                <a:gd name="connsiteY15563" fmla="*/ 1453801 h 3355086"/>
                <a:gd name="connsiteX15564" fmla="*/ 92297 w 3359086"/>
                <a:gd name="connsiteY15564" fmla="*/ 1447610 h 3355086"/>
                <a:gd name="connsiteX15565" fmla="*/ 98488 w 3359086"/>
                <a:gd name="connsiteY15565" fmla="*/ 1441419 h 3355086"/>
                <a:gd name="connsiteX15566" fmla="*/ 2967513 w 3359086"/>
                <a:gd name="connsiteY15566" fmla="*/ 1438180 h 3355086"/>
                <a:gd name="connsiteX15567" fmla="*/ 2973705 w 3359086"/>
                <a:gd name="connsiteY15567" fmla="*/ 1444371 h 3355086"/>
                <a:gd name="connsiteX15568" fmla="*/ 2967513 w 3359086"/>
                <a:gd name="connsiteY15568" fmla="*/ 1450563 h 3355086"/>
                <a:gd name="connsiteX15569" fmla="*/ 2961322 w 3359086"/>
                <a:gd name="connsiteY15569" fmla="*/ 1444371 h 3355086"/>
                <a:gd name="connsiteX15570" fmla="*/ 2967513 w 3359086"/>
                <a:gd name="connsiteY15570" fmla="*/ 1438180 h 3355086"/>
                <a:gd name="connsiteX15571" fmla="*/ 3227355 w 3359086"/>
                <a:gd name="connsiteY15571" fmla="*/ 1437799 h 3355086"/>
                <a:gd name="connsiteX15572" fmla="*/ 3233547 w 3359086"/>
                <a:gd name="connsiteY15572" fmla="*/ 1443990 h 3355086"/>
                <a:gd name="connsiteX15573" fmla="*/ 3227355 w 3359086"/>
                <a:gd name="connsiteY15573" fmla="*/ 1450182 h 3355086"/>
                <a:gd name="connsiteX15574" fmla="*/ 3221164 w 3359086"/>
                <a:gd name="connsiteY15574" fmla="*/ 1443990 h 3355086"/>
                <a:gd name="connsiteX15575" fmla="*/ 3227355 w 3359086"/>
                <a:gd name="connsiteY15575" fmla="*/ 1437799 h 3355086"/>
                <a:gd name="connsiteX15576" fmla="*/ 390524 w 3359086"/>
                <a:gd name="connsiteY15576" fmla="*/ 1433608 h 3355086"/>
                <a:gd name="connsiteX15577" fmla="*/ 396716 w 3359086"/>
                <a:gd name="connsiteY15577" fmla="*/ 1439799 h 3355086"/>
                <a:gd name="connsiteX15578" fmla="*/ 390524 w 3359086"/>
                <a:gd name="connsiteY15578" fmla="*/ 1445991 h 3355086"/>
                <a:gd name="connsiteX15579" fmla="*/ 384333 w 3359086"/>
                <a:gd name="connsiteY15579" fmla="*/ 1439799 h 3355086"/>
                <a:gd name="connsiteX15580" fmla="*/ 390524 w 3359086"/>
                <a:gd name="connsiteY15580" fmla="*/ 1433608 h 3355086"/>
                <a:gd name="connsiteX15581" fmla="*/ 112680 w 3359086"/>
                <a:gd name="connsiteY15581" fmla="*/ 1433513 h 3355086"/>
                <a:gd name="connsiteX15582" fmla="*/ 118871 w 3359086"/>
                <a:gd name="connsiteY15582" fmla="*/ 1439704 h 3355086"/>
                <a:gd name="connsiteX15583" fmla="*/ 112680 w 3359086"/>
                <a:gd name="connsiteY15583" fmla="*/ 1445895 h 3355086"/>
                <a:gd name="connsiteX15584" fmla="*/ 106489 w 3359086"/>
                <a:gd name="connsiteY15584" fmla="*/ 1439704 h 3355086"/>
                <a:gd name="connsiteX15585" fmla="*/ 112680 w 3359086"/>
                <a:gd name="connsiteY15585" fmla="*/ 1433513 h 3355086"/>
                <a:gd name="connsiteX15586" fmla="*/ 52482 w 3359086"/>
                <a:gd name="connsiteY15586" fmla="*/ 1431512 h 3355086"/>
                <a:gd name="connsiteX15587" fmla="*/ 58673 w 3359086"/>
                <a:gd name="connsiteY15587" fmla="*/ 1437703 h 3355086"/>
                <a:gd name="connsiteX15588" fmla="*/ 52958 w 3359086"/>
                <a:gd name="connsiteY15588" fmla="*/ 1443419 h 3355086"/>
                <a:gd name="connsiteX15589" fmla="*/ 54197 w 3359086"/>
                <a:gd name="connsiteY15589" fmla="*/ 1444657 h 3355086"/>
                <a:gd name="connsiteX15590" fmla="*/ 48958 w 3359086"/>
                <a:gd name="connsiteY15590" fmla="*/ 1449896 h 3355086"/>
                <a:gd name="connsiteX15591" fmla="*/ 50292 w 3359086"/>
                <a:gd name="connsiteY15591" fmla="*/ 1451229 h 3355086"/>
                <a:gd name="connsiteX15592" fmla="*/ 45338 w 3359086"/>
                <a:gd name="connsiteY15592" fmla="*/ 1456183 h 3355086"/>
                <a:gd name="connsiteX15593" fmla="*/ 46672 w 3359086"/>
                <a:gd name="connsiteY15593" fmla="*/ 1457516 h 3355086"/>
                <a:gd name="connsiteX15594" fmla="*/ 42100 w 3359086"/>
                <a:gd name="connsiteY15594" fmla="*/ 1462088 h 3355086"/>
                <a:gd name="connsiteX15595" fmla="*/ 43434 w 3359086"/>
                <a:gd name="connsiteY15595" fmla="*/ 1463421 h 3355086"/>
                <a:gd name="connsiteX15596" fmla="*/ 39052 w 3359086"/>
                <a:gd name="connsiteY15596" fmla="*/ 1467803 h 3355086"/>
                <a:gd name="connsiteX15597" fmla="*/ 40195 w 3359086"/>
                <a:gd name="connsiteY15597" fmla="*/ 1468945 h 3355086"/>
                <a:gd name="connsiteX15598" fmla="*/ 35957 w 3359086"/>
                <a:gd name="connsiteY15598" fmla="*/ 1473184 h 3355086"/>
                <a:gd name="connsiteX15599" fmla="*/ 37052 w 3359086"/>
                <a:gd name="connsiteY15599" fmla="*/ 1474279 h 3355086"/>
                <a:gd name="connsiteX15600" fmla="*/ 32909 w 3359086"/>
                <a:gd name="connsiteY15600" fmla="*/ 1478422 h 3355086"/>
                <a:gd name="connsiteX15601" fmla="*/ 33719 w 3359086"/>
                <a:gd name="connsiteY15601" fmla="*/ 1479232 h 3355086"/>
                <a:gd name="connsiteX15602" fmla="*/ 29575 w 3359086"/>
                <a:gd name="connsiteY15602" fmla="*/ 1483376 h 3355086"/>
                <a:gd name="connsiteX15603" fmla="*/ 30099 w 3359086"/>
                <a:gd name="connsiteY15603" fmla="*/ 1483900 h 3355086"/>
                <a:gd name="connsiteX15604" fmla="*/ 25907 w 3359086"/>
                <a:gd name="connsiteY15604" fmla="*/ 1488091 h 3355086"/>
                <a:gd name="connsiteX15605" fmla="*/ 26194 w 3359086"/>
                <a:gd name="connsiteY15605" fmla="*/ 1488377 h 3355086"/>
                <a:gd name="connsiteX15606" fmla="*/ 20002 w 3359086"/>
                <a:gd name="connsiteY15606" fmla="*/ 1494568 h 3355086"/>
                <a:gd name="connsiteX15607" fmla="*/ 19907 w 3359086"/>
                <a:gd name="connsiteY15607" fmla="*/ 1494473 h 3355086"/>
                <a:gd name="connsiteX15608" fmla="*/ 15716 w 3359086"/>
                <a:gd name="connsiteY15608" fmla="*/ 1498663 h 3355086"/>
                <a:gd name="connsiteX15609" fmla="*/ 9525 w 3359086"/>
                <a:gd name="connsiteY15609" fmla="*/ 1492472 h 3355086"/>
                <a:gd name="connsiteX15610" fmla="*/ 15716 w 3359086"/>
                <a:gd name="connsiteY15610" fmla="*/ 1486281 h 3355086"/>
                <a:gd name="connsiteX15611" fmla="*/ 15811 w 3359086"/>
                <a:gd name="connsiteY15611" fmla="*/ 1486377 h 3355086"/>
                <a:gd name="connsiteX15612" fmla="*/ 18002 w 3359086"/>
                <a:gd name="connsiteY15612" fmla="*/ 1484186 h 3355086"/>
                <a:gd name="connsiteX15613" fmla="*/ 17716 w 3359086"/>
                <a:gd name="connsiteY15613" fmla="*/ 1483900 h 3355086"/>
                <a:gd name="connsiteX15614" fmla="*/ 21860 w 3359086"/>
                <a:gd name="connsiteY15614" fmla="*/ 1479756 h 3355086"/>
                <a:gd name="connsiteX15615" fmla="*/ 21336 w 3359086"/>
                <a:gd name="connsiteY15615" fmla="*/ 1479232 h 3355086"/>
                <a:gd name="connsiteX15616" fmla="*/ 25479 w 3359086"/>
                <a:gd name="connsiteY15616" fmla="*/ 1475089 h 3355086"/>
                <a:gd name="connsiteX15617" fmla="*/ 24669 w 3359086"/>
                <a:gd name="connsiteY15617" fmla="*/ 1474279 h 3355086"/>
                <a:gd name="connsiteX15618" fmla="*/ 28908 w 3359086"/>
                <a:gd name="connsiteY15618" fmla="*/ 1470040 h 3355086"/>
                <a:gd name="connsiteX15619" fmla="*/ 27813 w 3359086"/>
                <a:gd name="connsiteY15619" fmla="*/ 1468945 h 3355086"/>
                <a:gd name="connsiteX15620" fmla="*/ 32194 w 3359086"/>
                <a:gd name="connsiteY15620" fmla="*/ 1464564 h 3355086"/>
                <a:gd name="connsiteX15621" fmla="*/ 31051 w 3359086"/>
                <a:gd name="connsiteY15621" fmla="*/ 1463421 h 3355086"/>
                <a:gd name="connsiteX15622" fmla="*/ 35622 w 3359086"/>
                <a:gd name="connsiteY15622" fmla="*/ 1458850 h 3355086"/>
                <a:gd name="connsiteX15623" fmla="*/ 34289 w 3359086"/>
                <a:gd name="connsiteY15623" fmla="*/ 1457516 h 3355086"/>
                <a:gd name="connsiteX15624" fmla="*/ 39242 w 3359086"/>
                <a:gd name="connsiteY15624" fmla="*/ 1452563 h 3355086"/>
                <a:gd name="connsiteX15625" fmla="*/ 37909 w 3359086"/>
                <a:gd name="connsiteY15625" fmla="*/ 1451229 h 3355086"/>
                <a:gd name="connsiteX15626" fmla="*/ 43147 w 3359086"/>
                <a:gd name="connsiteY15626" fmla="*/ 1445991 h 3355086"/>
                <a:gd name="connsiteX15627" fmla="*/ 41814 w 3359086"/>
                <a:gd name="connsiteY15627" fmla="*/ 1444657 h 3355086"/>
                <a:gd name="connsiteX15628" fmla="*/ 47529 w 3359086"/>
                <a:gd name="connsiteY15628" fmla="*/ 1438942 h 3355086"/>
                <a:gd name="connsiteX15629" fmla="*/ 46291 w 3359086"/>
                <a:gd name="connsiteY15629" fmla="*/ 1437703 h 3355086"/>
                <a:gd name="connsiteX15630" fmla="*/ 52482 w 3359086"/>
                <a:gd name="connsiteY15630" fmla="*/ 1431512 h 3355086"/>
                <a:gd name="connsiteX15631" fmla="*/ 3212210 w 3359086"/>
                <a:gd name="connsiteY15631" fmla="*/ 1429798 h 3355086"/>
                <a:gd name="connsiteX15632" fmla="*/ 3218402 w 3359086"/>
                <a:gd name="connsiteY15632" fmla="*/ 1435989 h 3355086"/>
                <a:gd name="connsiteX15633" fmla="*/ 3212210 w 3359086"/>
                <a:gd name="connsiteY15633" fmla="*/ 1442180 h 3355086"/>
                <a:gd name="connsiteX15634" fmla="*/ 3206019 w 3359086"/>
                <a:gd name="connsiteY15634" fmla="*/ 1435989 h 3355086"/>
                <a:gd name="connsiteX15635" fmla="*/ 3212210 w 3359086"/>
                <a:gd name="connsiteY15635" fmla="*/ 1429798 h 3355086"/>
                <a:gd name="connsiteX15636" fmla="*/ 2917888 w 3359086"/>
                <a:gd name="connsiteY15636" fmla="*/ 1429608 h 3355086"/>
                <a:gd name="connsiteX15637" fmla="*/ 2924079 w 3359086"/>
                <a:gd name="connsiteY15637" fmla="*/ 1435799 h 3355086"/>
                <a:gd name="connsiteX15638" fmla="*/ 2917888 w 3359086"/>
                <a:gd name="connsiteY15638" fmla="*/ 1441991 h 3355086"/>
                <a:gd name="connsiteX15639" fmla="*/ 2911697 w 3359086"/>
                <a:gd name="connsiteY15639" fmla="*/ 1435799 h 3355086"/>
                <a:gd name="connsiteX15640" fmla="*/ 2917888 w 3359086"/>
                <a:gd name="connsiteY15640" fmla="*/ 1429608 h 3355086"/>
                <a:gd name="connsiteX15641" fmla="*/ 3336036 w 3359086"/>
                <a:gd name="connsiteY15641" fmla="*/ 1429512 h 3355086"/>
                <a:gd name="connsiteX15642" fmla="*/ 3340798 w 3359086"/>
                <a:gd name="connsiteY15642" fmla="*/ 1434275 h 3355086"/>
                <a:gd name="connsiteX15643" fmla="*/ 3336036 w 3359086"/>
                <a:gd name="connsiteY15643" fmla="*/ 1439037 h 3355086"/>
                <a:gd name="connsiteX15644" fmla="*/ 3331273 w 3359086"/>
                <a:gd name="connsiteY15644" fmla="*/ 1434275 h 3355086"/>
                <a:gd name="connsiteX15645" fmla="*/ 3336036 w 3359086"/>
                <a:gd name="connsiteY15645" fmla="*/ 1429512 h 3355086"/>
                <a:gd name="connsiteX15646" fmla="*/ 3277361 w 3359086"/>
                <a:gd name="connsiteY15646" fmla="*/ 1428179 h 3355086"/>
                <a:gd name="connsiteX15647" fmla="*/ 3283553 w 3359086"/>
                <a:gd name="connsiteY15647" fmla="*/ 1434370 h 3355086"/>
                <a:gd name="connsiteX15648" fmla="*/ 3282363 w 3359086"/>
                <a:gd name="connsiteY15648" fmla="*/ 1435561 h 3355086"/>
                <a:gd name="connsiteX15649" fmla="*/ 3288316 w 3359086"/>
                <a:gd name="connsiteY15649" fmla="*/ 1441513 h 3355086"/>
                <a:gd name="connsiteX15650" fmla="*/ 3287030 w 3359086"/>
                <a:gd name="connsiteY15650" fmla="*/ 1442800 h 3355086"/>
                <a:gd name="connsiteX15651" fmla="*/ 3292507 w 3359086"/>
                <a:gd name="connsiteY15651" fmla="*/ 1448276 h 3355086"/>
                <a:gd name="connsiteX15652" fmla="*/ 3291173 w 3359086"/>
                <a:gd name="connsiteY15652" fmla="*/ 1449610 h 3355086"/>
                <a:gd name="connsiteX15653" fmla="*/ 3296221 w 3359086"/>
                <a:gd name="connsiteY15653" fmla="*/ 1454658 h 3355086"/>
                <a:gd name="connsiteX15654" fmla="*/ 3294935 w 3359086"/>
                <a:gd name="connsiteY15654" fmla="*/ 1455945 h 3355086"/>
                <a:gd name="connsiteX15655" fmla="*/ 3299650 w 3359086"/>
                <a:gd name="connsiteY15655" fmla="*/ 1460659 h 3355086"/>
                <a:gd name="connsiteX15656" fmla="*/ 3298412 w 3359086"/>
                <a:gd name="connsiteY15656" fmla="*/ 1461898 h 3355086"/>
                <a:gd name="connsiteX15657" fmla="*/ 3302889 w 3359086"/>
                <a:gd name="connsiteY15657" fmla="*/ 1466374 h 3355086"/>
                <a:gd name="connsiteX15658" fmla="*/ 3301746 w 3359086"/>
                <a:gd name="connsiteY15658" fmla="*/ 1467518 h 3355086"/>
                <a:gd name="connsiteX15659" fmla="*/ 3306031 w 3359086"/>
                <a:gd name="connsiteY15659" fmla="*/ 1471803 h 3355086"/>
                <a:gd name="connsiteX15660" fmla="*/ 3305079 w 3359086"/>
                <a:gd name="connsiteY15660" fmla="*/ 1472755 h 3355086"/>
                <a:gd name="connsiteX15661" fmla="*/ 3309270 w 3359086"/>
                <a:gd name="connsiteY15661" fmla="*/ 1476946 h 3355086"/>
                <a:gd name="connsiteX15662" fmla="*/ 3308556 w 3359086"/>
                <a:gd name="connsiteY15662" fmla="*/ 1477661 h 3355086"/>
                <a:gd name="connsiteX15663" fmla="*/ 3312700 w 3359086"/>
                <a:gd name="connsiteY15663" fmla="*/ 1481804 h 3355086"/>
                <a:gd name="connsiteX15664" fmla="*/ 3312366 w 3359086"/>
                <a:gd name="connsiteY15664" fmla="*/ 1482138 h 3355086"/>
                <a:gd name="connsiteX15665" fmla="*/ 3316509 w 3359086"/>
                <a:gd name="connsiteY15665" fmla="*/ 1486281 h 3355086"/>
                <a:gd name="connsiteX15666" fmla="*/ 3316414 w 3359086"/>
                <a:gd name="connsiteY15666" fmla="*/ 1486376 h 3355086"/>
                <a:gd name="connsiteX15667" fmla="*/ 3318700 w 3359086"/>
                <a:gd name="connsiteY15667" fmla="*/ 1488662 h 3355086"/>
                <a:gd name="connsiteX15668" fmla="*/ 3318985 w 3359086"/>
                <a:gd name="connsiteY15668" fmla="*/ 1488377 h 3355086"/>
                <a:gd name="connsiteX15669" fmla="*/ 3323415 w 3359086"/>
                <a:gd name="connsiteY15669" fmla="*/ 1492806 h 3355086"/>
                <a:gd name="connsiteX15670" fmla="*/ 3324034 w 3359086"/>
                <a:gd name="connsiteY15670" fmla="*/ 1492187 h 3355086"/>
                <a:gd name="connsiteX15671" fmla="*/ 3328654 w 3359086"/>
                <a:gd name="connsiteY15671" fmla="*/ 1496806 h 3355086"/>
                <a:gd name="connsiteX15672" fmla="*/ 3329749 w 3359086"/>
                <a:gd name="connsiteY15672" fmla="*/ 1495711 h 3355086"/>
                <a:gd name="connsiteX15673" fmla="*/ 3334560 w 3359086"/>
                <a:gd name="connsiteY15673" fmla="*/ 1500521 h 3355086"/>
                <a:gd name="connsiteX15674" fmla="*/ 3336131 w 3359086"/>
                <a:gd name="connsiteY15674" fmla="*/ 1498950 h 3355086"/>
                <a:gd name="connsiteX15675" fmla="*/ 3341275 w 3359086"/>
                <a:gd name="connsiteY15675" fmla="*/ 1504094 h 3355086"/>
                <a:gd name="connsiteX15676" fmla="*/ 3343275 w 3359086"/>
                <a:gd name="connsiteY15676" fmla="*/ 1502093 h 3355086"/>
                <a:gd name="connsiteX15677" fmla="*/ 3349371 w 3359086"/>
                <a:gd name="connsiteY15677" fmla="*/ 1508189 h 3355086"/>
                <a:gd name="connsiteX15678" fmla="*/ 3343275 w 3359086"/>
                <a:gd name="connsiteY15678" fmla="*/ 1514285 h 3355086"/>
                <a:gd name="connsiteX15679" fmla="*/ 3338227 w 3359086"/>
                <a:gd name="connsiteY15679" fmla="*/ 1509237 h 3355086"/>
                <a:gd name="connsiteX15680" fmla="*/ 3336131 w 3359086"/>
                <a:gd name="connsiteY15680" fmla="*/ 1511333 h 3355086"/>
                <a:gd name="connsiteX15681" fmla="*/ 3331321 w 3359086"/>
                <a:gd name="connsiteY15681" fmla="*/ 1506522 h 3355086"/>
                <a:gd name="connsiteX15682" fmla="*/ 3329749 w 3359086"/>
                <a:gd name="connsiteY15682" fmla="*/ 1508094 h 3355086"/>
                <a:gd name="connsiteX15683" fmla="*/ 3325130 w 3359086"/>
                <a:gd name="connsiteY15683" fmla="*/ 1503474 h 3355086"/>
                <a:gd name="connsiteX15684" fmla="*/ 3324034 w 3359086"/>
                <a:gd name="connsiteY15684" fmla="*/ 1504570 h 3355086"/>
                <a:gd name="connsiteX15685" fmla="*/ 3319605 w 3359086"/>
                <a:gd name="connsiteY15685" fmla="*/ 1500140 h 3355086"/>
                <a:gd name="connsiteX15686" fmla="*/ 3318985 w 3359086"/>
                <a:gd name="connsiteY15686" fmla="*/ 1500760 h 3355086"/>
                <a:gd name="connsiteX15687" fmla="*/ 3314699 w 3359086"/>
                <a:gd name="connsiteY15687" fmla="*/ 1496474 h 3355086"/>
                <a:gd name="connsiteX15688" fmla="*/ 3314414 w 3359086"/>
                <a:gd name="connsiteY15688" fmla="*/ 1496759 h 3355086"/>
                <a:gd name="connsiteX15689" fmla="*/ 3308223 w 3359086"/>
                <a:gd name="connsiteY15689" fmla="*/ 1490567 h 3355086"/>
                <a:gd name="connsiteX15690" fmla="*/ 3308318 w 3359086"/>
                <a:gd name="connsiteY15690" fmla="*/ 1490472 h 3355086"/>
                <a:gd name="connsiteX15691" fmla="*/ 3304127 w 3359086"/>
                <a:gd name="connsiteY15691" fmla="*/ 1486281 h 3355086"/>
                <a:gd name="connsiteX15692" fmla="*/ 3304460 w 3359086"/>
                <a:gd name="connsiteY15692" fmla="*/ 1485948 h 3355086"/>
                <a:gd name="connsiteX15693" fmla="*/ 3300317 w 3359086"/>
                <a:gd name="connsiteY15693" fmla="*/ 1481804 h 3355086"/>
                <a:gd name="connsiteX15694" fmla="*/ 3301031 w 3359086"/>
                <a:gd name="connsiteY15694" fmla="*/ 1481090 h 3355086"/>
                <a:gd name="connsiteX15695" fmla="*/ 3296888 w 3359086"/>
                <a:gd name="connsiteY15695" fmla="*/ 1476946 h 3355086"/>
                <a:gd name="connsiteX15696" fmla="*/ 3297840 w 3359086"/>
                <a:gd name="connsiteY15696" fmla="*/ 1475995 h 3355086"/>
                <a:gd name="connsiteX15697" fmla="*/ 3293649 w 3359086"/>
                <a:gd name="connsiteY15697" fmla="*/ 1471803 h 3355086"/>
                <a:gd name="connsiteX15698" fmla="*/ 3294792 w 3359086"/>
                <a:gd name="connsiteY15698" fmla="*/ 1470661 h 3355086"/>
                <a:gd name="connsiteX15699" fmla="*/ 3290506 w 3359086"/>
                <a:gd name="connsiteY15699" fmla="*/ 1466374 h 3355086"/>
                <a:gd name="connsiteX15700" fmla="*/ 3291744 w 3359086"/>
                <a:gd name="connsiteY15700" fmla="*/ 1465137 h 3355086"/>
                <a:gd name="connsiteX15701" fmla="*/ 3287267 w 3359086"/>
                <a:gd name="connsiteY15701" fmla="*/ 1460659 h 3355086"/>
                <a:gd name="connsiteX15702" fmla="*/ 3288553 w 3359086"/>
                <a:gd name="connsiteY15702" fmla="*/ 1459373 h 3355086"/>
                <a:gd name="connsiteX15703" fmla="*/ 3283839 w 3359086"/>
                <a:gd name="connsiteY15703" fmla="*/ 1454658 h 3355086"/>
                <a:gd name="connsiteX15704" fmla="*/ 3285172 w 3359086"/>
                <a:gd name="connsiteY15704" fmla="*/ 1453325 h 3355086"/>
                <a:gd name="connsiteX15705" fmla="*/ 3280124 w 3359086"/>
                <a:gd name="connsiteY15705" fmla="*/ 1448276 h 3355086"/>
                <a:gd name="connsiteX15706" fmla="*/ 3281410 w 3359086"/>
                <a:gd name="connsiteY15706" fmla="*/ 1446991 h 3355086"/>
                <a:gd name="connsiteX15707" fmla="*/ 3275933 w 3359086"/>
                <a:gd name="connsiteY15707" fmla="*/ 1441513 h 3355086"/>
                <a:gd name="connsiteX15708" fmla="*/ 3277123 w 3359086"/>
                <a:gd name="connsiteY15708" fmla="*/ 1440324 h 3355086"/>
                <a:gd name="connsiteX15709" fmla="*/ 3271170 w 3359086"/>
                <a:gd name="connsiteY15709" fmla="*/ 1434370 h 3355086"/>
                <a:gd name="connsiteX15710" fmla="*/ 3277361 w 3359086"/>
                <a:gd name="connsiteY15710" fmla="*/ 1428179 h 3355086"/>
                <a:gd name="connsiteX15711" fmla="*/ 129063 w 3359086"/>
                <a:gd name="connsiteY15711" fmla="*/ 1425321 h 3355086"/>
                <a:gd name="connsiteX15712" fmla="*/ 135255 w 3359086"/>
                <a:gd name="connsiteY15712" fmla="*/ 1431512 h 3355086"/>
                <a:gd name="connsiteX15713" fmla="*/ 129063 w 3359086"/>
                <a:gd name="connsiteY15713" fmla="*/ 1437703 h 3355086"/>
                <a:gd name="connsiteX15714" fmla="*/ 122872 w 3359086"/>
                <a:gd name="connsiteY15714" fmla="*/ 1431512 h 3355086"/>
                <a:gd name="connsiteX15715" fmla="*/ 129063 w 3359086"/>
                <a:gd name="connsiteY15715" fmla="*/ 1425321 h 3355086"/>
                <a:gd name="connsiteX15716" fmla="*/ 443102 w 3359086"/>
                <a:gd name="connsiteY15716" fmla="*/ 1424845 h 3355086"/>
                <a:gd name="connsiteX15717" fmla="*/ 449293 w 3359086"/>
                <a:gd name="connsiteY15717" fmla="*/ 1431036 h 3355086"/>
                <a:gd name="connsiteX15718" fmla="*/ 443102 w 3359086"/>
                <a:gd name="connsiteY15718" fmla="*/ 1437228 h 3355086"/>
                <a:gd name="connsiteX15719" fmla="*/ 436911 w 3359086"/>
                <a:gd name="connsiteY15719" fmla="*/ 1431036 h 3355086"/>
                <a:gd name="connsiteX15720" fmla="*/ 443102 w 3359086"/>
                <a:gd name="connsiteY15720" fmla="*/ 1424845 h 3355086"/>
                <a:gd name="connsiteX15721" fmla="*/ 57721 w 3359086"/>
                <a:gd name="connsiteY15721" fmla="*/ 1424178 h 3355086"/>
                <a:gd name="connsiteX15722" fmla="*/ 63913 w 3359086"/>
                <a:gd name="connsiteY15722" fmla="*/ 1430369 h 3355086"/>
                <a:gd name="connsiteX15723" fmla="*/ 57721 w 3359086"/>
                <a:gd name="connsiteY15723" fmla="*/ 1436561 h 3355086"/>
                <a:gd name="connsiteX15724" fmla="*/ 51530 w 3359086"/>
                <a:gd name="connsiteY15724" fmla="*/ 1430369 h 3355086"/>
                <a:gd name="connsiteX15725" fmla="*/ 57721 w 3359086"/>
                <a:gd name="connsiteY15725" fmla="*/ 1424178 h 3355086"/>
                <a:gd name="connsiteX15726" fmla="*/ 3194684 w 3359086"/>
                <a:gd name="connsiteY15726" fmla="*/ 1421416 h 3355086"/>
                <a:gd name="connsiteX15727" fmla="*/ 3200875 w 3359086"/>
                <a:gd name="connsiteY15727" fmla="*/ 1427607 h 3355086"/>
                <a:gd name="connsiteX15728" fmla="*/ 3194684 w 3359086"/>
                <a:gd name="connsiteY15728" fmla="*/ 1433799 h 3355086"/>
                <a:gd name="connsiteX15729" fmla="*/ 3188493 w 3359086"/>
                <a:gd name="connsiteY15729" fmla="*/ 1427607 h 3355086"/>
                <a:gd name="connsiteX15730" fmla="*/ 3194684 w 3359086"/>
                <a:gd name="connsiteY15730" fmla="*/ 1421416 h 3355086"/>
                <a:gd name="connsiteX15731" fmla="*/ 3271741 w 3359086"/>
                <a:gd name="connsiteY15731" fmla="*/ 1420749 h 3355086"/>
                <a:gd name="connsiteX15732" fmla="*/ 3277933 w 3359086"/>
                <a:gd name="connsiteY15732" fmla="*/ 1426940 h 3355086"/>
                <a:gd name="connsiteX15733" fmla="*/ 3271741 w 3359086"/>
                <a:gd name="connsiteY15733" fmla="*/ 1433132 h 3355086"/>
                <a:gd name="connsiteX15734" fmla="*/ 3265550 w 3359086"/>
                <a:gd name="connsiteY15734" fmla="*/ 1426940 h 3355086"/>
                <a:gd name="connsiteX15735" fmla="*/ 3271741 w 3359086"/>
                <a:gd name="connsiteY15735" fmla="*/ 1420749 h 3355086"/>
                <a:gd name="connsiteX15736" fmla="*/ 2862738 w 3359086"/>
                <a:gd name="connsiteY15736" fmla="*/ 1420749 h 3355086"/>
                <a:gd name="connsiteX15737" fmla="*/ 2868930 w 3359086"/>
                <a:gd name="connsiteY15737" fmla="*/ 1426940 h 3355086"/>
                <a:gd name="connsiteX15738" fmla="*/ 2862738 w 3359086"/>
                <a:gd name="connsiteY15738" fmla="*/ 1433132 h 3355086"/>
                <a:gd name="connsiteX15739" fmla="*/ 2856547 w 3359086"/>
                <a:gd name="connsiteY15739" fmla="*/ 1426940 h 3355086"/>
                <a:gd name="connsiteX15740" fmla="*/ 2862738 w 3359086"/>
                <a:gd name="connsiteY15740" fmla="*/ 1420749 h 3355086"/>
                <a:gd name="connsiteX15741" fmla="*/ 148018 w 3359086"/>
                <a:gd name="connsiteY15741" fmla="*/ 1416749 h 3355086"/>
                <a:gd name="connsiteX15742" fmla="*/ 154210 w 3359086"/>
                <a:gd name="connsiteY15742" fmla="*/ 1422940 h 3355086"/>
                <a:gd name="connsiteX15743" fmla="*/ 148018 w 3359086"/>
                <a:gd name="connsiteY15743" fmla="*/ 1429132 h 3355086"/>
                <a:gd name="connsiteX15744" fmla="*/ 141827 w 3359086"/>
                <a:gd name="connsiteY15744" fmla="*/ 1422940 h 3355086"/>
                <a:gd name="connsiteX15745" fmla="*/ 148018 w 3359086"/>
                <a:gd name="connsiteY15745" fmla="*/ 1416749 h 3355086"/>
                <a:gd name="connsiteX15746" fmla="*/ 63817 w 3359086"/>
                <a:gd name="connsiteY15746" fmla="*/ 1416558 h 3355086"/>
                <a:gd name="connsiteX15747" fmla="*/ 70008 w 3359086"/>
                <a:gd name="connsiteY15747" fmla="*/ 1422749 h 3355086"/>
                <a:gd name="connsiteX15748" fmla="*/ 63817 w 3359086"/>
                <a:gd name="connsiteY15748" fmla="*/ 1428940 h 3355086"/>
                <a:gd name="connsiteX15749" fmla="*/ 57626 w 3359086"/>
                <a:gd name="connsiteY15749" fmla="*/ 1422749 h 3355086"/>
                <a:gd name="connsiteX15750" fmla="*/ 63817 w 3359086"/>
                <a:gd name="connsiteY15750" fmla="*/ 1416558 h 3355086"/>
                <a:gd name="connsiteX15751" fmla="*/ 501300 w 3359086"/>
                <a:gd name="connsiteY15751" fmla="*/ 1415796 h 3355086"/>
                <a:gd name="connsiteX15752" fmla="*/ 507491 w 3359086"/>
                <a:gd name="connsiteY15752" fmla="*/ 1421987 h 3355086"/>
                <a:gd name="connsiteX15753" fmla="*/ 501300 w 3359086"/>
                <a:gd name="connsiteY15753" fmla="*/ 1428178 h 3355086"/>
                <a:gd name="connsiteX15754" fmla="*/ 495109 w 3359086"/>
                <a:gd name="connsiteY15754" fmla="*/ 1421987 h 3355086"/>
                <a:gd name="connsiteX15755" fmla="*/ 501300 w 3359086"/>
                <a:gd name="connsiteY15755" fmla="*/ 1415796 h 3355086"/>
                <a:gd name="connsiteX15756" fmla="*/ 3265169 w 3359086"/>
                <a:gd name="connsiteY15756" fmla="*/ 1412844 h 3355086"/>
                <a:gd name="connsiteX15757" fmla="*/ 3271361 w 3359086"/>
                <a:gd name="connsiteY15757" fmla="*/ 1419035 h 3355086"/>
                <a:gd name="connsiteX15758" fmla="*/ 3265169 w 3359086"/>
                <a:gd name="connsiteY15758" fmla="*/ 1425226 h 3355086"/>
                <a:gd name="connsiteX15759" fmla="*/ 3258978 w 3359086"/>
                <a:gd name="connsiteY15759" fmla="*/ 1419035 h 3355086"/>
                <a:gd name="connsiteX15760" fmla="*/ 3265169 w 3359086"/>
                <a:gd name="connsiteY15760" fmla="*/ 1412844 h 3355086"/>
                <a:gd name="connsiteX15761" fmla="*/ 3174396 w 3359086"/>
                <a:gd name="connsiteY15761" fmla="*/ 1412653 h 3355086"/>
                <a:gd name="connsiteX15762" fmla="*/ 3180588 w 3359086"/>
                <a:gd name="connsiteY15762" fmla="*/ 1418844 h 3355086"/>
                <a:gd name="connsiteX15763" fmla="*/ 3174396 w 3359086"/>
                <a:gd name="connsiteY15763" fmla="*/ 1425036 h 3355086"/>
                <a:gd name="connsiteX15764" fmla="*/ 3168205 w 3359086"/>
                <a:gd name="connsiteY15764" fmla="*/ 1418844 h 3355086"/>
                <a:gd name="connsiteX15765" fmla="*/ 3174396 w 3359086"/>
                <a:gd name="connsiteY15765" fmla="*/ 1412653 h 3355086"/>
                <a:gd name="connsiteX15766" fmla="*/ 2801778 w 3359086"/>
                <a:gd name="connsiteY15766" fmla="*/ 1411510 h 3355086"/>
                <a:gd name="connsiteX15767" fmla="*/ 2807969 w 3359086"/>
                <a:gd name="connsiteY15767" fmla="*/ 1417701 h 3355086"/>
                <a:gd name="connsiteX15768" fmla="*/ 2801778 w 3359086"/>
                <a:gd name="connsiteY15768" fmla="*/ 1423893 h 3355086"/>
                <a:gd name="connsiteX15769" fmla="*/ 2795587 w 3359086"/>
                <a:gd name="connsiteY15769" fmla="*/ 1417701 h 3355086"/>
                <a:gd name="connsiteX15770" fmla="*/ 2801778 w 3359086"/>
                <a:gd name="connsiteY15770" fmla="*/ 1411510 h 3355086"/>
                <a:gd name="connsiteX15771" fmla="*/ 70961 w 3359086"/>
                <a:gd name="connsiteY15771" fmla="*/ 1408462 h 3355086"/>
                <a:gd name="connsiteX15772" fmla="*/ 77153 w 3359086"/>
                <a:gd name="connsiteY15772" fmla="*/ 1414653 h 3355086"/>
                <a:gd name="connsiteX15773" fmla="*/ 70961 w 3359086"/>
                <a:gd name="connsiteY15773" fmla="*/ 1420845 h 3355086"/>
                <a:gd name="connsiteX15774" fmla="*/ 64770 w 3359086"/>
                <a:gd name="connsiteY15774" fmla="*/ 1414653 h 3355086"/>
                <a:gd name="connsiteX15775" fmla="*/ 70961 w 3359086"/>
                <a:gd name="connsiteY15775" fmla="*/ 1408462 h 3355086"/>
                <a:gd name="connsiteX15776" fmla="*/ 169735 w 3359086"/>
                <a:gd name="connsiteY15776" fmla="*/ 1407795 h 3355086"/>
                <a:gd name="connsiteX15777" fmla="*/ 175926 w 3359086"/>
                <a:gd name="connsiteY15777" fmla="*/ 1413986 h 3355086"/>
                <a:gd name="connsiteX15778" fmla="*/ 169735 w 3359086"/>
                <a:gd name="connsiteY15778" fmla="*/ 1420178 h 3355086"/>
                <a:gd name="connsiteX15779" fmla="*/ 163544 w 3359086"/>
                <a:gd name="connsiteY15779" fmla="*/ 1413986 h 3355086"/>
                <a:gd name="connsiteX15780" fmla="*/ 169735 w 3359086"/>
                <a:gd name="connsiteY15780" fmla="*/ 1407795 h 3355086"/>
                <a:gd name="connsiteX15781" fmla="*/ 565689 w 3359086"/>
                <a:gd name="connsiteY15781" fmla="*/ 1406462 h 3355086"/>
                <a:gd name="connsiteX15782" fmla="*/ 571880 w 3359086"/>
                <a:gd name="connsiteY15782" fmla="*/ 1412653 h 3355086"/>
                <a:gd name="connsiteX15783" fmla="*/ 565689 w 3359086"/>
                <a:gd name="connsiteY15783" fmla="*/ 1418845 h 3355086"/>
                <a:gd name="connsiteX15784" fmla="*/ 559498 w 3359086"/>
                <a:gd name="connsiteY15784" fmla="*/ 1412653 h 3355086"/>
                <a:gd name="connsiteX15785" fmla="*/ 565689 w 3359086"/>
                <a:gd name="connsiteY15785" fmla="*/ 1406462 h 3355086"/>
                <a:gd name="connsiteX15786" fmla="*/ 3257549 w 3359086"/>
                <a:gd name="connsiteY15786" fmla="*/ 1404557 h 3355086"/>
                <a:gd name="connsiteX15787" fmla="*/ 3263740 w 3359086"/>
                <a:gd name="connsiteY15787" fmla="*/ 1410748 h 3355086"/>
                <a:gd name="connsiteX15788" fmla="*/ 3257549 w 3359086"/>
                <a:gd name="connsiteY15788" fmla="*/ 1416940 h 3355086"/>
                <a:gd name="connsiteX15789" fmla="*/ 3251358 w 3359086"/>
                <a:gd name="connsiteY15789" fmla="*/ 1410748 h 3355086"/>
                <a:gd name="connsiteX15790" fmla="*/ 3257549 w 3359086"/>
                <a:gd name="connsiteY15790" fmla="*/ 1404557 h 3355086"/>
                <a:gd name="connsiteX15791" fmla="*/ 3151250 w 3359086"/>
                <a:gd name="connsiteY15791" fmla="*/ 1403509 h 3355086"/>
                <a:gd name="connsiteX15792" fmla="*/ 3157441 w 3359086"/>
                <a:gd name="connsiteY15792" fmla="*/ 1409700 h 3355086"/>
                <a:gd name="connsiteX15793" fmla="*/ 3151250 w 3359086"/>
                <a:gd name="connsiteY15793" fmla="*/ 1415892 h 3355086"/>
                <a:gd name="connsiteX15794" fmla="*/ 3145059 w 3359086"/>
                <a:gd name="connsiteY15794" fmla="*/ 1409700 h 3355086"/>
                <a:gd name="connsiteX15795" fmla="*/ 3151250 w 3359086"/>
                <a:gd name="connsiteY15795" fmla="*/ 1403509 h 3355086"/>
                <a:gd name="connsiteX15796" fmla="*/ 2734436 w 3359086"/>
                <a:gd name="connsiteY15796" fmla="*/ 1401985 h 3355086"/>
                <a:gd name="connsiteX15797" fmla="*/ 2740628 w 3359086"/>
                <a:gd name="connsiteY15797" fmla="*/ 1408176 h 3355086"/>
                <a:gd name="connsiteX15798" fmla="*/ 2734436 w 3359086"/>
                <a:gd name="connsiteY15798" fmla="*/ 1414368 h 3355086"/>
                <a:gd name="connsiteX15799" fmla="*/ 2728245 w 3359086"/>
                <a:gd name="connsiteY15799" fmla="*/ 1408176 h 3355086"/>
                <a:gd name="connsiteX15800" fmla="*/ 2734436 w 3359086"/>
                <a:gd name="connsiteY15800" fmla="*/ 1401985 h 3355086"/>
                <a:gd name="connsiteX15801" fmla="*/ 79342 w 3359086"/>
                <a:gd name="connsiteY15801" fmla="*/ 1399985 h 3355086"/>
                <a:gd name="connsiteX15802" fmla="*/ 85533 w 3359086"/>
                <a:gd name="connsiteY15802" fmla="*/ 1406176 h 3355086"/>
                <a:gd name="connsiteX15803" fmla="*/ 79342 w 3359086"/>
                <a:gd name="connsiteY15803" fmla="*/ 1412368 h 3355086"/>
                <a:gd name="connsiteX15804" fmla="*/ 73151 w 3359086"/>
                <a:gd name="connsiteY15804" fmla="*/ 1406176 h 3355086"/>
                <a:gd name="connsiteX15805" fmla="*/ 79342 w 3359086"/>
                <a:gd name="connsiteY15805" fmla="*/ 1399985 h 3355086"/>
                <a:gd name="connsiteX15806" fmla="*/ 3335749 w 3359086"/>
                <a:gd name="connsiteY15806" fmla="*/ 1399509 h 3355086"/>
                <a:gd name="connsiteX15807" fmla="*/ 3336321 w 3359086"/>
                <a:gd name="connsiteY15807" fmla="*/ 1400080 h 3355086"/>
                <a:gd name="connsiteX15808" fmla="*/ 3335749 w 3359086"/>
                <a:gd name="connsiteY15808" fmla="*/ 1400652 h 3355086"/>
                <a:gd name="connsiteX15809" fmla="*/ 3335178 w 3359086"/>
                <a:gd name="connsiteY15809" fmla="*/ 1400080 h 3355086"/>
                <a:gd name="connsiteX15810" fmla="*/ 3335749 w 3359086"/>
                <a:gd name="connsiteY15810" fmla="*/ 1399509 h 3355086"/>
                <a:gd name="connsiteX15811" fmla="*/ 194595 w 3359086"/>
                <a:gd name="connsiteY15811" fmla="*/ 1398461 h 3355086"/>
                <a:gd name="connsiteX15812" fmla="*/ 200786 w 3359086"/>
                <a:gd name="connsiteY15812" fmla="*/ 1404652 h 3355086"/>
                <a:gd name="connsiteX15813" fmla="*/ 194595 w 3359086"/>
                <a:gd name="connsiteY15813" fmla="*/ 1410844 h 3355086"/>
                <a:gd name="connsiteX15814" fmla="*/ 188404 w 3359086"/>
                <a:gd name="connsiteY15814" fmla="*/ 1404652 h 3355086"/>
                <a:gd name="connsiteX15815" fmla="*/ 194595 w 3359086"/>
                <a:gd name="connsiteY15815" fmla="*/ 1398461 h 3355086"/>
                <a:gd name="connsiteX15816" fmla="*/ 636460 w 3359086"/>
                <a:gd name="connsiteY15816" fmla="*/ 1396841 h 3355086"/>
                <a:gd name="connsiteX15817" fmla="*/ 642652 w 3359086"/>
                <a:gd name="connsiteY15817" fmla="*/ 1403032 h 3355086"/>
                <a:gd name="connsiteX15818" fmla="*/ 636460 w 3359086"/>
                <a:gd name="connsiteY15818" fmla="*/ 1409224 h 3355086"/>
                <a:gd name="connsiteX15819" fmla="*/ 630269 w 3359086"/>
                <a:gd name="connsiteY15819" fmla="*/ 1403032 h 3355086"/>
                <a:gd name="connsiteX15820" fmla="*/ 636460 w 3359086"/>
                <a:gd name="connsiteY15820" fmla="*/ 1396841 h 3355086"/>
                <a:gd name="connsiteX15821" fmla="*/ 3248405 w 3359086"/>
                <a:gd name="connsiteY15821" fmla="*/ 1395889 h 3355086"/>
                <a:gd name="connsiteX15822" fmla="*/ 3254596 w 3359086"/>
                <a:gd name="connsiteY15822" fmla="*/ 1402080 h 3355086"/>
                <a:gd name="connsiteX15823" fmla="*/ 3248405 w 3359086"/>
                <a:gd name="connsiteY15823" fmla="*/ 1408272 h 3355086"/>
                <a:gd name="connsiteX15824" fmla="*/ 3242214 w 3359086"/>
                <a:gd name="connsiteY15824" fmla="*/ 1402080 h 3355086"/>
                <a:gd name="connsiteX15825" fmla="*/ 3248405 w 3359086"/>
                <a:gd name="connsiteY15825" fmla="*/ 1395889 h 3355086"/>
                <a:gd name="connsiteX15826" fmla="*/ 3124866 w 3359086"/>
                <a:gd name="connsiteY15826" fmla="*/ 1393984 h 3355086"/>
                <a:gd name="connsiteX15827" fmla="*/ 3131057 w 3359086"/>
                <a:gd name="connsiteY15827" fmla="*/ 1400175 h 3355086"/>
                <a:gd name="connsiteX15828" fmla="*/ 3124866 w 3359086"/>
                <a:gd name="connsiteY15828" fmla="*/ 1406367 h 3355086"/>
                <a:gd name="connsiteX15829" fmla="*/ 3118675 w 3359086"/>
                <a:gd name="connsiteY15829" fmla="*/ 1400175 h 3355086"/>
                <a:gd name="connsiteX15830" fmla="*/ 3124866 w 3359086"/>
                <a:gd name="connsiteY15830" fmla="*/ 1393984 h 3355086"/>
                <a:gd name="connsiteX15831" fmla="*/ 2660427 w 3359086"/>
                <a:gd name="connsiteY15831" fmla="*/ 1392174 h 3355086"/>
                <a:gd name="connsiteX15832" fmla="*/ 2666618 w 3359086"/>
                <a:gd name="connsiteY15832" fmla="*/ 1398365 h 3355086"/>
                <a:gd name="connsiteX15833" fmla="*/ 2660427 w 3359086"/>
                <a:gd name="connsiteY15833" fmla="*/ 1404556 h 3355086"/>
                <a:gd name="connsiteX15834" fmla="*/ 2654236 w 3359086"/>
                <a:gd name="connsiteY15834" fmla="*/ 1398365 h 3355086"/>
                <a:gd name="connsiteX15835" fmla="*/ 2660427 w 3359086"/>
                <a:gd name="connsiteY15835" fmla="*/ 1392174 h 3355086"/>
                <a:gd name="connsiteX15836" fmla="*/ 53244 w 3359086"/>
                <a:gd name="connsiteY15836" fmla="*/ 1391984 h 3355086"/>
                <a:gd name="connsiteX15837" fmla="*/ 59435 w 3359086"/>
                <a:gd name="connsiteY15837" fmla="*/ 1398175 h 3355086"/>
                <a:gd name="connsiteX15838" fmla="*/ 53482 w 3359086"/>
                <a:gd name="connsiteY15838" fmla="*/ 1404128 h 3355086"/>
                <a:gd name="connsiteX15839" fmla="*/ 55339 w 3359086"/>
                <a:gd name="connsiteY15839" fmla="*/ 1405985 h 3355086"/>
                <a:gd name="connsiteX15840" fmla="*/ 49767 w 3359086"/>
                <a:gd name="connsiteY15840" fmla="*/ 1411558 h 3355086"/>
                <a:gd name="connsiteX15841" fmla="*/ 51529 w 3359086"/>
                <a:gd name="connsiteY15841" fmla="*/ 1413320 h 3355086"/>
                <a:gd name="connsiteX15842" fmla="*/ 46291 w 3359086"/>
                <a:gd name="connsiteY15842" fmla="*/ 1418559 h 3355086"/>
                <a:gd name="connsiteX15843" fmla="*/ 48006 w 3359086"/>
                <a:gd name="connsiteY15843" fmla="*/ 1420273 h 3355086"/>
                <a:gd name="connsiteX15844" fmla="*/ 42958 w 3359086"/>
                <a:gd name="connsiteY15844" fmla="*/ 1425321 h 3355086"/>
                <a:gd name="connsiteX15845" fmla="*/ 44482 w 3359086"/>
                <a:gd name="connsiteY15845" fmla="*/ 1426845 h 3355086"/>
                <a:gd name="connsiteX15846" fmla="*/ 39576 w 3359086"/>
                <a:gd name="connsiteY15846" fmla="*/ 1431751 h 3355086"/>
                <a:gd name="connsiteX15847" fmla="*/ 40862 w 3359086"/>
                <a:gd name="connsiteY15847" fmla="*/ 1433036 h 3355086"/>
                <a:gd name="connsiteX15848" fmla="*/ 36099 w 3359086"/>
                <a:gd name="connsiteY15848" fmla="*/ 1437799 h 3355086"/>
                <a:gd name="connsiteX15849" fmla="*/ 37147 w 3359086"/>
                <a:gd name="connsiteY15849" fmla="*/ 1438846 h 3355086"/>
                <a:gd name="connsiteX15850" fmla="*/ 32384 w 3359086"/>
                <a:gd name="connsiteY15850" fmla="*/ 1443609 h 3355086"/>
                <a:gd name="connsiteX15851" fmla="*/ 33147 w 3359086"/>
                <a:gd name="connsiteY15851" fmla="*/ 1444371 h 3355086"/>
                <a:gd name="connsiteX15852" fmla="*/ 28337 w 3359086"/>
                <a:gd name="connsiteY15852" fmla="*/ 1449181 h 3355086"/>
                <a:gd name="connsiteX15853" fmla="*/ 28766 w 3359086"/>
                <a:gd name="connsiteY15853" fmla="*/ 1449610 h 3355086"/>
                <a:gd name="connsiteX15854" fmla="*/ 22574 w 3359086"/>
                <a:gd name="connsiteY15854" fmla="*/ 1455802 h 3355086"/>
                <a:gd name="connsiteX15855" fmla="*/ 16383 w 3359086"/>
                <a:gd name="connsiteY15855" fmla="*/ 1449610 h 3355086"/>
                <a:gd name="connsiteX15856" fmla="*/ 21193 w 3359086"/>
                <a:gd name="connsiteY15856" fmla="*/ 1444800 h 3355086"/>
                <a:gd name="connsiteX15857" fmla="*/ 20764 w 3359086"/>
                <a:gd name="connsiteY15857" fmla="*/ 1444371 h 3355086"/>
                <a:gd name="connsiteX15858" fmla="*/ 25526 w 3359086"/>
                <a:gd name="connsiteY15858" fmla="*/ 1439609 h 3355086"/>
                <a:gd name="connsiteX15859" fmla="*/ 24764 w 3359086"/>
                <a:gd name="connsiteY15859" fmla="*/ 1438846 h 3355086"/>
                <a:gd name="connsiteX15860" fmla="*/ 29526 w 3359086"/>
                <a:gd name="connsiteY15860" fmla="*/ 1434084 h 3355086"/>
                <a:gd name="connsiteX15861" fmla="*/ 28479 w 3359086"/>
                <a:gd name="connsiteY15861" fmla="*/ 1433036 h 3355086"/>
                <a:gd name="connsiteX15862" fmla="*/ 33384 w 3359086"/>
                <a:gd name="connsiteY15862" fmla="*/ 1428131 h 3355086"/>
                <a:gd name="connsiteX15863" fmla="*/ 32099 w 3359086"/>
                <a:gd name="connsiteY15863" fmla="*/ 1426845 h 3355086"/>
                <a:gd name="connsiteX15864" fmla="*/ 37147 w 3359086"/>
                <a:gd name="connsiteY15864" fmla="*/ 1421797 h 3355086"/>
                <a:gd name="connsiteX15865" fmla="*/ 35623 w 3359086"/>
                <a:gd name="connsiteY15865" fmla="*/ 1420273 h 3355086"/>
                <a:gd name="connsiteX15866" fmla="*/ 40861 w 3359086"/>
                <a:gd name="connsiteY15866" fmla="*/ 1415035 h 3355086"/>
                <a:gd name="connsiteX15867" fmla="*/ 39147 w 3359086"/>
                <a:gd name="connsiteY15867" fmla="*/ 1413320 h 3355086"/>
                <a:gd name="connsiteX15868" fmla="*/ 44719 w 3359086"/>
                <a:gd name="connsiteY15868" fmla="*/ 1407748 h 3355086"/>
                <a:gd name="connsiteX15869" fmla="*/ 42957 w 3359086"/>
                <a:gd name="connsiteY15869" fmla="*/ 1405985 h 3355086"/>
                <a:gd name="connsiteX15870" fmla="*/ 48910 w 3359086"/>
                <a:gd name="connsiteY15870" fmla="*/ 1400032 h 3355086"/>
                <a:gd name="connsiteX15871" fmla="*/ 47053 w 3359086"/>
                <a:gd name="connsiteY15871" fmla="*/ 1398175 h 3355086"/>
                <a:gd name="connsiteX15872" fmla="*/ 53244 w 3359086"/>
                <a:gd name="connsiteY15872" fmla="*/ 1391984 h 3355086"/>
                <a:gd name="connsiteX15873" fmla="*/ 89249 w 3359086"/>
                <a:gd name="connsiteY15873" fmla="*/ 1391126 h 3355086"/>
                <a:gd name="connsiteX15874" fmla="*/ 95441 w 3359086"/>
                <a:gd name="connsiteY15874" fmla="*/ 1397317 h 3355086"/>
                <a:gd name="connsiteX15875" fmla="*/ 89249 w 3359086"/>
                <a:gd name="connsiteY15875" fmla="*/ 1403509 h 3355086"/>
                <a:gd name="connsiteX15876" fmla="*/ 83058 w 3359086"/>
                <a:gd name="connsiteY15876" fmla="*/ 1397317 h 3355086"/>
                <a:gd name="connsiteX15877" fmla="*/ 89249 w 3359086"/>
                <a:gd name="connsiteY15877" fmla="*/ 1391126 h 3355086"/>
                <a:gd name="connsiteX15878" fmla="*/ 3327463 w 3359086"/>
                <a:gd name="connsiteY15878" fmla="*/ 1389126 h 3355086"/>
                <a:gd name="connsiteX15879" fmla="*/ 3333654 w 3359086"/>
                <a:gd name="connsiteY15879" fmla="*/ 1395317 h 3355086"/>
                <a:gd name="connsiteX15880" fmla="*/ 3327463 w 3359086"/>
                <a:gd name="connsiteY15880" fmla="*/ 1401508 h 3355086"/>
                <a:gd name="connsiteX15881" fmla="*/ 3321272 w 3359086"/>
                <a:gd name="connsiteY15881" fmla="*/ 1395317 h 3355086"/>
                <a:gd name="connsiteX15882" fmla="*/ 3327463 w 3359086"/>
                <a:gd name="connsiteY15882" fmla="*/ 1389126 h 3355086"/>
                <a:gd name="connsiteX15883" fmla="*/ 222884 w 3359086"/>
                <a:gd name="connsiteY15883" fmla="*/ 1388745 h 3355086"/>
                <a:gd name="connsiteX15884" fmla="*/ 229075 w 3359086"/>
                <a:gd name="connsiteY15884" fmla="*/ 1394936 h 3355086"/>
                <a:gd name="connsiteX15885" fmla="*/ 222884 w 3359086"/>
                <a:gd name="connsiteY15885" fmla="*/ 1401128 h 3355086"/>
                <a:gd name="connsiteX15886" fmla="*/ 216693 w 3359086"/>
                <a:gd name="connsiteY15886" fmla="*/ 1394936 h 3355086"/>
                <a:gd name="connsiteX15887" fmla="*/ 222884 w 3359086"/>
                <a:gd name="connsiteY15887" fmla="*/ 1388745 h 3355086"/>
                <a:gd name="connsiteX15888" fmla="*/ 3276790 w 3359086"/>
                <a:gd name="connsiteY15888" fmla="*/ 1388269 h 3355086"/>
                <a:gd name="connsiteX15889" fmla="*/ 3282982 w 3359086"/>
                <a:gd name="connsiteY15889" fmla="*/ 1394460 h 3355086"/>
                <a:gd name="connsiteX15890" fmla="*/ 3281219 w 3359086"/>
                <a:gd name="connsiteY15890" fmla="*/ 1396223 h 3355086"/>
                <a:gd name="connsiteX15891" fmla="*/ 3287363 w 3359086"/>
                <a:gd name="connsiteY15891" fmla="*/ 1402366 h 3355086"/>
                <a:gd name="connsiteX15892" fmla="*/ 3285552 w 3359086"/>
                <a:gd name="connsiteY15892" fmla="*/ 1404177 h 3355086"/>
                <a:gd name="connsiteX15893" fmla="*/ 3291268 w 3359086"/>
                <a:gd name="connsiteY15893" fmla="*/ 1409891 h 3355086"/>
                <a:gd name="connsiteX15894" fmla="*/ 3289506 w 3359086"/>
                <a:gd name="connsiteY15894" fmla="*/ 1411653 h 3355086"/>
                <a:gd name="connsiteX15895" fmla="*/ 3294888 w 3359086"/>
                <a:gd name="connsiteY15895" fmla="*/ 1417034 h 3355086"/>
                <a:gd name="connsiteX15896" fmla="*/ 3293268 w 3359086"/>
                <a:gd name="connsiteY15896" fmla="*/ 1418654 h 3355086"/>
                <a:gd name="connsiteX15897" fmla="*/ 3298412 w 3359086"/>
                <a:gd name="connsiteY15897" fmla="*/ 1423797 h 3355086"/>
                <a:gd name="connsiteX15898" fmla="*/ 3297030 w 3359086"/>
                <a:gd name="connsiteY15898" fmla="*/ 1425179 h 3355086"/>
                <a:gd name="connsiteX15899" fmla="*/ 3302032 w 3359086"/>
                <a:gd name="connsiteY15899" fmla="*/ 1430179 h 3355086"/>
                <a:gd name="connsiteX15900" fmla="*/ 3300841 w 3359086"/>
                <a:gd name="connsiteY15900" fmla="*/ 1431370 h 3355086"/>
                <a:gd name="connsiteX15901" fmla="*/ 3305650 w 3359086"/>
                <a:gd name="connsiteY15901" fmla="*/ 1436179 h 3355086"/>
                <a:gd name="connsiteX15902" fmla="*/ 3304745 w 3359086"/>
                <a:gd name="connsiteY15902" fmla="*/ 1437084 h 3355086"/>
                <a:gd name="connsiteX15903" fmla="*/ 3309556 w 3359086"/>
                <a:gd name="connsiteY15903" fmla="*/ 1441895 h 3355086"/>
                <a:gd name="connsiteX15904" fmla="*/ 3308985 w 3359086"/>
                <a:gd name="connsiteY15904" fmla="*/ 1442466 h 3355086"/>
                <a:gd name="connsiteX15905" fmla="*/ 3313747 w 3359086"/>
                <a:gd name="connsiteY15905" fmla="*/ 1447228 h 3355086"/>
                <a:gd name="connsiteX15906" fmla="*/ 3313508 w 3359086"/>
                <a:gd name="connsiteY15906" fmla="*/ 1447467 h 3355086"/>
                <a:gd name="connsiteX15907" fmla="*/ 3317033 w 3359086"/>
                <a:gd name="connsiteY15907" fmla="*/ 1450991 h 3355086"/>
                <a:gd name="connsiteX15908" fmla="*/ 3317271 w 3359086"/>
                <a:gd name="connsiteY15908" fmla="*/ 1450753 h 3355086"/>
                <a:gd name="connsiteX15909" fmla="*/ 3322272 w 3359086"/>
                <a:gd name="connsiteY15909" fmla="*/ 1455753 h 3355086"/>
                <a:gd name="connsiteX15910" fmla="*/ 3322891 w 3359086"/>
                <a:gd name="connsiteY15910" fmla="*/ 1455134 h 3355086"/>
                <a:gd name="connsiteX15911" fmla="*/ 3328130 w 3359086"/>
                <a:gd name="connsiteY15911" fmla="*/ 1460372 h 3355086"/>
                <a:gd name="connsiteX15912" fmla="*/ 3329177 w 3359086"/>
                <a:gd name="connsiteY15912" fmla="*/ 1459325 h 3355086"/>
                <a:gd name="connsiteX15913" fmla="*/ 3334607 w 3359086"/>
                <a:gd name="connsiteY15913" fmla="*/ 1464755 h 3355086"/>
                <a:gd name="connsiteX15914" fmla="*/ 3336226 w 3359086"/>
                <a:gd name="connsiteY15914" fmla="*/ 1463136 h 3355086"/>
                <a:gd name="connsiteX15915" fmla="*/ 3342418 w 3359086"/>
                <a:gd name="connsiteY15915" fmla="*/ 1469327 h 3355086"/>
                <a:gd name="connsiteX15916" fmla="*/ 3336226 w 3359086"/>
                <a:gd name="connsiteY15916" fmla="*/ 1475518 h 3355086"/>
                <a:gd name="connsiteX15917" fmla="*/ 3330797 w 3359086"/>
                <a:gd name="connsiteY15917" fmla="*/ 1470089 h 3355086"/>
                <a:gd name="connsiteX15918" fmla="*/ 3329177 w 3359086"/>
                <a:gd name="connsiteY15918" fmla="*/ 1471708 h 3355086"/>
                <a:gd name="connsiteX15919" fmla="*/ 3323939 w 3359086"/>
                <a:gd name="connsiteY15919" fmla="*/ 1466469 h 3355086"/>
                <a:gd name="connsiteX15920" fmla="*/ 3322891 w 3359086"/>
                <a:gd name="connsiteY15920" fmla="*/ 1467517 h 3355086"/>
                <a:gd name="connsiteX15921" fmla="*/ 3317891 w 3359086"/>
                <a:gd name="connsiteY15921" fmla="*/ 1462516 h 3355086"/>
                <a:gd name="connsiteX15922" fmla="*/ 3317271 w 3359086"/>
                <a:gd name="connsiteY15922" fmla="*/ 1463136 h 3355086"/>
                <a:gd name="connsiteX15923" fmla="*/ 3312366 w 3359086"/>
                <a:gd name="connsiteY15923" fmla="*/ 1458230 h 3355086"/>
                <a:gd name="connsiteX15924" fmla="*/ 3312127 w 3359086"/>
                <a:gd name="connsiteY15924" fmla="*/ 1458469 h 3355086"/>
                <a:gd name="connsiteX15925" fmla="*/ 3305936 w 3359086"/>
                <a:gd name="connsiteY15925" fmla="*/ 1452277 h 3355086"/>
                <a:gd name="connsiteX15926" fmla="*/ 3306175 w 3359086"/>
                <a:gd name="connsiteY15926" fmla="*/ 1452039 h 3355086"/>
                <a:gd name="connsiteX15927" fmla="*/ 3301365 w 3359086"/>
                <a:gd name="connsiteY15927" fmla="*/ 1447228 h 3355086"/>
                <a:gd name="connsiteX15928" fmla="*/ 3301936 w 3359086"/>
                <a:gd name="connsiteY15928" fmla="*/ 1446658 h 3355086"/>
                <a:gd name="connsiteX15929" fmla="*/ 3297174 w 3359086"/>
                <a:gd name="connsiteY15929" fmla="*/ 1441895 h 3355086"/>
                <a:gd name="connsiteX15930" fmla="*/ 3298079 w 3359086"/>
                <a:gd name="connsiteY15930" fmla="*/ 1440991 h 3355086"/>
                <a:gd name="connsiteX15931" fmla="*/ 3293268 w 3359086"/>
                <a:gd name="connsiteY15931" fmla="*/ 1436179 h 3355086"/>
                <a:gd name="connsiteX15932" fmla="*/ 3294459 w 3359086"/>
                <a:gd name="connsiteY15932" fmla="*/ 1434989 h 3355086"/>
                <a:gd name="connsiteX15933" fmla="*/ 3289649 w 3359086"/>
                <a:gd name="connsiteY15933" fmla="*/ 1430179 h 3355086"/>
                <a:gd name="connsiteX15934" fmla="*/ 3291030 w 3359086"/>
                <a:gd name="connsiteY15934" fmla="*/ 1428798 h 3355086"/>
                <a:gd name="connsiteX15935" fmla="*/ 3286029 w 3359086"/>
                <a:gd name="connsiteY15935" fmla="*/ 1423797 h 3355086"/>
                <a:gd name="connsiteX15936" fmla="*/ 3287648 w 3359086"/>
                <a:gd name="connsiteY15936" fmla="*/ 1422178 h 3355086"/>
                <a:gd name="connsiteX15937" fmla="*/ 3282505 w 3359086"/>
                <a:gd name="connsiteY15937" fmla="*/ 1417034 h 3355086"/>
                <a:gd name="connsiteX15938" fmla="*/ 3284266 w 3359086"/>
                <a:gd name="connsiteY15938" fmla="*/ 1415273 h 3355086"/>
                <a:gd name="connsiteX15939" fmla="*/ 3278885 w 3359086"/>
                <a:gd name="connsiteY15939" fmla="*/ 1409891 h 3355086"/>
                <a:gd name="connsiteX15940" fmla="*/ 3280695 w 3359086"/>
                <a:gd name="connsiteY15940" fmla="*/ 1408081 h 3355086"/>
                <a:gd name="connsiteX15941" fmla="*/ 3274980 w 3359086"/>
                <a:gd name="connsiteY15941" fmla="*/ 1402366 h 3355086"/>
                <a:gd name="connsiteX15942" fmla="*/ 3276743 w 3359086"/>
                <a:gd name="connsiteY15942" fmla="*/ 1400604 h 3355086"/>
                <a:gd name="connsiteX15943" fmla="*/ 3270599 w 3359086"/>
                <a:gd name="connsiteY15943" fmla="*/ 1394460 h 3355086"/>
                <a:gd name="connsiteX15944" fmla="*/ 3276790 w 3359086"/>
                <a:gd name="connsiteY15944" fmla="*/ 1388269 h 3355086"/>
                <a:gd name="connsiteX15945" fmla="*/ 3237832 w 3359086"/>
                <a:gd name="connsiteY15945" fmla="*/ 1386840 h 3355086"/>
                <a:gd name="connsiteX15946" fmla="*/ 3244023 w 3359086"/>
                <a:gd name="connsiteY15946" fmla="*/ 1393031 h 3355086"/>
                <a:gd name="connsiteX15947" fmla="*/ 3237832 w 3359086"/>
                <a:gd name="connsiteY15947" fmla="*/ 1399223 h 3355086"/>
                <a:gd name="connsiteX15948" fmla="*/ 3231641 w 3359086"/>
                <a:gd name="connsiteY15948" fmla="*/ 1393031 h 3355086"/>
                <a:gd name="connsiteX15949" fmla="*/ 3237832 w 3359086"/>
                <a:gd name="connsiteY15949" fmla="*/ 1386840 h 3355086"/>
                <a:gd name="connsiteX15950" fmla="*/ 714279 w 3359086"/>
                <a:gd name="connsiteY15950" fmla="*/ 1386840 h 3355086"/>
                <a:gd name="connsiteX15951" fmla="*/ 720471 w 3359086"/>
                <a:gd name="connsiteY15951" fmla="*/ 1393031 h 3355086"/>
                <a:gd name="connsiteX15952" fmla="*/ 714279 w 3359086"/>
                <a:gd name="connsiteY15952" fmla="*/ 1399223 h 3355086"/>
                <a:gd name="connsiteX15953" fmla="*/ 708088 w 3359086"/>
                <a:gd name="connsiteY15953" fmla="*/ 1393031 h 3355086"/>
                <a:gd name="connsiteX15954" fmla="*/ 714279 w 3359086"/>
                <a:gd name="connsiteY15954" fmla="*/ 1386840 h 3355086"/>
                <a:gd name="connsiteX15955" fmla="*/ 3094957 w 3359086"/>
                <a:gd name="connsiteY15955" fmla="*/ 1384078 h 3355086"/>
                <a:gd name="connsiteX15956" fmla="*/ 3101148 w 3359086"/>
                <a:gd name="connsiteY15956" fmla="*/ 1390269 h 3355086"/>
                <a:gd name="connsiteX15957" fmla="*/ 3094957 w 3359086"/>
                <a:gd name="connsiteY15957" fmla="*/ 1396461 h 3355086"/>
                <a:gd name="connsiteX15958" fmla="*/ 3088766 w 3359086"/>
                <a:gd name="connsiteY15958" fmla="*/ 1390269 h 3355086"/>
                <a:gd name="connsiteX15959" fmla="*/ 3094957 w 3359086"/>
                <a:gd name="connsiteY15959" fmla="*/ 1384078 h 3355086"/>
                <a:gd name="connsiteX15960" fmla="*/ 57816 w 3359086"/>
                <a:gd name="connsiteY15960" fmla="*/ 1383792 h 3355086"/>
                <a:gd name="connsiteX15961" fmla="*/ 64007 w 3359086"/>
                <a:gd name="connsiteY15961" fmla="*/ 1389983 h 3355086"/>
                <a:gd name="connsiteX15962" fmla="*/ 57816 w 3359086"/>
                <a:gd name="connsiteY15962" fmla="*/ 1396175 h 3355086"/>
                <a:gd name="connsiteX15963" fmla="*/ 51625 w 3359086"/>
                <a:gd name="connsiteY15963" fmla="*/ 1389983 h 3355086"/>
                <a:gd name="connsiteX15964" fmla="*/ 57816 w 3359086"/>
                <a:gd name="connsiteY15964" fmla="*/ 1383792 h 3355086"/>
                <a:gd name="connsiteX15965" fmla="*/ 2579274 w 3359086"/>
                <a:gd name="connsiteY15965" fmla="*/ 1382078 h 3355086"/>
                <a:gd name="connsiteX15966" fmla="*/ 2585465 w 3359086"/>
                <a:gd name="connsiteY15966" fmla="*/ 1388269 h 3355086"/>
                <a:gd name="connsiteX15967" fmla="*/ 2579274 w 3359086"/>
                <a:gd name="connsiteY15967" fmla="*/ 1394461 h 3355086"/>
                <a:gd name="connsiteX15968" fmla="*/ 2573083 w 3359086"/>
                <a:gd name="connsiteY15968" fmla="*/ 1388269 h 3355086"/>
                <a:gd name="connsiteX15969" fmla="*/ 2579274 w 3359086"/>
                <a:gd name="connsiteY15969" fmla="*/ 1382078 h 3355086"/>
                <a:gd name="connsiteX15970" fmla="*/ 100774 w 3359086"/>
                <a:gd name="connsiteY15970" fmla="*/ 1381792 h 3355086"/>
                <a:gd name="connsiteX15971" fmla="*/ 106965 w 3359086"/>
                <a:gd name="connsiteY15971" fmla="*/ 1387983 h 3355086"/>
                <a:gd name="connsiteX15972" fmla="*/ 100774 w 3359086"/>
                <a:gd name="connsiteY15972" fmla="*/ 1394175 h 3355086"/>
                <a:gd name="connsiteX15973" fmla="*/ 94583 w 3359086"/>
                <a:gd name="connsiteY15973" fmla="*/ 1387983 h 3355086"/>
                <a:gd name="connsiteX15974" fmla="*/ 100774 w 3359086"/>
                <a:gd name="connsiteY15974" fmla="*/ 1381792 h 3355086"/>
                <a:gd name="connsiteX15975" fmla="*/ 3271932 w 3359086"/>
                <a:gd name="connsiteY15975" fmla="*/ 1379887 h 3355086"/>
                <a:gd name="connsiteX15976" fmla="*/ 3278124 w 3359086"/>
                <a:gd name="connsiteY15976" fmla="*/ 1386078 h 3355086"/>
                <a:gd name="connsiteX15977" fmla="*/ 3271932 w 3359086"/>
                <a:gd name="connsiteY15977" fmla="*/ 1392270 h 3355086"/>
                <a:gd name="connsiteX15978" fmla="*/ 3265741 w 3359086"/>
                <a:gd name="connsiteY15978" fmla="*/ 1386078 h 3355086"/>
                <a:gd name="connsiteX15979" fmla="*/ 3271932 w 3359086"/>
                <a:gd name="connsiteY15979" fmla="*/ 1379887 h 3355086"/>
                <a:gd name="connsiteX15980" fmla="*/ 254793 w 3359086"/>
                <a:gd name="connsiteY15980" fmla="*/ 1378554 h 3355086"/>
                <a:gd name="connsiteX15981" fmla="*/ 260984 w 3359086"/>
                <a:gd name="connsiteY15981" fmla="*/ 1384745 h 3355086"/>
                <a:gd name="connsiteX15982" fmla="*/ 254793 w 3359086"/>
                <a:gd name="connsiteY15982" fmla="*/ 1390937 h 3355086"/>
                <a:gd name="connsiteX15983" fmla="*/ 248602 w 3359086"/>
                <a:gd name="connsiteY15983" fmla="*/ 1384745 h 3355086"/>
                <a:gd name="connsiteX15984" fmla="*/ 254793 w 3359086"/>
                <a:gd name="connsiteY15984" fmla="*/ 1378554 h 3355086"/>
                <a:gd name="connsiteX15985" fmla="*/ 3225355 w 3359086"/>
                <a:gd name="connsiteY15985" fmla="*/ 1377315 h 3355086"/>
                <a:gd name="connsiteX15986" fmla="*/ 3231546 w 3359086"/>
                <a:gd name="connsiteY15986" fmla="*/ 1383506 h 3355086"/>
                <a:gd name="connsiteX15987" fmla="*/ 3225355 w 3359086"/>
                <a:gd name="connsiteY15987" fmla="*/ 1389698 h 3355086"/>
                <a:gd name="connsiteX15988" fmla="*/ 3219164 w 3359086"/>
                <a:gd name="connsiteY15988" fmla="*/ 1383506 h 3355086"/>
                <a:gd name="connsiteX15989" fmla="*/ 3225355 w 3359086"/>
                <a:gd name="connsiteY15989" fmla="*/ 1377315 h 3355086"/>
                <a:gd name="connsiteX15990" fmla="*/ 799432 w 3359086"/>
                <a:gd name="connsiteY15990" fmla="*/ 1376553 h 3355086"/>
                <a:gd name="connsiteX15991" fmla="*/ 805624 w 3359086"/>
                <a:gd name="connsiteY15991" fmla="*/ 1382744 h 3355086"/>
                <a:gd name="connsiteX15992" fmla="*/ 799432 w 3359086"/>
                <a:gd name="connsiteY15992" fmla="*/ 1388936 h 3355086"/>
                <a:gd name="connsiteX15993" fmla="*/ 793241 w 3359086"/>
                <a:gd name="connsiteY15993" fmla="*/ 1382744 h 3355086"/>
                <a:gd name="connsiteX15994" fmla="*/ 799432 w 3359086"/>
                <a:gd name="connsiteY15994" fmla="*/ 1376553 h 3355086"/>
                <a:gd name="connsiteX15995" fmla="*/ 63055 w 3359086"/>
                <a:gd name="connsiteY15995" fmla="*/ 1375220 h 3355086"/>
                <a:gd name="connsiteX15996" fmla="*/ 69247 w 3359086"/>
                <a:gd name="connsiteY15996" fmla="*/ 1381411 h 3355086"/>
                <a:gd name="connsiteX15997" fmla="*/ 63055 w 3359086"/>
                <a:gd name="connsiteY15997" fmla="*/ 1387603 h 3355086"/>
                <a:gd name="connsiteX15998" fmla="*/ 56864 w 3359086"/>
                <a:gd name="connsiteY15998" fmla="*/ 1381411 h 3355086"/>
                <a:gd name="connsiteX15999" fmla="*/ 63055 w 3359086"/>
                <a:gd name="connsiteY15999" fmla="*/ 1375220 h 3355086"/>
                <a:gd name="connsiteX16000" fmla="*/ 28765 w 3359086"/>
                <a:gd name="connsiteY16000" fmla="*/ 1374934 h 3355086"/>
                <a:gd name="connsiteX16001" fmla="*/ 29337 w 3359086"/>
                <a:gd name="connsiteY16001" fmla="*/ 1375505 h 3355086"/>
                <a:gd name="connsiteX16002" fmla="*/ 28765 w 3359086"/>
                <a:gd name="connsiteY16002" fmla="*/ 1376077 h 3355086"/>
                <a:gd name="connsiteX16003" fmla="*/ 28194 w 3359086"/>
                <a:gd name="connsiteY16003" fmla="*/ 1375505 h 3355086"/>
                <a:gd name="connsiteX16004" fmla="*/ 28765 w 3359086"/>
                <a:gd name="connsiteY16004" fmla="*/ 1374934 h 3355086"/>
                <a:gd name="connsiteX16005" fmla="*/ 3061144 w 3359086"/>
                <a:gd name="connsiteY16005" fmla="*/ 1373696 h 3355086"/>
                <a:gd name="connsiteX16006" fmla="*/ 3067335 w 3359086"/>
                <a:gd name="connsiteY16006" fmla="*/ 1379887 h 3355086"/>
                <a:gd name="connsiteX16007" fmla="*/ 3061144 w 3359086"/>
                <a:gd name="connsiteY16007" fmla="*/ 1386078 h 3355086"/>
                <a:gd name="connsiteX16008" fmla="*/ 3054953 w 3359086"/>
                <a:gd name="connsiteY16008" fmla="*/ 1379887 h 3355086"/>
                <a:gd name="connsiteX16009" fmla="*/ 3061144 w 3359086"/>
                <a:gd name="connsiteY16009" fmla="*/ 1373696 h 3355086"/>
                <a:gd name="connsiteX16010" fmla="*/ 114204 w 3359086"/>
                <a:gd name="connsiteY16010" fmla="*/ 1371981 h 3355086"/>
                <a:gd name="connsiteX16011" fmla="*/ 120396 w 3359086"/>
                <a:gd name="connsiteY16011" fmla="*/ 1378172 h 3355086"/>
                <a:gd name="connsiteX16012" fmla="*/ 114204 w 3359086"/>
                <a:gd name="connsiteY16012" fmla="*/ 1384364 h 3355086"/>
                <a:gd name="connsiteX16013" fmla="*/ 108013 w 3359086"/>
                <a:gd name="connsiteY16013" fmla="*/ 1378172 h 3355086"/>
                <a:gd name="connsiteX16014" fmla="*/ 114204 w 3359086"/>
                <a:gd name="connsiteY16014" fmla="*/ 1371981 h 3355086"/>
                <a:gd name="connsiteX16015" fmla="*/ 2490501 w 3359086"/>
                <a:gd name="connsiteY16015" fmla="*/ 1371791 h 3355086"/>
                <a:gd name="connsiteX16016" fmla="*/ 2496692 w 3359086"/>
                <a:gd name="connsiteY16016" fmla="*/ 1377982 h 3355086"/>
                <a:gd name="connsiteX16017" fmla="*/ 2490501 w 3359086"/>
                <a:gd name="connsiteY16017" fmla="*/ 1384174 h 3355086"/>
                <a:gd name="connsiteX16018" fmla="*/ 2484310 w 3359086"/>
                <a:gd name="connsiteY16018" fmla="*/ 1377982 h 3355086"/>
                <a:gd name="connsiteX16019" fmla="*/ 2490501 w 3359086"/>
                <a:gd name="connsiteY16019" fmla="*/ 1371791 h 3355086"/>
                <a:gd name="connsiteX16020" fmla="*/ 3266407 w 3359086"/>
                <a:gd name="connsiteY16020" fmla="*/ 1371029 h 3355086"/>
                <a:gd name="connsiteX16021" fmla="*/ 3272598 w 3359086"/>
                <a:gd name="connsiteY16021" fmla="*/ 1377220 h 3355086"/>
                <a:gd name="connsiteX16022" fmla="*/ 3266407 w 3359086"/>
                <a:gd name="connsiteY16022" fmla="*/ 1383412 h 3355086"/>
                <a:gd name="connsiteX16023" fmla="*/ 3260216 w 3359086"/>
                <a:gd name="connsiteY16023" fmla="*/ 1377220 h 3355086"/>
                <a:gd name="connsiteX16024" fmla="*/ 3266407 w 3359086"/>
                <a:gd name="connsiteY16024" fmla="*/ 1371029 h 3355086"/>
                <a:gd name="connsiteX16025" fmla="*/ 290797 w 3359086"/>
                <a:gd name="connsiteY16025" fmla="*/ 1367981 h 3355086"/>
                <a:gd name="connsiteX16026" fmla="*/ 296989 w 3359086"/>
                <a:gd name="connsiteY16026" fmla="*/ 1374172 h 3355086"/>
                <a:gd name="connsiteX16027" fmla="*/ 290797 w 3359086"/>
                <a:gd name="connsiteY16027" fmla="*/ 1380364 h 3355086"/>
                <a:gd name="connsiteX16028" fmla="*/ 284606 w 3359086"/>
                <a:gd name="connsiteY16028" fmla="*/ 1374172 h 3355086"/>
                <a:gd name="connsiteX16029" fmla="*/ 290797 w 3359086"/>
                <a:gd name="connsiteY16029" fmla="*/ 1367981 h 3355086"/>
                <a:gd name="connsiteX16030" fmla="*/ 3210972 w 3359086"/>
                <a:gd name="connsiteY16030" fmla="*/ 1367314 h 3355086"/>
                <a:gd name="connsiteX16031" fmla="*/ 3217164 w 3359086"/>
                <a:gd name="connsiteY16031" fmla="*/ 1373505 h 3355086"/>
                <a:gd name="connsiteX16032" fmla="*/ 3210972 w 3359086"/>
                <a:gd name="connsiteY16032" fmla="*/ 1379697 h 3355086"/>
                <a:gd name="connsiteX16033" fmla="*/ 3204781 w 3359086"/>
                <a:gd name="connsiteY16033" fmla="*/ 1373505 h 3355086"/>
                <a:gd name="connsiteX16034" fmla="*/ 3210972 w 3359086"/>
                <a:gd name="connsiteY16034" fmla="*/ 1367314 h 3355086"/>
                <a:gd name="connsiteX16035" fmla="*/ 892492 w 3359086"/>
                <a:gd name="connsiteY16035" fmla="*/ 1366171 h 3355086"/>
                <a:gd name="connsiteX16036" fmla="*/ 898683 w 3359086"/>
                <a:gd name="connsiteY16036" fmla="*/ 1372362 h 3355086"/>
                <a:gd name="connsiteX16037" fmla="*/ 892492 w 3359086"/>
                <a:gd name="connsiteY16037" fmla="*/ 1378554 h 3355086"/>
                <a:gd name="connsiteX16038" fmla="*/ 886301 w 3359086"/>
                <a:gd name="connsiteY16038" fmla="*/ 1372362 h 3355086"/>
                <a:gd name="connsiteX16039" fmla="*/ 892492 w 3359086"/>
                <a:gd name="connsiteY16039" fmla="*/ 1366171 h 3355086"/>
                <a:gd name="connsiteX16040" fmla="*/ 69151 w 3359086"/>
                <a:gd name="connsiteY16040" fmla="*/ 1366171 h 3355086"/>
                <a:gd name="connsiteX16041" fmla="*/ 75342 w 3359086"/>
                <a:gd name="connsiteY16041" fmla="*/ 1372362 h 3355086"/>
                <a:gd name="connsiteX16042" fmla="*/ 69151 w 3359086"/>
                <a:gd name="connsiteY16042" fmla="*/ 1378554 h 3355086"/>
                <a:gd name="connsiteX16043" fmla="*/ 62960 w 3359086"/>
                <a:gd name="connsiteY16043" fmla="*/ 1372362 h 3355086"/>
                <a:gd name="connsiteX16044" fmla="*/ 69151 w 3359086"/>
                <a:gd name="connsiteY16044" fmla="*/ 1366171 h 3355086"/>
                <a:gd name="connsiteX16045" fmla="*/ 51148 w 3359086"/>
                <a:gd name="connsiteY16045" fmla="*/ 1364647 h 3355086"/>
                <a:gd name="connsiteX16046" fmla="*/ 57340 w 3359086"/>
                <a:gd name="connsiteY16046" fmla="*/ 1370838 h 3355086"/>
                <a:gd name="connsiteX16047" fmla="*/ 51386 w 3359086"/>
                <a:gd name="connsiteY16047" fmla="*/ 1376792 h 3355086"/>
                <a:gd name="connsiteX16048" fmla="*/ 53339 w 3359086"/>
                <a:gd name="connsiteY16048" fmla="*/ 1378744 h 3355086"/>
                <a:gd name="connsiteX16049" fmla="*/ 47673 w 3359086"/>
                <a:gd name="connsiteY16049" fmla="*/ 1384411 h 3355086"/>
                <a:gd name="connsiteX16050" fmla="*/ 49435 w 3359086"/>
                <a:gd name="connsiteY16050" fmla="*/ 1386173 h 3355086"/>
                <a:gd name="connsiteX16051" fmla="*/ 43862 w 3359086"/>
                <a:gd name="connsiteY16051" fmla="*/ 1391746 h 3355086"/>
                <a:gd name="connsiteX16052" fmla="*/ 45339 w 3359086"/>
                <a:gd name="connsiteY16052" fmla="*/ 1393222 h 3355086"/>
                <a:gd name="connsiteX16053" fmla="*/ 39910 w 3359086"/>
                <a:gd name="connsiteY16053" fmla="*/ 1398651 h 3355086"/>
                <a:gd name="connsiteX16054" fmla="*/ 41148 w 3359086"/>
                <a:gd name="connsiteY16054" fmla="*/ 1399889 h 3355086"/>
                <a:gd name="connsiteX16055" fmla="*/ 35766 w 3359086"/>
                <a:gd name="connsiteY16055" fmla="*/ 1405271 h 3355086"/>
                <a:gd name="connsiteX16056" fmla="*/ 36576 w 3359086"/>
                <a:gd name="connsiteY16056" fmla="*/ 1406081 h 3355086"/>
                <a:gd name="connsiteX16057" fmla="*/ 30384 w 3359086"/>
                <a:gd name="connsiteY16057" fmla="*/ 1412272 h 3355086"/>
                <a:gd name="connsiteX16058" fmla="*/ 30099 w 3359086"/>
                <a:gd name="connsiteY16058" fmla="*/ 1411987 h 3355086"/>
                <a:gd name="connsiteX16059" fmla="*/ 25432 w 3359086"/>
                <a:gd name="connsiteY16059" fmla="*/ 1416654 h 3355086"/>
                <a:gd name="connsiteX16060" fmla="*/ 20669 w 3359086"/>
                <a:gd name="connsiteY16060" fmla="*/ 1411892 h 3355086"/>
                <a:gd name="connsiteX16061" fmla="*/ 25336 w 3359086"/>
                <a:gd name="connsiteY16061" fmla="*/ 1407225 h 3355086"/>
                <a:gd name="connsiteX16062" fmla="*/ 24193 w 3359086"/>
                <a:gd name="connsiteY16062" fmla="*/ 1406081 h 3355086"/>
                <a:gd name="connsiteX16063" fmla="*/ 29575 w 3359086"/>
                <a:gd name="connsiteY16063" fmla="*/ 1400699 h 3355086"/>
                <a:gd name="connsiteX16064" fmla="*/ 28765 w 3359086"/>
                <a:gd name="connsiteY16064" fmla="*/ 1399889 h 3355086"/>
                <a:gd name="connsiteX16065" fmla="*/ 34194 w 3359086"/>
                <a:gd name="connsiteY16065" fmla="*/ 1394460 h 3355086"/>
                <a:gd name="connsiteX16066" fmla="*/ 32956 w 3359086"/>
                <a:gd name="connsiteY16066" fmla="*/ 1393222 h 3355086"/>
                <a:gd name="connsiteX16067" fmla="*/ 38528 w 3359086"/>
                <a:gd name="connsiteY16067" fmla="*/ 1387650 h 3355086"/>
                <a:gd name="connsiteX16068" fmla="*/ 37052 w 3359086"/>
                <a:gd name="connsiteY16068" fmla="*/ 1386173 h 3355086"/>
                <a:gd name="connsiteX16069" fmla="*/ 42719 w 3359086"/>
                <a:gd name="connsiteY16069" fmla="*/ 1380506 h 3355086"/>
                <a:gd name="connsiteX16070" fmla="*/ 40957 w 3359086"/>
                <a:gd name="connsiteY16070" fmla="*/ 1378744 h 3355086"/>
                <a:gd name="connsiteX16071" fmla="*/ 46910 w 3359086"/>
                <a:gd name="connsiteY16071" fmla="*/ 1372791 h 3355086"/>
                <a:gd name="connsiteX16072" fmla="*/ 44957 w 3359086"/>
                <a:gd name="connsiteY16072" fmla="*/ 1370838 h 3355086"/>
                <a:gd name="connsiteX16073" fmla="*/ 51148 w 3359086"/>
                <a:gd name="connsiteY16073" fmla="*/ 1364647 h 3355086"/>
                <a:gd name="connsiteX16074" fmla="*/ 3023139 w 3359086"/>
                <a:gd name="connsiteY16074" fmla="*/ 1363028 h 3355086"/>
                <a:gd name="connsiteX16075" fmla="*/ 3029331 w 3359086"/>
                <a:gd name="connsiteY16075" fmla="*/ 1369219 h 3355086"/>
                <a:gd name="connsiteX16076" fmla="*/ 3023139 w 3359086"/>
                <a:gd name="connsiteY16076" fmla="*/ 1375411 h 3355086"/>
                <a:gd name="connsiteX16077" fmla="*/ 3016948 w 3359086"/>
                <a:gd name="connsiteY16077" fmla="*/ 1369219 h 3355086"/>
                <a:gd name="connsiteX16078" fmla="*/ 3023139 w 3359086"/>
                <a:gd name="connsiteY16078" fmla="*/ 1363028 h 3355086"/>
                <a:gd name="connsiteX16079" fmla="*/ 3259931 w 3359086"/>
                <a:gd name="connsiteY16079" fmla="*/ 1361790 h 3355086"/>
                <a:gd name="connsiteX16080" fmla="*/ 3266122 w 3359086"/>
                <a:gd name="connsiteY16080" fmla="*/ 1367981 h 3355086"/>
                <a:gd name="connsiteX16081" fmla="*/ 3259931 w 3359086"/>
                <a:gd name="connsiteY16081" fmla="*/ 1374172 h 3355086"/>
                <a:gd name="connsiteX16082" fmla="*/ 3253740 w 3359086"/>
                <a:gd name="connsiteY16082" fmla="*/ 1367981 h 3355086"/>
                <a:gd name="connsiteX16083" fmla="*/ 3259931 w 3359086"/>
                <a:gd name="connsiteY16083" fmla="*/ 1361790 h 3355086"/>
                <a:gd name="connsiteX16084" fmla="*/ 129920 w 3359086"/>
                <a:gd name="connsiteY16084" fmla="*/ 1361790 h 3355086"/>
                <a:gd name="connsiteX16085" fmla="*/ 136112 w 3359086"/>
                <a:gd name="connsiteY16085" fmla="*/ 1367981 h 3355086"/>
                <a:gd name="connsiteX16086" fmla="*/ 129920 w 3359086"/>
                <a:gd name="connsiteY16086" fmla="*/ 1374172 h 3355086"/>
                <a:gd name="connsiteX16087" fmla="*/ 123729 w 3359086"/>
                <a:gd name="connsiteY16087" fmla="*/ 1367981 h 3355086"/>
                <a:gd name="connsiteX16088" fmla="*/ 129920 w 3359086"/>
                <a:gd name="connsiteY16088" fmla="*/ 1361790 h 3355086"/>
                <a:gd name="connsiteX16089" fmla="*/ 2393632 w 3359086"/>
                <a:gd name="connsiteY16089" fmla="*/ 1361218 h 3355086"/>
                <a:gd name="connsiteX16090" fmla="*/ 2399824 w 3359086"/>
                <a:gd name="connsiteY16090" fmla="*/ 1367409 h 3355086"/>
                <a:gd name="connsiteX16091" fmla="*/ 2393632 w 3359086"/>
                <a:gd name="connsiteY16091" fmla="*/ 1373601 h 3355086"/>
                <a:gd name="connsiteX16092" fmla="*/ 2387441 w 3359086"/>
                <a:gd name="connsiteY16092" fmla="*/ 1367409 h 3355086"/>
                <a:gd name="connsiteX16093" fmla="*/ 2393632 w 3359086"/>
                <a:gd name="connsiteY16093" fmla="*/ 1361218 h 3355086"/>
                <a:gd name="connsiteX16094" fmla="*/ 3279171 w 3359086"/>
                <a:gd name="connsiteY16094" fmla="*/ 1360837 h 3355086"/>
                <a:gd name="connsiteX16095" fmla="*/ 3285363 w 3359086"/>
                <a:gd name="connsiteY16095" fmla="*/ 1367028 h 3355086"/>
                <a:gd name="connsiteX16096" fmla="*/ 3283315 w 3359086"/>
                <a:gd name="connsiteY16096" fmla="*/ 1369076 h 3355086"/>
                <a:gd name="connsiteX16097" fmla="*/ 3289363 w 3359086"/>
                <a:gd name="connsiteY16097" fmla="*/ 1375124 h 3355086"/>
                <a:gd name="connsiteX16098" fmla="*/ 3287505 w 3359086"/>
                <a:gd name="connsiteY16098" fmla="*/ 1376982 h 3355086"/>
                <a:gd name="connsiteX16099" fmla="*/ 3293268 w 3359086"/>
                <a:gd name="connsiteY16099" fmla="*/ 1382744 h 3355086"/>
                <a:gd name="connsiteX16100" fmla="*/ 3291649 w 3359086"/>
                <a:gd name="connsiteY16100" fmla="*/ 1384364 h 3355086"/>
                <a:gd name="connsiteX16101" fmla="*/ 3297269 w 3359086"/>
                <a:gd name="connsiteY16101" fmla="*/ 1389983 h 3355086"/>
                <a:gd name="connsiteX16102" fmla="*/ 3295888 w 3359086"/>
                <a:gd name="connsiteY16102" fmla="*/ 1391365 h 3355086"/>
                <a:gd name="connsiteX16103" fmla="*/ 3301365 w 3359086"/>
                <a:gd name="connsiteY16103" fmla="*/ 1396841 h 3355086"/>
                <a:gd name="connsiteX16104" fmla="*/ 3300412 w 3359086"/>
                <a:gd name="connsiteY16104" fmla="*/ 1397794 h 3355086"/>
                <a:gd name="connsiteX16105" fmla="*/ 3305842 w 3359086"/>
                <a:gd name="connsiteY16105" fmla="*/ 1403223 h 3355086"/>
                <a:gd name="connsiteX16106" fmla="*/ 3305127 w 3359086"/>
                <a:gd name="connsiteY16106" fmla="*/ 1403938 h 3355086"/>
                <a:gd name="connsiteX16107" fmla="*/ 3310508 w 3359086"/>
                <a:gd name="connsiteY16107" fmla="*/ 1409319 h 3355086"/>
                <a:gd name="connsiteX16108" fmla="*/ 3310270 w 3359086"/>
                <a:gd name="connsiteY16108" fmla="*/ 1409557 h 3355086"/>
                <a:gd name="connsiteX16109" fmla="*/ 3315033 w 3359086"/>
                <a:gd name="connsiteY16109" fmla="*/ 1414320 h 3355086"/>
                <a:gd name="connsiteX16110" fmla="*/ 3315175 w 3359086"/>
                <a:gd name="connsiteY16110" fmla="*/ 1414177 h 3355086"/>
                <a:gd name="connsiteX16111" fmla="*/ 3320795 w 3359086"/>
                <a:gd name="connsiteY16111" fmla="*/ 1419797 h 3355086"/>
                <a:gd name="connsiteX16112" fmla="*/ 3321462 w 3359086"/>
                <a:gd name="connsiteY16112" fmla="*/ 1419130 h 3355086"/>
                <a:gd name="connsiteX16113" fmla="*/ 3327272 w 3359086"/>
                <a:gd name="connsiteY16113" fmla="*/ 1424940 h 3355086"/>
                <a:gd name="connsiteX16114" fmla="*/ 3328415 w 3359086"/>
                <a:gd name="connsiteY16114" fmla="*/ 1423797 h 3355086"/>
                <a:gd name="connsiteX16115" fmla="*/ 3334606 w 3359086"/>
                <a:gd name="connsiteY16115" fmla="*/ 1429988 h 3355086"/>
                <a:gd name="connsiteX16116" fmla="*/ 3328415 w 3359086"/>
                <a:gd name="connsiteY16116" fmla="*/ 1436180 h 3355086"/>
                <a:gd name="connsiteX16117" fmla="*/ 3322605 w 3359086"/>
                <a:gd name="connsiteY16117" fmla="*/ 1430370 h 3355086"/>
                <a:gd name="connsiteX16118" fmla="*/ 3321462 w 3359086"/>
                <a:gd name="connsiteY16118" fmla="*/ 1431513 h 3355086"/>
                <a:gd name="connsiteX16119" fmla="*/ 3315842 w 3359086"/>
                <a:gd name="connsiteY16119" fmla="*/ 1425892 h 3355086"/>
                <a:gd name="connsiteX16120" fmla="*/ 3315175 w 3359086"/>
                <a:gd name="connsiteY16120" fmla="*/ 1426559 h 3355086"/>
                <a:gd name="connsiteX16121" fmla="*/ 3309699 w 3359086"/>
                <a:gd name="connsiteY16121" fmla="*/ 1421083 h 3355086"/>
                <a:gd name="connsiteX16122" fmla="*/ 3309556 w 3359086"/>
                <a:gd name="connsiteY16122" fmla="*/ 1421226 h 3355086"/>
                <a:gd name="connsiteX16123" fmla="*/ 3303365 w 3359086"/>
                <a:gd name="connsiteY16123" fmla="*/ 1415034 h 3355086"/>
                <a:gd name="connsiteX16124" fmla="*/ 3303603 w 3359086"/>
                <a:gd name="connsiteY16124" fmla="*/ 1414797 h 3355086"/>
                <a:gd name="connsiteX16125" fmla="*/ 3298126 w 3359086"/>
                <a:gd name="connsiteY16125" fmla="*/ 1409319 h 3355086"/>
                <a:gd name="connsiteX16126" fmla="*/ 3298840 w 3359086"/>
                <a:gd name="connsiteY16126" fmla="*/ 1408605 h 3355086"/>
                <a:gd name="connsiteX16127" fmla="*/ 3293459 w 3359086"/>
                <a:gd name="connsiteY16127" fmla="*/ 1403223 h 3355086"/>
                <a:gd name="connsiteX16128" fmla="*/ 3294412 w 3359086"/>
                <a:gd name="connsiteY16128" fmla="*/ 1402271 h 3355086"/>
                <a:gd name="connsiteX16129" fmla="*/ 3288982 w 3359086"/>
                <a:gd name="connsiteY16129" fmla="*/ 1396841 h 3355086"/>
                <a:gd name="connsiteX16130" fmla="*/ 3290363 w 3359086"/>
                <a:gd name="connsiteY16130" fmla="*/ 1395461 h 3355086"/>
                <a:gd name="connsiteX16131" fmla="*/ 3284886 w 3359086"/>
                <a:gd name="connsiteY16131" fmla="*/ 1389983 h 3355086"/>
                <a:gd name="connsiteX16132" fmla="*/ 3286505 w 3359086"/>
                <a:gd name="connsiteY16132" fmla="*/ 1388364 h 3355086"/>
                <a:gd name="connsiteX16133" fmla="*/ 3280886 w 3359086"/>
                <a:gd name="connsiteY16133" fmla="*/ 1382744 h 3355086"/>
                <a:gd name="connsiteX16134" fmla="*/ 3282744 w 3359086"/>
                <a:gd name="connsiteY16134" fmla="*/ 1380887 h 3355086"/>
                <a:gd name="connsiteX16135" fmla="*/ 3276981 w 3359086"/>
                <a:gd name="connsiteY16135" fmla="*/ 1375124 h 3355086"/>
                <a:gd name="connsiteX16136" fmla="*/ 3279028 w 3359086"/>
                <a:gd name="connsiteY16136" fmla="*/ 1373077 h 3355086"/>
                <a:gd name="connsiteX16137" fmla="*/ 3272980 w 3359086"/>
                <a:gd name="connsiteY16137" fmla="*/ 1367028 h 3355086"/>
                <a:gd name="connsiteX16138" fmla="*/ 3279171 w 3359086"/>
                <a:gd name="connsiteY16138" fmla="*/ 1360837 h 3355086"/>
                <a:gd name="connsiteX16139" fmla="*/ 3326415 w 3359086"/>
                <a:gd name="connsiteY16139" fmla="*/ 1359123 h 3355086"/>
                <a:gd name="connsiteX16140" fmla="*/ 3328797 w 3359086"/>
                <a:gd name="connsiteY16140" fmla="*/ 1361504 h 3355086"/>
                <a:gd name="connsiteX16141" fmla="*/ 3326415 w 3359086"/>
                <a:gd name="connsiteY16141" fmla="*/ 1363885 h 3355086"/>
                <a:gd name="connsiteX16142" fmla="*/ 3324034 w 3359086"/>
                <a:gd name="connsiteY16142" fmla="*/ 1361504 h 3355086"/>
                <a:gd name="connsiteX16143" fmla="*/ 3326415 w 3359086"/>
                <a:gd name="connsiteY16143" fmla="*/ 1359123 h 3355086"/>
                <a:gd name="connsiteX16144" fmla="*/ 331183 w 3359086"/>
                <a:gd name="connsiteY16144" fmla="*/ 1357027 h 3355086"/>
                <a:gd name="connsiteX16145" fmla="*/ 337374 w 3359086"/>
                <a:gd name="connsiteY16145" fmla="*/ 1363218 h 3355086"/>
                <a:gd name="connsiteX16146" fmla="*/ 331183 w 3359086"/>
                <a:gd name="connsiteY16146" fmla="*/ 1369409 h 3355086"/>
                <a:gd name="connsiteX16147" fmla="*/ 324992 w 3359086"/>
                <a:gd name="connsiteY16147" fmla="*/ 1363218 h 3355086"/>
                <a:gd name="connsiteX16148" fmla="*/ 331183 w 3359086"/>
                <a:gd name="connsiteY16148" fmla="*/ 1357027 h 3355086"/>
                <a:gd name="connsiteX16149" fmla="*/ 3194208 w 3359086"/>
                <a:gd name="connsiteY16149" fmla="*/ 1356932 h 3355086"/>
                <a:gd name="connsiteX16150" fmla="*/ 3200399 w 3359086"/>
                <a:gd name="connsiteY16150" fmla="*/ 1363123 h 3355086"/>
                <a:gd name="connsiteX16151" fmla="*/ 3194208 w 3359086"/>
                <a:gd name="connsiteY16151" fmla="*/ 1369315 h 3355086"/>
                <a:gd name="connsiteX16152" fmla="*/ 3188017 w 3359086"/>
                <a:gd name="connsiteY16152" fmla="*/ 1363123 h 3355086"/>
                <a:gd name="connsiteX16153" fmla="*/ 3194208 w 3359086"/>
                <a:gd name="connsiteY16153" fmla="*/ 1356932 h 3355086"/>
                <a:gd name="connsiteX16154" fmla="*/ 76104 w 3359086"/>
                <a:gd name="connsiteY16154" fmla="*/ 1356646 h 3355086"/>
                <a:gd name="connsiteX16155" fmla="*/ 82296 w 3359086"/>
                <a:gd name="connsiteY16155" fmla="*/ 1362837 h 3355086"/>
                <a:gd name="connsiteX16156" fmla="*/ 76104 w 3359086"/>
                <a:gd name="connsiteY16156" fmla="*/ 1369029 h 3355086"/>
                <a:gd name="connsiteX16157" fmla="*/ 69913 w 3359086"/>
                <a:gd name="connsiteY16157" fmla="*/ 1362837 h 3355086"/>
                <a:gd name="connsiteX16158" fmla="*/ 76104 w 3359086"/>
                <a:gd name="connsiteY16158" fmla="*/ 1356646 h 3355086"/>
                <a:gd name="connsiteX16159" fmla="*/ 55244 w 3359086"/>
                <a:gd name="connsiteY16159" fmla="*/ 1356265 h 3355086"/>
                <a:gd name="connsiteX16160" fmla="*/ 61435 w 3359086"/>
                <a:gd name="connsiteY16160" fmla="*/ 1362456 h 3355086"/>
                <a:gd name="connsiteX16161" fmla="*/ 55244 w 3359086"/>
                <a:gd name="connsiteY16161" fmla="*/ 1368647 h 3355086"/>
                <a:gd name="connsiteX16162" fmla="*/ 49053 w 3359086"/>
                <a:gd name="connsiteY16162" fmla="*/ 1362456 h 3355086"/>
                <a:gd name="connsiteX16163" fmla="*/ 55244 w 3359086"/>
                <a:gd name="connsiteY16163" fmla="*/ 1356265 h 3355086"/>
                <a:gd name="connsiteX16164" fmla="*/ 993838 w 3359086"/>
                <a:gd name="connsiteY16164" fmla="*/ 1355503 h 3355086"/>
                <a:gd name="connsiteX16165" fmla="*/ 1000029 w 3359086"/>
                <a:gd name="connsiteY16165" fmla="*/ 1361694 h 3355086"/>
                <a:gd name="connsiteX16166" fmla="*/ 993838 w 3359086"/>
                <a:gd name="connsiteY16166" fmla="*/ 1367886 h 3355086"/>
                <a:gd name="connsiteX16167" fmla="*/ 987647 w 3359086"/>
                <a:gd name="connsiteY16167" fmla="*/ 1361694 h 3355086"/>
                <a:gd name="connsiteX16168" fmla="*/ 993838 w 3359086"/>
                <a:gd name="connsiteY16168" fmla="*/ 1355503 h 3355086"/>
                <a:gd name="connsiteX16169" fmla="*/ 3274980 w 3359086"/>
                <a:gd name="connsiteY16169" fmla="*/ 1352265 h 3355086"/>
                <a:gd name="connsiteX16170" fmla="*/ 3281172 w 3359086"/>
                <a:gd name="connsiteY16170" fmla="*/ 1358456 h 3355086"/>
                <a:gd name="connsiteX16171" fmla="*/ 3274980 w 3359086"/>
                <a:gd name="connsiteY16171" fmla="*/ 1364647 h 3355086"/>
                <a:gd name="connsiteX16172" fmla="*/ 3268789 w 3359086"/>
                <a:gd name="connsiteY16172" fmla="*/ 1358456 h 3355086"/>
                <a:gd name="connsiteX16173" fmla="*/ 3274980 w 3359086"/>
                <a:gd name="connsiteY16173" fmla="*/ 1352265 h 3355086"/>
                <a:gd name="connsiteX16174" fmla="*/ 3252406 w 3359086"/>
                <a:gd name="connsiteY16174" fmla="*/ 1352074 h 3355086"/>
                <a:gd name="connsiteX16175" fmla="*/ 3258597 w 3359086"/>
                <a:gd name="connsiteY16175" fmla="*/ 1358265 h 3355086"/>
                <a:gd name="connsiteX16176" fmla="*/ 3252406 w 3359086"/>
                <a:gd name="connsiteY16176" fmla="*/ 1364457 h 3355086"/>
                <a:gd name="connsiteX16177" fmla="*/ 3246215 w 3359086"/>
                <a:gd name="connsiteY16177" fmla="*/ 1358265 h 3355086"/>
                <a:gd name="connsiteX16178" fmla="*/ 3252406 w 3359086"/>
                <a:gd name="connsiteY16178" fmla="*/ 1352074 h 3355086"/>
                <a:gd name="connsiteX16179" fmla="*/ 2980657 w 3359086"/>
                <a:gd name="connsiteY16179" fmla="*/ 1351788 h 3355086"/>
                <a:gd name="connsiteX16180" fmla="*/ 2986848 w 3359086"/>
                <a:gd name="connsiteY16180" fmla="*/ 1357979 h 3355086"/>
                <a:gd name="connsiteX16181" fmla="*/ 2980657 w 3359086"/>
                <a:gd name="connsiteY16181" fmla="*/ 1364171 h 3355086"/>
                <a:gd name="connsiteX16182" fmla="*/ 2974466 w 3359086"/>
                <a:gd name="connsiteY16182" fmla="*/ 1357979 h 3355086"/>
                <a:gd name="connsiteX16183" fmla="*/ 2980657 w 3359086"/>
                <a:gd name="connsiteY16183" fmla="*/ 1351788 h 3355086"/>
                <a:gd name="connsiteX16184" fmla="*/ 147923 w 3359086"/>
                <a:gd name="connsiteY16184" fmla="*/ 1351121 h 3355086"/>
                <a:gd name="connsiteX16185" fmla="*/ 154115 w 3359086"/>
                <a:gd name="connsiteY16185" fmla="*/ 1357312 h 3355086"/>
                <a:gd name="connsiteX16186" fmla="*/ 147923 w 3359086"/>
                <a:gd name="connsiteY16186" fmla="*/ 1363504 h 3355086"/>
                <a:gd name="connsiteX16187" fmla="*/ 141732 w 3359086"/>
                <a:gd name="connsiteY16187" fmla="*/ 1357312 h 3355086"/>
                <a:gd name="connsiteX16188" fmla="*/ 147923 w 3359086"/>
                <a:gd name="connsiteY16188" fmla="*/ 1351121 h 3355086"/>
                <a:gd name="connsiteX16189" fmla="*/ 2288285 w 3359086"/>
                <a:gd name="connsiteY16189" fmla="*/ 1350550 h 3355086"/>
                <a:gd name="connsiteX16190" fmla="*/ 2294477 w 3359086"/>
                <a:gd name="connsiteY16190" fmla="*/ 1356741 h 3355086"/>
                <a:gd name="connsiteX16191" fmla="*/ 2288285 w 3359086"/>
                <a:gd name="connsiteY16191" fmla="*/ 1362933 h 3355086"/>
                <a:gd name="connsiteX16192" fmla="*/ 2282094 w 3359086"/>
                <a:gd name="connsiteY16192" fmla="*/ 1356741 h 3355086"/>
                <a:gd name="connsiteX16193" fmla="*/ 2288285 w 3359086"/>
                <a:gd name="connsiteY16193" fmla="*/ 1350550 h 3355086"/>
                <a:gd name="connsiteX16194" fmla="*/ 3318128 w 3359086"/>
                <a:gd name="connsiteY16194" fmla="*/ 1349788 h 3355086"/>
                <a:gd name="connsiteX16195" fmla="*/ 3324320 w 3359086"/>
                <a:gd name="connsiteY16195" fmla="*/ 1355979 h 3355086"/>
                <a:gd name="connsiteX16196" fmla="*/ 3318128 w 3359086"/>
                <a:gd name="connsiteY16196" fmla="*/ 1362171 h 3355086"/>
                <a:gd name="connsiteX16197" fmla="*/ 3311937 w 3359086"/>
                <a:gd name="connsiteY16197" fmla="*/ 1355979 h 3355086"/>
                <a:gd name="connsiteX16198" fmla="*/ 3318128 w 3359086"/>
                <a:gd name="connsiteY16198" fmla="*/ 1349788 h 3355086"/>
                <a:gd name="connsiteX16199" fmla="*/ 59531 w 3359086"/>
                <a:gd name="connsiteY16199" fmla="*/ 1347502 h 3355086"/>
                <a:gd name="connsiteX16200" fmla="*/ 65723 w 3359086"/>
                <a:gd name="connsiteY16200" fmla="*/ 1353693 h 3355086"/>
                <a:gd name="connsiteX16201" fmla="*/ 59531 w 3359086"/>
                <a:gd name="connsiteY16201" fmla="*/ 1359884 h 3355086"/>
                <a:gd name="connsiteX16202" fmla="*/ 53340 w 3359086"/>
                <a:gd name="connsiteY16202" fmla="*/ 1353693 h 3355086"/>
                <a:gd name="connsiteX16203" fmla="*/ 59531 w 3359086"/>
                <a:gd name="connsiteY16203" fmla="*/ 1347502 h 3355086"/>
                <a:gd name="connsiteX16204" fmla="*/ 84296 w 3359086"/>
                <a:gd name="connsiteY16204" fmla="*/ 1346645 h 3355086"/>
                <a:gd name="connsiteX16205" fmla="*/ 90488 w 3359086"/>
                <a:gd name="connsiteY16205" fmla="*/ 1352836 h 3355086"/>
                <a:gd name="connsiteX16206" fmla="*/ 84296 w 3359086"/>
                <a:gd name="connsiteY16206" fmla="*/ 1359027 h 3355086"/>
                <a:gd name="connsiteX16207" fmla="*/ 78105 w 3359086"/>
                <a:gd name="connsiteY16207" fmla="*/ 1352836 h 3355086"/>
                <a:gd name="connsiteX16208" fmla="*/ 84296 w 3359086"/>
                <a:gd name="connsiteY16208" fmla="*/ 1346645 h 3355086"/>
                <a:gd name="connsiteX16209" fmla="*/ 3174967 w 3359086"/>
                <a:gd name="connsiteY16209" fmla="*/ 1346073 h 3355086"/>
                <a:gd name="connsiteX16210" fmla="*/ 3181159 w 3359086"/>
                <a:gd name="connsiteY16210" fmla="*/ 1352264 h 3355086"/>
                <a:gd name="connsiteX16211" fmla="*/ 3174967 w 3359086"/>
                <a:gd name="connsiteY16211" fmla="*/ 1358456 h 3355086"/>
                <a:gd name="connsiteX16212" fmla="*/ 3168776 w 3359086"/>
                <a:gd name="connsiteY16212" fmla="*/ 1352264 h 3355086"/>
                <a:gd name="connsiteX16213" fmla="*/ 3174967 w 3359086"/>
                <a:gd name="connsiteY16213" fmla="*/ 1346073 h 3355086"/>
                <a:gd name="connsiteX16214" fmla="*/ 376332 w 3359086"/>
                <a:gd name="connsiteY16214" fmla="*/ 1345692 h 3355086"/>
                <a:gd name="connsiteX16215" fmla="*/ 382523 w 3359086"/>
                <a:gd name="connsiteY16215" fmla="*/ 1351883 h 3355086"/>
                <a:gd name="connsiteX16216" fmla="*/ 376332 w 3359086"/>
                <a:gd name="connsiteY16216" fmla="*/ 1358075 h 3355086"/>
                <a:gd name="connsiteX16217" fmla="*/ 370141 w 3359086"/>
                <a:gd name="connsiteY16217" fmla="*/ 1351883 h 3355086"/>
                <a:gd name="connsiteX16218" fmla="*/ 376332 w 3359086"/>
                <a:gd name="connsiteY16218" fmla="*/ 1345692 h 3355086"/>
                <a:gd name="connsiteX16219" fmla="*/ 3285839 w 3359086"/>
                <a:gd name="connsiteY16219" fmla="*/ 1345121 h 3355086"/>
                <a:gd name="connsiteX16220" fmla="*/ 3292030 w 3359086"/>
                <a:gd name="connsiteY16220" fmla="*/ 1351312 h 3355086"/>
                <a:gd name="connsiteX16221" fmla="*/ 3290601 w 3359086"/>
                <a:gd name="connsiteY16221" fmla="*/ 1352741 h 3355086"/>
                <a:gd name="connsiteX16222" fmla="*/ 3296697 w 3359086"/>
                <a:gd name="connsiteY16222" fmla="*/ 1358837 h 3355086"/>
                <a:gd name="connsiteX16223" fmla="*/ 3295650 w 3359086"/>
                <a:gd name="connsiteY16223" fmla="*/ 1359885 h 3355086"/>
                <a:gd name="connsiteX16224" fmla="*/ 3301651 w 3359086"/>
                <a:gd name="connsiteY16224" fmla="*/ 1365885 h 3355086"/>
                <a:gd name="connsiteX16225" fmla="*/ 3300983 w 3359086"/>
                <a:gd name="connsiteY16225" fmla="*/ 1366553 h 3355086"/>
                <a:gd name="connsiteX16226" fmla="*/ 3306984 w 3359086"/>
                <a:gd name="connsiteY16226" fmla="*/ 1372553 h 3355086"/>
                <a:gd name="connsiteX16227" fmla="*/ 3306746 w 3359086"/>
                <a:gd name="connsiteY16227" fmla="*/ 1372791 h 3355086"/>
                <a:gd name="connsiteX16228" fmla="*/ 3312747 w 3359086"/>
                <a:gd name="connsiteY16228" fmla="*/ 1378792 h 3355086"/>
                <a:gd name="connsiteX16229" fmla="*/ 3312985 w 3359086"/>
                <a:gd name="connsiteY16229" fmla="*/ 1378554 h 3355086"/>
                <a:gd name="connsiteX16230" fmla="*/ 3319129 w 3359086"/>
                <a:gd name="connsiteY16230" fmla="*/ 1384698 h 3355086"/>
                <a:gd name="connsiteX16231" fmla="*/ 3319843 w 3359086"/>
                <a:gd name="connsiteY16231" fmla="*/ 1383983 h 3355086"/>
                <a:gd name="connsiteX16232" fmla="*/ 3326034 w 3359086"/>
                <a:gd name="connsiteY16232" fmla="*/ 1390174 h 3355086"/>
                <a:gd name="connsiteX16233" fmla="*/ 3319843 w 3359086"/>
                <a:gd name="connsiteY16233" fmla="*/ 1396366 h 3355086"/>
                <a:gd name="connsiteX16234" fmla="*/ 3313700 w 3359086"/>
                <a:gd name="connsiteY16234" fmla="*/ 1390222 h 3355086"/>
                <a:gd name="connsiteX16235" fmla="*/ 3312985 w 3359086"/>
                <a:gd name="connsiteY16235" fmla="*/ 1390937 h 3355086"/>
                <a:gd name="connsiteX16236" fmla="*/ 3306841 w 3359086"/>
                <a:gd name="connsiteY16236" fmla="*/ 1384792 h 3355086"/>
                <a:gd name="connsiteX16237" fmla="*/ 3306603 w 3359086"/>
                <a:gd name="connsiteY16237" fmla="*/ 1385030 h 3355086"/>
                <a:gd name="connsiteX16238" fmla="*/ 3300412 w 3359086"/>
                <a:gd name="connsiteY16238" fmla="*/ 1378839 h 3355086"/>
                <a:gd name="connsiteX16239" fmla="*/ 3300650 w 3359086"/>
                <a:gd name="connsiteY16239" fmla="*/ 1378602 h 3355086"/>
                <a:gd name="connsiteX16240" fmla="*/ 3294602 w 3359086"/>
                <a:gd name="connsiteY16240" fmla="*/ 1372553 h 3355086"/>
                <a:gd name="connsiteX16241" fmla="*/ 3295269 w 3359086"/>
                <a:gd name="connsiteY16241" fmla="*/ 1371886 h 3355086"/>
                <a:gd name="connsiteX16242" fmla="*/ 3289268 w 3359086"/>
                <a:gd name="connsiteY16242" fmla="*/ 1365885 h 3355086"/>
                <a:gd name="connsiteX16243" fmla="*/ 3290315 w 3359086"/>
                <a:gd name="connsiteY16243" fmla="*/ 1364838 h 3355086"/>
                <a:gd name="connsiteX16244" fmla="*/ 3284315 w 3359086"/>
                <a:gd name="connsiteY16244" fmla="*/ 1358837 h 3355086"/>
                <a:gd name="connsiteX16245" fmla="*/ 3285744 w 3359086"/>
                <a:gd name="connsiteY16245" fmla="*/ 1357408 h 3355086"/>
                <a:gd name="connsiteX16246" fmla="*/ 3279648 w 3359086"/>
                <a:gd name="connsiteY16246" fmla="*/ 1351312 h 3355086"/>
                <a:gd name="connsiteX16247" fmla="*/ 3285839 w 3359086"/>
                <a:gd name="connsiteY16247" fmla="*/ 1345121 h 3355086"/>
                <a:gd name="connsiteX16248" fmla="*/ 1103947 w 3359086"/>
                <a:gd name="connsiteY16248" fmla="*/ 1344930 h 3355086"/>
                <a:gd name="connsiteX16249" fmla="*/ 1110139 w 3359086"/>
                <a:gd name="connsiteY16249" fmla="*/ 1351121 h 3355086"/>
                <a:gd name="connsiteX16250" fmla="*/ 1103947 w 3359086"/>
                <a:gd name="connsiteY16250" fmla="*/ 1357313 h 3355086"/>
                <a:gd name="connsiteX16251" fmla="*/ 1097756 w 3359086"/>
                <a:gd name="connsiteY16251" fmla="*/ 1351121 h 3355086"/>
                <a:gd name="connsiteX16252" fmla="*/ 1103947 w 3359086"/>
                <a:gd name="connsiteY16252" fmla="*/ 1344930 h 3355086"/>
                <a:gd name="connsiteX16253" fmla="*/ 3310508 w 3359086"/>
                <a:gd name="connsiteY16253" fmla="*/ 1343883 h 3355086"/>
                <a:gd name="connsiteX16254" fmla="*/ 3316699 w 3359086"/>
                <a:gd name="connsiteY16254" fmla="*/ 1350074 h 3355086"/>
                <a:gd name="connsiteX16255" fmla="*/ 3310508 w 3359086"/>
                <a:gd name="connsiteY16255" fmla="*/ 1356266 h 3355086"/>
                <a:gd name="connsiteX16256" fmla="*/ 3304317 w 3359086"/>
                <a:gd name="connsiteY16256" fmla="*/ 1350074 h 3355086"/>
                <a:gd name="connsiteX16257" fmla="*/ 3310508 w 3359086"/>
                <a:gd name="connsiteY16257" fmla="*/ 1343883 h 3355086"/>
                <a:gd name="connsiteX16258" fmla="*/ 3270408 w 3359086"/>
                <a:gd name="connsiteY16258" fmla="*/ 1343216 h 3355086"/>
                <a:gd name="connsiteX16259" fmla="*/ 3276599 w 3359086"/>
                <a:gd name="connsiteY16259" fmla="*/ 1349407 h 3355086"/>
                <a:gd name="connsiteX16260" fmla="*/ 3270408 w 3359086"/>
                <a:gd name="connsiteY16260" fmla="*/ 1355599 h 3355086"/>
                <a:gd name="connsiteX16261" fmla="*/ 3264217 w 3359086"/>
                <a:gd name="connsiteY16261" fmla="*/ 1349407 h 3355086"/>
                <a:gd name="connsiteX16262" fmla="*/ 3270408 w 3359086"/>
                <a:gd name="connsiteY16262" fmla="*/ 1343216 h 3355086"/>
                <a:gd name="connsiteX16263" fmla="*/ 3243548 w 3359086"/>
                <a:gd name="connsiteY16263" fmla="*/ 1341882 h 3355086"/>
                <a:gd name="connsiteX16264" fmla="*/ 3249739 w 3359086"/>
                <a:gd name="connsiteY16264" fmla="*/ 1348073 h 3355086"/>
                <a:gd name="connsiteX16265" fmla="*/ 3243548 w 3359086"/>
                <a:gd name="connsiteY16265" fmla="*/ 1354265 h 3355086"/>
                <a:gd name="connsiteX16266" fmla="*/ 3237357 w 3359086"/>
                <a:gd name="connsiteY16266" fmla="*/ 1348073 h 3355086"/>
                <a:gd name="connsiteX16267" fmla="*/ 3243548 w 3359086"/>
                <a:gd name="connsiteY16267" fmla="*/ 1341882 h 3355086"/>
                <a:gd name="connsiteX16268" fmla="*/ 48767 w 3359086"/>
                <a:gd name="connsiteY16268" fmla="*/ 1340834 h 3355086"/>
                <a:gd name="connsiteX16269" fmla="*/ 54959 w 3359086"/>
                <a:gd name="connsiteY16269" fmla="*/ 1347025 h 3355086"/>
                <a:gd name="connsiteX16270" fmla="*/ 48815 w 3359086"/>
                <a:gd name="connsiteY16270" fmla="*/ 1353169 h 3355086"/>
                <a:gd name="connsiteX16271" fmla="*/ 50387 w 3359086"/>
                <a:gd name="connsiteY16271" fmla="*/ 1354741 h 3355086"/>
                <a:gd name="connsiteX16272" fmla="*/ 44291 w 3359086"/>
                <a:gd name="connsiteY16272" fmla="*/ 1360836 h 3355086"/>
                <a:gd name="connsiteX16273" fmla="*/ 45625 w 3359086"/>
                <a:gd name="connsiteY16273" fmla="*/ 1362170 h 3355086"/>
                <a:gd name="connsiteX16274" fmla="*/ 39623 w 3359086"/>
                <a:gd name="connsiteY16274" fmla="*/ 1368171 h 3355086"/>
                <a:gd name="connsiteX16275" fmla="*/ 40481 w 3359086"/>
                <a:gd name="connsiteY16275" fmla="*/ 1369028 h 3355086"/>
                <a:gd name="connsiteX16276" fmla="*/ 34289 w 3359086"/>
                <a:gd name="connsiteY16276" fmla="*/ 1375219 h 3355086"/>
                <a:gd name="connsiteX16277" fmla="*/ 28098 w 3359086"/>
                <a:gd name="connsiteY16277" fmla="*/ 1369028 h 3355086"/>
                <a:gd name="connsiteX16278" fmla="*/ 34099 w 3359086"/>
                <a:gd name="connsiteY16278" fmla="*/ 1363027 h 3355086"/>
                <a:gd name="connsiteX16279" fmla="*/ 33242 w 3359086"/>
                <a:gd name="connsiteY16279" fmla="*/ 1362170 h 3355086"/>
                <a:gd name="connsiteX16280" fmla="*/ 39337 w 3359086"/>
                <a:gd name="connsiteY16280" fmla="*/ 1356075 h 3355086"/>
                <a:gd name="connsiteX16281" fmla="*/ 38004 w 3359086"/>
                <a:gd name="connsiteY16281" fmla="*/ 1354741 h 3355086"/>
                <a:gd name="connsiteX16282" fmla="*/ 44148 w 3359086"/>
                <a:gd name="connsiteY16282" fmla="*/ 1348597 h 3355086"/>
                <a:gd name="connsiteX16283" fmla="*/ 42576 w 3359086"/>
                <a:gd name="connsiteY16283" fmla="*/ 1347025 h 3355086"/>
                <a:gd name="connsiteX16284" fmla="*/ 48767 w 3359086"/>
                <a:gd name="connsiteY16284" fmla="*/ 1340834 h 3355086"/>
                <a:gd name="connsiteX16285" fmla="*/ 2933223 w 3359086"/>
                <a:gd name="connsiteY16285" fmla="*/ 1340263 h 3355086"/>
                <a:gd name="connsiteX16286" fmla="*/ 2939415 w 3359086"/>
                <a:gd name="connsiteY16286" fmla="*/ 1346454 h 3355086"/>
                <a:gd name="connsiteX16287" fmla="*/ 2933223 w 3359086"/>
                <a:gd name="connsiteY16287" fmla="*/ 1352646 h 3355086"/>
                <a:gd name="connsiteX16288" fmla="*/ 2927032 w 3359086"/>
                <a:gd name="connsiteY16288" fmla="*/ 1346454 h 3355086"/>
                <a:gd name="connsiteX16289" fmla="*/ 2933223 w 3359086"/>
                <a:gd name="connsiteY16289" fmla="*/ 1340263 h 3355086"/>
                <a:gd name="connsiteX16290" fmla="*/ 2174081 w 3359086"/>
                <a:gd name="connsiteY16290" fmla="*/ 1340072 h 3355086"/>
                <a:gd name="connsiteX16291" fmla="*/ 2180272 w 3359086"/>
                <a:gd name="connsiteY16291" fmla="*/ 1346263 h 3355086"/>
                <a:gd name="connsiteX16292" fmla="*/ 2174081 w 3359086"/>
                <a:gd name="connsiteY16292" fmla="*/ 1352455 h 3355086"/>
                <a:gd name="connsiteX16293" fmla="*/ 2167890 w 3359086"/>
                <a:gd name="connsiteY16293" fmla="*/ 1346263 h 3355086"/>
                <a:gd name="connsiteX16294" fmla="*/ 2174081 w 3359086"/>
                <a:gd name="connsiteY16294" fmla="*/ 1340072 h 3355086"/>
                <a:gd name="connsiteX16295" fmla="*/ 168687 w 3359086"/>
                <a:gd name="connsiteY16295" fmla="*/ 1340072 h 3355086"/>
                <a:gd name="connsiteX16296" fmla="*/ 174879 w 3359086"/>
                <a:gd name="connsiteY16296" fmla="*/ 1346263 h 3355086"/>
                <a:gd name="connsiteX16297" fmla="*/ 168687 w 3359086"/>
                <a:gd name="connsiteY16297" fmla="*/ 1352455 h 3355086"/>
                <a:gd name="connsiteX16298" fmla="*/ 162496 w 3359086"/>
                <a:gd name="connsiteY16298" fmla="*/ 1346263 h 3355086"/>
                <a:gd name="connsiteX16299" fmla="*/ 168687 w 3359086"/>
                <a:gd name="connsiteY16299" fmla="*/ 1340072 h 3355086"/>
                <a:gd name="connsiteX16300" fmla="*/ 64388 w 3359086"/>
                <a:gd name="connsiteY16300" fmla="*/ 1338263 h 3355086"/>
                <a:gd name="connsiteX16301" fmla="*/ 70579 w 3359086"/>
                <a:gd name="connsiteY16301" fmla="*/ 1344454 h 3355086"/>
                <a:gd name="connsiteX16302" fmla="*/ 64388 w 3359086"/>
                <a:gd name="connsiteY16302" fmla="*/ 1350645 h 3355086"/>
                <a:gd name="connsiteX16303" fmla="*/ 58197 w 3359086"/>
                <a:gd name="connsiteY16303" fmla="*/ 1344454 h 3355086"/>
                <a:gd name="connsiteX16304" fmla="*/ 64388 w 3359086"/>
                <a:gd name="connsiteY16304" fmla="*/ 1338263 h 3355086"/>
                <a:gd name="connsiteX16305" fmla="*/ 3303460 w 3359086"/>
                <a:gd name="connsiteY16305" fmla="*/ 1337501 h 3355086"/>
                <a:gd name="connsiteX16306" fmla="*/ 3309651 w 3359086"/>
                <a:gd name="connsiteY16306" fmla="*/ 1343692 h 3355086"/>
                <a:gd name="connsiteX16307" fmla="*/ 3303460 w 3359086"/>
                <a:gd name="connsiteY16307" fmla="*/ 1349884 h 3355086"/>
                <a:gd name="connsiteX16308" fmla="*/ 3297269 w 3359086"/>
                <a:gd name="connsiteY16308" fmla="*/ 1343692 h 3355086"/>
                <a:gd name="connsiteX16309" fmla="*/ 3303460 w 3359086"/>
                <a:gd name="connsiteY16309" fmla="*/ 1337501 h 3355086"/>
                <a:gd name="connsiteX16310" fmla="*/ 3281362 w 3359086"/>
                <a:gd name="connsiteY16310" fmla="*/ 1337120 h 3355086"/>
                <a:gd name="connsiteX16311" fmla="*/ 3287553 w 3359086"/>
                <a:gd name="connsiteY16311" fmla="*/ 1343311 h 3355086"/>
                <a:gd name="connsiteX16312" fmla="*/ 3281362 w 3359086"/>
                <a:gd name="connsiteY16312" fmla="*/ 1349503 h 3355086"/>
                <a:gd name="connsiteX16313" fmla="*/ 3275171 w 3359086"/>
                <a:gd name="connsiteY16313" fmla="*/ 1343311 h 3355086"/>
                <a:gd name="connsiteX16314" fmla="*/ 3281362 w 3359086"/>
                <a:gd name="connsiteY16314" fmla="*/ 1337120 h 3355086"/>
                <a:gd name="connsiteX16315" fmla="*/ 93916 w 3359086"/>
                <a:gd name="connsiteY16315" fmla="*/ 1336167 h 3355086"/>
                <a:gd name="connsiteX16316" fmla="*/ 100108 w 3359086"/>
                <a:gd name="connsiteY16316" fmla="*/ 1342358 h 3355086"/>
                <a:gd name="connsiteX16317" fmla="*/ 93916 w 3359086"/>
                <a:gd name="connsiteY16317" fmla="*/ 1348550 h 3355086"/>
                <a:gd name="connsiteX16318" fmla="*/ 87725 w 3359086"/>
                <a:gd name="connsiteY16318" fmla="*/ 1342358 h 3355086"/>
                <a:gd name="connsiteX16319" fmla="*/ 93916 w 3359086"/>
                <a:gd name="connsiteY16319" fmla="*/ 1336167 h 3355086"/>
                <a:gd name="connsiteX16320" fmla="*/ 3152869 w 3359086"/>
                <a:gd name="connsiteY16320" fmla="*/ 1334738 h 3355086"/>
                <a:gd name="connsiteX16321" fmla="*/ 3159061 w 3359086"/>
                <a:gd name="connsiteY16321" fmla="*/ 1340929 h 3355086"/>
                <a:gd name="connsiteX16322" fmla="*/ 3152869 w 3359086"/>
                <a:gd name="connsiteY16322" fmla="*/ 1347121 h 3355086"/>
                <a:gd name="connsiteX16323" fmla="*/ 3146678 w 3359086"/>
                <a:gd name="connsiteY16323" fmla="*/ 1340929 h 3355086"/>
                <a:gd name="connsiteX16324" fmla="*/ 3152869 w 3359086"/>
                <a:gd name="connsiteY16324" fmla="*/ 1334738 h 3355086"/>
                <a:gd name="connsiteX16325" fmla="*/ 1223105 w 3359086"/>
                <a:gd name="connsiteY16325" fmla="*/ 1334643 h 3355086"/>
                <a:gd name="connsiteX16326" fmla="*/ 1229296 w 3359086"/>
                <a:gd name="connsiteY16326" fmla="*/ 1340834 h 3355086"/>
                <a:gd name="connsiteX16327" fmla="*/ 1223105 w 3359086"/>
                <a:gd name="connsiteY16327" fmla="*/ 1347026 h 3355086"/>
                <a:gd name="connsiteX16328" fmla="*/ 1216914 w 3359086"/>
                <a:gd name="connsiteY16328" fmla="*/ 1340834 h 3355086"/>
                <a:gd name="connsiteX16329" fmla="*/ 1223105 w 3359086"/>
                <a:gd name="connsiteY16329" fmla="*/ 1334643 h 3355086"/>
                <a:gd name="connsiteX16330" fmla="*/ 426529 w 3359086"/>
                <a:gd name="connsiteY16330" fmla="*/ 1333881 h 3355086"/>
                <a:gd name="connsiteX16331" fmla="*/ 432720 w 3359086"/>
                <a:gd name="connsiteY16331" fmla="*/ 1340072 h 3355086"/>
                <a:gd name="connsiteX16332" fmla="*/ 426529 w 3359086"/>
                <a:gd name="connsiteY16332" fmla="*/ 1346264 h 3355086"/>
                <a:gd name="connsiteX16333" fmla="*/ 420338 w 3359086"/>
                <a:gd name="connsiteY16333" fmla="*/ 1340072 h 3355086"/>
                <a:gd name="connsiteX16334" fmla="*/ 426529 w 3359086"/>
                <a:gd name="connsiteY16334" fmla="*/ 1333881 h 3355086"/>
                <a:gd name="connsiteX16335" fmla="*/ 3265455 w 3359086"/>
                <a:gd name="connsiteY16335" fmla="*/ 1333786 h 3355086"/>
                <a:gd name="connsiteX16336" fmla="*/ 3271647 w 3359086"/>
                <a:gd name="connsiteY16336" fmla="*/ 1339977 h 3355086"/>
                <a:gd name="connsiteX16337" fmla="*/ 3265455 w 3359086"/>
                <a:gd name="connsiteY16337" fmla="*/ 1346169 h 3355086"/>
                <a:gd name="connsiteX16338" fmla="*/ 3259264 w 3359086"/>
                <a:gd name="connsiteY16338" fmla="*/ 1339977 h 3355086"/>
                <a:gd name="connsiteX16339" fmla="*/ 3265455 w 3359086"/>
                <a:gd name="connsiteY16339" fmla="*/ 1333786 h 3355086"/>
                <a:gd name="connsiteX16340" fmla="*/ 53149 w 3359086"/>
                <a:gd name="connsiteY16340" fmla="*/ 1332643 h 3355086"/>
                <a:gd name="connsiteX16341" fmla="*/ 59341 w 3359086"/>
                <a:gd name="connsiteY16341" fmla="*/ 1338834 h 3355086"/>
                <a:gd name="connsiteX16342" fmla="*/ 53149 w 3359086"/>
                <a:gd name="connsiteY16342" fmla="*/ 1345026 h 3355086"/>
                <a:gd name="connsiteX16343" fmla="*/ 46958 w 3359086"/>
                <a:gd name="connsiteY16343" fmla="*/ 1338834 h 3355086"/>
                <a:gd name="connsiteX16344" fmla="*/ 53149 w 3359086"/>
                <a:gd name="connsiteY16344" fmla="*/ 1332643 h 3355086"/>
                <a:gd name="connsiteX16345" fmla="*/ 3233356 w 3359086"/>
                <a:gd name="connsiteY16345" fmla="*/ 1331119 h 3355086"/>
                <a:gd name="connsiteX16346" fmla="*/ 3239547 w 3359086"/>
                <a:gd name="connsiteY16346" fmla="*/ 1337310 h 3355086"/>
                <a:gd name="connsiteX16347" fmla="*/ 3233356 w 3359086"/>
                <a:gd name="connsiteY16347" fmla="*/ 1343501 h 3355086"/>
                <a:gd name="connsiteX16348" fmla="*/ 3227165 w 3359086"/>
                <a:gd name="connsiteY16348" fmla="*/ 1337310 h 3355086"/>
                <a:gd name="connsiteX16349" fmla="*/ 3233356 w 3359086"/>
                <a:gd name="connsiteY16349" fmla="*/ 1331119 h 3355086"/>
                <a:gd name="connsiteX16350" fmla="*/ 3296983 w 3359086"/>
                <a:gd name="connsiteY16350" fmla="*/ 1330738 h 3355086"/>
                <a:gd name="connsiteX16351" fmla="*/ 3303175 w 3359086"/>
                <a:gd name="connsiteY16351" fmla="*/ 1336929 h 3355086"/>
                <a:gd name="connsiteX16352" fmla="*/ 3296983 w 3359086"/>
                <a:gd name="connsiteY16352" fmla="*/ 1343121 h 3355086"/>
                <a:gd name="connsiteX16353" fmla="*/ 3290792 w 3359086"/>
                <a:gd name="connsiteY16353" fmla="*/ 1336929 h 3355086"/>
                <a:gd name="connsiteX16354" fmla="*/ 3296983 w 3359086"/>
                <a:gd name="connsiteY16354" fmla="*/ 1330738 h 3355086"/>
                <a:gd name="connsiteX16355" fmla="*/ 38385 w 3359086"/>
                <a:gd name="connsiteY16355" fmla="*/ 1330738 h 3355086"/>
                <a:gd name="connsiteX16356" fmla="*/ 40767 w 3359086"/>
                <a:gd name="connsiteY16356" fmla="*/ 1333119 h 3355086"/>
                <a:gd name="connsiteX16357" fmla="*/ 38385 w 3359086"/>
                <a:gd name="connsiteY16357" fmla="*/ 1335501 h 3355086"/>
                <a:gd name="connsiteX16358" fmla="*/ 36004 w 3359086"/>
                <a:gd name="connsiteY16358" fmla="*/ 1333119 h 3355086"/>
                <a:gd name="connsiteX16359" fmla="*/ 38385 w 3359086"/>
                <a:gd name="connsiteY16359" fmla="*/ 1330738 h 3355086"/>
                <a:gd name="connsiteX16360" fmla="*/ 2050541 w 3359086"/>
                <a:gd name="connsiteY16360" fmla="*/ 1330166 h 3355086"/>
                <a:gd name="connsiteX16361" fmla="*/ 2056732 w 3359086"/>
                <a:gd name="connsiteY16361" fmla="*/ 1336357 h 3355086"/>
                <a:gd name="connsiteX16362" fmla="*/ 2050541 w 3359086"/>
                <a:gd name="connsiteY16362" fmla="*/ 1342549 h 3355086"/>
                <a:gd name="connsiteX16363" fmla="*/ 2044350 w 3359086"/>
                <a:gd name="connsiteY16363" fmla="*/ 1336357 h 3355086"/>
                <a:gd name="connsiteX16364" fmla="*/ 2050541 w 3359086"/>
                <a:gd name="connsiteY16364" fmla="*/ 1330166 h 3355086"/>
                <a:gd name="connsiteX16365" fmla="*/ 3276980 w 3359086"/>
                <a:gd name="connsiteY16365" fmla="*/ 1328642 h 3355086"/>
                <a:gd name="connsiteX16366" fmla="*/ 3283171 w 3359086"/>
                <a:gd name="connsiteY16366" fmla="*/ 1334833 h 3355086"/>
                <a:gd name="connsiteX16367" fmla="*/ 3276980 w 3359086"/>
                <a:gd name="connsiteY16367" fmla="*/ 1341025 h 3355086"/>
                <a:gd name="connsiteX16368" fmla="*/ 3270789 w 3359086"/>
                <a:gd name="connsiteY16368" fmla="*/ 1334833 h 3355086"/>
                <a:gd name="connsiteX16369" fmla="*/ 3276980 w 3359086"/>
                <a:gd name="connsiteY16369" fmla="*/ 1328642 h 3355086"/>
                <a:gd name="connsiteX16370" fmla="*/ 192404 w 3359086"/>
                <a:gd name="connsiteY16370" fmla="*/ 1328452 h 3355086"/>
                <a:gd name="connsiteX16371" fmla="*/ 198596 w 3359086"/>
                <a:gd name="connsiteY16371" fmla="*/ 1334643 h 3355086"/>
                <a:gd name="connsiteX16372" fmla="*/ 192404 w 3359086"/>
                <a:gd name="connsiteY16372" fmla="*/ 1340834 h 3355086"/>
                <a:gd name="connsiteX16373" fmla="*/ 186213 w 3359086"/>
                <a:gd name="connsiteY16373" fmla="*/ 1334643 h 3355086"/>
                <a:gd name="connsiteX16374" fmla="*/ 192404 w 3359086"/>
                <a:gd name="connsiteY16374" fmla="*/ 1328452 h 3355086"/>
                <a:gd name="connsiteX16375" fmla="*/ 69722 w 3359086"/>
                <a:gd name="connsiteY16375" fmla="*/ 1328452 h 3355086"/>
                <a:gd name="connsiteX16376" fmla="*/ 75913 w 3359086"/>
                <a:gd name="connsiteY16376" fmla="*/ 1334643 h 3355086"/>
                <a:gd name="connsiteX16377" fmla="*/ 69722 w 3359086"/>
                <a:gd name="connsiteY16377" fmla="*/ 1340834 h 3355086"/>
                <a:gd name="connsiteX16378" fmla="*/ 63531 w 3359086"/>
                <a:gd name="connsiteY16378" fmla="*/ 1334643 h 3355086"/>
                <a:gd name="connsiteX16379" fmla="*/ 69722 w 3359086"/>
                <a:gd name="connsiteY16379" fmla="*/ 1328452 h 3355086"/>
                <a:gd name="connsiteX16380" fmla="*/ 2880455 w 3359086"/>
                <a:gd name="connsiteY16380" fmla="*/ 1328262 h 3355086"/>
                <a:gd name="connsiteX16381" fmla="*/ 2886646 w 3359086"/>
                <a:gd name="connsiteY16381" fmla="*/ 1334453 h 3355086"/>
                <a:gd name="connsiteX16382" fmla="*/ 2880455 w 3359086"/>
                <a:gd name="connsiteY16382" fmla="*/ 1340645 h 3355086"/>
                <a:gd name="connsiteX16383" fmla="*/ 2874264 w 3359086"/>
                <a:gd name="connsiteY16383" fmla="*/ 1334453 h 3355086"/>
                <a:gd name="connsiteX16384" fmla="*/ 2880455 w 3359086"/>
                <a:gd name="connsiteY16384" fmla="*/ 1328262 h 3355086"/>
                <a:gd name="connsiteX16385" fmla="*/ 1351502 w 3359086"/>
                <a:gd name="connsiteY16385" fmla="*/ 1325309 h 3355086"/>
                <a:gd name="connsiteX16386" fmla="*/ 1357693 w 3359086"/>
                <a:gd name="connsiteY16386" fmla="*/ 1331500 h 3355086"/>
                <a:gd name="connsiteX16387" fmla="*/ 1351502 w 3359086"/>
                <a:gd name="connsiteY16387" fmla="*/ 1337691 h 3355086"/>
                <a:gd name="connsiteX16388" fmla="*/ 1345311 w 3359086"/>
                <a:gd name="connsiteY16388" fmla="*/ 1331500 h 3355086"/>
                <a:gd name="connsiteX16389" fmla="*/ 1351502 w 3359086"/>
                <a:gd name="connsiteY16389" fmla="*/ 1325309 h 3355086"/>
                <a:gd name="connsiteX16390" fmla="*/ 105060 w 3359086"/>
                <a:gd name="connsiteY16390" fmla="*/ 1325213 h 3355086"/>
                <a:gd name="connsiteX16391" fmla="*/ 111252 w 3359086"/>
                <a:gd name="connsiteY16391" fmla="*/ 1331404 h 3355086"/>
                <a:gd name="connsiteX16392" fmla="*/ 105060 w 3359086"/>
                <a:gd name="connsiteY16392" fmla="*/ 1337596 h 3355086"/>
                <a:gd name="connsiteX16393" fmla="*/ 98869 w 3359086"/>
                <a:gd name="connsiteY16393" fmla="*/ 1331404 h 3355086"/>
                <a:gd name="connsiteX16394" fmla="*/ 105060 w 3359086"/>
                <a:gd name="connsiteY16394" fmla="*/ 1325213 h 3355086"/>
                <a:gd name="connsiteX16395" fmla="*/ 57530 w 3359086"/>
                <a:gd name="connsiteY16395" fmla="*/ 1323880 h 3355086"/>
                <a:gd name="connsiteX16396" fmla="*/ 63722 w 3359086"/>
                <a:gd name="connsiteY16396" fmla="*/ 1330071 h 3355086"/>
                <a:gd name="connsiteX16397" fmla="*/ 57530 w 3359086"/>
                <a:gd name="connsiteY16397" fmla="*/ 1336263 h 3355086"/>
                <a:gd name="connsiteX16398" fmla="*/ 51339 w 3359086"/>
                <a:gd name="connsiteY16398" fmla="*/ 1330071 h 3355086"/>
                <a:gd name="connsiteX16399" fmla="*/ 57530 w 3359086"/>
                <a:gd name="connsiteY16399" fmla="*/ 1323880 h 3355086"/>
                <a:gd name="connsiteX16400" fmla="*/ 3259740 w 3359086"/>
                <a:gd name="connsiteY16400" fmla="*/ 1323690 h 3355086"/>
                <a:gd name="connsiteX16401" fmla="*/ 3265932 w 3359086"/>
                <a:gd name="connsiteY16401" fmla="*/ 1329881 h 3355086"/>
                <a:gd name="connsiteX16402" fmla="*/ 3259740 w 3359086"/>
                <a:gd name="connsiteY16402" fmla="*/ 1336072 h 3355086"/>
                <a:gd name="connsiteX16403" fmla="*/ 3253549 w 3359086"/>
                <a:gd name="connsiteY16403" fmla="*/ 1329881 h 3355086"/>
                <a:gd name="connsiteX16404" fmla="*/ 3259740 w 3359086"/>
                <a:gd name="connsiteY16404" fmla="*/ 1323690 h 3355086"/>
                <a:gd name="connsiteX16405" fmla="*/ 3290982 w 3359086"/>
                <a:gd name="connsiteY16405" fmla="*/ 1323594 h 3355086"/>
                <a:gd name="connsiteX16406" fmla="*/ 3297174 w 3359086"/>
                <a:gd name="connsiteY16406" fmla="*/ 1329785 h 3355086"/>
                <a:gd name="connsiteX16407" fmla="*/ 3290982 w 3359086"/>
                <a:gd name="connsiteY16407" fmla="*/ 1335977 h 3355086"/>
                <a:gd name="connsiteX16408" fmla="*/ 3284791 w 3359086"/>
                <a:gd name="connsiteY16408" fmla="*/ 1329785 h 3355086"/>
                <a:gd name="connsiteX16409" fmla="*/ 3290982 w 3359086"/>
                <a:gd name="connsiteY16409" fmla="*/ 1323594 h 3355086"/>
                <a:gd name="connsiteX16410" fmla="*/ 3127724 w 3359086"/>
                <a:gd name="connsiteY16410" fmla="*/ 1322928 h 3355086"/>
                <a:gd name="connsiteX16411" fmla="*/ 3133915 w 3359086"/>
                <a:gd name="connsiteY16411" fmla="*/ 1329119 h 3355086"/>
                <a:gd name="connsiteX16412" fmla="*/ 3127724 w 3359086"/>
                <a:gd name="connsiteY16412" fmla="*/ 1335310 h 3355086"/>
                <a:gd name="connsiteX16413" fmla="*/ 3121533 w 3359086"/>
                <a:gd name="connsiteY16413" fmla="*/ 1329119 h 3355086"/>
                <a:gd name="connsiteX16414" fmla="*/ 3127724 w 3359086"/>
                <a:gd name="connsiteY16414" fmla="*/ 1322928 h 3355086"/>
                <a:gd name="connsiteX16415" fmla="*/ 482250 w 3359086"/>
                <a:gd name="connsiteY16415" fmla="*/ 1321689 h 3355086"/>
                <a:gd name="connsiteX16416" fmla="*/ 488441 w 3359086"/>
                <a:gd name="connsiteY16416" fmla="*/ 1327880 h 3355086"/>
                <a:gd name="connsiteX16417" fmla="*/ 482250 w 3359086"/>
                <a:gd name="connsiteY16417" fmla="*/ 1334072 h 3355086"/>
                <a:gd name="connsiteX16418" fmla="*/ 476059 w 3359086"/>
                <a:gd name="connsiteY16418" fmla="*/ 1327880 h 3355086"/>
                <a:gd name="connsiteX16419" fmla="*/ 482250 w 3359086"/>
                <a:gd name="connsiteY16419" fmla="*/ 1321689 h 3355086"/>
                <a:gd name="connsiteX16420" fmla="*/ 1917953 w 3359086"/>
                <a:gd name="connsiteY16420" fmla="*/ 1321499 h 3355086"/>
                <a:gd name="connsiteX16421" fmla="*/ 1924144 w 3359086"/>
                <a:gd name="connsiteY16421" fmla="*/ 1327690 h 3355086"/>
                <a:gd name="connsiteX16422" fmla="*/ 1917953 w 3359086"/>
                <a:gd name="connsiteY16422" fmla="*/ 1333882 h 3355086"/>
                <a:gd name="connsiteX16423" fmla="*/ 1911762 w 3359086"/>
                <a:gd name="connsiteY16423" fmla="*/ 1327690 h 3355086"/>
                <a:gd name="connsiteX16424" fmla="*/ 1917953 w 3359086"/>
                <a:gd name="connsiteY16424" fmla="*/ 1321499 h 3355086"/>
                <a:gd name="connsiteX16425" fmla="*/ 3221354 w 3359086"/>
                <a:gd name="connsiteY16425" fmla="*/ 1319975 h 3355086"/>
                <a:gd name="connsiteX16426" fmla="*/ 3227546 w 3359086"/>
                <a:gd name="connsiteY16426" fmla="*/ 1326166 h 3355086"/>
                <a:gd name="connsiteX16427" fmla="*/ 3221354 w 3359086"/>
                <a:gd name="connsiteY16427" fmla="*/ 1332357 h 3355086"/>
                <a:gd name="connsiteX16428" fmla="*/ 3215163 w 3359086"/>
                <a:gd name="connsiteY16428" fmla="*/ 1326166 h 3355086"/>
                <a:gd name="connsiteX16429" fmla="*/ 3221354 w 3359086"/>
                <a:gd name="connsiteY16429" fmla="*/ 1319975 h 3355086"/>
                <a:gd name="connsiteX16430" fmla="*/ 3272504 w 3359086"/>
                <a:gd name="connsiteY16430" fmla="*/ 1319689 h 3355086"/>
                <a:gd name="connsiteX16431" fmla="*/ 3278695 w 3359086"/>
                <a:gd name="connsiteY16431" fmla="*/ 1325880 h 3355086"/>
                <a:gd name="connsiteX16432" fmla="*/ 3272504 w 3359086"/>
                <a:gd name="connsiteY16432" fmla="*/ 1332072 h 3355086"/>
                <a:gd name="connsiteX16433" fmla="*/ 3266313 w 3359086"/>
                <a:gd name="connsiteY16433" fmla="*/ 1325880 h 3355086"/>
                <a:gd name="connsiteX16434" fmla="*/ 3272504 w 3359086"/>
                <a:gd name="connsiteY16434" fmla="*/ 1319689 h 3355086"/>
                <a:gd name="connsiteX16435" fmla="*/ 44195 w 3359086"/>
                <a:gd name="connsiteY16435" fmla="*/ 1319499 h 3355086"/>
                <a:gd name="connsiteX16436" fmla="*/ 50387 w 3359086"/>
                <a:gd name="connsiteY16436" fmla="*/ 1325690 h 3355086"/>
                <a:gd name="connsiteX16437" fmla="*/ 44195 w 3359086"/>
                <a:gd name="connsiteY16437" fmla="*/ 1331882 h 3355086"/>
                <a:gd name="connsiteX16438" fmla="*/ 38004 w 3359086"/>
                <a:gd name="connsiteY16438" fmla="*/ 1325690 h 3355086"/>
                <a:gd name="connsiteX16439" fmla="*/ 44195 w 3359086"/>
                <a:gd name="connsiteY16439" fmla="*/ 1319499 h 3355086"/>
                <a:gd name="connsiteX16440" fmla="*/ 3316414 w 3359086"/>
                <a:gd name="connsiteY16440" fmla="*/ 1318546 h 3355086"/>
                <a:gd name="connsiteX16441" fmla="*/ 3320509 w 3359086"/>
                <a:gd name="connsiteY16441" fmla="*/ 1322642 h 3355086"/>
                <a:gd name="connsiteX16442" fmla="*/ 3316414 w 3359086"/>
                <a:gd name="connsiteY16442" fmla="*/ 1326738 h 3355086"/>
                <a:gd name="connsiteX16443" fmla="*/ 3312318 w 3359086"/>
                <a:gd name="connsiteY16443" fmla="*/ 1322642 h 3355086"/>
                <a:gd name="connsiteX16444" fmla="*/ 3316414 w 3359086"/>
                <a:gd name="connsiteY16444" fmla="*/ 1318546 h 3355086"/>
                <a:gd name="connsiteX16445" fmla="*/ 75818 w 3359086"/>
                <a:gd name="connsiteY16445" fmla="*/ 1318165 h 3355086"/>
                <a:gd name="connsiteX16446" fmla="*/ 82009 w 3359086"/>
                <a:gd name="connsiteY16446" fmla="*/ 1324356 h 3355086"/>
                <a:gd name="connsiteX16447" fmla="*/ 75818 w 3359086"/>
                <a:gd name="connsiteY16447" fmla="*/ 1330547 h 3355086"/>
                <a:gd name="connsiteX16448" fmla="*/ 69627 w 3359086"/>
                <a:gd name="connsiteY16448" fmla="*/ 1324356 h 3355086"/>
                <a:gd name="connsiteX16449" fmla="*/ 75818 w 3359086"/>
                <a:gd name="connsiteY16449" fmla="*/ 1318165 h 3355086"/>
                <a:gd name="connsiteX16450" fmla="*/ 1488661 w 3359086"/>
                <a:gd name="connsiteY16450" fmla="*/ 1317879 h 3355086"/>
                <a:gd name="connsiteX16451" fmla="*/ 1494853 w 3359086"/>
                <a:gd name="connsiteY16451" fmla="*/ 1324070 h 3355086"/>
                <a:gd name="connsiteX16452" fmla="*/ 1488661 w 3359086"/>
                <a:gd name="connsiteY16452" fmla="*/ 1330261 h 3355086"/>
                <a:gd name="connsiteX16453" fmla="*/ 1482470 w 3359086"/>
                <a:gd name="connsiteY16453" fmla="*/ 1324070 h 3355086"/>
                <a:gd name="connsiteX16454" fmla="*/ 1488661 w 3359086"/>
                <a:gd name="connsiteY16454" fmla="*/ 1317879 h 3355086"/>
                <a:gd name="connsiteX16455" fmla="*/ 219360 w 3359086"/>
                <a:gd name="connsiteY16455" fmla="*/ 1316355 h 3355086"/>
                <a:gd name="connsiteX16456" fmla="*/ 225552 w 3359086"/>
                <a:gd name="connsiteY16456" fmla="*/ 1322546 h 3355086"/>
                <a:gd name="connsiteX16457" fmla="*/ 219360 w 3359086"/>
                <a:gd name="connsiteY16457" fmla="*/ 1328738 h 3355086"/>
                <a:gd name="connsiteX16458" fmla="*/ 213169 w 3359086"/>
                <a:gd name="connsiteY16458" fmla="*/ 1322546 h 3355086"/>
                <a:gd name="connsiteX16459" fmla="*/ 219360 w 3359086"/>
                <a:gd name="connsiteY16459" fmla="*/ 1316355 h 3355086"/>
                <a:gd name="connsiteX16460" fmla="*/ 3285457 w 3359086"/>
                <a:gd name="connsiteY16460" fmla="*/ 1315879 h 3355086"/>
                <a:gd name="connsiteX16461" fmla="*/ 3291648 w 3359086"/>
                <a:gd name="connsiteY16461" fmla="*/ 1322070 h 3355086"/>
                <a:gd name="connsiteX16462" fmla="*/ 3285457 w 3359086"/>
                <a:gd name="connsiteY16462" fmla="*/ 1328262 h 3355086"/>
                <a:gd name="connsiteX16463" fmla="*/ 3279266 w 3359086"/>
                <a:gd name="connsiteY16463" fmla="*/ 1322070 h 3355086"/>
                <a:gd name="connsiteX16464" fmla="*/ 3285457 w 3359086"/>
                <a:gd name="connsiteY16464" fmla="*/ 1315879 h 3355086"/>
                <a:gd name="connsiteX16465" fmla="*/ 2822066 w 3359086"/>
                <a:gd name="connsiteY16465" fmla="*/ 1315879 h 3355086"/>
                <a:gd name="connsiteX16466" fmla="*/ 2828257 w 3359086"/>
                <a:gd name="connsiteY16466" fmla="*/ 1322070 h 3355086"/>
                <a:gd name="connsiteX16467" fmla="*/ 2822066 w 3359086"/>
                <a:gd name="connsiteY16467" fmla="*/ 1328262 h 3355086"/>
                <a:gd name="connsiteX16468" fmla="*/ 2815875 w 3359086"/>
                <a:gd name="connsiteY16468" fmla="*/ 1322070 h 3355086"/>
                <a:gd name="connsiteX16469" fmla="*/ 2822066 w 3359086"/>
                <a:gd name="connsiteY16469" fmla="*/ 1315879 h 3355086"/>
                <a:gd name="connsiteX16470" fmla="*/ 1777364 w 3359086"/>
                <a:gd name="connsiteY16470" fmla="*/ 1315498 h 3355086"/>
                <a:gd name="connsiteX16471" fmla="*/ 1783556 w 3359086"/>
                <a:gd name="connsiteY16471" fmla="*/ 1321689 h 3355086"/>
                <a:gd name="connsiteX16472" fmla="*/ 1777364 w 3359086"/>
                <a:gd name="connsiteY16472" fmla="*/ 1327880 h 3355086"/>
                <a:gd name="connsiteX16473" fmla="*/ 1771173 w 3359086"/>
                <a:gd name="connsiteY16473" fmla="*/ 1321689 h 3355086"/>
                <a:gd name="connsiteX16474" fmla="*/ 1777364 w 3359086"/>
                <a:gd name="connsiteY16474" fmla="*/ 1315498 h 3355086"/>
                <a:gd name="connsiteX16475" fmla="*/ 62007 w 3359086"/>
                <a:gd name="connsiteY16475" fmla="*/ 1314641 h 3355086"/>
                <a:gd name="connsiteX16476" fmla="*/ 68198 w 3359086"/>
                <a:gd name="connsiteY16476" fmla="*/ 1320832 h 3355086"/>
                <a:gd name="connsiteX16477" fmla="*/ 62007 w 3359086"/>
                <a:gd name="connsiteY16477" fmla="*/ 1327024 h 3355086"/>
                <a:gd name="connsiteX16478" fmla="*/ 55816 w 3359086"/>
                <a:gd name="connsiteY16478" fmla="*/ 1320832 h 3355086"/>
                <a:gd name="connsiteX16479" fmla="*/ 62007 w 3359086"/>
                <a:gd name="connsiteY16479" fmla="*/ 1314641 h 3355086"/>
                <a:gd name="connsiteX16480" fmla="*/ 1632299 w 3359086"/>
                <a:gd name="connsiteY16480" fmla="*/ 1314069 h 3355086"/>
                <a:gd name="connsiteX16481" fmla="*/ 1638491 w 3359086"/>
                <a:gd name="connsiteY16481" fmla="*/ 1320260 h 3355086"/>
                <a:gd name="connsiteX16482" fmla="*/ 1632299 w 3359086"/>
                <a:gd name="connsiteY16482" fmla="*/ 1326452 h 3355086"/>
                <a:gd name="connsiteX16483" fmla="*/ 1626108 w 3359086"/>
                <a:gd name="connsiteY16483" fmla="*/ 1320260 h 3355086"/>
                <a:gd name="connsiteX16484" fmla="*/ 1632299 w 3359086"/>
                <a:gd name="connsiteY16484" fmla="*/ 1314069 h 3355086"/>
                <a:gd name="connsiteX16485" fmla="*/ 118014 w 3359086"/>
                <a:gd name="connsiteY16485" fmla="*/ 1313688 h 3355086"/>
                <a:gd name="connsiteX16486" fmla="*/ 124206 w 3359086"/>
                <a:gd name="connsiteY16486" fmla="*/ 1319879 h 3355086"/>
                <a:gd name="connsiteX16487" fmla="*/ 118014 w 3359086"/>
                <a:gd name="connsiteY16487" fmla="*/ 1326071 h 3355086"/>
                <a:gd name="connsiteX16488" fmla="*/ 111823 w 3359086"/>
                <a:gd name="connsiteY16488" fmla="*/ 1319879 h 3355086"/>
                <a:gd name="connsiteX16489" fmla="*/ 118014 w 3359086"/>
                <a:gd name="connsiteY16489" fmla="*/ 1313688 h 3355086"/>
                <a:gd name="connsiteX16490" fmla="*/ 3253263 w 3359086"/>
                <a:gd name="connsiteY16490" fmla="*/ 1313212 h 3355086"/>
                <a:gd name="connsiteX16491" fmla="*/ 3259455 w 3359086"/>
                <a:gd name="connsiteY16491" fmla="*/ 1319403 h 3355086"/>
                <a:gd name="connsiteX16492" fmla="*/ 3253263 w 3359086"/>
                <a:gd name="connsiteY16492" fmla="*/ 1325595 h 3355086"/>
                <a:gd name="connsiteX16493" fmla="*/ 3247072 w 3359086"/>
                <a:gd name="connsiteY16493" fmla="*/ 1319403 h 3355086"/>
                <a:gd name="connsiteX16494" fmla="*/ 3253263 w 3359086"/>
                <a:gd name="connsiteY16494" fmla="*/ 1313212 h 3355086"/>
                <a:gd name="connsiteX16495" fmla="*/ 49624 w 3359086"/>
                <a:gd name="connsiteY16495" fmla="*/ 1311593 h 3355086"/>
                <a:gd name="connsiteX16496" fmla="*/ 55816 w 3359086"/>
                <a:gd name="connsiteY16496" fmla="*/ 1317784 h 3355086"/>
                <a:gd name="connsiteX16497" fmla="*/ 49624 w 3359086"/>
                <a:gd name="connsiteY16497" fmla="*/ 1323976 h 3355086"/>
                <a:gd name="connsiteX16498" fmla="*/ 43433 w 3359086"/>
                <a:gd name="connsiteY16498" fmla="*/ 1317784 h 3355086"/>
                <a:gd name="connsiteX16499" fmla="*/ 49624 w 3359086"/>
                <a:gd name="connsiteY16499" fmla="*/ 1311593 h 3355086"/>
                <a:gd name="connsiteX16500" fmla="*/ 3099149 w 3359086"/>
                <a:gd name="connsiteY16500" fmla="*/ 1310545 h 3355086"/>
                <a:gd name="connsiteX16501" fmla="*/ 3105340 w 3359086"/>
                <a:gd name="connsiteY16501" fmla="*/ 1316736 h 3355086"/>
                <a:gd name="connsiteX16502" fmla="*/ 3099149 w 3359086"/>
                <a:gd name="connsiteY16502" fmla="*/ 1322928 h 3355086"/>
                <a:gd name="connsiteX16503" fmla="*/ 3092958 w 3359086"/>
                <a:gd name="connsiteY16503" fmla="*/ 1316736 h 3355086"/>
                <a:gd name="connsiteX16504" fmla="*/ 3099149 w 3359086"/>
                <a:gd name="connsiteY16504" fmla="*/ 1310545 h 3355086"/>
                <a:gd name="connsiteX16505" fmla="*/ 3267932 w 3359086"/>
                <a:gd name="connsiteY16505" fmla="*/ 1310259 h 3355086"/>
                <a:gd name="connsiteX16506" fmla="*/ 3274123 w 3359086"/>
                <a:gd name="connsiteY16506" fmla="*/ 1316450 h 3355086"/>
                <a:gd name="connsiteX16507" fmla="*/ 3267932 w 3359086"/>
                <a:gd name="connsiteY16507" fmla="*/ 1322642 h 3355086"/>
                <a:gd name="connsiteX16508" fmla="*/ 3261741 w 3359086"/>
                <a:gd name="connsiteY16508" fmla="*/ 1316450 h 3355086"/>
                <a:gd name="connsiteX16509" fmla="*/ 3267932 w 3359086"/>
                <a:gd name="connsiteY16509" fmla="*/ 1310259 h 3355086"/>
                <a:gd name="connsiteX16510" fmla="*/ 3308032 w 3359086"/>
                <a:gd name="connsiteY16510" fmla="*/ 1310164 h 3355086"/>
                <a:gd name="connsiteX16511" fmla="*/ 3314224 w 3359086"/>
                <a:gd name="connsiteY16511" fmla="*/ 1316355 h 3355086"/>
                <a:gd name="connsiteX16512" fmla="*/ 3308032 w 3359086"/>
                <a:gd name="connsiteY16512" fmla="*/ 1322547 h 3355086"/>
                <a:gd name="connsiteX16513" fmla="*/ 3301841 w 3359086"/>
                <a:gd name="connsiteY16513" fmla="*/ 1316355 h 3355086"/>
                <a:gd name="connsiteX16514" fmla="*/ 3308032 w 3359086"/>
                <a:gd name="connsiteY16514" fmla="*/ 1310164 h 3355086"/>
                <a:gd name="connsiteX16515" fmla="*/ 543781 w 3359086"/>
                <a:gd name="connsiteY16515" fmla="*/ 1309116 h 3355086"/>
                <a:gd name="connsiteX16516" fmla="*/ 549973 w 3359086"/>
                <a:gd name="connsiteY16516" fmla="*/ 1315307 h 3355086"/>
                <a:gd name="connsiteX16517" fmla="*/ 543781 w 3359086"/>
                <a:gd name="connsiteY16517" fmla="*/ 1321499 h 3355086"/>
                <a:gd name="connsiteX16518" fmla="*/ 537590 w 3359086"/>
                <a:gd name="connsiteY16518" fmla="*/ 1315307 h 3355086"/>
                <a:gd name="connsiteX16519" fmla="*/ 543781 w 3359086"/>
                <a:gd name="connsiteY16519" fmla="*/ 1309116 h 3355086"/>
                <a:gd name="connsiteX16520" fmla="*/ 3207448 w 3359086"/>
                <a:gd name="connsiteY16520" fmla="*/ 1308259 h 3355086"/>
                <a:gd name="connsiteX16521" fmla="*/ 3213640 w 3359086"/>
                <a:gd name="connsiteY16521" fmla="*/ 1314450 h 3355086"/>
                <a:gd name="connsiteX16522" fmla="*/ 3207448 w 3359086"/>
                <a:gd name="connsiteY16522" fmla="*/ 1320642 h 3355086"/>
                <a:gd name="connsiteX16523" fmla="*/ 3201257 w 3359086"/>
                <a:gd name="connsiteY16523" fmla="*/ 1314450 h 3355086"/>
                <a:gd name="connsiteX16524" fmla="*/ 3207448 w 3359086"/>
                <a:gd name="connsiteY16524" fmla="*/ 1308259 h 3355086"/>
                <a:gd name="connsiteX16525" fmla="*/ 3280124 w 3359086"/>
                <a:gd name="connsiteY16525" fmla="*/ 1307687 h 3355086"/>
                <a:gd name="connsiteX16526" fmla="*/ 3286315 w 3359086"/>
                <a:gd name="connsiteY16526" fmla="*/ 1313878 h 3355086"/>
                <a:gd name="connsiteX16527" fmla="*/ 3280124 w 3359086"/>
                <a:gd name="connsiteY16527" fmla="*/ 1320070 h 3355086"/>
                <a:gd name="connsiteX16528" fmla="*/ 3273933 w 3359086"/>
                <a:gd name="connsiteY16528" fmla="*/ 1313878 h 3355086"/>
                <a:gd name="connsiteX16529" fmla="*/ 3280124 w 3359086"/>
                <a:gd name="connsiteY16529" fmla="*/ 1307687 h 3355086"/>
                <a:gd name="connsiteX16530" fmla="*/ 82771 w 3359086"/>
                <a:gd name="connsiteY16530" fmla="*/ 1307402 h 3355086"/>
                <a:gd name="connsiteX16531" fmla="*/ 88963 w 3359086"/>
                <a:gd name="connsiteY16531" fmla="*/ 1313593 h 3355086"/>
                <a:gd name="connsiteX16532" fmla="*/ 82771 w 3359086"/>
                <a:gd name="connsiteY16532" fmla="*/ 1319785 h 3355086"/>
                <a:gd name="connsiteX16533" fmla="*/ 76580 w 3359086"/>
                <a:gd name="connsiteY16533" fmla="*/ 1313593 h 3355086"/>
                <a:gd name="connsiteX16534" fmla="*/ 82771 w 3359086"/>
                <a:gd name="connsiteY16534" fmla="*/ 1307402 h 3355086"/>
                <a:gd name="connsiteX16535" fmla="*/ 66770 w 3359086"/>
                <a:gd name="connsiteY16535" fmla="*/ 1304925 h 3355086"/>
                <a:gd name="connsiteX16536" fmla="*/ 72961 w 3359086"/>
                <a:gd name="connsiteY16536" fmla="*/ 1311116 h 3355086"/>
                <a:gd name="connsiteX16537" fmla="*/ 66770 w 3359086"/>
                <a:gd name="connsiteY16537" fmla="*/ 1317307 h 3355086"/>
                <a:gd name="connsiteX16538" fmla="*/ 60579 w 3359086"/>
                <a:gd name="connsiteY16538" fmla="*/ 1311116 h 3355086"/>
                <a:gd name="connsiteX16539" fmla="*/ 66770 w 3359086"/>
                <a:gd name="connsiteY16539" fmla="*/ 1304925 h 3355086"/>
                <a:gd name="connsiteX16540" fmla="*/ 249840 w 3359086"/>
                <a:gd name="connsiteY16540" fmla="*/ 1303782 h 3355086"/>
                <a:gd name="connsiteX16541" fmla="*/ 256031 w 3359086"/>
                <a:gd name="connsiteY16541" fmla="*/ 1309973 h 3355086"/>
                <a:gd name="connsiteX16542" fmla="*/ 249840 w 3359086"/>
                <a:gd name="connsiteY16542" fmla="*/ 1316165 h 3355086"/>
                <a:gd name="connsiteX16543" fmla="*/ 243649 w 3359086"/>
                <a:gd name="connsiteY16543" fmla="*/ 1309973 h 3355086"/>
                <a:gd name="connsiteX16544" fmla="*/ 249840 w 3359086"/>
                <a:gd name="connsiteY16544" fmla="*/ 1303782 h 3355086"/>
                <a:gd name="connsiteX16545" fmla="*/ 3300221 w 3359086"/>
                <a:gd name="connsiteY16545" fmla="*/ 1303401 h 3355086"/>
                <a:gd name="connsiteX16546" fmla="*/ 3306413 w 3359086"/>
                <a:gd name="connsiteY16546" fmla="*/ 1309592 h 3355086"/>
                <a:gd name="connsiteX16547" fmla="*/ 3300221 w 3359086"/>
                <a:gd name="connsiteY16547" fmla="*/ 1315784 h 3355086"/>
                <a:gd name="connsiteX16548" fmla="*/ 3294030 w 3359086"/>
                <a:gd name="connsiteY16548" fmla="*/ 1309592 h 3355086"/>
                <a:gd name="connsiteX16549" fmla="*/ 3300221 w 3359086"/>
                <a:gd name="connsiteY16549" fmla="*/ 1303401 h 3355086"/>
                <a:gd name="connsiteX16550" fmla="*/ 54768 w 3359086"/>
                <a:gd name="connsiteY16550" fmla="*/ 1303211 h 3355086"/>
                <a:gd name="connsiteX16551" fmla="*/ 60960 w 3359086"/>
                <a:gd name="connsiteY16551" fmla="*/ 1309402 h 3355086"/>
                <a:gd name="connsiteX16552" fmla="*/ 54768 w 3359086"/>
                <a:gd name="connsiteY16552" fmla="*/ 1315594 h 3355086"/>
                <a:gd name="connsiteX16553" fmla="*/ 48577 w 3359086"/>
                <a:gd name="connsiteY16553" fmla="*/ 1309402 h 3355086"/>
                <a:gd name="connsiteX16554" fmla="*/ 54768 w 3359086"/>
                <a:gd name="connsiteY16554" fmla="*/ 1303211 h 3355086"/>
                <a:gd name="connsiteX16555" fmla="*/ 2757677 w 3359086"/>
                <a:gd name="connsiteY16555" fmla="*/ 1303116 h 3355086"/>
                <a:gd name="connsiteX16556" fmla="*/ 2763869 w 3359086"/>
                <a:gd name="connsiteY16556" fmla="*/ 1309307 h 3355086"/>
                <a:gd name="connsiteX16557" fmla="*/ 2757677 w 3359086"/>
                <a:gd name="connsiteY16557" fmla="*/ 1315499 h 3355086"/>
                <a:gd name="connsiteX16558" fmla="*/ 2751486 w 3359086"/>
                <a:gd name="connsiteY16558" fmla="*/ 1309307 h 3355086"/>
                <a:gd name="connsiteX16559" fmla="*/ 2757677 w 3359086"/>
                <a:gd name="connsiteY16559" fmla="*/ 1303116 h 3355086"/>
                <a:gd name="connsiteX16560" fmla="*/ 3245738 w 3359086"/>
                <a:gd name="connsiteY16560" fmla="*/ 1302163 h 3355086"/>
                <a:gd name="connsiteX16561" fmla="*/ 3251930 w 3359086"/>
                <a:gd name="connsiteY16561" fmla="*/ 1308354 h 3355086"/>
                <a:gd name="connsiteX16562" fmla="*/ 3245738 w 3359086"/>
                <a:gd name="connsiteY16562" fmla="*/ 1314546 h 3355086"/>
                <a:gd name="connsiteX16563" fmla="*/ 3239547 w 3359086"/>
                <a:gd name="connsiteY16563" fmla="*/ 1308354 h 3355086"/>
                <a:gd name="connsiteX16564" fmla="*/ 3245738 w 3359086"/>
                <a:gd name="connsiteY16564" fmla="*/ 1302163 h 3355086"/>
                <a:gd name="connsiteX16565" fmla="*/ 133063 w 3359086"/>
                <a:gd name="connsiteY16565" fmla="*/ 1301687 h 3355086"/>
                <a:gd name="connsiteX16566" fmla="*/ 139255 w 3359086"/>
                <a:gd name="connsiteY16566" fmla="*/ 1307878 h 3355086"/>
                <a:gd name="connsiteX16567" fmla="*/ 133063 w 3359086"/>
                <a:gd name="connsiteY16567" fmla="*/ 1314070 h 3355086"/>
                <a:gd name="connsiteX16568" fmla="*/ 126872 w 3359086"/>
                <a:gd name="connsiteY16568" fmla="*/ 1307878 h 3355086"/>
                <a:gd name="connsiteX16569" fmla="*/ 133063 w 3359086"/>
                <a:gd name="connsiteY16569" fmla="*/ 1301687 h 3355086"/>
                <a:gd name="connsiteX16570" fmla="*/ 3263169 w 3359086"/>
                <a:gd name="connsiteY16570" fmla="*/ 1300258 h 3355086"/>
                <a:gd name="connsiteX16571" fmla="*/ 3269360 w 3359086"/>
                <a:gd name="connsiteY16571" fmla="*/ 1306449 h 3355086"/>
                <a:gd name="connsiteX16572" fmla="*/ 3263169 w 3359086"/>
                <a:gd name="connsiteY16572" fmla="*/ 1312641 h 3355086"/>
                <a:gd name="connsiteX16573" fmla="*/ 3256978 w 3359086"/>
                <a:gd name="connsiteY16573" fmla="*/ 1306449 h 3355086"/>
                <a:gd name="connsiteX16574" fmla="*/ 3263169 w 3359086"/>
                <a:gd name="connsiteY16574" fmla="*/ 1300258 h 3355086"/>
                <a:gd name="connsiteX16575" fmla="*/ 3275171 w 3359086"/>
                <a:gd name="connsiteY16575" fmla="*/ 1299115 h 3355086"/>
                <a:gd name="connsiteX16576" fmla="*/ 3281362 w 3359086"/>
                <a:gd name="connsiteY16576" fmla="*/ 1305306 h 3355086"/>
                <a:gd name="connsiteX16577" fmla="*/ 3275171 w 3359086"/>
                <a:gd name="connsiteY16577" fmla="*/ 1311497 h 3355086"/>
                <a:gd name="connsiteX16578" fmla="*/ 3268980 w 3359086"/>
                <a:gd name="connsiteY16578" fmla="*/ 1305306 h 3355086"/>
                <a:gd name="connsiteX16579" fmla="*/ 3275171 w 3359086"/>
                <a:gd name="connsiteY16579" fmla="*/ 1299115 h 3355086"/>
                <a:gd name="connsiteX16580" fmla="*/ 3066859 w 3359086"/>
                <a:gd name="connsiteY16580" fmla="*/ 1297782 h 3355086"/>
                <a:gd name="connsiteX16581" fmla="*/ 3073051 w 3359086"/>
                <a:gd name="connsiteY16581" fmla="*/ 1303973 h 3355086"/>
                <a:gd name="connsiteX16582" fmla="*/ 3066859 w 3359086"/>
                <a:gd name="connsiteY16582" fmla="*/ 1310164 h 3355086"/>
                <a:gd name="connsiteX16583" fmla="*/ 3060668 w 3359086"/>
                <a:gd name="connsiteY16583" fmla="*/ 1303973 h 3355086"/>
                <a:gd name="connsiteX16584" fmla="*/ 3066859 w 3359086"/>
                <a:gd name="connsiteY16584" fmla="*/ 1297782 h 3355086"/>
                <a:gd name="connsiteX16585" fmla="*/ 3293077 w 3359086"/>
                <a:gd name="connsiteY16585" fmla="*/ 1296258 h 3355086"/>
                <a:gd name="connsiteX16586" fmla="*/ 3299269 w 3359086"/>
                <a:gd name="connsiteY16586" fmla="*/ 1302449 h 3355086"/>
                <a:gd name="connsiteX16587" fmla="*/ 3293077 w 3359086"/>
                <a:gd name="connsiteY16587" fmla="*/ 1308641 h 3355086"/>
                <a:gd name="connsiteX16588" fmla="*/ 3286886 w 3359086"/>
                <a:gd name="connsiteY16588" fmla="*/ 1302449 h 3355086"/>
                <a:gd name="connsiteX16589" fmla="*/ 3293077 w 3359086"/>
                <a:gd name="connsiteY16589" fmla="*/ 1296258 h 3355086"/>
                <a:gd name="connsiteX16590" fmla="*/ 611695 w 3359086"/>
                <a:gd name="connsiteY16590" fmla="*/ 1296162 h 3355086"/>
                <a:gd name="connsiteX16591" fmla="*/ 617887 w 3359086"/>
                <a:gd name="connsiteY16591" fmla="*/ 1302353 h 3355086"/>
                <a:gd name="connsiteX16592" fmla="*/ 611695 w 3359086"/>
                <a:gd name="connsiteY16592" fmla="*/ 1308544 h 3355086"/>
                <a:gd name="connsiteX16593" fmla="*/ 605504 w 3359086"/>
                <a:gd name="connsiteY16593" fmla="*/ 1302353 h 3355086"/>
                <a:gd name="connsiteX16594" fmla="*/ 611695 w 3359086"/>
                <a:gd name="connsiteY16594" fmla="*/ 1296162 h 3355086"/>
                <a:gd name="connsiteX16595" fmla="*/ 90868 w 3359086"/>
                <a:gd name="connsiteY16595" fmla="*/ 1296067 h 3355086"/>
                <a:gd name="connsiteX16596" fmla="*/ 97059 w 3359086"/>
                <a:gd name="connsiteY16596" fmla="*/ 1302258 h 3355086"/>
                <a:gd name="connsiteX16597" fmla="*/ 90868 w 3359086"/>
                <a:gd name="connsiteY16597" fmla="*/ 1308450 h 3355086"/>
                <a:gd name="connsiteX16598" fmla="*/ 84677 w 3359086"/>
                <a:gd name="connsiteY16598" fmla="*/ 1302258 h 3355086"/>
                <a:gd name="connsiteX16599" fmla="*/ 90868 w 3359086"/>
                <a:gd name="connsiteY16599" fmla="*/ 1296067 h 3355086"/>
                <a:gd name="connsiteX16600" fmla="*/ 3191446 w 3359086"/>
                <a:gd name="connsiteY16600" fmla="*/ 1295972 h 3355086"/>
                <a:gd name="connsiteX16601" fmla="*/ 3197637 w 3359086"/>
                <a:gd name="connsiteY16601" fmla="*/ 1302163 h 3355086"/>
                <a:gd name="connsiteX16602" fmla="*/ 3191446 w 3359086"/>
                <a:gd name="connsiteY16602" fmla="*/ 1308355 h 3355086"/>
                <a:gd name="connsiteX16603" fmla="*/ 3185255 w 3359086"/>
                <a:gd name="connsiteY16603" fmla="*/ 1302163 h 3355086"/>
                <a:gd name="connsiteX16604" fmla="*/ 3191446 w 3359086"/>
                <a:gd name="connsiteY16604" fmla="*/ 1295972 h 3355086"/>
                <a:gd name="connsiteX16605" fmla="*/ 71818 w 3359086"/>
                <a:gd name="connsiteY16605" fmla="*/ 1294733 h 3355086"/>
                <a:gd name="connsiteX16606" fmla="*/ 78009 w 3359086"/>
                <a:gd name="connsiteY16606" fmla="*/ 1300924 h 3355086"/>
                <a:gd name="connsiteX16607" fmla="*/ 71818 w 3359086"/>
                <a:gd name="connsiteY16607" fmla="*/ 1307116 h 3355086"/>
                <a:gd name="connsiteX16608" fmla="*/ 65627 w 3359086"/>
                <a:gd name="connsiteY16608" fmla="*/ 1300924 h 3355086"/>
                <a:gd name="connsiteX16609" fmla="*/ 71818 w 3359086"/>
                <a:gd name="connsiteY16609" fmla="*/ 1294733 h 3355086"/>
                <a:gd name="connsiteX16610" fmla="*/ 59721 w 3359086"/>
                <a:gd name="connsiteY16610" fmla="*/ 1294257 h 3355086"/>
                <a:gd name="connsiteX16611" fmla="*/ 65913 w 3359086"/>
                <a:gd name="connsiteY16611" fmla="*/ 1300448 h 3355086"/>
                <a:gd name="connsiteX16612" fmla="*/ 59721 w 3359086"/>
                <a:gd name="connsiteY16612" fmla="*/ 1306640 h 3355086"/>
                <a:gd name="connsiteX16613" fmla="*/ 53530 w 3359086"/>
                <a:gd name="connsiteY16613" fmla="*/ 1300448 h 3355086"/>
                <a:gd name="connsiteX16614" fmla="*/ 59721 w 3359086"/>
                <a:gd name="connsiteY16614" fmla="*/ 1294257 h 3355086"/>
                <a:gd name="connsiteX16615" fmla="*/ 284225 w 3359086"/>
                <a:gd name="connsiteY16615" fmla="*/ 1290733 h 3355086"/>
                <a:gd name="connsiteX16616" fmla="*/ 290416 w 3359086"/>
                <a:gd name="connsiteY16616" fmla="*/ 1296924 h 3355086"/>
                <a:gd name="connsiteX16617" fmla="*/ 284225 w 3359086"/>
                <a:gd name="connsiteY16617" fmla="*/ 1303116 h 3355086"/>
                <a:gd name="connsiteX16618" fmla="*/ 278034 w 3359086"/>
                <a:gd name="connsiteY16618" fmla="*/ 1296924 h 3355086"/>
                <a:gd name="connsiteX16619" fmla="*/ 284225 w 3359086"/>
                <a:gd name="connsiteY16619" fmla="*/ 1290733 h 3355086"/>
                <a:gd name="connsiteX16620" fmla="*/ 3237071 w 3359086"/>
                <a:gd name="connsiteY16620" fmla="*/ 1290542 h 3355086"/>
                <a:gd name="connsiteX16621" fmla="*/ 3243262 w 3359086"/>
                <a:gd name="connsiteY16621" fmla="*/ 1296733 h 3355086"/>
                <a:gd name="connsiteX16622" fmla="*/ 3237071 w 3359086"/>
                <a:gd name="connsiteY16622" fmla="*/ 1302925 h 3355086"/>
                <a:gd name="connsiteX16623" fmla="*/ 3230880 w 3359086"/>
                <a:gd name="connsiteY16623" fmla="*/ 1296733 h 3355086"/>
                <a:gd name="connsiteX16624" fmla="*/ 3237071 w 3359086"/>
                <a:gd name="connsiteY16624" fmla="*/ 1290542 h 3355086"/>
                <a:gd name="connsiteX16625" fmla="*/ 2686716 w 3359086"/>
                <a:gd name="connsiteY16625" fmla="*/ 1290066 h 3355086"/>
                <a:gd name="connsiteX16626" fmla="*/ 2692907 w 3359086"/>
                <a:gd name="connsiteY16626" fmla="*/ 1296257 h 3355086"/>
                <a:gd name="connsiteX16627" fmla="*/ 2686716 w 3359086"/>
                <a:gd name="connsiteY16627" fmla="*/ 1302449 h 3355086"/>
                <a:gd name="connsiteX16628" fmla="*/ 2680525 w 3359086"/>
                <a:gd name="connsiteY16628" fmla="*/ 1296257 h 3355086"/>
                <a:gd name="connsiteX16629" fmla="*/ 2686716 w 3359086"/>
                <a:gd name="connsiteY16629" fmla="*/ 1290066 h 3355086"/>
                <a:gd name="connsiteX16630" fmla="*/ 3270217 w 3359086"/>
                <a:gd name="connsiteY16630" fmla="*/ 1289971 h 3355086"/>
                <a:gd name="connsiteX16631" fmla="*/ 3276409 w 3359086"/>
                <a:gd name="connsiteY16631" fmla="*/ 1296162 h 3355086"/>
                <a:gd name="connsiteX16632" fmla="*/ 3270217 w 3359086"/>
                <a:gd name="connsiteY16632" fmla="*/ 1302354 h 3355086"/>
                <a:gd name="connsiteX16633" fmla="*/ 3264026 w 3359086"/>
                <a:gd name="connsiteY16633" fmla="*/ 1296162 h 3355086"/>
                <a:gd name="connsiteX16634" fmla="*/ 3270217 w 3359086"/>
                <a:gd name="connsiteY16634" fmla="*/ 1289971 h 3355086"/>
                <a:gd name="connsiteX16635" fmla="*/ 3257835 w 3359086"/>
                <a:gd name="connsiteY16635" fmla="*/ 1289780 h 3355086"/>
                <a:gd name="connsiteX16636" fmla="*/ 3264026 w 3359086"/>
                <a:gd name="connsiteY16636" fmla="*/ 1295971 h 3355086"/>
                <a:gd name="connsiteX16637" fmla="*/ 3257835 w 3359086"/>
                <a:gd name="connsiteY16637" fmla="*/ 1302163 h 3355086"/>
                <a:gd name="connsiteX16638" fmla="*/ 3251644 w 3359086"/>
                <a:gd name="connsiteY16638" fmla="*/ 1295971 h 3355086"/>
                <a:gd name="connsiteX16639" fmla="*/ 3257835 w 3359086"/>
                <a:gd name="connsiteY16639" fmla="*/ 1289780 h 3355086"/>
                <a:gd name="connsiteX16640" fmla="*/ 150304 w 3359086"/>
                <a:gd name="connsiteY16640" fmla="*/ 1289209 h 3355086"/>
                <a:gd name="connsiteX16641" fmla="*/ 156496 w 3359086"/>
                <a:gd name="connsiteY16641" fmla="*/ 1295400 h 3355086"/>
                <a:gd name="connsiteX16642" fmla="*/ 150304 w 3359086"/>
                <a:gd name="connsiteY16642" fmla="*/ 1301592 h 3355086"/>
                <a:gd name="connsiteX16643" fmla="*/ 144113 w 3359086"/>
                <a:gd name="connsiteY16643" fmla="*/ 1295400 h 3355086"/>
                <a:gd name="connsiteX16644" fmla="*/ 150304 w 3359086"/>
                <a:gd name="connsiteY16644" fmla="*/ 1289209 h 3355086"/>
                <a:gd name="connsiteX16645" fmla="*/ 3286410 w 3359086"/>
                <a:gd name="connsiteY16645" fmla="*/ 1288542 h 3355086"/>
                <a:gd name="connsiteX16646" fmla="*/ 3292601 w 3359086"/>
                <a:gd name="connsiteY16646" fmla="*/ 1294733 h 3355086"/>
                <a:gd name="connsiteX16647" fmla="*/ 3286410 w 3359086"/>
                <a:gd name="connsiteY16647" fmla="*/ 1300925 h 3355086"/>
                <a:gd name="connsiteX16648" fmla="*/ 3280219 w 3359086"/>
                <a:gd name="connsiteY16648" fmla="*/ 1294733 h 3355086"/>
                <a:gd name="connsiteX16649" fmla="*/ 3286410 w 3359086"/>
                <a:gd name="connsiteY16649" fmla="*/ 1288542 h 3355086"/>
                <a:gd name="connsiteX16650" fmla="*/ 49149 w 3359086"/>
                <a:gd name="connsiteY16650" fmla="*/ 1286352 h 3355086"/>
                <a:gd name="connsiteX16651" fmla="*/ 53245 w 3359086"/>
                <a:gd name="connsiteY16651" fmla="*/ 1290448 h 3355086"/>
                <a:gd name="connsiteX16652" fmla="*/ 49149 w 3359086"/>
                <a:gd name="connsiteY16652" fmla="*/ 1294543 h 3355086"/>
                <a:gd name="connsiteX16653" fmla="*/ 45053 w 3359086"/>
                <a:gd name="connsiteY16653" fmla="*/ 1290448 h 3355086"/>
                <a:gd name="connsiteX16654" fmla="*/ 49149 w 3359086"/>
                <a:gd name="connsiteY16654" fmla="*/ 1286352 h 3355086"/>
                <a:gd name="connsiteX16655" fmla="*/ 64579 w 3359086"/>
                <a:gd name="connsiteY16655" fmla="*/ 1284828 h 3355086"/>
                <a:gd name="connsiteX16656" fmla="*/ 70770 w 3359086"/>
                <a:gd name="connsiteY16656" fmla="*/ 1291019 h 3355086"/>
                <a:gd name="connsiteX16657" fmla="*/ 64579 w 3359086"/>
                <a:gd name="connsiteY16657" fmla="*/ 1297210 h 3355086"/>
                <a:gd name="connsiteX16658" fmla="*/ 58388 w 3359086"/>
                <a:gd name="connsiteY16658" fmla="*/ 1291019 h 3355086"/>
                <a:gd name="connsiteX16659" fmla="*/ 64579 w 3359086"/>
                <a:gd name="connsiteY16659" fmla="*/ 1284828 h 3355086"/>
                <a:gd name="connsiteX16660" fmla="*/ 3030568 w 3359086"/>
                <a:gd name="connsiteY16660" fmla="*/ 1284542 h 3355086"/>
                <a:gd name="connsiteX16661" fmla="*/ 3036760 w 3359086"/>
                <a:gd name="connsiteY16661" fmla="*/ 1290733 h 3355086"/>
                <a:gd name="connsiteX16662" fmla="*/ 3030568 w 3359086"/>
                <a:gd name="connsiteY16662" fmla="*/ 1296924 h 3355086"/>
                <a:gd name="connsiteX16663" fmla="*/ 3024377 w 3359086"/>
                <a:gd name="connsiteY16663" fmla="*/ 1290733 h 3355086"/>
                <a:gd name="connsiteX16664" fmla="*/ 3030568 w 3359086"/>
                <a:gd name="connsiteY16664" fmla="*/ 1284542 h 3355086"/>
                <a:gd name="connsiteX16665" fmla="*/ 100202 w 3359086"/>
                <a:gd name="connsiteY16665" fmla="*/ 1284161 h 3355086"/>
                <a:gd name="connsiteX16666" fmla="*/ 106394 w 3359086"/>
                <a:gd name="connsiteY16666" fmla="*/ 1290352 h 3355086"/>
                <a:gd name="connsiteX16667" fmla="*/ 100202 w 3359086"/>
                <a:gd name="connsiteY16667" fmla="*/ 1296544 h 3355086"/>
                <a:gd name="connsiteX16668" fmla="*/ 94011 w 3359086"/>
                <a:gd name="connsiteY16668" fmla="*/ 1290352 h 3355086"/>
                <a:gd name="connsiteX16669" fmla="*/ 100202 w 3359086"/>
                <a:gd name="connsiteY16669" fmla="*/ 1284161 h 3355086"/>
                <a:gd name="connsiteX16670" fmla="*/ 77342 w 3359086"/>
                <a:gd name="connsiteY16670" fmla="*/ 1283875 h 3355086"/>
                <a:gd name="connsiteX16671" fmla="*/ 83534 w 3359086"/>
                <a:gd name="connsiteY16671" fmla="*/ 1290066 h 3355086"/>
                <a:gd name="connsiteX16672" fmla="*/ 77342 w 3359086"/>
                <a:gd name="connsiteY16672" fmla="*/ 1296258 h 3355086"/>
                <a:gd name="connsiteX16673" fmla="*/ 71151 w 3359086"/>
                <a:gd name="connsiteY16673" fmla="*/ 1290066 h 3355086"/>
                <a:gd name="connsiteX16674" fmla="*/ 77342 w 3359086"/>
                <a:gd name="connsiteY16674" fmla="*/ 1283875 h 3355086"/>
                <a:gd name="connsiteX16675" fmla="*/ 3172967 w 3359086"/>
                <a:gd name="connsiteY16675" fmla="*/ 1283208 h 3355086"/>
                <a:gd name="connsiteX16676" fmla="*/ 3179158 w 3359086"/>
                <a:gd name="connsiteY16676" fmla="*/ 1289399 h 3355086"/>
                <a:gd name="connsiteX16677" fmla="*/ 3172967 w 3359086"/>
                <a:gd name="connsiteY16677" fmla="*/ 1295590 h 3355086"/>
                <a:gd name="connsiteX16678" fmla="*/ 3166776 w 3359086"/>
                <a:gd name="connsiteY16678" fmla="*/ 1289399 h 3355086"/>
                <a:gd name="connsiteX16679" fmla="*/ 3172967 w 3359086"/>
                <a:gd name="connsiteY16679" fmla="*/ 1283208 h 3355086"/>
                <a:gd name="connsiteX16680" fmla="*/ 686180 w 3359086"/>
                <a:gd name="connsiteY16680" fmla="*/ 1282922 h 3355086"/>
                <a:gd name="connsiteX16681" fmla="*/ 692372 w 3359086"/>
                <a:gd name="connsiteY16681" fmla="*/ 1289113 h 3355086"/>
                <a:gd name="connsiteX16682" fmla="*/ 686180 w 3359086"/>
                <a:gd name="connsiteY16682" fmla="*/ 1295305 h 3355086"/>
                <a:gd name="connsiteX16683" fmla="*/ 679989 w 3359086"/>
                <a:gd name="connsiteY16683" fmla="*/ 1289113 h 3355086"/>
                <a:gd name="connsiteX16684" fmla="*/ 686180 w 3359086"/>
                <a:gd name="connsiteY16684" fmla="*/ 1282922 h 3355086"/>
                <a:gd name="connsiteX16685" fmla="*/ 3280124 w 3359086"/>
                <a:gd name="connsiteY16685" fmla="*/ 1280446 h 3355086"/>
                <a:gd name="connsiteX16686" fmla="*/ 3286315 w 3359086"/>
                <a:gd name="connsiteY16686" fmla="*/ 1286637 h 3355086"/>
                <a:gd name="connsiteX16687" fmla="*/ 3280124 w 3359086"/>
                <a:gd name="connsiteY16687" fmla="*/ 1292829 h 3355086"/>
                <a:gd name="connsiteX16688" fmla="*/ 3273933 w 3359086"/>
                <a:gd name="connsiteY16688" fmla="*/ 1286637 h 3355086"/>
                <a:gd name="connsiteX16689" fmla="*/ 3280124 w 3359086"/>
                <a:gd name="connsiteY16689" fmla="*/ 1280446 h 3355086"/>
                <a:gd name="connsiteX16690" fmla="*/ 3265265 w 3359086"/>
                <a:gd name="connsiteY16690" fmla="*/ 1280255 h 3355086"/>
                <a:gd name="connsiteX16691" fmla="*/ 3271456 w 3359086"/>
                <a:gd name="connsiteY16691" fmla="*/ 1286446 h 3355086"/>
                <a:gd name="connsiteX16692" fmla="*/ 3265265 w 3359086"/>
                <a:gd name="connsiteY16692" fmla="*/ 1292638 h 3355086"/>
                <a:gd name="connsiteX16693" fmla="*/ 3259074 w 3359086"/>
                <a:gd name="connsiteY16693" fmla="*/ 1286446 h 3355086"/>
                <a:gd name="connsiteX16694" fmla="*/ 3265265 w 3359086"/>
                <a:gd name="connsiteY16694" fmla="*/ 1280255 h 3355086"/>
                <a:gd name="connsiteX16695" fmla="*/ 3252025 w 3359086"/>
                <a:gd name="connsiteY16695" fmla="*/ 1278636 h 3355086"/>
                <a:gd name="connsiteX16696" fmla="*/ 3258217 w 3359086"/>
                <a:gd name="connsiteY16696" fmla="*/ 1284827 h 3355086"/>
                <a:gd name="connsiteX16697" fmla="*/ 3252025 w 3359086"/>
                <a:gd name="connsiteY16697" fmla="*/ 1291019 h 3355086"/>
                <a:gd name="connsiteX16698" fmla="*/ 3245834 w 3359086"/>
                <a:gd name="connsiteY16698" fmla="*/ 1284827 h 3355086"/>
                <a:gd name="connsiteX16699" fmla="*/ 3252025 w 3359086"/>
                <a:gd name="connsiteY16699" fmla="*/ 1278636 h 3355086"/>
                <a:gd name="connsiteX16700" fmla="*/ 3227069 w 3359086"/>
                <a:gd name="connsiteY16700" fmla="*/ 1278446 h 3355086"/>
                <a:gd name="connsiteX16701" fmla="*/ 3233261 w 3359086"/>
                <a:gd name="connsiteY16701" fmla="*/ 1284637 h 3355086"/>
                <a:gd name="connsiteX16702" fmla="*/ 3227069 w 3359086"/>
                <a:gd name="connsiteY16702" fmla="*/ 1290828 h 3355086"/>
                <a:gd name="connsiteX16703" fmla="*/ 3220878 w 3359086"/>
                <a:gd name="connsiteY16703" fmla="*/ 1284637 h 3355086"/>
                <a:gd name="connsiteX16704" fmla="*/ 3227069 w 3359086"/>
                <a:gd name="connsiteY16704" fmla="*/ 1278446 h 3355086"/>
                <a:gd name="connsiteX16705" fmla="*/ 3305556 w 3359086"/>
                <a:gd name="connsiteY16705" fmla="*/ 1277684 h 3355086"/>
                <a:gd name="connsiteX16706" fmla="*/ 3311271 w 3359086"/>
                <a:gd name="connsiteY16706" fmla="*/ 1283399 h 3355086"/>
                <a:gd name="connsiteX16707" fmla="*/ 3305556 w 3359086"/>
                <a:gd name="connsiteY16707" fmla="*/ 1289114 h 3355086"/>
                <a:gd name="connsiteX16708" fmla="*/ 3299841 w 3359086"/>
                <a:gd name="connsiteY16708" fmla="*/ 1283399 h 3355086"/>
                <a:gd name="connsiteX16709" fmla="*/ 3305556 w 3359086"/>
                <a:gd name="connsiteY16709" fmla="*/ 1277684 h 3355086"/>
                <a:gd name="connsiteX16710" fmla="*/ 322802 w 3359086"/>
                <a:gd name="connsiteY16710" fmla="*/ 1277208 h 3355086"/>
                <a:gd name="connsiteX16711" fmla="*/ 328993 w 3359086"/>
                <a:gd name="connsiteY16711" fmla="*/ 1283399 h 3355086"/>
                <a:gd name="connsiteX16712" fmla="*/ 322802 w 3359086"/>
                <a:gd name="connsiteY16712" fmla="*/ 1289591 h 3355086"/>
                <a:gd name="connsiteX16713" fmla="*/ 316611 w 3359086"/>
                <a:gd name="connsiteY16713" fmla="*/ 1283399 h 3355086"/>
                <a:gd name="connsiteX16714" fmla="*/ 322802 w 3359086"/>
                <a:gd name="connsiteY16714" fmla="*/ 1277208 h 3355086"/>
                <a:gd name="connsiteX16715" fmla="*/ 2608897 w 3359086"/>
                <a:gd name="connsiteY16715" fmla="*/ 1276636 h 3355086"/>
                <a:gd name="connsiteX16716" fmla="*/ 2615088 w 3359086"/>
                <a:gd name="connsiteY16716" fmla="*/ 1282827 h 3355086"/>
                <a:gd name="connsiteX16717" fmla="*/ 2608897 w 3359086"/>
                <a:gd name="connsiteY16717" fmla="*/ 1289019 h 3355086"/>
                <a:gd name="connsiteX16718" fmla="*/ 2602706 w 3359086"/>
                <a:gd name="connsiteY16718" fmla="*/ 1282827 h 3355086"/>
                <a:gd name="connsiteX16719" fmla="*/ 2608897 w 3359086"/>
                <a:gd name="connsiteY16719" fmla="*/ 1276636 h 3355086"/>
                <a:gd name="connsiteX16720" fmla="*/ 170211 w 3359086"/>
                <a:gd name="connsiteY16720" fmla="*/ 1276160 h 3355086"/>
                <a:gd name="connsiteX16721" fmla="*/ 176403 w 3359086"/>
                <a:gd name="connsiteY16721" fmla="*/ 1282351 h 3355086"/>
                <a:gd name="connsiteX16722" fmla="*/ 170211 w 3359086"/>
                <a:gd name="connsiteY16722" fmla="*/ 1288543 h 3355086"/>
                <a:gd name="connsiteX16723" fmla="*/ 164020 w 3359086"/>
                <a:gd name="connsiteY16723" fmla="*/ 1282351 h 3355086"/>
                <a:gd name="connsiteX16724" fmla="*/ 170211 w 3359086"/>
                <a:gd name="connsiteY16724" fmla="*/ 1276160 h 3355086"/>
                <a:gd name="connsiteX16725" fmla="*/ 55244 w 3359086"/>
                <a:gd name="connsiteY16725" fmla="*/ 1275779 h 3355086"/>
                <a:gd name="connsiteX16726" fmla="*/ 61435 w 3359086"/>
                <a:gd name="connsiteY16726" fmla="*/ 1281970 h 3355086"/>
                <a:gd name="connsiteX16727" fmla="*/ 55244 w 3359086"/>
                <a:gd name="connsiteY16727" fmla="*/ 1288162 h 3355086"/>
                <a:gd name="connsiteX16728" fmla="*/ 49053 w 3359086"/>
                <a:gd name="connsiteY16728" fmla="*/ 1281970 h 3355086"/>
                <a:gd name="connsiteX16729" fmla="*/ 55244 w 3359086"/>
                <a:gd name="connsiteY16729" fmla="*/ 1275779 h 3355086"/>
                <a:gd name="connsiteX16730" fmla="*/ 69532 w 3359086"/>
                <a:gd name="connsiteY16730" fmla="*/ 1274826 h 3355086"/>
                <a:gd name="connsiteX16731" fmla="*/ 75723 w 3359086"/>
                <a:gd name="connsiteY16731" fmla="*/ 1281017 h 3355086"/>
                <a:gd name="connsiteX16732" fmla="*/ 69532 w 3359086"/>
                <a:gd name="connsiteY16732" fmla="*/ 1287209 h 3355086"/>
                <a:gd name="connsiteX16733" fmla="*/ 63341 w 3359086"/>
                <a:gd name="connsiteY16733" fmla="*/ 1281017 h 3355086"/>
                <a:gd name="connsiteX16734" fmla="*/ 69532 w 3359086"/>
                <a:gd name="connsiteY16734" fmla="*/ 1274826 h 3355086"/>
                <a:gd name="connsiteX16735" fmla="*/ 83629 w 3359086"/>
                <a:gd name="connsiteY16735" fmla="*/ 1272540 h 3355086"/>
                <a:gd name="connsiteX16736" fmla="*/ 89821 w 3359086"/>
                <a:gd name="connsiteY16736" fmla="*/ 1278731 h 3355086"/>
                <a:gd name="connsiteX16737" fmla="*/ 83629 w 3359086"/>
                <a:gd name="connsiteY16737" fmla="*/ 1284923 h 3355086"/>
                <a:gd name="connsiteX16738" fmla="*/ 77438 w 3359086"/>
                <a:gd name="connsiteY16738" fmla="*/ 1278731 h 3355086"/>
                <a:gd name="connsiteX16739" fmla="*/ 83629 w 3359086"/>
                <a:gd name="connsiteY16739" fmla="*/ 1272540 h 3355086"/>
                <a:gd name="connsiteX16740" fmla="*/ 3274218 w 3359086"/>
                <a:gd name="connsiteY16740" fmla="*/ 1271683 h 3355086"/>
                <a:gd name="connsiteX16741" fmla="*/ 3280409 w 3359086"/>
                <a:gd name="connsiteY16741" fmla="*/ 1277874 h 3355086"/>
                <a:gd name="connsiteX16742" fmla="*/ 3274218 w 3359086"/>
                <a:gd name="connsiteY16742" fmla="*/ 1284066 h 3355086"/>
                <a:gd name="connsiteX16743" fmla="*/ 3268027 w 3359086"/>
                <a:gd name="connsiteY16743" fmla="*/ 1277874 h 3355086"/>
                <a:gd name="connsiteX16744" fmla="*/ 3274218 w 3359086"/>
                <a:gd name="connsiteY16744" fmla="*/ 1271683 h 3355086"/>
                <a:gd name="connsiteX16745" fmla="*/ 111156 w 3359086"/>
                <a:gd name="connsiteY16745" fmla="*/ 1271683 h 3355086"/>
                <a:gd name="connsiteX16746" fmla="*/ 117347 w 3359086"/>
                <a:gd name="connsiteY16746" fmla="*/ 1277874 h 3355086"/>
                <a:gd name="connsiteX16747" fmla="*/ 111156 w 3359086"/>
                <a:gd name="connsiteY16747" fmla="*/ 1284066 h 3355086"/>
                <a:gd name="connsiteX16748" fmla="*/ 104965 w 3359086"/>
                <a:gd name="connsiteY16748" fmla="*/ 1277874 h 3355086"/>
                <a:gd name="connsiteX16749" fmla="*/ 111156 w 3359086"/>
                <a:gd name="connsiteY16749" fmla="*/ 1271683 h 3355086"/>
                <a:gd name="connsiteX16750" fmla="*/ 2989897 w 3359086"/>
                <a:gd name="connsiteY16750" fmla="*/ 1270730 h 3355086"/>
                <a:gd name="connsiteX16751" fmla="*/ 2996088 w 3359086"/>
                <a:gd name="connsiteY16751" fmla="*/ 1276921 h 3355086"/>
                <a:gd name="connsiteX16752" fmla="*/ 2989897 w 3359086"/>
                <a:gd name="connsiteY16752" fmla="*/ 1283113 h 3355086"/>
                <a:gd name="connsiteX16753" fmla="*/ 2983706 w 3359086"/>
                <a:gd name="connsiteY16753" fmla="*/ 1276921 h 3355086"/>
                <a:gd name="connsiteX16754" fmla="*/ 2989897 w 3359086"/>
                <a:gd name="connsiteY16754" fmla="*/ 1270730 h 3355086"/>
                <a:gd name="connsiteX16755" fmla="*/ 3297078 w 3359086"/>
                <a:gd name="connsiteY16755" fmla="*/ 1270254 h 3355086"/>
                <a:gd name="connsiteX16756" fmla="*/ 3303269 w 3359086"/>
                <a:gd name="connsiteY16756" fmla="*/ 1276445 h 3355086"/>
                <a:gd name="connsiteX16757" fmla="*/ 3297078 w 3359086"/>
                <a:gd name="connsiteY16757" fmla="*/ 1282636 h 3355086"/>
                <a:gd name="connsiteX16758" fmla="*/ 3290887 w 3359086"/>
                <a:gd name="connsiteY16758" fmla="*/ 1276445 h 3355086"/>
                <a:gd name="connsiteX16759" fmla="*/ 3297078 w 3359086"/>
                <a:gd name="connsiteY16759" fmla="*/ 1270254 h 3355086"/>
                <a:gd name="connsiteX16760" fmla="*/ 3260312 w 3359086"/>
                <a:gd name="connsiteY16760" fmla="*/ 1269969 h 3355086"/>
                <a:gd name="connsiteX16761" fmla="*/ 3266503 w 3359086"/>
                <a:gd name="connsiteY16761" fmla="*/ 1276160 h 3355086"/>
                <a:gd name="connsiteX16762" fmla="*/ 3260312 w 3359086"/>
                <a:gd name="connsiteY16762" fmla="*/ 1282351 h 3355086"/>
                <a:gd name="connsiteX16763" fmla="*/ 3254121 w 3359086"/>
                <a:gd name="connsiteY16763" fmla="*/ 1276160 h 3355086"/>
                <a:gd name="connsiteX16764" fmla="*/ 3260312 w 3359086"/>
                <a:gd name="connsiteY16764" fmla="*/ 1269969 h 3355086"/>
                <a:gd name="connsiteX16765" fmla="*/ 3151822 w 3359086"/>
                <a:gd name="connsiteY16765" fmla="*/ 1269873 h 3355086"/>
                <a:gd name="connsiteX16766" fmla="*/ 3158013 w 3359086"/>
                <a:gd name="connsiteY16766" fmla="*/ 1276064 h 3355086"/>
                <a:gd name="connsiteX16767" fmla="*/ 3151822 w 3359086"/>
                <a:gd name="connsiteY16767" fmla="*/ 1282256 h 3355086"/>
                <a:gd name="connsiteX16768" fmla="*/ 3145631 w 3359086"/>
                <a:gd name="connsiteY16768" fmla="*/ 1276064 h 3355086"/>
                <a:gd name="connsiteX16769" fmla="*/ 3151822 w 3359086"/>
                <a:gd name="connsiteY16769" fmla="*/ 1269873 h 3355086"/>
                <a:gd name="connsiteX16770" fmla="*/ 767905 w 3359086"/>
                <a:gd name="connsiteY16770" fmla="*/ 1269397 h 3355086"/>
                <a:gd name="connsiteX16771" fmla="*/ 774096 w 3359086"/>
                <a:gd name="connsiteY16771" fmla="*/ 1275588 h 3355086"/>
                <a:gd name="connsiteX16772" fmla="*/ 767905 w 3359086"/>
                <a:gd name="connsiteY16772" fmla="*/ 1281780 h 3355086"/>
                <a:gd name="connsiteX16773" fmla="*/ 761714 w 3359086"/>
                <a:gd name="connsiteY16773" fmla="*/ 1275588 h 3355086"/>
                <a:gd name="connsiteX16774" fmla="*/ 767905 w 3359086"/>
                <a:gd name="connsiteY16774" fmla="*/ 1269397 h 3355086"/>
                <a:gd name="connsiteX16775" fmla="*/ 3245357 w 3359086"/>
                <a:gd name="connsiteY16775" fmla="*/ 1267016 h 3355086"/>
                <a:gd name="connsiteX16776" fmla="*/ 3251548 w 3359086"/>
                <a:gd name="connsiteY16776" fmla="*/ 1273207 h 3355086"/>
                <a:gd name="connsiteX16777" fmla="*/ 3245357 w 3359086"/>
                <a:gd name="connsiteY16777" fmla="*/ 1279399 h 3355086"/>
                <a:gd name="connsiteX16778" fmla="*/ 3239166 w 3359086"/>
                <a:gd name="connsiteY16778" fmla="*/ 1273207 h 3355086"/>
                <a:gd name="connsiteX16779" fmla="*/ 3245357 w 3359086"/>
                <a:gd name="connsiteY16779" fmla="*/ 1267016 h 3355086"/>
                <a:gd name="connsiteX16780" fmla="*/ 60959 w 3359086"/>
                <a:gd name="connsiteY16780" fmla="*/ 1266825 h 3355086"/>
                <a:gd name="connsiteX16781" fmla="*/ 67151 w 3359086"/>
                <a:gd name="connsiteY16781" fmla="*/ 1273016 h 3355086"/>
                <a:gd name="connsiteX16782" fmla="*/ 60959 w 3359086"/>
                <a:gd name="connsiteY16782" fmla="*/ 1279207 h 3355086"/>
                <a:gd name="connsiteX16783" fmla="*/ 54768 w 3359086"/>
                <a:gd name="connsiteY16783" fmla="*/ 1273016 h 3355086"/>
                <a:gd name="connsiteX16784" fmla="*/ 60959 w 3359086"/>
                <a:gd name="connsiteY16784" fmla="*/ 1266825 h 3355086"/>
                <a:gd name="connsiteX16785" fmla="*/ 3215449 w 3359086"/>
                <a:gd name="connsiteY16785" fmla="*/ 1265682 h 3355086"/>
                <a:gd name="connsiteX16786" fmla="*/ 3221641 w 3359086"/>
                <a:gd name="connsiteY16786" fmla="*/ 1271873 h 3355086"/>
                <a:gd name="connsiteX16787" fmla="*/ 3215449 w 3359086"/>
                <a:gd name="connsiteY16787" fmla="*/ 1278065 h 3355086"/>
                <a:gd name="connsiteX16788" fmla="*/ 3209258 w 3359086"/>
                <a:gd name="connsiteY16788" fmla="*/ 1271873 h 3355086"/>
                <a:gd name="connsiteX16789" fmla="*/ 3215449 w 3359086"/>
                <a:gd name="connsiteY16789" fmla="*/ 1265682 h 3355086"/>
                <a:gd name="connsiteX16790" fmla="*/ 74675 w 3359086"/>
                <a:gd name="connsiteY16790" fmla="*/ 1264254 h 3355086"/>
                <a:gd name="connsiteX16791" fmla="*/ 80866 w 3359086"/>
                <a:gd name="connsiteY16791" fmla="*/ 1270445 h 3355086"/>
                <a:gd name="connsiteX16792" fmla="*/ 74675 w 3359086"/>
                <a:gd name="connsiteY16792" fmla="*/ 1276637 h 3355086"/>
                <a:gd name="connsiteX16793" fmla="*/ 68484 w 3359086"/>
                <a:gd name="connsiteY16793" fmla="*/ 1270445 h 3355086"/>
                <a:gd name="connsiteX16794" fmla="*/ 74675 w 3359086"/>
                <a:gd name="connsiteY16794" fmla="*/ 1264254 h 3355086"/>
                <a:gd name="connsiteX16795" fmla="*/ 365950 w 3359086"/>
                <a:gd name="connsiteY16795" fmla="*/ 1263206 h 3355086"/>
                <a:gd name="connsiteX16796" fmla="*/ 372141 w 3359086"/>
                <a:gd name="connsiteY16796" fmla="*/ 1269397 h 3355086"/>
                <a:gd name="connsiteX16797" fmla="*/ 365950 w 3359086"/>
                <a:gd name="connsiteY16797" fmla="*/ 1275589 h 3355086"/>
                <a:gd name="connsiteX16798" fmla="*/ 359759 w 3359086"/>
                <a:gd name="connsiteY16798" fmla="*/ 1269397 h 3355086"/>
                <a:gd name="connsiteX16799" fmla="*/ 365950 w 3359086"/>
                <a:gd name="connsiteY16799" fmla="*/ 1263206 h 3355086"/>
                <a:gd name="connsiteX16800" fmla="*/ 2523743 w 3359086"/>
                <a:gd name="connsiteY16800" fmla="*/ 1263015 h 3355086"/>
                <a:gd name="connsiteX16801" fmla="*/ 2529934 w 3359086"/>
                <a:gd name="connsiteY16801" fmla="*/ 1269206 h 3355086"/>
                <a:gd name="connsiteX16802" fmla="*/ 2523743 w 3359086"/>
                <a:gd name="connsiteY16802" fmla="*/ 1275398 h 3355086"/>
                <a:gd name="connsiteX16803" fmla="*/ 2517552 w 3359086"/>
                <a:gd name="connsiteY16803" fmla="*/ 1269206 h 3355086"/>
                <a:gd name="connsiteX16804" fmla="*/ 2523743 w 3359086"/>
                <a:gd name="connsiteY16804" fmla="*/ 1263015 h 3355086"/>
                <a:gd name="connsiteX16805" fmla="*/ 3289077 w 3359086"/>
                <a:gd name="connsiteY16805" fmla="*/ 1262729 h 3355086"/>
                <a:gd name="connsiteX16806" fmla="*/ 3295268 w 3359086"/>
                <a:gd name="connsiteY16806" fmla="*/ 1268920 h 3355086"/>
                <a:gd name="connsiteX16807" fmla="*/ 3289077 w 3359086"/>
                <a:gd name="connsiteY16807" fmla="*/ 1275112 h 3355086"/>
                <a:gd name="connsiteX16808" fmla="*/ 3282886 w 3359086"/>
                <a:gd name="connsiteY16808" fmla="*/ 1268920 h 3355086"/>
                <a:gd name="connsiteX16809" fmla="*/ 3289077 w 3359086"/>
                <a:gd name="connsiteY16809" fmla="*/ 1262729 h 3355086"/>
                <a:gd name="connsiteX16810" fmla="*/ 3268598 w 3359086"/>
                <a:gd name="connsiteY16810" fmla="*/ 1262539 h 3355086"/>
                <a:gd name="connsiteX16811" fmla="*/ 3274789 w 3359086"/>
                <a:gd name="connsiteY16811" fmla="*/ 1268730 h 3355086"/>
                <a:gd name="connsiteX16812" fmla="*/ 3268598 w 3359086"/>
                <a:gd name="connsiteY16812" fmla="*/ 1274922 h 3355086"/>
                <a:gd name="connsiteX16813" fmla="*/ 3262407 w 3359086"/>
                <a:gd name="connsiteY16813" fmla="*/ 1268730 h 3355086"/>
                <a:gd name="connsiteX16814" fmla="*/ 3268598 w 3359086"/>
                <a:gd name="connsiteY16814" fmla="*/ 1262539 h 3355086"/>
                <a:gd name="connsiteX16815" fmla="*/ 192881 w 3359086"/>
                <a:gd name="connsiteY16815" fmla="*/ 1262539 h 3355086"/>
                <a:gd name="connsiteX16816" fmla="*/ 199072 w 3359086"/>
                <a:gd name="connsiteY16816" fmla="*/ 1268730 h 3355086"/>
                <a:gd name="connsiteX16817" fmla="*/ 192881 w 3359086"/>
                <a:gd name="connsiteY16817" fmla="*/ 1274922 h 3355086"/>
                <a:gd name="connsiteX16818" fmla="*/ 186690 w 3359086"/>
                <a:gd name="connsiteY16818" fmla="*/ 1268730 h 3355086"/>
                <a:gd name="connsiteX16819" fmla="*/ 192881 w 3359086"/>
                <a:gd name="connsiteY16819" fmla="*/ 1262539 h 3355086"/>
                <a:gd name="connsiteX16820" fmla="*/ 90677 w 3359086"/>
                <a:gd name="connsiteY16820" fmla="*/ 1260539 h 3355086"/>
                <a:gd name="connsiteX16821" fmla="*/ 96869 w 3359086"/>
                <a:gd name="connsiteY16821" fmla="*/ 1266730 h 3355086"/>
                <a:gd name="connsiteX16822" fmla="*/ 90677 w 3359086"/>
                <a:gd name="connsiteY16822" fmla="*/ 1272922 h 3355086"/>
                <a:gd name="connsiteX16823" fmla="*/ 84486 w 3359086"/>
                <a:gd name="connsiteY16823" fmla="*/ 1266730 h 3355086"/>
                <a:gd name="connsiteX16824" fmla="*/ 90677 w 3359086"/>
                <a:gd name="connsiteY16824" fmla="*/ 1260539 h 3355086"/>
                <a:gd name="connsiteX16825" fmla="*/ 3255073 w 3359086"/>
                <a:gd name="connsiteY16825" fmla="*/ 1259205 h 3355086"/>
                <a:gd name="connsiteX16826" fmla="*/ 3261265 w 3359086"/>
                <a:gd name="connsiteY16826" fmla="*/ 1265396 h 3355086"/>
                <a:gd name="connsiteX16827" fmla="*/ 3255073 w 3359086"/>
                <a:gd name="connsiteY16827" fmla="*/ 1271588 h 3355086"/>
                <a:gd name="connsiteX16828" fmla="*/ 3248882 w 3359086"/>
                <a:gd name="connsiteY16828" fmla="*/ 1265396 h 3355086"/>
                <a:gd name="connsiteX16829" fmla="*/ 3255073 w 3359086"/>
                <a:gd name="connsiteY16829" fmla="*/ 1259205 h 3355086"/>
                <a:gd name="connsiteX16830" fmla="*/ 123729 w 3359086"/>
                <a:gd name="connsiteY16830" fmla="*/ 1258634 h 3355086"/>
                <a:gd name="connsiteX16831" fmla="*/ 129921 w 3359086"/>
                <a:gd name="connsiteY16831" fmla="*/ 1264825 h 3355086"/>
                <a:gd name="connsiteX16832" fmla="*/ 123729 w 3359086"/>
                <a:gd name="connsiteY16832" fmla="*/ 1271016 h 3355086"/>
                <a:gd name="connsiteX16833" fmla="*/ 117538 w 3359086"/>
                <a:gd name="connsiteY16833" fmla="*/ 1264825 h 3355086"/>
                <a:gd name="connsiteX16834" fmla="*/ 123729 w 3359086"/>
                <a:gd name="connsiteY16834" fmla="*/ 1258634 h 3355086"/>
                <a:gd name="connsiteX16835" fmla="*/ 66579 w 3359086"/>
                <a:gd name="connsiteY16835" fmla="*/ 1257396 h 3355086"/>
                <a:gd name="connsiteX16836" fmla="*/ 72770 w 3359086"/>
                <a:gd name="connsiteY16836" fmla="*/ 1263587 h 3355086"/>
                <a:gd name="connsiteX16837" fmla="*/ 66579 w 3359086"/>
                <a:gd name="connsiteY16837" fmla="*/ 1269779 h 3355086"/>
                <a:gd name="connsiteX16838" fmla="*/ 60388 w 3359086"/>
                <a:gd name="connsiteY16838" fmla="*/ 1263587 h 3355086"/>
                <a:gd name="connsiteX16839" fmla="*/ 66579 w 3359086"/>
                <a:gd name="connsiteY16839" fmla="*/ 1257396 h 3355086"/>
                <a:gd name="connsiteX16840" fmla="*/ 2944463 w 3359086"/>
                <a:gd name="connsiteY16840" fmla="*/ 1256538 h 3355086"/>
                <a:gd name="connsiteX16841" fmla="*/ 2950654 w 3359086"/>
                <a:gd name="connsiteY16841" fmla="*/ 1262729 h 3355086"/>
                <a:gd name="connsiteX16842" fmla="*/ 2944463 w 3359086"/>
                <a:gd name="connsiteY16842" fmla="*/ 1268921 h 3355086"/>
                <a:gd name="connsiteX16843" fmla="*/ 2938272 w 3359086"/>
                <a:gd name="connsiteY16843" fmla="*/ 1262729 h 3355086"/>
                <a:gd name="connsiteX16844" fmla="*/ 2944463 w 3359086"/>
                <a:gd name="connsiteY16844" fmla="*/ 1256538 h 3355086"/>
                <a:gd name="connsiteX16845" fmla="*/ 54292 w 3359086"/>
                <a:gd name="connsiteY16845" fmla="*/ 1256253 h 3355086"/>
                <a:gd name="connsiteX16846" fmla="*/ 54388 w 3359086"/>
                <a:gd name="connsiteY16846" fmla="*/ 1256348 h 3355086"/>
                <a:gd name="connsiteX16847" fmla="*/ 54292 w 3359086"/>
                <a:gd name="connsiteY16847" fmla="*/ 1256443 h 3355086"/>
                <a:gd name="connsiteX16848" fmla="*/ 54197 w 3359086"/>
                <a:gd name="connsiteY16848" fmla="*/ 1256348 h 3355086"/>
                <a:gd name="connsiteX16849" fmla="*/ 54292 w 3359086"/>
                <a:gd name="connsiteY16849" fmla="*/ 1256253 h 3355086"/>
                <a:gd name="connsiteX16850" fmla="*/ 3127724 w 3359086"/>
                <a:gd name="connsiteY16850" fmla="*/ 1255967 h 3355086"/>
                <a:gd name="connsiteX16851" fmla="*/ 3133915 w 3359086"/>
                <a:gd name="connsiteY16851" fmla="*/ 1262158 h 3355086"/>
                <a:gd name="connsiteX16852" fmla="*/ 3127724 w 3359086"/>
                <a:gd name="connsiteY16852" fmla="*/ 1268349 h 3355086"/>
                <a:gd name="connsiteX16853" fmla="*/ 3121533 w 3359086"/>
                <a:gd name="connsiteY16853" fmla="*/ 1262158 h 3355086"/>
                <a:gd name="connsiteX16854" fmla="*/ 3127724 w 3359086"/>
                <a:gd name="connsiteY16854" fmla="*/ 1255967 h 3355086"/>
                <a:gd name="connsiteX16855" fmla="*/ 857154 w 3359086"/>
                <a:gd name="connsiteY16855" fmla="*/ 1255586 h 3355086"/>
                <a:gd name="connsiteX16856" fmla="*/ 863346 w 3359086"/>
                <a:gd name="connsiteY16856" fmla="*/ 1261777 h 3355086"/>
                <a:gd name="connsiteX16857" fmla="*/ 857154 w 3359086"/>
                <a:gd name="connsiteY16857" fmla="*/ 1267969 h 3355086"/>
                <a:gd name="connsiteX16858" fmla="*/ 850963 w 3359086"/>
                <a:gd name="connsiteY16858" fmla="*/ 1261777 h 3355086"/>
                <a:gd name="connsiteX16859" fmla="*/ 857154 w 3359086"/>
                <a:gd name="connsiteY16859" fmla="*/ 1255586 h 3355086"/>
                <a:gd name="connsiteX16860" fmla="*/ 3237832 w 3359086"/>
                <a:gd name="connsiteY16860" fmla="*/ 1254824 h 3355086"/>
                <a:gd name="connsiteX16861" fmla="*/ 3244023 w 3359086"/>
                <a:gd name="connsiteY16861" fmla="*/ 1261015 h 3355086"/>
                <a:gd name="connsiteX16862" fmla="*/ 3237832 w 3359086"/>
                <a:gd name="connsiteY16862" fmla="*/ 1267207 h 3355086"/>
                <a:gd name="connsiteX16863" fmla="*/ 3231641 w 3359086"/>
                <a:gd name="connsiteY16863" fmla="*/ 1261015 h 3355086"/>
                <a:gd name="connsiteX16864" fmla="*/ 3237832 w 3359086"/>
                <a:gd name="connsiteY16864" fmla="*/ 1254824 h 3355086"/>
                <a:gd name="connsiteX16865" fmla="*/ 3281648 w 3359086"/>
                <a:gd name="connsiteY16865" fmla="*/ 1254633 h 3355086"/>
                <a:gd name="connsiteX16866" fmla="*/ 3287839 w 3359086"/>
                <a:gd name="connsiteY16866" fmla="*/ 1260824 h 3355086"/>
                <a:gd name="connsiteX16867" fmla="*/ 3281648 w 3359086"/>
                <a:gd name="connsiteY16867" fmla="*/ 1267015 h 3355086"/>
                <a:gd name="connsiteX16868" fmla="*/ 3275457 w 3359086"/>
                <a:gd name="connsiteY16868" fmla="*/ 1260824 h 3355086"/>
                <a:gd name="connsiteX16869" fmla="*/ 3281648 w 3359086"/>
                <a:gd name="connsiteY16869" fmla="*/ 1254633 h 3355086"/>
                <a:gd name="connsiteX16870" fmla="*/ 80105 w 3359086"/>
                <a:gd name="connsiteY16870" fmla="*/ 1253204 h 3355086"/>
                <a:gd name="connsiteX16871" fmla="*/ 86297 w 3359086"/>
                <a:gd name="connsiteY16871" fmla="*/ 1259395 h 3355086"/>
                <a:gd name="connsiteX16872" fmla="*/ 80105 w 3359086"/>
                <a:gd name="connsiteY16872" fmla="*/ 1265587 h 3355086"/>
                <a:gd name="connsiteX16873" fmla="*/ 73914 w 3359086"/>
                <a:gd name="connsiteY16873" fmla="*/ 1259395 h 3355086"/>
                <a:gd name="connsiteX16874" fmla="*/ 80105 w 3359086"/>
                <a:gd name="connsiteY16874" fmla="*/ 1253204 h 3355086"/>
                <a:gd name="connsiteX16875" fmla="*/ 3263074 w 3359086"/>
                <a:gd name="connsiteY16875" fmla="*/ 1252728 h 3355086"/>
                <a:gd name="connsiteX16876" fmla="*/ 3269266 w 3359086"/>
                <a:gd name="connsiteY16876" fmla="*/ 1258919 h 3355086"/>
                <a:gd name="connsiteX16877" fmla="*/ 3263074 w 3359086"/>
                <a:gd name="connsiteY16877" fmla="*/ 1265111 h 3355086"/>
                <a:gd name="connsiteX16878" fmla="*/ 3256883 w 3359086"/>
                <a:gd name="connsiteY16878" fmla="*/ 1258919 h 3355086"/>
                <a:gd name="connsiteX16879" fmla="*/ 3263074 w 3359086"/>
                <a:gd name="connsiteY16879" fmla="*/ 1252728 h 3355086"/>
                <a:gd name="connsiteX16880" fmla="*/ 3202018 w 3359086"/>
                <a:gd name="connsiteY16880" fmla="*/ 1252442 h 3355086"/>
                <a:gd name="connsiteX16881" fmla="*/ 3208210 w 3359086"/>
                <a:gd name="connsiteY16881" fmla="*/ 1258633 h 3355086"/>
                <a:gd name="connsiteX16882" fmla="*/ 3202018 w 3359086"/>
                <a:gd name="connsiteY16882" fmla="*/ 1264825 h 3355086"/>
                <a:gd name="connsiteX16883" fmla="*/ 3195827 w 3359086"/>
                <a:gd name="connsiteY16883" fmla="*/ 1258633 h 3355086"/>
                <a:gd name="connsiteX16884" fmla="*/ 3202018 w 3359086"/>
                <a:gd name="connsiteY16884" fmla="*/ 1252442 h 3355086"/>
                <a:gd name="connsiteX16885" fmla="*/ 3303175 w 3359086"/>
                <a:gd name="connsiteY16885" fmla="*/ 1250537 h 3355086"/>
                <a:gd name="connsiteX16886" fmla="*/ 3304127 w 3359086"/>
                <a:gd name="connsiteY16886" fmla="*/ 1251490 h 3355086"/>
                <a:gd name="connsiteX16887" fmla="*/ 3303175 w 3359086"/>
                <a:gd name="connsiteY16887" fmla="*/ 1252442 h 3355086"/>
                <a:gd name="connsiteX16888" fmla="*/ 3302222 w 3359086"/>
                <a:gd name="connsiteY16888" fmla="*/ 1251490 h 3355086"/>
                <a:gd name="connsiteX16889" fmla="*/ 3303175 w 3359086"/>
                <a:gd name="connsiteY16889" fmla="*/ 1250537 h 3355086"/>
                <a:gd name="connsiteX16890" fmla="*/ 2430874 w 3359086"/>
                <a:gd name="connsiteY16890" fmla="*/ 1249204 h 3355086"/>
                <a:gd name="connsiteX16891" fmla="*/ 2437066 w 3359086"/>
                <a:gd name="connsiteY16891" fmla="*/ 1255395 h 3355086"/>
                <a:gd name="connsiteX16892" fmla="*/ 2430874 w 3359086"/>
                <a:gd name="connsiteY16892" fmla="*/ 1261587 h 3355086"/>
                <a:gd name="connsiteX16893" fmla="*/ 2424683 w 3359086"/>
                <a:gd name="connsiteY16893" fmla="*/ 1255395 h 3355086"/>
                <a:gd name="connsiteX16894" fmla="*/ 2430874 w 3359086"/>
                <a:gd name="connsiteY16894" fmla="*/ 1249204 h 3355086"/>
                <a:gd name="connsiteX16895" fmla="*/ 414051 w 3359086"/>
                <a:gd name="connsiteY16895" fmla="*/ 1248633 h 3355086"/>
                <a:gd name="connsiteX16896" fmla="*/ 420242 w 3359086"/>
                <a:gd name="connsiteY16896" fmla="*/ 1254824 h 3355086"/>
                <a:gd name="connsiteX16897" fmla="*/ 414051 w 3359086"/>
                <a:gd name="connsiteY16897" fmla="*/ 1261016 h 3355086"/>
                <a:gd name="connsiteX16898" fmla="*/ 407860 w 3359086"/>
                <a:gd name="connsiteY16898" fmla="*/ 1254824 h 3355086"/>
                <a:gd name="connsiteX16899" fmla="*/ 414051 w 3359086"/>
                <a:gd name="connsiteY16899" fmla="*/ 1248633 h 3355086"/>
                <a:gd name="connsiteX16900" fmla="*/ 218693 w 3359086"/>
                <a:gd name="connsiteY16900" fmla="*/ 1248347 h 3355086"/>
                <a:gd name="connsiteX16901" fmla="*/ 224885 w 3359086"/>
                <a:gd name="connsiteY16901" fmla="*/ 1254538 h 3355086"/>
                <a:gd name="connsiteX16902" fmla="*/ 218693 w 3359086"/>
                <a:gd name="connsiteY16902" fmla="*/ 1260730 h 3355086"/>
                <a:gd name="connsiteX16903" fmla="*/ 212502 w 3359086"/>
                <a:gd name="connsiteY16903" fmla="*/ 1254538 h 3355086"/>
                <a:gd name="connsiteX16904" fmla="*/ 218693 w 3359086"/>
                <a:gd name="connsiteY16904" fmla="*/ 1248347 h 3355086"/>
                <a:gd name="connsiteX16905" fmla="*/ 98774 w 3359086"/>
                <a:gd name="connsiteY16905" fmla="*/ 1248061 h 3355086"/>
                <a:gd name="connsiteX16906" fmla="*/ 104966 w 3359086"/>
                <a:gd name="connsiteY16906" fmla="*/ 1254252 h 3355086"/>
                <a:gd name="connsiteX16907" fmla="*/ 98774 w 3359086"/>
                <a:gd name="connsiteY16907" fmla="*/ 1260444 h 3355086"/>
                <a:gd name="connsiteX16908" fmla="*/ 92583 w 3359086"/>
                <a:gd name="connsiteY16908" fmla="*/ 1254252 h 3355086"/>
                <a:gd name="connsiteX16909" fmla="*/ 98774 w 3359086"/>
                <a:gd name="connsiteY16909" fmla="*/ 1248061 h 3355086"/>
                <a:gd name="connsiteX16910" fmla="*/ 3249453 w 3359086"/>
                <a:gd name="connsiteY16910" fmla="*/ 1247775 h 3355086"/>
                <a:gd name="connsiteX16911" fmla="*/ 3255644 w 3359086"/>
                <a:gd name="connsiteY16911" fmla="*/ 1253966 h 3355086"/>
                <a:gd name="connsiteX16912" fmla="*/ 3249453 w 3359086"/>
                <a:gd name="connsiteY16912" fmla="*/ 1260157 h 3355086"/>
                <a:gd name="connsiteX16913" fmla="*/ 3243262 w 3359086"/>
                <a:gd name="connsiteY16913" fmla="*/ 1253966 h 3355086"/>
                <a:gd name="connsiteX16914" fmla="*/ 3249453 w 3359086"/>
                <a:gd name="connsiteY16914" fmla="*/ 1247775 h 3355086"/>
                <a:gd name="connsiteX16915" fmla="*/ 72008 w 3359086"/>
                <a:gd name="connsiteY16915" fmla="*/ 1247299 h 3355086"/>
                <a:gd name="connsiteX16916" fmla="*/ 78200 w 3359086"/>
                <a:gd name="connsiteY16916" fmla="*/ 1253490 h 3355086"/>
                <a:gd name="connsiteX16917" fmla="*/ 72008 w 3359086"/>
                <a:gd name="connsiteY16917" fmla="*/ 1259682 h 3355086"/>
                <a:gd name="connsiteX16918" fmla="*/ 65817 w 3359086"/>
                <a:gd name="connsiteY16918" fmla="*/ 1253490 h 3355086"/>
                <a:gd name="connsiteX16919" fmla="*/ 72008 w 3359086"/>
                <a:gd name="connsiteY16919" fmla="*/ 1247299 h 3355086"/>
                <a:gd name="connsiteX16920" fmla="*/ 3274694 w 3359086"/>
                <a:gd name="connsiteY16920" fmla="*/ 1246156 h 3355086"/>
                <a:gd name="connsiteX16921" fmla="*/ 3280886 w 3359086"/>
                <a:gd name="connsiteY16921" fmla="*/ 1252347 h 3355086"/>
                <a:gd name="connsiteX16922" fmla="*/ 3274694 w 3359086"/>
                <a:gd name="connsiteY16922" fmla="*/ 1258538 h 3355086"/>
                <a:gd name="connsiteX16923" fmla="*/ 3268503 w 3359086"/>
                <a:gd name="connsiteY16923" fmla="*/ 1252347 h 3355086"/>
                <a:gd name="connsiteX16924" fmla="*/ 3274694 w 3359086"/>
                <a:gd name="connsiteY16924" fmla="*/ 1246156 h 3355086"/>
                <a:gd name="connsiteX16925" fmla="*/ 138207 w 3359086"/>
                <a:gd name="connsiteY16925" fmla="*/ 1245108 h 3355086"/>
                <a:gd name="connsiteX16926" fmla="*/ 144399 w 3359086"/>
                <a:gd name="connsiteY16926" fmla="*/ 1251299 h 3355086"/>
                <a:gd name="connsiteX16927" fmla="*/ 138207 w 3359086"/>
                <a:gd name="connsiteY16927" fmla="*/ 1257490 h 3355086"/>
                <a:gd name="connsiteX16928" fmla="*/ 132016 w 3359086"/>
                <a:gd name="connsiteY16928" fmla="*/ 1251299 h 3355086"/>
                <a:gd name="connsiteX16929" fmla="*/ 138207 w 3359086"/>
                <a:gd name="connsiteY16929" fmla="*/ 1245108 h 3355086"/>
                <a:gd name="connsiteX16930" fmla="*/ 3257644 w 3359086"/>
                <a:gd name="connsiteY16930" fmla="*/ 1242441 h 3355086"/>
                <a:gd name="connsiteX16931" fmla="*/ 3263836 w 3359086"/>
                <a:gd name="connsiteY16931" fmla="*/ 1248632 h 3355086"/>
                <a:gd name="connsiteX16932" fmla="*/ 3257644 w 3359086"/>
                <a:gd name="connsiteY16932" fmla="*/ 1254824 h 3355086"/>
                <a:gd name="connsiteX16933" fmla="*/ 3251453 w 3359086"/>
                <a:gd name="connsiteY16933" fmla="*/ 1248632 h 3355086"/>
                <a:gd name="connsiteX16934" fmla="*/ 3257644 w 3359086"/>
                <a:gd name="connsiteY16934" fmla="*/ 1242441 h 3355086"/>
                <a:gd name="connsiteX16935" fmla="*/ 3229260 w 3359086"/>
                <a:gd name="connsiteY16935" fmla="*/ 1242060 h 3355086"/>
                <a:gd name="connsiteX16936" fmla="*/ 3235451 w 3359086"/>
                <a:gd name="connsiteY16936" fmla="*/ 1248251 h 3355086"/>
                <a:gd name="connsiteX16937" fmla="*/ 3229260 w 3359086"/>
                <a:gd name="connsiteY16937" fmla="*/ 1254443 h 3355086"/>
                <a:gd name="connsiteX16938" fmla="*/ 3223069 w 3359086"/>
                <a:gd name="connsiteY16938" fmla="*/ 1248251 h 3355086"/>
                <a:gd name="connsiteX16939" fmla="*/ 3229260 w 3359086"/>
                <a:gd name="connsiteY16939" fmla="*/ 1242060 h 3355086"/>
                <a:gd name="connsiteX16940" fmla="*/ 954309 w 3359086"/>
                <a:gd name="connsiteY16940" fmla="*/ 1241870 h 3355086"/>
                <a:gd name="connsiteX16941" fmla="*/ 960500 w 3359086"/>
                <a:gd name="connsiteY16941" fmla="*/ 1248061 h 3355086"/>
                <a:gd name="connsiteX16942" fmla="*/ 954309 w 3359086"/>
                <a:gd name="connsiteY16942" fmla="*/ 1254253 h 3355086"/>
                <a:gd name="connsiteX16943" fmla="*/ 948118 w 3359086"/>
                <a:gd name="connsiteY16943" fmla="*/ 1248061 h 3355086"/>
                <a:gd name="connsiteX16944" fmla="*/ 954309 w 3359086"/>
                <a:gd name="connsiteY16944" fmla="*/ 1241870 h 3355086"/>
                <a:gd name="connsiteX16945" fmla="*/ 61055 w 3359086"/>
                <a:gd name="connsiteY16945" fmla="*/ 1241870 h 3355086"/>
                <a:gd name="connsiteX16946" fmla="*/ 66675 w 3359086"/>
                <a:gd name="connsiteY16946" fmla="*/ 1247490 h 3355086"/>
                <a:gd name="connsiteX16947" fmla="*/ 61055 w 3359086"/>
                <a:gd name="connsiteY16947" fmla="*/ 1253110 h 3355086"/>
                <a:gd name="connsiteX16948" fmla="*/ 55435 w 3359086"/>
                <a:gd name="connsiteY16948" fmla="*/ 1247490 h 3355086"/>
                <a:gd name="connsiteX16949" fmla="*/ 61055 w 3359086"/>
                <a:gd name="connsiteY16949" fmla="*/ 1241870 h 3355086"/>
                <a:gd name="connsiteX16950" fmla="*/ 2894075 w 3359086"/>
                <a:gd name="connsiteY16950" fmla="*/ 1241775 h 3355086"/>
                <a:gd name="connsiteX16951" fmla="*/ 2900266 w 3359086"/>
                <a:gd name="connsiteY16951" fmla="*/ 1247966 h 3355086"/>
                <a:gd name="connsiteX16952" fmla="*/ 2894075 w 3359086"/>
                <a:gd name="connsiteY16952" fmla="*/ 1254158 h 3355086"/>
                <a:gd name="connsiteX16953" fmla="*/ 2887884 w 3359086"/>
                <a:gd name="connsiteY16953" fmla="*/ 1247966 h 3355086"/>
                <a:gd name="connsiteX16954" fmla="*/ 2894075 w 3359086"/>
                <a:gd name="connsiteY16954" fmla="*/ 1241775 h 3355086"/>
                <a:gd name="connsiteX16955" fmla="*/ 3100387 w 3359086"/>
                <a:gd name="connsiteY16955" fmla="*/ 1241584 h 3355086"/>
                <a:gd name="connsiteX16956" fmla="*/ 3106578 w 3359086"/>
                <a:gd name="connsiteY16956" fmla="*/ 1247775 h 3355086"/>
                <a:gd name="connsiteX16957" fmla="*/ 3100387 w 3359086"/>
                <a:gd name="connsiteY16957" fmla="*/ 1253967 h 3355086"/>
                <a:gd name="connsiteX16958" fmla="*/ 3094196 w 3359086"/>
                <a:gd name="connsiteY16958" fmla="*/ 1247775 h 3355086"/>
                <a:gd name="connsiteX16959" fmla="*/ 3100387 w 3359086"/>
                <a:gd name="connsiteY16959" fmla="*/ 1241584 h 3355086"/>
                <a:gd name="connsiteX16960" fmla="*/ 85915 w 3359086"/>
                <a:gd name="connsiteY16960" fmla="*/ 1241489 h 3355086"/>
                <a:gd name="connsiteX16961" fmla="*/ 92107 w 3359086"/>
                <a:gd name="connsiteY16961" fmla="*/ 1247680 h 3355086"/>
                <a:gd name="connsiteX16962" fmla="*/ 85915 w 3359086"/>
                <a:gd name="connsiteY16962" fmla="*/ 1253872 h 3355086"/>
                <a:gd name="connsiteX16963" fmla="*/ 79724 w 3359086"/>
                <a:gd name="connsiteY16963" fmla="*/ 1247680 h 3355086"/>
                <a:gd name="connsiteX16964" fmla="*/ 85915 w 3359086"/>
                <a:gd name="connsiteY16964" fmla="*/ 1241489 h 3355086"/>
                <a:gd name="connsiteX16965" fmla="*/ 3186493 w 3359086"/>
                <a:gd name="connsiteY16965" fmla="*/ 1238536 h 3355086"/>
                <a:gd name="connsiteX16966" fmla="*/ 3192684 w 3359086"/>
                <a:gd name="connsiteY16966" fmla="*/ 1244727 h 3355086"/>
                <a:gd name="connsiteX16967" fmla="*/ 3186493 w 3359086"/>
                <a:gd name="connsiteY16967" fmla="*/ 1250919 h 3355086"/>
                <a:gd name="connsiteX16968" fmla="*/ 3180302 w 3359086"/>
                <a:gd name="connsiteY16968" fmla="*/ 1244727 h 3355086"/>
                <a:gd name="connsiteX16969" fmla="*/ 3186493 w 3359086"/>
                <a:gd name="connsiteY16969" fmla="*/ 1238536 h 3355086"/>
                <a:gd name="connsiteX16970" fmla="*/ 3293935 w 3359086"/>
                <a:gd name="connsiteY16970" fmla="*/ 1237965 h 3355086"/>
                <a:gd name="connsiteX16971" fmla="*/ 3300126 w 3359086"/>
                <a:gd name="connsiteY16971" fmla="*/ 1244156 h 3355086"/>
                <a:gd name="connsiteX16972" fmla="*/ 3293935 w 3359086"/>
                <a:gd name="connsiteY16972" fmla="*/ 1250347 h 3355086"/>
                <a:gd name="connsiteX16973" fmla="*/ 3287744 w 3359086"/>
                <a:gd name="connsiteY16973" fmla="*/ 1244156 h 3355086"/>
                <a:gd name="connsiteX16974" fmla="*/ 3293935 w 3359086"/>
                <a:gd name="connsiteY16974" fmla="*/ 1237965 h 3355086"/>
                <a:gd name="connsiteX16975" fmla="*/ 3268122 w 3359086"/>
                <a:gd name="connsiteY16975" fmla="*/ 1237012 h 3355086"/>
                <a:gd name="connsiteX16976" fmla="*/ 3274314 w 3359086"/>
                <a:gd name="connsiteY16976" fmla="*/ 1243203 h 3355086"/>
                <a:gd name="connsiteX16977" fmla="*/ 3268122 w 3359086"/>
                <a:gd name="connsiteY16977" fmla="*/ 1249395 h 3355086"/>
                <a:gd name="connsiteX16978" fmla="*/ 3261931 w 3359086"/>
                <a:gd name="connsiteY16978" fmla="*/ 1243203 h 3355086"/>
                <a:gd name="connsiteX16979" fmla="*/ 3268122 w 3359086"/>
                <a:gd name="connsiteY16979" fmla="*/ 1237012 h 3355086"/>
                <a:gd name="connsiteX16980" fmla="*/ 77533 w 3359086"/>
                <a:gd name="connsiteY16980" fmla="*/ 1236631 h 3355086"/>
                <a:gd name="connsiteX16981" fmla="*/ 83725 w 3359086"/>
                <a:gd name="connsiteY16981" fmla="*/ 1242822 h 3355086"/>
                <a:gd name="connsiteX16982" fmla="*/ 77533 w 3359086"/>
                <a:gd name="connsiteY16982" fmla="*/ 1249013 h 3355086"/>
                <a:gd name="connsiteX16983" fmla="*/ 71342 w 3359086"/>
                <a:gd name="connsiteY16983" fmla="*/ 1242822 h 3355086"/>
                <a:gd name="connsiteX16984" fmla="*/ 77533 w 3359086"/>
                <a:gd name="connsiteY16984" fmla="*/ 1236631 h 3355086"/>
                <a:gd name="connsiteX16985" fmla="*/ 3243357 w 3359086"/>
                <a:gd name="connsiteY16985" fmla="*/ 1235869 h 3355086"/>
                <a:gd name="connsiteX16986" fmla="*/ 3249549 w 3359086"/>
                <a:gd name="connsiteY16986" fmla="*/ 1242060 h 3355086"/>
                <a:gd name="connsiteX16987" fmla="*/ 3243357 w 3359086"/>
                <a:gd name="connsiteY16987" fmla="*/ 1248251 h 3355086"/>
                <a:gd name="connsiteX16988" fmla="*/ 3237166 w 3359086"/>
                <a:gd name="connsiteY16988" fmla="*/ 1242060 h 3355086"/>
                <a:gd name="connsiteX16989" fmla="*/ 3243357 w 3359086"/>
                <a:gd name="connsiteY16989" fmla="*/ 1235869 h 3355086"/>
                <a:gd name="connsiteX16990" fmla="*/ 2329910 w 3359086"/>
                <a:gd name="connsiteY16990" fmla="*/ 1235488 h 3355086"/>
                <a:gd name="connsiteX16991" fmla="*/ 2336101 w 3359086"/>
                <a:gd name="connsiteY16991" fmla="*/ 1241679 h 3355086"/>
                <a:gd name="connsiteX16992" fmla="*/ 2329910 w 3359086"/>
                <a:gd name="connsiteY16992" fmla="*/ 1247871 h 3355086"/>
                <a:gd name="connsiteX16993" fmla="*/ 2323719 w 3359086"/>
                <a:gd name="connsiteY16993" fmla="*/ 1241679 h 3355086"/>
                <a:gd name="connsiteX16994" fmla="*/ 2329910 w 3359086"/>
                <a:gd name="connsiteY16994" fmla="*/ 1235488 h 3355086"/>
                <a:gd name="connsiteX16995" fmla="*/ 108013 w 3359086"/>
                <a:gd name="connsiteY16995" fmla="*/ 1234916 h 3355086"/>
                <a:gd name="connsiteX16996" fmla="*/ 114205 w 3359086"/>
                <a:gd name="connsiteY16996" fmla="*/ 1241107 h 3355086"/>
                <a:gd name="connsiteX16997" fmla="*/ 108013 w 3359086"/>
                <a:gd name="connsiteY16997" fmla="*/ 1247299 h 3355086"/>
                <a:gd name="connsiteX16998" fmla="*/ 101822 w 3359086"/>
                <a:gd name="connsiteY16998" fmla="*/ 1241107 h 3355086"/>
                <a:gd name="connsiteX16999" fmla="*/ 108013 w 3359086"/>
                <a:gd name="connsiteY16999" fmla="*/ 1234916 h 3355086"/>
                <a:gd name="connsiteX17000" fmla="*/ 467391 w 3359086"/>
                <a:gd name="connsiteY17000" fmla="*/ 1233678 h 3355086"/>
                <a:gd name="connsiteX17001" fmla="*/ 473583 w 3359086"/>
                <a:gd name="connsiteY17001" fmla="*/ 1239869 h 3355086"/>
                <a:gd name="connsiteX17002" fmla="*/ 467391 w 3359086"/>
                <a:gd name="connsiteY17002" fmla="*/ 1246061 h 3355086"/>
                <a:gd name="connsiteX17003" fmla="*/ 461200 w 3359086"/>
                <a:gd name="connsiteY17003" fmla="*/ 1239869 h 3355086"/>
                <a:gd name="connsiteX17004" fmla="*/ 467391 w 3359086"/>
                <a:gd name="connsiteY17004" fmla="*/ 1233678 h 3355086"/>
                <a:gd name="connsiteX17005" fmla="*/ 247935 w 3359086"/>
                <a:gd name="connsiteY17005" fmla="*/ 1233583 h 3355086"/>
                <a:gd name="connsiteX17006" fmla="*/ 254127 w 3359086"/>
                <a:gd name="connsiteY17006" fmla="*/ 1239774 h 3355086"/>
                <a:gd name="connsiteX17007" fmla="*/ 247935 w 3359086"/>
                <a:gd name="connsiteY17007" fmla="*/ 1245966 h 3355086"/>
                <a:gd name="connsiteX17008" fmla="*/ 241744 w 3359086"/>
                <a:gd name="connsiteY17008" fmla="*/ 1239774 h 3355086"/>
                <a:gd name="connsiteX17009" fmla="*/ 247935 w 3359086"/>
                <a:gd name="connsiteY17009" fmla="*/ 1233583 h 3355086"/>
                <a:gd name="connsiteX17010" fmla="*/ 67436 w 3359086"/>
                <a:gd name="connsiteY17010" fmla="*/ 1231869 h 3355086"/>
                <a:gd name="connsiteX17011" fmla="*/ 73628 w 3359086"/>
                <a:gd name="connsiteY17011" fmla="*/ 1238060 h 3355086"/>
                <a:gd name="connsiteX17012" fmla="*/ 67436 w 3359086"/>
                <a:gd name="connsiteY17012" fmla="*/ 1244251 h 3355086"/>
                <a:gd name="connsiteX17013" fmla="*/ 61245 w 3359086"/>
                <a:gd name="connsiteY17013" fmla="*/ 1238060 h 3355086"/>
                <a:gd name="connsiteX17014" fmla="*/ 67436 w 3359086"/>
                <a:gd name="connsiteY17014" fmla="*/ 1231869 h 3355086"/>
                <a:gd name="connsiteX17015" fmla="*/ 3252120 w 3359086"/>
                <a:gd name="connsiteY17015" fmla="*/ 1231583 h 3355086"/>
                <a:gd name="connsiteX17016" fmla="*/ 3258311 w 3359086"/>
                <a:gd name="connsiteY17016" fmla="*/ 1237774 h 3355086"/>
                <a:gd name="connsiteX17017" fmla="*/ 3252120 w 3359086"/>
                <a:gd name="connsiteY17017" fmla="*/ 1243966 h 3355086"/>
                <a:gd name="connsiteX17018" fmla="*/ 3245929 w 3359086"/>
                <a:gd name="connsiteY17018" fmla="*/ 1237774 h 3355086"/>
                <a:gd name="connsiteX17019" fmla="*/ 3252120 w 3359086"/>
                <a:gd name="connsiteY17019" fmla="*/ 1231583 h 3355086"/>
                <a:gd name="connsiteX17020" fmla="*/ 154876 w 3359086"/>
                <a:gd name="connsiteY17020" fmla="*/ 1230821 h 3355086"/>
                <a:gd name="connsiteX17021" fmla="*/ 161068 w 3359086"/>
                <a:gd name="connsiteY17021" fmla="*/ 1237012 h 3355086"/>
                <a:gd name="connsiteX17022" fmla="*/ 154876 w 3359086"/>
                <a:gd name="connsiteY17022" fmla="*/ 1243203 h 3355086"/>
                <a:gd name="connsiteX17023" fmla="*/ 148685 w 3359086"/>
                <a:gd name="connsiteY17023" fmla="*/ 1237012 h 3355086"/>
                <a:gd name="connsiteX17024" fmla="*/ 154876 w 3359086"/>
                <a:gd name="connsiteY17024" fmla="*/ 1230821 h 3355086"/>
                <a:gd name="connsiteX17025" fmla="*/ 3285172 w 3359086"/>
                <a:gd name="connsiteY17025" fmla="*/ 1230154 h 3355086"/>
                <a:gd name="connsiteX17026" fmla="*/ 3291363 w 3359086"/>
                <a:gd name="connsiteY17026" fmla="*/ 1236345 h 3355086"/>
                <a:gd name="connsiteX17027" fmla="*/ 3285172 w 3359086"/>
                <a:gd name="connsiteY17027" fmla="*/ 1242537 h 3355086"/>
                <a:gd name="connsiteX17028" fmla="*/ 3278981 w 3359086"/>
                <a:gd name="connsiteY17028" fmla="*/ 1236345 h 3355086"/>
                <a:gd name="connsiteX17029" fmla="*/ 3285172 w 3359086"/>
                <a:gd name="connsiteY17029" fmla="*/ 1230154 h 3355086"/>
                <a:gd name="connsiteX17030" fmla="*/ 92392 w 3359086"/>
                <a:gd name="connsiteY17030" fmla="*/ 1229201 h 3355086"/>
                <a:gd name="connsiteX17031" fmla="*/ 98584 w 3359086"/>
                <a:gd name="connsiteY17031" fmla="*/ 1235392 h 3355086"/>
                <a:gd name="connsiteX17032" fmla="*/ 92392 w 3359086"/>
                <a:gd name="connsiteY17032" fmla="*/ 1241584 h 3355086"/>
                <a:gd name="connsiteX17033" fmla="*/ 86201 w 3359086"/>
                <a:gd name="connsiteY17033" fmla="*/ 1235392 h 3355086"/>
                <a:gd name="connsiteX17034" fmla="*/ 92392 w 3359086"/>
                <a:gd name="connsiteY17034" fmla="*/ 1229201 h 3355086"/>
                <a:gd name="connsiteX17035" fmla="*/ 3219354 w 3359086"/>
                <a:gd name="connsiteY17035" fmla="*/ 1228630 h 3355086"/>
                <a:gd name="connsiteX17036" fmla="*/ 3225546 w 3359086"/>
                <a:gd name="connsiteY17036" fmla="*/ 1234821 h 3355086"/>
                <a:gd name="connsiteX17037" fmla="*/ 3219354 w 3359086"/>
                <a:gd name="connsiteY17037" fmla="*/ 1241013 h 3355086"/>
                <a:gd name="connsiteX17038" fmla="*/ 3213163 w 3359086"/>
                <a:gd name="connsiteY17038" fmla="*/ 1234821 h 3355086"/>
                <a:gd name="connsiteX17039" fmla="*/ 3219354 w 3359086"/>
                <a:gd name="connsiteY17039" fmla="*/ 1228630 h 3355086"/>
                <a:gd name="connsiteX17040" fmla="*/ 1059751 w 3359086"/>
                <a:gd name="connsiteY17040" fmla="*/ 1228344 h 3355086"/>
                <a:gd name="connsiteX17041" fmla="*/ 1065943 w 3359086"/>
                <a:gd name="connsiteY17041" fmla="*/ 1234535 h 3355086"/>
                <a:gd name="connsiteX17042" fmla="*/ 1059751 w 3359086"/>
                <a:gd name="connsiteY17042" fmla="*/ 1240727 h 3355086"/>
                <a:gd name="connsiteX17043" fmla="*/ 1053560 w 3359086"/>
                <a:gd name="connsiteY17043" fmla="*/ 1234535 h 3355086"/>
                <a:gd name="connsiteX17044" fmla="*/ 1059751 w 3359086"/>
                <a:gd name="connsiteY17044" fmla="*/ 1228344 h 3355086"/>
                <a:gd name="connsiteX17045" fmla="*/ 3261740 w 3359086"/>
                <a:gd name="connsiteY17045" fmla="*/ 1227296 h 3355086"/>
                <a:gd name="connsiteX17046" fmla="*/ 3267931 w 3359086"/>
                <a:gd name="connsiteY17046" fmla="*/ 1233487 h 3355086"/>
                <a:gd name="connsiteX17047" fmla="*/ 3261740 w 3359086"/>
                <a:gd name="connsiteY17047" fmla="*/ 1239679 h 3355086"/>
                <a:gd name="connsiteX17048" fmla="*/ 3255549 w 3359086"/>
                <a:gd name="connsiteY17048" fmla="*/ 1233487 h 3355086"/>
                <a:gd name="connsiteX17049" fmla="*/ 3261740 w 3359086"/>
                <a:gd name="connsiteY17049" fmla="*/ 1227296 h 3355086"/>
                <a:gd name="connsiteX17050" fmla="*/ 3069431 w 3359086"/>
                <a:gd name="connsiteY17050" fmla="*/ 1226630 h 3355086"/>
                <a:gd name="connsiteX17051" fmla="*/ 3075622 w 3359086"/>
                <a:gd name="connsiteY17051" fmla="*/ 1232821 h 3355086"/>
                <a:gd name="connsiteX17052" fmla="*/ 3069431 w 3359086"/>
                <a:gd name="connsiteY17052" fmla="*/ 1239013 h 3355086"/>
                <a:gd name="connsiteX17053" fmla="*/ 3063240 w 3359086"/>
                <a:gd name="connsiteY17053" fmla="*/ 1232821 h 3355086"/>
                <a:gd name="connsiteX17054" fmla="*/ 3069431 w 3359086"/>
                <a:gd name="connsiteY17054" fmla="*/ 1226630 h 3355086"/>
                <a:gd name="connsiteX17055" fmla="*/ 2838164 w 3359086"/>
                <a:gd name="connsiteY17055" fmla="*/ 1226630 h 3355086"/>
                <a:gd name="connsiteX17056" fmla="*/ 2844355 w 3359086"/>
                <a:gd name="connsiteY17056" fmla="*/ 1232821 h 3355086"/>
                <a:gd name="connsiteX17057" fmla="*/ 2838164 w 3359086"/>
                <a:gd name="connsiteY17057" fmla="*/ 1239013 h 3355086"/>
                <a:gd name="connsiteX17058" fmla="*/ 2831973 w 3359086"/>
                <a:gd name="connsiteY17058" fmla="*/ 1232821 h 3355086"/>
                <a:gd name="connsiteX17059" fmla="*/ 2838164 w 3359086"/>
                <a:gd name="connsiteY17059" fmla="*/ 1226630 h 3355086"/>
                <a:gd name="connsiteX17060" fmla="*/ 83057 w 3359086"/>
                <a:gd name="connsiteY17060" fmla="*/ 1225487 h 3355086"/>
                <a:gd name="connsiteX17061" fmla="*/ 89249 w 3359086"/>
                <a:gd name="connsiteY17061" fmla="*/ 1231678 h 3355086"/>
                <a:gd name="connsiteX17062" fmla="*/ 83057 w 3359086"/>
                <a:gd name="connsiteY17062" fmla="*/ 1237870 h 3355086"/>
                <a:gd name="connsiteX17063" fmla="*/ 76866 w 3359086"/>
                <a:gd name="connsiteY17063" fmla="*/ 1231678 h 3355086"/>
                <a:gd name="connsiteX17064" fmla="*/ 83057 w 3359086"/>
                <a:gd name="connsiteY17064" fmla="*/ 1225487 h 3355086"/>
                <a:gd name="connsiteX17065" fmla="*/ 3168681 w 3359086"/>
                <a:gd name="connsiteY17065" fmla="*/ 1224058 h 3355086"/>
                <a:gd name="connsiteX17066" fmla="*/ 3174873 w 3359086"/>
                <a:gd name="connsiteY17066" fmla="*/ 1230249 h 3355086"/>
                <a:gd name="connsiteX17067" fmla="*/ 3168681 w 3359086"/>
                <a:gd name="connsiteY17067" fmla="*/ 1236441 h 3355086"/>
                <a:gd name="connsiteX17068" fmla="*/ 3162490 w 3359086"/>
                <a:gd name="connsiteY17068" fmla="*/ 1230249 h 3355086"/>
                <a:gd name="connsiteX17069" fmla="*/ 3168681 w 3359086"/>
                <a:gd name="connsiteY17069" fmla="*/ 1224058 h 3355086"/>
                <a:gd name="connsiteX17070" fmla="*/ 3236499 w 3359086"/>
                <a:gd name="connsiteY17070" fmla="*/ 1223201 h 3355086"/>
                <a:gd name="connsiteX17071" fmla="*/ 3242690 w 3359086"/>
                <a:gd name="connsiteY17071" fmla="*/ 1229392 h 3355086"/>
                <a:gd name="connsiteX17072" fmla="*/ 3236499 w 3359086"/>
                <a:gd name="connsiteY17072" fmla="*/ 1235584 h 3355086"/>
                <a:gd name="connsiteX17073" fmla="*/ 3230308 w 3359086"/>
                <a:gd name="connsiteY17073" fmla="*/ 1229392 h 3355086"/>
                <a:gd name="connsiteX17074" fmla="*/ 3236499 w 3359086"/>
                <a:gd name="connsiteY17074" fmla="*/ 1223201 h 3355086"/>
                <a:gd name="connsiteX17075" fmla="*/ 2220467 w 3359086"/>
                <a:gd name="connsiteY17075" fmla="*/ 1222153 h 3355086"/>
                <a:gd name="connsiteX17076" fmla="*/ 2226659 w 3359086"/>
                <a:gd name="connsiteY17076" fmla="*/ 1228344 h 3355086"/>
                <a:gd name="connsiteX17077" fmla="*/ 2220467 w 3359086"/>
                <a:gd name="connsiteY17077" fmla="*/ 1234536 h 3355086"/>
                <a:gd name="connsiteX17078" fmla="*/ 2214276 w 3359086"/>
                <a:gd name="connsiteY17078" fmla="*/ 1228344 h 3355086"/>
                <a:gd name="connsiteX17079" fmla="*/ 2220467 w 3359086"/>
                <a:gd name="connsiteY17079" fmla="*/ 1222153 h 3355086"/>
                <a:gd name="connsiteX17080" fmla="*/ 73723 w 3359086"/>
                <a:gd name="connsiteY17080" fmla="*/ 1221962 h 3355086"/>
                <a:gd name="connsiteX17081" fmla="*/ 79915 w 3359086"/>
                <a:gd name="connsiteY17081" fmla="*/ 1228153 h 3355086"/>
                <a:gd name="connsiteX17082" fmla="*/ 73723 w 3359086"/>
                <a:gd name="connsiteY17082" fmla="*/ 1234345 h 3355086"/>
                <a:gd name="connsiteX17083" fmla="*/ 67532 w 3359086"/>
                <a:gd name="connsiteY17083" fmla="*/ 1228153 h 3355086"/>
                <a:gd name="connsiteX17084" fmla="*/ 73723 w 3359086"/>
                <a:gd name="connsiteY17084" fmla="*/ 1221962 h 3355086"/>
                <a:gd name="connsiteX17085" fmla="*/ 3276980 w 3359086"/>
                <a:gd name="connsiteY17085" fmla="*/ 1221867 h 3355086"/>
                <a:gd name="connsiteX17086" fmla="*/ 3283171 w 3359086"/>
                <a:gd name="connsiteY17086" fmla="*/ 1228058 h 3355086"/>
                <a:gd name="connsiteX17087" fmla="*/ 3276980 w 3359086"/>
                <a:gd name="connsiteY17087" fmla="*/ 1234250 h 3355086"/>
                <a:gd name="connsiteX17088" fmla="*/ 3270789 w 3359086"/>
                <a:gd name="connsiteY17088" fmla="*/ 1228058 h 3355086"/>
                <a:gd name="connsiteX17089" fmla="*/ 3276980 w 3359086"/>
                <a:gd name="connsiteY17089" fmla="*/ 1221867 h 3355086"/>
                <a:gd name="connsiteX17090" fmla="*/ 118776 w 3359086"/>
                <a:gd name="connsiteY17090" fmla="*/ 1221200 h 3355086"/>
                <a:gd name="connsiteX17091" fmla="*/ 124968 w 3359086"/>
                <a:gd name="connsiteY17091" fmla="*/ 1227391 h 3355086"/>
                <a:gd name="connsiteX17092" fmla="*/ 118776 w 3359086"/>
                <a:gd name="connsiteY17092" fmla="*/ 1233583 h 3355086"/>
                <a:gd name="connsiteX17093" fmla="*/ 112585 w 3359086"/>
                <a:gd name="connsiteY17093" fmla="*/ 1227391 h 3355086"/>
                <a:gd name="connsiteX17094" fmla="*/ 118776 w 3359086"/>
                <a:gd name="connsiteY17094" fmla="*/ 1221200 h 3355086"/>
                <a:gd name="connsiteX17095" fmla="*/ 526351 w 3359086"/>
                <a:gd name="connsiteY17095" fmla="*/ 1218343 h 3355086"/>
                <a:gd name="connsiteX17096" fmla="*/ 532542 w 3359086"/>
                <a:gd name="connsiteY17096" fmla="*/ 1224534 h 3355086"/>
                <a:gd name="connsiteX17097" fmla="*/ 526351 w 3359086"/>
                <a:gd name="connsiteY17097" fmla="*/ 1230725 h 3355086"/>
                <a:gd name="connsiteX17098" fmla="*/ 520160 w 3359086"/>
                <a:gd name="connsiteY17098" fmla="*/ 1224534 h 3355086"/>
                <a:gd name="connsiteX17099" fmla="*/ 526351 w 3359086"/>
                <a:gd name="connsiteY17099" fmla="*/ 1218343 h 3355086"/>
                <a:gd name="connsiteX17100" fmla="*/ 280796 w 3359086"/>
                <a:gd name="connsiteY17100" fmla="*/ 1218343 h 3355086"/>
                <a:gd name="connsiteX17101" fmla="*/ 286987 w 3359086"/>
                <a:gd name="connsiteY17101" fmla="*/ 1224534 h 3355086"/>
                <a:gd name="connsiteX17102" fmla="*/ 280796 w 3359086"/>
                <a:gd name="connsiteY17102" fmla="*/ 1230725 h 3355086"/>
                <a:gd name="connsiteX17103" fmla="*/ 274605 w 3359086"/>
                <a:gd name="connsiteY17103" fmla="*/ 1224534 h 3355086"/>
                <a:gd name="connsiteX17104" fmla="*/ 280796 w 3359086"/>
                <a:gd name="connsiteY17104" fmla="*/ 1218343 h 3355086"/>
                <a:gd name="connsiteX17105" fmla="*/ 3255644 w 3359086"/>
                <a:gd name="connsiteY17105" fmla="*/ 1217105 h 3355086"/>
                <a:gd name="connsiteX17106" fmla="*/ 3261836 w 3359086"/>
                <a:gd name="connsiteY17106" fmla="*/ 1223296 h 3355086"/>
                <a:gd name="connsiteX17107" fmla="*/ 3255644 w 3359086"/>
                <a:gd name="connsiteY17107" fmla="*/ 1229488 h 3355086"/>
                <a:gd name="connsiteX17108" fmla="*/ 3252501 w 3359086"/>
                <a:gd name="connsiteY17108" fmla="*/ 1226345 h 3355086"/>
                <a:gd name="connsiteX17109" fmla="*/ 3246405 w 3359086"/>
                <a:gd name="connsiteY17109" fmla="*/ 1232441 h 3355086"/>
                <a:gd name="connsiteX17110" fmla="*/ 3240214 w 3359086"/>
                <a:gd name="connsiteY17110" fmla="*/ 1226249 h 3355086"/>
                <a:gd name="connsiteX17111" fmla="*/ 3246405 w 3359086"/>
                <a:gd name="connsiteY17111" fmla="*/ 1220058 h 3355086"/>
                <a:gd name="connsiteX17112" fmla="*/ 3249548 w 3359086"/>
                <a:gd name="connsiteY17112" fmla="*/ 1223201 h 3355086"/>
                <a:gd name="connsiteX17113" fmla="*/ 99631 w 3359086"/>
                <a:gd name="connsiteY17113" fmla="*/ 1216248 h 3355086"/>
                <a:gd name="connsiteX17114" fmla="*/ 105822 w 3359086"/>
                <a:gd name="connsiteY17114" fmla="*/ 1222439 h 3355086"/>
                <a:gd name="connsiteX17115" fmla="*/ 99631 w 3359086"/>
                <a:gd name="connsiteY17115" fmla="*/ 1228630 h 3355086"/>
                <a:gd name="connsiteX17116" fmla="*/ 93440 w 3359086"/>
                <a:gd name="connsiteY17116" fmla="*/ 1222439 h 3355086"/>
                <a:gd name="connsiteX17117" fmla="*/ 99631 w 3359086"/>
                <a:gd name="connsiteY17117" fmla="*/ 1216248 h 3355086"/>
                <a:gd name="connsiteX17118" fmla="*/ 174021 w 3359086"/>
                <a:gd name="connsiteY17118" fmla="*/ 1216057 h 3355086"/>
                <a:gd name="connsiteX17119" fmla="*/ 180212 w 3359086"/>
                <a:gd name="connsiteY17119" fmla="*/ 1222248 h 3355086"/>
                <a:gd name="connsiteX17120" fmla="*/ 174021 w 3359086"/>
                <a:gd name="connsiteY17120" fmla="*/ 1228440 h 3355086"/>
                <a:gd name="connsiteX17121" fmla="*/ 167830 w 3359086"/>
                <a:gd name="connsiteY17121" fmla="*/ 1222248 h 3355086"/>
                <a:gd name="connsiteX17122" fmla="*/ 174021 w 3359086"/>
                <a:gd name="connsiteY17122" fmla="*/ 1216057 h 3355086"/>
                <a:gd name="connsiteX17123" fmla="*/ 1173860 w 3359086"/>
                <a:gd name="connsiteY17123" fmla="*/ 1215295 h 3355086"/>
                <a:gd name="connsiteX17124" fmla="*/ 1180052 w 3359086"/>
                <a:gd name="connsiteY17124" fmla="*/ 1221486 h 3355086"/>
                <a:gd name="connsiteX17125" fmla="*/ 1173860 w 3359086"/>
                <a:gd name="connsiteY17125" fmla="*/ 1227678 h 3355086"/>
                <a:gd name="connsiteX17126" fmla="*/ 1167669 w 3359086"/>
                <a:gd name="connsiteY17126" fmla="*/ 1221486 h 3355086"/>
                <a:gd name="connsiteX17127" fmla="*/ 1173860 w 3359086"/>
                <a:gd name="connsiteY17127" fmla="*/ 1215295 h 3355086"/>
                <a:gd name="connsiteX17128" fmla="*/ 3207924 w 3359086"/>
                <a:gd name="connsiteY17128" fmla="*/ 1214533 h 3355086"/>
                <a:gd name="connsiteX17129" fmla="*/ 3214115 w 3359086"/>
                <a:gd name="connsiteY17129" fmla="*/ 1220724 h 3355086"/>
                <a:gd name="connsiteX17130" fmla="*/ 3207924 w 3359086"/>
                <a:gd name="connsiteY17130" fmla="*/ 1226916 h 3355086"/>
                <a:gd name="connsiteX17131" fmla="*/ 3201733 w 3359086"/>
                <a:gd name="connsiteY17131" fmla="*/ 1220724 h 3355086"/>
                <a:gd name="connsiteX17132" fmla="*/ 3207924 w 3359086"/>
                <a:gd name="connsiteY17132" fmla="*/ 1214533 h 3355086"/>
                <a:gd name="connsiteX17133" fmla="*/ 66865 w 3359086"/>
                <a:gd name="connsiteY17133" fmla="*/ 1213295 h 3355086"/>
                <a:gd name="connsiteX17134" fmla="*/ 67723 w 3359086"/>
                <a:gd name="connsiteY17134" fmla="*/ 1214152 h 3355086"/>
                <a:gd name="connsiteX17135" fmla="*/ 66865 w 3359086"/>
                <a:gd name="connsiteY17135" fmla="*/ 1215010 h 3355086"/>
                <a:gd name="connsiteX17136" fmla="*/ 66008 w 3359086"/>
                <a:gd name="connsiteY17136" fmla="*/ 1214152 h 3355086"/>
                <a:gd name="connsiteX17137" fmla="*/ 66865 w 3359086"/>
                <a:gd name="connsiteY17137" fmla="*/ 1213295 h 3355086"/>
                <a:gd name="connsiteX17138" fmla="*/ 3269265 w 3359086"/>
                <a:gd name="connsiteY17138" fmla="*/ 1212914 h 3355086"/>
                <a:gd name="connsiteX17139" fmla="*/ 3275457 w 3359086"/>
                <a:gd name="connsiteY17139" fmla="*/ 1219105 h 3355086"/>
                <a:gd name="connsiteX17140" fmla="*/ 3269265 w 3359086"/>
                <a:gd name="connsiteY17140" fmla="*/ 1225297 h 3355086"/>
                <a:gd name="connsiteX17141" fmla="*/ 3263074 w 3359086"/>
                <a:gd name="connsiteY17141" fmla="*/ 1219105 h 3355086"/>
                <a:gd name="connsiteX17142" fmla="*/ 3269265 w 3359086"/>
                <a:gd name="connsiteY17142" fmla="*/ 1212914 h 3355086"/>
                <a:gd name="connsiteX17143" fmla="*/ 79723 w 3359086"/>
                <a:gd name="connsiteY17143" fmla="*/ 1211390 h 3355086"/>
                <a:gd name="connsiteX17144" fmla="*/ 85439 w 3359086"/>
                <a:gd name="connsiteY17144" fmla="*/ 1217105 h 3355086"/>
                <a:gd name="connsiteX17145" fmla="*/ 88963 w 3359086"/>
                <a:gd name="connsiteY17145" fmla="*/ 1213581 h 3355086"/>
                <a:gd name="connsiteX17146" fmla="*/ 95155 w 3359086"/>
                <a:gd name="connsiteY17146" fmla="*/ 1219772 h 3355086"/>
                <a:gd name="connsiteX17147" fmla="*/ 88963 w 3359086"/>
                <a:gd name="connsiteY17147" fmla="*/ 1225963 h 3355086"/>
                <a:gd name="connsiteX17148" fmla="*/ 83248 w 3359086"/>
                <a:gd name="connsiteY17148" fmla="*/ 1220248 h 3355086"/>
                <a:gd name="connsiteX17149" fmla="*/ 79723 w 3359086"/>
                <a:gd name="connsiteY17149" fmla="*/ 1223773 h 3355086"/>
                <a:gd name="connsiteX17150" fmla="*/ 73532 w 3359086"/>
                <a:gd name="connsiteY17150" fmla="*/ 1217581 h 3355086"/>
                <a:gd name="connsiteX17151" fmla="*/ 79723 w 3359086"/>
                <a:gd name="connsiteY17151" fmla="*/ 1211390 h 3355086"/>
                <a:gd name="connsiteX17152" fmla="*/ 3034664 w 3359086"/>
                <a:gd name="connsiteY17152" fmla="*/ 1211009 h 3355086"/>
                <a:gd name="connsiteX17153" fmla="*/ 3040855 w 3359086"/>
                <a:gd name="connsiteY17153" fmla="*/ 1217200 h 3355086"/>
                <a:gd name="connsiteX17154" fmla="*/ 3034664 w 3359086"/>
                <a:gd name="connsiteY17154" fmla="*/ 1223391 h 3355086"/>
                <a:gd name="connsiteX17155" fmla="*/ 3028473 w 3359086"/>
                <a:gd name="connsiteY17155" fmla="*/ 1217200 h 3355086"/>
                <a:gd name="connsiteX17156" fmla="*/ 3034664 w 3359086"/>
                <a:gd name="connsiteY17156" fmla="*/ 1211009 h 3355086"/>
                <a:gd name="connsiteX17157" fmla="*/ 2776346 w 3359086"/>
                <a:gd name="connsiteY17157" fmla="*/ 1211009 h 3355086"/>
                <a:gd name="connsiteX17158" fmla="*/ 2782538 w 3359086"/>
                <a:gd name="connsiteY17158" fmla="*/ 1217200 h 3355086"/>
                <a:gd name="connsiteX17159" fmla="*/ 2776346 w 3359086"/>
                <a:gd name="connsiteY17159" fmla="*/ 1223391 h 3355086"/>
                <a:gd name="connsiteX17160" fmla="*/ 2770155 w 3359086"/>
                <a:gd name="connsiteY17160" fmla="*/ 1217200 h 3355086"/>
                <a:gd name="connsiteX17161" fmla="*/ 2776346 w 3359086"/>
                <a:gd name="connsiteY17161" fmla="*/ 1211009 h 3355086"/>
                <a:gd name="connsiteX17162" fmla="*/ 3290887 w 3359086"/>
                <a:gd name="connsiteY17162" fmla="*/ 1210437 h 3355086"/>
                <a:gd name="connsiteX17163" fmla="*/ 3293078 w 3359086"/>
                <a:gd name="connsiteY17163" fmla="*/ 1212628 h 3355086"/>
                <a:gd name="connsiteX17164" fmla="*/ 3290887 w 3359086"/>
                <a:gd name="connsiteY17164" fmla="*/ 1214818 h 3355086"/>
                <a:gd name="connsiteX17165" fmla="*/ 3288696 w 3359086"/>
                <a:gd name="connsiteY17165" fmla="*/ 1212628 h 3355086"/>
                <a:gd name="connsiteX17166" fmla="*/ 3290887 w 3359086"/>
                <a:gd name="connsiteY17166" fmla="*/ 1210437 h 3355086"/>
                <a:gd name="connsiteX17167" fmla="*/ 3228879 w 3359086"/>
                <a:gd name="connsiteY17167" fmla="*/ 1210056 h 3355086"/>
                <a:gd name="connsiteX17168" fmla="*/ 3235071 w 3359086"/>
                <a:gd name="connsiteY17168" fmla="*/ 1216247 h 3355086"/>
                <a:gd name="connsiteX17169" fmla="*/ 3228879 w 3359086"/>
                <a:gd name="connsiteY17169" fmla="*/ 1222439 h 3355086"/>
                <a:gd name="connsiteX17170" fmla="*/ 3222688 w 3359086"/>
                <a:gd name="connsiteY17170" fmla="*/ 1216247 h 3355086"/>
                <a:gd name="connsiteX17171" fmla="*/ 3228879 w 3359086"/>
                <a:gd name="connsiteY17171" fmla="*/ 1210056 h 3355086"/>
                <a:gd name="connsiteX17172" fmla="*/ 2102453 w 3359086"/>
                <a:gd name="connsiteY17172" fmla="*/ 1209675 h 3355086"/>
                <a:gd name="connsiteX17173" fmla="*/ 2108645 w 3359086"/>
                <a:gd name="connsiteY17173" fmla="*/ 1215866 h 3355086"/>
                <a:gd name="connsiteX17174" fmla="*/ 2102453 w 3359086"/>
                <a:gd name="connsiteY17174" fmla="*/ 1222057 h 3355086"/>
                <a:gd name="connsiteX17175" fmla="*/ 2096262 w 3359086"/>
                <a:gd name="connsiteY17175" fmla="*/ 1215866 h 3355086"/>
                <a:gd name="connsiteX17176" fmla="*/ 2102453 w 3359086"/>
                <a:gd name="connsiteY17176" fmla="*/ 1209675 h 3355086"/>
                <a:gd name="connsiteX17177" fmla="*/ 3148393 w 3359086"/>
                <a:gd name="connsiteY17177" fmla="*/ 1209008 h 3355086"/>
                <a:gd name="connsiteX17178" fmla="*/ 3154584 w 3359086"/>
                <a:gd name="connsiteY17178" fmla="*/ 1215199 h 3355086"/>
                <a:gd name="connsiteX17179" fmla="*/ 3148393 w 3359086"/>
                <a:gd name="connsiteY17179" fmla="*/ 1221391 h 3355086"/>
                <a:gd name="connsiteX17180" fmla="*/ 3142202 w 3359086"/>
                <a:gd name="connsiteY17180" fmla="*/ 1215199 h 3355086"/>
                <a:gd name="connsiteX17181" fmla="*/ 3148393 w 3359086"/>
                <a:gd name="connsiteY17181" fmla="*/ 1209008 h 3355086"/>
                <a:gd name="connsiteX17182" fmla="*/ 131063 w 3359086"/>
                <a:gd name="connsiteY17182" fmla="*/ 1206818 h 3355086"/>
                <a:gd name="connsiteX17183" fmla="*/ 137255 w 3359086"/>
                <a:gd name="connsiteY17183" fmla="*/ 1213009 h 3355086"/>
                <a:gd name="connsiteX17184" fmla="*/ 131063 w 3359086"/>
                <a:gd name="connsiteY17184" fmla="*/ 1219200 h 3355086"/>
                <a:gd name="connsiteX17185" fmla="*/ 124872 w 3359086"/>
                <a:gd name="connsiteY17185" fmla="*/ 1213009 h 3355086"/>
                <a:gd name="connsiteX17186" fmla="*/ 131063 w 3359086"/>
                <a:gd name="connsiteY17186" fmla="*/ 1206818 h 3355086"/>
                <a:gd name="connsiteX17187" fmla="*/ 3249548 w 3359086"/>
                <a:gd name="connsiteY17187" fmla="*/ 1206246 h 3355086"/>
                <a:gd name="connsiteX17188" fmla="*/ 3255739 w 3359086"/>
                <a:gd name="connsiteY17188" fmla="*/ 1212437 h 3355086"/>
                <a:gd name="connsiteX17189" fmla="*/ 3249548 w 3359086"/>
                <a:gd name="connsiteY17189" fmla="*/ 1218629 h 3355086"/>
                <a:gd name="connsiteX17190" fmla="*/ 3245786 w 3359086"/>
                <a:gd name="connsiteY17190" fmla="*/ 1214867 h 3355086"/>
                <a:gd name="connsiteX17191" fmla="*/ 3240404 w 3359086"/>
                <a:gd name="connsiteY17191" fmla="*/ 1220249 h 3355086"/>
                <a:gd name="connsiteX17192" fmla="*/ 3234213 w 3359086"/>
                <a:gd name="connsiteY17192" fmla="*/ 1214057 h 3355086"/>
                <a:gd name="connsiteX17193" fmla="*/ 3240404 w 3359086"/>
                <a:gd name="connsiteY17193" fmla="*/ 1207866 h 3355086"/>
                <a:gd name="connsiteX17194" fmla="*/ 3244166 w 3359086"/>
                <a:gd name="connsiteY17194" fmla="*/ 1211628 h 3355086"/>
                <a:gd name="connsiteX17195" fmla="*/ 1296352 w 3359086"/>
                <a:gd name="connsiteY17195" fmla="*/ 1203579 h 3355086"/>
                <a:gd name="connsiteX17196" fmla="*/ 1302544 w 3359086"/>
                <a:gd name="connsiteY17196" fmla="*/ 1209770 h 3355086"/>
                <a:gd name="connsiteX17197" fmla="*/ 1296352 w 3359086"/>
                <a:gd name="connsiteY17197" fmla="*/ 1215962 h 3355086"/>
                <a:gd name="connsiteX17198" fmla="*/ 1290161 w 3359086"/>
                <a:gd name="connsiteY17198" fmla="*/ 1209770 h 3355086"/>
                <a:gd name="connsiteX17199" fmla="*/ 1296352 w 3359086"/>
                <a:gd name="connsiteY17199" fmla="*/ 1203579 h 3355086"/>
                <a:gd name="connsiteX17200" fmla="*/ 3261931 w 3359086"/>
                <a:gd name="connsiteY17200" fmla="*/ 1203484 h 3355086"/>
                <a:gd name="connsiteX17201" fmla="*/ 3268122 w 3359086"/>
                <a:gd name="connsiteY17201" fmla="*/ 1209675 h 3355086"/>
                <a:gd name="connsiteX17202" fmla="*/ 3261931 w 3359086"/>
                <a:gd name="connsiteY17202" fmla="*/ 1215867 h 3355086"/>
                <a:gd name="connsiteX17203" fmla="*/ 3255740 w 3359086"/>
                <a:gd name="connsiteY17203" fmla="*/ 1209675 h 3355086"/>
                <a:gd name="connsiteX17204" fmla="*/ 3261931 w 3359086"/>
                <a:gd name="connsiteY17204" fmla="*/ 1203484 h 3355086"/>
                <a:gd name="connsiteX17205" fmla="*/ 107822 w 3359086"/>
                <a:gd name="connsiteY17205" fmla="*/ 1202627 h 3355086"/>
                <a:gd name="connsiteX17206" fmla="*/ 114014 w 3359086"/>
                <a:gd name="connsiteY17206" fmla="*/ 1208818 h 3355086"/>
                <a:gd name="connsiteX17207" fmla="*/ 107822 w 3359086"/>
                <a:gd name="connsiteY17207" fmla="*/ 1215010 h 3355086"/>
                <a:gd name="connsiteX17208" fmla="*/ 101631 w 3359086"/>
                <a:gd name="connsiteY17208" fmla="*/ 1208818 h 3355086"/>
                <a:gd name="connsiteX17209" fmla="*/ 107822 w 3359086"/>
                <a:gd name="connsiteY17209" fmla="*/ 1202627 h 3355086"/>
                <a:gd name="connsiteX17210" fmla="*/ 591406 w 3359086"/>
                <a:gd name="connsiteY17210" fmla="*/ 1202531 h 3355086"/>
                <a:gd name="connsiteX17211" fmla="*/ 597598 w 3359086"/>
                <a:gd name="connsiteY17211" fmla="*/ 1208722 h 3355086"/>
                <a:gd name="connsiteX17212" fmla="*/ 591406 w 3359086"/>
                <a:gd name="connsiteY17212" fmla="*/ 1214914 h 3355086"/>
                <a:gd name="connsiteX17213" fmla="*/ 585215 w 3359086"/>
                <a:gd name="connsiteY17213" fmla="*/ 1208722 h 3355086"/>
                <a:gd name="connsiteX17214" fmla="*/ 591406 w 3359086"/>
                <a:gd name="connsiteY17214" fmla="*/ 1202531 h 3355086"/>
                <a:gd name="connsiteX17215" fmla="*/ 317849 w 3359086"/>
                <a:gd name="connsiteY17215" fmla="*/ 1202531 h 3355086"/>
                <a:gd name="connsiteX17216" fmla="*/ 324040 w 3359086"/>
                <a:gd name="connsiteY17216" fmla="*/ 1208722 h 3355086"/>
                <a:gd name="connsiteX17217" fmla="*/ 317849 w 3359086"/>
                <a:gd name="connsiteY17217" fmla="*/ 1214914 h 3355086"/>
                <a:gd name="connsiteX17218" fmla="*/ 311658 w 3359086"/>
                <a:gd name="connsiteY17218" fmla="*/ 1208722 h 3355086"/>
                <a:gd name="connsiteX17219" fmla="*/ 317849 w 3359086"/>
                <a:gd name="connsiteY17219" fmla="*/ 1202531 h 3355086"/>
                <a:gd name="connsiteX17220" fmla="*/ 195833 w 3359086"/>
                <a:gd name="connsiteY17220" fmla="*/ 1200627 h 3355086"/>
                <a:gd name="connsiteX17221" fmla="*/ 202024 w 3359086"/>
                <a:gd name="connsiteY17221" fmla="*/ 1206818 h 3355086"/>
                <a:gd name="connsiteX17222" fmla="*/ 195833 w 3359086"/>
                <a:gd name="connsiteY17222" fmla="*/ 1213009 h 3355086"/>
                <a:gd name="connsiteX17223" fmla="*/ 189642 w 3359086"/>
                <a:gd name="connsiteY17223" fmla="*/ 1206818 h 3355086"/>
                <a:gd name="connsiteX17224" fmla="*/ 195833 w 3359086"/>
                <a:gd name="connsiteY17224" fmla="*/ 1200627 h 3355086"/>
                <a:gd name="connsiteX17225" fmla="*/ 85819 w 3359086"/>
                <a:gd name="connsiteY17225" fmla="*/ 1200150 h 3355086"/>
                <a:gd name="connsiteX17226" fmla="*/ 91011 w 3359086"/>
                <a:gd name="connsiteY17226" fmla="*/ 1205341 h 3355086"/>
                <a:gd name="connsiteX17227" fmla="*/ 95154 w 3359086"/>
                <a:gd name="connsiteY17227" fmla="*/ 1201198 h 3355086"/>
                <a:gd name="connsiteX17228" fmla="*/ 101346 w 3359086"/>
                <a:gd name="connsiteY17228" fmla="*/ 1207389 h 3355086"/>
                <a:gd name="connsiteX17229" fmla="*/ 95154 w 3359086"/>
                <a:gd name="connsiteY17229" fmla="*/ 1213581 h 3355086"/>
                <a:gd name="connsiteX17230" fmla="*/ 89963 w 3359086"/>
                <a:gd name="connsiteY17230" fmla="*/ 1208389 h 3355086"/>
                <a:gd name="connsiteX17231" fmla="*/ 85819 w 3359086"/>
                <a:gd name="connsiteY17231" fmla="*/ 1212533 h 3355086"/>
                <a:gd name="connsiteX17232" fmla="*/ 79628 w 3359086"/>
                <a:gd name="connsiteY17232" fmla="*/ 1206341 h 3355086"/>
                <a:gd name="connsiteX17233" fmla="*/ 85819 w 3359086"/>
                <a:gd name="connsiteY17233" fmla="*/ 1200150 h 3355086"/>
                <a:gd name="connsiteX17234" fmla="*/ 3194780 w 3359086"/>
                <a:gd name="connsiteY17234" fmla="*/ 1199864 h 3355086"/>
                <a:gd name="connsiteX17235" fmla="*/ 3200971 w 3359086"/>
                <a:gd name="connsiteY17235" fmla="*/ 1206055 h 3355086"/>
                <a:gd name="connsiteX17236" fmla="*/ 3194780 w 3359086"/>
                <a:gd name="connsiteY17236" fmla="*/ 1212247 h 3355086"/>
                <a:gd name="connsiteX17237" fmla="*/ 3188589 w 3359086"/>
                <a:gd name="connsiteY17237" fmla="*/ 1206055 h 3355086"/>
                <a:gd name="connsiteX17238" fmla="*/ 3194780 w 3359086"/>
                <a:gd name="connsiteY17238" fmla="*/ 1199864 h 3355086"/>
                <a:gd name="connsiteX17239" fmla="*/ 1976056 w 3359086"/>
                <a:gd name="connsiteY17239" fmla="*/ 1198817 h 3355086"/>
                <a:gd name="connsiteX17240" fmla="*/ 1982248 w 3359086"/>
                <a:gd name="connsiteY17240" fmla="*/ 1205008 h 3355086"/>
                <a:gd name="connsiteX17241" fmla="*/ 1976056 w 3359086"/>
                <a:gd name="connsiteY17241" fmla="*/ 1211200 h 3355086"/>
                <a:gd name="connsiteX17242" fmla="*/ 1969865 w 3359086"/>
                <a:gd name="connsiteY17242" fmla="*/ 1205008 h 3355086"/>
                <a:gd name="connsiteX17243" fmla="*/ 1976056 w 3359086"/>
                <a:gd name="connsiteY17243" fmla="*/ 1198817 h 3355086"/>
                <a:gd name="connsiteX17244" fmla="*/ 3281457 w 3359086"/>
                <a:gd name="connsiteY17244" fmla="*/ 1198531 h 3355086"/>
                <a:gd name="connsiteX17245" fmla="*/ 3287649 w 3359086"/>
                <a:gd name="connsiteY17245" fmla="*/ 1204722 h 3355086"/>
                <a:gd name="connsiteX17246" fmla="*/ 3281457 w 3359086"/>
                <a:gd name="connsiteY17246" fmla="*/ 1210914 h 3355086"/>
                <a:gd name="connsiteX17247" fmla="*/ 3275266 w 3359086"/>
                <a:gd name="connsiteY17247" fmla="*/ 1204722 h 3355086"/>
                <a:gd name="connsiteX17248" fmla="*/ 3281457 w 3359086"/>
                <a:gd name="connsiteY17248" fmla="*/ 1198531 h 3355086"/>
                <a:gd name="connsiteX17249" fmla="*/ 74008 w 3359086"/>
                <a:gd name="connsiteY17249" fmla="*/ 1198150 h 3355086"/>
                <a:gd name="connsiteX17250" fmla="*/ 80200 w 3359086"/>
                <a:gd name="connsiteY17250" fmla="*/ 1204341 h 3355086"/>
                <a:gd name="connsiteX17251" fmla="*/ 74008 w 3359086"/>
                <a:gd name="connsiteY17251" fmla="*/ 1210533 h 3355086"/>
                <a:gd name="connsiteX17252" fmla="*/ 67817 w 3359086"/>
                <a:gd name="connsiteY17252" fmla="*/ 1204341 h 3355086"/>
                <a:gd name="connsiteX17253" fmla="*/ 74008 w 3359086"/>
                <a:gd name="connsiteY17253" fmla="*/ 1198150 h 3355086"/>
                <a:gd name="connsiteX17254" fmla="*/ 3220211 w 3359086"/>
                <a:gd name="connsiteY17254" fmla="*/ 1196150 h 3355086"/>
                <a:gd name="connsiteX17255" fmla="*/ 3226403 w 3359086"/>
                <a:gd name="connsiteY17255" fmla="*/ 1202341 h 3355086"/>
                <a:gd name="connsiteX17256" fmla="*/ 3220211 w 3359086"/>
                <a:gd name="connsiteY17256" fmla="*/ 1208533 h 3355086"/>
                <a:gd name="connsiteX17257" fmla="*/ 3214020 w 3359086"/>
                <a:gd name="connsiteY17257" fmla="*/ 1202341 h 3355086"/>
                <a:gd name="connsiteX17258" fmla="*/ 3220211 w 3359086"/>
                <a:gd name="connsiteY17258" fmla="*/ 1196150 h 3355086"/>
                <a:gd name="connsiteX17259" fmla="*/ 2708338 w 3359086"/>
                <a:gd name="connsiteY17259" fmla="*/ 1195102 h 3355086"/>
                <a:gd name="connsiteX17260" fmla="*/ 2714529 w 3359086"/>
                <a:gd name="connsiteY17260" fmla="*/ 1201293 h 3355086"/>
                <a:gd name="connsiteX17261" fmla="*/ 2708338 w 3359086"/>
                <a:gd name="connsiteY17261" fmla="*/ 1207485 h 3355086"/>
                <a:gd name="connsiteX17262" fmla="*/ 2702147 w 3359086"/>
                <a:gd name="connsiteY17262" fmla="*/ 1201293 h 3355086"/>
                <a:gd name="connsiteX17263" fmla="*/ 2708338 w 3359086"/>
                <a:gd name="connsiteY17263" fmla="*/ 1195102 h 3355086"/>
                <a:gd name="connsiteX17264" fmla="*/ 2995707 w 3359086"/>
                <a:gd name="connsiteY17264" fmla="*/ 1195007 h 3355086"/>
                <a:gd name="connsiteX17265" fmla="*/ 3001899 w 3359086"/>
                <a:gd name="connsiteY17265" fmla="*/ 1201198 h 3355086"/>
                <a:gd name="connsiteX17266" fmla="*/ 2995707 w 3359086"/>
                <a:gd name="connsiteY17266" fmla="*/ 1207390 h 3355086"/>
                <a:gd name="connsiteX17267" fmla="*/ 2989516 w 3359086"/>
                <a:gd name="connsiteY17267" fmla="*/ 1201198 h 3355086"/>
                <a:gd name="connsiteX17268" fmla="*/ 2995707 w 3359086"/>
                <a:gd name="connsiteY17268" fmla="*/ 1195007 h 3355086"/>
                <a:gd name="connsiteX17269" fmla="*/ 3243548 w 3359086"/>
                <a:gd name="connsiteY17269" fmla="*/ 1194816 h 3355086"/>
                <a:gd name="connsiteX17270" fmla="*/ 3249739 w 3359086"/>
                <a:gd name="connsiteY17270" fmla="*/ 1201007 h 3355086"/>
                <a:gd name="connsiteX17271" fmla="*/ 3243548 w 3359086"/>
                <a:gd name="connsiteY17271" fmla="*/ 1207199 h 3355086"/>
                <a:gd name="connsiteX17272" fmla="*/ 3238881 w 3359086"/>
                <a:gd name="connsiteY17272" fmla="*/ 1202531 h 3355086"/>
                <a:gd name="connsiteX17273" fmla="*/ 3233927 w 3359086"/>
                <a:gd name="connsiteY17273" fmla="*/ 1207485 h 3355086"/>
                <a:gd name="connsiteX17274" fmla="*/ 3227736 w 3359086"/>
                <a:gd name="connsiteY17274" fmla="*/ 1201293 h 3355086"/>
                <a:gd name="connsiteX17275" fmla="*/ 3233927 w 3359086"/>
                <a:gd name="connsiteY17275" fmla="*/ 1195102 h 3355086"/>
                <a:gd name="connsiteX17276" fmla="*/ 3238595 w 3359086"/>
                <a:gd name="connsiteY17276" fmla="*/ 1199769 h 3355086"/>
                <a:gd name="connsiteX17277" fmla="*/ 1426844 w 3359086"/>
                <a:gd name="connsiteY17277" fmla="*/ 1194054 h 3355086"/>
                <a:gd name="connsiteX17278" fmla="*/ 1433036 w 3359086"/>
                <a:gd name="connsiteY17278" fmla="*/ 1200245 h 3355086"/>
                <a:gd name="connsiteX17279" fmla="*/ 1426844 w 3359086"/>
                <a:gd name="connsiteY17279" fmla="*/ 1206437 h 3355086"/>
                <a:gd name="connsiteX17280" fmla="*/ 1420653 w 3359086"/>
                <a:gd name="connsiteY17280" fmla="*/ 1200245 h 3355086"/>
                <a:gd name="connsiteX17281" fmla="*/ 1426844 w 3359086"/>
                <a:gd name="connsiteY17281" fmla="*/ 1194054 h 3355086"/>
                <a:gd name="connsiteX17282" fmla="*/ 3254882 w 3359086"/>
                <a:gd name="connsiteY17282" fmla="*/ 1193483 h 3355086"/>
                <a:gd name="connsiteX17283" fmla="*/ 3261073 w 3359086"/>
                <a:gd name="connsiteY17283" fmla="*/ 1199674 h 3355086"/>
                <a:gd name="connsiteX17284" fmla="*/ 3254882 w 3359086"/>
                <a:gd name="connsiteY17284" fmla="*/ 1205865 h 3355086"/>
                <a:gd name="connsiteX17285" fmla="*/ 3248691 w 3359086"/>
                <a:gd name="connsiteY17285" fmla="*/ 1199674 h 3355086"/>
                <a:gd name="connsiteX17286" fmla="*/ 3254882 w 3359086"/>
                <a:gd name="connsiteY17286" fmla="*/ 1193483 h 3355086"/>
                <a:gd name="connsiteX17287" fmla="*/ 3125152 w 3359086"/>
                <a:gd name="connsiteY17287" fmla="*/ 1193292 h 3355086"/>
                <a:gd name="connsiteX17288" fmla="*/ 3131343 w 3359086"/>
                <a:gd name="connsiteY17288" fmla="*/ 1199483 h 3355086"/>
                <a:gd name="connsiteX17289" fmla="*/ 3125152 w 3359086"/>
                <a:gd name="connsiteY17289" fmla="*/ 1205675 h 3355086"/>
                <a:gd name="connsiteX17290" fmla="*/ 3118961 w 3359086"/>
                <a:gd name="connsiteY17290" fmla="*/ 1199483 h 3355086"/>
                <a:gd name="connsiteX17291" fmla="*/ 3125152 w 3359086"/>
                <a:gd name="connsiteY17291" fmla="*/ 1193292 h 3355086"/>
                <a:gd name="connsiteX17292" fmla="*/ 145160 w 3359086"/>
                <a:gd name="connsiteY17292" fmla="*/ 1191768 h 3355086"/>
                <a:gd name="connsiteX17293" fmla="*/ 151352 w 3359086"/>
                <a:gd name="connsiteY17293" fmla="*/ 1197959 h 3355086"/>
                <a:gd name="connsiteX17294" fmla="*/ 145160 w 3359086"/>
                <a:gd name="connsiteY17294" fmla="*/ 1204151 h 3355086"/>
                <a:gd name="connsiteX17295" fmla="*/ 138969 w 3359086"/>
                <a:gd name="connsiteY17295" fmla="*/ 1197959 h 3355086"/>
                <a:gd name="connsiteX17296" fmla="*/ 145160 w 3359086"/>
                <a:gd name="connsiteY17296" fmla="*/ 1191768 h 3355086"/>
                <a:gd name="connsiteX17297" fmla="*/ 1842325 w 3359086"/>
                <a:gd name="connsiteY17297" fmla="*/ 1190816 h 3355086"/>
                <a:gd name="connsiteX17298" fmla="*/ 1848517 w 3359086"/>
                <a:gd name="connsiteY17298" fmla="*/ 1197007 h 3355086"/>
                <a:gd name="connsiteX17299" fmla="*/ 1842325 w 3359086"/>
                <a:gd name="connsiteY17299" fmla="*/ 1203198 h 3355086"/>
                <a:gd name="connsiteX17300" fmla="*/ 1836134 w 3359086"/>
                <a:gd name="connsiteY17300" fmla="*/ 1197007 h 3355086"/>
                <a:gd name="connsiteX17301" fmla="*/ 1842325 w 3359086"/>
                <a:gd name="connsiteY17301" fmla="*/ 1190816 h 3355086"/>
                <a:gd name="connsiteX17302" fmla="*/ 3272408 w 3359086"/>
                <a:gd name="connsiteY17302" fmla="*/ 1189958 h 3355086"/>
                <a:gd name="connsiteX17303" fmla="*/ 3278599 w 3359086"/>
                <a:gd name="connsiteY17303" fmla="*/ 1196149 h 3355086"/>
                <a:gd name="connsiteX17304" fmla="*/ 3272408 w 3359086"/>
                <a:gd name="connsiteY17304" fmla="*/ 1202341 h 3355086"/>
                <a:gd name="connsiteX17305" fmla="*/ 3266217 w 3359086"/>
                <a:gd name="connsiteY17305" fmla="*/ 1196149 h 3355086"/>
                <a:gd name="connsiteX17306" fmla="*/ 3272408 w 3359086"/>
                <a:gd name="connsiteY17306" fmla="*/ 1189958 h 3355086"/>
                <a:gd name="connsiteX17307" fmla="*/ 117062 w 3359086"/>
                <a:gd name="connsiteY17307" fmla="*/ 1188435 h 3355086"/>
                <a:gd name="connsiteX17308" fmla="*/ 123253 w 3359086"/>
                <a:gd name="connsiteY17308" fmla="*/ 1194626 h 3355086"/>
                <a:gd name="connsiteX17309" fmla="*/ 117062 w 3359086"/>
                <a:gd name="connsiteY17309" fmla="*/ 1200817 h 3355086"/>
                <a:gd name="connsiteX17310" fmla="*/ 110871 w 3359086"/>
                <a:gd name="connsiteY17310" fmla="*/ 1194626 h 3355086"/>
                <a:gd name="connsiteX17311" fmla="*/ 117062 w 3359086"/>
                <a:gd name="connsiteY17311" fmla="*/ 1188435 h 3355086"/>
                <a:gd name="connsiteX17312" fmla="*/ 1563719 w 3359086"/>
                <a:gd name="connsiteY17312" fmla="*/ 1188149 h 3355086"/>
                <a:gd name="connsiteX17313" fmla="*/ 1569911 w 3359086"/>
                <a:gd name="connsiteY17313" fmla="*/ 1194340 h 3355086"/>
                <a:gd name="connsiteX17314" fmla="*/ 1563719 w 3359086"/>
                <a:gd name="connsiteY17314" fmla="*/ 1200531 h 3355086"/>
                <a:gd name="connsiteX17315" fmla="*/ 1557528 w 3359086"/>
                <a:gd name="connsiteY17315" fmla="*/ 1194340 h 3355086"/>
                <a:gd name="connsiteX17316" fmla="*/ 1563719 w 3359086"/>
                <a:gd name="connsiteY17316" fmla="*/ 1188149 h 3355086"/>
                <a:gd name="connsiteX17317" fmla="*/ 80962 w 3359086"/>
                <a:gd name="connsiteY17317" fmla="*/ 1187863 h 3355086"/>
                <a:gd name="connsiteX17318" fmla="*/ 86677 w 3359086"/>
                <a:gd name="connsiteY17318" fmla="*/ 1193578 h 3355086"/>
                <a:gd name="connsiteX17319" fmla="*/ 91916 w 3359086"/>
                <a:gd name="connsiteY17319" fmla="*/ 1188339 h 3355086"/>
                <a:gd name="connsiteX17320" fmla="*/ 96774 w 3359086"/>
                <a:gd name="connsiteY17320" fmla="*/ 1193197 h 3355086"/>
                <a:gd name="connsiteX17321" fmla="*/ 101917 w 3359086"/>
                <a:gd name="connsiteY17321" fmla="*/ 1188054 h 3355086"/>
                <a:gd name="connsiteX17322" fmla="*/ 108109 w 3359086"/>
                <a:gd name="connsiteY17322" fmla="*/ 1194245 h 3355086"/>
                <a:gd name="connsiteX17323" fmla="*/ 101917 w 3359086"/>
                <a:gd name="connsiteY17323" fmla="*/ 1200436 h 3355086"/>
                <a:gd name="connsiteX17324" fmla="*/ 97059 w 3359086"/>
                <a:gd name="connsiteY17324" fmla="*/ 1195579 h 3355086"/>
                <a:gd name="connsiteX17325" fmla="*/ 91916 w 3359086"/>
                <a:gd name="connsiteY17325" fmla="*/ 1200722 h 3355086"/>
                <a:gd name="connsiteX17326" fmla="*/ 86201 w 3359086"/>
                <a:gd name="connsiteY17326" fmla="*/ 1195006 h 3355086"/>
                <a:gd name="connsiteX17327" fmla="*/ 80962 w 3359086"/>
                <a:gd name="connsiteY17327" fmla="*/ 1200246 h 3355086"/>
                <a:gd name="connsiteX17328" fmla="*/ 74771 w 3359086"/>
                <a:gd name="connsiteY17328" fmla="*/ 1194054 h 3355086"/>
                <a:gd name="connsiteX17329" fmla="*/ 80962 w 3359086"/>
                <a:gd name="connsiteY17329" fmla="*/ 1187863 h 3355086"/>
                <a:gd name="connsiteX17330" fmla="*/ 1703641 w 3359086"/>
                <a:gd name="connsiteY17330" fmla="*/ 1186910 h 3355086"/>
                <a:gd name="connsiteX17331" fmla="*/ 1709832 w 3359086"/>
                <a:gd name="connsiteY17331" fmla="*/ 1193101 h 3355086"/>
                <a:gd name="connsiteX17332" fmla="*/ 1703641 w 3359086"/>
                <a:gd name="connsiteY17332" fmla="*/ 1199293 h 3355086"/>
                <a:gd name="connsiteX17333" fmla="*/ 1697450 w 3359086"/>
                <a:gd name="connsiteY17333" fmla="*/ 1193101 h 3355086"/>
                <a:gd name="connsiteX17334" fmla="*/ 1703641 w 3359086"/>
                <a:gd name="connsiteY17334" fmla="*/ 1186910 h 3355086"/>
                <a:gd name="connsiteX17335" fmla="*/ 662844 w 3359086"/>
                <a:gd name="connsiteY17335" fmla="*/ 1186434 h 3355086"/>
                <a:gd name="connsiteX17336" fmla="*/ 669035 w 3359086"/>
                <a:gd name="connsiteY17336" fmla="*/ 1192625 h 3355086"/>
                <a:gd name="connsiteX17337" fmla="*/ 662844 w 3359086"/>
                <a:gd name="connsiteY17337" fmla="*/ 1198816 h 3355086"/>
                <a:gd name="connsiteX17338" fmla="*/ 656653 w 3359086"/>
                <a:gd name="connsiteY17338" fmla="*/ 1192625 h 3355086"/>
                <a:gd name="connsiteX17339" fmla="*/ 662844 w 3359086"/>
                <a:gd name="connsiteY17339" fmla="*/ 1186434 h 3355086"/>
                <a:gd name="connsiteX17340" fmla="*/ 359187 w 3359086"/>
                <a:gd name="connsiteY17340" fmla="*/ 1186149 h 3355086"/>
                <a:gd name="connsiteX17341" fmla="*/ 365379 w 3359086"/>
                <a:gd name="connsiteY17341" fmla="*/ 1192340 h 3355086"/>
                <a:gd name="connsiteX17342" fmla="*/ 359187 w 3359086"/>
                <a:gd name="connsiteY17342" fmla="*/ 1198531 h 3355086"/>
                <a:gd name="connsiteX17343" fmla="*/ 352996 w 3359086"/>
                <a:gd name="connsiteY17343" fmla="*/ 1192340 h 3355086"/>
                <a:gd name="connsiteX17344" fmla="*/ 359187 w 3359086"/>
                <a:gd name="connsiteY17344" fmla="*/ 1186149 h 3355086"/>
                <a:gd name="connsiteX17345" fmla="*/ 3179730 w 3359086"/>
                <a:gd name="connsiteY17345" fmla="*/ 1184625 h 3355086"/>
                <a:gd name="connsiteX17346" fmla="*/ 3185922 w 3359086"/>
                <a:gd name="connsiteY17346" fmla="*/ 1190816 h 3355086"/>
                <a:gd name="connsiteX17347" fmla="*/ 3179730 w 3359086"/>
                <a:gd name="connsiteY17347" fmla="*/ 1197008 h 3355086"/>
                <a:gd name="connsiteX17348" fmla="*/ 3173539 w 3359086"/>
                <a:gd name="connsiteY17348" fmla="*/ 1190816 h 3355086"/>
                <a:gd name="connsiteX17349" fmla="*/ 3179730 w 3359086"/>
                <a:gd name="connsiteY17349" fmla="*/ 1184625 h 3355086"/>
                <a:gd name="connsiteX17350" fmla="*/ 220598 w 3359086"/>
                <a:gd name="connsiteY17350" fmla="*/ 1184625 h 3355086"/>
                <a:gd name="connsiteX17351" fmla="*/ 226789 w 3359086"/>
                <a:gd name="connsiteY17351" fmla="*/ 1190816 h 3355086"/>
                <a:gd name="connsiteX17352" fmla="*/ 220598 w 3359086"/>
                <a:gd name="connsiteY17352" fmla="*/ 1197008 h 3355086"/>
                <a:gd name="connsiteX17353" fmla="*/ 214407 w 3359086"/>
                <a:gd name="connsiteY17353" fmla="*/ 1190816 h 3355086"/>
                <a:gd name="connsiteX17354" fmla="*/ 220598 w 3359086"/>
                <a:gd name="connsiteY17354" fmla="*/ 1184625 h 3355086"/>
                <a:gd name="connsiteX17355" fmla="*/ 3226783 w 3359086"/>
                <a:gd name="connsiteY17355" fmla="*/ 1181767 h 3355086"/>
                <a:gd name="connsiteX17356" fmla="*/ 3232546 w 3359086"/>
                <a:gd name="connsiteY17356" fmla="*/ 1187530 h 3355086"/>
                <a:gd name="connsiteX17357" fmla="*/ 3237356 w 3359086"/>
                <a:gd name="connsiteY17357" fmla="*/ 1182720 h 3355086"/>
                <a:gd name="connsiteX17358" fmla="*/ 3242785 w 3359086"/>
                <a:gd name="connsiteY17358" fmla="*/ 1188149 h 3355086"/>
                <a:gd name="connsiteX17359" fmla="*/ 3248119 w 3359086"/>
                <a:gd name="connsiteY17359" fmla="*/ 1182815 h 3355086"/>
                <a:gd name="connsiteX17360" fmla="*/ 3254311 w 3359086"/>
                <a:gd name="connsiteY17360" fmla="*/ 1189006 h 3355086"/>
                <a:gd name="connsiteX17361" fmla="*/ 3248119 w 3359086"/>
                <a:gd name="connsiteY17361" fmla="*/ 1195198 h 3355086"/>
                <a:gd name="connsiteX17362" fmla="*/ 3242690 w 3359086"/>
                <a:gd name="connsiteY17362" fmla="*/ 1189768 h 3355086"/>
                <a:gd name="connsiteX17363" fmla="*/ 3237356 w 3359086"/>
                <a:gd name="connsiteY17363" fmla="*/ 1195102 h 3355086"/>
                <a:gd name="connsiteX17364" fmla="*/ 3231593 w 3359086"/>
                <a:gd name="connsiteY17364" fmla="*/ 1189340 h 3355086"/>
                <a:gd name="connsiteX17365" fmla="*/ 3226783 w 3359086"/>
                <a:gd name="connsiteY17365" fmla="*/ 1194150 h 3355086"/>
                <a:gd name="connsiteX17366" fmla="*/ 3220592 w 3359086"/>
                <a:gd name="connsiteY17366" fmla="*/ 1187958 h 3355086"/>
                <a:gd name="connsiteX17367" fmla="*/ 3226783 w 3359086"/>
                <a:gd name="connsiteY17367" fmla="*/ 1181767 h 3355086"/>
                <a:gd name="connsiteX17368" fmla="*/ 3210305 w 3359086"/>
                <a:gd name="connsiteY17368" fmla="*/ 1181672 h 3355086"/>
                <a:gd name="connsiteX17369" fmla="*/ 3216496 w 3359086"/>
                <a:gd name="connsiteY17369" fmla="*/ 1187863 h 3355086"/>
                <a:gd name="connsiteX17370" fmla="*/ 3210305 w 3359086"/>
                <a:gd name="connsiteY17370" fmla="*/ 1194054 h 3355086"/>
                <a:gd name="connsiteX17371" fmla="*/ 3204114 w 3359086"/>
                <a:gd name="connsiteY17371" fmla="*/ 1187863 h 3355086"/>
                <a:gd name="connsiteX17372" fmla="*/ 3210305 w 3359086"/>
                <a:gd name="connsiteY17372" fmla="*/ 1181672 h 3355086"/>
                <a:gd name="connsiteX17373" fmla="*/ 3263931 w 3359086"/>
                <a:gd name="connsiteY17373" fmla="*/ 1180814 h 3355086"/>
                <a:gd name="connsiteX17374" fmla="*/ 3270123 w 3359086"/>
                <a:gd name="connsiteY17374" fmla="*/ 1187005 h 3355086"/>
                <a:gd name="connsiteX17375" fmla="*/ 3263931 w 3359086"/>
                <a:gd name="connsiteY17375" fmla="*/ 1193197 h 3355086"/>
                <a:gd name="connsiteX17376" fmla="*/ 3257740 w 3359086"/>
                <a:gd name="connsiteY17376" fmla="*/ 1187005 h 3355086"/>
                <a:gd name="connsiteX17377" fmla="*/ 3263931 w 3359086"/>
                <a:gd name="connsiteY17377" fmla="*/ 1180814 h 3355086"/>
                <a:gd name="connsiteX17378" fmla="*/ 2633757 w 3359086"/>
                <a:gd name="connsiteY17378" fmla="*/ 1178814 h 3355086"/>
                <a:gd name="connsiteX17379" fmla="*/ 2639949 w 3359086"/>
                <a:gd name="connsiteY17379" fmla="*/ 1185005 h 3355086"/>
                <a:gd name="connsiteX17380" fmla="*/ 2633757 w 3359086"/>
                <a:gd name="connsiteY17380" fmla="*/ 1191197 h 3355086"/>
                <a:gd name="connsiteX17381" fmla="*/ 2627566 w 3359086"/>
                <a:gd name="connsiteY17381" fmla="*/ 1185005 h 3355086"/>
                <a:gd name="connsiteX17382" fmla="*/ 2633757 w 3359086"/>
                <a:gd name="connsiteY17382" fmla="*/ 1178814 h 3355086"/>
                <a:gd name="connsiteX17383" fmla="*/ 2952273 w 3359086"/>
                <a:gd name="connsiteY17383" fmla="*/ 1178338 h 3355086"/>
                <a:gd name="connsiteX17384" fmla="*/ 2958465 w 3359086"/>
                <a:gd name="connsiteY17384" fmla="*/ 1184529 h 3355086"/>
                <a:gd name="connsiteX17385" fmla="*/ 2952273 w 3359086"/>
                <a:gd name="connsiteY17385" fmla="*/ 1190721 h 3355086"/>
                <a:gd name="connsiteX17386" fmla="*/ 2946082 w 3359086"/>
                <a:gd name="connsiteY17386" fmla="*/ 1184529 h 3355086"/>
                <a:gd name="connsiteX17387" fmla="*/ 2952273 w 3359086"/>
                <a:gd name="connsiteY17387" fmla="*/ 1178338 h 3355086"/>
                <a:gd name="connsiteX17388" fmla="*/ 3098958 w 3359086"/>
                <a:gd name="connsiteY17388" fmla="*/ 1177004 h 3355086"/>
                <a:gd name="connsiteX17389" fmla="*/ 3105149 w 3359086"/>
                <a:gd name="connsiteY17389" fmla="*/ 1183195 h 3355086"/>
                <a:gd name="connsiteX17390" fmla="*/ 3098958 w 3359086"/>
                <a:gd name="connsiteY17390" fmla="*/ 1189387 h 3355086"/>
                <a:gd name="connsiteX17391" fmla="*/ 3092767 w 3359086"/>
                <a:gd name="connsiteY17391" fmla="*/ 1183195 h 3355086"/>
                <a:gd name="connsiteX17392" fmla="*/ 3098958 w 3359086"/>
                <a:gd name="connsiteY17392" fmla="*/ 1177004 h 3355086"/>
                <a:gd name="connsiteX17393" fmla="*/ 161353 w 3359086"/>
                <a:gd name="connsiteY17393" fmla="*/ 1176147 h 3355086"/>
                <a:gd name="connsiteX17394" fmla="*/ 167544 w 3359086"/>
                <a:gd name="connsiteY17394" fmla="*/ 1182338 h 3355086"/>
                <a:gd name="connsiteX17395" fmla="*/ 161353 w 3359086"/>
                <a:gd name="connsiteY17395" fmla="*/ 1188529 h 3355086"/>
                <a:gd name="connsiteX17396" fmla="*/ 155162 w 3359086"/>
                <a:gd name="connsiteY17396" fmla="*/ 1182338 h 3355086"/>
                <a:gd name="connsiteX17397" fmla="*/ 161353 w 3359086"/>
                <a:gd name="connsiteY17397" fmla="*/ 1176147 h 3355086"/>
                <a:gd name="connsiteX17398" fmla="*/ 98297 w 3359086"/>
                <a:gd name="connsiteY17398" fmla="*/ 1175957 h 3355086"/>
                <a:gd name="connsiteX17399" fmla="*/ 104489 w 3359086"/>
                <a:gd name="connsiteY17399" fmla="*/ 1182148 h 3355086"/>
                <a:gd name="connsiteX17400" fmla="*/ 98297 w 3359086"/>
                <a:gd name="connsiteY17400" fmla="*/ 1188340 h 3355086"/>
                <a:gd name="connsiteX17401" fmla="*/ 93392 w 3359086"/>
                <a:gd name="connsiteY17401" fmla="*/ 1183434 h 3355086"/>
                <a:gd name="connsiteX17402" fmla="*/ 87629 w 3359086"/>
                <a:gd name="connsiteY17402" fmla="*/ 1189196 h 3355086"/>
                <a:gd name="connsiteX17403" fmla="*/ 81438 w 3359086"/>
                <a:gd name="connsiteY17403" fmla="*/ 1183005 h 3355086"/>
                <a:gd name="connsiteX17404" fmla="*/ 87629 w 3359086"/>
                <a:gd name="connsiteY17404" fmla="*/ 1176814 h 3355086"/>
                <a:gd name="connsiteX17405" fmla="*/ 92535 w 3359086"/>
                <a:gd name="connsiteY17405" fmla="*/ 1181719 h 3355086"/>
                <a:gd name="connsiteX17406" fmla="*/ 109442 w 3359086"/>
                <a:gd name="connsiteY17406" fmla="*/ 1174242 h 3355086"/>
                <a:gd name="connsiteX17407" fmla="*/ 115634 w 3359086"/>
                <a:gd name="connsiteY17407" fmla="*/ 1180433 h 3355086"/>
                <a:gd name="connsiteX17408" fmla="*/ 109442 w 3359086"/>
                <a:gd name="connsiteY17408" fmla="*/ 1186625 h 3355086"/>
                <a:gd name="connsiteX17409" fmla="*/ 103251 w 3359086"/>
                <a:gd name="connsiteY17409" fmla="*/ 1180433 h 3355086"/>
                <a:gd name="connsiteX17410" fmla="*/ 109442 w 3359086"/>
                <a:gd name="connsiteY17410" fmla="*/ 1174242 h 3355086"/>
                <a:gd name="connsiteX17411" fmla="*/ 127730 w 3359086"/>
                <a:gd name="connsiteY17411" fmla="*/ 1173575 h 3355086"/>
                <a:gd name="connsiteX17412" fmla="*/ 133922 w 3359086"/>
                <a:gd name="connsiteY17412" fmla="*/ 1179766 h 3355086"/>
                <a:gd name="connsiteX17413" fmla="*/ 127730 w 3359086"/>
                <a:gd name="connsiteY17413" fmla="*/ 1185958 h 3355086"/>
                <a:gd name="connsiteX17414" fmla="*/ 121539 w 3359086"/>
                <a:gd name="connsiteY17414" fmla="*/ 1179766 h 3355086"/>
                <a:gd name="connsiteX17415" fmla="*/ 127730 w 3359086"/>
                <a:gd name="connsiteY17415" fmla="*/ 1173575 h 3355086"/>
                <a:gd name="connsiteX17416" fmla="*/ 3255835 w 3359086"/>
                <a:gd name="connsiteY17416" fmla="*/ 1171099 h 3355086"/>
                <a:gd name="connsiteX17417" fmla="*/ 3262026 w 3359086"/>
                <a:gd name="connsiteY17417" fmla="*/ 1177290 h 3355086"/>
                <a:gd name="connsiteX17418" fmla="*/ 3255835 w 3359086"/>
                <a:gd name="connsiteY17418" fmla="*/ 1183481 h 3355086"/>
                <a:gd name="connsiteX17419" fmla="*/ 3249644 w 3359086"/>
                <a:gd name="connsiteY17419" fmla="*/ 1177290 h 3355086"/>
                <a:gd name="connsiteX17420" fmla="*/ 3255835 w 3359086"/>
                <a:gd name="connsiteY17420" fmla="*/ 1171099 h 3355086"/>
                <a:gd name="connsiteX17421" fmla="*/ 3277837 w 3359086"/>
                <a:gd name="connsiteY17421" fmla="*/ 1170623 h 3355086"/>
                <a:gd name="connsiteX17422" fmla="*/ 3281076 w 3359086"/>
                <a:gd name="connsiteY17422" fmla="*/ 1173862 h 3355086"/>
                <a:gd name="connsiteX17423" fmla="*/ 3277837 w 3359086"/>
                <a:gd name="connsiteY17423" fmla="*/ 1177100 h 3355086"/>
                <a:gd name="connsiteX17424" fmla="*/ 3274599 w 3359086"/>
                <a:gd name="connsiteY17424" fmla="*/ 1173862 h 3355086"/>
                <a:gd name="connsiteX17425" fmla="*/ 3277837 w 3359086"/>
                <a:gd name="connsiteY17425" fmla="*/ 1170623 h 3355086"/>
                <a:gd name="connsiteX17426" fmla="*/ 741235 w 3359086"/>
                <a:gd name="connsiteY17426" fmla="*/ 1170051 h 3355086"/>
                <a:gd name="connsiteX17427" fmla="*/ 747427 w 3359086"/>
                <a:gd name="connsiteY17427" fmla="*/ 1176242 h 3355086"/>
                <a:gd name="connsiteX17428" fmla="*/ 741235 w 3359086"/>
                <a:gd name="connsiteY17428" fmla="*/ 1182433 h 3355086"/>
                <a:gd name="connsiteX17429" fmla="*/ 735044 w 3359086"/>
                <a:gd name="connsiteY17429" fmla="*/ 1176242 h 3355086"/>
                <a:gd name="connsiteX17430" fmla="*/ 741235 w 3359086"/>
                <a:gd name="connsiteY17430" fmla="*/ 1170051 h 3355086"/>
                <a:gd name="connsiteX17431" fmla="*/ 3230784 w 3359086"/>
                <a:gd name="connsiteY17431" fmla="*/ 1169956 h 3355086"/>
                <a:gd name="connsiteX17432" fmla="*/ 3236880 w 3359086"/>
                <a:gd name="connsiteY17432" fmla="*/ 1176052 h 3355086"/>
                <a:gd name="connsiteX17433" fmla="*/ 3241357 w 3359086"/>
                <a:gd name="connsiteY17433" fmla="*/ 1171575 h 3355086"/>
                <a:gd name="connsiteX17434" fmla="*/ 3247549 w 3359086"/>
                <a:gd name="connsiteY17434" fmla="*/ 1177766 h 3355086"/>
                <a:gd name="connsiteX17435" fmla="*/ 3241357 w 3359086"/>
                <a:gd name="connsiteY17435" fmla="*/ 1183958 h 3355086"/>
                <a:gd name="connsiteX17436" fmla="*/ 3235261 w 3359086"/>
                <a:gd name="connsiteY17436" fmla="*/ 1177861 h 3355086"/>
                <a:gd name="connsiteX17437" fmla="*/ 3230784 w 3359086"/>
                <a:gd name="connsiteY17437" fmla="*/ 1182339 h 3355086"/>
                <a:gd name="connsiteX17438" fmla="*/ 3224593 w 3359086"/>
                <a:gd name="connsiteY17438" fmla="*/ 1176147 h 3355086"/>
                <a:gd name="connsiteX17439" fmla="*/ 3230784 w 3359086"/>
                <a:gd name="connsiteY17439" fmla="*/ 1169956 h 3355086"/>
                <a:gd name="connsiteX17440" fmla="*/ 80581 w 3359086"/>
                <a:gd name="connsiteY17440" fmla="*/ 1169575 h 3355086"/>
                <a:gd name="connsiteX17441" fmla="*/ 82772 w 3359086"/>
                <a:gd name="connsiteY17441" fmla="*/ 1171766 h 3355086"/>
                <a:gd name="connsiteX17442" fmla="*/ 80581 w 3359086"/>
                <a:gd name="connsiteY17442" fmla="*/ 1173956 h 3355086"/>
                <a:gd name="connsiteX17443" fmla="*/ 78390 w 3359086"/>
                <a:gd name="connsiteY17443" fmla="*/ 1171766 h 3355086"/>
                <a:gd name="connsiteX17444" fmla="*/ 80581 w 3359086"/>
                <a:gd name="connsiteY17444" fmla="*/ 1169575 h 3355086"/>
                <a:gd name="connsiteX17445" fmla="*/ 405193 w 3359086"/>
                <a:gd name="connsiteY17445" fmla="*/ 1169194 h 3355086"/>
                <a:gd name="connsiteX17446" fmla="*/ 411384 w 3359086"/>
                <a:gd name="connsiteY17446" fmla="*/ 1175385 h 3355086"/>
                <a:gd name="connsiteX17447" fmla="*/ 405193 w 3359086"/>
                <a:gd name="connsiteY17447" fmla="*/ 1181577 h 3355086"/>
                <a:gd name="connsiteX17448" fmla="*/ 399002 w 3359086"/>
                <a:gd name="connsiteY17448" fmla="*/ 1175385 h 3355086"/>
                <a:gd name="connsiteX17449" fmla="*/ 405193 w 3359086"/>
                <a:gd name="connsiteY17449" fmla="*/ 1169194 h 3355086"/>
                <a:gd name="connsiteX17450" fmla="*/ 3162490 w 3359086"/>
                <a:gd name="connsiteY17450" fmla="*/ 1168623 h 3355086"/>
                <a:gd name="connsiteX17451" fmla="*/ 3168682 w 3359086"/>
                <a:gd name="connsiteY17451" fmla="*/ 1174814 h 3355086"/>
                <a:gd name="connsiteX17452" fmla="*/ 3162490 w 3359086"/>
                <a:gd name="connsiteY17452" fmla="*/ 1181006 h 3355086"/>
                <a:gd name="connsiteX17453" fmla="*/ 3156299 w 3359086"/>
                <a:gd name="connsiteY17453" fmla="*/ 1174814 h 3355086"/>
                <a:gd name="connsiteX17454" fmla="*/ 3162490 w 3359086"/>
                <a:gd name="connsiteY17454" fmla="*/ 1168623 h 3355086"/>
                <a:gd name="connsiteX17455" fmla="*/ 248697 w 3359086"/>
                <a:gd name="connsiteY17455" fmla="*/ 1168051 h 3355086"/>
                <a:gd name="connsiteX17456" fmla="*/ 254889 w 3359086"/>
                <a:gd name="connsiteY17456" fmla="*/ 1174242 h 3355086"/>
                <a:gd name="connsiteX17457" fmla="*/ 248697 w 3359086"/>
                <a:gd name="connsiteY17457" fmla="*/ 1180433 h 3355086"/>
                <a:gd name="connsiteX17458" fmla="*/ 242506 w 3359086"/>
                <a:gd name="connsiteY17458" fmla="*/ 1174242 h 3355086"/>
                <a:gd name="connsiteX17459" fmla="*/ 248697 w 3359086"/>
                <a:gd name="connsiteY17459" fmla="*/ 1168051 h 3355086"/>
                <a:gd name="connsiteX17460" fmla="*/ 3218973 w 3359086"/>
                <a:gd name="connsiteY17460" fmla="*/ 1167670 h 3355086"/>
                <a:gd name="connsiteX17461" fmla="*/ 3225165 w 3359086"/>
                <a:gd name="connsiteY17461" fmla="*/ 1173861 h 3355086"/>
                <a:gd name="connsiteX17462" fmla="*/ 3218973 w 3359086"/>
                <a:gd name="connsiteY17462" fmla="*/ 1180052 h 3355086"/>
                <a:gd name="connsiteX17463" fmla="*/ 3212782 w 3359086"/>
                <a:gd name="connsiteY17463" fmla="*/ 1173861 h 3355086"/>
                <a:gd name="connsiteX17464" fmla="*/ 3218973 w 3359086"/>
                <a:gd name="connsiteY17464" fmla="*/ 1167670 h 3355086"/>
                <a:gd name="connsiteX17465" fmla="*/ 3199066 w 3359086"/>
                <a:gd name="connsiteY17465" fmla="*/ 1166432 h 3355086"/>
                <a:gd name="connsiteX17466" fmla="*/ 3205258 w 3359086"/>
                <a:gd name="connsiteY17466" fmla="*/ 1172623 h 3355086"/>
                <a:gd name="connsiteX17467" fmla="*/ 3199066 w 3359086"/>
                <a:gd name="connsiteY17467" fmla="*/ 1178815 h 3355086"/>
                <a:gd name="connsiteX17468" fmla="*/ 3192875 w 3359086"/>
                <a:gd name="connsiteY17468" fmla="*/ 1172623 h 3355086"/>
                <a:gd name="connsiteX17469" fmla="*/ 3199066 w 3359086"/>
                <a:gd name="connsiteY17469" fmla="*/ 1166432 h 3355086"/>
                <a:gd name="connsiteX17470" fmla="*/ 94392 w 3359086"/>
                <a:gd name="connsiteY17470" fmla="*/ 1165193 h 3355086"/>
                <a:gd name="connsiteX17471" fmla="*/ 100584 w 3359086"/>
                <a:gd name="connsiteY17471" fmla="*/ 1171384 h 3355086"/>
                <a:gd name="connsiteX17472" fmla="*/ 94392 w 3359086"/>
                <a:gd name="connsiteY17472" fmla="*/ 1177576 h 3355086"/>
                <a:gd name="connsiteX17473" fmla="*/ 88201 w 3359086"/>
                <a:gd name="connsiteY17473" fmla="*/ 1171384 h 3355086"/>
                <a:gd name="connsiteX17474" fmla="*/ 94392 w 3359086"/>
                <a:gd name="connsiteY17474" fmla="*/ 1165193 h 3355086"/>
                <a:gd name="connsiteX17475" fmla="*/ 104965 w 3359086"/>
                <a:gd name="connsiteY17475" fmla="*/ 1162812 h 3355086"/>
                <a:gd name="connsiteX17476" fmla="*/ 111157 w 3359086"/>
                <a:gd name="connsiteY17476" fmla="*/ 1169003 h 3355086"/>
                <a:gd name="connsiteX17477" fmla="*/ 104965 w 3359086"/>
                <a:gd name="connsiteY17477" fmla="*/ 1175195 h 3355086"/>
                <a:gd name="connsiteX17478" fmla="*/ 98774 w 3359086"/>
                <a:gd name="connsiteY17478" fmla="*/ 1169003 h 3355086"/>
                <a:gd name="connsiteX17479" fmla="*/ 104965 w 3359086"/>
                <a:gd name="connsiteY17479" fmla="*/ 1162812 h 3355086"/>
                <a:gd name="connsiteX17480" fmla="*/ 2552128 w 3359086"/>
                <a:gd name="connsiteY17480" fmla="*/ 1162431 h 3355086"/>
                <a:gd name="connsiteX17481" fmla="*/ 2558319 w 3359086"/>
                <a:gd name="connsiteY17481" fmla="*/ 1168622 h 3355086"/>
                <a:gd name="connsiteX17482" fmla="*/ 2552128 w 3359086"/>
                <a:gd name="connsiteY17482" fmla="*/ 1174814 h 3355086"/>
                <a:gd name="connsiteX17483" fmla="*/ 2545937 w 3359086"/>
                <a:gd name="connsiteY17483" fmla="*/ 1168622 h 3355086"/>
                <a:gd name="connsiteX17484" fmla="*/ 2552128 w 3359086"/>
                <a:gd name="connsiteY17484" fmla="*/ 1162431 h 3355086"/>
                <a:gd name="connsiteX17485" fmla="*/ 2903886 w 3359086"/>
                <a:gd name="connsiteY17485" fmla="*/ 1161288 h 3355086"/>
                <a:gd name="connsiteX17486" fmla="*/ 2910077 w 3359086"/>
                <a:gd name="connsiteY17486" fmla="*/ 1167479 h 3355086"/>
                <a:gd name="connsiteX17487" fmla="*/ 2903886 w 3359086"/>
                <a:gd name="connsiteY17487" fmla="*/ 1173670 h 3355086"/>
                <a:gd name="connsiteX17488" fmla="*/ 2897695 w 3359086"/>
                <a:gd name="connsiteY17488" fmla="*/ 1167479 h 3355086"/>
                <a:gd name="connsiteX17489" fmla="*/ 2903886 w 3359086"/>
                <a:gd name="connsiteY17489" fmla="*/ 1161288 h 3355086"/>
                <a:gd name="connsiteX17490" fmla="*/ 3248024 w 3359086"/>
                <a:gd name="connsiteY17490" fmla="*/ 1160812 h 3355086"/>
                <a:gd name="connsiteX17491" fmla="*/ 3254215 w 3359086"/>
                <a:gd name="connsiteY17491" fmla="*/ 1167003 h 3355086"/>
                <a:gd name="connsiteX17492" fmla="*/ 3248024 w 3359086"/>
                <a:gd name="connsiteY17492" fmla="*/ 1173195 h 3355086"/>
                <a:gd name="connsiteX17493" fmla="*/ 3241833 w 3359086"/>
                <a:gd name="connsiteY17493" fmla="*/ 1167003 h 3355086"/>
                <a:gd name="connsiteX17494" fmla="*/ 3248024 w 3359086"/>
                <a:gd name="connsiteY17494" fmla="*/ 1160812 h 3355086"/>
                <a:gd name="connsiteX17495" fmla="*/ 3069240 w 3359086"/>
                <a:gd name="connsiteY17495" fmla="*/ 1160145 h 3355086"/>
                <a:gd name="connsiteX17496" fmla="*/ 3075432 w 3359086"/>
                <a:gd name="connsiteY17496" fmla="*/ 1166336 h 3355086"/>
                <a:gd name="connsiteX17497" fmla="*/ 3069240 w 3359086"/>
                <a:gd name="connsiteY17497" fmla="*/ 1172527 h 3355086"/>
                <a:gd name="connsiteX17498" fmla="*/ 3063049 w 3359086"/>
                <a:gd name="connsiteY17498" fmla="*/ 1166336 h 3355086"/>
                <a:gd name="connsiteX17499" fmla="*/ 3069240 w 3359086"/>
                <a:gd name="connsiteY17499" fmla="*/ 1160145 h 3355086"/>
                <a:gd name="connsiteX17500" fmla="*/ 117824 w 3359086"/>
                <a:gd name="connsiteY17500" fmla="*/ 1159860 h 3355086"/>
                <a:gd name="connsiteX17501" fmla="*/ 124016 w 3359086"/>
                <a:gd name="connsiteY17501" fmla="*/ 1166051 h 3355086"/>
                <a:gd name="connsiteX17502" fmla="*/ 117824 w 3359086"/>
                <a:gd name="connsiteY17502" fmla="*/ 1172242 h 3355086"/>
                <a:gd name="connsiteX17503" fmla="*/ 111633 w 3359086"/>
                <a:gd name="connsiteY17503" fmla="*/ 1166051 h 3355086"/>
                <a:gd name="connsiteX17504" fmla="*/ 117824 w 3359086"/>
                <a:gd name="connsiteY17504" fmla="*/ 1159860 h 3355086"/>
                <a:gd name="connsiteX17505" fmla="*/ 179831 w 3359086"/>
                <a:gd name="connsiteY17505" fmla="*/ 1159764 h 3355086"/>
                <a:gd name="connsiteX17506" fmla="*/ 186023 w 3359086"/>
                <a:gd name="connsiteY17506" fmla="*/ 1165955 h 3355086"/>
                <a:gd name="connsiteX17507" fmla="*/ 179831 w 3359086"/>
                <a:gd name="connsiteY17507" fmla="*/ 1172147 h 3355086"/>
                <a:gd name="connsiteX17508" fmla="*/ 173640 w 3359086"/>
                <a:gd name="connsiteY17508" fmla="*/ 1165955 h 3355086"/>
                <a:gd name="connsiteX17509" fmla="*/ 179831 w 3359086"/>
                <a:gd name="connsiteY17509" fmla="*/ 1159764 h 3355086"/>
                <a:gd name="connsiteX17510" fmla="*/ 3234689 w 3359086"/>
                <a:gd name="connsiteY17510" fmla="*/ 1159574 h 3355086"/>
                <a:gd name="connsiteX17511" fmla="*/ 3240880 w 3359086"/>
                <a:gd name="connsiteY17511" fmla="*/ 1165765 h 3355086"/>
                <a:gd name="connsiteX17512" fmla="*/ 3234689 w 3359086"/>
                <a:gd name="connsiteY17512" fmla="*/ 1171956 h 3355086"/>
                <a:gd name="connsiteX17513" fmla="*/ 3228498 w 3359086"/>
                <a:gd name="connsiteY17513" fmla="*/ 1165765 h 3355086"/>
                <a:gd name="connsiteX17514" fmla="*/ 3234689 w 3359086"/>
                <a:gd name="connsiteY17514" fmla="*/ 1159574 h 3355086"/>
                <a:gd name="connsiteX17515" fmla="*/ 3268027 w 3359086"/>
                <a:gd name="connsiteY17515" fmla="*/ 1159002 h 3355086"/>
                <a:gd name="connsiteX17516" fmla="*/ 3274218 w 3359086"/>
                <a:gd name="connsiteY17516" fmla="*/ 1165193 h 3355086"/>
                <a:gd name="connsiteX17517" fmla="*/ 3268027 w 3359086"/>
                <a:gd name="connsiteY17517" fmla="*/ 1171385 h 3355086"/>
                <a:gd name="connsiteX17518" fmla="*/ 3261836 w 3359086"/>
                <a:gd name="connsiteY17518" fmla="*/ 1165193 h 3355086"/>
                <a:gd name="connsiteX17519" fmla="*/ 3268027 w 3359086"/>
                <a:gd name="connsiteY17519" fmla="*/ 1159002 h 3355086"/>
                <a:gd name="connsiteX17520" fmla="*/ 139826 w 3359086"/>
                <a:gd name="connsiteY17520" fmla="*/ 1157955 h 3355086"/>
                <a:gd name="connsiteX17521" fmla="*/ 146017 w 3359086"/>
                <a:gd name="connsiteY17521" fmla="*/ 1164146 h 3355086"/>
                <a:gd name="connsiteX17522" fmla="*/ 139826 w 3359086"/>
                <a:gd name="connsiteY17522" fmla="*/ 1170338 h 3355086"/>
                <a:gd name="connsiteX17523" fmla="*/ 133635 w 3359086"/>
                <a:gd name="connsiteY17523" fmla="*/ 1164146 h 3355086"/>
                <a:gd name="connsiteX17524" fmla="*/ 139826 w 3359086"/>
                <a:gd name="connsiteY17524" fmla="*/ 1157955 h 3355086"/>
                <a:gd name="connsiteX17525" fmla="*/ 3223926 w 3359086"/>
                <a:gd name="connsiteY17525" fmla="*/ 1156526 h 3355086"/>
                <a:gd name="connsiteX17526" fmla="*/ 3230117 w 3359086"/>
                <a:gd name="connsiteY17526" fmla="*/ 1162717 h 3355086"/>
                <a:gd name="connsiteX17527" fmla="*/ 3223926 w 3359086"/>
                <a:gd name="connsiteY17527" fmla="*/ 1168908 h 3355086"/>
                <a:gd name="connsiteX17528" fmla="*/ 3217735 w 3359086"/>
                <a:gd name="connsiteY17528" fmla="*/ 1162717 h 3355086"/>
                <a:gd name="connsiteX17529" fmla="*/ 3223926 w 3359086"/>
                <a:gd name="connsiteY17529" fmla="*/ 1156526 h 3355086"/>
                <a:gd name="connsiteX17530" fmla="*/ 88201 w 3359086"/>
                <a:gd name="connsiteY17530" fmla="*/ 1155002 h 3355086"/>
                <a:gd name="connsiteX17531" fmla="*/ 94393 w 3359086"/>
                <a:gd name="connsiteY17531" fmla="*/ 1161193 h 3355086"/>
                <a:gd name="connsiteX17532" fmla="*/ 88201 w 3359086"/>
                <a:gd name="connsiteY17532" fmla="*/ 1167385 h 3355086"/>
                <a:gd name="connsiteX17533" fmla="*/ 82010 w 3359086"/>
                <a:gd name="connsiteY17533" fmla="*/ 1161193 h 3355086"/>
                <a:gd name="connsiteX17534" fmla="*/ 88201 w 3359086"/>
                <a:gd name="connsiteY17534" fmla="*/ 1155002 h 3355086"/>
                <a:gd name="connsiteX17535" fmla="*/ 826674 w 3359086"/>
                <a:gd name="connsiteY17535" fmla="*/ 1153668 h 3355086"/>
                <a:gd name="connsiteX17536" fmla="*/ 832866 w 3359086"/>
                <a:gd name="connsiteY17536" fmla="*/ 1159859 h 3355086"/>
                <a:gd name="connsiteX17537" fmla="*/ 826674 w 3359086"/>
                <a:gd name="connsiteY17537" fmla="*/ 1166051 h 3355086"/>
                <a:gd name="connsiteX17538" fmla="*/ 820483 w 3359086"/>
                <a:gd name="connsiteY17538" fmla="*/ 1159859 h 3355086"/>
                <a:gd name="connsiteX17539" fmla="*/ 826674 w 3359086"/>
                <a:gd name="connsiteY17539" fmla="*/ 1153668 h 3355086"/>
                <a:gd name="connsiteX17540" fmla="*/ 101060 w 3359086"/>
                <a:gd name="connsiteY17540" fmla="*/ 1153002 h 3355086"/>
                <a:gd name="connsiteX17541" fmla="*/ 107252 w 3359086"/>
                <a:gd name="connsiteY17541" fmla="*/ 1159193 h 3355086"/>
                <a:gd name="connsiteX17542" fmla="*/ 101060 w 3359086"/>
                <a:gd name="connsiteY17542" fmla="*/ 1165384 h 3355086"/>
                <a:gd name="connsiteX17543" fmla="*/ 94869 w 3359086"/>
                <a:gd name="connsiteY17543" fmla="*/ 1159193 h 3355086"/>
                <a:gd name="connsiteX17544" fmla="*/ 101060 w 3359086"/>
                <a:gd name="connsiteY17544" fmla="*/ 1153002 h 3355086"/>
                <a:gd name="connsiteX17545" fmla="*/ 3210210 w 3359086"/>
                <a:gd name="connsiteY17545" fmla="*/ 1152906 h 3355086"/>
                <a:gd name="connsiteX17546" fmla="*/ 3216401 w 3359086"/>
                <a:gd name="connsiteY17546" fmla="*/ 1159097 h 3355086"/>
                <a:gd name="connsiteX17547" fmla="*/ 3210210 w 3359086"/>
                <a:gd name="connsiteY17547" fmla="*/ 1165289 h 3355086"/>
                <a:gd name="connsiteX17548" fmla="*/ 3204019 w 3359086"/>
                <a:gd name="connsiteY17548" fmla="*/ 1159097 h 3355086"/>
                <a:gd name="connsiteX17549" fmla="*/ 3210210 w 3359086"/>
                <a:gd name="connsiteY17549" fmla="*/ 1152906 h 3355086"/>
                <a:gd name="connsiteX17550" fmla="*/ 3142868 w 3359086"/>
                <a:gd name="connsiteY17550" fmla="*/ 1152049 h 3355086"/>
                <a:gd name="connsiteX17551" fmla="*/ 3149059 w 3359086"/>
                <a:gd name="connsiteY17551" fmla="*/ 1158240 h 3355086"/>
                <a:gd name="connsiteX17552" fmla="*/ 3142868 w 3359086"/>
                <a:gd name="connsiteY17552" fmla="*/ 1164431 h 3355086"/>
                <a:gd name="connsiteX17553" fmla="*/ 3136677 w 3359086"/>
                <a:gd name="connsiteY17553" fmla="*/ 1158240 h 3355086"/>
                <a:gd name="connsiteX17554" fmla="*/ 3142868 w 3359086"/>
                <a:gd name="connsiteY17554" fmla="*/ 1152049 h 3355086"/>
                <a:gd name="connsiteX17555" fmla="*/ 456342 w 3359086"/>
                <a:gd name="connsiteY17555" fmla="*/ 1151954 h 3355086"/>
                <a:gd name="connsiteX17556" fmla="*/ 462534 w 3359086"/>
                <a:gd name="connsiteY17556" fmla="*/ 1158145 h 3355086"/>
                <a:gd name="connsiteX17557" fmla="*/ 456342 w 3359086"/>
                <a:gd name="connsiteY17557" fmla="*/ 1164337 h 3355086"/>
                <a:gd name="connsiteX17558" fmla="*/ 450151 w 3359086"/>
                <a:gd name="connsiteY17558" fmla="*/ 1158145 h 3355086"/>
                <a:gd name="connsiteX17559" fmla="*/ 456342 w 3359086"/>
                <a:gd name="connsiteY17559" fmla="*/ 1151954 h 3355086"/>
                <a:gd name="connsiteX17560" fmla="*/ 280320 w 3359086"/>
                <a:gd name="connsiteY17560" fmla="*/ 1150811 h 3355086"/>
                <a:gd name="connsiteX17561" fmla="*/ 286511 w 3359086"/>
                <a:gd name="connsiteY17561" fmla="*/ 1157002 h 3355086"/>
                <a:gd name="connsiteX17562" fmla="*/ 280320 w 3359086"/>
                <a:gd name="connsiteY17562" fmla="*/ 1163194 h 3355086"/>
                <a:gd name="connsiteX17563" fmla="*/ 274129 w 3359086"/>
                <a:gd name="connsiteY17563" fmla="*/ 1157002 h 3355086"/>
                <a:gd name="connsiteX17564" fmla="*/ 280320 w 3359086"/>
                <a:gd name="connsiteY17564" fmla="*/ 1150811 h 3355086"/>
                <a:gd name="connsiteX17565" fmla="*/ 3186112 w 3359086"/>
                <a:gd name="connsiteY17565" fmla="*/ 1150620 h 3355086"/>
                <a:gd name="connsiteX17566" fmla="*/ 3192303 w 3359086"/>
                <a:gd name="connsiteY17566" fmla="*/ 1156811 h 3355086"/>
                <a:gd name="connsiteX17567" fmla="*/ 3186112 w 3359086"/>
                <a:gd name="connsiteY17567" fmla="*/ 1163002 h 3355086"/>
                <a:gd name="connsiteX17568" fmla="*/ 3179921 w 3359086"/>
                <a:gd name="connsiteY17568" fmla="*/ 1156811 h 3355086"/>
                <a:gd name="connsiteX17569" fmla="*/ 3186112 w 3359086"/>
                <a:gd name="connsiteY17569" fmla="*/ 1150620 h 3355086"/>
                <a:gd name="connsiteX17570" fmla="*/ 3240499 w 3359086"/>
                <a:gd name="connsiteY17570" fmla="*/ 1149858 h 3355086"/>
                <a:gd name="connsiteX17571" fmla="*/ 3246690 w 3359086"/>
                <a:gd name="connsiteY17571" fmla="*/ 1156049 h 3355086"/>
                <a:gd name="connsiteX17572" fmla="*/ 3240499 w 3359086"/>
                <a:gd name="connsiteY17572" fmla="*/ 1162241 h 3355086"/>
                <a:gd name="connsiteX17573" fmla="*/ 3234308 w 3359086"/>
                <a:gd name="connsiteY17573" fmla="*/ 1156049 h 3355086"/>
                <a:gd name="connsiteX17574" fmla="*/ 3240499 w 3359086"/>
                <a:gd name="connsiteY17574" fmla="*/ 1149858 h 3355086"/>
                <a:gd name="connsiteX17575" fmla="*/ 3258788 w 3359086"/>
                <a:gd name="connsiteY17575" fmla="*/ 1149668 h 3355086"/>
                <a:gd name="connsiteX17576" fmla="*/ 3264979 w 3359086"/>
                <a:gd name="connsiteY17576" fmla="*/ 1155859 h 3355086"/>
                <a:gd name="connsiteX17577" fmla="*/ 3258788 w 3359086"/>
                <a:gd name="connsiteY17577" fmla="*/ 1162050 h 3355086"/>
                <a:gd name="connsiteX17578" fmla="*/ 3252597 w 3359086"/>
                <a:gd name="connsiteY17578" fmla="*/ 1155859 h 3355086"/>
                <a:gd name="connsiteX17579" fmla="*/ 3258788 w 3359086"/>
                <a:gd name="connsiteY17579" fmla="*/ 1149668 h 3355086"/>
                <a:gd name="connsiteX17580" fmla="*/ 112109 w 3359086"/>
                <a:gd name="connsiteY17580" fmla="*/ 1149001 h 3355086"/>
                <a:gd name="connsiteX17581" fmla="*/ 118301 w 3359086"/>
                <a:gd name="connsiteY17581" fmla="*/ 1155192 h 3355086"/>
                <a:gd name="connsiteX17582" fmla="*/ 112109 w 3359086"/>
                <a:gd name="connsiteY17582" fmla="*/ 1161383 h 3355086"/>
                <a:gd name="connsiteX17583" fmla="*/ 105918 w 3359086"/>
                <a:gd name="connsiteY17583" fmla="*/ 1155192 h 3355086"/>
                <a:gd name="connsiteX17584" fmla="*/ 112109 w 3359086"/>
                <a:gd name="connsiteY17584" fmla="*/ 1149001 h 3355086"/>
                <a:gd name="connsiteX17585" fmla="*/ 3227926 w 3359086"/>
                <a:gd name="connsiteY17585" fmla="*/ 1147001 h 3355086"/>
                <a:gd name="connsiteX17586" fmla="*/ 3234118 w 3359086"/>
                <a:gd name="connsiteY17586" fmla="*/ 1153192 h 3355086"/>
                <a:gd name="connsiteX17587" fmla="*/ 3227926 w 3359086"/>
                <a:gd name="connsiteY17587" fmla="*/ 1159383 h 3355086"/>
                <a:gd name="connsiteX17588" fmla="*/ 3221735 w 3359086"/>
                <a:gd name="connsiteY17588" fmla="*/ 1153192 h 3355086"/>
                <a:gd name="connsiteX17589" fmla="*/ 3227926 w 3359086"/>
                <a:gd name="connsiteY17589" fmla="*/ 1147001 h 3355086"/>
                <a:gd name="connsiteX17590" fmla="*/ 2463164 w 3359086"/>
                <a:gd name="connsiteY17590" fmla="*/ 1146048 h 3355086"/>
                <a:gd name="connsiteX17591" fmla="*/ 2469355 w 3359086"/>
                <a:gd name="connsiteY17591" fmla="*/ 1152239 h 3355086"/>
                <a:gd name="connsiteX17592" fmla="*/ 2463164 w 3359086"/>
                <a:gd name="connsiteY17592" fmla="*/ 1158431 h 3355086"/>
                <a:gd name="connsiteX17593" fmla="*/ 2456973 w 3359086"/>
                <a:gd name="connsiteY17593" fmla="*/ 1152239 h 3355086"/>
                <a:gd name="connsiteX17594" fmla="*/ 2463164 w 3359086"/>
                <a:gd name="connsiteY17594" fmla="*/ 1146048 h 3355086"/>
                <a:gd name="connsiteX17595" fmla="*/ 127158 w 3359086"/>
                <a:gd name="connsiteY17595" fmla="*/ 1144715 h 3355086"/>
                <a:gd name="connsiteX17596" fmla="*/ 133350 w 3359086"/>
                <a:gd name="connsiteY17596" fmla="*/ 1150906 h 3355086"/>
                <a:gd name="connsiteX17597" fmla="*/ 127158 w 3359086"/>
                <a:gd name="connsiteY17597" fmla="*/ 1157098 h 3355086"/>
                <a:gd name="connsiteX17598" fmla="*/ 120967 w 3359086"/>
                <a:gd name="connsiteY17598" fmla="*/ 1150906 h 3355086"/>
                <a:gd name="connsiteX17599" fmla="*/ 127158 w 3359086"/>
                <a:gd name="connsiteY17599" fmla="*/ 1144715 h 3355086"/>
                <a:gd name="connsiteX17600" fmla="*/ 2850260 w 3359086"/>
                <a:gd name="connsiteY17600" fmla="*/ 1143667 h 3355086"/>
                <a:gd name="connsiteX17601" fmla="*/ 2856452 w 3359086"/>
                <a:gd name="connsiteY17601" fmla="*/ 1149858 h 3355086"/>
                <a:gd name="connsiteX17602" fmla="*/ 2850260 w 3359086"/>
                <a:gd name="connsiteY17602" fmla="*/ 1156050 h 3355086"/>
                <a:gd name="connsiteX17603" fmla="*/ 2844069 w 3359086"/>
                <a:gd name="connsiteY17603" fmla="*/ 1149858 h 3355086"/>
                <a:gd name="connsiteX17604" fmla="*/ 2850260 w 3359086"/>
                <a:gd name="connsiteY17604" fmla="*/ 1143667 h 3355086"/>
                <a:gd name="connsiteX17605" fmla="*/ 95630 w 3359086"/>
                <a:gd name="connsiteY17605" fmla="*/ 1143667 h 3355086"/>
                <a:gd name="connsiteX17606" fmla="*/ 101821 w 3359086"/>
                <a:gd name="connsiteY17606" fmla="*/ 1149858 h 3355086"/>
                <a:gd name="connsiteX17607" fmla="*/ 95630 w 3359086"/>
                <a:gd name="connsiteY17607" fmla="*/ 1156050 h 3355086"/>
                <a:gd name="connsiteX17608" fmla="*/ 89439 w 3359086"/>
                <a:gd name="connsiteY17608" fmla="*/ 1149858 h 3355086"/>
                <a:gd name="connsiteX17609" fmla="*/ 95630 w 3359086"/>
                <a:gd name="connsiteY17609" fmla="*/ 1143667 h 3355086"/>
                <a:gd name="connsiteX17610" fmla="*/ 200977 w 3359086"/>
                <a:gd name="connsiteY17610" fmla="*/ 1142810 h 3355086"/>
                <a:gd name="connsiteX17611" fmla="*/ 207168 w 3359086"/>
                <a:gd name="connsiteY17611" fmla="*/ 1149001 h 3355086"/>
                <a:gd name="connsiteX17612" fmla="*/ 200977 w 3359086"/>
                <a:gd name="connsiteY17612" fmla="*/ 1155192 h 3355086"/>
                <a:gd name="connsiteX17613" fmla="*/ 194786 w 3359086"/>
                <a:gd name="connsiteY17613" fmla="*/ 1149001 h 3355086"/>
                <a:gd name="connsiteX17614" fmla="*/ 200977 w 3359086"/>
                <a:gd name="connsiteY17614" fmla="*/ 1142810 h 3355086"/>
                <a:gd name="connsiteX17615" fmla="*/ 3035902 w 3359086"/>
                <a:gd name="connsiteY17615" fmla="*/ 1142619 h 3355086"/>
                <a:gd name="connsiteX17616" fmla="*/ 3042094 w 3359086"/>
                <a:gd name="connsiteY17616" fmla="*/ 1148810 h 3355086"/>
                <a:gd name="connsiteX17617" fmla="*/ 3035902 w 3359086"/>
                <a:gd name="connsiteY17617" fmla="*/ 1155002 h 3355086"/>
                <a:gd name="connsiteX17618" fmla="*/ 3029711 w 3359086"/>
                <a:gd name="connsiteY17618" fmla="*/ 1148810 h 3355086"/>
                <a:gd name="connsiteX17619" fmla="*/ 3035902 w 3359086"/>
                <a:gd name="connsiteY17619" fmla="*/ 1142619 h 3355086"/>
                <a:gd name="connsiteX17620" fmla="*/ 3216497 w 3359086"/>
                <a:gd name="connsiteY17620" fmla="*/ 1142429 h 3355086"/>
                <a:gd name="connsiteX17621" fmla="*/ 3222688 w 3359086"/>
                <a:gd name="connsiteY17621" fmla="*/ 1148620 h 3355086"/>
                <a:gd name="connsiteX17622" fmla="*/ 3216497 w 3359086"/>
                <a:gd name="connsiteY17622" fmla="*/ 1154812 h 3355086"/>
                <a:gd name="connsiteX17623" fmla="*/ 3210306 w 3359086"/>
                <a:gd name="connsiteY17623" fmla="*/ 1148620 h 3355086"/>
                <a:gd name="connsiteX17624" fmla="*/ 3216497 w 3359086"/>
                <a:gd name="connsiteY17624" fmla="*/ 1142429 h 3355086"/>
                <a:gd name="connsiteX17625" fmla="*/ 153637 w 3359086"/>
                <a:gd name="connsiteY17625" fmla="*/ 1141762 h 3355086"/>
                <a:gd name="connsiteX17626" fmla="*/ 159829 w 3359086"/>
                <a:gd name="connsiteY17626" fmla="*/ 1147953 h 3355086"/>
                <a:gd name="connsiteX17627" fmla="*/ 153637 w 3359086"/>
                <a:gd name="connsiteY17627" fmla="*/ 1154145 h 3355086"/>
                <a:gd name="connsiteX17628" fmla="*/ 147446 w 3359086"/>
                <a:gd name="connsiteY17628" fmla="*/ 1147953 h 3355086"/>
                <a:gd name="connsiteX17629" fmla="*/ 153637 w 3359086"/>
                <a:gd name="connsiteY17629" fmla="*/ 1141762 h 3355086"/>
                <a:gd name="connsiteX17630" fmla="*/ 107918 w 3359086"/>
                <a:gd name="connsiteY17630" fmla="*/ 1140048 h 3355086"/>
                <a:gd name="connsiteX17631" fmla="*/ 114109 w 3359086"/>
                <a:gd name="connsiteY17631" fmla="*/ 1146239 h 3355086"/>
                <a:gd name="connsiteX17632" fmla="*/ 107918 w 3359086"/>
                <a:gd name="connsiteY17632" fmla="*/ 1152431 h 3355086"/>
                <a:gd name="connsiteX17633" fmla="*/ 101727 w 3359086"/>
                <a:gd name="connsiteY17633" fmla="*/ 1146239 h 3355086"/>
                <a:gd name="connsiteX17634" fmla="*/ 107918 w 3359086"/>
                <a:gd name="connsiteY17634" fmla="*/ 1140048 h 3355086"/>
                <a:gd name="connsiteX17635" fmla="*/ 3249834 w 3359086"/>
                <a:gd name="connsiteY17635" fmla="*/ 1139762 h 3355086"/>
                <a:gd name="connsiteX17636" fmla="*/ 3256025 w 3359086"/>
                <a:gd name="connsiteY17636" fmla="*/ 1145953 h 3355086"/>
                <a:gd name="connsiteX17637" fmla="*/ 3249834 w 3359086"/>
                <a:gd name="connsiteY17637" fmla="*/ 1152145 h 3355086"/>
                <a:gd name="connsiteX17638" fmla="*/ 3243643 w 3359086"/>
                <a:gd name="connsiteY17638" fmla="*/ 1145953 h 3355086"/>
                <a:gd name="connsiteX17639" fmla="*/ 3249834 w 3359086"/>
                <a:gd name="connsiteY17639" fmla="*/ 1139762 h 3355086"/>
                <a:gd name="connsiteX17640" fmla="*/ 3233165 w 3359086"/>
                <a:gd name="connsiteY17640" fmla="*/ 1138238 h 3355086"/>
                <a:gd name="connsiteX17641" fmla="*/ 3239356 w 3359086"/>
                <a:gd name="connsiteY17641" fmla="*/ 1144429 h 3355086"/>
                <a:gd name="connsiteX17642" fmla="*/ 3233165 w 3359086"/>
                <a:gd name="connsiteY17642" fmla="*/ 1150621 h 3355086"/>
                <a:gd name="connsiteX17643" fmla="*/ 3226974 w 3359086"/>
                <a:gd name="connsiteY17643" fmla="*/ 1144429 h 3355086"/>
                <a:gd name="connsiteX17644" fmla="*/ 3233165 w 3359086"/>
                <a:gd name="connsiteY17644" fmla="*/ 1138238 h 3355086"/>
                <a:gd name="connsiteX17645" fmla="*/ 3200209 w 3359086"/>
                <a:gd name="connsiteY17645" fmla="*/ 1137381 h 3355086"/>
                <a:gd name="connsiteX17646" fmla="*/ 3206401 w 3359086"/>
                <a:gd name="connsiteY17646" fmla="*/ 1143572 h 3355086"/>
                <a:gd name="connsiteX17647" fmla="*/ 3200209 w 3359086"/>
                <a:gd name="connsiteY17647" fmla="*/ 1149763 h 3355086"/>
                <a:gd name="connsiteX17648" fmla="*/ 3194018 w 3359086"/>
                <a:gd name="connsiteY17648" fmla="*/ 1143572 h 3355086"/>
                <a:gd name="connsiteX17649" fmla="*/ 3200209 w 3359086"/>
                <a:gd name="connsiteY17649" fmla="*/ 1137381 h 3355086"/>
                <a:gd name="connsiteX17650" fmla="*/ 919733 w 3359086"/>
                <a:gd name="connsiteY17650" fmla="*/ 1137285 h 3355086"/>
                <a:gd name="connsiteX17651" fmla="*/ 925924 w 3359086"/>
                <a:gd name="connsiteY17651" fmla="*/ 1143476 h 3355086"/>
                <a:gd name="connsiteX17652" fmla="*/ 919733 w 3359086"/>
                <a:gd name="connsiteY17652" fmla="*/ 1149668 h 3355086"/>
                <a:gd name="connsiteX17653" fmla="*/ 913542 w 3359086"/>
                <a:gd name="connsiteY17653" fmla="*/ 1143476 h 3355086"/>
                <a:gd name="connsiteX17654" fmla="*/ 919733 w 3359086"/>
                <a:gd name="connsiteY17654" fmla="*/ 1137285 h 3355086"/>
                <a:gd name="connsiteX17655" fmla="*/ 3120484 w 3359086"/>
                <a:gd name="connsiteY17655" fmla="*/ 1134714 h 3355086"/>
                <a:gd name="connsiteX17656" fmla="*/ 3126676 w 3359086"/>
                <a:gd name="connsiteY17656" fmla="*/ 1140905 h 3355086"/>
                <a:gd name="connsiteX17657" fmla="*/ 3120484 w 3359086"/>
                <a:gd name="connsiteY17657" fmla="*/ 1147096 h 3355086"/>
                <a:gd name="connsiteX17658" fmla="*/ 3114293 w 3359086"/>
                <a:gd name="connsiteY17658" fmla="*/ 1140905 h 3355086"/>
                <a:gd name="connsiteX17659" fmla="*/ 3120484 w 3359086"/>
                <a:gd name="connsiteY17659" fmla="*/ 1134714 h 3355086"/>
                <a:gd name="connsiteX17660" fmla="*/ 119919 w 3359086"/>
                <a:gd name="connsiteY17660" fmla="*/ 1134523 h 3355086"/>
                <a:gd name="connsiteX17661" fmla="*/ 126111 w 3359086"/>
                <a:gd name="connsiteY17661" fmla="*/ 1140714 h 3355086"/>
                <a:gd name="connsiteX17662" fmla="*/ 119919 w 3359086"/>
                <a:gd name="connsiteY17662" fmla="*/ 1146906 h 3355086"/>
                <a:gd name="connsiteX17663" fmla="*/ 113728 w 3359086"/>
                <a:gd name="connsiteY17663" fmla="*/ 1140714 h 3355086"/>
                <a:gd name="connsiteX17664" fmla="*/ 119919 w 3359086"/>
                <a:gd name="connsiteY17664" fmla="*/ 1134523 h 3355086"/>
                <a:gd name="connsiteX17665" fmla="*/ 512921 w 3359086"/>
                <a:gd name="connsiteY17665" fmla="*/ 1134142 h 3355086"/>
                <a:gd name="connsiteX17666" fmla="*/ 519112 w 3359086"/>
                <a:gd name="connsiteY17666" fmla="*/ 1140333 h 3355086"/>
                <a:gd name="connsiteX17667" fmla="*/ 512921 w 3359086"/>
                <a:gd name="connsiteY17667" fmla="*/ 1146525 h 3355086"/>
                <a:gd name="connsiteX17668" fmla="*/ 506730 w 3359086"/>
                <a:gd name="connsiteY17668" fmla="*/ 1140333 h 3355086"/>
                <a:gd name="connsiteX17669" fmla="*/ 512921 w 3359086"/>
                <a:gd name="connsiteY17669" fmla="*/ 1134142 h 3355086"/>
                <a:gd name="connsiteX17670" fmla="*/ 3171443 w 3359086"/>
                <a:gd name="connsiteY17670" fmla="*/ 1134047 h 3355086"/>
                <a:gd name="connsiteX17671" fmla="*/ 3177634 w 3359086"/>
                <a:gd name="connsiteY17671" fmla="*/ 1140238 h 3355086"/>
                <a:gd name="connsiteX17672" fmla="*/ 3171443 w 3359086"/>
                <a:gd name="connsiteY17672" fmla="*/ 1146429 h 3355086"/>
                <a:gd name="connsiteX17673" fmla="*/ 3165252 w 3359086"/>
                <a:gd name="connsiteY17673" fmla="*/ 1140238 h 3355086"/>
                <a:gd name="connsiteX17674" fmla="*/ 3171443 w 3359086"/>
                <a:gd name="connsiteY17674" fmla="*/ 1134047 h 3355086"/>
                <a:gd name="connsiteX17675" fmla="*/ 3220973 w 3359086"/>
                <a:gd name="connsiteY17675" fmla="*/ 1133761 h 3355086"/>
                <a:gd name="connsiteX17676" fmla="*/ 3227164 w 3359086"/>
                <a:gd name="connsiteY17676" fmla="*/ 1139952 h 3355086"/>
                <a:gd name="connsiteX17677" fmla="*/ 3220973 w 3359086"/>
                <a:gd name="connsiteY17677" fmla="*/ 1146144 h 3355086"/>
                <a:gd name="connsiteX17678" fmla="*/ 3214782 w 3359086"/>
                <a:gd name="connsiteY17678" fmla="*/ 1139952 h 3355086"/>
                <a:gd name="connsiteX17679" fmla="*/ 3220973 w 3359086"/>
                <a:gd name="connsiteY17679" fmla="*/ 1133761 h 3355086"/>
                <a:gd name="connsiteX17680" fmla="*/ 315753 w 3359086"/>
                <a:gd name="connsiteY17680" fmla="*/ 1132999 h 3355086"/>
                <a:gd name="connsiteX17681" fmla="*/ 321944 w 3359086"/>
                <a:gd name="connsiteY17681" fmla="*/ 1139190 h 3355086"/>
                <a:gd name="connsiteX17682" fmla="*/ 315753 w 3359086"/>
                <a:gd name="connsiteY17682" fmla="*/ 1145381 h 3355086"/>
                <a:gd name="connsiteX17683" fmla="*/ 309562 w 3359086"/>
                <a:gd name="connsiteY17683" fmla="*/ 1139190 h 3355086"/>
                <a:gd name="connsiteX17684" fmla="*/ 315753 w 3359086"/>
                <a:gd name="connsiteY17684" fmla="*/ 1132999 h 3355086"/>
                <a:gd name="connsiteX17685" fmla="*/ 102964 w 3359086"/>
                <a:gd name="connsiteY17685" fmla="*/ 1131761 h 3355086"/>
                <a:gd name="connsiteX17686" fmla="*/ 109156 w 3359086"/>
                <a:gd name="connsiteY17686" fmla="*/ 1137952 h 3355086"/>
                <a:gd name="connsiteX17687" fmla="*/ 102964 w 3359086"/>
                <a:gd name="connsiteY17687" fmla="*/ 1144144 h 3355086"/>
                <a:gd name="connsiteX17688" fmla="*/ 96773 w 3359086"/>
                <a:gd name="connsiteY17688" fmla="*/ 1137952 h 3355086"/>
                <a:gd name="connsiteX17689" fmla="*/ 102964 w 3359086"/>
                <a:gd name="connsiteY17689" fmla="*/ 1131761 h 3355086"/>
                <a:gd name="connsiteX17690" fmla="*/ 3264027 w 3359086"/>
                <a:gd name="connsiteY17690" fmla="*/ 1130904 h 3355086"/>
                <a:gd name="connsiteX17691" fmla="*/ 3268122 w 3359086"/>
                <a:gd name="connsiteY17691" fmla="*/ 1135000 h 3355086"/>
                <a:gd name="connsiteX17692" fmla="*/ 3264027 w 3359086"/>
                <a:gd name="connsiteY17692" fmla="*/ 1139096 h 3355086"/>
                <a:gd name="connsiteX17693" fmla="*/ 3259931 w 3359086"/>
                <a:gd name="connsiteY17693" fmla="*/ 1135000 h 3355086"/>
                <a:gd name="connsiteX17694" fmla="*/ 3264027 w 3359086"/>
                <a:gd name="connsiteY17694" fmla="*/ 1130904 h 3355086"/>
                <a:gd name="connsiteX17695" fmla="*/ 2366486 w 3359086"/>
                <a:gd name="connsiteY17695" fmla="*/ 1129760 h 3355086"/>
                <a:gd name="connsiteX17696" fmla="*/ 2372678 w 3359086"/>
                <a:gd name="connsiteY17696" fmla="*/ 1135951 h 3355086"/>
                <a:gd name="connsiteX17697" fmla="*/ 2366486 w 3359086"/>
                <a:gd name="connsiteY17697" fmla="*/ 1142143 h 3355086"/>
                <a:gd name="connsiteX17698" fmla="*/ 2360295 w 3359086"/>
                <a:gd name="connsiteY17698" fmla="*/ 1135951 h 3355086"/>
                <a:gd name="connsiteX17699" fmla="*/ 2366486 w 3359086"/>
                <a:gd name="connsiteY17699" fmla="*/ 1129760 h 3355086"/>
                <a:gd name="connsiteX17700" fmla="*/ 3241262 w 3359086"/>
                <a:gd name="connsiteY17700" fmla="*/ 1129284 h 3355086"/>
                <a:gd name="connsiteX17701" fmla="*/ 3247453 w 3359086"/>
                <a:gd name="connsiteY17701" fmla="*/ 1135475 h 3355086"/>
                <a:gd name="connsiteX17702" fmla="*/ 3241262 w 3359086"/>
                <a:gd name="connsiteY17702" fmla="*/ 1141666 h 3355086"/>
                <a:gd name="connsiteX17703" fmla="*/ 3235071 w 3359086"/>
                <a:gd name="connsiteY17703" fmla="*/ 1135475 h 3355086"/>
                <a:gd name="connsiteX17704" fmla="*/ 3241262 w 3359086"/>
                <a:gd name="connsiteY17704" fmla="*/ 1129284 h 3355086"/>
                <a:gd name="connsiteX17705" fmla="*/ 137731 w 3359086"/>
                <a:gd name="connsiteY17705" fmla="*/ 1128808 h 3355086"/>
                <a:gd name="connsiteX17706" fmla="*/ 143922 w 3359086"/>
                <a:gd name="connsiteY17706" fmla="*/ 1134999 h 3355086"/>
                <a:gd name="connsiteX17707" fmla="*/ 137731 w 3359086"/>
                <a:gd name="connsiteY17707" fmla="*/ 1141191 h 3355086"/>
                <a:gd name="connsiteX17708" fmla="*/ 131540 w 3359086"/>
                <a:gd name="connsiteY17708" fmla="*/ 1134999 h 3355086"/>
                <a:gd name="connsiteX17709" fmla="*/ 137731 w 3359086"/>
                <a:gd name="connsiteY17709" fmla="*/ 1128808 h 3355086"/>
                <a:gd name="connsiteX17710" fmla="*/ 3208400 w 3359086"/>
                <a:gd name="connsiteY17710" fmla="*/ 1127570 h 3355086"/>
                <a:gd name="connsiteX17711" fmla="*/ 3214591 w 3359086"/>
                <a:gd name="connsiteY17711" fmla="*/ 1133761 h 3355086"/>
                <a:gd name="connsiteX17712" fmla="*/ 3208400 w 3359086"/>
                <a:gd name="connsiteY17712" fmla="*/ 1139952 h 3355086"/>
                <a:gd name="connsiteX17713" fmla="*/ 3202209 w 3359086"/>
                <a:gd name="connsiteY17713" fmla="*/ 1133761 h 3355086"/>
                <a:gd name="connsiteX17714" fmla="*/ 3208400 w 3359086"/>
                <a:gd name="connsiteY17714" fmla="*/ 1127570 h 3355086"/>
                <a:gd name="connsiteX17715" fmla="*/ 95345 w 3359086"/>
                <a:gd name="connsiteY17715" fmla="*/ 1126236 h 3355086"/>
                <a:gd name="connsiteX17716" fmla="*/ 98583 w 3359086"/>
                <a:gd name="connsiteY17716" fmla="*/ 1129474 h 3355086"/>
                <a:gd name="connsiteX17717" fmla="*/ 95345 w 3359086"/>
                <a:gd name="connsiteY17717" fmla="*/ 1132713 h 3355086"/>
                <a:gd name="connsiteX17718" fmla="*/ 92106 w 3359086"/>
                <a:gd name="connsiteY17718" fmla="*/ 1129474 h 3355086"/>
                <a:gd name="connsiteX17719" fmla="*/ 95345 w 3359086"/>
                <a:gd name="connsiteY17719" fmla="*/ 1126236 h 3355086"/>
                <a:gd name="connsiteX17720" fmla="*/ 3225831 w 3359086"/>
                <a:gd name="connsiteY17720" fmla="*/ 1125950 h 3355086"/>
                <a:gd name="connsiteX17721" fmla="*/ 3232023 w 3359086"/>
                <a:gd name="connsiteY17721" fmla="*/ 1132141 h 3355086"/>
                <a:gd name="connsiteX17722" fmla="*/ 3225831 w 3359086"/>
                <a:gd name="connsiteY17722" fmla="*/ 1138333 h 3355086"/>
                <a:gd name="connsiteX17723" fmla="*/ 3219640 w 3359086"/>
                <a:gd name="connsiteY17723" fmla="*/ 1132141 h 3355086"/>
                <a:gd name="connsiteX17724" fmla="*/ 3225831 w 3359086"/>
                <a:gd name="connsiteY17724" fmla="*/ 1125950 h 3355086"/>
                <a:gd name="connsiteX17725" fmla="*/ 2791110 w 3359086"/>
                <a:gd name="connsiteY17725" fmla="*/ 1125665 h 3355086"/>
                <a:gd name="connsiteX17726" fmla="*/ 2797301 w 3359086"/>
                <a:gd name="connsiteY17726" fmla="*/ 1131856 h 3355086"/>
                <a:gd name="connsiteX17727" fmla="*/ 2791110 w 3359086"/>
                <a:gd name="connsiteY17727" fmla="*/ 1138048 h 3355086"/>
                <a:gd name="connsiteX17728" fmla="*/ 2784919 w 3359086"/>
                <a:gd name="connsiteY17728" fmla="*/ 1131856 h 3355086"/>
                <a:gd name="connsiteX17729" fmla="*/ 2791110 w 3359086"/>
                <a:gd name="connsiteY17729" fmla="*/ 1125665 h 3355086"/>
                <a:gd name="connsiteX17730" fmla="*/ 224884 w 3359086"/>
                <a:gd name="connsiteY17730" fmla="*/ 1125189 h 3355086"/>
                <a:gd name="connsiteX17731" fmla="*/ 231076 w 3359086"/>
                <a:gd name="connsiteY17731" fmla="*/ 1131380 h 3355086"/>
                <a:gd name="connsiteX17732" fmla="*/ 224884 w 3359086"/>
                <a:gd name="connsiteY17732" fmla="*/ 1137571 h 3355086"/>
                <a:gd name="connsiteX17733" fmla="*/ 218693 w 3359086"/>
                <a:gd name="connsiteY17733" fmla="*/ 1131380 h 3355086"/>
                <a:gd name="connsiteX17734" fmla="*/ 224884 w 3359086"/>
                <a:gd name="connsiteY17734" fmla="*/ 1125189 h 3355086"/>
                <a:gd name="connsiteX17735" fmla="*/ 169449 w 3359086"/>
                <a:gd name="connsiteY17735" fmla="*/ 1124903 h 3355086"/>
                <a:gd name="connsiteX17736" fmla="*/ 175641 w 3359086"/>
                <a:gd name="connsiteY17736" fmla="*/ 1131094 h 3355086"/>
                <a:gd name="connsiteX17737" fmla="*/ 169449 w 3359086"/>
                <a:gd name="connsiteY17737" fmla="*/ 1137286 h 3355086"/>
                <a:gd name="connsiteX17738" fmla="*/ 163258 w 3359086"/>
                <a:gd name="connsiteY17738" fmla="*/ 1131094 h 3355086"/>
                <a:gd name="connsiteX17739" fmla="*/ 169449 w 3359086"/>
                <a:gd name="connsiteY17739" fmla="*/ 1124903 h 3355086"/>
                <a:gd name="connsiteX17740" fmla="*/ 2998469 w 3359086"/>
                <a:gd name="connsiteY17740" fmla="*/ 1124522 h 3355086"/>
                <a:gd name="connsiteX17741" fmla="*/ 3004661 w 3359086"/>
                <a:gd name="connsiteY17741" fmla="*/ 1130713 h 3355086"/>
                <a:gd name="connsiteX17742" fmla="*/ 2998469 w 3359086"/>
                <a:gd name="connsiteY17742" fmla="*/ 1136904 h 3355086"/>
                <a:gd name="connsiteX17743" fmla="*/ 2992278 w 3359086"/>
                <a:gd name="connsiteY17743" fmla="*/ 1130713 h 3355086"/>
                <a:gd name="connsiteX17744" fmla="*/ 2998469 w 3359086"/>
                <a:gd name="connsiteY17744" fmla="*/ 1124522 h 3355086"/>
                <a:gd name="connsiteX17745" fmla="*/ 3188969 w 3359086"/>
                <a:gd name="connsiteY17745" fmla="*/ 1121283 h 3355086"/>
                <a:gd name="connsiteX17746" fmla="*/ 3195161 w 3359086"/>
                <a:gd name="connsiteY17746" fmla="*/ 1127474 h 3355086"/>
                <a:gd name="connsiteX17747" fmla="*/ 3188969 w 3359086"/>
                <a:gd name="connsiteY17747" fmla="*/ 1133666 h 3355086"/>
                <a:gd name="connsiteX17748" fmla="*/ 3182778 w 3359086"/>
                <a:gd name="connsiteY17748" fmla="*/ 1127474 h 3355086"/>
                <a:gd name="connsiteX17749" fmla="*/ 3188969 w 3359086"/>
                <a:gd name="connsiteY17749" fmla="*/ 1121283 h 3355086"/>
                <a:gd name="connsiteX17750" fmla="*/ 1020698 w 3359086"/>
                <a:gd name="connsiteY17750" fmla="*/ 1121283 h 3355086"/>
                <a:gd name="connsiteX17751" fmla="*/ 1026889 w 3359086"/>
                <a:gd name="connsiteY17751" fmla="*/ 1127474 h 3355086"/>
                <a:gd name="connsiteX17752" fmla="*/ 1020698 w 3359086"/>
                <a:gd name="connsiteY17752" fmla="*/ 1133666 h 3355086"/>
                <a:gd name="connsiteX17753" fmla="*/ 1014507 w 3359086"/>
                <a:gd name="connsiteY17753" fmla="*/ 1127474 h 3355086"/>
                <a:gd name="connsiteX17754" fmla="*/ 1020698 w 3359086"/>
                <a:gd name="connsiteY17754" fmla="*/ 1121283 h 3355086"/>
                <a:gd name="connsiteX17755" fmla="*/ 3253834 w 3359086"/>
                <a:gd name="connsiteY17755" fmla="*/ 1119473 h 3355086"/>
                <a:gd name="connsiteX17756" fmla="*/ 3260026 w 3359086"/>
                <a:gd name="connsiteY17756" fmla="*/ 1125664 h 3355086"/>
                <a:gd name="connsiteX17757" fmla="*/ 3253834 w 3359086"/>
                <a:gd name="connsiteY17757" fmla="*/ 1131856 h 3355086"/>
                <a:gd name="connsiteX17758" fmla="*/ 3247643 w 3359086"/>
                <a:gd name="connsiteY17758" fmla="*/ 1125664 h 3355086"/>
                <a:gd name="connsiteX17759" fmla="*/ 3253834 w 3359086"/>
                <a:gd name="connsiteY17759" fmla="*/ 1119473 h 3355086"/>
                <a:gd name="connsiteX17760" fmla="*/ 128492 w 3359086"/>
                <a:gd name="connsiteY17760" fmla="*/ 1119378 h 3355086"/>
                <a:gd name="connsiteX17761" fmla="*/ 134684 w 3359086"/>
                <a:gd name="connsiteY17761" fmla="*/ 1125569 h 3355086"/>
                <a:gd name="connsiteX17762" fmla="*/ 128492 w 3359086"/>
                <a:gd name="connsiteY17762" fmla="*/ 1131760 h 3355086"/>
                <a:gd name="connsiteX17763" fmla="*/ 122301 w 3359086"/>
                <a:gd name="connsiteY17763" fmla="*/ 1125569 h 3355086"/>
                <a:gd name="connsiteX17764" fmla="*/ 128492 w 3359086"/>
                <a:gd name="connsiteY17764" fmla="*/ 1119378 h 3355086"/>
                <a:gd name="connsiteX17765" fmla="*/ 110299 w 3359086"/>
                <a:gd name="connsiteY17765" fmla="*/ 1119093 h 3355086"/>
                <a:gd name="connsiteX17766" fmla="*/ 116490 w 3359086"/>
                <a:gd name="connsiteY17766" fmla="*/ 1125284 h 3355086"/>
                <a:gd name="connsiteX17767" fmla="*/ 115251 w 3359086"/>
                <a:gd name="connsiteY17767" fmla="*/ 1126523 h 3355086"/>
                <a:gd name="connsiteX17768" fmla="*/ 121348 w 3359086"/>
                <a:gd name="connsiteY17768" fmla="*/ 1132618 h 3355086"/>
                <a:gd name="connsiteX17769" fmla="*/ 115156 w 3359086"/>
                <a:gd name="connsiteY17769" fmla="*/ 1138810 h 3355086"/>
                <a:gd name="connsiteX17770" fmla="*/ 108965 w 3359086"/>
                <a:gd name="connsiteY17770" fmla="*/ 1132618 h 3355086"/>
                <a:gd name="connsiteX17771" fmla="*/ 110203 w 3359086"/>
                <a:gd name="connsiteY17771" fmla="*/ 1131380 h 3355086"/>
                <a:gd name="connsiteX17772" fmla="*/ 104108 w 3359086"/>
                <a:gd name="connsiteY17772" fmla="*/ 1125284 h 3355086"/>
                <a:gd name="connsiteX17773" fmla="*/ 110299 w 3359086"/>
                <a:gd name="connsiteY17773" fmla="*/ 1119093 h 3355086"/>
                <a:gd name="connsiteX17774" fmla="*/ 3232975 w 3359086"/>
                <a:gd name="connsiteY17774" fmla="*/ 1118140 h 3355086"/>
                <a:gd name="connsiteX17775" fmla="*/ 3239167 w 3359086"/>
                <a:gd name="connsiteY17775" fmla="*/ 1124331 h 3355086"/>
                <a:gd name="connsiteX17776" fmla="*/ 3232975 w 3359086"/>
                <a:gd name="connsiteY17776" fmla="*/ 1130523 h 3355086"/>
                <a:gd name="connsiteX17777" fmla="*/ 3226784 w 3359086"/>
                <a:gd name="connsiteY17777" fmla="*/ 1124331 h 3355086"/>
                <a:gd name="connsiteX17778" fmla="*/ 3232975 w 3359086"/>
                <a:gd name="connsiteY17778" fmla="*/ 1118140 h 3355086"/>
                <a:gd name="connsiteX17779" fmla="*/ 3154584 w 3359086"/>
                <a:gd name="connsiteY17779" fmla="*/ 1116806 h 3355086"/>
                <a:gd name="connsiteX17780" fmla="*/ 3160775 w 3359086"/>
                <a:gd name="connsiteY17780" fmla="*/ 1122997 h 3355086"/>
                <a:gd name="connsiteX17781" fmla="*/ 3154584 w 3359086"/>
                <a:gd name="connsiteY17781" fmla="*/ 1129189 h 3355086"/>
                <a:gd name="connsiteX17782" fmla="*/ 3148393 w 3359086"/>
                <a:gd name="connsiteY17782" fmla="*/ 1122997 h 3355086"/>
                <a:gd name="connsiteX17783" fmla="*/ 3154584 w 3359086"/>
                <a:gd name="connsiteY17783" fmla="*/ 1116806 h 3355086"/>
                <a:gd name="connsiteX17784" fmla="*/ 3095148 w 3359086"/>
                <a:gd name="connsiteY17784" fmla="*/ 1116806 h 3355086"/>
                <a:gd name="connsiteX17785" fmla="*/ 3101340 w 3359086"/>
                <a:gd name="connsiteY17785" fmla="*/ 1122997 h 3355086"/>
                <a:gd name="connsiteX17786" fmla="*/ 3095148 w 3359086"/>
                <a:gd name="connsiteY17786" fmla="*/ 1129189 h 3355086"/>
                <a:gd name="connsiteX17787" fmla="*/ 3088957 w 3359086"/>
                <a:gd name="connsiteY17787" fmla="*/ 1122997 h 3355086"/>
                <a:gd name="connsiteX17788" fmla="*/ 3095148 w 3359086"/>
                <a:gd name="connsiteY17788" fmla="*/ 1116806 h 3355086"/>
                <a:gd name="connsiteX17789" fmla="*/ 575214 w 3359086"/>
                <a:gd name="connsiteY17789" fmla="*/ 1115854 h 3355086"/>
                <a:gd name="connsiteX17790" fmla="*/ 581405 w 3359086"/>
                <a:gd name="connsiteY17790" fmla="*/ 1122045 h 3355086"/>
                <a:gd name="connsiteX17791" fmla="*/ 575214 w 3359086"/>
                <a:gd name="connsiteY17791" fmla="*/ 1128237 h 3355086"/>
                <a:gd name="connsiteX17792" fmla="*/ 569023 w 3359086"/>
                <a:gd name="connsiteY17792" fmla="*/ 1122045 h 3355086"/>
                <a:gd name="connsiteX17793" fmla="*/ 575214 w 3359086"/>
                <a:gd name="connsiteY17793" fmla="*/ 1115854 h 3355086"/>
                <a:gd name="connsiteX17794" fmla="*/ 355472 w 3359086"/>
                <a:gd name="connsiteY17794" fmla="*/ 1114616 h 3355086"/>
                <a:gd name="connsiteX17795" fmla="*/ 361664 w 3359086"/>
                <a:gd name="connsiteY17795" fmla="*/ 1120807 h 3355086"/>
                <a:gd name="connsiteX17796" fmla="*/ 355472 w 3359086"/>
                <a:gd name="connsiteY17796" fmla="*/ 1126998 h 3355086"/>
                <a:gd name="connsiteX17797" fmla="*/ 349281 w 3359086"/>
                <a:gd name="connsiteY17797" fmla="*/ 1120807 h 3355086"/>
                <a:gd name="connsiteX17798" fmla="*/ 355472 w 3359086"/>
                <a:gd name="connsiteY17798" fmla="*/ 1114616 h 3355086"/>
                <a:gd name="connsiteX17799" fmla="*/ 2261901 w 3359086"/>
                <a:gd name="connsiteY17799" fmla="*/ 1114139 h 3355086"/>
                <a:gd name="connsiteX17800" fmla="*/ 2268092 w 3359086"/>
                <a:gd name="connsiteY17800" fmla="*/ 1120330 h 3355086"/>
                <a:gd name="connsiteX17801" fmla="*/ 2261901 w 3359086"/>
                <a:gd name="connsiteY17801" fmla="*/ 1126522 h 3355086"/>
                <a:gd name="connsiteX17802" fmla="*/ 2255710 w 3359086"/>
                <a:gd name="connsiteY17802" fmla="*/ 1120330 h 3355086"/>
                <a:gd name="connsiteX17803" fmla="*/ 2261901 w 3359086"/>
                <a:gd name="connsiteY17803" fmla="*/ 1114139 h 3355086"/>
                <a:gd name="connsiteX17804" fmla="*/ 3218401 w 3359086"/>
                <a:gd name="connsiteY17804" fmla="*/ 1112996 h 3355086"/>
                <a:gd name="connsiteX17805" fmla="*/ 3224593 w 3359086"/>
                <a:gd name="connsiteY17805" fmla="*/ 1119187 h 3355086"/>
                <a:gd name="connsiteX17806" fmla="*/ 3218735 w 3359086"/>
                <a:gd name="connsiteY17806" fmla="*/ 1125045 h 3355086"/>
                <a:gd name="connsiteX17807" fmla="*/ 3219735 w 3359086"/>
                <a:gd name="connsiteY17807" fmla="*/ 1126045 h 3355086"/>
                <a:gd name="connsiteX17808" fmla="*/ 3213544 w 3359086"/>
                <a:gd name="connsiteY17808" fmla="*/ 1132237 h 3355086"/>
                <a:gd name="connsiteX17809" fmla="*/ 3207353 w 3359086"/>
                <a:gd name="connsiteY17809" fmla="*/ 1126045 h 3355086"/>
                <a:gd name="connsiteX17810" fmla="*/ 3213210 w 3359086"/>
                <a:gd name="connsiteY17810" fmla="*/ 1120188 h 3355086"/>
                <a:gd name="connsiteX17811" fmla="*/ 3212210 w 3359086"/>
                <a:gd name="connsiteY17811" fmla="*/ 1119187 h 3355086"/>
                <a:gd name="connsiteX17812" fmla="*/ 3218401 w 3359086"/>
                <a:gd name="connsiteY17812" fmla="*/ 1112996 h 3355086"/>
                <a:gd name="connsiteX17813" fmla="*/ 149827 w 3359086"/>
                <a:gd name="connsiteY17813" fmla="*/ 1112330 h 3355086"/>
                <a:gd name="connsiteX17814" fmla="*/ 156018 w 3359086"/>
                <a:gd name="connsiteY17814" fmla="*/ 1118521 h 3355086"/>
                <a:gd name="connsiteX17815" fmla="*/ 149827 w 3359086"/>
                <a:gd name="connsiteY17815" fmla="*/ 1124713 h 3355086"/>
                <a:gd name="connsiteX17816" fmla="*/ 143636 w 3359086"/>
                <a:gd name="connsiteY17816" fmla="*/ 1118521 h 3355086"/>
                <a:gd name="connsiteX17817" fmla="*/ 149827 w 3359086"/>
                <a:gd name="connsiteY17817" fmla="*/ 1112330 h 3355086"/>
                <a:gd name="connsiteX17818" fmla="*/ 3199351 w 3359086"/>
                <a:gd name="connsiteY17818" fmla="*/ 1112044 h 3355086"/>
                <a:gd name="connsiteX17819" fmla="*/ 3205543 w 3359086"/>
                <a:gd name="connsiteY17819" fmla="*/ 1118235 h 3355086"/>
                <a:gd name="connsiteX17820" fmla="*/ 3199351 w 3359086"/>
                <a:gd name="connsiteY17820" fmla="*/ 1124427 h 3355086"/>
                <a:gd name="connsiteX17821" fmla="*/ 3193160 w 3359086"/>
                <a:gd name="connsiteY17821" fmla="*/ 1118235 h 3355086"/>
                <a:gd name="connsiteX17822" fmla="*/ 3199351 w 3359086"/>
                <a:gd name="connsiteY17822" fmla="*/ 1112044 h 3355086"/>
                <a:gd name="connsiteX17823" fmla="*/ 103536 w 3359086"/>
                <a:gd name="connsiteY17823" fmla="*/ 1111854 h 3355086"/>
                <a:gd name="connsiteX17824" fmla="*/ 109728 w 3359086"/>
                <a:gd name="connsiteY17824" fmla="*/ 1118045 h 3355086"/>
                <a:gd name="connsiteX17825" fmla="*/ 103536 w 3359086"/>
                <a:gd name="connsiteY17825" fmla="*/ 1124236 h 3355086"/>
                <a:gd name="connsiteX17826" fmla="*/ 97345 w 3359086"/>
                <a:gd name="connsiteY17826" fmla="*/ 1118045 h 3355086"/>
                <a:gd name="connsiteX17827" fmla="*/ 103536 w 3359086"/>
                <a:gd name="connsiteY17827" fmla="*/ 1111854 h 3355086"/>
                <a:gd name="connsiteX17828" fmla="*/ 3244119 w 3359086"/>
                <a:gd name="connsiteY17828" fmla="*/ 1109472 h 3355086"/>
                <a:gd name="connsiteX17829" fmla="*/ 3250310 w 3359086"/>
                <a:gd name="connsiteY17829" fmla="*/ 1115663 h 3355086"/>
                <a:gd name="connsiteX17830" fmla="*/ 3244119 w 3359086"/>
                <a:gd name="connsiteY17830" fmla="*/ 1121854 h 3355086"/>
                <a:gd name="connsiteX17831" fmla="*/ 3237928 w 3359086"/>
                <a:gd name="connsiteY17831" fmla="*/ 1115663 h 3355086"/>
                <a:gd name="connsiteX17832" fmla="*/ 3244119 w 3359086"/>
                <a:gd name="connsiteY17832" fmla="*/ 1109472 h 3355086"/>
                <a:gd name="connsiteX17833" fmla="*/ 2725959 w 3359086"/>
                <a:gd name="connsiteY17833" fmla="*/ 1107377 h 3355086"/>
                <a:gd name="connsiteX17834" fmla="*/ 2732150 w 3359086"/>
                <a:gd name="connsiteY17834" fmla="*/ 1113568 h 3355086"/>
                <a:gd name="connsiteX17835" fmla="*/ 2725959 w 3359086"/>
                <a:gd name="connsiteY17835" fmla="*/ 1119760 h 3355086"/>
                <a:gd name="connsiteX17836" fmla="*/ 2719768 w 3359086"/>
                <a:gd name="connsiteY17836" fmla="*/ 1113568 h 3355086"/>
                <a:gd name="connsiteX17837" fmla="*/ 2725959 w 3359086"/>
                <a:gd name="connsiteY17837" fmla="*/ 1107377 h 3355086"/>
                <a:gd name="connsiteX17838" fmla="*/ 187451 w 3359086"/>
                <a:gd name="connsiteY17838" fmla="*/ 1107281 h 3355086"/>
                <a:gd name="connsiteX17839" fmla="*/ 193642 w 3359086"/>
                <a:gd name="connsiteY17839" fmla="*/ 1113472 h 3355086"/>
                <a:gd name="connsiteX17840" fmla="*/ 187451 w 3359086"/>
                <a:gd name="connsiteY17840" fmla="*/ 1119664 h 3355086"/>
                <a:gd name="connsiteX17841" fmla="*/ 181260 w 3359086"/>
                <a:gd name="connsiteY17841" fmla="*/ 1113472 h 3355086"/>
                <a:gd name="connsiteX17842" fmla="*/ 187451 w 3359086"/>
                <a:gd name="connsiteY17842" fmla="*/ 1107281 h 3355086"/>
                <a:gd name="connsiteX17843" fmla="*/ 251840 w 3359086"/>
                <a:gd name="connsiteY17843" fmla="*/ 1106996 h 3355086"/>
                <a:gd name="connsiteX17844" fmla="*/ 258031 w 3359086"/>
                <a:gd name="connsiteY17844" fmla="*/ 1113187 h 3355086"/>
                <a:gd name="connsiteX17845" fmla="*/ 251840 w 3359086"/>
                <a:gd name="connsiteY17845" fmla="*/ 1119379 h 3355086"/>
                <a:gd name="connsiteX17846" fmla="*/ 245649 w 3359086"/>
                <a:gd name="connsiteY17846" fmla="*/ 1113187 h 3355086"/>
                <a:gd name="connsiteX17847" fmla="*/ 251840 w 3359086"/>
                <a:gd name="connsiteY17847" fmla="*/ 1106996 h 3355086"/>
                <a:gd name="connsiteX17848" fmla="*/ 3224879 w 3359086"/>
                <a:gd name="connsiteY17848" fmla="*/ 1106234 h 3355086"/>
                <a:gd name="connsiteX17849" fmla="*/ 3231070 w 3359086"/>
                <a:gd name="connsiteY17849" fmla="*/ 1112425 h 3355086"/>
                <a:gd name="connsiteX17850" fmla="*/ 3224879 w 3359086"/>
                <a:gd name="connsiteY17850" fmla="*/ 1118617 h 3355086"/>
                <a:gd name="connsiteX17851" fmla="*/ 3218688 w 3359086"/>
                <a:gd name="connsiteY17851" fmla="*/ 1112425 h 3355086"/>
                <a:gd name="connsiteX17852" fmla="*/ 3224879 w 3359086"/>
                <a:gd name="connsiteY17852" fmla="*/ 1106234 h 3355086"/>
                <a:gd name="connsiteX17853" fmla="*/ 1129569 w 3359086"/>
                <a:gd name="connsiteY17853" fmla="*/ 1106139 h 3355086"/>
                <a:gd name="connsiteX17854" fmla="*/ 1135760 w 3359086"/>
                <a:gd name="connsiteY17854" fmla="*/ 1112330 h 3355086"/>
                <a:gd name="connsiteX17855" fmla="*/ 1129569 w 3359086"/>
                <a:gd name="connsiteY17855" fmla="*/ 1118521 h 3355086"/>
                <a:gd name="connsiteX17856" fmla="*/ 1123378 w 3359086"/>
                <a:gd name="connsiteY17856" fmla="*/ 1112330 h 3355086"/>
                <a:gd name="connsiteX17857" fmla="*/ 1129569 w 3359086"/>
                <a:gd name="connsiteY17857" fmla="*/ 1106139 h 3355086"/>
                <a:gd name="connsiteX17858" fmla="*/ 2956750 w 3359086"/>
                <a:gd name="connsiteY17858" fmla="*/ 1105853 h 3355086"/>
                <a:gd name="connsiteX17859" fmla="*/ 2962942 w 3359086"/>
                <a:gd name="connsiteY17859" fmla="*/ 1112044 h 3355086"/>
                <a:gd name="connsiteX17860" fmla="*/ 2956750 w 3359086"/>
                <a:gd name="connsiteY17860" fmla="*/ 1118236 h 3355086"/>
                <a:gd name="connsiteX17861" fmla="*/ 2950559 w 3359086"/>
                <a:gd name="connsiteY17861" fmla="*/ 1112044 h 3355086"/>
                <a:gd name="connsiteX17862" fmla="*/ 2956750 w 3359086"/>
                <a:gd name="connsiteY17862" fmla="*/ 1105853 h 3355086"/>
                <a:gd name="connsiteX17863" fmla="*/ 117824 w 3359086"/>
                <a:gd name="connsiteY17863" fmla="*/ 1105758 h 3355086"/>
                <a:gd name="connsiteX17864" fmla="*/ 124016 w 3359086"/>
                <a:gd name="connsiteY17864" fmla="*/ 1111949 h 3355086"/>
                <a:gd name="connsiteX17865" fmla="*/ 123301 w 3359086"/>
                <a:gd name="connsiteY17865" fmla="*/ 1112664 h 3355086"/>
                <a:gd name="connsiteX17866" fmla="*/ 128873 w 3359086"/>
                <a:gd name="connsiteY17866" fmla="*/ 1118235 h 3355086"/>
                <a:gd name="connsiteX17867" fmla="*/ 122681 w 3359086"/>
                <a:gd name="connsiteY17867" fmla="*/ 1124427 h 3355086"/>
                <a:gd name="connsiteX17868" fmla="*/ 116490 w 3359086"/>
                <a:gd name="connsiteY17868" fmla="*/ 1118235 h 3355086"/>
                <a:gd name="connsiteX17869" fmla="*/ 117204 w 3359086"/>
                <a:gd name="connsiteY17869" fmla="*/ 1117521 h 3355086"/>
                <a:gd name="connsiteX17870" fmla="*/ 111633 w 3359086"/>
                <a:gd name="connsiteY17870" fmla="*/ 1111949 h 3355086"/>
                <a:gd name="connsiteX17871" fmla="*/ 117824 w 3359086"/>
                <a:gd name="connsiteY17871" fmla="*/ 1105758 h 3355086"/>
                <a:gd name="connsiteX17872" fmla="*/ 3176206 w 3359086"/>
                <a:gd name="connsiteY17872" fmla="*/ 1104329 h 3355086"/>
                <a:gd name="connsiteX17873" fmla="*/ 3182397 w 3359086"/>
                <a:gd name="connsiteY17873" fmla="*/ 1110520 h 3355086"/>
                <a:gd name="connsiteX17874" fmla="*/ 3176206 w 3359086"/>
                <a:gd name="connsiteY17874" fmla="*/ 1116712 h 3355086"/>
                <a:gd name="connsiteX17875" fmla="*/ 3170015 w 3359086"/>
                <a:gd name="connsiteY17875" fmla="*/ 1110520 h 3355086"/>
                <a:gd name="connsiteX17876" fmla="*/ 3176206 w 3359086"/>
                <a:gd name="connsiteY17876" fmla="*/ 1104329 h 3355086"/>
                <a:gd name="connsiteX17877" fmla="*/ 138017 w 3359086"/>
                <a:gd name="connsiteY17877" fmla="*/ 1103471 h 3355086"/>
                <a:gd name="connsiteX17878" fmla="*/ 144209 w 3359086"/>
                <a:gd name="connsiteY17878" fmla="*/ 1109662 h 3355086"/>
                <a:gd name="connsiteX17879" fmla="*/ 138017 w 3359086"/>
                <a:gd name="connsiteY17879" fmla="*/ 1115854 h 3355086"/>
                <a:gd name="connsiteX17880" fmla="*/ 131826 w 3359086"/>
                <a:gd name="connsiteY17880" fmla="*/ 1109662 h 3355086"/>
                <a:gd name="connsiteX17881" fmla="*/ 138017 w 3359086"/>
                <a:gd name="connsiteY17881" fmla="*/ 1103471 h 3355086"/>
                <a:gd name="connsiteX17882" fmla="*/ 111537 w 3359086"/>
                <a:gd name="connsiteY17882" fmla="*/ 1099662 h 3355086"/>
                <a:gd name="connsiteX17883" fmla="*/ 117728 w 3359086"/>
                <a:gd name="connsiteY17883" fmla="*/ 1105853 h 3355086"/>
                <a:gd name="connsiteX17884" fmla="*/ 111537 w 3359086"/>
                <a:gd name="connsiteY17884" fmla="*/ 1112044 h 3355086"/>
                <a:gd name="connsiteX17885" fmla="*/ 105346 w 3359086"/>
                <a:gd name="connsiteY17885" fmla="*/ 1105853 h 3355086"/>
                <a:gd name="connsiteX17886" fmla="*/ 111537 w 3359086"/>
                <a:gd name="connsiteY17886" fmla="*/ 1099662 h 3355086"/>
                <a:gd name="connsiteX17887" fmla="*/ 2149316 w 3359086"/>
                <a:gd name="connsiteY17887" fmla="*/ 1099566 h 3355086"/>
                <a:gd name="connsiteX17888" fmla="*/ 2155508 w 3359086"/>
                <a:gd name="connsiteY17888" fmla="*/ 1105757 h 3355086"/>
                <a:gd name="connsiteX17889" fmla="*/ 2149316 w 3359086"/>
                <a:gd name="connsiteY17889" fmla="*/ 1111949 h 3355086"/>
                <a:gd name="connsiteX17890" fmla="*/ 2143125 w 3359086"/>
                <a:gd name="connsiteY17890" fmla="*/ 1105757 h 3355086"/>
                <a:gd name="connsiteX17891" fmla="*/ 2149316 w 3359086"/>
                <a:gd name="connsiteY17891" fmla="*/ 1099566 h 3355086"/>
                <a:gd name="connsiteX17892" fmla="*/ 3135534 w 3359086"/>
                <a:gd name="connsiteY17892" fmla="*/ 1098900 h 3355086"/>
                <a:gd name="connsiteX17893" fmla="*/ 3141725 w 3359086"/>
                <a:gd name="connsiteY17893" fmla="*/ 1105091 h 3355086"/>
                <a:gd name="connsiteX17894" fmla="*/ 3135534 w 3359086"/>
                <a:gd name="connsiteY17894" fmla="*/ 1111283 h 3355086"/>
                <a:gd name="connsiteX17895" fmla="*/ 3129343 w 3359086"/>
                <a:gd name="connsiteY17895" fmla="*/ 1105091 h 3355086"/>
                <a:gd name="connsiteX17896" fmla="*/ 3135534 w 3359086"/>
                <a:gd name="connsiteY17896" fmla="*/ 1098900 h 3355086"/>
                <a:gd name="connsiteX17897" fmla="*/ 3234784 w 3359086"/>
                <a:gd name="connsiteY17897" fmla="*/ 1098804 h 3355086"/>
                <a:gd name="connsiteX17898" fmla="*/ 3240976 w 3359086"/>
                <a:gd name="connsiteY17898" fmla="*/ 1104995 h 3355086"/>
                <a:gd name="connsiteX17899" fmla="*/ 3234784 w 3359086"/>
                <a:gd name="connsiteY17899" fmla="*/ 1111187 h 3355086"/>
                <a:gd name="connsiteX17900" fmla="*/ 3228593 w 3359086"/>
                <a:gd name="connsiteY17900" fmla="*/ 1104995 h 3355086"/>
                <a:gd name="connsiteX17901" fmla="*/ 3234784 w 3359086"/>
                <a:gd name="connsiteY17901" fmla="*/ 1098804 h 3355086"/>
                <a:gd name="connsiteX17902" fmla="*/ 3066573 w 3359086"/>
                <a:gd name="connsiteY17902" fmla="*/ 1098233 h 3355086"/>
                <a:gd name="connsiteX17903" fmla="*/ 3072765 w 3359086"/>
                <a:gd name="connsiteY17903" fmla="*/ 1104424 h 3355086"/>
                <a:gd name="connsiteX17904" fmla="*/ 3066573 w 3359086"/>
                <a:gd name="connsiteY17904" fmla="*/ 1110615 h 3355086"/>
                <a:gd name="connsiteX17905" fmla="*/ 3060382 w 3359086"/>
                <a:gd name="connsiteY17905" fmla="*/ 1104424 h 3355086"/>
                <a:gd name="connsiteX17906" fmla="*/ 3066573 w 3359086"/>
                <a:gd name="connsiteY17906" fmla="*/ 1098233 h 3355086"/>
                <a:gd name="connsiteX17907" fmla="*/ 643699 w 3359086"/>
                <a:gd name="connsiteY17907" fmla="*/ 1097375 h 3355086"/>
                <a:gd name="connsiteX17908" fmla="*/ 649891 w 3359086"/>
                <a:gd name="connsiteY17908" fmla="*/ 1103566 h 3355086"/>
                <a:gd name="connsiteX17909" fmla="*/ 643699 w 3359086"/>
                <a:gd name="connsiteY17909" fmla="*/ 1109758 h 3355086"/>
                <a:gd name="connsiteX17910" fmla="*/ 637508 w 3359086"/>
                <a:gd name="connsiteY17910" fmla="*/ 1103566 h 3355086"/>
                <a:gd name="connsiteX17911" fmla="*/ 643699 w 3359086"/>
                <a:gd name="connsiteY17911" fmla="*/ 1097375 h 3355086"/>
                <a:gd name="connsiteX17912" fmla="*/ 3189350 w 3359086"/>
                <a:gd name="connsiteY17912" fmla="*/ 1095852 h 3355086"/>
                <a:gd name="connsiteX17913" fmla="*/ 3195541 w 3359086"/>
                <a:gd name="connsiteY17913" fmla="*/ 1102043 h 3355086"/>
                <a:gd name="connsiteX17914" fmla="*/ 3189350 w 3359086"/>
                <a:gd name="connsiteY17914" fmla="*/ 1108234 h 3355086"/>
                <a:gd name="connsiteX17915" fmla="*/ 3183159 w 3359086"/>
                <a:gd name="connsiteY17915" fmla="*/ 1102043 h 3355086"/>
                <a:gd name="connsiteX17916" fmla="*/ 3189350 w 3359086"/>
                <a:gd name="connsiteY17916" fmla="*/ 1095852 h 3355086"/>
                <a:gd name="connsiteX17917" fmla="*/ 399573 w 3359086"/>
                <a:gd name="connsiteY17917" fmla="*/ 1095661 h 3355086"/>
                <a:gd name="connsiteX17918" fmla="*/ 405764 w 3359086"/>
                <a:gd name="connsiteY17918" fmla="*/ 1101852 h 3355086"/>
                <a:gd name="connsiteX17919" fmla="*/ 399573 w 3359086"/>
                <a:gd name="connsiteY17919" fmla="*/ 1108044 h 3355086"/>
                <a:gd name="connsiteX17920" fmla="*/ 393382 w 3359086"/>
                <a:gd name="connsiteY17920" fmla="*/ 1101852 h 3355086"/>
                <a:gd name="connsiteX17921" fmla="*/ 399573 w 3359086"/>
                <a:gd name="connsiteY17921" fmla="*/ 1095661 h 3355086"/>
                <a:gd name="connsiteX17922" fmla="*/ 163448 w 3359086"/>
                <a:gd name="connsiteY17922" fmla="*/ 1094994 h 3355086"/>
                <a:gd name="connsiteX17923" fmla="*/ 169639 w 3359086"/>
                <a:gd name="connsiteY17923" fmla="*/ 1101185 h 3355086"/>
                <a:gd name="connsiteX17924" fmla="*/ 163448 w 3359086"/>
                <a:gd name="connsiteY17924" fmla="*/ 1107377 h 3355086"/>
                <a:gd name="connsiteX17925" fmla="*/ 157257 w 3359086"/>
                <a:gd name="connsiteY17925" fmla="*/ 1101185 h 3355086"/>
                <a:gd name="connsiteX17926" fmla="*/ 163448 w 3359086"/>
                <a:gd name="connsiteY17926" fmla="*/ 1094994 h 3355086"/>
                <a:gd name="connsiteX17927" fmla="*/ 3216877 w 3359086"/>
                <a:gd name="connsiteY17927" fmla="*/ 1093756 h 3355086"/>
                <a:gd name="connsiteX17928" fmla="*/ 3223069 w 3359086"/>
                <a:gd name="connsiteY17928" fmla="*/ 1099947 h 3355086"/>
                <a:gd name="connsiteX17929" fmla="*/ 3216877 w 3359086"/>
                <a:gd name="connsiteY17929" fmla="*/ 1106139 h 3355086"/>
                <a:gd name="connsiteX17930" fmla="*/ 3216639 w 3359086"/>
                <a:gd name="connsiteY17930" fmla="*/ 1105901 h 3355086"/>
                <a:gd name="connsiteX17931" fmla="*/ 3211544 w 3359086"/>
                <a:gd name="connsiteY17931" fmla="*/ 1110997 h 3355086"/>
                <a:gd name="connsiteX17932" fmla="*/ 3211924 w 3359086"/>
                <a:gd name="connsiteY17932" fmla="*/ 1111377 h 3355086"/>
                <a:gd name="connsiteX17933" fmla="*/ 3205733 w 3359086"/>
                <a:gd name="connsiteY17933" fmla="*/ 1117569 h 3355086"/>
                <a:gd name="connsiteX17934" fmla="*/ 3199542 w 3359086"/>
                <a:gd name="connsiteY17934" fmla="*/ 1111377 h 3355086"/>
                <a:gd name="connsiteX17935" fmla="*/ 3204971 w 3359086"/>
                <a:gd name="connsiteY17935" fmla="*/ 1105948 h 3355086"/>
                <a:gd name="connsiteX17936" fmla="*/ 3204591 w 3359086"/>
                <a:gd name="connsiteY17936" fmla="*/ 1105567 h 3355086"/>
                <a:gd name="connsiteX17937" fmla="*/ 3210782 w 3359086"/>
                <a:gd name="connsiteY17937" fmla="*/ 1099376 h 3355086"/>
                <a:gd name="connsiteX17938" fmla="*/ 3211019 w 3359086"/>
                <a:gd name="connsiteY17938" fmla="*/ 1099614 h 3355086"/>
                <a:gd name="connsiteX17939" fmla="*/ 1246345 w 3359086"/>
                <a:gd name="connsiteY17939" fmla="*/ 1092423 h 3355086"/>
                <a:gd name="connsiteX17940" fmla="*/ 1252537 w 3359086"/>
                <a:gd name="connsiteY17940" fmla="*/ 1098614 h 3355086"/>
                <a:gd name="connsiteX17941" fmla="*/ 1246345 w 3359086"/>
                <a:gd name="connsiteY17941" fmla="*/ 1104806 h 3355086"/>
                <a:gd name="connsiteX17942" fmla="*/ 1240154 w 3359086"/>
                <a:gd name="connsiteY17942" fmla="*/ 1098614 h 3355086"/>
                <a:gd name="connsiteX17943" fmla="*/ 1246345 w 3359086"/>
                <a:gd name="connsiteY17943" fmla="*/ 1092423 h 3355086"/>
                <a:gd name="connsiteX17944" fmla="*/ 3249263 w 3359086"/>
                <a:gd name="connsiteY17944" fmla="*/ 1091375 h 3355086"/>
                <a:gd name="connsiteX17945" fmla="*/ 3254121 w 3359086"/>
                <a:gd name="connsiteY17945" fmla="*/ 1096233 h 3355086"/>
                <a:gd name="connsiteX17946" fmla="*/ 3249263 w 3359086"/>
                <a:gd name="connsiteY17946" fmla="*/ 1101090 h 3355086"/>
                <a:gd name="connsiteX17947" fmla="*/ 3244405 w 3359086"/>
                <a:gd name="connsiteY17947" fmla="*/ 1096233 h 3355086"/>
                <a:gd name="connsiteX17948" fmla="*/ 3249263 w 3359086"/>
                <a:gd name="connsiteY17948" fmla="*/ 1091375 h 3355086"/>
                <a:gd name="connsiteX17949" fmla="*/ 207930 w 3359086"/>
                <a:gd name="connsiteY17949" fmla="*/ 1088993 h 3355086"/>
                <a:gd name="connsiteX17950" fmla="*/ 214121 w 3359086"/>
                <a:gd name="connsiteY17950" fmla="*/ 1095184 h 3355086"/>
                <a:gd name="connsiteX17951" fmla="*/ 207930 w 3359086"/>
                <a:gd name="connsiteY17951" fmla="*/ 1101376 h 3355086"/>
                <a:gd name="connsiteX17952" fmla="*/ 201739 w 3359086"/>
                <a:gd name="connsiteY17952" fmla="*/ 1095184 h 3355086"/>
                <a:gd name="connsiteX17953" fmla="*/ 207930 w 3359086"/>
                <a:gd name="connsiteY17953" fmla="*/ 1088993 h 3355086"/>
                <a:gd name="connsiteX17954" fmla="*/ 2654426 w 3359086"/>
                <a:gd name="connsiteY17954" fmla="*/ 1088708 h 3355086"/>
                <a:gd name="connsiteX17955" fmla="*/ 2660617 w 3359086"/>
                <a:gd name="connsiteY17955" fmla="*/ 1094899 h 3355086"/>
                <a:gd name="connsiteX17956" fmla="*/ 2654426 w 3359086"/>
                <a:gd name="connsiteY17956" fmla="*/ 1101090 h 3355086"/>
                <a:gd name="connsiteX17957" fmla="*/ 2648235 w 3359086"/>
                <a:gd name="connsiteY17957" fmla="*/ 1094899 h 3355086"/>
                <a:gd name="connsiteX17958" fmla="*/ 2654426 w 3359086"/>
                <a:gd name="connsiteY17958" fmla="*/ 1088708 h 3355086"/>
                <a:gd name="connsiteX17959" fmla="*/ 282320 w 3359086"/>
                <a:gd name="connsiteY17959" fmla="*/ 1088041 h 3355086"/>
                <a:gd name="connsiteX17960" fmla="*/ 288512 w 3359086"/>
                <a:gd name="connsiteY17960" fmla="*/ 1094232 h 3355086"/>
                <a:gd name="connsiteX17961" fmla="*/ 282320 w 3359086"/>
                <a:gd name="connsiteY17961" fmla="*/ 1100423 h 3355086"/>
                <a:gd name="connsiteX17962" fmla="*/ 276129 w 3359086"/>
                <a:gd name="connsiteY17962" fmla="*/ 1094232 h 3355086"/>
                <a:gd name="connsiteX17963" fmla="*/ 282320 w 3359086"/>
                <a:gd name="connsiteY17963" fmla="*/ 1088041 h 3355086"/>
                <a:gd name="connsiteX17964" fmla="*/ 3225736 w 3359086"/>
                <a:gd name="connsiteY17964" fmla="*/ 1087470 h 3355086"/>
                <a:gd name="connsiteX17965" fmla="*/ 3231927 w 3359086"/>
                <a:gd name="connsiteY17965" fmla="*/ 1093661 h 3355086"/>
                <a:gd name="connsiteX17966" fmla="*/ 3225736 w 3359086"/>
                <a:gd name="connsiteY17966" fmla="*/ 1099852 h 3355086"/>
                <a:gd name="connsiteX17967" fmla="*/ 3219545 w 3359086"/>
                <a:gd name="connsiteY17967" fmla="*/ 1093661 h 3355086"/>
                <a:gd name="connsiteX17968" fmla="*/ 3225736 w 3359086"/>
                <a:gd name="connsiteY17968" fmla="*/ 1087470 h 3355086"/>
                <a:gd name="connsiteX17969" fmla="*/ 2029015 w 3359086"/>
                <a:gd name="connsiteY17969" fmla="*/ 1086803 h 3355086"/>
                <a:gd name="connsiteX17970" fmla="*/ 2035207 w 3359086"/>
                <a:gd name="connsiteY17970" fmla="*/ 1092994 h 3355086"/>
                <a:gd name="connsiteX17971" fmla="*/ 2029015 w 3359086"/>
                <a:gd name="connsiteY17971" fmla="*/ 1099186 h 3355086"/>
                <a:gd name="connsiteX17972" fmla="*/ 2022824 w 3359086"/>
                <a:gd name="connsiteY17972" fmla="*/ 1092994 h 3355086"/>
                <a:gd name="connsiteX17973" fmla="*/ 2029015 w 3359086"/>
                <a:gd name="connsiteY17973" fmla="*/ 1086803 h 3355086"/>
                <a:gd name="connsiteX17974" fmla="*/ 148780 w 3359086"/>
                <a:gd name="connsiteY17974" fmla="*/ 1086803 h 3355086"/>
                <a:gd name="connsiteX17975" fmla="*/ 154972 w 3359086"/>
                <a:gd name="connsiteY17975" fmla="*/ 1092994 h 3355086"/>
                <a:gd name="connsiteX17976" fmla="*/ 148780 w 3359086"/>
                <a:gd name="connsiteY17976" fmla="*/ 1099186 h 3355086"/>
                <a:gd name="connsiteX17977" fmla="*/ 142589 w 3359086"/>
                <a:gd name="connsiteY17977" fmla="*/ 1092994 h 3355086"/>
                <a:gd name="connsiteX17978" fmla="*/ 148780 w 3359086"/>
                <a:gd name="connsiteY17978" fmla="*/ 1086803 h 3355086"/>
                <a:gd name="connsiteX17979" fmla="*/ 3161728 w 3359086"/>
                <a:gd name="connsiteY17979" fmla="*/ 1086708 h 3355086"/>
                <a:gd name="connsiteX17980" fmla="*/ 3167919 w 3359086"/>
                <a:gd name="connsiteY17980" fmla="*/ 1092899 h 3355086"/>
                <a:gd name="connsiteX17981" fmla="*/ 3161728 w 3359086"/>
                <a:gd name="connsiteY17981" fmla="*/ 1099090 h 3355086"/>
                <a:gd name="connsiteX17982" fmla="*/ 3155537 w 3359086"/>
                <a:gd name="connsiteY17982" fmla="*/ 1092899 h 3355086"/>
                <a:gd name="connsiteX17983" fmla="*/ 3161728 w 3359086"/>
                <a:gd name="connsiteY17983" fmla="*/ 1086708 h 3355086"/>
                <a:gd name="connsiteX17984" fmla="*/ 2910363 w 3359086"/>
                <a:gd name="connsiteY17984" fmla="*/ 1086708 h 3355086"/>
                <a:gd name="connsiteX17985" fmla="*/ 2916555 w 3359086"/>
                <a:gd name="connsiteY17985" fmla="*/ 1092899 h 3355086"/>
                <a:gd name="connsiteX17986" fmla="*/ 2910363 w 3359086"/>
                <a:gd name="connsiteY17986" fmla="*/ 1099090 h 3355086"/>
                <a:gd name="connsiteX17987" fmla="*/ 2904172 w 3359086"/>
                <a:gd name="connsiteY17987" fmla="*/ 1092899 h 3355086"/>
                <a:gd name="connsiteX17988" fmla="*/ 2910363 w 3359086"/>
                <a:gd name="connsiteY17988" fmla="*/ 1086708 h 3355086"/>
                <a:gd name="connsiteX17989" fmla="*/ 119538 w 3359086"/>
                <a:gd name="connsiteY17989" fmla="*/ 1086708 h 3355086"/>
                <a:gd name="connsiteX17990" fmla="*/ 125063 w 3359086"/>
                <a:gd name="connsiteY17990" fmla="*/ 1092232 h 3355086"/>
                <a:gd name="connsiteX17991" fmla="*/ 125539 w 3359086"/>
                <a:gd name="connsiteY17991" fmla="*/ 1091756 h 3355086"/>
                <a:gd name="connsiteX17992" fmla="*/ 130826 w 3359086"/>
                <a:gd name="connsiteY17992" fmla="*/ 1097042 h 3355086"/>
                <a:gd name="connsiteX17993" fmla="*/ 130873 w 3359086"/>
                <a:gd name="connsiteY17993" fmla="*/ 1096995 h 3355086"/>
                <a:gd name="connsiteX17994" fmla="*/ 137065 w 3359086"/>
                <a:gd name="connsiteY17994" fmla="*/ 1103186 h 3355086"/>
                <a:gd name="connsiteX17995" fmla="*/ 130873 w 3359086"/>
                <a:gd name="connsiteY17995" fmla="*/ 1109377 h 3355086"/>
                <a:gd name="connsiteX17996" fmla="*/ 125587 w 3359086"/>
                <a:gd name="connsiteY17996" fmla="*/ 1104091 h 3355086"/>
                <a:gd name="connsiteX17997" fmla="*/ 125539 w 3359086"/>
                <a:gd name="connsiteY17997" fmla="*/ 1104139 h 3355086"/>
                <a:gd name="connsiteX17998" fmla="*/ 120014 w 3359086"/>
                <a:gd name="connsiteY17998" fmla="*/ 1098614 h 3355086"/>
                <a:gd name="connsiteX17999" fmla="*/ 119538 w 3359086"/>
                <a:gd name="connsiteY17999" fmla="*/ 1099090 h 3355086"/>
                <a:gd name="connsiteX18000" fmla="*/ 113347 w 3359086"/>
                <a:gd name="connsiteY18000" fmla="*/ 1092899 h 3355086"/>
                <a:gd name="connsiteX18001" fmla="*/ 119538 w 3359086"/>
                <a:gd name="connsiteY18001" fmla="*/ 1086708 h 3355086"/>
                <a:gd name="connsiteX18002" fmla="*/ 111252 w 3359086"/>
                <a:gd name="connsiteY18002" fmla="*/ 1083183 h 3355086"/>
                <a:gd name="connsiteX18003" fmla="*/ 115347 w 3359086"/>
                <a:gd name="connsiteY18003" fmla="*/ 1087279 h 3355086"/>
                <a:gd name="connsiteX18004" fmla="*/ 111252 w 3359086"/>
                <a:gd name="connsiteY18004" fmla="*/ 1091375 h 3355086"/>
                <a:gd name="connsiteX18005" fmla="*/ 107156 w 3359086"/>
                <a:gd name="connsiteY18005" fmla="*/ 1087279 h 3355086"/>
                <a:gd name="connsiteX18006" fmla="*/ 111252 w 3359086"/>
                <a:gd name="connsiteY18006" fmla="*/ 1083183 h 3355086"/>
                <a:gd name="connsiteX18007" fmla="*/ 1370456 w 3359086"/>
                <a:gd name="connsiteY18007" fmla="*/ 1081088 h 3355086"/>
                <a:gd name="connsiteX18008" fmla="*/ 1376648 w 3359086"/>
                <a:gd name="connsiteY18008" fmla="*/ 1087279 h 3355086"/>
                <a:gd name="connsiteX18009" fmla="*/ 1370456 w 3359086"/>
                <a:gd name="connsiteY18009" fmla="*/ 1093471 h 3355086"/>
                <a:gd name="connsiteX18010" fmla="*/ 1364265 w 3359086"/>
                <a:gd name="connsiteY18010" fmla="*/ 1087279 h 3355086"/>
                <a:gd name="connsiteX18011" fmla="*/ 1370456 w 3359086"/>
                <a:gd name="connsiteY18011" fmla="*/ 1081088 h 3355086"/>
                <a:gd name="connsiteX18012" fmla="*/ 3208876 w 3359086"/>
                <a:gd name="connsiteY18012" fmla="*/ 1080516 h 3355086"/>
                <a:gd name="connsiteX18013" fmla="*/ 3215068 w 3359086"/>
                <a:gd name="connsiteY18013" fmla="*/ 1086707 h 3355086"/>
                <a:gd name="connsiteX18014" fmla="*/ 3208876 w 3359086"/>
                <a:gd name="connsiteY18014" fmla="*/ 1092899 h 3355086"/>
                <a:gd name="connsiteX18015" fmla="*/ 3208162 w 3359086"/>
                <a:gd name="connsiteY18015" fmla="*/ 1092185 h 3355086"/>
                <a:gd name="connsiteX18016" fmla="*/ 3202971 w 3359086"/>
                <a:gd name="connsiteY18016" fmla="*/ 1097375 h 3355086"/>
                <a:gd name="connsiteX18017" fmla="*/ 3202495 w 3359086"/>
                <a:gd name="connsiteY18017" fmla="*/ 1096900 h 3355086"/>
                <a:gd name="connsiteX18018" fmla="*/ 3197256 w 3359086"/>
                <a:gd name="connsiteY18018" fmla="*/ 1102138 h 3355086"/>
                <a:gd name="connsiteX18019" fmla="*/ 3191065 w 3359086"/>
                <a:gd name="connsiteY18019" fmla="*/ 1095947 h 3355086"/>
                <a:gd name="connsiteX18020" fmla="*/ 3197256 w 3359086"/>
                <a:gd name="connsiteY18020" fmla="*/ 1089756 h 3355086"/>
                <a:gd name="connsiteX18021" fmla="*/ 3197732 w 3359086"/>
                <a:gd name="connsiteY18021" fmla="*/ 1090232 h 3355086"/>
                <a:gd name="connsiteX18022" fmla="*/ 3202971 w 3359086"/>
                <a:gd name="connsiteY18022" fmla="*/ 1084993 h 3355086"/>
                <a:gd name="connsiteX18023" fmla="*/ 3203685 w 3359086"/>
                <a:gd name="connsiteY18023" fmla="*/ 1085707 h 3355086"/>
                <a:gd name="connsiteX18024" fmla="*/ 3113912 w 3359086"/>
                <a:gd name="connsiteY18024" fmla="*/ 1080231 h 3355086"/>
                <a:gd name="connsiteX18025" fmla="*/ 3120104 w 3359086"/>
                <a:gd name="connsiteY18025" fmla="*/ 1086422 h 3355086"/>
                <a:gd name="connsiteX18026" fmla="*/ 3113912 w 3359086"/>
                <a:gd name="connsiteY18026" fmla="*/ 1092613 h 3355086"/>
                <a:gd name="connsiteX18027" fmla="*/ 3107721 w 3359086"/>
                <a:gd name="connsiteY18027" fmla="*/ 1086422 h 3355086"/>
                <a:gd name="connsiteX18028" fmla="*/ 3113912 w 3359086"/>
                <a:gd name="connsiteY18028" fmla="*/ 1080231 h 3355086"/>
                <a:gd name="connsiteX18029" fmla="*/ 3238690 w 3359086"/>
                <a:gd name="connsiteY18029" fmla="*/ 1080040 h 3355086"/>
                <a:gd name="connsiteX18030" fmla="*/ 3244882 w 3359086"/>
                <a:gd name="connsiteY18030" fmla="*/ 1086231 h 3355086"/>
                <a:gd name="connsiteX18031" fmla="*/ 3238690 w 3359086"/>
                <a:gd name="connsiteY18031" fmla="*/ 1092423 h 3355086"/>
                <a:gd name="connsiteX18032" fmla="*/ 3232499 w 3359086"/>
                <a:gd name="connsiteY18032" fmla="*/ 1086231 h 3355086"/>
                <a:gd name="connsiteX18033" fmla="*/ 3238690 w 3359086"/>
                <a:gd name="connsiteY18033" fmla="*/ 1080040 h 3355086"/>
                <a:gd name="connsiteX18034" fmla="*/ 3034569 w 3359086"/>
                <a:gd name="connsiteY18034" fmla="*/ 1079087 h 3355086"/>
                <a:gd name="connsiteX18035" fmla="*/ 3040760 w 3359086"/>
                <a:gd name="connsiteY18035" fmla="*/ 1085278 h 3355086"/>
                <a:gd name="connsiteX18036" fmla="*/ 3034569 w 3359086"/>
                <a:gd name="connsiteY18036" fmla="*/ 1091470 h 3355086"/>
                <a:gd name="connsiteX18037" fmla="*/ 3028378 w 3359086"/>
                <a:gd name="connsiteY18037" fmla="*/ 1085278 h 3355086"/>
                <a:gd name="connsiteX18038" fmla="*/ 3034569 w 3359086"/>
                <a:gd name="connsiteY18038" fmla="*/ 1079087 h 3355086"/>
                <a:gd name="connsiteX18039" fmla="*/ 3178016 w 3359086"/>
                <a:gd name="connsiteY18039" fmla="*/ 1078802 h 3355086"/>
                <a:gd name="connsiteX18040" fmla="*/ 3184207 w 3359086"/>
                <a:gd name="connsiteY18040" fmla="*/ 1084993 h 3355086"/>
                <a:gd name="connsiteX18041" fmla="*/ 3178016 w 3359086"/>
                <a:gd name="connsiteY18041" fmla="*/ 1091185 h 3355086"/>
                <a:gd name="connsiteX18042" fmla="*/ 3171825 w 3359086"/>
                <a:gd name="connsiteY18042" fmla="*/ 1084993 h 3355086"/>
                <a:gd name="connsiteX18043" fmla="*/ 3178016 w 3359086"/>
                <a:gd name="connsiteY18043" fmla="*/ 1078802 h 3355086"/>
                <a:gd name="connsiteX18044" fmla="*/ 718756 w 3359086"/>
                <a:gd name="connsiteY18044" fmla="*/ 1078706 h 3355086"/>
                <a:gd name="connsiteX18045" fmla="*/ 724948 w 3359086"/>
                <a:gd name="connsiteY18045" fmla="*/ 1084897 h 3355086"/>
                <a:gd name="connsiteX18046" fmla="*/ 718756 w 3359086"/>
                <a:gd name="connsiteY18046" fmla="*/ 1091089 h 3355086"/>
                <a:gd name="connsiteX18047" fmla="*/ 712565 w 3359086"/>
                <a:gd name="connsiteY18047" fmla="*/ 1084897 h 3355086"/>
                <a:gd name="connsiteX18048" fmla="*/ 718756 w 3359086"/>
                <a:gd name="connsiteY18048" fmla="*/ 1078706 h 3355086"/>
                <a:gd name="connsiteX18049" fmla="*/ 178974 w 3359086"/>
                <a:gd name="connsiteY18049" fmla="*/ 1076992 h 3355086"/>
                <a:gd name="connsiteX18050" fmla="*/ 185166 w 3359086"/>
                <a:gd name="connsiteY18050" fmla="*/ 1083183 h 3355086"/>
                <a:gd name="connsiteX18051" fmla="*/ 178974 w 3359086"/>
                <a:gd name="connsiteY18051" fmla="*/ 1089375 h 3355086"/>
                <a:gd name="connsiteX18052" fmla="*/ 172783 w 3359086"/>
                <a:gd name="connsiteY18052" fmla="*/ 1083183 h 3355086"/>
                <a:gd name="connsiteX18053" fmla="*/ 178974 w 3359086"/>
                <a:gd name="connsiteY18053" fmla="*/ 1076992 h 3355086"/>
                <a:gd name="connsiteX18054" fmla="*/ 1901856 w 3359086"/>
                <a:gd name="connsiteY18054" fmla="*/ 1076897 h 3355086"/>
                <a:gd name="connsiteX18055" fmla="*/ 1908048 w 3359086"/>
                <a:gd name="connsiteY18055" fmla="*/ 1083088 h 3355086"/>
                <a:gd name="connsiteX18056" fmla="*/ 1901856 w 3359086"/>
                <a:gd name="connsiteY18056" fmla="*/ 1089279 h 3355086"/>
                <a:gd name="connsiteX18057" fmla="*/ 1895665 w 3359086"/>
                <a:gd name="connsiteY18057" fmla="*/ 1083088 h 3355086"/>
                <a:gd name="connsiteX18058" fmla="*/ 1901856 w 3359086"/>
                <a:gd name="connsiteY18058" fmla="*/ 1076897 h 3355086"/>
                <a:gd name="connsiteX18059" fmla="*/ 448627 w 3359086"/>
                <a:gd name="connsiteY18059" fmla="*/ 1076230 h 3355086"/>
                <a:gd name="connsiteX18060" fmla="*/ 454818 w 3359086"/>
                <a:gd name="connsiteY18060" fmla="*/ 1082421 h 3355086"/>
                <a:gd name="connsiteX18061" fmla="*/ 448627 w 3359086"/>
                <a:gd name="connsiteY18061" fmla="*/ 1088612 h 3355086"/>
                <a:gd name="connsiteX18062" fmla="*/ 442436 w 3359086"/>
                <a:gd name="connsiteY18062" fmla="*/ 1082421 h 3355086"/>
                <a:gd name="connsiteX18063" fmla="*/ 448627 w 3359086"/>
                <a:gd name="connsiteY18063" fmla="*/ 1076230 h 3355086"/>
                <a:gd name="connsiteX18064" fmla="*/ 3216877 w 3359086"/>
                <a:gd name="connsiteY18064" fmla="*/ 1075468 h 3355086"/>
                <a:gd name="connsiteX18065" fmla="*/ 3223069 w 3359086"/>
                <a:gd name="connsiteY18065" fmla="*/ 1081659 h 3355086"/>
                <a:gd name="connsiteX18066" fmla="*/ 3216877 w 3359086"/>
                <a:gd name="connsiteY18066" fmla="*/ 1087850 h 3355086"/>
                <a:gd name="connsiteX18067" fmla="*/ 3210686 w 3359086"/>
                <a:gd name="connsiteY18067" fmla="*/ 1081659 h 3355086"/>
                <a:gd name="connsiteX18068" fmla="*/ 3216877 w 3359086"/>
                <a:gd name="connsiteY18068" fmla="*/ 1075468 h 3355086"/>
                <a:gd name="connsiteX18069" fmla="*/ 1500663 w 3359086"/>
                <a:gd name="connsiteY18069" fmla="*/ 1072992 h 3355086"/>
                <a:gd name="connsiteX18070" fmla="*/ 1506854 w 3359086"/>
                <a:gd name="connsiteY18070" fmla="*/ 1079183 h 3355086"/>
                <a:gd name="connsiteX18071" fmla="*/ 1500663 w 3359086"/>
                <a:gd name="connsiteY18071" fmla="*/ 1085375 h 3355086"/>
                <a:gd name="connsiteX18072" fmla="*/ 1494472 w 3359086"/>
                <a:gd name="connsiteY18072" fmla="*/ 1079183 h 3355086"/>
                <a:gd name="connsiteX18073" fmla="*/ 1500663 w 3359086"/>
                <a:gd name="connsiteY18073" fmla="*/ 1072992 h 3355086"/>
                <a:gd name="connsiteX18074" fmla="*/ 1769554 w 3359086"/>
                <a:gd name="connsiteY18074" fmla="*/ 1070801 h 3355086"/>
                <a:gd name="connsiteX18075" fmla="*/ 1775745 w 3359086"/>
                <a:gd name="connsiteY18075" fmla="*/ 1076992 h 3355086"/>
                <a:gd name="connsiteX18076" fmla="*/ 1769554 w 3359086"/>
                <a:gd name="connsiteY18076" fmla="*/ 1083183 h 3355086"/>
                <a:gd name="connsiteX18077" fmla="*/ 1763363 w 3359086"/>
                <a:gd name="connsiteY18077" fmla="*/ 1076992 h 3355086"/>
                <a:gd name="connsiteX18078" fmla="*/ 1769554 w 3359086"/>
                <a:gd name="connsiteY18078" fmla="*/ 1070801 h 3355086"/>
                <a:gd name="connsiteX18079" fmla="*/ 2576226 w 3359086"/>
                <a:gd name="connsiteY18079" fmla="*/ 1069944 h 3355086"/>
                <a:gd name="connsiteX18080" fmla="*/ 2582417 w 3359086"/>
                <a:gd name="connsiteY18080" fmla="*/ 1076135 h 3355086"/>
                <a:gd name="connsiteX18081" fmla="*/ 2576226 w 3359086"/>
                <a:gd name="connsiteY18081" fmla="*/ 1082327 h 3355086"/>
                <a:gd name="connsiteX18082" fmla="*/ 2570035 w 3359086"/>
                <a:gd name="connsiteY18082" fmla="*/ 1076135 h 3355086"/>
                <a:gd name="connsiteX18083" fmla="*/ 2576226 w 3359086"/>
                <a:gd name="connsiteY18083" fmla="*/ 1069944 h 3355086"/>
                <a:gd name="connsiteX18084" fmla="*/ 230981 w 3359086"/>
                <a:gd name="connsiteY18084" fmla="*/ 1069943 h 3355086"/>
                <a:gd name="connsiteX18085" fmla="*/ 237172 w 3359086"/>
                <a:gd name="connsiteY18085" fmla="*/ 1076134 h 3355086"/>
                <a:gd name="connsiteX18086" fmla="*/ 230981 w 3359086"/>
                <a:gd name="connsiteY18086" fmla="*/ 1082326 h 3355086"/>
                <a:gd name="connsiteX18087" fmla="*/ 224790 w 3359086"/>
                <a:gd name="connsiteY18087" fmla="*/ 1076134 h 3355086"/>
                <a:gd name="connsiteX18088" fmla="*/ 230981 w 3359086"/>
                <a:gd name="connsiteY18088" fmla="*/ 1069943 h 3355086"/>
                <a:gd name="connsiteX18089" fmla="*/ 1634680 w 3359086"/>
                <a:gd name="connsiteY18089" fmla="*/ 1069467 h 3355086"/>
                <a:gd name="connsiteX18090" fmla="*/ 1640872 w 3359086"/>
                <a:gd name="connsiteY18090" fmla="*/ 1075658 h 3355086"/>
                <a:gd name="connsiteX18091" fmla="*/ 1634680 w 3359086"/>
                <a:gd name="connsiteY18091" fmla="*/ 1081850 h 3355086"/>
                <a:gd name="connsiteX18092" fmla="*/ 1628489 w 3359086"/>
                <a:gd name="connsiteY18092" fmla="*/ 1075658 h 3355086"/>
                <a:gd name="connsiteX18093" fmla="*/ 1634680 w 3359086"/>
                <a:gd name="connsiteY18093" fmla="*/ 1069467 h 3355086"/>
                <a:gd name="connsiteX18094" fmla="*/ 160781 w 3359086"/>
                <a:gd name="connsiteY18094" fmla="*/ 1069467 h 3355086"/>
                <a:gd name="connsiteX18095" fmla="*/ 166973 w 3359086"/>
                <a:gd name="connsiteY18095" fmla="*/ 1075658 h 3355086"/>
                <a:gd name="connsiteX18096" fmla="*/ 160781 w 3359086"/>
                <a:gd name="connsiteY18096" fmla="*/ 1081850 h 3355086"/>
                <a:gd name="connsiteX18097" fmla="*/ 154590 w 3359086"/>
                <a:gd name="connsiteY18097" fmla="*/ 1075658 h 3355086"/>
                <a:gd name="connsiteX18098" fmla="*/ 160781 w 3359086"/>
                <a:gd name="connsiteY18098" fmla="*/ 1069467 h 3355086"/>
                <a:gd name="connsiteX18099" fmla="*/ 3228593 w 3359086"/>
                <a:gd name="connsiteY18099" fmla="*/ 1069277 h 3355086"/>
                <a:gd name="connsiteX18100" fmla="*/ 3234784 w 3359086"/>
                <a:gd name="connsiteY18100" fmla="*/ 1075468 h 3355086"/>
                <a:gd name="connsiteX18101" fmla="*/ 3228593 w 3359086"/>
                <a:gd name="connsiteY18101" fmla="*/ 1081660 h 3355086"/>
                <a:gd name="connsiteX18102" fmla="*/ 3222402 w 3359086"/>
                <a:gd name="connsiteY18102" fmla="*/ 1075468 h 3355086"/>
                <a:gd name="connsiteX18103" fmla="*/ 3228593 w 3359086"/>
                <a:gd name="connsiteY18103" fmla="*/ 1069277 h 3355086"/>
                <a:gd name="connsiteX18104" fmla="*/ 120014 w 3359086"/>
                <a:gd name="connsiteY18104" fmla="*/ 1068800 h 3355086"/>
                <a:gd name="connsiteX18105" fmla="*/ 126063 w 3359086"/>
                <a:gd name="connsiteY18105" fmla="*/ 1074849 h 3355086"/>
                <a:gd name="connsiteX18106" fmla="*/ 127730 w 3359086"/>
                <a:gd name="connsiteY18106" fmla="*/ 1073182 h 3355086"/>
                <a:gd name="connsiteX18107" fmla="*/ 132588 w 3359086"/>
                <a:gd name="connsiteY18107" fmla="*/ 1078039 h 3355086"/>
                <a:gd name="connsiteX18108" fmla="*/ 133635 w 3359086"/>
                <a:gd name="connsiteY18108" fmla="*/ 1076992 h 3355086"/>
                <a:gd name="connsiteX18109" fmla="*/ 138826 w 3359086"/>
                <a:gd name="connsiteY18109" fmla="*/ 1082183 h 3355086"/>
                <a:gd name="connsiteX18110" fmla="*/ 139826 w 3359086"/>
                <a:gd name="connsiteY18110" fmla="*/ 1081183 h 3355086"/>
                <a:gd name="connsiteX18111" fmla="*/ 146018 w 3359086"/>
                <a:gd name="connsiteY18111" fmla="*/ 1087374 h 3355086"/>
                <a:gd name="connsiteX18112" fmla="*/ 139826 w 3359086"/>
                <a:gd name="connsiteY18112" fmla="*/ 1093566 h 3355086"/>
                <a:gd name="connsiteX18113" fmla="*/ 134635 w 3359086"/>
                <a:gd name="connsiteY18113" fmla="*/ 1088375 h 3355086"/>
                <a:gd name="connsiteX18114" fmla="*/ 133635 w 3359086"/>
                <a:gd name="connsiteY18114" fmla="*/ 1089375 h 3355086"/>
                <a:gd name="connsiteX18115" fmla="*/ 128777 w 3359086"/>
                <a:gd name="connsiteY18115" fmla="*/ 1084517 h 3355086"/>
                <a:gd name="connsiteX18116" fmla="*/ 127730 w 3359086"/>
                <a:gd name="connsiteY18116" fmla="*/ 1085564 h 3355086"/>
                <a:gd name="connsiteX18117" fmla="*/ 121681 w 3359086"/>
                <a:gd name="connsiteY18117" fmla="*/ 1079516 h 3355086"/>
                <a:gd name="connsiteX18118" fmla="*/ 120014 w 3359086"/>
                <a:gd name="connsiteY18118" fmla="*/ 1081183 h 3355086"/>
                <a:gd name="connsiteX18119" fmla="*/ 113823 w 3359086"/>
                <a:gd name="connsiteY18119" fmla="*/ 1074991 h 3355086"/>
                <a:gd name="connsiteX18120" fmla="*/ 120014 w 3359086"/>
                <a:gd name="connsiteY18120" fmla="*/ 1068800 h 3355086"/>
                <a:gd name="connsiteX18121" fmla="*/ 316420 w 3359086"/>
                <a:gd name="connsiteY18121" fmla="*/ 1068515 h 3355086"/>
                <a:gd name="connsiteX18122" fmla="*/ 322611 w 3359086"/>
                <a:gd name="connsiteY18122" fmla="*/ 1074706 h 3355086"/>
                <a:gd name="connsiteX18123" fmla="*/ 316420 w 3359086"/>
                <a:gd name="connsiteY18123" fmla="*/ 1080898 h 3355086"/>
                <a:gd name="connsiteX18124" fmla="*/ 310229 w 3359086"/>
                <a:gd name="connsiteY18124" fmla="*/ 1074706 h 3355086"/>
                <a:gd name="connsiteX18125" fmla="*/ 316420 w 3359086"/>
                <a:gd name="connsiteY18125" fmla="*/ 1068515 h 3355086"/>
                <a:gd name="connsiteX18126" fmla="*/ 3145345 w 3359086"/>
                <a:gd name="connsiteY18126" fmla="*/ 1068420 h 3355086"/>
                <a:gd name="connsiteX18127" fmla="*/ 3151536 w 3359086"/>
                <a:gd name="connsiteY18127" fmla="*/ 1074611 h 3355086"/>
                <a:gd name="connsiteX18128" fmla="*/ 3145345 w 3359086"/>
                <a:gd name="connsiteY18128" fmla="*/ 1080802 h 3355086"/>
                <a:gd name="connsiteX18129" fmla="*/ 3139154 w 3359086"/>
                <a:gd name="connsiteY18129" fmla="*/ 1074611 h 3355086"/>
                <a:gd name="connsiteX18130" fmla="*/ 3145345 w 3359086"/>
                <a:gd name="connsiteY18130" fmla="*/ 1068420 h 3355086"/>
                <a:gd name="connsiteX18131" fmla="*/ 2859023 w 3359086"/>
                <a:gd name="connsiteY18131" fmla="*/ 1067086 h 3355086"/>
                <a:gd name="connsiteX18132" fmla="*/ 2865214 w 3359086"/>
                <a:gd name="connsiteY18132" fmla="*/ 1073277 h 3355086"/>
                <a:gd name="connsiteX18133" fmla="*/ 2859023 w 3359086"/>
                <a:gd name="connsiteY18133" fmla="*/ 1079469 h 3355086"/>
                <a:gd name="connsiteX18134" fmla="*/ 2852832 w 3359086"/>
                <a:gd name="connsiteY18134" fmla="*/ 1073277 h 3355086"/>
                <a:gd name="connsiteX18135" fmla="*/ 2859023 w 3359086"/>
                <a:gd name="connsiteY18135" fmla="*/ 1067086 h 3355086"/>
                <a:gd name="connsiteX18136" fmla="*/ 3208115 w 3359086"/>
                <a:gd name="connsiteY18136" fmla="*/ 1062800 h 3355086"/>
                <a:gd name="connsiteX18137" fmla="*/ 3214306 w 3359086"/>
                <a:gd name="connsiteY18137" fmla="*/ 1068991 h 3355086"/>
                <a:gd name="connsiteX18138" fmla="*/ 3208115 w 3359086"/>
                <a:gd name="connsiteY18138" fmla="*/ 1075183 h 3355086"/>
                <a:gd name="connsiteX18139" fmla="*/ 3206305 w 3359086"/>
                <a:gd name="connsiteY18139" fmla="*/ 1073373 h 3355086"/>
                <a:gd name="connsiteX18140" fmla="*/ 3200685 w 3359086"/>
                <a:gd name="connsiteY18140" fmla="*/ 1078992 h 3355086"/>
                <a:gd name="connsiteX18141" fmla="*/ 3199351 w 3359086"/>
                <a:gd name="connsiteY18141" fmla="*/ 1077658 h 3355086"/>
                <a:gd name="connsiteX18142" fmla="*/ 3194684 w 3359086"/>
                <a:gd name="connsiteY18142" fmla="*/ 1082326 h 3355086"/>
                <a:gd name="connsiteX18143" fmla="*/ 3193160 w 3359086"/>
                <a:gd name="connsiteY18143" fmla="*/ 1080802 h 3355086"/>
                <a:gd name="connsiteX18144" fmla="*/ 3187922 w 3359086"/>
                <a:gd name="connsiteY18144" fmla="*/ 1086041 h 3355086"/>
                <a:gd name="connsiteX18145" fmla="*/ 3181731 w 3359086"/>
                <a:gd name="connsiteY18145" fmla="*/ 1079849 h 3355086"/>
                <a:gd name="connsiteX18146" fmla="*/ 3187922 w 3359086"/>
                <a:gd name="connsiteY18146" fmla="*/ 1073658 h 3355086"/>
                <a:gd name="connsiteX18147" fmla="*/ 3189446 w 3359086"/>
                <a:gd name="connsiteY18147" fmla="*/ 1075182 h 3355086"/>
                <a:gd name="connsiteX18148" fmla="*/ 3194684 w 3359086"/>
                <a:gd name="connsiteY18148" fmla="*/ 1069943 h 3355086"/>
                <a:gd name="connsiteX18149" fmla="*/ 3196018 w 3359086"/>
                <a:gd name="connsiteY18149" fmla="*/ 1071277 h 3355086"/>
                <a:gd name="connsiteX18150" fmla="*/ 3200685 w 3359086"/>
                <a:gd name="connsiteY18150" fmla="*/ 1066610 h 3355086"/>
                <a:gd name="connsiteX18151" fmla="*/ 3202495 w 3359086"/>
                <a:gd name="connsiteY18151" fmla="*/ 1068420 h 3355086"/>
                <a:gd name="connsiteX18152" fmla="*/ 3165347 w 3359086"/>
                <a:gd name="connsiteY18152" fmla="*/ 1061085 h 3355086"/>
                <a:gd name="connsiteX18153" fmla="*/ 3171538 w 3359086"/>
                <a:gd name="connsiteY18153" fmla="*/ 1067276 h 3355086"/>
                <a:gd name="connsiteX18154" fmla="*/ 3165347 w 3359086"/>
                <a:gd name="connsiteY18154" fmla="*/ 1073468 h 3355086"/>
                <a:gd name="connsiteX18155" fmla="*/ 3159156 w 3359086"/>
                <a:gd name="connsiteY18155" fmla="*/ 1067276 h 3355086"/>
                <a:gd name="connsiteX18156" fmla="*/ 3165347 w 3359086"/>
                <a:gd name="connsiteY18156" fmla="*/ 1061085 h 3355086"/>
                <a:gd name="connsiteX18157" fmla="*/ 3089433 w 3359086"/>
                <a:gd name="connsiteY18157" fmla="*/ 1060895 h 3355086"/>
                <a:gd name="connsiteX18158" fmla="*/ 3095624 w 3359086"/>
                <a:gd name="connsiteY18158" fmla="*/ 1067086 h 3355086"/>
                <a:gd name="connsiteX18159" fmla="*/ 3089433 w 3359086"/>
                <a:gd name="connsiteY18159" fmla="*/ 1073277 h 3355086"/>
                <a:gd name="connsiteX18160" fmla="*/ 3083242 w 3359086"/>
                <a:gd name="connsiteY18160" fmla="*/ 1067086 h 3355086"/>
                <a:gd name="connsiteX18161" fmla="*/ 3089433 w 3359086"/>
                <a:gd name="connsiteY18161" fmla="*/ 1060895 h 3355086"/>
                <a:gd name="connsiteX18162" fmla="*/ 800576 w 3359086"/>
                <a:gd name="connsiteY18162" fmla="*/ 1060037 h 3355086"/>
                <a:gd name="connsiteX18163" fmla="*/ 806767 w 3359086"/>
                <a:gd name="connsiteY18163" fmla="*/ 1066228 h 3355086"/>
                <a:gd name="connsiteX18164" fmla="*/ 800576 w 3359086"/>
                <a:gd name="connsiteY18164" fmla="*/ 1072420 h 3355086"/>
                <a:gd name="connsiteX18165" fmla="*/ 794385 w 3359086"/>
                <a:gd name="connsiteY18165" fmla="*/ 1066228 h 3355086"/>
                <a:gd name="connsiteX18166" fmla="*/ 800576 w 3359086"/>
                <a:gd name="connsiteY18166" fmla="*/ 1060037 h 3355086"/>
                <a:gd name="connsiteX18167" fmla="*/ 2998565 w 3359086"/>
                <a:gd name="connsiteY18167" fmla="*/ 1059275 h 3355086"/>
                <a:gd name="connsiteX18168" fmla="*/ 3004756 w 3359086"/>
                <a:gd name="connsiteY18168" fmla="*/ 1065466 h 3355086"/>
                <a:gd name="connsiteX18169" fmla="*/ 2998565 w 3359086"/>
                <a:gd name="connsiteY18169" fmla="*/ 1071658 h 3355086"/>
                <a:gd name="connsiteX18170" fmla="*/ 2992374 w 3359086"/>
                <a:gd name="connsiteY18170" fmla="*/ 1065466 h 3355086"/>
                <a:gd name="connsiteX18171" fmla="*/ 2998565 w 3359086"/>
                <a:gd name="connsiteY18171" fmla="*/ 1059275 h 3355086"/>
                <a:gd name="connsiteX18172" fmla="*/ 196500 w 3359086"/>
                <a:gd name="connsiteY18172" fmla="*/ 1058323 h 3355086"/>
                <a:gd name="connsiteX18173" fmla="*/ 202692 w 3359086"/>
                <a:gd name="connsiteY18173" fmla="*/ 1064514 h 3355086"/>
                <a:gd name="connsiteX18174" fmla="*/ 196500 w 3359086"/>
                <a:gd name="connsiteY18174" fmla="*/ 1070706 h 3355086"/>
                <a:gd name="connsiteX18175" fmla="*/ 190309 w 3359086"/>
                <a:gd name="connsiteY18175" fmla="*/ 1064514 h 3355086"/>
                <a:gd name="connsiteX18176" fmla="*/ 196500 w 3359086"/>
                <a:gd name="connsiteY18176" fmla="*/ 1058323 h 3355086"/>
                <a:gd name="connsiteX18177" fmla="*/ 3218687 w 3359086"/>
                <a:gd name="connsiteY18177" fmla="*/ 1057942 h 3355086"/>
                <a:gd name="connsiteX18178" fmla="*/ 3224879 w 3359086"/>
                <a:gd name="connsiteY18178" fmla="*/ 1064133 h 3355086"/>
                <a:gd name="connsiteX18179" fmla="*/ 3218687 w 3359086"/>
                <a:gd name="connsiteY18179" fmla="*/ 1070325 h 3355086"/>
                <a:gd name="connsiteX18180" fmla="*/ 3212496 w 3359086"/>
                <a:gd name="connsiteY18180" fmla="*/ 1064133 h 3355086"/>
                <a:gd name="connsiteX18181" fmla="*/ 3218687 w 3359086"/>
                <a:gd name="connsiteY18181" fmla="*/ 1057942 h 3355086"/>
                <a:gd name="connsiteX18182" fmla="*/ 118586 w 3359086"/>
                <a:gd name="connsiteY18182" fmla="*/ 1057656 h 3355086"/>
                <a:gd name="connsiteX18183" fmla="*/ 118681 w 3359086"/>
                <a:gd name="connsiteY18183" fmla="*/ 1057656 h 3355086"/>
                <a:gd name="connsiteX18184" fmla="*/ 118681 w 3359086"/>
                <a:gd name="connsiteY18184" fmla="*/ 1057751 h 3355086"/>
                <a:gd name="connsiteX18185" fmla="*/ 502919 w 3359086"/>
                <a:gd name="connsiteY18185" fmla="*/ 1056418 h 3355086"/>
                <a:gd name="connsiteX18186" fmla="*/ 509110 w 3359086"/>
                <a:gd name="connsiteY18186" fmla="*/ 1062609 h 3355086"/>
                <a:gd name="connsiteX18187" fmla="*/ 502919 w 3359086"/>
                <a:gd name="connsiteY18187" fmla="*/ 1068800 h 3355086"/>
                <a:gd name="connsiteX18188" fmla="*/ 496728 w 3359086"/>
                <a:gd name="connsiteY18188" fmla="*/ 1062609 h 3355086"/>
                <a:gd name="connsiteX18189" fmla="*/ 502919 w 3359086"/>
                <a:gd name="connsiteY18189" fmla="*/ 1056418 h 3355086"/>
                <a:gd name="connsiteX18190" fmla="*/ 128777 w 3359086"/>
                <a:gd name="connsiteY18190" fmla="*/ 1055751 h 3355086"/>
                <a:gd name="connsiteX18191" fmla="*/ 133921 w 3359086"/>
                <a:gd name="connsiteY18191" fmla="*/ 1060894 h 3355086"/>
                <a:gd name="connsiteX18192" fmla="*/ 136016 w 3359086"/>
                <a:gd name="connsiteY18192" fmla="*/ 1058799 h 3355086"/>
                <a:gd name="connsiteX18193" fmla="*/ 140445 w 3359086"/>
                <a:gd name="connsiteY18193" fmla="*/ 1063228 h 3355086"/>
                <a:gd name="connsiteX18194" fmla="*/ 142207 w 3359086"/>
                <a:gd name="connsiteY18194" fmla="*/ 1061466 h 3355086"/>
                <a:gd name="connsiteX18195" fmla="*/ 147494 w 3359086"/>
                <a:gd name="connsiteY18195" fmla="*/ 1066753 h 3355086"/>
                <a:gd name="connsiteX18196" fmla="*/ 149542 w 3359086"/>
                <a:gd name="connsiteY18196" fmla="*/ 1064705 h 3355086"/>
                <a:gd name="connsiteX18197" fmla="*/ 155734 w 3359086"/>
                <a:gd name="connsiteY18197" fmla="*/ 1070896 h 3355086"/>
                <a:gd name="connsiteX18198" fmla="*/ 149542 w 3359086"/>
                <a:gd name="connsiteY18198" fmla="*/ 1077088 h 3355086"/>
                <a:gd name="connsiteX18199" fmla="*/ 144255 w 3359086"/>
                <a:gd name="connsiteY18199" fmla="*/ 1071801 h 3355086"/>
                <a:gd name="connsiteX18200" fmla="*/ 142207 w 3359086"/>
                <a:gd name="connsiteY18200" fmla="*/ 1073849 h 3355086"/>
                <a:gd name="connsiteX18201" fmla="*/ 137778 w 3359086"/>
                <a:gd name="connsiteY18201" fmla="*/ 1069420 h 3355086"/>
                <a:gd name="connsiteX18202" fmla="*/ 136016 w 3359086"/>
                <a:gd name="connsiteY18202" fmla="*/ 1071181 h 3355086"/>
                <a:gd name="connsiteX18203" fmla="*/ 130872 w 3359086"/>
                <a:gd name="connsiteY18203" fmla="*/ 1066038 h 3355086"/>
                <a:gd name="connsiteX18204" fmla="*/ 128777 w 3359086"/>
                <a:gd name="connsiteY18204" fmla="*/ 1068133 h 3355086"/>
                <a:gd name="connsiteX18205" fmla="*/ 122586 w 3359086"/>
                <a:gd name="connsiteY18205" fmla="*/ 1061942 h 3355086"/>
                <a:gd name="connsiteX18206" fmla="*/ 128777 w 3359086"/>
                <a:gd name="connsiteY18206" fmla="*/ 1055751 h 3355086"/>
                <a:gd name="connsiteX18207" fmla="*/ 3233737 w 3359086"/>
                <a:gd name="connsiteY18207" fmla="*/ 1052227 h 3355086"/>
                <a:gd name="connsiteX18208" fmla="*/ 3239071 w 3359086"/>
                <a:gd name="connsiteY18208" fmla="*/ 1057561 h 3355086"/>
                <a:gd name="connsiteX18209" fmla="*/ 3233737 w 3359086"/>
                <a:gd name="connsiteY18209" fmla="*/ 1062895 h 3355086"/>
                <a:gd name="connsiteX18210" fmla="*/ 3228403 w 3359086"/>
                <a:gd name="connsiteY18210" fmla="*/ 1057561 h 3355086"/>
                <a:gd name="connsiteX18211" fmla="*/ 3233737 w 3359086"/>
                <a:gd name="connsiteY18211" fmla="*/ 1052227 h 3355086"/>
                <a:gd name="connsiteX18212" fmla="*/ 2491073 w 3359086"/>
                <a:gd name="connsiteY18212" fmla="*/ 1051370 h 3355086"/>
                <a:gd name="connsiteX18213" fmla="*/ 2497264 w 3359086"/>
                <a:gd name="connsiteY18213" fmla="*/ 1057561 h 3355086"/>
                <a:gd name="connsiteX18214" fmla="*/ 2491073 w 3359086"/>
                <a:gd name="connsiteY18214" fmla="*/ 1063752 h 3355086"/>
                <a:gd name="connsiteX18215" fmla="*/ 2484882 w 3359086"/>
                <a:gd name="connsiteY18215" fmla="*/ 1057561 h 3355086"/>
                <a:gd name="connsiteX18216" fmla="*/ 2491073 w 3359086"/>
                <a:gd name="connsiteY18216" fmla="*/ 1051370 h 3355086"/>
                <a:gd name="connsiteX18217" fmla="*/ 174307 w 3359086"/>
                <a:gd name="connsiteY18217" fmla="*/ 1051275 h 3355086"/>
                <a:gd name="connsiteX18218" fmla="*/ 180499 w 3359086"/>
                <a:gd name="connsiteY18218" fmla="*/ 1057466 h 3355086"/>
                <a:gd name="connsiteX18219" fmla="*/ 174307 w 3359086"/>
                <a:gd name="connsiteY18219" fmla="*/ 1063658 h 3355086"/>
                <a:gd name="connsiteX18220" fmla="*/ 168116 w 3359086"/>
                <a:gd name="connsiteY18220" fmla="*/ 1057466 h 3355086"/>
                <a:gd name="connsiteX18221" fmla="*/ 174307 w 3359086"/>
                <a:gd name="connsiteY18221" fmla="*/ 1051275 h 3355086"/>
                <a:gd name="connsiteX18222" fmla="*/ 257079 w 3359086"/>
                <a:gd name="connsiteY18222" fmla="*/ 1050322 h 3355086"/>
                <a:gd name="connsiteX18223" fmla="*/ 263270 w 3359086"/>
                <a:gd name="connsiteY18223" fmla="*/ 1056513 h 3355086"/>
                <a:gd name="connsiteX18224" fmla="*/ 257079 w 3359086"/>
                <a:gd name="connsiteY18224" fmla="*/ 1062704 h 3355086"/>
                <a:gd name="connsiteX18225" fmla="*/ 250888 w 3359086"/>
                <a:gd name="connsiteY18225" fmla="*/ 1056513 h 3355086"/>
                <a:gd name="connsiteX18226" fmla="*/ 257079 w 3359086"/>
                <a:gd name="connsiteY18226" fmla="*/ 1050322 h 3355086"/>
                <a:gd name="connsiteX18227" fmla="*/ 3199351 w 3359086"/>
                <a:gd name="connsiteY18227" fmla="*/ 1049465 h 3355086"/>
                <a:gd name="connsiteX18228" fmla="*/ 3205543 w 3359086"/>
                <a:gd name="connsiteY18228" fmla="*/ 1055656 h 3355086"/>
                <a:gd name="connsiteX18229" fmla="*/ 3199351 w 3359086"/>
                <a:gd name="connsiteY18229" fmla="*/ 1061848 h 3355086"/>
                <a:gd name="connsiteX18230" fmla="*/ 3197018 w 3359086"/>
                <a:gd name="connsiteY18230" fmla="*/ 1059515 h 3355086"/>
                <a:gd name="connsiteX18231" fmla="*/ 3192208 w 3359086"/>
                <a:gd name="connsiteY18231" fmla="*/ 1064324 h 3355086"/>
                <a:gd name="connsiteX18232" fmla="*/ 3190017 w 3359086"/>
                <a:gd name="connsiteY18232" fmla="*/ 1062133 h 3355086"/>
                <a:gd name="connsiteX18233" fmla="*/ 3185731 w 3359086"/>
                <a:gd name="connsiteY18233" fmla="*/ 1066419 h 3355086"/>
                <a:gd name="connsiteX18234" fmla="*/ 3183064 w 3359086"/>
                <a:gd name="connsiteY18234" fmla="*/ 1063752 h 3355086"/>
                <a:gd name="connsiteX18235" fmla="*/ 3177730 w 3359086"/>
                <a:gd name="connsiteY18235" fmla="*/ 1069087 h 3355086"/>
                <a:gd name="connsiteX18236" fmla="*/ 3171539 w 3359086"/>
                <a:gd name="connsiteY18236" fmla="*/ 1062895 h 3355086"/>
                <a:gd name="connsiteX18237" fmla="*/ 3177730 w 3359086"/>
                <a:gd name="connsiteY18237" fmla="*/ 1056704 h 3355086"/>
                <a:gd name="connsiteX18238" fmla="*/ 3180397 w 3359086"/>
                <a:gd name="connsiteY18238" fmla="*/ 1059371 h 3355086"/>
                <a:gd name="connsiteX18239" fmla="*/ 3185731 w 3359086"/>
                <a:gd name="connsiteY18239" fmla="*/ 1054037 h 3355086"/>
                <a:gd name="connsiteX18240" fmla="*/ 3187921 w 3359086"/>
                <a:gd name="connsiteY18240" fmla="*/ 1056228 h 3355086"/>
                <a:gd name="connsiteX18241" fmla="*/ 3192208 w 3359086"/>
                <a:gd name="connsiteY18241" fmla="*/ 1051941 h 3355086"/>
                <a:gd name="connsiteX18242" fmla="*/ 3194542 w 3359086"/>
                <a:gd name="connsiteY18242" fmla="*/ 1054275 h 3355086"/>
                <a:gd name="connsiteX18243" fmla="*/ 3126676 w 3359086"/>
                <a:gd name="connsiteY18243" fmla="*/ 1049370 h 3355086"/>
                <a:gd name="connsiteX18244" fmla="*/ 3132868 w 3359086"/>
                <a:gd name="connsiteY18244" fmla="*/ 1055561 h 3355086"/>
                <a:gd name="connsiteX18245" fmla="*/ 3126676 w 3359086"/>
                <a:gd name="connsiteY18245" fmla="*/ 1061752 h 3355086"/>
                <a:gd name="connsiteX18246" fmla="*/ 3120485 w 3359086"/>
                <a:gd name="connsiteY18246" fmla="*/ 1055561 h 3355086"/>
                <a:gd name="connsiteX18247" fmla="*/ 3126676 w 3359086"/>
                <a:gd name="connsiteY18247" fmla="*/ 1049370 h 3355086"/>
                <a:gd name="connsiteX18248" fmla="*/ 354520 w 3359086"/>
                <a:gd name="connsiteY18248" fmla="*/ 1048417 h 3355086"/>
                <a:gd name="connsiteX18249" fmla="*/ 360711 w 3359086"/>
                <a:gd name="connsiteY18249" fmla="*/ 1054608 h 3355086"/>
                <a:gd name="connsiteX18250" fmla="*/ 354520 w 3359086"/>
                <a:gd name="connsiteY18250" fmla="*/ 1060800 h 3355086"/>
                <a:gd name="connsiteX18251" fmla="*/ 348329 w 3359086"/>
                <a:gd name="connsiteY18251" fmla="*/ 1054608 h 3355086"/>
                <a:gd name="connsiteX18252" fmla="*/ 354520 w 3359086"/>
                <a:gd name="connsiteY18252" fmla="*/ 1048417 h 3355086"/>
                <a:gd name="connsiteX18253" fmla="*/ 2802254 w 3359086"/>
                <a:gd name="connsiteY18253" fmla="*/ 1046988 h 3355086"/>
                <a:gd name="connsiteX18254" fmla="*/ 2808446 w 3359086"/>
                <a:gd name="connsiteY18254" fmla="*/ 1053179 h 3355086"/>
                <a:gd name="connsiteX18255" fmla="*/ 2802254 w 3359086"/>
                <a:gd name="connsiteY18255" fmla="*/ 1059370 h 3355086"/>
                <a:gd name="connsiteX18256" fmla="*/ 2796063 w 3359086"/>
                <a:gd name="connsiteY18256" fmla="*/ 1053179 h 3355086"/>
                <a:gd name="connsiteX18257" fmla="*/ 2802254 w 3359086"/>
                <a:gd name="connsiteY18257" fmla="*/ 1046988 h 3355086"/>
                <a:gd name="connsiteX18258" fmla="*/ 3209067 w 3359086"/>
                <a:gd name="connsiteY18258" fmla="*/ 1045845 h 3355086"/>
                <a:gd name="connsiteX18259" fmla="*/ 3215258 w 3359086"/>
                <a:gd name="connsiteY18259" fmla="*/ 1052036 h 3355086"/>
                <a:gd name="connsiteX18260" fmla="*/ 3209067 w 3359086"/>
                <a:gd name="connsiteY18260" fmla="*/ 1058227 h 3355086"/>
                <a:gd name="connsiteX18261" fmla="*/ 3202876 w 3359086"/>
                <a:gd name="connsiteY18261" fmla="*/ 1052036 h 3355086"/>
                <a:gd name="connsiteX18262" fmla="*/ 3209067 w 3359086"/>
                <a:gd name="connsiteY18262" fmla="*/ 1045845 h 3355086"/>
                <a:gd name="connsiteX18263" fmla="*/ 3150965 w 3359086"/>
                <a:gd name="connsiteY18263" fmla="*/ 1042607 h 3355086"/>
                <a:gd name="connsiteX18264" fmla="*/ 3157156 w 3359086"/>
                <a:gd name="connsiteY18264" fmla="*/ 1048798 h 3355086"/>
                <a:gd name="connsiteX18265" fmla="*/ 3150965 w 3359086"/>
                <a:gd name="connsiteY18265" fmla="*/ 1054990 h 3355086"/>
                <a:gd name="connsiteX18266" fmla="*/ 3144774 w 3359086"/>
                <a:gd name="connsiteY18266" fmla="*/ 1048798 h 3355086"/>
                <a:gd name="connsiteX18267" fmla="*/ 3150965 w 3359086"/>
                <a:gd name="connsiteY18267" fmla="*/ 1042607 h 3355086"/>
                <a:gd name="connsiteX18268" fmla="*/ 137540 w 3359086"/>
                <a:gd name="connsiteY18268" fmla="*/ 1041940 h 3355086"/>
                <a:gd name="connsiteX18269" fmla="*/ 141970 w 3359086"/>
                <a:gd name="connsiteY18269" fmla="*/ 1046369 h 3355086"/>
                <a:gd name="connsiteX18270" fmla="*/ 144589 w 3359086"/>
                <a:gd name="connsiteY18270" fmla="*/ 1043750 h 3355086"/>
                <a:gd name="connsiteX18271" fmla="*/ 148780 w 3359086"/>
                <a:gd name="connsiteY18271" fmla="*/ 1047941 h 3355086"/>
                <a:gd name="connsiteX18272" fmla="*/ 151447 w 3359086"/>
                <a:gd name="connsiteY18272" fmla="*/ 1045274 h 3355086"/>
                <a:gd name="connsiteX18273" fmla="*/ 156971 w 3359086"/>
                <a:gd name="connsiteY18273" fmla="*/ 1050798 h 3355086"/>
                <a:gd name="connsiteX18274" fmla="*/ 160400 w 3359086"/>
                <a:gd name="connsiteY18274" fmla="*/ 1047369 h 3355086"/>
                <a:gd name="connsiteX18275" fmla="*/ 166591 w 3359086"/>
                <a:gd name="connsiteY18275" fmla="*/ 1053560 h 3355086"/>
                <a:gd name="connsiteX18276" fmla="*/ 160400 w 3359086"/>
                <a:gd name="connsiteY18276" fmla="*/ 1059752 h 3355086"/>
                <a:gd name="connsiteX18277" fmla="*/ 154876 w 3359086"/>
                <a:gd name="connsiteY18277" fmla="*/ 1054227 h 3355086"/>
                <a:gd name="connsiteX18278" fmla="*/ 151447 w 3359086"/>
                <a:gd name="connsiteY18278" fmla="*/ 1057656 h 3355086"/>
                <a:gd name="connsiteX18279" fmla="*/ 147256 w 3359086"/>
                <a:gd name="connsiteY18279" fmla="*/ 1053466 h 3355086"/>
                <a:gd name="connsiteX18280" fmla="*/ 144589 w 3359086"/>
                <a:gd name="connsiteY18280" fmla="*/ 1056133 h 3355086"/>
                <a:gd name="connsiteX18281" fmla="*/ 140160 w 3359086"/>
                <a:gd name="connsiteY18281" fmla="*/ 1051703 h 3355086"/>
                <a:gd name="connsiteX18282" fmla="*/ 137540 w 3359086"/>
                <a:gd name="connsiteY18282" fmla="*/ 1054323 h 3355086"/>
                <a:gd name="connsiteX18283" fmla="*/ 131349 w 3359086"/>
                <a:gd name="connsiteY18283" fmla="*/ 1048131 h 3355086"/>
                <a:gd name="connsiteX18284" fmla="*/ 137540 w 3359086"/>
                <a:gd name="connsiteY18284" fmla="*/ 1041940 h 3355086"/>
                <a:gd name="connsiteX18285" fmla="*/ 889634 w 3359086"/>
                <a:gd name="connsiteY18285" fmla="*/ 1041559 h 3355086"/>
                <a:gd name="connsiteX18286" fmla="*/ 895826 w 3359086"/>
                <a:gd name="connsiteY18286" fmla="*/ 1047750 h 3355086"/>
                <a:gd name="connsiteX18287" fmla="*/ 889634 w 3359086"/>
                <a:gd name="connsiteY18287" fmla="*/ 1053942 h 3355086"/>
                <a:gd name="connsiteX18288" fmla="*/ 883443 w 3359086"/>
                <a:gd name="connsiteY18288" fmla="*/ 1047750 h 3355086"/>
                <a:gd name="connsiteX18289" fmla="*/ 889634 w 3359086"/>
                <a:gd name="connsiteY18289" fmla="*/ 1041559 h 3355086"/>
                <a:gd name="connsiteX18290" fmla="*/ 3061906 w 3359086"/>
                <a:gd name="connsiteY18290" fmla="*/ 1040987 h 3355086"/>
                <a:gd name="connsiteX18291" fmla="*/ 3068097 w 3359086"/>
                <a:gd name="connsiteY18291" fmla="*/ 1047178 h 3355086"/>
                <a:gd name="connsiteX18292" fmla="*/ 3061906 w 3359086"/>
                <a:gd name="connsiteY18292" fmla="*/ 1053370 h 3355086"/>
                <a:gd name="connsiteX18293" fmla="*/ 3055715 w 3359086"/>
                <a:gd name="connsiteY18293" fmla="*/ 1047178 h 3355086"/>
                <a:gd name="connsiteX18294" fmla="*/ 3061906 w 3359086"/>
                <a:gd name="connsiteY18294" fmla="*/ 1040987 h 3355086"/>
                <a:gd name="connsiteX18295" fmla="*/ 3222688 w 3359086"/>
                <a:gd name="connsiteY18295" fmla="*/ 1040702 h 3355086"/>
                <a:gd name="connsiteX18296" fmla="*/ 3228879 w 3359086"/>
                <a:gd name="connsiteY18296" fmla="*/ 1046893 h 3355086"/>
                <a:gd name="connsiteX18297" fmla="*/ 3222688 w 3359086"/>
                <a:gd name="connsiteY18297" fmla="*/ 1053085 h 3355086"/>
                <a:gd name="connsiteX18298" fmla="*/ 3216497 w 3359086"/>
                <a:gd name="connsiteY18298" fmla="*/ 1046893 h 3355086"/>
                <a:gd name="connsiteX18299" fmla="*/ 3222688 w 3359086"/>
                <a:gd name="connsiteY18299" fmla="*/ 1040702 h 3355086"/>
                <a:gd name="connsiteX18300" fmla="*/ 128206 w 3359086"/>
                <a:gd name="connsiteY18300" fmla="*/ 1040416 h 3355086"/>
                <a:gd name="connsiteX18301" fmla="*/ 133064 w 3359086"/>
                <a:gd name="connsiteY18301" fmla="*/ 1045274 h 3355086"/>
                <a:gd name="connsiteX18302" fmla="*/ 128206 w 3359086"/>
                <a:gd name="connsiteY18302" fmla="*/ 1050132 h 3355086"/>
                <a:gd name="connsiteX18303" fmla="*/ 123348 w 3359086"/>
                <a:gd name="connsiteY18303" fmla="*/ 1045274 h 3355086"/>
                <a:gd name="connsiteX18304" fmla="*/ 128206 w 3359086"/>
                <a:gd name="connsiteY18304" fmla="*/ 1040416 h 3355086"/>
                <a:gd name="connsiteX18305" fmla="*/ 2958559 w 3359086"/>
                <a:gd name="connsiteY18305" fmla="*/ 1038892 h 3355086"/>
                <a:gd name="connsiteX18306" fmla="*/ 2964751 w 3359086"/>
                <a:gd name="connsiteY18306" fmla="*/ 1045083 h 3355086"/>
                <a:gd name="connsiteX18307" fmla="*/ 2958559 w 3359086"/>
                <a:gd name="connsiteY18307" fmla="*/ 1051275 h 3355086"/>
                <a:gd name="connsiteX18308" fmla="*/ 2952368 w 3359086"/>
                <a:gd name="connsiteY18308" fmla="*/ 1045083 h 3355086"/>
                <a:gd name="connsiteX18309" fmla="*/ 2958559 w 3359086"/>
                <a:gd name="connsiteY18309" fmla="*/ 1038892 h 3355086"/>
                <a:gd name="connsiteX18310" fmla="*/ 216407 w 3359086"/>
                <a:gd name="connsiteY18310" fmla="*/ 1038892 h 3355086"/>
                <a:gd name="connsiteX18311" fmla="*/ 222599 w 3359086"/>
                <a:gd name="connsiteY18311" fmla="*/ 1045083 h 3355086"/>
                <a:gd name="connsiteX18312" fmla="*/ 216407 w 3359086"/>
                <a:gd name="connsiteY18312" fmla="*/ 1051275 h 3355086"/>
                <a:gd name="connsiteX18313" fmla="*/ 210216 w 3359086"/>
                <a:gd name="connsiteY18313" fmla="*/ 1045083 h 3355086"/>
                <a:gd name="connsiteX18314" fmla="*/ 216407 w 3359086"/>
                <a:gd name="connsiteY18314" fmla="*/ 1038892 h 3355086"/>
                <a:gd name="connsiteX18315" fmla="*/ 562641 w 3359086"/>
                <a:gd name="connsiteY18315" fmla="*/ 1036130 h 3355086"/>
                <a:gd name="connsiteX18316" fmla="*/ 568833 w 3359086"/>
                <a:gd name="connsiteY18316" fmla="*/ 1042321 h 3355086"/>
                <a:gd name="connsiteX18317" fmla="*/ 562641 w 3359086"/>
                <a:gd name="connsiteY18317" fmla="*/ 1048513 h 3355086"/>
                <a:gd name="connsiteX18318" fmla="*/ 556450 w 3359086"/>
                <a:gd name="connsiteY18318" fmla="*/ 1042321 h 3355086"/>
                <a:gd name="connsiteX18319" fmla="*/ 562641 w 3359086"/>
                <a:gd name="connsiteY18319" fmla="*/ 1036130 h 3355086"/>
                <a:gd name="connsiteX18320" fmla="*/ 3199542 w 3359086"/>
                <a:gd name="connsiteY18320" fmla="*/ 1033082 h 3355086"/>
                <a:gd name="connsiteX18321" fmla="*/ 3205733 w 3359086"/>
                <a:gd name="connsiteY18321" fmla="*/ 1039273 h 3355086"/>
                <a:gd name="connsiteX18322" fmla="*/ 3199542 w 3359086"/>
                <a:gd name="connsiteY18322" fmla="*/ 1045465 h 3355086"/>
                <a:gd name="connsiteX18323" fmla="*/ 3196161 w 3359086"/>
                <a:gd name="connsiteY18323" fmla="*/ 1042084 h 3355086"/>
                <a:gd name="connsiteX18324" fmla="*/ 3190589 w 3359086"/>
                <a:gd name="connsiteY18324" fmla="*/ 1047656 h 3355086"/>
                <a:gd name="connsiteX18325" fmla="*/ 3187636 w 3359086"/>
                <a:gd name="connsiteY18325" fmla="*/ 1044703 h 3355086"/>
                <a:gd name="connsiteX18326" fmla="*/ 3183445 w 3359086"/>
                <a:gd name="connsiteY18326" fmla="*/ 1048894 h 3355086"/>
                <a:gd name="connsiteX18327" fmla="*/ 3180254 w 3359086"/>
                <a:gd name="connsiteY18327" fmla="*/ 1045702 h 3355086"/>
                <a:gd name="connsiteX18328" fmla="*/ 3176110 w 3359086"/>
                <a:gd name="connsiteY18328" fmla="*/ 1049845 h 3355086"/>
                <a:gd name="connsiteX18329" fmla="*/ 3172015 w 3359086"/>
                <a:gd name="connsiteY18329" fmla="*/ 1045751 h 3355086"/>
                <a:gd name="connsiteX18330" fmla="*/ 3166300 w 3359086"/>
                <a:gd name="connsiteY18330" fmla="*/ 1051465 h 3355086"/>
                <a:gd name="connsiteX18331" fmla="*/ 3160109 w 3359086"/>
                <a:gd name="connsiteY18331" fmla="*/ 1045274 h 3355086"/>
                <a:gd name="connsiteX18332" fmla="*/ 3166300 w 3359086"/>
                <a:gd name="connsiteY18332" fmla="*/ 1039083 h 3355086"/>
                <a:gd name="connsiteX18333" fmla="*/ 3170395 w 3359086"/>
                <a:gd name="connsiteY18333" fmla="*/ 1043178 h 3355086"/>
                <a:gd name="connsiteX18334" fmla="*/ 3176110 w 3359086"/>
                <a:gd name="connsiteY18334" fmla="*/ 1037463 h 3355086"/>
                <a:gd name="connsiteX18335" fmla="*/ 3179302 w 3359086"/>
                <a:gd name="connsiteY18335" fmla="*/ 1040654 h 3355086"/>
                <a:gd name="connsiteX18336" fmla="*/ 3183445 w 3359086"/>
                <a:gd name="connsiteY18336" fmla="*/ 1036511 h 3355086"/>
                <a:gd name="connsiteX18337" fmla="*/ 3186398 w 3359086"/>
                <a:gd name="connsiteY18337" fmla="*/ 1039464 h 3355086"/>
                <a:gd name="connsiteX18338" fmla="*/ 3190589 w 3359086"/>
                <a:gd name="connsiteY18338" fmla="*/ 1035273 h 3355086"/>
                <a:gd name="connsiteX18339" fmla="*/ 3193970 w 3359086"/>
                <a:gd name="connsiteY18339" fmla="*/ 1038654 h 3355086"/>
                <a:gd name="connsiteX18340" fmla="*/ 2398680 w 3359086"/>
                <a:gd name="connsiteY18340" fmla="*/ 1033082 h 3355086"/>
                <a:gd name="connsiteX18341" fmla="*/ 2404872 w 3359086"/>
                <a:gd name="connsiteY18341" fmla="*/ 1039273 h 3355086"/>
                <a:gd name="connsiteX18342" fmla="*/ 2398680 w 3359086"/>
                <a:gd name="connsiteY18342" fmla="*/ 1045465 h 3355086"/>
                <a:gd name="connsiteX18343" fmla="*/ 2392489 w 3359086"/>
                <a:gd name="connsiteY18343" fmla="*/ 1039273 h 3355086"/>
                <a:gd name="connsiteX18344" fmla="*/ 2398680 w 3359086"/>
                <a:gd name="connsiteY18344" fmla="*/ 1033082 h 3355086"/>
                <a:gd name="connsiteX18345" fmla="*/ 189547 w 3359086"/>
                <a:gd name="connsiteY18345" fmla="*/ 1032415 h 3355086"/>
                <a:gd name="connsiteX18346" fmla="*/ 195738 w 3359086"/>
                <a:gd name="connsiteY18346" fmla="*/ 1038606 h 3355086"/>
                <a:gd name="connsiteX18347" fmla="*/ 189547 w 3359086"/>
                <a:gd name="connsiteY18347" fmla="*/ 1044798 h 3355086"/>
                <a:gd name="connsiteX18348" fmla="*/ 183356 w 3359086"/>
                <a:gd name="connsiteY18348" fmla="*/ 1038606 h 3355086"/>
                <a:gd name="connsiteX18349" fmla="*/ 189547 w 3359086"/>
                <a:gd name="connsiteY18349" fmla="*/ 1032415 h 3355086"/>
                <a:gd name="connsiteX18350" fmla="*/ 286416 w 3359086"/>
                <a:gd name="connsiteY18350" fmla="*/ 1030034 h 3355086"/>
                <a:gd name="connsiteX18351" fmla="*/ 292607 w 3359086"/>
                <a:gd name="connsiteY18351" fmla="*/ 1036225 h 3355086"/>
                <a:gd name="connsiteX18352" fmla="*/ 286416 w 3359086"/>
                <a:gd name="connsiteY18352" fmla="*/ 1042417 h 3355086"/>
                <a:gd name="connsiteX18353" fmla="*/ 280225 w 3359086"/>
                <a:gd name="connsiteY18353" fmla="*/ 1036225 h 3355086"/>
                <a:gd name="connsiteX18354" fmla="*/ 286416 w 3359086"/>
                <a:gd name="connsiteY18354" fmla="*/ 1030034 h 3355086"/>
                <a:gd name="connsiteX18355" fmla="*/ 3105625 w 3359086"/>
                <a:gd name="connsiteY18355" fmla="*/ 1029653 h 3355086"/>
                <a:gd name="connsiteX18356" fmla="*/ 3111817 w 3359086"/>
                <a:gd name="connsiteY18356" fmla="*/ 1035844 h 3355086"/>
                <a:gd name="connsiteX18357" fmla="*/ 3105625 w 3359086"/>
                <a:gd name="connsiteY18357" fmla="*/ 1042036 h 3355086"/>
                <a:gd name="connsiteX18358" fmla="*/ 3099434 w 3359086"/>
                <a:gd name="connsiteY18358" fmla="*/ 1035844 h 3355086"/>
                <a:gd name="connsiteX18359" fmla="*/ 3105625 w 3359086"/>
                <a:gd name="connsiteY18359" fmla="*/ 1029653 h 3355086"/>
                <a:gd name="connsiteX18360" fmla="*/ 3229165 w 3359086"/>
                <a:gd name="connsiteY18360" fmla="*/ 1029367 h 3355086"/>
                <a:gd name="connsiteX18361" fmla="*/ 3229356 w 3359086"/>
                <a:gd name="connsiteY18361" fmla="*/ 1029558 h 3355086"/>
                <a:gd name="connsiteX18362" fmla="*/ 3229165 w 3359086"/>
                <a:gd name="connsiteY18362" fmla="*/ 1029748 h 3355086"/>
                <a:gd name="connsiteX18363" fmla="*/ 3228975 w 3359086"/>
                <a:gd name="connsiteY18363" fmla="*/ 1029558 h 3355086"/>
                <a:gd name="connsiteX18364" fmla="*/ 3229165 w 3359086"/>
                <a:gd name="connsiteY18364" fmla="*/ 1029367 h 3355086"/>
                <a:gd name="connsiteX18365" fmla="*/ 3212020 w 3359086"/>
                <a:gd name="connsiteY18365" fmla="*/ 1029272 h 3355086"/>
                <a:gd name="connsiteX18366" fmla="*/ 3218211 w 3359086"/>
                <a:gd name="connsiteY18366" fmla="*/ 1035463 h 3355086"/>
                <a:gd name="connsiteX18367" fmla="*/ 3212020 w 3359086"/>
                <a:gd name="connsiteY18367" fmla="*/ 1041654 h 3355086"/>
                <a:gd name="connsiteX18368" fmla="*/ 3205829 w 3359086"/>
                <a:gd name="connsiteY18368" fmla="*/ 1035463 h 3355086"/>
                <a:gd name="connsiteX18369" fmla="*/ 3212020 w 3359086"/>
                <a:gd name="connsiteY18369" fmla="*/ 1029272 h 3355086"/>
                <a:gd name="connsiteX18370" fmla="*/ 396906 w 3359086"/>
                <a:gd name="connsiteY18370" fmla="*/ 1027748 h 3355086"/>
                <a:gd name="connsiteX18371" fmla="*/ 403097 w 3359086"/>
                <a:gd name="connsiteY18371" fmla="*/ 1033939 h 3355086"/>
                <a:gd name="connsiteX18372" fmla="*/ 396906 w 3359086"/>
                <a:gd name="connsiteY18372" fmla="*/ 1040131 h 3355086"/>
                <a:gd name="connsiteX18373" fmla="*/ 390715 w 3359086"/>
                <a:gd name="connsiteY18373" fmla="*/ 1033939 h 3355086"/>
                <a:gd name="connsiteX18374" fmla="*/ 396906 w 3359086"/>
                <a:gd name="connsiteY18374" fmla="*/ 1027748 h 3355086"/>
                <a:gd name="connsiteX18375" fmla="*/ 2739770 w 3359086"/>
                <a:gd name="connsiteY18375" fmla="*/ 1026700 h 3355086"/>
                <a:gd name="connsiteX18376" fmla="*/ 2745962 w 3359086"/>
                <a:gd name="connsiteY18376" fmla="*/ 1032891 h 3355086"/>
                <a:gd name="connsiteX18377" fmla="*/ 2739770 w 3359086"/>
                <a:gd name="connsiteY18377" fmla="*/ 1039083 h 3355086"/>
                <a:gd name="connsiteX18378" fmla="*/ 2733579 w 3359086"/>
                <a:gd name="connsiteY18378" fmla="*/ 1032891 h 3355086"/>
                <a:gd name="connsiteX18379" fmla="*/ 2739770 w 3359086"/>
                <a:gd name="connsiteY18379" fmla="*/ 1026700 h 3355086"/>
                <a:gd name="connsiteX18380" fmla="*/ 137636 w 3359086"/>
                <a:gd name="connsiteY18380" fmla="*/ 1025938 h 3355086"/>
                <a:gd name="connsiteX18381" fmla="*/ 142780 w 3359086"/>
                <a:gd name="connsiteY18381" fmla="*/ 1031081 h 3355086"/>
                <a:gd name="connsiteX18382" fmla="*/ 146399 w 3359086"/>
                <a:gd name="connsiteY18382" fmla="*/ 1027462 h 3355086"/>
                <a:gd name="connsiteX18383" fmla="*/ 150304 w 3359086"/>
                <a:gd name="connsiteY18383" fmla="*/ 1031367 h 3355086"/>
                <a:gd name="connsiteX18384" fmla="*/ 153733 w 3359086"/>
                <a:gd name="connsiteY18384" fmla="*/ 1027938 h 3355086"/>
                <a:gd name="connsiteX18385" fmla="*/ 157781 w 3359086"/>
                <a:gd name="connsiteY18385" fmla="*/ 1031986 h 3355086"/>
                <a:gd name="connsiteX18386" fmla="*/ 161543 w 3359086"/>
                <a:gd name="connsiteY18386" fmla="*/ 1028224 h 3355086"/>
                <a:gd name="connsiteX18387" fmla="*/ 167592 w 3359086"/>
                <a:gd name="connsiteY18387" fmla="*/ 1034272 h 3355086"/>
                <a:gd name="connsiteX18388" fmla="*/ 172497 w 3359086"/>
                <a:gd name="connsiteY18388" fmla="*/ 1029367 h 3355086"/>
                <a:gd name="connsiteX18389" fmla="*/ 178689 w 3359086"/>
                <a:gd name="connsiteY18389" fmla="*/ 1035558 h 3355086"/>
                <a:gd name="connsiteX18390" fmla="*/ 172497 w 3359086"/>
                <a:gd name="connsiteY18390" fmla="*/ 1041750 h 3355086"/>
                <a:gd name="connsiteX18391" fmla="*/ 166449 w 3359086"/>
                <a:gd name="connsiteY18391" fmla="*/ 1035701 h 3355086"/>
                <a:gd name="connsiteX18392" fmla="*/ 161543 w 3359086"/>
                <a:gd name="connsiteY18392" fmla="*/ 1040606 h 3355086"/>
                <a:gd name="connsiteX18393" fmla="*/ 157495 w 3359086"/>
                <a:gd name="connsiteY18393" fmla="*/ 1036559 h 3355086"/>
                <a:gd name="connsiteX18394" fmla="*/ 153733 w 3359086"/>
                <a:gd name="connsiteY18394" fmla="*/ 1040320 h 3355086"/>
                <a:gd name="connsiteX18395" fmla="*/ 149828 w 3359086"/>
                <a:gd name="connsiteY18395" fmla="*/ 1036416 h 3355086"/>
                <a:gd name="connsiteX18396" fmla="*/ 146399 w 3359086"/>
                <a:gd name="connsiteY18396" fmla="*/ 1039845 h 3355086"/>
                <a:gd name="connsiteX18397" fmla="*/ 141256 w 3359086"/>
                <a:gd name="connsiteY18397" fmla="*/ 1034701 h 3355086"/>
                <a:gd name="connsiteX18398" fmla="*/ 137636 w 3359086"/>
                <a:gd name="connsiteY18398" fmla="*/ 1038321 h 3355086"/>
                <a:gd name="connsiteX18399" fmla="*/ 131445 w 3359086"/>
                <a:gd name="connsiteY18399" fmla="*/ 1032129 h 3355086"/>
                <a:gd name="connsiteX18400" fmla="*/ 137636 w 3359086"/>
                <a:gd name="connsiteY18400" fmla="*/ 1025938 h 3355086"/>
                <a:gd name="connsiteX18401" fmla="*/ 986027 w 3359086"/>
                <a:gd name="connsiteY18401" fmla="*/ 1023557 h 3355086"/>
                <a:gd name="connsiteX18402" fmla="*/ 992218 w 3359086"/>
                <a:gd name="connsiteY18402" fmla="*/ 1029748 h 3355086"/>
                <a:gd name="connsiteX18403" fmla="*/ 986027 w 3359086"/>
                <a:gd name="connsiteY18403" fmla="*/ 1035940 h 3355086"/>
                <a:gd name="connsiteX18404" fmla="*/ 979836 w 3359086"/>
                <a:gd name="connsiteY18404" fmla="*/ 1029748 h 3355086"/>
                <a:gd name="connsiteX18405" fmla="*/ 986027 w 3359086"/>
                <a:gd name="connsiteY18405" fmla="*/ 1023557 h 3355086"/>
                <a:gd name="connsiteX18406" fmla="*/ 3134867 w 3359086"/>
                <a:gd name="connsiteY18406" fmla="*/ 1023462 h 3355086"/>
                <a:gd name="connsiteX18407" fmla="*/ 3141058 w 3359086"/>
                <a:gd name="connsiteY18407" fmla="*/ 1029653 h 3355086"/>
                <a:gd name="connsiteX18408" fmla="*/ 3134867 w 3359086"/>
                <a:gd name="connsiteY18408" fmla="*/ 1035844 h 3355086"/>
                <a:gd name="connsiteX18409" fmla="*/ 3128676 w 3359086"/>
                <a:gd name="connsiteY18409" fmla="*/ 1029653 h 3355086"/>
                <a:gd name="connsiteX18410" fmla="*/ 3134867 w 3359086"/>
                <a:gd name="connsiteY18410" fmla="*/ 1023462 h 3355086"/>
                <a:gd name="connsiteX18411" fmla="*/ 3153632 w 3359086"/>
                <a:gd name="connsiteY18411" fmla="*/ 1020699 h 3355086"/>
                <a:gd name="connsiteX18412" fmla="*/ 3159823 w 3359086"/>
                <a:gd name="connsiteY18412" fmla="*/ 1026890 h 3355086"/>
                <a:gd name="connsiteX18413" fmla="*/ 3153632 w 3359086"/>
                <a:gd name="connsiteY18413" fmla="*/ 1033081 h 3355086"/>
                <a:gd name="connsiteX18414" fmla="*/ 3147441 w 3359086"/>
                <a:gd name="connsiteY18414" fmla="*/ 1026890 h 3355086"/>
                <a:gd name="connsiteX18415" fmla="*/ 3153632 w 3359086"/>
                <a:gd name="connsiteY18415" fmla="*/ 1020699 h 3355086"/>
                <a:gd name="connsiteX18416" fmla="*/ 3030949 w 3359086"/>
                <a:gd name="connsiteY18416" fmla="*/ 1020318 h 3355086"/>
                <a:gd name="connsiteX18417" fmla="*/ 3037140 w 3359086"/>
                <a:gd name="connsiteY18417" fmla="*/ 1026509 h 3355086"/>
                <a:gd name="connsiteX18418" fmla="*/ 3030949 w 3359086"/>
                <a:gd name="connsiteY18418" fmla="*/ 1032701 h 3355086"/>
                <a:gd name="connsiteX18419" fmla="*/ 3024758 w 3359086"/>
                <a:gd name="connsiteY18419" fmla="*/ 1026509 h 3355086"/>
                <a:gd name="connsiteX18420" fmla="*/ 3030949 w 3359086"/>
                <a:gd name="connsiteY18420" fmla="*/ 1020318 h 3355086"/>
                <a:gd name="connsiteX18421" fmla="*/ 3190112 w 3359086"/>
                <a:gd name="connsiteY18421" fmla="*/ 1019652 h 3355086"/>
                <a:gd name="connsiteX18422" fmla="*/ 3196304 w 3359086"/>
                <a:gd name="connsiteY18422" fmla="*/ 1025843 h 3355086"/>
                <a:gd name="connsiteX18423" fmla="*/ 3190112 w 3359086"/>
                <a:gd name="connsiteY18423" fmla="*/ 1032034 h 3355086"/>
                <a:gd name="connsiteX18424" fmla="*/ 3186207 w 3359086"/>
                <a:gd name="connsiteY18424" fmla="*/ 1028130 h 3355086"/>
                <a:gd name="connsiteX18425" fmla="*/ 3181540 w 3359086"/>
                <a:gd name="connsiteY18425" fmla="*/ 1032796 h 3355086"/>
                <a:gd name="connsiteX18426" fmla="*/ 3177730 w 3359086"/>
                <a:gd name="connsiteY18426" fmla="*/ 1028986 h 3355086"/>
                <a:gd name="connsiteX18427" fmla="*/ 3174015 w 3359086"/>
                <a:gd name="connsiteY18427" fmla="*/ 1032701 h 3355086"/>
                <a:gd name="connsiteX18428" fmla="*/ 3169681 w 3359086"/>
                <a:gd name="connsiteY18428" fmla="*/ 1028367 h 3355086"/>
                <a:gd name="connsiteX18429" fmla="*/ 3165633 w 3359086"/>
                <a:gd name="connsiteY18429" fmla="*/ 1032415 h 3355086"/>
                <a:gd name="connsiteX18430" fmla="*/ 3159442 w 3359086"/>
                <a:gd name="connsiteY18430" fmla="*/ 1026224 h 3355086"/>
                <a:gd name="connsiteX18431" fmla="*/ 3165633 w 3359086"/>
                <a:gd name="connsiteY18431" fmla="*/ 1020033 h 3355086"/>
                <a:gd name="connsiteX18432" fmla="*/ 3169966 w 3359086"/>
                <a:gd name="connsiteY18432" fmla="*/ 1024367 h 3355086"/>
                <a:gd name="connsiteX18433" fmla="*/ 3174015 w 3359086"/>
                <a:gd name="connsiteY18433" fmla="*/ 1020318 h 3355086"/>
                <a:gd name="connsiteX18434" fmla="*/ 3177826 w 3359086"/>
                <a:gd name="connsiteY18434" fmla="*/ 1024128 h 3355086"/>
                <a:gd name="connsiteX18435" fmla="*/ 3181540 w 3359086"/>
                <a:gd name="connsiteY18435" fmla="*/ 1020414 h 3355086"/>
                <a:gd name="connsiteX18436" fmla="*/ 3185445 w 3359086"/>
                <a:gd name="connsiteY18436" fmla="*/ 1024319 h 3355086"/>
                <a:gd name="connsiteX18437" fmla="*/ 238886 w 3359086"/>
                <a:gd name="connsiteY18437" fmla="*/ 1018794 h 3355086"/>
                <a:gd name="connsiteX18438" fmla="*/ 245077 w 3359086"/>
                <a:gd name="connsiteY18438" fmla="*/ 1024985 h 3355086"/>
                <a:gd name="connsiteX18439" fmla="*/ 238886 w 3359086"/>
                <a:gd name="connsiteY18439" fmla="*/ 1031177 h 3355086"/>
                <a:gd name="connsiteX18440" fmla="*/ 232695 w 3359086"/>
                <a:gd name="connsiteY18440" fmla="*/ 1024985 h 3355086"/>
                <a:gd name="connsiteX18441" fmla="*/ 238886 w 3359086"/>
                <a:gd name="connsiteY18441" fmla="*/ 1018794 h 3355086"/>
                <a:gd name="connsiteX18442" fmla="*/ 2913982 w 3359086"/>
                <a:gd name="connsiteY18442" fmla="*/ 1018032 h 3355086"/>
                <a:gd name="connsiteX18443" fmla="*/ 2920173 w 3359086"/>
                <a:gd name="connsiteY18443" fmla="*/ 1024223 h 3355086"/>
                <a:gd name="connsiteX18444" fmla="*/ 2913982 w 3359086"/>
                <a:gd name="connsiteY18444" fmla="*/ 1030414 h 3355086"/>
                <a:gd name="connsiteX18445" fmla="*/ 2907791 w 3359086"/>
                <a:gd name="connsiteY18445" fmla="*/ 1024223 h 3355086"/>
                <a:gd name="connsiteX18446" fmla="*/ 2913982 w 3359086"/>
                <a:gd name="connsiteY18446" fmla="*/ 1018032 h 3355086"/>
                <a:gd name="connsiteX18447" fmla="*/ 3201638 w 3359086"/>
                <a:gd name="connsiteY18447" fmla="*/ 1017270 h 3355086"/>
                <a:gd name="connsiteX18448" fmla="*/ 3207829 w 3359086"/>
                <a:gd name="connsiteY18448" fmla="*/ 1023461 h 3355086"/>
                <a:gd name="connsiteX18449" fmla="*/ 3201638 w 3359086"/>
                <a:gd name="connsiteY18449" fmla="*/ 1029652 h 3355086"/>
                <a:gd name="connsiteX18450" fmla="*/ 3195447 w 3359086"/>
                <a:gd name="connsiteY18450" fmla="*/ 1023461 h 3355086"/>
                <a:gd name="connsiteX18451" fmla="*/ 3201638 w 3359086"/>
                <a:gd name="connsiteY18451" fmla="*/ 1017270 h 3355086"/>
                <a:gd name="connsiteX18452" fmla="*/ 628268 w 3359086"/>
                <a:gd name="connsiteY18452" fmla="*/ 1015651 h 3355086"/>
                <a:gd name="connsiteX18453" fmla="*/ 634460 w 3359086"/>
                <a:gd name="connsiteY18453" fmla="*/ 1021842 h 3355086"/>
                <a:gd name="connsiteX18454" fmla="*/ 628268 w 3359086"/>
                <a:gd name="connsiteY18454" fmla="*/ 1028033 h 3355086"/>
                <a:gd name="connsiteX18455" fmla="*/ 622077 w 3359086"/>
                <a:gd name="connsiteY18455" fmla="*/ 1021842 h 3355086"/>
                <a:gd name="connsiteX18456" fmla="*/ 628268 w 3359086"/>
                <a:gd name="connsiteY18456" fmla="*/ 1015651 h 3355086"/>
                <a:gd name="connsiteX18457" fmla="*/ 2298763 w 3359086"/>
                <a:gd name="connsiteY18457" fmla="*/ 1015556 h 3355086"/>
                <a:gd name="connsiteX18458" fmla="*/ 2304955 w 3359086"/>
                <a:gd name="connsiteY18458" fmla="*/ 1021747 h 3355086"/>
                <a:gd name="connsiteX18459" fmla="*/ 2298763 w 3359086"/>
                <a:gd name="connsiteY18459" fmla="*/ 1027939 h 3355086"/>
                <a:gd name="connsiteX18460" fmla="*/ 2292572 w 3359086"/>
                <a:gd name="connsiteY18460" fmla="*/ 1021747 h 3355086"/>
                <a:gd name="connsiteX18461" fmla="*/ 2298763 w 3359086"/>
                <a:gd name="connsiteY18461" fmla="*/ 1015556 h 3355086"/>
                <a:gd name="connsiteX18462" fmla="*/ 3217354 w 3359086"/>
                <a:gd name="connsiteY18462" fmla="*/ 1013365 h 3355086"/>
                <a:gd name="connsiteX18463" fmla="*/ 3222973 w 3359086"/>
                <a:gd name="connsiteY18463" fmla="*/ 1018985 h 3355086"/>
                <a:gd name="connsiteX18464" fmla="*/ 3217354 w 3359086"/>
                <a:gd name="connsiteY18464" fmla="*/ 1024604 h 3355086"/>
                <a:gd name="connsiteX18465" fmla="*/ 3211734 w 3359086"/>
                <a:gd name="connsiteY18465" fmla="*/ 1018985 h 3355086"/>
                <a:gd name="connsiteX18466" fmla="*/ 3217354 w 3359086"/>
                <a:gd name="connsiteY18466" fmla="*/ 1013365 h 3355086"/>
                <a:gd name="connsiteX18467" fmla="*/ 206882 w 3359086"/>
                <a:gd name="connsiteY18467" fmla="*/ 1012793 h 3355086"/>
                <a:gd name="connsiteX18468" fmla="*/ 213074 w 3359086"/>
                <a:gd name="connsiteY18468" fmla="*/ 1018984 h 3355086"/>
                <a:gd name="connsiteX18469" fmla="*/ 206882 w 3359086"/>
                <a:gd name="connsiteY18469" fmla="*/ 1025176 h 3355086"/>
                <a:gd name="connsiteX18470" fmla="*/ 200691 w 3359086"/>
                <a:gd name="connsiteY18470" fmla="*/ 1018984 h 3355086"/>
                <a:gd name="connsiteX18471" fmla="*/ 206882 w 3359086"/>
                <a:gd name="connsiteY18471" fmla="*/ 1012793 h 3355086"/>
                <a:gd name="connsiteX18472" fmla="*/ 186022 w 3359086"/>
                <a:gd name="connsiteY18472" fmla="*/ 1010508 h 3355086"/>
                <a:gd name="connsiteX18473" fmla="*/ 192214 w 3359086"/>
                <a:gd name="connsiteY18473" fmla="*/ 1016699 h 3355086"/>
                <a:gd name="connsiteX18474" fmla="*/ 186022 w 3359086"/>
                <a:gd name="connsiteY18474" fmla="*/ 1022890 h 3355086"/>
                <a:gd name="connsiteX18475" fmla="*/ 179831 w 3359086"/>
                <a:gd name="connsiteY18475" fmla="*/ 1016699 h 3355086"/>
                <a:gd name="connsiteX18476" fmla="*/ 186022 w 3359086"/>
                <a:gd name="connsiteY18476" fmla="*/ 1010508 h 3355086"/>
                <a:gd name="connsiteX18477" fmla="*/ 172592 w 3359086"/>
                <a:gd name="connsiteY18477" fmla="*/ 1010412 h 3355086"/>
                <a:gd name="connsiteX18478" fmla="*/ 178784 w 3359086"/>
                <a:gd name="connsiteY18478" fmla="*/ 1016603 h 3355086"/>
                <a:gd name="connsiteX18479" fmla="*/ 172592 w 3359086"/>
                <a:gd name="connsiteY18479" fmla="*/ 1022795 h 3355086"/>
                <a:gd name="connsiteX18480" fmla="*/ 168401 w 3359086"/>
                <a:gd name="connsiteY18480" fmla="*/ 1018604 h 3355086"/>
                <a:gd name="connsiteX18481" fmla="*/ 163353 w 3359086"/>
                <a:gd name="connsiteY18481" fmla="*/ 1023652 h 3355086"/>
                <a:gd name="connsiteX18482" fmla="*/ 159924 w 3359086"/>
                <a:gd name="connsiteY18482" fmla="*/ 1020224 h 3355086"/>
                <a:gd name="connsiteX18483" fmla="*/ 155638 w 3359086"/>
                <a:gd name="connsiteY18483" fmla="*/ 1024510 h 3355086"/>
                <a:gd name="connsiteX18484" fmla="*/ 151400 w 3359086"/>
                <a:gd name="connsiteY18484" fmla="*/ 1020271 h 3355086"/>
                <a:gd name="connsiteX18485" fmla="*/ 147161 w 3359086"/>
                <a:gd name="connsiteY18485" fmla="*/ 1024510 h 3355086"/>
                <a:gd name="connsiteX18486" fmla="*/ 140970 w 3359086"/>
                <a:gd name="connsiteY18486" fmla="*/ 1018318 h 3355086"/>
                <a:gd name="connsiteX18487" fmla="*/ 147161 w 3359086"/>
                <a:gd name="connsiteY18487" fmla="*/ 1012127 h 3355086"/>
                <a:gd name="connsiteX18488" fmla="*/ 151400 w 3359086"/>
                <a:gd name="connsiteY18488" fmla="*/ 1016365 h 3355086"/>
                <a:gd name="connsiteX18489" fmla="*/ 155638 w 3359086"/>
                <a:gd name="connsiteY18489" fmla="*/ 1012127 h 3355086"/>
                <a:gd name="connsiteX18490" fmla="*/ 159067 w 3359086"/>
                <a:gd name="connsiteY18490" fmla="*/ 1015556 h 3355086"/>
                <a:gd name="connsiteX18491" fmla="*/ 163353 w 3359086"/>
                <a:gd name="connsiteY18491" fmla="*/ 1011270 h 3355086"/>
                <a:gd name="connsiteX18492" fmla="*/ 167543 w 3359086"/>
                <a:gd name="connsiteY18492" fmla="*/ 1015461 h 3355086"/>
                <a:gd name="connsiteX18493" fmla="*/ 3081908 w 3359086"/>
                <a:gd name="connsiteY18493" fmla="*/ 1009174 h 3355086"/>
                <a:gd name="connsiteX18494" fmla="*/ 3088099 w 3359086"/>
                <a:gd name="connsiteY18494" fmla="*/ 1015365 h 3355086"/>
                <a:gd name="connsiteX18495" fmla="*/ 3081908 w 3359086"/>
                <a:gd name="connsiteY18495" fmla="*/ 1021556 h 3355086"/>
                <a:gd name="connsiteX18496" fmla="*/ 3075717 w 3359086"/>
                <a:gd name="connsiteY18496" fmla="*/ 1015365 h 3355086"/>
                <a:gd name="connsiteX18497" fmla="*/ 3081908 w 3359086"/>
                <a:gd name="connsiteY18497" fmla="*/ 1009174 h 3355086"/>
                <a:gd name="connsiteX18498" fmla="*/ 319277 w 3359086"/>
                <a:gd name="connsiteY18498" fmla="*/ 1008983 h 3355086"/>
                <a:gd name="connsiteX18499" fmla="*/ 325468 w 3359086"/>
                <a:gd name="connsiteY18499" fmla="*/ 1015174 h 3355086"/>
                <a:gd name="connsiteX18500" fmla="*/ 319277 w 3359086"/>
                <a:gd name="connsiteY18500" fmla="*/ 1021366 h 3355086"/>
                <a:gd name="connsiteX18501" fmla="*/ 313086 w 3359086"/>
                <a:gd name="connsiteY18501" fmla="*/ 1015174 h 3355086"/>
                <a:gd name="connsiteX18502" fmla="*/ 319277 w 3359086"/>
                <a:gd name="connsiteY18502" fmla="*/ 1008983 h 3355086"/>
                <a:gd name="connsiteX18503" fmla="*/ 1089945 w 3359086"/>
                <a:gd name="connsiteY18503" fmla="*/ 1006602 h 3355086"/>
                <a:gd name="connsiteX18504" fmla="*/ 1096137 w 3359086"/>
                <a:gd name="connsiteY18504" fmla="*/ 1012793 h 3355086"/>
                <a:gd name="connsiteX18505" fmla="*/ 1089945 w 3359086"/>
                <a:gd name="connsiteY18505" fmla="*/ 1018985 h 3355086"/>
                <a:gd name="connsiteX18506" fmla="*/ 1083754 w 3359086"/>
                <a:gd name="connsiteY18506" fmla="*/ 1012793 h 3355086"/>
                <a:gd name="connsiteX18507" fmla="*/ 1089945 w 3359086"/>
                <a:gd name="connsiteY18507" fmla="*/ 1006602 h 3355086"/>
                <a:gd name="connsiteX18508" fmla="*/ 443959 w 3359086"/>
                <a:gd name="connsiteY18508" fmla="*/ 1006602 h 3355086"/>
                <a:gd name="connsiteX18509" fmla="*/ 450150 w 3359086"/>
                <a:gd name="connsiteY18509" fmla="*/ 1012793 h 3355086"/>
                <a:gd name="connsiteX18510" fmla="*/ 443959 w 3359086"/>
                <a:gd name="connsiteY18510" fmla="*/ 1018985 h 3355086"/>
                <a:gd name="connsiteX18511" fmla="*/ 437768 w 3359086"/>
                <a:gd name="connsiteY18511" fmla="*/ 1012793 h 3355086"/>
                <a:gd name="connsiteX18512" fmla="*/ 443959 w 3359086"/>
                <a:gd name="connsiteY18512" fmla="*/ 1006602 h 3355086"/>
                <a:gd name="connsiteX18513" fmla="*/ 2671285 w 3359086"/>
                <a:gd name="connsiteY18513" fmla="*/ 1006031 h 3355086"/>
                <a:gd name="connsiteX18514" fmla="*/ 2677477 w 3359086"/>
                <a:gd name="connsiteY18514" fmla="*/ 1012222 h 3355086"/>
                <a:gd name="connsiteX18515" fmla="*/ 2671285 w 3359086"/>
                <a:gd name="connsiteY18515" fmla="*/ 1018414 h 3355086"/>
                <a:gd name="connsiteX18516" fmla="*/ 2665094 w 3359086"/>
                <a:gd name="connsiteY18516" fmla="*/ 1012222 h 3355086"/>
                <a:gd name="connsiteX18517" fmla="*/ 2671285 w 3359086"/>
                <a:gd name="connsiteY18517" fmla="*/ 1006031 h 3355086"/>
                <a:gd name="connsiteX18518" fmla="*/ 3116579 w 3359086"/>
                <a:gd name="connsiteY18518" fmla="*/ 1003459 h 3355086"/>
                <a:gd name="connsiteX18519" fmla="*/ 3122771 w 3359086"/>
                <a:gd name="connsiteY18519" fmla="*/ 1009650 h 3355086"/>
                <a:gd name="connsiteX18520" fmla="*/ 3116579 w 3359086"/>
                <a:gd name="connsiteY18520" fmla="*/ 1015842 h 3355086"/>
                <a:gd name="connsiteX18521" fmla="*/ 3110388 w 3359086"/>
                <a:gd name="connsiteY18521" fmla="*/ 1009650 h 3355086"/>
                <a:gd name="connsiteX18522" fmla="*/ 3116579 w 3359086"/>
                <a:gd name="connsiteY18522" fmla="*/ 1003459 h 3355086"/>
                <a:gd name="connsiteX18523" fmla="*/ 3154108 w 3359086"/>
                <a:gd name="connsiteY18523" fmla="*/ 1001935 h 3355086"/>
                <a:gd name="connsiteX18524" fmla="*/ 3159776 w 3359086"/>
                <a:gd name="connsiteY18524" fmla="*/ 1007602 h 3355086"/>
                <a:gd name="connsiteX18525" fmla="*/ 3164014 w 3359086"/>
                <a:gd name="connsiteY18525" fmla="*/ 1003364 h 3355086"/>
                <a:gd name="connsiteX18526" fmla="*/ 3168777 w 3359086"/>
                <a:gd name="connsiteY18526" fmla="*/ 1008127 h 3355086"/>
                <a:gd name="connsiteX18527" fmla="*/ 3172110 w 3359086"/>
                <a:gd name="connsiteY18527" fmla="*/ 1004793 h 3355086"/>
                <a:gd name="connsiteX18528" fmla="*/ 3176634 w 3359086"/>
                <a:gd name="connsiteY18528" fmla="*/ 1009317 h 3355086"/>
                <a:gd name="connsiteX18529" fmla="*/ 3180587 w 3359086"/>
                <a:gd name="connsiteY18529" fmla="*/ 1005364 h 3355086"/>
                <a:gd name="connsiteX18530" fmla="*/ 3185540 w 3359086"/>
                <a:gd name="connsiteY18530" fmla="*/ 1010317 h 3355086"/>
                <a:gd name="connsiteX18531" fmla="*/ 3191350 w 3359086"/>
                <a:gd name="connsiteY18531" fmla="*/ 1004507 h 3355086"/>
                <a:gd name="connsiteX18532" fmla="*/ 3197542 w 3359086"/>
                <a:gd name="connsiteY18532" fmla="*/ 1010698 h 3355086"/>
                <a:gd name="connsiteX18533" fmla="*/ 3191350 w 3359086"/>
                <a:gd name="connsiteY18533" fmla="*/ 1016890 h 3355086"/>
                <a:gd name="connsiteX18534" fmla="*/ 3186397 w 3359086"/>
                <a:gd name="connsiteY18534" fmla="*/ 1011937 h 3355086"/>
                <a:gd name="connsiteX18535" fmla="*/ 3180587 w 3359086"/>
                <a:gd name="connsiteY18535" fmla="*/ 1017746 h 3355086"/>
                <a:gd name="connsiteX18536" fmla="*/ 3176063 w 3359086"/>
                <a:gd name="connsiteY18536" fmla="*/ 1013222 h 3355086"/>
                <a:gd name="connsiteX18537" fmla="*/ 3172110 w 3359086"/>
                <a:gd name="connsiteY18537" fmla="*/ 1017175 h 3355086"/>
                <a:gd name="connsiteX18538" fmla="*/ 3167348 w 3359086"/>
                <a:gd name="connsiteY18538" fmla="*/ 1012413 h 3355086"/>
                <a:gd name="connsiteX18539" fmla="*/ 3164014 w 3359086"/>
                <a:gd name="connsiteY18539" fmla="*/ 1015746 h 3355086"/>
                <a:gd name="connsiteX18540" fmla="*/ 3158347 w 3359086"/>
                <a:gd name="connsiteY18540" fmla="*/ 1010079 h 3355086"/>
                <a:gd name="connsiteX18541" fmla="*/ 3154108 w 3359086"/>
                <a:gd name="connsiteY18541" fmla="*/ 1014318 h 3355086"/>
                <a:gd name="connsiteX18542" fmla="*/ 3147917 w 3359086"/>
                <a:gd name="connsiteY18542" fmla="*/ 1008126 h 3355086"/>
                <a:gd name="connsiteX18543" fmla="*/ 3154108 w 3359086"/>
                <a:gd name="connsiteY18543" fmla="*/ 1001935 h 3355086"/>
                <a:gd name="connsiteX18544" fmla="*/ 3205829 w 3359086"/>
                <a:gd name="connsiteY18544" fmla="*/ 1001554 h 3355086"/>
                <a:gd name="connsiteX18545" fmla="*/ 3212020 w 3359086"/>
                <a:gd name="connsiteY18545" fmla="*/ 1007745 h 3355086"/>
                <a:gd name="connsiteX18546" fmla="*/ 3205829 w 3359086"/>
                <a:gd name="connsiteY18546" fmla="*/ 1013937 h 3355086"/>
                <a:gd name="connsiteX18547" fmla="*/ 3199638 w 3359086"/>
                <a:gd name="connsiteY18547" fmla="*/ 1007745 h 3355086"/>
                <a:gd name="connsiteX18548" fmla="*/ 3205829 w 3359086"/>
                <a:gd name="connsiteY18548" fmla="*/ 1001554 h 3355086"/>
                <a:gd name="connsiteX18549" fmla="*/ 3139344 w 3359086"/>
                <a:gd name="connsiteY18549" fmla="*/ 1001554 h 3355086"/>
                <a:gd name="connsiteX18550" fmla="*/ 3145535 w 3359086"/>
                <a:gd name="connsiteY18550" fmla="*/ 1007745 h 3355086"/>
                <a:gd name="connsiteX18551" fmla="*/ 3139344 w 3359086"/>
                <a:gd name="connsiteY18551" fmla="*/ 1013937 h 3355086"/>
                <a:gd name="connsiteX18552" fmla="*/ 3133153 w 3359086"/>
                <a:gd name="connsiteY18552" fmla="*/ 1007745 h 3355086"/>
                <a:gd name="connsiteX18553" fmla="*/ 3139344 w 3359086"/>
                <a:gd name="connsiteY18553" fmla="*/ 1001554 h 3355086"/>
                <a:gd name="connsiteX18554" fmla="*/ 2191511 w 3359086"/>
                <a:gd name="connsiteY18554" fmla="*/ 999268 h 3355086"/>
                <a:gd name="connsiteX18555" fmla="*/ 2197703 w 3359086"/>
                <a:gd name="connsiteY18555" fmla="*/ 1005459 h 3355086"/>
                <a:gd name="connsiteX18556" fmla="*/ 2191511 w 3359086"/>
                <a:gd name="connsiteY18556" fmla="*/ 1011650 h 3355086"/>
                <a:gd name="connsiteX18557" fmla="*/ 2185320 w 3359086"/>
                <a:gd name="connsiteY18557" fmla="*/ 1005459 h 3355086"/>
                <a:gd name="connsiteX18558" fmla="*/ 2191511 w 3359086"/>
                <a:gd name="connsiteY18558" fmla="*/ 999268 h 3355086"/>
                <a:gd name="connsiteX18559" fmla="*/ 2996374 w 3359086"/>
                <a:gd name="connsiteY18559" fmla="*/ 999077 h 3355086"/>
                <a:gd name="connsiteX18560" fmla="*/ 3002566 w 3359086"/>
                <a:gd name="connsiteY18560" fmla="*/ 1005268 h 3355086"/>
                <a:gd name="connsiteX18561" fmla="*/ 2996374 w 3359086"/>
                <a:gd name="connsiteY18561" fmla="*/ 1011460 h 3355086"/>
                <a:gd name="connsiteX18562" fmla="*/ 2990183 w 3359086"/>
                <a:gd name="connsiteY18562" fmla="*/ 1005268 h 3355086"/>
                <a:gd name="connsiteX18563" fmla="*/ 2996374 w 3359086"/>
                <a:gd name="connsiteY18563" fmla="*/ 999077 h 3355086"/>
                <a:gd name="connsiteX18564" fmla="*/ 264127 w 3359086"/>
                <a:gd name="connsiteY18564" fmla="*/ 997935 h 3355086"/>
                <a:gd name="connsiteX18565" fmla="*/ 270318 w 3359086"/>
                <a:gd name="connsiteY18565" fmla="*/ 1004126 h 3355086"/>
                <a:gd name="connsiteX18566" fmla="*/ 264127 w 3359086"/>
                <a:gd name="connsiteY18566" fmla="*/ 1010317 h 3355086"/>
                <a:gd name="connsiteX18567" fmla="*/ 257936 w 3359086"/>
                <a:gd name="connsiteY18567" fmla="*/ 1004126 h 3355086"/>
                <a:gd name="connsiteX18568" fmla="*/ 264127 w 3359086"/>
                <a:gd name="connsiteY18568" fmla="*/ 997935 h 3355086"/>
                <a:gd name="connsiteX18569" fmla="*/ 2864738 w 3359086"/>
                <a:gd name="connsiteY18569" fmla="*/ 996601 h 3355086"/>
                <a:gd name="connsiteX18570" fmla="*/ 2870930 w 3359086"/>
                <a:gd name="connsiteY18570" fmla="*/ 1002792 h 3355086"/>
                <a:gd name="connsiteX18571" fmla="*/ 2864738 w 3359086"/>
                <a:gd name="connsiteY18571" fmla="*/ 1008983 h 3355086"/>
                <a:gd name="connsiteX18572" fmla="*/ 2858547 w 3359086"/>
                <a:gd name="connsiteY18572" fmla="*/ 1002792 h 3355086"/>
                <a:gd name="connsiteX18573" fmla="*/ 2864738 w 3359086"/>
                <a:gd name="connsiteY18573" fmla="*/ 996601 h 3355086"/>
                <a:gd name="connsiteX18574" fmla="*/ 700087 w 3359086"/>
                <a:gd name="connsiteY18574" fmla="*/ 995077 h 3355086"/>
                <a:gd name="connsiteX18575" fmla="*/ 706279 w 3359086"/>
                <a:gd name="connsiteY18575" fmla="*/ 1001268 h 3355086"/>
                <a:gd name="connsiteX18576" fmla="*/ 700087 w 3359086"/>
                <a:gd name="connsiteY18576" fmla="*/ 1007460 h 3355086"/>
                <a:gd name="connsiteX18577" fmla="*/ 693896 w 3359086"/>
                <a:gd name="connsiteY18577" fmla="*/ 1001268 h 3355086"/>
                <a:gd name="connsiteX18578" fmla="*/ 700087 w 3359086"/>
                <a:gd name="connsiteY18578" fmla="*/ 995077 h 3355086"/>
                <a:gd name="connsiteX18579" fmla="*/ 173831 w 3359086"/>
                <a:gd name="connsiteY18579" fmla="*/ 993934 h 3355086"/>
                <a:gd name="connsiteX18580" fmla="*/ 180022 w 3359086"/>
                <a:gd name="connsiteY18580" fmla="*/ 1000125 h 3355086"/>
                <a:gd name="connsiteX18581" fmla="*/ 173831 w 3359086"/>
                <a:gd name="connsiteY18581" fmla="*/ 1006317 h 3355086"/>
                <a:gd name="connsiteX18582" fmla="*/ 170640 w 3359086"/>
                <a:gd name="connsiteY18582" fmla="*/ 1003126 h 3355086"/>
                <a:gd name="connsiteX18583" fmla="*/ 165258 w 3359086"/>
                <a:gd name="connsiteY18583" fmla="*/ 1008508 h 3355086"/>
                <a:gd name="connsiteX18584" fmla="*/ 161639 w 3359086"/>
                <a:gd name="connsiteY18584" fmla="*/ 1004888 h 3355086"/>
                <a:gd name="connsiteX18585" fmla="*/ 156686 w 3359086"/>
                <a:gd name="connsiteY18585" fmla="*/ 1009841 h 3355086"/>
                <a:gd name="connsiteX18586" fmla="*/ 150971 w 3359086"/>
                <a:gd name="connsiteY18586" fmla="*/ 1004126 h 3355086"/>
                <a:gd name="connsiteX18587" fmla="*/ 146304 w 3359086"/>
                <a:gd name="connsiteY18587" fmla="*/ 1008793 h 3355086"/>
                <a:gd name="connsiteX18588" fmla="*/ 140970 w 3359086"/>
                <a:gd name="connsiteY18588" fmla="*/ 1003459 h 3355086"/>
                <a:gd name="connsiteX18589" fmla="*/ 146304 w 3359086"/>
                <a:gd name="connsiteY18589" fmla="*/ 998125 h 3355086"/>
                <a:gd name="connsiteX18590" fmla="*/ 151161 w 3359086"/>
                <a:gd name="connsiteY18590" fmla="*/ 1002983 h 3355086"/>
                <a:gd name="connsiteX18591" fmla="*/ 156686 w 3359086"/>
                <a:gd name="connsiteY18591" fmla="*/ 997458 h 3355086"/>
                <a:gd name="connsiteX18592" fmla="*/ 160306 w 3359086"/>
                <a:gd name="connsiteY18592" fmla="*/ 1001077 h 3355086"/>
                <a:gd name="connsiteX18593" fmla="*/ 165258 w 3359086"/>
                <a:gd name="connsiteY18593" fmla="*/ 996125 h 3355086"/>
                <a:gd name="connsiteX18594" fmla="*/ 168449 w 3359086"/>
                <a:gd name="connsiteY18594" fmla="*/ 999316 h 3355086"/>
                <a:gd name="connsiteX18595" fmla="*/ 226218 w 3359086"/>
                <a:gd name="connsiteY18595" fmla="*/ 992505 h 3355086"/>
                <a:gd name="connsiteX18596" fmla="*/ 232409 w 3359086"/>
                <a:gd name="connsiteY18596" fmla="*/ 998696 h 3355086"/>
                <a:gd name="connsiteX18597" fmla="*/ 226218 w 3359086"/>
                <a:gd name="connsiteY18597" fmla="*/ 1004887 h 3355086"/>
                <a:gd name="connsiteX18598" fmla="*/ 220027 w 3359086"/>
                <a:gd name="connsiteY18598" fmla="*/ 998696 h 3355086"/>
                <a:gd name="connsiteX18599" fmla="*/ 226218 w 3359086"/>
                <a:gd name="connsiteY18599" fmla="*/ 992505 h 3355086"/>
                <a:gd name="connsiteX18600" fmla="*/ 184784 w 3359086"/>
                <a:gd name="connsiteY18600" fmla="*/ 991839 h 3355086"/>
                <a:gd name="connsiteX18601" fmla="*/ 190975 w 3359086"/>
                <a:gd name="connsiteY18601" fmla="*/ 998030 h 3355086"/>
                <a:gd name="connsiteX18602" fmla="*/ 184784 w 3359086"/>
                <a:gd name="connsiteY18602" fmla="*/ 1004221 h 3355086"/>
                <a:gd name="connsiteX18603" fmla="*/ 178593 w 3359086"/>
                <a:gd name="connsiteY18603" fmla="*/ 998030 h 3355086"/>
                <a:gd name="connsiteX18604" fmla="*/ 184784 w 3359086"/>
                <a:gd name="connsiteY18604" fmla="*/ 991839 h 3355086"/>
                <a:gd name="connsiteX18605" fmla="*/ 3212496 w 3359086"/>
                <a:gd name="connsiteY18605" fmla="*/ 991553 h 3355086"/>
                <a:gd name="connsiteX18606" fmla="*/ 3212781 w 3359086"/>
                <a:gd name="connsiteY18606" fmla="*/ 991839 h 3355086"/>
                <a:gd name="connsiteX18607" fmla="*/ 3212496 w 3359086"/>
                <a:gd name="connsiteY18607" fmla="*/ 992125 h 3355086"/>
                <a:gd name="connsiteX18608" fmla="*/ 3212210 w 3359086"/>
                <a:gd name="connsiteY18608" fmla="*/ 991839 h 3355086"/>
                <a:gd name="connsiteX18609" fmla="*/ 3212496 w 3359086"/>
                <a:gd name="connsiteY18609" fmla="*/ 991553 h 3355086"/>
                <a:gd name="connsiteX18610" fmla="*/ 1201102 w 3359086"/>
                <a:gd name="connsiteY18610" fmla="*/ 991267 h 3355086"/>
                <a:gd name="connsiteX18611" fmla="*/ 1207294 w 3359086"/>
                <a:gd name="connsiteY18611" fmla="*/ 997458 h 3355086"/>
                <a:gd name="connsiteX18612" fmla="*/ 1201102 w 3359086"/>
                <a:gd name="connsiteY18612" fmla="*/ 1003650 h 3355086"/>
                <a:gd name="connsiteX18613" fmla="*/ 1194911 w 3359086"/>
                <a:gd name="connsiteY18613" fmla="*/ 997458 h 3355086"/>
                <a:gd name="connsiteX18614" fmla="*/ 1201102 w 3359086"/>
                <a:gd name="connsiteY18614" fmla="*/ 991267 h 3355086"/>
                <a:gd name="connsiteX18615" fmla="*/ 201167 w 3359086"/>
                <a:gd name="connsiteY18615" fmla="*/ 990981 h 3355086"/>
                <a:gd name="connsiteX18616" fmla="*/ 207359 w 3359086"/>
                <a:gd name="connsiteY18616" fmla="*/ 997172 h 3355086"/>
                <a:gd name="connsiteX18617" fmla="*/ 201167 w 3359086"/>
                <a:gd name="connsiteY18617" fmla="*/ 1003364 h 3355086"/>
                <a:gd name="connsiteX18618" fmla="*/ 194976 w 3359086"/>
                <a:gd name="connsiteY18618" fmla="*/ 997172 h 3355086"/>
                <a:gd name="connsiteX18619" fmla="*/ 201167 w 3359086"/>
                <a:gd name="connsiteY18619" fmla="*/ 990981 h 3355086"/>
                <a:gd name="connsiteX18620" fmla="*/ 3194589 w 3359086"/>
                <a:gd name="connsiteY18620" fmla="*/ 989552 h 3355086"/>
                <a:gd name="connsiteX18621" fmla="*/ 3200781 w 3359086"/>
                <a:gd name="connsiteY18621" fmla="*/ 995743 h 3355086"/>
                <a:gd name="connsiteX18622" fmla="*/ 3194589 w 3359086"/>
                <a:gd name="connsiteY18622" fmla="*/ 1001935 h 3355086"/>
                <a:gd name="connsiteX18623" fmla="*/ 3188398 w 3359086"/>
                <a:gd name="connsiteY18623" fmla="*/ 995743 h 3355086"/>
                <a:gd name="connsiteX18624" fmla="*/ 3194589 w 3359086"/>
                <a:gd name="connsiteY18624" fmla="*/ 989552 h 3355086"/>
                <a:gd name="connsiteX18625" fmla="*/ 3055333 w 3359086"/>
                <a:gd name="connsiteY18625" fmla="*/ 988029 h 3355086"/>
                <a:gd name="connsiteX18626" fmla="*/ 3061525 w 3359086"/>
                <a:gd name="connsiteY18626" fmla="*/ 994220 h 3355086"/>
                <a:gd name="connsiteX18627" fmla="*/ 3055333 w 3359086"/>
                <a:gd name="connsiteY18627" fmla="*/ 1000411 h 3355086"/>
                <a:gd name="connsiteX18628" fmla="*/ 3049142 w 3359086"/>
                <a:gd name="connsiteY18628" fmla="*/ 994220 h 3355086"/>
                <a:gd name="connsiteX18629" fmla="*/ 3055333 w 3359086"/>
                <a:gd name="connsiteY18629" fmla="*/ 988029 h 3355086"/>
                <a:gd name="connsiteX18630" fmla="*/ 355949 w 3359086"/>
                <a:gd name="connsiteY18630" fmla="*/ 987457 h 3355086"/>
                <a:gd name="connsiteX18631" fmla="*/ 362141 w 3359086"/>
                <a:gd name="connsiteY18631" fmla="*/ 993648 h 3355086"/>
                <a:gd name="connsiteX18632" fmla="*/ 355949 w 3359086"/>
                <a:gd name="connsiteY18632" fmla="*/ 999839 h 3355086"/>
                <a:gd name="connsiteX18633" fmla="*/ 349758 w 3359086"/>
                <a:gd name="connsiteY18633" fmla="*/ 993648 h 3355086"/>
                <a:gd name="connsiteX18634" fmla="*/ 355949 w 3359086"/>
                <a:gd name="connsiteY18634" fmla="*/ 987457 h 3355086"/>
                <a:gd name="connsiteX18635" fmla="*/ 3153250 w 3359086"/>
                <a:gd name="connsiteY18635" fmla="*/ 985552 h 3355086"/>
                <a:gd name="connsiteX18636" fmla="*/ 3159156 w 3359086"/>
                <a:gd name="connsiteY18636" fmla="*/ 991457 h 3355086"/>
                <a:gd name="connsiteX18637" fmla="*/ 3162299 w 3359086"/>
                <a:gd name="connsiteY18637" fmla="*/ 988314 h 3355086"/>
                <a:gd name="connsiteX18638" fmla="*/ 3167681 w 3359086"/>
                <a:gd name="connsiteY18638" fmla="*/ 993696 h 3355086"/>
                <a:gd name="connsiteX18639" fmla="*/ 3170967 w 3359086"/>
                <a:gd name="connsiteY18639" fmla="*/ 990410 h 3355086"/>
                <a:gd name="connsiteX18640" fmla="*/ 3176349 w 3359086"/>
                <a:gd name="connsiteY18640" fmla="*/ 995792 h 3355086"/>
                <a:gd name="connsiteX18641" fmla="*/ 3181159 w 3359086"/>
                <a:gd name="connsiteY18641" fmla="*/ 990981 h 3355086"/>
                <a:gd name="connsiteX18642" fmla="*/ 3187351 w 3359086"/>
                <a:gd name="connsiteY18642" fmla="*/ 997172 h 3355086"/>
                <a:gd name="connsiteX18643" fmla="*/ 3181159 w 3359086"/>
                <a:gd name="connsiteY18643" fmla="*/ 1003364 h 3355086"/>
                <a:gd name="connsiteX18644" fmla="*/ 3175777 w 3359086"/>
                <a:gd name="connsiteY18644" fmla="*/ 997982 h 3355086"/>
                <a:gd name="connsiteX18645" fmla="*/ 3170967 w 3359086"/>
                <a:gd name="connsiteY18645" fmla="*/ 1002792 h 3355086"/>
                <a:gd name="connsiteX18646" fmla="*/ 3165585 w 3359086"/>
                <a:gd name="connsiteY18646" fmla="*/ 997410 h 3355086"/>
                <a:gd name="connsiteX18647" fmla="*/ 3162299 w 3359086"/>
                <a:gd name="connsiteY18647" fmla="*/ 1000697 h 3355086"/>
                <a:gd name="connsiteX18648" fmla="*/ 3156394 w 3359086"/>
                <a:gd name="connsiteY18648" fmla="*/ 994791 h 3355086"/>
                <a:gd name="connsiteX18649" fmla="*/ 3153250 w 3359086"/>
                <a:gd name="connsiteY18649" fmla="*/ 997935 h 3355086"/>
                <a:gd name="connsiteX18650" fmla="*/ 3147059 w 3359086"/>
                <a:gd name="connsiteY18650" fmla="*/ 991743 h 3355086"/>
                <a:gd name="connsiteX18651" fmla="*/ 3153250 w 3359086"/>
                <a:gd name="connsiteY18651" fmla="*/ 985552 h 3355086"/>
                <a:gd name="connsiteX18652" fmla="*/ 2596514 w 3359086"/>
                <a:gd name="connsiteY18652" fmla="*/ 985457 h 3355086"/>
                <a:gd name="connsiteX18653" fmla="*/ 2602705 w 3359086"/>
                <a:gd name="connsiteY18653" fmla="*/ 991648 h 3355086"/>
                <a:gd name="connsiteX18654" fmla="*/ 2596514 w 3359086"/>
                <a:gd name="connsiteY18654" fmla="*/ 997840 h 3355086"/>
                <a:gd name="connsiteX18655" fmla="*/ 2590323 w 3359086"/>
                <a:gd name="connsiteY18655" fmla="*/ 991648 h 3355086"/>
                <a:gd name="connsiteX18656" fmla="*/ 2596514 w 3359086"/>
                <a:gd name="connsiteY18656" fmla="*/ 985457 h 3355086"/>
                <a:gd name="connsiteX18657" fmla="*/ 495966 w 3359086"/>
                <a:gd name="connsiteY18657" fmla="*/ 984981 h 3355086"/>
                <a:gd name="connsiteX18658" fmla="*/ 502158 w 3359086"/>
                <a:gd name="connsiteY18658" fmla="*/ 991172 h 3355086"/>
                <a:gd name="connsiteX18659" fmla="*/ 495966 w 3359086"/>
                <a:gd name="connsiteY18659" fmla="*/ 997363 h 3355086"/>
                <a:gd name="connsiteX18660" fmla="*/ 489775 w 3359086"/>
                <a:gd name="connsiteY18660" fmla="*/ 991172 h 3355086"/>
                <a:gd name="connsiteX18661" fmla="*/ 495966 w 3359086"/>
                <a:gd name="connsiteY18661" fmla="*/ 984981 h 3355086"/>
                <a:gd name="connsiteX18662" fmla="*/ 2077021 w 3359086"/>
                <a:gd name="connsiteY18662" fmla="*/ 984790 h 3355086"/>
                <a:gd name="connsiteX18663" fmla="*/ 2083213 w 3359086"/>
                <a:gd name="connsiteY18663" fmla="*/ 990981 h 3355086"/>
                <a:gd name="connsiteX18664" fmla="*/ 2077021 w 3359086"/>
                <a:gd name="connsiteY18664" fmla="*/ 997173 h 3355086"/>
                <a:gd name="connsiteX18665" fmla="*/ 2070830 w 3359086"/>
                <a:gd name="connsiteY18665" fmla="*/ 990981 h 3355086"/>
                <a:gd name="connsiteX18666" fmla="*/ 2077021 w 3359086"/>
                <a:gd name="connsiteY18666" fmla="*/ 984790 h 3355086"/>
                <a:gd name="connsiteX18667" fmla="*/ 3141249 w 3359086"/>
                <a:gd name="connsiteY18667" fmla="*/ 982980 h 3355086"/>
                <a:gd name="connsiteX18668" fmla="*/ 3147440 w 3359086"/>
                <a:gd name="connsiteY18668" fmla="*/ 989171 h 3355086"/>
                <a:gd name="connsiteX18669" fmla="*/ 3141249 w 3359086"/>
                <a:gd name="connsiteY18669" fmla="*/ 995362 h 3355086"/>
                <a:gd name="connsiteX18670" fmla="*/ 3135058 w 3359086"/>
                <a:gd name="connsiteY18670" fmla="*/ 989171 h 3355086"/>
                <a:gd name="connsiteX18671" fmla="*/ 3141249 w 3359086"/>
                <a:gd name="connsiteY18671" fmla="*/ 982980 h 3355086"/>
                <a:gd name="connsiteX18672" fmla="*/ 3096100 w 3359086"/>
                <a:gd name="connsiteY18672" fmla="*/ 982790 h 3355086"/>
                <a:gd name="connsiteX18673" fmla="*/ 3102292 w 3359086"/>
                <a:gd name="connsiteY18673" fmla="*/ 988981 h 3355086"/>
                <a:gd name="connsiteX18674" fmla="*/ 3096100 w 3359086"/>
                <a:gd name="connsiteY18674" fmla="*/ 995173 h 3355086"/>
                <a:gd name="connsiteX18675" fmla="*/ 3089909 w 3359086"/>
                <a:gd name="connsiteY18675" fmla="*/ 988981 h 3355086"/>
                <a:gd name="connsiteX18676" fmla="*/ 3096100 w 3359086"/>
                <a:gd name="connsiteY18676" fmla="*/ 982790 h 3355086"/>
                <a:gd name="connsiteX18677" fmla="*/ 3123342 w 3359086"/>
                <a:gd name="connsiteY18677" fmla="*/ 981552 h 3355086"/>
                <a:gd name="connsiteX18678" fmla="*/ 3129533 w 3359086"/>
                <a:gd name="connsiteY18678" fmla="*/ 987743 h 3355086"/>
                <a:gd name="connsiteX18679" fmla="*/ 3123342 w 3359086"/>
                <a:gd name="connsiteY18679" fmla="*/ 993934 h 3355086"/>
                <a:gd name="connsiteX18680" fmla="*/ 3117151 w 3359086"/>
                <a:gd name="connsiteY18680" fmla="*/ 987743 h 3355086"/>
                <a:gd name="connsiteX18681" fmla="*/ 3123342 w 3359086"/>
                <a:gd name="connsiteY18681" fmla="*/ 981552 h 3355086"/>
                <a:gd name="connsiteX18682" fmla="*/ 175355 w 3359086"/>
                <a:gd name="connsiteY18682" fmla="*/ 979266 h 3355086"/>
                <a:gd name="connsiteX18683" fmla="*/ 181546 w 3359086"/>
                <a:gd name="connsiteY18683" fmla="*/ 985457 h 3355086"/>
                <a:gd name="connsiteX18684" fmla="*/ 175355 w 3359086"/>
                <a:gd name="connsiteY18684" fmla="*/ 991648 h 3355086"/>
                <a:gd name="connsiteX18685" fmla="*/ 172306 w 3359086"/>
                <a:gd name="connsiteY18685" fmla="*/ 988600 h 3355086"/>
                <a:gd name="connsiteX18686" fmla="*/ 166496 w 3359086"/>
                <a:gd name="connsiteY18686" fmla="*/ 994411 h 3355086"/>
                <a:gd name="connsiteX18687" fmla="*/ 162210 w 3359086"/>
                <a:gd name="connsiteY18687" fmla="*/ 990124 h 3355086"/>
                <a:gd name="connsiteX18688" fmla="*/ 156495 w 3359086"/>
                <a:gd name="connsiteY18688" fmla="*/ 995839 h 3355086"/>
                <a:gd name="connsiteX18689" fmla="*/ 150304 w 3359086"/>
                <a:gd name="connsiteY18689" fmla="*/ 989647 h 3355086"/>
                <a:gd name="connsiteX18690" fmla="*/ 156495 w 3359086"/>
                <a:gd name="connsiteY18690" fmla="*/ 983456 h 3355086"/>
                <a:gd name="connsiteX18691" fmla="*/ 160782 w 3359086"/>
                <a:gd name="connsiteY18691" fmla="*/ 987742 h 3355086"/>
                <a:gd name="connsiteX18692" fmla="*/ 166496 w 3359086"/>
                <a:gd name="connsiteY18692" fmla="*/ 982028 h 3355086"/>
                <a:gd name="connsiteX18693" fmla="*/ 169544 w 3359086"/>
                <a:gd name="connsiteY18693" fmla="*/ 985077 h 3355086"/>
                <a:gd name="connsiteX18694" fmla="*/ 1319116 w 3359086"/>
                <a:gd name="connsiteY18694" fmla="*/ 978123 h 3355086"/>
                <a:gd name="connsiteX18695" fmla="*/ 1325308 w 3359086"/>
                <a:gd name="connsiteY18695" fmla="*/ 984314 h 3355086"/>
                <a:gd name="connsiteX18696" fmla="*/ 1319116 w 3359086"/>
                <a:gd name="connsiteY18696" fmla="*/ 990506 h 3355086"/>
                <a:gd name="connsiteX18697" fmla="*/ 1312925 w 3359086"/>
                <a:gd name="connsiteY18697" fmla="*/ 984314 h 3355086"/>
                <a:gd name="connsiteX18698" fmla="*/ 1319116 w 3359086"/>
                <a:gd name="connsiteY18698" fmla="*/ 978123 h 3355086"/>
                <a:gd name="connsiteX18699" fmla="*/ 2957893 w 3359086"/>
                <a:gd name="connsiteY18699" fmla="*/ 977265 h 3355086"/>
                <a:gd name="connsiteX18700" fmla="*/ 2964084 w 3359086"/>
                <a:gd name="connsiteY18700" fmla="*/ 983456 h 3355086"/>
                <a:gd name="connsiteX18701" fmla="*/ 2957893 w 3359086"/>
                <a:gd name="connsiteY18701" fmla="*/ 989648 h 3355086"/>
                <a:gd name="connsiteX18702" fmla="*/ 2951702 w 3359086"/>
                <a:gd name="connsiteY18702" fmla="*/ 983456 h 3355086"/>
                <a:gd name="connsiteX18703" fmla="*/ 2957893 w 3359086"/>
                <a:gd name="connsiteY18703" fmla="*/ 977265 h 3355086"/>
                <a:gd name="connsiteX18704" fmla="*/ 3183540 w 3359086"/>
                <a:gd name="connsiteY18704" fmla="*/ 976884 h 3355086"/>
                <a:gd name="connsiteX18705" fmla="*/ 3189732 w 3359086"/>
                <a:gd name="connsiteY18705" fmla="*/ 983075 h 3355086"/>
                <a:gd name="connsiteX18706" fmla="*/ 3183540 w 3359086"/>
                <a:gd name="connsiteY18706" fmla="*/ 989266 h 3355086"/>
                <a:gd name="connsiteX18707" fmla="*/ 3177349 w 3359086"/>
                <a:gd name="connsiteY18707" fmla="*/ 983075 h 3355086"/>
                <a:gd name="connsiteX18708" fmla="*/ 3183540 w 3359086"/>
                <a:gd name="connsiteY18708" fmla="*/ 976884 h 3355086"/>
                <a:gd name="connsiteX18709" fmla="*/ 292417 w 3359086"/>
                <a:gd name="connsiteY18709" fmla="*/ 976408 h 3355086"/>
                <a:gd name="connsiteX18710" fmla="*/ 298609 w 3359086"/>
                <a:gd name="connsiteY18710" fmla="*/ 982599 h 3355086"/>
                <a:gd name="connsiteX18711" fmla="*/ 292417 w 3359086"/>
                <a:gd name="connsiteY18711" fmla="*/ 988791 h 3355086"/>
                <a:gd name="connsiteX18712" fmla="*/ 286226 w 3359086"/>
                <a:gd name="connsiteY18712" fmla="*/ 982599 h 3355086"/>
                <a:gd name="connsiteX18713" fmla="*/ 292417 w 3359086"/>
                <a:gd name="connsiteY18713" fmla="*/ 976408 h 3355086"/>
                <a:gd name="connsiteX18714" fmla="*/ 185165 w 3359086"/>
                <a:gd name="connsiteY18714" fmla="*/ 975741 h 3355086"/>
                <a:gd name="connsiteX18715" fmla="*/ 191356 w 3359086"/>
                <a:gd name="connsiteY18715" fmla="*/ 981932 h 3355086"/>
                <a:gd name="connsiteX18716" fmla="*/ 185165 w 3359086"/>
                <a:gd name="connsiteY18716" fmla="*/ 988124 h 3355086"/>
                <a:gd name="connsiteX18717" fmla="*/ 178974 w 3359086"/>
                <a:gd name="connsiteY18717" fmla="*/ 981932 h 3355086"/>
                <a:gd name="connsiteX18718" fmla="*/ 185165 w 3359086"/>
                <a:gd name="connsiteY18718" fmla="*/ 975741 h 3355086"/>
                <a:gd name="connsiteX18719" fmla="*/ 154495 w 3359086"/>
                <a:gd name="connsiteY18719" fmla="*/ 975741 h 3355086"/>
                <a:gd name="connsiteX18720" fmla="*/ 154686 w 3359086"/>
                <a:gd name="connsiteY18720" fmla="*/ 975931 h 3355086"/>
                <a:gd name="connsiteX18721" fmla="*/ 154495 w 3359086"/>
                <a:gd name="connsiteY18721" fmla="*/ 976122 h 3355086"/>
                <a:gd name="connsiteX18722" fmla="*/ 154305 w 3359086"/>
                <a:gd name="connsiteY18722" fmla="*/ 975931 h 3355086"/>
                <a:gd name="connsiteX18723" fmla="*/ 154495 w 3359086"/>
                <a:gd name="connsiteY18723" fmla="*/ 975741 h 3355086"/>
                <a:gd name="connsiteX18724" fmla="*/ 3200209 w 3359086"/>
                <a:gd name="connsiteY18724" fmla="*/ 975075 h 3355086"/>
                <a:gd name="connsiteX18725" fmla="*/ 3205828 w 3359086"/>
                <a:gd name="connsiteY18725" fmla="*/ 980695 h 3355086"/>
                <a:gd name="connsiteX18726" fmla="*/ 3200209 w 3359086"/>
                <a:gd name="connsiteY18726" fmla="*/ 986315 h 3355086"/>
                <a:gd name="connsiteX18727" fmla="*/ 3194589 w 3359086"/>
                <a:gd name="connsiteY18727" fmla="*/ 980695 h 3355086"/>
                <a:gd name="connsiteX18728" fmla="*/ 3200209 w 3359086"/>
                <a:gd name="connsiteY18728" fmla="*/ 975075 h 3355086"/>
                <a:gd name="connsiteX18729" fmla="*/ 2810255 w 3359086"/>
                <a:gd name="connsiteY18729" fmla="*/ 974884 h 3355086"/>
                <a:gd name="connsiteX18730" fmla="*/ 2816446 w 3359086"/>
                <a:gd name="connsiteY18730" fmla="*/ 981075 h 3355086"/>
                <a:gd name="connsiteX18731" fmla="*/ 2810255 w 3359086"/>
                <a:gd name="connsiteY18731" fmla="*/ 987267 h 3355086"/>
                <a:gd name="connsiteX18732" fmla="*/ 2804064 w 3359086"/>
                <a:gd name="connsiteY18732" fmla="*/ 981075 h 3355086"/>
                <a:gd name="connsiteX18733" fmla="*/ 2810255 w 3359086"/>
                <a:gd name="connsiteY18733" fmla="*/ 974884 h 3355086"/>
                <a:gd name="connsiteX18734" fmla="*/ 3160966 w 3359086"/>
                <a:gd name="connsiteY18734" fmla="*/ 974598 h 3355086"/>
                <a:gd name="connsiteX18735" fmla="*/ 3167063 w 3359086"/>
                <a:gd name="connsiteY18735" fmla="*/ 980694 h 3355086"/>
                <a:gd name="connsiteX18736" fmla="*/ 3170967 w 3359086"/>
                <a:gd name="connsiteY18736" fmla="*/ 976789 h 3355086"/>
                <a:gd name="connsiteX18737" fmla="*/ 3177158 w 3359086"/>
                <a:gd name="connsiteY18737" fmla="*/ 982980 h 3355086"/>
                <a:gd name="connsiteX18738" fmla="*/ 3170967 w 3359086"/>
                <a:gd name="connsiteY18738" fmla="*/ 989171 h 3355086"/>
                <a:gd name="connsiteX18739" fmla="*/ 3164872 w 3359086"/>
                <a:gd name="connsiteY18739" fmla="*/ 983076 h 3355086"/>
                <a:gd name="connsiteX18740" fmla="*/ 3160966 w 3359086"/>
                <a:gd name="connsiteY18740" fmla="*/ 986981 h 3355086"/>
                <a:gd name="connsiteX18741" fmla="*/ 3154775 w 3359086"/>
                <a:gd name="connsiteY18741" fmla="*/ 980789 h 3355086"/>
                <a:gd name="connsiteX18742" fmla="*/ 3160966 w 3359086"/>
                <a:gd name="connsiteY18742" fmla="*/ 974598 h 3355086"/>
                <a:gd name="connsiteX18743" fmla="*/ 778382 w 3359086"/>
                <a:gd name="connsiteY18743" fmla="*/ 974503 h 3355086"/>
                <a:gd name="connsiteX18744" fmla="*/ 784574 w 3359086"/>
                <a:gd name="connsiteY18744" fmla="*/ 980694 h 3355086"/>
                <a:gd name="connsiteX18745" fmla="*/ 778382 w 3359086"/>
                <a:gd name="connsiteY18745" fmla="*/ 986885 h 3355086"/>
                <a:gd name="connsiteX18746" fmla="*/ 772191 w 3359086"/>
                <a:gd name="connsiteY18746" fmla="*/ 980694 h 3355086"/>
                <a:gd name="connsiteX18747" fmla="*/ 778382 w 3359086"/>
                <a:gd name="connsiteY18747" fmla="*/ 974503 h 3355086"/>
                <a:gd name="connsiteX18748" fmla="*/ 1956149 w 3359086"/>
                <a:gd name="connsiteY18748" fmla="*/ 973170 h 3355086"/>
                <a:gd name="connsiteX18749" fmla="*/ 1962341 w 3359086"/>
                <a:gd name="connsiteY18749" fmla="*/ 979361 h 3355086"/>
                <a:gd name="connsiteX18750" fmla="*/ 1956149 w 3359086"/>
                <a:gd name="connsiteY18750" fmla="*/ 985552 h 3355086"/>
                <a:gd name="connsiteX18751" fmla="*/ 1949958 w 3359086"/>
                <a:gd name="connsiteY18751" fmla="*/ 979361 h 3355086"/>
                <a:gd name="connsiteX18752" fmla="*/ 1956149 w 3359086"/>
                <a:gd name="connsiteY18752" fmla="*/ 973170 h 3355086"/>
                <a:gd name="connsiteX18753" fmla="*/ 198310 w 3359086"/>
                <a:gd name="connsiteY18753" fmla="*/ 972503 h 3355086"/>
                <a:gd name="connsiteX18754" fmla="*/ 204501 w 3359086"/>
                <a:gd name="connsiteY18754" fmla="*/ 978694 h 3355086"/>
                <a:gd name="connsiteX18755" fmla="*/ 198310 w 3359086"/>
                <a:gd name="connsiteY18755" fmla="*/ 984886 h 3355086"/>
                <a:gd name="connsiteX18756" fmla="*/ 192119 w 3359086"/>
                <a:gd name="connsiteY18756" fmla="*/ 978694 h 3355086"/>
                <a:gd name="connsiteX18757" fmla="*/ 198310 w 3359086"/>
                <a:gd name="connsiteY18757" fmla="*/ 972503 h 3355086"/>
                <a:gd name="connsiteX18758" fmla="*/ 248125 w 3359086"/>
                <a:gd name="connsiteY18758" fmla="*/ 971360 h 3355086"/>
                <a:gd name="connsiteX18759" fmla="*/ 254317 w 3359086"/>
                <a:gd name="connsiteY18759" fmla="*/ 977551 h 3355086"/>
                <a:gd name="connsiteX18760" fmla="*/ 248125 w 3359086"/>
                <a:gd name="connsiteY18760" fmla="*/ 983742 h 3355086"/>
                <a:gd name="connsiteX18761" fmla="*/ 241934 w 3359086"/>
                <a:gd name="connsiteY18761" fmla="*/ 977551 h 3355086"/>
                <a:gd name="connsiteX18762" fmla="*/ 248125 w 3359086"/>
                <a:gd name="connsiteY18762" fmla="*/ 971360 h 3355086"/>
                <a:gd name="connsiteX18763" fmla="*/ 3151822 w 3359086"/>
                <a:gd name="connsiteY18763" fmla="*/ 971169 h 3355086"/>
                <a:gd name="connsiteX18764" fmla="*/ 3158013 w 3359086"/>
                <a:gd name="connsiteY18764" fmla="*/ 977360 h 3355086"/>
                <a:gd name="connsiteX18765" fmla="*/ 3151822 w 3359086"/>
                <a:gd name="connsiteY18765" fmla="*/ 983552 h 3355086"/>
                <a:gd name="connsiteX18766" fmla="*/ 3145631 w 3359086"/>
                <a:gd name="connsiteY18766" fmla="*/ 977360 h 3355086"/>
                <a:gd name="connsiteX18767" fmla="*/ 3151822 w 3359086"/>
                <a:gd name="connsiteY18767" fmla="*/ 971169 h 3355086"/>
                <a:gd name="connsiteX18768" fmla="*/ 218122 w 3359086"/>
                <a:gd name="connsiteY18768" fmla="*/ 970598 h 3355086"/>
                <a:gd name="connsiteX18769" fmla="*/ 224313 w 3359086"/>
                <a:gd name="connsiteY18769" fmla="*/ 976789 h 3355086"/>
                <a:gd name="connsiteX18770" fmla="*/ 218122 w 3359086"/>
                <a:gd name="connsiteY18770" fmla="*/ 982981 h 3355086"/>
                <a:gd name="connsiteX18771" fmla="*/ 211931 w 3359086"/>
                <a:gd name="connsiteY18771" fmla="*/ 976789 h 3355086"/>
                <a:gd name="connsiteX18772" fmla="*/ 218122 w 3359086"/>
                <a:gd name="connsiteY18772" fmla="*/ 970598 h 3355086"/>
                <a:gd name="connsiteX18773" fmla="*/ 166782 w 3359086"/>
                <a:gd name="connsiteY18773" fmla="*/ 968788 h 3355086"/>
                <a:gd name="connsiteX18774" fmla="*/ 172973 w 3359086"/>
                <a:gd name="connsiteY18774" fmla="*/ 974979 h 3355086"/>
                <a:gd name="connsiteX18775" fmla="*/ 166782 w 3359086"/>
                <a:gd name="connsiteY18775" fmla="*/ 981171 h 3355086"/>
                <a:gd name="connsiteX18776" fmla="*/ 160591 w 3359086"/>
                <a:gd name="connsiteY18776" fmla="*/ 974979 h 3355086"/>
                <a:gd name="connsiteX18777" fmla="*/ 166782 w 3359086"/>
                <a:gd name="connsiteY18777" fmla="*/ 968788 h 3355086"/>
                <a:gd name="connsiteX18778" fmla="*/ 1442941 w 3359086"/>
                <a:gd name="connsiteY18778" fmla="*/ 968312 h 3355086"/>
                <a:gd name="connsiteX18779" fmla="*/ 1449133 w 3359086"/>
                <a:gd name="connsiteY18779" fmla="*/ 974503 h 3355086"/>
                <a:gd name="connsiteX18780" fmla="*/ 1442941 w 3359086"/>
                <a:gd name="connsiteY18780" fmla="*/ 980694 h 3355086"/>
                <a:gd name="connsiteX18781" fmla="*/ 1436750 w 3359086"/>
                <a:gd name="connsiteY18781" fmla="*/ 974503 h 3355086"/>
                <a:gd name="connsiteX18782" fmla="*/ 1442941 w 3359086"/>
                <a:gd name="connsiteY18782" fmla="*/ 968312 h 3355086"/>
                <a:gd name="connsiteX18783" fmla="*/ 3141440 w 3359086"/>
                <a:gd name="connsiteY18783" fmla="*/ 967073 h 3355086"/>
                <a:gd name="connsiteX18784" fmla="*/ 3147631 w 3359086"/>
                <a:gd name="connsiteY18784" fmla="*/ 973264 h 3355086"/>
                <a:gd name="connsiteX18785" fmla="*/ 3141440 w 3359086"/>
                <a:gd name="connsiteY18785" fmla="*/ 979456 h 3355086"/>
                <a:gd name="connsiteX18786" fmla="*/ 3135249 w 3359086"/>
                <a:gd name="connsiteY18786" fmla="*/ 973264 h 3355086"/>
                <a:gd name="connsiteX18787" fmla="*/ 3141440 w 3359086"/>
                <a:gd name="connsiteY18787" fmla="*/ 967073 h 3355086"/>
                <a:gd name="connsiteX18788" fmla="*/ 3025425 w 3359086"/>
                <a:gd name="connsiteY18788" fmla="*/ 966216 h 3355086"/>
                <a:gd name="connsiteX18789" fmla="*/ 3031616 w 3359086"/>
                <a:gd name="connsiteY18789" fmla="*/ 972407 h 3355086"/>
                <a:gd name="connsiteX18790" fmla="*/ 3025425 w 3359086"/>
                <a:gd name="connsiteY18790" fmla="*/ 978599 h 3355086"/>
                <a:gd name="connsiteX18791" fmla="*/ 3019234 w 3359086"/>
                <a:gd name="connsiteY18791" fmla="*/ 972407 h 3355086"/>
                <a:gd name="connsiteX18792" fmla="*/ 3025425 w 3359086"/>
                <a:gd name="connsiteY18792" fmla="*/ 966216 h 3355086"/>
                <a:gd name="connsiteX18793" fmla="*/ 176688 w 3359086"/>
                <a:gd name="connsiteY18793" fmla="*/ 965931 h 3355086"/>
                <a:gd name="connsiteX18794" fmla="*/ 182880 w 3359086"/>
                <a:gd name="connsiteY18794" fmla="*/ 972122 h 3355086"/>
                <a:gd name="connsiteX18795" fmla="*/ 176688 w 3359086"/>
                <a:gd name="connsiteY18795" fmla="*/ 978313 h 3355086"/>
                <a:gd name="connsiteX18796" fmla="*/ 170497 w 3359086"/>
                <a:gd name="connsiteY18796" fmla="*/ 972122 h 3355086"/>
                <a:gd name="connsiteX18797" fmla="*/ 176688 w 3359086"/>
                <a:gd name="connsiteY18797" fmla="*/ 965931 h 3355086"/>
                <a:gd name="connsiteX18798" fmla="*/ 396716 w 3359086"/>
                <a:gd name="connsiteY18798" fmla="*/ 965359 h 3355086"/>
                <a:gd name="connsiteX18799" fmla="*/ 402907 w 3359086"/>
                <a:gd name="connsiteY18799" fmla="*/ 971550 h 3355086"/>
                <a:gd name="connsiteX18800" fmla="*/ 396716 w 3359086"/>
                <a:gd name="connsiteY18800" fmla="*/ 977742 h 3355086"/>
                <a:gd name="connsiteX18801" fmla="*/ 390525 w 3359086"/>
                <a:gd name="connsiteY18801" fmla="*/ 971550 h 3355086"/>
                <a:gd name="connsiteX18802" fmla="*/ 396716 w 3359086"/>
                <a:gd name="connsiteY18802" fmla="*/ 965359 h 3355086"/>
                <a:gd name="connsiteX18803" fmla="*/ 1830133 w 3359086"/>
                <a:gd name="connsiteY18803" fmla="*/ 965073 h 3355086"/>
                <a:gd name="connsiteX18804" fmla="*/ 1836324 w 3359086"/>
                <a:gd name="connsiteY18804" fmla="*/ 971264 h 3355086"/>
                <a:gd name="connsiteX18805" fmla="*/ 1830133 w 3359086"/>
                <a:gd name="connsiteY18805" fmla="*/ 977456 h 3355086"/>
                <a:gd name="connsiteX18806" fmla="*/ 1823942 w 3359086"/>
                <a:gd name="connsiteY18806" fmla="*/ 971264 h 3355086"/>
                <a:gd name="connsiteX18807" fmla="*/ 1830133 w 3359086"/>
                <a:gd name="connsiteY18807" fmla="*/ 965073 h 3355086"/>
                <a:gd name="connsiteX18808" fmla="*/ 2515075 w 3359086"/>
                <a:gd name="connsiteY18808" fmla="*/ 964978 h 3355086"/>
                <a:gd name="connsiteX18809" fmla="*/ 2521267 w 3359086"/>
                <a:gd name="connsiteY18809" fmla="*/ 971169 h 3355086"/>
                <a:gd name="connsiteX18810" fmla="*/ 2515075 w 3359086"/>
                <a:gd name="connsiteY18810" fmla="*/ 977360 h 3355086"/>
                <a:gd name="connsiteX18811" fmla="*/ 2508884 w 3359086"/>
                <a:gd name="connsiteY18811" fmla="*/ 971169 h 3355086"/>
                <a:gd name="connsiteX18812" fmla="*/ 2515075 w 3359086"/>
                <a:gd name="connsiteY18812" fmla="*/ 964978 h 3355086"/>
                <a:gd name="connsiteX18813" fmla="*/ 3172586 w 3359086"/>
                <a:gd name="connsiteY18813" fmla="*/ 963454 h 3355086"/>
                <a:gd name="connsiteX18814" fmla="*/ 3178778 w 3359086"/>
                <a:gd name="connsiteY18814" fmla="*/ 969645 h 3355086"/>
                <a:gd name="connsiteX18815" fmla="*/ 3172586 w 3359086"/>
                <a:gd name="connsiteY18815" fmla="*/ 975837 h 3355086"/>
                <a:gd name="connsiteX18816" fmla="*/ 3166395 w 3359086"/>
                <a:gd name="connsiteY18816" fmla="*/ 969645 h 3355086"/>
                <a:gd name="connsiteX18817" fmla="*/ 3172586 w 3359086"/>
                <a:gd name="connsiteY18817" fmla="*/ 963454 h 3355086"/>
                <a:gd name="connsiteX18818" fmla="*/ 3127057 w 3359086"/>
                <a:gd name="connsiteY18818" fmla="*/ 963264 h 3355086"/>
                <a:gd name="connsiteX18819" fmla="*/ 3133249 w 3359086"/>
                <a:gd name="connsiteY18819" fmla="*/ 969455 h 3355086"/>
                <a:gd name="connsiteX18820" fmla="*/ 3127057 w 3359086"/>
                <a:gd name="connsiteY18820" fmla="*/ 975646 h 3355086"/>
                <a:gd name="connsiteX18821" fmla="*/ 3120866 w 3359086"/>
                <a:gd name="connsiteY18821" fmla="*/ 969455 h 3355086"/>
                <a:gd name="connsiteX18822" fmla="*/ 3127057 w 3359086"/>
                <a:gd name="connsiteY18822" fmla="*/ 963264 h 3355086"/>
                <a:gd name="connsiteX18823" fmla="*/ 553211 w 3359086"/>
                <a:gd name="connsiteY18823" fmla="*/ 963073 h 3355086"/>
                <a:gd name="connsiteX18824" fmla="*/ 559402 w 3359086"/>
                <a:gd name="connsiteY18824" fmla="*/ 969264 h 3355086"/>
                <a:gd name="connsiteX18825" fmla="*/ 553211 w 3359086"/>
                <a:gd name="connsiteY18825" fmla="*/ 975456 h 3355086"/>
                <a:gd name="connsiteX18826" fmla="*/ 547020 w 3359086"/>
                <a:gd name="connsiteY18826" fmla="*/ 969264 h 3355086"/>
                <a:gd name="connsiteX18827" fmla="*/ 553211 w 3359086"/>
                <a:gd name="connsiteY18827" fmla="*/ 963073 h 3355086"/>
                <a:gd name="connsiteX18828" fmla="*/ 3188112 w 3359086"/>
                <a:gd name="connsiteY18828" fmla="*/ 962692 h 3355086"/>
                <a:gd name="connsiteX18829" fmla="*/ 3194303 w 3359086"/>
                <a:gd name="connsiteY18829" fmla="*/ 968883 h 3355086"/>
                <a:gd name="connsiteX18830" fmla="*/ 3188112 w 3359086"/>
                <a:gd name="connsiteY18830" fmla="*/ 975075 h 3355086"/>
                <a:gd name="connsiteX18831" fmla="*/ 3181921 w 3359086"/>
                <a:gd name="connsiteY18831" fmla="*/ 968883 h 3355086"/>
                <a:gd name="connsiteX18832" fmla="*/ 3188112 w 3359086"/>
                <a:gd name="connsiteY18832" fmla="*/ 962692 h 3355086"/>
                <a:gd name="connsiteX18833" fmla="*/ 1570957 w 3359086"/>
                <a:gd name="connsiteY18833" fmla="*/ 962502 h 3355086"/>
                <a:gd name="connsiteX18834" fmla="*/ 1577149 w 3359086"/>
                <a:gd name="connsiteY18834" fmla="*/ 968693 h 3355086"/>
                <a:gd name="connsiteX18835" fmla="*/ 1570957 w 3359086"/>
                <a:gd name="connsiteY18835" fmla="*/ 974884 h 3355086"/>
                <a:gd name="connsiteX18836" fmla="*/ 1564766 w 3359086"/>
                <a:gd name="connsiteY18836" fmla="*/ 968693 h 3355086"/>
                <a:gd name="connsiteX18837" fmla="*/ 1570957 w 3359086"/>
                <a:gd name="connsiteY18837" fmla="*/ 962502 h 3355086"/>
                <a:gd name="connsiteX18838" fmla="*/ 3160585 w 3359086"/>
                <a:gd name="connsiteY18838" fmla="*/ 961739 h 3355086"/>
                <a:gd name="connsiteX18839" fmla="*/ 3166776 w 3359086"/>
                <a:gd name="connsiteY18839" fmla="*/ 967930 h 3355086"/>
                <a:gd name="connsiteX18840" fmla="*/ 3160585 w 3359086"/>
                <a:gd name="connsiteY18840" fmla="*/ 974122 h 3355086"/>
                <a:gd name="connsiteX18841" fmla="*/ 3154394 w 3359086"/>
                <a:gd name="connsiteY18841" fmla="*/ 967930 h 3355086"/>
                <a:gd name="connsiteX18842" fmla="*/ 3160585 w 3359086"/>
                <a:gd name="connsiteY18842" fmla="*/ 961739 h 3355086"/>
                <a:gd name="connsiteX18843" fmla="*/ 186213 w 3359086"/>
                <a:gd name="connsiteY18843" fmla="*/ 961644 h 3355086"/>
                <a:gd name="connsiteX18844" fmla="*/ 192405 w 3359086"/>
                <a:gd name="connsiteY18844" fmla="*/ 967835 h 3355086"/>
                <a:gd name="connsiteX18845" fmla="*/ 186213 w 3359086"/>
                <a:gd name="connsiteY18845" fmla="*/ 974027 h 3355086"/>
                <a:gd name="connsiteX18846" fmla="*/ 180022 w 3359086"/>
                <a:gd name="connsiteY18846" fmla="*/ 967835 h 3355086"/>
                <a:gd name="connsiteX18847" fmla="*/ 186213 w 3359086"/>
                <a:gd name="connsiteY18847" fmla="*/ 961644 h 3355086"/>
                <a:gd name="connsiteX18848" fmla="*/ 3073050 w 3359086"/>
                <a:gd name="connsiteY18848" fmla="*/ 961358 h 3355086"/>
                <a:gd name="connsiteX18849" fmla="*/ 3079241 w 3359086"/>
                <a:gd name="connsiteY18849" fmla="*/ 967549 h 3355086"/>
                <a:gd name="connsiteX18850" fmla="*/ 3073050 w 3359086"/>
                <a:gd name="connsiteY18850" fmla="*/ 973741 h 3355086"/>
                <a:gd name="connsiteX18851" fmla="*/ 3066859 w 3359086"/>
                <a:gd name="connsiteY18851" fmla="*/ 967549 h 3355086"/>
                <a:gd name="connsiteX18852" fmla="*/ 3073050 w 3359086"/>
                <a:gd name="connsiteY18852" fmla="*/ 961358 h 3355086"/>
                <a:gd name="connsiteX18853" fmla="*/ 1700878 w 3359086"/>
                <a:gd name="connsiteY18853" fmla="*/ 961358 h 3355086"/>
                <a:gd name="connsiteX18854" fmla="*/ 1707070 w 3359086"/>
                <a:gd name="connsiteY18854" fmla="*/ 967549 h 3355086"/>
                <a:gd name="connsiteX18855" fmla="*/ 1700878 w 3359086"/>
                <a:gd name="connsiteY18855" fmla="*/ 973741 h 3355086"/>
                <a:gd name="connsiteX18856" fmla="*/ 1694687 w 3359086"/>
                <a:gd name="connsiteY18856" fmla="*/ 967549 h 3355086"/>
                <a:gd name="connsiteX18857" fmla="*/ 1700878 w 3359086"/>
                <a:gd name="connsiteY18857" fmla="*/ 961358 h 3355086"/>
                <a:gd name="connsiteX18858" fmla="*/ 3105435 w 3359086"/>
                <a:gd name="connsiteY18858" fmla="*/ 960882 h 3355086"/>
                <a:gd name="connsiteX18859" fmla="*/ 3111626 w 3359086"/>
                <a:gd name="connsiteY18859" fmla="*/ 967073 h 3355086"/>
                <a:gd name="connsiteX18860" fmla="*/ 3105435 w 3359086"/>
                <a:gd name="connsiteY18860" fmla="*/ 973264 h 3355086"/>
                <a:gd name="connsiteX18861" fmla="*/ 3099244 w 3359086"/>
                <a:gd name="connsiteY18861" fmla="*/ 967073 h 3355086"/>
                <a:gd name="connsiteX18862" fmla="*/ 3105435 w 3359086"/>
                <a:gd name="connsiteY18862" fmla="*/ 960882 h 3355086"/>
                <a:gd name="connsiteX18863" fmla="*/ 3150583 w 3359086"/>
                <a:gd name="connsiteY18863" fmla="*/ 958120 h 3355086"/>
                <a:gd name="connsiteX18864" fmla="*/ 3156775 w 3359086"/>
                <a:gd name="connsiteY18864" fmla="*/ 964311 h 3355086"/>
                <a:gd name="connsiteX18865" fmla="*/ 3150583 w 3359086"/>
                <a:gd name="connsiteY18865" fmla="*/ 970502 h 3355086"/>
                <a:gd name="connsiteX18866" fmla="*/ 3144392 w 3359086"/>
                <a:gd name="connsiteY18866" fmla="*/ 964311 h 3355086"/>
                <a:gd name="connsiteX18867" fmla="*/ 3150583 w 3359086"/>
                <a:gd name="connsiteY18867" fmla="*/ 958120 h 3355086"/>
                <a:gd name="connsiteX18868" fmla="*/ 197548 w 3359086"/>
                <a:gd name="connsiteY18868" fmla="*/ 956787 h 3355086"/>
                <a:gd name="connsiteX18869" fmla="*/ 203739 w 3359086"/>
                <a:gd name="connsiteY18869" fmla="*/ 962978 h 3355086"/>
                <a:gd name="connsiteX18870" fmla="*/ 197548 w 3359086"/>
                <a:gd name="connsiteY18870" fmla="*/ 969169 h 3355086"/>
                <a:gd name="connsiteX18871" fmla="*/ 191357 w 3359086"/>
                <a:gd name="connsiteY18871" fmla="*/ 962978 h 3355086"/>
                <a:gd name="connsiteX18872" fmla="*/ 197548 w 3359086"/>
                <a:gd name="connsiteY18872" fmla="*/ 956787 h 3355086"/>
                <a:gd name="connsiteX18873" fmla="*/ 165449 w 3359086"/>
                <a:gd name="connsiteY18873" fmla="*/ 956406 h 3355086"/>
                <a:gd name="connsiteX18874" fmla="*/ 171068 w 3359086"/>
                <a:gd name="connsiteY18874" fmla="*/ 962026 h 3355086"/>
                <a:gd name="connsiteX18875" fmla="*/ 165449 w 3359086"/>
                <a:gd name="connsiteY18875" fmla="*/ 967646 h 3355086"/>
                <a:gd name="connsiteX18876" fmla="*/ 159829 w 3359086"/>
                <a:gd name="connsiteY18876" fmla="*/ 962026 h 3355086"/>
                <a:gd name="connsiteX18877" fmla="*/ 165449 w 3359086"/>
                <a:gd name="connsiteY18877" fmla="*/ 956406 h 3355086"/>
                <a:gd name="connsiteX18878" fmla="*/ 2915030 w 3359086"/>
                <a:gd name="connsiteY18878" fmla="*/ 954881 h 3355086"/>
                <a:gd name="connsiteX18879" fmla="*/ 2921221 w 3359086"/>
                <a:gd name="connsiteY18879" fmla="*/ 961072 h 3355086"/>
                <a:gd name="connsiteX18880" fmla="*/ 2915030 w 3359086"/>
                <a:gd name="connsiteY18880" fmla="*/ 967264 h 3355086"/>
                <a:gd name="connsiteX18881" fmla="*/ 2908839 w 3359086"/>
                <a:gd name="connsiteY18881" fmla="*/ 961072 h 3355086"/>
                <a:gd name="connsiteX18882" fmla="*/ 2915030 w 3359086"/>
                <a:gd name="connsiteY18882" fmla="*/ 954881 h 3355086"/>
                <a:gd name="connsiteX18883" fmla="*/ 863536 w 3359086"/>
                <a:gd name="connsiteY18883" fmla="*/ 954215 h 3355086"/>
                <a:gd name="connsiteX18884" fmla="*/ 869727 w 3359086"/>
                <a:gd name="connsiteY18884" fmla="*/ 960406 h 3355086"/>
                <a:gd name="connsiteX18885" fmla="*/ 863536 w 3359086"/>
                <a:gd name="connsiteY18885" fmla="*/ 966598 h 3355086"/>
                <a:gd name="connsiteX18886" fmla="*/ 857345 w 3359086"/>
                <a:gd name="connsiteY18886" fmla="*/ 960406 h 3355086"/>
                <a:gd name="connsiteX18887" fmla="*/ 863536 w 3359086"/>
                <a:gd name="connsiteY18887" fmla="*/ 954215 h 3355086"/>
                <a:gd name="connsiteX18888" fmla="*/ 324135 w 3359086"/>
                <a:gd name="connsiteY18888" fmla="*/ 954215 h 3355086"/>
                <a:gd name="connsiteX18889" fmla="*/ 330326 w 3359086"/>
                <a:gd name="connsiteY18889" fmla="*/ 960406 h 3355086"/>
                <a:gd name="connsiteX18890" fmla="*/ 324135 w 3359086"/>
                <a:gd name="connsiteY18890" fmla="*/ 966598 h 3355086"/>
                <a:gd name="connsiteX18891" fmla="*/ 317944 w 3359086"/>
                <a:gd name="connsiteY18891" fmla="*/ 960406 h 3355086"/>
                <a:gd name="connsiteX18892" fmla="*/ 324135 w 3359086"/>
                <a:gd name="connsiteY18892" fmla="*/ 954215 h 3355086"/>
                <a:gd name="connsiteX18893" fmla="*/ 3195066 w 3359086"/>
                <a:gd name="connsiteY18893" fmla="*/ 954024 h 3355086"/>
                <a:gd name="connsiteX18894" fmla="*/ 3195351 w 3359086"/>
                <a:gd name="connsiteY18894" fmla="*/ 954310 h 3355086"/>
                <a:gd name="connsiteX18895" fmla="*/ 3195066 w 3359086"/>
                <a:gd name="connsiteY18895" fmla="*/ 954595 h 3355086"/>
                <a:gd name="connsiteX18896" fmla="*/ 3194780 w 3359086"/>
                <a:gd name="connsiteY18896" fmla="*/ 954310 h 3355086"/>
                <a:gd name="connsiteX18897" fmla="*/ 3195066 w 3359086"/>
                <a:gd name="connsiteY18897" fmla="*/ 954024 h 3355086"/>
                <a:gd name="connsiteX18898" fmla="*/ 177164 w 3359086"/>
                <a:gd name="connsiteY18898" fmla="*/ 953358 h 3355086"/>
                <a:gd name="connsiteX18899" fmla="*/ 183355 w 3359086"/>
                <a:gd name="connsiteY18899" fmla="*/ 959549 h 3355086"/>
                <a:gd name="connsiteX18900" fmla="*/ 177164 w 3359086"/>
                <a:gd name="connsiteY18900" fmla="*/ 965740 h 3355086"/>
                <a:gd name="connsiteX18901" fmla="*/ 170973 w 3359086"/>
                <a:gd name="connsiteY18901" fmla="*/ 959549 h 3355086"/>
                <a:gd name="connsiteX18902" fmla="*/ 177164 w 3359086"/>
                <a:gd name="connsiteY18902" fmla="*/ 953358 h 3355086"/>
                <a:gd name="connsiteX18903" fmla="*/ 3140677 w 3359086"/>
                <a:gd name="connsiteY18903" fmla="*/ 953167 h 3355086"/>
                <a:gd name="connsiteX18904" fmla="*/ 3146869 w 3359086"/>
                <a:gd name="connsiteY18904" fmla="*/ 959358 h 3355086"/>
                <a:gd name="connsiteX18905" fmla="*/ 3140677 w 3359086"/>
                <a:gd name="connsiteY18905" fmla="*/ 965550 h 3355086"/>
                <a:gd name="connsiteX18906" fmla="*/ 3134486 w 3359086"/>
                <a:gd name="connsiteY18906" fmla="*/ 959358 h 3355086"/>
                <a:gd name="connsiteX18907" fmla="*/ 3140677 w 3359086"/>
                <a:gd name="connsiteY18907" fmla="*/ 953167 h 3355086"/>
                <a:gd name="connsiteX18908" fmla="*/ 2750438 w 3359086"/>
                <a:gd name="connsiteY18908" fmla="*/ 952786 h 3355086"/>
                <a:gd name="connsiteX18909" fmla="*/ 2756630 w 3359086"/>
                <a:gd name="connsiteY18909" fmla="*/ 958977 h 3355086"/>
                <a:gd name="connsiteX18910" fmla="*/ 2750438 w 3359086"/>
                <a:gd name="connsiteY18910" fmla="*/ 965169 h 3355086"/>
                <a:gd name="connsiteX18911" fmla="*/ 2744247 w 3359086"/>
                <a:gd name="connsiteY18911" fmla="*/ 958977 h 3355086"/>
                <a:gd name="connsiteX18912" fmla="*/ 2750438 w 3359086"/>
                <a:gd name="connsiteY18912" fmla="*/ 952786 h 3355086"/>
                <a:gd name="connsiteX18913" fmla="*/ 213455 w 3359086"/>
                <a:gd name="connsiteY18913" fmla="*/ 952310 h 3355086"/>
                <a:gd name="connsiteX18914" fmla="*/ 219646 w 3359086"/>
                <a:gd name="connsiteY18914" fmla="*/ 958501 h 3355086"/>
                <a:gd name="connsiteX18915" fmla="*/ 213455 w 3359086"/>
                <a:gd name="connsiteY18915" fmla="*/ 964692 h 3355086"/>
                <a:gd name="connsiteX18916" fmla="*/ 207264 w 3359086"/>
                <a:gd name="connsiteY18916" fmla="*/ 958501 h 3355086"/>
                <a:gd name="connsiteX18917" fmla="*/ 213455 w 3359086"/>
                <a:gd name="connsiteY18917" fmla="*/ 952310 h 3355086"/>
                <a:gd name="connsiteX18918" fmla="*/ 3176301 w 3359086"/>
                <a:gd name="connsiteY18918" fmla="*/ 950119 h 3355086"/>
                <a:gd name="connsiteX18919" fmla="*/ 3182492 w 3359086"/>
                <a:gd name="connsiteY18919" fmla="*/ 956310 h 3355086"/>
                <a:gd name="connsiteX18920" fmla="*/ 3176301 w 3359086"/>
                <a:gd name="connsiteY18920" fmla="*/ 962502 h 3355086"/>
                <a:gd name="connsiteX18921" fmla="*/ 3170110 w 3359086"/>
                <a:gd name="connsiteY18921" fmla="*/ 956310 h 3355086"/>
                <a:gd name="connsiteX18922" fmla="*/ 3176301 w 3359086"/>
                <a:gd name="connsiteY18922" fmla="*/ 950119 h 3355086"/>
                <a:gd name="connsiteX18923" fmla="*/ 272605 w 3359086"/>
                <a:gd name="connsiteY18923" fmla="*/ 949548 h 3355086"/>
                <a:gd name="connsiteX18924" fmla="*/ 278797 w 3359086"/>
                <a:gd name="connsiteY18924" fmla="*/ 955739 h 3355086"/>
                <a:gd name="connsiteX18925" fmla="*/ 272605 w 3359086"/>
                <a:gd name="connsiteY18925" fmla="*/ 961931 h 3355086"/>
                <a:gd name="connsiteX18926" fmla="*/ 266414 w 3359086"/>
                <a:gd name="connsiteY18926" fmla="*/ 955739 h 3355086"/>
                <a:gd name="connsiteX18927" fmla="*/ 272605 w 3359086"/>
                <a:gd name="connsiteY18927" fmla="*/ 949548 h 3355086"/>
                <a:gd name="connsiteX18928" fmla="*/ 237172 w 3359086"/>
                <a:gd name="connsiteY18928" fmla="*/ 949452 h 3355086"/>
                <a:gd name="connsiteX18929" fmla="*/ 243363 w 3359086"/>
                <a:gd name="connsiteY18929" fmla="*/ 955643 h 3355086"/>
                <a:gd name="connsiteX18930" fmla="*/ 237172 w 3359086"/>
                <a:gd name="connsiteY18930" fmla="*/ 961835 h 3355086"/>
                <a:gd name="connsiteX18931" fmla="*/ 230981 w 3359086"/>
                <a:gd name="connsiteY18931" fmla="*/ 955643 h 3355086"/>
                <a:gd name="connsiteX18932" fmla="*/ 237172 w 3359086"/>
                <a:gd name="connsiteY18932" fmla="*/ 949452 h 3355086"/>
                <a:gd name="connsiteX18933" fmla="*/ 3161632 w 3359086"/>
                <a:gd name="connsiteY18933" fmla="*/ 949262 h 3355086"/>
                <a:gd name="connsiteX18934" fmla="*/ 3167823 w 3359086"/>
                <a:gd name="connsiteY18934" fmla="*/ 955453 h 3355086"/>
                <a:gd name="connsiteX18935" fmla="*/ 3161632 w 3359086"/>
                <a:gd name="connsiteY18935" fmla="*/ 961644 h 3355086"/>
                <a:gd name="connsiteX18936" fmla="*/ 3155441 w 3359086"/>
                <a:gd name="connsiteY18936" fmla="*/ 955453 h 3355086"/>
                <a:gd name="connsiteX18937" fmla="*/ 3161632 w 3359086"/>
                <a:gd name="connsiteY18937" fmla="*/ 949262 h 3355086"/>
                <a:gd name="connsiteX18938" fmla="*/ 3128485 w 3359086"/>
                <a:gd name="connsiteY18938" fmla="*/ 947738 h 3355086"/>
                <a:gd name="connsiteX18939" fmla="*/ 3134677 w 3359086"/>
                <a:gd name="connsiteY18939" fmla="*/ 953929 h 3355086"/>
                <a:gd name="connsiteX18940" fmla="*/ 3128485 w 3359086"/>
                <a:gd name="connsiteY18940" fmla="*/ 960121 h 3355086"/>
                <a:gd name="connsiteX18941" fmla="*/ 3122294 w 3359086"/>
                <a:gd name="connsiteY18941" fmla="*/ 953929 h 3355086"/>
                <a:gd name="connsiteX18942" fmla="*/ 3128485 w 3359086"/>
                <a:gd name="connsiteY18942" fmla="*/ 947738 h 3355086"/>
                <a:gd name="connsiteX18943" fmla="*/ 2426779 w 3359086"/>
                <a:gd name="connsiteY18943" fmla="*/ 945071 h 3355086"/>
                <a:gd name="connsiteX18944" fmla="*/ 2432970 w 3359086"/>
                <a:gd name="connsiteY18944" fmla="*/ 951262 h 3355086"/>
                <a:gd name="connsiteX18945" fmla="*/ 2426779 w 3359086"/>
                <a:gd name="connsiteY18945" fmla="*/ 957454 h 3355086"/>
                <a:gd name="connsiteX18946" fmla="*/ 2420588 w 3359086"/>
                <a:gd name="connsiteY18946" fmla="*/ 951262 h 3355086"/>
                <a:gd name="connsiteX18947" fmla="*/ 2426779 w 3359086"/>
                <a:gd name="connsiteY18947" fmla="*/ 945071 h 3355086"/>
                <a:gd name="connsiteX18948" fmla="*/ 2992088 w 3359086"/>
                <a:gd name="connsiteY18948" fmla="*/ 943737 h 3355086"/>
                <a:gd name="connsiteX18949" fmla="*/ 2998279 w 3359086"/>
                <a:gd name="connsiteY18949" fmla="*/ 949928 h 3355086"/>
                <a:gd name="connsiteX18950" fmla="*/ 2992088 w 3359086"/>
                <a:gd name="connsiteY18950" fmla="*/ 956120 h 3355086"/>
                <a:gd name="connsiteX18951" fmla="*/ 2985897 w 3359086"/>
                <a:gd name="connsiteY18951" fmla="*/ 949928 h 3355086"/>
                <a:gd name="connsiteX18952" fmla="*/ 2992088 w 3359086"/>
                <a:gd name="connsiteY18952" fmla="*/ 943737 h 3355086"/>
                <a:gd name="connsiteX18953" fmla="*/ 197834 w 3359086"/>
                <a:gd name="connsiteY18953" fmla="*/ 943166 h 3355086"/>
                <a:gd name="connsiteX18954" fmla="*/ 204025 w 3359086"/>
                <a:gd name="connsiteY18954" fmla="*/ 949357 h 3355086"/>
                <a:gd name="connsiteX18955" fmla="*/ 197834 w 3359086"/>
                <a:gd name="connsiteY18955" fmla="*/ 955548 h 3355086"/>
                <a:gd name="connsiteX18956" fmla="*/ 191643 w 3359086"/>
                <a:gd name="connsiteY18956" fmla="*/ 949357 h 3355086"/>
                <a:gd name="connsiteX18957" fmla="*/ 197834 w 3359086"/>
                <a:gd name="connsiteY18957" fmla="*/ 943166 h 3355086"/>
                <a:gd name="connsiteX18958" fmla="*/ 441864 w 3359086"/>
                <a:gd name="connsiteY18958" fmla="*/ 942785 h 3355086"/>
                <a:gd name="connsiteX18959" fmla="*/ 448055 w 3359086"/>
                <a:gd name="connsiteY18959" fmla="*/ 948976 h 3355086"/>
                <a:gd name="connsiteX18960" fmla="*/ 441864 w 3359086"/>
                <a:gd name="connsiteY18960" fmla="*/ 955167 h 3355086"/>
                <a:gd name="connsiteX18961" fmla="*/ 435673 w 3359086"/>
                <a:gd name="connsiteY18961" fmla="*/ 948976 h 3355086"/>
                <a:gd name="connsiteX18962" fmla="*/ 441864 w 3359086"/>
                <a:gd name="connsiteY18962" fmla="*/ 942785 h 3355086"/>
                <a:gd name="connsiteX18963" fmla="*/ 3111150 w 3359086"/>
                <a:gd name="connsiteY18963" fmla="*/ 942689 h 3355086"/>
                <a:gd name="connsiteX18964" fmla="*/ 3117341 w 3359086"/>
                <a:gd name="connsiteY18964" fmla="*/ 948880 h 3355086"/>
                <a:gd name="connsiteX18965" fmla="*/ 3111150 w 3359086"/>
                <a:gd name="connsiteY18965" fmla="*/ 955072 h 3355086"/>
                <a:gd name="connsiteX18966" fmla="*/ 3104959 w 3359086"/>
                <a:gd name="connsiteY18966" fmla="*/ 948880 h 3355086"/>
                <a:gd name="connsiteX18967" fmla="*/ 3111150 w 3359086"/>
                <a:gd name="connsiteY18967" fmla="*/ 942689 h 3355086"/>
                <a:gd name="connsiteX18968" fmla="*/ 176402 w 3359086"/>
                <a:gd name="connsiteY18968" fmla="*/ 941356 h 3355086"/>
                <a:gd name="connsiteX18969" fmla="*/ 182593 w 3359086"/>
                <a:gd name="connsiteY18969" fmla="*/ 947547 h 3355086"/>
                <a:gd name="connsiteX18970" fmla="*/ 176402 w 3359086"/>
                <a:gd name="connsiteY18970" fmla="*/ 953739 h 3355086"/>
                <a:gd name="connsiteX18971" fmla="*/ 170211 w 3359086"/>
                <a:gd name="connsiteY18971" fmla="*/ 947547 h 3355086"/>
                <a:gd name="connsiteX18972" fmla="*/ 176402 w 3359086"/>
                <a:gd name="connsiteY18972" fmla="*/ 941356 h 3355086"/>
                <a:gd name="connsiteX18973" fmla="*/ 616076 w 3359086"/>
                <a:gd name="connsiteY18973" fmla="*/ 940880 h 3355086"/>
                <a:gd name="connsiteX18974" fmla="*/ 622268 w 3359086"/>
                <a:gd name="connsiteY18974" fmla="*/ 947071 h 3355086"/>
                <a:gd name="connsiteX18975" fmla="*/ 616076 w 3359086"/>
                <a:gd name="connsiteY18975" fmla="*/ 953262 h 3355086"/>
                <a:gd name="connsiteX18976" fmla="*/ 609885 w 3359086"/>
                <a:gd name="connsiteY18976" fmla="*/ 947071 h 3355086"/>
                <a:gd name="connsiteX18977" fmla="*/ 616076 w 3359086"/>
                <a:gd name="connsiteY18977" fmla="*/ 940880 h 3355086"/>
                <a:gd name="connsiteX18978" fmla="*/ 3085337 w 3359086"/>
                <a:gd name="connsiteY18978" fmla="*/ 939451 h 3355086"/>
                <a:gd name="connsiteX18979" fmla="*/ 3091529 w 3359086"/>
                <a:gd name="connsiteY18979" fmla="*/ 945642 h 3355086"/>
                <a:gd name="connsiteX18980" fmla="*/ 3085337 w 3359086"/>
                <a:gd name="connsiteY18980" fmla="*/ 951833 h 3355086"/>
                <a:gd name="connsiteX18981" fmla="*/ 3079146 w 3359086"/>
                <a:gd name="connsiteY18981" fmla="*/ 945642 h 3355086"/>
                <a:gd name="connsiteX18982" fmla="*/ 3085337 w 3359086"/>
                <a:gd name="connsiteY18982" fmla="*/ 939451 h 3355086"/>
                <a:gd name="connsiteX18983" fmla="*/ 3047142 w 3359086"/>
                <a:gd name="connsiteY18983" fmla="*/ 939260 h 3355086"/>
                <a:gd name="connsiteX18984" fmla="*/ 3053333 w 3359086"/>
                <a:gd name="connsiteY18984" fmla="*/ 945451 h 3355086"/>
                <a:gd name="connsiteX18985" fmla="*/ 3047142 w 3359086"/>
                <a:gd name="connsiteY18985" fmla="*/ 951643 h 3355086"/>
                <a:gd name="connsiteX18986" fmla="*/ 3040951 w 3359086"/>
                <a:gd name="connsiteY18986" fmla="*/ 945451 h 3355086"/>
                <a:gd name="connsiteX18987" fmla="*/ 3047142 w 3359086"/>
                <a:gd name="connsiteY18987" fmla="*/ 939260 h 3355086"/>
                <a:gd name="connsiteX18988" fmla="*/ 211169 w 3359086"/>
                <a:gd name="connsiteY18988" fmla="*/ 937070 h 3355086"/>
                <a:gd name="connsiteX18989" fmla="*/ 217360 w 3359086"/>
                <a:gd name="connsiteY18989" fmla="*/ 943261 h 3355086"/>
                <a:gd name="connsiteX18990" fmla="*/ 211169 w 3359086"/>
                <a:gd name="connsiteY18990" fmla="*/ 949452 h 3355086"/>
                <a:gd name="connsiteX18991" fmla="*/ 204978 w 3359086"/>
                <a:gd name="connsiteY18991" fmla="*/ 943261 h 3355086"/>
                <a:gd name="connsiteX18992" fmla="*/ 211169 w 3359086"/>
                <a:gd name="connsiteY18992" fmla="*/ 937070 h 3355086"/>
                <a:gd name="connsiteX18993" fmla="*/ 3182207 w 3359086"/>
                <a:gd name="connsiteY18993" fmla="*/ 936975 h 3355086"/>
                <a:gd name="connsiteX18994" fmla="*/ 3187826 w 3359086"/>
                <a:gd name="connsiteY18994" fmla="*/ 942595 h 3355086"/>
                <a:gd name="connsiteX18995" fmla="*/ 3182207 w 3359086"/>
                <a:gd name="connsiteY18995" fmla="*/ 948215 h 3355086"/>
                <a:gd name="connsiteX18996" fmla="*/ 3176587 w 3359086"/>
                <a:gd name="connsiteY18996" fmla="*/ 942595 h 3355086"/>
                <a:gd name="connsiteX18997" fmla="*/ 3182207 w 3359086"/>
                <a:gd name="connsiteY18997" fmla="*/ 936975 h 3355086"/>
                <a:gd name="connsiteX18998" fmla="*/ 3164490 w 3359086"/>
                <a:gd name="connsiteY18998" fmla="*/ 936784 h 3355086"/>
                <a:gd name="connsiteX18999" fmla="*/ 3170682 w 3359086"/>
                <a:gd name="connsiteY18999" fmla="*/ 942975 h 3355086"/>
                <a:gd name="connsiteX19000" fmla="*/ 3164490 w 3359086"/>
                <a:gd name="connsiteY19000" fmla="*/ 949167 h 3355086"/>
                <a:gd name="connsiteX19001" fmla="*/ 3158299 w 3359086"/>
                <a:gd name="connsiteY19001" fmla="*/ 942975 h 3355086"/>
                <a:gd name="connsiteX19002" fmla="*/ 3164490 w 3359086"/>
                <a:gd name="connsiteY19002" fmla="*/ 936784 h 3355086"/>
                <a:gd name="connsiteX19003" fmla="*/ 173926 w 3359086"/>
                <a:gd name="connsiteY19003" fmla="*/ 935260 h 3355086"/>
                <a:gd name="connsiteX19004" fmla="*/ 174212 w 3359086"/>
                <a:gd name="connsiteY19004" fmla="*/ 935546 h 3355086"/>
                <a:gd name="connsiteX19005" fmla="*/ 173926 w 3359086"/>
                <a:gd name="connsiteY19005" fmla="*/ 935831 h 3355086"/>
                <a:gd name="connsiteX19006" fmla="*/ 173640 w 3359086"/>
                <a:gd name="connsiteY19006" fmla="*/ 935546 h 3355086"/>
                <a:gd name="connsiteX19007" fmla="*/ 173926 w 3359086"/>
                <a:gd name="connsiteY19007" fmla="*/ 935260 h 3355086"/>
                <a:gd name="connsiteX19008" fmla="*/ 955547 w 3359086"/>
                <a:gd name="connsiteY19008" fmla="*/ 934689 h 3355086"/>
                <a:gd name="connsiteX19009" fmla="*/ 961739 w 3359086"/>
                <a:gd name="connsiteY19009" fmla="*/ 940880 h 3355086"/>
                <a:gd name="connsiteX19010" fmla="*/ 955547 w 3359086"/>
                <a:gd name="connsiteY19010" fmla="*/ 947071 h 3355086"/>
                <a:gd name="connsiteX19011" fmla="*/ 949356 w 3359086"/>
                <a:gd name="connsiteY19011" fmla="*/ 940880 h 3355086"/>
                <a:gd name="connsiteX19012" fmla="*/ 955547 w 3359086"/>
                <a:gd name="connsiteY19012" fmla="*/ 934689 h 3355086"/>
                <a:gd name="connsiteX19013" fmla="*/ 3150679 w 3359086"/>
                <a:gd name="connsiteY19013" fmla="*/ 934308 h 3355086"/>
                <a:gd name="connsiteX19014" fmla="*/ 3156870 w 3359086"/>
                <a:gd name="connsiteY19014" fmla="*/ 940499 h 3355086"/>
                <a:gd name="connsiteX19015" fmla="*/ 3150727 w 3359086"/>
                <a:gd name="connsiteY19015" fmla="*/ 946643 h 3355086"/>
                <a:gd name="connsiteX19016" fmla="*/ 3156203 w 3359086"/>
                <a:gd name="connsiteY19016" fmla="*/ 952119 h 3355086"/>
                <a:gd name="connsiteX19017" fmla="*/ 3150012 w 3359086"/>
                <a:gd name="connsiteY19017" fmla="*/ 958310 h 3355086"/>
                <a:gd name="connsiteX19018" fmla="*/ 3143821 w 3359086"/>
                <a:gd name="connsiteY19018" fmla="*/ 952119 h 3355086"/>
                <a:gd name="connsiteX19019" fmla="*/ 3149965 w 3359086"/>
                <a:gd name="connsiteY19019" fmla="*/ 945976 h 3355086"/>
                <a:gd name="connsiteX19020" fmla="*/ 3144488 w 3359086"/>
                <a:gd name="connsiteY19020" fmla="*/ 940499 h 3355086"/>
                <a:gd name="connsiteX19021" fmla="*/ 3150679 w 3359086"/>
                <a:gd name="connsiteY19021" fmla="*/ 934308 h 3355086"/>
                <a:gd name="connsiteX19022" fmla="*/ 2867786 w 3359086"/>
                <a:gd name="connsiteY19022" fmla="*/ 932117 h 3355086"/>
                <a:gd name="connsiteX19023" fmla="*/ 2873978 w 3359086"/>
                <a:gd name="connsiteY19023" fmla="*/ 938308 h 3355086"/>
                <a:gd name="connsiteX19024" fmla="*/ 2867786 w 3359086"/>
                <a:gd name="connsiteY19024" fmla="*/ 944500 h 3355086"/>
                <a:gd name="connsiteX19025" fmla="*/ 2861595 w 3359086"/>
                <a:gd name="connsiteY19025" fmla="*/ 938308 h 3355086"/>
                <a:gd name="connsiteX19026" fmla="*/ 2867786 w 3359086"/>
                <a:gd name="connsiteY19026" fmla="*/ 932117 h 3355086"/>
                <a:gd name="connsiteX19027" fmla="*/ 359378 w 3359086"/>
                <a:gd name="connsiteY19027" fmla="*/ 931450 h 3355086"/>
                <a:gd name="connsiteX19028" fmla="*/ 365569 w 3359086"/>
                <a:gd name="connsiteY19028" fmla="*/ 937641 h 3355086"/>
                <a:gd name="connsiteX19029" fmla="*/ 359378 w 3359086"/>
                <a:gd name="connsiteY19029" fmla="*/ 943833 h 3355086"/>
                <a:gd name="connsiteX19030" fmla="*/ 353187 w 3359086"/>
                <a:gd name="connsiteY19030" fmla="*/ 937641 h 3355086"/>
                <a:gd name="connsiteX19031" fmla="*/ 359378 w 3359086"/>
                <a:gd name="connsiteY19031" fmla="*/ 931450 h 3355086"/>
                <a:gd name="connsiteX19032" fmla="*/ 230219 w 3359086"/>
                <a:gd name="connsiteY19032" fmla="*/ 931450 h 3355086"/>
                <a:gd name="connsiteX19033" fmla="*/ 236410 w 3359086"/>
                <a:gd name="connsiteY19033" fmla="*/ 937641 h 3355086"/>
                <a:gd name="connsiteX19034" fmla="*/ 230219 w 3359086"/>
                <a:gd name="connsiteY19034" fmla="*/ 943833 h 3355086"/>
                <a:gd name="connsiteX19035" fmla="*/ 224028 w 3359086"/>
                <a:gd name="connsiteY19035" fmla="*/ 937641 h 3355086"/>
                <a:gd name="connsiteX19036" fmla="*/ 230219 w 3359086"/>
                <a:gd name="connsiteY19036" fmla="*/ 931450 h 3355086"/>
                <a:gd name="connsiteX19037" fmla="*/ 2684906 w 3359086"/>
                <a:gd name="connsiteY19037" fmla="*/ 930593 h 3355086"/>
                <a:gd name="connsiteX19038" fmla="*/ 2691097 w 3359086"/>
                <a:gd name="connsiteY19038" fmla="*/ 936784 h 3355086"/>
                <a:gd name="connsiteX19039" fmla="*/ 2684906 w 3359086"/>
                <a:gd name="connsiteY19039" fmla="*/ 942975 h 3355086"/>
                <a:gd name="connsiteX19040" fmla="*/ 2678715 w 3359086"/>
                <a:gd name="connsiteY19040" fmla="*/ 936784 h 3355086"/>
                <a:gd name="connsiteX19041" fmla="*/ 2684906 w 3359086"/>
                <a:gd name="connsiteY19041" fmla="*/ 930593 h 3355086"/>
                <a:gd name="connsiteX19042" fmla="*/ 258508 w 3359086"/>
                <a:gd name="connsiteY19042" fmla="*/ 927640 h 3355086"/>
                <a:gd name="connsiteX19043" fmla="*/ 264700 w 3359086"/>
                <a:gd name="connsiteY19043" fmla="*/ 933831 h 3355086"/>
                <a:gd name="connsiteX19044" fmla="*/ 258508 w 3359086"/>
                <a:gd name="connsiteY19044" fmla="*/ 940023 h 3355086"/>
                <a:gd name="connsiteX19045" fmla="*/ 252317 w 3359086"/>
                <a:gd name="connsiteY19045" fmla="*/ 933831 h 3355086"/>
                <a:gd name="connsiteX19046" fmla="*/ 258508 w 3359086"/>
                <a:gd name="connsiteY19046" fmla="*/ 927640 h 3355086"/>
                <a:gd name="connsiteX19047" fmla="*/ 3114198 w 3359086"/>
                <a:gd name="connsiteY19047" fmla="*/ 927545 h 3355086"/>
                <a:gd name="connsiteX19048" fmla="*/ 3120390 w 3359086"/>
                <a:gd name="connsiteY19048" fmla="*/ 933736 h 3355086"/>
                <a:gd name="connsiteX19049" fmla="*/ 3114198 w 3359086"/>
                <a:gd name="connsiteY19049" fmla="*/ 939927 h 3355086"/>
                <a:gd name="connsiteX19050" fmla="*/ 3108007 w 3359086"/>
                <a:gd name="connsiteY19050" fmla="*/ 933736 h 3355086"/>
                <a:gd name="connsiteX19051" fmla="*/ 3114198 w 3359086"/>
                <a:gd name="connsiteY19051" fmla="*/ 927545 h 3355086"/>
                <a:gd name="connsiteX19052" fmla="*/ 300037 w 3359086"/>
                <a:gd name="connsiteY19052" fmla="*/ 927068 h 3355086"/>
                <a:gd name="connsiteX19053" fmla="*/ 306229 w 3359086"/>
                <a:gd name="connsiteY19053" fmla="*/ 933259 h 3355086"/>
                <a:gd name="connsiteX19054" fmla="*/ 300037 w 3359086"/>
                <a:gd name="connsiteY19054" fmla="*/ 939451 h 3355086"/>
                <a:gd name="connsiteX19055" fmla="*/ 293846 w 3359086"/>
                <a:gd name="connsiteY19055" fmla="*/ 933259 h 3355086"/>
                <a:gd name="connsiteX19056" fmla="*/ 300037 w 3359086"/>
                <a:gd name="connsiteY19056" fmla="*/ 927068 h 3355086"/>
                <a:gd name="connsiteX19057" fmla="*/ 187547 w 3359086"/>
                <a:gd name="connsiteY19057" fmla="*/ 926021 h 3355086"/>
                <a:gd name="connsiteX19058" fmla="*/ 193738 w 3359086"/>
                <a:gd name="connsiteY19058" fmla="*/ 932212 h 3355086"/>
                <a:gd name="connsiteX19059" fmla="*/ 188356 w 3359086"/>
                <a:gd name="connsiteY19059" fmla="*/ 937595 h 3355086"/>
                <a:gd name="connsiteX19060" fmla="*/ 194118 w 3359086"/>
                <a:gd name="connsiteY19060" fmla="*/ 943356 h 3355086"/>
                <a:gd name="connsiteX19061" fmla="*/ 187927 w 3359086"/>
                <a:gd name="connsiteY19061" fmla="*/ 949548 h 3355086"/>
                <a:gd name="connsiteX19062" fmla="*/ 193547 w 3359086"/>
                <a:gd name="connsiteY19062" fmla="*/ 955167 h 3355086"/>
                <a:gd name="connsiteX19063" fmla="*/ 187356 w 3359086"/>
                <a:gd name="connsiteY19063" fmla="*/ 961358 h 3355086"/>
                <a:gd name="connsiteX19064" fmla="*/ 181165 w 3359086"/>
                <a:gd name="connsiteY19064" fmla="*/ 955167 h 3355086"/>
                <a:gd name="connsiteX19065" fmla="*/ 187355 w 3359086"/>
                <a:gd name="connsiteY19065" fmla="*/ 948977 h 3355086"/>
                <a:gd name="connsiteX19066" fmla="*/ 181736 w 3359086"/>
                <a:gd name="connsiteY19066" fmla="*/ 943356 h 3355086"/>
                <a:gd name="connsiteX19067" fmla="*/ 187117 w 3359086"/>
                <a:gd name="connsiteY19067" fmla="*/ 937975 h 3355086"/>
                <a:gd name="connsiteX19068" fmla="*/ 181356 w 3359086"/>
                <a:gd name="connsiteY19068" fmla="*/ 932212 h 3355086"/>
                <a:gd name="connsiteX19069" fmla="*/ 187547 w 3359086"/>
                <a:gd name="connsiteY19069" fmla="*/ 926021 h 3355086"/>
                <a:gd name="connsiteX19070" fmla="*/ 2331529 w 3359086"/>
                <a:gd name="connsiteY19070" fmla="*/ 925925 h 3355086"/>
                <a:gd name="connsiteX19071" fmla="*/ 2337720 w 3359086"/>
                <a:gd name="connsiteY19071" fmla="*/ 932116 h 3355086"/>
                <a:gd name="connsiteX19072" fmla="*/ 2331529 w 3359086"/>
                <a:gd name="connsiteY19072" fmla="*/ 938308 h 3355086"/>
                <a:gd name="connsiteX19073" fmla="*/ 2325338 w 3359086"/>
                <a:gd name="connsiteY19073" fmla="*/ 932116 h 3355086"/>
                <a:gd name="connsiteX19074" fmla="*/ 2331529 w 3359086"/>
                <a:gd name="connsiteY19074" fmla="*/ 925925 h 3355086"/>
                <a:gd name="connsiteX19075" fmla="*/ 3169538 w 3359086"/>
                <a:gd name="connsiteY19075" fmla="*/ 924116 h 3355086"/>
                <a:gd name="connsiteX19076" fmla="*/ 3175730 w 3359086"/>
                <a:gd name="connsiteY19076" fmla="*/ 930307 h 3355086"/>
                <a:gd name="connsiteX19077" fmla="*/ 3169538 w 3359086"/>
                <a:gd name="connsiteY19077" fmla="*/ 936498 h 3355086"/>
                <a:gd name="connsiteX19078" fmla="*/ 3163347 w 3359086"/>
                <a:gd name="connsiteY19078" fmla="*/ 930307 h 3355086"/>
                <a:gd name="connsiteX19079" fmla="*/ 3169538 w 3359086"/>
                <a:gd name="connsiteY19079" fmla="*/ 924116 h 3355086"/>
                <a:gd name="connsiteX19080" fmla="*/ 3152869 w 3359086"/>
                <a:gd name="connsiteY19080" fmla="*/ 922782 h 3355086"/>
                <a:gd name="connsiteX19081" fmla="*/ 3159061 w 3359086"/>
                <a:gd name="connsiteY19081" fmla="*/ 928973 h 3355086"/>
                <a:gd name="connsiteX19082" fmla="*/ 3152869 w 3359086"/>
                <a:gd name="connsiteY19082" fmla="*/ 935164 h 3355086"/>
                <a:gd name="connsiteX19083" fmla="*/ 3146678 w 3359086"/>
                <a:gd name="connsiteY19083" fmla="*/ 928973 h 3355086"/>
                <a:gd name="connsiteX19084" fmla="*/ 3152869 w 3359086"/>
                <a:gd name="connsiteY19084" fmla="*/ 922782 h 3355086"/>
                <a:gd name="connsiteX19085" fmla="*/ 3093433 w 3359086"/>
                <a:gd name="connsiteY19085" fmla="*/ 921449 h 3355086"/>
                <a:gd name="connsiteX19086" fmla="*/ 3099625 w 3359086"/>
                <a:gd name="connsiteY19086" fmla="*/ 927640 h 3355086"/>
                <a:gd name="connsiteX19087" fmla="*/ 3093433 w 3359086"/>
                <a:gd name="connsiteY19087" fmla="*/ 933831 h 3355086"/>
                <a:gd name="connsiteX19088" fmla="*/ 3087242 w 3359086"/>
                <a:gd name="connsiteY19088" fmla="*/ 927640 h 3355086"/>
                <a:gd name="connsiteX19089" fmla="*/ 3093433 w 3359086"/>
                <a:gd name="connsiteY19089" fmla="*/ 921449 h 3355086"/>
                <a:gd name="connsiteX19090" fmla="*/ 2955035 w 3359086"/>
                <a:gd name="connsiteY19090" fmla="*/ 920687 h 3355086"/>
                <a:gd name="connsiteX19091" fmla="*/ 2961227 w 3359086"/>
                <a:gd name="connsiteY19091" fmla="*/ 926878 h 3355086"/>
                <a:gd name="connsiteX19092" fmla="*/ 2955035 w 3359086"/>
                <a:gd name="connsiteY19092" fmla="*/ 933069 h 3355086"/>
                <a:gd name="connsiteX19093" fmla="*/ 2948844 w 3359086"/>
                <a:gd name="connsiteY19093" fmla="*/ 926878 h 3355086"/>
                <a:gd name="connsiteX19094" fmla="*/ 2955035 w 3359086"/>
                <a:gd name="connsiteY19094" fmla="*/ 920687 h 3355086"/>
                <a:gd name="connsiteX19095" fmla="*/ 491775 w 3359086"/>
                <a:gd name="connsiteY19095" fmla="*/ 919734 h 3355086"/>
                <a:gd name="connsiteX19096" fmla="*/ 497966 w 3359086"/>
                <a:gd name="connsiteY19096" fmla="*/ 925925 h 3355086"/>
                <a:gd name="connsiteX19097" fmla="*/ 491775 w 3359086"/>
                <a:gd name="connsiteY19097" fmla="*/ 932116 h 3355086"/>
                <a:gd name="connsiteX19098" fmla="*/ 485584 w 3359086"/>
                <a:gd name="connsiteY19098" fmla="*/ 925925 h 3355086"/>
                <a:gd name="connsiteX19099" fmla="*/ 491775 w 3359086"/>
                <a:gd name="connsiteY19099" fmla="*/ 919734 h 3355086"/>
                <a:gd name="connsiteX19100" fmla="*/ 684847 w 3359086"/>
                <a:gd name="connsiteY19100" fmla="*/ 918687 h 3355086"/>
                <a:gd name="connsiteX19101" fmla="*/ 691039 w 3359086"/>
                <a:gd name="connsiteY19101" fmla="*/ 924878 h 3355086"/>
                <a:gd name="connsiteX19102" fmla="*/ 684847 w 3359086"/>
                <a:gd name="connsiteY19102" fmla="*/ 931069 h 3355086"/>
                <a:gd name="connsiteX19103" fmla="*/ 678656 w 3359086"/>
                <a:gd name="connsiteY19103" fmla="*/ 924878 h 3355086"/>
                <a:gd name="connsiteX19104" fmla="*/ 684847 w 3359086"/>
                <a:gd name="connsiteY19104" fmla="*/ 918687 h 3355086"/>
                <a:gd name="connsiteX19105" fmla="*/ 3062858 w 3359086"/>
                <a:gd name="connsiteY19105" fmla="*/ 917258 h 3355086"/>
                <a:gd name="connsiteX19106" fmla="*/ 3069049 w 3359086"/>
                <a:gd name="connsiteY19106" fmla="*/ 923449 h 3355086"/>
                <a:gd name="connsiteX19107" fmla="*/ 3062858 w 3359086"/>
                <a:gd name="connsiteY19107" fmla="*/ 929640 h 3355086"/>
                <a:gd name="connsiteX19108" fmla="*/ 3056667 w 3359086"/>
                <a:gd name="connsiteY19108" fmla="*/ 923449 h 3355086"/>
                <a:gd name="connsiteX19109" fmla="*/ 3062858 w 3359086"/>
                <a:gd name="connsiteY19109" fmla="*/ 917258 h 3355086"/>
                <a:gd name="connsiteX19110" fmla="*/ 3176872 w 3359086"/>
                <a:gd name="connsiteY19110" fmla="*/ 916877 h 3355086"/>
                <a:gd name="connsiteX19111" fmla="*/ 3177063 w 3359086"/>
                <a:gd name="connsiteY19111" fmla="*/ 917067 h 3355086"/>
                <a:gd name="connsiteX19112" fmla="*/ 3176872 w 3359086"/>
                <a:gd name="connsiteY19112" fmla="*/ 917258 h 3355086"/>
                <a:gd name="connsiteX19113" fmla="*/ 3176682 w 3359086"/>
                <a:gd name="connsiteY19113" fmla="*/ 917067 h 3355086"/>
                <a:gd name="connsiteX19114" fmla="*/ 3176872 w 3359086"/>
                <a:gd name="connsiteY19114" fmla="*/ 916877 h 3355086"/>
                <a:gd name="connsiteX19115" fmla="*/ 226218 w 3359086"/>
                <a:gd name="connsiteY19115" fmla="*/ 916496 h 3355086"/>
                <a:gd name="connsiteX19116" fmla="*/ 232409 w 3359086"/>
                <a:gd name="connsiteY19116" fmla="*/ 922687 h 3355086"/>
                <a:gd name="connsiteX19117" fmla="*/ 226218 w 3359086"/>
                <a:gd name="connsiteY19117" fmla="*/ 928879 h 3355086"/>
                <a:gd name="connsiteX19118" fmla="*/ 220027 w 3359086"/>
                <a:gd name="connsiteY19118" fmla="*/ 922687 h 3355086"/>
                <a:gd name="connsiteX19119" fmla="*/ 226218 w 3359086"/>
                <a:gd name="connsiteY19119" fmla="*/ 916496 h 3355086"/>
                <a:gd name="connsiteX19120" fmla="*/ 3018281 w 3359086"/>
                <a:gd name="connsiteY19120" fmla="*/ 916400 h 3355086"/>
                <a:gd name="connsiteX19121" fmla="*/ 3024472 w 3359086"/>
                <a:gd name="connsiteY19121" fmla="*/ 922591 h 3355086"/>
                <a:gd name="connsiteX19122" fmla="*/ 3018281 w 3359086"/>
                <a:gd name="connsiteY19122" fmla="*/ 928783 h 3355086"/>
                <a:gd name="connsiteX19123" fmla="*/ 3012090 w 3359086"/>
                <a:gd name="connsiteY19123" fmla="*/ 922591 h 3355086"/>
                <a:gd name="connsiteX19124" fmla="*/ 3018281 w 3359086"/>
                <a:gd name="connsiteY19124" fmla="*/ 916400 h 3355086"/>
                <a:gd name="connsiteX19125" fmla="*/ 1054512 w 3359086"/>
                <a:gd name="connsiteY19125" fmla="*/ 916115 h 3355086"/>
                <a:gd name="connsiteX19126" fmla="*/ 1060704 w 3359086"/>
                <a:gd name="connsiteY19126" fmla="*/ 922306 h 3355086"/>
                <a:gd name="connsiteX19127" fmla="*/ 1054512 w 3359086"/>
                <a:gd name="connsiteY19127" fmla="*/ 928498 h 3355086"/>
                <a:gd name="connsiteX19128" fmla="*/ 1048321 w 3359086"/>
                <a:gd name="connsiteY19128" fmla="*/ 922306 h 3355086"/>
                <a:gd name="connsiteX19129" fmla="*/ 1054512 w 3359086"/>
                <a:gd name="connsiteY19129" fmla="*/ 916115 h 3355086"/>
                <a:gd name="connsiteX19130" fmla="*/ 185642 w 3359086"/>
                <a:gd name="connsiteY19130" fmla="*/ 915448 h 3355086"/>
                <a:gd name="connsiteX19131" fmla="*/ 191261 w 3359086"/>
                <a:gd name="connsiteY19131" fmla="*/ 921068 h 3355086"/>
                <a:gd name="connsiteX19132" fmla="*/ 185642 w 3359086"/>
                <a:gd name="connsiteY19132" fmla="*/ 926687 h 3355086"/>
                <a:gd name="connsiteX19133" fmla="*/ 180022 w 3359086"/>
                <a:gd name="connsiteY19133" fmla="*/ 921068 h 3355086"/>
                <a:gd name="connsiteX19134" fmla="*/ 185642 w 3359086"/>
                <a:gd name="connsiteY19134" fmla="*/ 915448 h 3355086"/>
                <a:gd name="connsiteX19135" fmla="*/ 3156965 w 3359086"/>
                <a:gd name="connsiteY19135" fmla="*/ 911066 h 3355086"/>
                <a:gd name="connsiteX19136" fmla="*/ 3163156 w 3359086"/>
                <a:gd name="connsiteY19136" fmla="*/ 917257 h 3355086"/>
                <a:gd name="connsiteX19137" fmla="*/ 3156965 w 3359086"/>
                <a:gd name="connsiteY19137" fmla="*/ 923449 h 3355086"/>
                <a:gd name="connsiteX19138" fmla="*/ 3150774 w 3359086"/>
                <a:gd name="connsiteY19138" fmla="*/ 917257 h 3355086"/>
                <a:gd name="connsiteX19139" fmla="*/ 3156965 w 3359086"/>
                <a:gd name="connsiteY19139" fmla="*/ 911066 h 3355086"/>
                <a:gd name="connsiteX19140" fmla="*/ 248983 w 3359086"/>
                <a:gd name="connsiteY19140" fmla="*/ 909733 h 3355086"/>
                <a:gd name="connsiteX19141" fmla="*/ 255175 w 3359086"/>
                <a:gd name="connsiteY19141" fmla="*/ 915924 h 3355086"/>
                <a:gd name="connsiteX19142" fmla="*/ 248983 w 3359086"/>
                <a:gd name="connsiteY19142" fmla="*/ 922116 h 3355086"/>
                <a:gd name="connsiteX19143" fmla="*/ 242792 w 3359086"/>
                <a:gd name="connsiteY19143" fmla="*/ 915924 h 3355086"/>
                <a:gd name="connsiteX19144" fmla="*/ 248983 w 3359086"/>
                <a:gd name="connsiteY19144" fmla="*/ 909733 h 3355086"/>
                <a:gd name="connsiteX19145" fmla="*/ 2815589 w 3359086"/>
                <a:gd name="connsiteY19145" fmla="*/ 908876 h 3355086"/>
                <a:gd name="connsiteX19146" fmla="*/ 2821780 w 3359086"/>
                <a:gd name="connsiteY19146" fmla="*/ 915067 h 3355086"/>
                <a:gd name="connsiteX19147" fmla="*/ 2815589 w 3359086"/>
                <a:gd name="connsiteY19147" fmla="*/ 921258 h 3355086"/>
                <a:gd name="connsiteX19148" fmla="*/ 2809398 w 3359086"/>
                <a:gd name="connsiteY19148" fmla="*/ 915067 h 3355086"/>
                <a:gd name="connsiteX19149" fmla="*/ 2815589 w 3359086"/>
                <a:gd name="connsiteY19149" fmla="*/ 908876 h 3355086"/>
                <a:gd name="connsiteX19150" fmla="*/ 2613374 w 3359086"/>
                <a:gd name="connsiteY19150" fmla="*/ 908400 h 3355086"/>
                <a:gd name="connsiteX19151" fmla="*/ 2619565 w 3359086"/>
                <a:gd name="connsiteY19151" fmla="*/ 914591 h 3355086"/>
                <a:gd name="connsiteX19152" fmla="*/ 2613374 w 3359086"/>
                <a:gd name="connsiteY19152" fmla="*/ 920783 h 3355086"/>
                <a:gd name="connsiteX19153" fmla="*/ 2607183 w 3359086"/>
                <a:gd name="connsiteY19153" fmla="*/ 914591 h 3355086"/>
                <a:gd name="connsiteX19154" fmla="*/ 2613374 w 3359086"/>
                <a:gd name="connsiteY19154" fmla="*/ 908400 h 3355086"/>
                <a:gd name="connsiteX19155" fmla="*/ 398621 w 3359086"/>
                <a:gd name="connsiteY19155" fmla="*/ 908209 h 3355086"/>
                <a:gd name="connsiteX19156" fmla="*/ 404812 w 3359086"/>
                <a:gd name="connsiteY19156" fmla="*/ 914400 h 3355086"/>
                <a:gd name="connsiteX19157" fmla="*/ 398621 w 3359086"/>
                <a:gd name="connsiteY19157" fmla="*/ 920592 h 3355086"/>
                <a:gd name="connsiteX19158" fmla="*/ 392430 w 3359086"/>
                <a:gd name="connsiteY19158" fmla="*/ 914400 h 3355086"/>
                <a:gd name="connsiteX19159" fmla="*/ 398621 w 3359086"/>
                <a:gd name="connsiteY19159" fmla="*/ 908209 h 3355086"/>
                <a:gd name="connsiteX19160" fmla="*/ 2229421 w 3359086"/>
                <a:gd name="connsiteY19160" fmla="*/ 908114 h 3355086"/>
                <a:gd name="connsiteX19161" fmla="*/ 2235613 w 3359086"/>
                <a:gd name="connsiteY19161" fmla="*/ 914305 h 3355086"/>
                <a:gd name="connsiteX19162" fmla="*/ 2229421 w 3359086"/>
                <a:gd name="connsiteY19162" fmla="*/ 920496 h 3355086"/>
                <a:gd name="connsiteX19163" fmla="*/ 2223230 w 3359086"/>
                <a:gd name="connsiteY19163" fmla="*/ 914305 h 3355086"/>
                <a:gd name="connsiteX19164" fmla="*/ 2229421 w 3359086"/>
                <a:gd name="connsiteY19164" fmla="*/ 908114 h 3355086"/>
                <a:gd name="connsiteX19165" fmla="*/ 3141154 w 3359086"/>
                <a:gd name="connsiteY19165" fmla="*/ 908018 h 3355086"/>
                <a:gd name="connsiteX19166" fmla="*/ 3147345 w 3359086"/>
                <a:gd name="connsiteY19166" fmla="*/ 914209 h 3355086"/>
                <a:gd name="connsiteX19167" fmla="*/ 3141202 w 3359086"/>
                <a:gd name="connsiteY19167" fmla="*/ 920354 h 3355086"/>
                <a:gd name="connsiteX19168" fmla="*/ 3145630 w 3359086"/>
                <a:gd name="connsiteY19168" fmla="*/ 924782 h 3355086"/>
                <a:gd name="connsiteX19169" fmla="*/ 3140010 w 3359086"/>
                <a:gd name="connsiteY19169" fmla="*/ 930403 h 3355086"/>
                <a:gd name="connsiteX19170" fmla="*/ 3145249 w 3359086"/>
                <a:gd name="connsiteY19170" fmla="*/ 935641 h 3355086"/>
                <a:gd name="connsiteX19171" fmla="*/ 3139915 w 3359086"/>
                <a:gd name="connsiteY19171" fmla="*/ 940976 h 3355086"/>
                <a:gd name="connsiteX19172" fmla="*/ 3145916 w 3359086"/>
                <a:gd name="connsiteY19172" fmla="*/ 946976 h 3355086"/>
                <a:gd name="connsiteX19173" fmla="*/ 3139725 w 3359086"/>
                <a:gd name="connsiteY19173" fmla="*/ 953167 h 3355086"/>
                <a:gd name="connsiteX19174" fmla="*/ 3133534 w 3359086"/>
                <a:gd name="connsiteY19174" fmla="*/ 946976 h 3355086"/>
                <a:gd name="connsiteX19175" fmla="*/ 3138868 w 3359086"/>
                <a:gd name="connsiteY19175" fmla="*/ 941643 h 3355086"/>
                <a:gd name="connsiteX19176" fmla="*/ 3132867 w 3359086"/>
                <a:gd name="connsiteY19176" fmla="*/ 935641 h 3355086"/>
                <a:gd name="connsiteX19177" fmla="*/ 3138487 w 3359086"/>
                <a:gd name="connsiteY19177" fmla="*/ 930022 h 3355086"/>
                <a:gd name="connsiteX19178" fmla="*/ 3133248 w 3359086"/>
                <a:gd name="connsiteY19178" fmla="*/ 924782 h 3355086"/>
                <a:gd name="connsiteX19179" fmla="*/ 3139392 w 3359086"/>
                <a:gd name="connsiteY19179" fmla="*/ 918639 h 3355086"/>
                <a:gd name="connsiteX19180" fmla="*/ 3134963 w 3359086"/>
                <a:gd name="connsiteY19180" fmla="*/ 914209 h 3355086"/>
                <a:gd name="connsiteX19181" fmla="*/ 3141154 w 3359086"/>
                <a:gd name="connsiteY19181" fmla="*/ 908018 h 3355086"/>
                <a:gd name="connsiteX19182" fmla="*/ 3098387 w 3359086"/>
                <a:gd name="connsiteY19182" fmla="*/ 906590 h 3355086"/>
                <a:gd name="connsiteX19183" fmla="*/ 3104579 w 3359086"/>
                <a:gd name="connsiteY19183" fmla="*/ 912781 h 3355086"/>
                <a:gd name="connsiteX19184" fmla="*/ 3098387 w 3359086"/>
                <a:gd name="connsiteY19184" fmla="*/ 918973 h 3355086"/>
                <a:gd name="connsiteX19185" fmla="*/ 3092196 w 3359086"/>
                <a:gd name="connsiteY19185" fmla="*/ 912781 h 3355086"/>
                <a:gd name="connsiteX19186" fmla="*/ 3098387 w 3359086"/>
                <a:gd name="connsiteY19186" fmla="*/ 906590 h 3355086"/>
                <a:gd name="connsiteX19187" fmla="*/ 282416 w 3359086"/>
                <a:gd name="connsiteY19187" fmla="*/ 905066 h 3355086"/>
                <a:gd name="connsiteX19188" fmla="*/ 288607 w 3359086"/>
                <a:gd name="connsiteY19188" fmla="*/ 911257 h 3355086"/>
                <a:gd name="connsiteX19189" fmla="*/ 282416 w 3359086"/>
                <a:gd name="connsiteY19189" fmla="*/ 917448 h 3355086"/>
                <a:gd name="connsiteX19190" fmla="*/ 276225 w 3359086"/>
                <a:gd name="connsiteY19190" fmla="*/ 911257 h 3355086"/>
                <a:gd name="connsiteX19191" fmla="*/ 282416 w 3359086"/>
                <a:gd name="connsiteY19191" fmla="*/ 905066 h 3355086"/>
                <a:gd name="connsiteX19192" fmla="*/ 330707 w 3359086"/>
                <a:gd name="connsiteY19192" fmla="*/ 903923 h 3355086"/>
                <a:gd name="connsiteX19193" fmla="*/ 336898 w 3359086"/>
                <a:gd name="connsiteY19193" fmla="*/ 910114 h 3355086"/>
                <a:gd name="connsiteX19194" fmla="*/ 330707 w 3359086"/>
                <a:gd name="connsiteY19194" fmla="*/ 916306 h 3355086"/>
                <a:gd name="connsiteX19195" fmla="*/ 324516 w 3359086"/>
                <a:gd name="connsiteY19195" fmla="*/ 910114 h 3355086"/>
                <a:gd name="connsiteX19196" fmla="*/ 330707 w 3359086"/>
                <a:gd name="connsiteY19196" fmla="*/ 903923 h 3355086"/>
                <a:gd name="connsiteX19197" fmla="*/ 197357 w 3359086"/>
                <a:gd name="connsiteY19197" fmla="*/ 899732 h 3355086"/>
                <a:gd name="connsiteX19198" fmla="*/ 203549 w 3359086"/>
                <a:gd name="connsiteY19198" fmla="*/ 905923 h 3355086"/>
                <a:gd name="connsiteX19199" fmla="*/ 199262 w 3359086"/>
                <a:gd name="connsiteY19199" fmla="*/ 910210 h 3355086"/>
                <a:gd name="connsiteX19200" fmla="*/ 205073 w 3359086"/>
                <a:gd name="connsiteY19200" fmla="*/ 916019 h 3355086"/>
                <a:gd name="connsiteX19201" fmla="*/ 199976 w 3359086"/>
                <a:gd name="connsiteY19201" fmla="*/ 921115 h 3355086"/>
                <a:gd name="connsiteX19202" fmla="*/ 205263 w 3359086"/>
                <a:gd name="connsiteY19202" fmla="*/ 926401 h 3355086"/>
                <a:gd name="connsiteX19203" fmla="*/ 199548 w 3359086"/>
                <a:gd name="connsiteY19203" fmla="*/ 932117 h 3355086"/>
                <a:gd name="connsiteX19204" fmla="*/ 204787 w 3359086"/>
                <a:gd name="connsiteY19204" fmla="*/ 937355 h 3355086"/>
                <a:gd name="connsiteX19205" fmla="*/ 198596 w 3359086"/>
                <a:gd name="connsiteY19205" fmla="*/ 943547 h 3355086"/>
                <a:gd name="connsiteX19206" fmla="*/ 192405 w 3359086"/>
                <a:gd name="connsiteY19206" fmla="*/ 937355 h 3355086"/>
                <a:gd name="connsiteX19207" fmla="*/ 198119 w 3359086"/>
                <a:gd name="connsiteY19207" fmla="*/ 931641 h 3355086"/>
                <a:gd name="connsiteX19208" fmla="*/ 192881 w 3359086"/>
                <a:gd name="connsiteY19208" fmla="*/ 926401 h 3355086"/>
                <a:gd name="connsiteX19209" fmla="*/ 197976 w 3359086"/>
                <a:gd name="connsiteY19209" fmla="*/ 921306 h 3355086"/>
                <a:gd name="connsiteX19210" fmla="*/ 192690 w 3359086"/>
                <a:gd name="connsiteY19210" fmla="*/ 916019 h 3355086"/>
                <a:gd name="connsiteX19211" fmla="*/ 196975 w 3359086"/>
                <a:gd name="connsiteY19211" fmla="*/ 911734 h 3355086"/>
                <a:gd name="connsiteX19212" fmla="*/ 191166 w 3359086"/>
                <a:gd name="connsiteY19212" fmla="*/ 905923 h 3355086"/>
                <a:gd name="connsiteX19213" fmla="*/ 197357 w 3359086"/>
                <a:gd name="connsiteY19213" fmla="*/ 899732 h 3355086"/>
                <a:gd name="connsiteX19214" fmla="*/ 3163347 w 3359086"/>
                <a:gd name="connsiteY19214" fmla="*/ 899541 h 3355086"/>
                <a:gd name="connsiteX19215" fmla="*/ 3168776 w 3359086"/>
                <a:gd name="connsiteY19215" fmla="*/ 904970 h 3355086"/>
                <a:gd name="connsiteX19216" fmla="*/ 3163347 w 3359086"/>
                <a:gd name="connsiteY19216" fmla="*/ 910399 h 3355086"/>
                <a:gd name="connsiteX19217" fmla="*/ 3157918 w 3359086"/>
                <a:gd name="connsiteY19217" fmla="*/ 904970 h 3355086"/>
                <a:gd name="connsiteX19218" fmla="*/ 3163347 w 3359086"/>
                <a:gd name="connsiteY19218" fmla="*/ 899541 h 3355086"/>
                <a:gd name="connsiteX19219" fmla="*/ 3073717 w 3359086"/>
                <a:gd name="connsiteY19219" fmla="*/ 899446 h 3355086"/>
                <a:gd name="connsiteX19220" fmla="*/ 3079909 w 3359086"/>
                <a:gd name="connsiteY19220" fmla="*/ 905637 h 3355086"/>
                <a:gd name="connsiteX19221" fmla="*/ 3073717 w 3359086"/>
                <a:gd name="connsiteY19221" fmla="*/ 911829 h 3355086"/>
                <a:gd name="connsiteX19222" fmla="*/ 3067526 w 3359086"/>
                <a:gd name="connsiteY19222" fmla="*/ 905637 h 3355086"/>
                <a:gd name="connsiteX19223" fmla="*/ 3073717 w 3359086"/>
                <a:gd name="connsiteY19223" fmla="*/ 899446 h 3355086"/>
                <a:gd name="connsiteX19224" fmla="*/ 1160240 w 3359086"/>
                <a:gd name="connsiteY19224" fmla="*/ 899256 h 3355086"/>
                <a:gd name="connsiteX19225" fmla="*/ 1166431 w 3359086"/>
                <a:gd name="connsiteY19225" fmla="*/ 905447 h 3355086"/>
                <a:gd name="connsiteX19226" fmla="*/ 1160240 w 3359086"/>
                <a:gd name="connsiteY19226" fmla="*/ 911638 h 3355086"/>
                <a:gd name="connsiteX19227" fmla="*/ 1154049 w 3359086"/>
                <a:gd name="connsiteY19227" fmla="*/ 905447 h 3355086"/>
                <a:gd name="connsiteX19228" fmla="*/ 1160240 w 3359086"/>
                <a:gd name="connsiteY19228" fmla="*/ 899256 h 3355086"/>
                <a:gd name="connsiteX19229" fmla="*/ 3144583 w 3359086"/>
                <a:gd name="connsiteY19229" fmla="*/ 897160 h 3355086"/>
                <a:gd name="connsiteX19230" fmla="*/ 3150775 w 3359086"/>
                <a:gd name="connsiteY19230" fmla="*/ 903351 h 3355086"/>
                <a:gd name="connsiteX19231" fmla="*/ 3144583 w 3359086"/>
                <a:gd name="connsiteY19231" fmla="*/ 909543 h 3355086"/>
                <a:gd name="connsiteX19232" fmla="*/ 3138392 w 3359086"/>
                <a:gd name="connsiteY19232" fmla="*/ 903351 h 3355086"/>
                <a:gd name="connsiteX19233" fmla="*/ 3144583 w 3359086"/>
                <a:gd name="connsiteY19233" fmla="*/ 897160 h 3355086"/>
                <a:gd name="connsiteX19234" fmla="*/ 2913887 w 3359086"/>
                <a:gd name="connsiteY19234" fmla="*/ 897160 h 3355086"/>
                <a:gd name="connsiteX19235" fmla="*/ 2920079 w 3359086"/>
                <a:gd name="connsiteY19235" fmla="*/ 903351 h 3355086"/>
                <a:gd name="connsiteX19236" fmla="*/ 2913887 w 3359086"/>
                <a:gd name="connsiteY19236" fmla="*/ 909543 h 3355086"/>
                <a:gd name="connsiteX19237" fmla="*/ 2907696 w 3359086"/>
                <a:gd name="connsiteY19237" fmla="*/ 903351 h 3355086"/>
                <a:gd name="connsiteX19238" fmla="*/ 2913887 w 3359086"/>
                <a:gd name="connsiteY19238" fmla="*/ 897160 h 3355086"/>
                <a:gd name="connsiteX19239" fmla="*/ 759713 w 3359086"/>
                <a:gd name="connsiteY19239" fmla="*/ 896589 h 3355086"/>
                <a:gd name="connsiteX19240" fmla="*/ 765905 w 3359086"/>
                <a:gd name="connsiteY19240" fmla="*/ 902780 h 3355086"/>
                <a:gd name="connsiteX19241" fmla="*/ 759713 w 3359086"/>
                <a:gd name="connsiteY19241" fmla="*/ 908971 h 3355086"/>
                <a:gd name="connsiteX19242" fmla="*/ 753522 w 3359086"/>
                <a:gd name="connsiteY19242" fmla="*/ 902780 h 3355086"/>
                <a:gd name="connsiteX19243" fmla="*/ 759713 w 3359086"/>
                <a:gd name="connsiteY19243" fmla="*/ 896589 h 3355086"/>
                <a:gd name="connsiteX19244" fmla="*/ 546639 w 3359086"/>
                <a:gd name="connsiteY19244" fmla="*/ 896398 h 3355086"/>
                <a:gd name="connsiteX19245" fmla="*/ 552830 w 3359086"/>
                <a:gd name="connsiteY19245" fmla="*/ 902589 h 3355086"/>
                <a:gd name="connsiteX19246" fmla="*/ 546639 w 3359086"/>
                <a:gd name="connsiteY19246" fmla="*/ 908781 h 3355086"/>
                <a:gd name="connsiteX19247" fmla="*/ 540448 w 3359086"/>
                <a:gd name="connsiteY19247" fmla="*/ 902589 h 3355086"/>
                <a:gd name="connsiteX19248" fmla="*/ 546639 w 3359086"/>
                <a:gd name="connsiteY19248" fmla="*/ 896398 h 3355086"/>
                <a:gd name="connsiteX19249" fmla="*/ 194310 w 3359086"/>
                <a:gd name="connsiteY19249" fmla="*/ 895350 h 3355086"/>
                <a:gd name="connsiteX19250" fmla="*/ 194596 w 3359086"/>
                <a:gd name="connsiteY19250" fmla="*/ 895636 h 3355086"/>
                <a:gd name="connsiteX19251" fmla="*/ 194310 w 3359086"/>
                <a:gd name="connsiteY19251" fmla="*/ 895921 h 3355086"/>
                <a:gd name="connsiteX19252" fmla="*/ 194024 w 3359086"/>
                <a:gd name="connsiteY19252" fmla="*/ 895636 h 3355086"/>
                <a:gd name="connsiteX19253" fmla="*/ 194310 w 3359086"/>
                <a:gd name="connsiteY19253" fmla="*/ 895350 h 3355086"/>
                <a:gd name="connsiteX19254" fmla="*/ 242887 w 3359086"/>
                <a:gd name="connsiteY19254" fmla="*/ 895160 h 3355086"/>
                <a:gd name="connsiteX19255" fmla="*/ 249078 w 3359086"/>
                <a:gd name="connsiteY19255" fmla="*/ 901351 h 3355086"/>
                <a:gd name="connsiteX19256" fmla="*/ 242887 w 3359086"/>
                <a:gd name="connsiteY19256" fmla="*/ 907542 h 3355086"/>
                <a:gd name="connsiteX19257" fmla="*/ 236696 w 3359086"/>
                <a:gd name="connsiteY19257" fmla="*/ 901351 h 3355086"/>
                <a:gd name="connsiteX19258" fmla="*/ 242887 w 3359086"/>
                <a:gd name="connsiteY19258" fmla="*/ 895160 h 3355086"/>
                <a:gd name="connsiteX19259" fmla="*/ 3037807 w 3359086"/>
                <a:gd name="connsiteY19259" fmla="*/ 894398 h 3355086"/>
                <a:gd name="connsiteX19260" fmla="*/ 3043998 w 3359086"/>
                <a:gd name="connsiteY19260" fmla="*/ 900589 h 3355086"/>
                <a:gd name="connsiteX19261" fmla="*/ 3037807 w 3359086"/>
                <a:gd name="connsiteY19261" fmla="*/ 906781 h 3355086"/>
                <a:gd name="connsiteX19262" fmla="*/ 3031616 w 3359086"/>
                <a:gd name="connsiteY19262" fmla="*/ 900589 h 3355086"/>
                <a:gd name="connsiteX19263" fmla="*/ 3037807 w 3359086"/>
                <a:gd name="connsiteY19263" fmla="*/ 894398 h 3355086"/>
                <a:gd name="connsiteX19264" fmla="*/ 2986182 w 3359086"/>
                <a:gd name="connsiteY19264" fmla="*/ 892969 h 3355086"/>
                <a:gd name="connsiteX19265" fmla="*/ 2992374 w 3359086"/>
                <a:gd name="connsiteY19265" fmla="*/ 899160 h 3355086"/>
                <a:gd name="connsiteX19266" fmla="*/ 2986182 w 3359086"/>
                <a:gd name="connsiteY19266" fmla="*/ 905352 h 3355086"/>
                <a:gd name="connsiteX19267" fmla="*/ 2979991 w 3359086"/>
                <a:gd name="connsiteY19267" fmla="*/ 899160 h 3355086"/>
                <a:gd name="connsiteX19268" fmla="*/ 2986182 w 3359086"/>
                <a:gd name="connsiteY19268" fmla="*/ 892969 h 3355086"/>
                <a:gd name="connsiteX19269" fmla="*/ 3129248 w 3359086"/>
                <a:gd name="connsiteY19269" fmla="*/ 892398 h 3355086"/>
                <a:gd name="connsiteX19270" fmla="*/ 3135439 w 3359086"/>
                <a:gd name="connsiteY19270" fmla="*/ 898589 h 3355086"/>
                <a:gd name="connsiteX19271" fmla="*/ 3129915 w 3359086"/>
                <a:gd name="connsiteY19271" fmla="*/ 904114 h 3355086"/>
                <a:gd name="connsiteX19272" fmla="*/ 3134106 w 3359086"/>
                <a:gd name="connsiteY19272" fmla="*/ 908304 h 3355086"/>
                <a:gd name="connsiteX19273" fmla="*/ 3129010 w 3359086"/>
                <a:gd name="connsiteY19273" fmla="*/ 913400 h 3355086"/>
                <a:gd name="connsiteX19274" fmla="*/ 3133915 w 3359086"/>
                <a:gd name="connsiteY19274" fmla="*/ 918305 h 3355086"/>
                <a:gd name="connsiteX19275" fmla="*/ 3128819 w 3359086"/>
                <a:gd name="connsiteY19275" fmla="*/ 923402 h 3355086"/>
                <a:gd name="connsiteX19276" fmla="*/ 3134296 w 3359086"/>
                <a:gd name="connsiteY19276" fmla="*/ 928878 h 3355086"/>
                <a:gd name="connsiteX19277" fmla="*/ 3128676 w 3359086"/>
                <a:gd name="connsiteY19277" fmla="*/ 934499 h 3355086"/>
                <a:gd name="connsiteX19278" fmla="*/ 3134772 w 3359086"/>
                <a:gd name="connsiteY19278" fmla="*/ 940594 h 3355086"/>
                <a:gd name="connsiteX19279" fmla="*/ 3128581 w 3359086"/>
                <a:gd name="connsiteY19279" fmla="*/ 946786 h 3355086"/>
                <a:gd name="connsiteX19280" fmla="*/ 3122390 w 3359086"/>
                <a:gd name="connsiteY19280" fmla="*/ 940594 h 3355086"/>
                <a:gd name="connsiteX19281" fmla="*/ 3128010 w 3359086"/>
                <a:gd name="connsiteY19281" fmla="*/ 934975 h 3355086"/>
                <a:gd name="connsiteX19282" fmla="*/ 3121914 w 3359086"/>
                <a:gd name="connsiteY19282" fmla="*/ 928878 h 3355086"/>
                <a:gd name="connsiteX19283" fmla="*/ 3127010 w 3359086"/>
                <a:gd name="connsiteY19283" fmla="*/ 923783 h 3355086"/>
                <a:gd name="connsiteX19284" fmla="*/ 3121533 w 3359086"/>
                <a:gd name="connsiteY19284" fmla="*/ 918305 h 3355086"/>
                <a:gd name="connsiteX19285" fmla="*/ 3126628 w 3359086"/>
                <a:gd name="connsiteY19285" fmla="*/ 913210 h 3355086"/>
                <a:gd name="connsiteX19286" fmla="*/ 3121723 w 3359086"/>
                <a:gd name="connsiteY19286" fmla="*/ 908304 h 3355086"/>
                <a:gd name="connsiteX19287" fmla="*/ 3127247 w 3359086"/>
                <a:gd name="connsiteY19287" fmla="*/ 902780 h 3355086"/>
                <a:gd name="connsiteX19288" fmla="*/ 3123057 w 3359086"/>
                <a:gd name="connsiteY19288" fmla="*/ 898589 h 3355086"/>
                <a:gd name="connsiteX19289" fmla="*/ 3129248 w 3359086"/>
                <a:gd name="connsiteY19289" fmla="*/ 892398 h 3355086"/>
                <a:gd name="connsiteX19290" fmla="*/ 2120550 w 3359086"/>
                <a:gd name="connsiteY19290" fmla="*/ 892207 h 3355086"/>
                <a:gd name="connsiteX19291" fmla="*/ 2126742 w 3359086"/>
                <a:gd name="connsiteY19291" fmla="*/ 898398 h 3355086"/>
                <a:gd name="connsiteX19292" fmla="*/ 2120550 w 3359086"/>
                <a:gd name="connsiteY19292" fmla="*/ 904589 h 3355086"/>
                <a:gd name="connsiteX19293" fmla="*/ 2114359 w 3359086"/>
                <a:gd name="connsiteY19293" fmla="*/ 898398 h 3355086"/>
                <a:gd name="connsiteX19294" fmla="*/ 2120550 w 3359086"/>
                <a:gd name="connsiteY19294" fmla="*/ 892207 h 3355086"/>
                <a:gd name="connsiteX19295" fmla="*/ 269938 w 3359086"/>
                <a:gd name="connsiteY19295" fmla="*/ 887349 h 3355086"/>
                <a:gd name="connsiteX19296" fmla="*/ 276129 w 3359086"/>
                <a:gd name="connsiteY19296" fmla="*/ 893540 h 3355086"/>
                <a:gd name="connsiteX19297" fmla="*/ 269938 w 3359086"/>
                <a:gd name="connsiteY19297" fmla="*/ 899731 h 3355086"/>
                <a:gd name="connsiteX19298" fmla="*/ 263747 w 3359086"/>
                <a:gd name="connsiteY19298" fmla="*/ 893540 h 3355086"/>
                <a:gd name="connsiteX19299" fmla="*/ 269938 w 3359086"/>
                <a:gd name="connsiteY19299" fmla="*/ 887349 h 3355086"/>
                <a:gd name="connsiteX19300" fmla="*/ 2535554 w 3359086"/>
                <a:gd name="connsiteY19300" fmla="*/ 886397 h 3355086"/>
                <a:gd name="connsiteX19301" fmla="*/ 2541746 w 3359086"/>
                <a:gd name="connsiteY19301" fmla="*/ 892588 h 3355086"/>
                <a:gd name="connsiteX19302" fmla="*/ 2535554 w 3359086"/>
                <a:gd name="connsiteY19302" fmla="*/ 898779 h 3355086"/>
                <a:gd name="connsiteX19303" fmla="*/ 2529363 w 3359086"/>
                <a:gd name="connsiteY19303" fmla="*/ 892588 h 3355086"/>
                <a:gd name="connsiteX19304" fmla="*/ 2535554 w 3359086"/>
                <a:gd name="connsiteY19304" fmla="*/ 886397 h 3355086"/>
                <a:gd name="connsiteX19305" fmla="*/ 3150107 w 3359086"/>
                <a:gd name="connsiteY19305" fmla="*/ 885921 h 3355086"/>
                <a:gd name="connsiteX19306" fmla="*/ 3156298 w 3359086"/>
                <a:gd name="connsiteY19306" fmla="*/ 892112 h 3355086"/>
                <a:gd name="connsiteX19307" fmla="*/ 3150107 w 3359086"/>
                <a:gd name="connsiteY19307" fmla="*/ 898304 h 3355086"/>
                <a:gd name="connsiteX19308" fmla="*/ 3143916 w 3359086"/>
                <a:gd name="connsiteY19308" fmla="*/ 892112 h 3355086"/>
                <a:gd name="connsiteX19309" fmla="*/ 3150107 w 3359086"/>
                <a:gd name="connsiteY19309" fmla="*/ 885921 h 3355086"/>
                <a:gd name="connsiteX19310" fmla="*/ 2758249 w 3359086"/>
                <a:gd name="connsiteY19310" fmla="*/ 885444 h 3355086"/>
                <a:gd name="connsiteX19311" fmla="*/ 2764441 w 3359086"/>
                <a:gd name="connsiteY19311" fmla="*/ 891635 h 3355086"/>
                <a:gd name="connsiteX19312" fmla="*/ 2758249 w 3359086"/>
                <a:gd name="connsiteY19312" fmla="*/ 897827 h 3355086"/>
                <a:gd name="connsiteX19313" fmla="*/ 2752058 w 3359086"/>
                <a:gd name="connsiteY19313" fmla="*/ 891635 h 3355086"/>
                <a:gd name="connsiteX19314" fmla="*/ 2758249 w 3359086"/>
                <a:gd name="connsiteY19314" fmla="*/ 885444 h 3355086"/>
                <a:gd name="connsiteX19315" fmla="*/ 3080860 w 3359086"/>
                <a:gd name="connsiteY19315" fmla="*/ 884968 h 3355086"/>
                <a:gd name="connsiteX19316" fmla="*/ 3087052 w 3359086"/>
                <a:gd name="connsiteY19316" fmla="*/ 891159 h 3355086"/>
                <a:gd name="connsiteX19317" fmla="*/ 3080860 w 3359086"/>
                <a:gd name="connsiteY19317" fmla="*/ 897350 h 3355086"/>
                <a:gd name="connsiteX19318" fmla="*/ 3074669 w 3359086"/>
                <a:gd name="connsiteY19318" fmla="*/ 891159 h 3355086"/>
                <a:gd name="connsiteX19319" fmla="*/ 3080860 w 3359086"/>
                <a:gd name="connsiteY19319" fmla="*/ 884968 h 3355086"/>
                <a:gd name="connsiteX19320" fmla="*/ 1272444 w 3359086"/>
                <a:gd name="connsiteY19320" fmla="*/ 884682 h 3355086"/>
                <a:gd name="connsiteX19321" fmla="*/ 1278636 w 3359086"/>
                <a:gd name="connsiteY19321" fmla="*/ 890873 h 3355086"/>
                <a:gd name="connsiteX19322" fmla="*/ 1272444 w 3359086"/>
                <a:gd name="connsiteY19322" fmla="*/ 897064 h 3355086"/>
                <a:gd name="connsiteX19323" fmla="*/ 1266253 w 3359086"/>
                <a:gd name="connsiteY19323" fmla="*/ 890873 h 3355086"/>
                <a:gd name="connsiteX19324" fmla="*/ 1272444 w 3359086"/>
                <a:gd name="connsiteY19324" fmla="*/ 884682 h 3355086"/>
                <a:gd name="connsiteX19325" fmla="*/ 442054 w 3359086"/>
                <a:gd name="connsiteY19325" fmla="*/ 884396 h 3355086"/>
                <a:gd name="connsiteX19326" fmla="*/ 448246 w 3359086"/>
                <a:gd name="connsiteY19326" fmla="*/ 890587 h 3355086"/>
                <a:gd name="connsiteX19327" fmla="*/ 442054 w 3359086"/>
                <a:gd name="connsiteY19327" fmla="*/ 896779 h 3355086"/>
                <a:gd name="connsiteX19328" fmla="*/ 435863 w 3359086"/>
                <a:gd name="connsiteY19328" fmla="*/ 890587 h 3355086"/>
                <a:gd name="connsiteX19329" fmla="*/ 442054 w 3359086"/>
                <a:gd name="connsiteY19329" fmla="*/ 884396 h 3355086"/>
                <a:gd name="connsiteX19330" fmla="*/ 209454 w 3359086"/>
                <a:gd name="connsiteY19330" fmla="*/ 883730 h 3355086"/>
                <a:gd name="connsiteX19331" fmla="*/ 215645 w 3359086"/>
                <a:gd name="connsiteY19331" fmla="*/ 889921 h 3355086"/>
                <a:gd name="connsiteX19332" fmla="*/ 211597 w 3359086"/>
                <a:gd name="connsiteY19332" fmla="*/ 893969 h 3355086"/>
                <a:gd name="connsiteX19333" fmla="*/ 216789 w 3359086"/>
                <a:gd name="connsiteY19333" fmla="*/ 899160 h 3355086"/>
                <a:gd name="connsiteX19334" fmla="*/ 212169 w 3359086"/>
                <a:gd name="connsiteY19334" fmla="*/ 903780 h 3355086"/>
                <a:gd name="connsiteX19335" fmla="*/ 217075 w 3359086"/>
                <a:gd name="connsiteY19335" fmla="*/ 908685 h 3355086"/>
                <a:gd name="connsiteX19336" fmla="*/ 211883 w 3359086"/>
                <a:gd name="connsiteY19336" fmla="*/ 913877 h 3355086"/>
                <a:gd name="connsiteX19337" fmla="*/ 216789 w 3359086"/>
                <a:gd name="connsiteY19337" fmla="*/ 918782 h 3355086"/>
                <a:gd name="connsiteX19338" fmla="*/ 211025 w 3359086"/>
                <a:gd name="connsiteY19338" fmla="*/ 924545 h 3355086"/>
                <a:gd name="connsiteX19339" fmla="*/ 216693 w 3359086"/>
                <a:gd name="connsiteY19339" fmla="*/ 930212 h 3355086"/>
                <a:gd name="connsiteX19340" fmla="*/ 210502 w 3359086"/>
                <a:gd name="connsiteY19340" fmla="*/ 936404 h 3355086"/>
                <a:gd name="connsiteX19341" fmla="*/ 204311 w 3359086"/>
                <a:gd name="connsiteY19341" fmla="*/ 930212 h 3355086"/>
                <a:gd name="connsiteX19342" fmla="*/ 210073 w 3359086"/>
                <a:gd name="connsiteY19342" fmla="*/ 924450 h 3355086"/>
                <a:gd name="connsiteX19343" fmla="*/ 204406 w 3359086"/>
                <a:gd name="connsiteY19343" fmla="*/ 918782 h 3355086"/>
                <a:gd name="connsiteX19344" fmla="*/ 209597 w 3359086"/>
                <a:gd name="connsiteY19344" fmla="*/ 913591 h 3355086"/>
                <a:gd name="connsiteX19345" fmla="*/ 204692 w 3359086"/>
                <a:gd name="connsiteY19345" fmla="*/ 908685 h 3355086"/>
                <a:gd name="connsiteX19346" fmla="*/ 209311 w 3359086"/>
                <a:gd name="connsiteY19346" fmla="*/ 904066 h 3355086"/>
                <a:gd name="connsiteX19347" fmla="*/ 204406 w 3359086"/>
                <a:gd name="connsiteY19347" fmla="*/ 899160 h 3355086"/>
                <a:gd name="connsiteX19348" fmla="*/ 208453 w 3359086"/>
                <a:gd name="connsiteY19348" fmla="*/ 895113 h 3355086"/>
                <a:gd name="connsiteX19349" fmla="*/ 203263 w 3359086"/>
                <a:gd name="connsiteY19349" fmla="*/ 889921 h 3355086"/>
                <a:gd name="connsiteX19350" fmla="*/ 209454 w 3359086"/>
                <a:gd name="connsiteY19350" fmla="*/ 883730 h 3355086"/>
                <a:gd name="connsiteX19351" fmla="*/ 3132105 w 3359086"/>
                <a:gd name="connsiteY19351" fmla="*/ 882587 h 3355086"/>
                <a:gd name="connsiteX19352" fmla="*/ 3138297 w 3359086"/>
                <a:gd name="connsiteY19352" fmla="*/ 888778 h 3355086"/>
                <a:gd name="connsiteX19353" fmla="*/ 3132105 w 3359086"/>
                <a:gd name="connsiteY19353" fmla="*/ 894969 h 3355086"/>
                <a:gd name="connsiteX19354" fmla="*/ 3125914 w 3359086"/>
                <a:gd name="connsiteY19354" fmla="*/ 888778 h 3355086"/>
                <a:gd name="connsiteX19355" fmla="*/ 3132105 w 3359086"/>
                <a:gd name="connsiteY19355" fmla="*/ 882587 h 3355086"/>
                <a:gd name="connsiteX19356" fmla="*/ 308990 w 3359086"/>
                <a:gd name="connsiteY19356" fmla="*/ 881825 h 3355086"/>
                <a:gd name="connsiteX19357" fmla="*/ 315181 w 3359086"/>
                <a:gd name="connsiteY19357" fmla="*/ 888016 h 3355086"/>
                <a:gd name="connsiteX19358" fmla="*/ 308990 w 3359086"/>
                <a:gd name="connsiteY19358" fmla="*/ 894208 h 3355086"/>
                <a:gd name="connsiteX19359" fmla="*/ 302799 w 3359086"/>
                <a:gd name="connsiteY19359" fmla="*/ 888016 h 3355086"/>
                <a:gd name="connsiteX19360" fmla="*/ 308990 w 3359086"/>
                <a:gd name="connsiteY19360" fmla="*/ 881825 h 3355086"/>
                <a:gd name="connsiteX19361" fmla="*/ 364711 w 3359086"/>
                <a:gd name="connsiteY19361" fmla="*/ 880206 h 3355086"/>
                <a:gd name="connsiteX19362" fmla="*/ 370902 w 3359086"/>
                <a:gd name="connsiteY19362" fmla="*/ 886397 h 3355086"/>
                <a:gd name="connsiteX19363" fmla="*/ 364711 w 3359086"/>
                <a:gd name="connsiteY19363" fmla="*/ 892588 h 3355086"/>
                <a:gd name="connsiteX19364" fmla="*/ 358520 w 3359086"/>
                <a:gd name="connsiteY19364" fmla="*/ 886397 h 3355086"/>
                <a:gd name="connsiteX19365" fmla="*/ 364711 w 3359086"/>
                <a:gd name="connsiteY19365" fmla="*/ 880206 h 3355086"/>
                <a:gd name="connsiteX19366" fmla="*/ 3157918 w 3359086"/>
                <a:gd name="connsiteY19366" fmla="*/ 880110 h 3355086"/>
                <a:gd name="connsiteX19367" fmla="*/ 3158013 w 3359086"/>
                <a:gd name="connsiteY19367" fmla="*/ 880205 h 3355086"/>
                <a:gd name="connsiteX19368" fmla="*/ 3157918 w 3359086"/>
                <a:gd name="connsiteY19368" fmla="*/ 880301 h 3355086"/>
                <a:gd name="connsiteX19369" fmla="*/ 3157823 w 3359086"/>
                <a:gd name="connsiteY19369" fmla="*/ 880205 h 3355086"/>
                <a:gd name="connsiteX19370" fmla="*/ 3157918 w 3359086"/>
                <a:gd name="connsiteY19370" fmla="*/ 880110 h 3355086"/>
                <a:gd name="connsiteX19371" fmla="*/ 2005583 w 3359086"/>
                <a:gd name="connsiteY19371" fmla="*/ 878967 h 3355086"/>
                <a:gd name="connsiteX19372" fmla="*/ 2011775 w 3359086"/>
                <a:gd name="connsiteY19372" fmla="*/ 885158 h 3355086"/>
                <a:gd name="connsiteX19373" fmla="*/ 2005583 w 3359086"/>
                <a:gd name="connsiteY19373" fmla="*/ 891350 h 3355086"/>
                <a:gd name="connsiteX19374" fmla="*/ 1999392 w 3359086"/>
                <a:gd name="connsiteY19374" fmla="*/ 885158 h 3355086"/>
                <a:gd name="connsiteX19375" fmla="*/ 2005583 w 3359086"/>
                <a:gd name="connsiteY19375" fmla="*/ 878967 h 3355086"/>
                <a:gd name="connsiteX19376" fmla="*/ 3051809 w 3359086"/>
                <a:gd name="connsiteY19376" fmla="*/ 876681 h 3355086"/>
                <a:gd name="connsiteX19377" fmla="*/ 3058000 w 3359086"/>
                <a:gd name="connsiteY19377" fmla="*/ 882872 h 3355086"/>
                <a:gd name="connsiteX19378" fmla="*/ 3051809 w 3359086"/>
                <a:gd name="connsiteY19378" fmla="*/ 889064 h 3355086"/>
                <a:gd name="connsiteX19379" fmla="*/ 3045618 w 3359086"/>
                <a:gd name="connsiteY19379" fmla="*/ 882872 h 3355086"/>
                <a:gd name="connsiteX19380" fmla="*/ 3051809 w 3359086"/>
                <a:gd name="connsiteY19380" fmla="*/ 876681 h 3355086"/>
                <a:gd name="connsiteX19381" fmla="*/ 840961 w 3359086"/>
                <a:gd name="connsiteY19381" fmla="*/ 874967 h 3355086"/>
                <a:gd name="connsiteX19382" fmla="*/ 847153 w 3359086"/>
                <a:gd name="connsiteY19382" fmla="*/ 881158 h 3355086"/>
                <a:gd name="connsiteX19383" fmla="*/ 840961 w 3359086"/>
                <a:gd name="connsiteY19383" fmla="*/ 887350 h 3355086"/>
                <a:gd name="connsiteX19384" fmla="*/ 834770 w 3359086"/>
                <a:gd name="connsiteY19384" fmla="*/ 881158 h 3355086"/>
                <a:gd name="connsiteX19385" fmla="*/ 840961 w 3359086"/>
                <a:gd name="connsiteY19385" fmla="*/ 874967 h 3355086"/>
                <a:gd name="connsiteX19386" fmla="*/ 206788 w 3359086"/>
                <a:gd name="connsiteY19386" fmla="*/ 874967 h 3355086"/>
                <a:gd name="connsiteX19387" fmla="*/ 212407 w 3359086"/>
                <a:gd name="connsiteY19387" fmla="*/ 880587 h 3355086"/>
                <a:gd name="connsiteX19388" fmla="*/ 206788 w 3359086"/>
                <a:gd name="connsiteY19388" fmla="*/ 886206 h 3355086"/>
                <a:gd name="connsiteX19389" fmla="*/ 201168 w 3359086"/>
                <a:gd name="connsiteY19389" fmla="*/ 880587 h 3355086"/>
                <a:gd name="connsiteX19390" fmla="*/ 206788 w 3359086"/>
                <a:gd name="connsiteY19390" fmla="*/ 874967 h 3355086"/>
                <a:gd name="connsiteX19391" fmla="*/ 2868453 w 3359086"/>
                <a:gd name="connsiteY19391" fmla="*/ 873157 h 3355086"/>
                <a:gd name="connsiteX19392" fmla="*/ 2874644 w 3359086"/>
                <a:gd name="connsiteY19392" fmla="*/ 879348 h 3355086"/>
                <a:gd name="connsiteX19393" fmla="*/ 2868453 w 3359086"/>
                <a:gd name="connsiteY19393" fmla="*/ 885539 h 3355086"/>
                <a:gd name="connsiteX19394" fmla="*/ 2862262 w 3359086"/>
                <a:gd name="connsiteY19394" fmla="*/ 879348 h 3355086"/>
                <a:gd name="connsiteX19395" fmla="*/ 2868453 w 3359086"/>
                <a:gd name="connsiteY19395" fmla="*/ 873157 h 3355086"/>
                <a:gd name="connsiteX19396" fmla="*/ 1390268 w 3359086"/>
                <a:gd name="connsiteY19396" fmla="*/ 873157 h 3355086"/>
                <a:gd name="connsiteX19397" fmla="*/ 1396460 w 3359086"/>
                <a:gd name="connsiteY19397" fmla="*/ 879348 h 3355086"/>
                <a:gd name="connsiteX19398" fmla="*/ 1390268 w 3359086"/>
                <a:gd name="connsiteY19398" fmla="*/ 885539 h 3355086"/>
                <a:gd name="connsiteX19399" fmla="*/ 1384077 w 3359086"/>
                <a:gd name="connsiteY19399" fmla="*/ 879348 h 3355086"/>
                <a:gd name="connsiteX19400" fmla="*/ 1390268 w 3359086"/>
                <a:gd name="connsiteY19400" fmla="*/ 873157 h 3355086"/>
                <a:gd name="connsiteX19401" fmla="*/ 261460 w 3359086"/>
                <a:gd name="connsiteY19401" fmla="*/ 873062 h 3355086"/>
                <a:gd name="connsiteX19402" fmla="*/ 267652 w 3359086"/>
                <a:gd name="connsiteY19402" fmla="*/ 879253 h 3355086"/>
                <a:gd name="connsiteX19403" fmla="*/ 261460 w 3359086"/>
                <a:gd name="connsiteY19403" fmla="*/ 885444 h 3355086"/>
                <a:gd name="connsiteX19404" fmla="*/ 255269 w 3359086"/>
                <a:gd name="connsiteY19404" fmla="*/ 879253 h 3355086"/>
                <a:gd name="connsiteX19405" fmla="*/ 261460 w 3359086"/>
                <a:gd name="connsiteY19405" fmla="*/ 873062 h 3355086"/>
                <a:gd name="connsiteX19406" fmla="*/ 606837 w 3359086"/>
                <a:gd name="connsiteY19406" fmla="*/ 872871 h 3355086"/>
                <a:gd name="connsiteX19407" fmla="*/ 613028 w 3359086"/>
                <a:gd name="connsiteY19407" fmla="*/ 879062 h 3355086"/>
                <a:gd name="connsiteX19408" fmla="*/ 606837 w 3359086"/>
                <a:gd name="connsiteY19408" fmla="*/ 885254 h 3355086"/>
                <a:gd name="connsiteX19409" fmla="*/ 600646 w 3359086"/>
                <a:gd name="connsiteY19409" fmla="*/ 879062 h 3355086"/>
                <a:gd name="connsiteX19410" fmla="*/ 606837 w 3359086"/>
                <a:gd name="connsiteY19410" fmla="*/ 872871 h 3355086"/>
                <a:gd name="connsiteX19411" fmla="*/ 3136867 w 3359086"/>
                <a:gd name="connsiteY19411" fmla="*/ 872395 h 3355086"/>
                <a:gd name="connsiteX19412" fmla="*/ 3143059 w 3359086"/>
                <a:gd name="connsiteY19412" fmla="*/ 878586 h 3355086"/>
                <a:gd name="connsiteX19413" fmla="*/ 3136867 w 3359086"/>
                <a:gd name="connsiteY19413" fmla="*/ 884777 h 3355086"/>
                <a:gd name="connsiteX19414" fmla="*/ 3130676 w 3359086"/>
                <a:gd name="connsiteY19414" fmla="*/ 878586 h 3355086"/>
                <a:gd name="connsiteX19415" fmla="*/ 3136867 w 3359086"/>
                <a:gd name="connsiteY19415" fmla="*/ 872395 h 3355086"/>
                <a:gd name="connsiteX19416" fmla="*/ 3009804 w 3359086"/>
                <a:gd name="connsiteY19416" fmla="*/ 870776 h 3355086"/>
                <a:gd name="connsiteX19417" fmla="*/ 3015996 w 3359086"/>
                <a:gd name="connsiteY19417" fmla="*/ 876967 h 3355086"/>
                <a:gd name="connsiteX19418" fmla="*/ 3009804 w 3359086"/>
                <a:gd name="connsiteY19418" fmla="*/ 883158 h 3355086"/>
                <a:gd name="connsiteX19419" fmla="*/ 3003613 w 3359086"/>
                <a:gd name="connsiteY19419" fmla="*/ 876967 h 3355086"/>
                <a:gd name="connsiteX19420" fmla="*/ 3009804 w 3359086"/>
                <a:gd name="connsiteY19420" fmla="*/ 870776 h 3355086"/>
                <a:gd name="connsiteX19421" fmla="*/ 2950368 w 3359086"/>
                <a:gd name="connsiteY19421" fmla="*/ 869061 h 3355086"/>
                <a:gd name="connsiteX19422" fmla="*/ 2956559 w 3359086"/>
                <a:gd name="connsiteY19422" fmla="*/ 875252 h 3355086"/>
                <a:gd name="connsiteX19423" fmla="*/ 2950368 w 3359086"/>
                <a:gd name="connsiteY19423" fmla="*/ 881443 h 3355086"/>
                <a:gd name="connsiteX19424" fmla="*/ 2944177 w 3359086"/>
                <a:gd name="connsiteY19424" fmla="*/ 875252 h 3355086"/>
                <a:gd name="connsiteX19425" fmla="*/ 2950368 w 3359086"/>
                <a:gd name="connsiteY19425" fmla="*/ 869061 h 3355086"/>
                <a:gd name="connsiteX19426" fmla="*/ 1885664 w 3359086"/>
                <a:gd name="connsiteY19426" fmla="*/ 869061 h 3355086"/>
                <a:gd name="connsiteX19427" fmla="*/ 1891855 w 3359086"/>
                <a:gd name="connsiteY19427" fmla="*/ 875252 h 3355086"/>
                <a:gd name="connsiteX19428" fmla="*/ 1885664 w 3359086"/>
                <a:gd name="connsiteY19428" fmla="*/ 881443 h 3355086"/>
                <a:gd name="connsiteX19429" fmla="*/ 1879473 w 3359086"/>
                <a:gd name="connsiteY19429" fmla="*/ 875252 h 3355086"/>
                <a:gd name="connsiteX19430" fmla="*/ 1885664 w 3359086"/>
                <a:gd name="connsiteY19430" fmla="*/ 869061 h 3355086"/>
                <a:gd name="connsiteX19431" fmla="*/ 3119532 w 3359086"/>
                <a:gd name="connsiteY19431" fmla="*/ 867252 h 3355086"/>
                <a:gd name="connsiteX19432" fmla="*/ 3125724 w 3359086"/>
                <a:gd name="connsiteY19432" fmla="*/ 873443 h 3355086"/>
                <a:gd name="connsiteX19433" fmla="*/ 3120056 w 3359086"/>
                <a:gd name="connsiteY19433" fmla="*/ 879110 h 3355086"/>
                <a:gd name="connsiteX19434" fmla="*/ 3123247 w 3359086"/>
                <a:gd name="connsiteY19434" fmla="*/ 882301 h 3355086"/>
                <a:gd name="connsiteX19435" fmla="*/ 3118294 w 3359086"/>
                <a:gd name="connsiteY19435" fmla="*/ 887254 h 3355086"/>
                <a:gd name="connsiteX19436" fmla="*/ 3122104 w 3359086"/>
                <a:gd name="connsiteY19436" fmla="*/ 891064 h 3355086"/>
                <a:gd name="connsiteX19437" fmla="*/ 3117437 w 3359086"/>
                <a:gd name="connsiteY19437" fmla="*/ 895732 h 3355086"/>
                <a:gd name="connsiteX19438" fmla="*/ 3121818 w 3359086"/>
                <a:gd name="connsiteY19438" fmla="*/ 900112 h 3355086"/>
                <a:gd name="connsiteX19439" fmla="*/ 3116960 w 3359086"/>
                <a:gd name="connsiteY19439" fmla="*/ 904971 h 3355086"/>
                <a:gd name="connsiteX19440" fmla="*/ 3121914 w 3359086"/>
                <a:gd name="connsiteY19440" fmla="*/ 909923 h 3355086"/>
                <a:gd name="connsiteX19441" fmla="*/ 3116246 w 3359086"/>
                <a:gd name="connsiteY19441" fmla="*/ 915591 h 3355086"/>
                <a:gd name="connsiteX19442" fmla="*/ 3121628 w 3359086"/>
                <a:gd name="connsiteY19442" fmla="*/ 920972 h 3355086"/>
                <a:gd name="connsiteX19443" fmla="*/ 3115436 w 3359086"/>
                <a:gd name="connsiteY19443" fmla="*/ 927164 h 3355086"/>
                <a:gd name="connsiteX19444" fmla="*/ 3109245 w 3359086"/>
                <a:gd name="connsiteY19444" fmla="*/ 920972 h 3355086"/>
                <a:gd name="connsiteX19445" fmla="*/ 3114912 w 3359086"/>
                <a:gd name="connsiteY19445" fmla="*/ 915305 h 3355086"/>
                <a:gd name="connsiteX19446" fmla="*/ 3109531 w 3359086"/>
                <a:gd name="connsiteY19446" fmla="*/ 909923 h 3355086"/>
                <a:gd name="connsiteX19447" fmla="*/ 3114389 w 3359086"/>
                <a:gd name="connsiteY19447" fmla="*/ 905066 h 3355086"/>
                <a:gd name="connsiteX19448" fmla="*/ 3109436 w 3359086"/>
                <a:gd name="connsiteY19448" fmla="*/ 900112 h 3355086"/>
                <a:gd name="connsiteX19449" fmla="*/ 3114103 w 3359086"/>
                <a:gd name="connsiteY19449" fmla="*/ 895446 h 3355086"/>
                <a:gd name="connsiteX19450" fmla="*/ 3109722 w 3359086"/>
                <a:gd name="connsiteY19450" fmla="*/ 891064 h 3355086"/>
                <a:gd name="connsiteX19451" fmla="*/ 3114675 w 3359086"/>
                <a:gd name="connsiteY19451" fmla="*/ 886111 h 3355086"/>
                <a:gd name="connsiteX19452" fmla="*/ 3110865 w 3359086"/>
                <a:gd name="connsiteY19452" fmla="*/ 882301 h 3355086"/>
                <a:gd name="connsiteX19453" fmla="*/ 3116532 w 3359086"/>
                <a:gd name="connsiteY19453" fmla="*/ 876634 h 3355086"/>
                <a:gd name="connsiteX19454" fmla="*/ 3113341 w 3359086"/>
                <a:gd name="connsiteY19454" fmla="*/ 873443 h 3355086"/>
                <a:gd name="connsiteX19455" fmla="*/ 3119532 w 3359086"/>
                <a:gd name="connsiteY19455" fmla="*/ 867252 h 3355086"/>
                <a:gd name="connsiteX19456" fmla="*/ 1512283 w 3359086"/>
                <a:gd name="connsiteY19456" fmla="*/ 865442 h 3355086"/>
                <a:gd name="connsiteX19457" fmla="*/ 1518475 w 3359086"/>
                <a:gd name="connsiteY19457" fmla="*/ 871633 h 3355086"/>
                <a:gd name="connsiteX19458" fmla="*/ 1512283 w 3359086"/>
                <a:gd name="connsiteY19458" fmla="*/ 877825 h 3355086"/>
                <a:gd name="connsiteX19459" fmla="*/ 1506092 w 3359086"/>
                <a:gd name="connsiteY19459" fmla="*/ 871633 h 3355086"/>
                <a:gd name="connsiteX19460" fmla="*/ 1512283 w 3359086"/>
                <a:gd name="connsiteY19460" fmla="*/ 865442 h 3355086"/>
                <a:gd name="connsiteX19461" fmla="*/ 2451258 w 3359086"/>
                <a:gd name="connsiteY19461" fmla="*/ 865061 h 3355086"/>
                <a:gd name="connsiteX19462" fmla="*/ 2457449 w 3359086"/>
                <a:gd name="connsiteY19462" fmla="*/ 871252 h 3355086"/>
                <a:gd name="connsiteX19463" fmla="*/ 2451258 w 3359086"/>
                <a:gd name="connsiteY19463" fmla="*/ 877444 h 3355086"/>
                <a:gd name="connsiteX19464" fmla="*/ 2445067 w 3359086"/>
                <a:gd name="connsiteY19464" fmla="*/ 871252 h 3355086"/>
                <a:gd name="connsiteX19465" fmla="*/ 2451258 w 3359086"/>
                <a:gd name="connsiteY19465" fmla="*/ 865061 h 3355086"/>
                <a:gd name="connsiteX19466" fmla="*/ 293179 w 3359086"/>
                <a:gd name="connsiteY19466" fmla="*/ 864204 h 3355086"/>
                <a:gd name="connsiteX19467" fmla="*/ 299371 w 3359086"/>
                <a:gd name="connsiteY19467" fmla="*/ 870395 h 3355086"/>
                <a:gd name="connsiteX19468" fmla="*/ 293179 w 3359086"/>
                <a:gd name="connsiteY19468" fmla="*/ 876586 h 3355086"/>
                <a:gd name="connsiteX19469" fmla="*/ 286988 w 3359086"/>
                <a:gd name="connsiteY19469" fmla="*/ 870395 h 3355086"/>
                <a:gd name="connsiteX19470" fmla="*/ 293179 w 3359086"/>
                <a:gd name="connsiteY19470" fmla="*/ 864204 h 3355086"/>
                <a:gd name="connsiteX19471" fmla="*/ 1762124 w 3359086"/>
                <a:gd name="connsiteY19471" fmla="*/ 863251 h 3355086"/>
                <a:gd name="connsiteX19472" fmla="*/ 1768315 w 3359086"/>
                <a:gd name="connsiteY19472" fmla="*/ 869442 h 3355086"/>
                <a:gd name="connsiteX19473" fmla="*/ 1762124 w 3359086"/>
                <a:gd name="connsiteY19473" fmla="*/ 875633 h 3355086"/>
                <a:gd name="connsiteX19474" fmla="*/ 1755933 w 3359086"/>
                <a:gd name="connsiteY19474" fmla="*/ 869442 h 3355086"/>
                <a:gd name="connsiteX19475" fmla="*/ 1762124 w 3359086"/>
                <a:gd name="connsiteY19475" fmla="*/ 863251 h 3355086"/>
                <a:gd name="connsiteX19476" fmla="*/ 3143821 w 3359086"/>
                <a:gd name="connsiteY19476" fmla="*/ 862584 h 3355086"/>
                <a:gd name="connsiteX19477" fmla="*/ 3148965 w 3359086"/>
                <a:gd name="connsiteY19477" fmla="*/ 867727 h 3355086"/>
                <a:gd name="connsiteX19478" fmla="*/ 3143821 w 3359086"/>
                <a:gd name="connsiteY19478" fmla="*/ 872871 h 3355086"/>
                <a:gd name="connsiteX19479" fmla="*/ 3138678 w 3359086"/>
                <a:gd name="connsiteY19479" fmla="*/ 867727 h 3355086"/>
                <a:gd name="connsiteX19480" fmla="*/ 3143821 w 3359086"/>
                <a:gd name="connsiteY19480" fmla="*/ 862584 h 3355086"/>
                <a:gd name="connsiteX19481" fmla="*/ 3061430 w 3359086"/>
                <a:gd name="connsiteY19481" fmla="*/ 862584 h 3355086"/>
                <a:gd name="connsiteX19482" fmla="*/ 3067621 w 3359086"/>
                <a:gd name="connsiteY19482" fmla="*/ 868775 h 3355086"/>
                <a:gd name="connsiteX19483" fmla="*/ 3061430 w 3359086"/>
                <a:gd name="connsiteY19483" fmla="*/ 874966 h 3355086"/>
                <a:gd name="connsiteX19484" fmla="*/ 3055239 w 3359086"/>
                <a:gd name="connsiteY19484" fmla="*/ 868775 h 3355086"/>
                <a:gd name="connsiteX19485" fmla="*/ 3061430 w 3359086"/>
                <a:gd name="connsiteY19485" fmla="*/ 862584 h 3355086"/>
                <a:gd name="connsiteX19486" fmla="*/ 1636966 w 3359086"/>
                <a:gd name="connsiteY19486" fmla="*/ 862013 h 3355086"/>
                <a:gd name="connsiteX19487" fmla="*/ 1643157 w 3359086"/>
                <a:gd name="connsiteY19487" fmla="*/ 868204 h 3355086"/>
                <a:gd name="connsiteX19488" fmla="*/ 1636966 w 3359086"/>
                <a:gd name="connsiteY19488" fmla="*/ 874396 h 3355086"/>
                <a:gd name="connsiteX19489" fmla="*/ 1630775 w 3359086"/>
                <a:gd name="connsiteY19489" fmla="*/ 868204 h 3355086"/>
                <a:gd name="connsiteX19490" fmla="*/ 1636966 w 3359086"/>
                <a:gd name="connsiteY19490" fmla="*/ 862013 h 3355086"/>
                <a:gd name="connsiteX19491" fmla="*/ 2695479 w 3359086"/>
                <a:gd name="connsiteY19491" fmla="*/ 861918 h 3355086"/>
                <a:gd name="connsiteX19492" fmla="*/ 2701671 w 3359086"/>
                <a:gd name="connsiteY19492" fmla="*/ 868109 h 3355086"/>
                <a:gd name="connsiteX19493" fmla="*/ 2695479 w 3359086"/>
                <a:gd name="connsiteY19493" fmla="*/ 874300 h 3355086"/>
                <a:gd name="connsiteX19494" fmla="*/ 2689288 w 3359086"/>
                <a:gd name="connsiteY19494" fmla="*/ 868109 h 3355086"/>
                <a:gd name="connsiteX19495" fmla="*/ 2695479 w 3359086"/>
                <a:gd name="connsiteY19495" fmla="*/ 861918 h 3355086"/>
                <a:gd name="connsiteX19496" fmla="*/ 256031 w 3359086"/>
                <a:gd name="connsiteY19496" fmla="*/ 861537 h 3355086"/>
                <a:gd name="connsiteX19497" fmla="*/ 262223 w 3359086"/>
                <a:gd name="connsiteY19497" fmla="*/ 867728 h 3355086"/>
                <a:gd name="connsiteX19498" fmla="*/ 256031 w 3359086"/>
                <a:gd name="connsiteY19498" fmla="*/ 873919 h 3355086"/>
                <a:gd name="connsiteX19499" fmla="*/ 249840 w 3359086"/>
                <a:gd name="connsiteY19499" fmla="*/ 867728 h 3355086"/>
                <a:gd name="connsiteX19500" fmla="*/ 256031 w 3359086"/>
                <a:gd name="connsiteY19500" fmla="*/ 861537 h 3355086"/>
                <a:gd name="connsiteX19501" fmla="*/ 489870 w 3359086"/>
                <a:gd name="connsiteY19501" fmla="*/ 860203 h 3355086"/>
                <a:gd name="connsiteX19502" fmla="*/ 496062 w 3359086"/>
                <a:gd name="connsiteY19502" fmla="*/ 866394 h 3355086"/>
                <a:gd name="connsiteX19503" fmla="*/ 489870 w 3359086"/>
                <a:gd name="connsiteY19503" fmla="*/ 872585 h 3355086"/>
                <a:gd name="connsiteX19504" fmla="*/ 483679 w 3359086"/>
                <a:gd name="connsiteY19504" fmla="*/ 866394 h 3355086"/>
                <a:gd name="connsiteX19505" fmla="*/ 489870 w 3359086"/>
                <a:gd name="connsiteY19505" fmla="*/ 860203 h 3355086"/>
                <a:gd name="connsiteX19506" fmla="*/ 219455 w 3359086"/>
                <a:gd name="connsiteY19506" fmla="*/ 858679 h 3355086"/>
                <a:gd name="connsiteX19507" fmla="*/ 225647 w 3359086"/>
                <a:gd name="connsiteY19507" fmla="*/ 864870 h 3355086"/>
                <a:gd name="connsiteX19508" fmla="*/ 222646 w 3359086"/>
                <a:gd name="connsiteY19508" fmla="*/ 867871 h 3355086"/>
                <a:gd name="connsiteX19509" fmla="*/ 227933 w 3359086"/>
                <a:gd name="connsiteY19509" fmla="*/ 873157 h 3355086"/>
                <a:gd name="connsiteX19510" fmla="*/ 224360 w 3359086"/>
                <a:gd name="connsiteY19510" fmla="*/ 876729 h 3355086"/>
                <a:gd name="connsiteX19511" fmla="*/ 229075 w 3359086"/>
                <a:gd name="connsiteY19511" fmla="*/ 881444 h 3355086"/>
                <a:gd name="connsiteX19512" fmla="*/ 224932 w 3359086"/>
                <a:gd name="connsiteY19512" fmla="*/ 885588 h 3355086"/>
                <a:gd name="connsiteX19513" fmla="*/ 229456 w 3359086"/>
                <a:gd name="connsiteY19513" fmla="*/ 890111 h 3355086"/>
                <a:gd name="connsiteX19514" fmla="*/ 224931 w 3359086"/>
                <a:gd name="connsiteY19514" fmla="*/ 894636 h 3355086"/>
                <a:gd name="connsiteX19515" fmla="*/ 229743 w 3359086"/>
                <a:gd name="connsiteY19515" fmla="*/ 899446 h 3355086"/>
                <a:gd name="connsiteX19516" fmla="*/ 224742 w 3359086"/>
                <a:gd name="connsiteY19516" fmla="*/ 904447 h 3355086"/>
                <a:gd name="connsiteX19517" fmla="*/ 230505 w 3359086"/>
                <a:gd name="connsiteY19517" fmla="*/ 910209 h 3355086"/>
                <a:gd name="connsiteX19518" fmla="*/ 224313 w 3359086"/>
                <a:gd name="connsiteY19518" fmla="*/ 916400 h 3355086"/>
                <a:gd name="connsiteX19519" fmla="*/ 218122 w 3359086"/>
                <a:gd name="connsiteY19519" fmla="*/ 910209 h 3355086"/>
                <a:gd name="connsiteX19520" fmla="*/ 223122 w 3359086"/>
                <a:gd name="connsiteY19520" fmla="*/ 905209 h 3355086"/>
                <a:gd name="connsiteX19521" fmla="*/ 217360 w 3359086"/>
                <a:gd name="connsiteY19521" fmla="*/ 899446 h 3355086"/>
                <a:gd name="connsiteX19522" fmla="*/ 221884 w 3359086"/>
                <a:gd name="connsiteY19522" fmla="*/ 894922 h 3355086"/>
                <a:gd name="connsiteX19523" fmla="*/ 217074 w 3359086"/>
                <a:gd name="connsiteY19523" fmla="*/ 890111 h 3355086"/>
                <a:gd name="connsiteX19524" fmla="*/ 221216 w 3359086"/>
                <a:gd name="connsiteY19524" fmla="*/ 885969 h 3355086"/>
                <a:gd name="connsiteX19525" fmla="*/ 216693 w 3359086"/>
                <a:gd name="connsiteY19525" fmla="*/ 881444 h 3355086"/>
                <a:gd name="connsiteX19526" fmla="*/ 220265 w 3359086"/>
                <a:gd name="connsiteY19526" fmla="*/ 877872 h 3355086"/>
                <a:gd name="connsiteX19527" fmla="*/ 215550 w 3359086"/>
                <a:gd name="connsiteY19527" fmla="*/ 873157 h 3355086"/>
                <a:gd name="connsiteX19528" fmla="*/ 218550 w 3359086"/>
                <a:gd name="connsiteY19528" fmla="*/ 870157 h 3355086"/>
                <a:gd name="connsiteX19529" fmla="*/ 213264 w 3359086"/>
                <a:gd name="connsiteY19529" fmla="*/ 864870 h 3355086"/>
                <a:gd name="connsiteX19530" fmla="*/ 219455 w 3359086"/>
                <a:gd name="connsiteY19530" fmla="*/ 858679 h 3355086"/>
                <a:gd name="connsiteX19531" fmla="*/ 3123723 w 3359086"/>
                <a:gd name="connsiteY19531" fmla="*/ 858108 h 3355086"/>
                <a:gd name="connsiteX19532" fmla="*/ 3129915 w 3359086"/>
                <a:gd name="connsiteY19532" fmla="*/ 864299 h 3355086"/>
                <a:gd name="connsiteX19533" fmla="*/ 3123723 w 3359086"/>
                <a:gd name="connsiteY19533" fmla="*/ 870490 h 3355086"/>
                <a:gd name="connsiteX19534" fmla="*/ 3117532 w 3359086"/>
                <a:gd name="connsiteY19534" fmla="*/ 864299 h 3355086"/>
                <a:gd name="connsiteX19535" fmla="*/ 3123723 w 3359086"/>
                <a:gd name="connsiteY19535" fmla="*/ 858108 h 3355086"/>
                <a:gd name="connsiteX19536" fmla="*/ 338613 w 3359086"/>
                <a:gd name="connsiteY19536" fmla="*/ 857917 h 3355086"/>
                <a:gd name="connsiteX19537" fmla="*/ 344804 w 3359086"/>
                <a:gd name="connsiteY19537" fmla="*/ 864108 h 3355086"/>
                <a:gd name="connsiteX19538" fmla="*/ 338613 w 3359086"/>
                <a:gd name="connsiteY19538" fmla="*/ 870300 h 3355086"/>
                <a:gd name="connsiteX19539" fmla="*/ 332422 w 3359086"/>
                <a:gd name="connsiteY19539" fmla="*/ 864108 h 3355086"/>
                <a:gd name="connsiteX19540" fmla="*/ 338613 w 3359086"/>
                <a:gd name="connsiteY19540" fmla="*/ 857917 h 3355086"/>
                <a:gd name="connsiteX19541" fmla="*/ 215551 w 3359086"/>
                <a:gd name="connsiteY19541" fmla="*/ 856012 h 3355086"/>
                <a:gd name="connsiteX19542" fmla="*/ 215836 w 3359086"/>
                <a:gd name="connsiteY19542" fmla="*/ 856298 h 3355086"/>
                <a:gd name="connsiteX19543" fmla="*/ 215551 w 3359086"/>
                <a:gd name="connsiteY19543" fmla="*/ 856583 h 3355086"/>
                <a:gd name="connsiteX19544" fmla="*/ 215265 w 3359086"/>
                <a:gd name="connsiteY19544" fmla="*/ 856298 h 3355086"/>
                <a:gd name="connsiteX19545" fmla="*/ 215551 w 3359086"/>
                <a:gd name="connsiteY19545" fmla="*/ 856012 h 3355086"/>
                <a:gd name="connsiteX19546" fmla="*/ 402431 w 3359086"/>
                <a:gd name="connsiteY19546" fmla="*/ 855917 h 3355086"/>
                <a:gd name="connsiteX19547" fmla="*/ 408623 w 3359086"/>
                <a:gd name="connsiteY19547" fmla="*/ 862108 h 3355086"/>
                <a:gd name="connsiteX19548" fmla="*/ 402431 w 3359086"/>
                <a:gd name="connsiteY19548" fmla="*/ 868300 h 3355086"/>
                <a:gd name="connsiteX19549" fmla="*/ 396240 w 3359086"/>
                <a:gd name="connsiteY19549" fmla="*/ 862108 h 3355086"/>
                <a:gd name="connsiteX19550" fmla="*/ 402431 w 3359086"/>
                <a:gd name="connsiteY19550" fmla="*/ 855917 h 3355086"/>
                <a:gd name="connsiteX19551" fmla="*/ 928687 w 3359086"/>
                <a:gd name="connsiteY19551" fmla="*/ 854012 h 3355086"/>
                <a:gd name="connsiteX19552" fmla="*/ 934879 w 3359086"/>
                <a:gd name="connsiteY19552" fmla="*/ 860203 h 3355086"/>
                <a:gd name="connsiteX19553" fmla="*/ 928687 w 3359086"/>
                <a:gd name="connsiteY19553" fmla="*/ 866394 h 3355086"/>
                <a:gd name="connsiteX19554" fmla="*/ 922496 w 3359086"/>
                <a:gd name="connsiteY19554" fmla="*/ 860203 h 3355086"/>
                <a:gd name="connsiteX19555" fmla="*/ 928687 w 3359086"/>
                <a:gd name="connsiteY19555" fmla="*/ 854012 h 3355086"/>
                <a:gd name="connsiteX19556" fmla="*/ 3027330 w 3359086"/>
                <a:gd name="connsiteY19556" fmla="*/ 853250 h 3355086"/>
                <a:gd name="connsiteX19557" fmla="*/ 3033522 w 3359086"/>
                <a:gd name="connsiteY19557" fmla="*/ 859441 h 3355086"/>
                <a:gd name="connsiteX19558" fmla="*/ 3027330 w 3359086"/>
                <a:gd name="connsiteY19558" fmla="*/ 865633 h 3355086"/>
                <a:gd name="connsiteX19559" fmla="*/ 3021139 w 3359086"/>
                <a:gd name="connsiteY19559" fmla="*/ 859441 h 3355086"/>
                <a:gd name="connsiteX19560" fmla="*/ 3027330 w 3359086"/>
                <a:gd name="connsiteY19560" fmla="*/ 853250 h 3355086"/>
                <a:gd name="connsiteX19561" fmla="*/ 3067811 w 3359086"/>
                <a:gd name="connsiteY19561" fmla="*/ 851250 h 3355086"/>
                <a:gd name="connsiteX19562" fmla="*/ 3074003 w 3359086"/>
                <a:gd name="connsiteY19562" fmla="*/ 857441 h 3355086"/>
                <a:gd name="connsiteX19563" fmla="*/ 3067811 w 3359086"/>
                <a:gd name="connsiteY19563" fmla="*/ 863633 h 3355086"/>
                <a:gd name="connsiteX19564" fmla="*/ 3061620 w 3359086"/>
                <a:gd name="connsiteY19564" fmla="*/ 857441 h 3355086"/>
                <a:gd name="connsiteX19565" fmla="*/ 3067811 w 3359086"/>
                <a:gd name="connsiteY19565" fmla="*/ 851250 h 3355086"/>
                <a:gd name="connsiteX19566" fmla="*/ 281939 w 3359086"/>
                <a:gd name="connsiteY19566" fmla="*/ 850202 h 3355086"/>
                <a:gd name="connsiteX19567" fmla="*/ 288130 w 3359086"/>
                <a:gd name="connsiteY19567" fmla="*/ 856393 h 3355086"/>
                <a:gd name="connsiteX19568" fmla="*/ 281939 w 3359086"/>
                <a:gd name="connsiteY19568" fmla="*/ 862585 h 3355086"/>
                <a:gd name="connsiteX19569" fmla="*/ 275748 w 3359086"/>
                <a:gd name="connsiteY19569" fmla="*/ 856393 h 3355086"/>
                <a:gd name="connsiteX19570" fmla="*/ 281939 w 3359086"/>
                <a:gd name="connsiteY19570" fmla="*/ 850202 h 3355086"/>
                <a:gd name="connsiteX19571" fmla="*/ 672559 w 3359086"/>
                <a:gd name="connsiteY19571" fmla="*/ 849345 h 3355086"/>
                <a:gd name="connsiteX19572" fmla="*/ 678751 w 3359086"/>
                <a:gd name="connsiteY19572" fmla="*/ 855536 h 3355086"/>
                <a:gd name="connsiteX19573" fmla="*/ 672559 w 3359086"/>
                <a:gd name="connsiteY19573" fmla="*/ 861727 h 3355086"/>
                <a:gd name="connsiteX19574" fmla="*/ 666368 w 3359086"/>
                <a:gd name="connsiteY19574" fmla="*/ 855536 h 3355086"/>
                <a:gd name="connsiteX19575" fmla="*/ 672559 w 3359086"/>
                <a:gd name="connsiteY19575" fmla="*/ 849345 h 3355086"/>
                <a:gd name="connsiteX19576" fmla="*/ 2818447 w 3359086"/>
                <a:gd name="connsiteY19576" fmla="*/ 848868 h 3355086"/>
                <a:gd name="connsiteX19577" fmla="*/ 2824638 w 3359086"/>
                <a:gd name="connsiteY19577" fmla="*/ 855059 h 3355086"/>
                <a:gd name="connsiteX19578" fmla="*/ 2818447 w 3359086"/>
                <a:gd name="connsiteY19578" fmla="*/ 861251 h 3355086"/>
                <a:gd name="connsiteX19579" fmla="*/ 2812256 w 3359086"/>
                <a:gd name="connsiteY19579" fmla="*/ 855059 h 3355086"/>
                <a:gd name="connsiteX19580" fmla="*/ 2818447 w 3359086"/>
                <a:gd name="connsiteY19580" fmla="*/ 848868 h 3355086"/>
                <a:gd name="connsiteX19581" fmla="*/ 3129914 w 3359086"/>
                <a:gd name="connsiteY19581" fmla="*/ 848297 h 3355086"/>
                <a:gd name="connsiteX19582" fmla="*/ 3136105 w 3359086"/>
                <a:gd name="connsiteY19582" fmla="*/ 854488 h 3355086"/>
                <a:gd name="connsiteX19583" fmla="*/ 3129914 w 3359086"/>
                <a:gd name="connsiteY19583" fmla="*/ 860679 h 3355086"/>
                <a:gd name="connsiteX19584" fmla="*/ 3123723 w 3359086"/>
                <a:gd name="connsiteY19584" fmla="*/ 854488 h 3355086"/>
                <a:gd name="connsiteX19585" fmla="*/ 3129914 w 3359086"/>
                <a:gd name="connsiteY19585" fmla="*/ 848297 h 3355086"/>
                <a:gd name="connsiteX19586" fmla="*/ 2978657 w 3359086"/>
                <a:gd name="connsiteY19586" fmla="*/ 846582 h 3355086"/>
                <a:gd name="connsiteX19587" fmla="*/ 2984848 w 3359086"/>
                <a:gd name="connsiteY19587" fmla="*/ 852773 h 3355086"/>
                <a:gd name="connsiteX19588" fmla="*/ 2978657 w 3359086"/>
                <a:gd name="connsiteY19588" fmla="*/ 858964 h 3355086"/>
                <a:gd name="connsiteX19589" fmla="*/ 2972466 w 3359086"/>
                <a:gd name="connsiteY19589" fmla="*/ 852773 h 3355086"/>
                <a:gd name="connsiteX19590" fmla="*/ 2978657 w 3359086"/>
                <a:gd name="connsiteY19590" fmla="*/ 846582 h 3355086"/>
                <a:gd name="connsiteX19591" fmla="*/ 2360485 w 3359086"/>
                <a:gd name="connsiteY19591" fmla="*/ 844582 h 3355086"/>
                <a:gd name="connsiteX19592" fmla="*/ 2366677 w 3359086"/>
                <a:gd name="connsiteY19592" fmla="*/ 850773 h 3355086"/>
                <a:gd name="connsiteX19593" fmla="*/ 2360485 w 3359086"/>
                <a:gd name="connsiteY19593" fmla="*/ 856964 h 3355086"/>
                <a:gd name="connsiteX19594" fmla="*/ 2354294 w 3359086"/>
                <a:gd name="connsiteY19594" fmla="*/ 850773 h 3355086"/>
                <a:gd name="connsiteX19595" fmla="*/ 2360485 w 3359086"/>
                <a:gd name="connsiteY19595" fmla="*/ 844582 h 3355086"/>
                <a:gd name="connsiteX19596" fmla="*/ 2910839 w 3359086"/>
                <a:gd name="connsiteY19596" fmla="*/ 844487 h 3355086"/>
                <a:gd name="connsiteX19597" fmla="*/ 2917030 w 3359086"/>
                <a:gd name="connsiteY19597" fmla="*/ 850678 h 3355086"/>
                <a:gd name="connsiteX19598" fmla="*/ 2910839 w 3359086"/>
                <a:gd name="connsiteY19598" fmla="*/ 856869 h 3355086"/>
                <a:gd name="connsiteX19599" fmla="*/ 2904648 w 3359086"/>
                <a:gd name="connsiteY19599" fmla="*/ 850678 h 3355086"/>
                <a:gd name="connsiteX19600" fmla="*/ 2910839 w 3359086"/>
                <a:gd name="connsiteY19600" fmla="*/ 844487 h 3355086"/>
                <a:gd name="connsiteX19601" fmla="*/ 3138392 w 3359086"/>
                <a:gd name="connsiteY19601" fmla="*/ 843725 h 3355086"/>
                <a:gd name="connsiteX19602" fmla="*/ 3138392 w 3359086"/>
                <a:gd name="connsiteY19602" fmla="*/ 843820 h 3355086"/>
                <a:gd name="connsiteX19603" fmla="*/ 3138297 w 3359086"/>
                <a:gd name="connsiteY19603" fmla="*/ 843820 h 3355086"/>
                <a:gd name="connsiteX19604" fmla="*/ 3110483 w 3359086"/>
                <a:gd name="connsiteY19604" fmla="*/ 843058 h 3355086"/>
                <a:gd name="connsiteX19605" fmla="*/ 3116674 w 3359086"/>
                <a:gd name="connsiteY19605" fmla="*/ 849249 h 3355086"/>
                <a:gd name="connsiteX19606" fmla="*/ 3110769 w 3359086"/>
                <a:gd name="connsiteY19606" fmla="*/ 855155 h 3355086"/>
                <a:gd name="connsiteX19607" fmla="*/ 3112960 w 3359086"/>
                <a:gd name="connsiteY19607" fmla="*/ 857345 h 3355086"/>
                <a:gd name="connsiteX19608" fmla="*/ 3107959 w 3359086"/>
                <a:gd name="connsiteY19608" fmla="*/ 862346 h 3355086"/>
                <a:gd name="connsiteX19609" fmla="*/ 3110769 w 3359086"/>
                <a:gd name="connsiteY19609" fmla="*/ 865156 h 3355086"/>
                <a:gd name="connsiteX19610" fmla="*/ 3106293 w 3359086"/>
                <a:gd name="connsiteY19610" fmla="*/ 869633 h 3355086"/>
                <a:gd name="connsiteX19611" fmla="*/ 3109626 w 3359086"/>
                <a:gd name="connsiteY19611" fmla="*/ 872966 h 3355086"/>
                <a:gd name="connsiteX19612" fmla="*/ 3105245 w 3359086"/>
                <a:gd name="connsiteY19612" fmla="*/ 877348 h 3355086"/>
                <a:gd name="connsiteX19613" fmla="*/ 3109055 w 3359086"/>
                <a:gd name="connsiteY19613" fmla="*/ 881158 h 3355086"/>
                <a:gd name="connsiteX19614" fmla="*/ 3104245 w 3359086"/>
                <a:gd name="connsiteY19614" fmla="*/ 885969 h 3355086"/>
                <a:gd name="connsiteX19615" fmla="*/ 3108484 w 3359086"/>
                <a:gd name="connsiteY19615" fmla="*/ 890207 h 3355086"/>
                <a:gd name="connsiteX19616" fmla="*/ 3102673 w 3359086"/>
                <a:gd name="connsiteY19616" fmla="*/ 896017 h 3355086"/>
                <a:gd name="connsiteX19617" fmla="*/ 3107245 w 3359086"/>
                <a:gd name="connsiteY19617" fmla="*/ 900589 h 3355086"/>
                <a:gd name="connsiteX19618" fmla="*/ 3101054 w 3359086"/>
                <a:gd name="connsiteY19618" fmla="*/ 906781 h 3355086"/>
                <a:gd name="connsiteX19619" fmla="*/ 3094863 w 3359086"/>
                <a:gd name="connsiteY19619" fmla="*/ 900589 h 3355086"/>
                <a:gd name="connsiteX19620" fmla="*/ 3100673 w 3359086"/>
                <a:gd name="connsiteY19620" fmla="*/ 894779 h 3355086"/>
                <a:gd name="connsiteX19621" fmla="*/ 3096101 w 3359086"/>
                <a:gd name="connsiteY19621" fmla="*/ 890207 h 3355086"/>
                <a:gd name="connsiteX19622" fmla="*/ 3100911 w 3359086"/>
                <a:gd name="connsiteY19622" fmla="*/ 885398 h 3355086"/>
                <a:gd name="connsiteX19623" fmla="*/ 3096672 w 3359086"/>
                <a:gd name="connsiteY19623" fmla="*/ 881158 h 3355086"/>
                <a:gd name="connsiteX19624" fmla="*/ 3101054 w 3359086"/>
                <a:gd name="connsiteY19624" fmla="*/ 876777 h 3355086"/>
                <a:gd name="connsiteX19625" fmla="*/ 3097244 w 3359086"/>
                <a:gd name="connsiteY19625" fmla="*/ 872966 h 3355086"/>
                <a:gd name="connsiteX19626" fmla="*/ 3101720 w 3359086"/>
                <a:gd name="connsiteY19626" fmla="*/ 868490 h 3355086"/>
                <a:gd name="connsiteX19627" fmla="*/ 3098387 w 3359086"/>
                <a:gd name="connsiteY19627" fmla="*/ 865156 h 3355086"/>
                <a:gd name="connsiteX19628" fmla="*/ 3103387 w 3359086"/>
                <a:gd name="connsiteY19628" fmla="*/ 860156 h 3355086"/>
                <a:gd name="connsiteX19629" fmla="*/ 3100577 w 3359086"/>
                <a:gd name="connsiteY19629" fmla="*/ 857345 h 3355086"/>
                <a:gd name="connsiteX19630" fmla="*/ 3106482 w 3359086"/>
                <a:gd name="connsiteY19630" fmla="*/ 851440 h 3355086"/>
                <a:gd name="connsiteX19631" fmla="*/ 3104292 w 3359086"/>
                <a:gd name="connsiteY19631" fmla="*/ 849249 h 3355086"/>
                <a:gd name="connsiteX19632" fmla="*/ 3110483 w 3359086"/>
                <a:gd name="connsiteY19632" fmla="*/ 843058 h 3355086"/>
                <a:gd name="connsiteX19633" fmla="*/ 319087 w 3359086"/>
                <a:gd name="connsiteY19633" fmla="*/ 840391 h 3355086"/>
                <a:gd name="connsiteX19634" fmla="*/ 325279 w 3359086"/>
                <a:gd name="connsiteY19634" fmla="*/ 846582 h 3355086"/>
                <a:gd name="connsiteX19635" fmla="*/ 319087 w 3359086"/>
                <a:gd name="connsiteY19635" fmla="*/ 852773 h 3355086"/>
                <a:gd name="connsiteX19636" fmla="*/ 312896 w 3359086"/>
                <a:gd name="connsiteY19636" fmla="*/ 846582 h 3355086"/>
                <a:gd name="connsiteX19637" fmla="*/ 319087 w 3359086"/>
                <a:gd name="connsiteY19637" fmla="*/ 840391 h 3355086"/>
                <a:gd name="connsiteX19638" fmla="*/ 3039903 w 3359086"/>
                <a:gd name="connsiteY19638" fmla="*/ 839343 h 3355086"/>
                <a:gd name="connsiteX19639" fmla="*/ 3046094 w 3359086"/>
                <a:gd name="connsiteY19639" fmla="*/ 845534 h 3355086"/>
                <a:gd name="connsiteX19640" fmla="*/ 3039903 w 3359086"/>
                <a:gd name="connsiteY19640" fmla="*/ 851726 h 3355086"/>
                <a:gd name="connsiteX19641" fmla="*/ 3033712 w 3359086"/>
                <a:gd name="connsiteY19641" fmla="*/ 845534 h 3355086"/>
                <a:gd name="connsiteX19642" fmla="*/ 3039903 w 3359086"/>
                <a:gd name="connsiteY19642" fmla="*/ 839343 h 3355086"/>
                <a:gd name="connsiteX19643" fmla="*/ 274414 w 3359086"/>
                <a:gd name="connsiteY19643" fmla="*/ 839248 h 3355086"/>
                <a:gd name="connsiteX19644" fmla="*/ 280605 w 3359086"/>
                <a:gd name="connsiteY19644" fmla="*/ 845439 h 3355086"/>
                <a:gd name="connsiteX19645" fmla="*/ 274414 w 3359086"/>
                <a:gd name="connsiteY19645" fmla="*/ 851631 h 3355086"/>
                <a:gd name="connsiteX19646" fmla="*/ 268223 w 3359086"/>
                <a:gd name="connsiteY19646" fmla="*/ 845439 h 3355086"/>
                <a:gd name="connsiteX19647" fmla="*/ 274414 w 3359086"/>
                <a:gd name="connsiteY19647" fmla="*/ 839248 h 3355086"/>
                <a:gd name="connsiteX19648" fmla="*/ 2627090 w 3359086"/>
                <a:gd name="connsiteY19648" fmla="*/ 838486 h 3355086"/>
                <a:gd name="connsiteX19649" fmla="*/ 2633281 w 3359086"/>
                <a:gd name="connsiteY19649" fmla="*/ 844677 h 3355086"/>
                <a:gd name="connsiteX19650" fmla="*/ 2627090 w 3359086"/>
                <a:gd name="connsiteY19650" fmla="*/ 850869 h 3355086"/>
                <a:gd name="connsiteX19651" fmla="*/ 2620899 w 3359086"/>
                <a:gd name="connsiteY19651" fmla="*/ 844677 h 3355086"/>
                <a:gd name="connsiteX19652" fmla="*/ 2627090 w 3359086"/>
                <a:gd name="connsiteY19652" fmla="*/ 838486 h 3355086"/>
                <a:gd name="connsiteX19653" fmla="*/ 542543 w 3359086"/>
                <a:gd name="connsiteY19653" fmla="*/ 835724 h 3355086"/>
                <a:gd name="connsiteX19654" fmla="*/ 548734 w 3359086"/>
                <a:gd name="connsiteY19654" fmla="*/ 841915 h 3355086"/>
                <a:gd name="connsiteX19655" fmla="*/ 542543 w 3359086"/>
                <a:gd name="connsiteY19655" fmla="*/ 848106 h 3355086"/>
                <a:gd name="connsiteX19656" fmla="*/ 536352 w 3359086"/>
                <a:gd name="connsiteY19656" fmla="*/ 841915 h 3355086"/>
                <a:gd name="connsiteX19657" fmla="*/ 542543 w 3359086"/>
                <a:gd name="connsiteY19657" fmla="*/ 835724 h 3355086"/>
                <a:gd name="connsiteX19658" fmla="*/ 228885 w 3359086"/>
                <a:gd name="connsiteY19658" fmla="*/ 835343 h 3355086"/>
                <a:gd name="connsiteX19659" fmla="*/ 234315 w 3359086"/>
                <a:gd name="connsiteY19659" fmla="*/ 840772 h 3355086"/>
                <a:gd name="connsiteX19660" fmla="*/ 232647 w 3359086"/>
                <a:gd name="connsiteY19660" fmla="*/ 842440 h 3355086"/>
                <a:gd name="connsiteX19661" fmla="*/ 238600 w 3359086"/>
                <a:gd name="connsiteY19661" fmla="*/ 848392 h 3355086"/>
                <a:gd name="connsiteX19662" fmla="*/ 236028 w 3359086"/>
                <a:gd name="connsiteY19662" fmla="*/ 850964 h 3355086"/>
                <a:gd name="connsiteX19663" fmla="*/ 240697 w 3359086"/>
                <a:gd name="connsiteY19663" fmla="*/ 855631 h 3355086"/>
                <a:gd name="connsiteX19664" fmla="*/ 237648 w 3359086"/>
                <a:gd name="connsiteY19664" fmla="*/ 858680 h 3355086"/>
                <a:gd name="connsiteX19665" fmla="*/ 241934 w 3359086"/>
                <a:gd name="connsiteY19665" fmla="*/ 862965 h 3355086"/>
                <a:gd name="connsiteX19666" fmla="*/ 238457 w 3359086"/>
                <a:gd name="connsiteY19666" fmla="*/ 866442 h 3355086"/>
                <a:gd name="connsiteX19667" fmla="*/ 242696 w 3359086"/>
                <a:gd name="connsiteY19667" fmla="*/ 870680 h 3355086"/>
                <a:gd name="connsiteX19668" fmla="*/ 238886 w 3359086"/>
                <a:gd name="connsiteY19668" fmla="*/ 874491 h 3355086"/>
                <a:gd name="connsiteX19669" fmla="*/ 243744 w 3359086"/>
                <a:gd name="connsiteY19669" fmla="*/ 879348 h 3355086"/>
                <a:gd name="connsiteX19670" fmla="*/ 239648 w 3359086"/>
                <a:gd name="connsiteY19670" fmla="*/ 883444 h 3355086"/>
                <a:gd name="connsiteX19671" fmla="*/ 245554 w 3359086"/>
                <a:gd name="connsiteY19671" fmla="*/ 889349 h 3355086"/>
                <a:gd name="connsiteX19672" fmla="*/ 239362 w 3359086"/>
                <a:gd name="connsiteY19672" fmla="*/ 895541 h 3355086"/>
                <a:gd name="connsiteX19673" fmla="*/ 233171 w 3359086"/>
                <a:gd name="connsiteY19673" fmla="*/ 889349 h 3355086"/>
                <a:gd name="connsiteX19674" fmla="*/ 237267 w 3359086"/>
                <a:gd name="connsiteY19674" fmla="*/ 885253 h 3355086"/>
                <a:gd name="connsiteX19675" fmla="*/ 231362 w 3359086"/>
                <a:gd name="connsiteY19675" fmla="*/ 879348 h 3355086"/>
                <a:gd name="connsiteX19676" fmla="*/ 235171 w 3359086"/>
                <a:gd name="connsiteY19676" fmla="*/ 875539 h 3355086"/>
                <a:gd name="connsiteX19677" fmla="*/ 230314 w 3359086"/>
                <a:gd name="connsiteY19677" fmla="*/ 870680 h 3355086"/>
                <a:gd name="connsiteX19678" fmla="*/ 233790 w 3359086"/>
                <a:gd name="connsiteY19678" fmla="*/ 867204 h 3355086"/>
                <a:gd name="connsiteX19679" fmla="*/ 229552 w 3359086"/>
                <a:gd name="connsiteY19679" fmla="*/ 862965 h 3355086"/>
                <a:gd name="connsiteX19680" fmla="*/ 232599 w 3359086"/>
                <a:gd name="connsiteY19680" fmla="*/ 859918 h 3355086"/>
                <a:gd name="connsiteX19681" fmla="*/ 228314 w 3359086"/>
                <a:gd name="connsiteY19681" fmla="*/ 855631 h 3355086"/>
                <a:gd name="connsiteX19682" fmla="*/ 230885 w 3359086"/>
                <a:gd name="connsiteY19682" fmla="*/ 853060 h 3355086"/>
                <a:gd name="connsiteX19683" fmla="*/ 226218 w 3359086"/>
                <a:gd name="connsiteY19683" fmla="*/ 848392 h 3355086"/>
                <a:gd name="connsiteX19684" fmla="*/ 228646 w 3359086"/>
                <a:gd name="connsiteY19684" fmla="*/ 845964 h 3355086"/>
                <a:gd name="connsiteX19685" fmla="*/ 223456 w 3359086"/>
                <a:gd name="connsiteY19685" fmla="*/ 840772 h 3355086"/>
                <a:gd name="connsiteX19686" fmla="*/ 228885 w 3359086"/>
                <a:gd name="connsiteY19686" fmla="*/ 835343 h 3355086"/>
                <a:gd name="connsiteX19687" fmla="*/ 3115913 w 3359086"/>
                <a:gd name="connsiteY19687" fmla="*/ 834295 h 3355086"/>
                <a:gd name="connsiteX19688" fmla="*/ 3122104 w 3359086"/>
                <a:gd name="connsiteY19688" fmla="*/ 840486 h 3355086"/>
                <a:gd name="connsiteX19689" fmla="*/ 3115913 w 3359086"/>
                <a:gd name="connsiteY19689" fmla="*/ 846677 h 3355086"/>
                <a:gd name="connsiteX19690" fmla="*/ 3109722 w 3359086"/>
                <a:gd name="connsiteY19690" fmla="*/ 840486 h 3355086"/>
                <a:gd name="connsiteX19691" fmla="*/ 3115913 w 3359086"/>
                <a:gd name="connsiteY19691" fmla="*/ 834295 h 3355086"/>
                <a:gd name="connsiteX19692" fmla="*/ 1022984 w 3359086"/>
                <a:gd name="connsiteY19692" fmla="*/ 834200 h 3355086"/>
                <a:gd name="connsiteX19693" fmla="*/ 1029176 w 3359086"/>
                <a:gd name="connsiteY19693" fmla="*/ 840391 h 3355086"/>
                <a:gd name="connsiteX19694" fmla="*/ 1022984 w 3359086"/>
                <a:gd name="connsiteY19694" fmla="*/ 846583 h 3355086"/>
                <a:gd name="connsiteX19695" fmla="*/ 1016793 w 3359086"/>
                <a:gd name="connsiteY19695" fmla="*/ 840391 h 3355086"/>
                <a:gd name="connsiteX19696" fmla="*/ 1022984 w 3359086"/>
                <a:gd name="connsiteY19696" fmla="*/ 834200 h 3355086"/>
                <a:gd name="connsiteX19697" fmla="*/ 371474 w 3359086"/>
                <a:gd name="connsiteY19697" fmla="*/ 833438 h 3355086"/>
                <a:gd name="connsiteX19698" fmla="*/ 377666 w 3359086"/>
                <a:gd name="connsiteY19698" fmla="*/ 839629 h 3355086"/>
                <a:gd name="connsiteX19699" fmla="*/ 371474 w 3359086"/>
                <a:gd name="connsiteY19699" fmla="*/ 845821 h 3355086"/>
                <a:gd name="connsiteX19700" fmla="*/ 365283 w 3359086"/>
                <a:gd name="connsiteY19700" fmla="*/ 839629 h 3355086"/>
                <a:gd name="connsiteX19701" fmla="*/ 371474 w 3359086"/>
                <a:gd name="connsiteY19701" fmla="*/ 833438 h 3355086"/>
                <a:gd name="connsiteX19702" fmla="*/ 444150 w 3359086"/>
                <a:gd name="connsiteY19702" fmla="*/ 831247 h 3355086"/>
                <a:gd name="connsiteX19703" fmla="*/ 450341 w 3359086"/>
                <a:gd name="connsiteY19703" fmla="*/ 837438 h 3355086"/>
                <a:gd name="connsiteX19704" fmla="*/ 444150 w 3359086"/>
                <a:gd name="connsiteY19704" fmla="*/ 843629 h 3355086"/>
                <a:gd name="connsiteX19705" fmla="*/ 437959 w 3359086"/>
                <a:gd name="connsiteY19705" fmla="*/ 837438 h 3355086"/>
                <a:gd name="connsiteX19706" fmla="*/ 444150 w 3359086"/>
                <a:gd name="connsiteY19706" fmla="*/ 831247 h 3355086"/>
                <a:gd name="connsiteX19707" fmla="*/ 3000089 w 3359086"/>
                <a:gd name="connsiteY19707" fmla="*/ 829056 h 3355086"/>
                <a:gd name="connsiteX19708" fmla="*/ 3006280 w 3359086"/>
                <a:gd name="connsiteY19708" fmla="*/ 835247 h 3355086"/>
                <a:gd name="connsiteX19709" fmla="*/ 3000089 w 3359086"/>
                <a:gd name="connsiteY19709" fmla="*/ 841439 h 3355086"/>
                <a:gd name="connsiteX19710" fmla="*/ 2993898 w 3359086"/>
                <a:gd name="connsiteY19710" fmla="*/ 835247 h 3355086"/>
                <a:gd name="connsiteX19711" fmla="*/ 3000089 w 3359086"/>
                <a:gd name="connsiteY19711" fmla="*/ 829056 h 3355086"/>
                <a:gd name="connsiteX19712" fmla="*/ 3048666 w 3359086"/>
                <a:gd name="connsiteY19712" fmla="*/ 828580 h 3355086"/>
                <a:gd name="connsiteX19713" fmla="*/ 3054857 w 3359086"/>
                <a:gd name="connsiteY19713" fmla="*/ 834771 h 3355086"/>
                <a:gd name="connsiteX19714" fmla="*/ 3048666 w 3359086"/>
                <a:gd name="connsiteY19714" fmla="*/ 840962 h 3355086"/>
                <a:gd name="connsiteX19715" fmla="*/ 3042475 w 3359086"/>
                <a:gd name="connsiteY19715" fmla="*/ 834771 h 3355086"/>
                <a:gd name="connsiteX19716" fmla="*/ 3048666 w 3359086"/>
                <a:gd name="connsiteY19716" fmla="*/ 828580 h 3355086"/>
                <a:gd name="connsiteX19717" fmla="*/ 3096958 w 3359086"/>
                <a:gd name="connsiteY19717" fmla="*/ 827151 h 3355086"/>
                <a:gd name="connsiteX19718" fmla="*/ 3103150 w 3359086"/>
                <a:gd name="connsiteY19718" fmla="*/ 833342 h 3355086"/>
                <a:gd name="connsiteX19719" fmla="*/ 3097958 w 3359086"/>
                <a:gd name="connsiteY19719" fmla="*/ 838534 h 3355086"/>
                <a:gd name="connsiteX19720" fmla="*/ 3099815 w 3359086"/>
                <a:gd name="connsiteY19720" fmla="*/ 840391 h 3355086"/>
                <a:gd name="connsiteX19721" fmla="*/ 3095339 w 3359086"/>
                <a:gd name="connsiteY19721" fmla="*/ 844868 h 3355086"/>
                <a:gd name="connsiteX19722" fmla="*/ 3097720 w 3359086"/>
                <a:gd name="connsiteY19722" fmla="*/ 847249 h 3355086"/>
                <a:gd name="connsiteX19723" fmla="*/ 3093624 w 3359086"/>
                <a:gd name="connsiteY19723" fmla="*/ 851345 h 3355086"/>
                <a:gd name="connsiteX19724" fmla="*/ 3096386 w 3359086"/>
                <a:gd name="connsiteY19724" fmla="*/ 854107 h 3355086"/>
                <a:gd name="connsiteX19725" fmla="*/ 3092195 w 3359086"/>
                <a:gd name="connsiteY19725" fmla="*/ 858298 h 3355086"/>
                <a:gd name="connsiteX19726" fmla="*/ 3095338 w 3359086"/>
                <a:gd name="connsiteY19726" fmla="*/ 861441 h 3355086"/>
                <a:gd name="connsiteX19727" fmla="*/ 3090481 w 3359086"/>
                <a:gd name="connsiteY19727" fmla="*/ 866299 h 3355086"/>
                <a:gd name="connsiteX19728" fmla="*/ 3093910 w 3359086"/>
                <a:gd name="connsiteY19728" fmla="*/ 869728 h 3355086"/>
                <a:gd name="connsiteX19729" fmla="*/ 3087814 w 3359086"/>
                <a:gd name="connsiteY19729" fmla="*/ 875824 h 3355086"/>
                <a:gd name="connsiteX19730" fmla="*/ 3091433 w 3359086"/>
                <a:gd name="connsiteY19730" fmla="*/ 879443 h 3355086"/>
                <a:gd name="connsiteX19731" fmla="*/ 3085242 w 3359086"/>
                <a:gd name="connsiteY19731" fmla="*/ 885635 h 3355086"/>
                <a:gd name="connsiteX19732" fmla="*/ 3079051 w 3359086"/>
                <a:gd name="connsiteY19732" fmla="*/ 879443 h 3355086"/>
                <a:gd name="connsiteX19733" fmla="*/ 3085146 w 3359086"/>
                <a:gd name="connsiteY19733" fmla="*/ 873348 h 3355086"/>
                <a:gd name="connsiteX19734" fmla="*/ 3081527 w 3359086"/>
                <a:gd name="connsiteY19734" fmla="*/ 869728 h 3355086"/>
                <a:gd name="connsiteX19735" fmla="*/ 3086385 w 3359086"/>
                <a:gd name="connsiteY19735" fmla="*/ 864871 h 3355086"/>
                <a:gd name="connsiteX19736" fmla="*/ 3082956 w 3359086"/>
                <a:gd name="connsiteY19736" fmla="*/ 861441 h 3355086"/>
                <a:gd name="connsiteX19737" fmla="*/ 3087147 w 3359086"/>
                <a:gd name="connsiteY19737" fmla="*/ 857250 h 3355086"/>
                <a:gd name="connsiteX19738" fmla="*/ 3084004 w 3359086"/>
                <a:gd name="connsiteY19738" fmla="*/ 854107 h 3355086"/>
                <a:gd name="connsiteX19739" fmla="*/ 3088100 w 3359086"/>
                <a:gd name="connsiteY19739" fmla="*/ 850011 h 3355086"/>
                <a:gd name="connsiteX19740" fmla="*/ 3085338 w 3359086"/>
                <a:gd name="connsiteY19740" fmla="*/ 847249 h 3355086"/>
                <a:gd name="connsiteX19741" fmla="*/ 3089814 w 3359086"/>
                <a:gd name="connsiteY19741" fmla="*/ 842773 h 3355086"/>
                <a:gd name="connsiteX19742" fmla="*/ 3087433 w 3359086"/>
                <a:gd name="connsiteY19742" fmla="*/ 840391 h 3355086"/>
                <a:gd name="connsiteX19743" fmla="*/ 3092625 w 3359086"/>
                <a:gd name="connsiteY19743" fmla="*/ 835200 h 3355086"/>
                <a:gd name="connsiteX19744" fmla="*/ 3090767 w 3359086"/>
                <a:gd name="connsiteY19744" fmla="*/ 833342 h 3355086"/>
                <a:gd name="connsiteX19745" fmla="*/ 3096958 w 3359086"/>
                <a:gd name="connsiteY19745" fmla="*/ 827151 h 3355086"/>
                <a:gd name="connsiteX19746" fmla="*/ 304799 w 3359086"/>
                <a:gd name="connsiteY19746" fmla="*/ 826675 h 3355086"/>
                <a:gd name="connsiteX19747" fmla="*/ 310991 w 3359086"/>
                <a:gd name="connsiteY19747" fmla="*/ 832866 h 3355086"/>
                <a:gd name="connsiteX19748" fmla="*/ 304799 w 3359086"/>
                <a:gd name="connsiteY19748" fmla="*/ 839058 h 3355086"/>
                <a:gd name="connsiteX19749" fmla="*/ 298608 w 3359086"/>
                <a:gd name="connsiteY19749" fmla="*/ 832866 h 3355086"/>
                <a:gd name="connsiteX19750" fmla="*/ 304799 w 3359086"/>
                <a:gd name="connsiteY19750" fmla="*/ 826675 h 3355086"/>
                <a:gd name="connsiteX19751" fmla="*/ 3123628 w 3359086"/>
                <a:gd name="connsiteY19751" fmla="*/ 826485 h 3355086"/>
                <a:gd name="connsiteX19752" fmla="*/ 3128105 w 3359086"/>
                <a:gd name="connsiteY19752" fmla="*/ 830962 h 3355086"/>
                <a:gd name="connsiteX19753" fmla="*/ 3123628 w 3359086"/>
                <a:gd name="connsiteY19753" fmla="*/ 835438 h 3355086"/>
                <a:gd name="connsiteX19754" fmla="*/ 3119151 w 3359086"/>
                <a:gd name="connsiteY19754" fmla="*/ 830962 h 3355086"/>
                <a:gd name="connsiteX19755" fmla="*/ 3123628 w 3359086"/>
                <a:gd name="connsiteY19755" fmla="*/ 826485 h 3355086"/>
                <a:gd name="connsiteX19756" fmla="*/ 744092 w 3359086"/>
                <a:gd name="connsiteY19756" fmla="*/ 825913 h 3355086"/>
                <a:gd name="connsiteX19757" fmla="*/ 750283 w 3359086"/>
                <a:gd name="connsiteY19757" fmla="*/ 832104 h 3355086"/>
                <a:gd name="connsiteX19758" fmla="*/ 744092 w 3359086"/>
                <a:gd name="connsiteY19758" fmla="*/ 838296 h 3355086"/>
                <a:gd name="connsiteX19759" fmla="*/ 737901 w 3359086"/>
                <a:gd name="connsiteY19759" fmla="*/ 832104 h 3355086"/>
                <a:gd name="connsiteX19760" fmla="*/ 744092 w 3359086"/>
                <a:gd name="connsiteY19760" fmla="*/ 825913 h 3355086"/>
                <a:gd name="connsiteX19761" fmla="*/ 2263235 w 3359086"/>
                <a:gd name="connsiteY19761" fmla="*/ 825532 h 3355086"/>
                <a:gd name="connsiteX19762" fmla="*/ 2269426 w 3359086"/>
                <a:gd name="connsiteY19762" fmla="*/ 831723 h 3355086"/>
                <a:gd name="connsiteX19763" fmla="*/ 2263235 w 3359086"/>
                <a:gd name="connsiteY19763" fmla="*/ 837914 h 3355086"/>
                <a:gd name="connsiteX19764" fmla="*/ 2257044 w 3359086"/>
                <a:gd name="connsiteY19764" fmla="*/ 831723 h 3355086"/>
                <a:gd name="connsiteX19765" fmla="*/ 2263235 w 3359086"/>
                <a:gd name="connsiteY19765" fmla="*/ 825532 h 3355086"/>
                <a:gd name="connsiteX19766" fmla="*/ 2763488 w 3359086"/>
                <a:gd name="connsiteY19766" fmla="*/ 824294 h 3355086"/>
                <a:gd name="connsiteX19767" fmla="*/ 2769679 w 3359086"/>
                <a:gd name="connsiteY19767" fmla="*/ 830485 h 3355086"/>
                <a:gd name="connsiteX19768" fmla="*/ 2763488 w 3359086"/>
                <a:gd name="connsiteY19768" fmla="*/ 836677 h 3355086"/>
                <a:gd name="connsiteX19769" fmla="*/ 2757297 w 3359086"/>
                <a:gd name="connsiteY19769" fmla="*/ 830485 h 3355086"/>
                <a:gd name="connsiteX19770" fmla="*/ 2763488 w 3359086"/>
                <a:gd name="connsiteY19770" fmla="*/ 824294 h 3355086"/>
                <a:gd name="connsiteX19771" fmla="*/ 2944177 w 3359086"/>
                <a:gd name="connsiteY19771" fmla="*/ 821912 h 3355086"/>
                <a:gd name="connsiteX19772" fmla="*/ 2950368 w 3359086"/>
                <a:gd name="connsiteY19772" fmla="*/ 828103 h 3355086"/>
                <a:gd name="connsiteX19773" fmla="*/ 2944177 w 3359086"/>
                <a:gd name="connsiteY19773" fmla="*/ 834295 h 3355086"/>
                <a:gd name="connsiteX19774" fmla="*/ 2937986 w 3359086"/>
                <a:gd name="connsiteY19774" fmla="*/ 828103 h 3355086"/>
                <a:gd name="connsiteX19775" fmla="*/ 2944177 w 3359086"/>
                <a:gd name="connsiteY19775" fmla="*/ 821912 h 3355086"/>
                <a:gd name="connsiteX19776" fmla="*/ 2867215 w 3359086"/>
                <a:gd name="connsiteY19776" fmla="*/ 819627 h 3355086"/>
                <a:gd name="connsiteX19777" fmla="*/ 2873407 w 3359086"/>
                <a:gd name="connsiteY19777" fmla="*/ 825818 h 3355086"/>
                <a:gd name="connsiteX19778" fmla="*/ 2867215 w 3359086"/>
                <a:gd name="connsiteY19778" fmla="*/ 832009 h 3355086"/>
                <a:gd name="connsiteX19779" fmla="*/ 2861024 w 3359086"/>
                <a:gd name="connsiteY19779" fmla="*/ 825818 h 3355086"/>
                <a:gd name="connsiteX19780" fmla="*/ 2867215 w 3359086"/>
                <a:gd name="connsiteY19780" fmla="*/ 819627 h 3355086"/>
                <a:gd name="connsiteX19781" fmla="*/ 3102006 w 3359086"/>
                <a:gd name="connsiteY19781" fmla="*/ 819531 h 3355086"/>
                <a:gd name="connsiteX19782" fmla="*/ 3108198 w 3359086"/>
                <a:gd name="connsiteY19782" fmla="*/ 825722 h 3355086"/>
                <a:gd name="connsiteX19783" fmla="*/ 3102006 w 3359086"/>
                <a:gd name="connsiteY19783" fmla="*/ 831914 h 3355086"/>
                <a:gd name="connsiteX19784" fmla="*/ 3095815 w 3359086"/>
                <a:gd name="connsiteY19784" fmla="*/ 825722 h 3355086"/>
                <a:gd name="connsiteX19785" fmla="*/ 3102006 w 3359086"/>
                <a:gd name="connsiteY19785" fmla="*/ 819531 h 3355086"/>
                <a:gd name="connsiteX19786" fmla="*/ 242506 w 3359086"/>
                <a:gd name="connsiteY19786" fmla="*/ 818388 h 3355086"/>
                <a:gd name="connsiteX19787" fmla="*/ 248698 w 3359086"/>
                <a:gd name="connsiteY19787" fmla="*/ 824579 h 3355086"/>
                <a:gd name="connsiteX19788" fmla="*/ 247078 w 3359086"/>
                <a:gd name="connsiteY19788" fmla="*/ 826199 h 3355086"/>
                <a:gd name="connsiteX19789" fmla="*/ 251936 w 3359086"/>
                <a:gd name="connsiteY19789" fmla="*/ 831056 h 3355086"/>
                <a:gd name="connsiteX19790" fmla="*/ 249888 w 3359086"/>
                <a:gd name="connsiteY19790" fmla="*/ 833104 h 3355086"/>
                <a:gd name="connsiteX19791" fmla="*/ 254031 w 3359086"/>
                <a:gd name="connsiteY19791" fmla="*/ 837247 h 3355086"/>
                <a:gd name="connsiteX19792" fmla="*/ 251602 w 3359086"/>
                <a:gd name="connsiteY19792" fmla="*/ 839676 h 3355086"/>
                <a:gd name="connsiteX19793" fmla="*/ 255555 w 3359086"/>
                <a:gd name="connsiteY19793" fmla="*/ 843629 h 3355086"/>
                <a:gd name="connsiteX19794" fmla="*/ 252792 w 3359086"/>
                <a:gd name="connsiteY19794" fmla="*/ 846392 h 3355086"/>
                <a:gd name="connsiteX19795" fmla="*/ 256888 w 3359086"/>
                <a:gd name="connsiteY19795" fmla="*/ 850487 h 3355086"/>
                <a:gd name="connsiteX19796" fmla="*/ 253935 w 3359086"/>
                <a:gd name="connsiteY19796" fmla="*/ 853440 h 3355086"/>
                <a:gd name="connsiteX19797" fmla="*/ 258889 w 3359086"/>
                <a:gd name="connsiteY19797" fmla="*/ 858393 h 3355086"/>
                <a:gd name="connsiteX19798" fmla="*/ 252697 w 3359086"/>
                <a:gd name="connsiteY19798" fmla="*/ 864585 h 3355086"/>
                <a:gd name="connsiteX19799" fmla="*/ 246506 w 3359086"/>
                <a:gd name="connsiteY19799" fmla="*/ 858393 h 3355086"/>
                <a:gd name="connsiteX19800" fmla="*/ 249458 w 3359086"/>
                <a:gd name="connsiteY19800" fmla="*/ 855441 h 3355086"/>
                <a:gd name="connsiteX19801" fmla="*/ 244506 w 3359086"/>
                <a:gd name="connsiteY19801" fmla="*/ 850487 h 3355086"/>
                <a:gd name="connsiteX19802" fmla="*/ 247268 w 3359086"/>
                <a:gd name="connsiteY19802" fmla="*/ 847725 h 3355086"/>
                <a:gd name="connsiteX19803" fmla="*/ 243173 w 3359086"/>
                <a:gd name="connsiteY19803" fmla="*/ 843629 h 3355086"/>
                <a:gd name="connsiteX19804" fmla="*/ 245601 w 3359086"/>
                <a:gd name="connsiteY19804" fmla="*/ 841201 h 3355086"/>
                <a:gd name="connsiteX19805" fmla="*/ 241649 w 3359086"/>
                <a:gd name="connsiteY19805" fmla="*/ 837247 h 3355086"/>
                <a:gd name="connsiteX19806" fmla="*/ 243696 w 3359086"/>
                <a:gd name="connsiteY19806" fmla="*/ 835200 h 3355086"/>
                <a:gd name="connsiteX19807" fmla="*/ 239553 w 3359086"/>
                <a:gd name="connsiteY19807" fmla="*/ 831056 h 3355086"/>
                <a:gd name="connsiteX19808" fmla="*/ 241172 w 3359086"/>
                <a:gd name="connsiteY19808" fmla="*/ 829437 h 3355086"/>
                <a:gd name="connsiteX19809" fmla="*/ 236315 w 3359086"/>
                <a:gd name="connsiteY19809" fmla="*/ 824579 h 3355086"/>
                <a:gd name="connsiteX19810" fmla="*/ 242506 w 3359086"/>
                <a:gd name="connsiteY19810" fmla="*/ 818388 h 3355086"/>
                <a:gd name="connsiteX19811" fmla="*/ 237743 w 3359086"/>
                <a:gd name="connsiteY19811" fmla="*/ 817436 h 3355086"/>
                <a:gd name="connsiteX19812" fmla="*/ 237838 w 3359086"/>
                <a:gd name="connsiteY19812" fmla="*/ 817531 h 3355086"/>
                <a:gd name="connsiteX19813" fmla="*/ 237743 w 3359086"/>
                <a:gd name="connsiteY19813" fmla="*/ 817627 h 3355086"/>
                <a:gd name="connsiteX19814" fmla="*/ 237648 w 3359086"/>
                <a:gd name="connsiteY19814" fmla="*/ 817531 h 3355086"/>
                <a:gd name="connsiteX19815" fmla="*/ 237743 w 3359086"/>
                <a:gd name="connsiteY19815" fmla="*/ 817436 h 3355086"/>
                <a:gd name="connsiteX19816" fmla="*/ 294608 w 3359086"/>
                <a:gd name="connsiteY19816" fmla="*/ 816102 h 3355086"/>
                <a:gd name="connsiteX19817" fmla="*/ 300799 w 3359086"/>
                <a:gd name="connsiteY19817" fmla="*/ 822293 h 3355086"/>
                <a:gd name="connsiteX19818" fmla="*/ 294608 w 3359086"/>
                <a:gd name="connsiteY19818" fmla="*/ 828485 h 3355086"/>
                <a:gd name="connsiteX19819" fmla="*/ 288417 w 3359086"/>
                <a:gd name="connsiteY19819" fmla="*/ 822293 h 3355086"/>
                <a:gd name="connsiteX19820" fmla="*/ 294608 w 3359086"/>
                <a:gd name="connsiteY19820" fmla="*/ 816102 h 3355086"/>
                <a:gd name="connsiteX19821" fmla="*/ 1123568 w 3359086"/>
                <a:gd name="connsiteY19821" fmla="*/ 816007 h 3355086"/>
                <a:gd name="connsiteX19822" fmla="*/ 1129760 w 3359086"/>
                <a:gd name="connsiteY19822" fmla="*/ 822198 h 3355086"/>
                <a:gd name="connsiteX19823" fmla="*/ 1123568 w 3359086"/>
                <a:gd name="connsiteY19823" fmla="*/ 828389 h 3355086"/>
                <a:gd name="connsiteX19824" fmla="*/ 1117377 w 3359086"/>
                <a:gd name="connsiteY19824" fmla="*/ 822198 h 3355086"/>
                <a:gd name="connsiteX19825" fmla="*/ 1123568 w 3359086"/>
                <a:gd name="connsiteY19825" fmla="*/ 816007 h 3355086"/>
                <a:gd name="connsiteX19826" fmla="*/ 347757 w 3359086"/>
                <a:gd name="connsiteY19826" fmla="*/ 815912 h 3355086"/>
                <a:gd name="connsiteX19827" fmla="*/ 353948 w 3359086"/>
                <a:gd name="connsiteY19827" fmla="*/ 822103 h 3355086"/>
                <a:gd name="connsiteX19828" fmla="*/ 347757 w 3359086"/>
                <a:gd name="connsiteY19828" fmla="*/ 828294 h 3355086"/>
                <a:gd name="connsiteX19829" fmla="*/ 341566 w 3359086"/>
                <a:gd name="connsiteY19829" fmla="*/ 822103 h 3355086"/>
                <a:gd name="connsiteX19830" fmla="*/ 347757 w 3359086"/>
                <a:gd name="connsiteY19830" fmla="*/ 815912 h 3355086"/>
                <a:gd name="connsiteX19831" fmla="*/ 3015995 w 3359086"/>
                <a:gd name="connsiteY19831" fmla="*/ 815531 h 3355086"/>
                <a:gd name="connsiteX19832" fmla="*/ 3022187 w 3359086"/>
                <a:gd name="connsiteY19832" fmla="*/ 821722 h 3355086"/>
                <a:gd name="connsiteX19833" fmla="*/ 3015995 w 3359086"/>
                <a:gd name="connsiteY19833" fmla="*/ 827914 h 3355086"/>
                <a:gd name="connsiteX19834" fmla="*/ 3009804 w 3359086"/>
                <a:gd name="connsiteY19834" fmla="*/ 821722 h 3355086"/>
                <a:gd name="connsiteX19835" fmla="*/ 3015995 w 3359086"/>
                <a:gd name="connsiteY19835" fmla="*/ 815531 h 3355086"/>
                <a:gd name="connsiteX19836" fmla="*/ 2552794 w 3359086"/>
                <a:gd name="connsiteY19836" fmla="*/ 815340 h 3355086"/>
                <a:gd name="connsiteX19837" fmla="*/ 2558986 w 3359086"/>
                <a:gd name="connsiteY19837" fmla="*/ 821531 h 3355086"/>
                <a:gd name="connsiteX19838" fmla="*/ 2552794 w 3359086"/>
                <a:gd name="connsiteY19838" fmla="*/ 827723 h 3355086"/>
                <a:gd name="connsiteX19839" fmla="*/ 2546603 w 3359086"/>
                <a:gd name="connsiteY19839" fmla="*/ 821531 h 3355086"/>
                <a:gd name="connsiteX19840" fmla="*/ 2552794 w 3359086"/>
                <a:gd name="connsiteY19840" fmla="*/ 815340 h 3355086"/>
                <a:gd name="connsiteX19841" fmla="*/ 3108959 w 3359086"/>
                <a:gd name="connsiteY19841" fmla="*/ 811149 h 3355086"/>
                <a:gd name="connsiteX19842" fmla="*/ 3115150 w 3359086"/>
                <a:gd name="connsiteY19842" fmla="*/ 817340 h 3355086"/>
                <a:gd name="connsiteX19843" fmla="*/ 3108959 w 3359086"/>
                <a:gd name="connsiteY19843" fmla="*/ 823531 h 3355086"/>
                <a:gd name="connsiteX19844" fmla="*/ 3102768 w 3359086"/>
                <a:gd name="connsiteY19844" fmla="*/ 817340 h 3355086"/>
                <a:gd name="connsiteX19845" fmla="*/ 3108959 w 3359086"/>
                <a:gd name="connsiteY19845" fmla="*/ 811149 h 3355086"/>
                <a:gd name="connsiteX19846" fmla="*/ 600170 w 3359086"/>
                <a:gd name="connsiteY19846" fmla="*/ 811054 h 3355086"/>
                <a:gd name="connsiteX19847" fmla="*/ 606361 w 3359086"/>
                <a:gd name="connsiteY19847" fmla="*/ 817245 h 3355086"/>
                <a:gd name="connsiteX19848" fmla="*/ 600170 w 3359086"/>
                <a:gd name="connsiteY19848" fmla="*/ 823437 h 3355086"/>
                <a:gd name="connsiteX19849" fmla="*/ 593979 w 3359086"/>
                <a:gd name="connsiteY19849" fmla="*/ 817245 h 3355086"/>
                <a:gd name="connsiteX19850" fmla="*/ 600170 w 3359086"/>
                <a:gd name="connsiteY19850" fmla="*/ 811054 h 3355086"/>
                <a:gd name="connsiteX19851" fmla="*/ 407860 w 3359086"/>
                <a:gd name="connsiteY19851" fmla="*/ 808387 h 3355086"/>
                <a:gd name="connsiteX19852" fmla="*/ 414052 w 3359086"/>
                <a:gd name="connsiteY19852" fmla="*/ 814578 h 3355086"/>
                <a:gd name="connsiteX19853" fmla="*/ 407860 w 3359086"/>
                <a:gd name="connsiteY19853" fmla="*/ 820770 h 3355086"/>
                <a:gd name="connsiteX19854" fmla="*/ 401669 w 3359086"/>
                <a:gd name="connsiteY19854" fmla="*/ 814578 h 3355086"/>
                <a:gd name="connsiteX19855" fmla="*/ 407860 w 3359086"/>
                <a:gd name="connsiteY19855" fmla="*/ 808387 h 3355086"/>
                <a:gd name="connsiteX19856" fmla="*/ 2159793 w 3359086"/>
                <a:gd name="connsiteY19856" fmla="*/ 808292 h 3355086"/>
                <a:gd name="connsiteX19857" fmla="*/ 2165984 w 3359086"/>
                <a:gd name="connsiteY19857" fmla="*/ 814483 h 3355086"/>
                <a:gd name="connsiteX19858" fmla="*/ 2159793 w 3359086"/>
                <a:gd name="connsiteY19858" fmla="*/ 820675 h 3355086"/>
                <a:gd name="connsiteX19859" fmla="*/ 2153602 w 3359086"/>
                <a:gd name="connsiteY19859" fmla="*/ 814483 h 3355086"/>
                <a:gd name="connsiteX19860" fmla="*/ 2159793 w 3359086"/>
                <a:gd name="connsiteY19860" fmla="*/ 808292 h 3355086"/>
                <a:gd name="connsiteX19861" fmla="*/ 490156 w 3359086"/>
                <a:gd name="connsiteY19861" fmla="*/ 806101 h 3355086"/>
                <a:gd name="connsiteX19862" fmla="*/ 496347 w 3359086"/>
                <a:gd name="connsiteY19862" fmla="*/ 812292 h 3355086"/>
                <a:gd name="connsiteX19863" fmla="*/ 490156 w 3359086"/>
                <a:gd name="connsiteY19863" fmla="*/ 818483 h 3355086"/>
                <a:gd name="connsiteX19864" fmla="*/ 483965 w 3359086"/>
                <a:gd name="connsiteY19864" fmla="*/ 812292 h 3355086"/>
                <a:gd name="connsiteX19865" fmla="*/ 490156 w 3359086"/>
                <a:gd name="connsiteY19865" fmla="*/ 806101 h 3355086"/>
                <a:gd name="connsiteX19866" fmla="*/ 3027425 w 3359086"/>
                <a:gd name="connsiteY19866" fmla="*/ 805148 h 3355086"/>
                <a:gd name="connsiteX19867" fmla="*/ 3033616 w 3359086"/>
                <a:gd name="connsiteY19867" fmla="*/ 811339 h 3355086"/>
                <a:gd name="connsiteX19868" fmla="*/ 3027425 w 3359086"/>
                <a:gd name="connsiteY19868" fmla="*/ 817531 h 3355086"/>
                <a:gd name="connsiteX19869" fmla="*/ 3021234 w 3359086"/>
                <a:gd name="connsiteY19869" fmla="*/ 811339 h 3355086"/>
                <a:gd name="connsiteX19870" fmla="*/ 3027425 w 3359086"/>
                <a:gd name="connsiteY19870" fmla="*/ 805148 h 3355086"/>
                <a:gd name="connsiteX19871" fmla="*/ 2969990 w 3359086"/>
                <a:gd name="connsiteY19871" fmla="*/ 804291 h 3355086"/>
                <a:gd name="connsiteX19872" fmla="*/ 2976181 w 3359086"/>
                <a:gd name="connsiteY19872" fmla="*/ 810482 h 3355086"/>
                <a:gd name="connsiteX19873" fmla="*/ 2969990 w 3359086"/>
                <a:gd name="connsiteY19873" fmla="*/ 816674 h 3355086"/>
                <a:gd name="connsiteX19874" fmla="*/ 2963799 w 3359086"/>
                <a:gd name="connsiteY19874" fmla="*/ 810482 h 3355086"/>
                <a:gd name="connsiteX19875" fmla="*/ 2969990 w 3359086"/>
                <a:gd name="connsiteY19875" fmla="*/ 804291 h 3355086"/>
                <a:gd name="connsiteX19876" fmla="*/ 3087909 w 3359086"/>
                <a:gd name="connsiteY19876" fmla="*/ 804101 h 3355086"/>
                <a:gd name="connsiteX19877" fmla="*/ 3094100 w 3359086"/>
                <a:gd name="connsiteY19877" fmla="*/ 810292 h 3355086"/>
                <a:gd name="connsiteX19878" fmla="*/ 3088576 w 3359086"/>
                <a:gd name="connsiteY19878" fmla="*/ 815817 h 3355086"/>
                <a:gd name="connsiteX19879" fmla="*/ 3089528 w 3359086"/>
                <a:gd name="connsiteY19879" fmla="*/ 816769 h 3355086"/>
                <a:gd name="connsiteX19880" fmla="*/ 3084909 w 3359086"/>
                <a:gd name="connsiteY19880" fmla="*/ 821389 h 3355086"/>
                <a:gd name="connsiteX19881" fmla="*/ 3086290 w 3359086"/>
                <a:gd name="connsiteY19881" fmla="*/ 822770 h 3355086"/>
                <a:gd name="connsiteX19882" fmla="*/ 3082338 w 3359086"/>
                <a:gd name="connsiteY19882" fmla="*/ 826722 h 3355086"/>
                <a:gd name="connsiteX19883" fmla="*/ 3084100 w 3359086"/>
                <a:gd name="connsiteY19883" fmla="*/ 828484 h 3355086"/>
                <a:gd name="connsiteX19884" fmla="*/ 3080289 w 3359086"/>
                <a:gd name="connsiteY19884" fmla="*/ 832295 h 3355086"/>
                <a:gd name="connsiteX19885" fmla="*/ 3082384 w 3359086"/>
                <a:gd name="connsiteY19885" fmla="*/ 834390 h 3355086"/>
                <a:gd name="connsiteX19886" fmla="*/ 3078288 w 3359086"/>
                <a:gd name="connsiteY19886" fmla="*/ 838486 h 3355086"/>
                <a:gd name="connsiteX19887" fmla="*/ 3080670 w 3359086"/>
                <a:gd name="connsiteY19887" fmla="*/ 840867 h 3355086"/>
                <a:gd name="connsiteX19888" fmla="*/ 3075622 w 3359086"/>
                <a:gd name="connsiteY19888" fmla="*/ 845915 h 3355086"/>
                <a:gd name="connsiteX19889" fmla="*/ 3078099 w 3359086"/>
                <a:gd name="connsiteY19889" fmla="*/ 848392 h 3355086"/>
                <a:gd name="connsiteX19890" fmla="*/ 3071907 w 3359086"/>
                <a:gd name="connsiteY19890" fmla="*/ 854583 h 3355086"/>
                <a:gd name="connsiteX19891" fmla="*/ 3065716 w 3359086"/>
                <a:gd name="connsiteY19891" fmla="*/ 848392 h 3355086"/>
                <a:gd name="connsiteX19892" fmla="*/ 3070764 w 3359086"/>
                <a:gd name="connsiteY19892" fmla="*/ 843344 h 3355086"/>
                <a:gd name="connsiteX19893" fmla="*/ 3068288 w 3359086"/>
                <a:gd name="connsiteY19893" fmla="*/ 840867 h 3355086"/>
                <a:gd name="connsiteX19894" fmla="*/ 3072383 w 3359086"/>
                <a:gd name="connsiteY19894" fmla="*/ 836772 h 3355086"/>
                <a:gd name="connsiteX19895" fmla="*/ 3070002 w 3359086"/>
                <a:gd name="connsiteY19895" fmla="*/ 834390 h 3355086"/>
                <a:gd name="connsiteX19896" fmla="*/ 3073812 w 3359086"/>
                <a:gd name="connsiteY19896" fmla="*/ 830580 h 3355086"/>
                <a:gd name="connsiteX19897" fmla="*/ 3071717 w 3359086"/>
                <a:gd name="connsiteY19897" fmla="*/ 828484 h 3355086"/>
                <a:gd name="connsiteX19898" fmla="*/ 3075669 w 3359086"/>
                <a:gd name="connsiteY19898" fmla="*/ 824532 h 3355086"/>
                <a:gd name="connsiteX19899" fmla="*/ 3073908 w 3359086"/>
                <a:gd name="connsiteY19899" fmla="*/ 822770 h 3355086"/>
                <a:gd name="connsiteX19900" fmla="*/ 3078527 w 3359086"/>
                <a:gd name="connsiteY19900" fmla="*/ 818151 h 3355086"/>
                <a:gd name="connsiteX19901" fmla="*/ 3077146 w 3359086"/>
                <a:gd name="connsiteY19901" fmla="*/ 816769 h 3355086"/>
                <a:gd name="connsiteX19902" fmla="*/ 3082670 w 3359086"/>
                <a:gd name="connsiteY19902" fmla="*/ 811245 h 3355086"/>
                <a:gd name="connsiteX19903" fmla="*/ 3081718 w 3359086"/>
                <a:gd name="connsiteY19903" fmla="*/ 810292 h 3355086"/>
                <a:gd name="connsiteX19904" fmla="*/ 3087909 w 3359086"/>
                <a:gd name="connsiteY19904" fmla="*/ 804101 h 3355086"/>
                <a:gd name="connsiteX19905" fmla="*/ 821721 w 3359086"/>
                <a:gd name="connsiteY19905" fmla="*/ 803148 h 3355086"/>
                <a:gd name="connsiteX19906" fmla="*/ 827912 w 3359086"/>
                <a:gd name="connsiteY19906" fmla="*/ 809339 h 3355086"/>
                <a:gd name="connsiteX19907" fmla="*/ 821721 w 3359086"/>
                <a:gd name="connsiteY19907" fmla="*/ 815531 h 3355086"/>
                <a:gd name="connsiteX19908" fmla="*/ 815530 w 3359086"/>
                <a:gd name="connsiteY19908" fmla="*/ 809339 h 3355086"/>
                <a:gd name="connsiteX19909" fmla="*/ 821721 w 3359086"/>
                <a:gd name="connsiteY19909" fmla="*/ 803148 h 3355086"/>
                <a:gd name="connsiteX19910" fmla="*/ 329945 w 3359086"/>
                <a:gd name="connsiteY19910" fmla="*/ 802481 h 3355086"/>
                <a:gd name="connsiteX19911" fmla="*/ 336136 w 3359086"/>
                <a:gd name="connsiteY19911" fmla="*/ 808672 h 3355086"/>
                <a:gd name="connsiteX19912" fmla="*/ 329945 w 3359086"/>
                <a:gd name="connsiteY19912" fmla="*/ 814864 h 3355086"/>
                <a:gd name="connsiteX19913" fmla="*/ 323754 w 3359086"/>
                <a:gd name="connsiteY19913" fmla="*/ 808672 h 3355086"/>
                <a:gd name="connsiteX19914" fmla="*/ 329945 w 3359086"/>
                <a:gd name="connsiteY19914" fmla="*/ 802481 h 3355086"/>
                <a:gd name="connsiteX19915" fmla="*/ 1230248 w 3359086"/>
                <a:gd name="connsiteY19915" fmla="*/ 800100 h 3355086"/>
                <a:gd name="connsiteX19916" fmla="*/ 1236440 w 3359086"/>
                <a:gd name="connsiteY19916" fmla="*/ 806291 h 3355086"/>
                <a:gd name="connsiteX19917" fmla="*/ 1230248 w 3359086"/>
                <a:gd name="connsiteY19917" fmla="*/ 812483 h 3355086"/>
                <a:gd name="connsiteX19918" fmla="*/ 1224057 w 3359086"/>
                <a:gd name="connsiteY19918" fmla="*/ 806291 h 3355086"/>
                <a:gd name="connsiteX19919" fmla="*/ 1230248 w 3359086"/>
                <a:gd name="connsiteY19919" fmla="*/ 800100 h 3355086"/>
                <a:gd name="connsiteX19920" fmla="*/ 2703480 w 3359086"/>
                <a:gd name="connsiteY19920" fmla="*/ 799624 h 3355086"/>
                <a:gd name="connsiteX19921" fmla="*/ 2709672 w 3359086"/>
                <a:gd name="connsiteY19921" fmla="*/ 805815 h 3355086"/>
                <a:gd name="connsiteX19922" fmla="*/ 2703480 w 3359086"/>
                <a:gd name="connsiteY19922" fmla="*/ 812006 h 3355086"/>
                <a:gd name="connsiteX19923" fmla="*/ 2697289 w 3359086"/>
                <a:gd name="connsiteY19923" fmla="*/ 805815 h 3355086"/>
                <a:gd name="connsiteX19924" fmla="*/ 2703480 w 3359086"/>
                <a:gd name="connsiteY19924" fmla="*/ 799624 h 3355086"/>
                <a:gd name="connsiteX19925" fmla="*/ 3094291 w 3359086"/>
                <a:gd name="connsiteY19925" fmla="*/ 796766 h 3355086"/>
                <a:gd name="connsiteX19926" fmla="*/ 3100483 w 3359086"/>
                <a:gd name="connsiteY19926" fmla="*/ 802957 h 3355086"/>
                <a:gd name="connsiteX19927" fmla="*/ 3094291 w 3359086"/>
                <a:gd name="connsiteY19927" fmla="*/ 809149 h 3355086"/>
                <a:gd name="connsiteX19928" fmla="*/ 3088100 w 3359086"/>
                <a:gd name="connsiteY19928" fmla="*/ 802957 h 3355086"/>
                <a:gd name="connsiteX19929" fmla="*/ 3094291 w 3359086"/>
                <a:gd name="connsiteY19929" fmla="*/ 796766 h 3355086"/>
                <a:gd name="connsiteX19930" fmla="*/ 2906077 w 3359086"/>
                <a:gd name="connsiteY19930" fmla="*/ 796671 h 3355086"/>
                <a:gd name="connsiteX19931" fmla="*/ 2912268 w 3359086"/>
                <a:gd name="connsiteY19931" fmla="*/ 802862 h 3355086"/>
                <a:gd name="connsiteX19932" fmla="*/ 2906077 w 3359086"/>
                <a:gd name="connsiteY19932" fmla="*/ 809054 h 3355086"/>
                <a:gd name="connsiteX19933" fmla="*/ 2899886 w 3359086"/>
                <a:gd name="connsiteY19933" fmla="*/ 802862 h 3355086"/>
                <a:gd name="connsiteX19934" fmla="*/ 2906077 w 3359086"/>
                <a:gd name="connsiteY19934" fmla="*/ 796671 h 3355086"/>
                <a:gd name="connsiteX19935" fmla="*/ 251935 w 3359086"/>
                <a:gd name="connsiteY19935" fmla="*/ 796481 h 3355086"/>
                <a:gd name="connsiteX19936" fmla="*/ 257079 w 3359086"/>
                <a:gd name="connsiteY19936" fmla="*/ 801625 h 3355086"/>
                <a:gd name="connsiteX19937" fmla="*/ 256888 w 3359086"/>
                <a:gd name="connsiteY19937" fmla="*/ 801816 h 3355086"/>
                <a:gd name="connsiteX19938" fmla="*/ 262603 w 3359086"/>
                <a:gd name="connsiteY19938" fmla="*/ 807530 h 3355086"/>
                <a:gd name="connsiteX19939" fmla="*/ 261460 w 3359086"/>
                <a:gd name="connsiteY19939" fmla="*/ 808673 h 3355086"/>
                <a:gd name="connsiteX19940" fmla="*/ 265747 w 3359086"/>
                <a:gd name="connsiteY19940" fmla="*/ 812959 h 3355086"/>
                <a:gd name="connsiteX19941" fmla="*/ 264318 w 3359086"/>
                <a:gd name="connsiteY19941" fmla="*/ 814388 h 3355086"/>
                <a:gd name="connsiteX19942" fmla="*/ 268033 w 3359086"/>
                <a:gd name="connsiteY19942" fmla="*/ 818102 h 3355086"/>
                <a:gd name="connsiteX19943" fmla="*/ 266318 w 3359086"/>
                <a:gd name="connsiteY19943" fmla="*/ 819817 h 3355086"/>
                <a:gd name="connsiteX19944" fmla="*/ 270034 w 3359086"/>
                <a:gd name="connsiteY19944" fmla="*/ 823532 h 3355086"/>
                <a:gd name="connsiteX19945" fmla="*/ 268176 w 3359086"/>
                <a:gd name="connsiteY19945" fmla="*/ 825390 h 3355086"/>
                <a:gd name="connsiteX19946" fmla="*/ 272319 w 3359086"/>
                <a:gd name="connsiteY19946" fmla="*/ 829532 h 3355086"/>
                <a:gd name="connsiteX19947" fmla="*/ 270366 w 3359086"/>
                <a:gd name="connsiteY19947" fmla="*/ 831485 h 3355086"/>
                <a:gd name="connsiteX19948" fmla="*/ 275558 w 3359086"/>
                <a:gd name="connsiteY19948" fmla="*/ 836676 h 3355086"/>
                <a:gd name="connsiteX19949" fmla="*/ 269366 w 3359086"/>
                <a:gd name="connsiteY19949" fmla="*/ 842868 h 3355086"/>
                <a:gd name="connsiteX19950" fmla="*/ 263175 w 3359086"/>
                <a:gd name="connsiteY19950" fmla="*/ 836676 h 3355086"/>
                <a:gd name="connsiteX19951" fmla="*/ 265127 w 3359086"/>
                <a:gd name="connsiteY19951" fmla="*/ 834724 h 3355086"/>
                <a:gd name="connsiteX19952" fmla="*/ 259937 w 3359086"/>
                <a:gd name="connsiteY19952" fmla="*/ 829532 h 3355086"/>
                <a:gd name="connsiteX19953" fmla="*/ 261794 w 3359086"/>
                <a:gd name="connsiteY19953" fmla="*/ 827675 h 3355086"/>
                <a:gd name="connsiteX19954" fmla="*/ 257651 w 3359086"/>
                <a:gd name="connsiteY19954" fmla="*/ 823532 h 3355086"/>
                <a:gd name="connsiteX19955" fmla="*/ 259366 w 3359086"/>
                <a:gd name="connsiteY19955" fmla="*/ 821817 h 3355086"/>
                <a:gd name="connsiteX19956" fmla="*/ 255651 w 3359086"/>
                <a:gd name="connsiteY19956" fmla="*/ 818102 h 3355086"/>
                <a:gd name="connsiteX19957" fmla="*/ 257079 w 3359086"/>
                <a:gd name="connsiteY19957" fmla="*/ 816674 h 3355086"/>
                <a:gd name="connsiteX19958" fmla="*/ 253365 w 3359086"/>
                <a:gd name="connsiteY19958" fmla="*/ 812959 h 3355086"/>
                <a:gd name="connsiteX19959" fmla="*/ 254507 w 3359086"/>
                <a:gd name="connsiteY19959" fmla="*/ 811817 h 3355086"/>
                <a:gd name="connsiteX19960" fmla="*/ 250221 w 3359086"/>
                <a:gd name="connsiteY19960" fmla="*/ 807530 h 3355086"/>
                <a:gd name="connsiteX19961" fmla="*/ 251459 w 3359086"/>
                <a:gd name="connsiteY19961" fmla="*/ 806292 h 3355086"/>
                <a:gd name="connsiteX19962" fmla="*/ 246792 w 3359086"/>
                <a:gd name="connsiteY19962" fmla="*/ 801625 h 3355086"/>
                <a:gd name="connsiteX19963" fmla="*/ 251935 w 3359086"/>
                <a:gd name="connsiteY19963" fmla="*/ 796481 h 3355086"/>
                <a:gd name="connsiteX19964" fmla="*/ 2819209 w 3359086"/>
                <a:gd name="connsiteY19964" fmla="*/ 794385 h 3355086"/>
                <a:gd name="connsiteX19965" fmla="*/ 2825401 w 3359086"/>
                <a:gd name="connsiteY19965" fmla="*/ 800576 h 3355086"/>
                <a:gd name="connsiteX19966" fmla="*/ 2819209 w 3359086"/>
                <a:gd name="connsiteY19966" fmla="*/ 806768 h 3355086"/>
                <a:gd name="connsiteX19967" fmla="*/ 2813018 w 3359086"/>
                <a:gd name="connsiteY19967" fmla="*/ 800576 h 3355086"/>
                <a:gd name="connsiteX19968" fmla="*/ 2819209 w 3359086"/>
                <a:gd name="connsiteY19968" fmla="*/ 794385 h 3355086"/>
                <a:gd name="connsiteX19969" fmla="*/ 2050541 w 3359086"/>
                <a:gd name="connsiteY19969" fmla="*/ 793623 h 3355086"/>
                <a:gd name="connsiteX19970" fmla="*/ 2056732 w 3359086"/>
                <a:gd name="connsiteY19970" fmla="*/ 799814 h 3355086"/>
                <a:gd name="connsiteX19971" fmla="*/ 2050541 w 3359086"/>
                <a:gd name="connsiteY19971" fmla="*/ 806006 h 3355086"/>
                <a:gd name="connsiteX19972" fmla="*/ 2044350 w 3359086"/>
                <a:gd name="connsiteY19972" fmla="*/ 799814 h 3355086"/>
                <a:gd name="connsiteX19973" fmla="*/ 2050541 w 3359086"/>
                <a:gd name="connsiteY19973" fmla="*/ 793623 h 3355086"/>
                <a:gd name="connsiteX19974" fmla="*/ 2472404 w 3359086"/>
                <a:gd name="connsiteY19974" fmla="*/ 792766 h 3355086"/>
                <a:gd name="connsiteX19975" fmla="*/ 2478595 w 3359086"/>
                <a:gd name="connsiteY19975" fmla="*/ 798957 h 3355086"/>
                <a:gd name="connsiteX19976" fmla="*/ 2472404 w 3359086"/>
                <a:gd name="connsiteY19976" fmla="*/ 805148 h 3355086"/>
                <a:gd name="connsiteX19977" fmla="*/ 2466213 w 3359086"/>
                <a:gd name="connsiteY19977" fmla="*/ 798957 h 3355086"/>
                <a:gd name="connsiteX19978" fmla="*/ 2472404 w 3359086"/>
                <a:gd name="connsiteY19978" fmla="*/ 792766 h 3355086"/>
                <a:gd name="connsiteX19979" fmla="*/ 316991 w 3359086"/>
                <a:gd name="connsiteY19979" fmla="*/ 792290 h 3355086"/>
                <a:gd name="connsiteX19980" fmla="*/ 323182 w 3359086"/>
                <a:gd name="connsiteY19980" fmla="*/ 798481 h 3355086"/>
                <a:gd name="connsiteX19981" fmla="*/ 316991 w 3359086"/>
                <a:gd name="connsiteY19981" fmla="*/ 804673 h 3355086"/>
                <a:gd name="connsiteX19982" fmla="*/ 310800 w 3359086"/>
                <a:gd name="connsiteY19982" fmla="*/ 798481 h 3355086"/>
                <a:gd name="connsiteX19983" fmla="*/ 316991 w 3359086"/>
                <a:gd name="connsiteY19983" fmla="*/ 792290 h 3355086"/>
                <a:gd name="connsiteX19984" fmla="*/ 3102673 w 3359086"/>
                <a:gd name="connsiteY19984" fmla="*/ 790956 h 3355086"/>
                <a:gd name="connsiteX19985" fmla="*/ 3106293 w 3359086"/>
                <a:gd name="connsiteY19985" fmla="*/ 794576 h 3355086"/>
                <a:gd name="connsiteX19986" fmla="*/ 3102673 w 3359086"/>
                <a:gd name="connsiteY19986" fmla="*/ 798195 h 3355086"/>
                <a:gd name="connsiteX19987" fmla="*/ 3099054 w 3359086"/>
                <a:gd name="connsiteY19987" fmla="*/ 794576 h 3355086"/>
                <a:gd name="connsiteX19988" fmla="*/ 3102673 w 3359086"/>
                <a:gd name="connsiteY19988" fmla="*/ 790956 h 3355086"/>
                <a:gd name="connsiteX19989" fmla="*/ 2989611 w 3359086"/>
                <a:gd name="connsiteY19989" fmla="*/ 790956 h 3355086"/>
                <a:gd name="connsiteX19990" fmla="*/ 2995802 w 3359086"/>
                <a:gd name="connsiteY19990" fmla="*/ 797147 h 3355086"/>
                <a:gd name="connsiteX19991" fmla="*/ 2989611 w 3359086"/>
                <a:gd name="connsiteY19991" fmla="*/ 803339 h 3355086"/>
                <a:gd name="connsiteX19992" fmla="*/ 2983420 w 3359086"/>
                <a:gd name="connsiteY19992" fmla="*/ 797147 h 3355086"/>
                <a:gd name="connsiteX19993" fmla="*/ 2989611 w 3359086"/>
                <a:gd name="connsiteY19993" fmla="*/ 790956 h 3355086"/>
                <a:gd name="connsiteX19994" fmla="*/ 379571 w 3359086"/>
                <a:gd name="connsiteY19994" fmla="*/ 790766 h 3355086"/>
                <a:gd name="connsiteX19995" fmla="*/ 385763 w 3359086"/>
                <a:gd name="connsiteY19995" fmla="*/ 796957 h 3355086"/>
                <a:gd name="connsiteX19996" fmla="*/ 379571 w 3359086"/>
                <a:gd name="connsiteY19996" fmla="*/ 803149 h 3355086"/>
                <a:gd name="connsiteX19997" fmla="*/ 373380 w 3359086"/>
                <a:gd name="connsiteY19997" fmla="*/ 796957 h 3355086"/>
                <a:gd name="connsiteX19998" fmla="*/ 379571 w 3359086"/>
                <a:gd name="connsiteY19998" fmla="*/ 790766 h 3355086"/>
                <a:gd name="connsiteX19999" fmla="*/ 1342167 w 3359086"/>
                <a:gd name="connsiteY19999" fmla="*/ 787051 h 3355086"/>
                <a:gd name="connsiteX20000" fmla="*/ 1348359 w 3359086"/>
                <a:gd name="connsiteY20000" fmla="*/ 793242 h 3355086"/>
                <a:gd name="connsiteX20001" fmla="*/ 1342167 w 3359086"/>
                <a:gd name="connsiteY20001" fmla="*/ 799433 h 3355086"/>
                <a:gd name="connsiteX20002" fmla="*/ 1335976 w 3359086"/>
                <a:gd name="connsiteY20002" fmla="*/ 793242 h 3355086"/>
                <a:gd name="connsiteX20003" fmla="*/ 1342167 w 3359086"/>
                <a:gd name="connsiteY20003" fmla="*/ 787051 h 3355086"/>
                <a:gd name="connsiteX20004" fmla="*/ 663034 w 3359086"/>
                <a:gd name="connsiteY20004" fmla="*/ 786479 h 3355086"/>
                <a:gd name="connsiteX20005" fmla="*/ 669226 w 3359086"/>
                <a:gd name="connsiteY20005" fmla="*/ 792670 h 3355086"/>
                <a:gd name="connsiteX20006" fmla="*/ 663034 w 3359086"/>
                <a:gd name="connsiteY20006" fmla="*/ 798862 h 3355086"/>
                <a:gd name="connsiteX20007" fmla="*/ 656843 w 3359086"/>
                <a:gd name="connsiteY20007" fmla="*/ 792670 h 3355086"/>
                <a:gd name="connsiteX20008" fmla="*/ 663034 w 3359086"/>
                <a:gd name="connsiteY20008" fmla="*/ 786479 h 3355086"/>
                <a:gd name="connsiteX20009" fmla="*/ 448055 w 3359086"/>
                <a:gd name="connsiteY20009" fmla="*/ 782955 h 3355086"/>
                <a:gd name="connsiteX20010" fmla="*/ 454246 w 3359086"/>
                <a:gd name="connsiteY20010" fmla="*/ 789146 h 3355086"/>
                <a:gd name="connsiteX20011" fmla="*/ 448055 w 3359086"/>
                <a:gd name="connsiteY20011" fmla="*/ 795337 h 3355086"/>
                <a:gd name="connsiteX20012" fmla="*/ 441864 w 3359086"/>
                <a:gd name="connsiteY20012" fmla="*/ 789146 h 3355086"/>
                <a:gd name="connsiteX20013" fmla="*/ 448055 w 3359086"/>
                <a:gd name="connsiteY20013" fmla="*/ 782955 h 3355086"/>
                <a:gd name="connsiteX20014" fmla="*/ 1936432 w 3359086"/>
                <a:gd name="connsiteY20014" fmla="*/ 782098 h 3355086"/>
                <a:gd name="connsiteX20015" fmla="*/ 1942624 w 3359086"/>
                <a:gd name="connsiteY20015" fmla="*/ 788289 h 3355086"/>
                <a:gd name="connsiteX20016" fmla="*/ 1936432 w 3359086"/>
                <a:gd name="connsiteY20016" fmla="*/ 794481 h 3355086"/>
                <a:gd name="connsiteX20017" fmla="*/ 1930241 w 3359086"/>
                <a:gd name="connsiteY20017" fmla="*/ 788289 h 3355086"/>
                <a:gd name="connsiteX20018" fmla="*/ 1936432 w 3359086"/>
                <a:gd name="connsiteY20018" fmla="*/ 782098 h 3355086"/>
                <a:gd name="connsiteX20019" fmla="*/ 3079432 w 3359086"/>
                <a:gd name="connsiteY20019" fmla="*/ 781717 h 3355086"/>
                <a:gd name="connsiteX20020" fmla="*/ 3085624 w 3359086"/>
                <a:gd name="connsiteY20020" fmla="*/ 787908 h 3355086"/>
                <a:gd name="connsiteX20021" fmla="*/ 3079622 w 3359086"/>
                <a:gd name="connsiteY20021" fmla="*/ 793910 h 3355086"/>
                <a:gd name="connsiteX20022" fmla="*/ 3079717 w 3359086"/>
                <a:gd name="connsiteY20022" fmla="*/ 794004 h 3355086"/>
                <a:gd name="connsiteX20023" fmla="*/ 3074908 w 3359086"/>
                <a:gd name="connsiteY20023" fmla="*/ 798814 h 3355086"/>
                <a:gd name="connsiteX20024" fmla="*/ 3075432 w 3359086"/>
                <a:gd name="connsiteY20024" fmla="*/ 799338 h 3355086"/>
                <a:gd name="connsiteX20025" fmla="*/ 3071336 w 3359086"/>
                <a:gd name="connsiteY20025" fmla="*/ 803434 h 3355086"/>
                <a:gd name="connsiteX20026" fmla="*/ 3072193 w 3359086"/>
                <a:gd name="connsiteY20026" fmla="*/ 804291 h 3355086"/>
                <a:gd name="connsiteX20027" fmla="*/ 3068621 w 3359086"/>
                <a:gd name="connsiteY20027" fmla="*/ 807863 h 3355086"/>
                <a:gd name="connsiteX20028" fmla="*/ 3069716 w 3359086"/>
                <a:gd name="connsiteY20028" fmla="*/ 808958 h 3355086"/>
                <a:gd name="connsiteX20029" fmla="*/ 3066097 w 3359086"/>
                <a:gd name="connsiteY20029" fmla="*/ 812578 h 3355086"/>
                <a:gd name="connsiteX20030" fmla="*/ 3067431 w 3359086"/>
                <a:gd name="connsiteY20030" fmla="*/ 813911 h 3355086"/>
                <a:gd name="connsiteX20031" fmla="*/ 3063239 w 3359086"/>
                <a:gd name="connsiteY20031" fmla="*/ 818102 h 3355086"/>
                <a:gd name="connsiteX20032" fmla="*/ 3064668 w 3359086"/>
                <a:gd name="connsiteY20032" fmla="*/ 819531 h 3355086"/>
                <a:gd name="connsiteX20033" fmla="*/ 3059334 w 3359086"/>
                <a:gd name="connsiteY20033" fmla="*/ 824866 h 3355086"/>
                <a:gd name="connsiteX20034" fmla="*/ 3060763 w 3359086"/>
                <a:gd name="connsiteY20034" fmla="*/ 826294 h 3355086"/>
                <a:gd name="connsiteX20035" fmla="*/ 3054572 w 3359086"/>
                <a:gd name="connsiteY20035" fmla="*/ 832486 h 3355086"/>
                <a:gd name="connsiteX20036" fmla="*/ 3048381 w 3359086"/>
                <a:gd name="connsiteY20036" fmla="*/ 826294 h 3355086"/>
                <a:gd name="connsiteX20037" fmla="*/ 3053715 w 3359086"/>
                <a:gd name="connsiteY20037" fmla="*/ 820960 h 3355086"/>
                <a:gd name="connsiteX20038" fmla="*/ 3052286 w 3359086"/>
                <a:gd name="connsiteY20038" fmla="*/ 819531 h 3355086"/>
                <a:gd name="connsiteX20039" fmla="*/ 3056477 w 3359086"/>
                <a:gd name="connsiteY20039" fmla="*/ 815340 h 3355086"/>
                <a:gd name="connsiteX20040" fmla="*/ 3055048 w 3359086"/>
                <a:gd name="connsiteY20040" fmla="*/ 813911 h 3355086"/>
                <a:gd name="connsiteX20041" fmla="*/ 3058667 w 3359086"/>
                <a:gd name="connsiteY20041" fmla="*/ 810292 h 3355086"/>
                <a:gd name="connsiteX20042" fmla="*/ 3057334 w 3359086"/>
                <a:gd name="connsiteY20042" fmla="*/ 808958 h 3355086"/>
                <a:gd name="connsiteX20043" fmla="*/ 3060905 w 3359086"/>
                <a:gd name="connsiteY20043" fmla="*/ 805387 h 3355086"/>
                <a:gd name="connsiteX20044" fmla="*/ 3059810 w 3359086"/>
                <a:gd name="connsiteY20044" fmla="*/ 804291 h 3355086"/>
                <a:gd name="connsiteX20045" fmla="*/ 3063906 w 3359086"/>
                <a:gd name="connsiteY20045" fmla="*/ 800195 h 3355086"/>
                <a:gd name="connsiteX20046" fmla="*/ 3063049 w 3359086"/>
                <a:gd name="connsiteY20046" fmla="*/ 799338 h 3355086"/>
                <a:gd name="connsiteX20047" fmla="*/ 3067859 w 3359086"/>
                <a:gd name="connsiteY20047" fmla="*/ 794528 h 3355086"/>
                <a:gd name="connsiteX20048" fmla="*/ 3067335 w 3359086"/>
                <a:gd name="connsiteY20048" fmla="*/ 794004 h 3355086"/>
                <a:gd name="connsiteX20049" fmla="*/ 3073336 w 3359086"/>
                <a:gd name="connsiteY20049" fmla="*/ 788003 h 3355086"/>
                <a:gd name="connsiteX20050" fmla="*/ 3073241 w 3359086"/>
                <a:gd name="connsiteY20050" fmla="*/ 787908 h 3355086"/>
                <a:gd name="connsiteX20051" fmla="*/ 3079432 w 3359086"/>
                <a:gd name="connsiteY20051" fmla="*/ 781717 h 3355086"/>
                <a:gd name="connsiteX20052" fmla="*/ 905351 w 3359086"/>
                <a:gd name="connsiteY20052" fmla="*/ 781050 h 3355086"/>
                <a:gd name="connsiteX20053" fmla="*/ 911542 w 3359086"/>
                <a:gd name="connsiteY20053" fmla="*/ 787241 h 3355086"/>
                <a:gd name="connsiteX20054" fmla="*/ 905351 w 3359086"/>
                <a:gd name="connsiteY20054" fmla="*/ 793433 h 3355086"/>
                <a:gd name="connsiteX20055" fmla="*/ 899160 w 3359086"/>
                <a:gd name="connsiteY20055" fmla="*/ 787241 h 3355086"/>
                <a:gd name="connsiteX20056" fmla="*/ 905351 w 3359086"/>
                <a:gd name="connsiteY20056" fmla="*/ 781050 h 3355086"/>
                <a:gd name="connsiteX20057" fmla="*/ 3004089 w 3359086"/>
                <a:gd name="connsiteY20057" fmla="*/ 780955 h 3355086"/>
                <a:gd name="connsiteX20058" fmla="*/ 3010281 w 3359086"/>
                <a:gd name="connsiteY20058" fmla="*/ 787146 h 3355086"/>
                <a:gd name="connsiteX20059" fmla="*/ 3004089 w 3359086"/>
                <a:gd name="connsiteY20059" fmla="*/ 793337 h 3355086"/>
                <a:gd name="connsiteX20060" fmla="*/ 2997898 w 3359086"/>
                <a:gd name="connsiteY20060" fmla="*/ 787146 h 3355086"/>
                <a:gd name="connsiteX20061" fmla="*/ 3004089 w 3359086"/>
                <a:gd name="connsiteY20061" fmla="*/ 780955 h 3355086"/>
                <a:gd name="connsiteX20062" fmla="*/ 540543 w 3359086"/>
                <a:gd name="connsiteY20062" fmla="*/ 780764 h 3355086"/>
                <a:gd name="connsiteX20063" fmla="*/ 546735 w 3359086"/>
                <a:gd name="connsiteY20063" fmla="*/ 786955 h 3355086"/>
                <a:gd name="connsiteX20064" fmla="*/ 540543 w 3359086"/>
                <a:gd name="connsiteY20064" fmla="*/ 793147 h 3355086"/>
                <a:gd name="connsiteX20065" fmla="*/ 534352 w 3359086"/>
                <a:gd name="connsiteY20065" fmla="*/ 786955 h 3355086"/>
                <a:gd name="connsiteX20066" fmla="*/ 540543 w 3359086"/>
                <a:gd name="connsiteY20066" fmla="*/ 780764 h 3355086"/>
                <a:gd name="connsiteX20067" fmla="*/ 2936747 w 3359086"/>
                <a:gd name="connsiteY20067" fmla="*/ 779050 h 3355086"/>
                <a:gd name="connsiteX20068" fmla="*/ 2942938 w 3359086"/>
                <a:gd name="connsiteY20068" fmla="*/ 785241 h 3355086"/>
                <a:gd name="connsiteX20069" fmla="*/ 2936747 w 3359086"/>
                <a:gd name="connsiteY20069" fmla="*/ 791433 h 3355086"/>
                <a:gd name="connsiteX20070" fmla="*/ 2930556 w 3359086"/>
                <a:gd name="connsiteY20070" fmla="*/ 785241 h 3355086"/>
                <a:gd name="connsiteX20071" fmla="*/ 2936747 w 3359086"/>
                <a:gd name="connsiteY20071" fmla="*/ 779050 h 3355086"/>
                <a:gd name="connsiteX20072" fmla="*/ 266413 w 3359086"/>
                <a:gd name="connsiteY20072" fmla="*/ 778764 h 3355086"/>
                <a:gd name="connsiteX20073" fmla="*/ 272605 w 3359086"/>
                <a:gd name="connsiteY20073" fmla="*/ 784955 h 3355086"/>
                <a:gd name="connsiteX20074" fmla="*/ 272366 w 3359086"/>
                <a:gd name="connsiteY20074" fmla="*/ 785194 h 3355086"/>
                <a:gd name="connsiteX20075" fmla="*/ 276891 w 3359086"/>
                <a:gd name="connsiteY20075" fmla="*/ 789718 h 3355086"/>
                <a:gd name="connsiteX20076" fmla="*/ 276367 w 3359086"/>
                <a:gd name="connsiteY20076" fmla="*/ 790242 h 3355086"/>
                <a:gd name="connsiteX20077" fmla="*/ 280129 w 3359086"/>
                <a:gd name="connsiteY20077" fmla="*/ 794004 h 3355086"/>
                <a:gd name="connsiteX20078" fmla="*/ 279415 w 3359086"/>
                <a:gd name="connsiteY20078" fmla="*/ 794719 h 3355086"/>
                <a:gd name="connsiteX20079" fmla="*/ 282892 w 3359086"/>
                <a:gd name="connsiteY20079" fmla="*/ 798195 h 3355086"/>
                <a:gd name="connsiteX20080" fmla="*/ 282034 w 3359086"/>
                <a:gd name="connsiteY20080" fmla="*/ 799053 h 3355086"/>
                <a:gd name="connsiteX20081" fmla="*/ 285654 w 3359086"/>
                <a:gd name="connsiteY20081" fmla="*/ 802672 h 3355086"/>
                <a:gd name="connsiteX20082" fmla="*/ 284749 w 3359086"/>
                <a:gd name="connsiteY20082" fmla="*/ 803577 h 3355086"/>
                <a:gd name="connsiteX20083" fmla="*/ 288988 w 3359086"/>
                <a:gd name="connsiteY20083" fmla="*/ 807815 h 3355086"/>
                <a:gd name="connsiteX20084" fmla="*/ 288225 w 3359086"/>
                <a:gd name="connsiteY20084" fmla="*/ 808578 h 3355086"/>
                <a:gd name="connsiteX20085" fmla="*/ 293750 w 3359086"/>
                <a:gd name="connsiteY20085" fmla="*/ 814102 h 3355086"/>
                <a:gd name="connsiteX20086" fmla="*/ 287559 w 3359086"/>
                <a:gd name="connsiteY20086" fmla="*/ 820294 h 3355086"/>
                <a:gd name="connsiteX20087" fmla="*/ 281368 w 3359086"/>
                <a:gd name="connsiteY20087" fmla="*/ 814102 h 3355086"/>
                <a:gd name="connsiteX20088" fmla="*/ 282130 w 3359086"/>
                <a:gd name="connsiteY20088" fmla="*/ 813340 h 3355086"/>
                <a:gd name="connsiteX20089" fmla="*/ 276606 w 3359086"/>
                <a:gd name="connsiteY20089" fmla="*/ 807815 h 3355086"/>
                <a:gd name="connsiteX20090" fmla="*/ 277510 w 3359086"/>
                <a:gd name="connsiteY20090" fmla="*/ 806911 h 3355086"/>
                <a:gd name="connsiteX20091" fmla="*/ 273272 w 3359086"/>
                <a:gd name="connsiteY20091" fmla="*/ 802672 h 3355086"/>
                <a:gd name="connsiteX20092" fmla="*/ 274128 w 3359086"/>
                <a:gd name="connsiteY20092" fmla="*/ 801816 h 3355086"/>
                <a:gd name="connsiteX20093" fmla="*/ 270509 w 3359086"/>
                <a:gd name="connsiteY20093" fmla="*/ 798195 h 3355086"/>
                <a:gd name="connsiteX20094" fmla="*/ 271223 w 3359086"/>
                <a:gd name="connsiteY20094" fmla="*/ 797481 h 3355086"/>
                <a:gd name="connsiteX20095" fmla="*/ 267747 w 3359086"/>
                <a:gd name="connsiteY20095" fmla="*/ 794004 h 3355086"/>
                <a:gd name="connsiteX20096" fmla="*/ 268270 w 3359086"/>
                <a:gd name="connsiteY20096" fmla="*/ 793481 h 3355086"/>
                <a:gd name="connsiteX20097" fmla="*/ 264509 w 3359086"/>
                <a:gd name="connsiteY20097" fmla="*/ 789718 h 3355086"/>
                <a:gd name="connsiteX20098" fmla="*/ 264746 w 3359086"/>
                <a:gd name="connsiteY20098" fmla="*/ 789481 h 3355086"/>
                <a:gd name="connsiteX20099" fmla="*/ 260222 w 3359086"/>
                <a:gd name="connsiteY20099" fmla="*/ 784955 h 3355086"/>
                <a:gd name="connsiteX20100" fmla="*/ 266413 w 3359086"/>
                <a:gd name="connsiteY20100" fmla="*/ 778764 h 3355086"/>
                <a:gd name="connsiteX20101" fmla="*/ 1458562 w 3359086"/>
                <a:gd name="connsiteY20101" fmla="*/ 777526 h 3355086"/>
                <a:gd name="connsiteX20102" fmla="*/ 1464754 w 3359086"/>
                <a:gd name="connsiteY20102" fmla="*/ 783717 h 3355086"/>
                <a:gd name="connsiteX20103" fmla="*/ 1458562 w 3359086"/>
                <a:gd name="connsiteY20103" fmla="*/ 789908 h 3355086"/>
                <a:gd name="connsiteX20104" fmla="*/ 1452371 w 3359086"/>
                <a:gd name="connsiteY20104" fmla="*/ 783717 h 3355086"/>
                <a:gd name="connsiteX20105" fmla="*/ 1458562 w 3359086"/>
                <a:gd name="connsiteY20105" fmla="*/ 777526 h 3355086"/>
                <a:gd name="connsiteX20106" fmla="*/ 357853 w 3359086"/>
                <a:gd name="connsiteY20106" fmla="*/ 777526 h 3355086"/>
                <a:gd name="connsiteX20107" fmla="*/ 364045 w 3359086"/>
                <a:gd name="connsiteY20107" fmla="*/ 783717 h 3355086"/>
                <a:gd name="connsiteX20108" fmla="*/ 357853 w 3359086"/>
                <a:gd name="connsiteY20108" fmla="*/ 789908 h 3355086"/>
                <a:gd name="connsiteX20109" fmla="*/ 351662 w 3359086"/>
                <a:gd name="connsiteY20109" fmla="*/ 783717 h 3355086"/>
                <a:gd name="connsiteX20110" fmla="*/ 357853 w 3359086"/>
                <a:gd name="connsiteY20110" fmla="*/ 777526 h 3355086"/>
                <a:gd name="connsiteX20111" fmla="*/ 2638043 w 3359086"/>
                <a:gd name="connsiteY20111" fmla="*/ 775145 h 3355086"/>
                <a:gd name="connsiteX20112" fmla="*/ 2644234 w 3359086"/>
                <a:gd name="connsiteY20112" fmla="*/ 781336 h 3355086"/>
                <a:gd name="connsiteX20113" fmla="*/ 2638043 w 3359086"/>
                <a:gd name="connsiteY20113" fmla="*/ 787527 h 3355086"/>
                <a:gd name="connsiteX20114" fmla="*/ 2631852 w 3359086"/>
                <a:gd name="connsiteY20114" fmla="*/ 781336 h 3355086"/>
                <a:gd name="connsiteX20115" fmla="*/ 2638043 w 3359086"/>
                <a:gd name="connsiteY20115" fmla="*/ 775145 h 3355086"/>
                <a:gd name="connsiteX20116" fmla="*/ 3087242 w 3359086"/>
                <a:gd name="connsiteY20116" fmla="*/ 774478 h 3355086"/>
                <a:gd name="connsiteX20117" fmla="*/ 3093433 w 3359086"/>
                <a:gd name="connsiteY20117" fmla="*/ 780669 h 3355086"/>
                <a:gd name="connsiteX20118" fmla="*/ 3087242 w 3359086"/>
                <a:gd name="connsiteY20118" fmla="*/ 786860 h 3355086"/>
                <a:gd name="connsiteX20119" fmla="*/ 3081051 w 3359086"/>
                <a:gd name="connsiteY20119" fmla="*/ 780669 h 3355086"/>
                <a:gd name="connsiteX20120" fmla="*/ 3087242 w 3359086"/>
                <a:gd name="connsiteY20120" fmla="*/ 774478 h 3355086"/>
                <a:gd name="connsiteX20121" fmla="*/ 1818512 w 3359086"/>
                <a:gd name="connsiteY20121" fmla="*/ 774383 h 3355086"/>
                <a:gd name="connsiteX20122" fmla="*/ 1824704 w 3359086"/>
                <a:gd name="connsiteY20122" fmla="*/ 780574 h 3355086"/>
                <a:gd name="connsiteX20123" fmla="*/ 1818512 w 3359086"/>
                <a:gd name="connsiteY20123" fmla="*/ 786765 h 3355086"/>
                <a:gd name="connsiteX20124" fmla="*/ 1812321 w 3359086"/>
                <a:gd name="connsiteY20124" fmla="*/ 780574 h 3355086"/>
                <a:gd name="connsiteX20125" fmla="*/ 1818512 w 3359086"/>
                <a:gd name="connsiteY20125" fmla="*/ 774383 h 3355086"/>
                <a:gd name="connsiteX20126" fmla="*/ 3014566 w 3359086"/>
                <a:gd name="connsiteY20126" fmla="*/ 773716 h 3355086"/>
                <a:gd name="connsiteX20127" fmla="*/ 3020758 w 3359086"/>
                <a:gd name="connsiteY20127" fmla="*/ 779907 h 3355086"/>
                <a:gd name="connsiteX20128" fmla="*/ 3014566 w 3359086"/>
                <a:gd name="connsiteY20128" fmla="*/ 786098 h 3355086"/>
                <a:gd name="connsiteX20129" fmla="*/ 3008375 w 3359086"/>
                <a:gd name="connsiteY20129" fmla="*/ 779907 h 3355086"/>
                <a:gd name="connsiteX20130" fmla="*/ 3014566 w 3359086"/>
                <a:gd name="connsiteY20130" fmla="*/ 773716 h 3355086"/>
                <a:gd name="connsiteX20131" fmla="*/ 1577816 w 3359086"/>
                <a:gd name="connsiteY20131" fmla="*/ 772002 h 3355086"/>
                <a:gd name="connsiteX20132" fmla="*/ 1584008 w 3359086"/>
                <a:gd name="connsiteY20132" fmla="*/ 778193 h 3355086"/>
                <a:gd name="connsiteX20133" fmla="*/ 1577816 w 3359086"/>
                <a:gd name="connsiteY20133" fmla="*/ 784384 h 3355086"/>
                <a:gd name="connsiteX20134" fmla="*/ 1571625 w 3359086"/>
                <a:gd name="connsiteY20134" fmla="*/ 778193 h 3355086"/>
                <a:gd name="connsiteX20135" fmla="*/ 1577816 w 3359086"/>
                <a:gd name="connsiteY20135" fmla="*/ 772002 h 3355086"/>
                <a:gd name="connsiteX20136" fmla="*/ 2385916 w 3359086"/>
                <a:gd name="connsiteY20136" fmla="*/ 771144 h 3355086"/>
                <a:gd name="connsiteX20137" fmla="*/ 2392108 w 3359086"/>
                <a:gd name="connsiteY20137" fmla="*/ 777335 h 3355086"/>
                <a:gd name="connsiteX20138" fmla="*/ 2385916 w 3359086"/>
                <a:gd name="connsiteY20138" fmla="*/ 783527 h 3355086"/>
                <a:gd name="connsiteX20139" fmla="*/ 2379725 w 3359086"/>
                <a:gd name="connsiteY20139" fmla="*/ 777335 h 3355086"/>
                <a:gd name="connsiteX20140" fmla="*/ 2385916 w 3359086"/>
                <a:gd name="connsiteY20140" fmla="*/ 771144 h 3355086"/>
                <a:gd name="connsiteX20141" fmla="*/ 2864167 w 3359086"/>
                <a:gd name="connsiteY20141" fmla="*/ 770954 h 3355086"/>
                <a:gd name="connsiteX20142" fmla="*/ 2870359 w 3359086"/>
                <a:gd name="connsiteY20142" fmla="*/ 777145 h 3355086"/>
                <a:gd name="connsiteX20143" fmla="*/ 2864167 w 3359086"/>
                <a:gd name="connsiteY20143" fmla="*/ 783337 h 3355086"/>
                <a:gd name="connsiteX20144" fmla="*/ 2857976 w 3359086"/>
                <a:gd name="connsiteY20144" fmla="*/ 777145 h 3355086"/>
                <a:gd name="connsiteX20145" fmla="*/ 2864167 w 3359086"/>
                <a:gd name="connsiteY20145" fmla="*/ 770954 h 3355086"/>
                <a:gd name="connsiteX20146" fmla="*/ 1698402 w 3359086"/>
                <a:gd name="connsiteY20146" fmla="*/ 770954 h 3355086"/>
                <a:gd name="connsiteX20147" fmla="*/ 1704594 w 3359086"/>
                <a:gd name="connsiteY20147" fmla="*/ 777145 h 3355086"/>
                <a:gd name="connsiteX20148" fmla="*/ 1698402 w 3359086"/>
                <a:gd name="connsiteY20148" fmla="*/ 783337 h 3355086"/>
                <a:gd name="connsiteX20149" fmla="*/ 1692211 w 3359086"/>
                <a:gd name="connsiteY20149" fmla="*/ 777145 h 3355086"/>
                <a:gd name="connsiteX20150" fmla="*/ 1698402 w 3359086"/>
                <a:gd name="connsiteY20150" fmla="*/ 770954 h 3355086"/>
                <a:gd name="connsiteX20151" fmla="*/ 2766536 w 3359086"/>
                <a:gd name="connsiteY20151" fmla="*/ 768858 h 3355086"/>
                <a:gd name="connsiteX20152" fmla="*/ 2772728 w 3359086"/>
                <a:gd name="connsiteY20152" fmla="*/ 775049 h 3355086"/>
                <a:gd name="connsiteX20153" fmla="*/ 2766536 w 3359086"/>
                <a:gd name="connsiteY20153" fmla="*/ 781241 h 3355086"/>
                <a:gd name="connsiteX20154" fmla="*/ 2760345 w 3359086"/>
                <a:gd name="connsiteY20154" fmla="*/ 775049 h 3355086"/>
                <a:gd name="connsiteX20155" fmla="*/ 2766536 w 3359086"/>
                <a:gd name="connsiteY20155" fmla="*/ 768858 h 3355086"/>
                <a:gd name="connsiteX20156" fmla="*/ 341566 w 3359086"/>
                <a:gd name="connsiteY20156" fmla="*/ 767810 h 3355086"/>
                <a:gd name="connsiteX20157" fmla="*/ 347757 w 3359086"/>
                <a:gd name="connsiteY20157" fmla="*/ 774001 h 3355086"/>
                <a:gd name="connsiteX20158" fmla="*/ 341566 w 3359086"/>
                <a:gd name="connsiteY20158" fmla="*/ 780193 h 3355086"/>
                <a:gd name="connsiteX20159" fmla="*/ 335375 w 3359086"/>
                <a:gd name="connsiteY20159" fmla="*/ 774001 h 3355086"/>
                <a:gd name="connsiteX20160" fmla="*/ 341566 w 3359086"/>
                <a:gd name="connsiteY20160" fmla="*/ 767810 h 3355086"/>
                <a:gd name="connsiteX20161" fmla="*/ 3064477 w 3359086"/>
                <a:gd name="connsiteY20161" fmla="*/ 765810 h 3355086"/>
                <a:gd name="connsiteX20162" fmla="*/ 3070669 w 3359086"/>
                <a:gd name="connsiteY20162" fmla="*/ 772001 h 3355086"/>
                <a:gd name="connsiteX20163" fmla="*/ 3064477 w 3359086"/>
                <a:gd name="connsiteY20163" fmla="*/ 778193 h 3355086"/>
                <a:gd name="connsiteX20164" fmla="*/ 3064144 w 3359086"/>
                <a:gd name="connsiteY20164" fmla="*/ 777860 h 3355086"/>
                <a:gd name="connsiteX20165" fmla="*/ 3060811 w 3359086"/>
                <a:gd name="connsiteY20165" fmla="*/ 781193 h 3355086"/>
                <a:gd name="connsiteX20166" fmla="*/ 3060859 w 3359086"/>
                <a:gd name="connsiteY20166" fmla="*/ 781241 h 3355086"/>
                <a:gd name="connsiteX20167" fmla="*/ 3057287 w 3359086"/>
                <a:gd name="connsiteY20167" fmla="*/ 784813 h 3355086"/>
                <a:gd name="connsiteX20168" fmla="*/ 3057429 w 3359086"/>
                <a:gd name="connsiteY20168" fmla="*/ 784955 h 3355086"/>
                <a:gd name="connsiteX20169" fmla="*/ 3054095 w 3359086"/>
                <a:gd name="connsiteY20169" fmla="*/ 788290 h 3355086"/>
                <a:gd name="connsiteX20170" fmla="*/ 3054476 w 3359086"/>
                <a:gd name="connsiteY20170" fmla="*/ 788670 h 3355086"/>
                <a:gd name="connsiteX20171" fmla="*/ 3050905 w 3359086"/>
                <a:gd name="connsiteY20171" fmla="*/ 792242 h 3355086"/>
                <a:gd name="connsiteX20172" fmla="*/ 3051334 w 3359086"/>
                <a:gd name="connsiteY20172" fmla="*/ 792670 h 3355086"/>
                <a:gd name="connsiteX20173" fmla="*/ 3046952 w 3359086"/>
                <a:gd name="connsiteY20173" fmla="*/ 797053 h 3355086"/>
                <a:gd name="connsiteX20174" fmla="*/ 3047332 w 3359086"/>
                <a:gd name="connsiteY20174" fmla="*/ 797433 h 3355086"/>
                <a:gd name="connsiteX20175" fmla="*/ 3041522 w 3359086"/>
                <a:gd name="connsiteY20175" fmla="*/ 803244 h 3355086"/>
                <a:gd name="connsiteX20176" fmla="*/ 3041713 w 3359086"/>
                <a:gd name="connsiteY20176" fmla="*/ 803434 h 3355086"/>
                <a:gd name="connsiteX20177" fmla="*/ 3035522 w 3359086"/>
                <a:gd name="connsiteY20177" fmla="*/ 809625 h 3355086"/>
                <a:gd name="connsiteX20178" fmla="*/ 3029331 w 3359086"/>
                <a:gd name="connsiteY20178" fmla="*/ 803434 h 3355086"/>
                <a:gd name="connsiteX20179" fmla="*/ 3035141 w 3359086"/>
                <a:gd name="connsiteY20179" fmla="*/ 797624 h 3355086"/>
                <a:gd name="connsiteX20180" fmla="*/ 3034950 w 3359086"/>
                <a:gd name="connsiteY20180" fmla="*/ 797433 h 3355086"/>
                <a:gd name="connsiteX20181" fmla="*/ 3039332 w 3359086"/>
                <a:gd name="connsiteY20181" fmla="*/ 793051 h 3355086"/>
                <a:gd name="connsiteX20182" fmla="*/ 3038951 w 3359086"/>
                <a:gd name="connsiteY20182" fmla="*/ 792670 h 3355086"/>
                <a:gd name="connsiteX20183" fmla="*/ 3042522 w 3359086"/>
                <a:gd name="connsiteY20183" fmla="*/ 789099 h 3355086"/>
                <a:gd name="connsiteX20184" fmla="*/ 3042094 w 3359086"/>
                <a:gd name="connsiteY20184" fmla="*/ 788670 h 3355086"/>
                <a:gd name="connsiteX20185" fmla="*/ 3045428 w 3359086"/>
                <a:gd name="connsiteY20185" fmla="*/ 785336 h 3355086"/>
                <a:gd name="connsiteX20186" fmla="*/ 3045047 w 3359086"/>
                <a:gd name="connsiteY20186" fmla="*/ 784955 h 3355086"/>
                <a:gd name="connsiteX20187" fmla="*/ 3048618 w 3359086"/>
                <a:gd name="connsiteY20187" fmla="*/ 781384 h 3355086"/>
                <a:gd name="connsiteX20188" fmla="*/ 3048476 w 3359086"/>
                <a:gd name="connsiteY20188" fmla="*/ 781241 h 3355086"/>
                <a:gd name="connsiteX20189" fmla="*/ 3052715 w 3359086"/>
                <a:gd name="connsiteY20189" fmla="*/ 777002 h 3355086"/>
                <a:gd name="connsiteX20190" fmla="*/ 3052667 w 3359086"/>
                <a:gd name="connsiteY20190" fmla="*/ 776954 h 3355086"/>
                <a:gd name="connsiteX20191" fmla="*/ 3058858 w 3359086"/>
                <a:gd name="connsiteY20191" fmla="*/ 770763 h 3355086"/>
                <a:gd name="connsiteX20192" fmla="*/ 3059191 w 3359086"/>
                <a:gd name="connsiteY20192" fmla="*/ 771096 h 3355086"/>
                <a:gd name="connsiteX20193" fmla="*/ 2960369 w 3359086"/>
                <a:gd name="connsiteY20193" fmla="*/ 765810 h 3355086"/>
                <a:gd name="connsiteX20194" fmla="*/ 2966561 w 3359086"/>
                <a:gd name="connsiteY20194" fmla="*/ 772001 h 3355086"/>
                <a:gd name="connsiteX20195" fmla="*/ 2960369 w 3359086"/>
                <a:gd name="connsiteY20195" fmla="*/ 778193 h 3355086"/>
                <a:gd name="connsiteX20196" fmla="*/ 2954178 w 3359086"/>
                <a:gd name="connsiteY20196" fmla="*/ 772001 h 3355086"/>
                <a:gd name="connsiteX20197" fmla="*/ 2960369 w 3359086"/>
                <a:gd name="connsiteY20197" fmla="*/ 765810 h 3355086"/>
                <a:gd name="connsiteX20198" fmla="*/ 414718 w 3359086"/>
                <a:gd name="connsiteY20198" fmla="*/ 765239 h 3355086"/>
                <a:gd name="connsiteX20199" fmla="*/ 420909 w 3359086"/>
                <a:gd name="connsiteY20199" fmla="*/ 771430 h 3355086"/>
                <a:gd name="connsiteX20200" fmla="*/ 414718 w 3359086"/>
                <a:gd name="connsiteY20200" fmla="*/ 777621 h 3355086"/>
                <a:gd name="connsiteX20201" fmla="*/ 408527 w 3359086"/>
                <a:gd name="connsiteY20201" fmla="*/ 771430 h 3355086"/>
                <a:gd name="connsiteX20202" fmla="*/ 414718 w 3359086"/>
                <a:gd name="connsiteY20202" fmla="*/ 765239 h 3355086"/>
                <a:gd name="connsiteX20203" fmla="*/ 731424 w 3359086"/>
                <a:gd name="connsiteY20203" fmla="*/ 762191 h 3355086"/>
                <a:gd name="connsiteX20204" fmla="*/ 737616 w 3359086"/>
                <a:gd name="connsiteY20204" fmla="*/ 768382 h 3355086"/>
                <a:gd name="connsiteX20205" fmla="*/ 731424 w 3359086"/>
                <a:gd name="connsiteY20205" fmla="*/ 774573 h 3355086"/>
                <a:gd name="connsiteX20206" fmla="*/ 725233 w 3359086"/>
                <a:gd name="connsiteY20206" fmla="*/ 768382 h 3355086"/>
                <a:gd name="connsiteX20207" fmla="*/ 731424 w 3359086"/>
                <a:gd name="connsiteY20207" fmla="*/ 762191 h 3355086"/>
                <a:gd name="connsiteX20208" fmla="*/ 329564 w 3359086"/>
                <a:gd name="connsiteY20208" fmla="*/ 760762 h 3355086"/>
                <a:gd name="connsiteX20209" fmla="*/ 335755 w 3359086"/>
                <a:gd name="connsiteY20209" fmla="*/ 766953 h 3355086"/>
                <a:gd name="connsiteX20210" fmla="*/ 329564 w 3359086"/>
                <a:gd name="connsiteY20210" fmla="*/ 773145 h 3355086"/>
                <a:gd name="connsiteX20211" fmla="*/ 323373 w 3359086"/>
                <a:gd name="connsiteY20211" fmla="*/ 766953 h 3355086"/>
                <a:gd name="connsiteX20212" fmla="*/ 329564 w 3359086"/>
                <a:gd name="connsiteY20212" fmla="*/ 760762 h 3355086"/>
                <a:gd name="connsiteX20213" fmla="*/ 995076 w 3359086"/>
                <a:gd name="connsiteY20213" fmla="*/ 760095 h 3355086"/>
                <a:gd name="connsiteX20214" fmla="*/ 1001268 w 3359086"/>
                <a:gd name="connsiteY20214" fmla="*/ 766286 h 3355086"/>
                <a:gd name="connsiteX20215" fmla="*/ 995076 w 3359086"/>
                <a:gd name="connsiteY20215" fmla="*/ 772477 h 3355086"/>
                <a:gd name="connsiteX20216" fmla="*/ 988885 w 3359086"/>
                <a:gd name="connsiteY20216" fmla="*/ 766286 h 3355086"/>
                <a:gd name="connsiteX20217" fmla="*/ 995076 w 3359086"/>
                <a:gd name="connsiteY20217" fmla="*/ 760095 h 3355086"/>
                <a:gd name="connsiteX20218" fmla="*/ 3071812 w 3359086"/>
                <a:gd name="connsiteY20218" fmla="*/ 759905 h 3355086"/>
                <a:gd name="connsiteX20219" fmla="*/ 3078003 w 3359086"/>
                <a:gd name="connsiteY20219" fmla="*/ 766096 h 3355086"/>
                <a:gd name="connsiteX20220" fmla="*/ 3071812 w 3359086"/>
                <a:gd name="connsiteY20220" fmla="*/ 772288 h 3355086"/>
                <a:gd name="connsiteX20221" fmla="*/ 3065621 w 3359086"/>
                <a:gd name="connsiteY20221" fmla="*/ 766096 h 3355086"/>
                <a:gd name="connsiteX20222" fmla="*/ 3071812 w 3359086"/>
                <a:gd name="connsiteY20222" fmla="*/ 759905 h 3355086"/>
                <a:gd name="connsiteX20223" fmla="*/ 275749 w 3359086"/>
                <a:gd name="connsiteY20223" fmla="*/ 758667 h 3355086"/>
                <a:gd name="connsiteX20224" fmla="*/ 279843 w 3359086"/>
                <a:gd name="connsiteY20224" fmla="*/ 762762 h 3355086"/>
                <a:gd name="connsiteX20225" fmla="*/ 281272 w 3359086"/>
                <a:gd name="connsiteY20225" fmla="*/ 761333 h 3355086"/>
                <a:gd name="connsiteX20226" fmla="*/ 285226 w 3359086"/>
                <a:gd name="connsiteY20226" fmla="*/ 765286 h 3355086"/>
                <a:gd name="connsiteX20227" fmla="*/ 285559 w 3359086"/>
                <a:gd name="connsiteY20227" fmla="*/ 764953 h 3355086"/>
                <a:gd name="connsiteX20228" fmla="*/ 288987 w 3359086"/>
                <a:gd name="connsiteY20228" fmla="*/ 768382 h 3355086"/>
                <a:gd name="connsiteX20229" fmla="*/ 289178 w 3359086"/>
                <a:gd name="connsiteY20229" fmla="*/ 768191 h 3355086"/>
                <a:gd name="connsiteX20230" fmla="*/ 292417 w 3359086"/>
                <a:gd name="connsiteY20230" fmla="*/ 771430 h 3355086"/>
                <a:gd name="connsiteX20231" fmla="*/ 292512 w 3359086"/>
                <a:gd name="connsiteY20231" fmla="*/ 771335 h 3355086"/>
                <a:gd name="connsiteX20232" fmla="*/ 296084 w 3359086"/>
                <a:gd name="connsiteY20232" fmla="*/ 774907 h 3355086"/>
                <a:gd name="connsiteX20233" fmla="*/ 296227 w 3359086"/>
                <a:gd name="connsiteY20233" fmla="*/ 774764 h 3355086"/>
                <a:gd name="connsiteX20234" fmla="*/ 300751 w 3359086"/>
                <a:gd name="connsiteY20234" fmla="*/ 779288 h 3355086"/>
                <a:gd name="connsiteX20235" fmla="*/ 300989 w 3359086"/>
                <a:gd name="connsiteY20235" fmla="*/ 779050 h 3355086"/>
                <a:gd name="connsiteX20236" fmla="*/ 307132 w 3359086"/>
                <a:gd name="connsiteY20236" fmla="*/ 785194 h 3355086"/>
                <a:gd name="connsiteX20237" fmla="*/ 307561 w 3359086"/>
                <a:gd name="connsiteY20237" fmla="*/ 784765 h 3355086"/>
                <a:gd name="connsiteX20238" fmla="*/ 313752 w 3359086"/>
                <a:gd name="connsiteY20238" fmla="*/ 790956 h 3355086"/>
                <a:gd name="connsiteX20239" fmla="*/ 307561 w 3359086"/>
                <a:gd name="connsiteY20239" fmla="*/ 797148 h 3355086"/>
                <a:gd name="connsiteX20240" fmla="*/ 301418 w 3359086"/>
                <a:gd name="connsiteY20240" fmla="*/ 791004 h 3355086"/>
                <a:gd name="connsiteX20241" fmla="*/ 300989 w 3359086"/>
                <a:gd name="connsiteY20241" fmla="*/ 791433 h 3355086"/>
                <a:gd name="connsiteX20242" fmla="*/ 296465 w 3359086"/>
                <a:gd name="connsiteY20242" fmla="*/ 786908 h 3355086"/>
                <a:gd name="connsiteX20243" fmla="*/ 296227 w 3359086"/>
                <a:gd name="connsiteY20243" fmla="*/ 787146 h 3355086"/>
                <a:gd name="connsiteX20244" fmla="*/ 292655 w 3359086"/>
                <a:gd name="connsiteY20244" fmla="*/ 783574 h 3355086"/>
                <a:gd name="connsiteX20245" fmla="*/ 292512 w 3359086"/>
                <a:gd name="connsiteY20245" fmla="*/ 783717 h 3355086"/>
                <a:gd name="connsiteX20246" fmla="*/ 289273 w 3359086"/>
                <a:gd name="connsiteY20246" fmla="*/ 780479 h 3355086"/>
                <a:gd name="connsiteX20247" fmla="*/ 289178 w 3359086"/>
                <a:gd name="connsiteY20247" fmla="*/ 780574 h 3355086"/>
                <a:gd name="connsiteX20248" fmla="*/ 285749 w 3359086"/>
                <a:gd name="connsiteY20248" fmla="*/ 777145 h 3355086"/>
                <a:gd name="connsiteX20249" fmla="*/ 285559 w 3359086"/>
                <a:gd name="connsiteY20249" fmla="*/ 777335 h 3355086"/>
                <a:gd name="connsiteX20250" fmla="*/ 281606 w 3359086"/>
                <a:gd name="connsiteY20250" fmla="*/ 773382 h 3355086"/>
                <a:gd name="connsiteX20251" fmla="*/ 281272 w 3359086"/>
                <a:gd name="connsiteY20251" fmla="*/ 773716 h 3355086"/>
                <a:gd name="connsiteX20252" fmla="*/ 275081 w 3359086"/>
                <a:gd name="connsiteY20252" fmla="*/ 767524 h 3355086"/>
                <a:gd name="connsiteX20253" fmla="*/ 275366 w 3359086"/>
                <a:gd name="connsiteY20253" fmla="*/ 767239 h 3355086"/>
                <a:gd name="connsiteX20254" fmla="*/ 271272 w 3359086"/>
                <a:gd name="connsiteY20254" fmla="*/ 763144 h 3355086"/>
                <a:gd name="connsiteX20255" fmla="*/ 275749 w 3359086"/>
                <a:gd name="connsiteY20255" fmla="*/ 758667 h 3355086"/>
                <a:gd name="connsiteX20256" fmla="*/ 492156 w 3359086"/>
                <a:gd name="connsiteY20256" fmla="*/ 757143 h 3355086"/>
                <a:gd name="connsiteX20257" fmla="*/ 498347 w 3359086"/>
                <a:gd name="connsiteY20257" fmla="*/ 763334 h 3355086"/>
                <a:gd name="connsiteX20258" fmla="*/ 492156 w 3359086"/>
                <a:gd name="connsiteY20258" fmla="*/ 769525 h 3355086"/>
                <a:gd name="connsiteX20259" fmla="*/ 485965 w 3359086"/>
                <a:gd name="connsiteY20259" fmla="*/ 763334 h 3355086"/>
                <a:gd name="connsiteX20260" fmla="*/ 492156 w 3359086"/>
                <a:gd name="connsiteY20260" fmla="*/ 757143 h 3355086"/>
                <a:gd name="connsiteX20261" fmla="*/ 3081147 w 3359086"/>
                <a:gd name="connsiteY20261" fmla="*/ 756285 h 3355086"/>
                <a:gd name="connsiteX20262" fmla="*/ 3083719 w 3359086"/>
                <a:gd name="connsiteY20262" fmla="*/ 758857 h 3355086"/>
                <a:gd name="connsiteX20263" fmla="*/ 3081147 w 3359086"/>
                <a:gd name="connsiteY20263" fmla="*/ 761429 h 3355086"/>
                <a:gd name="connsiteX20264" fmla="*/ 3078575 w 3359086"/>
                <a:gd name="connsiteY20264" fmla="*/ 758857 h 3355086"/>
                <a:gd name="connsiteX20265" fmla="*/ 3081147 w 3359086"/>
                <a:gd name="connsiteY20265" fmla="*/ 756285 h 3355086"/>
                <a:gd name="connsiteX20266" fmla="*/ 2978276 w 3359086"/>
                <a:gd name="connsiteY20266" fmla="*/ 756190 h 3355086"/>
                <a:gd name="connsiteX20267" fmla="*/ 2984467 w 3359086"/>
                <a:gd name="connsiteY20267" fmla="*/ 762381 h 3355086"/>
                <a:gd name="connsiteX20268" fmla="*/ 2978276 w 3359086"/>
                <a:gd name="connsiteY20268" fmla="*/ 768573 h 3355086"/>
                <a:gd name="connsiteX20269" fmla="*/ 2972085 w 3359086"/>
                <a:gd name="connsiteY20269" fmla="*/ 762381 h 3355086"/>
                <a:gd name="connsiteX20270" fmla="*/ 2978276 w 3359086"/>
                <a:gd name="connsiteY20270" fmla="*/ 756190 h 3355086"/>
                <a:gd name="connsiteX20271" fmla="*/ 595788 w 3359086"/>
                <a:gd name="connsiteY20271" fmla="*/ 755237 h 3355086"/>
                <a:gd name="connsiteX20272" fmla="*/ 601979 w 3359086"/>
                <a:gd name="connsiteY20272" fmla="*/ 761428 h 3355086"/>
                <a:gd name="connsiteX20273" fmla="*/ 595788 w 3359086"/>
                <a:gd name="connsiteY20273" fmla="*/ 767620 h 3355086"/>
                <a:gd name="connsiteX20274" fmla="*/ 589597 w 3359086"/>
                <a:gd name="connsiteY20274" fmla="*/ 761428 h 3355086"/>
                <a:gd name="connsiteX20275" fmla="*/ 595788 w 3359086"/>
                <a:gd name="connsiteY20275" fmla="*/ 755237 h 3355086"/>
                <a:gd name="connsiteX20276" fmla="*/ 2899981 w 3359086"/>
                <a:gd name="connsiteY20276" fmla="*/ 753142 h 3355086"/>
                <a:gd name="connsiteX20277" fmla="*/ 2906172 w 3359086"/>
                <a:gd name="connsiteY20277" fmla="*/ 759333 h 3355086"/>
                <a:gd name="connsiteX20278" fmla="*/ 2899981 w 3359086"/>
                <a:gd name="connsiteY20278" fmla="*/ 765525 h 3355086"/>
                <a:gd name="connsiteX20279" fmla="*/ 2893790 w 3359086"/>
                <a:gd name="connsiteY20279" fmla="*/ 759333 h 3355086"/>
                <a:gd name="connsiteX20280" fmla="*/ 2899981 w 3359086"/>
                <a:gd name="connsiteY20280" fmla="*/ 753142 h 3355086"/>
                <a:gd name="connsiteX20281" fmla="*/ 388714 w 3359086"/>
                <a:gd name="connsiteY20281" fmla="*/ 752094 h 3355086"/>
                <a:gd name="connsiteX20282" fmla="*/ 394905 w 3359086"/>
                <a:gd name="connsiteY20282" fmla="*/ 758285 h 3355086"/>
                <a:gd name="connsiteX20283" fmla="*/ 388714 w 3359086"/>
                <a:gd name="connsiteY20283" fmla="*/ 764477 h 3355086"/>
                <a:gd name="connsiteX20284" fmla="*/ 382523 w 3359086"/>
                <a:gd name="connsiteY20284" fmla="*/ 758285 h 3355086"/>
                <a:gd name="connsiteX20285" fmla="*/ 388714 w 3359086"/>
                <a:gd name="connsiteY20285" fmla="*/ 752094 h 3355086"/>
                <a:gd name="connsiteX20286" fmla="*/ 2567082 w 3359086"/>
                <a:gd name="connsiteY20286" fmla="*/ 751046 h 3355086"/>
                <a:gd name="connsiteX20287" fmla="*/ 2573274 w 3359086"/>
                <a:gd name="connsiteY20287" fmla="*/ 757237 h 3355086"/>
                <a:gd name="connsiteX20288" fmla="*/ 2567082 w 3359086"/>
                <a:gd name="connsiteY20288" fmla="*/ 763429 h 3355086"/>
                <a:gd name="connsiteX20289" fmla="*/ 2560891 w 3359086"/>
                <a:gd name="connsiteY20289" fmla="*/ 757237 h 3355086"/>
                <a:gd name="connsiteX20290" fmla="*/ 2567082 w 3359086"/>
                <a:gd name="connsiteY20290" fmla="*/ 751046 h 3355086"/>
                <a:gd name="connsiteX20291" fmla="*/ 2293429 w 3359086"/>
                <a:gd name="connsiteY20291" fmla="*/ 750951 h 3355086"/>
                <a:gd name="connsiteX20292" fmla="*/ 2299620 w 3359086"/>
                <a:gd name="connsiteY20292" fmla="*/ 757142 h 3355086"/>
                <a:gd name="connsiteX20293" fmla="*/ 2293429 w 3359086"/>
                <a:gd name="connsiteY20293" fmla="*/ 763333 h 3355086"/>
                <a:gd name="connsiteX20294" fmla="*/ 2287238 w 3359086"/>
                <a:gd name="connsiteY20294" fmla="*/ 757142 h 3355086"/>
                <a:gd name="connsiteX20295" fmla="*/ 2293429 w 3359086"/>
                <a:gd name="connsiteY20295" fmla="*/ 750951 h 3355086"/>
                <a:gd name="connsiteX20296" fmla="*/ 2991707 w 3359086"/>
                <a:gd name="connsiteY20296" fmla="*/ 749427 h 3355086"/>
                <a:gd name="connsiteX20297" fmla="*/ 2997898 w 3359086"/>
                <a:gd name="connsiteY20297" fmla="*/ 755618 h 3355086"/>
                <a:gd name="connsiteX20298" fmla="*/ 2991707 w 3359086"/>
                <a:gd name="connsiteY20298" fmla="*/ 761810 h 3355086"/>
                <a:gd name="connsiteX20299" fmla="*/ 2985516 w 3359086"/>
                <a:gd name="connsiteY20299" fmla="*/ 755618 h 3355086"/>
                <a:gd name="connsiteX20300" fmla="*/ 2991707 w 3359086"/>
                <a:gd name="connsiteY20300" fmla="*/ 749427 h 3355086"/>
                <a:gd name="connsiteX20301" fmla="*/ 2818066 w 3359086"/>
                <a:gd name="connsiteY20301" fmla="*/ 745046 h 3355086"/>
                <a:gd name="connsiteX20302" fmla="*/ 2824258 w 3359086"/>
                <a:gd name="connsiteY20302" fmla="*/ 751237 h 3355086"/>
                <a:gd name="connsiteX20303" fmla="*/ 2818066 w 3359086"/>
                <a:gd name="connsiteY20303" fmla="*/ 757429 h 3355086"/>
                <a:gd name="connsiteX20304" fmla="*/ 2811875 w 3359086"/>
                <a:gd name="connsiteY20304" fmla="*/ 751237 h 3355086"/>
                <a:gd name="connsiteX20305" fmla="*/ 2818066 w 3359086"/>
                <a:gd name="connsiteY20305" fmla="*/ 745046 h 3355086"/>
                <a:gd name="connsiteX20306" fmla="*/ 3056191 w 3359086"/>
                <a:gd name="connsiteY20306" fmla="*/ 744474 h 3355086"/>
                <a:gd name="connsiteX20307" fmla="*/ 3062383 w 3359086"/>
                <a:gd name="connsiteY20307" fmla="*/ 750665 h 3355086"/>
                <a:gd name="connsiteX20308" fmla="*/ 3056191 w 3359086"/>
                <a:gd name="connsiteY20308" fmla="*/ 756856 h 3355086"/>
                <a:gd name="connsiteX20309" fmla="*/ 3055096 w 3359086"/>
                <a:gd name="connsiteY20309" fmla="*/ 755761 h 3355086"/>
                <a:gd name="connsiteX20310" fmla="*/ 3049238 w 3359086"/>
                <a:gd name="connsiteY20310" fmla="*/ 761619 h 3355086"/>
                <a:gd name="connsiteX20311" fmla="*/ 3048428 w 3359086"/>
                <a:gd name="connsiteY20311" fmla="*/ 760809 h 3355086"/>
                <a:gd name="connsiteX20312" fmla="*/ 3043808 w 3359086"/>
                <a:gd name="connsiteY20312" fmla="*/ 765429 h 3355086"/>
                <a:gd name="connsiteX20313" fmla="*/ 3043141 w 3359086"/>
                <a:gd name="connsiteY20313" fmla="*/ 764763 h 3355086"/>
                <a:gd name="connsiteX20314" fmla="*/ 3039427 w 3359086"/>
                <a:gd name="connsiteY20314" fmla="*/ 768477 h 3355086"/>
                <a:gd name="connsiteX20315" fmla="*/ 3038856 w 3359086"/>
                <a:gd name="connsiteY20315" fmla="*/ 767906 h 3355086"/>
                <a:gd name="connsiteX20316" fmla="*/ 3035617 w 3359086"/>
                <a:gd name="connsiteY20316" fmla="*/ 771144 h 3355086"/>
                <a:gd name="connsiteX20317" fmla="*/ 3035141 w 3359086"/>
                <a:gd name="connsiteY20317" fmla="*/ 770668 h 3355086"/>
                <a:gd name="connsiteX20318" fmla="*/ 3031997 w 3359086"/>
                <a:gd name="connsiteY20318" fmla="*/ 773812 h 3355086"/>
                <a:gd name="connsiteX20319" fmla="*/ 3031330 w 3359086"/>
                <a:gd name="connsiteY20319" fmla="*/ 773145 h 3355086"/>
                <a:gd name="connsiteX20320" fmla="*/ 3027711 w 3359086"/>
                <a:gd name="connsiteY20320" fmla="*/ 776765 h 3355086"/>
                <a:gd name="connsiteX20321" fmla="*/ 3026949 w 3359086"/>
                <a:gd name="connsiteY20321" fmla="*/ 776003 h 3355086"/>
                <a:gd name="connsiteX20322" fmla="*/ 3022187 w 3359086"/>
                <a:gd name="connsiteY20322" fmla="*/ 780764 h 3355086"/>
                <a:gd name="connsiteX20323" fmla="*/ 3015996 w 3359086"/>
                <a:gd name="connsiteY20323" fmla="*/ 774573 h 3355086"/>
                <a:gd name="connsiteX20324" fmla="*/ 3022187 w 3359086"/>
                <a:gd name="connsiteY20324" fmla="*/ 768382 h 3355086"/>
                <a:gd name="connsiteX20325" fmla="*/ 3022949 w 3359086"/>
                <a:gd name="connsiteY20325" fmla="*/ 769144 h 3355086"/>
                <a:gd name="connsiteX20326" fmla="*/ 3027711 w 3359086"/>
                <a:gd name="connsiteY20326" fmla="*/ 764382 h 3355086"/>
                <a:gd name="connsiteX20327" fmla="*/ 3028378 w 3359086"/>
                <a:gd name="connsiteY20327" fmla="*/ 765049 h 3355086"/>
                <a:gd name="connsiteX20328" fmla="*/ 3031997 w 3359086"/>
                <a:gd name="connsiteY20328" fmla="*/ 761429 h 3355086"/>
                <a:gd name="connsiteX20329" fmla="*/ 3032473 w 3359086"/>
                <a:gd name="connsiteY20329" fmla="*/ 761906 h 3355086"/>
                <a:gd name="connsiteX20330" fmla="*/ 3035617 w 3359086"/>
                <a:gd name="connsiteY20330" fmla="*/ 758762 h 3355086"/>
                <a:gd name="connsiteX20331" fmla="*/ 3036189 w 3359086"/>
                <a:gd name="connsiteY20331" fmla="*/ 759334 h 3355086"/>
                <a:gd name="connsiteX20332" fmla="*/ 3039427 w 3359086"/>
                <a:gd name="connsiteY20332" fmla="*/ 756095 h 3355086"/>
                <a:gd name="connsiteX20333" fmla="*/ 3040093 w 3359086"/>
                <a:gd name="connsiteY20333" fmla="*/ 756762 h 3355086"/>
                <a:gd name="connsiteX20334" fmla="*/ 3043808 w 3359086"/>
                <a:gd name="connsiteY20334" fmla="*/ 753047 h 3355086"/>
                <a:gd name="connsiteX20335" fmla="*/ 3044618 w 3359086"/>
                <a:gd name="connsiteY20335" fmla="*/ 753857 h 3355086"/>
                <a:gd name="connsiteX20336" fmla="*/ 3049238 w 3359086"/>
                <a:gd name="connsiteY20336" fmla="*/ 749237 h 3355086"/>
                <a:gd name="connsiteX20337" fmla="*/ 3050333 w 3359086"/>
                <a:gd name="connsiteY20337" fmla="*/ 750332 h 3355086"/>
                <a:gd name="connsiteX20338" fmla="*/ 2709100 w 3359086"/>
                <a:gd name="connsiteY20338" fmla="*/ 743427 h 3355086"/>
                <a:gd name="connsiteX20339" fmla="*/ 2715292 w 3359086"/>
                <a:gd name="connsiteY20339" fmla="*/ 749618 h 3355086"/>
                <a:gd name="connsiteX20340" fmla="*/ 2709100 w 3359086"/>
                <a:gd name="connsiteY20340" fmla="*/ 755809 h 3355086"/>
                <a:gd name="connsiteX20341" fmla="*/ 2702909 w 3359086"/>
                <a:gd name="connsiteY20341" fmla="*/ 749618 h 3355086"/>
                <a:gd name="connsiteX20342" fmla="*/ 2709100 w 3359086"/>
                <a:gd name="connsiteY20342" fmla="*/ 743427 h 3355086"/>
                <a:gd name="connsiteX20343" fmla="*/ 368712 w 3359086"/>
                <a:gd name="connsiteY20343" fmla="*/ 742664 h 3355086"/>
                <a:gd name="connsiteX20344" fmla="*/ 374903 w 3359086"/>
                <a:gd name="connsiteY20344" fmla="*/ 748855 h 3355086"/>
                <a:gd name="connsiteX20345" fmla="*/ 368712 w 3359086"/>
                <a:gd name="connsiteY20345" fmla="*/ 755047 h 3355086"/>
                <a:gd name="connsiteX20346" fmla="*/ 362521 w 3359086"/>
                <a:gd name="connsiteY20346" fmla="*/ 748855 h 3355086"/>
                <a:gd name="connsiteX20347" fmla="*/ 368712 w 3359086"/>
                <a:gd name="connsiteY20347" fmla="*/ 742664 h 3355086"/>
                <a:gd name="connsiteX20348" fmla="*/ 1090707 w 3359086"/>
                <a:gd name="connsiteY20348" fmla="*/ 740855 h 3355086"/>
                <a:gd name="connsiteX20349" fmla="*/ 1096899 w 3359086"/>
                <a:gd name="connsiteY20349" fmla="*/ 747046 h 3355086"/>
                <a:gd name="connsiteX20350" fmla="*/ 1090707 w 3359086"/>
                <a:gd name="connsiteY20350" fmla="*/ 753238 h 3355086"/>
                <a:gd name="connsiteX20351" fmla="*/ 1084516 w 3359086"/>
                <a:gd name="connsiteY20351" fmla="*/ 747046 h 3355086"/>
                <a:gd name="connsiteX20352" fmla="*/ 1090707 w 3359086"/>
                <a:gd name="connsiteY20352" fmla="*/ 740855 h 3355086"/>
                <a:gd name="connsiteX20353" fmla="*/ 2928080 w 3359086"/>
                <a:gd name="connsiteY20353" fmla="*/ 740093 h 3355086"/>
                <a:gd name="connsiteX20354" fmla="*/ 2934271 w 3359086"/>
                <a:gd name="connsiteY20354" fmla="*/ 746284 h 3355086"/>
                <a:gd name="connsiteX20355" fmla="*/ 2928080 w 3359086"/>
                <a:gd name="connsiteY20355" fmla="*/ 752475 h 3355086"/>
                <a:gd name="connsiteX20356" fmla="*/ 2921889 w 3359086"/>
                <a:gd name="connsiteY20356" fmla="*/ 746284 h 3355086"/>
                <a:gd name="connsiteX20357" fmla="*/ 2928080 w 3359086"/>
                <a:gd name="connsiteY20357" fmla="*/ 740093 h 3355086"/>
                <a:gd name="connsiteX20358" fmla="*/ 291179 w 3359086"/>
                <a:gd name="connsiteY20358" fmla="*/ 739998 h 3355086"/>
                <a:gd name="connsiteX20359" fmla="*/ 295512 w 3359086"/>
                <a:gd name="connsiteY20359" fmla="*/ 744332 h 3355086"/>
                <a:gd name="connsiteX20360" fmla="*/ 296703 w 3359086"/>
                <a:gd name="connsiteY20360" fmla="*/ 743141 h 3355086"/>
                <a:gd name="connsiteX20361" fmla="*/ 300179 w 3359086"/>
                <a:gd name="connsiteY20361" fmla="*/ 746618 h 3355086"/>
                <a:gd name="connsiteX20362" fmla="*/ 301180 w 3359086"/>
                <a:gd name="connsiteY20362" fmla="*/ 745617 h 3355086"/>
                <a:gd name="connsiteX20363" fmla="*/ 304276 w 3359086"/>
                <a:gd name="connsiteY20363" fmla="*/ 748712 h 3355086"/>
                <a:gd name="connsiteX20364" fmla="*/ 305275 w 3359086"/>
                <a:gd name="connsiteY20364" fmla="*/ 747713 h 3355086"/>
                <a:gd name="connsiteX20365" fmla="*/ 308371 w 3359086"/>
                <a:gd name="connsiteY20365" fmla="*/ 750809 h 3355086"/>
                <a:gd name="connsiteX20366" fmla="*/ 309371 w 3359086"/>
                <a:gd name="connsiteY20366" fmla="*/ 749808 h 3355086"/>
                <a:gd name="connsiteX20367" fmla="*/ 313134 w 3359086"/>
                <a:gd name="connsiteY20367" fmla="*/ 753570 h 3355086"/>
                <a:gd name="connsiteX20368" fmla="*/ 314324 w 3359086"/>
                <a:gd name="connsiteY20368" fmla="*/ 752380 h 3355086"/>
                <a:gd name="connsiteX20369" fmla="*/ 319277 w 3359086"/>
                <a:gd name="connsiteY20369" fmla="*/ 757333 h 3355086"/>
                <a:gd name="connsiteX20370" fmla="*/ 320801 w 3359086"/>
                <a:gd name="connsiteY20370" fmla="*/ 755809 h 3355086"/>
                <a:gd name="connsiteX20371" fmla="*/ 326993 w 3359086"/>
                <a:gd name="connsiteY20371" fmla="*/ 762000 h 3355086"/>
                <a:gd name="connsiteX20372" fmla="*/ 320801 w 3359086"/>
                <a:gd name="connsiteY20372" fmla="*/ 768192 h 3355086"/>
                <a:gd name="connsiteX20373" fmla="*/ 315848 w 3359086"/>
                <a:gd name="connsiteY20373" fmla="*/ 763238 h 3355086"/>
                <a:gd name="connsiteX20374" fmla="*/ 314324 w 3359086"/>
                <a:gd name="connsiteY20374" fmla="*/ 764762 h 3355086"/>
                <a:gd name="connsiteX20375" fmla="*/ 310562 w 3359086"/>
                <a:gd name="connsiteY20375" fmla="*/ 761000 h 3355086"/>
                <a:gd name="connsiteX20376" fmla="*/ 309371 w 3359086"/>
                <a:gd name="connsiteY20376" fmla="*/ 762191 h 3355086"/>
                <a:gd name="connsiteX20377" fmla="*/ 306276 w 3359086"/>
                <a:gd name="connsiteY20377" fmla="*/ 759095 h 3355086"/>
                <a:gd name="connsiteX20378" fmla="*/ 305275 w 3359086"/>
                <a:gd name="connsiteY20378" fmla="*/ 760096 h 3355086"/>
                <a:gd name="connsiteX20379" fmla="*/ 302180 w 3359086"/>
                <a:gd name="connsiteY20379" fmla="*/ 757001 h 3355086"/>
                <a:gd name="connsiteX20380" fmla="*/ 301180 w 3359086"/>
                <a:gd name="connsiteY20380" fmla="*/ 758000 h 3355086"/>
                <a:gd name="connsiteX20381" fmla="*/ 297703 w 3359086"/>
                <a:gd name="connsiteY20381" fmla="*/ 754523 h 3355086"/>
                <a:gd name="connsiteX20382" fmla="*/ 296703 w 3359086"/>
                <a:gd name="connsiteY20382" fmla="*/ 755523 h 3355086"/>
                <a:gd name="connsiteX20383" fmla="*/ 292370 w 3359086"/>
                <a:gd name="connsiteY20383" fmla="*/ 751190 h 3355086"/>
                <a:gd name="connsiteX20384" fmla="*/ 291179 w 3359086"/>
                <a:gd name="connsiteY20384" fmla="*/ 752381 h 3355086"/>
                <a:gd name="connsiteX20385" fmla="*/ 284988 w 3359086"/>
                <a:gd name="connsiteY20385" fmla="*/ 746189 h 3355086"/>
                <a:gd name="connsiteX20386" fmla="*/ 291179 w 3359086"/>
                <a:gd name="connsiteY20386" fmla="*/ 739998 h 3355086"/>
                <a:gd name="connsiteX20387" fmla="*/ 453294 w 3359086"/>
                <a:gd name="connsiteY20387" fmla="*/ 739235 h 3355086"/>
                <a:gd name="connsiteX20388" fmla="*/ 459486 w 3359086"/>
                <a:gd name="connsiteY20388" fmla="*/ 745426 h 3355086"/>
                <a:gd name="connsiteX20389" fmla="*/ 453294 w 3359086"/>
                <a:gd name="connsiteY20389" fmla="*/ 751618 h 3355086"/>
                <a:gd name="connsiteX20390" fmla="*/ 447103 w 3359086"/>
                <a:gd name="connsiteY20390" fmla="*/ 745426 h 3355086"/>
                <a:gd name="connsiteX20391" fmla="*/ 453294 w 3359086"/>
                <a:gd name="connsiteY20391" fmla="*/ 739235 h 3355086"/>
                <a:gd name="connsiteX20392" fmla="*/ 3064954 w 3359086"/>
                <a:gd name="connsiteY20392" fmla="*/ 738474 h 3355086"/>
                <a:gd name="connsiteX20393" fmla="*/ 3071145 w 3359086"/>
                <a:gd name="connsiteY20393" fmla="*/ 744665 h 3355086"/>
                <a:gd name="connsiteX20394" fmla="*/ 3064954 w 3359086"/>
                <a:gd name="connsiteY20394" fmla="*/ 750856 h 3355086"/>
                <a:gd name="connsiteX20395" fmla="*/ 3058763 w 3359086"/>
                <a:gd name="connsiteY20395" fmla="*/ 744665 h 3355086"/>
                <a:gd name="connsiteX20396" fmla="*/ 3064954 w 3359086"/>
                <a:gd name="connsiteY20396" fmla="*/ 738474 h 3355086"/>
                <a:gd name="connsiteX20397" fmla="*/ 805338 w 3359086"/>
                <a:gd name="connsiteY20397" fmla="*/ 738378 h 3355086"/>
                <a:gd name="connsiteX20398" fmla="*/ 811529 w 3359086"/>
                <a:gd name="connsiteY20398" fmla="*/ 744569 h 3355086"/>
                <a:gd name="connsiteX20399" fmla="*/ 805338 w 3359086"/>
                <a:gd name="connsiteY20399" fmla="*/ 750760 h 3355086"/>
                <a:gd name="connsiteX20400" fmla="*/ 799147 w 3359086"/>
                <a:gd name="connsiteY20400" fmla="*/ 744569 h 3355086"/>
                <a:gd name="connsiteX20401" fmla="*/ 805338 w 3359086"/>
                <a:gd name="connsiteY20401" fmla="*/ 738378 h 3355086"/>
                <a:gd name="connsiteX20402" fmla="*/ 353662 w 3359086"/>
                <a:gd name="connsiteY20402" fmla="*/ 736187 h 3355086"/>
                <a:gd name="connsiteX20403" fmla="*/ 359853 w 3359086"/>
                <a:gd name="connsiteY20403" fmla="*/ 742378 h 3355086"/>
                <a:gd name="connsiteX20404" fmla="*/ 353662 w 3359086"/>
                <a:gd name="connsiteY20404" fmla="*/ 748570 h 3355086"/>
                <a:gd name="connsiteX20405" fmla="*/ 347471 w 3359086"/>
                <a:gd name="connsiteY20405" fmla="*/ 742378 h 3355086"/>
                <a:gd name="connsiteX20406" fmla="*/ 353662 w 3359086"/>
                <a:gd name="connsiteY20406" fmla="*/ 736187 h 3355086"/>
                <a:gd name="connsiteX20407" fmla="*/ 2195036 w 3359086"/>
                <a:gd name="connsiteY20407" fmla="*/ 732568 h 3355086"/>
                <a:gd name="connsiteX20408" fmla="*/ 2201228 w 3359086"/>
                <a:gd name="connsiteY20408" fmla="*/ 738759 h 3355086"/>
                <a:gd name="connsiteX20409" fmla="*/ 2195036 w 3359086"/>
                <a:gd name="connsiteY20409" fmla="*/ 744950 h 3355086"/>
                <a:gd name="connsiteX20410" fmla="*/ 2188845 w 3359086"/>
                <a:gd name="connsiteY20410" fmla="*/ 738759 h 3355086"/>
                <a:gd name="connsiteX20411" fmla="*/ 2195036 w 3359086"/>
                <a:gd name="connsiteY20411" fmla="*/ 732568 h 3355086"/>
                <a:gd name="connsiteX20412" fmla="*/ 540543 w 3359086"/>
                <a:gd name="connsiteY20412" fmla="*/ 731044 h 3355086"/>
                <a:gd name="connsiteX20413" fmla="*/ 546735 w 3359086"/>
                <a:gd name="connsiteY20413" fmla="*/ 737235 h 3355086"/>
                <a:gd name="connsiteX20414" fmla="*/ 540543 w 3359086"/>
                <a:gd name="connsiteY20414" fmla="*/ 743427 h 3355086"/>
                <a:gd name="connsiteX20415" fmla="*/ 534352 w 3359086"/>
                <a:gd name="connsiteY20415" fmla="*/ 737235 h 3355086"/>
                <a:gd name="connsiteX20416" fmla="*/ 540543 w 3359086"/>
                <a:gd name="connsiteY20416" fmla="*/ 731044 h 3355086"/>
                <a:gd name="connsiteX20417" fmla="*/ 2949892 w 3359086"/>
                <a:gd name="connsiteY20417" fmla="*/ 730758 h 3355086"/>
                <a:gd name="connsiteX20418" fmla="*/ 2956084 w 3359086"/>
                <a:gd name="connsiteY20418" fmla="*/ 736949 h 3355086"/>
                <a:gd name="connsiteX20419" fmla="*/ 2949892 w 3359086"/>
                <a:gd name="connsiteY20419" fmla="*/ 743141 h 3355086"/>
                <a:gd name="connsiteX20420" fmla="*/ 2943701 w 3359086"/>
                <a:gd name="connsiteY20420" fmla="*/ 736949 h 3355086"/>
                <a:gd name="connsiteX20421" fmla="*/ 2949892 w 3359086"/>
                <a:gd name="connsiteY20421" fmla="*/ 730758 h 3355086"/>
                <a:gd name="connsiteX20422" fmla="*/ 655891 w 3359086"/>
                <a:gd name="connsiteY20422" fmla="*/ 729806 h 3355086"/>
                <a:gd name="connsiteX20423" fmla="*/ 662083 w 3359086"/>
                <a:gd name="connsiteY20423" fmla="*/ 735997 h 3355086"/>
                <a:gd name="connsiteX20424" fmla="*/ 655891 w 3359086"/>
                <a:gd name="connsiteY20424" fmla="*/ 742189 h 3355086"/>
                <a:gd name="connsiteX20425" fmla="*/ 649700 w 3359086"/>
                <a:gd name="connsiteY20425" fmla="*/ 735997 h 3355086"/>
                <a:gd name="connsiteX20426" fmla="*/ 655891 w 3359086"/>
                <a:gd name="connsiteY20426" fmla="*/ 729806 h 3355086"/>
                <a:gd name="connsiteX20427" fmla="*/ 3040379 w 3359086"/>
                <a:gd name="connsiteY20427" fmla="*/ 728377 h 3355086"/>
                <a:gd name="connsiteX20428" fmla="*/ 3046571 w 3359086"/>
                <a:gd name="connsiteY20428" fmla="*/ 734568 h 3355086"/>
                <a:gd name="connsiteX20429" fmla="*/ 3040379 w 3359086"/>
                <a:gd name="connsiteY20429" fmla="*/ 740760 h 3355086"/>
                <a:gd name="connsiteX20430" fmla="*/ 3038760 w 3359086"/>
                <a:gd name="connsiteY20430" fmla="*/ 739141 h 3355086"/>
                <a:gd name="connsiteX20431" fmla="*/ 3033616 w 3359086"/>
                <a:gd name="connsiteY20431" fmla="*/ 744283 h 3355086"/>
                <a:gd name="connsiteX20432" fmla="*/ 3032188 w 3359086"/>
                <a:gd name="connsiteY20432" fmla="*/ 742855 h 3355086"/>
                <a:gd name="connsiteX20433" fmla="*/ 3028187 w 3359086"/>
                <a:gd name="connsiteY20433" fmla="*/ 746856 h 3355086"/>
                <a:gd name="connsiteX20434" fmla="*/ 3026806 w 3359086"/>
                <a:gd name="connsiteY20434" fmla="*/ 745475 h 3355086"/>
                <a:gd name="connsiteX20435" fmla="*/ 3023520 w 3359086"/>
                <a:gd name="connsiteY20435" fmla="*/ 748760 h 3355086"/>
                <a:gd name="connsiteX20436" fmla="*/ 3022139 w 3359086"/>
                <a:gd name="connsiteY20436" fmla="*/ 747379 h 3355086"/>
                <a:gd name="connsiteX20437" fmla="*/ 3019139 w 3359086"/>
                <a:gd name="connsiteY20437" fmla="*/ 750379 h 3355086"/>
                <a:gd name="connsiteX20438" fmla="*/ 3017615 w 3359086"/>
                <a:gd name="connsiteY20438" fmla="*/ 748855 h 3355086"/>
                <a:gd name="connsiteX20439" fmla="*/ 3014471 w 3359086"/>
                <a:gd name="connsiteY20439" fmla="*/ 751999 h 3355086"/>
                <a:gd name="connsiteX20440" fmla="*/ 3012709 w 3359086"/>
                <a:gd name="connsiteY20440" fmla="*/ 750237 h 3355086"/>
                <a:gd name="connsiteX20441" fmla="*/ 3008851 w 3359086"/>
                <a:gd name="connsiteY20441" fmla="*/ 754095 h 3355086"/>
                <a:gd name="connsiteX20442" fmla="*/ 3006708 w 3359086"/>
                <a:gd name="connsiteY20442" fmla="*/ 751952 h 3355086"/>
                <a:gd name="connsiteX20443" fmla="*/ 3001517 w 3359086"/>
                <a:gd name="connsiteY20443" fmla="*/ 757143 h 3355086"/>
                <a:gd name="connsiteX20444" fmla="*/ 2995326 w 3359086"/>
                <a:gd name="connsiteY20444" fmla="*/ 750951 h 3355086"/>
                <a:gd name="connsiteX20445" fmla="*/ 3001517 w 3359086"/>
                <a:gd name="connsiteY20445" fmla="*/ 744760 h 3355086"/>
                <a:gd name="connsiteX20446" fmla="*/ 3003660 w 3359086"/>
                <a:gd name="connsiteY20446" fmla="*/ 746903 h 3355086"/>
                <a:gd name="connsiteX20447" fmla="*/ 3008851 w 3359086"/>
                <a:gd name="connsiteY20447" fmla="*/ 741712 h 3355086"/>
                <a:gd name="connsiteX20448" fmla="*/ 3010613 w 3359086"/>
                <a:gd name="connsiteY20448" fmla="*/ 743474 h 3355086"/>
                <a:gd name="connsiteX20449" fmla="*/ 3014471 w 3359086"/>
                <a:gd name="connsiteY20449" fmla="*/ 739616 h 3355086"/>
                <a:gd name="connsiteX20450" fmla="*/ 3015996 w 3359086"/>
                <a:gd name="connsiteY20450" fmla="*/ 741141 h 3355086"/>
                <a:gd name="connsiteX20451" fmla="*/ 3019139 w 3359086"/>
                <a:gd name="connsiteY20451" fmla="*/ 737997 h 3355086"/>
                <a:gd name="connsiteX20452" fmla="*/ 3020520 w 3359086"/>
                <a:gd name="connsiteY20452" fmla="*/ 739378 h 3355086"/>
                <a:gd name="connsiteX20453" fmla="*/ 3023520 w 3359086"/>
                <a:gd name="connsiteY20453" fmla="*/ 736378 h 3355086"/>
                <a:gd name="connsiteX20454" fmla="*/ 3024901 w 3359086"/>
                <a:gd name="connsiteY20454" fmla="*/ 737759 h 3355086"/>
                <a:gd name="connsiteX20455" fmla="*/ 3028187 w 3359086"/>
                <a:gd name="connsiteY20455" fmla="*/ 734473 h 3355086"/>
                <a:gd name="connsiteX20456" fmla="*/ 3029616 w 3359086"/>
                <a:gd name="connsiteY20456" fmla="*/ 735902 h 3355086"/>
                <a:gd name="connsiteX20457" fmla="*/ 3033616 w 3359086"/>
                <a:gd name="connsiteY20457" fmla="*/ 731901 h 3355086"/>
                <a:gd name="connsiteX20458" fmla="*/ 3035236 w 3359086"/>
                <a:gd name="connsiteY20458" fmla="*/ 733521 h 3355086"/>
                <a:gd name="connsiteX20459" fmla="*/ 2490501 w 3359086"/>
                <a:gd name="connsiteY20459" fmla="*/ 727520 h 3355086"/>
                <a:gd name="connsiteX20460" fmla="*/ 2496692 w 3359086"/>
                <a:gd name="connsiteY20460" fmla="*/ 733711 h 3355086"/>
                <a:gd name="connsiteX20461" fmla="*/ 2490501 w 3359086"/>
                <a:gd name="connsiteY20461" fmla="*/ 739902 h 3355086"/>
                <a:gd name="connsiteX20462" fmla="*/ 2484310 w 3359086"/>
                <a:gd name="connsiteY20462" fmla="*/ 733711 h 3355086"/>
                <a:gd name="connsiteX20463" fmla="*/ 2490501 w 3359086"/>
                <a:gd name="connsiteY20463" fmla="*/ 727520 h 3355086"/>
                <a:gd name="connsiteX20464" fmla="*/ 2859595 w 3359086"/>
                <a:gd name="connsiteY20464" fmla="*/ 727043 h 3355086"/>
                <a:gd name="connsiteX20465" fmla="*/ 2865786 w 3359086"/>
                <a:gd name="connsiteY20465" fmla="*/ 733234 h 3355086"/>
                <a:gd name="connsiteX20466" fmla="*/ 2859595 w 3359086"/>
                <a:gd name="connsiteY20466" fmla="*/ 739426 h 3355086"/>
                <a:gd name="connsiteX20467" fmla="*/ 2853404 w 3359086"/>
                <a:gd name="connsiteY20467" fmla="*/ 733234 h 3355086"/>
                <a:gd name="connsiteX20468" fmla="*/ 2859595 w 3359086"/>
                <a:gd name="connsiteY20468" fmla="*/ 727043 h 3355086"/>
                <a:gd name="connsiteX20469" fmla="*/ 422624 w 3359086"/>
                <a:gd name="connsiteY20469" fmla="*/ 726186 h 3355086"/>
                <a:gd name="connsiteX20470" fmla="*/ 428815 w 3359086"/>
                <a:gd name="connsiteY20470" fmla="*/ 732377 h 3355086"/>
                <a:gd name="connsiteX20471" fmla="*/ 422624 w 3359086"/>
                <a:gd name="connsiteY20471" fmla="*/ 738568 h 3355086"/>
                <a:gd name="connsiteX20472" fmla="*/ 416433 w 3359086"/>
                <a:gd name="connsiteY20472" fmla="*/ 732377 h 3355086"/>
                <a:gd name="connsiteX20473" fmla="*/ 422624 w 3359086"/>
                <a:gd name="connsiteY20473" fmla="*/ 726186 h 3355086"/>
                <a:gd name="connsiteX20474" fmla="*/ 2966465 w 3359086"/>
                <a:gd name="connsiteY20474" fmla="*/ 724472 h 3355086"/>
                <a:gd name="connsiteX20475" fmla="*/ 2972656 w 3359086"/>
                <a:gd name="connsiteY20475" fmla="*/ 730663 h 3355086"/>
                <a:gd name="connsiteX20476" fmla="*/ 2966465 w 3359086"/>
                <a:gd name="connsiteY20476" fmla="*/ 736854 h 3355086"/>
                <a:gd name="connsiteX20477" fmla="*/ 2960274 w 3359086"/>
                <a:gd name="connsiteY20477" fmla="*/ 730663 h 3355086"/>
                <a:gd name="connsiteX20478" fmla="*/ 2966465 w 3359086"/>
                <a:gd name="connsiteY20478" fmla="*/ 724472 h 3355086"/>
                <a:gd name="connsiteX20479" fmla="*/ 1192148 w 3359086"/>
                <a:gd name="connsiteY20479" fmla="*/ 723710 h 3355086"/>
                <a:gd name="connsiteX20480" fmla="*/ 1198339 w 3359086"/>
                <a:gd name="connsiteY20480" fmla="*/ 729901 h 3355086"/>
                <a:gd name="connsiteX20481" fmla="*/ 1192148 w 3359086"/>
                <a:gd name="connsiteY20481" fmla="*/ 736092 h 3355086"/>
                <a:gd name="connsiteX20482" fmla="*/ 1185957 w 3359086"/>
                <a:gd name="connsiteY20482" fmla="*/ 729901 h 3355086"/>
                <a:gd name="connsiteX20483" fmla="*/ 1192148 w 3359086"/>
                <a:gd name="connsiteY20483" fmla="*/ 723710 h 3355086"/>
                <a:gd name="connsiteX20484" fmla="*/ 3048761 w 3359086"/>
                <a:gd name="connsiteY20484" fmla="*/ 723614 h 3355086"/>
                <a:gd name="connsiteX20485" fmla="*/ 3054953 w 3359086"/>
                <a:gd name="connsiteY20485" fmla="*/ 729805 h 3355086"/>
                <a:gd name="connsiteX20486" fmla="*/ 3048761 w 3359086"/>
                <a:gd name="connsiteY20486" fmla="*/ 735997 h 3355086"/>
                <a:gd name="connsiteX20487" fmla="*/ 3042570 w 3359086"/>
                <a:gd name="connsiteY20487" fmla="*/ 729805 h 3355086"/>
                <a:gd name="connsiteX20488" fmla="*/ 3048761 w 3359086"/>
                <a:gd name="connsiteY20488" fmla="*/ 723614 h 3355086"/>
                <a:gd name="connsiteX20489" fmla="*/ 3058953 w 3359086"/>
                <a:gd name="connsiteY20489" fmla="*/ 722472 h 3355086"/>
                <a:gd name="connsiteX20490" fmla="*/ 3060191 w 3359086"/>
                <a:gd name="connsiteY20490" fmla="*/ 723710 h 3355086"/>
                <a:gd name="connsiteX20491" fmla="*/ 3058953 w 3359086"/>
                <a:gd name="connsiteY20491" fmla="*/ 724948 h 3355086"/>
                <a:gd name="connsiteX20492" fmla="*/ 3057715 w 3359086"/>
                <a:gd name="connsiteY20492" fmla="*/ 723710 h 3355086"/>
                <a:gd name="connsiteX20493" fmla="*/ 3058953 w 3359086"/>
                <a:gd name="connsiteY20493" fmla="*/ 722472 h 3355086"/>
                <a:gd name="connsiteX20494" fmla="*/ 300419 w 3359086"/>
                <a:gd name="connsiteY20494" fmla="*/ 721900 h 3355086"/>
                <a:gd name="connsiteX20495" fmla="*/ 303942 w 3359086"/>
                <a:gd name="connsiteY20495" fmla="*/ 725424 h 3355086"/>
                <a:gd name="connsiteX20496" fmla="*/ 307085 w 3359086"/>
                <a:gd name="connsiteY20496" fmla="*/ 722281 h 3355086"/>
                <a:gd name="connsiteX20497" fmla="*/ 310800 w 3359086"/>
                <a:gd name="connsiteY20497" fmla="*/ 725996 h 3355086"/>
                <a:gd name="connsiteX20498" fmla="*/ 312610 w 3359086"/>
                <a:gd name="connsiteY20498" fmla="*/ 724186 h 3355086"/>
                <a:gd name="connsiteX20499" fmla="*/ 315754 w 3359086"/>
                <a:gd name="connsiteY20499" fmla="*/ 727329 h 3355086"/>
                <a:gd name="connsiteX20500" fmla="*/ 317563 w 3359086"/>
                <a:gd name="connsiteY20500" fmla="*/ 725520 h 3355086"/>
                <a:gd name="connsiteX20501" fmla="*/ 320468 w 3359086"/>
                <a:gd name="connsiteY20501" fmla="*/ 728425 h 3355086"/>
                <a:gd name="connsiteX20502" fmla="*/ 322325 w 3359086"/>
                <a:gd name="connsiteY20502" fmla="*/ 726567 h 3355086"/>
                <a:gd name="connsiteX20503" fmla="*/ 325469 w 3359086"/>
                <a:gd name="connsiteY20503" fmla="*/ 729710 h 3355086"/>
                <a:gd name="connsiteX20504" fmla="*/ 327564 w 3359086"/>
                <a:gd name="connsiteY20504" fmla="*/ 727615 h 3355086"/>
                <a:gd name="connsiteX20505" fmla="*/ 331612 w 3359086"/>
                <a:gd name="connsiteY20505" fmla="*/ 731663 h 3355086"/>
                <a:gd name="connsiteX20506" fmla="*/ 334041 w 3359086"/>
                <a:gd name="connsiteY20506" fmla="*/ 729234 h 3355086"/>
                <a:gd name="connsiteX20507" fmla="*/ 339566 w 3359086"/>
                <a:gd name="connsiteY20507" fmla="*/ 734758 h 3355086"/>
                <a:gd name="connsiteX20508" fmla="*/ 342423 w 3359086"/>
                <a:gd name="connsiteY20508" fmla="*/ 731901 h 3355086"/>
                <a:gd name="connsiteX20509" fmla="*/ 348614 w 3359086"/>
                <a:gd name="connsiteY20509" fmla="*/ 738092 h 3355086"/>
                <a:gd name="connsiteX20510" fmla="*/ 342423 w 3359086"/>
                <a:gd name="connsiteY20510" fmla="*/ 744283 h 3355086"/>
                <a:gd name="connsiteX20511" fmla="*/ 336899 w 3359086"/>
                <a:gd name="connsiteY20511" fmla="*/ 738759 h 3355086"/>
                <a:gd name="connsiteX20512" fmla="*/ 334041 w 3359086"/>
                <a:gd name="connsiteY20512" fmla="*/ 741616 h 3355086"/>
                <a:gd name="connsiteX20513" fmla="*/ 329993 w 3359086"/>
                <a:gd name="connsiteY20513" fmla="*/ 737569 h 3355086"/>
                <a:gd name="connsiteX20514" fmla="*/ 327564 w 3359086"/>
                <a:gd name="connsiteY20514" fmla="*/ 739998 h 3355086"/>
                <a:gd name="connsiteX20515" fmla="*/ 324421 w 3359086"/>
                <a:gd name="connsiteY20515" fmla="*/ 736854 h 3355086"/>
                <a:gd name="connsiteX20516" fmla="*/ 322325 w 3359086"/>
                <a:gd name="connsiteY20516" fmla="*/ 738950 h 3355086"/>
                <a:gd name="connsiteX20517" fmla="*/ 319420 w 3359086"/>
                <a:gd name="connsiteY20517" fmla="*/ 736045 h 3355086"/>
                <a:gd name="connsiteX20518" fmla="*/ 317563 w 3359086"/>
                <a:gd name="connsiteY20518" fmla="*/ 737902 h 3355086"/>
                <a:gd name="connsiteX20519" fmla="*/ 314420 w 3359086"/>
                <a:gd name="connsiteY20519" fmla="*/ 734759 h 3355086"/>
                <a:gd name="connsiteX20520" fmla="*/ 312610 w 3359086"/>
                <a:gd name="connsiteY20520" fmla="*/ 736569 h 3355086"/>
                <a:gd name="connsiteX20521" fmla="*/ 308895 w 3359086"/>
                <a:gd name="connsiteY20521" fmla="*/ 732854 h 3355086"/>
                <a:gd name="connsiteX20522" fmla="*/ 307085 w 3359086"/>
                <a:gd name="connsiteY20522" fmla="*/ 734664 h 3355086"/>
                <a:gd name="connsiteX20523" fmla="*/ 300990 w 3359086"/>
                <a:gd name="connsiteY20523" fmla="*/ 728568 h 3355086"/>
                <a:gd name="connsiteX20524" fmla="*/ 300419 w 3359086"/>
                <a:gd name="connsiteY20524" fmla="*/ 729139 h 3355086"/>
                <a:gd name="connsiteX20525" fmla="*/ 296799 w 3359086"/>
                <a:gd name="connsiteY20525" fmla="*/ 725520 h 3355086"/>
                <a:gd name="connsiteX20526" fmla="*/ 300419 w 3359086"/>
                <a:gd name="connsiteY20526" fmla="*/ 721900 h 3355086"/>
                <a:gd name="connsiteX20527" fmla="*/ 2767583 w 3359086"/>
                <a:gd name="connsiteY20527" fmla="*/ 718947 h 3355086"/>
                <a:gd name="connsiteX20528" fmla="*/ 2773774 w 3359086"/>
                <a:gd name="connsiteY20528" fmla="*/ 725138 h 3355086"/>
                <a:gd name="connsiteX20529" fmla="*/ 2767583 w 3359086"/>
                <a:gd name="connsiteY20529" fmla="*/ 731329 h 3355086"/>
                <a:gd name="connsiteX20530" fmla="*/ 2761392 w 3359086"/>
                <a:gd name="connsiteY20530" fmla="*/ 725138 h 3355086"/>
                <a:gd name="connsiteX20531" fmla="*/ 2767583 w 3359086"/>
                <a:gd name="connsiteY20531" fmla="*/ 718947 h 3355086"/>
                <a:gd name="connsiteX20532" fmla="*/ 2646616 w 3359086"/>
                <a:gd name="connsiteY20532" fmla="*/ 718090 h 3355086"/>
                <a:gd name="connsiteX20533" fmla="*/ 2652808 w 3359086"/>
                <a:gd name="connsiteY20533" fmla="*/ 724281 h 3355086"/>
                <a:gd name="connsiteX20534" fmla="*/ 2646616 w 3359086"/>
                <a:gd name="connsiteY20534" fmla="*/ 730473 h 3355086"/>
                <a:gd name="connsiteX20535" fmla="*/ 2640425 w 3359086"/>
                <a:gd name="connsiteY20535" fmla="*/ 724281 h 3355086"/>
                <a:gd name="connsiteX20536" fmla="*/ 2646616 w 3359086"/>
                <a:gd name="connsiteY20536" fmla="*/ 718090 h 3355086"/>
                <a:gd name="connsiteX20537" fmla="*/ 398621 w 3359086"/>
                <a:gd name="connsiteY20537" fmla="*/ 716947 h 3355086"/>
                <a:gd name="connsiteX20538" fmla="*/ 404812 w 3359086"/>
                <a:gd name="connsiteY20538" fmla="*/ 723138 h 3355086"/>
                <a:gd name="connsiteX20539" fmla="*/ 398621 w 3359086"/>
                <a:gd name="connsiteY20539" fmla="*/ 729329 h 3355086"/>
                <a:gd name="connsiteX20540" fmla="*/ 392430 w 3359086"/>
                <a:gd name="connsiteY20540" fmla="*/ 723138 h 3355086"/>
                <a:gd name="connsiteX20541" fmla="*/ 398621 w 3359086"/>
                <a:gd name="connsiteY20541" fmla="*/ 716947 h 3355086"/>
                <a:gd name="connsiteX20542" fmla="*/ 2091213 w 3359086"/>
                <a:gd name="connsiteY20542" fmla="*/ 716661 h 3355086"/>
                <a:gd name="connsiteX20543" fmla="*/ 2097405 w 3359086"/>
                <a:gd name="connsiteY20543" fmla="*/ 722852 h 3355086"/>
                <a:gd name="connsiteX20544" fmla="*/ 2091213 w 3359086"/>
                <a:gd name="connsiteY20544" fmla="*/ 729043 h 3355086"/>
                <a:gd name="connsiteX20545" fmla="*/ 2085022 w 3359086"/>
                <a:gd name="connsiteY20545" fmla="*/ 722852 h 3355086"/>
                <a:gd name="connsiteX20546" fmla="*/ 2091213 w 3359086"/>
                <a:gd name="connsiteY20546" fmla="*/ 716661 h 3355086"/>
                <a:gd name="connsiteX20547" fmla="*/ 885062 w 3359086"/>
                <a:gd name="connsiteY20547" fmla="*/ 715328 h 3355086"/>
                <a:gd name="connsiteX20548" fmla="*/ 891254 w 3359086"/>
                <a:gd name="connsiteY20548" fmla="*/ 721519 h 3355086"/>
                <a:gd name="connsiteX20549" fmla="*/ 885062 w 3359086"/>
                <a:gd name="connsiteY20549" fmla="*/ 727711 h 3355086"/>
                <a:gd name="connsiteX20550" fmla="*/ 878871 w 3359086"/>
                <a:gd name="connsiteY20550" fmla="*/ 721519 h 3355086"/>
                <a:gd name="connsiteX20551" fmla="*/ 885062 w 3359086"/>
                <a:gd name="connsiteY20551" fmla="*/ 715328 h 3355086"/>
                <a:gd name="connsiteX20552" fmla="*/ 2892647 w 3359086"/>
                <a:gd name="connsiteY20552" fmla="*/ 713899 h 3355086"/>
                <a:gd name="connsiteX20553" fmla="*/ 2898838 w 3359086"/>
                <a:gd name="connsiteY20553" fmla="*/ 720090 h 3355086"/>
                <a:gd name="connsiteX20554" fmla="*/ 2892647 w 3359086"/>
                <a:gd name="connsiteY20554" fmla="*/ 726281 h 3355086"/>
                <a:gd name="connsiteX20555" fmla="*/ 2886456 w 3359086"/>
                <a:gd name="connsiteY20555" fmla="*/ 720090 h 3355086"/>
                <a:gd name="connsiteX20556" fmla="*/ 2892647 w 3359086"/>
                <a:gd name="connsiteY20556" fmla="*/ 713899 h 3355086"/>
                <a:gd name="connsiteX20557" fmla="*/ 495776 w 3359086"/>
                <a:gd name="connsiteY20557" fmla="*/ 712851 h 3355086"/>
                <a:gd name="connsiteX20558" fmla="*/ 501967 w 3359086"/>
                <a:gd name="connsiteY20558" fmla="*/ 719042 h 3355086"/>
                <a:gd name="connsiteX20559" fmla="*/ 495776 w 3359086"/>
                <a:gd name="connsiteY20559" fmla="*/ 725233 h 3355086"/>
                <a:gd name="connsiteX20560" fmla="*/ 489585 w 3359086"/>
                <a:gd name="connsiteY20560" fmla="*/ 719042 h 3355086"/>
                <a:gd name="connsiteX20561" fmla="*/ 495776 w 3359086"/>
                <a:gd name="connsiteY20561" fmla="*/ 712851 h 3355086"/>
                <a:gd name="connsiteX20562" fmla="*/ 380237 w 3359086"/>
                <a:gd name="connsiteY20562" fmla="*/ 710946 h 3355086"/>
                <a:gd name="connsiteX20563" fmla="*/ 386428 w 3359086"/>
                <a:gd name="connsiteY20563" fmla="*/ 717137 h 3355086"/>
                <a:gd name="connsiteX20564" fmla="*/ 380237 w 3359086"/>
                <a:gd name="connsiteY20564" fmla="*/ 723329 h 3355086"/>
                <a:gd name="connsiteX20565" fmla="*/ 374046 w 3359086"/>
                <a:gd name="connsiteY20565" fmla="*/ 717137 h 3355086"/>
                <a:gd name="connsiteX20566" fmla="*/ 380237 w 3359086"/>
                <a:gd name="connsiteY20566" fmla="*/ 710946 h 3355086"/>
                <a:gd name="connsiteX20567" fmla="*/ 1298542 w 3359086"/>
                <a:gd name="connsiteY20567" fmla="*/ 709327 h 3355086"/>
                <a:gd name="connsiteX20568" fmla="*/ 1304734 w 3359086"/>
                <a:gd name="connsiteY20568" fmla="*/ 715518 h 3355086"/>
                <a:gd name="connsiteX20569" fmla="*/ 1298542 w 3359086"/>
                <a:gd name="connsiteY20569" fmla="*/ 721710 h 3355086"/>
                <a:gd name="connsiteX20570" fmla="*/ 1292351 w 3359086"/>
                <a:gd name="connsiteY20570" fmla="*/ 715518 h 3355086"/>
                <a:gd name="connsiteX20571" fmla="*/ 1298542 w 3359086"/>
                <a:gd name="connsiteY20571" fmla="*/ 709327 h 3355086"/>
                <a:gd name="connsiteX20572" fmla="*/ 3032283 w 3359086"/>
                <a:gd name="connsiteY20572" fmla="*/ 707993 h 3355086"/>
                <a:gd name="connsiteX20573" fmla="*/ 3038474 w 3359086"/>
                <a:gd name="connsiteY20573" fmla="*/ 714184 h 3355086"/>
                <a:gd name="connsiteX20574" fmla="*/ 3032283 w 3359086"/>
                <a:gd name="connsiteY20574" fmla="*/ 720376 h 3355086"/>
                <a:gd name="connsiteX20575" fmla="*/ 3029997 w 3359086"/>
                <a:gd name="connsiteY20575" fmla="*/ 718090 h 3355086"/>
                <a:gd name="connsiteX20576" fmla="*/ 3024187 w 3359086"/>
                <a:gd name="connsiteY20576" fmla="*/ 723900 h 3355086"/>
                <a:gd name="connsiteX20577" fmla="*/ 3021996 w 3359086"/>
                <a:gd name="connsiteY20577" fmla="*/ 721710 h 3355086"/>
                <a:gd name="connsiteX20578" fmla="*/ 3017519 w 3359086"/>
                <a:gd name="connsiteY20578" fmla="*/ 726187 h 3355086"/>
                <a:gd name="connsiteX20579" fmla="*/ 3015375 w 3359086"/>
                <a:gd name="connsiteY20579" fmla="*/ 724043 h 3355086"/>
                <a:gd name="connsiteX20580" fmla="*/ 3011899 w 3359086"/>
                <a:gd name="connsiteY20580" fmla="*/ 727520 h 3355086"/>
                <a:gd name="connsiteX20581" fmla="*/ 3009661 w 3359086"/>
                <a:gd name="connsiteY20581" fmla="*/ 725282 h 3355086"/>
                <a:gd name="connsiteX20582" fmla="*/ 3006661 w 3359086"/>
                <a:gd name="connsiteY20582" fmla="*/ 728281 h 3355086"/>
                <a:gd name="connsiteX20583" fmla="*/ 3004327 w 3359086"/>
                <a:gd name="connsiteY20583" fmla="*/ 725948 h 3355086"/>
                <a:gd name="connsiteX20584" fmla="*/ 3001517 w 3359086"/>
                <a:gd name="connsiteY20584" fmla="*/ 728758 h 3355086"/>
                <a:gd name="connsiteX20585" fmla="*/ 2998898 w 3359086"/>
                <a:gd name="connsiteY20585" fmla="*/ 726139 h 3355086"/>
                <a:gd name="connsiteX20586" fmla="*/ 2995612 w 3359086"/>
                <a:gd name="connsiteY20586" fmla="*/ 729425 h 3355086"/>
                <a:gd name="connsiteX20587" fmla="*/ 2992612 w 3359086"/>
                <a:gd name="connsiteY20587" fmla="*/ 726425 h 3355086"/>
                <a:gd name="connsiteX20588" fmla="*/ 2988373 w 3359086"/>
                <a:gd name="connsiteY20588" fmla="*/ 730663 h 3355086"/>
                <a:gd name="connsiteX20589" fmla="*/ 2984801 w 3359086"/>
                <a:gd name="connsiteY20589" fmla="*/ 727091 h 3355086"/>
                <a:gd name="connsiteX20590" fmla="*/ 2978943 w 3359086"/>
                <a:gd name="connsiteY20590" fmla="*/ 732949 h 3355086"/>
                <a:gd name="connsiteX20591" fmla="*/ 2972752 w 3359086"/>
                <a:gd name="connsiteY20591" fmla="*/ 726757 h 3355086"/>
                <a:gd name="connsiteX20592" fmla="*/ 2978943 w 3359086"/>
                <a:gd name="connsiteY20592" fmla="*/ 720566 h 3355086"/>
                <a:gd name="connsiteX20593" fmla="*/ 2982515 w 3359086"/>
                <a:gd name="connsiteY20593" fmla="*/ 724139 h 3355086"/>
                <a:gd name="connsiteX20594" fmla="*/ 2988373 w 3359086"/>
                <a:gd name="connsiteY20594" fmla="*/ 718281 h 3355086"/>
                <a:gd name="connsiteX20595" fmla="*/ 2991373 w 3359086"/>
                <a:gd name="connsiteY20595" fmla="*/ 721281 h 3355086"/>
                <a:gd name="connsiteX20596" fmla="*/ 2995612 w 3359086"/>
                <a:gd name="connsiteY20596" fmla="*/ 717042 h 3355086"/>
                <a:gd name="connsiteX20597" fmla="*/ 2998231 w 3359086"/>
                <a:gd name="connsiteY20597" fmla="*/ 719661 h 3355086"/>
                <a:gd name="connsiteX20598" fmla="*/ 3001517 w 3359086"/>
                <a:gd name="connsiteY20598" fmla="*/ 716375 h 3355086"/>
                <a:gd name="connsiteX20599" fmla="*/ 3003851 w 3359086"/>
                <a:gd name="connsiteY20599" fmla="*/ 718709 h 3355086"/>
                <a:gd name="connsiteX20600" fmla="*/ 3006661 w 3359086"/>
                <a:gd name="connsiteY20600" fmla="*/ 715899 h 3355086"/>
                <a:gd name="connsiteX20601" fmla="*/ 3008899 w 3359086"/>
                <a:gd name="connsiteY20601" fmla="*/ 718137 h 3355086"/>
                <a:gd name="connsiteX20602" fmla="*/ 3011899 w 3359086"/>
                <a:gd name="connsiteY20602" fmla="*/ 715137 h 3355086"/>
                <a:gd name="connsiteX20603" fmla="*/ 3014043 w 3359086"/>
                <a:gd name="connsiteY20603" fmla="*/ 717281 h 3355086"/>
                <a:gd name="connsiteX20604" fmla="*/ 3017519 w 3359086"/>
                <a:gd name="connsiteY20604" fmla="*/ 713804 h 3355086"/>
                <a:gd name="connsiteX20605" fmla="*/ 3019710 w 3359086"/>
                <a:gd name="connsiteY20605" fmla="*/ 715995 h 3355086"/>
                <a:gd name="connsiteX20606" fmla="*/ 3024187 w 3359086"/>
                <a:gd name="connsiteY20606" fmla="*/ 711518 h 3355086"/>
                <a:gd name="connsiteX20607" fmla="*/ 3026473 w 3359086"/>
                <a:gd name="connsiteY20607" fmla="*/ 713804 h 3355086"/>
                <a:gd name="connsiteX20608" fmla="*/ 366140 w 3359086"/>
                <a:gd name="connsiteY20608" fmla="*/ 707231 h 3355086"/>
                <a:gd name="connsiteX20609" fmla="*/ 372331 w 3359086"/>
                <a:gd name="connsiteY20609" fmla="*/ 713422 h 3355086"/>
                <a:gd name="connsiteX20610" fmla="*/ 366140 w 3359086"/>
                <a:gd name="connsiteY20610" fmla="*/ 719614 h 3355086"/>
                <a:gd name="connsiteX20611" fmla="*/ 359949 w 3359086"/>
                <a:gd name="connsiteY20611" fmla="*/ 713422 h 3355086"/>
                <a:gd name="connsiteX20612" fmla="*/ 366140 w 3359086"/>
                <a:gd name="connsiteY20612" fmla="*/ 707231 h 3355086"/>
                <a:gd name="connsiteX20613" fmla="*/ 2408110 w 3359086"/>
                <a:gd name="connsiteY20613" fmla="*/ 704946 h 3355086"/>
                <a:gd name="connsiteX20614" fmla="*/ 2414302 w 3359086"/>
                <a:gd name="connsiteY20614" fmla="*/ 711137 h 3355086"/>
                <a:gd name="connsiteX20615" fmla="*/ 2408110 w 3359086"/>
                <a:gd name="connsiteY20615" fmla="*/ 717329 h 3355086"/>
                <a:gd name="connsiteX20616" fmla="*/ 2401919 w 3359086"/>
                <a:gd name="connsiteY20616" fmla="*/ 711137 h 3355086"/>
                <a:gd name="connsiteX20617" fmla="*/ 2408110 w 3359086"/>
                <a:gd name="connsiteY20617" fmla="*/ 704946 h 3355086"/>
                <a:gd name="connsiteX20618" fmla="*/ 593407 w 3359086"/>
                <a:gd name="connsiteY20618" fmla="*/ 704946 h 3355086"/>
                <a:gd name="connsiteX20619" fmla="*/ 599598 w 3359086"/>
                <a:gd name="connsiteY20619" fmla="*/ 711137 h 3355086"/>
                <a:gd name="connsiteX20620" fmla="*/ 593407 w 3359086"/>
                <a:gd name="connsiteY20620" fmla="*/ 717329 h 3355086"/>
                <a:gd name="connsiteX20621" fmla="*/ 587216 w 3359086"/>
                <a:gd name="connsiteY20621" fmla="*/ 711137 h 3355086"/>
                <a:gd name="connsiteX20622" fmla="*/ 593407 w 3359086"/>
                <a:gd name="connsiteY20622" fmla="*/ 704946 h 3355086"/>
                <a:gd name="connsiteX20623" fmla="*/ 2918650 w 3359086"/>
                <a:gd name="connsiteY20623" fmla="*/ 704850 h 3355086"/>
                <a:gd name="connsiteX20624" fmla="*/ 2924842 w 3359086"/>
                <a:gd name="connsiteY20624" fmla="*/ 711041 h 3355086"/>
                <a:gd name="connsiteX20625" fmla="*/ 2918650 w 3359086"/>
                <a:gd name="connsiteY20625" fmla="*/ 717233 h 3355086"/>
                <a:gd name="connsiteX20626" fmla="*/ 2912459 w 3359086"/>
                <a:gd name="connsiteY20626" fmla="*/ 711041 h 3355086"/>
                <a:gd name="connsiteX20627" fmla="*/ 2918650 w 3359086"/>
                <a:gd name="connsiteY20627" fmla="*/ 704850 h 3355086"/>
                <a:gd name="connsiteX20628" fmla="*/ 721232 w 3359086"/>
                <a:gd name="connsiteY20628" fmla="*/ 704660 h 3355086"/>
                <a:gd name="connsiteX20629" fmla="*/ 727424 w 3359086"/>
                <a:gd name="connsiteY20629" fmla="*/ 710851 h 3355086"/>
                <a:gd name="connsiteX20630" fmla="*/ 721232 w 3359086"/>
                <a:gd name="connsiteY20630" fmla="*/ 717042 h 3355086"/>
                <a:gd name="connsiteX20631" fmla="*/ 715041 w 3359086"/>
                <a:gd name="connsiteY20631" fmla="*/ 710851 h 3355086"/>
                <a:gd name="connsiteX20632" fmla="*/ 721232 w 3359086"/>
                <a:gd name="connsiteY20632" fmla="*/ 704660 h 3355086"/>
                <a:gd name="connsiteX20633" fmla="*/ 1982628 w 3359086"/>
                <a:gd name="connsiteY20633" fmla="*/ 703707 h 3355086"/>
                <a:gd name="connsiteX20634" fmla="*/ 1988820 w 3359086"/>
                <a:gd name="connsiteY20634" fmla="*/ 709898 h 3355086"/>
                <a:gd name="connsiteX20635" fmla="*/ 1982628 w 3359086"/>
                <a:gd name="connsiteY20635" fmla="*/ 716089 h 3355086"/>
                <a:gd name="connsiteX20636" fmla="*/ 1976437 w 3359086"/>
                <a:gd name="connsiteY20636" fmla="*/ 709898 h 3355086"/>
                <a:gd name="connsiteX20637" fmla="*/ 1982628 w 3359086"/>
                <a:gd name="connsiteY20637" fmla="*/ 703707 h 3355086"/>
                <a:gd name="connsiteX20638" fmla="*/ 3042094 w 3359086"/>
                <a:gd name="connsiteY20638" fmla="*/ 703421 h 3355086"/>
                <a:gd name="connsiteX20639" fmla="*/ 3048095 w 3359086"/>
                <a:gd name="connsiteY20639" fmla="*/ 709422 h 3355086"/>
                <a:gd name="connsiteX20640" fmla="*/ 3042094 w 3359086"/>
                <a:gd name="connsiteY20640" fmla="*/ 715423 h 3355086"/>
                <a:gd name="connsiteX20641" fmla="*/ 3036093 w 3359086"/>
                <a:gd name="connsiteY20641" fmla="*/ 709422 h 3355086"/>
                <a:gd name="connsiteX20642" fmla="*/ 3042094 w 3359086"/>
                <a:gd name="connsiteY20642" fmla="*/ 703421 h 3355086"/>
                <a:gd name="connsiteX20643" fmla="*/ 316801 w 3359086"/>
                <a:gd name="connsiteY20643" fmla="*/ 702183 h 3355086"/>
                <a:gd name="connsiteX20644" fmla="*/ 320944 w 3359086"/>
                <a:gd name="connsiteY20644" fmla="*/ 706326 h 3355086"/>
                <a:gd name="connsiteX20645" fmla="*/ 323468 w 3359086"/>
                <a:gd name="connsiteY20645" fmla="*/ 703802 h 3355086"/>
                <a:gd name="connsiteX20646" fmla="*/ 326802 w 3359086"/>
                <a:gd name="connsiteY20646" fmla="*/ 707136 h 3355086"/>
                <a:gd name="connsiteX20647" fmla="*/ 329374 w 3359086"/>
                <a:gd name="connsiteY20647" fmla="*/ 704564 h 3355086"/>
                <a:gd name="connsiteX20648" fmla="*/ 332184 w 3359086"/>
                <a:gd name="connsiteY20648" fmla="*/ 707374 h 3355086"/>
                <a:gd name="connsiteX20649" fmla="*/ 334898 w 3359086"/>
                <a:gd name="connsiteY20649" fmla="*/ 704660 h 3355086"/>
                <a:gd name="connsiteX20650" fmla="*/ 337708 w 3359086"/>
                <a:gd name="connsiteY20650" fmla="*/ 707470 h 3355086"/>
                <a:gd name="connsiteX20651" fmla="*/ 340613 w 3359086"/>
                <a:gd name="connsiteY20651" fmla="*/ 704564 h 3355086"/>
                <a:gd name="connsiteX20652" fmla="*/ 343947 w 3359086"/>
                <a:gd name="connsiteY20652" fmla="*/ 707898 h 3355086"/>
                <a:gd name="connsiteX20653" fmla="*/ 347185 w 3359086"/>
                <a:gd name="connsiteY20653" fmla="*/ 704660 h 3355086"/>
                <a:gd name="connsiteX20654" fmla="*/ 351709 w 3359086"/>
                <a:gd name="connsiteY20654" fmla="*/ 709185 h 3355086"/>
                <a:gd name="connsiteX20655" fmla="*/ 355472 w 3359086"/>
                <a:gd name="connsiteY20655" fmla="*/ 705422 h 3355086"/>
                <a:gd name="connsiteX20656" fmla="*/ 361664 w 3359086"/>
                <a:gd name="connsiteY20656" fmla="*/ 711613 h 3355086"/>
                <a:gd name="connsiteX20657" fmla="*/ 355472 w 3359086"/>
                <a:gd name="connsiteY20657" fmla="*/ 717804 h 3355086"/>
                <a:gd name="connsiteX20658" fmla="*/ 350947 w 3359086"/>
                <a:gd name="connsiteY20658" fmla="*/ 713280 h 3355086"/>
                <a:gd name="connsiteX20659" fmla="*/ 347185 w 3359086"/>
                <a:gd name="connsiteY20659" fmla="*/ 717042 h 3355086"/>
                <a:gd name="connsiteX20660" fmla="*/ 343851 w 3359086"/>
                <a:gd name="connsiteY20660" fmla="*/ 713708 h 3355086"/>
                <a:gd name="connsiteX20661" fmla="*/ 340613 w 3359086"/>
                <a:gd name="connsiteY20661" fmla="*/ 716947 h 3355086"/>
                <a:gd name="connsiteX20662" fmla="*/ 337803 w 3359086"/>
                <a:gd name="connsiteY20662" fmla="*/ 714137 h 3355086"/>
                <a:gd name="connsiteX20663" fmla="*/ 334898 w 3359086"/>
                <a:gd name="connsiteY20663" fmla="*/ 717042 h 3355086"/>
                <a:gd name="connsiteX20664" fmla="*/ 332088 w 3359086"/>
                <a:gd name="connsiteY20664" fmla="*/ 714233 h 3355086"/>
                <a:gd name="connsiteX20665" fmla="*/ 329374 w 3359086"/>
                <a:gd name="connsiteY20665" fmla="*/ 716947 h 3355086"/>
                <a:gd name="connsiteX20666" fmla="*/ 326040 w 3359086"/>
                <a:gd name="connsiteY20666" fmla="*/ 713613 h 3355086"/>
                <a:gd name="connsiteX20667" fmla="*/ 323468 w 3359086"/>
                <a:gd name="connsiteY20667" fmla="*/ 716185 h 3355086"/>
                <a:gd name="connsiteX20668" fmla="*/ 319325 w 3359086"/>
                <a:gd name="connsiteY20668" fmla="*/ 712042 h 3355086"/>
                <a:gd name="connsiteX20669" fmla="*/ 316801 w 3359086"/>
                <a:gd name="connsiteY20669" fmla="*/ 714566 h 3355086"/>
                <a:gd name="connsiteX20670" fmla="*/ 310610 w 3359086"/>
                <a:gd name="connsiteY20670" fmla="*/ 708374 h 3355086"/>
                <a:gd name="connsiteX20671" fmla="*/ 316801 w 3359086"/>
                <a:gd name="connsiteY20671" fmla="*/ 702183 h 3355086"/>
                <a:gd name="connsiteX20672" fmla="*/ 2815304 w 3359086"/>
                <a:gd name="connsiteY20672" fmla="*/ 700564 h 3355086"/>
                <a:gd name="connsiteX20673" fmla="*/ 2821495 w 3359086"/>
                <a:gd name="connsiteY20673" fmla="*/ 706755 h 3355086"/>
                <a:gd name="connsiteX20674" fmla="*/ 2815304 w 3359086"/>
                <a:gd name="connsiteY20674" fmla="*/ 712946 h 3355086"/>
                <a:gd name="connsiteX20675" fmla="*/ 2809113 w 3359086"/>
                <a:gd name="connsiteY20675" fmla="*/ 706755 h 3355086"/>
                <a:gd name="connsiteX20676" fmla="*/ 2815304 w 3359086"/>
                <a:gd name="connsiteY20676" fmla="*/ 700564 h 3355086"/>
                <a:gd name="connsiteX20677" fmla="*/ 459866 w 3359086"/>
                <a:gd name="connsiteY20677" fmla="*/ 699707 h 3355086"/>
                <a:gd name="connsiteX20678" fmla="*/ 466057 w 3359086"/>
                <a:gd name="connsiteY20678" fmla="*/ 705898 h 3355086"/>
                <a:gd name="connsiteX20679" fmla="*/ 459866 w 3359086"/>
                <a:gd name="connsiteY20679" fmla="*/ 712090 h 3355086"/>
                <a:gd name="connsiteX20680" fmla="*/ 453675 w 3359086"/>
                <a:gd name="connsiteY20680" fmla="*/ 705898 h 3355086"/>
                <a:gd name="connsiteX20681" fmla="*/ 459866 w 3359086"/>
                <a:gd name="connsiteY20681" fmla="*/ 699707 h 3355086"/>
                <a:gd name="connsiteX20682" fmla="*/ 2938843 w 3359086"/>
                <a:gd name="connsiteY20682" fmla="*/ 699040 h 3355086"/>
                <a:gd name="connsiteX20683" fmla="*/ 2945034 w 3359086"/>
                <a:gd name="connsiteY20683" fmla="*/ 705231 h 3355086"/>
                <a:gd name="connsiteX20684" fmla="*/ 2938843 w 3359086"/>
                <a:gd name="connsiteY20684" fmla="*/ 711423 h 3355086"/>
                <a:gd name="connsiteX20685" fmla="*/ 2932652 w 3359086"/>
                <a:gd name="connsiteY20685" fmla="*/ 705231 h 3355086"/>
                <a:gd name="connsiteX20686" fmla="*/ 2938843 w 3359086"/>
                <a:gd name="connsiteY20686" fmla="*/ 699040 h 3355086"/>
                <a:gd name="connsiteX20687" fmla="*/ 1409318 w 3359086"/>
                <a:gd name="connsiteY20687" fmla="*/ 698183 h 3355086"/>
                <a:gd name="connsiteX20688" fmla="*/ 1415510 w 3359086"/>
                <a:gd name="connsiteY20688" fmla="*/ 704374 h 3355086"/>
                <a:gd name="connsiteX20689" fmla="*/ 1409318 w 3359086"/>
                <a:gd name="connsiteY20689" fmla="*/ 710565 h 3355086"/>
                <a:gd name="connsiteX20690" fmla="*/ 1403127 w 3359086"/>
                <a:gd name="connsiteY20690" fmla="*/ 704374 h 3355086"/>
                <a:gd name="connsiteX20691" fmla="*/ 1409318 w 3359086"/>
                <a:gd name="connsiteY20691" fmla="*/ 698183 h 3355086"/>
                <a:gd name="connsiteX20692" fmla="*/ 2954273 w 3359086"/>
                <a:gd name="connsiteY20692" fmla="*/ 695611 h 3355086"/>
                <a:gd name="connsiteX20693" fmla="*/ 2960464 w 3359086"/>
                <a:gd name="connsiteY20693" fmla="*/ 701802 h 3355086"/>
                <a:gd name="connsiteX20694" fmla="*/ 2954273 w 3359086"/>
                <a:gd name="connsiteY20694" fmla="*/ 707994 h 3355086"/>
                <a:gd name="connsiteX20695" fmla="*/ 2948082 w 3359086"/>
                <a:gd name="connsiteY20695" fmla="*/ 701802 h 3355086"/>
                <a:gd name="connsiteX20696" fmla="*/ 2954273 w 3359086"/>
                <a:gd name="connsiteY20696" fmla="*/ 695611 h 3355086"/>
                <a:gd name="connsiteX20697" fmla="*/ 1870233 w 3359086"/>
                <a:gd name="connsiteY20697" fmla="*/ 694277 h 3355086"/>
                <a:gd name="connsiteX20698" fmla="*/ 1876425 w 3359086"/>
                <a:gd name="connsiteY20698" fmla="*/ 700468 h 3355086"/>
                <a:gd name="connsiteX20699" fmla="*/ 1870233 w 3359086"/>
                <a:gd name="connsiteY20699" fmla="*/ 706660 h 3355086"/>
                <a:gd name="connsiteX20700" fmla="*/ 1864042 w 3359086"/>
                <a:gd name="connsiteY20700" fmla="*/ 700468 h 3355086"/>
                <a:gd name="connsiteX20701" fmla="*/ 1870233 w 3359086"/>
                <a:gd name="connsiteY20701" fmla="*/ 694277 h 3355086"/>
                <a:gd name="connsiteX20702" fmla="*/ 970501 w 3359086"/>
                <a:gd name="connsiteY20702" fmla="*/ 693420 h 3355086"/>
                <a:gd name="connsiteX20703" fmla="*/ 976693 w 3359086"/>
                <a:gd name="connsiteY20703" fmla="*/ 699611 h 3355086"/>
                <a:gd name="connsiteX20704" fmla="*/ 970501 w 3359086"/>
                <a:gd name="connsiteY20704" fmla="*/ 705802 h 3355086"/>
                <a:gd name="connsiteX20705" fmla="*/ 964310 w 3359086"/>
                <a:gd name="connsiteY20705" fmla="*/ 699611 h 3355086"/>
                <a:gd name="connsiteX20706" fmla="*/ 970501 w 3359086"/>
                <a:gd name="connsiteY20706" fmla="*/ 693420 h 3355086"/>
                <a:gd name="connsiteX20707" fmla="*/ 2578893 w 3359086"/>
                <a:gd name="connsiteY20707" fmla="*/ 693135 h 3355086"/>
                <a:gd name="connsiteX20708" fmla="*/ 2585084 w 3359086"/>
                <a:gd name="connsiteY20708" fmla="*/ 699326 h 3355086"/>
                <a:gd name="connsiteX20709" fmla="*/ 2578893 w 3359086"/>
                <a:gd name="connsiteY20709" fmla="*/ 705517 h 3355086"/>
                <a:gd name="connsiteX20710" fmla="*/ 2572702 w 3359086"/>
                <a:gd name="connsiteY20710" fmla="*/ 699326 h 3355086"/>
                <a:gd name="connsiteX20711" fmla="*/ 2578893 w 3359086"/>
                <a:gd name="connsiteY20711" fmla="*/ 693135 h 3355086"/>
                <a:gd name="connsiteX20712" fmla="*/ 2712624 w 3359086"/>
                <a:gd name="connsiteY20712" fmla="*/ 692754 h 3355086"/>
                <a:gd name="connsiteX20713" fmla="*/ 2718815 w 3359086"/>
                <a:gd name="connsiteY20713" fmla="*/ 698945 h 3355086"/>
                <a:gd name="connsiteX20714" fmla="*/ 2712624 w 3359086"/>
                <a:gd name="connsiteY20714" fmla="*/ 705136 h 3355086"/>
                <a:gd name="connsiteX20715" fmla="*/ 2706433 w 3359086"/>
                <a:gd name="connsiteY20715" fmla="*/ 698945 h 3355086"/>
                <a:gd name="connsiteX20716" fmla="*/ 2712624 w 3359086"/>
                <a:gd name="connsiteY20716" fmla="*/ 692754 h 3355086"/>
                <a:gd name="connsiteX20717" fmla="*/ 3015519 w 3359086"/>
                <a:gd name="connsiteY20717" fmla="*/ 691706 h 3355086"/>
                <a:gd name="connsiteX20718" fmla="*/ 3021710 w 3359086"/>
                <a:gd name="connsiteY20718" fmla="*/ 697897 h 3355086"/>
                <a:gd name="connsiteX20719" fmla="*/ 3015519 w 3359086"/>
                <a:gd name="connsiteY20719" fmla="*/ 704089 h 3355086"/>
                <a:gd name="connsiteX20720" fmla="*/ 3012661 w 3359086"/>
                <a:gd name="connsiteY20720" fmla="*/ 701231 h 3355086"/>
                <a:gd name="connsiteX20721" fmla="*/ 3007613 w 3359086"/>
                <a:gd name="connsiteY20721" fmla="*/ 706279 h 3355086"/>
                <a:gd name="connsiteX20722" fmla="*/ 3004756 w 3359086"/>
                <a:gd name="connsiteY20722" fmla="*/ 703422 h 3355086"/>
                <a:gd name="connsiteX20723" fmla="*/ 3000850 w 3359086"/>
                <a:gd name="connsiteY20723" fmla="*/ 707327 h 3355086"/>
                <a:gd name="connsiteX20724" fmla="*/ 2997898 w 3359086"/>
                <a:gd name="connsiteY20724" fmla="*/ 704375 h 3355086"/>
                <a:gd name="connsiteX20725" fmla="*/ 2994755 w 3359086"/>
                <a:gd name="connsiteY20725" fmla="*/ 707517 h 3355086"/>
                <a:gd name="connsiteX20726" fmla="*/ 2991660 w 3359086"/>
                <a:gd name="connsiteY20726" fmla="*/ 704422 h 3355086"/>
                <a:gd name="connsiteX20727" fmla="*/ 2988944 w 3359086"/>
                <a:gd name="connsiteY20727" fmla="*/ 707137 h 3355086"/>
                <a:gd name="connsiteX20728" fmla="*/ 2985515 w 3359086"/>
                <a:gd name="connsiteY20728" fmla="*/ 703708 h 3355086"/>
                <a:gd name="connsiteX20729" fmla="*/ 2982658 w 3359086"/>
                <a:gd name="connsiteY20729" fmla="*/ 706564 h 3355086"/>
                <a:gd name="connsiteX20730" fmla="*/ 2978801 w 3359086"/>
                <a:gd name="connsiteY20730" fmla="*/ 702707 h 3355086"/>
                <a:gd name="connsiteX20731" fmla="*/ 2975324 w 3359086"/>
                <a:gd name="connsiteY20731" fmla="*/ 706183 h 3355086"/>
                <a:gd name="connsiteX20732" fmla="*/ 2970847 w 3359086"/>
                <a:gd name="connsiteY20732" fmla="*/ 701706 h 3355086"/>
                <a:gd name="connsiteX20733" fmla="*/ 2966084 w 3359086"/>
                <a:gd name="connsiteY20733" fmla="*/ 706470 h 3355086"/>
                <a:gd name="connsiteX20734" fmla="*/ 2959893 w 3359086"/>
                <a:gd name="connsiteY20734" fmla="*/ 700278 h 3355086"/>
                <a:gd name="connsiteX20735" fmla="*/ 2966084 w 3359086"/>
                <a:gd name="connsiteY20735" fmla="*/ 694087 h 3355086"/>
                <a:gd name="connsiteX20736" fmla="*/ 2970561 w 3359086"/>
                <a:gd name="connsiteY20736" fmla="*/ 698564 h 3355086"/>
                <a:gd name="connsiteX20737" fmla="*/ 2975324 w 3359086"/>
                <a:gd name="connsiteY20737" fmla="*/ 693801 h 3355086"/>
                <a:gd name="connsiteX20738" fmla="*/ 2979182 w 3359086"/>
                <a:gd name="connsiteY20738" fmla="*/ 697659 h 3355086"/>
                <a:gd name="connsiteX20739" fmla="*/ 2982658 w 3359086"/>
                <a:gd name="connsiteY20739" fmla="*/ 694182 h 3355086"/>
                <a:gd name="connsiteX20740" fmla="*/ 2986087 w 3359086"/>
                <a:gd name="connsiteY20740" fmla="*/ 697611 h 3355086"/>
                <a:gd name="connsiteX20741" fmla="*/ 2988944 w 3359086"/>
                <a:gd name="connsiteY20741" fmla="*/ 694754 h 3355086"/>
                <a:gd name="connsiteX20742" fmla="*/ 2992040 w 3359086"/>
                <a:gd name="connsiteY20742" fmla="*/ 697850 h 3355086"/>
                <a:gd name="connsiteX20743" fmla="*/ 2994755 w 3359086"/>
                <a:gd name="connsiteY20743" fmla="*/ 695135 h 3355086"/>
                <a:gd name="connsiteX20744" fmla="*/ 2997707 w 3359086"/>
                <a:gd name="connsiteY20744" fmla="*/ 698087 h 3355086"/>
                <a:gd name="connsiteX20745" fmla="*/ 3000850 w 3359086"/>
                <a:gd name="connsiteY20745" fmla="*/ 694944 h 3355086"/>
                <a:gd name="connsiteX20746" fmla="*/ 3003708 w 3359086"/>
                <a:gd name="connsiteY20746" fmla="*/ 697802 h 3355086"/>
                <a:gd name="connsiteX20747" fmla="*/ 3007613 w 3359086"/>
                <a:gd name="connsiteY20747" fmla="*/ 693896 h 3355086"/>
                <a:gd name="connsiteX20748" fmla="*/ 3010471 w 3359086"/>
                <a:gd name="connsiteY20748" fmla="*/ 696754 h 3355086"/>
                <a:gd name="connsiteX20749" fmla="*/ 1523237 w 3359086"/>
                <a:gd name="connsiteY20749" fmla="*/ 690848 h 3355086"/>
                <a:gd name="connsiteX20750" fmla="*/ 1529429 w 3359086"/>
                <a:gd name="connsiteY20750" fmla="*/ 697039 h 3355086"/>
                <a:gd name="connsiteX20751" fmla="*/ 1523237 w 3359086"/>
                <a:gd name="connsiteY20751" fmla="*/ 703231 h 3355086"/>
                <a:gd name="connsiteX20752" fmla="*/ 1517046 w 3359086"/>
                <a:gd name="connsiteY20752" fmla="*/ 697039 h 3355086"/>
                <a:gd name="connsiteX20753" fmla="*/ 1523237 w 3359086"/>
                <a:gd name="connsiteY20753" fmla="*/ 690848 h 3355086"/>
                <a:gd name="connsiteX20754" fmla="*/ 431482 w 3359086"/>
                <a:gd name="connsiteY20754" fmla="*/ 690753 h 3355086"/>
                <a:gd name="connsiteX20755" fmla="*/ 437673 w 3359086"/>
                <a:gd name="connsiteY20755" fmla="*/ 696944 h 3355086"/>
                <a:gd name="connsiteX20756" fmla="*/ 431482 w 3359086"/>
                <a:gd name="connsiteY20756" fmla="*/ 703135 h 3355086"/>
                <a:gd name="connsiteX20757" fmla="*/ 425291 w 3359086"/>
                <a:gd name="connsiteY20757" fmla="*/ 696944 h 3355086"/>
                <a:gd name="connsiteX20758" fmla="*/ 431482 w 3359086"/>
                <a:gd name="connsiteY20758" fmla="*/ 690753 h 3355086"/>
                <a:gd name="connsiteX20759" fmla="*/ 3036284 w 3359086"/>
                <a:gd name="connsiteY20759" fmla="*/ 688848 h 3355086"/>
                <a:gd name="connsiteX20760" fmla="*/ 3036665 w 3359086"/>
                <a:gd name="connsiteY20760" fmla="*/ 689229 h 3355086"/>
                <a:gd name="connsiteX20761" fmla="*/ 3036284 w 3359086"/>
                <a:gd name="connsiteY20761" fmla="*/ 689610 h 3355086"/>
                <a:gd name="connsiteX20762" fmla="*/ 3035903 w 3359086"/>
                <a:gd name="connsiteY20762" fmla="*/ 689229 h 3355086"/>
                <a:gd name="connsiteX20763" fmla="*/ 3036284 w 3359086"/>
                <a:gd name="connsiteY20763" fmla="*/ 688848 h 3355086"/>
                <a:gd name="connsiteX20764" fmla="*/ 1755266 w 3359086"/>
                <a:gd name="connsiteY20764" fmla="*/ 688848 h 3355086"/>
                <a:gd name="connsiteX20765" fmla="*/ 1761457 w 3359086"/>
                <a:gd name="connsiteY20765" fmla="*/ 695039 h 3355086"/>
                <a:gd name="connsiteX20766" fmla="*/ 1755266 w 3359086"/>
                <a:gd name="connsiteY20766" fmla="*/ 701231 h 3355086"/>
                <a:gd name="connsiteX20767" fmla="*/ 1749075 w 3359086"/>
                <a:gd name="connsiteY20767" fmla="*/ 695039 h 3355086"/>
                <a:gd name="connsiteX20768" fmla="*/ 1755266 w 3359086"/>
                <a:gd name="connsiteY20768" fmla="*/ 688848 h 3355086"/>
                <a:gd name="connsiteX20769" fmla="*/ 3025044 w 3359086"/>
                <a:gd name="connsiteY20769" fmla="*/ 688181 h 3355086"/>
                <a:gd name="connsiteX20770" fmla="*/ 3031235 w 3359086"/>
                <a:gd name="connsiteY20770" fmla="*/ 694372 h 3355086"/>
                <a:gd name="connsiteX20771" fmla="*/ 3025044 w 3359086"/>
                <a:gd name="connsiteY20771" fmla="*/ 700564 h 3355086"/>
                <a:gd name="connsiteX20772" fmla="*/ 3018853 w 3359086"/>
                <a:gd name="connsiteY20772" fmla="*/ 694372 h 3355086"/>
                <a:gd name="connsiteX20773" fmla="*/ 3025044 w 3359086"/>
                <a:gd name="connsiteY20773" fmla="*/ 688181 h 3355086"/>
                <a:gd name="connsiteX20774" fmla="*/ 1639061 w 3359086"/>
                <a:gd name="connsiteY20774" fmla="*/ 687705 h 3355086"/>
                <a:gd name="connsiteX20775" fmla="*/ 1645253 w 3359086"/>
                <a:gd name="connsiteY20775" fmla="*/ 693896 h 3355086"/>
                <a:gd name="connsiteX20776" fmla="*/ 1639061 w 3359086"/>
                <a:gd name="connsiteY20776" fmla="*/ 700087 h 3355086"/>
                <a:gd name="connsiteX20777" fmla="*/ 1632870 w 3359086"/>
                <a:gd name="connsiteY20777" fmla="*/ 693896 h 3355086"/>
                <a:gd name="connsiteX20778" fmla="*/ 1639061 w 3359086"/>
                <a:gd name="connsiteY20778" fmla="*/ 687705 h 3355086"/>
                <a:gd name="connsiteX20779" fmla="*/ 2853784 w 3359086"/>
                <a:gd name="connsiteY20779" fmla="*/ 687420 h 3355086"/>
                <a:gd name="connsiteX20780" fmla="*/ 2859976 w 3359086"/>
                <a:gd name="connsiteY20780" fmla="*/ 693611 h 3355086"/>
                <a:gd name="connsiteX20781" fmla="*/ 2853784 w 3359086"/>
                <a:gd name="connsiteY20781" fmla="*/ 699802 h 3355086"/>
                <a:gd name="connsiteX20782" fmla="*/ 2847593 w 3359086"/>
                <a:gd name="connsiteY20782" fmla="*/ 693611 h 3355086"/>
                <a:gd name="connsiteX20783" fmla="*/ 2853784 w 3359086"/>
                <a:gd name="connsiteY20783" fmla="*/ 687420 h 3355086"/>
                <a:gd name="connsiteX20784" fmla="*/ 325659 w 3359086"/>
                <a:gd name="connsiteY20784" fmla="*/ 686467 h 3355086"/>
                <a:gd name="connsiteX20785" fmla="*/ 328040 w 3359086"/>
                <a:gd name="connsiteY20785" fmla="*/ 688848 h 3355086"/>
                <a:gd name="connsiteX20786" fmla="*/ 325659 w 3359086"/>
                <a:gd name="connsiteY20786" fmla="*/ 691229 h 3355086"/>
                <a:gd name="connsiteX20787" fmla="*/ 323278 w 3359086"/>
                <a:gd name="connsiteY20787" fmla="*/ 688848 h 3355086"/>
                <a:gd name="connsiteX20788" fmla="*/ 325659 w 3359086"/>
                <a:gd name="connsiteY20788" fmla="*/ 686467 h 3355086"/>
                <a:gd name="connsiteX20789" fmla="*/ 542162 w 3359086"/>
                <a:gd name="connsiteY20789" fmla="*/ 686277 h 3355086"/>
                <a:gd name="connsiteX20790" fmla="*/ 548353 w 3359086"/>
                <a:gd name="connsiteY20790" fmla="*/ 692468 h 3355086"/>
                <a:gd name="connsiteX20791" fmla="*/ 542162 w 3359086"/>
                <a:gd name="connsiteY20791" fmla="*/ 698659 h 3355086"/>
                <a:gd name="connsiteX20792" fmla="*/ 535971 w 3359086"/>
                <a:gd name="connsiteY20792" fmla="*/ 692468 h 3355086"/>
                <a:gd name="connsiteX20793" fmla="*/ 542162 w 3359086"/>
                <a:gd name="connsiteY20793" fmla="*/ 686277 h 3355086"/>
                <a:gd name="connsiteX20794" fmla="*/ 409193 w 3359086"/>
                <a:gd name="connsiteY20794" fmla="*/ 685133 h 3355086"/>
                <a:gd name="connsiteX20795" fmla="*/ 415384 w 3359086"/>
                <a:gd name="connsiteY20795" fmla="*/ 691324 h 3355086"/>
                <a:gd name="connsiteX20796" fmla="*/ 409193 w 3359086"/>
                <a:gd name="connsiteY20796" fmla="*/ 697516 h 3355086"/>
                <a:gd name="connsiteX20797" fmla="*/ 403002 w 3359086"/>
                <a:gd name="connsiteY20797" fmla="*/ 691324 h 3355086"/>
                <a:gd name="connsiteX20798" fmla="*/ 409193 w 3359086"/>
                <a:gd name="connsiteY20798" fmla="*/ 685133 h 3355086"/>
                <a:gd name="connsiteX20799" fmla="*/ 2320099 w 3359086"/>
                <a:gd name="connsiteY20799" fmla="*/ 683800 h 3355086"/>
                <a:gd name="connsiteX20800" fmla="*/ 2326291 w 3359086"/>
                <a:gd name="connsiteY20800" fmla="*/ 689991 h 3355086"/>
                <a:gd name="connsiteX20801" fmla="*/ 2320099 w 3359086"/>
                <a:gd name="connsiteY20801" fmla="*/ 696183 h 3355086"/>
                <a:gd name="connsiteX20802" fmla="*/ 2313908 w 3359086"/>
                <a:gd name="connsiteY20802" fmla="*/ 689991 h 3355086"/>
                <a:gd name="connsiteX20803" fmla="*/ 2320099 w 3359086"/>
                <a:gd name="connsiteY20803" fmla="*/ 683800 h 3355086"/>
                <a:gd name="connsiteX20804" fmla="*/ 392048 w 3359086"/>
                <a:gd name="connsiteY20804" fmla="*/ 682085 h 3355086"/>
                <a:gd name="connsiteX20805" fmla="*/ 398240 w 3359086"/>
                <a:gd name="connsiteY20805" fmla="*/ 688276 h 3355086"/>
                <a:gd name="connsiteX20806" fmla="*/ 392048 w 3359086"/>
                <a:gd name="connsiteY20806" fmla="*/ 694468 h 3355086"/>
                <a:gd name="connsiteX20807" fmla="*/ 385857 w 3359086"/>
                <a:gd name="connsiteY20807" fmla="*/ 688276 h 3355086"/>
                <a:gd name="connsiteX20808" fmla="*/ 392048 w 3359086"/>
                <a:gd name="connsiteY20808" fmla="*/ 682085 h 3355086"/>
                <a:gd name="connsiteX20809" fmla="*/ 378713 w 3359086"/>
                <a:gd name="connsiteY20809" fmla="*/ 680943 h 3355086"/>
                <a:gd name="connsiteX20810" fmla="*/ 384904 w 3359086"/>
                <a:gd name="connsiteY20810" fmla="*/ 687134 h 3355086"/>
                <a:gd name="connsiteX20811" fmla="*/ 378713 w 3359086"/>
                <a:gd name="connsiteY20811" fmla="*/ 693325 h 3355086"/>
                <a:gd name="connsiteX20812" fmla="*/ 373618 w 3359086"/>
                <a:gd name="connsiteY20812" fmla="*/ 688230 h 3355086"/>
                <a:gd name="connsiteX20813" fmla="*/ 368426 w 3359086"/>
                <a:gd name="connsiteY20813" fmla="*/ 693421 h 3355086"/>
                <a:gd name="connsiteX20814" fmla="*/ 364759 w 3359086"/>
                <a:gd name="connsiteY20814" fmla="*/ 689754 h 3355086"/>
                <a:gd name="connsiteX20815" fmla="*/ 360235 w 3359086"/>
                <a:gd name="connsiteY20815" fmla="*/ 694277 h 3355086"/>
                <a:gd name="connsiteX20816" fmla="*/ 357377 w 3359086"/>
                <a:gd name="connsiteY20816" fmla="*/ 691420 h 3355086"/>
                <a:gd name="connsiteX20817" fmla="*/ 353281 w 3359086"/>
                <a:gd name="connsiteY20817" fmla="*/ 695516 h 3355086"/>
                <a:gd name="connsiteX20818" fmla="*/ 350567 w 3359086"/>
                <a:gd name="connsiteY20818" fmla="*/ 692802 h 3355086"/>
                <a:gd name="connsiteX20819" fmla="*/ 346900 w 3359086"/>
                <a:gd name="connsiteY20819" fmla="*/ 696469 h 3355086"/>
                <a:gd name="connsiteX20820" fmla="*/ 343947 w 3359086"/>
                <a:gd name="connsiteY20820" fmla="*/ 693516 h 3355086"/>
                <a:gd name="connsiteX20821" fmla="*/ 340518 w 3359086"/>
                <a:gd name="connsiteY20821" fmla="*/ 696945 h 3355086"/>
                <a:gd name="connsiteX20822" fmla="*/ 336898 w 3359086"/>
                <a:gd name="connsiteY20822" fmla="*/ 693325 h 3355086"/>
                <a:gd name="connsiteX20823" fmla="*/ 333660 w 3359086"/>
                <a:gd name="connsiteY20823" fmla="*/ 696564 h 3355086"/>
                <a:gd name="connsiteX20824" fmla="*/ 327469 w 3359086"/>
                <a:gd name="connsiteY20824" fmla="*/ 690372 h 3355086"/>
                <a:gd name="connsiteX20825" fmla="*/ 333660 w 3359086"/>
                <a:gd name="connsiteY20825" fmla="*/ 684181 h 3355086"/>
                <a:gd name="connsiteX20826" fmla="*/ 337279 w 3359086"/>
                <a:gd name="connsiteY20826" fmla="*/ 687801 h 3355086"/>
                <a:gd name="connsiteX20827" fmla="*/ 340518 w 3359086"/>
                <a:gd name="connsiteY20827" fmla="*/ 684562 h 3355086"/>
                <a:gd name="connsiteX20828" fmla="*/ 343471 w 3359086"/>
                <a:gd name="connsiteY20828" fmla="*/ 687515 h 3355086"/>
                <a:gd name="connsiteX20829" fmla="*/ 346900 w 3359086"/>
                <a:gd name="connsiteY20829" fmla="*/ 684086 h 3355086"/>
                <a:gd name="connsiteX20830" fmla="*/ 349614 w 3359086"/>
                <a:gd name="connsiteY20830" fmla="*/ 686800 h 3355086"/>
                <a:gd name="connsiteX20831" fmla="*/ 353281 w 3359086"/>
                <a:gd name="connsiteY20831" fmla="*/ 683133 h 3355086"/>
                <a:gd name="connsiteX20832" fmla="*/ 356139 w 3359086"/>
                <a:gd name="connsiteY20832" fmla="*/ 685991 h 3355086"/>
                <a:gd name="connsiteX20833" fmla="*/ 360235 w 3359086"/>
                <a:gd name="connsiteY20833" fmla="*/ 681895 h 3355086"/>
                <a:gd name="connsiteX20834" fmla="*/ 363902 w 3359086"/>
                <a:gd name="connsiteY20834" fmla="*/ 685562 h 3355086"/>
                <a:gd name="connsiteX20835" fmla="*/ 368426 w 3359086"/>
                <a:gd name="connsiteY20835" fmla="*/ 681038 h 3355086"/>
                <a:gd name="connsiteX20836" fmla="*/ 373522 w 3359086"/>
                <a:gd name="connsiteY20836" fmla="*/ 686134 h 3355086"/>
                <a:gd name="connsiteX20837" fmla="*/ 791717 w 3359086"/>
                <a:gd name="connsiteY20837" fmla="*/ 680085 h 3355086"/>
                <a:gd name="connsiteX20838" fmla="*/ 797908 w 3359086"/>
                <a:gd name="connsiteY20838" fmla="*/ 686276 h 3355086"/>
                <a:gd name="connsiteX20839" fmla="*/ 791717 w 3359086"/>
                <a:gd name="connsiteY20839" fmla="*/ 692468 h 3355086"/>
                <a:gd name="connsiteX20840" fmla="*/ 785526 w 3359086"/>
                <a:gd name="connsiteY20840" fmla="*/ 686276 h 3355086"/>
                <a:gd name="connsiteX20841" fmla="*/ 791717 w 3359086"/>
                <a:gd name="connsiteY20841" fmla="*/ 680085 h 3355086"/>
                <a:gd name="connsiteX20842" fmla="*/ 650938 w 3359086"/>
                <a:gd name="connsiteY20842" fmla="*/ 678847 h 3355086"/>
                <a:gd name="connsiteX20843" fmla="*/ 657129 w 3359086"/>
                <a:gd name="connsiteY20843" fmla="*/ 685038 h 3355086"/>
                <a:gd name="connsiteX20844" fmla="*/ 650938 w 3359086"/>
                <a:gd name="connsiteY20844" fmla="*/ 691229 h 3355086"/>
                <a:gd name="connsiteX20845" fmla="*/ 644747 w 3359086"/>
                <a:gd name="connsiteY20845" fmla="*/ 685038 h 3355086"/>
                <a:gd name="connsiteX20846" fmla="*/ 650938 w 3359086"/>
                <a:gd name="connsiteY20846" fmla="*/ 678847 h 3355086"/>
                <a:gd name="connsiteX20847" fmla="*/ 2884455 w 3359086"/>
                <a:gd name="connsiteY20847" fmla="*/ 678466 h 3355086"/>
                <a:gd name="connsiteX20848" fmla="*/ 2890647 w 3359086"/>
                <a:gd name="connsiteY20848" fmla="*/ 684657 h 3355086"/>
                <a:gd name="connsiteX20849" fmla="*/ 2884455 w 3359086"/>
                <a:gd name="connsiteY20849" fmla="*/ 690848 h 3355086"/>
                <a:gd name="connsiteX20850" fmla="*/ 2878264 w 3359086"/>
                <a:gd name="connsiteY20850" fmla="*/ 684657 h 3355086"/>
                <a:gd name="connsiteX20851" fmla="*/ 2884455 w 3359086"/>
                <a:gd name="connsiteY20851" fmla="*/ 678466 h 3355086"/>
                <a:gd name="connsiteX20852" fmla="*/ 2767012 w 3359086"/>
                <a:gd name="connsiteY20852" fmla="*/ 673989 h 3355086"/>
                <a:gd name="connsiteX20853" fmla="*/ 2773203 w 3359086"/>
                <a:gd name="connsiteY20853" fmla="*/ 680180 h 3355086"/>
                <a:gd name="connsiteX20854" fmla="*/ 2767012 w 3359086"/>
                <a:gd name="connsiteY20854" fmla="*/ 686372 h 3355086"/>
                <a:gd name="connsiteX20855" fmla="*/ 2760821 w 3359086"/>
                <a:gd name="connsiteY20855" fmla="*/ 680180 h 3355086"/>
                <a:gd name="connsiteX20856" fmla="*/ 2767012 w 3359086"/>
                <a:gd name="connsiteY20856" fmla="*/ 673989 h 3355086"/>
                <a:gd name="connsiteX20857" fmla="*/ 1061465 w 3359086"/>
                <a:gd name="connsiteY20857" fmla="*/ 673227 h 3355086"/>
                <a:gd name="connsiteX20858" fmla="*/ 1067656 w 3359086"/>
                <a:gd name="connsiteY20858" fmla="*/ 679418 h 3355086"/>
                <a:gd name="connsiteX20859" fmla="*/ 1061465 w 3359086"/>
                <a:gd name="connsiteY20859" fmla="*/ 685610 h 3355086"/>
                <a:gd name="connsiteX20860" fmla="*/ 1055274 w 3359086"/>
                <a:gd name="connsiteY20860" fmla="*/ 679418 h 3355086"/>
                <a:gd name="connsiteX20861" fmla="*/ 1061465 w 3359086"/>
                <a:gd name="connsiteY20861" fmla="*/ 673227 h 3355086"/>
                <a:gd name="connsiteX20862" fmla="*/ 500633 w 3359086"/>
                <a:gd name="connsiteY20862" fmla="*/ 673037 h 3355086"/>
                <a:gd name="connsiteX20863" fmla="*/ 506824 w 3359086"/>
                <a:gd name="connsiteY20863" fmla="*/ 679228 h 3355086"/>
                <a:gd name="connsiteX20864" fmla="*/ 500633 w 3359086"/>
                <a:gd name="connsiteY20864" fmla="*/ 685419 h 3355086"/>
                <a:gd name="connsiteX20865" fmla="*/ 494442 w 3359086"/>
                <a:gd name="connsiteY20865" fmla="*/ 679228 h 3355086"/>
                <a:gd name="connsiteX20866" fmla="*/ 500633 w 3359086"/>
                <a:gd name="connsiteY20866" fmla="*/ 673037 h 3355086"/>
                <a:gd name="connsiteX20867" fmla="*/ 2908553 w 3359086"/>
                <a:gd name="connsiteY20867" fmla="*/ 672941 h 3355086"/>
                <a:gd name="connsiteX20868" fmla="*/ 2914745 w 3359086"/>
                <a:gd name="connsiteY20868" fmla="*/ 679132 h 3355086"/>
                <a:gd name="connsiteX20869" fmla="*/ 2908553 w 3359086"/>
                <a:gd name="connsiteY20869" fmla="*/ 685324 h 3355086"/>
                <a:gd name="connsiteX20870" fmla="*/ 2902362 w 3359086"/>
                <a:gd name="connsiteY20870" fmla="*/ 679132 h 3355086"/>
                <a:gd name="connsiteX20871" fmla="*/ 2908553 w 3359086"/>
                <a:gd name="connsiteY20871" fmla="*/ 672941 h 3355086"/>
                <a:gd name="connsiteX20872" fmla="*/ 2927317 w 3359086"/>
                <a:gd name="connsiteY20872" fmla="*/ 670179 h 3355086"/>
                <a:gd name="connsiteX20873" fmla="*/ 2933509 w 3359086"/>
                <a:gd name="connsiteY20873" fmla="*/ 676370 h 3355086"/>
                <a:gd name="connsiteX20874" fmla="*/ 2927317 w 3359086"/>
                <a:gd name="connsiteY20874" fmla="*/ 682562 h 3355086"/>
                <a:gd name="connsiteX20875" fmla="*/ 2921126 w 3359086"/>
                <a:gd name="connsiteY20875" fmla="*/ 676370 h 3355086"/>
                <a:gd name="connsiteX20876" fmla="*/ 2927317 w 3359086"/>
                <a:gd name="connsiteY20876" fmla="*/ 670179 h 3355086"/>
                <a:gd name="connsiteX20877" fmla="*/ 3018568 w 3359086"/>
                <a:gd name="connsiteY20877" fmla="*/ 669608 h 3355086"/>
                <a:gd name="connsiteX20878" fmla="*/ 3023711 w 3359086"/>
                <a:gd name="connsiteY20878" fmla="*/ 674752 h 3355086"/>
                <a:gd name="connsiteX20879" fmla="*/ 3018568 w 3359086"/>
                <a:gd name="connsiteY20879" fmla="*/ 679895 h 3355086"/>
                <a:gd name="connsiteX20880" fmla="*/ 3013424 w 3359086"/>
                <a:gd name="connsiteY20880" fmla="*/ 674752 h 3355086"/>
                <a:gd name="connsiteX20881" fmla="*/ 3018568 w 3359086"/>
                <a:gd name="connsiteY20881" fmla="*/ 669608 h 3355086"/>
                <a:gd name="connsiteX20882" fmla="*/ 2941891 w 3359086"/>
                <a:gd name="connsiteY20882" fmla="*/ 669322 h 3355086"/>
                <a:gd name="connsiteX20883" fmla="*/ 2947844 w 3359086"/>
                <a:gd name="connsiteY20883" fmla="*/ 675275 h 3355086"/>
                <a:gd name="connsiteX20884" fmla="*/ 2953321 w 3359086"/>
                <a:gd name="connsiteY20884" fmla="*/ 669798 h 3355086"/>
                <a:gd name="connsiteX20885" fmla="*/ 2958512 w 3359086"/>
                <a:gd name="connsiteY20885" fmla="*/ 674989 h 3355086"/>
                <a:gd name="connsiteX20886" fmla="*/ 2962369 w 3359086"/>
                <a:gd name="connsiteY20886" fmla="*/ 671132 h 3355086"/>
                <a:gd name="connsiteX20887" fmla="*/ 2967037 w 3359086"/>
                <a:gd name="connsiteY20887" fmla="*/ 675799 h 3355086"/>
                <a:gd name="connsiteX20888" fmla="*/ 2969990 w 3359086"/>
                <a:gd name="connsiteY20888" fmla="*/ 672846 h 3355086"/>
                <a:gd name="connsiteX20889" fmla="*/ 2974133 w 3359086"/>
                <a:gd name="connsiteY20889" fmla="*/ 676989 h 3355086"/>
                <a:gd name="connsiteX20890" fmla="*/ 2976752 w 3359086"/>
                <a:gd name="connsiteY20890" fmla="*/ 674370 h 3355086"/>
                <a:gd name="connsiteX20891" fmla="*/ 2980610 w 3359086"/>
                <a:gd name="connsiteY20891" fmla="*/ 678228 h 3355086"/>
                <a:gd name="connsiteX20892" fmla="*/ 2983420 w 3359086"/>
                <a:gd name="connsiteY20892" fmla="*/ 675418 h 3355086"/>
                <a:gd name="connsiteX20893" fmla="*/ 2987039 w 3359086"/>
                <a:gd name="connsiteY20893" fmla="*/ 679037 h 3355086"/>
                <a:gd name="connsiteX20894" fmla="*/ 2990468 w 3359086"/>
                <a:gd name="connsiteY20894" fmla="*/ 675608 h 3355086"/>
                <a:gd name="connsiteX20895" fmla="*/ 2993992 w 3359086"/>
                <a:gd name="connsiteY20895" fmla="*/ 679133 h 3355086"/>
                <a:gd name="connsiteX20896" fmla="*/ 2998469 w 3359086"/>
                <a:gd name="connsiteY20896" fmla="*/ 674656 h 3355086"/>
                <a:gd name="connsiteX20897" fmla="*/ 3001946 w 3359086"/>
                <a:gd name="connsiteY20897" fmla="*/ 678132 h 3355086"/>
                <a:gd name="connsiteX20898" fmla="*/ 3007708 w 3359086"/>
                <a:gd name="connsiteY20898" fmla="*/ 672370 h 3355086"/>
                <a:gd name="connsiteX20899" fmla="*/ 3013900 w 3359086"/>
                <a:gd name="connsiteY20899" fmla="*/ 678561 h 3355086"/>
                <a:gd name="connsiteX20900" fmla="*/ 3007708 w 3359086"/>
                <a:gd name="connsiteY20900" fmla="*/ 684752 h 3355086"/>
                <a:gd name="connsiteX20901" fmla="*/ 3004232 w 3359086"/>
                <a:gd name="connsiteY20901" fmla="*/ 681276 h 3355086"/>
                <a:gd name="connsiteX20902" fmla="*/ 2998469 w 3359086"/>
                <a:gd name="connsiteY20902" fmla="*/ 687039 h 3355086"/>
                <a:gd name="connsiteX20903" fmla="*/ 2994944 w 3359086"/>
                <a:gd name="connsiteY20903" fmla="*/ 683514 h 3355086"/>
                <a:gd name="connsiteX20904" fmla="*/ 2990468 w 3359086"/>
                <a:gd name="connsiteY20904" fmla="*/ 687991 h 3355086"/>
                <a:gd name="connsiteX20905" fmla="*/ 2986849 w 3359086"/>
                <a:gd name="connsiteY20905" fmla="*/ 684371 h 3355086"/>
                <a:gd name="connsiteX20906" fmla="*/ 2983420 w 3359086"/>
                <a:gd name="connsiteY20906" fmla="*/ 687800 h 3355086"/>
                <a:gd name="connsiteX20907" fmla="*/ 2979562 w 3359086"/>
                <a:gd name="connsiteY20907" fmla="*/ 683942 h 3355086"/>
                <a:gd name="connsiteX20908" fmla="*/ 2976752 w 3359086"/>
                <a:gd name="connsiteY20908" fmla="*/ 686752 h 3355086"/>
                <a:gd name="connsiteX20909" fmla="*/ 2972609 w 3359086"/>
                <a:gd name="connsiteY20909" fmla="*/ 682610 h 3355086"/>
                <a:gd name="connsiteX20910" fmla="*/ 2969990 w 3359086"/>
                <a:gd name="connsiteY20910" fmla="*/ 685229 h 3355086"/>
                <a:gd name="connsiteX20911" fmla="*/ 2965323 w 3359086"/>
                <a:gd name="connsiteY20911" fmla="*/ 680561 h 3355086"/>
                <a:gd name="connsiteX20912" fmla="*/ 2962369 w 3359086"/>
                <a:gd name="connsiteY20912" fmla="*/ 683515 h 3355086"/>
                <a:gd name="connsiteX20913" fmla="*/ 2957178 w 3359086"/>
                <a:gd name="connsiteY20913" fmla="*/ 678324 h 3355086"/>
                <a:gd name="connsiteX20914" fmla="*/ 2953321 w 3359086"/>
                <a:gd name="connsiteY20914" fmla="*/ 682181 h 3355086"/>
                <a:gd name="connsiteX20915" fmla="*/ 2947368 w 3359086"/>
                <a:gd name="connsiteY20915" fmla="*/ 676228 h 3355086"/>
                <a:gd name="connsiteX20916" fmla="*/ 2941891 w 3359086"/>
                <a:gd name="connsiteY20916" fmla="*/ 681704 h 3355086"/>
                <a:gd name="connsiteX20917" fmla="*/ 2935700 w 3359086"/>
                <a:gd name="connsiteY20917" fmla="*/ 675513 h 3355086"/>
                <a:gd name="connsiteX20918" fmla="*/ 2941891 w 3359086"/>
                <a:gd name="connsiteY20918" fmla="*/ 669322 h 3355086"/>
                <a:gd name="connsiteX20919" fmla="*/ 2505836 w 3359086"/>
                <a:gd name="connsiteY20919" fmla="*/ 668941 h 3355086"/>
                <a:gd name="connsiteX20920" fmla="*/ 2512028 w 3359086"/>
                <a:gd name="connsiteY20920" fmla="*/ 675132 h 3355086"/>
                <a:gd name="connsiteX20921" fmla="*/ 2505836 w 3359086"/>
                <a:gd name="connsiteY20921" fmla="*/ 681323 h 3355086"/>
                <a:gd name="connsiteX20922" fmla="*/ 2499645 w 3359086"/>
                <a:gd name="connsiteY20922" fmla="*/ 675132 h 3355086"/>
                <a:gd name="connsiteX20923" fmla="*/ 2505836 w 3359086"/>
                <a:gd name="connsiteY20923" fmla="*/ 668941 h 3355086"/>
                <a:gd name="connsiteX20924" fmla="*/ 2652902 w 3359086"/>
                <a:gd name="connsiteY20924" fmla="*/ 666846 h 3355086"/>
                <a:gd name="connsiteX20925" fmla="*/ 2659094 w 3359086"/>
                <a:gd name="connsiteY20925" fmla="*/ 673037 h 3355086"/>
                <a:gd name="connsiteX20926" fmla="*/ 2652902 w 3359086"/>
                <a:gd name="connsiteY20926" fmla="*/ 679229 h 3355086"/>
                <a:gd name="connsiteX20927" fmla="*/ 2646711 w 3359086"/>
                <a:gd name="connsiteY20927" fmla="*/ 673037 h 3355086"/>
                <a:gd name="connsiteX20928" fmla="*/ 2652902 w 3359086"/>
                <a:gd name="connsiteY20928" fmla="*/ 666846 h 3355086"/>
                <a:gd name="connsiteX20929" fmla="*/ 2226563 w 3359086"/>
                <a:gd name="connsiteY20929" fmla="*/ 664464 h 3355086"/>
                <a:gd name="connsiteX20930" fmla="*/ 2232755 w 3359086"/>
                <a:gd name="connsiteY20930" fmla="*/ 670655 h 3355086"/>
                <a:gd name="connsiteX20931" fmla="*/ 2226563 w 3359086"/>
                <a:gd name="connsiteY20931" fmla="*/ 676847 h 3355086"/>
                <a:gd name="connsiteX20932" fmla="*/ 2220372 w 3359086"/>
                <a:gd name="connsiteY20932" fmla="*/ 670655 h 3355086"/>
                <a:gd name="connsiteX20933" fmla="*/ 2226563 w 3359086"/>
                <a:gd name="connsiteY20933" fmla="*/ 664464 h 3355086"/>
                <a:gd name="connsiteX20934" fmla="*/ 467391 w 3359086"/>
                <a:gd name="connsiteY20934" fmla="*/ 664179 h 3355086"/>
                <a:gd name="connsiteX20935" fmla="*/ 473583 w 3359086"/>
                <a:gd name="connsiteY20935" fmla="*/ 670370 h 3355086"/>
                <a:gd name="connsiteX20936" fmla="*/ 467391 w 3359086"/>
                <a:gd name="connsiteY20936" fmla="*/ 676561 h 3355086"/>
                <a:gd name="connsiteX20937" fmla="*/ 461200 w 3359086"/>
                <a:gd name="connsiteY20937" fmla="*/ 670370 h 3355086"/>
                <a:gd name="connsiteX20938" fmla="*/ 467391 w 3359086"/>
                <a:gd name="connsiteY20938" fmla="*/ 664179 h 3355086"/>
                <a:gd name="connsiteX20939" fmla="*/ 2811303 w 3359086"/>
                <a:gd name="connsiteY20939" fmla="*/ 660559 h 3355086"/>
                <a:gd name="connsiteX20940" fmla="*/ 2817494 w 3359086"/>
                <a:gd name="connsiteY20940" fmla="*/ 666750 h 3355086"/>
                <a:gd name="connsiteX20941" fmla="*/ 2811303 w 3359086"/>
                <a:gd name="connsiteY20941" fmla="*/ 672942 h 3355086"/>
                <a:gd name="connsiteX20942" fmla="*/ 2805112 w 3359086"/>
                <a:gd name="connsiteY20942" fmla="*/ 666750 h 3355086"/>
                <a:gd name="connsiteX20943" fmla="*/ 2811303 w 3359086"/>
                <a:gd name="connsiteY20943" fmla="*/ 660559 h 3355086"/>
                <a:gd name="connsiteX20944" fmla="*/ 592835 w 3359086"/>
                <a:gd name="connsiteY20944" fmla="*/ 659702 h 3355086"/>
                <a:gd name="connsiteX20945" fmla="*/ 599026 w 3359086"/>
                <a:gd name="connsiteY20945" fmla="*/ 665893 h 3355086"/>
                <a:gd name="connsiteX20946" fmla="*/ 592835 w 3359086"/>
                <a:gd name="connsiteY20946" fmla="*/ 672085 h 3355086"/>
                <a:gd name="connsiteX20947" fmla="*/ 586644 w 3359086"/>
                <a:gd name="connsiteY20947" fmla="*/ 665893 h 3355086"/>
                <a:gd name="connsiteX20948" fmla="*/ 592835 w 3359086"/>
                <a:gd name="connsiteY20948" fmla="*/ 659702 h 3355086"/>
                <a:gd name="connsiteX20949" fmla="*/ 441007 w 3359086"/>
                <a:gd name="connsiteY20949" fmla="*/ 658845 h 3355086"/>
                <a:gd name="connsiteX20950" fmla="*/ 447198 w 3359086"/>
                <a:gd name="connsiteY20950" fmla="*/ 665036 h 3355086"/>
                <a:gd name="connsiteX20951" fmla="*/ 441007 w 3359086"/>
                <a:gd name="connsiteY20951" fmla="*/ 671227 h 3355086"/>
                <a:gd name="connsiteX20952" fmla="*/ 434816 w 3359086"/>
                <a:gd name="connsiteY20952" fmla="*/ 665036 h 3355086"/>
                <a:gd name="connsiteX20953" fmla="*/ 441007 w 3359086"/>
                <a:gd name="connsiteY20953" fmla="*/ 658845 h 3355086"/>
                <a:gd name="connsiteX20954" fmla="*/ 391381 w 3359086"/>
                <a:gd name="connsiteY20954" fmla="*/ 656749 h 3355086"/>
                <a:gd name="connsiteX20955" fmla="*/ 397573 w 3359086"/>
                <a:gd name="connsiteY20955" fmla="*/ 662940 h 3355086"/>
                <a:gd name="connsiteX20956" fmla="*/ 391381 w 3359086"/>
                <a:gd name="connsiteY20956" fmla="*/ 669131 h 3355086"/>
                <a:gd name="connsiteX20957" fmla="*/ 387286 w 3359086"/>
                <a:gd name="connsiteY20957" fmla="*/ 665036 h 3355086"/>
                <a:gd name="connsiteX20958" fmla="*/ 381285 w 3359086"/>
                <a:gd name="connsiteY20958" fmla="*/ 671037 h 3355086"/>
                <a:gd name="connsiteX20959" fmla="*/ 378189 w 3359086"/>
                <a:gd name="connsiteY20959" fmla="*/ 667941 h 3355086"/>
                <a:gd name="connsiteX20960" fmla="*/ 372903 w 3359086"/>
                <a:gd name="connsiteY20960" fmla="*/ 673227 h 3355086"/>
                <a:gd name="connsiteX20961" fmla="*/ 370236 w 3359086"/>
                <a:gd name="connsiteY20961" fmla="*/ 670560 h 3355086"/>
                <a:gd name="connsiteX20962" fmla="*/ 365474 w 3359086"/>
                <a:gd name="connsiteY20962" fmla="*/ 675323 h 3355086"/>
                <a:gd name="connsiteX20963" fmla="*/ 362759 w 3359086"/>
                <a:gd name="connsiteY20963" fmla="*/ 672608 h 3355086"/>
                <a:gd name="connsiteX20964" fmla="*/ 358425 w 3359086"/>
                <a:gd name="connsiteY20964" fmla="*/ 676942 h 3355086"/>
                <a:gd name="connsiteX20965" fmla="*/ 355186 w 3359086"/>
                <a:gd name="connsiteY20965" fmla="*/ 673704 h 3355086"/>
                <a:gd name="connsiteX20966" fmla="*/ 351091 w 3359086"/>
                <a:gd name="connsiteY20966" fmla="*/ 677800 h 3355086"/>
                <a:gd name="connsiteX20967" fmla="*/ 346947 w 3359086"/>
                <a:gd name="connsiteY20967" fmla="*/ 673656 h 3355086"/>
                <a:gd name="connsiteX20968" fmla="*/ 342995 w 3359086"/>
                <a:gd name="connsiteY20968" fmla="*/ 677608 h 3355086"/>
                <a:gd name="connsiteX20969" fmla="*/ 336804 w 3359086"/>
                <a:gd name="connsiteY20969" fmla="*/ 671417 h 3355086"/>
                <a:gd name="connsiteX20970" fmla="*/ 342995 w 3359086"/>
                <a:gd name="connsiteY20970" fmla="*/ 665226 h 3355086"/>
                <a:gd name="connsiteX20971" fmla="*/ 347138 w 3359086"/>
                <a:gd name="connsiteY20971" fmla="*/ 669370 h 3355086"/>
                <a:gd name="connsiteX20972" fmla="*/ 351091 w 3359086"/>
                <a:gd name="connsiteY20972" fmla="*/ 665417 h 3355086"/>
                <a:gd name="connsiteX20973" fmla="*/ 354329 w 3359086"/>
                <a:gd name="connsiteY20973" fmla="*/ 668656 h 3355086"/>
                <a:gd name="connsiteX20974" fmla="*/ 358425 w 3359086"/>
                <a:gd name="connsiteY20974" fmla="*/ 664560 h 3355086"/>
                <a:gd name="connsiteX20975" fmla="*/ 361140 w 3359086"/>
                <a:gd name="connsiteY20975" fmla="*/ 667275 h 3355086"/>
                <a:gd name="connsiteX20976" fmla="*/ 365474 w 3359086"/>
                <a:gd name="connsiteY20976" fmla="*/ 662940 h 3355086"/>
                <a:gd name="connsiteX20977" fmla="*/ 368141 w 3359086"/>
                <a:gd name="connsiteY20977" fmla="*/ 665607 h 3355086"/>
                <a:gd name="connsiteX20978" fmla="*/ 372903 w 3359086"/>
                <a:gd name="connsiteY20978" fmla="*/ 660845 h 3355086"/>
                <a:gd name="connsiteX20979" fmla="*/ 375999 w 3359086"/>
                <a:gd name="connsiteY20979" fmla="*/ 663941 h 3355086"/>
                <a:gd name="connsiteX20980" fmla="*/ 381285 w 3359086"/>
                <a:gd name="connsiteY20980" fmla="*/ 658654 h 3355086"/>
                <a:gd name="connsiteX20981" fmla="*/ 385381 w 3359086"/>
                <a:gd name="connsiteY20981" fmla="*/ 662750 h 3355086"/>
                <a:gd name="connsiteX20982" fmla="*/ 867632 w 3359086"/>
                <a:gd name="connsiteY20982" fmla="*/ 656273 h 3355086"/>
                <a:gd name="connsiteX20983" fmla="*/ 873823 w 3359086"/>
                <a:gd name="connsiteY20983" fmla="*/ 662464 h 3355086"/>
                <a:gd name="connsiteX20984" fmla="*/ 867632 w 3359086"/>
                <a:gd name="connsiteY20984" fmla="*/ 668656 h 3355086"/>
                <a:gd name="connsiteX20985" fmla="*/ 861441 w 3359086"/>
                <a:gd name="connsiteY20985" fmla="*/ 662464 h 3355086"/>
                <a:gd name="connsiteX20986" fmla="*/ 867632 w 3359086"/>
                <a:gd name="connsiteY20986" fmla="*/ 656273 h 3355086"/>
                <a:gd name="connsiteX20987" fmla="*/ 420337 w 3359086"/>
                <a:gd name="connsiteY20987" fmla="*/ 656273 h 3355086"/>
                <a:gd name="connsiteX20988" fmla="*/ 426528 w 3359086"/>
                <a:gd name="connsiteY20988" fmla="*/ 662464 h 3355086"/>
                <a:gd name="connsiteX20989" fmla="*/ 420337 w 3359086"/>
                <a:gd name="connsiteY20989" fmla="*/ 668656 h 3355086"/>
                <a:gd name="connsiteX20990" fmla="*/ 414146 w 3359086"/>
                <a:gd name="connsiteY20990" fmla="*/ 662464 h 3355086"/>
                <a:gd name="connsiteX20991" fmla="*/ 420337 w 3359086"/>
                <a:gd name="connsiteY20991" fmla="*/ 656273 h 3355086"/>
                <a:gd name="connsiteX20992" fmla="*/ 404145 w 3359086"/>
                <a:gd name="connsiteY20992" fmla="*/ 655796 h 3355086"/>
                <a:gd name="connsiteX20993" fmla="*/ 410337 w 3359086"/>
                <a:gd name="connsiteY20993" fmla="*/ 661987 h 3355086"/>
                <a:gd name="connsiteX20994" fmla="*/ 404145 w 3359086"/>
                <a:gd name="connsiteY20994" fmla="*/ 668179 h 3355086"/>
                <a:gd name="connsiteX20995" fmla="*/ 397954 w 3359086"/>
                <a:gd name="connsiteY20995" fmla="*/ 661987 h 3355086"/>
                <a:gd name="connsiteX20996" fmla="*/ 404145 w 3359086"/>
                <a:gd name="connsiteY20996" fmla="*/ 655796 h 3355086"/>
                <a:gd name="connsiteX20997" fmla="*/ 1157858 w 3359086"/>
                <a:gd name="connsiteY20997" fmla="*/ 655035 h 3355086"/>
                <a:gd name="connsiteX20998" fmla="*/ 1164049 w 3359086"/>
                <a:gd name="connsiteY20998" fmla="*/ 661226 h 3355086"/>
                <a:gd name="connsiteX20999" fmla="*/ 1157858 w 3359086"/>
                <a:gd name="connsiteY20999" fmla="*/ 667417 h 3355086"/>
                <a:gd name="connsiteX21000" fmla="*/ 1151667 w 3359086"/>
                <a:gd name="connsiteY21000" fmla="*/ 661226 h 3355086"/>
                <a:gd name="connsiteX21001" fmla="*/ 1157858 w 3359086"/>
                <a:gd name="connsiteY21001" fmla="*/ 655035 h 3355086"/>
                <a:gd name="connsiteX21002" fmla="*/ 3000755 w 3359086"/>
                <a:gd name="connsiteY21002" fmla="*/ 653415 h 3355086"/>
                <a:gd name="connsiteX21003" fmla="*/ 3006946 w 3359086"/>
                <a:gd name="connsiteY21003" fmla="*/ 659606 h 3355086"/>
                <a:gd name="connsiteX21004" fmla="*/ 3000755 w 3359086"/>
                <a:gd name="connsiteY21004" fmla="*/ 665798 h 3355086"/>
                <a:gd name="connsiteX21005" fmla="*/ 2994564 w 3359086"/>
                <a:gd name="connsiteY21005" fmla="*/ 659606 h 3355086"/>
                <a:gd name="connsiteX21006" fmla="*/ 3000755 w 3359086"/>
                <a:gd name="connsiteY21006" fmla="*/ 653415 h 3355086"/>
                <a:gd name="connsiteX21007" fmla="*/ 713231 w 3359086"/>
                <a:gd name="connsiteY21007" fmla="*/ 653129 h 3355086"/>
                <a:gd name="connsiteX21008" fmla="*/ 719422 w 3359086"/>
                <a:gd name="connsiteY21008" fmla="*/ 659320 h 3355086"/>
                <a:gd name="connsiteX21009" fmla="*/ 713231 w 3359086"/>
                <a:gd name="connsiteY21009" fmla="*/ 665512 h 3355086"/>
                <a:gd name="connsiteX21010" fmla="*/ 707040 w 3359086"/>
                <a:gd name="connsiteY21010" fmla="*/ 659320 h 3355086"/>
                <a:gd name="connsiteX21011" fmla="*/ 713231 w 3359086"/>
                <a:gd name="connsiteY21011" fmla="*/ 653129 h 3355086"/>
                <a:gd name="connsiteX21012" fmla="*/ 2846926 w 3359086"/>
                <a:gd name="connsiteY21012" fmla="*/ 651701 h 3355086"/>
                <a:gd name="connsiteX21013" fmla="*/ 2853118 w 3359086"/>
                <a:gd name="connsiteY21013" fmla="*/ 657892 h 3355086"/>
                <a:gd name="connsiteX21014" fmla="*/ 2846926 w 3359086"/>
                <a:gd name="connsiteY21014" fmla="*/ 664083 h 3355086"/>
                <a:gd name="connsiteX21015" fmla="*/ 2840735 w 3359086"/>
                <a:gd name="connsiteY21015" fmla="*/ 657892 h 3355086"/>
                <a:gd name="connsiteX21016" fmla="*/ 2846926 w 3359086"/>
                <a:gd name="connsiteY21016" fmla="*/ 651701 h 3355086"/>
                <a:gd name="connsiteX21017" fmla="*/ 351662 w 3359086"/>
                <a:gd name="connsiteY21017" fmla="*/ 651701 h 3355086"/>
                <a:gd name="connsiteX21018" fmla="*/ 352900 w 3359086"/>
                <a:gd name="connsiteY21018" fmla="*/ 652939 h 3355086"/>
                <a:gd name="connsiteX21019" fmla="*/ 351662 w 3359086"/>
                <a:gd name="connsiteY21019" fmla="*/ 654177 h 3355086"/>
                <a:gd name="connsiteX21020" fmla="*/ 350424 w 3359086"/>
                <a:gd name="connsiteY21020" fmla="*/ 652939 h 3355086"/>
                <a:gd name="connsiteX21021" fmla="*/ 351662 w 3359086"/>
                <a:gd name="connsiteY21021" fmla="*/ 651701 h 3355086"/>
                <a:gd name="connsiteX21022" fmla="*/ 2940557 w 3359086"/>
                <a:gd name="connsiteY21022" fmla="*/ 647510 h 3355086"/>
                <a:gd name="connsiteX21023" fmla="*/ 2946510 w 3359086"/>
                <a:gd name="connsiteY21023" fmla="*/ 653463 h 3355086"/>
                <a:gd name="connsiteX21024" fmla="*/ 2949701 w 3359086"/>
                <a:gd name="connsiteY21024" fmla="*/ 650272 h 3355086"/>
                <a:gd name="connsiteX21025" fmla="*/ 2954988 w 3359086"/>
                <a:gd name="connsiteY21025" fmla="*/ 655559 h 3355086"/>
                <a:gd name="connsiteX21026" fmla="*/ 2957702 w 3359086"/>
                <a:gd name="connsiteY21026" fmla="*/ 652844 h 3355086"/>
                <a:gd name="connsiteX21027" fmla="*/ 2962608 w 3359086"/>
                <a:gd name="connsiteY21027" fmla="*/ 657749 h 3355086"/>
                <a:gd name="connsiteX21028" fmla="*/ 2965227 w 3359086"/>
                <a:gd name="connsiteY21028" fmla="*/ 655130 h 3355086"/>
                <a:gd name="connsiteX21029" fmla="*/ 2969703 w 3359086"/>
                <a:gd name="connsiteY21029" fmla="*/ 659607 h 3355086"/>
                <a:gd name="connsiteX21030" fmla="*/ 2972752 w 3359086"/>
                <a:gd name="connsiteY21030" fmla="*/ 656558 h 3355086"/>
                <a:gd name="connsiteX21031" fmla="*/ 2976990 w 3359086"/>
                <a:gd name="connsiteY21031" fmla="*/ 660797 h 3355086"/>
                <a:gd name="connsiteX21032" fmla="*/ 2980943 w 3359086"/>
                <a:gd name="connsiteY21032" fmla="*/ 656844 h 3355086"/>
                <a:gd name="connsiteX21033" fmla="*/ 2985039 w 3359086"/>
                <a:gd name="connsiteY21033" fmla="*/ 660940 h 3355086"/>
                <a:gd name="connsiteX21034" fmla="*/ 2990087 w 3359086"/>
                <a:gd name="connsiteY21034" fmla="*/ 655892 h 3355086"/>
                <a:gd name="connsiteX21035" fmla="*/ 2996279 w 3359086"/>
                <a:gd name="connsiteY21035" fmla="*/ 662083 h 3355086"/>
                <a:gd name="connsiteX21036" fmla="*/ 2990087 w 3359086"/>
                <a:gd name="connsiteY21036" fmla="*/ 668275 h 3355086"/>
                <a:gd name="connsiteX21037" fmla="*/ 2985991 w 3359086"/>
                <a:gd name="connsiteY21037" fmla="*/ 664179 h 3355086"/>
                <a:gd name="connsiteX21038" fmla="*/ 2980943 w 3359086"/>
                <a:gd name="connsiteY21038" fmla="*/ 669227 h 3355086"/>
                <a:gd name="connsiteX21039" fmla="*/ 2976705 w 3359086"/>
                <a:gd name="connsiteY21039" fmla="*/ 664988 h 3355086"/>
                <a:gd name="connsiteX21040" fmla="*/ 2972752 w 3359086"/>
                <a:gd name="connsiteY21040" fmla="*/ 668941 h 3355086"/>
                <a:gd name="connsiteX21041" fmla="*/ 2968276 w 3359086"/>
                <a:gd name="connsiteY21041" fmla="*/ 664464 h 3355086"/>
                <a:gd name="connsiteX21042" fmla="*/ 2965227 w 3359086"/>
                <a:gd name="connsiteY21042" fmla="*/ 667513 h 3355086"/>
                <a:gd name="connsiteX21043" fmla="*/ 2960322 w 3359086"/>
                <a:gd name="connsiteY21043" fmla="*/ 662607 h 3355086"/>
                <a:gd name="connsiteX21044" fmla="*/ 2957702 w 3359086"/>
                <a:gd name="connsiteY21044" fmla="*/ 665227 h 3355086"/>
                <a:gd name="connsiteX21045" fmla="*/ 2952415 w 3359086"/>
                <a:gd name="connsiteY21045" fmla="*/ 659940 h 3355086"/>
                <a:gd name="connsiteX21046" fmla="*/ 2949701 w 3359086"/>
                <a:gd name="connsiteY21046" fmla="*/ 662654 h 3355086"/>
                <a:gd name="connsiteX21047" fmla="*/ 2943748 w 3359086"/>
                <a:gd name="connsiteY21047" fmla="*/ 656701 h 3355086"/>
                <a:gd name="connsiteX21048" fmla="*/ 2940557 w 3359086"/>
                <a:gd name="connsiteY21048" fmla="*/ 659892 h 3355086"/>
                <a:gd name="connsiteX21049" fmla="*/ 2934366 w 3359086"/>
                <a:gd name="connsiteY21049" fmla="*/ 653701 h 3355086"/>
                <a:gd name="connsiteX21050" fmla="*/ 2940557 w 3359086"/>
                <a:gd name="connsiteY21050" fmla="*/ 647510 h 3355086"/>
                <a:gd name="connsiteX21051" fmla="*/ 2127884 w 3359086"/>
                <a:gd name="connsiteY21051" fmla="*/ 647414 h 3355086"/>
                <a:gd name="connsiteX21052" fmla="*/ 2134076 w 3359086"/>
                <a:gd name="connsiteY21052" fmla="*/ 653605 h 3355086"/>
                <a:gd name="connsiteX21053" fmla="*/ 2127884 w 3359086"/>
                <a:gd name="connsiteY21053" fmla="*/ 659797 h 3355086"/>
                <a:gd name="connsiteX21054" fmla="*/ 2121693 w 3359086"/>
                <a:gd name="connsiteY21054" fmla="*/ 653605 h 3355086"/>
                <a:gd name="connsiteX21055" fmla="*/ 2127884 w 3359086"/>
                <a:gd name="connsiteY21055" fmla="*/ 647414 h 3355086"/>
                <a:gd name="connsiteX21056" fmla="*/ 2714339 w 3359086"/>
                <a:gd name="connsiteY21056" fmla="*/ 647319 h 3355086"/>
                <a:gd name="connsiteX21057" fmla="*/ 2720530 w 3359086"/>
                <a:gd name="connsiteY21057" fmla="*/ 653510 h 3355086"/>
                <a:gd name="connsiteX21058" fmla="*/ 2714339 w 3359086"/>
                <a:gd name="connsiteY21058" fmla="*/ 659702 h 3355086"/>
                <a:gd name="connsiteX21059" fmla="*/ 2708148 w 3359086"/>
                <a:gd name="connsiteY21059" fmla="*/ 653510 h 3355086"/>
                <a:gd name="connsiteX21060" fmla="*/ 2714339 w 3359086"/>
                <a:gd name="connsiteY21060" fmla="*/ 647319 h 3355086"/>
                <a:gd name="connsiteX21061" fmla="*/ 2875406 w 3359086"/>
                <a:gd name="connsiteY21061" fmla="*/ 646462 h 3355086"/>
                <a:gd name="connsiteX21062" fmla="*/ 2881597 w 3359086"/>
                <a:gd name="connsiteY21062" fmla="*/ 652653 h 3355086"/>
                <a:gd name="connsiteX21063" fmla="*/ 2875406 w 3359086"/>
                <a:gd name="connsiteY21063" fmla="*/ 658845 h 3355086"/>
                <a:gd name="connsiteX21064" fmla="*/ 2869215 w 3359086"/>
                <a:gd name="connsiteY21064" fmla="*/ 652653 h 3355086"/>
                <a:gd name="connsiteX21065" fmla="*/ 2875406 w 3359086"/>
                <a:gd name="connsiteY21065" fmla="*/ 646462 h 3355086"/>
                <a:gd name="connsiteX21066" fmla="*/ 545210 w 3359086"/>
                <a:gd name="connsiteY21066" fmla="*/ 646176 h 3355086"/>
                <a:gd name="connsiteX21067" fmla="*/ 551401 w 3359086"/>
                <a:gd name="connsiteY21067" fmla="*/ 652367 h 3355086"/>
                <a:gd name="connsiteX21068" fmla="*/ 545210 w 3359086"/>
                <a:gd name="connsiteY21068" fmla="*/ 658558 h 3355086"/>
                <a:gd name="connsiteX21069" fmla="*/ 539019 w 3359086"/>
                <a:gd name="connsiteY21069" fmla="*/ 652367 h 3355086"/>
                <a:gd name="connsiteX21070" fmla="*/ 545210 w 3359086"/>
                <a:gd name="connsiteY21070" fmla="*/ 646176 h 3355086"/>
                <a:gd name="connsiteX21071" fmla="*/ 2427350 w 3359086"/>
                <a:gd name="connsiteY21071" fmla="*/ 645605 h 3355086"/>
                <a:gd name="connsiteX21072" fmla="*/ 2433542 w 3359086"/>
                <a:gd name="connsiteY21072" fmla="*/ 651796 h 3355086"/>
                <a:gd name="connsiteX21073" fmla="*/ 2427350 w 3359086"/>
                <a:gd name="connsiteY21073" fmla="*/ 657988 h 3355086"/>
                <a:gd name="connsiteX21074" fmla="*/ 2421159 w 3359086"/>
                <a:gd name="connsiteY21074" fmla="*/ 651796 h 3355086"/>
                <a:gd name="connsiteX21075" fmla="*/ 2427350 w 3359086"/>
                <a:gd name="connsiteY21075" fmla="*/ 645605 h 3355086"/>
                <a:gd name="connsiteX21076" fmla="*/ 2929413 w 3359086"/>
                <a:gd name="connsiteY21076" fmla="*/ 645319 h 3355086"/>
                <a:gd name="connsiteX21077" fmla="*/ 2935605 w 3359086"/>
                <a:gd name="connsiteY21077" fmla="*/ 651510 h 3355086"/>
                <a:gd name="connsiteX21078" fmla="*/ 2929413 w 3359086"/>
                <a:gd name="connsiteY21078" fmla="*/ 657702 h 3355086"/>
                <a:gd name="connsiteX21079" fmla="*/ 2923222 w 3359086"/>
                <a:gd name="connsiteY21079" fmla="*/ 651510 h 3355086"/>
                <a:gd name="connsiteX21080" fmla="*/ 2929413 w 3359086"/>
                <a:gd name="connsiteY21080" fmla="*/ 645319 h 3355086"/>
                <a:gd name="connsiteX21081" fmla="*/ 2897885 w 3359086"/>
                <a:gd name="connsiteY21081" fmla="*/ 644176 h 3355086"/>
                <a:gd name="connsiteX21082" fmla="*/ 2904077 w 3359086"/>
                <a:gd name="connsiteY21082" fmla="*/ 650367 h 3355086"/>
                <a:gd name="connsiteX21083" fmla="*/ 2897885 w 3359086"/>
                <a:gd name="connsiteY21083" fmla="*/ 656558 h 3355086"/>
                <a:gd name="connsiteX21084" fmla="*/ 2891694 w 3359086"/>
                <a:gd name="connsiteY21084" fmla="*/ 650367 h 3355086"/>
                <a:gd name="connsiteX21085" fmla="*/ 2897885 w 3359086"/>
                <a:gd name="connsiteY21085" fmla="*/ 644176 h 3355086"/>
                <a:gd name="connsiteX21086" fmla="*/ 2915507 w 3359086"/>
                <a:gd name="connsiteY21086" fmla="*/ 643985 h 3355086"/>
                <a:gd name="connsiteX21087" fmla="*/ 2921698 w 3359086"/>
                <a:gd name="connsiteY21087" fmla="*/ 650176 h 3355086"/>
                <a:gd name="connsiteX21088" fmla="*/ 2915507 w 3359086"/>
                <a:gd name="connsiteY21088" fmla="*/ 656368 h 3355086"/>
                <a:gd name="connsiteX21089" fmla="*/ 2909316 w 3359086"/>
                <a:gd name="connsiteY21089" fmla="*/ 650176 h 3355086"/>
                <a:gd name="connsiteX21090" fmla="*/ 2915507 w 3359086"/>
                <a:gd name="connsiteY21090" fmla="*/ 643985 h 3355086"/>
                <a:gd name="connsiteX21091" fmla="*/ 2588227 w 3359086"/>
                <a:gd name="connsiteY21091" fmla="*/ 641318 h 3355086"/>
                <a:gd name="connsiteX21092" fmla="*/ 2594419 w 3359086"/>
                <a:gd name="connsiteY21092" fmla="*/ 647509 h 3355086"/>
                <a:gd name="connsiteX21093" fmla="*/ 2588227 w 3359086"/>
                <a:gd name="connsiteY21093" fmla="*/ 653701 h 3355086"/>
                <a:gd name="connsiteX21094" fmla="*/ 2582036 w 3359086"/>
                <a:gd name="connsiteY21094" fmla="*/ 647509 h 3355086"/>
                <a:gd name="connsiteX21095" fmla="*/ 2588227 w 3359086"/>
                <a:gd name="connsiteY21095" fmla="*/ 641318 h 3355086"/>
                <a:gd name="connsiteX21096" fmla="*/ 1259014 w 3359086"/>
                <a:gd name="connsiteY21096" fmla="*/ 639414 h 3355086"/>
                <a:gd name="connsiteX21097" fmla="*/ 1265206 w 3359086"/>
                <a:gd name="connsiteY21097" fmla="*/ 645605 h 3355086"/>
                <a:gd name="connsiteX21098" fmla="*/ 1259014 w 3359086"/>
                <a:gd name="connsiteY21098" fmla="*/ 651796 h 3355086"/>
                <a:gd name="connsiteX21099" fmla="*/ 1252823 w 3359086"/>
                <a:gd name="connsiteY21099" fmla="*/ 645605 h 3355086"/>
                <a:gd name="connsiteX21100" fmla="*/ 1259014 w 3359086"/>
                <a:gd name="connsiteY21100" fmla="*/ 639414 h 3355086"/>
                <a:gd name="connsiteX21101" fmla="*/ 393858 w 3359086"/>
                <a:gd name="connsiteY21101" fmla="*/ 637889 h 3355086"/>
                <a:gd name="connsiteX21102" fmla="*/ 400049 w 3359086"/>
                <a:gd name="connsiteY21102" fmla="*/ 644080 h 3355086"/>
                <a:gd name="connsiteX21103" fmla="*/ 393858 w 3359086"/>
                <a:gd name="connsiteY21103" fmla="*/ 650272 h 3355086"/>
                <a:gd name="connsiteX21104" fmla="*/ 391096 w 3359086"/>
                <a:gd name="connsiteY21104" fmla="*/ 647510 h 3355086"/>
                <a:gd name="connsiteX21105" fmla="*/ 385095 w 3359086"/>
                <a:gd name="connsiteY21105" fmla="*/ 653510 h 3355086"/>
                <a:gd name="connsiteX21106" fmla="*/ 382524 w 3359086"/>
                <a:gd name="connsiteY21106" fmla="*/ 650939 h 3355086"/>
                <a:gd name="connsiteX21107" fmla="*/ 377094 w 3359086"/>
                <a:gd name="connsiteY21107" fmla="*/ 656368 h 3355086"/>
                <a:gd name="connsiteX21108" fmla="*/ 374189 w 3359086"/>
                <a:gd name="connsiteY21108" fmla="*/ 653462 h 3355086"/>
                <a:gd name="connsiteX21109" fmla="*/ 369188 w 3359086"/>
                <a:gd name="connsiteY21109" fmla="*/ 658464 h 3355086"/>
                <a:gd name="connsiteX21110" fmla="*/ 365521 w 3359086"/>
                <a:gd name="connsiteY21110" fmla="*/ 654796 h 3355086"/>
                <a:gd name="connsiteX21111" fmla="*/ 360902 w 3359086"/>
                <a:gd name="connsiteY21111" fmla="*/ 659416 h 3355086"/>
                <a:gd name="connsiteX21112" fmla="*/ 354711 w 3359086"/>
                <a:gd name="connsiteY21112" fmla="*/ 653224 h 3355086"/>
                <a:gd name="connsiteX21113" fmla="*/ 360902 w 3359086"/>
                <a:gd name="connsiteY21113" fmla="*/ 647033 h 3355086"/>
                <a:gd name="connsiteX21114" fmla="*/ 364569 w 3359086"/>
                <a:gd name="connsiteY21114" fmla="*/ 650700 h 3355086"/>
                <a:gd name="connsiteX21115" fmla="*/ 369188 w 3359086"/>
                <a:gd name="connsiteY21115" fmla="*/ 646081 h 3355086"/>
                <a:gd name="connsiteX21116" fmla="*/ 372093 w 3359086"/>
                <a:gd name="connsiteY21116" fmla="*/ 648986 h 3355086"/>
                <a:gd name="connsiteX21117" fmla="*/ 377094 w 3359086"/>
                <a:gd name="connsiteY21117" fmla="*/ 643985 h 3355086"/>
                <a:gd name="connsiteX21118" fmla="*/ 379666 w 3359086"/>
                <a:gd name="connsiteY21118" fmla="*/ 646557 h 3355086"/>
                <a:gd name="connsiteX21119" fmla="*/ 385095 w 3359086"/>
                <a:gd name="connsiteY21119" fmla="*/ 641128 h 3355086"/>
                <a:gd name="connsiteX21120" fmla="*/ 387857 w 3359086"/>
                <a:gd name="connsiteY21120" fmla="*/ 643890 h 3355086"/>
                <a:gd name="connsiteX21121" fmla="*/ 2994660 w 3359086"/>
                <a:gd name="connsiteY21121" fmla="*/ 637223 h 3355086"/>
                <a:gd name="connsiteX21122" fmla="*/ 2998279 w 3359086"/>
                <a:gd name="connsiteY21122" fmla="*/ 640842 h 3355086"/>
                <a:gd name="connsiteX21123" fmla="*/ 2994660 w 3359086"/>
                <a:gd name="connsiteY21123" fmla="*/ 644462 h 3355086"/>
                <a:gd name="connsiteX21124" fmla="*/ 2991040 w 3359086"/>
                <a:gd name="connsiteY21124" fmla="*/ 640842 h 3355086"/>
                <a:gd name="connsiteX21125" fmla="*/ 2994660 w 3359086"/>
                <a:gd name="connsiteY21125" fmla="*/ 637223 h 3355086"/>
                <a:gd name="connsiteX21126" fmla="*/ 506729 w 3359086"/>
                <a:gd name="connsiteY21126" fmla="*/ 637223 h 3355086"/>
                <a:gd name="connsiteX21127" fmla="*/ 512920 w 3359086"/>
                <a:gd name="connsiteY21127" fmla="*/ 643414 h 3355086"/>
                <a:gd name="connsiteX21128" fmla="*/ 506729 w 3359086"/>
                <a:gd name="connsiteY21128" fmla="*/ 649606 h 3355086"/>
                <a:gd name="connsiteX21129" fmla="*/ 500538 w 3359086"/>
                <a:gd name="connsiteY21129" fmla="*/ 643414 h 3355086"/>
                <a:gd name="connsiteX21130" fmla="*/ 506729 w 3359086"/>
                <a:gd name="connsiteY21130" fmla="*/ 637223 h 3355086"/>
                <a:gd name="connsiteX21131" fmla="*/ 403954 w 3359086"/>
                <a:gd name="connsiteY21131" fmla="*/ 634651 h 3355086"/>
                <a:gd name="connsiteX21132" fmla="*/ 410146 w 3359086"/>
                <a:gd name="connsiteY21132" fmla="*/ 640842 h 3355086"/>
                <a:gd name="connsiteX21133" fmla="*/ 403954 w 3359086"/>
                <a:gd name="connsiteY21133" fmla="*/ 647033 h 3355086"/>
                <a:gd name="connsiteX21134" fmla="*/ 397763 w 3359086"/>
                <a:gd name="connsiteY21134" fmla="*/ 640842 h 3355086"/>
                <a:gd name="connsiteX21135" fmla="*/ 403954 w 3359086"/>
                <a:gd name="connsiteY21135" fmla="*/ 634651 h 3355086"/>
                <a:gd name="connsiteX21136" fmla="*/ 2764916 w 3359086"/>
                <a:gd name="connsiteY21136" fmla="*/ 633603 h 3355086"/>
                <a:gd name="connsiteX21137" fmla="*/ 2771107 w 3359086"/>
                <a:gd name="connsiteY21137" fmla="*/ 639794 h 3355086"/>
                <a:gd name="connsiteX21138" fmla="*/ 2764916 w 3359086"/>
                <a:gd name="connsiteY21138" fmla="*/ 645985 h 3355086"/>
                <a:gd name="connsiteX21139" fmla="*/ 2758725 w 3359086"/>
                <a:gd name="connsiteY21139" fmla="*/ 639794 h 3355086"/>
                <a:gd name="connsiteX21140" fmla="*/ 2764916 w 3359086"/>
                <a:gd name="connsiteY21140" fmla="*/ 633603 h 3355086"/>
                <a:gd name="connsiteX21141" fmla="*/ 948975 w 3359086"/>
                <a:gd name="connsiteY21141" fmla="*/ 633603 h 3355086"/>
                <a:gd name="connsiteX21142" fmla="*/ 955166 w 3359086"/>
                <a:gd name="connsiteY21142" fmla="*/ 639794 h 3355086"/>
                <a:gd name="connsiteX21143" fmla="*/ 948975 w 3359086"/>
                <a:gd name="connsiteY21143" fmla="*/ 645985 h 3355086"/>
                <a:gd name="connsiteX21144" fmla="*/ 942784 w 3359086"/>
                <a:gd name="connsiteY21144" fmla="*/ 639794 h 3355086"/>
                <a:gd name="connsiteX21145" fmla="*/ 948975 w 3359086"/>
                <a:gd name="connsiteY21145" fmla="*/ 633603 h 3355086"/>
                <a:gd name="connsiteX21146" fmla="*/ 2024633 w 3359086"/>
                <a:gd name="connsiteY21146" fmla="*/ 633127 h 3355086"/>
                <a:gd name="connsiteX21147" fmla="*/ 2030825 w 3359086"/>
                <a:gd name="connsiteY21147" fmla="*/ 639318 h 3355086"/>
                <a:gd name="connsiteX21148" fmla="*/ 2024633 w 3359086"/>
                <a:gd name="connsiteY21148" fmla="*/ 645510 h 3355086"/>
                <a:gd name="connsiteX21149" fmla="*/ 2018442 w 3359086"/>
                <a:gd name="connsiteY21149" fmla="*/ 639318 h 3355086"/>
                <a:gd name="connsiteX21150" fmla="*/ 2024633 w 3359086"/>
                <a:gd name="connsiteY21150" fmla="*/ 633127 h 3355086"/>
                <a:gd name="connsiteX21151" fmla="*/ 647795 w 3359086"/>
                <a:gd name="connsiteY21151" fmla="*/ 633127 h 3355086"/>
                <a:gd name="connsiteX21152" fmla="*/ 653987 w 3359086"/>
                <a:gd name="connsiteY21152" fmla="*/ 639318 h 3355086"/>
                <a:gd name="connsiteX21153" fmla="*/ 647795 w 3359086"/>
                <a:gd name="connsiteY21153" fmla="*/ 645510 h 3355086"/>
                <a:gd name="connsiteX21154" fmla="*/ 641604 w 3359086"/>
                <a:gd name="connsiteY21154" fmla="*/ 639318 h 3355086"/>
                <a:gd name="connsiteX21155" fmla="*/ 647795 w 3359086"/>
                <a:gd name="connsiteY21155" fmla="*/ 633127 h 3355086"/>
                <a:gd name="connsiteX21156" fmla="*/ 475773 w 3359086"/>
                <a:gd name="connsiteY21156" fmla="*/ 632175 h 3355086"/>
                <a:gd name="connsiteX21157" fmla="*/ 481964 w 3359086"/>
                <a:gd name="connsiteY21157" fmla="*/ 638366 h 3355086"/>
                <a:gd name="connsiteX21158" fmla="*/ 475773 w 3359086"/>
                <a:gd name="connsiteY21158" fmla="*/ 644558 h 3355086"/>
                <a:gd name="connsiteX21159" fmla="*/ 469582 w 3359086"/>
                <a:gd name="connsiteY21159" fmla="*/ 638366 h 3355086"/>
                <a:gd name="connsiteX21160" fmla="*/ 475773 w 3359086"/>
                <a:gd name="connsiteY21160" fmla="*/ 632175 h 3355086"/>
                <a:gd name="connsiteX21161" fmla="*/ 416242 w 3359086"/>
                <a:gd name="connsiteY21161" fmla="*/ 631889 h 3355086"/>
                <a:gd name="connsiteX21162" fmla="*/ 422433 w 3359086"/>
                <a:gd name="connsiteY21162" fmla="*/ 638080 h 3355086"/>
                <a:gd name="connsiteX21163" fmla="*/ 416242 w 3359086"/>
                <a:gd name="connsiteY21163" fmla="*/ 644271 h 3355086"/>
                <a:gd name="connsiteX21164" fmla="*/ 410051 w 3359086"/>
                <a:gd name="connsiteY21164" fmla="*/ 638080 h 3355086"/>
                <a:gd name="connsiteX21165" fmla="*/ 416242 w 3359086"/>
                <a:gd name="connsiteY21165" fmla="*/ 631889 h 3355086"/>
                <a:gd name="connsiteX21166" fmla="*/ 2937509 w 3359086"/>
                <a:gd name="connsiteY21166" fmla="*/ 630746 h 3355086"/>
                <a:gd name="connsiteX21167" fmla="*/ 2943414 w 3359086"/>
                <a:gd name="connsiteY21167" fmla="*/ 636652 h 3355086"/>
                <a:gd name="connsiteX21168" fmla="*/ 2945987 w 3359086"/>
                <a:gd name="connsiteY21168" fmla="*/ 634079 h 3355086"/>
                <a:gd name="connsiteX21169" fmla="*/ 2951463 w 3359086"/>
                <a:gd name="connsiteY21169" fmla="*/ 639556 h 3355086"/>
                <a:gd name="connsiteX21170" fmla="*/ 2954273 w 3359086"/>
                <a:gd name="connsiteY21170" fmla="*/ 636746 h 3355086"/>
                <a:gd name="connsiteX21171" fmla="*/ 2959322 w 3359086"/>
                <a:gd name="connsiteY21171" fmla="*/ 641795 h 3355086"/>
                <a:gd name="connsiteX21172" fmla="*/ 2962750 w 3359086"/>
                <a:gd name="connsiteY21172" fmla="*/ 638366 h 3355086"/>
                <a:gd name="connsiteX21173" fmla="*/ 2967608 w 3359086"/>
                <a:gd name="connsiteY21173" fmla="*/ 643224 h 3355086"/>
                <a:gd name="connsiteX21174" fmla="*/ 2972085 w 3359086"/>
                <a:gd name="connsiteY21174" fmla="*/ 638747 h 3355086"/>
                <a:gd name="connsiteX21175" fmla="*/ 2976800 w 3359086"/>
                <a:gd name="connsiteY21175" fmla="*/ 643462 h 3355086"/>
                <a:gd name="connsiteX21176" fmla="*/ 2982658 w 3359086"/>
                <a:gd name="connsiteY21176" fmla="*/ 637604 h 3355086"/>
                <a:gd name="connsiteX21177" fmla="*/ 2988850 w 3359086"/>
                <a:gd name="connsiteY21177" fmla="*/ 643795 h 3355086"/>
                <a:gd name="connsiteX21178" fmla="*/ 2982658 w 3359086"/>
                <a:gd name="connsiteY21178" fmla="*/ 649987 h 3355086"/>
                <a:gd name="connsiteX21179" fmla="*/ 2977943 w 3359086"/>
                <a:gd name="connsiteY21179" fmla="*/ 645271 h 3355086"/>
                <a:gd name="connsiteX21180" fmla="*/ 2972085 w 3359086"/>
                <a:gd name="connsiteY21180" fmla="*/ 651129 h 3355086"/>
                <a:gd name="connsiteX21181" fmla="*/ 2967227 w 3359086"/>
                <a:gd name="connsiteY21181" fmla="*/ 646271 h 3355086"/>
                <a:gd name="connsiteX21182" fmla="*/ 2962750 w 3359086"/>
                <a:gd name="connsiteY21182" fmla="*/ 650748 h 3355086"/>
                <a:gd name="connsiteX21183" fmla="*/ 2957702 w 3359086"/>
                <a:gd name="connsiteY21183" fmla="*/ 645700 h 3355086"/>
                <a:gd name="connsiteX21184" fmla="*/ 2954273 w 3359086"/>
                <a:gd name="connsiteY21184" fmla="*/ 649129 h 3355086"/>
                <a:gd name="connsiteX21185" fmla="*/ 2948797 w 3359086"/>
                <a:gd name="connsiteY21185" fmla="*/ 643652 h 3355086"/>
                <a:gd name="connsiteX21186" fmla="*/ 2945987 w 3359086"/>
                <a:gd name="connsiteY21186" fmla="*/ 646462 h 3355086"/>
                <a:gd name="connsiteX21187" fmla="*/ 2940082 w 3359086"/>
                <a:gd name="connsiteY21187" fmla="*/ 640556 h 3355086"/>
                <a:gd name="connsiteX21188" fmla="*/ 2937509 w 3359086"/>
                <a:gd name="connsiteY21188" fmla="*/ 643129 h 3355086"/>
                <a:gd name="connsiteX21189" fmla="*/ 2931318 w 3359086"/>
                <a:gd name="connsiteY21189" fmla="*/ 636937 h 3355086"/>
                <a:gd name="connsiteX21190" fmla="*/ 2937509 w 3359086"/>
                <a:gd name="connsiteY21190" fmla="*/ 630746 h 3355086"/>
                <a:gd name="connsiteX21191" fmla="*/ 431672 w 3359086"/>
                <a:gd name="connsiteY21191" fmla="*/ 630174 h 3355086"/>
                <a:gd name="connsiteX21192" fmla="*/ 437864 w 3359086"/>
                <a:gd name="connsiteY21192" fmla="*/ 636365 h 3355086"/>
                <a:gd name="connsiteX21193" fmla="*/ 431672 w 3359086"/>
                <a:gd name="connsiteY21193" fmla="*/ 642556 h 3355086"/>
                <a:gd name="connsiteX21194" fmla="*/ 425481 w 3359086"/>
                <a:gd name="connsiteY21194" fmla="*/ 636365 h 3355086"/>
                <a:gd name="connsiteX21195" fmla="*/ 431672 w 3359086"/>
                <a:gd name="connsiteY21195" fmla="*/ 630174 h 3355086"/>
                <a:gd name="connsiteX21196" fmla="*/ 451199 w 3359086"/>
                <a:gd name="connsiteY21196" fmla="*/ 630079 h 3355086"/>
                <a:gd name="connsiteX21197" fmla="*/ 457390 w 3359086"/>
                <a:gd name="connsiteY21197" fmla="*/ 636270 h 3355086"/>
                <a:gd name="connsiteX21198" fmla="*/ 451199 w 3359086"/>
                <a:gd name="connsiteY21198" fmla="*/ 642462 h 3355086"/>
                <a:gd name="connsiteX21199" fmla="*/ 445008 w 3359086"/>
                <a:gd name="connsiteY21199" fmla="*/ 636270 h 3355086"/>
                <a:gd name="connsiteX21200" fmla="*/ 451199 w 3359086"/>
                <a:gd name="connsiteY21200" fmla="*/ 630079 h 3355086"/>
                <a:gd name="connsiteX21201" fmla="*/ 780573 w 3359086"/>
                <a:gd name="connsiteY21201" fmla="*/ 627888 h 3355086"/>
                <a:gd name="connsiteX21202" fmla="*/ 786764 w 3359086"/>
                <a:gd name="connsiteY21202" fmla="*/ 634079 h 3355086"/>
                <a:gd name="connsiteX21203" fmla="*/ 780573 w 3359086"/>
                <a:gd name="connsiteY21203" fmla="*/ 640270 h 3355086"/>
                <a:gd name="connsiteX21204" fmla="*/ 774382 w 3359086"/>
                <a:gd name="connsiteY21204" fmla="*/ 634079 h 3355086"/>
                <a:gd name="connsiteX21205" fmla="*/ 780573 w 3359086"/>
                <a:gd name="connsiteY21205" fmla="*/ 627888 h 3355086"/>
                <a:gd name="connsiteX21206" fmla="*/ 2928080 w 3359086"/>
                <a:gd name="connsiteY21206" fmla="*/ 627031 h 3355086"/>
                <a:gd name="connsiteX21207" fmla="*/ 2934271 w 3359086"/>
                <a:gd name="connsiteY21207" fmla="*/ 633222 h 3355086"/>
                <a:gd name="connsiteX21208" fmla="*/ 2928080 w 3359086"/>
                <a:gd name="connsiteY21208" fmla="*/ 639414 h 3355086"/>
                <a:gd name="connsiteX21209" fmla="*/ 2921889 w 3359086"/>
                <a:gd name="connsiteY21209" fmla="*/ 633222 h 3355086"/>
                <a:gd name="connsiteX21210" fmla="*/ 2928080 w 3359086"/>
                <a:gd name="connsiteY21210" fmla="*/ 627031 h 3355086"/>
                <a:gd name="connsiteX21211" fmla="*/ 1364456 w 3359086"/>
                <a:gd name="connsiteY21211" fmla="*/ 626841 h 3355086"/>
                <a:gd name="connsiteX21212" fmla="*/ 1370647 w 3359086"/>
                <a:gd name="connsiteY21212" fmla="*/ 633032 h 3355086"/>
                <a:gd name="connsiteX21213" fmla="*/ 1364456 w 3359086"/>
                <a:gd name="connsiteY21213" fmla="*/ 639223 h 3355086"/>
                <a:gd name="connsiteX21214" fmla="*/ 1358265 w 3359086"/>
                <a:gd name="connsiteY21214" fmla="*/ 633032 h 3355086"/>
                <a:gd name="connsiteX21215" fmla="*/ 1364456 w 3359086"/>
                <a:gd name="connsiteY21215" fmla="*/ 626841 h 3355086"/>
                <a:gd name="connsiteX21216" fmla="*/ 2806064 w 3359086"/>
                <a:gd name="connsiteY21216" fmla="*/ 624650 h 3355086"/>
                <a:gd name="connsiteX21217" fmla="*/ 2812255 w 3359086"/>
                <a:gd name="connsiteY21217" fmla="*/ 630841 h 3355086"/>
                <a:gd name="connsiteX21218" fmla="*/ 2806064 w 3359086"/>
                <a:gd name="connsiteY21218" fmla="*/ 637033 h 3355086"/>
                <a:gd name="connsiteX21219" fmla="*/ 2799873 w 3359086"/>
                <a:gd name="connsiteY21219" fmla="*/ 630841 h 3355086"/>
                <a:gd name="connsiteX21220" fmla="*/ 2806064 w 3359086"/>
                <a:gd name="connsiteY21220" fmla="*/ 624650 h 3355086"/>
                <a:gd name="connsiteX21221" fmla="*/ 2343625 w 3359086"/>
                <a:gd name="connsiteY21221" fmla="*/ 623602 h 3355086"/>
                <a:gd name="connsiteX21222" fmla="*/ 2349817 w 3359086"/>
                <a:gd name="connsiteY21222" fmla="*/ 629793 h 3355086"/>
                <a:gd name="connsiteX21223" fmla="*/ 2343625 w 3359086"/>
                <a:gd name="connsiteY21223" fmla="*/ 635985 h 3355086"/>
                <a:gd name="connsiteX21224" fmla="*/ 2337434 w 3359086"/>
                <a:gd name="connsiteY21224" fmla="*/ 629793 h 3355086"/>
                <a:gd name="connsiteX21225" fmla="*/ 2343625 w 3359086"/>
                <a:gd name="connsiteY21225" fmla="*/ 623602 h 3355086"/>
                <a:gd name="connsiteX21226" fmla="*/ 2917031 w 3359086"/>
                <a:gd name="connsiteY21226" fmla="*/ 623316 h 3355086"/>
                <a:gd name="connsiteX21227" fmla="*/ 2923222 w 3359086"/>
                <a:gd name="connsiteY21227" fmla="*/ 629507 h 3355086"/>
                <a:gd name="connsiteX21228" fmla="*/ 2917031 w 3359086"/>
                <a:gd name="connsiteY21228" fmla="*/ 635699 h 3355086"/>
                <a:gd name="connsiteX21229" fmla="*/ 2910840 w 3359086"/>
                <a:gd name="connsiteY21229" fmla="*/ 629507 h 3355086"/>
                <a:gd name="connsiteX21230" fmla="*/ 2917031 w 3359086"/>
                <a:gd name="connsiteY21230" fmla="*/ 623316 h 3355086"/>
                <a:gd name="connsiteX21231" fmla="*/ 396906 w 3359086"/>
                <a:gd name="connsiteY21231" fmla="*/ 622650 h 3355086"/>
                <a:gd name="connsiteX21232" fmla="*/ 403097 w 3359086"/>
                <a:gd name="connsiteY21232" fmla="*/ 628841 h 3355086"/>
                <a:gd name="connsiteX21233" fmla="*/ 396906 w 3359086"/>
                <a:gd name="connsiteY21233" fmla="*/ 635033 h 3355086"/>
                <a:gd name="connsiteX21234" fmla="*/ 394191 w 3359086"/>
                <a:gd name="connsiteY21234" fmla="*/ 632317 h 3355086"/>
                <a:gd name="connsiteX21235" fmla="*/ 388238 w 3359086"/>
                <a:gd name="connsiteY21235" fmla="*/ 638271 h 3355086"/>
                <a:gd name="connsiteX21236" fmla="*/ 384999 w 3359086"/>
                <a:gd name="connsiteY21236" fmla="*/ 635032 h 3355086"/>
                <a:gd name="connsiteX21237" fmla="*/ 379380 w 3359086"/>
                <a:gd name="connsiteY21237" fmla="*/ 640652 h 3355086"/>
                <a:gd name="connsiteX21238" fmla="*/ 374999 w 3359086"/>
                <a:gd name="connsiteY21238" fmla="*/ 636270 h 3355086"/>
                <a:gd name="connsiteX21239" fmla="*/ 369856 w 3359086"/>
                <a:gd name="connsiteY21239" fmla="*/ 641414 h 3355086"/>
                <a:gd name="connsiteX21240" fmla="*/ 363855 w 3359086"/>
                <a:gd name="connsiteY21240" fmla="*/ 635413 h 3355086"/>
                <a:gd name="connsiteX21241" fmla="*/ 369856 w 3359086"/>
                <a:gd name="connsiteY21241" fmla="*/ 629412 h 3355086"/>
                <a:gd name="connsiteX21242" fmla="*/ 374046 w 3359086"/>
                <a:gd name="connsiteY21242" fmla="*/ 633603 h 3355086"/>
                <a:gd name="connsiteX21243" fmla="*/ 379380 w 3359086"/>
                <a:gd name="connsiteY21243" fmla="*/ 628269 h 3355086"/>
                <a:gd name="connsiteX21244" fmla="*/ 382619 w 3359086"/>
                <a:gd name="connsiteY21244" fmla="*/ 631508 h 3355086"/>
                <a:gd name="connsiteX21245" fmla="*/ 388238 w 3359086"/>
                <a:gd name="connsiteY21245" fmla="*/ 625888 h 3355086"/>
                <a:gd name="connsiteX21246" fmla="*/ 390953 w 3359086"/>
                <a:gd name="connsiteY21246" fmla="*/ 628603 h 3355086"/>
                <a:gd name="connsiteX21247" fmla="*/ 1917572 w 3359086"/>
                <a:gd name="connsiteY21247" fmla="*/ 622173 h 3355086"/>
                <a:gd name="connsiteX21248" fmla="*/ 1923764 w 3359086"/>
                <a:gd name="connsiteY21248" fmla="*/ 628364 h 3355086"/>
                <a:gd name="connsiteX21249" fmla="*/ 1917572 w 3359086"/>
                <a:gd name="connsiteY21249" fmla="*/ 634556 h 3355086"/>
                <a:gd name="connsiteX21250" fmla="*/ 1911381 w 3359086"/>
                <a:gd name="connsiteY21250" fmla="*/ 628364 h 3355086"/>
                <a:gd name="connsiteX21251" fmla="*/ 1917572 w 3359086"/>
                <a:gd name="connsiteY21251" fmla="*/ 622173 h 3355086"/>
                <a:gd name="connsiteX21252" fmla="*/ 2657284 w 3359086"/>
                <a:gd name="connsiteY21252" fmla="*/ 620935 h 3355086"/>
                <a:gd name="connsiteX21253" fmla="*/ 2663476 w 3359086"/>
                <a:gd name="connsiteY21253" fmla="*/ 627126 h 3355086"/>
                <a:gd name="connsiteX21254" fmla="*/ 2657284 w 3359086"/>
                <a:gd name="connsiteY21254" fmla="*/ 633318 h 3355086"/>
                <a:gd name="connsiteX21255" fmla="*/ 2651093 w 3359086"/>
                <a:gd name="connsiteY21255" fmla="*/ 627126 h 3355086"/>
                <a:gd name="connsiteX21256" fmla="*/ 2657284 w 3359086"/>
                <a:gd name="connsiteY21256" fmla="*/ 620935 h 3355086"/>
                <a:gd name="connsiteX21257" fmla="*/ 2903600 w 3359086"/>
                <a:gd name="connsiteY21257" fmla="*/ 620173 h 3355086"/>
                <a:gd name="connsiteX21258" fmla="*/ 2909791 w 3359086"/>
                <a:gd name="connsiteY21258" fmla="*/ 626364 h 3355086"/>
                <a:gd name="connsiteX21259" fmla="*/ 2903600 w 3359086"/>
                <a:gd name="connsiteY21259" fmla="*/ 632556 h 3355086"/>
                <a:gd name="connsiteX21260" fmla="*/ 2897409 w 3359086"/>
                <a:gd name="connsiteY21260" fmla="*/ 626364 h 3355086"/>
                <a:gd name="connsiteX21261" fmla="*/ 2903600 w 3359086"/>
                <a:gd name="connsiteY21261" fmla="*/ 620173 h 3355086"/>
                <a:gd name="connsiteX21262" fmla="*/ 2839211 w 3359086"/>
                <a:gd name="connsiteY21262" fmla="*/ 619697 h 3355086"/>
                <a:gd name="connsiteX21263" fmla="*/ 2845403 w 3359086"/>
                <a:gd name="connsiteY21263" fmla="*/ 625888 h 3355086"/>
                <a:gd name="connsiteX21264" fmla="*/ 2839211 w 3359086"/>
                <a:gd name="connsiteY21264" fmla="*/ 632079 h 3355086"/>
                <a:gd name="connsiteX21265" fmla="*/ 2833020 w 3359086"/>
                <a:gd name="connsiteY21265" fmla="*/ 625888 h 3355086"/>
                <a:gd name="connsiteX21266" fmla="*/ 2839211 w 3359086"/>
                <a:gd name="connsiteY21266" fmla="*/ 619697 h 3355086"/>
                <a:gd name="connsiteX21267" fmla="*/ 2975990 w 3359086"/>
                <a:gd name="connsiteY21267" fmla="*/ 619411 h 3355086"/>
                <a:gd name="connsiteX21268" fmla="*/ 2982181 w 3359086"/>
                <a:gd name="connsiteY21268" fmla="*/ 625602 h 3355086"/>
                <a:gd name="connsiteX21269" fmla="*/ 2975990 w 3359086"/>
                <a:gd name="connsiteY21269" fmla="*/ 631793 h 3355086"/>
                <a:gd name="connsiteX21270" fmla="*/ 2969799 w 3359086"/>
                <a:gd name="connsiteY21270" fmla="*/ 625602 h 3355086"/>
                <a:gd name="connsiteX21271" fmla="*/ 2975990 w 3359086"/>
                <a:gd name="connsiteY21271" fmla="*/ 619411 h 3355086"/>
                <a:gd name="connsiteX21272" fmla="*/ 593788 w 3359086"/>
                <a:gd name="connsiteY21272" fmla="*/ 619221 h 3355086"/>
                <a:gd name="connsiteX21273" fmla="*/ 599980 w 3359086"/>
                <a:gd name="connsiteY21273" fmla="*/ 625412 h 3355086"/>
                <a:gd name="connsiteX21274" fmla="*/ 593788 w 3359086"/>
                <a:gd name="connsiteY21274" fmla="*/ 631604 h 3355086"/>
                <a:gd name="connsiteX21275" fmla="*/ 587597 w 3359086"/>
                <a:gd name="connsiteY21275" fmla="*/ 625412 h 3355086"/>
                <a:gd name="connsiteX21276" fmla="*/ 593788 w 3359086"/>
                <a:gd name="connsiteY21276" fmla="*/ 619221 h 3355086"/>
                <a:gd name="connsiteX21277" fmla="*/ 406050 w 3359086"/>
                <a:gd name="connsiteY21277" fmla="*/ 618649 h 3355086"/>
                <a:gd name="connsiteX21278" fmla="*/ 412241 w 3359086"/>
                <a:gd name="connsiteY21278" fmla="*/ 624840 h 3355086"/>
                <a:gd name="connsiteX21279" fmla="*/ 406050 w 3359086"/>
                <a:gd name="connsiteY21279" fmla="*/ 631031 h 3355086"/>
                <a:gd name="connsiteX21280" fmla="*/ 399859 w 3359086"/>
                <a:gd name="connsiteY21280" fmla="*/ 624840 h 3355086"/>
                <a:gd name="connsiteX21281" fmla="*/ 406050 w 3359086"/>
                <a:gd name="connsiteY21281" fmla="*/ 618649 h 3355086"/>
                <a:gd name="connsiteX21282" fmla="*/ 2886836 w 3359086"/>
                <a:gd name="connsiteY21282" fmla="*/ 618077 h 3355086"/>
                <a:gd name="connsiteX21283" fmla="*/ 2893028 w 3359086"/>
                <a:gd name="connsiteY21283" fmla="*/ 624268 h 3355086"/>
                <a:gd name="connsiteX21284" fmla="*/ 2886836 w 3359086"/>
                <a:gd name="connsiteY21284" fmla="*/ 630460 h 3355086"/>
                <a:gd name="connsiteX21285" fmla="*/ 2880645 w 3359086"/>
                <a:gd name="connsiteY21285" fmla="*/ 624268 h 3355086"/>
                <a:gd name="connsiteX21286" fmla="*/ 2886836 w 3359086"/>
                <a:gd name="connsiteY21286" fmla="*/ 618077 h 3355086"/>
                <a:gd name="connsiteX21287" fmla="*/ 1473231 w 3359086"/>
                <a:gd name="connsiteY21287" fmla="*/ 617887 h 3355086"/>
                <a:gd name="connsiteX21288" fmla="*/ 1479423 w 3359086"/>
                <a:gd name="connsiteY21288" fmla="*/ 624078 h 3355086"/>
                <a:gd name="connsiteX21289" fmla="*/ 1473231 w 3359086"/>
                <a:gd name="connsiteY21289" fmla="*/ 630270 h 3355086"/>
                <a:gd name="connsiteX21290" fmla="*/ 1467040 w 3359086"/>
                <a:gd name="connsiteY21290" fmla="*/ 624078 h 3355086"/>
                <a:gd name="connsiteX21291" fmla="*/ 1473231 w 3359086"/>
                <a:gd name="connsiteY21291" fmla="*/ 617887 h 3355086"/>
                <a:gd name="connsiteX21292" fmla="*/ 2865786 w 3359086"/>
                <a:gd name="connsiteY21292" fmla="*/ 617696 h 3355086"/>
                <a:gd name="connsiteX21293" fmla="*/ 2871977 w 3359086"/>
                <a:gd name="connsiteY21293" fmla="*/ 623887 h 3355086"/>
                <a:gd name="connsiteX21294" fmla="*/ 2865786 w 3359086"/>
                <a:gd name="connsiteY21294" fmla="*/ 630079 h 3355086"/>
                <a:gd name="connsiteX21295" fmla="*/ 2859595 w 3359086"/>
                <a:gd name="connsiteY21295" fmla="*/ 623887 h 3355086"/>
                <a:gd name="connsiteX21296" fmla="*/ 2865786 w 3359086"/>
                <a:gd name="connsiteY21296" fmla="*/ 617696 h 3355086"/>
                <a:gd name="connsiteX21297" fmla="*/ 378047 w 3359086"/>
                <a:gd name="connsiteY21297" fmla="*/ 617601 h 3355086"/>
                <a:gd name="connsiteX21298" fmla="*/ 378428 w 3359086"/>
                <a:gd name="connsiteY21298" fmla="*/ 617982 h 3355086"/>
                <a:gd name="connsiteX21299" fmla="*/ 378047 w 3359086"/>
                <a:gd name="connsiteY21299" fmla="*/ 618363 h 3355086"/>
                <a:gd name="connsiteX21300" fmla="*/ 377666 w 3359086"/>
                <a:gd name="connsiteY21300" fmla="*/ 617982 h 3355086"/>
                <a:gd name="connsiteX21301" fmla="*/ 378047 w 3359086"/>
                <a:gd name="connsiteY21301" fmla="*/ 617601 h 3355086"/>
                <a:gd name="connsiteX21302" fmla="*/ 2934842 w 3359086"/>
                <a:gd name="connsiteY21302" fmla="*/ 616363 h 3355086"/>
                <a:gd name="connsiteX21303" fmla="*/ 2940843 w 3359086"/>
                <a:gd name="connsiteY21303" fmla="*/ 622364 h 3355086"/>
                <a:gd name="connsiteX21304" fmla="*/ 2943986 w 3359086"/>
                <a:gd name="connsiteY21304" fmla="*/ 619221 h 3355086"/>
                <a:gd name="connsiteX21305" fmla="*/ 2949606 w 3359086"/>
                <a:gd name="connsiteY21305" fmla="*/ 624841 h 3355086"/>
                <a:gd name="connsiteX21306" fmla="*/ 2953607 w 3359086"/>
                <a:gd name="connsiteY21306" fmla="*/ 620840 h 3355086"/>
                <a:gd name="connsiteX21307" fmla="*/ 2958988 w 3359086"/>
                <a:gd name="connsiteY21307" fmla="*/ 626221 h 3355086"/>
                <a:gd name="connsiteX21308" fmla="*/ 2964179 w 3359086"/>
                <a:gd name="connsiteY21308" fmla="*/ 621030 h 3355086"/>
                <a:gd name="connsiteX21309" fmla="*/ 2970371 w 3359086"/>
                <a:gd name="connsiteY21309" fmla="*/ 627221 h 3355086"/>
                <a:gd name="connsiteX21310" fmla="*/ 2964179 w 3359086"/>
                <a:gd name="connsiteY21310" fmla="*/ 633412 h 3355086"/>
                <a:gd name="connsiteX21311" fmla="*/ 2958798 w 3359086"/>
                <a:gd name="connsiteY21311" fmla="*/ 628031 h 3355086"/>
                <a:gd name="connsiteX21312" fmla="*/ 2953607 w 3359086"/>
                <a:gd name="connsiteY21312" fmla="*/ 633223 h 3355086"/>
                <a:gd name="connsiteX21313" fmla="*/ 2947987 w 3359086"/>
                <a:gd name="connsiteY21313" fmla="*/ 627603 h 3355086"/>
                <a:gd name="connsiteX21314" fmla="*/ 2943986 w 3359086"/>
                <a:gd name="connsiteY21314" fmla="*/ 631604 h 3355086"/>
                <a:gd name="connsiteX21315" fmla="*/ 2937985 w 3359086"/>
                <a:gd name="connsiteY21315" fmla="*/ 625602 h 3355086"/>
                <a:gd name="connsiteX21316" fmla="*/ 2934842 w 3359086"/>
                <a:gd name="connsiteY21316" fmla="*/ 628746 h 3355086"/>
                <a:gd name="connsiteX21317" fmla="*/ 2928651 w 3359086"/>
                <a:gd name="connsiteY21317" fmla="*/ 622554 h 3355086"/>
                <a:gd name="connsiteX21318" fmla="*/ 2934842 w 3359086"/>
                <a:gd name="connsiteY21318" fmla="*/ 616363 h 3355086"/>
                <a:gd name="connsiteX21319" fmla="*/ 2518600 w 3359086"/>
                <a:gd name="connsiteY21319" fmla="*/ 616363 h 3355086"/>
                <a:gd name="connsiteX21320" fmla="*/ 2524792 w 3359086"/>
                <a:gd name="connsiteY21320" fmla="*/ 622554 h 3355086"/>
                <a:gd name="connsiteX21321" fmla="*/ 2518600 w 3359086"/>
                <a:gd name="connsiteY21321" fmla="*/ 628746 h 3355086"/>
                <a:gd name="connsiteX21322" fmla="*/ 2512409 w 3359086"/>
                <a:gd name="connsiteY21322" fmla="*/ 622554 h 3355086"/>
                <a:gd name="connsiteX21323" fmla="*/ 2518600 w 3359086"/>
                <a:gd name="connsiteY21323" fmla="*/ 616363 h 3355086"/>
                <a:gd name="connsiteX21324" fmla="*/ 1807654 w 3359086"/>
                <a:gd name="connsiteY21324" fmla="*/ 614934 h 3355086"/>
                <a:gd name="connsiteX21325" fmla="*/ 1813845 w 3359086"/>
                <a:gd name="connsiteY21325" fmla="*/ 621125 h 3355086"/>
                <a:gd name="connsiteX21326" fmla="*/ 1807654 w 3359086"/>
                <a:gd name="connsiteY21326" fmla="*/ 627316 h 3355086"/>
                <a:gd name="connsiteX21327" fmla="*/ 1801463 w 3359086"/>
                <a:gd name="connsiteY21327" fmla="*/ 621125 h 3355086"/>
                <a:gd name="connsiteX21328" fmla="*/ 1807654 w 3359086"/>
                <a:gd name="connsiteY21328" fmla="*/ 614934 h 3355086"/>
                <a:gd name="connsiteX21329" fmla="*/ 416337 w 3359086"/>
                <a:gd name="connsiteY21329" fmla="*/ 614268 h 3355086"/>
                <a:gd name="connsiteX21330" fmla="*/ 422528 w 3359086"/>
                <a:gd name="connsiteY21330" fmla="*/ 620459 h 3355086"/>
                <a:gd name="connsiteX21331" fmla="*/ 416337 w 3359086"/>
                <a:gd name="connsiteY21331" fmla="*/ 626650 h 3355086"/>
                <a:gd name="connsiteX21332" fmla="*/ 410146 w 3359086"/>
                <a:gd name="connsiteY21332" fmla="*/ 620459 h 3355086"/>
                <a:gd name="connsiteX21333" fmla="*/ 416337 w 3359086"/>
                <a:gd name="connsiteY21333" fmla="*/ 614268 h 3355086"/>
                <a:gd name="connsiteX21334" fmla="*/ 1584197 w 3359086"/>
                <a:gd name="connsiteY21334" fmla="*/ 612743 h 3355086"/>
                <a:gd name="connsiteX21335" fmla="*/ 1590389 w 3359086"/>
                <a:gd name="connsiteY21335" fmla="*/ 618934 h 3355086"/>
                <a:gd name="connsiteX21336" fmla="*/ 1584197 w 3359086"/>
                <a:gd name="connsiteY21336" fmla="*/ 625126 h 3355086"/>
                <a:gd name="connsiteX21337" fmla="*/ 1578006 w 3359086"/>
                <a:gd name="connsiteY21337" fmla="*/ 618934 h 3355086"/>
                <a:gd name="connsiteX21338" fmla="*/ 1584197 w 3359086"/>
                <a:gd name="connsiteY21338" fmla="*/ 612743 h 3355086"/>
                <a:gd name="connsiteX21339" fmla="*/ 1035557 w 3359086"/>
                <a:gd name="connsiteY21339" fmla="*/ 612553 h 3355086"/>
                <a:gd name="connsiteX21340" fmla="*/ 1041749 w 3359086"/>
                <a:gd name="connsiteY21340" fmla="*/ 618744 h 3355086"/>
                <a:gd name="connsiteX21341" fmla="*/ 1035557 w 3359086"/>
                <a:gd name="connsiteY21341" fmla="*/ 624935 h 3355086"/>
                <a:gd name="connsiteX21342" fmla="*/ 1029366 w 3359086"/>
                <a:gd name="connsiteY21342" fmla="*/ 618744 h 3355086"/>
                <a:gd name="connsiteX21343" fmla="*/ 1035557 w 3359086"/>
                <a:gd name="connsiteY21343" fmla="*/ 612553 h 3355086"/>
                <a:gd name="connsiteX21344" fmla="*/ 2925698 w 3359086"/>
                <a:gd name="connsiteY21344" fmla="*/ 612458 h 3355086"/>
                <a:gd name="connsiteX21345" fmla="*/ 2931889 w 3359086"/>
                <a:gd name="connsiteY21345" fmla="*/ 618649 h 3355086"/>
                <a:gd name="connsiteX21346" fmla="*/ 2925698 w 3359086"/>
                <a:gd name="connsiteY21346" fmla="*/ 624840 h 3355086"/>
                <a:gd name="connsiteX21347" fmla="*/ 2919507 w 3359086"/>
                <a:gd name="connsiteY21347" fmla="*/ 618649 h 3355086"/>
                <a:gd name="connsiteX21348" fmla="*/ 2925698 w 3359086"/>
                <a:gd name="connsiteY21348" fmla="*/ 612458 h 3355086"/>
                <a:gd name="connsiteX21349" fmla="*/ 1696021 w 3359086"/>
                <a:gd name="connsiteY21349" fmla="*/ 611791 h 3355086"/>
                <a:gd name="connsiteX21350" fmla="*/ 1702213 w 3359086"/>
                <a:gd name="connsiteY21350" fmla="*/ 617982 h 3355086"/>
                <a:gd name="connsiteX21351" fmla="*/ 1696021 w 3359086"/>
                <a:gd name="connsiteY21351" fmla="*/ 624173 h 3355086"/>
                <a:gd name="connsiteX21352" fmla="*/ 1689830 w 3359086"/>
                <a:gd name="connsiteY21352" fmla="*/ 617982 h 3355086"/>
                <a:gd name="connsiteX21353" fmla="*/ 1696021 w 3359086"/>
                <a:gd name="connsiteY21353" fmla="*/ 611791 h 3355086"/>
                <a:gd name="connsiteX21354" fmla="*/ 549497 w 3359086"/>
                <a:gd name="connsiteY21354" fmla="*/ 610172 h 3355086"/>
                <a:gd name="connsiteX21355" fmla="*/ 555688 w 3359086"/>
                <a:gd name="connsiteY21355" fmla="*/ 616363 h 3355086"/>
                <a:gd name="connsiteX21356" fmla="*/ 549497 w 3359086"/>
                <a:gd name="connsiteY21356" fmla="*/ 622554 h 3355086"/>
                <a:gd name="connsiteX21357" fmla="*/ 543306 w 3359086"/>
                <a:gd name="connsiteY21357" fmla="*/ 616363 h 3355086"/>
                <a:gd name="connsiteX21358" fmla="*/ 549497 w 3359086"/>
                <a:gd name="connsiteY21358" fmla="*/ 610172 h 3355086"/>
                <a:gd name="connsiteX21359" fmla="*/ 428434 w 3359086"/>
                <a:gd name="connsiteY21359" fmla="*/ 610077 h 3355086"/>
                <a:gd name="connsiteX21360" fmla="*/ 434625 w 3359086"/>
                <a:gd name="connsiteY21360" fmla="*/ 616268 h 3355086"/>
                <a:gd name="connsiteX21361" fmla="*/ 428434 w 3359086"/>
                <a:gd name="connsiteY21361" fmla="*/ 622459 h 3355086"/>
                <a:gd name="connsiteX21362" fmla="*/ 422243 w 3359086"/>
                <a:gd name="connsiteY21362" fmla="*/ 616268 h 3355086"/>
                <a:gd name="connsiteX21363" fmla="*/ 428434 w 3359086"/>
                <a:gd name="connsiteY21363" fmla="*/ 610077 h 3355086"/>
                <a:gd name="connsiteX21364" fmla="*/ 398621 w 3359086"/>
                <a:gd name="connsiteY21364" fmla="*/ 608743 h 3355086"/>
                <a:gd name="connsiteX21365" fmla="*/ 404812 w 3359086"/>
                <a:gd name="connsiteY21365" fmla="*/ 614934 h 3355086"/>
                <a:gd name="connsiteX21366" fmla="*/ 398621 w 3359086"/>
                <a:gd name="connsiteY21366" fmla="*/ 621125 h 3355086"/>
                <a:gd name="connsiteX21367" fmla="*/ 394811 w 3359086"/>
                <a:gd name="connsiteY21367" fmla="*/ 617315 h 3355086"/>
                <a:gd name="connsiteX21368" fmla="*/ 388714 w 3359086"/>
                <a:gd name="connsiteY21368" fmla="*/ 623412 h 3355086"/>
                <a:gd name="connsiteX21369" fmla="*/ 382523 w 3359086"/>
                <a:gd name="connsiteY21369" fmla="*/ 617220 h 3355086"/>
                <a:gd name="connsiteX21370" fmla="*/ 388714 w 3359086"/>
                <a:gd name="connsiteY21370" fmla="*/ 611029 h 3355086"/>
                <a:gd name="connsiteX21371" fmla="*/ 392525 w 3359086"/>
                <a:gd name="connsiteY21371" fmla="*/ 614840 h 3355086"/>
                <a:gd name="connsiteX21372" fmla="*/ 2915888 w 3359086"/>
                <a:gd name="connsiteY21372" fmla="*/ 607981 h 3355086"/>
                <a:gd name="connsiteX21373" fmla="*/ 2922079 w 3359086"/>
                <a:gd name="connsiteY21373" fmla="*/ 614172 h 3355086"/>
                <a:gd name="connsiteX21374" fmla="*/ 2915888 w 3359086"/>
                <a:gd name="connsiteY21374" fmla="*/ 620364 h 3355086"/>
                <a:gd name="connsiteX21375" fmla="*/ 2909697 w 3359086"/>
                <a:gd name="connsiteY21375" fmla="*/ 614172 h 3355086"/>
                <a:gd name="connsiteX21376" fmla="*/ 2915888 w 3359086"/>
                <a:gd name="connsiteY21376" fmla="*/ 607981 h 3355086"/>
                <a:gd name="connsiteX21377" fmla="*/ 707421 w 3359086"/>
                <a:gd name="connsiteY21377" fmla="*/ 606933 h 3355086"/>
                <a:gd name="connsiteX21378" fmla="*/ 713612 w 3359086"/>
                <a:gd name="connsiteY21378" fmla="*/ 613124 h 3355086"/>
                <a:gd name="connsiteX21379" fmla="*/ 707421 w 3359086"/>
                <a:gd name="connsiteY21379" fmla="*/ 619316 h 3355086"/>
                <a:gd name="connsiteX21380" fmla="*/ 701230 w 3359086"/>
                <a:gd name="connsiteY21380" fmla="*/ 613124 h 3355086"/>
                <a:gd name="connsiteX21381" fmla="*/ 707421 w 3359086"/>
                <a:gd name="connsiteY21381" fmla="*/ 606933 h 3355086"/>
                <a:gd name="connsiteX21382" fmla="*/ 2714434 w 3359086"/>
                <a:gd name="connsiteY21382" fmla="*/ 606648 h 3355086"/>
                <a:gd name="connsiteX21383" fmla="*/ 2720626 w 3359086"/>
                <a:gd name="connsiteY21383" fmla="*/ 612839 h 3355086"/>
                <a:gd name="connsiteX21384" fmla="*/ 2714434 w 3359086"/>
                <a:gd name="connsiteY21384" fmla="*/ 619031 h 3355086"/>
                <a:gd name="connsiteX21385" fmla="*/ 2708243 w 3359086"/>
                <a:gd name="connsiteY21385" fmla="*/ 612839 h 3355086"/>
                <a:gd name="connsiteX21386" fmla="*/ 2714434 w 3359086"/>
                <a:gd name="connsiteY21386" fmla="*/ 606648 h 3355086"/>
                <a:gd name="connsiteX21387" fmla="*/ 443293 w 3359086"/>
                <a:gd name="connsiteY21387" fmla="*/ 606552 h 3355086"/>
                <a:gd name="connsiteX21388" fmla="*/ 449484 w 3359086"/>
                <a:gd name="connsiteY21388" fmla="*/ 612743 h 3355086"/>
                <a:gd name="connsiteX21389" fmla="*/ 443293 w 3359086"/>
                <a:gd name="connsiteY21389" fmla="*/ 618935 h 3355086"/>
                <a:gd name="connsiteX21390" fmla="*/ 437102 w 3359086"/>
                <a:gd name="connsiteY21390" fmla="*/ 612743 h 3355086"/>
                <a:gd name="connsiteX21391" fmla="*/ 443293 w 3359086"/>
                <a:gd name="connsiteY21391" fmla="*/ 606552 h 3355086"/>
                <a:gd name="connsiteX21392" fmla="*/ 2970275 w 3359086"/>
                <a:gd name="connsiteY21392" fmla="*/ 606171 h 3355086"/>
                <a:gd name="connsiteX21393" fmla="*/ 2971799 w 3359086"/>
                <a:gd name="connsiteY21393" fmla="*/ 607695 h 3355086"/>
                <a:gd name="connsiteX21394" fmla="*/ 2970275 w 3359086"/>
                <a:gd name="connsiteY21394" fmla="*/ 609219 h 3355086"/>
                <a:gd name="connsiteX21395" fmla="*/ 2968751 w 3359086"/>
                <a:gd name="connsiteY21395" fmla="*/ 607695 h 3355086"/>
                <a:gd name="connsiteX21396" fmla="*/ 2970275 w 3359086"/>
                <a:gd name="connsiteY21396" fmla="*/ 606171 h 3355086"/>
                <a:gd name="connsiteX21397" fmla="*/ 513682 w 3359086"/>
                <a:gd name="connsiteY21397" fmla="*/ 605219 h 3355086"/>
                <a:gd name="connsiteX21398" fmla="*/ 519874 w 3359086"/>
                <a:gd name="connsiteY21398" fmla="*/ 611410 h 3355086"/>
                <a:gd name="connsiteX21399" fmla="*/ 513682 w 3359086"/>
                <a:gd name="connsiteY21399" fmla="*/ 617602 h 3355086"/>
                <a:gd name="connsiteX21400" fmla="*/ 507491 w 3359086"/>
                <a:gd name="connsiteY21400" fmla="*/ 611410 h 3355086"/>
                <a:gd name="connsiteX21401" fmla="*/ 513682 w 3359086"/>
                <a:gd name="connsiteY21401" fmla="*/ 605219 h 3355086"/>
                <a:gd name="connsiteX21402" fmla="*/ 408050 w 3359086"/>
                <a:gd name="connsiteY21402" fmla="*/ 605124 h 3355086"/>
                <a:gd name="connsiteX21403" fmla="*/ 414242 w 3359086"/>
                <a:gd name="connsiteY21403" fmla="*/ 611315 h 3355086"/>
                <a:gd name="connsiteX21404" fmla="*/ 408050 w 3359086"/>
                <a:gd name="connsiteY21404" fmla="*/ 617506 h 3355086"/>
                <a:gd name="connsiteX21405" fmla="*/ 401859 w 3359086"/>
                <a:gd name="connsiteY21405" fmla="*/ 611315 h 3355086"/>
                <a:gd name="connsiteX21406" fmla="*/ 408050 w 3359086"/>
                <a:gd name="connsiteY21406" fmla="*/ 605124 h 3355086"/>
                <a:gd name="connsiteX21407" fmla="*/ 461676 w 3359086"/>
                <a:gd name="connsiteY21407" fmla="*/ 604076 h 3355086"/>
                <a:gd name="connsiteX21408" fmla="*/ 467867 w 3359086"/>
                <a:gd name="connsiteY21408" fmla="*/ 610267 h 3355086"/>
                <a:gd name="connsiteX21409" fmla="*/ 461676 w 3359086"/>
                <a:gd name="connsiteY21409" fmla="*/ 616458 h 3355086"/>
                <a:gd name="connsiteX21410" fmla="*/ 455485 w 3359086"/>
                <a:gd name="connsiteY21410" fmla="*/ 610267 h 3355086"/>
                <a:gd name="connsiteX21411" fmla="*/ 461676 w 3359086"/>
                <a:gd name="connsiteY21411" fmla="*/ 604076 h 3355086"/>
                <a:gd name="connsiteX21412" fmla="*/ 2254662 w 3359086"/>
                <a:gd name="connsiteY21412" fmla="*/ 603409 h 3355086"/>
                <a:gd name="connsiteX21413" fmla="*/ 2260854 w 3359086"/>
                <a:gd name="connsiteY21413" fmla="*/ 609600 h 3355086"/>
                <a:gd name="connsiteX21414" fmla="*/ 2254662 w 3359086"/>
                <a:gd name="connsiteY21414" fmla="*/ 615791 h 3355086"/>
                <a:gd name="connsiteX21415" fmla="*/ 2248471 w 3359086"/>
                <a:gd name="connsiteY21415" fmla="*/ 609600 h 3355086"/>
                <a:gd name="connsiteX21416" fmla="*/ 2254662 w 3359086"/>
                <a:gd name="connsiteY21416" fmla="*/ 603409 h 3355086"/>
                <a:gd name="connsiteX21417" fmla="*/ 852868 w 3359086"/>
                <a:gd name="connsiteY21417" fmla="*/ 603409 h 3355086"/>
                <a:gd name="connsiteX21418" fmla="*/ 859060 w 3359086"/>
                <a:gd name="connsiteY21418" fmla="*/ 609600 h 3355086"/>
                <a:gd name="connsiteX21419" fmla="*/ 852868 w 3359086"/>
                <a:gd name="connsiteY21419" fmla="*/ 615791 h 3355086"/>
                <a:gd name="connsiteX21420" fmla="*/ 846677 w 3359086"/>
                <a:gd name="connsiteY21420" fmla="*/ 609600 h 3355086"/>
                <a:gd name="connsiteX21421" fmla="*/ 852868 w 3359086"/>
                <a:gd name="connsiteY21421" fmla="*/ 603409 h 3355086"/>
                <a:gd name="connsiteX21422" fmla="*/ 484822 w 3359086"/>
                <a:gd name="connsiteY21422" fmla="*/ 603409 h 3355086"/>
                <a:gd name="connsiteX21423" fmla="*/ 491013 w 3359086"/>
                <a:gd name="connsiteY21423" fmla="*/ 609600 h 3355086"/>
                <a:gd name="connsiteX21424" fmla="*/ 484822 w 3359086"/>
                <a:gd name="connsiteY21424" fmla="*/ 615791 h 3355086"/>
                <a:gd name="connsiteX21425" fmla="*/ 478631 w 3359086"/>
                <a:gd name="connsiteY21425" fmla="*/ 609600 h 3355086"/>
                <a:gd name="connsiteX21426" fmla="*/ 484822 w 3359086"/>
                <a:gd name="connsiteY21426" fmla="*/ 603409 h 3355086"/>
                <a:gd name="connsiteX21427" fmla="*/ 2904839 w 3359086"/>
                <a:gd name="connsiteY21427" fmla="*/ 603123 h 3355086"/>
                <a:gd name="connsiteX21428" fmla="*/ 2911030 w 3359086"/>
                <a:gd name="connsiteY21428" fmla="*/ 609314 h 3355086"/>
                <a:gd name="connsiteX21429" fmla="*/ 2904839 w 3359086"/>
                <a:gd name="connsiteY21429" fmla="*/ 615505 h 3355086"/>
                <a:gd name="connsiteX21430" fmla="*/ 2898648 w 3359086"/>
                <a:gd name="connsiteY21430" fmla="*/ 609314 h 3355086"/>
                <a:gd name="connsiteX21431" fmla="*/ 2904839 w 3359086"/>
                <a:gd name="connsiteY21431" fmla="*/ 603123 h 3355086"/>
                <a:gd name="connsiteX21432" fmla="*/ 2934461 w 3359086"/>
                <a:gd name="connsiteY21432" fmla="*/ 602361 h 3355086"/>
                <a:gd name="connsiteX21433" fmla="*/ 2940557 w 3359086"/>
                <a:gd name="connsiteY21433" fmla="*/ 608457 h 3355086"/>
                <a:gd name="connsiteX21434" fmla="*/ 2945224 w 3359086"/>
                <a:gd name="connsiteY21434" fmla="*/ 603790 h 3355086"/>
                <a:gd name="connsiteX21435" fmla="*/ 2951034 w 3359086"/>
                <a:gd name="connsiteY21435" fmla="*/ 609601 h 3355086"/>
                <a:gd name="connsiteX21436" fmla="*/ 2957035 w 3359086"/>
                <a:gd name="connsiteY21436" fmla="*/ 603600 h 3355086"/>
                <a:gd name="connsiteX21437" fmla="*/ 2963227 w 3359086"/>
                <a:gd name="connsiteY21437" fmla="*/ 609791 h 3355086"/>
                <a:gd name="connsiteX21438" fmla="*/ 2957035 w 3359086"/>
                <a:gd name="connsiteY21438" fmla="*/ 615983 h 3355086"/>
                <a:gd name="connsiteX21439" fmla="*/ 2951224 w 3359086"/>
                <a:gd name="connsiteY21439" fmla="*/ 610172 h 3355086"/>
                <a:gd name="connsiteX21440" fmla="*/ 2945224 w 3359086"/>
                <a:gd name="connsiteY21440" fmla="*/ 616172 h 3355086"/>
                <a:gd name="connsiteX21441" fmla="*/ 2939128 w 3359086"/>
                <a:gd name="connsiteY21441" fmla="*/ 610076 h 3355086"/>
                <a:gd name="connsiteX21442" fmla="*/ 2934461 w 3359086"/>
                <a:gd name="connsiteY21442" fmla="*/ 614743 h 3355086"/>
                <a:gd name="connsiteX21443" fmla="*/ 2928270 w 3359086"/>
                <a:gd name="connsiteY21443" fmla="*/ 608552 h 3355086"/>
                <a:gd name="connsiteX21444" fmla="*/ 2934461 w 3359086"/>
                <a:gd name="connsiteY21444" fmla="*/ 602361 h 3355086"/>
                <a:gd name="connsiteX21445" fmla="*/ 417861 w 3359086"/>
                <a:gd name="connsiteY21445" fmla="*/ 600647 h 3355086"/>
                <a:gd name="connsiteX21446" fmla="*/ 424052 w 3359086"/>
                <a:gd name="connsiteY21446" fmla="*/ 606838 h 3355086"/>
                <a:gd name="connsiteX21447" fmla="*/ 417861 w 3359086"/>
                <a:gd name="connsiteY21447" fmla="*/ 613029 h 3355086"/>
                <a:gd name="connsiteX21448" fmla="*/ 411670 w 3359086"/>
                <a:gd name="connsiteY21448" fmla="*/ 606838 h 3355086"/>
                <a:gd name="connsiteX21449" fmla="*/ 417861 w 3359086"/>
                <a:gd name="connsiteY21449" fmla="*/ 600647 h 3355086"/>
                <a:gd name="connsiteX21450" fmla="*/ 2924365 w 3359086"/>
                <a:gd name="connsiteY21450" fmla="*/ 599408 h 3355086"/>
                <a:gd name="connsiteX21451" fmla="*/ 2930557 w 3359086"/>
                <a:gd name="connsiteY21451" fmla="*/ 605599 h 3355086"/>
                <a:gd name="connsiteX21452" fmla="*/ 2924365 w 3359086"/>
                <a:gd name="connsiteY21452" fmla="*/ 611791 h 3355086"/>
                <a:gd name="connsiteX21453" fmla="*/ 2918174 w 3359086"/>
                <a:gd name="connsiteY21453" fmla="*/ 605599 h 3355086"/>
                <a:gd name="connsiteX21454" fmla="*/ 2924365 w 3359086"/>
                <a:gd name="connsiteY21454" fmla="*/ 599408 h 3355086"/>
                <a:gd name="connsiteX21455" fmla="*/ 2891694 w 3359086"/>
                <a:gd name="connsiteY21455" fmla="*/ 598551 h 3355086"/>
                <a:gd name="connsiteX21456" fmla="*/ 2897885 w 3359086"/>
                <a:gd name="connsiteY21456" fmla="*/ 604742 h 3355086"/>
                <a:gd name="connsiteX21457" fmla="*/ 2891694 w 3359086"/>
                <a:gd name="connsiteY21457" fmla="*/ 610933 h 3355086"/>
                <a:gd name="connsiteX21458" fmla="*/ 2885503 w 3359086"/>
                <a:gd name="connsiteY21458" fmla="*/ 604742 h 3355086"/>
                <a:gd name="connsiteX21459" fmla="*/ 2891694 w 3359086"/>
                <a:gd name="connsiteY21459" fmla="*/ 598551 h 3355086"/>
                <a:gd name="connsiteX21460" fmla="*/ 2761487 w 3359086"/>
                <a:gd name="connsiteY21460" fmla="*/ 597504 h 3355086"/>
                <a:gd name="connsiteX21461" fmla="*/ 2767679 w 3359086"/>
                <a:gd name="connsiteY21461" fmla="*/ 603695 h 3355086"/>
                <a:gd name="connsiteX21462" fmla="*/ 2761487 w 3359086"/>
                <a:gd name="connsiteY21462" fmla="*/ 609886 h 3355086"/>
                <a:gd name="connsiteX21463" fmla="*/ 2755296 w 3359086"/>
                <a:gd name="connsiteY21463" fmla="*/ 603695 h 3355086"/>
                <a:gd name="connsiteX21464" fmla="*/ 2761487 w 3359086"/>
                <a:gd name="connsiteY21464" fmla="*/ 597504 h 3355086"/>
                <a:gd name="connsiteX21465" fmla="*/ 397287 w 3359086"/>
                <a:gd name="connsiteY21465" fmla="*/ 595217 h 3355086"/>
                <a:gd name="connsiteX21466" fmla="*/ 402525 w 3359086"/>
                <a:gd name="connsiteY21466" fmla="*/ 600456 h 3355086"/>
                <a:gd name="connsiteX21467" fmla="*/ 397287 w 3359086"/>
                <a:gd name="connsiteY21467" fmla="*/ 605695 h 3355086"/>
                <a:gd name="connsiteX21468" fmla="*/ 392048 w 3359086"/>
                <a:gd name="connsiteY21468" fmla="*/ 600456 h 3355086"/>
                <a:gd name="connsiteX21469" fmla="*/ 397287 w 3359086"/>
                <a:gd name="connsiteY21469" fmla="*/ 595217 h 3355086"/>
                <a:gd name="connsiteX21470" fmla="*/ 2595562 w 3359086"/>
                <a:gd name="connsiteY21470" fmla="*/ 594932 h 3355086"/>
                <a:gd name="connsiteX21471" fmla="*/ 2601753 w 3359086"/>
                <a:gd name="connsiteY21471" fmla="*/ 601123 h 3355086"/>
                <a:gd name="connsiteX21472" fmla="*/ 2595562 w 3359086"/>
                <a:gd name="connsiteY21472" fmla="*/ 607314 h 3355086"/>
                <a:gd name="connsiteX21473" fmla="*/ 2589371 w 3359086"/>
                <a:gd name="connsiteY21473" fmla="*/ 601123 h 3355086"/>
                <a:gd name="connsiteX21474" fmla="*/ 2595562 w 3359086"/>
                <a:gd name="connsiteY21474" fmla="*/ 594932 h 3355086"/>
                <a:gd name="connsiteX21475" fmla="*/ 2875597 w 3359086"/>
                <a:gd name="connsiteY21475" fmla="*/ 594551 h 3355086"/>
                <a:gd name="connsiteX21476" fmla="*/ 2881788 w 3359086"/>
                <a:gd name="connsiteY21476" fmla="*/ 600742 h 3355086"/>
                <a:gd name="connsiteX21477" fmla="*/ 2875597 w 3359086"/>
                <a:gd name="connsiteY21477" fmla="*/ 606933 h 3355086"/>
                <a:gd name="connsiteX21478" fmla="*/ 2869406 w 3359086"/>
                <a:gd name="connsiteY21478" fmla="*/ 600742 h 3355086"/>
                <a:gd name="connsiteX21479" fmla="*/ 2875597 w 3359086"/>
                <a:gd name="connsiteY21479" fmla="*/ 594551 h 3355086"/>
                <a:gd name="connsiteX21480" fmla="*/ 1127093 w 3359086"/>
                <a:gd name="connsiteY21480" fmla="*/ 593408 h 3355086"/>
                <a:gd name="connsiteX21481" fmla="*/ 1133285 w 3359086"/>
                <a:gd name="connsiteY21481" fmla="*/ 599599 h 3355086"/>
                <a:gd name="connsiteX21482" fmla="*/ 1127093 w 3359086"/>
                <a:gd name="connsiteY21482" fmla="*/ 605790 h 3355086"/>
                <a:gd name="connsiteX21483" fmla="*/ 1120902 w 3359086"/>
                <a:gd name="connsiteY21483" fmla="*/ 599599 h 3355086"/>
                <a:gd name="connsiteX21484" fmla="*/ 1127093 w 3359086"/>
                <a:gd name="connsiteY21484" fmla="*/ 593408 h 3355086"/>
                <a:gd name="connsiteX21485" fmla="*/ 2799778 w 3359086"/>
                <a:gd name="connsiteY21485" fmla="*/ 592551 h 3355086"/>
                <a:gd name="connsiteX21486" fmla="*/ 2805969 w 3359086"/>
                <a:gd name="connsiteY21486" fmla="*/ 598742 h 3355086"/>
                <a:gd name="connsiteX21487" fmla="*/ 2799778 w 3359086"/>
                <a:gd name="connsiteY21487" fmla="*/ 604934 h 3355086"/>
                <a:gd name="connsiteX21488" fmla="*/ 2793587 w 3359086"/>
                <a:gd name="connsiteY21488" fmla="*/ 598742 h 3355086"/>
                <a:gd name="connsiteX21489" fmla="*/ 2799778 w 3359086"/>
                <a:gd name="connsiteY21489" fmla="*/ 592551 h 3355086"/>
                <a:gd name="connsiteX21490" fmla="*/ 2443924 w 3359086"/>
                <a:gd name="connsiteY21490" fmla="*/ 592455 h 3355086"/>
                <a:gd name="connsiteX21491" fmla="*/ 2450116 w 3359086"/>
                <a:gd name="connsiteY21491" fmla="*/ 598646 h 3355086"/>
                <a:gd name="connsiteX21492" fmla="*/ 2443924 w 3359086"/>
                <a:gd name="connsiteY21492" fmla="*/ 604838 h 3355086"/>
                <a:gd name="connsiteX21493" fmla="*/ 2437733 w 3359086"/>
                <a:gd name="connsiteY21493" fmla="*/ 598646 h 3355086"/>
                <a:gd name="connsiteX21494" fmla="*/ 2443924 w 3359086"/>
                <a:gd name="connsiteY21494" fmla="*/ 592455 h 3355086"/>
                <a:gd name="connsiteX21495" fmla="*/ 646366 w 3359086"/>
                <a:gd name="connsiteY21495" fmla="*/ 592360 h 3355086"/>
                <a:gd name="connsiteX21496" fmla="*/ 652558 w 3359086"/>
                <a:gd name="connsiteY21496" fmla="*/ 598551 h 3355086"/>
                <a:gd name="connsiteX21497" fmla="*/ 646366 w 3359086"/>
                <a:gd name="connsiteY21497" fmla="*/ 604742 h 3355086"/>
                <a:gd name="connsiteX21498" fmla="*/ 640175 w 3359086"/>
                <a:gd name="connsiteY21498" fmla="*/ 598551 h 3355086"/>
                <a:gd name="connsiteX21499" fmla="*/ 646366 w 3359086"/>
                <a:gd name="connsiteY21499" fmla="*/ 592360 h 3355086"/>
                <a:gd name="connsiteX21500" fmla="*/ 408241 w 3359086"/>
                <a:gd name="connsiteY21500" fmla="*/ 592169 h 3355086"/>
                <a:gd name="connsiteX21501" fmla="*/ 414432 w 3359086"/>
                <a:gd name="connsiteY21501" fmla="*/ 598360 h 3355086"/>
                <a:gd name="connsiteX21502" fmla="*/ 408241 w 3359086"/>
                <a:gd name="connsiteY21502" fmla="*/ 604551 h 3355086"/>
                <a:gd name="connsiteX21503" fmla="*/ 402050 w 3359086"/>
                <a:gd name="connsiteY21503" fmla="*/ 598360 h 3355086"/>
                <a:gd name="connsiteX21504" fmla="*/ 408241 w 3359086"/>
                <a:gd name="connsiteY21504" fmla="*/ 592169 h 3355086"/>
                <a:gd name="connsiteX21505" fmla="*/ 2855690 w 3359086"/>
                <a:gd name="connsiteY21505" fmla="*/ 591788 h 3355086"/>
                <a:gd name="connsiteX21506" fmla="*/ 2861881 w 3359086"/>
                <a:gd name="connsiteY21506" fmla="*/ 597979 h 3355086"/>
                <a:gd name="connsiteX21507" fmla="*/ 2855690 w 3359086"/>
                <a:gd name="connsiteY21507" fmla="*/ 604170 h 3355086"/>
                <a:gd name="connsiteX21508" fmla="*/ 2849499 w 3359086"/>
                <a:gd name="connsiteY21508" fmla="*/ 597979 h 3355086"/>
                <a:gd name="connsiteX21509" fmla="*/ 2855690 w 3359086"/>
                <a:gd name="connsiteY21509" fmla="*/ 591788 h 3355086"/>
                <a:gd name="connsiteX21510" fmla="*/ 2830829 w 3359086"/>
                <a:gd name="connsiteY21510" fmla="*/ 590931 h 3355086"/>
                <a:gd name="connsiteX21511" fmla="*/ 2837021 w 3359086"/>
                <a:gd name="connsiteY21511" fmla="*/ 597122 h 3355086"/>
                <a:gd name="connsiteX21512" fmla="*/ 2830829 w 3359086"/>
                <a:gd name="connsiteY21512" fmla="*/ 603314 h 3355086"/>
                <a:gd name="connsiteX21513" fmla="*/ 2824638 w 3359086"/>
                <a:gd name="connsiteY21513" fmla="*/ 597122 h 3355086"/>
                <a:gd name="connsiteX21514" fmla="*/ 2830829 w 3359086"/>
                <a:gd name="connsiteY21514" fmla="*/ 590931 h 3355086"/>
                <a:gd name="connsiteX21515" fmla="*/ 440435 w 3359086"/>
                <a:gd name="connsiteY21515" fmla="*/ 590169 h 3355086"/>
                <a:gd name="connsiteX21516" fmla="*/ 446626 w 3359086"/>
                <a:gd name="connsiteY21516" fmla="*/ 596360 h 3355086"/>
                <a:gd name="connsiteX21517" fmla="*/ 440435 w 3359086"/>
                <a:gd name="connsiteY21517" fmla="*/ 602551 h 3355086"/>
                <a:gd name="connsiteX21518" fmla="*/ 434244 w 3359086"/>
                <a:gd name="connsiteY21518" fmla="*/ 596360 h 3355086"/>
                <a:gd name="connsiteX21519" fmla="*/ 440435 w 3359086"/>
                <a:gd name="connsiteY21519" fmla="*/ 590169 h 3355086"/>
                <a:gd name="connsiteX21520" fmla="*/ 418623 w 3359086"/>
                <a:gd name="connsiteY21520" fmla="*/ 588550 h 3355086"/>
                <a:gd name="connsiteX21521" fmla="*/ 424814 w 3359086"/>
                <a:gd name="connsiteY21521" fmla="*/ 594741 h 3355086"/>
                <a:gd name="connsiteX21522" fmla="*/ 418623 w 3359086"/>
                <a:gd name="connsiteY21522" fmla="*/ 600933 h 3355086"/>
                <a:gd name="connsiteX21523" fmla="*/ 412432 w 3359086"/>
                <a:gd name="connsiteY21523" fmla="*/ 594741 h 3355086"/>
                <a:gd name="connsiteX21524" fmla="*/ 418623 w 3359086"/>
                <a:gd name="connsiteY21524" fmla="*/ 588550 h 3355086"/>
                <a:gd name="connsiteX21525" fmla="*/ 2937700 w 3359086"/>
                <a:gd name="connsiteY21525" fmla="*/ 587026 h 3355086"/>
                <a:gd name="connsiteX21526" fmla="*/ 2943892 w 3359086"/>
                <a:gd name="connsiteY21526" fmla="*/ 593217 h 3355086"/>
                <a:gd name="connsiteX21527" fmla="*/ 2937700 w 3359086"/>
                <a:gd name="connsiteY21527" fmla="*/ 599408 h 3355086"/>
                <a:gd name="connsiteX21528" fmla="*/ 2931509 w 3359086"/>
                <a:gd name="connsiteY21528" fmla="*/ 593217 h 3355086"/>
                <a:gd name="connsiteX21529" fmla="*/ 2937700 w 3359086"/>
                <a:gd name="connsiteY21529" fmla="*/ 587026 h 3355086"/>
                <a:gd name="connsiteX21530" fmla="*/ 2950844 w 3359086"/>
                <a:gd name="connsiteY21530" fmla="*/ 586550 h 3355086"/>
                <a:gd name="connsiteX21531" fmla="*/ 2956750 w 3359086"/>
                <a:gd name="connsiteY21531" fmla="*/ 592455 h 3355086"/>
                <a:gd name="connsiteX21532" fmla="*/ 2950844 w 3359086"/>
                <a:gd name="connsiteY21532" fmla="*/ 598361 h 3355086"/>
                <a:gd name="connsiteX21533" fmla="*/ 2944939 w 3359086"/>
                <a:gd name="connsiteY21533" fmla="*/ 592455 h 3355086"/>
                <a:gd name="connsiteX21534" fmla="*/ 2950844 w 3359086"/>
                <a:gd name="connsiteY21534" fmla="*/ 586550 h 3355086"/>
                <a:gd name="connsiteX21535" fmla="*/ 2925793 w 3359086"/>
                <a:gd name="connsiteY21535" fmla="*/ 585978 h 3355086"/>
                <a:gd name="connsiteX21536" fmla="*/ 2931985 w 3359086"/>
                <a:gd name="connsiteY21536" fmla="*/ 592169 h 3355086"/>
                <a:gd name="connsiteX21537" fmla="*/ 2925793 w 3359086"/>
                <a:gd name="connsiteY21537" fmla="*/ 598361 h 3355086"/>
                <a:gd name="connsiteX21538" fmla="*/ 2919602 w 3359086"/>
                <a:gd name="connsiteY21538" fmla="*/ 592169 h 3355086"/>
                <a:gd name="connsiteX21539" fmla="*/ 2925793 w 3359086"/>
                <a:gd name="connsiteY21539" fmla="*/ 585978 h 3355086"/>
                <a:gd name="connsiteX21540" fmla="*/ 2160936 w 3359086"/>
                <a:gd name="connsiteY21540" fmla="*/ 585407 h 3355086"/>
                <a:gd name="connsiteX21541" fmla="*/ 2167128 w 3359086"/>
                <a:gd name="connsiteY21541" fmla="*/ 591598 h 3355086"/>
                <a:gd name="connsiteX21542" fmla="*/ 2160936 w 3359086"/>
                <a:gd name="connsiteY21542" fmla="*/ 597789 h 3355086"/>
                <a:gd name="connsiteX21543" fmla="*/ 2154745 w 3359086"/>
                <a:gd name="connsiteY21543" fmla="*/ 591598 h 3355086"/>
                <a:gd name="connsiteX21544" fmla="*/ 2160936 w 3359086"/>
                <a:gd name="connsiteY21544" fmla="*/ 585407 h 3355086"/>
                <a:gd name="connsiteX21545" fmla="*/ 454818 w 3359086"/>
                <a:gd name="connsiteY21545" fmla="*/ 585026 h 3355086"/>
                <a:gd name="connsiteX21546" fmla="*/ 461010 w 3359086"/>
                <a:gd name="connsiteY21546" fmla="*/ 591217 h 3355086"/>
                <a:gd name="connsiteX21547" fmla="*/ 454818 w 3359086"/>
                <a:gd name="connsiteY21547" fmla="*/ 597408 h 3355086"/>
                <a:gd name="connsiteX21548" fmla="*/ 448627 w 3359086"/>
                <a:gd name="connsiteY21548" fmla="*/ 591217 h 3355086"/>
                <a:gd name="connsiteX21549" fmla="*/ 454818 w 3359086"/>
                <a:gd name="connsiteY21549" fmla="*/ 585026 h 3355086"/>
                <a:gd name="connsiteX21550" fmla="*/ 2914649 w 3359086"/>
                <a:gd name="connsiteY21550" fmla="*/ 583216 h 3355086"/>
                <a:gd name="connsiteX21551" fmla="*/ 2920840 w 3359086"/>
                <a:gd name="connsiteY21551" fmla="*/ 589407 h 3355086"/>
                <a:gd name="connsiteX21552" fmla="*/ 2914697 w 3359086"/>
                <a:gd name="connsiteY21552" fmla="*/ 595551 h 3355086"/>
                <a:gd name="connsiteX21553" fmla="*/ 2920651 w 3359086"/>
                <a:gd name="connsiteY21553" fmla="*/ 601504 h 3355086"/>
                <a:gd name="connsiteX21554" fmla="*/ 2914459 w 3359086"/>
                <a:gd name="connsiteY21554" fmla="*/ 607695 h 3355086"/>
                <a:gd name="connsiteX21555" fmla="*/ 2908268 w 3359086"/>
                <a:gd name="connsiteY21555" fmla="*/ 601504 h 3355086"/>
                <a:gd name="connsiteX21556" fmla="*/ 2914411 w 3359086"/>
                <a:gd name="connsiteY21556" fmla="*/ 595361 h 3355086"/>
                <a:gd name="connsiteX21557" fmla="*/ 2908458 w 3359086"/>
                <a:gd name="connsiteY21557" fmla="*/ 589407 h 3355086"/>
                <a:gd name="connsiteX21558" fmla="*/ 2914649 w 3359086"/>
                <a:gd name="connsiteY21558" fmla="*/ 583216 h 3355086"/>
                <a:gd name="connsiteX21559" fmla="*/ 596074 w 3359086"/>
                <a:gd name="connsiteY21559" fmla="*/ 583026 h 3355086"/>
                <a:gd name="connsiteX21560" fmla="*/ 602265 w 3359086"/>
                <a:gd name="connsiteY21560" fmla="*/ 589217 h 3355086"/>
                <a:gd name="connsiteX21561" fmla="*/ 596074 w 3359086"/>
                <a:gd name="connsiteY21561" fmla="*/ 595408 h 3355086"/>
                <a:gd name="connsiteX21562" fmla="*/ 589883 w 3359086"/>
                <a:gd name="connsiteY21562" fmla="*/ 589217 h 3355086"/>
                <a:gd name="connsiteX21563" fmla="*/ 596074 w 3359086"/>
                <a:gd name="connsiteY21563" fmla="*/ 583026 h 3355086"/>
                <a:gd name="connsiteX21564" fmla="*/ 771620 w 3359086"/>
                <a:gd name="connsiteY21564" fmla="*/ 581216 h 3355086"/>
                <a:gd name="connsiteX21565" fmla="*/ 777812 w 3359086"/>
                <a:gd name="connsiteY21565" fmla="*/ 587407 h 3355086"/>
                <a:gd name="connsiteX21566" fmla="*/ 771620 w 3359086"/>
                <a:gd name="connsiteY21566" fmla="*/ 593599 h 3355086"/>
                <a:gd name="connsiteX21567" fmla="*/ 765429 w 3359086"/>
                <a:gd name="connsiteY21567" fmla="*/ 587407 h 3355086"/>
                <a:gd name="connsiteX21568" fmla="*/ 771620 w 3359086"/>
                <a:gd name="connsiteY21568" fmla="*/ 581216 h 3355086"/>
                <a:gd name="connsiteX21569" fmla="*/ 472439 w 3359086"/>
                <a:gd name="connsiteY21569" fmla="*/ 580644 h 3355086"/>
                <a:gd name="connsiteX21570" fmla="*/ 478630 w 3359086"/>
                <a:gd name="connsiteY21570" fmla="*/ 586835 h 3355086"/>
                <a:gd name="connsiteX21571" fmla="*/ 472439 w 3359086"/>
                <a:gd name="connsiteY21571" fmla="*/ 593026 h 3355086"/>
                <a:gd name="connsiteX21572" fmla="*/ 466248 w 3359086"/>
                <a:gd name="connsiteY21572" fmla="*/ 586835 h 3355086"/>
                <a:gd name="connsiteX21573" fmla="*/ 472439 w 3359086"/>
                <a:gd name="connsiteY21573" fmla="*/ 580644 h 3355086"/>
                <a:gd name="connsiteX21574" fmla="*/ 930306 w 3359086"/>
                <a:gd name="connsiteY21574" fmla="*/ 580168 h 3355086"/>
                <a:gd name="connsiteX21575" fmla="*/ 936498 w 3359086"/>
                <a:gd name="connsiteY21575" fmla="*/ 586359 h 3355086"/>
                <a:gd name="connsiteX21576" fmla="*/ 930306 w 3359086"/>
                <a:gd name="connsiteY21576" fmla="*/ 592550 h 3355086"/>
                <a:gd name="connsiteX21577" fmla="*/ 924115 w 3359086"/>
                <a:gd name="connsiteY21577" fmla="*/ 586359 h 3355086"/>
                <a:gd name="connsiteX21578" fmla="*/ 930306 w 3359086"/>
                <a:gd name="connsiteY21578" fmla="*/ 580168 h 3355086"/>
                <a:gd name="connsiteX21579" fmla="*/ 2659856 w 3359086"/>
                <a:gd name="connsiteY21579" fmla="*/ 579978 h 3355086"/>
                <a:gd name="connsiteX21580" fmla="*/ 2666047 w 3359086"/>
                <a:gd name="connsiteY21580" fmla="*/ 586169 h 3355086"/>
                <a:gd name="connsiteX21581" fmla="*/ 2659856 w 3359086"/>
                <a:gd name="connsiteY21581" fmla="*/ 592360 h 3355086"/>
                <a:gd name="connsiteX21582" fmla="*/ 2653665 w 3359086"/>
                <a:gd name="connsiteY21582" fmla="*/ 586169 h 3355086"/>
                <a:gd name="connsiteX21583" fmla="*/ 2659856 w 3359086"/>
                <a:gd name="connsiteY21583" fmla="*/ 579978 h 3355086"/>
                <a:gd name="connsiteX21584" fmla="*/ 2903886 w 3359086"/>
                <a:gd name="connsiteY21584" fmla="*/ 579025 h 3355086"/>
                <a:gd name="connsiteX21585" fmla="*/ 2910077 w 3359086"/>
                <a:gd name="connsiteY21585" fmla="*/ 585216 h 3355086"/>
                <a:gd name="connsiteX21586" fmla="*/ 2904601 w 3359086"/>
                <a:gd name="connsiteY21586" fmla="*/ 590693 h 3355086"/>
                <a:gd name="connsiteX21587" fmla="*/ 2910363 w 3359086"/>
                <a:gd name="connsiteY21587" fmla="*/ 596455 h 3355086"/>
                <a:gd name="connsiteX21588" fmla="*/ 2904172 w 3359086"/>
                <a:gd name="connsiteY21588" fmla="*/ 602646 h 3355086"/>
                <a:gd name="connsiteX21589" fmla="*/ 2897981 w 3359086"/>
                <a:gd name="connsiteY21589" fmla="*/ 596455 h 3355086"/>
                <a:gd name="connsiteX21590" fmla="*/ 2903457 w 3359086"/>
                <a:gd name="connsiteY21590" fmla="*/ 590979 h 3355086"/>
                <a:gd name="connsiteX21591" fmla="*/ 2897695 w 3359086"/>
                <a:gd name="connsiteY21591" fmla="*/ 585216 h 3355086"/>
                <a:gd name="connsiteX21592" fmla="*/ 2903886 w 3359086"/>
                <a:gd name="connsiteY21592" fmla="*/ 579025 h 3355086"/>
                <a:gd name="connsiteX21593" fmla="*/ 2879883 w 3359086"/>
                <a:gd name="connsiteY21593" fmla="*/ 578739 h 3355086"/>
                <a:gd name="connsiteX21594" fmla="*/ 2886074 w 3359086"/>
                <a:gd name="connsiteY21594" fmla="*/ 584930 h 3355086"/>
                <a:gd name="connsiteX21595" fmla="*/ 2879883 w 3359086"/>
                <a:gd name="connsiteY21595" fmla="*/ 591121 h 3355086"/>
                <a:gd name="connsiteX21596" fmla="*/ 2873692 w 3359086"/>
                <a:gd name="connsiteY21596" fmla="*/ 584930 h 3355086"/>
                <a:gd name="connsiteX21597" fmla="*/ 2879883 w 3359086"/>
                <a:gd name="connsiteY21597" fmla="*/ 578739 h 3355086"/>
                <a:gd name="connsiteX21598" fmla="*/ 554830 w 3359086"/>
                <a:gd name="connsiteY21598" fmla="*/ 577977 h 3355086"/>
                <a:gd name="connsiteX21599" fmla="*/ 561022 w 3359086"/>
                <a:gd name="connsiteY21599" fmla="*/ 584168 h 3355086"/>
                <a:gd name="connsiteX21600" fmla="*/ 554830 w 3359086"/>
                <a:gd name="connsiteY21600" fmla="*/ 590360 h 3355086"/>
                <a:gd name="connsiteX21601" fmla="*/ 548639 w 3359086"/>
                <a:gd name="connsiteY21601" fmla="*/ 584168 h 3355086"/>
                <a:gd name="connsiteX21602" fmla="*/ 554830 w 3359086"/>
                <a:gd name="connsiteY21602" fmla="*/ 577977 h 3355086"/>
                <a:gd name="connsiteX21603" fmla="*/ 494252 w 3359086"/>
                <a:gd name="connsiteY21603" fmla="*/ 577596 h 3355086"/>
                <a:gd name="connsiteX21604" fmla="*/ 500443 w 3359086"/>
                <a:gd name="connsiteY21604" fmla="*/ 583787 h 3355086"/>
                <a:gd name="connsiteX21605" fmla="*/ 494252 w 3359086"/>
                <a:gd name="connsiteY21605" fmla="*/ 589978 h 3355086"/>
                <a:gd name="connsiteX21606" fmla="*/ 488061 w 3359086"/>
                <a:gd name="connsiteY21606" fmla="*/ 583787 h 3355086"/>
                <a:gd name="connsiteX21607" fmla="*/ 494252 w 3359086"/>
                <a:gd name="connsiteY21607" fmla="*/ 577596 h 3355086"/>
                <a:gd name="connsiteX21608" fmla="*/ 1223390 w 3359086"/>
                <a:gd name="connsiteY21608" fmla="*/ 576739 h 3355086"/>
                <a:gd name="connsiteX21609" fmla="*/ 1229581 w 3359086"/>
                <a:gd name="connsiteY21609" fmla="*/ 582930 h 3355086"/>
                <a:gd name="connsiteX21610" fmla="*/ 1223390 w 3359086"/>
                <a:gd name="connsiteY21610" fmla="*/ 589121 h 3355086"/>
                <a:gd name="connsiteX21611" fmla="*/ 1217199 w 3359086"/>
                <a:gd name="connsiteY21611" fmla="*/ 582930 h 3355086"/>
                <a:gd name="connsiteX21612" fmla="*/ 1223390 w 3359086"/>
                <a:gd name="connsiteY21612" fmla="*/ 576739 h 3355086"/>
                <a:gd name="connsiteX21613" fmla="*/ 521303 w 3359086"/>
                <a:gd name="connsiteY21613" fmla="*/ 576453 h 3355086"/>
                <a:gd name="connsiteX21614" fmla="*/ 527494 w 3359086"/>
                <a:gd name="connsiteY21614" fmla="*/ 582644 h 3355086"/>
                <a:gd name="connsiteX21615" fmla="*/ 521303 w 3359086"/>
                <a:gd name="connsiteY21615" fmla="*/ 588836 h 3355086"/>
                <a:gd name="connsiteX21616" fmla="*/ 515112 w 3359086"/>
                <a:gd name="connsiteY21616" fmla="*/ 582644 h 3355086"/>
                <a:gd name="connsiteX21617" fmla="*/ 521303 w 3359086"/>
                <a:gd name="connsiteY21617" fmla="*/ 576453 h 3355086"/>
                <a:gd name="connsiteX21618" fmla="*/ 417099 w 3359086"/>
                <a:gd name="connsiteY21618" fmla="*/ 576072 h 3355086"/>
                <a:gd name="connsiteX21619" fmla="*/ 423290 w 3359086"/>
                <a:gd name="connsiteY21619" fmla="*/ 582263 h 3355086"/>
                <a:gd name="connsiteX21620" fmla="*/ 417099 w 3359086"/>
                <a:gd name="connsiteY21620" fmla="*/ 588454 h 3355086"/>
                <a:gd name="connsiteX21621" fmla="*/ 410908 w 3359086"/>
                <a:gd name="connsiteY21621" fmla="*/ 582263 h 3355086"/>
                <a:gd name="connsiteX21622" fmla="*/ 417099 w 3359086"/>
                <a:gd name="connsiteY21622" fmla="*/ 576072 h 3355086"/>
                <a:gd name="connsiteX21623" fmla="*/ 2945606 w 3359086"/>
                <a:gd name="connsiteY21623" fmla="*/ 575025 h 3355086"/>
                <a:gd name="connsiteX21624" fmla="*/ 2945891 w 3359086"/>
                <a:gd name="connsiteY21624" fmla="*/ 575311 h 3355086"/>
                <a:gd name="connsiteX21625" fmla="*/ 2945606 w 3359086"/>
                <a:gd name="connsiteY21625" fmla="*/ 575596 h 3355086"/>
                <a:gd name="connsiteX21626" fmla="*/ 2945320 w 3359086"/>
                <a:gd name="connsiteY21626" fmla="*/ 575311 h 3355086"/>
                <a:gd name="connsiteX21627" fmla="*/ 2945606 w 3359086"/>
                <a:gd name="connsiteY21627" fmla="*/ 575025 h 3355086"/>
                <a:gd name="connsiteX21628" fmla="*/ 2864357 w 3359086"/>
                <a:gd name="connsiteY21628" fmla="*/ 573215 h 3355086"/>
                <a:gd name="connsiteX21629" fmla="*/ 2870548 w 3359086"/>
                <a:gd name="connsiteY21629" fmla="*/ 579406 h 3355086"/>
                <a:gd name="connsiteX21630" fmla="*/ 2864357 w 3359086"/>
                <a:gd name="connsiteY21630" fmla="*/ 585598 h 3355086"/>
                <a:gd name="connsiteX21631" fmla="*/ 2858166 w 3359086"/>
                <a:gd name="connsiteY21631" fmla="*/ 579406 h 3355086"/>
                <a:gd name="connsiteX21632" fmla="*/ 2864357 w 3359086"/>
                <a:gd name="connsiteY21632" fmla="*/ 573215 h 3355086"/>
                <a:gd name="connsiteX21633" fmla="*/ 428529 w 3359086"/>
                <a:gd name="connsiteY21633" fmla="*/ 572643 h 3355086"/>
                <a:gd name="connsiteX21634" fmla="*/ 434720 w 3359086"/>
                <a:gd name="connsiteY21634" fmla="*/ 578834 h 3355086"/>
                <a:gd name="connsiteX21635" fmla="*/ 429386 w 3359086"/>
                <a:gd name="connsiteY21635" fmla="*/ 584168 h 3355086"/>
                <a:gd name="connsiteX21636" fmla="*/ 435196 w 3359086"/>
                <a:gd name="connsiteY21636" fmla="*/ 589978 h 3355086"/>
                <a:gd name="connsiteX21637" fmla="*/ 429005 w 3359086"/>
                <a:gd name="connsiteY21637" fmla="*/ 596170 h 3355086"/>
                <a:gd name="connsiteX21638" fmla="*/ 434529 w 3359086"/>
                <a:gd name="connsiteY21638" fmla="*/ 601694 h 3355086"/>
                <a:gd name="connsiteX21639" fmla="*/ 428338 w 3359086"/>
                <a:gd name="connsiteY21639" fmla="*/ 607886 h 3355086"/>
                <a:gd name="connsiteX21640" fmla="*/ 422147 w 3359086"/>
                <a:gd name="connsiteY21640" fmla="*/ 601694 h 3355086"/>
                <a:gd name="connsiteX21641" fmla="*/ 428338 w 3359086"/>
                <a:gd name="connsiteY21641" fmla="*/ 595503 h 3355086"/>
                <a:gd name="connsiteX21642" fmla="*/ 428942 w 3359086"/>
                <a:gd name="connsiteY21642" fmla="*/ 596107 h 3355086"/>
                <a:gd name="connsiteX21643" fmla="*/ 422814 w 3359086"/>
                <a:gd name="connsiteY21643" fmla="*/ 589978 h 3355086"/>
                <a:gd name="connsiteX21644" fmla="*/ 428148 w 3359086"/>
                <a:gd name="connsiteY21644" fmla="*/ 584644 h 3355086"/>
                <a:gd name="connsiteX21645" fmla="*/ 422338 w 3359086"/>
                <a:gd name="connsiteY21645" fmla="*/ 578834 h 3355086"/>
                <a:gd name="connsiteX21646" fmla="*/ 428529 w 3359086"/>
                <a:gd name="connsiteY21646" fmla="*/ 572643 h 3355086"/>
                <a:gd name="connsiteX21647" fmla="*/ 2931127 w 3359086"/>
                <a:gd name="connsiteY21647" fmla="*/ 570453 h 3355086"/>
                <a:gd name="connsiteX21648" fmla="*/ 2937319 w 3359086"/>
                <a:gd name="connsiteY21648" fmla="*/ 576644 h 3355086"/>
                <a:gd name="connsiteX21649" fmla="*/ 2931127 w 3359086"/>
                <a:gd name="connsiteY21649" fmla="*/ 582835 h 3355086"/>
                <a:gd name="connsiteX21650" fmla="*/ 2924936 w 3359086"/>
                <a:gd name="connsiteY21650" fmla="*/ 576644 h 3355086"/>
                <a:gd name="connsiteX21651" fmla="*/ 2931127 w 3359086"/>
                <a:gd name="connsiteY21651" fmla="*/ 570453 h 3355086"/>
                <a:gd name="connsiteX21652" fmla="*/ 2713196 w 3359086"/>
                <a:gd name="connsiteY21652" fmla="*/ 570453 h 3355086"/>
                <a:gd name="connsiteX21653" fmla="*/ 2719387 w 3359086"/>
                <a:gd name="connsiteY21653" fmla="*/ 576644 h 3355086"/>
                <a:gd name="connsiteX21654" fmla="*/ 2713196 w 3359086"/>
                <a:gd name="connsiteY21654" fmla="*/ 582835 h 3355086"/>
                <a:gd name="connsiteX21655" fmla="*/ 2707005 w 3359086"/>
                <a:gd name="connsiteY21655" fmla="*/ 576644 h 3355086"/>
                <a:gd name="connsiteX21656" fmla="*/ 2713196 w 3359086"/>
                <a:gd name="connsiteY21656" fmla="*/ 570453 h 3355086"/>
                <a:gd name="connsiteX21657" fmla="*/ 2062638 w 3359086"/>
                <a:gd name="connsiteY21657" fmla="*/ 569976 h 3355086"/>
                <a:gd name="connsiteX21658" fmla="*/ 2068830 w 3359086"/>
                <a:gd name="connsiteY21658" fmla="*/ 576167 h 3355086"/>
                <a:gd name="connsiteX21659" fmla="*/ 2062638 w 3359086"/>
                <a:gd name="connsiteY21659" fmla="*/ 582358 h 3355086"/>
                <a:gd name="connsiteX21660" fmla="*/ 2056447 w 3359086"/>
                <a:gd name="connsiteY21660" fmla="*/ 576167 h 3355086"/>
                <a:gd name="connsiteX21661" fmla="*/ 2062638 w 3359086"/>
                <a:gd name="connsiteY21661" fmla="*/ 569976 h 3355086"/>
                <a:gd name="connsiteX21662" fmla="*/ 2917888 w 3359086"/>
                <a:gd name="connsiteY21662" fmla="*/ 569881 h 3355086"/>
                <a:gd name="connsiteX21663" fmla="*/ 2924079 w 3359086"/>
                <a:gd name="connsiteY21663" fmla="*/ 576072 h 3355086"/>
                <a:gd name="connsiteX21664" fmla="*/ 2917888 w 3359086"/>
                <a:gd name="connsiteY21664" fmla="*/ 582263 h 3355086"/>
                <a:gd name="connsiteX21665" fmla="*/ 2911697 w 3359086"/>
                <a:gd name="connsiteY21665" fmla="*/ 576072 h 3355086"/>
                <a:gd name="connsiteX21666" fmla="*/ 2917888 w 3359086"/>
                <a:gd name="connsiteY21666" fmla="*/ 569881 h 3355086"/>
                <a:gd name="connsiteX21667" fmla="*/ 2364199 w 3359086"/>
                <a:gd name="connsiteY21667" fmla="*/ 569881 h 3355086"/>
                <a:gd name="connsiteX21668" fmla="*/ 2370391 w 3359086"/>
                <a:gd name="connsiteY21668" fmla="*/ 576072 h 3355086"/>
                <a:gd name="connsiteX21669" fmla="*/ 2364199 w 3359086"/>
                <a:gd name="connsiteY21669" fmla="*/ 582263 h 3355086"/>
                <a:gd name="connsiteX21670" fmla="*/ 2358008 w 3359086"/>
                <a:gd name="connsiteY21670" fmla="*/ 576072 h 3355086"/>
                <a:gd name="connsiteX21671" fmla="*/ 2364199 w 3359086"/>
                <a:gd name="connsiteY21671" fmla="*/ 569881 h 3355086"/>
                <a:gd name="connsiteX21672" fmla="*/ 2529173 w 3359086"/>
                <a:gd name="connsiteY21672" fmla="*/ 569595 h 3355086"/>
                <a:gd name="connsiteX21673" fmla="*/ 2535364 w 3359086"/>
                <a:gd name="connsiteY21673" fmla="*/ 575786 h 3355086"/>
                <a:gd name="connsiteX21674" fmla="*/ 2529173 w 3359086"/>
                <a:gd name="connsiteY21674" fmla="*/ 581977 h 3355086"/>
                <a:gd name="connsiteX21675" fmla="*/ 2522982 w 3359086"/>
                <a:gd name="connsiteY21675" fmla="*/ 575786 h 3355086"/>
                <a:gd name="connsiteX21676" fmla="*/ 2529173 w 3359086"/>
                <a:gd name="connsiteY21676" fmla="*/ 569595 h 3355086"/>
                <a:gd name="connsiteX21677" fmla="*/ 2845307 w 3359086"/>
                <a:gd name="connsiteY21677" fmla="*/ 568548 h 3355086"/>
                <a:gd name="connsiteX21678" fmla="*/ 2851498 w 3359086"/>
                <a:gd name="connsiteY21678" fmla="*/ 574739 h 3355086"/>
                <a:gd name="connsiteX21679" fmla="*/ 2845307 w 3359086"/>
                <a:gd name="connsiteY21679" fmla="*/ 580930 h 3355086"/>
                <a:gd name="connsiteX21680" fmla="*/ 2839116 w 3359086"/>
                <a:gd name="connsiteY21680" fmla="*/ 574739 h 3355086"/>
                <a:gd name="connsiteX21681" fmla="*/ 2845307 w 3359086"/>
                <a:gd name="connsiteY21681" fmla="*/ 568548 h 3355086"/>
                <a:gd name="connsiteX21682" fmla="*/ 439673 w 3359086"/>
                <a:gd name="connsiteY21682" fmla="*/ 567785 h 3355086"/>
                <a:gd name="connsiteX21683" fmla="*/ 445865 w 3359086"/>
                <a:gd name="connsiteY21683" fmla="*/ 573976 h 3355086"/>
                <a:gd name="connsiteX21684" fmla="*/ 440911 w 3359086"/>
                <a:gd name="connsiteY21684" fmla="*/ 578930 h 3355086"/>
                <a:gd name="connsiteX21685" fmla="*/ 446245 w 3359086"/>
                <a:gd name="connsiteY21685" fmla="*/ 584264 h 3355086"/>
                <a:gd name="connsiteX21686" fmla="*/ 440054 w 3359086"/>
                <a:gd name="connsiteY21686" fmla="*/ 590455 h 3355086"/>
                <a:gd name="connsiteX21687" fmla="*/ 433863 w 3359086"/>
                <a:gd name="connsiteY21687" fmla="*/ 584264 h 3355086"/>
                <a:gd name="connsiteX21688" fmla="*/ 438816 w 3359086"/>
                <a:gd name="connsiteY21688" fmla="*/ 579311 h 3355086"/>
                <a:gd name="connsiteX21689" fmla="*/ 433482 w 3359086"/>
                <a:gd name="connsiteY21689" fmla="*/ 573976 h 3355086"/>
                <a:gd name="connsiteX21690" fmla="*/ 439673 w 3359086"/>
                <a:gd name="connsiteY21690" fmla="*/ 567785 h 3355086"/>
                <a:gd name="connsiteX21691" fmla="*/ 2905600 w 3359086"/>
                <a:gd name="connsiteY21691" fmla="*/ 567405 h 3355086"/>
                <a:gd name="connsiteX21692" fmla="*/ 2911792 w 3359086"/>
                <a:gd name="connsiteY21692" fmla="*/ 573596 h 3355086"/>
                <a:gd name="connsiteX21693" fmla="*/ 2905600 w 3359086"/>
                <a:gd name="connsiteY21693" fmla="*/ 579787 h 3355086"/>
                <a:gd name="connsiteX21694" fmla="*/ 2899409 w 3359086"/>
                <a:gd name="connsiteY21694" fmla="*/ 573596 h 3355086"/>
                <a:gd name="connsiteX21695" fmla="*/ 2905600 w 3359086"/>
                <a:gd name="connsiteY21695" fmla="*/ 567405 h 3355086"/>
                <a:gd name="connsiteX21696" fmla="*/ 703325 w 3359086"/>
                <a:gd name="connsiteY21696" fmla="*/ 565785 h 3355086"/>
                <a:gd name="connsiteX21697" fmla="*/ 709516 w 3359086"/>
                <a:gd name="connsiteY21697" fmla="*/ 571976 h 3355086"/>
                <a:gd name="connsiteX21698" fmla="*/ 703325 w 3359086"/>
                <a:gd name="connsiteY21698" fmla="*/ 578167 h 3355086"/>
                <a:gd name="connsiteX21699" fmla="*/ 697134 w 3359086"/>
                <a:gd name="connsiteY21699" fmla="*/ 571976 h 3355086"/>
                <a:gd name="connsiteX21700" fmla="*/ 703325 w 3359086"/>
                <a:gd name="connsiteY21700" fmla="*/ 565785 h 3355086"/>
                <a:gd name="connsiteX21701" fmla="*/ 466343 w 3359086"/>
                <a:gd name="connsiteY21701" fmla="*/ 565500 h 3355086"/>
                <a:gd name="connsiteX21702" fmla="*/ 472534 w 3359086"/>
                <a:gd name="connsiteY21702" fmla="*/ 571691 h 3355086"/>
                <a:gd name="connsiteX21703" fmla="*/ 466343 w 3359086"/>
                <a:gd name="connsiteY21703" fmla="*/ 577882 h 3355086"/>
                <a:gd name="connsiteX21704" fmla="*/ 460152 w 3359086"/>
                <a:gd name="connsiteY21704" fmla="*/ 571691 h 3355086"/>
                <a:gd name="connsiteX21705" fmla="*/ 466343 w 3359086"/>
                <a:gd name="connsiteY21705" fmla="*/ 565500 h 3355086"/>
                <a:gd name="connsiteX21706" fmla="*/ 2757010 w 3359086"/>
                <a:gd name="connsiteY21706" fmla="*/ 565404 h 3355086"/>
                <a:gd name="connsiteX21707" fmla="*/ 2763202 w 3359086"/>
                <a:gd name="connsiteY21707" fmla="*/ 571595 h 3355086"/>
                <a:gd name="connsiteX21708" fmla="*/ 2757010 w 3359086"/>
                <a:gd name="connsiteY21708" fmla="*/ 577787 h 3355086"/>
                <a:gd name="connsiteX21709" fmla="*/ 2750819 w 3359086"/>
                <a:gd name="connsiteY21709" fmla="*/ 571595 h 3355086"/>
                <a:gd name="connsiteX21710" fmla="*/ 2757010 w 3359086"/>
                <a:gd name="connsiteY21710" fmla="*/ 565404 h 3355086"/>
                <a:gd name="connsiteX21711" fmla="*/ 2821876 w 3359086"/>
                <a:gd name="connsiteY21711" fmla="*/ 565214 h 3355086"/>
                <a:gd name="connsiteX21712" fmla="*/ 2828068 w 3359086"/>
                <a:gd name="connsiteY21712" fmla="*/ 571405 h 3355086"/>
                <a:gd name="connsiteX21713" fmla="*/ 2821876 w 3359086"/>
                <a:gd name="connsiteY21713" fmla="*/ 577596 h 3355086"/>
                <a:gd name="connsiteX21714" fmla="*/ 2815685 w 3359086"/>
                <a:gd name="connsiteY21714" fmla="*/ 571405 h 3355086"/>
                <a:gd name="connsiteX21715" fmla="*/ 2821876 w 3359086"/>
                <a:gd name="connsiteY21715" fmla="*/ 565214 h 3355086"/>
                <a:gd name="connsiteX21716" fmla="*/ 2792824 w 3359086"/>
                <a:gd name="connsiteY21716" fmla="*/ 563880 h 3355086"/>
                <a:gd name="connsiteX21717" fmla="*/ 2799015 w 3359086"/>
                <a:gd name="connsiteY21717" fmla="*/ 570071 h 3355086"/>
                <a:gd name="connsiteX21718" fmla="*/ 2792824 w 3359086"/>
                <a:gd name="connsiteY21718" fmla="*/ 576263 h 3355086"/>
                <a:gd name="connsiteX21719" fmla="*/ 2786633 w 3359086"/>
                <a:gd name="connsiteY21719" fmla="*/ 570071 h 3355086"/>
                <a:gd name="connsiteX21720" fmla="*/ 2792824 w 3359086"/>
                <a:gd name="connsiteY21720" fmla="*/ 563880 h 3355086"/>
                <a:gd name="connsiteX21721" fmla="*/ 2893980 w 3359086"/>
                <a:gd name="connsiteY21721" fmla="*/ 563404 h 3355086"/>
                <a:gd name="connsiteX21722" fmla="*/ 2900172 w 3359086"/>
                <a:gd name="connsiteY21722" fmla="*/ 569595 h 3355086"/>
                <a:gd name="connsiteX21723" fmla="*/ 2894599 w 3359086"/>
                <a:gd name="connsiteY21723" fmla="*/ 575168 h 3355086"/>
                <a:gd name="connsiteX21724" fmla="*/ 2899219 w 3359086"/>
                <a:gd name="connsiteY21724" fmla="*/ 579787 h 3355086"/>
                <a:gd name="connsiteX21725" fmla="*/ 2893646 w 3359086"/>
                <a:gd name="connsiteY21725" fmla="*/ 585359 h 3355086"/>
                <a:gd name="connsiteX21726" fmla="*/ 2899123 w 3359086"/>
                <a:gd name="connsiteY21726" fmla="*/ 590836 h 3355086"/>
                <a:gd name="connsiteX21727" fmla="*/ 2892932 w 3359086"/>
                <a:gd name="connsiteY21727" fmla="*/ 597027 h 3355086"/>
                <a:gd name="connsiteX21728" fmla="*/ 2886741 w 3359086"/>
                <a:gd name="connsiteY21728" fmla="*/ 590836 h 3355086"/>
                <a:gd name="connsiteX21729" fmla="*/ 2892313 w 3359086"/>
                <a:gd name="connsiteY21729" fmla="*/ 585264 h 3355086"/>
                <a:gd name="connsiteX21730" fmla="*/ 2886836 w 3359086"/>
                <a:gd name="connsiteY21730" fmla="*/ 579787 h 3355086"/>
                <a:gd name="connsiteX21731" fmla="*/ 2892408 w 3359086"/>
                <a:gd name="connsiteY21731" fmla="*/ 574215 h 3355086"/>
                <a:gd name="connsiteX21732" fmla="*/ 2887789 w 3359086"/>
                <a:gd name="connsiteY21732" fmla="*/ 569595 h 3355086"/>
                <a:gd name="connsiteX21733" fmla="*/ 2893980 w 3359086"/>
                <a:gd name="connsiteY21733" fmla="*/ 563404 h 3355086"/>
                <a:gd name="connsiteX21734" fmla="*/ 425100 w 3359086"/>
                <a:gd name="connsiteY21734" fmla="*/ 563023 h 3355086"/>
                <a:gd name="connsiteX21735" fmla="*/ 428625 w 3359086"/>
                <a:gd name="connsiteY21735" fmla="*/ 566547 h 3355086"/>
                <a:gd name="connsiteX21736" fmla="*/ 425100 w 3359086"/>
                <a:gd name="connsiteY21736" fmla="*/ 570072 h 3355086"/>
                <a:gd name="connsiteX21737" fmla="*/ 421576 w 3359086"/>
                <a:gd name="connsiteY21737" fmla="*/ 566547 h 3355086"/>
                <a:gd name="connsiteX21738" fmla="*/ 425100 w 3359086"/>
                <a:gd name="connsiteY21738" fmla="*/ 563023 h 3355086"/>
                <a:gd name="connsiteX21739" fmla="*/ 1323689 w 3359086"/>
                <a:gd name="connsiteY21739" fmla="*/ 562928 h 3355086"/>
                <a:gd name="connsiteX21740" fmla="*/ 1329880 w 3359086"/>
                <a:gd name="connsiteY21740" fmla="*/ 569119 h 3355086"/>
                <a:gd name="connsiteX21741" fmla="*/ 1323689 w 3359086"/>
                <a:gd name="connsiteY21741" fmla="*/ 575310 h 3355086"/>
                <a:gd name="connsiteX21742" fmla="*/ 1317498 w 3359086"/>
                <a:gd name="connsiteY21742" fmla="*/ 569119 h 3355086"/>
                <a:gd name="connsiteX21743" fmla="*/ 1323689 w 3359086"/>
                <a:gd name="connsiteY21743" fmla="*/ 562928 h 3355086"/>
                <a:gd name="connsiteX21744" fmla="*/ 483393 w 3359086"/>
                <a:gd name="connsiteY21744" fmla="*/ 559499 h 3355086"/>
                <a:gd name="connsiteX21745" fmla="*/ 489585 w 3359086"/>
                <a:gd name="connsiteY21745" fmla="*/ 565690 h 3355086"/>
                <a:gd name="connsiteX21746" fmla="*/ 483393 w 3359086"/>
                <a:gd name="connsiteY21746" fmla="*/ 571881 h 3355086"/>
                <a:gd name="connsiteX21747" fmla="*/ 477202 w 3359086"/>
                <a:gd name="connsiteY21747" fmla="*/ 565690 h 3355086"/>
                <a:gd name="connsiteX21748" fmla="*/ 483393 w 3359086"/>
                <a:gd name="connsiteY21748" fmla="*/ 559499 h 3355086"/>
                <a:gd name="connsiteX21749" fmla="*/ 1012602 w 3359086"/>
                <a:gd name="connsiteY21749" fmla="*/ 558356 h 3355086"/>
                <a:gd name="connsiteX21750" fmla="*/ 1018793 w 3359086"/>
                <a:gd name="connsiteY21750" fmla="*/ 564547 h 3355086"/>
                <a:gd name="connsiteX21751" fmla="*/ 1012602 w 3359086"/>
                <a:gd name="connsiteY21751" fmla="*/ 570738 h 3355086"/>
                <a:gd name="connsiteX21752" fmla="*/ 1006411 w 3359086"/>
                <a:gd name="connsiteY21752" fmla="*/ 564547 h 3355086"/>
                <a:gd name="connsiteX21753" fmla="*/ 1012602 w 3359086"/>
                <a:gd name="connsiteY21753" fmla="*/ 558356 h 3355086"/>
                <a:gd name="connsiteX21754" fmla="*/ 1960720 w 3359086"/>
                <a:gd name="connsiteY21754" fmla="*/ 557594 h 3355086"/>
                <a:gd name="connsiteX21755" fmla="*/ 1966912 w 3359086"/>
                <a:gd name="connsiteY21755" fmla="*/ 563785 h 3355086"/>
                <a:gd name="connsiteX21756" fmla="*/ 1960720 w 3359086"/>
                <a:gd name="connsiteY21756" fmla="*/ 569977 h 3355086"/>
                <a:gd name="connsiteX21757" fmla="*/ 1954529 w 3359086"/>
                <a:gd name="connsiteY21757" fmla="*/ 563785 h 3355086"/>
                <a:gd name="connsiteX21758" fmla="*/ 1960720 w 3359086"/>
                <a:gd name="connsiteY21758" fmla="*/ 557594 h 3355086"/>
                <a:gd name="connsiteX21759" fmla="*/ 437578 w 3359086"/>
                <a:gd name="connsiteY21759" fmla="*/ 557308 h 3355086"/>
                <a:gd name="connsiteX21760" fmla="*/ 443769 w 3359086"/>
                <a:gd name="connsiteY21760" fmla="*/ 563499 h 3355086"/>
                <a:gd name="connsiteX21761" fmla="*/ 437578 w 3359086"/>
                <a:gd name="connsiteY21761" fmla="*/ 569690 h 3355086"/>
                <a:gd name="connsiteX21762" fmla="*/ 431387 w 3359086"/>
                <a:gd name="connsiteY21762" fmla="*/ 563499 h 3355086"/>
                <a:gd name="connsiteX21763" fmla="*/ 437578 w 3359086"/>
                <a:gd name="connsiteY21763" fmla="*/ 557308 h 3355086"/>
                <a:gd name="connsiteX21764" fmla="*/ 840485 w 3359086"/>
                <a:gd name="connsiteY21764" fmla="*/ 556356 h 3355086"/>
                <a:gd name="connsiteX21765" fmla="*/ 846677 w 3359086"/>
                <a:gd name="connsiteY21765" fmla="*/ 562547 h 3355086"/>
                <a:gd name="connsiteX21766" fmla="*/ 840485 w 3359086"/>
                <a:gd name="connsiteY21766" fmla="*/ 568738 h 3355086"/>
                <a:gd name="connsiteX21767" fmla="*/ 834294 w 3359086"/>
                <a:gd name="connsiteY21767" fmla="*/ 562547 h 3355086"/>
                <a:gd name="connsiteX21768" fmla="*/ 840485 w 3359086"/>
                <a:gd name="connsiteY21768" fmla="*/ 556356 h 3355086"/>
                <a:gd name="connsiteX21769" fmla="*/ 646461 w 3359086"/>
                <a:gd name="connsiteY21769" fmla="*/ 555975 h 3355086"/>
                <a:gd name="connsiteX21770" fmla="*/ 652652 w 3359086"/>
                <a:gd name="connsiteY21770" fmla="*/ 562166 h 3355086"/>
                <a:gd name="connsiteX21771" fmla="*/ 646461 w 3359086"/>
                <a:gd name="connsiteY21771" fmla="*/ 568357 h 3355086"/>
                <a:gd name="connsiteX21772" fmla="*/ 640270 w 3359086"/>
                <a:gd name="connsiteY21772" fmla="*/ 562166 h 3355086"/>
                <a:gd name="connsiteX21773" fmla="*/ 646461 w 3359086"/>
                <a:gd name="connsiteY21773" fmla="*/ 555975 h 3355086"/>
                <a:gd name="connsiteX21774" fmla="*/ 2925413 w 3359086"/>
                <a:gd name="connsiteY21774" fmla="*/ 555498 h 3355086"/>
                <a:gd name="connsiteX21775" fmla="*/ 2930080 w 3359086"/>
                <a:gd name="connsiteY21775" fmla="*/ 560165 h 3355086"/>
                <a:gd name="connsiteX21776" fmla="*/ 2925413 w 3359086"/>
                <a:gd name="connsiteY21776" fmla="*/ 564833 h 3355086"/>
                <a:gd name="connsiteX21777" fmla="*/ 2920746 w 3359086"/>
                <a:gd name="connsiteY21777" fmla="*/ 560165 h 3355086"/>
                <a:gd name="connsiteX21778" fmla="*/ 2925413 w 3359086"/>
                <a:gd name="connsiteY21778" fmla="*/ 555498 h 3355086"/>
                <a:gd name="connsiteX21779" fmla="*/ 504062 w 3359086"/>
                <a:gd name="connsiteY21779" fmla="*/ 554451 h 3355086"/>
                <a:gd name="connsiteX21780" fmla="*/ 510253 w 3359086"/>
                <a:gd name="connsiteY21780" fmla="*/ 560642 h 3355086"/>
                <a:gd name="connsiteX21781" fmla="*/ 504062 w 3359086"/>
                <a:gd name="connsiteY21781" fmla="*/ 566833 h 3355086"/>
                <a:gd name="connsiteX21782" fmla="*/ 497871 w 3359086"/>
                <a:gd name="connsiteY21782" fmla="*/ 560642 h 3355086"/>
                <a:gd name="connsiteX21783" fmla="*/ 504062 w 3359086"/>
                <a:gd name="connsiteY21783" fmla="*/ 554451 h 3355086"/>
                <a:gd name="connsiteX21784" fmla="*/ 2910839 w 3359086"/>
                <a:gd name="connsiteY21784" fmla="*/ 553974 h 3355086"/>
                <a:gd name="connsiteX21785" fmla="*/ 2917030 w 3359086"/>
                <a:gd name="connsiteY21785" fmla="*/ 560165 h 3355086"/>
                <a:gd name="connsiteX21786" fmla="*/ 2910839 w 3359086"/>
                <a:gd name="connsiteY21786" fmla="*/ 566356 h 3355086"/>
                <a:gd name="connsiteX21787" fmla="*/ 2904648 w 3359086"/>
                <a:gd name="connsiteY21787" fmla="*/ 560165 h 3355086"/>
                <a:gd name="connsiteX21788" fmla="*/ 2910839 w 3359086"/>
                <a:gd name="connsiteY21788" fmla="*/ 553974 h 3355086"/>
                <a:gd name="connsiteX21789" fmla="*/ 2853118 w 3359086"/>
                <a:gd name="connsiteY21789" fmla="*/ 553879 h 3355086"/>
                <a:gd name="connsiteX21790" fmla="*/ 2859309 w 3359086"/>
                <a:gd name="connsiteY21790" fmla="*/ 560070 h 3355086"/>
                <a:gd name="connsiteX21791" fmla="*/ 2853118 w 3359086"/>
                <a:gd name="connsiteY21791" fmla="*/ 566261 h 3355086"/>
                <a:gd name="connsiteX21792" fmla="*/ 2846927 w 3359086"/>
                <a:gd name="connsiteY21792" fmla="*/ 560070 h 3355086"/>
                <a:gd name="connsiteX21793" fmla="*/ 2853118 w 3359086"/>
                <a:gd name="connsiteY21793" fmla="*/ 553879 h 3355086"/>
                <a:gd name="connsiteX21794" fmla="*/ 2600896 w 3359086"/>
                <a:gd name="connsiteY21794" fmla="*/ 553593 h 3355086"/>
                <a:gd name="connsiteX21795" fmla="*/ 2607087 w 3359086"/>
                <a:gd name="connsiteY21795" fmla="*/ 559784 h 3355086"/>
                <a:gd name="connsiteX21796" fmla="*/ 2600896 w 3359086"/>
                <a:gd name="connsiteY21796" fmla="*/ 565975 h 3355086"/>
                <a:gd name="connsiteX21797" fmla="*/ 2594705 w 3359086"/>
                <a:gd name="connsiteY21797" fmla="*/ 559784 h 3355086"/>
                <a:gd name="connsiteX21798" fmla="*/ 2600896 w 3359086"/>
                <a:gd name="connsiteY21798" fmla="*/ 553593 h 3355086"/>
                <a:gd name="connsiteX21799" fmla="*/ 449675 w 3359086"/>
                <a:gd name="connsiteY21799" fmla="*/ 552546 h 3355086"/>
                <a:gd name="connsiteX21800" fmla="*/ 455866 w 3359086"/>
                <a:gd name="connsiteY21800" fmla="*/ 558737 h 3355086"/>
                <a:gd name="connsiteX21801" fmla="*/ 452009 w 3359086"/>
                <a:gd name="connsiteY21801" fmla="*/ 562595 h 3355086"/>
                <a:gd name="connsiteX21802" fmla="*/ 457390 w 3359086"/>
                <a:gd name="connsiteY21802" fmla="*/ 567976 h 3355086"/>
                <a:gd name="connsiteX21803" fmla="*/ 452866 w 3359086"/>
                <a:gd name="connsiteY21803" fmla="*/ 572501 h 3355086"/>
                <a:gd name="connsiteX21804" fmla="*/ 458437 w 3359086"/>
                <a:gd name="connsiteY21804" fmla="*/ 578072 h 3355086"/>
                <a:gd name="connsiteX21805" fmla="*/ 452246 w 3359086"/>
                <a:gd name="connsiteY21805" fmla="*/ 584264 h 3355086"/>
                <a:gd name="connsiteX21806" fmla="*/ 446055 w 3359086"/>
                <a:gd name="connsiteY21806" fmla="*/ 578072 h 3355086"/>
                <a:gd name="connsiteX21807" fmla="*/ 450580 w 3359086"/>
                <a:gd name="connsiteY21807" fmla="*/ 573548 h 3355086"/>
                <a:gd name="connsiteX21808" fmla="*/ 445008 w 3359086"/>
                <a:gd name="connsiteY21808" fmla="*/ 567976 h 3355086"/>
                <a:gd name="connsiteX21809" fmla="*/ 448866 w 3359086"/>
                <a:gd name="connsiteY21809" fmla="*/ 564119 h 3355086"/>
                <a:gd name="connsiteX21810" fmla="*/ 443484 w 3359086"/>
                <a:gd name="connsiteY21810" fmla="*/ 558737 h 3355086"/>
                <a:gd name="connsiteX21811" fmla="*/ 449675 w 3359086"/>
                <a:gd name="connsiteY21811" fmla="*/ 552546 h 3355086"/>
                <a:gd name="connsiteX21812" fmla="*/ 1427416 w 3359086"/>
                <a:gd name="connsiteY21812" fmla="*/ 552450 h 3355086"/>
                <a:gd name="connsiteX21813" fmla="*/ 1433607 w 3359086"/>
                <a:gd name="connsiteY21813" fmla="*/ 558641 h 3355086"/>
                <a:gd name="connsiteX21814" fmla="*/ 1427416 w 3359086"/>
                <a:gd name="connsiteY21814" fmla="*/ 564832 h 3355086"/>
                <a:gd name="connsiteX21815" fmla="*/ 1421225 w 3359086"/>
                <a:gd name="connsiteY21815" fmla="*/ 558641 h 3355086"/>
                <a:gd name="connsiteX21816" fmla="*/ 1427416 w 3359086"/>
                <a:gd name="connsiteY21816" fmla="*/ 552450 h 3355086"/>
                <a:gd name="connsiteX21817" fmla="*/ 2897504 w 3359086"/>
                <a:gd name="connsiteY21817" fmla="*/ 552069 h 3355086"/>
                <a:gd name="connsiteX21818" fmla="*/ 2903696 w 3359086"/>
                <a:gd name="connsiteY21818" fmla="*/ 558260 h 3355086"/>
                <a:gd name="connsiteX21819" fmla="*/ 2897504 w 3359086"/>
                <a:gd name="connsiteY21819" fmla="*/ 564451 h 3355086"/>
                <a:gd name="connsiteX21820" fmla="*/ 2891313 w 3359086"/>
                <a:gd name="connsiteY21820" fmla="*/ 558260 h 3355086"/>
                <a:gd name="connsiteX21821" fmla="*/ 2897504 w 3359086"/>
                <a:gd name="connsiteY21821" fmla="*/ 552069 h 3355086"/>
                <a:gd name="connsiteX21822" fmla="*/ 599503 w 3359086"/>
                <a:gd name="connsiteY21822" fmla="*/ 550831 h 3355086"/>
                <a:gd name="connsiteX21823" fmla="*/ 605694 w 3359086"/>
                <a:gd name="connsiteY21823" fmla="*/ 557022 h 3355086"/>
                <a:gd name="connsiteX21824" fmla="*/ 599503 w 3359086"/>
                <a:gd name="connsiteY21824" fmla="*/ 563213 h 3355086"/>
                <a:gd name="connsiteX21825" fmla="*/ 593312 w 3359086"/>
                <a:gd name="connsiteY21825" fmla="*/ 557022 h 3355086"/>
                <a:gd name="connsiteX21826" fmla="*/ 599503 w 3359086"/>
                <a:gd name="connsiteY21826" fmla="*/ 550831 h 3355086"/>
                <a:gd name="connsiteX21827" fmla="*/ 529589 w 3359086"/>
                <a:gd name="connsiteY21827" fmla="*/ 550831 h 3355086"/>
                <a:gd name="connsiteX21828" fmla="*/ 535780 w 3359086"/>
                <a:gd name="connsiteY21828" fmla="*/ 557022 h 3355086"/>
                <a:gd name="connsiteX21829" fmla="*/ 529589 w 3359086"/>
                <a:gd name="connsiteY21829" fmla="*/ 563213 h 3355086"/>
                <a:gd name="connsiteX21830" fmla="*/ 523398 w 3359086"/>
                <a:gd name="connsiteY21830" fmla="*/ 557022 h 3355086"/>
                <a:gd name="connsiteX21831" fmla="*/ 529589 w 3359086"/>
                <a:gd name="connsiteY21831" fmla="*/ 550831 h 3355086"/>
                <a:gd name="connsiteX21832" fmla="*/ 561022 w 3359086"/>
                <a:gd name="connsiteY21832" fmla="*/ 549402 h 3355086"/>
                <a:gd name="connsiteX21833" fmla="*/ 567213 w 3359086"/>
                <a:gd name="connsiteY21833" fmla="*/ 555593 h 3355086"/>
                <a:gd name="connsiteX21834" fmla="*/ 561022 w 3359086"/>
                <a:gd name="connsiteY21834" fmla="*/ 561785 h 3355086"/>
                <a:gd name="connsiteX21835" fmla="*/ 554831 w 3359086"/>
                <a:gd name="connsiteY21835" fmla="*/ 555593 h 3355086"/>
                <a:gd name="connsiteX21836" fmla="*/ 561022 w 3359086"/>
                <a:gd name="connsiteY21836" fmla="*/ 549402 h 3355086"/>
                <a:gd name="connsiteX21837" fmla="*/ 2279713 w 3359086"/>
                <a:gd name="connsiteY21837" fmla="*/ 548926 h 3355086"/>
                <a:gd name="connsiteX21838" fmla="*/ 2285905 w 3359086"/>
                <a:gd name="connsiteY21838" fmla="*/ 555117 h 3355086"/>
                <a:gd name="connsiteX21839" fmla="*/ 2279713 w 3359086"/>
                <a:gd name="connsiteY21839" fmla="*/ 561308 h 3355086"/>
                <a:gd name="connsiteX21840" fmla="*/ 2273522 w 3359086"/>
                <a:gd name="connsiteY21840" fmla="*/ 555117 h 3355086"/>
                <a:gd name="connsiteX21841" fmla="*/ 2279713 w 3359086"/>
                <a:gd name="connsiteY21841" fmla="*/ 548926 h 3355086"/>
                <a:gd name="connsiteX21842" fmla="*/ 1855755 w 3359086"/>
                <a:gd name="connsiteY21842" fmla="*/ 548831 h 3355086"/>
                <a:gd name="connsiteX21843" fmla="*/ 1861947 w 3359086"/>
                <a:gd name="connsiteY21843" fmla="*/ 555022 h 3355086"/>
                <a:gd name="connsiteX21844" fmla="*/ 1855755 w 3359086"/>
                <a:gd name="connsiteY21844" fmla="*/ 561213 h 3355086"/>
                <a:gd name="connsiteX21845" fmla="*/ 1849564 w 3359086"/>
                <a:gd name="connsiteY21845" fmla="*/ 555022 h 3355086"/>
                <a:gd name="connsiteX21846" fmla="*/ 1855755 w 3359086"/>
                <a:gd name="connsiteY21846" fmla="*/ 548831 h 3355086"/>
                <a:gd name="connsiteX21847" fmla="*/ 2884836 w 3359086"/>
                <a:gd name="connsiteY21847" fmla="*/ 548355 h 3355086"/>
                <a:gd name="connsiteX21848" fmla="*/ 2891027 w 3359086"/>
                <a:gd name="connsiteY21848" fmla="*/ 554546 h 3355086"/>
                <a:gd name="connsiteX21849" fmla="*/ 2884979 w 3359086"/>
                <a:gd name="connsiteY21849" fmla="*/ 560594 h 3355086"/>
                <a:gd name="connsiteX21850" fmla="*/ 2888551 w 3359086"/>
                <a:gd name="connsiteY21850" fmla="*/ 564166 h 3355086"/>
                <a:gd name="connsiteX21851" fmla="*/ 2883359 w 3359086"/>
                <a:gd name="connsiteY21851" fmla="*/ 569357 h 3355086"/>
                <a:gd name="connsiteX21852" fmla="*/ 2887599 w 3359086"/>
                <a:gd name="connsiteY21852" fmla="*/ 573596 h 3355086"/>
                <a:gd name="connsiteX21853" fmla="*/ 2881407 w 3359086"/>
                <a:gd name="connsiteY21853" fmla="*/ 579787 h 3355086"/>
                <a:gd name="connsiteX21854" fmla="*/ 2875216 w 3359086"/>
                <a:gd name="connsiteY21854" fmla="*/ 573596 h 3355086"/>
                <a:gd name="connsiteX21855" fmla="*/ 2880407 w 3359086"/>
                <a:gd name="connsiteY21855" fmla="*/ 568405 h 3355086"/>
                <a:gd name="connsiteX21856" fmla="*/ 2876168 w 3359086"/>
                <a:gd name="connsiteY21856" fmla="*/ 564166 h 3355086"/>
                <a:gd name="connsiteX21857" fmla="*/ 2882217 w 3359086"/>
                <a:gd name="connsiteY21857" fmla="*/ 558118 h 3355086"/>
                <a:gd name="connsiteX21858" fmla="*/ 2878645 w 3359086"/>
                <a:gd name="connsiteY21858" fmla="*/ 554546 h 3355086"/>
                <a:gd name="connsiteX21859" fmla="*/ 2884836 w 3359086"/>
                <a:gd name="connsiteY21859" fmla="*/ 548355 h 3355086"/>
                <a:gd name="connsiteX21860" fmla="*/ 2834830 w 3359086"/>
                <a:gd name="connsiteY21860" fmla="*/ 547592 h 3355086"/>
                <a:gd name="connsiteX21861" fmla="*/ 2841021 w 3359086"/>
                <a:gd name="connsiteY21861" fmla="*/ 553783 h 3355086"/>
                <a:gd name="connsiteX21862" fmla="*/ 2834830 w 3359086"/>
                <a:gd name="connsiteY21862" fmla="*/ 559974 h 3355086"/>
                <a:gd name="connsiteX21863" fmla="*/ 2828639 w 3359086"/>
                <a:gd name="connsiteY21863" fmla="*/ 553783 h 3355086"/>
                <a:gd name="connsiteX21864" fmla="*/ 2834830 w 3359086"/>
                <a:gd name="connsiteY21864" fmla="*/ 547592 h 3355086"/>
                <a:gd name="connsiteX21865" fmla="*/ 1533524 w 3359086"/>
                <a:gd name="connsiteY21865" fmla="*/ 545592 h 3355086"/>
                <a:gd name="connsiteX21866" fmla="*/ 1539715 w 3359086"/>
                <a:gd name="connsiteY21866" fmla="*/ 551783 h 3355086"/>
                <a:gd name="connsiteX21867" fmla="*/ 1533524 w 3359086"/>
                <a:gd name="connsiteY21867" fmla="*/ 557974 h 3355086"/>
                <a:gd name="connsiteX21868" fmla="*/ 1527333 w 3359086"/>
                <a:gd name="connsiteY21868" fmla="*/ 551783 h 3355086"/>
                <a:gd name="connsiteX21869" fmla="*/ 1533524 w 3359086"/>
                <a:gd name="connsiteY21869" fmla="*/ 545592 h 3355086"/>
                <a:gd name="connsiteX21870" fmla="*/ 2458021 w 3359086"/>
                <a:gd name="connsiteY21870" fmla="*/ 545116 h 3355086"/>
                <a:gd name="connsiteX21871" fmla="*/ 2464212 w 3359086"/>
                <a:gd name="connsiteY21871" fmla="*/ 551307 h 3355086"/>
                <a:gd name="connsiteX21872" fmla="*/ 2458021 w 3359086"/>
                <a:gd name="connsiteY21872" fmla="*/ 557498 h 3355086"/>
                <a:gd name="connsiteX21873" fmla="*/ 2451830 w 3359086"/>
                <a:gd name="connsiteY21873" fmla="*/ 551307 h 3355086"/>
                <a:gd name="connsiteX21874" fmla="*/ 2458021 w 3359086"/>
                <a:gd name="connsiteY21874" fmla="*/ 545116 h 3355086"/>
                <a:gd name="connsiteX21875" fmla="*/ 1748789 w 3359086"/>
                <a:gd name="connsiteY21875" fmla="*/ 543783 h 3355086"/>
                <a:gd name="connsiteX21876" fmla="*/ 1754981 w 3359086"/>
                <a:gd name="connsiteY21876" fmla="*/ 549974 h 3355086"/>
                <a:gd name="connsiteX21877" fmla="*/ 1748789 w 3359086"/>
                <a:gd name="connsiteY21877" fmla="*/ 556165 h 3355086"/>
                <a:gd name="connsiteX21878" fmla="*/ 1742598 w 3359086"/>
                <a:gd name="connsiteY21878" fmla="*/ 549974 h 3355086"/>
                <a:gd name="connsiteX21879" fmla="*/ 1748789 w 3359086"/>
                <a:gd name="connsiteY21879" fmla="*/ 543783 h 3355086"/>
                <a:gd name="connsiteX21880" fmla="*/ 2660903 w 3359086"/>
                <a:gd name="connsiteY21880" fmla="*/ 543497 h 3355086"/>
                <a:gd name="connsiteX21881" fmla="*/ 2667095 w 3359086"/>
                <a:gd name="connsiteY21881" fmla="*/ 549688 h 3355086"/>
                <a:gd name="connsiteX21882" fmla="*/ 2660903 w 3359086"/>
                <a:gd name="connsiteY21882" fmla="*/ 555879 h 3355086"/>
                <a:gd name="connsiteX21883" fmla="*/ 2654712 w 3359086"/>
                <a:gd name="connsiteY21883" fmla="*/ 549688 h 3355086"/>
                <a:gd name="connsiteX21884" fmla="*/ 2660903 w 3359086"/>
                <a:gd name="connsiteY21884" fmla="*/ 543497 h 3355086"/>
                <a:gd name="connsiteX21885" fmla="*/ 2872358 w 3359086"/>
                <a:gd name="connsiteY21885" fmla="*/ 543021 h 3355086"/>
                <a:gd name="connsiteX21886" fmla="*/ 2878549 w 3359086"/>
                <a:gd name="connsiteY21886" fmla="*/ 549212 h 3355086"/>
                <a:gd name="connsiteX21887" fmla="*/ 2873311 w 3359086"/>
                <a:gd name="connsiteY21887" fmla="*/ 554451 h 3355086"/>
                <a:gd name="connsiteX21888" fmla="*/ 2876454 w 3359086"/>
                <a:gd name="connsiteY21888" fmla="*/ 557594 h 3355086"/>
                <a:gd name="connsiteX21889" fmla="*/ 2870835 w 3359086"/>
                <a:gd name="connsiteY21889" fmla="*/ 563213 h 3355086"/>
                <a:gd name="connsiteX21890" fmla="*/ 2874550 w 3359086"/>
                <a:gd name="connsiteY21890" fmla="*/ 566928 h 3355086"/>
                <a:gd name="connsiteX21891" fmla="*/ 2868358 w 3359086"/>
                <a:gd name="connsiteY21891" fmla="*/ 573119 h 3355086"/>
                <a:gd name="connsiteX21892" fmla="*/ 2862167 w 3359086"/>
                <a:gd name="connsiteY21892" fmla="*/ 566928 h 3355086"/>
                <a:gd name="connsiteX21893" fmla="*/ 2867787 w 3359086"/>
                <a:gd name="connsiteY21893" fmla="*/ 561309 h 3355086"/>
                <a:gd name="connsiteX21894" fmla="*/ 2864072 w 3359086"/>
                <a:gd name="connsiteY21894" fmla="*/ 557594 h 3355086"/>
                <a:gd name="connsiteX21895" fmla="*/ 2869310 w 3359086"/>
                <a:gd name="connsiteY21895" fmla="*/ 552356 h 3355086"/>
                <a:gd name="connsiteX21896" fmla="*/ 2866167 w 3359086"/>
                <a:gd name="connsiteY21896" fmla="*/ 549212 h 3355086"/>
                <a:gd name="connsiteX21897" fmla="*/ 2872358 w 3359086"/>
                <a:gd name="connsiteY21897" fmla="*/ 543021 h 3355086"/>
                <a:gd name="connsiteX21898" fmla="*/ 1641061 w 3359086"/>
                <a:gd name="connsiteY21898" fmla="*/ 542639 h 3355086"/>
                <a:gd name="connsiteX21899" fmla="*/ 1647253 w 3359086"/>
                <a:gd name="connsiteY21899" fmla="*/ 548830 h 3355086"/>
                <a:gd name="connsiteX21900" fmla="*/ 1641061 w 3359086"/>
                <a:gd name="connsiteY21900" fmla="*/ 555021 h 3355086"/>
                <a:gd name="connsiteX21901" fmla="*/ 1634870 w 3359086"/>
                <a:gd name="connsiteY21901" fmla="*/ 548830 h 3355086"/>
                <a:gd name="connsiteX21902" fmla="*/ 1641061 w 3359086"/>
                <a:gd name="connsiteY21902" fmla="*/ 542639 h 3355086"/>
                <a:gd name="connsiteX21903" fmla="*/ 445864 w 3359086"/>
                <a:gd name="connsiteY21903" fmla="*/ 542258 h 3355086"/>
                <a:gd name="connsiteX21904" fmla="*/ 452055 w 3359086"/>
                <a:gd name="connsiteY21904" fmla="*/ 548449 h 3355086"/>
                <a:gd name="connsiteX21905" fmla="*/ 445864 w 3359086"/>
                <a:gd name="connsiteY21905" fmla="*/ 554641 h 3355086"/>
                <a:gd name="connsiteX21906" fmla="*/ 439673 w 3359086"/>
                <a:gd name="connsiteY21906" fmla="*/ 548449 h 3355086"/>
                <a:gd name="connsiteX21907" fmla="*/ 445864 w 3359086"/>
                <a:gd name="connsiteY21907" fmla="*/ 542258 h 3355086"/>
                <a:gd name="connsiteX21908" fmla="*/ 2812541 w 3359086"/>
                <a:gd name="connsiteY21908" fmla="*/ 542163 h 3355086"/>
                <a:gd name="connsiteX21909" fmla="*/ 2818732 w 3359086"/>
                <a:gd name="connsiteY21909" fmla="*/ 548354 h 3355086"/>
                <a:gd name="connsiteX21910" fmla="*/ 2812541 w 3359086"/>
                <a:gd name="connsiteY21910" fmla="*/ 554545 h 3355086"/>
                <a:gd name="connsiteX21911" fmla="*/ 2806350 w 3359086"/>
                <a:gd name="connsiteY21911" fmla="*/ 548354 h 3355086"/>
                <a:gd name="connsiteX21912" fmla="*/ 2812541 w 3359086"/>
                <a:gd name="connsiteY21912" fmla="*/ 542163 h 3355086"/>
                <a:gd name="connsiteX21913" fmla="*/ 494252 w 3359086"/>
                <a:gd name="connsiteY21913" fmla="*/ 540449 h 3355086"/>
                <a:gd name="connsiteX21914" fmla="*/ 500443 w 3359086"/>
                <a:gd name="connsiteY21914" fmla="*/ 546640 h 3355086"/>
                <a:gd name="connsiteX21915" fmla="*/ 494252 w 3359086"/>
                <a:gd name="connsiteY21915" fmla="*/ 552831 h 3355086"/>
                <a:gd name="connsiteX21916" fmla="*/ 488061 w 3359086"/>
                <a:gd name="connsiteY21916" fmla="*/ 546640 h 3355086"/>
                <a:gd name="connsiteX21917" fmla="*/ 494252 w 3359086"/>
                <a:gd name="connsiteY21917" fmla="*/ 540449 h 3355086"/>
                <a:gd name="connsiteX21918" fmla="*/ 764571 w 3359086"/>
                <a:gd name="connsiteY21918" fmla="*/ 539782 h 3355086"/>
                <a:gd name="connsiteX21919" fmla="*/ 770762 w 3359086"/>
                <a:gd name="connsiteY21919" fmla="*/ 545973 h 3355086"/>
                <a:gd name="connsiteX21920" fmla="*/ 764571 w 3359086"/>
                <a:gd name="connsiteY21920" fmla="*/ 552164 h 3355086"/>
                <a:gd name="connsiteX21921" fmla="*/ 758380 w 3359086"/>
                <a:gd name="connsiteY21921" fmla="*/ 545973 h 3355086"/>
                <a:gd name="connsiteX21922" fmla="*/ 764571 w 3359086"/>
                <a:gd name="connsiteY21922" fmla="*/ 539782 h 3355086"/>
                <a:gd name="connsiteX21923" fmla="*/ 1099661 w 3359086"/>
                <a:gd name="connsiteY21923" fmla="*/ 538449 h 3355086"/>
                <a:gd name="connsiteX21924" fmla="*/ 1105852 w 3359086"/>
                <a:gd name="connsiteY21924" fmla="*/ 544640 h 3355086"/>
                <a:gd name="connsiteX21925" fmla="*/ 1099661 w 3359086"/>
                <a:gd name="connsiteY21925" fmla="*/ 550831 h 3355086"/>
                <a:gd name="connsiteX21926" fmla="*/ 1093470 w 3359086"/>
                <a:gd name="connsiteY21926" fmla="*/ 544640 h 3355086"/>
                <a:gd name="connsiteX21927" fmla="*/ 1099661 w 3359086"/>
                <a:gd name="connsiteY21927" fmla="*/ 538449 h 3355086"/>
                <a:gd name="connsiteX21928" fmla="*/ 2785205 w 3359086"/>
                <a:gd name="connsiteY21928" fmla="*/ 538353 h 3355086"/>
                <a:gd name="connsiteX21929" fmla="*/ 2791396 w 3359086"/>
                <a:gd name="connsiteY21929" fmla="*/ 544544 h 3355086"/>
                <a:gd name="connsiteX21930" fmla="*/ 2785205 w 3359086"/>
                <a:gd name="connsiteY21930" fmla="*/ 550736 h 3355086"/>
                <a:gd name="connsiteX21931" fmla="*/ 2779014 w 3359086"/>
                <a:gd name="connsiteY21931" fmla="*/ 544544 h 3355086"/>
                <a:gd name="connsiteX21932" fmla="*/ 2785205 w 3359086"/>
                <a:gd name="connsiteY21932" fmla="*/ 538353 h 3355086"/>
                <a:gd name="connsiteX21933" fmla="*/ 2904743 w 3359086"/>
                <a:gd name="connsiteY21933" fmla="*/ 538258 h 3355086"/>
                <a:gd name="connsiteX21934" fmla="*/ 2910934 w 3359086"/>
                <a:gd name="connsiteY21934" fmla="*/ 544449 h 3355086"/>
                <a:gd name="connsiteX21935" fmla="*/ 2904743 w 3359086"/>
                <a:gd name="connsiteY21935" fmla="*/ 550640 h 3355086"/>
                <a:gd name="connsiteX21936" fmla="*/ 2898552 w 3359086"/>
                <a:gd name="connsiteY21936" fmla="*/ 544449 h 3355086"/>
                <a:gd name="connsiteX21937" fmla="*/ 2904743 w 3359086"/>
                <a:gd name="connsiteY21937" fmla="*/ 538258 h 3355086"/>
                <a:gd name="connsiteX21938" fmla="*/ 2710719 w 3359086"/>
                <a:gd name="connsiteY21938" fmla="*/ 538163 h 3355086"/>
                <a:gd name="connsiteX21939" fmla="*/ 2716910 w 3359086"/>
                <a:gd name="connsiteY21939" fmla="*/ 544354 h 3355086"/>
                <a:gd name="connsiteX21940" fmla="*/ 2710719 w 3359086"/>
                <a:gd name="connsiteY21940" fmla="*/ 550545 h 3355086"/>
                <a:gd name="connsiteX21941" fmla="*/ 2704528 w 3359086"/>
                <a:gd name="connsiteY21941" fmla="*/ 544354 h 3355086"/>
                <a:gd name="connsiteX21942" fmla="*/ 2710719 w 3359086"/>
                <a:gd name="connsiteY21942" fmla="*/ 538163 h 3355086"/>
                <a:gd name="connsiteX21943" fmla="*/ 458914 w 3359086"/>
                <a:gd name="connsiteY21943" fmla="*/ 537877 h 3355086"/>
                <a:gd name="connsiteX21944" fmla="*/ 465106 w 3359086"/>
                <a:gd name="connsiteY21944" fmla="*/ 544068 h 3355086"/>
                <a:gd name="connsiteX21945" fmla="*/ 462247 w 3359086"/>
                <a:gd name="connsiteY21945" fmla="*/ 546926 h 3355086"/>
                <a:gd name="connsiteX21946" fmla="*/ 467962 w 3359086"/>
                <a:gd name="connsiteY21946" fmla="*/ 552641 h 3355086"/>
                <a:gd name="connsiteX21947" fmla="*/ 464629 w 3359086"/>
                <a:gd name="connsiteY21947" fmla="*/ 555975 h 3355086"/>
                <a:gd name="connsiteX21948" fmla="*/ 469772 w 3359086"/>
                <a:gd name="connsiteY21948" fmla="*/ 561118 h 3355086"/>
                <a:gd name="connsiteX21949" fmla="*/ 463581 w 3359086"/>
                <a:gd name="connsiteY21949" fmla="*/ 567309 h 3355086"/>
                <a:gd name="connsiteX21950" fmla="*/ 457390 w 3359086"/>
                <a:gd name="connsiteY21950" fmla="*/ 561118 h 3355086"/>
                <a:gd name="connsiteX21951" fmla="*/ 460724 w 3359086"/>
                <a:gd name="connsiteY21951" fmla="*/ 557785 h 3355086"/>
                <a:gd name="connsiteX21952" fmla="*/ 455580 w 3359086"/>
                <a:gd name="connsiteY21952" fmla="*/ 552641 h 3355086"/>
                <a:gd name="connsiteX21953" fmla="*/ 458438 w 3359086"/>
                <a:gd name="connsiteY21953" fmla="*/ 549783 h 3355086"/>
                <a:gd name="connsiteX21954" fmla="*/ 452723 w 3359086"/>
                <a:gd name="connsiteY21954" fmla="*/ 544068 h 3355086"/>
                <a:gd name="connsiteX21955" fmla="*/ 458914 w 3359086"/>
                <a:gd name="connsiteY21955" fmla="*/ 537877 h 3355086"/>
                <a:gd name="connsiteX21956" fmla="*/ 2890170 w 3359086"/>
                <a:gd name="connsiteY21956" fmla="*/ 536925 h 3355086"/>
                <a:gd name="connsiteX21957" fmla="*/ 2896361 w 3359086"/>
                <a:gd name="connsiteY21957" fmla="*/ 543116 h 3355086"/>
                <a:gd name="connsiteX21958" fmla="*/ 2890170 w 3359086"/>
                <a:gd name="connsiteY21958" fmla="*/ 549307 h 3355086"/>
                <a:gd name="connsiteX21959" fmla="*/ 2883979 w 3359086"/>
                <a:gd name="connsiteY21959" fmla="*/ 543116 h 3355086"/>
                <a:gd name="connsiteX21960" fmla="*/ 2890170 w 3359086"/>
                <a:gd name="connsiteY21960" fmla="*/ 536925 h 3355086"/>
                <a:gd name="connsiteX21961" fmla="*/ 2751676 w 3359086"/>
                <a:gd name="connsiteY21961" fmla="*/ 536734 h 3355086"/>
                <a:gd name="connsiteX21962" fmla="*/ 2757868 w 3359086"/>
                <a:gd name="connsiteY21962" fmla="*/ 542925 h 3355086"/>
                <a:gd name="connsiteX21963" fmla="*/ 2751676 w 3359086"/>
                <a:gd name="connsiteY21963" fmla="*/ 549116 h 3355086"/>
                <a:gd name="connsiteX21964" fmla="*/ 2745485 w 3359086"/>
                <a:gd name="connsiteY21964" fmla="*/ 542925 h 3355086"/>
                <a:gd name="connsiteX21965" fmla="*/ 2751676 w 3359086"/>
                <a:gd name="connsiteY21965" fmla="*/ 536734 h 3355086"/>
                <a:gd name="connsiteX21966" fmla="*/ 2876454 w 3359086"/>
                <a:gd name="connsiteY21966" fmla="*/ 533686 h 3355086"/>
                <a:gd name="connsiteX21967" fmla="*/ 2882646 w 3359086"/>
                <a:gd name="connsiteY21967" fmla="*/ 539877 h 3355086"/>
                <a:gd name="connsiteX21968" fmla="*/ 2876454 w 3359086"/>
                <a:gd name="connsiteY21968" fmla="*/ 546068 h 3355086"/>
                <a:gd name="connsiteX21969" fmla="*/ 2870263 w 3359086"/>
                <a:gd name="connsiteY21969" fmla="*/ 539877 h 3355086"/>
                <a:gd name="connsiteX21970" fmla="*/ 2876454 w 3359086"/>
                <a:gd name="connsiteY21970" fmla="*/ 533686 h 3355086"/>
                <a:gd name="connsiteX21971" fmla="*/ 514159 w 3359086"/>
                <a:gd name="connsiteY21971" fmla="*/ 533686 h 3355086"/>
                <a:gd name="connsiteX21972" fmla="*/ 520350 w 3359086"/>
                <a:gd name="connsiteY21972" fmla="*/ 539877 h 3355086"/>
                <a:gd name="connsiteX21973" fmla="*/ 514159 w 3359086"/>
                <a:gd name="connsiteY21973" fmla="*/ 546068 h 3355086"/>
                <a:gd name="connsiteX21974" fmla="*/ 507968 w 3359086"/>
                <a:gd name="connsiteY21974" fmla="*/ 539877 h 3355086"/>
                <a:gd name="connsiteX21975" fmla="*/ 514159 w 3359086"/>
                <a:gd name="connsiteY21975" fmla="*/ 533686 h 3355086"/>
                <a:gd name="connsiteX21976" fmla="*/ 914209 w 3359086"/>
                <a:gd name="connsiteY21976" fmla="*/ 532543 h 3355086"/>
                <a:gd name="connsiteX21977" fmla="*/ 920400 w 3359086"/>
                <a:gd name="connsiteY21977" fmla="*/ 538734 h 3355086"/>
                <a:gd name="connsiteX21978" fmla="*/ 914209 w 3359086"/>
                <a:gd name="connsiteY21978" fmla="*/ 544925 h 3355086"/>
                <a:gd name="connsiteX21979" fmla="*/ 908018 w 3359086"/>
                <a:gd name="connsiteY21979" fmla="*/ 538734 h 3355086"/>
                <a:gd name="connsiteX21980" fmla="*/ 914209 w 3359086"/>
                <a:gd name="connsiteY21980" fmla="*/ 532543 h 3355086"/>
                <a:gd name="connsiteX21981" fmla="*/ 453295 w 3359086"/>
                <a:gd name="connsiteY21981" fmla="*/ 532257 h 3355086"/>
                <a:gd name="connsiteX21982" fmla="*/ 454724 w 3359086"/>
                <a:gd name="connsiteY21982" fmla="*/ 533686 h 3355086"/>
                <a:gd name="connsiteX21983" fmla="*/ 453295 w 3359086"/>
                <a:gd name="connsiteY21983" fmla="*/ 535115 h 3355086"/>
                <a:gd name="connsiteX21984" fmla="*/ 451866 w 3359086"/>
                <a:gd name="connsiteY21984" fmla="*/ 533686 h 3355086"/>
                <a:gd name="connsiteX21985" fmla="*/ 453295 w 3359086"/>
                <a:gd name="connsiteY21985" fmla="*/ 532257 h 3355086"/>
                <a:gd name="connsiteX21986" fmla="*/ 471773 w 3359086"/>
                <a:gd name="connsiteY21986" fmla="*/ 531876 h 3355086"/>
                <a:gd name="connsiteX21987" fmla="*/ 477964 w 3359086"/>
                <a:gd name="connsiteY21987" fmla="*/ 538067 h 3355086"/>
                <a:gd name="connsiteX21988" fmla="*/ 475726 w 3359086"/>
                <a:gd name="connsiteY21988" fmla="*/ 540306 h 3355086"/>
                <a:gd name="connsiteX21989" fmla="*/ 480821 w 3359086"/>
                <a:gd name="connsiteY21989" fmla="*/ 545401 h 3355086"/>
                <a:gd name="connsiteX21990" fmla="*/ 478106 w 3359086"/>
                <a:gd name="connsiteY21990" fmla="*/ 548116 h 3355086"/>
                <a:gd name="connsiteX21991" fmla="*/ 483869 w 3359086"/>
                <a:gd name="connsiteY21991" fmla="*/ 553879 h 3355086"/>
                <a:gd name="connsiteX21992" fmla="*/ 477678 w 3359086"/>
                <a:gd name="connsiteY21992" fmla="*/ 560070 h 3355086"/>
                <a:gd name="connsiteX21993" fmla="*/ 471487 w 3359086"/>
                <a:gd name="connsiteY21993" fmla="*/ 553879 h 3355086"/>
                <a:gd name="connsiteX21994" fmla="*/ 474202 w 3359086"/>
                <a:gd name="connsiteY21994" fmla="*/ 551165 h 3355086"/>
                <a:gd name="connsiteX21995" fmla="*/ 468439 w 3359086"/>
                <a:gd name="connsiteY21995" fmla="*/ 545401 h 3355086"/>
                <a:gd name="connsiteX21996" fmla="*/ 470678 w 3359086"/>
                <a:gd name="connsiteY21996" fmla="*/ 543163 h 3355086"/>
                <a:gd name="connsiteX21997" fmla="*/ 465582 w 3359086"/>
                <a:gd name="connsiteY21997" fmla="*/ 538067 h 3355086"/>
                <a:gd name="connsiteX21998" fmla="*/ 471773 w 3359086"/>
                <a:gd name="connsiteY21998" fmla="*/ 531876 h 3355086"/>
                <a:gd name="connsiteX21999" fmla="*/ 2190464 w 3359086"/>
                <a:gd name="connsiteY21999" fmla="*/ 529971 h 3355086"/>
                <a:gd name="connsiteX22000" fmla="*/ 2196655 w 3359086"/>
                <a:gd name="connsiteY22000" fmla="*/ 536162 h 3355086"/>
                <a:gd name="connsiteX22001" fmla="*/ 2190464 w 3359086"/>
                <a:gd name="connsiteY22001" fmla="*/ 542353 h 3355086"/>
                <a:gd name="connsiteX22002" fmla="*/ 2184273 w 3359086"/>
                <a:gd name="connsiteY22002" fmla="*/ 536162 h 3355086"/>
                <a:gd name="connsiteX22003" fmla="*/ 2190464 w 3359086"/>
                <a:gd name="connsiteY22003" fmla="*/ 529971 h 3355086"/>
                <a:gd name="connsiteX22004" fmla="*/ 700849 w 3359086"/>
                <a:gd name="connsiteY22004" fmla="*/ 529209 h 3355086"/>
                <a:gd name="connsiteX22005" fmla="*/ 707041 w 3359086"/>
                <a:gd name="connsiteY22005" fmla="*/ 535400 h 3355086"/>
                <a:gd name="connsiteX22006" fmla="*/ 700849 w 3359086"/>
                <a:gd name="connsiteY22006" fmla="*/ 541591 h 3355086"/>
                <a:gd name="connsiteX22007" fmla="*/ 694658 w 3359086"/>
                <a:gd name="connsiteY22007" fmla="*/ 535400 h 3355086"/>
                <a:gd name="connsiteX22008" fmla="*/ 700849 w 3359086"/>
                <a:gd name="connsiteY22008" fmla="*/ 529209 h 3355086"/>
                <a:gd name="connsiteX22009" fmla="*/ 2863119 w 3359086"/>
                <a:gd name="connsiteY22009" fmla="*/ 528638 h 3355086"/>
                <a:gd name="connsiteX22010" fmla="*/ 2869310 w 3359086"/>
                <a:gd name="connsiteY22010" fmla="*/ 534829 h 3355086"/>
                <a:gd name="connsiteX22011" fmla="*/ 2863738 w 3359086"/>
                <a:gd name="connsiteY22011" fmla="*/ 540401 h 3355086"/>
                <a:gd name="connsiteX22012" fmla="*/ 2865882 w 3359086"/>
                <a:gd name="connsiteY22012" fmla="*/ 542544 h 3355086"/>
                <a:gd name="connsiteX22013" fmla="*/ 2860690 w 3359086"/>
                <a:gd name="connsiteY22013" fmla="*/ 547735 h 3355086"/>
                <a:gd name="connsiteX22014" fmla="*/ 2863215 w 3359086"/>
                <a:gd name="connsiteY22014" fmla="*/ 550259 h 3355086"/>
                <a:gd name="connsiteX22015" fmla="*/ 2857023 w 3359086"/>
                <a:gd name="connsiteY22015" fmla="*/ 556450 h 3355086"/>
                <a:gd name="connsiteX22016" fmla="*/ 2850832 w 3359086"/>
                <a:gd name="connsiteY22016" fmla="*/ 550259 h 3355086"/>
                <a:gd name="connsiteX22017" fmla="*/ 2856023 w 3359086"/>
                <a:gd name="connsiteY22017" fmla="*/ 545068 h 3355086"/>
                <a:gd name="connsiteX22018" fmla="*/ 2853499 w 3359086"/>
                <a:gd name="connsiteY22018" fmla="*/ 542544 h 3355086"/>
                <a:gd name="connsiteX22019" fmla="*/ 2859071 w 3359086"/>
                <a:gd name="connsiteY22019" fmla="*/ 536972 h 3355086"/>
                <a:gd name="connsiteX22020" fmla="*/ 2856928 w 3359086"/>
                <a:gd name="connsiteY22020" fmla="*/ 534829 h 3355086"/>
                <a:gd name="connsiteX22021" fmla="*/ 2863119 w 3359086"/>
                <a:gd name="connsiteY22021" fmla="*/ 528638 h 3355086"/>
                <a:gd name="connsiteX22022" fmla="*/ 2824257 w 3359086"/>
                <a:gd name="connsiteY22022" fmla="*/ 528638 h 3355086"/>
                <a:gd name="connsiteX22023" fmla="*/ 2830449 w 3359086"/>
                <a:gd name="connsiteY22023" fmla="*/ 534829 h 3355086"/>
                <a:gd name="connsiteX22024" fmla="*/ 2824257 w 3359086"/>
                <a:gd name="connsiteY22024" fmla="*/ 541020 h 3355086"/>
                <a:gd name="connsiteX22025" fmla="*/ 2818066 w 3359086"/>
                <a:gd name="connsiteY22025" fmla="*/ 534829 h 3355086"/>
                <a:gd name="connsiteX22026" fmla="*/ 2824257 w 3359086"/>
                <a:gd name="connsiteY22026" fmla="*/ 528638 h 3355086"/>
                <a:gd name="connsiteX22027" fmla="*/ 2537555 w 3359086"/>
                <a:gd name="connsiteY22027" fmla="*/ 527971 h 3355086"/>
                <a:gd name="connsiteX22028" fmla="*/ 2543746 w 3359086"/>
                <a:gd name="connsiteY22028" fmla="*/ 534162 h 3355086"/>
                <a:gd name="connsiteX22029" fmla="*/ 2537555 w 3359086"/>
                <a:gd name="connsiteY22029" fmla="*/ 540354 h 3355086"/>
                <a:gd name="connsiteX22030" fmla="*/ 2531364 w 3359086"/>
                <a:gd name="connsiteY22030" fmla="*/ 534162 h 3355086"/>
                <a:gd name="connsiteX22031" fmla="*/ 2537555 w 3359086"/>
                <a:gd name="connsiteY22031" fmla="*/ 527971 h 3355086"/>
                <a:gd name="connsiteX22032" fmla="*/ 538257 w 3359086"/>
                <a:gd name="connsiteY22032" fmla="*/ 527876 h 3355086"/>
                <a:gd name="connsiteX22033" fmla="*/ 544448 w 3359086"/>
                <a:gd name="connsiteY22033" fmla="*/ 534067 h 3355086"/>
                <a:gd name="connsiteX22034" fmla="*/ 538257 w 3359086"/>
                <a:gd name="connsiteY22034" fmla="*/ 540258 h 3355086"/>
                <a:gd name="connsiteX22035" fmla="*/ 532066 w 3359086"/>
                <a:gd name="connsiteY22035" fmla="*/ 534067 h 3355086"/>
                <a:gd name="connsiteX22036" fmla="*/ 538257 w 3359086"/>
                <a:gd name="connsiteY22036" fmla="*/ 527876 h 3355086"/>
                <a:gd name="connsiteX22037" fmla="*/ 2899600 w 3359086"/>
                <a:gd name="connsiteY22037" fmla="*/ 526637 h 3355086"/>
                <a:gd name="connsiteX22038" fmla="*/ 2901601 w 3359086"/>
                <a:gd name="connsiteY22038" fmla="*/ 528637 h 3355086"/>
                <a:gd name="connsiteX22039" fmla="*/ 2899600 w 3359086"/>
                <a:gd name="connsiteY22039" fmla="*/ 530638 h 3355086"/>
                <a:gd name="connsiteX22040" fmla="*/ 2897600 w 3359086"/>
                <a:gd name="connsiteY22040" fmla="*/ 528637 h 3355086"/>
                <a:gd name="connsiteX22041" fmla="*/ 2899600 w 3359086"/>
                <a:gd name="connsiteY22041" fmla="*/ 526637 h 3355086"/>
                <a:gd name="connsiteX22042" fmla="*/ 567784 w 3359086"/>
                <a:gd name="connsiteY22042" fmla="*/ 523875 h 3355086"/>
                <a:gd name="connsiteX22043" fmla="*/ 573975 w 3359086"/>
                <a:gd name="connsiteY22043" fmla="*/ 530066 h 3355086"/>
                <a:gd name="connsiteX22044" fmla="*/ 567784 w 3359086"/>
                <a:gd name="connsiteY22044" fmla="*/ 536257 h 3355086"/>
                <a:gd name="connsiteX22045" fmla="*/ 561593 w 3359086"/>
                <a:gd name="connsiteY22045" fmla="*/ 530066 h 3355086"/>
                <a:gd name="connsiteX22046" fmla="*/ 567784 w 3359086"/>
                <a:gd name="connsiteY22046" fmla="*/ 523875 h 3355086"/>
                <a:gd name="connsiteX22047" fmla="*/ 647795 w 3359086"/>
                <a:gd name="connsiteY22047" fmla="*/ 523685 h 3355086"/>
                <a:gd name="connsiteX22048" fmla="*/ 653987 w 3359086"/>
                <a:gd name="connsiteY22048" fmla="*/ 529876 h 3355086"/>
                <a:gd name="connsiteX22049" fmla="*/ 647795 w 3359086"/>
                <a:gd name="connsiteY22049" fmla="*/ 536067 h 3355086"/>
                <a:gd name="connsiteX22050" fmla="*/ 641604 w 3359086"/>
                <a:gd name="connsiteY22050" fmla="*/ 529876 h 3355086"/>
                <a:gd name="connsiteX22051" fmla="*/ 647795 w 3359086"/>
                <a:gd name="connsiteY22051" fmla="*/ 523685 h 3355086"/>
                <a:gd name="connsiteX22052" fmla="*/ 467296 w 3359086"/>
                <a:gd name="connsiteY22052" fmla="*/ 523589 h 3355086"/>
                <a:gd name="connsiteX22053" fmla="*/ 473487 w 3359086"/>
                <a:gd name="connsiteY22053" fmla="*/ 529780 h 3355086"/>
                <a:gd name="connsiteX22054" fmla="*/ 467296 w 3359086"/>
                <a:gd name="connsiteY22054" fmla="*/ 535971 h 3355086"/>
                <a:gd name="connsiteX22055" fmla="*/ 461105 w 3359086"/>
                <a:gd name="connsiteY22055" fmla="*/ 529780 h 3355086"/>
                <a:gd name="connsiteX22056" fmla="*/ 467296 w 3359086"/>
                <a:gd name="connsiteY22056" fmla="*/ 523589 h 3355086"/>
                <a:gd name="connsiteX22057" fmla="*/ 603884 w 3359086"/>
                <a:gd name="connsiteY22057" fmla="*/ 522256 h 3355086"/>
                <a:gd name="connsiteX22058" fmla="*/ 610076 w 3359086"/>
                <a:gd name="connsiteY22058" fmla="*/ 528447 h 3355086"/>
                <a:gd name="connsiteX22059" fmla="*/ 603884 w 3359086"/>
                <a:gd name="connsiteY22059" fmla="*/ 534638 h 3355086"/>
                <a:gd name="connsiteX22060" fmla="*/ 597693 w 3359086"/>
                <a:gd name="connsiteY22060" fmla="*/ 528447 h 3355086"/>
                <a:gd name="connsiteX22061" fmla="*/ 603884 w 3359086"/>
                <a:gd name="connsiteY22061" fmla="*/ 522256 h 3355086"/>
                <a:gd name="connsiteX22062" fmla="*/ 2883693 w 3359086"/>
                <a:gd name="connsiteY22062" fmla="*/ 521970 h 3355086"/>
                <a:gd name="connsiteX22063" fmla="*/ 2889884 w 3359086"/>
                <a:gd name="connsiteY22063" fmla="*/ 528161 h 3355086"/>
                <a:gd name="connsiteX22064" fmla="*/ 2883693 w 3359086"/>
                <a:gd name="connsiteY22064" fmla="*/ 534352 h 3355086"/>
                <a:gd name="connsiteX22065" fmla="*/ 2877502 w 3359086"/>
                <a:gd name="connsiteY22065" fmla="*/ 528161 h 3355086"/>
                <a:gd name="connsiteX22066" fmla="*/ 2883693 w 3359086"/>
                <a:gd name="connsiteY22066" fmla="*/ 521970 h 3355086"/>
                <a:gd name="connsiteX22067" fmla="*/ 2382202 w 3359086"/>
                <a:gd name="connsiteY22067" fmla="*/ 521970 h 3355086"/>
                <a:gd name="connsiteX22068" fmla="*/ 2388394 w 3359086"/>
                <a:gd name="connsiteY22068" fmla="*/ 528161 h 3355086"/>
                <a:gd name="connsiteX22069" fmla="*/ 2382202 w 3359086"/>
                <a:gd name="connsiteY22069" fmla="*/ 534352 h 3355086"/>
                <a:gd name="connsiteX22070" fmla="*/ 2376011 w 3359086"/>
                <a:gd name="connsiteY22070" fmla="*/ 528161 h 3355086"/>
                <a:gd name="connsiteX22071" fmla="*/ 2382202 w 3359086"/>
                <a:gd name="connsiteY22071" fmla="*/ 521970 h 3355086"/>
                <a:gd name="connsiteX22072" fmla="*/ 2802921 w 3359086"/>
                <a:gd name="connsiteY22072" fmla="*/ 521494 h 3355086"/>
                <a:gd name="connsiteX22073" fmla="*/ 2809113 w 3359086"/>
                <a:gd name="connsiteY22073" fmla="*/ 527685 h 3355086"/>
                <a:gd name="connsiteX22074" fmla="*/ 2802921 w 3359086"/>
                <a:gd name="connsiteY22074" fmla="*/ 533876 h 3355086"/>
                <a:gd name="connsiteX22075" fmla="*/ 2796730 w 3359086"/>
                <a:gd name="connsiteY22075" fmla="*/ 527685 h 3355086"/>
                <a:gd name="connsiteX22076" fmla="*/ 2802921 w 3359086"/>
                <a:gd name="connsiteY22076" fmla="*/ 521494 h 3355086"/>
                <a:gd name="connsiteX22077" fmla="*/ 1191196 w 3359086"/>
                <a:gd name="connsiteY22077" fmla="*/ 520827 h 3355086"/>
                <a:gd name="connsiteX22078" fmla="*/ 1197387 w 3359086"/>
                <a:gd name="connsiteY22078" fmla="*/ 527018 h 3355086"/>
                <a:gd name="connsiteX22079" fmla="*/ 1191196 w 3359086"/>
                <a:gd name="connsiteY22079" fmla="*/ 533210 h 3355086"/>
                <a:gd name="connsiteX22080" fmla="*/ 1185005 w 3359086"/>
                <a:gd name="connsiteY22080" fmla="*/ 527018 h 3355086"/>
                <a:gd name="connsiteX22081" fmla="*/ 1191196 w 3359086"/>
                <a:gd name="connsiteY22081" fmla="*/ 520827 h 3355086"/>
                <a:gd name="connsiteX22082" fmla="*/ 2868834 w 3359086"/>
                <a:gd name="connsiteY22082" fmla="*/ 519303 h 3355086"/>
                <a:gd name="connsiteX22083" fmla="*/ 2875025 w 3359086"/>
                <a:gd name="connsiteY22083" fmla="*/ 525494 h 3355086"/>
                <a:gd name="connsiteX22084" fmla="*/ 2868834 w 3359086"/>
                <a:gd name="connsiteY22084" fmla="*/ 531686 h 3355086"/>
                <a:gd name="connsiteX22085" fmla="*/ 2862643 w 3359086"/>
                <a:gd name="connsiteY22085" fmla="*/ 525494 h 3355086"/>
                <a:gd name="connsiteX22086" fmla="*/ 2868834 w 3359086"/>
                <a:gd name="connsiteY22086" fmla="*/ 519303 h 3355086"/>
                <a:gd name="connsiteX22087" fmla="*/ 481012 w 3359086"/>
                <a:gd name="connsiteY22087" fmla="*/ 517875 h 3355086"/>
                <a:gd name="connsiteX22088" fmla="*/ 487204 w 3359086"/>
                <a:gd name="connsiteY22088" fmla="*/ 524066 h 3355086"/>
                <a:gd name="connsiteX22089" fmla="*/ 485918 w 3359086"/>
                <a:gd name="connsiteY22089" fmla="*/ 525352 h 3355086"/>
                <a:gd name="connsiteX22090" fmla="*/ 491299 w 3359086"/>
                <a:gd name="connsiteY22090" fmla="*/ 530733 h 3355086"/>
                <a:gd name="connsiteX22091" fmla="*/ 489774 w 3359086"/>
                <a:gd name="connsiteY22091" fmla="*/ 532257 h 3355086"/>
                <a:gd name="connsiteX22092" fmla="*/ 495014 w 3359086"/>
                <a:gd name="connsiteY22092" fmla="*/ 537496 h 3355086"/>
                <a:gd name="connsiteX22093" fmla="*/ 488822 w 3359086"/>
                <a:gd name="connsiteY22093" fmla="*/ 543687 h 3355086"/>
                <a:gd name="connsiteX22094" fmla="*/ 482631 w 3359086"/>
                <a:gd name="connsiteY22094" fmla="*/ 537496 h 3355086"/>
                <a:gd name="connsiteX22095" fmla="*/ 484155 w 3359086"/>
                <a:gd name="connsiteY22095" fmla="*/ 535972 h 3355086"/>
                <a:gd name="connsiteX22096" fmla="*/ 478916 w 3359086"/>
                <a:gd name="connsiteY22096" fmla="*/ 530733 h 3355086"/>
                <a:gd name="connsiteX22097" fmla="*/ 480202 w 3359086"/>
                <a:gd name="connsiteY22097" fmla="*/ 529447 h 3355086"/>
                <a:gd name="connsiteX22098" fmla="*/ 474821 w 3359086"/>
                <a:gd name="connsiteY22098" fmla="*/ 524066 h 3355086"/>
                <a:gd name="connsiteX22099" fmla="*/ 481012 w 3359086"/>
                <a:gd name="connsiteY22099" fmla="*/ 517875 h 3355086"/>
                <a:gd name="connsiteX22100" fmla="*/ 2604610 w 3359086"/>
                <a:gd name="connsiteY22100" fmla="*/ 517017 h 3355086"/>
                <a:gd name="connsiteX22101" fmla="*/ 2610802 w 3359086"/>
                <a:gd name="connsiteY22101" fmla="*/ 523208 h 3355086"/>
                <a:gd name="connsiteX22102" fmla="*/ 2604610 w 3359086"/>
                <a:gd name="connsiteY22102" fmla="*/ 529399 h 3355086"/>
                <a:gd name="connsiteX22103" fmla="*/ 2598419 w 3359086"/>
                <a:gd name="connsiteY22103" fmla="*/ 523208 h 3355086"/>
                <a:gd name="connsiteX22104" fmla="*/ 2604610 w 3359086"/>
                <a:gd name="connsiteY22104" fmla="*/ 517017 h 3355086"/>
                <a:gd name="connsiteX22105" fmla="*/ 2777108 w 3359086"/>
                <a:gd name="connsiteY22105" fmla="*/ 515493 h 3355086"/>
                <a:gd name="connsiteX22106" fmla="*/ 2783299 w 3359086"/>
                <a:gd name="connsiteY22106" fmla="*/ 521684 h 3355086"/>
                <a:gd name="connsiteX22107" fmla="*/ 2777108 w 3359086"/>
                <a:gd name="connsiteY22107" fmla="*/ 527875 h 3355086"/>
                <a:gd name="connsiteX22108" fmla="*/ 2770917 w 3359086"/>
                <a:gd name="connsiteY22108" fmla="*/ 521684 h 3355086"/>
                <a:gd name="connsiteX22109" fmla="*/ 2777108 w 3359086"/>
                <a:gd name="connsiteY22109" fmla="*/ 515493 h 3355086"/>
                <a:gd name="connsiteX22110" fmla="*/ 524255 w 3359086"/>
                <a:gd name="connsiteY22110" fmla="*/ 514922 h 3355086"/>
                <a:gd name="connsiteX22111" fmla="*/ 530446 w 3359086"/>
                <a:gd name="connsiteY22111" fmla="*/ 521113 h 3355086"/>
                <a:gd name="connsiteX22112" fmla="*/ 524255 w 3359086"/>
                <a:gd name="connsiteY22112" fmla="*/ 527304 h 3355086"/>
                <a:gd name="connsiteX22113" fmla="*/ 518064 w 3359086"/>
                <a:gd name="connsiteY22113" fmla="*/ 521113 h 3355086"/>
                <a:gd name="connsiteX22114" fmla="*/ 524255 w 3359086"/>
                <a:gd name="connsiteY22114" fmla="*/ 514922 h 3355086"/>
                <a:gd name="connsiteX22115" fmla="*/ 2854642 w 3359086"/>
                <a:gd name="connsiteY22115" fmla="*/ 514731 h 3355086"/>
                <a:gd name="connsiteX22116" fmla="*/ 2860834 w 3359086"/>
                <a:gd name="connsiteY22116" fmla="*/ 520922 h 3355086"/>
                <a:gd name="connsiteX22117" fmla="*/ 2854737 w 3359086"/>
                <a:gd name="connsiteY22117" fmla="*/ 527019 h 3355086"/>
                <a:gd name="connsiteX22118" fmla="*/ 2855975 w 3359086"/>
                <a:gd name="connsiteY22118" fmla="*/ 528256 h 3355086"/>
                <a:gd name="connsiteX22119" fmla="*/ 2850879 w 3359086"/>
                <a:gd name="connsiteY22119" fmla="*/ 533352 h 3355086"/>
                <a:gd name="connsiteX22120" fmla="*/ 2852356 w 3359086"/>
                <a:gd name="connsiteY22120" fmla="*/ 534829 h 3355086"/>
                <a:gd name="connsiteX22121" fmla="*/ 2846403 w 3359086"/>
                <a:gd name="connsiteY22121" fmla="*/ 540782 h 3355086"/>
                <a:gd name="connsiteX22122" fmla="*/ 2848165 w 3359086"/>
                <a:gd name="connsiteY22122" fmla="*/ 542544 h 3355086"/>
                <a:gd name="connsiteX22123" fmla="*/ 2841974 w 3359086"/>
                <a:gd name="connsiteY22123" fmla="*/ 548735 h 3355086"/>
                <a:gd name="connsiteX22124" fmla="*/ 2835783 w 3359086"/>
                <a:gd name="connsiteY22124" fmla="*/ 542544 h 3355086"/>
                <a:gd name="connsiteX22125" fmla="*/ 2841736 w 3359086"/>
                <a:gd name="connsiteY22125" fmla="*/ 536591 h 3355086"/>
                <a:gd name="connsiteX22126" fmla="*/ 2839974 w 3359086"/>
                <a:gd name="connsiteY22126" fmla="*/ 534829 h 3355086"/>
                <a:gd name="connsiteX22127" fmla="*/ 2845070 w 3359086"/>
                <a:gd name="connsiteY22127" fmla="*/ 529733 h 3355086"/>
                <a:gd name="connsiteX22128" fmla="*/ 2843593 w 3359086"/>
                <a:gd name="connsiteY22128" fmla="*/ 528256 h 3355086"/>
                <a:gd name="connsiteX22129" fmla="*/ 2849689 w 3359086"/>
                <a:gd name="connsiteY22129" fmla="*/ 522160 h 3355086"/>
                <a:gd name="connsiteX22130" fmla="*/ 2848451 w 3359086"/>
                <a:gd name="connsiteY22130" fmla="*/ 520922 h 3355086"/>
                <a:gd name="connsiteX22131" fmla="*/ 2854642 w 3359086"/>
                <a:gd name="connsiteY22131" fmla="*/ 514731 h 3355086"/>
                <a:gd name="connsiteX22132" fmla="*/ 830293 w 3359086"/>
                <a:gd name="connsiteY22132" fmla="*/ 514541 h 3355086"/>
                <a:gd name="connsiteX22133" fmla="*/ 836485 w 3359086"/>
                <a:gd name="connsiteY22133" fmla="*/ 520732 h 3355086"/>
                <a:gd name="connsiteX22134" fmla="*/ 830293 w 3359086"/>
                <a:gd name="connsiteY22134" fmla="*/ 526924 h 3355086"/>
                <a:gd name="connsiteX22135" fmla="*/ 824102 w 3359086"/>
                <a:gd name="connsiteY22135" fmla="*/ 520732 h 3355086"/>
                <a:gd name="connsiteX22136" fmla="*/ 830293 w 3359086"/>
                <a:gd name="connsiteY22136" fmla="*/ 514541 h 3355086"/>
                <a:gd name="connsiteX22137" fmla="*/ 2097023 w 3359086"/>
                <a:gd name="connsiteY22137" fmla="*/ 513588 h 3355086"/>
                <a:gd name="connsiteX22138" fmla="*/ 2103215 w 3359086"/>
                <a:gd name="connsiteY22138" fmla="*/ 519779 h 3355086"/>
                <a:gd name="connsiteX22139" fmla="*/ 2097023 w 3359086"/>
                <a:gd name="connsiteY22139" fmla="*/ 525970 h 3355086"/>
                <a:gd name="connsiteX22140" fmla="*/ 2090832 w 3359086"/>
                <a:gd name="connsiteY22140" fmla="*/ 519779 h 3355086"/>
                <a:gd name="connsiteX22141" fmla="*/ 2097023 w 3359086"/>
                <a:gd name="connsiteY22141" fmla="*/ 513588 h 3355086"/>
                <a:gd name="connsiteX22142" fmla="*/ 2813780 w 3359086"/>
                <a:gd name="connsiteY22142" fmla="*/ 511493 h 3355086"/>
                <a:gd name="connsiteX22143" fmla="*/ 2819971 w 3359086"/>
                <a:gd name="connsiteY22143" fmla="*/ 517684 h 3355086"/>
                <a:gd name="connsiteX22144" fmla="*/ 2813780 w 3359086"/>
                <a:gd name="connsiteY22144" fmla="*/ 523876 h 3355086"/>
                <a:gd name="connsiteX22145" fmla="*/ 2807589 w 3359086"/>
                <a:gd name="connsiteY22145" fmla="*/ 517684 h 3355086"/>
                <a:gd name="connsiteX22146" fmla="*/ 2813780 w 3359086"/>
                <a:gd name="connsiteY22146" fmla="*/ 511493 h 3355086"/>
                <a:gd name="connsiteX22147" fmla="*/ 2745581 w 3359086"/>
                <a:gd name="connsiteY22147" fmla="*/ 511302 h 3355086"/>
                <a:gd name="connsiteX22148" fmla="*/ 2751772 w 3359086"/>
                <a:gd name="connsiteY22148" fmla="*/ 517493 h 3355086"/>
                <a:gd name="connsiteX22149" fmla="*/ 2745581 w 3359086"/>
                <a:gd name="connsiteY22149" fmla="*/ 523685 h 3355086"/>
                <a:gd name="connsiteX22150" fmla="*/ 2739390 w 3359086"/>
                <a:gd name="connsiteY22150" fmla="*/ 517493 h 3355086"/>
                <a:gd name="connsiteX22151" fmla="*/ 2745581 w 3359086"/>
                <a:gd name="connsiteY22151" fmla="*/ 511302 h 3355086"/>
                <a:gd name="connsiteX22152" fmla="*/ 2660713 w 3359086"/>
                <a:gd name="connsiteY22152" fmla="*/ 511207 h 3355086"/>
                <a:gd name="connsiteX22153" fmla="*/ 2666904 w 3359086"/>
                <a:gd name="connsiteY22153" fmla="*/ 517398 h 3355086"/>
                <a:gd name="connsiteX22154" fmla="*/ 2660713 w 3359086"/>
                <a:gd name="connsiteY22154" fmla="*/ 523589 h 3355086"/>
                <a:gd name="connsiteX22155" fmla="*/ 2654522 w 3359086"/>
                <a:gd name="connsiteY22155" fmla="*/ 517398 h 3355086"/>
                <a:gd name="connsiteX22156" fmla="*/ 2660713 w 3359086"/>
                <a:gd name="connsiteY22156" fmla="*/ 511207 h 3355086"/>
                <a:gd name="connsiteX22157" fmla="*/ 992504 w 3359086"/>
                <a:gd name="connsiteY22157" fmla="*/ 510255 h 3355086"/>
                <a:gd name="connsiteX22158" fmla="*/ 998695 w 3359086"/>
                <a:gd name="connsiteY22158" fmla="*/ 516446 h 3355086"/>
                <a:gd name="connsiteX22159" fmla="*/ 992504 w 3359086"/>
                <a:gd name="connsiteY22159" fmla="*/ 522637 h 3355086"/>
                <a:gd name="connsiteX22160" fmla="*/ 986313 w 3359086"/>
                <a:gd name="connsiteY22160" fmla="*/ 516446 h 3355086"/>
                <a:gd name="connsiteX22161" fmla="*/ 992504 w 3359086"/>
                <a:gd name="connsiteY22161" fmla="*/ 510255 h 3355086"/>
                <a:gd name="connsiteX22162" fmla="*/ 475012 w 3359086"/>
                <a:gd name="connsiteY22162" fmla="*/ 509778 h 3355086"/>
                <a:gd name="connsiteX22163" fmla="*/ 481012 w 3359086"/>
                <a:gd name="connsiteY22163" fmla="*/ 515779 h 3355086"/>
                <a:gd name="connsiteX22164" fmla="*/ 475012 w 3359086"/>
                <a:gd name="connsiteY22164" fmla="*/ 521780 h 3355086"/>
                <a:gd name="connsiteX22165" fmla="*/ 469011 w 3359086"/>
                <a:gd name="connsiteY22165" fmla="*/ 515779 h 3355086"/>
                <a:gd name="connsiteX22166" fmla="*/ 475012 w 3359086"/>
                <a:gd name="connsiteY22166" fmla="*/ 509778 h 3355086"/>
                <a:gd name="connsiteX22167" fmla="*/ 2707195 w 3359086"/>
                <a:gd name="connsiteY22167" fmla="*/ 509588 h 3355086"/>
                <a:gd name="connsiteX22168" fmla="*/ 2713386 w 3359086"/>
                <a:gd name="connsiteY22168" fmla="*/ 515779 h 3355086"/>
                <a:gd name="connsiteX22169" fmla="*/ 2707195 w 3359086"/>
                <a:gd name="connsiteY22169" fmla="*/ 521970 h 3355086"/>
                <a:gd name="connsiteX22170" fmla="*/ 2701004 w 3359086"/>
                <a:gd name="connsiteY22170" fmla="*/ 515779 h 3355086"/>
                <a:gd name="connsiteX22171" fmla="*/ 2707195 w 3359086"/>
                <a:gd name="connsiteY22171" fmla="*/ 509588 h 3355086"/>
                <a:gd name="connsiteX22172" fmla="*/ 2840545 w 3359086"/>
                <a:gd name="connsiteY22172" fmla="*/ 508445 h 3355086"/>
                <a:gd name="connsiteX22173" fmla="*/ 2846736 w 3359086"/>
                <a:gd name="connsiteY22173" fmla="*/ 514636 h 3355086"/>
                <a:gd name="connsiteX22174" fmla="*/ 2841545 w 3359086"/>
                <a:gd name="connsiteY22174" fmla="*/ 519827 h 3355086"/>
                <a:gd name="connsiteX22175" fmla="*/ 2842069 w 3359086"/>
                <a:gd name="connsiteY22175" fmla="*/ 520351 h 3355086"/>
                <a:gd name="connsiteX22176" fmla="*/ 2836688 w 3359086"/>
                <a:gd name="connsiteY22176" fmla="*/ 525732 h 3355086"/>
                <a:gd name="connsiteX22177" fmla="*/ 2837307 w 3359086"/>
                <a:gd name="connsiteY22177" fmla="*/ 526351 h 3355086"/>
                <a:gd name="connsiteX22178" fmla="*/ 2831115 w 3359086"/>
                <a:gd name="connsiteY22178" fmla="*/ 532543 h 3355086"/>
                <a:gd name="connsiteX22179" fmla="*/ 2824924 w 3359086"/>
                <a:gd name="connsiteY22179" fmla="*/ 526351 h 3355086"/>
                <a:gd name="connsiteX22180" fmla="*/ 2830305 w 3359086"/>
                <a:gd name="connsiteY22180" fmla="*/ 520970 h 3355086"/>
                <a:gd name="connsiteX22181" fmla="*/ 2829686 w 3359086"/>
                <a:gd name="connsiteY22181" fmla="*/ 520351 h 3355086"/>
                <a:gd name="connsiteX22182" fmla="*/ 2834877 w 3359086"/>
                <a:gd name="connsiteY22182" fmla="*/ 515160 h 3355086"/>
                <a:gd name="connsiteX22183" fmla="*/ 2834354 w 3359086"/>
                <a:gd name="connsiteY22183" fmla="*/ 514636 h 3355086"/>
                <a:gd name="connsiteX22184" fmla="*/ 2840545 w 3359086"/>
                <a:gd name="connsiteY22184" fmla="*/ 508445 h 3355086"/>
                <a:gd name="connsiteX22185" fmla="*/ 547306 w 3359086"/>
                <a:gd name="connsiteY22185" fmla="*/ 507492 h 3355086"/>
                <a:gd name="connsiteX22186" fmla="*/ 553497 w 3359086"/>
                <a:gd name="connsiteY22186" fmla="*/ 513683 h 3355086"/>
                <a:gd name="connsiteX22187" fmla="*/ 547306 w 3359086"/>
                <a:gd name="connsiteY22187" fmla="*/ 519874 h 3355086"/>
                <a:gd name="connsiteX22188" fmla="*/ 541115 w 3359086"/>
                <a:gd name="connsiteY22188" fmla="*/ 513683 h 3355086"/>
                <a:gd name="connsiteX22189" fmla="*/ 547306 w 3359086"/>
                <a:gd name="connsiteY22189" fmla="*/ 507492 h 3355086"/>
                <a:gd name="connsiteX22190" fmla="*/ 2878264 w 3359086"/>
                <a:gd name="connsiteY22190" fmla="*/ 507016 h 3355086"/>
                <a:gd name="connsiteX22191" fmla="*/ 2884360 w 3359086"/>
                <a:gd name="connsiteY22191" fmla="*/ 513112 h 3355086"/>
                <a:gd name="connsiteX22192" fmla="*/ 2878264 w 3359086"/>
                <a:gd name="connsiteY22192" fmla="*/ 519208 h 3355086"/>
                <a:gd name="connsiteX22193" fmla="*/ 2872168 w 3359086"/>
                <a:gd name="connsiteY22193" fmla="*/ 513112 h 3355086"/>
                <a:gd name="connsiteX22194" fmla="*/ 2878264 w 3359086"/>
                <a:gd name="connsiteY22194" fmla="*/ 507016 h 3355086"/>
                <a:gd name="connsiteX22195" fmla="*/ 1286732 w 3359086"/>
                <a:gd name="connsiteY22195" fmla="*/ 505968 h 3355086"/>
                <a:gd name="connsiteX22196" fmla="*/ 1292924 w 3359086"/>
                <a:gd name="connsiteY22196" fmla="*/ 512159 h 3355086"/>
                <a:gd name="connsiteX22197" fmla="*/ 1286732 w 3359086"/>
                <a:gd name="connsiteY22197" fmla="*/ 518350 h 3355086"/>
                <a:gd name="connsiteX22198" fmla="*/ 1280541 w 3359086"/>
                <a:gd name="connsiteY22198" fmla="*/ 512159 h 3355086"/>
                <a:gd name="connsiteX22199" fmla="*/ 1286732 w 3359086"/>
                <a:gd name="connsiteY22199" fmla="*/ 505968 h 3355086"/>
                <a:gd name="connsiteX22200" fmla="*/ 2862166 w 3359086"/>
                <a:gd name="connsiteY22200" fmla="*/ 505016 h 3355086"/>
                <a:gd name="connsiteX22201" fmla="*/ 2868358 w 3359086"/>
                <a:gd name="connsiteY22201" fmla="*/ 511207 h 3355086"/>
                <a:gd name="connsiteX22202" fmla="*/ 2862166 w 3359086"/>
                <a:gd name="connsiteY22202" fmla="*/ 517399 h 3355086"/>
                <a:gd name="connsiteX22203" fmla="*/ 2855975 w 3359086"/>
                <a:gd name="connsiteY22203" fmla="*/ 511207 h 3355086"/>
                <a:gd name="connsiteX22204" fmla="*/ 2862166 w 3359086"/>
                <a:gd name="connsiteY22204" fmla="*/ 505016 h 3355086"/>
                <a:gd name="connsiteX22205" fmla="*/ 489584 w 3359086"/>
                <a:gd name="connsiteY22205" fmla="*/ 504349 h 3355086"/>
                <a:gd name="connsiteX22206" fmla="*/ 495775 w 3359086"/>
                <a:gd name="connsiteY22206" fmla="*/ 510540 h 3355086"/>
                <a:gd name="connsiteX22207" fmla="*/ 495299 w 3359086"/>
                <a:gd name="connsiteY22207" fmla="*/ 511016 h 3355086"/>
                <a:gd name="connsiteX22208" fmla="*/ 501109 w 3359086"/>
                <a:gd name="connsiteY22208" fmla="*/ 516826 h 3355086"/>
                <a:gd name="connsiteX22209" fmla="*/ 500585 w 3359086"/>
                <a:gd name="connsiteY22209" fmla="*/ 517350 h 3355086"/>
                <a:gd name="connsiteX22210" fmla="*/ 505681 w 3359086"/>
                <a:gd name="connsiteY22210" fmla="*/ 522446 h 3355086"/>
                <a:gd name="connsiteX22211" fmla="*/ 499545 w 3359086"/>
                <a:gd name="connsiteY22211" fmla="*/ 528583 h 3355086"/>
                <a:gd name="connsiteX22212" fmla="*/ 505015 w 3359086"/>
                <a:gd name="connsiteY22212" fmla="*/ 523113 h 3355086"/>
                <a:gd name="connsiteX22213" fmla="*/ 511206 w 3359086"/>
                <a:gd name="connsiteY22213" fmla="*/ 529304 h 3355086"/>
                <a:gd name="connsiteX22214" fmla="*/ 505015 w 3359086"/>
                <a:gd name="connsiteY22214" fmla="*/ 535495 h 3355086"/>
                <a:gd name="connsiteX22215" fmla="*/ 498824 w 3359086"/>
                <a:gd name="connsiteY22215" fmla="*/ 529304 h 3355086"/>
                <a:gd name="connsiteX22216" fmla="*/ 499490 w 3359086"/>
                <a:gd name="connsiteY22216" fmla="*/ 528638 h 3355086"/>
                <a:gd name="connsiteX22217" fmla="*/ 493299 w 3359086"/>
                <a:gd name="connsiteY22217" fmla="*/ 522446 h 3355086"/>
                <a:gd name="connsiteX22218" fmla="*/ 493823 w 3359086"/>
                <a:gd name="connsiteY22218" fmla="*/ 521923 h 3355086"/>
                <a:gd name="connsiteX22219" fmla="*/ 488727 w 3359086"/>
                <a:gd name="connsiteY22219" fmla="*/ 516826 h 3355086"/>
                <a:gd name="connsiteX22220" fmla="*/ 489203 w 3359086"/>
                <a:gd name="connsiteY22220" fmla="*/ 516351 h 3355086"/>
                <a:gd name="connsiteX22221" fmla="*/ 483393 w 3359086"/>
                <a:gd name="connsiteY22221" fmla="*/ 510540 h 3355086"/>
                <a:gd name="connsiteX22222" fmla="*/ 489584 w 3359086"/>
                <a:gd name="connsiteY22222" fmla="*/ 504349 h 3355086"/>
                <a:gd name="connsiteX22223" fmla="*/ 2469832 w 3359086"/>
                <a:gd name="connsiteY22223" fmla="*/ 503206 h 3355086"/>
                <a:gd name="connsiteX22224" fmla="*/ 2476024 w 3359086"/>
                <a:gd name="connsiteY22224" fmla="*/ 509397 h 3355086"/>
                <a:gd name="connsiteX22225" fmla="*/ 2469832 w 3359086"/>
                <a:gd name="connsiteY22225" fmla="*/ 515588 h 3355086"/>
                <a:gd name="connsiteX22226" fmla="*/ 2463641 w 3359086"/>
                <a:gd name="connsiteY22226" fmla="*/ 509397 h 3355086"/>
                <a:gd name="connsiteX22227" fmla="*/ 2469832 w 3359086"/>
                <a:gd name="connsiteY22227" fmla="*/ 503206 h 3355086"/>
                <a:gd name="connsiteX22228" fmla="*/ 2793301 w 3359086"/>
                <a:gd name="connsiteY22228" fmla="*/ 503015 h 3355086"/>
                <a:gd name="connsiteX22229" fmla="*/ 2799493 w 3359086"/>
                <a:gd name="connsiteY22229" fmla="*/ 509206 h 3355086"/>
                <a:gd name="connsiteX22230" fmla="*/ 2793301 w 3359086"/>
                <a:gd name="connsiteY22230" fmla="*/ 515397 h 3355086"/>
                <a:gd name="connsiteX22231" fmla="*/ 2787110 w 3359086"/>
                <a:gd name="connsiteY22231" fmla="*/ 509206 h 3355086"/>
                <a:gd name="connsiteX22232" fmla="*/ 2793301 w 3359086"/>
                <a:gd name="connsiteY22232" fmla="*/ 503015 h 3355086"/>
                <a:gd name="connsiteX22233" fmla="*/ 759332 w 3359086"/>
                <a:gd name="connsiteY22233" fmla="*/ 503015 h 3355086"/>
                <a:gd name="connsiteX22234" fmla="*/ 765524 w 3359086"/>
                <a:gd name="connsiteY22234" fmla="*/ 509206 h 3355086"/>
                <a:gd name="connsiteX22235" fmla="*/ 759332 w 3359086"/>
                <a:gd name="connsiteY22235" fmla="*/ 515397 h 3355086"/>
                <a:gd name="connsiteX22236" fmla="*/ 753141 w 3359086"/>
                <a:gd name="connsiteY22236" fmla="*/ 509206 h 3355086"/>
                <a:gd name="connsiteX22237" fmla="*/ 759332 w 3359086"/>
                <a:gd name="connsiteY22237" fmla="*/ 503015 h 3355086"/>
                <a:gd name="connsiteX22238" fmla="*/ 481775 w 3359086"/>
                <a:gd name="connsiteY22238" fmla="*/ 501777 h 3355086"/>
                <a:gd name="connsiteX22239" fmla="*/ 481965 w 3359086"/>
                <a:gd name="connsiteY22239" fmla="*/ 501968 h 3355086"/>
                <a:gd name="connsiteX22240" fmla="*/ 481775 w 3359086"/>
                <a:gd name="connsiteY22240" fmla="*/ 502158 h 3355086"/>
                <a:gd name="connsiteX22241" fmla="*/ 481584 w 3359086"/>
                <a:gd name="connsiteY22241" fmla="*/ 501968 h 3355086"/>
                <a:gd name="connsiteX22242" fmla="*/ 481775 w 3359086"/>
                <a:gd name="connsiteY22242" fmla="*/ 501777 h 3355086"/>
                <a:gd name="connsiteX22243" fmla="*/ 575214 w 3359086"/>
                <a:gd name="connsiteY22243" fmla="*/ 501206 h 3355086"/>
                <a:gd name="connsiteX22244" fmla="*/ 581405 w 3359086"/>
                <a:gd name="connsiteY22244" fmla="*/ 507397 h 3355086"/>
                <a:gd name="connsiteX22245" fmla="*/ 575214 w 3359086"/>
                <a:gd name="connsiteY22245" fmla="*/ 513588 h 3355086"/>
                <a:gd name="connsiteX22246" fmla="*/ 569023 w 3359086"/>
                <a:gd name="connsiteY22246" fmla="*/ 507397 h 3355086"/>
                <a:gd name="connsiteX22247" fmla="*/ 575214 w 3359086"/>
                <a:gd name="connsiteY22247" fmla="*/ 501206 h 3355086"/>
                <a:gd name="connsiteX22248" fmla="*/ 2846926 w 3359086"/>
                <a:gd name="connsiteY22248" fmla="*/ 501110 h 3355086"/>
                <a:gd name="connsiteX22249" fmla="*/ 2853118 w 3359086"/>
                <a:gd name="connsiteY22249" fmla="*/ 507301 h 3355086"/>
                <a:gd name="connsiteX22250" fmla="*/ 2846926 w 3359086"/>
                <a:gd name="connsiteY22250" fmla="*/ 513493 h 3355086"/>
                <a:gd name="connsiteX22251" fmla="*/ 2840735 w 3359086"/>
                <a:gd name="connsiteY22251" fmla="*/ 507301 h 3355086"/>
                <a:gd name="connsiteX22252" fmla="*/ 2846926 w 3359086"/>
                <a:gd name="connsiteY22252" fmla="*/ 501110 h 3355086"/>
                <a:gd name="connsiteX22253" fmla="*/ 2301716 w 3359086"/>
                <a:gd name="connsiteY22253" fmla="*/ 500444 h 3355086"/>
                <a:gd name="connsiteX22254" fmla="*/ 2307908 w 3359086"/>
                <a:gd name="connsiteY22254" fmla="*/ 506635 h 3355086"/>
                <a:gd name="connsiteX22255" fmla="*/ 2301716 w 3359086"/>
                <a:gd name="connsiteY22255" fmla="*/ 512827 h 3355086"/>
                <a:gd name="connsiteX22256" fmla="*/ 2295525 w 3359086"/>
                <a:gd name="connsiteY22256" fmla="*/ 506635 h 3355086"/>
                <a:gd name="connsiteX22257" fmla="*/ 2301716 w 3359086"/>
                <a:gd name="connsiteY22257" fmla="*/ 500444 h 3355086"/>
                <a:gd name="connsiteX22258" fmla="*/ 1999964 w 3359086"/>
                <a:gd name="connsiteY22258" fmla="*/ 500063 h 3355086"/>
                <a:gd name="connsiteX22259" fmla="*/ 2006155 w 3359086"/>
                <a:gd name="connsiteY22259" fmla="*/ 506254 h 3355086"/>
                <a:gd name="connsiteX22260" fmla="*/ 1999964 w 3359086"/>
                <a:gd name="connsiteY22260" fmla="*/ 512445 h 3355086"/>
                <a:gd name="connsiteX22261" fmla="*/ 1993773 w 3359086"/>
                <a:gd name="connsiteY22261" fmla="*/ 506254 h 3355086"/>
                <a:gd name="connsiteX22262" fmla="*/ 1999964 w 3359086"/>
                <a:gd name="connsiteY22262" fmla="*/ 500063 h 3355086"/>
                <a:gd name="connsiteX22263" fmla="*/ 534256 w 3359086"/>
                <a:gd name="connsiteY22263" fmla="*/ 498062 h 3355086"/>
                <a:gd name="connsiteX22264" fmla="*/ 540448 w 3359086"/>
                <a:gd name="connsiteY22264" fmla="*/ 504253 h 3355086"/>
                <a:gd name="connsiteX22265" fmla="*/ 534256 w 3359086"/>
                <a:gd name="connsiteY22265" fmla="*/ 510445 h 3355086"/>
                <a:gd name="connsiteX22266" fmla="*/ 528065 w 3359086"/>
                <a:gd name="connsiteY22266" fmla="*/ 504253 h 3355086"/>
                <a:gd name="connsiteX22267" fmla="*/ 534256 w 3359086"/>
                <a:gd name="connsiteY22267" fmla="*/ 498062 h 3355086"/>
                <a:gd name="connsiteX22268" fmla="*/ 2873596 w 3359086"/>
                <a:gd name="connsiteY22268" fmla="*/ 497777 h 3355086"/>
                <a:gd name="connsiteX22269" fmla="*/ 2873787 w 3359086"/>
                <a:gd name="connsiteY22269" fmla="*/ 497968 h 3355086"/>
                <a:gd name="connsiteX22270" fmla="*/ 2873596 w 3359086"/>
                <a:gd name="connsiteY22270" fmla="*/ 498158 h 3355086"/>
                <a:gd name="connsiteX22271" fmla="*/ 2873406 w 3359086"/>
                <a:gd name="connsiteY22271" fmla="*/ 497968 h 3355086"/>
                <a:gd name="connsiteX22272" fmla="*/ 2873596 w 3359086"/>
                <a:gd name="connsiteY22272" fmla="*/ 497777 h 3355086"/>
                <a:gd name="connsiteX22273" fmla="*/ 504157 w 3359086"/>
                <a:gd name="connsiteY22273" fmla="*/ 497396 h 3355086"/>
                <a:gd name="connsiteX22274" fmla="*/ 509301 w 3359086"/>
                <a:gd name="connsiteY22274" fmla="*/ 502539 h 3355086"/>
                <a:gd name="connsiteX22275" fmla="*/ 509682 w 3359086"/>
                <a:gd name="connsiteY22275" fmla="*/ 502158 h 3355086"/>
                <a:gd name="connsiteX22276" fmla="*/ 515207 w 3359086"/>
                <a:gd name="connsiteY22276" fmla="*/ 507683 h 3355086"/>
                <a:gd name="connsiteX22277" fmla="*/ 515587 w 3359086"/>
                <a:gd name="connsiteY22277" fmla="*/ 507302 h 3355086"/>
                <a:gd name="connsiteX22278" fmla="*/ 521778 w 3359086"/>
                <a:gd name="connsiteY22278" fmla="*/ 513493 h 3355086"/>
                <a:gd name="connsiteX22279" fmla="*/ 515587 w 3359086"/>
                <a:gd name="connsiteY22279" fmla="*/ 519684 h 3355086"/>
                <a:gd name="connsiteX22280" fmla="*/ 510063 w 3359086"/>
                <a:gd name="connsiteY22280" fmla="*/ 514160 h 3355086"/>
                <a:gd name="connsiteX22281" fmla="*/ 509682 w 3359086"/>
                <a:gd name="connsiteY22281" fmla="*/ 514540 h 3355086"/>
                <a:gd name="connsiteX22282" fmla="*/ 504539 w 3359086"/>
                <a:gd name="connsiteY22282" fmla="*/ 509397 h 3355086"/>
                <a:gd name="connsiteX22283" fmla="*/ 504157 w 3359086"/>
                <a:gd name="connsiteY22283" fmla="*/ 509778 h 3355086"/>
                <a:gd name="connsiteX22284" fmla="*/ 497966 w 3359086"/>
                <a:gd name="connsiteY22284" fmla="*/ 503587 h 3355086"/>
                <a:gd name="connsiteX22285" fmla="*/ 504157 w 3359086"/>
                <a:gd name="connsiteY22285" fmla="*/ 497396 h 3355086"/>
                <a:gd name="connsiteX22286" fmla="*/ 699801 w 3359086"/>
                <a:gd name="connsiteY22286" fmla="*/ 496919 h 3355086"/>
                <a:gd name="connsiteX22287" fmla="*/ 705993 w 3359086"/>
                <a:gd name="connsiteY22287" fmla="*/ 503110 h 3355086"/>
                <a:gd name="connsiteX22288" fmla="*/ 699801 w 3359086"/>
                <a:gd name="connsiteY22288" fmla="*/ 509301 h 3355086"/>
                <a:gd name="connsiteX22289" fmla="*/ 693610 w 3359086"/>
                <a:gd name="connsiteY22289" fmla="*/ 503110 h 3355086"/>
                <a:gd name="connsiteX22290" fmla="*/ 699801 w 3359086"/>
                <a:gd name="connsiteY22290" fmla="*/ 496919 h 3355086"/>
                <a:gd name="connsiteX22291" fmla="*/ 609123 w 3359086"/>
                <a:gd name="connsiteY22291" fmla="*/ 496919 h 3355086"/>
                <a:gd name="connsiteX22292" fmla="*/ 615314 w 3359086"/>
                <a:gd name="connsiteY22292" fmla="*/ 503110 h 3355086"/>
                <a:gd name="connsiteX22293" fmla="*/ 609123 w 3359086"/>
                <a:gd name="connsiteY22293" fmla="*/ 509301 h 3355086"/>
                <a:gd name="connsiteX22294" fmla="*/ 602932 w 3359086"/>
                <a:gd name="connsiteY22294" fmla="*/ 503110 h 3355086"/>
                <a:gd name="connsiteX22295" fmla="*/ 609123 w 3359086"/>
                <a:gd name="connsiteY22295" fmla="*/ 496919 h 3355086"/>
                <a:gd name="connsiteX22296" fmla="*/ 2831972 w 3359086"/>
                <a:gd name="connsiteY22296" fmla="*/ 495205 h 3355086"/>
                <a:gd name="connsiteX22297" fmla="*/ 2838163 w 3359086"/>
                <a:gd name="connsiteY22297" fmla="*/ 501396 h 3355086"/>
                <a:gd name="connsiteX22298" fmla="*/ 2831972 w 3359086"/>
                <a:gd name="connsiteY22298" fmla="*/ 507587 h 3355086"/>
                <a:gd name="connsiteX22299" fmla="*/ 2831734 w 3359086"/>
                <a:gd name="connsiteY22299" fmla="*/ 507350 h 3355086"/>
                <a:gd name="connsiteX22300" fmla="*/ 2826067 w 3359086"/>
                <a:gd name="connsiteY22300" fmla="*/ 513016 h 3355086"/>
                <a:gd name="connsiteX22301" fmla="*/ 2825734 w 3359086"/>
                <a:gd name="connsiteY22301" fmla="*/ 512683 h 3355086"/>
                <a:gd name="connsiteX22302" fmla="*/ 2820638 w 3359086"/>
                <a:gd name="connsiteY22302" fmla="*/ 517779 h 3355086"/>
                <a:gd name="connsiteX22303" fmla="*/ 2814447 w 3359086"/>
                <a:gd name="connsiteY22303" fmla="*/ 511588 h 3355086"/>
                <a:gd name="connsiteX22304" fmla="*/ 2820638 w 3359086"/>
                <a:gd name="connsiteY22304" fmla="*/ 505397 h 3355086"/>
                <a:gd name="connsiteX22305" fmla="*/ 2820971 w 3359086"/>
                <a:gd name="connsiteY22305" fmla="*/ 505730 h 3355086"/>
                <a:gd name="connsiteX22306" fmla="*/ 2826067 w 3359086"/>
                <a:gd name="connsiteY22306" fmla="*/ 500634 h 3355086"/>
                <a:gd name="connsiteX22307" fmla="*/ 2826305 w 3359086"/>
                <a:gd name="connsiteY22307" fmla="*/ 500872 h 3355086"/>
                <a:gd name="connsiteX22308" fmla="*/ 2768631 w 3359086"/>
                <a:gd name="connsiteY22308" fmla="*/ 495205 h 3355086"/>
                <a:gd name="connsiteX22309" fmla="*/ 2774823 w 3359086"/>
                <a:gd name="connsiteY22309" fmla="*/ 501396 h 3355086"/>
                <a:gd name="connsiteX22310" fmla="*/ 2768631 w 3359086"/>
                <a:gd name="connsiteY22310" fmla="*/ 507587 h 3355086"/>
                <a:gd name="connsiteX22311" fmla="*/ 2762440 w 3359086"/>
                <a:gd name="connsiteY22311" fmla="*/ 501396 h 3355086"/>
                <a:gd name="connsiteX22312" fmla="*/ 2768631 w 3359086"/>
                <a:gd name="connsiteY22312" fmla="*/ 495205 h 3355086"/>
                <a:gd name="connsiteX22313" fmla="*/ 650176 w 3359086"/>
                <a:gd name="connsiteY22313" fmla="*/ 495205 h 3355086"/>
                <a:gd name="connsiteX22314" fmla="*/ 656368 w 3359086"/>
                <a:gd name="connsiteY22314" fmla="*/ 501396 h 3355086"/>
                <a:gd name="connsiteX22315" fmla="*/ 650176 w 3359086"/>
                <a:gd name="connsiteY22315" fmla="*/ 507587 h 3355086"/>
                <a:gd name="connsiteX22316" fmla="*/ 643985 w 3359086"/>
                <a:gd name="connsiteY22316" fmla="*/ 501396 h 3355086"/>
                <a:gd name="connsiteX22317" fmla="*/ 650176 w 3359086"/>
                <a:gd name="connsiteY22317" fmla="*/ 495205 h 3355086"/>
                <a:gd name="connsiteX22318" fmla="*/ 1385506 w 3359086"/>
                <a:gd name="connsiteY22318" fmla="*/ 494062 h 3355086"/>
                <a:gd name="connsiteX22319" fmla="*/ 1391698 w 3359086"/>
                <a:gd name="connsiteY22319" fmla="*/ 500253 h 3355086"/>
                <a:gd name="connsiteX22320" fmla="*/ 1385506 w 3359086"/>
                <a:gd name="connsiteY22320" fmla="*/ 506444 h 3355086"/>
                <a:gd name="connsiteX22321" fmla="*/ 1379315 w 3359086"/>
                <a:gd name="connsiteY22321" fmla="*/ 500253 h 3355086"/>
                <a:gd name="connsiteX22322" fmla="*/ 1385506 w 3359086"/>
                <a:gd name="connsiteY22322" fmla="*/ 494062 h 3355086"/>
                <a:gd name="connsiteX22323" fmla="*/ 2544222 w 3359086"/>
                <a:gd name="connsiteY22323" fmla="*/ 491109 h 3355086"/>
                <a:gd name="connsiteX22324" fmla="*/ 2550414 w 3359086"/>
                <a:gd name="connsiteY22324" fmla="*/ 497300 h 3355086"/>
                <a:gd name="connsiteX22325" fmla="*/ 2544222 w 3359086"/>
                <a:gd name="connsiteY22325" fmla="*/ 503491 h 3355086"/>
                <a:gd name="connsiteX22326" fmla="*/ 2538031 w 3359086"/>
                <a:gd name="connsiteY22326" fmla="*/ 497300 h 3355086"/>
                <a:gd name="connsiteX22327" fmla="*/ 2544222 w 3359086"/>
                <a:gd name="connsiteY22327" fmla="*/ 491109 h 3355086"/>
                <a:gd name="connsiteX22328" fmla="*/ 497395 w 3359086"/>
                <a:gd name="connsiteY22328" fmla="*/ 491109 h 3355086"/>
                <a:gd name="connsiteX22329" fmla="*/ 503586 w 3359086"/>
                <a:gd name="connsiteY22329" fmla="*/ 497300 h 3355086"/>
                <a:gd name="connsiteX22330" fmla="*/ 497395 w 3359086"/>
                <a:gd name="connsiteY22330" fmla="*/ 503491 h 3355086"/>
                <a:gd name="connsiteX22331" fmla="*/ 491204 w 3359086"/>
                <a:gd name="connsiteY22331" fmla="*/ 497300 h 3355086"/>
                <a:gd name="connsiteX22332" fmla="*/ 497395 w 3359086"/>
                <a:gd name="connsiteY22332" fmla="*/ 491109 h 3355086"/>
                <a:gd name="connsiteX22333" fmla="*/ 2856356 w 3359086"/>
                <a:gd name="connsiteY22333" fmla="*/ 490824 h 3355086"/>
                <a:gd name="connsiteX22334" fmla="*/ 2862547 w 3359086"/>
                <a:gd name="connsiteY22334" fmla="*/ 497015 h 3355086"/>
                <a:gd name="connsiteX22335" fmla="*/ 2856356 w 3359086"/>
                <a:gd name="connsiteY22335" fmla="*/ 503206 h 3355086"/>
                <a:gd name="connsiteX22336" fmla="*/ 2850165 w 3359086"/>
                <a:gd name="connsiteY22336" fmla="*/ 497015 h 3355086"/>
                <a:gd name="connsiteX22337" fmla="*/ 2856356 w 3359086"/>
                <a:gd name="connsiteY22337" fmla="*/ 490824 h 3355086"/>
                <a:gd name="connsiteX22338" fmla="*/ 900493 w 3359086"/>
                <a:gd name="connsiteY22338" fmla="*/ 490347 h 3355086"/>
                <a:gd name="connsiteX22339" fmla="*/ 906685 w 3359086"/>
                <a:gd name="connsiteY22339" fmla="*/ 496538 h 3355086"/>
                <a:gd name="connsiteX22340" fmla="*/ 900493 w 3359086"/>
                <a:gd name="connsiteY22340" fmla="*/ 502729 h 3355086"/>
                <a:gd name="connsiteX22341" fmla="*/ 894302 w 3359086"/>
                <a:gd name="connsiteY22341" fmla="*/ 496538 h 3355086"/>
                <a:gd name="connsiteX22342" fmla="*/ 900493 w 3359086"/>
                <a:gd name="connsiteY22342" fmla="*/ 490347 h 3355086"/>
                <a:gd name="connsiteX22343" fmla="*/ 1899856 w 3359086"/>
                <a:gd name="connsiteY22343" fmla="*/ 489776 h 3355086"/>
                <a:gd name="connsiteX22344" fmla="*/ 1906048 w 3359086"/>
                <a:gd name="connsiteY22344" fmla="*/ 495967 h 3355086"/>
                <a:gd name="connsiteX22345" fmla="*/ 1899856 w 3359086"/>
                <a:gd name="connsiteY22345" fmla="*/ 502158 h 3355086"/>
                <a:gd name="connsiteX22346" fmla="*/ 1893665 w 3359086"/>
                <a:gd name="connsiteY22346" fmla="*/ 495967 h 3355086"/>
                <a:gd name="connsiteX22347" fmla="*/ 1899856 w 3359086"/>
                <a:gd name="connsiteY22347" fmla="*/ 489776 h 3355086"/>
                <a:gd name="connsiteX22348" fmla="*/ 1075372 w 3359086"/>
                <a:gd name="connsiteY22348" fmla="*/ 489585 h 3355086"/>
                <a:gd name="connsiteX22349" fmla="*/ 1081564 w 3359086"/>
                <a:gd name="connsiteY22349" fmla="*/ 495776 h 3355086"/>
                <a:gd name="connsiteX22350" fmla="*/ 1075372 w 3359086"/>
                <a:gd name="connsiteY22350" fmla="*/ 501967 h 3355086"/>
                <a:gd name="connsiteX22351" fmla="*/ 1069181 w 3359086"/>
                <a:gd name="connsiteY22351" fmla="*/ 495776 h 3355086"/>
                <a:gd name="connsiteX22352" fmla="*/ 1075372 w 3359086"/>
                <a:gd name="connsiteY22352" fmla="*/ 489585 h 3355086"/>
                <a:gd name="connsiteX22353" fmla="*/ 556450 w 3359086"/>
                <a:gd name="connsiteY22353" fmla="*/ 489204 h 3355086"/>
                <a:gd name="connsiteX22354" fmla="*/ 562641 w 3359086"/>
                <a:gd name="connsiteY22354" fmla="*/ 495395 h 3355086"/>
                <a:gd name="connsiteX22355" fmla="*/ 556450 w 3359086"/>
                <a:gd name="connsiteY22355" fmla="*/ 501587 h 3355086"/>
                <a:gd name="connsiteX22356" fmla="*/ 550259 w 3359086"/>
                <a:gd name="connsiteY22356" fmla="*/ 495395 h 3355086"/>
                <a:gd name="connsiteX22357" fmla="*/ 556450 w 3359086"/>
                <a:gd name="connsiteY22357" fmla="*/ 489204 h 3355086"/>
                <a:gd name="connsiteX22358" fmla="*/ 2738913 w 3359086"/>
                <a:gd name="connsiteY22358" fmla="*/ 488823 h 3355086"/>
                <a:gd name="connsiteX22359" fmla="*/ 2745105 w 3359086"/>
                <a:gd name="connsiteY22359" fmla="*/ 495014 h 3355086"/>
                <a:gd name="connsiteX22360" fmla="*/ 2738913 w 3359086"/>
                <a:gd name="connsiteY22360" fmla="*/ 501205 h 3355086"/>
                <a:gd name="connsiteX22361" fmla="*/ 2732722 w 3359086"/>
                <a:gd name="connsiteY22361" fmla="*/ 495014 h 3355086"/>
                <a:gd name="connsiteX22362" fmla="*/ 2738913 w 3359086"/>
                <a:gd name="connsiteY22362" fmla="*/ 488823 h 3355086"/>
                <a:gd name="connsiteX22363" fmla="*/ 2816827 w 3359086"/>
                <a:gd name="connsiteY22363" fmla="*/ 487680 h 3355086"/>
                <a:gd name="connsiteX22364" fmla="*/ 2823019 w 3359086"/>
                <a:gd name="connsiteY22364" fmla="*/ 493871 h 3355086"/>
                <a:gd name="connsiteX22365" fmla="*/ 2816827 w 3359086"/>
                <a:gd name="connsiteY22365" fmla="*/ 500063 h 3355086"/>
                <a:gd name="connsiteX22366" fmla="*/ 2815684 w 3359086"/>
                <a:gd name="connsiteY22366" fmla="*/ 498920 h 3355086"/>
                <a:gd name="connsiteX22367" fmla="*/ 2810636 w 3359086"/>
                <a:gd name="connsiteY22367" fmla="*/ 503968 h 3355086"/>
                <a:gd name="connsiteX22368" fmla="*/ 2809255 w 3359086"/>
                <a:gd name="connsiteY22368" fmla="*/ 502587 h 3355086"/>
                <a:gd name="connsiteX22369" fmla="*/ 2803492 w 3359086"/>
                <a:gd name="connsiteY22369" fmla="*/ 508349 h 3355086"/>
                <a:gd name="connsiteX22370" fmla="*/ 2797301 w 3359086"/>
                <a:gd name="connsiteY22370" fmla="*/ 502158 h 3355086"/>
                <a:gd name="connsiteX22371" fmla="*/ 2803492 w 3359086"/>
                <a:gd name="connsiteY22371" fmla="*/ 495967 h 3355086"/>
                <a:gd name="connsiteX22372" fmla="*/ 2804873 w 3359086"/>
                <a:gd name="connsiteY22372" fmla="*/ 497348 h 3355086"/>
                <a:gd name="connsiteX22373" fmla="*/ 2810636 w 3359086"/>
                <a:gd name="connsiteY22373" fmla="*/ 491585 h 3355086"/>
                <a:gd name="connsiteX22374" fmla="*/ 2811779 w 3359086"/>
                <a:gd name="connsiteY22374" fmla="*/ 492728 h 3355086"/>
                <a:gd name="connsiteX22375" fmla="*/ 2839973 w 3359086"/>
                <a:gd name="connsiteY22375" fmla="*/ 487585 h 3355086"/>
                <a:gd name="connsiteX22376" fmla="*/ 2846164 w 3359086"/>
                <a:gd name="connsiteY22376" fmla="*/ 493776 h 3355086"/>
                <a:gd name="connsiteX22377" fmla="*/ 2839973 w 3359086"/>
                <a:gd name="connsiteY22377" fmla="*/ 499967 h 3355086"/>
                <a:gd name="connsiteX22378" fmla="*/ 2833782 w 3359086"/>
                <a:gd name="connsiteY22378" fmla="*/ 493776 h 3355086"/>
                <a:gd name="connsiteX22379" fmla="*/ 2839973 w 3359086"/>
                <a:gd name="connsiteY22379" fmla="*/ 487585 h 3355086"/>
                <a:gd name="connsiteX22380" fmla="*/ 2783585 w 3359086"/>
                <a:gd name="connsiteY22380" fmla="*/ 486347 h 3355086"/>
                <a:gd name="connsiteX22381" fmla="*/ 2789777 w 3359086"/>
                <a:gd name="connsiteY22381" fmla="*/ 492538 h 3355086"/>
                <a:gd name="connsiteX22382" fmla="*/ 2783585 w 3359086"/>
                <a:gd name="connsiteY22382" fmla="*/ 498729 h 3355086"/>
                <a:gd name="connsiteX22383" fmla="*/ 2777394 w 3359086"/>
                <a:gd name="connsiteY22383" fmla="*/ 492538 h 3355086"/>
                <a:gd name="connsiteX22384" fmla="*/ 2783585 w 3359086"/>
                <a:gd name="connsiteY22384" fmla="*/ 486347 h 3355086"/>
                <a:gd name="connsiteX22385" fmla="*/ 1486947 w 3359086"/>
                <a:gd name="connsiteY22385" fmla="*/ 485680 h 3355086"/>
                <a:gd name="connsiteX22386" fmla="*/ 1493138 w 3359086"/>
                <a:gd name="connsiteY22386" fmla="*/ 491871 h 3355086"/>
                <a:gd name="connsiteX22387" fmla="*/ 1486947 w 3359086"/>
                <a:gd name="connsiteY22387" fmla="*/ 498062 h 3355086"/>
                <a:gd name="connsiteX22388" fmla="*/ 1480756 w 3359086"/>
                <a:gd name="connsiteY22388" fmla="*/ 491871 h 3355086"/>
                <a:gd name="connsiteX22389" fmla="*/ 1486947 w 3359086"/>
                <a:gd name="connsiteY22389" fmla="*/ 485680 h 3355086"/>
                <a:gd name="connsiteX22390" fmla="*/ 2606897 w 3359086"/>
                <a:gd name="connsiteY22390" fmla="*/ 484632 h 3355086"/>
                <a:gd name="connsiteX22391" fmla="*/ 2613088 w 3359086"/>
                <a:gd name="connsiteY22391" fmla="*/ 490823 h 3355086"/>
                <a:gd name="connsiteX22392" fmla="*/ 2606897 w 3359086"/>
                <a:gd name="connsiteY22392" fmla="*/ 497014 h 3355086"/>
                <a:gd name="connsiteX22393" fmla="*/ 2600706 w 3359086"/>
                <a:gd name="connsiteY22393" fmla="*/ 490823 h 3355086"/>
                <a:gd name="connsiteX22394" fmla="*/ 2606897 w 3359086"/>
                <a:gd name="connsiteY22394" fmla="*/ 484632 h 3355086"/>
                <a:gd name="connsiteX22395" fmla="*/ 512730 w 3359086"/>
                <a:gd name="connsiteY22395" fmla="*/ 484537 h 3355086"/>
                <a:gd name="connsiteX22396" fmla="*/ 518255 w 3359086"/>
                <a:gd name="connsiteY22396" fmla="*/ 490062 h 3355086"/>
                <a:gd name="connsiteX22397" fmla="*/ 519398 w 3359086"/>
                <a:gd name="connsiteY22397" fmla="*/ 488918 h 3355086"/>
                <a:gd name="connsiteX22398" fmla="*/ 524542 w 3359086"/>
                <a:gd name="connsiteY22398" fmla="*/ 494062 h 3355086"/>
                <a:gd name="connsiteX22399" fmla="*/ 525875 w 3359086"/>
                <a:gd name="connsiteY22399" fmla="*/ 492729 h 3355086"/>
                <a:gd name="connsiteX22400" fmla="*/ 532066 w 3359086"/>
                <a:gd name="connsiteY22400" fmla="*/ 498920 h 3355086"/>
                <a:gd name="connsiteX22401" fmla="*/ 525875 w 3359086"/>
                <a:gd name="connsiteY22401" fmla="*/ 505111 h 3355086"/>
                <a:gd name="connsiteX22402" fmla="*/ 520731 w 3359086"/>
                <a:gd name="connsiteY22402" fmla="*/ 499967 h 3355086"/>
                <a:gd name="connsiteX22403" fmla="*/ 519398 w 3359086"/>
                <a:gd name="connsiteY22403" fmla="*/ 501300 h 3355086"/>
                <a:gd name="connsiteX22404" fmla="*/ 513874 w 3359086"/>
                <a:gd name="connsiteY22404" fmla="*/ 495776 h 3355086"/>
                <a:gd name="connsiteX22405" fmla="*/ 512730 w 3359086"/>
                <a:gd name="connsiteY22405" fmla="*/ 496919 h 3355086"/>
                <a:gd name="connsiteX22406" fmla="*/ 506539 w 3359086"/>
                <a:gd name="connsiteY22406" fmla="*/ 490728 h 3355086"/>
                <a:gd name="connsiteX22407" fmla="*/ 512730 w 3359086"/>
                <a:gd name="connsiteY22407" fmla="*/ 484537 h 3355086"/>
                <a:gd name="connsiteX22408" fmla="*/ 2702813 w 3359086"/>
                <a:gd name="connsiteY22408" fmla="*/ 484347 h 3355086"/>
                <a:gd name="connsiteX22409" fmla="*/ 2709005 w 3359086"/>
                <a:gd name="connsiteY22409" fmla="*/ 490538 h 3355086"/>
                <a:gd name="connsiteX22410" fmla="*/ 2702813 w 3359086"/>
                <a:gd name="connsiteY22410" fmla="*/ 496729 h 3355086"/>
                <a:gd name="connsiteX22411" fmla="*/ 2696622 w 3359086"/>
                <a:gd name="connsiteY22411" fmla="*/ 490538 h 3355086"/>
                <a:gd name="connsiteX22412" fmla="*/ 2702813 w 3359086"/>
                <a:gd name="connsiteY22412" fmla="*/ 484347 h 3355086"/>
                <a:gd name="connsiteX22413" fmla="*/ 1797462 w 3359086"/>
                <a:gd name="connsiteY22413" fmla="*/ 483013 h 3355086"/>
                <a:gd name="connsiteX22414" fmla="*/ 1803654 w 3359086"/>
                <a:gd name="connsiteY22414" fmla="*/ 489204 h 3355086"/>
                <a:gd name="connsiteX22415" fmla="*/ 1797462 w 3359086"/>
                <a:gd name="connsiteY22415" fmla="*/ 495395 h 3355086"/>
                <a:gd name="connsiteX22416" fmla="*/ 1791271 w 3359086"/>
                <a:gd name="connsiteY22416" fmla="*/ 489204 h 3355086"/>
                <a:gd name="connsiteX22417" fmla="*/ 1797462 w 3359086"/>
                <a:gd name="connsiteY22417" fmla="*/ 483013 h 3355086"/>
                <a:gd name="connsiteX22418" fmla="*/ 2659284 w 3359086"/>
                <a:gd name="connsiteY22418" fmla="*/ 482727 h 3355086"/>
                <a:gd name="connsiteX22419" fmla="*/ 2665475 w 3359086"/>
                <a:gd name="connsiteY22419" fmla="*/ 488918 h 3355086"/>
                <a:gd name="connsiteX22420" fmla="*/ 2659284 w 3359086"/>
                <a:gd name="connsiteY22420" fmla="*/ 495110 h 3355086"/>
                <a:gd name="connsiteX22421" fmla="*/ 2653093 w 3359086"/>
                <a:gd name="connsiteY22421" fmla="*/ 488918 h 3355086"/>
                <a:gd name="connsiteX22422" fmla="*/ 2659284 w 3359086"/>
                <a:gd name="connsiteY22422" fmla="*/ 482727 h 3355086"/>
                <a:gd name="connsiteX22423" fmla="*/ 2824162 w 3359086"/>
                <a:gd name="connsiteY22423" fmla="*/ 482346 h 3355086"/>
                <a:gd name="connsiteX22424" fmla="*/ 2830353 w 3359086"/>
                <a:gd name="connsiteY22424" fmla="*/ 488537 h 3355086"/>
                <a:gd name="connsiteX22425" fmla="*/ 2824162 w 3359086"/>
                <a:gd name="connsiteY22425" fmla="*/ 494728 h 3355086"/>
                <a:gd name="connsiteX22426" fmla="*/ 2817971 w 3359086"/>
                <a:gd name="connsiteY22426" fmla="*/ 488537 h 3355086"/>
                <a:gd name="connsiteX22427" fmla="*/ 2824162 w 3359086"/>
                <a:gd name="connsiteY22427" fmla="*/ 482346 h 3355086"/>
                <a:gd name="connsiteX22428" fmla="*/ 582929 w 3359086"/>
                <a:gd name="connsiteY22428" fmla="*/ 481108 h 3355086"/>
                <a:gd name="connsiteX22429" fmla="*/ 589120 w 3359086"/>
                <a:gd name="connsiteY22429" fmla="*/ 487299 h 3355086"/>
                <a:gd name="connsiteX22430" fmla="*/ 582929 w 3359086"/>
                <a:gd name="connsiteY22430" fmla="*/ 493490 h 3355086"/>
                <a:gd name="connsiteX22431" fmla="*/ 576738 w 3359086"/>
                <a:gd name="connsiteY22431" fmla="*/ 487299 h 3355086"/>
                <a:gd name="connsiteX22432" fmla="*/ 582929 w 3359086"/>
                <a:gd name="connsiteY22432" fmla="*/ 481108 h 3355086"/>
                <a:gd name="connsiteX22433" fmla="*/ 1590007 w 3359086"/>
                <a:gd name="connsiteY22433" fmla="*/ 480917 h 3355086"/>
                <a:gd name="connsiteX22434" fmla="*/ 1596199 w 3359086"/>
                <a:gd name="connsiteY22434" fmla="*/ 487108 h 3355086"/>
                <a:gd name="connsiteX22435" fmla="*/ 1590007 w 3359086"/>
                <a:gd name="connsiteY22435" fmla="*/ 493299 h 3355086"/>
                <a:gd name="connsiteX22436" fmla="*/ 1583816 w 3359086"/>
                <a:gd name="connsiteY22436" fmla="*/ 487108 h 3355086"/>
                <a:gd name="connsiteX22437" fmla="*/ 1590007 w 3359086"/>
                <a:gd name="connsiteY22437" fmla="*/ 480917 h 3355086"/>
                <a:gd name="connsiteX22438" fmla="*/ 2216943 w 3359086"/>
                <a:gd name="connsiteY22438" fmla="*/ 480822 h 3355086"/>
                <a:gd name="connsiteX22439" fmla="*/ 2223134 w 3359086"/>
                <a:gd name="connsiteY22439" fmla="*/ 487013 h 3355086"/>
                <a:gd name="connsiteX22440" fmla="*/ 2216943 w 3359086"/>
                <a:gd name="connsiteY22440" fmla="*/ 493204 h 3355086"/>
                <a:gd name="connsiteX22441" fmla="*/ 2210752 w 3359086"/>
                <a:gd name="connsiteY22441" fmla="*/ 487013 h 3355086"/>
                <a:gd name="connsiteX22442" fmla="*/ 2216943 w 3359086"/>
                <a:gd name="connsiteY22442" fmla="*/ 480822 h 3355086"/>
                <a:gd name="connsiteX22443" fmla="*/ 1693925 w 3359086"/>
                <a:gd name="connsiteY22443" fmla="*/ 480060 h 3355086"/>
                <a:gd name="connsiteX22444" fmla="*/ 1700117 w 3359086"/>
                <a:gd name="connsiteY22444" fmla="*/ 486251 h 3355086"/>
                <a:gd name="connsiteX22445" fmla="*/ 1693925 w 3359086"/>
                <a:gd name="connsiteY22445" fmla="*/ 492442 h 3355086"/>
                <a:gd name="connsiteX22446" fmla="*/ 1687734 w 3359086"/>
                <a:gd name="connsiteY22446" fmla="*/ 486251 h 3355086"/>
                <a:gd name="connsiteX22447" fmla="*/ 1693925 w 3359086"/>
                <a:gd name="connsiteY22447" fmla="*/ 480060 h 3355086"/>
                <a:gd name="connsiteX22448" fmla="*/ 504349 w 3359086"/>
                <a:gd name="connsiteY22448" fmla="*/ 479679 h 3355086"/>
                <a:gd name="connsiteX22449" fmla="*/ 508825 w 3359086"/>
                <a:gd name="connsiteY22449" fmla="*/ 484156 h 3355086"/>
                <a:gd name="connsiteX22450" fmla="*/ 504349 w 3359086"/>
                <a:gd name="connsiteY22450" fmla="*/ 488633 h 3355086"/>
                <a:gd name="connsiteX22451" fmla="*/ 499872 w 3359086"/>
                <a:gd name="connsiteY22451" fmla="*/ 484156 h 3355086"/>
                <a:gd name="connsiteX22452" fmla="*/ 504349 w 3359086"/>
                <a:gd name="connsiteY22452" fmla="*/ 479679 h 3355086"/>
                <a:gd name="connsiteX22453" fmla="*/ 2397632 w 3359086"/>
                <a:gd name="connsiteY22453" fmla="*/ 479584 h 3355086"/>
                <a:gd name="connsiteX22454" fmla="*/ 2403823 w 3359086"/>
                <a:gd name="connsiteY22454" fmla="*/ 485775 h 3355086"/>
                <a:gd name="connsiteX22455" fmla="*/ 2397632 w 3359086"/>
                <a:gd name="connsiteY22455" fmla="*/ 491966 h 3355086"/>
                <a:gd name="connsiteX22456" fmla="*/ 2391441 w 3359086"/>
                <a:gd name="connsiteY22456" fmla="*/ 485775 h 3355086"/>
                <a:gd name="connsiteX22457" fmla="*/ 2397632 w 3359086"/>
                <a:gd name="connsiteY22457" fmla="*/ 479584 h 3355086"/>
                <a:gd name="connsiteX22458" fmla="*/ 2851499 w 3359086"/>
                <a:gd name="connsiteY22458" fmla="*/ 478346 h 3355086"/>
                <a:gd name="connsiteX22459" fmla="*/ 2855785 w 3359086"/>
                <a:gd name="connsiteY22459" fmla="*/ 482632 h 3355086"/>
                <a:gd name="connsiteX22460" fmla="*/ 2851499 w 3359086"/>
                <a:gd name="connsiteY22460" fmla="*/ 486919 h 3355086"/>
                <a:gd name="connsiteX22461" fmla="*/ 2847213 w 3359086"/>
                <a:gd name="connsiteY22461" fmla="*/ 482632 h 3355086"/>
                <a:gd name="connsiteX22462" fmla="*/ 2851499 w 3359086"/>
                <a:gd name="connsiteY22462" fmla="*/ 478346 h 3355086"/>
                <a:gd name="connsiteX22463" fmla="*/ 822007 w 3359086"/>
                <a:gd name="connsiteY22463" fmla="*/ 477584 h 3355086"/>
                <a:gd name="connsiteX22464" fmla="*/ 828198 w 3359086"/>
                <a:gd name="connsiteY22464" fmla="*/ 483775 h 3355086"/>
                <a:gd name="connsiteX22465" fmla="*/ 822007 w 3359086"/>
                <a:gd name="connsiteY22465" fmla="*/ 489966 h 3355086"/>
                <a:gd name="connsiteX22466" fmla="*/ 815816 w 3359086"/>
                <a:gd name="connsiteY22466" fmla="*/ 483775 h 3355086"/>
                <a:gd name="connsiteX22467" fmla="*/ 822007 w 3359086"/>
                <a:gd name="connsiteY22467" fmla="*/ 477584 h 3355086"/>
                <a:gd name="connsiteX22468" fmla="*/ 2759963 w 3359086"/>
                <a:gd name="connsiteY22468" fmla="*/ 477108 h 3355086"/>
                <a:gd name="connsiteX22469" fmla="*/ 2766155 w 3359086"/>
                <a:gd name="connsiteY22469" fmla="*/ 483299 h 3355086"/>
                <a:gd name="connsiteX22470" fmla="*/ 2759963 w 3359086"/>
                <a:gd name="connsiteY22470" fmla="*/ 489490 h 3355086"/>
                <a:gd name="connsiteX22471" fmla="*/ 2753772 w 3359086"/>
                <a:gd name="connsiteY22471" fmla="*/ 483299 h 3355086"/>
                <a:gd name="connsiteX22472" fmla="*/ 2759963 w 3359086"/>
                <a:gd name="connsiteY22472" fmla="*/ 477108 h 3355086"/>
                <a:gd name="connsiteX22473" fmla="*/ 2808350 w 3359086"/>
                <a:gd name="connsiteY22473" fmla="*/ 475203 h 3355086"/>
                <a:gd name="connsiteX22474" fmla="*/ 2814541 w 3359086"/>
                <a:gd name="connsiteY22474" fmla="*/ 481394 h 3355086"/>
                <a:gd name="connsiteX22475" fmla="*/ 2808350 w 3359086"/>
                <a:gd name="connsiteY22475" fmla="*/ 487585 h 3355086"/>
                <a:gd name="connsiteX22476" fmla="*/ 2806445 w 3359086"/>
                <a:gd name="connsiteY22476" fmla="*/ 485680 h 3355086"/>
                <a:gd name="connsiteX22477" fmla="*/ 2801016 w 3359086"/>
                <a:gd name="connsiteY22477" fmla="*/ 491109 h 3355086"/>
                <a:gd name="connsiteX22478" fmla="*/ 2798730 w 3359086"/>
                <a:gd name="connsiteY22478" fmla="*/ 488823 h 3355086"/>
                <a:gd name="connsiteX22479" fmla="*/ 2793491 w 3359086"/>
                <a:gd name="connsiteY22479" fmla="*/ 494062 h 3355086"/>
                <a:gd name="connsiteX22480" fmla="*/ 2787300 w 3359086"/>
                <a:gd name="connsiteY22480" fmla="*/ 487871 h 3355086"/>
                <a:gd name="connsiteX22481" fmla="*/ 2793491 w 3359086"/>
                <a:gd name="connsiteY22481" fmla="*/ 481680 h 3355086"/>
                <a:gd name="connsiteX22482" fmla="*/ 2795777 w 3359086"/>
                <a:gd name="connsiteY22482" fmla="*/ 483966 h 3355086"/>
                <a:gd name="connsiteX22483" fmla="*/ 2801016 w 3359086"/>
                <a:gd name="connsiteY22483" fmla="*/ 478727 h 3355086"/>
                <a:gd name="connsiteX22484" fmla="*/ 2802921 w 3359086"/>
                <a:gd name="connsiteY22484" fmla="*/ 480632 h 3355086"/>
                <a:gd name="connsiteX22485" fmla="*/ 614933 w 3359086"/>
                <a:gd name="connsiteY22485" fmla="*/ 474440 h 3355086"/>
                <a:gd name="connsiteX22486" fmla="*/ 621124 w 3359086"/>
                <a:gd name="connsiteY22486" fmla="*/ 480631 h 3355086"/>
                <a:gd name="connsiteX22487" fmla="*/ 614933 w 3359086"/>
                <a:gd name="connsiteY22487" fmla="*/ 486822 h 3355086"/>
                <a:gd name="connsiteX22488" fmla="*/ 608742 w 3359086"/>
                <a:gd name="connsiteY22488" fmla="*/ 480631 h 3355086"/>
                <a:gd name="connsiteX22489" fmla="*/ 614933 w 3359086"/>
                <a:gd name="connsiteY22489" fmla="*/ 474440 h 3355086"/>
                <a:gd name="connsiteX22490" fmla="*/ 2833973 w 3359086"/>
                <a:gd name="connsiteY22490" fmla="*/ 474155 h 3355086"/>
                <a:gd name="connsiteX22491" fmla="*/ 2840164 w 3359086"/>
                <a:gd name="connsiteY22491" fmla="*/ 480346 h 3355086"/>
                <a:gd name="connsiteX22492" fmla="*/ 2833973 w 3359086"/>
                <a:gd name="connsiteY22492" fmla="*/ 486537 h 3355086"/>
                <a:gd name="connsiteX22493" fmla="*/ 2827782 w 3359086"/>
                <a:gd name="connsiteY22493" fmla="*/ 480346 h 3355086"/>
                <a:gd name="connsiteX22494" fmla="*/ 2833973 w 3359086"/>
                <a:gd name="connsiteY22494" fmla="*/ 474155 h 3355086"/>
                <a:gd name="connsiteX22495" fmla="*/ 565594 w 3359086"/>
                <a:gd name="connsiteY22495" fmla="*/ 472821 h 3355086"/>
                <a:gd name="connsiteX22496" fmla="*/ 571785 w 3359086"/>
                <a:gd name="connsiteY22496" fmla="*/ 479012 h 3355086"/>
                <a:gd name="connsiteX22497" fmla="*/ 565594 w 3359086"/>
                <a:gd name="connsiteY22497" fmla="*/ 485203 h 3355086"/>
                <a:gd name="connsiteX22498" fmla="*/ 559403 w 3359086"/>
                <a:gd name="connsiteY22498" fmla="*/ 479012 h 3355086"/>
                <a:gd name="connsiteX22499" fmla="*/ 565594 w 3359086"/>
                <a:gd name="connsiteY22499" fmla="*/ 472821 h 3355086"/>
                <a:gd name="connsiteX22500" fmla="*/ 520541 w 3359086"/>
                <a:gd name="connsiteY22500" fmla="*/ 472059 h 3355086"/>
                <a:gd name="connsiteX22501" fmla="*/ 526637 w 3359086"/>
                <a:gd name="connsiteY22501" fmla="*/ 478155 h 3355086"/>
                <a:gd name="connsiteX22502" fmla="*/ 528446 w 3359086"/>
                <a:gd name="connsiteY22502" fmla="*/ 476346 h 3355086"/>
                <a:gd name="connsiteX22503" fmla="*/ 533542 w 3359086"/>
                <a:gd name="connsiteY22503" fmla="*/ 481442 h 3355086"/>
                <a:gd name="connsiteX22504" fmla="*/ 535685 w 3359086"/>
                <a:gd name="connsiteY22504" fmla="*/ 479298 h 3355086"/>
                <a:gd name="connsiteX22505" fmla="*/ 541734 w 3359086"/>
                <a:gd name="connsiteY22505" fmla="*/ 485347 h 3355086"/>
                <a:gd name="connsiteX22506" fmla="*/ 544258 w 3359086"/>
                <a:gd name="connsiteY22506" fmla="*/ 482823 h 3355086"/>
                <a:gd name="connsiteX22507" fmla="*/ 550449 w 3359086"/>
                <a:gd name="connsiteY22507" fmla="*/ 489014 h 3355086"/>
                <a:gd name="connsiteX22508" fmla="*/ 544258 w 3359086"/>
                <a:gd name="connsiteY22508" fmla="*/ 495205 h 3355086"/>
                <a:gd name="connsiteX22509" fmla="*/ 538209 w 3359086"/>
                <a:gd name="connsiteY22509" fmla="*/ 489156 h 3355086"/>
                <a:gd name="connsiteX22510" fmla="*/ 535685 w 3359086"/>
                <a:gd name="connsiteY22510" fmla="*/ 491680 h 3355086"/>
                <a:gd name="connsiteX22511" fmla="*/ 530590 w 3359086"/>
                <a:gd name="connsiteY22511" fmla="*/ 486585 h 3355086"/>
                <a:gd name="connsiteX22512" fmla="*/ 528446 w 3359086"/>
                <a:gd name="connsiteY22512" fmla="*/ 488728 h 3355086"/>
                <a:gd name="connsiteX22513" fmla="*/ 522350 w 3359086"/>
                <a:gd name="connsiteY22513" fmla="*/ 482632 h 3355086"/>
                <a:gd name="connsiteX22514" fmla="*/ 520541 w 3359086"/>
                <a:gd name="connsiteY22514" fmla="*/ 484441 h 3355086"/>
                <a:gd name="connsiteX22515" fmla="*/ 514350 w 3359086"/>
                <a:gd name="connsiteY22515" fmla="*/ 478250 h 3355086"/>
                <a:gd name="connsiteX22516" fmla="*/ 520541 w 3359086"/>
                <a:gd name="connsiteY22516" fmla="*/ 472059 h 3355086"/>
                <a:gd name="connsiteX22517" fmla="*/ 2774060 w 3359086"/>
                <a:gd name="connsiteY22517" fmla="*/ 471392 h 3355086"/>
                <a:gd name="connsiteX22518" fmla="*/ 2780252 w 3359086"/>
                <a:gd name="connsiteY22518" fmla="*/ 477583 h 3355086"/>
                <a:gd name="connsiteX22519" fmla="*/ 2774060 w 3359086"/>
                <a:gd name="connsiteY22519" fmla="*/ 483774 h 3355086"/>
                <a:gd name="connsiteX22520" fmla="*/ 2767869 w 3359086"/>
                <a:gd name="connsiteY22520" fmla="*/ 477583 h 3355086"/>
                <a:gd name="connsiteX22521" fmla="*/ 2774060 w 3359086"/>
                <a:gd name="connsiteY22521" fmla="*/ 471392 h 3355086"/>
                <a:gd name="connsiteX22522" fmla="*/ 1162335 w 3359086"/>
                <a:gd name="connsiteY22522" fmla="*/ 471202 h 3355086"/>
                <a:gd name="connsiteX22523" fmla="*/ 1168527 w 3359086"/>
                <a:gd name="connsiteY22523" fmla="*/ 477393 h 3355086"/>
                <a:gd name="connsiteX22524" fmla="*/ 1162335 w 3359086"/>
                <a:gd name="connsiteY22524" fmla="*/ 483584 h 3355086"/>
                <a:gd name="connsiteX22525" fmla="*/ 1156144 w 3359086"/>
                <a:gd name="connsiteY22525" fmla="*/ 477393 h 3355086"/>
                <a:gd name="connsiteX22526" fmla="*/ 1162335 w 3359086"/>
                <a:gd name="connsiteY22526" fmla="*/ 471202 h 3355086"/>
                <a:gd name="connsiteX22527" fmla="*/ 755713 w 3359086"/>
                <a:gd name="connsiteY22527" fmla="*/ 470631 h 3355086"/>
                <a:gd name="connsiteX22528" fmla="*/ 761904 w 3359086"/>
                <a:gd name="connsiteY22528" fmla="*/ 476822 h 3355086"/>
                <a:gd name="connsiteX22529" fmla="*/ 755713 w 3359086"/>
                <a:gd name="connsiteY22529" fmla="*/ 483013 h 3355086"/>
                <a:gd name="connsiteX22530" fmla="*/ 749522 w 3359086"/>
                <a:gd name="connsiteY22530" fmla="*/ 476822 h 3355086"/>
                <a:gd name="connsiteX22531" fmla="*/ 755713 w 3359086"/>
                <a:gd name="connsiteY22531" fmla="*/ 470631 h 3355086"/>
                <a:gd name="connsiteX22532" fmla="*/ 653509 w 3359086"/>
                <a:gd name="connsiteY22532" fmla="*/ 469964 h 3355086"/>
                <a:gd name="connsiteX22533" fmla="*/ 659701 w 3359086"/>
                <a:gd name="connsiteY22533" fmla="*/ 476155 h 3355086"/>
                <a:gd name="connsiteX22534" fmla="*/ 653509 w 3359086"/>
                <a:gd name="connsiteY22534" fmla="*/ 482346 h 3355086"/>
                <a:gd name="connsiteX22535" fmla="*/ 647318 w 3359086"/>
                <a:gd name="connsiteY22535" fmla="*/ 476155 h 3355086"/>
                <a:gd name="connsiteX22536" fmla="*/ 653509 w 3359086"/>
                <a:gd name="connsiteY22536" fmla="*/ 469964 h 3355086"/>
                <a:gd name="connsiteX22537" fmla="*/ 2817113 w 3359086"/>
                <a:gd name="connsiteY22537" fmla="*/ 469583 h 3355086"/>
                <a:gd name="connsiteX22538" fmla="*/ 2823305 w 3359086"/>
                <a:gd name="connsiteY22538" fmla="*/ 475774 h 3355086"/>
                <a:gd name="connsiteX22539" fmla="*/ 2817113 w 3359086"/>
                <a:gd name="connsiteY22539" fmla="*/ 481965 h 3355086"/>
                <a:gd name="connsiteX22540" fmla="*/ 2810922 w 3359086"/>
                <a:gd name="connsiteY22540" fmla="*/ 475774 h 3355086"/>
                <a:gd name="connsiteX22541" fmla="*/ 2817113 w 3359086"/>
                <a:gd name="connsiteY22541" fmla="*/ 469583 h 3355086"/>
                <a:gd name="connsiteX22542" fmla="*/ 2731769 w 3359086"/>
                <a:gd name="connsiteY22542" fmla="*/ 468821 h 3355086"/>
                <a:gd name="connsiteX22543" fmla="*/ 2737961 w 3359086"/>
                <a:gd name="connsiteY22543" fmla="*/ 475012 h 3355086"/>
                <a:gd name="connsiteX22544" fmla="*/ 2731769 w 3359086"/>
                <a:gd name="connsiteY22544" fmla="*/ 481203 h 3355086"/>
                <a:gd name="connsiteX22545" fmla="*/ 2725578 w 3359086"/>
                <a:gd name="connsiteY22545" fmla="*/ 475012 h 3355086"/>
                <a:gd name="connsiteX22546" fmla="*/ 2731769 w 3359086"/>
                <a:gd name="connsiteY22546" fmla="*/ 468821 h 3355086"/>
                <a:gd name="connsiteX22547" fmla="*/ 699991 w 3359086"/>
                <a:gd name="connsiteY22547" fmla="*/ 468440 h 3355086"/>
                <a:gd name="connsiteX22548" fmla="*/ 706183 w 3359086"/>
                <a:gd name="connsiteY22548" fmla="*/ 474631 h 3355086"/>
                <a:gd name="connsiteX22549" fmla="*/ 699991 w 3359086"/>
                <a:gd name="connsiteY22549" fmla="*/ 480823 h 3355086"/>
                <a:gd name="connsiteX22550" fmla="*/ 693800 w 3359086"/>
                <a:gd name="connsiteY22550" fmla="*/ 474631 h 3355086"/>
                <a:gd name="connsiteX22551" fmla="*/ 699991 w 3359086"/>
                <a:gd name="connsiteY22551" fmla="*/ 468440 h 3355086"/>
                <a:gd name="connsiteX22552" fmla="*/ 974978 w 3359086"/>
                <a:gd name="connsiteY22552" fmla="*/ 467583 h 3355086"/>
                <a:gd name="connsiteX22553" fmla="*/ 981170 w 3359086"/>
                <a:gd name="connsiteY22553" fmla="*/ 473774 h 3355086"/>
                <a:gd name="connsiteX22554" fmla="*/ 974978 w 3359086"/>
                <a:gd name="connsiteY22554" fmla="*/ 479965 h 3355086"/>
                <a:gd name="connsiteX22555" fmla="*/ 968787 w 3359086"/>
                <a:gd name="connsiteY22555" fmla="*/ 473774 h 3355086"/>
                <a:gd name="connsiteX22556" fmla="*/ 974978 w 3359086"/>
                <a:gd name="connsiteY22556" fmla="*/ 467583 h 3355086"/>
                <a:gd name="connsiteX22557" fmla="*/ 2479642 w 3359086"/>
                <a:gd name="connsiteY22557" fmla="*/ 466058 h 3355086"/>
                <a:gd name="connsiteX22558" fmla="*/ 2485834 w 3359086"/>
                <a:gd name="connsiteY22558" fmla="*/ 472249 h 3355086"/>
                <a:gd name="connsiteX22559" fmla="*/ 2479642 w 3359086"/>
                <a:gd name="connsiteY22559" fmla="*/ 478441 h 3355086"/>
                <a:gd name="connsiteX22560" fmla="*/ 2473451 w 3359086"/>
                <a:gd name="connsiteY22560" fmla="*/ 472249 h 3355086"/>
                <a:gd name="connsiteX22561" fmla="*/ 2479642 w 3359086"/>
                <a:gd name="connsiteY22561" fmla="*/ 466058 h 3355086"/>
                <a:gd name="connsiteX22562" fmla="*/ 536924 w 3359086"/>
                <a:gd name="connsiteY22562" fmla="*/ 464344 h 3355086"/>
                <a:gd name="connsiteX22563" fmla="*/ 542258 w 3359086"/>
                <a:gd name="connsiteY22563" fmla="*/ 469678 h 3355086"/>
                <a:gd name="connsiteX22564" fmla="*/ 545115 w 3359086"/>
                <a:gd name="connsiteY22564" fmla="*/ 466821 h 3355086"/>
                <a:gd name="connsiteX22565" fmla="*/ 550544 w 3359086"/>
                <a:gd name="connsiteY22565" fmla="*/ 472250 h 3355086"/>
                <a:gd name="connsiteX22566" fmla="*/ 553878 w 3359086"/>
                <a:gd name="connsiteY22566" fmla="*/ 468916 h 3355086"/>
                <a:gd name="connsiteX22567" fmla="*/ 560069 w 3359086"/>
                <a:gd name="connsiteY22567" fmla="*/ 475107 h 3355086"/>
                <a:gd name="connsiteX22568" fmla="*/ 553878 w 3359086"/>
                <a:gd name="connsiteY22568" fmla="*/ 481298 h 3355086"/>
                <a:gd name="connsiteX22569" fmla="*/ 548449 w 3359086"/>
                <a:gd name="connsiteY22569" fmla="*/ 475869 h 3355086"/>
                <a:gd name="connsiteX22570" fmla="*/ 545115 w 3359086"/>
                <a:gd name="connsiteY22570" fmla="*/ 479203 h 3355086"/>
                <a:gd name="connsiteX22571" fmla="*/ 539781 w 3359086"/>
                <a:gd name="connsiteY22571" fmla="*/ 473869 h 3355086"/>
                <a:gd name="connsiteX22572" fmla="*/ 536924 w 3359086"/>
                <a:gd name="connsiteY22572" fmla="*/ 476726 h 3355086"/>
                <a:gd name="connsiteX22573" fmla="*/ 530733 w 3359086"/>
                <a:gd name="connsiteY22573" fmla="*/ 470535 h 3355086"/>
                <a:gd name="connsiteX22574" fmla="*/ 536924 w 3359086"/>
                <a:gd name="connsiteY22574" fmla="*/ 464344 h 3355086"/>
                <a:gd name="connsiteX22575" fmla="*/ 2128075 w 3359086"/>
                <a:gd name="connsiteY22575" fmla="*/ 463487 h 3355086"/>
                <a:gd name="connsiteX22576" fmla="*/ 2134267 w 3359086"/>
                <a:gd name="connsiteY22576" fmla="*/ 469678 h 3355086"/>
                <a:gd name="connsiteX22577" fmla="*/ 2128075 w 3359086"/>
                <a:gd name="connsiteY22577" fmla="*/ 475869 h 3355086"/>
                <a:gd name="connsiteX22578" fmla="*/ 2121884 w 3359086"/>
                <a:gd name="connsiteY22578" fmla="*/ 469678 h 3355086"/>
                <a:gd name="connsiteX22579" fmla="*/ 2128075 w 3359086"/>
                <a:gd name="connsiteY22579" fmla="*/ 463487 h 3355086"/>
                <a:gd name="connsiteX22580" fmla="*/ 590930 w 3359086"/>
                <a:gd name="connsiteY22580" fmla="*/ 463201 h 3355086"/>
                <a:gd name="connsiteX22581" fmla="*/ 597121 w 3359086"/>
                <a:gd name="connsiteY22581" fmla="*/ 469392 h 3355086"/>
                <a:gd name="connsiteX22582" fmla="*/ 590930 w 3359086"/>
                <a:gd name="connsiteY22582" fmla="*/ 475583 h 3355086"/>
                <a:gd name="connsiteX22583" fmla="*/ 584739 w 3359086"/>
                <a:gd name="connsiteY22583" fmla="*/ 469392 h 3355086"/>
                <a:gd name="connsiteX22584" fmla="*/ 590930 w 3359086"/>
                <a:gd name="connsiteY22584" fmla="*/ 463201 h 3355086"/>
                <a:gd name="connsiteX22585" fmla="*/ 2800540 w 3359086"/>
                <a:gd name="connsiteY22585" fmla="*/ 463106 h 3355086"/>
                <a:gd name="connsiteX22586" fmla="*/ 2806732 w 3359086"/>
                <a:gd name="connsiteY22586" fmla="*/ 469297 h 3355086"/>
                <a:gd name="connsiteX22587" fmla="*/ 2800540 w 3359086"/>
                <a:gd name="connsiteY22587" fmla="*/ 475488 h 3355086"/>
                <a:gd name="connsiteX22588" fmla="*/ 2797968 w 3359086"/>
                <a:gd name="connsiteY22588" fmla="*/ 472916 h 3355086"/>
                <a:gd name="connsiteX22589" fmla="*/ 2792063 w 3359086"/>
                <a:gd name="connsiteY22589" fmla="*/ 478821 h 3355086"/>
                <a:gd name="connsiteX22590" fmla="*/ 2789063 w 3359086"/>
                <a:gd name="connsiteY22590" fmla="*/ 475821 h 3355086"/>
                <a:gd name="connsiteX22591" fmla="*/ 2783871 w 3359086"/>
                <a:gd name="connsiteY22591" fmla="*/ 481013 h 3355086"/>
                <a:gd name="connsiteX22592" fmla="*/ 2777680 w 3359086"/>
                <a:gd name="connsiteY22592" fmla="*/ 474821 h 3355086"/>
                <a:gd name="connsiteX22593" fmla="*/ 2783871 w 3359086"/>
                <a:gd name="connsiteY22593" fmla="*/ 468630 h 3355086"/>
                <a:gd name="connsiteX22594" fmla="*/ 2786872 w 3359086"/>
                <a:gd name="connsiteY22594" fmla="*/ 471630 h 3355086"/>
                <a:gd name="connsiteX22595" fmla="*/ 2792063 w 3359086"/>
                <a:gd name="connsiteY22595" fmla="*/ 466439 h 3355086"/>
                <a:gd name="connsiteX22596" fmla="*/ 2794635 w 3359086"/>
                <a:gd name="connsiteY22596" fmla="*/ 469011 h 3355086"/>
                <a:gd name="connsiteX22597" fmla="*/ 2697765 w 3359086"/>
                <a:gd name="connsiteY22597" fmla="*/ 462058 h 3355086"/>
                <a:gd name="connsiteX22598" fmla="*/ 2703957 w 3359086"/>
                <a:gd name="connsiteY22598" fmla="*/ 468249 h 3355086"/>
                <a:gd name="connsiteX22599" fmla="*/ 2697765 w 3359086"/>
                <a:gd name="connsiteY22599" fmla="*/ 474440 h 3355086"/>
                <a:gd name="connsiteX22600" fmla="*/ 2691574 w 3359086"/>
                <a:gd name="connsiteY22600" fmla="*/ 468249 h 3355086"/>
                <a:gd name="connsiteX22601" fmla="*/ 2697765 w 3359086"/>
                <a:gd name="connsiteY22601" fmla="*/ 462058 h 3355086"/>
                <a:gd name="connsiteX22602" fmla="*/ 2751296 w 3359086"/>
                <a:gd name="connsiteY22602" fmla="*/ 461010 h 3355086"/>
                <a:gd name="connsiteX22603" fmla="*/ 2757487 w 3359086"/>
                <a:gd name="connsiteY22603" fmla="*/ 467201 h 3355086"/>
                <a:gd name="connsiteX22604" fmla="*/ 2751296 w 3359086"/>
                <a:gd name="connsiteY22604" fmla="*/ 473392 h 3355086"/>
                <a:gd name="connsiteX22605" fmla="*/ 2745105 w 3359086"/>
                <a:gd name="connsiteY22605" fmla="*/ 467201 h 3355086"/>
                <a:gd name="connsiteX22606" fmla="*/ 2751296 w 3359086"/>
                <a:gd name="connsiteY22606" fmla="*/ 461010 h 3355086"/>
                <a:gd name="connsiteX22607" fmla="*/ 2828829 w 3359086"/>
                <a:gd name="connsiteY22607" fmla="*/ 460629 h 3355086"/>
                <a:gd name="connsiteX22608" fmla="*/ 2835021 w 3359086"/>
                <a:gd name="connsiteY22608" fmla="*/ 466820 h 3355086"/>
                <a:gd name="connsiteX22609" fmla="*/ 2828829 w 3359086"/>
                <a:gd name="connsiteY22609" fmla="*/ 473012 h 3355086"/>
                <a:gd name="connsiteX22610" fmla="*/ 2822638 w 3359086"/>
                <a:gd name="connsiteY22610" fmla="*/ 466820 h 3355086"/>
                <a:gd name="connsiteX22611" fmla="*/ 2828829 w 3359086"/>
                <a:gd name="connsiteY22611" fmla="*/ 460629 h 3355086"/>
                <a:gd name="connsiteX22612" fmla="*/ 527589 w 3359086"/>
                <a:gd name="connsiteY22612" fmla="*/ 459772 h 3355086"/>
                <a:gd name="connsiteX22613" fmla="*/ 533780 w 3359086"/>
                <a:gd name="connsiteY22613" fmla="*/ 465963 h 3355086"/>
                <a:gd name="connsiteX22614" fmla="*/ 527589 w 3359086"/>
                <a:gd name="connsiteY22614" fmla="*/ 472155 h 3355086"/>
                <a:gd name="connsiteX22615" fmla="*/ 521398 w 3359086"/>
                <a:gd name="connsiteY22615" fmla="*/ 465963 h 3355086"/>
                <a:gd name="connsiteX22616" fmla="*/ 527589 w 3359086"/>
                <a:gd name="connsiteY22616" fmla="*/ 459772 h 3355086"/>
                <a:gd name="connsiteX22617" fmla="*/ 2549175 w 3359086"/>
                <a:gd name="connsiteY22617" fmla="*/ 458629 h 3355086"/>
                <a:gd name="connsiteX22618" fmla="*/ 2555366 w 3359086"/>
                <a:gd name="connsiteY22618" fmla="*/ 464820 h 3355086"/>
                <a:gd name="connsiteX22619" fmla="*/ 2549175 w 3359086"/>
                <a:gd name="connsiteY22619" fmla="*/ 471011 h 3355086"/>
                <a:gd name="connsiteX22620" fmla="*/ 2542984 w 3359086"/>
                <a:gd name="connsiteY22620" fmla="*/ 464820 h 3355086"/>
                <a:gd name="connsiteX22621" fmla="*/ 2549175 w 3359086"/>
                <a:gd name="connsiteY22621" fmla="*/ 458629 h 3355086"/>
                <a:gd name="connsiteX22622" fmla="*/ 574738 w 3359086"/>
                <a:gd name="connsiteY22622" fmla="*/ 458058 h 3355086"/>
                <a:gd name="connsiteX22623" fmla="*/ 580930 w 3359086"/>
                <a:gd name="connsiteY22623" fmla="*/ 464249 h 3355086"/>
                <a:gd name="connsiteX22624" fmla="*/ 574738 w 3359086"/>
                <a:gd name="connsiteY22624" fmla="*/ 470440 h 3355086"/>
                <a:gd name="connsiteX22625" fmla="*/ 568547 w 3359086"/>
                <a:gd name="connsiteY22625" fmla="*/ 464249 h 3355086"/>
                <a:gd name="connsiteX22626" fmla="*/ 574738 w 3359086"/>
                <a:gd name="connsiteY22626" fmla="*/ 458058 h 3355086"/>
                <a:gd name="connsiteX22627" fmla="*/ 2656807 w 3359086"/>
                <a:gd name="connsiteY22627" fmla="*/ 457581 h 3355086"/>
                <a:gd name="connsiteX22628" fmla="*/ 2662998 w 3359086"/>
                <a:gd name="connsiteY22628" fmla="*/ 463772 h 3355086"/>
                <a:gd name="connsiteX22629" fmla="*/ 2656807 w 3359086"/>
                <a:gd name="connsiteY22629" fmla="*/ 469964 h 3355086"/>
                <a:gd name="connsiteX22630" fmla="*/ 2650616 w 3359086"/>
                <a:gd name="connsiteY22630" fmla="*/ 463772 h 3355086"/>
                <a:gd name="connsiteX22631" fmla="*/ 2656807 w 3359086"/>
                <a:gd name="connsiteY22631" fmla="*/ 457581 h 3355086"/>
                <a:gd name="connsiteX22632" fmla="*/ 2321051 w 3359086"/>
                <a:gd name="connsiteY22632" fmla="*/ 457486 h 3355086"/>
                <a:gd name="connsiteX22633" fmla="*/ 2327243 w 3359086"/>
                <a:gd name="connsiteY22633" fmla="*/ 463677 h 3355086"/>
                <a:gd name="connsiteX22634" fmla="*/ 2321051 w 3359086"/>
                <a:gd name="connsiteY22634" fmla="*/ 469868 h 3355086"/>
                <a:gd name="connsiteX22635" fmla="*/ 2314860 w 3359086"/>
                <a:gd name="connsiteY22635" fmla="*/ 463677 h 3355086"/>
                <a:gd name="connsiteX22636" fmla="*/ 2321051 w 3359086"/>
                <a:gd name="connsiteY22636" fmla="*/ 457486 h 3355086"/>
                <a:gd name="connsiteX22637" fmla="*/ 2811017 w 3359086"/>
                <a:gd name="connsiteY22637" fmla="*/ 456914 h 3355086"/>
                <a:gd name="connsiteX22638" fmla="*/ 2817208 w 3359086"/>
                <a:gd name="connsiteY22638" fmla="*/ 463105 h 3355086"/>
                <a:gd name="connsiteX22639" fmla="*/ 2811017 w 3359086"/>
                <a:gd name="connsiteY22639" fmla="*/ 469296 h 3355086"/>
                <a:gd name="connsiteX22640" fmla="*/ 2804826 w 3359086"/>
                <a:gd name="connsiteY22640" fmla="*/ 463105 h 3355086"/>
                <a:gd name="connsiteX22641" fmla="*/ 2811017 w 3359086"/>
                <a:gd name="connsiteY22641" fmla="*/ 456914 h 3355086"/>
                <a:gd name="connsiteX22642" fmla="*/ 2607754 w 3359086"/>
                <a:gd name="connsiteY22642" fmla="*/ 456153 h 3355086"/>
                <a:gd name="connsiteX22643" fmla="*/ 2613945 w 3359086"/>
                <a:gd name="connsiteY22643" fmla="*/ 462344 h 3355086"/>
                <a:gd name="connsiteX22644" fmla="*/ 2607754 w 3359086"/>
                <a:gd name="connsiteY22644" fmla="*/ 468535 h 3355086"/>
                <a:gd name="connsiteX22645" fmla="*/ 2601563 w 3359086"/>
                <a:gd name="connsiteY22645" fmla="*/ 462344 h 3355086"/>
                <a:gd name="connsiteX22646" fmla="*/ 2607754 w 3359086"/>
                <a:gd name="connsiteY22646" fmla="*/ 456153 h 3355086"/>
                <a:gd name="connsiteX22647" fmla="*/ 1253203 w 3359086"/>
                <a:gd name="connsiteY22647" fmla="*/ 455295 h 3355086"/>
                <a:gd name="connsiteX22648" fmla="*/ 1259395 w 3359086"/>
                <a:gd name="connsiteY22648" fmla="*/ 461486 h 3355086"/>
                <a:gd name="connsiteX22649" fmla="*/ 1253203 w 3359086"/>
                <a:gd name="connsiteY22649" fmla="*/ 467677 h 3355086"/>
                <a:gd name="connsiteX22650" fmla="*/ 1247012 w 3359086"/>
                <a:gd name="connsiteY22650" fmla="*/ 461486 h 3355086"/>
                <a:gd name="connsiteX22651" fmla="*/ 1253203 w 3359086"/>
                <a:gd name="connsiteY22651" fmla="*/ 455295 h 3355086"/>
                <a:gd name="connsiteX22652" fmla="*/ 2783681 w 3359086"/>
                <a:gd name="connsiteY22652" fmla="*/ 454819 h 3355086"/>
                <a:gd name="connsiteX22653" fmla="*/ 2789872 w 3359086"/>
                <a:gd name="connsiteY22653" fmla="*/ 461010 h 3355086"/>
                <a:gd name="connsiteX22654" fmla="*/ 2783681 w 3359086"/>
                <a:gd name="connsiteY22654" fmla="*/ 467201 h 3355086"/>
                <a:gd name="connsiteX22655" fmla="*/ 2779919 w 3359086"/>
                <a:gd name="connsiteY22655" fmla="*/ 463439 h 3355086"/>
                <a:gd name="connsiteX22656" fmla="*/ 2774632 w 3359086"/>
                <a:gd name="connsiteY22656" fmla="*/ 468725 h 3355086"/>
                <a:gd name="connsiteX22657" fmla="*/ 2770346 w 3359086"/>
                <a:gd name="connsiteY22657" fmla="*/ 464439 h 3355086"/>
                <a:gd name="connsiteX22658" fmla="*/ 2764631 w 3359086"/>
                <a:gd name="connsiteY22658" fmla="*/ 470154 h 3355086"/>
                <a:gd name="connsiteX22659" fmla="*/ 2758440 w 3359086"/>
                <a:gd name="connsiteY22659" fmla="*/ 463963 h 3355086"/>
                <a:gd name="connsiteX22660" fmla="*/ 2764631 w 3359086"/>
                <a:gd name="connsiteY22660" fmla="*/ 457772 h 3355086"/>
                <a:gd name="connsiteX22661" fmla="*/ 2768917 w 3359086"/>
                <a:gd name="connsiteY22661" fmla="*/ 462058 h 3355086"/>
                <a:gd name="connsiteX22662" fmla="*/ 2774632 w 3359086"/>
                <a:gd name="connsiteY22662" fmla="*/ 456343 h 3355086"/>
                <a:gd name="connsiteX22663" fmla="*/ 2778395 w 3359086"/>
                <a:gd name="connsiteY22663" fmla="*/ 460105 h 3355086"/>
                <a:gd name="connsiteX22664" fmla="*/ 621315 w 3359086"/>
                <a:gd name="connsiteY22664" fmla="*/ 454724 h 3355086"/>
                <a:gd name="connsiteX22665" fmla="*/ 627506 w 3359086"/>
                <a:gd name="connsiteY22665" fmla="*/ 460915 h 3355086"/>
                <a:gd name="connsiteX22666" fmla="*/ 621315 w 3359086"/>
                <a:gd name="connsiteY22666" fmla="*/ 467106 h 3355086"/>
                <a:gd name="connsiteX22667" fmla="*/ 615124 w 3359086"/>
                <a:gd name="connsiteY22667" fmla="*/ 460915 h 3355086"/>
                <a:gd name="connsiteX22668" fmla="*/ 621315 w 3359086"/>
                <a:gd name="connsiteY22668" fmla="*/ 454724 h 3355086"/>
                <a:gd name="connsiteX22669" fmla="*/ 888872 w 3359086"/>
                <a:gd name="connsiteY22669" fmla="*/ 453105 h 3355086"/>
                <a:gd name="connsiteX22670" fmla="*/ 895064 w 3359086"/>
                <a:gd name="connsiteY22670" fmla="*/ 459296 h 3355086"/>
                <a:gd name="connsiteX22671" fmla="*/ 888872 w 3359086"/>
                <a:gd name="connsiteY22671" fmla="*/ 465487 h 3355086"/>
                <a:gd name="connsiteX22672" fmla="*/ 882681 w 3359086"/>
                <a:gd name="connsiteY22672" fmla="*/ 459296 h 3355086"/>
                <a:gd name="connsiteX22673" fmla="*/ 888872 w 3359086"/>
                <a:gd name="connsiteY22673" fmla="*/ 453105 h 3355086"/>
                <a:gd name="connsiteX22674" fmla="*/ 544639 w 3359086"/>
                <a:gd name="connsiteY22674" fmla="*/ 452628 h 3355086"/>
                <a:gd name="connsiteX22675" fmla="*/ 550450 w 3359086"/>
                <a:gd name="connsiteY22675" fmla="*/ 458438 h 3355086"/>
                <a:gd name="connsiteX22676" fmla="*/ 553878 w 3359086"/>
                <a:gd name="connsiteY22676" fmla="*/ 455009 h 3355086"/>
                <a:gd name="connsiteX22677" fmla="*/ 559117 w 3359086"/>
                <a:gd name="connsiteY22677" fmla="*/ 460248 h 3355086"/>
                <a:gd name="connsiteX22678" fmla="*/ 563212 w 3359086"/>
                <a:gd name="connsiteY22678" fmla="*/ 456153 h 3355086"/>
                <a:gd name="connsiteX22679" fmla="*/ 569403 w 3359086"/>
                <a:gd name="connsiteY22679" fmla="*/ 462344 h 3355086"/>
                <a:gd name="connsiteX22680" fmla="*/ 563212 w 3359086"/>
                <a:gd name="connsiteY22680" fmla="*/ 468535 h 3355086"/>
                <a:gd name="connsiteX22681" fmla="*/ 557973 w 3359086"/>
                <a:gd name="connsiteY22681" fmla="*/ 463296 h 3355086"/>
                <a:gd name="connsiteX22682" fmla="*/ 553878 w 3359086"/>
                <a:gd name="connsiteY22682" fmla="*/ 467392 h 3355086"/>
                <a:gd name="connsiteX22683" fmla="*/ 548068 w 3359086"/>
                <a:gd name="connsiteY22683" fmla="*/ 461582 h 3355086"/>
                <a:gd name="connsiteX22684" fmla="*/ 544639 w 3359086"/>
                <a:gd name="connsiteY22684" fmla="*/ 465011 h 3355086"/>
                <a:gd name="connsiteX22685" fmla="*/ 538448 w 3359086"/>
                <a:gd name="connsiteY22685" fmla="*/ 458819 h 3355086"/>
                <a:gd name="connsiteX22686" fmla="*/ 544639 w 3359086"/>
                <a:gd name="connsiteY22686" fmla="*/ 452628 h 3355086"/>
                <a:gd name="connsiteX22687" fmla="*/ 533781 w 3359086"/>
                <a:gd name="connsiteY22687" fmla="*/ 451866 h 3355086"/>
                <a:gd name="connsiteX22688" fmla="*/ 535590 w 3359086"/>
                <a:gd name="connsiteY22688" fmla="*/ 453676 h 3355086"/>
                <a:gd name="connsiteX22689" fmla="*/ 533781 w 3359086"/>
                <a:gd name="connsiteY22689" fmla="*/ 455485 h 3355086"/>
                <a:gd name="connsiteX22690" fmla="*/ 531971 w 3359086"/>
                <a:gd name="connsiteY22690" fmla="*/ 453676 h 3355086"/>
                <a:gd name="connsiteX22691" fmla="*/ 533781 w 3359086"/>
                <a:gd name="connsiteY22691" fmla="*/ 451866 h 3355086"/>
                <a:gd name="connsiteX22692" fmla="*/ 2824638 w 3359086"/>
                <a:gd name="connsiteY22692" fmla="*/ 451771 h 3355086"/>
                <a:gd name="connsiteX22693" fmla="*/ 2825876 w 3359086"/>
                <a:gd name="connsiteY22693" fmla="*/ 453009 h 3355086"/>
                <a:gd name="connsiteX22694" fmla="*/ 2824638 w 3359086"/>
                <a:gd name="connsiteY22694" fmla="*/ 454248 h 3355086"/>
                <a:gd name="connsiteX22695" fmla="*/ 2823400 w 3359086"/>
                <a:gd name="connsiteY22695" fmla="*/ 453009 h 3355086"/>
                <a:gd name="connsiteX22696" fmla="*/ 2824638 w 3359086"/>
                <a:gd name="connsiteY22696" fmla="*/ 451771 h 3355086"/>
                <a:gd name="connsiteX22697" fmla="*/ 2793491 w 3359086"/>
                <a:gd name="connsiteY22697" fmla="*/ 451200 h 3355086"/>
                <a:gd name="connsiteX22698" fmla="*/ 2799682 w 3359086"/>
                <a:gd name="connsiteY22698" fmla="*/ 457391 h 3355086"/>
                <a:gd name="connsiteX22699" fmla="*/ 2793491 w 3359086"/>
                <a:gd name="connsiteY22699" fmla="*/ 463582 h 3355086"/>
                <a:gd name="connsiteX22700" fmla="*/ 2787300 w 3359086"/>
                <a:gd name="connsiteY22700" fmla="*/ 457391 h 3355086"/>
                <a:gd name="connsiteX22701" fmla="*/ 2793491 w 3359086"/>
                <a:gd name="connsiteY22701" fmla="*/ 451200 h 3355086"/>
                <a:gd name="connsiteX22702" fmla="*/ 2724340 w 3359086"/>
                <a:gd name="connsiteY22702" fmla="*/ 451200 h 3355086"/>
                <a:gd name="connsiteX22703" fmla="*/ 2730532 w 3359086"/>
                <a:gd name="connsiteY22703" fmla="*/ 457391 h 3355086"/>
                <a:gd name="connsiteX22704" fmla="*/ 2724340 w 3359086"/>
                <a:gd name="connsiteY22704" fmla="*/ 463582 h 3355086"/>
                <a:gd name="connsiteX22705" fmla="*/ 2718149 w 3359086"/>
                <a:gd name="connsiteY22705" fmla="*/ 457391 h 3355086"/>
                <a:gd name="connsiteX22706" fmla="*/ 2724340 w 3359086"/>
                <a:gd name="connsiteY22706" fmla="*/ 451200 h 3355086"/>
                <a:gd name="connsiteX22707" fmla="*/ 2035587 w 3359086"/>
                <a:gd name="connsiteY22707" fmla="*/ 448818 h 3355086"/>
                <a:gd name="connsiteX22708" fmla="*/ 2041779 w 3359086"/>
                <a:gd name="connsiteY22708" fmla="*/ 455009 h 3355086"/>
                <a:gd name="connsiteX22709" fmla="*/ 2035587 w 3359086"/>
                <a:gd name="connsiteY22709" fmla="*/ 461200 h 3355086"/>
                <a:gd name="connsiteX22710" fmla="*/ 2029396 w 3359086"/>
                <a:gd name="connsiteY22710" fmla="*/ 455009 h 3355086"/>
                <a:gd name="connsiteX22711" fmla="*/ 2035587 w 3359086"/>
                <a:gd name="connsiteY22711" fmla="*/ 448818 h 3355086"/>
                <a:gd name="connsiteX22712" fmla="*/ 657701 w 3359086"/>
                <a:gd name="connsiteY22712" fmla="*/ 447771 h 3355086"/>
                <a:gd name="connsiteX22713" fmla="*/ 663892 w 3359086"/>
                <a:gd name="connsiteY22713" fmla="*/ 453962 h 3355086"/>
                <a:gd name="connsiteX22714" fmla="*/ 657701 w 3359086"/>
                <a:gd name="connsiteY22714" fmla="*/ 460153 h 3355086"/>
                <a:gd name="connsiteX22715" fmla="*/ 651510 w 3359086"/>
                <a:gd name="connsiteY22715" fmla="*/ 453962 h 3355086"/>
                <a:gd name="connsiteX22716" fmla="*/ 657701 w 3359086"/>
                <a:gd name="connsiteY22716" fmla="*/ 447771 h 3355086"/>
                <a:gd name="connsiteX22717" fmla="*/ 599122 w 3359086"/>
                <a:gd name="connsiteY22717" fmla="*/ 447389 h 3355086"/>
                <a:gd name="connsiteX22718" fmla="*/ 605313 w 3359086"/>
                <a:gd name="connsiteY22718" fmla="*/ 453580 h 3355086"/>
                <a:gd name="connsiteX22719" fmla="*/ 599122 w 3359086"/>
                <a:gd name="connsiteY22719" fmla="*/ 459771 h 3355086"/>
                <a:gd name="connsiteX22720" fmla="*/ 592931 w 3359086"/>
                <a:gd name="connsiteY22720" fmla="*/ 453580 h 3355086"/>
                <a:gd name="connsiteX22721" fmla="*/ 599122 w 3359086"/>
                <a:gd name="connsiteY22721" fmla="*/ 447389 h 3355086"/>
                <a:gd name="connsiteX22722" fmla="*/ 2742532 w 3359086"/>
                <a:gd name="connsiteY22722" fmla="*/ 446532 h 3355086"/>
                <a:gd name="connsiteX22723" fmla="*/ 2748723 w 3359086"/>
                <a:gd name="connsiteY22723" fmla="*/ 452723 h 3355086"/>
                <a:gd name="connsiteX22724" fmla="*/ 2742532 w 3359086"/>
                <a:gd name="connsiteY22724" fmla="*/ 458914 h 3355086"/>
                <a:gd name="connsiteX22725" fmla="*/ 2736341 w 3359086"/>
                <a:gd name="connsiteY22725" fmla="*/ 452723 h 3355086"/>
                <a:gd name="connsiteX22726" fmla="*/ 2742532 w 3359086"/>
                <a:gd name="connsiteY22726" fmla="*/ 446532 h 3355086"/>
                <a:gd name="connsiteX22727" fmla="*/ 1053750 w 3359086"/>
                <a:gd name="connsiteY22727" fmla="*/ 446437 h 3355086"/>
                <a:gd name="connsiteX22728" fmla="*/ 1059941 w 3359086"/>
                <a:gd name="connsiteY22728" fmla="*/ 452628 h 3355086"/>
                <a:gd name="connsiteX22729" fmla="*/ 1053750 w 3359086"/>
                <a:gd name="connsiteY22729" fmla="*/ 458819 h 3355086"/>
                <a:gd name="connsiteX22730" fmla="*/ 1047559 w 3359086"/>
                <a:gd name="connsiteY22730" fmla="*/ 452628 h 3355086"/>
                <a:gd name="connsiteX22731" fmla="*/ 1053750 w 3359086"/>
                <a:gd name="connsiteY22731" fmla="*/ 446437 h 3355086"/>
                <a:gd name="connsiteX22732" fmla="*/ 815530 w 3359086"/>
                <a:gd name="connsiteY22732" fmla="*/ 445008 h 3355086"/>
                <a:gd name="connsiteX22733" fmla="*/ 821721 w 3359086"/>
                <a:gd name="connsiteY22733" fmla="*/ 451199 h 3355086"/>
                <a:gd name="connsiteX22734" fmla="*/ 815530 w 3359086"/>
                <a:gd name="connsiteY22734" fmla="*/ 457390 h 3355086"/>
                <a:gd name="connsiteX22735" fmla="*/ 809339 w 3359086"/>
                <a:gd name="connsiteY22735" fmla="*/ 451199 h 3355086"/>
                <a:gd name="connsiteX22736" fmla="*/ 815530 w 3359086"/>
                <a:gd name="connsiteY22736" fmla="*/ 445008 h 3355086"/>
                <a:gd name="connsiteX22737" fmla="*/ 2805683 w 3359086"/>
                <a:gd name="connsiteY22737" fmla="*/ 444246 h 3355086"/>
                <a:gd name="connsiteX22738" fmla="*/ 2811874 w 3359086"/>
                <a:gd name="connsiteY22738" fmla="*/ 450437 h 3355086"/>
                <a:gd name="connsiteX22739" fmla="*/ 2805683 w 3359086"/>
                <a:gd name="connsiteY22739" fmla="*/ 456628 h 3355086"/>
                <a:gd name="connsiteX22740" fmla="*/ 2799492 w 3359086"/>
                <a:gd name="connsiteY22740" fmla="*/ 450437 h 3355086"/>
                <a:gd name="connsiteX22741" fmla="*/ 2805683 w 3359086"/>
                <a:gd name="connsiteY22741" fmla="*/ 444246 h 3355086"/>
                <a:gd name="connsiteX22742" fmla="*/ 562165 w 3359086"/>
                <a:gd name="connsiteY22742" fmla="*/ 443675 h 3355086"/>
                <a:gd name="connsiteX22743" fmla="*/ 567499 w 3359086"/>
                <a:gd name="connsiteY22743" fmla="*/ 449009 h 3355086"/>
                <a:gd name="connsiteX22744" fmla="*/ 572166 w 3359086"/>
                <a:gd name="connsiteY22744" fmla="*/ 444341 h 3355086"/>
                <a:gd name="connsiteX22745" fmla="*/ 578168 w 3359086"/>
                <a:gd name="connsiteY22745" fmla="*/ 450342 h 3355086"/>
                <a:gd name="connsiteX22746" fmla="*/ 583691 w 3359086"/>
                <a:gd name="connsiteY22746" fmla="*/ 444818 h 3355086"/>
                <a:gd name="connsiteX22747" fmla="*/ 589882 w 3359086"/>
                <a:gd name="connsiteY22747" fmla="*/ 451009 h 3355086"/>
                <a:gd name="connsiteX22748" fmla="*/ 583691 w 3359086"/>
                <a:gd name="connsiteY22748" fmla="*/ 457201 h 3355086"/>
                <a:gd name="connsiteX22749" fmla="*/ 577690 w 3359086"/>
                <a:gd name="connsiteY22749" fmla="*/ 451200 h 3355086"/>
                <a:gd name="connsiteX22750" fmla="*/ 572166 w 3359086"/>
                <a:gd name="connsiteY22750" fmla="*/ 456723 h 3355086"/>
                <a:gd name="connsiteX22751" fmla="*/ 566833 w 3359086"/>
                <a:gd name="connsiteY22751" fmla="*/ 451390 h 3355086"/>
                <a:gd name="connsiteX22752" fmla="*/ 562165 w 3359086"/>
                <a:gd name="connsiteY22752" fmla="*/ 456058 h 3355086"/>
                <a:gd name="connsiteX22753" fmla="*/ 555974 w 3359086"/>
                <a:gd name="connsiteY22753" fmla="*/ 449866 h 3355086"/>
                <a:gd name="connsiteX22754" fmla="*/ 562165 w 3359086"/>
                <a:gd name="connsiteY22754" fmla="*/ 443675 h 3355086"/>
                <a:gd name="connsiteX22755" fmla="*/ 2775965 w 3359086"/>
                <a:gd name="connsiteY22755" fmla="*/ 443484 h 3355086"/>
                <a:gd name="connsiteX22756" fmla="*/ 2782156 w 3359086"/>
                <a:gd name="connsiteY22756" fmla="*/ 449675 h 3355086"/>
                <a:gd name="connsiteX22757" fmla="*/ 2775965 w 3359086"/>
                <a:gd name="connsiteY22757" fmla="*/ 455866 h 3355086"/>
                <a:gd name="connsiteX22758" fmla="*/ 2771679 w 3359086"/>
                <a:gd name="connsiteY22758" fmla="*/ 451581 h 3355086"/>
                <a:gd name="connsiteX22759" fmla="*/ 2765964 w 3359086"/>
                <a:gd name="connsiteY22759" fmla="*/ 457295 h 3355086"/>
                <a:gd name="connsiteX22760" fmla="*/ 2760964 w 3359086"/>
                <a:gd name="connsiteY22760" fmla="*/ 452295 h 3355086"/>
                <a:gd name="connsiteX22761" fmla="*/ 2755582 w 3359086"/>
                <a:gd name="connsiteY22761" fmla="*/ 457676 h 3355086"/>
                <a:gd name="connsiteX22762" fmla="*/ 2749391 w 3359086"/>
                <a:gd name="connsiteY22762" fmla="*/ 451485 h 3355086"/>
                <a:gd name="connsiteX22763" fmla="*/ 2755582 w 3359086"/>
                <a:gd name="connsiteY22763" fmla="*/ 445294 h 3355086"/>
                <a:gd name="connsiteX22764" fmla="*/ 2760583 w 3359086"/>
                <a:gd name="connsiteY22764" fmla="*/ 450294 h 3355086"/>
                <a:gd name="connsiteX22765" fmla="*/ 2765964 w 3359086"/>
                <a:gd name="connsiteY22765" fmla="*/ 444913 h 3355086"/>
                <a:gd name="connsiteX22766" fmla="*/ 2770250 w 3359086"/>
                <a:gd name="connsiteY22766" fmla="*/ 449199 h 3355086"/>
                <a:gd name="connsiteX22767" fmla="*/ 701325 w 3359086"/>
                <a:gd name="connsiteY22767" fmla="*/ 443389 h 3355086"/>
                <a:gd name="connsiteX22768" fmla="*/ 707516 w 3359086"/>
                <a:gd name="connsiteY22768" fmla="*/ 449580 h 3355086"/>
                <a:gd name="connsiteX22769" fmla="*/ 701325 w 3359086"/>
                <a:gd name="connsiteY22769" fmla="*/ 455771 h 3355086"/>
                <a:gd name="connsiteX22770" fmla="*/ 695134 w 3359086"/>
                <a:gd name="connsiteY22770" fmla="*/ 449580 h 3355086"/>
                <a:gd name="connsiteX22771" fmla="*/ 701325 w 3359086"/>
                <a:gd name="connsiteY22771" fmla="*/ 443389 h 3355086"/>
                <a:gd name="connsiteX22772" fmla="*/ 2692145 w 3359086"/>
                <a:gd name="connsiteY22772" fmla="*/ 442436 h 3355086"/>
                <a:gd name="connsiteX22773" fmla="*/ 2698337 w 3359086"/>
                <a:gd name="connsiteY22773" fmla="*/ 448627 h 3355086"/>
                <a:gd name="connsiteX22774" fmla="*/ 2692145 w 3359086"/>
                <a:gd name="connsiteY22774" fmla="*/ 454819 h 3355086"/>
                <a:gd name="connsiteX22775" fmla="*/ 2685954 w 3359086"/>
                <a:gd name="connsiteY22775" fmla="*/ 448627 h 3355086"/>
                <a:gd name="connsiteX22776" fmla="*/ 2692145 w 3359086"/>
                <a:gd name="connsiteY22776" fmla="*/ 442436 h 3355086"/>
                <a:gd name="connsiteX22777" fmla="*/ 1347406 w 3359086"/>
                <a:gd name="connsiteY22777" fmla="*/ 442246 h 3355086"/>
                <a:gd name="connsiteX22778" fmla="*/ 1353598 w 3359086"/>
                <a:gd name="connsiteY22778" fmla="*/ 448437 h 3355086"/>
                <a:gd name="connsiteX22779" fmla="*/ 1347406 w 3359086"/>
                <a:gd name="connsiteY22779" fmla="*/ 454629 h 3355086"/>
                <a:gd name="connsiteX22780" fmla="*/ 1341215 w 3359086"/>
                <a:gd name="connsiteY22780" fmla="*/ 448437 h 3355086"/>
                <a:gd name="connsiteX22781" fmla="*/ 1347406 w 3359086"/>
                <a:gd name="connsiteY22781" fmla="*/ 442246 h 3355086"/>
                <a:gd name="connsiteX22782" fmla="*/ 2410872 w 3359086"/>
                <a:gd name="connsiteY22782" fmla="*/ 442151 h 3355086"/>
                <a:gd name="connsiteX22783" fmla="*/ 2417063 w 3359086"/>
                <a:gd name="connsiteY22783" fmla="*/ 448342 h 3355086"/>
                <a:gd name="connsiteX22784" fmla="*/ 2410872 w 3359086"/>
                <a:gd name="connsiteY22784" fmla="*/ 454533 h 3355086"/>
                <a:gd name="connsiteX22785" fmla="*/ 2404681 w 3359086"/>
                <a:gd name="connsiteY22785" fmla="*/ 448342 h 3355086"/>
                <a:gd name="connsiteX22786" fmla="*/ 2410872 w 3359086"/>
                <a:gd name="connsiteY22786" fmla="*/ 442151 h 3355086"/>
                <a:gd name="connsiteX22787" fmla="*/ 753427 w 3359086"/>
                <a:gd name="connsiteY22787" fmla="*/ 442056 h 3355086"/>
                <a:gd name="connsiteX22788" fmla="*/ 759619 w 3359086"/>
                <a:gd name="connsiteY22788" fmla="*/ 448247 h 3355086"/>
                <a:gd name="connsiteX22789" fmla="*/ 753427 w 3359086"/>
                <a:gd name="connsiteY22789" fmla="*/ 454438 h 3355086"/>
                <a:gd name="connsiteX22790" fmla="*/ 747236 w 3359086"/>
                <a:gd name="connsiteY22790" fmla="*/ 448247 h 3355086"/>
                <a:gd name="connsiteX22791" fmla="*/ 753427 w 3359086"/>
                <a:gd name="connsiteY22791" fmla="*/ 442056 h 3355086"/>
                <a:gd name="connsiteX22792" fmla="*/ 551687 w 3359086"/>
                <a:gd name="connsiteY22792" fmla="*/ 441103 h 3355086"/>
                <a:gd name="connsiteX22793" fmla="*/ 557878 w 3359086"/>
                <a:gd name="connsiteY22793" fmla="*/ 447294 h 3355086"/>
                <a:gd name="connsiteX22794" fmla="*/ 551687 w 3359086"/>
                <a:gd name="connsiteY22794" fmla="*/ 453485 h 3355086"/>
                <a:gd name="connsiteX22795" fmla="*/ 545496 w 3359086"/>
                <a:gd name="connsiteY22795" fmla="*/ 447294 h 3355086"/>
                <a:gd name="connsiteX22796" fmla="*/ 551687 w 3359086"/>
                <a:gd name="connsiteY22796" fmla="*/ 441103 h 3355086"/>
                <a:gd name="connsiteX22797" fmla="*/ 2787300 w 3359086"/>
                <a:gd name="connsiteY22797" fmla="*/ 439293 h 3355086"/>
                <a:gd name="connsiteX22798" fmla="*/ 2793491 w 3359086"/>
                <a:gd name="connsiteY22798" fmla="*/ 445484 h 3355086"/>
                <a:gd name="connsiteX22799" fmla="*/ 2787300 w 3359086"/>
                <a:gd name="connsiteY22799" fmla="*/ 451675 h 3355086"/>
                <a:gd name="connsiteX22800" fmla="*/ 2781109 w 3359086"/>
                <a:gd name="connsiteY22800" fmla="*/ 445484 h 3355086"/>
                <a:gd name="connsiteX22801" fmla="*/ 2787300 w 3359086"/>
                <a:gd name="connsiteY22801" fmla="*/ 439293 h 3355086"/>
                <a:gd name="connsiteX22802" fmla="*/ 1940051 w 3359086"/>
                <a:gd name="connsiteY22802" fmla="*/ 437293 h 3355086"/>
                <a:gd name="connsiteX22803" fmla="*/ 1946243 w 3359086"/>
                <a:gd name="connsiteY22803" fmla="*/ 443484 h 3355086"/>
                <a:gd name="connsiteX22804" fmla="*/ 1940051 w 3359086"/>
                <a:gd name="connsiteY22804" fmla="*/ 449675 h 3355086"/>
                <a:gd name="connsiteX22805" fmla="*/ 1933860 w 3359086"/>
                <a:gd name="connsiteY22805" fmla="*/ 443484 h 3355086"/>
                <a:gd name="connsiteX22806" fmla="*/ 1940051 w 3359086"/>
                <a:gd name="connsiteY22806" fmla="*/ 437293 h 3355086"/>
                <a:gd name="connsiteX22807" fmla="*/ 2240374 w 3359086"/>
                <a:gd name="connsiteY22807" fmla="*/ 437198 h 3355086"/>
                <a:gd name="connsiteX22808" fmla="*/ 2246566 w 3359086"/>
                <a:gd name="connsiteY22808" fmla="*/ 443389 h 3355086"/>
                <a:gd name="connsiteX22809" fmla="*/ 2240374 w 3359086"/>
                <a:gd name="connsiteY22809" fmla="*/ 449580 h 3355086"/>
                <a:gd name="connsiteX22810" fmla="*/ 2234183 w 3359086"/>
                <a:gd name="connsiteY22810" fmla="*/ 443389 h 3355086"/>
                <a:gd name="connsiteX22811" fmla="*/ 2240374 w 3359086"/>
                <a:gd name="connsiteY22811" fmla="*/ 437198 h 3355086"/>
                <a:gd name="connsiteX22812" fmla="*/ 627982 w 3359086"/>
                <a:gd name="connsiteY22812" fmla="*/ 437198 h 3355086"/>
                <a:gd name="connsiteX22813" fmla="*/ 634174 w 3359086"/>
                <a:gd name="connsiteY22813" fmla="*/ 443389 h 3355086"/>
                <a:gd name="connsiteX22814" fmla="*/ 627982 w 3359086"/>
                <a:gd name="connsiteY22814" fmla="*/ 449580 h 3355086"/>
                <a:gd name="connsiteX22815" fmla="*/ 621791 w 3359086"/>
                <a:gd name="connsiteY22815" fmla="*/ 443389 h 3355086"/>
                <a:gd name="connsiteX22816" fmla="*/ 627982 w 3359086"/>
                <a:gd name="connsiteY22816" fmla="*/ 437198 h 3355086"/>
                <a:gd name="connsiteX22817" fmla="*/ 2716720 w 3359086"/>
                <a:gd name="connsiteY22817" fmla="*/ 435483 h 3355086"/>
                <a:gd name="connsiteX22818" fmla="*/ 2722911 w 3359086"/>
                <a:gd name="connsiteY22818" fmla="*/ 441674 h 3355086"/>
                <a:gd name="connsiteX22819" fmla="*/ 2716720 w 3359086"/>
                <a:gd name="connsiteY22819" fmla="*/ 447865 h 3355086"/>
                <a:gd name="connsiteX22820" fmla="*/ 2710529 w 3359086"/>
                <a:gd name="connsiteY22820" fmla="*/ 441674 h 3355086"/>
                <a:gd name="connsiteX22821" fmla="*/ 2716720 w 3359086"/>
                <a:gd name="connsiteY22821" fmla="*/ 435483 h 3355086"/>
                <a:gd name="connsiteX22822" fmla="*/ 2653569 w 3359086"/>
                <a:gd name="connsiteY22822" fmla="*/ 435483 h 3355086"/>
                <a:gd name="connsiteX22823" fmla="*/ 2659760 w 3359086"/>
                <a:gd name="connsiteY22823" fmla="*/ 441674 h 3355086"/>
                <a:gd name="connsiteX22824" fmla="*/ 2653569 w 3359086"/>
                <a:gd name="connsiteY22824" fmla="*/ 447865 h 3355086"/>
                <a:gd name="connsiteX22825" fmla="*/ 2647378 w 3359086"/>
                <a:gd name="connsiteY22825" fmla="*/ 441674 h 3355086"/>
                <a:gd name="connsiteX22826" fmla="*/ 2653569 w 3359086"/>
                <a:gd name="connsiteY22826" fmla="*/ 435483 h 3355086"/>
                <a:gd name="connsiteX22827" fmla="*/ 2746819 w 3359086"/>
                <a:gd name="connsiteY22827" fmla="*/ 433769 h 3355086"/>
                <a:gd name="connsiteX22828" fmla="*/ 2752438 w 3359086"/>
                <a:gd name="connsiteY22828" fmla="*/ 439389 h 3355086"/>
                <a:gd name="connsiteX22829" fmla="*/ 2757868 w 3359086"/>
                <a:gd name="connsiteY22829" fmla="*/ 433959 h 3355086"/>
                <a:gd name="connsiteX22830" fmla="*/ 2764059 w 3359086"/>
                <a:gd name="connsiteY22830" fmla="*/ 440150 h 3355086"/>
                <a:gd name="connsiteX22831" fmla="*/ 2757868 w 3359086"/>
                <a:gd name="connsiteY22831" fmla="*/ 446341 h 3355086"/>
                <a:gd name="connsiteX22832" fmla="*/ 2752249 w 3359086"/>
                <a:gd name="connsiteY22832" fmla="*/ 440722 h 3355086"/>
                <a:gd name="connsiteX22833" fmla="*/ 2746819 w 3359086"/>
                <a:gd name="connsiteY22833" fmla="*/ 446152 h 3355086"/>
                <a:gd name="connsiteX22834" fmla="*/ 2740628 w 3359086"/>
                <a:gd name="connsiteY22834" fmla="*/ 439960 h 3355086"/>
                <a:gd name="connsiteX22835" fmla="*/ 2746819 w 3359086"/>
                <a:gd name="connsiteY22835" fmla="*/ 433769 h 3355086"/>
                <a:gd name="connsiteX22836" fmla="*/ 2733960 w 3359086"/>
                <a:gd name="connsiteY22836" fmla="*/ 433483 h 3355086"/>
                <a:gd name="connsiteX22837" fmla="*/ 2740151 w 3359086"/>
                <a:gd name="connsiteY22837" fmla="*/ 439674 h 3355086"/>
                <a:gd name="connsiteX22838" fmla="*/ 2733960 w 3359086"/>
                <a:gd name="connsiteY22838" fmla="*/ 445865 h 3355086"/>
                <a:gd name="connsiteX22839" fmla="*/ 2727769 w 3359086"/>
                <a:gd name="connsiteY22839" fmla="*/ 439674 h 3355086"/>
                <a:gd name="connsiteX22840" fmla="*/ 2733960 w 3359086"/>
                <a:gd name="connsiteY22840" fmla="*/ 433483 h 3355086"/>
                <a:gd name="connsiteX22841" fmla="*/ 2487548 w 3359086"/>
                <a:gd name="connsiteY22841" fmla="*/ 433388 h 3355086"/>
                <a:gd name="connsiteX22842" fmla="*/ 2493739 w 3359086"/>
                <a:gd name="connsiteY22842" fmla="*/ 439579 h 3355086"/>
                <a:gd name="connsiteX22843" fmla="*/ 2487548 w 3359086"/>
                <a:gd name="connsiteY22843" fmla="*/ 445770 h 3355086"/>
                <a:gd name="connsiteX22844" fmla="*/ 2481357 w 3359086"/>
                <a:gd name="connsiteY22844" fmla="*/ 439579 h 3355086"/>
                <a:gd name="connsiteX22845" fmla="*/ 2487548 w 3359086"/>
                <a:gd name="connsiteY22845" fmla="*/ 433388 h 3355086"/>
                <a:gd name="connsiteX22846" fmla="*/ 607313 w 3359086"/>
                <a:gd name="connsiteY22846" fmla="*/ 433197 h 3355086"/>
                <a:gd name="connsiteX22847" fmla="*/ 613505 w 3359086"/>
                <a:gd name="connsiteY22847" fmla="*/ 439388 h 3355086"/>
                <a:gd name="connsiteX22848" fmla="*/ 607313 w 3359086"/>
                <a:gd name="connsiteY22848" fmla="*/ 445579 h 3355086"/>
                <a:gd name="connsiteX22849" fmla="*/ 601122 w 3359086"/>
                <a:gd name="connsiteY22849" fmla="*/ 439388 h 3355086"/>
                <a:gd name="connsiteX22850" fmla="*/ 607313 w 3359086"/>
                <a:gd name="connsiteY22850" fmla="*/ 433197 h 3355086"/>
                <a:gd name="connsiteX22851" fmla="*/ 592454 w 3359086"/>
                <a:gd name="connsiteY22851" fmla="*/ 432626 h 3355086"/>
                <a:gd name="connsiteX22852" fmla="*/ 598645 w 3359086"/>
                <a:gd name="connsiteY22852" fmla="*/ 438817 h 3355086"/>
                <a:gd name="connsiteX22853" fmla="*/ 592454 w 3359086"/>
                <a:gd name="connsiteY22853" fmla="*/ 445008 h 3355086"/>
                <a:gd name="connsiteX22854" fmla="*/ 586835 w 3359086"/>
                <a:gd name="connsiteY22854" fmla="*/ 439389 h 3355086"/>
                <a:gd name="connsiteX22855" fmla="*/ 580643 w 3359086"/>
                <a:gd name="connsiteY22855" fmla="*/ 445580 h 3355086"/>
                <a:gd name="connsiteX22856" fmla="*/ 574977 w 3359086"/>
                <a:gd name="connsiteY22856" fmla="*/ 439913 h 3355086"/>
                <a:gd name="connsiteX22857" fmla="*/ 569785 w 3359086"/>
                <a:gd name="connsiteY22857" fmla="*/ 445104 h 3355086"/>
                <a:gd name="connsiteX22858" fmla="*/ 563594 w 3359086"/>
                <a:gd name="connsiteY22858" fmla="*/ 438912 h 3355086"/>
                <a:gd name="connsiteX22859" fmla="*/ 569785 w 3359086"/>
                <a:gd name="connsiteY22859" fmla="*/ 432721 h 3355086"/>
                <a:gd name="connsiteX22860" fmla="*/ 575453 w 3359086"/>
                <a:gd name="connsiteY22860" fmla="*/ 438388 h 3355086"/>
                <a:gd name="connsiteX22861" fmla="*/ 580643 w 3359086"/>
                <a:gd name="connsiteY22861" fmla="*/ 433197 h 3355086"/>
                <a:gd name="connsiteX22862" fmla="*/ 586263 w 3359086"/>
                <a:gd name="connsiteY22862" fmla="*/ 438817 h 3355086"/>
                <a:gd name="connsiteX22863" fmla="*/ 1444180 w 3359086"/>
                <a:gd name="connsiteY22863" fmla="*/ 432435 h 3355086"/>
                <a:gd name="connsiteX22864" fmla="*/ 1450372 w 3359086"/>
                <a:gd name="connsiteY22864" fmla="*/ 438626 h 3355086"/>
                <a:gd name="connsiteX22865" fmla="*/ 1444180 w 3359086"/>
                <a:gd name="connsiteY22865" fmla="*/ 444817 h 3355086"/>
                <a:gd name="connsiteX22866" fmla="*/ 1437989 w 3359086"/>
                <a:gd name="connsiteY22866" fmla="*/ 438626 h 3355086"/>
                <a:gd name="connsiteX22867" fmla="*/ 1444180 w 3359086"/>
                <a:gd name="connsiteY22867" fmla="*/ 432435 h 3355086"/>
                <a:gd name="connsiteX22868" fmla="*/ 2769012 w 3359086"/>
                <a:gd name="connsiteY22868" fmla="*/ 432340 h 3355086"/>
                <a:gd name="connsiteX22869" fmla="*/ 2775203 w 3359086"/>
                <a:gd name="connsiteY22869" fmla="*/ 438531 h 3355086"/>
                <a:gd name="connsiteX22870" fmla="*/ 2769012 w 3359086"/>
                <a:gd name="connsiteY22870" fmla="*/ 444722 h 3355086"/>
                <a:gd name="connsiteX22871" fmla="*/ 2762821 w 3359086"/>
                <a:gd name="connsiteY22871" fmla="*/ 438531 h 3355086"/>
                <a:gd name="connsiteX22872" fmla="*/ 2769012 w 3359086"/>
                <a:gd name="connsiteY22872" fmla="*/ 432340 h 3355086"/>
                <a:gd name="connsiteX22873" fmla="*/ 2801302 w 3359086"/>
                <a:gd name="connsiteY22873" fmla="*/ 431959 h 3355086"/>
                <a:gd name="connsiteX22874" fmla="*/ 2806826 w 3359086"/>
                <a:gd name="connsiteY22874" fmla="*/ 437483 h 3355086"/>
                <a:gd name="connsiteX22875" fmla="*/ 2801302 w 3359086"/>
                <a:gd name="connsiteY22875" fmla="*/ 443008 h 3355086"/>
                <a:gd name="connsiteX22876" fmla="*/ 2795777 w 3359086"/>
                <a:gd name="connsiteY22876" fmla="*/ 437483 h 3355086"/>
                <a:gd name="connsiteX22877" fmla="*/ 2801302 w 3359086"/>
                <a:gd name="connsiteY22877" fmla="*/ 431959 h 3355086"/>
                <a:gd name="connsiteX22878" fmla="*/ 2607563 w 3359086"/>
                <a:gd name="connsiteY22878" fmla="*/ 431102 h 3355086"/>
                <a:gd name="connsiteX22879" fmla="*/ 2613755 w 3359086"/>
                <a:gd name="connsiteY22879" fmla="*/ 437293 h 3355086"/>
                <a:gd name="connsiteX22880" fmla="*/ 2607563 w 3359086"/>
                <a:gd name="connsiteY22880" fmla="*/ 443485 h 3355086"/>
                <a:gd name="connsiteX22881" fmla="*/ 2601372 w 3359086"/>
                <a:gd name="connsiteY22881" fmla="*/ 437293 h 3355086"/>
                <a:gd name="connsiteX22882" fmla="*/ 2607563 w 3359086"/>
                <a:gd name="connsiteY22882" fmla="*/ 431102 h 3355086"/>
                <a:gd name="connsiteX22883" fmla="*/ 2552604 w 3359086"/>
                <a:gd name="connsiteY22883" fmla="*/ 430054 h 3355086"/>
                <a:gd name="connsiteX22884" fmla="*/ 2558796 w 3359086"/>
                <a:gd name="connsiteY22884" fmla="*/ 436245 h 3355086"/>
                <a:gd name="connsiteX22885" fmla="*/ 2552604 w 3359086"/>
                <a:gd name="connsiteY22885" fmla="*/ 442436 h 3355086"/>
                <a:gd name="connsiteX22886" fmla="*/ 2546413 w 3359086"/>
                <a:gd name="connsiteY22886" fmla="*/ 436245 h 3355086"/>
                <a:gd name="connsiteX22887" fmla="*/ 2552604 w 3359086"/>
                <a:gd name="connsiteY22887" fmla="*/ 430054 h 3355086"/>
                <a:gd name="connsiteX22888" fmla="*/ 959834 w 3359086"/>
                <a:gd name="connsiteY22888" fmla="*/ 429959 h 3355086"/>
                <a:gd name="connsiteX22889" fmla="*/ 966025 w 3359086"/>
                <a:gd name="connsiteY22889" fmla="*/ 436150 h 3355086"/>
                <a:gd name="connsiteX22890" fmla="*/ 959834 w 3359086"/>
                <a:gd name="connsiteY22890" fmla="*/ 442341 h 3355086"/>
                <a:gd name="connsiteX22891" fmla="*/ 953643 w 3359086"/>
                <a:gd name="connsiteY22891" fmla="*/ 436150 h 3355086"/>
                <a:gd name="connsiteX22892" fmla="*/ 959834 w 3359086"/>
                <a:gd name="connsiteY22892" fmla="*/ 429959 h 3355086"/>
                <a:gd name="connsiteX22893" fmla="*/ 557879 w 3359086"/>
                <a:gd name="connsiteY22893" fmla="*/ 429863 h 3355086"/>
                <a:gd name="connsiteX22894" fmla="*/ 563880 w 3359086"/>
                <a:gd name="connsiteY22894" fmla="*/ 435864 h 3355086"/>
                <a:gd name="connsiteX22895" fmla="*/ 557879 w 3359086"/>
                <a:gd name="connsiteY22895" fmla="*/ 441865 h 3355086"/>
                <a:gd name="connsiteX22896" fmla="*/ 551878 w 3359086"/>
                <a:gd name="connsiteY22896" fmla="*/ 435864 h 3355086"/>
                <a:gd name="connsiteX22897" fmla="*/ 557879 w 3359086"/>
                <a:gd name="connsiteY22897" fmla="*/ 429863 h 3355086"/>
                <a:gd name="connsiteX22898" fmla="*/ 1842229 w 3359086"/>
                <a:gd name="connsiteY22898" fmla="*/ 429006 h 3355086"/>
                <a:gd name="connsiteX22899" fmla="*/ 1848421 w 3359086"/>
                <a:gd name="connsiteY22899" fmla="*/ 435197 h 3355086"/>
                <a:gd name="connsiteX22900" fmla="*/ 1842229 w 3359086"/>
                <a:gd name="connsiteY22900" fmla="*/ 441389 h 3355086"/>
                <a:gd name="connsiteX22901" fmla="*/ 1836038 w 3359086"/>
                <a:gd name="connsiteY22901" fmla="*/ 435197 h 3355086"/>
                <a:gd name="connsiteX22902" fmla="*/ 1842229 w 3359086"/>
                <a:gd name="connsiteY22902" fmla="*/ 429006 h 3355086"/>
                <a:gd name="connsiteX22903" fmla="*/ 662368 w 3359086"/>
                <a:gd name="connsiteY22903" fmla="*/ 428339 h 3355086"/>
                <a:gd name="connsiteX22904" fmla="*/ 668560 w 3359086"/>
                <a:gd name="connsiteY22904" fmla="*/ 434530 h 3355086"/>
                <a:gd name="connsiteX22905" fmla="*/ 662368 w 3359086"/>
                <a:gd name="connsiteY22905" fmla="*/ 440721 h 3355086"/>
                <a:gd name="connsiteX22906" fmla="*/ 656177 w 3359086"/>
                <a:gd name="connsiteY22906" fmla="*/ 434530 h 3355086"/>
                <a:gd name="connsiteX22907" fmla="*/ 662368 w 3359086"/>
                <a:gd name="connsiteY22907" fmla="*/ 428339 h 3355086"/>
                <a:gd name="connsiteX22908" fmla="*/ 2781871 w 3359086"/>
                <a:gd name="connsiteY22908" fmla="*/ 427387 h 3355086"/>
                <a:gd name="connsiteX22909" fmla="*/ 2788062 w 3359086"/>
                <a:gd name="connsiteY22909" fmla="*/ 433578 h 3355086"/>
                <a:gd name="connsiteX22910" fmla="*/ 2781871 w 3359086"/>
                <a:gd name="connsiteY22910" fmla="*/ 439769 h 3355086"/>
                <a:gd name="connsiteX22911" fmla="*/ 2775680 w 3359086"/>
                <a:gd name="connsiteY22911" fmla="*/ 433578 h 3355086"/>
                <a:gd name="connsiteX22912" fmla="*/ 2781871 w 3359086"/>
                <a:gd name="connsiteY22912" fmla="*/ 427387 h 3355086"/>
                <a:gd name="connsiteX22913" fmla="*/ 1136618 w 3359086"/>
                <a:gd name="connsiteY22913" fmla="*/ 427292 h 3355086"/>
                <a:gd name="connsiteX22914" fmla="*/ 1142810 w 3359086"/>
                <a:gd name="connsiteY22914" fmla="*/ 433483 h 3355086"/>
                <a:gd name="connsiteX22915" fmla="*/ 1136618 w 3359086"/>
                <a:gd name="connsiteY22915" fmla="*/ 439675 h 3355086"/>
                <a:gd name="connsiteX22916" fmla="*/ 1130427 w 3359086"/>
                <a:gd name="connsiteY22916" fmla="*/ 433483 h 3355086"/>
                <a:gd name="connsiteX22917" fmla="*/ 1136618 w 3359086"/>
                <a:gd name="connsiteY22917" fmla="*/ 427292 h 3355086"/>
                <a:gd name="connsiteX22918" fmla="*/ 1542954 w 3359086"/>
                <a:gd name="connsiteY22918" fmla="*/ 426054 h 3355086"/>
                <a:gd name="connsiteX22919" fmla="*/ 1549146 w 3359086"/>
                <a:gd name="connsiteY22919" fmla="*/ 432245 h 3355086"/>
                <a:gd name="connsiteX22920" fmla="*/ 1542954 w 3359086"/>
                <a:gd name="connsiteY22920" fmla="*/ 438436 h 3355086"/>
                <a:gd name="connsiteX22921" fmla="*/ 1536763 w 3359086"/>
                <a:gd name="connsiteY22921" fmla="*/ 432245 h 3355086"/>
                <a:gd name="connsiteX22922" fmla="*/ 1542954 w 3359086"/>
                <a:gd name="connsiteY22922" fmla="*/ 426054 h 3355086"/>
                <a:gd name="connsiteX22923" fmla="*/ 2686049 w 3359086"/>
                <a:gd name="connsiteY22923" fmla="*/ 425196 h 3355086"/>
                <a:gd name="connsiteX22924" fmla="*/ 2692240 w 3359086"/>
                <a:gd name="connsiteY22924" fmla="*/ 431387 h 3355086"/>
                <a:gd name="connsiteX22925" fmla="*/ 2686049 w 3359086"/>
                <a:gd name="connsiteY22925" fmla="*/ 437578 h 3355086"/>
                <a:gd name="connsiteX22926" fmla="*/ 2679858 w 3359086"/>
                <a:gd name="connsiteY22926" fmla="*/ 431387 h 3355086"/>
                <a:gd name="connsiteX22927" fmla="*/ 2686049 w 3359086"/>
                <a:gd name="connsiteY22927" fmla="*/ 425196 h 3355086"/>
                <a:gd name="connsiteX22928" fmla="*/ 1742884 w 3359086"/>
                <a:gd name="connsiteY22928" fmla="*/ 424339 h 3355086"/>
                <a:gd name="connsiteX22929" fmla="*/ 1749076 w 3359086"/>
                <a:gd name="connsiteY22929" fmla="*/ 430530 h 3355086"/>
                <a:gd name="connsiteX22930" fmla="*/ 1742884 w 3359086"/>
                <a:gd name="connsiteY22930" fmla="*/ 436722 h 3355086"/>
                <a:gd name="connsiteX22931" fmla="*/ 1736693 w 3359086"/>
                <a:gd name="connsiteY22931" fmla="*/ 430530 h 3355086"/>
                <a:gd name="connsiteX22932" fmla="*/ 1742884 w 3359086"/>
                <a:gd name="connsiteY22932" fmla="*/ 424339 h 3355086"/>
                <a:gd name="connsiteX22933" fmla="*/ 2797683 w 3359086"/>
                <a:gd name="connsiteY22933" fmla="*/ 424244 h 3355086"/>
                <a:gd name="connsiteX22934" fmla="*/ 2797778 w 3359086"/>
                <a:gd name="connsiteY22934" fmla="*/ 424244 h 3355086"/>
                <a:gd name="connsiteX22935" fmla="*/ 2797778 w 3359086"/>
                <a:gd name="connsiteY22935" fmla="*/ 424339 h 3355086"/>
                <a:gd name="connsiteX22936" fmla="*/ 563308 w 3359086"/>
                <a:gd name="connsiteY22936" fmla="*/ 424244 h 3355086"/>
                <a:gd name="connsiteX22937" fmla="*/ 563498 w 3359086"/>
                <a:gd name="connsiteY22937" fmla="*/ 424435 h 3355086"/>
                <a:gd name="connsiteX22938" fmla="*/ 563308 w 3359086"/>
                <a:gd name="connsiteY22938" fmla="*/ 424625 h 3355086"/>
                <a:gd name="connsiteX22939" fmla="*/ 563117 w 3359086"/>
                <a:gd name="connsiteY22939" fmla="*/ 424435 h 3355086"/>
                <a:gd name="connsiteX22940" fmla="*/ 563308 w 3359086"/>
                <a:gd name="connsiteY22940" fmla="*/ 424244 h 3355086"/>
                <a:gd name="connsiteX22941" fmla="*/ 1642871 w 3359086"/>
                <a:gd name="connsiteY22941" fmla="*/ 423386 h 3355086"/>
                <a:gd name="connsiteX22942" fmla="*/ 1649063 w 3359086"/>
                <a:gd name="connsiteY22942" fmla="*/ 429577 h 3355086"/>
                <a:gd name="connsiteX22943" fmla="*/ 1642871 w 3359086"/>
                <a:gd name="connsiteY22943" fmla="*/ 435769 h 3355086"/>
                <a:gd name="connsiteX22944" fmla="*/ 1636680 w 3359086"/>
                <a:gd name="connsiteY22944" fmla="*/ 429577 h 3355086"/>
                <a:gd name="connsiteX22945" fmla="*/ 1642871 w 3359086"/>
                <a:gd name="connsiteY22945" fmla="*/ 423386 h 3355086"/>
                <a:gd name="connsiteX22946" fmla="*/ 2738627 w 3359086"/>
                <a:gd name="connsiteY22946" fmla="*/ 423006 h 3355086"/>
                <a:gd name="connsiteX22947" fmla="*/ 2744675 w 3359086"/>
                <a:gd name="connsiteY22947" fmla="*/ 429054 h 3355086"/>
                <a:gd name="connsiteX22948" fmla="*/ 2750343 w 3359086"/>
                <a:gd name="connsiteY22948" fmla="*/ 423386 h 3355086"/>
                <a:gd name="connsiteX22949" fmla="*/ 2756534 w 3359086"/>
                <a:gd name="connsiteY22949" fmla="*/ 429577 h 3355086"/>
                <a:gd name="connsiteX22950" fmla="*/ 2750343 w 3359086"/>
                <a:gd name="connsiteY22950" fmla="*/ 435769 h 3355086"/>
                <a:gd name="connsiteX22951" fmla="*/ 2744295 w 3359086"/>
                <a:gd name="connsiteY22951" fmla="*/ 429721 h 3355086"/>
                <a:gd name="connsiteX22952" fmla="*/ 2738627 w 3359086"/>
                <a:gd name="connsiteY22952" fmla="*/ 435388 h 3355086"/>
                <a:gd name="connsiteX22953" fmla="*/ 2732436 w 3359086"/>
                <a:gd name="connsiteY22953" fmla="*/ 429197 h 3355086"/>
                <a:gd name="connsiteX22954" fmla="*/ 2738627 w 3359086"/>
                <a:gd name="connsiteY22954" fmla="*/ 423006 h 3355086"/>
                <a:gd name="connsiteX22955" fmla="*/ 588644 w 3359086"/>
                <a:gd name="connsiteY22955" fmla="*/ 422625 h 3355086"/>
                <a:gd name="connsiteX22956" fmla="*/ 594835 w 3359086"/>
                <a:gd name="connsiteY22956" fmla="*/ 428816 h 3355086"/>
                <a:gd name="connsiteX22957" fmla="*/ 588644 w 3359086"/>
                <a:gd name="connsiteY22957" fmla="*/ 435007 h 3355086"/>
                <a:gd name="connsiteX22958" fmla="*/ 582453 w 3359086"/>
                <a:gd name="connsiteY22958" fmla="*/ 428816 h 3355086"/>
                <a:gd name="connsiteX22959" fmla="*/ 588644 w 3359086"/>
                <a:gd name="connsiteY22959" fmla="*/ 422625 h 3355086"/>
                <a:gd name="connsiteX22960" fmla="*/ 576643 w 3359086"/>
                <a:gd name="connsiteY22960" fmla="*/ 422053 h 3355086"/>
                <a:gd name="connsiteX22961" fmla="*/ 582834 w 3359086"/>
                <a:gd name="connsiteY22961" fmla="*/ 428244 h 3355086"/>
                <a:gd name="connsiteX22962" fmla="*/ 576643 w 3359086"/>
                <a:gd name="connsiteY22962" fmla="*/ 434435 h 3355086"/>
                <a:gd name="connsiteX22963" fmla="*/ 570452 w 3359086"/>
                <a:gd name="connsiteY22963" fmla="*/ 428244 h 3355086"/>
                <a:gd name="connsiteX22964" fmla="*/ 576643 w 3359086"/>
                <a:gd name="connsiteY22964" fmla="*/ 422053 h 3355086"/>
                <a:gd name="connsiteX22965" fmla="*/ 634936 w 3359086"/>
                <a:gd name="connsiteY22965" fmla="*/ 421767 h 3355086"/>
                <a:gd name="connsiteX22966" fmla="*/ 641127 w 3359086"/>
                <a:gd name="connsiteY22966" fmla="*/ 427958 h 3355086"/>
                <a:gd name="connsiteX22967" fmla="*/ 634936 w 3359086"/>
                <a:gd name="connsiteY22967" fmla="*/ 434149 h 3355086"/>
                <a:gd name="connsiteX22968" fmla="*/ 628745 w 3359086"/>
                <a:gd name="connsiteY22968" fmla="*/ 427958 h 3355086"/>
                <a:gd name="connsiteX22969" fmla="*/ 634936 w 3359086"/>
                <a:gd name="connsiteY22969" fmla="*/ 421767 h 3355086"/>
                <a:gd name="connsiteX22970" fmla="*/ 2725578 w 3359086"/>
                <a:gd name="connsiteY22970" fmla="*/ 421672 h 3355086"/>
                <a:gd name="connsiteX22971" fmla="*/ 2731769 w 3359086"/>
                <a:gd name="connsiteY22971" fmla="*/ 427863 h 3355086"/>
                <a:gd name="connsiteX22972" fmla="*/ 2725578 w 3359086"/>
                <a:gd name="connsiteY22972" fmla="*/ 434055 h 3355086"/>
                <a:gd name="connsiteX22973" fmla="*/ 2719387 w 3359086"/>
                <a:gd name="connsiteY22973" fmla="*/ 427863 h 3355086"/>
                <a:gd name="connsiteX22974" fmla="*/ 2725578 w 3359086"/>
                <a:gd name="connsiteY22974" fmla="*/ 421672 h 3355086"/>
                <a:gd name="connsiteX22975" fmla="*/ 2709005 w 3359086"/>
                <a:gd name="connsiteY22975" fmla="*/ 421577 h 3355086"/>
                <a:gd name="connsiteX22976" fmla="*/ 2715196 w 3359086"/>
                <a:gd name="connsiteY22976" fmla="*/ 427768 h 3355086"/>
                <a:gd name="connsiteX22977" fmla="*/ 2709005 w 3359086"/>
                <a:gd name="connsiteY22977" fmla="*/ 433959 h 3355086"/>
                <a:gd name="connsiteX22978" fmla="*/ 2702814 w 3359086"/>
                <a:gd name="connsiteY22978" fmla="*/ 427768 h 3355086"/>
                <a:gd name="connsiteX22979" fmla="*/ 2709005 w 3359086"/>
                <a:gd name="connsiteY22979" fmla="*/ 421577 h 3355086"/>
                <a:gd name="connsiteX22980" fmla="*/ 600836 w 3359086"/>
                <a:gd name="connsiteY22980" fmla="*/ 421482 h 3355086"/>
                <a:gd name="connsiteX22981" fmla="*/ 607027 w 3359086"/>
                <a:gd name="connsiteY22981" fmla="*/ 427673 h 3355086"/>
                <a:gd name="connsiteX22982" fmla="*/ 600836 w 3359086"/>
                <a:gd name="connsiteY22982" fmla="*/ 433864 h 3355086"/>
                <a:gd name="connsiteX22983" fmla="*/ 594645 w 3359086"/>
                <a:gd name="connsiteY22983" fmla="*/ 427673 h 3355086"/>
                <a:gd name="connsiteX22984" fmla="*/ 600836 w 3359086"/>
                <a:gd name="connsiteY22984" fmla="*/ 421482 h 3355086"/>
                <a:gd name="connsiteX22985" fmla="*/ 703420 w 3359086"/>
                <a:gd name="connsiteY22985" fmla="*/ 421386 h 3355086"/>
                <a:gd name="connsiteX22986" fmla="*/ 709612 w 3359086"/>
                <a:gd name="connsiteY22986" fmla="*/ 427577 h 3355086"/>
                <a:gd name="connsiteX22987" fmla="*/ 703420 w 3359086"/>
                <a:gd name="connsiteY22987" fmla="*/ 433768 h 3355086"/>
                <a:gd name="connsiteX22988" fmla="*/ 697229 w 3359086"/>
                <a:gd name="connsiteY22988" fmla="*/ 427577 h 3355086"/>
                <a:gd name="connsiteX22989" fmla="*/ 703420 w 3359086"/>
                <a:gd name="connsiteY22989" fmla="*/ 421386 h 3355086"/>
                <a:gd name="connsiteX22990" fmla="*/ 2762821 w 3359086"/>
                <a:gd name="connsiteY22990" fmla="*/ 421291 h 3355086"/>
                <a:gd name="connsiteX22991" fmla="*/ 2769012 w 3359086"/>
                <a:gd name="connsiteY22991" fmla="*/ 427482 h 3355086"/>
                <a:gd name="connsiteX22992" fmla="*/ 2762821 w 3359086"/>
                <a:gd name="connsiteY22992" fmla="*/ 433673 h 3355086"/>
                <a:gd name="connsiteX22993" fmla="*/ 2756630 w 3359086"/>
                <a:gd name="connsiteY22993" fmla="*/ 427482 h 3355086"/>
                <a:gd name="connsiteX22994" fmla="*/ 2762821 w 3359086"/>
                <a:gd name="connsiteY22994" fmla="*/ 421291 h 3355086"/>
                <a:gd name="connsiteX22995" fmla="*/ 615409 w 3359086"/>
                <a:gd name="connsiteY22995" fmla="*/ 420434 h 3355086"/>
                <a:gd name="connsiteX22996" fmla="*/ 621601 w 3359086"/>
                <a:gd name="connsiteY22996" fmla="*/ 426625 h 3355086"/>
                <a:gd name="connsiteX22997" fmla="*/ 615409 w 3359086"/>
                <a:gd name="connsiteY22997" fmla="*/ 432816 h 3355086"/>
                <a:gd name="connsiteX22998" fmla="*/ 609218 w 3359086"/>
                <a:gd name="connsiteY22998" fmla="*/ 426625 h 3355086"/>
                <a:gd name="connsiteX22999" fmla="*/ 615409 w 3359086"/>
                <a:gd name="connsiteY22999" fmla="*/ 420434 h 3355086"/>
                <a:gd name="connsiteX23000" fmla="*/ 879252 w 3359086"/>
                <a:gd name="connsiteY23000" fmla="*/ 420338 h 3355086"/>
                <a:gd name="connsiteX23001" fmla="*/ 885443 w 3359086"/>
                <a:gd name="connsiteY23001" fmla="*/ 426529 h 3355086"/>
                <a:gd name="connsiteX23002" fmla="*/ 879252 w 3359086"/>
                <a:gd name="connsiteY23002" fmla="*/ 432720 h 3355086"/>
                <a:gd name="connsiteX23003" fmla="*/ 873061 w 3359086"/>
                <a:gd name="connsiteY23003" fmla="*/ 426529 h 3355086"/>
                <a:gd name="connsiteX23004" fmla="*/ 879252 w 3359086"/>
                <a:gd name="connsiteY23004" fmla="*/ 420338 h 3355086"/>
                <a:gd name="connsiteX23005" fmla="*/ 2338006 w 3359086"/>
                <a:gd name="connsiteY23005" fmla="*/ 419672 h 3355086"/>
                <a:gd name="connsiteX23006" fmla="*/ 2344198 w 3359086"/>
                <a:gd name="connsiteY23006" fmla="*/ 425863 h 3355086"/>
                <a:gd name="connsiteX23007" fmla="*/ 2338006 w 3359086"/>
                <a:gd name="connsiteY23007" fmla="*/ 432054 h 3355086"/>
                <a:gd name="connsiteX23008" fmla="*/ 2331815 w 3359086"/>
                <a:gd name="connsiteY23008" fmla="*/ 425863 h 3355086"/>
                <a:gd name="connsiteX23009" fmla="*/ 2338006 w 3359086"/>
                <a:gd name="connsiteY23009" fmla="*/ 419672 h 3355086"/>
                <a:gd name="connsiteX23010" fmla="*/ 2155888 w 3359086"/>
                <a:gd name="connsiteY23010" fmla="*/ 419196 h 3355086"/>
                <a:gd name="connsiteX23011" fmla="*/ 2162080 w 3359086"/>
                <a:gd name="connsiteY23011" fmla="*/ 425387 h 3355086"/>
                <a:gd name="connsiteX23012" fmla="*/ 2155888 w 3359086"/>
                <a:gd name="connsiteY23012" fmla="*/ 431578 h 3355086"/>
                <a:gd name="connsiteX23013" fmla="*/ 2149697 w 3359086"/>
                <a:gd name="connsiteY23013" fmla="*/ 425387 h 3355086"/>
                <a:gd name="connsiteX23014" fmla="*/ 2155888 w 3359086"/>
                <a:gd name="connsiteY23014" fmla="*/ 419196 h 3355086"/>
                <a:gd name="connsiteX23015" fmla="*/ 752379 w 3359086"/>
                <a:gd name="connsiteY23015" fmla="*/ 417100 h 3355086"/>
                <a:gd name="connsiteX23016" fmla="*/ 758571 w 3359086"/>
                <a:gd name="connsiteY23016" fmla="*/ 423291 h 3355086"/>
                <a:gd name="connsiteX23017" fmla="*/ 752379 w 3359086"/>
                <a:gd name="connsiteY23017" fmla="*/ 429483 h 3355086"/>
                <a:gd name="connsiteX23018" fmla="*/ 746188 w 3359086"/>
                <a:gd name="connsiteY23018" fmla="*/ 423291 h 3355086"/>
                <a:gd name="connsiteX23019" fmla="*/ 752379 w 3359086"/>
                <a:gd name="connsiteY23019" fmla="*/ 417100 h 3355086"/>
                <a:gd name="connsiteX23020" fmla="*/ 810577 w 3359086"/>
                <a:gd name="connsiteY23020" fmla="*/ 416433 h 3355086"/>
                <a:gd name="connsiteX23021" fmla="*/ 816769 w 3359086"/>
                <a:gd name="connsiteY23021" fmla="*/ 422624 h 3355086"/>
                <a:gd name="connsiteX23022" fmla="*/ 810577 w 3359086"/>
                <a:gd name="connsiteY23022" fmla="*/ 428815 h 3355086"/>
                <a:gd name="connsiteX23023" fmla="*/ 804386 w 3359086"/>
                <a:gd name="connsiteY23023" fmla="*/ 422624 h 3355086"/>
                <a:gd name="connsiteX23024" fmla="*/ 810577 w 3359086"/>
                <a:gd name="connsiteY23024" fmla="*/ 416433 h 3355086"/>
                <a:gd name="connsiteX23025" fmla="*/ 2649664 w 3359086"/>
                <a:gd name="connsiteY23025" fmla="*/ 416148 h 3355086"/>
                <a:gd name="connsiteX23026" fmla="*/ 2655855 w 3359086"/>
                <a:gd name="connsiteY23026" fmla="*/ 422339 h 3355086"/>
                <a:gd name="connsiteX23027" fmla="*/ 2649664 w 3359086"/>
                <a:gd name="connsiteY23027" fmla="*/ 428531 h 3355086"/>
                <a:gd name="connsiteX23028" fmla="*/ 2643473 w 3359086"/>
                <a:gd name="connsiteY23028" fmla="*/ 422339 h 3355086"/>
                <a:gd name="connsiteX23029" fmla="*/ 2649664 w 3359086"/>
                <a:gd name="connsiteY23029" fmla="*/ 416148 h 3355086"/>
                <a:gd name="connsiteX23030" fmla="*/ 2777299 w 3359086"/>
                <a:gd name="connsiteY23030" fmla="*/ 415290 h 3355086"/>
                <a:gd name="connsiteX23031" fmla="*/ 2783491 w 3359086"/>
                <a:gd name="connsiteY23031" fmla="*/ 421481 h 3355086"/>
                <a:gd name="connsiteX23032" fmla="*/ 2777299 w 3359086"/>
                <a:gd name="connsiteY23032" fmla="*/ 427672 h 3355086"/>
                <a:gd name="connsiteX23033" fmla="*/ 2771108 w 3359086"/>
                <a:gd name="connsiteY23033" fmla="*/ 421481 h 3355086"/>
                <a:gd name="connsiteX23034" fmla="*/ 2777299 w 3359086"/>
                <a:gd name="connsiteY23034" fmla="*/ 415290 h 3355086"/>
                <a:gd name="connsiteX23035" fmla="*/ 2743580 w 3359086"/>
                <a:gd name="connsiteY23035" fmla="*/ 413004 h 3355086"/>
                <a:gd name="connsiteX23036" fmla="*/ 2749771 w 3359086"/>
                <a:gd name="connsiteY23036" fmla="*/ 419195 h 3355086"/>
                <a:gd name="connsiteX23037" fmla="*/ 2743580 w 3359086"/>
                <a:gd name="connsiteY23037" fmla="*/ 425387 h 3355086"/>
                <a:gd name="connsiteX23038" fmla="*/ 2737389 w 3359086"/>
                <a:gd name="connsiteY23038" fmla="*/ 419195 h 3355086"/>
                <a:gd name="connsiteX23039" fmla="*/ 2743580 w 3359086"/>
                <a:gd name="connsiteY23039" fmla="*/ 413004 h 3355086"/>
                <a:gd name="connsiteX23040" fmla="*/ 2730817 w 3359086"/>
                <a:gd name="connsiteY23040" fmla="*/ 412814 h 3355086"/>
                <a:gd name="connsiteX23041" fmla="*/ 2737009 w 3359086"/>
                <a:gd name="connsiteY23041" fmla="*/ 419005 h 3355086"/>
                <a:gd name="connsiteX23042" fmla="*/ 2730817 w 3359086"/>
                <a:gd name="connsiteY23042" fmla="*/ 425196 h 3355086"/>
                <a:gd name="connsiteX23043" fmla="*/ 2724626 w 3359086"/>
                <a:gd name="connsiteY23043" fmla="*/ 419005 h 3355086"/>
                <a:gd name="connsiteX23044" fmla="*/ 2730817 w 3359086"/>
                <a:gd name="connsiteY23044" fmla="*/ 412814 h 3355086"/>
                <a:gd name="connsiteX23045" fmla="*/ 595978 w 3359086"/>
                <a:gd name="connsiteY23045" fmla="*/ 412528 h 3355086"/>
                <a:gd name="connsiteX23046" fmla="*/ 602170 w 3359086"/>
                <a:gd name="connsiteY23046" fmla="*/ 418719 h 3355086"/>
                <a:gd name="connsiteX23047" fmla="*/ 595978 w 3359086"/>
                <a:gd name="connsiteY23047" fmla="*/ 424910 h 3355086"/>
                <a:gd name="connsiteX23048" fmla="*/ 589787 w 3359086"/>
                <a:gd name="connsiteY23048" fmla="*/ 418719 h 3355086"/>
                <a:gd name="connsiteX23049" fmla="*/ 595978 w 3359086"/>
                <a:gd name="connsiteY23049" fmla="*/ 412528 h 3355086"/>
                <a:gd name="connsiteX23050" fmla="*/ 582834 w 3359086"/>
                <a:gd name="connsiteY23050" fmla="*/ 411385 h 3355086"/>
                <a:gd name="connsiteX23051" fmla="*/ 589025 w 3359086"/>
                <a:gd name="connsiteY23051" fmla="*/ 417576 h 3355086"/>
                <a:gd name="connsiteX23052" fmla="*/ 582834 w 3359086"/>
                <a:gd name="connsiteY23052" fmla="*/ 423767 h 3355086"/>
                <a:gd name="connsiteX23053" fmla="*/ 576643 w 3359086"/>
                <a:gd name="connsiteY23053" fmla="*/ 417576 h 3355086"/>
                <a:gd name="connsiteX23054" fmla="*/ 582834 w 3359086"/>
                <a:gd name="connsiteY23054" fmla="*/ 411385 h 3355086"/>
                <a:gd name="connsiteX23055" fmla="*/ 667607 w 3359086"/>
                <a:gd name="connsiteY23055" fmla="*/ 411290 h 3355086"/>
                <a:gd name="connsiteX23056" fmla="*/ 673798 w 3359086"/>
                <a:gd name="connsiteY23056" fmla="*/ 417481 h 3355086"/>
                <a:gd name="connsiteX23057" fmla="*/ 667607 w 3359086"/>
                <a:gd name="connsiteY23057" fmla="*/ 423673 h 3355086"/>
                <a:gd name="connsiteX23058" fmla="*/ 661416 w 3359086"/>
                <a:gd name="connsiteY23058" fmla="*/ 417481 h 3355086"/>
                <a:gd name="connsiteX23059" fmla="*/ 667607 w 3359086"/>
                <a:gd name="connsiteY23059" fmla="*/ 411290 h 3355086"/>
                <a:gd name="connsiteX23060" fmla="*/ 608837 w 3359086"/>
                <a:gd name="connsiteY23060" fmla="*/ 411099 h 3355086"/>
                <a:gd name="connsiteX23061" fmla="*/ 615028 w 3359086"/>
                <a:gd name="connsiteY23061" fmla="*/ 417290 h 3355086"/>
                <a:gd name="connsiteX23062" fmla="*/ 608837 w 3359086"/>
                <a:gd name="connsiteY23062" fmla="*/ 423481 h 3355086"/>
                <a:gd name="connsiteX23063" fmla="*/ 602646 w 3359086"/>
                <a:gd name="connsiteY23063" fmla="*/ 417290 h 3355086"/>
                <a:gd name="connsiteX23064" fmla="*/ 608837 w 3359086"/>
                <a:gd name="connsiteY23064" fmla="*/ 411099 h 3355086"/>
                <a:gd name="connsiteX23065" fmla="*/ 2717482 w 3359086"/>
                <a:gd name="connsiteY23065" fmla="*/ 410813 h 3355086"/>
                <a:gd name="connsiteX23066" fmla="*/ 2723674 w 3359086"/>
                <a:gd name="connsiteY23066" fmla="*/ 417004 h 3355086"/>
                <a:gd name="connsiteX23067" fmla="*/ 2717482 w 3359086"/>
                <a:gd name="connsiteY23067" fmla="*/ 423195 h 3355086"/>
                <a:gd name="connsiteX23068" fmla="*/ 2711291 w 3359086"/>
                <a:gd name="connsiteY23068" fmla="*/ 417004 h 3355086"/>
                <a:gd name="connsiteX23069" fmla="*/ 2717482 w 3359086"/>
                <a:gd name="connsiteY23069" fmla="*/ 410813 h 3355086"/>
                <a:gd name="connsiteX23070" fmla="*/ 1223009 w 3359086"/>
                <a:gd name="connsiteY23070" fmla="*/ 410528 h 3355086"/>
                <a:gd name="connsiteX23071" fmla="*/ 1229201 w 3359086"/>
                <a:gd name="connsiteY23071" fmla="*/ 416719 h 3355086"/>
                <a:gd name="connsiteX23072" fmla="*/ 1223009 w 3359086"/>
                <a:gd name="connsiteY23072" fmla="*/ 422910 h 3355086"/>
                <a:gd name="connsiteX23073" fmla="*/ 1216818 w 3359086"/>
                <a:gd name="connsiteY23073" fmla="*/ 416719 h 3355086"/>
                <a:gd name="connsiteX23074" fmla="*/ 1223009 w 3359086"/>
                <a:gd name="connsiteY23074" fmla="*/ 410528 h 3355086"/>
                <a:gd name="connsiteX23075" fmla="*/ 2757391 w 3359086"/>
                <a:gd name="connsiteY23075" fmla="*/ 410147 h 3355086"/>
                <a:gd name="connsiteX23076" fmla="*/ 2763583 w 3359086"/>
                <a:gd name="connsiteY23076" fmla="*/ 416338 h 3355086"/>
                <a:gd name="connsiteX23077" fmla="*/ 2757391 w 3359086"/>
                <a:gd name="connsiteY23077" fmla="*/ 422529 h 3355086"/>
                <a:gd name="connsiteX23078" fmla="*/ 2751200 w 3359086"/>
                <a:gd name="connsiteY23078" fmla="*/ 416338 h 3355086"/>
                <a:gd name="connsiteX23079" fmla="*/ 2757391 w 3359086"/>
                <a:gd name="connsiteY23079" fmla="*/ 410147 h 3355086"/>
                <a:gd name="connsiteX23080" fmla="*/ 2679763 w 3359086"/>
                <a:gd name="connsiteY23080" fmla="*/ 409956 h 3355086"/>
                <a:gd name="connsiteX23081" fmla="*/ 2685954 w 3359086"/>
                <a:gd name="connsiteY23081" fmla="*/ 416147 h 3355086"/>
                <a:gd name="connsiteX23082" fmla="*/ 2679763 w 3359086"/>
                <a:gd name="connsiteY23082" fmla="*/ 422339 h 3355086"/>
                <a:gd name="connsiteX23083" fmla="*/ 2673572 w 3359086"/>
                <a:gd name="connsiteY23083" fmla="*/ 416147 h 3355086"/>
                <a:gd name="connsiteX23084" fmla="*/ 2679763 w 3359086"/>
                <a:gd name="connsiteY23084" fmla="*/ 409956 h 3355086"/>
                <a:gd name="connsiteX23085" fmla="*/ 2422016 w 3359086"/>
                <a:gd name="connsiteY23085" fmla="*/ 409289 h 3355086"/>
                <a:gd name="connsiteX23086" fmla="*/ 2428207 w 3359086"/>
                <a:gd name="connsiteY23086" fmla="*/ 415480 h 3355086"/>
                <a:gd name="connsiteX23087" fmla="*/ 2422016 w 3359086"/>
                <a:gd name="connsiteY23087" fmla="*/ 421671 h 3355086"/>
                <a:gd name="connsiteX23088" fmla="*/ 2415825 w 3359086"/>
                <a:gd name="connsiteY23088" fmla="*/ 415480 h 3355086"/>
                <a:gd name="connsiteX23089" fmla="*/ 2422016 w 3359086"/>
                <a:gd name="connsiteY23089" fmla="*/ 409289 h 3355086"/>
                <a:gd name="connsiteX23090" fmla="*/ 2606325 w 3359086"/>
                <a:gd name="connsiteY23090" fmla="*/ 409194 h 3355086"/>
                <a:gd name="connsiteX23091" fmla="*/ 2612516 w 3359086"/>
                <a:gd name="connsiteY23091" fmla="*/ 415385 h 3355086"/>
                <a:gd name="connsiteX23092" fmla="*/ 2606325 w 3359086"/>
                <a:gd name="connsiteY23092" fmla="*/ 421576 h 3355086"/>
                <a:gd name="connsiteX23093" fmla="*/ 2600134 w 3359086"/>
                <a:gd name="connsiteY23093" fmla="*/ 415385 h 3355086"/>
                <a:gd name="connsiteX23094" fmla="*/ 2606325 w 3359086"/>
                <a:gd name="connsiteY23094" fmla="*/ 409194 h 3355086"/>
                <a:gd name="connsiteX23095" fmla="*/ 2701289 w 3359086"/>
                <a:gd name="connsiteY23095" fmla="*/ 409099 h 3355086"/>
                <a:gd name="connsiteX23096" fmla="*/ 2707480 w 3359086"/>
                <a:gd name="connsiteY23096" fmla="*/ 415290 h 3355086"/>
                <a:gd name="connsiteX23097" fmla="*/ 2701289 w 3359086"/>
                <a:gd name="connsiteY23097" fmla="*/ 421482 h 3355086"/>
                <a:gd name="connsiteX23098" fmla="*/ 2695098 w 3359086"/>
                <a:gd name="connsiteY23098" fmla="*/ 415290 h 3355086"/>
                <a:gd name="connsiteX23099" fmla="*/ 2701289 w 3359086"/>
                <a:gd name="connsiteY23099" fmla="*/ 409099 h 3355086"/>
                <a:gd name="connsiteX23100" fmla="*/ 623411 w 3359086"/>
                <a:gd name="connsiteY23100" fmla="*/ 409004 h 3355086"/>
                <a:gd name="connsiteX23101" fmla="*/ 629602 w 3359086"/>
                <a:gd name="connsiteY23101" fmla="*/ 415195 h 3355086"/>
                <a:gd name="connsiteX23102" fmla="*/ 623411 w 3359086"/>
                <a:gd name="connsiteY23102" fmla="*/ 421386 h 3355086"/>
                <a:gd name="connsiteX23103" fmla="*/ 617220 w 3359086"/>
                <a:gd name="connsiteY23103" fmla="*/ 415195 h 3355086"/>
                <a:gd name="connsiteX23104" fmla="*/ 623411 w 3359086"/>
                <a:gd name="connsiteY23104" fmla="*/ 409004 h 3355086"/>
                <a:gd name="connsiteX23105" fmla="*/ 1034795 w 3359086"/>
                <a:gd name="connsiteY23105" fmla="*/ 408337 h 3355086"/>
                <a:gd name="connsiteX23106" fmla="*/ 1040987 w 3359086"/>
                <a:gd name="connsiteY23106" fmla="*/ 414528 h 3355086"/>
                <a:gd name="connsiteX23107" fmla="*/ 1034795 w 3359086"/>
                <a:gd name="connsiteY23107" fmla="*/ 420719 h 3355086"/>
                <a:gd name="connsiteX23108" fmla="*/ 1028604 w 3359086"/>
                <a:gd name="connsiteY23108" fmla="*/ 414528 h 3355086"/>
                <a:gd name="connsiteX23109" fmla="*/ 1034795 w 3359086"/>
                <a:gd name="connsiteY23109" fmla="*/ 408337 h 3355086"/>
                <a:gd name="connsiteX23110" fmla="*/ 642080 w 3359086"/>
                <a:gd name="connsiteY23110" fmla="*/ 408147 h 3355086"/>
                <a:gd name="connsiteX23111" fmla="*/ 648271 w 3359086"/>
                <a:gd name="connsiteY23111" fmla="*/ 414338 h 3355086"/>
                <a:gd name="connsiteX23112" fmla="*/ 642080 w 3359086"/>
                <a:gd name="connsiteY23112" fmla="*/ 420529 h 3355086"/>
                <a:gd name="connsiteX23113" fmla="*/ 635889 w 3359086"/>
                <a:gd name="connsiteY23113" fmla="*/ 414338 h 3355086"/>
                <a:gd name="connsiteX23114" fmla="*/ 642080 w 3359086"/>
                <a:gd name="connsiteY23114" fmla="*/ 408147 h 3355086"/>
                <a:gd name="connsiteX23115" fmla="*/ 2773679 w 3359086"/>
                <a:gd name="connsiteY23115" fmla="*/ 406623 h 3355086"/>
                <a:gd name="connsiteX23116" fmla="*/ 2776156 w 3359086"/>
                <a:gd name="connsiteY23116" fmla="*/ 409099 h 3355086"/>
                <a:gd name="connsiteX23117" fmla="*/ 2773679 w 3359086"/>
                <a:gd name="connsiteY23117" fmla="*/ 411576 h 3355086"/>
                <a:gd name="connsiteX23118" fmla="*/ 2771203 w 3359086"/>
                <a:gd name="connsiteY23118" fmla="*/ 409099 h 3355086"/>
                <a:gd name="connsiteX23119" fmla="*/ 2773679 w 3359086"/>
                <a:gd name="connsiteY23119" fmla="*/ 406623 h 3355086"/>
                <a:gd name="connsiteX23120" fmla="*/ 2554795 w 3359086"/>
                <a:gd name="connsiteY23120" fmla="*/ 405194 h 3355086"/>
                <a:gd name="connsiteX23121" fmla="*/ 2560986 w 3359086"/>
                <a:gd name="connsiteY23121" fmla="*/ 411385 h 3355086"/>
                <a:gd name="connsiteX23122" fmla="*/ 2554795 w 3359086"/>
                <a:gd name="connsiteY23122" fmla="*/ 417577 h 3355086"/>
                <a:gd name="connsiteX23123" fmla="*/ 2548604 w 3359086"/>
                <a:gd name="connsiteY23123" fmla="*/ 411385 h 3355086"/>
                <a:gd name="connsiteX23124" fmla="*/ 2554795 w 3359086"/>
                <a:gd name="connsiteY23124" fmla="*/ 405194 h 3355086"/>
                <a:gd name="connsiteX23125" fmla="*/ 2493835 w 3359086"/>
                <a:gd name="connsiteY23125" fmla="*/ 404813 h 3355086"/>
                <a:gd name="connsiteX23126" fmla="*/ 2500026 w 3359086"/>
                <a:gd name="connsiteY23126" fmla="*/ 411004 h 3355086"/>
                <a:gd name="connsiteX23127" fmla="*/ 2493835 w 3359086"/>
                <a:gd name="connsiteY23127" fmla="*/ 417195 h 3355086"/>
                <a:gd name="connsiteX23128" fmla="*/ 2487644 w 3359086"/>
                <a:gd name="connsiteY23128" fmla="*/ 411004 h 3355086"/>
                <a:gd name="connsiteX23129" fmla="*/ 2493835 w 3359086"/>
                <a:gd name="connsiteY23129" fmla="*/ 404813 h 3355086"/>
                <a:gd name="connsiteX23130" fmla="*/ 2067782 w 3359086"/>
                <a:gd name="connsiteY23130" fmla="*/ 403670 h 3355086"/>
                <a:gd name="connsiteX23131" fmla="*/ 2073974 w 3359086"/>
                <a:gd name="connsiteY23131" fmla="*/ 409861 h 3355086"/>
                <a:gd name="connsiteX23132" fmla="*/ 2067782 w 3359086"/>
                <a:gd name="connsiteY23132" fmla="*/ 416052 h 3355086"/>
                <a:gd name="connsiteX23133" fmla="*/ 2061591 w 3359086"/>
                <a:gd name="connsiteY23133" fmla="*/ 409861 h 3355086"/>
                <a:gd name="connsiteX23134" fmla="*/ 2067782 w 3359086"/>
                <a:gd name="connsiteY23134" fmla="*/ 403670 h 3355086"/>
                <a:gd name="connsiteX23135" fmla="*/ 2723673 w 3359086"/>
                <a:gd name="connsiteY23135" fmla="*/ 403003 h 3355086"/>
                <a:gd name="connsiteX23136" fmla="*/ 2729865 w 3359086"/>
                <a:gd name="connsiteY23136" fmla="*/ 409194 h 3355086"/>
                <a:gd name="connsiteX23137" fmla="*/ 2723673 w 3359086"/>
                <a:gd name="connsiteY23137" fmla="*/ 415385 h 3355086"/>
                <a:gd name="connsiteX23138" fmla="*/ 2717482 w 3359086"/>
                <a:gd name="connsiteY23138" fmla="*/ 409194 h 3355086"/>
                <a:gd name="connsiteX23139" fmla="*/ 2723673 w 3359086"/>
                <a:gd name="connsiteY23139" fmla="*/ 403003 h 3355086"/>
                <a:gd name="connsiteX23140" fmla="*/ 2737484 w 3359086"/>
                <a:gd name="connsiteY23140" fmla="*/ 402812 h 3355086"/>
                <a:gd name="connsiteX23141" fmla="*/ 2743675 w 3359086"/>
                <a:gd name="connsiteY23141" fmla="*/ 409003 h 3355086"/>
                <a:gd name="connsiteX23142" fmla="*/ 2737484 w 3359086"/>
                <a:gd name="connsiteY23142" fmla="*/ 415195 h 3355086"/>
                <a:gd name="connsiteX23143" fmla="*/ 2731293 w 3359086"/>
                <a:gd name="connsiteY23143" fmla="*/ 409003 h 3355086"/>
                <a:gd name="connsiteX23144" fmla="*/ 2737484 w 3359086"/>
                <a:gd name="connsiteY23144" fmla="*/ 402812 h 3355086"/>
                <a:gd name="connsiteX23145" fmla="*/ 602646 w 3359086"/>
                <a:gd name="connsiteY23145" fmla="*/ 402622 h 3355086"/>
                <a:gd name="connsiteX23146" fmla="*/ 608837 w 3359086"/>
                <a:gd name="connsiteY23146" fmla="*/ 408813 h 3355086"/>
                <a:gd name="connsiteX23147" fmla="*/ 602646 w 3359086"/>
                <a:gd name="connsiteY23147" fmla="*/ 415005 h 3355086"/>
                <a:gd name="connsiteX23148" fmla="*/ 596455 w 3359086"/>
                <a:gd name="connsiteY23148" fmla="*/ 408813 h 3355086"/>
                <a:gd name="connsiteX23149" fmla="*/ 602646 w 3359086"/>
                <a:gd name="connsiteY23149" fmla="*/ 402622 h 3355086"/>
                <a:gd name="connsiteX23150" fmla="*/ 588263 w 3359086"/>
                <a:gd name="connsiteY23150" fmla="*/ 402622 h 3355086"/>
                <a:gd name="connsiteX23151" fmla="*/ 592549 w 3359086"/>
                <a:gd name="connsiteY23151" fmla="*/ 406908 h 3355086"/>
                <a:gd name="connsiteX23152" fmla="*/ 588263 w 3359086"/>
                <a:gd name="connsiteY23152" fmla="*/ 411194 h 3355086"/>
                <a:gd name="connsiteX23153" fmla="*/ 583977 w 3359086"/>
                <a:gd name="connsiteY23153" fmla="*/ 406908 h 3355086"/>
                <a:gd name="connsiteX23154" fmla="*/ 588263 w 3359086"/>
                <a:gd name="connsiteY23154" fmla="*/ 402622 h 3355086"/>
                <a:gd name="connsiteX23155" fmla="*/ 706373 w 3359086"/>
                <a:gd name="connsiteY23155" fmla="*/ 402241 h 3355086"/>
                <a:gd name="connsiteX23156" fmla="*/ 712564 w 3359086"/>
                <a:gd name="connsiteY23156" fmla="*/ 408432 h 3355086"/>
                <a:gd name="connsiteX23157" fmla="*/ 706373 w 3359086"/>
                <a:gd name="connsiteY23157" fmla="*/ 414623 h 3355086"/>
                <a:gd name="connsiteX23158" fmla="*/ 700182 w 3359086"/>
                <a:gd name="connsiteY23158" fmla="*/ 408432 h 3355086"/>
                <a:gd name="connsiteX23159" fmla="*/ 706373 w 3359086"/>
                <a:gd name="connsiteY23159" fmla="*/ 402241 h 3355086"/>
                <a:gd name="connsiteX23160" fmla="*/ 616362 w 3359086"/>
                <a:gd name="connsiteY23160" fmla="*/ 401288 h 3355086"/>
                <a:gd name="connsiteX23161" fmla="*/ 622554 w 3359086"/>
                <a:gd name="connsiteY23161" fmla="*/ 407479 h 3355086"/>
                <a:gd name="connsiteX23162" fmla="*/ 616362 w 3359086"/>
                <a:gd name="connsiteY23162" fmla="*/ 413670 h 3355086"/>
                <a:gd name="connsiteX23163" fmla="*/ 610171 w 3359086"/>
                <a:gd name="connsiteY23163" fmla="*/ 407479 h 3355086"/>
                <a:gd name="connsiteX23164" fmla="*/ 616362 w 3359086"/>
                <a:gd name="connsiteY23164" fmla="*/ 401288 h 3355086"/>
                <a:gd name="connsiteX23165" fmla="*/ 2709766 w 3359086"/>
                <a:gd name="connsiteY23165" fmla="*/ 400812 h 3355086"/>
                <a:gd name="connsiteX23166" fmla="*/ 2715958 w 3359086"/>
                <a:gd name="connsiteY23166" fmla="*/ 407003 h 3355086"/>
                <a:gd name="connsiteX23167" fmla="*/ 2709766 w 3359086"/>
                <a:gd name="connsiteY23167" fmla="*/ 413194 h 3355086"/>
                <a:gd name="connsiteX23168" fmla="*/ 2703575 w 3359086"/>
                <a:gd name="connsiteY23168" fmla="*/ 407003 h 3355086"/>
                <a:gd name="connsiteX23169" fmla="*/ 2709766 w 3359086"/>
                <a:gd name="connsiteY23169" fmla="*/ 400812 h 3355086"/>
                <a:gd name="connsiteX23170" fmla="*/ 2645282 w 3359086"/>
                <a:gd name="connsiteY23170" fmla="*/ 399288 h 3355086"/>
                <a:gd name="connsiteX23171" fmla="*/ 2651473 w 3359086"/>
                <a:gd name="connsiteY23171" fmla="*/ 405479 h 3355086"/>
                <a:gd name="connsiteX23172" fmla="*/ 2645282 w 3359086"/>
                <a:gd name="connsiteY23172" fmla="*/ 411670 h 3355086"/>
                <a:gd name="connsiteX23173" fmla="*/ 2639091 w 3359086"/>
                <a:gd name="connsiteY23173" fmla="*/ 405479 h 3355086"/>
                <a:gd name="connsiteX23174" fmla="*/ 2645282 w 3359086"/>
                <a:gd name="connsiteY23174" fmla="*/ 399288 h 3355086"/>
                <a:gd name="connsiteX23175" fmla="*/ 2752724 w 3359086"/>
                <a:gd name="connsiteY23175" fmla="*/ 398907 h 3355086"/>
                <a:gd name="connsiteX23176" fmla="*/ 2758915 w 3359086"/>
                <a:gd name="connsiteY23176" fmla="*/ 405098 h 3355086"/>
                <a:gd name="connsiteX23177" fmla="*/ 2752724 w 3359086"/>
                <a:gd name="connsiteY23177" fmla="*/ 411289 h 3355086"/>
                <a:gd name="connsiteX23178" fmla="*/ 2746533 w 3359086"/>
                <a:gd name="connsiteY23178" fmla="*/ 405098 h 3355086"/>
                <a:gd name="connsiteX23179" fmla="*/ 2752724 w 3359086"/>
                <a:gd name="connsiteY23179" fmla="*/ 398907 h 3355086"/>
                <a:gd name="connsiteX23180" fmla="*/ 2261234 w 3359086"/>
                <a:gd name="connsiteY23180" fmla="*/ 398907 h 3355086"/>
                <a:gd name="connsiteX23181" fmla="*/ 2267426 w 3359086"/>
                <a:gd name="connsiteY23181" fmla="*/ 405098 h 3355086"/>
                <a:gd name="connsiteX23182" fmla="*/ 2261234 w 3359086"/>
                <a:gd name="connsiteY23182" fmla="*/ 411289 h 3355086"/>
                <a:gd name="connsiteX23183" fmla="*/ 2255043 w 3359086"/>
                <a:gd name="connsiteY23183" fmla="*/ 405098 h 3355086"/>
                <a:gd name="connsiteX23184" fmla="*/ 2261234 w 3359086"/>
                <a:gd name="connsiteY23184" fmla="*/ 398907 h 3355086"/>
                <a:gd name="connsiteX23185" fmla="*/ 631126 w 3359086"/>
                <a:gd name="connsiteY23185" fmla="*/ 398526 h 3355086"/>
                <a:gd name="connsiteX23186" fmla="*/ 637318 w 3359086"/>
                <a:gd name="connsiteY23186" fmla="*/ 404717 h 3355086"/>
                <a:gd name="connsiteX23187" fmla="*/ 631126 w 3359086"/>
                <a:gd name="connsiteY23187" fmla="*/ 410908 h 3355086"/>
                <a:gd name="connsiteX23188" fmla="*/ 624935 w 3359086"/>
                <a:gd name="connsiteY23188" fmla="*/ 404717 h 3355086"/>
                <a:gd name="connsiteX23189" fmla="*/ 631126 w 3359086"/>
                <a:gd name="connsiteY23189" fmla="*/ 398526 h 3355086"/>
                <a:gd name="connsiteX23190" fmla="*/ 2693765 w 3359086"/>
                <a:gd name="connsiteY23190" fmla="*/ 397955 h 3355086"/>
                <a:gd name="connsiteX23191" fmla="*/ 2699956 w 3359086"/>
                <a:gd name="connsiteY23191" fmla="*/ 404146 h 3355086"/>
                <a:gd name="connsiteX23192" fmla="*/ 2693765 w 3359086"/>
                <a:gd name="connsiteY23192" fmla="*/ 410337 h 3355086"/>
                <a:gd name="connsiteX23193" fmla="*/ 2687574 w 3359086"/>
                <a:gd name="connsiteY23193" fmla="*/ 404146 h 3355086"/>
                <a:gd name="connsiteX23194" fmla="*/ 2693765 w 3359086"/>
                <a:gd name="connsiteY23194" fmla="*/ 397955 h 3355086"/>
                <a:gd name="connsiteX23195" fmla="*/ 946784 w 3359086"/>
                <a:gd name="connsiteY23195" fmla="*/ 396907 h 3355086"/>
                <a:gd name="connsiteX23196" fmla="*/ 952976 w 3359086"/>
                <a:gd name="connsiteY23196" fmla="*/ 403098 h 3355086"/>
                <a:gd name="connsiteX23197" fmla="*/ 946784 w 3359086"/>
                <a:gd name="connsiteY23197" fmla="*/ 409289 h 3355086"/>
                <a:gd name="connsiteX23198" fmla="*/ 940593 w 3359086"/>
                <a:gd name="connsiteY23198" fmla="*/ 403098 h 3355086"/>
                <a:gd name="connsiteX23199" fmla="*/ 946784 w 3359086"/>
                <a:gd name="connsiteY23199" fmla="*/ 396907 h 3355086"/>
                <a:gd name="connsiteX23200" fmla="*/ 2673191 w 3359086"/>
                <a:gd name="connsiteY23200" fmla="*/ 396526 h 3355086"/>
                <a:gd name="connsiteX23201" fmla="*/ 2679382 w 3359086"/>
                <a:gd name="connsiteY23201" fmla="*/ 402717 h 3355086"/>
                <a:gd name="connsiteX23202" fmla="*/ 2673191 w 3359086"/>
                <a:gd name="connsiteY23202" fmla="*/ 408908 h 3355086"/>
                <a:gd name="connsiteX23203" fmla="*/ 2667000 w 3359086"/>
                <a:gd name="connsiteY23203" fmla="*/ 402717 h 3355086"/>
                <a:gd name="connsiteX23204" fmla="*/ 2673191 w 3359086"/>
                <a:gd name="connsiteY23204" fmla="*/ 396526 h 3355086"/>
                <a:gd name="connsiteX23205" fmla="*/ 1312735 w 3359086"/>
                <a:gd name="connsiteY23205" fmla="*/ 396431 h 3355086"/>
                <a:gd name="connsiteX23206" fmla="*/ 1318927 w 3359086"/>
                <a:gd name="connsiteY23206" fmla="*/ 402622 h 3355086"/>
                <a:gd name="connsiteX23207" fmla="*/ 1312735 w 3359086"/>
                <a:gd name="connsiteY23207" fmla="*/ 408813 h 3355086"/>
                <a:gd name="connsiteX23208" fmla="*/ 1306544 w 3359086"/>
                <a:gd name="connsiteY23208" fmla="*/ 402622 h 3355086"/>
                <a:gd name="connsiteX23209" fmla="*/ 1312735 w 3359086"/>
                <a:gd name="connsiteY23209" fmla="*/ 396431 h 3355086"/>
                <a:gd name="connsiteX23210" fmla="*/ 673226 w 3359086"/>
                <a:gd name="connsiteY23210" fmla="*/ 396335 h 3355086"/>
                <a:gd name="connsiteX23211" fmla="*/ 679418 w 3359086"/>
                <a:gd name="connsiteY23211" fmla="*/ 402526 h 3355086"/>
                <a:gd name="connsiteX23212" fmla="*/ 673226 w 3359086"/>
                <a:gd name="connsiteY23212" fmla="*/ 408718 h 3355086"/>
                <a:gd name="connsiteX23213" fmla="*/ 667035 w 3359086"/>
                <a:gd name="connsiteY23213" fmla="*/ 402526 h 3355086"/>
                <a:gd name="connsiteX23214" fmla="*/ 673226 w 3359086"/>
                <a:gd name="connsiteY23214" fmla="*/ 396335 h 3355086"/>
                <a:gd name="connsiteX23215" fmla="*/ 649128 w 3359086"/>
                <a:gd name="connsiteY23215" fmla="*/ 396050 h 3355086"/>
                <a:gd name="connsiteX23216" fmla="*/ 655320 w 3359086"/>
                <a:gd name="connsiteY23216" fmla="*/ 402241 h 3355086"/>
                <a:gd name="connsiteX23217" fmla="*/ 649128 w 3359086"/>
                <a:gd name="connsiteY23217" fmla="*/ 408432 h 3355086"/>
                <a:gd name="connsiteX23218" fmla="*/ 642937 w 3359086"/>
                <a:gd name="connsiteY23218" fmla="*/ 402241 h 3355086"/>
                <a:gd name="connsiteX23219" fmla="*/ 649128 w 3359086"/>
                <a:gd name="connsiteY23219" fmla="*/ 396050 h 3355086"/>
                <a:gd name="connsiteX23220" fmla="*/ 752379 w 3359086"/>
                <a:gd name="connsiteY23220" fmla="*/ 395383 h 3355086"/>
                <a:gd name="connsiteX23221" fmla="*/ 758571 w 3359086"/>
                <a:gd name="connsiteY23221" fmla="*/ 401574 h 3355086"/>
                <a:gd name="connsiteX23222" fmla="*/ 752379 w 3359086"/>
                <a:gd name="connsiteY23222" fmla="*/ 407765 h 3355086"/>
                <a:gd name="connsiteX23223" fmla="*/ 746188 w 3359086"/>
                <a:gd name="connsiteY23223" fmla="*/ 401574 h 3355086"/>
                <a:gd name="connsiteX23224" fmla="*/ 752379 w 3359086"/>
                <a:gd name="connsiteY23224" fmla="*/ 395383 h 3355086"/>
                <a:gd name="connsiteX23225" fmla="*/ 2717101 w 3359086"/>
                <a:gd name="connsiteY23225" fmla="*/ 393478 h 3355086"/>
                <a:gd name="connsiteX23226" fmla="*/ 2723293 w 3359086"/>
                <a:gd name="connsiteY23226" fmla="*/ 399669 h 3355086"/>
                <a:gd name="connsiteX23227" fmla="*/ 2717101 w 3359086"/>
                <a:gd name="connsiteY23227" fmla="*/ 405860 h 3355086"/>
                <a:gd name="connsiteX23228" fmla="*/ 2710910 w 3359086"/>
                <a:gd name="connsiteY23228" fmla="*/ 399669 h 3355086"/>
                <a:gd name="connsiteX23229" fmla="*/ 2717101 w 3359086"/>
                <a:gd name="connsiteY23229" fmla="*/ 393478 h 3355086"/>
                <a:gd name="connsiteX23230" fmla="*/ 608647 w 3359086"/>
                <a:gd name="connsiteY23230" fmla="*/ 392811 h 3355086"/>
                <a:gd name="connsiteX23231" fmla="*/ 614839 w 3359086"/>
                <a:gd name="connsiteY23231" fmla="*/ 399002 h 3355086"/>
                <a:gd name="connsiteX23232" fmla="*/ 608647 w 3359086"/>
                <a:gd name="connsiteY23232" fmla="*/ 405193 h 3355086"/>
                <a:gd name="connsiteX23233" fmla="*/ 602456 w 3359086"/>
                <a:gd name="connsiteY23233" fmla="*/ 399002 h 3355086"/>
                <a:gd name="connsiteX23234" fmla="*/ 608647 w 3359086"/>
                <a:gd name="connsiteY23234" fmla="*/ 392811 h 3355086"/>
                <a:gd name="connsiteX23235" fmla="*/ 2732055 w 3359086"/>
                <a:gd name="connsiteY23235" fmla="*/ 392526 h 3355086"/>
                <a:gd name="connsiteX23236" fmla="*/ 2738247 w 3359086"/>
                <a:gd name="connsiteY23236" fmla="*/ 398717 h 3355086"/>
                <a:gd name="connsiteX23237" fmla="*/ 2732055 w 3359086"/>
                <a:gd name="connsiteY23237" fmla="*/ 404908 h 3355086"/>
                <a:gd name="connsiteX23238" fmla="*/ 2725864 w 3359086"/>
                <a:gd name="connsiteY23238" fmla="*/ 398717 h 3355086"/>
                <a:gd name="connsiteX23239" fmla="*/ 2732055 w 3359086"/>
                <a:gd name="connsiteY23239" fmla="*/ 392526 h 3355086"/>
                <a:gd name="connsiteX23240" fmla="*/ 623315 w 3359086"/>
                <a:gd name="connsiteY23240" fmla="*/ 391954 h 3355086"/>
                <a:gd name="connsiteX23241" fmla="*/ 629506 w 3359086"/>
                <a:gd name="connsiteY23241" fmla="*/ 398145 h 3355086"/>
                <a:gd name="connsiteX23242" fmla="*/ 623315 w 3359086"/>
                <a:gd name="connsiteY23242" fmla="*/ 404336 h 3355086"/>
                <a:gd name="connsiteX23243" fmla="*/ 617124 w 3359086"/>
                <a:gd name="connsiteY23243" fmla="*/ 398145 h 3355086"/>
                <a:gd name="connsiteX23244" fmla="*/ 623315 w 3359086"/>
                <a:gd name="connsiteY23244" fmla="*/ 391954 h 3355086"/>
                <a:gd name="connsiteX23245" fmla="*/ 871346 w 3359086"/>
                <a:gd name="connsiteY23245" fmla="*/ 391763 h 3355086"/>
                <a:gd name="connsiteX23246" fmla="*/ 877537 w 3359086"/>
                <a:gd name="connsiteY23246" fmla="*/ 397954 h 3355086"/>
                <a:gd name="connsiteX23247" fmla="*/ 871346 w 3359086"/>
                <a:gd name="connsiteY23247" fmla="*/ 404145 h 3355086"/>
                <a:gd name="connsiteX23248" fmla="*/ 865155 w 3359086"/>
                <a:gd name="connsiteY23248" fmla="*/ 397954 h 3355086"/>
                <a:gd name="connsiteX23249" fmla="*/ 871346 w 3359086"/>
                <a:gd name="connsiteY23249" fmla="*/ 391763 h 3355086"/>
                <a:gd name="connsiteX23250" fmla="*/ 806957 w 3359086"/>
                <a:gd name="connsiteY23250" fmla="*/ 391573 h 3355086"/>
                <a:gd name="connsiteX23251" fmla="*/ 813149 w 3359086"/>
                <a:gd name="connsiteY23251" fmla="*/ 397764 h 3355086"/>
                <a:gd name="connsiteX23252" fmla="*/ 806957 w 3359086"/>
                <a:gd name="connsiteY23252" fmla="*/ 403956 h 3355086"/>
                <a:gd name="connsiteX23253" fmla="*/ 800766 w 3359086"/>
                <a:gd name="connsiteY23253" fmla="*/ 397764 h 3355086"/>
                <a:gd name="connsiteX23254" fmla="*/ 806957 w 3359086"/>
                <a:gd name="connsiteY23254" fmla="*/ 391573 h 3355086"/>
                <a:gd name="connsiteX23255" fmla="*/ 2702432 w 3359086"/>
                <a:gd name="connsiteY23255" fmla="*/ 391287 h 3355086"/>
                <a:gd name="connsiteX23256" fmla="*/ 2708623 w 3359086"/>
                <a:gd name="connsiteY23256" fmla="*/ 397478 h 3355086"/>
                <a:gd name="connsiteX23257" fmla="*/ 2702432 w 3359086"/>
                <a:gd name="connsiteY23257" fmla="*/ 403669 h 3355086"/>
                <a:gd name="connsiteX23258" fmla="*/ 2696241 w 3359086"/>
                <a:gd name="connsiteY23258" fmla="*/ 397478 h 3355086"/>
                <a:gd name="connsiteX23259" fmla="*/ 2702432 w 3359086"/>
                <a:gd name="connsiteY23259" fmla="*/ 391287 h 3355086"/>
                <a:gd name="connsiteX23260" fmla="*/ 1976818 w 3359086"/>
                <a:gd name="connsiteY23260" fmla="*/ 390906 h 3355086"/>
                <a:gd name="connsiteX23261" fmla="*/ 1983010 w 3359086"/>
                <a:gd name="connsiteY23261" fmla="*/ 397097 h 3355086"/>
                <a:gd name="connsiteX23262" fmla="*/ 1976818 w 3359086"/>
                <a:gd name="connsiteY23262" fmla="*/ 403289 h 3355086"/>
                <a:gd name="connsiteX23263" fmla="*/ 1970627 w 3359086"/>
                <a:gd name="connsiteY23263" fmla="*/ 397097 h 3355086"/>
                <a:gd name="connsiteX23264" fmla="*/ 1976818 w 3359086"/>
                <a:gd name="connsiteY23264" fmla="*/ 390906 h 3355086"/>
                <a:gd name="connsiteX23265" fmla="*/ 2604325 w 3359086"/>
                <a:gd name="connsiteY23265" fmla="*/ 390144 h 3355086"/>
                <a:gd name="connsiteX23266" fmla="*/ 2610517 w 3359086"/>
                <a:gd name="connsiteY23266" fmla="*/ 396335 h 3355086"/>
                <a:gd name="connsiteX23267" fmla="*/ 2604325 w 3359086"/>
                <a:gd name="connsiteY23267" fmla="*/ 402526 h 3355086"/>
                <a:gd name="connsiteX23268" fmla="*/ 2598134 w 3359086"/>
                <a:gd name="connsiteY23268" fmla="*/ 396335 h 3355086"/>
                <a:gd name="connsiteX23269" fmla="*/ 2604325 w 3359086"/>
                <a:gd name="connsiteY23269" fmla="*/ 390144 h 3355086"/>
                <a:gd name="connsiteX23270" fmla="*/ 638460 w 3359086"/>
                <a:gd name="connsiteY23270" fmla="*/ 388811 h 3355086"/>
                <a:gd name="connsiteX23271" fmla="*/ 644652 w 3359086"/>
                <a:gd name="connsiteY23271" fmla="*/ 395002 h 3355086"/>
                <a:gd name="connsiteX23272" fmla="*/ 638460 w 3359086"/>
                <a:gd name="connsiteY23272" fmla="*/ 401193 h 3355086"/>
                <a:gd name="connsiteX23273" fmla="*/ 632269 w 3359086"/>
                <a:gd name="connsiteY23273" fmla="*/ 395002 h 3355086"/>
                <a:gd name="connsiteX23274" fmla="*/ 638460 w 3359086"/>
                <a:gd name="connsiteY23274" fmla="*/ 388811 h 3355086"/>
                <a:gd name="connsiteX23275" fmla="*/ 1113567 w 3359086"/>
                <a:gd name="connsiteY23275" fmla="*/ 388620 h 3355086"/>
                <a:gd name="connsiteX23276" fmla="*/ 1119758 w 3359086"/>
                <a:gd name="connsiteY23276" fmla="*/ 394811 h 3355086"/>
                <a:gd name="connsiteX23277" fmla="*/ 1113567 w 3359086"/>
                <a:gd name="connsiteY23277" fmla="*/ 401002 h 3355086"/>
                <a:gd name="connsiteX23278" fmla="*/ 1107376 w 3359086"/>
                <a:gd name="connsiteY23278" fmla="*/ 394811 h 3355086"/>
                <a:gd name="connsiteX23279" fmla="*/ 1113567 w 3359086"/>
                <a:gd name="connsiteY23279" fmla="*/ 388620 h 3355086"/>
                <a:gd name="connsiteX23280" fmla="*/ 2686430 w 3359086"/>
                <a:gd name="connsiteY23280" fmla="*/ 387763 h 3355086"/>
                <a:gd name="connsiteX23281" fmla="*/ 2692621 w 3359086"/>
                <a:gd name="connsiteY23281" fmla="*/ 393954 h 3355086"/>
                <a:gd name="connsiteX23282" fmla="*/ 2686430 w 3359086"/>
                <a:gd name="connsiteY23282" fmla="*/ 400145 h 3355086"/>
                <a:gd name="connsiteX23283" fmla="*/ 2680239 w 3359086"/>
                <a:gd name="connsiteY23283" fmla="*/ 393954 h 3355086"/>
                <a:gd name="connsiteX23284" fmla="*/ 2686430 w 3359086"/>
                <a:gd name="connsiteY23284" fmla="*/ 387763 h 3355086"/>
                <a:gd name="connsiteX23285" fmla="*/ 2749010 w 3359086"/>
                <a:gd name="connsiteY23285" fmla="*/ 387477 h 3355086"/>
                <a:gd name="connsiteX23286" fmla="*/ 2755010 w 3359086"/>
                <a:gd name="connsiteY23286" fmla="*/ 393478 h 3355086"/>
                <a:gd name="connsiteX23287" fmla="*/ 2749010 w 3359086"/>
                <a:gd name="connsiteY23287" fmla="*/ 399479 h 3355086"/>
                <a:gd name="connsiteX23288" fmla="*/ 2743009 w 3359086"/>
                <a:gd name="connsiteY23288" fmla="*/ 393478 h 3355086"/>
                <a:gd name="connsiteX23289" fmla="*/ 2749010 w 3359086"/>
                <a:gd name="connsiteY23289" fmla="*/ 387477 h 3355086"/>
                <a:gd name="connsiteX23290" fmla="*/ 2352674 w 3359086"/>
                <a:gd name="connsiteY23290" fmla="*/ 386525 h 3355086"/>
                <a:gd name="connsiteX23291" fmla="*/ 2358865 w 3359086"/>
                <a:gd name="connsiteY23291" fmla="*/ 392716 h 3355086"/>
                <a:gd name="connsiteX23292" fmla="*/ 2352674 w 3359086"/>
                <a:gd name="connsiteY23292" fmla="*/ 398907 h 3355086"/>
                <a:gd name="connsiteX23293" fmla="*/ 2346483 w 3359086"/>
                <a:gd name="connsiteY23293" fmla="*/ 392716 h 3355086"/>
                <a:gd name="connsiteX23294" fmla="*/ 2352674 w 3359086"/>
                <a:gd name="connsiteY23294" fmla="*/ 386525 h 3355086"/>
                <a:gd name="connsiteX23295" fmla="*/ 709897 w 3359086"/>
                <a:gd name="connsiteY23295" fmla="*/ 385477 h 3355086"/>
                <a:gd name="connsiteX23296" fmla="*/ 716089 w 3359086"/>
                <a:gd name="connsiteY23296" fmla="*/ 391668 h 3355086"/>
                <a:gd name="connsiteX23297" fmla="*/ 709897 w 3359086"/>
                <a:gd name="connsiteY23297" fmla="*/ 397859 h 3355086"/>
                <a:gd name="connsiteX23298" fmla="*/ 703706 w 3359086"/>
                <a:gd name="connsiteY23298" fmla="*/ 391668 h 3355086"/>
                <a:gd name="connsiteX23299" fmla="*/ 709897 w 3359086"/>
                <a:gd name="connsiteY23299" fmla="*/ 385477 h 3355086"/>
                <a:gd name="connsiteX23300" fmla="*/ 1405127 w 3359086"/>
                <a:gd name="connsiteY23300" fmla="*/ 385382 h 3355086"/>
                <a:gd name="connsiteX23301" fmla="*/ 1411319 w 3359086"/>
                <a:gd name="connsiteY23301" fmla="*/ 391573 h 3355086"/>
                <a:gd name="connsiteX23302" fmla="*/ 1405127 w 3359086"/>
                <a:gd name="connsiteY23302" fmla="*/ 397764 h 3355086"/>
                <a:gd name="connsiteX23303" fmla="*/ 1398936 w 3359086"/>
                <a:gd name="connsiteY23303" fmla="*/ 391573 h 3355086"/>
                <a:gd name="connsiteX23304" fmla="*/ 1405127 w 3359086"/>
                <a:gd name="connsiteY23304" fmla="*/ 385382 h 3355086"/>
                <a:gd name="connsiteX23305" fmla="*/ 656176 w 3359086"/>
                <a:gd name="connsiteY23305" fmla="*/ 385191 h 3355086"/>
                <a:gd name="connsiteX23306" fmla="*/ 662368 w 3359086"/>
                <a:gd name="connsiteY23306" fmla="*/ 391382 h 3355086"/>
                <a:gd name="connsiteX23307" fmla="*/ 656176 w 3359086"/>
                <a:gd name="connsiteY23307" fmla="*/ 397573 h 3355086"/>
                <a:gd name="connsiteX23308" fmla="*/ 649985 w 3359086"/>
                <a:gd name="connsiteY23308" fmla="*/ 391382 h 3355086"/>
                <a:gd name="connsiteX23309" fmla="*/ 656176 w 3359086"/>
                <a:gd name="connsiteY23309" fmla="*/ 385191 h 3355086"/>
                <a:gd name="connsiteX23310" fmla="*/ 2666618 w 3359086"/>
                <a:gd name="connsiteY23310" fmla="*/ 384620 h 3355086"/>
                <a:gd name="connsiteX23311" fmla="*/ 2672809 w 3359086"/>
                <a:gd name="connsiteY23311" fmla="*/ 390811 h 3355086"/>
                <a:gd name="connsiteX23312" fmla="*/ 2666618 w 3359086"/>
                <a:gd name="connsiteY23312" fmla="*/ 397002 h 3355086"/>
                <a:gd name="connsiteX23313" fmla="*/ 2660427 w 3359086"/>
                <a:gd name="connsiteY23313" fmla="*/ 390811 h 3355086"/>
                <a:gd name="connsiteX23314" fmla="*/ 2666618 w 3359086"/>
                <a:gd name="connsiteY23314" fmla="*/ 384620 h 3355086"/>
                <a:gd name="connsiteX23315" fmla="*/ 2640329 w 3359086"/>
                <a:gd name="connsiteY23315" fmla="*/ 384525 h 3355086"/>
                <a:gd name="connsiteX23316" fmla="*/ 2646521 w 3359086"/>
                <a:gd name="connsiteY23316" fmla="*/ 390716 h 3355086"/>
                <a:gd name="connsiteX23317" fmla="*/ 2640329 w 3359086"/>
                <a:gd name="connsiteY23317" fmla="*/ 396907 h 3355086"/>
                <a:gd name="connsiteX23318" fmla="*/ 2634138 w 3359086"/>
                <a:gd name="connsiteY23318" fmla="*/ 390716 h 3355086"/>
                <a:gd name="connsiteX23319" fmla="*/ 2640329 w 3359086"/>
                <a:gd name="connsiteY23319" fmla="*/ 384525 h 3355086"/>
                <a:gd name="connsiteX23320" fmla="*/ 2711195 w 3359086"/>
                <a:gd name="connsiteY23320" fmla="*/ 384048 h 3355086"/>
                <a:gd name="connsiteX23321" fmla="*/ 2717387 w 3359086"/>
                <a:gd name="connsiteY23321" fmla="*/ 390239 h 3355086"/>
                <a:gd name="connsiteX23322" fmla="*/ 2711195 w 3359086"/>
                <a:gd name="connsiteY23322" fmla="*/ 396430 h 3355086"/>
                <a:gd name="connsiteX23323" fmla="*/ 2705004 w 3359086"/>
                <a:gd name="connsiteY23323" fmla="*/ 390239 h 3355086"/>
                <a:gd name="connsiteX23324" fmla="*/ 2711195 w 3359086"/>
                <a:gd name="connsiteY23324" fmla="*/ 384048 h 3355086"/>
                <a:gd name="connsiteX23325" fmla="*/ 2555938 w 3359086"/>
                <a:gd name="connsiteY23325" fmla="*/ 383477 h 3355086"/>
                <a:gd name="connsiteX23326" fmla="*/ 2562129 w 3359086"/>
                <a:gd name="connsiteY23326" fmla="*/ 389668 h 3355086"/>
                <a:gd name="connsiteX23327" fmla="*/ 2555938 w 3359086"/>
                <a:gd name="connsiteY23327" fmla="*/ 395859 h 3355086"/>
                <a:gd name="connsiteX23328" fmla="*/ 2549747 w 3359086"/>
                <a:gd name="connsiteY23328" fmla="*/ 389668 h 3355086"/>
                <a:gd name="connsiteX23329" fmla="*/ 2555938 w 3359086"/>
                <a:gd name="connsiteY23329" fmla="*/ 383477 h 3355086"/>
                <a:gd name="connsiteX23330" fmla="*/ 679036 w 3359086"/>
                <a:gd name="connsiteY23330" fmla="*/ 383191 h 3355086"/>
                <a:gd name="connsiteX23331" fmla="*/ 685228 w 3359086"/>
                <a:gd name="connsiteY23331" fmla="*/ 389382 h 3355086"/>
                <a:gd name="connsiteX23332" fmla="*/ 679036 w 3359086"/>
                <a:gd name="connsiteY23332" fmla="*/ 395573 h 3355086"/>
                <a:gd name="connsiteX23333" fmla="*/ 672845 w 3359086"/>
                <a:gd name="connsiteY23333" fmla="*/ 389382 h 3355086"/>
                <a:gd name="connsiteX23334" fmla="*/ 679036 w 3359086"/>
                <a:gd name="connsiteY23334" fmla="*/ 383191 h 3355086"/>
                <a:gd name="connsiteX23335" fmla="*/ 613981 w 3359086"/>
                <a:gd name="connsiteY23335" fmla="*/ 382905 h 3355086"/>
                <a:gd name="connsiteX23336" fmla="*/ 620172 w 3359086"/>
                <a:gd name="connsiteY23336" fmla="*/ 389096 h 3355086"/>
                <a:gd name="connsiteX23337" fmla="*/ 613981 w 3359086"/>
                <a:gd name="connsiteY23337" fmla="*/ 395288 h 3355086"/>
                <a:gd name="connsiteX23338" fmla="*/ 607790 w 3359086"/>
                <a:gd name="connsiteY23338" fmla="*/ 389096 h 3355086"/>
                <a:gd name="connsiteX23339" fmla="*/ 613981 w 3359086"/>
                <a:gd name="connsiteY23339" fmla="*/ 382905 h 3355086"/>
                <a:gd name="connsiteX23340" fmla="*/ 629697 w 3359086"/>
                <a:gd name="connsiteY23340" fmla="*/ 382810 h 3355086"/>
                <a:gd name="connsiteX23341" fmla="*/ 635889 w 3359086"/>
                <a:gd name="connsiteY23341" fmla="*/ 389001 h 3355086"/>
                <a:gd name="connsiteX23342" fmla="*/ 629697 w 3359086"/>
                <a:gd name="connsiteY23342" fmla="*/ 395192 h 3355086"/>
                <a:gd name="connsiteX23343" fmla="*/ 623506 w 3359086"/>
                <a:gd name="connsiteY23343" fmla="*/ 389001 h 3355086"/>
                <a:gd name="connsiteX23344" fmla="*/ 629697 w 3359086"/>
                <a:gd name="connsiteY23344" fmla="*/ 382810 h 3355086"/>
                <a:gd name="connsiteX23345" fmla="*/ 2695669 w 3359086"/>
                <a:gd name="connsiteY23345" fmla="*/ 382334 h 3355086"/>
                <a:gd name="connsiteX23346" fmla="*/ 2701861 w 3359086"/>
                <a:gd name="connsiteY23346" fmla="*/ 388525 h 3355086"/>
                <a:gd name="connsiteX23347" fmla="*/ 2695669 w 3359086"/>
                <a:gd name="connsiteY23347" fmla="*/ 394716 h 3355086"/>
                <a:gd name="connsiteX23348" fmla="*/ 2689478 w 3359086"/>
                <a:gd name="connsiteY23348" fmla="*/ 388525 h 3355086"/>
                <a:gd name="connsiteX23349" fmla="*/ 2695669 w 3359086"/>
                <a:gd name="connsiteY23349" fmla="*/ 382334 h 3355086"/>
                <a:gd name="connsiteX23350" fmla="*/ 2727483 w 3359086"/>
                <a:gd name="connsiteY23350" fmla="*/ 382048 h 3355086"/>
                <a:gd name="connsiteX23351" fmla="*/ 2733674 w 3359086"/>
                <a:gd name="connsiteY23351" fmla="*/ 388239 h 3355086"/>
                <a:gd name="connsiteX23352" fmla="*/ 2727483 w 3359086"/>
                <a:gd name="connsiteY23352" fmla="*/ 394431 h 3355086"/>
                <a:gd name="connsiteX23353" fmla="*/ 2721292 w 3359086"/>
                <a:gd name="connsiteY23353" fmla="*/ 388239 h 3355086"/>
                <a:gd name="connsiteX23354" fmla="*/ 2727483 w 3359086"/>
                <a:gd name="connsiteY23354" fmla="*/ 382048 h 3355086"/>
                <a:gd name="connsiteX23355" fmla="*/ 2746152 w 3359086"/>
                <a:gd name="connsiteY23355" fmla="*/ 381381 h 3355086"/>
                <a:gd name="connsiteX23356" fmla="*/ 2746343 w 3359086"/>
                <a:gd name="connsiteY23356" fmla="*/ 381572 h 3355086"/>
                <a:gd name="connsiteX23357" fmla="*/ 2746152 w 3359086"/>
                <a:gd name="connsiteY23357" fmla="*/ 381762 h 3355086"/>
                <a:gd name="connsiteX23358" fmla="*/ 2745962 w 3359086"/>
                <a:gd name="connsiteY23358" fmla="*/ 381572 h 3355086"/>
                <a:gd name="connsiteX23359" fmla="*/ 2746152 w 3359086"/>
                <a:gd name="connsiteY23359" fmla="*/ 381381 h 3355086"/>
                <a:gd name="connsiteX23360" fmla="*/ 1883282 w 3359086"/>
                <a:gd name="connsiteY23360" fmla="*/ 381381 h 3355086"/>
                <a:gd name="connsiteX23361" fmla="*/ 1889473 w 3359086"/>
                <a:gd name="connsiteY23361" fmla="*/ 387572 h 3355086"/>
                <a:gd name="connsiteX23362" fmla="*/ 1883282 w 3359086"/>
                <a:gd name="connsiteY23362" fmla="*/ 393764 h 3355086"/>
                <a:gd name="connsiteX23363" fmla="*/ 1877091 w 3359086"/>
                <a:gd name="connsiteY23363" fmla="*/ 387572 h 3355086"/>
                <a:gd name="connsiteX23364" fmla="*/ 1883282 w 3359086"/>
                <a:gd name="connsiteY23364" fmla="*/ 381381 h 3355086"/>
                <a:gd name="connsiteX23365" fmla="*/ 2431351 w 3359086"/>
                <a:gd name="connsiteY23365" fmla="*/ 380619 h 3355086"/>
                <a:gd name="connsiteX23366" fmla="*/ 2437543 w 3359086"/>
                <a:gd name="connsiteY23366" fmla="*/ 386810 h 3355086"/>
                <a:gd name="connsiteX23367" fmla="*/ 2431351 w 3359086"/>
                <a:gd name="connsiteY23367" fmla="*/ 393001 h 3355086"/>
                <a:gd name="connsiteX23368" fmla="*/ 2425160 w 3359086"/>
                <a:gd name="connsiteY23368" fmla="*/ 386810 h 3355086"/>
                <a:gd name="connsiteX23369" fmla="*/ 2431351 w 3359086"/>
                <a:gd name="connsiteY23369" fmla="*/ 380619 h 3355086"/>
                <a:gd name="connsiteX23370" fmla="*/ 2180748 w 3359086"/>
                <a:gd name="connsiteY23370" fmla="*/ 380238 h 3355086"/>
                <a:gd name="connsiteX23371" fmla="*/ 2186940 w 3359086"/>
                <a:gd name="connsiteY23371" fmla="*/ 386429 h 3355086"/>
                <a:gd name="connsiteX23372" fmla="*/ 2180748 w 3359086"/>
                <a:gd name="connsiteY23372" fmla="*/ 392620 h 3355086"/>
                <a:gd name="connsiteX23373" fmla="*/ 2174557 w 3359086"/>
                <a:gd name="connsiteY23373" fmla="*/ 386429 h 3355086"/>
                <a:gd name="connsiteX23374" fmla="*/ 2180748 w 3359086"/>
                <a:gd name="connsiteY23374" fmla="*/ 380238 h 3355086"/>
                <a:gd name="connsiteX23375" fmla="*/ 2498692 w 3359086"/>
                <a:gd name="connsiteY23375" fmla="*/ 379953 h 3355086"/>
                <a:gd name="connsiteX23376" fmla="*/ 2504884 w 3359086"/>
                <a:gd name="connsiteY23376" fmla="*/ 386144 h 3355086"/>
                <a:gd name="connsiteX23377" fmla="*/ 2498692 w 3359086"/>
                <a:gd name="connsiteY23377" fmla="*/ 392335 h 3355086"/>
                <a:gd name="connsiteX23378" fmla="*/ 2492501 w 3359086"/>
                <a:gd name="connsiteY23378" fmla="*/ 386144 h 3355086"/>
                <a:gd name="connsiteX23379" fmla="*/ 2498692 w 3359086"/>
                <a:gd name="connsiteY23379" fmla="*/ 379953 h 3355086"/>
                <a:gd name="connsiteX23380" fmla="*/ 645413 w 3359086"/>
                <a:gd name="connsiteY23380" fmla="*/ 379762 h 3355086"/>
                <a:gd name="connsiteX23381" fmla="*/ 651605 w 3359086"/>
                <a:gd name="connsiteY23381" fmla="*/ 385953 h 3355086"/>
                <a:gd name="connsiteX23382" fmla="*/ 645413 w 3359086"/>
                <a:gd name="connsiteY23382" fmla="*/ 392144 h 3355086"/>
                <a:gd name="connsiteX23383" fmla="*/ 639222 w 3359086"/>
                <a:gd name="connsiteY23383" fmla="*/ 385953 h 3355086"/>
                <a:gd name="connsiteX23384" fmla="*/ 645413 w 3359086"/>
                <a:gd name="connsiteY23384" fmla="*/ 379762 h 3355086"/>
                <a:gd name="connsiteX23385" fmla="*/ 2679382 w 3359086"/>
                <a:gd name="connsiteY23385" fmla="*/ 378429 h 3355086"/>
                <a:gd name="connsiteX23386" fmla="*/ 2685574 w 3359086"/>
                <a:gd name="connsiteY23386" fmla="*/ 384620 h 3355086"/>
                <a:gd name="connsiteX23387" fmla="*/ 2679382 w 3359086"/>
                <a:gd name="connsiteY23387" fmla="*/ 390811 h 3355086"/>
                <a:gd name="connsiteX23388" fmla="*/ 2673191 w 3359086"/>
                <a:gd name="connsiteY23388" fmla="*/ 384620 h 3355086"/>
                <a:gd name="connsiteX23389" fmla="*/ 2679382 w 3359086"/>
                <a:gd name="connsiteY23389" fmla="*/ 378429 h 3355086"/>
                <a:gd name="connsiteX23390" fmla="*/ 618458 w 3359086"/>
                <a:gd name="connsiteY23390" fmla="*/ 377857 h 3355086"/>
                <a:gd name="connsiteX23391" fmla="*/ 619696 w 3359086"/>
                <a:gd name="connsiteY23391" fmla="*/ 379095 h 3355086"/>
                <a:gd name="connsiteX23392" fmla="*/ 618458 w 3359086"/>
                <a:gd name="connsiteY23392" fmla="*/ 380334 h 3355086"/>
                <a:gd name="connsiteX23393" fmla="*/ 617220 w 3359086"/>
                <a:gd name="connsiteY23393" fmla="*/ 379095 h 3355086"/>
                <a:gd name="connsiteX23394" fmla="*/ 618458 w 3359086"/>
                <a:gd name="connsiteY23394" fmla="*/ 377857 h 3355086"/>
                <a:gd name="connsiteX23395" fmla="*/ 1499615 w 3359086"/>
                <a:gd name="connsiteY23395" fmla="*/ 377571 h 3355086"/>
                <a:gd name="connsiteX23396" fmla="*/ 1505807 w 3359086"/>
                <a:gd name="connsiteY23396" fmla="*/ 383762 h 3355086"/>
                <a:gd name="connsiteX23397" fmla="*/ 1499615 w 3359086"/>
                <a:gd name="connsiteY23397" fmla="*/ 389953 h 3355086"/>
                <a:gd name="connsiteX23398" fmla="*/ 1493424 w 3359086"/>
                <a:gd name="connsiteY23398" fmla="*/ 383762 h 3355086"/>
                <a:gd name="connsiteX23399" fmla="*/ 1499615 w 3359086"/>
                <a:gd name="connsiteY23399" fmla="*/ 377571 h 3355086"/>
                <a:gd name="connsiteX23400" fmla="*/ 753332 w 3359086"/>
                <a:gd name="connsiteY23400" fmla="*/ 376428 h 3355086"/>
                <a:gd name="connsiteX23401" fmla="*/ 759523 w 3359086"/>
                <a:gd name="connsiteY23401" fmla="*/ 382619 h 3355086"/>
                <a:gd name="connsiteX23402" fmla="*/ 753332 w 3359086"/>
                <a:gd name="connsiteY23402" fmla="*/ 388811 h 3355086"/>
                <a:gd name="connsiteX23403" fmla="*/ 747141 w 3359086"/>
                <a:gd name="connsiteY23403" fmla="*/ 382619 h 3355086"/>
                <a:gd name="connsiteX23404" fmla="*/ 753332 w 3359086"/>
                <a:gd name="connsiteY23404" fmla="*/ 376428 h 3355086"/>
                <a:gd name="connsiteX23405" fmla="*/ 663034 w 3359086"/>
                <a:gd name="connsiteY23405" fmla="*/ 375381 h 3355086"/>
                <a:gd name="connsiteX23406" fmla="*/ 669226 w 3359086"/>
                <a:gd name="connsiteY23406" fmla="*/ 381572 h 3355086"/>
                <a:gd name="connsiteX23407" fmla="*/ 663034 w 3359086"/>
                <a:gd name="connsiteY23407" fmla="*/ 387763 h 3355086"/>
                <a:gd name="connsiteX23408" fmla="*/ 656843 w 3359086"/>
                <a:gd name="connsiteY23408" fmla="*/ 381572 h 3355086"/>
                <a:gd name="connsiteX23409" fmla="*/ 663034 w 3359086"/>
                <a:gd name="connsiteY23409" fmla="*/ 375381 h 3355086"/>
                <a:gd name="connsiteX23410" fmla="*/ 1788128 w 3359086"/>
                <a:gd name="connsiteY23410" fmla="*/ 375095 h 3355086"/>
                <a:gd name="connsiteX23411" fmla="*/ 1794320 w 3359086"/>
                <a:gd name="connsiteY23411" fmla="*/ 381286 h 3355086"/>
                <a:gd name="connsiteX23412" fmla="*/ 1788128 w 3359086"/>
                <a:gd name="connsiteY23412" fmla="*/ 387477 h 3355086"/>
                <a:gd name="connsiteX23413" fmla="*/ 1781937 w 3359086"/>
                <a:gd name="connsiteY23413" fmla="*/ 381286 h 3355086"/>
                <a:gd name="connsiteX23414" fmla="*/ 1788128 w 3359086"/>
                <a:gd name="connsiteY23414" fmla="*/ 375095 h 3355086"/>
                <a:gd name="connsiteX23415" fmla="*/ 1018222 w 3359086"/>
                <a:gd name="connsiteY23415" fmla="*/ 375000 h 3355086"/>
                <a:gd name="connsiteX23416" fmla="*/ 1024414 w 3359086"/>
                <a:gd name="connsiteY23416" fmla="*/ 381191 h 3355086"/>
                <a:gd name="connsiteX23417" fmla="*/ 1018222 w 3359086"/>
                <a:gd name="connsiteY23417" fmla="*/ 387382 h 3355086"/>
                <a:gd name="connsiteX23418" fmla="*/ 1012031 w 3359086"/>
                <a:gd name="connsiteY23418" fmla="*/ 381191 h 3355086"/>
                <a:gd name="connsiteX23419" fmla="*/ 1018222 w 3359086"/>
                <a:gd name="connsiteY23419" fmla="*/ 375000 h 3355086"/>
                <a:gd name="connsiteX23420" fmla="*/ 2705957 w 3359086"/>
                <a:gd name="connsiteY23420" fmla="*/ 374523 h 3355086"/>
                <a:gd name="connsiteX23421" fmla="*/ 2712148 w 3359086"/>
                <a:gd name="connsiteY23421" fmla="*/ 380714 h 3355086"/>
                <a:gd name="connsiteX23422" fmla="*/ 2705957 w 3359086"/>
                <a:gd name="connsiteY23422" fmla="*/ 386905 h 3355086"/>
                <a:gd name="connsiteX23423" fmla="*/ 2699766 w 3359086"/>
                <a:gd name="connsiteY23423" fmla="*/ 380714 h 3355086"/>
                <a:gd name="connsiteX23424" fmla="*/ 2705957 w 3359086"/>
                <a:gd name="connsiteY23424" fmla="*/ 374523 h 3355086"/>
                <a:gd name="connsiteX23425" fmla="*/ 2660046 w 3359086"/>
                <a:gd name="connsiteY23425" fmla="*/ 374047 h 3355086"/>
                <a:gd name="connsiteX23426" fmla="*/ 2666238 w 3359086"/>
                <a:gd name="connsiteY23426" fmla="*/ 380238 h 3355086"/>
                <a:gd name="connsiteX23427" fmla="*/ 2660046 w 3359086"/>
                <a:gd name="connsiteY23427" fmla="*/ 386430 h 3355086"/>
                <a:gd name="connsiteX23428" fmla="*/ 2653855 w 3359086"/>
                <a:gd name="connsiteY23428" fmla="*/ 380238 h 3355086"/>
                <a:gd name="connsiteX23429" fmla="*/ 2660046 w 3359086"/>
                <a:gd name="connsiteY23429" fmla="*/ 374047 h 3355086"/>
                <a:gd name="connsiteX23430" fmla="*/ 635507 w 3359086"/>
                <a:gd name="connsiteY23430" fmla="*/ 373857 h 3355086"/>
                <a:gd name="connsiteX23431" fmla="*/ 641699 w 3359086"/>
                <a:gd name="connsiteY23431" fmla="*/ 380048 h 3355086"/>
                <a:gd name="connsiteX23432" fmla="*/ 635507 w 3359086"/>
                <a:gd name="connsiteY23432" fmla="*/ 386239 h 3355086"/>
                <a:gd name="connsiteX23433" fmla="*/ 629316 w 3359086"/>
                <a:gd name="connsiteY23433" fmla="*/ 380048 h 3355086"/>
                <a:gd name="connsiteX23434" fmla="*/ 635507 w 3359086"/>
                <a:gd name="connsiteY23434" fmla="*/ 373857 h 3355086"/>
                <a:gd name="connsiteX23435" fmla="*/ 2601658 w 3359086"/>
                <a:gd name="connsiteY23435" fmla="*/ 373666 h 3355086"/>
                <a:gd name="connsiteX23436" fmla="*/ 2607850 w 3359086"/>
                <a:gd name="connsiteY23436" fmla="*/ 379857 h 3355086"/>
                <a:gd name="connsiteX23437" fmla="*/ 2601658 w 3359086"/>
                <a:gd name="connsiteY23437" fmla="*/ 386048 h 3355086"/>
                <a:gd name="connsiteX23438" fmla="*/ 2595467 w 3359086"/>
                <a:gd name="connsiteY23438" fmla="*/ 379857 h 3355086"/>
                <a:gd name="connsiteX23439" fmla="*/ 2601658 w 3359086"/>
                <a:gd name="connsiteY23439" fmla="*/ 373666 h 3355086"/>
                <a:gd name="connsiteX23440" fmla="*/ 2689478 w 3359086"/>
                <a:gd name="connsiteY23440" fmla="*/ 373571 h 3355086"/>
                <a:gd name="connsiteX23441" fmla="*/ 2695670 w 3359086"/>
                <a:gd name="connsiteY23441" fmla="*/ 379762 h 3355086"/>
                <a:gd name="connsiteX23442" fmla="*/ 2689478 w 3359086"/>
                <a:gd name="connsiteY23442" fmla="*/ 385953 h 3355086"/>
                <a:gd name="connsiteX23443" fmla="*/ 2683287 w 3359086"/>
                <a:gd name="connsiteY23443" fmla="*/ 379762 h 3355086"/>
                <a:gd name="connsiteX23444" fmla="*/ 2689478 w 3359086"/>
                <a:gd name="connsiteY23444" fmla="*/ 373571 h 3355086"/>
                <a:gd name="connsiteX23445" fmla="*/ 1595532 w 3359086"/>
                <a:gd name="connsiteY23445" fmla="*/ 373190 h 3355086"/>
                <a:gd name="connsiteX23446" fmla="*/ 1601724 w 3359086"/>
                <a:gd name="connsiteY23446" fmla="*/ 379381 h 3355086"/>
                <a:gd name="connsiteX23447" fmla="*/ 1595532 w 3359086"/>
                <a:gd name="connsiteY23447" fmla="*/ 385573 h 3355086"/>
                <a:gd name="connsiteX23448" fmla="*/ 1589341 w 3359086"/>
                <a:gd name="connsiteY23448" fmla="*/ 379381 h 3355086"/>
                <a:gd name="connsiteX23449" fmla="*/ 1595532 w 3359086"/>
                <a:gd name="connsiteY23449" fmla="*/ 373190 h 3355086"/>
                <a:gd name="connsiteX23450" fmla="*/ 1691925 w 3359086"/>
                <a:gd name="connsiteY23450" fmla="*/ 372333 h 3355086"/>
                <a:gd name="connsiteX23451" fmla="*/ 1698117 w 3359086"/>
                <a:gd name="connsiteY23451" fmla="*/ 378524 h 3355086"/>
                <a:gd name="connsiteX23452" fmla="*/ 1691925 w 3359086"/>
                <a:gd name="connsiteY23452" fmla="*/ 384715 h 3355086"/>
                <a:gd name="connsiteX23453" fmla="*/ 1685734 w 3359086"/>
                <a:gd name="connsiteY23453" fmla="*/ 378524 h 3355086"/>
                <a:gd name="connsiteX23454" fmla="*/ 1691925 w 3359086"/>
                <a:gd name="connsiteY23454" fmla="*/ 372333 h 3355086"/>
                <a:gd name="connsiteX23455" fmla="*/ 2635186 w 3359086"/>
                <a:gd name="connsiteY23455" fmla="*/ 371571 h 3355086"/>
                <a:gd name="connsiteX23456" fmla="*/ 2641377 w 3359086"/>
                <a:gd name="connsiteY23456" fmla="*/ 377762 h 3355086"/>
                <a:gd name="connsiteX23457" fmla="*/ 2635186 w 3359086"/>
                <a:gd name="connsiteY23457" fmla="*/ 383953 h 3355086"/>
                <a:gd name="connsiteX23458" fmla="*/ 2628995 w 3359086"/>
                <a:gd name="connsiteY23458" fmla="*/ 377762 h 3355086"/>
                <a:gd name="connsiteX23459" fmla="*/ 2635186 w 3359086"/>
                <a:gd name="connsiteY23459" fmla="*/ 371571 h 3355086"/>
                <a:gd name="connsiteX23460" fmla="*/ 684942 w 3359086"/>
                <a:gd name="connsiteY23460" fmla="*/ 371571 h 3355086"/>
                <a:gd name="connsiteX23461" fmla="*/ 691133 w 3359086"/>
                <a:gd name="connsiteY23461" fmla="*/ 377762 h 3355086"/>
                <a:gd name="connsiteX23462" fmla="*/ 684942 w 3359086"/>
                <a:gd name="connsiteY23462" fmla="*/ 383953 h 3355086"/>
                <a:gd name="connsiteX23463" fmla="*/ 678751 w 3359086"/>
                <a:gd name="connsiteY23463" fmla="*/ 377762 h 3355086"/>
                <a:gd name="connsiteX23464" fmla="*/ 684942 w 3359086"/>
                <a:gd name="connsiteY23464" fmla="*/ 371571 h 3355086"/>
                <a:gd name="connsiteX23465" fmla="*/ 2723768 w 3359086"/>
                <a:gd name="connsiteY23465" fmla="*/ 371380 h 3355086"/>
                <a:gd name="connsiteX23466" fmla="*/ 2729959 w 3359086"/>
                <a:gd name="connsiteY23466" fmla="*/ 377571 h 3355086"/>
                <a:gd name="connsiteX23467" fmla="*/ 2723768 w 3359086"/>
                <a:gd name="connsiteY23467" fmla="*/ 383762 h 3355086"/>
                <a:gd name="connsiteX23468" fmla="*/ 2717577 w 3359086"/>
                <a:gd name="connsiteY23468" fmla="*/ 377571 h 3355086"/>
                <a:gd name="connsiteX23469" fmla="*/ 2723768 w 3359086"/>
                <a:gd name="connsiteY23469" fmla="*/ 371380 h 3355086"/>
                <a:gd name="connsiteX23470" fmla="*/ 1195863 w 3359086"/>
                <a:gd name="connsiteY23470" fmla="*/ 371189 h 3355086"/>
                <a:gd name="connsiteX23471" fmla="*/ 1202054 w 3359086"/>
                <a:gd name="connsiteY23471" fmla="*/ 377380 h 3355086"/>
                <a:gd name="connsiteX23472" fmla="*/ 1195863 w 3359086"/>
                <a:gd name="connsiteY23472" fmla="*/ 383571 h 3355086"/>
                <a:gd name="connsiteX23473" fmla="*/ 1189672 w 3359086"/>
                <a:gd name="connsiteY23473" fmla="*/ 377380 h 3355086"/>
                <a:gd name="connsiteX23474" fmla="*/ 1195863 w 3359086"/>
                <a:gd name="connsiteY23474" fmla="*/ 371189 h 3355086"/>
                <a:gd name="connsiteX23475" fmla="*/ 651986 w 3359086"/>
                <a:gd name="connsiteY23475" fmla="*/ 371189 h 3355086"/>
                <a:gd name="connsiteX23476" fmla="*/ 658177 w 3359086"/>
                <a:gd name="connsiteY23476" fmla="*/ 377380 h 3355086"/>
                <a:gd name="connsiteX23477" fmla="*/ 651986 w 3359086"/>
                <a:gd name="connsiteY23477" fmla="*/ 383571 h 3355086"/>
                <a:gd name="connsiteX23478" fmla="*/ 645795 w 3359086"/>
                <a:gd name="connsiteY23478" fmla="*/ 377380 h 3355086"/>
                <a:gd name="connsiteX23479" fmla="*/ 651986 w 3359086"/>
                <a:gd name="connsiteY23479" fmla="*/ 371189 h 3355086"/>
                <a:gd name="connsiteX23480" fmla="*/ 713898 w 3359086"/>
                <a:gd name="connsiteY23480" fmla="*/ 370999 h 3355086"/>
                <a:gd name="connsiteX23481" fmla="*/ 720089 w 3359086"/>
                <a:gd name="connsiteY23481" fmla="*/ 377190 h 3355086"/>
                <a:gd name="connsiteX23482" fmla="*/ 713898 w 3359086"/>
                <a:gd name="connsiteY23482" fmla="*/ 383382 h 3355086"/>
                <a:gd name="connsiteX23483" fmla="*/ 707707 w 3359086"/>
                <a:gd name="connsiteY23483" fmla="*/ 377190 h 3355086"/>
                <a:gd name="connsiteX23484" fmla="*/ 713898 w 3359086"/>
                <a:gd name="connsiteY23484" fmla="*/ 370999 h 3355086"/>
                <a:gd name="connsiteX23485" fmla="*/ 804576 w 3359086"/>
                <a:gd name="connsiteY23485" fmla="*/ 369951 h 3355086"/>
                <a:gd name="connsiteX23486" fmla="*/ 810768 w 3359086"/>
                <a:gd name="connsiteY23486" fmla="*/ 376142 h 3355086"/>
                <a:gd name="connsiteX23487" fmla="*/ 804576 w 3359086"/>
                <a:gd name="connsiteY23487" fmla="*/ 382333 h 3355086"/>
                <a:gd name="connsiteX23488" fmla="*/ 798385 w 3359086"/>
                <a:gd name="connsiteY23488" fmla="*/ 376142 h 3355086"/>
                <a:gd name="connsiteX23489" fmla="*/ 804576 w 3359086"/>
                <a:gd name="connsiteY23489" fmla="*/ 369951 h 3355086"/>
                <a:gd name="connsiteX23490" fmla="*/ 2672714 w 3359086"/>
                <a:gd name="connsiteY23490" fmla="*/ 369665 h 3355086"/>
                <a:gd name="connsiteX23491" fmla="*/ 2678905 w 3359086"/>
                <a:gd name="connsiteY23491" fmla="*/ 375856 h 3355086"/>
                <a:gd name="connsiteX23492" fmla="*/ 2672714 w 3359086"/>
                <a:gd name="connsiteY23492" fmla="*/ 382047 h 3355086"/>
                <a:gd name="connsiteX23493" fmla="*/ 2666523 w 3359086"/>
                <a:gd name="connsiteY23493" fmla="*/ 375856 h 3355086"/>
                <a:gd name="connsiteX23494" fmla="*/ 2672714 w 3359086"/>
                <a:gd name="connsiteY23494" fmla="*/ 369665 h 3355086"/>
                <a:gd name="connsiteX23495" fmla="*/ 935735 w 3359086"/>
                <a:gd name="connsiteY23495" fmla="*/ 368141 h 3355086"/>
                <a:gd name="connsiteX23496" fmla="*/ 941927 w 3359086"/>
                <a:gd name="connsiteY23496" fmla="*/ 374332 h 3355086"/>
                <a:gd name="connsiteX23497" fmla="*/ 935735 w 3359086"/>
                <a:gd name="connsiteY23497" fmla="*/ 380523 h 3355086"/>
                <a:gd name="connsiteX23498" fmla="*/ 929544 w 3359086"/>
                <a:gd name="connsiteY23498" fmla="*/ 374332 h 3355086"/>
                <a:gd name="connsiteX23499" fmla="*/ 935735 w 3359086"/>
                <a:gd name="connsiteY23499" fmla="*/ 368141 h 3355086"/>
                <a:gd name="connsiteX23500" fmla="*/ 864965 w 3359086"/>
                <a:gd name="connsiteY23500" fmla="*/ 366808 h 3355086"/>
                <a:gd name="connsiteX23501" fmla="*/ 871156 w 3359086"/>
                <a:gd name="connsiteY23501" fmla="*/ 372999 h 3355086"/>
                <a:gd name="connsiteX23502" fmla="*/ 864965 w 3359086"/>
                <a:gd name="connsiteY23502" fmla="*/ 379190 h 3355086"/>
                <a:gd name="connsiteX23503" fmla="*/ 858774 w 3359086"/>
                <a:gd name="connsiteY23503" fmla="*/ 372999 h 3355086"/>
                <a:gd name="connsiteX23504" fmla="*/ 864965 w 3359086"/>
                <a:gd name="connsiteY23504" fmla="*/ 366808 h 3355086"/>
                <a:gd name="connsiteX23505" fmla="*/ 669702 w 3359086"/>
                <a:gd name="connsiteY23505" fmla="*/ 366332 h 3355086"/>
                <a:gd name="connsiteX23506" fmla="*/ 675893 w 3359086"/>
                <a:gd name="connsiteY23506" fmla="*/ 372523 h 3355086"/>
                <a:gd name="connsiteX23507" fmla="*/ 669702 w 3359086"/>
                <a:gd name="connsiteY23507" fmla="*/ 378714 h 3355086"/>
                <a:gd name="connsiteX23508" fmla="*/ 663511 w 3359086"/>
                <a:gd name="connsiteY23508" fmla="*/ 372523 h 3355086"/>
                <a:gd name="connsiteX23509" fmla="*/ 669702 w 3359086"/>
                <a:gd name="connsiteY23509" fmla="*/ 366332 h 3355086"/>
                <a:gd name="connsiteX23510" fmla="*/ 2279617 w 3359086"/>
                <a:gd name="connsiteY23510" fmla="*/ 365379 h 3355086"/>
                <a:gd name="connsiteX23511" fmla="*/ 2285809 w 3359086"/>
                <a:gd name="connsiteY23511" fmla="*/ 371570 h 3355086"/>
                <a:gd name="connsiteX23512" fmla="*/ 2279617 w 3359086"/>
                <a:gd name="connsiteY23512" fmla="*/ 377762 h 3355086"/>
                <a:gd name="connsiteX23513" fmla="*/ 2273426 w 3359086"/>
                <a:gd name="connsiteY23513" fmla="*/ 371570 h 3355086"/>
                <a:gd name="connsiteX23514" fmla="*/ 2279617 w 3359086"/>
                <a:gd name="connsiteY23514" fmla="*/ 365379 h 3355086"/>
                <a:gd name="connsiteX23515" fmla="*/ 2701480 w 3359086"/>
                <a:gd name="connsiteY23515" fmla="*/ 364903 h 3355086"/>
                <a:gd name="connsiteX23516" fmla="*/ 2707671 w 3359086"/>
                <a:gd name="connsiteY23516" fmla="*/ 371094 h 3355086"/>
                <a:gd name="connsiteX23517" fmla="*/ 2701480 w 3359086"/>
                <a:gd name="connsiteY23517" fmla="*/ 377285 h 3355086"/>
                <a:gd name="connsiteX23518" fmla="*/ 2695289 w 3359086"/>
                <a:gd name="connsiteY23518" fmla="*/ 371094 h 3355086"/>
                <a:gd name="connsiteX23519" fmla="*/ 2701480 w 3359086"/>
                <a:gd name="connsiteY23519" fmla="*/ 364903 h 3355086"/>
                <a:gd name="connsiteX23520" fmla="*/ 2683858 w 3359086"/>
                <a:gd name="connsiteY23520" fmla="*/ 364903 h 3355086"/>
                <a:gd name="connsiteX23521" fmla="*/ 2690050 w 3359086"/>
                <a:gd name="connsiteY23521" fmla="*/ 371094 h 3355086"/>
                <a:gd name="connsiteX23522" fmla="*/ 2683858 w 3359086"/>
                <a:gd name="connsiteY23522" fmla="*/ 377285 h 3355086"/>
                <a:gd name="connsiteX23523" fmla="*/ 2677667 w 3359086"/>
                <a:gd name="connsiteY23523" fmla="*/ 371094 h 3355086"/>
                <a:gd name="connsiteX23524" fmla="*/ 2683858 w 3359086"/>
                <a:gd name="connsiteY23524" fmla="*/ 364903 h 3355086"/>
                <a:gd name="connsiteX23525" fmla="*/ 640555 w 3359086"/>
                <a:gd name="connsiteY23525" fmla="*/ 364808 h 3355086"/>
                <a:gd name="connsiteX23526" fmla="*/ 646747 w 3359086"/>
                <a:gd name="connsiteY23526" fmla="*/ 370999 h 3355086"/>
                <a:gd name="connsiteX23527" fmla="*/ 640555 w 3359086"/>
                <a:gd name="connsiteY23527" fmla="*/ 377190 h 3355086"/>
                <a:gd name="connsiteX23528" fmla="*/ 634364 w 3359086"/>
                <a:gd name="connsiteY23528" fmla="*/ 370999 h 3355086"/>
                <a:gd name="connsiteX23529" fmla="*/ 640555 w 3359086"/>
                <a:gd name="connsiteY23529" fmla="*/ 364808 h 3355086"/>
                <a:gd name="connsiteX23530" fmla="*/ 2556033 w 3359086"/>
                <a:gd name="connsiteY23530" fmla="*/ 364617 h 3355086"/>
                <a:gd name="connsiteX23531" fmla="*/ 2562224 w 3359086"/>
                <a:gd name="connsiteY23531" fmla="*/ 370808 h 3355086"/>
                <a:gd name="connsiteX23532" fmla="*/ 2556033 w 3359086"/>
                <a:gd name="connsiteY23532" fmla="*/ 376999 h 3355086"/>
                <a:gd name="connsiteX23533" fmla="*/ 2549842 w 3359086"/>
                <a:gd name="connsiteY23533" fmla="*/ 370808 h 3355086"/>
                <a:gd name="connsiteX23534" fmla="*/ 2556033 w 3359086"/>
                <a:gd name="connsiteY23534" fmla="*/ 364617 h 3355086"/>
                <a:gd name="connsiteX23535" fmla="*/ 2653664 w 3359086"/>
                <a:gd name="connsiteY23535" fmla="*/ 364522 h 3355086"/>
                <a:gd name="connsiteX23536" fmla="*/ 2659855 w 3359086"/>
                <a:gd name="connsiteY23536" fmla="*/ 370713 h 3355086"/>
                <a:gd name="connsiteX23537" fmla="*/ 2653664 w 3359086"/>
                <a:gd name="connsiteY23537" fmla="*/ 376905 h 3355086"/>
                <a:gd name="connsiteX23538" fmla="*/ 2647473 w 3359086"/>
                <a:gd name="connsiteY23538" fmla="*/ 370713 h 3355086"/>
                <a:gd name="connsiteX23539" fmla="*/ 2653664 w 3359086"/>
                <a:gd name="connsiteY23539" fmla="*/ 364522 h 3355086"/>
                <a:gd name="connsiteX23540" fmla="*/ 2096928 w 3359086"/>
                <a:gd name="connsiteY23540" fmla="*/ 363855 h 3355086"/>
                <a:gd name="connsiteX23541" fmla="*/ 2103120 w 3359086"/>
                <a:gd name="connsiteY23541" fmla="*/ 370046 h 3355086"/>
                <a:gd name="connsiteX23542" fmla="*/ 2096928 w 3359086"/>
                <a:gd name="connsiteY23542" fmla="*/ 376238 h 3355086"/>
                <a:gd name="connsiteX23543" fmla="*/ 2090737 w 3359086"/>
                <a:gd name="connsiteY23543" fmla="*/ 370046 h 3355086"/>
                <a:gd name="connsiteX23544" fmla="*/ 2096928 w 3359086"/>
                <a:gd name="connsiteY23544" fmla="*/ 363855 h 3355086"/>
                <a:gd name="connsiteX23545" fmla="*/ 2720816 w 3359086"/>
                <a:gd name="connsiteY23545" fmla="*/ 363093 h 3355086"/>
                <a:gd name="connsiteX23546" fmla="*/ 2724150 w 3359086"/>
                <a:gd name="connsiteY23546" fmla="*/ 366427 h 3355086"/>
                <a:gd name="connsiteX23547" fmla="*/ 2720816 w 3359086"/>
                <a:gd name="connsiteY23547" fmla="*/ 369760 h 3355086"/>
                <a:gd name="connsiteX23548" fmla="*/ 2717482 w 3359086"/>
                <a:gd name="connsiteY23548" fmla="*/ 366427 h 3355086"/>
                <a:gd name="connsiteX23549" fmla="*/ 2720816 w 3359086"/>
                <a:gd name="connsiteY23549" fmla="*/ 363093 h 3355086"/>
                <a:gd name="connsiteX23550" fmla="*/ 657891 w 3359086"/>
                <a:gd name="connsiteY23550" fmla="*/ 362808 h 3355086"/>
                <a:gd name="connsiteX23551" fmla="*/ 664083 w 3359086"/>
                <a:gd name="connsiteY23551" fmla="*/ 368999 h 3355086"/>
                <a:gd name="connsiteX23552" fmla="*/ 657891 w 3359086"/>
                <a:gd name="connsiteY23552" fmla="*/ 375190 h 3355086"/>
                <a:gd name="connsiteX23553" fmla="*/ 651700 w 3359086"/>
                <a:gd name="connsiteY23553" fmla="*/ 368999 h 3355086"/>
                <a:gd name="connsiteX23554" fmla="*/ 657891 w 3359086"/>
                <a:gd name="connsiteY23554" fmla="*/ 362808 h 3355086"/>
                <a:gd name="connsiteX23555" fmla="*/ 2666428 w 3359086"/>
                <a:gd name="connsiteY23555" fmla="*/ 361474 h 3355086"/>
                <a:gd name="connsiteX23556" fmla="*/ 2672619 w 3359086"/>
                <a:gd name="connsiteY23556" fmla="*/ 367665 h 3355086"/>
                <a:gd name="connsiteX23557" fmla="*/ 2666428 w 3359086"/>
                <a:gd name="connsiteY23557" fmla="*/ 373857 h 3355086"/>
                <a:gd name="connsiteX23558" fmla="*/ 2660237 w 3359086"/>
                <a:gd name="connsiteY23558" fmla="*/ 367665 h 3355086"/>
                <a:gd name="connsiteX23559" fmla="*/ 2666428 w 3359086"/>
                <a:gd name="connsiteY23559" fmla="*/ 361474 h 3355086"/>
                <a:gd name="connsiteX23560" fmla="*/ 690943 w 3359086"/>
                <a:gd name="connsiteY23560" fmla="*/ 361283 h 3355086"/>
                <a:gd name="connsiteX23561" fmla="*/ 697135 w 3359086"/>
                <a:gd name="connsiteY23561" fmla="*/ 367474 h 3355086"/>
                <a:gd name="connsiteX23562" fmla="*/ 690943 w 3359086"/>
                <a:gd name="connsiteY23562" fmla="*/ 373666 h 3355086"/>
                <a:gd name="connsiteX23563" fmla="*/ 684752 w 3359086"/>
                <a:gd name="connsiteY23563" fmla="*/ 367474 h 3355086"/>
                <a:gd name="connsiteX23564" fmla="*/ 690943 w 3359086"/>
                <a:gd name="connsiteY23564" fmla="*/ 361283 h 3355086"/>
                <a:gd name="connsiteX23565" fmla="*/ 2629852 w 3359086"/>
                <a:gd name="connsiteY23565" fmla="*/ 360236 h 3355086"/>
                <a:gd name="connsiteX23566" fmla="*/ 2636043 w 3359086"/>
                <a:gd name="connsiteY23566" fmla="*/ 366427 h 3355086"/>
                <a:gd name="connsiteX23567" fmla="*/ 2629852 w 3359086"/>
                <a:gd name="connsiteY23567" fmla="*/ 372618 h 3355086"/>
                <a:gd name="connsiteX23568" fmla="*/ 2623661 w 3359086"/>
                <a:gd name="connsiteY23568" fmla="*/ 366427 h 3355086"/>
                <a:gd name="connsiteX23569" fmla="*/ 2629852 w 3359086"/>
                <a:gd name="connsiteY23569" fmla="*/ 360236 h 3355086"/>
                <a:gd name="connsiteX23570" fmla="*/ 754951 w 3359086"/>
                <a:gd name="connsiteY23570" fmla="*/ 360045 h 3355086"/>
                <a:gd name="connsiteX23571" fmla="*/ 761143 w 3359086"/>
                <a:gd name="connsiteY23571" fmla="*/ 366236 h 3355086"/>
                <a:gd name="connsiteX23572" fmla="*/ 754951 w 3359086"/>
                <a:gd name="connsiteY23572" fmla="*/ 372427 h 3355086"/>
                <a:gd name="connsiteX23573" fmla="*/ 748760 w 3359086"/>
                <a:gd name="connsiteY23573" fmla="*/ 366236 h 3355086"/>
                <a:gd name="connsiteX23574" fmla="*/ 754951 w 3359086"/>
                <a:gd name="connsiteY23574" fmla="*/ 360045 h 3355086"/>
                <a:gd name="connsiteX23575" fmla="*/ 2598419 w 3359086"/>
                <a:gd name="connsiteY23575" fmla="*/ 359283 h 3355086"/>
                <a:gd name="connsiteX23576" fmla="*/ 2604611 w 3359086"/>
                <a:gd name="connsiteY23576" fmla="*/ 365474 h 3355086"/>
                <a:gd name="connsiteX23577" fmla="*/ 2598419 w 3359086"/>
                <a:gd name="connsiteY23577" fmla="*/ 371665 h 3355086"/>
                <a:gd name="connsiteX23578" fmla="*/ 2592228 w 3359086"/>
                <a:gd name="connsiteY23578" fmla="*/ 365474 h 3355086"/>
                <a:gd name="connsiteX23579" fmla="*/ 2598419 w 3359086"/>
                <a:gd name="connsiteY23579" fmla="*/ 359283 h 3355086"/>
                <a:gd name="connsiteX23580" fmla="*/ 2502217 w 3359086"/>
                <a:gd name="connsiteY23580" fmla="*/ 358331 h 3355086"/>
                <a:gd name="connsiteX23581" fmla="*/ 2508409 w 3359086"/>
                <a:gd name="connsiteY23581" fmla="*/ 364522 h 3355086"/>
                <a:gd name="connsiteX23582" fmla="*/ 2502217 w 3359086"/>
                <a:gd name="connsiteY23582" fmla="*/ 370713 h 3355086"/>
                <a:gd name="connsiteX23583" fmla="*/ 2496026 w 3359086"/>
                <a:gd name="connsiteY23583" fmla="*/ 364522 h 3355086"/>
                <a:gd name="connsiteX23584" fmla="*/ 2502217 w 3359086"/>
                <a:gd name="connsiteY23584" fmla="*/ 358331 h 3355086"/>
                <a:gd name="connsiteX23585" fmla="*/ 718280 w 3359086"/>
                <a:gd name="connsiteY23585" fmla="*/ 358331 h 3355086"/>
                <a:gd name="connsiteX23586" fmla="*/ 724471 w 3359086"/>
                <a:gd name="connsiteY23586" fmla="*/ 364522 h 3355086"/>
                <a:gd name="connsiteX23587" fmla="*/ 718280 w 3359086"/>
                <a:gd name="connsiteY23587" fmla="*/ 370713 h 3355086"/>
                <a:gd name="connsiteX23588" fmla="*/ 712089 w 3359086"/>
                <a:gd name="connsiteY23588" fmla="*/ 364522 h 3355086"/>
                <a:gd name="connsiteX23589" fmla="*/ 718280 w 3359086"/>
                <a:gd name="connsiteY23589" fmla="*/ 358331 h 3355086"/>
                <a:gd name="connsiteX23590" fmla="*/ 675988 w 3359086"/>
                <a:gd name="connsiteY23590" fmla="*/ 358045 h 3355086"/>
                <a:gd name="connsiteX23591" fmla="*/ 682180 w 3359086"/>
                <a:gd name="connsiteY23591" fmla="*/ 364236 h 3355086"/>
                <a:gd name="connsiteX23592" fmla="*/ 675988 w 3359086"/>
                <a:gd name="connsiteY23592" fmla="*/ 370427 h 3355086"/>
                <a:gd name="connsiteX23593" fmla="*/ 669797 w 3359086"/>
                <a:gd name="connsiteY23593" fmla="*/ 364236 h 3355086"/>
                <a:gd name="connsiteX23594" fmla="*/ 675988 w 3359086"/>
                <a:gd name="connsiteY23594" fmla="*/ 358045 h 3355086"/>
                <a:gd name="connsiteX23595" fmla="*/ 2365247 w 3359086"/>
                <a:gd name="connsiteY23595" fmla="*/ 357664 h 3355086"/>
                <a:gd name="connsiteX23596" fmla="*/ 2371439 w 3359086"/>
                <a:gd name="connsiteY23596" fmla="*/ 363855 h 3355086"/>
                <a:gd name="connsiteX23597" fmla="*/ 2365247 w 3359086"/>
                <a:gd name="connsiteY23597" fmla="*/ 370046 h 3355086"/>
                <a:gd name="connsiteX23598" fmla="*/ 2359056 w 3359086"/>
                <a:gd name="connsiteY23598" fmla="*/ 363855 h 3355086"/>
                <a:gd name="connsiteX23599" fmla="*/ 2365247 w 3359086"/>
                <a:gd name="connsiteY23599" fmla="*/ 357664 h 3355086"/>
                <a:gd name="connsiteX23600" fmla="*/ 2678906 w 3359086"/>
                <a:gd name="connsiteY23600" fmla="*/ 356235 h 3355086"/>
                <a:gd name="connsiteX23601" fmla="*/ 2685097 w 3359086"/>
                <a:gd name="connsiteY23601" fmla="*/ 362426 h 3355086"/>
                <a:gd name="connsiteX23602" fmla="*/ 2678906 w 3359086"/>
                <a:gd name="connsiteY23602" fmla="*/ 368617 h 3355086"/>
                <a:gd name="connsiteX23603" fmla="*/ 2672715 w 3359086"/>
                <a:gd name="connsiteY23603" fmla="*/ 362426 h 3355086"/>
                <a:gd name="connsiteX23604" fmla="*/ 2678906 w 3359086"/>
                <a:gd name="connsiteY23604" fmla="*/ 356235 h 3355086"/>
                <a:gd name="connsiteX23605" fmla="*/ 644938 w 3359086"/>
                <a:gd name="connsiteY23605" fmla="*/ 356235 h 3355086"/>
                <a:gd name="connsiteX23606" fmla="*/ 650462 w 3359086"/>
                <a:gd name="connsiteY23606" fmla="*/ 361760 h 3355086"/>
                <a:gd name="connsiteX23607" fmla="*/ 644938 w 3359086"/>
                <a:gd name="connsiteY23607" fmla="*/ 367284 h 3355086"/>
                <a:gd name="connsiteX23608" fmla="*/ 639413 w 3359086"/>
                <a:gd name="connsiteY23608" fmla="*/ 361760 h 3355086"/>
                <a:gd name="connsiteX23609" fmla="*/ 644938 w 3359086"/>
                <a:gd name="connsiteY23609" fmla="*/ 356235 h 3355086"/>
                <a:gd name="connsiteX23610" fmla="*/ 1281398 w 3359086"/>
                <a:gd name="connsiteY23610" fmla="*/ 356140 h 3355086"/>
                <a:gd name="connsiteX23611" fmla="*/ 1287589 w 3359086"/>
                <a:gd name="connsiteY23611" fmla="*/ 362331 h 3355086"/>
                <a:gd name="connsiteX23612" fmla="*/ 1281398 w 3359086"/>
                <a:gd name="connsiteY23612" fmla="*/ 368522 h 3355086"/>
                <a:gd name="connsiteX23613" fmla="*/ 1275207 w 3359086"/>
                <a:gd name="connsiteY23613" fmla="*/ 362331 h 3355086"/>
                <a:gd name="connsiteX23614" fmla="*/ 1281398 w 3359086"/>
                <a:gd name="connsiteY23614" fmla="*/ 356140 h 3355086"/>
                <a:gd name="connsiteX23615" fmla="*/ 2647378 w 3359086"/>
                <a:gd name="connsiteY23615" fmla="*/ 355950 h 3355086"/>
                <a:gd name="connsiteX23616" fmla="*/ 2653569 w 3359086"/>
                <a:gd name="connsiteY23616" fmla="*/ 362141 h 3355086"/>
                <a:gd name="connsiteX23617" fmla="*/ 2647378 w 3359086"/>
                <a:gd name="connsiteY23617" fmla="*/ 368332 h 3355086"/>
                <a:gd name="connsiteX23618" fmla="*/ 2641187 w 3359086"/>
                <a:gd name="connsiteY23618" fmla="*/ 362141 h 3355086"/>
                <a:gd name="connsiteX23619" fmla="*/ 2647378 w 3359086"/>
                <a:gd name="connsiteY23619" fmla="*/ 355950 h 3355086"/>
                <a:gd name="connsiteX23620" fmla="*/ 2439066 w 3359086"/>
                <a:gd name="connsiteY23620" fmla="*/ 355664 h 3355086"/>
                <a:gd name="connsiteX23621" fmla="*/ 2445258 w 3359086"/>
                <a:gd name="connsiteY23621" fmla="*/ 361855 h 3355086"/>
                <a:gd name="connsiteX23622" fmla="*/ 2439066 w 3359086"/>
                <a:gd name="connsiteY23622" fmla="*/ 368046 h 3355086"/>
                <a:gd name="connsiteX23623" fmla="*/ 2432875 w 3359086"/>
                <a:gd name="connsiteY23623" fmla="*/ 361855 h 3355086"/>
                <a:gd name="connsiteX23624" fmla="*/ 2439066 w 3359086"/>
                <a:gd name="connsiteY23624" fmla="*/ 355664 h 3355086"/>
                <a:gd name="connsiteX23625" fmla="*/ 2697765 w 3359086"/>
                <a:gd name="connsiteY23625" fmla="*/ 354997 h 3355086"/>
                <a:gd name="connsiteX23626" fmla="*/ 2703957 w 3359086"/>
                <a:gd name="connsiteY23626" fmla="*/ 361188 h 3355086"/>
                <a:gd name="connsiteX23627" fmla="*/ 2697765 w 3359086"/>
                <a:gd name="connsiteY23627" fmla="*/ 367380 h 3355086"/>
                <a:gd name="connsiteX23628" fmla="*/ 2691574 w 3359086"/>
                <a:gd name="connsiteY23628" fmla="*/ 361188 h 3355086"/>
                <a:gd name="connsiteX23629" fmla="*/ 2697765 w 3359086"/>
                <a:gd name="connsiteY23629" fmla="*/ 354997 h 3355086"/>
                <a:gd name="connsiteX23630" fmla="*/ 1093184 w 3359086"/>
                <a:gd name="connsiteY23630" fmla="*/ 354807 h 3355086"/>
                <a:gd name="connsiteX23631" fmla="*/ 1099375 w 3359086"/>
                <a:gd name="connsiteY23631" fmla="*/ 360998 h 3355086"/>
                <a:gd name="connsiteX23632" fmla="*/ 1093184 w 3359086"/>
                <a:gd name="connsiteY23632" fmla="*/ 367189 h 3355086"/>
                <a:gd name="connsiteX23633" fmla="*/ 1086993 w 3359086"/>
                <a:gd name="connsiteY23633" fmla="*/ 360998 h 3355086"/>
                <a:gd name="connsiteX23634" fmla="*/ 1093184 w 3359086"/>
                <a:gd name="connsiteY23634" fmla="*/ 354807 h 3355086"/>
                <a:gd name="connsiteX23635" fmla="*/ 663320 w 3359086"/>
                <a:gd name="connsiteY23635" fmla="*/ 354616 h 3355086"/>
                <a:gd name="connsiteX23636" fmla="*/ 669512 w 3359086"/>
                <a:gd name="connsiteY23636" fmla="*/ 360807 h 3355086"/>
                <a:gd name="connsiteX23637" fmla="*/ 663320 w 3359086"/>
                <a:gd name="connsiteY23637" fmla="*/ 366998 h 3355086"/>
                <a:gd name="connsiteX23638" fmla="*/ 657129 w 3359086"/>
                <a:gd name="connsiteY23638" fmla="*/ 360807 h 3355086"/>
                <a:gd name="connsiteX23639" fmla="*/ 663320 w 3359086"/>
                <a:gd name="connsiteY23639" fmla="*/ 354616 h 3355086"/>
                <a:gd name="connsiteX23640" fmla="*/ 2660713 w 3359086"/>
                <a:gd name="connsiteY23640" fmla="*/ 353473 h 3355086"/>
                <a:gd name="connsiteX23641" fmla="*/ 2666904 w 3359086"/>
                <a:gd name="connsiteY23641" fmla="*/ 359664 h 3355086"/>
                <a:gd name="connsiteX23642" fmla="*/ 2660713 w 3359086"/>
                <a:gd name="connsiteY23642" fmla="*/ 365856 h 3355086"/>
                <a:gd name="connsiteX23643" fmla="*/ 2654522 w 3359086"/>
                <a:gd name="connsiteY23643" fmla="*/ 359664 h 3355086"/>
                <a:gd name="connsiteX23644" fmla="*/ 2660713 w 3359086"/>
                <a:gd name="connsiteY23644" fmla="*/ 353473 h 3355086"/>
                <a:gd name="connsiteX23645" fmla="*/ 648557 w 3359086"/>
                <a:gd name="connsiteY23645" fmla="*/ 352235 h 3355086"/>
                <a:gd name="connsiteX23646" fmla="*/ 648652 w 3359086"/>
                <a:gd name="connsiteY23646" fmla="*/ 352330 h 3355086"/>
                <a:gd name="connsiteX23647" fmla="*/ 648557 w 3359086"/>
                <a:gd name="connsiteY23647" fmla="*/ 352330 h 3355086"/>
                <a:gd name="connsiteX23648" fmla="*/ 696848 w 3359086"/>
                <a:gd name="connsiteY23648" fmla="*/ 352139 h 3355086"/>
                <a:gd name="connsiteX23649" fmla="*/ 703039 w 3359086"/>
                <a:gd name="connsiteY23649" fmla="*/ 358330 h 3355086"/>
                <a:gd name="connsiteX23650" fmla="*/ 696848 w 3359086"/>
                <a:gd name="connsiteY23650" fmla="*/ 364521 h 3355086"/>
                <a:gd name="connsiteX23651" fmla="*/ 690657 w 3359086"/>
                <a:gd name="connsiteY23651" fmla="*/ 358330 h 3355086"/>
                <a:gd name="connsiteX23652" fmla="*/ 696848 w 3359086"/>
                <a:gd name="connsiteY23652" fmla="*/ 352139 h 3355086"/>
                <a:gd name="connsiteX23653" fmla="*/ 803243 w 3359086"/>
                <a:gd name="connsiteY23653" fmla="*/ 351282 h 3355086"/>
                <a:gd name="connsiteX23654" fmla="*/ 809435 w 3359086"/>
                <a:gd name="connsiteY23654" fmla="*/ 357473 h 3355086"/>
                <a:gd name="connsiteX23655" fmla="*/ 803243 w 3359086"/>
                <a:gd name="connsiteY23655" fmla="*/ 363664 h 3355086"/>
                <a:gd name="connsiteX23656" fmla="*/ 797052 w 3359086"/>
                <a:gd name="connsiteY23656" fmla="*/ 357473 h 3355086"/>
                <a:gd name="connsiteX23657" fmla="*/ 803243 w 3359086"/>
                <a:gd name="connsiteY23657" fmla="*/ 351282 h 3355086"/>
                <a:gd name="connsiteX23658" fmla="*/ 2624423 w 3359086"/>
                <a:gd name="connsiteY23658" fmla="*/ 350234 h 3355086"/>
                <a:gd name="connsiteX23659" fmla="*/ 2630614 w 3359086"/>
                <a:gd name="connsiteY23659" fmla="*/ 356425 h 3355086"/>
                <a:gd name="connsiteX23660" fmla="*/ 2624423 w 3359086"/>
                <a:gd name="connsiteY23660" fmla="*/ 362617 h 3355086"/>
                <a:gd name="connsiteX23661" fmla="*/ 2618232 w 3359086"/>
                <a:gd name="connsiteY23661" fmla="*/ 356425 h 3355086"/>
                <a:gd name="connsiteX23662" fmla="*/ 2624423 w 3359086"/>
                <a:gd name="connsiteY23662" fmla="*/ 350234 h 3355086"/>
                <a:gd name="connsiteX23663" fmla="*/ 2010155 w 3359086"/>
                <a:gd name="connsiteY23663" fmla="*/ 350139 h 3355086"/>
                <a:gd name="connsiteX23664" fmla="*/ 2016347 w 3359086"/>
                <a:gd name="connsiteY23664" fmla="*/ 356330 h 3355086"/>
                <a:gd name="connsiteX23665" fmla="*/ 2010155 w 3359086"/>
                <a:gd name="connsiteY23665" fmla="*/ 362521 h 3355086"/>
                <a:gd name="connsiteX23666" fmla="*/ 2003964 w 3359086"/>
                <a:gd name="connsiteY23666" fmla="*/ 356330 h 3355086"/>
                <a:gd name="connsiteX23667" fmla="*/ 2010155 w 3359086"/>
                <a:gd name="connsiteY23667" fmla="*/ 350139 h 3355086"/>
                <a:gd name="connsiteX23668" fmla="*/ 681894 w 3359086"/>
                <a:gd name="connsiteY23668" fmla="*/ 350139 h 3355086"/>
                <a:gd name="connsiteX23669" fmla="*/ 688085 w 3359086"/>
                <a:gd name="connsiteY23669" fmla="*/ 356330 h 3355086"/>
                <a:gd name="connsiteX23670" fmla="*/ 681894 w 3359086"/>
                <a:gd name="connsiteY23670" fmla="*/ 362521 h 3355086"/>
                <a:gd name="connsiteX23671" fmla="*/ 675703 w 3359086"/>
                <a:gd name="connsiteY23671" fmla="*/ 356330 h 3355086"/>
                <a:gd name="connsiteX23672" fmla="*/ 681894 w 3359086"/>
                <a:gd name="connsiteY23672" fmla="*/ 350139 h 3355086"/>
                <a:gd name="connsiteX23673" fmla="*/ 2555271 w 3359086"/>
                <a:gd name="connsiteY23673" fmla="*/ 348425 h 3355086"/>
                <a:gd name="connsiteX23674" fmla="*/ 2561463 w 3359086"/>
                <a:gd name="connsiteY23674" fmla="*/ 354616 h 3355086"/>
                <a:gd name="connsiteX23675" fmla="*/ 2555271 w 3359086"/>
                <a:gd name="connsiteY23675" fmla="*/ 360807 h 3355086"/>
                <a:gd name="connsiteX23676" fmla="*/ 2549080 w 3359086"/>
                <a:gd name="connsiteY23676" fmla="*/ 354616 h 3355086"/>
                <a:gd name="connsiteX23677" fmla="*/ 2555271 w 3359086"/>
                <a:gd name="connsiteY23677" fmla="*/ 348425 h 3355086"/>
                <a:gd name="connsiteX23678" fmla="*/ 2641472 w 3359086"/>
                <a:gd name="connsiteY23678" fmla="*/ 347949 h 3355086"/>
                <a:gd name="connsiteX23679" fmla="*/ 2647663 w 3359086"/>
                <a:gd name="connsiteY23679" fmla="*/ 354140 h 3355086"/>
                <a:gd name="connsiteX23680" fmla="*/ 2641472 w 3359086"/>
                <a:gd name="connsiteY23680" fmla="*/ 360331 h 3355086"/>
                <a:gd name="connsiteX23681" fmla="*/ 2635281 w 3359086"/>
                <a:gd name="connsiteY23681" fmla="*/ 354140 h 3355086"/>
                <a:gd name="connsiteX23682" fmla="*/ 2641472 w 3359086"/>
                <a:gd name="connsiteY23682" fmla="*/ 347949 h 3355086"/>
                <a:gd name="connsiteX23683" fmla="*/ 2674619 w 3359086"/>
                <a:gd name="connsiteY23683" fmla="*/ 347472 h 3355086"/>
                <a:gd name="connsiteX23684" fmla="*/ 2680811 w 3359086"/>
                <a:gd name="connsiteY23684" fmla="*/ 353663 h 3355086"/>
                <a:gd name="connsiteX23685" fmla="*/ 2674619 w 3359086"/>
                <a:gd name="connsiteY23685" fmla="*/ 359854 h 3355086"/>
                <a:gd name="connsiteX23686" fmla="*/ 2668428 w 3359086"/>
                <a:gd name="connsiteY23686" fmla="*/ 353663 h 3355086"/>
                <a:gd name="connsiteX23687" fmla="*/ 2674619 w 3359086"/>
                <a:gd name="connsiteY23687" fmla="*/ 347472 h 3355086"/>
                <a:gd name="connsiteX23688" fmla="*/ 722947 w 3359086"/>
                <a:gd name="connsiteY23688" fmla="*/ 347282 h 3355086"/>
                <a:gd name="connsiteX23689" fmla="*/ 729139 w 3359086"/>
                <a:gd name="connsiteY23689" fmla="*/ 353473 h 3355086"/>
                <a:gd name="connsiteX23690" fmla="*/ 722947 w 3359086"/>
                <a:gd name="connsiteY23690" fmla="*/ 359664 h 3355086"/>
                <a:gd name="connsiteX23691" fmla="*/ 716756 w 3359086"/>
                <a:gd name="connsiteY23691" fmla="*/ 353473 h 3355086"/>
                <a:gd name="connsiteX23692" fmla="*/ 722947 w 3359086"/>
                <a:gd name="connsiteY23692" fmla="*/ 347282 h 3355086"/>
                <a:gd name="connsiteX23693" fmla="*/ 2594800 w 3359086"/>
                <a:gd name="connsiteY23693" fmla="*/ 346806 h 3355086"/>
                <a:gd name="connsiteX23694" fmla="*/ 2600992 w 3359086"/>
                <a:gd name="connsiteY23694" fmla="*/ 352997 h 3355086"/>
                <a:gd name="connsiteX23695" fmla="*/ 2594800 w 3359086"/>
                <a:gd name="connsiteY23695" fmla="*/ 359188 h 3355086"/>
                <a:gd name="connsiteX23696" fmla="*/ 2588609 w 3359086"/>
                <a:gd name="connsiteY23696" fmla="*/ 352997 h 3355086"/>
                <a:gd name="connsiteX23697" fmla="*/ 2594800 w 3359086"/>
                <a:gd name="connsiteY23697" fmla="*/ 346806 h 3355086"/>
                <a:gd name="connsiteX23698" fmla="*/ 668178 w 3359086"/>
                <a:gd name="connsiteY23698" fmla="*/ 346425 h 3355086"/>
                <a:gd name="connsiteX23699" fmla="*/ 674370 w 3359086"/>
                <a:gd name="connsiteY23699" fmla="*/ 352616 h 3355086"/>
                <a:gd name="connsiteX23700" fmla="*/ 668178 w 3359086"/>
                <a:gd name="connsiteY23700" fmla="*/ 358807 h 3355086"/>
                <a:gd name="connsiteX23701" fmla="*/ 661987 w 3359086"/>
                <a:gd name="connsiteY23701" fmla="*/ 352616 h 3355086"/>
                <a:gd name="connsiteX23702" fmla="*/ 668178 w 3359086"/>
                <a:gd name="connsiteY23702" fmla="*/ 346425 h 3355086"/>
                <a:gd name="connsiteX23703" fmla="*/ 2202941 w 3359086"/>
                <a:gd name="connsiteY23703" fmla="*/ 346139 h 3355086"/>
                <a:gd name="connsiteX23704" fmla="*/ 2209132 w 3359086"/>
                <a:gd name="connsiteY23704" fmla="*/ 352330 h 3355086"/>
                <a:gd name="connsiteX23705" fmla="*/ 2202941 w 3359086"/>
                <a:gd name="connsiteY23705" fmla="*/ 358521 h 3355086"/>
                <a:gd name="connsiteX23706" fmla="*/ 2196750 w 3359086"/>
                <a:gd name="connsiteY23706" fmla="*/ 352330 h 3355086"/>
                <a:gd name="connsiteX23707" fmla="*/ 2202941 w 3359086"/>
                <a:gd name="connsiteY23707" fmla="*/ 346139 h 3355086"/>
                <a:gd name="connsiteX23708" fmla="*/ 1003744 w 3359086"/>
                <a:gd name="connsiteY23708" fmla="*/ 345948 h 3355086"/>
                <a:gd name="connsiteX23709" fmla="*/ 1009935 w 3359086"/>
                <a:gd name="connsiteY23709" fmla="*/ 352139 h 3355086"/>
                <a:gd name="connsiteX23710" fmla="*/ 1003744 w 3359086"/>
                <a:gd name="connsiteY23710" fmla="*/ 358330 h 3355086"/>
                <a:gd name="connsiteX23711" fmla="*/ 997553 w 3359086"/>
                <a:gd name="connsiteY23711" fmla="*/ 352139 h 3355086"/>
                <a:gd name="connsiteX23712" fmla="*/ 1003744 w 3359086"/>
                <a:gd name="connsiteY23712" fmla="*/ 345948 h 3355086"/>
                <a:gd name="connsiteX23713" fmla="*/ 757237 w 3359086"/>
                <a:gd name="connsiteY23713" fmla="*/ 345948 h 3355086"/>
                <a:gd name="connsiteX23714" fmla="*/ 763429 w 3359086"/>
                <a:gd name="connsiteY23714" fmla="*/ 352139 h 3355086"/>
                <a:gd name="connsiteX23715" fmla="*/ 757237 w 3359086"/>
                <a:gd name="connsiteY23715" fmla="*/ 358330 h 3355086"/>
                <a:gd name="connsiteX23716" fmla="*/ 751046 w 3359086"/>
                <a:gd name="connsiteY23716" fmla="*/ 352139 h 3355086"/>
                <a:gd name="connsiteX23717" fmla="*/ 757237 w 3359086"/>
                <a:gd name="connsiteY23717" fmla="*/ 345948 h 3355086"/>
                <a:gd name="connsiteX23718" fmla="*/ 860011 w 3359086"/>
                <a:gd name="connsiteY23718" fmla="*/ 345282 h 3355086"/>
                <a:gd name="connsiteX23719" fmla="*/ 866203 w 3359086"/>
                <a:gd name="connsiteY23719" fmla="*/ 351473 h 3355086"/>
                <a:gd name="connsiteX23720" fmla="*/ 860011 w 3359086"/>
                <a:gd name="connsiteY23720" fmla="*/ 357664 h 3355086"/>
                <a:gd name="connsiteX23721" fmla="*/ 853820 w 3359086"/>
                <a:gd name="connsiteY23721" fmla="*/ 351473 h 3355086"/>
                <a:gd name="connsiteX23722" fmla="*/ 860011 w 3359086"/>
                <a:gd name="connsiteY23722" fmla="*/ 345282 h 3355086"/>
                <a:gd name="connsiteX23723" fmla="*/ 2694812 w 3359086"/>
                <a:gd name="connsiteY23723" fmla="*/ 344710 h 3355086"/>
                <a:gd name="connsiteX23724" fmla="*/ 2701004 w 3359086"/>
                <a:gd name="connsiteY23724" fmla="*/ 350901 h 3355086"/>
                <a:gd name="connsiteX23725" fmla="*/ 2694812 w 3359086"/>
                <a:gd name="connsiteY23725" fmla="*/ 357092 h 3355086"/>
                <a:gd name="connsiteX23726" fmla="*/ 2688621 w 3359086"/>
                <a:gd name="connsiteY23726" fmla="*/ 350901 h 3355086"/>
                <a:gd name="connsiteX23727" fmla="*/ 2694812 w 3359086"/>
                <a:gd name="connsiteY23727" fmla="*/ 344710 h 3355086"/>
                <a:gd name="connsiteX23728" fmla="*/ 1369504 w 3359086"/>
                <a:gd name="connsiteY23728" fmla="*/ 344043 h 3355086"/>
                <a:gd name="connsiteX23729" fmla="*/ 1375695 w 3359086"/>
                <a:gd name="connsiteY23729" fmla="*/ 350234 h 3355086"/>
                <a:gd name="connsiteX23730" fmla="*/ 1369504 w 3359086"/>
                <a:gd name="connsiteY23730" fmla="*/ 356425 h 3355086"/>
                <a:gd name="connsiteX23731" fmla="*/ 1363313 w 3359086"/>
                <a:gd name="connsiteY23731" fmla="*/ 350234 h 3355086"/>
                <a:gd name="connsiteX23732" fmla="*/ 1369504 w 3359086"/>
                <a:gd name="connsiteY23732" fmla="*/ 344043 h 3355086"/>
                <a:gd name="connsiteX23733" fmla="*/ 702563 w 3359086"/>
                <a:gd name="connsiteY23733" fmla="*/ 343853 h 3355086"/>
                <a:gd name="connsiteX23734" fmla="*/ 708755 w 3359086"/>
                <a:gd name="connsiteY23734" fmla="*/ 350044 h 3355086"/>
                <a:gd name="connsiteX23735" fmla="*/ 702563 w 3359086"/>
                <a:gd name="connsiteY23735" fmla="*/ 356235 h 3355086"/>
                <a:gd name="connsiteX23736" fmla="*/ 696372 w 3359086"/>
                <a:gd name="connsiteY23736" fmla="*/ 350044 h 3355086"/>
                <a:gd name="connsiteX23737" fmla="*/ 702563 w 3359086"/>
                <a:gd name="connsiteY23737" fmla="*/ 343853 h 3355086"/>
                <a:gd name="connsiteX23738" fmla="*/ 926401 w 3359086"/>
                <a:gd name="connsiteY23738" fmla="*/ 343186 h 3355086"/>
                <a:gd name="connsiteX23739" fmla="*/ 932593 w 3359086"/>
                <a:gd name="connsiteY23739" fmla="*/ 349377 h 3355086"/>
                <a:gd name="connsiteX23740" fmla="*/ 926401 w 3359086"/>
                <a:gd name="connsiteY23740" fmla="*/ 355568 h 3355086"/>
                <a:gd name="connsiteX23741" fmla="*/ 920210 w 3359086"/>
                <a:gd name="connsiteY23741" fmla="*/ 349377 h 3355086"/>
                <a:gd name="connsiteX23742" fmla="*/ 926401 w 3359086"/>
                <a:gd name="connsiteY23742" fmla="*/ 343186 h 3355086"/>
                <a:gd name="connsiteX23743" fmla="*/ 687418 w 3359086"/>
                <a:gd name="connsiteY23743" fmla="*/ 342614 h 3355086"/>
                <a:gd name="connsiteX23744" fmla="*/ 693610 w 3359086"/>
                <a:gd name="connsiteY23744" fmla="*/ 348805 h 3355086"/>
                <a:gd name="connsiteX23745" fmla="*/ 687418 w 3359086"/>
                <a:gd name="connsiteY23745" fmla="*/ 354996 h 3355086"/>
                <a:gd name="connsiteX23746" fmla="*/ 681227 w 3359086"/>
                <a:gd name="connsiteY23746" fmla="*/ 348805 h 3355086"/>
                <a:gd name="connsiteX23747" fmla="*/ 687418 w 3359086"/>
                <a:gd name="connsiteY23747" fmla="*/ 342614 h 3355086"/>
                <a:gd name="connsiteX23748" fmla="*/ 2618993 w 3359086"/>
                <a:gd name="connsiteY23748" fmla="*/ 341376 h 3355086"/>
                <a:gd name="connsiteX23749" fmla="*/ 2625184 w 3359086"/>
                <a:gd name="connsiteY23749" fmla="*/ 347567 h 3355086"/>
                <a:gd name="connsiteX23750" fmla="*/ 2618993 w 3359086"/>
                <a:gd name="connsiteY23750" fmla="*/ 353758 h 3355086"/>
                <a:gd name="connsiteX23751" fmla="*/ 2612802 w 3359086"/>
                <a:gd name="connsiteY23751" fmla="*/ 347567 h 3355086"/>
                <a:gd name="connsiteX23752" fmla="*/ 2618993 w 3359086"/>
                <a:gd name="connsiteY23752" fmla="*/ 341376 h 3355086"/>
                <a:gd name="connsiteX23753" fmla="*/ 2692717 w 3359086"/>
                <a:gd name="connsiteY23753" fmla="*/ 339948 h 3355086"/>
                <a:gd name="connsiteX23754" fmla="*/ 2693003 w 3359086"/>
                <a:gd name="connsiteY23754" fmla="*/ 340234 h 3355086"/>
                <a:gd name="connsiteX23755" fmla="*/ 2692717 w 3359086"/>
                <a:gd name="connsiteY23755" fmla="*/ 340519 h 3355086"/>
                <a:gd name="connsiteX23756" fmla="*/ 2692431 w 3359086"/>
                <a:gd name="connsiteY23756" fmla="*/ 340234 h 3355086"/>
                <a:gd name="connsiteX23757" fmla="*/ 2692717 w 3359086"/>
                <a:gd name="connsiteY23757" fmla="*/ 339948 h 3355086"/>
                <a:gd name="connsiteX23758" fmla="*/ 2504693 w 3359086"/>
                <a:gd name="connsiteY23758" fmla="*/ 339757 h 3355086"/>
                <a:gd name="connsiteX23759" fmla="*/ 2510884 w 3359086"/>
                <a:gd name="connsiteY23759" fmla="*/ 345948 h 3355086"/>
                <a:gd name="connsiteX23760" fmla="*/ 2504693 w 3359086"/>
                <a:gd name="connsiteY23760" fmla="*/ 352139 h 3355086"/>
                <a:gd name="connsiteX23761" fmla="*/ 2498502 w 3359086"/>
                <a:gd name="connsiteY23761" fmla="*/ 345948 h 3355086"/>
                <a:gd name="connsiteX23762" fmla="*/ 2504693 w 3359086"/>
                <a:gd name="connsiteY23762" fmla="*/ 339757 h 3355086"/>
                <a:gd name="connsiteX23763" fmla="*/ 1920906 w 3359086"/>
                <a:gd name="connsiteY23763" fmla="*/ 339376 h 3355086"/>
                <a:gd name="connsiteX23764" fmla="*/ 1927098 w 3359086"/>
                <a:gd name="connsiteY23764" fmla="*/ 345567 h 3355086"/>
                <a:gd name="connsiteX23765" fmla="*/ 1920906 w 3359086"/>
                <a:gd name="connsiteY23765" fmla="*/ 351758 h 3355086"/>
                <a:gd name="connsiteX23766" fmla="*/ 1914715 w 3359086"/>
                <a:gd name="connsiteY23766" fmla="*/ 345567 h 3355086"/>
                <a:gd name="connsiteX23767" fmla="*/ 1920906 w 3359086"/>
                <a:gd name="connsiteY23767" fmla="*/ 339376 h 3355086"/>
                <a:gd name="connsiteX23768" fmla="*/ 672274 w 3359086"/>
                <a:gd name="connsiteY23768" fmla="*/ 338042 h 3355086"/>
                <a:gd name="connsiteX23769" fmla="*/ 678466 w 3359086"/>
                <a:gd name="connsiteY23769" fmla="*/ 344233 h 3355086"/>
                <a:gd name="connsiteX23770" fmla="*/ 672274 w 3359086"/>
                <a:gd name="connsiteY23770" fmla="*/ 350424 h 3355086"/>
                <a:gd name="connsiteX23771" fmla="*/ 666083 w 3359086"/>
                <a:gd name="connsiteY23771" fmla="*/ 344233 h 3355086"/>
                <a:gd name="connsiteX23772" fmla="*/ 672274 w 3359086"/>
                <a:gd name="connsiteY23772" fmla="*/ 338042 h 3355086"/>
                <a:gd name="connsiteX23773" fmla="*/ 727614 w 3359086"/>
                <a:gd name="connsiteY23773" fmla="*/ 337566 h 3355086"/>
                <a:gd name="connsiteX23774" fmla="*/ 733806 w 3359086"/>
                <a:gd name="connsiteY23774" fmla="*/ 343757 h 3355086"/>
                <a:gd name="connsiteX23775" fmla="*/ 727614 w 3359086"/>
                <a:gd name="connsiteY23775" fmla="*/ 349948 h 3355086"/>
                <a:gd name="connsiteX23776" fmla="*/ 721423 w 3359086"/>
                <a:gd name="connsiteY23776" fmla="*/ 343757 h 3355086"/>
                <a:gd name="connsiteX23777" fmla="*/ 727614 w 3359086"/>
                <a:gd name="connsiteY23777" fmla="*/ 337566 h 3355086"/>
                <a:gd name="connsiteX23778" fmla="*/ 1171574 w 3359086"/>
                <a:gd name="connsiteY23778" fmla="*/ 336709 h 3355086"/>
                <a:gd name="connsiteX23779" fmla="*/ 1177766 w 3359086"/>
                <a:gd name="connsiteY23779" fmla="*/ 342900 h 3355086"/>
                <a:gd name="connsiteX23780" fmla="*/ 1171574 w 3359086"/>
                <a:gd name="connsiteY23780" fmla="*/ 349091 h 3355086"/>
                <a:gd name="connsiteX23781" fmla="*/ 1165383 w 3359086"/>
                <a:gd name="connsiteY23781" fmla="*/ 342900 h 3355086"/>
                <a:gd name="connsiteX23782" fmla="*/ 1171574 w 3359086"/>
                <a:gd name="connsiteY23782" fmla="*/ 336709 h 3355086"/>
                <a:gd name="connsiteX23783" fmla="*/ 2295715 w 3359086"/>
                <a:gd name="connsiteY23783" fmla="*/ 336233 h 3355086"/>
                <a:gd name="connsiteX23784" fmla="*/ 2301907 w 3359086"/>
                <a:gd name="connsiteY23784" fmla="*/ 342424 h 3355086"/>
                <a:gd name="connsiteX23785" fmla="*/ 2295715 w 3359086"/>
                <a:gd name="connsiteY23785" fmla="*/ 348615 h 3355086"/>
                <a:gd name="connsiteX23786" fmla="*/ 2289524 w 3359086"/>
                <a:gd name="connsiteY23786" fmla="*/ 342424 h 3355086"/>
                <a:gd name="connsiteX23787" fmla="*/ 2295715 w 3359086"/>
                <a:gd name="connsiteY23787" fmla="*/ 336233 h 3355086"/>
                <a:gd name="connsiteX23788" fmla="*/ 2590894 w 3359086"/>
                <a:gd name="connsiteY23788" fmla="*/ 336042 h 3355086"/>
                <a:gd name="connsiteX23789" fmla="*/ 2597086 w 3359086"/>
                <a:gd name="connsiteY23789" fmla="*/ 342233 h 3355086"/>
                <a:gd name="connsiteX23790" fmla="*/ 2590894 w 3359086"/>
                <a:gd name="connsiteY23790" fmla="*/ 348424 h 3355086"/>
                <a:gd name="connsiteX23791" fmla="*/ 2584703 w 3359086"/>
                <a:gd name="connsiteY23791" fmla="*/ 342233 h 3355086"/>
                <a:gd name="connsiteX23792" fmla="*/ 2590894 w 3359086"/>
                <a:gd name="connsiteY23792" fmla="*/ 336042 h 3355086"/>
                <a:gd name="connsiteX23793" fmla="*/ 802861 w 3359086"/>
                <a:gd name="connsiteY23793" fmla="*/ 335185 h 3355086"/>
                <a:gd name="connsiteX23794" fmla="*/ 809053 w 3359086"/>
                <a:gd name="connsiteY23794" fmla="*/ 341376 h 3355086"/>
                <a:gd name="connsiteX23795" fmla="*/ 802861 w 3359086"/>
                <a:gd name="connsiteY23795" fmla="*/ 347567 h 3355086"/>
                <a:gd name="connsiteX23796" fmla="*/ 796670 w 3359086"/>
                <a:gd name="connsiteY23796" fmla="*/ 341376 h 3355086"/>
                <a:gd name="connsiteX23797" fmla="*/ 802861 w 3359086"/>
                <a:gd name="connsiteY23797" fmla="*/ 335185 h 3355086"/>
                <a:gd name="connsiteX23798" fmla="*/ 1459896 w 3359086"/>
                <a:gd name="connsiteY23798" fmla="*/ 334899 h 3355086"/>
                <a:gd name="connsiteX23799" fmla="*/ 1466088 w 3359086"/>
                <a:gd name="connsiteY23799" fmla="*/ 341090 h 3355086"/>
                <a:gd name="connsiteX23800" fmla="*/ 1459896 w 3359086"/>
                <a:gd name="connsiteY23800" fmla="*/ 347281 h 3355086"/>
                <a:gd name="connsiteX23801" fmla="*/ 1453705 w 3359086"/>
                <a:gd name="connsiteY23801" fmla="*/ 341090 h 3355086"/>
                <a:gd name="connsiteX23802" fmla="*/ 1459896 w 3359086"/>
                <a:gd name="connsiteY23802" fmla="*/ 334899 h 3355086"/>
                <a:gd name="connsiteX23803" fmla="*/ 2553938 w 3359086"/>
                <a:gd name="connsiteY23803" fmla="*/ 334423 h 3355086"/>
                <a:gd name="connsiteX23804" fmla="*/ 2560129 w 3359086"/>
                <a:gd name="connsiteY23804" fmla="*/ 340614 h 3355086"/>
                <a:gd name="connsiteX23805" fmla="*/ 2553938 w 3359086"/>
                <a:gd name="connsiteY23805" fmla="*/ 346806 h 3355086"/>
                <a:gd name="connsiteX23806" fmla="*/ 2547747 w 3359086"/>
                <a:gd name="connsiteY23806" fmla="*/ 340614 h 3355086"/>
                <a:gd name="connsiteX23807" fmla="*/ 2553938 w 3359086"/>
                <a:gd name="connsiteY23807" fmla="*/ 334423 h 3355086"/>
                <a:gd name="connsiteX23808" fmla="*/ 2445352 w 3359086"/>
                <a:gd name="connsiteY23808" fmla="*/ 334137 h 3355086"/>
                <a:gd name="connsiteX23809" fmla="*/ 2451544 w 3359086"/>
                <a:gd name="connsiteY23809" fmla="*/ 340328 h 3355086"/>
                <a:gd name="connsiteX23810" fmla="*/ 2445352 w 3359086"/>
                <a:gd name="connsiteY23810" fmla="*/ 346519 h 3355086"/>
                <a:gd name="connsiteX23811" fmla="*/ 2439161 w 3359086"/>
                <a:gd name="connsiteY23811" fmla="*/ 340328 h 3355086"/>
                <a:gd name="connsiteX23812" fmla="*/ 2445352 w 3359086"/>
                <a:gd name="connsiteY23812" fmla="*/ 334137 h 3355086"/>
                <a:gd name="connsiteX23813" fmla="*/ 759999 w 3359086"/>
                <a:gd name="connsiteY23813" fmla="*/ 333661 h 3355086"/>
                <a:gd name="connsiteX23814" fmla="*/ 766191 w 3359086"/>
                <a:gd name="connsiteY23814" fmla="*/ 339852 h 3355086"/>
                <a:gd name="connsiteX23815" fmla="*/ 759999 w 3359086"/>
                <a:gd name="connsiteY23815" fmla="*/ 346043 h 3355086"/>
                <a:gd name="connsiteX23816" fmla="*/ 753808 w 3359086"/>
                <a:gd name="connsiteY23816" fmla="*/ 339852 h 3355086"/>
                <a:gd name="connsiteX23817" fmla="*/ 759999 w 3359086"/>
                <a:gd name="connsiteY23817" fmla="*/ 333661 h 3355086"/>
                <a:gd name="connsiteX23818" fmla="*/ 2613755 w 3359086"/>
                <a:gd name="connsiteY23818" fmla="*/ 333375 h 3355086"/>
                <a:gd name="connsiteX23819" fmla="*/ 2619946 w 3359086"/>
                <a:gd name="connsiteY23819" fmla="*/ 339566 h 3355086"/>
                <a:gd name="connsiteX23820" fmla="*/ 2613755 w 3359086"/>
                <a:gd name="connsiteY23820" fmla="*/ 345757 h 3355086"/>
                <a:gd name="connsiteX23821" fmla="*/ 2607564 w 3359086"/>
                <a:gd name="connsiteY23821" fmla="*/ 339566 h 3355086"/>
                <a:gd name="connsiteX23822" fmla="*/ 2613755 w 3359086"/>
                <a:gd name="connsiteY23822" fmla="*/ 333375 h 3355086"/>
                <a:gd name="connsiteX23823" fmla="*/ 675703 w 3359086"/>
                <a:gd name="connsiteY23823" fmla="*/ 333090 h 3355086"/>
                <a:gd name="connsiteX23824" fmla="*/ 678180 w 3359086"/>
                <a:gd name="connsiteY23824" fmla="*/ 335567 h 3355086"/>
                <a:gd name="connsiteX23825" fmla="*/ 675703 w 3359086"/>
                <a:gd name="connsiteY23825" fmla="*/ 338043 h 3355086"/>
                <a:gd name="connsiteX23826" fmla="*/ 673227 w 3359086"/>
                <a:gd name="connsiteY23826" fmla="*/ 335567 h 3355086"/>
                <a:gd name="connsiteX23827" fmla="*/ 675703 w 3359086"/>
                <a:gd name="connsiteY23827" fmla="*/ 333090 h 3355086"/>
                <a:gd name="connsiteX23828" fmla="*/ 2376106 w 3359086"/>
                <a:gd name="connsiteY23828" fmla="*/ 332613 h 3355086"/>
                <a:gd name="connsiteX23829" fmla="*/ 2382298 w 3359086"/>
                <a:gd name="connsiteY23829" fmla="*/ 338804 h 3355086"/>
                <a:gd name="connsiteX23830" fmla="*/ 2376106 w 3359086"/>
                <a:gd name="connsiteY23830" fmla="*/ 344995 h 3355086"/>
                <a:gd name="connsiteX23831" fmla="*/ 2369915 w 3359086"/>
                <a:gd name="connsiteY23831" fmla="*/ 338804 h 3355086"/>
                <a:gd name="connsiteX23832" fmla="*/ 2376106 w 3359086"/>
                <a:gd name="connsiteY23832" fmla="*/ 332613 h 3355086"/>
                <a:gd name="connsiteX23833" fmla="*/ 1829752 w 3359086"/>
                <a:gd name="connsiteY23833" fmla="*/ 331756 h 3355086"/>
                <a:gd name="connsiteX23834" fmla="*/ 1835944 w 3359086"/>
                <a:gd name="connsiteY23834" fmla="*/ 337947 h 3355086"/>
                <a:gd name="connsiteX23835" fmla="*/ 1829752 w 3359086"/>
                <a:gd name="connsiteY23835" fmla="*/ 344138 h 3355086"/>
                <a:gd name="connsiteX23836" fmla="*/ 1823561 w 3359086"/>
                <a:gd name="connsiteY23836" fmla="*/ 337947 h 3355086"/>
                <a:gd name="connsiteX23837" fmla="*/ 1829752 w 3359086"/>
                <a:gd name="connsiteY23837" fmla="*/ 331756 h 3355086"/>
                <a:gd name="connsiteX23838" fmla="*/ 2123122 w 3359086"/>
                <a:gd name="connsiteY23838" fmla="*/ 329089 h 3355086"/>
                <a:gd name="connsiteX23839" fmla="*/ 2129314 w 3359086"/>
                <a:gd name="connsiteY23839" fmla="*/ 335280 h 3355086"/>
                <a:gd name="connsiteX23840" fmla="*/ 2123122 w 3359086"/>
                <a:gd name="connsiteY23840" fmla="*/ 341471 h 3355086"/>
                <a:gd name="connsiteX23841" fmla="*/ 2116931 w 3359086"/>
                <a:gd name="connsiteY23841" fmla="*/ 335280 h 3355086"/>
                <a:gd name="connsiteX23842" fmla="*/ 2123122 w 3359086"/>
                <a:gd name="connsiteY23842" fmla="*/ 329089 h 3355086"/>
                <a:gd name="connsiteX23843" fmla="*/ 2668238 w 3359086"/>
                <a:gd name="connsiteY23843" fmla="*/ 328994 h 3355086"/>
                <a:gd name="connsiteX23844" fmla="*/ 2674429 w 3359086"/>
                <a:gd name="connsiteY23844" fmla="*/ 335185 h 3355086"/>
                <a:gd name="connsiteX23845" fmla="*/ 2671143 w 3359086"/>
                <a:gd name="connsiteY23845" fmla="*/ 338472 h 3355086"/>
                <a:gd name="connsiteX23846" fmla="*/ 2677286 w 3359086"/>
                <a:gd name="connsiteY23846" fmla="*/ 344615 h 3355086"/>
                <a:gd name="connsiteX23847" fmla="*/ 2671095 w 3359086"/>
                <a:gd name="connsiteY23847" fmla="*/ 350806 h 3355086"/>
                <a:gd name="connsiteX23848" fmla="*/ 2664904 w 3359086"/>
                <a:gd name="connsiteY23848" fmla="*/ 344615 h 3355086"/>
                <a:gd name="connsiteX23849" fmla="*/ 2668190 w 3359086"/>
                <a:gd name="connsiteY23849" fmla="*/ 341329 h 3355086"/>
                <a:gd name="connsiteX23850" fmla="*/ 2662047 w 3359086"/>
                <a:gd name="connsiteY23850" fmla="*/ 335185 h 3355086"/>
                <a:gd name="connsiteX23851" fmla="*/ 2668238 w 3359086"/>
                <a:gd name="connsiteY23851" fmla="*/ 328994 h 3355086"/>
                <a:gd name="connsiteX23852" fmla="*/ 1551717 w 3359086"/>
                <a:gd name="connsiteY23852" fmla="*/ 328994 h 3355086"/>
                <a:gd name="connsiteX23853" fmla="*/ 1557909 w 3359086"/>
                <a:gd name="connsiteY23853" fmla="*/ 335185 h 3355086"/>
                <a:gd name="connsiteX23854" fmla="*/ 1551717 w 3359086"/>
                <a:gd name="connsiteY23854" fmla="*/ 341377 h 3355086"/>
                <a:gd name="connsiteX23855" fmla="*/ 1545526 w 3359086"/>
                <a:gd name="connsiteY23855" fmla="*/ 335185 h 3355086"/>
                <a:gd name="connsiteX23856" fmla="*/ 1551717 w 3359086"/>
                <a:gd name="connsiteY23856" fmla="*/ 328994 h 3355086"/>
                <a:gd name="connsiteX23857" fmla="*/ 1737359 w 3359086"/>
                <a:gd name="connsiteY23857" fmla="*/ 327375 h 3355086"/>
                <a:gd name="connsiteX23858" fmla="*/ 1743551 w 3359086"/>
                <a:gd name="connsiteY23858" fmla="*/ 333566 h 3355086"/>
                <a:gd name="connsiteX23859" fmla="*/ 1737359 w 3359086"/>
                <a:gd name="connsiteY23859" fmla="*/ 339757 h 3355086"/>
                <a:gd name="connsiteX23860" fmla="*/ 1731168 w 3359086"/>
                <a:gd name="connsiteY23860" fmla="*/ 333566 h 3355086"/>
                <a:gd name="connsiteX23861" fmla="*/ 1737359 w 3359086"/>
                <a:gd name="connsiteY23861" fmla="*/ 327375 h 3355086"/>
                <a:gd name="connsiteX23862" fmla="*/ 856297 w 3359086"/>
                <a:gd name="connsiteY23862" fmla="*/ 326708 h 3355086"/>
                <a:gd name="connsiteX23863" fmla="*/ 862489 w 3359086"/>
                <a:gd name="connsiteY23863" fmla="*/ 332899 h 3355086"/>
                <a:gd name="connsiteX23864" fmla="*/ 856297 w 3359086"/>
                <a:gd name="connsiteY23864" fmla="*/ 339090 h 3355086"/>
                <a:gd name="connsiteX23865" fmla="*/ 850106 w 3359086"/>
                <a:gd name="connsiteY23865" fmla="*/ 332899 h 3355086"/>
                <a:gd name="connsiteX23866" fmla="*/ 856297 w 3359086"/>
                <a:gd name="connsiteY23866" fmla="*/ 326708 h 3355086"/>
                <a:gd name="connsiteX23867" fmla="*/ 2586704 w 3359086"/>
                <a:gd name="connsiteY23867" fmla="*/ 326612 h 3355086"/>
                <a:gd name="connsiteX23868" fmla="*/ 2592895 w 3359086"/>
                <a:gd name="connsiteY23868" fmla="*/ 332803 h 3355086"/>
                <a:gd name="connsiteX23869" fmla="*/ 2586704 w 3359086"/>
                <a:gd name="connsiteY23869" fmla="*/ 338995 h 3355086"/>
                <a:gd name="connsiteX23870" fmla="*/ 2580513 w 3359086"/>
                <a:gd name="connsiteY23870" fmla="*/ 332803 h 3355086"/>
                <a:gd name="connsiteX23871" fmla="*/ 2586704 w 3359086"/>
                <a:gd name="connsiteY23871" fmla="*/ 326612 h 3355086"/>
                <a:gd name="connsiteX23872" fmla="*/ 1644491 w 3359086"/>
                <a:gd name="connsiteY23872" fmla="*/ 326517 h 3355086"/>
                <a:gd name="connsiteX23873" fmla="*/ 1650683 w 3359086"/>
                <a:gd name="connsiteY23873" fmla="*/ 332708 h 3355086"/>
                <a:gd name="connsiteX23874" fmla="*/ 1644491 w 3359086"/>
                <a:gd name="connsiteY23874" fmla="*/ 338899 h 3355086"/>
                <a:gd name="connsiteX23875" fmla="*/ 1638300 w 3359086"/>
                <a:gd name="connsiteY23875" fmla="*/ 332708 h 3355086"/>
                <a:gd name="connsiteX23876" fmla="*/ 1644491 w 3359086"/>
                <a:gd name="connsiteY23876" fmla="*/ 326517 h 3355086"/>
                <a:gd name="connsiteX23877" fmla="*/ 1075181 w 3359086"/>
                <a:gd name="connsiteY23877" fmla="*/ 325374 h 3355086"/>
                <a:gd name="connsiteX23878" fmla="*/ 1081372 w 3359086"/>
                <a:gd name="connsiteY23878" fmla="*/ 331565 h 3355086"/>
                <a:gd name="connsiteX23879" fmla="*/ 1075181 w 3359086"/>
                <a:gd name="connsiteY23879" fmla="*/ 337756 h 3355086"/>
                <a:gd name="connsiteX23880" fmla="*/ 1068990 w 3359086"/>
                <a:gd name="connsiteY23880" fmla="*/ 331565 h 3355086"/>
                <a:gd name="connsiteX23881" fmla="*/ 1075181 w 3359086"/>
                <a:gd name="connsiteY23881" fmla="*/ 325374 h 3355086"/>
                <a:gd name="connsiteX23882" fmla="*/ 2506122 w 3359086"/>
                <a:gd name="connsiteY23882" fmla="*/ 323755 h 3355086"/>
                <a:gd name="connsiteX23883" fmla="*/ 2512314 w 3359086"/>
                <a:gd name="connsiteY23883" fmla="*/ 329946 h 3355086"/>
                <a:gd name="connsiteX23884" fmla="*/ 2506122 w 3359086"/>
                <a:gd name="connsiteY23884" fmla="*/ 336137 h 3355086"/>
                <a:gd name="connsiteX23885" fmla="*/ 2499931 w 3359086"/>
                <a:gd name="connsiteY23885" fmla="*/ 329946 h 3355086"/>
                <a:gd name="connsiteX23886" fmla="*/ 2506122 w 3359086"/>
                <a:gd name="connsiteY23886" fmla="*/ 323755 h 3355086"/>
                <a:gd name="connsiteX23887" fmla="*/ 763142 w 3359086"/>
                <a:gd name="connsiteY23887" fmla="*/ 323183 h 3355086"/>
                <a:gd name="connsiteX23888" fmla="*/ 769333 w 3359086"/>
                <a:gd name="connsiteY23888" fmla="*/ 329374 h 3355086"/>
                <a:gd name="connsiteX23889" fmla="*/ 763142 w 3359086"/>
                <a:gd name="connsiteY23889" fmla="*/ 335566 h 3355086"/>
                <a:gd name="connsiteX23890" fmla="*/ 756951 w 3359086"/>
                <a:gd name="connsiteY23890" fmla="*/ 329374 h 3355086"/>
                <a:gd name="connsiteX23891" fmla="*/ 763142 w 3359086"/>
                <a:gd name="connsiteY23891" fmla="*/ 323183 h 3355086"/>
                <a:gd name="connsiteX23892" fmla="*/ 2551937 w 3359086"/>
                <a:gd name="connsiteY23892" fmla="*/ 322422 h 3355086"/>
                <a:gd name="connsiteX23893" fmla="*/ 2558129 w 3359086"/>
                <a:gd name="connsiteY23893" fmla="*/ 328613 h 3355086"/>
                <a:gd name="connsiteX23894" fmla="*/ 2551937 w 3359086"/>
                <a:gd name="connsiteY23894" fmla="*/ 334804 h 3355086"/>
                <a:gd name="connsiteX23895" fmla="*/ 2545746 w 3359086"/>
                <a:gd name="connsiteY23895" fmla="*/ 328613 h 3355086"/>
                <a:gd name="connsiteX23896" fmla="*/ 2551937 w 3359086"/>
                <a:gd name="connsiteY23896" fmla="*/ 322422 h 3355086"/>
                <a:gd name="connsiteX23897" fmla="*/ 918686 w 3359086"/>
                <a:gd name="connsiteY23897" fmla="*/ 321659 h 3355086"/>
                <a:gd name="connsiteX23898" fmla="*/ 924877 w 3359086"/>
                <a:gd name="connsiteY23898" fmla="*/ 327850 h 3355086"/>
                <a:gd name="connsiteX23899" fmla="*/ 918686 w 3359086"/>
                <a:gd name="connsiteY23899" fmla="*/ 334042 h 3355086"/>
                <a:gd name="connsiteX23900" fmla="*/ 912495 w 3359086"/>
                <a:gd name="connsiteY23900" fmla="*/ 327850 h 3355086"/>
                <a:gd name="connsiteX23901" fmla="*/ 918686 w 3359086"/>
                <a:gd name="connsiteY23901" fmla="*/ 321659 h 3355086"/>
                <a:gd name="connsiteX23902" fmla="*/ 2666142 w 3359086"/>
                <a:gd name="connsiteY23902" fmla="*/ 321469 h 3355086"/>
                <a:gd name="connsiteX23903" fmla="*/ 2669857 w 3359086"/>
                <a:gd name="connsiteY23903" fmla="*/ 325184 h 3355086"/>
                <a:gd name="connsiteX23904" fmla="*/ 2666142 w 3359086"/>
                <a:gd name="connsiteY23904" fmla="*/ 328899 h 3355086"/>
                <a:gd name="connsiteX23905" fmla="*/ 2662428 w 3359086"/>
                <a:gd name="connsiteY23905" fmla="*/ 325184 h 3355086"/>
                <a:gd name="connsiteX23906" fmla="*/ 2666142 w 3359086"/>
                <a:gd name="connsiteY23906" fmla="*/ 321469 h 3355086"/>
                <a:gd name="connsiteX23907" fmla="*/ 803147 w 3359086"/>
                <a:gd name="connsiteY23907" fmla="*/ 321374 h 3355086"/>
                <a:gd name="connsiteX23908" fmla="*/ 809339 w 3359086"/>
                <a:gd name="connsiteY23908" fmla="*/ 327565 h 3355086"/>
                <a:gd name="connsiteX23909" fmla="*/ 803147 w 3359086"/>
                <a:gd name="connsiteY23909" fmla="*/ 333756 h 3355086"/>
                <a:gd name="connsiteX23910" fmla="*/ 796956 w 3359086"/>
                <a:gd name="connsiteY23910" fmla="*/ 327565 h 3355086"/>
                <a:gd name="connsiteX23911" fmla="*/ 803147 w 3359086"/>
                <a:gd name="connsiteY23911" fmla="*/ 321374 h 3355086"/>
                <a:gd name="connsiteX23912" fmla="*/ 1253013 w 3359086"/>
                <a:gd name="connsiteY23912" fmla="*/ 320993 h 3355086"/>
                <a:gd name="connsiteX23913" fmla="*/ 1259205 w 3359086"/>
                <a:gd name="connsiteY23913" fmla="*/ 327184 h 3355086"/>
                <a:gd name="connsiteX23914" fmla="*/ 1253013 w 3359086"/>
                <a:gd name="connsiteY23914" fmla="*/ 333376 h 3355086"/>
                <a:gd name="connsiteX23915" fmla="*/ 1246822 w 3359086"/>
                <a:gd name="connsiteY23915" fmla="*/ 327184 h 3355086"/>
                <a:gd name="connsiteX23916" fmla="*/ 1253013 w 3359086"/>
                <a:gd name="connsiteY23916" fmla="*/ 320993 h 3355086"/>
                <a:gd name="connsiteX23917" fmla="*/ 991171 w 3359086"/>
                <a:gd name="connsiteY23917" fmla="*/ 320802 h 3355086"/>
                <a:gd name="connsiteX23918" fmla="*/ 997362 w 3359086"/>
                <a:gd name="connsiteY23918" fmla="*/ 326993 h 3355086"/>
                <a:gd name="connsiteX23919" fmla="*/ 991171 w 3359086"/>
                <a:gd name="connsiteY23919" fmla="*/ 333185 h 3355086"/>
                <a:gd name="connsiteX23920" fmla="*/ 984980 w 3359086"/>
                <a:gd name="connsiteY23920" fmla="*/ 326993 h 3355086"/>
                <a:gd name="connsiteX23921" fmla="*/ 991171 w 3359086"/>
                <a:gd name="connsiteY23921" fmla="*/ 320802 h 3355086"/>
                <a:gd name="connsiteX23922" fmla="*/ 2222753 w 3359086"/>
                <a:gd name="connsiteY23922" fmla="*/ 316516 h 3355086"/>
                <a:gd name="connsiteX23923" fmla="*/ 2228944 w 3359086"/>
                <a:gd name="connsiteY23923" fmla="*/ 322707 h 3355086"/>
                <a:gd name="connsiteX23924" fmla="*/ 2222753 w 3359086"/>
                <a:gd name="connsiteY23924" fmla="*/ 328898 h 3355086"/>
                <a:gd name="connsiteX23925" fmla="*/ 2216562 w 3359086"/>
                <a:gd name="connsiteY23925" fmla="*/ 322707 h 3355086"/>
                <a:gd name="connsiteX23926" fmla="*/ 2222753 w 3359086"/>
                <a:gd name="connsiteY23926" fmla="*/ 316516 h 3355086"/>
                <a:gd name="connsiteX23927" fmla="*/ 2450306 w 3359086"/>
                <a:gd name="connsiteY23927" fmla="*/ 315659 h 3355086"/>
                <a:gd name="connsiteX23928" fmla="*/ 2456497 w 3359086"/>
                <a:gd name="connsiteY23928" fmla="*/ 321850 h 3355086"/>
                <a:gd name="connsiteX23929" fmla="*/ 2450306 w 3359086"/>
                <a:gd name="connsiteY23929" fmla="*/ 328041 h 3355086"/>
                <a:gd name="connsiteX23930" fmla="*/ 2444115 w 3359086"/>
                <a:gd name="connsiteY23930" fmla="*/ 321850 h 3355086"/>
                <a:gd name="connsiteX23931" fmla="*/ 2450306 w 3359086"/>
                <a:gd name="connsiteY23931" fmla="*/ 315659 h 3355086"/>
                <a:gd name="connsiteX23932" fmla="*/ 2040349 w 3359086"/>
                <a:gd name="connsiteY23932" fmla="*/ 314516 h 3355086"/>
                <a:gd name="connsiteX23933" fmla="*/ 2046541 w 3359086"/>
                <a:gd name="connsiteY23933" fmla="*/ 320707 h 3355086"/>
                <a:gd name="connsiteX23934" fmla="*/ 2040349 w 3359086"/>
                <a:gd name="connsiteY23934" fmla="*/ 326899 h 3355086"/>
                <a:gd name="connsiteX23935" fmla="*/ 2034158 w 3359086"/>
                <a:gd name="connsiteY23935" fmla="*/ 320707 h 3355086"/>
                <a:gd name="connsiteX23936" fmla="*/ 2040349 w 3359086"/>
                <a:gd name="connsiteY23936" fmla="*/ 314516 h 3355086"/>
                <a:gd name="connsiteX23937" fmla="*/ 703707 w 3359086"/>
                <a:gd name="connsiteY23937" fmla="*/ 312611 h 3355086"/>
                <a:gd name="connsiteX23938" fmla="*/ 709708 w 3359086"/>
                <a:gd name="connsiteY23938" fmla="*/ 318612 h 3355086"/>
                <a:gd name="connsiteX23939" fmla="*/ 704326 w 3359086"/>
                <a:gd name="connsiteY23939" fmla="*/ 323994 h 3355086"/>
                <a:gd name="connsiteX23940" fmla="*/ 706754 w 3359086"/>
                <a:gd name="connsiteY23940" fmla="*/ 326422 h 3355086"/>
                <a:gd name="connsiteX23941" fmla="*/ 701087 w 3359086"/>
                <a:gd name="connsiteY23941" fmla="*/ 332089 h 3355086"/>
                <a:gd name="connsiteX23942" fmla="*/ 702945 w 3359086"/>
                <a:gd name="connsiteY23942" fmla="*/ 333947 h 3355086"/>
                <a:gd name="connsiteX23943" fmla="*/ 697039 w 3359086"/>
                <a:gd name="connsiteY23943" fmla="*/ 339852 h 3355086"/>
                <a:gd name="connsiteX23944" fmla="*/ 698563 w 3359086"/>
                <a:gd name="connsiteY23944" fmla="*/ 341376 h 3355086"/>
                <a:gd name="connsiteX23945" fmla="*/ 692372 w 3359086"/>
                <a:gd name="connsiteY23945" fmla="*/ 347567 h 3355086"/>
                <a:gd name="connsiteX23946" fmla="*/ 686181 w 3359086"/>
                <a:gd name="connsiteY23946" fmla="*/ 341376 h 3355086"/>
                <a:gd name="connsiteX23947" fmla="*/ 692086 w 3359086"/>
                <a:gd name="connsiteY23947" fmla="*/ 335471 h 3355086"/>
                <a:gd name="connsiteX23948" fmla="*/ 690562 w 3359086"/>
                <a:gd name="connsiteY23948" fmla="*/ 333947 h 3355086"/>
                <a:gd name="connsiteX23949" fmla="*/ 696230 w 3359086"/>
                <a:gd name="connsiteY23949" fmla="*/ 328280 h 3355086"/>
                <a:gd name="connsiteX23950" fmla="*/ 694372 w 3359086"/>
                <a:gd name="connsiteY23950" fmla="*/ 326422 h 3355086"/>
                <a:gd name="connsiteX23951" fmla="*/ 699944 w 3359086"/>
                <a:gd name="connsiteY23951" fmla="*/ 320850 h 3355086"/>
                <a:gd name="connsiteX23952" fmla="*/ 697706 w 3359086"/>
                <a:gd name="connsiteY23952" fmla="*/ 318612 h 3355086"/>
                <a:gd name="connsiteX23953" fmla="*/ 703707 w 3359086"/>
                <a:gd name="connsiteY23953" fmla="*/ 312611 h 3355086"/>
                <a:gd name="connsiteX23954" fmla="*/ 2385250 w 3359086"/>
                <a:gd name="connsiteY23954" fmla="*/ 311087 h 3355086"/>
                <a:gd name="connsiteX23955" fmla="*/ 2391442 w 3359086"/>
                <a:gd name="connsiteY23955" fmla="*/ 317278 h 3355086"/>
                <a:gd name="connsiteX23956" fmla="*/ 2385250 w 3359086"/>
                <a:gd name="connsiteY23956" fmla="*/ 323469 h 3355086"/>
                <a:gd name="connsiteX23957" fmla="*/ 2379059 w 3359086"/>
                <a:gd name="connsiteY23957" fmla="*/ 317278 h 3355086"/>
                <a:gd name="connsiteX23958" fmla="*/ 2385250 w 3359086"/>
                <a:gd name="connsiteY23958" fmla="*/ 311087 h 3355086"/>
                <a:gd name="connsiteX23959" fmla="*/ 2309716 w 3359086"/>
                <a:gd name="connsiteY23959" fmla="*/ 310991 h 3355086"/>
                <a:gd name="connsiteX23960" fmla="*/ 2315908 w 3359086"/>
                <a:gd name="connsiteY23960" fmla="*/ 317182 h 3355086"/>
                <a:gd name="connsiteX23961" fmla="*/ 2309716 w 3359086"/>
                <a:gd name="connsiteY23961" fmla="*/ 323373 h 3355086"/>
                <a:gd name="connsiteX23962" fmla="*/ 2303525 w 3359086"/>
                <a:gd name="connsiteY23962" fmla="*/ 317182 h 3355086"/>
                <a:gd name="connsiteX23963" fmla="*/ 2309716 w 3359086"/>
                <a:gd name="connsiteY23963" fmla="*/ 310991 h 3355086"/>
                <a:gd name="connsiteX23964" fmla="*/ 853534 w 3359086"/>
                <a:gd name="connsiteY23964" fmla="*/ 310896 h 3355086"/>
                <a:gd name="connsiteX23965" fmla="*/ 859726 w 3359086"/>
                <a:gd name="connsiteY23965" fmla="*/ 317087 h 3355086"/>
                <a:gd name="connsiteX23966" fmla="*/ 853534 w 3359086"/>
                <a:gd name="connsiteY23966" fmla="*/ 323278 h 3355086"/>
                <a:gd name="connsiteX23967" fmla="*/ 847343 w 3359086"/>
                <a:gd name="connsiteY23967" fmla="*/ 317087 h 3355086"/>
                <a:gd name="connsiteX23968" fmla="*/ 853534 w 3359086"/>
                <a:gd name="connsiteY23968" fmla="*/ 310896 h 3355086"/>
                <a:gd name="connsiteX23969" fmla="*/ 706278 w 3359086"/>
                <a:gd name="connsiteY23969" fmla="*/ 310325 h 3355086"/>
                <a:gd name="connsiteX23970" fmla="*/ 706374 w 3359086"/>
                <a:gd name="connsiteY23970" fmla="*/ 310420 h 3355086"/>
                <a:gd name="connsiteX23971" fmla="*/ 706278 w 3359086"/>
                <a:gd name="connsiteY23971" fmla="*/ 310516 h 3355086"/>
                <a:gd name="connsiteX23972" fmla="*/ 706183 w 3359086"/>
                <a:gd name="connsiteY23972" fmla="*/ 310420 h 3355086"/>
                <a:gd name="connsiteX23973" fmla="*/ 706278 w 3359086"/>
                <a:gd name="connsiteY23973" fmla="*/ 310325 h 3355086"/>
                <a:gd name="connsiteX23974" fmla="*/ 1337119 w 3359086"/>
                <a:gd name="connsiteY23974" fmla="*/ 307848 h 3355086"/>
                <a:gd name="connsiteX23975" fmla="*/ 1343311 w 3359086"/>
                <a:gd name="connsiteY23975" fmla="*/ 314039 h 3355086"/>
                <a:gd name="connsiteX23976" fmla="*/ 1337119 w 3359086"/>
                <a:gd name="connsiteY23976" fmla="*/ 320230 h 3355086"/>
                <a:gd name="connsiteX23977" fmla="*/ 1330928 w 3359086"/>
                <a:gd name="connsiteY23977" fmla="*/ 314039 h 3355086"/>
                <a:gd name="connsiteX23978" fmla="*/ 1337119 w 3359086"/>
                <a:gd name="connsiteY23978" fmla="*/ 307848 h 3355086"/>
                <a:gd name="connsiteX23979" fmla="*/ 1149762 w 3359086"/>
                <a:gd name="connsiteY23979" fmla="*/ 306801 h 3355086"/>
                <a:gd name="connsiteX23980" fmla="*/ 1155954 w 3359086"/>
                <a:gd name="connsiteY23980" fmla="*/ 312992 h 3355086"/>
                <a:gd name="connsiteX23981" fmla="*/ 1149762 w 3359086"/>
                <a:gd name="connsiteY23981" fmla="*/ 319183 h 3355086"/>
                <a:gd name="connsiteX23982" fmla="*/ 1143571 w 3359086"/>
                <a:gd name="connsiteY23982" fmla="*/ 312992 h 3355086"/>
                <a:gd name="connsiteX23983" fmla="*/ 1149762 w 3359086"/>
                <a:gd name="connsiteY23983" fmla="*/ 306801 h 3355086"/>
                <a:gd name="connsiteX23984" fmla="*/ 2638996 w 3359086"/>
                <a:gd name="connsiteY23984" fmla="*/ 303752 h 3355086"/>
                <a:gd name="connsiteX23985" fmla="*/ 2645187 w 3359086"/>
                <a:gd name="connsiteY23985" fmla="*/ 309943 h 3355086"/>
                <a:gd name="connsiteX23986" fmla="*/ 2641567 w 3359086"/>
                <a:gd name="connsiteY23986" fmla="*/ 313563 h 3355086"/>
                <a:gd name="connsiteX23987" fmla="*/ 2647093 w 3359086"/>
                <a:gd name="connsiteY23987" fmla="*/ 319088 h 3355086"/>
                <a:gd name="connsiteX23988" fmla="*/ 2644092 w 3359086"/>
                <a:gd name="connsiteY23988" fmla="*/ 322088 h 3355086"/>
                <a:gd name="connsiteX23989" fmla="*/ 2649759 w 3359086"/>
                <a:gd name="connsiteY23989" fmla="*/ 327755 h 3355086"/>
                <a:gd name="connsiteX23990" fmla="*/ 2647330 w 3359086"/>
                <a:gd name="connsiteY23990" fmla="*/ 330185 h 3355086"/>
                <a:gd name="connsiteX23991" fmla="*/ 2653093 w 3359086"/>
                <a:gd name="connsiteY23991" fmla="*/ 335947 h 3355086"/>
                <a:gd name="connsiteX23992" fmla="*/ 2651092 w 3359086"/>
                <a:gd name="connsiteY23992" fmla="*/ 337947 h 3355086"/>
                <a:gd name="connsiteX23993" fmla="*/ 2657093 w 3359086"/>
                <a:gd name="connsiteY23993" fmla="*/ 343948 h 3355086"/>
                <a:gd name="connsiteX23994" fmla="*/ 2655474 w 3359086"/>
                <a:gd name="connsiteY23994" fmla="*/ 345567 h 3355086"/>
                <a:gd name="connsiteX23995" fmla="*/ 2661665 w 3359086"/>
                <a:gd name="connsiteY23995" fmla="*/ 351758 h 3355086"/>
                <a:gd name="connsiteX23996" fmla="*/ 2655474 w 3359086"/>
                <a:gd name="connsiteY23996" fmla="*/ 357949 h 3355086"/>
                <a:gd name="connsiteX23997" fmla="*/ 2649283 w 3359086"/>
                <a:gd name="connsiteY23997" fmla="*/ 351758 h 3355086"/>
                <a:gd name="connsiteX23998" fmla="*/ 2654915 w 3359086"/>
                <a:gd name="connsiteY23998" fmla="*/ 346127 h 3355086"/>
                <a:gd name="connsiteX23999" fmla="*/ 2650902 w 3359086"/>
                <a:gd name="connsiteY23999" fmla="*/ 350139 h 3355086"/>
                <a:gd name="connsiteX24000" fmla="*/ 2644711 w 3359086"/>
                <a:gd name="connsiteY24000" fmla="*/ 343948 h 3355086"/>
                <a:gd name="connsiteX24001" fmla="*/ 2646711 w 3359086"/>
                <a:gd name="connsiteY24001" fmla="*/ 341948 h 3355086"/>
                <a:gd name="connsiteX24002" fmla="*/ 2640710 w 3359086"/>
                <a:gd name="connsiteY24002" fmla="*/ 335947 h 3355086"/>
                <a:gd name="connsiteX24003" fmla="*/ 2643139 w 3359086"/>
                <a:gd name="connsiteY24003" fmla="*/ 333518 h 3355086"/>
                <a:gd name="connsiteX24004" fmla="*/ 2637377 w 3359086"/>
                <a:gd name="connsiteY24004" fmla="*/ 327755 h 3355086"/>
                <a:gd name="connsiteX24005" fmla="*/ 2640377 w 3359086"/>
                <a:gd name="connsiteY24005" fmla="*/ 324755 h 3355086"/>
                <a:gd name="connsiteX24006" fmla="*/ 2634710 w 3359086"/>
                <a:gd name="connsiteY24006" fmla="*/ 319088 h 3355086"/>
                <a:gd name="connsiteX24007" fmla="*/ 2638330 w 3359086"/>
                <a:gd name="connsiteY24007" fmla="*/ 315469 h 3355086"/>
                <a:gd name="connsiteX24008" fmla="*/ 2632805 w 3359086"/>
                <a:gd name="connsiteY24008" fmla="*/ 309943 h 3355086"/>
                <a:gd name="connsiteX24009" fmla="*/ 2638996 w 3359086"/>
                <a:gd name="connsiteY24009" fmla="*/ 303752 h 3355086"/>
                <a:gd name="connsiteX24010" fmla="*/ 912304 w 3359086"/>
                <a:gd name="connsiteY24010" fmla="*/ 303181 h 3355086"/>
                <a:gd name="connsiteX24011" fmla="*/ 918496 w 3359086"/>
                <a:gd name="connsiteY24011" fmla="*/ 309372 h 3355086"/>
                <a:gd name="connsiteX24012" fmla="*/ 912304 w 3359086"/>
                <a:gd name="connsiteY24012" fmla="*/ 315563 h 3355086"/>
                <a:gd name="connsiteX24013" fmla="*/ 906113 w 3359086"/>
                <a:gd name="connsiteY24013" fmla="*/ 309372 h 3355086"/>
                <a:gd name="connsiteX24014" fmla="*/ 912304 w 3359086"/>
                <a:gd name="connsiteY24014" fmla="*/ 303181 h 3355086"/>
                <a:gd name="connsiteX24015" fmla="*/ 1955196 w 3359086"/>
                <a:gd name="connsiteY24015" fmla="*/ 302705 h 3355086"/>
                <a:gd name="connsiteX24016" fmla="*/ 1961388 w 3359086"/>
                <a:gd name="connsiteY24016" fmla="*/ 308896 h 3355086"/>
                <a:gd name="connsiteX24017" fmla="*/ 1955196 w 3359086"/>
                <a:gd name="connsiteY24017" fmla="*/ 315087 h 3355086"/>
                <a:gd name="connsiteX24018" fmla="*/ 1949005 w 3359086"/>
                <a:gd name="connsiteY24018" fmla="*/ 308896 h 3355086"/>
                <a:gd name="connsiteX24019" fmla="*/ 1955196 w 3359086"/>
                <a:gd name="connsiteY24019" fmla="*/ 302705 h 3355086"/>
                <a:gd name="connsiteX24020" fmla="*/ 2637758 w 3359086"/>
                <a:gd name="connsiteY24020" fmla="*/ 300133 h 3355086"/>
                <a:gd name="connsiteX24021" fmla="*/ 2638043 w 3359086"/>
                <a:gd name="connsiteY24021" fmla="*/ 300419 h 3355086"/>
                <a:gd name="connsiteX24022" fmla="*/ 2637758 w 3359086"/>
                <a:gd name="connsiteY24022" fmla="*/ 300704 h 3355086"/>
                <a:gd name="connsiteX24023" fmla="*/ 2637472 w 3359086"/>
                <a:gd name="connsiteY24023" fmla="*/ 300419 h 3355086"/>
                <a:gd name="connsiteX24024" fmla="*/ 2637758 w 3359086"/>
                <a:gd name="connsiteY24024" fmla="*/ 300133 h 3355086"/>
                <a:gd name="connsiteX24025" fmla="*/ 1059274 w 3359086"/>
                <a:gd name="connsiteY24025" fmla="*/ 300038 h 3355086"/>
                <a:gd name="connsiteX24026" fmla="*/ 1065466 w 3359086"/>
                <a:gd name="connsiteY24026" fmla="*/ 306229 h 3355086"/>
                <a:gd name="connsiteX24027" fmla="*/ 1059274 w 3359086"/>
                <a:gd name="connsiteY24027" fmla="*/ 312421 h 3355086"/>
                <a:gd name="connsiteX24028" fmla="*/ 1053083 w 3359086"/>
                <a:gd name="connsiteY24028" fmla="*/ 306229 h 3355086"/>
                <a:gd name="connsiteX24029" fmla="*/ 1059274 w 3359086"/>
                <a:gd name="connsiteY24029" fmla="*/ 300038 h 3355086"/>
                <a:gd name="connsiteX24030" fmla="*/ 2454116 w 3359086"/>
                <a:gd name="connsiteY24030" fmla="*/ 299847 h 3355086"/>
                <a:gd name="connsiteX24031" fmla="*/ 2460307 w 3359086"/>
                <a:gd name="connsiteY24031" fmla="*/ 306038 h 3355086"/>
                <a:gd name="connsiteX24032" fmla="*/ 2454116 w 3359086"/>
                <a:gd name="connsiteY24032" fmla="*/ 312230 h 3355086"/>
                <a:gd name="connsiteX24033" fmla="*/ 2447925 w 3359086"/>
                <a:gd name="connsiteY24033" fmla="*/ 306038 h 3355086"/>
                <a:gd name="connsiteX24034" fmla="*/ 2454116 w 3359086"/>
                <a:gd name="connsiteY24034" fmla="*/ 299847 h 3355086"/>
                <a:gd name="connsiteX24035" fmla="*/ 980407 w 3359086"/>
                <a:gd name="connsiteY24035" fmla="*/ 299180 h 3355086"/>
                <a:gd name="connsiteX24036" fmla="*/ 986599 w 3359086"/>
                <a:gd name="connsiteY24036" fmla="*/ 305371 h 3355086"/>
                <a:gd name="connsiteX24037" fmla="*/ 980407 w 3359086"/>
                <a:gd name="connsiteY24037" fmla="*/ 311563 h 3355086"/>
                <a:gd name="connsiteX24038" fmla="*/ 974216 w 3359086"/>
                <a:gd name="connsiteY24038" fmla="*/ 305371 h 3355086"/>
                <a:gd name="connsiteX24039" fmla="*/ 980407 w 3359086"/>
                <a:gd name="connsiteY24039" fmla="*/ 299180 h 3355086"/>
                <a:gd name="connsiteX24040" fmla="*/ 2146649 w 3359086"/>
                <a:gd name="connsiteY24040" fmla="*/ 298895 h 3355086"/>
                <a:gd name="connsiteX24041" fmla="*/ 2152841 w 3359086"/>
                <a:gd name="connsiteY24041" fmla="*/ 305086 h 3355086"/>
                <a:gd name="connsiteX24042" fmla="*/ 2146649 w 3359086"/>
                <a:gd name="connsiteY24042" fmla="*/ 311277 h 3355086"/>
                <a:gd name="connsiteX24043" fmla="*/ 2140458 w 3359086"/>
                <a:gd name="connsiteY24043" fmla="*/ 305086 h 3355086"/>
                <a:gd name="connsiteX24044" fmla="*/ 2146649 w 3359086"/>
                <a:gd name="connsiteY24044" fmla="*/ 298895 h 3355086"/>
                <a:gd name="connsiteX24045" fmla="*/ 1423415 w 3359086"/>
                <a:gd name="connsiteY24045" fmla="*/ 297561 h 3355086"/>
                <a:gd name="connsiteX24046" fmla="*/ 1429607 w 3359086"/>
                <a:gd name="connsiteY24046" fmla="*/ 303752 h 3355086"/>
                <a:gd name="connsiteX24047" fmla="*/ 1423415 w 3359086"/>
                <a:gd name="connsiteY24047" fmla="*/ 309943 h 3355086"/>
                <a:gd name="connsiteX24048" fmla="*/ 1417224 w 3359086"/>
                <a:gd name="connsiteY24048" fmla="*/ 303752 h 3355086"/>
                <a:gd name="connsiteX24049" fmla="*/ 1423415 w 3359086"/>
                <a:gd name="connsiteY24049" fmla="*/ 297561 h 3355086"/>
                <a:gd name="connsiteX24050" fmla="*/ 851820 w 3359086"/>
                <a:gd name="connsiteY24050" fmla="*/ 297371 h 3355086"/>
                <a:gd name="connsiteX24051" fmla="*/ 858012 w 3359086"/>
                <a:gd name="connsiteY24051" fmla="*/ 303562 h 3355086"/>
                <a:gd name="connsiteX24052" fmla="*/ 851820 w 3359086"/>
                <a:gd name="connsiteY24052" fmla="*/ 309753 h 3355086"/>
                <a:gd name="connsiteX24053" fmla="*/ 845629 w 3359086"/>
                <a:gd name="connsiteY24053" fmla="*/ 303562 h 3355086"/>
                <a:gd name="connsiteX24054" fmla="*/ 851820 w 3359086"/>
                <a:gd name="connsiteY24054" fmla="*/ 297371 h 3355086"/>
                <a:gd name="connsiteX24055" fmla="*/ 732662 w 3359086"/>
                <a:gd name="connsiteY24055" fmla="*/ 295275 h 3355086"/>
                <a:gd name="connsiteX24056" fmla="*/ 738854 w 3359086"/>
                <a:gd name="connsiteY24056" fmla="*/ 301466 h 3355086"/>
                <a:gd name="connsiteX24057" fmla="*/ 733901 w 3359086"/>
                <a:gd name="connsiteY24057" fmla="*/ 306420 h 3355086"/>
                <a:gd name="connsiteX24058" fmla="*/ 735996 w 3359086"/>
                <a:gd name="connsiteY24058" fmla="*/ 308515 h 3355086"/>
                <a:gd name="connsiteX24059" fmla="*/ 730948 w 3359086"/>
                <a:gd name="connsiteY24059" fmla="*/ 313563 h 3355086"/>
                <a:gd name="connsiteX24060" fmla="*/ 732662 w 3359086"/>
                <a:gd name="connsiteY24060" fmla="*/ 315277 h 3355086"/>
                <a:gd name="connsiteX24061" fmla="*/ 727376 w 3359086"/>
                <a:gd name="connsiteY24061" fmla="*/ 320564 h 3355086"/>
                <a:gd name="connsiteX24062" fmla="*/ 728662 w 3359086"/>
                <a:gd name="connsiteY24062" fmla="*/ 321850 h 3355086"/>
                <a:gd name="connsiteX24063" fmla="*/ 723138 w 3359086"/>
                <a:gd name="connsiteY24063" fmla="*/ 327374 h 3355086"/>
                <a:gd name="connsiteX24064" fmla="*/ 724281 w 3359086"/>
                <a:gd name="connsiteY24064" fmla="*/ 328517 h 3355086"/>
                <a:gd name="connsiteX24065" fmla="*/ 718518 w 3359086"/>
                <a:gd name="connsiteY24065" fmla="*/ 334280 h 3355086"/>
                <a:gd name="connsiteX24066" fmla="*/ 719518 w 3359086"/>
                <a:gd name="connsiteY24066" fmla="*/ 335280 h 3355086"/>
                <a:gd name="connsiteX24067" fmla="*/ 713326 w 3359086"/>
                <a:gd name="connsiteY24067" fmla="*/ 341471 h 3355086"/>
                <a:gd name="connsiteX24068" fmla="*/ 711009 w 3359086"/>
                <a:gd name="connsiteY24068" fmla="*/ 339154 h 3355086"/>
                <a:gd name="connsiteX24069" fmla="*/ 714279 w 3359086"/>
                <a:gd name="connsiteY24069" fmla="*/ 342424 h 3355086"/>
                <a:gd name="connsiteX24070" fmla="*/ 708088 w 3359086"/>
                <a:gd name="connsiteY24070" fmla="*/ 348615 h 3355086"/>
                <a:gd name="connsiteX24071" fmla="*/ 701897 w 3359086"/>
                <a:gd name="connsiteY24071" fmla="*/ 342424 h 3355086"/>
                <a:gd name="connsiteX24072" fmla="*/ 708088 w 3359086"/>
                <a:gd name="connsiteY24072" fmla="*/ 336233 h 3355086"/>
                <a:gd name="connsiteX24073" fmla="*/ 707135 w 3359086"/>
                <a:gd name="connsiteY24073" fmla="*/ 335280 h 3355086"/>
                <a:gd name="connsiteX24074" fmla="*/ 712898 w 3359086"/>
                <a:gd name="connsiteY24074" fmla="*/ 329517 h 3355086"/>
                <a:gd name="connsiteX24075" fmla="*/ 711898 w 3359086"/>
                <a:gd name="connsiteY24075" fmla="*/ 328517 h 3355086"/>
                <a:gd name="connsiteX24076" fmla="*/ 717422 w 3359086"/>
                <a:gd name="connsiteY24076" fmla="*/ 322993 h 3355086"/>
                <a:gd name="connsiteX24077" fmla="*/ 716279 w 3359086"/>
                <a:gd name="connsiteY24077" fmla="*/ 321850 h 3355086"/>
                <a:gd name="connsiteX24078" fmla="*/ 721566 w 3359086"/>
                <a:gd name="connsiteY24078" fmla="*/ 316563 h 3355086"/>
                <a:gd name="connsiteX24079" fmla="*/ 720280 w 3359086"/>
                <a:gd name="connsiteY24079" fmla="*/ 315277 h 3355086"/>
                <a:gd name="connsiteX24080" fmla="*/ 725328 w 3359086"/>
                <a:gd name="connsiteY24080" fmla="*/ 310229 h 3355086"/>
                <a:gd name="connsiteX24081" fmla="*/ 723614 w 3359086"/>
                <a:gd name="connsiteY24081" fmla="*/ 308515 h 3355086"/>
                <a:gd name="connsiteX24082" fmla="*/ 728567 w 3359086"/>
                <a:gd name="connsiteY24082" fmla="*/ 303562 h 3355086"/>
                <a:gd name="connsiteX24083" fmla="*/ 726471 w 3359086"/>
                <a:gd name="connsiteY24083" fmla="*/ 301466 h 3355086"/>
                <a:gd name="connsiteX24084" fmla="*/ 732662 w 3359086"/>
                <a:gd name="connsiteY24084" fmla="*/ 295275 h 3355086"/>
                <a:gd name="connsiteX24085" fmla="*/ 1868042 w 3359086"/>
                <a:gd name="connsiteY24085" fmla="*/ 293847 h 3355086"/>
                <a:gd name="connsiteX24086" fmla="*/ 1874234 w 3359086"/>
                <a:gd name="connsiteY24086" fmla="*/ 300038 h 3355086"/>
                <a:gd name="connsiteX24087" fmla="*/ 1868042 w 3359086"/>
                <a:gd name="connsiteY24087" fmla="*/ 306229 h 3355086"/>
                <a:gd name="connsiteX24088" fmla="*/ 1861851 w 3359086"/>
                <a:gd name="connsiteY24088" fmla="*/ 300038 h 3355086"/>
                <a:gd name="connsiteX24089" fmla="*/ 1868042 w 3359086"/>
                <a:gd name="connsiteY24089" fmla="*/ 293847 h 3355086"/>
                <a:gd name="connsiteX24090" fmla="*/ 2392870 w 3359086"/>
                <a:gd name="connsiteY24090" fmla="*/ 292608 h 3355086"/>
                <a:gd name="connsiteX24091" fmla="*/ 2399061 w 3359086"/>
                <a:gd name="connsiteY24091" fmla="*/ 298799 h 3355086"/>
                <a:gd name="connsiteX24092" fmla="*/ 2392870 w 3359086"/>
                <a:gd name="connsiteY24092" fmla="*/ 304990 h 3355086"/>
                <a:gd name="connsiteX24093" fmla="*/ 2386679 w 3359086"/>
                <a:gd name="connsiteY24093" fmla="*/ 298799 h 3355086"/>
                <a:gd name="connsiteX24094" fmla="*/ 2392870 w 3359086"/>
                <a:gd name="connsiteY24094" fmla="*/ 292608 h 3355086"/>
                <a:gd name="connsiteX24095" fmla="*/ 2240184 w 3359086"/>
                <a:gd name="connsiteY24095" fmla="*/ 290989 h 3355086"/>
                <a:gd name="connsiteX24096" fmla="*/ 2246376 w 3359086"/>
                <a:gd name="connsiteY24096" fmla="*/ 297180 h 3355086"/>
                <a:gd name="connsiteX24097" fmla="*/ 2240184 w 3359086"/>
                <a:gd name="connsiteY24097" fmla="*/ 303371 h 3355086"/>
                <a:gd name="connsiteX24098" fmla="*/ 2233993 w 3359086"/>
                <a:gd name="connsiteY24098" fmla="*/ 297180 h 3355086"/>
                <a:gd name="connsiteX24099" fmla="*/ 2240184 w 3359086"/>
                <a:gd name="connsiteY24099" fmla="*/ 290989 h 3355086"/>
                <a:gd name="connsiteX24100" fmla="*/ 734854 w 3359086"/>
                <a:gd name="connsiteY24100" fmla="*/ 290703 h 3355086"/>
                <a:gd name="connsiteX24101" fmla="*/ 738188 w 3359086"/>
                <a:gd name="connsiteY24101" fmla="*/ 294037 h 3355086"/>
                <a:gd name="connsiteX24102" fmla="*/ 734854 w 3359086"/>
                <a:gd name="connsiteY24102" fmla="*/ 297371 h 3355086"/>
                <a:gd name="connsiteX24103" fmla="*/ 731520 w 3359086"/>
                <a:gd name="connsiteY24103" fmla="*/ 294037 h 3355086"/>
                <a:gd name="connsiteX24104" fmla="*/ 734854 w 3359086"/>
                <a:gd name="connsiteY24104" fmla="*/ 290703 h 3355086"/>
                <a:gd name="connsiteX24105" fmla="*/ 1227391 w 3359086"/>
                <a:gd name="connsiteY24105" fmla="*/ 290417 h 3355086"/>
                <a:gd name="connsiteX24106" fmla="*/ 1233582 w 3359086"/>
                <a:gd name="connsiteY24106" fmla="*/ 296608 h 3355086"/>
                <a:gd name="connsiteX24107" fmla="*/ 1227391 w 3359086"/>
                <a:gd name="connsiteY24107" fmla="*/ 302800 h 3355086"/>
                <a:gd name="connsiteX24108" fmla="*/ 1221200 w 3359086"/>
                <a:gd name="connsiteY24108" fmla="*/ 296608 h 3355086"/>
                <a:gd name="connsiteX24109" fmla="*/ 1227391 w 3359086"/>
                <a:gd name="connsiteY24109" fmla="*/ 290417 h 3355086"/>
                <a:gd name="connsiteX24110" fmla="*/ 1511426 w 3359086"/>
                <a:gd name="connsiteY24110" fmla="*/ 290322 h 3355086"/>
                <a:gd name="connsiteX24111" fmla="*/ 1517618 w 3359086"/>
                <a:gd name="connsiteY24111" fmla="*/ 296513 h 3355086"/>
                <a:gd name="connsiteX24112" fmla="*/ 1511426 w 3359086"/>
                <a:gd name="connsiteY24112" fmla="*/ 302705 h 3355086"/>
                <a:gd name="connsiteX24113" fmla="*/ 1505235 w 3359086"/>
                <a:gd name="connsiteY24113" fmla="*/ 296513 h 3355086"/>
                <a:gd name="connsiteX24114" fmla="*/ 1511426 w 3359086"/>
                <a:gd name="connsiteY24114" fmla="*/ 290322 h 3355086"/>
                <a:gd name="connsiteX24115" fmla="*/ 2321908 w 3359086"/>
                <a:gd name="connsiteY24115" fmla="*/ 289275 h 3355086"/>
                <a:gd name="connsiteX24116" fmla="*/ 2328100 w 3359086"/>
                <a:gd name="connsiteY24116" fmla="*/ 295466 h 3355086"/>
                <a:gd name="connsiteX24117" fmla="*/ 2321908 w 3359086"/>
                <a:gd name="connsiteY24117" fmla="*/ 301657 h 3355086"/>
                <a:gd name="connsiteX24118" fmla="*/ 2315717 w 3359086"/>
                <a:gd name="connsiteY24118" fmla="*/ 295466 h 3355086"/>
                <a:gd name="connsiteX24119" fmla="*/ 2321908 w 3359086"/>
                <a:gd name="connsiteY24119" fmla="*/ 289275 h 3355086"/>
                <a:gd name="connsiteX24120" fmla="*/ 2611088 w 3359086"/>
                <a:gd name="connsiteY24120" fmla="*/ 288417 h 3355086"/>
                <a:gd name="connsiteX24121" fmla="*/ 2617279 w 3359086"/>
                <a:gd name="connsiteY24121" fmla="*/ 294608 h 3355086"/>
                <a:gd name="connsiteX24122" fmla="*/ 2613945 w 3359086"/>
                <a:gd name="connsiteY24122" fmla="*/ 297942 h 3355086"/>
                <a:gd name="connsiteX24123" fmla="*/ 2618899 w 3359086"/>
                <a:gd name="connsiteY24123" fmla="*/ 302895 h 3355086"/>
                <a:gd name="connsiteX24124" fmla="*/ 2616231 w 3359086"/>
                <a:gd name="connsiteY24124" fmla="*/ 305562 h 3355086"/>
                <a:gd name="connsiteX24125" fmla="*/ 2621280 w 3359086"/>
                <a:gd name="connsiteY24125" fmla="*/ 310610 h 3355086"/>
                <a:gd name="connsiteX24126" fmla="*/ 2619041 w 3359086"/>
                <a:gd name="connsiteY24126" fmla="*/ 312849 h 3355086"/>
                <a:gd name="connsiteX24127" fmla="*/ 2624327 w 3359086"/>
                <a:gd name="connsiteY24127" fmla="*/ 318135 h 3355086"/>
                <a:gd name="connsiteX24128" fmla="*/ 2622565 w 3359086"/>
                <a:gd name="connsiteY24128" fmla="*/ 319897 h 3355086"/>
                <a:gd name="connsiteX24129" fmla="*/ 2627947 w 3359086"/>
                <a:gd name="connsiteY24129" fmla="*/ 325279 h 3355086"/>
                <a:gd name="connsiteX24130" fmla="*/ 2626518 w 3359086"/>
                <a:gd name="connsiteY24130" fmla="*/ 326708 h 3355086"/>
                <a:gd name="connsiteX24131" fmla="*/ 2632138 w 3359086"/>
                <a:gd name="connsiteY24131" fmla="*/ 332327 h 3355086"/>
                <a:gd name="connsiteX24132" fmla="*/ 2630994 w 3359086"/>
                <a:gd name="connsiteY24132" fmla="*/ 333471 h 3355086"/>
                <a:gd name="connsiteX24133" fmla="*/ 2636900 w 3359086"/>
                <a:gd name="connsiteY24133" fmla="*/ 339376 h 3355086"/>
                <a:gd name="connsiteX24134" fmla="*/ 2635900 w 3359086"/>
                <a:gd name="connsiteY24134" fmla="*/ 340376 h 3355086"/>
                <a:gd name="connsiteX24135" fmla="*/ 2642045 w 3359086"/>
                <a:gd name="connsiteY24135" fmla="*/ 346520 h 3355086"/>
                <a:gd name="connsiteX24136" fmla="*/ 2635853 w 3359086"/>
                <a:gd name="connsiteY24136" fmla="*/ 352712 h 3355086"/>
                <a:gd name="connsiteX24137" fmla="*/ 2629662 w 3359086"/>
                <a:gd name="connsiteY24137" fmla="*/ 346520 h 3355086"/>
                <a:gd name="connsiteX24138" fmla="*/ 2630662 w 3359086"/>
                <a:gd name="connsiteY24138" fmla="*/ 345520 h 3355086"/>
                <a:gd name="connsiteX24139" fmla="*/ 2624518 w 3359086"/>
                <a:gd name="connsiteY24139" fmla="*/ 339376 h 3355086"/>
                <a:gd name="connsiteX24140" fmla="*/ 2625661 w 3359086"/>
                <a:gd name="connsiteY24140" fmla="*/ 338233 h 3355086"/>
                <a:gd name="connsiteX24141" fmla="*/ 2619756 w 3359086"/>
                <a:gd name="connsiteY24141" fmla="*/ 332327 h 3355086"/>
                <a:gd name="connsiteX24142" fmla="*/ 2621184 w 3359086"/>
                <a:gd name="connsiteY24142" fmla="*/ 330899 h 3355086"/>
                <a:gd name="connsiteX24143" fmla="*/ 2615565 w 3359086"/>
                <a:gd name="connsiteY24143" fmla="*/ 325279 h 3355086"/>
                <a:gd name="connsiteX24144" fmla="*/ 2617327 w 3359086"/>
                <a:gd name="connsiteY24144" fmla="*/ 323517 h 3355086"/>
                <a:gd name="connsiteX24145" fmla="*/ 2611945 w 3359086"/>
                <a:gd name="connsiteY24145" fmla="*/ 318135 h 3355086"/>
                <a:gd name="connsiteX24146" fmla="*/ 2614184 w 3359086"/>
                <a:gd name="connsiteY24146" fmla="*/ 315897 h 3355086"/>
                <a:gd name="connsiteX24147" fmla="*/ 2608897 w 3359086"/>
                <a:gd name="connsiteY24147" fmla="*/ 310610 h 3355086"/>
                <a:gd name="connsiteX24148" fmla="*/ 2611564 w 3359086"/>
                <a:gd name="connsiteY24148" fmla="*/ 307943 h 3355086"/>
                <a:gd name="connsiteX24149" fmla="*/ 2606516 w 3359086"/>
                <a:gd name="connsiteY24149" fmla="*/ 302895 h 3355086"/>
                <a:gd name="connsiteX24150" fmla="*/ 2609850 w 3359086"/>
                <a:gd name="connsiteY24150" fmla="*/ 299561 h 3355086"/>
                <a:gd name="connsiteX24151" fmla="*/ 2604897 w 3359086"/>
                <a:gd name="connsiteY24151" fmla="*/ 294608 h 3355086"/>
                <a:gd name="connsiteX24152" fmla="*/ 2611088 w 3359086"/>
                <a:gd name="connsiteY24152" fmla="*/ 288417 h 3355086"/>
                <a:gd name="connsiteX24153" fmla="*/ 1779460 w 3359086"/>
                <a:gd name="connsiteY24153" fmla="*/ 288036 h 3355086"/>
                <a:gd name="connsiteX24154" fmla="*/ 1785652 w 3359086"/>
                <a:gd name="connsiteY24154" fmla="*/ 294227 h 3355086"/>
                <a:gd name="connsiteX24155" fmla="*/ 1779460 w 3359086"/>
                <a:gd name="connsiteY24155" fmla="*/ 300419 h 3355086"/>
                <a:gd name="connsiteX24156" fmla="*/ 1773269 w 3359086"/>
                <a:gd name="connsiteY24156" fmla="*/ 294227 h 3355086"/>
                <a:gd name="connsiteX24157" fmla="*/ 1779460 w 3359086"/>
                <a:gd name="connsiteY24157" fmla="*/ 288036 h 3355086"/>
                <a:gd name="connsiteX24158" fmla="*/ 907160 w 3359086"/>
                <a:gd name="connsiteY24158" fmla="*/ 287465 h 3355086"/>
                <a:gd name="connsiteX24159" fmla="*/ 913352 w 3359086"/>
                <a:gd name="connsiteY24159" fmla="*/ 293656 h 3355086"/>
                <a:gd name="connsiteX24160" fmla="*/ 907160 w 3359086"/>
                <a:gd name="connsiteY24160" fmla="*/ 299847 h 3355086"/>
                <a:gd name="connsiteX24161" fmla="*/ 900969 w 3359086"/>
                <a:gd name="connsiteY24161" fmla="*/ 293656 h 3355086"/>
                <a:gd name="connsiteX24162" fmla="*/ 907160 w 3359086"/>
                <a:gd name="connsiteY24162" fmla="*/ 287465 h 3355086"/>
                <a:gd name="connsiteX24163" fmla="*/ 2456878 w 3359086"/>
                <a:gd name="connsiteY24163" fmla="*/ 286512 h 3355086"/>
                <a:gd name="connsiteX24164" fmla="*/ 2463069 w 3359086"/>
                <a:gd name="connsiteY24164" fmla="*/ 292703 h 3355086"/>
                <a:gd name="connsiteX24165" fmla="*/ 2456878 w 3359086"/>
                <a:gd name="connsiteY24165" fmla="*/ 298895 h 3355086"/>
                <a:gd name="connsiteX24166" fmla="*/ 2450687 w 3359086"/>
                <a:gd name="connsiteY24166" fmla="*/ 292703 h 3355086"/>
                <a:gd name="connsiteX24167" fmla="*/ 2456878 w 3359086"/>
                <a:gd name="connsiteY24167" fmla="*/ 286512 h 3355086"/>
                <a:gd name="connsiteX24168" fmla="*/ 1600485 w 3359086"/>
                <a:gd name="connsiteY24168" fmla="*/ 286322 h 3355086"/>
                <a:gd name="connsiteX24169" fmla="*/ 1606676 w 3359086"/>
                <a:gd name="connsiteY24169" fmla="*/ 292513 h 3355086"/>
                <a:gd name="connsiteX24170" fmla="*/ 1600485 w 3359086"/>
                <a:gd name="connsiteY24170" fmla="*/ 298705 h 3355086"/>
                <a:gd name="connsiteX24171" fmla="*/ 1594294 w 3359086"/>
                <a:gd name="connsiteY24171" fmla="*/ 292513 h 3355086"/>
                <a:gd name="connsiteX24172" fmla="*/ 1600485 w 3359086"/>
                <a:gd name="connsiteY24172" fmla="*/ 286322 h 3355086"/>
                <a:gd name="connsiteX24173" fmla="*/ 1690115 w 3359086"/>
                <a:gd name="connsiteY24173" fmla="*/ 285560 h 3355086"/>
                <a:gd name="connsiteX24174" fmla="*/ 1696307 w 3359086"/>
                <a:gd name="connsiteY24174" fmla="*/ 291751 h 3355086"/>
                <a:gd name="connsiteX24175" fmla="*/ 1690115 w 3359086"/>
                <a:gd name="connsiteY24175" fmla="*/ 297943 h 3355086"/>
                <a:gd name="connsiteX24176" fmla="*/ 1683924 w 3359086"/>
                <a:gd name="connsiteY24176" fmla="*/ 291751 h 3355086"/>
                <a:gd name="connsiteX24177" fmla="*/ 1690115 w 3359086"/>
                <a:gd name="connsiteY24177" fmla="*/ 285560 h 3355086"/>
                <a:gd name="connsiteX24178" fmla="*/ 2067782 w 3359086"/>
                <a:gd name="connsiteY24178" fmla="*/ 283560 h 3355086"/>
                <a:gd name="connsiteX24179" fmla="*/ 2073974 w 3359086"/>
                <a:gd name="connsiteY24179" fmla="*/ 289751 h 3355086"/>
                <a:gd name="connsiteX24180" fmla="*/ 2067782 w 3359086"/>
                <a:gd name="connsiteY24180" fmla="*/ 295942 h 3355086"/>
                <a:gd name="connsiteX24181" fmla="*/ 2061591 w 3359086"/>
                <a:gd name="connsiteY24181" fmla="*/ 289751 h 3355086"/>
                <a:gd name="connsiteX24182" fmla="*/ 2067782 w 3359086"/>
                <a:gd name="connsiteY24182" fmla="*/ 283560 h 3355086"/>
                <a:gd name="connsiteX24183" fmla="*/ 2610040 w 3359086"/>
                <a:gd name="connsiteY24183" fmla="*/ 282416 h 3355086"/>
                <a:gd name="connsiteX24184" fmla="*/ 2613373 w 3359086"/>
                <a:gd name="connsiteY24184" fmla="*/ 285750 h 3355086"/>
                <a:gd name="connsiteX24185" fmla="*/ 2610040 w 3359086"/>
                <a:gd name="connsiteY24185" fmla="*/ 289084 h 3355086"/>
                <a:gd name="connsiteX24186" fmla="*/ 2606706 w 3359086"/>
                <a:gd name="connsiteY24186" fmla="*/ 285750 h 3355086"/>
                <a:gd name="connsiteX24187" fmla="*/ 2610040 w 3359086"/>
                <a:gd name="connsiteY24187" fmla="*/ 282416 h 3355086"/>
                <a:gd name="connsiteX24188" fmla="*/ 1130426 w 3359086"/>
                <a:gd name="connsiteY24188" fmla="*/ 280988 h 3355086"/>
                <a:gd name="connsiteX24189" fmla="*/ 1136618 w 3359086"/>
                <a:gd name="connsiteY24189" fmla="*/ 287179 h 3355086"/>
                <a:gd name="connsiteX24190" fmla="*/ 1130426 w 3359086"/>
                <a:gd name="connsiteY24190" fmla="*/ 293371 h 3355086"/>
                <a:gd name="connsiteX24191" fmla="*/ 1124235 w 3359086"/>
                <a:gd name="connsiteY24191" fmla="*/ 287179 h 3355086"/>
                <a:gd name="connsiteX24192" fmla="*/ 1130426 w 3359086"/>
                <a:gd name="connsiteY24192" fmla="*/ 280988 h 3355086"/>
                <a:gd name="connsiteX24193" fmla="*/ 971263 w 3359086"/>
                <a:gd name="connsiteY24193" fmla="*/ 280797 h 3355086"/>
                <a:gd name="connsiteX24194" fmla="*/ 977455 w 3359086"/>
                <a:gd name="connsiteY24194" fmla="*/ 286988 h 3355086"/>
                <a:gd name="connsiteX24195" fmla="*/ 971263 w 3359086"/>
                <a:gd name="connsiteY24195" fmla="*/ 293180 h 3355086"/>
                <a:gd name="connsiteX24196" fmla="*/ 965072 w 3359086"/>
                <a:gd name="connsiteY24196" fmla="*/ 286988 h 3355086"/>
                <a:gd name="connsiteX24197" fmla="*/ 971263 w 3359086"/>
                <a:gd name="connsiteY24197" fmla="*/ 280797 h 3355086"/>
                <a:gd name="connsiteX24198" fmla="*/ 1045368 w 3359086"/>
                <a:gd name="connsiteY24198" fmla="*/ 278226 h 3355086"/>
                <a:gd name="connsiteX24199" fmla="*/ 1051560 w 3359086"/>
                <a:gd name="connsiteY24199" fmla="*/ 284417 h 3355086"/>
                <a:gd name="connsiteX24200" fmla="*/ 1045368 w 3359086"/>
                <a:gd name="connsiteY24200" fmla="*/ 290608 h 3355086"/>
                <a:gd name="connsiteX24201" fmla="*/ 1039177 w 3359086"/>
                <a:gd name="connsiteY24201" fmla="*/ 284417 h 3355086"/>
                <a:gd name="connsiteX24202" fmla="*/ 1045368 w 3359086"/>
                <a:gd name="connsiteY24202" fmla="*/ 278226 h 3355086"/>
                <a:gd name="connsiteX24203" fmla="*/ 2399156 w 3359086"/>
                <a:gd name="connsiteY24203" fmla="*/ 276987 h 3355086"/>
                <a:gd name="connsiteX24204" fmla="*/ 2405348 w 3359086"/>
                <a:gd name="connsiteY24204" fmla="*/ 283178 h 3355086"/>
                <a:gd name="connsiteX24205" fmla="*/ 2399156 w 3359086"/>
                <a:gd name="connsiteY24205" fmla="*/ 289370 h 3355086"/>
                <a:gd name="connsiteX24206" fmla="*/ 2392965 w 3359086"/>
                <a:gd name="connsiteY24206" fmla="*/ 283178 h 3355086"/>
                <a:gd name="connsiteX24207" fmla="*/ 2399156 w 3359086"/>
                <a:gd name="connsiteY24207" fmla="*/ 276987 h 3355086"/>
                <a:gd name="connsiteX24208" fmla="*/ 1307686 w 3359086"/>
                <a:gd name="connsiteY24208" fmla="*/ 276416 h 3355086"/>
                <a:gd name="connsiteX24209" fmla="*/ 1313878 w 3359086"/>
                <a:gd name="connsiteY24209" fmla="*/ 282607 h 3355086"/>
                <a:gd name="connsiteX24210" fmla="*/ 1307686 w 3359086"/>
                <a:gd name="connsiteY24210" fmla="*/ 288798 h 3355086"/>
                <a:gd name="connsiteX24211" fmla="*/ 1301495 w 3359086"/>
                <a:gd name="connsiteY24211" fmla="*/ 282607 h 3355086"/>
                <a:gd name="connsiteX24212" fmla="*/ 1307686 w 3359086"/>
                <a:gd name="connsiteY24212" fmla="*/ 276416 h 3355086"/>
                <a:gd name="connsiteX24213" fmla="*/ 903065 w 3359086"/>
                <a:gd name="connsiteY24213" fmla="*/ 274225 h 3355086"/>
                <a:gd name="connsiteX24214" fmla="*/ 909256 w 3359086"/>
                <a:gd name="connsiteY24214" fmla="*/ 280416 h 3355086"/>
                <a:gd name="connsiteX24215" fmla="*/ 903065 w 3359086"/>
                <a:gd name="connsiteY24215" fmla="*/ 286607 h 3355086"/>
                <a:gd name="connsiteX24216" fmla="*/ 896874 w 3359086"/>
                <a:gd name="connsiteY24216" fmla="*/ 280416 h 3355086"/>
                <a:gd name="connsiteX24217" fmla="*/ 903065 w 3359086"/>
                <a:gd name="connsiteY24217" fmla="*/ 274225 h 3355086"/>
                <a:gd name="connsiteX24218" fmla="*/ 2167699 w 3359086"/>
                <a:gd name="connsiteY24218" fmla="*/ 272891 h 3355086"/>
                <a:gd name="connsiteX24219" fmla="*/ 2173891 w 3359086"/>
                <a:gd name="connsiteY24219" fmla="*/ 279082 h 3355086"/>
                <a:gd name="connsiteX24220" fmla="*/ 2167699 w 3359086"/>
                <a:gd name="connsiteY24220" fmla="*/ 285274 h 3355086"/>
                <a:gd name="connsiteX24221" fmla="*/ 2161508 w 3359086"/>
                <a:gd name="connsiteY24221" fmla="*/ 279082 h 3355086"/>
                <a:gd name="connsiteX24222" fmla="*/ 2167699 w 3359086"/>
                <a:gd name="connsiteY24222" fmla="*/ 272891 h 3355086"/>
                <a:gd name="connsiteX24223" fmla="*/ 764285 w 3359086"/>
                <a:gd name="connsiteY24223" fmla="*/ 271463 h 3355086"/>
                <a:gd name="connsiteX24224" fmla="*/ 770476 w 3359086"/>
                <a:gd name="connsiteY24224" fmla="*/ 277654 h 3355086"/>
                <a:gd name="connsiteX24225" fmla="*/ 766286 w 3359086"/>
                <a:gd name="connsiteY24225" fmla="*/ 281845 h 3355086"/>
                <a:gd name="connsiteX24226" fmla="*/ 768667 w 3359086"/>
                <a:gd name="connsiteY24226" fmla="*/ 284226 h 3355086"/>
                <a:gd name="connsiteX24227" fmla="*/ 764381 w 3359086"/>
                <a:gd name="connsiteY24227" fmla="*/ 288513 h 3355086"/>
                <a:gd name="connsiteX24228" fmla="*/ 766285 w 3359086"/>
                <a:gd name="connsiteY24228" fmla="*/ 290417 h 3355086"/>
                <a:gd name="connsiteX24229" fmla="*/ 761856 w 3359086"/>
                <a:gd name="connsiteY24229" fmla="*/ 294846 h 3355086"/>
                <a:gd name="connsiteX24230" fmla="*/ 763429 w 3359086"/>
                <a:gd name="connsiteY24230" fmla="*/ 296418 h 3355086"/>
                <a:gd name="connsiteX24231" fmla="*/ 758809 w 3359086"/>
                <a:gd name="connsiteY24231" fmla="*/ 301038 h 3355086"/>
                <a:gd name="connsiteX24232" fmla="*/ 760095 w 3359086"/>
                <a:gd name="connsiteY24232" fmla="*/ 302323 h 3355086"/>
                <a:gd name="connsiteX24233" fmla="*/ 755284 w 3359086"/>
                <a:gd name="connsiteY24233" fmla="*/ 307134 h 3355086"/>
                <a:gd name="connsiteX24234" fmla="*/ 756380 w 3359086"/>
                <a:gd name="connsiteY24234" fmla="*/ 308229 h 3355086"/>
                <a:gd name="connsiteX24235" fmla="*/ 751332 w 3359086"/>
                <a:gd name="connsiteY24235" fmla="*/ 313277 h 3355086"/>
                <a:gd name="connsiteX24236" fmla="*/ 752285 w 3359086"/>
                <a:gd name="connsiteY24236" fmla="*/ 314230 h 3355086"/>
                <a:gd name="connsiteX24237" fmla="*/ 746855 w 3359086"/>
                <a:gd name="connsiteY24237" fmla="*/ 319660 h 3355086"/>
                <a:gd name="connsiteX24238" fmla="*/ 747902 w 3359086"/>
                <a:gd name="connsiteY24238" fmla="*/ 320707 h 3355086"/>
                <a:gd name="connsiteX24239" fmla="*/ 742188 w 3359086"/>
                <a:gd name="connsiteY24239" fmla="*/ 326422 h 3355086"/>
                <a:gd name="connsiteX24240" fmla="*/ 743331 w 3359086"/>
                <a:gd name="connsiteY24240" fmla="*/ 327565 h 3355086"/>
                <a:gd name="connsiteX24241" fmla="*/ 737187 w 3359086"/>
                <a:gd name="connsiteY24241" fmla="*/ 333709 h 3355086"/>
                <a:gd name="connsiteX24242" fmla="*/ 738664 w 3359086"/>
                <a:gd name="connsiteY24242" fmla="*/ 335185 h 3355086"/>
                <a:gd name="connsiteX24243" fmla="*/ 732472 w 3359086"/>
                <a:gd name="connsiteY24243" fmla="*/ 341377 h 3355086"/>
                <a:gd name="connsiteX24244" fmla="*/ 726281 w 3359086"/>
                <a:gd name="connsiteY24244" fmla="*/ 335185 h 3355086"/>
                <a:gd name="connsiteX24245" fmla="*/ 732424 w 3359086"/>
                <a:gd name="connsiteY24245" fmla="*/ 329042 h 3355086"/>
                <a:gd name="connsiteX24246" fmla="*/ 730948 w 3359086"/>
                <a:gd name="connsiteY24246" fmla="*/ 327565 h 3355086"/>
                <a:gd name="connsiteX24247" fmla="*/ 736663 w 3359086"/>
                <a:gd name="connsiteY24247" fmla="*/ 321850 h 3355086"/>
                <a:gd name="connsiteX24248" fmla="*/ 735520 w 3359086"/>
                <a:gd name="connsiteY24248" fmla="*/ 320707 h 3355086"/>
                <a:gd name="connsiteX24249" fmla="*/ 740950 w 3359086"/>
                <a:gd name="connsiteY24249" fmla="*/ 315278 h 3355086"/>
                <a:gd name="connsiteX24250" fmla="*/ 739902 w 3359086"/>
                <a:gd name="connsiteY24250" fmla="*/ 314230 h 3355086"/>
                <a:gd name="connsiteX24251" fmla="*/ 744950 w 3359086"/>
                <a:gd name="connsiteY24251" fmla="*/ 309182 h 3355086"/>
                <a:gd name="connsiteX24252" fmla="*/ 743997 w 3359086"/>
                <a:gd name="connsiteY24252" fmla="*/ 308229 h 3355086"/>
                <a:gd name="connsiteX24253" fmla="*/ 748807 w 3359086"/>
                <a:gd name="connsiteY24253" fmla="*/ 303419 h 3355086"/>
                <a:gd name="connsiteX24254" fmla="*/ 747712 w 3359086"/>
                <a:gd name="connsiteY24254" fmla="*/ 302323 h 3355086"/>
                <a:gd name="connsiteX24255" fmla="*/ 752331 w 3359086"/>
                <a:gd name="connsiteY24255" fmla="*/ 297704 h 3355086"/>
                <a:gd name="connsiteX24256" fmla="*/ 751046 w 3359086"/>
                <a:gd name="connsiteY24256" fmla="*/ 296418 h 3355086"/>
                <a:gd name="connsiteX24257" fmla="*/ 755475 w 3359086"/>
                <a:gd name="connsiteY24257" fmla="*/ 291989 h 3355086"/>
                <a:gd name="connsiteX24258" fmla="*/ 753903 w 3359086"/>
                <a:gd name="connsiteY24258" fmla="*/ 290417 h 3355086"/>
                <a:gd name="connsiteX24259" fmla="*/ 758190 w 3359086"/>
                <a:gd name="connsiteY24259" fmla="*/ 286131 h 3355086"/>
                <a:gd name="connsiteX24260" fmla="*/ 756285 w 3359086"/>
                <a:gd name="connsiteY24260" fmla="*/ 284226 h 3355086"/>
                <a:gd name="connsiteX24261" fmla="*/ 760476 w 3359086"/>
                <a:gd name="connsiteY24261" fmla="*/ 280036 h 3355086"/>
                <a:gd name="connsiteX24262" fmla="*/ 758094 w 3359086"/>
                <a:gd name="connsiteY24262" fmla="*/ 277654 h 3355086"/>
                <a:gd name="connsiteX24263" fmla="*/ 764285 w 3359086"/>
                <a:gd name="connsiteY24263" fmla="*/ 271463 h 3355086"/>
                <a:gd name="connsiteX24264" fmla="*/ 1986438 w 3359086"/>
                <a:gd name="connsiteY24264" fmla="*/ 270891 h 3355086"/>
                <a:gd name="connsiteX24265" fmla="*/ 1992630 w 3359086"/>
                <a:gd name="connsiteY24265" fmla="*/ 277082 h 3355086"/>
                <a:gd name="connsiteX24266" fmla="*/ 1986438 w 3359086"/>
                <a:gd name="connsiteY24266" fmla="*/ 283273 h 3355086"/>
                <a:gd name="connsiteX24267" fmla="*/ 1980247 w 3359086"/>
                <a:gd name="connsiteY24267" fmla="*/ 277082 h 3355086"/>
                <a:gd name="connsiteX24268" fmla="*/ 1986438 w 3359086"/>
                <a:gd name="connsiteY24268" fmla="*/ 270891 h 3355086"/>
                <a:gd name="connsiteX24269" fmla="*/ 2332481 w 3359086"/>
                <a:gd name="connsiteY24269" fmla="*/ 270796 h 3355086"/>
                <a:gd name="connsiteX24270" fmla="*/ 2338673 w 3359086"/>
                <a:gd name="connsiteY24270" fmla="*/ 276987 h 3355086"/>
                <a:gd name="connsiteX24271" fmla="*/ 2332481 w 3359086"/>
                <a:gd name="connsiteY24271" fmla="*/ 283178 h 3355086"/>
                <a:gd name="connsiteX24272" fmla="*/ 2326290 w 3359086"/>
                <a:gd name="connsiteY24272" fmla="*/ 276987 h 3355086"/>
                <a:gd name="connsiteX24273" fmla="*/ 2332481 w 3359086"/>
                <a:gd name="connsiteY24273" fmla="*/ 270796 h 3355086"/>
                <a:gd name="connsiteX24274" fmla="*/ 765524 w 3359086"/>
                <a:gd name="connsiteY24274" fmla="*/ 270320 h 3355086"/>
                <a:gd name="connsiteX24275" fmla="*/ 765810 w 3359086"/>
                <a:gd name="connsiteY24275" fmla="*/ 270606 h 3355086"/>
                <a:gd name="connsiteX24276" fmla="*/ 765524 w 3359086"/>
                <a:gd name="connsiteY24276" fmla="*/ 270892 h 3355086"/>
                <a:gd name="connsiteX24277" fmla="*/ 765238 w 3359086"/>
                <a:gd name="connsiteY24277" fmla="*/ 270606 h 3355086"/>
                <a:gd name="connsiteX24278" fmla="*/ 765524 w 3359086"/>
                <a:gd name="connsiteY24278" fmla="*/ 270320 h 3355086"/>
                <a:gd name="connsiteX24279" fmla="*/ 2255710 w 3359086"/>
                <a:gd name="connsiteY24279" fmla="*/ 268986 h 3355086"/>
                <a:gd name="connsiteX24280" fmla="*/ 2261902 w 3359086"/>
                <a:gd name="connsiteY24280" fmla="*/ 275177 h 3355086"/>
                <a:gd name="connsiteX24281" fmla="*/ 2255710 w 3359086"/>
                <a:gd name="connsiteY24281" fmla="*/ 281369 h 3355086"/>
                <a:gd name="connsiteX24282" fmla="*/ 2249519 w 3359086"/>
                <a:gd name="connsiteY24282" fmla="*/ 275177 h 3355086"/>
                <a:gd name="connsiteX24283" fmla="*/ 2255710 w 3359086"/>
                <a:gd name="connsiteY24283" fmla="*/ 268986 h 3355086"/>
                <a:gd name="connsiteX24284" fmla="*/ 1390078 w 3359086"/>
                <a:gd name="connsiteY24284" fmla="*/ 265176 h 3355086"/>
                <a:gd name="connsiteX24285" fmla="*/ 1396270 w 3359086"/>
                <a:gd name="connsiteY24285" fmla="*/ 271367 h 3355086"/>
                <a:gd name="connsiteX24286" fmla="*/ 1390078 w 3359086"/>
                <a:gd name="connsiteY24286" fmla="*/ 277558 h 3355086"/>
                <a:gd name="connsiteX24287" fmla="*/ 1383887 w 3359086"/>
                <a:gd name="connsiteY24287" fmla="*/ 271367 h 3355086"/>
                <a:gd name="connsiteX24288" fmla="*/ 1390078 w 3359086"/>
                <a:gd name="connsiteY24288" fmla="*/ 265176 h 3355086"/>
                <a:gd name="connsiteX24289" fmla="*/ 963548 w 3359086"/>
                <a:gd name="connsiteY24289" fmla="*/ 265176 h 3355086"/>
                <a:gd name="connsiteX24290" fmla="*/ 969739 w 3359086"/>
                <a:gd name="connsiteY24290" fmla="*/ 271367 h 3355086"/>
                <a:gd name="connsiteX24291" fmla="*/ 963548 w 3359086"/>
                <a:gd name="connsiteY24291" fmla="*/ 277558 h 3355086"/>
                <a:gd name="connsiteX24292" fmla="*/ 957357 w 3359086"/>
                <a:gd name="connsiteY24292" fmla="*/ 271367 h 3355086"/>
                <a:gd name="connsiteX24293" fmla="*/ 963548 w 3359086"/>
                <a:gd name="connsiteY24293" fmla="*/ 265176 h 3355086"/>
                <a:gd name="connsiteX24294" fmla="*/ 2581560 w 3359086"/>
                <a:gd name="connsiteY24294" fmla="*/ 264986 h 3355086"/>
                <a:gd name="connsiteX24295" fmla="*/ 2587561 w 3359086"/>
                <a:gd name="connsiteY24295" fmla="*/ 270987 h 3355086"/>
                <a:gd name="connsiteX24296" fmla="*/ 2584037 w 3359086"/>
                <a:gd name="connsiteY24296" fmla="*/ 274511 h 3355086"/>
                <a:gd name="connsiteX24297" fmla="*/ 2588514 w 3359086"/>
                <a:gd name="connsiteY24297" fmla="*/ 278987 h 3355086"/>
                <a:gd name="connsiteX24298" fmla="*/ 2585466 w 3359086"/>
                <a:gd name="connsiteY24298" fmla="*/ 282035 h 3355086"/>
                <a:gd name="connsiteX24299" fmla="*/ 2589943 w 3359086"/>
                <a:gd name="connsiteY24299" fmla="*/ 286512 h 3355086"/>
                <a:gd name="connsiteX24300" fmla="*/ 2587466 w 3359086"/>
                <a:gd name="connsiteY24300" fmla="*/ 288989 h 3355086"/>
                <a:gd name="connsiteX24301" fmla="*/ 2591942 w 3359086"/>
                <a:gd name="connsiteY24301" fmla="*/ 293465 h 3355086"/>
                <a:gd name="connsiteX24302" fmla="*/ 2589942 w 3359086"/>
                <a:gd name="connsiteY24302" fmla="*/ 295466 h 3355086"/>
                <a:gd name="connsiteX24303" fmla="*/ 2594609 w 3359086"/>
                <a:gd name="connsiteY24303" fmla="*/ 300133 h 3355086"/>
                <a:gd name="connsiteX24304" fmla="*/ 2592990 w 3359086"/>
                <a:gd name="connsiteY24304" fmla="*/ 301753 h 3355086"/>
                <a:gd name="connsiteX24305" fmla="*/ 2597753 w 3359086"/>
                <a:gd name="connsiteY24305" fmla="*/ 306515 h 3355086"/>
                <a:gd name="connsiteX24306" fmla="*/ 2596419 w 3359086"/>
                <a:gd name="connsiteY24306" fmla="*/ 307849 h 3355086"/>
                <a:gd name="connsiteX24307" fmla="*/ 2601372 w 3359086"/>
                <a:gd name="connsiteY24307" fmla="*/ 312801 h 3355086"/>
                <a:gd name="connsiteX24308" fmla="*/ 2600276 w 3359086"/>
                <a:gd name="connsiteY24308" fmla="*/ 313897 h 3355086"/>
                <a:gd name="connsiteX24309" fmla="*/ 2605468 w 3359086"/>
                <a:gd name="connsiteY24309" fmla="*/ 319088 h 3355086"/>
                <a:gd name="connsiteX24310" fmla="*/ 2604515 w 3359086"/>
                <a:gd name="connsiteY24310" fmla="*/ 320041 h 3355086"/>
                <a:gd name="connsiteX24311" fmla="*/ 2610040 w 3359086"/>
                <a:gd name="connsiteY24311" fmla="*/ 325565 h 3355086"/>
                <a:gd name="connsiteX24312" fmla="*/ 2609040 w 3359086"/>
                <a:gd name="connsiteY24312" fmla="*/ 326565 h 3355086"/>
                <a:gd name="connsiteX24313" fmla="*/ 2614802 w 3359086"/>
                <a:gd name="connsiteY24313" fmla="*/ 332327 h 3355086"/>
                <a:gd name="connsiteX24314" fmla="*/ 2608611 w 3359086"/>
                <a:gd name="connsiteY24314" fmla="*/ 338518 h 3355086"/>
                <a:gd name="connsiteX24315" fmla="*/ 2602420 w 3359086"/>
                <a:gd name="connsiteY24315" fmla="*/ 332327 h 3355086"/>
                <a:gd name="connsiteX24316" fmla="*/ 2603420 w 3359086"/>
                <a:gd name="connsiteY24316" fmla="*/ 331327 h 3355086"/>
                <a:gd name="connsiteX24317" fmla="*/ 2597658 w 3359086"/>
                <a:gd name="connsiteY24317" fmla="*/ 325565 h 3355086"/>
                <a:gd name="connsiteX24318" fmla="*/ 2598610 w 3359086"/>
                <a:gd name="connsiteY24318" fmla="*/ 324613 h 3355086"/>
                <a:gd name="connsiteX24319" fmla="*/ 2593085 w 3359086"/>
                <a:gd name="connsiteY24319" fmla="*/ 319088 h 3355086"/>
                <a:gd name="connsiteX24320" fmla="*/ 2594181 w 3359086"/>
                <a:gd name="connsiteY24320" fmla="*/ 317992 h 3355086"/>
                <a:gd name="connsiteX24321" fmla="*/ 2588990 w 3359086"/>
                <a:gd name="connsiteY24321" fmla="*/ 312801 h 3355086"/>
                <a:gd name="connsiteX24322" fmla="*/ 2590323 w 3359086"/>
                <a:gd name="connsiteY24322" fmla="*/ 311468 h 3355086"/>
                <a:gd name="connsiteX24323" fmla="*/ 2585370 w 3359086"/>
                <a:gd name="connsiteY24323" fmla="*/ 306515 h 3355086"/>
                <a:gd name="connsiteX24324" fmla="*/ 2586989 w 3359086"/>
                <a:gd name="connsiteY24324" fmla="*/ 304896 h 3355086"/>
                <a:gd name="connsiteX24325" fmla="*/ 2582227 w 3359086"/>
                <a:gd name="connsiteY24325" fmla="*/ 300133 h 3355086"/>
                <a:gd name="connsiteX24326" fmla="*/ 2584227 w 3359086"/>
                <a:gd name="connsiteY24326" fmla="*/ 298133 h 3355086"/>
                <a:gd name="connsiteX24327" fmla="*/ 2579560 w 3359086"/>
                <a:gd name="connsiteY24327" fmla="*/ 293465 h 3355086"/>
                <a:gd name="connsiteX24328" fmla="*/ 2582037 w 3359086"/>
                <a:gd name="connsiteY24328" fmla="*/ 290989 h 3355086"/>
                <a:gd name="connsiteX24329" fmla="*/ 2577560 w 3359086"/>
                <a:gd name="connsiteY24329" fmla="*/ 286512 h 3355086"/>
                <a:gd name="connsiteX24330" fmla="*/ 2580608 w 3359086"/>
                <a:gd name="connsiteY24330" fmla="*/ 283464 h 3355086"/>
                <a:gd name="connsiteX24331" fmla="*/ 2576131 w 3359086"/>
                <a:gd name="connsiteY24331" fmla="*/ 278987 h 3355086"/>
                <a:gd name="connsiteX24332" fmla="*/ 2579845 w 3359086"/>
                <a:gd name="connsiteY24332" fmla="*/ 275273 h 3355086"/>
                <a:gd name="connsiteX24333" fmla="*/ 2575559 w 3359086"/>
                <a:gd name="connsiteY24333" fmla="*/ 270987 h 3355086"/>
                <a:gd name="connsiteX24334" fmla="*/ 2581560 w 3359086"/>
                <a:gd name="connsiteY24334" fmla="*/ 264986 h 3355086"/>
                <a:gd name="connsiteX24335" fmla="*/ 1204436 w 3359086"/>
                <a:gd name="connsiteY24335" fmla="*/ 264033 h 3355086"/>
                <a:gd name="connsiteX24336" fmla="*/ 1210627 w 3359086"/>
                <a:gd name="connsiteY24336" fmla="*/ 270224 h 3355086"/>
                <a:gd name="connsiteX24337" fmla="*/ 1204436 w 3359086"/>
                <a:gd name="connsiteY24337" fmla="*/ 276416 h 3355086"/>
                <a:gd name="connsiteX24338" fmla="*/ 1198245 w 3359086"/>
                <a:gd name="connsiteY24338" fmla="*/ 270224 h 3355086"/>
                <a:gd name="connsiteX24339" fmla="*/ 1204436 w 3359086"/>
                <a:gd name="connsiteY24339" fmla="*/ 264033 h 3355086"/>
                <a:gd name="connsiteX24340" fmla="*/ 2404395 w 3359086"/>
                <a:gd name="connsiteY24340" fmla="*/ 263748 h 3355086"/>
                <a:gd name="connsiteX24341" fmla="*/ 2410587 w 3359086"/>
                <a:gd name="connsiteY24341" fmla="*/ 269939 h 3355086"/>
                <a:gd name="connsiteX24342" fmla="*/ 2404395 w 3359086"/>
                <a:gd name="connsiteY24342" fmla="*/ 276130 h 3355086"/>
                <a:gd name="connsiteX24343" fmla="*/ 2398204 w 3359086"/>
                <a:gd name="connsiteY24343" fmla="*/ 269939 h 3355086"/>
                <a:gd name="connsiteX24344" fmla="*/ 2404395 w 3359086"/>
                <a:gd name="connsiteY24344" fmla="*/ 263748 h 3355086"/>
                <a:gd name="connsiteX24345" fmla="*/ 2581466 w 3359086"/>
                <a:gd name="connsiteY24345" fmla="*/ 262128 h 3355086"/>
                <a:gd name="connsiteX24346" fmla="*/ 2581656 w 3359086"/>
                <a:gd name="connsiteY24346" fmla="*/ 262319 h 3355086"/>
                <a:gd name="connsiteX24347" fmla="*/ 2581466 w 3359086"/>
                <a:gd name="connsiteY24347" fmla="*/ 262509 h 3355086"/>
                <a:gd name="connsiteX24348" fmla="*/ 2581275 w 3359086"/>
                <a:gd name="connsiteY24348" fmla="*/ 262319 h 3355086"/>
                <a:gd name="connsiteX24349" fmla="*/ 2581466 w 3359086"/>
                <a:gd name="connsiteY24349" fmla="*/ 262128 h 3355086"/>
                <a:gd name="connsiteX24350" fmla="*/ 1903094 w 3359086"/>
                <a:gd name="connsiteY24350" fmla="*/ 260890 h 3355086"/>
                <a:gd name="connsiteX24351" fmla="*/ 1909286 w 3359086"/>
                <a:gd name="connsiteY24351" fmla="*/ 267081 h 3355086"/>
                <a:gd name="connsiteX24352" fmla="*/ 1903094 w 3359086"/>
                <a:gd name="connsiteY24352" fmla="*/ 273273 h 3355086"/>
                <a:gd name="connsiteX24353" fmla="*/ 1896903 w 3359086"/>
                <a:gd name="connsiteY24353" fmla="*/ 267081 h 3355086"/>
                <a:gd name="connsiteX24354" fmla="*/ 1903094 w 3359086"/>
                <a:gd name="connsiteY24354" fmla="*/ 260890 h 3355086"/>
                <a:gd name="connsiteX24355" fmla="*/ 1033176 w 3359086"/>
                <a:gd name="connsiteY24355" fmla="*/ 259652 h 3355086"/>
                <a:gd name="connsiteX24356" fmla="*/ 1039368 w 3359086"/>
                <a:gd name="connsiteY24356" fmla="*/ 265843 h 3355086"/>
                <a:gd name="connsiteX24357" fmla="*/ 1033176 w 3359086"/>
                <a:gd name="connsiteY24357" fmla="*/ 272034 h 3355086"/>
                <a:gd name="connsiteX24358" fmla="*/ 1026985 w 3359086"/>
                <a:gd name="connsiteY24358" fmla="*/ 265843 h 3355086"/>
                <a:gd name="connsiteX24359" fmla="*/ 1033176 w 3359086"/>
                <a:gd name="connsiteY24359" fmla="*/ 259652 h 3355086"/>
                <a:gd name="connsiteX24360" fmla="*/ 1113186 w 3359086"/>
                <a:gd name="connsiteY24360" fmla="*/ 258890 h 3355086"/>
                <a:gd name="connsiteX24361" fmla="*/ 1119377 w 3359086"/>
                <a:gd name="connsiteY24361" fmla="*/ 265081 h 3355086"/>
                <a:gd name="connsiteX24362" fmla="*/ 1113186 w 3359086"/>
                <a:gd name="connsiteY24362" fmla="*/ 271272 h 3355086"/>
                <a:gd name="connsiteX24363" fmla="*/ 1106995 w 3359086"/>
                <a:gd name="connsiteY24363" fmla="*/ 265081 h 3355086"/>
                <a:gd name="connsiteX24364" fmla="*/ 1113186 w 3359086"/>
                <a:gd name="connsiteY24364" fmla="*/ 258890 h 3355086"/>
                <a:gd name="connsiteX24365" fmla="*/ 2092546 w 3359086"/>
                <a:gd name="connsiteY24365" fmla="*/ 256889 h 3355086"/>
                <a:gd name="connsiteX24366" fmla="*/ 2098738 w 3359086"/>
                <a:gd name="connsiteY24366" fmla="*/ 263080 h 3355086"/>
                <a:gd name="connsiteX24367" fmla="*/ 2092546 w 3359086"/>
                <a:gd name="connsiteY24367" fmla="*/ 269272 h 3355086"/>
                <a:gd name="connsiteX24368" fmla="*/ 2086355 w 3359086"/>
                <a:gd name="connsiteY24368" fmla="*/ 263080 h 3355086"/>
                <a:gd name="connsiteX24369" fmla="*/ 2092546 w 3359086"/>
                <a:gd name="connsiteY24369" fmla="*/ 256889 h 3355086"/>
                <a:gd name="connsiteX24370" fmla="*/ 1474374 w 3359086"/>
                <a:gd name="connsiteY24370" fmla="*/ 256699 h 3355086"/>
                <a:gd name="connsiteX24371" fmla="*/ 1480566 w 3359086"/>
                <a:gd name="connsiteY24371" fmla="*/ 262890 h 3355086"/>
                <a:gd name="connsiteX24372" fmla="*/ 1474374 w 3359086"/>
                <a:gd name="connsiteY24372" fmla="*/ 269081 h 3355086"/>
                <a:gd name="connsiteX24373" fmla="*/ 1468183 w 3359086"/>
                <a:gd name="connsiteY24373" fmla="*/ 262890 h 3355086"/>
                <a:gd name="connsiteX24374" fmla="*/ 1474374 w 3359086"/>
                <a:gd name="connsiteY24374" fmla="*/ 256699 h 3355086"/>
                <a:gd name="connsiteX24375" fmla="*/ 2341530 w 3359086"/>
                <a:gd name="connsiteY24375" fmla="*/ 255175 h 3355086"/>
                <a:gd name="connsiteX24376" fmla="*/ 2347722 w 3359086"/>
                <a:gd name="connsiteY24376" fmla="*/ 261366 h 3355086"/>
                <a:gd name="connsiteX24377" fmla="*/ 2341530 w 3359086"/>
                <a:gd name="connsiteY24377" fmla="*/ 267557 h 3355086"/>
                <a:gd name="connsiteX24378" fmla="*/ 2335339 w 3359086"/>
                <a:gd name="connsiteY24378" fmla="*/ 261366 h 3355086"/>
                <a:gd name="connsiteX24379" fmla="*/ 2341530 w 3359086"/>
                <a:gd name="connsiteY24379" fmla="*/ 255175 h 3355086"/>
                <a:gd name="connsiteX24380" fmla="*/ 1818227 w 3359086"/>
                <a:gd name="connsiteY24380" fmla="*/ 253841 h 3355086"/>
                <a:gd name="connsiteX24381" fmla="*/ 1824418 w 3359086"/>
                <a:gd name="connsiteY24381" fmla="*/ 260032 h 3355086"/>
                <a:gd name="connsiteX24382" fmla="*/ 1818227 w 3359086"/>
                <a:gd name="connsiteY24382" fmla="*/ 266224 h 3355086"/>
                <a:gd name="connsiteX24383" fmla="*/ 1812036 w 3359086"/>
                <a:gd name="connsiteY24383" fmla="*/ 260032 h 3355086"/>
                <a:gd name="connsiteX24384" fmla="*/ 1818227 w 3359086"/>
                <a:gd name="connsiteY24384" fmla="*/ 253841 h 3355086"/>
                <a:gd name="connsiteX24385" fmla="*/ 2408586 w 3359086"/>
                <a:gd name="connsiteY24385" fmla="*/ 252699 h 3355086"/>
                <a:gd name="connsiteX24386" fmla="*/ 2414778 w 3359086"/>
                <a:gd name="connsiteY24386" fmla="*/ 258890 h 3355086"/>
                <a:gd name="connsiteX24387" fmla="*/ 2408586 w 3359086"/>
                <a:gd name="connsiteY24387" fmla="*/ 265081 h 3355086"/>
                <a:gd name="connsiteX24388" fmla="*/ 2402395 w 3359086"/>
                <a:gd name="connsiteY24388" fmla="*/ 258890 h 3355086"/>
                <a:gd name="connsiteX24389" fmla="*/ 2408586 w 3359086"/>
                <a:gd name="connsiteY24389" fmla="*/ 252699 h 3355086"/>
                <a:gd name="connsiteX24390" fmla="*/ 956976 w 3359086"/>
                <a:gd name="connsiteY24390" fmla="*/ 252032 h 3355086"/>
                <a:gd name="connsiteX24391" fmla="*/ 963168 w 3359086"/>
                <a:gd name="connsiteY24391" fmla="*/ 258223 h 3355086"/>
                <a:gd name="connsiteX24392" fmla="*/ 956976 w 3359086"/>
                <a:gd name="connsiteY24392" fmla="*/ 264414 h 3355086"/>
                <a:gd name="connsiteX24393" fmla="*/ 950785 w 3359086"/>
                <a:gd name="connsiteY24393" fmla="*/ 258223 h 3355086"/>
                <a:gd name="connsiteX24394" fmla="*/ 956976 w 3359086"/>
                <a:gd name="connsiteY24394" fmla="*/ 252032 h 3355086"/>
                <a:gd name="connsiteX24395" fmla="*/ 1559813 w 3359086"/>
                <a:gd name="connsiteY24395" fmla="*/ 251270 h 3355086"/>
                <a:gd name="connsiteX24396" fmla="*/ 1566005 w 3359086"/>
                <a:gd name="connsiteY24396" fmla="*/ 257461 h 3355086"/>
                <a:gd name="connsiteX24397" fmla="*/ 1559813 w 3359086"/>
                <a:gd name="connsiteY24397" fmla="*/ 263652 h 3355086"/>
                <a:gd name="connsiteX24398" fmla="*/ 1553622 w 3359086"/>
                <a:gd name="connsiteY24398" fmla="*/ 257461 h 3355086"/>
                <a:gd name="connsiteX24399" fmla="*/ 1559813 w 3359086"/>
                <a:gd name="connsiteY24399" fmla="*/ 251270 h 3355086"/>
                <a:gd name="connsiteX24400" fmla="*/ 795528 w 3359086"/>
                <a:gd name="connsiteY24400" fmla="*/ 251270 h 3355086"/>
                <a:gd name="connsiteX24401" fmla="*/ 799147 w 3359086"/>
                <a:gd name="connsiteY24401" fmla="*/ 254890 h 3355086"/>
                <a:gd name="connsiteX24402" fmla="*/ 796861 w 3359086"/>
                <a:gd name="connsiteY24402" fmla="*/ 257176 h 3355086"/>
                <a:gd name="connsiteX24403" fmla="*/ 800862 w 3359086"/>
                <a:gd name="connsiteY24403" fmla="*/ 261176 h 3355086"/>
                <a:gd name="connsiteX24404" fmla="*/ 797290 w 3359086"/>
                <a:gd name="connsiteY24404" fmla="*/ 264748 h 3355086"/>
                <a:gd name="connsiteX24405" fmla="*/ 799528 w 3359086"/>
                <a:gd name="connsiteY24405" fmla="*/ 266986 h 3355086"/>
                <a:gd name="connsiteX24406" fmla="*/ 795909 w 3359086"/>
                <a:gd name="connsiteY24406" fmla="*/ 270605 h 3355086"/>
                <a:gd name="connsiteX24407" fmla="*/ 797719 w 3359086"/>
                <a:gd name="connsiteY24407" fmla="*/ 272415 h 3355086"/>
                <a:gd name="connsiteX24408" fmla="*/ 794003 w 3359086"/>
                <a:gd name="connsiteY24408" fmla="*/ 276130 h 3355086"/>
                <a:gd name="connsiteX24409" fmla="*/ 795527 w 3359086"/>
                <a:gd name="connsiteY24409" fmla="*/ 277654 h 3355086"/>
                <a:gd name="connsiteX24410" fmla="*/ 791670 w 3359086"/>
                <a:gd name="connsiteY24410" fmla="*/ 281512 h 3355086"/>
                <a:gd name="connsiteX24411" fmla="*/ 792860 w 3359086"/>
                <a:gd name="connsiteY24411" fmla="*/ 282702 h 3355086"/>
                <a:gd name="connsiteX24412" fmla="*/ 788764 w 3359086"/>
                <a:gd name="connsiteY24412" fmla="*/ 286798 h 3355086"/>
                <a:gd name="connsiteX24413" fmla="*/ 789908 w 3359086"/>
                <a:gd name="connsiteY24413" fmla="*/ 287941 h 3355086"/>
                <a:gd name="connsiteX24414" fmla="*/ 785622 w 3359086"/>
                <a:gd name="connsiteY24414" fmla="*/ 292228 h 3355086"/>
                <a:gd name="connsiteX24415" fmla="*/ 786669 w 3359086"/>
                <a:gd name="connsiteY24415" fmla="*/ 293275 h 3355086"/>
                <a:gd name="connsiteX24416" fmla="*/ 782098 w 3359086"/>
                <a:gd name="connsiteY24416" fmla="*/ 297847 h 3355086"/>
                <a:gd name="connsiteX24417" fmla="*/ 783241 w 3359086"/>
                <a:gd name="connsiteY24417" fmla="*/ 298990 h 3355086"/>
                <a:gd name="connsiteX24418" fmla="*/ 778335 w 3359086"/>
                <a:gd name="connsiteY24418" fmla="*/ 303895 h 3355086"/>
                <a:gd name="connsiteX24419" fmla="*/ 779716 w 3359086"/>
                <a:gd name="connsiteY24419" fmla="*/ 305276 h 3355086"/>
                <a:gd name="connsiteX24420" fmla="*/ 774477 w 3359086"/>
                <a:gd name="connsiteY24420" fmla="*/ 310515 h 3355086"/>
                <a:gd name="connsiteX24421" fmla="*/ 776191 w 3359086"/>
                <a:gd name="connsiteY24421" fmla="*/ 312229 h 3355086"/>
                <a:gd name="connsiteX24422" fmla="*/ 770429 w 3359086"/>
                <a:gd name="connsiteY24422" fmla="*/ 317991 h 3355086"/>
                <a:gd name="connsiteX24423" fmla="*/ 772668 w 3359086"/>
                <a:gd name="connsiteY24423" fmla="*/ 320230 h 3355086"/>
                <a:gd name="connsiteX24424" fmla="*/ 766476 w 3359086"/>
                <a:gd name="connsiteY24424" fmla="*/ 326421 h 3355086"/>
                <a:gd name="connsiteX24425" fmla="*/ 760285 w 3359086"/>
                <a:gd name="connsiteY24425" fmla="*/ 320230 h 3355086"/>
                <a:gd name="connsiteX24426" fmla="*/ 766048 w 3359086"/>
                <a:gd name="connsiteY24426" fmla="*/ 314468 h 3355086"/>
                <a:gd name="connsiteX24427" fmla="*/ 763809 w 3359086"/>
                <a:gd name="connsiteY24427" fmla="*/ 312229 h 3355086"/>
                <a:gd name="connsiteX24428" fmla="*/ 769048 w 3359086"/>
                <a:gd name="connsiteY24428" fmla="*/ 306991 h 3355086"/>
                <a:gd name="connsiteX24429" fmla="*/ 767333 w 3359086"/>
                <a:gd name="connsiteY24429" fmla="*/ 305276 h 3355086"/>
                <a:gd name="connsiteX24430" fmla="*/ 772239 w 3359086"/>
                <a:gd name="connsiteY24430" fmla="*/ 300371 h 3355086"/>
                <a:gd name="connsiteX24431" fmla="*/ 770858 w 3359086"/>
                <a:gd name="connsiteY24431" fmla="*/ 298990 h 3355086"/>
                <a:gd name="connsiteX24432" fmla="*/ 775430 w 3359086"/>
                <a:gd name="connsiteY24432" fmla="*/ 294418 h 3355086"/>
                <a:gd name="connsiteX24433" fmla="*/ 774287 w 3359086"/>
                <a:gd name="connsiteY24433" fmla="*/ 293275 h 3355086"/>
                <a:gd name="connsiteX24434" fmla="*/ 778573 w 3359086"/>
                <a:gd name="connsiteY24434" fmla="*/ 288989 h 3355086"/>
                <a:gd name="connsiteX24435" fmla="*/ 777525 w 3359086"/>
                <a:gd name="connsiteY24435" fmla="*/ 287941 h 3355086"/>
                <a:gd name="connsiteX24436" fmla="*/ 781621 w 3359086"/>
                <a:gd name="connsiteY24436" fmla="*/ 283845 h 3355086"/>
                <a:gd name="connsiteX24437" fmla="*/ 780478 w 3359086"/>
                <a:gd name="connsiteY24437" fmla="*/ 282702 h 3355086"/>
                <a:gd name="connsiteX24438" fmla="*/ 784335 w 3359086"/>
                <a:gd name="connsiteY24438" fmla="*/ 278845 h 3355086"/>
                <a:gd name="connsiteX24439" fmla="*/ 783145 w 3359086"/>
                <a:gd name="connsiteY24439" fmla="*/ 277654 h 3355086"/>
                <a:gd name="connsiteX24440" fmla="*/ 786860 w 3359086"/>
                <a:gd name="connsiteY24440" fmla="*/ 273939 h 3355086"/>
                <a:gd name="connsiteX24441" fmla="*/ 785336 w 3359086"/>
                <a:gd name="connsiteY24441" fmla="*/ 272415 h 3355086"/>
                <a:gd name="connsiteX24442" fmla="*/ 788955 w 3359086"/>
                <a:gd name="connsiteY24442" fmla="*/ 268796 h 3355086"/>
                <a:gd name="connsiteX24443" fmla="*/ 787145 w 3359086"/>
                <a:gd name="connsiteY24443" fmla="*/ 266986 h 3355086"/>
                <a:gd name="connsiteX24444" fmla="*/ 790717 w 3359086"/>
                <a:gd name="connsiteY24444" fmla="*/ 263414 h 3355086"/>
                <a:gd name="connsiteX24445" fmla="*/ 788479 w 3359086"/>
                <a:gd name="connsiteY24445" fmla="*/ 261176 h 3355086"/>
                <a:gd name="connsiteX24446" fmla="*/ 793337 w 3359086"/>
                <a:gd name="connsiteY24446" fmla="*/ 256318 h 3355086"/>
                <a:gd name="connsiteX24447" fmla="*/ 791908 w 3359086"/>
                <a:gd name="connsiteY24447" fmla="*/ 254890 h 3355086"/>
                <a:gd name="connsiteX24448" fmla="*/ 795528 w 3359086"/>
                <a:gd name="connsiteY24448" fmla="*/ 251270 h 3355086"/>
                <a:gd name="connsiteX24449" fmla="*/ 2186558 w 3359086"/>
                <a:gd name="connsiteY24449" fmla="*/ 250603 h 3355086"/>
                <a:gd name="connsiteX24450" fmla="*/ 2192750 w 3359086"/>
                <a:gd name="connsiteY24450" fmla="*/ 256794 h 3355086"/>
                <a:gd name="connsiteX24451" fmla="*/ 2186558 w 3359086"/>
                <a:gd name="connsiteY24451" fmla="*/ 262986 h 3355086"/>
                <a:gd name="connsiteX24452" fmla="*/ 2180367 w 3359086"/>
                <a:gd name="connsiteY24452" fmla="*/ 256794 h 3355086"/>
                <a:gd name="connsiteX24453" fmla="*/ 2186558 w 3359086"/>
                <a:gd name="connsiteY24453" fmla="*/ 250603 h 3355086"/>
                <a:gd name="connsiteX24454" fmla="*/ 2269235 w 3359086"/>
                <a:gd name="connsiteY24454" fmla="*/ 250413 h 3355086"/>
                <a:gd name="connsiteX24455" fmla="*/ 2275427 w 3359086"/>
                <a:gd name="connsiteY24455" fmla="*/ 256604 h 3355086"/>
                <a:gd name="connsiteX24456" fmla="*/ 2269235 w 3359086"/>
                <a:gd name="connsiteY24456" fmla="*/ 262795 h 3355086"/>
                <a:gd name="connsiteX24457" fmla="*/ 2263044 w 3359086"/>
                <a:gd name="connsiteY24457" fmla="*/ 256604 h 3355086"/>
                <a:gd name="connsiteX24458" fmla="*/ 2269235 w 3359086"/>
                <a:gd name="connsiteY24458" fmla="*/ 250413 h 3355086"/>
                <a:gd name="connsiteX24459" fmla="*/ 1732311 w 3359086"/>
                <a:gd name="connsiteY24459" fmla="*/ 249841 h 3355086"/>
                <a:gd name="connsiteX24460" fmla="*/ 1738503 w 3359086"/>
                <a:gd name="connsiteY24460" fmla="*/ 256032 h 3355086"/>
                <a:gd name="connsiteX24461" fmla="*/ 1732311 w 3359086"/>
                <a:gd name="connsiteY24461" fmla="*/ 262224 h 3355086"/>
                <a:gd name="connsiteX24462" fmla="*/ 1726120 w 3359086"/>
                <a:gd name="connsiteY24462" fmla="*/ 256032 h 3355086"/>
                <a:gd name="connsiteX24463" fmla="*/ 1732311 w 3359086"/>
                <a:gd name="connsiteY24463" fmla="*/ 249841 h 3355086"/>
                <a:gd name="connsiteX24464" fmla="*/ 1280921 w 3359086"/>
                <a:gd name="connsiteY24464" fmla="*/ 249365 h 3355086"/>
                <a:gd name="connsiteX24465" fmla="*/ 1287113 w 3359086"/>
                <a:gd name="connsiteY24465" fmla="*/ 255556 h 3355086"/>
                <a:gd name="connsiteX24466" fmla="*/ 1280921 w 3359086"/>
                <a:gd name="connsiteY24466" fmla="*/ 261747 h 3355086"/>
                <a:gd name="connsiteX24467" fmla="*/ 1274730 w 3359086"/>
                <a:gd name="connsiteY24467" fmla="*/ 255556 h 3355086"/>
                <a:gd name="connsiteX24468" fmla="*/ 1280921 w 3359086"/>
                <a:gd name="connsiteY24468" fmla="*/ 249365 h 3355086"/>
                <a:gd name="connsiteX24469" fmla="*/ 1646015 w 3359086"/>
                <a:gd name="connsiteY24469" fmla="*/ 248984 h 3355086"/>
                <a:gd name="connsiteX24470" fmla="*/ 1652207 w 3359086"/>
                <a:gd name="connsiteY24470" fmla="*/ 255175 h 3355086"/>
                <a:gd name="connsiteX24471" fmla="*/ 1646015 w 3359086"/>
                <a:gd name="connsiteY24471" fmla="*/ 261367 h 3355086"/>
                <a:gd name="connsiteX24472" fmla="*/ 1639824 w 3359086"/>
                <a:gd name="connsiteY24472" fmla="*/ 255175 h 3355086"/>
                <a:gd name="connsiteX24473" fmla="*/ 1646015 w 3359086"/>
                <a:gd name="connsiteY24473" fmla="*/ 248984 h 3355086"/>
                <a:gd name="connsiteX24474" fmla="*/ 2552509 w 3359086"/>
                <a:gd name="connsiteY24474" fmla="*/ 245650 h 3355086"/>
                <a:gd name="connsiteX24475" fmla="*/ 2555081 w 3359086"/>
                <a:gd name="connsiteY24475" fmla="*/ 248222 h 3355086"/>
                <a:gd name="connsiteX24476" fmla="*/ 2552842 w 3359086"/>
                <a:gd name="connsiteY24476" fmla="*/ 250460 h 3355086"/>
                <a:gd name="connsiteX24477" fmla="*/ 2558509 w 3359086"/>
                <a:gd name="connsiteY24477" fmla="*/ 256127 h 3355086"/>
                <a:gd name="connsiteX24478" fmla="*/ 2555175 w 3359086"/>
                <a:gd name="connsiteY24478" fmla="*/ 259461 h 3355086"/>
                <a:gd name="connsiteX24479" fmla="*/ 2558986 w 3359086"/>
                <a:gd name="connsiteY24479" fmla="*/ 263271 h 3355086"/>
                <a:gd name="connsiteX24480" fmla="*/ 2556128 w 3359086"/>
                <a:gd name="connsiteY24480" fmla="*/ 266129 h 3355086"/>
                <a:gd name="connsiteX24481" fmla="*/ 2560033 w 3359086"/>
                <a:gd name="connsiteY24481" fmla="*/ 270034 h 3355086"/>
                <a:gd name="connsiteX24482" fmla="*/ 2557747 w 3359086"/>
                <a:gd name="connsiteY24482" fmla="*/ 272320 h 3355086"/>
                <a:gd name="connsiteX24483" fmla="*/ 2561653 w 3359086"/>
                <a:gd name="connsiteY24483" fmla="*/ 276225 h 3355086"/>
                <a:gd name="connsiteX24484" fmla="*/ 2559796 w 3359086"/>
                <a:gd name="connsiteY24484" fmla="*/ 278082 h 3355086"/>
                <a:gd name="connsiteX24485" fmla="*/ 2563749 w 3359086"/>
                <a:gd name="connsiteY24485" fmla="*/ 282035 h 3355086"/>
                <a:gd name="connsiteX24486" fmla="*/ 2562224 w 3359086"/>
                <a:gd name="connsiteY24486" fmla="*/ 283560 h 3355086"/>
                <a:gd name="connsiteX24487" fmla="*/ 2566320 w 3359086"/>
                <a:gd name="connsiteY24487" fmla="*/ 287655 h 3355086"/>
                <a:gd name="connsiteX24488" fmla="*/ 2565082 w 3359086"/>
                <a:gd name="connsiteY24488" fmla="*/ 288894 h 3355086"/>
                <a:gd name="connsiteX24489" fmla="*/ 2569368 w 3359086"/>
                <a:gd name="connsiteY24489" fmla="*/ 293180 h 3355086"/>
                <a:gd name="connsiteX24490" fmla="*/ 2568273 w 3359086"/>
                <a:gd name="connsiteY24490" fmla="*/ 294275 h 3355086"/>
                <a:gd name="connsiteX24491" fmla="*/ 2572797 w 3359086"/>
                <a:gd name="connsiteY24491" fmla="*/ 298799 h 3355086"/>
                <a:gd name="connsiteX24492" fmla="*/ 2571749 w 3359086"/>
                <a:gd name="connsiteY24492" fmla="*/ 299847 h 3355086"/>
                <a:gd name="connsiteX24493" fmla="*/ 2576416 w 3359086"/>
                <a:gd name="connsiteY24493" fmla="*/ 304514 h 3355086"/>
                <a:gd name="connsiteX24494" fmla="*/ 2575369 w 3359086"/>
                <a:gd name="connsiteY24494" fmla="*/ 305562 h 3355086"/>
                <a:gd name="connsiteX24495" fmla="*/ 2580418 w 3359086"/>
                <a:gd name="connsiteY24495" fmla="*/ 310610 h 3355086"/>
                <a:gd name="connsiteX24496" fmla="*/ 2579179 w 3359086"/>
                <a:gd name="connsiteY24496" fmla="*/ 311849 h 3355086"/>
                <a:gd name="connsiteX24497" fmla="*/ 2584513 w 3359086"/>
                <a:gd name="connsiteY24497" fmla="*/ 317182 h 3355086"/>
                <a:gd name="connsiteX24498" fmla="*/ 2582941 w 3359086"/>
                <a:gd name="connsiteY24498" fmla="*/ 318754 h 3355086"/>
                <a:gd name="connsiteX24499" fmla="*/ 2588704 w 3359086"/>
                <a:gd name="connsiteY24499" fmla="*/ 324517 h 3355086"/>
                <a:gd name="connsiteX24500" fmla="*/ 2582513 w 3359086"/>
                <a:gd name="connsiteY24500" fmla="*/ 330708 h 3355086"/>
                <a:gd name="connsiteX24501" fmla="*/ 2576322 w 3359086"/>
                <a:gd name="connsiteY24501" fmla="*/ 324517 h 3355086"/>
                <a:gd name="connsiteX24502" fmla="*/ 2577894 w 3359086"/>
                <a:gd name="connsiteY24502" fmla="*/ 322945 h 3355086"/>
                <a:gd name="connsiteX24503" fmla="*/ 2572131 w 3359086"/>
                <a:gd name="connsiteY24503" fmla="*/ 317182 h 3355086"/>
                <a:gd name="connsiteX24504" fmla="*/ 2573369 w 3359086"/>
                <a:gd name="connsiteY24504" fmla="*/ 315944 h 3355086"/>
                <a:gd name="connsiteX24505" fmla="*/ 2568035 w 3359086"/>
                <a:gd name="connsiteY24505" fmla="*/ 310610 h 3355086"/>
                <a:gd name="connsiteX24506" fmla="*/ 2569082 w 3359086"/>
                <a:gd name="connsiteY24506" fmla="*/ 309563 h 3355086"/>
                <a:gd name="connsiteX24507" fmla="*/ 2564034 w 3359086"/>
                <a:gd name="connsiteY24507" fmla="*/ 304514 h 3355086"/>
                <a:gd name="connsiteX24508" fmla="*/ 2565082 w 3359086"/>
                <a:gd name="connsiteY24508" fmla="*/ 303466 h 3355086"/>
                <a:gd name="connsiteX24509" fmla="*/ 2560415 w 3359086"/>
                <a:gd name="connsiteY24509" fmla="*/ 298799 h 3355086"/>
                <a:gd name="connsiteX24510" fmla="*/ 2561510 w 3359086"/>
                <a:gd name="connsiteY24510" fmla="*/ 297704 h 3355086"/>
                <a:gd name="connsiteX24511" fmla="*/ 2556986 w 3359086"/>
                <a:gd name="connsiteY24511" fmla="*/ 293180 h 3355086"/>
                <a:gd name="connsiteX24512" fmla="*/ 2558225 w 3359086"/>
                <a:gd name="connsiteY24512" fmla="*/ 291942 h 3355086"/>
                <a:gd name="connsiteX24513" fmla="*/ 2553938 w 3359086"/>
                <a:gd name="connsiteY24513" fmla="*/ 287655 h 3355086"/>
                <a:gd name="connsiteX24514" fmla="*/ 2555462 w 3359086"/>
                <a:gd name="connsiteY24514" fmla="*/ 286131 h 3355086"/>
                <a:gd name="connsiteX24515" fmla="*/ 2551366 w 3359086"/>
                <a:gd name="connsiteY24515" fmla="*/ 282035 h 3355086"/>
                <a:gd name="connsiteX24516" fmla="*/ 2553223 w 3359086"/>
                <a:gd name="connsiteY24516" fmla="*/ 280178 h 3355086"/>
                <a:gd name="connsiteX24517" fmla="*/ 2549271 w 3359086"/>
                <a:gd name="connsiteY24517" fmla="*/ 276225 h 3355086"/>
                <a:gd name="connsiteX24518" fmla="*/ 2551557 w 3359086"/>
                <a:gd name="connsiteY24518" fmla="*/ 273940 h 3355086"/>
                <a:gd name="connsiteX24519" fmla="*/ 2547651 w 3359086"/>
                <a:gd name="connsiteY24519" fmla="*/ 270034 h 3355086"/>
                <a:gd name="connsiteX24520" fmla="*/ 2550508 w 3359086"/>
                <a:gd name="connsiteY24520" fmla="*/ 267177 h 3355086"/>
                <a:gd name="connsiteX24521" fmla="*/ 2546603 w 3359086"/>
                <a:gd name="connsiteY24521" fmla="*/ 263271 h 3355086"/>
                <a:gd name="connsiteX24522" fmla="*/ 2549937 w 3359086"/>
                <a:gd name="connsiteY24522" fmla="*/ 259937 h 3355086"/>
                <a:gd name="connsiteX24523" fmla="*/ 2546127 w 3359086"/>
                <a:gd name="connsiteY24523" fmla="*/ 256127 h 3355086"/>
                <a:gd name="connsiteX24524" fmla="*/ 2551985 w 3359086"/>
                <a:gd name="connsiteY24524" fmla="*/ 250269 h 3355086"/>
                <a:gd name="connsiteX24525" fmla="*/ 2549937 w 3359086"/>
                <a:gd name="connsiteY24525" fmla="*/ 248222 h 3355086"/>
                <a:gd name="connsiteX24526" fmla="*/ 2552509 w 3359086"/>
                <a:gd name="connsiteY24526" fmla="*/ 245650 h 3355086"/>
                <a:gd name="connsiteX24527" fmla="*/ 1022603 w 3359086"/>
                <a:gd name="connsiteY24527" fmla="*/ 244031 h 3355086"/>
                <a:gd name="connsiteX24528" fmla="*/ 1028795 w 3359086"/>
                <a:gd name="connsiteY24528" fmla="*/ 250222 h 3355086"/>
                <a:gd name="connsiteX24529" fmla="*/ 1022603 w 3359086"/>
                <a:gd name="connsiteY24529" fmla="*/ 256413 h 3355086"/>
                <a:gd name="connsiteX24530" fmla="*/ 1016412 w 3359086"/>
                <a:gd name="connsiteY24530" fmla="*/ 250222 h 3355086"/>
                <a:gd name="connsiteX24531" fmla="*/ 1022603 w 3359086"/>
                <a:gd name="connsiteY24531" fmla="*/ 244031 h 3355086"/>
                <a:gd name="connsiteX24532" fmla="*/ 2014918 w 3359086"/>
                <a:gd name="connsiteY24532" fmla="*/ 243364 h 3355086"/>
                <a:gd name="connsiteX24533" fmla="*/ 2021110 w 3359086"/>
                <a:gd name="connsiteY24533" fmla="*/ 249555 h 3355086"/>
                <a:gd name="connsiteX24534" fmla="*/ 2014918 w 3359086"/>
                <a:gd name="connsiteY24534" fmla="*/ 255746 h 3355086"/>
                <a:gd name="connsiteX24535" fmla="*/ 2008727 w 3359086"/>
                <a:gd name="connsiteY24535" fmla="*/ 249555 h 3355086"/>
                <a:gd name="connsiteX24536" fmla="*/ 2014918 w 3359086"/>
                <a:gd name="connsiteY24536" fmla="*/ 243364 h 3355086"/>
                <a:gd name="connsiteX24537" fmla="*/ 2349245 w 3359086"/>
                <a:gd name="connsiteY24537" fmla="*/ 242030 h 3355086"/>
                <a:gd name="connsiteX24538" fmla="*/ 2355436 w 3359086"/>
                <a:gd name="connsiteY24538" fmla="*/ 248221 h 3355086"/>
                <a:gd name="connsiteX24539" fmla="*/ 2349245 w 3359086"/>
                <a:gd name="connsiteY24539" fmla="*/ 254413 h 3355086"/>
                <a:gd name="connsiteX24540" fmla="*/ 2343054 w 3359086"/>
                <a:gd name="connsiteY24540" fmla="*/ 248221 h 3355086"/>
                <a:gd name="connsiteX24541" fmla="*/ 2349245 w 3359086"/>
                <a:gd name="connsiteY24541" fmla="*/ 242030 h 3355086"/>
                <a:gd name="connsiteX24542" fmla="*/ 1183766 w 3359086"/>
                <a:gd name="connsiteY24542" fmla="*/ 241554 h 3355086"/>
                <a:gd name="connsiteX24543" fmla="*/ 1189958 w 3359086"/>
                <a:gd name="connsiteY24543" fmla="*/ 247745 h 3355086"/>
                <a:gd name="connsiteX24544" fmla="*/ 1183766 w 3359086"/>
                <a:gd name="connsiteY24544" fmla="*/ 253936 h 3355086"/>
                <a:gd name="connsiteX24545" fmla="*/ 1177575 w 3359086"/>
                <a:gd name="connsiteY24545" fmla="*/ 247745 h 3355086"/>
                <a:gd name="connsiteX24546" fmla="*/ 1183766 w 3359086"/>
                <a:gd name="connsiteY24546" fmla="*/ 241554 h 3355086"/>
                <a:gd name="connsiteX24547" fmla="*/ 951547 w 3359086"/>
                <a:gd name="connsiteY24547" fmla="*/ 241078 h 3355086"/>
                <a:gd name="connsiteX24548" fmla="*/ 957739 w 3359086"/>
                <a:gd name="connsiteY24548" fmla="*/ 247269 h 3355086"/>
                <a:gd name="connsiteX24549" fmla="*/ 951547 w 3359086"/>
                <a:gd name="connsiteY24549" fmla="*/ 253461 h 3355086"/>
                <a:gd name="connsiteX24550" fmla="*/ 945356 w 3359086"/>
                <a:gd name="connsiteY24550" fmla="*/ 247269 h 3355086"/>
                <a:gd name="connsiteX24551" fmla="*/ 951547 w 3359086"/>
                <a:gd name="connsiteY24551" fmla="*/ 241078 h 3355086"/>
                <a:gd name="connsiteX24552" fmla="*/ 1097946 w 3359086"/>
                <a:gd name="connsiteY24552" fmla="*/ 240126 h 3355086"/>
                <a:gd name="connsiteX24553" fmla="*/ 1104137 w 3359086"/>
                <a:gd name="connsiteY24553" fmla="*/ 246317 h 3355086"/>
                <a:gd name="connsiteX24554" fmla="*/ 1097946 w 3359086"/>
                <a:gd name="connsiteY24554" fmla="*/ 252508 h 3355086"/>
                <a:gd name="connsiteX24555" fmla="*/ 1091755 w 3359086"/>
                <a:gd name="connsiteY24555" fmla="*/ 246317 h 3355086"/>
                <a:gd name="connsiteX24556" fmla="*/ 1097946 w 3359086"/>
                <a:gd name="connsiteY24556" fmla="*/ 240126 h 3355086"/>
                <a:gd name="connsiteX24557" fmla="*/ 1359693 w 3359086"/>
                <a:gd name="connsiteY24557" fmla="*/ 237173 h 3355086"/>
                <a:gd name="connsiteX24558" fmla="*/ 1365884 w 3359086"/>
                <a:gd name="connsiteY24558" fmla="*/ 243364 h 3355086"/>
                <a:gd name="connsiteX24559" fmla="*/ 1359693 w 3359086"/>
                <a:gd name="connsiteY24559" fmla="*/ 249556 h 3355086"/>
                <a:gd name="connsiteX24560" fmla="*/ 1353502 w 3359086"/>
                <a:gd name="connsiteY24560" fmla="*/ 243364 h 3355086"/>
                <a:gd name="connsiteX24561" fmla="*/ 1359693 w 3359086"/>
                <a:gd name="connsiteY24561" fmla="*/ 237173 h 3355086"/>
                <a:gd name="connsiteX24562" fmla="*/ 2281141 w 3359086"/>
                <a:gd name="connsiteY24562" fmla="*/ 234696 h 3355086"/>
                <a:gd name="connsiteX24563" fmla="*/ 2287333 w 3359086"/>
                <a:gd name="connsiteY24563" fmla="*/ 240887 h 3355086"/>
                <a:gd name="connsiteX24564" fmla="*/ 2281141 w 3359086"/>
                <a:gd name="connsiteY24564" fmla="*/ 247079 h 3355086"/>
                <a:gd name="connsiteX24565" fmla="*/ 2274950 w 3359086"/>
                <a:gd name="connsiteY24565" fmla="*/ 240887 h 3355086"/>
                <a:gd name="connsiteX24566" fmla="*/ 2281141 w 3359086"/>
                <a:gd name="connsiteY24566" fmla="*/ 234696 h 3355086"/>
                <a:gd name="connsiteX24567" fmla="*/ 2114740 w 3359086"/>
                <a:gd name="connsiteY24567" fmla="*/ 234125 h 3355086"/>
                <a:gd name="connsiteX24568" fmla="*/ 2120932 w 3359086"/>
                <a:gd name="connsiteY24568" fmla="*/ 240316 h 3355086"/>
                <a:gd name="connsiteX24569" fmla="*/ 2114740 w 3359086"/>
                <a:gd name="connsiteY24569" fmla="*/ 246508 h 3355086"/>
                <a:gd name="connsiteX24570" fmla="*/ 2108549 w 3359086"/>
                <a:gd name="connsiteY24570" fmla="*/ 240316 h 3355086"/>
                <a:gd name="connsiteX24571" fmla="*/ 2114740 w 3359086"/>
                <a:gd name="connsiteY24571" fmla="*/ 234125 h 3355086"/>
                <a:gd name="connsiteX24572" fmla="*/ 826198 w 3359086"/>
                <a:gd name="connsiteY24572" fmla="*/ 232791 h 3355086"/>
                <a:gd name="connsiteX24573" fmla="*/ 826341 w 3359086"/>
                <a:gd name="connsiteY24573" fmla="*/ 232934 h 3355086"/>
                <a:gd name="connsiteX24574" fmla="*/ 826388 w 3359086"/>
                <a:gd name="connsiteY24574" fmla="*/ 232887 h 3355086"/>
                <a:gd name="connsiteX24575" fmla="*/ 832580 w 3359086"/>
                <a:gd name="connsiteY24575" fmla="*/ 239078 h 3355086"/>
                <a:gd name="connsiteX24576" fmla="*/ 829580 w 3359086"/>
                <a:gd name="connsiteY24576" fmla="*/ 242078 h 3355086"/>
                <a:gd name="connsiteX24577" fmla="*/ 832199 w 3359086"/>
                <a:gd name="connsiteY24577" fmla="*/ 244697 h 3355086"/>
                <a:gd name="connsiteX24578" fmla="*/ 829294 w 3359086"/>
                <a:gd name="connsiteY24578" fmla="*/ 247602 h 3355086"/>
                <a:gd name="connsiteX24579" fmla="*/ 831437 w 3359086"/>
                <a:gd name="connsiteY24579" fmla="*/ 249745 h 3355086"/>
                <a:gd name="connsiteX24580" fmla="*/ 828531 w 3359086"/>
                <a:gd name="connsiteY24580" fmla="*/ 252651 h 3355086"/>
                <a:gd name="connsiteX24581" fmla="*/ 830293 w 3359086"/>
                <a:gd name="connsiteY24581" fmla="*/ 254413 h 3355086"/>
                <a:gd name="connsiteX24582" fmla="*/ 827293 w 3359086"/>
                <a:gd name="connsiteY24582" fmla="*/ 257413 h 3355086"/>
                <a:gd name="connsiteX24583" fmla="*/ 828770 w 3359086"/>
                <a:gd name="connsiteY24583" fmla="*/ 258890 h 3355086"/>
                <a:gd name="connsiteX24584" fmla="*/ 825627 w 3359086"/>
                <a:gd name="connsiteY24584" fmla="*/ 262033 h 3355086"/>
                <a:gd name="connsiteX24585" fmla="*/ 826960 w 3359086"/>
                <a:gd name="connsiteY24585" fmla="*/ 263366 h 3355086"/>
                <a:gd name="connsiteX24586" fmla="*/ 823721 w 3359086"/>
                <a:gd name="connsiteY24586" fmla="*/ 266605 h 3355086"/>
                <a:gd name="connsiteX24587" fmla="*/ 824864 w 3359086"/>
                <a:gd name="connsiteY24587" fmla="*/ 267748 h 3355086"/>
                <a:gd name="connsiteX24588" fmla="*/ 821388 w 3359086"/>
                <a:gd name="connsiteY24588" fmla="*/ 271224 h 3355086"/>
                <a:gd name="connsiteX24589" fmla="*/ 822674 w 3359086"/>
                <a:gd name="connsiteY24589" fmla="*/ 272510 h 3355086"/>
                <a:gd name="connsiteX24590" fmla="*/ 818959 w 3359086"/>
                <a:gd name="connsiteY24590" fmla="*/ 276224 h 3355086"/>
                <a:gd name="connsiteX24591" fmla="*/ 820293 w 3359086"/>
                <a:gd name="connsiteY24591" fmla="*/ 277558 h 3355086"/>
                <a:gd name="connsiteX24592" fmla="*/ 816340 w 3359086"/>
                <a:gd name="connsiteY24592" fmla="*/ 281512 h 3355086"/>
                <a:gd name="connsiteX24593" fmla="*/ 818006 w 3359086"/>
                <a:gd name="connsiteY24593" fmla="*/ 283178 h 3355086"/>
                <a:gd name="connsiteX24594" fmla="*/ 813673 w 3359086"/>
                <a:gd name="connsiteY24594" fmla="*/ 287512 h 3355086"/>
                <a:gd name="connsiteX24595" fmla="*/ 815721 w 3359086"/>
                <a:gd name="connsiteY24595" fmla="*/ 289560 h 3355086"/>
                <a:gd name="connsiteX24596" fmla="*/ 810958 w 3359086"/>
                <a:gd name="connsiteY24596" fmla="*/ 294323 h 3355086"/>
                <a:gd name="connsiteX24597" fmla="*/ 813625 w 3359086"/>
                <a:gd name="connsiteY24597" fmla="*/ 296990 h 3355086"/>
                <a:gd name="connsiteX24598" fmla="*/ 808387 w 3359086"/>
                <a:gd name="connsiteY24598" fmla="*/ 302228 h 3355086"/>
                <a:gd name="connsiteX24599" fmla="*/ 811816 w 3359086"/>
                <a:gd name="connsiteY24599" fmla="*/ 305657 h 3355086"/>
                <a:gd name="connsiteX24600" fmla="*/ 806005 w 3359086"/>
                <a:gd name="connsiteY24600" fmla="*/ 311468 h 3355086"/>
                <a:gd name="connsiteX24601" fmla="*/ 810292 w 3359086"/>
                <a:gd name="connsiteY24601" fmla="*/ 315754 h 3355086"/>
                <a:gd name="connsiteX24602" fmla="*/ 804100 w 3359086"/>
                <a:gd name="connsiteY24602" fmla="*/ 321945 h 3355086"/>
                <a:gd name="connsiteX24603" fmla="*/ 797909 w 3359086"/>
                <a:gd name="connsiteY24603" fmla="*/ 315754 h 3355086"/>
                <a:gd name="connsiteX24604" fmla="*/ 803720 w 3359086"/>
                <a:gd name="connsiteY24604" fmla="*/ 309944 h 3355086"/>
                <a:gd name="connsiteX24605" fmla="*/ 799433 w 3359086"/>
                <a:gd name="connsiteY24605" fmla="*/ 305657 h 3355086"/>
                <a:gd name="connsiteX24606" fmla="*/ 804672 w 3359086"/>
                <a:gd name="connsiteY24606" fmla="*/ 300419 h 3355086"/>
                <a:gd name="connsiteX24607" fmla="*/ 801243 w 3359086"/>
                <a:gd name="connsiteY24607" fmla="*/ 296990 h 3355086"/>
                <a:gd name="connsiteX24608" fmla="*/ 806005 w 3359086"/>
                <a:gd name="connsiteY24608" fmla="*/ 292228 h 3355086"/>
                <a:gd name="connsiteX24609" fmla="*/ 803338 w 3359086"/>
                <a:gd name="connsiteY24609" fmla="*/ 289560 h 3355086"/>
                <a:gd name="connsiteX24610" fmla="*/ 807672 w 3359086"/>
                <a:gd name="connsiteY24610" fmla="*/ 285226 h 3355086"/>
                <a:gd name="connsiteX24611" fmla="*/ 805624 w 3359086"/>
                <a:gd name="connsiteY24611" fmla="*/ 283178 h 3355086"/>
                <a:gd name="connsiteX24612" fmla="*/ 809577 w 3359086"/>
                <a:gd name="connsiteY24612" fmla="*/ 279225 h 3355086"/>
                <a:gd name="connsiteX24613" fmla="*/ 807910 w 3359086"/>
                <a:gd name="connsiteY24613" fmla="*/ 277558 h 3355086"/>
                <a:gd name="connsiteX24614" fmla="*/ 811625 w 3359086"/>
                <a:gd name="connsiteY24614" fmla="*/ 273844 h 3355086"/>
                <a:gd name="connsiteX24615" fmla="*/ 810291 w 3359086"/>
                <a:gd name="connsiteY24615" fmla="*/ 272510 h 3355086"/>
                <a:gd name="connsiteX24616" fmla="*/ 813768 w 3359086"/>
                <a:gd name="connsiteY24616" fmla="*/ 269034 h 3355086"/>
                <a:gd name="connsiteX24617" fmla="*/ 812482 w 3359086"/>
                <a:gd name="connsiteY24617" fmla="*/ 267748 h 3355086"/>
                <a:gd name="connsiteX24618" fmla="*/ 815720 w 3359086"/>
                <a:gd name="connsiteY24618" fmla="*/ 264510 h 3355086"/>
                <a:gd name="connsiteX24619" fmla="*/ 814577 w 3359086"/>
                <a:gd name="connsiteY24619" fmla="*/ 263366 h 3355086"/>
                <a:gd name="connsiteX24620" fmla="*/ 817720 w 3359086"/>
                <a:gd name="connsiteY24620" fmla="*/ 260223 h 3355086"/>
                <a:gd name="connsiteX24621" fmla="*/ 816387 w 3359086"/>
                <a:gd name="connsiteY24621" fmla="*/ 258890 h 3355086"/>
                <a:gd name="connsiteX24622" fmla="*/ 819387 w 3359086"/>
                <a:gd name="connsiteY24622" fmla="*/ 255890 h 3355086"/>
                <a:gd name="connsiteX24623" fmla="*/ 817911 w 3359086"/>
                <a:gd name="connsiteY24623" fmla="*/ 254413 h 3355086"/>
                <a:gd name="connsiteX24624" fmla="*/ 820816 w 3359086"/>
                <a:gd name="connsiteY24624" fmla="*/ 251508 h 3355086"/>
                <a:gd name="connsiteX24625" fmla="*/ 819054 w 3359086"/>
                <a:gd name="connsiteY24625" fmla="*/ 249745 h 3355086"/>
                <a:gd name="connsiteX24626" fmla="*/ 821959 w 3359086"/>
                <a:gd name="connsiteY24626" fmla="*/ 246840 h 3355086"/>
                <a:gd name="connsiteX24627" fmla="*/ 819816 w 3359086"/>
                <a:gd name="connsiteY24627" fmla="*/ 244697 h 3355086"/>
                <a:gd name="connsiteX24628" fmla="*/ 822816 w 3359086"/>
                <a:gd name="connsiteY24628" fmla="*/ 241697 h 3355086"/>
                <a:gd name="connsiteX24629" fmla="*/ 820197 w 3359086"/>
                <a:gd name="connsiteY24629" fmla="*/ 239078 h 3355086"/>
                <a:gd name="connsiteX24630" fmla="*/ 826055 w 3359086"/>
                <a:gd name="connsiteY24630" fmla="*/ 233220 h 3355086"/>
                <a:gd name="connsiteX24631" fmla="*/ 825912 w 3359086"/>
                <a:gd name="connsiteY24631" fmla="*/ 233077 h 3355086"/>
                <a:gd name="connsiteX24632" fmla="*/ 826198 w 3359086"/>
                <a:gd name="connsiteY24632" fmla="*/ 232791 h 3355086"/>
                <a:gd name="connsiteX24633" fmla="*/ 1935194 w 3359086"/>
                <a:gd name="connsiteY24633" fmla="*/ 232410 h 3355086"/>
                <a:gd name="connsiteX24634" fmla="*/ 1941386 w 3359086"/>
                <a:gd name="connsiteY24634" fmla="*/ 238601 h 3355086"/>
                <a:gd name="connsiteX24635" fmla="*/ 1935194 w 3359086"/>
                <a:gd name="connsiteY24635" fmla="*/ 244793 h 3355086"/>
                <a:gd name="connsiteX24636" fmla="*/ 1929003 w 3359086"/>
                <a:gd name="connsiteY24636" fmla="*/ 238601 h 3355086"/>
                <a:gd name="connsiteX24637" fmla="*/ 1935194 w 3359086"/>
                <a:gd name="connsiteY24637" fmla="*/ 232410 h 3355086"/>
                <a:gd name="connsiteX24638" fmla="*/ 2203322 w 3359086"/>
                <a:gd name="connsiteY24638" fmla="*/ 231648 h 3355086"/>
                <a:gd name="connsiteX24639" fmla="*/ 2209514 w 3359086"/>
                <a:gd name="connsiteY24639" fmla="*/ 237839 h 3355086"/>
                <a:gd name="connsiteX24640" fmla="*/ 2203322 w 3359086"/>
                <a:gd name="connsiteY24640" fmla="*/ 244031 h 3355086"/>
                <a:gd name="connsiteX24641" fmla="*/ 2197131 w 3359086"/>
                <a:gd name="connsiteY24641" fmla="*/ 237839 h 3355086"/>
                <a:gd name="connsiteX24642" fmla="*/ 2203322 w 3359086"/>
                <a:gd name="connsiteY24642" fmla="*/ 231648 h 3355086"/>
                <a:gd name="connsiteX24643" fmla="*/ 2355817 w 3359086"/>
                <a:gd name="connsiteY24643" fmla="*/ 231172 h 3355086"/>
                <a:gd name="connsiteX24644" fmla="*/ 2362009 w 3359086"/>
                <a:gd name="connsiteY24644" fmla="*/ 237363 h 3355086"/>
                <a:gd name="connsiteX24645" fmla="*/ 2355817 w 3359086"/>
                <a:gd name="connsiteY24645" fmla="*/ 243554 h 3355086"/>
                <a:gd name="connsiteX24646" fmla="*/ 2349626 w 3359086"/>
                <a:gd name="connsiteY24646" fmla="*/ 237363 h 3355086"/>
                <a:gd name="connsiteX24647" fmla="*/ 2355817 w 3359086"/>
                <a:gd name="connsiteY24647" fmla="*/ 231172 h 3355086"/>
                <a:gd name="connsiteX24648" fmla="*/ 1013459 w 3359086"/>
                <a:gd name="connsiteY24648" fmla="*/ 230981 h 3355086"/>
                <a:gd name="connsiteX24649" fmla="*/ 1019651 w 3359086"/>
                <a:gd name="connsiteY24649" fmla="*/ 237172 h 3355086"/>
                <a:gd name="connsiteX24650" fmla="*/ 1013459 w 3359086"/>
                <a:gd name="connsiteY24650" fmla="*/ 243364 h 3355086"/>
                <a:gd name="connsiteX24651" fmla="*/ 1007268 w 3359086"/>
                <a:gd name="connsiteY24651" fmla="*/ 237172 h 3355086"/>
                <a:gd name="connsiteX24652" fmla="*/ 1013459 w 3359086"/>
                <a:gd name="connsiteY24652" fmla="*/ 230981 h 3355086"/>
                <a:gd name="connsiteX24653" fmla="*/ 2522886 w 3359086"/>
                <a:gd name="connsiteY24653" fmla="*/ 228314 h 3355086"/>
                <a:gd name="connsiteX24654" fmla="*/ 2528505 w 3359086"/>
                <a:gd name="connsiteY24654" fmla="*/ 233934 h 3355086"/>
                <a:gd name="connsiteX24655" fmla="*/ 2524981 w 3359086"/>
                <a:gd name="connsiteY24655" fmla="*/ 237458 h 3355086"/>
                <a:gd name="connsiteX24656" fmla="*/ 2528601 w 3359086"/>
                <a:gd name="connsiteY24656" fmla="*/ 241078 h 3355086"/>
                <a:gd name="connsiteX24657" fmla="*/ 2525363 w 3359086"/>
                <a:gd name="connsiteY24657" fmla="*/ 244317 h 3355086"/>
                <a:gd name="connsiteX24658" fmla="*/ 2528601 w 3359086"/>
                <a:gd name="connsiteY24658" fmla="*/ 247555 h 3355086"/>
                <a:gd name="connsiteX24659" fmla="*/ 2525982 w 3359086"/>
                <a:gd name="connsiteY24659" fmla="*/ 250174 h 3355086"/>
                <a:gd name="connsiteX24660" fmla="*/ 2529268 w 3359086"/>
                <a:gd name="connsiteY24660" fmla="*/ 253460 h 3355086"/>
                <a:gd name="connsiteX24661" fmla="*/ 2527076 w 3359086"/>
                <a:gd name="connsiteY24661" fmla="*/ 255651 h 3355086"/>
                <a:gd name="connsiteX24662" fmla="*/ 2530315 w 3359086"/>
                <a:gd name="connsiteY24662" fmla="*/ 258890 h 3355086"/>
                <a:gd name="connsiteX24663" fmla="*/ 2528505 w 3359086"/>
                <a:gd name="connsiteY24663" fmla="*/ 260700 h 3355086"/>
                <a:gd name="connsiteX24664" fmla="*/ 2531839 w 3359086"/>
                <a:gd name="connsiteY24664" fmla="*/ 264033 h 3355086"/>
                <a:gd name="connsiteX24665" fmla="*/ 2530363 w 3359086"/>
                <a:gd name="connsiteY24665" fmla="*/ 265510 h 3355086"/>
                <a:gd name="connsiteX24666" fmla="*/ 2533745 w 3359086"/>
                <a:gd name="connsiteY24666" fmla="*/ 268891 h 3355086"/>
                <a:gd name="connsiteX24667" fmla="*/ 2532459 w 3359086"/>
                <a:gd name="connsiteY24667" fmla="*/ 270177 h 3355086"/>
                <a:gd name="connsiteX24668" fmla="*/ 2536030 w 3359086"/>
                <a:gd name="connsiteY24668" fmla="*/ 273748 h 3355086"/>
                <a:gd name="connsiteX24669" fmla="*/ 2534934 w 3359086"/>
                <a:gd name="connsiteY24669" fmla="*/ 274844 h 3355086"/>
                <a:gd name="connsiteX24670" fmla="*/ 2538602 w 3359086"/>
                <a:gd name="connsiteY24670" fmla="*/ 278511 h 3355086"/>
                <a:gd name="connsiteX24671" fmla="*/ 2537459 w 3359086"/>
                <a:gd name="connsiteY24671" fmla="*/ 279654 h 3355086"/>
                <a:gd name="connsiteX24672" fmla="*/ 2541364 w 3359086"/>
                <a:gd name="connsiteY24672" fmla="*/ 283559 h 3355086"/>
                <a:gd name="connsiteX24673" fmla="*/ 2540125 w 3359086"/>
                <a:gd name="connsiteY24673" fmla="*/ 284798 h 3355086"/>
                <a:gd name="connsiteX24674" fmla="*/ 2544317 w 3359086"/>
                <a:gd name="connsiteY24674" fmla="*/ 288989 h 3355086"/>
                <a:gd name="connsiteX24675" fmla="*/ 2542794 w 3359086"/>
                <a:gd name="connsiteY24675" fmla="*/ 290513 h 3355086"/>
                <a:gd name="connsiteX24676" fmla="*/ 2547270 w 3359086"/>
                <a:gd name="connsiteY24676" fmla="*/ 294989 h 3355086"/>
                <a:gd name="connsiteX24677" fmla="*/ 2545413 w 3359086"/>
                <a:gd name="connsiteY24677" fmla="*/ 296847 h 3355086"/>
                <a:gd name="connsiteX24678" fmla="*/ 2550223 w 3359086"/>
                <a:gd name="connsiteY24678" fmla="*/ 301657 h 3355086"/>
                <a:gd name="connsiteX24679" fmla="*/ 2547842 w 3359086"/>
                <a:gd name="connsiteY24679" fmla="*/ 304039 h 3355086"/>
                <a:gd name="connsiteX24680" fmla="*/ 2553175 w 3359086"/>
                <a:gd name="connsiteY24680" fmla="*/ 309372 h 3355086"/>
                <a:gd name="connsiteX24681" fmla="*/ 2550080 w 3359086"/>
                <a:gd name="connsiteY24681" fmla="*/ 312468 h 3355086"/>
                <a:gd name="connsiteX24682" fmla="*/ 2555842 w 3359086"/>
                <a:gd name="connsiteY24682" fmla="*/ 318230 h 3355086"/>
                <a:gd name="connsiteX24683" fmla="*/ 2549651 w 3359086"/>
                <a:gd name="connsiteY24683" fmla="*/ 324421 h 3355086"/>
                <a:gd name="connsiteX24684" fmla="*/ 2543460 w 3359086"/>
                <a:gd name="connsiteY24684" fmla="*/ 318230 h 3355086"/>
                <a:gd name="connsiteX24685" fmla="*/ 2546556 w 3359086"/>
                <a:gd name="connsiteY24685" fmla="*/ 315135 h 3355086"/>
                <a:gd name="connsiteX24686" fmla="*/ 2540793 w 3359086"/>
                <a:gd name="connsiteY24686" fmla="*/ 309372 h 3355086"/>
                <a:gd name="connsiteX24687" fmla="*/ 2543174 w 3359086"/>
                <a:gd name="connsiteY24687" fmla="*/ 306991 h 3355086"/>
                <a:gd name="connsiteX24688" fmla="*/ 2537841 w 3359086"/>
                <a:gd name="connsiteY24688" fmla="*/ 301657 h 3355086"/>
                <a:gd name="connsiteX24689" fmla="*/ 2539698 w 3359086"/>
                <a:gd name="connsiteY24689" fmla="*/ 299800 h 3355086"/>
                <a:gd name="connsiteX24690" fmla="*/ 2534888 w 3359086"/>
                <a:gd name="connsiteY24690" fmla="*/ 294989 h 3355086"/>
                <a:gd name="connsiteX24691" fmla="*/ 2536411 w 3359086"/>
                <a:gd name="connsiteY24691" fmla="*/ 293466 h 3355086"/>
                <a:gd name="connsiteX24692" fmla="*/ 2531935 w 3359086"/>
                <a:gd name="connsiteY24692" fmla="*/ 288989 h 3355086"/>
                <a:gd name="connsiteX24693" fmla="*/ 2533173 w 3359086"/>
                <a:gd name="connsiteY24693" fmla="*/ 287751 h 3355086"/>
                <a:gd name="connsiteX24694" fmla="*/ 2528982 w 3359086"/>
                <a:gd name="connsiteY24694" fmla="*/ 283559 h 3355086"/>
                <a:gd name="connsiteX24695" fmla="*/ 2530125 w 3359086"/>
                <a:gd name="connsiteY24695" fmla="*/ 282416 h 3355086"/>
                <a:gd name="connsiteX24696" fmla="*/ 2526220 w 3359086"/>
                <a:gd name="connsiteY24696" fmla="*/ 278511 h 3355086"/>
                <a:gd name="connsiteX24697" fmla="*/ 2527316 w 3359086"/>
                <a:gd name="connsiteY24697" fmla="*/ 277416 h 3355086"/>
                <a:gd name="connsiteX24698" fmla="*/ 2523648 w 3359086"/>
                <a:gd name="connsiteY24698" fmla="*/ 273748 h 3355086"/>
                <a:gd name="connsiteX24699" fmla="*/ 2524933 w 3359086"/>
                <a:gd name="connsiteY24699" fmla="*/ 272463 h 3355086"/>
                <a:gd name="connsiteX24700" fmla="*/ 2521362 w 3359086"/>
                <a:gd name="connsiteY24700" fmla="*/ 268891 h 3355086"/>
                <a:gd name="connsiteX24701" fmla="*/ 2522838 w 3359086"/>
                <a:gd name="connsiteY24701" fmla="*/ 267415 h 3355086"/>
                <a:gd name="connsiteX24702" fmla="*/ 2519457 w 3359086"/>
                <a:gd name="connsiteY24702" fmla="*/ 264033 h 3355086"/>
                <a:gd name="connsiteX24703" fmla="*/ 2521267 w 3359086"/>
                <a:gd name="connsiteY24703" fmla="*/ 262224 h 3355086"/>
                <a:gd name="connsiteX24704" fmla="*/ 2517933 w 3359086"/>
                <a:gd name="connsiteY24704" fmla="*/ 258890 h 3355086"/>
                <a:gd name="connsiteX24705" fmla="*/ 2520124 w 3359086"/>
                <a:gd name="connsiteY24705" fmla="*/ 256699 h 3355086"/>
                <a:gd name="connsiteX24706" fmla="*/ 2516885 w 3359086"/>
                <a:gd name="connsiteY24706" fmla="*/ 253460 h 3355086"/>
                <a:gd name="connsiteX24707" fmla="*/ 2519504 w 3359086"/>
                <a:gd name="connsiteY24707" fmla="*/ 250841 h 3355086"/>
                <a:gd name="connsiteX24708" fmla="*/ 2516219 w 3359086"/>
                <a:gd name="connsiteY24708" fmla="*/ 247555 h 3355086"/>
                <a:gd name="connsiteX24709" fmla="*/ 2519457 w 3359086"/>
                <a:gd name="connsiteY24709" fmla="*/ 244317 h 3355086"/>
                <a:gd name="connsiteX24710" fmla="*/ 2516219 w 3359086"/>
                <a:gd name="connsiteY24710" fmla="*/ 241078 h 3355086"/>
                <a:gd name="connsiteX24711" fmla="*/ 2520314 w 3359086"/>
                <a:gd name="connsiteY24711" fmla="*/ 236983 h 3355086"/>
                <a:gd name="connsiteX24712" fmla="*/ 2517266 w 3359086"/>
                <a:gd name="connsiteY24712" fmla="*/ 233934 h 3355086"/>
                <a:gd name="connsiteX24713" fmla="*/ 2522886 w 3359086"/>
                <a:gd name="connsiteY24713" fmla="*/ 228314 h 3355086"/>
                <a:gd name="connsiteX24714" fmla="*/ 1440370 w 3359086"/>
                <a:gd name="connsiteY24714" fmla="*/ 227648 h 3355086"/>
                <a:gd name="connsiteX24715" fmla="*/ 1446561 w 3359086"/>
                <a:gd name="connsiteY24715" fmla="*/ 233839 h 3355086"/>
                <a:gd name="connsiteX24716" fmla="*/ 1440370 w 3359086"/>
                <a:gd name="connsiteY24716" fmla="*/ 240031 h 3355086"/>
                <a:gd name="connsiteX24717" fmla="*/ 1434179 w 3359086"/>
                <a:gd name="connsiteY24717" fmla="*/ 233839 h 3355086"/>
                <a:gd name="connsiteX24718" fmla="*/ 1440370 w 3359086"/>
                <a:gd name="connsiteY24718" fmla="*/ 227648 h 3355086"/>
                <a:gd name="connsiteX24719" fmla="*/ 1256823 w 3359086"/>
                <a:gd name="connsiteY24719" fmla="*/ 226219 h 3355086"/>
                <a:gd name="connsiteX24720" fmla="*/ 1263015 w 3359086"/>
                <a:gd name="connsiteY24720" fmla="*/ 232410 h 3355086"/>
                <a:gd name="connsiteX24721" fmla="*/ 1256823 w 3359086"/>
                <a:gd name="connsiteY24721" fmla="*/ 238602 h 3355086"/>
                <a:gd name="connsiteX24722" fmla="*/ 1250632 w 3359086"/>
                <a:gd name="connsiteY24722" fmla="*/ 232410 h 3355086"/>
                <a:gd name="connsiteX24723" fmla="*/ 1256823 w 3359086"/>
                <a:gd name="connsiteY24723" fmla="*/ 226219 h 3355086"/>
                <a:gd name="connsiteX24724" fmla="*/ 1084420 w 3359086"/>
                <a:gd name="connsiteY24724" fmla="*/ 224409 h 3355086"/>
                <a:gd name="connsiteX24725" fmla="*/ 1090612 w 3359086"/>
                <a:gd name="connsiteY24725" fmla="*/ 230600 h 3355086"/>
                <a:gd name="connsiteX24726" fmla="*/ 1084420 w 3359086"/>
                <a:gd name="connsiteY24726" fmla="*/ 236792 h 3355086"/>
                <a:gd name="connsiteX24727" fmla="*/ 1078229 w 3359086"/>
                <a:gd name="connsiteY24727" fmla="*/ 230600 h 3355086"/>
                <a:gd name="connsiteX24728" fmla="*/ 1084420 w 3359086"/>
                <a:gd name="connsiteY24728" fmla="*/ 224409 h 3355086"/>
                <a:gd name="connsiteX24729" fmla="*/ 1853945 w 3359086"/>
                <a:gd name="connsiteY24729" fmla="*/ 224219 h 3355086"/>
                <a:gd name="connsiteX24730" fmla="*/ 1860136 w 3359086"/>
                <a:gd name="connsiteY24730" fmla="*/ 230410 h 3355086"/>
                <a:gd name="connsiteX24731" fmla="*/ 1853945 w 3359086"/>
                <a:gd name="connsiteY24731" fmla="*/ 236601 h 3355086"/>
                <a:gd name="connsiteX24732" fmla="*/ 1847754 w 3359086"/>
                <a:gd name="connsiteY24732" fmla="*/ 230410 h 3355086"/>
                <a:gd name="connsiteX24733" fmla="*/ 1853945 w 3359086"/>
                <a:gd name="connsiteY24733" fmla="*/ 224219 h 3355086"/>
                <a:gd name="connsiteX24734" fmla="*/ 1165193 w 3359086"/>
                <a:gd name="connsiteY24734" fmla="*/ 222409 h 3355086"/>
                <a:gd name="connsiteX24735" fmla="*/ 1171385 w 3359086"/>
                <a:gd name="connsiteY24735" fmla="*/ 228600 h 3355086"/>
                <a:gd name="connsiteX24736" fmla="*/ 1165193 w 3359086"/>
                <a:gd name="connsiteY24736" fmla="*/ 234791 h 3355086"/>
                <a:gd name="connsiteX24737" fmla="*/ 1159002 w 3359086"/>
                <a:gd name="connsiteY24737" fmla="*/ 228600 h 3355086"/>
                <a:gd name="connsiteX24738" fmla="*/ 1165193 w 3359086"/>
                <a:gd name="connsiteY24738" fmla="*/ 222409 h 3355086"/>
                <a:gd name="connsiteX24739" fmla="*/ 2291524 w 3359086"/>
                <a:gd name="connsiteY24739" fmla="*/ 221647 h 3355086"/>
                <a:gd name="connsiteX24740" fmla="*/ 2297716 w 3359086"/>
                <a:gd name="connsiteY24740" fmla="*/ 227838 h 3355086"/>
                <a:gd name="connsiteX24741" fmla="*/ 2291524 w 3359086"/>
                <a:gd name="connsiteY24741" fmla="*/ 234029 h 3355086"/>
                <a:gd name="connsiteX24742" fmla="*/ 2285333 w 3359086"/>
                <a:gd name="connsiteY24742" fmla="*/ 227838 h 3355086"/>
                <a:gd name="connsiteX24743" fmla="*/ 2291524 w 3359086"/>
                <a:gd name="connsiteY24743" fmla="*/ 221647 h 3355086"/>
                <a:gd name="connsiteX24744" fmla="*/ 1522285 w 3359086"/>
                <a:gd name="connsiteY24744" fmla="*/ 220980 h 3355086"/>
                <a:gd name="connsiteX24745" fmla="*/ 1528477 w 3359086"/>
                <a:gd name="connsiteY24745" fmla="*/ 227171 h 3355086"/>
                <a:gd name="connsiteX24746" fmla="*/ 1522285 w 3359086"/>
                <a:gd name="connsiteY24746" fmla="*/ 233362 h 3355086"/>
                <a:gd name="connsiteX24747" fmla="*/ 1516094 w 3359086"/>
                <a:gd name="connsiteY24747" fmla="*/ 227171 h 3355086"/>
                <a:gd name="connsiteX24748" fmla="*/ 1522285 w 3359086"/>
                <a:gd name="connsiteY24748" fmla="*/ 220980 h 3355086"/>
                <a:gd name="connsiteX24749" fmla="*/ 1005649 w 3359086"/>
                <a:gd name="connsiteY24749" fmla="*/ 220123 h 3355086"/>
                <a:gd name="connsiteX24750" fmla="*/ 1011841 w 3359086"/>
                <a:gd name="connsiteY24750" fmla="*/ 226314 h 3355086"/>
                <a:gd name="connsiteX24751" fmla="*/ 1005649 w 3359086"/>
                <a:gd name="connsiteY24751" fmla="*/ 232505 h 3355086"/>
                <a:gd name="connsiteX24752" fmla="*/ 999458 w 3359086"/>
                <a:gd name="connsiteY24752" fmla="*/ 226314 h 3355086"/>
                <a:gd name="connsiteX24753" fmla="*/ 1005649 w 3359086"/>
                <a:gd name="connsiteY24753" fmla="*/ 220123 h 3355086"/>
                <a:gd name="connsiteX24754" fmla="*/ 2040635 w 3359086"/>
                <a:gd name="connsiteY24754" fmla="*/ 219932 h 3355086"/>
                <a:gd name="connsiteX24755" fmla="*/ 2046827 w 3359086"/>
                <a:gd name="connsiteY24755" fmla="*/ 226123 h 3355086"/>
                <a:gd name="connsiteX24756" fmla="*/ 2040635 w 3359086"/>
                <a:gd name="connsiteY24756" fmla="*/ 232314 h 3355086"/>
                <a:gd name="connsiteX24757" fmla="*/ 2034444 w 3359086"/>
                <a:gd name="connsiteY24757" fmla="*/ 226123 h 3355086"/>
                <a:gd name="connsiteX24758" fmla="*/ 2040635 w 3359086"/>
                <a:gd name="connsiteY24758" fmla="*/ 219932 h 3355086"/>
                <a:gd name="connsiteX24759" fmla="*/ 1771459 w 3359086"/>
                <a:gd name="connsiteY24759" fmla="*/ 218885 h 3355086"/>
                <a:gd name="connsiteX24760" fmla="*/ 1777651 w 3359086"/>
                <a:gd name="connsiteY24760" fmla="*/ 225076 h 3355086"/>
                <a:gd name="connsiteX24761" fmla="*/ 1771459 w 3359086"/>
                <a:gd name="connsiteY24761" fmla="*/ 231268 h 3355086"/>
                <a:gd name="connsiteX24762" fmla="*/ 1765268 w 3359086"/>
                <a:gd name="connsiteY24762" fmla="*/ 225076 h 3355086"/>
                <a:gd name="connsiteX24763" fmla="*/ 1771459 w 3359086"/>
                <a:gd name="connsiteY24763" fmla="*/ 218885 h 3355086"/>
                <a:gd name="connsiteX24764" fmla="*/ 1605152 w 3359086"/>
                <a:gd name="connsiteY24764" fmla="*/ 217265 h 3355086"/>
                <a:gd name="connsiteX24765" fmla="*/ 1611344 w 3359086"/>
                <a:gd name="connsiteY24765" fmla="*/ 223456 h 3355086"/>
                <a:gd name="connsiteX24766" fmla="*/ 1605152 w 3359086"/>
                <a:gd name="connsiteY24766" fmla="*/ 229648 h 3355086"/>
                <a:gd name="connsiteX24767" fmla="*/ 1598961 w 3359086"/>
                <a:gd name="connsiteY24767" fmla="*/ 223456 h 3355086"/>
                <a:gd name="connsiteX24768" fmla="*/ 1605152 w 3359086"/>
                <a:gd name="connsiteY24768" fmla="*/ 217265 h 3355086"/>
                <a:gd name="connsiteX24769" fmla="*/ 1688401 w 3359086"/>
                <a:gd name="connsiteY24769" fmla="*/ 216599 h 3355086"/>
                <a:gd name="connsiteX24770" fmla="*/ 1694593 w 3359086"/>
                <a:gd name="connsiteY24770" fmla="*/ 222790 h 3355086"/>
                <a:gd name="connsiteX24771" fmla="*/ 1688401 w 3359086"/>
                <a:gd name="connsiteY24771" fmla="*/ 228982 h 3355086"/>
                <a:gd name="connsiteX24772" fmla="*/ 1682210 w 3359086"/>
                <a:gd name="connsiteY24772" fmla="*/ 222790 h 3355086"/>
                <a:gd name="connsiteX24773" fmla="*/ 1688401 w 3359086"/>
                <a:gd name="connsiteY24773" fmla="*/ 216599 h 3355086"/>
                <a:gd name="connsiteX24774" fmla="*/ 2218181 w 3359086"/>
                <a:gd name="connsiteY24774" fmla="*/ 215837 h 3355086"/>
                <a:gd name="connsiteX24775" fmla="*/ 2224373 w 3359086"/>
                <a:gd name="connsiteY24775" fmla="*/ 222028 h 3355086"/>
                <a:gd name="connsiteX24776" fmla="*/ 2218181 w 3359086"/>
                <a:gd name="connsiteY24776" fmla="*/ 228220 h 3355086"/>
                <a:gd name="connsiteX24777" fmla="*/ 2211990 w 3359086"/>
                <a:gd name="connsiteY24777" fmla="*/ 222028 h 3355086"/>
                <a:gd name="connsiteX24778" fmla="*/ 2218181 w 3359086"/>
                <a:gd name="connsiteY24778" fmla="*/ 215837 h 3355086"/>
                <a:gd name="connsiteX24779" fmla="*/ 2134837 w 3359086"/>
                <a:gd name="connsiteY24779" fmla="*/ 214789 h 3355086"/>
                <a:gd name="connsiteX24780" fmla="*/ 2141029 w 3359086"/>
                <a:gd name="connsiteY24780" fmla="*/ 220980 h 3355086"/>
                <a:gd name="connsiteX24781" fmla="*/ 2134837 w 3359086"/>
                <a:gd name="connsiteY24781" fmla="*/ 227171 h 3355086"/>
                <a:gd name="connsiteX24782" fmla="*/ 2128646 w 3359086"/>
                <a:gd name="connsiteY24782" fmla="*/ 220980 h 3355086"/>
                <a:gd name="connsiteX24783" fmla="*/ 2134837 w 3359086"/>
                <a:gd name="connsiteY24783" fmla="*/ 214789 h 3355086"/>
                <a:gd name="connsiteX24784" fmla="*/ 857440 w 3359086"/>
                <a:gd name="connsiteY24784" fmla="*/ 214789 h 3355086"/>
                <a:gd name="connsiteX24785" fmla="*/ 860774 w 3359086"/>
                <a:gd name="connsiteY24785" fmla="*/ 218123 h 3355086"/>
                <a:gd name="connsiteX24786" fmla="*/ 859869 w 3359086"/>
                <a:gd name="connsiteY24786" fmla="*/ 219027 h 3355086"/>
                <a:gd name="connsiteX24787" fmla="*/ 864298 w 3359086"/>
                <a:gd name="connsiteY24787" fmla="*/ 223456 h 3355086"/>
                <a:gd name="connsiteX24788" fmla="*/ 862059 w 3359086"/>
                <a:gd name="connsiteY24788" fmla="*/ 225695 h 3355086"/>
                <a:gd name="connsiteX24789" fmla="*/ 864583 w 3359086"/>
                <a:gd name="connsiteY24789" fmla="*/ 228219 h 3355086"/>
                <a:gd name="connsiteX24790" fmla="*/ 862345 w 3359086"/>
                <a:gd name="connsiteY24790" fmla="*/ 230457 h 3355086"/>
                <a:gd name="connsiteX24791" fmla="*/ 864489 w 3359086"/>
                <a:gd name="connsiteY24791" fmla="*/ 232601 h 3355086"/>
                <a:gd name="connsiteX24792" fmla="*/ 862250 w 3359086"/>
                <a:gd name="connsiteY24792" fmla="*/ 234839 h 3355086"/>
                <a:gd name="connsiteX24793" fmla="*/ 864012 w 3359086"/>
                <a:gd name="connsiteY24793" fmla="*/ 236601 h 3355086"/>
                <a:gd name="connsiteX24794" fmla="*/ 861774 w 3359086"/>
                <a:gd name="connsiteY24794" fmla="*/ 238839 h 3355086"/>
                <a:gd name="connsiteX24795" fmla="*/ 863346 w 3359086"/>
                <a:gd name="connsiteY24795" fmla="*/ 240411 h 3355086"/>
                <a:gd name="connsiteX24796" fmla="*/ 861012 w 3359086"/>
                <a:gd name="connsiteY24796" fmla="*/ 242745 h 3355086"/>
                <a:gd name="connsiteX24797" fmla="*/ 862393 w 3359086"/>
                <a:gd name="connsiteY24797" fmla="*/ 244126 h 3355086"/>
                <a:gd name="connsiteX24798" fmla="*/ 859964 w 3359086"/>
                <a:gd name="connsiteY24798" fmla="*/ 246555 h 3355086"/>
                <a:gd name="connsiteX24799" fmla="*/ 861346 w 3359086"/>
                <a:gd name="connsiteY24799" fmla="*/ 247936 h 3355086"/>
                <a:gd name="connsiteX24800" fmla="*/ 858774 w 3359086"/>
                <a:gd name="connsiteY24800" fmla="*/ 250508 h 3355086"/>
                <a:gd name="connsiteX24801" fmla="*/ 860202 w 3359086"/>
                <a:gd name="connsiteY24801" fmla="*/ 251936 h 3355086"/>
                <a:gd name="connsiteX24802" fmla="*/ 857440 w 3359086"/>
                <a:gd name="connsiteY24802" fmla="*/ 254699 h 3355086"/>
                <a:gd name="connsiteX24803" fmla="*/ 859154 w 3359086"/>
                <a:gd name="connsiteY24803" fmla="*/ 256413 h 3355086"/>
                <a:gd name="connsiteX24804" fmla="*/ 856106 w 3359086"/>
                <a:gd name="connsiteY24804" fmla="*/ 259461 h 3355086"/>
                <a:gd name="connsiteX24805" fmla="*/ 858106 w 3359086"/>
                <a:gd name="connsiteY24805" fmla="*/ 261461 h 3355086"/>
                <a:gd name="connsiteX24806" fmla="*/ 854725 w 3359086"/>
                <a:gd name="connsiteY24806" fmla="*/ 264842 h 3355086"/>
                <a:gd name="connsiteX24807" fmla="*/ 857250 w 3359086"/>
                <a:gd name="connsiteY24807" fmla="*/ 267367 h 3355086"/>
                <a:gd name="connsiteX24808" fmla="*/ 853582 w 3359086"/>
                <a:gd name="connsiteY24808" fmla="*/ 271034 h 3355086"/>
                <a:gd name="connsiteX24809" fmla="*/ 856773 w 3359086"/>
                <a:gd name="connsiteY24809" fmla="*/ 274225 h 3355086"/>
                <a:gd name="connsiteX24810" fmla="*/ 852583 w 3359086"/>
                <a:gd name="connsiteY24810" fmla="*/ 278416 h 3355086"/>
                <a:gd name="connsiteX24811" fmla="*/ 856583 w 3359086"/>
                <a:gd name="connsiteY24811" fmla="*/ 282416 h 3355086"/>
                <a:gd name="connsiteX24812" fmla="*/ 851962 w 3359086"/>
                <a:gd name="connsiteY24812" fmla="*/ 287036 h 3355086"/>
                <a:gd name="connsiteX24813" fmla="*/ 856964 w 3359086"/>
                <a:gd name="connsiteY24813" fmla="*/ 292037 h 3355086"/>
                <a:gd name="connsiteX24814" fmla="*/ 850772 w 3359086"/>
                <a:gd name="connsiteY24814" fmla="*/ 298228 h 3355086"/>
                <a:gd name="connsiteX24815" fmla="*/ 844581 w 3359086"/>
                <a:gd name="connsiteY24815" fmla="*/ 292037 h 3355086"/>
                <a:gd name="connsiteX24816" fmla="*/ 849201 w 3359086"/>
                <a:gd name="connsiteY24816" fmla="*/ 287417 h 3355086"/>
                <a:gd name="connsiteX24817" fmla="*/ 844200 w 3359086"/>
                <a:gd name="connsiteY24817" fmla="*/ 282416 h 3355086"/>
                <a:gd name="connsiteX24818" fmla="*/ 848391 w 3359086"/>
                <a:gd name="connsiteY24818" fmla="*/ 278225 h 3355086"/>
                <a:gd name="connsiteX24819" fmla="*/ 844391 w 3359086"/>
                <a:gd name="connsiteY24819" fmla="*/ 274225 h 3355086"/>
                <a:gd name="connsiteX24820" fmla="*/ 848058 w 3359086"/>
                <a:gd name="connsiteY24820" fmla="*/ 270558 h 3355086"/>
                <a:gd name="connsiteX24821" fmla="*/ 844867 w 3359086"/>
                <a:gd name="connsiteY24821" fmla="*/ 267367 h 3355086"/>
                <a:gd name="connsiteX24822" fmla="*/ 848249 w 3359086"/>
                <a:gd name="connsiteY24822" fmla="*/ 263986 h 3355086"/>
                <a:gd name="connsiteX24823" fmla="*/ 845724 w 3359086"/>
                <a:gd name="connsiteY24823" fmla="*/ 261461 h 3355086"/>
                <a:gd name="connsiteX24824" fmla="*/ 848772 w 3359086"/>
                <a:gd name="connsiteY24824" fmla="*/ 258413 h 3355086"/>
                <a:gd name="connsiteX24825" fmla="*/ 846772 w 3359086"/>
                <a:gd name="connsiteY24825" fmla="*/ 256413 h 3355086"/>
                <a:gd name="connsiteX24826" fmla="*/ 849535 w 3359086"/>
                <a:gd name="connsiteY24826" fmla="*/ 253651 h 3355086"/>
                <a:gd name="connsiteX24827" fmla="*/ 847820 w 3359086"/>
                <a:gd name="connsiteY24827" fmla="*/ 251936 h 3355086"/>
                <a:gd name="connsiteX24828" fmla="*/ 850392 w 3359086"/>
                <a:gd name="connsiteY24828" fmla="*/ 249365 h 3355086"/>
                <a:gd name="connsiteX24829" fmla="*/ 848963 w 3359086"/>
                <a:gd name="connsiteY24829" fmla="*/ 247936 h 3355086"/>
                <a:gd name="connsiteX24830" fmla="*/ 851391 w 3359086"/>
                <a:gd name="connsiteY24830" fmla="*/ 245508 h 3355086"/>
                <a:gd name="connsiteX24831" fmla="*/ 850010 w 3359086"/>
                <a:gd name="connsiteY24831" fmla="*/ 244126 h 3355086"/>
                <a:gd name="connsiteX24832" fmla="*/ 852344 w 3359086"/>
                <a:gd name="connsiteY24832" fmla="*/ 241792 h 3355086"/>
                <a:gd name="connsiteX24833" fmla="*/ 850963 w 3359086"/>
                <a:gd name="connsiteY24833" fmla="*/ 240411 h 3355086"/>
                <a:gd name="connsiteX24834" fmla="*/ 853202 w 3359086"/>
                <a:gd name="connsiteY24834" fmla="*/ 238173 h 3355086"/>
                <a:gd name="connsiteX24835" fmla="*/ 851630 w 3359086"/>
                <a:gd name="connsiteY24835" fmla="*/ 236601 h 3355086"/>
                <a:gd name="connsiteX24836" fmla="*/ 853868 w 3359086"/>
                <a:gd name="connsiteY24836" fmla="*/ 234363 h 3355086"/>
                <a:gd name="connsiteX24837" fmla="*/ 852106 w 3359086"/>
                <a:gd name="connsiteY24837" fmla="*/ 232601 h 3355086"/>
                <a:gd name="connsiteX24838" fmla="*/ 854344 w 3359086"/>
                <a:gd name="connsiteY24838" fmla="*/ 230363 h 3355086"/>
                <a:gd name="connsiteX24839" fmla="*/ 852201 w 3359086"/>
                <a:gd name="connsiteY24839" fmla="*/ 228219 h 3355086"/>
                <a:gd name="connsiteX24840" fmla="*/ 854440 w 3359086"/>
                <a:gd name="connsiteY24840" fmla="*/ 225980 h 3355086"/>
                <a:gd name="connsiteX24841" fmla="*/ 851916 w 3359086"/>
                <a:gd name="connsiteY24841" fmla="*/ 223456 h 3355086"/>
                <a:gd name="connsiteX24842" fmla="*/ 855678 w 3359086"/>
                <a:gd name="connsiteY24842" fmla="*/ 219694 h 3355086"/>
                <a:gd name="connsiteX24843" fmla="*/ 854106 w 3359086"/>
                <a:gd name="connsiteY24843" fmla="*/ 218123 h 3355086"/>
                <a:gd name="connsiteX24844" fmla="*/ 857440 w 3359086"/>
                <a:gd name="connsiteY24844" fmla="*/ 214789 h 3355086"/>
                <a:gd name="connsiteX24845" fmla="*/ 2492501 w 3359086"/>
                <a:gd name="connsiteY24845" fmla="*/ 213646 h 3355086"/>
                <a:gd name="connsiteX24846" fmla="*/ 2498692 w 3359086"/>
                <a:gd name="connsiteY24846" fmla="*/ 219837 h 3355086"/>
                <a:gd name="connsiteX24847" fmla="*/ 2495073 w 3359086"/>
                <a:gd name="connsiteY24847" fmla="*/ 223456 h 3355086"/>
                <a:gd name="connsiteX24848" fmla="*/ 2497741 w 3359086"/>
                <a:gd name="connsiteY24848" fmla="*/ 226123 h 3355086"/>
                <a:gd name="connsiteX24849" fmla="*/ 2494692 w 3359086"/>
                <a:gd name="connsiteY24849" fmla="*/ 229172 h 3355086"/>
                <a:gd name="connsiteX24850" fmla="*/ 2497359 w 3359086"/>
                <a:gd name="connsiteY24850" fmla="*/ 231839 h 3355086"/>
                <a:gd name="connsiteX24851" fmla="*/ 2494835 w 3359086"/>
                <a:gd name="connsiteY24851" fmla="*/ 234363 h 3355086"/>
                <a:gd name="connsiteX24852" fmla="*/ 2497455 w 3359086"/>
                <a:gd name="connsiteY24852" fmla="*/ 236982 h 3355086"/>
                <a:gd name="connsiteX24853" fmla="*/ 2495312 w 3359086"/>
                <a:gd name="connsiteY24853" fmla="*/ 239126 h 3355086"/>
                <a:gd name="connsiteX24854" fmla="*/ 2497930 w 3359086"/>
                <a:gd name="connsiteY24854" fmla="*/ 241744 h 3355086"/>
                <a:gd name="connsiteX24855" fmla="*/ 2496120 w 3359086"/>
                <a:gd name="connsiteY24855" fmla="*/ 243554 h 3355086"/>
                <a:gd name="connsiteX24856" fmla="*/ 2498692 w 3359086"/>
                <a:gd name="connsiteY24856" fmla="*/ 246126 h 3355086"/>
                <a:gd name="connsiteX24857" fmla="*/ 2497168 w 3359086"/>
                <a:gd name="connsiteY24857" fmla="*/ 247650 h 3355086"/>
                <a:gd name="connsiteX24858" fmla="*/ 2499836 w 3359086"/>
                <a:gd name="connsiteY24858" fmla="*/ 250317 h 3355086"/>
                <a:gd name="connsiteX24859" fmla="*/ 2498550 w 3359086"/>
                <a:gd name="connsiteY24859" fmla="*/ 251603 h 3355086"/>
                <a:gd name="connsiteX24860" fmla="*/ 2501265 w 3359086"/>
                <a:gd name="connsiteY24860" fmla="*/ 254318 h 3355086"/>
                <a:gd name="connsiteX24861" fmla="*/ 2499979 w 3359086"/>
                <a:gd name="connsiteY24861" fmla="*/ 255604 h 3355086"/>
                <a:gd name="connsiteX24862" fmla="*/ 2502883 w 3359086"/>
                <a:gd name="connsiteY24862" fmla="*/ 258508 h 3355086"/>
                <a:gd name="connsiteX24863" fmla="*/ 2501550 w 3359086"/>
                <a:gd name="connsiteY24863" fmla="*/ 259841 h 3355086"/>
                <a:gd name="connsiteX24864" fmla="*/ 2504599 w 3359086"/>
                <a:gd name="connsiteY24864" fmla="*/ 262890 h 3355086"/>
                <a:gd name="connsiteX24865" fmla="*/ 2503122 w 3359086"/>
                <a:gd name="connsiteY24865" fmla="*/ 264367 h 3355086"/>
                <a:gd name="connsiteX24866" fmla="*/ 2506408 w 3359086"/>
                <a:gd name="connsiteY24866" fmla="*/ 267653 h 3355086"/>
                <a:gd name="connsiteX24867" fmla="*/ 2504551 w 3359086"/>
                <a:gd name="connsiteY24867" fmla="*/ 269510 h 3355086"/>
                <a:gd name="connsiteX24868" fmla="*/ 2508123 w 3359086"/>
                <a:gd name="connsiteY24868" fmla="*/ 273082 h 3355086"/>
                <a:gd name="connsiteX24869" fmla="*/ 2505884 w 3359086"/>
                <a:gd name="connsiteY24869" fmla="*/ 275321 h 3355086"/>
                <a:gd name="connsiteX24870" fmla="*/ 2509741 w 3359086"/>
                <a:gd name="connsiteY24870" fmla="*/ 279178 h 3355086"/>
                <a:gd name="connsiteX24871" fmla="*/ 2506836 w 3359086"/>
                <a:gd name="connsiteY24871" fmla="*/ 282083 h 3355086"/>
                <a:gd name="connsiteX24872" fmla="*/ 2511171 w 3359086"/>
                <a:gd name="connsiteY24872" fmla="*/ 286417 h 3355086"/>
                <a:gd name="connsiteX24873" fmla="*/ 2507503 w 3359086"/>
                <a:gd name="connsiteY24873" fmla="*/ 290084 h 3355086"/>
                <a:gd name="connsiteX24874" fmla="*/ 2512218 w 3359086"/>
                <a:gd name="connsiteY24874" fmla="*/ 294799 h 3355086"/>
                <a:gd name="connsiteX24875" fmla="*/ 2507598 w 3359086"/>
                <a:gd name="connsiteY24875" fmla="*/ 299419 h 3355086"/>
                <a:gd name="connsiteX24876" fmla="*/ 2512885 w 3359086"/>
                <a:gd name="connsiteY24876" fmla="*/ 304705 h 3355086"/>
                <a:gd name="connsiteX24877" fmla="*/ 2507123 w 3359086"/>
                <a:gd name="connsiteY24877" fmla="*/ 310468 h 3355086"/>
                <a:gd name="connsiteX24878" fmla="*/ 2512980 w 3359086"/>
                <a:gd name="connsiteY24878" fmla="*/ 316325 h 3355086"/>
                <a:gd name="connsiteX24879" fmla="*/ 2506789 w 3359086"/>
                <a:gd name="connsiteY24879" fmla="*/ 322516 h 3355086"/>
                <a:gd name="connsiteX24880" fmla="*/ 2500598 w 3359086"/>
                <a:gd name="connsiteY24880" fmla="*/ 316325 h 3355086"/>
                <a:gd name="connsiteX24881" fmla="*/ 2506360 w 3359086"/>
                <a:gd name="connsiteY24881" fmla="*/ 310564 h 3355086"/>
                <a:gd name="connsiteX24882" fmla="*/ 2500502 w 3359086"/>
                <a:gd name="connsiteY24882" fmla="*/ 304705 h 3355086"/>
                <a:gd name="connsiteX24883" fmla="*/ 2505122 w 3359086"/>
                <a:gd name="connsiteY24883" fmla="*/ 300085 h 3355086"/>
                <a:gd name="connsiteX24884" fmla="*/ 2499836 w 3359086"/>
                <a:gd name="connsiteY24884" fmla="*/ 294799 h 3355086"/>
                <a:gd name="connsiteX24885" fmla="*/ 2503503 w 3359086"/>
                <a:gd name="connsiteY24885" fmla="*/ 291132 h 3355086"/>
                <a:gd name="connsiteX24886" fmla="*/ 2498788 w 3359086"/>
                <a:gd name="connsiteY24886" fmla="*/ 286417 h 3355086"/>
                <a:gd name="connsiteX24887" fmla="*/ 2501693 w 3359086"/>
                <a:gd name="connsiteY24887" fmla="*/ 283512 h 3355086"/>
                <a:gd name="connsiteX24888" fmla="*/ 2497359 w 3359086"/>
                <a:gd name="connsiteY24888" fmla="*/ 279178 h 3355086"/>
                <a:gd name="connsiteX24889" fmla="*/ 2499598 w 3359086"/>
                <a:gd name="connsiteY24889" fmla="*/ 276940 h 3355086"/>
                <a:gd name="connsiteX24890" fmla="*/ 2495740 w 3359086"/>
                <a:gd name="connsiteY24890" fmla="*/ 273082 h 3355086"/>
                <a:gd name="connsiteX24891" fmla="*/ 2497597 w 3359086"/>
                <a:gd name="connsiteY24891" fmla="*/ 271225 h 3355086"/>
                <a:gd name="connsiteX24892" fmla="*/ 2494025 w 3359086"/>
                <a:gd name="connsiteY24892" fmla="*/ 267653 h 3355086"/>
                <a:gd name="connsiteX24893" fmla="*/ 2495502 w 3359086"/>
                <a:gd name="connsiteY24893" fmla="*/ 266176 h 3355086"/>
                <a:gd name="connsiteX24894" fmla="*/ 2492216 w 3359086"/>
                <a:gd name="connsiteY24894" fmla="*/ 262890 h 3355086"/>
                <a:gd name="connsiteX24895" fmla="*/ 2493549 w 3359086"/>
                <a:gd name="connsiteY24895" fmla="*/ 261557 h 3355086"/>
                <a:gd name="connsiteX24896" fmla="*/ 2490501 w 3359086"/>
                <a:gd name="connsiteY24896" fmla="*/ 258508 h 3355086"/>
                <a:gd name="connsiteX24897" fmla="*/ 2491786 w 3359086"/>
                <a:gd name="connsiteY24897" fmla="*/ 257223 h 3355086"/>
                <a:gd name="connsiteX24898" fmla="*/ 2488882 w 3359086"/>
                <a:gd name="connsiteY24898" fmla="*/ 254318 h 3355086"/>
                <a:gd name="connsiteX24899" fmla="*/ 2490168 w 3359086"/>
                <a:gd name="connsiteY24899" fmla="*/ 253032 h 3355086"/>
                <a:gd name="connsiteX24900" fmla="*/ 2487453 w 3359086"/>
                <a:gd name="connsiteY24900" fmla="*/ 250317 h 3355086"/>
                <a:gd name="connsiteX24901" fmla="*/ 2488977 w 3359086"/>
                <a:gd name="connsiteY24901" fmla="*/ 248793 h 3355086"/>
                <a:gd name="connsiteX24902" fmla="*/ 2486310 w 3359086"/>
                <a:gd name="connsiteY24902" fmla="*/ 246126 h 3355086"/>
                <a:gd name="connsiteX24903" fmla="*/ 2488120 w 3359086"/>
                <a:gd name="connsiteY24903" fmla="*/ 244316 h 3355086"/>
                <a:gd name="connsiteX24904" fmla="*/ 2485548 w 3359086"/>
                <a:gd name="connsiteY24904" fmla="*/ 241744 h 3355086"/>
                <a:gd name="connsiteX24905" fmla="*/ 2487691 w 3359086"/>
                <a:gd name="connsiteY24905" fmla="*/ 239601 h 3355086"/>
                <a:gd name="connsiteX24906" fmla="*/ 2485072 w 3359086"/>
                <a:gd name="connsiteY24906" fmla="*/ 236982 h 3355086"/>
                <a:gd name="connsiteX24907" fmla="*/ 2487596 w 3359086"/>
                <a:gd name="connsiteY24907" fmla="*/ 234458 h 3355086"/>
                <a:gd name="connsiteX24908" fmla="*/ 2484977 w 3359086"/>
                <a:gd name="connsiteY24908" fmla="*/ 231839 h 3355086"/>
                <a:gd name="connsiteX24909" fmla="*/ 2488025 w 3359086"/>
                <a:gd name="connsiteY24909" fmla="*/ 228791 h 3355086"/>
                <a:gd name="connsiteX24910" fmla="*/ 2485358 w 3359086"/>
                <a:gd name="connsiteY24910" fmla="*/ 226123 h 3355086"/>
                <a:gd name="connsiteX24911" fmla="*/ 2488977 w 3359086"/>
                <a:gd name="connsiteY24911" fmla="*/ 222504 h 3355086"/>
                <a:gd name="connsiteX24912" fmla="*/ 2486310 w 3359086"/>
                <a:gd name="connsiteY24912" fmla="*/ 219837 h 3355086"/>
                <a:gd name="connsiteX24913" fmla="*/ 2492501 w 3359086"/>
                <a:gd name="connsiteY24913" fmla="*/ 213646 h 3355086"/>
                <a:gd name="connsiteX24914" fmla="*/ 1332070 w 3359086"/>
                <a:gd name="connsiteY24914" fmla="*/ 213265 h 3355086"/>
                <a:gd name="connsiteX24915" fmla="*/ 1338262 w 3359086"/>
                <a:gd name="connsiteY24915" fmla="*/ 219456 h 3355086"/>
                <a:gd name="connsiteX24916" fmla="*/ 1332070 w 3359086"/>
                <a:gd name="connsiteY24916" fmla="*/ 225648 h 3355086"/>
                <a:gd name="connsiteX24917" fmla="*/ 1325879 w 3359086"/>
                <a:gd name="connsiteY24917" fmla="*/ 219456 h 3355086"/>
                <a:gd name="connsiteX24918" fmla="*/ 1332070 w 3359086"/>
                <a:gd name="connsiteY24918" fmla="*/ 213265 h 3355086"/>
                <a:gd name="connsiteX24919" fmla="*/ 2493930 w 3359086"/>
                <a:gd name="connsiteY24919" fmla="*/ 211265 h 3355086"/>
                <a:gd name="connsiteX24920" fmla="*/ 2495359 w 3359086"/>
                <a:gd name="connsiteY24920" fmla="*/ 212694 h 3355086"/>
                <a:gd name="connsiteX24921" fmla="*/ 2493930 w 3359086"/>
                <a:gd name="connsiteY24921" fmla="*/ 214122 h 3355086"/>
                <a:gd name="connsiteX24922" fmla="*/ 2492501 w 3359086"/>
                <a:gd name="connsiteY24922" fmla="*/ 212694 h 3355086"/>
                <a:gd name="connsiteX24923" fmla="*/ 2493930 w 3359086"/>
                <a:gd name="connsiteY24923" fmla="*/ 211265 h 3355086"/>
                <a:gd name="connsiteX24924" fmla="*/ 1072514 w 3359086"/>
                <a:gd name="connsiteY24924" fmla="*/ 211265 h 3355086"/>
                <a:gd name="connsiteX24925" fmla="*/ 1078706 w 3359086"/>
                <a:gd name="connsiteY24925" fmla="*/ 217456 h 3355086"/>
                <a:gd name="connsiteX24926" fmla="*/ 1072514 w 3359086"/>
                <a:gd name="connsiteY24926" fmla="*/ 223647 h 3355086"/>
                <a:gd name="connsiteX24927" fmla="*/ 1066323 w 3359086"/>
                <a:gd name="connsiteY24927" fmla="*/ 217456 h 3355086"/>
                <a:gd name="connsiteX24928" fmla="*/ 1072514 w 3359086"/>
                <a:gd name="connsiteY24928" fmla="*/ 211265 h 3355086"/>
                <a:gd name="connsiteX24929" fmla="*/ 998791 w 3359086"/>
                <a:gd name="connsiteY24929" fmla="*/ 211265 h 3355086"/>
                <a:gd name="connsiteX24930" fmla="*/ 1004983 w 3359086"/>
                <a:gd name="connsiteY24930" fmla="*/ 217456 h 3355086"/>
                <a:gd name="connsiteX24931" fmla="*/ 998791 w 3359086"/>
                <a:gd name="connsiteY24931" fmla="*/ 223647 h 3355086"/>
                <a:gd name="connsiteX24932" fmla="*/ 992600 w 3359086"/>
                <a:gd name="connsiteY24932" fmla="*/ 217456 h 3355086"/>
                <a:gd name="connsiteX24933" fmla="*/ 998791 w 3359086"/>
                <a:gd name="connsiteY24933" fmla="*/ 211265 h 3355086"/>
                <a:gd name="connsiteX24934" fmla="*/ 2300668 w 3359086"/>
                <a:gd name="connsiteY24934" fmla="*/ 210789 h 3355086"/>
                <a:gd name="connsiteX24935" fmla="*/ 2306860 w 3359086"/>
                <a:gd name="connsiteY24935" fmla="*/ 216980 h 3355086"/>
                <a:gd name="connsiteX24936" fmla="*/ 2300668 w 3359086"/>
                <a:gd name="connsiteY24936" fmla="*/ 223171 h 3355086"/>
                <a:gd name="connsiteX24937" fmla="*/ 2294477 w 3359086"/>
                <a:gd name="connsiteY24937" fmla="*/ 216980 h 3355086"/>
                <a:gd name="connsiteX24938" fmla="*/ 2300668 w 3359086"/>
                <a:gd name="connsiteY24938" fmla="*/ 210789 h 3355086"/>
                <a:gd name="connsiteX24939" fmla="*/ 1964531 w 3359086"/>
                <a:gd name="connsiteY24939" fmla="*/ 208122 h 3355086"/>
                <a:gd name="connsiteX24940" fmla="*/ 1970722 w 3359086"/>
                <a:gd name="connsiteY24940" fmla="*/ 214313 h 3355086"/>
                <a:gd name="connsiteX24941" fmla="*/ 1964531 w 3359086"/>
                <a:gd name="connsiteY24941" fmla="*/ 220504 h 3355086"/>
                <a:gd name="connsiteX24942" fmla="*/ 1958340 w 3359086"/>
                <a:gd name="connsiteY24942" fmla="*/ 214313 h 3355086"/>
                <a:gd name="connsiteX24943" fmla="*/ 1964531 w 3359086"/>
                <a:gd name="connsiteY24943" fmla="*/ 208122 h 3355086"/>
                <a:gd name="connsiteX24944" fmla="*/ 1235011 w 3359086"/>
                <a:gd name="connsiteY24944" fmla="*/ 206598 h 3355086"/>
                <a:gd name="connsiteX24945" fmla="*/ 1241203 w 3359086"/>
                <a:gd name="connsiteY24945" fmla="*/ 212789 h 3355086"/>
                <a:gd name="connsiteX24946" fmla="*/ 1235011 w 3359086"/>
                <a:gd name="connsiteY24946" fmla="*/ 218980 h 3355086"/>
                <a:gd name="connsiteX24947" fmla="*/ 1228820 w 3359086"/>
                <a:gd name="connsiteY24947" fmla="*/ 212789 h 3355086"/>
                <a:gd name="connsiteX24948" fmla="*/ 1235011 w 3359086"/>
                <a:gd name="connsiteY24948" fmla="*/ 206598 h 3355086"/>
                <a:gd name="connsiteX24949" fmla="*/ 1148714 w 3359086"/>
                <a:gd name="connsiteY24949" fmla="*/ 206407 h 3355086"/>
                <a:gd name="connsiteX24950" fmla="*/ 1154906 w 3359086"/>
                <a:gd name="connsiteY24950" fmla="*/ 212598 h 3355086"/>
                <a:gd name="connsiteX24951" fmla="*/ 1148714 w 3359086"/>
                <a:gd name="connsiteY24951" fmla="*/ 218789 h 3355086"/>
                <a:gd name="connsiteX24952" fmla="*/ 1142523 w 3359086"/>
                <a:gd name="connsiteY24952" fmla="*/ 212598 h 3355086"/>
                <a:gd name="connsiteX24953" fmla="*/ 1148714 w 3359086"/>
                <a:gd name="connsiteY24953" fmla="*/ 206407 h 3355086"/>
                <a:gd name="connsiteX24954" fmla="*/ 1409128 w 3359086"/>
                <a:gd name="connsiteY24954" fmla="*/ 202883 h 3355086"/>
                <a:gd name="connsiteX24955" fmla="*/ 1415320 w 3359086"/>
                <a:gd name="connsiteY24955" fmla="*/ 209074 h 3355086"/>
                <a:gd name="connsiteX24956" fmla="*/ 1409128 w 3359086"/>
                <a:gd name="connsiteY24956" fmla="*/ 215265 h 3355086"/>
                <a:gd name="connsiteX24957" fmla="*/ 1402937 w 3359086"/>
                <a:gd name="connsiteY24957" fmla="*/ 209074 h 3355086"/>
                <a:gd name="connsiteX24958" fmla="*/ 1409128 w 3359086"/>
                <a:gd name="connsiteY24958" fmla="*/ 202883 h 3355086"/>
                <a:gd name="connsiteX24959" fmla="*/ 2231421 w 3359086"/>
                <a:gd name="connsiteY24959" fmla="*/ 202597 h 3355086"/>
                <a:gd name="connsiteX24960" fmla="*/ 2237612 w 3359086"/>
                <a:gd name="connsiteY24960" fmla="*/ 208788 h 3355086"/>
                <a:gd name="connsiteX24961" fmla="*/ 2231421 w 3359086"/>
                <a:gd name="connsiteY24961" fmla="*/ 214979 h 3355086"/>
                <a:gd name="connsiteX24962" fmla="*/ 2225230 w 3359086"/>
                <a:gd name="connsiteY24962" fmla="*/ 208788 h 3355086"/>
                <a:gd name="connsiteX24963" fmla="*/ 2231421 w 3359086"/>
                <a:gd name="connsiteY24963" fmla="*/ 202597 h 3355086"/>
                <a:gd name="connsiteX24964" fmla="*/ 2308478 w 3359086"/>
                <a:gd name="connsiteY24964" fmla="*/ 202026 h 3355086"/>
                <a:gd name="connsiteX24965" fmla="*/ 2314669 w 3359086"/>
                <a:gd name="connsiteY24965" fmla="*/ 208217 h 3355086"/>
                <a:gd name="connsiteX24966" fmla="*/ 2308478 w 3359086"/>
                <a:gd name="connsiteY24966" fmla="*/ 214408 h 3355086"/>
                <a:gd name="connsiteX24967" fmla="*/ 2302287 w 3359086"/>
                <a:gd name="connsiteY24967" fmla="*/ 208217 h 3355086"/>
                <a:gd name="connsiteX24968" fmla="*/ 2308478 w 3359086"/>
                <a:gd name="connsiteY24968" fmla="*/ 202026 h 3355086"/>
                <a:gd name="connsiteX24969" fmla="*/ 1062037 w 3359086"/>
                <a:gd name="connsiteY24969" fmla="*/ 200406 h 3355086"/>
                <a:gd name="connsiteX24970" fmla="*/ 1068229 w 3359086"/>
                <a:gd name="connsiteY24970" fmla="*/ 206597 h 3355086"/>
                <a:gd name="connsiteX24971" fmla="*/ 1062037 w 3359086"/>
                <a:gd name="connsiteY24971" fmla="*/ 212788 h 3355086"/>
                <a:gd name="connsiteX24972" fmla="*/ 1055846 w 3359086"/>
                <a:gd name="connsiteY24972" fmla="*/ 206597 h 3355086"/>
                <a:gd name="connsiteX24973" fmla="*/ 1062037 w 3359086"/>
                <a:gd name="connsiteY24973" fmla="*/ 200406 h 3355086"/>
                <a:gd name="connsiteX24974" fmla="*/ 2064067 w 3359086"/>
                <a:gd name="connsiteY24974" fmla="*/ 200025 h 3355086"/>
                <a:gd name="connsiteX24975" fmla="*/ 2070259 w 3359086"/>
                <a:gd name="connsiteY24975" fmla="*/ 206216 h 3355086"/>
                <a:gd name="connsiteX24976" fmla="*/ 2064067 w 3359086"/>
                <a:gd name="connsiteY24976" fmla="*/ 212408 h 3355086"/>
                <a:gd name="connsiteX24977" fmla="*/ 2057876 w 3359086"/>
                <a:gd name="connsiteY24977" fmla="*/ 206216 h 3355086"/>
                <a:gd name="connsiteX24978" fmla="*/ 2064067 w 3359086"/>
                <a:gd name="connsiteY24978" fmla="*/ 200025 h 3355086"/>
                <a:gd name="connsiteX24979" fmla="*/ 1886711 w 3359086"/>
                <a:gd name="connsiteY24979" fmla="*/ 198882 h 3355086"/>
                <a:gd name="connsiteX24980" fmla="*/ 1892903 w 3359086"/>
                <a:gd name="connsiteY24980" fmla="*/ 205073 h 3355086"/>
                <a:gd name="connsiteX24981" fmla="*/ 1886711 w 3359086"/>
                <a:gd name="connsiteY24981" fmla="*/ 211264 h 3355086"/>
                <a:gd name="connsiteX24982" fmla="*/ 1880520 w 3359086"/>
                <a:gd name="connsiteY24982" fmla="*/ 205073 h 3355086"/>
                <a:gd name="connsiteX24983" fmla="*/ 1886711 w 3359086"/>
                <a:gd name="connsiteY24983" fmla="*/ 198882 h 3355086"/>
                <a:gd name="connsiteX24984" fmla="*/ 2152840 w 3359086"/>
                <a:gd name="connsiteY24984" fmla="*/ 198597 h 3355086"/>
                <a:gd name="connsiteX24985" fmla="*/ 2159032 w 3359086"/>
                <a:gd name="connsiteY24985" fmla="*/ 204788 h 3355086"/>
                <a:gd name="connsiteX24986" fmla="*/ 2152840 w 3359086"/>
                <a:gd name="connsiteY24986" fmla="*/ 210979 h 3355086"/>
                <a:gd name="connsiteX24987" fmla="*/ 2146649 w 3359086"/>
                <a:gd name="connsiteY24987" fmla="*/ 204788 h 3355086"/>
                <a:gd name="connsiteX24988" fmla="*/ 2152840 w 3359086"/>
                <a:gd name="connsiteY24988" fmla="*/ 198597 h 3355086"/>
                <a:gd name="connsiteX24989" fmla="*/ 887824 w 3359086"/>
                <a:gd name="connsiteY24989" fmla="*/ 197930 h 3355086"/>
                <a:gd name="connsiteX24990" fmla="*/ 887920 w 3359086"/>
                <a:gd name="connsiteY24990" fmla="*/ 198025 h 3355086"/>
                <a:gd name="connsiteX24991" fmla="*/ 887824 w 3359086"/>
                <a:gd name="connsiteY24991" fmla="*/ 198121 h 3355086"/>
                <a:gd name="connsiteX24992" fmla="*/ 887729 w 3359086"/>
                <a:gd name="connsiteY24992" fmla="*/ 198025 h 3355086"/>
                <a:gd name="connsiteX24993" fmla="*/ 887824 w 3359086"/>
                <a:gd name="connsiteY24993" fmla="*/ 197930 h 3355086"/>
                <a:gd name="connsiteX24994" fmla="*/ 889539 w 3359086"/>
                <a:gd name="connsiteY24994" fmla="*/ 197073 h 3355086"/>
                <a:gd name="connsiteX24995" fmla="*/ 895635 w 3359086"/>
                <a:gd name="connsiteY24995" fmla="*/ 203169 h 3355086"/>
                <a:gd name="connsiteX24996" fmla="*/ 893968 w 3359086"/>
                <a:gd name="connsiteY24996" fmla="*/ 204836 h 3355086"/>
                <a:gd name="connsiteX24997" fmla="*/ 897064 w 3359086"/>
                <a:gd name="connsiteY24997" fmla="*/ 207931 h 3355086"/>
                <a:gd name="connsiteX24998" fmla="*/ 895492 w 3359086"/>
                <a:gd name="connsiteY24998" fmla="*/ 209503 h 3355086"/>
                <a:gd name="connsiteX24999" fmla="*/ 897921 w 3359086"/>
                <a:gd name="connsiteY24999" fmla="*/ 211931 h 3355086"/>
                <a:gd name="connsiteX25000" fmla="*/ 896397 w 3359086"/>
                <a:gd name="connsiteY25000" fmla="*/ 213455 h 3355086"/>
                <a:gd name="connsiteX25001" fmla="*/ 898588 w 3359086"/>
                <a:gd name="connsiteY25001" fmla="*/ 215646 h 3355086"/>
                <a:gd name="connsiteX25002" fmla="*/ 897112 w 3359086"/>
                <a:gd name="connsiteY25002" fmla="*/ 217123 h 3355086"/>
                <a:gd name="connsiteX25003" fmla="*/ 898969 w 3359086"/>
                <a:gd name="connsiteY25003" fmla="*/ 218980 h 3355086"/>
                <a:gd name="connsiteX25004" fmla="*/ 897540 w 3359086"/>
                <a:gd name="connsiteY25004" fmla="*/ 220409 h 3355086"/>
                <a:gd name="connsiteX25005" fmla="*/ 899255 w 3359086"/>
                <a:gd name="connsiteY25005" fmla="*/ 222123 h 3355086"/>
                <a:gd name="connsiteX25006" fmla="*/ 897778 w 3359086"/>
                <a:gd name="connsiteY25006" fmla="*/ 223600 h 3355086"/>
                <a:gd name="connsiteX25007" fmla="*/ 899350 w 3359086"/>
                <a:gd name="connsiteY25007" fmla="*/ 225171 h 3355086"/>
                <a:gd name="connsiteX25008" fmla="*/ 897731 w 3359086"/>
                <a:gd name="connsiteY25008" fmla="*/ 226790 h 3355086"/>
                <a:gd name="connsiteX25009" fmla="*/ 899350 w 3359086"/>
                <a:gd name="connsiteY25009" fmla="*/ 228409 h 3355086"/>
                <a:gd name="connsiteX25010" fmla="*/ 897683 w 3359086"/>
                <a:gd name="connsiteY25010" fmla="*/ 230076 h 3355086"/>
                <a:gd name="connsiteX25011" fmla="*/ 899446 w 3359086"/>
                <a:gd name="connsiteY25011" fmla="*/ 231839 h 3355086"/>
                <a:gd name="connsiteX25012" fmla="*/ 897636 w 3359086"/>
                <a:gd name="connsiteY25012" fmla="*/ 233649 h 3355086"/>
                <a:gd name="connsiteX25013" fmla="*/ 899731 w 3359086"/>
                <a:gd name="connsiteY25013" fmla="*/ 235744 h 3355086"/>
                <a:gd name="connsiteX25014" fmla="*/ 897683 w 3359086"/>
                <a:gd name="connsiteY25014" fmla="*/ 237792 h 3355086"/>
                <a:gd name="connsiteX25015" fmla="*/ 900112 w 3359086"/>
                <a:gd name="connsiteY25015" fmla="*/ 240220 h 3355086"/>
                <a:gd name="connsiteX25016" fmla="*/ 897778 w 3359086"/>
                <a:gd name="connsiteY25016" fmla="*/ 242554 h 3355086"/>
                <a:gd name="connsiteX25017" fmla="*/ 900874 w 3359086"/>
                <a:gd name="connsiteY25017" fmla="*/ 245650 h 3355086"/>
                <a:gd name="connsiteX25018" fmla="*/ 898207 w 3359086"/>
                <a:gd name="connsiteY25018" fmla="*/ 248317 h 3355086"/>
                <a:gd name="connsiteX25019" fmla="*/ 902017 w 3359086"/>
                <a:gd name="connsiteY25019" fmla="*/ 252127 h 3355086"/>
                <a:gd name="connsiteX25020" fmla="*/ 898969 w 3359086"/>
                <a:gd name="connsiteY25020" fmla="*/ 255175 h 3355086"/>
                <a:gd name="connsiteX25021" fmla="*/ 903731 w 3359086"/>
                <a:gd name="connsiteY25021" fmla="*/ 259937 h 3355086"/>
                <a:gd name="connsiteX25022" fmla="*/ 900302 w 3359086"/>
                <a:gd name="connsiteY25022" fmla="*/ 263367 h 3355086"/>
                <a:gd name="connsiteX25023" fmla="*/ 906112 w 3359086"/>
                <a:gd name="connsiteY25023" fmla="*/ 269177 h 3355086"/>
                <a:gd name="connsiteX25024" fmla="*/ 899921 w 3359086"/>
                <a:gd name="connsiteY25024" fmla="*/ 275368 h 3355086"/>
                <a:gd name="connsiteX25025" fmla="*/ 893730 w 3359086"/>
                <a:gd name="connsiteY25025" fmla="*/ 269177 h 3355086"/>
                <a:gd name="connsiteX25026" fmla="*/ 897159 w 3359086"/>
                <a:gd name="connsiteY25026" fmla="*/ 265748 h 3355086"/>
                <a:gd name="connsiteX25027" fmla="*/ 891349 w 3359086"/>
                <a:gd name="connsiteY25027" fmla="*/ 259937 h 3355086"/>
                <a:gd name="connsiteX25028" fmla="*/ 894397 w 3359086"/>
                <a:gd name="connsiteY25028" fmla="*/ 256890 h 3355086"/>
                <a:gd name="connsiteX25029" fmla="*/ 889635 w 3359086"/>
                <a:gd name="connsiteY25029" fmla="*/ 252127 h 3355086"/>
                <a:gd name="connsiteX25030" fmla="*/ 892301 w 3359086"/>
                <a:gd name="connsiteY25030" fmla="*/ 249461 h 3355086"/>
                <a:gd name="connsiteX25031" fmla="*/ 888491 w 3359086"/>
                <a:gd name="connsiteY25031" fmla="*/ 245650 h 3355086"/>
                <a:gd name="connsiteX25032" fmla="*/ 890825 w 3359086"/>
                <a:gd name="connsiteY25032" fmla="*/ 243316 h 3355086"/>
                <a:gd name="connsiteX25033" fmla="*/ 887729 w 3359086"/>
                <a:gd name="connsiteY25033" fmla="*/ 240220 h 3355086"/>
                <a:gd name="connsiteX25034" fmla="*/ 889777 w 3359086"/>
                <a:gd name="connsiteY25034" fmla="*/ 238172 h 3355086"/>
                <a:gd name="connsiteX25035" fmla="*/ 887349 w 3359086"/>
                <a:gd name="connsiteY25035" fmla="*/ 235744 h 3355086"/>
                <a:gd name="connsiteX25036" fmla="*/ 889159 w 3359086"/>
                <a:gd name="connsiteY25036" fmla="*/ 233935 h 3355086"/>
                <a:gd name="connsiteX25037" fmla="*/ 887063 w 3359086"/>
                <a:gd name="connsiteY25037" fmla="*/ 231839 h 3355086"/>
                <a:gd name="connsiteX25038" fmla="*/ 888730 w 3359086"/>
                <a:gd name="connsiteY25038" fmla="*/ 230172 h 3355086"/>
                <a:gd name="connsiteX25039" fmla="*/ 886968 w 3359086"/>
                <a:gd name="connsiteY25039" fmla="*/ 228409 h 3355086"/>
                <a:gd name="connsiteX25040" fmla="*/ 888587 w 3359086"/>
                <a:gd name="connsiteY25040" fmla="*/ 226790 h 3355086"/>
                <a:gd name="connsiteX25041" fmla="*/ 886968 w 3359086"/>
                <a:gd name="connsiteY25041" fmla="*/ 225171 h 3355086"/>
                <a:gd name="connsiteX25042" fmla="*/ 888444 w 3359086"/>
                <a:gd name="connsiteY25042" fmla="*/ 223695 h 3355086"/>
                <a:gd name="connsiteX25043" fmla="*/ 886872 w 3359086"/>
                <a:gd name="connsiteY25043" fmla="*/ 222123 h 3355086"/>
                <a:gd name="connsiteX25044" fmla="*/ 888301 w 3359086"/>
                <a:gd name="connsiteY25044" fmla="*/ 220694 h 3355086"/>
                <a:gd name="connsiteX25045" fmla="*/ 886587 w 3359086"/>
                <a:gd name="connsiteY25045" fmla="*/ 218980 h 3355086"/>
                <a:gd name="connsiteX25046" fmla="*/ 888063 w 3359086"/>
                <a:gd name="connsiteY25046" fmla="*/ 217504 h 3355086"/>
                <a:gd name="connsiteX25047" fmla="*/ 886206 w 3359086"/>
                <a:gd name="connsiteY25047" fmla="*/ 215646 h 3355086"/>
                <a:gd name="connsiteX25048" fmla="*/ 887730 w 3359086"/>
                <a:gd name="connsiteY25048" fmla="*/ 214122 h 3355086"/>
                <a:gd name="connsiteX25049" fmla="*/ 885539 w 3359086"/>
                <a:gd name="connsiteY25049" fmla="*/ 211931 h 3355086"/>
                <a:gd name="connsiteX25050" fmla="*/ 887110 w 3359086"/>
                <a:gd name="connsiteY25050" fmla="*/ 210360 h 3355086"/>
                <a:gd name="connsiteX25051" fmla="*/ 884681 w 3359086"/>
                <a:gd name="connsiteY25051" fmla="*/ 207931 h 3355086"/>
                <a:gd name="connsiteX25052" fmla="*/ 886443 w 3359086"/>
                <a:gd name="connsiteY25052" fmla="*/ 206169 h 3355086"/>
                <a:gd name="connsiteX25053" fmla="*/ 883443 w 3359086"/>
                <a:gd name="connsiteY25053" fmla="*/ 203169 h 3355086"/>
                <a:gd name="connsiteX25054" fmla="*/ 889539 w 3359086"/>
                <a:gd name="connsiteY25054" fmla="*/ 197073 h 3355086"/>
                <a:gd name="connsiteX25055" fmla="*/ 1487709 w 3359086"/>
                <a:gd name="connsiteY25055" fmla="*/ 195072 h 3355086"/>
                <a:gd name="connsiteX25056" fmla="*/ 1493901 w 3359086"/>
                <a:gd name="connsiteY25056" fmla="*/ 201263 h 3355086"/>
                <a:gd name="connsiteX25057" fmla="*/ 1487709 w 3359086"/>
                <a:gd name="connsiteY25057" fmla="*/ 207455 h 3355086"/>
                <a:gd name="connsiteX25058" fmla="*/ 1481518 w 3359086"/>
                <a:gd name="connsiteY25058" fmla="*/ 201263 h 3355086"/>
                <a:gd name="connsiteX25059" fmla="*/ 1487709 w 3359086"/>
                <a:gd name="connsiteY25059" fmla="*/ 195072 h 3355086"/>
                <a:gd name="connsiteX25060" fmla="*/ 2463164 w 3359086"/>
                <a:gd name="connsiteY25060" fmla="*/ 194977 h 3355086"/>
                <a:gd name="connsiteX25061" fmla="*/ 2467450 w 3359086"/>
                <a:gd name="connsiteY25061" fmla="*/ 199263 h 3355086"/>
                <a:gd name="connsiteX25062" fmla="*/ 2464355 w 3359086"/>
                <a:gd name="connsiteY25062" fmla="*/ 202359 h 3355086"/>
                <a:gd name="connsiteX25063" fmla="*/ 2467546 w 3359086"/>
                <a:gd name="connsiteY25063" fmla="*/ 205550 h 3355086"/>
                <a:gd name="connsiteX25064" fmla="*/ 2464022 w 3359086"/>
                <a:gd name="connsiteY25064" fmla="*/ 209074 h 3355086"/>
                <a:gd name="connsiteX25065" fmla="*/ 2466118 w 3359086"/>
                <a:gd name="connsiteY25065" fmla="*/ 211169 h 3355086"/>
                <a:gd name="connsiteX25066" fmla="*/ 2463116 w 3359086"/>
                <a:gd name="connsiteY25066" fmla="*/ 214170 h 3355086"/>
                <a:gd name="connsiteX25067" fmla="*/ 2465164 w 3359086"/>
                <a:gd name="connsiteY25067" fmla="*/ 216218 h 3355086"/>
                <a:gd name="connsiteX25068" fmla="*/ 2462640 w 3359086"/>
                <a:gd name="connsiteY25068" fmla="*/ 218742 h 3355086"/>
                <a:gd name="connsiteX25069" fmla="*/ 2464593 w 3359086"/>
                <a:gd name="connsiteY25069" fmla="*/ 220694 h 3355086"/>
                <a:gd name="connsiteX25070" fmla="*/ 2462497 w 3359086"/>
                <a:gd name="connsiteY25070" fmla="*/ 222790 h 3355086"/>
                <a:gd name="connsiteX25071" fmla="*/ 2464403 w 3359086"/>
                <a:gd name="connsiteY25071" fmla="*/ 224695 h 3355086"/>
                <a:gd name="connsiteX25072" fmla="*/ 2462593 w 3359086"/>
                <a:gd name="connsiteY25072" fmla="*/ 226505 h 3355086"/>
                <a:gd name="connsiteX25073" fmla="*/ 2464403 w 3359086"/>
                <a:gd name="connsiteY25073" fmla="*/ 228314 h 3355086"/>
                <a:gd name="connsiteX25074" fmla="*/ 2462783 w 3359086"/>
                <a:gd name="connsiteY25074" fmla="*/ 229934 h 3355086"/>
                <a:gd name="connsiteX25075" fmla="*/ 2464689 w 3359086"/>
                <a:gd name="connsiteY25075" fmla="*/ 231839 h 3355086"/>
                <a:gd name="connsiteX25076" fmla="*/ 2463212 w 3359086"/>
                <a:gd name="connsiteY25076" fmla="*/ 233316 h 3355086"/>
                <a:gd name="connsiteX25077" fmla="*/ 2465164 w 3359086"/>
                <a:gd name="connsiteY25077" fmla="*/ 235268 h 3355086"/>
                <a:gd name="connsiteX25078" fmla="*/ 2463688 w 3359086"/>
                <a:gd name="connsiteY25078" fmla="*/ 236744 h 3355086"/>
                <a:gd name="connsiteX25079" fmla="*/ 2465736 w 3359086"/>
                <a:gd name="connsiteY25079" fmla="*/ 238792 h 3355086"/>
                <a:gd name="connsiteX25080" fmla="*/ 2464165 w 3359086"/>
                <a:gd name="connsiteY25080" fmla="*/ 240364 h 3355086"/>
                <a:gd name="connsiteX25081" fmla="*/ 2466307 w 3359086"/>
                <a:gd name="connsiteY25081" fmla="*/ 242506 h 3355086"/>
                <a:gd name="connsiteX25082" fmla="*/ 2464450 w 3359086"/>
                <a:gd name="connsiteY25082" fmla="*/ 244363 h 3355086"/>
                <a:gd name="connsiteX25083" fmla="*/ 2466784 w 3359086"/>
                <a:gd name="connsiteY25083" fmla="*/ 246697 h 3355086"/>
                <a:gd name="connsiteX25084" fmla="*/ 2464545 w 3359086"/>
                <a:gd name="connsiteY25084" fmla="*/ 248936 h 3355086"/>
                <a:gd name="connsiteX25085" fmla="*/ 2467165 w 3359086"/>
                <a:gd name="connsiteY25085" fmla="*/ 251555 h 3355086"/>
                <a:gd name="connsiteX25086" fmla="*/ 2464403 w 3359086"/>
                <a:gd name="connsiteY25086" fmla="*/ 254318 h 3355086"/>
                <a:gd name="connsiteX25087" fmla="*/ 2467260 w 3359086"/>
                <a:gd name="connsiteY25087" fmla="*/ 257175 h 3355086"/>
                <a:gd name="connsiteX25088" fmla="*/ 2463783 w 3359086"/>
                <a:gd name="connsiteY25088" fmla="*/ 260652 h 3355086"/>
                <a:gd name="connsiteX25089" fmla="*/ 2467070 w 3359086"/>
                <a:gd name="connsiteY25089" fmla="*/ 263938 h 3355086"/>
                <a:gd name="connsiteX25090" fmla="*/ 2462736 w 3359086"/>
                <a:gd name="connsiteY25090" fmla="*/ 268272 h 3355086"/>
                <a:gd name="connsiteX25091" fmla="*/ 2466307 w 3359086"/>
                <a:gd name="connsiteY25091" fmla="*/ 271843 h 3355086"/>
                <a:gd name="connsiteX25092" fmla="*/ 2460926 w 3359086"/>
                <a:gd name="connsiteY25092" fmla="*/ 277225 h 3355086"/>
                <a:gd name="connsiteX25093" fmla="*/ 2465069 w 3359086"/>
                <a:gd name="connsiteY25093" fmla="*/ 281368 h 3355086"/>
                <a:gd name="connsiteX25094" fmla="*/ 2458878 w 3359086"/>
                <a:gd name="connsiteY25094" fmla="*/ 287560 h 3355086"/>
                <a:gd name="connsiteX25095" fmla="*/ 2452687 w 3359086"/>
                <a:gd name="connsiteY25095" fmla="*/ 281368 h 3355086"/>
                <a:gd name="connsiteX25096" fmla="*/ 2458068 w 3359086"/>
                <a:gd name="connsiteY25096" fmla="*/ 275987 h 3355086"/>
                <a:gd name="connsiteX25097" fmla="*/ 2453925 w 3359086"/>
                <a:gd name="connsiteY25097" fmla="*/ 271843 h 3355086"/>
                <a:gd name="connsiteX25098" fmla="*/ 2458258 w 3359086"/>
                <a:gd name="connsiteY25098" fmla="*/ 267510 h 3355086"/>
                <a:gd name="connsiteX25099" fmla="*/ 2454687 w 3359086"/>
                <a:gd name="connsiteY25099" fmla="*/ 263938 h 3355086"/>
                <a:gd name="connsiteX25100" fmla="*/ 2458164 w 3359086"/>
                <a:gd name="connsiteY25100" fmla="*/ 260461 h 3355086"/>
                <a:gd name="connsiteX25101" fmla="*/ 2454878 w 3359086"/>
                <a:gd name="connsiteY25101" fmla="*/ 257175 h 3355086"/>
                <a:gd name="connsiteX25102" fmla="*/ 2457641 w 3359086"/>
                <a:gd name="connsiteY25102" fmla="*/ 254413 h 3355086"/>
                <a:gd name="connsiteX25103" fmla="*/ 2454783 w 3359086"/>
                <a:gd name="connsiteY25103" fmla="*/ 251555 h 3355086"/>
                <a:gd name="connsiteX25104" fmla="*/ 2457021 w 3359086"/>
                <a:gd name="connsiteY25104" fmla="*/ 249317 h 3355086"/>
                <a:gd name="connsiteX25105" fmla="*/ 2454401 w 3359086"/>
                <a:gd name="connsiteY25105" fmla="*/ 246697 h 3355086"/>
                <a:gd name="connsiteX25106" fmla="*/ 2456258 w 3359086"/>
                <a:gd name="connsiteY25106" fmla="*/ 244840 h 3355086"/>
                <a:gd name="connsiteX25107" fmla="*/ 2453925 w 3359086"/>
                <a:gd name="connsiteY25107" fmla="*/ 242506 h 3355086"/>
                <a:gd name="connsiteX25108" fmla="*/ 2455497 w 3359086"/>
                <a:gd name="connsiteY25108" fmla="*/ 240935 h 3355086"/>
                <a:gd name="connsiteX25109" fmla="*/ 2453354 w 3359086"/>
                <a:gd name="connsiteY25109" fmla="*/ 238792 h 3355086"/>
                <a:gd name="connsiteX25110" fmla="*/ 2454830 w 3359086"/>
                <a:gd name="connsiteY25110" fmla="*/ 237316 h 3355086"/>
                <a:gd name="connsiteX25111" fmla="*/ 2452782 w 3359086"/>
                <a:gd name="connsiteY25111" fmla="*/ 235268 h 3355086"/>
                <a:gd name="connsiteX25112" fmla="*/ 2454259 w 3359086"/>
                <a:gd name="connsiteY25112" fmla="*/ 233792 h 3355086"/>
                <a:gd name="connsiteX25113" fmla="*/ 2452306 w 3359086"/>
                <a:gd name="connsiteY25113" fmla="*/ 231839 h 3355086"/>
                <a:gd name="connsiteX25114" fmla="*/ 2453925 w 3359086"/>
                <a:gd name="connsiteY25114" fmla="*/ 230220 h 3355086"/>
                <a:gd name="connsiteX25115" fmla="*/ 2452020 w 3359086"/>
                <a:gd name="connsiteY25115" fmla="*/ 228314 h 3355086"/>
                <a:gd name="connsiteX25116" fmla="*/ 2453829 w 3359086"/>
                <a:gd name="connsiteY25116" fmla="*/ 226505 h 3355086"/>
                <a:gd name="connsiteX25117" fmla="*/ 2452020 w 3359086"/>
                <a:gd name="connsiteY25117" fmla="*/ 224695 h 3355086"/>
                <a:gd name="connsiteX25118" fmla="*/ 2454116 w 3359086"/>
                <a:gd name="connsiteY25118" fmla="*/ 222599 h 3355086"/>
                <a:gd name="connsiteX25119" fmla="*/ 2452211 w 3359086"/>
                <a:gd name="connsiteY25119" fmla="*/ 220694 h 3355086"/>
                <a:gd name="connsiteX25120" fmla="*/ 2454734 w 3359086"/>
                <a:gd name="connsiteY25120" fmla="*/ 218171 h 3355086"/>
                <a:gd name="connsiteX25121" fmla="*/ 2452782 w 3359086"/>
                <a:gd name="connsiteY25121" fmla="*/ 216218 h 3355086"/>
                <a:gd name="connsiteX25122" fmla="*/ 2455783 w 3359086"/>
                <a:gd name="connsiteY25122" fmla="*/ 213217 h 3355086"/>
                <a:gd name="connsiteX25123" fmla="*/ 2453735 w 3359086"/>
                <a:gd name="connsiteY25123" fmla="*/ 211169 h 3355086"/>
                <a:gd name="connsiteX25124" fmla="*/ 2457259 w 3359086"/>
                <a:gd name="connsiteY25124" fmla="*/ 207645 h 3355086"/>
                <a:gd name="connsiteX25125" fmla="*/ 2455164 w 3359086"/>
                <a:gd name="connsiteY25125" fmla="*/ 205550 h 3355086"/>
                <a:gd name="connsiteX25126" fmla="*/ 2460164 w 3359086"/>
                <a:gd name="connsiteY25126" fmla="*/ 200550 h 3355086"/>
                <a:gd name="connsiteX25127" fmla="*/ 2458878 w 3359086"/>
                <a:gd name="connsiteY25127" fmla="*/ 199263 h 3355086"/>
                <a:gd name="connsiteX25128" fmla="*/ 2463164 w 3359086"/>
                <a:gd name="connsiteY25128" fmla="*/ 194977 h 3355086"/>
                <a:gd name="connsiteX25129" fmla="*/ 1306829 w 3359086"/>
                <a:gd name="connsiteY25129" fmla="*/ 193072 h 3355086"/>
                <a:gd name="connsiteX25130" fmla="*/ 1313021 w 3359086"/>
                <a:gd name="connsiteY25130" fmla="*/ 199263 h 3355086"/>
                <a:gd name="connsiteX25131" fmla="*/ 1306829 w 3359086"/>
                <a:gd name="connsiteY25131" fmla="*/ 205454 h 3355086"/>
                <a:gd name="connsiteX25132" fmla="*/ 1300638 w 3359086"/>
                <a:gd name="connsiteY25132" fmla="*/ 199263 h 3355086"/>
                <a:gd name="connsiteX25133" fmla="*/ 1306829 w 3359086"/>
                <a:gd name="connsiteY25133" fmla="*/ 193072 h 3355086"/>
                <a:gd name="connsiteX25134" fmla="*/ 1133951 w 3359086"/>
                <a:gd name="connsiteY25134" fmla="*/ 193072 h 3355086"/>
                <a:gd name="connsiteX25135" fmla="*/ 1140142 w 3359086"/>
                <a:gd name="connsiteY25135" fmla="*/ 199263 h 3355086"/>
                <a:gd name="connsiteX25136" fmla="*/ 1133951 w 3359086"/>
                <a:gd name="connsiteY25136" fmla="*/ 205454 h 3355086"/>
                <a:gd name="connsiteX25137" fmla="*/ 1127760 w 3359086"/>
                <a:gd name="connsiteY25137" fmla="*/ 199263 h 3355086"/>
                <a:gd name="connsiteX25138" fmla="*/ 1133951 w 3359086"/>
                <a:gd name="connsiteY25138" fmla="*/ 193072 h 3355086"/>
                <a:gd name="connsiteX25139" fmla="*/ 1807558 w 3359086"/>
                <a:gd name="connsiteY25139" fmla="*/ 192405 h 3355086"/>
                <a:gd name="connsiteX25140" fmla="*/ 1813750 w 3359086"/>
                <a:gd name="connsiteY25140" fmla="*/ 198596 h 3355086"/>
                <a:gd name="connsiteX25141" fmla="*/ 1807558 w 3359086"/>
                <a:gd name="connsiteY25141" fmla="*/ 204787 h 3355086"/>
                <a:gd name="connsiteX25142" fmla="*/ 1801367 w 3359086"/>
                <a:gd name="connsiteY25142" fmla="*/ 198596 h 3355086"/>
                <a:gd name="connsiteX25143" fmla="*/ 1807558 w 3359086"/>
                <a:gd name="connsiteY25143" fmla="*/ 192405 h 3355086"/>
                <a:gd name="connsiteX25144" fmla="*/ 2243137 w 3359086"/>
                <a:gd name="connsiteY25144" fmla="*/ 191739 h 3355086"/>
                <a:gd name="connsiteX25145" fmla="*/ 2249328 w 3359086"/>
                <a:gd name="connsiteY25145" fmla="*/ 197930 h 3355086"/>
                <a:gd name="connsiteX25146" fmla="*/ 2243137 w 3359086"/>
                <a:gd name="connsiteY25146" fmla="*/ 204121 h 3355086"/>
                <a:gd name="connsiteX25147" fmla="*/ 2236946 w 3359086"/>
                <a:gd name="connsiteY25147" fmla="*/ 197930 h 3355086"/>
                <a:gd name="connsiteX25148" fmla="*/ 2243137 w 3359086"/>
                <a:gd name="connsiteY25148" fmla="*/ 191739 h 3355086"/>
                <a:gd name="connsiteX25149" fmla="*/ 1052893 w 3359086"/>
                <a:gd name="connsiteY25149" fmla="*/ 191643 h 3355086"/>
                <a:gd name="connsiteX25150" fmla="*/ 1059085 w 3359086"/>
                <a:gd name="connsiteY25150" fmla="*/ 197834 h 3355086"/>
                <a:gd name="connsiteX25151" fmla="*/ 1052893 w 3359086"/>
                <a:gd name="connsiteY25151" fmla="*/ 204025 h 3355086"/>
                <a:gd name="connsiteX25152" fmla="*/ 1046702 w 3359086"/>
                <a:gd name="connsiteY25152" fmla="*/ 197834 h 3355086"/>
                <a:gd name="connsiteX25153" fmla="*/ 1052893 w 3359086"/>
                <a:gd name="connsiteY25153" fmla="*/ 191643 h 3355086"/>
                <a:gd name="connsiteX25154" fmla="*/ 1215294 w 3359086"/>
                <a:gd name="connsiteY25154" fmla="*/ 190214 h 3355086"/>
                <a:gd name="connsiteX25155" fmla="*/ 1221486 w 3359086"/>
                <a:gd name="connsiteY25155" fmla="*/ 196405 h 3355086"/>
                <a:gd name="connsiteX25156" fmla="*/ 1215294 w 3359086"/>
                <a:gd name="connsiteY25156" fmla="*/ 202597 h 3355086"/>
                <a:gd name="connsiteX25157" fmla="*/ 1209103 w 3359086"/>
                <a:gd name="connsiteY25157" fmla="*/ 196405 h 3355086"/>
                <a:gd name="connsiteX25158" fmla="*/ 1215294 w 3359086"/>
                <a:gd name="connsiteY25158" fmla="*/ 190214 h 3355086"/>
                <a:gd name="connsiteX25159" fmla="*/ 1567243 w 3359086"/>
                <a:gd name="connsiteY25159" fmla="*/ 190119 h 3355086"/>
                <a:gd name="connsiteX25160" fmla="*/ 1573435 w 3359086"/>
                <a:gd name="connsiteY25160" fmla="*/ 196310 h 3355086"/>
                <a:gd name="connsiteX25161" fmla="*/ 1567243 w 3359086"/>
                <a:gd name="connsiteY25161" fmla="*/ 202501 h 3355086"/>
                <a:gd name="connsiteX25162" fmla="*/ 1561052 w 3359086"/>
                <a:gd name="connsiteY25162" fmla="*/ 196310 h 3355086"/>
                <a:gd name="connsiteX25163" fmla="*/ 1567243 w 3359086"/>
                <a:gd name="connsiteY25163" fmla="*/ 190119 h 3355086"/>
                <a:gd name="connsiteX25164" fmla="*/ 1727739 w 3359086"/>
                <a:gd name="connsiteY25164" fmla="*/ 188786 h 3355086"/>
                <a:gd name="connsiteX25165" fmla="*/ 1733930 w 3359086"/>
                <a:gd name="connsiteY25165" fmla="*/ 194977 h 3355086"/>
                <a:gd name="connsiteX25166" fmla="*/ 1727739 w 3359086"/>
                <a:gd name="connsiteY25166" fmla="*/ 201169 h 3355086"/>
                <a:gd name="connsiteX25167" fmla="*/ 1721548 w 3359086"/>
                <a:gd name="connsiteY25167" fmla="*/ 194977 h 3355086"/>
                <a:gd name="connsiteX25168" fmla="*/ 1727739 w 3359086"/>
                <a:gd name="connsiteY25168" fmla="*/ 188786 h 3355086"/>
                <a:gd name="connsiteX25169" fmla="*/ 1647443 w 3359086"/>
                <a:gd name="connsiteY25169" fmla="*/ 187928 h 3355086"/>
                <a:gd name="connsiteX25170" fmla="*/ 1653635 w 3359086"/>
                <a:gd name="connsiteY25170" fmla="*/ 194119 h 3355086"/>
                <a:gd name="connsiteX25171" fmla="*/ 1647443 w 3359086"/>
                <a:gd name="connsiteY25171" fmla="*/ 200311 h 3355086"/>
                <a:gd name="connsiteX25172" fmla="*/ 1641252 w 3359086"/>
                <a:gd name="connsiteY25172" fmla="*/ 194119 h 3355086"/>
                <a:gd name="connsiteX25173" fmla="*/ 1647443 w 3359086"/>
                <a:gd name="connsiteY25173" fmla="*/ 187928 h 3355086"/>
                <a:gd name="connsiteX25174" fmla="*/ 1991296 w 3359086"/>
                <a:gd name="connsiteY25174" fmla="*/ 187452 h 3355086"/>
                <a:gd name="connsiteX25175" fmla="*/ 1997488 w 3359086"/>
                <a:gd name="connsiteY25175" fmla="*/ 193643 h 3355086"/>
                <a:gd name="connsiteX25176" fmla="*/ 1991296 w 3359086"/>
                <a:gd name="connsiteY25176" fmla="*/ 199834 h 3355086"/>
                <a:gd name="connsiteX25177" fmla="*/ 1985105 w 3359086"/>
                <a:gd name="connsiteY25177" fmla="*/ 193643 h 3355086"/>
                <a:gd name="connsiteX25178" fmla="*/ 1991296 w 3359086"/>
                <a:gd name="connsiteY25178" fmla="*/ 187452 h 3355086"/>
                <a:gd name="connsiteX25179" fmla="*/ 2168937 w 3359086"/>
                <a:gd name="connsiteY25179" fmla="*/ 185166 h 3355086"/>
                <a:gd name="connsiteX25180" fmla="*/ 2175129 w 3359086"/>
                <a:gd name="connsiteY25180" fmla="*/ 191357 h 3355086"/>
                <a:gd name="connsiteX25181" fmla="*/ 2168937 w 3359086"/>
                <a:gd name="connsiteY25181" fmla="*/ 197548 h 3355086"/>
                <a:gd name="connsiteX25182" fmla="*/ 2162746 w 3359086"/>
                <a:gd name="connsiteY25182" fmla="*/ 191357 h 3355086"/>
                <a:gd name="connsiteX25183" fmla="*/ 2168937 w 3359086"/>
                <a:gd name="connsiteY25183" fmla="*/ 185166 h 3355086"/>
                <a:gd name="connsiteX25184" fmla="*/ 1044797 w 3359086"/>
                <a:gd name="connsiteY25184" fmla="*/ 184595 h 3355086"/>
                <a:gd name="connsiteX25185" fmla="*/ 1050988 w 3359086"/>
                <a:gd name="connsiteY25185" fmla="*/ 190786 h 3355086"/>
                <a:gd name="connsiteX25186" fmla="*/ 1044797 w 3359086"/>
                <a:gd name="connsiteY25186" fmla="*/ 196977 h 3355086"/>
                <a:gd name="connsiteX25187" fmla="*/ 1038606 w 3359086"/>
                <a:gd name="connsiteY25187" fmla="*/ 190786 h 3355086"/>
                <a:gd name="connsiteX25188" fmla="*/ 1044797 w 3359086"/>
                <a:gd name="connsiteY25188" fmla="*/ 184595 h 3355086"/>
                <a:gd name="connsiteX25189" fmla="*/ 2085212 w 3359086"/>
                <a:gd name="connsiteY25189" fmla="*/ 183356 h 3355086"/>
                <a:gd name="connsiteX25190" fmla="*/ 2091404 w 3359086"/>
                <a:gd name="connsiteY25190" fmla="*/ 189547 h 3355086"/>
                <a:gd name="connsiteX25191" fmla="*/ 2085212 w 3359086"/>
                <a:gd name="connsiteY25191" fmla="*/ 195739 h 3355086"/>
                <a:gd name="connsiteX25192" fmla="*/ 2079021 w 3359086"/>
                <a:gd name="connsiteY25192" fmla="*/ 189547 h 3355086"/>
                <a:gd name="connsiteX25193" fmla="*/ 2085212 w 3359086"/>
                <a:gd name="connsiteY25193" fmla="*/ 183356 h 3355086"/>
                <a:gd name="connsiteX25194" fmla="*/ 2253424 w 3359086"/>
                <a:gd name="connsiteY25194" fmla="*/ 182976 h 3355086"/>
                <a:gd name="connsiteX25195" fmla="*/ 2259616 w 3359086"/>
                <a:gd name="connsiteY25195" fmla="*/ 189167 h 3355086"/>
                <a:gd name="connsiteX25196" fmla="*/ 2253424 w 3359086"/>
                <a:gd name="connsiteY25196" fmla="*/ 195358 h 3355086"/>
                <a:gd name="connsiteX25197" fmla="*/ 2247233 w 3359086"/>
                <a:gd name="connsiteY25197" fmla="*/ 189167 h 3355086"/>
                <a:gd name="connsiteX25198" fmla="*/ 2253424 w 3359086"/>
                <a:gd name="connsiteY25198" fmla="*/ 182976 h 3355086"/>
                <a:gd name="connsiteX25199" fmla="*/ 1120806 w 3359086"/>
                <a:gd name="connsiteY25199" fmla="*/ 182214 h 3355086"/>
                <a:gd name="connsiteX25200" fmla="*/ 1126998 w 3359086"/>
                <a:gd name="connsiteY25200" fmla="*/ 188405 h 3355086"/>
                <a:gd name="connsiteX25201" fmla="*/ 1120806 w 3359086"/>
                <a:gd name="connsiteY25201" fmla="*/ 194596 h 3355086"/>
                <a:gd name="connsiteX25202" fmla="*/ 1114615 w 3359086"/>
                <a:gd name="connsiteY25202" fmla="*/ 188405 h 3355086"/>
                <a:gd name="connsiteX25203" fmla="*/ 1120806 w 3359086"/>
                <a:gd name="connsiteY25203" fmla="*/ 182214 h 3355086"/>
                <a:gd name="connsiteX25204" fmla="*/ 1380648 w 3359086"/>
                <a:gd name="connsiteY25204" fmla="*/ 181737 h 3355086"/>
                <a:gd name="connsiteX25205" fmla="*/ 1386840 w 3359086"/>
                <a:gd name="connsiteY25205" fmla="*/ 187928 h 3355086"/>
                <a:gd name="connsiteX25206" fmla="*/ 1380648 w 3359086"/>
                <a:gd name="connsiteY25206" fmla="*/ 194120 h 3355086"/>
                <a:gd name="connsiteX25207" fmla="*/ 1374457 w 3359086"/>
                <a:gd name="connsiteY25207" fmla="*/ 187928 h 3355086"/>
                <a:gd name="connsiteX25208" fmla="*/ 1380648 w 3359086"/>
                <a:gd name="connsiteY25208" fmla="*/ 181737 h 3355086"/>
                <a:gd name="connsiteX25209" fmla="*/ 920305 w 3359086"/>
                <a:gd name="connsiteY25209" fmla="*/ 181356 h 3355086"/>
                <a:gd name="connsiteX25210" fmla="*/ 921925 w 3359086"/>
                <a:gd name="connsiteY25210" fmla="*/ 182976 h 3355086"/>
                <a:gd name="connsiteX25211" fmla="*/ 922591 w 3359086"/>
                <a:gd name="connsiteY25211" fmla="*/ 182309 h 3355086"/>
                <a:gd name="connsiteX25212" fmla="*/ 928783 w 3359086"/>
                <a:gd name="connsiteY25212" fmla="*/ 188500 h 3355086"/>
                <a:gd name="connsiteX25213" fmla="*/ 927735 w 3359086"/>
                <a:gd name="connsiteY25213" fmla="*/ 189548 h 3355086"/>
                <a:gd name="connsiteX25214" fmla="*/ 930687 w 3359086"/>
                <a:gd name="connsiteY25214" fmla="*/ 192500 h 3355086"/>
                <a:gd name="connsiteX25215" fmla="*/ 929830 w 3359086"/>
                <a:gd name="connsiteY25215" fmla="*/ 193357 h 3355086"/>
                <a:gd name="connsiteX25216" fmla="*/ 932402 w 3359086"/>
                <a:gd name="connsiteY25216" fmla="*/ 195929 h 3355086"/>
                <a:gd name="connsiteX25217" fmla="*/ 931687 w 3359086"/>
                <a:gd name="connsiteY25217" fmla="*/ 196644 h 3355086"/>
                <a:gd name="connsiteX25218" fmla="*/ 933926 w 3359086"/>
                <a:gd name="connsiteY25218" fmla="*/ 198882 h 3355086"/>
                <a:gd name="connsiteX25219" fmla="*/ 933164 w 3359086"/>
                <a:gd name="connsiteY25219" fmla="*/ 199644 h 3355086"/>
                <a:gd name="connsiteX25220" fmla="*/ 935164 w 3359086"/>
                <a:gd name="connsiteY25220" fmla="*/ 201644 h 3355086"/>
                <a:gd name="connsiteX25221" fmla="*/ 934592 w 3359086"/>
                <a:gd name="connsiteY25221" fmla="*/ 202216 h 3355086"/>
                <a:gd name="connsiteX25222" fmla="*/ 936498 w 3359086"/>
                <a:gd name="connsiteY25222" fmla="*/ 204121 h 3355086"/>
                <a:gd name="connsiteX25223" fmla="*/ 935783 w 3359086"/>
                <a:gd name="connsiteY25223" fmla="*/ 204836 h 3355086"/>
                <a:gd name="connsiteX25224" fmla="*/ 937641 w 3359086"/>
                <a:gd name="connsiteY25224" fmla="*/ 206693 h 3355086"/>
                <a:gd name="connsiteX25225" fmla="*/ 937022 w 3359086"/>
                <a:gd name="connsiteY25225" fmla="*/ 207312 h 3355086"/>
                <a:gd name="connsiteX25226" fmla="*/ 938974 w 3359086"/>
                <a:gd name="connsiteY25226" fmla="*/ 209264 h 3355086"/>
                <a:gd name="connsiteX25227" fmla="*/ 938212 w 3359086"/>
                <a:gd name="connsiteY25227" fmla="*/ 210026 h 3355086"/>
                <a:gd name="connsiteX25228" fmla="*/ 940403 w 3359086"/>
                <a:gd name="connsiteY25228" fmla="*/ 212217 h 3355086"/>
                <a:gd name="connsiteX25229" fmla="*/ 939593 w 3359086"/>
                <a:gd name="connsiteY25229" fmla="*/ 213027 h 3355086"/>
                <a:gd name="connsiteX25230" fmla="*/ 942118 w 3359086"/>
                <a:gd name="connsiteY25230" fmla="*/ 215551 h 3355086"/>
                <a:gd name="connsiteX25231" fmla="*/ 941070 w 3359086"/>
                <a:gd name="connsiteY25231" fmla="*/ 216599 h 3355086"/>
                <a:gd name="connsiteX25232" fmla="*/ 944118 w 3359086"/>
                <a:gd name="connsiteY25232" fmla="*/ 219646 h 3355086"/>
                <a:gd name="connsiteX25233" fmla="*/ 942831 w 3359086"/>
                <a:gd name="connsiteY25233" fmla="*/ 220933 h 3355086"/>
                <a:gd name="connsiteX25234" fmla="*/ 946499 w 3359086"/>
                <a:gd name="connsiteY25234" fmla="*/ 224600 h 3355086"/>
                <a:gd name="connsiteX25235" fmla="*/ 944975 w 3359086"/>
                <a:gd name="connsiteY25235" fmla="*/ 226124 h 3355086"/>
                <a:gd name="connsiteX25236" fmla="*/ 949547 w 3359086"/>
                <a:gd name="connsiteY25236" fmla="*/ 230695 h 3355086"/>
                <a:gd name="connsiteX25237" fmla="*/ 947689 w 3359086"/>
                <a:gd name="connsiteY25237" fmla="*/ 232553 h 3355086"/>
                <a:gd name="connsiteX25238" fmla="*/ 953262 w 3359086"/>
                <a:gd name="connsiteY25238" fmla="*/ 238125 h 3355086"/>
                <a:gd name="connsiteX25239" fmla="*/ 947070 w 3359086"/>
                <a:gd name="connsiteY25239" fmla="*/ 244316 h 3355086"/>
                <a:gd name="connsiteX25240" fmla="*/ 940879 w 3359086"/>
                <a:gd name="connsiteY25240" fmla="*/ 238125 h 3355086"/>
                <a:gd name="connsiteX25241" fmla="*/ 942736 w 3359086"/>
                <a:gd name="connsiteY25241" fmla="*/ 236268 h 3355086"/>
                <a:gd name="connsiteX25242" fmla="*/ 937164 w 3359086"/>
                <a:gd name="connsiteY25242" fmla="*/ 230695 h 3355086"/>
                <a:gd name="connsiteX25243" fmla="*/ 938688 w 3359086"/>
                <a:gd name="connsiteY25243" fmla="*/ 229172 h 3355086"/>
                <a:gd name="connsiteX25244" fmla="*/ 934116 w 3359086"/>
                <a:gd name="connsiteY25244" fmla="*/ 224600 h 3355086"/>
                <a:gd name="connsiteX25245" fmla="*/ 935402 w 3359086"/>
                <a:gd name="connsiteY25245" fmla="*/ 223314 h 3355086"/>
                <a:gd name="connsiteX25246" fmla="*/ 931735 w 3359086"/>
                <a:gd name="connsiteY25246" fmla="*/ 219646 h 3355086"/>
                <a:gd name="connsiteX25247" fmla="*/ 932782 w 3359086"/>
                <a:gd name="connsiteY25247" fmla="*/ 218599 h 3355086"/>
                <a:gd name="connsiteX25248" fmla="*/ 929735 w 3359086"/>
                <a:gd name="connsiteY25248" fmla="*/ 215551 h 3355086"/>
                <a:gd name="connsiteX25249" fmla="*/ 930545 w 3359086"/>
                <a:gd name="connsiteY25249" fmla="*/ 214742 h 3355086"/>
                <a:gd name="connsiteX25250" fmla="*/ 928020 w 3359086"/>
                <a:gd name="connsiteY25250" fmla="*/ 212217 h 3355086"/>
                <a:gd name="connsiteX25251" fmla="*/ 928782 w 3359086"/>
                <a:gd name="connsiteY25251" fmla="*/ 211455 h 3355086"/>
                <a:gd name="connsiteX25252" fmla="*/ 926591 w 3359086"/>
                <a:gd name="connsiteY25252" fmla="*/ 209264 h 3355086"/>
                <a:gd name="connsiteX25253" fmla="*/ 927210 w 3359086"/>
                <a:gd name="connsiteY25253" fmla="*/ 208645 h 3355086"/>
                <a:gd name="connsiteX25254" fmla="*/ 925258 w 3359086"/>
                <a:gd name="connsiteY25254" fmla="*/ 206693 h 3355086"/>
                <a:gd name="connsiteX25255" fmla="*/ 925973 w 3359086"/>
                <a:gd name="connsiteY25255" fmla="*/ 205979 h 3355086"/>
                <a:gd name="connsiteX25256" fmla="*/ 924115 w 3359086"/>
                <a:gd name="connsiteY25256" fmla="*/ 204121 h 3355086"/>
                <a:gd name="connsiteX25257" fmla="*/ 924687 w 3359086"/>
                <a:gd name="connsiteY25257" fmla="*/ 203550 h 3355086"/>
                <a:gd name="connsiteX25258" fmla="*/ 922781 w 3359086"/>
                <a:gd name="connsiteY25258" fmla="*/ 201644 h 3355086"/>
                <a:gd name="connsiteX25259" fmla="*/ 923543 w 3359086"/>
                <a:gd name="connsiteY25259" fmla="*/ 200882 h 3355086"/>
                <a:gd name="connsiteX25260" fmla="*/ 921543 w 3359086"/>
                <a:gd name="connsiteY25260" fmla="*/ 198882 h 3355086"/>
                <a:gd name="connsiteX25261" fmla="*/ 922258 w 3359086"/>
                <a:gd name="connsiteY25261" fmla="*/ 198168 h 3355086"/>
                <a:gd name="connsiteX25262" fmla="*/ 920019 w 3359086"/>
                <a:gd name="connsiteY25262" fmla="*/ 195929 h 3355086"/>
                <a:gd name="connsiteX25263" fmla="*/ 920876 w 3359086"/>
                <a:gd name="connsiteY25263" fmla="*/ 195072 h 3355086"/>
                <a:gd name="connsiteX25264" fmla="*/ 918305 w 3359086"/>
                <a:gd name="connsiteY25264" fmla="*/ 192500 h 3355086"/>
                <a:gd name="connsiteX25265" fmla="*/ 919352 w 3359086"/>
                <a:gd name="connsiteY25265" fmla="*/ 191453 h 3355086"/>
                <a:gd name="connsiteX25266" fmla="*/ 916400 w 3359086"/>
                <a:gd name="connsiteY25266" fmla="*/ 188500 h 3355086"/>
                <a:gd name="connsiteX25267" fmla="*/ 919353 w 3359086"/>
                <a:gd name="connsiteY25267" fmla="*/ 185547 h 3355086"/>
                <a:gd name="connsiteX25268" fmla="*/ 917733 w 3359086"/>
                <a:gd name="connsiteY25268" fmla="*/ 183928 h 3355086"/>
                <a:gd name="connsiteX25269" fmla="*/ 920305 w 3359086"/>
                <a:gd name="connsiteY25269" fmla="*/ 181356 h 3355086"/>
                <a:gd name="connsiteX25270" fmla="*/ 2431732 w 3359086"/>
                <a:gd name="connsiteY25270" fmla="*/ 179547 h 3355086"/>
                <a:gd name="connsiteX25271" fmla="*/ 2437924 w 3359086"/>
                <a:gd name="connsiteY25271" fmla="*/ 185738 h 3355086"/>
                <a:gd name="connsiteX25272" fmla="*/ 2433875 w 3359086"/>
                <a:gd name="connsiteY25272" fmla="*/ 189786 h 3355086"/>
                <a:gd name="connsiteX25273" fmla="*/ 2435542 w 3359086"/>
                <a:gd name="connsiteY25273" fmla="*/ 191453 h 3355086"/>
                <a:gd name="connsiteX25274" fmla="*/ 2432113 w 3359086"/>
                <a:gd name="connsiteY25274" fmla="*/ 194881 h 3355086"/>
                <a:gd name="connsiteX25275" fmla="*/ 2433637 w 3359086"/>
                <a:gd name="connsiteY25275" fmla="*/ 196405 h 3355086"/>
                <a:gd name="connsiteX25276" fmla="*/ 2430684 w 3359086"/>
                <a:gd name="connsiteY25276" fmla="*/ 199358 h 3355086"/>
                <a:gd name="connsiteX25277" fmla="*/ 2432018 w 3359086"/>
                <a:gd name="connsiteY25277" fmla="*/ 200692 h 3355086"/>
                <a:gd name="connsiteX25278" fmla="*/ 2429446 w 3359086"/>
                <a:gd name="connsiteY25278" fmla="*/ 203264 h 3355086"/>
                <a:gd name="connsiteX25279" fmla="*/ 2430685 w 3359086"/>
                <a:gd name="connsiteY25279" fmla="*/ 204502 h 3355086"/>
                <a:gd name="connsiteX25280" fmla="*/ 2428542 w 3359086"/>
                <a:gd name="connsiteY25280" fmla="*/ 206645 h 3355086"/>
                <a:gd name="connsiteX25281" fmla="*/ 2429732 w 3359086"/>
                <a:gd name="connsiteY25281" fmla="*/ 207835 h 3355086"/>
                <a:gd name="connsiteX25282" fmla="*/ 2427779 w 3359086"/>
                <a:gd name="connsiteY25282" fmla="*/ 209788 h 3355086"/>
                <a:gd name="connsiteX25283" fmla="*/ 2428875 w 3359086"/>
                <a:gd name="connsiteY25283" fmla="*/ 210883 h 3355086"/>
                <a:gd name="connsiteX25284" fmla="*/ 2427112 w 3359086"/>
                <a:gd name="connsiteY25284" fmla="*/ 212646 h 3355086"/>
                <a:gd name="connsiteX25285" fmla="*/ 2428207 w 3359086"/>
                <a:gd name="connsiteY25285" fmla="*/ 213741 h 3355086"/>
                <a:gd name="connsiteX25286" fmla="*/ 2426493 w 3359086"/>
                <a:gd name="connsiteY25286" fmla="*/ 215455 h 3355086"/>
                <a:gd name="connsiteX25287" fmla="*/ 2427541 w 3359086"/>
                <a:gd name="connsiteY25287" fmla="*/ 216503 h 3355086"/>
                <a:gd name="connsiteX25288" fmla="*/ 2425779 w 3359086"/>
                <a:gd name="connsiteY25288" fmla="*/ 218265 h 3355086"/>
                <a:gd name="connsiteX25289" fmla="*/ 2426970 w 3359086"/>
                <a:gd name="connsiteY25289" fmla="*/ 219456 h 3355086"/>
                <a:gd name="connsiteX25290" fmla="*/ 2425065 w 3359086"/>
                <a:gd name="connsiteY25290" fmla="*/ 221361 h 3355086"/>
                <a:gd name="connsiteX25291" fmla="*/ 2426303 w 3359086"/>
                <a:gd name="connsiteY25291" fmla="*/ 222599 h 3355086"/>
                <a:gd name="connsiteX25292" fmla="*/ 2423969 w 3359086"/>
                <a:gd name="connsiteY25292" fmla="*/ 224933 h 3355086"/>
                <a:gd name="connsiteX25293" fmla="*/ 2425351 w 3359086"/>
                <a:gd name="connsiteY25293" fmla="*/ 226314 h 3355086"/>
                <a:gd name="connsiteX25294" fmla="*/ 2422636 w 3359086"/>
                <a:gd name="connsiteY25294" fmla="*/ 229029 h 3355086"/>
                <a:gd name="connsiteX25295" fmla="*/ 2424207 w 3359086"/>
                <a:gd name="connsiteY25295" fmla="*/ 230600 h 3355086"/>
                <a:gd name="connsiteX25296" fmla="*/ 2420826 w 3359086"/>
                <a:gd name="connsiteY25296" fmla="*/ 233982 h 3355086"/>
                <a:gd name="connsiteX25297" fmla="*/ 2422684 w 3359086"/>
                <a:gd name="connsiteY25297" fmla="*/ 235839 h 3355086"/>
                <a:gd name="connsiteX25298" fmla="*/ 2418539 w 3359086"/>
                <a:gd name="connsiteY25298" fmla="*/ 239983 h 3355086"/>
                <a:gd name="connsiteX25299" fmla="*/ 2420683 w 3359086"/>
                <a:gd name="connsiteY25299" fmla="*/ 242126 h 3355086"/>
                <a:gd name="connsiteX25300" fmla="*/ 2415635 w 3359086"/>
                <a:gd name="connsiteY25300" fmla="*/ 247174 h 3355086"/>
                <a:gd name="connsiteX25301" fmla="*/ 2418111 w 3359086"/>
                <a:gd name="connsiteY25301" fmla="*/ 249650 h 3355086"/>
                <a:gd name="connsiteX25302" fmla="*/ 2411920 w 3359086"/>
                <a:gd name="connsiteY25302" fmla="*/ 255842 h 3355086"/>
                <a:gd name="connsiteX25303" fmla="*/ 2405729 w 3359086"/>
                <a:gd name="connsiteY25303" fmla="*/ 249650 h 3355086"/>
                <a:gd name="connsiteX25304" fmla="*/ 2410777 w 3359086"/>
                <a:gd name="connsiteY25304" fmla="*/ 244603 h 3355086"/>
                <a:gd name="connsiteX25305" fmla="*/ 2408300 w 3359086"/>
                <a:gd name="connsiteY25305" fmla="*/ 242126 h 3355086"/>
                <a:gd name="connsiteX25306" fmla="*/ 2412444 w 3359086"/>
                <a:gd name="connsiteY25306" fmla="*/ 237982 h 3355086"/>
                <a:gd name="connsiteX25307" fmla="*/ 2410301 w 3359086"/>
                <a:gd name="connsiteY25307" fmla="*/ 235839 h 3355086"/>
                <a:gd name="connsiteX25308" fmla="*/ 2413682 w 3359086"/>
                <a:gd name="connsiteY25308" fmla="*/ 232458 h 3355086"/>
                <a:gd name="connsiteX25309" fmla="*/ 2411825 w 3359086"/>
                <a:gd name="connsiteY25309" fmla="*/ 230600 h 3355086"/>
                <a:gd name="connsiteX25310" fmla="*/ 2414540 w 3359086"/>
                <a:gd name="connsiteY25310" fmla="*/ 227886 h 3355086"/>
                <a:gd name="connsiteX25311" fmla="*/ 2412968 w 3359086"/>
                <a:gd name="connsiteY25311" fmla="*/ 226314 h 3355086"/>
                <a:gd name="connsiteX25312" fmla="*/ 2415301 w 3359086"/>
                <a:gd name="connsiteY25312" fmla="*/ 223981 h 3355086"/>
                <a:gd name="connsiteX25313" fmla="*/ 2413920 w 3359086"/>
                <a:gd name="connsiteY25313" fmla="*/ 222599 h 3355086"/>
                <a:gd name="connsiteX25314" fmla="*/ 2415825 w 3359086"/>
                <a:gd name="connsiteY25314" fmla="*/ 220694 h 3355086"/>
                <a:gd name="connsiteX25315" fmla="*/ 2414587 w 3359086"/>
                <a:gd name="connsiteY25315" fmla="*/ 219456 h 3355086"/>
                <a:gd name="connsiteX25316" fmla="*/ 2416349 w 3359086"/>
                <a:gd name="connsiteY25316" fmla="*/ 217694 h 3355086"/>
                <a:gd name="connsiteX25317" fmla="*/ 2415158 w 3359086"/>
                <a:gd name="connsiteY25317" fmla="*/ 216503 h 3355086"/>
                <a:gd name="connsiteX25318" fmla="*/ 2416873 w 3359086"/>
                <a:gd name="connsiteY25318" fmla="*/ 214789 h 3355086"/>
                <a:gd name="connsiteX25319" fmla="*/ 2415825 w 3359086"/>
                <a:gd name="connsiteY25319" fmla="*/ 213741 h 3355086"/>
                <a:gd name="connsiteX25320" fmla="*/ 2417587 w 3359086"/>
                <a:gd name="connsiteY25320" fmla="*/ 211979 h 3355086"/>
                <a:gd name="connsiteX25321" fmla="*/ 2416492 w 3359086"/>
                <a:gd name="connsiteY25321" fmla="*/ 210883 h 3355086"/>
                <a:gd name="connsiteX25322" fmla="*/ 2418444 w 3359086"/>
                <a:gd name="connsiteY25322" fmla="*/ 208931 h 3355086"/>
                <a:gd name="connsiteX25323" fmla="*/ 2417349 w 3359086"/>
                <a:gd name="connsiteY25323" fmla="*/ 207835 h 3355086"/>
                <a:gd name="connsiteX25324" fmla="*/ 2419492 w 3359086"/>
                <a:gd name="connsiteY25324" fmla="*/ 205692 h 3355086"/>
                <a:gd name="connsiteX25325" fmla="*/ 2418302 w 3359086"/>
                <a:gd name="connsiteY25325" fmla="*/ 204502 h 3355086"/>
                <a:gd name="connsiteX25326" fmla="*/ 2420873 w 3359086"/>
                <a:gd name="connsiteY25326" fmla="*/ 201931 h 3355086"/>
                <a:gd name="connsiteX25327" fmla="*/ 2419635 w 3359086"/>
                <a:gd name="connsiteY25327" fmla="*/ 200692 h 3355086"/>
                <a:gd name="connsiteX25328" fmla="*/ 2422588 w 3359086"/>
                <a:gd name="connsiteY25328" fmla="*/ 197739 h 3355086"/>
                <a:gd name="connsiteX25329" fmla="*/ 2421254 w 3359086"/>
                <a:gd name="connsiteY25329" fmla="*/ 196405 h 3355086"/>
                <a:gd name="connsiteX25330" fmla="*/ 2424682 w 3359086"/>
                <a:gd name="connsiteY25330" fmla="*/ 192977 h 3355086"/>
                <a:gd name="connsiteX25331" fmla="*/ 2423159 w 3359086"/>
                <a:gd name="connsiteY25331" fmla="*/ 191453 h 3355086"/>
                <a:gd name="connsiteX25332" fmla="*/ 2427208 w 3359086"/>
                <a:gd name="connsiteY25332" fmla="*/ 187405 h 3355086"/>
                <a:gd name="connsiteX25333" fmla="*/ 2425541 w 3359086"/>
                <a:gd name="connsiteY25333" fmla="*/ 185738 h 3355086"/>
                <a:gd name="connsiteX25334" fmla="*/ 2431732 w 3359086"/>
                <a:gd name="connsiteY25334" fmla="*/ 179547 h 3355086"/>
                <a:gd name="connsiteX25335" fmla="*/ 2434494 w 3359086"/>
                <a:gd name="connsiteY25335" fmla="*/ 179166 h 3355086"/>
                <a:gd name="connsiteX25336" fmla="*/ 2434685 w 3359086"/>
                <a:gd name="connsiteY25336" fmla="*/ 179356 h 3355086"/>
                <a:gd name="connsiteX25337" fmla="*/ 2434494 w 3359086"/>
                <a:gd name="connsiteY25337" fmla="*/ 179547 h 3355086"/>
                <a:gd name="connsiteX25338" fmla="*/ 2434304 w 3359086"/>
                <a:gd name="connsiteY25338" fmla="*/ 179356 h 3355086"/>
                <a:gd name="connsiteX25339" fmla="*/ 2434494 w 3359086"/>
                <a:gd name="connsiteY25339" fmla="*/ 179166 h 3355086"/>
                <a:gd name="connsiteX25340" fmla="*/ 1916715 w 3359086"/>
                <a:gd name="connsiteY25340" fmla="*/ 177356 h 3355086"/>
                <a:gd name="connsiteX25341" fmla="*/ 1922907 w 3359086"/>
                <a:gd name="connsiteY25341" fmla="*/ 183547 h 3355086"/>
                <a:gd name="connsiteX25342" fmla="*/ 1916715 w 3359086"/>
                <a:gd name="connsiteY25342" fmla="*/ 189738 h 3355086"/>
                <a:gd name="connsiteX25343" fmla="*/ 1910524 w 3359086"/>
                <a:gd name="connsiteY25343" fmla="*/ 183547 h 3355086"/>
                <a:gd name="connsiteX25344" fmla="*/ 1916715 w 3359086"/>
                <a:gd name="connsiteY25344" fmla="*/ 177356 h 3355086"/>
                <a:gd name="connsiteX25345" fmla="*/ 1197578 w 3359086"/>
                <a:gd name="connsiteY25345" fmla="*/ 176594 h 3355086"/>
                <a:gd name="connsiteX25346" fmla="*/ 1203769 w 3359086"/>
                <a:gd name="connsiteY25346" fmla="*/ 182785 h 3355086"/>
                <a:gd name="connsiteX25347" fmla="*/ 1197578 w 3359086"/>
                <a:gd name="connsiteY25347" fmla="*/ 188976 h 3355086"/>
                <a:gd name="connsiteX25348" fmla="*/ 1191387 w 3359086"/>
                <a:gd name="connsiteY25348" fmla="*/ 182785 h 3355086"/>
                <a:gd name="connsiteX25349" fmla="*/ 1197578 w 3359086"/>
                <a:gd name="connsiteY25349" fmla="*/ 176594 h 3355086"/>
                <a:gd name="connsiteX25350" fmla="*/ 2262568 w 3359086"/>
                <a:gd name="connsiteY25350" fmla="*/ 176022 h 3355086"/>
                <a:gd name="connsiteX25351" fmla="*/ 2268760 w 3359086"/>
                <a:gd name="connsiteY25351" fmla="*/ 182213 h 3355086"/>
                <a:gd name="connsiteX25352" fmla="*/ 2262568 w 3359086"/>
                <a:gd name="connsiteY25352" fmla="*/ 188405 h 3355086"/>
                <a:gd name="connsiteX25353" fmla="*/ 2256377 w 3359086"/>
                <a:gd name="connsiteY25353" fmla="*/ 182213 h 3355086"/>
                <a:gd name="connsiteX25354" fmla="*/ 2262568 w 3359086"/>
                <a:gd name="connsiteY25354" fmla="*/ 176022 h 3355086"/>
                <a:gd name="connsiteX25355" fmla="*/ 1283969 w 3359086"/>
                <a:gd name="connsiteY25355" fmla="*/ 176022 h 3355086"/>
                <a:gd name="connsiteX25356" fmla="*/ 1290161 w 3359086"/>
                <a:gd name="connsiteY25356" fmla="*/ 182213 h 3355086"/>
                <a:gd name="connsiteX25357" fmla="*/ 1283969 w 3359086"/>
                <a:gd name="connsiteY25357" fmla="*/ 188405 h 3355086"/>
                <a:gd name="connsiteX25358" fmla="*/ 1277778 w 3359086"/>
                <a:gd name="connsiteY25358" fmla="*/ 182213 h 3355086"/>
                <a:gd name="connsiteX25359" fmla="*/ 1283969 w 3359086"/>
                <a:gd name="connsiteY25359" fmla="*/ 176022 h 3355086"/>
                <a:gd name="connsiteX25360" fmla="*/ 2183415 w 3359086"/>
                <a:gd name="connsiteY25360" fmla="*/ 174213 h 3355086"/>
                <a:gd name="connsiteX25361" fmla="*/ 2189607 w 3359086"/>
                <a:gd name="connsiteY25361" fmla="*/ 180404 h 3355086"/>
                <a:gd name="connsiteX25362" fmla="*/ 2183415 w 3359086"/>
                <a:gd name="connsiteY25362" fmla="*/ 186595 h 3355086"/>
                <a:gd name="connsiteX25363" fmla="*/ 2177224 w 3359086"/>
                <a:gd name="connsiteY25363" fmla="*/ 180404 h 3355086"/>
                <a:gd name="connsiteX25364" fmla="*/ 2183415 w 3359086"/>
                <a:gd name="connsiteY25364" fmla="*/ 174213 h 3355086"/>
                <a:gd name="connsiteX25365" fmla="*/ 1109090 w 3359086"/>
                <a:gd name="connsiteY25365" fmla="*/ 173355 h 3355086"/>
                <a:gd name="connsiteX25366" fmla="*/ 1115281 w 3359086"/>
                <a:gd name="connsiteY25366" fmla="*/ 179546 h 3355086"/>
                <a:gd name="connsiteX25367" fmla="*/ 1109090 w 3359086"/>
                <a:gd name="connsiteY25367" fmla="*/ 185737 h 3355086"/>
                <a:gd name="connsiteX25368" fmla="*/ 1102899 w 3359086"/>
                <a:gd name="connsiteY25368" fmla="*/ 179546 h 3355086"/>
                <a:gd name="connsiteX25369" fmla="*/ 1109090 w 3359086"/>
                <a:gd name="connsiteY25369" fmla="*/ 173355 h 3355086"/>
                <a:gd name="connsiteX25370" fmla="*/ 1455895 w 3359086"/>
                <a:gd name="connsiteY25370" fmla="*/ 173069 h 3355086"/>
                <a:gd name="connsiteX25371" fmla="*/ 1462087 w 3359086"/>
                <a:gd name="connsiteY25371" fmla="*/ 179260 h 3355086"/>
                <a:gd name="connsiteX25372" fmla="*/ 1455895 w 3359086"/>
                <a:gd name="connsiteY25372" fmla="*/ 185451 h 3355086"/>
                <a:gd name="connsiteX25373" fmla="*/ 1449704 w 3359086"/>
                <a:gd name="connsiteY25373" fmla="*/ 179260 h 3355086"/>
                <a:gd name="connsiteX25374" fmla="*/ 1455895 w 3359086"/>
                <a:gd name="connsiteY25374" fmla="*/ 173069 h 3355086"/>
                <a:gd name="connsiteX25375" fmla="*/ 2015585 w 3359086"/>
                <a:gd name="connsiteY25375" fmla="*/ 170212 h 3355086"/>
                <a:gd name="connsiteX25376" fmla="*/ 2021776 w 3359086"/>
                <a:gd name="connsiteY25376" fmla="*/ 176403 h 3355086"/>
                <a:gd name="connsiteX25377" fmla="*/ 2015585 w 3359086"/>
                <a:gd name="connsiteY25377" fmla="*/ 182594 h 3355086"/>
                <a:gd name="connsiteX25378" fmla="*/ 2009394 w 3359086"/>
                <a:gd name="connsiteY25378" fmla="*/ 176403 h 3355086"/>
                <a:gd name="connsiteX25379" fmla="*/ 2015585 w 3359086"/>
                <a:gd name="connsiteY25379" fmla="*/ 170212 h 3355086"/>
                <a:gd name="connsiteX25380" fmla="*/ 1840896 w 3359086"/>
                <a:gd name="connsiteY25380" fmla="*/ 169831 h 3355086"/>
                <a:gd name="connsiteX25381" fmla="*/ 1847088 w 3359086"/>
                <a:gd name="connsiteY25381" fmla="*/ 176022 h 3355086"/>
                <a:gd name="connsiteX25382" fmla="*/ 1840896 w 3359086"/>
                <a:gd name="connsiteY25382" fmla="*/ 182214 h 3355086"/>
                <a:gd name="connsiteX25383" fmla="*/ 1834705 w 3359086"/>
                <a:gd name="connsiteY25383" fmla="*/ 176022 h 3355086"/>
                <a:gd name="connsiteX25384" fmla="*/ 1840896 w 3359086"/>
                <a:gd name="connsiteY25384" fmla="*/ 169831 h 3355086"/>
                <a:gd name="connsiteX25385" fmla="*/ 2104357 w 3359086"/>
                <a:gd name="connsiteY25385" fmla="*/ 169545 h 3355086"/>
                <a:gd name="connsiteX25386" fmla="*/ 2110549 w 3359086"/>
                <a:gd name="connsiteY25386" fmla="*/ 175736 h 3355086"/>
                <a:gd name="connsiteX25387" fmla="*/ 2104357 w 3359086"/>
                <a:gd name="connsiteY25387" fmla="*/ 181927 h 3355086"/>
                <a:gd name="connsiteX25388" fmla="*/ 2098166 w 3359086"/>
                <a:gd name="connsiteY25388" fmla="*/ 175736 h 3355086"/>
                <a:gd name="connsiteX25389" fmla="*/ 2104357 w 3359086"/>
                <a:gd name="connsiteY25389" fmla="*/ 169545 h 3355086"/>
                <a:gd name="connsiteX25390" fmla="*/ 1532286 w 3359086"/>
                <a:gd name="connsiteY25390" fmla="*/ 166878 h 3355086"/>
                <a:gd name="connsiteX25391" fmla="*/ 1538478 w 3359086"/>
                <a:gd name="connsiteY25391" fmla="*/ 173069 h 3355086"/>
                <a:gd name="connsiteX25392" fmla="*/ 1532286 w 3359086"/>
                <a:gd name="connsiteY25392" fmla="*/ 179260 h 3355086"/>
                <a:gd name="connsiteX25393" fmla="*/ 1526095 w 3359086"/>
                <a:gd name="connsiteY25393" fmla="*/ 173069 h 3355086"/>
                <a:gd name="connsiteX25394" fmla="*/ 1532286 w 3359086"/>
                <a:gd name="connsiteY25394" fmla="*/ 166878 h 3355086"/>
                <a:gd name="connsiteX25395" fmla="*/ 1098613 w 3359086"/>
                <a:gd name="connsiteY25395" fmla="*/ 166402 h 3355086"/>
                <a:gd name="connsiteX25396" fmla="*/ 1104804 w 3359086"/>
                <a:gd name="connsiteY25396" fmla="*/ 172593 h 3355086"/>
                <a:gd name="connsiteX25397" fmla="*/ 1098613 w 3359086"/>
                <a:gd name="connsiteY25397" fmla="*/ 178785 h 3355086"/>
                <a:gd name="connsiteX25398" fmla="*/ 1092422 w 3359086"/>
                <a:gd name="connsiteY25398" fmla="*/ 172593 h 3355086"/>
                <a:gd name="connsiteX25399" fmla="*/ 1098613 w 3359086"/>
                <a:gd name="connsiteY25399" fmla="*/ 166402 h 3355086"/>
                <a:gd name="connsiteX25400" fmla="*/ 2399442 w 3359086"/>
                <a:gd name="connsiteY25400" fmla="*/ 166307 h 3355086"/>
                <a:gd name="connsiteX25401" fmla="*/ 2405634 w 3359086"/>
                <a:gd name="connsiteY25401" fmla="*/ 172498 h 3355086"/>
                <a:gd name="connsiteX25402" fmla="*/ 2401728 w 3359086"/>
                <a:gd name="connsiteY25402" fmla="*/ 176403 h 3355086"/>
                <a:gd name="connsiteX25403" fmla="*/ 2402776 w 3359086"/>
                <a:gd name="connsiteY25403" fmla="*/ 177451 h 3355086"/>
                <a:gd name="connsiteX25404" fmla="*/ 2399348 w 3359086"/>
                <a:gd name="connsiteY25404" fmla="*/ 180880 h 3355086"/>
                <a:gd name="connsiteX25405" fmla="*/ 2400205 w 3359086"/>
                <a:gd name="connsiteY25405" fmla="*/ 181737 h 3355086"/>
                <a:gd name="connsiteX25406" fmla="*/ 2397157 w 3359086"/>
                <a:gd name="connsiteY25406" fmla="*/ 184785 h 3355086"/>
                <a:gd name="connsiteX25407" fmla="*/ 2397824 w 3359086"/>
                <a:gd name="connsiteY25407" fmla="*/ 185452 h 3355086"/>
                <a:gd name="connsiteX25408" fmla="*/ 2395299 w 3359086"/>
                <a:gd name="connsiteY25408" fmla="*/ 187977 h 3355086"/>
                <a:gd name="connsiteX25409" fmla="*/ 2395822 w 3359086"/>
                <a:gd name="connsiteY25409" fmla="*/ 188500 h 3355086"/>
                <a:gd name="connsiteX25410" fmla="*/ 2393489 w 3359086"/>
                <a:gd name="connsiteY25410" fmla="*/ 190833 h 3355086"/>
                <a:gd name="connsiteX25411" fmla="*/ 2393918 w 3359086"/>
                <a:gd name="connsiteY25411" fmla="*/ 191262 h 3355086"/>
                <a:gd name="connsiteX25412" fmla="*/ 2391774 w 3359086"/>
                <a:gd name="connsiteY25412" fmla="*/ 193405 h 3355086"/>
                <a:gd name="connsiteX25413" fmla="*/ 2392108 w 3359086"/>
                <a:gd name="connsiteY25413" fmla="*/ 193739 h 3355086"/>
                <a:gd name="connsiteX25414" fmla="*/ 2390156 w 3359086"/>
                <a:gd name="connsiteY25414" fmla="*/ 195691 h 3355086"/>
                <a:gd name="connsiteX25415" fmla="*/ 2390394 w 3359086"/>
                <a:gd name="connsiteY25415" fmla="*/ 195929 h 3355086"/>
                <a:gd name="connsiteX25416" fmla="*/ 2388346 w 3359086"/>
                <a:gd name="connsiteY25416" fmla="*/ 197977 h 3355086"/>
                <a:gd name="connsiteX25417" fmla="*/ 2388584 w 3359086"/>
                <a:gd name="connsiteY25417" fmla="*/ 198215 h 3355086"/>
                <a:gd name="connsiteX25418" fmla="*/ 2386441 w 3359086"/>
                <a:gd name="connsiteY25418" fmla="*/ 200358 h 3355086"/>
                <a:gd name="connsiteX25419" fmla="*/ 2386679 w 3359086"/>
                <a:gd name="connsiteY25419" fmla="*/ 200596 h 3355086"/>
                <a:gd name="connsiteX25420" fmla="*/ 2384297 w 3359086"/>
                <a:gd name="connsiteY25420" fmla="*/ 202978 h 3355086"/>
                <a:gd name="connsiteX25421" fmla="*/ 2384584 w 3359086"/>
                <a:gd name="connsiteY25421" fmla="*/ 203264 h 3355086"/>
                <a:gd name="connsiteX25422" fmla="*/ 2381774 w 3359086"/>
                <a:gd name="connsiteY25422" fmla="*/ 206073 h 3355086"/>
                <a:gd name="connsiteX25423" fmla="*/ 2382203 w 3359086"/>
                <a:gd name="connsiteY25423" fmla="*/ 206502 h 3355086"/>
                <a:gd name="connsiteX25424" fmla="*/ 2378916 w 3359086"/>
                <a:gd name="connsiteY25424" fmla="*/ 209788 h 3355086"/>
                <a:gd name="connsiteX25425" fmla="*/ 2379440 w 3359086"/>
                <a:gd name="connsiteY25425" fmla="*/ 210312 h 3355086"/>
                <a:gd name="connsiteX25426" fmla="*/ 2375344 w 3359086"/>
                <a:gd name="connsiteY25426" fmla="*/ 214407 h 3355086"/>
                <a:gd name="connsiteX25427" fmla="*/ 2376107 w 3359086"/>
                <a:gd name="connsiteY25427" fmla="*/ 215170 h 3355086"/>
                <a:gd name="connsiteX25428" fmla="*/ 2371201 w 3359086"/>
                <a:gd name="connsiteY25428" fmla="*/ 220075 h 3355086"/>
                <a:gd name="connsiteX25429" fmla="*/ 2372201 w 3359086"/>
                <a:gd name="connsiteY25429" fmla="*/ 221075 h 3355086"/>
                <a:gd name="connsiteX25430" fmla="*/ 2366200 w 3359086"/>
                <a:gd name="connsiteY25430" fmla="*/ 227076 h 3355086"/>
                <a:gd name="connsiteX25431" fmla="*/ 2367534 w 3359086"/>
                <a:gd name="connsiteY25431" fmla="*/ 228409 h 3355086"/>
                <a:gd name="connsiteX25432" fmla="*/ 2361342 w 3359086"/>
                <a:gd name="connsiteY25432" fmla="*/ 234601 h 3355086"/>
                <a:gd name="connsiteX25433" fmla="*/ 2355151 w 3359086"/>
                <a:gd name="connsiteY25433" fmla="*/ 228409 h 3355086"/>
                <a:gd name="connsiteX25434" fmla="*/ 2361151 w 3359086"/>
                <a:gd name="connsiteY25434" fmla="*/ 222409 h 3355086"/>
                <a:gd name="connsiteX25435" fmla="*/ 2359818 w 3359086"/>
                <a:gd name="connsiteY25435" fmla="*/ 221075 h 3355086"/>
                <a:gd name="connsiteX25436" fmla="*/ 2364724 w 3359086"/>
                <a:gd name="connsiteY25436" fmla="*/ 216170 h 3355086"/>
                <a:gd name="connsiteX25437" fmla="*/ 2363724 w 3359086"/>
                <a:gd name="connsiteY25437" fmla="*/ 215170 h 3355086"/>
                <a:gd name="connsiteX25438" fmla="*/ 2367819 w 3359086"/>
                <a:gd name="connsiteY25438" fmla="*/ 211075 h 3355086"/>
                <a:gd name="connsiteX25439" fmla="*/ 2367057 w 3359086"/>
                <a:gd name="connsiteY25439" fmla="*/ 210312 h 3355086"/>
                <a:gd name="connsiteX25440" fmla="*/ 2370344 w 3359086"/>
                <a:gd name="connsiteY25440" fmla="*/ 207026 h 3355086"/>
                <a:gd name="connsiteX25441" fmla="*/ 2369820 w 3359086"/>
                <a:gd name="connsiteY25441" fmla="*/ 206502 h 3355086"/>
                <a:gd name="connsiteX25442" fmla="*/ 2372630 w 3359086"/>
                <a:gd name="connsiteY25442" fmla="*/ 203693 h 3355086"/>
                <a:gd name="connsiteX25443" fmla="*/ 2372201 w 3359086"/>
                <a:gd name="connsiteY25443" fmla="*/ 203264 h 3355086"/>
                <a:gd name="connsiteX25444" fmla="*/ 2374582 w 3359086"/>
                <a:gd name="connsiteY25444" fmla="*/ 200883 h 3355086"/>
                <a:gd name="connsiteX25445" fmla="*/ 2374296 w 3359086"/>
                <a:gd name="connsiteY25445" fmla="*/ 200596 h 3355086"/>
                <a:gd name="connsiteX25446" fmla="*/ 2376439 w 3359086"/>
                <a:gd name="connsiteY25446" fmla="*/ 198453 h 3355086"/>
                <a:gd name="connsiteX25447" fmla="*/ 2376201 w 3359086"/>
                <a:gd name="connsiteY25447" fmla="*/ 198215 h 3355086"/>
                <a:gd name="connsiteX25448" fmla="*/ 2378249 w 3359086"/>
                <a:gd name="connsiteY25448" fmla="*/ 196167 h 3355086"/>
                <a:gd name="connsiteX25449" fmla="*/ 2378011 w 3359086"/>
                <a:gd name="connsiteY25449" fmla="*/ 195929 h 3355086"/>
                <a:gd name="connsiteX25450" fmla="*/ 2379963 w 3359086"/>
                <a:gd name="connsiteY25450" fmla="*/ 193977 h 3355086"/>
                <a:gd name="connsiteX25451" fmla="*/ 2379725 w 3359086"/>
                <a:gd name="connsiteY25451" fmla="*/ 193739 h 3355086"/>
                <a:gd name="connsiteX25452" fmla="*/ 2381868 w 3359086"/>
                <a:gd name="connsiteY25452" fmla="*/ 191596 h 3355086"/>
                <a:gd name="connsiteX25453" fmla="*/ 2381535 w 3359086"/>
                <a:gd name="connsiteY25453" fmla="*/ 191262 h 3355086"/>
                <a:gd name="connsiteX25454" fmla="*/ 2383868 w 3359086"/>
                <a:gd name="connsiteY25454" fmla="*/ 188929 h 3355086"/>
                <a:gd name="connsiteX25455" fmla="*/ 2383440 w 3359086"/>
                <a:gd name="connsiteY25455" fmla="*/ 188500 h 3355086"/>
                <a:gd name="connsiteX25456" fmla="*/ 2385964 w 3359086"/>
                <a:gd name="connsiteY25456" fmla="*/ 185976 h 3355086"/>
                <a:gd name="connsiteX25457" fmla="*/ 2385441 w 3359086"/>
                <a:gd name="connsiteY25457" fmla="*/ 185452 h 3355086"/>
                <a:gd name="connsiteX25458" fmla="*/ 2388489 w 3359086"/>
                <a:gd name="connsiteY25458" fmla="*/ 182404 h 3355086"/>
                <a:gd name="connsiteX25459" fmla="*/ 2387822 w 3359086"/>
                <a:gd name="connsiteY25459" fmla="*/ 181737 h 3355086"/>
                <a:gd name="connsiteX25460" fmla="*/ 2391251 w 3359086"/>
                <a:gd name="connsiteY25460" fmla="*/ 178308 h 3355086"/>
                <a:gd name="connsiteX25461" fmla="*/ 2390394 w 3359086"/>
                <a:gd name="connsiteY25461" fmla="*/ 177451 h 3355086"/>
                <a:gd name="connsiteX25462" fmla="*/ 2394299 w 3359086"/>
                <a:gd name="connsiteY25462" fmla="*/ 173546 h 3355086"/>
                <a:gd name="connsiteX25463" fmla="*/ 2393251 w 3359086"/>
                <a:gd name="connsiteY25463" fmla="*/ 172498 h 3355086"/>
                <a:gd name="connsiteX25464" fmla="*/ 2399442 w 3359086"/>
                <a:gd name="connsiteY25464" fmla="*/ 166307 h 3355086"/>
                <a:gd name="connsiteX25465" fmla="*/ 1181671 w 3359086"/>
                <a:gd name="connsiteY25465" fmla="*/ 165450 h 3355086"/>
                <a:gd name="connsiteX25466" fmla="*/ 1187862 w 3359086"/>
                <a:gd name="connsiteY25466" fmla="*/ 171641 h 3355086"/>
                <a:gd name="connsiteX25467" fmla="*/ 1181671 w 3359086"/>
                <a:gd name="connsiteY25467" fmla="*/ 177832 h 3355086"/>
                <a:gd name="connsiteX25468" fmla="*/ 1175480 w 3359086"/>
                <a:gd name="connsiteY25468" fmla="*/ 171641 h 3355086"/>
                <a:gd name="connsiteX25469" fmla="*/ 1181671 w 3359086"/>
                <a:gd name="connsiteY25469" fmla="*/ 165450 h 3355086"/>
                <a:gd name="connsiteX25470" fmla="*/ 2196274 w 3359086"/>
                <a:gd name="connsiteY25470" fmla="*/ 165354 h 3355086"/>
                <a:gd name="connsiteX25471" fmla="*/ 2202466 w 3359086"/>
                <a:gd name="connsiteY25471" fmla="*/ 171545 h 3355086"/>
                <a:gd name="connsiteX25472" fmla="*/ 2196274 w 3359086"/>
                <a:gd name="connsiteY25472" fmla="*/ 177736 h 3355086"/>
                <a:gd name="connsiteX25473" fmla="*/ 2190083 w 3359086"/>
                <a:gd name="connsiteY25473" fmla="*/ 171545 h 3355086"/>
                <a:gd name="connsiteX25474" fmla="*/ 2196274 w 3359086"/>
                <a:gd name="connsiteY25474" fmla="*/ 165354 h 3355086"/>
                <a:gd name="connsiteX25475" fmla="*/ 1764124 w 3359086"/>
                <a:gd name="connsiteY25475" fmla="*/ 164973 h 3355086"/>
                <a:gd name="connsiteX25476" fmla="*/ 1770316 w 3359086"/>
                <a:gd name="connsiteY25476" fmla="*/ 171164 h 3355086"/>
                <a:gd name="connsiteX25477" fmla="*/ 1764124 w 3359086"/>
                <a:gd name="connsiteY25477" fmla="*/ 177356 h 3355086"/>
                <a:gd name="connsiteX25478" fmla="*/ 1757933 w 3359086"/>
                <a:gd name="connsiteY25478" fmla="*/ 171164 h 3355086"/>
                <a:gd name="connsiteX25479" fmla="*/ 1764124 w 3359086"/>
                <a:gd name="connsiteY25479" fmla="*/ 164973 h 3355086"/>
                <a:gd name="connsiteX25480" fmla="*/ 2402681 w 3359086"/>
                <a:gd name="connsiteY25480" fmla="*/ 164402 h 3355086"/>
                <a:gd name="connsiteX25481" fmla="*/ 2404967 w 3359086"/>
                <a:gd name="connsiteY25481" fmla="*/ 166688 h 3355086"/>
                <a:gd name="connsiteX25482" fmla="*/ 2402681 w 3359086"/>
                <a:gd name="connsiteY25482" fmla="*/ 168974 h 3355086"/>
                <a:gd name="connsiteX25483" fmla="*/ 2400395 w 3359086"/>
                <a:gd name="connsiteY25483" fmla="*/ 166688 h 3355086"/>
                <a:gd name="connsiteX25484" fmla="*/ 2402681 w 3359086"/>
                <a:gd name="connsiteY25484" fmla="*/ 164402 h 3355086"/>
                <a:gd name="connsiteX25485" fmla="*/ 953548 w 3359086"/>
                <a:gd name="connsiteY25485" fmla="*/ 164402 h 3355086"/>
                <a:gd name="connsiteX25486" fmla="*/ 959167 w 3359086"/>
                <a:gd name="connsiteY25486" fmla="*/ 170022 h 3355086"/>
                <a:gd name="connsiteX25487" fmla="*/ 958929 w 3359086"/>
                <a:gd name="connsiteY25487" fmla="*/ 170260 h 3355086"/>
                <a:gd name="connsiteX25488" fmla="*/ 962692 w 3359086"/>
                <a:gd name="connsiteY25488" fmla="*/ 174022 h 3355086"/>
                <a:gd name="connsiteX25489" fmla="*/ 962359 w 3359086"/>
                <a:gd name="connsiteY25489" fmla="*/ 174356 h 3355086"/>
                <a:gd name="connsiteX25490" fmla="*/ 965358 w 3359086"/>
                <a:gd name="connsiteY25490" fmla="*/ 177355 h 3355086"/>
                <a:gd name="connsiteX25491" fmla="*/ 965215 w 3359086"/>
                <a:gd name="connsiteY25491" fmla="*/ 177498 h 3355086"/>
                <a:gd name="connsiteX25492" fmla="*/ 966359 w 3359086"/>
                <a:gd name="connsiteY25492" fmla="*/ 178642 h 3355086"/>
                <a:gd name="connsiteX25493" fmla="*/ 966501 w 3359086"/>
                <a:gd name="connsiteY25493" fmla="*/ 178499 h 3355086"/>
                <a:gd name="connsiteX25494" fmla="*/ 968692 w 3359086"/>
                <a:gd name="connsiteY25494" fmla="*/ 180689 h 3355086"/>
                <a:gd name="connsiteX25495" fmla="*/ 968882 w 3359086"/>
                <a:gd name="connsiteY25495" fmla="*/ 180499 h 3355086"/>
                <a:gd name="connsiteX25496" fmla="*/ 971025 w 3359086"/>
                <a:gd name="connsiteY25496" fmla="*/ 182642 h 3355086"/>
                <a:gd name="connsiteX25497" fmla="*/ 971263 w 3359086"/>
                <a:gd name="connsiteY25497" fmla="*/ 182404 h 3355086"/>
                <a:gd name="connsiteX25498" fmla="*/ 973692 w 3359086"/>
                <a:gd name="connsiteY25498" fmla="*/ 184833 h 3355086"/>
                <a:gd name="connsiteX25499" fmla="*/ 973930 w 3359086"/>
                <a:gd name="connsiteY25499" fmla="*/ 184595 h 3355086"/>
                <a:gd name="connsiteX25500" fmla="*/ 976550 w 3359086"/>
                <a:gd name="connsiteY25500" fmla="*/ 187214 h 3355086"/>
                <a:gd name="connsiteX25501" fmla="*/ 976788 w 3359086"/>
                <a:gd name="connsiteY25501" fmla="*/ 186976 h 3355086"/>
                <a:gd name="connsiteX25502" fmla="*/ 979884 w 3359086"/>
                <a:gd name="connsiteY25502" fmla="*/ 190072 h 3355086"/>
                <a:gd name="connsiteX25503" fmla="*/ 980026 w 3359086"/>
                <a:gd name="connsiteY25503" fmla="*/ 189929 h 3355086"/>
                <a:gd name="connsiteX25504" fmla="*/ 983741 w 3359086"/>
                <a:gd name="connsiteY25504" fmla="*/ 193643 h 3355086"/>
                <a:gd name="connsiteX25505" fmla="*/ 983741 w 3359086"/>
                <a:gd name="connsiteY25505" fmla="*/ 193643 h 3355086"/>
                <a:gd name="connsiteX25506" fmla="*/ 989933 w 3359086"/>
                <a:gd name="connsiteY25506" fmla="*/ 199834 h 3355086"/>
                <a:gd name="connsiteX25507" fmla="*/ 989790 w 3359086"/>
                <a:gd name="connsiteY25507" fmla="*/ 199978 h 3355086"/>
                <a:gd name="connsiteX25508" fmla="*/ 994219 w 3359086"/>
                <a:gd name="connsiteY25508" fmla="*/ 204407 h 3355086"/>
                <a:gd name="connsiteX25509" fmla="*/ 993790 w 3359086"/>
                <a:gd name="connsiteY25509" fmla="*/ 204836 h 3355086"/>
                <a:gd name="connsiteX25510" fmla="*/ 999172 w 3359086"/>
                <a:gd name="connsiteY25510" fmla="*/ 210217 h 3355086"/>
                <a:gd name="connsiteX25511" fmla="*/ 992980 w 3359086"/>
                <a:gd name="connsiteY25511" fmla="*/ 216408 h 3355086"/>
                <a:gd name="connsiteX25512" fmla="*/ 986789 w 3359086"/>
                <a:gd name="connsiteY25512" fmla="*/ 210217 h 3355086"/>
                <a:gd name="connsiteX25513" fmla="*/ 987218 w 3359086"/>
                <a:gd name="connsiteY25513" fmla="*/ 209789 h 3355086"/>
                <a:gd name="connsiteX25514" fmla="*/ 981837 w 3359086"/>
                <a:gd name="connsiteY25514" fmla="*/ 204407 h 3355086"/>
                <a:gd name="connsiteX25515" fmla="*/ 981980 w 3359086"/>
                <a:gd name="connsiteY25515" fmla="*/ 204265 h 3355086"/>
                <a:gd name="connsiteX25516" fmla="*/ 980026 w 3359086"/>
                <a:gd name="connsiteY25516" fmla="*/ 202311 h 3355086"/>
                <a:gd name="connsiteX25517" fmla="*/ 980026 w 3359086"/>
                <a:gd name="connsiteY25517" fmla="*/ 202311 h 3355086"/>
                <a:gd name="connsiteX25518" fmla="*/ 976931 w 3359086"/>
                <a:gd name="connsiteY25518" fmla="*/ 199216 h 3355086"/>
                <a:gd name="connsiteX25519" fmla="*/ 976788 w 3359086"/>
                <a:gd name="connsiteY25519" fmla="*/ 199358 h 3355086"/>
                <a:gd name="connsiteX25520" fmla="*/ 974169 w 3359086"/>
                <a:gd name="connsiteY25520" fmla="*/ 196739 h 3355086"/>
                <a:gd name="connsiteX25521" fmla="*/ 973930 w 3359086"/>
                <a:gd name="connsiteY25521" fmla="*/ 196977 h 3355086"/>
                <a:gd name="connsiteX25522" fmla="*/ 971502 w 3359086"/>
                <a:gd name="connsiteY25522" fmla="*/ 194549 h 3355086"/>
                <a:gd name="connsiteX25523" fmla="*/ 971263 w 3359086"/>
                <a:gd name="connsiteY25523" fmla="*/ 194787 h 3355086"/>
                <a:gd name="connsiteX25524" fmla="*/ 969120 w 3359086"/>
                <a:gd name="connsiteY25524" fmla="*/ 192643 h 3355086"/>
                <a:gd name="connsiteX25525" fmla="*/ 968882 w 3359086"/>
                <a:gd name="connsiteY25525" fmla="*/ 192881 h 3355086"/>
                <a:gd name="connsiteX25526" fmla="*/ 966692 w 3359086"/>
                <a:gd name="connsiteY25526" fmla="*/ 190691 h 3355086"/>
                <a:gd name="connsiteX25527" fmla="*/ 966501 w 3359086"/>
                <a:gd name="connsiteY25527" fmla="*/ 190882 h 3355086"/>
                <a:gd name="connsiteX25528" fmla="*/ 964262 w 3359086"/>
                <a:gd name="connsiteY25528" fmla="*/ 188643 h 3355086"/>
                <a:gd name="connsiteX25529" fmla="*/ 964120 w 3359086"/>
                <a:gd name="connsiteY25529" fmla="*/ 188785 h 3355086"/>
                <a:gd name="connsiteX25530" fmla="*/ 961739 w 3359086"/>
                <a:gd name="connsiteY25530" fmla="*/ 186404 h 3355086"/>
                <a:gd name="connsiteX25531" fmla="*/ 961738 w 3359086"/>
                <a:gd name="connsiteY25531" fmla="*/ 186404 h 3355086"/>
                <a:gd name="connsiteX25532" fmla="*/ 955547 w 3359086"/>
                <a:gd name="connsiteY25532" fmla="*/ 180213 h 3355086"/>
                <a:gd name="connsiteX25533" fmla="*/ 955690 w 3359086"/>
                <a:gd name="connsiteY25533" fmla="*/ 180070 h 3355086"/>
                <a:gd name="connsiteX25534" fmla="*/ 952976 w 3359086"/>
                <a:gd name="connsiteY25534" fmla="*/ 177355 h 3355086"/>
                <a:gd name="connsiteX25535" fmla="*/ 953309 w 3359086"/>
                <a:gd name="connsiteY25535" fmla="*/ 177022 h 3355086"/>
                <a:gd name="connsiteX25536" fmla="*/ 950309 w 3359086"/>
                <a:gd name="connsiteY25536" fmla="*/ 174022 h 3355086"/>
                <a:gd name="connsiteX25537" fmla="*/ 951119 w 3359086"/>
                <a:gd name="connsiteY25537" fmla="*/ 173213 h 3355086"/>
                <a:gd name="connsiteX25538" fmla="*/ 947928 w 3359086"/>
                <a:gd name="connsiteY25538" fmla="*/ 170022 h 3355086"/>
                <a:gd name="connsiteX25539" fmla="*/ 953548 w 3359086"/>
                <a:gd name="connsiteY25539" fmla="*/ 164402 h 3355086"/>
                <a:gd name="connsiteX25540" fmla="*/ 1354549 w 3359086"/>
                <a:gd name="connsiteY25540" fmla="*/ 164116 h 3355086"/>
                <a:gd name="connsiteX25541" fmla="*/ 1360741 w 3359086"/>
                <a:gd name="connsiteY25541" fmla="*/ 170307 h 3355086"/>
                <a:gd name="connsiteX25542" fmla="*/ 1354549 w 3359086"/>
                <a:gd name="connsiteY25542" fmla="*/ 176499 h 3355086"/>
                <a:gd name="connsiteX25543" fmla="*/ 1348358 w 3359086"/>
                <a:gd name="connsiteY25543" fmla="*/ 170307 h 3355086"/>
                <a:gd name="connsiteX25544" fmla="*/ 1354549 w 3359086"/>
                <a:gd name="connsiteY25544" fmla="*/ 164116 h 3355086"/>
                <a:gd name="connsiteX25545" fmla="*/ 1609343 w 3359086"/>
                <a:gd name="connsiteY25545" fmla="*/ 163544 h 3355086"/>
                <a:gd name="connsiteX25546" fmla="*/ 1615535 w 3359086"/>
                <a:gd name="connsiteY25546" fmla="*/ 169735 h 3355086"/>
                <a:gd name="connsiteX25547" fmla="*/ 1609343 w 3359086"/>
                <a:gd name="connsiteY25547" fmla="*/ 175926 h 3355086"/>
                <a:gd name="connsiteX25548" fmla="*/ 1603152 w 3359086"/>
                <a:gd name="connsiteY25548" fmla="*/ 169735 h 3355086"/>
                <a:gd name="connsiteX25549" fmla="*/ 1609343 w 3359086"/>
                <a:gd name="connsiteY25549" fmla="*/ 163544 h 3355086"/>
                <a:gd name="connsiteX25550" fmla="*/ 1686782 w 3359086"/>
                <a:gd name="connsiteY25550" fmla="*/ 162878 h 3355086"/>
                <a:gd name="connsiteX25551" fmla="*/ 1692974 w 3359086"/>
                <a:gd name="connsiteY25551" fmla="*/ 169069 h 3355086"/>
                <a:gd name="connsiteX25552" fmla="*/ 1686782 w 3359086"/>
                <a:gd name="connsiteY25552" fmla="*/ 175260 h 3355086"/>
                <a:gd name="connsiteX25553" fmla="*/ 1680591 w 3359086"/>
                <a:gd name="connsiteY25553" fmla="*/ 169069 h 3355086"/>
                <a:gd name="connsiteX25554" fmla="*/ 1686782 w 3359086"/>
                <a:gd name="connsiteY25554" fmla="*/ 162878 h 3355086"/>
                <a:gd name="connsiteX25555" fmla="*/ 1263300 w 3359086"/>
                <a:gd name="connsiteY25555" fmla="*/ 162021 h 3355086"/>
                <a:gd name="connsiteX25556" fmla="*/ 1269492 w 3359086"/>
                <a:gd name="connsiteY25556" fmla="*/ 168212 h 3355086"/>
                <a:gd name="connsiteX25557" fmla="*/ 1263300 w 3359086"/>
                <a:gd name="connsiteY25557" fmla="*/ 174403 h 3355086"/>
                <a:gd name="connsiteX25558" fmla="*/ 1257109 w 3359086"/>
                <a:gd name="connsiteY25558" fmla="*/ 168212 h 3355086"/>
                <a:gd name="connsiteX25559" fmla="*/ 1263300 w 3359086"/>
                <a:gd name="connsiteY25559" fmla="*/ 162021 h 3355086"/>
                <a:gd name="connsiteX25560" fmla="*/ 1089374 w 3359086"/>
                <a:gd name="connsiteY25560" fmla="*/ 160973 h 3355086"/>
                <a:gd name="connsiteX25561" fmla="*/ 1095565 w 3359086"/>
                <a:gd name="connsiteY25561" fmla="*/ 167164 h 3355086"/>
                <a:gd name="connsiteX25562" fmla="*/ 1089374 w 3359086"/>
                <a:gd name="connsiteY25562" fmla="*/ 173356 h 3355086"/>
                <a:gd name="connsiteX25563" fmla="*/ 1083183 w 3359086"/>
                <a:gd name="connsiteY25563" fmla="*/ 167164 h 3355086"/>
                <a:gd name="connsiteX25564" fmla="*/ 1089374 w 3359086"/>
                <a:gd name="connsiteY25564" fmla="*/ 160973 h 3355086"/>
                <a:gd name="connsiteX25565" fmla="*/ 1944337 w 3359086"/>
                <a:gd name="connsiteY25565" fmla="*/ 159353 h 3355086"/>
                <a:gd name="connsiteX25566" fmla="*/ 1950529 w 3359086"/>
                <a:gd name="connsiteY25566" fmla="*/ 165544 h 3355086"/>
                <a:gd name="connsiteX25567" fmla="*/ 1944337 w 3359086"/>
                <a:gd name="connsiteY25567" fmla="*/ 171736 h 3355086"/>
                <a:gd name="connsiteX25568" fmla="*/ 1938146 w 3359086"/>
                <a:gd name="connsiteY25568" fmla="*/ 165544 h 3355086"/>
                <a:gd name="connsiteX25569" fmla="*/ 1944337 w 3359086"/>
                <a:gd name="connsiteY25569" fmla="*/ 159353 h 3355086"/>
                <a:gd name="connsiteX25570" fmla="*/ 2207894 w 3359086"/>
                <a:gd name="connsiteY25570" fmla="*/ 158401 h 3355086"/>
                <a:gd name="connsiteX25571" fmla="*/ 2214086 w 3359086"/>
                <a:gd name="connsiteY25571" fmla="*/ 164592 h 3355086"/>
                <a:gd name="connsiteX25572" fmla="*/ 2207894 w 3359086"/>
                <a:gd name="connsiteY25572" fmla="*/ 170783 h 3355086"/>
                <a:gd name="connsiteX25573" fmla="*/ 2201703 w 3359086"/>
                <a:gd name="connsiteY25573" fmla="*/ 164592 h 3355086"/>
                <a:gd name="connsiteX25574" fmla="*/ 2207894 w 3359086"/>
                <a:gd name="connsiteY25574" fmla="*/ 158401 h 3355086"/>
                <a:gd name="connsiteX25575" fmla="*/ 2121598 w 3359086"/>
                <a:gd name="connsiteY25575" fmla="*/ 158306 h 3355086"/>
                <a:gd name="connsiteX25576" fmla="*/ 2127790 w 3359086"/>
                <a:gd name="connsiteY25576" fmla="*/ 164497 h 3355086"/>
                <a:gd name="connsiteX25577" fmla="*/ 2121598 w 3359086"/>
                <a:gd name="connsiteY25577" fmla="*/ 170688 h 3355086"/>
                <a:gd name="connsiteX25578" fmla="*/ 2115407 w 3359086"/>
                <a:gd name="connsiteY25578" fmla="*/ 164497 h 3355086"/>
                <a:gd name="connsiteX25579" fmla="*/ 2121598 w 3359086"/>
                <a:gd name="connsiteY25579" fmla="*/ 158306 h 3355086"/>
                <a:gd name="connsiteX25580" fmla="*/ 1167288 w 3359086"/>
                <a:gd name="connsiteY25580" fmla="*/ 156591 h 3355086"/>
                <a:gd name="connsiteX25581" fmla="*/ 1173479 w 3359086"/>
                <a:gd name="connsiteY25581" fmla="*/ 162782 h 3355086"/>
                <a:gd name="connsiteX25582" fmla="*/ 1167288 w 3359086"/>
                <a:gd name="connsiteY25582" fmla="*/ 168973 h 3355086"/>
                <a:gd name="connsiteX25583" fmla="*/ 1161097 w 3359086"/>
                <a:gd name="connsiteY25583" fmla="*/ 162782 h 3355086"/>
                <a:gd name="connsiteX25584" fmla="*/ 1167288 w 3359086"/>
                <a:gd name="connsiteY25584" fmla="*/ 156591 h 3355086"/>
                <a:gd name="connsiteX25585" fmla="*/ 2037778 w 3359086"/>
                <a:gd name="connsiteY25585" fmla="*/ 155925 h 3355086"/>
                <a:gd name="connsiteX25586" fmla="*/ 2043970 w 3359086"/>
                <a:gd name="connsiteY25586" fmla="*/ 162116 h 3355086"/>
                <a:gd name="connsiteX25587" fmla="*/ 2037778 w 3359086"/>
                <a:gd name="connsiteY25587" fmla="*/ 168307 h 3355086"/>
                <a:gd name="connsiteX25588" fmla="*/ 2031587 w 3359086"/>
                <a:gd name="connsiteY25588" fmla="*/ 162116 h 3355086"/>
                <a:gd name="connsiteX25589" fmla="*/ 2037778 w 3359086"/>
                <a:gd name="connsiteY25589" fmla="*/ 155925 h 3355086"/>
                <a:gd name="connsiteX25590" fmla="*/ 1426654 w 3359086"/>
                <a:gd name="connsiteY25590" fmla="*/ 154496 h 3355086"/>
                <a:gd name="connsiteX25591" fmla="*/ 1432845 w 3359086"/>
                <a:gd name="connsiteY25591" fmla="*/ 160687 h 3355086"/>
                <a:gd name="connsiteX25592" fmla="*/ 1426654 w 3359086"/>
                <a:gd name="connsiteY25592" fmla="*/ 166879 h 3355086"/>
                <a:gd name="connsiteX25593" fmla="*/ 1420463 w 3359086"/>
                <a:gd name="connsiteY25593" fmla="*/ 160687 h 3355086"/>
                <a:gd name="connsiteX25594" fmla="*/ 1426654 w 3359086"/>
                <a:gd name="connsiteY25594" fmla="*/ 154496 h 3355086"/>
                <a:gd name="connsiteX25595" fmla="*/ 2218181 w 3359086"/>
                <a:gd name="connsiteY25595" fmla="*/ 152972 h 3355086"/>
                <a:gd name="connsiteX25596" fmla="*/ 2224373 w 3359086"/>
                <a:gd name="connsiteY25596" fmla="*/ 159163 h 3355086"/>
                <a:gd name="connsiteX25597" fmla="*/ 2218181 w 3359086"/>
                <a:gd name="connsiteY25597" fmla="*/ 165355 h 3355086"/>
                <a:gd name="connsiteX25598" fmla="*/ 2211990 w 3359086"/>
                <a:gd name="connsiteY25598" fmla="*/ 159163 h 3355086"/>
                <a:gd name="connsiteX25599" fmla="*/ 2218181 w 3359086"/>
                <a:gd name="connsiteY25599" fmla="*/ 152972 h 3355086"/>
                <a:gd name="connsiteX25600" fmla="*/ 983741 w 3359086"/>
                <a:gd name="connsiteY25600" fmla="*/ 151067 h 3355086"/>
                <a:gd name="connsiteX25601" fmla="*/ 985075 w 3359086"/>
                <a:gd name="connsiteY25601" fmla="*/ 152400 h 3355086"/>
                <a:gd name="connsiteX25602" fmla="*/ 983741 w 3359086"/>
                <a:gd name="connsiteY25602" fmla="*/ 153734 h 3355086"/>
                <a:gd name="connsiteX25603" fmla="*/ 982408 w 3359086"/>
                <a:gd name="connsiteY25603" fmla="*/ 152400 h 3355086"/>
                <a:gd name="connsiteX25604" fmla="*/ 983741 w 3359086"/>
                <a:gd name="connsiteY25604" fmla="*/ 151067 h 3355086"/>
                <a:gd name="connsiteX25605" fmla="*/ 1871566 w 3359086"/>
                <a:gd name="connsiteY25605" fmla="*/ 150876 h 3355086"/>
                <a:gd name="connsiteX25606" fmla="*/ 1877758 w 3359086"/>
                <a:gd name="connsiteY25606" fmla="*/ 157067 h 3355086"/>
                <a:gd name="connsiteX25607" fmla="*/ 1871566 w 3359086"/>
                <a:gd name="connsiteY25607" fmla="*/ 163258 h 3355086"/>
                <a:gd name="connsiteX25608" fmla="*/ 1865375 w 3359086"/>
                <a:gd name="connsiteY25608" fmla="*/ 157067 h 3355086"/>
                <a:gd name="connsiteX25609" fmla="*/ 1871566 w 3359086"/>
                <a:gd name="connsiteY25609" fmla="*/ 150876 h 3355086"/>
                <a:gd name="connsiteX25610" fmla="*/ 1244441 w 3359086"/>
                <a:gd name="connsiteY25610" fmla="*/ 150591 h 3355086"/>
                <a:gd name="connsiteX25611" fmla="*/ 1250633 w 3359086"/>
                <a:gd name="connsiteY25611" fmla="*/ 156782 h 3355086"/>
                <a:gd name="connsiteX25612" fmla="*/ 1244441 w 3359086"/>
                <a:gd name="connsiteY25612" fmla="*/ 162974 h 3355086"/>
                <a:gd name="connsiteX25613" fmla="*/ 1238250 w 3359086"/>
                <a:gd name="connsiteY25613" fmla="*/ 156782 h 3355086"/>
                <a:gd name="connsiteX25614" fmla="*/ 1244441 w 3359086"/>
                <a:gd name="connsiteY25614" fmla="*/ 150591 h 3355086"/>
                <a:gd name="connsiteX25615" fmla="*/ 987647 w 3359086"/>
                <a:gd name="connsiteY25615" fmla="*/ 150305 h 3355086"/>
                <a:gd name="connsiteX25616" fmla="*/ 991171 w 3359086"/>
                <a:gd name="connsiteY25616" fmla="*/ 153829 h 3355086"/>
                <a:gd name="connsiteX25617" fmla="*/ 991361 w 3359086"/>
                <a:gd name="connsiteY25617" fmla="*/ 153639 h 3355086"/>
                <a:gd name="connsiteX25618" fmla="*/ 994505 w 3359086"/>
                <a:gd name="connsiteY25618" fmla="*/ 156782 h 3355086"/>
                <a:gd name="connsiteX25619" fmla="*/ 994886 w 3359086"/>
                <a:gd name="connsiteY25619" fmla="*/ 156401 h 3355086"/>
                <a:gd name="connsiteX25620" fmla="*/ 997696 w 3359086"/>
                <a:gd name="connsiteY25620" fmla="*/ 159211 h 3355086"/>
                <a:gd name="connsiteX25621" fmla="*/ 998315 w 3359086"/>
                <a:gd name="connsiteY25621" fmla="*/ 158591 h 3355086"/>
                <a:gd name="connsiteX25622" fmla="*/ 1000982 w 3359086"/>
                <a:gd name="connsiteY25622" fmla="*/ 161258 h 3355086"/>
                <a:gd name="connsiteX25623" fmla="*/ 1001743 w 3359086"/>
                <a:gd name="connsiteY25623" fmla="*/ 160497 h 3355086"/>
                <a:gd name="connsiteX25624" fmla="*/ 1004220 w 3359086"/>
                <a:gd name="connsiteY25624" fmla="*/ 162973 h 3355086"/>
                <a:gd name="connsiteX25625" fmla="*/ 1005172 w 3359086"/>
                <a:gd name="connsiteY25625" fmla="*/ 162021 h 3355086"/>
                <a:gd name="connsiteX25626" fmla="*/ 1007744 w 3359086"/>
                <a:gd name="connsiteY25626" fmla="*/ 164592 h 3355086"/>
                <a:gd name="connsiteX25627" fmla="*/ 1008792 w 3359086"/>
                <a:gd name="connsiteY25627" fmla="*/ 163544 h 3355086"/>
                <a:gd name="connsiteX25628" fmla="*/ 1011364 w 3359086"/>
                <a:gd name="connsiteY25628" fmla="*/ 166116 h 3355086"/>
                <a:gd name="connsiteX25629" fmla="*/ 1012507 w 3359086"/>
                <a:gd name="connsiteY25629" fmla="*/ 164973 h 3355086"/>
                <a:gd name="connsiteX25630" fmla="*/ 1015413 w 3359086"/>
                <a:gd name="connsiteY25630" fmla="*/ 167879 h 3355086"/>
                <a:gd name="connsiteX25631" fmla="*/ 1016603 w 3359086"/>
                <a:gd name="connsiteY25631" fmla="*/ 166688 h 3355086"/>
                <a:gd name="connsiteX25632" fmla="*/ 1019794 w 3359086"/>
                <a:gd name="connsiteY25632" fmla="*/ 169879 h 3355086"/>
                <a:gd name="connsiteX25633" fmla="*/ 1020984 w 3359086"/>
                <a:gd name="connsiteY25633" fmla="*/ 168688 h 3355086"/>
                <a:gd name="connsiteX25634" fmla="*/ 1024794 w 3359086"/>
                <a:gd name="connsiteY25634" fmla="*/ 172498 h 3355086"/>
                <a:gd name="connsiteX25635" fmla="*/ 1025937 w 3359086"/>
                <a:gd name="connsiteY25635" fmla="*/ 171355 h 3355086"/>
                <a:gd name="connsiteX25636" fmla="*/ 1030366 w 3359086"/>
                <a:gd name="connsiteY25636" fmla="*/ 175784 h 3355086"/>
                <a:gd name="connsiteX25637" fmla="*/ 1031461 w 3359086"/>
                <a:gd name="connsiteY25637" fmla="*/ 174689 h 3355086"/>
                <a:gd name="connsiteX25638" fmla="*/ 1036795 w 3359086"/>
                <a:gd name="connsiteY25638" fmla="*/ 180023 h 3355086"/>
                <a:gd name="connsiteX25639" fmla="*/ 1037748 w 3359086"/>
                <a:gd name="connsiteY25639" fmla="*/ 179070 h 3355086"/>
                <a:gd name="connsiteX25640" fmla="*/ 1043939 w 3359086"/>
                <a:gd name="connsiteY25640" fmla="*/ 185261 h 3355086"/>
                <a:gd name="connsiteX25641" fmla="*/ 1037748 w 3359086"/>
                <a:gd name="connsiteY25641" fmla="*/ 191452 h 3355086"/>
                <a:gd name="connsiteX25642" fmla="*/ 1032414 w 3359086"/>
                <a:gd name="connsiteY25642" fmla="*/ 186118 h 3355086"/>
                <a:gd name="connsiteX25643" fmla="*/ 1031461 w 3359086"/>
                <a:gd name="connsiteY25643" fmla="*/ 187071 h 3355086"/>
                <a:gd name="connsiteX25644" fmla="*/ 1027033 w 3359086"/>
                <a:gd name="connsiteY25644" fmla="*/ 182643 h 3355086"/>
                <a:gd name="connsiteX25645" fmla="*/ 1025937 w 3359086"/>
                <a:gd name="connsiteY25645" fmla="*/ 183738 h 3355086"/>
                <a:gd name="connsiteX25646" fmla="*/ 1022127 w 3359086"/>
                <a:gd name="connsiteY25646" fmla="*/ 179927 h 3355086"/>
                <a:gd name="connsiteX25647" fmla="*/ 1020984 w 3359086"/>
                <a:gd name="connsiteY25647" fmla="*/ 181070 h 3355086"/>
                <a:gd name="connsiteX25648" fmla="*/ 1017794 w 3359086"/>
                <a:gd name="connsiteY25648" fmla="*/ 177880 h 3355086"/>
                <a:gd name="connsiteX25649" fmla="*/ 1016603 w 3359086"/>
                <a:gd name="connsiteY25649" fmla="*/ 179071 h 3355086"/>
                <a:gd name="connsiteX25650" fmla="*/ 1013698 w 3359086"/>
                <a:gd name="connsiteY25650" fmla="*/ 176165 h 3355086"/>
                <a:gd name="connsiteX25651" fmla="*/ 1012507 w 3359086"/>
                <a:gd name="connsiteY25651" fmla="*/ 177356 h 3355086"/>
                <a:gd name="connsiteX25652" fmla="*/ 1009935 w 3359086"/>
                <a:gd name="connsiteY25652" fmla="*/ 174783 h 3355086"/>
                <a:gd name="connsiteX25653" fmla="*/ 1008792 w 3359086"/>
                <a:gd name="connsiteY25653" fmla="*/ 175926 h 3355086"/>
                <a:gd name="connsiteX25654" fmla="*/ 1006221 w 3359086"/>
                <a:gd name="connsiteY25654" fmla="*/ 173355 h 3355086"/>
                <a:gd name="connsiteX25655" fmla="*/ 1005172 w 3359086"/>
                <a:gd name="connsiteY25655" fmla="*/ 174403 h 3355086"/>
                <a:gd name="connsiteX25656" fmla="*/ 1002696 w 3359086"/>
                <a:gd name="connsiteY25656" fmla="*/ 171927 h 3355086"/>
                <a:gd name="connsiteX25657" fmla="*/ 1001743 w 3359086"/>
                <a:gd name="connsiteY25657" fmla="*/ 172879 h 3355086"/>
                <a:gd name="connsiteX25658" fmla="*/ 999076 w 3359086"/>
                <a:gd name="connsiteY25658" fmla="*/ 170213 h 3355086"/>
                <a:gd name="connsiteX25659" fmla="*/ 998315 w 3359086"/>
                <a:gd name="connsiteY25659" fmla="*/ 170974 h 3355086"/>
                <a:gd name="connsiteX25660" fmla="*/ 995505 w 3359086"/>
                <a:gd name="connsiteY25660" fmla="*/ 168164 h 3355086"/>
                <a:gd name="connsiteX25661" fmla="*/ 994886 w 3359086"/>
                <a:gd name="connsiteY25661" fmla="*/ 168783 h 3355086"/>
                <a:gd name="connsiteX25662" fmla="*/ 991743 w 3359086"/>
                <a:gd name="connsiteY25662" fmla="*/ 165640 h 3355086"/>
                <a:gd name="connsiteX25663" fmla="*/ 991361 w 3359086"/>
                <a:gd name="connsiteY25663" fmla="*/ 166021 h 3355086"/>
                <a:gd name="connsiteX25664" fmla="*/ 987837 w 3359086"/>
                <a:gd name="connsiteY25664" fmla="*/ 162497 h 3355086"/>
                <a:gd name="connsiteX25665" fmla="*/ 987647 w 3359086"/>
                <a:gd name="connsiteY25665" fmla="*/ 162687 h 3355086"/>
                <a:gd name="connsiteX25666" fmla="*/ 981456 w 3359086"/>
                <a:gd name="connsiteY25666" fmla="*/ 156496 h 3355086"/>
                <a:gd name="connsiteX25667" fmla="*/ 987647 w 3359086"/>
                <a:gd name="connsiteY25667" fmla="*/ 150305 h 3355086"/>
                <a:gd name="connsiteX25668" fmla="*/ 1154429 w 3359086"/>
                <a:gd name="connsiteY25668" fmla="*/ 149543 h 3355086"/>
                <a:gd name="connsiteX25669" fmla="*/ 1160620 w 3359086"/>
                <a:gd name="connsiteY25669" fmla="*/ 155734 h 3355086"/>
                <a:gd name="connsiteX25670" fmla="*/ 1154429 w 3359086"/>
                <a:gd name="connsiteY25670" fmla="*/ 161926 h 3355086"/>
                <a:gd name="connsiteX25671" fmla="*/ 1148238 w 3359086"/>
                <a:gd name="connsiteY25671" fmla="*/ 155734 h 3355086"/>
                <a:gd name="connsiteX25672" fmla="*/ 1154429 w 3359086"/>
                <a:gd name="connsiteY25672" fmla="*/ 149543 h 3355086"/>
                <a:gd name="connsiteX25673" fmla="*/ 1330737 w 3359086"/>
                <a:gd name="connsiteY25673" fmla="*/ 149448 h 3355086"/>
                <a:gd name="connsiteX25674" fmla="*/ 1336929 w 3359086"/>
                <a:gd name="connsiteY25674" fmla="*/ 155639 h 3355086"/>
                <a:gd name="connsiteX25675" fmla="*/ 1330737 w 3359086"/>
                <a:gd name="connsiteY25675" fmla="*/ 161830 h 3355086"/>
                <a:gd name="connsiteX25676" fmla="*/ 1324546 w 3359086"/>
                <a:gd name="connsiteY25676" fmla="*/ 155639 h 3355086"/>
                <a:gd name="connsiteX25677" fmla="*/ 1330737 w 3359086"/>
                <a:gd name="connsiteY25677" fmla="*/ 149448 h 3355086"/>
                <a:gd name="connsiteX25678" fmla="*/ 2370296 w 3359086"/>
                <a:gd name="connsiteY25678" fmla="*/ 149257 h 3355086"/>
                <a:gd name="connsiteX25679" fmla="*/ 2375154 w 3359086"/>
                <a:gd name="connsiteY25679" fmla="*/ 154115 h 3355086"/>
                <a:gd name="connsiteX25680" fmla="*/ 2371297 w 3359086"/>
                <a:gd name="connsiteY25680" fmla="*/ 157972 h 3355086"/>
                <a:gd name="connsiteX25681" fmla="*/ 2372678 w 3359086"/>
                <a:gd name="connsiteY25681" fmla="*/ 159353 h 3355086"/>
                <a:gd name="connsiteX25682" fmla="*/ 2368677 w 3359086"/>
                <a:gd name="connsiteY25682" fmla="*/ 163354 h 3355086"/>
                <a:gd name="connsiteX25683" fmla="*/ 2369058 w 3359086"/>
                <a:gd name="connsiteY25683" fmla="*/ 163735 h 3355086"/>
                <a:gd name="connsiteX25684" fmla="*/ 2365629 w 3359086"/>
                <a:gd name="connsiteY25684" fmla="*/ 167163 h 3355086"/>
                <a:gd name="connsiteX25685" fmla="*/ 2365820 w 3359086"/>
                <a:gd name="connsiteY25685" fmla="*/ 167354 h 3355086"/>
                <a:gd name="connsiteX25686" fmla="*/ 2359628 w 3359086"/>
                <a:gd name="connsiteY25686" fmla="*/ 173545 h 3355086"/>
                <a:gd name="connsiteX25687" fmla="*/ 2356484 w 3359086"/>
                <a:gd name="connsiteY25687" fmla="*/ 176689 h 3355086"/>
                <a:gd name="connsiteX25688" fmla="*/ 2356294 w 3359086"/>
                <a:gd name="connsiteY25688" fmla="*/ 176499 h 3355086"/>
                <a:gd name="connsiteX25689" fmla="*/ 2353627 w 3359086"/>
                <a:gd name="connsiteY25689" fmla="*/ 179165 h 3355086"/>
                <a:gd name="connsiteX25690" fmla="*/ 2353247 w 3359086"/>
                <a:gd name="connsiteY25690" fmla="*/ 178785 h 3355086"/>
                <a:gd name="connsiteX25691" fmla="*/ 2350674 w 3359086"/>
                <a:gd name="connsiteY25691" fmla="*/ 181357 h 3355086"/>
                <a:gd name="connsiteX25692" fmla="*/ 2350198 w 3359086"/>
                <a:gd name="connsiteY25692" fmla="*/ 180881 h 3355086"/>
                <a:gd name="connsiteX25693" fmla="*/ 2347912 w 3359086"/>
                <a:gd name="connsiteY25693" fmla="*/ 183166 h 3355086"/>
                <a:gd name="connsiteX25694" fmla="*/ 2347293 w 3359086"/>
                <a:gd name="connsiteY25694" fmla="*/ 182547 h 3355086"/>
                <a:gd name="connsiteX25695" fmla="*/ 2344959 w 3359086"/>
                <a:gd name="connsiteY25695" fmla="*/ 184880 h 3355086"/>
                <a:gd name="connsiteX25696" fmla="*/ 2344293 w 3359086"/>
                <a:gd name="connsiteY25696" fmla="*/ 184214 h 3355086"/>
                <a:gd name="connsiteX25697" fmla="*/ 2341911 w 3359086"/>
                <a:gd name="connsiteY25697" fmla="*/ 186595 h 3355086"/>
                <a:gd name="connsiteX25698" fmla="*/ 2341244 w 3359086"/>
                <a:gd name="connsiteY25698" fmla="*/ 185928 h 3355086"/>
                <a:gd name="connsiteX25699" fmla="*/ 2338673 w 3359086"/>
                <a:gd name="connsiteY25699" fmla="*/ 188500 h 3355086"/>
                <a:gd name="connsiteX25700" fmla="*/ 2338006 w 3359086"/>
                <a:gd name="connsiteY25700" fmla="*/ 187833 h 3355086"/>
                <a:gd name="connsiteX25701" fmla="*/ 2335053 w 3359086"/>
                <a:gd name="connsiteY25701" fmla="*/ 190786 h 3355086"/>
                <a:gd name="connsiteX25702" fmla="*/ 2334434 w 3359086"/>
                <a:gd name="connsiteY25702" fmla="*/ 190167 h 3355086"/>
                <a:gd name="connsiteX25703" fmla="*/ 2331053 w 3359086"/>
                <a:gd name="connsiteY25703" fmla="*/ 193548 h 3355086"/>
                <a:gd name="connsiteX25704" fmla="*/ 2330529 w 3359086"/>
                <a:gd name="connsiteY25704" fmla="*/ 193024 h 3355086"/>
                <a:gd name="connsiteX25705" fmla="*/ 2326481 w 3359086"/>
                <a:gd name="connsiteY25705" fmla="*/ 197073 h 3355086"/>
                <a:gd name="connsiteX25706" fmla="*/ 2326147 w 3359086"/>
                <a:gd name="connsiteY25706" fmla="*/ 196739 h 3355086"/>
                <a:gd name="connsiteX25707" fmla="*/ 2321337 w 3359086"/>
                <a:gd name="connsiteY25707" fmla="*/ 201549 h 3355086"/>
                <a:gd name="connsiteX25708" fmla="*/ 2321194 w 3359086"/>
                <a:gd name="connsiteY25708" fmla="*/ 201407 h 3355086"/>
                <a:gd name="connsiteX25709" fmla="*/ 2315336 w 3359086"/>
                <a:gd name="connsiteY25709" fmla="*/ 207264 h 3355086"/>
                <a:gd name="connsiteX25710" fmla="*/ 2309145 w 3359086"/>
                <a:gd name="connsiteY25710" fmla="*/ 201073 h 3355086"/>
                <a:gd name="connsiteX25711" fmla="*/ 2315336 w 3359086"/>
                <a:gd name="connsiteY25711" fmla="*/ 194882 h 3355086"/>
                <a:gd name="connsiteX25712" fmla="*/ 2315479 w 3359086"/>
                <a:gd name="connsiteY25712" fmla="*/ 195025 h 3355086"/>
                <a:gd name="connsiteX25713" fmla="*/ 2321337 w 3359086"/>
                <a:gd name="connsiteY25713" fmla="*/ 189167 h 3355086"/>
                <a:gd name="connsiteX25714" fmla="*/ 2321671 w 3359086"/>
                <a:gd name="connsiteY25714" fmla="*/ 189501 h 3355086"/>
                <a:gd name="connsiteX25715" fmla="*/ 2326481 w 3359086"/>
                <a:gd name="connsiteY25715" fmla="*/ 184690 h 3355086"/>
                <a:gd name="connsiteX25716" fmla="*/ 2327005 w 3359086"/>
                <a:gd name="connsiteY25716" fmla="*/ 185214 h 3355086"/>
                <a:gd name="connsiteX25717" fmla="*/ 2331053 w 3359086"/>
                <a:gd name="connsiteY25717" fmla="*/ 181166 h 3355086"/>
                <a:gd name="connsiteX25718" fmla="*/ 2331672 w 3359086"/>
                <a:gd name="connsiteY25718" fmla="*/ 181785 h 3355086"/>
                <a:gd name="connsiteX25719" fmla="*/ 2335053 w 3359086"/>
                <a:gd name="connsiteY25719" fmla="*/ 178403 h 3355086"/>
                <a:gd name="connsiteX25720" fmla="*/ 2335720 w 3359086"/>
                <a:gd name="connsiteY25720" fmla="*/ 179070 h 3355086"/>
                <a:gd name="connsiteX25721" fmla="*/ 2338673 w 3359086"/>
                <a:gd name="connsiteY25721" fmla="*/ 176117 h 3355086"/>
                <a:gd name="connsiteX25722" fmla="*/ 2339340 w 3359086"/>
                <a:gd name="connsiteY25722" fmla="*/ 176784 h 3355086"/>
                <a:gd name="connsiteX25723" fmla="*/ 2341911 w 3359086"/>
                <a:gd name="connsiteY25723" fmla="*/ 174213 h 3355086"/>
                <a:gd name="connsiteX25724" fmla="*/ 2342578 w 3359086"/>
                <a:gd name="connsiteY25724" fmla="*/ 174880 h 3355086"/>
                <a:gd name="connsiteX25725" fmla="*/ 2344959 w 3359086"/>
                <a:gd name="connsiteY25725" fmla="*/ 172498 h 3355086"/>
                <a:gd name="connsiteX25726" fmla="*/ 2345579 w 3359086"/>
                <a:gd name="connsiteY25726" fmla="*/ 173118 h 3355086"/>
                <a:gd name="connsiteX25727" fmla="*/ 2347912 w 3359086"/>
                <a:gd name="connsiteY25727" fmla="*/ 170784 h 3355086"/>
                <a:gd name="connsiteX25728" fmla="*/ 2348388 w 3359086"/>
                <a:gd name="connsiteY25728" fmla="*/ 171260 h 3355086"/>
                <a:gd name="connsiteX25729" fmla="*/ 2350674 w 3359086"/>
                <a:gd name="connsiteY25729" fmla="*/ 168974 h 3355086"/>
                <a:gd name="connsiteX25730" fmla="*/ 2351055 w 3359086"/>
                <a:gd name="connsiteY25730" fmla="*/ 169355 h 3355086"/>
                <a:gd name="connsiteX25731" fmla="*/ 2353627 w 3359086"/>
                <a:gd name="connsiteY25731" fmla="*/ 166783 h 3355086"/>
                <a:gd name="connsiteX25732" fmla="*/ 2353817 w 3359086"/>
                <a:gd name="connsiteY25732" fmla="*/ 166973 h 3355086"/>
                <a:gd name="connsiteX25733" fmla="*/ 2356484 w 3359086"/>
                <a:gd name="connsiteY25733" fmla="*/ 164306 h 3355086"/>
                <a:gd name="connsiteX25734" fmla="*/ 2356485 w 3359086"/>
                <a:gd name="connsiteY25734" fmla="*/ 164307 h 3355086"/>
                <a:gd name="connsiteX25735" fmla="*/ 2356866 w 3359086"/>
                <a:gd name="connsiteY25735" fmla="*/ 163926 h 3355086"/>
                <a:gd name="connsiteX25736" fmla="*/ 2356675 w 3359086"/>
                <a:gd name="connsiteY25736" fmla="*/ 163735 h 3355086"/>
                <a:gd name="connsiteX25737" fmla="*/ 2360676 w 3359086"/>
                <a:gd name="connsiteY25737" fmla="*/ 159734 h 3355086"/>
                <a:gd name="connsiteX25738" fmla="*/ 2360295 w 3359086"/>
                <a:gd name="connsiteY25738" fmla="*/ 159353 h 3355086"/>
                <a:gd name="connsiteX25739" fmla="*/ 2365485 w 3359086"/>
                <a:gd name="connsiteY25739" fmla="*/ 154163 h 3355086"/>
                <a:gd name="connsiteX25740" fmla="*/ 2365438 w 3359086"/>
                <a:gd name="connsiteY25740" fmla="*/ 154115 h 3355086"/>
                <a:gd name="connsiteX25741" fmla="*/ 2370296 w 3359086"/>
                <a:gd name="connsiteY25741" fmla="*/ 149257 h 3355086"/>
                <a:gd name="connsiteX25742" fmla="*/ 2137124 w 3359086"/>
                <a:gd name="connsiteY25742" fmla="*/ 149257 h 3355086"/>
                <a:gd name="connsiteX25743" fmla="*/ 2143316 w 3359086"/>
                <a:gd name="connsiteY25743" fmla="*/ 155448 h 3355086"/>
                <a:gd name="connsiteX25744" fmla="*/ 2137124 w 3359086"/>
                <a:gd name="connsiteY25744" fmla="*/ 161639 h 3355086"/>
                <a:gd name="connsiteX25745" fmla="*/ 2130933 w 3359086"/>
                <a:gd name="connsiteY25745" fmla="*/ 155448 h 3355086"/>
                <a:gd name="connsiteX25746" fmla="*/ 2137124 w 3359086"/>
                <a:gd name="connsiteY25746" fmla="*/ 149257 h 3355086"/>
                <a:gd name="connsiteX25747" fmla="*/ 1499901 w 3359086"/>
                <a:gd name="connsiteY25747" fmla="*/ 147352 h 3355086"/>
                <a:gd name="connsiteX25748" fmla="*/ 1506092 w 3359086"/>
                <a:gd name="connsiteY25748" fmla="*/ 153543 h 3355086"/>
                <a:gd name="connsiteX25749" fmla="*/ 1499901 w 3359086"/>
                <a:gd name="connsiteY25749" fmla="*/ 159735 h 3355086"/>
                <a:gd name="connsiteX25750" fmla="*/ 1493710 w 3359086"/>
                <a:gd name="connsiteY25750" fmla="*/ 153543 h 3355086"/>
                <a:gd name="connsiteX25751" fmla="*/ 1499901 w 3359086"/>
                <a:gd name="connsiteY25751" fmla="*/ 147352 h 3355086"/>
                <a:gd name="connsiteX25752" fmla="*/ 1797843 w 3359086"/>
                <a:gd name="connsiteY25752" fmla="*/ 144971 h 3355086"/>
                <a:gd name="connsiteX25753" fmla="*/ 1804034 w 3359086"/>
                <a:gd name="connsiteY25753" fmla="*/ 151162 h 3355086"/>
                <a:gd name="connsiteX25754" fmla="*/ 1797843 w 3359086"/>
                <a:gd name="connsiteY25754" fmla="*/ 157354 h 3355086"/>
                <a:gd name="connsiteX25755" fmla="*/ 1791652 w 3359086"/>
                <a:gd name="connsiteY25755" fmla="*/ 151162 h 3355086"/>
                <a:gd name="connsiteX25756" fmla="*/ 1797843 w 3359086"/>
                <a:gd name="connsiteY25756" fmla="*/ 144971 h 3355086"/>
                <a:gd name="connsiteX25757" fmla="*/ 1969483 w 3359086"/>
                <a:gd name="connsiteY25757" fmla="*/ 144399 h 3355086"/>
                <a:gd name="connsiteX25758" fmla="*/ 1975675 w 3359086"/>
                <a:gd name="connsiteY25758" fmla="*/ 150590 h 3355086"/>
                <a:gd name="connsiteX25759" fmla="*/ 1969483 w 3359086"/>
                <a:gd name="connsiteY25759" fmla="*/ 156782 h 3355086"/>
                <a:gd name="connsiteX25760" fmla="*/ 1963292 w 3359086"/>
                <a:gd name="connsiteY25760" fmla="*/ 150590 h 3355086"/>
                <a:gd name="connsiteX25761" fmla="*/ 1969483 w 3359086"/>
                <a:gd name="connsiteY25761" fmla="*/ 144399 h 3355086"/>
                <a:gd name="connsiteX25762" fmla="*/ 2057875 w 3359086"/>
                <a:gd name="connsiteY25762" fmla="*/ 144304 h 3355086"/>
                <a:gd name="connsiteX25763" fmla="*/ 2064067 w 3359086"/>
                <a:gd name="connsiteY25763" fmla="*/ 150495 h 3355086"/>
                <a:gd name="connsiteX25764" fmla="*/ 2057875 w 3359086"/>
                <a:gd name="connsiteY25764" fmla="*/ 156687 h 3355086"/>
                <a:gd name="connsiteX25765" fmla="*/ 2051684 w 3359086"/>
                <a:gd name="connsiteY25765" fmla="*/ 150495 h 3355086"/>
                <a:gd name="connsiteX25766" fmla="*/ 2057875 w 3359086"/>
                <a:gd name="connsiteY25766" fmla="*/ 144304 h 3355086"/>
                <a:gd name="connsiteX25767" fmla="*/ 1142809 w 3359086"/>
                <a:gd name="connsiteY25767" fmla="*/ 144113 h 3355086"/>
                <a:gd name="connsiteX25768" fmla="*/ 1149000 w 3359086"/>
                <a:gd name="connsiteY25768" fmla="*/ 150304 h 3355086"/>
                <a:gd name="connsiteX25769" fmla="*/ 1142809 w 3359086"/>
                <a:gd name="connsiteY25769" fmla="*/ 156496 h 3355086"/>
                <a:gd name="connsiteX25770" fmla="*/ 1136618 w 3359086"/>
                <a:gd name="connsiteY25770" fmla="*/ 150304 h 3355086"/>
                <a:gd name="connsiteX25771" fmla="*/ 1142809 w 3359086"/>
                <a:gd name="connsiteY25771" fmla="*/ 144113 h 3355086"/>
                <a:gd name="connsiteX25772" fmla="*/ 1574101 w 3359086"/>
                <a:gd name="connsiteY25772" fmla="*/ 142780 h 3355086"/>
                <a:gd name="connsiteX25773" fmla="*/ 1580293 w 3359086"/>
                <a:gd name="connsiteY25773" fmla="*/ 148971 h 3355086"/>
                <a:gd name="connsiteX25774" fmla="*/ 1574101 w 3359086"/>
                <a:gd name="connsiteY25774" fmla="*/ 155163 h 3355086"/>
                <a:gd name="connsiteX25775" fmla="*/ 1567910 w 3359086"/>
                <a:gd name="connsiteY25775" fmla="*/ 148971 h 3355086"/>
                <a:gd name="connsiteX25776" fmla="*/ 1574101 w 3359086"/>
                <a:gd name="connsiteY25776" fmla="*/ 142780 h 3355086"/>
                <a:gd name="connsiteX25777" fmla="*/ 2151220 w 3359086"/>
                <a:gd name="connsiteY25777" fmla="*/ 142209 h 3355086"/>
                <a:gd name="connsiteX25778" fmla="*/ 2157412 w 3359086"/>
                <a:gd name="connsiteY25778" fmla="*/ 148400 h 3355086"/>
                <a:gd name="connsiteX25779" fmla="*/ 2151220 w 3359086"/>
                <a:gd name="connsiteY25779" fmla="*/ 154591 h 3355086"/>
                <a:gd name="connsiteX25780" fmla="*/ 2145029 w 3359086"/>
                <a:gd name="connsiteY25780" fmla="*/ 148400 h 3355086"/>
                <a:gd name="connsiteX25781" fmla="*/ 2151220 w 3359086"/>
                <a:gd name="connsiteY25781" fmla="*/ 142209 h 3355086"/>
                <a:gd name="connsiteX25782" fmla="*/ 1723453 w 3359086"/>
                <a:gd name="connsiteY25782" fmla="*/ 141542 h 3355086"/>
                <a:gd name="connsiteX25783" fmla="*/ 1729645 w 3359086"/>
                <a:gd name="connsiteY25783" fmla="*/ 147733 h 3355086"/>
                <a:gd name="connsiteX25784" fmla="*/ 1723453 w 3359086"/>
                <a:gd name="connsiteY25784" fmla="*/ 153924 h 3355086"/>
                <a:gd name="connsiteX25785" fmla="*/ 1717262 w 3359086"/>
                <a:gd name="connsiteY25785" fmla="*/ 147733 h 3355086"/>
                <a:gd name="connsiteX25786" fmla="*/ 1723453 w 3359086"/>
                <a:gd name="connsiteY25786" fmla="*/ 141542 h 3355086"/>
                <a:gd name="connsiteX25787" fmla="*/ 1227486 w 3359086"/>
                <a:gd name="connsiteY25787" fmla="*/ 141351 h 3355086"/>
                <a:gd name="connsiteX25788" fmla="*/ 1233678 w 3359086"/>
                <a:gd name="connsiteY25788" fmla="*/ 147542 h 3355086"/>
                <a:gd name="connsiteX25789" fmla="*/ 1227486 w 3359086"/>
                <a:gd name="connsiteY25789" fmla="*/ 153733 h 3355086"/>
                <a:gd name="connsiteX25790" fmla="*/ 1221295 w 3359086"/>
                <a:gd name="connsiteY25790" fmla="*/ 147542 h 3355086"/>
                <a:gd name="connsiteX25791" fmla="*/ 1227486 w 3359086"/>
                <a:gd name="connsiteY25791" fmla="*/ 141351 h 3355086"/>
                <a:gd name="connsiteX25792" fmla="*/ 1648682 w 3359086"/>
                <a:gd name="connsiteY25792" fmla="*/ 140875 h 3355086"/>
                <a:gd name="connsiteX25793" fmla="*/ 1654874 w 3359086"/>
                <a:gd name="connsiteY25793" fmla="*/ 147066 h 3355086"/>
                <a:gd name="connsiteX25794" fmla="*/ 1648682 w 3359086"/>
                <a:gd name="connsiteY25794" fmla="*/ 153258 h 3355086"/>
                <a:gd name="connsiteX25795" fmla="*/ 1642491 w 3359086"/>
                <a:gd name="connsiteY25795" fmla="*/ 147066 h 3355086"/>
                <a:gd name="connsiteX25796" fmla="*/ 1648682 w 3359086"/>
                <a:gd name="connsiteY25796" fmla="*/ 140875 h 3355086"/>
                <a:gd name="connsiteX25797" fmla="*/ 1132331 w 3359086"/>
                <a:gd name="connsiteY25797" fmla="*/ 140018 h 3355086"/>
                <a:gd name="connsiteX25798" fmla="*/ 1138522 w 3359086"/>
                <a:gd name="connsiteY25798" fmla="*/ 146209 h 3355086"/>
                <a:gd name="connsiteX25799" fmla="*/ 1132331 w 3359086"/>
                <a:gd name="connsiteY25799" fmla="*/ 152401 h 3355086"/>
                <a:gd name="connsiteX25800" fmla="*/ 1126140 w 3359086"/>
                <a:gd name="connsiteY25800" fmla="*/ 146209 h 3355086"/>
                <a:gd name="connsiteX25801" fmla="*/ 1132331 w 3359086"/>
                <a:gd name="connsiteY25801" fmla="*/ 140018 h 3355086"/>
                <a:gd name="connsiteX25802" fmla="*/ 1399793 w 3359086"/>
                <a:gd name="connsiteY25802" fmla="*/ 139161 h 3355086"/>
                <a:gd name="connsiteX25803" fmla="*/ 1405985 w 3359086"/>
                <a:gd name="connsiteY25803" fmla="*/ 145352 h 3355086"/>
                <a:gd name="connsiteX25804" fmla="*/ 1399793 w 3359086"/>
                <a:gd name="connsiteY25804" fmla="*/ 151543 h 3355086"/>
                <a:gd name="connsiteX25805" fmla="*/ 1393602 w 3359086"/>
                <a:gd name="connsiteY25805" fmla="*/ 145352 h 3355086"/>
                <a:gd name="connsiteX25806" fmla="*/ 1399793 w 3359086"/>
                <a:gd name="connsiteY25806" fmla="*/ 139161 h 3355086"/>
                <a:gd name="connsiteX25807" fmla="*/ 1309115 w 3359086"/>
                <a:gd name="connsiteY25807" fmla="*/ 137541 h 3355086"/>
                <a:gd name="connsiteX25808" fmla="*/ 1315307 w 3359086"/>
                <a:gd name="connsiteY25808" fmla="*/ 143732 h 3355086"/>
                <a:gd name="connsiteX25809" fmla="*/ 1309115 w 3359086"/>
                <a:gd name="connsiteY25809" fmla="*/ 149923 h 3355086"/>
                <a:gd name="connsiteX25810" fmla="*/ 1302924 w 3359086"/>
                <a:gd name="connsiteY25810" fmla="*/ 143732 h 3355086"/>
                <a:gd name="connsiteX25811" fmla="*/ 1309115 w 3359086"/>
                <a:gd name="connsiteY25811" fmla="*/ 137541 h 3355086"/>
                <a:gd name="connsiteX25812" fmla="*/ 2163889 w 3359086"/>
                <a:gd name="connsiteY25812" fmla="*/ 136684 h 3355086"/>
                <a:gd name="connsiteX25813" fmla="*/ 2170081 w 3359086"/>
                <a:gd name="connsiteY25813" fmla="*/ 142875 h 3355086"/>
                <a:gd name="connsiteX25814" fmla="*/ 2163889 w 3359086"/>
                <a:gd name="connsiteY25814" fmla="*/ 149067 h 3355086"/>
                <a:gd name="connsiteX25815" fmla="*/ 2157698 w 3359086"/>
                <a:gd name="connsiteY25815" fmla="*/ 142875 h 3355086"/>
                <a:gd name="connsiteX25816" fmla="*/ 2163889 w 3359086"/>
                <a:gd name="connsiteY25816" fmla="*/ 136684 h 3355086"/>
                <a:gd name="connsiteX25817" fmla="*/ 2341816 w 3359086"/>
                <a:gd name="connsiteY25817" fmla="*/ 136208 h 3355086"/>
                <a:gd name="connsiteX25818" fmla="*/ 2342101 w 3359086"/>
                <a:gd name="connsiteY25818" fmla="*/ 136494 h 3355086"/>
                <a:gd name="connsiteX25819" fmla="*/ 2341816 w 3359086"/>
                <a:gd name="connsiteY25819" fmla="*/ 136779 h 3355086"/>
                <a:gd name="connsiteX25820" fmla="*/ 2341530 w 3359086"/>
                <a:gd name="connsiteY25820" fmla="*/ 136494 h 3355086"/>
                <a:gd name="connsiteX25821" fmla="*/ 2341816 w 3359086"/>
                <a:gd name="connsiteY25821" fmla="*/ 136208 h 3355086"/>
                <a:gd name="connsiteX25822" fmla="*/ 2337149 w 3359086"/>
                <a:gd name="connsiteY25822" fmla="*/ 135731 h 3355086"/>
                <a:gd name="connsiteX25823" fmla="*/ 2343341 w 3359086"/>
                <a:gd name="connsiteY25823" fmla="*/ 141922 h 3355086"/>
                <a:gd name="connsiteX25824" fmla="*/ 2338816 w 3359086"/>
                <a:gd name="connsiteY25824" fmla="*/ 146447 h 3355086"/>
                <a:gd name="connsiteX25825" fmla="*/ 2338864 w 3359086"/>
                <a:gd name="connsiteY25825" fmla="*/ 146495 h 3355086"/>
                <a:gd name="connsiteX25826" fmla="*/ 2332672 w 3359086"/>
                <a:gd name="connsiteY25826" fmla="*/ 152687 h 3355086"/>
                <a:gd name="connsiteX25827" fmla="*/ 2332434 w 3359086"/>
                <a:gd name="connsiteY25827" fmla="*/ 152449 h 3355086"/>
                <a:gd name="connsiteX25828" fmla="*/ 2328386 w 3359086"/>
                <a:gd name="connsiteY25828" fmla="*/ 156496 h 3355086"/>
                <a:gd name="connsiteX25829" fmla="*/ 2327910 w 3359086"/>
                <a:gd name="connsiteY25829" fmla="*/ 156020 h 3355086"/>
                <a:gd name="connsiteX25830" fmla="*/ 2324385 w 3359086"/>
                <a:gd name="connsiteY25830" fmla="*/ 159544 h 3355086"/>
                <a:gd name="connsiteX25831" fmla="*/ 2323623 w 3359086"/>
                <a:gd name="connsiteY25831" fmla="*/ 158782 h 3355086"/>
                <a:gd name="connsiteX25832" fmla="*/ 2320385 w 3359086"/>
                <a:gd name="connsiteY25832" fmla="*/ 162021 h 3355086"/>
                <a:gd name="connsiteX25833" fmla="*/ 2319432 w 3359086"/>
                <a:gd name="connsiteY25833" fmla="*/ 161068 h 3355086"/>
                <a:gd name="connsiteX25834" fmla="*/ 2316479 w 3359086"/>
                <a:gd name="connsiteY25834" fmla="*/ 164020 h 3355086"/>
                <a:gd name="connsiteX25835" fmla="*/ 2315336 w 3359086"/>
                <a:gd name="connsiteY25835" fmla="*/ 162877 h 3355086"/>
                <a:gd name="connsiteX25836" fmla="*/ 2312574 w 3359086"/>
                <a:gd name="connsiteY25836" fmla="*/ 165639 h 3355086"/>
                <a:gd name="connsiteX25837" fmla="*/ 2311241 w 3359086"/>
                <a:gd name="connsiteY25837" fmla="*/ 164307 h 3355086"/>
                <a:gd name="connsiteX25838" fmla="*/ 2308574 w 3359086"/>
                <a:gd name="connsiteY25838" fmla="*/ 166974 h 3355086"/>
                <a:gd name="connsiteX25839" fmla="*/ 2307097 w 3359086"/>
                <a:gd name="connsiteY25839" fmla="*/ 165497 h 3355086"/>
                <a:gd name="connsiteX25840" fmla="*/ 2304382 w 3359086"/>
                <a:gd name="connsiteY25840" fmla="*/ 168211 h 3355086"/>
                <a:gd name="connsiteX25841" fmla="*/ 2302859 w 3359086"/>
                <a:gd name="connsiteY25841" fmla="*/ 166688 h 3355086"/>
                <a:gd name="connsiteX25842" fmla="*/ 2300001 w 3359086"/>
                <a:gd name="connsiteY25842" fmla="*/ 169546 h 3355086"/>
                <a:gd name="connsiteX25843" fmla="*/ 2298382 w 3359086"/>
                <a:gd name="connsiteY25843" fmla="*/ 167927 h 3355086"/>
                <a:gd name="connsiteX25844" fmla="*/ 2295239 w 3359086"/>
                <a:gd name="connsiteY25844" fmla="*/ 171070 h 3355086"/>
                <a:gd name="connsiteX25845" fmla="*/ 2293524 w 3359086"/>
                <a:gd name="connsiteY25845" fmla="*/ 169355 h 3355086"/>
                <a:gd name="connsiteX25846" fmla="*/ 2290000 w 3359086"/>
                <a:gd name="connsiteY25846" fmla="*/ 172879 h 3355086"/>
                <a:gd name="connsiteX25847" fmla="*/ 2288381 w 3359086"/>
                <a:gd name="connsiteY25847" fmla="*/ 171260 h 3355086"/>
                <a:gd name="connsiteX25848" fmla="*/ 2284285 w 3359086"/>
                <a:gd name="connsiteY25848" fmla="*/ 175355 h 3355086"/>
                <a:gd name="connsiteX25849" fmla="*/ 2282714 w 3359086"/>
                <a:gd name="connsiteY25849" fmla="*/ 173784 h 3355086"/>
                <a:gd name="connsiteX25850" fmla="*/ 2277903 w 3359086"/>
                <a:gd name="connsiteY25850" fmla="*/ 178594 h 3355086"/>
                <a:gd name="connsiteX25851" fmla="*/ 2276427 w 3359086"/>
                <a:gd name="connsiteY25851" fmla="*/ 177118 h 3355086"/>
                <a:gd name="connsiteX25852" fmla="*/ 2270664 w 3359086"/>
                <a:gd name="connsiteY25852" fmla="*/ 182881 h 3355086"/>
                <a:gd name="connsiteX25853" fmla="*/ 2264473 w 3359086"/>
                <a:gd name="connsiteY25853" fmla="*/ 176689 h 3355086"/>
                <a:gd name="connsiteX25854" fmla="*/ 2270664 w 3359086"/>
                <a:gd name="connsiteY25854" fmla="*/ 170498 h 3355086"/>
                <a:gd name="connsiteX25855" fmla="*/ 2272140 w 3359086"/>
                <a:gd name="connsiteY25855" fmla="*/ 171975 h 3355086"/>
                <a:gd name="connsiteX25856" fmla="*/ 2277903 w 3359086"/>
                <a:gd name="connsiteY25856" fmla="*/ 166212 h 3355086"/>
                <a:gd name="connsiteX25857" fmla="*/ 2279475 w 3359086"/>
                <a:gd name="connsiteY25857" fmla="*/ 167784 h 3355086"/>
                <a:gd name="connsiteX25858" fmla="*/ 2284285 w 3359086"/>
                <a:gd name="connsiteY25858" fmla="*/ 162973 h 3355086"/>
                <a:gd name="connsiteX25859" fmla="*/ 2285905 w 3359086"/>
                <a:gd name="connsiteY25859" fmla="*/ 164593 h 3355086"/>
                <a:gd name="connsiteX25860" fmla="*/ 2290000 w 3359086"/>
                <a:gd name="connsiteY25860" fmla="*/ 160497 h 3355086"/>
                <a:gd name="connsiteX25861" fmla="*/ 2291715 w 3359086"/>
                <a:gd name="connsiteY25861" fmla="*/ 162212 h 3355086"/>
                <a:gd name="connsiteX25862" fmla="*/ 2295239 w 3359086"/>
                <a:gd name="connsiteY25862" fmla="*/ 158687 h 3355086"/>
                <a:gd name="connsiteX25863" fmla="*/ 2296858 w 3359086"/>
                <a:gd name="connsiteY25863" fmla="*/ 160306 h 3355086"/>
                <a:gd name="connsiteX25864" fmla="*/ 2300001 w 3359086"/>
                <a:gd name="connsiteY25864" fmla="*/ 157163 h 3355086"/>
                <a:gd name="connsiteX25865" fmla="*/ 2301525 w 3359086"/>
                <a:gd name="connsiteY25865" fmla="*/ 158687 h 3355086"/>
                <a:gd name="connsiteX25866" fmla="*/ 2304382 w 3359086"/>
                <a:gd name="connsiteY25866" fmla="*/ 155829 h 3355086"/>
                <a:gd name="connsiteX25867" fmla="*/ 2305859 w 3359086"/>
                <a:gd name="connsiteY25867" fmla="*/ 157306 h 3355086"/>
                <a:gd name="connsiteX25868" fmla="*/ 2308574 w 3359086"/>
                <a:gd name="connsiteY25868" fmla="*/ 154591 h 3355086"/>
                <a:gd name="connsiteX25869" fmla="*/ 2309907 w 3359086"/>
                <a:gd name="connsiteY25869" fmla="*/ 155924 h 3355086"/>
                <a:gd name="connsiteX25870" fmla="*/ 2312574 w 3359086"/>
                <a:gd name="connsiteY25870" fmla="*/ 153257 h 3355086"/>
                <a:gd name="connsiteX25871" fmla="*/ 2313717 w 3359086"/>
                <a:gd name="connsiteY25871" fmla="*/ 154400 h 3355086"/>
                <a:gd name="connsiteX25872" fmla="*/ 2316479 w 3359086"/>
                <a:gd name="connsiteY25872" fmla="*/ 151638 h 3355086"/>
                <a:gd name="connsiteX25873" fmla="*/ 2317432 w 3359086"/>
                <a:gd name="connsiteY25873" fmla="*/ 152591 h 3355086"/>
                <a:gd name="connsiteX25874" fmla="*/ 2320385 w 3359086"/>
                <a:gd name="connsiteY25874" fmla="*/ 149638 h 3355086"/>
                <a:gd name="connsiteX25875" fmla="*/ 2321147 w 3359086"/>
                <a:gd name="connsiteY25875" fmla="*/ 150400 h 3355086"/>
                <a:gd name="connsiteX25876" fmla="*/ 2324385 w 3359086"/>
                <a:gd name="connsiteY25876" fmla="*/ 147162 h 3355086"/>
                <a:gd name="connsiteX25877" fmla="*/ 2324861 w 3359086"/>
                <a:gd name="connsiteY25877" fmla="*/ 147638 h 3355086"/>
                <a:gd name="connsiteX25878" fmla="*/ 2328386 w 3359086"/>
                <a:gd name="connsiteY25878" fmla="*/ 144113 h 3355086"/>
                <a:gd name="connsiteX25879" fmla="*/ 2328625 w 3359086"/>
                <a:gd name="connsiteY25879" fmla="*/ 144352 h 3355086"/>
                <a:gd name="connsiteX25880" fmla="*/ 2331006 w 3359086"/>
                <a:gd name="connsiteY25880" fmla="*/ 141970 h 3355086"/>
                <a:gd name="connsiteX25881" fmla="*/ 2330958 w 3359086"/>
                <a:gd name="connsiteY25881" fmla="*/ 141922 h 3355086"/>
                <a:gd name="connsiteX25882" fmla="*/ 2337149 w 3359086"/>
                <a:gd name="connsiteY25882" fmla="*/ 135731 h 3355086"/>
                <a:gd name="connsiteX25883" fmla="*/ 1017936 w 3359086"/>
                <a:gd name="connsiteY25883" fmla="*/ 135446 h 3355086"/>
                <a:gd name="connsiteX25884" fmla="*/ 1021032 w 3359086"/>
                <a:gd name="connsiteY25884" fmla="*/ 138541 h 3355086"/>
                <a:gd name="connsiteX25885" fmla="*/ 1022603 w 3359086"/>
                <a:gd name="connsiteY25885" fmla="*/ 136970 h 3355086"/>
                <a:gd name="connsiteX25886" fmla="*/ 1026270 w 3359086"/>
                <a:gd name="connsiteY25886" fmla="*/ 140637 h 3355086"/>
                <a:gd name="connsiteX25887" fmla="*/ 1027080 w 3359086"/>
                <a:gd name="connsiteY25887" fmla="*/ 139827 h 3355086"/>
                <a:gd name="connsiteX25888" fmla="*/ 1030414 w 3359086"/>
                <a:gd name="connsiteY25888" fmla="*/ 143161 h 3355086"/>
                <a:gd name="connsiteX25889" fmla="*/ 1031557 w 3359086"/>
                <a:gd name="connsiteY25889" fmla="*/ 142018 h 3355086"/>
                <a:gd name="connsiteX25890" fmla="*/ 1034653 w 3359086"/>
                <a:gd name="connsiteY25890" fmla="*/ 145114 h 3355086"/>
                <a:gd name="connsiteX25891" fmla="*/ 1036034 w 3359086"/>
                <a:gd name="connsiteY25891" fmla="*/ 143732 h 3355086"/>
                <a:gd name="connsiteX25892" fmla="*/ 1038939 w 3359086"/>
                <a:gd name="connsiteY25892" fmla="*/ 146637 h 3355086"/>
                <a:gd name="connsiteX25893" fmla="*/ 1040510 w 3359086"/>
                <a:gd name="connsiteY25893" fmla="*/ 145066 h 3355086"/>
                <a:gd name="connsiteX25894" fmla="*/ 1043416 w 3359086"/>
                <a:gd name="connsiteY25894" fmla="*/ 147971 h 3355086"/>
                <a:gd name="connsiteX25895" fmla="*/ 1045178 w 3359086"/>
                <a:gd name="connsiteY25895" fmla="*/ 146209 h 3355086"/>
                <a:gd name="connsiteX25896" fmla="*/ 1048131 w 3359086"/>
                <a:gd name="connsiteY25896" fmla="*/ 149162 h 3355086"/>
                <a:gd name="connsiteX25897" fmla="*/ 1050035 w 3359086"/>
                <a:gd name="connsiteY25897" fmla="*/ 147257 h 3355086"/>
                <a:gd name="connsiteX25898" fmla="*/ 1053131 w 3359086"/>
                <a:gd name="connsiteY25898" fmla="*/ 150353 h 3355086"/>
                <a:gd name="connsiteX25899" fmla="*/ 1055179 w 3359086"/>
                <a:gd name="connsiteY25899" fmla="*/ 148305 h 3355086"/>
                <a:gd name="connsiteX25900" fmla="*/ 1058656 w 3359086"/>
                <a:gd name="connsiteY25900" fmla="*/ 151781 h 3355086"/>
                <a:gd name="connsiteX25901" fmla="*/ 1060799 w 3359086"/>
                <a:gd name="connsiteY25901" fmla="*/ 149638 h 3355086"/>
                <a:gd name="connsiteX25902" fmla="*/ 1064705 w 3359086"/>
                <a:gd name="connsiteY25902" fmla="*/ 153544 h 3355086"/>
                <a:gd name="connsiteX25903" fmla="*/ 1066895 w 3359086"/>
                <a:gd name="connsiteY25903" fmla="*/ 151353 h 3355086"/>
                <a:gd name="connsiteX25904" fmla="*/ 1071372 w 3359086"/>
                <a:gd name="connsiteY25904" fmla="*/ 155829 h 3355086"/>
                <a:gd name="connsiteX25905" fmla="*/ 1073562 w 3359086"/>
                <a:gd name="connsiteY25905" fmla="*/ 153639 h 3355086"/>
                <a:gd name="connsiteX25906" fmla="*/ 1078848 w 3359086"/>
                <a:gd name="connsiteY25906" fmla="*/ 158925 h 3355086"/>
                <a:gd name="connsiteX25907" fmla="*/ 1080991 w 3359086"/>
                <a:gd name="connsiteY25907" fmla="*/ 156782 h 3355086"/>
                <a:gd name="connsiteX25908" fmla="*/ 1087183 w 3359086"/>
                <a:gd name="connsiteY25908" fmla="*/ 162973 h 3355086"/>
                <a:gd name="connsiteX25909" fmla="*/ 1080991 w 3359086"/>
                <a:gd name="connsiteY25909" fmla="*/ 169164 h 3355086"/>
                <a:gd name="connsiteX25910" fmla="*/ 1075705 w 3359086"/>
                <a:gd name="connsiteY25910" fmla="*/ 163878 h 3355086"/>
                <a:gd name="connsiteX25911" fmla="*/ 1073562 w 3359086"/>
                <a:gd name="connsiteY25911" fmla="*/ 166021 h 3355086"/>
                <a:gd name="connsiteX25912" fmla="*/ 1069086 w 3359086"/>
                <a:gd name="connsiteY25912" fmla="*/ 161545 h 3355086"/>
                <a:gd name="connsiteX25913" fmla="*/ 1066895 w 3359086"/>
                <a:gd name="connsiteY25913" fmla="*/ 163736 h 3355086"/>
                <a:gd name="connsiteX25914" fmla="*/ 1062990 w 3359086"/>
                <a:gd name="connsiteY25914" fmla="*/ 159830 h 3355086"/>
                <a:gd name="connsiteX25915" fmla="*/ 1060799 w 3359086"/>
                <a:gd name="connsiteY25915" fmla="*/ 162021 h 3355086"/>
                <a:gd name="connsiteX25916" fmla="*/ 1057323 w 3359086"/>
                <a:gd name="connsiteY25916" fmla="*/ 158544 h 3355086"/>
                <a:gd name="connsiteX25917" fmla="*/ 1055179 w 3359086"/>
                <a:gd name="connsiteY25917" fmla="*/ 160688 h 3355086"/>
                <a:gd name="connsiteX25918" fmla="*/ 1052083 w 3359086"/>
                <a:gd name="connsiteY25918" fmla="*/ 157592 h 3355086"/>
                <a:gd name="connsiteX25919" fmla="*/ 1050035 w 3359086"/>
                <a:gd name="connsiteY25919" fmla="*/ 159640 h 3355086"/>
                <a:gd name="connsiteX25920" fmla="*/ 1047082 w 3359086"/>
                <a:gd name="connsiteY25920" fmla="*/ 156687 h 3355086"/>
                <a:gd name="connsiteX25921" fmla="*/ 1045178 w 3359086"/>
                <a:gd name="connsiteY25921" fmla="*/ 158591 h 3355086"/>
                <a:gd name="connsiteX25922" fmla="*/ 1042273 w 3359086"/>
                <a:gd name="connsiteY25922" fmla="*/ 155686 h 3355086"/>
                <a:gd name="connsiteX25923" fmla="*/ 1040510 w 3359086"/>
                <a:gd name="connsiteY25923" fmla="*/ 157449 h 3355086"/>
                <a:gd name="connsiteX25924" fmla="*/ 1037605 w 3359086"/>
                <a:gd name="connsiteY25924" fmla="*/ 154543 h 3355086"/>
                <a:gd name="connsiteX25925" fmla="*/ 1036034 w 3359086"/>
                <a:gd name="connsiteY25925" fmla="*/ 156114 h 3355086"/>
                <a:gd name="connsiteX25926" fmla="*/ 1032939 w 3359086"/>
                <a:gd name="connsiteY25926" fmla="*/ 153019 h 3355086"/>
                <a:gd name="connsiteX25927" fmla="*/ 1031557 w 3359086"/>
                <a:gd name="connsiteY25927" fmla="*/ 154401 h 3355086"/>
                <a:gd name="connsiteX25928" fmla="*/ 1028223 w 3359086"/>
                <a:gd name="connsiteY25928" fmla="*/ 151067 h 3355086"/>
                <a:gd name="connsiteX25929" fmla="*/ 1027080 w 3359086"/>
                <a:gd name="connsiteY25929" fmla="*/ 152210 h 3355086"/>
                <a:gd name="connsiteX25930" fmla="*/ 1023413 w 3359086"/>
                <a:gd name="connsiteY25930" fmla="*/ 148543 h 3355086"/>
                <a:gd name="connsiteX25931" fmla="*/ 1022603 w 3359086"/>
                <a:gd name="connsiteY25931" fmla="*/ 149353 h 3355086"/>
                <a:gd name="connsiteX25932" fmla="*/ 1016412 w 3359086"/>
                <a:gd name="connsiteY25932" fmla="*/ 143161 h 3355086"/>
                <a:gd name="connsiteX25933" fmla="*/ 1016746 w 3359086"/>
                <a:gd name="connsiteY25933" fmla="*/ 142828 h 3355086"/>
                <a:gd name="connsiteX25934" fmla="*/ 1013650 w 3359086"/>
                <a:gd name="connsiteY25934" fmla="*/ 139732 h 3355086"/>
                <a:gd name="connsiteX25935" fmla="*/ 1017936 w 3359086"/>
                <a:gd name="connsiteY25935" fmla="*/ 135446 h 3355086"/>
                <a:gd name="connsiteX25936" fmla="*/ 1899856 w 3359086"/>
                <a:gd name="connsiteY25936" fmla="*/ 135160 h 3355086"/>
                <a:gd name="connsiteX25937" fmla="*/ 1906048 w 3359086"/>
                <a:gd name="connsiteY25937" fmla="*/ 141351 h 3355086"/>
                <a:gd name="connsiteX25938" fmla="*/ 1899856 w 3359086"/>
                <a:gd name="connsiteY25938" fmla="*/ 147542 h 3355086"/>
                <a:gd name="connsiteX25939" fmla="*/ 1893665 w 3359086"/>
                <a:gd name="connsiteY25939" fmla="*/ 141351 h 3355086"/>
                <a:gd name="connsiteX25940" fmla="*/ 1899856 w 3359086"/>
                <a:gd name="connsiteY25940" fmla="*/ 135160 h 3355086"/>
                <a:gd name="connsiteX25941" fmla="*/ 2076164 w 3359086"/>
                <a:gd name="connsiteY25941" fmla="*/ 134874 h 3355086"/>
                <a:gd name="connsiteX25942" fmla="*/ 2082355 w 3359086"/>
                <a:gd name="connsiteY25942" fmla="*/ 141065 h 3355086"/>
                <a:gd name="connsiteX25943" fmla="*/ 2076164 w 3359086"/>
                <a:gd name="connsiteY25943" fmla="*/ 147257 h 3355086"/>
                <a:gd name="connsiteX25944" fmla="*/ 2069973 w 3359086"/>
                <a:gd name="connsiteY25944" fmla="*/ 141065 h 3355086"/>
                <a:gd name="connsiteX25945" fmla="*/ 2076164 w 3359086"/>
                <a:gd name="connsiteY25945" fmla="*/ 134874 h 3355086"/>
                <a:gd name="connsiteX25946" fmla="*/ 1212055 w 3359086"/>
                <a:gd name="connsiteY25946" fmla="*/ 134112 h 3355086"/>
                <a:gd name="connsiteX25947" fmla="*/ 1218247 w 3359086"/>
                <a:gd name="connsiteY25947" fmla="*/ 140303 h 3355086"/>
                <a:gd name="connsiteX25948" fmla="*/ 1212055 w 3359086"/>
                <a:gd name="connsiteY25948" fmla="*/ 146495 h 3355086"/>
                <a:gd name="connsiteX25949" fmla="*/ 1205864 w 3359086"/>
                <a:gd name="connsiteY25949" fmla="*/ 140303 h 3355086"/>
                <a:gd name="connsiteX25950" fmla="*/ 1212055 w 3359086"/>
                <a:gd name="connsiteY25950" fmla="*/ 134112 h 3355086"/>
                <a:gd name="connsiteX25951" fmla="*/ 2175414 w 3359086"/>
                <a:gd name="connsiteY25951" fmla="*/ 132588 h 3355086"/>
                <a:gd name="connsiteX25952" fmla="*/ 2181605 w 3359086"/>
                <a:gd name="connsiteY25952" fmla="*/ 138779 h 3355086"/>
                <a:gd name="connsiteX25953" fmla="*/ 2175414 w 3359086"/>
                <a:gd name="connsiteY25953" fmla="*/ 144971 h 3355086"/>
                <a:gd name="connsiteX25954" fmla="*/ 2169223 w 3359086"/>
                <a:gd name="connsiteY25954" fmla="*/ 138779 h 3355086"/>
                <a:gd name="connsiteX25955" fmla="*/ 2175414 w 3359086"/>
                <a:gd name="connsiteY25955" fmla="*/ 132588 h 3355086"/>
                <a:gd name="connsiteX25956" fmla="*/ 1992534 w 3359086"/>
                <a:gd name="connsiteY25956" fmla="*/ 132207 h 3355086"/>
                <a:gd name="connsiteX25957" fmla="*/ 1998726 w 3359086"/>
                <a:gd name="connsiteY25957" fmla="*/ 138398 h 3355086"/>
                <a:gd name="connsiteX25958" fmla="*/ 1992534 w 3359086"/>
                <a:gd name="connsiteY25958" fmla="*/ 144590 h 3355086"/>
                <a:gd name="connsiteX25959" fmla="*/ 1986343 w 3359086"/>
                <a:gd name="connsiteY25959" fmla="*/ 138398 h 3355086"/>
                <a:gd name="connsiteX25960" fmla="*/ 1992534 w 3359086"/>
                <a:gd name="connsiteY25960" fmla="*/ 132207 h 3355086"/>
                <a:gd name="connsiteX25961" fmla="*/ 1470183 w 3359086"/>
                <a:gd name="connsiteY25961" fmla="*/ 131160 h 3355086"/>
                <a:gd name="connsiteX25962" fmla="*/ 1476375 w 3359086"/>
                <a:gd name="connsiteY25962" fmla="*/ 137351 h 3355086"/>
                <a:gd name="connsiteX25963" fmla="*/ 1470183 w 3359086"/>
                <a:gd name="connsiteY25963" fmla="*/ 143543 h 3355086"/>
                <a:gd name="connsiteX25964" fmla="*/ 1463992 w 3359086"/>
                <a:gd name="connsiteY25964" fmla="*/ 137351 h 3355086"/>
                <a:gd name="connsiteX25965" fmla="*/ 1470183 w 3359086"/>
                <a:gd name="connsiteY25965" fmla="*/ 131160 h 3355086"/>
                <a:gd name="connsiteX25966" fmla="*/ 1198054 w 3359086"/>
                <a:gd name="connsiteY25966" fmla="*/ 128588 h 3355086"/>
                <a:gd name="connsiteX25967" fmla="*/ 1204246 w 3359086"/>
                <a:gd name="connsiteY25967" fmla="*/ 134779 h 3355086"/>
                <a:gd name="connsiteX25968" fmla="*/ 1198054 w 3359086"/>
                <a:gd name="connsiteY25968" fmla="*/ 140971 h 3355086"/>
                <a:gd name="connsiteX25969" fmla="*/ 1191863 w 3359086"/>
                <a:gd name="connsiteY25969" fmla="*/ 134779 h 3355086"/>
                <a:gd name="connsiteX25970" fmla="*/ 1198054 w 3359086"/>
                <a:gd name="connsiteY25970" fmla="*/ 128588 h 3355086"/>
                <a:gd name="connsiteX25971" fmla="*/ 1828990 w 3359086"/>
                <a:gd name="connsiteY25971" fmla="*/ 128207 h 3355086"/>
                <a:gd name="connsiteX25972" fmla="*/ 1835182 w 3359086"/>
                <a:gd name="connsiteY25972" fmla="*/ 134398 h 3355086"/>
                <a:gd name="connsiteX25973" fmla="*/ 1828990 w 3359086"/>
                <a:gd name="connsiteY25973" fmla="*/ 140590 h 3355086"/>
                <a:gd name="connsiteX25974" fmla="*/ 1822799 w 3359086"/>
                <a:gd name="connsiteY25974" fmla="*/ 134398 h 3355086"/>
                <a:gd name="connsiteX25975" fmla="*/ 1828990 w 3359086"/>
                <a:gd name="connsiteY25975" fmla="*/ 128207 h 3355086"/>
                <a:gd name="connsiteX25976" fmla="*/ 1289303 w 3359086"/>
                <a:gd name="connsiteY25976" fmla="*/ 127921 h 3355086"/>
                <a:gd name="connsiteX25977" fmla="*/ 1295494 w 3359086"/>
                <a:gd name="connsiteY25977" fmla="*/ 134112 h 3355086"/>
                <a:gd name="connsiteX25978" fmla="*/ 1289303 w 3359086"/>
                <a:gd name="connsiteY25978" fmla="*/ 140304 h 3355086"/>
                <a:gd name="connsiteX25979" fmla="*/ 1283112 w 3359086"/>
                <a:gd name="connsiteY25979" fmla="*/ 134112 h 3355086"/>
                <a:gd name="connsiteX25980" fmla="*/ 1289303 w 3359086"/>
                <a:gd name="connsiteY25980" fmla="*/ 127921 h 3355086"/>
                <a:gd name="connsiteX25981" fmla="*/ 2092832 w 3359086"/>
                <a:gd name="connsiteY25981" fmla="*/ 127540 h 3355086"/>
                <a:gd name="connsiteX25982" fmla="*/ 2099023 w 3359086"/>
                <a:gd name="connsiteY25982" fmla="*/ 133731 h 3355086"/>
                <a:gd name="connsiteX25983" fmla="*/ 2092832 w 3359086"/>
                <a:gd name="connsiteY25983" fmla="*/ 139923 h 3355086"/>
                <a:gd name="connsiteX25984" fmla="*/ 2086641 w 3359086"/>
                <a:gd name="connsiteY25984" fmla="*/ 133731 h 3355086"/>
                <a:gd name="connsiteX25985" fmla="*/ 2092832 w 3359086"/>
                <a:gd name="connsiteY25985" fmla="*/ 127540 h 3355086"/>
                <a:gd name="connsiteX25986" fmla="*/ 1375219 w 3359086"/>
                <a:gd name="connsiteY25986" fmla="*/ 126587 h 3355086"/>
                <a:gd name="connsiteX25987" fmla="*/ 1381411 w 3359086"/>
                <a:gd name="connsiteY25987" fmla="*/ 132778 h 3355086"/>
                <a:gd name="connsiteX25988" fmla="*/ 1375219 w 3359086"/>
                <a:gd name="connsiteY25988" fmla="*/ 138970 h 3355086"/>
                <a:gd name="connsiteX25989" fmla="*/ 1369028 w 3359086"/>
                <a:gd name="connsiteY25989" fmla="*/ 132778 h 3355086"/>
                <a:gd name="connsiteX25990" fmla="*/ 1375219 w 3359086"/>
                <a:gd name="connsiteY25990" fmla="*/ 126587 h 3355086"/>
                <a:gd name="connsiteX25991" fmla="*/ 1541430 w 3359086"/>
                <a:gd name="connsiteY25991" fmla="*/ 125540 h 3355086"/>
                <a:gd name="connsiteX25992" fmla="*/ 1547622 w 3359086"/>
                <a:gd name="connsiteY25992" fmla="*/ 131731 h 3355086"/>
                <a:gd name="connsiteX25993" fmla="*/ 1541430 w 3359086"/>
                <a:gd name="connsiteY25993" fmla="*/ 137923 h 3355086"/>
                <a:gd name="connsiteX25994" fmla="*/ 1535239 w 3359086"/>
                <a:gd name="connsiteY25994" fmla="*/ 131731 h 3355086"/>
                <a:gd name="connsiteX25995" fmla="*/ 1541430 w 3359086"/>
                <a:gd name="connsiteY25995" fmla="*/ 125540 h 3355086"/>
                <a:gd name="connsiteX25996" fmla="*/ 1185386 w 3359086"/>
                <a:gd name="connsiteY25996" fmla="*/ 124492 h 3355086"/>
                <a:gd name="connsiteX25997" fmla="*/ 1191577 w 3359086"/>
                <a:gd name="connsiteY25997" fmla="*/ 130683 h 3355086"/>
                <a:gd name="connsiteX25998" fmla="*/ 1185386 w 3359086"/>
                <a:gd name="connsiteY25998" fmla="*/ 136874 h 3355086"/>
                <a:gd name="connsiteX25999" fmla="*/ 1179195 w 3359086"/>
                <a:gd name="connsiteY25999" fmla="*/ 130683 h 3355086"/>
                <a:gd name="connsiteX26000" fmla="*/ 1185386 w 3359086"/>
                <a:gd name="connsiteY26000" fmla="*/ 124492 h 3355086"/>
                <a:gd name="connsiteX26001" fmla="*/ 2303240 w 3359086"/>
                <a:gd name="connsiteY26001" fmla="*/ 123730 h 3355086"/>
                <a:gd name="connsiteX26002" fmla="*/ 2309432 w 3359086"/>
                <a:gd name="connsiteY26002" fmla="*/ 129921 h 3355086"/>
                <a:gd name="connsiteX26003" fmla="*/ 2303240 w 3359086"/>
                <a:gd name="connsiteY26003" fmla="*/ 136113 h 3355086"/>
                <a:gd name="connsiteX26004" fmla="*/ 2302668 w 3359086"/>
                <a:gd name="connsiteY26004" fmla="*/ 135541 h 3355086"/>
                <a:gd name="connsiteX26005" fmla="*/ 2298096 w 3359086"/>
                <a:gd name="connsiteY26005" fmla="*/ 140113 h 3355086"/>
                <a:gd name="connsiteX26006" fmla="*/ 2297192 w 3359086"/>
                <a:gd name="connsiteY26006" fmla="*/ 139209 h 3355086"/>
                <a:gd name="connsiteX26007" fmla="*/ 2293048 w 3359086"/>
                <a:gd name="connsiteY26007" fmla="*/ 143352 h 3355086"/>
                <a:gd name="connsiteX26008" fmla="*/ 2291857 w 3359086"/>
                <a:gd name="connsiteY26008" fmla="*/ 142161 h 3355086"/>
                <a:gd name="connsiteX26009" fmla="*/ 2288095 w 3359086"/>
                <a:gd name="connsiteY26009" fmla="*/ 145924 h 3355086"/>
                <a:gd name="connsiteX26010" fmla="*/ 2286619 w 3359086"/>
                <a:gd name="connsiteY26010" fmla="*/ 144448 h 3355086"/>
                <a:gd name="connsiteX26011" fmla="*/ 2283237 w 3359086"/>
                <a:gd name="connsiteY26011" fmla="*/ 147829 h 3355086"/>
                <a:gd name="connsiteX26012" fmla="*/ 2281523 w 3359086"/>
                <a:gd name="connsiteY26012" fmla="*/ 146114 h 3355086"/>
                <a:gd name="connsiteX26013" fmla="*/ 2278284 w 3359086"/>
                <a:gd name="connsiteY26013" fmla="*/ 149353 h 3355086"/>
                <a:gd name="connsiteX26014" fmla="*/ 2276332 w 3359086"/>
                <a:gd name="connsiteY26014" fmla="*/ 147400 h 3355086"/>
                <a:gd name="connsiteX26015" fmla="*/ 2273236 w 3359086"/>
                <a:gd name="connsiteY26015" fmla="*/ 150496 h 3355086"/>
                <a:gd name="connsiteX26016" fmla="*/ 2271092 w 3359086"/>
                <a:gd name="connsiteY26016" fmla="*/ 148352 h 3355086"/>
                <a:gd name="connsiteX26017" fmla="*/ 2267997 w 3359086"/>
                <a:gd name="connsiteY26017" fmla="*/ 151448 h 3355086"/>
                <a:gd name="connsiteX26018" fmla="*/ 2265711 w 3359086"/>
                <a:gd name="connsiteY26018" fmla="*/ 149162 h 3355086"/>
                <a:gd name="connsiteX26019" fmla="*/ 2262568 w 3359086"/>
                <a:gd name="connsiteY26019" fmla="*/ 152305 h 3355086"/>
                <a:gd name="connsiteX26020" fmla="*/ 2260044 w 3359086"/>
                <a:gd name="connsiteY26020" fmla="*/ 149781 h 3355086"/>
                <a:gd name="connsiteX26021" fmla="*/ 2256662 w 3359086"/>
                <a:gd name="connsiteY26021" fmla="*/ 153162 h 3355086"/>
                <a:gd name="connsiteX26022" fmla="*/ 2254091 w 3359086"/>
                <a:gd name="connsiteY26022" fmla="*/ 150591 h 3355086"/>
                <a:gd name="connsiteX26023" fmla="*/ 2250376 w 3359086"/>
                <a:gd name="connsiteY26023" fmla="*/ 154306 h 3355086"/>
                <a:gd name="connsiteX26024" fmla="*/ 2247709 w 3359086"/>
                <a:gd name="connsiteY26024" fmla="*/ 151639 h 3355086"/>
                <a:gd name="connsiteX26025" fmla="*/ 2243423 w 3359086"/>
                <a:gd name="connsiteY26025" fmla="*/ 155925 h 3355086"/>
                <a:gd name="connsiteX26026" fmla="*/ 2240756 w 3359086"/>
                <a:gd name="connsiteY26026" fmla="*/ 153258 h 3355086"/>
                <a:gd name="connsiteX26027" fmla="*/ 2235898 w 3359086"/>
                <a:gd name="connsiteY26027" fmla="*/ 158116 h 3355086"/>
                <a:gd name="connsiteX26028" fmla="*/ 2233231 w 3359086"/>
                <a:gd name="connsiteY26028" fmla="*/ 155448 h 3355086"/>
                <a:gd name="connsiteX26029" fmla="*/ 2227516 w 3359086"/>
                <a:gd name="connsiteY26029" fmla="*/ 161164 h 3355086"/>
                <a:gd name="connsiteX26030" fmla="*/ 2221325 w 3359086"/>
                <a:gd name="connsiteY26030" fmla="*/ 154972 h 3355086"/>
                <a:gd name="connsiteX26031" fmla="*/ 2227516 w 3359086"/>
                <a:gd name="connsiteY26031" fmla="*/ 148781 h 3355086"/>
                <a:gd name="connsiteX26032" fmla="*/ 2230183 w 3359086"/>
                <a:gd name="connsiteY26032" fmla="*/ 151448 h 3355086"/>
                <a:gd name="connsiteX26033" fmla="*/ 2235898 w 3359086"/>
                <a:gd name="connsiteY26033" fmla="*/ 145733 h 3355086"/>
                <a:gd name="connsiteX26034" fmla="*/ 2238565 w 3359086"/>
                <a:gd name="connsiteY26034" fmla="*/ 148400 h 3355086"/>
                <a:gd name="connsiteX26035" fmla="*/ 2243423 w 3359086"/>
                <a:gd name="connsiteY26035" fmla="*/ 143542 h 3355086"/>
                <a:gd name="connsiteX26036" fmla="*/ 2246090 w 3359086"/>
                <a:gd name="connsiteY26036" fmla="*/ 146209 h 3355086"/>
                <a:gd name="connsiteX26037" fmla="*/ 2250376 w 3359086"/>
                <a:gd name="connsiteY26037" fmla="*/ 141923 h 3355086"/>
                <a:gd name="connsiteX26038" fmla="*/ 2252948 w 3359086"/>
                <a:gd name="connsiteY26038" fmla="*/ 144494 h 3355086"/>
                <a:gd name="connsiteX26039" fmla="*/ 2256662 w 3359086"/>
                <a:gd name="connsiteY26039" fmla="*/ 140780 h 3355086"/>
                <a:gd name="connsiteX26040" fmla="*/ 2259187 w 3359086"/>
                <a:gd name="connsiteY26040" fmla="*/ 143304 h 3355086"/>
                <a:gd name="connsiteX26041" fmla="*/ 2262568 w 3359086"/>
                <a:gd name="connsiteY26041" fmla="*/ 139923 h 3355086"/>
                <a:gd name="connsiteX26042" fmla="*/ 2264854 w 3359086"/>
                <a:gd name="connsiteY26042" fmla="*/ 142208 h 3355086"/>
                <a:gd name="connsiteX26043" fmla="*/ 2267997 w 3359086"/>
                <a:gd name="connsiteY26043" fmla="*/ 139065 h 3355086"/>
                <a:gd name="connsiteX26044" fmla="*/ 2270141 w 3359086"/>
                <a:gd name="connsiteY26044" fmla="*/ 141209 h 3355086"/>
                <a:gd name="connsiteX26045" fmla="*/ 2273236 w 3359086"/>
                <a:gd name="connsiteY26045" fmla="*/ 138113 h 3355086"/>
                <a:gd name="connsiteX26046" fmla="*/ 2275189 w 3359086"/>
                <a:gd name="connsiteY26046" fmla="*/ 140065 h 3355086"/>
                <a:gd name="connsiteX26047" fmla="*/ 2278284 w 3359086"/>
                <a:gd name="connsiteY26047" fmla="*/ 136970 h 3355086"/>
                <a:gd name="connsiteX26048" fmla="*/ 2279999 w 3359086"/>
                <a:gd name="connsiteY26048" fmla="*/ 138684 h 3355086"/>
                <a:gd name="connsiteX26049" fmla="*/ 2283237 w 3359086"/>
                <a:gd name="connsiteY26049" fmla="*/ 135446 h 3355086"/>
                <a:gd name="connsiteX26050" fmla="*/ 2284714 w 3359086"/>
                <a:gd name="connsiteY26050" fmla="*/ 136923 h 3355086"/>
                <a:gd name="connsiteX26051" fmla="*/ 2288095 w 3359086"/>
                <a:gd name="connsiteY26051" fmla="*/ 133541 h 3355086"/>
                <a:gd name="connsiteX26052" fmla="*/ 2289285 w 3359086"/>
                <a:gd name="connsiteY26052" fmla="*/ 134732 h 3355086"/>
                <a:gd name="connsiteX26053" fmla="*/ 2293048 w 3359086"/>
                <a:gd name="connsiteY26053" fmla="*/ 130969 h 3355086"/>
                <a:gd name="connsiteX26054" fmla="*/ 2293953 w 3359086"/>
                <a:gd name="connsiteY26054" fmla="*/ 131874 h 3355086"/>
                <a:gd name="connsiteX26055" fmla="*/ 2298096 w 3359086"/>
                <a:gd name="connsiteY26055" fmla="*/ 127730 h 3355086"/>
                <a:gd name="connsiteX26056" fmla="*/ 2298668 w 3359086"/>
                <a:gd name="connsiteY26056" fmla="*/ 128302 h 3355086"/>
                <a:gd name="connsiteX26057" fmla="*/ 1757457 w 3359086"/>
                <a:gd name="connsiteY26057" fmla="*/ 123730 h 3355086"/>
                <a:gd name="connsiteX26058" fmla="*/ 1763649 w 3359086"/>
                <a:gd name="connsiteY26058" fmla="*/ 129921 h 3355086"/>
                <a:gd name="connsiteX26059" fmla="*/ 1757457 w 3359086"/>
                <a:gd name="connsiteY26059" fmla="*/ 136113 h 3355086"/>
                <a:gd name="connsiteX26060" fmla="*/ 1751266 w 3359086"/>
                <a:gd name="connsiteY26060" fmla="*/ 129921 h 3355086"/>
                <a:gd name="connsiteX26061" fmla="*/ 1757457 w 3359086"/>
                <a:gd name="connsiteY26061" fmla="*/ 123730 h 3355086"/>
                <a:gd name="connsiteX26062" fmla="*/ 1047369 w 3359086"/>
                <a:gd name="connsiteY26062" fmla="*/ 123349 h 3355086"/>
                <a:gd name="connsiteX26063" fmla="*/ 1047559 w 3359086"/>
                <a:gd name="connsiteY26063" fmla="*/ 123540 h 3355086"/>
                <a:gd name="connsiteX26064" fmla="*/ 1047369 w 3359086"/>
                <a:gd name="connsiteY26064" fmla="*/ 123730 h 3355086"/>
                <a:gd name="connsiteX26065" fmla="*/ 1047178 w 3359086"/>
                <a:gd name="connsiteY26065" fmla="*/ 123540 h 3355086"/>
                <a:gd name="connsiteX26066" fmla="*/ 1047369 w 3359086"/>
                <a:gd name="connsiteY26066" fmla="*/ 123349 h 3355086"/>
                <a:gd name="connsiteX26067" fmla="*/ 2308574 w 3359086"/>
                <a:gd name="connsiteY26067" fmla="*/ 122968 h 3355086"/>
                <a:gd name="connsiteX26068" fmla="*/ 2310669 w 3359086"/>
                <a:gd name="connsiteY26068" fmla="*/ 125064 h 3355086"/>
                <a:gd name="connsiteX26069" fmla="*/ 2308574 w 3359086"/>
                <a:gd name="connsiteY26069" fmla="*/ 127159 h 3355086"/>
                <a:gd name="connsiteX26070" fmla="*/ 2306478 w 3359086"/>
                <a:gd name="connsiteY26070" fmla="*/ 125064 h 3355086"/>
                <a:gd name="connsiteX26071" fmla="*/ 2308574 w 3359086"/>
                <a:gd name="connsiteY26071" fmla="*/ 122968 h 3355086"/>
                <a:gd name="connsiteX26072" fmla="*/ 2013584 w 3359086"/>
                <a:gd name="connsiteY26072" fmla="*/ 122397 h 3355086"/>
                <a:gd name="connsiteX26073" fmla="*/ 2019776 w 3359086"/>
                <a:gd name="connsiteY26073" fmla="*/ 128588 h 3355086"/>
                <a:gd name="connsiteX26074" fmla="*/ 2013584 w 3359086"/>
                <a:gd name="connsiteY26074" fmla="*/ 134780 h 3355086"/>
                <a:gd name="connsiteX26075" fmla="*/ 2007393 w 3359086"/>
                <a:gd name="connsiteY26075" fmla="*/ 128588 h 3355086"/>
                <a:gd name="connsiteX26076" fmla="*/ 2013584 w 3359086"/>
                <a:gd name="connsiteY26076" fmla="*/ 122397 h 3355086"/>
                <a:gd name="connsiteX26077" fmla="*/ 1613249 w 3359086"/>
                <a:gd name="connsiteY26077" fmla="*/ 122397 h 3355086"/>
                <a:gd name="connsiteX26078" fmla="*/ 1619441 w 3359086"/>
                <a:gd name="connsiteY26078" fmla="*/ 128588 h 3355086"/>
                <a:gd name="connsiteX26079" fmla="*/ 1613249 w 3359086"/>
                <a:gd name="connsiteY26079" fmla="*/ 134780 h 3355086"/>
                <a:gd name="connsiteX26080" fmla="*/ 1607058 w 3359086"/>
                <a:gd name="connsiteY26080" fmla="*/ 128588 h 3355086"/>
                <a:gd name="connsiteX26081" fmla="*/ 1613249 w 3359086"/>
                <a:gd name="connsiteY26081" fmla="*/ 122397 h 3355086"/>
                <a:gd name="connsiteX26082" fmla="*/ 1925764 w 3359086"/>
                <a:gd name="connsiteY26082" fmla="*/ 122206 h 3355086"/>
                <a:gd name="connsiteX26083" fmla="*/ 1931956 w 3359086"/>
                <a:gd name="connsiteY26083" fmla="*/ 128397 h 3355086"/>
                <a:gd name="connsiteX26084" fmla="*/ 1925764 w 3359086"/>
                <a:gd name="connsiteY26084" fmla="*/ 134589 h 3355086"/>
                <a:gd name="connsiteX26085" fmla="*/ 1919573 w 3359086"/>
                <a:gd name="connsiteY26085" fmla="*/ 128397 h 3355086"/>
                <a:gd name="connsiteX26086" fmla="*/ 1925764 w 3359086"/>
                <a:gd name="connsiteY26086" fmla="*/ 122206 h 3355086"/>
                <a:gd name="connsiteX26087" fmla="*/ 2107882 w 3359086"/>
                <a:gd name="connsiteY26087" fmla="*/ 121920 h 3355086"/>
                <a:gd name="connsiteX26088" fmla="*/ 2114074 w 3359086"/>
                <a:gd name="connsiteY26088" fmla="*/ 128111 h 3355086"/>
                <a:gd name="connsiteX26089" fmla="*/ 2107882 w 3359086"/>
                <a:gd name="connsiteY26089" fmla="*/ 134303 h 3355086"/>
                <a:gd name="connsiteX26090" fmla="*/ 2101691 w 3359086"/>
                <a:gd name="connsiteY26090" fmla="*/ 128111 h 3355086"/>
                <a:gd name="connsiteX26091" fmla="*/ 2107882 w 3359086"/>
                <a:gd name="connsiteY26091" fmla="*/ 121920 h 3355086"/>
                <a:gd name="connsiteX26092" fmla="*/ 1685353 w 3359086"/>
                <a:gd name="connsiteY26092" fmla="*/ 121825 h 3355086"/>
                <a:gd name="connsiteX26093" fmla="*/ 1691545 w 3359086"/>
                <a:gd name="connsiteY26093" fmla="*/ 128016 h 3355086"/>
                <a:gd name="connsiteX26094" fmla="*/ 1685353 w 3359086"/>
                <a:gd name="connsiteY26094" fmla="*/ 134208 h 3355086"/>
                <a:gd name="connsiteX26095" fmla="*/ 1679162 w 3359086"/>
                <a:gd name="connsiteY26095" fmla="*/ 128016 h 3355086"/>
                <a:gd name="connsiteX26096" fmla="*/ 1685353 w 3359086"/>
                <a:gd name="connsiteY26096" fmla="*/ 121825 h 3355086"/>
                <a:gd name="connsiteX26097" fmla="*/ 1173765 w 3359086"/>
                <a:gd name="connsiteY26097" fmla="*/ 121539 h 3355086"/>
                <a:gd name="connsiteX26098" fmla="*/ 1179956 w 3359086"/>
                <a:gd name="connsiteY26098" fmla="*/ 127730 h 3355086"/>
                <a:gd name="connsiteX26099" fmla="*/ 1173765 w 3359086"/>
                <a:gd name="connsiteY26099" fmla="*/ 133922 h 3355086"/>
                <a:gd name="connsiteX26100" fmla="*/ 1167574 w 3359086"/>
                <a:gd name="connsiteY26100" fmla="*/ 127730 h 3355086"/>
                <a:gd name="connsiteX26101" fmla="*/ 1173765 w 3359086"/>
                <a:gd name="connsiteY26101" fmla="*/ 121539 h 3355086"/>
                <a:gd name="connsiteX26102" fmla="*/ 1052988 w 3359086"/>
                <a:gd name="connsiteY26102" fmla="*/ 121063 h 3355086"/>
                <a:gd name="connsiteX26103" fmla="*/ 1057227 w 3359086"/>
                <a:gd name="connsiteY26103" fmla="*/ 125302 h 3355086"/>
                <a:gd name="connsiteX26104" fmla="*/ 1058417 w 3359086"/>
                <a:gd name="connsiteY26104" fmla="*/ 124111 h 3355086"/>
                <a:gd name="connsiteX26105" fmla="*/ 1062275 w 3359086"/>
                <a:gd name="connsiteY26105" fmla="*/ 127969 h 3355086"/>
                <a:gd name="connsiteX26106" fmla="*/ 1063847 w 3359086"/>
                <a:gd name="connsiteY26106" fmla="*/ 126397 h 3355086"/>
                <a:gd name="connsiteX26107" fmla="*/ 1067419 w 3359086"/>
                <a:gd name="connsiteY26107" fmla="*/ 129969 h 3355086"/>
                <a:gd name="connsiteX26108" fmla="*/ 1069276 w 3359086"/>
                <a:gd name="connsiteY26108" fmla="*/ 128111 h 3355086"/>
                <a:gd name="connsiteX26109" fmla="*/ 1072610 w 3359086"/>
                <a:gd name="connsiteY26109" fmla="*/ 131445 h 3355086"/>
                <a:gd name="connsiteX26110" fmla="*/ 1074705 w 3359086"/>
                <a:gd name="connsiteY26110" fmla="*/ 129350 h 3355086"/>
                <a:gd name="connsiteX26111" fmla="*/ 1078039 w 3359086"/>
                <a:gd name="connsiteY26111" fmla="*/ 132683 h 3355086"/>
                <a:gd name="connsiteX26112" fmla="*/ 1080420 w 3359086"/>
                <a:gd name="connsiteY26112" fmla="*/ 130302 h 3355086"/>
                <a:gd name="connsiteX26113" fmla="*/ 1083707 w 3359086"/>
                <a:gd name="connsiteY26113" fmla="*/ 133588 h 3355086"/>
                <a:gd name="connsiteX26114" fmla="*/ 1086326 w 3359086"/>
                <a:gd name="connsiteY26114" fmla="*/ 130969 h 3355086"/>
                <a:gd name="connsiteX26115" fmla="*/ 1089803 w 3359086"/>
                <a:gd name="connsiteY26115" fmla="*/ 134446 h 3355086"/>
                <a:gd name="connsiteX26116" fmla="*/ 1092612 w 3359086"/>
                <a:gd name="connsiteY26116" fmla="*/ 131636 h 3355086"/>
                <a:gd name="connsiteX26117" fmla="*/ 1096327 w 3359086"/>
                <a:gd name="connsiteY26117" fmla="*/ 135351 h 3355086"/>
                <a:gd name="connsiteX26118" fmla="*/ 1099280 w 3359086"/>
                <a:gd name="connsiteY26118" fmla="*/ 132398 h 3355086"/>
                <a:gd name="connsiteX26119" fmla="*/ 1103423 w 3359086"/>
                <a:gd name="connsiteY26119" fmla="*/ 136541 h 3355086"/>
                <a:gd name="connsiteX26120" fmla="*/ 1106518 w 3359086"/>
                <a:gd name="connsiteY26120" fmla="*/ 133446 h 3355086"/>
                <a:gd name="connsiteX26121" fmla="*/ 1111138 w 3359086"/>
                <a:gd name="connsiteY26121" fmla="*/ 138065 h 3355086"/>
                <a:gd name="connsiteX26122" fmla="*/ 1114329 w 3359086"/>
                <a:gd name="connsiteY26122" fmla="*/ 134874 h 3355086"/>
                <a:gd name="connsiteX26123" fmla="*/ 1119663 w 3359086"/>
                <a:gd name="connsiteY26123" fmla="*/ 140208 h 3355086"/>
                <a:gd name="connsiteX26124" fmla="*/ 1122901 w 3359086"/>
                <a:gd name="connsiteY26124" fmla="*/ 136970 h 3355086"/>
                <a:gd name="connsiteX26125" fmla="*/ 1129093 w 3359086"/>
                <a:gd name="connsiteY26125" fmla="*/ 143161 h 3355086"/>
                <a:gd name="connsiteX26126" fmla="*/ 1122901 w 3359086"/>
                <a:gd name="connsiteY26126" fmla="*/ 149353 h 3355086"/>
                <a:gd name="connsiteX26127" fmla="*/ 1117567 w 3359086"/>
                <a:gd name="connsiteY26127" fmla="*/ 144019 h 3355086"/>
                <a:gd name="connsiteX26128" fmla="*/ 1114329 w 3359086"/>
                <a:gd name="connsiteY26128" fmla="*/ 147257 h 3355086"/>
                <a:gd name="connsiteX26129" fmla="*/ 1109710 w 3359086"/>
                <a:gd name="connsiteY26129" fmla="*/ 142637 h 3355086"/>
                <a:gd name="connsiteX26130" fmla="*/ 1106518 w 3359086"/>
                <a:gd name="connsiteY26130" fmla="*/ 145829 h 3355086"/>
                <a:gd name="connsiteX26131" fmla="*/ 1102375 w 3359086"/>
                <a:gd name="connsiteY26131" fmla="*/ 141685 h 3355086"/>
                <a:gd name="connsiteX26132" fmla="*/ 1099280 w 3359086"/>
                <a:gd name="connsiteY26132" fmla="*/ 144780 h 3355086"/>
                <a:gd name="connsiteX26133" fmla="*/ 1095565 w 3359086"/>
                <a:gd name="connsiteY26133" fmla="*/ 141065 h 3355086"/>
                <a:gd name="connsiteX26134" fmla="*/ 1092612 w 3359086"/>
                <a:gd name="connsiteY26134" fmla="*/ 144018 h 3355086"/>
                <a:gd name="connsiteX26135" fmla="*/ 1089136 w 3359086"/>
                <a:gd name="connsiteY26135" fmla="*/ 140542 h 3355086"/>
                <a:gd name="connsiteX26136" fmla="*/ 1086326 w 3359086"/>
                <a:gd name="connsiteY26136" fmla="*/ 143352 h 3355086"/>
                <a:gd name="connsiteX26137" fmla="*/ 1083040 w 3359086"/>
                <a:gd name="connsiteY26137" fmla="*/ 140065 h 3355086"/>
                <a:gd name="connsiteX26138" fmla="*/ 1080420 w 3359086"/>
                <a:gd name="connsiteY26138" fmla="*/ 142685 h 3355086"/>
                <a:gd name="connsiteX26139" fmla="*/ 1077087 w 3359086"/>
                <a:gd name="connsiteY26139" fmla="*/ 139351 h 3355086"/>
                <a:gd name="connsiteX26140" fmla="*/ 1074705 w 3359086"/>
                <a:gd name="connsiteY26140" fmla="*/ 141733 h 3355086"/>
                <a:gd name="connsiteX26141" fmla="*/ 1071371 w 3359086"/>
                <a:gd name="connsiteY26141" fmla="*/ 138399 h 3355086"/>
                <a:gd name="connsiteX26142" fmla="*/ 1069276 w 3359086"/>
                <a:gd name="connsiteY26142" fmla="*/ 140494 h 3355086"/>
                <a:gd name="connsiteX26143" fmla="*/ 1065705 w 3359086"/>
                <a:gd name="connsiteY26143" fmla="*/ 136922 h 3355086"/>
                <a:gd name="connsiteX26144" fmla="*/ 1063847 w 3359086"/>
                <a:gd name="connsiteY26144" fmla="*/ 138780 h 3355086"/>
                <a:gd name="connsiteX26145" fmla="*/ 1059989 w 3359086"/>
                <a:gd name="connsiteY26145" fmla="*/ 134921 h 3355086"/>
                <a:gd name="connsiteX26146" fmla="*/ 1058417 w 3359086"/>
                <a:gd name="connsiteY26146" fmla="*/ 136493 h 3355086"/>
                <a:gd name="connsiteX26147" fmla="*/ 1054179 w 3359086"/>
                <a:gd name="connsiteY26147" fmla="*/ 132255 h 3355086"/>
                <a:gd name="connsiteX26148" fmla="*/ 1052988 w 3359086"/>
                <a:gd name="connsiteY26148" fmla="*/ 133446 h 3355086"/>
                <a:gd name="connsiteX26149" fmla="*/ 1046797 w 3359086"/>
                <a:gd name="connsiteY26149" fmla="*/ 127254 h 3355086"/>
                <a:gd name="connsiteX26150" fmla="*/ 1052988 w 3359086"/>
                <a:gd name="connsiteY26150" fmla="*/ 121063 h 3355086"/>
                <a:gd name="connsiteX26151" fmla="*/ 1271301 w 3359086"/>
                <a:gd name="connsiteY26151" fmla="*/ 120492 h 3355086"/>
                <a:gd name="connsiteX26152" fmla="*/ 1277492 w 3359086"/>
                <a:gd name="connsiteY26152" fmla="*/ 126683 h 3355086"/>
                <a:gd name="connsiteX26153" fmla="*/ 1271301 w 3359086"/>
                <a:gd name="connsiteY26153" fmla="*/ 132874 h 3355086"/>
                <a:gd name="connsiteX26154" fmla="*/ 1265110 w 3359086"/>
                <a:gd name="connsiteY26154" fmla="*/ 126683 h 3355086"/>
                <a:gd name="connsiteX26155" fmla="*/ 1271301 w 3359086"/>
                <a:gd name="connsiteY26155" fmla="*/ 120492 h 3355086"/>
                <a:gd name="connsiteX26156" fmla="*/ 2121693 w 3359086"/>
                <a:gd name="connsiteY26156" fmla="*/ 117824 h 3355086"/>
                <a:gd name="connsiteX26157" fmla="*/ 2127884 w 3359086"/>
                <a:gd name="connsiteY26157" fmla="*/ 124015 h 3355086"/>
                <a:gd name="connsiteX26158" fmla="*/ 2121693 w 3359086"/>
                <a:gd name="connsiteY26158" fmla="*/ 130207 h 3355086"/>
                <a:gd name="connsiteX26159" fmla="*/ 2115502 w 3359086"/>
                <a:gd name="connsiteY26159" fmla="*/ 124015 h 3355086"/>
                <a:gd name="connsiteX26160" fmla="*/ 2121693 w 3359086"/>
                <a:gd name="connsiteY26160" fmla="*/ 117824 h 3355086"/>
                <a:gd name="connsiteX26161" fmla="*/ 1442656 w 3359086"/>
                <a:gd name="connsiteY26161" fmla="*/ 117729 h 3355086"/>
                <a:gd name="connsiteX26162" fmla="*/ 1448848 w 3359086"/>
                <a:gd name="connsiteY26162" fmla="*/ 123920 h 3355086"/>
                <a:gd name="connsiteX26163" fmla="*/ 1442656 w 3359086"/>
                <a:gd name="connsiteY26163" fmla="*/ 130111 h 3355086"/>
                <a:gd name="connsiteX26164" fmla="*/ 1436465 w 3359086"/>
                <a:gd name="connsiteY26164" fmla="*/ 123920 h 3355086"/>
                <a:gd name="connsiteX26165" fmla="*/ 1442656 w 3359086"/>
                <a:gd name="connsiteY26165" fmla="*/ 117729 h 3355086"/>
                <a:gd name="connsiteX26166" fmla="*/ 1352740 w 3359086"/>
                <a:gd name="connsiteY26166" fmla="*/ 116491 h 3355086"/>
                <a:gd name="connsiteX26167" fmla="*/ 1358932 w 3359086"/>
                <a:gd name="connsiteY26167" fmla="*/ 122682 h 3355086"/>
                <a:gd name="connsiteX26168" fmla="*/ 1352740 w 3359086"/>
                <a:gd name="connsiteY26168" fmla="*/ 128874 h 3355086"/>
                <a:gd name="connsiteX26169" fmla="*/ 1346549 w 3359086"/>
                <a:gd name="connsiteY26169" fmla="*/ 122682 h 3355086"/>
                <a:gd name="connsiteX26170" fmla="*/ 1352740 w 3359086"/>
                <a:gd name="connsiteY26170" fmla="*/ 116491 h 3355086"/>
                <a:gd name="connsiteX26171" fmla="*/ 2134266 w 3359086"/>
                <a:gd name="connsiteY26171" fmla="*/ 114776 h 3355086"/>
                <a:gd name="connsiteX26172" fmla="*/ 2140458 w 3359086"/>
                <a:gd name="connsiteY26172" fmla="*/ 120967 h 3355086"/>
                <a:gd name="connsiteX26173" fmla="*/ 2134266 w 3359086"/>
                <a:gd name="connsiteY26173" fmla="*/ 127159 h 3355086"/>
                <a:gd name="connsiteX26174" fmla="*/ 2128075 w 3359086"/>
                <a:gd name="connsiteY26174" fmla="*/ 120967 h 3355086"/>
                <a:gd name="connsiteX26175" fmla="*/ 2134266 w 3359086"/>
                <a:gd name="connsiteY26175" fmla="*/ 114776 h 3355086"/>
                <a:gd name="connsiteX26176" fmla="*/ 2032825 w 3359086"/>
                <a:gd name="connsiteY26176" fmla="*/ 114681 h 3355086"/>
                <a:gd name="connsiteX26177" fmla="*/ 2039017 w 3359086"/>
                <a:gd name="connsiteY26177" fmla="*/ 120872 h 3355086"/>
                <a:gd name="connsiteX26178" fmla="*/ 2032825 w 3359086"/>
                <a:gd name="connsiteY26178" fmla="*/ 127064 h 3355086"/>
                <a:gd name="connsiteX26179" fmla="*/ 2026634 w 3359086"/>
                <a:gd name="connsiteY26179" fmla="*/ 120872 h 3355086"/>
                <a:gd name="connsiteX26180" fmla="*/ 2032825 w 3359086"/>
                <a:gd name="connsiteY26180" fmla="*/ 114681 h 3355086"/>
                <a:gd name="connsiteX26181" fmla="*/ 1254918 w 3359086"/>
                <a:gd name="connsiteY26181" fmla="*/ 114681 h 3355086"/>
                <a:gd name="connsiteX26182" fmla="*/ 1261109 w 3359086"/>
                <a:gd name="connsiteY26182" fmla="*/ 120872 h 3355086"/>
                <a:gd name="connsiteX26183" fmla="*/ 1254918 w 3359086"/>
                <a:gd name="connsiteY26183" fmla="*/ 127064 h 3355086"/>
                <a:gd name="connsiteX26184" fmla="*/ 1248727 w 3359086"/>
                <a:gd name="connsiteY26184" fmla="*/ 120872 h 3355086"/>
                <a:gd name="connsiteX26185" fmla="*/ 1254918 w 3359086"/>
                <a:gd name="connsiteY26185" fmla="*/ 114681 h 3355086"/>
                <a:gd name="connsiteX26186" fmla="*/ 1857755 w 3359086"/>
                <a:gd name="connsiteY26186" fmla="*/ 114491 h 3355086"/>
                <a:gd name="connsiteX26187" fmla="*/ 1863947 w 3359086"/>
                <a:gd name="connsiteY26187" fmla="*/ 120682 h 3355086"/>
                <a:gd name="connsiteX26188" fmla="*/ 1857755 w 3359086"/>
                <a:gd name="connsiteY26188" fmla="*/ 126874 h 3355086"/>
                <a:gd name="connsiteX26189" fmla="*/ 1851564 w 3359086"/>
                <a:gd name="connsiteY26189" fmla="*/ 120682 h 3355086"/>
                <a:gd name="connsiteX26190" fmla="*/ 1857755 w 3359086"/>
                <a:gd name="connsiteY26190" fmla="*/ 114491 h 3355086"/>
                <a:gd name="connsiteX26191" fmla="*/ 1949481 w 3359086"/>
                <a:gd name="connsiteY26191" fmla="*/ 111824 h 3355086"/>
                <a:gd name="connsiteX26192" fmla="*/ 1955673 w 3359086"/>
                <a:gd name="connsiteY26192" fmla="*/ 118015 h 3355086"/>
                <a:gd name="connsiteX26193" fmla="*/ 1949481 w 3359086"/>
                <a:gd name="connsiteY26193" fmla="*/ 124207 h 3355086"/>
                <a:gd name="connsiteX26194" fmla="*/ 1943290 w 3359086"/>
                <a:gd name="connsiteY26194" fmla="*/ 118015 h 3355086"/>
                <a:gd name="connsiteX26195" fmla="*/ 1949481 w 3359086"/>
                <a:gd name="connsiteY26195" fmla="*/ 111824 h 3355086"/>
                <a:gd name="connsiteX26196" fmla="*/ 1511141 w 3359086"/>
                <a:gd name="connsiteY26196" fmla="*/ 111252 h 3355086"/>
                <a:gd name="connsiteX26197" fmla="*/ 1517333 w 3359086"/>
                <a:gd name="connsiteY26197" fmla="*/ 117443 h 3355086"/>
                <a:gd name="connsiteX26198" fmla="*/ 1511141 w 3359086"/>
                <a:gd name="connsiteY26198" fmla="*/ 123635 h 3355086"/>
                <a:gd name="connsiteX26199" fmla="*/ 1504950 w 3359086"/>
                <a:gd name="connsiteY26199" fmla="*/ 117443 h 3355086"/>
                <a:gd name="connsiteX26200" fmla="*/ 1511141 w 3359086"/>
                <a:gd name="connsiteY26200" fmla="*/ 111252 h 3355086"/>
                <a:gd name="connsiteX26201" fmla="*/ 1239869 w 3359086"/>
                <a:gd name="connsiteY26201" fmla="*/ 110490 h 3355086"/>
                <a:gd name="connsiteX26202" fmla="*/ 1246061 w 3359086"/>
                <a:gd name="connsiteY26202" fmla="*/ 116681 h 3355086"/>
                <a:gd name="connsiteX26203" fmla="*/ 1239869 w 3359086"/>
                <a:gd name="connsiteY26203" fmla="*/ 122873 h 3355086"/>
                <a:gd name="connsiteX26204" fmla="*/ 1233678 w 3359086"/>
                <a:gd name="connsiteY26204" fmla="*/ 116681 h 3355086"/>
                <a:gd name="connsiteX26205" fmla="*/ 1239869 w 3359086"/>
                <a:gd name="connsiteY26205" fmla="*/ 110490 h 3355086"/>
                <a:gd name="connsiteX26206" fmla="*/ 1082421 w 3359086"/>
                <a:gd name="connsiteY26206" fmla="*/ 109728 h 3355086"/>
                <a:gd name="connsiteX26207" fmla="*/ 1084707 w 3359086"/>
                <a:gd name="connsiteY26207" fmla="*/ 112014 h 3355086"/>
                <a:gd name="connsiteX26208" fmla="*/ 1082421 w 3359086"/>
                <a:gd name="connsiteY26208" fmla="*/ 114300 h 3355086"/>
                <a:gd name="connsiteX26209" fmla="*/ 1080135 w 3359086"/>
                <a:gd name="connsiteY26209" fmla="*/ 112014 h 3355086"/>
                <a:gd name="connsiteX26210" fmla="*/ 1082421 w 3359086"/>
                <a:gd name="connsiteY26210" fmla="*/ 109728 h 3355086"/>
                <a:gd name="connsiteX26211" fmla="*/ 2274665 w 3359086"/>
                <a:gd name="connsiteY26211" fmla="*/ 109538 h 3355086"/>
                <a:gd name="connsiteX26212" fmla="*/ 2278951 w 3359086"/>
                <a:gd name="connsiteY26212" fmla="*/ 113824 h 3355086"/>
                <a:gd name="connsiteX26213" fmla="*/ 2274666 w 3359086"/>
                <a:gd name="connsiteY26213" fmla="*/ 118110 h 3355086"/>
                <a:gd name="connsiteX26214" fmla="*/ 2274761 w 3359086"/>
                <a:gd name="connsiteY26214" fmla="*/ 118205 h 3355086"/>
                <a:gd name="connsiteX26215" fmla="*/ 2268569 w 3359086"/>
                <a:gd name="connsiteY26215" fmla="*/ 124397 h 3355086"/>
                <a:gd name="connsiteX26216" fmla="*/ 2267331 w 3359086"/>
                <a:gd name="connsiteY26216" fmla="*/ 123159 h 3355086"/>
                <a:gd name="connsiteX26217" fmla="*/ 2262663 w 3359086"/>
                <a:gd name="connsiteY26217" fmla="*/ 127826 h 3355086"/>
                <a:gd name="connsiteX26218" fmla="*/ 2261139 w 3359086"/>
                <a:gd name="connsiteY26218" fmla="*/ 126302 h 3355086"/>
                <a:gd name="connsiteX26219" fmla="*/ 2256853 w 3359086"/>
                <a:gd name="connsiteY26219" fmla="*/ 130588 h 3355086"/>
                <a:gd name="connsiteX26220" fmla="*/ 2254996 w 3359086"/>
                <a:gd name="connsiteY26220" fmla="*/ 128730 h 3355086"/>
                <a:gd name="connsiteX26221" fmla="*/ 2251042 w 3359086"/>
                <a:gd name="connsiteY26221" fmla="*/ 132684 h 3355086"/>
                <a:gd name="connsiteX26222" fmla="*/ 2248852 w 3359086"/>
                <a:gd name="connsiteY26222" fmla="*/ 130493 h 3355086"/>
                <a:gd name="connsiteX26223" fmla="*/ 2245137 w 3359086"/>
                <a:gd name="connsiteY26223" fmla="*/ 134208 h 3355086"/>
                <a:gd name="connsiteX26224" fmla="*/ 2242613 w 3359086"/>
                <a:gd name="connsiteY26224" fmla="*/ 131684 h 3355086"/>
                <a:gd name="connsiteX26225" fmla="*/ 2239041 w 3359086"/>
                <a:gd name="connsiteY26225" fmla="*/ 135255 h 3355086"/>
                <a:gd name="connsiteX26226" fmla="*/ 2236327 w 3359086"/>
                <a:gd name="connsiteY26226" fmla="*/ 132541 h 3355086"/>
                <a:gd name="connsiteX26227" fmla="*/ 2232850 w 3359086"/>
                <a:gd name="connsiteY26227" fmla="*/ 136018 h 3355086"/>
                <a:gd name="connsiteX26228" fmla="*/ 2229850 w 3359086"/>
                <a:gd name="connsiteY26228" fmla="*/ 133017 h 3355086"/>
                <a:gd name="connsiteX26229" fmla="*/ 2226278 w 3359086"/>
                <a:gd name="connsiteY26229" fmla="*/ 136589 h 3355086"/>
                <a:gd name="connsiteX26230" fmla="*/ 2223039 w 3359086"/>
                <a:gd name="connsiteY26230" fmla="*/ 133350 h 3355086"/>
                <a:gd name="connsiteX26231" fmla="*/ 2219324 w 3359086"/>
                <a:gd name="connsiteY26231" fmla="*/ 137065 h 3355086"/>
                <a:gd name="connsiteX26232" fmla="*/ 2215991 w 3359086"/>
                <a:gd name="connsiteY26232" fmla="*/ 133731 h 3355086"/>
                <a:gd name="connsiteX26233" fmla="*/ 2211990 w 3359086"/>
                <a:gd name="connsiteY26233" fmla="*/ 137732 h 3355086"/>
                <a:gd name="connsiteX26234" fmla="*/ 2208418 w 3359086"/>
                <a:gd name="connsiteY26234" fmla="*/ 134159 h 3355086"/>
                <a:gd name="connsiteX26235" fmla="*/ 2203989 w 3359086"/>
                <a:gd name="connsiteY26235" fmla="*/ 138589 h 3355086"/>
                <a:gd name="connsiteX26236" fmla="*/ 2200370 w 3359086"/>
                <a:gd name="connsiteY26236" fmla="*/ 134969 h 3355086"/>
                <a:gd name="connsiteX26237" fmla="*/ 2195321 w 3359086"/>
                <a:gd name="connsiteY26237" fmla="*/ 140017 h 3355086"/>
                <a:gd name="connsiteX26238" fmla="*/ 2191559 w 3359086"/>
                <a:gd name="connsiteY26238" fmla="*/ 136256 h 3355086"/>
                <a:gd name="connsiteX26239" fmla="*/ 2185796 w 3359086"/>
                <a:gd name="connsiteY26239" fmla="*/ 142018 h 3355086"/>
                <a:gd name="connsiteX26240" fmla="*/ 2179605 w 3359086"/>
                <a:gd name="connsiteY26240" fmla="*/ 135827 h 3355086"/>
                <a:gd name="connsiteX26241" fmla="*/ 2185796 w 3359086"/>
                <a:gd name="connsiteY26241" fmla="*/ 129636 h 3355086"/>
                <a:gd name="connsiteX26242" fmla="*/ 2189558 w 3359086"/>
                <a:gd name="connsiteY26242" fmla="*/ 133398 h 3355086"/>
                <a:gd name="connsiteX26243" fmla="*/ 2195321 w 3359086"/>
                <a:gd name="connsiteY26243" fmla="*/ 127635 h 3355086"/>
                <a:gd name="connsiteX26244" fmla="*/ 2198941 w 3359086"/>
                <a:gd name="connsiteY26244" fmla="*/ 131254 h 3355086"/>
                <a:gd name="connsiteX26245" fmla="*/ 2203989 w 3359086"/>
                <a:gd name="connsiteY26245" fmla="*/ 126206 h 3355086"/>
                <a:gd name="connsiteX26246" fmla="*/ 2207561 w 3359086"/>
                <a:gd name="connsiteY26246" fmla="*/ 129778 h 3355086"/>
                <a:gd name="connsiteX26247" fmla="*/ 2211990 w 3359086"/>
                <a:gd name="connsiteY26247" fmla="*/ 125349 h 3355086"/>
                <a:gd name="connsiteX26248" fmla="*/ 2215324 w 3359086"/>
                <a:gd name="connsiteY26248" fmla="*/ 128682 h 3355086"/>
                <a:gd name="connsiteX26249" fmla="*/ 2219324 w 3359086"/>
                <a:gd name="connsiteY26249" fmla="*/ 124682 h 3355086"/>
                <a:gd name="connsiteX26250" fmla="*/ 2222563 w 3359086"/>
                <a:gd name="connsiteY26250" fmla="*/ 127921 h 3355086"/>
                <a:gd name="connsiteX26251" fmla="*/ 2226278 w 3359086"/>
                <a:gd name="connsiteY26251" fmla="*/ 124206 h 3355086"/>
                <a:gd name="connsiteX26252" fmla="*/ 2229279 w 3359086"/>
                <a:gd name="connsiteY26252" fmla="*/ 127206 h 3355086"/>
                <a:gd name="connsiteX26253" fmla="*/ 2232850 w 3359086"/>
                <a:gd name="connsiteY26253" fmla="*/ 123635 h 3355086"/>
                <a:gd name="connsiteX26254" fmla="*/ 2235565 w 3359086"/>
                <a:gd name="connsiteY26254" fmla="*/ 126349 h 3355086"/>
                <a:gd name="connsiteX26255" fmla="*/ 2239041 w 3359086"/>
                <a:gd name="connsiteY26255" fmla="*/ 122873 h 3355086"/>
                <a:gd name="connsiteX26256" fmla="*/ 2241565 w 3359086"/>
                <a:gd name="connsiteY26256" fmla="*/ 125397 h 3355086"/>
                <a:gd name="connsiteX26257" fmla="*/ 2245137 w 3359086"/>
                <a:gd name="connsiteY26257" fmla="*/ 121825 h 3355086"/>
                <a:gd name="connsiteX26258" fmla="*/ 2247328 w 3359086"/>
                <a:gd name="connsiteY26258" fmla="*/ 124015 h 3355086"/>
                <a:gd name="connsiteX26259" fmla="*/ 2251042 w 3359086"/>
                <a:gd name="connsiteY26259" fmla="*/ 120301 h 3355086"/>
                <a:gd name="connsiteX26260" fmla="*/ 2252900 w 3359086"/>
                <a:gd name="connsiteY26260" fmla="*/ 122158 h 3355086"/>
                <a:gd name="connsiteX26261" fmla="*/ 2256853 w 3359086"/>
                <a:gd name="connsiteY26261" fmla="*/ 118205 h 3355086"/>
                <a:gd name="connsiteX26262" fmla="*/ 2258377 w 3359086"/>
                <a:gd name="connsiteY26262" fmla="*/ 119729 h 3355086"/>
                <a:gd name="connsiteX26263" fmla="*/ 2262663 w 3359086"/>
                <a:gd name="connsiteY26263" fmla="*/ 115443 h 3355086"/>
                <a:gd name="connsiteX26264" fmla="*/ 2263902 w 3359086"/>
                <a:gd name="connsiteY26264" fmla="*/ 116682 h 3355086"/>
                <a:gd name="connsiteX26265" fmla="*/ 2268569 w 3359086"/>
                <a:gd name="connsiteY26265" fmla="*/ 112014 h 3355086"/>
                <a:gd name="connsiteX26266" fmla="*/ 2270379 w 3359086"/>
                <a:gd name="connsiteY26266" fmla="*/ 113824 h 3355086"/>
                <a:gd name="connsiteX26267" fmla="*/ 1088802 w 3359086"/>
                <a:gd name="connsiteY26267" fmla="*/ 109062 h 3355086"/>
                <a:gd name="connsiteX26268" fmla="*/ 1093231 w 3359086"/>
                <a:gd name="connsiteY26268" fmla="*/ 113491 h 3355086"/>
                <a:gd name="connsiteX26269" fmla="*/ 1095088 w 3359086"/>
                <a:gd name="connsiteY26269" fmla="*/ 111633 h 3355086"/>
                <a:gd name="connsiteX26270" fmla="*/ 1099184 w 3359086"/>
                <a:gd name="connsiteY26270" fmla="*/ 115729 h 3355086"/>
                <a:gd name="connsiteX26271" fmla="*/ 1101470 w 3359086"/>
                <a:gd name="connsiteY26271" fmla="*/ 113443 h 3355086"/>
                <a:gd name="connsiteX26272" fmla="*/ 1105375 w 3359086"/>
                <a:gd name="connsiteY26272" fmla="*/ 117348 h 3355086"/>
                <a:gd name="connsiteX26273" fmla="*/ 1107947 w 3359086"/>
                <a:gd name="connsiteY26273" fmla="*/ 114776 h 3355086"/>
                <a:gd name="connsiteX26274" fmla="*/ 1111663 w 3359086"/>
                <a:gd name="connsiteY26274" fmla="*/ 118491 h 3355086"/>
                <a:gd name="connsiteX26275" fmla="*/ 1114520 w 3359086"/>
                <a:gd name="connsiteY26275" fmla="*/ 115634 h 3355086"/>
                <a:gd name="connsiteX26276" fmla="*/ 1118282 w 3359086"/>
                <a:gd name="connsiteY26276" fmla="*/ 119396 h 3355086"/>
                <a:gd name="connsiteX26277" fmla="*/ 1121473 w 3359086"/>
                <a:gd name="connsiteY26277" fmla="*/ 116205 h 3355086"/>
                <a:gd name="connsiteX26278" fmla="*/ 1125283 w 3359086"/>
                <a:gd name="connsiteY26278" fmla="*/ 120015 h 3355086"/>
                <a:gd name="connsiteX26279" fmla="*/ 1128712 w 3359086"/>
                <a:gd name="connsiteY26279" fmla="*/ 116586 h 3355086"/>
                <a:gd name="connsiteX26280" fmla="*/ 1132760 w 3359086"/>
                <a:gd name="connsiteY26280" fmla="*/ 120634 h 3355086"/>
                <a:gd name="connsiteX26281" fmla="*/ 1136427 w 3359086"/>
                <a:gd name="connsiteY26281" fmla="*/ 116967 h 3355086"/>
                <a:gd name="connsiteX26282" fmla="*/ 1140809 w 3359086"/>
                <a:gd name="connsiteY26282" fmla="*/ 121349 h 3355086"/>
                <a:gd name="connsiteX26283" fmla="*/ 1144714 w 3359086"/>
                <a:gd name="connsiteY26283" fmla="*/ 117443 h 3355086"/>
                <a:gd name="connsiteX26284" fmla="*/ 1149524 w 3359086"/>
                <a:gd name="connsiteY26284" fmla="*/ 122253 h 3355086"/>
                <a:gd name="connsiteX26285" fmla="*/ 1153572 w 3359086"/>
                <a:gd name="connsiteY26285" fmla="*/ 118205 h 3355086"/>
                <a:gd name="connsiteX26286" fmla="*/ 1159097 w 3359086"/>
                <a:gd name="connsiteY26286" fmla="*/ 123730 h 3355086"/>
                <a:gd name="connsiteX26287" fmla="*/ 1163288 w 3359086"/>
                <a:gd name="connsiteY26287" fmla="*/ 119539 h 3355086"/>
                <a:gd name="connsiteX26288" fmla="*/ 1169479 w 3359086"/>
                <a:gd name="connsiteY26288" fmla="*/ 125730 h 3355086"/>
                <a:gd name="connsiteX26289" fmla="*/ 1163288 w 3359086"/>
                <a:gd name="connsiteY26289" fmla="*/ 131922 h 3355086"/>
                <a:gd name="connsiteX26290" fmla="*/ 1157763 w 3359086"/>
                <a:gd name="connsiteY26290" fmla="*/ 126397 h 3355086"/>
                <a:gd name="connsiteX26291" fmla="*/ 1153572 w 3359086"/>
                <a:gd name="connsiteY26291" fmla="*/ 130588 h 3355086"/>
                <a:gd name="connsiteX26292" fmla="*/ 1148762 w 3359086"/>
                <a:gd name="connsiteY26292" fmla="*/ 125778 h 3355086"/>
                <a:gd name="connsiteX26293" fmla="*/ 1144714 w 3359086"/>
                <a:gd name="connsiteY26293" fmla="*/ 129826 h 3355086"/>
                <a:gd name="connsiteX26294" fmla="*/ 1140332 w 3359086"/>
                <a:gd name="connsiteY26294" fmla="*/ 125444 h 3355086"/>
                <a:gd name="connsiteX26295" fmla="*/ 1136427 w 3359086"/>
                <a:gd name="connsiteY26295" fmla="*/ 129349 h 3355086"/>
                <a:gd name="connsiteX26296" fmla="*/ 1132380 w 3359086"/>
                <a:gd name="connsiteY26296" fmla="*/ 125302 h 3355086"/>
                <a:gd name="connsiteX26297" fmla="*/ 1128712 w 3359086"/>
                <a:gd name="connsiteY26297" fmla="*/ 128969 h 3355086"/>
                <a:gd name="connsiteX26298" fmla="*/ 1124902 w 3359086"/>
                <a:gd name="connsiteY26298" fmla="*/ 125159 h 3355086"/>
                <a:gd name="connsiteX26299" fmla="*/ 1121473 w 3359086"/>
                <a:gd name="connsiteY26299" fmla="*/ 128588 h 3355086"/>
                <a:gd name="connsiteX26300" fmla="*/ 1117711 w 3359086"/>
                <a:gd name="connsiteY26300" fmla="*/ 124826 h 3355086"/>
                <a:gd name="connsiteX26301" fmla="*/ 1114520 w 3359086"/>
                <a:gd name="connsiteY26301" fmla="*/ 128017 h 3355086"/>
                <a:gd name="connsiteX26302" fmla="*/ 1110805 w 3359086"/>
                <a:gd name="connsiteY26302" fmla="*/ 124301 h 3355086"/>
                <a:gd name="connsiteX26303" fmla="*/ 1107947 w 3359086"/>
                <a:gd name="connsiteY26303" fmla="*/ 127159 h 3355086"/>
                <a:gd name="connsiteX26304" fmla="*/ 1104042 w 3359086"/>
                <a:gd name="connsiteY26304" fmla="*/ 123254 h 3355086"/>
                <a:gd name="connsiteX26305" fmla="*/ 1101470 w 3359086"/>
                <a:gd name="connsiteY26305" fmla="*/ 125826 h 3355086"/>
                <a:gd name="connsiteX26306" fmla="*/ 1097374 w 3359086"/>
                <a:gd name="connsiteY26306" fmla="*/ 121730 h 3355086"/>
                <a:gd name="connsiteX26307" fmla="*/ 1095088 w 3359086"/>
                <a:gd name="connsiteY26307" fmla="*/ 124016 h 3355086"/>
                <a:gd name="connsiteX26308" fmla="*/ 1090659 w 3359086"/>
                <a:gd name="connsiteY26308" fmla="*/ 119587 h 3355086"/>
                <a:gd name="connsiteX26309" fmla="*/ 1088802 w 3359086"/>
                <a:gd name="connsiteY26309" fmla="*/ 121444 h 3355086"/>
                <a:gd name="connsiteX26310" fmla="*/ 1082611 w 3359086"/>
                <a:gd name="connsiteY26310" fmla="*/ 115253 h 3355086"/>
                <a:gd name="connsiteX26311" fmla="*/ 1088802 w 3359086"/>
                <a:gd name="connsiteY26311" fmla="*/ 109062 h 3355086"/>
                <a:gd name="connsiteX26312" fmla="*/ 1788985 w 3359086"/>
                <a:gd name="connsiteY26312" fmla="*/ 109061 h 3355086"/>
                <a:gd name="connsiteX26313" fmla="*/ 1795177 w 3359086"/>
                <a:gd name="connsiteY26313" fmla="*/ 115252 h 3355086"/>
                <a:gd name="connsiteX26314" fmla="*/ 1788985 w 3359086"/>
                <a:gd name="connsiteY26314" fmla="*/ 121444 h 3355086"/>
                <a:gd name="connsiteX26315" fmla="*/ 1782794 w 3359086"/>
                <a:gd name="connsiteY26315" fmla="*/ 115252 h 3355086"/>
                <a:gd name="connsiteX26316" fmla="*/ 1788985 w 3359086"/>
                <a:gd name="connsiteY26316" fmla="*/ 109061 h 3355086"/>
                <a:gd name="connsiteX26317" fmla="*/ 2050351 w 3359086"/>
                <a:gd name="connsiteY26317" fmla="*/ 108776 h 3355086"/>
                <a:gd name="connsiteX26318" fmla="*/ 2056543 w 3359086"/>
                <a:gd name="connsiteY26318" fmla="*/ 114967 h 3355086"/>
                <a:gd name="connsiteX26319" fmla="*/ 2050351 w 3359086"/>
                <a:gd name="connsiteY26319" fmla="*/ 121159 h 3355086"/>
                <a:gd name="connsiteX26320" fmla="*/ 2044160 w 3359086"/>
                <a:gd name="connsiteY26320" fmla="*/ 114967 h 3355086"/>
                <a:gd name="connsiteX26321" fmla="*/ 2050351 w 3359086"/>
                <a:gd name="connsiteY26321" fmla="*/ 108776 h 3355086"/>
                <a:gd name="connsiteX26322" fmla="*/ 1332070 w 3359086"/>
                <a:gd name="connsiteY26322" fmla="*/ 108490 h 3355086"/>
                <a:gd name="connsiteX26323" fmla="*/ 1338262 w 3359086"/>
                <a:gd name="connsiteY26323" fmla="*/ 114681 h 3355086"/>
                <a:gd name="connsiteX26324" fmla="*/ 1332070 w 3359086"/>
                <a:gd name="connsiteY26324" fmla="*/ 120873 h 3355086"/>
                <a:gd name="connsiteX26325" fmla="*/ 1325879 w 3359086"/>
                <a:gd name="connsiteY26325" fmla="*/ 114681 h 3355086"/>
                <a:gd name="connsiteX26326" fmla="*/ 1332070 w 3359086"/>
                <a:gd name="connsiteY26326" fmla="*/ 108490 h 3355086"/>
                <a:gd name="connsiteX26327" fmla="*/ 1226153 w 3359086"/>
                <a:gd name="connsiteY26327" fmla="*/ 107442 h 3355086"/>
                <a:gd name="connsiteX26328" fmla="*/ 1232345 w 3359086"/>
                <a:gd name="connsiteY26328" fmla="*/ 113633 h 3355086"/>
                <a:gd name="connsiteX26329" fmla="*/ 1226153 w 3359086"/>
                <a:gd name="connsiteY26329" fmla="*/ 119824 h 3355086"/>
                <a:gd name="connsiteX26330" fmla="*/ 1219962 w 3359086"/>
                <a:gd name="connsiteY26330" fmla="*/ 113633 h 3355086"/>
                <a:gd name="connsiteX26331" fmla="*/ 1226153 w 3359086"/>
                <a:gd name="connsiteY26331" fmla="*/ 107442 h 3355086"/>
                <a:gd name="connsiteX26332" fmla="*/ 1580292 w 3359086"/>
                <a:gd name="connsiteY26332" fmla="*/ 107061 h 3355086"/>
                <a:gd name="connsiteX26333" fmla="*/ 1586484 w 3359086"/>
                <a:gd name="connsiteY26333" fmla="*/ 113252 h 3355086"/>
                <a:gd name="connsiteX26334" fmla="*/ 1580292 w 3359086"/>
                <a:gd name="connsiteY26334" fmla="*/ 119444 h 3355086"/>
                <a:gd name="connsiteX26335" fmla="*/ 1574101 w 3359086"/>
                <a:gd name="connsiteY26335" fmla="*/ 113252 h 3355086"/>
                <a:gd name="connsiteX26336" fmla="*/ 1580292 w 3359086"/>
                <a:gd name="connsiteY26336" fmla="*/ 107061 h 3355086"/>
                <a:gd name="connsiteX26337" fmla="*/ 1417415 w 3359086"/>
                <a:gd name="connsiteY26337" fmla="*/ 106966 h 3355086"/>
                <a:gd name="connsiteX26338" fmla="*/ 1423607 w 3359086"/>
                <a:gd name="connsiteY26338" fmla="*/ 113157 h 3355086"/>
                <a:gd name="connsiteX26339" fmla="*/ 1417415 w 3359086"/>
                <a:gd name="connsiteY26339" fmla="*/ 119349 h 3355086"/>
                <a:gd name="connsiteX26340" fmla="*/ 1411224 w 3359086"/>
                <a:gd name="connsiteY26340" fmla="*/ 113157 h 3355086"/>
                <a:gd name="connsiteX26341" fmla="*/ 1417415 w 3359086"/>
                <a:gd name="connsiteY26341" fmla="*/ 106966 h 3355086"/>
                <a:gd name="connsiteX26342" fmla="*/ 1719548 w 3359086"/>
                <a:gd name="connsiteY26342" fmla="*/ 105918 h 3355086"/>
                <a:gd name="connsiteX26343" fmla="*/ 1725739 w 3359086"/>
                <a:gd name="connsiteY26343" fmla="*/ 112109 h 3355086"/>
                <a:gd name="connsiteX26344" fmla="*/ 1719548 w 3359086"/>
                <a:gd name="connsiteY26344" fmla="*/ 118301 h 3355086"/>
                <a:gd name="connsiteX26345" fmla="*/ 1713357 w 3359086"/>
                <a:gd name="connsiteY26345" fmla="*/ 112109 h 3355086"/>
                <a:gd name="connsiteX26346" fmla="*/ 1719548 w 3359086"/>
                <a:gd name="connsiteY26346" fmla="*/ 105918 h 3355086"/>
                <a:gd name="connsiteX26347" fmla="*/ 1213580 w 3359086"/>
                <a:gd name="connsiteY26347" fmla="*/ 105442 h 3355086"/>
                <a:gd name="connsiteX26348" fmla="*/ 1219771 w 3359086"/>
                <a:gd name="connsiteY26348" fmla="*/ 111633 h 3355086"/>
                <a:gd name="connsiteX26349" fmla="*/ 1213580 w 3359086"/>
                <a:gd name="connsiteY26349" fmla="*/ 117824 h 3355086"/>
                <a:gd name="connsiteX26350" fmla="*/ 1207389 w 3359086"/>
                <a:gd name="connsiteY26350" fmla="*/ 111633 h 3355086"/>
                <a:gd name="connsiteX26351" fmla="*/ 1213580 w 3359086"/>
                <a:gd name="connsiteY26351" fmla="*/ 105442 h 3355086"/>
                <a:gd name="connsiteX26352" fmla="*/ 1649920 w 3359086"/>
                <a:gd name="connsiteY26352" fmla="*/ 105347 h 3355086"/>
                <a:gd name="connsiteX26353" fmla="*/ 1656111 w 3359086"/>
                <a:gd name="connsiteY26353" fmla="*/ 111538 h 3355086"/>
                <a:gd name="connsiteX26354" fmla="*/ 1649920 w 3359086"/>
                <a:gd name="connsiteY26354" fmla="*/ 117730 h 3355086"/>
                <a:gd name="connsiteX26355" fmla="*/ 1643729 w 3359086"/>
                <a:gd name="connsiteY26355" fmla="*/ 111538 h 3355086"/>
                <a:gd name="connsiteX26356" fmla="*/ 1649920 w 3359086"/>
                <a:gd name="connsiteY26356" fmla="*/ 105347 h 3355086"/>
                <a:gd name="connsiteX26357" fmla="*/ 2066448 w 3359086"/>
                <a:gd name="connsiteY26357" fmla="*/ 104394 h 3355086"/>
                <a:gd name="connsiteX26358" fmla="*/ 2072640 w 3359086"/>
                <a:gd name="connsiteY26358" fmla="*/ 110585 h 3355086"/>
                <a:gd name="connsiteX26359" fmla="*/ 2066448 w 3359086"/>
                <a:gd name="connsiteY26359" fmla="*/ 116777 h 3355086"/>
                <a:gd name="connsiteX26360" fmla="*/ 2060257 w 3359086"/>
                <a:gd name="connsiteY26360" fmla="*/ 110585 h 3355086"/>
                <a:gd name="connsiteX26361" fmla="*/ 2066448 w 3359086"/>
                <a:gd name="connsiteY26361" fmla="*/ 104394 h 3355086"/>
                <a:gd name="connsiteX26362" fmla="*/ 1971389 w 3359086"/>
                <a:gd name="connsiteY26362" fmla="*/ 103632 h 3355086"/>
                <a:gd name="connsiteX26363" fmla="*/ 1977580 w 3359086"/>
                <a:gd name="connsiteY26363" fmla="*/ 109823 h 3355086"/>
                <a:gd name="connsiteX26364" fmla="*/ 1971389 w 3359086"/>
                <a:gd name="connsiteY26364" fmla="*/ 116015 h 3355086"/>
                <a:gd name="connsiteX26365" fmla="*/ 1965198 w 3359086"/>
                <a:gd name="connsiteY26365" fmla="*/ 109823 h 3355086"/>
                <a:gd name="connsiteX26366" fmla="*/ 1971389 w 3359086"/>
                <a:gd name="connsiteY26366" fmla="*/ 103632 h 3355086"/>
                <a:gd name="connsiteX26367" fmla="*/ 1884330 w 3359086"/>
                <a:gd name="connsiteY26367" fmla="*/ 103347 h 3355086"/>
                <a:gd name="connsiteX26368" fmla="*/ 1890522 w 3359086"/>
                <a:gd name="connsiteY26368" fmla="*/ 109538 h 3355086"/>
                <a:gd name="connsiteX26369" fmla="*/ 1884330 w 3359086"/>
                <a:gd name="connsiteY26369" fmla="*/ 115730 h 3355086"/>
                <a:gd name="connsiteX26370" fmla="*/ 1878139 w 3359086"/>
                <a:gd name="connsiteY26370" fmla="*/ 109538 h 3355086"/>
                <a:gd name="connsiteX26371" fmla="*/ 1884330 w 3359086"/>
                <a:gd name="connsiteY26371" fmla="*/ 103347 h 3355086"/>
                <a:gd name="connsiteX26372" fmla="*/ 1313211 w 3359086"/>
                <a:gd name="connsiteY26372" fmla="*/ 102394 h 3355086"/>
                <a:gd name="connsiteX26373" fmla="*/ 1319403 w 3359086"/>
                <a:gd name="connsiteY26373" fmla="*/ 108585 h 3355086"/>
                <a:gd name="connsiteX26374" fmla="*/ 1313211 w 3359086"/>
                <a:gd name="connsiteY26374" fmla="*/ 114777 h 3355086"/>
                <a:gd name="connsiteX26375" fmla="*/ 1307020 w 3359086"/>
                <a:gd name="connsiteY26375" fmla="*/ 108585 h 3355086"/>
                <a:gd name="connsiteX26376" fmla="*/ 1313211 w 3359086"/>
                <a:gd name="connsiteY26376" fmla="*/ 102394 h 3355086"/>
                <a:gd name="connsiteX26377" fmla="*/ 2081212 w 3359086"/>
                <a:gd name="connsiteY26377" fmla="*/ 101251 h 3355086"/>
                <a:gd name="connsiteX26378" fmla="*/ 2087403 w 3359086"/>
                <a:gd name="connsiteY26378" fmla="*/ 107442 h 3355086"/>
                <a:gd name="connsiteX26379" fmla="*/ 2081212 w 3359086"/>
                <a:gd name="connsiteY26379" fmla="*/ 113634 h 3355086"/>
                <a:gd name="connsiteX26380" fmla="*/ 2075021 w 3359086"/>
                <a:gd name="connsiteY26380" fmla="*/ 107442 h 3355086"/>
                <a:gd name="connsiteX26381" fmla="*/ 2081212 w 3359086"/>
                <a:gd name="connsiteY26381" fmla="*/ 101251 h 3355086"/>
                <a:gd name="connsiteX26382" fmla="*/ 1483232 w 3359086"/>
                <a:gd name="connsiteY26382" fmla="*/ 99632 h 3355086"/>
                <a:gd name="connsiteX26383" fmla="*/ 1489423 w 3359086"/>
                <a:gd name="connsiteY26383" fmla="*/ 105823 h 3355086"/>
                <a:gd name="connsiteX26384" fmla="*/ 1483232 w 3359086"/>
                <a:gd name="connsiteY26384" fmla="*/ 112015 h 3355086"/>
                <a:gd name="connsiteX26385" fmla="*/ 1477041 w 3359086"/>
                <a:gd name="connsiteY26385" fmla="*/ 105823 h 3355086"/>
                <a:gd name="connsiteX26386" fmla="*/ 1483232 w 3359086"/>
                <a:gd name="connsiteY26386" fmla="*/ 99632 h 3355086"/>
                <a:gd name="connsiteX26387" fmla="*/ 2094642 w 3359086"/>
                <a:gd name="connsiteY26387" fmla="*/ 99251 h 3355086"/>
                <a:gd name="connsiteX26388" fmla="*/ 2100834 w 3359086"/>
                <a:gd name="connsiteY26388" fmla="*/ 105442 h 3355086"/>
                <a:gd name="connsiteX26389" fmla="*/ 2094642 w 3359086"/>
                <a:gd name="connsiteY26389" fmla="*/ 111634 h 3355086"/>
                <a:gd name="connsiteX26390" fmla="*/ 2088451 w 3359086"/>
                <a:gd name="connsiteY26390" fmla="*/ 105442 h 3355086"/>
                <a:gd name="connsiteX26391" fmla="*/ 2094642 w 3359086"/>
                <a:gd name="connsiteY26391" fmla="*/ 99251 h 3355086"/>
                <a:gd name="connsiteX26392" fmla="*/ 1394174 w 3359086"/>
                <a:gd name="connsiteY26392" fmla="*/ 98489 h 3355086"/>
                <a:gd name="connsiteX26393" fmla="*/ 1400366 w 3359086"/>
                <a:gd name="connsiteY26393" fmla="*/ 104680 h 3355086"/>
                <a:gd name="connsiteX26394" fmla="*/ 1394174 w 3359086"/>
                <a:gd name="connsiteY26394" fmla="*/ 110872 h 3355086"/>
                <a:gd name="connsiteX26395" fmla="*/ 1387983 w 3359086"/>
                <a:gd name="connsiteY26395" fmla="*/ 104680 h 3355086"/>
                <a:gd name="connsiteX26396" fmla="*/ 1394174 w 3359086"/>
                <a:gd name="connsiteY26396" fmla="*/ 98489 h 3355086"/>
                <a:gd name="connsiteX26397" fmla="*/ 1295875 w 3359086"/>
                <a:gd name="connsiteY26397" fmla="*/ 97917 h 3355086"/>
                <a:gd name="connsiteX26398" fmla="*/ 1302067 w 3359086"/>
                <a:gd name="connsiteY26398" fmla="*/ 104108 h 3355086"/>
                <a:gd name="connsiteX26399" fmla="*/ 1295875 w 3359086"/>
                <a:gd name="connsiteY26399" fmla="*/ 110299 h 3355086"/>
                <a:gd name="connsiteX26400" fmla="*/ 1289684 w 3359086"/>
                <a:gd name="connsiteY26400" fmla="*/ 104108 h 3355086"/>
                <a:gd name="connsiteX26401" fmla="*/ 1295875 w 3359086"/>
                <a:gd name="connsiteY26401" fmla="*/ 97917 h 3355086"/>
                <a:gd name="connsiteX26402" fmla="*/ 1991391 w 3359086"/>
                <a:gd name="connsiteY26402" fmla="*/ 97346 h 3355086"/>
                <a:gd name="connsiteX26403" fmla="*/ 1997583 w 3359086"/>
                <a:gd name="connsiteY26403" fmla="*/ 103537 h 3355086"/>
                <a:gd name="connsiteX26404" fmla="*/ 1991391 w 3359086"/>
                <a:gd name="connsiteY26404" fmla="*/ 109729 h 3355086"/>
                <a:gd name="connsiteX26405" fmla="*/ 1985200 w 3359086"/>
                <a:gd name="connsiteY26405" fmla="*/ 103537 h 3355086"/>
                <a:gd name="connsiteX26406" fmla="*/ 1991391 w 3359086"/>
                <a:gd name="connsiteY26406" fmla="*/ 97346 h 3355086"/>
                <a:gd name="connsiteX26407" fmla="*/ 2239993 w 3359086"/>
                <a:gd name="connsiteY26407" fmla="*/ 97060 h 3355086"/>
                <a:gd name="connsiteX26408" fmla="*/ 2245899 w 3359086"/>
                <a:gd name="connsiteY26408" fmla="*/ 102965 h 3355086"/>
                <a:gd name="connsiteX26409" fmla="*/ 2239993 w 3359086"/>
                <a:gd name="connsiteY26409" fmla="*/ 108871 h 3355086"/>
                <a:gd name="connsiteX26410" fmla="*/ 2238708 w 3359086"/>
                <a:gd name="connsiteY26410" fmla="*/ 107586 h 3355086"/>
                <a:gd name="connsiteX26411" fmla="*/ 2233231 w 3359086"/>
                <a:gd name="connsiteY26411" fmla="*/ 113062 h 3355086"/>
                <a:gd name="connsiteX26412" fmla="*/ 2231374 w 3359086"/>
                <a:gd name="connsiteY26412" fmla="*/ 111205 h 3355086"/>
                <a:gd name="connsiteX26413" fmla="*/ 2226468 w 3359086"/>
                <a:gd name="connsiteY26413" fmla="*/ 116111 h 3355086"/>
                <a:gd name="connsiteX26414" fmla="*/ 2224277 w 3359086"/>
                <a:gd name="connsiteY26414" fmla="*/ 113919 h 3355086"/>
                <a:gd name="connsiteX26415" fmla="*/ 2219800 w 3359086"/>
                <a:gd name="connsiteY26415" fmla="*/ 118396 h 3355086"/>
                <a:gd name="connsiteX26416" fmla="*/ 2217181 w 3359086"/>
                <a:gd name="connsiteY26416" fmla="*/ 115777 h 3355086"/>
                <a:gd name="connsiteX26417" fmla="*/ 2212942 w 3359086"/>
                <a:gd name="connsiteY26417" fmla="*/ 120016 h 3355086"/>
                <a:gd name="connsiteX26418" fmla="*/ 2210037 w 3359086"/>
                <a:gd name="connsiteY26418" fmla="*/ 117111 h 3355086"/>
                <a:gd name="connsiteX26419" fmla="*/ 2205989 w 3359086"/>
                <a:gd name="connsiteY26419" fmla="*/ 121159 h 3355086"/>
                <a:gd name="connsiteX26420" fmla="*/ 2202703 w 3359086"/>
                <a:gd name="connsiteY26420" fmla="*/ 117872 h 3355086"/>
                <a:gd name="connsiteX26421" fmla="*/ 2198750 w 3359086"/>
                <a:gd name="connsiteY26421" fmla="*/ 121825 h 3355086"/>
                <a:gd name="connsiteX26422" fmla="*/ 2195226 w 3359086"/>
                <a:gd name="connsiteY26422" fmla="*/ 118301 h 3355086"/>
                <a:gd name="connsiteX26423" fmla="*/ 2191225 w 3359086"/>
                <a:gd name="connsiteY26423" fmla="*/ 122302 h 3355086"/>
                <a:gd name="connsiteX26424" fmla="*/ 2187367 w 3359086"/>
                <a:gd name="connsiteY26424" fmla="*/ 118444 h 3355086"/>
                <a:gd name="connsiteX26425" fmla="*/ 2183320 w 3359086"/>
                <a:gd name="connsiteY26425" fmla="*/ 122492 h 3355086"/>
                <a:gd name="connsiteX26426" fmla="*/ 2179272 w 3359086"/>
                <a:gd name="connsiteY26426" fmla="*/ 118444 h 3355086"/>
                <a:gd name="connsiteX26427" fmla="*/ 2174938 w 3359086"/>
                <a:gd name="connsiteY26427" fmla="*/ 122778 h 3355086"/>
                <a:gd name="connsiteX26428" fmla="*/ 2170604 w 3359086"/>
                <a:gd name="connsiteY26428" fmla="*/ 118443 h 3355086"/>
                <a:gd name="connsiteX26429" fmla="*/ 2165889 w 3359086"/>
                <a:gd name="connsiteY26429" fmla="*/ 123159 h 3355086"/>
                <a:gd name="connsiteX26430" fmla="*/ 2161413 w 3359086"/>
                <a:gd name="connsiteY26430" fmla="*/ 118682 h 3355086"/>
                <a:gd name="connsiteX26431" fmla="*/ 2156174 w 3359086"/>
                <a:gd name="connsiteY26431" fmla="*/ 123921 h 3355086"/>
                <a:gd name="connsiteX26432" fmla="*/ 2151554 w 3359086"/>
                <a:gd name="connsiteY26432" fmla="*/ 119301 h 3355086"/>
                <a:gd name="connsiteX26433" fmla="*/ 2145696 w 3359086"/>
                <a:gd name="connsiteY26433" fmla="*/ 125159 h 3355086"/>
                <a:gd name="connsiteX26434" fmla="*/ 2139505 w 3359086"/>
                <a:gd name="connsiteY26434" fmla="*/ 118967 h 3355086"/>
                <a:gd name="connsiteX26435" fmla="*/ 2145696 w 3359086"/>
                <a:gd name="connsiteY26435" fmla="*/ 112776 h 3355086"/>
                <a:gd name="connsiteX26436" fmla="*/ 2150316 w 3359086"/>
                <a:gd name="connsiteY26436" fmla="*/ 117396 h 3355086"/>
                <a:gd name="connsiteX26437" fmla="*/ 2156174 w 3359086"/>
                <a:gd name="connsiteY26437" fmla="*/ 111538 h 3355086"/>
                <a:gd name="connsiteX26438" fmla="*/ 2160651 w 3359086"/>
                <a:gd name="connsiteY26438" fmla="*/ 116014 h 3355086"/>
                <a:gd name="connsiteX26439" fmla="*/ 2165889 w 3359086"/>
                <a:gd name="connsiteY26439" fmla="*/ 110776 h 3355086"/>
                <a:gd name="connsiteX26440" fmla="*/ 2170223 w 3359086"/>
                <a:gd name="connsiteY26440" fmla="*/ 115110 h 3355086"/>
                <a:gd name="connsiteX26441" fmla="*/ 2174938 w 3359086"/>
                <a:gd name="connsiteY26441" fmla="*/ 110395 h 3355086"/>
                <a:gd name="connsiteX26442" fmla="*/ 2178986 w 3359086"/>
                <a:gd name="connsiteY26442" fmla="*/ 114443 h 3355086"/>
                <a:gd name="connsiteX26443" fmla="*/ 2183320 w 3359086"/>
                <a:gd name="connsiteY26443" fmla="*/ 110109 h 3355086"/>
                <a:gd name="connsiteX26444" fmla="*/ 2187178 w 3359086"/>
                <a:gd name="connsiteY26444" fmla="*/ 113967 h 3355086"/>
                <a:gd name="connsiteX26445" fmla="*/ 2191225 w 3359086"/>
                <a:gd name="connsiteY26445" fmla="*/ 109919 h 3355086"/>
                <a:gd name="connsiteX26446" fmla="*/ 2194749 w 3359086"/>
                <a:gd name="connsiteY26446" fmla="*/ 113443 h 3355086"/>
                <a:gd name="connsiteX26447" fmla="*/ 2198750 w 3359086"/>
                <a:gd name="connsiteY26447" fmla="*/ 109442 h 3355086"/>
                <a:gd name="connsiteX26448" fmla="*/ 2202037 w 3359086"/>
                <a:gd name="connsiteY26448" fmla="*/ 112728 h 3355086"/>
                <a:gd name="connsiteX26449" fmla="*/ 2205989 w 3359086"/>
                <a:gd name="connsiteY26449" fmla="*/ 108776 h 3355086"/>
                <a:gd name="connsiteX26450" fmla="*/ 2208894 w 3359086"/>
                <a:gd name="connsiteY26450" fmla="*/ 111681 h 3355086"/>
                <a:gd name="connsiteX26451" fmla="*/ 2212942 w 3359086"/>
                <a:gd name="connsiteY26451" fmla="*/ 107633 h 3355086"/>
                <a:gd name="connsiteX26452" fmla="*/ 2215561 w 3359086"/>
                <a:gd name="connsiteY26452" fmla="*/ 110252 h 3355086"/>
                <a:gd name="connsiteX26453" fmla="*/ 2219800 w 3359086"/>
                <a:gd name="connsiteY26453" fmla="*/ 106013 h 3355086"/>
                <a:gd name="connsiteX26454" fmla="*/ 2221992 w 3359086"/>
                <a:gd name="connsiteY26454" fmla="*/ 108204 h 3355086"/>
                <a:gd name="connsiteX26455" fmla="*/ 2226468 w 3359086"/>
                <a:gd name="connsiteY26455" fmla="*/ 103728 h 3355086"/>
                <a:gd name="connsiteX26456" fmla="*/ 2228326 w 3359086"/>
                <a:gd name="connsiteY26456" fmla="*/ 105586 h 3355086"/>
                <a:gd name="connsiteX26457" fmla="*/ 2233231 w 3359086"/>
                <a:gd name="connsiteY26457" fmla="*/ 100680 h 3355086"/>
                <a:gd name="connsiteX26458" fmla="*/ 2234802 w 3359086"/>
                <a:gd name="connsiteY26458" fmla="*/ 102251 h 3355086"/>
                <a:gd name="connsiteX26459" fmla="*/ 1818131 w 3359086"/>
                <a:gd name="connsiteY26459" fmla="*/ 97060 h 3355086"/>
                <a:gd name="connsiteX26460" fmla="*/ 1824323 w 3359086"/>
                <a:gd name="connsiteY26460" fmla="*/ 103251 h 3355086"/>
                <a:gd name="connsiteX26461" fmla="*/ 1818131 w 3359086"/>
                <a:gd name="connsiteY26461" fmla="*/ 109442 h 3355086"/>
                <a:gd name="connsiteX26462" fmla="*/ 1811940 w 3359086"/>
                <a:gd name="connsiteY26462" fmla="*/ 103251 h 3355086"/>
                <a:gd name="connsiteX26463" fmla="*/ 1818131 w 3359086"/>
                <a:gd name="connsiteY26463" fmla="*/ 97060 h 3355086"/>
                <a:gd name="connsiteX26464" fmla="*/ 1118140 w 3359086"/>
                <a:gd name="connsiteY26464" fmla="*/ 96012 h 3355086"/>
                <a:gd name="connsiteX26465" fmla="*/ 1122521 w 3359086"/>
                <a:gd name="connsiteY26465" fmla="*/ 100393 h 3355086"/>
                <a:gd name="connsiteX26466" fmla="*/ 1125378 w 3359086"/>
                <a:gd name="connsiteY26466" fmla="*/ 97536 h 3355086"/>
                <a:gd name="connsiteX26467" fmla="*/ 1130046 w 3359086"/>
                <a:gd name="connsiteY26467" fmla="*/ 102203 h 3355086"/>
                <a:gd name="connsiteX26468" fmla="*/ 1132617 w 3359086"/>
                <a:gd name="connsiteY26468" fmla="*/ 99632 h 3355086"/>
                <a:gd name="connsiteX26469" fmla="*/ 1137046 w 3359086"/>
                <a:gd name="connsiteY26469" fmla="*/ 104061 h 3355086"/>
                <a:gd name="connsiteX26470" fmla="*/ 1139951 w 3359086"/>
                <a:gd name="connsiteY26470" fmla="*/ 101156 h 3355086"/>
                <a:gd name="connsiteX26471" fmla="*/ 1144237 w 3359086"/>
                <a:gd name="connsiteY26471" fmla="*/ 105442 h 3355086"/>
                <a:gd name="connsiteX26472" fmla="*/ 1147571 w 3359086"/>
                <a:gd name="connsiteY26472" fmla="*/ 102108 h 3355086"/>
                <a:gd name="connsiteX26473" fmla="*/ 1151715 w 3359086"/>
                <a:gd name="connsiteY26473" fmla="*/ 106252 h 3355086"/>
                <a:gd name="connsiteX26474" fmla="*/ 1155382 w 3359086"/>
                <a:gd name="connsiteY26474" fmla="*/ 102585 h 3355086"/>
                <a:gd name="connsiteX26475" fmla="*/ 1159620 w 3359086"/>
                <a:gd name="connsiteY26475" fmla="*/ 106823 h 3355086"/>
                <a:gd name="connsiteX26476" fmla="*/ 1163573 w 3359086"/>
                <a:gd name="connsiteY26476" fmla="*/ 102870 h 3355086"/>
                <a:gd name="connsiteX26477" fmla="*/ 1168003 w 3359086"/>
                <a:gd name="connsiteY26477" fmla="*/ 107300 h 3355086"/>
                <a:gd name="connsiteX26478" fmla="*/ 1172336 w 3359086"/>
                <a:gd name="connsiteY26478" fmla="*/ 102966 h 3355086"/>
                <a:gd name="connsiteX26479" fmla="*/ 1177051 w 3359086"/>
                <a:gd name="connsiteY26479" fmla="*/ 107681 h 3355086"/>
                <a:gd name="connsiteX26480" fmla="*/ 1181576 w 3359086"/>
                <a:gd name="connsiteY26480" fmla="*/ 103156 h 3355086"/>
                <a:gd name="connsiteX26481" fmla="*/ 1186624 w 3359086"/>
                <a:gd name="connsiteY26481" fmla="*/ 108204 h 3355086"/>
                <a:gd name="connsiteX26482" fmla="*/ 1191386 w 3359086"/>
                <a:gd name="connsiteY26482" fmla="*/ 103442 h 3355086"/>
                <a:gd name="connsiteX26483" fmla="*/ 1197054 w 3359086"/>
                <a:gd name="connsiteY26483" fmla="*/ 109109 h 3355086"/>
                <a:gd name="connsiteX26484" fmla="*/ 1202054 w 3359086"/>
                <a:gd name="connsiteY26484" fmla="*/ 104109 h 3355086"/>
                <a:gd name="connsiteX26485" fmla="*/ 1208245 w 3359086"/>
                <a:gd name="connsiteY26485" fmla="*/ 110300 h 3355086"/>
                <a:gd name="connsiteX26486" fmla="*/ 1202054 w 3359086"/>
                <a:gd name="connsiteY26486" fmla="*/ 116492 h 3355086"/>
                <a:gd name="connsiteX26487" fmla="*/ 1196387 w 3359086"/>
                <a:gd name="connsiteY26487" fmla="*/ 110824 h 3355086"/>
                <a:gd name="connsiteX26488" fmla="*/ 1191386 w 3359086"/>
                <a:gd name="connsiteY26488" fmla="*/ 115824 h 3355086"/>
                <a:gd name="connsiteX26489" fmla="*/ 1186338 w 3359086"/>
                <a:gd name="connsiteY26489" fmla="*/ 110776 h 3355086"/>
                <a:gd name="connsiteX26490" fmla="*/ 1181576 w 3359086"/>
                <a:gd name="connsiteY26490" fmla="*/ 115539 h 3355086"/>
                <a:gd name="connsiteX26491" fmla="*/ 1176861 w 3359086"/>
                <a:gd name="connsiteY26491" fmla="*/ 110824 h 3355086"/>
                <a:gd name="connsiteX26492" fmla="*/ 1172336 w 3359086"/>
                <a:gd name="connsiteY26492" fmla="*/ 115349 h 3355086"/>
                <a:gd name="connsiteX26493" fmla="*/ 1167907 w 3359086"/>
                <a:gd name="connsiteY26493" fmla="*/ 110919 h 3355086"/>
                <a:gd name="connsiteX26494" fmla="*/ 1163573 w 3359086"/>
                <a:gd name="connsiteY26494" fmla="*/ 115253 h 3355086"/>
                <a:gd name="connsiteX26495" fmla="*/ 1159335 w 3359086"/>
                <a:gd name="connsiteY26495" fmla="*/ 111014 h 3355086"/>
                <a:gd name="connsiteX26496" fmla="*/ 1155382 w 3359086"/>
                <a:gd name="connsiteY26496" fmla="*/ 114968 h 3355086"/>
                <a:gd name="connsiteX26497" fmla="*/ 1151238 w 3359086"/>
                <a:gd name="connsiteY26497" fmla="*/ 110823 h 3355086"/>
                <a:gd name="connsiteX26498" fmla="*/ 1147571 w 3359086"/>
                <a:gd name="connsiteY26498" fmla="*/ 114491 h 3355086"/>
                <a:gd name="connsiteX26499" fmla="*/ 1143285 w 3359086"/>
                <a:gd name="connsiteY26499" fmla="*/ 110205 h 3355086"/>
                <a:gd name="connsiteX26500" fmla="*/ 1139951 w 3359086"/>
                <a:gd name="connsiteY26500" fmla="*/ 113539 h 3355086"/>
                <a:gd name="connsiteX26501" fmla="*/ 1135522 w 3359086"/>
                <a:gd name="connsiteY26501" fmla="*/ 109110 h 3355086"/>
                <a:gd name="connsiteX26502" fmla="*/ 1132617 w 3359086"/>
                <a:gd name="connsiteY26502" fmla="*/ 112015 h 3355086"/>
                <a:gd name="connsiteX26503" fmla="*/ 1127950 w 3359086"/>
                <a:gd name="connsiteY26503" fmla="*/ 107347 h 3355086"/>
                <a:gd name="connsiteX26504" fmla="*/ 1125378 w 3359086"/>
                <a:gd name="connsiteY26504" fmla="*/ 109919 h 3355086"/>
                <a:gd name="connsiteX26505" fmla="*/ 1119664 w 3359086"/>
                <a:gd name="connsiteY26505" fmla="*/ 104204 h 3355086"/>
                <a:gd name="connsiteX26506" fmla="*/ 1118140 w 3359086"/>
                <a:gd name="connsiteY26506" fmla="*/ 105728 h 3355086"/>
                <a:gd name="connsiteX26507" fmla="*/ 1113282 w 3359086"/>
                <a:gd name="connsiteY26507" fmla="*/ 100870 h 3355086"/>
                <a:gd name="connsiteX26508" fmla="*/ 1118140 w 3359086"/>
                <a:gd name="connsiteY26508" fmla="*/ 96012 h 3355086"/>
                <a:gd name="connsiteX26509" fmla="*/ 1279969 w 3359086"/>
                <a:gd name="connsiteY26509" fmla="*/ 94679 h 3355086"/>
                <a:gd name="connsiteX26510" fmla="*/ 1286161 w 3359086"/>
                <a:gd name="connsiteY26510" fmla="*/ 100870 h 3355086"/>
                <a:gd name="connsiteX26511" fmla="*/ 1279969 w 3359086"/>
                <a:gd name="connsiteY26511" fmla="*/ 107061 h 3355086"/>
                <a:gd name="connsiteX26512" fmla="*/ 1273778 w 3359086"/>
                <a:gd name="connsiteY26512" fmla="*/ 100870 h 3355086"/>
                <a:gd name="connsiteX26513" fmla="*/ 1279969 w 3359086"/>
                <a:gd name="connsiteY26513" fmla="*/ 94679 h 3355086"/>
                <a:gd name="connsiteX26514" fmla="*/ 1549717 w 3359086"/>
                <a:gd name="connsiteY26514" fmla="*/ 94584 h 3355086"/>
                <a:gd name="connsiteX26515" fmla="*/ 1555909 w 3359086"/>
                <a:gd name="connsiteY26515" fmla="*/ 100775 h 3355086"/>
                <a:gd name="connsiteX26516" fmla="*/ 1549717 w 3359086"/>
                <a:gd name="connsiteY26516" fmla="*/ 106967 h 3355086"/>
                <a:gd name="connsiteX26517" fmla="*/ 1543526 w 3359086"/>
                <a:gd name="connsiteY26517" fmla="*/ 100775 h 3355086"/>
                <a:gd name="connsiteX26518" fmla="*/ 1549717 w 3359086"/>
                <a:gd name="connsiteY26518" fmla="*/ 94584 h 3355086"/>
                <a:gd name="connsiteX26519" fmla="*/ 1908714 w 3359086"/>
                <a:gd name="connsiteY26519" fmla="*/ 94488 h 3355086"/>
                <a:gd name="connsiteX26520" fmla="*/ 1914905 w 3359086"/>
                <a:gd name="connsiteY26520" fmla="*/ 100679 h 3355086"/>
                <a:gd name="connsiteX26521" fmla="*/ 1908714 w 3359086"/>
                <a:gd name="connsiteY26521" fmla="*/ 106871 h 3355086"/>
                <a:gd name="connsiteX26522" fmla="*/ 1902523 w 3359086"/>
                <a:gd name="connsiteY26522" fmla="*/ 100679 h 3355086"/>
                <a:gd name="connsiteX26523" fmla="*/ 1908714 w 3359086"/>
                <a:gd name="connsiteY26523" fmla="*/ 94488 h 3355086"/>
                <a:gd name="connsiteX26524" fmla="*/ 1751266 w 3359086"/>
                <a:gd name="connsiteY26524" fmla="*/ 92964 h 3355086"/>
                <a:gd name="connsiteX26525" fmla="*/ 1757457 w 3359086"/>
                <a:gd name="connsiteY26525" fmla="*/ 99155 h 3355086"/>
                <a:gd name="connsiteX26526" fmla="*/ 1751266 w 3359086"/>
                <a:gd name="connsiteY26526" fmla="*/ 105347 h 3355086"/>
                <a:gd name="connsiteX26527" fmla="*/ 1745075 w 3359086"/>
                <a:gd name="connsiteY26527" fmla="*/ 99155 h 3355086"/>
                <a:gd name="connsiteX26528" fmla="*/ 1751266 w 3359086"/>
                <a:gd name="connsiteY26528" fmla="*/ 92964 h 3355086"/>
                <a:gd name="connsiteX26529" fmla="*/ 2009870 w 3359086"/>
                <a:gd name="connsiteY26529" fmla="*/ 92679 h 3355086"/>
                <a:gd name="connsiteX26530" fmla="*/ 2016062 w 3359086"/>
                <a:gd name="connsiteY26530" fmla="*/ 98870 h 3355086"/>
                <a:gd name="connsiteX26531" fmla="*/ 2009870 w 3359086"/>
                <a:gd name="connsiteY26531" fmla="*/ 105062 h 3355086"/>
                <a:gd name="connsiteX26532" fmla="*/ 2003679 w 3359086"/>
                <a:gd name="connsiteY26532" fmla="*/ 98870 h 3355086"/>
                <a:gd name="connsiteX26533" fmla="*/ 2009870 w 3359086"/>
                <a:gd name="connsiteY26533" fmla="*/ 92679 h 3355086"/>
                <a:gd name="connsiteX26534" fmla="*/ 1265300 w 3359086"/>
                <a:gd name="connsiteY26534" fmla="*/ 92583 h 3355086"/>
                <a:gd name="connsiteX26535" fmla="*/ 1271492 w 3359086"/>
                <a:gd name="connsiteY26535" fmla="*/ 98774 h 3355086"/>
                <a:gd name="connsiteX26536" fmla="*/ 1265300 w 3359086"/>
                <a:gd name="connsiteY26536" fmla="*/ 104966 h 3355086"/>
                <a:gd name="connsiteX26537" fmla="*/ 1259109 w 3359086"/>
                <a:gd name="connsiteY26537" fmla="*/ 98774 h 3355086"/>
                <a:gd name="connsiteX26538" fmla="*/ 1265300 w 3359086"/>
                <a:gd name="connsiteY26538" fmla="*/ 92583 h 3355086"/>
                <a:gd name="connsiteX26539" fmla="*/ 1372837 w 3359086"/>
                <a:gd name="connsiteY26539" fmla="*/ 91917 h 3355086"/>
                <a:gd name="connsiteX26540" fmla="*/ 1379029 w 3359086"/>
                <a:gd name="connsiteY26540" fmla="*/ 98108 h 3355086"/>
                <a:gd name="connsiteX26541" fmla="*/ 1372837 w 3359086"/>
                <a:gd name="connsiteY26541" fmla="*/ 104299 h 3355086"/>
                <a:gd name="connsiteX26542" fmla="*/ 1366646 w 3359086"/>
                <a:gd name="connsiteY26542" fmla="*/ 98108 h 3355086"/>
                <a:gd name="connsiteX26543" fmla="*/ 1372837 w 3359086"/>
                <a:gd name="connsiteY26543" fmla="*/ 91917 h 3355086"/>
                <a:gd name="connsiteX26544" fmla="*/ 1616868 w 3359086"/>
                <a:gd name="connsiteY26544" fmla="*/ 91726 h 3355086"/>
                <a:gd name="connsiteX26545" fmla="*/ 1623059 w 3359086"/>
                <a:gd name="connsiteY26545" fmla="*/ 97917 h 3355086"/>
                <a:gd name="connsiteX26546" fmla="*/ 1616868 w 3359086"/>
                <a:gd name="connsiteY26546" fmla="*/ 104109 h 3355086"/>
                <a:gd name="connsiteX26547" fmla="*/ 1610677 w 3359086"/>
                <a:gd name="connsiteY26547" fmla="*/ 97917 h 3355086"/>
                <a:gd name="connsiteX26548" fmla="*/ 1616868 w 3359086"/>
                <a:gd name="connsiteY26548" fmla="*/ 91726 h 3355086"/>
                <a:gd name="connsiteX26549" fmla="*/ 1251870 w 3359086"/>
                <a:gd name="connsiteY26549" fmla="*/ 91250 h 3355086"/>
                <a:gd name="connsiteX26550" fmla="*/ 1258062 w 3359086"/>
                <a:gd name="connsiteY26550" fmla="*/ 97441 h 3355086"/>
                <a:gd name="connsiteX26551" fmla="*/ 1251870 w 3359086"/>
                <a:gd name="connsiteY26551" fmla="*/ 103633 h 3355086"/>
                <a:gd name="connsiteX26552" fmla="*/ 1245679 w 3359086"/>
                <a:gd name="connsiteY26552" fmla="*/ 97441 h 3355086"/>
                <a:gd name="connsiteX26553" fmla="*/ 1251870 w 3359086"/>
                <a:gd name="connsiteY26553" fmla="*/ 91250 h 3355086"/>
                <a:gd name="connsiteX26554" fmla="*/ 1684115 w 3359086"/>
                <a:gd name="connsiteY26554" fmla="*/ 91155 h 3355086"/>
                <a:gd name="connsiteX26555" fmla="*/ 1690307 w 3359086"/>
                <a:gd name="connsiteY26555" fmla="*/ 97346 h 3355086"/>
                <a:gd name="connsiteX26556" fmla="*/ 1684115 w 3359086"/>
                <a:gd name="connsiteY26556" fmla="*/ 103537 h 3355086"/>
                <a:gd name="connsiteX26557" fmla="*/ 1677924 w 3359086"/>
                <a:gd name="connsiteY26557" fmla="*/ 97346 h 3355086"/>
                <a:gd name="connsiteX26558" fmla="*/ 1684115 w 3359086"/>
                <a:gd name="connsiteY26558" fmla="*/ 91155 h 3355086"/>
                <a:gd name="connsiteX26559" fmla="*/ 1457420 w 3359086"/>
                <a:gd name="connsiteY26559" fmla="*/ 90488 h 3355086"/>
                <a:gd name="connsiteX26560" fmla="*/ 1463612 w 3359086"/>
                <a:gd name="connsiteY26560" fmla="*/ 96679 h 3355086"/>
                <a:gd name="connsiteX26561" fmla="*/ 1457420 w 3359086"/>
                <a:gd name="connsiteY26561" fmla="*/ 102871 h 3355086"/>
                <a:gd name="connsiteX26562" fmla="*/ 1451229 w 3359086"/>
                <a:gd name="connsiteY26562" fmla="*/ 96679 h 3355086"/>
                <a:gd name="connsiteX26563" fmla="*/ 1457420 w 3359086"/>
                <a:gd name="connsiteY26563" fmla="*/ 90488 h 3355086"/>
                <a:gd name="connsiteX26564" fmla="*/ 2026824 w 3359086"/>
                <a:gd name="connsiteY26564" fmla="*/ 89345 h 3355086"/>
                <a:gd name="connsiteX26565" fmla="*/ 2033016 w 3359086"/>
                <a:gd name="connsiteY26565" fmla="*/ 95536 h 3355086"/>
                <a:gd name="connsiteX26566" fmla="*/ 2026824 w 3359086"/>
                <a:gd name="connsiteY26566" fmla="*/ 101728 h 3355086"/>
                <a:gd name="connsiteX26567" fmla="*/ 2020633 w 3359086"/>
                <a:gd name="connsiteY26567" fmla="*/ 95536 h 3355086"/>
                <a:gd name="connsiteX26568" fmla="*/ 2026824 w 3359086"/>
                <a:gd name="connsiteY26568" fmla="*/ 89345 h 3355086"/>
                <a:gd name="connsiteX26569" fmla="*/ 1931288 w 3359086"/>
                <a:gd name="connsiteY26569" fmla="*/ 87725 h 3355086"/>
                <a:gd name="connsiteX26570" fmla="*/ 1937480 w 3359086"/>
                <a:gd name="connsiteY26570" fmla="*/ 93916 h 3355086"/>
                <a:gd name="connsiteX26571" fmla="*/ 1931288 w 3359086"/>
                <a:gd name="connsiteY26571" fmla="*/ 100108 h 3355086"/>
                <a:gd name="connsiteX26572" fmla="*/ 1925097 w 3359086"/>
                <a:gd name="connsiteY26572" fmla="*/ 93916 h 3355086"/>
                <a:gd name="connsiteX26573" fmla="*/ 1931288 w 3359086"/>
                <a:gd name="connsiteY26573" fmla="*/ 87725 h 3355086"/>
                <a:gd name="connsiteX26574" fmla="*/ 1845182 w 3359086"/>
                <a:gd name="connsiteY26574" fmla="*/ 87440 h 3355086"/>
                <a:gd name="connsiteX26575" fmla="*/ 1851373 w 3359086"/>
                <a:gd name="connsiteY26575" fmla="*/ 93631 h 3355086"/>
                <a:gd name="connsiteX26576" fmla="*/ 1845182 w 3359086"/>
                <a:gd name="connsiteY26576" fmla="*/ 99823 h 3355086"/>
                <a:gd name="connsiteX26577" fmla="*/ 1838991 w 3359086"/>
                <a:gd name="connsiteY26577" fmla="*/ 93631 h 3355086"/>
                <a:gd name="connsiteX26578" fmla="*/ 1845182 w 3359086"/>
                <a:gd name="connsiteY26578" fmla="*/ 87440 h 3355086"/>
                <a:gd name="connsiteX26579" fmla="*/ 2212276 w 3359086"/>
                <a:gd name="connsiteY26579" fmla="*/ 87345 h 3355086"/>
                <a:gd name="connsiteX26580" fmla="*/ 2213134 w 3359086"/>
                <a:gd name="connsiteY26580" fmla="*/ 88202 h 3355086"/>
                <a:gd name="connsiteX26581" fmla="*/ 2212276 w 3359086"/>
                <a:gd name="connsiteY26581" fmla="*/ 89060 h 3355086"/>
                <a:gd name="connsiteX26582" fmla="*/ 2211419 w 3359086"/>
                <a:gd name="connsiteY26582" fmla="*/ 88202 h 3355086"/>
                <a:gd name="connsiteX26583" fmla="*/ 2212276 w 3359086"/>
                <a:gd name="connsiteY26583" fmla="*/ 87345 h 3355086"/>
                <a:gd name="connsiteX26584" fmla="*/ 2042445 w 3359086"/>
                <a:gd name="connsiteY26584" fmla="*/ 87059 h 3355086"/>
                <a:gd name="connsiteX26585" fmla="*/ 2048637 w 3359086"/>
                <a:gd name="connsiteY26585" fmla="*/ 93250 h 3355086"/>
                <a:gd name="connsiteX26586" fmla="*/ 2042445 w 3359086"/>
                <a:gd name="connsiteY26586" fmla="*/ 99442 h 3355086"/>
                <a:gd name="connsiteX26587" fmla="*/ 2036254 w 3359086"/>
                <a:gd name="connsiteY26587" fmla="*/ 93250 h 3355086"/>
                <a:gd name="connsiteX26588" fmla="*/ 2042445 w 3359086"/>
                <a:gd name="connsiteY26588" fmla="*/ 87059 h 3355086"/>
                <a:gd name="connsiteX26589" fmla="*/ 1353121 w 3359086"/>
                <a:gd name="connsiteY26589" fmla="*/ 87059 h 3355086"/>
                <a:gd name="connsiteX26590" fmla="*/ 1359313 w 3359086"/>
                <a:gd name="connsiteY26590" fmla="*/ 93250 h 3355086"/>
                <a:gd name="connsiteX26591" fmla="*/ 1353121 w 3359086"/>
                <a:gd name="connsiteY26591" fmla="*/ 99442 h 3355086"/>
                <a:gd name="connsiteX26592" fmla="*/ 1346930 w 3359086"/>
                <a:gd name="connsiteY26592" fmla="*/ 93250 h 3355086"/>
                <a:gd name="connsiteX26593" fmla="*/ 1353121 w 3359086"/>
                <a:gd name="connsiteY26593" fmla="*/ 87059 h 3355086"/>
                <a:gd name="connsiteX26594" fmla="*/ 1146619 w 3359086"/>
                <a:gd name="connsiteY26594" fmla="*/ 86773 h 3355086"/>
                <a:gd name="connsiteX26595" fmla="*/ 1146905 w 3359086"/>
                <a:gd name="connsiteY26595" fmla="*/ 87059 h 3355086"/>
                <a:gd name="connsiteX26596" fmla="*/ 1146619 w 3359086"/>
                <a:gd name="connsiteY26596" fmla="*/ 87344 h 3355086"/>
                <a:gd name="connsiteX26597" fmla="*/ 1146333 w 3359086"/>
                <a:gd name="connsiteY26597" fmla="*/ 87059 h 3355086"/>
                <a:gd name="connsiteX26598" fmla="*/ 1146619 w 3359086"/>
                <a:gd name="connsiteY26598" fmla="*/ 86773 h 3355086"/>
                <a:gd name="connsiteX26599" fmla="*/ 2204656 w 3359086"/>
                <a:gd name="connsiteY26599" fmla="*/ 86297 h 3355086"/>
                <a:gd name="connsiteX26600" fmla="*/ 2210848 w 3359086"/>
                <a:gd name="connsiteY26600" fmla="*/ 92488 h 3355086"/>
                <a:gd name="connsiteX26601" fmla="*/ 2204656 w 3359086"/>
                <a:gd name="connsiteY26601" fmla="*/ 98680 h 3355086"/>
                <a:gd name="connsiteX26602" fmla="*/ 2202608 w 3359086"/>
                <a:gd name="connsiteY26602" fmla="*/ 96632 h 3355086"/>
                <a:gd name="connsiteX26603" fmla="*/ 2197131 w 3359086"/>
                <a:gd name="connsiteY26603" fmla="*/ 102109 h 3355086"/>
                <a:gd name="connsiteX26604" fmla="*/ 2194702 w 3359086"/>
                <a:gd name="connsiteY26604" fmla="*/ 99680 h 3355086"/>
                <a:gd name="connsiteX26605" fmla="*/ 2189606 w 3359086"/>
                <a:gd name="connsiteY26605" fmla="*/ 104776 h 3355086"/>
                <a:gd name="connsiteX26606" fmla="*/ 2186701 w 3359086"/>
                <a:gd name="connsiteY26606" fmla="*/ 101871 h 3355086"/>
                <a:gd name="connsiteX26607" fmla="*/ 2181891 w 3359086"/>
                <a:gd name="connsiteY26607" fmla="*/ 106680 h 3355086"/>
                <a:gd name="connsiteX26608" fmla="*/ 2178605 w 3359086"/>
                <a:gd name="connsiteY26608" fmla="*/ 103394 h 3355086"/>
                <a:gd name="connsiteX26609" fmla="*/ 2173985 w 3359086"/>
                <a:gd name="connsiteY26609" fmla="*/ 108014 h 3355086"/>
                <a:gd name="connsiteX26610" fmla="*/ 2170318 w 3359086"/>
                <a:gd name="connsiteY26610" fmla="*/ 104346 h 3355086"/>
                <a:gd name="connsiteX26611" fmla="*/ 2165889 w 3359086"/>
                <a:gd name="connsiteY26611" fmla="*/ 108776 h 3355086"/>
                <a:gd name="connsiteX26612" fmla="*/ 2161889 w 3359086"/>
                <a:gd name="connsiteY26612" fmla="*/ 104775 h 3355086"/>
                <a:gd name="connsiteX26613" fmla="*/ 2157507 w 3359086"/>
                <a:gd name="connsiteY26613" fmla="*/ 109157 h 3355086"/>
                <a:gd name="connsiteX26614" fmla="*/ 2153174 w 3359086"/>
                <a:gd name="connsiteY26614" fmla="*/ 104823 h 3355086"/>
                <a:gd name="connsiteX26615" fmla="*/ 2148649 w 3359086"/>
                <a:gd name="connsiteY26615" fmla="*/ 109348 h 3355086"/>
                <a:gd name="connsiteX26616" fmla="*/ 2143934 w 3359086"/>
                <a:gd name="connsiteY26616" fmla="*/ 104633 h 3355086"/>
                <a:gd name="connsiteX26617" fmla="*/ 2139219 w 3359086"/>
                <a:gd name="connsiteY26617" fmla="*/ 109348 h 3355086"/>
                <a:gd name="connsiteX26618" fmla="*/ 2134314 w 3359086"/>
                <a:gd name="connsiteY26618" fmla="*/ 104442 h 3355086"/>
                <a:gd name="connsiteX26619" fmla="*/ 2129313 w 3359086"/>
                <a:gd name="connsiteY26619" fmla="*/ 109442 h 3355086"/>
                <a:gd name="connsiteX26620" fmla="*/ 2124122 w 3359086"/>
                <a:gd name="connsiteY26620" fmla="*/ 104252 h 3355086"/>
                <a:gd name="connsiteX26621" fmla="*/ 2118645 w 3359086"/>
                <a:gd name="connsiteY26621" fmla="*/ 109729 h 3355086"/>
                <a:gd name="connsiteX26622" fmla="*/ 2113215 w 3359086"/>
                <a:gd name="connsiteY26622" fmla="*/ 104299 h 3355086"/>
                <a:gd name="connsiteX26623" fmla="*/ 2107120 w 3359086"/>
                <a:gd name="connsiteY26623" fmla="*/ 110395 h 3355086"/>
                <a:gd name="connsiteX26624" fmla="*/ 2100929 w 3359086"/>
                <a:gd name="connsiteY26624" fmla="*/ 104203 h 3355086"/>
                <a:gd name="connsiteX26625" fmla="*/ 2107120 w 3359086"/>
                <a:gd name="connsiteY26625" fmla="*/ 98012 h 3355086"/>
                <a:gd name="connsiteX26626" fmla="*/ 2112549 w 3359086"/>
                <a:gd name="connsiteY26626" fmla="*/ 103442 h 3355086"/>
                <a:gd name="connsiteX26627" fmla="*/ 2118645 w 3359086"/>
                <a:gd name="connsiteY26627" fmla="*/ 97346 h 3355086"/>
                <a:gd name="connsiteX26628" fmla="*/ 2123836 w 3359086"/>
                <a:gd name="connsiteY26628" fmla="*/ 102537 h 3355086"/>
                <a:gd name="connsiteX26629" fmla="*/ 2129313 w 3359086"/>
                <a:gd name="connsiteY26629" fmla="*/ 97060 h 3355086"/>
                <a:gd name="connsiteX26630" fmla="*/ 2134219 w 3359086"/>
                <a:gd name="connsiteY26630" fmla="*/ 101965 h 3355086"/>
                <a:gd name="connsiteX26631" fmla="*/ 2139219 w 3359086"/>
                <a:gd name="connsiteY26631" fmla="*/ 96965 h 3355086"/>
                <a:gd name="connsiteX26632" fmla="*/ 2143934 w 3359086"/>
                <a:gd name="connsiteY26632" fmla="*/ 101680 h 3355086"/>
                <a:gd name="connsiteX26633" fmla="*/ 2148649 w 3359086"/>
                <a:gd name="connsiteY26633" fmla="*/ 96965 h 3355086"/>
                <a:gd name="connsiteX26634" fmla="*/ 2152983 w 3359086"/>
                <a:gd name="connsiteY26634" fmla="*/ 101298 h 3355086"/>
                <a:gd name="connsiteX26635" fmla="*/ 2157507 w 3359086"/>
                <a:gd name="connsiteY26635" fmla="*/ 96774 h 3355086"/>
                <a:gd name="connsiteX26636" fmla="*/ 2161508 w 3359086"/>
                <a:gd name="connsiteY26636" fmla="*/ 100774 h 3355086"/>
                <a:gd name="connsiteX26637" fmla="*/ 2165889 w 3359086"/>
                <a:gd name="connsiteY26637" fmla="*/ 96393 h 3355086"/>
                <a:gd name="connsiteX26638" fmla="*/ 2169556 w 3359086"/>
                <a:gd name="connsiteY26638" fmla="*/ 100060 h 3355086"/>
                <a:gd name="connsiteX26639" fmla="*/ 2173985 w 3359086"/>
                <a:gd name="connsiteY26639" fmla="*/ 95631 h 3355086"/>
                <a:gd name="connsiteX26640" fmla="*/ 2177272 w 3359086"/>
                <a:gd name="connsiteY26640" fmla="*/ 98917 h 3355086"/>
                <a:gd name="connsiteX26641" fmla="*/ 2181891 w 3359086"/>
                <a:gd name="connsiteY26641" fmla="*/ 94298 h 3355086"/>
                <a:gd name="connsiteX26642" fmla="*/ 2184796 w 3359086"/>
                <a:gd name="connsiteY26642" fmla="*/ 97203 h 3355086"/>
                <a:gd name="connsiteX26643" fmla="*/ 2189606 w 3359086"/>
                <a:gd name="connsiteY26643" fmla="*/ 92393 h 3355086"/>
                <a:gd name="connsiteX26644" fmla="*/ 2192035 w 3359086"/>
                <a:gd name="connsiteY26644" fmla="*/ 94822 h 3355086"/>
                <a:gd name="connsiteX26645" fmla="*/ 2197131 w 3359086"/>
                <a:gd name="connsiteY26645" fmla="*/ 89726 h 3355086"/>
                <a:gd name="connsiteX26646" fmla="*/ 2199179 w 3359086"/>
                <a:gd name="connsiteY26646" fmla="*/ 91774 h 3355086"/>
                <a:gd name="connsiteX26647" fmla="*/ 2056828 w 3359086"/>
                <a:gd name="connsiteY26647" fmla="*/ 85725 h 3355086"/>
                <a:gd name="connsiteX26648" fmla="*/ 2063020 w 3359086"/>
                <a:gd name="connsiteY26648" fmla="*/ 91916 h 3355086"/>
                <a:gd name="connsiteX26649" fmla="*/ 2056828 w 3359086"/>
                <a:gd name="connsiteY26649" fmla="*/ 98108 h 3355086"/>
                <a:gd name="connsiteX26650" fmla="*/ 2050637 w 3359086"/>
                <a:gd name="connsiteY26650" fmla="*/ 91916 h 3355086"/>
                <a:gd name="connsiteX26651" fmla="*/ 2056828 w 3359086"/>
                <a:gd name="connsiteY26651" fmla="*/ 85725 h 3355086"/>
                <a:gd name="connsiteX26652" fmla="*/ 2070163 w 3359086"/>
                <a:gd name="connsiteY26652" fmla="*/ 85059 h 3355086"/>
                <a:gd name="connsiteX26653" fmla="*/ 2076355 w 3359086"/>
                <a:gd name="connsiteY26653" fmla="*/ 91250 h 3355086"/>
                <a:gd name="connsiteX26654" fmla="*/ 2070163 w 3359086"/>
                <a:gd name="connsiteY26654" fmla="*/ 97442 h 3355086"/>
                <a:gd name="connsiteX26655" fmla="*/ 2063972 w 3359086"/>
                <a:gd name="connsiteY26655" fmla="*/ 91250 h 3355086"/>
                <a:gd name="connsiteX26656" fmla="*/ 2070163 w 3359086"/>
                <a:gd name="connsiteY26656" fmla="*/ 85059 h 3355086"/>
                <a:gd name="connsiteX26657" fmla="*/ 1521428 w 3359086"/>
                <a:gd name="connsiteY26657" fmla="*/ 84487 h 3355086"/>
                <a:gd name="connsiteX26658" fmla="*/ 1527620 w 3359086"/>
                <a:gd name="connsiteY26658" fmla="*/ 90678 h 3355086"/>
                <a:gd name="connsiteX26659" fmla="*/ 1521428 w 3359086"/>
                <a:gd name="connsiteY26659" fmla="*/ 96870 h 3355086"/>
                <a:gd name="connsiteX26660" fmla="*/ 1515237 w 3359086"/>
                <a:gd name="connsiteY26660" fmla="*/ 90678 h 3355086"/>
                <a:gd name="connsiteX26661" fmla="*/ 1521428 w 3359086"/>
                <a:gd name="connsiteY26661" fmla="*/ 84487 h 3355086"/>
                <a:gd name="connsiteX26662" fmla="*/ 1334928 w 3359086"/>
                <a:gd name="connsiteY26662" fmla="*/ 83535 h 3355086"/>
                <a:gd name="connsiteX26663" fmla="*/ 1341120 w 3359086"/>
                <a:gd name="connsiteY26663" fmla="*/ 89726 h 3355086"/>
                <a:gd name="connsiteX26664" fmla="*/ 1334928 w 3359086"/>
                <a:gd name="connsiteY26664" fmla="*/ 95918 h 3355086"/>
                <a:gd name="connsiteX26665" fmla="*/ 1328737 w 3359086"/>
                <a:gd name="connsiteY26665" fmla="*/ 89726 h 3355086"/>
                <a:gd name="connsiteX26666" fmla="*/ 1334928 w 3359086"/>
                <a:gd name="connsiteY26666" fmla="*/ 83535 h 3355086"/>
                <a:gd name="connsiteX26667" fmla="*/ 1433512 w 3359086"/>
                <a:gd name="connsiteY26667" fmla="*/ 83249 h 3355086"/>
                <a:gd name="connsiteX26668" fmla="*/ 1439703 w 3359086"/>
                <a:gd name="connsiteY26668" fmla="*/ 89440 h 3355086"/>
                <a:gd name="connsiteX26669" fmla="*/ 1433512 w 3359086"/>
                <a:gd name="connsiteY26669" fmla="*/ 95632 h 3355086"/>
                <a:gd name="connsiteX26670" fmla="*/ 1427321 w 3359086"/>
                <a:gd name="connsiteY26670" fmla="*/ 89440 h 3355086"/>
                <a:gd name="connsiteX26671" fmla="*/ 1433512 w 3359086"/>
                <a:gd name="connsiteY26671" fmla="*/ 83249 h 3355086"/>
                <a:gd name="connsiteX26672" fmla="*/ 1952053 w 3359086"/>
                <a:gd name="connsiteY26672" fmla="*/ 82582 h 3355086"/>
                <a:gd name="connsiteX26673" fmla="*/ 1958245 w 3359086"/>
                <a:gd name="connsiteY26673" fmla="*/ 88773 h 3355086"/>
                <a:gd name="connsiteX26674" fmla="*/ 1952053 w 3359086"/>
                <a:gd name="connsiteY26674" fmla="*/ 94965 h 3355086"/>
                <a:gd name="connsiteX26675" fmla="*/ 1945862 w 3359086"/>
                <a:gd name="connsiteY26675" fmla="*/ 88773 h 3355086"/>
                <a:gd name="connsiteX26676" fmla="*/ 1952053 w 3359086"/>
                <a:gd name="connsiteY26676" fmla="*/ 82582 h 3355086"/>
                <a:gd name="connsiteX26677" fmla="*/ 1780793 w 3359086"/>
                <a:gd name="connsiteY26677" fmla="*/ 82487 h 3355086"/>
                <a:gd name="connsiteX26678" fmla="*/ 1786985 w 3359086"/>
                <a:gd name="connsiteY26678" fmla="*/ 88678 h 3355086"/>
                <a:gd name="connsiteX26679" fmla="*/ 1780793 w 3359086"/>
                <a:gd name="connsiteY26679" fmla="*/ 94870 h 3355086"/>
                <a:gd name="connsiteX26680" fmla="*/ 1774602 w 3359086"/>
                <a:gd name="connsiteY26680" fmla="*/ 88678 h 3355086"/>
                <a:gd name="connsiteX26681" fmla="*/ 1780793 w 3359086"/>
                <a:gd name="connsiteY26681" fmla="*/ 82487 h 3355086"/>
                <a:gd name="connsiteX26682" fmla="*/ 1318259 w 3359086"/>
                <a:gd name="connsiteY26682" fmla="*/ 81153 h 3355086"/>
                <a:gd name="connsiteX26683" fmla="*/ 1324451 w 3359086"/>
                <a:gd name="connsiteY26683" fmla="*/ 87344 h 3355086"/>
                <a:gd name="connsiteX26684" fmla="*/ 1318259 w 3359086"/>
                <a:gd name="connsiteY26684" fmla="*/ 93536 h 3355086"/>
                <a:gd name="connsiteX26685" fmla="*/ 1312068 w 3359086"/>
                <a:gd name="connsiteY26685" fmla="*/ 87344 h 3355086"/>
                <a:gd name="connsiteX26686" fmla="*/ 1318259 w 3359086"/>
                <a:gd name="connsiteY26686" fmla="*/ 81153 h 3355086"/>
                <a:gd name="connsiteX26687" fmla="*/ 2088499 w 3359086"/>
                <a:gd name="connsiteY26687" fmla="*/ 80915 h 3355086"/>
                <a:gd name="connsiteX26688" fmla="*/ 2083593 w 3359086"/>
                <a:gd name="connsiteY26688" fmla="*/ 85821 h 3355086"/>
                <a:gd name="connsiteX26689" fmla="*/ 2088355 w 3359086"/>
                <a:gd name="connsiteY26689" fmla="*/ 90583 h 3355086"/>
                <a:gd name="connsiteX26690" fmla="*/ 2093261 w 3359086"/>
                <a:gd name="connsiteY26690" fmla="*/ 85678 h 3355086"/>
                <a:gd name="connsiteX26691" fmla="*/ 1586007 w 3359086"/>
                <a:gd name="connsiteY26691" fmla="*/ 80677 h 3355086"/>
                <a:gd name="connsiteX26692" fmla="*/ 1592199 w 3359086"/>
                <a:gd name="connsiteY26692" fmla="*/ 86868 h 3355086"/>
                <a:gd name="connsiteX26693" fmla="*/ 1586007 w 3359086"/>
                <a:gd name="connsiteY26693" fmla="*/ 93060 h 3355086"/>
                <a:gd name="connsiteX26694" fmla="*/ 1579816 w 3359086"/>
                <a:gd name="connsiteY26694" fmla="*/ 86868 h 3355086"/>
                <a:gd name="connsiteX26695" fmla="*/ 1586007 w 3359086"/>
                <a:gd name="connsiteY26695" fmla="*/ 80677 h 3355086"/>
                <a:gd name="connsiteX26696" fmla="*/ 1870138 w 3359086"/>
                <a:gd name="connsiteY26696" fmla="*/ 79915 h 3355086"/>
                <a:gd name="connsiteX26697" fmla="*/ 1876330 w 3359086"/>
                <a:gd name="connsiteY26697" fmla="*/ 86106 h 3355086"/>
                <a:gd name="connsiteX26698" fmla="*/ 1870138 w 3359086"/>
                <a:gd name="connsiteY26698" fmla="*/ 92298 h 3355086"/>
                <a:gd name="connsiteX26699" fmla="*/ 1863947 w 3359086"/>
                <a:gd name="connsiteY26699" fmla="*/ 86106 h 3355086"/>
                <a:gd name="connsiteX26700" fmla="*/ 1870138 w 3359086"/>
                <a:gd name="connsiteY26700" fmla="*/ 79915 h 3355086"/>
                <a:gd name="connsiteX26701" fmla="*/ 1716023 w 3359086"/>
                <a:gd name="connsiteY26701" fmla="*/ 79724 h 3355086"/>
                <a:gd name="connsiteX26702" fmla="*/ 1722215 w 3359086"/>
                <a:gd name="connsiteY26702" fmla="*/ 85915 h 3355086"/>
                <a:gd name="connsiteX26703" fmla="*/ 1716023 w 3359086"/>
                <a:gd name="connsiteY26703" fmla="*/ 92107 h 3355086"/>
                <a:gd name="connsiteX26704" fmla="*/ 1709832 w 3359086"/>
                <a:gd name="connsiteY26704" fmla="*/ 85915 h 3355086"/>
                <a:gd name="connsiteX26705" fmla="*/ 1716023 w 3359086"/>
                <a:gd name="connsiteY26705" fmla="*/ 79724 h 3355086"/>
                <a:gd name="connsiteX26706" fmla="*/ 1302733 w 3359086"/>
                <a:gd name="connsiteY26706" fmla="*/ 79724 h 3355086"/>
                <a:gd name="connsiteX26707" fmla="*/ 1308925 w 3359086"/>
                <a:gd name="connsiteY26707" fmla="*/ 85915 h 3355086"/>
                <a:gd name="connsiteX26708" fmla="*/ 1302733 w 3359086"/>
                <a:gd name="connsiteY26708" fmla="*/ 92107 h 3355086"/>
                <a:gd name="connsiteX26709" fmla="*/ 1296542 w 3359086"/>
                <a:gd name="connsiteY26709" fmla="*/ 85915 h 3355086"/>
                <a:gd name="connsiteX26710" fmla="*/ 1302733 w 3359086"/>
                <a:gd name="connsiteY26710" fmla="*/ 79724 h 3355086"/>
                <a:gd name="connsiteX26711" fmla="*/ 1650967 w 3359086"/>
                <a:gd name="connsiteY26711" fmla="*/ 79058 h 3355086"/>
                <a:gd name="connsiteX26712" fmla="*/ 1657159 w 3359086"/>
                <a:gd name="connsiteY26712" fmla="*/ 85249 h 3355086"/>
                <a:gd name="connsiteX26713" fmla="*/ 1650967 w 3359086"/>
                <a:gd name="connsiteY26713" fmla="*/ 91441 h 3355086"/>
                <a:gd name="connsiteX26714" fmla="*/ 1644776 w 3359086"/>
                <a:gd name="connsiteY26714" fmla="*/ 85249 h 3355086"/>
                <a:gd name="connsiteX26715" fmla="*/ 1650967 w 3359086"/>
                <a:gd name="connsiteY26715" fmla="*/ 79058 h 3355086"/>
                <a:gd name="connsiteX26716" fmla="*/ 1288446 w 3359086"/>
                <a:gd name="connsiteY26716" fmla="*/ 78962 h 3355086"/>
                <a:gd name="connsiteX26717" fmla="*/ 1294638 w 3359086"/>
                <a:gd name="connsiteY26717" fmla="*/ 85153 h 3355086"/>
                <a:gd name="connsiteX26718" fmla="*/ 1288446 w 3359086"/>
                <a:gd name="connsiteY26718" fmla="*/ 91345 h 3355086"/>
                <a:gd name="connsiteX26719" fmla="*/ 1282255 w 3359086"/>
                <a:gd name="connsiteY26719" fmla="*/ 85153 h 3355086"/>
                <a:gd name="connsiteX26720" fmla="*/ 1288446 w 3359086"/>
                <a:gd name="connsiteY26720" fmla="*/ 78962 h 3355086"/>
                <a:gd name="connsiteX26721" fmla="*/ 1971293 w 3359086"/>
                <a:gd name="connsiteY26721" fmla="*/ 78867 h 3355086"/>
                <a:gd name="connsiteX26722" fmla="*/ 1977485 w 3359086"/>
                <a:gd name="connsiteY26722" fmla="*/ 85058 h 3355086"/>
                <a:gd name="connsiteX26723" fmla="*/ 1971293 w 3359086"/>
                <a:gd name="connsiteY26723" fmla="*/ 91249 h 3355086"/>
                <a:gd name="connsiteX26724" fmla="*/ 1965102 w 3359086"/>
                <a:gd name="connsiteY26724" fmla="*/ 85058 h 3355086"/>
                <a:gd name="connsiteX26725" fmla="*/ 1971293 w 3359086"/>
                <a:gd name="connsiteY26725" fmla="*/ 78867 h 3355086"/>
                <a:gd name="connsiteX26726" fmla="*/ 1275111 w 3359086"/>
                <a:gd name="connsiteY26726" fmla="*/ 78677 h 3355086"/>
                <a:gd name="connsiteX26727" fmla="*/ 1281303 w 3359086"/>
                <a:gd name="connsiteY26727" fmla="*/ 84868 h 3355086"/>
                <a:gd name="connsiteX26728" fmla="*/ 1275111 w 3359086"/>
                <a:gd name="connsiteY26728" fmla="*/ 91060 h 3355086"/>
                <a:gd name="connsiteX26729" fmla="*/ 1268920 w 3359086"/>
                <a:gd name="connsiteY26729" fmla="*/ 84868 h 3355086"/>
                <a:gd name="connsiteX26730" fmla="*/ 1275111 w 3359086"/>
                <a:gd name="connsiteY26730" fmla="*/ 78677 h 3355086"/>
                <a:gd name="connsiteX26731" fmla="*/ 1411509 w 3359086"/>
                <a:gd name="connsiteY26731" fmla="*/ 77915 h 3355086"/>
                <a:gd name="connsiteX26732" fmla="*/ 1417701 w 3359086"/>
                <a:gd name="connsiteY26732" fmla="*/ 84106 h 3355086"/>
                <a:gd name="connsiteX26733" fmla="*/ 1411509 w 3359086"/>
                <a:gd name="connsiteY26733" fmla="*/ 90298 h 3355086"/>
                <a:gd name="connsiteX26734" fmla="*/ 1405318 w 3359086"/>
                <a:gd name="connsiteY26734" fmla="*/ 84106 h 3355086"/>
                <a:gd name="connsiteX26735" fmla="*/ 1411509 w 3359086"/>
                <a:gd name="connsiteY26735" fmla="*/ 77915 h 3355086"/>
                <a:gd name="connsiteX26736" fmla="*/ 1495139 w 3359086"/>
                <a:gd name="connsiteY26736" fmla="*/ 76581 h 3355086"/>
                <a:gd name="connsiteX26737" fmla="*/ 1501330 w 3359086"/>
                <a:gd name="connsiteY26737" fmla="*/ 82772 h 3355086"/>
                <a:gd name="connsiteX26738" fmla="*/ 1495139 w 3359086"/>
                <a:gd name="connsiteY26738" fmla="*/ 88964 h 3355086"/>
                <a:gd name="connsiteX26739" fmla="*/ 1488948 w 3359086"/>
                <a:gd name="connsiteY26739" fmla="*/ 82772 h 3355086"/>
                <a:gd name="connsiteX26740" fmla="*/ 1495139 w 3359086"/>
                <a:gd name="connsiteY26740" fmla="*/ 76581 h 3355086"/>
                <a:gd name="connsiteX26741" fmla="*/ 1989010 w 3359086"/>
                <a:gd name="connsiteY26741" fmla="*/ 76391 h 3355086"/>
                <a:gd name="connsiteX26742" fmla="*/ 1995202 w 3359086"/>
                <a:gd name="connsiteY26742" fmla="*/ 82582 h 3355086"/>
                <a:gd name="connsiteX26743" fmla="*/ 1989010 w 3359086"/>
                <a:gd name="connsiteY26743" fmla="*/ 88774 h 3355086"/>
                <a:gd name="connsiteX26744" fmla="*/ 1982819 w 3359086"/>
                <a:gd name="connsiteY26744" fmla="*/ 82582 h 3355086"/>
                <a:gd name="connsiteX26745" fmla="*/ 1989010 w 3359086"/>
                <a:gd name="connsiteY26745" fmla="*/ 76391 h 3355086"/>
                <a:gd name="connsiteX26746" fmla="*/ 2177034 w 3359086"/>
                <a:gd name="connsiteY26746" fmla="*/ 76010 h 3355086"/>
                <a:gd name="connsiteX26747" fmla="*/ 2179606 w 3359086"/>
                <a:gd name="connsiteY26747" fmla="*/ 78582 h 3355086"/>
                <a:gd name="connsiteX26748" fmla="*/ 2177034 w 3359086"/>
                <a:gd name="connsiteY26748" fmla="*/ 81154 h 3355086"/>
                <a:gd name="connsiteX26749" fmla="*/ 2174462 w 3359086"/>
                <a:gd name="connsiteY26749" fmla="*/ 78582 h 3355086"/>
                <a:gd name="connsiteX26750" fmla="*/ 2177034 w 3359086"/>
                <a:gd name="connsiteY26750" fmla="*/ 76010 h 3355086"/>
                <a:gd name="connsiteX26751" fmla="*/ 1182910 w 3359086"/>
                <a:gd name="connsiteY26751" fmla="*/ 75057 h 3355086"/>
                <a:gd name="connsiteX26752" fmla="*/ 1185100 w 3359086"/>
                <a:gd name="connsiteY26752" fmla="*/ 77248 h 3355086"/>
                <a:gd name="connsiteX26753" fmla="*/ 1182910 w 3359086"/>
                <a:gd name="connsiteY26753" fmla="*/ 79438 h 3355086"/>
                <a:gd name="connsiteX26754" fmla="*/ 1180719 w 3359086"/>
                <a:gd name="connsiteY26754" fmla="*/ 77248 h 3355086"/>
                <a:gd name="connsiteX26755" fmla="*/ 1182910 w 3359086"/>
                <a:gd name="connsiteY26755" fmla="*/ 75057 h 3355086"/>
                <a:gd name="connsiteX26756" fmla="*/ 2005393 w 3359086"/>
                <a:gd name="connsiteY26756" fmla="*/ 74867 h 3355086"/>
                <a:gd name="connsiteX26757" fmla="*/ 2011585 w 3359086"/>
                <a:gd name="connsiteY26757" fmla="*/ 81058 h 3355086"/>
                <a:gd name="connsiteX26758" fmla="*/ 2005393 w 3359086"/>
                <a:gd name="connsiteY26758" fmla="*/ 87249 h 3355086"/>
                <a:gd name="connsiteX26759" fmla="*/ 1999202 w 3359086"/>
                <a:gd name="connsiteY26759" fmla="*/ 81058 h 3355086"/>
                <a:gd name="connsiteX26760" fmla="*/ 2005393 w 3359086"/>
                <a:gd name="connsiteY26760" fmla="*/ 74867 h 3355086"/>
                <a:gd name="connsiteX26761" fmla="*/ 1893283 w 3359086"/>
                <a:gd name="connsiteY26761" fmla="*/ 74295 h 3355086"/>
                <a:gd name="connsiteX26762" fmla="*/ 1899475 w 3359086"/>
                <a:gd name="connsiteY26762" fmla="*/ 80486 h 3355086"/>
                <a:gd name="connsiteX26763" fmla="*/ 1893283 w 3359086"/>
                <a:gd name="connsiteY26763" fmla="*/ 86678 h 3355086"/>
                <a:gd name="connsiteX26764" fmla="*/ 1887092 w 3359086"/>
                <a:gd name="connsiteY26764" fmla="*/ 80486 h 3355086"/>
                <a:gd name="connsiteX26765" fmla="*/ 1893283 w 3359086"/>
                <a:gd name="connsiteY26765" fmla="*/ 74295 h 3355086"/>
                <a:gd name="connsiteX26766" fmla="*/ 1808225 w 3359086"/>
                <a:gd name="connsiteY26766" fmla="*/ 74200 h 3355086"/>
                <a:gd name="connsiteX26767" fmla="*/ 1814417 w 3359086"/>
                <a:gd name="connsiteY26767" fmla="*/ 80391 h 3355086"/>
                <a:gd name="connsiteX26768" fmla="*/ 1808225 w 3359086"/>
                <a:gd name="connsiteY26768" fmla="*/ 86582 h 3355086"/>
                <a:gd name="connsiteX26769" fmla="*/ 1802034 w 3359086"/>
                <a:gd name="connsiteY26769" fmla="*/ 80391 h 3355086"/>
                <a:gd name="connsiteX26770" fmla="*/ 1808225 w 3359086"/>
                <a:gd name="connsiteY26770" fmla="*/ 74200 h 3355086"/>
                <a:gd name="connsiteX26771" fmla="*/ 2020537 w 3359086"/>
                <a:gd name="connsiteY26771" fmla="*/ 74010 h 3355086"/>
                <a:gd name="connsiteX26772" fmla="*/ 2026729 w 3359086"/>
                <a:gd name="connsiteY26772" fmla="*/ 80201 h 3355086"/>
                <a:gd name="connsiteX26773" fmla="*/ 2020537 w 3359086"/>
                <a:gd name="connsiteY26773" fmla="*/ 86393 h 3355086"/>
                <a:gd name="connsiteX26774" fmla="*/ 2014346 w 3359086"/>
                <a:gd name="connsiteY26774" fmla="*/ 80201 h 3355086"/>
                <a:gd name="connsiteX26775" fmla="*/ 2020537 w 3359086"/>
                <a:gd name="connsiteY26775" fmla="*/ 74010 h 3355086"/>
                <a:gd name="connsiteX26776" fmla="*/ 1391125 w 3359086"/>
                <a:gd name="connsiteY26776" fmla="*/ 74010 h 3355086"/>
                <a:gd name="connsiteX26777" fmla="*/ 1397317 w 3359086"/>
                <a:gd name="connsiteY26777" fmla="*/ 80201 h 3355086"/>
                <a:gd name="connsiteX26778" fmla="*/ 1391125 w 3359086"/>
                <a:gd name="connsiteY26778" fmla="*/ 86393 h 3355086"/>
                <a:gd name="connsiteX26779" fmla="*/ 1384934 w 3359086"/>
                <a:gd name="connsiteY26779" fmla="*/ 80201 h 3355086"/>
                <a:gd name="connsiteX26780" fmla="*/ 1391125 w 3359086"/>
                <a:gd name="connsiteY26780" fmla="*/ 74010 h 3355086"/>
                <a:gd name="connsiteX26781" fmla="*/ 2047970 w 3359086"/>
                <a:gd name="connsiteY26781" fmla="*/ 73724 h 3355086"/>
                <a:gd name="connsiteX26782" fmla="*/ 2054162 w 3359086"/>
                <a:gd name="connsiteY26782" fmla="*/ 79915 h 3355086"/>
                <a:gd name="connsiteX26783" fmla="*/ 2047970 w 3359086"/>
                <a:gd name="connsiteY26783" fmla="*/ 86106 h 3355086"/>
                <a:gd name="connsiteX26784" fmla="*/ 2041779 w 3359086"/>
                <a:gd name="connsiteY26784" fmla="*/ 79915 h 3355086"/>
                <a:gd name="connsiteX26785" fmla="*/ 2047970 w 3359086"/>
                <a:gd name="connsiteY26785" fmla="*/ 73724 h 3355086"/>
                <a:gd name="connsiteX26786" fmla="*/ 2034730 w 3359086"/>
                <a:gd name="connsiteY26786" fmla="*/ 73724 h 3355086"/>
                <a:gd name="connsiteX26787" fmla="*/ 2040922 w 3359086"/>
                <a:gd name="connsiteY26787" fmla="*/ 79915 h 3355086"/>
                <a:gd name="connsiteX26788" fmla="*/ 2034730 w 3359086"/>
                <a:gd name="connsiteY26788" fmla="*/ 86106 h 3355086"/>
                <a:gd name="connsiteX26789" fmla="*/ 2028539 w 3359086"/>
                <a:gd name="connsiteY26789" fmla="*/ 79915 h 3355086"/>
                <a:gd name="connsiteX26790" fmla="*/ 2034730 w 3359086"/>
                <a:gd name="connsiteY26790" fmla="*/ 73724 h 3355086"/>
                <a:gd name="connsiteX26791" fmla="*/ 1557337 w 3359086"/>
                <a:gd name="connsiteY26791" fmla="*/ 72009 h 3355086"/>
                <a:gd name="connsiteX26792" fmla="*/ 1563528 w 3359086"/>
                <a:gd name="connsiteY26792" fmla="*/ 78200 h 3355086"/>
                <a:gd name="connsiteX26793" fmla="*/ 1557337 w 3359086"/>
                <a:gd name="connsiteY26793" fmla="*/ 84392 h 3355086"/>
                <a:gd name="connsiteX26794" fmla="*/ 1551146 w 3359086"/>
                <a:gd name="connsiteY26794" fmla="*/ 78200 h 3355086"/>
                <a:gd name="connsiteX26795" fmla="*/ 1557337 w 3359086"/>
                <a:gd name="connsiteY26795" fmla="*/ 72009 h 3355086"/>
                <a:gd name="connsiteX26796" fmla="*/ 1372266 w 3359086"/>
                <a:gd name="connsiteY26796" fmla="*/ 71247 h 3355086"/>
                <a:gd name="connsiteX26797" fmla="*/ 1378458 w 3359086"/>
                <a:gd name="connsiteY26797" fmla="*/ 77438 h 3355086"/>
                <a:gd name="connsiteX26798" fmla="*/ 1372266 w 3359086"/>
                <a:gd name="connsiteY26798" fmla="*/ 83630 h 3355086"/>
                <a:gd name="connsiteX26799" fmla="*/ 1366075 w 3359086"/>
                <a:gd name="connsiteY26799" fmla="*/ 77438 h 3355086"/>
                <a:gd name="connsiteX26800" fmla="*/ 1372266 w 3359086"/>
                <a:gd name="connsiteY26800" fmla="*/ 71247 h 3355086"/>
                <a:gd name="connsiteX26801" fmla="*/ 1470754 w 3359086"/>
                <a:gd name="connsiteY26801" fmla="*/ 70581 h 3355086"/>
                <a:gd name="connsiteX26802" fmla="*/ 1476946 w 3359086"/>
                <a:gd name="connsiteY26802" fmla="*/ 76772 h 3355086"/>
                <a:gd name="connsiteX26803" fmla="*/ 1470754 w 3359086"/>
                <a:gd name="connsiteY26803" fmla="*/ 82963 h 3355086"/>
                <a:gd name="connsiteX26804" fmla="*/ 1464563 w 3359086"/>
                <a:gd name="connsiteY26804" fmla="*/ 76772 h 3355086"/>
                <a:gd name="connsiteX26805" fmla="*/ 1470754 w 3359086"/>
                <a:gd name="connsiteY26805" fmla="*/ 70581 h 3355086"/>
                <a:gd name="connsiteX26806" fmla="*/ 1745741 w 3359086"/>
                <a:gd name="connsiteY26806" fmla="*/ 70485 h 3355086"/>
                <a:gd name="connsiteX26807" fmla="*/ 1751932 w 3359086"/>
                <a:gd name="connsiteY26807" fmla="*/ 76676 h 3355086"/>
                <a:gd name="connsiteX26808" fmla="*/ 1745741 w 3359086"/>
                <a:gd name="connsiteY26808" fmla="*/ 82867 h 3355086"/>
                <a:gd name="connsiteX26809" fmla="*/ 1739550 w 3359086"/>
                <a:gd name="connsiteY26809" fmla="*/ 76676 h 3355086"/>
                <a:gd name="connsiteX26810" fmla="*/ 1745741 w 3359086"/>
                <a:gd name="connsiteY26810" fmla="*/ 70485 h 3355086"/>
                <a:gd name="connsiteX26811" fmla="*/ 1914715 w 3359086"/>
                <a:gd name="connsiteY26811" fmla="*/ 70104 h 3355086"/>
                <a:gd name="connsiteX26812" fmla="*/ 1920907 w 3359086"/>
                <a:gd name="connsiteY26812" fmla="*/ 76295 h 3355086"/>
                <a:gd name="connsiteX26813" fmla="*/ 1914715 w 3359086"/>
                <a:gd name="connsiteY26813" fmla="*/ 82486 h 3355086"/>
                <a:gd name="connsiteX26814" fmla="*/ 1908524 w 3359086"/>
                <a:gd name="connsiteY26814" fmla="*/ 76295 h 3355086"/>
                <a:gd name="connsiteX26815" fmla="*/ 1914715 w 3359086"/>
                <a:gd name="connsiteY26815" fmla="*/ 70104 h 3355086"/>
                <a:gd name="connsiteX26816" fmla="*/ 1354740 w 3359086"/>
                <a:gd name="connsiteY26816" fmla="*/ 69628 h 3355086"/>
                <a:gd name="connsiteX26817" fmla="*/ 1360932 w 3359086"/>
                <a:gd name="connsiteY26817" fmla="*/ 75819 h 3355086"/>
                <a:gd name="connsiteX26818" fmla="*/ 1354740 w 3359086"/>
                <a:gd name="connsiteY26818" fmla="*/ 82011 h 3355086"/>
                <a:gd name="connsiteX26819" fmla="*/ 1348549 w 3359086"/>
                <a:gd name="connsiteY26819" fmla="*/ 75819 h 3355086"/>
                <a:gd name="connsiteX26820" fmla="*/ 1354740 w 3359086"/>
                <a:gd name="connsiteY26820" fmla="*/ 69628 h 3355086"/>
                <a:gd name="connsiteX26821" fmla="*/ 1620011 w 3359086"/>
                <a:gd name="connsiteY26821" fmla="*/ 69342 h 3355086"/>
                <a:gd name="connsiteX26822" fmla="*/ 1626203 w 3359086"/>
                <a:gd name="connsiteY26822" fmla="*/ 75533 h 3355086"/>
                <a:gd name="connsiteX26823" fmla="*/ 1620011 w 3359086"/>
                <a:gd name="connsiteY26823" fmla="*/ 81724 h 3355086"/>
                <a:gd name="connsiteX26824" fmla="*/ 1613820 w 3359086"/>
                <a:gd name="connsiteY26824" fmla="*/ 75533 h 3355086"/>
                <a:gd name="connsiteX26825" fmla="*/ 1620011 w 3359086"/>
                <a:gd name="connsiteY26825" fmla="*/ 69342 h 3355086"/>
                <a:gd name="connsiteX26826" fmla="*/ 1682876 w 3359086"/>
                <a:gd name="connsiteY26826" fmla="*/ 68866 h 3355086"/>
                <a:gd name="connsiteX26827" fmla="*/ 1689068 w 3359086"/>
                <a:gd name="connsiteY26827" fmla="*/ 75057 h 3355086"/>
                <a:gd name="connsiteX26828" fmla="*/ 1682876 w 3359086"/>
                <a:gd name="connsiteY26828" fmla="*/ 81249 h 3355086"/>
                <a:gd name="connsiteX26829" fmla="*/ 1676685 w 3359086"/>
                <a:gd name="connsiteY26829" fmla="*/ 75057 h 3355086"/>
                <a:gd name="connsiteX26830" fmla="*/ 1682876 w 3359086"/>
                <a:gd name="connsiteY26830" fmla="*/ 68866 h 3355086"/>
                <a:gd name="connsiteX26831" fmla="*/ 1338548 w 3359086"/>
                <a:gd name="connsiteY26831" fmla="*/ 68675 h 3355086"/>
                <a:gd name="connsiteX26832" fmla="*/ 1344739 w 3359086"/>
                <a:gd name="connsiteY26832" fmla="*/ 74866 h 3355086"/>
                <a:gd name="connsiteX26833" fmla="*/ 1338548 w 3359086"/>
                <a:gd name="connsiteY26833" fmla="*/ 81058 h 3355086"/>
                <a:gd name="connsiteX26834" fmla="*/ 1332357 w 3359086"/>
                <a:gd name="connsiteY26834" fmla="*/ 74866 h 3355086"/>
                <a:gd name="connsiteX26835" fmla="*/ 1338548 w 3359086"/>
                <a:gd name="connsiteY26835" fmla="*/ 68675 h 3355086"/>
                <a:gd name="connsiteX26836" fmla="*/ 1296066 w 3359086"/>
                <a:gd name="connsiteY26836" fmla="*/ 68390 h 3355086"/>
                <a:gd name="connsiteX26837" fmla="*/ 1302258 w 3359086"/>
                <a:gd name="connsiteY26837" fmla="*/ 74581 h 3355086"/>
                <a:gd name="connsiteX26838" fmla="*/ 1296066 w 3359086"/>
                <a:gd name="connsiteY26838" fmla="*/ 80773 h 3355086"/>
                <a:gd name="connsiteX26839" fmla="*/ 1289875 w 3359086"/>
                <a:gd name="connsiteY26839" fmla="*/ 74581 h 3355086"/>
                <a:gd name="connsiteX26840" fmla="*/ 1296066 w 3359086"/>
                <a:gd name="connsiteY26840" fmla="*/ 68390 h 3355086"/>
                <a:gd name="connsiteX26841" fmla="*/ 1323403 w 3359086"/>
                <a:gd name="connsiteY26841" fmla="*/ 68294 h 3355086"/>
                <a:gd name="connsiteX26842" fmla="*/ 1329595 w 3359086"/>
                <a:gd name="connsiteY26842" fmla="*/ 74485 h 3355086"/>
                <a:gd name="connsiteX26843" fmla="*/ 1323403 w 3359086"/>
                <a:gd name="connsiteY26843" fmla="*/ 80677 h 3355086"/>
                <a:gd name="connsiteX26844" fmla="*/ 1317212 w 3359086"/>
                <a:gd name="connsiteY26844" fmla="*/ 74485 h 3355086"/>
                <a:gd name="connsiteX26845" fmla="*/ 1323403 w 3359086"/>
                <a:gd name="connsiteY26845" fmla="*/ 68294 h 3355086"/>
                <a:gd name="connsiteX26846" fmla="*/ 1309306 w 3359086"/>
                <a:gd name="connsiteY26846" fmla="*/ 68294 h 3355086"/>
                <a:gd name="connsiteX26847" fmla="*/ 1315498 w 3359086"/>
                <a:gd name="connsiteY26847" fmla="*/ 74485 h 3355086"/>
                <a:gd name="connsiteX26848" fmla="*/ 1309306 w 3359086"/>
                <a:gd name="connsiteY26848" fmla="*/ 80677 h 3355086"/>
                <a:gd name="connsiteX26849" fmla="*/ 1303115 w 3359086"/>
                <a:gd name="connsiteY26849" fmla="*/ 74485 h 3355086"/>
                <a:gd name="connsiteX26850" fmla="*/ 1309306 w 3359086"/>
                <a:gd name="connsiteY26850" fmla="*/ 68294 h 3355086"/>
                <a:gd name="connsiteX26851" fmla="*/ 1833657 w 3359086"/>
                <a:gd name="connsiteY26851" fmla="*/ 67818 h 3355086"/>
                <a:gd name="connsiteX26852" fmla="*/ 1839849 w 3359086"/>
                <a:gd name="connsiteY26852" fmla="*/ 74009 h 3355086"/>
                <a:gd name="connsiteX26853" fmla="*/ 1833657 w 3359086"/>
                <a:gd name="connsiteY26853" fmla="*/ 80200 h 3355086"/>
                <a:gd name="connsiteX26854" fmla="*/ 1827466 w 3359086"/>
                <a:gd name="connsiteY26854" fmla="*/ 74009 h 3355086"/>
                <a:gd name="connsiteX26855" fmla="*/ 1833657 w 3359086"/>
                <a:gd name="connsiteY26855" fmla="*/ 67818 h 3355086"/>
                <a:gd name="connsiteX26856" fmla="*/ 1934527 w 3359086"/>
                <a:gd name="connsiteY26856" fmla="*/ 67247 h 3355086"/>
                <a:gd name="connsiteX26857" fmla="*/ 1940719 w 3359086"/>
                <a:gd name="connsiteY26857" fmla="*/ 73438 h 3355086"/>
                <a:gd name="connsiteX26858" fmla="*/ 1934527 w 3359086"/>
                <a:gd name="connsiteY26858" fmla="*/ 79630 h 3355086"/>
                <a:gd name="connsiteX26859" fmla="*/ 1928336 w 3359086"/>
                <a:gd name="connsiteY26859" fmla="*/ 73438 h 3355086"/>
                <a:gd name="connsiteX26860" fmla="*/ 1934527 w 3359086"/>
                <a:gd name="connsiteY26860" fmla="*/ 67247 h 3355086"/>
                <a:gd name="connsiteX26861" fmla="*/ 2132170 w 3359086"/>
                <a:gd name="connsiteY26861" fmla="*/ 66771 h 3355086"/>
                <a:gd name="connsiteX26862" fmla="*/ 2138362 w 3359086"/>
                <a:gd name="connsiteY26862" fmla="*/ 72962 h 3355086"/>
                <a:gd name="connsiteX26863" fmla="*/ 2132170 w 3359086"/>
                <a:gd name="connsiteY26863" fmla="*/ 79154 h 3355086"/>
                <a:gd name="connsiteX26864" fmla="*/ 2128884 w 3359086"/>
                <a:gd name="connsiteY26864" fmla="*/ 75868 h 3355086"/>
                <a:gd name="connsiteX26865" fmla="*/ 2122836 w 3359086"/>
                <a:gd name="connsiteY26865" fmla="*/ 81916 h 3355086"/>
                <a:gd name="connsiteX26866" fmla="*/ 2119121 w 3359086"/>
                <a:gd name="connsiteY26866" fmla="*/ 78201 h 3355086"/>
                <a:gd name="connsiteX26867" fmla="*/ 2113406 w 3359086"/>
                <a:gd name="connsiteY26867" fmla="*/ 83916 h 3355086"/>
                <a:gd name="connsiteX26868" fmla="*/ 2109215 w 3359086"/>
                <a:gd name="connsiteY26868" fmla="*/ 79724 h 3355086"/>
                <a:gd name="connsiteX26869" fmla="*/ 2103691 w 3359086"/>
                <a:gd name="connsiteY26869" fmla="*/ 85248 h 3355086"/>
                <a:gd name="connsiteX26870" fmla="*/ 2099024 w 3359086"/>
                <a:gd name="connsiteY26870" fmla="*/ 80581 h 3355086"/>
                <a:gd name="connsiteX26871" fmla="*/ 2094404 w 3359086"/>
                <a:gd name="connsiteY26871" fmla="*/ 85202 h 3355086"/>
                <a:gd name="connsiteX26872" fmla="*/ 2099547 w 3359086"/>
                <a:gd name="connsiteY26872" fmla="*/ 90345 h 3355086"/>
                <a:gd name="connsiteX26873" fmla="*/ 2104929 w 3359086"/>
                <a:gd name="connsiteY26873" fmla="*/ 84963 h 3355086"/>
                <a:gd name="connsiteX26874" fmla="*/ 2110073 w 3359086"/>
                <a:gd name="connsiteY26874" fmla="*/ 90106 h 3355086"/>
                <a:gd name="connsiteX26875" fmla="*/ 2115216 w 3359086"/>
                <a:gd name="connsiteY26875" fmla="*/ 84963 h 3355086"/>
                <a:gd name="connsiteX26876" fmla="*/ 2119979 w 3359086"/>
                <a:gd name="connsiteY26876" fmla="*/ 89726 h 3355086"/>
                <a:gd name="connsiteX26877" fmla="*/ 2124932 w 3359086"/>
                <a:gd name="connsiteY26877" fmla="*/ 84773 h 3355086"/>
                <a:gd name="connsiteX26878" fmla="*/ 2129266 w 3359086"/>
                <a:gd name="connsiteY26878" fmla="*/ 89106 h 3355086"/>
                <a:gd name="connsiteX26879" fmla="*/ 2134171 w 3359086"/>
                <a:gd name="connsiteY26879" fmla="*/ 84201 h 3355086"/>
                <a:gd name="connsiteX26880" fmla="*/ 2138172 w 3359086"/>
                <a:gd name="connsiteY26880" fmla="*/ 88201 h 3355086"/>
                <a:gd name="connsiteX26881" fmla="*/ 2143124 w 3359086"/>
                <a:gd name="connsiteY26881" fmla="*/ 83249 h 3355086"/>
                <a:gd name="connsiteX26882" fmla="*/ 2146696 w 3359086"/>
                <a:gd name="connsiteY26882" fmla="*/ 86821 h 3355086"/>
                <a:gd name="connsiteX26883" fmla="*/ 2151887 w 3359086"/>
                <a:gd name="connsiteY26883" fmla="*/ 81630 h 3355086"/>
                <a:gd name="connsiteX26884" fmla="*/ 2154983 w 3359086"/>
                <a:gd name="connsiteY26884" fmla="*/ 84725 h 3355086"/>
                <a:gd name="connsiteX26885" fmla="*/ 2160365 w 3359086"/>
                <a:gd name="connsiteY26885" fmla="*/ 79343 h 3355086"/>
                <a:gd name="connsiteX26886" fmla="*/ 2163032 w 3359086"/>
                <a:gd name="connsiteY26886" fmla="*/ 82010 h 3355086"/>
                <a:gd name="connsiteX26887" fmla="*/ 2168746 w 3359086"/>
                <a:gd name="connsiteY26887" fmla="*/ 76296 h 3355086"/>
                <a:gd name="connsiteX26888" fmla="*/ 2174938 w 3359086"/>
                <a:gd name="connsiteY26888" fmla="*/ 82487 h 3355086"/>
                <a:gd name="connsiteX26889" fmla="*/ 2168746 w 3359086"/>
                <a:gd name="connsiteY26889" fmla="*/ 88679 h 3355086"/>
                <a:gd name="connsiteX26890" fmla="*/ 2166079 w 3359086"/>
                <a:gd name="connsiteY26890" fmla="*/ 86012 h 3355086"/>
                <a:gd name="connsiteX26891" fmla="*/ 2160365 w 3359086"/>
                <a:gd name="connsiteY26891" fmla="*/ 91726 h 3355086"/>
                <a:gd name="connsiteX26892" fmla="*/ 2157270 w 3359086"/>
                <a:gd name="connsiteY26892" fmla="*/ 88630 h 3355086"/>
                <a:gd name="connsiteX26893" fmla="*/ 2151887 w 3359086"/>
                <a:gd name="connsiteY26893" fmla="*/ 94012 h 3355086"/>
                <a:gd name="connsiteX26894" fmla="*/ 2148315 w 3359086"/>
                <a:gd name="connsiteY26894" fmla="*/ 90440 h 3355086"/>
                <a:gd name="connsiteX26895" fmla="*/ 2143124 w 3359086"/>
                <a:gd name="connsiteY26895" fmla="*/ 95632 h 3355086"/>
                <a:gd name="connsiteX26896" fmla="*/ 2139124 w 3359086"/>
                <a:gd name="connsiteY26896" fmla="*/ 91631 h 3355086"/>
                <a:gd name="connsiteX26897" fmla="*/ 2134171 w 3359086"/>
                <a:gd name="connsiteY26897" fmla="*/ 96584 h 3355086"/>
                <a:gd name="connsiteX26898" fmla="*/ 2129838 w 3359086"/>
                <a:gd name="connsiteY26898" fmla="*/ 92250 h 3355086"/>
                <a:gd name="connsiteX26899" fmla="*/ 2124932 w 3359086"/>
                <a:gd name="connsiteY26899" fmla="*/ 97155 h 3355086"/>
                <a:gd name="connsiteX26900" fmla="*/ 2120170 w 3359086"/>
                <a:gd name="connsiteY26900" fmla="*/ 92393 h 3355086"/>
                <a:gd name="connsiteX26901" fmla="*/ 2115216 w 3359086"/>
                <a:gd name="connsiteY26901" fmla="*/ 97346 h 3355086"/>
                <a:gd name="connsiteX26902" fmla="*/ 2110073 w 3359086"/>
                <a:gd name="connsiteY26902" fmla="*/ 92202 h 3355086"/>
                <a:gd name="connsiteX26903" fmla="*/ 2104929 w 3359086"/>
                <a:gd name="connsiteY26903" fmla="*/ 97346 h 3355086"/>
                <a:gd name="connsiteX26904" fmla="*/ 2099452 w 3359086"/>
                <a:gd name="connsiteY26904" fmla="*/ 91869 h 3355086"/>
                <a:gd name="connsiteX26905" fmla="*/ 2094070 w 3359086"/>
                <a:gd name="connsiteY26905" fmla="*/ 97251 h 3355086"/>
                <a:gd name="connsiteX26906" fmla="*/ 2088260 w 3359086"/>
                <a:gd name="connsiteY26906" fmla="*/ 91440 h 3355086"/>
                <a:gd name="connsiteX26907" fmla="*/ 2082545 w 3359086"/>
                <a:gd name="connsiteY26907" fmla="*/ 97155 h 3355086"/>
                <a:gd name="connsiteX26908" fmla="*/ 2076354 w 3359086"/>
                <a:gd name="connsiteY26908" fmla="*/ 90964 h 3355086"/>
                <a:gd name="connsiteX26909" fmla="*/ 2081973 w 3359086"/>
                <a:gd name="connsiteY26909" fmla="*/ 85345 h 3355086"/>
                <a:gd name="connsiteX26910" fmla="*/ 2077497 w 3359086"/>
                <a:gd name="connsiteY26910" fmla="*/ 80868 h 3355086"/>
                <a:gd name="connsiteX26911" fmla="*/ 2071973 w 3359086"/>
                <a:gd name="connsiteY26911" fmla="*/ 86393 h 3355086"/>
                <a:gd name="connsiteX26912" fmla="*/ 2066115 w 3359086"/>
                <a:gd name="connsiteY26912" fmla="*/ 80534 h 3355086"/>
                <a:gd name="connsiteX26913" fmla="*/ 2060352 w 3359086"/>
                <a:gd name="connsiteY26913" fmla="*/ 86297 h 3355086"/>
                <a:gd name="connsiteX26914" fmla="*/ 2054161 w 3359086"/>
                <a:gd name="connsiteY26914" fmla="*/ 80105 h 3355086"/>
                <a:gd name="connsiteX26915" fmla="*/ 2060352 w 3359086"/>
                <a:gd name="connsiteY26915" fmla="*/ 73914 h 3355086"/>
                <a:gd name="connsiteX26916" fmla="*/ 2066211 w 3359086"/>
                <a:gd name="connsiteY26916" fmla="*/ 79772 h 3355086"/>
                <a:gd name="connsiteX26917" fmla="*/ 2071973 w 3359086"/>
                <a:gd name="connsiteY26917" fmla="*/ 74010 h 3355086"/>
                <a:gd name="connsiteX26918" fmla="*/ 2077497 w 3359086"/>
                <a:gd name="connsiteY26918" fmla="*/ 79534 h 3355086"/>
                <a:gd name="connsiteX26919" fmla="*/ 2083021 w 3359086"/>
                <a:gd name="connsiteY26919" fmla="*/ 74010 h 3355086"/>
                <a:gd name="connsiteX26920" fmla="*/ 2088117 w 3359086"/>
                <a:gd name="connsiteY26920" fmla="*/ 79105 h 3355086"/>
                <a:gd name="connsiteX26921" fmla="*/ 2093594 w 3359086"/>
                <a:gd name="connsiteY26921" fmla="*/ 73628 h 3355086"/>
                <a:gd name="connsiteX26922" fmla="*/ 2098262 w 3359086"/>
                <a:gd name="connsiteY26922" fmla="*/ 78295 h 3355086"/>
                <a:gd name="connsiteX26923" fmla="*/ 2103691 w 3359086"/>
                <a:gd name="connsiteY26923" fmla="*/ 72866 h 3355086"/>
                <a:gd name="connsiteX26924" fmla="*/ 2107882 w 3359086"/>
                <a:gd name="connsiteY26924" fmla="*/ 77057 h 3355086"/>
                <a:gd name="connsiteX26925" fmla="*/ 2113406 w 3359086"/>
                <a:gd name="connsiteY26925" fmla="*/ 71533 h 3355086"/>
                <a:gd name="connsiteX26926" fmla="*/ 2117121 w 3359086"/>
                <a:gd name="connsiteY26926" fmla="*/ 75248 h 3355086"/>
                <a:gd name="connsiteX26927" fmla="*/ 2122836 w 3359086"/>
                <a:gd name="connsiteY26927" fmla="*/ 69533 h 3355086"/>
                <a:gd name="connsiteX26928" fmla="*/ 2126122 w 3359086"/>
                <a:gd name="connsiteY26928" fmla="*/ 72819 h 3355086"/>
                <a:gd name="connsiteX26929" fmla="*/ 1448085 w 3359086"/>
                <a:gd name="connsiteY26929" fmla="*/ 66104 h 3355086"/>
                <a:gd name="connsiteX26930" fmla="*/ 1454276 w 3359086"/>
                <a:gd name="connsiteY26930" fmla="*/ 72295 h 3355086"/>
                <a:gd name="connsiteX26931" fmla="*/ 1448085 w 3359086"/>
                <a:gd name="connsiteY26931" fmla="*/ 78486 h 3355086"/>
                <a:gd name="connsiteX26932" fmla="*/ 1441894 w 3359086"/>
                <a:gd name="connsiteY26932" fmla="*/ 72295 h 3355086"/>
                <a:gd name="connsiteX26933" fmla="*/ 1448085 w 3359086"/>
                <a:gd name="connsiteY26933" fmla="*/ 66104 h 3355086"/>
                <a:gd name="connsiteX26934" fmla="*/ 2141315 w 3359086"/>
                <a:gd name="connsiteY26934" fmla="*/ 65247 h 3355086"/>
                <a:gd name="connsiteX26935" fmla="*/ 2145411 w 3359086"/>
                <a:gd name="connsiteY26935" fmla="*/ 69343 h 3355086"/>
                <a:gd name="connsiteX26936" fmla="*/ 2141315 w 3359086"/>
                <a:gd name="connsiteY26936" fmla="*/ 73438 h 3355086"/>
                <a:gd name="connsiteX26937" fmla="*/ 2137219 w 3359086"/>
                <a:gd name="connsiteY26937" fmla="*/ 69343 h 3355086"/>
                <a:gd name="connsiteX26938" fmla="*/ 2141315 w 3359086"/>
                <a:gd name="connsiteY26938" fmla="*/ 65247 h 3355086"/>
                <a:gd name="connsiteX26939" fmla="*/ 1530667 w 3359086"/>
                <a:gd name="connsiteY26939" fmla="*/ 65151 h 3355086"/>
                <a:gd name="connsiteX26940" fmla="*/ 1536859 w 3359086"/>
                <a:gd name="connsiteY26940" fmla="*/ 71342 h 3355086"/>
                <a:gd name="connsiteX26941" fmla="*/ 1530667 w 3359086"/>
                <a:gd name="connsiteY26941" fmla="*/ 77534 h 3355086"/>
                <a:gd name="connsiteX26942" fmla="*/ 1524476 w 3359086"/>
                <a:gd name="connsiteY26942" fmla="*/ 71342 h 3355086"/>
                <a:gd name="connsiteX26943" fmla="*/ 1530667 w 3359086"/>
                <a:gd name="connsiteY26943" fmla="*/ 65151 h 3355086"/>
                <a:gd name="connsiteX26944" fmla="*/ 1229582 w 3359086"/>
                <a:gd name="connsiteY26944" fmla="*/ 64485 h 3355086"/>
                <a:gd name="connsiteX26945" fmla="*/ 1235583 w 3359086"/>
                <a:gd name="connsiteY26945" fmla="*/ 70485 h 3355086"/>
                <a:gd name="connsiteX26946" fmla="*/ 1239678 w 3359086"/>
                <a:gd name="connsiteY26946" fmla="*/ 66390 h 3355086"/>
                <a:gd name="connsiteX26947" fmla="*/ 1245441 w 3359086"/>
                <a:gd name="connsiteY26947" fmla="*/ 72152 h 3355086"/>
                <a:gd name="connsiteX26948" fmla="*/ 1249965 w 3359086"/>
                <a:gd name="connsiteY26948" fmla="*/ 67628 h 3355086"/>
                <a:gd name="connsiteX26949" fmla="*/ 1255632 w 3359086"/>
                <a:gd name="connsiteY26949" fmla="*/ 73295 h 3355086"/>
                <a:gd name="connsiteX26950" fmla="*/ 1260633 w 3359086"/>
                <a:gd name="connsiteY26950" fmla="*/ 68294 h 3355086"/>
                <a:gd name="connsiteX26951" fmla="*/ 1266396 w 3359086"/>
                <a:gd name="connsiteY26951" fmla="*/ 74057 h 3355086"/>
                <a:gd name="connsiteX26952" fmla="*/ 1271873 w 3359086"/>
                <a:gd name="connsiteY26952" fmla="*/ 68580 h 3355086"/>
                <a:gd name="connsiteX26953" fmla="*/ 1277778 w 3359086"/>
                <a:gd name="connsiteY26953" fmla="*/ 74485 h 3355086"/>
                <a:gd name="connsiteX26954" fmla="*/ 1283683 w 3359086"/>
                <a:gd name="connsiteY26954" fmla="*/ 68580 h 3355086"/>
                <a:gd name="connsiteX26955" fmla="*/ 1289875 w 3359086"/>
                <a:gd name="connsiteY26955" fmla="*/ 74771 h 3355086"/>
                <a:gd name="connsiteX26956" fmla="*/ 1283683 w 3359086"/>
                <a:gd name="connsiteY26956" fmla="*/ 80962 h 3355086"/>
                <a:gd name="connsiteX26957" fmla="*/ 1277778 w 3359086"/>
                <a:gd name="connsiteY26957" fmla="*/ 75057 h 3355086"/>
                <a:gd name="connsiteX26958" fmla="*/ 1271873 w 3359086"/>
                <a:gd name="connsiteY26958" fmla="*/ 80962 h 3355086"/>
                <a:gd name="connsiteX26959" fmla="*/ 1266111 w 3359086"/>
                <a:gd name="connsiteY26959" fmla="*/ 75200 h 3355086"/>
                <a:gd name="connsiteX26960" fmla="*/ 1260633 w 3359086"/>
                <a:gd name="connsiteY26960" fmla="*/ 80677 h 3355086"/>
                <a:gd name="connsiteX26961" fmla="*/ 1254966 w 3359086"/>
                <a:gd name="connsiteY26961" fmla="*/ 75010 h 3355086"/>
                <a:gd name="connsiteX26962" fmla="*/ 1251061 w 3359086"/>
                <a:gd name="connsiteY26962" fmla="*/ 78915 h 3355086"/>
                <a:gd name="connsiteX26963" fmla="*/ 1256776 w 3359086"/>
                <a:gd name="connsiteY26963" fmla="*/ 84629 h 3355086"/>
                <a:gd name="connsiteX26964" fmla="*/ 1262633 w 3359086"/>
                <a:gd name="connsiteY26964" fmla="*/ 78772 h 3355086"/>
                <a:gd name="connsiteX26965" fmla="*/ 1268825 w 3359086"/>
                <a:gd name="connsiteY26965" fmla="*/ 84963 h 3355086"/>
                <a:gd name="connsiteX26966" fmla="*/ 1262633 w 3359086"/>
                <a:gd name="connsiteY26966" fmla="*/ 91155 h 3355086"/>
                <a:gd name="connsiteX26967" fmla="*/ 1256871 w 3359086"/>
                <a:gd name="connsiteY26967" fmla="*/ 85392 h 3355086"/>
                <a:gd name="connsiteX26968" fmla="*/ 1251013 w 3359086"/>
                <a:gd name="connsiteY26968" fmla="*/ 91249 h 3355086"/>
                <a:gd name="connsiteX26969" fmla="*/ 1245537 w 3359086"/>
                <a:gd name="connsiteY26969" fmla="*/ 85773 h 3355086"/>
                <a:gd name="connsiteX26970" fmla="*/ 1240059 w 3359086"/>
                <a:gd name="connsiteY26970" fmla="*/ 91250 h 3355086"/>
                <a:gd name="connsiteX26971" fmla="*/ 1245584 w 3359086"/>
                <a:gd name="connsiteY26971" fmla="*/ 96774 h 3355086"/>
                <a:gd name="connsiteX26972" fmla="*/ 1239392 w 3359086"/>
                <a:gd name="connsiteY26972" fmla="*/ 102966 h 3355086"/>
                <a:gd name="connsiteX26973" fmla="*/ 1233487 w 3359086"/>
                <a:gd name="connsiteY26973" fmla="*/ 97060 h 3355086"/>
                <a:gd name="connsiteX26974" fmla="*/ 1227772 w 3359086"/>
                <a:gd name="connsiteY26974" fmla="*/ 102775 h 3355086"/>
                <a:gd name="connsiteX26975" fmla="*/ 1222295 w 3359086"/>
                <a:gd name="connsiteY26975" fmla="*/ 97298 h 3355086"/>
                <a:gd name="connsiteX26976" fmla="*/ 1216913 w 3359086"/>
                <a:gd name="connsiteY26976" fmla="*/ 102679 h 3355086"/>
                <a:gd name="connsiteX26977" fmla="*/ 1211913 w 3359086"/>
                <a:gd name="connsiteY26977" fmla="*/ 97679 h 3355086"/>
                <a:gd name="connsiteX26978" fmla="*/ 1206817 w 3359086"/>
                <a:gd name="connsiteY26978" fmla="*/ 102775 h 3355086"/>
                <a:gd name="connsiteX26979" fmla="*/ 1202007 w 3359086"/>
                <a:gd name="connsiteY26979" fmla="*/ 97964 h 3355086"/>
                <a:gd name="connsiteX26980" fmla="*/ 1197197 w 3359086"/>
                <a:gd name="connsiteY26980" fmla="*/ 102775 h 3355086"/>
                <a:gd name="connsiteX26981" fmla="*/ 1192530 w 3359086"/>
                <a:gd name="connsiteY26981" fmla="*/ 98108 h 3355086"/>
                <a:gd name="connsiteX26982" fmla="*/ 1188148 w 3359086"/>
                <a:gd name="connsiteY26982" fmla="*/ 102490 h 3355086"/>
                <a:gd name="connsiteX26983" fmla="*/ 1183433 w 3359086"/>
                <a:gd name="connsiteY26983" fmla="*/ 97775 h 3355086"/>
                <a:gd name="connsiteX26984" fmla="*/ 1179385 w 3359086"/>
                <a:gd name="connsiteY26984" fmla="*/ 101823 h 3355086"/>
                <a:gd name="connsiteX26985" fmla="*/ 1174575 w 3359086"/>
                <a:gd name="connsiteY26985" fmla="*/ 97012 h 3355086"/>
                <a:gd name="connsiteX26986" fmla="*/ 1170907 w 3359086"/>
                <a:gd name="connsiteY26986" fmla="*/ 100680 h 3355086"/>
                <a:gd name="connsiteX26987" fmla="*/ 1165954 w 3359086"/>
                <a:gd name="connsiteY26987" fmla="*/ 95727 h 3355086"/>
                <a:gd name="connsiteX26988" fmla="*/ 1162716 w 3359086"/>
                <a:gd name="connsiteY26988" fmla="*/ 98965 h 3355086"/>
                <a:gd name="connsiteX26989" fmla="*/ 1157430 w 3359086"/>
                <a:gd name="connsiteY26989" fmla="*/ 93679 h 3355086"/>
                <a:gd name="connsiteX26990" fmla="*/ 1154620 w 3359086"/>
                <a:gd name="connsiteY26990" fmla="*/ 96489 h 3355086"/>
                <a:gd name="connsiteX26991" fmla="*/ 1148429 w 3359086"/>
                <a:gd name="connsiteY26991" fmla="*/ 90297 h 3355086"/>
                <a:gd name="connsiteX26992" fmla="*/ 1154620 w 3359086"/>
                <a:gd name="connsiteY26992" fmla="*/ 84106 h 3355086"/>
                <a:gd name="connsiteX26993" fmla="*/ 1159906 w 3359086"/>
                <a:gd name="connsiteY26993" fmla="*/ 89392 h 3355086"/>
                <a:gd name="connsiteX26994" fmla="*/ 1162716 w 3359086"/>
                <a:gd name="connsiteY26994" fmla="*/ 86582 h 3355086"/>
                <a:gd name="connsiteX26995" fmla="*/ 1167669 w 3359086"/>
                <a:gd name="connsiteY26995" fmla="*/ 91535 h 3355086"/>
                <a:gd name="connsiteX26996" fmla="*/ 1170907 w 3359086"/>
                <a:gd name="connsiteY26996" fmla="*/ 88297 h 3355086"/>
                <a:gd name="connsiteX26997" fmla="*/ 1175718 w 3359086"/>
                <a:gd name="connsiteY26997" fmla="*/ 93107 h 3355086"/>
                <a:gd name="connsiteX26998" fmla="*/ 1179385 w 3359086"/>
                <a:gd name="connsiteY26998" fmla="*/ 89440 h 3355086"/>
                <a:gd name="connsiteX26999" fmla="*/ 1184100 w 3359086"/>
                <a:gd name="connsiteY26999" fmla="*/ 94155 h 3355086"/>
                <a:gd name="connsiteX27000" fmla="*/ 1188148 w 3359086"/>
                <a:gd name="connsiteY27000" fmla="*/ 90107 h 3355086"/>
                <a:gd name="connsiteX27001" fmla="*/ 1192815 w 3359086"/>
                <a:gd name="connsiteY27001" fmla="*/ 94774 h 3355086"/>
                <a:gd name="connsiteX27002" fmla="*/ 1197197 w 3359086"/>
                <a:gd name="connsiteY27002" fmla="*/ 90392 h 3355086"/>
                <a:gd name="connsiteX27003" fmla="*/ 1202007 w 3359086"/>
                <a:gd name="connsiteY27003" fmla="*/ 95202 h 3355086"/>
                <a:gd name="connsiteX27004" fmla="*/ 1206817 w 3359086"/>
                <a:gd name="connsiteY27004" fmla="*/ 90392 h 3355086"/>
                <a:gd name="connsiteX27005" fmla="*/ 1211818 w 3359086"/>
                <a:gd name="connsiteY27005" fmla="*/ 95393 h 3355086"/>
                <a:gd name="connsiteX27006" fmla="*/ 1216913 w 3359086"/>
                <a:gd name="connsiteY27006" fmla="*/ 90297 h 3355086"/>
                <a:gd name="connsiteX27007" fmla="*/ 1222390 w 3359086"/>
                <a:gd name="connsiteY27007" fmla="*/ 95774 h 3355086"/>
                <a:gd name="connsiteX27008" fmla="*/ 1227772 w 3359086"/>
                <a:gd name="connsiteY27008" fmla="*/ 90392 h 3355086"/>
                <a:gd name="connsiteX27009" fmla="*/ 1233678 w 3359086"/>
                <a:gd name="connsiteY27009" fmla="*/ 96297 h 3355086"/>
                <a:gd name="connsiteX27010" fmla="*/ 1239297 w 3359086"/>
                <a:gd name="connsiteY27010" fmla="*/ 90678 h 3355086"/>
                <a:gd name="connsiteX27011" fmla="*/ 1234726 w 3359086"/>
                <a:gd name="connsiteY27011" fmla="*/ 86106 h 3355086"/>
                <a:gd name="connsiteX27012" fmla="*/ 1229582 w 3359086"/>
                <a:gd name="connsiteY27012" fmla="*/ 91249 h 3355086"/>
                <a:gd name="connsiteX27013" fmla="*/ 1224391 w 3359086"/>
                <a:gd name="connsiteY27013" fmla="*/ 86058 h 3355086"/>
                <a:gd name="connsiteX27014" fmla="*/ 1219580 w 3359086"/>
                <a:gd name="connsiteY27014" fmla="*/ 90869 h 3355086"/>
                <a:gd name="connsiteX27015" fmla="*/ 1214342 w 3359086"/>
                <a:gd name="connsiteY27015" fmla="*/ 85630 h 3355086"/>
                <a:gd name="connsiteX27016" fmla="*/ 1210055 w 3359086"/>
                <a:gd name="connsiteY27016" fmla="*/ 89917 h 3355086"/>
                <a:gd name="connsiteX27017" fmla="*/ 1204721 w 3359086"/>
                <a:gd name="connsiteY27017" fmla="*/ 84583 h 3355086"/>
                <a:gd name="connsiteX27018" fmla="*/ 1200816 w 3359086"/>
                <a:gd name="connsiteY27018" fmla="*/ 88487 h 3355086"/>
                <a:gd name="connsiteX27019" fmla="*/ 1195244 w 3359086"/>
                <a:gd name="connsiteY27019" fmla="*/ 82915 h 3355086"/>
                <a:gd name="connsiteX27020" fmla="*/ 1191767 w 3359086"/>
                <a:gd name="connsiteY27020" fmla="*/ 86393 h 3355086"/>
                <a:gd name="connsiteX27021" fmla="*/ 1185576 w 3359086"/>
                <a:gd name="connsiteY27021" fmla="*/ 80201 h 3355086"/>
                <a:gd name="connsiteX27022" fmla="*/ 1191767 w 3359086"/>
                <a:gd name="connsiteY27022" fmla="*/ 74010 h 3355086"/>
                <a:gd name="connsiteX27023" fmla="*/ 1197339 w 3359086"/>
                <a:gd name="connsiteY27023" fmla="*/ 79582 h 3355086"/>
                <a:gd name="connsiteX27024" fmla="*/ 1200816 w 3359086"/>
                <a:gd name="connsiteY27024" fmla="*/ 76105 h 3355086"/>
                <a:gd name="connsiteX27025" fmla="*/ 1206150 w 3359086"/>
                <a:gd name="connsiteY27025" fmla="*/ 81439 h 3355086"/>
                <a:gd name="connsiteX27026" fmla="*/ 1210055 w 3359086"/>
                <a:gd name="connsiteY27026" fmla="*/ 77534 h 3355086"/>
                <a:gd name="connsiteX27027" fmla="*/ 1215294 w 3359086"/>
                <a:gd name="connsiteY27027" fmla="*/ 82772 h 3355086"/>
                <a:gd name="connsiteX27028" fmla="*/ 1219580 w 3359086"/>
                <a:gd name="connsiteY27028" fmla="*/ 78486 h 3355086"/>
                <a:gd name="connsiteX27029" fmla="*/ 1224772 w 3359086"/>
                <a:gd name="connsiteY27029" fmla="*/ 83677 h 3355086"/>
                <a:gd name="connsiteX27030" fmla="*/ 1229582 w 3359086"/>
                <a:gd name="connsiteY27030" fmla="*/ 78867 h 3355086"/>
                <a:gd name="connsiteX27031" fmla="*/ 1234821 w 3359086"/>
                <a:gd name="connsiteY27031" fmla="*/ 84105 h 3355086"/>
                <a:gd name="connsiteX27032" fmla="*/ 1239964 w 3359086"/>
                <a:gd name="connsiteY27032" fmla="*/ 78962 h 3355086"/>
                <a:gd name="connsiteX27033" fmla="*/ 1245441 w 3359086"/>
                <a:gd name="connsiteY27033" fmla="*/ 84439 h 3355086"/>
                <a:gd name="connsiteX27034" fmla="*/ 1249917 w 3359086"/>
                <a:gd name="connsiteY27034" fmla="*/ 79963 h 3355086"/>
                <a:gd name="connsiteX27035" fmla="*/ 1244203 w 3359086"/>
                <a:gd name="connsiteY27035" fmla="*/ 74248 h 3355086"/>
                <a:gd name="connsiteX27036" fmla="*/ 1239678 w 3359086"/>
                <a:gd name="connsiteY27036" fmla="*/ 78773 h 3355086"/>
                <a:gd name="connsiteX27037" fmla="*/ 1233678 w 3359086"/>
                <a:gd name="connsiteY27037" fmla="*/ 72772 h 3355086"/>
                <a:gd name="connsiteX27038" fmla="*/ 1229582 w 3359086"/>
                <a:gd name="connsiteY27038" fmla="*/ 76868 h 3355086"/>
                <a:gd name="connsiteX27039" fmla="*/ 1223391 w 3359086"/>
                <a:gd name="connsiteY27039" fmla="*/ 70676 h 3355086"/>
                <a:gd name="connsiteX27040" fmla="*/ 1229582 w 3359086"/>
                <a:gd name="connsiteY27040" fmla="*/ 64485 h 3355086"/>
                <a:gd name="connsiteX27041" fmla="*/ 2027967 w 3359086"/>
                <a:gd name="connsiteY27041" fmla="*/ 64008 h 3355086"/>
                <a:gd name="connsiteX27042" fmla="*/ 2034159 w 3359086"/>
                <a:gd name="connsiteY27042" fmla="*/ 70199 h 3355086"/>
                <a:gd name="connsiteX27043" fmla="*/ 2027967 w 3359086"/>
                <a:gd name="connsiteY27043" fmla="*/ 76391 h 3355086"/>
                <a:gd name="connsiteX27044" fmla="*/ 2021776 w 3359086"/>
                <a:gd name="connsiteY27044" fmla="*/ 70199 h 3355086"/>
                <a:gd name="connsiteX27045" fmla="*/ 2027967 w 3359086"/>
                <a:gd name="connsiteY27045" fmla="*/ 64008 h 3355086"/>
                <a:gd name="connsiteX27046" fmla="*/ 2014823 w 3359086"/>
                <a:gd name="connsiteY27046" fmla="*/ 63913 h 3355086"/>
                <a:gd name="connsiteX27047" fmla="*/ 2021014 w 3359086"/>
                <a:gd name="connsiteY27047" fmla="*/ 70104 h 3355086"/>
                <a:gd name="connsiteX27048" fmla="*/ 2014823 w 3359086"/>
                <a:gd name="connsiteY27048" fmla="*/ 76296 h 3355086"/>
                <a:gd name="connsiteX27049" fmla="*/ 2008632 w 3359086"/>
                <a:gd name="connsiteY27049" fmla="*/ 70104 h 3355086"/>
                <a:gd name="connsiteX27050" fmla="*/ 2014823 w 3359086"/>
                <a:gd name="connsiteY27050" fmla="*/ 63913 h 3355086"/>
                <a:gd name="connsiteX27051" fmla="*/ 2000821 w 3359086"/>
                <a:gd name="connsiteY27051" fmla="*/ 63818 h 3355086"/>
                <a:gd name="connsiteX27052" fmla="*/ 2007013 w 3359086"/>
                <a:gd name="connsiteY27052" fmla="*/ 70009 h 3355086"/>
                <a:gd name="connsiteX27053" fmla="*/ 2000821 w 3359086"/>
                <a:gd name="connsiteY27053" fmla="*/ 76200 h 3355086"/>
                <a:gd name="connsiteX27054" fmla="*/ 1994630 w 3359086"/>
                <a:gd name="connsiteY27054" fmla="*/ 70009 h 3355086"/>
                <a:gd name="connsiteX27055" fmla="*/ 2000821 w 3359086"/>
                <a:gd name="connsiteY27055" fmla="*/ 63818 h 3355086"/>
                <a:gd name="connsiteX27056" fmla="*/ 1219866 w 3359086"/>
                <a:gd name="connsiteY27056" fmla="*/ 63722 h 3355086"/>
                <a:gd name="connsiteX27057" fmla="*/ 1224153 w 3359086"/>
                <a:gd name="connsiteY27057" fmla="*/ 68008 h 3355086"/>
                <a:gd name="connsiteX27058" fmla="*/ 1219866 w 3359086"/>
                <a:gd name="connsiteY27058" fmla="*/ 72295 h 3355086"/>
                <a:gd name="connsiteX27059" fmla="*/ 1215580 w 3359086"/>
                <a:gd name="connsiteY27059" fmla="*/ 68008 h 3355086"/>
                <a:gd name="connsiteX27060" fmla="*/ 1219866 w 3359086"/>
                <a:gd name="connsiteY27060" fmla="*/ 63722 h 3355086"/>
                <a:gd name="connsiteX27061" fmla="*/ 1773364 w 3359086"/>
                <a:gd name="connsiteY27061" fmla="*/ 63341 h 3355086"/>
                <a:gd name="connsiteX27062" fmla="*/ 1779556 w 3359086"/>
                <a:gd name="connsiteY27062" fmla="*/ 69532 h 3355086"/>
                <a:gd name="connsiteX27063" fmla="*/ 1773364 w 3359086"/>
                <a:gd name="connsiteY27063" fmla="*/ 75724 h 3355086"/>
                <a:gd name="connsiteX27064" fmla="*/ 1767173 w 3359086"/>
                <a:gd name="connsiteY27064" fmla="*/ 69532 h 3355086"/>
                <a:gd name="connsiteX27065" fmla="*/ 1773364 w 3359086"/>
                <a:gd name="connsiteY27065" fmla="*/ 63341 h 3355086"/>
                <a:gd name="connsiteX27066" fmla="*/ 1857279 w 3359086"/>
                <a:gd name="connsiteY27066" fmla="*/ 63056 h 3355086"/>
                <a:gd name="connsiteX27067" fmla="*/ 1863471 w 3359086"/>
                <a:gd name="connsiteY27067" fmla="*/ 69247 h 3355086"/>
                <a:gd name="connsiteX27068" fmla="*/ 1857279 w 3359086"/>
                <a:gd name="connsiteY27068" fmla="*/ 75438 h 3355086"/>
                <a:gd name="connsiteX27069" fmla="*/ 1851088 w 3359086"/>
                <a:gd name="connsiteY27069" fmla="*/ 69247 h 3355086"/>
                <a:gd name="connsiteX27070" fmla="*/ 1857279 w 3359086"/>
                <a:gd name="connsiteY27070" fmla="*/ 63056 h 3355086"/>
                <a:gd name="connsiteX27071" fmla="*/ 1427130 w 3359086"/>
                <a:gd name="connsiteY27071" fmla="*/ 62960 h 3355086"/>
                <a:gd name="connsiteX27072" fmla="*/ 1433322 w 3359086"/>
                <a:gd name="connsiteY27072" fmla="*/ 69151 h 3355086"/>
                <a:gd name="connsiteX27073" fmla="*/ 1427130 w 3359086"/>
                <a:gd name="connsiteY27073" fmla="*/ 75343 h 3355086"/>
                <a:gd name="connsiteX27074" fmla="*/ 1420939 w 3359086"/>
                <a:gd name="connsiteY27074" fmla="*/ 69151 h 3355086"/>
                <a:gd name="connsiteX27075" fmla="*/ 1427130 w 3359086"/>
                <a:gd name="connsiteY27075" fmla="*/ 62960 h 3355086"/>
                <a:gd name="connsiteX27076" fmla="*/ 1591150 w 3359086"/>
                <a:gd name="connsiteY27076" fmla="*/ 61722 h 3355086"/>
                <a:gd name="connsiteX27077" fmla="*/ 1597342 w 3359086"/>
                <a:gd name="connsiteY27077" fmla="*/ 67913 h 3355086"/>
                <a:gd name="connsiteX27078" fmla="*/ 1591150 w 3359086"/>
                <a:gd name="connsiteY27078" fmla="*/ 74105 h 3355086"/>
                <a:gd name="connsiteX27079" fmla="*/ 1584959 w 3359086"/>
                <a:gd name="connsiteY27079" fmla="*/ 67913 h 3355086"/>
                <a:gd name="connsiteX27080" fmla="*/ 1591150 w 3359086"/>
                <a:gd name="connsiteY27080" fmla="*/ 61722 h 3355086"/>
                <a:gd name="connsiteX27081" fmla="*/ 1407699 w 3359086"/>
                <a:gd name="connsiteY27081" fmla="*/ 60960 h 3355086"/>
                <a:gd name="connsiteX27082" fmla="*/ 1413891 w 3359086"/>
                <a:gd name="connsiteY27082" fmla="*/ 67151 h 3355086"/>
                <a:gd name="connsiteX27083" fmla="*/ 1407699 w 3359086"/>
                <a:gd name="connsiteY27083" fmla="*/ 73343 h 3355086"/>
                <a:gd name="connsiteX27084" fmla="*/ 1401508 w 3359086"/>
                <a:gd name="connsiteY27084" fmla="*/ 67151 h 3355086"/>
                <a:gd name="connsiteX27085" fmla="*/ 1407699 w 3359086"/>
                <a:gd name="connsiteY27085" fmla="*/ 60960 h 3355086"/>
                <a:gd name="connsiteX27086" fmla="*/ 1712785 w 3359086"/>
                <a:gd name="connsiteY27086" fmla="*/ 60770 h 3355086"/>
                <a:gd name="connsiteX27087" fmla="*/ 1718977 w 3359086"/>
                <a:gd name="connsiteY27087" fmla="*/ 66961 h 3355086"/>
                <a:gd name="connsiteX27088" fmla="*/ 1712785 w 3359086"/>
                <a:gd name="connsiteY27088" fmla="*/ 73153 h 3355086"/>
                <a:gd name="connsiteX27089" fmla="*/ 1706594 w 3359086"/>
                <a:gd name="connsiteY27089" fmla="*/ 66961 h 3355086"/>
                <a:gd name="connsiteX27090" fmla="*/ 1712785 w 3359086"/>
                <a:gd name="connsiteY27090" fmla="*/ 60770 h 3355086"/>
                <a:gd name="connsiteX27091" fmla="*/ 2084736 w 3359086"/>
                <a:gd name="connsiteY27091" fmla="*/ 60294 h 3355086"/>
                <a:gd name="connsiteX27092" fmla="*/ 2090928 w 3359086"/>
                <a:gd name="connsiteY27092" fmla="*/ 66485 h 3355086"/>
                <a:gd name="connsiteX27093" fmla="*/ 2084736 w 3359086"/>
                <a:gd name="connsiteY27093" fmla="*/ 72676 h 3355086"/>
                <a:gd name="connsiteX27094" fmla="*/ 2080354 w 3359086"/>
                <a:gd name="connsiteY27094" fmla="*/ 68295 h 3355086"/>
                <a:gd name="connsiteX27095" fmla="*/ 2074258 w 3359086"/>
                <a:gd name="connsiteY27095" fmla="*/ 74391 h 3355086"/>
                <a:gd name="connsiteX27096" fmla="*/ 2069401 w 3359086"/>
                <a:gd name="connsiteY27096" fmla="*/ 69533 h 3355086"/>
                <a:gd name="connsiteX27097" fmla="*/ 2063400 w 3359086"/>
                <a:gd name="connsiteY27097" fmla="*/ 75534 h 3355086"/>
                <a:gd name="connsiteX27098" fmla="*/ 2058114 w 3359086"/>
                <a:gd name="connsiteY27098" fmla="*/ 70248 h 3355086"/>
                <a:gd name="connsiteX27099" fmla="*/ 2052161 w 3359086"/>
                <a:gd name="connsiteY27099" fmla="*/ 76200 h 3355086"/>
                <a:gd name="connsiteX27100" fmla="*/ 2046398 w 3359086"/>
                <a:gd name="connsiteY27100" fmla="*/ 70437 h 3355086"/>
                <a:gd name="connsiteX27101" fmla="*/ 2040349 w 3359086"/>
                <a:gd name="connsiteY27101" fmla="*/ 76486 h 3355086"/>
                <a:gd name="connsiteX27102" fmla="*/ 2034158 w 3359086"/>
                <a:gd name="connsiteY27102" fmla="*/ 70294 h 3355086"/>
                <a:gd name="connsiteX27103" fmla="*/ 2040349 w 3359086"/>
                <a:gd name="connsiteY27103" fmla="*/ 64103 h 3355086"/>
                <a:gd name="connsiteX27104" fmla="*/ 2046113 w 3359086"/>
                <a:gd name="connsiteY27104" fmla="*/ 69866 h 3355086"/>
                <a:gd name="connsiteX27105" fmla="*/ 2052161 w 3359086"/>
                <a:gd name="connsiteY27105" fmla="*/ 63818 h 3355086"/>
                <a:gd name="connsiteX27106" fmla="*/ 2057447 w 3359086"/>
                <a:gd name="connsiteY27106" fmla="*/ 69104 h 3355086"/>
                <a:gd name="connsiteX27107" fmla="*/ 2063400 w 3359086"/>
                <a:gd name="connsiteY27107" fmla="*/ 63151 h 3355086"/>
                <a:gd name="connsiteX27108" fmla="*/ 2068258 w 3359086"/>
                <a:gd name="connsiteY27108" fmla="*/ 68008 h 3355086"/>
                <a:gd name="connsiteX27109" fmla="*/ 2074258 w 3359086"/>
                <a:gd name="connsiteY27109" fmla="*/ 62008 h 3355086"/>
                <a:gd name="connsiteX27110" fmla="*/ 2078640 w 3359086"/>
                <a:gd name="connsiteY27110" fmla="*/ 66390 h 3355086"/>
                <a:gd name="connsiteX27111" fmla="*/ 1651920 w 3359086"/>
                <a:gd name="connsiteY27111" fmla="*/ 60294 h 3355086"/>
                <a:gd name="connsiteX27112" fmla="*/ 1658112 w 3359086"/>
                <a:gd name="connsiteY27112" fmla="*/ 66485 h 3355086"/>
                <a:gd name="connsiteX27113" fmla="*/ 1651920 w 3359086"/>
                <a:gd name="connsiteY27113" fmla="*/ 72676 h 3355086"/>
                <a:gd name="connsiteX27114" fmla="*/ 1645729 w 3359086"/>
                <a:gd name="connsiteY27114" fmla="*/ 66485 h 3355086"/>
                <a:gd name="connsiteX27115" fmla="*/ 1651920 w 3359086"/>
                <a:gd name="connsiteY27115" fmla="*/ 60294 h 3355086"/>
                <a:gd name="connsiteX27116" fmla="*/ 1505902 w 3359086"/>
                <a:gd name="connsiteY27116" fmla="*/ 60103 h 3355086"/>
                <a:gd name="connsiteX27117" fmla="*/ 1512094 w 3359086"/>
                <a:gd name="connsiteY27117" fmla="*/ 66294 h 3355086"/>
                <a:gd name="connsiteX27118" fmla="*/ 1505902 w 3359086"/>
                <a:gd name="connsiteY27118" fmla="*/ 72485 h 3355086"/>
                <a:gd name="connsiteX27119" fmla="*/ 1499711 w 3359086"/>
                <a:gd name="connsiteY27119" fmla="*/ 66294 h 3355086"/>
                <a:gd name="connsiteX27120" fmla="*/ 1505902 w 3359086"/>
                <a:gd name="connsiteY27120" fmla="*/ 60103 h 3355086"/>
                <a:gd name="connsiteX27121" fmla="*/ 1879186 w 3359086"/>
                <a:gd name="connsiteY27121" fmla="*/ 59722 h 3355086"/>
                <a:gd name="connsiteX27122" fmla="*/ 1885378 w 3359086"/>
                <a:gd name="connsiteY27122" fmla="*/ 65913 h 3355086"/>
                <a:gd name="connsiteX27123" fmla="*/ 1879186 w 3359086"/>
                <a:gd name="connsiteY27123" fmla="*/ 72104 h 3355086"/>
                <a:gd name="connsiteX27124" fmla="*/ 1872995 w 3359086"/>
                <a:gd name="connsiteY27124" fmla="*/ 65913 h 3355086"/>
                <a:gd name="connsiteX27125" fmla="*/ 1879186 w 3359086"/>
                <a:gd name="connsiteY27125" fmla="*/ 59722 h 3355086"/>
                <a:gd name="connsiteX27126" fmla="*/ 1328165 w 3359086"/>
                <a:gd name="connsiteY27126" fmla="*/ 59150 h 3355086"/>
                <a:gd name="connsiteX27127" fmla="*/ 1334357 w 3359086"/>
                <a:gd name="connsiteY27127" fmla="*/ 65341 h 3355086"/>
                <a:gd name="connsiteX27128" fmla="*/ 1328165 w 3359086"/>
                <a:gd name="connsiteY27128" fmla="*/ 71533 h 3355086"/>
                <a:gd name="connsiteX27129" fmla="*/ 1321974 w 3359086"/>
                <a:gd name="connsiteY27129" fmla="*/ 65341 h 3355086"/>
                <a:gd name="connsiteX27130" fmla="*/ 1328165 w 3359086"/>
                <a:gd name="connsiteY27130" fmla="*/ 59150 h 3355086"/>
                <a:gd name="connsiteX27131" fmla="*/ 1314925 w 3359086"/>
                <a:gd name="connsiteY27131" fmla="*/ 59150 h 3355086"/>
                <a:gd name="connsiteX27132" fmla="*/ 1321117 w 3359086"/>
                <a:gd name="connsiteY27132" fmla="*/ 65341 h 3355086"/>
                <a:gd name="connsiteX27133" fmla="*/ 1314925 w 3359086"/>
                <a:gd name="connsiteY27133" fmla="*/ 71533 h 3355086"/>
                <a:gd name="connsiteX27134" fmla="*/ 1308734 w 3359086"/>
                <a:gd name="connsiteY27134" fmla="*/ 65341 h 3355086"/>
                <a:gd name="connsiteX27135" fmla="*/ 1314925 w 3359086"/>
                <a:gd name="connsiteY27135" fmla="*/ 59150 h 3355086"/>
                <a:gd name="connsiteX27136" fmla="*/ 1302448 w 3359086"/>
                <a:gd name="connsiteY27136" fmla="*/ 58960 h 3355086"/>
                <a:gd name="connsiteX27137" fmla="*/ 1308640 w 3359086"/>
                <a:gd name="connsiteY27137" fmla="*/ 65151 h 3355086"/>
                <a:gd name="connsiteX27138" fmla="*/ 1302448 w 3359086"/>
                <a:gd name="connsiteY27138" fmla="*/ 71343 h 3355086"/>
                <a:gd name="connsiteX27139" fmla="*/ 1296257 w 3359086"/>
                <a:gd name="connsiteY27139" fmla="*/ 65151 h 3355086"/>
                <a:gd name="connsiteX27140" fmla="*/ 1302448 w 3359086"/>
                <a:gd name="connsiteY27140" fmla="*/ 58960 h 3355086"/>
                <a:gd name="connsiteX27141" fmla="*/ 1290541 w 3359086"/>
                <a:gd name="connsiteY27141" fmla="*/ 58388 h 3355086"/>
                <a:gd name="connsiteX27142" fmla="*/ 1296733 w 3359086"/>
                <a:gd name="connsiteY27142" fmla="*/ 64579 h 3355086"/>
                <a:gd name="connsiteX27143" fmla="*/ 1290541 w 3359086"/>
                <a:gd name="connsiteY27143" fmla="*/ 70771 h 3355086"/>
                <a:gd name="connsiteX27144" fmla="*/ 1284350 w 3359086"/>
                <a:gd name="connsiteY27144" fmla="*/ 64579 h 3355086"/>
                <a:gd name="connsiteX27145" fmla="*/ 1290541 w 3359086"/>
                <a:gd name="connsiteY27145" fmla="*/ 58388 h 3355086"/>
                <a:gd name="connsiteX27146" fmla="*/ 1799177 w 3359086"/>
                <a:gd name="connsiteY27146" fmla="*/ 57912 h 3355086"/>
                <a:gd name="connsiteX27147" fmla="*/ 1805368 w 3359086"/>
                <a:gd name="connsiteY27147" fmla="*/ 64103 h 3355086"/>
                <a:gd name="connsiteX27148" fmla="*/ 1799177 w 3359086"/>
                <a:gd name="connsiteY27148" fmla="*/ 70294 h 3355086"/>
                <a:gd name="connsiteX27149" fmla="*/ 1792986 w 3359086"/>
                <a:gd name="connsiteY27149" fmla="*/ 64103 h 3355086"/>
                <a:gd name="connsiteX27150" fmla="*/ 1799177 w 3359086"/>
                <a:gd name="connsiteY27150" fmla="*/ 57912 h 3355086"/>
                <a:gd name="connsiteX27151" fmla="*/ 2094928 w 3359086"/>
                <a:gd name="connsiteY27151" fmla="*/ 57817 h 3355086"/>
                <a:gd name="connsiteX27152" fmla="*/ 2101120 w 3359086"/>
                <a:gd name="connsiteY27152" fmla="*/ 64008 h 3355086"/>
                <a:gd name="connsiteX27153" fmla="*/ 2094928 w 3359086"/>
                <a:gd name="connsiteY27153" fmla="*/ 70200 h 3355086"/>
                <a:gd name="connsiteX27154" fmla="*/ 2088737 w 3359086"/>
                <a:gd name="connsiteY27154" fmla="*/ 64008 h 3355086"/>
                <a:gd name="connsiteX27155" fmla="*/ 2094928 w 3359086"/>
                <a:gd name="connsiteY27155" fmla="*/ 57817 h 3355086"/>
                <a:gd name="connsiteX27156" fmla="*/ 1899665 w 3359086"/>
                <a:gd name="connsiteY27156" fmla="*/ 57436 h 3355086"/>
                <a:gd name="connsiteX27157" fmla="*/ 1905857 w 3359086"/>
                <a:gd name="connsiteY27157" fmla="*/ 63627 h 3355086"/>
                <a:gd name="connsiteX27158" fmla="*/ 1899665 w 3359086"/>
                <a:gd name="connsiteY27158" fmla="*/ 69819 h 3355086"/>
                <a:gd name="connsiteX27159" fmla="*/ 1893474 w 3359086"/>
                <a:gd name="connsiteY27159" fmla="*/ 63627 h 3355086"/>
                <a:gd name="connsiteX27160" fmla="*/ 1899665 w 3359086"/>
                <a:gd name="connsiteY27160" fmla="*/ 57436 h 3355086"/>
                <a:gd name="connsiteX27161" fmla="*/ 1279111 w 3359086"/>
                <a:gd name="connsiteY27161" fmla="*/ 57246 h 3355086"/>
                <a:gd name="connsiteX27162" fmla="*/ 1285303 w 3359086"/>
                <a:gd name="connsiteY27162" fmla="*/ 63437 h 3355086"/>
                <a:gd name="connsiteX27163" fmla="*/ 1279111 w 3359086"/>
                <a:gd name="connsiteY27163" fmla="*/ 69629 h 3355086"/>
                <a:gd name="connsiteX27164" fmla="*/ 1272920 w 3359086"/>
                <a:gd name="connsiteY27164" fmla="*/ 63437 h 3355086"/>
                <a:gd name="connsiteX27165" fmla="*/ 1279111 w 3359086"/>
                <a:gd name="connsiteY27165" fmla="*/ 57246 h 3355086"/>
                <a:gd name="connsiteX27166" fmla="*/ 1482851 w 3359086"/>
                <a:gd name="connsiteY27166" fmla="*/ 56388 h 3355086"/>
                <a:gd name="connsiteX27167" fmla="*/ 1489043 w 3359086"/>
                <a:gd name="connsiteY27167" fmla="*/ 62579 h 3355086"/>
                <a:gd name="connsiteX27168" fmla="*/ 1482851 w 3359086"/>
                <a:gd name="connsiteY27168" fmla="*/ 68771 h 3355086"/>
                <a:gd name="connsiteX27169" fmla="*/ 1476660 w 3359086"/>
                <a:gd name="connsiteY27169" fmla="*/ 62579 h 3355086"/>
                <a:gd name="connsiteX27170" fmla="*/ 1482851 w 3359086"/>
                <a:gd name="connsiteY27170" fmla="*/ 56388 h 3355086"/>
                <a:gd name="connsiteX27171" fmla="*/ 1564290 w 3359086"/>
                <a:gd name="connsiteY27171" fmla="*/ 55817 h 3355086"/>
                <a:gd name="connsiteX27172" fmla="*/ 1570482 w 3359086"/>
                <a:gd name="connsiteY27172" fmla="*/ 62008 h 3355086"/>
                <a:gd name="connsiteX27173" fmla="*/ 1564290 w 3359086"/>
                <a:gd name="connsiteY27173" fmla="*/ 68200 h 3355086"/>
                <a:gd name="connsiteX27174" fmla="*/ 1558099 w 3359086"/>
                <a:gd name="connsiteY27174" fmla="*/ 62008 h 3355086"/>
                <a:gd name="connsiteX27175" fmla="*/ 1564290 w 3359086"/>
                <a:gd name="connsiteY27175" fmla="*/ 55817 h 3355086"/>
                <a:gd name="connsiteX27176" fmla="*/ 1268062 w 3359086"/>
                <a:gd name="connsiteY27176" fmla="*/ 55626 h 3355086"/>
                <a:gd name="connsiteX27177" fmla="*/ 1274254 w 3359086"/>
                <a:gd name="connsiteY27177" fmla="*/ 61817 h 3355086"/>
                <a:gd name="connsiteX27178" fmla="*/ 1268062 w 3359086"/>
                <a:gd name="connsiteY27178" fmla="*/ 68009 h 3355086"/>
                <a:gd name="connsiteX27179" fmla="*/ 1261871 w 3359086"/>
                <a:gd name="connsiteY27179" fmla="*/ 61817 h 3355086"/>
                <a:gd name="connsiteX27180" fmla="*/ 1268062 w 3359086"/>
                <a:gd name="connsiteY27180" fmla="*/ 55626 h 3355086"/>
                <a:gd name="connsiteX27181" fmla="*/ 2104930 w 3359086"/>
                <a:gd name="connsiteY27181" fmla="*/ 55150 h 3355086"/>
                <a:gd name="connsiteX27182" fmla="*/ 2110454 w 3359086"/>
                <a:gd name="connsiteY27182" fmla="*/ 60579 h 3355086"/>
                <a:gd name="connsiteX27183" fmla="*/ 2104930 w 3359086"/>
                <a:gd name="connsiteY27183" fmla="*/ 66104 h 3355086"/>
                <a:gd name="connsiteX27184" fmla="*/ 2099405 w 3359086"/>
                <a:gd name="connsiteY27184" fmla="*/ 60579 h 3355086"/>
                <a:gd name="connsiteX27185" fmla="*/ 2104930 w 3359086"/>
                <a:gd name="connsiteY27185" fmla="*/ 55150 h 3355086"/>
                <a:gd name="connsiteX27186" fmla="*/ 1996916 w 3359086"/>
                <a:gd name="connsiteY27186" fmla="*/ 55150 h 3355086"/>
                <a:gd name="connsiteX27187" fmla="*/ 2003108 w 3359086"/>
                <a:gd name="connsiteY27187" fmla="*/ 61341 h 3355086"/>
                <a:gd name="connsiteX27188" fmla="*/ 1996916 w 3359086"/>
                <a:gd name="connsiteY27188" fmla="*/ 67532 h 3355086"/>
                <a:gd name="connsiteX27189" fmla="*/ 1990725 w 3359086"/>
                <a:gd name="connsiteY27189" fmla="*/ 61341 h 3355086"/>
                <a:gd name="connsiteX27190" fmla="*/ 1996916 w 3359086"/>
                <a:gd name="connsiteY27190" fmla="*/ 55150 h 3355086"/>
                <a:gd name="connsiteX27191" fmla="*/ 2010060 w 3359086"/>
                <a:gd name="connsiteY27191" fmla="*/ 54960 h 3355086"/>
                <a:gd name="connsiteX27192" fmla="*/ 2016251 w 3359086"/>
                <a:gd name="connsiteY27192" fmla="*/ 61151 h 3355086"/>
                <a:gd name="connsiteX27193" fmla="*/ 2010060 w 3359086"/>
                <a:gd name="connsiteY27193" fmla="*/ 67342 h 3355086"/>
                <a:gd name="connsiteX27194" fmla="*/ 2003869 w 3359086"/>
                <a:gd name="connsiteY27194" fmla="*/ 61151 h 3355086"/>
                <a:gd name="connsiteX27195" fmla="*/ 2010060 w 3359086"/>
                <a:gd name="connsiteY27195" fmla="*/ 54960 h 3355086"/>
                <a:gd name="connsiteX27196" fmla="*/ 1740693 w 3359086"/>
                <a:gd name="connsiteY27196" fmla="*/ 54578 h 3355086"/>
                <a:gd name="connsiteX27197" fmla="*/ 1746884 w 3359086"/>
                <a:gd name="connsiteY27197" fmla="*/ 60769 h 3355086"/>
                <a:gd name="connsiteX27198" fmla="*/ 1740693 w 3359086"/>
                <a:gd name="connsiteY27198" fmla="*/ 66961 h 3355086"/>
                <a:gd name="connsiteX27199" fmla="*/ 1734502 w 3359086"/>
                <a:gd name="connsiteY27199" fmla="*/ 60769 h 3355086"/>
                <a:gd name="connsiteX27200" fmla="*/ 1740693 w 3359086"/>
                <a:gd name="connsiteY27200" fmla="*/ 54578 h 3355086"/>
                <a:gd name="connsiteX27201" fmla="*/ 2022538 w 3359086"/>
                <a:gd name="connsiteY27201" fmla="*/ 54388 h 3355086"/>
                <a:gd name="connsiteX27202" fmla="*/ 2028730 w 3359086"/>
                <a:gd name="connsiteY27202" fmla="*/ 60579 h 3355086"/>
                <a:gd name="connsiteX27203" fmla="*/ 2022538 w 3359086"/>
                <a:gd name="connsiteY27203" fmla="*/ 66771 h 3355086"/>
                <a:gd name="connsiteX27204" fmla="*/ 2016347 w 3359086"/>
                <a:gd name="connsiteY27204" fmla="*/ 60579 h 3355086"/>
                <a:gd name="connsiteX27205" fmla="*/ 2022538 w 3359086"/>
                <a:gd name="connsiteY27205" fmla="*/ 54388 h 3355086"/>
                <a:gd name="connsiteX27206" fmla="*/ 1823179 w 3359086"/>
                <a:gd name="connsiteY27206" fmla="*/ 53912 h 3355086"/>
                <a:gd name="connsiteX27207" fmla="*/ 1829371 w 3359086"/>
                <a:gd name="connsiteY27207" fmla="*/ 60103 h 3355086"/>
                <a:gd name="connsiteX27208" fmla="*/ 1823179 w 3359086"/>
                <a:gd name="connsiteY27208" fmla="*/ 66294 h 3355086"/>
                <a:gd name="connsiteX27209" fmla="*/ 1816988 w 3359086"/>
                <a:gd name="connsiteY27209" fmla="*/ 60103 h 3355086"/>
                <a:gd name="connsiteX27210" fmla="*/ 1823179 w 3359086"/>
                <a:gd name="connsiteY27210" fmla="*/ 53912 h 3355086"/>
                <a:gd name="connsiteX27211" fmla="*/ 1461420 w 3359086"/>
                <a:gd name="connsiteY27211" fmla="*/ 53816 h 3355086"/>
                <a:gd name="connsiteX27212" fmla="*/ 1467612 w 3359086"/>
                <a:gd name="connsiteY27212" fmla="*/ 60007 h 3355086"/>
                <a:gd name="connsiteX27213" fmla="*/ 1461420 w 3359086"/>
                <a:gd name="connsiteY27213" fmla="*/ 66199 h 3355086"/>
                <a:gd name="connsiteX27214" fmla="*/ 1455229 w 3359086"/>
                <a:gd name="connsiteY27214" fmla="*/ 60007 h 3355086"/>
                <a:gd name="connsiteX27215" fmla="*/ 1461420 w 3359086"/>
                <a:gd name="connsiteY27215" fmla="*/ 53816 h 3355086"/>
                <a:gd name="connsiteX27216" fmla="*/ 1622964 w 3359086"/>
                <a:gd name="connsiteY27216" fmla="*/ 53531 h 3355086"/>
                <a:gd name="connsiteX27217" fmla="*/ 1629155 w 3359086"/>
                <a:gd name="connsiteY27217" fmla="*/ 59722 h 3355086"/>
                <a:gd name="connsiteX27218" fmla="*/ 1622964 w 3359086"/>
                <a:gd name="connsiteY27218" fmla="*/ 65913 h 3355086"/>
                <a:gd name="connsiteX27219" fmla="*/ 1616773 w 3359086"/>
                <a:gd name="connsiteY27219" fmla="*/ 59722 h 3355086"/>
                <a:gd name="connsiteX27220" fmla="*/ 1622964 w 3359086"/>
                <a:gd name="connsiteY27220" fmla="*/ 53531 h 3355086"/>
                <a:gd name="connsiteX27221" fmla="*/ 1257394 w 3359086"/>
                <a:gd name="connsiteY27221" fmla="*/ 53531 h 3355086"/>
                <a:gd name="connsiteX27222" fmla="*/ 1263300 w 3359086"/>
                <a:gd name="connsiteY27222" fmla="*/ 59436 h 3355086"/>
                <a:gd name="connsiteX27223" fmla="*/ 1257394 w 3359086"/>
                <a:gd name="connsiteY27223" fmla="*/ 65342 h 3355086"/>
                <a:gd name="connsiteX27224" fmla="*/ 1251489 w 3359086"/>
                <a:gd name="connsiteY27224" fmla="*/ 59436 h 3355086"/>
                <a:gd name="connsiteX27225" fmla="*/ 1257394 w 3359086"/>
                <a:gd name="connsiteY27225" fmla="*/ 53531 h 3355086"/>
                <a:gd name="connsiteX27226" fmla="*/ 2034444 w 3359086"/>
                <a:gd name="connsiteY27226" fmla="*/ 53340 h 3355086"/>
                <a:gd name="connsiteX27227" fmla="*/ 2040636 w 3359086"/>
                <a:gd name="connsiteY27227" fmla="*/ 59531 h 3355086"/>
                <a:gd name="connsiteX27228" fmla="*/ 2034444 w 3359086"/>
                <a:gd name="connsiteY27228" fmla="*/ 65722 h 3355086"/>
                <a:gd name="connsiteX27229" fmla="*/ 2028253 w 3359086"/>
                <a:gd name="connsiteY27229" fmla="*/ 59531 h 3355086"/>
                <a:gd name="connsiteX27230" fmla="*/ 2034444 w 3359086"/>
                <a:gd name="connsiteY27230" fmla="*/ 53340 h 3355086"/>
                <a:gd name="connsiteX27231" fmla="*/ 1441322 w 3359086"/>
                <a:gd name="connsiteY27231" fmla="*/ 52197 h 3355086"/>
                <a:gd name="connsiteX27232" fmla="*/ 1447514 w 3359086"/>
                <a:gd name="connsiteY27232" fmla="*/ 58388 h 3355086"/>
                <a:gd name="connsiteX27233" fmla="*/ 1441322 w 3359086"/>
                <a:gd name="connsiteY27233" fmla="*/ 64580 h 3355086"/>
                <a:gd name="connsiteX27234" fmla="*/ 1435131 w 3359086"/>
                <a:gd name="connsiteY27234" fmla="*/ 58388 h 3355086"/>
                <a:gd name="connsiteX27235" fmla="*/ 1441322 w 3359086"/>
                <a:gd name="connsiteY27235" fmla="*/ 52197 h 3355086"/>
                <a:gd name="connsiteX27236" fmla="*/ 2045969 w 3359086"/>
                <a:gd name="connsiteY27236" fmla="*/ 51721 h 3355086"/>
                <a:gd name="connsiteX27237" fmla="*/ 2052161 w 3359086"/>
                <a:gd name="connsiteY27237" fmla="*/ 57912 h 3355086"/>
                <a:gd name="connsiteX27238" fmla="*/ 2045969 w 3359086"/>
                <a:gd name="connsiteY27238" fmla="*/ 64103 h 3355086"/>
                <a:gd name="connsiteX27239" fmla="*/ 2039778 w 3359086"/>
                <a:gd name="connsiteY27239" fmla="*/ 57912 h 3355086"/>
                <a:gd name="connsiteX27240" fmla="*/ 2045969 w 3359086"/>
                <a:gd name="connsiteY27240" fmla="*/ 51721 h 3355086"/>
                <a:gd name="connsiteX27241" fmla="*/ 1539144 w 3359086"/>
                <a:gd name="connsiteY27241" fmla="*/ 51531 h 3355086"/>
                <a:gd name="connsiteX27242" fmla="*/ 1545336 w 3359086"/>
                <a:gd name="connsiteY27242" fmla="*/ 57722 h 3355086"/>
                <a:gd name="connsiteX27243" fmla="*/ 1539144 w 3359086"/>
                <a:gd name="connsiteY27243" fmla="*/ 63913 h 3355086"/>
                <a:gd name="connsiteX27244" fmla="*/ 1532953 w 3359086"/>
                <a:gd name="connsiteY27244" fmla="*/ 57722 h 3355086"/>
                <a:gd name="connsiteX27245" fmla="*/ 1539144 w 3359086"/>
                <a:gd name="connsiteY27245" fmla="*/ 51531 h 3355086"/>
                <a:gd name="connsiteX27246" fmla="*/ 1845658 w 3359086"/>
                <a:gd name="connsiteY27246" fmla="*/ 51054 h 3355086"/>
                <a:gd name="connsiteX27247" fmla="*/ 1851850 w 3359086"/>
                <a:gd name="connsiteY27247" fmla="*/ 57245 h 3355086"/>
                <a:gd name="connsiteX27248" fmla="*/ 1845658 w 3359086"/>
                <a:gd name="connsiteY27248" fmla="*/ 63437 h 3355086"/>
                <a:gd name="connsiteX27249" fmla="*/ 1839467 w 3359086"/>
                <a:gd name="connsiteY27249" fmla="*/ 57245 h 3355086"/>
                <a:gd name="connsiteX27250" fmla="*/ 1845658 w 3359086"/>
                <a:gd name="connsiteY27250" fmla="*/ 51054 h 3355086"/>
                <a:gd name="connsiteX27251" fmla="*/ 1344929 w 3359086"/>
                <a:gd name="connsiteY27251" fmla="*/ 50483 h 3355086"/>
                <a:gd name="connsiteX27252" fmla="*/ 1351121 w 3359086"/>
                <a:gd name="connsiteY27252" fmla="*/ 56674 h 3355086"/>
                <a:gd name="connsiteX27253" fmla="*/ 1345454 w 3359086"/>
                <a:gd name="connsiteY27253" fmla="*/ 62341 h 3355086"/>
                <a:gd name="connsiteX27254" fmla="*/ 1348264 w 3359086"/>
                <a:gd name="connsiteY27254" fmla="*/ 65151 h 3355086"/>
                <a:gd name="connsiteX27255" fmla="*/ 1342072 w 3359086"/>
                <a:gd name="connsiteY27255" fmla="*/ 71343 h 3355086"/>
                <a:gd name="connsiteX27256" fmla="*/ 1335881 w 3359086"/>
                <a:gd name="connsiteY27256" fmla="*/ 65151 h 3355086"/>
                <a:gd name="connsiteX27257" fmla="*/ 1341548 w 3359086"/>
                <a:gd name="connsiteY27257" fmla="*/ 59484 h 3355086"/>
                <a:gd name="connsiteX27258" fmla="*/ 1338738 w 3359086"/>
                <a:gd name="connsiteY27258" fmla="*/ 56674 h 3355086"/>
                <a:gd name="connsiteX27259" fmla="*/ 1344929 w 3359086"/>
                <a:gd name="connsiteY27259" fmla="*/ 50483 h 3355086"/>
                <a:gd name="connsiteX27260" fmla="*/ 1331880 w 3359086"/>
                <a:gd name="connsiteY27260" fmla="*/ 50006 h 3355086"/>
                <a:gd name="connsiteX27261" fmla="*/ 1338072 w 3359086"/>
                <a:gd name="connsiteY27261" fmla="*/ 56197 h 3355086"/>
                <a:gd name="connsiteX27262" fmla="*/ 1331880 w 3359086"/>
                <a:gd name="connsiteY27262" fmla="*/ 62389 h 3355086"/>
                <a:gd name="connsiteX27263" fmla="*/ 1325689 w 3359086"/>
                <a:gd name="connsiteY27263" fmla="*/ 56197 h 3355086"/>
                <a:gd name="connsiteX27264" fmla="*/ 1331880 w 3359086"/>
                <a:gd name="connsiteY27264" fmla="*/ 50006 h 3355086"/>
                <a:gd name="connsiteX27265" fmla="*/ 1766696 w 3359086"/>
                <a:gd name="connsiteY27265" fmla="*/ 49816 h 3355086"/>
                <a:gd name="connsiteX27266" fmla="*/ 1772888 w 3359086"/>
                <a:gd name="connsiteY27266" fmla="*/ 56007 h 3355086"/>
                <a:gd name="connsiteX27267" fmla="*/ 1766696 w 3359086"/>
                <a:gd name="connsiteY27267" fmla="*/ 62199 h 3355086"/>
                <a:gd name="connsiteX27268" fmla="*/ 1760505 w 3359086"/>
                <a:gd name="connsiteY27268" fmla="*/ 56007 h 3355086"/>
                <a:gd name="connsiteX27269" fmla="*/ 1766696 w 3359086"/>
                <a:gd name="connsiteY27269" fmla="*/ 49816 h 3355086"/>
                <a:gd name="connsiteX27270" fmla="*/ 2057114 w 3359086"/>
                <a:gd name="connsiteY27270" fmla="*/ 49435 h 3355086"/>
                <a:gd name="connsiteX27271" fmla="*/ 2063305 w 3359086"/>
                <a:gd name="connsiteY27271" fmla="*/ 55626 h 3355086"/>
                <a:gd name="connsiteX27272" fmla="*/ 2057114 w 3359086"/>
                <a:gd name="connsiteY27272" fmla="*/ 61818 h 3355086"/>
                <a:gd name="connsiteX27273" fmla="*/ 2050923 w 3359086"/>
                <a:gd name="connsiteY27273" fmla="*/ 55626 h 3355086"/>
                <a:gd name="connsiteX27274" fmla="*/ 2057114 w 3359086"/>
                <a:gd name="connsiteY27274" fmla="*/ 49435 h 3355086"/>
                <a:gd name="connsiteX27275" fmla="*/ 1866518 w 3359086"/>
                <a:gd name="connsiteY27275" fmla="*/ 49244 h 3355086"/>
                <a:gd name="connsiteX27276" fmla="*/ 1872710 w 3359086"/>
                <a:gd name="connsiteY27276" fmla="*/ 55435 h 3355086"/>
                <a:gd name="connsiteX27277" fmla="*/ 1866518 w 3359086"/>
                <a:gd name="connsiteY27277" fmla="*/ 61627 h 3355086"/>
                <a:gd name="connsiteX27278" fmla="*/ 1860327 w 3359086"/>
                <a:gd name="connsiteY27278" fmla="*/ 55435 h 3355086"/>
                <a:gd name="connsiteX27279" fmla="*/ 1866518 w 3359086"/>
                <a:gd name="connsiteY27279" fmla="*/ 49244 h 3355086"/>
                <a:gd name="connsiteX27280" fmla="*/ 1319307 w 3359086"/>
                <a:gd name="connsiteY27280" fmla="*/ 48959 h 3355086"/>
                <a:gd name="connsiteX27281" fmla="*/ 1325499 w 3359086"/>
                <a:gd name="connsiteY27281" fmla="*/ 55150 h 3355086"/>
                <a:gd name="connsiteX27282" fmla="*/ 1319307 w 3359086"/>
                <a:gd name="connsiteY27282" fmla="*/ 61341 h 3355086"/>
                <a:gd name="connsiteX27283" fmla="*/ 1313116 w 3359086"/>
                <a:gd name="connsiteY27283" fmla="*/ 55150 h 3355086"/>
                <a:gd name="connsiteX27284" fmla="*/ 1319307 w 3359086"/>
                <a:gd name="connsiteY27284" fmla="*/ 48959 h 3355086"/>
                <a:gd name="connsiteX27285" fmla="*/ 2078640 w 3359086"/>
                <a:gd name="connsiteY27285" fmla="*/ 48387 h 3355086"/>
                <a:gd name="connsiteX27286" fmla="*/ 2078831 w 3359086"/>
                <a:gd name="connsiteY27286" fmla="*/ 48578 h 3355086"/>
                <a:gd name="connsiteX27287" fmla="*/ 2078640 w 3359086"/>
                <a:gd name="connsiteY27287" fmla="*/ 48768 h 3355086"/>
                <a:gd name="connsiteX27288" fmla="*/ 2078450 w 3359086"/>
                <a:gd name="connsiteY27288" fmla="*/ 48578 h 3355086"/>
                <a:gd name="connsiteX27289" fmla="*/ 2078640 w 3359086"/>
                <a:gd name="connsiteY27289" fmla="*/ 48387 h 3355086"/>
                <a:gd name="connsiteX27290" fmla="*/ 1595913 w 3359086"/>
                <a:gd name="connsiteY27290" fmla="*/ 48387 h 3355086"/>
                <a:gd name="connsiteX27291" fmla="*/ 1602105 w 3359086"/>
                <a:gd name="connsiteY27291" fmla="*/ 54578 h 3355086"/>
                <a:gd name="connsiteX27292" fmla="*/ 1595913 w 3359086"/>
                <a:gd name="connsiteY27292" fmla="*/ 60769 h 3355086"/>
                <a:gd name="connsiteX27293" fmla="*/ 1589722 w 3359086"/>
                <a:gd name="connsiteY27293" fmla="*/ 54578 h 3355086"/>
                <a:gd name="connsiteX27294" fmla="*/ 1595913 w 3359086"/>
                <a:gd name="connsiteY27294" fmla="*/ 48387 h 3355086"/>
                <a:gd name="connsiteX27295" fmla="*/ 1515712 w 3359086"/>
                <a:gd name="connsiteY27295" fmla="*/ 48387 h 3355086"/>
                <a:gd name="connsiteX27296" fmla="*/ 1521904 w 3359086"/>
                <a:gd name="connsiteY27296" fmla="*/ 54578 h 3355086"/>
                <a:gd name="connsiteX27297" fmla="*/ 1515712 w 3359086"/>
                <a:gd name="connsiteY27297" fmla="*/ 60769 h 3355086"/>
                <a:gd name="connsiteX27298" fmla="*/ 1509521 w 3359086"/>
                <a:gd name="connsiteY27298" fmla="*/ 54578 h 3355086"/>
                <a:gd name="connsiteX27299" fmla="*/ 1515712 w 3359086"/>
                <a:gd name="connsiteY27299" fmla="*/ 48387 h 3355086"/>
                <a:gd name="connsiteX27300" fmla="*/ 1886045 w 3359086"/>
                <a:gd name="connsiteY27300" fmla="*/ 48197 h 3355086"/>
                <a:gd name="connsiteX27301" fmla="*/ 1892237 w 3359086"/>
                <a:gd name="connsiteY27301" fmla="*/ 54388 h 3355086"/>
                <a:gd name="connsiteX27302" fmla="*/ 1886045 w 3359086"/>
                <a:gd name="connsiteY27302" fmla="*/ 60579 h 3355086"/>
                <a:gd name="connsiteX27303" fmla="*/ 1879854 w 3359086"/>
                <a:gd name="connsiteY27303" fmla="*/ 54388 h 3355086"/>
                <a:gd name="connsiteX27304" fmla="*/ 1886045 w 3359086"/>
                <a:gd name="connsiteY27304" fmla="*/ 48197 h 3355086"/>
                <a:gd name="connsiteX27305" fmla="*/ 1284160 w 3359086"/>
                <a:gd name="connsiteY27305" fmla="*/ 47530 h 3355086"/>
                <a:gd name="connsiteX27306" fmla="*/ 1285018 w 3359086"/>
                <a:gd name="connsiteY27306" fmla="*/ 48387 h 3355086"/>
                <a:gd name="connsiteX27307" fmla="*/ 1284160 w 3359086"/>
                <a:gd name="connsiteY27307" fmla="*/ 49244 h 3355086"/>
                <a:gd name="connsiteX27308" fmla="*/ 1283303 w 3359086"/>
                <a:gd name="connsiteY27308" fmla="*/ 48387 h 3355086"/>
                <a:gd name="connsiteX27309" fmla="*/ 1284160 w 3359086"/>
                <a:gd name="connsiteY27309" fmla="*/ 47530 h 3355086"/>
                <a:gd name="connsiteX27310" fmla="*/ 1307210 w 3359086"/>
                <a:gd name="connsiteY27310" fmla="*/ 47435 h 3355086"/>
                <a:gd name="connsiteX27311" fmla="*/ 1313402 w 3359086"/>
                <a:gd name="connsiteY27311" fmla="*/ 53626 h 3355086"/>
                <a:gd name="connsiteX27312" fmla="*/ 1307210 w 3359086"/>
                <a:gd name="connsiteY27312" fmla="*/ 59818 h 3355086"/>
                <a:gd name="connsiteX27313" fmla="*/ 1301019 w 3359086"/>
                <a:gd name="connsiteY27313" fmla="*/ 53626 h 3355086"/>
                <a:gd name="connsiteX27314" fmla="*/ 1307210 w 3359086"/>
                <a:gd name="connsiteY27314" fmla="*/ 47435 h 3355086"/>
                <a:gd name="connsiteX27315" fmla="*/ 2067972 w 3359086"/>
                <a:gd name="connsiteY27315" fmla="*/ 46387 h 3355086"/>
                <a:gd name="connsiteX27316" fmla="*/ 2074163 w 3359086"/>
                <a:gd name="connsiteY27316" fmla="*/ 52578 h 3355086"/>
                <a:gd name="connsiteX27317" fmla="*/ 2067972 w 3359086"/>
                <a:gd name="connsiteY27317" fmla="*/ 58769 h 3355086"/>
                <a:gd name="connsiteX27318" fmla="*/ 2061781 w 3359086"/>
                <a:gd name="connsiteY27318" fmla="*/ 52578 h 3355086"/>
                <a:gd name="connsiteX27319" fmla="*/ 2067972 w 3359086"/>
                <a:gd name="connsiteY27319" fmla="*/ 46387 h 3355086"/>
                <a:gd name="connsiteX27320" fmla="*/ 1980914 w 3359086"/>
                <a:gd name="connsiteY27320" fmla="*/ 46387 h 3355086"/>
                <a:gd name="connsiteX27321" fmla="*/ 1987105 w 3359086"/>
                <a:gd name="connsiteY27321" fmla="*/ 52578 h 3355086"/>
                <a:gd name="connsiteX27322" fmla="*/ 1983819 w 3359086"/>
                <a:gd name="connsiteY27322" fmla="*/ 55865 h 3355086"/>
                <a:gd name="connsiteX27323" fmla="*/ 1989296 w 3359086"/>
                <a:gd name="connsiteY27323" fmla="*/ 61341 h 3355086"/>
                <a:gd name="connsiteX27324" fmla="*/ 1986390 w 3359086"/>
                <a:gd name="connsiteY27324" fmla="*/ 64246 h 3355086"/>
                <a:gd name="connsiteX27325" fmla="*/ 1992153 w 3359086"/>
                <a:gd name="connsiteY27325" fmla="*/ 70009 h 3355086"/>
                <a:gd name="connsiteX27326" fmla="*/ 1985962 w 3359086"/>
                <a:gd name="connsiteY27326" fmla="*/ 76200 h 3355086"/>
                <a:gd name="connsiteX27327" fmla="*/ 1979771 w 3359086"/>
                <a:gd name="connsiteY27327" fmla="*/ 70009 h 3355086"/>
                <a:gd name="connsiteX27328" fmla="*/ 1982676 w 3359086"/>
                <a:gd name="connsiteY27328" fmla="*/ 67104 h 3355086"/>
                <a:gd name="connsiteX27329" fmla="*/ 1976913 w 3359086"/>
                <a:gd name="connsiteY27329" fmla="*/ 61341 h 3355086"/>
                <a:gd name="connsiteX27330" fmla="*/ 1980200 w 3359086"/>
                <a:gd name="connsiteY27330" fmla="*/ 58055 h 3355086"/>
                <a:gd name="connsiteX27331" fmla="*/ 1974723 w 3359086"/>
                <a:gd name="connsiteY27331" fmla="*/ 52578 h 3355086"/>
                <a:gd name="connsiteX27332" fmla="*/ 1980914 w 3359086"/>
                <a:gd name="connsiteY27332" fmla="*/ 46387 h 3355086"/>
                <a:gd name="connsiteX27333" fmla="*/ 1791080 w 3359086"/>
                <a:gd name="connsiteY27333" fmla="*/ 46387 h 3355086"/>
                <a:gd name="connsiteX27334" fmla="*/ 1797272 w 3359086"/>
                <a:gd name="connsiteY27334" fmla="*/ 52578 h 3355086"/>
                <a:gd name="connsiteX27335" fmla="*/ 1791080 w 3359086"/>
                <a:gd name="connsiteY27335" fmla="*/ 58769 h 3355086"/>
                <a:gd name="connsiteX27336" fmla="*/ 1784889 w 3359086"/>
                <a:gd name="connsiteY27336" fmla="*/ 52578 h 3355086"/>
                <a:gd name="connsiteX27337" fmla="*/ 1791080 w 3359086"/>
                <a:gd name="connsiteY27337" fmla="*/ 46387 h 3355086"/>
                <a:gd name="connsiteX27338" fmla="*/ 1493805 w 3359086"/>
                <a:gd name="connsiteY27338" fmla="*/ 46292 h 3355086"/>
                <a:gd name="connsiteX27339" fmla="*/ 1499997 w 3359086"/>
                <a:gd name="connsiteY27339" fmla="*/ 52483 h 3355086"/>
                <a:gd name="connsiteX27340" fmla="*/ 1493805 w 3359086"/>
                <a:gd name="connsiteY27340" fmla="*/ 58675 h 3355086"/>
                <a:gd name="connsiteX27341" fmla="*/ 1487614 w 3359086"/>
                <a:gd name="connsiteY27341" fmla="*/ 52483 h 3355086"/>
                <a:gd name="connsiteX27342" fmla="*/ 1493805 w 3359086"/>
                <a:gd name="connsiteY27342" fmla="*/ 46292 h 3355086"/>
                <a:gd name="connsiteX27343" fmla="*/ 1994058 w 3359086"/>
                <a:gd name="connsiteY27343" fmla="*/ 45435 h 3355086"/>
                <a:gd name="connsiteX27344" fmla="*/ 2000250 w 3359086"/>
                <a:gd name="connsiteY27344" fmla="*/ 51626 h 3355086"/>
                <a:gd name="connsiteX27345" fmla="*/ 1994058 w 3359086"/>
                <a:gd name="connsiteY27345" fmla="*/ 57817 h 3355086"/>
                <a:gd name="connsiteX27346" fmla="*/ 1987867 w 3359086"/>
                <a:gd name="connsiteY27346" fmla="*/ 51626 h 3355086"/>
                <a:gd name="connsiteX27347" fmla="*/ 1994058 w 3359086"/>
                <a:gd name="connsiteY27347" fmla="*/ 45435 h 3355086"/>
                <a:gd name="connsiteX27348" fmla="*/ 1295495 w 3359086"/>
                <a:gd name="connsiteY27348" fmla="*/ 45149 h 3355086"/>
                <a:gd name="connsiteX27349" fmla="*/ 1301687 w 3359086"/>
                <a:gd name="connsiteY27349" fmla="*/ 51340 h 3355086"/>
                <a:gd name="connsiteX27350" fmla="*/ 1295495 w 3359086"/>
                <a:gd name="connsiteY27350" fmla="*/ 57532 h 3355086"/>
                <a:gd name="connsiteX27351" fmla="*/ 1289304 w 3359086"/>
                <a:gd name="connsiteY27351" fmla="*/ 51340 h 3355086"/>
                <a:gd name="connsiteX27352" fmla="*/ 1295495 w 3359086"/>
                <a:gd name="connsiteY27352" fmla="*/ 45149 h 3355086"/>
                <a:gd name="connsiteX27353" fmla="*/ 1473326 w 3359086"/>
                <a:gd name="connsiteY27353" fmla="*/ 44958 h 3355086"/>
                <a:gd name="connsiteX27354" fmla="*/ 1479518 w 3359086"/>
                <a:gd name="connsiteY27354" fmla="*/ 51149 h 3355086"/>
                <a:gd name="connsiteX27355" fmla="*/ 1473326 w 3359086"/>
                <a:gd name="connsiteY27355" fmla="*/ 57341 h 3355086"/>
                <a:gd name="connsiteX27356" fmla="*/ 1467135 w 3359086"/>
                <a:gd name="connsiteY27356" fmla="*/ 51149 h 3355086"/>
                <a:gd name="connsiteX27357" fmla="*/ 1473326 w 3359086"/>
                <a:gd name="connsiteY27357" fmla="*/ 44958 h 3355086"/>
                <a:gd name="connsiteX27358" fmla="*/ 1570577 w 3359086"/>
                <a:gd name="connsiteY27358" fmla="*/ 44577 h 3355086"/>
                <a:gd name="connsiteX27359" fmla="*/ 1576768 w 3359086"/>
                <a:gd name="connsiteY27359" fmla="*/ 50768 h 3355086"/>
                <a:gd name="connsiteX27360" fmla="*/ 1570577 w 3359086"/>
                <a:gd name="connsiteY27360" fmla="*/ 56959 h 3355086"/>
                <a:gd name="connsiteX27361" fmla="*/ 1564386 w 3359086"/>
                <a:gd name="connsiteY27361" fmla="*/ 50768 h 3355086"/>
                <a:gd name="connsiteX27362" fmla="*/ 1570577 w 3359086"/>
                <a:gd name="connsiteY27362" fmla="*/ 44577 h 3355086"/>
                <a:gd name="connsiteX27363" fmla="*/ 1454181 w 3359086"/>
                <a:gd name="connsiteY27363" fmla="*/ 44101 h 3355086"/>
                <a:gd name="connsiteX27364" fmla="*/ 1460373 w 3359086"/>
                <a:gd name="connsiteY27364" fmla="*/ 50292 h 3355086"/>
                <a:gd name="connsiteX27365" fmla="*/ 1454181 w 3359086"/>
                <a:gd name="connsiteY27365" fmla="*/ 56484 h 3355086"/>
                <a:gd name="connsiteX27366" fmla="*/ 1447990 w 3359086"/>
                <a:gd name="connsiteY27366" fmla="*/ 50292 h 3355086"/>
                <a:gd name="connsiteX27367" fmla="*/ 1454181 w 3359086"/>
                <a:gd name="connsiteY27367" fmla="*/ 44101 h 3355086"/>
                <a:gd name="connsiteX27368" fmla="*/ 1813750 w 3359086"/>
                <a:gd name="connsiteY27368" fmla="*/ 44006 h 3355086"/>
                <a:gd name="connsiteX27369" fmla="*/ 1819942 w 3359086"/>
                <a:gd name="connsiteY27369" fmla="*/ 50197 h 3355086"/>
                <a:gd name="connsiteX27370" fmla="*/ 1813750 w 3359086"/>
                <a:gd name="connsiteY27370" fmla="*/ 56388 h 3355086"/>
                <a:gd name="connsiteX27371" fmla="*/ 1807559 w 3359086"/>
                <a:gd name="connsiteY27371" fmla="*/ 50197 h 3355086"/>
                <a:gd name="connsiteX27372" fmla="*/ 1813750 w 3359086"/>
                <a:gd name="connsiteY27372" fmla="*/ 44006 h 3355086"/>
                <a:gd name="connsiteX27373" fmla="*/ 2006631 w 3359086"/>
                <a:gd name="connsiteY27373" fmla="*/ 43910 h 3355086"/>
                <a:gd name="connsiteX27374" fmla="*/ 2012823 w 3359086"/>
                <a:gd name="connsiteY27374" fmla="*/ 50101 h 3355086"/>
                <a:gd name="connsiteX27375" fmla="*/ 2006631 w 3359086"/>
                <a:gd name="connsiteY27375" fmla="*/ 56293 h 3355086"/>
                <a:gd name="connsiteX27376" fmla="*/ 2000440 w 3359086"/>
                <a:gd name="connsiteY27376" fmla="*/ 50101 h 3355086"/>
                <a:gd name="connsiteX27377" fmla="*/ 2006631 w 3359086"/>
                <a:gd name="connsiteY27377" fmla="*/ 43910 h 3355086"/>
                <a:gd name="connsiteX27378" fmla="*/ 1835086 w 3359086"/>
                <a:gd name="connsiteY27378" fmla="*/ 42482 h 3355086"/>
                <a:gd name="connsiteX27379" fmla="*/ 1841278 w 3359086"/>
                <a:gd name="connsiteY27379" fmla="*/ 48673 h 3355086"/>
                <a:gd name="connsiteX27380" fmla="*/ 1835086 w 3359086"/>
                <a:gd name="connsiteY27380" fmla="*/ 54865 h 3355086"/>
                <a:gd name="connsiteX27381" fmla="*/ 1828895 w 3359086"/>
                <a:gd name="connsiteY27381" fmla="*/ 48673 h 3355086"/>
                <a:gd name="connsiteX27382" fmla="*/ 1835086 w 3359086"/>
                <a:gd name="connsiteY27382" fmla="*/ 42482 h 3355086"/>
                <a:gd name="connsiteX27383" fmla="*/ 1546764 w 3359086"/>
                <a:gd name="connsiteY27383" fmla="*/ 41815 h 3355086"/>
                <a:gd name="connsiteX27384" fmla="*/ 1552955 w 3359086"/>
                <a:gd name="connsiteY27384" fmla="*/ 48006 h 3355086"/>
                <a:gd name="connsiteX27385" fmla="*/ 1546764 w 3359086"/>
                <a:gd name="connsiteY27385" fmla="*/ 54197 h 3355086"/>
                <a:gd name="connsiteX27386" fmla="*/ 1540573 w 3359086"/>
                <a:gd name="connsiteY27386" fmla="*/ 48006 h 3355086"/>
                <a:gd name="connsiteX27387" fmla="*/ 1546764 w 3359086"/>
                <a:gd name="connsiteY27387" fmla="*/ 41815 h 3355086"/>
                <a:gd name="connsiteX27388" fmla="*/ 2018728 w 3359086"/>
                <a:gd name="connsiteY27388" fmla="*/ 41720 h 3355086"/>
                <a:gd name="connsiteX27389" fmla="*/ 2024920 w 3359086"/>
                <a:gd name="connsiteY27389" fmla="*/ 47911 h 3355086"/>
                <a:gd name="connsiteX27390" fmla="*/ 2018728 w 3359086"/>
                <a:gd name="connsiteY27390" fmla="*/ 54103 h 3355086"/>
                <a:gd name="connsiteX27391" fmla="*/ 2012537 w 3359086"/>
                <a:gd name="connsiteY27391" fmla="*/ 47911 h 3355086"/>
                <a:gd name="connsiteX27392" fmla="*/ 2018728 w 3359086"/>
                <a:gd name="connsiteY27392" fmla="*/ 41720 h 3355086"/>
                <a:gd name="connsiteX27393" fmla="*/ 1359979 w 3359086"/>
                <a:gd name="connsiteY27393" fmla="*/ 41529 h 3355086"/>
                <a:gd name="connsiteX27394" fmla="*/ 1366170 w 3359086"/>
                <a:gd name="connsiteY27394" fmla="*/ 47720 h 3355086"/>
                <a:gd name="connsiteX27395" fmla="*/ 1360932 w 3359086"/>
                <a:gd name="connsiteY27395" fmla="*/ 52959 h 3355086"/>
                <a:gd name="connsiteX27396" fmla="*/ 1364933 w 3359086"/>
                <a:gd name="connsiteY27396" fmla="*/ 56960 h 3355086"/>
                <a:gd name="connsiteX27397" fmla="*/ 1359884 w 3359086"/>
                <a:gd name="connsiteY27397" fmla="*/ 62008 h 3355086"/>
                <a:gd name="connsiteX27398" fmla="*/ 1363028 w 3359086"/>
                <a:gd name="connsiteY27398" fmla="*/ 65151 h 3355086"/>
                <a:gd name="connsiteX27399" fmla="*/ 1356836 w 3359086"/>
                <a:gd name="connsiteY27399" fmla="*/ 71343 h 3355086"/>
                <a:gd name="connsiteX27400" fmla="*/ 1350645 w 3359086"/>
                <a:gd name="connsiteY27400" fmla="*/ 65151 h 3355086"/>
                <a:gd name="connsiteX27401" fmla="*/ 1355693 w 3359086"/>
                <a:gd name="connsiteY27401" fmla="*/ 60103 h 3355086"/>
                <a:gd name="connsiteX27402" fmla="*/ 1352550 w 3359086"/>
                <a:gd name="connsiteY27402" fmla="*/ 56960 h 3355086"/>
                <a:gd name="connsiteX27403" fmla="*/ 1357789 w 3359086"/>
                <a:gd name="connsiteY27403" fmla="*/ 51721 h 3355086"/>
                <a:gd name="connsiteX27404" fmla="*/ 1353788 w 3359086"/>
                <a:gd name="connsiteY27404" fmla="*/ 47720 h 3355086"/>
                <a:gd name="connsiteX27405" fmla="*/ 1359979 w 3359086"/>
                <a:gd name="connsiteY27405" fmla="*/ 41529 h 3355086"/>
                <a:gd name="connsiteX27406" fmla="*/ 1855088 w 3359086"/>
                <a:gd name="connsiteY27406" fmla="*/ 41434 h 3355086"/>
                <a:gd name="connsiteX27407" fmla="*/ 1861280 w 3359086"/>
                <a:gd name="connsiteY27407" fmla="*/ 47625 h 3355086"/>
                <a:gd name="connsiteX27408" fmla="*/ 1855088 w 3359086"/>
                <a:gd name="connsiteY27408" fmla="*/ 53816 h 3355086"/>
                <a:gd name="connsiteX27409" fmla="*/ 1848897 w 3359086"/>
                <a:gd name="connsiteY27409" fmla="*/ 47625 h 3355086"/>
                <a:gd name="connsiteX27410" fmla="*/ 1855088 w 3359086"/>
                <a:gd name="connsiteY27410" fmla="*/ 41434 h 3355086"/>
                <a:gd name="connsiteX27411" fmla="*/ 1873757 w 3359086"/>
                <a:gd name="connsiteY27411" fmla="*/ 40958 h 3355086"/>
                <a:gd name="connsiteX27412" fmla="*/ 1879948 w 3359086"/>
                <a:gd name="connsiteY27412" fmla="*/ 47149 h 3355086"/>
                <a:gd name="connsiteX27413" fmla="*/ 1873757 w 3359086"/>
                <a:gd name="connsiteY27413" fmla="*/ 53341 h 3355086"/>
                <a:gd name="connsiteX27414" fmla="*/ 1867566 w 3359086"/>
                <a:gd name="connsiteY27414" fmla="*/ 47149 h 3355086"/>
                <a:gd name="connsiteX27415" fmla="*/ 1873757 w 3359086"/>
                <a:gd name="connsiteY27415" fmla="*/ 40958 h 3355086"/>
                <a:gd name="connsiteX27416" fmla="*/ 2041969 w 3359086"/>
                <a:gd name="connsiteY27416" fmla="*/ 40196 h 3355086"/>
                <a:gd name="connsiteX27417" fmla="*/ 2043017 w 3359086"/>
                <a:gd name="connsiteY27417" fmla="*/ 41244 h 3355086"/>
                <a:gd name="connsiteX27418" fmla="*/ 2041969 w 3359086"/>
                <a:gd name="connsiteY27418" fmla="*/ 42291 h 3355086"/>
                <a:gd name="connsiteX27419" fmla="*/ 2040921 w 3359086"/>
                <a:gd name="connsiteY27419" fmla="*/ 41244 h 3355086"/>
                <a:gd name="connsiteX27420" fmla="*/ 2041969 w 3359086"/>
                <a:gd name="connsiteY27420" fmla="*/ 40196 h 3355086"/>
                <a:gd name="connsiteX27421" fmla="*/ 1524571 w 3359086"/>
                <a:gd name="connsiteY27421" fmla="*/ 40005 h 3355086"/>
                <a:gd name="connsiteX27422" fmla="*/ 1530763 w 3359086"/>
                <a:gd name="connsiteY27422" fmla="*/ 46196 h 3355086"/>
                <a:gd name="connsiteX27423" fmla="*/ 1524571 w 3359086"/>
                <a:gd name="connsiteY27423" fmla="*/ 52387 h 3355086"/>
                <a:gd name="connsiteX27424" fmla="*/ 1518380 w 3359086"/>
                <a:gd name="connsiteY27424" fmla="*/ 46196 h 3355086"/>
                <a:gd name="connsiteX27425" fmla="*/ 1524571 w 3359086"/>
                <a:gd name="connsiteY27425" fmla="*/ 40005 h 3355086"/>
                <a:gd name="connsiteX27426" fmla="*/ 1346834 w 3359086"/>
                <a:gd name="connsiteY27426" fmla="*/ 40005 h 3355086"/>
                <a:gd name="connsiteX27427" fmla="*/ 1353026 w 3359086"/>
                <a:gd name="connsiteY27427" fmla="*/ 46196 h 3355086"/>
                <a:gd name="connsiteX27428" fmla="*/ 1346834 w 3359086"/>
                <a:gd name="connsiteY27428" fmla="*/ 52387 h 3355086"/>
                <a:gd name="connsiteX27429" fmla="*/ 1340643 w 3359086"/>
                <a:gd name="connsiteY27429" fmla="*/ 46196 h 3355086"/>
                <a:gd name="connsiteX27430" fmla="*/ 1346834 w 3359086"/>
                <a:gd name="connsiteY27430" fmla="*/ 40005 h 3355086"/>
                <a:gd name="connsiteX27431" fmla="*/ 1938813 w 3359086"/>
                <a:gd name="connsiteY27431" fmla="*/ 39338 h 3355086"/>
                <a:gd name="connsiteX27432" fmla="*/ 1945005 w 3359086"/>
                <a:gd name="connsiteY27432" fmla="*/ 45529 h 3355086"/>
                <a:gd name="connsiteX27433" fmla="*/ 1940433 w 3359086"/>
                <a:gd name="connsiteY27433" fmla="*/ 50101 h 3355086"/>
                <a:gd name="connsiteX27434" fmla="*/ 1943767 w 3359086"/>
                <a:gd name="connsiteY27434" fmla="*/ 53435 h 3355086"/>
                <a:gd name="connsiteX27435" fmla="*/ 1939099 w 3359086"/>
                <a:gd name="connsiteY27435" fmla="*/ 58103 h 3355086"/>
                <a:gd name="connsiteX27436" fmla="*/ 1942528 w 3359086"/>
                <a:gd name="connsiteY27436" fmla="*/ 61532 h 3355086"/>
                <a:gd name="connsiteX27437" fmla="*/ 1936336 w 3359086"/>
                <a:gd name="connsiteY27437" fmla="*/ 67723 h 3355086"/>
                <a:gd name="connsiteX27438" fmla="*/ 1930145 w 3359086"/>
                <a:gd name="connsiteY27438" fmla="*/ 61532 h 3355086"/>
                <a:gd name="connsiteX27439" fmla="*/ 1934813 w 3359086"/>
                <a:gd name="connsiteY27439" fmla="*/ 56864 h 3355086"/>
                <a:gd name="connsiteX27440" fmla="*/ 1931384 w 3359086"/>
                <a:gd name="connsiteY27440" fmla="*/ 53435 h 3355086"/>
                <a:gd name="connsiteX27441" fmla="*/ 1935956 w 3359086"/>
                <a:gd name="connsiteY27441" fmla="*/ 48863 h 3355086"/>
                <a:gd name="connsiteX27442" fmla="*/ 1932622 w 3359086"/>
                <a:gd name="connsiteY27442" fmla="*/ 45529 h 3355086"/>
                <a:gd name="connsiteX27443" fmla="*/ 1938813 w 3359086"/>
                <a:gd name="connsiteY27443" fmla="*/ 39338 h 3355086"/>
                <a:gd name="connsiteX27444" fmla="*/ 2030539 w 3359086"/>
                <a:gd name="connsiteY27444" fmla="*/ 38767 h 3355086"/>
                <a:gd name="connsiteX27445" fmla="*/ 2036731 w 3359086"/>
                <a:gd name="connsiteY27445" fmla="*/ 44958 h 3355086"/>
                <a:gd name="connsiteX27446" fmla="*/ 2030539 w 3359086"/>
                <a:gd name="connsiteY27446" fmla="*/ 51150 h 3355086"/>
                <a:gd name="connsiteX27447" fmla="*/ 2024348 w 3359086"/>
                <a:gd name="connsiteY27447" fmla="*/ 44958 h 3355086"/>
                <a:gd name="connsiteX27448" fmla="*/ 2030539 w 3359086"/>
                <a:gd name="connsiteY27448" fmla="*/ 38767 h 3355086"/>
                <a:gd name="connsiteX27449" fmla="*/ 1503711 w 3359086"/>
                <a:gd name="connsiteY27449" fmla="*/ 38767 h 3355086"/>
                <a:gd name="connsiteX27450" fmla="*/ 1509903 w 3359086"/>
                <a:gd name="connsiteY27450" fmla="*/ 44958 h 3355086"/>
                <a:gd name="connsiteX27451" fmla="*/ 1503711 w 3359086"/>
                <a:gd name="connsiteY27451" fmla="*/ 51150 h 3355086"/>
                <a:gd name="connsiteX27452" fmla="*/ 1497520 w 3359086"/>
                <a:gd name="connsiteY27452" fmla="*/ 44958 h 3355086"/>
                <a:gd name="connsiteX27453" fmla="*/ 1503711 w 3359086"/>
                <a:gd name="connsiteY27453" fmla="*/ 38767 h 3355086"/>
                <a:gd name="connsiteX27454" fmla="*/ 1321879 w 3359086"/>
                <a:gd name="connsiteY27454" fmla="*/ 38577 h 3355086"/>
                <a:gd name="connsiteX27455" fmla="*/ 1324451 w 3359086"/>
                <a:gd name="connsiteY27455" fmla="*/ 41149 h 3355086"/>
                <a:gd name="connsiteX27456" fmla="*/ 1321879 w 3359086"/>
                <a:gd name="connsiteY27456" fmla="*/ 43720 h 3355086"/>
                <a:gd name="connsiteX27457" fmla="*/ 1319307 w 3359086"/>
                <a:gd name="connsiteY27457" fmla="*/ 41149 h 3355086"/>
                <a:gd name="connsiteX27458" fmla="*/ 1321879 w 3359086"/>
                <a:gd name="connsiteY27458" fmla="*/ 38577 h 3355086"/>
                <a:gd name="connsiteX27459" fmla="*/ 1953100 w 3359086"/>
                <a:gd name="connsiteY27459" fmla="*/ 38291 h 3355086"/>
                <a:gd name="connsiteX27460" fmla="*/ 1959292 w 3359086"/>
                <a:gd name="connsiteY27460" fmla="*/ 44482 h 3355086"/>
                <a:gd name="connsiteX27461" fmla="*/ 1954720 w 3359086"/>
                <a:gd name="connsiteY27461" fmla="*/ 49054 h 3355086"/>
                <a:gd name="connsiteX27462" fmla="*/ 1959007 w 3359086"/>
                <a:gd name="connsiteY27462" fmla="*/ 53340 h 3355086"/>
                <a:gd name="connsiteX27463" fmla="*/ 1955101 w 3359086"/>
                <a:gd name="connsiteY27463" fmla="*/ 57246 h 3355086"/>
                <a:gd name="connsiteX27464" fmla="*/ 1959101 w 3359086"/>
                <a:gd name="connsiteY27464" fmla="*/ 61246 h 3355086"/>
                <a:gd name="connsiteX27465" fmla="*/ 1953958 w 3359086"/>
                <a:gd name="connsiteY27465" fmla="*/ 66390 h 3355086"/>
                <a:gd name="connsiteX27466" fmla="*/ 1959101 w 3359086"/>
                <a:gd name="connsiteY27466" fmla="*/ 71533 h 3355086"/>
                <a:gd name="connsiteX27467" fmla="*/ 1952910 w 3359086"/>
                <a:gd name="connsiteY27467" fmla="*/ 77724 h 3355086"/>
                <a:gd name="connsiteX27468" fmla="*/ 1946719 w 3359086"/>
                <a:gd name="connsiteY27468" fmla="*/ 71533 h 3355086"/>
                <a:gd name="connsiteX27469" fmla="*/ 1951862 w 3359086"/>
                <a:gd name="connsiteY27469" fmla="*/ 66390 h 3355086"/>
                <a:gd name="connsiteX27470" fmla="*/ 1946719 w 3359086"/>
                <a:gd name="connsiteY27470" fmla="*/ 61246 h 3355086"/>
                <a:gd name="connsiteX27471" fmla="*/ 1950625 w 3359086"/>
                <a:gd name="connsiteY27471" fmla="*/ 57341 h 3355086"/>
                <a:gd name="connsiteX27472" fmla="*/ 1946624 w 3359086"/>
                <a:gd name="connsiteY27472" fmla="*/ 53340 h 3355086"/>
                <a:gd name="connsiteX27473" fmla="*/ 1951196 w 3359086"/>
                <a:gd name="connsiteY27473" fmla="*/ 48769 h 3355086"/>
                <a:gd name="connsiteX27474" fmla="*/ 1946909 w 3359086"/>
                <a:gd name="connsiteY27474" fmla="*/ 44482 h 3355086"/>
                <a:gd name="connsiteX27475" fmla="*/ 1953100 w 3359086"/>
                <a:gd name="connsiteY27475" fmla="*/ 38291 h 3355086"/>
                <a:gd name="connsiteX27476" fmla="*/ 1783651 w 3359086"/>
                <a:gd name="connsiteY27476" fmla="*/ 38196 h 3355086"/>
                <a:gd name="connsiteX27477" fmla="*/ 1789843 w 3359086"/>
                <a:gd name="connsiteY27477" fmla="*/ 44387 h 3355086"/>
                <a:gd name="connsiteX27478" fmla="*/ 1783651 w 3359086"/>
                <a:gd name="connsiteY27478" fmla="*/ 50579 h 3355086"/>
                <a:gd name="connsiteX27479" fmla="*/ 1777460 w 3359086"/>
                <a:gd name="connsiteY27479" fmla="*/ 44387 h 3355086"/>
                <a:gd name="connsiteX27480" fmla="*/ 1783651 w 3359086"/>
                <a:gd name="connsiteY27480" fmla="*/ 38196 h 3355086"/>
                <a:gd name="connsiteX27481" fmla="*/ 1484090 w 3359086"/>
                <a:gd name="connsiteY27481" fmla="*/ 38005 h 3355086"/>
                <a:gd name="connsiteX27482" fmla="*/ 1490282 w 3359086"/>
                <a:gd name="connsiteY27482" fmla="*/ 44196 h 3355086"/>
                <a:gd name="connsiteX27483" fmla="*/ 1484090 w 3359086"/>
                <a:gd name="connsiteY27483" fmla="*/ 50388 h 3355086"/>
                <a:gd name="connsiteX27484" fmla="*/ 1477899 w 3359086"/>
                <a:gd name="connsiteY27484" fmla="*/ 44196 h 3355086"/>
                <a:gd name="connsiteX27485" fmla="*/ 1484090 w 3359086"/>
                <a:gd name="connsiteY27485" fmla="*/ 38005 h 3355086"/>
                <a:gd name="connsiteX27486" fmla="*/ 1334166 w 3359086"/>
                <a:gd name="connsiteY27486" fmla="*/ 37815 h 3355086"/>
                <a:gd name="connsiteX27487" fmla="*/ 1340358 w 3359086"/>
                <a:gd name="connsiteY27487" fmla="*/ 44006 h 3355086"/>
                <a:gd name="connsiteX27488" fmla="*/ 1334166 w 3359086"/>
                <a:gd name="connsiteY27488" fmla="*/ 50198 h 3355086"/>
                <a:gd name="connsiteX27489" fmla="*/ 1327975 w 3359086"/>
                <a:gd name="connsiteY27489" fmla="*/ 44006 h 3355086"/>
                <a:gd name="connsiteX27490" fmla="*/ 1334166 w 3359086"/>
                <a:gd name="connsiteY27490" fmla="*/ 37815 h 3355086"/>
                <a:gd name="connsiteX27491" fmla="*/ 1465706 w 3359086"/>
                <a:gd name="connsiteY27491" fmla="*/ 37529 h 3355086"/>
                <a:gd name="connsiteX27492" fmla="*/ 1471898 w 3359086"/>
                <a:gd name="connsiteY27492" fmla="*/ 43720 h 3355086"/>
                <a:gd name="connsiteX27493" fmla="*/ 1465706 w 3359086"/>
                <a:gd name="connsiteY27493" fmla="*/ 49912 h 3355086"/>
                <a:gd name="connsiteX27494" fmla="*/ 1459515 w 3359086"/>
                <a:gd name="connsiteY27494" fmla="*/ 43720 h 3355086"/>
                <a:gd name="connsiteX27495" fmla="*/ 1465706 w 3359086"/>
                <a:gd name="connsiteY27495" fmla="*/ 37529 h 3355086"/>
                <a:gd name="connsiteX27496" fmla="*/ 1448275 w 3359086"/>
                <a:gd name="connsiteY27496" fmla="*/ 37053 h 3355086"/>
                <a:gd name="connsiteX27497" fmla="*/ 1454467 w 3359086"/>
                <a:gd name="connsiteY27497" fmla="*/ 43244 h 3355086"/>
                <a:gd name="connsiteX27498" fmla="*/ 1448275 w 3359086"/>
                <a:gd name="connsiteY27498" fmla="*/ 49435 h 3355086"/>
                <a:gd name="connsiteX27499" fmla="*/ 1442084 w 3359086"/>
                <a:gd name="connsiteY27499" fmla="*/ 43244 h 3355086"/>
                <a:gd name="connsiteX27500" fmla="*/ 1448275 w 3359086"/>
                <a:gd name="connsiteY27500" fmla="*/ 37053 h 3355086"/>
                <a:gd name="connsiteX27501" fmla="*/ 1966721 w 3359086"/>
                <a:gd name="connsiteY27501" fmla="*/ 36767 h 3355086"/>
                <a:gd name="connsiteX27502" fmla="*/ 1972913 w 3359086"/>
                <a:gd name="connsiteY27502" fmla="*/ 42958 h 3355086"/>
                <a:gd name="connsiteX27503" fmla="*/ 1968055 w 3359086"/>
                <a:gd name="connsiteY27503" fmla="*/ 47816 h 3355086"/>
                <a:gd name="connsiteX27504" fmla="*/ 1973389 w 3359086"/>
                <a:gd name="connsiteY27504" fmla="*/ 53150 h 3355086"/>
                <a:gd name="connsiteX27505" fmla="*/ 1970008 w 3359086"/>
                <a:gd name="connsiteY27505" fmla="*/ 56532 h 3355086"/>
                <a:gd name="connsiteX27506" fmla="*/ 1974723 w 3359086"/>
                <a:gd name="connsiteY27506" fmla="*/ 61246 h 3355086"/>
                <a:gd name="connsiteX27507" fmla="*/ 1970865 w 3359086"/>
                <a:gd name="connsiteY27507" fmla="*/ 65104 h 3355086"/>
                <a:gd name="connsiteX27508" fmla="*/ 1976247 w 3359086"/>
                <a:gd name="connsiteY27508" fmla="*/ 70485 h 3355086"/>
                <a:gd name="connsiteX27509" fmla="*/ 1970055 w 3359086"/>
                <a:gd name="connsiteY27509" fmla="*/ 76677 h 3355086"/>
                <a:gd name="connsiteX27510" fmla="*/ 1963864 w 3359086"/>
                <a:gd name="connsiteY27510" fmla="*/ 70485 h 3355086"/>
                <a:gd name="connsiteX27511" fmla="*/ 1967721 w 3359086"/>
                <a:gd name="connsiteY27511" fmla="*/ 66628 h 3355086"/>
                <a:gd name="connsiteX27512" fmla="*/ 1962340 w 3359086"/>
                <a:gd name="connsiteY27512" fmla="*/ 61246 h 3355086"/>
                <a:gd name="connsiteX27513" fmla="*/ 1965721 w 3359086"/>
                <a:gd name="connsiteY27513" fmla="*/ 57865 h 3355086"/>
                <a:gd name="connsiteX27514" fmla="*/ 1961007 w 3359086"/>
                <a:gd name="connsiteY27514" fmla="*/ 53150 h 3355086"/>
                <a:gd name="connsiteX27515" fmla="*/ 1965864 w 3359086"/>
                <a:gd name="connsiteY27515" fmla="*/ 48293 h 3355086"/>
                <a:gd name="connsiteX27516" fmla="*/ 1960530 w 3359086"/>
                <a:gd name="connsiteY27516" fmla="*/ 42958 h 3355086"/>
                <a:gd name="connsiteX27517" fmla="*/ 1966721 w 3359086"/>
                <a:gd name="connsiteY27517" fmla="*/ 36767 h 3355086"/>
                <a:gd name="connsiteX27518" fmla="*/ 1805273 w 3359086"/>
                <a:gd name="connsiteY27518" fmla="*/ 36672 h 3355086"/>
                <a:gd name="connsiteX27519" fmla="*/ 1811464 w 3359086"/>
                <a:gd name="connsiteY27519" fmla="*/ 42863 h 3355086"/>
                <a:gd name="connsiteX27520" fmla="*/ 1805273 w 3359086"/>
                <a:gd name="connsiteY27520" fmla="*/ 49054 h 3355086"/>
                <a:gd name="connsiteX27521" fmla="*/ 1799082 w 3359086"/>
                <a:gd name="connsiteY27521" fmla="*/ 42863 h 3355086"/>
                <a:gd name="connsiteX27522" fmla="*/ 1805273 w 3359086"/>
                <a:gd name="connsiteY27522" fmla="*/ 36672 h 3355086"/>
                <a:gd name="connsiteX27523" fmla="*/ 1431797 w 3359086"/>
                <a:gd name="connsiteY27523" fmla="*/ 36576 h 3355086"/>
                <a:gd name="connsiteX27524" fmla="*/ 1437989 w 3359086"/>
                <a:gd name="connsiteY27524" fmla="*/ 42767 h 3355086"/>
                <a:gd name="connsiteX27525" fmla="*/ 1436608 w 3359086"/>
                <a:gd name="connsiteY27525" fmla="*/ 44149 h 3355086"/>
                <a:gd name="connsiteX27526" fmla="*/ 1442370 w 3359086"/>
                <a:gd name="connsiteY27526" fmla="*/ 49911 h 3355086"/>
                <a:gd name="connsiteX27527" fmla="*/ 1436179 w 3359086"/>
                <a:gd name="connsiteY27527" fmla="*/ 56103 h 3355086"/>
                <a:gd name="connsiteX27528" fmla="*/ 1429988 w 3359086"/>
                <a:gd name="connsiteY27528" fmla="*/ 49911 h 3355086"/>
                <a:gd name="connsiteX27529" fmla="*/ 1431369 w 3359086"/>
                <a:gd name="connsiteY27529" fmla="*/ 48531 h 3355086"/>
                <a:gd name="connsiteX27530" fmla="*/ 1425606 w 3359086"/>
                <a:gd name="connsiteY27530" fmla="*/ 42767 h 3355086"/>
                <a:gd name="connsiteX27531" fmla="*/ 1431797 w 3359086"/>
                <a:gd name="connsiteY27531" fmla="*/ 36576 h 3355086"/>
                <a:gd name="connsiteX27532" fmla="*/ 1416176 w 3359086"/>
                <a:gd name="connsiteY27532" fmla="*/ 35909 h 3355086"/>
                <a:gd name="connsiteX27533" fmla="*/ 1422368 w 3359086"/>
                <a:gd name="connsiteY27533" fmla="*/ 42100 h 3355086"/>
                <a:gd name="connsiteX27534" fmla="*/ 1420082 w 3359086"/>
                <a:gd name="connsiteY27534" fmla="*/ 44387 h 3355086"/>
                <a:gd name="connsiteX27535" fmla="*/ 1425415 w 3359086"/>
                <a:gd name="connsiteY27535" fmla="*/ 49720 h 3355086"/>
                <a:gd name="connsiteX27536" fmla="*/ 1423224 w 3359086"/>
                <a:gd name="connsiteY27536" fmla="*/ 51911 h 3355086"/>
                <a:gd name="connsiteX27537" fmla="*/ 1428844 w 3359086"/>
                <a:gd name="connsiteY27537" fmla="*/ 57531 h 3355086"/>
                <a:gd name="connsiteX27538" fmla="*/ 1422653 w 3359086"/>
                <a:gd name="connsiteY27538" fmla="*/ 63722 h 3355086"/>
                <a:gd name="connsiteX27539" fmla="*/ 1416462 w 3359086"/>
                <a:gd name="connsiteY27539" fmla="*/ 57531 h 3355086"/>
                <a:gd name="connsiteX27540" fmla="*/ 1418653 w 3359086"/>
                <a:gd name="connsiteY27540" fmla="*/ 55341 h 3355086"/>
                <a:gd name="connsiteX27541" fmla="*/ 1413033 w 3359086"/>
                <a:gd name="connsiteY27541" fmla="*/ 49720 h 3355086"/>
                <a:gd name="connsiteX27542" fmla="*/ 1415319 w 3359086"/>
                <a:gd name="connsiteY27542" fmla="*/ 47435 h 3355086"/>
                <a:gd name="connsiteX27543" fmla="*/ 1409985 w 3359086"/>
                <a:gd name="connsiteY27543" fmla="*/ 42100 h 3355086"/>
                <a:gd name="connsiteX27544" fmla="*/ 1416176 w 3359086"/>
                <a:gd name="connsiteY27544" fmla="*/ 35909 h 3355086"/>
                <a:gd name="connsiteX27545" fmla="*/ 1825656 w 3359086"/>
                <a:gd name="connsiteY27545" fmla="*/ 35814 h 3355086"/>
                <a:gd name="connsiteX27546" fmla="*/ 1831848 w 3359086"/>
                <a:gd name="connsiteY27546" fmla="*/ 42005 h 3355086"/>
                <a:gd name="connsiteX27547" fmla="*/ 1825656 w 3359086"/>
                <a:gd name="connsiteY27547" fmla="*/ 48197 h 3355086"/>
                <a:gd name="connsiteX27548" fmla="*/ 1819465 w 3359086"/>
                <a:gd name="connsiteY27548" fmla="*/ 42005 h 3355086"/>
                <a:gd name="connsiteX27549" fmla="*/ 1825656 w 3359086"/>
                <a:gd name="connsiteY27549" fmla="*/ 35814 h 3355086"/>
                <a:gd name="connsiteX27550" fmla="*/ 1844801 w 3359086"/>
                <a:gd name="connsiteY27550" fmla="*/ 35148 h 3355086"/>
                <a:gd name="connsiteX27551" fmla="*/ 1850993 w 3359086"/>
                <a:gd name="connsiteY27551" fmla="*/ 41339 h 3355086"/>
                <a:gd name="connsiteX27552" fmla="*/ 1844801 w 3359086"/>
                <a:gd name="connsiteY27552" fmla="*/ 47531 h 3355086"/>
                <a:gd name="connsiteX27553" fmla="*/ 1838610 w 3359086"/>
                <a:gd name="connsiteY27553" fmla="*/ 41339 h 3355086"/>
                <a:gd name="connsiteX27554" fmla="*/ 1844801 w 3359086"/>
                <a:gd name="connsiteY27554" fmla="*/ 35148 h 3355086"/>
                <a:gd name="connsiteX27555" fmla="*/ 1401222 w 3359086"/>
                <a:gd name="connsiteY27555" fmla="*/ 34862 h 3355086"/>
                <a:gd name="connsiteX27556" fmla="*/ 1407413 w 3359086"/>
                <a:gd name="connsiteY27556" fmla="*/ 41053 h 3355086"/>
                <a:gd name="connsiteX27557" fmla="*/ 1404175 w 3359086"/>
                <a:gd name="connsiteY27557" fmla="*/ 44292 h 3355086"/>
                <a:gd name="connsiteX27558" fmla="*/ 1409414 w 3359086"/>
                <a:gd name="connsiteY27558" fmla="*/ 49530 h 3355086"/>
                <a:gd name="connsiteX27559" fmla="*/ 1406652 w 3359086"/>
                <a:gd name="connsiteY27559" fmla="*/ 52293 h 3355086"/>
                <a:gd name="connsiteX27560" fmla="*/ 1411414 w 3359086"/>
                <a:gd name="connsiteY27560" fmla="*/ 57055 h 3355086"/>
                <a:gd name="connsiteX27561" fmla="*/ 1405223 w 3359086"/>
                <a:gd name="connsiteY27561" fmla="*/ 63247 h 3355086"/>
                <a:gd name="connsiteX27562" fmla="*/ 1399032 w 3359086"/>
                <a:gd name="connsiteY27562" fmla="*/ 57055 h 3355086"/>
                <a:gd name="connsiteX27563" fmla="*/ 1401794 w 3359086"/>
                <a:gd name="connsiteY27563" fmla="*/ 54294 h 3355086"/>
                <a:gd name="connsiteX27564" fmla="*/ 1397031 w 3359086"/>
                <a:gd name="connsiteY27564" fmla="*/ 49530 h 3355086"/>
                <a:gd name="connsiteX27565" fmla="*/ 1400270 w 3359086"/>
                <a:gd name="connsiteY27565" fmla="*/ 46292 h 3355086"/>
                <a:gd name="connsiteX27566" fmla="*/ 1395031 w 3359086"/>
                <a:gd name="connsiteY27566" fmla="*/ 41053 h 3355086"/>
                <a:gd name="connsiteX27567" fmla="*/ 1401222 w 3359086"/>
                <a:gd name="connsiteY27567" fmla="*/ 34862 h 3355086"/>
                <a:gd name="connsiteX27568" fmla="*/ 1979866 w 3359086"/>
                <a:gd name="connsiteY27568" fmla="*/ 34671 h 3355086"/>
                <a:gd name="connsiteX27569" fmla="*/ 1986057 w 3359086"/>
                <a:gd name="connsiteY27569" fmla="*/ 40862 h 3355086"/>
                <a:gd name="connsiteX27570" fmla="*/ 1979866 w 3359086"/>
                <a:gd name="connsiteY27570" fmla="*/ 47053 h 3355086"/>
                <a:gd name="connsiteX27571" fmla="*/ 1973675 w 3359086"/>
                <a:gd name="connsiteY27571" fmla="*/ 40862 h 3355086"/>
                <a:gd name="connsiteX27572" fmla="*/ 1979866 w 3359086"/>
                <a:gd name="connsiteY27572" fmla="*/ 34671 h 3355086"/>
                <a:gd name="connsiteX27573" fmla="*/ 1862803 w 3359086"/>
                <a:gd name="connsiteY27573" fmla="*/ 34576 h 3355086"/>
                <a:gd name="connsiteX27574" fmla="*/ 1868995 w 3359086"/>
                <a:gd name="connsiteY27574" fmla="*/ 40767 h 3355086"/>
                <a:gd name="connsiteX27575" fmla="*/ 1862803 w 3359086"/>
                <a:gd name="connsiteY27575" fmla="*/ 46959 h 3355086"/>
                <a:gd name="connsiteX27576" fmla="*/ 1856612 w 3359086"/>
                <a:gd name="connsiteY27576" fmla="*/ 40767 h 3355086"/>
                <a:gd name="connsiteX27577" fmla="*/ 1862803 w 3359086"/>
                <a:gd name="connsiteY27577" fmla="*/ 34576 h 3355086"/>
                <a:gd name="connsiteX27578" fmla="*/ 1879949 w 3359086"/>
                <a:gd name="connsiteY27578" fmla="*/ 34004 h 3355086"/>
                <a:gd name="connsiteX27579" fmla="*/ 1886141 w 3359086"/>
                <a:gd name="connsiteY27579" fmla="*/ 40195 h 3355086"/>
                <a:gd name="connsiteX27580" fmla="*/ 1879949 w 3359086"/>
                <a:gd name="connsiteY27580" fmla="*/ 46387 h 3355086"/>
                <a:gd name="connsiteX27581" fmla="*/ 1873758 w 3359086"/>
                <a:gd name="connsiteY27581" fmla="*/ 40195 h 3355086"/>
                <a:gd name="connsiteX27582" fmla="*/ 1879949 w 3359086"/>
                <a:gd name="connsiteY27582" fmla="*/ 34004 h 3355086"/>
                <a:gd name="connsiteX27583" fmla="*/ 1532477 w 3359086"/>
                <a:gd name="connsiteY27583" fmla="*/ 33623 h 3355086"/>
                <a:gd name="connsiteX27584" fmla="*/ 1538668 w 3359086"/>
                <a:gd name="connsiteY27584" fmla="*/ 39814 h 3355086"/>
                <a:gd name="connsiteX27585" fmla="*/ 1532477 w 3359086"/>
                <a:gd name="connsiteY27585" fmla="*/ 46006 h 3355086"/>
                <a:gd name="connsiteX27586" fmla="*/ 1526286 w 3359086"/>
                <a:gd name="connsiteY27586" fmla="*/ 39814 h 3355086"/>
                <a:gd name="connsiteX27587" fmla="*/ 1532477 w 3359086"/>
                <a:gd name="connsiteY27587" fmla="*/ 33623 h 3355086"/>
                <a:gd name="connsiteX27588" fmla="*/ 1386935 w 3359086"/>
                <a:gd name="connsiteY27588" fmla="*/ 33338 h 3355086"/>
                <a:gd name="connsiteX27589" fmla="*/ 1393126 w 3359086"/>
                <a:gd name="connsiteY27589" fmla="*/ 39529 h 3355086"/>
                <a:gd name="connsiteX27590" fmla="*/ 1388840 w 3359086"/>
                <a:gd name="connsiteY27590" fmla="*/ 43815 h 3355086"/>
                <a:gd name="connsiteX27591" fmla="*/ 1394270 w 3359086"/>
                <a:gd name="connsiteY27591" fmla="*/ 49244 h 3355086"/>
                <a:gd name="connsiteX27592" fmla="*/ 1390744 w 3359086"/>
                <a:gd name="connsiteY27592" fmla="*/ 52769 h 3355086"/>
                <a:gd name="connsiteX27593" fmla="*/ 1394936 w 3359086"/>
                <a:gd name="connsiteY27593" fmla="*/ 56960 h 3355086"/>
                <a:gd name="connsiteX27594" fmla="*/ 1390888 w 3359086"/>
                <a:gd name="connsiteY27594" fmla="*/ 61008 h 3355086"/>
                <a:gd name="connsiteX27595" fmla="*/ 1395793 w 3359086"/>
                <a:gd name="connsiteY27595" fmla="*/ 65913 h 3355086"/>
                <a:gd name="connsiteX27596" fmla="*/ 1389602 w 3359086"/>
                <a:gd name="connsiteY27596" fmla="*/ 72104 h 3355086"/>
                <a:gd name="connsiteX27597" fmla="*/ 1383411 w 3359086"/>
                <a:gd name="connsiteY27597" fmla="*/ 65913 h 3355086"/>
                <a:gd name="connsiteX27598" fmla="*/ 1387459 w 3359086"/>
                <a:gd name="connsiteY27598" fmla="*/ 61866 h 3355086"/>
                <a:gd name="connsiteX27599" fmla="*/ 1382553 w 3359086"/>
                <a:gd name="connsiteY27599" fmla="*/ 56960 h 3355086"/>
                <a:gd name="connsiteX27600" fmla="*/ 1386078 w 3359086"/>
                <a:gd name="connsiteY27600" fmla="*/ 53435 h 3355086"/>
                <a:gd name="connsiteX27601" fmla="*/ 1381887 w 3359086"/>
                <a:gd name="connsiteY27601" fmla="*/ 49244 h 3355086"/>
                <a:gd name="connsiteX27602" fmla="*/ 1386173 w 3359086"/>
                <a:gd name="connsiteY27602" fmla="*/ 44959 h 3355086"/>
                <a:gd name="connsiteX27603" fmla="*/ 1380744 w 3359086"/>
                <a:gd name="connsiteY27603" fmla="*/ 39529 h 3355086"/>
                <a:gd name="connsiteX27604" fmla="*/ 1386935 w 3359086"/>
                <a:gd name="connsiteY27604" fmla="*/ 33338 h 3355086"/>
                <a:gd name="connsiteX27605" fmla="*/ 1896141 w 3359086"/>
                <a:gd name="connsiteY27605" fmla="*/ 33147 h 3355086"/>
                <a:gd name="connsiteX27606" fmla="*/ 1902333 w 3359086"/>
                <a:gd name="connsiteY27606" fmla="*/ 39338 h 3355086"/>
                <a:gd name="connsiteX27607" fmla="*/ 1896284 w 3359086"/>
                <a:gd name="connsiteY27607" fmla="*/ 45387 h 3355086"/>
                <a:gd name="connsiteX27608" fmla="*/ 1897666 w 3359086"/>
                <a:gd name="connsiteY27608" fmla="*/ 46768 h 3355086"/>
                <a:gd name="connsiteX27609" fmla="*/ 1891474 w 3359086"/>
                <a:gd name="connsiteY27609" fmla="*/ 52960 h 3355086"/>
                <a:gd name="connsiteX27610" fmla="*/ 1885283 w 3359086"/>
                <a:gd name="connsiteY27610" fmla="*/ 46768 h 3355086"/>
                <a:gd name="connsiteX27611" fmla="*/ 1891331 w 3359086"/>
                <a:gd name="connsiteY27611" fmla="*/ 40720 h 3355086"/>
                <a:gd name="connsiteX27612" fmla="*/ 1889950 w 3359086"/>
                <a:gd name="connsiteY27612" fmla="*/ 39338 h 3355086"/>
                <a:gd name="connsiteX27613" fmla="*/ 1896141 w 3359086"/>
                <a:gd name="connsiteY27613" fmla="*/ 33147 h 3355086"/>
                <a:gd name="connsiteX27614" fmla="*/ 1512569 w 3359086"/>
                <a:gd name="connsiteY27614" fmla="*/ 32671 h 3355086"/>
                <a:gd name="connsiteX27615" fmla="*/ 1518761 w 3359086"/>
                <a:gd name="connsiteY27615" fmla="*/ 38862 h 3355086"/>
                <a:gd name="connsiteX27616" fmla="*/ 1512569 w 3359086"/>
                <a:gd name="connsiteY27616" fmla="*/ 45053 h 3355086"/>
                <a:gd name="connsiteX27617" fmla="*/ 1506378 w 3359086"/>
                <a:gd name="connsiteY27617" fmla="*/ 38862 h 3355086"/>
                <a:gd name="connsiteX27618" fmla="*/ 1512569 w 3359086"/>
                <a:gd name="connsiteY27618" fmla="*/ 32671 h 3355086"/>
                <a:gd name="connsiteX27619" fmla="*/ 2004917 w 3359086"/>
                <a:gd name="connsiteY27619" fmla="*/ 32290 h 3355086"/>
                <a:gd name="connsiteX27620" fmla="*/ 2007012 w 3359086"/>
                <a:gd name="connsiteY27620" fmla="*/ 34385 h 3355086"/>
                <a:gd name="connsiteX27621" fmla="*/ 2004917 w 3359086"/>
                <a:gd name="connsiteY27621" fmla="*/ 36481 h 3355086"/>
                <a:gd name="connsiteX27622" fmla="*/ 2002821 w 3359086"/>
                <a:gd name="connsiteY27622" fmla="*/ 34385 h 3355086"/>
                <a:gd name="connsiteX27623" fmla="*/ 2004917 w 3359086"/>
                <a:gd name="connsiteY27623" fmla="*/ 32290 h 3355086"/>
                <a:gd name="connsiteX27624" fmla="*/ 1911571 w 3359086"/>
                <a:gd name="connsiteY27624" fmla="*/ 32099 h 3355086"/>
                <a:gd name="connsiteX27625" fmla="*/ 1917763 w 3359086"/>
                <a:gd name="connsiteY27625" fmla="*/ 38290 h 3355086"/>
                <a:gd name="connsiteX27626" fmla="*/ 1911905 w 3359086"/>
                <a:gd name="connsiteY27626" fmla="*/ 44148 h 3355086"/>
                <a:gd name="connsiteX27627" fmla="*/ 1914239 w 3359086"/>
                <a:gd name="connsiteY27627" fmla="*/ 46482 h 3355086"/>
                <a:gd name="connsiteX27628" fmla="*/ 1908714 w 3359086"/>
                <a:gd name="connsiteY27628" fmla="*/ 52007 h 3355086"/>
                <a:gd name="connsiteX27629" fmla="*/ 1910524 w 3359086"/>
                <a:gd name="connsiteY27629" fmla="*/ 53816 h 3355086"/>
                <a:gd name="connsiteX27630" fmla="*/ 1904332 w 3359086"/>
                <a:gd name="connsiteY27630" fmla="*/ 60008 h 3355086"/>
                <a:gd name="connsiteX27631" fmla="*/ 1898141 w 3359086"/>
                <a:gd name="connsiteY27631" fmla="*/ 53816 h 3355086"/>
                <a:gd name="connsiteX27632" fmla="*/ 1903665 w 3359086"/>
                <a:gd name="connsiteY27632" fmla="*/ 48292 h 3355086"/>
                <a:gd name="connsiteX27633" fmla="*/ 1901856 w 3359086"/>
                <a:gd name="connsiteY27633" fmla="*/ 46482 h 3355086"/>
                <a:gd name="connsiteX27634" fmla="*/ 1907714 w 3359086"/>
                <a:gd name="connsiteY27634" fmla="*/ 40624 h 3355086"/>
                <a:gd name="connsiteX27635" fmla="*/ 1905380 w 3359086"/>
                <a:gd name="connsiteY27635" fmla="*/ 38290 h 3355086"/>
                <a:gd name="connsiteX27636" fmla="*/ 1911571 w 3359086"/>
                <a:gd name="connsiteY27636" fmla="*/ 32099 h 3355086"/>
                <a:gd name="connsiteX27637" fmla="*/ 1992629 w 3359086"/>
                <a:gd name="connsiteY27637" fmla="*/ 31909 h 3355086"/>
                <a:gd name="connsiteX27638" fmla="*/ 1998821 w 3359086"/>
                <a:gd name="connsiteY27638" fmla="*/ 38100 h 3355086"/>
                <a:gd name="connsiteX27639" fmla="*/ 1992629 w 3359086"/>
                <a:gd name="connsiteY27639" fmla="*/ 44292 h 3355086"/>
                <a:gd name="connsiteX27640" fmla="*/ 1986438 w 3359086"/>
                <a:gd name="connsiteY27640" fmla="*/ 38100 h 3355086"/>
                <a:gd name="connsiteX27641" fmla="*/ 1992629 w 3359086"/>
                <a:gd name="connsiteY27641" fmla="*/ 31909 h 3355086"/>
                <a:gd name="connsiteX27642" fmla="*/ 1493710 w 3359086"/>
                <a:gd name="connsiteY27642" fmla="*/ 31909 h 3355086"/>
                <a:gd name="connsiteX27643" fmla="*/ 1499902 w 3359086"/>
                <a:gd name="connsiteY27643" fmla="*/ 38100 h 3355086"/>
                <a:gd name="connsiteX27644" fmla="*/ 1493710 w 3359086"/>
                <a:gd name="connsiteY27644" fmla="*/ 44291 h 3355086"/>
                <a:gd name="connsiteX27645" fmla="*/ 1487519 w 3359086"/>
                <a:gd name="connsiteY27645" fmla="*/ 38100 h 3355086"/>
                <a:gd name="connsiteX27646" fmla="*/ 1493710 w 3359086"/>
                <a:gd name="connsiteY27646" fmla="*/ 31909 h 3355086"/>
                <a:gd name="connsiteX27647" fmla="*/ 1475898 w 3359086"/>
                <a:gd name="connsiteY27647" fmla="*/ 31242 h 3355086"/>
                <a:gd name="connsiteX27648" fmla="*/ 1482090 w 3359086"/>
                <a:gd name="connsiteY27648" fmla="*/ 37433 h 3355086"/>
                <a:gd name="connsiteX27649" fmla="*/ 1475898 w 3359086"/>
                <a:gd name="connsiteY27649" fmla="*/ 43625 h 3355086"/>
                <a:gd name="connsiteX27650" fmla="*/ 1469707 w 3359086"/>
                <a:gd name="connsiteY27650" fmla="*/ 37433 h 3355086"/>
                <a:gd name="connsiteX27651" fmla="*/ 1475898 w 3359086"/>
                <a:gd name="connsiteY27651" fmla="*/ 31242 h 3355086"/>
                <a:gd name="connsiteX27652" fmla="*/ 1373314 w 3359086"/>
                <a:gd name="connsiteY27652" fmla="*/ 31242 h 3355086"/>
                <a:gd name="connsiteX27653" fmla="*/ 1379506 w 3359086"/>
                <a:gd name="connsiteY27653" fmla="*/ 37433 h 3355086"/>
                <a:gd name="connsiteX27654" fmla="*/ 1374076 w 3359086"/>
                <a:gd name="connsiteY27654" fmla="*/ 42863 h 3355086"/>
                <a:gd name="connsiteX27655" fmla="*/ 1379886 w 3359086"/>
                <a:gd name="connsiteY27655" fmla="*/ 48673 h 3355086"/>
                <a:gd name="connsiteX27656" fmla="*/ 1375553 w 3359086"/>
                <a:gd name="connsiteY27656" fmla="*/ 53007 h 3355086"/>
                <a:gd name="connsiteX27657" fmla="*/ 1379506 w 3359086"/>
                <a:gd name="connsiteY27657" fmla="*/ 56960 h 3355086"/>
                <a:gd name="connsiteX27658" fmla="*/ 1374981 w 3359086"/>
                <a:gd name="connsiteY27658" fmla="*/ 61484 h 3355086"/>
                <a:gd name="connsiteX27659" fmla="*/ 1378838 w 3359086"/>
                <a:gd name="connsiteY27659" fmla="*/ 65341 h 3355086"/>
                <a:gd name="connsiteX27660" fmla="*/ 1372647 w 3359086"/>
                <a:gd name="connsiteY27660" fmla="*/ 71533 h 3355086"/>
                <a:gd name="connsiteX27661" fmla="*/ 1366456 w 3359086"/>
                <a:gd name="connsiteY27661" fmla="*/ 65341 h 3355086"/>
                <a:gd name="connsiteX27662" fmla="*/ 1370980 w 3359086"/>
                <a:gd name="connsiteY27662" fmla="*/ 60817 h 3355086"/>
                <a:gd name="connsiteX27663" fmla="*/ 1367123 w 3359086"/>
                <a:gd name="connsiteY27663" fmla="*/ 56960 h 3355086"/>
                <a:gd name="connsiteX27664" fmla="*/ 1371457 w 3359086"/>
                <a:gd name="connsiteY27664" fmla="*/ 52626 h 3355086"/>
                <a:gd name="connsiteX27665" fmla="*/ 1367504 w 3359086"/>
                <a:gd name="connsiteY27665" fmla="*/ 48673 h 3355086"/>
                <a:gd name="connsiteX27666" fmla="*/ 1372933 w 3359086"/>
                <a:gd name="connsiteY27666" fmla="*/ 43244 h 3355086"/>
                <a:gd name="connsiteX27667" fmla="*/ 1367123 w 3359086"/>
                <a:gd name="connsiteY27667" fmla="*/ 37433 h 3355086"/>
                <a:gd name="connsiteX27668" fmla="*/ 1373314 w 3359086"/>
                <a:gd name="connsiteY27668" fmla="*/ 31242 h 3355086"/>
                <a:gd name="connsiteX27669" fmla="*/ 1360075 w 3359086"/>
                <a:gd name="connsiteY27669" fmla="*/ 30576 h 3355086"/>
                <a:gd name="connsiteX27670" fmla="*/ 1364171 w 3359086"/>
                <a:gd name="connsiteY27670" fmla="*/ 34672 h 3355086"/>
                <a:gd name="connsiteX27671" fmla="*/ 1360075 w 3359086"/>
                <a:gd name="connsiteY27671" fmla="*/ 38767 h 3355086"/>
                <a:gd name="connsiteX27672" fmla="*/ 1355979 w 3359086"/>
                <a:gd name="connsiteY27672" fmla="*/ 34672 h 3355086"/>
                <a:gd name="connsiteX27673" fmla="*/ 1360075 w 3359086"/>
                <a:gd name="connsiteY27673" fmla="*/ 30576 h 3355086"/>
                <a:gd name="connsiteX27674" fmla="*/ 1926335 w 3359086"/>
                <a:gd name="connsiteY27674" fmla="*/ 30480 h 3355086"/>
                <a:gd name="connsiteX27675" fmla="*/ 1932527 w 3359086"/>
                <a:gd name="connsiteY27675" fmla="*/ 36671 h 3355086"/>
                <a:gd name="connsiteX27676" fmla="*/ 1926573 w 3359086"/>
                <a:gd name="connsiteY27676" fmla="*/ 42624 h 3355086"/>
                <a:gd name="connsiteX27677" fmla="*/ 1930051 w 3359086"/>
                <a:gd name="connsiteY27677" fmla="*/ 46101 h 3355086"/>
                <a:gd name="connsiteX27678" fmla="*/ 1925145 w 3359086"/>
                <a:gd name="connsiteY27678" fmla="*/ 51007 h 3355086"/>
                <a:gd name="connsiteX27679" fmla="*/ 1927670 w 3359086"/>
                <a:gd name="connsiteY27679" fmla="*/ 53531 h 3355086"/>
                <a:gd name="connsiteX27680" fmla="*/ 1921907 w 3359086"/>
                <a:gd name="connsiteY27680" fmla="*/ 59294 h 3355086"/>
                <a:gd name="connsiteX27681" fmla="*/ 1924812 w 3359086"/>
                <a:gd name="connsiteY27681" fmla="*/ 62198 h 3355086"/>
                <a:gd name="connsiteX27682" fmla="*/ 1918620 w 3359086"/>
                <a:gd name="connsiteY27682" fmla="*/ 68390 h 3355086"/>
                <a:gd name="connsiteX27683" fmla="*/ 1912429 w 3359086"/>
                <a:gd name="connsiteY27683" fmla="*/ 62198 h 3355086"/>
                <a:gd name="connsiteX27684" fmla="*/ 1918191 w 3359086"/>
                <a:gd name="connsiteY27684" fmla="*/ 56436 h 3355086"/>
                <a:gd name="connsiteX27685" fmla="*/ 1915287 w 3359086"/>
                <a:gd name="connsiteY27685" fmla="*/ 53531 h 3355086"/>
                <a:gd name="connsiteX27686" fmla="*/ 1920192 w 3359086"/>
                <a:gd name="connsiteY27686" fmla="*/ 48626 h 3355086"/>
                <a:gd name="connsiteX27687" fmla="*/ 1917668 w 3359086"/>
                <a:gd name="connsiteY27687" fmla="*/ 46101 h 3355086"/>
                <a:gd name="connsiteX27688" fmla="*/ 1923621 w 3359086"/>
                <a:gd name="connsiteY27688" fmla="*/ 40148 h 3355086"/>
                <a:gd name="connsiteX27689" fmla="*/ 1920144 w 3359086"/>
                <a:gd name="connsiteY27689" fmla="*/ 36671 h 3355086"/>
                <a:gd name="connsiteX27690" fmla="*/ 1926335 w 3359086"/>
                <a:gd name="connsiteY27690" fmla="*/ 30480 h 3355086"/>
                <a:gd name="connsiteX27691" fmla="*/ 1459039 w 3359086"/>
                <a:gd name="connsiteY27691" fmla="*/ 30290 h 3355086"/>
                <a:gd name="connsiteX27692" fmla="*/ 1465231 w 3359086"/>
                <a:gd name="connsiteY27692" fmla="*/ 36481 h 3355086"/>
                <a:gd name="connsiteX27693" fmla="*/ 1459039 w 3359086"/>
                <a:gd name="connsiteY27693" fmla="*/ 42672 h 3355086"/>
                <a:gd name="connsiteX27694" fmla="*/ 1452848 w 3359086"/>
                <a:gd name="connsiteY27694" fmla="*/ 36481 h 3355086"/>
                <a:gd name="connsiteX27695" fmla="*/ 1459039 w 3359086"/>
                <a:gd name="connsiteY27695" fmla="*/ 30290 h 3355086"/>
                <a:gd name="connsiteX27696" fmla="*/ 1817179 w 3359086"/>
                <a:gd name="connsiteY27696" fmla="*/ 30004 h 3355086"/>
                <a:gd name="connsiteX27697" fmla="*/ 1823370 w 3359086"/>
                <a:gd name="connsiteY27697" fmla="*/ 36195 h 3355086"/>
                <a:gd name="connsiteX27698" fmla="*/ 1817179 w 3359086"/>
                <a:gd name="connsiteY27698" fmla="*/ 42387 h 3355086"/>
                <a:gd name="connsiteX27699" fmla="*/ 1810988 w 3359086"/>
                <a:gd name="connsiteY27699" fmla="*/ 36195 h 3355086"/>
                <a:gd name="connsiteX27700" fmla="*/ 1817179 w 3359086"/>
                <a:gd name="connsiteY27700" fmla="*/ 30004 h 3355086"/>
                <a:gd name="connsiteX27701" fmla="*/ 1442941 w 3359086"/>
                <a:gd name="connsiteY27701" fmla="*/ 29147 h 3355086"/>
                <a:gd name="connsiteX27702" fmla="*/ 1449133 w 3359086"/>
                <a:gd name="connsiteY27702" fmla="*/ 35338 h 3355086"/>
                <a:gd name="connsiteX27703" fmla="*/ 1442941 w 3359086"/>
                <a:gd name="connsiteY27703" fmla="*/ 41530 h 3355086"/>
                <a:gd name="connsiteX27704" fmla="*/ 1436750 w 3359086"/>
                <a:gd name="connsiteY27704" fmla="*/ 35338 h 3355086"/>
                <a:gd name="connsiteX27705" fmla="*/ 1442941 w 3359086"/>
                <a:gd name="connsiteY27705" fmla="*/ 29147 h 3355086"/>
                <a:gd name="connsiteX27706" fmla="*/ 1835562 w 3359086"/>
                <a:gd name="connsiteY27706" fmla="*/ 29051 h 3355086"/>
                <a:gd name="connsiteX27707" fmla="*/ 1841754 w 3359086"/>
                <a:gd name="connsiteY27707" fmla="*/ 35242 h 3355086"/>
                <a:gd name="connsiteX27708" fmla="*/ 1835562 w 3359086"/>
                <a:gd name="connsiteY27708" fmla="*/ 41434 h 3355086"/>
                <a:gd name="connsiteX27709" fmla="*/ 1829371 w 3359086"/>
                <a:gd name="connsiteY27709" fmla="*/ 35242 h 3355086"/>
                <a:gd name="connsiteX27710" fmla="*/ 1835562 w 3359086"/>
                <a:gd name="connsiteY27710" fmla="*/ 29051 h 3355086"/>
                <a:gd name="connsiteX27711" fmla="*/ 1940528 w 3359086"/>
                <a:gd name="connsiteY27711" fmla="*/ 28385 h 3355086"/>
                <a:gd name="connsiteX27712" fmla="*/ 1946720 w 3359086"/>
                <a:gd name="connsiteY27712" fmla="*/ 34576 h 3355086"/>
                <a:gd name="connsiteX27713" fmla="*/ 1940528 w 3359086"/>
                <a:gd name="connsiteY27713" fmla="*/ 40768 h 3355086"/>
                <a:gd name="connsiteX27714" fmla="*/ 1934337 w 3359086"/>
                <a:gd name="connsiteY27714" fmla="*/ 34576 h 3355086"/>
                <a:gd name="connsiteX27715" fmla="*/ 1940528 w 3359086"/>
                <a:gd name="connsiteY27715" fmla="*/ 28385 h 3355086"/>
                <a:gd name="connsiteX27716" fmla="*/ 1853088 w 3359086"/>
                <a:gd name="connsiteY27716" fmla="*/ 28099 h 3355086"/>
                <a:gd name="connsiteX27717" fmla="*/ 1859280 w 3359086"/>
                <a:gd name="connsiteY27717" fmla="*/ 34290 h 3355086"/>
                <a:gd name="connsiteX27718" fmla="*/ 1853088 w 3359086"/>
                <a:gd name="connsiteY27718" fmla="*/ 40481 h 3355086"/>
                <a:gd name="connsiteX27719" fmla="*/ 1846897 w 3359086"/>
                <a:gd name="connsiteY27719" fmla="*/ 34290 h 3355086"/>
                <a:gd name="connsiteX27720" fmla="*/ 1853088 w 3359086"/>
                <a:gd name="connsiteY27720" fmla="*/ 28099 h 3355086"/>
                <a:gd name="connsiteX27721" fmla="*/ 1427606 w 3359086"/>
                <a:gd name="connsiteY27721" fmla="*/ 27528 h 3355086"/>
                <a:gd name="connsiteX27722" fmla="*/ 1433798 w 3359086"/>
                <a:gd name="connsiteY27722" fmla="*/ 33719 h 3355086"/>
                <a:gd name="connsiteX27723" fmla="*/ 1427606 w 3359086"/>
                <a:gd name="connsiteY27723" fmla="*/ 39910 h 3355086"/>
                <a:gd name="connsiteX27724" fmla="*/ 1421415 w 3359086"/>
                <a:gd name="connsiteY27724" fmla="*/ 33719 h 3355086"/>
                <a:gd name="connsiteX27725" fmla="*/ 1427606 w 3359086"/>
                <a:gd name="connsiteY27725" fmla="*/ 27528 h 3355086"/>
                <a:gd name="connsiteX27726" fmla="*/ 1520475 w 3359086"/>
                <a:gd name="connsiteY27726" fmla="*/ 26956 h 3355086"/>
                <a:gd name="connsiteX27727" fmla="*/ 1526667 w 3359086"/>
                <a:gd name="connsiteY27727" fmla="*/ 33147 h 3355086"/>
                <a:gd name="connsiteX27728" fmla="*/ 1520475 w 3359086"/>
                <a:gd name="connsiteY27728" fmla="*/ 39339 h 3355086"/>
                <a:gd name="connsiteX27729" fmla="*/ 1514284 w 3359086"/>
                <a:gd name="connsiteY27729" fmla="*/ 33147 h 3355086"/>
                <a:gd name="connsiteX27730" fmla="*/ 1520475 w 3359086"/>
                <a:gd name="connsiteY27730" fmla="*/ 26956 h 3355086"/>
                <a:gd name="connsiteX27731" fmla="*/ 1869661 w 3359086"/>
                <a:gd name="connsiteY27731" fmla="*/ 26765 h 3355086"/>
                <a:gd name="connsiteX27732" fmla="*/ 1875853 w 3359086"/>
                <a:gd name="connsiteY27732" fmla="*/ 32956 h 3355086"/>
                <a:gd name="connsiteX27733" fmla="*/ 1869661 w 3359086"/>
                <a:gd name="connsiteY27733" fmla="*/ 39148 h 3355086"/>
                <a:gd name="connsiteX27734" fmla="*/ 1863470 w 3359086"/>
                <a:gd name="connsiteY27734" fmla="*/ 32956 h 3355086"/>
                <a:gd name="connsiteX27735" fmla="*/ 1869661 w 3359086"/>
                <a:gd name="connsiteY27735" fmla="*/ 26765 h 3355086"/>
                <a:gd name="connsiteX27736" fmla="*/ 1502378 w 3359086"/>
                <a:gd name="connsiteY27736" fmla="*/ 25718 h 3355086"/>
                <a:gd name="connsiteX27737" fmla="*/ 1508570 w 3359086"/>
                <a:gd name="connsiteY27737" fmla="*/ 31909 h 3355086"/>
                <a:gd name="connsiteX27738" fmla="*/ 1502378 w 3359086"/>
                <a:gd name="connsiteY27738" fmla="*/ 38101 h 3355086"/>
                <a:gd name="connsiteX27739" fmla="*/ 1496187 w 3359086"/>
                <a:gd name="connsiteY27739" fmla="*/ 31909 h 3355086"/>
                <a:gd name="connsiteX27740" fmla="*/ 1502378 w 3359086"/>
                <a:gd name="connsiteY27740" fmla="*/ 25718 h 3355086"/>
                <a:gd name="connsiteX27741" fmla="*/ 1954148 w 3359086"/>
                <a:gd name="connsiteY27741" fmla="*/ 25623 h 3355086"/>
                <a:gd name="connsiteX27742" fmla="*/ 1960340 w 3359086"/>
                <a:gd name="connsiteY27742" fmla="*/ 31814 h 3355086"/>
                <a:gd name="connsiteX27743" fmla="*/ 1954148 w 3359086"/>
                <a:gd name="connsiteY27743" fmla="*/ 38006 h 3355086"/>
                <a:gd name="connsiteX27744" fmla="*/ 1947957 w 3359086"/>
                <a:gd name="connsiteY27744" fmla="*/ 31814 h 3355086"/>
                <a:gd name="connsiteX27745" fmla="*/ 1954148 w 3359086"/>
                <a:gd name="connsiteY27745" fmla="*/ 25623 h 3355086"/>
                <a:gd name="connsiteX27746" fmla="*/ 1412842 w 3359086"/>
                <a:gd name="connsiteY27746" fmla="*/ 25337 h 3355086"/>
                <a:gd name="connsiteX27747" fmla="*/ 1419034 w 3359086"/>
                <a:gd name="connsiteY27747" fmla="*/ 31528 h 3355086"/>
                <a:gd name="connsiteX27748" fmla="*/ 1412842 w 3359086"/>
                <a:gd name="connsiteY27748" fmla="*/ 37720 h 3355086"/>
                <a:gd name="connsiteX27749" fmla="*/ 1406651 w 3359086"/>
                <a:gd name="connsiteY27749" fmla="*/ 31528 h 3355086"/>
                <a:gd name="connsiteX27750" fmla="*/ 1412842 w 3359086"/>
                <a:gd name="connsiteY27750" fmla="*/ 25337 h 3355086"/>
                <a:gd name="connsiteX27751" fmla="*/ 1967388 w 3359086"/>
                <a:gd name="connsiteY27751" fmla="*/ 25146 h 3355086"/>
                <a:gd name="connsiteX27752" fmla="*/ 1970436 w 3359086"/>
                <a:gd name="connsiteY27752" fmla="*/ 28194 h 3355086"/>
                <a:gd name="connsiteX27753" fmla="*/ 1967388 w 3359086"/>
                <a:gd name="connsiteY27753" fmla="*/ 31242 h 3355086"/>
                <a:gd name="connsiteX27754" fmla="*/ 1964340 w 3359086"/>
                <a:gd name="connsiteY27754" fmla="*/ 28194 h 3355086"/>
                <a:gd name="connsiteX27755" fmla="*/ 1967388 w 3359086"/>
                <a:gd name="connsiteY27755" fmla="*/ 25146 h 3355086"/>
                <a:gd name="connsiteX27756" fmla="*/ 1885568 w 3359086"/>
                <a:gd name="connsiteY27756" fmla="*/ 25146 h 3355086"/>
                <a:gd name="connsiteX27757" fmla="*/ 1891760 w 3359086"/>
                <a:gd name="connsiteY27757" fmla="*/ 31337 h 3355086"/>
                <a:gd name="connsiteX27758" fmla="*/ 1885568 w 3359086"/>
                <a:gd name="connsiteY27758" fmla="*/ 37529 h 3355086"/>
                <a:gd name="connsiteX27759" fmla="*/ 1879377 w 3359086"/>
                <a:gd name="connsiteY27759" fmla="*/ 31337 h 3355086"/>
                <a:gd name="connsiteX27760" fmla="*/ 1885568 w 3359086"/>
                <a:gd name="connsiteY27760" fmla="*/ 25146 h 3355086"/>
                <a:gd name="connsiteX27761" fmla="*/ 1485042 w 3359086"/>
                <a:gd name="connsiteY27761" fmla="*/ 24384 h 3355086"/>
                <a:gd name="connsiteX27762" fmla="*/ 1491234 w 3359086"/>
                <a:gd name="connsiteY27762" fmla="*/ 30575 h 3355086"/>
                <a:gd name="connsiteX27763" fmla="*/ 1485042 w 3359086"/>
                <a:gd name="connsiteY27763" fmla="*/ 36767 h 3355086"/>
                <a:gd name="connsiteX27764" fmla="*/ 1478851 w 3359086"/>
                <a:gd name="connsiteY27764" fmla="*/ 30575 h 3355086"/>
                <a:gd name="connsiteX27765" fmla="*/ 1485042 w 3359086"/>
                <a:gd name="connsiteY27765" fmla="*/ 24384 h 3355086"/>
                <a:gd name="connsiteX27766" fmla="*/ 1809654 w 3359086"/>
                <a:gd name="connsiteY27766" fmla="*/ 24003 h 3355086"/>
                <a:gd name="connsiteX27767" fmla="*/ 1815846 w 3359086"/>
                <a:gd name="connsiteY27767" fmla="*/ 30194 h 3355086"/>
                <a:gd name="connsiteX27768" fmla="*/ 1809654 w 3359086"/>
                <a:gd name="connsiteY27768" fmla="*/ 36386 h 3355086"/>
                <a:gd name="connsiteX27769" fmla="*/ 1803463 w 3359086"/>
                <a:gd name="connsiteY27769" fmla="*/ 30194 h 3355086"/>
                <a:gd name="connsiteX27770" fmla="*/ 1809654 w 3359086"/>
                <a:gd name="connsiteY27770" fmla="*/ 24003 h 3355086"/>
                <a:gd name="connsiteX27771" fmla="*/ 1398746 w 3359086"/>
                <a:gd name="connsiteY27771" fmla="*/ 23337 h 3355086"/>
                <a:gd name="connsiteX27772" fmla="*/ 1404175 w 3359086"/>
                <a:gd name="connsiteY27772" fmla="*/ 28766 h 3355086"/>
                <a:gd name="connsiteX27773" fmla="*/ 1398746 w 3359086"/>
                <a:gd name="connsiteY27773" fmla="*/ 34195 h 3355086"/>
                <a:gd name="connsiteX27774" fmla="*/ 1393317 w 3359086"/>
                <a:gd name="connsiteY27774" fmla="*/ 28766 h 3355086"/>
                <a:gd name="connsiteX27775" fmla="*/ 1398746 w 3359086"/>
                <a:gd name="connsiteY27775" fmla="*/ 23337 h 3355086"/>
                <a:gd name="connsiteX27776" fmla="*/ 1900808 w 3359086"/>
                <a:gd name="connsiteY27776" fmla="*/ 22956 h 3355086"/>
                <a:gd name="connsiteX27777" fmla="*/ 1907000 w 3359086"/>
                <a:gd name="connsiteY27777" fmla="*/ 29147 h 3355086"/>
                <a:gd name="connsiteX27778" fmla="*/ 1900808 w 3359086"/>
                <a:gd name="connsiteY27778" fmla="*/ 35339 h 3355086"/>
                <a:gd name="connsiteX27779" fmla="*/ 1894617 w 3359086"/>
                <a:gd name="connsiteY27779" fmla="*/ 29147 h 3355086"/>
                <a:gd name="connsiteX27780" fmla="*/ 1900808 w 3359086"/>
                <a:gd name="connsiteY27780" fmla="*/ 22956 h 3355086"/>
                <a:gd name="connsiteX27781" fmla="*/ 1468564 w 3359086"/>
                <a:gd name="connsiteY27781" fmla="*/ 22574 h 3355086"/>
                <a:gd name="connsiteX27782" fmla="*/ 1474756 w 3359086"/>
                <a:gd name="connsiteY27782" fmla="*/ 28765 h 3355086"/>
                <a:gd name="connsiteX27783" fmla="*/ 1468564 w 3359086"/>
                <a:gd name="connsiteY27783" fmla="*/ 34957 h 3355086"/>
                <a:gd name="connsiteX27784" fmla="*/ 1462373 w 3359086"/>
                <a:gd name="connsiteY27784" fmla="*/ 28765 h 3355086"/>
                <a:gd name="connsiteX27785" fmla="*/ 1468564 w 3359086"/>
                <a:gd name="connsiteY27785" fmla="*/ 22574 h 3355086"/>
                <a:gd name="connsiteX27786" fmla="*/ 1827370 w 3359086"/>
                <a:gd name="connsiteY27786" fmla="*/ 22479 h 3355086"/>
                <a:gd name="connsiteX27787" fmla="*/ 1833562 w 3359086"/>
                <a:gd name="connsiteY27787" fmla="*/ 28670 h 3355086"/>
                <a:gd name="connsiteX27788" fmla="*/ 1827370 w 3359086"/>
                <a:gd name="connsiteY27788" fmla="*/ 34862 h 3355086"/>
                <a:gd name="connsiteX27789" fmla="*/ 1821179 w 3359086"/>
                <a:gd name="connsiteY27789" fmla="*/ 28670 h 3355086"/>
                <a:gd name="connsiteX27790" fmla="*/ 1827370 w 3359086"/>
                <a:gd name="connsiteY27790" fmla="*/ 22479 h 3355086"/>
                <a:gd name="connsiteX27791" fmla="*/ 1844420 w 3359086"/>
                <a:gd name="connsiteY27791" fmla="*/ 20574 h 3355086"/>
                <a:gd name="connsiteX27792" fmla="*/ 1850611 w 3359086"/>
                <a:gd name="connsiteY27792" fmla="*/ 26765 h 3355086"/>
                <a:gd name="connsiteX27793" fmla="*/ 1844420 w 3359086"/>
                <a:gd name="connsiteY27793" fmla="*/ 32957 h 3355086"/>
                <a:gd name="connsiteX27794" fmla="*/ 1838229 w 3359086"/>
                <a:gd name="connsiteY27794" fmla="*/ 26765 h 3355086"/>
                <a:gd name="connsiteX27795" fmla="*/ 1844420 w 3359086"/>
                <a:gd name="connsiteY27795" fmla="*/ 20574 h 3355086"/>
                <a:gd name="connsiteX27796" fmla="*/ 1527524 w 3359086"/>
                <a:gd name="connsiteY27796" fmla="*/ 20574 h 3355086"/>
                <a:gd name="connsiteX27797" fmla="*/ 1533716 w 3359086"/>
                <a:gd name="connsiteY27797" fmla="*/ 26765 h 3355086"/>
                <a:gd name="connsiteX27798" fmla="*/ 1527524 w 3359086"/>
                <a:gd name="connsiteY27798" fmla="*/ 32957 h 3355086"/>
                <a:gd name="connsiteX27799" fmla="*/ 1521333 w 3359086"/>
                <a:gd name="connsiteY27799" fmla="*/ 26765 h 3355086"/>
                <a:gd name="connsiteX27800" fmla="*/ 1527524 w 3359086"/>
                <a:gd name="connsiteY27800" fmla="*/ 20574 h 3355086"/>
                <a:gd name="connsiteX27801" fmla="*/ 1452848 w 3359086"/>
                <a:gd name="connsiteY27801" fmla="*/ 20289 h 3355086"/>
                <a:gd name="connsiteX27802" fmla="*/ 1459039 w 3359086"/>
                <a:gd name="connsiteY27802" fmla="*/ 26480 h 3355086"/>
                <a:gd name="connsiteX27803" fmla="*/ 1452848 w 3359086"/>
                <a:gd name="connsiteY27803" fmla="*/ 32672 h 3355086"/>
                <a:gd name="connsiteX27804" fmla="*/ 1446657 w 3359086"/>
                <a:gd name="connsiteY27804" fmla="*/ 26480 h 3355086"/>
                <a:gd name="connsiteX27805" fmla="*/ 1452848 w 3359086"/>
                <a:gd name="connsiteY27805" fmla="*/ 20289 h 3355086"/>
                <a:gd name="connsiteX27806" fmla="*/ 1915382 w 3359086"/>
                <a:gd name="connsiteY27806" fmla="*/ 20098 h 3355086"/>
                <a:gd name="connsiteX27807" fmla="*/ 1921574 w 3359086"/>
                <a:gd name="connsiteY27807" fmla="*/ 26289 h 3355086"/>
                <a:gd name="connsiteX27808" fmla="*/ 1915382 w 3359086"/>
                <a:gd name="connsiteY27808" fmla="*/ 32481 h 3355086"/>
                <a:gd name="connsiteX27809" fmla="*/ 1909191 w 3359086"/>
                <a:gd name="connsiteY27809" fmla="*/ 26289 h 3355086"/>
                <a:gd name="connsiteX27810" fmla="*/ 1915382 w 3359086"/>
                <a:gd name="connsiteY27810" fmla="*/ 20098 h 3355086"/>
                <a:gd name="connsiteX27811" fmla="*/ 1423130 w 3359086"/>
                <a:gd name="connsiteY27811" fmla="*/ 19812 h 3355086"/>
                <a:gd name="connsiteX27812" fmla="*/ 1423320 w 3359086"/>
                <a:gd name="connsiteY27812" fmla="*/ 20002 h 3355086"/>
                <a:gd name="connsiteX27813" fmla="*/ 1423130 w 3359086"/>
                <a:gd name="connsiteY27813" fmla="*/ 20193 h 3355086"/>
                <a:gd name="connsiteX27814" fmla="*/ 1422939 w 3359086"/>
                <a:gd name="connsiteY27814" fmla="*/ 20002 h 3355086"/>
                <a:gd name="connsiteX27815" fmla="*/ 1423130 w 3359086"/>
                <a:gd name="connsiteY27815" fmla="*/ 19812 h 3355086"/>
                <a:gd name="connsiteX27816" fmla="*/ 1929479 w 3359086"/>
                <a:gd name="connsiteY27816" fmla="*/ 19146 h 3355086"/>
                <a:gd name="connsiteX27817" fmla="*/ 1933098 w 3359086"/>
                <a:gd name="connsiteY27817" fmla="*/ 22766 h 3355086"/>
                <a:gd name="connsiteX27818" fmla="*/ 1929479 w 3359086"/>
                <a:gd name="connsiteY27818" fmla="*/ 26385 h 3355086"/>
                <a:gd name="connsiteX27819" fmla="*/ 1925859 w 3359086"/>
                <a:gd name="connsiteY27819" fmla="*/ 22766 h 3355086"/>
                <a:gd name="connsiteX27820" fmla="*/ 1929479 w 3359086"/>
                <a:gd name="connsiteY27820" fmla="*/ 19146 h 3355086"/>
                <a:gd name="connsiteX27821" fmla="*/ 1784794 w 3359086"/>
                <a:gd name="connsiteY27821" fmla="*/ 19146 h 3355086"/>
                <a:gd name="connsiteX27822" fmla="*/ 1790986 w 3359086"/>
                <a:gd name="connsiteY27822" fmla="*/ 25337 h 3355086"/>
                <a:gd name="connsiteX27823" fmla="*/ 1790938 w 3359086"/>
                <a:gd name="connsiteY27823" fmla="*/ 25385 h 3355086"/>
                <a:gd name="connsiteX27824" fmla="*/ 1797034 w 3359086"/>
                <a:gd name="connsiteY27824" fmla="*/ 31480 h 3355086"/>
                <a:gd name="connsiteX27825" fmla="*/ 1797653 w 3359086"/>
                <a:gd name="connsiteY27825" fmla="*/ 30861 h 3355086"/>
                <a:gd name="connsiteX27826" fmla="*/ 1803845 w 3359086"/>
                <a:gd name="connsiteY27826" fmla="*/ 37052 h 3355086"/>
                <a:gd name="connsiteX27827" fmla="*/ 1797653 w 3359086"/>
                <a:gd name="connsiteY27827" fmla="*/ 43244 h 3355086"/>
                <a:gd name="connsiteX27828" fmla="*/ 1791510 w 3359086"/>
                <a:gd name="connsiteY27828" fmla="*/ 37100 h 3355086"/>
                <a:gd name="connsiteX27829" fmla="*/ 1790890 w 3359086"/>
                <a:gd name="connsiteY27829" fmla="*/ 37720 h 3355086"/>
                <a:gd name="connsiteX27830" fmla="*/ 1784699 w 3359086"/>
                <a:gd name="connsiteY27830" fmla="*/ 31528 h 3355086"/>
                <a:gd name="connsiteX27831" fmla="*/ 1784746 w 3359086"/>
                <a:gd name="connsiteY27831" fmla="*/ 31481 h 3355086"/>
                <a:gd name="connsiteX27832" fmla="*/ 1778603 w 3359086"/>
                <a:gd name="connsiteY27832" fmla="*/ 25337 h 3355086"/>
                <a:gd name="connsiteX27833" fmla="*/ 1784794 w 3359086"/>
                <a:gd name="connsiteY27833" fmla="*/ 19146 h 3355086"/>
                <a:gd name="connsiteX27834" fmla="*/ 1509998 w 3359086"/>
                <a:gd name="connsiteY27834" fmla="*/ 18574 h 3355086"/>
                <a:gd name="connsiteX27835" fmla="*/ 1516189 w 3359086"/>
                <a:gd name="connsiteY27835" fmla="*/ 24765 h 3355086"/>
                <a:gd name="connsiteX27836" fmla="*/ 1509998 w 3359086"/>
                <a:gd name="connsiteY27836" fmla="*/ 30957 h 3355086"/>
                <a:gd name="connsiteX27837" fmla="*/ 1503807 w 3359086"/>
                <a:gd name="connsiteY27837" fmla="*/ 24765 h 3355086"/>
                <a:gd name="connsiteX27838" fmla="*/ 1509998 w 3359086"/>
                <a:gd name="connsiteY27838" fmla="*/ 18574 h 3355086"/>
                <a:gd name="connsiteX27839" fmla="*/ 1860613 w 3359086"/>
                <a:gd name="connsiteY27839" fmla="*/ 18193 h 3355086"/>
                <a:gd name="connsiteX27840" fmla="*/ 1866805 w 3359086"/>
                <a:gd name="connsiteY27840" fmla="*/ 24384 h 3355086"/>
                <a:gd name="connsiteX27841" fmla="*/ 1860613 w 3359086"/>
                <a:gd name="connsiteY27841" fmla="*/ 30576 h 3355086"/>
                <a:gd name="connsiteX27842" fmla="*/ 1854422 w 3359086"/>
                <a:gd name="connsiteY27842" fmla="*/ 24384 h 3355086"/>
                <a:gd name="connsiteX27843" fmla="*/ 1860613 w 3359086"/>
                <a:gd name="connsiteY27843" fmla="*/ 18193 h 3355086"/>
                <a:gd name="connsiteX27844" fmla="*/ 1437703 w 3359086"/>
                <a:gd name="connsiteY27844" fmla="*/ 17431 h 3355086"/>
                <a:gd name="connsiteX27845" fmla="*/ 1443895 w 3359086"/>
                <a:gd name="connsiteY27845" fmla="*/ 23622 h 3355086"/>
                <a:gd name="connsiteX27846" fmla="*/ 1437703 w 3359086"/>
                <a:gd name="connsiteY27846" fmla="*/ 29813 h 3355086"/>
                <a:gd name="connsiteX27847" fmla="*/ 1431512 w 3359086"/>
                <a:gd name="connsiteY27847" fmla="*/ 23622 h 3355086"/>
                <a:gd name="connsiteX27848" fmla="*/ 1437703 w 3359086"/>
                <a:gd name="connsiteY27848" fmla="*/ 17431 h 3355086"/>
                <a:gd name="connsiteX27849" fmla="*/ 1802891 w 3359086"/>
                <a:gd name="connsiteY27849" fmla="*/ 16955 h 3355086"/>
                <a:gd name="connsiteX27850" fmla="*/ 1809082 w 3359086"/>
                <a:gd name="connsiteY27850" fmla="*/ 23146 h 3355086"/>
                <a:gd name="connsiteX27851" fmla="*/ 1802891 w 3359086"/>
                <a:gd name="connsiteY27851" fmla="*/ 29338 h 3355086"/>
                <a:gd name="connsiteX27852" fmla="*/ 1796700 w 3359086"/>
                <a:gd name="connsiteY27852" fmla="*/ 23146 h 3355086"/>
                <a:gd name="connsiteX27853" fmla="*/ 1802891 w 3359086"/>
                <a:gd name="connsiteY27853" fmla="*/ 16955 h 3355086"/>
                <a:gd name="connsiteX27854" fmla="*/ 1493138 w 3359086"/>
                <a:gd name="connsiteY27854" fmla="*/ 16097 h 3355086"/>
                <a:gd name="connsiteX27855" fmla="*/ 1499330 w 3359086"/>
                <a:gd name="connsiteY27855" fmla="*/ 22288 h 3355086"/>
                <a:gd name="connsiteX27856" fmla="*/ 1493138 w 3359086"/>
                <a:gd name="connsiteY27856" fmla="*/ 28480 h 3355086"/>
                <a:gd name="connsiteX27857" fmla="*/ 1486947 w 3359086"/>
                <a:gd name="connsiteY27857" fmla="*/ 22288 h 3355086"/>
                <a:gd name="connsiteX27858" fmla="*/ 1493138 w 3359086"/>
                <a:gd name="connsiteY27858" fmla="*/ 16097 h 3355086"/>
                <a:gd name="connsiteX27859" fmla="*/ 1551527 w 3359086"/>
                <a:gd name="connsiteY27859" fmla="*/ 15431 h 3355086"/>
                <a:gd name="connsiteX27860" fmla="*/ 1557718 w 3359086"/>
                <a:gd name="connsiteY27860" fmla="*/ 21622 h 3355086"/>
                <a:gd name="connsiteX27861" fmla="*/ 1551528 w 3359086"/>
                <a:gd name="connsiteY27861" fmla="*/ 27813 h 3355086"/>
                <a:gd name="connsiteX27862" fmla="*/ 1552099 w 3359086"/>
                <a:gd name="connsiteY27862" fmla="*/ 28384 h 3355086"/>
                <a:gd name="connsiteX27863" fmla="*/ 1545907 w 3359086"/>
                <a:gd name="connsiteY27863" fmla="*/ 34576 h 3355086"/>
                <a:gd name="connsiteX27864" fmla="*/ 1545669 w 3359086"/>
                <a:gd name="connsiteY27864" fmla="*/ 34338 h 3355086"/>
                <a:gd name="connsiteX27865" fmla="*/ 1539620 w 3359086"/>
                <a:gd name="connsiteY27865" fmla="*/ 40387 h 3355086"/>
                <a:gd name="connsiteX27866" fmla="*/ 1533429 w 3359086"/>
                <a:gd name="connsiteY27866" fmla="*/ 34195 h 3355086"/>
                <a:gd name="connsiteX27867" fmla="*/ 1539620 w 3359086"/>
                <a:gd name="connsiteY27867" fmla="*/ 28004 h 3355086"/>
                <a:gd name="connsiteX27868" fmla="*/ 1539858 w 3359086"/>
                <a:gd name="connsiteY27868" fmla="*/ 28242 h 3355086"/>
                <a:gd name="connsiteX27869" fmla="*/ 1545907 w 3359086"/>
                <a:gd name="connsiteY27869" fmla="*/ 22193 h 3355086"/>
                <a:gd name="connsiteX27870" fmla="*/ 1545336 w 3359086"/>
                <a:gd name="connsiteY27870" fmla="*/ 21622 h 3355086"/>
                <a:gd name="connsiteX27871" fmla="*/ 1551527 w 3359086"/>
                <a:gd name="connsiteY27871" fmla="*/ 15431 h 3355086"/>
                <a:gd name="connsiteX27872" fmla="*/ 1876234 w 3359086"/>
                <a:gd name="connsiteY27872" fmla="*/ 15336 h 3355086"/>
                <a:gd name="connsiteX27873" fmla="*/ 1882426 w 3359086"/>
                <a:gd name="connsiteY27873" fmla="*/ 21527 h 3355086"/>
                <a:gd name="connsiteX27874" fmla="*/ 1876234 w 3359086"/>
                <a:gd name="connsiteY27874" fmla="*/ 27719 h 3355086"/>
                <a:gd name="connsiteX27875" fmla="*/ 1870043 w 3359086"/>
                <a:gd name="connsiteY27875" fmla="*/ 21527 h 3355086"/>
                <a:gd name="connsiteX27876" fmla="*/ 1876234 w 3359086"/>
                <a:gd name="connsiteY27876" fmla="*/ 15336 h 3355086"/>
                <a:gd name="connsiteX27877" fmla="*/ 1461516 w 3359086"/>
                <a:gd name="connsiteY27877" fmla="*/ 14478 h 3355086"/>
                <a:gd name="connsiteX27878" fmla="*/ 1462659 w 3359086"/>
                <a:gd name="connsiteY27878" fmla="*/ 15621 h 3355086"/>
                <a:gd name="connsiteX27879" fmla="*/ 1461516 w 3359086"/>
                <a:gd name="connsiteY27879" fmla="*/ 16764 h 3355086"/>
                <a:gd name="connsiteX27880" fmla="*/ 1460373 w 3359086"/>
                <a:gd name="connsiteY27880" fmla="*/ 15621 h 3355086"/>
                <a:gd name="connsiteX27881" fmla="*/ 1461516 w 3359086"/>
                <a:gd name="connsiteY27881" fmla="*/ 14478 h 3355086"/>
                <a:gd name="connsiteX27882" fmla="*/ 1820227 w 3359086"/>
                <a:gd name="connsiteY27882" fmla="*/ 14383 h 3355086"/>
                <a:gd name="connsiteX27883" fmla="*/ 1826419 w 3359086"/>
                <a:gd name="connsiteY27883" fmla="*/ 20574 h 3355086"/>
                <a:gd name="connsiteX27884" fmla="*/ 1820227 w 3359086"/>
                <a:gd name="connsiteY27884" fmla="*/ 26766 h 3355086"/>
                <a:gd name="connsiteX27885" fmla="*/ 1814036 w 3359086"/>
                <a:gd name="connsiteY27885" fmla="*/ 20574 h 3355086"/>
                <a:gd name="connsiteX27886" fmla="*/ 1820227 w 3359086"/>
                <a:gd name="connsiteY27886" fmla="*/ 14383 h 3355086"/>
                <a:gd name="connsiteX27887" fmla="*/ 1761172 w 3359086"/>
                <a:gd name="connsiteY27887" fmla="*/ 14288 h 3355086"/>
                <a:gd name="connsiteX27888" fmla="*/ 1767364 w 3359086"/>
                <a:gd name="connsiteY27888" fmla="*/ 20479 h 3355086"/>
                <a:gd name="connsiteX27889" fmla="*/ 1766364 w 3359086"/>
                <a:gd name="connsiteY27889" fmla="*/ 21479 h 3355086"/>
                <a:gd name="connsiteX27890" fmla="*/ 1772030 w 3359086"/>
                <a:gd name="connsiteY27890" fmla="*/ 27146 h 3355086"/>
                <a:gd name="connsiteX27891" fmla="*/ 1771887 w 3359086"/>
                <a:gd name="connsiteY27891" fmla="*/ 27289 h 3355086"/>
                <a:gd name="connsiteX27892" fmla="*/ 1776840 w 3359086"/>
                <a:gd name="connsiteY27892" fmla="*/ 32242 h 3355086"/>
                <a:gd name="connsiteX27893" fmla="*/ 1777078 w 3359086"/>
                <a:gd name="connsiteY27893" fmla="*/ 32004 h 3355086"/>
                <a:gd name="connsiteX27894" fmla="*/ 1783270 w 3359086"/>
                <a:gd name="connsiteY27894" fmla="*/ 38195 h 3355086"/>
                <a:gd name="connsiteX27895" fmla="*/ 1777078 w 3359086"/>
                <a:gd name="connsiteY27895" fmla="*/ 44387 h 3355086"/>
                <a:gd name="connsiteX27896" fmla="*/ 1771411 w 3359086"/>
                <a:gd name="connsiteY27896" fmla="*/ 38720 h 3355086"/>
                <a:gd name="connsiteX27897" fmla="*/ 1771173 w 3359086"/>
                <a:gd name="connsiteY27897" fmla="*/ 38958 h 3355086"/>
                <a:gd name="connsiteX27898" fmla="*/ 1764982 w 3359086"/>
                <a:gd name="connsiteY27898" fmla="*/ 32766 h 3355086"/>
                <a:gd name="connsiteX27899" fmla="*/ 1765125 w 3359086"/>
                <a:gd name="connsiteY27899" fmla="*/ 32624 h 3355086"/>
                <a:gd name="connsiteX27900" fmla="*/ 1759648 w 3359086"/>
                <a:gd name="connsiteY27900" fmla="*/ 27146 h 3355086"/>
                <a:gd name="connsiteX27901" fmla="*/ 1760648 w 3359086"/>
                <a:gd name="connsiteY27901" fmla="*/ 26147 h 3355086"/>
                <a:gd name="connsiteX27902" fmla="*/ 1754981 w 3359086"/>
                <a:gd name="connsiteY27902" fmla="*/ 20479 h 3355086"/>
                <a:gd name="connsiteX27903" fmla="*/ 1761172 w 3359086"/>
                <a:gd name="connsiteY27903" fmla="*/ 14288 h 3355086"/>
                <a:gd name="connsiteX27904" fmla="*/ 1891188 w 3359086"/>
                <a:gd name="connsiteY27904" fmla="*/ 13621 h 3355086"/>
                <a:gd name="connsiteX27905" fmla="*/ 1895474 w 3359086"/>
                <a:gd name="connsiteY27905" fmla="*/ 17907 h 3355086"/>
                <a:gd name="connsiteX27906" fmla="*/ 1891188 w 3359086"/>
                <a:gd name="connsiteY27906" fmla="*/ 22194 h 3355086"/>
                <a:gd name="connsiteX27907" fmla="*/ 1886902 w 3359086"/>
                <a:gd name="connsiteY27907" fmla="*/ 17907 h 3355086"/>
                <a:gd name="connsiteX27908" fmla="*/ 1891188 w 3359086"/>
                <a:gd name="connsiteY27908" fmla="*/ 13621 h 3355086"/>
                <a:gd name="connsiteX27909" fmla="*/ 1477041 w 3359086"/>
                <a:gd name="connsiteY27909" fmla="*/ 13145 h 3355086"/>
                <a:gd name="connsiteX27910" fmla="*/ 1483233 w 3359086"/>
                <a:gd name="connsiteY27910" fmla="*/ 19336 h 3355086"/>
                <a:gd name="connsiteX27911" fmla="*/ 1477041 w 3359086"/>
                <a:gd name="connsiteY27911" fmla="*/ 25528 h 3355086"/>
                <a:gd name="connsiteX27912" fmla="*/ 1470850 w 3359086"/>
                <a:gd name="connsiteY27912" fmla="*/ 19336 h 3355086"/>
                <a:gd name="connsiteX27913" fmla="*/ 1477041 w 3359086"/>
                <a:gd name="connsiteY27913" fmla="*/ 13145 h 3355086"/>
                <a:gd name="connsiteX27914" fmla="*/ 1533715 w 3359086"/>
                <a:gd name="connsiteY27914" fmla="*/ 12764 h 3355086"/>
                <a:gd name="connsiteX27915" fmla="*/ 1539907 w 3359086"/>
                <a:gd name="connsiteY27915" fmla="*/ 18955 h 3355086"/>
                <a:gd name="connsiteX27916" fmla="*/ 1533715 w 3359086"/>
                <a:gd name="connsiteY27916" fmla="*/ 25147 h 3355086"/>
                <a:gd name="connsiteX27917" fmla="*/ 1527524 w 3359086"/>
                <a:gd name="connsiteY27917" fmla="*/ 18955 h 3355086"/>
                <a:gd name="connsiteX27918" fmla="*/ 1533715 w 3359086"/>
                <a:gd name="connsiteY27918" fmla="*/ 12764 h 3355086"/>
                <a:gd name="connsiteX27919" fmla="*/ 1779460 w 3359086"/>
                <a:gd name="connsiteY27919" fmla="*/ 11430 h 3355086"/>
                <a:gd name="connsiteX27920" fmla="*/ 1785652 w 3359086"/>
                <a:gd name="connsiteY27920" fmla="*/ 17621 h 3355086"/>
                <a:gd name="connsiteX27921" fmla="*/ 1779460 w 3359086"/>
                <a:gd name="connsiteY27921" fmla="*/ 23813 h 3355086"/>
                <a:gd name="connsiteX27922" fmla="*/ 1773269 w 3359086"/>
                <a:gd name="connsiteY27922" fmla="*/ 17621 h 3355086"/>
                <a:gd name="connsiteX27923" fmla="*/ 1779460 w 3359086"/>
                <a:gd name="connsiteY27923" fmla="*/ 11430 h 3355086"/>
                <a:gd name="connsiteX27924" fmla="*/ 1836705 w 3359086"/>
                <a:gd name="connsiteY27924" fmla="*/ 11335 h 3355086"/>
                <a:gd name="connsiteX27925" fmla="*/ 1842897 w 3359086"/>
                <a:gd name="connsiteY27925" fmla="*/ 17526 h 3355086"/>
                <a:gd name="connsiteX27926" fmla="*/ 1836705 w 3359086"/>
                <a:gd name="connsiteY27926" fmla="*/ 23718 h 3355086"/>
                <a:gd name="connsiteX27927" fmla="*/ 1830514 w 3359086"/>
                <a:gd name="connsiteY27927" fmla="*/ 17526 h 3355086"/>
                <a:gd name="connsiteX27928" fmla="*/ 1836705 w 3359086"/>
                <a:gd name="connsiteY27928" fmla="*/ 11335 h 3355086"/>
                <a:gd name="connsiteX27929" fmla="*/ 1574577 w 3359086"/>
                <a:gd name="connsiteY27929" fmla="*/ 10287 h 3355086"/>
                <a:gd name="connsiteX27930" fmla="*/ 1580769 w 3359086"/>
                <a:gd name="connsiteY27930" fmla="*/ 16478 h 3355086"/>
                <a:gd name="connsiteX27931" fmla="*/ 1574862 w 3359086"/>
                <a:gd name="connsiteY27931" fmla="*/ 22384 h 3355086"/>
                <a:gd name="connsiteX27932" fmla="*/ 1576387 w 3359086"/>
                <a:gd name="connsiteY27932" fmla="*/ 23908 h 3355086"/>
                <a:gd name="connsiteX27933" fmla="*/ 1570958 w 3359086"/>
                <a:gd name="connsiteY27933" fmla="*/ 29337 h 3355086"/>
                <a:gd name="connsiteX27934" fmla="*/ 1571530 w 3359086"/>
                <a:gd name="connsiteY27934" fmla="*/ 29909 h 3355086"/>
                <a:gd name="connsiteX27935" fmla="*/ 1565338 w 3359086"/>
                <a:gd name="connsiteY27935" fmla="*/ 36101 h 3355086"/>
                <a:gd name="connsiteX27936" fmla="*/ 1565290 w 3359086"/>
                <a:gd name="connsiteY27936" fmla="*/ 36053 h 3355086"/>
                <a:gd name="connsiteX27937" fmla="*/ 1559813 w 3359086"/>
                <a:gd name="connsiteY27937" fmla="*/ 41530 h 3355086"/>
                <a:gd name="connsiteX27938" fmla="*/ 1559527 w 3359086"/>
                <a:gd name="connsiteY27938" fmla="*/ 41244 h 3355086"/>
                <a:gd name="connsiteX27939" fmla="*/ 1553622 w 3359086"/>
                <a:gd name="connsiteY27939" fmla="*/ 47150 h 3355086"/>
                <a:gd name="connsiteX27940" fmla="*/ 1547431 w 3359086"/>
                <a:gd name="connsiteY27940" fmla="*/ 40958 h 3355086"/>
                <a:gd name="connsiteX27941" fmla="*/ 1553622 w 3359086"/>
                <a:gd name="connsiteY27941" fmla="*/ 34767 h 3355086"/>
                <a:gd name="connsiteX27942" fmla="*/ 1553908 w 3359086"/>
                <a:gd name="connsiteY27942" fmla="*/ 35053 h 3355086"/>
                <a:gd name="connsiteX27943" fmla="*/ 1559813 w 3359086"/>
                <a:gd name="connsiteY27943" fmla="*/ 29147 h 3355086"/>
                <a:gd name="connsiteX27944" fmla="*/ 1559861 w 3359086"/>
                <a:gd name="connsiteY27944" fmla="*/ 29195 h 3355086"/>
                <a:gd name="connsiteX27945" fmla="*/ 1564576 w 3359086"/>
                <a:gd name="connsiteY27945" fmla="*/ 24480 h 3355086"/>
                <a:gd name="connsiteX27946" fmla="*/ 1564004 w 3359086"/>
                <a:gd name="connsiteY27946" fmla="*/ 23908 h 3355086"/>
                <a:gd name="connsiteX27947" fmla="*/ 1569910 w 3359086"/>
                <a:gd name="connsiteY27947" fmla="*/ 18002 h 3355086"/>
                <a:gd name="connsiteX27948" fmla="*/ 1568386 w 3359086"/>
                <a:gd name="connsiteY27948" fmla="*/ 16478 h 3355086"/>
                <a:gd name="connsiteX27949" fmla="*/ 1574577 w 3359086"/>
                <a:gd name="connsiteY27949" fmla="*/ 10287 h 3355086"/>
                <a:gd name="connsiteX27950" fmla="*/ 1500283 w 3359086"/>
                <a:gd name="connsiteY27950" fmla="*/ 9811 h 3355086"/>
                <a:gd name="connsiteX27951" fmla="*/ 1502378 w 3359086"/>
                <a:gd name="connsiteY27951" fmla="*/ 11907 h 3355086"/>
                <a:gd name="connsiteX27952" fmla="*/ 1500283 w 3359086"/>
                <a:gd name="connsiteY27952" fmla="*/ 14002 h 3355086"/>
                <a:gd name="connsiteX27953" fmla="*/ 1498187 w 3359086"/>
                <a:gd name="connsiteY27953" fmla="*/ 11907 h 3355086"/>
                <a:gd name="connsiteX27954" fmla="*/ 1500283 w 3359086"/>
                <a:gd name="connsiteY27954" fmla="*/ 9811 h 3355086"/>
                <a:gd name="connsiteX27955" fmla="*/ 1516665 w 3359086"/>
                <a:gd name="connsiteY27955" fmla="*/ 9525 h 3355086"/>
                <a:gd name="connsiteX27956" fmla="*/ 1522857 w 3359086"/>
                <a:gd name="connsiteY27956" fmla="*/ 15716 h 3355086"/>
                <a:gd name="connsiteX27957" fmla="*/ 1516665 w 3359086"/>
                <a:gd name="connsiteY27957" fmla="*/ 21908 h 3355086"/>
                <a:gd name="connsiteX27958" fmla="*/ 1510474 w 3359086"/>
                <a:gd name="connsiteY27958" fmla="*/ 15716 h 3355086"/>
                <a:gd name="connsiteX27959" fmla="*/ 1516665 w 3359086"/>
                <a:gd name="connsiteY27959" fmla="*/ 9525 h 3355086"/>
                <a:gd name="connsiteX27960" fmla="*/ 1738598 w 3359086"/>
                <a:gd name="connsiteY27960" fmla="*/ 9430 h 3355086"/>
                <a:gd name="connsiteX27961" fmla="*/ 1744789 w 3359086"/>
                <a:gd name="connsiteY27961" fmla="*/ 15621 h 3355086"/>
                <a:gd name="connsiteX27962" fmla="*/ 1742837 w 3359086"/>
                <a:gd name="connsiteY27962" fmla="*/ 17574 h 3355086"/>
                <a:gd name="connsiteX27963" fmla="*/ 1748218 w 3359086"/>
                <a:gd name="connsiteY27963" fmla="*/ 22955 h 3355086"/>
                <a:gd name="connsiteX27964" fmla="*/ 1747218 w 3359086"/>
                <a:gd name="connsiteY27964" fmla="*/ 23955 h 3355086"/>
                <a:gd name="connsiteX27965" fmla="*/ 1752124 w 3359086"/>
                <a:gd name="connsiteY27965" fmla="*/ 28861 h 3355086"/>
                <a:gd name="connsiteX27966" fmla="*/ 1751695 w 3359086"/>
                <a:gd name="connsiteY27966" fmla="*/ 29291 h 3355086"/>
                <a:gd name="connsiteX27967" fmla="*/ 1756505 w 3359086"/>
                <a:gd name="connsiteY27967" fmla="*/ 34100 h 3355086"/>
                <a:gd name="connsiteX27968" fmla="*/ 1756172 w 3359086"/>
                <a:gd name="connsiteY27968" fmla="*/ 34434 h 3355086"/>
                <a:gd name="connsiteX27969" fmla="*/ 1761363 w 3359086"/>
                <a:gd name="connsiteY27969" fmla="*/ 39624 h 3355086"/>
                <a:gd name="connsiteX27970" fmla="*/ 1760648 w 3359086"/>
                <a:gd name="connsiteY27970" fmla="*/ 40339 h 3355086"/>
                <a:gd name="connsiteX27971" fmla="*/ 1766792 w 3359086"/>
                <a:gd name="connsiteY27971" fmla="*/ 46482 h 3355086"/>
                <a:gd name="connsiteX27972" fmla="*/ 1760600 w 3359086"/>
                <a:gd name="connsiteY27972" fmla="*/ 52674 h 3355086"/>
                <a:gd name="connsiteX27973" fmla="*/ 1754409 w 3359086"/>
                <a:gd name="connsiteY27973" fmla="*/ 46482 h 3355086"/>
                <a:gd name="connsiteX27974" fmla="*/ 1755123 w 3359086"/>
                <a:gd name="connsiteY27974" fmla="*/ 45768 h 3355086"/>
                <a:gd name="connsiteX27975" fmla="*/ 1748980 w 3359086"/>
                <a:gd name="connsiteY27975" fmla="*/ 39624 h 3355086"/>
                <a:gd name="connsiteX27976" fmla="*/ 1749313 w 3359086"/>
                <a:gd name="connsiteY27976" fmla="*/ 39291 h 3355086"/>
                <a:gd name="connsiteX27977" fmla="*/ 1744122 w 3359086"/>
                <a:gd name="connsiteY27977" fmla="*/ 34100 h 3355086"/>
                <a:gd name="connsiteX27978" fmla="*/ 1744551 w 3359086"/>
                <a:gd name="connsiteY27978" fmla="*/ 33672 h 3355086"/>
                <a:gd name="connsiteX27979" fmla="*/ 1739741 w 3359086"/>
                <a:gd name="connsiteY27979" fmla="*/ 28861 h 3355086"/>
                <a:gd name="connsiteX27980" fmla="*/ 1740741 w 3359086"/>
                <a:gd name="connsiteY27980" fmla="*/ 27861 h 3355086"/>
                <a:gd name="connsiteX27981" fmla="*/ 1735836 w 3359086"/>
                <a:gd name="connsiteY27981" fmla="*/ 22955 h 3355086"/>
                <a:gd name="connsiteX27982" fmla="*/ 1737788 w 3359086"/>
                <a:gd name="connsiteY27982" fmla="*/ 21003 h 3355086"/>
                <a:gd name="connsiteX27983" fmla="*/ 1732407 w 3359086"/>
                <a:gd name="connsiteY27983" fmla="*/ 15621 h 3355086"/>
                <a:gd name="connsiteX27984" fmla="*/ 1738598 w 3359086"/>
                <a:gd name="connsiteY27984" fmla="*/ 9430 h 3355086"/>
                <a:gd name="connsiteX27985" fmla="*/ 1852612 w 3359086"/>
                <a:gd name="connsiteY27985" fmla="*/ 9144 h 3355086"/>
                <a:gd name="connsiteX27986" fmla="*/ 1857280 w 3359086"/>
                <a:gd name="connsiteY27986" fmla="*/ 13811 h 3355086"/>
                <a:gd name="connsiteX27987" fmla="*/ 1852612 w 3359086"/>
                <a:gd name="connsiteY27987" fmla="*/ 18479 h 3355086"/>
                <a:gd name="connsiteX27988" fmla="*/ 1847945 w 3359086"/>
                <a:gd name="connsiteY27988" fmla="*/ 13811 h 3355086"/>
                <a:gd name="connsiteX27989" fmla="*/ 1852612 w 3359086"/>
                <a:gd name="connsiteY27989" fmla="*/ 9144 h 3355086"/>
                <a:gd name="connsiteX27990" fmla="*/ 1615535 w 3359086"/>
                <a:gd name="connsiteY27990" fmla="*/ 8668 h 3355086"/>
                <a:gd name="connsiteX27991" fmla="*/ 1621726 w 3359086"/>
                <a:gd name="connsiteY27991" fmla="*/ 14859 h 3355086"/>
                <a:gd name="connsiteX27992" fmla="*/ 1616916 w 3359086"/>
                <a:gd name="connsiteY27992" fmla="*/ 19670 h 3355086"/>
                <a:gd name="connsiteX27993" fmla="*/ 1619344 w 3359086"/>
                <a:gd name="connsiteY27993" fmla="*/ 22098 h 3355086"/>
                <a:gd name="connsiteX27994" fmla="*/ 1615059 w 3359086"/>
                <a:gd name="connsiteY27994" fmla="*/ 26384 h 3355086"/>
                <a:gd name="connsiteX27995" fmla="*/ 1616583 w 3359086"/>
                <a:gd name="connsiteY27995" fmla="*/ 27908 h 3355086"/>
                <a:gd name="connsiteX27996" fmla="*/ 1612487 w 3359086"/>
                <a:gd name="connsiteY27996" fmla="*/ 32005 h 3355086"/>
                <a:gd name="connsiteX27997" fmla="*/ 1613534 w 3359086"/>
                <a:gd name="connsiteY27997" fmla="*/ 33052 h 3355086"/>
                <a:gd name="connsiteX27998" fmla="*/ 1609105 w 3359086"/>
                <a:gd name="connsiteY27998" fmla="*/ 37481 h 3355086"/>
                <a:gd name="connsiteX27999" fmla="*/ 1610105 w 3359086"/>
                <a:gd name="connsiteY27999" fmla="*/ 38481 h 3355086"/>
                <a:gd name="connsiteX28000" fmla="*/ 1604819 w 3359086"/>
                <a:gd name="connsiteY28000" fmla="*/ 43767 h 3355086"/>
                <a:gd name="connsiteX28001" fmla="*/ 1606296 w 3359086"/>
                <a:gd name="connsiteY28001" fmla="*/ 45244 h 3355086"/>
                <a:gd name="connsiteX28002" fmla="*/ 1600104 w 3359086"/>
                <a:gd name="connsiteY28002" fmla="*/ 51435 h 3355086"/>
                <a:gd name="connsiteX28003" fmla="*/ 1593913 w 3359086"/>
                <a:gd name="connsiteY28003" fmla="*/ 45244 h 3355086"/>
                <a:gd name="connsiteX28004" fmla="*/ 1599200 w 3359086"/>
                <a:gd name="connsiteY28004" fmla="*/ 39958 h 3355086"/>
                <a:gd name="connsiteX28005" fmla="*/ 1597723 w 3359086"/>
                <a:gd name="connsiteY28005" fmla="*/ 38481 h 3355086"/>
                <a:gd name="connsiteX28006" fmla="*/ 1602152 w 3359086"/>
                <a:gd name="connsiteY28006" fmla="*/ 34052 h 3355086"/>
                <a:gd name="connsiteX28007" fmla="*/ 1601152 w 3359086"/>
                <a:gd name="connsiteY28007" fmla="*/ 33052 h 3355086"/>
                <a:gd name="connsiteX28008" fmla="*/ 1605248 w 3359086"/>
                <a:gd name="connsiteY28008" fmla="*/ 28956 h 3355086"/>
                <a:gd name="connsiteX28009" fmla="*/ 1604200 w 3359086"/>
                <a:gd name="connsiteY28009" fmla="*/ 27908 h 3355086"/>
                <a:gd name="connsiteX28010" fmla="*/ 1608486 w 3359086"/>
                <a:gd name="connsiteY28010" fmla="*/ 23622 h 3355086"/>
                <a:gd name="connsiteX28011" fmla="*/ 1606962 w 3359086"/>
                <a:gd name="connsiteY28011" fmla="*/ 22098 h 3355086"/>
                <a:gd name="connsiteX28012" fmla="*/ 1611772 w 3359086"/>
                <a:gd name="connsiteY28012" fmla="*/ 17288 h 3355086"/>
                <a:gd name="connsiteX28013" fmla="*/ 1609344 w 3359086"/>
                <a:gd name="connsiteY28013" fmla="*/ 14859 h 3355086"/>
                <a:gd name="connsiteX28014" fmla="*/ 1615535 w 3359086"/>
                <a:gd name="connsiteY28014" fmla="*/ 8668 h 3355086"/>
                <a:gd name="connsiteX28015" fmla="*/ 1796986 w 3359086"/>
                <a:gd name="connsiteY28015" fmla="*/ 8192 h 3355086"/>
                <a:gd name="connsiteX28016" fmla="*/ 1803178 w 3359086"/>
                <a:gd name="connsiteY28016" fmla="*/ 14383 h 3355086"/>
                <a:gd name="connsiteX28017" fmla="*/ 1796986 w 3359086"/>
                <a:gd name="connsiteY28017" fmla="*/ 20575 h 3355086"/>
                <a:gd name="connsiteX28018" fmla="*/ 1790795 w 3359086"/>
                <a:gd name="connsiteY28018" fmla="*/ 14383 h 3355086"/>
                <a:gd name="connsiteX28019" fmla="*/ 1796986 w 3359086"/>
                <a:gd name="connsiteY28019" fmla="*/ 8192 h 3355086"/>
                <a:gd name="connsiteX28020" fmla="*/ 1556575 w 3359086"/>
                <a:gd name="connsiteY28020" fmla="*/ 6763 h 3355086"/>
                <a:gd name="connsiteX28021" fmla="*/ 1562767 w 3359086"/>
                <a:gd name="connsiteY28021" fmla="*/ 12954 h 3355086"/>
                <a:gd name="connsiteX28022" fmla="*/ 1556575 w 3359086"/>
                <a:gd name="connsiteY28022" fmla="*/ 19146 h 3355086"/>
                <a:gd name="connsiteX28023" fmla="*/ 1550384 w 3359086"/>
                <a:gd name="connsiteY28023" fmla="*/ 12954 h 3355086"/>
                <a:gd name="connsiteX28024" fmla="*/ 1556575 w 3359086"/>
                <a:gd name="connsiteY28024" fmla="*/ 6763 h 3355086"/>
                <a:gd name="connsiteX28025" fmla="*/ 1539240 w 3359086"/>
                <a:gd name="connsiteY28025" fmla="*/ 6001 h 3355086"/>
                <a:gd name="connsiteX28026" fmla="*/ 1542193 w 3359086"/>
                <a:gd name="connsiteY28026" fmla="*/ 8954 h 3355086"/>
                <a:gd name="connsiteX28027" fmla="*/ 1539240 w 3359086"/>
                <a:gd name="connsiteY28027" fmla="*/ 11907 h 3355086"/>
                <a:gd name="connsiteX28028" fmla="*/ 1536287 w 3359086"/>
                <a:gd name="connsiteY28028" fmla="*/ 8954 h 3355086"/>
                <a:gd name="connsiteX28029" fmla="*/ 1539240 w 3359086"/>
                <a:gd name="connsiteY28029" fmla="*/ 6001 h 3355086"/>
                <a:gd name="connsiteX28030" fmla="*/ 1757076 w 3359086"/>
                <a:gd name="connsiteY28030" fmla="*/ 5811 h 3355086"/>
                <a:gd name="connsiteX28031" fmla="*/ 1763267 w 3359086"/>
                <a:gd name="connsiteY28031" fmla="*/ 12002 h 3355086"/>
                <a:gd name="connsiteX28032" fmla="*/ 1757076 w 3359086"/>
                <a:gd name="connsiteY28032" fmla="*/ 18194 h 3355086"/>
                <a:gd name="connsiteX28033" fmla="*/ 1750885 w 3359086"/>
                <a:gd name="connsiteY28033" fmla="*/ 12002 h 3355086"/>
                <a:gd name="connsiteX28034" fmla="*/ 1757076 w 3359086"/>
                <a:gd name="connsiteY28034" fmla="*/ 5811 h 3355086"/>
                <a:gd name="connsiteX28035" fmla="*/ 1813845 w 3359086"/>
                <a:gd name="connsiteY28035" fmla="*/ 5525 h 3355086"/>
                <a:gd name="connsiteX28036" fmla="*/ 1818703 w 3359086"/>
                <a:gd name="connsiteY28036" fmla="*/ 10383 h 3355086"/>
                <a:gd name="connsiteX28037" fmla="*/ 1813845 w 3359086"/>
                <a:gd name="connsiteY28037" fmla="*/ 15241 h 3355086"/>
                <a:gd name="connsiteX28038" fmla="*/ 1808987 w 3359086"/>
                <a:gd name="connsiteY28038" fmla="*/ 10383 h 3355086"/>
                <a:gd name="connsiteX28039" fmla="*/ 1813845 w 3359086"/>
                <a:gd name="connsiteY28039" fmla="*/ 5525 h 3355086"/>
                <a:gd name="connsiteX28040" fmla="*/ 1596580 w 3359086"/>
                <a:gd name="connsiteY28040" fmla="*/ 4858 h 3355086"/>
                <a:gd name="connsiteX28041" fmla="*/ 1602772 w 3359086"/>
                <a:gd name="connsiteY28041" fmla="*/ 11049 h 3355086"/>
                <a:gd name="connsiteX28042" fmla="*/ 1596961 w 3359086"/>
                <a:gd name="connsiteY28042" fmla="*/ 16860 h 3355086"/>
                <a:gd name="connsiteX28043" fmla="*/ 1599532 w 3359086"/>
                <a:gd name="connsiteY28043" fmla="*/ 19431 h 3355086"/>
                <a:gd name="connsiteX28044" fmla="*/ 1594485 w 3359086"/>
                <a:gd name="connsiteY28044" fmla="*/ 24479 h 3355086"/>
                <a:gd name="connsiteX28045" fmla="*/ 1596009 w 3359086"/>
                <a:gd name="connsiteY28045" fmla="*/ 26003 h 3355086"/>
                <a:gd name="connsiteX28046" fmla="*/ 1591246 w 3359086"/>
                <a:gd name="connsiteY28046" fmla="*/ 30766 h 3355086"/>
                <a:gd name="connsiteX28047" fmla="*/ 1591913 w 3359086"/>
                <a:gd name="connsiteY28047" fmla="*/ 31433 h 3355086"/>
                <a:gd name="connsiteX28048" fmla="*/ 1587056 w 3359086"/>
                <a:gd name="connsiteY28048" fmla="*/ 36290 h 3355086"/>
                <a:gd name="connsiteX28049" fmla="*/ 1587437 w 3359086"/>
                <a:gd name="connsiteY28049" fmla="*/ 36671 h 3355086"/>
                <a:gd name="connsiteX28050" fmla="*/ 1581864 w 3359086"/>
                <a:gd name="connsiteY28050" fmla="*/ 42243 h 3355086"/>
                <a:gd name="connsiteX28051" fmla="*/ 1582388 w 3359086"/>
                <a:gd name="connsiteY28051" fmla="*/ 42767 h 3355086"/>
                <a:gd name="connsiteX28052" fmla="*/ 1576196 w 3359086"/>
                <a:gd name="connsiteY28052" fmla="*/ 48959 h 3355086"/>
                <a:gd name="connsiteX28053" fmla="*/ 1570005 w 3359086"/>
                <a:gd name="connsiteY28053" fmla="*/ 42767 h 3355086"/>
                <a:gd name="connsiteX28054" fmla="*/ 1575578 w 3359086"/>
                <a:gd name="connsiteY28054" fmla="*/ 37195 h 3355086"/>
                <a:gd name="connsiteX28055" fmla="*/ 1575054 w 3359086"/>
                <a:gd name="connsiteY28055" fmla="*/ 36671 h 3355086"/>
                <a:gd name="connsiteX28056" fmla="*/ 1579911 w 3359086"/>
                <a:gd name="connsiteY28056" fmla="*/ 31814 h 3355086"/>
                <a:gd name="connsiteX28057" fmla="*/ 1579530 w 3359086"/>
                <a:gd name="connsiteY28057" fmla="*/ 31433 h 3355086"/>
                <a:gd name="connsiteX28058" fmla="*/ 1584293 w 3359086"/>
                <a:gd name="connsiteY28058" fmla="*/ 26670 h 3355086"/>
                <a:gd name="connsiteX28059" fmla="*/ 1583626 w 3359086"/>
                <a:gd name="connsiteY28059" fmla="*/ 26003 h 3355086"/>
                <a:gd name="connsiteX28060" fmla="*/ 1588674 w 3359086"/>
                <a:gd name="connsiteY28060" fmla="*/ 20955 h 3355086"/>
                <a:gd name="connsiteX28061" fmla="*/ 1587150 w 3359086"/>
                <a:gd name="connsiteY28061" fmla="*/ 19431 h 3355086"/>
                <a:gd name="connsiteX28062" fmla="*/ 1592960 w 3359086"/>
                <a:gd name="connsiteY28062" fmla="*/ 13621 h 3355086"/>
                <a:gd name="connsiteX28063" fmla="*/ 1590389 w 3359086"/>
                <a:gd name="connsiteY28063" fmla="*/ 11049 h 3355086"/>
                <a:gd name="connsiteX28064" fmla="*/ 1596580 w 3359086"/>
                <a:gd name="connsiteY28064" fmla="*/ 4858 h 3355086"/>
                <a:gd name="connsiteX28065" fmla="*/ 1716976 w 3359086"/>
                <a:gd name="connsiteY28065" fmla="*/ 4286 h 3355086"/>
                <a:gd name="connsiteX28066" fmla="*/ 1723168 w 3359086"/>
                <a:gd name="connsiteY28066" fmla="*/ 10477 h 3355086"/>
                <a:gd name="connsiteX28067" fmla="*/ 1720167 w 3359086"/>
                <a:gd name="connsiteY28067" fmla="*/ 13478 h 3355086"/>
                <a:gd name="connsiteX28068" fmla="*/ 1725453 w 3359086"/>
                <a:gd name="connsiteY28068" fmla="*/ 18764 h 3355086"/>
                <a:gd name="connsiteX28069" fmla="*/ 1723548 w 3359086"/>
                <a:gd name="connsiteY28069" fmla="*/ 20669 h 3355086"/>
                <a:gd name="connsiteX28070" fmla="*/ 1728120 w 3359086"/>
                <a:gd name="connsiteY28070" fmla="*/ 25241 h 3355086"/>
                <a:gd name="connsiteX28071" fmla="*/ 1726930 w 3359086"/>
                <a:gd name="connsiteY28071" fmla="*/ 26432 h 3355086"/>
                <a:gd name="connsiteX28072" fmla="*/ 1731074 w 3359086"/>
                <a:gd name="connsiteY28072" fmla="*/ 30575 h 3355086"/>
                <a:gd name="connsiteX28073" fmla="*/ 1730168 w 3359086"/>
                <a:gd name="connsiteY28073" fmla="*/ 31481 h 3355086"/>
                <a:gd name="connsiteX28074" fmla="*/ 1734407 w 3359086"/>
                <a:gd name="connsiteY28074" fmla="*/ 35719 h 3355086"/>
                <a:gd name="connsiteX28075" fmla="*/ 1733312 w 3359086"/>
                <a:gd name="connsiteY28075" fmla="*/ 36815 h 3355086"/>
                <a:gd name="connsiteX28076" fmla="*/ 1738122 w 3359086"/>
                <a:gd name="connsiteY28076" fmla="*/ 41624 h 3355086"/>
                <a:gd name="connsiteX28077" fmla="*/ 1736217 w 3359086"/>
                <a:gd name="connsiteY28077" fmla="*/ 43530 h 3355086"/>
                <a:gd name="connsiteX28078" fmla="*/ 1742218 w 3359086"/>
                <a:gd name="connsiteY28078" fmla="*/ 49530 h 3355086"/>
                <a:gd name="connsiteX28079" fmla="*/ 1736026 w 3359086"/>
                <a:gd name="connsiteY28079" fmla="*/ 55722 h 3355086"/>
                <a:gd name="connsiteX28080" fmla="*/ 1729835 w 3359086"/>
                <a:gd name="connsiteY28080" fmla="*/ 49530 h 3355086"/>
                <a:gd name="connsiteX28081" fmla="*/ 1731740 w 3359086"/>
                <a:gd name="connsiteY28081" fmla="*/ 47626 h 3355086"/>
                <a:gd name="connsiteX28082" fmla="*/ 1725739 w 3359086"/>
                <a:gd name="connsiteY28082" fmla="*/ 41624 h 3355086"/>
                <a:gd name="connsiteX28083" fmla="*/ 1726834 w 3359086"/>
                <a:gd name="connsiteY28083" fmla="*/ 40530 h 3355086"/>
                <a:gd name="connsiteX28084" fmla="*/ 1722024 w 3359086"/>
                <a:gd name="connsiteY28084" fmla="*/ 35719 h 3355086"/>
                <a:gd name="connsiteX28085" fmla="*/ 1722929 w 3359086"/>
                <a:gd name="connsiteY28085" fmla="*/ 34814 h 3355086"/>
                <a:gd name="connsiteX28086" fmla="*/ 1718691 w 3359086"/>
                <a:gd name="connsiteY28086" fmla="*/ 30575 h 3355086"/>
                <a:gd name="connsiteX28087" fmla="*/ 1719881 w 3359086"/>
                <a:gd name="connsiteY28087" fmla="*/ 29385 h 3355086"/>
                <a:gd name="connsiteX28088" fmla="*/ 1715738 w 3359086"/>
                <a:gd name="connsiteY28088" fmla="*/ 25241 h 3355086"/>
                <a:gd name="connsiteX28089" fmla="*/ 1717643 w 3359086"/>
                <a:gd name="connsiteY28089" fmla="*/ 23336 h 3355086"/>
                <a:gd name="connsiteX28090" fmla="*/ 1713071 w 3359086"/>
                <a:gd name="connsiteY28090" fmla="*/ 18764 h 3355086"/>
                <a:gd name="connsiteX28091" fmla="*/ 1716071 w 3359086"/>
                <a:gd name="connsiteY28091" fmla="*/ 15764 h 3355086"/>
                <a:gd name="connsiteX28092" fmla="*/ 1710785 w 3359086"/>
                <a:gd name="connsiteY28092" fmla="*/ 10477 h 3355086"/>
                <a:gd name="connsiteX28093" fmla="*/ 1716976 w 3359086"/>
                <a:gd name="connsiteY28093" fmla="*/ 4286 h 3355086"/>
                <a:gd name="connsiteX28094" fmla="*/ 1636680 w 3359086"/>
                <a:gd name="connsiteY28094" fmla="*/ 3810 h 3355086"/>
                <a:gd name="connsiteX28095" fmla="*/ 1642872 w 3359086"/>
                <a:gd name="connsiteY28095" fmla="*/ 10001 h 3355086"/>
                <a:gd name="connsiteX28096" fmla="*/ 1638061 w 3359086"/>
                <a:gd name="connsiteY28096" fmla="*/ 14812 h 3355086"/>
                <a:gd name="connsiteX28097" fmla="*/ 1641538 w 3359086"/>
                <a:gd name="connsiteY28097" fmla="*/ 18288 h 3355086"/>
                <a:gd name="connsiteX28098" fmla="*/ 1637585 w 3359086"/>
                <a:gd name="connsiteY28098" fmla="*/ 22241 h 3355086"/>
                <a:gd name="connsiteX28099" fmla="*/ 1640014 w 3359086"/>
                <a:gd name="connsiteY28099" fmla="*/ 24670 h 3355086"/>
                <a:gd name="connsiteX28100" fmla="*/ 1636538 w 3359086"/>
                <a:gd name="connsiteY28100" fmla="*/ 28147 h 3355086"/>
                <a:gd name="connsiteX28101" fmla="*/ 1638300 w 3359086"/>
                <a:gd name="connsiteY28101" fmla="*/ 29909 h 3355086"/>
                <a:gd name="connsiteX28102" fmla="*/ 1634823 w 3359086"/>
                <a:gd name="connsiteY28102" fmla="*/ 33386 h 3355086"/>
                <a:gd name="connsiteX28103" fmla="*/ 1636395 w 3359086"/>
                <a:gd name="connsiteY28103" fmla="*/ 34957 h 3355086"/>
                <a:gd name="connsiteX28104" fmla="*/ 1632347 w 3359086"/>
                <a:gd name="connsiteY28104" fmla="*/ 39005 h 3355086"/>
                <a:gd name="connsiteX28105" fmla="*/ 1634204 w 3359086"/>
                <a:gd name="connsiteY28105" fmla="*/ 40862 h 3355086"/>
                <a:gd name="connsiteX28106" fmla="*/ 1629107 w 3359086"/>
                <a:gd name="connsiteY28106" fmla="*/ 45958 h 3355086"/>
                <a:gd name="connsiteX28107" fmla="*/ 1631823 w 3359086"/>
                <a:gd name="connsiteY28107" fmla="*/ 48673 h 3355086"/>
                <a:gd name="connsiteX28108" fmla="*/ 1625631 w 3359086"/>
                <a:gd name="connsiteY28108" fmla="*/ 54865 h 3355086"/>
                <a:gd name="connsiteX28109" fmla="*/ 1619440 w 3359086"/>
                <a:gd name="connsiteY28109" fmla="*/ 48673 h 3355086"/>
                <a:gd name="connsiteX28110" fmla="*/ 1624536 w 3359086"/>
                <a:gd name="connsiteY28110" fmla="*/ 43577 h 3355086"/>
                <a:gd name="connsiteX28111" fmla="*/ 1621821 w 3359086"/>
                <a:gd name="connsiteY28111" fmla="*/ 40862 h 3355086"/>
                <a:gd name="connsiteX28112" fmla="*/ 1625869 w 3359086"/>
                <a:gd name="connsiteY28112" fmla="*/ 36814 h 3355086"/>
                <a:gd name="connsiteX28113" fmla="*/ 1624012 w 3359086"/>
                <a:gd name="connsiteY28113" fmla="*/ 34957 h 3355086"/>
                <a:gd name="connsiteX28114" fmla="*/ 1627488 w 3359086"/>
                <a:gd name="connsiteY28114" fmla="*/ 31481 h 3355086"/>
                <a:gd name="connsiteX28115" fmla="*/ 1625917 w 3359086"/>
                <a:gd name="connsiteY28115" fmla="*/ 29909 h 3355086"/>
                <a:gd name="connsiteX28116" fmla="*/ 1629394 w 3359086"/>
                <a:gd name="connsiteY28116" fmla="*/ 26432 h 3355086"/>
                <a:gd name="connsiteX28117" fmla="*/ 1627632 w 3359086"/>
                <a:gd name="connsiteY28117" fmla="*/ 24670 h 3355086"/>
                <a:gd name="connsiteX28118" fmla="*/ 1631584 w 3359086"/>
                <a:gd name="connsiteY28118" fmla="*/ 20718 h 3355086"/>
                <a:gd name="connsiteX28119" fmla="*/ 1629155 w 3359086"/>
                <a:gd name="connsiteY28119" fmla="*/ 18288 h 3355086"/>
                <a:gd name="connsiteX28120" fmla="*/ 1633965 w 3359086"/>
                <a:gd name="connsiteY28120" fmla="*/ 13478 h 3355086"/>
                <a:gd name="connsiteX28121" fmla="*/ 1630489 w 3359086"/>
                <a:gd name="connsiteY28121" fmla="*/ 10001 h 3355086"/>
                <a:gd name="connsiteX28122" fmla="*/ 1636680 w 3359086"/>
                <a:gd name="connsiteY28122" fmla="*/ 3810 h 3355086"/>
                <a:gd name="connsiteX28123" fmla="*/ 1676875 w 3359086"/>
                <a:gd name="connsiteY28123" fmla="*/ 3620 h 3355086"/>
                <a:gd name="connsiteX28124" fmla="*/ 1683067 w 3359086"/>
                <a:gd name="connsiteY28124" fmla="*/ 9811 h 3355086"/>
                <a:gd name="connsiteX28125" fmla="*/ 1679210 w 3359086"/>
                <a:gd name="connsiteY28125" fmla="*/ 13668 h 3355086"/>
                <a:gd name="connsiteX28126" fmla="*/ 1683544 w 3359086"/>
                <a:gd name="connsiteY28126" fmla="*/ 18002 h 3355086"/>
                <a:gd name="connsiteX28127" fmla="*/ 1680638 w 3359086"/>
                <a:gd name="connsiteY28127" fmla="*/ 20908 h 3355086"/>
                <a:gd name="connsiteX28128" fmla="*/ 1684115 w 3359086"/>
                <a:gd name="connsiteY28128" fmla="*/ 24384 h 3355086"/>
                <a:gd name="connsiteX28129" fmla="*/ 1681781 w 3359086"/>
                <a:gd name="connsiteY28129" fmla="*/ 26718 h 3355086"/>
                <a:gd name="connsiteX28130" fmla="*/ 1684686 w 3359086"/>
                <a:gd name="connsiteY28130" fmla="*/ 29623 h 3355086"/>
                <a:gd name="connsiteX28131" fmla="*/ 1682543 w 3359086"/>
                <a:gd name="connsiteY28131" fmla="*/ 31766 h 3355086"/>
                <a:gd name="connsiteX28132" fmla="*/ 1685449 w 3359086"/>
                <a:gd name="connsiteY28132" fmla="*/ 34671 h 3355086"/>
                <a:gd name="connsiteX28133" fmla="*/ 1682925 w 3359086"/>
                <a:gd name="connsiteY28133" fmla="*/ 37195 h 3355086"/>
                <a:gd name="connsiteX28134" fmla="*/ 1686211 w 3359086"/>
                <a:gd name="connsiteY28134" fmla="*/ 40481 h 3355086"/>
                <a:gd name="connsiteX28135" fmla="*/ 1682781 w 3359086"/>
                <a:gd name="connsiteY28135" fmla="*/ 43911 h 3355086"/>
                <a:gd name="connsiteX28136" fmla="*/ 1687067 w 3359086"/>
                <a:gd name="connsiteY28136" fmla="*/ 48197 h 3355086"/>
                <a:gd name="connsiteX28137" fmla="*/ 1682019 w 3359086"/>
                <a:gd name="connsiteY28137" fmla="*/ 53245 h 3355086"/>
                <a:gd name="connsiteX28138" fmla="*/ 1688020 w 3359086"/>
                <a:gd name="connsiteY28138" fmla="*/ 59245 h 3355086"/>
                <a:gd name="connsiteX28139" fmla="*/ 1681828 w 3359086"/>
                <a:gd name="connsiteY28139" fmla="*/ 65437 h 3355086"/>
                <a:gd name="connsiteX28140" fmla="*/ 1675637 w 3359086"/>
                <a:gd name="connsiteY28140" fmla="*/ 59245 h 3355086"/>
                <a:gd name="connsiteX28141" fmla="*/ 1680685 w 3359086"/>
                <a:gd name="connsiteY28141" fmla="*/ 54197 h 3355086"/>
                <a:gd name="connsiteX28142" fmla="*/ 1674685 w 3359086"/>
                <a:gd name="connsiteY28142" fmla="*/ 48197 h 3355086"/>
                <a:gd name="connsiteX28143" fmla="*/ 1678114 w 3359086"/>
                <a:gd name="connsiteY28143" fmla="*/ 44768 h 3355086"/>
                <a:gd name="connsiteX28144" fmla="*/ 1673828 w 3359086"/>
                <a:gd name="connsiteY28144" fmla="*/ 40481 h 3355086"/>
                <a:gd name="connsiteX28145" fmla="*/ 1676352 w 3359086"/>
                <a:gd name="connsiteY28145" fmla="*/ 37957 h 3355086"/>
                <a:gd name="connsiteX28146" fmla="*/ 1673066 w 3359086"/>
                <a:gd name="connsiteY28146" fmla="*/ 34671 h 3355086"/>
                <a:gd name="connsiteX28147" fmla="*/ 1675209 w 3359086"/>
                <a:gd name="connsiteY28147" fmla="*/ 32528 h 3355086"/>
                <a:gd name="connsiteX28148" fmla="*/ 1672304 w 3359086"/>
                <a:gd name="connsiteY28148" fmla="*/ 29623 h 3355086"/>
                <a:gd name="connsiteX28149" fmla="*/ 1674637 w 3359086"/>
                <a:gd name="connsiteY28149" fmla="*/ 27290 h 3355086"/>
                <a:gd name="connsiteX28150" fmla="*/ 1671732 w 3359086"/>
                <a:gd name="connsiteY28150" fmla="*/ 24384 h 3355086"/>
                <a:gd name="connsiteX28151" fmla="*/ 1674637 w 3359086"/>
                <a:gd name="connsiteY28151" fmla="*/ 21479 h 3355086"/>
                <a:gd name="connsiteX28152" fmla="*/ 1671161 w 3359086"/>
                <a:gd name="connsiteY28152" fmla="*/ 18002 h 3355086"/>
                <a:gd name="connsiteX28153" fmla="*/ 1675018 w 3359086"/>
                <a:gd name="connsiteY28153" fmla="*/ 14145 h 3355086"/>
                <a:gd name="connsiteX28154" fmla="*/ 1670684 w 3359086"/>
                <a:gd name="connsiteY28154" fmla="*/ 9811 h 3355086"/>
                <a:gd name="connsiteX28155" fmla="*/ 1676875 w 3359086"/>
                <a:gd name="connsiteY28155" fmla="*/ 3620 h 3355086"/>
                <a:gd name="connsiteX28156" fmla="*/ 1578388 w 3359086"/>
                <a:gd name="connsiteY28156" fmla="*/ 3143 h 3355086"/>
                <a:gd name="connsiteX28157" fmla="*/ 1582007 w 3359086"/>
                <a:gd name="connsiteY28157" fmla="*/ 6763 h 3355086"/>
                <a:gd name="connsiteX28158" fmla="*/ 1578388 w 3359086"/>
                <a:gd name="connsiteY28158" fmla="*/ 10382 h 3355086"/>
                <a:gd name="connsiteX28159" fmla="*/ 1574768 w 3359086"/>
                <a:gd name="connsiteY28159" fmla="*/ 6763 h 3355086"/>
                <a:gd name="connsiteX28160" fmla="*/ 1578388 w 3359086"/>
                <a:gd name="connsiteY28160" fmla="*/ 3143 h 3355086"/>
                <a:gd name="connsiteX28161" fmla="*/ 1774793 w 3359086"/>
                <a:gd name="connsiteY28161" fmla="*/ 2953 h 3355086"/>
                <a:gd name="connsiteX28162" fmla="*/ 1779650 w 3359086"/>
                <a:gd name="connsiteY28162" fmla="*/ 7811 h 3355086"/>
                <a:gd name="connsiteX28163" fmla="*/ 1774793 w 3359086"/>
                <a:gd name="connsiteY28163" fmla="*/ 12669 h 3355086"/>
                <a:gd name="connsiteX28164" fmla="*/ 1769935 w 3359086"/>
                <a:gd name="connsiteY28164" fmla="*/ 7811 h 3355086"/>
                <a:gd name="connsiteX28165" fmla="*/ 1774793 w 3359086"/>
                <a:gd name="connsiteY28165" fmla="*/ 2953 h 3355086"/>
                <a:gd name="connsiteX28166" fmla="*/ 1735550 w 3359086"/>
                <a:gd name="connsiteY28166" fmla="*/ 1143 h 3355086"/>
                <a:gd name="connsiteX28167" fmla="*/ 1740408 w 3359086"/>
                <a:gd name="connsiteY28167" fmla="*/ 6001 h 3355086"/>
                <a:gd name="connsiteX28168" fmla="*/ 1735550 w 3359086"/>
                <a:gd name="connsiteY28168" fmla="*/ 10859 h 3355086"/>
                <a:gd name="connsiteX28169" fmla="*/ 1730692 w 3359086"/>
                <a:gd name="connsiteY28169" fmla="*/ 6001 h 3355086"/>
                <a:gd name="connsiteX28170" fmla="*/ 1735550 w 3359086"/>
                <a:gd name="connsiteY28170" fmla="*/ 1143 h 3355086"/>
                <a:gd name="connsiteX28171" fmla="*/ 1617630 w 3359086"/>
                <a:gd name="connsiteY28171" fmla="*/ 1143 h 3355086"/>
                <a:gd name="connsiteX28172" fmla="*/ 1621916 w 3359086"/>
                <a:gd name="connsiteY28172" fmla="*/ 5429 h 3355086"/>
                <a:gd name="connsiteX28173" fmla="*/ 1617630 w 3359086"/>
                <a:gd name="connsiteY28173" fmla="*/ 9716 h 3355086"/>
                <a:gd name="connsiteX28174" fmla="*/ 1613344 w 3359086"/>
                <a:gd name="connsiteY28174" fmla="*/ 5429 h 3355086"/>
                <a:gd name="connsiteX28175" fmla="*/ 1617630 w 3359086"/>
                <a:gd name="connsiteY28175" fmla="*/ 1143 h 3355086"/>
                <a:gd name="connsiteX28176" fmla="*/ 1696307 w 3359086"/>
                <a:gd name="connsiteY28176" fmla="*/ 96 h 3355086"/>
                <a:gd name="connsiteX28177" fmla="*/ 1701165 w 3359086"/>
                <a:gd name="connsiteY28177" fmla="*/ 4954 h 3355086"/>
                <a:gd name="connsiteX28178" fmla="*/ 1697736 w 3359086"/>
                <a:gd name="connsiteY28178" fmla="*/ 8383 h 3355086"/>
                <a:gd name="connsiteX28179" fmla="*/ 1703832 w 3359086"/>
                <a:gd name="connsiteY28179" fmla="*/ 14478 h 3355086"/>
                <a:gd name="connsiteX28180" fmla="*/ 1700974 w 3359086"/>
                <a:gd name="connsiteY28180" fmla="*/ 17336 h 3355086"/>
                <a:gd name="connsiteX28181" fmla="*/ 1705261 w 3359086"/>
                <a:gd name="connsiteY28181" fmla="*/ 21622 h 3355086"/>
                <a:gd name="connsiteX28182" fmla="*/ 1703213 w 3359086"/>
                <a:gd name="connsiteY28182" fmla="*/ 23670 h 3355086"/>
                <a:gd name="connsiteX28183" fmla="*/ 1706975 w 3359086"/>
                <a:gd name="connsiteY28183" fmla="*/ 27432 h 3355086"/>
                <a:gd name="connsiteX28184" fmla="*/ 1705403 w 3359086"/>
                <a:gd name="connsiteY28184" fmla="*/ 29004 h 3355086"/>
                <a:gd name="connsiteX28185" fmla="*/ 1708880 w 3359086"/>
                <a:gd name="connsiteY28185" fmla="*/ 32480 h 3355086"/>
                <a:gd name="connsiteX28186" fmla="*/ 1707261 w 3359086"/>
                <a:gd name="connsiteY28186" fmla="*/ 34099 h 3355086"/>
                <a:gd name="connsiteX28187" fmla="*/ 1710976 w 3359086"/>
                <a:gd name="connsiteY28187" fmla="*/ 37814 h 3355086"/>
                <a:gd name="connsiteX28188" fmla="*/ 1708832 w 3359086"/>
                <a:gd name="connsiteY28188" fmla="*/ 39958 h 3355086"/>
                <a:gd name="connsiteX28189" fmla="*/ 1713357 w 3359086"/>
                <a:gd name="connsiteY28189" fmla="*/ 44482 h 3355086"/>
                <a:gd name="connsiteX28190" fmla="*/ 1710070 w 3359086"/>
                <a:gd name="connsiteY28190" fmla="*/ 47768 h 3355086"/>
                <a:gd name="connsiteX28191" fmla="*/ 1716024 w 3359086"/>
                <a:gd name="connsiteY28191" fmla="*/ 53721 h 3355086"/>
                <a:gd name="connsiteX28192" fmla="*/ 1709832 w 3359086"/>
                <a:gd name="connsiteY28192" fmla="*/ 59913 h 3355086"/>
                <a:gd name="connsiteX28193" fmla="*/ 1703641 w 3359086"/>
                <a:gd name="connsiteY28193" fmla="*/ 53721 h 3355086"/>
                <a:gd name="connsiteX28194" fmla="*/ 1706927 w 3359086"/>
                <a:gd name="connsiteY28194" fmla="*/ 50435 h 3355086"/>
                <a:gd name="connsiteX28195" fmla="*/ 1700974 w 3359086"/>
                <a:gd name="connsiteY28195" fmla="*/ 44482 h 3355086"/>
                <a:gd name="connsiteX28196" fmla="*/ 1703117 w 3359086"/>
                <a:gd name="connsiteY28196" fmla="*/ 42339 h 3355086"/>
                <a:gd name="connsiteX28197" fmla="*/ 1698593 w 3359086"/>
                <a:gd name="connsiteY28197" fmla="*/ 37814 h 3355086"/>
                <a:gd name="connsiteX28198" fmla="*/ 1700212 w 3359086"/>
                <a:gd name="connsiteY28198" fmla="*/ 36195 h 3355086"/>
                <a:gd name="connsiteX28199" fmla="*/ 1696497 w 3359086"/>
                <a:gd name="connsiteY28199" fmla="*/ 32480 h 3355086"/>
                <a:gd name="connsiteX28200" fmla="*/ 1698068 w 3359086"/>
                <a:gd name="connsiteY28200" fmla="*/ 30909 h 3355086"/>
                <a:gd name="connsiteX28201" fmla="*/ 1694592 w 3359086"/>
                <a:gd name="connsiteY28201" fmla="*/ 27432 h 3355086"/>
                <a:gd name="connsiteX28202" fmla="*/ 1696640 w 3359086"/>
                <a:gd name="connsiteY28202" fmla="*/ 25384 h 3355086"/>
                <a:gd name="connsiteX28203" fmla="*/ 1692878 w 3359086"/>
                <a:gd name="connsiteY28203" fmla="*/ 21622 h 3355086"/>
                <a:gd name="connsiteX28204" fmla="*/ 1695735 w 3359086"/>
                <a:gd name="connsiteY28204" fmla="*/ 18765 h 3355086"/>
                <a:gd name="connsiteX28205" fmla="*/ 1691449 w 3359086"/>
                <a:gd name="connsiteY28205" fmla="*/ 14478 h 3355086"/>
                <a:gd name="connsiteX28206" fmla="*/ 1696211 w 3359086"/>
                <a:gd name="connsiteY28206" fmla="*/ 9716 h 3355086"/>
                <a:gd name="connsiteX28207" fmla="*/ 1691449 w 3359086"/>
                <a:gd name="connsiteY28207" fmla="*/ 4954 h 3355086"/>
                <a:gd name="connsiteX28208" fmla="*/ 1696307 w 3359086"/>
                <a:gd name="connsiteY28208" fmla="*/ 96 h 3355086"/>
                <a:gd name="connsiteX28209" fmla="*/ 1656969 w 3359086"/>
                <a:gd name="connsiteY28209" fmla="*/ 0 h 3355086"/>
                <a:gd name="connsiteX28210" fmla="*/ 1661731 w 3359086"/>
                <a:gd name="connsiteY28210" fmla="*/ 4763 h 3355086"/>
                <a:gd name="connsiteX28211" fmla="*/ 1657540 w 3359086"/>
                <a:gd name="connsiteY28211" fmla="*/ 8954 h 3355086"/>
                <a:gd name="connsiteX28212" fmla="*/ 1662779 w 3359086"/>
                <a:gd name="connsiteY28212" fmla="*/ 14192 h 3355086"/>
                <a:gd name="connsiteX28213" fmla="*/ 1658969 w 3359086"/>
                <a:gd name="connsiteY28213" fmla="*/ 18002 h 3355086"/>
                <a:gd name="connsiteX28214" fmla="*/ 1662303 w 3359086"/>
                <a:gd name="connsiteY28214" fmla="*/ 21336 h 3355086"/>
                <a:gd name="connsiteX28215" fmla="*/ 1659160 w 3359086"/>
                <a:gd name="connsiteY28215" fmla="*/ 24479 h 3355086"/>
                <a:gd name="connsiteX28216" fmla="*/ 1661732 w 3359086"/>
                <a:gd name="connsiteY28216" fmla="*/ 27051 h 3355086"/>
                <a:gd name="connsiteX28217" fmla="*/ 1658922 w 3359086"/>
                <a:gd name="connsiteY28217" fmla="*/ 29862 h 3355086"/>
                <a:gd name="connsiteX28218" fmla="*/ 1661159 w 3359086"/>
                <a:gd name="connsiteY28218" fmla="*/ 32099 h 3355086"/>
                <a:gd name="connsiteX28219" fmla="*/ 1658207 w 3359086"/>
                <a:gd name="connsiteY28219" fmla="*/ 35052 h 3355086"/>
                <a:gd name="connsiteX28220" fmla="*/ 1660588 w 3359086"/>
                <a:gd name="connsiteY28220" fmla="*/ 37433 h 3355086"/>
                <a:gd name="connsiteX28221" fmla="*/ 1656921 w 3359086"/>
                <a:gd name="connsiteY28221" fmla="*/ 41101 h 3355086"/>
                <a:gd name="connsiteX28222" fmla="*/ 1659826 w 3359086"/>
                <a:gd name="connsiteY28222" fmla="*/ 44006 h 3355086"/>
                <a:gd name="connsiteX28223" fmla="*/ 1654826 w 3359086"/>
                <a:gd name="connsiteY28223" fmla="*/ 49007 h 3355086"/>
                <a:gd name="connsiteX28224" fmla="*/ 1659064 w 3359086"/>
                <a:gd name="connsiteY28224" fmla="*/ 53245 h 3355086"/>
                <a:gd name="connsiteX28225" fmla="*/ 1652873 w 3359086"/>
                <a:gd name="connsiteY28225" fmla="*/ 59437 h 3355086"/>
                <a:gd name="connsiteX28226" fmla="*/ 1646682 w 3359086"/>
                <a:gd name="connsiteY28226" fmla="*/ 53245 h 3355086"/>
                <a:gd name="connsiteX28227" fmla="*/ 1651682 w 3359086"/>
                <a:gd name="connsiteY28227" fmla="*/ 48245 h 3355086"/>
                <a:gd name="connsiteX28228" fmla="*/ 1647444 w 3359086"/>
                <a:gd name="connsiteY28228" fmla="*/ 44006 h 3355086"/>
                <a:gd name="connsiteX28229" fmla="*/ 1651111 w 3359086"/>
                <a:gd name="connsiteY28229" fmla="*/ 40339 h 3355086"/>
                <a:gd name="connsiteX28230" fmla="*/ 1648205 w 3359086"/>
                <a:gd name="connsiteY28230" fmla="*/ 37433 h 3355086"/>
                <a:gd name="connsiteX28231" fmla="*/ 1651158 w 3359086"/>
                <a:gd name="connsiteY28231" fmla="*/ 34480 h 3355086"/>
                <a:gd name="connsiteX28232" fmla="*/ 1648777 w 3359086"/>
                <a:gd name="connsiteY28232" fmla="*/ 32099 h 3355086"/>
                <a:gd name="connsiteX28233" fmla="*/ 1651587 w 3359086"/>
                <a:gd name="connsiteY28233" fmla="*/ 29289 h 3355086"/>
                <a:gd name="connsiteX28234" fmla="*/ 1649349 w 3359086"/>
                <a:gd name="connsiteY28234" fmla="*/ 27051 h 3355086"/>
                <a:gd name="connsiteX28235" fmla="*/ 1652492 w 3359086"/>
                <a:gd name="connsiteY28235" fmla="*/ 23908 h 3355086"/>
                <a:gd name="connsiteX28236" fmla="*/ 1649920 w 3359086"/>
                <a:gd name="connsiteY28236" fmla="*/ 21336 h 3355086"/>
                <a:gd name="connsiteX28237" fmla="*/ 1653730 w 3359086"/>
                <a:gd name="connsiteY28237" fmla="*/ 17526 h 3355086"/>
                <a:gd name="connsiteX28238" fmla="*/ 1650396 w 3359086"/>
                <a:gd name="connsiteY28238" fmla="*/ 14192 h 3355086"/>
                <a:gd name="connsiteX28239" fmla="*/ 1656016 w 3359086"/>
                <a:gd name="connsiteY28239" fmla="*/ 8572 h 3355086"/>
                <a:gd name="connsiteX28240" fmla="*/ 1652206 w 3359086"/>
                <a:gd name="connsiteY28240" fmla="*/ 4763 h 3355086"/>
                <a:gd name="connsiteX28241" fmla="*/ 1656969 w 3359086"/>
                <a:gd name="connsiteY28241" fmla="*/ 0 h 3355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 ang="0">
                  <a:pos x="connsiteX5218" y="connsiteY5218"/>
                </a:cxn>
                <a:cxn ang="0">
                  <a:pos x="connsiteX5219" y="connsiteY5219"/>
                </a:cxn>
                <a:cxn ang="0">
                  <a:pos x="connsiteX5220" y="connsiteY5220"/>
                </a:cxn>
                <a:cxn ang="0">
                  <a:pos x="connsiteX5221" y="connsiteY5221"/>
                </a:cxn>
                <a:cxn ang="0">
                  <a:pos x="connsiteX5222" y="connsiteY5222"/>
                </a:cxn>
                <a:cxn ang="0">
                  <a:pos x="connsiteX5223" y="connsiteY5223"/>
                </a:cxn>
                <a:cxn ang="0">
                  <a:pos x="connsiteX5224" y="connsiteY5224"/>
                </a:cxn>
                <a:cxn ang="0">
                  <a:pos x="connsiteX5225" y="connsiteY5225"/>
                </a:cxn>
                <a:cxn ang="0">
                  <a:pos x="connsiteX5226" y="connsiteY5226"/>
                </a:cxn>
                <a:cxn ang="0">
                  <a:pos x="connsiteX5227" y="connsiteY5227"/>
                </a:cxn>
                <a:cxn ang="0">
                  <a:pos x="connsiteX5228" y="connsiteY5228"/>
                </a:cxn>
                <a:cxn ang="0">
                  <a:pos x="connsiteX5229" y="connsiteY5229"/>
                </a:cxn>
                <a:cxn ang="0">
                  <a:pos x="connsiteX5230" y="connsiteY5230"/>
                </a:cxn>
                <a:cxn ang="0">
                  <a:pos x="connsiteX5231" y="connsiteY5231"/>
                </a:cxn>
                <a:cxn ang="0">
                  <a:pos x="connsiteX5232" y="connsiteY5232"/>
                </a:cxn>
                <a:cxn ang="0">
                  <a:pos x="connsiteX5233" y="connsiteY5233"/>
                </a:cxn>
                <a:cxn ang="0">
                  <a:pos x="connsiteX5234" y="connsiteY5234"/>
                </a:cxn>
                <a:cxn ang="0">
                  <a:pos x="connsiteX5235" y="connsiteY5235"/>
                </a:cxn>
                <a:cxn ang="0">
                  <a:pos x="connsiteX5236" y="connsiteY5236"/>
                </a:cxn>
                <a:cxn ang="0">
                  <a:pos x="connsiteX5237" y="connsiteY5237"/>
                </a:cxn>
                <a:cxn ang="0">
                  <a:pos x="connsiteX5238" y="connsiteY5238"/>
                </a:cxn>
                <a:cxn ang="0">
                  <a:pos x="connsiteX5239" y="connsiteY5239"/>
                </a:cxn>
                <a:cxn ang="0">
                  <a:pos x="connsiteX5240" y="connsiteY5240"/>
                </a:cxn>
                <a:cxn ang="0">
                  <a:pos x="connsiteX5241" y="connsiteY5241"/>
                </a:cxn>
                <a:cxn ang="0">
                  <a:pos x="connsiteX5242" y="connsiteY5242"/>
                </a:cxn>
                <a:cxn ang="0">
                  <a:pos x="connsiteX5243" y="connsiteY5243"/>
                </a:cxn>
                <a:cxn ang="0">
                  <a:pos x="connsiteX5244" y="connsiteY5244"/>
                </a:cxn>
                <a:cxn ang="0">
                  <a:pos x="connsiteX5245" y="connsiteY5245"/>
                </a:cxn>
                <a:cxn ang="0">
                  <a:pos x="connsiteX5246" y="connsiteY5246"/>
                </a:cxn>
                <a:cxn ang="0">
                  <a:pos x="connsiteX5247" y="connsiteY5247"/>
                </a:cxn>
                <a:cxn ang="0">
                  <a:pos x="connsiteX5248" y="connsiteY5248"/>
                </a:cxn>
                <a:cxn ang="0">
                  <a:pos x="connsiteX5249" y="connsiteY5249"/>
                </a:cxn>
                <a:cxn ang="0">
                  <a:pos x="connsiteX5250" y="connsiteY5250"/>
                </a:cxn>
                <a:cxn ang="0">
                  <a:pos x="connsiteX5251" y="connsiteY5251"/>
                </a:cxn>
                <a:cxn ang="0">
                  <a:pos x="connsiteX5252" y="connsiteY5252"/>
                </a:cxn>
                <a:cxn ang="0">
                  <a:pos x="connsiteX5253" y="connsiteY5253"/>
                </a:cxn>
                <a:cxn ang="0">
                  <a:pos x="connsiteX5254" y="connsiteY5254"/>
                </a:cxn>
                <a:cxn ang="0">
                  <a:pos x="connsiteX5255" y="connsiteY5255"/>
                </a:cxn>
                <a:cxn ang="0">
                  <a:pos x="connsiteX5256" y="connsiteY5256"/>
                </a:cxn>
                <a:cxn ang="0">
                  <a:pos x="connsiteX5257" y="connsiteY5257"/>
                </a:cxn>
                <a:cxn ang="0">
                  <a:pos x="connsiteX5258" y="connsiteY5258"/>
                </a:cxn>
                <a:cxn ang="0">
                  <a:pos x="connsiteX5259" y="connsiteY5259"/>
                </a:cxn>
                <a:cxn ang="0">
                  <a:pos x="connsiteX5260" y="connsiteY5260"/>
                </a:cxn>
                <a:cxn ang="0">
                  <a:pos x="connsiteX5261" y="connsiteY5261"/>
                </a:cxn>
                <a:cxn ang="0">
                  <a:pos x="connsiteX5262" y="connsiteY5262"/>
                </a:cxn>
                <a:cxn ang="0">
                  <a:pos x="connsiteX5263" y="connsiteY5263"/>
                </a:cxn>
                <a:cxn ang="0">
                  <a:pos x="connsiteX5264" y="connsiteY5264"/>
                </a:cxn>
                <a:cxn ang="0">
                  <a:pos x="connsiteX5265" y="connsiteY5265"/>
                </a:cxn>
                <a:cxn ang="0">
                  <a:pos x="connsiteX5266" y="connsiteY5266"/>
                </a:cxn>
                <a:cxn ang="0">
                  <a:pos x="connsiteX5267" y="connsiteY5267"/>
                </a:cxn>
                <a:cxn ang="0">
                  <a:pos x="connsiteX5268" y="connsiteY5268"/>
                </a:cxn>
                <a:cxn ang="0">
                  <a:pos x="connsiteX5269" y="connsiteY5269"/>
                </a:cxn>
                <a:cxn ang="0">
                  <a:pos x="connsiteX5270" y="connsiteY5270"/>
                </a:cxn>
                <a:cxn ang="0">
                  <a:pos x="connsiteX5271" y="connsiteY5271"/>
                </a:cxn>
                <a:cxn ang="0">
                  <a:pos x="connsiteX5272" y="connsiteY5272"/>
                </a:cxn>
                <a:cxn ang="0">
                  <a:pos x="connsiteX5273" y="connsiteY5273"/>
                </a:cxn>
                <a:cxn ang="0">
                  <a:pos x="connsiteX5274" y="connsiteY5274"/>
                </a:cxn>
                <a:cxn ang="0">
                  <a:pos x="connsiteX5275" y="connsiteY5275"/>
                </a:cxn>
                <a:cxn ang="0">
                  <a:pos x="connsiteX5276" y="connsiteY5276"/>
                </a:cxn>
                <a:cxn ang="0">
                  <a:pos x="connsiteX5277" y="connsiteY5277"/>
                </a:cxn>
                <a:cxn ang="0">
                  <a:pos x="connsiteX5278" y="connsiteY5278"/>
                </a:cxn>
                <a:cxn ang="0">
                  <a:pos x="connsiteX5279" y="connsiteY5279"/>
                </a:cxn>
                <a:cxn ang="0">
                  <a:pos x="connsiteX5280" y="connsiteY5280"/>
                </a:cxn>
                <a:cxn ang="0">
                  <a:pos x="connsiteX5281" y="connsiteY5281"/>
                </a:cxn>
                <a:cxn ang="0">
                  <a:pos x="connsiteX5282" y="connsiteY5282"/>
                </a:cxn>
                <a:cxn ang="0">
                  <a:pos x="connsiteX5283" y="connsiteY5283"/>
                </a:cxn>
                <a:cxn ang="0">
                  <a:pos x="connsiteX5284" y="connsiteY5284"/>
                </a:cxn>
                <a:cxn ang="0">
                  <a:pos x="connsiteX5285" y="connsiteY5285"/>
                </a:cxn>
                <a:cxn ang="0">
                  <a:pos x="connsiteX5286" y="connsiteY5286"/>
                </a:cxn>
                <a:cxn ang="0">
                  <a:pos x="connsiteX5287" y="connsiteY5287"/>
                </a:cxn>
                <a:cxn ang="0">
                  <a:pos x="connsiteX5288" y="connsiteY5288"/>
                </a:cxn>
                <a:cxn ang="0">
                  <a:pos x="connsiteX5289" y="connsiteY5289"/>
                </a:cxn>
                <a:cxn ang="0">
                  <a:pos x="connsiteX5290" y="connsiteY5290"/>
                </a:cxn>
                <a:cxn ang="0">
                  <a:pos x="connsiteX5291" y="connsiteY5291"/>
                </a:cxn>
                <a:cxn ang="0">
                  <a:pos x="connsiteX5292" y="connsiteY5292"/>
                </a:cxn>
                <a:cxn ang="0">
                  <a:pos x="connsiteX5293" y="connsiteY5293"/>
                </a:cxn>
                <a:cxn ang="0">
                  <a:pos x="connsiteX5294" y="connsiteY5294"/>
                </a:cxn>
                <a:cxn ang="0">
                  <a:pos x="connsiteX5295" y="connsiteY5295"/>
                </a:cxn>
                <a:cxn ang="0">
                  <a:pos x="connsiteX5296" y="connsiteY5296"/>
                </a:cxn>
                <a:cxn ang="0">
                  <a:pos x="connsiteX5297" y="connsiteY5297"/>
                </a:cxn>
                <a:cxn ang="0">
                  <a:pos x="connsiteX5298" y="connsiteY5298"/>
                </a:cxn>
                <a:cxn ang="0">
                  <a:pos x="connsiteX5299" y="connsiteY5299"/>
                </a:cxn>
                <a:cxn ang="0">
                  <a:pos x="connsiteX5300" y="connsiteY5300"/>
                </a:cxn>
                <a:cxn ang="0">
                  <a:pos x="connsiteX5301" y="connsiteY5301"/>
                </a:cxn>
                <a:cxn ang="0">
                  <a:pos x="connsiteX5302" y="connsiteY5302"/>
                </a:cxn>
                <a:cxn ang="0">
                  <a:pos x="connsiteX5303" y="connsiteY5303"/>
                </a:cxn>
                <a:cxn ang="0">
                  <a:pos x="connsiteX5304" y="connsiteY5304"/>
                </a:cxn>
                <a:cxn ang="0">
                  <a:pos x="connsiteX5305" y="connsiteY5305"/>
                </a:cxn>
                <a:cxn ang="0">
                  <a:pos x="connsiteX5306" y="connsiteY5306"/>
                </a:cxn>
                <a:cxn ang="0">
                  <a:pos x="connsiteX5307" y="connsiteY5307"/>
                </a:cxn>
                <a:cxn ang="0">
                  <a:pos x="connsiteX5308" y="connsiteY5308"/>
                </a:cxn>
                <a:cxn ang="0">
                  <a:pos x="connsiteX5309" y="connsiteY5309"/>
                </a:cxn>
                <a:cxn ang="0">
                  <a:pos x="connsiteX5310" y="connsiteY5310"/>
                </a:cxn>
                <a:cxn ang="0">
                  <a:pos x="connsiteX5311" y="connsiteY5311"/>
                </a:cxn>
                <a:cxn ang="0">
                  <a:pos x="connsiteX5312" y="connsiteY5312"/>
                </a:cxn>
                <a:cxn ang="0">
                  <a:pos x="connsiteX5313" y="connsiteY5313"/>
                </a:cxn>
                <a:cxn ang="0">
                  <a:pos x="connsiteX5314" y="connsiteY5314"/>
                </a:cxn>
                <a:cxn ang="0">
                  <a:pos x="connsiteX5315" y="connsiteY5315"/>
                </a:cxn>
                <a:cxn ang="0">
                  <a:pos x="connsiteX5316" y="connsiteY5316"/>
                </a:cxn>
                <a:cxn ang="0">
                  <a:pos x="connsiteX5317" y="connsiteY5317"/>
                </a:cxn>
                <a:cxn ang="0">
                  <a:pos x="connsiteX5318" y="connsiteY5318"/>
                </a:cxn>
                <a:cxn ang="0">
                  <a:pos x="connsiteX5319" y="connsiteY5319"/>
                </a:cxn>
                <a:cxn ang="0">
                  <a:pos x="connsiteX5320" y="connsiteY5320"/>
                </a:cxn>
                <a:cxn ang="0">
                  <a:pos x="connsiteX5321" y="connsiteY5321"/>
                </a:cxn>
                <a:cxn ang="0">
                  <a:pos x="connsiteX5322" y="connsiteY5322"/>
                </a:cxn>
                <a:cxn ang="0">
                  <a:pos x="connsiteX5323" y="connsiteY5323"/>
                </a:cxn>
                <a:cxn ang="0">
                  <a:pos x="connsiteX5324" y="connsiteY5324"/>
                </a:cxn>
                <a:cxn ang="0">
                  <a:pos x="connsiteX5325" y="connsiteY5325"/>
                </a:cxn>
                <a:cxn ang="0">
                  <a:pos x="connsiteX5326" y="connsiteY5326"/>
                </a:cxn>
                <a:cxn ang="0">
                  <a:pos x="connsiteX5327" y="connsiteY5327"/>
                </a:cxn>
                <a:cxn ang="0">
                  <a:pos x="connsiteX5328" y="connsiteY5328"/>
                </a:cxn>
                <a:cxn ang="0">
                  <a:pos x="connsiteX5329" y="connsiteY5329"/>
                </a:cxn>
                <a:cxn ang="0">
                  <a:pos x="connsiteX5330" y="connsiteY5330"/>
                </a:cxn>
                <a:cxn ang="0">
                  <a:pos x="connsiteX5331" y="connsiteY5331"/>
                </a:cxn>
                <a:cxn ang="0">
                  <a:pos x="connsiteX5332" y="connsiteY5332"/>
                </a:cxn>
                <a:cxn ang="0">
                  <a:pos x="connsiteX5333" y="connsiteY5333"/>
                </a:cxn>
                <a:cxn ang="0">
                  <a:pos x="connsiteX5334" y="connsiteY5334"/>
                </a:cxn>
                <a:cxn ang="0">
                  <a:pos x="connsiteX5335" y="connsiteY5335"/>
                </a:cxn>
                <a:cxn ang="0">
                  <a:pos x="connsiteX5336" y="connsiteY5336"/>
                </a:cxn>
                <a:cxn ang="0">
                  <a:pos x="connsiteX5337" y="connsiteY5337"/>
                </a:cxn>
                <a:cxn ang="0">
                  <a:pos x="connsiteX5338" y="connsiteY5338"/>
                </a:cxn>
                <a:cxn ang="0">
                  <a:pos x="connsiteX5339" y="connsiteY5339"/>
                </a:cxn>
                <a:cxn ang="0">
                  <a:pos x="connsiteX5340" y="connsiteY5340"/>
                </a:cxn>
                <a:cxn ang="0">
                  <a:pos x="connsiteX5341" y="connsiteY5341"/>
                </a:cxn>
                <a:cxn ang="0">
                  <a:pos x="connsiteX5342" y="connsiteY5342"/>
                </a:cxn>
                <a:cxn ang="0">
                  <a:pos x="connsiteX5343" y="connsiteY5343"/>
                </a:cxn>
                <a:cxn ang="0">
                  <a:pos x="connsiteX5344" y="connsiteY5344"/>
                </a:cxn>
                <a:cxn ang="0">
                  <a:pos x="connsiteX5345" y="connsiteY5345"/>
                </a:cxn>
                <a:cxn ang="0">
                  <a:pos x="connsiteX5346" y="connsiteY5346"/>
                </a:cxn>
                <a:cxn ang="0">
                  <a:pos x="connsiteX5347" y="connsiteY5347"/>
                </a:cxn>
                <a:cxn ang="0">
                  <a:pos x="connsiteX5348" y="connsiteY5348"/>
                </a:cxn>
                <a:cxn ang="0">
                  <a:pos x="connsiteX5349" y="connsiteY5349"/>
                </a:cxn>
                <a:cxn ang="0">
                  <a:pos x="connsiteX5350" y="connsiteY5350"/>
                </a:cxn>
                <a:cxn ang="0">
                  <a:pos x="connsiteX5351" y="connsiteY5351"/>
                </a:cxn>
                <a:cxn ang="0">
                  <a:pos x="connsiteX5352" y="connsiteY5352"/>
                </a:cxn>
                <a:cxn ang="0">
                  <a:pos x="connsiteX5353" y="connsiteY5353"/>
                </a:cxn>
                <a:cxn ang="0">
                  <a:pos x="connsiteX5354" y="connsiteY5354"/>
                </a:cxn>
                <a:cxn ang="0">
                  <a:pos x="connsiteX5355" y="connsiteY5355"/>
                </a:cxn>
                <a:cxn ang="0">
                  <a:pos x="connsiteX5356" y="connsiteY5356"/>
                </a:cxn>
                <a:cxn ang="0">
                  <a:pos x="connsiteX5357" y="connsiteY5357"/>
                </a:cxn>
                <a:cxn ang="0">
                  <a:pos x="connsiteX5358" y="connsiteY5358"/>
                </a:cxn>
                <a:cxn ang="0">
                  <a:pos x="connsiteX5359" y="connsiteY5359"/>
                </a:cxn>
                <a:cxn ang="0">
                  <a:pos x="connsiteX5360" y="connsiteY5360"/>
                </a:cxn>
                <a:cxn ang="0">
                  <a:pos x="connsiteX5361" y="connsiteY5361"/>
                </a:cxn>
                <a:cxn ang="0">
                  <a:pos x="connsiteX5362" y="connsiteY5362"/>
                </a:cxn>
                <a:cxn ang="0">
                  <a:pos x="connsiteX5363" y="connsiteY5363"/>
                </a:cxn>
                <a:cxn ang="0">
                  <a:pos x="connsiteX5364" y="connsiteY5364"/>
                </a:cxn>
                <a:cxn ang="0">
                  <a:pos x="connsiteX5365" y="connsiteY5365"/>
                </a:cxn>
                <a:cxn ang="0">
                  <a:pos x="connsiteX5366" y="connsiteY5366"/>
                </a:cxn>
                <a:cxn ang="0">
                  <a:pos x="connsiteX5367" y="connsiteY5367"/>
                </a:cxn>
                <a:cxn ang="0">
                  <a:pos x="connsiteX5368" y="connsiteY5368"/>
                </a:cxn>
                <a:cxn ang="0">
                  <a:pos x="connsiteX5369" y="connsiteY5369"/>
                </a:cxn>
                <a:cxn ang="0">
                  <a:pos x="connsiteX5370" y="connsiteY5370"/>
                </a:cxn>
                <a:cxn ang="0">
                  <a:pos x="connsiteX5371" y="connsiteY5371"/>
                </a:cxn>
                <a:cxn ang="0">
                  <a:pos x="connsiteX5372" y="connsiteY5372"/>
                </a:cxn>
                <a:cxn ang="0">
                  <a:pos x="connsiteX5373" y="connsiteY5373"/>
                </a:cxn>
                <a:cxn ang="0">
                  <a:pos x="connsiteX5374" y="connsiteY5374"/>
                </a:cxn>
                <a:cxn ang="0">
                  <a:pos x="connsiteX5375" y="connsiteY5375"/>
                </a:cxn>
                <a:cxn ang="0">
                  <a:pos x="connsiteX5376" y="connsiteY5376"/>
                </a:cxn>
                <a:cxn ang="0">
                  <a:pos x="connsiteX5377" y="connsiteY5377"/>
                </a:cxn>
                <a:cxn ang="0">
                  <a:pos x="connsiteX5378" y="connsiteY5378"/>
                </a:cxn>
                <a:cxn ang="0">
                  <a:pos x="connsiteX5379" y="connsiteY5379"/>
                </a:cxn>
                <a:cxn ang="0">
                  <a:pos x="connsiteX5380" y="connsiteY5380"/>
                </a:cxn>
                <a:cxn ang="0">
                  <a:pos x="connsiteX5381" y="connsiteY5381"/>
                </a:cxn>
                <a:cxn ang="0">
                  <a:pos x="connsiteX5382" y="connsiteY5382"/>
                </a:cxn>
                <a:cxn ang="0">
                  <a:pos x="connsiteX5383" y="connsiteY5383"/>
                </a:cxn>
                <a:cxn ang="0">
                  <a:pos x="connsiteX5384" y="connsiteY5384"/>
                </a:cxn>
                <a:cxn ang="0">
                  <a:pos x="connsiteX5385" y="connsiteY5385"/>
                </a:cxn>
                <a:cxn ang="0">
                  <a:pos x="connsiteX5386" y="connsiteY5386"/>
                </a:cxn>
                <a:cxn ang="0">
                  <a:pos x="connsiteX5387" y="connsiteY5387"/>
                </a:cxn>
                <a:cxn ang="0">
                  <a:pos x="connsiteX5388" y="connsiteY5388"/>
                </a:cxn>
                <a:cxn ang="0">
                  <a:pos x="connsiteX5389" y="connsiteY5389"/>
                </a:cxn>
                <a:cxn ang="0">
                  <a:pos x="connsiteX5390" y="connsiteY5390"/>
                </a:cxn>
                <a:cxn ang="0">
                  <a:pos x="connsiteX5391" y="connsiteY5391"/>
                </a:cxn>
                <a:cxn ang="0">
                  <a:pos x="connsiteX5392" y="connsiteY5392"/>
                </a:cxn>
                <a:cxn ang="0">
                  <a:pos x="connsiteX5393" y="connsiteY5393"/>
                </a:cxn>
                <a:cxn ang="0">
                  <a:pos x="connsiteX5394" y="connsiteY5394"/>
                </a:cxn>
                <a:cxn ang="0">
                  <a:pos x="connsiteX5395" y="connsiteY5395"/>
                </a:cxn>
                <a:cxn ang="0">
                  <a:pos x="connsiteX5396" y="connsiteY5396"/>
                </a:cxn>
                <a:cxn ang="0">
                  <a:pos x="connsiteX5397" y="connsiteY5397"/>
                </a:cxn>
                <a:cxn ang="0">
                  <a:pos x="connsiteX5398" y="connsiteY5398"/>
                </a:cxn>
                <a:cxn ang="0">
                  <a:pos x="connsiteX5399" y="connsiteY5399"/>
                </a:cxn>
                <a:cxn ang="0">
                  <a:pos x="connsiteX5400" y="connsiteY5400"/>
                </a:cxn>
                <a:cxn ang="0">
                  <a:pos x="connsiteX5401" y="connsiteY5401"/>
                </a:cxn>
                <a:cxn ang="0">
                  <a:pos x="connsiteX5402" y="connsiteY5402"/>
                </a:cxn>
                <a:cxn ang="0">
                  <a:pos x="connsiteX5403" y="connsiteY5403"/>
                </a:cxn>
                <a:cxn ang="0">
                  <a:pos x="connsiteX5404" y="connsiteY5404"/>
                </a:cxn>
                <a:cxn ang="0">
                  <a:pos x="connsiteX5405" y="connsiteY5405"/>
                </a:cxn>
                <a:cxn ang="0">
                  <a:pos x="connsiteX5406" y="connsiteY5406"/>
                </a:cxn>
                <a:cxn ang="0">
                  <a:pos x="connsiteX5407" y="connsiteY5407"/>
                </a:cxn>
                <a:cxn ang="0">
                  <a:pos x="connsiteX5408" y="connsiteY5408"/>
                </a:cxn>
                <a:cxn ang="0">
                  <a:pos x="connsiteX5409" y="connsiteY5409"/>
                </a:cxn>
                <a:cxn ang="0">
                  <a:pos x="connsiteX5410" y="connsiteY5410"/>
                </a:cxn>
                <a:cxn ang="0">
                  <a:pos x="connsiteX5411" y="connsiteY5411"/>
                </a:cxn>
                <a:cxn ang="0">
                  <a:pos x="connsiteX5412" y="connsiteY5412"/>
                </a:cxn>
                <a:cxn ang="0">
                  <a:pos x="connsiteX5413" y="connsiteY5413"/>
                </a:cxn>
                <a:cxn ang="0">
                  <a:pos x="connsiteX5414" y="connsiteY5414"/>
                </a:cxn>
                <a:cxn ang="0">
                  <a:pos x="connsiteX5415" y="connsiteY5415"/>
                </a:cxn>
                <a:cxn ang="0">
                  <a:pos x="connsiteX5416" y="connsiteY5416"/>
                </a:cxn>
                <a:cxn ang="0">
                  <a:pos x="connsiteX5417" y="connsiteY5417"/>
                </a:cxn>
                <a:cxn ang="0">
                  <a:pos x="connsiteX5418" y="connsiteY5418"/>
                </a:cxn>
                <a:cxn ang="0">
                  <a:pos x="connsiteX5419" y="connsiteY5419"/>
                </a:cxn>
                <a:cxn ang="0">
                  <a:pos x="connsiteX5420" y="connsiteY5420"/>
                </a:cxn>
                <a:cxn ang="0">
                  <a:pos x="connsiteX5421" y="connsiteY5421"/>
                </a:cxn>
                <a:cxn ang="0">
                  <a:pos x="connsiteX5422" y="connsiteY5422"/>
                </a:cxn>
                <a:cxn ang="0">
                  <a:pos x="connsiteX5423" y="connsiteY5423"/>
                </a:cxn>
                <a:cxn ang="0">
                  <a:pos x="connsiteX5424" y="connsiteY5424"/>
                </a:cxn>
                <a:cxn ang="0">
                  <a:pos x="connsiteX5425" y="connsiteY5425"/>
                </a:cxn>
                <a:cxn ang="0">
                  <a:pos x="connsiteX5426" y="connsiteY5426"/>
                </a:cxn>
                <a:cxn ang="0">
                  <a:pos x="connsiteX5427" y="connsiteY5427"/>
                </a:cxn>
                <a:cxn ang="0">
                  <a:pos x="connsiteX5428" y="connsiteY5428"/>
                </a:cxn>
                <a:cxn ang="0">
                  <a:pos x="connsiteX5429" y="connsiteY5429"/>
                </a:cxn>
                <a:cxn ang="0">
                  <a:pos x="connsiteX5430" y="connsiteY5430"/>
                </a:cxn>
                <a:cxn ang="0">
                  <a:pos x="connsiteX5431" y="connsiteY5431"/>
                </a:cxn>
                <a:cxn ang="0">
                  <a:pos x="connsiteX5432" y="connsiteY5432"/>
                </a:cxn>
                <a:cxn ang="0">
                  <a:pos x="connsiteX5433" y="connsiteY5433"/>
                </a:cxn>
                <a:cxn ang="0">
                  <a:pos x="connsiteX5434" y="connsiteY5434"/>
                </a:cxn>
                <a:cxn ang="0">
                  <a:pos x="connsiteX5435" y="connsiteY5435"/>
                </a:cxn>
                <a:cxn ang="0">
                  <a:pos x="connsiteX5436" y="connsiteY5436"/>
                </a:cxn>
                <a:cxn ang="0">
                  <a:pos x="connsiteX5437" y="connsiteY5437"/>
                </a:cxn>
                <a:cxn ang="0">
                  <a:pos x="connsiteX5438" y="connsiteY5438"/>
                </a:cxn>
                <a:cxn ang="0">
                  <a:pos x="connsiteX5439" y="connsiteY5439"/>
                </a:cxn>
                <a:cxn ang="0">
                  <a:pos x="connsiteX5440" y="connsiteY5440"/>
                </a:cxn>
                <a:cxn ang="0">
                  <a:pos x="connsiteX5441" y="connsiteY5441"/>
                </a:cxn>
                <a:cxn ang="0">
                  <a:pos x="connsiteX5442" y="connsiteY5442"/>
                </a:cxn>
                <a:cxn ang="0">
                  <a:pos x="connsiteX5443" y="connsiteY5443"/>
                </a:cxn>
                <a:cxn ang="0">
                  <a:pos x="connsiteX5444" y="connsiteY5444"/>
                </a:cxn>
                <a:cxn ang="0">
                  <a:pos x="connsiteX5445" y="connsiteY5445"/>
                </a:cxn>
                <a:cxn ang="0">
                  <a:pos x="connsiteX5446" y="connsiteY5446"/>
                </a:cxn>
                <a:cxn ang="0">
                  <a:pos x="connsiteX5447" y="connsiteY5447"/>
                </a:cxn>
                <a:cxn ang="0">
                  <a:pos x="connsiteX5448" y="connsiteY5448"/>
                </a:cxn>
                <a:cxn ang="0">
                  <a:pos x="connsiteX5449" y="connsiteY5449"/>
                </a:cxn>
                <a:cxn ang="0">
                  <a:pos x="connsiteX5450" y="connsiteY5450"/>
                </a:cxn>
                <a:cxn ang="0">
                  <a:pos x="connsiteX5451" y="connsiteY5451"/>
                </a:cxn>
                <a:cxn ang="0">
                  <a:pos x="connsiteX5452" y="connsiteY5452"/>
                </a:cxn>
                <a:cxn ang="0">
                  <a:pos x="connsiteX5453" y="connsiteY5453"/>
                </a:cxn>
                <a:cxn ang="0">
                  <a:pos x="connsiteX5454" y="connsiteY5454"/>
                </a:cxn>
                <a:cxn ang="0">
                  <a:pos x="connsiteX5455" y="connsiteY5455"/>
                </a:cxn>
                <a:cxn ang="0">
                  <a:pos x="connsiteX5456" y="connsiteY5456"/>
                </a:cxn>
                <a:cxn ang="0">
                  <a:pos x="connsiteX5457" y="connsiteY5457"/>
                </a:cxn>
                <a:cxn ang="0">
                  <a:pos x="connsiteX5458" y="connsiteY5458"/>
                </a:cxn>
                <a:cxn ang="0">
                  <a:pos x="connsiteX5459" y="connsiteY5459"/>
                </a:cxn>
                <a:cxn ang="0">
                  <a:pos x="connsiteX5460" y="connsiteY5460"/>
                </a:cxn>
                <a:cxn ang="0">
                  <a:pos x="connsiteX5461" y="connsiteY5461"/>
                </a:cxn>
                <a:cxn ang="0">
                  <a:pos x="connsiteX5462" y="connsiteY5462"/>
                </a:cxn>
                <a:cxn ang="0">
                  <a:pos x="connsiteX5463" y="connsiteY5463"/>
                </a:cxn>
                <a:cxn ang="0">
                  <a:pos x="connsiteX5464" y="connsiteY5464"/>
                </a:cxn>
                <a:cxn ang="0">
                  <a:pos x="connsiteX5465" y="connsiteY5465"/>
                </a:cxn>
                <a:cxn ang="0">
                  <a:pos x="connsiteX5466" y="connsiteY5466"/>
                </a:cxn>
                <a:cxn ang="0">
                  <a:pos x="connsiteX5467" y="connsiteY5467"/>
                </a:cxn>
                <a:cxn ang="0">
                  <a:pos x="connsiteX5468" y="connsiteY5468"/>
                </a:cxn>
                <a:cxn ang="0">
                  <a:pos x="connsiteX5469" y="connsiteY5469"/>
                </a:cxn>
                <a:cxn ang="0">
                  <a:pos x="connsiteX5470" y="connsiteY5470"/>
                </a:cxn>
                <a:cxn ang="0">
                  <a:pos x="connsiteX5471" y="connsiteY5471"/>
                </a:cxn>
                <a:cxn ang="0">
                  <a:pos x="connsiteX5472" y="connsiteY5472"/>
                </a:cxn>
                <a:cxn ang="0">
                  <a:pos x="connsiteX5473" y="connsiteY5473"/>
                </a:cxn>
                <a:cxn ang="0">
                  <a:pos x="connsiteX5474" y="connsiteY5474"/>
                </a:cxn>
                <a:cxn ang="0">
                  <a:pos x="connsiteX5475" y="connsiteY5475"/>
                </a:cxn>
                <a:cxn ang="0">
                  <a:pos x="connsiteX5476" y="connsiteY5476"/>
                </a:cxn>
                <a:cxn ang="0">
                  <a:pos x="connsiteX5477" y="connsiteY5477"/>
                </a:cxn>
                <a:cxn ang="0">
                  <a:pos x="connsiteX5478" y="connsiteY5478"/>
                </a:cxn>
                <a:cxn ang="0">
                  <a:pos x="connsiteX5479" y="connsiteY5479"/>
                </a:cxn>
                <a:cxn ang="0">
                  <a:pos x="connsiteX5480" y="connsiteY5480"/>
                </a:cxn>
                <a:cxn ang="0">
                  <a:pos x="connsiteX5481" y="connsiteY5481"/>
                </a:cxn>
                <a:cxn ang="0">
                  <a:pos x="connsiteX5482" y="connsiteY5482"/>
                </a:cxn>
                <a:cxn ang="0">
                  <a:pos x="connsiteX5483" y="connsiteY5483"/>
                </a:cxn>
                <a:cxn ang="0">
                  <a:pos x="connsiteX5484" y="connsiteY5484"/>
                </a:cxn>
                <a:cxn ang="0">
                  <a:pos x="connsiteX5485" y="connsiteY5485"/>
                </a:cxn>
                <a:cxn ang="0">
                  <a:pos x="connsiteX5486" y="connsiteY5486"/>
                </a:cxn>
                <a:cxn ang="0">
                  <a:pos x="connsiteX5487" y="connsiteY5487"/>
                </a:cxn>
                <a:cxn ang="0">
                  <a:pos x="connsiteX5488" y="connsiteY5488"/>
                </a:cxn>
                <a:cxn ang="0">
                  <a:pos x="connsiteX5489" y="connsiteY5489"/>
                </a:cxn>
                <a:cxn ang="0">
                  <a:pos x="connsiteX5490" y="connsiteY5490"/>
                </a:cxn>
                <a:cxn ang="0">
                  <a:pos x="connsiteX5491" y="connsiteY5491"/>
                </a:cxn>
                <a:cxn ang="0">
                  <a:pos x="connsiteX5492" y="connsiteY5492"/>
                </a:cxn>
                <a:cxn ang="0">
                  <a:pos x="connsiteX5493" y="connsiteY5493"/>
                </a:cxn>
                <a:cxn ang="0">
                  <a:pos x="connsiteX5494" y="connsiteY5494"/>
                </a:cxn>
                <a:cxn ang="0">
                  <a:pos x="connsiteX5495" y="connsiteY5495"/>
                </a:cxn>
                <a:cxn ang="0">
                  <a:pos x="connsiteX5496" y="connsiteY5496"/>
                </a:cxn>
                <a:cxn ang="0">
                  <a:pos x="connsiteX5497" y="connsiteY5497"/>
                </a:cxn>
                <a:cxn ang="0">
                  <a:pos x="connsiteX5498" y="connsiteY5498"/>
                </a:cxn>
                <a:cxn ang="0">
                  <a:pos x="connsiteX5499" y="connsiteY5499"/>
                </a:cxn>
                <a:cxn ang="0">
                  <a:pos x="connsiteX5500" y="connsiteY5500"/>
                </a:cxn>
                <a:cxn ang="0">
                  <a:pos x="connsiteX5501" y="connsiteY5501"/>
                </a:cxn>
                <a:cxn ang="0">
                  <a:pos x="connsiteX5502" y="connsiteY5502"/>
                </a:cxn>
                <a:cxn ang="0">
                  <a:pos x="connsiteX5503" y="connsiteY5503"/>
                </a:cxn>
                <a:cxn ang="0">
                  <a:pos x="connsiteX5504" y="connsiteY5504"/>
                </a:cxn>
                <a:cxn ang="0">
                  <a:pos x="connsiteX5505" y="connsiteY5505"/>
                </a:cxn>
                <a:cxn ang="0">
                  <a:pos x="connsiteX5506" y="connsiteY5506"/>
                </a:cxn>
                <a:cxn ang="0">
                  <a:pos x="connsiteX5507" y="connsiteY5507"/>
                </a:cxn>
                <a:cxn ang="0">
                  <a:pos x="connsiteX5508" y="connsiteY5508"/>
                </a:cxn>
                <a:cxn ang="0">
                  <a:pos x="connsiteX5509" y="connsiteY5509"/>
                </a:cxn>
                <a:cxn ang="0">
                  <a:pos x="connsiteX5510" y="connsiteY5510"/>
                </a:cxn>
                <a:cxn ang="0">
                  <a:pos x="connsiteX5511" y="connsiteY5511"/>
                </a:cxn>
                <a:cxn ang="0">
                  <a:pos x="connsiteX5512" y="connsiteY5512"/>
                </a:cxn>
                <a:cxn ang="0">
                  <a:pos x="connsiteX5513" y="connsiteY5513"/>
                </a:cxn>
                <a:cxn ang="0">
                  <a:pos x="connsiteX5514" y="connsiteY5514"/>
                </a:cxn>
                <a:cxn ang="0">
                  <a:pos x="connsiteX5515" y="connsiteY5515"/>
                </a:cxn>
                <a:cxn ang="0">
                  <a:pos x="connsiteX5516" y="connsiteY5516"/>
                </a:cxn>
                <a:cxn ang="0">
                  <a:pos x="connsiteX5517" y="connsiteY5517"/>
                </a:cxn>
                <a:cxn ang="0">
                  <a:pos x="connsiteX5518" y="connsiteY5518"/>
                </a:cxn>
                <a:cxn ang="0">
                  <a:pos x="connsiteX5519" y="connsiteY5519"/>
                </a:cxn>
                <a:cxn ang="0">
                  <a:pos x="connsiteX5520" y="connsiteY5520"/>
                </a:cxn>
                <a:cxn ang="0">
                  <a:pos x="connsiteX5521" y="connsiteY5521"/>
                </a:cxn>
                <a:cxn ang="0">
                  <a:pos x="connsiteX5522" y="connsiteY5522"/>
                </a:cxn>
                <a:cxn ang="0">
                  <a:pos x="connsiteX5523" y="connsiteY5523"/>
                </a:cxn>
                <a:cxn ang="0">
                  <a:pos x="connsiteX5524" y="connsiteY5524"/>
                </a:cxn>
                <a:cxn ang="0">
                  <a:pos x="connsiteX5525" y="connsiteY5525"/>
                </a:cxn>
                <a:cxn ang="0">
                  <a:pos x="connsiteX5526" y="connsiteY5526"/>
                </a:cxn>
                <a:cxn ang="0">
                  <a:pos x="connsiteX5527" y="connsiteY5527"/>
                </a:cxn>
                <a:cxn ang="0">
                  <a:pos x="connsiteX5528" y="connsiteY5528"/>
                </a:cxn>
                <a:cxn ang="0">
                  <a:pos x="connsiteX5529" y="connsiteY5529"/>
                </a:cxn>
                <a:cxn ang="0">
                  <a:pos x="connsiteX5530" y="connsiteY5530"/>
                </a:cxn>
                <a:cxn ang="0">
                  <a:pos x="connsiteX5531" y="connsiteY5531"/>
                </a:cxn>
                <a:cxn ang="0">
                  <a:pos x="connsiteX5532" y="connsiteY5532"/>
                </a:cxn>
                <a:cxn ang="0">
                  <a:pos x="connsiteX5533" y="connsiteY5533"/>
                </a:cxn>
                <a:cxn ang="0">
                  <a:pos x="connsiteX5534" y="connsiteY5534"/>
                </a:cxn>
                <a:cxn ang="0">
                  <a:pos x="connsiteX5535" y="connsiteY5535"/>
                </a:cxn>
                <a:cxn ang="0">
                  <a:pos x="connsiteX5536" y="connsiteY5536"/>
                </a:cxn>
                <a:cxn ang="0">
                  <a:pos x="connsiteX5537" y="connsiteY5537"/>
                </a:cxn>
                <a:cxn ang="0">
                  <a:pos x="connsiteX5538" y="connsiteY5538"/>
                </a:cxn>
                <a:cxn ang="0">
                  <a:pos x="connsiteX5539" y="connsiteY5539"/>
                </a:cxn>
                <a:cxn ang="0">
                  <a:pos x="connsiteX5540" y="connsiteY5540"/>
                </a:cxn>
                <a:cxn ang="0">
                  <a:pos x="connsiteX5541" y="connsiteY5541"/>
                </a:cxn>
                <a:cxn ang="0">
                  <a:pos x="connsiteX5542" y="connsiteY5542"/>
                </a:cxn>
                <a:cxn ang="0">
                  <a:pos x="connsiteX5543" y="connsiteY5543"/>
                </a:cxn>
                <a:cxn ang="0">
                  <a:pos x="connsiteX5544" y="connsiteY5544"/>
                </a:cxn>
                <a:cxn ang="0">
                  <a:pos x="connsiteX5545" y="connsiteY5545"/>
                </a:cxn>
                <a:cxn ang="0">
                  <a:pos x="connsiteX5546" y="connsiteY5546"/>
                </a:cxn>
                <a:cxn ang="0">
                  <a:pos x="connsiteX5547" y="connsiteY5547"/>
                </a:cxn>
                <a:cxn ang="0">
                  <a:pos x="connsiteX5548" y="connsiteY5548"/>
                </a:cxn>
                <a:cxn ang="0">
                  <a:pos x="connsiteX5549" y="connsiteY5549"/>
                </a:cxn>
                <a:cxn ang="0">
                  <a:pos x="connsiteX5550" y="connsiteY5550"/>
                </a:cxn>
                <a:cxn ang="0">
                  <a:pos x="connsiteX5551" y="connsiteY5551"/>
                </a:cxn>
                <a:cxn ang="0">
                  <a:pos x="connsiteX5552" y="connsiteY5552"/>
                </a:cxn>
                <a:cxn ang="0">
                  <a:pos x="connsiteX5553" y="connsiteY5553"/>
                </a:cxn>
                <a:cxn ang="0">
                  <a:pos x="connsiteX5554" y="connsiteY5554"/>
                </a:cxn>
                <a:cxn ang="0">
                  <a:pos x="connsiteX5555" y="connsiteY5555"/>
                </a:cxn>
                <a:cxn ang="0">
                  <a:pos x="connsiteX5556" y="connsiteY5556"/>
                </a:cxn>
                <a:cxn ang="0">
                  <a:pos x="connsiteX5557" y="connsiteY5557"/>
                </a:cxn>
                <a:cxn ang="0">
                  <a:pos x="connsiteX5558" y="connsiteY5558"/>
                </a:cxn>
                <a:cxn ang="0">
                  <a:pos x="connsiteX5559" y="connsiteY5559"/>
                </a:cxn>
                <a:cxn ang="0">
                  <a:pos x="connsiteX5560" y="connsiteY5560"/>
                </a:cxn>
                <a:cxn ang="0">
                  <a:pos x="connsiteX5561" y="connsiteY5561"/>
                </a:cxn>
                <a:cxn ang="0">
                  <a:pos x="connsiteX5562" y="connsiteY5562"/>
                </a:cxn>
                <a:cxn ang="0">
                  <a:pos x="connsiteX5563" y="connsiteY5563"/>
                </a:cxn>
                <a:cxn ang="0">
                  <a:pos x="connsiteX5564" y="connsiteY5564"/>
                </a:cxn>
                <a:cxn ang="0">
                  <a:pos x="connsiteX5565" y="connsiteY5565"/>
                </a:cxn>
                <a:cxn ang="0">
                  <a:pos x="connsiteX5566" y="connsiteY5566"/>
                </a:cxn>
                <a:cxn ang="0">
                  <a:pos x="connsiteX5567" y="connsiteY5567"/>
                </a:cxn>
                <a:cxn ang="0">
                  <a:pos x="connsiteX5568" y="connsiteY5568"/>
                </a:cxn>
                <a:cxn ang="0">
                  <a:pos x="connsiteX5569" y="connsiteY5569"/>
                </a:cxn>
                <a:cxn ang="0">
                  <a:pos x="connsiteX5570" y="connsiteY5570"/>
                </a:cxn>
                <a:cxn ang="0">
                  <a:pos x="connsiteX5571" y="connsiteY5571"/>
                </a:cxn>
                <a:cxn ang="0">
                  <a:pos x="connsiteX5572" y="connsiteY5572"/>
                </a:cxn>
                <a:cxn ang="0">
                  <a:pos x="connsiteX5573" y="connsiteY5573"/>
                </a:cxn>
                <a:cxn ang="0">
                  <a:pos x="connsiteX5574" y="connsiteY5574"/>
                </a:cxn>
                <a:cxn ang="0">
                  <a:pos x="connsiteX5575" y="connsiteY5575"/>
                </a:cxn>
                <a:cxn ang="0">
                  <a:pos x="connsiteX5576" y="connsiteY5576"/>
                </a:cxn>
                <a:cxn ang="0">
                  <a:pos x="connsiteX5577" y="connsiteY5577"/>
                </a:cxn>
                <a:cxn ang="0">
                  <a:pos x="connsiteX5578" y="connsiteY5578"/>
                </a:cxn>
                <a:cxn ang="0">
                  <a:pos x="connsiteX5579" y="connsiteY5579"/>
                </a:cxn>
                <a:cxn ang="0">
                  <a:pos x="connsiteX5580" y="connsiteY5580"/>
                </a:cxn>
                <a:cxn ang="0">
                  <a:pos x="connsiteX5581" y="connsiteY5581"/>
                </a:cxn>
                <a:cxn ang="0">
                  <a:pos x="connsiteX5582" y="connsiteY5582"/>
                </a:cxn>
                <a:cxn ang="0">
                  <a:pos x="connsiteX5583" y="connsiteY5583"/>
                </a:cxn>
                <a:cxn ang="0">
                  <a:pos x="connsiteX5584" y="connsiteY5584"/>
                </a:cxn>
                <a:cxn ang="0">
                  <a:pos x="connsiteX5585" y="connsiteY5585"/>
                </a:cxn>
                <a:cxn ang="0">
                  <a:pos x="connsiteX5586" y="connsiteY5586"/>
                </a:cxn>
                <a:cxn ang="0">
                  <a:pos x="connsiteX5587" y="connsiteY5587"/>
                </a:cxn>
                <a:cxn ang="0">
                  <a:pos x="connsiteX5588" y="connsiteY5588"/>
                </a:cxn>
                <a:cxn ang="0">
                  <a:pos x="connsiteX5589" y="connsiteY5589"/>
                </a:cxn>
                <a:cxn ang="0">
                  <a:pos x="connsiteX5590" y="connsiteY5590"/>
                </a:cxn>
                <a:cxn ang="0">
                  <a:pos x="connsiteX5591" y="connsiteY5591"/>
                </a:cxn>
                <a:cxn ang="0">
                  <a:pos x="connsiteX5592" y="connsiteY5592"/>
                </a:cxn>
                <a:cxn ang="0">
                  <a:pos x="connsiteX5593" y="connsiteY5593"/>
                </a:cxn>
                <a:cxn ang="0">
                  <a:pos x="connsiteX5594" y="connsiteY5594"/>
                </a:cxn>
                <a:cxn ang="0">
                  <a:pos x="connsiteX5595" y="connsiteY5595"/>
                </a:cxn>
                <a:cxn ang="0">
                  <a:pos x="connsiteX5596" y="connsiteY5596"/>
                </a:cxn>
                <a:cxn ang="0">
                  <a:pos x="connsiteX5597" y="connsiteY5597"/>
                </a:cxn>
                <a:cxn ang="0">
                  <a:pos x="connsiteX5598" y="connsiteY5598"/>
                </a:cxn>
                <a:cxn ang="0">
                  <a:pos x="connsiteX5599" y="connsiteY5599"/>
                </a:cxn>
                <a:cxn ang="0">
                  <a:pos x="connsiteX5600" y="connsiteY5600"/>
                </a:cxn>
                <a:cxn ang="0">
                  <a:pos x="connsiteX5601" y="connsiteY5601"/>
                </a:cxn>
                <a:cxn ang="0">
                  <a:pos x="connsiteX5602" y="connsiteY5602"/>
                </a:cxn>
                <a:cxn ang="0">
                  <a:pos x="connsiteX5603" y="connsiteY5603"/>
                </a:cxn>
                <a:cxn ang="0">
                  <a:pos x="connsiteX5604" y="connsiteY5604"/>
                </a:cxn>
                <a:cxn ang="0">
                  <a:pos x="connsiteX5605" y="connsiteY5605"/>
                </a:cxn>
                <a:cxn ang="0">
                  <a:pos x="connsiteX5606" y="connsiteY5606"/>
                </a:cxn>
                <a:cxn ang="0">
                  <a:pos x="connsiteX5607" y="connsiteY5607"/>
                </a:cxn>
                <a:cxn ang="0">
                  <a:pos x="connsiteX5608" y="connsiteY5608"/>
                </a:cxn>
                <a:cxn ang="0">
                  <a:pos x="connsiteX5609" y="connsiteY5609"/>
                </a:cxn>
                <a:cxn ang="0">
                  <a:pos x="connsiteX5610" y="connsiteY5610"/>
                </a:cxn>
                <a:cxn ang="0">
                  <a:pos x="connsiteX5611" y="connsiteY5611"/>
                </a:cxn>
                <a:cxn ang="0">
                  <a:pos x="connsiteX5612" y="connsiteY5612"/>
                </a:cxn>
                <a:cxn ang="0">
                  <a:pos x="connsiteX5613" y="connsiteY5613"/>
                </a:cxn>
                <a:cxn ang="0">
                  <a:pos x="connsiteX5614" y="connsiteY5614"/>
                </a:cxn>
                <a:cxn ang="0">
                  <a:pos x="connsiteX5615" y="connsiteY5615"/>
                </a:cxn>
                <a:cxn ang="0">
                  <a:pos x="connsiteX5616" y="connsiteY5616"/>
                </a:cxn>
                <a:cxn ang="0">
                  <a:pos x="connsiteX5617" y="connsiteY5617"/>
                </a:cxn>
                <a:cxn ang="0">
                  <a:pos x="connsiteX5618" y="connsiteY5618"/>
                </a:cxn>
                <a:cxn ang="0">
                  <a:pos x="connsiteX5619" y="connsiteY5619"/>
                </a:cxn>
                <a:cxn ang="0">
                  <a:pos x="connsiteX5620" y="connsiteY5620"/>
                </a:cxn>
                <a:cxn ang="0">
                  <a:pos x="connsiteX5621" y="connsiteY5621"/>
                </a:cxn>
                <a:cxn ang="0">
                  <a:pos x="connsiteX5622" y="connsiteY5622"/>
                </a:cxn>
                <a:cxn ang="0">
                  <a:pos x="connsiteX5623" y="connsiteY5623"/>
                </a:cxn>
                <a:cxn ang="0">
                  <a:pos x="connsiteX5624" y="connsiteY5624"/>
                </a:cxn>
                <a:cxn ang="0">
                  <a:pos x="connsiteX5625" y="connsiteY5625"/>
                </a:cxn>
                <a:cxn ang="0">
                  <a:pos x="connsiteX5626" y="connsiteY5626"/>
                </a:cxn>
                <a:cxn ang="0">
                  <a:pos x="connsiteX5627" y="connsiteY5627"/>
                </a:cxn>
                <a:cxn ang="0">
                  <a:pos x="connsiteX5628" y="connsiteY5628"/>
                </a:cxn>
                <a:cxn ang="0">
                  <a:pos x="connsiteX5629" y="connsiteY5629"/>
                </a:cxn>
                <a:cxn ang="0">
                  <a:pos x="connsiteX5630" y="connsiteY5630"/>
                </a:cxn>
                <a:cxn ang="0">
                  <a:pos x="connsiteX5631" y="connsiteY5631"/>
                </a:cxn>
                <a:cxn ang="0">
                  <a:pos x="connsiteX5632" y="connsiteY5632"/>
                </a:cxn>
                <a:cxn ang="0">
                  <a:pos x="connsiteX5633" y="connsiteY5633"/>
                </a:cxn>
                <a:cxn ang="0">
                  <a:pos x="connsiteX5634" y="connsiteY5634"/>
                </a:cxn>
                <a:cxn ang="0">
                  <a:pos x="connsiteX5635" y="connsiteY5635"/>
                </a:cxn>
                <a:cxn ang="0">
                  <a:pos x="connsiteX5636" y="connsiteY5636"/>
                </a:cxn>
                <a:cxn ang="0">
                  <a:pos x="connsiteX5637" y="connsiteY5637"/>
                </a:cxn>
                <a:cxn ang="0">
                  <a:pos x="connsiteX5638" y="connsiteY5638"/>
                </a:cxn>
                <a:cxn ang="0">
                  <a:pos x="connsiteX5639" y="connsiteY5639"/>
                </a:cxn>
                <a:cxn ang="0">
                  <a:pos x="connsiteX5640" y="connsiteY5640"/>
                </a:cxn>
                <a:cxn ang="0">
                  <a:pos x="connsiteX5641" y="connsiteY5641"/>
                </a:cxn>
                <a:cxn ang="0">
                  <a:pos x="connsiteX5642" y="connsiteY5642"/>
                </a:cxn>
                <a:cxn ang="0">
                  <a:pos x="connsiteX5643" y="connsiteY5643"/>
                </a:cxn>
                <a:cxn ang="0">
                  <a:pos x="connsiteX5644" y="connsiteY5644"/>
                </a:cxn>
                <a:cxn ang="0">
                  <a:pos x="connsiteX5645" y="connsiteY5645"/>
                </a:cxn>
                <a:cxn ang="0">
                  <a:pos x="connsiteX5646" y="connsiteY5646"/>
                </a:cxn>
                <a:cxn ang="0">
                  <a:pos x="connsiteX5647" y="connsiteY5647"/>
                </a:cxn>
                <a:cxn ang="0">
                  <a:pos x="connsiteX5648" y="connsiteY5648"/>
                </a:cxn>
                <a:cxn ang="0">
                  <a:pos x="connsiteX5649" y="connsiteY5649"/>
                </a:cxn>
                <a:cxn ang="0">
                  <a:pos x="connsiteX5650" y="connsiteY5650"/>
                </a:cxn>
                <a:cxn ang="0">
                  <a:pos x="connsiteX5651" y="connsiteY5651"/>
                </a:cxn>
                <a:cxn ang="0">
                  <a:pos x="connsiteX5652" y="connsiteY5652"/>
                </a:cxn>
                <a:cxn ang="0">
                  <a:pos x="connsiteX5653" y="connsiteY5653"/>
                </a:cxn>
                <a:cxn ang="0">
                  <a:pos x="connsiteX5654" y="connsiteY5654"/>
                </a:cxn>
                <a:cxn ang="0">
                  <a:pos x="connsiteX5655" y="connsiteY5655"/>
                </a:cxn>
                <a:cxn ang="0">
                  <a:pos x="connsiteX5656" y="connsiteY5656"/>
                </a:cxn>
                <a:cxn ang="0">
                  <a:pos x="connsiteX5657" y="connsiteY5657"/>
                </a:cxn>
                <a:cxn ang="0">
                  <a:pos x="connsiteX5658" y="connsiteY5658"/>
                </a:cxn>
                <a:cxn ang="0">
                  <a:pos x="connsiteX5659" y="connsiteY5659"/>
                </a:cxn>
                <a:cxn ang="0">
                  <a:pos x="connsiteX5660" y="connsiteY5660"/>
                </a:cxn>
                <a:cxn ang="0">
                  <a:pos x="connsiteX5661" y="connsiteY5661"/>
                </a:cxn>
                <a:cxn ang="0">
                  <a:pos x="connsiteX5662" y="connsiteY5662"/>
                </a:cxn>
                <a:cxn ang="0">
                  <a:pos x="connsiteX5663" y="connsiteY5663"/>
                </a:cxn>
                <a:cxn ang="0">
                  <a:pos x="connsiteX5664" y="connsiteY5664"/>
                </a:cxn>
                <a:cxn ang="0">
                  <a:pos x="connsiteX5665" y="connsiteY5665"/>
                </a:cxn>
                <a:cxn ang="0">
                  <a:pos x="connsiteX5666" y="connsiteY5666"/>
                </a:cxn>
                <a:cxn ang="0">
                  <a:pos x="connsiteX5667" y="connsiteY5667"/>
                </a:cxn>
                <a:cxn ang="0">
                  <a:pos x="connsiteX5668" y="connsiteY5668"/>
                </a:cxn>
                <a:cxn ang="0">
                  <a:pos x="connsiteX5669" y="connsiteY5669"/>
                </a:cxn>
                <a:cxn ang="0">
                  <a:pos x="connsiteX5670" y="connsiteY5670"/>
                </a:cxn>
                <a:cxn ang="0">
                  <a:pos x="connsiteX5671" y="connsiteY5671"/>
                </a:cxn>
                <a:cxn ang="0">
                  <a:pos x="connsiteX5672" y="connsiteY5672"/>
                </a:cxn>
                <a:cxn ang="0">
                  <a:pos x="connsiteX5673" y="connsiteY5673"/>
                </a:cxn>
                <a:cxn ang="0">
                  <a:pos x="connsiteX5674" y="connsiteY5674"/>
                </a:cxn>
                <a:cxn ang="0">
                  <a:pos x="connsiteX5675" y="connsiteY5675"/>
                </a:cxn>
                <a:cxn ang="0">
                  <a:pos x="connsiteX5676" y="connsiteY5676"/>
                </a:cxn>
                <a:cxn ang="0">
                  <a:pos x="connsiteX5677" y="connsiteY5677"/>
                </a:cxn>
                <a:cxn ang="0">
                  <a:pos x="connsiteX5678" y="connsiteY5678"/>
                </a:cxn>
                <a:cxn ang="0">
                  <a:pos x="connsiteX5679" y="connsiteY5679"/>
                </a:cxn>
                <a:cxn ang="0">
                  <a:pos x="connsiteX5680" y="connsiteY5680"/>
                </a:cxn>
                <a:cxn ang="0">
                  <a:pos x="connsiteX5681" y="connsiteY5681"/>
                </a:cxn>
                <a:cxn ang="0">
                  <a:pos x="connsiteX5682" y="connsiteY5682"/>
                </a:cxn>
                <a:cxn ang="0">
                  <a:pos x="connsiteX5683" y="connsiteY5683"/>
                </a:cxn>
                <a:cxn ang="0">
                  <a:pos x="connsiteX5684" y="connsiteY5684"/>
                </a:cxn>
                <a:cxn ang="0">
                  <a:pos x="connsiteX5685" y="connsiteY5685"/>
                </a:cxn>
                <a:cxn ang="0">
                  <a:pos x="connsiteX5686" y="connsiteY5686"/>
                </a:cxn>
                <a:cxn ang="0">
                  <a:pos x="connsiteX5687" y="connsiteY5687"/>
                </a:cxn>
                <a:cxn ang="0">
                  <a:pos x="connsiteX5688" y="connsiteY5688"/>
                </a:cxn>
                <a:cxn ang="0">
                  <a:pos x="connsiteX5689" y="connsiteY5689"/>
                </a:cxn>
                <a:cxn ang="0">
                  <a:pos x="connsiteX5690" y="connsiteY5690"/>
                </a:cxn>
                <a:cxn ang="0">
                  <a:pos x="connsiteX5691" y="connsiteY5691"/>
                </a:cxn>
                <a:cxn ang="0">
                  <a:pos x="connsiteX5692" y="connsiteY5692"/>
                </a:cxn>
                <a:cxn ang="0">
                  <a:pos x="connsiteX5693" y="connsiteY5693"/>
                </a:cxn>
                <a:cxn ang="0">
                  <a:pos x="connsiteX5694" y="connsiteY5694"/>
                </a:cxn>
                <a:cxn ang="0">
                  <a:pos x="connsiteX5695" y="connsiteY5695"/>
                </a:cxn>
                <a:cxn ang="0">
                  <a:pos x="connsiteX5696" y="connsiteY5696"/>
                </a:cxn>
                <a:cxn ang="0">
                  <a:pos x="connsiteX5697" y="connsiteY5697"/>
                </a:cxn>
                <a:cxn ang="0">
                  <a:pos x="connsiteX5698" y="connsiteY5698"/>
                </a:cxn>
                <a:cxn ang="0">
                  <a:pos x="connsiteX5699" y="connsiteY5699"/>
                </a:cxn>
                <a:cxn ang="0">
                  <a:pos x="connsiteX5700" y="connsiteY5700"/>
                </a:cxn>
                <a:cxn ang="0">
                  <a:pos x="connsiteX5701" y="connsiteY5701"/>
                </a:cxn>
                <a:cxn ang="0">
                  <a:pos x="connsiteX5702" y="connsiteY5702"/>
                </a:cxn>
                <a:cxn ang="0">
                  <a:pos x="connsiteX5703" y="connsiteY5703"/>
                </a:cxn>
                <a:cxn ang="0">
                  <a:pos x="connsiteX5704" y="connsiteY5704"/>
                </a:cxn>
                <a:cxn ang="0">
                  <a:pos x="connsiteX5705" y="connsiteY5705"/>
                </a:cxn>
                <a:cxn ang="0">
                  <a:pos x="connsiteX5706" y="connsiteY5706"/>
                </a:cxn>
                <a:cxn ang="0">
                  <a:pos x="connsiteX5707" y="connsiteY5707"/>
                </a:cxn>
                <a:cxn ang="0">
                  <a:pos x="connsiteX5708" y="connsiteY5708"/>
                </a:cxn>
                <a:cxn ang="0">
                  <a:pos x="connsiteX5709" y="connsiteY5709"/>
                </a:cxn>
                <a:cxn ang="0">
                  <a:pos x="connsiteX5710" y="connsiteY5710"/>
                </a:cxn>
                <a:cxn ang="0">
                  <a:pos x="connsiteX5711" y="connsiteY5711"/>
                </a:cxn>
                <a:cxn ang="0">
                  <a:pos x="connsiteX5712" y="connsiteY5712"/>
                </a:cxn>
                <a:cxn ang="0">
                  <a:pos x="connsiteX5713" y="connsiteY5713"/>
                </a:cxn>
                <a:cxn ang="0">
                  <a:pos x="connsiteX5714" y="connsiteY5714"/>
                </a:cxn>
                <a:cxn ang="0">
                  <a:pos x="connsiteX5715" y="connsiteY5715"/>
                </a:cxn>
                <a:cxn ang="0">
                  <a:pos x="connsiteX5716" y="connsiteY5716"/>
                </a:cxn>
                <a:cxn ang="0">
                  <a:pos x="connsiteX5717" y="connsiteY5717"/>
                </a:cxn>
                <a:cxn ang="0">
                  <a:pos x="connsiteX5718" y="connsiteY5718"/>
                </a:cxn>
                <a:cxn ang="0">
                  <a:pos x="connsiteX5719" y="connsiteY5719"/>
                </a:cxn>
                <a:cxn ang="0">
                  <a:pos x="connsiteX5720" y="connsiteY5720"/>
                </a:cxn>
                <a:cxn ang="0">
                  <a:pos x="connsiteX5721" y="connsiteY5721"/>
                </a:cxn>
                <a:cxn ang="0">
                  <a:pos x="connsiteX5722" y="connsiteY5722"/>
                </a:cxn>
                <a:cxn ang="0">
                  <a:pos x="connsiteX5723" y="connsiteY5723"/>
                </a:cxn>
                <a:cxn ang="0">
                  <a:pos x="connsiteX5724" y="connsiteY5724"/>
                </a:cxn>
                <a:cxn ang="0">
                  <a:pos x="connsiteX5725" y="connsiteY5725"/>
                </a:cxn>
                <a:cxn ang="0">
                  <a:pos x="connsiteX5726" y="connsiteY5726"/>
                </a:cxn>
                <a:cxn ang="0">
                  <a:pos x="connsiteX5727" y="connsiteY5727"/>
                </a:cxn>
                <a:cxn ang="0">
                  <a:pos x="connsiteX5728" y="connsiteY5728"/>
                </a:cxn>
                <a:cxn ang="0">
                  <a:pos x="connsiteX5729" y="connsiteY5729"/>
                </a:cxn>
                <a:cxn ang="0">
                  <a:pos x="connsiteX5730" y="connsiteY5730"/>
                </a:cxn>
                <a:cxn ang="0">
                  <a:pos x="connsiteX5731" y="connsiteY5731"/>
                </a:cxn>
                <a:cxn ang="0">
                  <a:pos x="connsiteX5732" y="connsiteY5732"/>
                </a:cxn>
                <a:cxn ang="0">
                  <a:pos x="connsiteX5733" y="connsiteY5733"/>
                </a:cxn>
                <a:cxn ang="0">
                  <a:pos x="connsiteX5734" y="connsiteY5734"/>
                </a:cxn>
                <a:cxn ang="0">
                  <a:pos x="connsiteX5735" y="connsiteY5735"/>
                </a:cxn>
                <a:cxn ang="0">
                  <a:pos x="connsiteX5736" y="connsiteY5736"/>
                </a:cxn>
                <a:cxn ang="0">
                  <a:pos x="connsiteX5737" y="connsiteY5737"/>
                </a:cxn>
                <a:cxn ang="0">
                  <a:pos x="connsiteX5738" y="connsiteY5738"/>
                </a:cxn>
                <a:cxn ang="0">
                  <a:pos x="connsiteX5739" y="connsiteY5739"/>
                </a:cxn>
                <a:cxn ang="0">
                  <a:pos x="connsiteX5740" y="connsiteY5740"/>
                </a:cxn>
                <a:cxn ang="0">
                  <a:pos x="connsiteX5741" y="connsiteY5741"/>
                </a:cxn>
                <a:cxn ang="0">
                  <a:pos x="connsiteX5742" y="connsiteY5742"/>
                </a:cxn>
                <a:cxn ang="0">
                  <a:pos x="connsiteX5743" y="connsiteY5743"/>
                </a:cxn>
                <a:cxn ang="0">
                  <a:pos x="connsiteX5744" y="connsiteY5744"/>
                </a:cxn>
                <a:cxn ang="0">
                  <a:pos x="connsiteX5745" y="connsiteY5745"/>
                </a:cxn>
                <a:cxn ang="0">
                  <a:pos x="connsiteX5746" y="connsiteY5746"/>
                </a:cxn>
                <a:cxn ang="0">
                  <a:pos x="connsiteX5747" y="connsiteY5747"/>
                </a:cxn>
                <a:cxn ang="0">
                  <a:pos x="connsiteX5748" y="connsiteY5748"/>
                </a:cxn>
                <a:cxn ang="0">
                  <a:pos x="connsiteX5749" y="connsiteY5749"/>
                </a:cxn>
                <a:cxn ang="0">
                  <a:pos x="connsiteX5750" y="connsiteY5750"/>
                </a:cxn>
                <a:cxn ang="0">
                  <a:pos x="connsiteX5751" y="connsiteY5751"/>
                </a:cxn>
                <a:cxn ang="0">
                  <a:pos x="connsiteX5752" y="connsiteY5752"/>
                </a:cxn>
                <a:cxn ang="0">
                  <a:pos x="connsiteX5753" y="connsiteY5753"/>
                </a:cxn>
                <a:cxn ang="0">
                  <a:pos x="connsiteX5754" y="connsiteY5754"/>
                </a:cxn>
                <a:cxn ang="0">
                  <a:pos x="connsiteX5755" y="connsiteY5755"/>
                </a:cxn>
                <a:cxn ang="0">
                  <a:pos x="connsiteX5756" y="connsiteY5756"/>
                </a:cxn>
                <a:cxn ang="0">
                  <a:pos x="connsiteX5757" y="connsiteY5757"/>
                </a:cxn>
                <a:cxn ang="0">
                  <a:pos x="connsiteX5758" y="connsiteY5758"/>
                </a:cxn>
                <a:cxn ang="0">
                  <a:pos x="connsiteX5759" y="connsiteY5759"/>
                </a:cxn>
                <a:cxn ang="0">
                  <a:pos x="connsiteX5760" y="connsiteY5760"/>
                </a:cxn>
                <a:cxn ang="0">
                  <a:pos x="connsiteX5761" y="connsiteY5761"/>
                </a:cxn>
                <a:cxn ang="0">
                  <a:pos x="connsiteX5762" y="connsiteY5762"/>
                </a:cxn>
                <a:cxn ang="0">
                  <a:pos x="connsiteX5763" y="connsiteY5763"/>
                </a:cxn>
                <a:cxn ang="0">
                  <a:pos x="connsiteX5764" y="connsiteY5764"/>
                </a:cxn>
                <a:cxn ang="0">
                  <a:pos x="connsiteX5765" y="connsiteY5765"/>
                </a:cxn>
                <a:cxn ang="0">
                  <a:pos x="connsiteX5766" y="connsiteY5766"/>
                </a:cxn>
                <a:cxn ang="0">
                  <a:pos x="connsiteX5767" y="connsiteY5767"/>
                </a:cxn>
                <a:cxn ang="0">
                  <a:pos x="connsiteX5768" y="connsiteY5768"/>
                </a:cxn>
                <a:cxn ang="0">
                  <a:pos x="connsiteX5769" y="connsiteY5769"/>
                </a:cxn>
                <a:cxn ang="0">
                  <a:pos x="connsiteX5770" y="connsiteY5770"/>
                </a:cxn>
                <a:cxn ang="0">
                  <a:pos x="connsiteX5771" y="connsiteY5771"/>
                </a:cxn>
                <a:cxn ang="0">
                  <a:pos x="connsiteX5772" y="connsiteY5772"/>
                </a:cxn>
                <a:cxn ang="0">
                  <a:pos x="connsiteX5773" y="connsiteY5773"/>
                </a:cxn>
                <a:cxn ang="0">
                  <a:pos x="connsiteX5774" y="connsiteY5774"/>
                </a:cxn>
                <a:cxn ang="0">
                  <a:pos x="connsiteX5775" y="connsiteY5775"/>
                </a:cxn>
                <a:cxn ang="0">
                  <a:pos x="connsiteX5776" y="connsiteY5776"/>
                </a:cxn>
                <a:cxn ang="0">
                  <a:pos x="connsiteX5777" y="connsiteY5777"/>
                </a:cxn>
                <a:cxn ang="0">
                  <a:pos x="connsiteX5778" y="connsiteY5778"/>
                </a:cxn>
                <a:cxn ang="0">
                  <a:pos x="connsiteX5779" y="connsiteY5779"/>
                </a:cxn>
                <a:cxn ang="0">
                  <a:pos x="connsiteX5780" y="connsiteY5780"/>
                </a:cxn>
                <a:cxn ang="0">
                  <a:pos x="connsiteX5781" y="connsiteY5781"/>
                </a:cxn>
                <a:cxn ang="0">
                  <a:pos x="connsiteX5782" y="connsiteY5782"/>
                </a:cxn>
                <a:cxn ang="0">
                  <a:pos x="connsiteX5783" y="connsiteY5783"/>
                </a:cxn>
                <a:cxn ang="0">
                  <a:pos x="connsiteX5784" y="connsiteY5784"/>
                </a:cxn>
                <a:cxn ang="0">
                  <a:pos x="connsiteX5785" y="connsiteY5785"/>
                </a:cxn>
                <a:cxn ang="0">
                  <a:pos x="connsiteX5786" y="connsiteY5786"/>
                </a:cxn>
                <a:cxn ang="0">
                  <a:pos x="connsiteX5787" y="connsiteY5787"/>
                </a:cxn>
                <a:cxn ang="0">
                  <a:pos x="connsiteX5788" y="connsiteY5788"/>
                </a:cxn>
                <a:cxn ang="0">
                  <a:pos x="connsiteX5789" y="connsiteY5789"/>
                </a:cxn>
                <a:cxn ang="0">
                  <a:pos x="connsiteX5790" y="connsiteY5790"/>
                </a:cxn>
                <a:cxn ang="0">
                  <a:pos x="connsiteX5791" y="connsiteY5791"/>
                </a:cxn>
                <a:cxn ang="0">
                  <a:pos x="connsiteX5792" y="connsiteY5792"/>
                </a:cxn>
                <a:cxn ang="0">
                  <a:pos x="connsiteX5793" y="connsiteY5793"/>
                </a:cxn>
                <a:cxn ang="0">
                  <a:pos x="connsiteX5794" y="connsiteY5794"/>
                </a:cxn>
                <a:cxn ang="0">
                  <a:pos x="connsiteX5795" y="connsiteY5795"/>
                </a:cxn>
                <a:cxn ang="0">
                  <a:pos x="connsiteX5796" y="connsiteY5796"/>
                </a:cxn>
                <a:cxn ang="0">
                  <a:pos x="connsiteX5797" y="connsiteY5797"/>
                </a:cxn>
                <a:cxn ang="0">
                  <a:pos x="connsiteX5798" y="connsiteY5798"/>
                </a:cxn>
                <a:cxn ang="0">
                  <a:pos x="connsiteX5799" y="connsiteY5799"/>
                </a:cxn>
                <a:cxn ang="0">
                  <a:pos x="connsiteX5800" y="connsiteY5800"/>
                </a:cxn>
                <a:cxn ang="0">
                  <a:pos x="connsiteX5801" y="connsiteY5801"/>
                </a:cxn>
                <a:cxn ang="0">
                  <a:pos x="connsiteX5802" y="connsiteY5802"/>
                </a:cxn>
                <a:cxn ang="0">
                  <a:pos x="connsiteX5803" y="connsiteY5803"/>
                </a:cxn>
                <a:cxn ang="0">
                  <a:pos x="connsiteX5804" y="connsiteY5804"/>
                </a:cxn>
                <a:cxn ang="0">
                  <a:pos x="connsiteX5805" y="connsiteY5805"/>
                </a:cxn>
                <a:cxn ang="0">
                  <a:pos x="connsiteX5806" y="connsiteY5806"/>
                </a:cxn>
                <a:cxn ang="0">
                  <a:pos x="connsiteX5807" y="connsiteY5807"/>
                </a:cxn>
                <a:cxn ang="0">
                  <a:pos x="connsiteX5808" y="connsiteY5808"/>
                </a:cxn>
                <a:cxn ang="0">
                  <a:pos x="connsiteX5809" y="connsiteY5809"/>
                </a:cxn>
                <a:cxn ang="0">
                  <a:pos x="connsiteX5810" y="connsiteY5810"/>
                </a:cxn>
                <a:cxn ang="0">
                  <a:pos x="connsiteX5811" y="connsiteY5811"/>
                </a:cxn>
                <a:cxn ang="0">
                  <a:pos x="connsiteX5812" y="connsiteY5812"/>
                </a:cxn>
                <a:cxn ang="0">
                  <a:pos x="connsiteX5813" y="connsiteY5813"/>
                </a:cxn>
                <a:cxn ang="0">
                  <a:pos x="connsiteX5814" y="connsiteY5814"/>
                </a:cxn>
                <a:cxn ang="0">
                  <a:pos x="connsiteX5815" y="connsiteY5815"/>
                </a:cxn>
                <a:cxn ang="0">
                  <a:pos x="connsiteX5816" y="connsiteY5816"/>
                </a:cxn>
                <a:cxn ang="0">
                  <a:pos x="connsiteX5817" y="connsiteY5817"/>
                </a:cxn>
                <a:cxn ang="0">
                  <a:pos x="connsiteX5818" y="connsiteY5818"/>
                </a:cxn>
                <a:cxn ang="0">
                  <a:pos x="connsiteX5819" y="connsiteY5819"/>
                </a:cxn>
                <a:cxn ang="0">
                  <a:pos x="connsiteX5820" y="connsiteY5820"/>
                </a:cxn>
                <a:cxn ang="0">
                  <a:pos x="connsiteX5821" y="connsiteY5821"/>
                </a:cxn>
                <a:cxn ang="0">
                  <a:pos x="connsiteX5822" y="connsiteY5822"/>
                </a:cxn>
                <a:cxn ang="0">
                  <a:pos x="connsiteX5823" y="connsiteY5823"/>
                </a:cxn>
                <a:cxn ang="0">
                  <a:pos x="connsiteX5824" y="connsiteY5824"/>
                </a:cxn>
                <a:cxn ang="0">
                  <a:pos x="connsiteX5825" y="connsiteY5825"/>
                </a:cxn>
                <a:cxn ang="0">
                  <a:pos x="connsiteX5826" y="connsiteY5826"/>
                </a:cxn>
                <a:cxn ang="0">
                  <a:pos x="connsiteX5827" y="connsiteY5827"/>
                </a:cxn>
                <a:cxn ang="0">
                  <a:pos x="connsiteX5828" y="connsiteY5828"/>
                </a:cxn>
                <a:cxn ang="0">
                  <a:pos x="connsiteX5829" y="connsiteY5829"/>
                </a:cxn>
                <a:cxn ang="0">
                  <a:pos x="connsiteX5830" y="connsiteY5830"/>
                </a:cxn>
                <a:cxn ang="0">
                  <a:pos x="connsiteX5831" y="connsiteY5831"/>
                </a:cxn>
                <a:cxn ang="0">
                  <a:pos x="connsiteX5832" y="connsiteY5832"/>
                </a:cxn>
                <a:cxn ang="0">
                  <a:pos x="connsiteX5833" y="connsiteY5833"/>
                </a:cxn>
                <a:cxn ang="0">
                  <a:pos x="connsiteX5834" y="connsiteY5834"/>
                </a:cxn>
                <a:cxn ang="0">
                  <a:pos x="connsiteX5835" y="connsiteY5835"/>
                </a:cxn>
                <a:cxn ang="0">
                  <a:pos x="connsiteX5836" y="connsiteY5836"/>
                </a:cxn>
                <a:cxn ang="0">
                  <a:pos x="connsiteX5837" y="connsiteY5837"/>
                </a:cxn>
                <a:cxn ang="0">
                  <a:pos x="connsiteX5838" y="connsiteY5838"/>
                </a:cxn>
                <a:cxn ang="0">
                  <a:pos x="connsiteX5839" y="connsiteY5839"/>
                </a:cxn>
                <a:cxn ang="0">
                  <a:pos x="connsiteX5840" y="connsiteY5840"/>
                </a:cxn>
                <a:cxn ang="0">
                  <a:pos x="connsiteX5841" y="connsiteY5841"/>
                </a:cxn>
                <a:cxn ang="0">
                  <a:pos x="connsiteX5842" y="connsiteY5842"/>
                </a:cxn>
                <a:cxn ang="0">
                  <a:pos x="connsiteX5843" y="connsiteY5843"/>
                </a:cxn>
                <a:cxn ang="0">
                  <a:pos x="connsiteX5844" y="connsiteY5844"/>
                </a:cxn>
                <a:cxn ang="0">
                  <a:pos x="connsiteX5845" y="connsiteY5845"/>
                </a:cxn>
                <a:cxn ang="0">
                  <a:pos x="connsiteX5846" y="connsiteY5846"/>
                </a:cxn>
                <a:cxn ang="0">
                  <a:pos x="connsiteX5847" y="connsiteY5847"/>
                </a:cxn>
                <a:cxn ang="0">
                  <a:pos x="connsiteX5848" y="connsiteY5848"/>
                </a:cxn>
                <a:cxn ang="0">
                  <a:pos x="connsiteX5849" y="connsiteY5849"/>
                </a:cxn>
                <a:cxn ang="0">
                  <a:pos x="connsiteX5850" y="connsiteY5850"/>
                </a:cxn>
                <a:cxn ang="0">
                  <a:pos x="connsiteX5851" y="connsiteY5851"/>
                </a:cxn>
                <a:cxn ang="0">
                  <a:pos x="connsiteX5852" y="connsiteY5852"/>
                </a:cxn>
                <a:cxn ang="0">
                  <a:pos x="connsiteX5853" y="connsiteY5853"/>
                </a:cxn>
                <a:cxn ang="0">
                  <a:pos x="connsiteX5854" y="connsiteY5854"/>
                </a:cxn>
                <a:cxn ang="0">
                  <a:pos x="connsiteX5855" y="connsiteY5855"/>
                </a:cxn>
                <a:cxn ang="0">
                  <a:pos x="connsiteX5856" y="connsiteY5856"/>
                </a:cxn>
                <a:cxn ang="0">
                  <a:pos x="connsiteX5857" y="connsiteY5857"/>
                </a:cxn>
                <a:cxn ang="0">
                  <a:pos x="connsiteX5858" y="connsiteY5858"/>
                </a:cxn>
                <a:cxn ang="0">
                  <a:pos x="connsiteX5859" y="connsiteY5859"/>
                </a:cxn>
                <a:cxn ang="0">
                  <a:pos x="connsiteX5860" y="connsiteY5860"/>
                </a:cxn>
                <a:cxn ang="0">
                  <a:pos x="connsiteX5861" y="connsiteY5861"/>
                </a:cxn>
                <a:cxn ang="0">
                  <a:pos x="connsiteX5862" y="connsiteY5862"/>
                </a:cxn>
                <a:cxn ang="0">
                  <a:pos x="connsiteX5863" y="connsiteY5863"/>
                </a:cxn>
                <a:cxn ang="0">
                  <a:pos x="connsiteX5864" y="connsiteY5864"/>
                </a:cxn>
                <a:cxn ang="0">
                  <a:pos x="connsiteX5865" y="connsiteY5865"/>
                </a:cxn>
                <a:cxn ang="0">
                  <a:pos x="connsiteX5866" y="connsiteY5866"/>
                </a:cxn>
                <a:cxn ang="0">
                  <a:pos x="connsiteX5867" y="connsiteY5867"/>
                </a:cxn>
                <a:cxn ang="0">
                  <a:pos x="connsiteX5868" y="connsiteY5868"/>
                </a:cxn>
                <a:cxn ang="0">
                  <a:pos x="connsiteX5869" y="connsiteY5869"/>
                </a:cxn>
                <a:cxn ang="0">
                  <a:pos x="connsiteX5870" y="connsiteY5870"/>
                </a:cxn>
                <a:cxn ang="0">
                  <a:pos x="connsiteX5871" y="connsiteY5871"/>
                </a:cxn>
                <a:cxn ang="0">
                  <a:pos x="connsiteX5872" y="connsiteY5872"/>
                </a:cxn>
                <a:cxn ang="0">
                  <a:pos x="connsiteX5873" y="connsiteY5873"/>
                </a:cxn>
                <a:cxn ang="0">
                  <a:pos x="connsiteX5874" y="connsiteY5874"/>
                </a:cxn>
                <a:cxn ang="0">
                  <a:pos x="connsiteX5875" y="connsiteY5875"/>
                </a:cxn>
                <a:cxn ang="0">
                  <a:pos x="connsiteX5876" y="connsiteY5876"/>
                </a:cxn>
                <a:cxn ang="0">
                  <a:pos x="connsiteX5877" y="connsiteY5877"/>
                </a:cxn>
                <a:cxn ang="0">
                  <a:pos x="connsiteX5878" y="connsiteY5878"/>
                </a:cxn>
                <a:cxn ang="0">
                  <a:pos x="connsiteX5879" y="connsiteY5879"/>
                </a:cxn>
                <a:cxn ang="0">
                  <a:pos x="connsiteX5880" y="connsiteY5880"/>
                </a:cxn>
                <a:cxn ang="0">
                  <a:pos x="connsiteX5881" y="connsiteY5881"/>
                </a:cxn>
                <a:cxn ang="0">
                  <a:pos x="connsiteX5882" y="connsiteY5882"/>
                </a:cxn>
                <a:cxn ang="0">
                  <a:pos x="connsiteX5883" y="connsiteY5883"/>
                </a:cxn>
                <a:cxn ang="0">
                  <a:pos x="connsiteX5884" y="connsiteY5884"/>
                </a:cxn>
                <a:cxn ang="0">
                  <a:pos x="connsiteX5885" y="connsiteY5885"/>
                </a:cxn>
                <a:cxn ang="0">
                  <a:pos x="connsiteX5886" y="connsiteY5886"/>
                </a:cxn>
                <a:cxn ang="0">
                  <a:pos x="connsiteX5887" y="connsiteY5887"/>
                </a:cxn>
                <a:cxn ang="0">
                  <a:pos x="connsiteX5888" y="connsiteY5888"/>
                </a:cxn>
                <a:cxn ang="0">
                  <a:pos x="connsiteX5889" y="connsiteY5889"/>
                </a:cxn>
                <a:cxn ang="0">
                  <a:pos x="connsiteX5890" y="connsiteY5890"/>
                </a:cxn>
                <a:cxn ang="0">
                  <a:pos x="connsiteX5891" y="connsiteY5891"/>
                </a:cxn>
                <a:cxn ang="0">
                  <a:pos x="connsiteX5892" y="connsiteY5892"/>
                </a:cxn>
                <a:cxn ang="0">
                  <a:pos x="connsiteX5893" y="connsiteY5893"/>
                </a:cxn>
                <a:cxn ang="0">
                  <a:pos x="connsiteX5894" y="connsiteY5894"/>
                </a:cxn>
                <a:cxn ang="0">
                  <a:pos x="connsiteX5895" y="connsiteY5895"/>
                </a:cxn>
                <a:cxn ang="0">
                  <a:pos x="connsiteX5896" y="connsiteY5896"/>
                </a:cxn>
                <a:cxn ang="0">
                  <a:pos x="connsiteX5897" y="connsiteY5897"/>
                </a:cxn>
                <a:cxn ang="0">
                  <a:pos x="connsiteX5898" y="connsiteY5898"/>
                </a:cxn>
                <a:cxn ang="0">
                  <a:pos x="connsiteX5899" y="connsiteY5899"/>
                </a:cxn>
                <a:cxn ang="0">
                  <a:pos x="connsiteX5900" y="connsiteY5900"/>
                </a:cxn>
                <a:cxn ang="0">
                  <a:pos x="connsiteX5901" y="connsiteY5901"/>
                </a:cxn>
                <a:cxn ang="0">
                  <a:pos x="connsiteX5902" y="connsiteY5902"/>
                </a:cxn>
                <a:cxn ang="0">
                  <a:pos x="connsiteX5903" y="connsiteY5903"/>
                </a:cxn>
                <a:cxn ang="0">
                  <a:pos x="connsiteX5904" y="connsiteY5904"/>
                </a:cxn>
                <a:cxn ang="0">
                  <a:pos x="connsiteX5905" y="connsiteY5905"/>
                </a:cxn>
                <a:cxn ang="0">
                  <a:pos x="connsiteX5906" y="connsiteY5906"/>
                </a:cxn>
                <a:cxn ang="0">
                  <a:pos x="connsiteX5907" y="connsiteY5907"/>
                </a:cxn>
                <a:cxn ang="0">
                  <a:pos x="connsiteX5908" y="connsiteY5908"/>
                </a:cxn>
                <a:cxn ang="0">
                  <a:pos x="connsiteX5909" y="connsiteY5909"/>
                </a:cxn>
                <a:cxn ang="0">
                  <a:pos x="connsiteX5910" y="connsiteY5910"/>
                </a:cxn>
                <a:cxn ang="0">
                  <a:pos x="connsiteX5911" y="connsiteY5911"/>
                </a:cxn>
                <a:cxn ang="0">
                  <a:pos x="connsiteX5912" y="connsiteY5912"/>
                </a:cxn>
                <a:cxn ang="0">
                  <a:pos x="connsiteX5913" y="connsiteY5913"/>
                </a:cxn>
                <a:cxn ang="0">
                  <a:pos x="connsiteX5914" y="connsiteY5914"/>
                </a:cxn>
                <a:cxn ang="0">
                  <a:pos x="connsiteX5915" y="connsiteY5915"/>
                </a:cxn>
                <a:cxn ang="0">
                  <a:pos x="connsiteX5916" y="connsiteY5916"/>
                </a:cxn>
                <a:cxn ang="0">
                  <a:pos x="connsiteX5917" y="connsiteY5917"/>
                </a:cxn>
                <a:cxn ang="0">
                  <a:pos x="connsiteX5918" y="connsiteY5918"/>
                </a:cxn>
                <a:cxn ang="0">
                  <a:pos x="connsiteX5919" y="connsiteY5919"/>
                </a:cxn>
                <a:cxn ang="0">
                  <a:pos x="connsiteX5920" y="connsiteY5920"/>
                </a:cxn>
                <a:cxn ang="0">
                  <a:pos x="connsiteX5921" y="connsiteY5921"/>
                </a:cxn>
                <a:cxn ang="0">
                  <a:pos x="connsiteX5922" y="connsiteY5922"/>
                </a:cxn>
                <a:cxn ang="0">
                  <a:pos x="connsiteX5923" y="connsiteY5923"/>
                </a:cxn>
                <a:cxn ang="0">
                  <a:pos x="connsiteX5924" y="connsiteY5924"/>
                </a:cxn>
                <a:cxn ang="0">
                  <a:pos x="connsiteX5925" y="connsiteY5925"/>
                </a:cxn>
                <a:cxn ang="0">
                  <a:pos x="connsiteX5926" y="connsiteY5926"/>
                </a:cxn>
                <a:cxn ang="0">
                  <a:pos x="connsiteX5927" y="connsiteY5927"/>
                </a:cxn>
                <a:cxn ang="0">
                  <a:pos x="connsiteX5928" y="connsiteY5928"/>
                </a:cxn>
                <a:cxn ang="0">
                  <a:pos x="connsiteX5929" y="connsiteY5929"/>
                </a:cxn>
                <a:cxn ang="0">
                  <a:pos x="connsiteX5930" y="connsiteY5930"/>
                </a:cxn>
                <a:cxn ang="0">
                  <a:pos x="connsiteX5931" y="connsiteY5931"/>
                </a:cxn>
                <a:cxn ang="0">
                  <a:pos x="connsiteX5932" y="connsiteY5932"/>
                </a:cxn>
                <a:cxn ang="0">
                  <a:pos x="connsiteX5933" y="connsiteY5933"/>
                </a:cxn>
                <a:cxn ang="0">
                  <a:pos x="connsiteX5934" y="connsiteY5934"/>
                </a:cxn>
                <a:cxn ang="0">
                  <a:pos x="connsiteX5935" y="connsiteY5935"/>
                </a:cxn>
                <a:cxn ang="0">
                  <a:pos x="connsiteX5936" y="connsiteY5936"/>
                </a:cxn>
                <a:cxn ang="0">
                  <a:pos x="connsiteX5937" y="connsiteY5937"/>
                </a:cxn>
                <a:cxn ang="0">
                  <a:pos x="connsiteX5938" y="connsiteY5938"/>
                </a:cxn>
                <a:cxn ang="0">
                  <a:pos x="connsiteX5939" y="connsiteY5939"/>
                </a:cxn>
                <a:cxn ang="0">
                  <a:pos x="connsiteX5940" y="connsiteY5940"/>
                </a:cxn>
                <a:cxn ang="0">
                  <a:pos x="connsiteX5941" y="connsiteY5941"/>
                </a:cxn>
                <a:cxn ang="0">
                  <a:pos x="connsiteX5942" y="connsiteY5942"/>
                </a:cxn>
                <a:cxn ang="0">
                  <a:pos x="connsiteX5943" y="connsiteY5943"/>
                </a:cxn>
                <a:cxn ang="0">
                  <a:pos x="connsiteX5944" y="connsiteY5944"/>
                </a:cxn>
                <a:cxn ang="0">
                  <a:pos x="connsiteX5945" y="connsiteY5945"/>
                </a:cxn>
                <a:cxn ang="0">
                  <a:pos x="connsiteX5946" y="connsiteY5946"/>
                </a:cxn>
                <a:cxn ang="0">
                  <a:pos x="connsiteX5947" y="connsiteY5947"/>
                </a:cxn>
                <a:cxn ang="0">
                  <a:pos x="connsiteX5948" y="connsiteY5948"/>
                </a:cxn>
                <a:cxn ang="0">
                  <a:pos x="connsiteX5949" y="connsiteY5949"/>
                </a:cxn>
                <a:cxn ang="0">
                  <a:pos x="connsiteX5950" y="connsiteY5950"/>
                </a:cxn>
                <a:cxn ang="0">
                  <a:pos x="connsiteX5951" y="connsiteY5951"/>
                </a:cxn>
                <a:cxn ang="0">
                  <a:pos x="connsiteX5952" y="connsiteY5952"/>
                </a:cxn>
                <a:cxn ang="0">
                  <a:pos x="connsiteX5953" y="connsiteY5953"/>
                </a:cxn>
                <a:cxn ang="0">
                  <a:pos x="connsiteX5954" y="connsiteY5954"/>
                </a:cxn>
                <a:cxn ang="0">
                  <a:pos x="connsiteX5955" y="connsiteY5955"/>
                </a:cxn>
                <a:cxn ang="0">
                  <a:pos x="connsiteX5956" y="connsiteY5956"/>
                </a:cxn>
                <a:cxn ang="0">
                  <a:pos x="connsiteX5957" y="connsiteY5957"/>
                </a:cxn>
                <a:cxn ang="0">
                  <a:pos x="connsiteX5958" y="connsiteY5958"/>
                </a:cxn>
                <a:cxn ang="0">
                  <a:pos x="connsiteX5959" y="connsiteY5959"/>
                </a:cxn>
                <a:cxn ang="0">
                  <a:pos x="connsiteX5960" y="connsiteY5960"/>
                </a:cxn>
                <a:cxn ang="0">
                  <a:pos x="connsiteX5961" y="connsiteY5961"/>
                </a:cxn>
                <a:cxn ang="0">
                  <a:pos x="connsiteX5962" y="connsiteY5962"/>
                </a:cxn>
                <a:cxn ang="0">
                  <a:pos x="connsiteX5963" y="connsiteY5963"/>
                </a:cxn>
                <a:cxn ang="0">
                  <a:pos x="connsiteX5964" y="connsiteY5964"/>
                </a:cxn>
                <a:cxn ang="0">
                  <a:pos x="connsiteX5965" y="connsiteY5965"/>
                </a:cxn>
                <a:cxn ang="0">
                  <a:pos x="connsiteX5966" y="connsiteY5966"/>
                </a:cxn>
                <a:cxn ang="0">
                  <a:pos x="connsiteX5967" y="connsiteY5967"/>
                </a:cxn>
                <a:cxn ang="0">
                  <a:pos x="connsiteX5968" y="connsiteY5968"/>
                </a:cxn>
                <a:cxn ang="0">
                  <a:pos x="connsiteX5969" y="connsiteY5969"/>
                </a:cxn>
                <a:cxn ang="0">
                  <a:pos x="connsiteX5970" y="connsiteY5970"/>
                </a:cxn>
                <a:cxn ang="0">
                  <a:pos x="connsiteX5971" y="connsiteY5971"/>
                </a:cxn>
                <a:cxn ang="0">
                  <a:pos x="connsiteX5972" y="connsiteY5972"/>
                </a:cxn>
                <a:cxn ang="0">
                  <a:pos x="connsiteX5973" y="connsiteY5973"/>
                </a:cxn>
                <a:cxn ang="0">
                  <a:pos x="connsiteX5974" y="connsiteY5974"/>
                </a:cxn>
                <a:cxn ang="0">
                  <a:pos x="connsiteX5975" y="connsiteY5975"/>
                </a:cxn>
                <a:cxn ang="0">
                  <a:pos x="connsiteX5976" y="connsiteY5976"/>
                </a:cxn>
                <a:cxn ang="0">
                  <a:pos x="connsiteX5977" y="connsiteY5977"/>
                </a:cxn>
                <a:cxn ang="0">
                  <a:pos x="connsiteX5978" y="connsiteY5978"/>
                </a:cxn>
                <a:cxn ang="0">
                  <a:pos x="connsiteX5979" y="connsiteY5979"/>
                </a:cxn>
                <a:cxn ang="0">
                  <a:pos x="connsiteX5980" y="connsiteY5980"/>
                </a:cxn>
                <a:cxn ang="0">
                  <a:pos x="connsiteX5981" y="connsiteY5981"/>
                </a:cxn>
                <a:cxn ang="0">
                  <a:pos x="connsiteX5982" y="connsiteY5982"/>
                </a:cxn>
                <a:cxn ang="0">
                  <a:pos x="connsiteX5983" y="connsiteY5983"/>
                </a:cxn>
                <a:cxn ang="0">
                  <a:pos x="connsiteX5984" y="connsiteY5984"/>
                </a:cxn>
                <a:cxn ang="0">
                  <a:pos x="connsiteX5985" y="connsiteY5985"/>
                </a:cxn>
                <a:cxn ang="0">
                  <a:pos x="connsiteX5986" y="connsiteY5986"/>
                </a:cxn>
                <a:cxn ang="0">
                  <a:pos x="connsiteX5987" y="connsiteY5987"/>
                </a:cxn>
                <a:cxn ang="0">
                  <a:pos x="connsiteX5988" y="connsiteY5988"/>
                </a:cxn>
                <a:cxn ang="0">
                  <a:pos x="connsiteX5989" y="connsiteY5989"/>
                </a:cxn>
                <a:cxn ang="0">
                  <a:pos x="connsiteX5990" y="connsiteY5990"/>
                </a:cxn>
                <a:cxn ang="0">
                  <a:pos x="connsiteX5991" y="connsiteY5991"/>
                </a:cxn>
                <a:cxn ang="0">
                  <a:pos x="connsiteX5992" y="connsiteY5992"/>
                </a:cxn>
                <a:cxn ang="0">
                  <a:pos x="connsiteX5993" y="connsiteY5993"/>
                </a:cxn>
                <a:cxn ang="0">
                  <a:pos x="connsiteX5994" y="connsiteY5994"/>
                </a:cxn>
                <a:cxn ang="0">
                  <a:pos x="connsiteX5995" y="connsiteY5995"/>
                </a:cxn>
                <a:cxn ang="0">
                  <a:pos x="connsiteX5996" y="connsiteY5996"/>
                </a:cxn>
                <a:cxn ang="0">
                  <a:pos x="connsiteX5997" y="connsiteY5997"/>
                </a:cxn>
                <a:cxn ang="0">
                  <a:pos x="connsiteX5998" y="connsiteY5998"/>
                </a:cxn>
                <a:cxn ang="0">
                  <a:pos x="connsiteX5999" y="connsiteY5999"/>
                </a:cxn>
                <a:cxn ang="0">
                  <a:pos x="connsiteX6000" y="connsiteY6000"/>
                </a:cxn>
                <a:cxn ang="0">
                  <a:pos x="connsiteX6001" y="connsiteY6001"/>
                </a:cxn>
                <a:cxn ang="0">
                  <a:pos x="connsiteX6002" y="connsiteY6002"/>
                </a:cxn>
                <a:cxn ang="0">
                  <a:pos x="connsiteX6003" y="connsiteY6003"/>
                </a:cxn>
                <a:cxn ang="0">
                  <a:pos x="connsiteX6004" y="connsiteY6004"/>
                </a:cxn>
                <a:cxn ang="0">
                  <a:pos x="connsiteX6005" y="connsiteY6005"/>
                </a:cxn>
                <a:cxn ang="0">
                  <a:pos x="connsiteX6006" y="connsiteY6006"/>
                </a:cxn>
                <a:cxn ang="0">
                  <a:pos x="connsiteX6007" y="connsiteY6007"/>
                </a:cxn>
                <a:cxn ang="0">
                  <a:pos x="connsiteX6008" y="connsiteY6008"/>
                </a:cxn>
                <a:cxn ang="0">
                  <a:pos x="connsiteX6009" y="connsiteY6009"/>
                </a:cxn>
                <a:cxn ang="0">
                  <a:pos x="connsiteX6010" y="connsiteY6010"/>
                </a:cxn>
                <a:cxn ang="0">
                  <a:pos x="connsiteX6011" y="connsiteY6011"/>
                </a:cxn>
                <a:cxn ang="0">
                  <a:pos x="connsiteX6012" y="connsiteY6012"/>
                </a:cxn>
                <a:cxn ang="0">
                  <a:pos x="connsiteX6013" y="connsiteY6013"/>
                </a:cxn>
                <a:cxn ang="0">
                  <a:pos x="connsiteX6014" y="connsiteY6014"/>
                </a:cxn>
                <a:cxn ang="0">
                  <a:pos x="connsiteX6015" y="connsiteY6015"/>
                </a:cxn>
                <a:cxn ang="0">
                  <a:pos x="connsiteX6016" y="connsiteY6016"/>
                </a:cxn>
                <a:cxn ang="0">
                  <a:pos x="connsiteX6017" y="connsiteY6017"/>
                </a:cxn>
                <a:cxn ang="0">
                  <a:pos x="connsiteX6018" y="connsiteY6018"/>
                </a:cxn>
                <a:cxn ang="0">
                  <a:pos x="connsiteX6019" y="connsiteY6019"/>
                </a:cxn>
                <a:cxn ang="0">
                  <a:pos x="connsiteX6020" y="connsiteY6020"/>
                </a:cxn>
                <a:cxn ang="0">
                  <a:pos x="connsiteX6021" y="connsiteY6021"/>
                </a:cxn>
                <a:cxn ang="0">
                  <a:pos x="connsiteX6022" y="connsiteY6022"/>
                </a:cxn>
                <a:cxn ang="0">
                  <a:pos x="connsiteX6023" y="connsiteY6023"/>
                </a:cxn>
                <a:cxn ang="0">
                  <a:pos x="connsiteX6024" y="connsiteY6024"/>
                </a:cxn>
                <a:cxn ang="0">
                  <a:pos x="connsiteX6025" y="connsiteY6025"/>
                </a:cxn>
                <a:cxn ang="0">
                  <a:pos x="connsiteX6026" y="connsiteY6026"/>
                </a:cxn>
                <a:cxn ang="0">
                  <a:pos x="connsiteX6027" y="connsiteY6027"/>
                </a:cxn>
                <a:cxn ang="0">
                  <a:pos x="connsiteX6028" y="connsiteY6028"/>
                </a:cxn>
                <a:cxn ang="0">
                  <a:pos x="connsiteX6029" y="connsiteY6029"/>
                </a:cxn>
                <a:cxn ang="0">
                  <a:pos x="connsiteX6030" y="connsiteY6030"/>
                </a:cxn>
                <a:cxn ang="0">
                  <a:pos x="connsiteX6031" y="connsiteY6031"/>
                </a:cxn>
                <a:cxn ang="0">
                  <a:pos x="connsiteX6032" y="connsiteY6032"/>
                </a:cxn>
                <a:cxn ang="0">
                  <a:pos x="connsiteX6033" y="connsiteY6033"/>
                </a:cxn>
                <a:cxn ang="0">
                  <a:pos x="connsiteX6034" y="connsiteY6034"/>
                </a:cxn>
                <a:cxn ang="0">
                  <a:pos x="connsiteX6035" y="connsiteY6035"/>
                </a:cxn>
                <a:cxn ang="0">
                  <a:pos x="connsiteX6036" y="connsiteY6036"/>
                </a:cxn>
                <a:cxn ang="0">
                  <a:pos x="connsiteX6037" y="connsiteY6037"/>
                </a:cxn>
                <a:cxn ang="0">
                  <a:pos x="connsiteX6038" y="connsiteY6038"/>
                </a:cxn>
                <a:cxn ang="0">
                  <a:pos x="connsiteX6039" y="connsiteY6039"/>
                </a:cxn>
                <a:cxn ang="0">
                  <a:pos x="connsiteX6040" y="connsiteY6040"/>
                </a:cxn>
                <a:cxn ang="0">
                  <a:pos x="connsiteX6041" y="connsiteY6041"/>
                </a:cxn>
                <a:cxn ang="0">
                  <a:pos x="connsiteX6042" y="connsiteY6042"/>
                </a:cxn>
                <a:cxn ang="0">
                  <a:pos x="connsiteX6043" y="connsiteY6043"/>
                </a:cxn>
                <a:cxn ang="0">
                  <a:pos x="connsiteX6044" y="connsiteY6044"/>
                </a:cxn>
                <a:cxn ang="0">
                  <a:pos x="connsiteX6045" y="connsiteY6045"/>
                </a:cxn>
                <a:cxn ang="0">
                  <a:pos x="connsiteX6046" y="connsiteY6046"/>
                </a:cxn>
                <a:cxn ang="0">
                  <a:pos x="connsiteX6047" y="connsiteY6047"/>
                </a:cxn>
                <a:cxn ang="0">
                  <a:pos x="connsiteX6048" y="connsiteY6048"/>
                </a:cxn>
                <a:cxn ang="0">
                  <a:pos x="connsiteX6049" y="connsiteY6049"/>
                </a:cxn>
                <a:cxn ang="0">
                  <a:pos x="connsiteX6050" y="connsiteY6050"/>
                </a:cxn>
                <a:cxn ang="0">
                  <a:pos x="connsiteX6051" y="connsiteY6051"/>
                </a:cxn>
                <a:cxn ang="0">
                  <a:pos x="connsiteX6052" y="connsiteY6052"/>
                </a:cxn>
                <a:cxn ang="0">
                  <a:pos x="connsiteX6053" y="connsiteY6053"/>
                </a:cxn>
                <a:cxn ang="0">
                  <a:pos x="connsiteX6054" y="connsiteY6054"/>
                </a:cxn>
                <a:cxn ang="0">
                  <a:pos x="connsiteX6055" y="connsiteY6055"/>
                </a:cxn>
                <a:cxn ang="0">
                  <a:pos x="connsiteX6056" y="connsiteY6056"/>
                </a:cxn>
                <a:cxn ang="0">
                  <a:pos x="connsiteX6057" y="connsiteY6057"/>
                </a:cxn>
                <a:cxn ang="0">
                  <a:pos x="connsiteX6058" y="connsiteY6058"/>
                </a:cxn>
                <a:cxn ang="0">
                  <a:pos x="connsiteX6059" y="connsiteY6059"/>
                </a:cxn>
                <a:cxn ang="0">
                  <a:pos x="connsiteX6060" y="connsiteY6060"/>
                </a:cxn>
                <a:cxn ang="0">
                  <a:pos x="connsiteX6061" y="connsiteY6061"/>
                </a:cxn>
                <a:cxn ang="0">
                  <a:pos x="connsiteX6062" y="connsiteY6062"/>
                </a:cxn>
                <a:cxn ang="0">
                  <a:pos x="connsiteX6063" y="connsiteY6063"/>
                </a:cxn>
                <a:cxn ang="0">
                  <a:pos x="connsiteX6064" y="connsiteY6064"/>
                </a:cxn>
                <a:cxn ang="0">
                  <a:pos x="connsiteX6065" y="connsiteY6065"/>
                </a:cxn>
                <a:cxn ang="0">
                  <a:pos x="connsiteX6066" y="connsiteY6066"/>
                </a:cxn>
                <a:cxn ang="0">
                  <a:pos x="connsiteX6067" y="connsiteY6067"/>
                </a:cxn>
                <a:cxn ang="0">
                  <a:pos x="connsiteX6068" y="connsiteY6068"/>
                </a:cxn>
                <a:cxn ang="0">
                  <a:pos x="connsiteX6069" y="connsiteY6069"/>
                </a:cxn>
                <a:cxn ang="0">
                  <a:pos x="connsiteX6070" y="connsiteY6070"/>
                </a:cxn>
                <a:cxn ang="0">
                  <a:pos x="connsiteX6071" y="connsiteY6071"/>
                </a:cxn>
                <a:cxn ang="0">
                  <a:pos x="connsiteX6072" y="connsiteY6072"/>
                </a:cxn>
                <a:cxn ang="0">
                  <a:pos x="connsiteX6073" y="connsiteY6073"/>
                </a:cxn>
                <a:cxn ang="0">
                  <a:pos x="connsiteX6074" y="connsiteY6074"/>
                </a:cxn>
                <a:cxn ang="0">
                  <a:pos x="connsiteX6075" y="connsiteY6075"/>
                </a:cxn>
                <a:cxn ang="0">
                  <a:pos x="connsiteX6076" y="connsiteY6076"/>
                </a:cxn>
                <a:cxn ang="0">
                  <a:pos x="connsiteX6077" y="connsiteY6077"/>
                </a:cxn>
                <a:cxn ang="0">
                  <a:pos x="connsiteX6078" y="connsiteY6078"/>
                </a:cxn>
                <a:cxn ang="0">
                  <a:pos x="connsiteX6079" y="connsiteY6079"/>
                </a:cxn>
                <a:cxn ang="0">
                  <a:pos x="connsiteX6080" y="connsiteY6080"/>
                </a:cxn>
                <a:cxn ang="0">
                  <a:pos x="connsiteX6081" y="connsiteY6081"/>
                </a:cxn>
                <a:cxn ang="0">
                  <a:pos x="connsiteX6082" y="connsiteY6082"/>
                </a:cxn>
                <a:cxn ang="0">
                  <a:pos x="connsiteX6083" y="connsiteY6083"/>
                </a:cxn>
                <a:cxn ang="0">
                  <a:pos x="connsiteX6084" y="connsiteY6084"/>
                </a:cxn>
                <a:cxn ang="0">
                  <a:pos x="connsiteX6085" y="connsiteY6085"/>
                </a:cxn>
                <a:cxn ang="0">
                  <a:pos x="connsiteX6086" y="connsiteY6086"/>
                </a:cxn>
                <a:cxn ang="0">
                  <a:pos x="connsiteX6087" y="connsiteY6087"/>
                </a:cxn>
                <a:cxn ang="0">
                  <a:pos x="connsiteX6088" y="connsiteY6088"/>
                </a:cxn>
                <a:cxn ang="0">
                  <a:pos x="connsiteX6089" y="connsiteY6089"/>
                </a:cxn>
                <a:cxn ang="0">
                  <a:pos x="connsiteX6090" y="connsiteY6090"/>
                </a:cxn>
                <a:cxn ang="0">
                  <a:pos x="connsiteX6091" y="connsiteY6091"/>
                </a:cxn>
                <a:cxn ang="0">
                  <a:pos x="connsiteX6092" y="connsiteY6092"/>
                </a:cxn>
                <a:cxn ang="0">
                  <a:pos x="connsiteX6093" y="connsiteY6093"/>
                </a:cxn>
                <a:cxn ang="0">
                  <a:pos x="connsiteX6094" y="connsiteY6094"/>
                </a:cxn>
                <a:cxn ang="0">
                  <a:pos x="connsiteX6095" y="connsiteY6095"/>
                </a:cxn>
                <a:cxn ang="0">
                  <a:pos x="connsiteX6096" y="connsiteY6096"/>
                </a:cxn>
                <a:cxn ang="0">
                  <a:pos x="connsiteX6097" y="connsiteY6097"/>
                </a:cxn>
                <a:cxn ang="0">
                  <a:pos x="connsiteX6098" y="connsiteY6098"/>
                </a:cxn>
                <a:cxn ang="0">
                  <a:pos x="connsiteX6099" y="connsiteY6099"/>
                </a:cxn>
                <a:cxn ang="0">
                  <a:pos x="connsiteX6100" y="connsiteY6100"/>
                </a:cxn>
                <a:cxn ang="0">
                  <a:pos x="connsiteX6101" y="connsiteY6101"/>
                </a:cxn>
                <a:cxn ang="0">
                  <a:pos x="connsiteX6102" y="connsiteY6102"/>
                </a:cxn>
                <a:cxn ang="0">
                  <a:pos x="connsiteX6103" y="connsiteY6103"/>
                </a:cxn>
                <a:cxn ang="0">
                  <a:pos x="connsiteX6104" y="connsiteY6104"/>
                </a:cxn>
                <a:cxn ang="0">
                  <a:pos x="connsiteX6105" y="connsiteY6105"/>
                </a:cxn>
                <a:cxn ang="0">
                  <a:pos x="connsiteX6106" y="connsiteY6106"/>
                </a:cxn>
                <a:cxn ang="0">
                  <a:pos x="connsiteX6107" y="connsiteY6107"/>
                </a:cxn>
                <a:cxn ang="0">
                  <a:pos x="connsiteX6108" y="connsiteY6108"/>
                </a:cxn>
                <a:cxn ang="0">
                  <a:pos x="connsiteX6109" y="connsiteY6109"/>
                </a:cxn>
                <a:cxn ang="0">
                  <a:pos x="connsiteX6110" y="connsiteY6110"/>
                </a:cxn>
                <a:cxn ang="0">
                  <a:pos x="connsiteX6111" y="connsiteY6111"/>
                </a:cxn>
                <a:cxn ang="0">
                  <a:pos x="connsiteX6112" y="connsiteY6112"/>
                </a:cxn>
                <a:cxn ang="0">
                  <a:pos x="connsiteX6113" y="connsiteY6113"/>
                </a:cxn>
                <a:cxn ang="0">
                  <a:pos x="connsiteX6114" y="connsiteY6114"/>
                </a:cxn>
                <a:cxn ang="0">
                  <a:pos x="connsiteX6115" y="connsiteY6115"/>
                </a:cxn>
                <a:cxn ang="0">
                  <a:pos x="connsiteX6116" y="connsiteY6116"/>
                </a:cxn>
                <a:cxn ang="0">
                  <a:pos x="connsiteX6117" y="connsiteY6117"/>
                </a:cxn>
                <a:cxn ang="0">
                  <a:pos x="connsiteX6118" y="connsiteY6118"/>
                </a:cxn>
                <a:cxn ang="0">
                  <a:pos x="connsiteX6119" y="connsiteY6119"/>
                </a:cxn>
                <a:cxn ang="0">
                  <a:pos x="connsiteX6120" y="connsiteY6120"/>
                </a:cxn>
                <a:cxn ang="0">
                  <a:pos x="connsiteX6121" y="connsiteY6121"/>
                </a:cxn>
                <a:cxn ang="0">
                  <a:pos x="connsiteX6122" y="connsiteY6122"/>
                </a:cxn>
                <a:cxn ang="0">
                  <a:pos x="connsiteX6123" y="connsiteY6123"/>
                </a:cxn>
                <a:cxn ang="0">
                  <a:pos x="connsiteX6124" y="connsiteY6124"/>
                </a:cxn>
                <a:cxn ang="0">
                  <a:pos x="connsiteX6125" y="connsiteY6125"/>
                </a:cxn>
                <a:cxn ang="0">
                  <a:pos x="connsiteX6126" y="connsiteY6126"/>
                </a:cxn>
                <a:cxn ang="0">
                  <a:pos x="connsiteX6127" y="connsiteY6127"/>
                </a:cxn>
                <a:cxn ang="0">
                  <a:pos x="connsiteX6128" y="connsiteY6128"/>
                </a:cxn>
                <a:cxn ang="0">
                  <a:pos x="connsiteX6129" y="connsiteY6129"/>
                </a:cxn>
                <a:cxn ang="0">
                  <a:pos x="connsiteX6130" y="connsiteY6130"/>
                </a:cxn>
                <a:cxn ang="0">
                  <a:pos x="connsiteX6131" y="connsiteY6131"/>
                </a:cxn>
                <a:cxn ang="0">
                  <a:pos x="connsiteX6132" y="connsiteY6132"/>
                </a:cxn>
                <a:cxn ang="0">
                  <a:pos x="connsiteX6133" y="connsiteY6133"/>
                </a:cxn>
                <a:cxn ang="0">
                  <a:pos x="connsiteX6134" y="connsiteY6134"/>
                </a:cxn>
                <a:cxn ang="0">
                  <a:pos x="connsiteX6135" y="connsiteY6135"/>
                </a:cxn>
                <a:cxn ang="0">
                  <a:pos x="connsiteX6136" y="connsiteY6136"/>
                </a:cxn>
                <a:cxn ang="0">
                  <a:pos x="connsiteX6137" y="connsiteY6137"/>
                </a:cxn>
                <a:cxn ang="0">
                  <a:pos x="connsiteX6138" y="connsiteY6138"/>
                </a:cxn>
                <a:cxn ang="0">
                  <a:pos x="connsiteX6139" y="connsiteY6139"/>
                </a:cxn>
                <a:cxn ang="0">
                  <a:pos x="connsiteX6140" y="connsiteY6140"/>
                </a:cxn>
                <a:cxn ang="0">
                  <a:pos x="connsiteX6141" y="connsiteY6141"/>
                </a:cxn>
                <a:cxn ang="0">
                  <a:pos x="connsiteX6142" y="connsiteY6142"/>
                </a:cxn>
                <a:cxn ang="0">
                  <a:pos x="connsiteX6143" y="connsiteY6143"/>
                </a:cxn>
                <a:cxn ang="0">
                  <a:pos x="connsiteX6144" y="connsiteY6144"/>
                </a:cxn>
                <a:cxn ang="0">
                  <a:pos x="connsiteX6145" y="connsiteY6145"/>
                </a:cxn>
                <a:cxn ang="0">
                  <a:pos x="connsiteX6146" y="connsiteY6146"/>
                </a:cxn>
                <a:cxn ang="0">
                  <a:pos x="connsiteX6147" y="connsiteY6147"/>
                </a:cxn>
                <a:cxn ang="0">
                  <a:pos x="connsiteX6148" y="connsiteY6148"/>
                </a:cxn>
                <a:cxn ang="0">
                  <a:pos x="connsiteX6149" y="connsiteY6149"/>
                </a:cxn>
                <a:cxn ang="0">
                  <a:pos x="connsiteX6150" y="connsiteY6150"/>
                </a:cxn>
                <a:cxn ang="0">
                  <a:pos x="connsiteX6151" y="connsiteY6151"/>
                </a:cxn>
                <a:cxn ang="0">
                  <a:pos x="connsiteX6152" y="connsiteY6152"/>
                </a:cxn>
                <a:cxn ang="0">
                  <a:pos x="connsiteX6153" y="connsiteY6153"/>
                </a:cxn>
                <a:cxn ang="0">
                  <a:pos x="connsiteX6154" y="connsiteY6154"/>
                </a:cxn>
                <a:cxn ang="0">
                  <a:pos x="connsiteX6155" y="connsiteY6155"/>
                </a:cxn>
                <a:cxn ang="0">
                  <a:pos x="connsiteX6156" y="connsiteY6156"/>
                </a:cxn>
                <a:cxn ang="0">
                  <a:pos x="connsiteX6157" y="connsiteY6157"/>
                </a:cxn>
                <a:cxn ang="0">
                  <a:pos x="connsiteX6158" y="connsiteY6158"/>
                </a:cxn>
                <a:cxn ang="0">
                  <a:pos x="connsiteX6159" y="connsiteY6159"/>
                </a:cxn>
                <a:cxn ang="0">
                  <a:pos x="connsiteX6160" y="connsiteY6160"/>
                </a:cxn>
                <a:cxn ang="0">
                  <a:pos x="connsiteX6161" y="connsiteY6161"/>
                </a:cxn>
                <a:cxn ang="0">
                  <a:pos x="connsiteX6162" y="connsiteY6162"/>
                </a:cxn>
                <a:cxn ang="0">
                  <a:pos x="connsiteX6163" y="connsiteY6163"/>
                </a:cxn>
                <a:cxn ang="0">
                  <a:pos x="connsiteX6164" y="connsiteY6164"/>
                </a:cxn>
                <a:cxn ang="0">
                  <a:pos x="connsiteX6165" y="connsiteY6165"/>
                </a:cxn>
                <a:cxn ang="0">
                  <a:pos x="connsiteX6166" y="connsiteY6166"/>
                </a:cxn>
                <a:cxn ang="0">
                  <a:pos x="connsiteX6167" y="connsiteY6167"/>
                </a:cxn>
                <a:cxn ang="0">
                  <a:pos x="connsiteX6168" y="connsiteY6168"/>
                </a:cxn>
                <a:cxn ang="0">
                  <a:pos x="connsiteX6169" y="connsiteY6169"/>
                </a:cxn>
                <a:cxn ang="0">
                  <a:pos x="connsiteX6170" y="connsiteY6170"/>
                </a:cxn>
                <a:cxn ang="0">
                  <a:pos x="connsiteX6171" y="connsiteY6171"/>
                </a:cxn>
                <a:cxn ang="0">
                  <a:pos x="connsiteX6172" y="connsiteY6172"/>
                </a:cxn>
                <a:cxn ang="0">
                  <a:pos x="connsiteX6173" y="connsiteY6173"/>
                </a:cxn>
                <a:cxn ang="0">
                  <a:pos x="connsiteX6174" y="connsiteY6174"/>
                </a:cxn>
                <a:cxn ang="0">
                  <a:pos x="connsiteX6175" y="connsiteY6175"/>
                </a:cxn>
                <a:cxn ang="0">
                  <a:pos x="connsiteX6176" y="connsiteY6176"/>
                </a:cxn>
                <a:cxn ang="0">
                  <a:pos x="connsiteX6177" y="connsiteY6177"/>
                </a:cxn>
                <a:cxn ang="0">
                  <a:pos x="connsiteX6178" y="connsiteY6178"/>
                </a:cxn>
                <a:cxn ang="0">
                  <a:pos x="connsiteX6179" y="connsiteY6179"/>
                </a:cxn>
                <a:cxn ang="0">
                  <a:pos x="connsiteX6180" y="connsiteY6180"/>
                </a:cxn>
                <a:cxn ang="0">
                  <a:pos x="connsiteX6181" y="connsiteY6181"/>
                </a:cxn>
                <a:cxn ang="0">
                  <a:pos x="connsiteX6182" y="connsiteY6182"/>
                </a:cxn>
                <a:cxn ang="0">
                  <a:pos x="connsiteX6183" y="connsiteY6183"/>
                </a:cxn>
                <a:cxn ang="0">
                  <a:pos x="connsiteX6184" y="connsiteY6184"/>
                </a:cxn>
                <a:cxn ang="0">
                  <a:pos x="connsiteX6185" y="connsiteY6185"/>
                </a:cxn>
                <a:cxn ang="0">
                  <a:pos x="connsiteX6186" y="connsiteY6186"/>
                </a:cxn>
                <a:cxn ang="0">
                  <a:pos x="connsiteX6187" y="connsiteY6187"/>
                </a:cxn>
                <a:cxn ang="0">
                  <a:pos x="connsiteX6188" y="connsiteY6188"/>
                </a:cxn>
                <a:cxn ang="0">
                  <a:pos x="connsiteX6189" y="connsiteY6189"/>
                </a:cxn>
                <a:cxn ang="0">
                  <a:pos x="connsiteX6190" y="connsiteY6190"/>
                </a:cxn>
                <a:cxn ang="0">
                  <a:pos x="connsiteX6191" y="connsiteY6191"/>
                </a:cxn>
                <a:cxn ang="0">
                  <a:pos x="connsiteX6192" y="connsiteY6192"/>
                </a:cxn>
                <a:cxn ang="0">
                  <a:pos x="connsiteX6193" y="connsiteY6193"/>
                </a:cxn>
                <a:cxn ang="0">
                  <a:pos x="connsiteX6194" y="connsiteY6194"/>
                </a:cxn>
                <a:cxn ang="0">
                  <a:pos x="connsiteX6195" y="connsiteY6195"/>
                </a:cxn>
                <a:cxn ang="0">
                  <a:pos x="connsiteX6196" y="connsiteY6196"/>
                </a:cxn>
                <a:cxn ang="0">
                  <a:pos x="connsiteX6197" y="connsiteY6197"/>
                </a:cxn>
                <a:cxn ang="0">
                  <a:pos x="connsiteX6198" y="connsiteY6198"/>
                </a:cxn>
                <a:cxn ang="0">
                  <a:pos x="connsiteX6199" y="connsiteY6199"/>
                </a:cxn>
                <a:cxn ang="0">
                  <a:pos x="connsiteX6200" y="connsiteY6200"/>
                </a:cxn>
                <a:cxn ang="0">
                  <a:pos x="connsiteX6201" y="connsiteY6201"/>
                </a:cxn>
                <a:cxn ang="0">
                  <a:pos x="connsiteX6202" y="connsiteY6202"/>
                </a:cxn>
                <a:cxn ang="0">
                  <a:pos x="connsiteX6203" y="connsiteY6203"/>
                </a:cxn>
                <a:cxn ang="0">
                  <a:pos x="connsiteX6204" y="connsiteY6204"/>
                </a:cxn>
                <a:cxn ang="0">
                  <a:pos x="connsiteX6205" y="connsiteY6205"/>
                </a:cxn>
                <a:cxn ang="0">
                  <a:pos x="connsiteX6206" y="connsiteY6206"/>
                </a:cxn>
                <a:cxn ang="0">
                  <a:pos x="connsiteX6207" y="connsiteY6207"/>
                </a:cxn>
                <a:cxn ang="0">
                  <a:pos x="connsiteX6208" y="connsiteY6208"/>
                </a:cxn>
                <a:cxn ang="0">
                  <a:pos x="connsiteX6209" y="connsiteY6209"/>
                </a:cxn>
                <a:cxn ang="0">
                  <a:pos x="connsiteX6210" y="connsiteY6210"/>
                </a:cxn>
                <a:cxn ang="0">
                  <a:pos x="connsiteX6211" y="connsiteY6211"/>
                </a:cxn>
                <a:cxn ang="0">
                  <a:pos x="connsiteX6212" y="connsiteY6212"/>
                </a:cxn>
                <a:cxn ang="0">
                  <a:pos x="connsiteX6213" y="connsiteY6213"/>
                </a:cxn>
                <a:cxn ang="0">
                  <a:pos x="connsiteX6214" y="connsiteY6214"/>
                </a:cxn>
                <a:cxn ang="0">
                  <a:pos x="connsiteX6215" y="connsiteY6215"/>
                </a:cxn>
                <a:cxn ang="0">
                  <a:pos x="connsiteX6216" y="connsiteY6216"/>
                </a:cxn>
                <a:cxn ang="0">
                  <a:pos x="connsiteX6217" y="connsiteY6217"/>
                </a:cxn>
                <a:cxn ang="0">
                  <a:pos x="connsiteX6218" y="connsiteY6218"/>
                </a:cxn>
                <a:cxn ang="0">
                  <a:pos x="connsiteX6219" y="connsiteY6219"/>
                </a:cxn>
                <a:cxn ang="0">
                  <a:pos x="connsiteX6220" y="connsiteY6220"/>
                </a:cxn>
                <a:cxn ang="0">
                  <a:pos x="connsiteX6221" y="connsiteY6221"/>
                </a:cxn>
                <a:cxn ang="0">
                  <a:pos x="connsiteX6222" y="connsiteY6222"/>
                </a:cxn>
                <a:cxn ang="0">
                  <a:pos x="connsiteX6223" y="connsiteY6223"/>
                </a:cxn>
                <a:cxn ang="0">
                  <a:pos x="connsiteX6224" y="connsiteY6224"/>
                </a:cxn>
                <a:cxn ang="0">
                  <a:pos x="connsiteX6225" y="connsiteY6225"/>
                </a:cxn>
                <a:cxn ang="0">
                  <a:pos x="connsiteX6226" y="connsiteY6226"/>
                </a:cxn>
                <a:cxn ang="0">
                  <a:pos x="connsiteX6227" y="connsiteY6227"/>
                </a:cxn>
                <a:cxn ang="0">
                  <a:pos x="connsiteX6228" y="connsiteY6228"/>
                </a:cxn>
                <a:cxn ang="0">
                  <a:pos x="connsiteX6229" y="connsiteY6229"/>
                </a:cxn>
                <a:cxn ang="0">
                  <a:pos x="connsiteX6230" y="connsiteY6230"/>
                </a:cxn>
                <a:cxn ang="0">
                  <a:pos x="connsiteX6231" y="connsiteY6231"/>
                </a:cxn>
                <a:cxn ang="0">
                  <a:pos x="connsiteX6232" y="connsiteY6232"/>
                </a:cxn>
                <a:cxn ang="0">
                  <a:pos x="connsiteX6233" y="connsiteY6233"/>
                </a:cxn>
                <a:cxn ang="0">
                  <a:pos x="connsiteX6234" y="connsiteY6234"/>
                </a:cxn>
                <a:cxn ang="0">
                  <a:pos x="connsiteX6235" y="connsiteY6235"/>
                </a:cxn>
                <a:cxn ang="0">
                  <a:pos x="connsiteX6236" y="connsiteY6236"/>
                </a:cxn>
                <a:cxn ang="0">
                  <a:pos x="connsiteX6237" y="connsiteY6237"/>
                </a:cxn>
                <a:cxn ang="0">
                  <a:pos x="connsiteX6238" y="connsiteY6238"/>
                </a:cxn>
                <a:cxn ang="0">
                  <a:pos x="connsiteX6239" y="connsiteY6239"/>
                </a:cxn>
                <a:cxn ang="0">
                  <a:pos x="connsiteX6240" y="connsiteY6240"/>
                </a:cxn>
                <a:cxn ang="0">
                  <a:pos x="connsiteX6241" y="connsiteY6241"/>
                </a:cxn>
                <a:cxn ang="0">
                  <a:pos x="connsiteX6242" y="connsiteY6242"/>
                </a:cxn>
                <a:cxn ang="0">
                  <a:pos x="connsiteX6243" y="connsiteY6243"/>
                </a:cxn>
                <a:cxn ang="0">
                  <a:pos x="connsiteX6244" y="connsiteY6244"/>
                </a:cxn>
                <a:cxn ang="0">
                  <a:pos x="connsiteX6245" y="connsiteY6245"/>
                </a:cxn>
                <a:cxn ang="0">
                  <a:pos x="connsiteX6246" y="connsiteY6246"/>
                </a:cxn>
                <a:cxn ang="0">
                  <a:pos x="connsiteX6247" y="connsiteY6247"/>
                </a:cxn>
                <a:cxn ang="0">
                  <a:pos x="connsiteX6248" y="connsiteY6248"/>
                </a:cxn>
                <a:cxn ang="0">
                  <a:pos x="connsiteX6249" y="connsiteY6249"/>
                </a:cxn>
                <a:cxn ang="0">
                  <a:pos x="connsiteX6250" y="connsiteY6250"/>
                </a:cxn>
                <a:cxn ang="0">
                  <a:pos x="connsiteX6251" y="connsiteY6251"/>
                </a:cxn>
                <a:cxn ang="0">
                  <a:pos x="connsiteX6252" y="connsiteY6252"/>
                </a:cxn>
                <a:cxn ang="0">
                  <a:pos x="connsiteX6253" y="connsiteY6253"/>
                </a:cxn>
                <a:cxn ang="0">
                  <a:pos x="connsiteX6254" y="connsiteY6254"/>
                </a:cxn>
                <a:cxn ang="0">
                  <a:pos x="connsiteX6255" y="connsiteY6255"/>
                </a:cxn>
                <a:cxn ang="0">
                  <a:pos x="connsiteX6256" y="connsiteY6256"/>
                </a:cxn>
                <a:cxn ang="0">
                  <a:pos x="connsiteX6257" y="connsiteY6257"/>
                </a:cxn>
                <a:cxn ang="0">
                  <a:pos x="connsiteX6258" y="connsiteY6258"/>
                </a:cxn>
                <a:cxn ang="0">
                  <a:pos x="connsiteX6259" y="connsiteY6259"/>
                </a:cxn>
                <a:cxn ang="0">
                  <a:pos x="connsiteX6260" y="connsiteY6260"/>
                </a:cxn>
                <a:cxn ang="0">
                  <a:pos x="connsiteX6261" y="connsiteY6261"/>
                </a:cxn>
                <a:cxn ang="0">
                  <a:pos x="connsiteX6262" y="connsiteY6262"/>
                </a:cxn>
                <a:cxn ang="0">
                  <a:pos x="connsiteX6263" y="connsiteY6263"/>
                </a:cxn>
                <a:cxn ang="0">
                  <a:pos x="connsiteX6264" y="connsiteY6264"/>
                </a:cxn>
                <a:cxn ang="0">
                  <a:pos x="connsiteX6265" y="connsiteY6265"/>
                </a:cxn>
                <a:cxn ang="0">
                  <a:pos x="connsiteX6266" y="connsiteY6266"/>
                </a:cxn>
                <a:cxn ang="0">
                  <a:pos x="connsiteX6267" y="connsiteY6267"/>
                </a:cxn>
                <a:cxn ang="0">
                  <a:pos x="connsiteX6268" y="connsiteY6268"/>
                </a:cxn>
                <a:cxn ang="0">
                  <a:pos x="connsiteX6269" y="connsiteY6269"/>
                </a:cxn>
                <a:cxn ang="0">
                  <a:pos x="connsiteX6270" y="connsiteY6270"/>
                </a:cxn>
                <a:cxn ang="0">
                  <a:pos x="connsiteX6271" y="connsiteY6271"/>
                </a:cxn>
                <a:cxn ang="0">
                  <a:pos x="connsiteX6272" y="connsiteY6272"/>
                </a:cxn>
                <a:cxn ang="0">
                  <a:pos x="connsiteX6273" y="connsiteY6273"/>
                </a:cxn>
                <a:cxn ang="0">
                  <a:pos x="connsiteX6274" y="connsiteY6274"/>
                </a:cxn>
                <a:cxn ang="0">
                  <a:pos x="connsiteX6275" y="connsiteY6275"/>
                </a:cxn>
                <a:cxn ang="0">
                  <a:pos x="connsiteX6276" y="connsiteY6276"/>
                </a:cxn>
                <a:cxn ang="0">
                  <a:pos x="connsiteX6277" y="connsiteY6277"/>
                </a:cxn>
                <a:cxn ang="0">
                  <a:pos x="connsiteX6278" y="connsiteY6278"/>
                </a:cxn>
                <a:cxn ang="0">
                  <a:pos x="connsiteX6279" y="connsiteY6279"/>
                </a:cxn>
                <a:cxn ang="0">
                  <a:pos x="connsiteX6280" y="connsiteY6280"/>
                </a:cxn>
                <a:cxn ang="0">
                  <a:pos x="connsiteX6281" y="connsiteY6281"/>
                </a:cxn>
                <a:cxn ang="0">
                  <a:pos x="connsiteX6282" y="connsiteY6282"/>
                </a:cxn>
                <a:cxn ang="0">
                  <a:pos x="connsiteX6283" y="connsiteY6283"/>
                </a:cxn>
                <a:cxn ang="0">
                  <a:pos x="connsiteX6284" y="connsiteY6284"/>
                </a:cxn>
                <a:cxn ang="0">
                  <a:pos x="connsiteX6285" y="connsiteY6285"/>
                </a:cxn>
                <a:cxn ang="0">
                  <a:pos x="connsiteX6286" y="connsiteY6286"/>
                </a:cxn>
                <a:cxn ang="0">
                  <a:pos x="connsiteX6287" y="connsiteY6287"/>
                </a:cxn>
                <a:cxn ang="0">
                  <a:pos x="connsiteX6288" y="connsiteY6288"/>
                </a:cxn>
                <a:cxn ang="0">
                  <a:pos x="connsiteX6289" y="connsiteY6289"/>
                </a:cxn>
                <a:cxn ang="0">
                  <a:pos x="connsiteX6290" y="connsiteY6290"/>
                </a:cxn>
                <a:cxn ang="0">
                  <a:pos x="connsiteX6291" y="connsiteY6291"/>
                </a:cxn>
                <a:cxn ang="0">
                  <a:pos x="connsiteX6292" y="connsiteY6292"/>
                </a:cxn>
                <a:cxn ang="0">
                  <a:pos x="connsiteX6293" y="connsiteY6293"/>
                </a:cxn>
                <a:cxn ang="0">
                  <a:pos x="connsiteX6294" y="connsiteY6294"/>
                </a:cxn>
                <a:cxn ang="0">
                  <a:pos x="connsiteX6295" y="connsiteY6295"/>
                </a:cxn>
                <a:cxn ang="0">
                  <a:pos x="connsiteX6296" y="connsiteY6296"/>
                </a:cxn>
                <a:cxn ang="0">
                  <a:pos x="connsiteX6297" y="connsiteY6297"/>
                </a:cxn>
                <a:cxn ang="0">
                  <a:pos x="connsiteX6298" y="connsiteY6298"/>
                </a:cxn>
                <a:cxn ang="0">
                  <a:pos x="connsiteX6299" y="connsiteY6299"/>
                </a:cxn>
                <a:cxn ang="0">
                  <a:pos x="connsiteX6300" y="connsiteY6300"/>
                </a:cxn>
                <a:cxn ang="0">
                  <a:pos x="connsiteX6301" y="connsiteY6301"/>
                </a:cxn>
                <a:cxn ang="0">
                  <a:pos x="connsiteX6302" y="connsiteY6302"/>
                </a:cxn>
                <a:cxn ang="0">
                  <a:pos x="connsiteX6303" y="connsiteY6303"/>
                </a:cxn>
                <a:cxn ang="0">
                  <a:pos x="connsiteX6304" y="connsiteY6304"/>
                </a:cxn>
                <a:cxn ang="0">
                  <a:pos x="connsiteX6305" y="connsiteY6305"/>
                </a:cxn>
                <a:cxn ang="0">
                  <a:pos x="connsiteX6306" y="connsiteY6306"/>
                </a:cxn>
                <a:cxn ang="0">
                  <a:pos x="connsiteX6307" y="connsiteY6307"/>
                </a:cxn>
                <a:cxn ang="0">
                  <a:pos x="connsiteX6308" y="connsiteY6308"/>
                </a:cxn>
                <a:cxn ang="0">
                  <a:pos x="connsiteX6309" y="connsiteY6309"/>
                </a:cxn>
                <a:cxn ang="0">
                  <a:pos x="connsiteX6310" y="connsiteY6310"/>
                </a:cxn>
                <a:cxn ang="0">
                  <a:pos x="connsiteX6311" y="connsiteY6311"/>
                </a:cxn>
                <a:cxn ang="0">
                  <a:pos x="connsiteX6312" y="connsiteY6312"/>
                </a:cxn>
                <a:cxn ang="0">
                  <a:pos x="connsiteX6313" y="connsiteY6313"/>
                </a:cxn>
                <a:cxn ang="0">
                  <a:pos x="connsiteX6314" y="connsiteY6314"/>
                </a:cxn>
                <a:cxn ang="0">
                  <a:pos x="connsiteX6315" y="connsiteY6315"/>
                </a:cxn>
                <a:cxn ang="0">
                  <a:pos x="connsiteX6316" y="connsiteY6316"/>
                </a:cxn>
                <a:cxn ang="0">
                  <a:pos x="connsiteX6317" y="connsiteY6317"/>
                </a:cxn>
                <a:cxn ang="0">
                  <a:pos x="connsiteX6318" y="connsiteY6318"/>
                </a:cxn>
                <a:cxn ang="0">
                  <a:pos x="connsiteX6319" y="connsiteY6319"/>
                </a:cxn>
                <a:cxn ang="0">
                  <a:pos x="connsiteX6320" y="connsiteY6320"/>
                </a:cxn>
                <a:cxn ang="0">
                  <a:pos x="connsiteX6321" y="connsiteY6321"/>
                </a:cxn>
                <a:cxn ang="0">
                  <a:pos x="connsiteX6322" y="connsiteY6322"/>
                </a:cxn>
                <a:cxn ang="0">
                  <a:pos x="connsiteX6323" y="connsiteY6323"/>
                </a:cxn>
                <a:cxn ang="0">
                  <a:pos x="connsiteX6324" y="connsiteY6324"/>
                </a:cxn>
                <a:cxn ang="0">
                  <a:pos x="connsiteX6325" y="connsiteY6325"/>
                </a:cxn>
                <a:cxn ang="0">
                  <a:pos x="connsiteX6326" y="connsiteY6326"/>
                </a:cxn>
                <a:cxn ang="0">
                  <a:pos x="connsiteX6327" y="connsiteY6327"/>
                </a:cxn>
                <a:cxn ang="0">
                  <a:pos x="connsiteX6328" y="connsiteY6328"/>
                </a:cxn>
                <a:cxn ang="0">
                  <a:pos x="connsiteX6329" y="connsiteY6329"/>
                </a:cxn>
                <a:cxn ang="0">
                  <a:pos x="connsiteX6330" y="connsiteY6330"/>
                </a:cxn>
                <a:cxn ang="0">
                  <a:pos x="connsiteX6331" y="connsiteY6331"/>
                </a:cxn>
                <a:cxn ang="0">
                  <a:pos x="connsiteX6332" y="connsiteY6332"/>
                </a:cxn>
                <a:cxn ang="0">
                  <a:pos x="connsiteX6333" y="connsiteY6333"/>
                </a:cxn>
                <a:cxn ang="0">
                  <a:pos x="connsiteX6334" y="connsiteY6334"/>
                </a:cxn>
                <a:cxn ang="0">
                  <a:pos x="connsiteX6335" y="connsiteY6335"/>
                </a:cxn>
                <a:cxn ang="0">
                  <a:pos x="connsiteX6336" y="connsiteY6336"/>
                </a:cxn>
                <a:cxn ang="0">
                  <a:pos x="connsiteX6337" y="connsiteY6337"/>
                </a:cxn>
                <a:cxn ang="0">
                  <a:pos x="connsiteX6338" y="connsiteY6338"/>
                </a:cxn>
                <a:cxn ang="0">
                  <a:pos x="connsiteX6339" y="connsiteY6339"/>
                </a:cxn>
                <a:cxn ang="0">
                  <a:pos x="connsiteX6340" y="connsiteY6340"/>
                </a:cxn>
                <a:cxn ang="0">
                  <a:pos x="connsiteX6341" y="connsiteY6341"/>
                </a:cxn>
                <a:cxn ang="0">
                  <a:pos x="connsiteX6342" y="connsiteY6342"/>
                </a:cxn>
                <a:cxn ang="0">
                  <a:pos x="connsiteX6343" y="connsiteY6343"/>
                </a:cxn>
                <a:cxn ang="0">
                  <a:pos x="connsiteX6344" y="connsiteY6344"/>
                </a:cxn>
                <a:cxn ang="0">
                  <a:pos x="connsiteX6345" y="connsiteY6345"/>
                </a:cxn>
                <a:cxn ang="0">
                  <a:pos x="connsiteX6346" y="connsiteY6346"/>
                </a:cxn>
                <a:cxn ang="0">
                  <a:pos x="connsiteX6347" y="connsiteY6347"/>
                </a:cxn>
                <a:cxn ang="0">
                  <a:pos x="connsiteX6348" y="connsiteY6348"/>
                </a:cxn>
                <a:cxn ang="0">
                  <a:pos x="connsiteX6349" y="connsiteY6349"/>
                </a:cxn>
                <a:cxn ang="0">
                  <a:pos x="connsiteX6350" y="connsiteY6350"/>
                </a:cxn>
                <a:cxn ang="0">
                  <a:pos x="connsiteX6351" y="connsiteY6351"/>
                </a:cxn>
                <a:cxn ang="0">
                  <a:pos x="connsiteX6352" y="connsiteY6352"/>
                </a:cxn>
                <a:cxn ang="0">
                  <a:pos x="connsiteX6353" y="connsiteY6353"/>
                </a:cxn>
                <a:cxn ang="0">
                  <a:pos x="connsiteX6354" y="connsiteY6354"/>
                </a:cxn>
                <a:cxn ang="0">
                  <a:pos x="connsiteX6355" y="connsiteY6355"/>
                </a:cxn>
                <a:cxn ang="0">
                  <a:pos x="connsiteX6356" y="connsiteY6356"/>
                </a:cxn>
                <a:cxn ang="0">
                  <a:pos x="connsiteX6357" y="connsiteY6357"/>
                </a:cxn>
                <a:cxn ang="0">
                  <a:pos x="connsiteX6358" y="connsiteY6358"/>
                </a:cxn>
                <a:cxn ang="0">
                  <a:pos x="connsiteX6359" y="connsiteY6359"/>
                </a:cxn>
                <a:cxn ang="0">
                  <a:pos x="connsiteX6360" y="connsiteY6360"/>
                </a:cxn>
                <a:cxn ang="0">
                  <a:pos x="connsiteX6361" y="connsiteY6361"/>
                </a:cxn>
                <a:cxn ang="0">
                  <a:pos x="connsiteX6362" y="connsiteY6362"/>
                </a:cxn>
                <a:cxn ang="0">
                  <a:pos x="connsiteX6363" y="connsiteY6363"/>
                </a:cxn>
                <a:cxn ang="0">
                  <a:pos x="connsiteX6364" y="connsiteY6364"/>
                </a:cxn>
                <a:cxn ang="0">
                  <a:pos x="connsiteX6365" y="connsiteY6365"/>
                </a:cxn>
                <a:cxn ang="0">
                  <a:pos x="connsiteX6366" y="connsiteY6366"/>
                </a:cxn>
                <a:cxn ang="0">
                  <a:pos x="connsiteX6367" y="connsiteY6367"/>
                </a:cxn>
                <a:cxn ang="0">
                  <a:pos x="connsiteX6368" y="connsiteY6368"/>
                </a:cxn>
                <a:cxn ang="0">
                  <a:pos x="connsiteX6369" y="connsiteY6369"/>
                </a:cxn>
                <a:cxn ang="0">
                  <a:pos x="connsiteX6370" y="connsiteY6370"/>
                </a:cxn>
                <a:cxn ang="0">
                  <a:pos x="connsiteX6371" y="connsiteY6371"/>
                </a:cxn>
                <a:cxn ang="0">
                  <a:pos x="connsiteX6372" y="connsiteY6372"/>
                </a:cxn>
                <a:cxn ang="0">
                  <a:pos x="connsiteX6373" y="connsiteY6373"/>
                </a:cxn>
                <a:cxn ang="0">
                  <a:pos x="connsiteX6374" y="connsiteY6374"/>
                </a:cxn>
                <a:cxn ang="0">
                  <a:pos x="connsiteX6375" y="connsiteY6375"/>
                </a:cxn>
                <a:cxn ang="0">
                  <a:pos x="connsiteX6376" y="connsiteY6376"/>
                </a:cxn>
                <a:cxn ang="0">
                  <a:pos x="connsiteX6377" y="connsiteY6377"/>
                </a:cxn>
                <a:cxn ang="0">
                  <a:pos x="connsiteX6378" y="connsiteY6378"/>
                </a:cxn>
                <a:cxn ang="0">
                  <a:pos x="connsiteX6379" y="connsiteY6379"/>
                </a:cxn>
                <a:cxn ang="0">
                  <a:pos x="connsiteX6380" y="connsiteY6380"/>
                </a:cxn>
                <a:cxn ang="0">
                  <a:pos x="connsiteX6381" y="connsiteY6381"/>
                </a:cxn>
                <a:cxn ang="0">
                  <a:pos x="connsiteX6382" y="connsiteY6382"/>
                </a:cxn>
                <a:cxn ang="0">
                  <a:pos x="connsiteX6383" y="connsiteY6383"/>
                </a:cxn>
                <a:cxn ang="0">
                  <a:pos x="connsiteX6384" y="connsiteY6384"/>
                </a:cxn>
                <a:cxn ang="0">
                  <a:pos x="connsiteX6385" y="connsiteY6385"/>
                </a:cxn>
                <a:cxn ang="0">
                  <a:pos x="connsiteX6386" y="connsiteY6386"/>
                </a:cxn>
                <a:cxn ang="0">
                  <a:pos x="connsiteX6387" y="connsiteY6387"/>
                </a:cxn>
                <a:cxn ang="0">
                  <a:pos x="connsiteX6388" y="connsiteY6388"/>
                </a:cxn>
                <a:cxn ang="0">
                  <a:pos x="connsiteX6389" y="connsiteY6389"/>
                </a:cxn>
                <a:cxn ang="0">
                  <a:pos x="connsiteX6390" y="connsiteY6390"/>
                </a:cxn>
                <a:cxn ang="0">
                  <a:pos x="connsiteX6391" y="connsiteY6391"/>
                </a:cxn>
                <a:cxn ang="0">
                  <a:pos x="connsiteX6392" y="connsiteY6392"/>
                </a:cxn>
                <a:cxn ang="0">
                  <a:pos x="connsiteX6393" y="connsiteY6393"/>
                </a:cxn>
                <a:cxn ang="0">
                  <a:pos x="connsiteX6394" y="connsiteY6394"/>
                </a:cxn>
                <a:cxn ang="0">
                  <a:pos x="connsiteX6395" y="connsiteY6395"/>
                </a:cxn>
                <a:cxn ang="0">
                  <a:pos x="connsiteX6396" y="connsiteY6396"/>
                </a:cxn>
                <a:cxn ang="0">
                  <a:pos x="connsiteX6397" y="connsiteY6397"/>
                </a:cxn>
                <a:cxn ang="0">
                  <a:pos x="connsiteX6398" y="connsiteY6398"/>
                </a:cxn>
                <a:cxn ang="0">
                  <a:pos x="connsiteX6399" y="connsiteY6399"/>
                </a:cxn>
                <a:cxn ang="0">
                  <a:pos x="connsiteX6400" y="connsiteY6400"/>
                </a:cxn>
                <a:cxn ang="0">
                  <a:pos x="connsiteX6401" y="connsiteY6401"/>
                </a:cxn>
                <a:cxn ang="0">
                  <a:pos x="connsiteX6402" y="connsiteY6402"/>
                </a:cxn>
                <a:cxn ang="0">
                  <a:pos x="connsiteX6403" y="connsiteY6403"/>
                </a:cxn>
                <a:cxn ang="0">
                  <a:pos x="connsiteX6404" y="connsiteY6404"/>
                </a:cxn>
                <a:cxn ang="0">
                  <a:pos x="connsiteX6405" y="connsiteY6405"/>
                </a:cxn>
                <a:cxn ang="0">
                  <a:pos x="connsiteX6406" y="connsiteY6406"/>
                </a:cxn>
                <a:cxn ang="0">
                  <a:pos x="connsiteX6407" y="connsiteY6407"/>
                </a:cxn>
                <a:cxn ang="0">
                  <a:pos x="connsiteX6408" y="connsiteY6408"/>
                </a:cxn>
                <a:cxn ang="0">
                  <a:pos x="connsiteX6409" y="connsiteY6409"/>
                </a:cxn>
                <a:cxn ang="0">
                  <a:pos x="connsiteX6410" y="connsiteY6410"/>
                </a:cxn>
                <a:cxn ang="0">
                  <a:pos x="connsiteX6411" y="connsiteY6411"/>
                </a:cxn>
                <a:cxn ang="0">
                  <a:pos x="connsiteX6412" y="connsiteY6412"/>
                </a:cxn>
                <a:cxn ang="0">
                  <a:pos x="connsiteX6413" y="connsiteY6413"/>
                </a:cxn>
                <a:cxn ang="0">
                  <a:pos x="connsiteX6414" y="connsiteY6414"/>
                </a:cxn>
                <a:cxn ang="0">
                  <a:pos x="connsiteX6415" y="connsiteY6415"/>
                </a:cxn>
                <a:cxn ang="0">
                  <a:pos x="connsiteX6416" y="connsiteY6416"/>
                </a:cxn>
                <a:cxn ang="0">
                  <a:pos x="connsiteX6417" y="connsiteY6417"/>
                </a:cxn>
                <a:cxn ang="0">
                  <a:pos x="connsiteX6418" y="connsiteY6418"/>
                </a:cxn>
                <a:cxn ang="0">
                  <a:pos x="connsiteX6419" y="connsiteY6419"/>
                </a:cxn>
                <a:cxn ang="0">
                  <a:pos x="connsiteX6420" y="connsiteY6420"/>
                </a:cxn>
                <a:cxn ang="0">
                  <a:pos x="connsiteX6421" y="connsiteY6421"/>
                </a:cxn>
                <a:cxn ang="0">
                  <a:pos x="connsiteX6422" y="connsiteY6422"/>
                </a:cxn>
                <a:cxn ang="0">
                  <a:pos x="connsiteX6423" y="connsiteY6423"/>
                </a:cxn>
                <a:cxn ang="0">
                  <a:pos x="connsiteX6424" y="connsiteY6424"/>
                </a:cxn>
                <a:cxn ang="0">
                  <a:pos x="connsiteX6425" y="connsiteY6425"/>
                </a:cxn>
                <a:cxn ang="0">
                  <a:pos x="connsiteX6426" y="connsiteY6426"/>
                </a:cxn>
                <a:cxn ang="0">
                  <a:pos x="connsiteX6427" y="connsiteY6427"/>
                </a:cxn>
                <a:cxn ang="0">
                  <a:pos x="connsiteX6428" y="connsiteY6428"/>
                </a:cxn>
                <a:cxn ang="0">
                  <a:pos x="connsiteX6429" y="connsiteY6429"/>
                </a:cxn>
                <a:cxn ang="0">
                  <a:pos x="connsiteX6430" y="connsiteY6430"/>
                </a:cxn>
                <a:cxn ang="0">
                  <a:pos x="connsiteX6431" y="connsiteY6431"/>
                </a:cxn>
                <a:cxn ang="0">
                  <a:pos x="connsiteX6432" y="connsiteY6432"/>
                </a:cxn>
                <a:cxn ang="0">
                  <a:pos x="connsiteX6433" y="connsiteY6433"/>
                </a:cxn>
                <a:cxn ang="0">
                  <a:pos x="connsiteX6434" y="connsiteY6434"/>
                </a:cxn>
                <a:cxn ang="0">
                  <a:pos x="connsiteX6435" y="connsiteY6435"/>
                </a:cxn>
                <a:cxn ang="0">
                  <a:pos x="connsiteX6436" y="connsiteY6436"/>
                </a:cxn>
                <a:cxn ang="0">
                  <a:pos x="connsiteX6437" y="connsiteY6437"/>
                </a:cxn>
                <a:cxn ang="0">
                  <a:pos x="connsiteX6438" y="connsiteY6438"/>
                </a:cxn>
                <a:cxn ang="0">
                  <a:pos x="connsiteX6439" y="connsiteY6439"/>
                </a:cxn>
                <a:cxn ang="0">
                  <a:pos x="connsiteX6440" y="connsiteY6440"/>
                </a:cxn>
                <a:cxn ang="0">
                  <a:pos x="connsiteX6441" y="connsiteY6441"/>
                </a:cxn>
                <a:cxn ang="0">
                  <a:pos x="connsiteX6442" y="connsiteY6442"/>
                </a:cxn>
                <a:cxn ang="0">
                  <a:pos x="connsiteX6443" y="connsiteY6443"/>
                </a:cxn>
                <a:cxn ang="0">
                  <a:pos x="connsiteX6444" y="connsiteY6444"/>
                </a:cxn>
                <a:cxn ang="0">
                  <a:pos x="connsiteX6445" y="connsiteY6445"/>
                </a:cxn>
                <a:cxn ang="0">
                  <a:pos x="connsiteX6446" y="connsiteY6446"/>
                </a:cxn>
                <a:cxn ang="0">
                  <a:pos x="connsiteX6447" y="connsiteY6447"/>
                </a:cxn>
                <a:cxn ang="0">
                  <a:pos x="connsiteX6448" y="connsiteY6448"/>
                </a:cxn>
                <a:cxn ang="0">
                  <a:pos x="connsiteX6449" y="connsiteY6449"/>
                </a:cxn>
                <a:cxn ang="0">
                  <a:pos x="connsiteX6450" y="connsiteY6450"/>
                </a:cxn>
                <a:cxn ang="0">
                  <a:pos x="connsiteX6451" y="connsiteY6451"/>
                </a:cxn>
                <a:cxn ang="0">
                  <a:pos x="connsiteX6452" y="connsiteY6452"/>
                </a:cxn>
                <a:cxn ang="0">
                  <a:pos x="connsiteX6453" y="connsiteY6453"/>
                </a:cxn>
                <a:cxn ang="0">
                  <a:pos x="connsiteX6454" y="connsiteY6454"/>
                </a:cxn>
                <a:cxn ang="0">
                  <a:pos x="connsiteX6455" y="connsiteY6455"/>
                </a:cxn>
                <a:cxn ang="0">
                  <a:pos x="connsiteX6456" y="connsiteY6456"/>
                </a:cxn>
                <a:cxn ang="0">
                  <a:pos x="connsiteX6457" y="connsiteY6457"/>
                </a:cxn>
                <a:cxn ang="0">
                  <a:pos x="connsiteX6458" y="connsiteY6458"/>
                </a:cxn>
                <a:cxn ang="0">
                  <a:pos x="connsiteX6459" y="connsiteY6459"/>
                </a:cxn>
                <a:cxn ang="0">
                  <a:pos x="connsiteX6460" y="connsiteY6460"/>
                </a:cxn>
                <a:cxn ang="0">
                  <a:pos x="connsiteX6461" y="connsiteY6461"/>
                </a:cxn>
                <a:cxn ang="0">
                  <a:pos x="connsiteX6462" y="connsiteY6462"/>
                </a:cxn>
                <a:cxn ang="0">
                  <a:pos x="connsiteX6463" y="connsiteY6463"/>
                </a:cxn>
                <a:cxn ang="0">
                  <a:pos x="connsiteX6464" y="connsiteY6464"/>
                </a:cxn>
                <a:cxn ang="0">
                  <a:pos x="connsiteX6465" y="connsiteY6465"/>
                </a:cxn>
                <a:cxn ang="0">
                  <a:pos x="connsiteX6466" y="connsiteY6466"/>
                </a:cxn>
                <a:cxn ang="0">
                  <a:pos x="connsiteX6467" y="connsiteY6467"/>
                </a:cxn>
                <a:cxn ang="0">
                  <a:pos x="connsiteX6468" y="connsiteY6468"/>
                </a:cxn>
                <a:cxn ang="0">
                  <a:pos x="connsiteX6469" y="connsiteY6469"/>
                </a:cxn>
                <a:cxn ang="0">
                  <a:pos x="connsiteX6470" y="connsiteY6470"/>
                </a:cxn>
                <a:cxn ang="0">
                  <a:pos x="connsiteX6471" y="connsiteY6471"/>
                </a:cxn>
                <a:cxn ang="0">
                  <a:pos x="connsiteX6472" y="connsiteY6472"/>
                </a:cxn>
                <a:cxn ang="0">
                  <a:pos x="connsiteX6473" y="connsiteY6473"/>
                </a:cxn>
                <a:cxn ang="0">
                  <a:pos x="connsiteX6474" y="connsiteY6474"/>
                </a:cxn>
                <a:cxn ang="0">
                  <a:pos x="connsiteX6475" y="connsiteY6475"/>
                </a:cxn>
                <a:cxn ang="0">
                  <a:pos x="connsiteX6476" y="connsiteY6476"/>
                </a:cxn>
                <a:cxn ang="0">
                  <a:pos x="connsiteX6477" y="connsiteY6477"/>
                </a:cxn>
                <a:cxn ang="0">
                  <a:pos x="connsiteX6478" y="connsiteY6478"/>
                </a:cxn>
                <a:cxn ang="0">
                  <a:pos x="connsiteX6479" y="connsiteY6479"/>
                </a:cxn>
                <a:cxn ang="0">
                  <a:pos x="connsiteX6480" y="connsiteY6480"/>
                </a:cxn>
                <a:cxn ang="0">
                  <a:pos x="connsiteX6481" y="connsiteY6481"/>
                </a:cxn>
                <a:cxn ang="0">
                  <a:pos x="connsiteX6482" y="connsiteY6482"/>
                </a:cxn>
                <a:cxn ang="0">
                  <a:pos x="connsiteX6483" y="connsiteY6483"/>
                </a:cxn>
                <a:cxn ang="0">
                  <a:pos x="connsiteX6484" y="connsiteY6484"/>
                </a:cxn>
                <a:cxn ang="0">
                  <a:pos x="connsiteX6485" y="connsiteY6485"/>
                </a:cxn>
                <a:cxn ang="0">
                  <a:pos x="connsiteX6486" y="connsiteY6486"/>
                </a:cxn>
                <a:cxn ang="0">
                  <a:pos x="connsiteX6487" y="connsiteY6487"/>
                </a:cxn>
                <a:cxn ang="0">
                  <a:pos x="connsiteX6488" y="connsiteY6488"/>
                </a:cxn>
                <a:cxn ang="0">
                  <a:pos x="connsiteX6489" y="connsiteY6489"/>
                </a:cxn>
                <a:cxn ang="0">
                  <a:pos x="connsiteX6490" y="connsiteY6490"/>
                </a:cxn>
                <a:cxn ang="0">
                  <a:pos x="connsiteX6491" y="connsiteY6491"/>
                </a:cxn>
                <a:cxn ang="0">
                  <a:pos x="connsiteX6492" y="connsiteY6492"/>
                </a:cxn>
                <a:cxn ang="0">
                  <a:pos x="connsiteX6493" y="connsiteY6493"/>
                </a:cxn>
                <a:cxn ang="0">
                  <a:pos x="connsiteX6494" y="connsiteY6494"/>
                </a:cxn>
                <a:cxn ang="0">
                  <a:pos x="connsiteX6495" y="connsiteY6495"/>
                </a:cxn>
                <a:cxn ang="0">
                  <a:pos x="connsiteX6496" y="connsiteY6496"/>
                </a:cxn>
                <a:cxn ang="0">
                  <a:pos x="connsiteX6497" y="connsiteY6497"/>
                </a:cxn>
                <a:cxn ang="0">
                  <a:pos x="connsiteX6498" y="connsiteY6498"/>
                </a:cxn>
                <a:cxn ang="0">
                  <a:pos x="connsiteX6499" y="connsiteY6499"/>
                </a:cxn>
                <a:cxn ang="0">
                  <a:pos x="connsiteX6500" y="connsiteY6500"/>
                </a:cxn>
                <a:cxn ang="0">
                  <a:pos x="connsiteX6501" y="connsiteY6501"/>
                </a:cxn>
                <a:cxn ang="0">
                  <a:pos x="connsiteX6502" y="connsiteY6502"/>
                </a:cxn>
                <a:cxn ang="0">
                  <a:pos x="connsiteX6503" y="connsiteY6503"/>
                </a:cxn>
                <a:cxn ang="0">
                  <a:pos x="connsiteX6504" y="connsiteY6504"/>
                </a:cxn>
                <a:cxn ang="0">
                  <a:pos x="connsiteX6505" y="connsiteY6505"/>
                </a:cxn>
                <a:cxn ang="0">
                  <a:pos x="connsiteX6506" y="connsiteY6506"/>
                </a:cxn>
                <a:cxn ang="0">
                  <a:pos x="connsiteX6507" y="connsiteY6507"/>
                </a:cxn>
                <a:cxn ang="0">
                  <a:pos x="connsiteX6508" y="connsiteY6508"/>
                </a:cxn>
                <a:cxn ang="0">
                  <a:pos x="connsiteX6509" y="connsiteY6509"/>
                </a:cxn>
                <a:cxn ang="0">
                  <a:pos x="connsiteX6510" y="connsiteY6510"/>
                </a:cxn>
                <a:cxn ang="0">
                  <a:pos x="connsiteX6511" y="connsiteY6511"/>
                </a:cxn>
                <a:cxn ang="0">
                  <a:pos x="connsiteX6512" y="connsiteY6512"/>
                </a:cxn>
                <a:cxn ang="0">
                  <a:pos x="connsiteX6513" y="connsiteY6513"/>
                </a:cxn>
                <a:cxn ang="0">
                  <a:pos x="connsiteX6514" y="connsiteY6514"/>
                </a:cxn>
                <a:cxn ang="0">
                  <a:pos x="connsiteX6515" y="connsiteY6515"/>
                </a:cxn>
                <a:cxn ang="0">
                  <a:pos x="connsiteX6516" y="connsiteY6516"/>
                </a:cxn>
                <a:cxn ang="0">
                  <a:pos x="connsiteX6517" y="connsiteY6517"/>
                </a:cxn>
                <a:cxn ang="0">
                  <a:pos x="connsiteX6518" y="connsiteY6518"/>
                </a:cxn>
                <a:cxn ang="0">
                  <a:pos x="connsiteX6519" y="connsiteY6519"/>
                </a:cxn>
                <a:cxn ang="0">
                  <a:pos x="connsiteX6520" y="connsiteY6520"/>
                </a:cxn>
                <a:cxn ang="0">
                  <a:pos x="connsiteX6521" y="connsiteY6521"/>
                </a:cxn>
                <a:cxn ang="0">
                  <a:pos x="connsiteX6522" y="connsiteY6522"/>
                </a:cxn>
                <a:cxn ang="0">
                  <a:pos x="connsiteX6523" y="connsiteY6523"/>
                </a:cxn>
                <a:cxn ang="0">
                  <a:pos x="connsiteX6524" y="connsiteY6524"/>
                </a:cxn>
                <a:cxn ang="0">
                  <a:pos x="connsiteX6525" y="connsiteY6525"/>
                </a:cxn>
                <a:cxn ang="0">
                  <a:pos x="connsiteX6526" y="connsiteY6526"/>
                </a:cxn>
                <a:cxn ang="0">
                  <a:pos x="connsiteX6527" y="connsiteY6527"/>
                </a:cxn>
                <a:cxn ang="0">
                  <a:pos x="connsiteX6528" y="connsiteY6528"/>
                </a:cxn>
                <a:cxn ang="0">
                  <a:pos x="connsiteX6529" y="connsiteY6529"/>
                </a:cxn>
                <a:cxn ang="0">
                  <a:pos x="connsiteX6530" y="connsiteY6530"/>
                </a:cxn>
                <a:cxn ang="0">
                  <a:pos x="connsiteX6531" y="connsiteY6531"/>
                </a:cxn>
                <a:cxn ang="0">
                  <a:pos x="connsiteX6532" y="connsiteY6532"/>
                </a:cxn>
                <a:cxn ang="0">
                  <a:pos x="connsiteX6533" y="connsiteY6533"/>
                </a:cxn>
                <a:cxn ang="0">
                  <a:pos x="connsiteX6534" y="connsiteY6534"/>
                </a:cxn>
                <a:cxn ang="0">
                  <a:pos x="connsiteX6535" y="connsiteY6535"/>
                </a:cxn>
                <a:cxn ang="0">
                  <a:pos x="connsiteX6536" y="connsiteY6536"/>
                </a:cxn>
                <a:cxn ang="0">
                  <a:pos x="connsiteX6537" y="connsiteY6537"/>
                </a:cxn>
                <a:cxn ang="0">
                  <a:pos x="connsiteX6538" y="connsiteY6538"/>
                </a:cxn>
                <a:cxn ang="0">
                  <a:pos x="connsiteX6539" y="connsiteY6539"/>
                </a:cxn>
                <a:cxn ang="0">
                  <a:pos x="connsiteX6540" y="connsiteY6540"/>
                </a:cxn>
                <a:cxn ang="0">
                  <a:pos x="connsiteX6541" y="connsiteY6541"/>
                </a:cxn>
                <a:cxn ang="0">
                  <a:pos x="connsiteX6542" y="connsiteY6542"/>
                </a:cxn>
                <a:cxn ang="0">
                  <a:pos x="connsiteX6543" y="connsiteY6543"/>
                </a:cxn>
                <a:cxn ang="0">
                  <a:pos x="connsiteX6544" y="connsiteY6544"/>
                </a:cxn>
                <a:cxn ang="0">
                  <a:pos x="connsiteX6545" y="connsiteY6545"/>
                </a:cxn>
                <a:cxn ang="0">
                  <a:pos x="connsiteX6546" y="connsiteY6546"/>
                </a:cxn>
                <a:cxn ang="0">
                  <a:pos x="connsiteX6547" y="connsiteY6547"/>
                </a:cxn>
                <a:cxn ang="0">
                  <a:pos x="connsiteX6548" y="connsiteY6548"/>
                </a:cxn>
                <a:cxn ang="0">
                  <a:pos x="connsiteX6549" y="connsiteY6549"/>
                </a:cxn>
                <a:cxn ang="0">
                  <a:pos x="connsiteX6550" y="connsiteY6550"/>
                </a:cxn>
                <a:cxn ang="0">
                  <a:pos x="connsiteX6551" y="connsiteY6551"/>
                </a:cxn>
                <a:cxn ang="0">
                  <a:pos x="connsiteX6552" y="connsiteY6552"/>
                </a:cxn>
                <a:cxn ang="0">
                  <a:pos x="connsiteX6553" y="connsiteY6553"/>
                </a:cxn>
                <a:cxn ang="0">
                  <a:pos x="connsiteX6554" y="connsiteY6554"/>
                </a:cxn>
                <a:cxn ang="0">
                  <a:pos x="connsiteX6555" y="connsiteY6555"/>
                </a:cxn>
                <a:cxn ang="0">
                  <a:pos x="connsiteX6556" y="connsiteY6556"/>
                </a:cxn>
                <a:cxn ang="0">
                  <a:pos x="connsiteX6557" y="connsiteY6557"/>
                </a:cxn>
                <a:cxn ang="0">
                  <a:pos x="connsiteX6558" y="connsiteY6558"/>
                </a:cxn>
                <a:cxn ang="0">
                  <a:pos x="connsiteX6559" y="connsiteY6559"/>
                </a:cxn>
                <a:cxn ang="0">
                  <a:pos x="connsiteX6560" y="connsiteY6560"/>
                </a:cxn>
                <a:cxn ang="0">
                  <a:pos x="connsiteX6561" y="connsiteY6561"/>
                </a:cxn>
                <a:cxn ang="0">
                  <a:pos x="connsiteX6562" y="connsiteY6562"/>
                </a:cxn>
                <a:cxn ang="0">
                  <a:pos x="connsiteX6563" y="connsiteY6563"/>
                </a:cxn>
                <a:cxn ang="0">
                  <a:pos x="connsiteX6564" y="connsiteY6564"/>
                </a:cxn>
                <a:cxn ang="0">
                  <a:pos x="connsiteX6565" y="connsiteY6565"/>
                </a:cxn>
                <a:cxn ang="0">
                  <a:pos x="connsiteX6566" y="connsiteY6566"/>
                </a:cxn>
                <a:cxn ang="0">
                  <a:pos x="connsiteX6567" y="connsiteY6567"/>
                </a:cxn>
                <a:cxn ang="0">
                  <a:pos x="connsiteX6568" y="connsiteY6568"/>
                </a:cxn>
                <a:cxn ang="0">
                  <a:pos x="connsiteX6569" y="connsiteY6569"/>
                </a:cxn>
                <a:cxn ang="0">
                  <a:pos x="connsiteX6570" y="connsiteY6570"/>
                </a:cxn>
                <a:cxn ang="0">
                  <a:pos x="connsiteX6571" y="connsiteY6571"/>
                </a:cxn>
                <a:cxn ang="0">
                  <a:pos x="connsiteX6572" y="connsiteY6572"/>
                </a:cxn>
                <a:cxn ang="0">
                  <a:pos x="connsiteX6573" y="connsiteY6573"/>
                </a:cxn>
                <a:cxn ang="0">
                  <a:pos x="connsiteX6574" y="connsiteY6574"/>
                </a:cxn>
                <a:cxn ang="0">
                  <a:pos x="connsiteX6575" y="connsiteY6575"/>
                </a:cxn>
                <a:cxn ang="0">
                  <a:pos x="connsiteX6576" y="connsiteY6576"/>
                </a:cxn>
                <a:cxn ang="0">
                  <a:pos x="connsiteX6577" y="connsiteY6577"/>
                </a:cxn>
                <a:cxn ang="0">
                  <a:pos x="connsiteX6578" y="connsiteY6578"/>
                </a:cxn>
                <a:cxn ang="0">
                  <a:pos x="connsiteX6579" y="connsiteY6579"/>
                </a:cxn>
                <a:cxn ang="0">
                  <a:pos x="connsiteX6580" y="connsiteY6580"/>
                </a:cxn>
                <a:cxn ang="0">
                  <a:pos x="connsiteX6581" y="connsiteY6581"/>
                </a:cxn>
                <a:cxn ang="0">
                  <a:pos x="connsiteX6582" y="connsiteY6582"/>
                </a:cxn>
                <a:cxn ang="0">
                  <a:pos x="connsiteX6583" y="connsiteY6583"/>
                </a:cxn>
                <a:cxn ang="0">
                  <a:pos x="connsiteX6584" y="connsiteY6584"/>
                </a:cxn>
                <a:cxn ang="0">
                  <a:pos x="connsiteX6585" y="connsiteY6585"/>
                </a:cxn>
                <a:cxn ang="0">
                  <a:pos x="connsiteX6586" y="connsiteY6586"/>
                </a:cxn>
                <a:cxn ang="0">
                  <a:pos x="connsiteX6587" y="connsiteY6587"/>
                </a:cxn>
                <a:cxn ang="0">
                  <a:pos x="connsiteX6588" y="connsiteY6588"/>
                </a:cxn>
                <a:cxn ang="0">
                  <a:pos x="connsiteX6589" y="connsiteY6589"/>
                </a:cxn>
                <a:cxn ang="0">
                  <a:pos x="connsiteX6590" y="connsiteY6590"/>
                </a:cxn>
                <a:cxn ang="0">
                  <a:pos x="connsiteX6591" y="connsiteY6591"/>
                </a:cxn>
                <a:cxn ang="0">
                  <a:pos x="connsiteX6592" y="connsiteY6592"/>
                </a:cxn>
                <a:cxn ang="0">
                  <a:pos x="connsiteX6593" y="connsiteY6593"/>
                </a:cxn>
                <a:cxn ang="0">
                  <a:pos x="connsiteX6594" y="connsiteY6594"/>
                </a:cxn>
                <a:cxn ang="0">
                  <a:pos x="connsiteX6595" y="connsiteY6595"/>
                </a:cxn>
                <a:cxn ang="0">
                  <a:pos x="connsiteX6596" y="connsiteY6596"/>
                </a:cxn>
                <a:cxn ang="0">
                  <a:pos x="connsiteX6597" y="connsiteY6597"/>
                </a:cxn>
                <a:cxn ang="0">
                  <a:pos x="connsiteX6598" y="connsiteY6598"/>
                </a:cxn>
                <a:cxn ang="0">
                  <a:pos x="connsiteX6599" y="connsiteY6599"/>
                </a:cxn>
                <a:cxn ang="0">
                  <a:pos x="connsiteX6600" y="connsiteY6600"/>
                </a:cxn>
                <a:cxn ang="0">
                  <a:pos x="connsiteX6601" y="connsiteY6601"/>
                </a:cxn>
                <a:cxn ang="0">
                  <a:pos x="connsiteX6602" y="connsiteY6602"/>
                </a:cxn>
                <a:cxn ang="0">
                  <a:pos x="connsiteX6603" y="connsiteY6603"/>
                </a:cxn>
                <a:cxn ang="0">
                  <a:pos x="connsiteX6604" y="connsiteY6604"/>
                </a:cxn>
                <a:cxn ang="0">
                  <a:pos x="connsiteX6605" y="connsiteY6605"/>
                </a:cxn>
                <a:cxn ang="0">
                  <a:pos x="connsiteX6606" y="connsiteY6606"/>
                </a:cxn>
                <a:cxn ang="0">
                  <a:pos x="connsiteX6607" y="connsiteY6607"/>
                </a:cxn>
                <a:cxn ang="0">
                  <a:pos x="connsiteX6608" y="connsiteY6608"/>
                </a:cxn>
                <a:cxn ang="0">
                  <a:pos x="connsiteX6609" y="connsiteY6609"/>
                </a:cxn>
                <a:cxn ang="0">
                  <a:pos x="connsiteX6610" y="connsiteY6610"/>
                </a:cxn>
                <a:cxn ang="0">
                  <a:pos x="connsiteX6611" y="connsiteY6611"/>
                </a:cxn>
                <a:cxn ang="0">
                  <a:pos x="connsiteX6612" y="connsiteY6612"/>
                </a:cxn>
                <a:cxn ang="0">
                  <a:pos x="connsiteX6613" y="connsiteY6613"/>
                </a:cxn>
                <a:cxn ang="0">
                  <a:pos x="connsiteX6614" y="connsiteY6614"/>
                </a:cxn>
                <a:cxn ang="0">
                  <a:pos x="connsiteX6615" y="connsiteY6615"/>
                </a:cxn>
                <a:cxn ang="0">
                  <a:pos x="connsiteX6616" y="connsiteY6616"/>
                </a:cxn>
                <a:cxn ang="0">
                  <a:pos x="connsiteX6617" y="connsiteY6617"/>
                </a:cxn>
                <a:cxn ang="0">
                  <a:pos x="connsiteX6618" y="connsiteY6618"/>
                </a:cxn>
                <a:cxn ang="0">
                  <a:pos x="connsiteX6619" y="connsiteY6619"/>
                </a:cxn>
                <a:cxn ang="0">
                  <a:pos x="connsiteX6620" y="connsiteY6620"/>
                </a:cxn>
                <a:cxn ang="0">
                  <a:pos x="connsiteX6621" y="connsiteY6621"/>
                </a:cxn>
                <a:cxn ang="0">
                  <a:pos x="connsiteX6622" y="connsiteY6622"/>
                </a:cxn>
                <a:cxn ang="0">
                  <a:pos x="connsiteX6623" y="connsiteY6623"/>
                </a:cxn>
                <a:cxn ang="0">
                  <a:pos x="connsiteX6624" y="connsiteY6624"/>
                </a:cxn>
                <a:cxn ang="0">
                  <a:pos x="connsiteX6625" y="connsiteY6625"/>
                </a:cxn>
                <a:cxn ang="0">
                  <a:pos x="connsiteX6626" y="connsiteY6626"/>
                </a:cxn>
                <a:cxn ang="0">
                  <a:pos x="connsiteX6627" y="connsiteY6627"/>
                </a:cxn>
                <a:cxn ang="0">
                  <a:pos x="connsiteX6628" y="connsiteY6628"/>
                </a:cxn>
                <a:cxn ang="0">
                  <a:pos x="connsiteX6629" y="connsiteY6629"/>
                </a:cxn>
                <a:cxn ang="0">
                  <a:pos x="connsiteX6630" y="connsiteY6630"/>
                </a:cxn>
                <a:cxn ang="0">
                  <a:pos x="connsiteX6631" y="connsiteY6631"/>
                </a:cxn>
                <a:cxn ang="0">
                  <a:pos x="connsiteX6632" y="connsiteY6632"/>
                </a:cxn>
                <a:cxn ang="0">
                  <a:pos x="connsiteX6633" y="connsiteY6633"/>
                </a:cxn>
                <a:cxn ang="0">
                  <a:pos x="connsiteX6634" y="connsiteY6634"/>
                </a:cxn>
                <a:cxn ang="0">
                  <a:pos x="connsiteX6635" y="connsiteY6635"/>
                </a:cxn>
                <a:cxn ang="0">
                  <a:pos x="connsiteX6636" y="connsiteY6636"/>
                </a:cxn>
                <a:cxn ang="0">
                  <a:pos x="connsiteX6637" y="connsiteY6637"/>
                </a:cxn>
                <a:cxn ang="0">
                  <a:pos x="connsiteX6638" y="connsiteY6638"/>
                </a:cxn>
                <a:cxn ang="0">
                  <a:pos x="connsiteX6639" y="connsiteY6639"/>
                </a:cxn>
                <a:cxn ang="0">
                  <a:pos x="connsiteX6640" y="connsiteY6640"/>
                </a:cxn>
                <a:cxn ang="0">
                  <a:pos x="connsiteX6641" y="connsiteY6641"/>
                </a:cxn>
                <a:cxn ang="0">
                  <a:pos x="connsiteX6642" y="connsiteY6642"/>
                </a:cxn>
                <a:cxn ang="0">
                  <a:pos x="connsiteX6643" y="connsiteY6643"/>
                </a:cxn>
                <a:cxn ang="0">
                  <a:pos x="connsiteX6644" y="connsiteY6644"/>
                </a:cxn>
                <a:cxn ang="0">
                  <a:pos x="connsiteX6645" y="connsiteY6645"/>
                </a:cxn>
                <a:cxn ang="0">
                  <a:pos x="connsiteX6646" y="connsiteY6646"/>
                </a:cxn>
                <a:cxn ang="0">
                  <a:pos x="connsiteX6647" y="connsiteY6647"/>
                </a:cxn>
                <a:cxn ang="0">
                  <a:pos x="connsiteX6648" y="connsiteY6648"/>
                </a:cxn>
                <a:cxn ang="0">
                  <a:pos x="connsiteX6649" y="connsiteY6649"/>
                </a:cxn>
                <a:cxn ang="0">
                  <a:pos x="connsiteX6650" y="connsiteY6650"/>
                </a:cxn>
                <a:cxn ang="0">
                  <a:pos x="connsiteX6651" y="connsiteY6651"/>
                </a:cxn>
                <a:cxn ang="0">
                  <a:pos x="connsiteX6652" y="connsiteY6652"/>
                </a:cxn>
                <a:cxn ang="0">
                  <a:pos x="connsiteX6653" y="connsiteY6653"/>
                </a:cxn>
                <a:cxn ang="0">
                  <a:pos x="connsiteX6654" y="connsiteY6654"/>
                </a:cxn>
                <a:cxn ang="0">
                  <a:pos x="connsiteX6655" y="connsiteY6655"/>
                </a:cxn>
                <a:cxn ang="0">
                  <a:pos x="connsiteX6656" y="connsiteY6656"/>
                </a:cxn>
                <a:cxn ang="0">
                  <a:pos x="connsiteX6657" y="connsiteY6657"/>
                </a:cxn>
                <a:cxn ang="0">
                  <a:pos x="connsiteX6658" y="connsiteY6658"/>
                </a:cxn>
                <a:cxn ang="0">
                  <a:pos x="connsiteX6659" y="connsiteY6659"/>
                </a:cxn>
                <a:cxn ang="0">
                  <a:pos x="connsiteX6660" y="connsiteY6660"/>
                </a:cxn>
                <a:cxn ang="0">
                  <a:pos x="connsiteX6661" y="connsiteY6661"/>
                </a:cxn>
                <a:cxn ang="0">
                  <a:pos x="connsiteX6662" y="connsiteY6662"/>
                </a:cxn>
                <a:cxn ang="0">
                  <a:pos x="connsiteX6663" y="connsiteY6663"/>
                </a:cxn>
                <a:cxn ang="0">
                  <a:pos x="connsiteX6664" y="connsiteY6664"/>
                </a:cxn>
                <a:cxn ang="0">
                  <a:pos x="connsiteX6665" y="connsiteY6665"/>
                </a:cxn>
                <a:cxn ang="0">
                  <a:pos x="connsiteX6666" y="connsiteY6666"/>
                </a:cxn>
                <a:cxn ang="0">
                  <a:pos x="connsiteX6667" y="connsiteY6667"/>
                </a:cxn>
                <a:cxn ang="0">
                  <a:pos x="connsiteX6668" y="connsiteY6668"/>
                </a:cxn>
                <a:cxn ang="0">
                  <a:pos x="connsiteX6669" y="connsiteY6669"/>
                </a:cxn>
                <a:cxn ang="0">
                  <a:pos x="connsiteX6670" y="connsiteY6670"/>
                </a:cxn>
                <a:cxn ang="0">
                  <a:pos x="connsiteX6671" y="connsiteY6671"/>
                </a:cxn>
                <a:cxn ang="0">
                  <a:pos x="connsiteX6672" y="connsiteY6672"/>
                </a:cxn>
                <a:cxn ang="0">
                  <a:pos x="connsiteX6673" y="connsiteY6673"/>
                </a:cxn>
                <a:cxn ang="0">
                  <a:pos x="connsiteX6674" y="connsiteY6674"/>
                </a:cxn>
                <a:cxn ang="0">
                  <a:pos x="connsiteX6675" y="connsiteY6675"/>
                </a:cxn>
                <a:cxn ang="0">
                  <a:pos x="connsiteX6676" y="connsiteY6676"/>
                </a:cxn>
                <a:cxn ang="0">
                  <a:pos x="connsiteX6677" y="connsiteY6677"/>
                </a:cxn>
                <a:cxn ang="0">
                  <a:pos x="connsiteX6678" y="connsiteY6678"/>
                </a:cxn>
                <a:cxn ang="0">
                  <a:pos x="connsiteX6679" y="connsiteY6679"/>
                </a:cxn>
                <a:cxn ang="0">
                  <a:pos x="connsiteX6680" y="connsiteY6680"/>
                </a:cxn>
                <a:cxn ang="0">
                  <a:pos x="connsiteX6681" y="connsiteY6681"/>
                </a:cxn>
                <a:cxn ang="0">
                  <a:pos x="connsiteX6682" y="connsiteY6682"/>
                </a:cxn>
                <a:cxn ang="0">
                  <a:pos x="connsiteX6683" y="connsiteY6683"/>
                </a:cxn>
                <a:cxn ang="0">
                  <a:pos x="connsiteX6684" y="connsiteY6684"/>
                </a:cxn>
                <a:cxn ang="0">
                  <a:pos x="connsiteX6685" y="connsiteY6685"/>
                </a:cxn>
                <a:cxn ang="0">
                  <a:pos x="connsiteX6686" y="connsiteY6686"/>
                </a:cxn>
                <a:cxn ang="0">
                  <a:pos x="connsiteX6687" y="connsiteY6687"/>
                </a:cxn>
                <a:cxn ang="0">
                  <a:pos x="connsiteX6688" y="connsiteY6688"/>
                </a:cxn>
                <a:cxn ang="0">
                  <a:pos x="connsiteX6689" y="connsiteY6689"/>
                </a:cxn>
                <a:cxn ang="0">
                  <a:pos x="connsiteX6690" y="connsiteY6690"/>
                </a:cxn>
                <a:cxn ang="0">
                  <a:pos x="connsiteX6691" y="connsiteY6691"/>
                </a:cxn>
                <a:cxn ang="0">
                  <a:pos x="connsiteX6692" y="connsiteY6692"/>
                </a:cxn>
                <a:cxn ang="0">
                  <a:pos x="connsiteX6693" y="connsiteY6693"/>
                </a:cxn>
                <a:cxn ang="0">
                  <a:pos x="connsiteX6694" y="connsiteY6694"/>
                </a:cxn>
                <a:cxn ang="0">
                  <a:pos x="connsiteX6695" y="connsiteY6695"/>
                </a:cxn>
                <a:cxn ang="0">
                  <a:pos x="connsiteX6696" y="connsiteY6696"/>
                </a:cxn>
                <a:cxn ang="0">
                  <a:pos x="connsiteX6697" y="connsiteY6697"/>
                </a:cxn>
                <a:cxn ang="0">
                  <a:pos x="connsiteX6698" y="connsiteY6698"/>
                </a:cxn>
                <a:cxn ang="0">
                  <a:pos x="connsiteX6699" y="connsiteY6699"/>
                </a:cxn>
                <a:cxn ang="0">
                  <a:pos x="connsiteX6700" y="connsiteY6700"/>
                </a:cxn>
                <a:cxn ang="0">
                  <a:pos x="connsiteX6701" y="connsiteY6701"/>
                </a:cxn>
                <a:cxn ang="0">
                  <a:pos x="connsiteX6702" y="connsiteY6702"/>
                </a:cxn>
                <a:cxn ang="0">
                  <a:pos x="connsiteX6703" y="connsiteY6703"/>
                </a:cxn>
                <a:cxn ang="0">
                  <a:pos x="connsiteX6704" y="connsiteY6704"/>
                </a:cxn>
                <a:cxn ang="0">
                  <a:pos x="connsiteX6705" y="connsiteY6705"/>
                </a:cxn>
                <a:cxn ang="0">
                  <a:pos x="connsiteX6706" y="connsiteY6706"/>
                </a:cxn>
                <a:cxn ang="0">
                  <a:pos x="connsiteX6707" y="connsiteY6707"/>
                </a:cxn>
                <a:cxn ang="0">
                  <a:pos x="connsiteX6708" y="connsiteY6708"/>
                </a:cxn>
                <a:cxn ang="0">
                  <a:pos x="connsiteX6709" y="connsiteY6709"/>
                </a:cxn>
                <a:cxn ang="0">
                  <a:pos x="connsiteX6710" y="connsiteY6710"/>
                </a:cxn>
                <a:cxn ang="0">
                  <a:pos x="connsiteX6711" y="connsiteY6711"/>
                </a:cxn>
                <a:cxn ang="0">
                  <a:pos x="connsiteX6712" y="connsiteY6712"/>
                </a:cxn>
                <a:cxn ang="0">
                  <a:pos x="connsiteX6713" y="connsiteY6713"/>
                </a:cxn>
                <a:cxn ang="0">
                  <a:pos x="connsiteX6714" y="connsiteY6714"/>
                </a:cxn>
                <a:cxn ang="0">
                  <a:pos x="connsiteX6715" y="connsiteY6715"/>
                </a:cxn>
                <a:cxn ang="0">
                  <a:pos x="connsiteX6716" y="connsiteY6716"/>
                </a:cxn>
                <a:cxn ang="0">
                  <a:pos x="connsiteX6717" y="connsiteY6717"/>
                </a:cxn>
                <a:cxn ang="0">
                  <a:pos x="connsiteX6718" y="connsiteY6718"/>
                </a:cxn>
                <a:cxn ang="0">
                  <a:pos x="connsiteX6719" y="connsiteY6719"/>
                </a:cxn>
                <a:cxn ang="0">
                  <a:pos x="connsiteX6720" y="connsiteY6720"/>
                </a:cxn>
                <a:cxn ang="0">
                  <a:pos x="connsiteX6721" y="connsiteY6721"/>
                </a:cxn>
                <a:cxn ang="0">
                  <a:pos x="connsiteX6722" y="connsiteY6722"/>
                </a:cxn>
                <a:cxn ang="0">
                  <a:pos x="connsiteX6723" y="connsiteY6723"/>
                </a:cxn>
                <a:cxn ang="0">
                  <a:pos x="connsiteX6724" y="connsiteY6724"/>
                </a:cxn>
                <a:cxn ang="0">
                  <a:pos x="connsiteX6725" y="connsiteY6725"/>
                </a:cxn>
                <a:cxn ang="0">
                  <a:pos x="connsiteX6726" y="connsiteY6726"/>
                </a:cxn>
                <a:cxn ang="0">
                  <a:pos x="connsiteX6727" y="connsiteY6727"/>
                </a:cxn>
                <a:cxn ang="0">
                  <a:pos x="connsiteX6728" y="connsiteY6728"/>
                </a:cxn>
                <a:cxn ang="0">
                  <a:pos x="connsiteX6729" y="connsiteY6729"/>
                </a:cxn>
                <a:cxn ang="0">
                  <a:pos x="connsiteX6730" y="connsiteY6730"/>
                </a:cxn>
                <a:cxn ang="0">
                  <a:pos x="connsiteX6731" y="connsiteY6731"/>
                </a:cxn>
                <a:cxn ang="0">
                  <a:pos x="connsiteX6732" y="connsiteY6732"/>
                </a:cxn>
                <a:cxn ang="0">
                  <a:pos x="connsiteX6733" y="connsiteY6733"/>
                </a:cxn>
                <a:cxn ang="0">
                  <a:pos x="connsiteX6734" y="connsiteY6734"/>
                </a:cxn>
                <a:cxn ang="0">
                  <a:pos x="connsiteX6735" y="connsiteY6735"/>
                </a:cxn>
                <a:cxn ang="0">
                  <a:pos x="connsiteX6736" y="connsiteY6736"/>
                </a:cxn>
                <a:cxn ang="0">
                  <a:pos x="connsiteX6737" y="connsiteY6737"/>
                </a:cxn>
                <a:cxn ang="0">
                  <a:pos x="connsiteX6738" y="connsiteY6738"/>
                </a:cxn>
                <a:cxn ang="0">
                  <a:pos x="connsiteX6739" y="connsiteY6739"/>
                </a:cxn>
                <a:cxn ang="0">
                  <a:pos x="connsiteX6740" y="connsiteY6740"/>
                </a:cxn>
                <a:cxn ang="0">
                  <a:pos x="connsiteX6741" y="connsiteY6741"/>
                </a:cxn>
                <a:cxn ang="0">
                  <a:pos x="connsiteX6742" y="connsiteY6742"/>
                </a:cxn>
                <a:cxn ang="0">
                  <a:pos x="connsiteX6743" y="connsiteY6743"/>
                </a:cxn>
                <a:cxn ang="0">
                  <a:pos x="connsiteX6744" y="connsiteY6744"/>
                </a:cxn>
                <a:cxn ang="0">
                  <a:pos x="connsiteX6745" y="connsiteY6745"/>
                </a:cxn>
                <a:cxn ang="0">
                  <a:pos x="connsiteX6746" y="connsiteY6746"/>
                </a:cxn>
                <a:cxn ang="0">
                  <a:pos x="connsiteX6747" y="connsiteY6747"/>
                </a:cxn>
                <a:cxn ang="0">
                  <a:pos x="connsiteX6748" y="connsiteY6748"/>
                </a:cxn>
                <a:cxn ang="0">
                  <a:pos x="connsiteX6749" y="connsiteY6749"/>
                </a:cxn>
                <a:cxn ang="0">
                  <a:pos x="connsiteX6750" y="connsiteY6750"/>
                </a:cxn>
                <a:cxn ang="0">
                  <a:pos x="connsiteX6751" y="connsiteY6751"/>
                </a:cxn>
                <a:cxn ang="0">
                  <a:pos x="connsiteX6752" y="connsiteY6752"/>
                </a:cxn>
                <a:cxn ang="0">
                  <a:pos x="connsiteX6753" y="connsiteY6753"/>
                </a:cxn>
                <a:cxn ang="0">
                  <a:pos x="connsiteX6754" y="connsiteY6754"/>
                </a:cxn>
                <a:cxn ang="0">
                  <a:pos x="connsiteX6755" y="connsiteY6755"/>
                </a:cxn>
                <a:cxn ang="0">
                  <a:pos x="connsiteX6756" y="connsiteY6756"/>
                </a:cxn>
                <a:cxn ang="0">
                  <a:pos x="connsiteX6757" y="connsiteY6757"/>
                </a:cxn>
                <a:cxn ang="0">
                  <a:pos x="connsiteX6758" y="connsiteY6758"/>
                </a:cxn>
                <a:cxn ang="0">
                  <a:pos x="connsiteX6759" y="connsiteY6759"/>
                </a:cxn>
                <a:cxn ang="0">
                  <a:pos x="connsiteX6760" y="connsiteY6760"/>
                </a:cxn>
                <a:cxn ang="0">
                  <a:pos x="connsiteX6761" y="connsiteY6761"/>
                </a:cxn>
                <a:cxn ang="0">
                  <a:pos x="connsiteX6762" y="connsiteY6762"/>
                </a:cxn>
                <a:cxn ang="0">
                  <a:pos x="connsiteX6763" y="connsiteY6763"/>
                </a:cxn>
                <a:cxn ang="0">
                  <a:pos x="connsiteX6764" y="connsiteY6764"/>
                </a:cxn>
                <a:cxn ang="0">
                  <a:pos x="connsiteX6765" y="connsiteY6765"/>
                </a:cxn>
                <a:cxn ang="0">
                  <a:pos x="connsiteX6766" y="connsiteY6766"/>
                </a:cxn>
                <a:cxn ang="0">
                  <a:pos x="connsiteX6767" y="connsiteY6767"/>
                </a:cxn>
                <a:cxn ang="0">
                  <a:pos x="connsiteX6768" y="connsiteY6768"/>
                </a:cxn>
                <a:cxn ang="0">
                  <a:pos x="connsiteX6769" y="connsiteY6769"/>
                </a:cxn>
                <a:cxn ang="0">
                  <a:pos x="connsiteX6770" y="connsiteY6770"/>
                </a:cxn>
                <a:cxn ang="0">
                  <a:pos x="connsiteX6771" y="connsiteY6771"/>
                </a:cxn>
                <a:cxn ang="0">
                  <a:pos x="connsiteX6772" y="connsiteY6772"/>
                </a:cxn>
                <a:cxn ang="0">
                  <a:pos x="connsiteX6773" y="connsiteY6773"/>
                </a:cxn>
                <a:cxn ang="0">
                  <a:pos x="connsiteX6774" y="connsiteY6774"/>
                </a:cxn>
                <a:cxn ang="0">
                  <a:pos x="connsiteX6775" y="connsiteY6775"/>
                </a:cxn>
                <a:cxn ang="0">
                  <a:pos x="connsiteX6776" y="connsiteY6776"/>
                </a:cxn>
                <a:cxn ang="0">
                  <a:pos x="connsiteX6777" y="connsiteY6777"/>
                </a:cxn>
                <a:cxn ang="0">
                  <a:pos x="connsiteX6778" y="connsiteY6778"/>
                </a:cxn>
                <a:cxn ang="0">
                  <a:pos x="connsiteX6779" y="connsiteY6779"/>
                </a:cxn>
                <a:cxn ang="0">
                  <a:pos x="connsiteX6780" y="connsiteY6780"/>
                </a:cxn>
                <a:cxn ang="0">
                  <a:pos x="connsiteX6781" y="connsiteY6781"/>
                </a:cxn>
                <a:cxn ang="0">
                  <a:pos x="connsiteX6782" y="connsiteY6782"/>
                </a:cxn>
                <a:cxn ang="0">
                  <a:pos x="connsiteX6783" y="connsiteY6783"/>
                </a:cxn>
                <a:cxn ang="0">
                  <a:pos x="connsiteX6784" y="connsiteY6784"/>
                </a:cxn>
                <a:cxn ang="0">
                  <a:pos x="connsiteX6785" y="connsiteY6785"/>
                </a:cxn>
                <a:cxn ang="0">
                  <a:pos x="connsiteX6786" y="connsiteY6786"/>
                </a:cxn>
                <a:cxn ang="0">
                  <a:pos x="connsiteX6787" y="connsiteY6787"/>
                </a:cxn>
                <a:cxn ang="0">
                  <a:pos x="connsiteX6788" y="connsiteY6788"/>
                </a:cxn>
                <a:cxn ang="0">
                  <a:pos x="connsiteX6789" y="connsiteY6789"/>
                </a:cxn>
                <a:cxn ang="0">
                  <a:pos x="connsiteX6790" y="connsiteY6790"/>
                </a:cxn>
                <a:cxn ang="0">
                  <a:pos x="connsiteX6791" y="connsiteY6791"/>
                </a:cxn>
                <a:cxn ang="0">
                  <a:pos x="connsiteX6792" y="connsiteY6792"/>
                </a:cxn>
                <a:cxn ang="0">
                  <a:pos x="connsiteX6793" y="connsiteY6793"/>
                </a:cxn>
                <a:cxn ang="0">
                  <a:pos x="connsiteX6794" y="connsiteY6794"/>
                </a:cxn>
                <a:cxn ang="0">
                  <a:pos x="connsiteX6795" y="connsiteY6795"/>
                </a:cxn>
                <a:cxn ang="0">
                  <a:pos x="connsiteX6796" y="connsiteY6796"/>
                </a:cxn>
                <a:cxn ang="0">
                  <a:pos x="connsiteX6797" y="connsiteY6797"/>
                </a:cxn>
                <a:cxn ang="0">
                  <a:pos x="connsiteX6798" y="connsiteY6798"/>
                </a:cxn>
                <a:cxn ang="0">
                  <a:pos x="connsiteX6799" y="connsiteY6799"/>
                </a:cxn>
                <a:cxn ang="0">
                  <a:pos x="connsiteX6800" y="connsiteY6800"/>
                </a:cxn>
                <a:cxn ang="0">
                  <a:pos x="connsiteX6801" y="connsiteY6801"/>
                </a:cxn>
                <a:cxn ang="0">
                  <a:pos x="connsiteX6802" y="connsiteY6802"/>
                </a:cxn>
                <a:cxn ang="0">
                  <a:pos x="connsiteX6803" y="connsiteY6803"/>
                </a:cxn>
                <a:cxn ang="0">
                  <a:pos x="connsiteX6804" y="connsiteY6804"/>
                </a:cxn>
                <a:cxn ang="0">
                  <a:pos x="connsiteX6805" y="connsiteY6805"/>
                </a:cxn>
                <a:cxn ang="0">
                  <a:pos x="connsiteX6806" y="connsiteY6806"/>
                </a:cxn>
                <a:cxn ang="0">
                  <a:pos x="connsiteX6807" y="connsiteY6807"/>
                </a:cxn>
                <a:cxn ang="0">
                  <a:pos x="connsiteX6808" y="connsiteY6808"/>
                </a:cxn>
                <a:cxn ang="0">
                  <a:pos x="connsiteX6809" y="connsiteY6809"/>
                </a:cxn>
                <a:cxn ang="0">
                  <a:pos x="connsiteX6810" y="connsiteY6810"/>
                </a:cxn>
                <a:cxn ang="0">
                  <a:pos x="connsiteX6811" y="connsiteY6811"/>
                </a:cxn>
                <a:cxn ang="0">
                  <a:pos x="connsiteX6812" y="connsiteY6812"/>
                </a:cxn>
                <a:cxn ang="0">
                  <a:pos x="connsiteX6813" y="connsiteY6813"/>
                </a:cxn>
                <a:cxn ang="0">
                  <a:pos x="connsiteX6814" y="connsiteY6814"/>
                </a:cxn>
                <a:cxn ang="0">
                  <a:pos x="connsiteX6815" y="connsiteY6815"/>
                </a:cxn>
                <a:cxn ang="0">
                  <a:pos x="connsiteX6816" y="connsiteY6816"/>
                </a:cxn>
                <a:cxn ang="0">
                  <a:pos x="connsiteX6817" y="connsiteY6817"/>
                </a:cxn>
                <a:cxn ang="0">
                  <a:pos x="connsiteX6818" y="connsiteY6818"/>
                </a:cxn>
                <a:cxn ang="0">
                  <a:pos x="connsiteX6819" y="connsiteY6819"/>
                </a:cxn>
                <a:cxn ang="0">
                  <a:pos x="connsiteX6820" y="connsiteY6820"/>
                </a:cxn>
                <a:cxn ang="0">
                  <a:pos x="connsiteX6821" y="connsiteY6821"/>
                </a:cxn>
                <a:cxn ang="0">
                  <a:pos x="connsiteX6822" y="connsiteY6822"/>
                </a:cxn>
                <a:cxn ang="0">
                  <a:pos x="connsiteX6823" y="connsiteY6823"/>
                </a:cxn>
                <a:cxn ang="0">
                  <a:pos x="connsiteX6824" y="connsiteY6824"/>
                </a:cxn>
                <a:cxn ang="0">
                  <a:pos x="connsiteX6825" y="connsiteY6825"/>
                </a:cxn>
                <a:cxn ang="0">
                  <a:pos x="connsiteX6826" y="connsiteY6826"/>
                </a:cxn>
                <a:cxn ang="0">
                  <a:pos x="connsiteX6827" y="connsiteY6827"/>
                </a:cxn>
                <a:cxn ang="0">
                  <a:pos x="connsiteX6828" y="connsiteY6828"/>
                </a:cxn>
                <a:cxn ang="0">
                  <a:pos x="connsiteX6829" y="connsiteY6829"/>
                </a:cxn>
                <a:cxn ang="0">
                  <a:pos x="connsiteX6830" y="connsiteY6830"/>
                </a:cxn>
                <a:cxn ang="0">
                  <a:pos x="connsiteX6831" y="connsiteY6831"/>
                </a:cxn>
                <a:cxn ang="0">
                  <a:pos x="connsiteX6832" y="connsiteY6832"/>
                </a:cxn>
                <a:cxn ang="0">
                  <a:pos x="connsiteX6833" y="connsiteY6833"/>
                </a:cxn>
                <a:cxn ang="0">
                  <a:pos x="connsiteX6834" y="connsiteY6834"/>
                </a:cxn>
                <a:cxn ang="0">
                  <a:pos x="connsiteX6835" y="connsiteY6835"/>
                </a:cxn>
                <a:cxn ang="0">
                  <a:pos x="connsiteX6836" y="connsiteY6836"/>
                </a:cxn>
                <a:cxn ang="0">
                  <a:pos x="connsiteX6837" y="connsiteY6837"/>
                </a:cxn>
                <a:cxn ang="0">
                  <a:pos x="connsiteX6838" y="connsiteY6838"/>
                </a:cxn>
                <a:cxn ang="0">
                  <a:pos x="connsiteX6839" y="connsiteY6839"/>
                </a:cxn>
                <a:cxn ang="0">
                  <a:pos x="connsiteX6840" y="connsiteY6840"/>
                </a:cxn>
                <a:cxn ang="0">
                  <a:pos x="connsiteX6841" y="connsiteY6841"/>
                </a:cxn>
                <a:cxn ang="0">
                  <a:pos x="connsiteX6842" y="connsiteY6842"/>
                </a:cxn>
                <a:cxn ang="0">
                  <a:pos x="connsiteX6843" y="connsiteY6843"/>
                </a:cxn>
                <a:cxn ang="0">
                  <a:pos x="connsiteX6844" y="connsiteY6844"/>
                </a:cxn>
                <a:cxn ang="0">
                  <a:pos x="connsiteX6845" y="connsiteY6845"/>
                </a:cxn>
                <a:cxn ang="0">
                  <a:pos x="connsiteX6846" y="connsiteY6846"/>
                </a:cxn>
                <a:cxn ang="0">
                  <a:pos x="connsiteX6847" y="connsiteY6847"/>
                </a:cxn>
                <a:cxn ang="0">
                  <a:pos x="connsiteX6848" y="connsiteY6848"/>
                </a:cxn>
                <a:cxn ang="0">
                  <a:pos x="connsiteX6849" y="connsiteY6849"/>
                </a:cxn>
                <a:cxn ang="0">
                  <a:pos x="connsiteX6850" y="connsiteY6850"/>
                </a:cxn>
                <a:cxn ang="0">
                  <a:pos x="connsiteX6851" y="connsiteY6851"/>
                </a:cxn>
                <a:cxn ang="0">
                  <a:pos x="connsiteX6852" y="connsiteY6852"/>
                </a:cxn>
                <a:cxn ang="0">
                  <a:pos x="connsiteX6853" y="connsiteY6853"/>
                </a:cxn>
                <a:cxn ang="0">
                  <a:pos x="connsiteX6854" y="connsiteY6854"/>
                </a:cxn>
                <a:cxn ang="0">
                  <a:pos x="connsiteX6855" y="connsiteY6855"/>
                </a:cxn>
                <a:cxn ang="0">
                  <a:pos x="connsiteX6856" y="connsiteY6856"/>
                </a:cxn>
                <a:cxn ang="0">
                  <a:pos x="connsiteX6857" y="connsiteY6857"/>
                </a:cxn>
                <a:cxn ang="0">
                  <a:pos x="connsiteX6858" y="connsiteY6858"/>
                </a:cxn>
                <a:cxn ang="0">
                  <a:pos x="connsiteX6859" y="connsiteY6859"/>
                </a:cxn>
                <a:cxn ang="0">
                  <a:pos x="connsiteX6860" y="connsiteY6860"/>
                </a:cxn>
                <a:cxn ang="0">
                  <a:pos x="connsiteX6861" y="connsiteY6861"/>
                </a:cxn>
                <a:cxn ang="0">
                  <a:pos x="connsiteX6862" y="connsiteY6862"/>
                </a:cxn>
                <a:cxn ang="0">
                  <a:pos x="connsiteX6863" y="connsiteY6863"/>
                </a:cxn>
                <a:cxn ang="0">
                  <a:pos x="connsiteX6864" y="connsiteY6864"/>
                </a:cxn>
                <a:cxn ang="0">
                  <a:pos x="connsiteX6865" y="connsiteY6865"/>
                </a:cxn>
                <a:cxn ang="0">
                  <a:pos x="connsiteX6866" y="connsiteY6866"/>
                </a:cxn>
                <a:cxn ang="0">
                  <a:pos x="connsiteX6867" y="connsiteY6867"/>
                </a:cxn>
                <a:cxn ang="0">
                  <a:pos x="connsiteX6868" y="connsiteY6868"/>
                </a:cxn>
                <a:cxn ang="0">
                  <a:pos x="connsiteX6869" y="connsiteY6869"/>
                </a:cxn>
                <a:cxn ang="0">
                  <a:pos x="connsiteX6870" y="connsiteY6870"/>
                </a:cxn>
                <a:cxn ang="0">
                  <a:pos x="connsiteX6871" y="connsiteY6871"/>
                </a:cxn>
                <a:cxn ang="0">
                  <a:pos x="connsiteX6872" y="connsiteY6872"/>
                </a:cxn>
                <a:cxn ang="0">
                  <a:pos x="connsiteX6873" y="connsiteY6873"/>
                </a:cxn>
                <a:cxn ang="0">
                  <a:pos x="connsiteX6874" y="connsiteY6874"/>
                </a:cxn>
                <a:cxn ang="0">
                  <a:pos x="connsiteX6875" y="connsiteY6875"/>
                </a:cxn>
                <a:cxn ang="0">
                  <a:pos x="connsiteX6876" y="connsiteY6876"/>
                </a:cxn>
                <a:cxn ang="0">
                  <a:pos x="connsiteX6877" y="connsiteY6877"/>
                </a:cxn>
                <a:cxn ang="0">
                  <a:pos x="connsiteX6878" y="connsiteY6878"/>
                </a:cxn>
                <a:cxn ang="0">
                  <a:pos x="connsiteX6879" y="connsiteY6879"/>
                </a:cxn>
                <a:cxn ang="0">
                  <a:pos x="connsiteX6880" y="connsiteY6880"/>
                </a:cxn>
                <a:cxn ang="0">
                  <a:pos x="connsiteX6881" y="connsiteY6881"/>
                </a:cxn>
                <a:cxn ang="0">
                  <a:pos x="connsiteX6882" y="connsiteY6882"/>
                </a:cxn>
                <a:cxn ang="0">
                  <a:pos x="connsiteX6883" y="connsiteY6883"/>
                </a:cxn>
                <a:cxn ang="0">
                  <a:pos x="connsiteX6884" y="connsiteY6884"/>
                </a:cxn>
                <a:cxn ang="0">
                  <a:pos x="connsiteX6885" y="connsiteY6885"/>
                </a:cxn>
                <a:cxn ang="0">
                  <a:pos x="connsiteX6886" y="connsiteY6886"/>
                </a:cxn>
                <a:cxn ang="0">
                  <a:pos x="connsiteX6887" y="connsiteY6887"/>
                </a:cxn>
                <a:cxn ang="0">
                  <a:pos x="connsiteX6888" y="connsiteY6888"/>
                </a:cxn>
                <a:cxn ang="0">
                  <a:pos x="connsiteX6889" y="connsiteY6889"/>
                </a:cxn>
                <a:cxn ang="0">
                  <a:pos x="connsiteX6890" y="connsiteY6890"/>
                </a:cxn>
                <a:cxn ang="0">
                  <a:pos x="connsiteX6891" y="connsiteY6891"/>
                </a:cxn>
                <a:cxn ang="0">
                  <a:pos x="connsiteX6892" y="connsiteY6892"/>
                </a:cxn>
                <a:cxn ang="0">
                  <a:pos x="connsiteX6893" y="connsiteY6893"/>
                </a:cxn>
                <a:cxn ang="0">
                  <a:pos x="connsiteX6894" y="connsiteY6894"/>
                </a:cxn>
                <a:cxn ang="0">
                  <a:pos x="connsiteX6895" y="connsiteY6895"/>
                </a:cxn>
                <a:cxn ang="0">
                  <a:pos x="connsiteX6896" y="connsiteY6896"/>
                </a:cxn>
                <a:cxn ang="0">
                  <a:pos x="connsiteX6897" y="connsiteY6897"/>
                </a:cxn>
                <a:cxn ang="0">
                  <a:pos x="connsiteX6898" y="connsiteY6898"/>
                </a:cxn>
                <a:cxn ang="0">
                  <a:pos x="connsiteX6899" y="connsiteY6899"/>
                </a:cxn>
                <a:cxn ang="0">
                  <a:pos x="connsiteX6900" y="connsiteY6900"/>
                </a:cxn>
                <a:cxn ang="0">
                  <a:pos x="connsiteX6901" y="connsiteY6901"/>
                </a:cxn>
                <a:cxn ang="0">
                  <a:pos x="connsiteX6902" y="connsiteY6902"/>
                </a:cxn>
                <a:cxn ang="0">
                  <a:pos x="connsiteX6903" y="connsiteY6903"/>
                </a:cxn>
                <a:cxn ang="0">
                  <a:pos x="connsiteX6904" y="connsiteY6904"/>
                </a:cxn>
                <a:cxn ang="0">
                  <a:pos x="connsiteX6905" y="connsiteY6905"/>
                </a:cxn>
                <a:cxn ang="0">
                  <a:pos x="connsiteX6906" y="connsiteY6906"/>
                </a:cxn>
                <a:cxn ang="0">
                  <a:pos x="connsiteX6907" y="connsiteY6907"/>
                </a:cxn>
                <a:cxn ang="0">
                  <a:pos x="connsiteX6908" y="connsiteY6908"/>
                </a:cxn>
                <a:cxn ang="0">
                  <a:pos x="connsiteX6909" y="connsiteY6909"/>
                </a:cxn>
                <a:cxn ang="0">
                  <a:pos x="connsiteX6910" y="connsiteY6910"/>
                </a:cxn>
                <a:cxn ang="0">
                  <a:pos x="connsiteX6911" y="connsiteY6911"/>
                </a:cxn>
                <a:cxn ang="0">
                  <a:pos x="connsiteX6912" y="connsiteY6912"/>
                </a:cxn>
                <a:cxn ang="0">
                  <a:pos x="connsiteX6913" y="connsiteY6913"/>
                </a:cxn>
                <a:cxn ang="0">
                  <a:pos x="connsiteX6914" y="connsiteY6914"/>
                </a:cxn>
                <a:cxn ang="0">
                  <a:pos x="connsiteX6915" y="connsiteY6915"/>
                </a:cxn>
                <a:cxn ang="0">
                  <a:pos x="connsiteX6916" y="connsiteY6916"/>
                </a:cxn>
                <a:cxn ang="0">
                  <a:pos x="connsiteX6917" y="connsiteY6917"/>
                </a:cxn>
                <a:cxn ang="0">
                  <a:pos x="connsiteX6918" y="connsiteY6918"/>
                </a:cxn>
                <a:cxn ang="0">
                  <a:pos x="connsiteX6919" y="connsiteY6919"/>
                </a:cxn>
                <a:cxn ang="0">
                  <a:pos x="connsiteX6920" y="connsiteY6920"/>
                </a:cxn>
                <a:cxn ang="0">
                  <a:pos x="connsiteX6921" y="connsiteY6921"/>
                </a:cxn>
                <a:cxn ang="0">
                  <a:pos x="connsiteX6922" y="connsiteY6922"/>
                </a:cxn>
                <a:cxn ang="0">
                  <a:pos x="connsiteX6923" y="connsiteY6923"/>
                </a:cxn>
                <a:cxn ang="0">
                  <a:pos x="connsiteX6924" y="connsiteY6924"/>
                </a:cxn>
                <a:cxn ang="0">
                  <a:pos x="connsiteX6925" y="connsiteY6925"/>
                </a:cxn>
                <a:cxn ang="0">
                  <a:pos x="connsiteX6926" y="connsiteY6926"/>
                </a:cxn>
                <a:cxn ang="0">
                  <a:pos x="connsiteX6927" y="connsiteY6927"/>
                </a:cxn>
                <a:cxn ang="0">
                  <a:pos x="connsiteX6928" y="connsiteY6928"/>
                </a:cxn>
                <a:cxn ang="0">
                  <a:pos x="connsiteX6929" y="connsiteY6929"/>
                </a:cxn>
                <a:cxn ang="0">
                  <a:pos x="connsiteX6930" y="connsiteY6930"/>
                </a:cxn>
                <a:cxn ang="0">
                  <a:pos x="connsiteX6931" y="connsiteY6931"/>
                </a:cxn>
                <a:cxn ang="0">
                  <a:pos x="connsiteX6932" y="connsiteY6932"/>
                </a:cxn>
                <a:cxn ang="0">
                  <a:pos x="connsiteX6933" y="connsiteY6933"/>
                </a:cxn>
                <a:cxn ang="0">
                  <a:pos x="connsiteX6934" y="connsiteY6934"/>
                </a:cxn>
                <a:cxn ang="0">
                  <a:pos x="connsiteX6935" y="connsiteY6935"/>
                </a:cxn>
                <a:cxn ang="0">
                  <a:pos x="connsiteX6936" y="connsiteY6936"/>
                </a:cxn>
                <a:cxn ang="0">
                  <a:pos x="connsiteX6937" y="connsiteY6937"/>
                </a:cxn>
                <a:cxn ang="0">
                  <a:pos x="connsiteX6938" y="connsiteY6938"/>
                </a:cxn>
                <a:cxn ang="0">
                  <a:pos x="connsiteX6939" y="connsiteY6939"/>
                </a:cxn>
                <a:cxn ang="0">
                  <a:pos x="connsiteX6940" y="connsiteY6940"/>
                </a:cxn>
                <a:cxn ang="0">
                  <a:pos x="connsiteX6941" y="connsiteY6941"/>
                </a:cxn>
                <a:cxn ang="0">
                  <a:pos x="connsiteX6942" y="connsiteY6942"/>
                </a:cxn>
                <a:cxn ang="0">
                  <a:pos x="connsiteX6943" y="connsiteY6943"/>
                </a:cxn>
                <a:cxn ang="0">
                  <a:pos x="connsiteX6944" y="connsiteY6944"/>
                </a:cxn>
                <a:cxn ang="0">
                  <a:pos x="connsiteX6945" y="connsiteY6945"/>
                </a:cxn>
                <a:cxn ang="0">
                  <a:pos x="connsiteX6946" y="connsiteY6946"/>
                </a:cxn>
                <a:cxn ang="0">
                  <a:pos x="connsiteX6947" y="connsiteY6947"/>
                </a:cxn>
                <a:cxn ang="0">
                  <a:pos x="connsiteX6948" y="connsiteY6948"/>
                </a:cxn>
                <a:cxn ang="0">
                  <a:pos x="connsiteX6949" y="connsiteY6949"/>
                </a:cxn>
                <a:cxn ang="0">
                  <a:pos x="connsiteX6950" y="connsiteY6950"/>
                </a:cxn>
                <a:cxn ang="0">
                  <a:pos x="connsiteX6951" y="connsiteY6951"/>
                </a:cxn>
                <a:cxn ang="0">
                  <a:pos x="connsiteX6952" y="connsiteY6952"/>
                </a:cxn>
                <a:cxn ang="0">
                  <a:pos x="connsiteX6953" y="connsiteY6953"/>
                </a:cxn>
                <a:cxn ang="0">
                  <a:pos x="connsiteX6954" y="connsiteY6954"/>
                </a:cxn>
                <a:cxn ang="0">
                  <a:pos x="connsiteX6955" y="connsiteY6955"/>
                </a:cxn>
                <a:cxn ang="0">
                  <a:pos x="connsiteX6956" y="connsiteY6956"/>
                </a:cxn>
                <a:cxn ang="0">
                  <a:pos x="connsiteX6957" y="connsiteY6957"/>
                </a:cxn>
                <a:cxn ang="0">
                  <a:pos x="connsiteX6958" y="connsiteY6958"/>
                </a:cxn>
                <a:cxn ang="0">
                  <a:pos x="connsiteX6959" y="connsiteY6959"/>
                </a:cxn>
                <a:cxn ang="0">
                  <a:pos x="connsiteX6960" y="connsiteY6960"/>
                </a:cxn>
                <a:cxn ang="0">
                  <a:pos x="connsiteX6961" y="connsiteY6961"/>
                </a:cxn>
                <a:cxn ang="0">
                  <a:pos x="connsiteX6962" y="connsiteY6962"/>
                </a:cxn>
                <a:cxn ang="0">
                  <a:pos x="connsiteX6963" y="connsiteY6963"/>
                </a:cxn>
                <a:cxn ang="0">
                  <a:pos x="connsiteX6964" y="connsiteY6964"/>
                </a:cxn>
                <a:cxn ang="0">
                  <a:pos x="connsiteX6965" y="connsiteY6965"/>
                </a:cxn>
                <a:cxn ang="0">
                  <a:pos x="connsiteX6966" y="connsiteY6966"/>
                </a:cxn>
                <a:cxn ang="0">
                  <a:pos x="connsiteX6967" y="connsiteY6967"/>
                </a:cxn>
                <a:cxn ang="0">
                  <a:pos x="connsiteX6968" y="connsiteY6968"/>
                </a:cxn>
                <a:cxn ang="0">
                  <a:pos x="connsiteX6969" y="connsiteY6969"/>
                </a:cxn>
                <a:cxn ang="0">
                  <a:pos x="connsiteX6970" y="connsiteY6970"/>
                </a:cxn>
                <a:cxn ang="0">
                  <a:pos x="connsiteX6971" y="connsiteY6971"/>
                </a:cxn>
                <a:cxn ang="0">
                  <a:pos x="connsiteX6972" y="connsiteY6972"/>
                </a:cxn>
                <a:cxn ang="0">
                  <a:pos x="connsiteX6973" y="connsiteY6973"/>
                </a:cxn>
                <a:cxn ang="0">
                  <a:pos x="connsiteX6974" y="connsiteY6974"/>
                </a:cxn>
                <a:cxn ang="0">
                  <a:pos x="connsiteX6975" y="connsiteY6975"/>
                </a:cxn>
                <a:cxn ang="0">
                  <a:pos x="connsiteX6976" y="connsiteY6976"/>
                </a:cxn>
                <a:cxn ang="0">
                  <a:pos x="connsiteX6977" y="connsiteY6977"/>
                </a:cxn>
                <a:cxn ang="0">
                  <a:pos x="connsiteX6978" y="connsiteY6978"/>
                </a:cxn>
                <a:cxn ang="0">
                  <a:pos x="connsiteX6979" y="connsiteY6979"/>
                </a:cxn>
                <a:cxn ang="0">
                  <a:pos x="connsiteX6980" y="connsiteY6980"/>
                </a:cxn>
                <a:cxn ang="0">
                  <a:pos x="connsiteX6981" y="connsiteY6981"/>
                </a:cxn>
                <a:cxn ang="0">
                  <a:pos x="connsiteX6982" y="connsiteY6982"/>
                </a:cxn>
                <a:cxn ang="0">
                  <a:pos x="connsiteX6983" y="connsiteY6983"/>
                </a:cxn>
                <a:cxn ang="0">
                  <a:pos x="connsiteX6984" y="connsiteY6984"/>
                </a:cxn>
                <a:cxn ang="0">
                  <a:pos x="connsiteX6985" y="connsiteY6985"/>
                </a:cxn>
                <a:cxn ang="0">
                  <a:pos x="connsiteX6986" y="connsiteY6986"/>
                </a:cxn>
                <a:cxn ang="0">
                  <a:pos x="connsiteX6987" y="connsiteY6987"/>
                </a:cxn>
                <a:cxn ang="0">
                  <a:pos x="connsiteX6988" y="connsiteY6988"/>
                </a:cxn>
                <a:cxn ang="0">
                  <a:pos x="connsiteX6989" y="connsiteY6989"/>
                </a:cxn>
                <a:cxn ang="0">
                  <a:pos x="connsiteX6990" y="connsiteY6990"/>
                </a:cxn>
                <a:cxn ang="0">
                  <a:pos x="connsiteX6991" y="connsiteY6991"/>
                </a:cxn>
                <a:cxn ang="0">
                  <a:pos x="connsiteX6992" y="connsiteY6992"/>
                </a:cxn>
                <a:cxn ang="0">
                  <a:pos x="connsiteX6993" y="connsiteY6993"/>
                </a:cxn>
                <a:cxn ang="0">
                  <a:pos x="connsiteX6994" y="connsiteY6994"/>
                </a:cxn>
                <a:cxn ang="0">
                  <a:pos x="connsiteX6995" y="connsiteY6995"/>
                </a:cxn>
                <a:cxn ang="0">
                  <a:pos x="connsiteX6996" y="connsiteY6996"/>
                </a:cxn>
                <a:cxn ang="0">
                  <a:pos x="connsiteX6997" y="connsiteY6997"/>
                </a:cxn>
                <a:cxn ang="0">
                  <a:pos x="connsiteX6998" y="connsiteY6998"/>
                </a:cxn>
                <a:cxn ang="0">
                  <a:pos x="connsiteX6999" y="connsiteY6999"/>
                </a:cxn>
                <a:cxn ang="0">
                  <a:pos x="connsiteX7000" y="connsiteY7000"/>
                </a:cxn>
                <a:cxn ang="0">
                  <a:pos x="connsiteX7001" y="connsiteY7001"/>
                </a:cxn>
                <a:cxn ang="0">
                  <a:pos x="connsiteX7002" y="connsiteY7002"/>
                </a:cxn>
                <a:cxn ang="0">
                  <a:pos x="connsiteX7003" y="connsiteY7003"/>
                </a:cxn>
                <a:cxn ang="0">
                  <a:pos x="connsiteX7004" y="connsiteY7004"/>
                </a:cxn>
                <a:cxn ang="0">
                  <a:pos x="connsiteX7005" y="connsiteY7005"/>
                </a:cxn>
                <a:cxn ang="0">
                  <a:pos x="connsiteX7006" y="connsiteY7006"/>
                </a:cxn>
                <a:cxn ang="0">
                  <a:pos x="connsiteX7007" y="connsiteY7007"/>
                </a:cxn>
                <a:cxn ang="0">
                  <a:pos x="connsiteX7008" y="connsiteY7008"/>
                </a:cxn>
                <a:cxn ang="0">
                  <a:pos x="connsiteX7009" y="connsiteY7009"/>
                </a:cxn>
                <a:cxn ang="0">
                  <a:pos x="connsiteX7010" y="connsiteY7010"/>
                </a:cxn>
                <a:cxn ang="0">
                  <a:pos x="connsiteX7011" y="connsiteY7011"/>
                </a:cxn>
                <a:cxn ang="0">
                  <a:pos x="connsiteX7012" y="connsiteY7012"/>
                </a:cxn>
                <a:cxn ang="0">
                  <a:pos x="connsiteX7013" y="connsiteY7013"/>
                </a:cxn>
                <a:cxn ang="0">
                  <a:pos x="connsiteX7014" y="connsiteY7014"/>
                </a:cxn>
                <a:cxn ang="0">
                  <a:pos x="connsiteX7015" y="connsiteY7015"/>
                </a:cxn>
                <a:cxn ang="0">
                  <a:pos x="connsiteX7016" y="connsiteY7016"/>
                </a:cxn>
                <a:cxn ang="0">
                  <a:pos x="connsiteX7017" y="connsiteY7017"/>
                </a:cxn>
                <a:cxn ang="0">
                  <a:pos x="connsiteX7018" y="connsiteY7018"/>
                </a:cxn>
                <a:cxn ang="0">
                  <a:pos x="connsiteX7019" y="connsiteY7019"/>
                </a:cxn>
                <a:cxn ang="0">
                  <a:pos x="connsiteX7020" y="connsiteY7020"/>
                </a:cxn>
                <a:cxn ang="0">
                  <a:pos x="connsiteX7021" y="connsiteY7021"/>
                </a:cxn>
                <a:cxn ang="0">
                  <a:pos x="connsiteX7022" y="connsiteY7022"/>
                </a:cxn>
                <a:cxn ang="0">
                  <a:pos x="connsiteX7023" y="connsiteY7023"/>
                </a:cxn>
                <a:cxn ang="0">
                  <a:pos x="connsiteX7024" y="connsiteY7024"/>
                </a:cxn>
                <a:cxn ang="0">
                  <a:pos x="connsiteX7025" y="connsiteY7025"/>
                </a:cxn>
                <a:cxn ang="0">
                  <a:pos x="connsiteX7026" y="connsiteY7026"/>
                </a:cxn>
                <a:cxn ang="0">
                  <a:pos x="connsiteX7027" y="connsiteY7027"/>
                </a:cxn>
                <a:cxn ang="0">
                  <a:pos x="connsiteX7028" y="connsiteY7028"/>
                </a:cxn>
                <a:cxn ang="0">
                  <a:pos x="connsiteX7029" y="connsiteY7029"/>
                </a:cxn>
                <a:cxn ang="0">
                  <a:pos x="connsiteX7030" y="connsiteY7030"/>
                </a:cxn>
                <a:cxn ang="0">
                  <a:pos x="connsiteX7031" y="connsiteY7031"/>
                </a:cxn>
                <a:cxn ang="0">
                  <a:pos x="connsiteX7032" y="connsiteY7032"/>
                </a:cxn>
                <a:cxn ang="0">
                  <a:pos x="connsiteX7033" y="connsiteY7033"/>
                </a:cxn>
                <a:cxn ang="0">
                  <a:pos x="connsiteX7034" y="connsiteY7034"/>
                </a:cxn>
                <a:cxn ang="0">
                  <a:pos x="connsiteX7035" y="connsiteY7035"/>
                </a:cxn>
                <a:cxn ang="0">
                  <a:pos x="connsiteX7036" y="connsiteY7036"/>
                </a:cxn>
                <a:cxn ang="0">
                  <a:pos x="connsiteX7037" y="connsiteY7037"/>
                </a:cxn>
                <a:cxn ang="0">
                  <a:pos x="connsiteX7038" y="connsiteY7038"/>
                </a:cxn>
                <a:cxn ang="0">
                  <a:pos x="connsiteX7039" y="connsiteY7039"/>
                </a:cxn>
                <a:cxn ang="0">
                  <a:pos x="connsiteX7040" y="connsiteY7040"/>
                </a:cxn>
                <a:cxn ang="0">
                  <a:pos x="connsiteX7041" y="connsiteY7041"/>
                </a:cxn>
                <a:cxn ang="0">
                  <a:pos x="connsiteX7042" y="connsiteY7042"/>
                </a:cxn>
                <a:cxn ang="0">
                  <a:pos x="connsiteX7043" y="connsiteY7043"/>
                </a:cxn>
                <a:cxn ang="0">
                  <a:pos x="connsiteX7044" y="connsiteY7044"/>
                </a:cxn>
                <a:cxn ang="0">
                  <a:pos x="connsiteX7045" y="connsiteY7045"/>
                </a:cxn>
                <a:cxn ang="0">
                  <a:pos x="connsiteX7046" y="connsiteY7046"/>
                </a:cxn>
                <a:cxn ang="0">
                  <a:pos x="connsiteX7047" y="connsiteY7047"/>
                </a:cxn>
                <a:cxn ang="0">
                  <a:pos x="connsiteX7048" y="connsiteY7048"/>
                </a:cxn>
                <a:cxn ang="0">
                  <a:pos x="connsiteX7049" y="connsiteY7049"/>
                </a:cxn>
                <a:cxn ang="0">
                  <a:pos x="connsiteX7050" y="connsiteY7050"/>
                </a:cxn>
                <a:cxn ang="0">
                  <a:pos x="connsiteX7051" y="connsiteY7051"/>
                </a:cxn>
                <a:cxn ang="0">
                  <a:pos x="connsiteX7052" y="connsiteY7052"/>
                </a:cxn>
                <a:cxn ang="0">
                  <a:pos x="connsiteX7053" y="connsiteY7053"/>
                </a:cxn>
                <a:cxn ang="0">
                  <a:pos x="connsiteX7054" y="connsiteY7054"/>
                </a:cxn>
                <a:cxn ang="0">
                  <a:pos x="connsiteX7055" y="connsiteY7055"/>
                </a:cxn>
                <a:cxn ang="0">
                  <a:pos x="connsiteX7056" y="connsiteY7056"/>
                </a:cxn>
                <a:cxn ang="0">
                  <a:pos x="connsiteX7057" y="connsiteY7057"/>
                </a:cxn>
                <a:cxn ang="0">
                  <a:pos x="connsiteX7058" y="connsiteY7058"/>
                </a:cxn>
                <a:cxn ang="0">
                  <a:pos x="connsiteX7059" y="connsiteY7059"/>
                </a:cxn>
                <a:cxn ang="0">
                  <a:pos x="connsiteX7060" y="connsiteY7060"/>
                </a:cxn>
                <a:cxn ang="0">
                  <a:pos x="connsiteX7061" y="connsiteY7061"/>
                </a:cxn>
                <a:cxn ang="0">
                  <a:pos x="connsiteX7062" y="connsiteY7062"/>
                </a:cxn>
                <a:cxn ang="0">
                  <a:pos x="connsiteX7063" y="connsiteY7063"/>
                </a:cxn>
                <a:cxn ang="0">
                  <a:pos x="connsiteX7064" y="connsiteY7064"/>
                </a:cxn>
                <a:cxn ang="0">
                  <a:pos x="connsiteX7065" y="connsiteY7065"/>
                </a:cxn>
                <a:cxn ang="0">
                  <a:pos x="connsiteX7066" y="connsiteY7066"/>
                </a:cxn>
                <a:cxn ang="0">
                  <a:pos x="connsiteX7067" y="connsiteY7067"/>
                </a:cxn>
                <a:cxn ang="0">
                  <a:pos x="connsiteX7068" y="connsiteY7068"/>
                </a:cxn>
                <a:cxn ang="0">
                  <a:pos x="connsiteX7069" y="connsiteY7069"/>
                </a:cxn>
                <a:cxn ang="0">
                  <a:pos x="connsiteX7070" y="connsiteY7070"/>
                </a:cxn>
                <a:cxn ang="0">
                  <a:pos x="connsiteX7071" y="connsiteY7071"/>
                </a:cxn>
                <a:cxn ang="0">
                  <a:pos x="connsiteX7072" y="connsiteY7072"/>
                </a:cxn>
                <a:cxn ang="0">
                  <a:pos x="connsiteX7073" y="connsiteY7073"/>
                </a:cxn>
                <a:cxn ang="0">
                  <a:pos x="connsiteX7074" y="connsiteY7074"/>
                </a:cxn>
                <a:cxn ang="0">
                  <a:pos x="connsiteX7075" y="connsiteY7075"/>
                </a:cxn>
                <a:cxn ang="0">
                  <a:pos x="connsiteX7076" y="connsiteY7076"/>
                </a:cxn>
                <a:cxn ang="0">
                  <a:pos x="connsiteX7077" y="connsiteY7077"/>
                </a:cxn>
                <a:cxn ang="0">
                  <a:pos x="connsiteX7078" y="connsiteY7078"/>
                </a:cxn>
                <a:cxn ang="0">
                  <a:pos x="connsiteX7079" y="connsiteY7079"/>
                </a:cxn>
                <a:cxn ang="0">
                  <a:pos x="connsiteX7080" y="connsiteY7080"/>
                </a:cxn>
                <a:cxn ang="0">
                  <a:pos x="connsiteX7081" y="connsiteY7081"/>
                </a:cxn>
                <a:cxn ang="0">
                  <a:pos x="connsiteX7082" y="connsiteY7082"/>
                </a:cxn>
                <a:cxn ang="0">
                  <a:pos x="connsiteX7083" y="connsiteY7083"/>
                </a:cxn>
                <a:cxn ang="0">
                  <a:pos x="connsiteX7084" y="connsiteY7084"/>
                </a:cxn>
                <a:cxn ang="0">
                  <a:pos x="connsiteX7085" y="connsiteY7085"/>
                </a:cxn>
                <a:cxn ang="0">
                  <a:pos x="connsiteX7086" y="connsiteY7086"/>
                </a:cxn>
                <a:cxn ang="0">
                  <a:pos x="connsiteX7087" y="connsiteY7087"/>
                </a:cxn>
                <a:cxn ang="0">
                  <a:pos x="connsiteX7088" y="connsiteY7088"/>
                </a:cxn>
                <a:cxn ang="0">
                  <a:pos x="connsiteX7089" y="connsiteY7089"/>
                </a:cxn>
                <a:cxn ang="0">
                  <a:pos x="connsiteX7090" y="connsiteY7090"/>
                </a:cxn>
                <a:cxn ang="0">
                  <a:pos x="connsiteX7091" y="connsiteY7091"/>
                </a:cxn>
                <a:cxn ang="0">
                  <a:pos x="connsiteX7092" y="connsiteY7092"/>
                </a:cxn>
                <a:cxn ang="0">
                  <a:pos x="connsiteX7093" y="connsiteY7093"/>
                </a:cxn>
                <a:cxn ang="0">
                  <a:pos x="connsiteX7094" y="connsiteY7094"/>
                </a:cxn>
                <a:cxn ang="0">
                  <a:pos x="connsiteX7095" y="connsiteY7095"/>
                </a:cxn>
                <a:cxn ang="0">
                  <a:pos x="connsiteX7096" y="connsiteY7096"/>
                </a:cxn>
                <a:cxn ang="0">
                  <a:pos x="connsiteX7097" y="connsiteY7097"/>
                </a:cxn>
                <a:cxn ang="0">
                  <a:pos x="connsiteX7098" y="connsiteY7098"/>
                </a:cxn>
                <a:cxn ang="0">
                  <a:pos x="connsiteX7099" y="connsiteY7099"/>
                </a:cxn>
                <a:cxn ang="0">
                  <a:pos x="connsiteX7100" y="connsiteY7100"/>
                </a:cxn>
                <a:cxn ang="0">
                  <a:pos x="connsiteX7101" y="connsiteY7101"/>
                </a:cxn>
                <a:cxn ang="0">
                  <a:pos x="connsiteX7102" y="connsiteY7102"/>
                </a:cxn>
                <a:cxn ang="0">
                  <a:pos x="connsiteX7103" y="connsiteY7103"/>
                </a:cxn>
                <a:cxn ang="0">
                  <a:pos x="connsiteX7104" y="connsiteY7104"/>
                </a:cxn>
                <a:cxn ang="0">
                  <a:pos x="connsiteX7105" y="connsiteY7105"/>
                </a:cxn>
                <a:cxn ang="0">
                  <a:pos x="connsiteX7106" y="connsiteY7106"/>
                </a:cxn>
                <a:cxn ang="0">
                  <a:pos x="connsiteX7107" y="connsiteY7107"/>
                </a:cxn>
                <a:cxn ang="0">
                  <a:pos x="connsiteX7108" y="connsiteY7108"/>
                </a:cxn>
                <a:cxn ang="0">
                  <a:pos x="connsiteX7109" y="connsiteY7109"/>
                </a:cxn>
                <a:cxn ang="0">
                  <a:pos x="connsiteX7110" y="connsiteY7110"/>
                </a:cxn>
                <a:cxn ang="0">
                  <a:pos x="connsiteX7111" y="connsiteY7111"/>
                </a:cxn>
                <a:cxn ang="0">
                  <a:pos x="connsiteX7112" y="connsiteY7112"/>
                </a:cxn>
                <a:cxn ang="0">
                  <a:pos x="connsiteX7113" y="connsiteY7113"/>
                </a:cxn>
                <a:cxn ang="0">
                  <a:pos x="connsiteX7114" y="connsiteY7114"/>
                </a:cxn>
                <a:cxn ang="0">
                  <a:pos x="connsiteX7115" y="connsiteY7115"/>
                </a:cxn>
                <a:cxn ang="0">
                  <a:pos x="connsiteX7116" y="connsiteY7116"/>
                </a:cxn>
                <a:cxn ang="0">
                  <a:pos x="connsiteX7117" y="connsiteY7117"/>
                </a:cxn>
                <a:cxn ang="0">
                  <a:pos x="connsiteX7118" y="connsiteY7118"/>
                </a:cxn>
                <a:cxn ang="0">
                  <a:pos x="connsiteX7119" y="connsiteY7119"/>
                </a:cxn>
                <a:cxn ang="0">
                  <a:pos x="connsiteX7120" y="connsiteY7120"/>
                </a:cxn>
                <a:cxn ang="0">
                  <a:pos x="connsiteX7121" y="connsiteY7121"/>
                </a:cxn>
                <a:cxn ang="0">
                  <a:pos x="connsiteX7122" y="connsiteY7122"/>
                </a:cxn>
                <a:cxn ang="0">
                  <a:pos x="connsiteX7123" y="connsiteY7123"/>
                </a:cxn>
                <a:cxn ang="0">
                  <a:pos x="connsiteX7124" y="connsiteY7124"/>
                </a:cxn>
                <a:cxn ang="0">
                  <a:pos x="connsiteX7125" y="connsiteY7125"/>
                </a:cxn>
                <a:cxn ang="0">
                  <a:pos x="connsiteX7126" y="connsiteY7126"/>
                </a:cxn>
                <a:cxn ang="0">
                  <a:pos x="connsiteX7127" y="connsiteY7127"/>
                </a:cxn>
                <a:cxn ang="0">
                  <a:pos x="connsiteX7128" y="connsiteY7128"/>
                </a:cxn>
                <a:cxn ang="0">
                  <a:pos x="connsiteX7129" y="connsiteY7129"/>
                </a:cxn>
                <a:cxn ang="0">
                  <a:pos x="connsiteX7130" y="connsiteY7130"/>
                </a:cxn>
                <a:cxn ang="0">
                  <a:pos x="connsiteX7131" y="connsiteY7131"/>
                </a:cxn>
                <a:cxn ang="0">
                  <a:pos x="connsiteX7132" y="connsiteY7132"/>
                </a:cxn>
                <a:cxn ang="0">
                  <a:pos x="connsiteX7133" y="connsiteY7133"/>
                </a:cxn>
                <a:cxn ang="0">
                  <a:pos x="connsiteX7134" y="connsiteY7134"/>
                </a:cxn>
                <a:cxn ang="0">
                  <a:pos x="connsiteX7135" y="connsiteY7135"/>
                </a:cxn>
                <a:cxn ang="0">
                  <a:pos x="connsiteX7136" y="connsiteY7136"/>
                </a:cxn>
                <a:cxn ang="0">
                  <a:pos x="connsiteX7137" y="connsiteY7137"/>
                </a:cxn>
                <a:cxn ang="0">
                  <a:pos x="connsiteX7138" y="connsiteY7138"/>
                </a:cxn>
                <a:cxn ang="0">
                  <a:pos x="connsiteX7139" y="connsiteY7139"/>
                </a:cxn>
                <a:cxn ang="0">
                  <a:pos x="connsiteX7140" y="connsiteY7140"/>
                </a:cxn>
                <a:cxn ang="0">
                  <a:pos x="connsiteX7141" y="connsiteY7141"/>
                </a:cxn>
                <a:cxn ang="0">
                  <a:pos x="connsiteX7142" y="connsiteY7142"/>
                </a:cxn>
                <a:cxn ang="0">
                  <a:pos x="connsiteX7143" y="connsiteY7143"/>
                </a:cxn>
                <a:cxn ang="0">
                  <a:pos x="connsiteX7144" y="connsiteY7144"/>
                </a:cxn>
                <a:cxn ang="0">
                  <a:pos x="connsiteX7145" y="connsiteY7145"/>
                </a:cxn>
                <a:cxn ang="0">
                  <a:pos x="connsiteX7146" y="connsiteY7146"/>
                </a:cxn>
                <a:cxn ang="0">
                  <a:pos x="connsiteX7147" y="connsiteY7147"/>
                </a:cxn>
                <a:cxn ang="0">
                  <a:pos x="connsiteX7148" y="connsiteY7148"/>
                </a:cxn>
                <a:cxn ang="0">
                  <a:pos x="connsiteX7149" y="connsiteY7149"/>
                </a:cxn>
                <a:cxn ang="0">
                  <a:pos x="connsiteX7150" y="connsiteY7150"/>
                </a:cxn>
                <a:cxn ang="0">
                  <a:pos x="connsiteX7151" y="connsiteY7151"/>
                </a:cxn>
                <a:cxn ang="0">
                  <a:pos x="connsiteX7152" y="connsiteY7152"/>
                </a:cxn>
                <a:cxn ang="0">
                  <a:pos x="connsiteX7153" y="connsiteY7153"/>
                </a:cxn>
                <a:cxn ang="0">
                  <a:pos x="connsiteX7154" y="connsiteY7154"/>
                </a:cxn>
                <a:cxn ang="0">
                  <a:pos x="connsiteX7155" y="connsiteY7155"/>
                </a:cxn>
                <a:cxn ang="0">
                  <a:pos x="connsiteX7156" y="connsiteY7156"/>
                </a:cxn>
                <a:cxn ang="0">
                  <a:pos x="connsiteX7157" y="connsiteY7157"/>
                </a:cxn>
                <a:cxn ang="0">
                  <a:pos x="connsiteX7158" y="connsiteY7158"/>
                </a:cxn>
                <a:cxn ang="0">
                  <a:pos x="connsiteX7159" y="connsiteY7159"/>
                </a:cxn>
                <a:cxn ang="0">
                  <a:pos x="connsiteX7160" y="connsiteY7160"/>
                </a:cxn>
                <a:cxn ang="0">
                  <a:pos x="connsiteX7161" y="connsiteY7161"/>
                </a:cxn>
                <a:cxn ang="0">
                  <a:pos x="connsiteX7162" y="connsiteY7162"/>
                </a:cxn>
                <a:cxn ang="0">
                  <a:pos x="connsiteX7163" y="connsiteY7163"/>
                </a:cxn>
                <a:cxn ang="0">
                  <a:pos x="connsiteX7164" y="connsiteY7164"/>
                </a:cxn>
                <a:cxn ang="0">
                  <a:pos x="connsiteX7165" y="connsiteY7165"/>
                </a:cxn>
                <a:cxn ang="0">
                  <a:pos x="connsiteX7166" y="connsiteY7166"/>
                </a:cxn>
                <a:cxn ang="0">
                  <a:pos x="connsiteX7167" y="connsiteY7167"/>
                </a:cxn>
                <a:cxn ang="0">
                  <a:pos x="connsiteX7168" y="connsiteY7168"/>
                </a:cxn>
                <a:cxn ang="0">
                  <a:pos x="connsiteX7169" y="connsiteY7169"/>
                </a:cxn>
                <a:cxn ang="0">
                  <a:pos x="connsiteX7170" y="connsiteY7170"/>
                </a:cxn>
                <a:cxn ang="0">
                  <a:pos x="connsiteX7171" y="connsiteY7171"/>
                </a:cxn>
                <a:cxn ang="0">
                  <a:pos x="connsiteX7172" y="connsiteY7172"/>
                </a:cxn>
                <a:cxn ang="0">
                  <a:pos x="connsiteX7173" y="connsiteY7173"/>
                </a:cxn>
                <a:cxn ang="0">
                  <a:pos x="connsiteX7174" y="connsiteY7174"/>
                </a:cxn>
                <a:cxn ang="0">
                  <a:pos x="connsiteX7175" y="connsiteY7175"/>
                </a:cxn>
                <a:cxn ang="0">
                  <a:pos x="connsiteX7176" y="connsiteY7176"/>
                </a:cxn>
                <a:cxn ang="0">
                  <a:pos x="connsiteX7177" y="connsiteY7177"/>
                </a:cxn>
                <a:cxn ang="0">
                  <a:pos x="connsiteX7178" y="connsiteY7178"/>
                </a:cxn>
                <a:cxn ang="0">
                  <a:pos x="connsiteX7179" y="connsiteY7179"/>
                </a:cxn>
                <a:cxn ang="0">
                  <a:pos x="connsiteX7180" y="connsiteY7180"/>
                </a:cxn>
                <a:cxn ang="0">
                  <a:pos x="connsiteX7181" y="connsiteY7181"/>
                </a:cxn>
                <a:cxn ang="0">
                  <a:pos x="connsiteX7182" y="connsiteY7182"/>
                </a:cxn>
                <a:cxn ang="0">
                  <a:pos x="connsiteX7183" y="connsiteY7183"/>
                </a:cxn>
                <a:cxn ang="0">
                  <a:pos x="connsiteX7184" y="connsiteY7184"/>
                </a:cxn>
                <a:cxn ang="0">
                  <a:pos x="connsiteX7185" y="connsiteY7185"/>
                </a:cxn>
                <a:cxn ang="0">
                  <a:pos x="connsiteX7186" y="connsiteY7186"/>
                </a:cxn>
                <a:cxn ang="0">
                  <a:pos x="connsiteX7187" y="connsiteY7187"/>
                </a:cxn>
                <a:cxn ang="0">
                  <a:pos x="connsiteX7188" y="connsiteY7188"/>
                </a:cxn>
                <a:cxn ang="0">
                  <a:pos x="connsiteX7189" y="connsiteY7189"/>
                </a:cxn>
                <a:cxn ang="0">
                  <a:pos x="connsiteX7190" y="connsiteY7190"/>
                </a:cxn>
                <a:cxn ang="0">
                  <a:pos x="connsiteX7191" y="connsiteY7191"/>
                </a:cxn>
                <a:cxn ang="0">
                  <a:pos x="connsiteX7192" y="connsiteY7192"/>
                </a:cxn>
                <a:cxn ang="0">
                  <a:pos x="connsiteX7193" y="connsiteY7193"/>
                </a:cxn>
                <a:cxn ang="0">
                  <a:pos x="connsiteX7194" y="connsiteY7194"/>
                </a:cxn>
                <a:cxn ang="0">
                  <a:pos x="connsiteX7195" y="connsiteY7195"/>
                </a:cxn>
                <a:cxn ang="0">
                  <a:pos x="connsiteX7196" y="connsiteY7196"/>
                </a:cxn>
                <a:cxn ang="0">
                  <a:pos x="connsiteX7197" y="connsiteY7197"/>
                </a:cxn>
                <a:cxn ang="0">
                  <a:pos x="connsiteX7198" y="connsiteY7198"/>
                </a:cxn>
                <a:cxn ang="0">
                  <a:pos x="connsiteX7199" y="connsiteY7199"/>
                </a:cxn>
                <a:cxn ang="0">
                  <a:pos x="connsiteX7200" y="connsiteY7200"/>
                </a:cxn>
                <a:cxn ang="0">
                  <a:pos x="connsiteX7201" y="connsiteY7201"/>
                </a:cxn>
                <a:cxn ang="0">
                  <a:pos x="connsiteX7202" y="connsiteY7202"/>
                </a:cxn>
                <a:cxn ang="0">
                  <a:pos x="connsiteX7203" y="connsiteY7203"/>
                </a:cxn>
                <a:cxn ang="0">
                  <a:pos x="connsiteX7204" y="connsiteY7204"/>
                </a:cxn>
                <a:cxn ang="0">
                  <a:pos x="connsiteX7205" y="connsiteY7205"/>
                </a:cxn>
                <a:cxn ang="0">
                  <a:pos x="connsiteX7206" y="connsiteY7206"/>
                </a:cxn>
                <a:cxn ang="0">
                  <a:pos x="connsiteX7207" y="connsiteY7207"/>
                </a:cxn>
                <a:cxn ang="0">
                  <a:pos x="connsiteX7208" y="connsiteY7208"/>
                </a:cxn>
                <a:cxn ang="0">
                  <a:pos x="connsiteX7209" y="connsiteY7209"/>
                </a:cxn>
                <a:cxn ang="0">
                  <a:pos x="connsiteX7210" y="connsiteY7210"/>
                </a:cxn>
                <a:cxn ang="0">
                  <a:pos x="connsiteX7211" y="connsiteY7211"/>
                </a:cxn>
                <a:cxn ang="0">
                  <a:pos x="connsiteX7212" y="connsiteY7212"/>
                </a:cxn>
                <a:cxn ang="0">
                  <a:pos x="connsiteX7213" y="connsiteY7213"/>
                </a:cxn>
                <a:cxn ang="0">
                  <a:pos x="connsiteX7214" y="connsiteY7214"/>
                </a:cxn>
                <a:cxn ang="0">
                  <a:pos x="connsiteX7215" y="connsiteY7215"/>
                </a:cxn>
                <a:cxn ang="0">
                  <a:pos x="connsiteX7216" y="connsiteY7216"/>
                </a:cxn>
                <a:cxn ang="0">
                  <a:pos x="connsiteX7217" y="connsiteY7217"/>
                </a:cxn>
                <a:cxn ang="0">
                  <a:pos x="connsiteX7218" y="connsiteY7218"/>
                </a:cxn>
                <a:cxn ang="0">
                  <a:pos x="connsiteX7219" y="connsiteY7219"/>
                </a:cxn>
                <a:cxn ang="0">
                  <a:pos x="connsiteX7220" y="connsiteY7220"/>
                </a:cxn>
                <a:cxn ang="0">
                  <a:pos x="connsiteX7221" y="connsiteY7221"/>
                </a:cxn>
                <a:cxn ang="0">
                  <a:pos x="connsiteX7222" y="connsiteY7222"/>
                </a:cxn>
                <a:cxn ang="0">
                  <a:pos x="connsiteX7223" y="connsiteY7223"/>
                </a:cxn>
                <a:cxn ang="0">
                  <a:pos x="connsiteX7224" y="connsiteY7224"/>
                </a:cxn>
                <a:cxn ang="0">
                  <a:pos x="connsiteX7225" y="connsiteY7225"/>
                </a:cxn>
                <a:cxn ang="0">
                  <a:pos x="connsiteX7226" y="connsiteY7226"/>
                </a:cxn>
                <a:cxn ang="0">
                  <a:pos x="connsiteX7227" y="connsiteY7227"/>
                </a:cxn>
                <a:cxn ang="0">
                  <a:pos x="connsiteX7228" y="connsiteY7228"/>
                </a:cxn>
                <a:cxn ang="0">
                  <a:pos x="connsiteX7229" y="connsiteY7229"/>
                </a:cxn>
                <a:cxn ang="0">
                  <a:pos x="connsiteX7230" y="connsiteY7230"/>
                </a:cxn>
                <a:cxn ang="0">
                  <a:pos x="connsiteX7231" y="connsiteY7231"/>
                </a:cxn>
                <a:cxn ang="0">
                  <a:pos x="connsiteX7232" y="connsiteY7232"/>
                </a:cxn>
                <a:cxn ang="0">
                  <a:pos x="connsiteX7233" y="connsiteY7233"/>
                </a:cxn>
                <a:cxn ang="0">
                  <a:pos x="connsiteX7234" y="connsiteY7234"/>
                </a:cxn>
                <a:cxn ang="0">
                  <a:pos x="connsiteX7235" y="connsiteY7235"/>
                </a:cxn>
                <a:cxn ang="0">
                  <a:pos x="connsiteX7236" y="connsiteY7236"/>
                </a:cxn>
                <a:cxn ang="0">
                  <a:pos x="connsiteX7237" y="connsiteY7237"/>
                </a:cxn>
                <a:cxn ang="0">
                  <a:pos x="connsiteX7238" y="connsiteY7238"/>
                </a:cxn>
                <a:cxn ang="0">
                  <a:pos x="connsiteX7239" y="connsiteY7239"/>
                </a:cxn>
                <a:cxn ang="0">
                  <a:pos x="connsiteX7240" y="connsiteY7240"/>
                </a:cxn>
                <a:cxn ang="0">
                  <a:pos x="connsiteX7241" y="connsiteY7241"/>
                </a:cxn>
                <a:cxn ang="0">
                  <a:pos x="connsiteX7242" y="connsiteY7242"/>
                </a:cxn>
                <a:cxn ang="0">
                  <a:pos x="connsiteX7243" y="connsiteY7243"/>
                </a:cxn>
                <a:cxn ang="0">
                  <a:pos x="connsiteX7244" y="connsiteY7244"/>
                </a:cxn>
                <a:cxn ang="0">
                  <a:pos x="connsiteX7245" y="connsiteY7245"/>
                </a:cxn>
                <a:cxn ang="0">
                  <a:pos x="connsiteX7246" y="connsiteY7246"/>
                </a:cxn>
                <a:cxn ang="0">
                  <a:pos x="connsiteX7247" y="connsiteY7247"/>
                </a:cxn>
                <a:cxn ang="0">
                  <a:pos x="connsiteX7248" y="connsiteY7248"/>
                </a:cxn>
                <a:cxn ang="0">
                  <a:pos x="connsiteX7249" y="connsiteY7249"/>
                </a:cxn>
                <a:cxn ang="0">
                  <a:pos x="connsiteX7250" y="connsiteY7250"/>
                </a:cxn>
                <a:cxn ang="0">
                  <a:pos x="connsiteX7251" y="connsiteY7251"/>
                </a:cxn>
                <a:cxn ang="0">
                  <a:pos x="connsiteX7252" y="connsiteY7252"/>
                </a:cxn>
                <a:cxn ang="0">
                  <a:pos x="connsiteX7253" y="connsiteY7253"/>
                </a:cxn>
                <a:cxn ang="0">
                  <a:pos x="connsiteX7254" y="connsiteY7254"/>
                </a:cxn>
                <a:cxn ang="0">
                  <a:pos x="connsiteX7255" y="connsiteY7255"/>
                </a:cxn>
                <a:cxn ang="0">
                  <a:pos x="connsiteX7256" y="connsiteY7256"/>
                </a:cxn>
                <a:cxn ang="0">
                  <a:pos x="connsiteX7257" y="connsiteY7257"/>
                </a:cxn>
                <a:cxn ang="0">
                  <a:pos x="connsiteX7258" y="connsiteY7258"/>
                </a:cxn>
                <a:cxn ang="0">
                  <a:pos x="connsiteX7259" y="connsiteY7259"/>
                </a:cxn>
                <a:cxn ang="0">
                  <a:pos x="connsiteX7260" y="connsiteY7260"/>
                </a:cxn>
                <a:cxn ang="0">
                  <a:pos x="connsiteX7261" y="connsiteY7261"/>
                </a:cxn>
                <a:cxn ang="0">
                  <a:pos x="connsiteX7262" y="connsiteY7262"/>
                </a:cxn>
                <a:cxn ang="0">
                  <a:pos x="connsiteX7263" y="connsiteY7263"/>
                </a:cxn>
                <a:cxn ang="0">
                  <a:pos x="connsiteX7264" y="connsiteY7264"/>
                </a:cxn>
                <a:cxn ang="0">
                  <a:pos x="connsiteX7265" y="connsiteY7265"/>
                </a:cxn>
                <a:cxn ang="0">
                  <a:pos x="connsiteX7266" y="connsiteY7266"/>
                </a:cxn>
                <a:cxn ang="0">
                  <a:pos x="connsiteX7267" y="connsiteY7267"/>
                </a:cxn>
                <a:cxn ang="0">
                  <a:pos x="connsiteX7268" y="connsiteY7268"/>
                </a:cxn>
                <a:cxn ang="0">
                  <a:pos x="connsiteX7269" y="connsiteY7269"/>
                </a:cxn>
                <a:cxn ang="0">
                  <a:pos x="connsiteX7270" y="connsiteY7270"/>
                </a:cxn>
                <a:cxn ang="0">
                  <a:pos x="connsiteX7271" y="connsiteY7271"/>
                </a:cxn>
                <a:cxn ang="0">
                  <a:pos x="connsiteX7272" y="connsiteY7272"/>
                </a:cxn>
                <a:cxn ang="0">
                  <a:pos x="connsiteX7273" y="connsiteY7273"/>
                </a:cxn>
                <a:cxn ang="0">
                  <a:pos x="connsiteX7274" y="connsiteY7274"/>
                </a:cxn>
                <a:cxn ang="0">
                  <a:pos x="connsiteX7275" y="connsiteY7275"/>
                </a:cxn>
                <a:cxn ang="0">
                  <a:pos x="connsiteX7276" y="connsiteY7276"/>
                </a:cxn>
                <a:cxn ang="0">
                  <a:pos x="connsiteX7277" y="connsiteY7277"/>
                </a:cxn>
                <a:cxn ang="0">
                  <a:pos x="connsiteX7278" y="connsiteY7278"/>
                </a:cxn>
                <a:cxn ang="0">
                  <a:pos x="connsiteX7279" y="connsiteY7279"/>
                </a:cxn>
                <a:cxn ang="0">
                  <a:pos x="connsiteX7280" y="connsiteY7280"/>
                </a:cxn>
                <a:cxn ang="0">
                  <a:pos x="connsiteX7281" y="connsiteY7281"/>
                </a:cxn>
                <a:cxn ang="0">
                  <a:pos x="connsiteX7282" y="connsiteY7282"/>
                </a:cxn>
                <a:cxn ang="0">
                  <a:pos x="connsiteX7283" y="connsiteY7283"/>
                </a:cxn>
                <a:cxn ang="0">
                  <a:pos x="connsiteX7284" y="connsiteY7284"/>
                </a:cxn>
                <a:cxn ang="0">
                  <a:pos x="connsiteX7285" y="connsiteY7285"/>
                </a:cxn>
                <a:cxn ang="0">
                  <a:pos x="connsiteX7286" y="connsiteY7286"/>
                </a:cxn>
                <a:cxn ang="0">
                  <a:pos x="connsiteX7287" y="connsiteY7287"/>
                </a:cxn>
                <a:cxn ang="0">
                  <a:pos x="connsiteX7288" y="connsiteY7288"/>
                </a:cxn>
                <a:cxn ang="0">
                  <a:pos x="connsiteX7289" y="connsiteY7289"/>
                </a:cxn>
                <a:cxn ang="0">
                  <a:pos x="connsiteX7290" y="connsiteY7290"/>
                </a:cxn>
                <a:cxn ang="0">
                  <a:pos x="connsiteX7291" y="connsiteY7291"/>
                </a:cxn>
                <a:cxn ang="0">
                  <a:pos x="connsiteX7292" y="connsiteY7292"/>
                </a:cxn>
                <a:cxn ang="0">
                  <a:pos x="connsiteX7293" y="connsiteY7293"/>
                </a:cxn>
                <a:cxn ang="0">
                  <a:pos x="connsiteX7294" y="connsiteY7294"/>
                </a:cxn>
                <a:cxn ang="0">
                  <a:pos x="connsiteX7295" y="connsiteY7295"/>
                </a:cxn>
                <a:cxn ang="0">
                  <a:pos x="connsiteX7296" y="connsiteY7296"/>
                </a:cxn>
                <a:cxn ang="0">
                  <a:pos x="connsiteX7297" y="connsiteY7297"/>
                </a:cxn>
                <a:cxn ang="0">
                  <a:pos x="connsiteX7298" y="connsiteY7298"/>
                </a:cxn>
                <a:cxn ang="0">
                  <a:pos x="connsiteX7299" y="connsiteY7299"/>
                </a:cxn>
                <a:cxn ang="0">
                  <a:pos x="connsiteX7300" y="connsiteY7300"/>
                </a:cxn>
                <a:cxn ang="0">
                  <a:pos x="connsiteX7301" y="connsiteY7301"/>
                </a:cxn>
                <a:cxn ang="0">
                  <a:pos x="connsiteX7302" y="connsiteY7302"/>
                </a:cxn>
                <a:cxn ang="0">
                  <a:pos x="connsiteX7303" y="connsiteY7303"/>
                </a:cxn>
                <a:cxn ang="0">
                  <a:pos x="connsiteX7304" y="connsiteY7304"/>
                </a:cxn>
                <a:cxn ang="0">
                  <a:pos x="connsiteX7305" y="connsiteY7305"/>
                </a:cxn>
                <a:cxn ang="0">
                  <a:pos x="connsiteX7306" y="connsiteY7306"/>
                </a:cxn>
                <a:cxn ang="0">
                  <a:pos x="connsiteX7307" y="connsiteY7307"/>
                </a:cxn>
                <a:cxn ang="0">
                  <a:pos x="connsiteX7308" y="connsiteY7308"/>
                </a:cxn>
                <a:cxn ang="0">
                  <a:pos x="connsiteX7309" y="connsiteY7309"/>
                </a:cxn>
                <a:cxn ang="0">
                  <a:pos x="connsiteX7310" y="connsiteY7310"/>
                </a:cxn>
                <a:cxn ang="0">
                  <a:pos x="connsiteX7311" y="connsiteY7311"/>
                </a:cxn>
                <a:cxn ang="0">
                  <a:pos x="connsiteX7312" y="connsiteY7312"/>
                </a:cxn>
                <a:cxn ang="0">
                  <a:pos x="connsiteX7313" y="connsiteY7313"/>
                </a:cxn>
                <a:cxn ang="0">
                  <a:pos x="connsiteX7314" y="connsiteY7314"/>
                </a:cxn>
                <a:cxn ang="0">
                  <a:pos x="connsiteX7315" y="connsiteY7315"/>
                </a:cxn>
                <a:cxn ang="0">
                  <a:pos x="connsiteX7316" y="connsiteY7316"/>
                </a:cxn>
                <a:cxn ang="0">
                  <a:pos x="connsiteX7317" y="connsiteY7317"/>
                </a:cxn>
                <a:cxn ang="0">
                  <a:pos x="connsiteX7318" y="connsiteY7318"/>
                </a:cxn>
                <a:cxn ang="0">
                  <a:pos x="connsiteX7319" y="connsiteY7319"/>
                </a:cxn>
                <a:cxn ang="0">
                  <a:pos x="connsiteX7320" y="connsiteY7320"/>
                </a:cxn>
                <a:cxn ang="0">
                  <a:pos x="connsiteX7321" y="connsiteY7321"/>
                </a:cxn>
                <a:cxn ang="0">
                  <a:pos x="connsiteX7322" y="connsiteY7322"/>
                </a:cxn>
                <a:cxn ang="0">
                  <a:pos x="connsiteX7323" y="connsiteY7323"/>
                </a:cxn>
                <a:cxn ang="0">
                  <a:pos x="connsiteX7324" y="connsiteY7324"/>
                </a:cxn>
                <a:cxn ang="0">
                  <a:pos x="connsiteX7325" y="connsiteY7325"/>
                </a:cxn>
                <a:cxn ang="0">
                  <a:pos x="connsiteX7326" y="connsiteY7326"/>
                </a:cxn>
                <a:cxn ang="0">
                  <a:pos x="connsiteX7327" y="connsiteY7327"/>
                </a:cxn>
                <a:cxn ang="0">
                  <a:pos x="connsiteX7328" y="connsiteY7328"/>
                </a:cxn>
                <a:cxn ang="0">
                  <a:pos x="connsiteX7329" y="connsiteY7329"/>
                </a:cxn>
                <a:cxn ang="0">
                  <a:pos x="connsiteX7330" y="connsiteY7330"/>
                </a:cxn>
                <a:cxn ang="0">
                  <a:pos x="connsiteX7331" y="connsiteY7331"/>
                </a:cxn>
                <a:cxn ang="0">
                  <a:pos x="connsiteX7332" y="connsiteY7332"/>
                </a:cxn>
                <a:cxn ang="0">
                  <a:pos x="connsiteX7333" y="connsiteY7333"/>
                </a:cxn>
                <a:cxn ang="0">
                  <a:pos x="connsiteX7334" y="connsiteY7334"/>
                </a:cxn>
                <a:cxn ang="0">
                  <a:pos x="connsiteX7335" y="connsiteY7335"/>
                </a:cxn>
                <a:cxn ang="0">
                  <a:pos x="connsiteX7336" y="connsiteY7336"/>
                </a:cxn>
                <a:cxn ang="0">
                  <a:pos x="connsiteX7337" y="connsiteY7337"/>
                </a:cxn>
                <a:cxn ang="0">
                  <a:pos x="connsiteX7338" y="connsiteY7338"/>
                </a:cxn>
                <a:cxn ang="0">
                  <a:pos x="connsiteX7339" y="connsiteY7339"/>
                </a:cxn>
                <a:cxn ang="0">
                  <a:pos x="connsiteX7340" y="connsiteY7340"/>
                </a:cxn>
                <a:cxn ang="0">
                  <a:pos x="connsiteX7341" y="connsiteY7341"/>
                </a:cxn>
                <a:cxn ang="0">
                  <a:pos x="connsiteX7342" y="connsiteY7342"/>
                </a:cxn>
                <a:cxn ang="0">
                  <a:pos x="connsiteX7343" y="connsiteY7343"/>
                </a:cxn>
                <a:cxn ang="0">
                  <a:pos x="connsiteX7344" y="connsiteY7344"/>
                </a:cxn>
                <a:cxn ang="0">
                  <a:pos x="connsiteX7345" y="connsiteY7345"/>
                </a:cxn>
                <a:cxn ang="0">
                  <a:pos x="connsiteX7346" y="connsiteY7346"/>
                </a:cxn>
                <a:cxn ang="0">
                  <a:pos x="connsiteX7347" y="connsiteY7347"/>
                </a:cxn>
                <a:cxn ang="0">
                  <a:pos x="connsiteX7348" y="connsiteY7348"/>
                </a:cxn>
                <a:cxn ang="0">
                  <a:pos x="connsiteX7349" y="connsiteY7349"/>
                </a:cxn>
                <a:cxn ang="0">
                  <a:pos x="connsiteX7350" y="connsiteY7350"/>
                </a:cxn>
                <a:cxn ang="0">
                  <a:pos x="connsiteX7351" y="connsiteY7351"/>
                </a:cxn>
                <a:cxn ang="0">
                  <a:pos x="connsiteX7352" y="connsiteY7352"/>
                </a:cxn>
                <a:cxn ang="0">
                  <a:pos x="connsiteX7353" y="connsiteY7353"/>
                </a:cxn>
                <a:cxn ang="0">
                  <a:pos x="connsiteX7354" y="connsiteY7354"/>
                </a:cxn>
                <a:cxn ang="0">
                  <a:pos x="connsiteX7355" y="connsiteY7355"/>
                </a:cxn>
                <a:cxn ang="0">
                  <a:pos x="connsiteX7356" y="connsiteY7356"/>
                </a:cxn>
                <a:cxn ang="0">
                  <a:pos x="connsiteX7357" y="connsiteY7357"/>
                </a:cxn>
                <a:cxn ang="0">
                  <a:pos x="connsiteX7358" y="connsiteY7358"/>
                </a:cxn>
                <a:cxn ang="0">
                  <a:pos x="connsiteX7359" y="connsiteY7359"/>
                </a:cxn>
                <a:cxn ang="0">
                  <a:pos x="connsiteX7360" y="connsiteY7360"/>
                </a:cxn>
                <a:cxn ang="0">
                  <a:pos x="connsiteX7361" y="connsiteY7361"/>
                </a:cxn>
                <a:cxn ang="0">
                  <a:pos x="connsiteX7362" y="connsiteY7362"/>
                </a:cxn>
                <a:cxn ang="0">
                  <a:pos x="connsiteX7363" y="connsiteY7363"/>
                </a:cxn>
                <a:cxn ang="0">
                  <a:pos x="connsiteX7364" y="connsiteY7364"/>
                </a:cxn>
                <a:cxn ang="0">
                  <a:pos x="connsiteX7365" y="connsiteY7365"/>
                </a:cxn>
                <a:cxn ang="0">
                  <a:pos x="connsiteX7366" y="connsiteY7366"/>
                </a:cxn>
                <a:cxn ang="0">
                  <a:pos x="connsiteX7367" y="connsiteY7367"/>
                </a:cxn>
                <a:cxn ang="0">
                  <a:pos x="connsiteX7368" y="connsiteY7368"/>
                </a:cxn>
                <a:cxn ang="0">
                  <a:pos x="connsiteX7369" y="connsiteY7369"/>
                </a:cxn>
                <a:cxn ang="0">
                  <a:pos x="connsiteX7370" y="connsiteY7370"/>
                </a:cxn>
                <a:cxn ang="0">
                  <a:pos x="connsiteX7371" y="connsiteY7371"/>
                </a:cxn>
                <a:cxn ang="0">
                  <a:pos x="connsiteX7372" y="connsiteY7372"/>
                </a:cxn>
                <a:cxn ang="0">
                  <a:pos x="connsiteX7373" y="connsiteY7373"/>
                </a:cxn>
                <a:cxn ang="0">
                  <a:pos x="connsiteX7374" y="connsiteY7374"/>
                </a:cxn>
                <a:cxn ang="0">
                  <a:pos x="connsiteX7375" y="connsiteY7375"/>
                </a:cxn>
                <a:cxn ang="0">
                  <a:pos x="connsiteX7376" y="connsiteY7376"/>
                </a:cxn>
                <a:cxn ang="0">
                  <a:pos x="connsiteX7377" y="connsiteY7377"/>
                </a:cxn>
                <a:cxn ang="0">
                  <a:pos x="connsiteX7378" y="connsiteY7378"/>
                </a:cxn>
                <a:cxn ang="0">
                  <a:pos x="connsiteX7379" y="connsiteY7379"/>
                </a:cxn>
                <a:cxn ang="0">
                  <a:pos x="connsiteX7380" y="connsiteY7380"/>
                </a:cxn>
                <a:cxn ang="0">
                  <a:pos x="connsiteX7381" y="connsiteY7381"/>
                </a:cxn>
                <a:cxn ang="0">
                  <a:pos x="connsiteX7382" y="connsiteY7382"/>
                </a:cxn>
                <a:cxn ang="0">
                  <a:pos x="connsiteX7383" y="connsiteY7383"/>
                </a:cxn>
                <a:cxn ang="0">
                  <a:pos x="connsiteX7384" y="connsiteY7384"/>
                </a:cxn>
                <a:cxn ang="0">
                  <a:pos x="connsiteX7385" y="connsiteY7385"/>
                </a:cxn>
                <a:cxn ang="0">
                  <a:pos x="connsiteX7386" y="connsiteY7386"/>
                </a:cxn>
                <a:cxn ang="0">
                  <a:pos x="connsiteX7387" y="connsiteY7387"/>
                </a:cxn>
                <a:cxn ang="0">
                  <a:pos x="connsiteX7388" y="connsiteY7388"/>
                </a:cxn>
                <a:cxn ang="0">
                  <a:pos x="connsiteX7389" y="connsiteY7389"/>
                </a:cxn>
                <a:cxn ang="0">
                  <a:pos x="connsiteX7390" y="connsiteY7390"/>
                </a:cxn>
                <a:cxn ang="0">
                  <a:pos x="connsiteX7391" y="connsiteY7391"/>
                </a:cxn>
                <a:cxn ang="0">
                  <a:pos x="connsiteX7392" y="connsiteY7392"/>
                </a:cxn>
                <a:cxn ang="0">
                  <a:pos x="connsiteX7393" y="connsiteY7393"/>
                </a:cxn>
                <a:cxn ang="0">
                  <a:pos x="connsiteX7394" y="connsiteY7394"/>
                </a:cxn>
                <a:cxn ang="0">
                  <a:pos x="connsiteX7395" y="connsiteY7395"/>
                </a:cxn>
                <a:cxn ang="0">
                  <a:pos x="connsiteX7396" y="connsiteY7396"/>
                </a:cxn>
                <a:cxn ang="0">
                  <a:pos x="connsiteX7397" y="connsiteY7397"/>
                </a:cxn>
                <a:cxn ang="0">
                  <a:pos x="connsiteX7398" y="connsiteY7398"/>
                </a:cxn>
                <a:cxn ang="0">
                  <a:pos x="connsiteX7399" y="connsiteY7399"/>
                </a:cxn>
                <a:cxn ang="0">
                  <a:pos x="connsiteX7400" y="connsiteY7400"/>
                </a:cxn>
                <a:cxn ang="0">
                  <a:pos x="connsiteX7401" y="connsiteY7401"/>
                </a:cxn>
                <a:cxn ang="0">
                  <a:pos x="connsiteX7402" y="connsiteY7402"/>
                </a:cxn>
                <a:cxn ang="0">
                  <a:pos x="connsiteX7403" y="connsiteY7403"/>
                </a:cxn>
                <a:cxn ang="0">
                  <a:pos x="connsiteX7404" y="connsiteY7404"/>
                </a:cxn>
                <a:cxn ang="0">
                  <a:pos x="connsiteX7405" y="connsiteY7405"/>
                </a:cxn>
                <a:cxn ang="0">
                  <a:pos x="connsiteX7406" y="connsiteY7406"/>
                </a:cxn>
                <a:cxn ang="0">
                  <a:pos x="connsiteX7407" y="connsiteY7407"/>
                </a:cxn>
                <a:cxn ang="0">
                  <a:pos x="connsiteX7408" y="connsiteY7408"/>
                </a:cxn>
                <a:cxn ang="0">
                  <a:pos x="connsiteX7409" y="connsiteY7409"/>
                </a:cxn>
                <a:cxn ang="0">
                  <a:pos x="connsiteX7410" y="connsiteY7410"/>
                </a:cxn>
                <a:cxn ang="0">
                  <a:pos x="connsiteX7411" y="connsiteY7411"/>
                </a:cxn>
                <a:cxn ang="0">
                  <a:pos x="connsiteX7412" y="connsiteY7412"/>
                </a:cxn>
                <a:cxn ang="0">
                  <a:pos x="connsiteX7413" y="connsiteY7413"/>
                </a:cxn>
                <a:cxn ang="0">
                  <a:pos x="connsiteX7414" y="connsiteY7414"/>
                </a:cxn>
                <a:cxn ang="0">
                  <a:pos x="connsiteX7415" y="connsiteY7415"/>
                </a:cxn>
                <a:cxn ang="0">
                  <a:pos x="connsiteX7416" y="connsiteY7416"/>
                </a:cxn>
                <a:cxn ang="0">
                  <a:pos x="connsiteX7417" y="connsiteY7417"/>
                </a:cxn>
                <a:cxn ang="0">
                  <a:pos x="connsiteX7418" y="connsiteY7418"/>
                </a:cxn>
                <a:cxn ang="0">
                  <a:pos x="connsiteX7419" y="connsiteY7419"/>
                </a:cxn>
                <a:cxn ang="0">
                  <a:pos x="connsiteX7420" y="connsiteY7420"/>
                </a:cxn>
                <a:cxn ang="0">
                  <a:pos x="connsiteX7421" y="connsiteY7421"/>
                </a:cxn>
                <a:cxn ang="0">
                  <a:pos x="connsiteX7422" y="connsiteY7422"/>
                </a:cxn>
                <a:cxn ang="0">
                  <a:pos x="connsiteX7423" y="connsiteY7423"/>
                </a:cxn>
                <a:cxn ang="0">
                  <a:pos x="connsiteX7424" y="connsiteY7424"/>
                </a:cxn>
                <a:cxn ang="0">
                  <a:pos x="connsiteX7425" y="connsiteY7425"/>
                </a:cxn>
                <a:cxn ang="0">
                  <a:pos x="connsiteX7426" y="connsiteY7426"/>
                </a:cxn>
                <a:cxn ang="0">
                  <a:pos x="connsiteX7427" y="connsiteY7427"/>
                </a:cxn>
                <a:cxn ang="0">
                  <a:pos x="connsiteX7428" y="connsiteY7428"/>
                </a:cxn>
                <a:cxn ang="0">
                  <a:pos x="connsiteX7429" y="connsiteY7429"/>
                </a:cxn>
                <a:cxn ang="0">
                  <a:pos x="connsiteX7430" y="connsiteY7430"/>
                </a:cxn>
                <a:cxn ang="0">
                  <a:pos x="connsiteX7431" y="connsiteY7431"/>
                </a:cxn>
                <a:cxn ang="0">
                  <a:pos x="connsiteX7432" y="connsiteY7432"/>
                </a:cxn>
                <a:cxn ang="0">
                  <a:pos x="connsiteX7433" y="connsiteY7433"/>
                </a:cxn>
                <a:cxn ang="0">
                  <a:pos x="connsiteX7434" y="connsiteY7434"/>
                </a:cxn>
                <a:cxn ang="0">
                  <a:pos x="connsiteX7435" y="connsiteY7435"/>
                </a:cxn>
                <a:cxn ang="0">
                  <a:pos x="connsiteX7436" y="connsiteY7436"/>
                </a:cxn>
                <a:cxn ang="0">
                  <a:pos x="connsiteX7437" y="connsiteY7437"/>
                </a:cxn>
                <a:cxn ang="0">
                  <a:pos x="connsiteX7438" y="connsiteY7438"/>
                </a:cxn>
                <a:cxn ang="0">
                  <a:pos x="connsiteX7439" y="connsiteY7439"/>
                </a:cxn>
                <a:cxn ang="0">
                  <a:pos x="connsiteX7440" y="connsiteY7440"/>
                </a:cxn>
                <a:cxn ang="0">
                  <a:pos x="connsiteX7441" y="connsiteY7441"/>
                </a:cxn>
                <a:cxn ang="0">
                  <a:pos x="connsiteX7442" y="connsiteY7442"/>
                </a:cxn>
                <a:cxn ang="0">
                  <a:pos x="connsiteX7443" y="connsiteY7443"/>
                </a:cxn>
                <a:cxn ang="0">
                  <a:pos x="connsiteX7444" y="connsiteY7444"/>
                </a:cxn>
                <a:cxn ang="0">
                  <a:pos x="connsiteX7445" y="connsiteY7445"/>
                </a:cxn>
                <a:cxn ang="0">
                  <a:pos x="connsiteX7446" y="connsiteY7446"/>
                </a:cxn>
                <a:cxn ang="0">
                  <a:pos x="connsiteX7447" y="connsiteY7447"/>
                </a:cxn>
                <a:cxn ang="0">
                  <a:pos x="connsiteX7448" y="connsiteY7448"/>
                </a:cxn>
                <a:cxn ang="0">
                  <a:pos x="connsiteX7449" y="connsiteY7449"/>
                </a:cxn>
                <a:cxn ang="0">
                  <a:pos x="connsiteX7450" y="connsiteY7450"/>
                </a:cxn>
                <a:cxn ang="0">
                  <a:pos x="connsiteX7451" y="connsiteY7451"/>
                </a:cxn>
                <a:cxn ang="0">
                  <a:pos x="connsiteX7452" y="connsiteY7452"/>
                </a:cxn>
                <a:cxn ang="0">
                  <a:pos x="connsiteX7453" y="connsiteY7453"/>
                </a:cxn>
                <a:cxn ang="0">
                  <a:pos x="connsiteX7454" y="connsiteY7454"/>
                </a:cxn>
                <a:cxn ang="0">
                  <a:pos x="connsiteX7455" y="connsiteY7455"/>
                </a:cxn>
                <a:cxn ang="0">
                  <a:pos x="connsiteX7456" y="connsiteY7456"/>
                </a:cxn>
                <a:cxn ang="0">
                  <a:pos x="connsiteX7457" y="connsiteY7457"/>
                </a:cxn>
                <a:cxn ang="0">
                  <a:pos x="connsiteX7458" y="connsiteY7458"/>
                </a:cxn>
                <a:cxn ang="0">
                  <a:pos x="connsiteX7459" y="connsiteY7459"/>
                </a:cxn>
                <a:cxn ang="0">
                  <a:pos x="connsiteX7460" y="connsiteY7460"/>
                </a:cxn>
                <a:cxn ang="0">
                  <a:pos x="connsiteX7461" y="connsiteY7461"/>
                </a:cxn>
                <a:cxn ang="0">
                  <a:pos x="connsiteX7462" y="connsiteY7462"/>
                </a:cxn>
                <a:cxn ang="0">
                  <a:pos x="connsiteX7463" y="connsiteY7463"/>
                </a:cxn>
                <a:cxn ang="0">
                  <a:pos x="connsiteX7464" y="connsiteY7464"/>
                </a:cxn>
                <a:cxn ang="0">
                  <a:pos x="connsiteX7465" y="connsiteY7465"/>
                </a:cxn>
                <a:cxn ang="0">
                  <a:pos x="connsiteX7466" y="connsiteY7466"/>
                </a:cxn>
                <a:cxn ang="0">
                  <a:pos x="connsiteX7467" y="connsiteY7467"/>
                </a:cxn>
                <a:cxn ang="0">
                  <a:pos x="connsiteX7468" y="connsiteY7468"/>
                </a:cxn>
                <a:cxn ang="0">
                  <a:pos x="connsiteX7469" y="connsiteY7469"/>
                </a:cxn>
                <a:cxn ang="0">
                  <a:pos x="connsiteX7470" y="connsiteY7470"/>
                </a:cxn>
                <a:cxn ang="0">
                  <a:pos x="connsiteX7471" y="connsiteY7471"/>
                </a:cxn>
                <a:cxn ang="0">
                  <a:pos x="connsiteX7472" y="connsiteY7472"/>
                </a:cxn>
                <a:cxn ang="0">
                  <a:pos x="connsiteX7473" y="connsiteY7473"/>
                </a:cxn>
                <a:cxn ang="0">
                  <a:pos x="connsiteX7474" y="connsiteY7474"/>
                </a:cxn>
                <a:cxn ang="0">
                  <a:pos x="connsiteX7475" y="connsiteY7475"/>
                </a:cxn>
                <a:cxn ang="0">
                  <a:pos x="connsiteX7476" y="connsiteY7476"/>
                </a:cxn>
                <a:cxn ang="0">
                  <a:pos x="connsiteX7477" y="connsiteY7477"/>
                </a:cxn>
                <a:cxn ang="0">
                  <a:pos x="connsiteX7478" y="connsiteY7478"/>
                </a:cxn>
                <a:cxn ang="0">
                  <a:pos x="connsiteX7479" y="connsiteY7479"/>
                </a:cxn>
                <a:cxn ang="0">
                  <a:pos x="connsiteX7480" y="connsiteY7480"/>
                </a:cxn>
                <a:cxn ang="0">
                  <a:pos x="connsiteX7481" y="connsiteY7481"/>
                </a:cxn>
                <a:cxn ang="0">
                  <a:pos x="connsiteX7482" y="connsiteY7482"/>
                </a:cxn>
                <a:cxn ang="0">
                  <a:pos x="connsiteX7483" y="connsiteY7483"/>
                </a:cxn>
                <a:cxn ang="0">
                  <a:pos x="connsiteX7484" y="connsiteY7484"/>
                </a:cxn>
                <a:cxn ang="0">
                  <a:pos x="connsiteX7485" y="connsiteY7485"/>
                </a:cxn>
                <a:cxn ang="0">
                  <a:pos x="connsiteX7486" y="connsiteY7486"/>
                </a:cxn>
                <a:cxn ang="0">
                  <a:pos x="connsiteX7487" y="connsiteY7487"/>
                </a:cxn>
                <a:cxn ang="0">
                  <a:pos x="connsiteX7488" y="connsiteY7488"/>
                </a:cxn>
                <a:cxn ang="0">
                  <a:pos x="connsiteX7489" y="connsiteY7489"/>
                </a:cxn>
                <a:cxn ang="0">
                  <a:pos x="connsiteX7490" y="connsiteY7490"/>
                </a:cxn>
                <a:cxn ang="0">
                  <a:pos x="connsiteX7491" y="connsiteY7491"/>
                </a:cxn>
                <a:cxn ang="0">
                  <a:pos x="connsiteX7492" y="connsiteY7492"/>
                </a:cxn>
                <a:cxn ang="0">
                  <a:pos x="connsiteX7493" y="connsiteY7493"/>
                </a:cxn>
                <a:cxn ang="0">
                  <a:pos x="connsiteX7494" y="connsiteY7494"/>
                </a:cxn>
                <a:cxn ang="0">
                  <a:pos x="connsiteX7495" y="connsiteY7495"/>
                </a:cxn>
                <a:cxn ang="0">
                  <a:pos x="connsiteX7496" y="connsiteY7496"/>
                </a:cxn>
                <a:cxn ang="0">
                  <a:pos x="connsiteX7497" y="connsiteY7497"/>
                </a:cxn>
                <a:cxn ang="0">
                  <a:pos x="connsiteX7498" y="connsiteY7498"/>
                </a:cxn>
                <a:cxn ang="0">
                  <a:pos x="connsiteX7499" y="connsiteY7499"/>
                </a:cxn>
                <a:cxn ang="0">
                  <a:pos x="connsiteX7500" y="connsiteY7500"/>
                </a:cxn>
                <a:cxn ang="0">
                  <a:pos x="connsiteX7501" y="connsiteY7501"/>
                </a:cxn>
                <a:cxn ang="0">
                  <a:pos x="connsiteX7502" y="connsiteY7502"/>
                </a:cxn>
                <a:cxn ang="0">
                  <a:pos x="connsiteX7503" y="connsiteY7503"/>
                </a:cxn>
                <a:cxn ang="0">
                  <a:pos x="connsiteX7504" y="connsiteY7504"/>
                </a:cxn>
                <a:cxn ang="0">
                  <a:pos x="connsiteX7505" y="connsiteY7505"/>
                </a:cxn>
                <a:cxn ang="0">
                  <a:pos x="connsiteX7506" y="connsiteY7506"/>
                </a:cxn>
                <a:cxn ang="0">
                  <a:pos x="connsiteX7507" y="connsiteY7507"/>
                </a:cxn>
                <a:cxn ang="0">
                  <a:pos x="connsiteX7508" y="connsiteY7508"/>
                </a:cxn>
                <a:cxn ang="0">
                  <a:pos x="connsiteX7509" y="connsiteY7509"/>
                </a:cxn>
                <a:cxn ang="0">
                  <a:pos x="connsiteX7510" y="connsiteY7510"/>
                </a:cxn>
                <a:cxn ang="0">
                  <a:pos x="connsiteX7511" y="connsiteY7511"/>
                </a:cxn>
                <a:cxn ang="0">
                  <a:pos x="connsiteX7512" y="connsiteY7512"/>
                </a:cxn>
                <a:cxn ang="0">
                  <a:pos x="connsiteX7513" y="connsiteY7513"/>
                </a:cxn>
                <a:cxn ang="0">
                  <a:pos x="connsiteX7514" y="connsiteY7514"/>
                </a:cxn>
                <a:cxn ang="0">
                  <a:pos x="connsiteX7515" y="connsiteY7515"/>
                </a:cxn>
                <a:cxn ang="0">
                  <a:pos x="connsiteX7516" y="connsiteY7516"/>
                </a:cxn>
                <a:cxn ang="0">
                  <a:pos x="connsiteX7517" y="connsiteY7517"/>
                </a:cxn>
                <a:cxn ang="0">
                  <a:pos x="connsiteX7518" y="connsiteY7518"/>
                </a:cxn>
                <a:cxn ang="0">
                  <a:pos x="connsiteX7519" y="connsiteY7519"/>
                </a:cxn>
                <a:cxn ang="0">
                  <a:pos x="connsiteX7520" y="connsiteY7520"/>
                </a:cxn>
                <a:cxn ang="0">
                  <a:pos x="connsiteX7521" y="connsiteY7521"/>
                </a:cxn>
                <a:cxn ang="0">
                  <a:pos x="connsiteX7522" y="connsiteY7522"/>
                </a:cxn>
                <a:cxn ang="0">
                  <a:pos x="connsiteX7523" y="connsiteY7523"/>
                </a:cxn>
                <a:cxn ang="0">
                  <a:pos x="connsiteX7524" y="connsiteY7524"/>
                </a:cxn>
                <a:cxn ang="0">
                  <a:pos x="connsiteX7525" y="connsiteY7525"/>
                </a:cxn>
                <a:cxn ang="0">
                  <a:pos x="connsiteX7526" y="connsiteY7526"/>
                </a:cxn>
                <a:cxn ang="0">
                  <a:pos x="connsiteX7527" y="connsiteY7527"/>
                </a:cxn>
                <a:cxn ang="0">
                  <a:pos x="connsiteX7528" y="connsiteY7528"/>
                </a:cxn>
                <a:cxn ang="0">
                  <a:pos x="connsiteX7529" y="connsiteY7529"/>
                </a:cxn>
                <a:cxn ang="0">
                  <a:pos x="connsiteX7530" y="connsiteY7530"/>
                </a:cxn>
                <a:cxn ang="0">
                  <a:pos x="connsiteX7531" y="connsiteY7531"/>
                </a:cxn>
                <a:cxn ang="0">
                  <a:pos x="connsiteX7532" y="connsiteY7532"/>
                </a:cxn>
                <a:cxn ang="0">
                  <a:pos x="connsiteX7533" y="connsiteY7533"/>
                </a:cxn>
                <a:cxn ang="0">
                  <a:pos x="connsiteX7534" y="connsiteY7534"/>
                </a:cxn>
                <a:cxn ang="0">
                  <a:pos x="connsiteX7535" y="connsiteY7535"/>
                </a:cxn>
                <a:cxn ang="0">
                  <a:pos x="connsiteX7536" y="connsiteY7536"/>
                </a:cxn>
                <a:cxn ang="0">
                  <a:pos x="connsiteX7537" y="connsiteY7537"/>
                </a:cxn>
                <a:cxn ang="0">
                  <a:pos x="connsiteX7538" y="connsiteY7538"/>
                </a:cxn>
                <a:cxn ang="0">
                  <a:pos x="connsiteX7539" y="connsiteY7539"/>
                </a:cxn>
                <a:cxn ang="0">
                  <a:pos x="connsiteX7540" y="connsiteY7540"/>
                </a:cxn>
                <a:cxn ang="0">
                  <a:pos x="connsiteX7541" y="connsiteY7541"/>
                </a:cxn>
                <a:cxn ang="0">
                  <a:pos x="connsiteX7542" y="connsiteY7542"/>
                </a:cxn>
                <a:cxn ang="0">
                  <a:pos x="connsiteX7543" y="connsiteY7543"/>
                </a:cxn>
                <a:cxn ang="0">
                  <a:pos x="connsiteX7544" y="connsiteY7544"/>
                </a:cxn>
                <a:cxn ang="0">
                  <a:pos x="connsiteX7545" y="connsiteY7545"/>
                </a:cxn>
                <a:cxn ang="0">
                  <a:pos x="connsiteX7546" y="connsiteY7546"/>
                </a:cxn>
                <a:cxn ang="0">
                  <a:pos x="connsiteX7547" y="connsiteY7547"/>
                </a:cxn>
                <a:cxn ang="0">
                  <a:pos x="connsiteX7548" y="connsiteY7548"/>
                </a:cxn>
                <a:cxn ang="0">
                  <a:pos x="connsiteX7549" y="connsiteY7549"/>
                </a:cxn>
                <a:cxn ang="0">
                  <a:pos x="connsiteX7550" y="connsiteY7550"/>
                </a:cxn>
                <a:cxn ang="0">
                  <a:pos x="connsiteX7551" y="connsiteY7551"/>
                </a:cxn>
                <a:cxn ang="0">
                  <a:pos x="connsiteX7552" y="connsiteY7552"/>
                </a:cxn>
                <a:cxn ang="0">
                  <a:pos x="connsiteX7553" y="connsiteY7553"/>
                </a:cxn>
                <a:cxn ang="0">
                  <a:pos x="connsiteX7554" y="connsiteY7554"/>
                </a:cxn>
                <a:cxn ang="0">
                  <a:pos x="connsiteX7555" y="connsiteY7555"/>
                </a:cxn>
                <a:cxn ang="0">
                  <a:pos x="connsiteX7556" y="connsiteY7556"/>
                </a:cxn>
                <a:cxn ang="0">
                  <a:pos x="connsiteX7557" y="connsiteY7557"/>
                </a:cxn>
                <a:cxn ang="0">
                  <a:pos x="connsiteX7558" y="connsiteY7558"/>
                </a:cxn>
                <a:cxn ang="0">
                  <a:pos x="connsiteX7559" y="connsiteY7559"/>
                </a:cxn>
                <a:cxn ang="0">
                  <a:pos x="connsiteX7560" y="connsiteY7560"/>
                </a:cxn>
                <a:cxn ang="0">
                  <a:pos x="connsiteX7561" y="connsiteY7561"/>
                </a:cxn>
                <a:cxn ang="0">
                  <a:pos x="connsiteX7562" y="connsiteY7562"/>
                </a:cxn>
                <a:cxn ang="0">
                  <a:pos x="connsiteX7563" y="connsiteY7563"/>
                </a:cxn>
                <a:cxn ang="0">
                  <a:pos x="connsiteX7564" y="connsiteY7564"/>
                </a:cxn>
                <a:cxn ang="0">
                  <a:pos x="connsiteX7565" y="connsiteY7565"/>
                </a:cxn>
                <a:cxn ang="0">
                  <a:pos x="connsiteX7566" y="connsiteY7566"/>
                </a:cxn>
                <a:cxn ang="0">
                  <a:pos x="connsiteX7567" y="connsiteY7567"/>
                </a:cxn>
                <a:cxn ang="0">
                  <a:pos x="connsiteX7568" y="connsiteY7568"/>
                </a:cxn>
                <a:cxn ang="0">
                  <a:pos x="connsiteX7569" y="connsiteY7569"/>
                </a:cxn>
                <a:cxn ang="0">
                  <a:pos x="connsiteX7570" y="connsiteY7570"/>
                </a:cxn>
                <a:cxn ang="0">
                  <a:pos x="connsiteX7571" y="connsiteY7571"/>
                </a:cxn>
                <a:cxn ang="0">
                  <a:pos x="connsiteX7572" y="connsiteY7572"/>
                </a:cxn>
                <a:cxn ang="0">
                  <a:pos x="connsiteX7573" y="connsiteY7573"/>
                </a:cxn>
                <a:cxn ang="0">
                  <a:pos x="connsiteX7574" y="connsiteY7574"/>
                </a:cxn>
                <a:cxn ang="0">
                  <a:pos x="connsiteX7575" y="connsiteY7575"/>
                </a:cxn>
                <a:cxn ang="0">
                  <a:pos x="connsiteX7576" y="connsiteY7576"/>
                </a:cxn>
                <a:cxn ang="0">
                  <a:pos x="connsiteX7577" y="connsiteY7577"/>
                </a:cxn>
                <a:cxn ang="0">
                  <a:pos x="connsiteX7578" y="connsiteY7578"/>
                </a:cxn>
                <a:cxn ang="0">
                  <a:pos x="connsiteX7579" y="connsiteY7579"/>
                </a:cxn>
                <a:cxn ang="0">
                  <a:pos x="connsiteX7580" y="connsiteY7580"/>
                </a:cxn>
                <a:cxn ang="0">
                  <a:pos x="connsiteX7581" y="connsiteY7581"/>
                </a:cxn>
                <a:cxn ang="0">
                  <a:pos x="connsiteX7582" y="connsiteY7582"/>
                </a:cxn>
                <a:cxn ang="0">
                  <a:pos x="connsiteX7583" y="connsiteY7583"/>
                </a:cxn>
                <a:cxn ang="0">
                  <a:pos x="connsiteX7584" y="connsiteY7584"/>
                </a:cxn>
                <a:cxn ang="0">
                  <a:pos x="connsiteX7585" y="connsiteY7585"/>
                </a:cxn>
                <a:cxn ang="0">
                  <a:pos x="connsiteX7586" y="connsiteY7586"/>
                </a:cxn>
                <a:cxn ang="0">
                  <a:pos x="connsiteX7587" y="connsiteY7587"/>
                </a:cxn>
                <a:cxn ang="0">
                  <a:pos x="connsiteX7588" y="connsiteY7588"/>
                </a:cxn>
                <a:cxn ang="0">
                  <a:pos x="connsiteX7589" y="connsiteY7589"/>
                </a:cxn>
                <a:cxn ang="0">
                  <a:pos x="connsiteX7590" y="connsiteY7590"/>
                </a:cxn>
                <a:cxn ang="0">
                  <a:pos x="connsiteX7591" y="connsiteY7591"/>
                </a:cxn>
                <a:cxn ang="0">
                  <a:pos x="connsiteX7592" y="connsiteY7592"/>
                </a:cxn>
                <a:cxn ang="0">
                  <a:pos x="connsiteX7593" y="connsiteY7593"/>
                </a:cxn>
                <a:cxn ang="0">
                  <a:pos x="connsiteX7594" y="connsiteY7594"/>
                </a:cxn>
                <a:cxn ang="0">
                  <a:pos x="connsiteX7595" y="connsiteY7595"/>
                </a:cxn>
                <a:cxn ang="0">
                  <a:pos x="connsiteX7596" y="connsiteY7596"/>
                </a:cxn>
                <a:cxn ang="0">
                  <a:pos x="connsiteX7597" y="connsiteY7597"/>
                </a:cxn>
                <a:cxn ang="0">
                  <a:pos x="connsiteX7598" y="connsiteY7598"/>
                </a:cxn>
                <a:cxn ang="0">
                  <a:pos x="connsiteX7599" y="connsiteY7599"/>
                </a:cxn>
                <a:cxn ang="0">
                  <a:pos x="connsiteX7600" y="connsiteY7600"/>
                </a:cxn>
                <a:cxn ang="0">
                  <a:pos x="connsiteX7601" y="connsiteY7601"/>
                </a:cxn>
                <a:cxn ang="0">
                  <a:pos x="connsiteX7602" y="connsiteY7602"/>
                </a:cxn>
                <a:cxn ang="0">
                  <a:pos x="connsiteX7603" y="connsiteY7603"/>
                </a:cxn>
                <a:cxn ang="0">
                  <a:pos x="connsiteX7604" y="connsiteY7604"/>
                </a:cxn>
                <a:cxn ang="0">
                  <a:pos x="connsiteX7605" y="connsiteY7605"/>
                </a:cxn>
                <a:cxn ang="0">
                  <a:pos x="connsiteX7606" y="connsiteY7606"/>
                </a:cxn>
                <a:cxn ang="0">
                  <a:pos x="connsiteX7607" y="connsiteY7607"/>
                </a:cxn>
                <a:cxn ang="0">
                  <a:pos x="connsiteX7608" y="connsiteY7608"/>
                </a:cxn>
                <a:cxn ang="0">
                  <a:pos x="connsiteX7609" y="connsiteY7609"/>
                </a:cxn>
                <a:cxn ang="0">
                  <a:pos x="connsiteX7610" y="connsiteY7610"/>
                </a:cxn>
                <a:cxn ang="0">
                  <a:pos x="connsiteX7611" y="connsiteY7611"/>
                </a:cxn>
                <a:cxn ang="0">
                  <a:pos x="connsiteX7612" y="connsiteY7612"/>
                </a:cxn>
                <a:cxn ang="0">
                  <a:pos x="connsiteX7613" y="connsiteY7613"/>
                </a:cxn>
                <a:cxn ang="0">
                  <a:pos x="connsiteX7614" y="connsiteY7614"/>
                </a:cxn>
                <a:cxn ang="0">
                  <a:pos x="connsiteX7615" y="connsiteY7615"/>
                </a:cxn>
                <a:cxn ang="0">
                  <a:pos x="connsiteX7616" y="connsiteY7616"/>
                </a:cxn>
                <a:cxn ang="0">
                  <a:pos x="connsiteX7617" y="connsiteY7617"/>
                </a:cxn>
                <a:cxn ang="0">
                  <a:pos x="connsiteX7618" y="connsiteY7618"/>
                </a:cxn>
                <a:cxn ang="0">
                  <a:pos x="connsiteX7619" y="connsiteY7619"/>
                </a:cxn>
                <a:cxn ang="0">
                  <a:pos x="connsiteX7620" y="connsiteY7620"/>
                </a:cxn>
                <a:cxn ang="0">
                  <a:pos x="connsiteX7621" y="connsiteY7621"/>
                </a:cxn>
                <a:cxn ang="0">
                  <a:pos x="connsiteX7622" y="connsiteY7622"/>
                </a:cxn>
                <a:cxn ang="0">
                  <a:pos x="connsiteX7623" y="connsiteY7623"/>
                </a:cxn>
                <a:cxn ang="0">
                  <a:pos x="connsiteX7624" y="connsiteY7624"/>
                </a:cxn>
                <a:cxn ang="0">
                  <a:pos x="connsiteX7625" y="connsiteY7625"/>
                </a:cxn>
                <a:cxn ang="0">
                  <a:pos x="connsiteX7626" y="connsiteY7626"/>
                </a:cxn>
                <a:cxn ang="0">
                  <a:pos x="connsiteX7627" y="connsiteY7627"/>
                </a:cxn>
                <a:cxn ang="0">
                  <a:pos x="connsiteX7628" y="connsiteY7628"/>
                </a:cxn>
                <a:cxn ang="0">
                  <a:pos x="connsiteX7629" y="connsiteY7629"/>
                </a:cxn>
                <a:cxn ang="0">
                  <a:pos x="connsiteX7630" y="connsiteY7630"/>
                </a:cxn>
                <a:cxn ang="0">
                  <a:pos x="connsiteX7631" y="connsiteY7631"/>
                </a:cxn>
                <a:cxn ang="0">
                  <a:pos x="connsiteX7632" y="connsiteY7632"/>
                </a:cxn>
                <a:cxn ang="0">
                  <a:pos x="connsiteX7633" y="connsiteY7633"/>
                </a:cxn>
                <a:cxn ang="0">
                  <a:pos x="connsiteX7634" y="connsiteY7634"/>
                </a:cxn>
                <a:cxn ang="0">
                  <a:pos x="connsiteX7635" y="connsiteY7635"/>
                </a:cxn>
                <a:cxn ang="0">
                  <a:pos x="connsiteX7636" y="connsiteY7636"/>
                </a:cxn>
                <a:cxn ang="0">
                  <a:pos x="connsiteX7637" y="connsiteY7637"/>
                </a:cxn>
                <a:cxn ang="0">
                  <a:pos x="connsiteX7638" y="connsiteY7638"/>
                </a:cxn>
                <a:cxn ang="0">
                  <a:pos x="connsiteX7639" y="connsiteY7639"/>
                </a:cxn>
                <a:cxn ang="0">
                  <a:pos x="connsiteX7640" y="connsiteY7640"/>
                </a:cxn>
                <a:cxn ang="0">
                  <a:pos x="connsiteX7641" y="connsiteY7641"/>
                </a:cxn>
                <a:cxn ang="0">
                  <a:pos x="connsiteX7642" y="connsiteY7642"/>
                </a:cxn>
                <a:cxn ang="0">
                  <a:pos x="connsiteX7643" y="connsiteY7643"/>
                </a:cxn>
                <a:cxn ang="0">
                  <a:pos x="connsiteX7644" y="connsiteY7644"/>
                </a:cxn>
                <a:cxn ang="0">
                  <a:pos x="connsiteX7645" y="connsiteY7645"/>
                </a:cxn>
                <a:cxn ang="0">
                  <a:pos x="connsiteX7646" y="connsiteY7646"/>
                </a:cxn>
                <a:cxn ang="0">
                  <a:pos x="connsiteX7647" y="connsiteY7647"/>
                </a:cxn>
                <a:cxn ang="0">
                  <a:pos x="connsiteX7648" y="connsiteY7648"/>
                </a:cxn>
                <a:cxn ang="0">
                  <a:pos x="connsiteX7649" y="connsiteY7649"/>
                </a:cxn>
                <a:cxn ang="0">
                  <a:pos x="connsiteX7650" y="connsiteY7650"/>
                </a:cxn>
                <a:cxn ang="0">
                  <a:pos x="connsiteX7651" y="connsiteY7651"/>
                </a:cxn>
                <a:cxn ang="0">
                  <a:pos x="connsiteX7652" y="connsiteY7652"/>
                </a:cxn>
                <a:cxn ang="0">
                  <a:pos x="connsiteX7653" y="connsiteY7653"/>
                </a:cxn>
                <a:cxn ang="0">
                  <a:pos x="connsiteX7654" y="connsiteY7654"/>
                </a:cxn>
                <a:cxn ang="0">
                  <a:pos x="connsiteX7655" y="connsiteY7655"/>
                </a:cxn>
                <a:cxn ang="0">
                  <a:pos x="connsiteX7656" y="connsiteY7656"/>
                </a:cxn>
                <a:cxn ang="0">
                  <a:pos x="connsiteX7657" y="connsiteY7657"/>
                </a:cxn>
                <a:cxn ang="0">
                  <a:pos x="connsiteX7658" y="connsiteY7658"/>
                </a:cxn>
                <a:cxn ang="0">
                  <a:pos x="connsiteX7659" y="connsiteY7659"/>
                </a:cxn>
                <a:cxn ang="0">
                  <a:pos x="connsiteX7660" y="connsiteY7660"/>
                </a:cxn>
                <a:cxn ang="0">
                  <a:pos x="connsiteX7661" y="connsiteY7661"/>
                </a:cxn>
                <a:cxn ang="0">
                  <a:pos x="connsiteX7662" y="connsiteY7662"/>
                </a:cxn>
                <a:cxn ang="0">
                  <a:pos x="connsiteX7663" y="connsiteY7663"/>
                </a:cxn>
                <a:cxn ang="0">
                  <a:pos x="connsiteX7664" y="connsiteY7664"/>
                </a:cxn>
                <a:cxn ang="0">
                  <a:pos x="connsiteX7665" y="connsiteY7665"/>
                </a:cxn>
                <a:cxn ang="0">
                  <a:pos x="connsiteX7666" y="connsiteY7666"/>
                </a:cxn>
                <a:cxn ang="0">
                  <a:pos x="connsiteX7667" y="connsiteY7667"/>
                </a:cxn>
                <a:cxn ang="0">
                  <a:pos x="connsiteX7668" y="connsiteY7668"/>
                </a:cxn>
                <a:cxn ang="0">
                  <a:pos x="connsiteX7669" y="connsiteY7669"/>
                </a:cxn>
                <a:cxn ang="0">
                  <a:pos x="connsiteX7670" y="connsiteY7670"/>
                </a:cxn>
                <a:cxn ang="0">
                  <a:pos x="connsiteX7671" y="connsiteY7671"/>
                </a:cxn>
                <a:cxn ang="0">
                  <a:pos x="connsiteX7672" y="connsiteY7672"/>
                </a:cxn>
                <a:cxn ang="0">
                  <a:pos x="connsiteX7673" y="connsiteY7673"/>
                </a:cxn>
                <a:cxn ang="0">
                  <a:pos x="connsiteX7674" y="connsiteY7674"/>
                </a:cxn>
                <a:cxn ang="0">
                  <a:pos x="connsiteX7675" y="connsiteY7675"/>
                </a:cxn>
                <a:cxn ang="0">
                  <a:pos x="connsiteX7676" y="connsiteY7676"/>
                </a:cxn>
                <a:cxn ang="0">
                  <a:pos x="connsiteX7677" y="connsiteY7677"/>
                </a:cxn>
                <a:cxn ang="0">
                  <a:pos x="connsiteX7678" y="connsiteY7678"/>
                </a:cxn>
                <a:cxn ang="0">
                  <a:pos x="connsiteX7679" y="connsiteY7679"/>
                </a:cxn>
                <a:cxn ang="0">
                  <a:pos x="connsiteX7680" y="connsiteY7680"/>
                </a:cxn>
                <a:cxn ang="0">
                  <a:pos x="connsiteX7681" y="connsiteY7681"/>
                </a:cxn>
                <a:cxn ang="0">
                  <a:pos x="connsiteX7682" y="connsiteY7682"/>
                </a:cxn>
                <a:cxn ang="0">
                  <a:pos x="connsiteX7683" y="connsiteY7683"/>
                </a:cxn>
                <a:cxn ang="0">
                  <a:pos x="connsiteX7684" y="connsiteY7684"/>
                </a:cxn>
                <a:cxn ang="0">
                  <a:pos x="connsiteX7685" y="connsiteY7685"/>
                </a:cxn>
                <a:cxn ang="0">
                  <a:pos x="connsiteX7686" y="connsiteY7686"/>
                </a:cxn>
                <a:cxn ang="0">
                  <a:pos x="connsiteX7687" y="connsiteY7687"/>
                </a:cxn>
                <a:cxn ang="0">
                  <a:pos x="connsiteX7688" y="connsiteY7688"/>
                </a:cxn>
                <a:cxn ang="0">
                  <a:pos x="connsiteX7689" y="connsiteY7689"/>
                </a:cxn>
                <a:cxn ang="0">
                  <a:pos x="connsiteX7690" y="connsiteY7690"/>
                </a:cxn>
                <a:cxn ang="0">
                  <a:pos x="connsiteX7691" y="connsiteY7691"/>
                </a:cxn>
                <a:cxn ang="0">
                  <a:pos x="connsiteX7692" y="connsiteY7692"/>
                </a:cxn>
                <a:cxn ang="0">
                  <a:pos x="connsiteX7693" y="connsiteY7693"/>
                </a:cxn>
                <a:cxn ang="0">
                  <a:pos x="connsiteX7694" y="connsiteY7694"/>
                </a:cxn>
                <a:cxn ang="0">
                  <a:pos x="connsiteX7695" y="connsiteY7695"/>
                </a:cxn>
                <a:cxn ang="0">
                  <a:pos x="connsiteX7696" y="connsiteY7696"/>
                </a:cxn>
                <a:cxn ang="0">
                  <a:pos x="connsiteX7697" y="connsiteY7697"/>
                </a:cxn>
                <a:cxn ang="0">
                  <a:pos x="connsiteX7698" y="connsiteY7698"/>
                </a:cxn>
                <a:cxn ang="0">
                  <a:pos x="connsiteX7699" y="connsiteY7699"/>
                </a:cxn>
                <a:cxn ang="0">
                  <a:pos x="connsiteX7700" y="connsiteY7700"/>
                </a:cxn>
                <a:cxn ang="0">
                  <a:pos x="connsiteX7701" y="connsiteY7701"/>
                </a:cxn>
                <a:cxn ang="0">
                  <a:pos x="connsiteX7702" y="connsiteY7702"/>
                </a:cxn>
                <a:cxn ang="0">
                  <a:pos x="connsiteX7703" y="connsiteY7703"/>
                </a:cxn>
                <a:cxn ang="0">
                  <a:pos x="connsiteX7704" y="connsiteY7704"/>
                </a:cxn>
                <a:cxn ang="0">
                  <a:pos x="connsiteX7705" y="connsiteY7705"/>
                </a:cxn>
                <a:cxn ang="0">
                  <a:pos x="connsiteX7706" y="connsiteY7706"/>
                </a:cxn>
                <a:cxn ang="0">
                  <a:pos x="connsiteX7707" y="connsiteY7707"/>
                </a:cxn>
                <a:cxn ang="0">
                  <a:pos x="connsiteX7708" y="connsiteY7708"/>
                </a:cxn>
                <a:cxn ang="0">
                  <a:pos x="connsiteX7709" y="connsiteY7709"/>
                </a:cxn>
                <a:cxn ang="0">
                  <a:pos x="connsiteX7710" y="connsiteY7710"/>
                </a:cxn>
                <a:cxn ang="0">
                  <a:pos x="connsiteX7711" y="connsiteY7711"/>
                </a:cxn>
                <a:cxn ang="0">
                  <a:pos x="connsiteX7712" y="connsiteY7712"/>
                </a:cxn>
                <a:cxn ang="0">
                  <a:pos x="connsiteX7713" y="connsiteY7713"/>
                </a:cxn>
                <a:cxn ang="0">
                  <a:pos x="connsiteX7714" y="connsiteY7714"/>
                </a:cxn>
                <a:cxn ang="0">
                  <a:pos x="connsiteX7715" y="connsiteY7715"/>
                </a:cxn>
                <a:cxn ang="0">
                  <a:pos x="connsiteX7716" y="connsiteY7716"/>
                </a:cxn>
                <a:cxn ang="0">
                  <a:pos x="connsiteX7717" y="connsiteY7717"/>
                </a:cxn>
                <a:cxn ang="0">
                  <a:pos x="connsiteX7718" y="connsiteY7718"/>
                </a:cxn>
                <a:cxn ang="0">
                  <a:pos x="connsiteX7719" y="connsiteY7719"/>
                </a:cxn>
                <a:cxn ang="0">
                  <a:pos x="connsiteX7720" y="connsiteY7720"/>
                </a:cxn>
                <a:cxn ang="0">
                  <a:pos x="connsiteX7721" y="connsiteY7721"/>
                </a:cxn>
                <a:cxn ang="0">
                  <a:pos x="connsiteX7722" y="connsiteY7722"/>
                </a:cxn>
                <a:cxn ang="0">
                  <a:pos x="connsiteX7723" y="connsiteY7723"/>
                </a:cxn>
                <a:cxn ang="0">
                  <a:pos x="connsiteX7724" y="connsiteY7724"/>
                </a:cxn>
                <a:cxn ang="0">
                  <a:pos x="connsiteX7725" y="connsiteY7725"/>
                </a:cxn>
                <a:cxn ang="0">
                  <a:pos x="connsiteX7726" y="connsiteY7726"/>
                </a:cxn>
                <a:cxn ang="0">
                  <a:pos x="connsiteX7727" y="connsiteY7727"/>
                </a:cxn>
                <a:cxn ang="0">
                  <a:pos x="connsiteX7728" y="connsiteY7728"/>
                </a:cxn>
                <a:cxn ang="0">
                  <a:pos x="connsiteX7729" y="connsiteY7729"/>
                </a:cxn>
                <a:cxn ang="0">
                  <a:pos x="connsiteX7730" y="connsiteY7730"/>
                </a:cxn>
                <a:cxn ang="0">
                  <a:pos x="connsiteX7731" y="connsiteY7731"/>
                </a:cxn>
                <a:cxn ang="0">
                  <a:pos x="connsiteX7732" y="connsiteY7732"/>
                </a:cxn>
                <a:cxn ang="0">
                  <a:pos x="connsiteX7733" y="connsiteY7733"/>
                </a:cxn>
                <a:cxn ang="0">
                  <a:pos x="connsiteX7734" y="connsiteY7734"/>
                </a:cxn>
                <a:cxn ang="0">
                  <a:pos x="connsiteX7735" y="connsiteY7735"/>
                </a:cxn>
                <a:cxn ang="0">
                  <a:pos x="connsiteX7736" y="connsiteY7736"/>
                </a:cxn>
                <a:cxn ang="0">
                  <a:pos x="connsiteX7737" y="connsiteY7737"/>
                </a:cxn>
                <a:cxn ang="0">
                  <a:pos x="connsiteX7738" y="connsiteY7738"/>
                </a:cxn>
                <a:cxn ang="0">
                  <a:pos x="connsiteX7739" y="connsiteY7739"/>
                </a:cxn>
                <a:cxn ang="0">
                  <a:pos x="connsiteX7740" y="connsiteY7740"/>
                </a:cxn>
                <a:cxn ang="0">
                  <a:pos x="connsiteX7741" y="connsiteY7741"/>
                </a:cxn>
                <a:cxn ang="0">
                  <a:pos x="connsiteX7742" y="connsiteY7742"/>
                </a:cxn>
                <a:cxn ang="0">
                  <a:pos x="connsiteX7743" y="connsiteY7743"/>
                </a:cxn>
                <a:cxn ang="0">
                  <a:pos x="connsiteX7744" y="connsiteY7744"/>
                </a:cxn>
                <a:cxn ang="0">
                  <a:pos x="connsiteX7745" y="connsiteY7745"/>
                </a:cxn>
                <a:cxn ang="0">
                  <a:pos x="connsiteX7746" y="connsiteY7746"/>
                </a:cxn>
                <a:cxn ang="0">
                  <a:pos x="connsiteX7747" y="connsiteY7747"/>
                </a:cxn>
                <a:cxn ang="0">
                  <a:pos x="connsiteX7748" y="connsiteY7748"/>
                </a:cxn>
                <a:cxn ang="0">
                  <a:pos x="connsiteX7749" y="connsiteY7749"/>
                </a:cxn>
                <a:cxn ang="0">
                  <a:pos x="connsiteX7750" y="connsiteY7750"/>
                </a:cxn>
                <a:cxn ang="0">
                  <a:pos x="connsiteX7751" y="connsiteY7751"/>
                </a:cxn>
                <a:cxn ang="0">
                  <a:pos x="connsiteX7752" y="connsiteY7752"/>
                </a:cxn>
                <a:cxn ang="0">
                  <a:pos x="connsiteX7753" y="connsiteY7753"/>
                </a:cxn>
                <a:cxn ang="0">
                  <a:pos x="connsiteX7754" y="connsiteY7754"/>
                </a:cxn>
                <a:cxn ang="0">
                  <a:pos x="connsiteX7755" y="connsiteY7755"/>
                </a:cxn>
                <a:cxn ang="0">
                  <a:pos x="connsiteX7756" y="connsiteY7756"/>
                </a:cxn>
                <a:cxn ang="0">
                  <a:pos x="connsiteX7757" y="connsiteY7757"/>
                </a:cxn>
                <a:cxn ang="0">
                  <a:pos x="connsiteX7758" y="connsiteY7758"/>
                </a:cxn>
                <a:cxn ang="0">
                  <a:pos x="connsiteX7759" y="connsiteY7759"/>
                </a:cxn>
                <a:cxn ang="0">
                  <a:pos x="connsiteX7760" y="connsiteY7760"/>
                </a:cxn>
                <a:cxn ang="0">
                  <a:pos x="connsiteX7761" y="connsiteY7761"/>
                </a:cxn>
                <a:cxn ang="0">
                  <a:pos x="connsiteX7762" y="connsiteY7762"/>
                </a:cxn>
                <a:cxn ang="0">
                  <a:pos x="connsiteX7763" y="connsiteY7763"/>
                </a:cxn>
                <a:cxn ang="0">
                  <a:pos x="connsiteX7764" y="connsiteY7764"/>
                </a:cxn>
                <a:cxn ang="0">
                  <a:pos x="connsiteX7765" y="connsiteY7765"/>
                </a:cxn>
                <a:cxn ang="0">
                  <a:pos x="connsiteX7766" y="connsiteY7766"/>
                </a:cxn>
                <a:cxn ang="0">
                  <a:pos x="connsiteX7767" y="connsiteY7767"/>
                </a:cxn>
                <a:cxn ang="0">
                  <a:pos x="connsiteX7768" y="connsiteY7768"/>
                </a:cxn>
                <a:cxn ang="0">
                  <a:pos x="connsiteX7769" y="connsiteY7769"/>
                </a:cxn>
                <a:cxn ang="0">
                  <a:pos x="connsiteX7770" y="connsiteY7770"/>
                </a:cxn>
                <a:cxn ang="0">
                  <a:pos x="connsiteX7771" y="connsiteY7771"/>
                </a:cxn>
                <a:cxn ang="0">
                  <a:pos x="connsiteX7772" y="connsiteY7772"/>
                </a:cxn>
                <a:cxn ang="0">
                  <a:pos x="connsiteX7773" y="connsiteY7773"/>
                </a:cxn>
                <a:cxn ang="0">
                  <a:pos x="connsiteX7774" y="connsiteY7774"/>
                </a:cxn>
                <a:cxn ang="0">
                  <a:pos x="connsiteX7775" y="connsiteY7775"/>
                </a:cxn>
                <a:cxn ang="0">
                  <a:pos x="connsiteX7776" y="connsiteY7776"/>
                </a:cxn>
                <a:cxn ang="0">
                  <a:pos x="connsiteX7777" y="connsiteY7777"/>
                </a:cxn>
                <a:cxn ang="0">
                  <a:pos x="connsiteX7778" y="connsiteY7778"/>
                </a:cxn>
                <a:cxn ang="0">
                  <a:pos x="connsiteX7779" y="connsiteY7779"/>
                </a:cxn>
                <a:cxn ang="0">
                  <a:pos x="connsiteX7780" y="connsiteY7780"/>
                </a:cxn>
                <a:cxn ang="0">
                  <a:pos x="connsiteX7781" y="connsiteY7781"/>
                </a:cxn>
                <a:cxn ang="0">
                  <a:pos x="connsiteX7782" y="connsiteY7782"/>
                </a:cxn>
                <a:cxn ang="0">
                  <a:pos x="connsiteX7783" y="connsiteY7783"/>
                </a:cxn>
                <a:cxn ang="0">
                  <a:pos x="connsiteX7784" y="connsiteY7784"/>
                </a:cxn>
                <a:cxn ang="0">
                  <a:pos x="connsiteX7785" y="connsiteY7785"/>
                </a:cxn>
                <a:cxn ang="0">
                  <a:pos x="connsiteX7786" y="connsiteY7786"/>
                </a:cxn>
                <a:cxn ang="0">
                  <a:pos x="connsiteX7787" y="connsiteY7787"/>
                </a:cxn>
                <a:cxn ang="0">
                  <a:pos x="connsiteX7788" y="connsiteY7788"/>
                </a:cxn>
                <a:cxn ang="0">
                  <a:pos x="connsiteX7789" y="connsiteY7789"/>
                </a:cxn>
                <a:cxn ang="0">
                  <a:pos x="connsiteX7790" y="connsiteY7790"/>
                </a:cxn>
                <a:cxn ang="0">
                  <a:pos x="connsiteX7791" y="connsiteY7791"/>
                </a:cxn>
                <a:cxn ang="0">
                  <a:pos x="connsiteX7792" y="connsiteY7792"/>
                </a:cxn>
                <a:cxn ang="0">
                  <a:pos x="connsiteX7793" y="connsiteY7793"/>
                </a:cxn>
                <a:cxn ang="0">
                  <a:pos x="connsiteX7794" y="connsiteY7794"/>
                </a:cxn>
                <a:cxn ang="0">
                  <a:pos x="connsiteX7795" y="connsiteY7795"/>
                </a:cxn>
                <a:cxn ang="0">
                  <a:pos x="connsiteX7796" y="connsiteY7796"/>
                </a:cxn>
                <a:cxn ang="0">
                  <a:pos x="connsiteX7797" y="connsiteY7797"/>
                </a:cxn>
                <a:cxn ang="0">
                  <a:pos x="connsiteX7798" y="connsiteY7798"/>
                </a:cxn>
                <a:cxn ang="0">
                  <a:pos x="connsiteX7799" y="connsiteY7799"/>
                </a:cxn>
                <a:cxn ang="0">
                  <a:pos x="connsiteX7800" y="connsiteY7800"/>
                </a:cxn>
                <a:cxn ang="0">
                  <a:pos x="connsiteX7801" y="connsiteY7801"/>
                </a:cxn>
                <a:cxn ang="0">
                  <a:pos x="connsiteX7802" y="connsiteY7802"/>
                </a:cxn>
                <a:cxn ang="0">
                  <a:pos x="connsiteX7803" y="connsiteY7803"/>
                </a:cxn>
                <a:cxn ang="0">
                  <a:pos x="connsiteX7804" y="connsiteY7804"/>
                </a:cxn>
                <a:cxn ang="0">
                  <a:pos x="connsiteX7805" y="connsiteY7805"/>
                </a:cxn>
                <a:cxn ang="0">
                  <a:pos x="connsiteX7806" y="connsiteY7806"/>
                </a:cxn>
                <a:cxn ang="0">
                  <a:pos x="connsiteX7807" y="connsiteY7807"/>
                </a:cxn>
                <a:cxn ang="0">
                  <a:pos x="connsiteX7808" y="connsiteY7808"/>
                </a:cxn>
                <a:cxn ang="0">
                  <a:pos x="connsiteX7809" y="connsiteY7809"/>
                </a:cxn>
                <a:cxn ang="0">
                  <a:pos x="connsiteX7810" y="connsiteY7810"/>
                </a:cxn>
                <a:cxn ang="0">
                  <a:pos x="connsiteX7811" y="connsiteY7811"/>
                </a:cxn>
                <a:cxn ang="0">
                  <a:pos x="connsiteX7812" y="connsiteY7812"/>
                </a:cxn>
                <a:cxn ang="0">
                  <a:pos x="connsiteX7813" y="connsiteY7813"/>
                </a:cxn>
                <a:cxn ang="0">
                  <a:pos x="connsiteX7814" y="connsiteY7814"/>
                </a:cxn>
                <a:cxn ang="0">
                  <a:pos x="connsiteX7815" y="connsiteY7815"/>
                </a:cxn>
                <a:cxn ang="0">
                  <a:pos x="connsiteX7816" y="connsiteY7816"/>
                </a:cxn>
                <a:cxn ang="0">
                  <a:pos x="connsiteX7817" y="connsiteY7817"/>
                </a:cxn>
                <a:cxn ang="0">
                  <a:pos x="connsiteX7818" y="connsiteY7818"/>
                </a:cxn>
                <a:cxn ang="0">
                  <a:pos x="connsiteX7819" y="connsiteY7819"/>
                </a:cxn>
                <a:cxn ang="0">
                  <a:pos x="connsiteX7820" y="connsiteY7820"/>
                </a:cxn>
                <a:cxn ang="0">
                  <a:pos x="connsiteX7821" y="connsiteY7821"/>
                </a:cxn>
                <a:cxn ang="0">
                  <a:pos x="connsiteX7822" y="connsiteY7822"/>
                </a:cxn>
                <a:cxn ang="0">
                  <a:pos x="connsiteX7823" y="connsiteY7823"/>
                </a:cxn>
                <a:cxn ang="0">
                  <a:pos x="connsiteX7824" y="connsiteY7824"/>
                </a:cxn>
                <a:cxn ang="0">
                  <a:pos x="connsiteX7825" y="connsiteY7825"/>
                </a:cxn>
                <a:cxn ang="0">
                  <a:pos x="connsiteX7826" y="connsiteY7826"/>
                </a:cxn>
                <a:cxn ang="0">
                  <a:pos x="connsiteX7827" y="connsiteY7827"/>
                </a:cxn>
                <a:cxn ang="0">
                  <a:pos x="connsiteX7828" y="connsiteY7828"/>
                </a:cxn>
                <a:cxn ang="0">
                  <a:pos x="connsiteX7829" y="connsiteY7829"/>
                </a:cxn>
                <a:cxn ang="0">
                  <a:pos x="connsiteX7830" y="connsiteY7830"/>
                </a:cxn>
                <a:cxn ang="0">
                  <a:pos x="connsiteX7831" y="connsiteY7831"/>
                </a:cxn>
                <a:cxn ang="0">
                  <a:pos x="connsiteX7832" y="connsiteY7832"/>
                </a:cxn>
                <a:cxn ang="0">
                  <a:pos x="connsiteX7833" y="connsiteY7833"/>
                </a:cxn>
                <a:cxn ang="0">
                  <a:pos x="connsiteX7834" y="connsiteY7834"/>
                </a:cxn>
                <a:cxn ang="0">
                  <a:pos x="connsiteX7835" y="connsiteY7835"/>
                </a:cxn>
                <a:cxn ang="0">
                  <a:pos x="connsiteX7836" y="connsiteY7836"/>
                </a:cxn>
                <a:cxn ang="0">
                  <a:pos x="connsiteX7837" y="connsiteY7837"/>
                </a:cxn>
                <a:cxn ang="0">
                  <a:pos x="connsiteX7838" y="connsiteY7838"/>
                </a:cxn>
                <a:cxn ang="0">
                  <a:pos x="connsiteX7839" y="connsiteY7839"/>
                </a:cxn>
                <a:cxn ang="0">
                  <a:pos x="connsiteX7840" y="connsiteY7840"/>
                </a:cxn>
                <a:cxn ang="0">
                  <a:pos x="connsiteX7841" y="connsiteY7841"/>
                </a:cxn>
                <a:cxn ang="0">
                  <a:pos x="connsiteX7842" y="connsiteY7842"/>
                </a:cxn>
                <a:cxn ang="0">
                  <a:pos x="connsiteX7843" y="connsiteY7843"/>
                </a:cxn>
                <a:cxn ang="0">
                  <a:pos x="connsiteX7844" y="connsiteY7844"/>
                </a:cxn>
                <a:cxn ang="0">
                  <a:pos x="connsiteX7845" y="connsiteY7845"/>
                </a:cxn>
                <a:cxn ang="0">
                  <a:pos x="connsiteX7846" y="connsiteY7846"/>
                </a:cxn>
                <a:cxn ang="0">
                  <a:pos x="connsiteX7847" y="connsiteY7847"/>
                </a:cxn>
                <a:cxn ang="0">
                  <a:pos x="connsiteX7848" y="connsiteY7848"/>
                </a:cxn>
                <a:cxn ang="0">
                  <a:pos x="connsiteX7849" y="connsiteY7849"/>
                </a:cxn>
                <a:cxn ang="0">
                  <a:pos x="connsiteX7850" y="connsiteY7850"/>
                </a:cxn>
                <a:cxn ang="0">
                  <a:pos x="connsiteX7851" y="connsiteY7851"/>
                </a:cxn>
                <a:cxn ang="0">
                  <a:pos x="connsiteX7852" y="connsiteY7852"/>
                </a:cxn>
                <a:cxn ang="0">
                  <a:pos x="connsiteX7853" y="connsiteY7853"/>
                </a:cxn>
                <a:cxn ang="0">
                  <a:pos x="connsiteX7854" y="connsiteY7854"/>
                </a:cxn>
                <a:cxn ang="0">
                  <a:pos x="connsiteX7855" y="connsiteY7855"/>
                </a:cxn>
                <a:cxn ang="0">
                  <a:pos x="connsiteX7856" y="connsiteY7856"/>
                </a:cxn>
                <a:cxn ang="0">
                  <a:pos x="connsiteX7857" y="connsiteY7857"/>
                </a:cxn>
                <a:cxn ang="0">
                  <a:pos x="connsiteX7858" y="connsiteY7858"/>
                </a:cxn>
                <a:cxn ang="0">
                  <a:pos x="connsiteX7859" y="connsiteY7859"/>
                </a:cxn>
                <a:cxn ang="0">
                  <a:pos x="connsiteX7860" y="connsiteY7860"/>
                </a:cxn>
                <a:cxn ang="0">
                  <a:pos x="connsiteX7861" y="connsiteY7861"/>
                </a:cxn>
                <a:cxn ang="0">
                  <a:pos x="connsiteX7862" y="connsiteY7862"/>
                </a:cxn>
                <a:cxn ang="0">
                  <a:pos x="connsiteX7863" y="connsiteY7863"/>
                </a:cxn>
                <a:cxn ang="0">
                  <a:pos x="connsiteX7864" y="connsiteY7864"/>
                </a:cxn>
                <a:cxn ang="0">
                  <a:pos x="connsiteX7865" y="connsiteY7865"/>
                </a:cxn>
                <a:cxn ang="0">
                  <a:pos x="connsiteX7866" y="connsiteY7866"/>
                </a:cxn>
                <a:cxn ang="0">
                  <a:pos x="connsiteX7867" y="connsiteY7867"/>
                </a:cxn>
                <a:cxn ang="0">
                  <a:pos x="connsiteX7868" y="connsiteY7868"/>
                </a:cxn>
                <a:cxn ang="0">
                  <a:pos x="connsiteX7869" y="connsiteY7869"/>
                </a:cxn>
                <a:cxn ang="0">
                  <a:pos x="connsiteX7870" y="connsiteY7870"/>
                </a:cxn>
                <a:cxn ang="0">
                  <a:pos x="connsiteX7871" y="connsiteY7871"/>
                </a:cxn>
                <a:cxn ang="0">
                  <a:pos x="connsiteX7872" y="connsiteY7872"/>
                </a:cxn>
                <a:cxn ang="0">
                  <a:pos x="connsiteX7873" y="connsiteY7873"/>
                </a:cxn>
                <a:cxn ang="0">
                  <a:pos x="connsiteX7874" y="connsiteY7874"/>
                </a:cxn>
                <a:cxn ang="0">
                  <a:pos x="connsiteX7875" y="connsiteY7875"/>
                </a:cxn>
                <a:cxn ang="0">
                  <a:pos x="connsiteX7876" y="connsiteY7876"/>
                </a:cxn>
                <a:cxn ang="0">
                  <a:pos x="connsiteX7877" y="connsiteY7877"/>
                </a:cxn>
                <a:cxn ang="0">
                  <a:pos x="connsiteX7878" y="connsiteY7878"/>
                </a:cxn>
                <a:cxn ang="0">
                  <a:pos x="connsiteX7879" y="connsiteY7879"/>
                </a:cxn>
                <a:cxn ang="0">
                  <a:pos x="connsiteX7880" y="connsiteY7880"/>
                </a:cxn>
                <a:cxn ang="0">
                  <a:pos x="connsiteX7881" y="connsiteY7881"/>
                </a:cxn>
                <a:cxn ang="0">
                  <a:pos x="connsiteX7882" y="connsiteY7882"/>
                </a:cxn>
                <a:cxn ang="0">
                  <a:pos x="connsiteX7883" y="connsiteY7883"/>
                </a:cxn>
                <a:cxn ang="0">
                  <a:pos x="connsiteX7884" y="connsiteY7884"/>
                </a:cxn>
                <a:cxn ang="0">
                  <a:pos x="connsiteX7885" y="connsiteY7885"/>
                </a:cxn>
                <a:cxn ang="0">
                  <a:pos x="connsiteX7886" y="connsiteY7886"/>
                </a:cxn>
                <a:cxn ang="0">
                  <a:pos x="connsiteX7887" y="connsiteY7887"/>
                </a:cxn>
                <a:cxn ang="0">
                  <a:pos x="connsiteX7888" y="connsiteY7888"/>
                </a:cxn>
                <a:cxn ang="0">
                  <a:pos x="connsiteX7889" y="connsiteY7889"/>
                </a:cxn>
                <a:cxn ang="0">
                  <a:pos x="connsiteX7890" y="connsiteY7890"/>
                </a:cxn>
                <a:cxn ang="0">
                  <a:pos x="connsiteX7891" y="connsiteY7891"/>
                </a:cxn>
                <a:cxn ang="0">
                  <a:pos x="connsiteX7892" y="connsiteY7892"/>
                </a:cxn>
                <a:cxn ang="0">
                  <a:pos x="connsiteX7893" y="connsiteY7893"/>
                </a:cxn>
                <a:cxn ang="0">
                  <a:pos x="connsiteX7894" y="connsiteY7894"/>
                </a:cxn>
                <a:cxn ang="0">
                  <a:pos x="connsiteX7895" y="connsiteY7895"/>
                </a:cxn>
                <a:cxn ang="0">
                  <a:pos x="connsiteX7896" y="connsiteY7896"/>
                </a:cxn>
                <a:cxn ang="0">
                  <a:pos x="connsiteX7897" y="connsiteY7897"/>
                </a:cxn>
                <a:cxn ang="0">
                  <a:pos x="connsiteX7898" y="connsiteY7898"/>
                </a:cxn>
                <a:cxn ang="0">
                  <a:pos x="connsiteX7899" y="connsiteY7899"/>
                </a:cxn>
                <a:cxn ang="0">
                  <a:pos x="connsiteX7900" y="connsiteY7900"/>
                </a:cxn>
                <a:cxn ang="0">
                  <a:pos x="connsiteX7901" y="connsiteY7901"/>
                </a:cxn>
                <a:cxn ang="0">
                  <a:pos x="connsiteX7902" y="connsiteY7902"/>
                </a:cxn>
                <a:cxn ang="0">
                  <a:pos x="connsiteX7903" y="connsiteY7903"/>
                </a:cxn>
                <a:cxn ang="0">
                  <a:pos x="connsiteX7904" y="connsiteY7904"/>
                </a:cxn>
                <a:cxn ang="0">
                  <a:pos x="connsiteX7905" y="connsiteY7905"/>
                </a:cxn>
                <a:cxn ang="0">
                  <a:pos x="connsiteX7906" y="connsiteY7906"/>
                </a:cxn>
                <a:cxn ang="0">
                  <a:pos x="connsiteX7907" y="connsiteY7907"/>
                </a:cxn>
                <a:cxn ang="0">
                  <a:pos x="connsiteX7908" y="connsiteY7908"/>
                </a:cxn>
                <a:cxn ang="0">
                  <a:pos x="connsiteX7909" y="connsiteY7909"/>
                </a:cxn>
                <a:cxn ang="0">
                  <a:pos x="connsiteX7910" y="connsiteY7910"/>
                </a:cxn>
                <a:cxn ang="0">
                  <a:pos x="connsiteX7911" y="connsiteY7911"/>
                </a:cxn>
                <a:cxn ang="0">
                  <a:pos x="connsiteX7912" y="connsiteY7912"/>
                </a:cxn>
                <a:cxn ang="0">
                  <a:pos x="connsiteX7913" y="connsiteY7913"/>
                </a:cxn>
                <a:cxn ang="0">
                  <a:pos x="connsiteX7914" y="connsiteY7914"/>
                </a:cxn>
                <a:cxn ang="0">
                  <a:pos x="connsiteX7915" y="connsiteY7915"/>
                </a:cxn>
                <a:cxn ang="0">
                  <a:pos x="connsiteX7916" y="connsiteY7916"/>
                </a:cxn>
                <a:cxn ang="0">
                  <a:pos x="connsiteX7917" y="connsiteY7917"/>
                </a:cxn>
                <a:cxn ang="0">
                  <a:pos x="connsiteX7918" y="connsiteY7918"/>
                </a:cxn>
                <a:cxn ang="0">
                  <a:pos x="connsiteX7919" y="connsiteY7919"/>
                </a:cxn>
                <a:cxn ang="0">
                  <a:pos x="connsiteX7920" y="connsiteY7920"/>
                </a:cxn>
                <a:cxn ang="0">
                  <a:pos x="connsiteX7921" y="connsiteY7921"/>
                </a:cxn>
                <a:cxn ang="0">
                  <a:pos x="connsiteX7922" y="connsiteY7922"/>
                </a:cxn>
                <a:cxn ang="0">
                  <a:pos x="connsiteX7923" y="connsiteY7923"/>
                </a:cxn>
                <a:cxn ang="0">
                  <a:pos x="connsiteX7924" y="connsiteY7924"/>
                </a:cxn>
                <a:cxn ang="0">
                  <a:pos x="connsiteX7925" y="connsiteY7925"/>
                </a:cxn>
                <a:cxn ang="0">
                  <a:pos x="connsiteX7926" y="connsiteY7926"/>
                </a:cxn>
                <a:cxn ang="0">
                  <a:pos x="connsiteX7927" y="connsiteY7927"/>
                </a:cxn>
                <a:cxn ang="0">
                  <a:pos x="connsiteX7928" y="connsiteY7928"/>
                </a:cxn>
                <a:cxn ang="0">
                  <a:pos x="connsiteX7929" y="connsiteY7929"/>
                </a:cxn>
                <a:cxn ang="0">
                  <a:pos x="connsiteX7930" y="connsiteY7930"/>
                </a:cxn>
                <a:cxn ang="0">
                  <a:pos x="connsiteX7931" y="connsiteY7931"/>
                </a:cxn>
                <a:cxn ang="0">
                  <a:pos x="connsiteX7932" y="connsiteY7932"/>
                </a:cxn>
                <a:cxn ang="0">
                  <a:pos x="connsiteX7933" y="connsiteY7933"/>
                </a:cxn>
                <a:cxn ang="0">
                  <a:pos x="connsiteX7934" y="connsiteY7934"/>
                </a:cxn>
                <a:cxn ang="0">
                  <a:pos x="connsiteX7935" y="connsiteY7935"/>
                </a:cxn>
                <a:cxn ang="0">
                  <a:pos x="connsiteX7936" y="connsiteY7936"/>
                </a:cxn>
                <a:cxn ang="0">
                  <a:pos x="connsiteX7937" y="connsiteY7937"/>
                </a:cxn>
                <a:cxn ang="0">
                  <a:pos x="connsiteX7938" y="connsiteY7938"/>
                </a:cxn>
                <a:cxn ang="0">
                  <a:pos x="connsiteX7939" y="connsiteY7939"/>
                </a:cxn>
                <a:cxn ang="0">
                  <a:pos x="connsiteX7940" y="connsiteY7940"/>
                </a:cxn>
                <a:cxn ang="0">
                  <a:pos x="connsiteX7941" y="connsiteY7941"/>
                </a:cxn>
                <a:cxn ang="0">
                  <a:pos x="connsiteX7942" y="connsiteY7942"/>
                </a:cxn>
                <a:cxn ang="0">
                  <a:pos x="connsiteX7943" y="connsiteY7943"/>
                </a:cxn>
                <a:cxn ang="0">
                  <a:pos x="connsiteX7944" y="connsiteY7944"/>
                </a:cxn>
                <a:cxn ang="0">
                  <a:pos x="connsiteX7945" y="connsiteY7945"/>
                </a:cxn>
                <a:cxn ang="0">
                  <a:pos x="connsiteX7946" y="connsiteY7946"/>
                </a:cxn>
                <a:cxn ang="0">
                  <a:pos x="connsiteX7947" y="connsiteY7947"/>
                </a:cxn>
                <a:cxn ang="0">
                  <a:pos x="connsiteX7948" y="connsiteY7948"/>
                </a:cxn>
                <a:cxn ang="0">
                  <a:pos x="connsiteX7949" y="connsiteY7949"/>
                </a:cxn>
                <a:cxn ang="0">
                  <a:pos x="connsiteX7950" y="connsiteY7950"/>
                </a:cxn>
                <a:cxn ang="0">
                  <a:pos x="connsiteX7951" y="connsiteY7951"/>
                </a:cxn>
                <a:cxn ang="0">
                  <a:pos x="connsiteX7952" y="connsiteY7952"/>
                </a:cxn>
                <a:cxn ang="0">
                  <a:pos x="connsiteX7953" y="connsiteY7953"/>
                </a:cxn>
                <a:cxn ang="0">
                  <a:pos x="connsiteX7954" y="connsiteY7954"/>
                </a:cxn>
                <a:cxn ang="0">
                  <a:pos x="connsiteX7955" y="connsiteY7955"/>
                </a:cxn>
                <a:cxn ang="0">
                  <a:pos x="connsiteX7956" y="connsiteY7956"/>
                </a:cxn>
                <a:cxn ang="0">
                  <a:pos x="connsiteX7957" y="connsiteY7957"/>
                </a:cxn>
                <a:cxn ang="0">
                  <a:pos x="connsiteX7958" y="connsiteY7958"/>
                </a:cxn>
                <a:cxn ang="0">
                  <a:pos x="connsiteX7959" y="connsiteY7959"/>
                </a:cxn>
                <a:cxn ang="0">
                  <a:pos x="connsiteX7960" y="connsiteY7960"/>
                </a:cxn>
                <a:cxn ang="0">
                  <a:pos x="connsiteX7961" y="connsiteY7961"/>
                </a:cxn>
                <a:cxn ang="0">
                  <a:pos x="connsiteX7962" y="connsiteY7962"/>
                </a:cxn>
                <a:cxn ang="0">
                  <a:pos x="connsiteX7963" y="connsiteY7963"/>
                </a:cxn>
                <a:cxn ang="0">
                  <a:pos x="connsiteX7964" y="connsiteY7964"/>
                </a:cxn>
                <a:cxn ang="0">
                  <a:pos x="connsiteX7965" y="connsiteY7965"/>
                </a:cxn>
                <a:cxn ang="0">
                  <a:pos x="connsiteX7966" y="connsiteY7966"/>
                </a:cxn>
                <a:cxn ang="0">
                  <a:pos x="connsiteX7967" y="connsiteY7967"/>
                </a:cxn>
                <a:cxn ang="0">
                  <a:pos x="connsiteX7968" y="connsiteY7968"/>
                </a:cxn>
                <a:cxn ang="0">
                  <a:pos x="connsiteX7969" y="connsiteY7969"/>
                </a:cxn>
                <a:cxn ang="0">
                  <a:pos x="connsiteX7970" y="connsiteY7970"/>
                </a:cxn>
                <a:cxn ang="0">
                  <a:pos x="connsiteX7971" y="connsiteY7971"/>
                </a:cxn>
                <a:cxn ang="0">
                  <a:pos x="connsiteX7972" y="connsiteY7972"/>
                </a:cxn>
                <a:cxn ang="0">
                  <a:pos x="connsiteX7973" y="connsiteY7973"/>
                </a:cxn>
                <a:cxn ang="0">
                  <a:pos x="connsiteX7974" y="connsiteY7974"/>
                </a:cxn>
                <a:cxn ang="0">
                  <a:pos x="connsiteX7975" y="connsiteY7975"/>
                </a:cxn>
                <a:cxn ang="0">
                  <a:pos x="connsiteX7976" y="connsiteY7976"/>
                </a:cxn>
                <a:cxn ang="0">
                  <a:pos x="connsiteX7977" y="connsiteY7977"/>
                </a:cxn>
                <a:cxn ang="0">
                  <a:pos x="connsiteX7978" y="connsiteY7978"/>
                </a:cxn>
                <a:cxn ang="0">
                  <a:pos x="connsiteX7979" y="connsiteY7979"/>
                </a:cxn>
                <a:cxn ang="0">
                  <a:pos x="connsiteX7980" y="connsiteY7980"/>
                </a:cxn>
                <a:cxn ang="0">
                  <a:pos x="connsiteX7981" y="connsiteY7981"/>
                </a:cxn>
                <a:cxn ang="0">
                  <a:pos x="connsiteX7982" y="connsiteY7982"/>
                </a:cxn>
                <a:cxn ang="0">
                  <a:pos x="connsiteX7983" y="connsiteY7983"/>
                </a:cxn>
                <a:cxn ang="0">
                  <a:pos x="connsiteX7984" y="connsiteY7984"/>
                </a:cxn>
                <a:cxn ang="0">
                  <a:pos x="connsiteX7985" y="connsiteY7985"/>
                </a:cxn>
                <a:cxn ang="0">
                  <a:pos x="connsiteX7986" y="connsiteY7986"/>
                </a:cxn>
                <a:cxn ang="0">
                  <a:pos x="connsiteX7987" y="connsiteY7987"/>
                </a:cxn>
                <a:cxn ang="0">
                  <a:pos x="connsiteX7988" y="connsiteY7988"/>
                </a:cxn>
                <a:cxn ang="0">
                  <a:pos x="connsiteX7989" y="connsiteY7989"/>
                </a:cxn>
                <a:cxn ang="0">
                  <a:pos x="connsiteX7990" y="connsiteY7990"/>
                </a:cxn>
                <a:cxn ang="0">
                  <a:pos x="connsiteX7991" y="connsiteY7991"/>
                </a:cxn>
                <a:cxn ang="0">
                  <a:pos x="connsiteX7992" y="connsiteY7992"/>
                </a:cxn>
                <a:cxn ang="0">
                  <a:pos x="connsiteX7993" y="connsiteY7993"/>
                </a:cxn>
                <a:cxn ang="0">
                  <a:pos x="connsiteX7994" y="connsiteY7994"/>
                </a:cxn>
                <a:cxn ang="0">
                  <a:pos x="connsiteX7995" y="connsiteY7995"/>
                </a:cxn>
                <a:cxn ang="0">
                  <a:pos x="connsiteX7996" y="connsiteY7996"/>
                </a:cxn>
                <a:cxn ang="0">
                  <a:pos x="connsiteX7997" y="connsiteY7997"/>
                </a:cxn>
                <a:cxn ang="0">
                  <a:pos x="connsiteX7998" y="connsiteY7998"/>
                </a:cxn>
                <a:cxn ang="0">
                  <a:pos x="connsiteX7999" y="connsiteY7999"/>
                </a:cxn>
                <a:cxn ang="0">
                  <a:pos x="connsiteX8000" y="connsiteY8000"/>
                </a:cxn>
                <a:cxn ang="0">
                  <a:pos x="connsiteX8001" y="connsiteY8001"/>
                </a:cxn>
                <a:cxn ang="0">
                  <a:pos x="connsiteX8002" y="connsiteY8002"/>
                </a:cxn>
                <a:cxn ang="0">
                  <a:pos x="connsiteX8003" y="connsiteY8003"/>
                </a:cxn>
                <a:cxn ang="0">
                  <a:pos x="connsiteX8004" y="connsiteY8004"/>
                </a:cxn>
                <a:cxn ang="0">
                  <a:pos x="connsiteX8005" y="connsiteY8005"/>
                </a:cxn>
                <a:cxn ang="0">
                  <a:pos x="connsiteX8006" y="connsiteY8006"/>
                </a:cxn>
                <a:cxn ang="0">
                  <a:pos x="connsiteX8007" y="connsiteY8007"/>
                </a:cxn>
                <a:cxn ang="0">
                  <a:pos x="connsiteX8008" y="connsiteY8008"/>
                </a:cxn>
                <a:cxn ang="0">
                  <a:pos x="connsiteX8009" y="connsiteY8009"/>
                </a:cxn>
                <a:cxn ang="0">
                  <a:pos x="connsiteX8010" y="connsiteY8010"/>
                </a:cxn>
                <a:cxn ang="0">
                  <a:pos x="connsiteX8011" y="connsiteY8011"/>
                </a:cxn>
                <a:cxn ang="0">
                  <a:pos x="connsiteX8012" y="connsiteY8012"/>
                </a:cxn>
                <a:cxn ang="0">
                  <a:pos x="connsiteX8013" y="connsiteY8013"/>
                </a:cxn>
                <a:cxn ang="0">
                  <a:pos x="connsiteX8014" y="connsiteY8014"/>
                </a:cxn>
                <a:cxn ang="0">
                  <a:pos x="connsiteX8015" y="connsiteY8015"/>
                </a:cxn>
                <a:cxn ang="0">
                  <a:pos x="connsiteX8016" y="connsiteY8016"/>
                </a:cxn>
                <a:cxn ang="0">
                  <a:pos x="connsiteX8017" y="connsiteY8017"/>
                </a:cxn>
                <a:cxn ang="0">
                  <a:pos x="connsiteX8018" y="connsiteY8018"/>
                </a:cxn>
                <a:cxn ang="0">
                  <a:pos x="connsiteX8019" y="connsiteY8019"/>
                </a:cxn>
                <a:cxn ang="0">
                  <a:pos x="connsiteX8020" y="connsiteY8020"/>
                </a:cxn>
                <a:cxn ang="0">
                  <a:pos x="connsiteX8021" y="connsiteY8021"/>
                </a:cxn>
                <a:cxn ang="0">
                  <a:pos x="connsiteX8022" y="connsiteY8022"/>
                </a:cxn>
                <a:cxn ang="0">
                  <a:pos x="connsiteX8023" y="connsiteY8023"/>
                </a:cxn>
                <a:cxn ang="0">
                  <a:pos x="connsiteX8024" y="connsiteY8024"/>
                </a:cxn>
                <a:cxn ang="0">
                  <a:pos x="connsiteX8025" y="connsiteY8025"/>
                </a:cxn>
                <a:cxn ang="0">
                  <a:pos x="connsiteX8026" y="connsiteY8026"/>
                </a:cxn>
                <a:cxn ang="0">
                  <a:pos x="connsiteX8027" y="connsiteY8027"/>
                </a:cxn>
                <a:cxn ang="0">
                  <a:pos x="connsiteX8028" y="connsiteY8028"/>
                </a:cxn>
                <a:cxn ang="0">
                  <a:pos x="connsiteX8029" y="connsiteY8029"/>
                </a:cxn>
                <a:cxn ang="0">
                  <a:pos x="connsiteX8030" y="connsiteY8030"/>
                </a:cxn>
                <a:cxn ang="0">
                  <a:pos x="connsiteX8031" y="connsiteY8031"/>
                </a:cxn>
                <a:cxn ang="0">
                  <a:pos x="connsiteX8032" y="connsiteY8032"/>
                </a:cxn>
                <a:cxn ang="0">
                  <a:pos x="connsiteX8033" y="connsiteY8033"/>
                </a:cxn>
                <a:cxn ang="0">
                  <a:pos x="connsiteX8034" y="connsiteY8034"/>
                </a:cxn>
                <a:cxn ang="0">
                  <a:pos x="connsiteX8035" y="connsiteY8035"/>
                </a:cxn>
                <a:cxn ang="0">
                  <a:pos x="connsiteX8036" y="connsiteY8036"/>
                </a:cxn>
                <a:cxn ang="0">
                  <a:pos x="connsiteX8037" y="connsiteY8037"/>
                </a:cxn>
                <a:cxn ang="0">
                  <a:pos x="connsiteX8038" y="connsiteY8038"/>
                </a:cxn>
                <a:cxn ang="0">
                  <a:pos x="connsiteX8039" y="connsiteY8039"/>
                </a:cxn>
                <a:cxn ang="0">
                  <a:pos x="connsiteX8040" y="connsiteY8040"/>
                </a:cxn>
                <a:cxn ang="0">
                  <a:pos x="connsiteX8041" y="connsiteY8041"/>
                </a:cxn>
                <a:cxn ang="0">
                  <a:pos x="connsiteX8042" y="connsiteY8042"/>
                </a:cxn>
                <a:cxn ang="0">
                  <a:pos x="connsiteX8043" y="connsiteY8043"/>
                </a:cxn>
                <a:cxn ang="0">
                  <a:pos x="connsiteX8044" y="connsiteY8044"/>
                </a:cxn>
                <a:cxn ang="0">
                  <a:pos x="connsiteX8045" y="connsiteY8045"/>
                </a:cxn>
                <a:cxn ang="0">
                  <a:pos x="connsiteX8046" y="connsiteY8046"/>
                </a:cxn>
                <a:cxn ang="0">
                  <a:pos x="connsiteX8047" y="connsiteY8047"/>
                </a:cxn>
                <a:cxn ang="0">
                  <a:pos x="connsiteX8048" y="connsiteY8048"/>
                </a:cxn>
                <a:cxn ang="0">
                  <a:pos x="connsiteX8049" y="connsiteY8049"/>
                </a:cxn>
                <a:cxn ang="0">
                  <a:pos x="connsiteX8050" y="connsiteY8050"/>
                </a:cxn>
                <a:cxn ang="0">
                  <a:pos x="connsiteX8051" y="connsiteY8051"/>
                </a:cxn>
                <a:cxn ang="0">
                  <a:pos x="connsiteX8052" y="connsiteY8052"/>
                </a:cxn>
                <a:cxn ang="0">
                  <a:pos x="connsiteX8053" y="connsiteY8053"/>
                </a:cxn>
                <a:cxn ang="0">
                  <a:pos x="connsiteX8054" y="connsiteY8054"/>
                </a:cxn>
                <a:cxn ang="0">
                  <a:pos x="connsiteX8055" y="connsiteY8055"/>
                </a:cxn>
                <a:cxn ang="0">
                  <a:pos x="connsiteX8056" y="connsiteY8056"/>
                </a:cxn>
                <a:cxn ang="0">
                  <a:pos x="connsiteX8057" y="connsiteY8057"/>
                </a:cxn>
                <a:cxn ang="0">
                  <a:pos x="connsiteX8058" y="connsiteY8058"/>
                </a:cxn>
                <a:cxn ang="0">
                  <a:pos x="connsiteX8059" y="connsiteY8059"/>
                </a:cxn>
                <a:cxn ang="0">
                  <a:pos x="connsiteX8060" y="connsiteY8060"/>
                </a:cxn>
                <a:cxn ang="0">
                  <a:pos x="connsiteX8061" y="connsiteY8061"/>
                </a:cxn>
                <a:cxn ang="0">
                  <a:pos x="connsiteX8062" y="connsiteY8062"/>
                </a:cxn>
                <a:cxn ang="0">
                  <a:pos x="connsiteX8063" y="connsiteY8063"/>
                </a:cxn>
                <a:cxn ang="0">
                  <a:pos x="connsiteX8064" y="connsiteY8064"/>
                </a:cxn>
                <a:cxn ang="0">
                  <a:pos x="connsiteX8065" y="connsiteY8065"/>
                </a:cxn>
                <a:cxn ang="0">
                  <a:pos x="connsiteX8066" y="connsiteY8066"/>
                </a:cxn>
                <a:cxn ang="0">
                  <a:pos x="connsiteX8067" y="connsiteY8067"/>
                </a:cxn>
                <a:cxn ang="0">
                  <a:pos x="connsiteX8068" y="connsiteY8068"/>
                </a:cxn>
                <a:cxn ang="0">
                  <a:pos x="connsiteX8069" y="connsiteY8069"/>
                </a:cxn>
                <a:cxn ang="0">
                  <a:pos x="connsiteX8070" y="connsiteY8070"/>
                </a:cxn>
                <a:cxn ang="0">
                  <a:pos x="connsiteX8071" y="connsiteY8071"/>
                </a:cxn>
                <a:cxn ang="0">
                  <a:pos x="connsiteX8072" y="connsiteY8072"/>
                </a:cxn>
                <a:cxn ang="0">
                  <a:pos x="connsiteX8073" y="connsiteY8073"/>
                </a:cxn>
                <a:cxn ang="0">
                  <a:pos x="connsiteX8074" y="connsiteY8074"/>
                </a:cxn>
                <a:cxn ang="0">
                  <a:pos x="connsiteX8075" y="connsiteY8075"/>
                </a:cxn>
                <a:cxn ang="0">
                  <a:pos x="connsiteX8076" y="connsiteY8076"/>
                </a:cxn>
                <a:cxn ang="0">
                  <a:pos x="connsiteX8077" y="connsiteY8077"/>
                </a:cxn>
                <a:cxn ang="0">
                  <a:pos x="connsiteX8078" y="connsiteY8078"/>
                </a:cxn>
                <a:cxn ang="0">
                  <a:pos x="connsiteX8079" y="connsiteY8079"/>
                </a:cxn>
                <a:cxn ang="0">
                  <a:pos x="connsiteX8080" y="connsiteY8080"/>
                </a:cxn>
                <a:cxn ang="0">
                  <a:pos x="connsiteX8081" y="connsiteY8081"/>
                </a:cxn>
                <a:cxn ang="0">
                  <a:pos x="connsiteX8082" y="connsiteY8082"/>
                </a:cxn>
                <a:cxn ang="0">
                  <a:pos x="connsiteX8083" y="connsiteY8083"/>
                </a:cxn>
                <a:cxn ang="0">
                  <a:pos x="connsiteX8084" y="connsiteY8084"/>
                </a:cxn>
                <a:cxn ang="0">
                  <a:pos x="connsiteX8085" y="connsiteY8085"/>
                </a:cxn>
                <a:cxn ang="0">
                  <a:pos x="connsiteX8086" y="connsiteY8086"/>
                </a:cxn>
                <a:cxn ang="0">
                  <a:pos x="connsiteX8087" y="connsiteY8087"/>
                </a:cxn>
                <a:cxn ang="0">
                  <a:pos x="connsiteX8088" y="connsiteY8088"/>
                </a:cxn>
                <a:cxn ang="0">
                  <a:pos x="connsiteX8089" y="connsiteY8089"/>
                </a:cxn>
                <a:cxn ang="0">
                  <a:pos x="connsiteX8090" y="connsiteY8090"/>
                </a:cxn>
                <a:cxn ang="0">
                  <a:pos x="connsiteX8091" y="connsiteY8091"/>
                </a:cxn>
                <a:cxn ang="0">
                  <a:pos x="connsiteX8092" y="connsiteY8092"/>
                </a:cxn>
                <a:cxn ang="0">
                  <a:pos x="connsiteX8093" y="connsiteY8093"/>
                </a:cxn>
                <a:cxn ang="0">
                  <a:pos x="connsiteX8094" y="connsiteY8094"/>
                </a:cxn>
                <a:cxn ang="0">
                  <a:pos x="connsiteX8095" y="connsiteY8095"/>
                </a:cxn>
                <a:cxn ang="0">
                  <a:pos x="connsiteX8096" y="connsiteY8096"/>
                </a:cxn>
                <a:cxn ang="0">
                  <a:pos x="connsiteX8097" y="connsiteY8097"/>
                </a:cxn>
                <a:cxn ang="0">
                  <a:pos x="connsiteX8098" y="connsiteY8098"/>
                </a:cxn>
                <a:cxn ang="0">
                  <a:pos x="connsiteX8099" y="connsiteY8099"/>
                </a:cxn>
                <a:cxn ang="0">
                  <a:pos x="connsiteX8100" y="connsiteY8100"/>
                </a:cxn>
                <a:cxn ang="0">
                  <a:pos x="connsiteX8101" y="connsiteY8101"/>
                </a:cxn>
                <a:cxn ang="0">
                  <a:pos x="connsiteX8102" y="connsiteY8102"/>
                </a:cxn>
                <a:cxn ang="0">
                  <a:pos x="connsiteX8103" y="connsiteY8103"/>
                </a:cxn>
                <a:cxn ang="0">
                  <a:pos x="connsiteX8104" y="connsiteY8104"/>
                </a:cxn>
                <a:cxn ang="0">
                  <a:pos x="connsiteX8105" y="connsiteY8105"/>
                </a:cxn>
                <a:cxn ang="0">
                  <a:pos x="connsiteX8106" y="connsiteY8106"/>
                </a:cxn>
                <a:cxn ang="0">
                  <a:pos x="connsiteX8107" y="connsiteY8107"/>
                </a:cxn>
                <a:cxn ang="0">
                  <a:pos x="connsiteX8108" y="connsiteY8108"/>
                </a:cxn>
                <a:cxn ang="0">
                  <a:pos x="connsiteX8109" y="connsiteY8109"/>
                </a:cxn>
                <a:cxn ang="0">
                  <a:pos x="connsiteX8110" y="connsiteY8110"/>
                </a:cxn>
                <a:cxn ang="0">
                  <a:pos x="connsiteX8111" y="connsiteY8111"/>
                </a:cxn>
                <a:cxn ang="0">
                  <a:pos x="connsiteX8112" y="connsiteY8112"/>
                </a:cxn>
                <a:cxn ang="0">
                  <a:pos x="connsiteX8113" y="connsiteY8113"/>
                </a:cxn>
                <a:cxn ang="0">
                  <a:pos x="connsiteX8114" y="connsiteY8114"/>
                </a:cxn>
                <a:cxn ang="0">
                  <a:pos x="connsiteX8115" y="connsiteY8115"/>
                </a:cxn>
                <a:cxn ang="0">
                  <a:pos x="connsiteX8116" y="connsiteY8116"/>
                </a:cxn>
                <a:cxn ang="0">
                  <a:pos x="connsiteX8117" y="connsiteY8117"/>
                </a:cxn>
                <a:cxn ang="0">
                  <a:pos x="connsiteX8118" y="connsiteY8118"/>
                </a:cxn>
                <a:cxn ang="0">
                  <a:pos x="connsiteX8119" y="connsiteY8119"/>
                </a:cxn>
                <a:cxn ang="0">
                  <a:pos x="connsiteX8120" y="connsiteY8120"/>
                </a:cxn>
                <a:cxn ang="0">
                  <a:pos x="connsiteX8121" y="connsiteY8121"/>
                </a:cxn>
                <a:cxn ang="0">
                  <a:pos x="connsiteX8122" y="connsiteY8122"/>
                </a:cxn>
                <a:cxn ang="0">
                  <a:pos x="connsiteX8123" y="connsiteY8123"/>
                </a:cxn>
                <a:cxn ang="0">
                  <a:pos x="connsiteX8124" y="connsiteY8124"/>
                </a:cxn>
                <a:cxn ang="0">
                  <a:pos x="connsiteX8125" y="connsiteY8125"/>
                </a:cxn>
                <a:cxn ang="0">
                  <a:pos x="connsiteX8126" y="connsiteY8126"/>
                </a:cxn>
                <a:cxn ang="0">
                  <a:pos x="connsiteX8127" y="connsiteY8127"/>
                </a:cxn>
                <a:cxn ang="0">
                  <a:pos x="connsiteX8128" y="connsiteY8128"/>
                </a:cxn>
                <a:cxn ang="0">
                  <a:pos x="connsiteX8129" y="connsiteY8129"/>
                </a:cxn>
                <a:cxn ang="0">
                  <a:pos x="connsiteX8130" y="connsiteY8130"/>
                </a:cxn>
                <a:cxn ang="0">
                  <a:pos x="connsiteX8131" y="connsiteY8131"/>
                </a:cxn>
                <a:cxn ang="0">
                  <a:pos x="connsiteX8132" y="connsiteY8132"/>
                </a:cxn>
                <a:cxn ang="0">
                  <a:pos x="connsiteX8133" y="connsiteY8133"/>
                </a:cxn>
                <a:cxn ang="0">
                  <a:pos x="connsiteX8134" y="connsiteY8134"/>
                </a:cxn>
                <a:cxn ang="0">
                  <a:pos x="connsiteX8135" y="connsiteY8135"/>
                </a:cxn>
                <a:cxn ang="0">
                  <a:pos x="connsiteX8136" y="connsiteY8136"/>
                </a:cxn>
                <a:cxn ang="0">
                  <a:pos x="connsiteX8137" y="connsiteY8137"/>
                </a:cxn>
                <a:cxn ang="0">
                  <a:pos x="connsiteX8138" y="connsiteY8138"/>
                </a:cxn>
                <a:cxn ang="0">
                  <a:pos x="connsiteX8139" y="connsiteY8139"/>
                </a:cxn>
                <a:cxn ang="0">
                  <a:pos x="connsiteX8140" y="connsiteY8140"/>
                </a:cxn>
                <a:cxn ang="0">
                  <a:pos x="connsiteX8141" y="connsiteY8141"/>
                </a:cxn>
                <a:cxn ang="0">
                  <a:pos x="connsiteX8142" y="connsiteY8142"/>
                </a:cxn>
                <a:cxn ang="0">
                  <a:pos x="connsiteX8143" y="connsiteY8143"/>
                </a:cxn>
                <a:cxn ang="0">
                  <a:pos x="connsiteX8144" y="connsiteY8144"/>
                </a:cxn>
                <a:cxn ang="0">
                  <a:pos x="connsiteX8145" y="connsiteY8145"/>
                </a:cxn>
                <a:cxn ang="0">
                  <a:pos x="connsiteX8146" y="connsiteY8146"/>
                </a:cxn>
                <a:cxn ang="0">
                  <a:pos x="connsiteX8147" y="connsiteY8147"/>
                </a:cxn>
                <a:cxn ang="0">
                  <a:pos x="connsiteX8148" y="connsiteY8148"/>
                </a:cxn>
                <a:cxn ang="0">
                  <a:pos x="connsiteX8149" y="connsiteY8149"/>
                </a:cxn>
                <a:cxn ang="0">
                  <a:pos x="connsiteX8150" y="connsiteY8150"/>
                </a:cxn>
                <a:cxn ang="0">
                  <a:pos x="connsiteX8151" y="connsiteY8151"/>
                </a:cxn>
                <a:cxn ang="0">
                  <a:pos x="connsiteX8152" y="connsiteY8152"/>
                </a:cxn>
                <a:cxn ang="0">
                  <a:pos x="connsiteX8153" y="connsiteY8153"/>
                </a:cxn>
                <a:cxn ang="0">
                  <a:pos x="connsiteX8154" y="connsiteY8154"/>
                </a:cxn>
                <a:cxn ang="0">
                  <a:pos x="connsiteX8155" y="connsiteY8155"/>
                </a:cxn>
                <a:cxn ang="0">
                  <a:pos x="connsiteX8156" y="connsiteY8156"/>
                </a:cxn>
                <a:cxn ang="0">
                  <a:pos x="connsiteX8157" y="connsiteY8157"/>
                </a:cxn>
                <a:cxn ang="0">
                  <a:pos x="connsiteX8158" y="connsiteY8158"/>
                </a:cxn>
                <a:cxn ang="0">
                  <a:pos x="connsiteX8159" y="connsiteY8159"/>
                </a:cxn>
                <a:cxn ang="0">
                  <a:pos x="connsiteX8160" y="connsiteY8160"/>
                </a:cxn>
                <a:cxn ang="0">
                  <a:pos x="connsiteX8161" y="connsiteY8161"/>
                </a:cxn>
                <a:cxn ang="0">
                  <a:pos x="connsiteX8162" y="connsiteY8162"/>
                </a:cxn>
                <a:cxn ang="0">
                  <a:pos x="connsiteX8163" y="connsiteY8163"/>
                </a:cxn>
                <a:cxn ang="0">
                  <a:pos x="connsiteX8164" y="connsiteY8164"/>
                </a:cxn>
                <a:cxn ang="0">
                  <a:pos x="connsiteX8165" y="connsiteY8165"/>
                </a:cxn>
                <a:cxn ang="0">
                  <a:pos x="connsiteX8166" y="connsiteY8166"/>
                </a:cxn>
                <a:cxn ang="0">
                  <a:pos x="connsiteX8167" y="connsiteY8167"/>
                </a:cxn>
                <a:cxn ang="0">
                  <a:pos x="connsiteX8168" y="connsiteY8168"/>
                </a:cxn>
                <a:cxn ang="0">
                  <a:pos x="connsiteX8169" y="connsiteY8169"/>
                </a:cxn>
                <a:cxn ang="0">
                  <a:pos x="connsiteX8170" y="connsiteY8170"/>
                </a:cxn>
                <a:cxn ang="0">
                  <a:pos x="connsiteX8171" y="connsiteY8171"/>
                </a:cxn>
                <a:cxn ang="0">
                  <a:pos x="connsiteX8172" y="connsiteY8172"/>
                </a:cxn>
                <a:cxn ang="0">
                  <a:pos x="connsiteX8173" y="connsiteY8173"/>
                </a:cxn>
                <a:cxn ang="0">
                  <a:pos x="connsiteX8174" y="connsiteY8174"/>
                </a:cxn>
                <a:cxn ang="0">
                  <a:pos x="connsiteX8175" y="connsiteY8175"/>
                </a:cxn>
                <a:cxn ang="0">
                  <a:pos x="connsiteX8176" y="connsiteY8176"/>
                </a:cxn>
                <a:cxn ang="0">
                  <a:pos x="connsiteX8177" y="connsiteY8177"/>
                </a:cxn>
                <a:cxn ang="0">
                  <a:pos x="connsiteX8178" y="connsiteY8178"/>
                </a:cxn>
                <a:cxn ang="0">
                  <a:pos x="connsiteX8179" y="connsiteY8179"/>
                </a:cxn>
                <a:cxn ang="0">
                  <a:pos x="connsiteX8180" y="connsiteY8180"/>
                </a:cxn>
                <a:cxn ang="0">
                  <a:pos x="connsiteX8181" y="connsiteY8181"/>
                </a:cxn>
                <a:cxn ang="0">
                  <a:pos x="connsiteX8182" y="connsiteY8182"/>
                </a:cxn>
                <a:cxn ang="0">
                  <a:pos x="connsiteX8183" y="connsiteY8183"/>
                </a:cxn>
                <a:cxn ang="0">
                  <a:pos x="connsiteX8184" y="connsiteY8184"/>
                </a:cxn>
                <a:cxn ang="0">
                  <a:pos x="connsiteX8185" y="connsiteY8185"/>
                </a:cxn>
                <a:cxn ang="0">
                  <a:pos x="connsiteX8186" y="connsiteY8186"/>
                </a:cxn>
                <a:cxn ang="0">
                  <a:pos x="connsiteX8187" y="connsiteY8187"/>
                </a:cxn>
                <a:cxn ang="0">
                  <a:pos x="connsiteX8188" y="connsiteY8188"/>
                </a:cxn>
                <a:cxn ang="0">
                  <a:pos x="connsiteX8189" y="connsiteY8189"/>
                </a:cxn>
                <a:cxn ang="0">
                  <a:pos x="connsiteX8190" y="connsiteY8190"/>
                </a:cxn>
                <a:cxn ang="0">
                  <a:pos x="connsiteX8191" y="connsiteY8191"/>
                </a:cxn>
                <a:cxn ang="0">
                  <a:pos x="connsiteX8192" y="connsiteY8192"/>
                </a:cxn>
                <a:cxn ang="0">
                  <a:pos x="connsiteX8193" y="connsiteY8193"/>
                </a:cxn>
                <a:cxn ang="0">
                  <a:pos x="connsiteX8194" y="connsiteY8194"/>
                </a:cxn>
                <a:cxn ang="0">
                  <a:pos x="connsiteX8195" y="connsiteY8195"/>
                </a:cxn>
                <a:cxn ang="0">
                  <a:pos x="connsiteX8196" y="connsiteY8196"/>
                </a:cxn>
                <a:cxn ang="0">
                  <a:pos x="connsiteX8197" y="connsiteY8197"/>
                </a:cxn>
                <a:cxn ang="0">
                  <a:pos x="connsiteX8198" y="connsiteY8198"/>
                </a:cxn>
                <a:cxn ang="0">
                  <a:pos x="connsiteX8199" y="connsiteY8199"/>
                </a:cxn>
                <a:cxn ang="0">
                  <a:pos x="connsiteX8200" y="connsiteY8200"/>
                </a:cxn>
                <a:cxn ang="0">
                  <a:pos x="connsiteX8201" y="connsiteY8201"/>
                </a:cxn>
                <a:cxn ang="0">
                  <a:pos x="connsiteX8202" y="connsiteY8202"/>
                </a:cxn>
                <a:cxn ang="0">
                  <a:pos x="connsiteX8203" y="connsiteY8203"/>
                </a:cxn>
                <a:cxn ang="0">
                  <a:pos x="connsiteX8204" y="connsiteY8204"/>
                </a:cxn>
                <a:cxn ang="0">
                  <a:pos x="connsiteX8205" y="connsiteY8205"/>
                </a:cxn>
                <a:cxn ang="0">
                  <a:pos x="connsiteX8206" y="connsiteY8206"/>
                </a:cxn>
                <a:cxn ang="0">
                  <a:pos x="connsiteX8207" y="connsiteY8207"/>
                </a:cxn>
                <a:cxn ang="0">
                  <a:pos x="connsiteX8208" y="connsiteY8208"/>
                </a:cxn>
                <a:cxn ang="0">
                  <a:pos x="connsiteX8209" y="connsiteY8209"/>
                </a:cxn>
                <a:cxn ang="0">
                  <a:pos x="connsiteX8210" y="connsiteY8210"/>
                </a:cxn>
                <a:cxn ang="0">
                  <a:pos x="connsiteX8211" y="connsiteY8211"/>
                </a:cxn>
                <a:cxn ang="0">
                  <a:pos x="connsiteX8212" y="connsiteY8212"/>
                </a:cxn>
                <a:cxn ang="0">
                  <a:pos x="connsiteX8213" y="connsiteY8213"/>
                </a:cxn>
                <a:cxn ang="0">
                  <a:pos x="connsiteX8214" y="connsiteY8214"/>
                </a:cxn>
                <a:cxn ang="0">
                  <a:pos x="connsiteX8215" y="connsiteY8215"/>
                </a:cxn>
                <a:cxn ang="0">
                  <a:pos x="connsiteX8216" y="connsiteY8216"/>
                </a:cxn>
                <a:cxn ang="0">
                  <a:pos x="connsiteX8217" y="connsiteY8217"/>
                </a:cxn>
                <a:cxn ang="0">
                  <a:pos x="connsiteX8218" y="connsiteY8218"/>
                </a:cxn>
                <a:cxn ang="0">
                  <a:pos x="connsiteX8219" y="connsiteY8219"/>
                </a:cxn>
                <a:cxn ang="0">
                  <a:pos x="connsiteX8220" y="connsiteY8220"/>
                </a:cxn>
                <a:cxn ang="0">
                  <a:pos x="connsiteX8221" y="connsiteY8221"/>
                </a:cxn>
                <a:cxn ang="0">
                  <a:pos x="connsiteX8222" y="connsiteY8222"/>
                </a:cxn>
                <a:cxn ang="0">
                  <a:pos x="connsiteX8223" y="connsiteY8223"/>
                </a:cxn>
                <a:cxn ang="0">
                  <a:pos x="connsiteX8224" y="connsiteY8224"/>
                </a:cxn>
                <a:cxn ang="0">
                  <a:pos x="connsiteX8225" y="connsiteY8225"/>
                </a:cxn>
                <a:cxn ang="0">
                  <a:pos x="connsiteX8226" y="connsiteY8226"/>
                </a:cxn>
                <a:cxn ang="0">
                  <a:pos x="connsiteX8227" y="connsiteY8227"/>
                </a:cxn>
                <a:cxn ang="0">
                  <a:pos x="connsiteX8228" y="connsiteY8228"/>
                </a:cxn>
                <a:cxn ang="0">
                  <a:pos x="connsiteX8229" y="connsiteY8229"/>
                </a:cxn>
                <a:cxn ang="0">
                  <a:pos x="connsiteX8230" y="connsiteY8230"/>
                </a:cxn>
                <a:cxn ang="0">
                  <a:pos x="connsiteX8231" y="connsiteY8231"/>
                </a:cxn>
                <a:cxn ang="0">
                  <a:pos x="connsiteX8232" y="connsiteY8232"/>
                </a:cxn>
                <a:cxn ang="0">
                  <a:pos x="connsiteX8233" y="connsiteY8233"/>
                </a:cxn>
                <a:cxn ang="0">
                  <a:pos x="connsiteX8234" y="connsiteY8234"/>
                </a:cxn>
                <a:cxn ang="0">
                  <a:pos x="connsiteX8235" y="connsiteY8235"/>
                </a:cxn>
                <a:cxn ang="0">
                  <a:pos x="connsiteX8236" y="connsiteY8236"/>
                </a:cxn>
                <a:cxn ang="0">
                  <a:pos x="connsiteX8237" y="connsiteY8237"/>
                </a:cxn>
                <a:cxn ang="0">
                  <a:pos x="connsiteX8238" y="connsiteY8238"/>
                </a:cxn>
                <a:cxn ang="0">
                  <a:pos x="connsiteX8239" y="connsiteY8239"/>
                </a:cxn>
                <a:cxn ang="0">
                  <a:pos x="connsiteX8240" y="connsiteY8240"/>
                </a:cxn>
                <a:cxn ang="0">
                  <a:pos x="connsiteX8241" y="connsiteY8241"/>
                </a:cxn>
                <a:cxn ang="0">
                  <a:pos x="connsiteX8242" y="connsiteY8242"/>
                </a:cxn>
                <a:cxn ang="0">
                  <a:pos x="connsiteX8243" y="connsiteY8243"/>
                </a:cxn>
                <a:cxn ang="0">
                  <a:pos x="connsiteX8244" y="connsiteY8244"/>
                </a:cxn>
                <a:cxn ang="0">
                  <a:pos x="connsiteX8245" y="connsiteY8245"/>
                </a:cxn>
                <a:cxn ang="0">
                  <a:pos x="connsiteX8246" y="connsiteY8246"/>
                </a:cxn>
                <a:cxn ang="0">
                  <a:pos x="connsiteX8247" y="connsiteY8247"/>
                </a:cxn>
                <a:cxn ang="0">
                  <a:pos x="connsiteX8248" y="connsiteY8248"/>
                </a:cxn>
                <a:cxn ang="0">
                  <a:pos x="connsiteX8249" y="connsiteY8249"/>
                </a:cxn>
                <a:cxn ang="0">
                  <a:pos x="connsiteX8250" y="connsiteY8250"/>
                </a:cxn>
                <a:cxn ang="0">
                  <a:pos x="connsiteX8251" y="connsiteY8251"/>
                </a:cxn>
                <a:cxn ang="0">
                  <a:pos x="connsiteX8252" y="connsiteY8252"/>
                </a:cxn>
                <a:cxn ang="0">
                  <a:pos x="connsiteX8253" y="connsiteY8253"/>
                </a:cxn>
                <a:cxn ang="0">
                  <a:pos x="connsiteX8254" y="connsiteY8254"/>
                </a:cxn>
                <a:cxn ang="0">
                  <a:pos x="connsiteX8255" y="connsiteY8255"/>
                </a:cxn>
                <a:cxn ang="0">
                  <a:pos x="connsiteX8256" y="connsiteY8256"/>
                </a:cxn>
                <a:cxn ang="0">
                  <a:pos x="connsiteX8257" y="connsiteY8257"/>
                </a:cxn>
                <a:cxn ang="0">
                  <a:pos x="connsiteX8258" y="connsiteY8258"/>
                </a:cxn>
                <a:cxn ang="0">
                  <a:pos x="connsiteX8259" y="connsiteY8259"/>
                </a:cxn>
                <a:cxn ang="0">
                  <a:pos x="connsiteX8260" y="connsiteY8260"/>
                </a:cxn>
                <a:cxn ang="0">
                  <a:pos x="connsiteX8261" y="connsiteY8261"/>
                </a:cxn>
                <a:cxn ang="0">
                  <a:pos x="connsiteX8262" y="connsiteY8262"/>
                </a:cxn>
                <a:cxn ang="0">
                  <a:pos x="connsiteX8263" y="connsiteY8263"/>
                </a:cxn>
                <a:cxn ang="0">
                  <a:pos x="connsiteX8264" y="connsiteY8264"/>
                </a:cxn>
                <a:cxn ang="0">
                  <a:pos x="connsiteX8265" y="connsiteY8265"/>
                </a:cxn>
                <a:cxn ang="0">
                  <a:pos x="connsiteX8266" y="connsiteY8266"/>
                </a:cxn>
                <a:cxn ang="0">
                  <a:pos x="connsiteX8267" y="connsiteY8267"/>
                </a:cxn>
                <a:cxn ang="0">
                  <a:pos x="connsiteX8268" y="connsiteY8268"/>
                </a:cxn>
                <a:cxn ang="0">
                  <a:pos x="connsiteX8269" y="connsiteY8269"/>
                </a:cxn>
                <a:cxn ang="0">
                  <a:pos x="connsiteX8270" y="connsiteY8270"/>
                </a:cxn>
                <a:cxn ang="0">
                  <a:pos x="connsiteX8271" y="connsiteY8271"/>
                </a:cxn>
                <a:cxn ang="0">
                  <a:pos x="connsiteX8272" y="connsiteY8272"/>
                </a:cxn>
                <a:cxn ang="0">
                  <a:pos x="connsiteX8273" y="connsiteY8273"/>
                </a:cxn>
                <a:cxn ang="0">
                  <a:pos x="connsiteX8274" y="connsiteY8274"/>
                </a:cxn>
                <a:cxn ang="0">
                  <a:pos x="connsiteX8275" y="connsiteY8275"/>
                </a:cxn>
                <a:cxn ang="0">
                  <a:pos x="connsiteX8276" y="connsiteY8276"/>
                </a:cxn>
                <a:cxn ang="0">
                  <a:pos x="connsiteX8277" y="connsiteY8277"/>
                </a:cxn>
                <a:cxn ang="0">
                  <a:pos x="connsiteX8278" y="connsiteY8278"/>
                </a:cxn>
                <a:cxn ang="0">
                  <a:pos x="connsiteX8279" y="connsiteY8279"/>
                </a:cxn>
                <a:cxn ang="0">
                  <a:pos x="connsiteX8280" y="connsiteY8280"/>
                </a:cxn>
                <a:cxn ang="0">
                  <a:pos x="connsiteX8281" y="connsiteY8281"/>
                </a:cxn>
                <a:cxn ang="0">
                  <a:pos x="connsiteX8282" y="connsiteY8282"/>
                </a:cxn>
                <a:cxn ang="0">
                  <a:pos x="connsiteX8283" y="connsiteY8283"/>
                </a:cxn>
                <a:cxn ang="0">
                  <a:pos x="connsiteX8284" y="connsiteY8284"/>
                </a:cxn>
                <a:cxn ang="0">
                  <a:pos x="connsiteX8285" y="connsiteY8285"/>
                </a:cxn>
                <a:cxn ang="0">
                  <a:pos x="connsiteX8286" y="connsiteY8286"/>
                </a:cxn>
                <a:cxn ang="0">
                  <a:pos x="connsiteX8287" y="connsiteY8287"/>
                </a:cxn>
                <a:cxn ang="0">
                  <a:pos x="connsiteX8288" y="connsiteY8288"/>
                </a:cxn>
                <a:cxn ang="0">
                  <a:pos x="connsiteX8289" y="connsiteY8289"/>
                </a:cxn>
                <a:cxn ang="0">
                  <a:pos x="connsiteX8290" y="connsiteY8290"/>
                </a:cxn>
                <a:cxn ang="0">
                  <a:pos x="connsiteX8291" y="connsiteY8291"/>
                </a:cxn>
                <a:cxn ang="0">
                  <a:pos x="connsiteX8292" y="connsiteY8292"/>
                </a:cxn>
                <a:cxn ang="0">
                  <a:pos x="connsiteX8293" y="connsiteY8293"/>
                </a:cxn>
                <a:cxn ang="0">
                  <a:pos x="connsiteX8294" y="connsiteY8294"/>
                </a:cxn>
                <a:cxn ang="0">
                  <a:pos x="connsiteX8295" y="connsiteY8295"/>
                </a:cxn>
                <a:cxn ang="0">
                  <a:pos x="connsiteX8296" y="connsiteY8296"/>
                </a:cxn>
                <a:cxn ang="0">
                  <a:pos x="connsiteX8297" y="connsiteY8297"/>
                </a:cxn>
                <a:cxn ang="0">
                  <a:pos x="connsiteX8298" y="connsiteY8298"/>
                </a:cxn>
                <a:cxn ang="0">
                  <a:pos x="connsiteX8299" y="connsiteY8299"/>
                </a:cxn>
                <a:cxn ang="0">
                  <a:pos x="connsiteX8300" y="connsiteY8300"/>
                </a:cxn>
                <a:cxn ang="0">
                  <a:pos x="connsiteX8301" y="connsiteY8301"/>
                </a:cxn>
                <a:cxn ang="0">
                  <a:pos x="connsiteX8302" y="connsiteY8302"/>
                </a:cxn>
                <a:cxn ang="0">
                  <a:pos x="connsiteX8303" y="connsiteY8303"/>
                </a:cxn>
                <a:cxn ang="0">
                  <a:pos x="connsiteX8304" y="connsiteY8304"/>
                </a:cxn>
                <a:cxn ang="0">
                  <a:pos x="connsiteX8305" y="connsiteY8305"/>
                </a:cxn>
                <a:cxn ang="0">
                  <a:pos x="connsiteX8306" y="connsiteY8306"/>
                </a:cxn>
                <a:cxn ang="0">
                  <a:pos x="connsiteX8307" y="connsiteY8307"/>
                </a:cxn>
                <a:cxn ang="0">
                  <a:pos x="connsiteX8308" y="connsiteY8308"/>
                </a:cxn>
                <a:cxn ang="0">
                  <a:pos x="connsiteX8309" y="connsiteY8309"/>
                </a:cxn>
                <a:cxn ang="0">
                  <a:pos x="connsiteX8310" y="connsiteY8310"/>
                </a:cxn>
                <a:cxn ang="0">
                  <a:pos x="connsiteX8311" y="connsiteY8311"/>
                </a:cxn>
                <a:cxn ang="0">
                  <a:pos x="connsiteX8312" y="connsiteY8312"/>
                </a:cxn>
                <a:cxn ang="0">
                  <a:pos x="connsiteX8313" y="connsiteY8313"/>
                </a:cxn>
                <a:cxn ang="0">
                  <a:pos x="connsiteX8314" y="connsiteY8314"/>
                </a:cxn>
                <a:cxn ang="0">
                  <a:pos x="connsiteX8315" y="connsiteY8315"/>
                </a:cxn>
                <a:cxn ang="0">
                  <a:pos x="connsiteX8316" y="connsiteY8316"/>
                </a:cxn>
                <a:cxn ang="0">
                  <a:pos x="connsiteX8317" y="connsiteY8317"/>
                </a:cxn>
                <a:cxn ang="0">
                  <a:pos x="connsiteX8318" y="connsiteY8318"/>
                </a:cxn>
                <a:cxn ang="0">
                  <a:pos x="connsiteX8319" y="connsiteY8319"/>
                </a:cxn>
                <a:cxn ang="0">
                  <a:pos x="connsiteX8320" y="connsiteY8320"/>
                </a:cxn>
                <a:cxn ang="0">
                  <a:pos x="connsiteX8321" y="connsiteY8321"/>
                </a:cxn>
                <a:cxn ang="0">
                  <a:pos x="connsiteX8322" y="connsiteY8322"/>
                </a:cxn>
                <a:cxn ang="0">
                  <a:pos x="connsiteX8323" y="connsiteY8323"/>
                </a:cxn>
                <a:cxn ang="0">
                  <a:pos x="connsiteX8324" y="connsiteY8324"/>
                </a:cxn>
                <a:cxn ang="0">
                  <a:pos x="connsiteX8325" y="connsiteY8325"/>
                </a:cxn>
                <a:cxn ang="0">
                  <a:pos x="connsiteX8326" y="connsiteY8326"/>
                </a:cxn>
                <a:cxn ang="0">
                  <a:pos x="connsiteX8327" y="connsiteY8327"/>
                </a:cxn>
                <a:cxn ang="0">
                  <a:pos x="connsiteX8328" y="connsiteY8328"/>
                </a:cxn>
                <a:cxn ang="0">
                  <a:pos x="connsiteX8329" y="connsiteY8329"/>
                </a:cxn>
                <a:cxn ang="0">
                  <a:pos x="connsiteX8330" y="connsiteY8330"/>
                </a:cxn>
                <a:cxn ang="0">
                  <a:pos x="connsiteX8331" y="connsiteY8331"/>
                </a:cxn>
                <a:cxn ang="0">
                  <a:pos x="connsiteX8332" y="connsiteY8332"/>
                </a:cxn>
                <a:cxn ang="0">
                  <a:pos x="connsiteX8333" y="connsiteY8333"/>
                </a:cxn>
                <a:cxn ang="0">
                  <a:pos x="connsiteX8334" y="connsiteY8334"/>
                </a:cxn>
                <a:cxn ang="0">
                  <a:pos x="connsiteX8335" y="connsiteY8335"/>
                </a:cxn>
                <a:cxn ang="0">
                  <a:pos x="connsiteX8336" y="connsiteY8336"/>
                </a:cxn>
                <a:cxn ang="0">
                  <a:pos x="connsiteX8337" y="connsiteY8337"/>
                </a:cxn>
                <a:cxn ang="0">
                  <a:pos x="connsiteX8338" y="connsiteY8338"/>
                </a:cxn>
                <a:cxn ang="0">
                  <a:pos x="connsiteX8339" y="connsiteY8339"/>
                </a:cxn>
                <a:cxn ang="0">
                  <a:pos x="connsiteX8340" y="connsiteY8340"/>
                </a:cxn>
                <a:cxn ang="0">
                  <a:pos x="connsiteX8341" y="connsiteY8341"/>
                </a:cxn>
                <a:cxn ang="0">
                  <a:pos x="connsiteX8342" y="connsiteY8342"/>
                </a:cxn>
                <a:cxn ang="0">
                  <a:pos x="connsiteX8343" y="connsiteY8343"/>
                </a:cxn>
                <a:cxn ang="0">
                  <a:pos x="connsiteX8344" y="connsiteY8344"/>
                </a:cxn>
                <a:cxn ang="0">
                  <a:pos x="connsiteX8345" y="connsiteY8345"/>
                </a:cxn>
                <a:cxn ang="0">
                  <a:pos x="connsiteX8346" y="connsiteY8346"/>
                </a:cxn>
                <a:cxn ang="0">
                  <a:pos x="connsiteX8347" y="connsiteY8347"/>
                </a:cxn>
                <a:cxn ang="0">
                  <a:pos x="connsiteX8348" y="connsiteY8348"/>
                </a:cxn>
                <a:cxn ang="0">
                  <a:pos x="connsiteX8349" y="connsiteY8349"/>
                </a:cxn>
                <a:cxn ang="0">
                  <a:pos x="connsiteX8350" y="connsiteY8350"/>
                </a:cxn>
                <a:cxn ang="0">
                  <a:pos x="connsiteX8351" y="connsiteY8351"/>
                </a:cxn>
                <a:cxn ang="0">
                  <a:pos x="connsiteX8352" y="connsiteY8352"/>
                </a:cxn>
                <a:cxn ang="0">
                  <a:pos x="connsiteX8353" y="connsiteY8353"/>
                </a:cxn>
                <a:cxn ang="0">
                  <a:pos x="connsiteX8354" y="connsiteY8354"/>
                </a:cxn>
                <a:cxn ang="0">
                  <a:pos x="connsiteX8355" y="connsiteY8355"/>
                </a:cxn>
                <a:cxn ang="0">
                  <a:pos x="connsiteX8356" y="connsiteY8356"/>
                </a:cxn>
                <a:cxn ang="0">
                  <a:pos x="connsiteX8357" y="connsiteY8357"/>
                </a:cxn>
                <a:cxn ang="0">
                  <a:pos x="connsiteX8358" y="connsiteY8358"/>
                </a:cxn>
                <a:cxn ang="0">
                  <a:pos x="connsiteX8359" y="connsiteY8359"/>
                </a:cxn>
                <a:cxn ang="0">
                  <a:pos x="connsiteX8360" y="connsiteY8360"/>
                </a:cxn>
                <a:cxn ang="0">
                  <a:pos x="connsiteX8361" y="connsiteY8361"/>
                </a:cxn>
                <a:cxn ang="0">
                  <a:pos x="connsiteX8362" y="connsiteY8362"/>
                </a:cxn>
                <a:cxn ang="0">
                  <a:pos x="connsiteX8363" y="connsiteY8363"/>
                </a:cxn>
                <a:cxn ang="0">
                  <a:pos x="connsiteX8364" y="connsiteY8364"/>
                </a:cxn>
                <a:cxn ang="0">
                  <a:pos x="connsiteX8365" y="connsiteY8365"/>
                </a:cxn>
                <a:cxn ang="0">
                  <a:pos x="connsiteX8366" y="connsiteY8366"/>
                </a:cxn>
                <a:cxn ang="0">
                  <a:pos x="connsiteX8367" y="connsiteY8367"/>
                </a:cxn>
                <a:cxn ang="0">
                  <a:pos x="connsiteX8368" y="connsiteY8368"/>
                </a:cxn>
                <a:cxn ang="0">
                  <a:pos x="connsiteX8369" y="connsiteY8369"/>
                </a:cxn>
                <a:cxn ang="0">
                  <a:pos x="connsiteX8370" y="connsiteY8370"/>
                </a:cxn>
                <a:cxn ang="0">
                  <a:pos x="connsiteX8371" y="connsiteY8371"/>
                </a:cxn>
                <a:cxn ang="0">
                  <a:pos x="connsiteX8372" y="connsiteY8372"/>
                </a:cxn>
                <a:cxn ang="0">
                  <a:pos x="connsiteX8373" y="connsiteY8373"/>
                </a:cxn>
                <a:cxn ang="0">
                  <a:pos x="connsiteX8374" y="connsiteY8374"/>
                </a:cxn>
                <a:cxn ang="0">
                  <a:pos x="connsiteX8375" y="connsiteY8375"/>
                </a:cxn>
                <a:cxn ang="0">
                  <a:pos x="connsiteX8376" y="connsiteY8376"/>
                </a:cxn>
                <a:cxn ang="0">
                  <a:pos x="connsiteX8377" y="connsiteY8377"/>
                </a:cxn>
                <a:cxn ang="0">
                  <a:pos x="connsiteX8378" y="connsiteY8378"/>
                </a:cxn>
                <a:cxn ang="0">
                  <a:pos x="connsiteX8379" y="connsiteY8379"/>
                </a:cxn>
                <a:cxn ang="0">
                  <a:pos x="connsiteX8380" y="connsiteY8380"/>
                </a:cxn>
                <a:cxn ang="0">
                  <a:pos x="connsiteX8381" y="connsiteY8381"/>
                </a:cxn>
                <a:cxn ang="0">
                  <a:pos x="connsiteX8382" y="connsiteY8382"/>
                </a:cxn>
                <a:cxn ang="0">
                  <a:pos x="connsiteX8383" y="connsiteY8383"/>
                </a:cxn>
                <a:cxn ang="0">
                  <a:pos x="connsiteX8384" y="connsiteY8384"/>
                </a:cxn>
                <a:cxn ang="0">
                  <a:pos x="connsiteX8385" y="connsiteY8385"/>
                </a:cxn>
                <a:cxn ang="0">
                  <a:pos x="connsiteX8386" y="connsiteY8386"/>
                </a:cxn>
                <a:cxn ang="0">
                  <a:pos x="connsiteX8387" y="connsiteY8387"/>
                </a:cxn>
                <a:cxn ang="0">
                  <a:pos x="connsiteX8388" y="connsiteY8388"/>
                </a:cxn>
                <a:cxn ang="0">
                  <a:pos x="connsiteX8389" y="connsiteY8389"/>
                </a:cxn>
                <a:cxn ang="0">
                  <a:pos x="connsiteX8390" y="connsiteY8390"/>
                </a:cxn>
                <a:cxn ang="0">
                  <a:pos x="connsiteX8391" y="connsiteY8391"/>
                </a:cxn>
                <a:cxn ang="0">
                  <a:pos x="connsiteX8392" y="connsiteY8392"/>
                </a:cxn>
                <a:cxn ang="0">
                  <a:pos x="connsiteX8393" y="connsiteY8393"/>
                </a:cxn>
                <a:cxn ang="0">
                  <a:pos x="connsiteX8394" y="connsiteY8394"/>
                </a:cxn>
                <a:cxn ang="0">
                  <a:pos x="connsiteX8395" y="connsiteY8395"/>
                </a:cxn>
                <a:cxn ang="0">
                  <a:pos x="connsiteX8396" y="connsiteY8396"/>
                </a:cxn>
                <a:cxn ang="0">
                  <a:pos x="connsiteX8397" y="connsiteY8397"/>
                </a:cxn>
                <a:cxn ang="0">
                  <a:pos x="connsiteX8398" y="connsiteY8398"/>
                </a:cxn>
                <a:cxn ang="0">
                  <a:pos x="connsiteX8399" y="connsiteY8399"/>
                </a:cxn>
                <a:cxn ang="0">
                  <a:pos x="connsiteX8400" y="connsiteY8400"/>
                </a:cxn>
                <a:cxn ang="0">
                  <a:pos x="connsiteX8401" y="connsiteY8401"/>
                </a:cxn>
                <a:cxn ang="0">
                  <a:pos x="connsiteX8402" y="connsiteY8402"/>
                </a:cxn>
                <a:cxn ang="0">
                  <a:pos x="connsiteX8403" y="connsiteY8403"/>
                </a:cxn>
                <a:cxn ang="0">
                  <a:pos x="connsiteX8404" y="connsiteY8404"/>
                </a:cxn>
                <a:cxn ang="0">
                  <a:pos x="connsiteX8405" y="connsiteY8405"/>
                </a:cxn>
                <a:cxn ang="0">
                  <a:pos x="connsiteX8406" y="connsiteY8406"/>
                </a:cxn>
                <a:cxn ang="0">
                  <a:pos x="connsiteX8407" y="connsiteY8407"/>
                </a:cxn>
                <a:cxn ang="0">
                  <a:pos x="connsiteX8408" y="connsiteY8408"/>
                </a:cxn>
                <a:cxn ang="0">
                  <a:pos x="connsiteX8409" y="connsiteY8409"/>
                </a:cxn>
                <a:cxn ang="0">
                  <a:pos x="connsiteX8410" y="connsiteY8410"/>
                </a:cxn>
                <a:cxn ang="0">
                  <a:pos x="connsiteX8411" y="connsiteY8411"/>
                </a:cxn>
                <a:cxn ang="0">
                  <a:pos x="connsiteX8412" y="connsiteY8412"/>
                </a:cxn>
                <a:cxn ang="0">
                  <a:pos x="connsiteX8413" y="connsiteY8413"/>
                </a:cxn>
                <a:cxn ang="0">
                  <a:pos x="connsiteX8414" y="connsiteY8414"/>
                </a:cxn>
                <a:cxn ang="0">
                  <a:pos x="connsiteX8415" y="connsiteY8415"/>
                </a:cxn>
                <a:cxn ang="0">
                  <a:pos x="connsiteX8416" y="connsiteY8416"/>
                </a:cxn>
                <a:cxn ang="0">
                  <a:pos x="connsiteX8417" y="connsiteY8417"/>
                </a:cxn>
                <a:cxn ang="0">
                  <a:pos x="connsiteX8418" y="connsiteY8418"/>
                </a:cxn>
                <a:cxn ang="0">
                  <a:pos x="connsiteX8419" y="connsiteY8419"/>
                </a:cxn>
                <a:cxn ang="0">
                  <a:pos x="connsiteX8420" y="connsiteY8420"/>
                </a:cxn>
                <a:cxn ang="0">
                  <a:pos x="connsiteX8421" y="connsiteY8421"/>
                </a:cxn>
                <a:cxn ang="0">
                  <a:pos x="connsiteX8422" y="connsiteY8422"/>
                </a:cxn>
                <a:cxn ang="0">
                  <a:pos x="connsiteX8423" y="connsiteY8423"/>
                </a:cxn>
                <a:cxn ang="0">
                  <a:pos x="connsiteX8424" y="connsiteY8424"/>
                </a:cxn>
                <a:cxn ang="0">
                  <a:pos x="connsiteX8425" y="connsiteY8425"/>
                </a:cxn>
                <a:cxn ang="0">
                  <a:pos x="connsiteX8426" y="connsiteY8426"/>
                </a:cxn>
                <a:cxn ang="0">
                  <a:pos x="connsiteX8427" y="connsiteY8427"/>
                </a:cxn>
                <a:cxn ang="0">
                  <a:pos x="connsiteX8428" y="connsiteY8428"/>
                </a:cxn>
                <a:cxn ang="0">
                  <a:pos x="connsiteX8429" y="connsiteY8429"/>
                </a:cxn>
                <a:cxn ang="0">
                  <a:pos x="connsiteX8430" y="connsiteY8430"/>
                </a:cxn>
                <a:cxn ang="0">
                  <a:pos x="connsiteX8431" y="connsiteY8431"/>
                </a:cxn>
                <a:cxn ang="0">
                  <a:pos x="connsiteX8432" y="connsiteY8432"/>
                </a:cxn>
                <a:cxn ang="0">
                  <a:pos x="connsiteX8433" y="connsiteY8433"/>
                </a:cxn>
                <a:cxn ang="0">
                  <a:pos x="connsiteX8434" y="connsiteY8434"/>
                </a:cxn>
                <a:cxn ang="0">
                  <a:pos x="connsiteX8435" y="connsiteY8435"/>
                </a:cxn>
                <a:cxn ang="0">
                  <a:pos x="connsiteX8436" y="connsiteY8436"/>
                </a:cxn>
                <a:cxn ang="0">
                  <a:pos x="connsiteX8437" y="connsiteY8437"/>
                </a:cxn>
                <a:cxn ang="0">
                  <a:pos x="connsiteX8438" y="connsiteY8438"/>
                </a:cxn>
                <a:cxn ang="0">
                  <a:pos x="connsiteX8439" y="connsiteY8439"/>
                </a:cxn>
                <a:cxn ang="0">
                  <a:pos x="connsiteX8440" y="connsiteY8440"/>
                </a:cxn>
                <a:cxn ang="0">
                  <a:pos x="connsiteX8441" y="connsiteY8441"/>
                </a:cxn>
                <a:cxn ang="0">
                  <a:pos x="connsiteX8442" y="connsiteY8442"/>
                </a:cxn>
                <a:cxn ang="0">
                  <a:pos x="connsiteX8443" y="connsiteY8443"/>
                </a:cxn>
                <a:cxn ang="0">
                  <a:pos x="connsiteX8444" y="connsiteY8444"/>
                </a:cxn>
                <a:cxn ang="0">
                  <a:pos x="connsiteX8445" y="connsiteY8445"/>
                </a:cxn>
                <a:cxn ang="0">
                  <a:pos x="connsiteX8446" y="connsiteY8446"/>
                </a:cxn>
                <a:cxn ang="0">
                  <a:pos x="connsiteX8447" y="connsiteY8447"/>
                </a:cxn>
                <a:cxn ang="0">
                  <a:pos x="connsiteX8448" y="connsiteY8448"/>
                </a:cxn>
                <a:cxn ang="0">
                  <a:pos x="connsiteX8449" y="connsiteY8449"/>
                </a:cxn>
                <a:cxn ang="0">
                  <a:pos x="connsiteX8450" y="connsiteY8450"/>
                </a:cxn>
                <a:cxn ang="0">
                  <a:pos x="connsiteX8451" y="connsiteY8451"/>
                </a:cxn>
                <a:cxn ang="0">
                  <a:pos x="connsiteX8452" y="connsiteY8452"/>
                </a:cxn>
                <a:cxn ang="0">
                  <a:pos x="connsiteX8453" y="connsiteY8453"/>
                </a:cxn>
                <a:cxn ang="0">
                  <a:pos x="connsiteX8454" y="connsiteY8454"/>
                </a:cxn>
                <a:cxn ang="0">
                  <a:pos x="connsiteX8455" y="connsiteY8455"/>
                </a:cxn>
                <a:cxn ang="0">
                  <a:pos x="connsiteX8456" y="connsiteY8456"/>
                </a:cxn>
                <a:cxn ang="0">
                  <a:pos x="connsiteX8457" y="connsiteY8457"/>
                </a:cxn>
                <a:cxn ang="0">
                  <a:pos x="connsiteX8458" y="connsiteY8458"/>
                </a:cxn>
                <a:cxn ang="0">
                  <a:pos x="connsiteX8459" y="connsiteY8459"/>
                </a:cxn>
                <a:cxn ang="0">
                  <a:pos x="connsiteX8460" y="connsiteY8460"/>
                </a:cxn>
                <a:cxn ang="0">
                  <a:pos x="connsiteX8461" y="connsiteY8461"/>
                </a:cxn>
                <a:cxn ang="0">
                  <a:pos x="connsiteX8462" y="connsiteY8462"/>
                </a:cxn>
                <a:cxn ang="0">
                  <a:pos x="connsiteX8463" y="connsiteY8463"/>
                </a:cxn>
                <a:cxn ang="0">
                  <a:pos x="connsiteX8464" y="connsiteY8464"/>
                </a:cxn>
                <a:cxn ang="0">
                  <a:pos x="connsiteX8465" y="connsiteY8465"/>
                </a:cxn>
                <a:cxn ang="0">
                  <a:pos x="connsiteX8466" y="connsiteY8466"/>
                </a:cxn>
                <a:cxn ang="0">
                  <a:pos x="connsiteX8467" y="connsiteY8467"/>
                </a:cxn>
                <a:cxn ang="0">
                  <a:pos x="connsiteX8468" y="connsiteY8468"/>
                </a:cxn>
                <a:cxn ang="0">
                  <a:pos x="connsiteX8469" y="connsiteY8469"/>
                </a:cxn>
                <a:cxn ang="0">
                  <a:pos x="connsiteX8470" y="connsiteY8470"/>
                </a:cxn>
                <a:cxn ang="0">
                  <a:pos x="connsiteX8471" y="connsiteY8471"/>
                </a:cxn>
                <a:cxn ang="0">
                  <a:pos x="connsiteX8472" y="connsiteY8472"/>
                </a:cxn>
                <a:cxn ang="0">
                  <a:pos x="connsiteX8473" y="connsiteY8473"/>
                </a:cxn>
                <a:cxn ang="0">
                  <a:pos x="connsiteX8474" y="connsiteY8474"/>
                </a:cxn>
                <a:cxn ang="0">
                  <a:pos x="connsiteX8475" y="connsiteY8475"/>
                </a:cxn>
                <a:cxn ang="0">
                  <a:pos x="connsiteX8476" y="connsiteY8476"/>
                </a:cxn>
                <a:cxn ang="0">
                  <a:pos x="connsiteX8477" y="connsiteY8477"/>
                </a:cxn>
                <a:cxn ang="0">
                  <a:pos x="connsiteX8478" y="connsiteY8478"/>
                </a:cxn>
                <a:cxn ang="0">
                  <a:pos x="connsiteX8479" y="connsiteY8479"/>
                </a:cxn>
                <a:cxn ang="0">
                  <a:pos x="connsiteX8480" y="connsiteY8480"/>
                </a:cxn>
                <a:cxn ang="0">
                  <a:pos x="connsiteX8481" y="connsiteY8481"/>
                </a:cxn>
                <a:cxn ang="0">
                  <a:pos x="connsiteX8482" y="connsiteY8482"/>
                </a:cxn>
                <a:cxn ang="0">
                  <a:pos x="connsiteX8483" y="connsiteY8483"/>
                </a:cxn>
                <a:cxn ang="0">
                  <a:pos x="connsiteX8484" y="connsiteY8484"/>
                </a:cxn>
                <a:cxn ang="0">
                  <a:pos x="connsiteX8485" y="connsiteY8485"/>
                </a:cxn>
                <a:cxn ang="0">
                  <a:pos x="connsiteX8486" y="connsiteY8486"/>
                </a:cxn>
                <a:cxn ang="0">
                  <a:pos x="connsiteX8487" y="connsiteY8487"/>
                </a:cxn>
                <a:cxn ang="0">
                  <a:pos x="connsiteX8488" y="connsiteY8488"/>
                </a:cxn>
                <a:cxn ang="0">
                  <a:pos x="connsiteX8489" y="connsiteY8489"/>
                </a:cxn>
                <a:cxn ang="0">
                  <a:pos x="connsiteX8490" y="connsiteY8490"/>
                </a:cxn>
                <a:cxn ang="0">
                  <a:pos x="connsiteX8491" y="connsiteY8491"/>
                </a:cxn>
                <a:cxn ang="0">
                  <a:pos x="connsiteX8492" y="connsiteY8492"/>
                </a:cxn>
                <a:cxn ang="0">
                  <a:pos x="connsiteX8493" y="connsiteY8493"/>
                </a:cxn>
                <a:cxn ang="0">
                  <a:pos x="connsiteX8494" y="connsiteY8494"/>
                </a:cxn>
                <a:cxn ang="0">
                  <a:pos x="connsiteX8495" y="connsiteY8495"/>
                </a:cxn>
                <a:cxn ang="0">
                  <a:pos x="connsiteX8496" y="connsiteY8496"/>
                </a:cxn>
                <a:cxn ang="0">
                  <a:pos x="connsiteX8497" y="connsiteY8497"/>
                </a:cxn>
                <a:cxn ang="0">
                  <a:pos x="connsiteX8498" y="connsiteY8498"/>
                </a:cxn>
                <a:cxn ang="0">
                  <a:pos x="connsiteX8499" y="connsiteY8499"/>
                </a:cxn>
                <a:cxn ang="0">
                  <a:pos x="connsiteX8500" y="connsiteY8500"/>
                </a:cxn>
                <a:cxn ang="0">
                  <a:pos x="connsiteX8501" y="connsiteY8501"/>
                </a:cxn>
                <a:cxn ang="0">
                  <a:pos x="connsiteX8502" y="connsiteY8502"/>
                </a:cxn>
                <a:cxn ang="0">
                  <a:pos x="connsiteX8503" y="connsiteY8503"/>
                </a:cxn>
                <a:cxn ang="0">
                  <a:pos x="connsiteX8504" y="connsiteY8504"/>
                </a:cxn>
                <a:cxn ang="0">
                  <a:pos x="connsiteX8505" y="connsiteY8505"/>
                </a:cxn>
                <a:cxn ang="0">
                  <a:pos x="connsiteX8506" y="connsiteY8506"/>
                </a:cxn>
                <a:cxn ang="0">
                  <a:pos x="connsiteX8507" y="connsiteY8507"/>
                </a:cxn>
                <a:cxn ang="0">
                  <a:pos x="connsiteX8508" y="connsiteY8508"/>
                </a:cxn>
                <a:cxn ang="0">
                  <a:pos x="connsiteX8509" y="connsiteY8509"/>
                </a:cxn>
                <a:cxn ang="0">
                  <a:pos x="connsiteX8510" y="connsiteY8510"/>
                </a:cxn>
                <a:cxn ang="0">
                  <a:pos x="connsiteX8511" y="connsiteY8511"/>
                </a:cxn>
                <a:cxn ang="0">
                  <a:pos x="connsiteX8512" y="connsiteY8512"/>
                </a:cxn>
                <a:cxn ang="0">
                  <a:pos x="connsiteX8513" y="connsiteY8513"/>
                </a:cxn>
                <a:cxn ang="0">
                  <a:pos x="connsiteX8514" y="connsiteY8514"/>
                </a:cxn>
                <a:cxn ang="0">
                  <a:pos x="connsiteX8515" y="connsiteY8515"/>
                </a:cxn>
                <a:cxn ang="0">
                  <a:pos x="connsiteX8516" y="connsiteY8516"/>
                </a:cxn>
                <a:cxn ang="0">
                  <a:pos x="connsiteX8517" y="connsiteY8517"/>
                </a:cxn>
                <a:cxn ang="0">
                  <a:pos x="connsiteX8518" y="connsiteY8518"/>
                </a:cxn>
                <a:cxn ang="0">
                  <a:pos x="connsiteX8519" y="connsiteY8519"/>
                </a:cxn>
                <a:cxn ang="0">
                  <a:pos x="connsiteX8520" y="connsiteY8520"/>
                </a:cxn>
                <a:cxn ang="0">
                  <a:pos x="connsiteX8521" y="connsiteY8521"/>
                </a:cxn>
                <a:cxn ang="0">
                  <a:pos x="connsiteX8522" y="connsiteY8522"/>
                </a:cxn>
                <a:cxn ang="0">
                  <a:pos x="connsiteX8523" y="connsiteY8523"/>
                </a:cxn>
                <a:cxn ang="0">
                  <a:pos x="connsiteX8524" y="connsiteY8524"/>
                </a:cxn>
                <a:cxn ang="0">
                  <a:pos x="connsiteX8525" y="connsiteY8525"/>
                </a:cxn>
                <a:cxn ang="0">
                  <a:pos x="connsiteX8526" y="connsiteY8526"/>
                </a:cxn>
                <a:cxn ang="0">
                  <a:pos x="connsiteX8527" y="connsiteY8527"/>
                </a:cxn>
                <a:cxn ang="0">
                  <a:pos x="connsiteX8528" y="connsiteY8528"/>
                </a:cxn>
                <a:cxn ang="0">
                  <a:pos x="connsiteX8529" y="connsiteY8529"/>
                </a:cxn>
                <a:cxn ang="0">
                  <a:pos x="connsiteX8530" y="connsiteY8530"/>
                </a:cxn>
                <a:cxn ang="0">
                  <a:pos x="connsiteX8531" y="connsiteY8531"/>
                </a:cxn>
                <a:cxn ang="0">
                  <a:pos x="connsiteX8532" y="connsiteY8532"/>
                </a:cxn>
                <a:cxn ang="0">
                  <a:pos x="connsiteX8533" y="connsiteY8533"/>
                </a:cxn>
                <a:cxn ang="0">
                  <a:pos x="connsiteX8534" y="connsiteY8534"/>
                </a:cxn>
                <a:cxn ang="0">
                  <a:pos x="connsiteX8535" y="connsiteY8535"/>
                </a:cxn>
                <a:cxn ang="0">
                  <a:pos x="connsiteX8536" y="connsiteY8536"/>
                </a:cxn>
                <a:cxn ang="0">
                  <a:pos x="connsiteX8537" y="connsiteY8537"/>
                </a:cxn>
                <a:cxn ang="0">
                  <a:pos x="connsiteX8538" y="connsiteY8538"/>
                </a:cxn>
                <a:cxn ang="0">
                  <a:pos x="connsiteX8539" y="connsiteY8539"/>
                </a:cxn>
                <a:cxn ang="0">
                  <a:pos x="connsiteX8540" y="connsiteY8540"/>
                </a:cxn>
                <a:cxn ang="0">
                  <a:pos x="connsiteX8541" y="connsiteY8541"/>
                </a:cxn>
                <a:cxn ang="0">
                  <a:pos x="connsiteX8542" y="connsiteY8542"/>
                </a:cxn>
                <a:cxn ang="0">
                  <a:pos x="connsiteX8543" y="connsiteY8543"/>
                </a:cxn>
                <a:cxn ang="0">
                  <a:pos x="connsiteX8544" y="connsiteY8544"/>
                </a:cxn>
                <a:cxn ang="0">
                  <a:pos x="connsiteX8545" y="connsiteY8545"/>
                </a:cxn>
                <a:cxn ang="0">
                  <a:pos x="connsiteX8546" y="connsiteY8546"/>
                </a:cxn>
                <a:cxn ang="0">
                  <a:pos x="connsiteX8547" y="connsiteY8547"/>
                </a:cxn>
                <a:cxn ang="0">
                  <a:pos x="connsiteX8548" y="connsiteY8548"/>
                </a:cxn>
                <a:cxn ang="0">
                  <a:pos x="connsiteX8549" y="connsiteY8549"/>
                </a:cxn>
                <a:cxn ang="0">
                  <a:pos x="connsiteX8550" y="connsiteY8550"/>
                </a:cxn>
                <a:cxn ang="0">
                  <a:pos x="connsiteX8551" y="connsiteY8551"/>
                </a:cxn>
                <a:cxn ang="0">
                  <a:pos x="connsiteX8552" y="connsiteY8552"/>
                </a:cxn>
                <a:cxn ang="0">
                  <a:pos x="connsiteX8553" y="connsiteY8553"/>
                </a:cxn>
                <a:cxn ang="0">
                  <a:pos x="connsiteX8554" y="connsiteY8554"/>
                </a:cxn>
                <a:cxn ang="0">
                  <a:pos x="connsiteX8555" y="connsiteY8555"/>
                </a:cxn>
                <a:cxn ang="0">
                  <a:pos x="connsiteX8556" y="connsiteY8556"/>
                </a:cxn>
                <a:cxn ang="0">
                  <a:pos x="connsiteX8557" y="connsiteY8557"/>
                </a:cxn>
                <a:cxn ang="0">
                  <a:pos x="connsiteX8558" y="connsiteY8558"/>
                </a:cxn>
                <a:cxn ang="0">
                  <a:pos x="connsiteX8559" y="connsiteY8559"/>
                </a:cxn>
                <a:cxn ang="0">
                  <a:pos x="connsiteX8560" y="connsiteY8560"/>
                </a:cxn>
                <a:cxn ang="0">
                  <a:pos x="connsiteX8561" y="connsiteY8561"/>
                </a:cxn>
                <a:cxn ang="0">
                  <a:pos x="connsiteX8562" y="connsiteY8562"/>
                </a:cxn>
                <a:cxn ang="0">
                  <a:pos x="connsiteX8563" y="connsiteY8563"/>
                </a:cxn>
                <a:cxn ang="0">
                  <a:pos x="connsiteX8564" y="connsiteY8564"/>
                </a:cxn>
                <a:cxn ang="0">
                  <a:pos x="connsiteX8565" y="connsiteY8565"/>
                </a:cxn>
                <a:cxn ang="0">
                  <a:pos x="connsiteX8566" y="connsiteY8566"/>
                </a:cxn>
                <a:cxn ang="0">
                  <a:pos x="connsiteX8567" y="connsiteY8567"/>
                </a:cxn>
                <a:cxn ang="0">
                  <a:pos x="connsiteX8568" y="connsiteY8568"/>
                </a:cxn>
                <a:cxn ang="0">
                  <a:pos x="connsiteX8569" y="connsiteY8569"/>
                </a:cxn>
                <a:cxn ang="0">
                  <a:pos x="connsiteX8570" y="connsiteY8570"/>
                </a:cxn>
                <a:cxn ang="0">
                  <a:pos x="connsiteX8571" y="connsiteY8571"/>
                </a:cxn>
                <a:cxn ang="0">
                  <a:pos x="connsiteX8572" y="connsiteY8572"/>
                </a:cxn>
                <a:cxn ang="0">
                  <a:pos x="connsiteX8573" y="connsiteY8573"/>
                </a:cxn>
                <a:cxn ang="0">
                  <a:pos x="connsiteX8574" y="connsiteY8574"/>
                </a:cxn>
                <a:cxn ang="0">
                  <a:pos x="connsiteX8575" y="connsiteY8575"/>
                </a:cxn>
                <a:cxn ang="0">
                  <a:pos x="connsiteX8576" y="connsiteY8576"/>
                </a:cxn>
                <a:cxn ang="0">
                  <a:pos x="connsiteX8577" y="connsiteY8577"/>
                </a:cxn>
                <a:cxn ang="0">
                  <a:pos x="connsiteX8578" y="connsiteY8578"/>
                </a:cxn>
                <a:cxn ang="0">
                  <a:pos x="connsiteX8579" y="connsiteY8579"/>
                </a:cxn>
                <a:cxn ang="0">
                  <a:pos x="connsiteX8580" y="connsiteY8580"/>
                </a:cxn>
                <a:cxn ang="0">
                  <a:pos x="connsiteX8581" y="connsiteY8581"/>
                </a:cxn>
                <a:cxn ang="0">
                  <a:pos x="connsiteX8582" y="connsiteY8582"/>
                </a:cxn>
                <a:cxn ang="0">
                  <a:pos x="connsiteX8583" y="connsiteY8583"/>
                </a:cxn>
                <a:cxn ang="0">
                  <a:pos x="connsiteX8584" y="connsiteY8584"/>
                </a:cxn>
                <a:cxn ang="0">
                  <a:pos x="connsiteX8585" y="connsiteY8585"/>
                </a:cxn>
                <a:cxn ang="0">
                  <a:pos x="connsiteX8586" y="connsiteY8586"/>
                </a:cxn>
                <a:cxn ang="0">
                  <a:pos x="connsiteX8587" y="connsiteY8587"/>
                </a:cxn>
                <a:cxn ang="0">
                  <a:pos x="connsiteX8588" y="connsiteY8588"/>
                </a:cxn>
                <a:cxn ang="0">
                  <a:pos x="connsiteX8589" y="connsiteY8589"/>
                </a:cxn>
                <a:cxn ang="0">
                  <a:pos x="connsiteX8590" y="connsiteY8590"/>
                </a:cxn>
                <a:cxn ang="0">
                  <a:pos x="connsiteX8591" y="connsiteY8591"/>
                </a:cxn>
                <a:cxn ang="0">
                  <a:pos x="connsiteX8592" y="connsiteY8592"/>
                </a:cxn>
                <a:cxn ang="0">
                  <a:pos x="connsiteX8593" y="connsiteY8593"/>
                </a:cxn>
                <a:cxn ang="0">
                  <a:pos x="connsiteX8594" y="connsiteY8594"/>
                </a:cxn>
                <a:cxn ang="0">
                  <a:pos x="connsiteX8595" y="connsiteY8595"/>
                </a:cxn>
                <a:cxn ang="0">
                  <a:pos x="connsiteX8596" y="connsiteY8596"/>
                </a:cxn>
                <a:cxn ang="0">
                  <a:pos x="connsiteX8597" y="connsiteY8597"/>
                </a:cxn>
                <a:cxn ang="0">
                  <a:pos x="connsiteX8598" y="connsiteY8598"/>
                </a:cxn>
                <a:cxn ang="0">
                  <a:pos x="connsiteX8599" y="connsiteY8599"/>
                </a:cxn>
                <a:cxn ang="0">
                  <a:pos x="connsiteX8600" y="connsiteY8600"/>
                </a:cxn>
                <a:cxn ang="0">
                  <a:pos x="connsiteX8601" y="connsiteY8601"/>
                </a:cxn>
                <a:cxn ang="0">
                  <a:pos x="connsiteX8602" y="connsiteY8602"/>
                </a:cxn>
                <a:cxn ang="0">
                  <a:pos x="connsiteX8603" y="connsiteY8603"/>
                </a:cxn>
                <a:cxn ang="0">
                  <a:pos x="connsiteX8604" y="connsiteY8604"/>
                </a:cxn>
                <a:cxn ang="0">
                  <a:pos x="connsiteX8605" y="connsiteY8605"/>
                </a:cxn>
                <a:cxn ang="0">
                  <a:pos x="connsiteX8606" y="connsiteY8606"/>
                </a:cxn>
                <a:cxn ang="0">
                  <a:pos x="connsiteX8607" y="connsiteY8607"/>
                </a:cxn>
                <a:cxn ang="0">
                  <a:pos x="connsiteX8608" y="connsiteY8608"/>
                </a:cxn>
                <a:cxn ang="0">
                  <a:pos x="connsiteX8609" y="connsiteY8609"/>
                </a:cxn>
                <a:cxn ang="0">
                  <a:pos x="connsiteX8610" y="connsiteY8610"/>
                </a:cxn>
                <a:cxn ang="0">
                  <a:pos x="connsiteX8611" y="connsiteY8611"/>
                </a:cxn>
                <a:cxn ang="0">
                  <a:pos x="connsiteX8612" y="connsiteY8612"/>
                </a:cxn>
                <a:cxn ang="0">
                  <a:pos x="connsiteX8613" y="connsiteY8613"/>
                </a:cxn>
                <a:cxn ang="0">
                  <a:pos x="connsiteX8614" y="connsiteY8614"/>
                </a:cxn>
                <a:cxn ang="0">
                  <a:pos x="connsiteX8615" y="connsiteY8615"/>
                </a:cxn>
                <a:cxn ang="0">
                  <a:pos x="connsiteX8616" y="connsiteY8616"/>
                </a:cxn>
                <a:cxn ang="0">
                  <a:pos x="connsiteX8617" y="connsiteY8617"/>
                </a:cxn>
                <a:cxn ang="0">
                  <a:pos x="connsiteX8618" y="connsiteY8618"/>
                </a:cxn>
                <a:cxn ang="0">
                  <a:pos x="connsiteX8619" y="connsiteY8619"/>
                </a:cxn>
                <a:cxn ang="0">
                  <a:pos x="connsiteX8620" y="connsiteY8620"/>
                </a:cxn>
                <a:cxn ang="0">
                  <a:pos x="connsiteX8621" y="connsiteY8621"/>
                </a:cxn>
                <a:cxn ang="0">
                  <a:pos x="connsiteX8622" y="connsiteY8622"/>
                </a:cxn>
                <a:cxn ang="0">
                  <a:pos x="connsiteX8623" y="connsiteY8623"/>
                </a:cxn>
                <a:cxn ang="0">
                  <a:pos x="connsiteX8624" y="connsiteY8624"/>
                </a:cxn>
                <a:cxn ang="0">
                  <a:pos x="connsiteX8625" y="connsiteY8625"/>
                </a:cxn>
                <a:cxn ang="0">
                  <a:pos x="connsiteX8626" y="connsiteY8626"/>
                </a:cxn>
                <a:cxn ang="0">
                  <a:pos x="connsiteX8627" y="connsiteY8627"/>
                </a:cxn>
                <a:cxn ang="0">
                  <a:pos x="connsiteX8628" y="connsiteY8628"/>
                </a:cxn>
                <a:cxn ang="0">
                  <a:pos x="connsiteX8629" y="connsiteY8629"/>
                </a:cxn>
                <a:cxn ang="0">
                  <a:pos x="connsiteX8630" y="connsiteY8630"/>
                </a:cxn>
                <a:cxn ang="0">
                  <a:pos x="connsiteX8631" y="connsiteY8631"/>
                </a:cxn>
                <a:cxn ang="0">
                  <a:pos x="connsiteX8632" y="connsiteY8632"/>
                </a:cxn>
                <a:cxn ang="0">
                  <a:pos x="connsiteX8633" y="connsiteY8633"/>
                </a:cxn>
                <a:cxn ang="0">
                  <a:pos x="connsiteX8634" y="connsiteY8634"/>
                </a:cxn>
                <a:cxn ang="0">
                  <a:pos x="connsiteX8635" y="connsiteY8635"/>
                </a:cxn>
                <a:cxn ang="0">
                  <a:pos x="connsiteX8636" y="connsiteY8636"/>
                </a:cxn>
                <a:cxn ang="0">
                  <a:pos x="connsiteX8637" y="connsiteY8637"/>
                </a:cxn>
                <a:cxn ang="0">
                  <a:pos x="connsiteX8638" y="connsiteY8638"/>
                </a:cxn>
                <a:cxn ang="0">
                  <a:pos x="connsiteX8639" y="connsiteY8639"/>
                </a:cxn>
                <a:cxn ang="0">
                  <a:pos x="connsiteX8640" y="connsiteY8640"/>
                </a:cxn>
                <a:cxn ang="0">
                  <a:pos x="connsiteX8641" y="connsiteY8641"/>
                </a:cxn>
                <a:cxn ang="0">
                  <a:pos x="connsiteX8642" y="connsiteY8642"/>
                </a:cxn>
                <a:cxn ang="0">
                  <a:pos x="connsiteX8643" y="connsiteY8643"/>
                </a:cxn>
                <a:cxn ang="0">
                  <a:pos x="connsiteX8644" y="connsiteY8644"/>
                </a:cxn>
                <a:cxn ang="0">
                  <a:pos x="connsiteX8645" y="connsiteY8645"/>
                </a:cxn>
                <a:cxn ang="0">
                  <a:pos x="connsiteX8646" y="connsiteY8646"/>
                </a:cxn>
                <a:cxn ang="0">
                  <a:pos x="connsiteX8647" y="connsiteY8647"/>
                </a:cxn>
                <a:cxn ang="0">
                  <a:pos x="connsiteX8648" y="connsiteY8648"/>
                </a:cxn>
                <a:cxn ang="0">
                  <a:pos x="connsiteX8649" y="connsiteY8649"/>
                </a:cxn>
                <a:cxn ang="0">
                  <a:pos x="connsiteX8650" y="connsiteY8650"/>
                </a:cxn>
                <a:cxn ang="0">
                  <a:pos x="connsiteX8651" y="connsiteY8651"/>
                </a:cxn>
                <a:cxn ang="0">
                  <a:pos x="connsiteX8652" y="connsiteY8652"/>
                </a:cxn>
                <a:cxn ang="0">
                  <a:pos x="connsiteX8653" y="connsiteY8653"/>
                </a:cxn>
                <a:cxn ang="0">
                  <a:pos x="connsiteX8654" y="connsiteY8654"/>
                </a:cxn>
                <a:cxn ang="0">
                  <a:pos x="connsiteX8655" y="connsiteY8655"/>
                </a:cxn>
                <a:cxn ang="0">
                  <a:pos x="connsiteX8656" y="connsiteY8656"/>
                </a:cxn>
                <a:cxn ang="0">
                  <a:pos x="connsiteX8657" y="connsiteY8657"/>
                </a:cxn>
                <a:cxn ang="0">
                  <a:pos x="connsiteX8658" y="connsiteY8658"/>
                </a:cxn>
                <a:cxn ang="0">
                  <a:pos x="connsiteX8659" y="connsiteY8659"/>
                </a:cxn>
                <a:cxn ang="0">
                  <a:pos x="connsiteX8660" y="connsiteY8660"/>
                </a:cxn>
                <a:cxn ang="0">
                  <a:pos x="connsiteX8661" y="connsiteY8661"/>
                </a:cxn>
                <a:cxn ang="0">
                  <a:pos x="connsiteX8662" y="connsiteY8662"/>
                </a:cxn>
                <a:cxn ang="0">
                  <a:pos x="connsiteX8663" y="connsiteY8663"/>
                </a:cxn>
                <a:cxn ang="0">
                  <a:pos x="connsiteX8664" y="connsiteY8664"/>
                </a:cxn>
                <a:cxn ang="0">
                  <a:pos x="connsiteX8665" y="connsiteY8665"/>
                </a:cxn>
                <a:cxn ang="0">
                  <a:pos x="connsiteX8666" y="connsiteY8666"/>
                </a:cxn>
                <a:cxn ang="0">
                  <a:pos x="connsiteX8667" y="connsiteY8667"/>
                </a:cxn>
                <a:cxn ang="0">
                  <a:pos x="connsiteX8668" y="connsiteY8668"/>
                </a:cxn>
                <a:cxn ang="0">
                  <a:pos x="connsiteX8669" y="connsiteY8669"/>
                </a:cxn>
                <a:cxn ang="0">
                  <a:pos x="connsiteX8670" y="connsiteY8670"/>
                </a:cxn>
                <a:cxn ang="0">
                  <a:pos x="connsiteX8671" y="connsiteY8671"/>
                </a:cxn>
                <a:cxn ang="0">
                  <a:pos x="connsiteX8672" y="connsiteY8672"/>
                </a:cxn>
                <a:cxn ang="0">
                  <a:pos x="connsiteX8673" y="connsiteY8673"/>
                </a:cxn>
                <a:cxn ang="0">
                  <a:pos x="connsiteX8674" y="connsiteY8674"/>
                </a:cxn>
                <a:cxn ang="0">
                  <a:pos x="connsiteX8675" y="connsiteY8675"/>
                </a:cxn>
                <a:cxn ang="0">
                  <a:pos x="connsiteX8676" y="connsiteY8676"/>
                </a:cxn>
                <a:cxn ang="0">
                  <a:pos x="connsiteX8677" y="connsiteY8677"/>
                </a:cxn>
                <a:cxn ang="0">
                  <a:pos x="connsiteX8678" y="connsiteY8678"/>
                </a:cxn>
                <a:cxn ang="0">
                  <a:pos x="connsiteX8679" y="connsiteY8679"/>
                </a:cxn>
                <a:cxn ang="0">
                  <a:pos x="connsiteX8680" y="connsiteY8680"/>
                </a:cxn>
                <a:cxn ang="0">
                  <a:pos x="connsiteX8681" y="connsiteY8681"/>
                </a:cxn>
                <a:cxn ang="0">
                  <a:pos x="connsiteX8682" y="connsiteY8682"/>
                </a:cxn>
                <a:cxn ang="0">
                  <a:pos x="connsiteX8683" y="connsiteY8683"/>
                </a:cxn>
                <a:cxn ang="0">
                  <a:pos x="connsiteX8684" y="connsiteY8684"/>
                </a:cxn>
                <a:cxn ang="0">
                  <a:pos x="connsiteX8685" y="connsiteY8685"/>
                </a:cxn>
                <a:cxn ang="0">
                  <a:pos x="connsiteX8686" y="connsiteY8686"/>
                </a:cxn>
                <a:cxn ang="0">
                  <a:pos x="connsiteX8687" y="connsiteY8687"/>
                </a:cxn>
                <a:cxn ang="0">
                  <a:pos x="connsiteX8688" y="connsiteY8688"/>
                </a:cxn>
                <a:cxn ang="0">
                  <a:pos x="connsiteX8689" y="connsiteY8689"/>
                </a:cxn>
                <a:cxn ang="0">
                  <a:pos x="connsiteX8690" y="connsiteY8690"/>
                </a:cxn>
                <a:cxn ang="0">
                  <a:pos x="connsiteX8691" y="connsiteY8691"/>
                </a:cxn>
                <a:cxn ang="0">
                  <a:pos x="connsiteX8692" y="connsiteY8692"/>
                </a:cxn>
                <a:cxn ang="0">
                  <a:pos x="connsiteX8693" y="connsiteY8693"/>
                </a:cxn>
                <a:cxn ang="0">
                  <a:pos x="connsiteX8694" y="connsiteY8694"/>
                </a:cxn>
                <a:cxn ang="0">
                  <a:pos x="connsiteX8695" y="connsiteY8695"/>
                </a:cxn>
                <a:cxn ang="0">
                  <a:pos x="connsiteX8696" y="connsiteY8696"/>
                </a:cxn>
                <a:cxn ang="0">
                  <a:pos x="connsiteX8697" y="connsiteY8697"/>
                </a:cxn>
                <a:cxn ang="0">
                  <a:pos x="connsiteX8698" y="connsiteY8698"/>
                </a:cxn>
                <a:cxn ang="0">
                  <a:pos x="connsiteX8699" y="connsiteY8699"/>
                </a:cxn>
                <a:cxn ang="0">
                  <a:pos x="connsiteX8700" y="connsiteY8700"/>
                </a:cxn>
                <a:cxn ang="0">
                  <a:pos x="connsiteX8701" y="connsiteY8701"/>
                </a:cxn>
                <a:cxn ang="0">
                  <a:pos x="connsiteX8702" y="connsiteY8702"/>
                </a:cxn>
                <a:cxn ang="0">
                  <a:pos x="connsiteX8703" y="connsiteY8703"/>
                </a:cxn>
                <a:cxn ang="0">
                  <a:pos x="connsiteX8704" y="connsiteY8704"/>
                </a:cxn>
                <a:cxn ang="0">
                  <a:pos x="connsiteX8705" y="connsiteY8705"/>
                </a:cxn>
                <a:cxn ang="0">
                  <a:pos x="connsiteX8706" y="connsiteY8706"/>
                </a:cxn>
                <a:cxn ang="0">
                  <a:pos x="connsiteX8707" y="connsiteY8707"/>
                </a:cxn>
                <a:cxn ang="0">
                  <a:pos x="connsiteX8708" y="connsiteY8708"/>
                </a:cxn>
                <a:cxn ang="0">
                  <a:pos x="connsiteX8709" y="connsiteY8709"/>
                </a:cxn>
                <a:cxn ang="0">
                  <a:pos x="connsiteX8710" y="connsiteY8710"/>
                </a:cxn>
                <a:cxn ang="0">
                  <a:pos x="connsiteX8711" y="connsiteY8711"/>
                </a:cxn>
                <a:cxn ang="0">
                  <a:pos x="connsiteX8712" y="connsiteY8712"/>
                </a:cxn>
                <a:cxn ang="0">
                  <a:pos x="connsiteX8713" y="connsiteY8713"/>
                </a:cxn>
                <a:cxn ang="0">
                  <a:pos x="connsiteX8714" y="connsiteY8714"/>
                </a:cxn>
                <a:cxn ang="0">
                  <a:pos x="connsiteX8715" y="connsiteY8715"/>
                </a:cxn>
                <a:cxn ang="0">
                  <a:pos x="connsiteX8716" y="connsiteY8716"/>
                </a:cxn>
                <a:cxn ang="0">
                  <a:pos x="connsiteX8717" y="connsiteY8717"/>
                </a:cxn>
                <a:cxn ang="0">
                  <a:pos x="connsiteX8718" y="connsiteY8718"/>
                </a:cxn>
                <a:cxn ang="0">
                  <a:pos x="connsiteX8719" y="connsiteY8719"/>
                </a:cxn>
                <a:cxn ang="0">
                  <a:pos x="connsiteX8720" y="connsiteY8720"/>
                </a:cxn>
                <a:cxn ang="0">
                  <a:pos x="connsiteX8721" y="connsiteY8721"/>
                </a:cxn>
                <a:cxn ang="0">
                  <a:pos x="connsiteX8722" y="connsiteY8722"/>
                </a:cxn>
                <a:cxn ang="0">
                  <a:pos x="connsiteX8723" y="connsiteY8723"/>
                </a:cxn>
                <a:cxn ang="0">
                  <a:pos x="connsiteX8724" y="connsiteY8724"/>
                </a:cxn>
                <a:cxn ang="0">
                  <a:pos x="connsiteX8725" y="connsiteY8725"/>
                </a:cxn>
                <a:cxn ang="0">
                  <a:pos x="connsiteX8726" y="connsiteY8726"/>
                </a:cxn>
                <a:cxn ang="0">
                  <a:pos x="connsiteX8727" y="connsiteY8727"/>
                </a:cxn>
                <a:cxn ang="0">
                  <a:pos x="connsiteX8728" y="connsiteY8728"/>
                </a:cxn>
                <a:cxn ang="0">
                  <a:pos x="connsiteX8729" y="connsiteY8729"/>
                </a:cxn>
                <a:cxn ang="0">
                  <a:pos x="connsiteX8730" y="connsiteY8730"/>
                </a:cxn>
                <a:cxn ang="0">
                  <a:pos x="connsiteX8731" y="connsiteY8731"/>
                </a:cxn>
                <a:cxn ang="0">
                  <a:pos x="connsiteX8732" y="connsiteY8732"/>
                </a:cxn>
                <a:cxn ang="0">
                  <a:pos x="connsiteX8733" y="connsiteY8733"/>
                </a:cxn>
                <a:cxn ang="0">
                  <a:pos x="connsiteX8734" y="connsiteY8734"/>
                </a:cxn>
                <a:cxn ang="0">
                  <a:pos x="connsiteX8735" y="connsiteY8735"/>
                </a:cxn>
                <a:cxn ang="0">
                  <a:pos x="connsiteX8736" y="connsiteY8736"/>
                </a:cxn>
                <a:cxn ang="0">
                  <a:pos x="connsiteX8737" y="connsiteY8737"/>
                </a:cxn>
                <a:cxn ang="0">
                  <a:pos x="connsiteX8738" y="connsiteY8738"/>
                </a:cxn>
                <a:cxn ang="0">
                  <a:pos x="connsiteX8739" y="connsiteY8739"/>
                </a:cxn>
                <a:cxn ang="0">
                  <a:pos x="connsiteX8740" y="connsiteY8740"/>
                </a:cxn>
                <a:cxn ang="0">
                  <a:pos x="connsiteX8741" y="connsiteY8741"/>
                </a:cxn>
                <a:cxn ang="0">
                  <a:pos x="connsiteX8742" y="connsiteY8742"/>
                </a:cxn>
                <a:cxn ang="0">
                  <a:pos x="connsiteX8743" y="connsiteY8743"/>
                </a:cxn>
                <a:cxn ang="0">
                  <a:pos x="connsiteX8744" y="connsiteY8744"/>
                </a:cxn>
                <a:cxn ang="0">
                  <a:pos x="connsiteX8745" y="connsiteY8745"/>
                </a:cxn>
                <a:cxn ang="0">
                  <a:pos x="connsiteX8746" y="connsiteY8746"/>
                </a:cxn>
                <a:cxn ang="0">
                  <a:pos x="connsiteX8747" y="connsiteY8747"/>
                </a:cxn>
                <a:cxn ang="0">
                  <a:pos x="connsiteX8748" y="connsiteY8748"/>
                </a:cxn>
                <a:cxn ang="0">
                  <a:pos x="connsiteX8749" y="connsiteY8749"/>
                </a:cxn>
                <a:cxn ang="0">
                  <a:pos x="connsiteX8750" y="connsiteY8750"/>
                </a:cxn>
                <a:cxn ang="0">
                  <a:pos x="connsiteX8751" y="connsiteY8751"/>
                </a:cxn>
                <a:cxn ang="0">
                  <a:pos x="connsiteX8752" y="connsiteY8752"/>
                </a:cxn>
                <a:cxn ang="0">
                  <a:pos x="connsiteX8753" y="connsiteY8753"/>
                </a:cxn>
                <a:cxn ang="0">
                  <a:pos x="connsiteX8754" y="connsiteY8754"/>
                </a:cxn>
                <a:cxn ang="0">
                  <a:pos x="connsiteX8755" y="connsiteY8755"/>
                </a:cxn>
                <a:cxn ang="0">
                  <a:pos x="connsiteX8756" y="connsiteY8756"/>
                </a:cxn>
                <a:cxn ang="0">
                  <a:pos x="connsiteX8757" y="connsiteY8757"/>
                </a:cxn>
                <a:cxn ang="0">
                  <a:pos x="connsiteX8758" y="connsiteY8758"/>
                </a:cxn>
                <a:cxn ang="0">
                  <a:pos x="connsiteX8759" y="connsiteY8759"/>
                </a:cxn>
                <a:cxn ang="0">
                  <a:pos x="connsiteX8760" y="connsiteY8760"/>
                </a:cxn>
                <a:cxn ang="0">
                  <a:pos x="connsiteX8761" y="connsiteY8761"/>
                </a:cxn>
                <a:cxn ang="0">
                  <a:pos x="connsiteX8762" y="connsiteY8762"/>
                </a:cxn>
                <a:cxn ang="0">
                  <a:pos x="connsiteX8763" y="connsiteY8763"/>
                </a:cxn>
                <a:cxn ang="0">
                  <a:pos x="connsiteX8764" y="connsiteY8764"/>
                </a:cxn>
                <a:cxn ang="0">
                  <a:pos x="connsiteX8765" y="connsiteY8765"/>
                </a:cxn>
                <a:cxn ang="0">
                  <a:pos x="connsiteX8766" y="connsiteY8766"/>
                </a:cxn>
                <a:cxn ang="0">
                  <a:pos x="connsiteX8767" y="connsiteY8767"/>
                </a:cxn>
                <a:cxn ang="0">
                  <a:pos x="connsiteX8768" y="connsiteY8768"/>
                </a:cxn>
                <a:cxn ang="0">
                  <a:pos x="connsiteX8769" y="connsiteY8769"/>
                </a:cxn>
                <a:cxn ang="0">
                  <a:pos x="connsiteX8770" y="connsiteY8770"/>
                </a:cxn>
                <a:cxn ang="0">
                  <a:pos x="connsiteX8771" y="connsiteY8771"/>
                </a:cxn>
                <a:cxn ang="0">
                  <a:pos x="connsiteX8772" y="connsiteY8772"/>
                </a:cxn>
                <a:cxn ang="0">
                  <a:pos x="connsiteX8773" y="connsiteY8773"/>
                </a:cxn>
                <a:cxn ang="0">
                  <a:pos x="connsiteX8774" y="connsiteY8774"/>
                </a:cxn>
                <a:cxn ang="0">
                  <a:pos x="connsiteX8775" y="connsiteY8775"/>
                </a:cxn>
                <a:cxn ang="0">
                  <a:pos x="connsiteX8776" y="connsiteY8776"/>
                </a:cxn>
                <a:cxn ang="0">
                  <a:pos x="connsiteX8777" y="connsiteY8777"/>
                </a:cxn>
                <a:cxn ang="0">
                  <a:pos x="connsiteX8778" y="connsiteY8778"/>
                </a:cxn>
                <a:cxn ang="0">
                  <a:pos x="connsiteX8779" y="connsiteY8779"/>
                </a:cxn>
                <a:cxn ang="0">
                  <a:pos x="connsiteX8780" y="connsiteY8780"/>
                </a:cxn>
                <a:cxn ang="0">
                  <a:pos x="connsiteX8781" y="connsiteY8781"/>
                </a:cxn>
                <a:cxn ang="0">
                  <a:pos x="connsiteX8782" y="connsiteY8782"/>
                </a:cxn>
                <a:cxn ang="0">
                  <a:pos x="connsiteX8783" y="connsiteY8783"/>
                </a:cxn>
                <a:cxn ang="0">
                  <a:pos x="connsiteX8784" y="connsiteY8784"/>
                </a:cxn>
                <a:cxn ang="0">
                  <a:pos x="connsiteX8785" y="connsiteY8785"/>
                </a:cxn>
                <a:cxn ang="0">
                  <a:pos x="connsiteX8786" y="connsiteY8786"/>
                </a:cxn>
                <a:cxn ang="0">
                  <a:pos x="connsiteX8787" y="connsiteY8787"/>
                </a:cxn>
                <a:cxn ang="0">
                  <a:pos x="connsiteX8788" y="connsiteY8788"/>
                </a:cxn>
                <a:cxn ang="0">
                  <a:pos x="connsiteX8789" y="connsiteY8789"/>
                </a:cxn>
                <a:cxn ang="0">
                  <a:pos x="connsiteX8790" y="connsiteY8790"/>
                </a:cxn>
                <a:cxn ang="0">
                  <a:pos x="connsiteX8791" y="connsiteY8791"/>
                </a:cxn>
                <a:cxn ang="0">
                  <a:pos x="connsiteX8792" y="connsiteY8792"/>
                </a:cxn>
                <a:cxn ang="0">
                  <a:pos x="connsiteX8793" y="connsiteY8793"/>
                </a:cxn>
                <a:cxn ang="0">
                  <a:pos x="connsiteX8794" y="connsiteY8794"/>
                </a:cxn>
                <a:cxn ang="0">
                  <a:pos x="connsiteX8795" y="connsiteY8795"/>
                </a:cxn>
                <a:cxn ang="0">
                  <a:pos x="connsiteX8796" y="connsiteY8796"/>
                </a:cxn>
                <a:cxn ang="0">
                  <a:pos x="connsiteX8797" y="connsiteY8797"/>
                </a:cxn>
                <a:cxn ang="0">
                  <a:pos x="connsiteX8798" y="connsiteY8798"/>
                </a:cxn>
                <a:cxn ang="0">
                  <a:pos x="connsiteX8799" y="connsiteY8799"/>
                </a:cxn>
                <a:cxn ang="0">
                  <a:pos x="connsiteX8800" y="connsiteY8800"/>
                </a:cxn>
                <a:cxn ang="0">
                  <a:pos x="connsiteX8801" y="connsiteY8801"/>
                </a:cxn>
                <a:cxn ang="0">
                  <a:pos x="connsiteX8802" y="connsiteY8802"/>
                </a:cxn>
                <a:cxn ang="0">
                  <a:pos x="connsiteX8803" y="connsiteY8803"/>
                </a:cxn>
                <a:cxn ang="0">
                  <a:pos x="connsiteX8804" y="connsiteY8804"/>
                </a:cxn>
                <a:cxn ang="0">
                  <a:pos x="connsiteX8805" y="connsiteY8805"/>
                </a:cxn>
                <a:cxn ang="0">
                  <a:pos x="connsiteX8806" y="connsiteY8806"/>
                </a:cxn>
                <a:cxn ang="0">
                  <a:pos x="connsiteX8807" y="connsiteY8807"/>
                </a:cxn>
                <a:cxn ang="0">
                  <a:pos x="connsiteX8808" y="connsiteY8808"/>
                </a:cxn>
                <a:cxn ang="0">
                  <a:pos x="connsiteX8809" y="connsiteY8809"/>
                </a:cxn>
                <a:cxn ang="0">
                  <a:pos x="connsiteX8810" y="connsiteY8810"/>
                </a:cxn>
                <a:cxn ang="0">
                  <a:pos x="connsiteX8811" y="connsiteY8811"/>
                </a:cxn>
                <a:cxn ang="0">
                  <a:pos x="connsiteX8812" y="connsiteY8812"/>
                </a:cxn>
                <a:cxn ang="0">
                  <a:pos x="connsiteX8813" y="connsiteY8813"/>
                </a:cxn>
                <a:cxn ang="0">
                  <a:pos x="connsiteX8814" y="connsiteY8814"/>
                </a:cxn>
                <a:cxn ang="0">
                  <a:pos x="connsiteX8815" y="connsiteY8815"/>
                </a:cxn>
                <a:cxn ang="0">
                  <a:pos x="connsiteX8816" y="connsiteY8816"/>
                </a:cxn>
                <a:cxn ang="0">
                  <a:pos x="connsiteX8817" y="connsiteY8817"/>
                </a:cxn>
                <a:cxn ang="0">
                  <a:pos x="connsiteX8818" y="connsiteY8818"/>
                </a:cxn>
                <a:cxn ang="0">
                  <a:pos x="connsiteX8819" y="connsiteY8819"/>
                </a:cxn>
                <a:cxn ang="0">
                  <a:pos x="connsiteX8820" y="connsiteY8820"/>
                </a:cxn>
                <a:cxn ang="0">
                  <a:pos x="connsiteX8821" y="connsiteY8821"/>
                </a:cxn>
                <a:cxn ang="0">
                  <a:pos x="connsiteX8822" y="connsiteY8822"/>
                </a:cxn>
                <a:cxn ang="0">
                  <a:pos x="connsiteX8823" y="connsiteY8823"/>
                </a:cxn>
                <a:cxn ang="0">
                  <a:pos x="connsiteX8824" y="connsiteY8824"/>
                </a:cxn>
                <a:cxn ang="0">
                  <a:pos x="connsiteX8825" y="connsiteY8825"/>
                </a:cxn>
                <a:cxn ang="0">
                  <a:pos x="connsiteX8826" y="connsiteY8826"/>
                </a:cxn>
                <a:cxn ang="0">
                  <a:pos x="connsiteX8827" y="connsiteY8827"/>
                </a:cxn>
                <a:cxn ang="0">
                  <a:pos x="connsiteX8828" y="connsiteY8828"/>
                </a:cxn>
                <a:cxn ang="0">
                  <a:pos x="connsiteX8829" y="connsiteY8829"/>
                </a:cxn>
                <a:cxn ang="0">
                  <a:pos x="connsiteX8830" y="connsiteY8830"/>
                </a:cxn>
                <a:cxn ang="0">
                  <a:pos x="connsiteX8831" y="connsiteY8831"/>
                </a:cxn>
                <a:cxn ang="0">
                  <a:pos x="connsiteX8832" y="connsiteY8832"/>
                </a:cxn>
                <a:cxn ang="0">
                  <a:pos x="connsiteX8833" y="connsiteY8833"/>
                </a:cxn>
                <a:cxn ang="0">
                  <a:pos x="connsiteX8834" y="connsiteY8834"/>
                </a:cxn>
                <a:cxn ang="0">
                  <a:pos x="connsiteX8835" y="connsiteY8835"/>
                </a:cxn>
                <a:cxn ang="0">
                  <a:pos x="connsiteX8836" y="connsiteY8836"/>
                </a:cxn>
                <a:cxn ang="0">
                  <a:pos x="connsiteX8837" y="connsiteY8837"/>
                </a:cxn>
                <a:cxn ang="0">
                  <a:pos x="connsiteX8838" y="connsiteY8838"/>
                </a:cxn>
                <a:cxn ang="0">
                  <a:pos x="connsiteX8839" y="connsiteY8839"/>
                </a:cxn>
                <a:cxn ang="0">
                  <a:pos x="connsiteX8840" y="connsiteY8840"/>
                </a:cxn>
                <a:cxn ang="0">
                  <a:pos x="connsiteX8841" y="connsiteY8841"/>
                </a:cxn>
                <a:cxn ang="0">
                  <a:pos x="connsiteX8842" y="connsiteY8842"/>
                </a:cxn>
                <a:cxn ang="0">
                  <a:pos x="connsiteX8843" y="connsiteY8843"/>
                </a:cxn>
                <a:cxn ang="0">
                  <a:pos x="connsiteX8844" y="connsiteY8844"/>
                </a:cxn>
                <a:cxn ang="0">
                  <a:pos x="connsiteX8845" y="connsiteY8845"/>
                </a:cxn>
                <a:cxn ang="0">
                  <a:pos x="connsiteX8846" y="connsiteY8846"/>
                </a:cxn>
                <a:cxn ang="0">
                  <a:pos x="connsiteX8847" y="connsiteY8847"/>
                </a:cxn>
                <a:cxn ang="0">
                  <a:pos x="connsiteX8848" y="connsiteY8848"/>
                </a:cxn>
                <a:cxn ang="0">
                  <a:pos x="connsiteX8849" y="connsiteY8849"/>
                </a:cxn>
                <a:cxn ang="0">
                  <a:pos x="connsiteX8850" y="connsiteY8850"/>
                </a:cxn>
                <a:cxn ang="0">
                  <a:pos x="connsiteX8851" y="connsiteY8851"/>
                </a:cxn>
                <a:cxn ang="0">
                  <a:pos x="connsiteX8852" y="connsiteY8852"/>
                </a:cxn>
                <a:cxn ang="0">
                  <a:pos x="connsiteX8853" y="connsiteY8853"/>
                </a:cxn>
                <a:cxn ang="0">
                  <a:pos x="connsiteX8854" y="connsiteY8854"/>
                </a:cxn>
                <a:cxn ang="0">
                  <a:pos x="connsiteX8855" y="connsiteY8855"/>
                </a:cxn>
                <a:cxn ang="0">
                  <a:pos x="connsiteX8856" y="connsiteY8856"/>
                </a:cxn>
                <a:cxn ang="0">
                  <a:pos x="connsiteX8857" y="connsiteY8857"/>
                </a:cxn>
                <a:cxn ang="0">
                  <a:pos x="connsiteX8858" y="connsiteY8858"/>
                </a:cxn>
                <a:cxn ang="0">
                  <a:pos x="connsiteX8859" y="connsiteY8859"/>
                </a:cxn>
                <a:cxn ang="0">
                  <a:pos x="connsiteX8860" y="connsiteY8860"/>
                </a:cxn>
                <a:cxn ang="0">
                  <a:pos x="connsiteX8861" y="connsiteY8861"/>
                </a:cxn>
                <a:cxn ang="0">
                  <a:pos x="connsiteX8862" y="connsiteY8862"/>
                </a:cxn>
                <a:cxn ang="0">
                  <a:pos x="connsiteX8863" y="connsiteY8863"/>
                </a:cxn>
                <a:cxn ang="0">
                  <a:pos x="connsiteX8864" y="connsiteY8864"/>
                </a:cxn>
                <a:cxn ang="0">
                  <a:pos x="connsiteX8865" y="connsiteY8865"/>
                </a:cxn>
                <a:cxn ang="0">
                  <a:pos x="connsiteX8866" y="connsiteY8866"/>
                </a:cxn>
                <a:cxn ang="0">
                  <a:pos x="connsiteX8867" y="connsiteY8867"/>
                </a:cxn>
                <a:cxn ang="0">
                  <a:pos x="connsiteX8868" y="connsiteY8868"/>
                </a:cxn>
                <a:cxn ang="0">
                  <a:pos x="connsiteX8869" y="connsiteY8869"/>
                </a:cxn>
                <a:cxn ang="0">
                  <a:pos x="connsiteX8870" y="connsiteY8870"/>
                </a:cxn>
                <a:cxn ang="0">
                  <a:pos x="connsiteX8871" y="connsiteY8871"/>
                </a:cxn>
                <a:cxn ang="0">
                  <a:pos x="connsiteX8872" y="connsiteY8872"/>
                </a:cxn>
                <a:cxn ang="0">
                  <a:pos x="connsiteX8873" y="connsiteY8873"/>
                </a:cxn>
                <a:cxn ang="0">
                  <a:pos x="connsiteX8874" y="connsiteY8874"/>
                </a:cxn>
                <a:cxn ang="0">
                  <a:pos x="connsiteX8875" y="connsiteY8875"/>
                </a:cxn>
                <a:cxn ang="0">
                  <a:pos x="connsiteX8876" y="connsiteY8876"/>
                </a:cxn>
                <a:cxn ang="0">
                  <a:pos x="connsiteX8877" y="connsiteY8877"/>
                </a:cxn>
                <a:cxn ang="0">
                  <a:pos x="connsiteX8878" y="connsiteY8878"/>
                </a:cxn>
                <a:cxn ang="0">
                  <a:pos x="connsiteX8879" y="connsiteY8879"/>
                </a:cxn>
                <a:cxn ang="0">
                  <a:pos x="connsiteX8880" y="connsiteY8880"/>
                </a:cxn>
                <a:cxn ang="0">
                  <a:pos x="connsiteX8881" y="connsiteY8881"/>
                </a:cxn>
                <a:cxn ang="0">
                  <a:pos x="connsiteX8882" y="connsiteY8882"/>
                </a:cxn>
                <a:cxn ang="0">
                  <a:pos x="connsiteX8883" y="connsiteY8883"/>
                </a:cxn>
                <a:cxn ang="0">
                  <a:pos x="connsiteX8884" y="connsiteY8884"/>
                </a:cxn>
                <a:cxn ang="0">
                  <a:pos x="connsiteX8885" y="connsiteY8885"/>
                </a:cxn>
                <a:cxn ang="0">
                  <a:pos x="connsiteX8886" y="connsiteY8886"/>
                </a:cxn>
                <a:cxn ang="0">
                  <a:pos x="connsiteX8887" y="connsiteY8887"/>
                </a:cxn>
                <a:cxn ang="0">
                  <a:pos x="connsiteX8888" y="connsiteY8888"/>
                </a:cxn>
                <a:cxn ang="0">
                  <a:pos x="connsiteX8889" y="connsiteY8889"/>
                </a:cxn>
                <a:cxn ang="0">
                  <a:pos x="connsiteX8890" y="connsiteY8890"/>
                </a:cxn>
                <a:cxn ang="0">
                  <a:pos x="connsiteX8891" y="connsiteY8891"/>
                </a:cxn>
                <a:cxn ang="0">
                  <a:pos x="connsiteX8892" y="connsiteY8892"/>
                </a:cxn>
                <a:cxn ang="0">
                  <a:pos x="connsiteX8893" y="connsiteY8893"/>
                </a:cxn>
                <a:cxn ang="0">
                  <a:pos x="connsiteX8894" y="connsiteY8894"/>
                </a:cxn>
                <a:cxn ang="0">
                  <a:pos x="connsiteX8895" y="connsiteY8895"/>
                </a:cxn>
                <a:cxn ang="0">
                  <a:pos x="connsiteX8896" y="connsiteY8896"/>
                </a:cxn>
                <a:cxn ang="0">
                  <a:pos x="connsiteX8897" y="connsiteY8897"/>
                </a:cxn>
                <a:cxn ang="0">
                  <a:pos x="connsiteX8898" y="connsiteY8898"/>
                </a:cxn>
                <a:cxn ang="0">
                  <a:pos x="connsiteX8899" y="connsiteY8899"/>
                </a:cxn>
                <a:cxn ang="0">
                  <a:pos x="connsiteX8900" y="connsiteY8900"/>
                </a:cxn>
                <a:cxn ang="0">
                  <a:pos x="connsiteX8901" y="connsiteY8901"/>
                </a:cxn>
                <a:cxn ang="0">
                  <a:pos x="connsiteX8902" y="connsiteY8902"/>
                </a:cxn>
                <a:cxn ang="0">
                  <a:pos x="connsiteX8903" y="connsiteY8903"/>
                </a:cxn>
                <a:cxn ang="0">
                  <a:pos x="connsiteX8904" y="connsiteY8904"/>
                </a:cxn>
                <a:cxn ang="0">
                  <a:pos x="connsiteX8905" y="connsiteY8905"/>
                </a:cxn>
                <a:cxn ang="0">
                  <a:pos x="connsiteX8906" y="connsiteY8906"/>
                </a:cxn>
                <a:cxn ang="0">
                  <a:pos x="connsiteX8907" y="connsiteY8907"/>
                </a:cxn>
                <a:cxn ang="0">
                  <a:pos x="connsiteX8908" y="connsiteY8908"/>
                </a:cxn>
                <a:cxn ang="0">
                  <a:pos x="connsiteX8909" y="connsiteY8909"/>
                </a:cxn>
                <a:cxn ang="0">
                  <a:pos x="connsiteX8910" y="connsiteY8910"/>
                </a:cxn>
                <a:cxn ang="0">
                  <a:pos x="connsiteX8911" y="connsiteY8911"/>
                </a:cxn>
                <a:cxn ang="0">
                  <a:pos x="connsiteX8912" y="connsiteY8912"/>
                </a:cxn>
                <a:cxn ang="0">
                  <a:pos x="connsiteX8913" y="connsiteY8913"/>
                </a:cxn>
                <a:cxn ang="0">
                  <a:pos x="connsiteX8914" y="connsiteY8914"/>
                </a:cxn>
                <a:cxn ang="0">
                  <a:pos x="connsiteX8915" y="connsiteY8915"/>
                </a:cxn>
                <a:cxn ang="0">
                  <a:pos x="connsiteX8916" y="connsiteY8916"/>
                </a:cxn>
                <a:cxn ang="0">
                  <a:pos x="connsiteX8917" y="connsiteY8917"/>
                </a:cxn>
                <a:cxn ang="0">
                  <a:pos x="connsiteX8918" y="connsiteY8918"/>
                </a:cxn>
                <a:cxn ang="0">
                  <a:pos x="connsiteX8919" y="connsiteY8919"/>
                </a:cxn>
                <a:cxn ang="0">
                  <a:pos x="connsiteX8920" y="connsiteY8920"/>
                </a:cxn>
                <a:cxn ang="0">
                  <a:pos x="connsiteX8921" y="connsiteY8921"/>
                </a:cxn>
                <a:cxn ang="0">
                  <a:pos x="connsiteX8922" y="connsiteY8922"/>
                </a:cxn>
                <a:cxn ang="0">
                  <a:pos x="connsiteX8923" y="connsiteY8923"/>
                </a:cxn>
                <a:cxn ang="0">
                  <a:pos x="connsiteX8924" y="connsiteY8924"/>
                </a:cxn>
                <a:cxn ang="0">
                  <a:pos x="connsiteX8925" y="connsiteY8925"/>
                </a:cxn>
                <a:cxn ang="0">
                  <a:pos x="connsiteX8926" y="connsiteY8926"/>
                </a:cxn>
                <a:cxn ang="0">
                  <a:pos x="connsiteX8927" y="connsiteY8927"/>
                </a:cxn>
                <a:cxn ang="0">
                  <a:pos x="connsiteX8928" y="connsiteY8928"/>
                </a:cxn>
                <a:cxn ang="0">
                  <a:pos x="connsiteX8929" y="connsiteY8929"/>
                </a:cxn>
                <a:cxn ang="0">
                  <a:pos x="connsiteX8930" y="connsiteY8930"/>
                </a:cxn>
                <a:cxn ang="0">
                  <a:pos x="connsiteX8931" y="connsiteY8931"/>
                </a:cxn>
                <a:cxn ang="0">
                  <a:pos x="connsiteX8932" y="connsiteY8932"/>
                </a:cxn>
                <a:cxn ang="0">
                  <a:pos x="connsiteX8933" y="connsiteY8933"/>
                </a:cxn>
                <a:cxn ang="0">
                  <a:pos x="connsiteX8934" y="connsiteY8934"/>
                </a:cxn>
                <a:cxn ang="0">
                  <a:pos x="connsiteX8935" y="connsiteY8935"/>
                </a:cxn>
                <a:cxn ang="0">
                  <a:pos x="connsiteX8936" y="connsiteY8936"/>
                </a:cxn>
                <a:cxn ang="0">
                  <a:pos x="connsiteX8937" y="connsiteY8937"/>
                </a:cxn>
                <a:cxn ang="0">
                  <a:pos x="connsiteX8938" y="connsiteY8938"/>
                </a:cxn>
                <a:cxn ang="0">
                  <a:pos x="connsiteX8939" y="connsiteY8939"/>
                </a:cxn>
                <a:cxn ang="0">
                  <a:pos x="connsiteX8940" y="connsiteY8940"/>
                </a:cxn>
                <a:cxn ang="0">
                  <a:pos x="connsiteX8941" y="connsiteY8941"/>
                </a:cxn>
                <a:cxn ang="0">
                  <a:pos x="connsiteX8942" y="connsiteY8942"/>
                </a:cxn>
                <a:cxn ang="0">
                  <a:pos x="connsiteX8943" y="connsiteY8943"/>
                </a:cxn>
                <a:cxn ang="0">
                  <a:pos x="connsiteX8944" y="connsiteY8944"/>
                </a:cxn>
                <a:cxn ang="0">
                  <a:pos x="connsiteX8945" y="connsiteY8945"/>
                </a:cxn>
                <a:cxn ang="0">
                  <a:pos x="connsiteX8946" y="connsiteY8946"/>
                </a:cxn>
                <a:cxn ang="0">
                  <a:pos x="connsiteX8947" y="connsiteY8947"/>
                </a:cxn>
                <a:cxn ang="0">
                  <a:pos x="connsiteX8948" y="connsiteY8948"/>
                </a:cxn>
                <a:cxn ang="0">
                  <a:pos x="connsiteX8949" y="connsiteY8949"/>
                </a:cxn>
                <a:cxn ang="0">
                  <a:pos x="connsiteX8950" y="connsiteY8950"/>
                </a:cxn>
                <a:cxn ang="0">
                  <a:pos x="connsiteX8951" y="connsiteY8951"/>
                </a:cxn>
                <a:cxn ang="0">
                  <a:pos x="connsiteX8952" y="connsiteY8952"/>
                </a:cxn>
                <a:cxn ang="0">
                  <a:pos x="connsiteX8953" y="connsiteY8953"/>
                </a:cxn>
                <a:cxn ang="0">
                  <a:pos x="connsiteX8954" y="connsiteY8954"/>
                </a:cxn>
                <a:cxn ang="0">
                  <a:pos x="connsiteX8955" y="connsiteY8955"/>
                </a:cxn>
                <a:cxn ang="0">
                  <a:pos x="connsiteX8956" y="connsiteY8956"/>
                </a:cxn>
                <a:cxn ang="0">
                  <a:pos x="connsiteX8957" y="connsiteY8957"/>
                </a:cxn>
                <a:cxn ang="0">
                  <a:pos x="connsiteX8958" y="connsiteY8958"/>
                </a:cxn>
                <a:cxn ang="0">
                  <a:pos x="connsiteX8959" y="connsiteY8959"/>
                </a:cxn>
                <a:cxn ang="0">
                  <a:pos x="connsiteX8960" y="connsiteY8960"/>
                </a:cxn>
                <a:cxn ang="0">
                  <a:pos x="connsiteX8961" y="connsiteY8961"/>
                </a:cxn>
                <a:cxn ang="0">
                  <a:pos x="connsiteX8962" y="connsiteY8962"/>
                </a:cxn>
                <a:cxn ang="0">
                  <a:pos x="connsiteX8963" y="connsiteY8963"/>
                </a:cxn>
                <a:cxn ang="0">
                  <a:pos x="connsiteX8964" y="connsiteY8964"/>
                </a:cxn>
                <a:cxn ang="0">
                  <a:pos x="connsiteX8965" y="connsiteY8965"/>
                </a:cxn>
                <a:cxn ang="0">
                  <a:pos x="connsiteX8966" y="connsiteY8966"/>
                </a:cxn>
                <a:cxn ang="0">
                  <a:pos x="connsiteX8967" y="connsiteY8967"/>
                </a:cxn>
                <a:cxn ang="0">
                  <a:pos x="connsiteX8968" y="connsiteY8968"/>
                </a:cxn>
                <a:cxn ang="0">
                  <a:pos x="connsiteX8969" y="connsiteY8969"/>
                </a:cxn>
                <a:cxn ang="0">
                  <a:pos x="connsiteX8970" y="connsiteY8970"/>
                </a:cxn>
                <a:cxn ang="0">
                  <a:pos x="connsiteX8971" y="connsiteY8971"/>
                </a:cxn>
                <a:cxn ang="0">
                  <a:pos x="connsiteX8972" y="connsiteY8972"/>
                </a:cxn>
                <a:cxn ang="0">
                  <a:pos x="connsiteX8973" y="connsiteY8973"/>
                </a:cxn>
                <a:cxn ang="0">
                  <a:pos x="connsiteX8974" y="connsiteY8974"/>
                </a:cxn>
                <a:cxn ang="0">
                  <a:pos x="connsiteX8975" y="connsiteY8975"/>
                </a:cxn>
                <a:cxn ang="0">
                  <a:pos x="connsiteX8976" y="connsiteY8976"/>
                </a:cxn>
                <a:cxn ang="0">
                  <a:pos x="connsiteX8977" y="connsiteY8977"/>
                </a:cxn>
                <a:cxn ang="0">
                  <a:pos x="connsiteX8978" y="connsiteY8978"/>
                </a:cxn>
                <a:cxn ang="0">
                  <a:pos x="connsiteX8979" y="connsiteY8979"/>
                </a:cxn>
                <a:cxn ang="0">
                  <a:pos x="connsiteX8980" y="connsiteY8980"/>
                </a:cxn>
                <a:cxn ang="0">
                  <a:pos x="connsiteX8981" y="connsiteY8981"/>
                </a:cxn>
                <a:cxn ang="0">
                  <a:pos x="connsiteX8982" y="connsiteY8982"/>
                </a:cxn>
                <a:cxn ang="0">
                  <a:pos x="connsiteX8983" y="connsiteY8983"/>
                </a:cxn>
                <a:cxn ang="0">
                  <a:pos x="connsiteX8984" y="connsiteY8984"/>
                </a:cxn>
                <a:cxn ang="0">
                  <a:pos x="connsiteX8985" y="connsiteY8985"/>
                </a:cxn>
                <a:cxn ang="0">
                  <a:pos x="connsiteX8986" y="connsiteY8986"/>
                </a:cxn>
                <a:cxn ang="0">
                  <a:pos x="connsiteX8987" y="connsiteY8987"/>
                </a:cxn>
                <a:cxn ang="0">
                  <a:pos x="connsiteX8988" y="connsiteY8988"/>
                </a:cxn>
                <a:cxn ang="0">
                  <a:pos x="connsiteX8989" y="connsiteY8989"/>
                </a:cxn>
                <a:cxn ang="0">
                  <a:pos x="connsiteX8990" y="connsiteY8990"/>
                </a:cxn>
                <a:cxn ang="0">
                  <a:pos x="connsiteX8991" y="connsiteY8991"/>
                </a:cxn>
                <a:cxn ang="0">
                  <a:pos x="connsiteX8992" y="connsiteY8992"/>
                </a:cxn>
                <a:cxn ang="0">
                  <a:pos x="connsiteX8993" y="connsiteY8993"/>
                </a:cxn>
                <a:cxn ang="0">
                  <a:pos x="connsiteX8994" y="connsiteY8994"/>
                </a:cxn>
                <a:cxn ang="0">
                  <a:pos x="connsiteX8995" y="connsiteY8995"/>
                </a:cxn>
                <a:cxn ang="0">
                  <a:pos x="connsiteX8996" y="connsiteY8996"/>
                </a:cxn>
                <a:cxn ang="0">
                  <a:pos x="connsiteX8997" y="connsiteY8997"/>
                </a:cxn>
                <a:cxn ang="0">
                  <a:pos x="connsiteX8998" y="connsiteY8998"/>
                </a:cxn>
                <a:cxn ang="0">
                  <a:pos x="connsiteX8999" y="connsiteY8999"/>
                </a:cxn>
                <a:cxn ang="0">
                  <a:pos x="connsiteX9000" y="connsiteY9000"/>
                </a:cxn>
                <a:cxn ang="0">
                  <a:pos x="connsiteX9001" y="connsiteY9001"/>
                </a:cxn>
                <a:cxn ang="0">
                  <a:pos x="connsiteX9002" y="connsiteY9002"/>
                </a:cxn>
                <a:cxn ang="0">
                  <a:pos x="connsiteX9003" y="connsiteY9003"/>
                </a:cxn>
                <a:cxn ang="0">
                  <a:pos x="connsiteX9004" y="connsiteY9004"/>
                </a:cxn>
                <a:cxn ang="0">
                  <a:pos x="connsiteX9005" y="connsiteY9005"/>
                </a:cxn>
                <a:cxn ang="0">
                  <a:pos x="connsiteX9006" y="connsiteY9006"/>
                </a:cxn>
                <a:cxn ang="0">
                  <a:pos x="connsiteX9007" y="connsiteY9007"/>
                </a:cxn>
                <a:cxn ang="0">
                  <a:pos x="connsiteX9008" y="connsiteY9008"/>
                </a:cxn>
                <a:cxn ang="0">
                  <a:pos x="connsiteX9009" y="connsiteY9009"/>
                </a:cxn>
                <a:cxn ang="0">
                  <a:pos x="connsiteX9010" y="connsiteY9010"/>
                </a:cxn>
                <a:cxn ang="0">
                  <a:pos x="connsiteX9011" y="connsiteY9011"/>
                </a:cxn>
                <a:cxn ang="0">
                  <a:pos x="connsiteX9012" y="connsiteY9012"/>
                </a:cxn>
                <a:cxn ang="0">
                  <a:pos x="connsiteX9013" y="connsiteY9013"/>
                </a:cxn>
                <a:cxn ang="0">
                  <a:pos x="connsiteX9014" y="connsiteY9014"/>
                </a:cxn>
                <a:cxn ang="0">
                  <a:pos x="connsiteX9015" y="connsiteY9015"/>
                </a:cxn>
                <a:cxn ang="0">
                  <a:pos x="connsiteX9016" y="connsiteY9016"/>
                </a:cxn>
                <a:cxn ang="0">
                  <a:pos x="connsiteX9017" y="connsiteY9017"/>
                </a:cxn>
                <a:cxn ang="0">
                  <a:pos x="connsiteX9018" y="connsiteY9018"/>
                </a:cxn>
                <a:cxn ang="0">
                  <a:pos x="connsiteX9019" y="connsiteY9019"/>
                </a:cxn>
                <a:cxn ang="0">
                  <a:pos x="connsiteX9020" y="connsiteY9020"/>
                </a:cxn>
                <a:cxn ang="0">
                  <a:pos x="connsiteX9021" y="connsiteY9021"/>
                </a:cxn>
                <a:cxn ang="0">
                  <a:pos x="connsiteX9022" y="connsiteY9022"/>
                </a:cxn>
                <a:cxn ang="0">
                  <a:pos x="connsiteX9023" y="connsiteY9023"/>
                </a:cxn>
                <a:cxn ang="0">
                  <a:pos x="connsiteX9024" y="connsiteY9024"/>
                </a:cxn>
                <a:cxn ang="0">
                  <a:pos x="connsiteX9025" y="connsiteY9025"/>
                </a:cxn>
                <a:cxn ang="0">
                  <a:pos x="connsiteX9026" y="connsiteY9026"/>
                </a:cxn>
                <a:cxn ang="0">
                  <a:pos x="connsiteX9027" y="connsiteY9027"/>
                </a:cxn>
                <a:cxn ang="0">
                  <a:pos x="connsiteX9028" y="connsiteY9028"/>
                </a:cxn>
                <a:cxn ang="0">
                  <a:pos x="connsiteX9029" y="connsiteY9029"/>
                </a:cxn>
                <a:cxn ang="0">
                  <a:pos x="connsiteX9030" y="connsiteY9030"/>
                </a:cxn>
                <a:cxn ang="0">
                  <a:pos x="connsiteX9031" y="connsiteY9031"/>
                </a:cxn>
                <a:cxn ang="0">
                  <a:pos x="connsiteX9032" y="connsiteY9032"/>
                </a:cxn>
                <a:cxn ang="0">
                  <a:pos x="connsiteX9033" y="connsiteY9033"/>
                </a:cxn>
                <a:cxn ang="0">
                  <a:pos x="connsiteX9034" y="connsiteY9034"/>
                </a:cxn>
                <a:cxn ang="0">
                  <a:pos x="connsiteX9035" y="connsiteY9035"/>
                </a:cxn>
                <a:cxn ang="0">
                  <a:pos x="connsiteX9036" y="connsiteY9036"/>
                </a:cxn>
                <a:cxn ang="0">
                  <a:pos x="connsiteX9037" y="connsiteY9037"/>
                </a:cxn>
                <a:cxn ang="0">
                  <a:pos x="connsiteX9038" y="connsiteY9038"/>
                </a:cxn>
                <a:cxn ang="0">
                  <a:pos x="connsiteX9039" y="connsiteY9039"/>
                </a:cxn>
                <a:cxn ang="0">
                  <a:pos x="connsiteX9040" y="connsiteY9040"/>
                </a:cxn>
                <a:cxn ang="0">
                  <a:pos x="connsiteX9041" y="connsiteY9041"/>
                </a:cxn>
                <a:cxn ang="0">
                  <a:pos x="connsiteX9042" y="connsiteY9042"/>
                </a:cxn>
                <a:cxn ang="0">
                  <a:pos x="connsiteX9043" y="connsiteY9043"/>
                </a:cxn>
                <a:cxn ang="0">
                  <a:pos x="connsiteX9044" y="connsiteY9044"/>
                </a:cxn>
                <a:cxn ang="0">
                  <a:pos x="connsiteX9045" y="connsiteY9045"/>
                </a:cxn>
                <a:cxn ang="0">
                  <a:pos x="connsiteX9046" y="connsiteY9046"/>
                </a:cxn>
                <a:cxn ang="0">
                  <a:pos x="connsiteX9047" y="connsiteY9047"/>
                </a:cxn>
                <a:cxn ang="0">
                  <a:pos x="connsiteX9048" y="connsiteY9048"/>
                </a:cxn>
                <a:cxn ang="0">
                  <a:pos x="connsiteX9049" y="connsiteY9049"/>
                </a:cxn>
                <a:cxn ang="0">
                  <a:pos x="connsiteX9050" y="connsiteY9050"/>
                </a:cxn>
                <a:cxn ang="0">
                  <a:pos x="connsiteX9051" y="connsiteY9051"/>
                </a:cxn>
                <a:cxn ang="0">
                  <a:pos x="connsiteX9052" y="connsiteY9052"/>
                </a:cxn>
                <a:cxn ang="0">
                  <a:pos x="connsiteX9053" y="connsiteY9053"/>
                </a:cxn>
                <a:cxn ang="0">
                  <a:pos x="connsiteX9054" y="connsiteY9054"/>
                </a:cxn>
                <a:cxn ang="0">
                  <a:pos x="connsiteX9055" y="connsiteY9055"/>
                </a:cxn>
                <a:cxn ang="0">
                  <a:pos x="connsiteX9056" y="connsiteY9056"/>
                </a:cxn>
                <a:cxn ang="0">
                  <a:pos x="connsiteX9057" y="connsiteY9057"/>
                </a:cxn>
                <a:cxn ang="0">
                  <a:pos x="connsiteX9058" y="connsiteY9058"/>
                </a:cxn>
                <a:cxn ang="0">
                  <a:pos x="connsiteX9059" y="connsiteY9059"/>
                </a:cxn>
                <a:cxn ang="0">
                  <a:pos x="connsiteX9060" y="connsiteY9060"/>
                </a:cxn>
                <a:cxn ang="0">
                  <a:pos x="connsiteX9061" y="connsiteY9061"/>
                </a:cxn>
                <a:cxn ang="0">
                  <a:pos x="connsiteX9062" y="connsiteY9062"/>
                </a:cxn>
                <a:cxn ang="0">
                  <a:pos x="connsiteX9063" y="connsiteY9063"/>
                </a:cxn>
                <a:cxn ang="0">
                  <a:pos x="connsiteX9064" y="connsiteY9064"/>
                </a:cxn>
                <a:cxn ang="0">
                  <a:pos x="connsiteX9065" y="connsiteY9065"/>
                </a:cxn>
                <a:cxn ang="0">
                  <a:pos x="connsiteX9066" y="connsiteY9066"/>
                </a:cxn>
                <a:cxn ang="0">
                  <a:pos x="connsiteX9067" y="connsiteY9067"/>
                </a:cxn>
                <a:cxn ang="0">
                  <a:pos x="connsiteX9068" y="connsiteY9068"/>
                </a:cxn>
                <a:cxn ang="0">
                  <a:pos x="connsiteX9069" y="connsiteY9069"/>
                </a:cxn>
                <a:cxn ang="0">
                  <a:pos x="connsiteX9070" y="connsiteY9070"/>
                </a:cxn>
                <a:cxn ang="0">
                  <a:pos x="connsiteX9071" y="connsiteY9071"/>
                </a:cxn>
                <a:cxn ang="0">
                  <a:pos x="connsiteX9072" y="connsiteY9072"/>
                </a:cxn>
                <a:cxn ang="0">
                  <a:pos x="connsiteX9073" y="connsiteY9073"/>
                </a:cxn>
                <a:cxn ang="0">
                  <a:pos x="connsiteX9074" y="connsiteY9074"/>
                </a:cxn>
                <a:cxn ang="0">
                  <a:pos x="connsiteX9075" y="connsiteY9075"/>
                </a:cxn>
                <a:cxn ang="0">
                  <a:pos x="connsiteX9076" y="connsiteY9076"/>
                </a:cxn>
                <a:cxn ang="0">
                  <a:pos x="connsiteX9077" y="connsiteY9077"/>
                </a:cxn>
                <a:cxn ang="0">
                  <a:pos x="connsiteX9078" y="connsiteY9078"/>
                </a:cxn>
                <a:cxn ang="0">
                  <a:pos x="connsiteX9079" y="connsiteY9079"/>
                </a:cxn>
                <a:cxn ang="0">
                  <a:pos x="connsiteX9080" y="connsiteY9080"/>
                </a:cxn>
                <a:cxn ang="0">
                  <a:pos x="connsiteX9081" y="connsiteY9081"/>
                </a:cxn>
                <a:cxn ang="0">
                  <a:pos x="connsiteX9082" y="connsiteY9082"/>
                </a:cxn>
                <a:cxn ang="0">
                  <a:pos x="connsiteX9083" y="connsiteY9083"/>
                </a:cxn>
                <a:cxn ang="0">
                  <a:pos x="connsiteX9084" y="connsiteY9084"/>
                </a:cxn>
                <a:cxn ang="0">
                  <a:pos x="connsiteX9085" y="connsiteY9085"/>
                </a:cxn>
                <a:cxn ang="0">
                  <a:pos x="connsiteX9086" y="connsiteY9086"/>
                </a:cxn>
                <a:cxn ang="0">
                  <a:pos x="connsiteX9087" y="connsiteY9087"/>
                </a:cxn>
                <a:cxn ang="0">
                  <a:pos x="connsiteX9088" y="connsiteY9088"/>
                </a:cxn>
                <a:cxn ang="0">
                  <a:pos x="connsiteX9089" y="connsiteY9089"/>
                </a:cxn>
                <a:cxn ang="0">
                  <a:pos x="connsiteX9090" y="connsiteY9090"/>
                </a:cxn>
                <a:cxn ang="0">
                  <a:pos x="connsiteX9091" y="connsiteY9091"/>
                </a:cxn>
                <a:cxn ang="0">
                  <a:pos x="connsiteX9092" y="connsiteY9092"/>
                </a:cxn>
                <a:cxn ang="0">
                  <a:pos x="connsiteX9093" y="connsiteY9093"/>
                </a:cxn>
                <a:cxn ang="0">
                  <a:pos x="connsiteX9094" y="connsiteY9094"/>
                </a:cxn>
                <a:cxn ang="0">
                  <a:pos x="connsiteX9095" y="connsiteY9095"/>
                </a:cxn>
                <a:cxn ang="0">
                  <a:pos x="connsiteX9096" y="connsiteY9096"/>
                </a:cxn>
                <a:cxn ang="0">
                  <a:pos x="connsiteX9097" y="connsiteY9097"/>
                </a:cxn>
                <a:cxn ang="0">
                  <a:pos x="connsiteX9098" y="connsiteY9098"/>
                </a:cxn>
                <a:cxn ang="0">
                  <a:pos x="connsiteX9099" y="connsiteY9099"/>
                </a:cxn>
                <a:cxn ang="0">
                  <a:pos x="connsiteX9100" y="connsiteY9100"/>
                </a:cxn>
                <a:cxn ang="0">
                  <a:pos x="connsiteX9101" y="connsiteY9101"/>
                </a:cxn>
                <a:cxn ang="0">
                  <a:pos x="connsiteX9102" y="connsiteY9102"/>
                </a:cxn>
                <a:cxn ang="0">
                  <a:pos x="connsiteX9103" y="connsiteY9103"/>
                </a:cxn>
                <a:cxn ang="0">
                  <a:pos x="connsiteX9104" y="connsiteY9104"/>
                </a:cxn>
                <a:cxn ang="0">
                  <a:pos x="connsiteX9105" y="connsiteY9105"/>
                </a:cxn>
                <a:cxn ang="0">
                  <a:pos x="connsiteX9106" y="connsiteY9106"/>
                </a:cxn>
                <a:cxn ang="0">
                  <a:pos x="connsiteX9107" y="connsiteY9107"/>
                </a:cxn>
                <a:cxn ang="0">
                  <a:pos x="connsiteX9108" y="connsiteY9108"/>
                </a:cxn>
                <a:cxn ang="0">
                  <a:pos x="connsiteX9109" y="connsiteY9109"/>
                </a:cxn>
                <a:cxn ang="0">
                  <a:pos x="connsiteX9110" y="connsiteY9110"/>
                </a:cxn>
                <a:cxn ang="0">
                  <a:pos x="connsiteX9111" y="connsiteY9111"/>
                </a:cxn>
                <a:cxn ang="0">
                  <a:pos x="connsiteX9112" y="connsiteY9112"/>
                </a:cxn>
                <a:cxn ang="0">
                  <a:pos x="connsiteX9113" y="connsiteY9113"/>
                </a:cxn>
                <a:cxn ang="0">
                  <a:pos x="connsiteX9114" y="connsiteY9114"/>
                </a:cxn>
                <a:cxn ang="0">
                  <a:pos x="connsiteX9115" y="connsiteY9115"/>
                </a:cxn>
                <a:cxn ang="0">
                  <a:pos x="connsiteX9116" y="connsiteY9116"/>
                </a:cxn>
                <a:cxn ang="0">
                  <a:pos x="connsiteX9117" y="connsiteY9117"/>
                </a:cxn>
                <a:cxn ang="0">
                  <a:pos x="connsiteX9118" y="connsiteY9118"/>
                </a:cxn>
                <a:cxn ang="0">
                  <a:pos x="connsiteX9119" y="connsiteY9119"/>
                </a:cxn>
                <a:cxn ang="0">
                  <a:pos x="connsiteX9120" y="connsiteY9120"/>
                </a:cxn>
                <a:cxn ang="0">
                  <a:pos x="connsiteX9121" y="connsiteY9121"/>
                </a:cxn>
                <a:cxn ang="0">
                  <a:pos x="connsiteX9122" y="connsiteY9122"/>
                </a:cxn>
                <a:cxn ang="0">
                  <a:pos x="connsiteX9123" y="connsiteY9123"/>
                </a:cxn>
                <a:cxn ang="0">
                  <a:pos x="connsiteX9124" y="connsiteY9124"/>
                </a:cxn>
                <a:cxn ang="0">
                  <a:pos x="connsiteX9125" y="connsiteY9125"/>
                </a:cxn>
                <a:cxn ang="0">
                  <a:pos x="connsiteX9126" y="connsiteY9126"/>
                </a:cxn>
                <a:cxn ang="0">
                  <a:pos x="connsiteX9127" y="connsiteY9127"/>
                </a:cxn>
                <a:cxn ang="0">
                  <a:pos x="connsiteX9128" y="connsiteY9128"/>
                </a:cxn>
                <a:cxn ang="0">
                  <a:pos x="connsiteX9129" y="connsiteY9129"/>
                </a:cxn>
                <a:cxn ang="0">
                  <a:pos x="connsiteX9130" y="connsiteY9130"/>
                </a:cxn>
                <a:cxn ang="0">
                  <a:pos x="connsiteX9131" y="connsiteY9131"/>
                </a:cxn>
                <a:cxn ang="0">
                  <a:pos x="connsiteX9132" y="connsiteY9132"/>
                </a:cxn>
                <a:cxn ang="0">
                  <a:pos x="connsiteX9133" y="connsiteY9133"/>
                </a:cxn>
                <a:cxn ang="0">
                  <a:pos x="connsiteX9134" y="connsiteY9134"/>
                </a:cxn>
                <a:cxn ang="0">
                  <a:pos x="connsiteX9135" y="connsiteY9135"/>
                </a:cxn>
                <a:cxn ang="0">
                  <a:pos x="connsiteX9136" y="connsiteY9136"/>
                </a:cxn>
                <a:cxn ang="0">
                  <a:pos x="connsiteX9137" y="connsiteY9137"/>
                </a:cxn>
                <a:cxn ang="0">
                  <a:pos x="connsiteX9138" y="connsiteY9138"/>
                </a:cxn>
                <a:cxn ang="0">
                  <a:pos x="connsiteX9139" y="connsiteY9139"/>
                </a:cxn>
                <a:cxn ang="0">
                  <a:pos x="connsiteX9140" y="connsiteY9140"/>
                </a:cxn>
                <a:cxn ang="0">
                  <a:pos x="connsiteX9141" y="connsiteY9141"/>
                </a:cxn>
                <a:cxn ang="0">
                  <a:pos x="connsiteX9142" y="connsiteY9142"/>
                </a:cxn>
                <a:cxn ang="0">
                  <a:pos x="connsiteX9143" y="connsiteY9143"/>
                </a:cxn>
                <a:cxn ang="0">
                  <a:pos x="connsiteX9144" y="connsiteY9144"/>
                </a:cxn>
                <a:cxn ang="0">
                  <a:pos x="connsiteX9145" y="connsiteY9145"/>
                </a:cxn>
                <a:cxn ang="0">
                  <a:pos x="connsiteX9146" y="connsiteY9146"/>
                </a:cxn>
                <a:cxn ang="0">
                  <a:pos x="connsiteX9147" y="connsiteY9147"/>
                </a:cxn>
                <a:cxn ang="0">
                  <a:pos x="connsiteX9148" y="connsiteY9148"/>
                </a:cxn>
                <a:cxn ang="0">
                  <a:pos x="connsiteX9149" y="connsiteY9149"/>
                </a:cxn>
                <a:cxn ang="0">
                  <a:pos x="connsiteX9150" y="connsiteY9150"/>
                </a:cxn>
                <a:cxn ang="0">
                  <a:pos x="connsiteX9151" y="connsiteY9151"/>
                </a:cxn>
                <a:cxn ang="0">
                  <a:pos x="connsiteX9152" y="connsiteY9152"/>
                </a:cxn>
                <a:cxn ang="0">
                  <a:pos x="connsiteX9153" y="connsiteY9153"/>
                </a:cxn>
                <a:cxn ang="0">
                  <a:pos x="connsiteX9154" y="connsiteY9154"/>
                </a:cxn>
                <a:cxn ang="0">
                  <a:pos x="connsiteX9155" y="connsiteY9155"/>
                </a:cxn>
                <a:cxn ang="0">
                  <a:pos x="connsiteX9156" y="connsiteY9156"/>
                </a:cxn>
                <a:cxn ang="0">
                  <a:pos x="connsiteX9157" y="connsiteY9157"/>
                </a:cxn>
                <a:cxn ang="0">
                  <a:pos x="connsiteX9158" y="connsiteY9158"/>
                </a:cxn>
                <a:cxn ang="0">
                  <a:pos x="connsiteX9159" y="connsiteY9159"/>
                </a:cxn>
                <a:cxn ang="0">
                  <a:pos x="connsiteX9160" y="connsiteY9160"/>
                </a:cxn>
                <a:cxn ang="0">
                  <a:pos x="connsiteX9161" y="connsiteY9161"/>
                </a:cxn>
                <a:cxn ang="0">
                  <a:pos x="connsiteX9162" y="connsiteY9162"/>
                </a:cxn>
                <a:cxn ang="0">
                  <a:pos x="connsiteX9163" y="connsiteY9163"/>
                </a:cxn>
                <a:cxn ang="0">
                  <a:pos x="connsiteX9164" y="connsiteY9164"/>
                </a:cxn>
                <a:cxn ang="0">
                  <a:pos x="connsiteX9165" y="connsiteY9165"/>
                </a:cxn>
                <a:cxn ang="0">
                  <a:pos x="connsiteX9166" y="connsiteY9166"/>
                </a:cxn>
                <a:cxn ang="0">
                  <a:pos x="connsiteX9167" y="connsiteY9167"/>
                </a:cxn>
                <a:cxn ang="0">
                  <a:pos x="connsiteX9168" y="connsiteY9168"/>
                </a:cxn>
                <a:cxn ang="0">
                  <a:pos x="connsiteX9169" y="connsiteY9169"/>
                </a:cxn>
                <a:cxn ang="0">
                  <a:pos x="connsiteX9170" y="connsiteY9170"/>
                </a:cxn>
                <a:cxn ang="0">
                  <a:pos x="connsiteX9171" y="connsiteY9171"/>
                </a:cxn>
                <a:cxn ang="0">
                  <a:pos x="connsiteX9172" y="connsiteY9172"/>
                </a:cxn>
                <a:cxn ang="0">
                  <a:pos x="connsiteX9173" y="connsiteY9173"/>
                </a:cxn>
                <a:cxn ang="0">
                  <a:pos x="connsiteX9174" y="connsiteY9174"/>
                </a:cxn>
                <a:cxn ang="0">
                  <a:pos x="connsiteX9175" y="connsiteY9175"/>
                </a:cxn>
                <a:cxn ang="0">
                  <a:pos x="connsiteX9176" y="connsiteY9176"/>
                </a:cxn>
                <a:cxn ang="0">
                  <a:pos x="connsiteX9177" y="connsiteY9177"/>
                </a:cxn>
                <a:cxn ang="0">
                  <a:pos x="connsiteX9178" y="connsiteY9178"/>
                </a:cxn>
                <a:cxn ang="0">
                  <a:pos x="connsiteX9179" y="connsiteY9179"/>
                </a:cxn>
                <a:cxn ang="0">
                  <a:pos x="connsiteX9180" y="connsiteY9180"/>
                </a:cxn>
                <a:cxn ang="0">
                  <a:pos x="connsiteX9181" y="connsiteY9181"/>
                </a:cxn>
                <a:cxn ang="0">
                  <a:pos x="connsiteX9182" y="connsiteY9182"/>
                </a:cxn>
                <a:cxn ang="0">
                  <a:pos x="connsiteX9183" y="connsiteY9183"/>
                </a:cxn>
                <a:cxn ang="0">
                  <a:pos x="connsiteX9184" y="connsiteY9184"/>
                </a:cxn>
                <a:cxn ang="0">
                  <a:pos x="connsiteX9185" y="connsiteY9185"/>
                </a:cxn>
                <a:cxn ang="0">
                  <a:pos x="connsiteX9186" y="connsiteY9186"/>
                </a:cxn>
                <a:cxn ang="0">
                  <a:pos x="connsiteX9187" y="connsiteY9187"/>
                </a:cxn>
                <a:cxn ang="0">
                  <a:pos x="connsiteX9188" y="connsiteY9188"/>
                </a:cxn>
                <a:cxn ang="0">
                  <a:pos x="connsiteX9189" y="connsiteY9189"/>
                </a:cxn>
                <a:cxn ang="0">
                  <a:pos x="connsiteX9190" y="connsiteY9190"/>
                </a:cxn>
                <a:cxn ang="0">
                  <a:pos x="connsiteX9191" y="connsiteY9191"/>
                </a:cxn>
                <a:cxn ang="0">
                  <a:pos x="connsiteX9192" y="connsiteY9192"/>
                </a:cxn>
                <a:cxn ang="0">
                  <a:pos x="connsiteX9193" y="connsiteY9193"/>
                </a:cxn>
                <a:cxn ang="0">
                  <a:pos x="connsiteX9194" y="connsiteY9194"/>
                </a:cxn>
                <a:cxn ang="0">
                  <a:pos x="connsiteX9195" y="connsiteY9195"/>
                </a:cxn>
                <a:cxn ang="0">
                  <a:pos x="connsiteX9196" y="connsiteY9196"/>
                </a:cxn>
                <a:cxn ang="0">
                  <a:pos x="connsiteX9197" y="connsiteY9197"/>
                </a:cxn>
                <a:cxn ang="0">
                  <a:pos x="connsiteX9198" y="connsiteY9198"/>
                </a:cxn>
                <a:cxn ang="0">
                  <a:pos x="connsiteX9199" y="connsiteY9199"/>
                </a:cxn>
                <a:cxn ang="0">
                  <a:pos x="connsiteX9200" y="connsiteY9200"/>
                </a:cxn>
                <a:cxn ang="0">
                  <a:pos x="connsiteX9201" y="connsiteY9201"/>
                </a:cxn>
                <a:cxn ang="0">
                  <a:pos x="connsiteX9202" y="connsiteY9202"/>
                </a:cxn>
                <a:cxn ang="0">
                  <a:pos x="connsiteX9203" y="connsiteY9203"/>
                </a:cxn>
                <a:cxn ang="0">
                  <a:pos x="connsiteX9204" y="connsiteY9204"/>
                </a:cxn>
                <a:cxn ang="0">
                  <a:pos x="connsiteX9205" y="connsiteY9205"/>
                </a:cxn>
                <a:cxn ang="0">
                  <a:pos x="connsiteX9206" y="connsiteY9206"/>
                </a:cxn>
                <a:cxn ang="0">
                  <a:pos x="connsiteX9207" y="connsiteY9207"/>
                </a:cxn>
                <a:cxn ang="0">
                  <a:pos x="connsiteX9208" y="connsiteY9208"/>
                </a:cxn>
                <a:cxn ang="0">
                  <a:pos x="connsiteX9209" y="connsiteY9209"/>
                </a:cxn>
                <a:cxn ang="0">
                  <a:pos x="connsiteX9210" y="connsiteY9210"/>
                </a:cxn>
                <a:cxn ang="0">
                  <a:pos x="connsiteX9211" y="connsiteY9211"/>
                </a:cxn>
                <a:cxn ang="0">
                  <a:pos x="connsiteX9212" y="connsiteY9212"/>
                </a:cxn>
                <a:cxn ang="0">
                  <a:pos x="connsiteX9213" y="connsiteY9213"/>
                </a:cxn>
                <a:cxn ang="0">
                  <a:pos x="connsiteX9214" y="connsiteY9214"/>
                </a:cxn>
                <a:cxn ang="0">
                  <a:pos x="connsiteX9215" y="connsiteY9215"/>
                </a:cxn>
                <a:cxn ang="0">
                  <a:pos x="connsiteX9216" y="connsiteY9216"/>
                </a:cxn>
                <a:cxn ang="0">
                  <a:pos x="connsiteX9217" y="connsiteY9217"/>
                </a:cxn>
                <a:cxn ang="0">
                  <a:pos x="connsiteX9218" y="connsiteY9218"/>
                </a:cxn>
                <a:cxn ang="0">
                  <a:pos x="connsiteX9219" y="connsiteY9219"/>
                </a:cxn>
                <a:cxn ang="0">
                  <a:pos x="connsiteX9220" y="connsiteY9220"/>
                </a:cxn>
                <a:cxn ang="0">
                  <a:pos x="connsiteX9221" y="connsiteY9221"/>
                </a:cxn>
                <a:cxn ang="0">
                  <a:pos x="connsiteX9222" y="connsiteY9222"/>
                </a:cxn>
                <a:cxn ang="0">
                  <a:pos x="connsiteX9223" y="connsiteY9223"/>
                </a:cxn>
                <a:cxn ang="0">
                  <a:pos x="connsiteX9224" y="connsiteY9224"/>
                </a:cxn>
                <a:cxn ang="0">
                  <a:pos x="connsiteX9225" y="connsiteY9225"/>
                </a:cxn>
                <a:cxn ang="0">
                  <a:pos x="connsiteX9226" y="connsiteY9226"/>
                </a:cxn>
                <a:cxn ang="0">
                  <a:pos x="connsiteX9227" y="connsiteY9227"/>
                </a:cxn>
                <a:cxn ang="0">
                  <a:pos x="connsiteX9228" y="connsiteY9228"/>
                </a:cxn>
                <a:cxn ang="0">
                  <a:pos x="connsiteX9229" y="connsiteY9229"/>
                </a:cxn>
                <a:cxn ang="0">
                  <a:pos x="connsiteX9230" y="connsiteY9230"/>
                </a:cxn>
                <a:cxn ang="0">
                  <a:pos x="connsiteX9231" y="connsiteY9231"/>
                </a:cxn>
                <a:cxn ang="0">
                  <a:pos x="connsiteX9232" y="connsiteY9232"/>
                </a:cxn>
                <a:cxn ang="0">
                  <a:pos x="connsiteX9233" y="connsiteY9233"/>
                </a:cxn>
                <a:cxn ang="0">
                  <a:pos x="connsiteX9234" y="connsiteY9234"/>
                </a:cxn>
                <a:cxn ang="0">
                  <a:pos x="connsiteX9235" y="connsiteY9235"/>
                </a:cxn>
                <a:cxn ang="0">
                  <a:pos x="connsiteX9236" y="connsiteY9236"/>
                </a:cxn>
                <a:cxn ang="0">
                  <a:pos x="connsiteX9237" y="connsiteY9237"/>
                </a:cxn>
                <a:cxn ang="0">
                  <a:pos x="connsiteX9238" y="connsiteY9238"/>
                </a:cxn>
                <a:cxn ang="0">
                  <a:pos x="connsiteX9239" y="connsiteY9239"/>
                </a:cxn>
                <a:cxn ang="0">
                  <a:pos x="connsiteX9240" y="connsiteY9240"/>
                </a:cxn>
                <a:cxn ang="0">
                  <a:pos x="connsiteX9241" y="connsiteY9241"/>
                </a:cxn>
                <a:cxn ang="0">
                  <a:pos x="connsiteX9242" y="connsiteY9242"/>
                </a:cxn>
                <a:cxn ang="0">
                  <a:pos x="connsiteX9243" y="connsiteY9243"/>
                </a:cxn>
                <a:cxn ang="0">
                  <a:pos x="connsiteX9244" y="connsiteY9244"/>
                </a:cxn>
                <a:cxn ang="0">
                  <a:pos x="connsiteX9245" y="connsiteY9245"/>
                </a:cxn>
                <a:cxn ang="0">
                  <a:pos x="connsiteX9246" y="connsiteY9246"/>
                </a:cxn>
                <a:cxn ang="0">
                  <a:pos x="connsiteX9247" y="connsiteY9247"/>
                </a:cxn>
                <a:cxn ang="0">
                  <a:pos x="connsiteX9248" y="connsiteY9248"/>
                </a:cxn>
                <a:cxn ang="0">
                  <a:pos x="connsiteX9249" y="connsiteY9249"/>
                </a:cxn>
                <a:cxn ang="0">
                  <a:pos x="connsiteX9250" y="connsiteY9250"/>
                </a:cxn>
                <a:cxn ang="0">
                  <a:pos x="connsiteX9251" y="connsiteY9251"/>
                </a:cxn>
                <a:cxn ang="0">
                  <a:pos x="connsiteX9252" y="connsiteY9252"/>
                </a:cxn>
                <a:cxn ang="0">
                  <a:pos x="connsiteX9253" y="connsiteY9253"/>
                </a:cxn>
                <a:cxn ang="0">
                  <a:pos x="connsiteX9254" y="connsiteY9254"/>
                </a:cxn>
                <a:cxn ang="0">
                  <a:pos x="connsiteX9255" y="connsiteY9255"/>
                </a:cxn>
                <a:cxn ang="0">
                  <a:pos x="connsiteX9256" y="connsiteY9256"/>
                </a:cxn>
                <a:cxn ang="0">
                  <a:pos x="connsiteX9257" y="connsiteY9257"/>
                </a:cxn>
                <a:cxn ang="0">
                  <a:pos x="connsiteX9258" y="connsiteY9258"/>
                </a:cxn>
                <a:cxn ang="0">
                  <a:pos x="connsiteX9259" y="connsiteY9259"/>
                </a:cxn>
                <a:cxn ang="0">
                  <a:pos x="connsiteX9260" y="connsiteY9260"/>
                </a:cxn>
                <a:cxn ang="0">
                  <a:pos x="connsiteX9261" y="connsiteY9261"/>
                </a:cxn>
                <a:cxn ang="0">
                  <a:pos x="connsiteX9262" y="connsiteY9262"/>
                </a:cxn>
                <a:cxn ang="0">
                  <a:pos x="connsiteX9263" y="connsiteY9263"/>
                </a:cxn>
                <a:cxn ang="0">
                  <a:pos x="connsiteX9264" y="connsiteY9264"/>
                </a:cxn>
                <a:cxn ang="0">
                  <a:pos x="connsiteX9265" y="connsiteY9265"/>
                </a:cxn>
                <a:cxn ang="0">
                  <a:pos x="connsiteX9266" y="connsiteY9266"/>
                </a:cxn>
                <a:cxn ang="0">
                  <a:pos x="connsiteX9267" y="connsiteY9267"/>
                </a:cxn>
                <a:cxn ang="0">
                  <a:pos x="connsiteX9268" y="connsiteY9268"/>
                </a:cxn>
                <a:cxn ang="0">
                  <a:pos x="connsiteX9269" y="connsiteY9269"/>
                </a:cxn>
                <a:cxn ang="0">
                  <a:pos x="connsiteX9270" y="connsiteY9270"/>
                </a:cxn>
                <a:cxn ang="0">
                  <a:pos x="connsiteX9271" y="connsiteY9271"/>
                </a:cxn>
                <a:cxn ang="0">
                  <a:pos x="connsiteX9272" y="connsiteY9272"/>
                </a:cxn>
                <a:cxn ang="0">
                  <a:pos x="connsiteX9273" y="connsiteY9273"/>
                </a:cxn>
                <a:cxn ang="0">
                  <a:pos x="connsiteX9274" y="connsiteY9274"/>
                </a:cxn>
                <a:cxn ang="0">
                  <a:pos x="connsiteX9275" y="connsiteY9275"/>
                </a:cxn>
                <a:cxn ang="0">
                  <a:pos x="connsiteX9276" y="connsiteY9276"/>
                </a:cxn>
                <a:cxn ang="0">
                  <a:pos x="connsiteX9277" y="connsiteY9277"/>
                </a:cxn>
                <a:cxn ang="0">
                  <a:pos x="connsiteX9278" y="connsiteY9278"/>
                </a:cxn>
                <a:cxn ang="0">
                  <a:pos x="connsiteX9279" y="connsiteY9279"/>
                </a:cxn>
                <a:cxn ang="0">
                  <a:pos x="connsiteX9280" y="connsiteY9280"/>
                </a:cxn>
                <a:cxn ang="0">
                  <a:pos x="connsiteX9281" y="connsiteY9281"/>
                </a:cxn>
                <a:cxn ang="0">
                  <a:pos x="connsiteX9282" y="connsiteY9282"/>
                </a:cxn>
                <a:cxn ang="0">
                  <a:pos x="connsiteX9283" y="connsiteY9283"/>
                </a:cxn>
                <a:cxn ang="0">
                  <a:pos x="connsiteX9284" y="connsiteY9284"/>
                </a:cxn>
                <a:cxn ang="0">
                  <a:pos x="connsiteX9285" y="connsiteY9285"/>
                </a:cxn>
                <a:cxn ang="0">
                  <a:pos x="connsiteX9286" y="connsiteY9286"/>
                </a:cxn>
                <a:cxn ang="0">
                  <a:pos x="connsiteX9287" y="connsiteY9287"/>
                </a:cxn>
                <a:cxn ang="0">
                  <a:pos x="connsiteX9288" y="connsiteY9288"/>
                </a:cxn>
                <a:cxn ang="0">
                  <a:pos x="connsiteX9289" y="connsiteY9289"/>
                </a:cxn>
                <a:cxn ang="0">
                  <a:pos x="connsiteX9290" y="connsiteY9290"/>
                </a:cxn>
                <a:cxn ang="0">
                  <a:pos x="connsiteX9291" y="connsiteY9291"/>
                </a:cxn>
                <a:cxn ang="0">
                  <a:pos x="connsiteX9292" y="connsiteY9292"/>
                </a:cxn>
                <a:cxn ang="0">
                  <a:pos x="connsiteX9293" y="connsiteY9293"/>
                </a:cxn>
                <a:cxn ang="0">
                  <a:pos x="connsiteX9294" y="connsiteY9294"/>
                </a:cxn>
                <a:cxn ang="0">
                  <a:pos x="connsiteX9295" y="connsiteY9295"/>
                </a:cxn>
                <a:cxn ang="0">
                  <a:pos x="connsiteX9296" y="connsiteY9296"/>
                </a:cxn>
                <a:cxn ang="0">
                  <a:pos x="connsiteX9297" y="connsiteY9297"/>
                </a:cxn>
                <a:cxn ang="0">
                  <a:pos x="connsiteX9298" y="connsiteY9298"/>
                </a:cxn>
                <a:cxn ang="0">
                  <a:pos x="connsiteX9299" y="connsiteY9299"/>
                </a:cxn>
                <a:cxn ang="0">
                  <a:pos x="connsiteX9300" y="connsiteY9300"/>
                </a:cxn>
                <a:cxn ang="0">
                  <a:pos x="connsiteX9301" y="connsiteY9301"/>
                </a:cxn>
                <a:cxn ang="0">
                  <a:pos x="connsiteX9302" y="connsiteY9302"/>
                </a:cxn>
                <a:cxn ang="0">
                  <a:pos x="connsiteX9303" y="connsiteY9303"/>
                </a:cxn>
                <a:cxn ang="0">
                  <a:pos x="connsiteX9304" y="connsiteY9304"/>
                </a:cxn>
                <a:cxn ang="0">
                  <a:pos x="connsiteX9305" y="connsiteY9305"/>
                </a:cxn>
                <a:cxn ang="0">
                  <a:pos x="connsiteX9306" y="connsiteY9306"/>
                </a:cxn>
                <a:cxn ang="0">
                  <a:pos x="connsiteX9307" y="connsiteY9307"/>
                </a:cxn>
                <a:cxn ang="0">
                  <a:pos x="connsiteX9308" y="connsiteY9308"/>
                </a:cxn>
                <a:cxn ang="0">
                  <a:pos x="connsiteX9309" y="connsiteY9309"/>
                </a:cxn>
                <a:cxn ang="0">
                  <a:pos x="connsiteX9310" y="connsiteY9310"/>
                </a:cxn>
                <a:cxn ang="0">
                  <a:pos x="connsiteX9311" y="connsiteY9311"/>
                </a:cxn>
                <a:cxn ang="0">
                  <a:pos x="connsiteX9312" y="connsiteY9312"/>
                </a:cxn>
                <a:cxn ang="0">
                  <a:pos x="connsiteX9313" y="connsiteY9313"/>
                </a:cxn>
                <a:cxn ang="0">
                  <a:pos x="connsiteX9314" y="connsiteY9314"/>
                </a:cxn>
                <a:cxn ang="0">
                  <a:pos x="connsiteX9315" y="connsiteY9315"/>
                </a:cxn>
                <a:cxn ang="0">
                  <a:pos x="connsiteX9316" y="connsiteY9316"/>
                </a:cxn>
                <a:cxn ang="0">
                  <a:pos x="connsiteX9317" y="connsiteY9317"/>
                </a:cxn>
                <a:cxn ang="0">
                  <a:pos x="connsiteX9318" y="connsiteY9318"/>
                </a:cxn>
                <a:cxn ang="0">
                  <a:pos x="connsiteX9319" y="connsiteY9319"/>
                </a:cxn>
                <a:cxn ang="0">
                  <a:pos x="connsiteX9320" y="connsiteY9320"/>
                </a:cxn>
                <a:cxn ang="0">
                  <a:pos x="connsiteX9321" y="connsiteY9321"/>
                </a:cxn>
                <a:cxn ang="0">
                  <a:pos x="connsiteX9322" y="connsiteY9322"/>
                </a:cxn>
                <a:cxn ang="0">
                  <a:pos x="connsiteX9323" y="connsiteY9323"/>
                </a:cxn>
                <a:cxn ang="0">
                  <a:pos x="connsiteX9324" y="connsiteY9324"/>
                </a:cxn>
                <a:cxn ang="0">
                  <a:pos x="connsiteX9325" y="connsiteY9325"/>
                </a:cxn>
                <a:cxn ang="0">
                  <a:pos x="connsiteX9326" y="connsiteY9326"/>
                </a:cxn>
                <a:cxn ang="0">
                  <a:pos x="connsiteX9327" y="connsiteY9327"/>
                </a:cxn>
                <a:cxn ang="0">
                  <a:pos x="connsiteX9328" y="connsiteY9328"/>
                </a:cxn>
                <a:cxn ang="0">
                  <a:pos x="connsiteX9329" y="connsiteY9329"/>
                </a:cxn>
                <a:cxn ang="0">
                  <a:pos x="connsiteX9330" y="connsiteY9330"/>
                </a:cxn>
                <a:cxn ang="0">
                  <a:pos x="connsiteX9331" y="connsiteY9331"/>
                </a:cxn>
                <a:cxn ang="0">
                  <a:pos x="connsiteX9332" y="connsiteY9332"/>
                </a:cxn>
                <a:cxn ang="0">
                  <a:pos x="connsiteX9333" y="connsiteY9333"/>
                </a:cxn>
                <a:cxn ang="0">
                  <a:pos x="connsiteX9334" y="connsiteY9334"/>
                </a:cxn>
                <a:cxn ang="0">
                  <a:pos x="connsiteX9335" y="connsiteY9335"/>
                </a:cxn>
                <a:cxn ang="0">
                  <a:pos x="connsiteX9336" y="connsiteY9336"/>
                </a:cxn>
                <a:cxn ang="0">
                  <a:pos x="connsiteX9337" y="connsiteY9337"/>
                </a:cxn>
                <a:cxn ang="0">
                  <a:pos x="connsiteX9338" y="connsiteY9338"/>
                </a:cxn>
                <a:cxn ang="0">
                  <a:pos x="connsiteX9339" y="connsiteY9339"/>
                </a:cxn>
                <a:cxn ang="0">
                  <a:pos x="connsiteX9340" y="connsiteY9340"/>
                </a:cxn>
                <a:cxn ang="0">
                  <a:pos x="connsiteX9341" y="connsiteY9341"/>
                </a:cxn>
                <a:cxn ang="0">
                  <a:pos x="connsiteX9342" y="connsiteY9342"/>
                </a:cxn>
                <a:cxn ang="0">
                  <a:pos x="connsiteX9343" y="connsiteY9343"/>
                </a:cxn>
                <a:cxn ang="0">
                  <a:pos x="connsiteX9344" y="connsiteY9344"/>
                </a:cxn>
                <a:cxn ang="0">
                  <a:pos x="connsiteX9345" y="connsiteY9345"/>
                </a:cxn>
                <a:cxn ang="0">
                  <a:pos x="connsiteX9346" y="connsiteY9346"/>
                </a:cxn>
                <a:cxn ang="0">
                  <a:pos x="connsiteX9347" y="connsiteY9347"/>
                </a:cxn>
                <a:cxn ang="0">
                  <a:pos x="connsiteX9348" y="connsiteY9348"/>
                </a:cxn>
                <a:cxn ang="0">
                  <a:pos x="connsiteX9349" y="connsiteY9349"/>
                </a:cxn>
                <a:cxn ang="0">
                  <a:pos x="connsiteX9350" y="connsiteY9350"/>
                </a:cxn>
                <a:cxn ang="0">
                  <a:pos x="connsiteX9351" y="connsiteY9351"/>
                </a:cxn>
                <a:cxn ang="0">
                  <a:pos x="connsiteX9352" y="connsiteY9352"/>
                </a:cxn>
                <a:cxn ang="0">
                  <a:pos x="connsiteX9353" y="connsiteY9353"/>
                </a:cxn>
                <a:cxn ang="0">
                  <a:pos x="connsiteX9354" y="connsiteY9354"/>
                </a:cxn>
                <a:cxn ang="0">
                  <a:pos x="connsiteX9355" y="connsiteY9355"/>
                </a:cxn>
                <a:cxn ang="0">
                  <a:pos x="connsiteX9356" y="connsiteY9356"/>
                </a:cxn>
                <a:cxn ang="0">
                  <a:pos x="connsiteX9357" y="connsiteY9357"/>
                </a:cxn>
                <a:cxn ang="0">
                  <a:pos x="connsiteX9358" y="connsiteY9358"/>
                </a:cxn>
                <a:cxn ang="0">
                  <a:pos x="connsiteX9359" y="connsiteY9359"/>
                </a:cxn>
                <a:cxn ang="0">
                  <a:pos x="connsiteX9360" y="connsiteY9360"/>
                </a:cxn>
                <a:cxn ang="0">
                  <a:pos x="connsiteX9361" y="connsiteY9361"/>
                </a:cxn>
                <a:cxn ang="0">
                  <a:pos x="connsiteX9362" y="connsiteY9362"/>
                </a:cxn>
                <a:cxn ang="0">
                  <a:pos x="connsiteX9363" y="connsiteY9363"/>
                </a:cxn>
                <a:cxn ang="0">
                  <a:pos x="connsiteX9364" y="connsiteY9364"/>
                </a:cxn>
                <a:cxn ang="0">
                  <a:pos x="connsiteX9365" y="connsiteY9365"/>
                </a:cxn>
                <a:cxn ang="0">
                  <a:pos x="connsiteX9366" y="connsiteY9366"/>
                </a:cxn>
                <a:cxn ang="0">
                  <a:pos x="connsiteX9367" y="connsiteY9367"/>
                </a:cxn>
                <a:cxn ang="0">
                  <a:pos x="connsiteX9368" y="connsiteY9368"/>
                </a:cxn>
                <a:cxn ang="0">
                  <a:pos x="connsiteX9369" y="connsiteY9369"/>
                </a:cxn>
                <a:cxn ang="0">
                  <a:pos x="connsiteX9370" y="connsiteY9370"/>
                </a:cxn>
                <a:cxn ang="0">
                  <a:pos x="connsiteX9371" y="connsiteY9371"/>
                </a:cxn>
                <a:cxn ang="0">
                  <a:pos x="connsiteX9372" y="connsiteY9372"/>
                </a:cxn>
                <a:cxn ang="0">
                  <a:pos x="connsiteX9373" y="connsiteY9373"/>
                </a:cxn>
                <a:cxn ang="0">
                  <a:pos x="connsiteX9374" y="connsiteY9374"/>
                </a:cxn>
                <a:cxn ang="0">
                  <a:pos x="connsiteX9375" y="connsiteY9375"/>
                </a:cxn>
                <a:cxn ang="0">
                  <a:pos x="connsiteX9376" y="connsiteY9376"/>
                </a:cxn>
                <a:cxn ang="0">
                  <a:pos x="connsiteX9377" y="connsiteY9377"/>
                </a:cxn>
                <a:cxn ang="0">
                  <a:pos x="connsiteX9378" y="connsiteY9378"/>
                </a:cxn>
                <a:cxn ang="0">
                  <a:pos x="connsiteX9379" y="connsiteY9379"/>
                </a:cxn>
                <a:cxn ang="0">
                  <a:pos x="connsiteX9380" y="connsiteY9380"/>
                </a:cxn>
                <a:cxn ang="0">
                  <a:pos x="connsiteX9381" y="connsiteY9381"/>
                </a:cxn>
                <a:cxn ang="0">
                  <a:pos x="connsiteX9382" y="connsiteY9382"/>
                </a:cxn>
                <a:cxn ang="0">
                  <a:pos x="connsiteX9383" y="connsiteY9383"/>
                </a:cxn>
                <a:cxn ang="0">
                  <a:pos x="connsiteX9384" y="connsiteY9384"/>
                </a:cxn>
                <a:cxn ang="0">
                  <a:pos x="connsiteX9385" y="connsiteY9385"/>
                </a:cxn>
                <a:cxn ang="0">
                  <a:pos x="connsiteX9386" y="connsiteY9386"/>
                </a:cxn>
                <a:cxn ang="0">
                  <a:pos x="connsiteX9387" y="connsiteY9387"/>
                </a:cxn>
                <a:cxn ang="0">
                  <a:pos x="connsiteX9388" y="connsiteY9388"/>
                </a:cxn>
                <a:cxn ang="0">
                  <a:pos x="connsiteX9389" y="connsiteY9389"/>
                </a:cxn>
                <a:cxn ang="0">
                  <a:pos x="connsiteX9390" y="connsiteY9390"/>
                </a:cxn>
                <a:cxn ang="0">
                  <a:pos x="connsiteX9391" y="connsiteY9391"/>
                </a:cxn>
                <a:cxn ang="0">
                  <a:pos x="connsiteX9392" y="connsiteY9392"/>
                </a:cxn>
                <a:cxn ang="0">
                  <a:pos x="connsiteX9393" y="connsiteY9393"/>
                </a:cxn>
                <a:cxn ang="0">
                  <a:pos x="connsiteX9394" y="connsiteY9394"/>
                </a:cxn>
                <a:cxn ang="0">
                  <a:pos x="connsiteX9395" y="connsiteY9395"/>
                </a:cxn>
                <a:cxn ang="0">
                  <a:pos x="connsiteX9396" y="connsiteY9396"/>
                </a:cxn>
                <a:cxn ang="0">
                  <a:pos x="connsiteX9397" y="connsiteY9397"/>
                </a:cxn>
                <a:cxn ang="0">
                  <a:pos x="connsiteX9398" y="connsiteY9398"/>
                </a:cxn>
                <a:cxn ang="0">
                  <a:pos x="connsiteX9399" y="connsiteY9399"/>
                </a:cxn>
                <a:cxn ang="0">
                  <a:pos x="connsiteX9400" y="connsiteY9400"/>
                </a:cxn>
                <a:cxn ang="0">
                  <a:pos x="connsiteX9401" y="connsiteY9401"/>
                </a:cxn>
                <a:cxn ang="0">
                  <a:pos x="connsiteX9402" y="connsiteY9402"/>
                </a:cxn>
                <a:cxn ang="0">
                  <a:pos x="connsiteX9403" y="connsiteY9403"/>
                </a:cxn>
                <a:cxn ang="0">
                  <a:pos x="connsiteX9404" y="connsiteY9404"/>
                </a:cxn>
                <a:cxn ang="0">
                  <a:pos x="connsiteX9405" y="connsiteY9405"/>
                </a:cxn>
                <a:cxn ang="0">
                  <a:pos x="connsiteX9406" y="connsiteY9406"/>
                </a:cxn>
                <a:cxn ang="0">
                  <a:pos x="connsiteX9407" y="connsiteY9407"/>
                </a:cxn>
                <a:cxn ang="0">
                  <a:pos x="connsiteX9408" y="connsiteY9408"/>
                </a:cxn>
                <a:cxn ang="0">
                  <a:pos x="connsiteX9409" y="connsiteY9409"/>
                </a:cxn>
                <a:cxn ang="0">
                  <a:pos x="connsiteX9410" y="connsiteY9410"/>
                </a:cxn>
                <a:cxn ang="0">
                  <a:pos x="connsiteX9411" y="connsiteY9411"/>
                </a:cxn>
                <a:cxn ang="0">
                  <a:pos x="connsiteX9412" y="connsiteY9412"/>
                </a:cxn>
                <a:cxn ang="0">
                  <a:pos x="connsiteX9413" y="connsiteY9413"/>
                </a:cxn>
                <a:cxn ang="0">
                  <a:pos x="connsiteX9414" y="connsiteY9414"/>
                </a:cxn>
                <a:cxn ang="0">
                  <a:pos x="connsiteX9415" y="connsiteY9415"/>
                </a:cxn>
                <a:cxn ang="0">
                  <a:pos x="connsiteX9416" y="connsiteY9416"/>
                </a:cxn>
                <a:cxn ang="0">
                  <a:pos x="connsiteX9417" y="connsiteY9417"/>
                </a:cxn>
                <a:cxn ang="0">
                  <a:pos x="connsiteX9418" y="connsiteY9418"/>
                </a:cxn>
                <a:cxn ang="0">
                  <a:pos x="connsiteX9419" y="connsiteY9419"/>
                </a:cxn>
                <a:cxn ang="0">
                  <a:pos x="connsiteX9420" y="connsiteY9420"/>
                </a:cxn>
                <a:cxn ang="0">
                  <a:pos x="connsiteX9421" y="connsiteY9421"/>
                </a:cxn>
                <a:cxn ang="0">
                  <a:pos x="connsiteX9422" y="connsiteY9422"/>
                </a:cxn>
                <a:cxn ang="0">
                  <a:pos x="connsiteX9423" y="connsiteY9423"/>
                </a:cxn>
                <a:cxn ang="0">
                  <a:pos x="connsiteX9424" y="connsiteY9424"/>
                </a:cxn>
                <a:cxn ang="0">
                  <a:pos x="connsiteX9425" y="connsiteY9425"/>
                </a:cxn>
                <a:cxn ang="0">
                  <a:pos x="connsiteX9426" y="connsiteY9426"/>
                </a:cxn>
                <a:cxn ang="0">
                  <a:pos x="connsiteX9427" y="connsiteY9427"/>
                </a:cxn>
                <a:cxn ang="0">
                  <a:pos x="connsiteX9428" y="connsiteY9428"/>
                </a:cxn>
                <a:cxn ang="0">
                  <a:pos x="connsiteX9429" y="connsiteY9429"/>
                </a:cxn>
                <a:cxn ang="0">
                  <a:pos x="connsiteX9430" y="connsiteY9430"/>
                </a:cxn>
                <a:cxn ang="0">
                  <a:pos x="connsiteX9431" y="connsiteY9431"/>
                </a:cxn>
                <a:cxn ang="0">
                  <a:pos x="connsiteX9432" y="connsiteY9432"/>
                </a:cxn>
                <a:cxn ang="0">
                  <a:pos x="connsiteX9433" y="connsiteY9433"/>
                </a:cxn>
                <a:cxn ang="0">
                  <a:pos x="connsiteX9434" y="connsiteY9434"/>
                </a:cxn>
                <a:cxn ang="0">
                  <a:pos x="connsiteX9435" y="connsiteY9435"/>
                </a:cxn>
                <a:cxn ang="0">
                  <a:pos x="connsiteX9436" y="connsiteY9436"/>
                </a:cxn>
                <a:cxn ang="0">
                  <a:pos x="connsiteX9437" y="connsiteY9437"/>
                </a:cxn>
                <a:cxn ang="0">
                  <a:pos x="connsiteX9438" y="connsiteY9438"/>
                </a:cxn>
                <a:cxn ang="0">
                  <a:pos x="connsiteX9439" y="connsiteY9439"/>
                </a:cxn>
                <a:cxn ang="0">
                  <a:pos x="connsiteX9440" y="connsiteY9440"/>
                </a:cxn>
                <a:cxn ang="0">
                  <a:pos x="connsiteX9441" y="connsiteY9441"/>
                </a:cxn>
                <a:cxn ang="0">
                  <a:pos x="connsiteX9442" y="connsiteY9442"/>
                </a:cxn>
                <a:cxn ang="0">
                  <a:pos x="connsiteX9443" y="connsiteY9443"/>
                </a:cxn>
                <a:cxn ang="0">
                  <a:pos x="connsiteX9444" y="connsiteY9444"/>
                </a:cxn>
                <a:cxn ang="0">
                  <a:pos x="connsiteX9445" y="connsiteY9445"/>
                </a:cxn>
                <a:cxn ang="0">
                  <a:pos x="connsiteX9446" y="connsiteY9446"/>
                </a:cxn>
                <a:cxn ang="0">
                  <a:pos x="connsiteX9447" y="connsiteY9447"/>
                </a:cxn>
                <a:cxn ang="0">
                  <a:pos x="connsiteX9448" y="connsiteY9448"/>
                </a:cxn>
                <a:cxn ang="0">
                  <a:pos x="connsiteX9449" y="connsiteY9449"/>
                </a:cxn>
                <a:cxn ang="0">
                  <a:pos x="connsiteX9450" y="connsiteY9450"/>
                </a:cxn>
                <a:cxn ang="0">
                  <a:pos x="connsiteX9451" y="connsiteY9451"/>
                </a:cxn>
                <a:cxn ang="0">
                  <a:pos x="connsiteX9452" y="connsiteY9452"/>
                </a:cxn>
                <a:cxn ang="0">
                  <a:pos x="connsiteX9453" y="connsiteY9453"/>
                </a:cxn>
                <a:cxn ang="0">
                  <a:pos x="connsiteX9454" y="connsiteY9454"/>
                </a:cxn>
                <a:cxn ang="0">
                  <a:pos x="connsiteX9455" y="connsiteY9455"/>
                </a:cxn>
                <a:cxn ang="0">
                  <a:pos x="connsiteX9456" y="connsiteY9456"/>
                </a:cxn>
                <a:cxn ang="0">
                  <a:pos x="connsiteX9457" y="connsiteY9457"/>
                </a:cxn>
                <a:cxn ang="0">
                  <a:pos x="connsiteX9458" y="connsiteY9458"/>
                </a:cxn>
                <a:cxn ang="0">
                  <a:pos x="connsiteX9459" y="connsiteY9459"/>
                </a:cxn>
                <a:cxn ang="0">
                  <a:pos x="connsiteX9460" y="connsiteY9460"/>
                </a:cxn>
                <a:cxn ang="0">
                  <a:pos x="connsiteX9461" y="connsiteY9461"/>
                </a:cxn>
                <a:cxn ang="0">
                  <a:pos x="connsiteX9462" y="connsiteY9462"/>
                </a:cxn>
                <a:cxn ang="0">
                  <a:pos x="connsiteX9463" y="connsiteY9463"/>
                </a:cxn>
                <a:cxn ang="0">
                  <a:pos x="connsiteX9464" y="connsiteY9464"/>
                </a:cxn>
                <a:cxn ang="0">
                  <a:pos x="connsiteX9465" y="connsiteY9465"/>
                </a:cxn>
                <a:cxn ang="0">
                  <a:pos x="connsiteX9466" y="connsiteY9466"/>
                </a:cxn>
                <a:cxn ang="0">
                  <a:pos x="connsiteX9467" y="connsiteY9467"/>
                </a:cxn>
                <a:cxn ang="0">
                  <a:pos x="connsiteX9468" y="connsiteY9468"/>
                </a:cxn>
                <a:cxn ang="0">
                  <a:pos x="connsiteX9469" y="connsiteY9469"/>
                </a:cxn>
                <a:cxn ang="0">
                  <a:pos x="connsiteX9470" y="connsiteY9470"/>
                </a:cxn>
                <a:cxn ang="0">
                  <a:pos x="connsiteX9471" y="connsiteY9471"/>
                </a:cxn>
                <a:cxn ang="0">
                  <a:pos x="connsiteX9472" y="connsiteY9472"/>
                </a:cxn>
                <a:cxn ang="0">
                  <a:pos x="connsiteX9473" y="connsiteY9473"/>
                </a:cxn>
                <a:cxn ang="0">
                  <a:pos x="connsiteX9474" y="connsiteY9474"/>
                </a:cxn>
                <a:cxn ang="0">
                  <a:pos x="connsiteX9475" y="connsiteY9475"/>
                </a:cxn>
                <a:cxn ang="0">
                  <a:pos x="connsiteX9476" y="connsiteY9476"/>
                </a:cxn>
                <a:cxn ang="0">
                  <a:pos x="connsiteX9477" y="connsiteY9477"/>
                </a:cxn>
                <a:cxn ang="0">
                  <a:pos x="connsiteX9478" y="connsiteY9478"/>
                </a:cxn>
                <a:cxn ang="0">
                  <a:pos x="connsiteX9479" y="connsiteY9479"/>
                </a:cxn>
                <a:cxn ang="0">
                  <a:pos x="connsiteX9480" y="connsiteY9480"/>
                </a:cxn>
                <a:cxn ang="0">
                  <a:pos x="connsiteX9481" y="connsiteY9481"/>
                </a:cxn>
                <a:cxn ang="0">
                  <a:pos x="connsiteX9482" y="connsiteY9482"/>
                </a:cxn>
                <a:cxn ang="0">
                  <a:pos x="connsiteX9483" y="connsiteY9483"/>
                </a:cxn>
                <a:cxn ang="0">
                  <a:pos x="connsiteX9484" y="connsiteY9484"/>
                </a:cxn>
                <a:cxn ang="0">
                  <a:pos x="connsiteX9485" y="connsiteY9485"/>
                </a:cxn>
                <a:cxn ang="0">
                  <a:pos x="connsiteX9486" y="connsiteY9486"/>
                </a:cxn>
                <a:cxn ang="0">
                  <a:pos x="connsiteX9487" y="connsiteY9487"/>
                </a:cxn>
                <a:cxn ang="0">
                  <a:pos x="connsiteX9488" y="connsiteY9488"/>
                </a:cxn>
                <a:cxn ang="0">
                  <a:pos x="connsiteX9489" y="connsiteY9489"/>
                </a:cxn>
                <a:cxn ang="0">
                  <a:pos x="connsiteX9490" y="connsiteY9490"/>
                </a:cxn>
                <a:cxn ang="0">
                  <a:pos x="connsiteX9491" y="connsiteY9491"/>
                </a:cxn>
                <a:cxn ang="0">
                  <a:pos x="connsiteX9492" y="connsiteY9492"/>
                </a:cxn>
                <a:cxn ang="0">
                  <a:pos x="connsiteX9493" y="connsiteY9493"/>
                </a:cxn>
                <a:cxn ang="0">
                  <a:pos x="connsiteX9494" y="connsiteY9494"/>
                </a:cxn>
                <a:cxn ang="0">
                  <a:pos x="connsiteX9495" y="connsiteY9495"/>
                </a:cxn>
                <a:cxn ang="0">
                  <a:pos x="connsiteX9496" y="connsiteY9496"/>
                </a:cxn>
                <a:cxn ang="0">
                  <a:pos x="connsiteX9497" y="connsiteY9497"/>
                </a:cxn>
                <a:cxn ang="0">
                  <a:pos x="connsiteX9498" y="connsiteY9498"/>
                </a:cxn>
                <a:cxn ang="0">
                  <a:pos x="connsiteX9499" y="connsiteY9499"/>
                </a:cxn>
                <a:cxn ang="0">
                  <a:pos x="connsiteX9500" y="connsiteY9500"/>
                </a:cxn>
                <a:cxn ang="0">
                  <a:pos x="connsiteX9501" y="connsiteY9501"/>
                </a:cxn>
                <a:cxn ang="0">
                  <a:pos x="connsiteX9502" y="connsiteY9502"/>
                </a:cxn>
                <a:cxn ang="0">
                  <a:pos x="connsiteX9503" y="connsiteY9503"/>
                </a:cxn>
                <a:cxn ang="0">
                  <a:pos x="connsiteX9504" y="connsiteY9504"/>
                </a:cxn>
                <a:cxn ang="0">
                  <a:pos x="connsiteX9505" y="connsiteY9505"/>
                </a:cxn>
                <a:cxn ang="0">
                  <a:pos x="connsiteX9506" y="connsiteY9506"/>
                </a:cxn>
                <a:cxn ang="0">
                  <a:pos x="connsiteX9507" y="connsiteY9507"/>
                </a:cxn>
                <a:cxn ang="0">
                  <a:pos x="connsiteX9508" y="connsiteY9508"/>
                </a:cxn>
                <a:cxn ang="0">
                  <a:pos x="connsiteX9509" y="connsiteY9509"/>
                </a:cxn>
                <a:cxn ang="0">
                  <a:pos x="connsiteX9510" y="connsiteY9510"/>
                </a:cxn>
                <a:cxn ang="0">
                  <a:pos x="connsiteX9511" y="connsiteY9511"/>
                </a:cxn>
                <a:cxn ang="0">
                  <a:pos x="connsiteX9512" y="connsiteY9512"/>
                </a:cxn>
                <a:cxn ang="0">
                  <a:pos x="connsiteX9513" y="connsiteY9513"/>
                </a:cxn>
                <a:cxn ang="0">
                  <a:pos x="connsiteX9514" y="connsiteY9514"/>
                </a:cxn>
                <a:cxn ang="0">
                  <a:pos x="connsiteX9515" y="connsiteY9515"/>
                </a:cxn>
                <a:cxn ang="0">
                  <a:pos x="connsiteX9516" y="connsiteY9516"/>
                </a:cxn>
                <a:cxn ang="0">
                  <a:pos x="connsiteX9517" y="connsiteY9517"/>
                </a:cxn>
                <a:cxn ang="0">
                  <a:pos x="connsiteX9518" y="connsiteY9518"/>
                </a:cxn>
                <a:cxn ang="0">
                  <a:pos x="connsiteX9519" y="connsiteY9519"/>
                </a:cxn>
                <a:cxn ang="0">
                  <a:pos x="connsiteX9520" y="connsiteY9520"/>
                </a:cxn>
                <a:cxn ang="0">
                  <a:pos x="connsiteX9521" y="connsiteY9521"/>
                </a:cxn>
                <a:cxn ang="0">
                  <a:pos x="connsiteX9522" y="connsiteY9522"/>
                </a:cxn>
                <a:cxn ang="0">
                  <a:pos x="connsiteX9523" y="connsiteY9523"/>
                </a:cxn>
                <a:cxn ang="0">
                  <a:pos x="connsiteX9524" y="connsiteY9524"/>
                </a:cxn>
                <a:cxn ang="0">
                  <a:pos x="connsiteX9525" y="connsiteY9525"/>
                </a:cxn>
                <a:cxn ang="0">
                  <a:pos x="connsiteX9526" y="connsiteY9526"/>
                </a:cxn>
                <a:cxn ang="0">
                  <a:pos x="connsiteX9527" y="connsiteY9527"/>
                </a:cxn>
                <a:cxn ang="0">
                  <a:pos x="connsiteX9528" y="connsiteY9528"/>
                </a:cxn>
                <a:cxn ang="0">
                  <a:pos x="connsiteX9529" y="connsiteY9529"/>
                </a:cxn>
                <a:cxn ang="0">
                  <a:pos x="connsiteX9530" y="connsiteY9530"/>
                </a:cxn>
                <a:cxn ang="0">
                  <a:pos x="connsiteX9531" y="connsiteY9531"/>
                </a:cxn>
                <a:cxn ang="0">
                  <a:pos x="connsiteX9532" y="connsiteY9532"/>
                </a:cxn>
                <a:cxn ang="0">
                  <a:pos x="connsiteX9533" y="connsiteY9533"/>
                </a:cxn>
                <a:cxn ang="0">
                  <a:pos x="connsiteX9534" y="connsiteY9534"/>
                </a:cxn>
                <a:cxn ang="0">
                  <a:pos x="connsiteX9535" y="connsiteY9535"/>
                </a:cxn>
                <a:cxn ang="0">
                  <a:pos x="connsiteX9536" y="connsiteY9536"/>
                </a:cxn>
                <a:cxn ang="0">
                  <a:pos x="connsiteX9537" y="connsiteY9537"/>
                </a:cxn>
                <a:cxn ang="0">
                  <a:pos x="connsiteX9538" y="connsiteY9538"/>
                </a:cxn>
                <a:cxn ang="0">
                  <a:pos x="connsiteX9539" y="connsiteY9539"/>
                </a:cxn>
                <a:cxn ang="0">
                  <a:pos x="connsiteX9540" y="connsiteY9540"/>
                </a:cxn>
                <a:cxn ang="0">
                  <a:pos x="connsiteX9541" y="connsiteY9541"/>
                </a:cxn>
                <a:cxn ang="0">
                  <a:pos x="connsiteX9542" y="connsiteY9542"/>
                </a:cxn>
                <a:cxn ang="0">
                  <a:pos x="connsiteX9543" y="connsiteY9543"/>
                </a:cxn>
                <a:cxn ang="0">
                  <a:pos x="connsiteX9544" y="connsiteY9544"/>
                </a:cxn>
                <a:cxn ang="0">
                  <a:pos x="connsiteX9545" y="connsiteY9545"/>
                </a:cxn>
                <a:cxn ang="0">
                  <a:pos x="connsiteX9546" y="connsiteY9546"/>
                </a:cxn>
                <a:cxn ang="0">
                  <a:pos x="connsiteX9547" y="connsiteY9547"/>
                </a:cxn>
                <a:cxn ang="0">
                  <a:pos x="connsiteX9548" y="connsiteY9548"/>
                </a:cxn>
                <a:cxn ang="0">
                  <a:pos x="connsiteX9549" y="connsiteY9549"/>
                </a:cxn>
                <a:cxn ang="0">
                  <a:pos x="connsiteX9550" y="connsiteY9550"/>
                </a:cxn>
                <a:cxn ang="0">
                  <a:pos x="connsiteX9551" y="connsiteY9551"/>
                </a:cxn>
                <a:cxn ang="0">
                  <a:pos x="connsiteX9552" y="connsiteY9552"/>
                </a:cxn>
                <a:cxn ang="0">
                  <a:pos x="connsiteX9553" y="connsiteY9553"/>
                </a:cxn>
                <a:cxn ang="0">
                  <a:pos x="connsiteX9554" y="connsiteY9554"/>
                </a:cxn>
                <a:cxn ang="0">
                  <a:pos x="connsiteX9555" y="connsiteY9555"/>
                </a:cxn>
                <a:cxn ang="0">
                  <a:pos x="connsiteX9556" y="connsiteY9556"/>
                </a:cxn>
                <a:cxn ang="0">
                  <a:pos x="connsiteX9557" y="connsiteY9557"/>
                </a:cxn>
                <a:cxn ang="0">
                  <a:pos x="connsiteX9558" y="connsiteY9558"/>
                </a:cxn>
                <a:cxn ang="0">
                  <a:pos x="connsiteX9559" y="connsiteY9559"/>
                </a:cxn>
                <a:cxn ang="0">
                  <a:pos x="connsiteX9560" y="connsiteY9560"/>
                </a:cxn>
                <a:cxn ang="0">
                  <a:pos x="connsiteX9561" y="connsiteY9561"/>
                </a:cxn>
                <a:cxn ang="0">
                  <a:pos x="connsiteX9562" y="connsiteY9562"/>
                </a:cxn>
                <a:cxn ang="0">
                  <a:pos x="connsiteX9563" y="connsiteY9563"/>
                </a:cxn>
                <a:cxn ang="0">
                  <a:pos x="connsiteX9564" y="connsiteY9564"/>
                </a:cxn>
                <a:cxn ang="0">
                  <a:pos x="connsiteX9565" y="connsiteY9565"/>
                </a:cxn>
                <a:cxn ang="0">
                  <a:pos x="connsiteX9566" y="connsiteY9566"/>
                </a:cxn>
                <a:cxn ang="0">
                  <a:pos x="connsiteX9567" y="connsiteY9567"/>
                </a:cxn>
                <a:cxn ang="0">
                  <a:pos x="connsiteX9568" y="connsiteY9568"/>
                </a:cxn>
                <a:cxn ang="0">
                  <a:pos x="connsiteX9569" y="connsiteY9569"/>
                </a:cxn>
                <a:cxn ang="0">
                  <a:pos x="connsiteX9570" y="connsiteY9570"/>
                </a:cxn>
                <a:cxn ang="0">
                  <a:pos x="connsiteX9571" y="connsiteY9571"/>
                </a:cxn>
                <a:cxn ang="0">
                  <a:pos x="connsiteX9572" y="connsiteY9572"/>
                </a:cxn>
                <a:cxn ang="0">
                  <a:pos x="connsiteX9573" y="connsiteY9573"/>
                </a:cxn>
                <a:cxn ang="0">
                  <a:pos x="connsiteX9574" y="connsiteY9574"/>
                </a:cxn>
                <a:cxn ang="0">
                  <a:pos x="connsiteX9575" y="connsiteY9575"/>
                </a:cxn>
                <a:cxn ang="0">
                  <a:pos x="connsiteX9576" y="connsiteY9576"/>
                </a:cxn>
                <a:cxn ang="0">
                  <a:pos x="connsiteX9577" y="connsiteY9577"/>
                </a:cxn>
                <a:cxn ang="0">
                  <a:pos x="connsiteX9578" y="connsiteY9578"/>
                </a:cxn>
                <a:cxn ang="0">
                  <a:pos x="connsiteX9579" y="connsiteY9579"/>
                </a:cxn>
                <a:cxn ang="0">
                  <a:pos x="connsiteX9580" y="connsiteY9580"/>
                </a:cxn>
                <a:cxn ang="0">
                  <a:pos x="connsiteX9581" y="connsiteY9581"/>
                </a:cxn>
                <a:cxn ang="0">
                  <a:pos x="connsiteX9582" y="connsiteY9582"/>
                </a:cxn>
                <a:cxn ang="0">
                  <a:pos x="connsiteX9583" y="connsiteY9583"/>
                </a:cxn>
                <a:cxn ang="0">
                  <a:pos x="connsiteX9584" y="connsiteY9584"/>
                </a:cxn>
                <a:cxn ang="0">
                  <a:pos x="connsiteX9585" y="connsiteY9585"/>
                </a:cxn>
                <a:cxn ang="0">
                  <a:pos x="connsiteX9586" y="connsiteY9586"/>
                </a:cxn>
                <a:cxn ang="0">
                  <a:pos x="connsiteX9587" y="connsiteY9587"/>
                </a:cxn>
                <a:cxn ang="0">
                  <a:pos x="connsiteX9588" y="connsiteY9588"/>
                </a:cxn>
                <a:cxn ang="0">
                  <a:pos x="connsiteX9589" y="connsiteY9589"/>
                </a:cxn>
                <a:cxn ang="0">
                  <a:pos x="connsiteX9590" y="connsiteY9590"/>
                </a:cxn>
                <a:cxn ang="0">
                  <a:pos x="connsiteX9591" y="connsiteY9591"/>
                </a:cxn>
                <a:cxn ang="0">
                  <a:pos x="connsiteX9592" y="connsiteY9592"/>
                </a:cxn>
                <a:cxn ang="0">
                  <a:pos x="connsiteX9593" y="connsiteY9593"/>
                </a:cxn>
                <a:cxn ang="0">
                  <a:pos x="connsiteX9594" y="connsiteY9594"/>
                </a:cxn>
                <a:cxn ang="0">
                  <a:pos x="connsiteX9595" y="connsiteY9595"/>
                </a:cxn>
                <a:cxn ang="0">
                  <a:pos x="connsiteX9596" y="connsiteY9596"/>
                </a:cxn>
                <a:cxn ang="0">
                  <a:pos x="connsiteX9597" y="connsiteY9597"/>
                </a:cxn>
                <a:cxn ang="0">
                  <a:pos x="connsiteX9598" y="connsiteY9598"/>
                </a:cxn>
                <a:cxn ang="0">
                  <a:pos x="connsiteX9599" y="connsiteY9599"/>
                </a:cxn>
                <a:cxn ang="0">
                  <a:pos x="connsiteX9600" y="connsiteY9600"/>
                </a:cxn>
                <a:cxn ang="0">
                  <a:pos x="connsiteX9601" y="connsiteY9601"/>
                </a:cxn>
                <a:cxn ang="0">
                  <a:pos x="connsiteX9602" y="connsiteY9602"/>
                </a:cxn>
                <a:cxn ang="0">
                  <a:pos x="connsiteX9603" y="connsiteY9603"/>
                </a:cxn>
                <a:cxn ang="0">
                  <a:pos x="connsiteX9604" y="connsiteY9604"/>
                </a:cxn>
                <a:cxn ang="0">
                  <a:pos x="connsiteX9605" y="connsiteY9605"/>
                </a:cxn>
                <a:cxn ang="0">
                  <a:pos x="connsiteX9606" y="connsiteY9606"/>
                </a:cxn>
                <a:cxn ang="0">
                  <a:pos x="connsiteX9607" y="connsiteY9607"/>
                </a:cxn>
                <a:cxn ang="0">
                  <a:pos x="connsiteX9608" y="connsiteY9608"/>
                </a:cxn>
                <a:cxn ang="0">
                  <a:pos x="connsiteX9609" y="connsiteY9609"/>
                </a:cxn>
                <a:cxn ang="0">
                  <a:pos x="connsiteX9610" y="connsiteY9610"/>
                </a:cxn>
                <a:cxn ang="0">
                  <a:pos x="connsiteX9611" y="connsiteY9611"/>
                </a:cxn>
                <a:cxn ang="0">
                  <a:pos x="connsiteX9612" y="connsiteY9612"/>
                </a:cxn>
                <a:cxn ang="0">
                  <a:pos x="connsiteX9613" y="connsiteY9613"/>
                </a:cxn>
                <a:cxn ang="0">
                  <a:pos x="connsiteX9614" y="connsiteY9614"/>
                </a:cxn>
                <a:cxn ang="0">
                  <a:pos x="connsiteX9615" y="connsiteY9615"/>
                </a:cxn>
                <a:cxn ang="0">
                  <a:pos x="connsiteX9616" y="connsiteY9616"/>
                </a:cxn>
                <a:cxn ang="0">
                  <a:pos x="connsiteX9617" y="connsiteY9617"/>
                </a:cxn>
                <a:cxn ang="0">
                  <a:pos x="connsiteX9618" y="connsiteY9618"/>
                </a:cxn>
                <a:cxn ang="0">
                  <a:pos x="connsiteX9619" y="connsiteY9619"/>
                </a:cxn>
                <a:cxn ang="0">
                  <a:pos x="connsiteX9620" y="connsiteY9620"/>
                </a:cxn>
                <a:cxn ang="0">
                  <a:pos x="connsiteX9621" y="connsiteY9621"/>
                </a:cxn>
                <a:cxn ang="0">
                  <a:pos x="connsiteX9622" y="connsiteY9622"/>
                </a:cxn>
                <a:cxn ang="0">
                  <a:pos x="connsiteX9623" y="connsiteY9623"/>
                </a:cxn>
                <a:cxn ang="0">
                  <a:pos x="connsiteX9624" y="connsiteY9624"/>
                </a:cxn>
                <a:cxn ang="0">
                  <a:pos x="connsiteX9625" y="connsiteY9625"/>
                </a:cxn>
                <a:cxn ang="0">
                  <a:pos x="connsiteX9626" y="connsiteY9626"/>
                </a:cxn>
                <a:cxn ang="0">
                  <a:pos x="connsiteX9627" y="connsiteY9627"/>
                </a:cxn>
                <a:cxn ang="0">
                  <a:pos x="connsiteX9628" y="connsiteY9628"/>
                </a:cxn>
                <a:cxn ang="0">
                  <a:pos x="connsiteX9629" y="connsiteY9629"/>
                </a:cxn>
                <a:cxn ang="0">
                  <a:pos x="connsiteX9630" y="connsiteY9630"/>
                </a:cxn>
                <a:cxn ang="0">
                  <a:pos x="connsiteX9631" y="connsiteY9631"/>
                </a:cxn>
                <a:cxn ang="0">
                  <a:pos x="connsiteX9632" y="connsiteY9632"/>
                </a:cxn>
                <a:cxn ang="0">
                  <a:pos x="connsiteX9633" y="connsiteY9633"/>
                </a:cxn>
                <a:cxn ang="0">
                  <a:pos x="connsiteX9634" y="connsiteY9634"/>
                </a:cxn>
                <a:cxn ang="0">
                  <a:pos x="connsiteX9635" y="connsiteY9635"/>
                </a:cxn>
                <a:cxn ang="0">
                  <a:pos x="connsiteX9636" y="connsiteY9636"/>
                </a:cxn>
                <a:cxn ang="0">
                  <a:pos x="connsiteX9637" y="connsiteY9637"/>
                </a:cxn>
                <a:cxn ang="0">
                  <a:pos x="connsiteX9638" y="connsiteY9638"/>
                </a:cxn>
                <a:cxn ang="0">
                  <a:pos x="connsiteX9639" y="connsiteY9639"/>
                </a:cxn>
                <a:cxn ang="0">
                  <a:pos x="connsiteX9640" y="connsiteY9640"/>
                </a:cxn>
                <a:cxn ang="0">
                  <a:pos x="connsiteX9641" y="connsiteY9641"/>
                </a:cxn>
                <a:cxn ang="0">
                  <a:pos x="connsiteX9642" y="connsiteY9642"/>
                </a:cxn>
                <a:cxn ang="0">
                  <a:pos x="connsiteX9643" y="connsiteY9643"/>
                </a:cxn>
                <a:cxn ang="0">
                  <a:pos x="connsiteX9644" y="connsiteY9644"/>
                </a:cxn>
                <a:cxn ang="0">
                  <a:pos x="connsiteX9645" y="connsiteY9645"/>
                </a:cxn>
                <a:cxn ang="0">
                  <a:pos x="connsiteX9646" y="connsiteY9646"/>
                </a:cxn>
                <a:cxn ang="0">
                  <a:pos x="connsiteX9647" y="connsiteY9647"/>
                </a:cxn>
                <a:cxn ang="0">
                  <a:pos x="connsiteX9648" y="connsiteY9648"/>
                </a:cxn>
                <a:cxn ang="0">
                  <a:pos x="connsiteX9649" y="connsiteY9649"/>
                </a:cxn>
                <a:cxn ang="0">
                  <a:pos x="connsiteX9650" y="connsiteY9650"/>
                </a:cxn>
                <a:cxn ang="0">
                  <a:pos x="connsiteX9651" y="connsiteY9651"/>
                </a:cxn>
                <a:cxn ang="0">
                  <a:pos x="connsiteX9652" y="connsiteY9652"/>
                </a:cxn>
                <a:cxn ang="0">
                  <a:pos x="connsiteX9653" y="connsiteY9653"/>
                </a:cxn>
                <a:cxn ang="0">
                  <a:pos x="connsiteX9654" y="connsiteY9654"/>
                </a:cxn>
                <a:cxn ang="0">
                  <a:pos x="connsiteX9655" y="connsiteY9655"/>
                </a:cxn>
                <a:cxn ang="0">
                  <a:pos x="connsiteX9656" y="connsiteY9656"/>
                </a:cxn>
                <a:cxn ang="0">
                  <a:pos x="connsiteX9657" y="connsiteY9657"/>
                </a:cxn>
                <a:cxn ang="0">
                  <a:pos x="connsiteX9658" y="connsiteY9658"/>
                </a:cxn>
                <a:cxn ang="0">
                  <a:pos x="connsiteX9659" y="connsiteY9659"/>
                </a:cxn>
                <a:cxn ang="0">
                  <a:pos x="connsiteX9660" y="connsiteY9660"/>
                </a:cxn>
                <a:cxn ang="0">
                  <a:pos x="connsiteX9661" y="connsiteY9661"/>
                </a:cxn>
                <a:cxn ang="0">
                  <a:pos x="connsiteX9662" y="connsiteY9662"/>
                </a:cxn>
                <a:cxn ang="0">
                  <a:pos x="connsiteX9663" y="connsiteY9663"/>
                </a:cxn>
                <a:cxn ang="0">
                  <a:pos x="connsiteX9664" y="connsiteY9664"/>
                </a:cxn>
                <a:cxn ang="0">
                  <a:pos x="connsiteX9665" y="connsiteY9665"/>
                </a:cxn>
                <a:cxn ang="0">
                  <a:pos x="connsiteX9666" y="connsiteY9666"/>
                </a:cxn>
                <a:cxn ang="0">
                  <a:pos x="connsiteX9667" y="connsiteY9667"/>
                </a:cxn>
                <a:cxn ang="0">
                  <a:pos x="connsiteX9668" y="connsiteY9668"/>
                </a:cxn>
                <a:cxn ang="0">
                  <a:pos x="connsiteX9669" y="connsiteY9669"/>
                </a:cxn>
                <a:cxn ang="0">
                  <a:pos x="connsiteX9670" y="connsiteY9670"/>
                </a:cxn>
                <a:cxn ang="0">
                  <a:pos x="connsiteX9671" y="connsiteY9671"/>
                </a:cxn>
                <a:cxn ang="0">
                  <a:pos x="connsiteX9672" y="connsiteY9672"/>
                </a:cxn>
                <a:cxn ang="0">
                  <a:pos x="connsiteX9673" y="connsiteY9673"/>
                </a:cxn>
                <a:cxn ang="0">
                  <a:pos x="connsiteX9674" y="connsiteY9674"/>
                </a:cxn>
                <a:cxn ang="0">
                  <a:pos x="connsiteX9675" y="connsiteY9675"/>
                </a:cxn>
                <a:cxn ang="0">
                  <a:pos x="connsiteX9676" y="connsiteY9676"/>
                </a:cxn>
                <a:cxn ang="0">
                  <a:pos x="connsiteX9677" y="connsiteY9677"/>
                </a:cxn>
                <a:cxn ang="0">
                  <a:pos x="connsiteX9678" y="connsiteY9678"/>
                </a:cxn>
                <a:cxn ang="0">
                  <a:pos x="connsiteX9679" y="connsiteY9679"/>
                </a:cxn>
                <a:cxn ang="0">
                  <a:pos x="connsiteX9680" y="connsiteY9680"/>
                </a:cxn>
                <a:cxn ang="0">
                  <a:pos x="connsiteX9681" y="connsiteY9681"/>
                </a:cxn>
                <a:cxn ang="0">
                  <a:pos x="connsiteX9682" y="connsiteY9682"/>
                </a:cxn>
                <a:cxn ang="0">
                  <a:pos x="connsiteX9683" y="connsiteY9683"/>
                </a:cxn>
                <a:cxn ang="0">
                  <a:pos x="connsiteX9684" y="connsiteY9684"/>
                </a:cxn>
                <a:cxn ang="0">
                  <a:pos x="connsiteX9685" y="connsiteY9685"/>
                </a:cxn>
                <a:cxn ang="0">
                  <a:pos x="connsiteX9686" y="connsiteY9686"/>
                </a:cxn>
                <a:cxn ang="0">
                  <a:pos x="connsiteX9687" y="connsiteY9687"/>
                </a:cxn>
                <a:cxn ang="0">
                  <a:pos x="connsiteX9688" y="connsiteY9688"/>
                </a:cxn>
                <a:cxn ang="0">
                  <a:pos x="connsiteX9689" y="connsiteY9689"/>
                </a:cxn>
                <a:cxn ang="0">
                  <a:pos x="connsiteX9690" y="connsiteY9690"/>
                </a:cxn>
                <a:cxn ang="0">
                  <a:pos x="connsiteX9691" y="connsiteY9691"/>
                </a:cxn>
                <a:cxn ang="0">
                  <a:pos x="connsiteX9692" y="connsiteY9692"/>
                </a:cxn>
                <a:cxn ang="0">
                  <a:pos x="connsiteX9693" y="connsiteY9693"/>
                </a:cxn>
                <a:cxn ang="0">
                  <a:pos x="connsiteX9694" y="connsiteY9694"/>
                </a:cxn>
                <a:cxn ang="0">
                  <a:pos x="connsiteX9695" y="connsiteY9695"/>
                </a:cxn>
                <a:cxn ang="0">
                  <a:pos x="connsiteX9696" y="connsiteY9696"/>
                </a:cxn>
                <a:cxn ang="0">
                  <a:pos x="connsiteX9697" y="connsiteY9697"/>
                </a:cxn>
                <a:cxn ang="0">
                  <a:pos x="connsiteX9698" y="connsiteY9698"/>
                </a:cxn>
                <a:cxn ang="0">
                  <a:pos x="connsiteX9699" y="connsiteY9699"/>
                </a:cxn>
                <a:cxn ang="0">
                  <a:pos x="connsiteX9700" y="connsiteY9700"/>
                </a:cxn>
                <a:cxn ang="0">
                  <a:pos x="connsiteX9701" y="connsiteY9701"/>
                </a:cxn>
                <a:cxn ang="0">
                  <a:pos x="connsiteX9702" y="connsiteY9702"/>
                </a:cxn>
                <a:cxn ang="0">
                  <a:pos x="connsiteX9703" y="connsiteY9703"/>
                </a:cxn>
                <a:cxn ang="0">
                  <a:pos x="connsiteX9704" y="connsiteY9704"/>
                </a:cxn>
                <a:cxn ang="0">
                  <a:pos x="connsiteX9705" y="connsiteY9705"/>
                </a:cxn>
                <a:cxn ang="0">
                  <a:pos x="connsiteX9706" y="connsiteY9706"/>
                </a:cxn>
                <a:cxn ang="0">
                  <a:pos x="connsiteX9707" y="connsiteY9707"/>
                </a:cxn>
                <a:cxn ang="0">
                  <a:pos x="connsiteX9708" y="connsiteY9708"/>
                </a:cxn>
                <a:cxn ang="0">
                  <a:pos x="connsiteX9709" y="connsiteY9709"/>
                </a:cxn>
                <a:cxn ang="0">
                  <a:pos x="connsiteX9710" y="connsiteY9710"/>
                </a:cxn>
                <a:cxn ang="0">
                  <a:pos x="connsiteX9711" y="connsiteY9711"/>
                </a:cxn>
                <a:cxn ang="0">
                  <a:pos x="connsiteX9712" y="connsiteY9712"/>
                </a:cxn>
                <a:cxn ang="0">
                  <a:pos x="connsiteX9713" y="connsiteY9713"/>
                </a:cxn>
                <a:cxn ang="0">
                  <a:pos x="connsiteX9714" y="connsiteY9714"/>
                </a:cxn>
                <a:cxn ang="0">
                  <a:pos x="connsiteX9715" y="connsiteY9715"/>
                </a:cxn>
                <a:cxn ang="0">
                  <a:pos x="connsiteX9716" y="connsiteY9716"/>
                </a:cxn>
                <a:cxn ang="0">
                  <a:pos x="connsiteX9717" y="connsiteY9717"/>
                </a:cxn>
                <a:cxn ang="0">
                  <a:pos x="connsiteX9718" y="connsiteY9718"/>
                </a:cxn>
                <a:cxn ang="0">
                  <a:pos x="connsiteX9719" y="connsiteY9719"/>
                </a:cxn>
                <a:cxn ang="0">
                  <a:pos x="connsiteX9720" y="connsiteY9720"/>
                </a:cxn>
                <a:cxn ang="0">
                  <a:pos x="connsiteX9721" y="connsiteY9721"/>
                </a:cxn>
                <a:cxn ang="0">
                  <a:pos x="connsiteX9722" y="connsiteY9722"/>
                </a:cxn>
                <a:cxn ang="0">
                  <a:pos x="connsiteX9723" y="connsiteY9723"/>
                </a:cxn>
                <a:cxn ang="0">
                  <a:pos x="connsiteX9724" y="connsiteY9724"/>
                </a:cxn>
                <a:cxn ang="0">
                  <a:pos x="connsiteX9725" y="connsiteY9725"/>
                </a:cxn>
                <a:cxn ang="0">
                  <a:pos x="connsiteX9726" y="connsiteY9726"/>
                </a:cxn>
                <a:cxn ang="0">
                  <a:pos x="connsiteX9727" y="connsiteY9727"/>
                </a:cxn>
                <a:cxn ang="0">
                  <a:pos x="connsiteX9728" y="connsiteY9728"/>
                </a:cxn>
                <a:cxn ang="0">
                  <a:pos x="connsiteX9729" y="connsiteY9729"/>
                </a:cxn>
                <a:cxn ang="0">
                  <a:pos x="connsiteX9730" y="connsiteY9730"/>
                </a:cxn>
                <a:cxn ang="0">
                  <a:pos x="connsiteX9731" y="connsiteY9731"/>
                </a:cxn>
                <a:cxn ang="0">
                  <a:pos x="connsiteX9732" y="connsiteY9732"/>
                </a:cxn>
                <a:cxn ang="0">
                  <a:pos x="connsiteX9733" y="connsiteY9733"/>
                </a:cxn>
                <a:cxn ang="0">
                  <a:pos x="connsiteX9734" y="connsiteY9734"/>
                </a:cxn>
                <a:cxn ang="0">
                  <a:pos x="connsiteX9735" y="connsiteY9735"/>
                </a:cxn>
                <a:cxn ang="0">
                  <a:pos x="connsiteX9736" y="connsiteY9736"/>
                </a:cxn>
                <a:cxn ang="0">
                  <a:pos x="connsiteX9737" y="connsiteY9737"/>
                </a:cxn>
                <a:cxn ang="0">
                  <a:pos x="connsiteX9738" y="connsiteY9738"/>
                </a:cxn>
                <a:cxn ang="0">
                  <a:pos x="connsiteX9739" y="connsiteY9739"/>
                </a:cxn>
                <a:cxn ang="0">
                  <a:pos x="connsiteX9740" y="connsiteY9740"/>
                </a:cxn>
                <a:cxn ang="0">
                  <a:pos x="connsiteX9741" y="connsiteY9741"/>
                </a:cxn>
                <a:cxn ang="0">
                  <a:pos x="connsiteX9742" y="connsiteY9742"/>
                </a:cxn>
                <a:cxn ang="0">
                  <a:pos x="connsiteX9743" y="connsiteY9743"/>
                </a:cxn>
                <a:cxn ang="0">
                  <a:pos x="connsiteX9744" y="connsiteY9744"/>
                </a:cxn>
                <a:cxn ang="0">
                  <a:pos x="connsiteX9745" y="connsiteY9745"/>
                </a:cxn>
                <a:cxn ang="0">
                  <a:pos x="connsiteX9746" y="connsiteY9746"/>
                </a:cxn>
                <a:cxn ang="0">
                  <a:pos x="connsiteX9747" y="connsiteY9747"/>
                </a:cxn>
                <a:cxn ang="0">
                  <a:pos x="connsiteX9748" y="connsiteY9748"/>
                </a:cxn>
                <a:cxn ang="0">
                  <a:pos x="connsiteX9749" y="connsiteY9749"/>
                </a:cxn>
                <a:cxn ang="0">
                  <a:pos x="connsiteX9750" y="connsiteY9750"/>
                </a:cxn>
                <a:cxn ang="0">
                  <a:pos x="connsiteX9751" y="connsiteY9751"/>
                </a:cxn>
                <a:cxn ang="0">
                  <a:pos x="connsiteX9752" y="connsiteY9752"/>
                </a:cxn>
                <a:cxn ang="0">
                  <a:pos x="connsiteX9753" y="connsiteY9753"/>
                </a:cxn>
                <a:cxn ang="0">
                  <a:pos x="connsiteX9754" y="connsiteY9754"/>
                </a:cxn>
                <a:cxn ang="0">
                  <a:pos x="connsiteX9755" y="connsiteY9755"/>
                </a:cxn>
                <a:cxn ang="0">
                  <a:pos x="connsiteX9756" y="connsiteY9756"/>
                </a:cxn>
                <a:cxn ang="0">
                  <a:pos x="connsiteX9757" y="connsiteY9757"/>
                </a:cxn>
                <a:cxn ang="0">
                  <a:pos x="connsiteX9758" y="connsiteY9758"/>
                </a:cxn>
                <a:cxn ang="0">
                  <a:pos x="connsiteX9759" y="connsiteY9759"/>
                </a:cxn>
                <a:cxn ang="0">
                  <a:pos x="connsiteX9760" y="connsiteY9760"/>
                </a:cxn>
                <a:cxn ang="0">
                  <a:pos x="connsiteX9761" y="connsiteY9761"/>
                </a:cxn>
                <a:cxn ang="0">
                  <a:pos x="connsiteX9762" y="connsiteY9762"/>
                </a:cxn>
                <a:cxn ang="0">
                  <a:pos x="connsiteX9763" y="connsiteY9763"/>
                </a:cxn>
                <a:cxn ang="0">
                  <a:pos x="connsiteX9764" y="connsiteY9764"/>
                </a:cxn>
                <a:cxn ang="0">
                  <a:pos x="connsiteX9765" y="connsiteY9765"/>
                </a:cxn>
                <a:cxn ang="0">
                  <a:pos x="connsiteX9766" y="connsiteY9766"/>
                </a:cxn>
                <a:cxn ang="0">
                  <a:pos x="connsiteX9767" y="connsiteY9767"/>
                </a:cxn>
                <a:cxn ang="0">
                  <a:pos x="connsiteX9768" y="connsiteY9768"/>
                </a:cxn>
                <a:cxn ang="0">
                  <a:pos x="connsiteX9769" y="connsiteY9769"/>
                </a:cxn>
                <a:cxn ang="0">
                  <a:pos x="connsiteX9770" y="connsiteY9770"/>
                </a:cxn>
                <a:cxn ang="0">
                  <a:pos x="connsiteX9771" y="connsiteY9771"/>
                </a:cxn>
                <a:cxn ang="0">
                  <a:pos x="connsiteX9772" y="connsiteY9772"/>
                </a:cxn>
                <a:cxn ang="0">
                  <a:pos x="connsiteX9773" y="connsiteY9773"/>
                </a:cxn>
                <a:cxn ang="0">
                  <a:pos x="connsiteX9774" y="connsiteY9774"/>
                </a:cxn>
                <a:cxn ang="0">
                  <a:pos x="connsiteX9775" y="connsiteY9775"/>
                </a:cxn>
                <a:cxn ang="0">
                  <a:pos x="connsiteX9776" y="connsiteY9776"/>
                </a:cxn>
                <a:cxn ang="0">
                  <a:pos x="connsiteX9777" y="connsiteY9777"/>
                </a:cxn>
                <a:cxn ang="0">
                  <a:pos x="connsiteX9778" y="connsiteY9778"/>
                </a:cxn>
                <a:cxn ang="0">
                  <a:pos x="connsiteX9779" y="connsiteY9779"/>
                </a:cxn>
                <a:cxn ang="0">
                  <a:pos x="connsiteX9780" y="connsiteY9780"/>
                </a:cxn>
                <a:cxn ang="0">
                  <a:pos x="connsiteX9781" y="connsiteY9781"/>
                </a:cxn>
                <a:cxn ang="0">
                  <a:pos x="connsiteX9782" y="connsiteY9782"/>
                </a:cxn>
                <a:cxn ang="0">
                  <a:pos x="connsiteX9783" y="connsiteY9783"/>
                </a:cxn>
                <a:cxn ang="0">
                  <a:pos x="connsiteX9784" y="connsiteY9784"/>
                </a:cxn>
                <a:cxn ang="0">
                  <a:pos x="connsiteX9785" y="connsiteY9785"/>
                </a:cxn>
                <a:cxn ang="0">
                  <a:pos x="connsiteX9786" y="connsiteY9786"/>
                </a:cxn>
                <a:cxn ang="0">
                  <a:pos x="connsiteX9787" y="connsiteY9787"/>
                </a:cxn>
                <a:cxn ang="0">
                  <a:pos x="connsiteX9788" y="connsiteY9788"/>
                </a:cxn>
                <a:cxn ang="0">
                  <a:pos x="connsiteX9789" y="connsiteY9789"/>
                </a:cxn>
                <a:cxn ang="0">
                  <a:pos x="connsiteX9790" y="connsiteY9790"/>
                </a:cxn>
                <a:cxn ang="0">
                  <a:pos x="connsiteX9791" y="connsiteY9791"/>
                </a:cxn>
                <a:cxn ang="0">
                  <a:pos x="connsiteX9792" y="connsiteY9792"/>
                </a:cxn>
                <a:cxn ang="0">
                  <a:pos x="connsiteX9793" y="connsiteY9793"/>
                </a:cxn>
                <a:cxn ang="0">
                  <a:pos x="connsiteX9794" y="connsiteY9794"/>
                </a:cxn>
                <a:cxn ang="0">
                  <a:pos x="connsiteX9795" y="connsiteY9795"/>
                </a:cxn>
                <a:cxn ang="0">
                  <a:pos x="connsiteX9796" y="connsiteY9796"/>
                </a:cxn>
                <a:cxn ang="0">
                  <a:pos x="connsiteX9797" y="connsiteY9797"/>
                </a:cxn>
                <a:cxn ang="0">
                  <a:pos x="connsiteX9798" y="connsiteY9798"/>
                </a:cxn>
                <a:cxn ang="0">
                  <a:pos x="connsiteX9799" y="connsiteY9799"/>
                </a:cxn>
                <a:cxn ang="0">
                  <a:pos x="connsiteX9800" y="connsiteY9800"/>
                </a:cxn>
                <a:cxn ang="0">
                  <a:pos x="connsiteX9801" y="connsiteY9801"/>
                </a:cxn>
                <a:cxn ang="0">
                  <a:pos x="connsiteX9802" y="connsiteY9802"/>
                </a:cxn>
                <a:cxn ang="0">
                  <a:pos x="connsiteX9803" y="connsiteY9803"/>
                </a:cxn>
                <a:cxn ang="0">
                  <a:pos x="connsiteX9804" y="connsiteY9804"/>
                </a:cxn>
                <a:cxn ang="0">
                  <a:pos x="connsiteX9805" y="connsiteY9805"/>
                </a:cxn>
                <a:cxn ang="0">
                  <a:pos x="connsiteX9806" y="connsiteY9806"/>
                </a:cxn>
                <a:cxn ang="0">
                  <a:pos x="connsiteX9807" y="connsiteY9807"/>
                </a:cxn>
                <a:cxn ang="0">
                  <a:pos x="connsiteX9808" y="connsiteY9808"/>
                </a:cxn>
                <a:cxn ang="0">
                  <a:pos x="connsiteX9809" y="connsiteY9809"/>
                </a:cxn>
                <a:cxn ang="0">
                  <a:pos x="connsiteX9810" y="connsiteY9810"/>
                </a:cxn>
                <a:cxn ang="0">
                  <a:pos x="connsiteX9811" y="connsiteY9811"/>
                </a:cxn>
                <a:cxn ang="0">
                  <a:pos x="connsiteX9812" y="connsiteY9812"/>
                </a:cxn>
                <a:cxn ang="0">
                  <a:pos x="connsiteX9813" y="connsiteY9813"/>
                </a:cxn>
                <a:cxn ang="0">
                  <a:pos x="connsiteX9814" y="connsiteY9814"/>
                </a:cxn>
                <a:cxn ang="0">
                  <a:pos x="connsiteX9815" y="connsiteY9815"/>
                </a:cxn>
                <a:cxn ang="0">
                  <a:pos x="connsiteX9816" y="connsiteY9816"/>
                </a:cxn>
                <a:cxn ang="0">
                  <a:pos x="connsiteX9817" y="connsiteY9817"/>
                </a:cxn>
                <a:cxn ang="0">
                  <a:pos x="connsiteX9818" y="connsiteY9818"/>
                </a:cxn>
                <a:cxn ang="0">
                  <a:pos x="connsiteX9819" y="connsiteY9819"/>
                </a:cxn>
                <a:cxn ang="0">
                  <a:pos x="connsiteX9820" y="connsiteY9820"/>
                </a:cxn>
                <a:cxn ang="0">
                  <a:pos x="connsiteX9821" y="connsiteY9821"/>
                </a:cxn>
                <a:cxn ang="0">
                  <a:pos x="connsiteX9822" y="connsiteY9822"/>
                </a:cxn>
                <a:cxn ang="0">
                  <a:pos x="connsiteX9823" y="connsiteY9823"/>
                </a:cxn>
                <a:cxn ang="0">
                  <a:pos x="connsiteX9824" y="connsiteY9824"/>
                </a:cxn>
                <a:cxn ang="0">
                  <a:pos x="connsiteX9825" y="connsiteY9825"/>
                </a:cxn>
                <a:cxn ang="0">
                  <a:pos x="connsiteX9826" y="connsiteY9826"/>
                </a:cxn>
                <a:cxn ang="0">
                  <a:pos x="connsiteX9827" y="connsiteY9827"/>
                </a:cxn>
                <a:cxn ang="0">
                  <a:pos x="connsiteX9828" y="connsiteY9828"/>
                </a:cxn>
                <a:cxn ang="0">
                  <a:pos x="connsiteX9829" y="connsiteY9829"/>
                </a:cxn>
                <a:cxn ang="0">
                  <a:pos x="connsiteX9830" y="connsiteY9830"/>
                </a:cxn>
                <a:cxn ang="0">
                  <a:pos x="connsiteX9831" y="connsiteY9831"/>
                </a:cxn>
                <a:cxn ang="0">
                  <a:pos x="connsiteX9832" y="connsiteY9832"/>
                </a:cxn>
                <a:cxn ang="0">
                  <a:pos x="connsiteX9833" y="connsiteY9833"/>
                </a:cxn>
                <a:cxn ang="0">
                  <a:pos x="connsiteX9834" y="connsiteY9834"/>
                </a:cxn>
                <a:cxn ang="0">
                  <a:pos x="connsiteX9835" y="connsiteY9835"/>
                </a:cxn>
                <a:cxn ang="0">
                  <a:pos x="connsiteX9836" y="connsiteY9836"/>
                </a:cxn>
                <a:cxn ang="0">
                  <a:pos x="connsiteX9837" y="connsiteY9837"/>
                </a:cxn>
                <a:cxn ang="0">
                  <a:pos x="connsiteX9838" y="connsiteY9838"/>
                </a:cxn>
                <a:cxn ang="0">
                  <a:pos x="connsiteX9839" y="connsiteY9839"/>
                </a:cxn>
                <a:cxn ang="0">
                  <a:pos x="connsiteX9840" y="connsiteY9840"/>
                </a:cxn>
                <a:cxn ang="0">
                  <a:pos x="connsiteX9841" y="connsiteY9841"/>
                </a:cxn>
                <a:cxn ang="0">
                  <a:pos x="connsiteX9842" y="connsiteY9842"/>
                </a:cxn>
                <a:cxn ang="0">
                  <a:pos x="connsiteX9843" y="connsiteY9843"/>
                </a:cxn>
                <a:cxn ang="0">
                  <a:pos x="connsiteX9844" y="connsiteY9844"/>
                </a:cxn>
                <a:cxn ang="0">
                  <a:pos x="connsiteX9845" y="connsiteY9845"/>
                </a:cxn>
                <a:cxn ang="0">
                  <a:pos x="connsiteX9846" y="connsiteY9846"/>
                </a:cxn>
                <a:cxn ang="0">
                  <a:pos x="connsiteX9847" y="connsiteY9847"/>
                </a:cxn>
                <a:cxn ang="0">
                  <a:pos x="connsiteX9848" y="connsiteY9848"/>
                </a:cxn>
                <a:cxn ang="0">
                  <a:pos x="connsiteX9849" y="connsiteY9849"/>
                </a:cxn>
                <a:cxn ang="0">
                  <a:pos x="connsiteX9850" y="connsiteY9850"/>
                </a:cxn>
                <a:cxn ang="0">
                  <a:pos x="connsiteX9851" y="connsiteY9851"/>
                </a:cxn>
                <a:cxn ang="0">
                  <a:pos x="connsiteX9852" y="connsiteY9852"/>
                </a:cxn>
                <a:cxn ang="0">
                  <a:pos x="connsiteX9853" y="connsiteY9853"/>
                </a:cxn>
                <a:cxn ang="0">
                  <a:pos x="connsiteX9854" y="connsiteY9854"/>
                </a:cxn>
                <a:cxn ang="0">
                  <a:pos x="connsiteX9855" y="connsiteY9855"/>
                </a:cxn>
                <a:cxn ang="0">
                  <a:pos x="connsiteX9856" y="connsiteY9856"/>
                </a:cxn>
                <a:cxn ang="0">
                  <a:pos x="connsiteX9857" y="connsiteY9857"/>
                </a:cxn>
                <a:cxn ang="0">
                  <a:pos x="connsiteX9858" y="connsiteY9858"/>
                </a:cxn>
                <a:cxn ang="0">
                  <a:pos x="connsiteX9859" y="connsiteY9859"/>
                </a:cxn>
                <a:cxn ang="0">
                  <a:pos x="connsiteX9860" y="connsiteY9860"/>
                </a:cxn>
                <a:cxn ang="0">
                  <a:pos x="connsiteX9861" y="connsiteY9861"/>
                </a:cxn>
                <a:cxn ang="0">
                  <a:pos x="connsiteX9862" y="connsiteY9862"/>
                </a:cxn>
                <a:cxn ang="0">
                  <a:pos x="connsiteX9863" y="connsiteY9863"/>
                </a:cxn>
                <a:cxn ang="0">
                  <a:pos x="connsiteX9864" y="connsiteY9864"/>
                </a:cxn>
                <a:cxn ang="0">
                  <a:pos x="connsiteX9865" y="connsiteY9865"/>
                </a:cxn>
                <a:cxn ang="0">
                  <a:pos x="connsiteX9866" y="connsiteY9866"/>
                </a:cxn>
                <a:cxn ang="0">
                  <a:pos x="connsiteX9867" y="connsiteY9867"/>
                </a:cxn>
                <a:cxn ang="0">
                  <a:pos x="connsiteX9868" y="connsiteY9868"/>
                </a:cxn>
                <a:cxn ang="0">
                  <a:pos x="connsiteX9869" y="connsiteY9869"/>
                </a:cxn>
                <a:cxn ang="0">
                  <a:pos x="connsiteX9870" y="connsiteY9870"/>
                </a:cxn>
                <a:cxn ang="0">
                  <a:pos x="connsiteX9871" y="connsiteY9871"/>
                </a:cxn>
                <a:cxn ang="0">
                  <a:pos x="connsiteX9872" y="connsiteY9872"/>
                </a:cxn>
                <a:cxn ang="0">
                  <a:pos x="connsiteX9873" y="connsiteY9873"/>
                </a:cxn>
                <a:cxn ang="0">
                  <a:pos x="connsiteX9874" y="connsiteY9874"/>
                </a:cxn>
                <a:cxn ang="0">
                  <a:pos x="connsiteX9875" y="connsiteY9875"/>
                </a:cxn>
                <a:cxn ang="0">
                  <a:pos x="connsiteX9876" y="connsiteY9876"/>
                </a:cxn>
                <a:cxn ang="0">
                  <a:pos x="connsiteX9877" y="connsiteY9877"/>
                </a:cxn>
                <a:cxn ang="0">
                  <a:pos x="connsiteX9878" y="connsiteY9878"/>
                </a:cxn>
                <a:cxn ang="0">
                  <a:pos x="connsiteX9879" y="connsiteY9879"/>
                </a:cxn>
                <a:cxn ang="0">
                  <a:pos x="connsiteX9880" y="connsiteY9880"/>
                </a:cxn>
                <a:cxn ang="0">
                  <a:pos x="connsiteX9881" y="connsiteY9881"/>
                </a:cxn>
                <a:cxn ang="0">
                  <a:pos x="connsiteX9882" y="connsiteY9882"/>
                </a:cxn>
                <a:cxn ang="0">
                  <a:pos x="connsiteX9883" y="connsiteY9883"/>
                </a:cxn>
                <a:cxn ang="0">
                  <a:pos x="connsiteX9884" y="connsiteY9884"/>
                </a:cxn>
                <a:cxn ang="0">
                  <a:pos x="connsiteX9885" y="connsiteY9885"/>
                </a:cxn>
                <a:cxn ang="0">
                  <a:pos x="connsiteX9886" y="connsiteY9886"/>
                </a:cxn>
                <a:cxn ang="0">
                  <a:pos x="connsiteX9887" y="connsiteY9887"/>
                </a:cxn>
                <a:cxn ang="0">
                  <a:pos x="connsiteX9888" y="connsiteY9888"/>
                </a:cxn>
                <a:cxn ang="0">
                  <a:pos x="connsiteX9889" y="connsiteY9889"/>
                </a:cxn>
                <a:cxn ang="0">
                  <a:pos x="connsiteX9890" y="connsiteY9890"/>
                </a:cxn>
                <a:cxn ang="0">
                  <a:pos x="connsiteX9891" y="connsiteY9891"/>
                </a:cxn>
                <a:cxn ang="0">
                  <a:pos x="connsiteX9892" y="connsiteY9892"/>
                </a:cxn>
                <a:cxn ang="0">
                  <a:pos x="connsiteX9893" y="connsiteY9893"/>
                </a:cxn>
                <a:cxn ang="0">
                  <a:pos x="connsiteX9894" y="connsiteY9894"/>
                </a:cxn>
                <a:cxn ang="0">
                  <a:pos x="connsiteX9895" y="connsiteY9895"/>
                </a:cxn>
                <a:cxn ang="0">
                  <a:pos x="connsiteX9896" y="connsiteY9896"/>
                </a:cxn>
                <a:cxn ang="0">
                  <a:pos x="connsiteX9897" y="connsiteY9897"/>
                </a:cxn>
                <a:cxn ang="0">
                  <a:pos x="connsiteX9898" y="connsiteY9898"/>
                </a:cxn>
                <a:cxn ang="0">
                  <a:pos x="connsiteX9899" y="connsiteY9899"/>
                </a:cxn>
                <a:cxn ang="0">
                  <a:pos x="connsiteX9900" y="connsiteY9900"/>
                </a:cxn>
                <a:cxn ang="0">
                  <a:pos x="connsiteX9901" y="connsiteY9901"/>
                </a:cxn>
                <a:cxn ang="0">
                  <a:pos x="connsiteX9902" y="connsiteY9902"/>
                </a:cxn>
                <a:cxn ang="0">
                  <a:pos x="connsiteX9903" y="connsiteY9903"/>
                </a:cxn>
                <a:cxn ang="0">
                  <a:pos x="connsiteX9904" y="connsiteY9904"/>
                </a:cxn>
                <a:cxn ang="0">
                  <a:pos x="connsiteX9905" y="connsiteY9905"/>
                </a:cxn>
                <a:cxn ang="0">
                  <a:pos x="connsiteX9906" y="connsiteY9906"/>
                </a:cxn>
                <a:cxn ang="0">
                  <a:pos x="connsiteX9907" y="connsiteY9907"/>
                </a:cxn>
                <a:cxn ang="0">
                  <a:pos x="connsiteX9908" y="connsiteY9908"/>
                </a:cxn>
                <a:cxn ang="0">
                  <a:pos x="connsiteX9909" y="connsiteY9909"/>
                </a:cxn>
                <a:cxn ang="0">
                  <a:pos x="connsiteX9910" y="connsiteY9910"/>
                </a:cxn>
                <a:cxn ang="0">
                  <a:pos x="connsiteX9911" y="connsiteY9911"/>
                </a:cxn>
                <a:cxn ang="0">
                  <a:pos x="connsiteX9912" y="connsiteY9912"/>
                </a:cxn>
                <a:cxn ang="0">
                  <a:pos x="connsiteX9913" y="connsiteY9913"/>
                </a:cxn>
                <a:cxn ang="0">
                  <a:pos x="connsiteX9914" y="connsiteY9914"/>
                </a:cxn>
                <a:cxn ang="0">
                  <a:pos x="connsiteX9915" y="connsiteY9915"/>
                </a:cxn>
                <a:cxn ang="0">
                  <a:pos x="connsiteX9916" y="connsiteY9916"/>
                </a:cxn>
                <a:cxn ang="0">
                  <a:pos x="connsiteX9917" y="connsiteY9917"/>
                </a:cxn>
                <a:cxn ang="0">
                  <a:pos x="connsiteX9918" y="connsiteY9918"/>
                </a:cxn>
                <a:cxn ang="0">
                  <a:pos x="connsiteX9919" y="connsiteY9919"/>
                </a:cxn>
                <a:cxn ang="0">
                  <a:pos x="connsiteX9920" y="connsiteY9920"/>
                </a:cxn>
                <a:cxn ang="0">
                  <a:pos x="connsiteX9921" y="connsiteY9921"/>
                </a:cxn>
                <a:cxn ang="0">
                  <a:pos x="connsiteX9922" y="connsiteY9922"/>
                </a:cxn>
                <a:cxn ang="0">
                  <a:pos x="connsiteX9923" y="connsiteY9923"/>
                </a:cxn>
                <a:cxn ang="0">
                  <a:pos x="connsiteX9924" y="connsiteY9924"/>
                </a:cxn>
                <a:cxn ang="0">
                  <a:pos x="connsiteX9925" y="connsiteY9925"/>
                </a:cxn>
                <a:cxn ang="0">
                  <a:pos x="connsiteX9926" y="connsiteY9926"/>
                </a:cxn>
                <a:cxn ang="0">
                  <a:pos x="connsiteX9927" y="connsiteY9927"/>
                </a:cxn>
                <a:cxn ang="0">
                  <a:pos x="connsiteX9928" y="connsiteY9928"/>
                </a:cxn>
                <a:cxn ang="0">
                  <a:pos x="connsiteX9929" y="connsiteY9929"/>
                </a:cxn>
                <a:cxn ang="0">
                  <a:pos x="connsiteX9930" y="connsiteY9930"/>
                </a:cxn>
                <a:cxn ang="0">
                  <a:pos x="connsiteX9931" y="connsiteY9931"/>
                </a:cxn>
                <a:cxn ang="0">
                  <a:pos x="connsiteX9932" y="connsiteY9932"/>
                </a:cxn>
                <a:cxn ang="0">
                  <a:pos x="connsiteX9933" y="connsiteY9933"/>
                </a:cxn>
                <a:cxn ang="0">
                  <a:pos x="connsiteX9934" y="connsiteY9934"/>
                </a:cxn>
                <a:cxn ang="0">
                  <a:pos x="connsiteX9935" y="connsiteY9935"/>
                </a:cxn>
                <a:cxn ang="0">
                  <a:pos x="connsiteX9936" y="connsiteY9936"/>
                </a:cxn>
                <a:cxn ang="0">
                  <a:pos x="connsiteX9937" y="connsiteY9937"/>
                </a:cxn>
                <a:cxn ang="0">
                  <a:pos x="connsiteX9938" y="connsiteY9938"/>
                </a:cxn>
                <a:cxn ang="0">
                  <a:pos x="connsiteX9939" y="connsiteY9939"/>
                </a:cxn>
                <a:cxn ang="0">
                  <a:pos x="connsiteX9940" y="connsiteY9940"/>
                </a:cxn>
                <a:cxn ang="0">
                  <a:pos x="connsiteX9941" y="connsiteY9941"/>
                </a:cxn>
                <a:cxn ang="0">
                  <a:pos x="connsiteX9942" y="connsiteY9942"/>
                </a:cxn>
                <a:cxn ang="0">
                  <a:pos x="connsiteX9943" y="connsiteY9943"/>
                </a:cxn>
                <a:cxn ang="0">
                  <a:pos x="connsiteX9944" y="connsiteY9944"/>
                </a:cxn>
                <a:cxn ang="0">
                  <a:pos x="connsiteX9945" y="connsiteY9945"/>
                </a:cxn>
                <a:cxn ang="0">
                  <a:pos x="connsiteX9946" y="connsiteY9946"/>
                </a:cxn>
                <a:cxn ang="0">
                  <a:pos x="connsiteX9947" y="connsiteY9947"/>
                </a:cxn>
                <a:cxn ang="0">
                  <a:pos x="connsiteX9948" y="connsiteY9948"/>
                </a:cxn>
                <a:cxn ang="0">
                  <a:pos x="connsiteX9949" y="connsiteY9949"/>
                </a:cxn>
                <a:cxn ang="0">
                  <a:pos x="connsiteX9950" y="connsiteY9950"/>
                </a:cxn>
                <a:cxn ang="0">
                  <a:pos x="connsiteX9951" y="connsiteY9951"/>
                </a:cxn>
                <a:cxn ang="0">
                  <a:pos x="connsiteX9952" y="connsiteY9952"/>
                </a:cxn>
                <a:cxn ang="0">
                  <a:pos x="connsiteX9953" y="connsiteY9953"/>
                </a:cxn>
                <a:cxn ang="0">
                  <a:pos x="connsiteX9954" y="connsiteY9954"/>
                </a:cxn>
                <a:cxn ang="0">
                  <a:pos x="connsiteX9955" y="connsiteY9955"/>
                </a:cxn>
                <a:cxn ang="0">
                  <a:pos x="connsiteX9956" y="connsiteY9956"/>
                </a:cxn>
                <a:cxn ang="0">
                  <a:pos x="connsiteX9957" y="connsiteY9957"/>
                </a:cxn>
                <a:cxn ang="0">
                  <a:pos x="connsiteX9958" y="connsiteY9958"/>
                </a:cxn>
                <a:cxn ang="0">
                  <a:pos x="connsiteX9959" y="connsiteY9959"/>
                </a:cxn>
                <a:cxn ang="0">
                  <a:pos x="connsiteX9960" y="connsiteY9960"/>
                </a:cxn>
                <a:cxn ang="0">
                  <a:pos x="connsiteX9961" y="connsiteY9961"/>
                </a:cxn>
                <a:cxn ang="0">
                  <a:pos x="connsiteX9962" y="connsiteY9962"/>
                </a:cxn>
                <a:cxn ang="0">
                  <a:pos x="connsiteX9963" y="connsiteY9963"/>
                </a:cxn>
                <a:cxn ang="0">
                  <a:pos x="connsiteX9964" y="connsiteY9964"/>
                </a:cxn>
                <a:cxn ang="0">
                  <a:pos x="connsiteX9965" y="connsiteY9965"/>
                </a:cxn>
                <a:cxn ang="0">
                  <a:pos x="connsiteX9966" y="connsiteY9966"/>
                </a:cxn>
                <a:cxn ang="0">
                  <a:pos x="connsiteX9967" y="connsiteY9967"/>
                </a:cxn>
                <a:cxn ang="0">
                  <a:pos x="connsiteX9968" y="connsiteY9968"/>
                </a:cxn>
                <a:cxn ang="0">
                  <a:pos x="connsiteX9969" y="connsiteY9969"/>
                </a:cxn>
                <a:cxn ang="0">
                  <a:pos x="connsiteX9970" y="connsiteY9970"/>
                </a:cxn>
                <a:cxn ang="0">
                  <a:pos x="connsiteX9971" y="connsiteY9971"/>
                </a:cxn>
                <a:cxn ang="0">
                  <a:pos x="connsiteX9972" y="connsiteY9972"/>
                </a:cxn>
                <a:cxn ang="0">
                  <a:pos x="connsiteX9973" y="connsiteY9973"/>
                </a:cxn>
                <a:cxn ang="0">
                  <a:pos x="connsiteX9974" y="connsiteY9974"/>
                </a:cxn>
                <a:cxn ang="0">
                  <a:pos x="connsiteX9975" y="connsiteY9975"/>
                </a:cxn>
                <a:cxn ang="0">
                  <a:pos x="connsiteX9976" y="connsiteY9976"/>
                </a:cxn>
                <a:cxn ang="0">
                  <a:pos x="connsiteX9977" y="connsiteY9977"/>
                </a:cxn>
                <a:cxn ang="0">
                  <a:pos x="connsiteX9978" y="connsiteY9978"/>
                </a:cxn>
                <a:cxn ang="0">
                  <a:pos x="connsiteX9979" y="connsiteY9979"/>
                </a:cxn>
                <a:cxn ang="0">
                  <a:pos x="connsiteX9980" y="connsiteY9980"/>
                </a:cxn>
                <a:cxn ang="0">
                  <a:pos x="connsiteX9981" y="connsiteY9981"/>
                </a:cxn>
                <a:cxn ang="0">
                  <a:pos x="connsiteX9982" y="connsiteY9982"/>
                </a:cxn>
                <a:cxn ang="0">
                  <a:pos x="connsiteX9983" y="connsiteY9983"/>
                </a:cxn>
                <a:cxn ang="0">
                  <a:pos x="connsiteX9984" y="connsiteY9984"/>
                </a:cxn>
                <a:cxn ang="0">
                  <a:pos x="connsiteX9985" y="connsiteY9985"/>
                </a:cxn>
                <a:cxn ang="0">
                  <a:pos x="connsiteX9986" y="connsiteY9986"/>
                </a:cxn>
                <a:cxn ang="0">
                  <a:pos x="connsiteX9987" y="connsiteY9987"/>
                </a:cxn>
                <a:cxn ang="0">
                  <a:pos x="connsiteX9988" y="connsiteY9988"/>
                </a:cxn>
                <a:cxn ang="0">
                  <a:pos x="connsiteX9989" y="connsiteY9989"/>
                </a:cxn>
                <a:cxn ang="0">
                  <a:pos x="connsiteX9990" y="connsiteY9990"/>
                </a:cxn>
                <a:cxn ang="0">
                  <a:pos x="connsiteX9991" y="connsiteY9991"/>
                </a:cxn>
                <a:cxn ang="0">
                  <a:pos x="connsiteX9992" y="connsiteY9992"/>
                </a:cxn>
                <a:cxn ang="0">
                  <a:pos x="connsiteX9993" y="connsiteY9993"/>
                </a:cxn>
                <a:cxn ang="0">
                  <a:pos x="connsiteX9994" y="connsiteY9994"/>
                </a:cxn>
                <a:cxn ang="0">
                  <a:pos x="connsiteX9995" y="connsiteY9995"/>
                </a:cxn>
                <a:cxn ang="0">
                  <a:pos x="connsiteX9996" y="connsiteY9996"/>
                </a:cxn>
                <a:cxn ang="0">
                  <a:pos x="connsiteX9997" y="connsiteY9997"/>
                </a:cxn>
                <a:cxn ang="0">
                  <a:pos x="connsiteX9998" y="connsiteY9998"/>
                </a:cxn>
                <a:cxn ang="0">
                  <a:pos x="connsiteX9999" y="connsiteY9999"/>
                </a:cxn>
                <a:cxn ang="0">
                  <a:pos x="connsiteX10000" y="connsiteY10000"/>
                </a:cxn>
                <a:cxn ang="0">
                  <a:pos x="connsiteX10001" y="connsiteY10001"/>
                </a:cxn>
                <a:cxn ang="0">
                  <a:pos x="connsiteX10002" y="connsiteY10002"/>
                </a:cxn>
                <a:cxn ang="0">
                  <a:pos x="connsiteX10003" y="connsiteY10003"/>
                </a:cxn>
                <a:cxn ang="0">
                  <a:pos x="connsiteX10004" y="connsiteY10004"/>
                </a:cxn>
                <a:cxn ang="0">
                  <a:pos x="connsiteX10005" y="connsiteY10005"/>
                </a:cxn>
                <a:cxn ang="0">
                  <a:pos x="connsiteX10006" y="connsiteY10006"/>
                </a:cxn>
                <a:cxn ang="0">
                  <a:pos x="connsiteX10007" y="connsiteY10007"/>
                </a:cxn>
                <a:cxn ang="0">
                  <a:pos x="connsiteX10008" y="connsiteY10008"/>
                </a:cxn>
                <a:cxn ang="0">
                  <a:pos x="connsiteX10009" y="connsiteY10009"/>
                </a:cxn>
                <a:cxn ang="0">
                  <a:pos x="connsiteX10010" y="connsiteY10010"/>
                </a:cxn>
                <a:cxn ang="0">
                  <a:pos x="connsiteX10011" y="connsiteY10011"/>
                </a:cxn>
                <a:cxn ang="0">
                  <a:pos x="connsiteX10012" y="connsiteY10012"/>
                </a:cxn>
                <a:cxn ang="0">
                  <a:pos x="connsiteX10013" y="connsiteY10013"/>
                </a:cxn>
                <a:cxn ang="0">
                  <a:pos x="connsiteX10014" y="connsiteY10014"/>
                </a:cxn>
                <a:cxn ang="0">
                  <a:pos x="connsiteX10015" y="connsiteY10015"/>
                </a:cxn>
                <a:cxn ang="0">
                  <a:pos x="connsiteX10016" y="connsiteY10016"/>
                </a:cxn>
                <a:cxn ang="0">
                  <a:pos x="connsiteX10017" y="connsiteY10017"/>
                </a:cxn>
                <a:cxn ang="0">
                  <a:pos x="connsiteX10018" y="connsiteY10018"/>
                </a:cxn>
                <a:cxn ang="0">
                  <a:pos x="connsiteX10019" y="connsiteY10019"/>
                </a:cxn>
                <a:cxn ang="0">
                  <a:pos x="connsiteX10020" y="connsiteY10020"/>
                </a:cxn>
                <a:cxn ang="0">
                  <a:pos x="connsiteX10021" y="connsiteY10021"/>
                </a:cxn>
                <a:cxn ang="0">
                  <a:pos x="connsiteX10022" y="connsiteY10022"/>
                </a:cxn>
                <a:cxn ang="0">
                  <a:pos x="connsiteX10023" y="connsiteY10023"/>
                </a:cxn>
                <a:cxn ang="0">
                  <a:pos x="connsiteX10024" y="connsiteY10024"/>
                </a:cxn>
                <a:cxn ang="0">
                  <a:pos x="connsiteX10025" y="connsiteY10025"/>
                </a:cxn>
                <a:cxn ang="0">
                  <a:pos x="connsiteX10026" y="connsiteY10026"/>
                </a:cxn>
                <a:cxn ang="0">
                  <a:pos x="connsiteX10027" y="connsiteY10027"/>
                </a:cxn>
                <a:cxn ang="0">
                  <a:pos x="connsiteX10028" y="connsiteY10028"/>
                </a:cxn>
                <a:cxn ang="0">
                  <a:pos x="connsiteX10029" y="connsiteY10029"/>
                </a:cxn>
                <a:cxn ang="0">
                  <a:pos x="connsiteX10030" y="connsiteY10030"/>
                </a:cxn>
                <a:cxn ang="0">
                  <a:pos x="connsiteX10031" y="connsiteY10031"/>
                </a:cxn>
                <a:cxn ang="0">
                  <a:pos x="connsiteX10032" y="connsiteY10032"/>
                </a:cxn>
                <a:cxn ang="0">
                  <a:pos x="connsiteX10033" y="connsiteY10033"/>
                </a:cxn>
                <a:cxn ang="0">
                  <a:pos x="connsiteX10034" y="connsiteY10034"/>
                </a:cxn>
                <a:cxn ang="0">
                  <a:pos x="connsiteX10035" y="connsiteY10035"/>
                </a:cxn>
                <a:cxn ang="0">
                  <a:pos x="connsiteX10036" y="connsiteY10036"/>
                </a:cxn>
                <a:cxn ang="0">
                  <a:pos x="connsiteX10037" y="connsiteY10037"/>
                </a:cxn>
                <a:cxn ang="0">
                  <a:pos x="connsiteX10038" y="connsiteY10038"/>
                </a:cxn>
                <a:cxn ang="0">
                  <a:pos x="connsiteX10039" y="connsiteY10039"/>
                </a:cxn>
                <a:cxn ang="0">
                  <a:pos x="connsiteX10040" y="connsiteY10040"/>
                </a:cxn>
                <a:cxn ang="0">
                  <a:pos x="connsiteX10041" y="connsiteY10041"/>
                </a:cxn>
                <a:cxn ang="0">
                  <a:pos x="connsiteX10042" y="connsiteY10042"/>
                </a:cxn>
                <a:cxn ang="0">
                  <a:pos x="connsiteX10043" y="connsiteY10043"/>
                </a:cxn>
                <a:cxn ang="0">
                  <a:pos x="connsiteX10044" y="connsiteY10044"/>
                </a:cxn>
                <a:cxn ang="0">
                  <a:pos x="connsiteX10045" y="connsiteY10045"/>
                </a:cxn>
                <a:cxn ang="0">
                  <a:pos x="connsiteX10046" y="connsiteY10046"/>
                </a:cxn>
                <a:cxn ang="0">
                  <a:pos x="connsiteX10047" y="connsiteY10047"/>
                </a:cxn>
                <a:cxn ang="0">
                  <a:pos x="connsiteX10048" y="connsiteY10048"/>
                </a:cxn>
                <a:cxn ang="0">
                  <a:pos x="connsiteX10049" y="connsiteY10049"/>
                </a:cxn>
                <a:cxn ang="0">
                  <a:pos x="connsiteX10050" y="connsiteY10050"/>
                </a:cxn>
                <a:cxn ang="0">
                  <a:pos x="connsiteX10051" y="connsiteY10051"/>
                </a:cxn>
                <a:cxn ang="0">
                  <a:pos x="connsiteX10052" y="connsiteY10052"/>
                </a:cxn>
                <a:cxn ang="0">
                  <a:pos x="connsiteX10053" y="connsiteY10053"/>
                </a:cxn>
                <a:cxn ang="0">
                  <a:pos x="connsiteX10054" y="connsiteY10054"/>
                </a:cxn>
                <a:cxn ang="0">
                  <a:pos x="connsiteX10055" y="connsiteY10055"/>
                </a:cxn>
                <a:cxn ang="0">
                  <a:pos x="connsiteX10056" y="connsiteY10056"/>
                </a:cxn>
                <a:cxn ang="0">
                  <a:pos x="connsiteX10057" y="connsiteY10057"/>
                </a:cxn>
                <a:cxn ang="0">
                  <a:pos x="connsiteX10058" y="connsiteY10058"/>
                </a:cxn>
                <a:cxn ang="0">
                  <a:pos x="connsiteX10059" y="connsiteY10059"/>
                </a:cxn>
                <a:cxn ang="0">
                  <a:pos x="connsiteX10060" y="connsiteY10060"/>
                </a:cxn>
                <a:cxn ang="0">
                  <a:pos x="connsiteX10061" y="connsiteY10061"/>
                </a:cxn>
                <a:cxn ang="0">
                  <a:pos x="connsiteX10062" y="connsiteY10062"/>
                </a:cxn>
                <a:cxn ang="0">
                  <a:pos x="connsiteX10063" y="connsiteY10063"/>
                </a:cxn>
                <a:cxn ang="0">
                  <a:pos x="connsiteX10064" y="connsiteY10064"/>
                </a:cxn>
                <a:cxn ang="0">
                  <a:pos x="connsiteX10065" y="connsiteY10065"/>
                </a:cxn>
                <a:cxn ang="0">
                  <a:pos x="connsiteX10066" y="connsiteY10066"/>
                </a:cxn>
                <a:cxn ang="0">
                  <a:pos x="connsiteX10067" y="connsiteY10067"/>
                </a:cxn>
                <a:cxn ang="0">
                  <a:pos x="connsiteX10068" y="connsiteY10068"/>
                </a:cxn>
                <a:cxn ang="0">
                  <a:pos x="connsiteX10069" y="connsiteY10069"/>
                </a:cxn>
                <a:cxn ang="0">
                  <a:pos x="connsiteX10070" y="connsiteY10070"/>
                </a:cxn>
                <a:cxn ang="0">
                  <a:pos x="connsiteX10071" y="connsiteY10071"/>
                </a:cxn>
                <a:cxn ang="0">
                  <a:pos x="connsiteX10072" y="connsiteY10072"/>
                </a:cxn>
                <a:cxn ang="0">
                  <a:pos x="connsiteX10073" y="connsiteY10073"/>
                </a:cxn>
                <a:cxn ang="0">
                  <a:pos x="connsiteX10074" y="connsiteY10074"/>
                </a:cxn>
                <a:cxn ang="0">
                  <a:pos x="connsiteX10075" y="connsiteY10075"/>
                </a:cxn>
                <a:cxn ang="0">
                  <a:pos x="connsiteX10076" y="connsiteY10076"/>
                </a:cxn>
                <a:cxn ang="0">
                  <a:pos x="connsiteX10077" y="connsiteY10077"/>
                </a:cxn>
                <a:cxn ang="0">
                  <a:pos x="connsiteX10078" y="connsiteY10078"/>
                </a:cxn>
                <a:cxn ang="0">
                  <a:pos x="connsiteX10079" y="connsiteY10079"/>
                </a:cxn>
                <a:cxn ang="0">
                  <a:pos x="connsiteX10080" y="connsiteY10080"/>
                </a:cxn>
                <a:cxn ang="0">
                  <a:pos x="connsiteX10081" y="connsiteY10081"/>
                </a:cxn>
                <a:cxn ang="0">
                  <a:pos x="connsiteX10082" y="connsiteY10082"/>
                </a:cxn>
                <a:cxn ang="0">
                  <a:pos x="connsiteX10083" y="connsiteY10083"/>
                </a:cxn>
                <a:cxn ang="0">
                  <a:pos x="connsiteX10084" y="connsiteY10084"/>
                </a:cxn>
                <a:cxn ang="0">
                  <a:pos x="connsiteX10085" y="connsiteY10085"/>
                </a:cxn>
                <a:cxn ang="0">
                  <a:pos x="connsiteX10086" y="connsiteY10086"/>
                </a:cxn>
                <a:cxn ang="0">
                  <a:pos x="connsiteX10087" y="connsiteY10087"/>
                </a:cxn>
                <a:cxn ang="0">
                  <a:pos x="connsiteX10088" y="connsiteY10088"/>
                </a:cxn>
                <a:cxn ang="0">
                  <a:pos x="connsiteX10089" y="connsiteY10089"/>
                </a:cxn>
                <a:cxn ang="0">
                  <a:pos x="connsiteX10090" y="connsiteY10090"/>
                </a:cxn>
                <a:cxn ang="0">
                  <a:pos x="connsiteX10091" y="connsiteY10091"/>
                </a:cxn>
                <a:cxn ang="0">
                  <a:pos x="connsiteX10092" y="connsiteY10092"/>
                </a:cxn>
                <a:cxn ang="0">
                  <a:pos x="connsiteX10093" y="connsiteY10093"/>
                </a:cxn>
                <a:cxn ang="0">
                  <a:pos x="connsiteX10094" y="connsiteY10094"/>
                </a:cxn>
                <a:cxn ang="0">
                  <a:pos x="connsiteX10095" y="connsiteY10095"/>
                </a:cxn>
                <a:cxn ang="0">
                  <a:pos x="connsiteX10096" y="connsiteY10096"/>
                </a:cxn>
                <a:cxn ang="0">
                  <a:pos x="connsiteX10097" y="connsiteY10097"/>
                </a:cxn>
                <a:cxn ang="0">
                  <a:pos x="connsiteX10098" y="connsiteY10098"/>
                </a:cxn>
                <a:cxn ang="0">
                  <a:pos x="connsiteX10099" y="connsiteY10099"/>
                </a:cxn>
                <a:cxn ang="0">
                  <a:pos x="connsiteX10100" y="connsiteY10100"/>
                </a:cxn>
                <a:cxn ang="0">
                  <a:pos x="connsiteX10101" y="connsiteY10101"/>
                </a:cxn>
                <a:cxn ang="0">
                  <a:pos x="connsiteX10102" y="connsiteY10102"/>
                </a:cxn>
                <a:cxn ang="0">
                  <a:pos x="connsiteX10103" y="connsiteY10103"/>
                </a:cxn>
                <a:cxn ang="0">
                  <a:pos x="connsiteX10104" y="connsiteY10104"/>
                </a:cxn>
                <a:cxn ang="0">
                  <a:pos x="connsiteX10105" y="connsiteY10105"/>
                </a:cxn>
                <a:cxn ang="0">
                  <a:pos x="connsiteX10106" y="connsiteY10106"/>
                </a:cxn>
                <a:cxn ang="0">
                  <a:pos x="connsiteX10107" y="connsiteY10107"/>
                </a:cxn>
                <a:cxn ang="0">
                  <a:pos x="connsiteX10108" y="connsiteY10108"/>
                </a:cxn>
                <a:cxn ang="0">
                  <a:pos x="connsiteX10109" y="connsiteY10109"/>
                </a:cxn>
                <a:cxn ang="0">
                  <a:pos x="connsiteX10110" y="connsiteY10110"/>
                </a:cxn>
                <a:cxn ang="0">
                  <a:pos x="connsiteX10111" y="connsiteY10111"/>
                </a:cxn>
                <a:cxn ang="0">
                  <a:pos x="connsiteX10112" y="connsiteY10112"/>
                </a:cxn>
                <a:cxn ang="0">
                  <a:pos x="connsiteX10113" y="connsiteY10113"/>
                </a:cxn>
                <a:cxn ang="0">
                  <a:pos x="connsiteX10114" y="connsiteY10114"/>
                </a:cxn>
                <a:cxn ang="0">
                  <a:pos x="connsiteX10115" y="connsiteY10115"/>
                </a:cxn>
                <a:cxn ang="0">
                  <a:pos x="connsiteX10116" y="connsiteY10116"/>
                </a:cxn>
                <a:cxn ang="0">
                  <a:pos x="connsiteX10117" y="connsiteY10117"/>
                </a:cxn>
                <a:cxn ang="0">
                  <a:pos x="connsiteX10118" y="connsiteY10118"/>
                </a:cxn>
                <a:cxn ang="0">
                  <a:pos x="connsiteX10119" y="connsiteY10119"/>
                </a:cxn>
                <a:cxn ang="0">
                  <a:pos x="connsiteX10120" y="connsiteY10120"/>
                </a:cxn>
                <a:cxn ang="0">
                  <a:pos x="connsiteX10121" y="connsiteY10121"/>
                </a:cxn>
                <a:cxn ang="0">
                  <a:pos x="connsiteX10122" y="connsiteY10122"/>
                </a:cxn>
                <a:cxn ang="0">
                  <a:pos x="connsiteX10123" y="connsiteY10123"/>
                </a:cxn>
                <a:cxn ang="0">
                  <a:pos x="connsiteX10124" y="connsiteY10124"/>
                </a:cxn>
                <a:cxn ang="0">
                  <a:pos x="connsiteX10125" y="connsiteY10125"/>
                </a:cxn>
                <a:cxn ang="0">
                  <a:pos x="connsiteX10126" y="connsiteY10126"/>
                </a:cxn>
                <a:cxn ang="0">
                  <a:pos x="connsiteX10127" y="connsiteY10127"/>
                </a:cxn>
                <a:cxn ang="0">
                  <a:pos x="connsiteX10128" y="connsiteY10128"/>
                </a:cxn>
                <a:cxn ang="0">
                  <a:pos x="connsiteX10129" y="connsiteY10129"/>
                </a:cxn>
                <a:cxn ang="0">
                  <a:pos x="connsiteX10130" y="connsiteY10130"/>
                </a:cxn>
                <a:cxn ang="0">
                  <a:pos x="connsiteX10131" y="connsiteY10131"/>
                </a:cxn>
                <a:cxn ang="0">
                  <a:pos x="connsiteX10132" y="connsiteY10132"/>
                </a:cxn>
                <a:cxn ang="0">
                  <a:pos x="connsiteX10133" y="connsiteY10133"/>
                </a:cxn>
                <a:cxn ang="0">
                  <a:pos x="connsiteX10134" y="connsiteY10134"/>
                </a:cxn>
                <a:cxn ang="0">
                  <a:pos x="connsiteX10135" y="connsiteY10135"/>
                </a:cxn>
                <a:cxn ang="0">
                  <a:pos x="connsiteX10136" y="connsiteY10136"/>
                </a:cxn>
                <a:cxn ang="0">
                  <a:pos x="connsiteX10137" y="connsiteY10137"/>
                </a:cxn>
                <a:cxn ang="0">
                  <a:pos x="connsiteX10138" y="connsiteY10138"/>
                </a:cxn>
                <a:cxn ang="0">
                  <a:pos x="connsiteX10139" y="connsiteY10139"/>
                </a:cxn>
                <a:cxn ang="0">
                  <a:pos x="connsiteX10140" y="connsiteY10140"/>
                </a:cxn>
                <a:cxn ang="0">
                  <a:pos x="connsiteX10141" y="connsiteY10141"/>
                </a:cxn>
                <a:cxn ang="0">
                  <a:pos x="connsiteX10142" y="connsiteY10142"/>
                </a:cxn>
                <a:cxn ang="0">
                  <a:pos x="connsiteX10143" y="connsiteY10143"/>
                </a:cxn>
                <a:cxn ang="0">
                  <a:pos x="connsiteX10144" y="connsiteY10144"/>
                </a:cxn>
                <a:cxn ang="0">
                  <a:pos x="connsiteX10145" y="connsiteY10145"/>
                </a:cxn>
                <a:cxn ang="0">
                  <a:pos x="connsiteX10146" y="connsiteY10146"/>
                </a:cxn>
                <a:cxn ang="0">
                  <a:pos x="connsiteX10147" y="connsiteY10147"/>
                </a:cxn>
                <a:cxn ang="0">
                  <a:pos x="connsiteX10148" y="connsiteY10148"/>
                </a:cxn>
                <a:cxn ang="0">
                  <a:pos x="connsiteX10149" y="connsiteY10149"/>
                </a:cxn>
                <a:cxn ang="0">
                  <a:pos x="connsiteX10150" y="connsiteY10150"/>
                </a:cxn>
                <a:cxn ang="0">
                  <a:pos x="connsiteX10151" y="connsiteY10151"/>
                </a:cxn>
                <a:cxn ang="0">
                  <a:pos x="connsiteX10152" y="connsiteY10152"/>
                </a:cxn>
                <a:cxn ang="0">
                  <a:pos x="connsiteX10153" y="connsiteY10153"/>
                </a:cxn>
                <a:cxn ang="0">
                  <a:pos x="connsiteX10154" y="connsiteY10154"/>
                </a:cxn>
                <a:cxn ang="0">
                  <a:pos x="connsiteX10155" y="connsiteY10155"/>
                </a:cxn>
                <a:cxn ang="0">
                  <a:pos x="connsiteX10156" y="connsiteY10156"/>
                </a:cxn>
                <a:cxn ang="0">
                  <a:pos x="connsiteX10157" y="connsiteY10157"/>
                </a:cxn>
                <a:cxn ang="0">
                  <a:pos x="connsiteX10158" y="connsiteY10158"/>
                </a:cxn>
                <a:cxn ang="0">
                  <a:pos x="connsiteX10159" y="connsiteY10159"/>
                </a:cxn>
                <a:cxn ang="0">
                  <a:pos x="connsiteX10160" y="connsiteY10160"/>
                </a:cxn>
                <a:cxn ang="0">
                  <a:pos x="connsiteX10161" y="connsiteY10161"/>
                </a:cxn>
                <a:cxn ang="0">
                  <a:pos x="connsiteX10162" y="connsiteY10162"/>
                </a:cxn>
                <a:cxn ang="0">
                  <a:pos x="connsiteX10163" y="connsiteY10163"/>
                </a:cxn>
                <a:cxn ang="0">
                  <a:pos x="connsiteX10164" y="connsiteY10164"/>
                </a:cxn>
                <a:cxn ang="0">
                  <a:pos x="connsiteX10165" y="connsiteY10165"/>
                </a:cxn>
                <a:cxn ang="0">
                  <a:pos x="connsiteX10166" y="connsiteY10166"/>
                </a:cxn>
                <a:cxn ang="0">
                  <a:pos x="connsiteX10167" y="connsiteY10167"/>
                </a:cxn>
                <a:cxn ang="0">
                  <a:pos x="connsiteX10168" y="connsiteY10168"/>
                </a:cxn>
                <a:cxn ang="0">
                  <a:pos x="connsiteX10169" y="connsiteY10169"/>
                </a:cxn>
                <a:cxn ang="0">
                  <a:pos x="connsiteX10170" y="connsiteY10170"/>
                </a:cxn>
                <a:cxn ang="0">
                  <a:pos x="connsiteX10171" y="connsiteY10171"/>
                </a:cxn>
                <a:cxn ang="0">
                  <a:pos x="connsiteX10172" y="connsiteY10172"/>
                </a:cxn>
                <a:cxn ang="0">
                  <a:pos x="connsiteX10173" y="connsiteY10173"/>
                </a:cxn>
                <a:cxn ang="0">
                  <a:pos x="connsiteX10174" y="connsiteY10174"/>
                </a:cxn>
                <a:cxn ang="0">
                  <a:pos x="connsiteX10175" y="connsiteY10175"/>
                </a:cxn>
                <a:cxn ang="0">
                  <a:pos x="connsiteX10176" y="connsiteY10176"/>
                </a:cxn>
                <a:cxn ang="0">
                  <a:pos x="connsiteX10177" y="connsiteY10177"/>
                </a:cxn>
                <a:cxn ang="0">
                  <a:pos x="connsiteX10178" y="connsiteY10178"/>
                </a:cxn>
                <a:cxn ang="0">
                  <a:pos x="connsiteX10179" y="connsiteY10179"/>
                </a:cxn>
                <a:cxn ang="0">
                  <a:pos x="connsiteX10180" y="connsiteY10180"/>
                </a:cxn>
                <a:cxn ang="0">
                  <a:pos x="connsiteX10181" y="connsiteY10181"/>
                </a:cxn>
                <a:cxn ang="0">
                  <a:pos x="connsiteX10182" y="connsiteY10182"/>
                </a:cxn>
                <a:cxn ang="0">
                  <a:pos x="connsiteX10183" y="connsiteY10183"/>
                </a:cxn>
                <a:cxn ang="0">
                  <a:pos x="connsiteX10184" y="connsiteY10184"/>
                </a:cxn>
                <a:cxn ang="0">
                  <a:pos x="connsiteX10185" y="connsiteY10185"/>
                </a:cxn>
                <a:cxn ang="0">
                  <a:pos x="connsiteX10186" y="connsiteY10186"/>
                </a:cxn>
                <a:cxn ang="0">
                  <a:pos x="connsiteX10187" y="connsiteY10187"/>
                </a:cxn>
                <a:cxn ang="0">
                  <a:pos x="connsiteX10188" y="connsiteY10188"/>
                </a:cxn>
                <a:cxn ang="0">
                  <a:pos x="connsiteX10189" y="connsiteY10189"/>
                </a:cxn>
                <a:cxn ang="0">
                  <a:pos x="connsiteX10190" y="connsiteY10190"/>
                </a:cxn>
                <a:cxn ang="0">
                  <a:pos x="connsiteX10191" y="connsiteY10191"/>
                </a:cxn>
                <a:cxn ang="0">
                  <a:pos x="connsiteX10192" y="connsiteY10192"/>
                </a:cxn>
                <a:cxn ang="0">
                  <a:pos x="connsiteX10193" y="connsiteY10193"/>
                </a:cxn>
                <a:cxn ang="0">
                  <a:pos x="connsiteX10194" y="connsiteY10194"/>
                </a:cxn>
                <a:cxn ang="0">
                  <a:pos x="connsiteX10195" y="connsiteY10195"/>
                </a:cxn>
                <a:cxn ang="0">
                  <a:pos x="connsiteX10196" y="connsiteY10196"/>
                </a:cxn>
                <a:cxn ang="0">
                  <a:pos x="connsiteX10197" y="connsiteY10197"/>
                </a:cxn>
                <a:cxn ang="0">
                  <a:pos x="connsiteX10198" y="connsiteY10198"/>
                </a:cxn>
                <a:cxn ang="0">
                  <a:pos x="connsiteX10199" y="connsiteY10199"/>
                </a:cxn>
                <a:cxn ang="0">
                  <a:pos x="connsiteX10200" y="connsiteY10200"/>
                </a:cxn>
                <a:cxn ang="0">
                  <a:pos x="connsiteX10201" y="connsiteY10201"/>
                </a:cxn>
                <a:cxn ang="0">
                  <a:pos x="connsiteX10202" y="connsiteY10202"/>
                </a:cxn>
                <a:cxn ang="0">
                  <a:pos x="connsiteX10203" y="connsiteY10203"/>
                </a:cxn>
                <a:cxn ang="0">
                  <a:pos x="connsiteX10204" y="connsiteY10204"/>
                </a:cxn>
                <a:cxn ang="0">
                  <a:pos x="connsiteX10205" y="connsiteY10205"/>
                </a:cxn>
                <a:cxn ang="0">
                  <a:pos x="connsiteX10206" y="connsiteY10206"/>
                </a:cxn>
                <a:cxn ang="0">
                  <a:pos x="connsiteX10207" y="connsiteY10207"/>
                </a:cxn>
                <a:cxn ang="0">
                  <a:pos x="connsiteX10208" y="connsiteY10208"/>
                </a:cxn>
                <a:cxn ang="0">
                  <a:pos x="connsiteX10209" y="connsiteY10209"/>
                </a:cxn>
                <a:cxn ang="0">
                  <a:pos x="connsiteX10210" y="connsiteY10210"/>
                </a:cxn>
                <a:cxn ang="0">
                  <a:pos x="connsiteX10211" y="connsiteY10211"/>
                </a:cxn>
                <a:cxn ang="0">
                  <a:pos x="connsiteX10212" y="connsiteY10212"/>
                </a:cxn>
                <a:cxn ang="0">
                  <a:pos x="connsiteX10213" y="connsiteY10213"/>
                </a:cxn>
                <a:cxn ang="0">
                  <a:pos x="connsiteX10214" y="connsiteY10214"/>
                </a:cxn>
                <a:cxn ang="0">
                  <a:pos x="connsiteX10215" y="connsiteY10215"/>
                </a:cxn>
                <a:cxn ang="0">
                  <a:pos x="connsiteX10216" y="connsiteY10216"/>
                </a:cxn>
                <a:cxn ang="0">
                  <a:pos x="connsiteX10217" y="connsiteY10217"/>
                </a:cxn>
                <a:cxn ang="0">
                  <a:pos x="connsiteX10218" y="connsiteY10218"/>
                </a:cxn>
                <a:cxn ang="0">
                  <a:pos x="connsiteX10219" y="connsiteY10219"/>
                </a:cxn>
                <a:cxn ang="0">
                  <a:pos x="connsiteX10220" y="connsiteY10220"/>
                </a:cxn>
                <a:cxn ang="0">
                  <a:pos x="connsiteX10221" y="connsiteY10221"/>
                </a:cxn>
                <a:cxn ang="0">
                  <a:pos x="connsiteX10222" y="connsiteY10222"/>
                </a:cxn>
                <a:cxn ang="0">
                  <a:pos x="connsiteX10223" y="connsiteY10223"/>
                </a:cxn>
                <a:cxn ang="0">
                  <a:pos x="connsiteX10224" y="connsiteY10224"/>
                </a:cxn>
                <a:cxn ang="0">
                  <a:pos x="connsiteX10225" y="connsiteY10225"/>
                </a:cxn>
                <a:cxn ang="0">
                  <a:pos x="connsiteX10226" y="connsiteY10226"/>
                </a:cxn>
                <a:cxn ang="0">
                  <a:pos x="connsiteX10227" y="connsiteY10227"/>
                </a:cxn>
                <a:cxn ang="0">
                  <a:pos x="connsiteX10228" y="connsiteY10228"/>
                </a:cxn>
                <a:cxn ang="0">
                  <a:pos x="connsiteX10229" y="connsiteY10229"/>
                </a:cxn>
                <a:cxn ang="0">
                  <a:pos x="connsiteX10230" y="connsiteY10230"/>
                </a:cxn>
                <a:cxn ang="0">
                  <a:pos x="connsiteX10231" y="connsiteY10231"/>
                </a:cxn>
                <a:cxn ang="0">
                  <a:pos x="connsiteX10232" y="connsiteY10232"/>
                </a:cxn>
                <a:cxn ang="0">
                  <a:pos x="connsiteX10233" y="connsiteY10233"/>
                </a:cxn>
                <a:cxn ang="0">
                  <a:pos x="connsiteX10234" y="connsiteY10234"/>
                </a:cxn>
                <a:cxn ang="0">
                  <a:pos x="connsiteX10235" y="connsiteY10235"/>
                </a:cxn>
                <a:cxn ang="0">
                  <a:pos x="connsiteX10236" y="connsiteY10236"/>
                </a:cxn>
                <a:cxn ang="0">
                  <a:pos x="connsiteX10237" y="connsiteY10237"/>
                </a:cxn>
                <a:cxn ang="0">
                  <a:pos x="connsiteX10238" y="connsiteY10238"/>
                </a:cxn>
                <a:cxn ang="0">
                  <a:pos x="connsiteX10239" y="connsiteY10239"/>
                </a:cxn>
                <a:cxn ang="0">
                  <a:pos x="connsiteX10240" y="connsiteY10240"/>
                </a:cxn>
                <a:cxn ang="0">
                  <a:pos x="connsiteX10241" y="connsiteY10241"/>
                </a:cxn>
                <a:cxn ang="0">
                  <a:pos x="connsiteX10242" y="connsiteY10242"/>
                </a:cxn>
                <a:cxn ang="0">
                  <a:pos x="connsiteX10243" y="connsiteY10243"/>
                </a:cxn>
                <a:cxn ang="0">
                  <a:pos x="connsiteX10244" y="connsiteY10244"/>
                </a:cxn>
                <a:cxn ang="0">
                  <a:pos x="connsiteX10245" y="connsiteY10245"/>
                </a:cxn>
                <a:cxn ang="0">
                  <a:pos x="connsiteX10246" y="connsiteY10246"/>
                </a:cxn>
                <a:cxn ang="0">
                  <a:pos x="connsiteX10247" y="connsiteY10247"/>
                </a:cxn>
                <a:cxn ang="0">
                  <a:pos x="connsiteX10248" y="connsiteY10248"/>
                </a:cxn>
                <a:cxn ang="0">
                  <a:pos x="connsiteX10249" y="connsiteY10249"/>
                </a:cxn>
                <a:cxn ang="0">
                  <a:pos x="connsiteX10250" y="connsiteY10250"/>
                </a:cxn>
                <a:cxn ang="0">
                  <a:pos x="connsiteX10251" y="connsiteY10251"/>
                </a:cxn>
                <a:cxn ang="0">
                  <a:pos x="connsiteX10252" y="connsiteY10252"/>
                </a:cxn>
                <a:cxn ang="0">
                  <a:pos x="connsiteX10253" y="connsiteY10253"/>
                </a:cxn>
                <a:cxn ang="0">
                  <a:pos x="connsiteX10254" y="connsiteY10254"/>
                </a:cxn>
                <a:cxn ang="0">
                  <a:pos x="connsiteX10255" y="connsiteY10255"/>
                </a:cxn>
                <a:cxn ang="0">
                  <a:pos x="connsiteX10256" y="connsiteY10256"/>
                </a:cxn>
                <a:cxn ang="0">
                  <a:pos x="connsiteX10257" y="connsiteY10257"/>
                </a:cxn>
                <a:cxn ang="0">
                  <a:pos x="connsiteX10258" y="connsiteY10258"/>
                </a:cxn>
                <a:cxn ang="0">
                  <a:pos x="connsiteX10259" y="connsiteY10259"/>
                </a:cxn>
                <a:cxn ang="0">
                  <a:pos x="connsiteX10260" y="connsiteY10260"/>
                </a:cxn>
                <a:cxn ang="0">
                  <a:pos x="connsiteX10261" y="connsiteY10261"/>
                </a:cxn>
                <a:cxn ang="0">
                  <a:pos x="connsiteX10262" y="connsiteY10262"/>
                </a:cxn>
                <a:cxn ang="0">
                  <a:pos x="connsiteX10263" y="connsiteY10263"/>
                </a:cxn>
                <a:cxn ang="0">
                  <a:pos x="connsiteX10264" y="connsiteY10264"/>
                </a:cxn>
                <a:cxn ang="0">
                  <a:pos x="connsiteX10265" y="connsiteY10265"/>
                </a:cxn>
                <a:cxn ang="0">
                  <a:pos x="connsiteX10266" y="connsiteY10266"/>
                </a:cxn>
                <a:cxn ang="0">
                  <a:pos x="connsiteX10267" y="connsiteY10267"/>
                </a:cxn>
                <a:cxn ang="0">
                  <a:pos x="connsiteX10268" y="connsiteY10268"/>
                </a:cxn>
                <a:cxn ang="0">
                  <a:pos x="connsiteX10269" y="connsiteY10269"/>
                </a:cxn>
                <a:cxn ang="0">
                  <a:pos x="connsiteX10270" y="connsiteY10270"/>
                </a:cxn>
                <a:cxn ang="0">
                  <a:pos x="connsiteX10271" y="connsiteY10271"/>
                </a:cxn>
                <a:cxn ang="0">
                  <a:pos x="connsiteX10272" y="connsiteY10272"/>
                </a:cxn>
                <a:cxn ang="0">
                  <a:pos x="connsiteX10273" y="connsiteY10273"/>
                </a:cxn>
                <a:cxn ang="0">
                  <a:pos x="connsiteX10274" y="connsiteY10274"/>
                </a:cxn>
                <a:cxn ang="0">
                  <a:pos x="connsiteX10275" y="connsiteY10275"/>
                </a:cxn>
                <a:cxn ang="0">
                  <a:pos x="connsiteX10276" y="connsiteY10276"/>
                </a:cxn>
                <a:cxn ang="0">
                  <a:pos x="connsiteX10277" y="connsiteY10277"/>
                </a:cxn>
                <a:cxn ang="0">
                  <a:pos x="connsiteX10278" y="connsiteY10278"/>
                </a:cxn>
                <a:cxn ang="0">
                  <a:pos x="connsiteX10279" y="connsiteY10279"/>
                </a:cxn>
                <a:cxn ang="0">
                  <a:pos x="connsiteX10280" y="connsiteY10280"/>
                </a:cxn>
                <a:cxn ang="0">
                  <a:pos x="connsiteX10281" y="connsiteY10281"/>
                </a:cxn>
                <a:cxn ang="0">
                  <a:pos x="connsiteX10282" y="connsiteY10282"/>
                </a:cxn>
                <a:cxn ang="0">
                  <a:pos x="connsiteX10283" y="connsiteY10283"/>
                </a:cxn>
                <a:cxn ang="0">
                  <a:pos x="connsiteX10284" y="connsiteY10284"/>
                </a:cxn>
                <a:cxn ang="0">
                  <a:pos x="connsiteX10285" y="connsiteY10285"/>
                </a:cxn>
                <a:cxn ang="0">
                  <a:pos x="connsiteX10286" y="connsiteY10286"/>
                </a:cxn>
                <a:cxn ang="0">
                  <a:pos x="connsiteX10287" y="connsiteY10287"/>
                </a:cxn>
                <a:cxn ang="0">
                  <a:pos x="connsiteX10288" y="connsiteY10288"/>
                </a:cxn>
                <a:cxn ang="0">
                  <a:pos x="connsiteX10289" y="connsiteY10289"/>
                </a:cxn>
                <a:cxn ang="0">
                  <a:pos x="connsiteX10290" y="connsiteY10290"/>
                </a:cxn>
                <a:cxn ang="0">
                  <a:pos x="connsiteX10291" y="connsiteY10291"/>
                </a:cxn>
                <a:cxn ang="0">
                  <a:pos x="connsiteX10292" y="connsiteY10292"/>
                </a:cxn>
                <a:cxn ang="0">
                  <a:pos x="connsiteX10293" y="connsiteY10293"/>
                </a:cxn>
                <a:cxn ang="0">
                  <a:pos x="connsiteX10294" y="connsiteY10294"/>
                </a:cxn>
                <a:cxn ang="0">
                  <a:pos x="connsiteX10295" y="connsiteY10295"/>
                </a:cxn>
                <a:cxn ang="0">
                  <a:pos x="connsiteX10296" y="connsiteY10296"/>
                </a:cxn>
                <a:cxn ang="0">
                  <a:pos x="connsiteX10297" y="connsiteY10297"/>
                </a:cxn>
                <a:cxn ang="0">
                  <a:pos x="connsiteX10298" y="connsiteY10298"/>
                </a:cxn>
                <a:cxn ang="0">
                  <a:pos x="connsiteX10299" y="connsiteY10299"/>
                </a:cxn>
                <a:cxn ang="0">
                  <a:pos x="connsiteX10300" y="connsiteY10300"/>
                </a:cxn>
                <a:cxn ang="0">
                  <a:pos x="connsiteX10301" y="connsiteY10301"/>
                </a:cxn>
                <a:cxn ang="0">
                  <a:pos x="connsiteX10302" y="connsiteY10302"/>
                </a:cxn>
                <a:cxn ang="0">
                  <a:pos x="connsiteX10303" y="connsiteY10303"/>
                </a:cxn>
                <a:cxn ang="0">
                  <a:pos x="connsiteX10304" y="connsiteY10304"/>
                </a:cxn>
                <a:cxn ang="0">
                  <a:pos x="connsiteX10305" y="connsiteY10305"/>
                </a:cxn>
                <a:cxn ang="0">
                  <a:pos x="connsiteX10306" y="connsiteY10306"/>
                </a:cxn>
                <a:cxn ang="0">
                  <a:pos x="connsiteX10307" y="connsiteY10307"/>
                </a:cxn>
                <a:cxn ang="0">
                  <a:pos x="connsiteX10308" y="connsiteY10308"/>
                </a:cxn>
                <a:cxn ang="0">
                  <a:pos x="connsiteX10309" y="connsiteY10309"/>
                </a:cxn>
                <a:cxn ang="0">
                  <a:pos x="connsiteX10310" y="connsiteY10310"/>
                </a:cxn>
                <a:cxn ang="0">
                  <a:pos x="connsiteX10311" y="connsiteY10311"/>
                </a:cxn>
                <a:cxn ang="0">
                  <a:pos x="connsiteX10312" y="connsiteY10312"/>
                </a:cxn>
                <a:cxn ang="0">
                  <a:pos x="connsiteX10313" y="connsiteY10313"/>
                </a:cxn>
                <a:cxn ang="0">
                  <a:pos x="connsiteX10314" y="connsiteY10314"/>
                </a:cxn>
                <a:cxn ang="0">
                  <a:pos x="connsiteX10315" y="connsiteY10315"/>
                </a:cxn>
                <a:cxn ang="0">
                  <a:pos x="connsiteX10316" y="connsiteY10316"/>
                </a:cxn>
                <a:cxn ang="0">
                  <a:pos x="connsiteX10317" y="connsiteY10317"/>
                </a:cxn>
                <a:cxn ang="0">
                  <a:pos x="connsiteX10318" y="connsiteY10318"/>
                </a:cxn>
                <a:cxn ang="0">
                  <a:pos x="connsiteX10319" y="connsiteY10319"/>
                </a:cxn>
                <a:cxn ang="0">
                  <a:pos x="connsiteX10320" y="connsiteY10320"/>
                </a:cxn>
                <a:cxn ang="0">
                  <a:pos x="connsiteX10321" y="connsiteY10321"/>
                </a:cxn>
                <a:cxn ang="0">
                  <a:pos x="connsiteX10322" y="connsiteY10322"/>
                </a:cxn>
                <a:cxn ang="0">
                  <a:pos x="connsiteX10323" y="connsiteY10323"/>
                </a:cxn>
                <a:cxn ang="0">
                  <a:pos x="connsiteX10324" y="connsiteY10324"/>
                </a:cxn>
                <a:cxn ang="0">
                  <a:pos x="connsiteX10325" y="connsiteY10325"/>
                </a:cxn>
                <a:cxn ang="0">
                  <a:pos x="connsiteX10326" y="connsiteY10326"/>
                </a:cxn>
                <a:cxn ang="0">
                  <a:pos x="connsiteX10327" y="connsiteY10327"/>
                </a:cxn>
                <a:cxn ang="0">
                  <a:pos x="connsiteX10328" y="connsiteY10328"/>
                </a:cxn>
                <a:cxn ang="0">
                  <a:pos x="connsiteX10329" y="connsiteY10329"/>
                </a:cxn>
                <a:cxn ang="0">
                  <a:pos x="connsiteX10330" y="connsiteY10330"/>
                </a:cxn>
                <a:cxn ang="0">
                  <a:pos x="connsiteX10331" y="connsiteY10331"/>
                </a:cxn>
                <a:cxn ang="0">
                  <a:pos x="connsiteX10332" y="connsiteY10332"/>
                </a:cxn>
                <a:cxn ang="0">
                  <a:pos x="connsiteX10333" y="connsiteY10333"/>
                </a:cxn>
                <a:cxn ang="0">
                  <a:pos x="connsiteX10334" y="connsiteY10334"/>
                </a:cxn>
                <a:cxn ang="0">
                  <a:pos x="connsiteX10335" y="connsiteY10335"/>
                </a:cxn>
                <a:cxn ang="0">
                  <a:pos x="connsiteX10336" y="connsiteY10336"/>
                </a:cxn>
                <a:cxn ang="0">
                  <a:pos x="connsiteX10337" y="connsiteY10337"/>
                </a:cxn>
                <a:cxn ang="0">
                  <a:pos x="connsiteX10338" y="connsiteY10338"/>
                </a:cxn>
                <a:cxn ang="0">
                  <a:pos x="connsiteX10339" y="connsiteY10339"/>
                </a:cxn>
                <a:cxn ang="0">
                  <a:pos x="connsiteX10340" y="connsiteY10340"/>
                </a:cxn>
                <a:cxn ang="0">
                  <a:pos x="connsiteX10341" y="connsiteY10341"/>
                </a:cxn>
                <a:cxn ang="0">
                  <a:pos x="connsiteX10342" y="connsiteY10342"/>
                </a:cxn>
                <a:cxn ang="0">
                  <a:pos x="connsiteX10343" y="connsiteY10343"/>
                </a:cxn>
                <a:cxn ang="0">
                  <a:pos x="connsiteX10344" y="connsiteY10344"/>
                </a:cxn>
                <a:cxn ang="0">
                  <a:pos x="connsiteX10345" y="connsiteY10345"/>
                </a:cxn>
                <a:cxn ang="0">
                  <a:pos x="connsiteX10346" y="connsiteY10346"/>
                </a:cxn>
                <a:cxn ang="0">
                  <a:pos x="connsiteX10347" y="connsiteY10347"/>
                </a:cxn>
                <a:cxn ang="0">
                  <a:pos x="connsiteX10348" y="connsiteY10348"/>
                </a:cxn>
                <a:cxn ang="0">
                  <a:pos x="connsiteX10349" y="connsiteY10349"/>
                </a:cxn>
                <a:cxn ang="0">
                  <a:pos x="connsiteX10350" y="connsiteY10350"/>
                </a:cxn>
                <a:cxn ang="0">
                  <a:pos x="connsiteX10351" y="connsiteY10351"/>
                </a:cxn>
                <a:cxn ang="0">
                  <a:pos x="connsiteX10352" y="connsiteY10352"/>
                </a:cxn>
                <a:cxn ang="0">
                  <a:pos x="connsiteX10353" y="connsiteY10353"/>
                </a:cxn>
                <a:cxn ang="0">
                  <a:pos x="connsiteX10354" y="connsiteY10354"/>
                </a:cxn>
                <a:cxn ang="0">
                  <a:pos x="connsiteX10355" y="connsiteY10355"/>
                </a:cxn>
                <a:cxn ang="0">
                  <a:pos x="connsiteX10356" y="connsiteY10356"/>
                </a:cxn>
                <a:cxn ang="0">
                  <a:pos x="connsiteX10357" y="connsiteY10357"/>
                </a:cxn>
                <a:cxn ang="0">
                  <a:pos x="connsiteX10358" y="connsiteY10358"/>
                </a:cxn>
                <a:cxn ang="0">
                  <a:pos x="connsiteX10359" y="connsiteY10359"/>
                </a:cxn>
                <a:cxn ang="0">
                  <a:pos x="connsiteX10360" y="connsiteY10360"/>
                </a:cxn>
                <a:cxn ang="0">
                  <a:pos x="connsiteX10361" y="connsiteY10361"/>
                </a:cxn>
                <a:cxn ang="0">
                  <a:pos x="connsiteX10362" y="connsiteY10362"/>
                </a:cxn>
                <a:cxn ang="0">
                  <a:pos x="connsiteX10363" y="connsiteY10363"/>
                </a:cxn>
                <a:cxn ang="0">
                  <a:pos x="connsiteX10364" y="connsiteY10364"/>
                </a:cxn>
                <a:cxn ang="0">
                  <a:pos x="connsiteX10365" y="connsiteY10365"/>
                </a:cxn>
                <a:cxn ang="0">
                  <a:pos x="connsiteX10366" y="connsiteY10366"/>
                </a:cxn>
                <a:cxn ang="0">
                  <a:pos x="connsiteX10367" y="connsiteY10367"/>
                </a:cxn>
                <a:cxn ang="0">
                  <a:pos x="connsiteX10368" y="connsiteY10368"/>
                </a:cxn>
                <a:cxn ang="0">
                  <a:pos x="connsiteX10369" y="connsiteY10369"/>
                </a:cxn>
                <a:cxn ang="0">
                  <a:pos x="connsiteX10370" y="connsiteY10370"/>
                </a:cxn>
                <a:cxn ang="0">
                  <a:pos x="connsiteX10371" y="connsiteY10371"/>
                </a:cxn>
                <a:cxn ang="0">
                  <a:pos x="connsiteX10372" y="connsiteY10372"/>
                </a:cxn>
                <a:cxn ang="0">
                  <a:pos x="connsiteX10373" y="connsiteY10373"/>
                </a:cxn>
                <a:cxn ang="0">
                  <a:pos x="connsiteX10374" y="connsiteY10374"/>
                </a:cxn>
                <a:cxn ang="0">
                  <a:pos x="connsiteX10375" y="connsiteY10375"/>
                </a:cxn>
                <a:cxn ang="0">
                  <a:pos x="connsiteX10376" y="connsiteY10376"/>
                </a:cxn>
                <a:cxn ang="0">
                  <a:pos x="connsiteX10377" y="connsiteY10377"/>
                </a:cxn>
                <a:cxn ang="0">
                  <a:pos x="connsiteX10378" y="connsiteY10378"/>
                </a:cxn>
                <a:cxn ang="0">
                  <a:pos x="connsiteX10379" y="connsiteY10379"/>
                </a:cxn>
                <a:cxn ang="0">
                  <a:pos x="connsiteX10380" y="connsiteY10380"/>
                </a:cxn>
                <a:cxn ang="0">
                  <a:pos x="connsiteX10381" y="connsiteY10381"/>
                </a:cxn>
                <a:cxn ang="0">
                  <a:pos x="connsiteX10382" y="connsiteY10382"/>
                </a:cxn>
                <a:cxn ang="0">
                  <a:pos x="connsiteX10383" y="connsiteY10383"/>
                </a:cxn>
                <a:cxn ang="0">
                  <a:pos x="connsiteX10384" y="connsiteY10384"/>
                </a:cxn>
                <a:cxn ang="0">
                  <a:pos x="connsiteX10385" y="connsiteY10385"/>
                </a:cxn>
                <a:cxn ang="0">
                  <a:pos x="connsiteX10386" y="connsiteY10386"/>
                </a:cxn>
                <a:cxn ang="0">
                  <a:pos x="connsiteX10387" y="connsiteY10387"/>
                </a:cxn>
                <a:cxn ang="0">
                  <a:pos x="connsiteX10388" y="connsiteY10388"/>
                </a:cxn>
                <a:cxn ang="0">
                  <a:pos x="connsiteX10389" y="connsiteY10389"/>
                </a:cxn>
                <a:cxn ang="0">
                  <a:pos x="connsiteX10390" y="connsiteY10390"/>
                </a:cxn>
                <a:cxn ang="0">
                  <a:pos x="connsiteX10391" y="connsiteY10391"/>
                </a:cxn>
                <a:cxn ang="0">
                  <a:pos x="connsiteX10392" y="connsiteY10392"/>
                </a:cxn>
                <a:cxn ang="0">
                  <a:pos x="connsiteX10393" y="connsiteY10393"/>
                </a:cxn>
                <a:cxn ang="0">
                  <a:pos x="connsiteX10394" y="connsiteY10394"/>
                </a:cxn>
                <a:cxn ang="0">
                  <a:pos x="connsiteX10395" y="connsiteY10395"/>
                </a:cxn>
                <a:cxn ang="0">
                  <a:pos x="connsiteX10396" y="connsiteY10396"/>
                </a:cxn>
                <a:cxn ang="0">
                  <a:pos x="connsiteX10397" y="connsiteY10397"/>
                </a:cxn>
                <a:cxn ang="0">
                  <a:pos x="connsiteX10398" y="connsiteY10398"/>
                </a:cxn>
                <a:cxn ang="0">
                  <a:pos x="connsiteX10399" y="connsiteY10399"/>
                </a:cxn>
                <a:cxn ang="0">
                  <a:pos x="connsiteX10400" y="connsiteY10400"/>
                </a:cxn>
                <a:cxn ang="0">
                  <a:pos x="connsiteX10401" y="connsiteY10401"/>
                </a:cxn>
                <a:cxn ang="0">
                  <a:pos x="connsiteX10402" y="connsiteY10402"/>
                </a:cxn>
                <a:cxn ang="0">
                  <a:pos x="connsiteX10403" y="connsiteY10403"/>
                </a:cxn>
                <a:cxn ang="0">
                  <a:pos x="connsiteX10404" y="connsiteY10404"/>
                </a:cxn>
                <a:cxn ang="0">
                  <a:pos x="connsiteX10405" y="connsiteY10405"/>
                </a:cxn>
                <a:cxn ang="0">
                  <a:pos x="connsiteX10406" y="connsiteY10406"/>
                </a:cxn>
                <a:cxn ang="0">
                  <a:pos x="connsiteX10407" y="connsiteY10407"/>
                </a:cxn>
                <a:cxn ang="0">
                  <a:pos x="connsiteX10408" y="connsiteY10408"/>
                </a:cxn>
                <a:cxn ang="0">
                  <a:pos x="connsiteX10409" y="connsiteY10409"/>
                </a:cxn>
                <a:cxn ang="0">
                  <a:pos x="connsiteX10410" y="connsiteY10410"/>
                </a:cxn>
                <a:cxn ang="0">
                  <a:pos x="connsiteX10411" y="connsiteY10411"/>
                </a:cxn>
                <a:cxn ang="0">
                  <a:pos x="connsiteX10412" y="connsiteY10412"/>
                </a:cxn>
                <a:cxn ang="0">
                  <a:pos x="connsiteX10413" y="connsiteY10413"/>
                </a:cxn>
                <a:cxn ang="0">
                  <a:pos x="connsiteX10414" y="connsiteY10414"/>
                </a:cxn>
                <a:cxn ang="0">
                  <a:pos x="connsiteX10415" y="connsiteY10415"/>
                </a:cxn>
                <a:cxn ang="0">
                  <a:pos x="connsiteX10416" y="connsiteY10416"/>
                </a:cxn>
                <a:cxn ang="0">
                  <a:pos x="connsiteX10417" y="connsiteY10417"/>
                </a:cxn>
                <a:cxn ang="0">
                  <a:pos x="connsiteX10418" y="connsiteY10418"/>
                </a:cxn>
                <a:cxn ang="0">
                  <a:pos x="connsiteX10419" y="connsiteY10419"/>
                </a:cxn>
                <a:cxn ang="0">
                  <a:pos x="connsiteX10420" y="connsiteY10420"/>
                </a:cxn>
                <a:cxn ang="0">
                  <a:pos x="connsiteX10421" y="connsiteY10421"/>
                </a:cxn>
                <a:cxn ang="0">
                  <a:pos x="connsiteX10422" y="connsiteY10422"/>
                </a:cxn>
                <a:cxn ang="0">
                  <a:pos x="connsiteX10423" y="connsiteY10423"/>
                </a:cxn>
                <a:cxn ang="0">
                  <a:pos x="connsiteX10424" y="connsiteY10424"/>
                </a:cxn>
                <a:cxn ang="0">
                  <a:pos x="connsiteX10425" y="connsiteY10425"/>
                </a:cxn>
                <a:cxn ang="0">
                  <a:pos x="connsiteX10426" y="connsiteY10426"/>
                </a:cxn>
                <a:cxn ang="0">
                  <a:pos x="connsiteX10427" y="connsiteY10427"/>
                </a:cxn>
                <a:cxn ang="0">
                  <a:pos x="connsiteX10428" y="connsiteY10428"/>
                </a:cxn>
                <a:cxn ang="0">
                  <a:pos x="connsiteX10429" y="connsiteY10429"/>
                </a:cxn>
                <a:cxn ang="0">
                  <a:pos x="connsiteX10430" y="connsiteY10430"/>
                </a:cxn>
                <a:cxn ang="0">
                  <a:pos x="connsiteX10431" y="connsiteY10431"/>
                </a:cxn>
                <a:cxn ang="0">
                  <a:pos x="connsiteX10432" y="connsiteY10432"/>
                </a:cxn>
                <a:cxn ang="0">
                  <a:pos x="connsiteX10433" y="connsiteY10433"/>
                </a:cxn>
                <a:cxn ang="0">
                  <a:pos x="connsiteX10434" y="connsiteY10434"/>
                </a:cxn>
                <a:cxn ang="0">
                  <a:pos x="connsiteX10435" y="connsiteY10435"/>
                </a:cxn>
                <a:cxn ang="0">
                  <a:pos x="connsiteX10436" y="connsiteY10436"/>
                </a:cxn>
                <a:cxn ang="0">
                  <a:pos x="connsiteX10437" y="connsiteY10437"/>
                </a:cxn>
                <a:cxn ang="0">
                  <a:pos x="connsiteX10438" y="connsiteY10438"/>
                </a:cxn>
                <a:cxn ang="0">
                  <a:pos x="connsiteX10439" y="connsiteY10439"/>
                </a:cxn>
                <a:cxn ang="0">
                  <a:pos x="connsiteX10440" y="connsiteY10440"/>
                </a:cxn>
                <a:cxn ang="0">
                  <a:pos x="connsiteX10441" y="connsiteY10441"/>
                </a:cxn>
                <a:cxn ang="0">
                  <a:pos x="connsiteX10442" y="connsiteY10442"/>
                </a:cxn>
                <a:cxn ang="0">
                  <a:pos x="connsiteX10443" y="connsiteY10443"/>
                </a:cxn>
                <a:cxn ang="0">
                  <a:pos x="connsiteX10444" y="connsiteY10444"/>
                </a:cxn>
                <a:cxn ang="0">
                  <a:pos x="connsiteX10445" y="connsiteY10445"/>
                </a:cxn>
                <a:cxn ang="0">
                  <a:pos x="connsiteX10446" y="connsiteY10446"/>
                </a:cxn>
                <a:cxn ang="0">
                  <a:pos x="connsiteX10447" y="connsiteY10447"/>
                </a:cxn>
                <a:cxn ang="0">
                  <a:pos x="connsiteX10448" y="connsiteY10448"/>
                </a:cxn>
                <a:cxn ang="0">
                  <a:pos x="connsiteX10449" y="connsiteY10449"/>
                </a:cxn>
                <a:cxn ang="0">
                  <a:pos x="connsiteX10450" y="connsiteY10450"/>
                </a:cxn>
                <a:cxn ang="0">
                  <a:pos x="connsiteX10451" y="connsiteY10451"/>
                </a:cxn>
                <a:cxn ang="0">
                  <a:pos x="connsiteX10452" y="connsiteY10452"/>
                </a:cxn>
                <a:cxn ang="0">
                  <a:pos x="connsiteX10453" y="connsiteY10453"/>
                </a:cxn>
                <a:cxn ang="0">
                  <a:pos x="connsiteX10454" y="connsiteY10454"/>
                </a:cxn>
                <a:cxn ang="0">
                  <a:pos x="connsiteX10455" y="connsiteY10455"/>
                </a:cxn>
                <a:cxn ang="0">
                  <a:pos x="connsiteX10456" y="connsiteY10456"/>
                </a:cxn>
                <a:cxn ang="0">
                  <a:pos x="connsiteX10457" y="connsiteY10457"/>
                </a:cxn>
                <a:cxn ang="0">
                  <a:pos x="connsiteX10458" y="connsiteY10458"/>
                </a:cxn>
                <a:cxn ang="0">
                  <a:pos x="connsiteX10459" y="connsiteY10459"/>
                </a:cxn>
                <a:cxn ang="0">
                  <a:pos x="connsiteX10460" y="connsiteY10460"/>
                </a:cxn>
                <a:cxn ang="0">
                  <a:pos x="connsiteX10461" y="connsiteY10461"/>
                </a:cxn>
                <a:cxn ang="0">
                  <a:pos x="connsiteX10462" y="connsiteY10462"/>
                </a:cxn>
                <a:cxn ang="0">
                  <a:pos x="connsiteX10463" y="connsiteY10463"/>
                </a:cxn>
                <a:cxn ang="0">
                  <a:pos x="connsiteX10464" y="connsiteY10464"/>
                </a:cxn>
                <a:cxn ang="0">
                  <a:pos x="connsiteX10465" y="connsiteY10465"/>
                </a:cxn>
                <a:cxn ang="0">
                  <a:pos x="connsiteX10466" y="connsiteY10466"/>
                </a:cxn>
                <a:cxn ang="0">
                  <a:pos x="connsiteX10467" y="connsiteY10467"/>
                </a:cxn>
                <a:cxn ang="0">
                  <a:pos x="connsiteX10468" y="connsiteY10468"/>
                </a:cxn>
                <a:cxn ang="0">
                  <a:pos x="connsiteX10469" y="connsiteY10469"/>
                </a:cxn>
                <a:cxn ang="0">
                  <a:pos x="connsiteX10470" y="connsiteY10470"/>
                </a:cxn>
                <a:cxn ang="0">
                  <a:pos x="connsiteX10471" y="connsiteY10471"/>
                </a:cxn>
                <a:cxn ang="0">
                  <a:pos x="connsiteX10472" y="connsiteY10472"/>
                </a:cxn>
                <a:cxn ang="0">
                  <a:pos x="connsiteX10473" y="connsiteY10473"/>
                </a:cxn>
                <a:cxn ang="0">
                  <a:pos x="connsiteX10474" y="connsiteY10474"/>
                </a:cxn>
                <a:cxn ang="0">
                  <a:pos x="connsiteX10475" y="connsiteY10475"/>
                </a:cxn>
                <a:cxn ang="0">
                  <a:pos x="connsiteX10476" y="connsiteY10476"/>
                </a:cxn>
                <a:cxn ang="0">
                  <a:pos x="connsiteX10477" y="connsiteY10477"/>
                </a:cxn>
                <a:cxn ang="0">
                  <a:pos x="connsiteX10478" y="connsiteY10478"/>
                </a:cxn>
                <a:cxn ang="0">
                  <a:pos x="connsiteX10479" y="connsiteY10479"/>
                </a:cxn>
                <a:cxn ang="0">
                  <a:pos x="connsiteX10480" y="connsiteY10480"/>
                </a:cxn>
                <a:cxn ang="0">
                  <a:pos x="connsiteX10481" y="connsiteY10481"/>
                </a:cxn>
                <a:cxn ang="0">
                  <a:pos x="connsiteX10482" y="connsiteY10482"/>
                </a:cxn>
                <a:cxn ang="0">
                  <a:pos x="connsiteX10483" y="connsiteY10483"/>
                </a:cxn>
                <a:cxn ang="0">
                  <a:pos x="connsiteX10484" y="connsiteY10484"/>
                </a:cxn>
                <a:cxn ang="0">
                  <a:pos x="connsiteX10485" y="connsiteY10485"/>
                </a:cxn>
                <a:cxn ang="0">
                  <a:pos x="connsiteX10486" y="connsiteY10486"/>
                </a:cxn>
                <a:cxn ang="0">
                  <a:pos x="connsiteX10487" y="connsiteY10487"/>
                </a:cxn>
                <a:cxn ang="0">
                  <a:pos x="connsiteX10488" y="connsiteY10488"/>
                </a:cxn>
                <a:cxn ang="0">
                  <a:pos x="connsiteX10489" y="connsiteY10489"/>
                </a:cxn>
                <a:cxn ang="0">
                  <a:pos x="connsiteX10490" y="connsiteY10490"/>
                </a:cxn>
                <a:cxn ang="0">
                  <a:pos x="connsiteX10491" y="connsiteY10491"/>
                </a:cxn>
                <a:cxn ang="0">
                  <a:pos x="connsiteX10492" y="connsiteY10492"/>
                </a:cxn>
                <a:cxn ang="0">
                  <a:pos x="connsiteX10493" y="connsiteY10493"/>
                </a:cxn>
                <a:cxn ang="0">
                  <a:pos x="connsiteX10494" y="connsiteY10494"/>
                </a:cxn>
                <a:cxn ang="0">
                  <a:pos x="connsiteX10495" y="connsiteY10495"/>
                </a:cxn>
                <a:cxn ang="0">
                  <a:pos x="connsiteX10496" y="connsiteY10496"/>
                </a:cxn>
                <a:cxn ang="0">
                  <a:pos x="connsiteX10497" y="connsiteY10497"/>
                </a:cxn>
                <a:cxn ang="0">
                  <a:pos x="connsiteX10498" y="connsiteY10498"/>
                </a:cxn>
                <a:cxn ang="0">
                  <a:pos x="connsiteX10499" y="connsiteY10499"/>
                </a:cxn>
                <a:cxn ang="0">
                  <a:pos x="connsiteX10500" y="connsiteY10500"/>
                </a:cxn>
                <a:cxn ang="0">
                  <a:pos x="connsiteX10501" y="connsiteY10501"/>
                </a:cxn>
                <a:cxn ang="0">
                  <a:pos x="connsiteX10502" y="connsiteY10502"/>
                </a:cxn>
                <a:cxn ang="0">
                  <a:pos x="connsiteX10503" y="connsiteY10503"/>
                </a:cxn>
                <a:cxn ang="0">
                  <a:pos x="connsiteX10504" y="connsiteY10504"/>
                </a:cxn>
                <a:cxn ang="0">
                  <a:pos x="connsiteX10505" y="connsiteY10505"/>
                </a:cxn>
                <a:cxn ang="0">
                  <a:pos x="connsiteX10506" y="connsiteY10506"/>
                </a:cxn>
                <a:cxn ang="0">
                  <a:pos x="connsiteX10507" y="connsiteY10507"/>
                </a:cxn>
                <a:cxn ang="0">
                  <a:pos x="connsiteX10508" y="connsiteY10508"/>
                </a:cxn>
                <a:cxn ang="0">
                  <a:pos x="connsiteX10509" y="connsiteY10509"/>
                </a:cxn>
                <a:cxn ang="0">
                  <a:pos x="connsiteX10510" y="connsiteY10510"/>
                </a:cxn>
                <a:cxn ang="0">
                  <a:pos x="connsiteX10511" y="connsiteY10511"/>
                </a:cxn>
                <a:cxn ang="0">
                  <a:pos x="connsiteX10512" y="connsiteY10512"/>
                </a:cxn>
                <a:cxn ang="0">
                  <a:pos x="connsiteX10513" y="connsiteY10513"/>
                </a:cxn>
                <a:cxn ang="0">
                  <a:pos x="connsiteX10514" y="connsiteY10514"/>
                </a:cxn>
                <a:cxn ang="0">
                  <a:pos x="connsiteX10515" y="connsiteY10515"/>
                </a:cxn>
                <a:cxn ang="0">
                  <a:pos x="connsiteX10516" y="connsiteY10516"/>
                </a:cxn>
                <a:cxn ang="0">
                  <a:pos x="connsiteX10517" y="connsiteY10517"/>
                </a:cxn>
                <a:cxn ang="0">
                  <a:pos x="connsiteX10518" y="connsiteY10518"/>
                </a:cxn>
                <a:cxn ang="0">
                  <a:pos x="connsiteX10519" y="connsiteY10519"/>
                </a:cxn>
                <a:cxn ang="0">
                  <a:pos x="connsiteX10520" y="connsiteY10520"/>
                </a:cxn>
                <a:cxn ang="0">
                  <a:pos x="connsiteX10521" y="connsiteY10521"/>
                </a:cxn>
                <a:cxn ang="0">
                  <a:pos x="connsiteX10522" y="connsiteY10522"/>
                </a:cxn>
                <a:cxn ang="0">
                  <a:pos x="connsiteX10523" y="connsiteY10523"/>
                </a:cxn>
                <a:cxn ang="0">
                  <a:pos x="connsiteX10524" y="connsiteY10524"/>
                </a:cxn>
                <a:cxn ang="0">
                  <a:pos x="connsiteX10525" y="connsiteY10525"/>
                </a:cxn>
                <a:cxn ang="0">
                  <a:pos x="connsiteX10526" y="connsiteY10526"/>
                </a:cxn>
                <a:cxn ang="0">
                  <a:pos x="connsiteX10527" y="connsiteY10527"/>
                </a:cxn>
                <a:cxn ang="0">
                  <a:pos x="connsiteX10528" y="connsiteY10528"/>
                </a:cxn>
                <a:cxn ang="0">
                  <a:pos x="connsiteX10529" y="connsiteY10529"/>
                </a:cxn>
                <a:cxn ang="0">
                  <a:pos x="connsiteX10530" y="connsiteY10530"/>
                </a:cxn>
                <a:cxn ang="0">
                  <a:pos x="connsiteX10531" y="connsiteY10531"/>
                </a:cxn>
                <a:cxn ang="0">
                  <a:pos x="connsiteX10532" y="connsiteY10532"/>
                </a:cxn>
                <a:cxn ang="0">
                  <a:pos x="connsiteX10533" y="connsiteY10533"/>
                </a:cxn>
                <a:cxn ang="0">
                  <a:pos x="connsiteX10534" y="connsiteY10534"/>
                </a:cxn>
                <a:cxn ang="0">
                  <a:pos x="connsiteX10535" y="connsiteY10535"/>
                </a:cxn>
                <a:cxn ang="0">
                  <a:pos x="connsiteX10536" y="connsiteY10536"/>
                </a:cxn>
                <a:cxn ang="0">
                  <a:pos x="connsiteX10537" y="connsiteY10537"/>
                </a:cxn>
                <a:cxn ang="0">
                  <a:pos x="connsiteX10538" y="connsiteY10538"/>
                </a:cxn>
                <a:cxn ang="0">
                  <a:pos x="connsiteX10539" y="connsiteY10539"/>
                </a:cxn>
                <a:cxn ang="0">
                  <a:pos x="connsiteX10540" y="connsiteY10540"/>
                </a:cxn>
                <a:cxn ang="0">
                  <a:pos x="connsiteX10541" y="connsiteY10541"/>
                </a:cxn>
                <a:cxn ang="0">
                  <a:pos x="connsiteX10542" y="connsiteY10542"/>
                </a:cxn>
                <a:cxn ang="0">
                  <a:pos x="connsiteX10543" y="connsiteY10543"/>
                </a:cxn>
                <a:cxn ang="0">
                  <a:pos x="connsiteX10544" y="connsiteY10544"/>
                </a:cxn>
                <a:cxn ang="0">
                  <a:pos x="connsiteX10545" y="connsiteY10545"/>
                </a:cxn>
                <a:cxn ang="0">
                  <a:pos x="connsiteX10546" y="connsiteY10546"/>
                </a:cxn>
                <a:cxn ang="0">
                  <a:pos x="connsiteX10547" y="connsiteY10547"/>
                </a:cxn>
                <a:cxn ang="0">
                  <a:pos x="connsiteX10548" y="connsiteY10548"/>
                </a:cxn>
                <a:cxn ang="0">
                  <a:pos x="connsiteX10549" y="connsiteY10549"/>
                </a:cxn>
                <a:cxn ang="0">
                  <a:pos x="connsiteX10550" y="connsiteY10550"/>
                </a:cxn>
                <a:cxn ang="0">
                  <a:pos x="connsiteX10551" y="connsiteY10551"/>
                </a:cxn>
                <a:cxn ang="0">
                  <a:pos x="connsiteX10552" y="connsiteY10552"/>
                </a:cxn>
                <a:cxn ang="0">
                  <a:pos x="connsiteX10553" y="connsiteY10553"/>
                </a:cxn>
                <a:cxn ang="0">
                  <a:pos x="connsiteX10554" y="connsiteY10554"/>
                </a:cxn>
                <a:cxn ang="0">
                  <a:pos x="connsiteX10555" y="connsiteY10555"/>
                </a:cxn>
                <a:cxn ang="0">
                  <a:pos x="connsiteX10556" y="connsiteY10556"/>
                </a:cxn>
                <a:cxn ang="0">
                  <a:pos x="connsiteX10557" y="connsiteY10557"/>
                </a:cxn>
                <a:cxn ang="0">
                  <a:pos x="connsiteX10558" y="connsiteY10558"/>
                </a:cxn>
                <a:cxn ang="0">
                  <a:pos x="connsiteX10559" y="connsiteY10559"/>
                </a:cxn>
                <a:cxn ang="0">
                  <a:pos x="connsiteX10560" y="connsiteY10560"/>
                </a:cxn>
                <a:cxn ang="0">
                  <a:pos x="connsiteX10561" y="connsiteY10561"/>
                </a:cxn>
                <a:cxn ang="0">
                  <a:pos x="connsiteX10562" y="connsiteY10562"/>
                </a:cxn>
                <a:cxn ang="0">
                  <a:pos x="connsiteX10563" y="connsiteY10563"/>
                </a:cxn>
                <a:cxn ang="0">
                  <a:pos x="connsiteX10564" y="connsiteY10564"/>
                </a:cxn>
                <a:cxn ang="0">
                  <a:pos x="connsiteX10565" y="connsiteY10565"/>
                </a:cxn>
                <a:cxn ang="0">
                  <a:pos x="connsiteX10566" y="connsiteY10566"/>
                </a:cxn>
                <a:cxn ang="0">
                  <a:pos x="connsiteX10567" y="connsiteY10567"/>
                </a:cxn>
                <a:cxn ang="0">
                  <a:pos x="connsiteX10568" y="connsiteY10568"/>
                </a:cxn>
                <a:cxn ang="0">
                  <a:pos x="connsiteX10569" y="connsiteY10569"/>
                </a:cxn>
                <a:cxn ang="0">
                  <a:pos x="connsiteX10570" y="connsiteY10570"/>
                </a:cxn>
                <a:cxn ang="0">
                  <a:pos x="connsiteX10571" y="connsiteY10571"/>
                </a:cxn>
                <a:cxn ang="0">
                  <a:pos x="connsiteX10572" y="connsiteY10572"/>
                </a:cxn>
                <a:cxn ang="0">
                  <a:pos x="connsiteX10573" y="connsiteY10573"/>
                </a:cxn>
                <a:cxn ang="0">
                  <a:pos x="connsiteX10574" y="connsiteY10574"/>
                </a:cxn>
                <a:cxn ang="0">
                  <a:pos x="connsiteX10575" y="connsiteY10575"/>
                </a:cxn>
                <a:cxn ang="0">
                  <a:pos x="connsiteX10576" y="connsiteY10576"/>
                </a:cxn>
                <a:cxn ang="0">
                  <a:pos x="connsiteX10577" y="connsiteY10577"/>
                </a:cxn>
                <a:cxn ang="0">
                  <a:pos x="connsiteX10578" y="connsiteY10578"/>
                </a:cxn>
                <a:cxn ang="0">
                  <a:pos x="connsiteX10579" y="connsiteY10579"/>
                </a:cxn>
                <a:cxn ang="0">
                  <a:pos x="connsiteX10580" y="connsiteY10580"/>
                </a:cxn>
                <a:cxn ang="0">
                  <a:pos x="connsiteX10581" y="connsiteY10581"/>
                </a:cxn>
                <a:cxn ang="0">
                  <a:pos x="connsiteX10582" y="connsiteY10582"/>
                </a:cxn>
                <a:cxn ang="0">
                  <a:pos x="connsiteX10583" y="connsiteY10583"/>
                </a:cxn>
                <a:cxn ang="0">
                  <a:pos x="connsiteX10584" y="connsiteY10584"/>
                </a:cxn>
                <a:cxn ang="0">
                  <a:pos x="connsiteX10585" y="connsiteY10585"/>
                </a:cxn>
                <a:cxn ang="0">
                  <a:pos x="connsiteX10586" y="connsiteY10586"/>
                </a:cxn>
                <a:cxn ang="0">
                  <a:pos x="connsiteX10587" y="connsiteY10587"/>
                </a:cxn>
                <a:cxn ang="0">
                  <a:pos x="connsiteX10588" y="connsiteY10588"/>
                </a:cxn>
                <a:cxn ang="0">
                  <a:pos x="connsiteX10589" y="connsiteY10589"/>
                </a:cxn>
                <a:cxn ang="0">
                  <a:pos x="connsiteX10590" y="connsiteY10590"/>
                </a:cxn>
                <a:cxn ang="0">
                  <a:pos x="connsiteX10591" y="connsiteY10591"/>
                </a:cxn>
                <a:cxn ang="0">
                  <a:pos x="connsiteX10592" y="connsiteY10592"/>
                </a:cxn>
                <a:cxn ang="0">
                  <a:pos x="connsiteX10593" y="connsiteY10593"/>
                </a:cxn>
                <a:cxn ang="0">
                  <a:pos x="connsiteX10594" y="connsiteY10594"/>
                </a:cxn>
                <a:cxn ang="0">
                  <a:pos x="connsiteX10595" y="connsiteY10595"/>
                </a:cxn>
                <a:cxn ang="0">
                  <a:pos x="connsiteX10596" y="connsiteY10596"/>
                </a:cxn>
                <a:cxn ang="0">
                  <a:pos x="connsiteX10597" y="connsiteY10597"/>
                </a:cxn>
                <a:cxn ang="0">
                  <a:pos x="connsiteX10598" y="connsiteY10598"/>
                </a:cxn>
                <a:cxn ang="0">
                  <a:pos x="connsiteX10599" y="connsiteY10599"/>
                </a:cxn>
                <a:cxn ang="0">
                  <a:pos x="connsiteX10600" y="connsiteY10600"/>
                </a:cxn>
                <a:cxn ang="0">
                  <a:pos x="connsiteX10601" y="connsiteY10601"/>
                </a:cxn>
                <a:cxn ang="0">
                  <a:pos x="connsiteX10602" y="connsiteY10602"/>
                </a:cxn>
                <a:cxn ang="0">
                  <a:pos x="connsiteX10603" y="connsiteY10603"/>
                </a:cxn>
                <a:cxn ang="0">
                  <a:pos x="connsiteX10604" y="connsiteY10604"/>
                </a:cxn>
                <a:cxn ang="0">
                  <a:pos x="connsiteX10605" y="connsiteY10605"/>
                </a:cxn>
                <a:cxn ang="0">
                  <a:pos x="connsiteX10606" y="connsiteY10606"/>
                </a:cxn>
                <a:cxn ang="0">
                  <a:pos x="connsiteX10607" y="connsiteY10607"/>
                </a:cxn>
                <a:cxn ang="0">
                  <a:pos x="connsiteX10608" y="connsiteY10608"/>
                </a:cxn>
                <a:cxn ang="0">
                  <a:pos x="connsiteX10609" y="connsiteY10609"/>
                </a:cxn>
                <a:cxn ang="0">
                  <a:pos x="connsiteX10610" y="connsiteY10610"/>
                </a:cxn>
                <a:cxn ang="0">
                  <a:pos x="connsiteX10611" y="connsiteY10611"/>
                </a:cxn>
                <a:cxn ang="0">
                  <a:pos x="connsiteX10612" y="connsiteY10612"/>
                </a:cxn>
                <a:cxn ang="0">
                  <a:pos x="connsiteX10613" y="connsiteY10613"/>
                </a:cxn>
                <a:cxn ang="0">
                  <a:pos x="connsiteX10614" y="connsiteY10614"/>
                </a:cxn>
                <a:cxn ang="0">
                  <a:pos x="connsiteX10615" y="connsiteY10615"/>
                </a:cxn>
                <a:cxn ang="0">
                  <a:pos x="connsiteX10616" y="connsiteY10616"/>
                </a:cxn>
                <a:cxn ang="0">
                  <a:pos x="connsiteX10617" y="connsiteY10617"/>
                </a:cxn>
                <a:cxn ang="0">
                  <a:pos x="connsiteX10618" y="connsiteY10618"/>
                </a:cxn>
                <a:cxn ang="0">
                  <a:pos x="connsiteX10619" y="connsiteY10619"/>
                </a:cxn>
                <a:cxn ang="0">
                  <a:pos x="connsiteX10620" y="connsiteY10620"/>
                </a:cxn>
                <a:cxn ang="0">
                  <a:pos x="connsiteX10621" y="connsiteY10621"/>
                </a:cxn>
                <a:cxn ang="0">
                  <a:pos x="connsiteX10622" y="connsiteY10622"/>
                </a:cxn>
                <a:cxn ang="0">
                  <a:pos x="connsiteX10623" y="connsiteY10623"/>
                </a:cxn>
                <a:cxn ang="0">
                  <a:pos x="connsiteX10624" y="connsiteY10624"/>
                </a:cxn>
                <a:cxn ang="0">
                  <a:pos x="connsiteX10625" y="connsiteY10625"/>
                </a:cxn>
                <a:cxn ang="0">
                  <a:pos x="connsiteX10626" y="connsiteY10626"/>
                </a:cxn>
                <a:cxn ang="0">
                  <a:pos x="connsiteX10627" y="connsiteY10627"/>
                </a:cxn>
                <a:cxn ang="0">
                  <a:pos x="connsiteX10628" y="connsiteY10628"/>
                </a:cxn>
                <a:cxn ang="0">
                  <a:pos x="connsiteX10629" y="connsiteY10629"/>
                </a:cxn>
                <a:cxn ang="0">
                  <a:pos x="connsiteX10630" y="connsiteY10630"/>
                </a:cxn>
                <a:cxn ang="0">
                  <a:pos x="connsiteX10631" y="connsiteY10631"/>
                </a:cxn>
                <a:cxn ang="0">
                  <a:pos x="connsiteX10632" y="connsiteY10632"/>
                </a:cxn>
                <a:cxn ang="0">
                  <a:pos x="connsiteX10633" y="connsiteY10633"/>
                </a:cxn>
                <a:cxn ang="0">
                  <a:pos x="connsiteX10634" y="connsiteY10634"/>
                </a:cxn>
                <a:cxn ang="0">
                  <a:pos x="connsiteX10635" y="connsiteY10635"/>
                </a:cxn>
                <a:cxn ang="0">
                  <a:pos x="connsiteX10636" y="connsiteY10636"/>
                </a:cxn>
                <a:cxn ang="0">
                  <a:pos x="connsiteX10637" y="connsiteY10637"/>
                </a:cxn>
                <a:cxn ang="0">
                  <a:pos x="connsiteX10638" y="connsiteY10638"/>
                </a:cxn>
                <a:cxn ang="0">
                  <a:pos x="connsiteX10639" y="connsiteY10639"/>
                </a:cxn>
                <a:cxn ang="0">
                  <a:pos x="connsiteX10640" y="connsiteY10640"/>
                </a:cxn>
                <a:cxn ang="0">
                  <a:pos x="connsiteX10641" y="connsiteY10641"/>
                </a:cxn>
                <a:cxn ang="0">
                  <a:pos x="connsiteX10642" y="connsiteY10642"/>
                </a:cxn>
                <a:cxn ang="0">
                  <a:pos x="connsiteX10643" y="connsiteY10643"/>
                </a:cxn>
                <a:cxn ang="0">
                  <a:pos x="connsiteX10644" y="connsiteY10644"/>
                </a:cxn>
                <a:cxn ang="0">
                  <a:pos x="connsiteX10645" y="connsiteY10645"/>
                </a:cxn>
                <a:cxn ang="0">
                  <a:pos x="connsiteX10646" y="connsiteY10646"/>
                </a:cxn>
                <a:cxn ang="0">
                  <a:pos x="connsiteX10647" y="connsiteY10647"/>
                </a:cxn>
                <a:cxn ang="0">
                  <a:pos x="connsiteX10648" y="connsiteY10648"/>
                </a:cxn>
                <a:cxn ang="0">
                  <a:pos x="connsiteX10649" y="connsiteY10649"/>
                </a:cxn>
                <a:cxn ang="0">
                  <a:pos x="connsiteX10650" y="connsiteY10650"/>
                </a:cxn>
                <a:cxn ang="0">
                  <a:pos x="connsiteX10651" y="connsiteY10651"/>
                </a:cxn>
                <a:cxn ang="0">
                  <a:pos x="connsiteX10652" y="connsiteY10652"/>
                </a:cxn>
                <a:cxn ang="0">
                  <a:pos x="connsiteX10653" y="connsiteY10653"/>
                </a:cxn>
                <a:cxn ang="0">
                  <a:pos x="connsiteX10654" y="connsiteY10654"/>
                </a:cxn>
                <a:cxn ang="0">
                  <a:pos x="connsiteX10655" y="connsiteY10655"/>
                </a:cxn>
                <a:cxn ang="0">
                  <a:pos x="connsiteX10656" y="connsiteY10656"/>
                </a:cxn>
                <a:cxn ang="0">
                  <a:pos x="connsiteX10657" y="connsiteY10657"/>
                </a:cxn>
                <a:cxn ang="0">
                  <a:pos x="connsiteX10658" y="connsiteY10658"/>
                </a:cxn>
                <a:cxn ang="0">
                  <a:pos x="connsiteX10659" y="connsiteY10659"/>
                </a:cxn>
                <a:cxn ang="0">
                  <a:pos x="connsiteX10660" y="connsiteY10660"/>
                </a:cxn>
                <a:cxn ang="0">
                  <a:pos x="connsiteX10661" y="connsiteY10661"/>
                </a:cxn>
                <a:cxn ang="0">
                  <a:pos x="connsiteX10662" y="connsiteY10662"/>
                </a:cxn>
                <a:cxn ang="0">
                  <a:pos x="connsiteX10663" y="connsiteY10663"/>
                </a:cxn>
                <a:cxn ang="0">
                  <a:pos x="connsiteX10664" y="connsiteY10664"/>
                </a:cxn>
                <a:cxn ang="0">
                  <a:pos x="connsiteX10665" y="connsiteY10665"/>
                </a:cxn>
                <a:cxn ang="0">
                  <a:pos x="connsiteX10666" y="connsiteY10666"/>
                </a:cxn>
                <a:cxn ang="0">
                  <a:pos x="connsiteX10667" y="connsiteY10667"/>
                </a:cxn>
                <a:cxn ang="0">
                  <a:pos x="connsiteX10668" y="connsiteY10668"/>
                </a:cxn>
                <a:cxn ang="0">
                  <a:pos x="connsiteX10669" y="connsiteY10669"/>
                </a:cxn>
                <a:cxn ang="0">
                  <a:pos x="connsiteX10670" y="connsiteY10670"/>
                </a:cxn>
                <a:cxn ang="0">
                  <a:pos x="connsiteX10671" y="connsiteY10671"/>
                </a:cxn>
                <a:cxn ang="0">
                  <a:pos x="connsiteX10672" y="connsiteY10672"/>
                </a:cxn>
                <a:cxn ang="0">
                  <a:pos x="connsiteX10673" y="connsiteY10673"/>
                </a:cxn>
                <a:cxn ang="0">
                  <a:pos x="connsiteX10674" y="connsiteY10674"/>
                </a:cxn>
                <a:cxn ang="0">
                  <a:pos x="connsiteX10675" y="connsiteY10675"/>
                </a:cxn>
                <a:cxn ang="0">
                  <a:pos x="connsiteX10676" y="connsiteY10676"/>
                </a:cxn>
                <a:cxn ang="0">
                  <a:pos x="connsiteX10677" y="connsiteY10677"/>
                </a:cxn>
                <a:cxn ang="0">
                  <a:pos x="connsiteX10678" y="connsiteY10678"/>
                </a:cxn>
                <a:cxn ang="0">
                  <a:pos x="connsiteX10679" y="connsiteY10679"/>
                </a:cxn>
                <a:cxn ang="0">
                  <a:pos x="connsiteX10680" y="connsiteY10680"/>
                </a:cxn>
                <a:cxn ang="0">
                  <a:pos x="connsiteX10681" y="connsiteY10681"/>
                </a:cxn>
                <a:cxn ang="0">
                  <a:pos x="connsiteX10682" y="connsiteY10682"/>
                </a:cxn>
                <a:cxn ang="0">
                  <a:pos x="connsiteX10683" y="connsiteY10683"/>
                </a:cxn>
                <a:cxn ang="0">
                  <a:pos x="connsiteX10684" y="connsiteY10684"/>
                </a:cxn>
                <a:cxn ang="0">
                  <a:pos x="connsiteX10685" y="connsiteY10685"/>
                </a:cxn>
                <a:cxn ang="0">
                  <a:pos x="connsiteX10686" y="connsiteY10686"/>
                </a:cxn>
                <a:cxn ang="0">
                  <a:pos x="connsiteX10687" y="connsiteY10687"/>
                </a:cxn>
                <a:cxn ang="0">
                  <a:pos x="connsiteX10688" y="connsiteY10688"/>
                </a:cxn>
                <a:cxn ang="0">
                  <a:pos x="connsiteX10689" y="connsiteY10689"/>
                </a:cxn>
                <a:cxn ang="0">
                  <a:pos x="connsiteX10690" y="connsiteY10690"/>
                </a:cxn>
                <a:cxn ang="0">
                  <a:pos x="connsiteX10691" y="connsiteY10691"/>
                </a:cxn>
                <a:cxn ang="0">
                  <a:pos x="connsiteX10692" y="connsiteY10692"/>
                </a:cxn>
                <a:cxn ang="0">
                  <a:pos x="connsiteX10693" y="connsiteY10693"/>
                </a:cxn>
                <a:cxn ang="0">
                  <a:pos x="connsiteX10694" y="connsiteY10694"/>
                </a:cxn>
                <a:cxn ang="0">
                  <a:pos x="connsiteX10695" y="connsiteY10695"/>
                </a:cxn>
                <a:cxn ang="0">
                  <a:pos x="connsiteX10696" y="connsiteY10696"/>
                </a:cxn>
                <a:cxn ang="0">
                  <a:pos x="connsiteX10697" y="connsiteY10697"/>
                </a:cxn>
                <a:cxn ang="0">
                  <a:pos x="connsiteX10698" y="connsiteY10698"/>
                </a:cxn>
                <a:cxn ang="0">
                  <a:pos x="connsiteX10699" y="connsiteY10699"/>
                </a:cxn>
                <a:cxn ang="0">
                  <a:pos x="connsiteX10700" y="connsiteY10700"/>
                </a:cxn>
                <a:cxn ang="0">
                  <a:pos x="connsiteX10701" y="connsiteY10701"/>
                </a:cxn>
                <a:cxn ang="0">
                  <a:pos x="connsiteX10702" y="connsiteY10702"/>
                </a:cxn>
                <a:cxn ang="0">
                  <a:pos x="connsiteX10703" y="connsiteY10703"/>
                </a:cxn>
                <a:cxn ang="0">
                  <a:pos x="connsiteX10704" y="connsiteY10704"/>
                </a:cxn>
                <a:cxn ang="0">
                  <a:pos x="connsiteX10705" y="connsiteY10705"/>
                </a:cxn>
                <a:cxn ang="0">
                  <a:pos x="connsiteX10706" y="connsiteY10706"/>
                </a:cxn>
                <a:cxn ang="0">
                  <a:pos x="connsiteX10707" y="connsiteY10707"/>
                </a:cxn>
                <a:cxn ang="0">
                  <a:pos x="connsiteX10708" y="connsiteY10708"/>
                </a:cxn>
                <a:cxn ang="0">
                  <a:pos x="connsiteX10709" y="connsiteY10709"/>
                </a:cxn>
                <a:cxn ang="0">
                  <a:pos x="connsiteX10710" y="connsiteY10710"/>
                </a:cxn>
                <a:cxn ang="0">
                  <a:pos x="connsiteX10711" y="connsiteY10711"/>
                </a:cxn>
                <a:cxn ang="0">
                  <a:pos x="connsiteX10712" y="connsiteY10712"/>
                </a:cxn>
                <a:cxn ang="0">
                  <a:pos x="connsiteX10713" y="connsiteY10713"/>
                </a:cxn>
                <a:cxn ang="0">
                  <a:pos x="connsiteX10714" y="connsiteY10714"/>
                </a:cxn>
                <a:cxn ang="0">
                  <a:pos x="connsiteX10715" y="connsiteY10715"/>
                </a:cxn>
                <a:cxn ang="0">
                  <a:pos x="connsiteX10716" y="connsiteY10716"/>
                </a:cxn>
                <a:cxn ang="0">
                  <a:pos x="connsiteX10717" y="connsiteY10717"/>
                </a:cxn>
                <a:cxn ang="0">
                  <a:pos x="connsiteX10718" y="connsiteY10718"/>
                </a:cxn>
                <a:cxn ang="0">
                  <a:pos x="connsiteX10719" y="connsiteY10719"/>
                </a:cxn>
                <a:cxn ang="0">
                  <a:pos x="connsiteX10720" y="connsiteY10720"/>
                </a:cxn>
                <a:cxn ang="0">
                  <a:pos x="connsiteX10721" y="connsiteY10721"/>
                </a:cxn>
                <a:cxn ang="0">
                  <a:pos x="connsiteX10722" y="connsiteY10722"/>
                </a:cxn>
                <a:cxn ang="0">
                  <a:pos x="connsiteX10723" y="connsiteY10723"/>
                </a:cxn>
                <a:cxn ang="0">
                  <a:pos x="connsiteX10724" y="connsiteY10724"/>
                </a:cxn>
                <a:cxn ang="0">
                  <a:pos x="connsiteX10725" y="connsiteY10725"/>
                </a:cxn>
                <a:cxn ang="0">
                  <a:pos x="connsiteX10726" y="connsiteY10726"/>
                </a:cxn>
                <a:cxn ang="0">
                  <a:pos x="connsiteX10727" y="connsiteY10727"/>
                </a:cxn>
                <a:cxn ang="0">
                  <a:pos x="connsiteX10728" y="connsiteY10728"/>
                </a:cxn>
                <a:cxn ang="0">
                  <a:pos x="connsiteX10729" y="connsiteY10729"/>
                </a:cxn>
                <a:cxn ang="0">
                  <a:pos x="connsiteX10730" y="connsiteY10730"/>
                </a:cxn>
                <a:cxn ang="0">
                  <a:pos x="connsiteX10731" y="connsiteY10731"/>
                </a:cxn>
                <a:cxn ang="0">
                  <a:pos x="connsiteX10732" y="connsiteY10732"/>
                </a:cxn>
                <a:cxn ang="0">
                  <a:pos x="connsiteX10733" y="connsiteY10733"/>
                </a:cxn>
                <a:cxn ang="0">
                  <a:pos x="connsiteX10734" y="connsiteY10734"/>
                </a:cxn>
                <a:cxn ang="0">
                  <a:pos x="connsiteX10735" y="connsiteY10735"/>
                </a:cxn>
                <a:cxn ang="0">
                  <a:pos x="connsiteX10736" y="connsiteY10736"/>
                </a:cxn>
                <a:cxn ang="0">
                  <a:pos x="connsiteX10737" y="connsiteY10737"/>
                </a:cxn>
                <a:cxn ang="0">
                  <a:pos x="connsiteX10738" y="connsiteY10738"/>
                </a:cxn>
                <a:cxn ang="0">
                  <a:pos x="connsiteX10739" y="connsiteY10739"/>
                </a:cxn>
                <a:cxn ang="0">
                  <a:pos x="connsiteX10740" y="connsiteY10740"/>
                </a:cxn>
                <a:cxn ang="0">
                  <a:pos x="connsiteX10741" y="connsiteY10741"/>
                </a:cxn>
                <a:cxn ang="0">
                  <a:pos x="connsiteX10742" y="connsiteY10742"/>
                </a:cxn>
                <a:cxn ang="0">
                  <a:pos x="connsiteX10743" y="connsiteY10743"/>
                </a:cxn>
                <a:cxn ang="0">
                  <a:pos x="connsiteX10744" y="connsiteY10744"/>
                </a:cxn>
                <a:cxn ang="0">
                  <a:pos x="connsiteX10745" y="connsiteY10745"/>
                </a:cxn>
                <a:cxn ang="0">
                  <a:pos x="connsiteX10746" y="connsiteY10746"/>
                </a:cxn>
                <a:cxn ang="0">
                  <a:pos x="connsiteX10747" y="connsiteY10747"/>
                </a:cxn>
                <a:cxn ang="0">
                  <a:pos x="connsiteX10748" y="connsiteY10748"/>
                </a:cxn>
                <a:cxn ang="0">
                  <a:pos x="connsiteX10749" y="connsiteY10749"/>
                </a:cxn>
                <a:cxn ang="0">
                  <a:pos x="connsiteX10750" y="connsiteY10750"/>
                </a:cxn>
                <a:cxn ang="0">
                  <a:pos x="connsiteX10751" y="connsiteY10751"/>
                </a:cxn>
                <a:cxn ang="0">
                  <a:pos x="connsiteX10752" y="connsiteY10752"/>
                </a:cxn>
                <a:cxn ang="0">
                  <a:pos x="connsiteX10753" y="connsiteY10753"/>
                </a:cxn>
                <a:cxn ang="0">
                  <a:pos x="connsiteX10754" y="connsiteY10754"/>
                </a:cxn>
                <a:cxn ang="0">
                  <a:pos x="connsiteX10755" y="connsiteY10755"/>
                </a:cxn>
                <a:cxn ang="0">
                  <a:pos x="connsiteX10756" y="connsiteY10756"/>
                </a:cxn>
                <a:cxn ang="0">
                  <a:pos x="connsiteX10757" y="connsiteY10757"/>
                </a:cxn>
                <a:cxn ang="0">
                  <a:pos x="connsiteX10758" y="connsiteY10758"/>
                </a:cxn>
                <a:cxn ang="0">
                  <a:pos x="connsiteX10759" y="connsiteY10759"/>
                </a:cxn>
                <a:cxn ang="0">
                  <a:pos x="connsiteX10760" y="connsiteY10760"/>
                </a:cxn>
                <a:cxn ang="0">
                  <a:pos x="connsiteX10761" y="connsiteY10761"/>
                </a:cxn>
                <a:cxn ang="0">
                  <a:pos x="connsiteX10762" y="connsiteY10762"/>
                </a:cxn>
                <a:cxn ang="0">
                  <a:pos x="connsiteX10763" y="connsiteY10763"/>
                </a:cxn>
                <a:cxn ang="0">
                  <a:pos x="connsiteX10764" y="connsiteY10764"/>
                </a:cxn>
                <a:cxn ang="0">
                  <a:pos x="connsiteX10765" y="connsiteY10765"/>
                </a:cxn>
                <a:cxn ang="0">
                  <a:pos x="connsiteX10766" y="connsiteY10766"/>
                </a:cxn>
                <a:cxn ang="0">
                  <a:pos x="connsiteX10767" y="connsiteY10767"/>
                </a:cxn>
                <a:cxn ang="0">
                  <a:pos x="connsiteX10768" y="connsiteY10768"/>
                </a:cxn>
                <a:cxn ang="0">
                  <a:pos x="connsiteX10769" y="connsiteY10769"/>
                </a:cxn>
                <a:cxn ang="0">
                  <a:pos x="connsiteX10770" y="connsiteY10770"/>
                </a:cxn>
                <a:cxn ang="0">
                  <a:pos x="connsiteX10771" y="connsiteY10771"/>
                </a:cxn>
                <a:cxn ang="0">
                  <a:pos x="connsiteX10772" y="connsiteY10772"/>
                </a:cxn>
                <a:cxn ang="0">
                  <a:pos x="connsiteX10773" y="connsiteY10773"/>
                </a:cxn>
                <a:cxn ang="0">
                  <a:pos x="connsiteX10774" y="connsiteY10774"/>
                </a:cxn>
                <a:cxn ang="0">
                  <a:pos x="connsiteX10775" y="connsiteY10775"/>
                </a:cxn>
                <a:cxn ang="0">
                  <a:pos x="connsiteX10776" y="connsiteY10776"/>
                </a:cxn>
                <a:cxn ang="0">
                  <a:pos x="connsiteX10777" y="connsiteY10777"/>
                </a:cxn>
                <a:cxn ang="0">
                  <a:pos x="connsiteX10778" y="connsiteY10778"/>
                </a:cxn>
                <a:cxn ang="0">
                  <a:pos x="connsiteX10779" y="connsiteY10779"/>
                </a:cxn>
                <a:cxn ang="0">
                  <a:pos x="connsiteX10780" y="connsiteY10780"/>
                </a:cxn>
                <a:cxn ang="0">
                  <a:pos x="connsiteX10781" y="connsiteY10781"/>
                </a:cxn>
                <a:cxn ang="0">
                  <a:pos x="connsiteX10782" y="connsiteY10782"/>
                </a:cxn>
                <a:cxn ang="0">
                  <a:pos x="connsiteX10783" y="connsiteY10783"/>
                </a:cxn>
                <a:cxn ang="0">
                  <a:pos x="connsiteX10784" y="connsiteY10784"/>
                </a:cxn>
                <a:cxn ang="0">
                  <a:pos x="connsiteX10785" y="connsiteY10785"/>
                </a:cxn>
                <a:cxn ang="0">
                  <a:pos x="connsiteX10786" y="connsiteY10786"/>
                </a:cxn>
                <a:cxn ang="0">
                  <a:pos x="connsiteX10787" y="connsiteY10787"/>
                </a:cxn>
                <a:cxn ang="0">
                  <a:pos x="connsiteX10788" y="connsiteY10788"/>
                </a:cxn>
                <a:cxn ang="0">
                  <a:pos x="connsiteX10789" y="connsiteY10789"/>
                </a:cxn>
                <a:cxn ang="0">
                  <a:pos x="connsiteX10790" y="connsiteY10790"/>
                </a:cxn>
                <a:cxn ang="0">
                  <a:pos x="connsiteX10791" y="connsiteY10791"/>
                </a:cxn>
                <a:cxn ang="0">
                  <a:pos x="connsiteX10792" y="connsiteY10792"/>
                </a:cxn>
                <a:cxn ang="0">
                  <a:pos x="connsiteX10793" y="connsiteY10793"/>
                </a:cxn>
                <a:cxn ang="0">
                  <a:pos x="connsiteX10794" y="connsiteY10794"/>
                </a:cxn>
                <a:cxn ang="0">
                  <a:pos x="connsiteX10795" y="connsiteY10795"/>
                </a:cxn>
                <a:cxn ang="0">
                  <a:pos x="connsiteX10796" y="connsiteY10796"/>
                </a:cxn>
                <a:cxn ang="0">
                  <a:pos x="connsiteX10797" y="connsiteY10797"/>
                </a:cxn>
                <a:cxn ang="0">
                  <a:pos x="connsiteX10798" y="connsiteY10798"/>
                </a:cxn>
                <a:cxn ang="0">
                  <a:pos x="connsiteX10799" y="connsiteY10799"/>
                </a:cxn>
                <a:cxn ang="0">
                  <a:pos x="connsiteX10800" y="connsiteY10800"/>
                </a:cxn>
                <a:cxn ang="0">
                  <a:pos x="connsiteX10801" y="connsiteY10801"/>
                </a:cxn>
                <a:cxn ang="0">
                  <a:pos x="connsiteX10802" y="connsiteY10802"/>
                </a:cxn>
                <a:cxn ang="0">
                  <a:pos x="connsiteX10803" y="connsiteY10803"/>
                </a:cxn>
                <a:cxn ang="0">
                  <a:pos x="connsiteX10804" y="connsiteY10804"/>
                </a:cxn>
                <a:cxn ang="0">
                  <a:pos x="connsiteX10805" y="connsiteY10805"/>
                </a:cxn>
                <a:cxn ang="0">
                  <a:pos x="connsiteX10806" y="connsiteY10806"/>
                </a:cxn>
                <a:cxn ang="0">
                  <a:pos x="connsiteX10807" y="connsiteY10807"/>
                </a:cxn>
                <a:cxn ang="0">
                  <a:pos x="connsiteX10808" y="connsiteY10808"/>
                </a:cxn>
                <a:cxn ang="0">
                  <a:pos x="connsiteX10809" y="connsiteY10809"/>
                </a:cxn>
                <a:cxn ang="0">
                  <a:pos x="connsiteX10810" y="connsiteY10810"/>
                </a:cxn>
                <a:cxn ang="0">
                  <a:pos x="connsiteX10811" y="connsiteY10811"/>
                </a:cxn>
                <a:cxn ang="0">
                  <a:pos x="connsiteX10812" y="connsiteY10812"/>
                </a:cxn>
                <a:cxn ang="0">
                  <a:pos x="connsiteX10813" y="connsiteY10813"/>
                </a:cxn>
                <a:cxn ang="0">
                  <a:pos x="connsiteX10814" y="connsiteY10814"/>
                </a:cxn>
                <a:cxn ang="0">
                  <a:pos x="connsiteX10815" y="connsiteY10815"/>
                </a:cxn>
                <a:cxn ang="0">
                  <a:pos x="connsiteX10816" y="connsiteY10816"/>
                </a:cxn>
                <a:cxn ang="0">
                  <a:pos x="connsiteX10817" y="connsiteY10817"/>
                </a:cxn>
                <a:cxn ang="0">
                  <a:pos x="connsiteX10818" y="connsiteY10818"/>
                </a:cxn>
                <a:cxn ang="0">
                  <a:pos x="connsiteX10819" y="connsiteY10819"/>
                </a:cxn>
                <a:cxn ang="0">
                  <a:pos x="connsiteX10820" y="connsiteY10820"/>
                </a:cxn>
                <a:cxn ang="0">
                  <a:pos x="connsiteX10821" y="connsiteY10821"/>
                </a:cxn>
                <a:cxn ang="0">
                  <a:pos x="connsiteX10822" y="connsiteY10822"/>
                </a:cxn>
                <a:cxn ang="0">
                  <a:pos x="connsiteX10823" y="connsiteY10823"/>
                </a:cxn>
                <a:cxn ang="0">
                  <a:pos x="connsiteX10824" y="connsiteY10824"/>
                </a:cxn>
                <a:cxn ang="0">
                  <a:pos x="connsiteX10825" y="connsiteY10825"/>
                </a:cxn>
                <a:cxn ang="0">
                  <a:pos x="connsiteX10826" y="connsiteY10826"/>
                </a:cxn>
                <a:cxn ang="0">
                  <a:pos x="connsiteX10827" y="connsiteY10827"/>
                </a:cxn>
                <a:cxn ang="0">
                  <a:pos x="connsiteX10828" y="connsiteY10828"/>
                </a:cxn>
                <a:cxn ang="0">
                  <a:pos x="connsiteX10829" y="connsiteY10829"/>
                </a:cxn>
                <a:cxn ang="0">
                  <a:pos x="connsiteX10830" y="connsiteY10830"/>
                </a:cxn>
                <a:cxn ang="0">
                  <a:pos x="connsiteX10831" y="connsiteY10831"/>
                </a:cxn>
                <a:cxn ang="0">
                  <a:pos x="connsiteX10832" y="connsiteY10832"/>
                </a:cxn>
                <a:cxn ang="0">
                  <a:pos x="connsiteX10833" y="connsiteY10833"/>
                </a:cxn>
                <a:cxn ang="0">
                  <a:pos x="connsiteX10834" y="connsiteY10834"/>
                </a:cxn>
                <a:cxn ang="0">
                  <a:pos x="connsiteX10835" y="connsiteY10835"/>
                </a:cxn>
                <a:cxn ang="0">
                  <a:pos x="connsiteX10836" y="connsiteY10836"/>
                </a:cxn>
                <a:cxn ang="0">
                  <a:pos x="connsiteX10837" y="connsiteY10837"/>
                </a:cxn>
                <a:cxn ang="0">
                  <a:pos x="connsiteX10838" y="connsiteY10838"/>
                </a:cxn>
                <a:cxn ang="0">
                  <a:pos x="connsiteX10839" y="connsiteY10839"/>
                </a:cxn>
                <a:cxn ang="0">
                  <a:pos x="connsiteX10840" y="connsiteY10840"/>
                </a:cxn>
                <a:cxn ang="0">
                  <a:pos x="connsiteX10841" y="connsiteY10841"/>
                </a:cxn>
                <a:cxn ang="0">
                  <a:pos x="connsiteX10842" y="connsiteY10842"/>
                </a:cxn>
                <a:cxn ang="0">
                  <a:pos x="connsiteX10843" y="connsiteY10843"/>
                </a:cxn>
                <a:cxn ang="0">
                  <a:pos x="connsiteX10844" y="connsiteY10844"/>
                </a:cxn>
                <a:cxn ang="0">
                  <a:pos x="connsiteX10845" y="connsiteY10845"/>
                </a:cxn>
                <a:cxn ang="0">
                  <a:pos x="connsiteX10846" y="connsiteY10846"/>
                </a:cxn>
                <a:cxn ang="0">
                  <a:pos x="connsiteX10847" y="connsiteY10847"/>
                </a:cxn>
                <a:cxn ang="0">
                  <a:pos x="connsiteX10848" y="connsiteY10848"/>
                </a:cxn>
                <a:cxn ang="0">
                  <a:pos x="connsiteX10849" y="connsiteY10849"/>
                </a:cxn>
                <a:cxn ang="0">
                  <a:pos x="connsiteX10850" y="connsiteY10850"/>
                </a:cxn>
                <a:cxn ang="0">
                  <a:pos x="connsiteX10851" y="connsiteY10851"/>
                </a:cxn>
                <a:cxn ang="0">
                  <a:pos x="connsiteX10852" y="connsiteY10852"/>
                </a:cxn>
                <a:cxn ang="0">
                  <a:pos x="connsiteX10853" y="connsiteY10853"/>
                </a:cxn>
                <a:cxn ang="0">
                  <a:pos x="connsiteX10854" y="connsiteY10854"/>
                </a:cxn>
                <a:cxn ang="0">
                  <a:pos x="connsiteX10855" y="connsiteY10855"/>
                </a:cxn>
                <a:cxn ang="0">
                  <a:pos x="connsiteX10856" y="connsiteY10856"/>
                </a:cxn>
                <a:cxn ang="0">
                  <a:pos x="connsiteX10857" y="connsiteY10857"/>
                </a:cxn>
                <a:cxn ang="0">
                  <a:pos x="connsiteX10858" y="connsiteY10858"/>
                </a:cxn>
                <a:cxn ang="0">
                  <a:pos x="connsiteX10859" y="connsiteY10859"/>
                </a:cxn>
                <a:cxn ang="0">
                  <a:pos x="connsiteX10860" y="connsiteY10860"/>
                </a:cxn>
                <a:cxn ang="0">
                  <a:pos x="connsiteX10861" y="connsiteY10861"/>
                </a:cxn>
                <a:cxn ang="0">
                  <a:pos x="connsiteX10862" y="connsiteY10862"/>
                </a:cxn>
                <a:cxn ang="0">
                  <a:pos x="connsiteX10863" y="connsiteY10863"/>
                </a:cxn>
                <a:cxn ang="0">
                  <a:pos x="connsiteX10864" y="connsiteY10864"/>
                </a:cxn>
                <a:cxn ang="0">
                  <a:pos x="connsiteX10865" y="connsiteY10865"/>
                </a:cxn>
                <a:cxn ang="0">
                  <a:pos x="connsiteX10866" y="connsiteY10866"/>
                </a:cxn>
                <a:cxn ang="0">
                  <a:pos x="connsiteX10867" y="connsiteY10867"/>
                </a:cxn>
                <a:cxn ang="0">
                  <a:pos x="connsiteX10868" y="connsiteY10868"/>
                </a:cxn>
                <a:cxn ang="0">
                  <a:pos x="connsiteX10869" y="connsiteY10869"/>
                </a:cxn>
                <a:cxn ang="0">
                  <a:pos x="connsiteX10870" y="connsiteY10870"/>
                </a:cxn>
                <a:cxn ang="0">
                  <a:pos x="connsiteX10871" y="connsiteY10871"/>
                </a:cxn>
                <a:cxn ang="0">
                  <a:pos x="connsiteX10872" y="connsiteY10872"/>
                </a:cxn>
                <a:cxn ang="0">
                  <a:pos x="connsiteX10873" y="connsiteY10873"/>
                </a:cxn>
                <a:cxn ang="0">
                  <a:pos x="connsiteX10874" y="connsiteY10874"/>
                </a:cxn>
                <a:cxn ang="0">
                  <a:pos x="connsiteX10875" y="connsiteY10875"/>
                </a:cxn>
                <a:cxn ang="0">
                  <a:pos x="connsiteX10876" y="connsiteY10876"/>
                </a:cxn>
                <a:cxn ang="0">
                  <a:pos x="connsiteX10877" y="connsiteY10877"/>
                </a:cxn>
                <a:cxn ang="0">
                  <a:pos x="connsiteX10878" y="connsiteY10878"/>
                </a:cxn>
                <a:cxn ang="0">
                  <a:pos x="connsiteX10879" y="connsiteY10879"/>
                </a:cxn>
                <a:cxn ang="0">
                  <a:pos x="connsiteX10880" y="connsiteY10880"/>
                </a:cxn>
                <a:cxn ang="0">
                  <a:pos x="connsiteX10881" y="connsiteY10881"/>
                </a:cxn>
                <a:cxn ang="0">
                  <a:pos x="connsiteX10882" y="connsiteY10882"/>
                </a:cxn>
                <a:cxn ang="0">
                  <a:pos x="connsiteX10883" y="connsiteY10883"/>
                </a:cxn>
                <a:cxn ang="0">
                  <a:pos x="connsiteX10884" y="connsiteY10884"/>
                </a:cxn>
                <a:cxn ang="0">
                  <a:pos x="connsiteX10885" y="connsiteY10885"/>
                </a:cxn>
                <a:cxn ang="0">
                  <a:pos x="connsiteX10886" y="connsiteY10886"/>
                </a:cxn>
                <a:cxn ang="0">
                  <a:pos x="connsiteX10887" y="connsiteY10887"/>
                </a:cxn>
                <a:cxn ang="0">
                  <a:pos x="connsiteX10888" y="connsiteY10888"/>
                </a:cxn>
                <a:cxn ang="0">
                  <a:pos x="connsiteX10889" y="connsiteY10889"/>
                </a:cxn>
                <a:cxn ang="0">
                  <a:pos x="connsiteX10890" y="connsiteY10890"/>
                </a:cxn>
                <a:cxn ang="0">
                  <a:pos x="connsiteX10891" y="connsiteY10891"/>
                </a:cxn>
                <a:cxn ang="0">
                  <a:pos x="connsiteX10892" y="connsiteY10892"/>
                </a:cxn>
                <a:cxn ang="0">
                  <a:pos x="connsiteX10893" y="connsiteY10893"/>
                </a:cxn>
                <a:cxn ang="0">
                  <a:pos x="connsiteX10894" y="connsiteY10894"/>
                </a:cxn>
                <a:cxn ang="0">
                  <a:pos x="connsiteX10895" y="connsiteY10895"/>
                </a:cxn>
                <a:cxn ang="0">
                  <a:pos x="connsiteX10896" y="connsiteY10896"/>
                </a:cxn>
                <a:cxn ang="0">
                  <a:pos x="connsiteX10897" y="connsiteY10897"/>
                </a:cxn>
                <a:cxn ang="0">
                  <a:pos x="connsiteX10898" y="connsiteY10898"/>
                </a:cxn>
                <a:cxn ang="0">
                  <a:pos x="connsiteX10899" y="connsiteY10899"/>
                </a:cxn>
                <a:cxn ang="0">
                  <a:pos x="connsiteX10900" y="connsiteY10900"/>
                </a:cxn>
                <a:cxn ang="0">
                  <a:pos x="connsiteX10901" y="connsiteY10901"/>
                </a:cxn>
                <a:cxn ang="0">
                  <a:pos x="connsiteX10902" y="connsiteY10902"/>
                </a:cxn>
                <a:cxn ang="0">
                  <a:pos x="connsiteX10903" y="connsiteY10903"/>
                </a:cxn>
                <a:cxn ang="0">
                  <a:pos x="connsiteX10904" y="connsiteY10904"/>
                </a:cxn>
                <a:cxn ang="0">
                  <a:pos x="connsiteX10905" y="connsiteY10905"/>
                </a:cxn>
                <a:cxn ang="0">
                  <a:pos x="connsiteX10906" y="connsiteY10906"/>
                </a:cxn>
                <a:cxn ang="0">
                  <a:pos x="connsiteX10907" y="connsiteY10907"/>
                </a:cxn>
                <a:cxn ang="0">
                  <a:pos x="connsiteX10908" y="connsiteY10908"/>
                </a:cxn>
                <a:cxn ang="0">
                  <a:pos x="connsiteX10909" y="connsiteY10909"/>
                </a:cxn>
                <a:cxn ang="0">
                  <a:pos x="connsiteX10910" y="connsiteY10910"/>
                </a:cxn>
                <a:cxn ang="0">
                  <a:pos x="connsiteX10911" y="connsiteY10911"/>
                </a:cxn>
                <a:cxn ang="0">
                  <a:pos x="connsiteX10912" y="connsiteY10912"/>
                </a:cxn>
                <a:cxn ang="0">
                  <a:pos x="connsiteX10913" y="connsiteY10913"/>
                </a:cxn>
                <a:cxn ang="0">
                  <a:pos x="connsiteX10914" y="connsiteY10914"/>
                </a:cxn>
                <a:cxn ang="0">
                  <a:pos x="connsiteX10915" y="connsiteY10915"/>
                </a:cxn>
                <a:cxn ang="0">
                  <a:pos x="connsiteX10916" y="connsiteY10916"/>
                </a:cxn>
                <a:cxn ang="0">
                  <a:pos x="connsiteX10917" y="connsiteY10917"/>
                </a:cxn>
                <a:cxn ang="0">
                  <a:pos x="connsiteX10918" y="connsiteY10918"/>
                </a:cxn>
                <a:cxn ang="0">
                  <a:pos x="connsiteX10919" y="connsiteY10919"/>
                </a:cxn>
                <a:cxn ang="0">
                  <a:pos x="connsiteX10920" y="connsiteY10920"/>
                </a:cxn>
                <a:cxn ang="0">
                  <a:pos x="connsiteX10921" y="connsiteY10921"/>
                </a:cxn>
                <a:cxn ang="0">
                  <a:pos x="connsiteX10922" y="connsiteY10922"/>
                </a:cxn>
                <a:cxn ang="0">
                  <a:pos x="connsiteX10923" y="connsiteY10923"/>
                </a:cxn>
                <a:cxn ang="0">
                  <a:pos x="connsiteX10924" y="connsiteY10924"/>
                </a:cxn>
                <a:cxn ang="0">
                  <a:pos x="connsiteX10925" y="connsiteY10925"/>
                </a:cxn>
                <a:cxn ang="0">
                  <a:pos x="connsiteX10926" y="connsiteY10926"/>
                </a:cxn>
                <a:cxn ang="0">
                  <a:pos x="connsiteX10927" y="connsiteY10927"/>
                </a:cxn>
                <a:cxn ang="0">
                  <a:pos x="connsiteX10928" y="connsiteY10928"/>
                </a:cxn>
                <a:cxn ang="0">
                  <a:pos x="connsiteX10929" y="connsiteY10929"/>
                </a:cxn>
                <a:cxn ang="0">
                  <a:pos x="connsiteX10930" y="connsiteY10930"/>
                </a:cxn>
                <a:cxn ang="0">
                  <a:pos x="connsiteX10931" y="connsiteY10931"/>
                </a:cxn>
                <a:cxn ang="0">
                  <a:pos x="connsiteX10932" y="connsiteY10932"/>
                </a:cxn>
                <a:cxn ang="0">
                  <a:pos x="connsiteX10933" y="connsiteY10933"/>
                </a:cxn>
                <a:cxn ang="0">
                  <a:pos x="connsiteX10934" y="connsiteY10934"/>
                </a:cxn>
                <a:cxn ang="0">
                  <a:pos x="connsiteX10935" y="connsiteY10935"/>
                </a:cxn>
                <a:cxn ang="0">
                  <a:pos x="connsiteX10936" y="connsiteY10936"/>
                </a:cxn>
                <a:cxn ang="0">
                  <a:pos x="connsiteX10937" y="connsiteY10937"/>
                </a:cxn>
                <a:cxn ang="0">
                  <a:pos x="connsiteX10938" y="connsiteY10938"/>
                </a:cxn>
                <a:cxn ang="0">
                  <a:pos x="connsiteX10939" y="connsiteY10939"/>
                </a:cxn>
                <a:cxn ang="0">
                  <a:pos x="connsiteX10940" y="connsiteY10940"/>
                </a:cxn>
                <a:cxn ang="0">
                  <a:pos x="connsiteX10941" y="connsiteY10941"/>
                </a:cxn>
                <a:cxn ang="0">
                  <a:pos x="connsiteX10942" y="connsiteY10942"/>
                </a:cxn>
                <a:cxn ang="0">
                  <a:pos x="connsiteX10943" y="connsiteY10943"/>
                </a:cxn>
                <a:cxn ang="0">
                  <a:pos x="connsiteX10944" y="connsiteY10944"/>
                </a:cxn>
                <a:cxn ang="0">
                  <a:pos x="connsiteX10945" y="connsiteY10945"/>
                </a:cxn>
                <a:cxn ang="0">
                  <a:pos x="connsiteX10946" y="connsiteY10946"/>
                </a:cxn>
                <a:cxn ang="0">
                  <a:pos x="connsiteX10947" y="connsiteY10947"/>
                </a:cxn>
                <a:cxn ang="0">
                  <a:pos x="connsiteX10948" y="connsiteY10948"/>
                </a:cxn>
                <a:cxn ang="0">
                  <a:pos x="connsiteX10949" y="connsiteY10949"/>
                </a:cxn>
                <a:cxn ang="0">
                  <a:pos x="connsiteX10950" y="connsiteY10950"/>
                </a:cxn>
                <a:cxn ang="0">
                  <a:pos x="connsiteX10951" y="connsiteY10951"/>
                </a:cxn>
                <a:cxn ang="0">
                  <a:pos x="connsiteX10952" y="connsiteY10952"/>
                </a:cxn>
                <a:cxn ang="0">
                  <a:pos x="connsiteX10953" y="connsiteY10953"/>
                </a:cxn>
                <a:cxn ang="0">
                  <a:pos x="connsiteX10954" y="connsiteY10954"/>
                </a:cxn>
                <a:cxn ang="0">
                  <a:pos x="connsiteX10955" y="connsiteY10955"/>
                </a:cxn>
                <a:cxn ang="0">
                  <a:pos x="connsiteX10956" y="connsiteY10956"/>
                </a:cxn>
                <a:cxn ang="0">
                  <a:pos x="connsiteX10957" y="connsiteY10957"/>
                </a:cxn>
                <a:cxn ang="0">
                  <a:pos x="connsiteX10958" y="connsiteY10958"/>
                </a:cxn>
                <a:cxn ang="0">
                  <a:pos x="connsiteX10959" y="connsiteY10959"/>
                </a:cxn>
                <a:cxn ang="0">
                  <a:pos x="connsiteX10960" y="connsiteY10960"/>
                </a:cxn>
                <a:cxn ang="0">
                  <a:pos x="connsiteX10961" y="connsiteY10961"/>
                </a:cxn>
                <a:cxn ang="0">
                  <a:pos x="connsiteX10962" y="connsiteY10962"/>
                </a:cxn>
                <a:cxn ang="0">
                  <a:pos x="connsiteX10963" y="connsiteY10963"/>
                </a:cxn>
                <a:cxn ang="0">
                  <a:pos x="connsiteX10964" y="connsiteY10964"/>
                </a:cxn>
                <a:cxn ang="0">
                  <a:pos x="connsiteX10965" y="connsiteY10965"/>
                </a:cxn>
                <a:cxn ang="0">
                  <a:pos x="connsiteX10966" y="connsiteY10966"/>
                </a:cxn>
                <a:cxn ang="0">
                  <a:pos x="connsiteX10967" y="connsiteY10967"/>
                </a:cxn>
                <a:cxn ang="0">
                  <a:pos x="connsiteX10968" y="connsiteY10968"/>
                </a:cxn>
                <a:cxn ang="0">
                  <a:pos x="connsiteX10969" y="connsiteY10969"/>
                </a:cxn>
                <a:cxn ang="0">
                  <a:pos x="connsiteX10970" y="connsiteY10970"/>
                </a:cxn>
                <a:cxn ang="0">
                  <a:pos x="connsiteX10971" y="connsiteY10971"/>
                </a:cxn>
                <a:cxn ang="0">
                  <a:pos x="connsiteX10972" y="connsiteY10972"/>
                </a:cxn>
                <a:cxn ang="0">
                  <a:pos x="connsiteX10973" y="connsiteY10973"/>
                </a:cxn>
                <a:cxn ang="0">
                  <a:pos x="connsiteX10974" y="connsiteY10974"/>
                </a:cxn>
                <a:cxn ang="0">
                  <a:pos x="connsiteX10975" y="connsiteY10975"/>
                </a:cxn>
                <a:cxn ang="0">
                  <a:pos x="connsiteX10976" y="connsiteY10976"/>
                </a:cxn>
                <a:cxn ang="0">
                  <a:pos x="connsiteX10977" y="connsiteY10977"/>
                </a:cxn>
                <a:cxn ang="0">
                  <a:pos x="connsiteX10978" y="connsiteY10978"/>
                </a:cxn>
                <a:cxn ang="0">
                  <a:pos x="connsiteX10979" y="connsiteY10979"/>
                </a:cxn>
                <a:cxn ang="0">
                  <a:pos x="connsiteX10980" y="connsiteY10980"/>
                </a:cxn>
                <a:cxn ang="0">
                  <a:pos x="connsiteX10981" y="connsiteY10981"/>
                </a:cxn>
                <a:cxn ang="0">
                  <a:pos x="connsiteX10982" y="connsiteY10982"/>
                </a:cxn>
                <a:cxn ang="0">
                  <a:pos x="connsiteX10983" y="connsiteY10983"/>
                </a:cxn>
                <a:cxn ang="0">
                  <a:pos x="connsiteX10984" y="connsiteY10984"/>
                </a:cxn>
                <a:cxn ang="0">
                  <a:pos x="connsiteX10985" y="connsiteY10985"/>
                </a:cxn>
                <a:cxn ang="0">
                  <a:pos x="connsiteX10986" y="connsiteY10986"/>
                </a:cxn>
                <a:cxn ang="0">
                  <a:pos x="connsiteX10987" y="connsiteY10987"/>
                </a:cxn>
                <a:cxn ang="0">
                  <a:pos x="connsiteX10988" y="connsiteY10988"/>
                </a:cxn>
                <a:cxn ang="0">
                  <a:pos x="connsiteX10989" y="connsiteY10989"/>
                </a:cxn>
                <a:cxn ang="0">
                  <a:pos x="connsiteX10990" y="connsiteY10990"/>
                </a:cxn>
                <a:cxn ang="0">
                  <a:pos x="connsiteX10991" y="connsiteY10991"/>
                </a:cxn>
                <a:cxn ang="0">
                  <a:pos x="connsiteX10992" y="connsiteY10992"/>
                </a:cxn>
                <a:cxn ang="0">
                  <a:pos x="connsiteX10993" y="connsiteY10993"/>
                </a:cxn>
                <a:cxn ang="0">
                  <a:pos x="connsiteX10994" y="connsiteY10994"/>
                </a:cxn>
                <a:cxn ang="0">
                  <a:pos x="connsiteX10995" y="connsiteY10995"/>
                </a:cxn>
                <a:cxn ang="0">
                  <a:pos x="connsiteX10996" y="connsiteY10996"/>
                </a:cxn>
                <a:cxn ang="0">
                  <a:pos x="connsiteX10997" y="connsiteY10997"/>
                </a:cxn>
                <a:cxn ang="0">
                  <a:pos x="connsiteX10998" y="connsiteY10998"/>
                </a:cxn>
                <a:cxn ang="0">
                  <a:pos x="connsiteX10999" y="connsiteY10999"/>
                </a:cxn>
                <a:cxn ang="0">
                  <a:pos x="connsiteX11000" y="connsiteY11000"/>
                </a:cxn>
                <a:cxn ang="0">
                  <a:pos x="connsiteX11001" y="connsiteY11001"/>
                </a:cxn>
                <a:cxn ang="0">
                  <a:pos x="connsiteX11002" y="connsiteY11002"/>
                </a:cxn>
                <a:cxn ang="0">
                  <a:pos x="connsiteX11003" y="connsiteY11003"/>
                </a:cxn>
                <a:cxn ang="0">
                  <a:pos x="connsiteX11004" y="connsiteY11004"/>
                </a:cxn>
                <a:cxn ang="0">
                  <a:pos x="connsiteX11005" y="connsiteY11005"/>
                </a:cxn>
                <a:cxn ang="0">
                  <a:pos x="connsiteX11006" y="connsiteY11006"/>
                </a:cxn>
                <a:cxn ang="0">
                  <a:pos x="connsiteX11007" y="connsiteY11007"/>
                </a:cxn>
                <a:cxn ang="0">
                  <a:pos x="connsiteX11008" y="connsiteY11008"/>
                </a:cxn>
                <a:cxn ang="0">
                  <a:pos x="connsiteX11009" y="connsiteY11009"/>
                </a:cxn>
                <a:cxn ang="0">
                  <a:pos x="connsiteX11010" y="connsiteY11010"/>
                </a:cxn>
                <a:cxn ang="0">
                  <a:pos x="connsiteX11011" y="connsiteY11011"/>
                </a:cxn>
                <a:cxn ang="0">
                  <a:pos x="connsiteX11012" y="connsiteY11012"/>
                </a:cxn>
                <a:cxn ang="0">
                  <a:pos x="connsiteX11013" y="connsiteY11013"/>
                </a:cxn>
                <a:cxn ang="0">
                  <a:pos x="connsiteX11014" y="connsiteY11014"/>
                </a:cxn>
                <a:cxn ang="0">
                  <a:pos x="connsiteX11015" y="connsiteY11015"/>
                </a:cxn>
                <a:cxn ang="0">
                  <a:pos x="connsiteX11016" y="connsiteY11016"/>
                </a:cxn>
                <a:cxn ang="0">
                  <a:pos x="connsiteX11017" y="connsiteY11017"/>
                </a:cxn>
                <a:cxn ang="0">
                  <a:pos x="connsiteX11018" y="connsiteY11018"/>
                </a:cxn>
                <a:cxn ang="0">
                  <a:pos x="connsiteX11019" y="connsiteY11019"/>
                </a:cxn>
                <a:cxn ang="0">
                  <a:pos x="connsiteX11020" y="connsiteY11020"/>
                </a:cxn>
                <a:cxn ang="0">
                  <a:pos x="connsiteX11021" y="connsiteY11021"/>
                </a:cxn>
                <a:cxn ang="0">
                  <a:pos x="connsiteX11022" y="connsiteY11022"/>
                </a:cxn>
                <a:cxn ang="0">
                  <a:pos x="connsiteX11023" y="connsiteY11023"/>
                </a:cxn>
                <a:cxn ang="0">
                  <a:pos x="connsiteX11024" y="connsiteY11024"/>
                </a:cxn>
                <a:cxn ang="0">
                  <a:pos x="connsiteX11025" y="connsiteY11025"/>
                </a:cxn>
                <a:cxn ang="0">
                  <a:pos x="connsiteX11026" y="connsiteY11026"/>
                </a:cxn>
                <a:cxn ang="0">
                  <a:pos x="connsiteX11027" y="connsiteY11027"/>
                </a:cxn>
                <a:cxn ang="0">
                  <a:pos x="connsiteX11028" y="connsiteY11028"/>
                </a:cxn>
                <a:cxn ang="0">
                  <a:pos x="connsiteX11029" y="connsiteY11029"/>
                </a:cxn>
                <a:cxn ang="0">
                  <a:pos x="connsiteX11030" y="connsiteY11030"/>
                </a:cxn>
                <a:cxn ang="0">
                  <a:pos x="connsiteX11031" y="connsiteY11031"/>
                </a:cxn>
                <a:cxn ang="0">
                  <a:pos x="connsiteX11032" y="connsiteY11032"/>
                </a:cxn>
                <a:cxn ang="0">
                  <a:pos x="connsiteX11033" y="connsiteY11033"/>
                </a:cxn>
                <a:cxn ang="0">
                  <a:pos x="connsiteX11034" y="connsiteY11034"/>
                </a:cxn>
                <a:cxn ang="0">
                  <a:pos x="connsiteX11035" y="connsiteY11035"/>
                </a:cxn>
                <a:cxn ang="0">
                  <a:pos x="connsiteX11036" y="connsiteY11036"/>
                </a:cxn>
                <a:cxn ang="0">
                  <a:pos x="connsiteX11037" y="connsiteY11037"/>
                </a:cxn>
                <a:cxn ang="0">
                  <a:pos x="connsiteX11038" y="connsiteY11038"/>
                </a:cxn>
                <a:cxn ang="0">
                  <a:pos x="connsiteX11039" y="connsiteY11039"/>
                </a:cxn>
                <a:cxn ang="0">
                  <a:pos x="connsiteX11040" y="connsiteY11040"/>
                </a:cxn>
                <a:cxn ang="0">
                  <a:pos x="connsiteX11041" y="connsiteY11041"/>
                </a:cxn>
                <a:cxn ang="0">
                  <a:pos x="connsiteX11042" y="connsiteY11042"/>
                </a:cxn>
                <a:cxn ang="0">
                  <a:pos x="connsiteX11043" y="connsiteY11043"/>
                </a:cxn>
                <a:cxn ang="0">
                  <a:pos x="connsiteX11044" y="connsiteY11044"/>
                </a:cxn>
                <a:cxn ang="0">
                  <a:pos x="connsiteX11045" y="connsiteY11045"/>
                </a:cxn>
                <a:cxn ang="0">
                  <a:pos x="connsiteX11046" y="connsiteY11046"/>
                </a:cxn>
                <a:cxn ang="0">
                  <a:pos x="connsiteX11047" y="connsiteY11047"/>
                </a:cxn>
                <a:cxn ang="0">
                  <a:pos x="connsiteX11048" y="connsiteY11048"/>
                </a:cxn>
                <a:cxn ang="0">
                  <a:pos x="connsiteX11049" y="connsiteY11049"/>
                </a:cxn>
                <a:cxn ang="0">
                  <a:pos x="connsiteX11050" y="connsiteY11050"/>
                </a:cxn>
                <a:cxn ang="0">
                  <a:pos x="connsiteX11051" y="connsiteY11051"/>
                </a:cxn>
                <a:cxn ang="0">
                  <a:pos x="connsiteX11052" y="connsiteY11052"/>
                </a:cxn>
                <a:cxn ang="0">
                  <a:pos x="connsiteX11053" y="connsiteY11053"/>
                </a:cxn>
                <a:cxn ang="0">
                  <a:pos x="connsiteX11054" y="connsiteY11054"/>
                </a:cxn>
                <a:cxn ang="0">
                  <a:pos x="connsiteX11055" y="connsiteY11055"/>
                </a:cxn>
                <a:cxn ang="0">
                  <a:pos x="connsiteX11056" y="connsiteY11056"/>
                </a:cxn>
                <a:cxn ang="0">
                  <a:pos x="connsiteX11057" y="connsiteY11057"/>
                </a:cxn>
                <a:cxn ang="0">
                  <a:pos x="connsiteX11058" y="connsiteY11058"/>
                </a:cxn>
                <a:cxn ang="0">
                  <a:pos x="connsiteX11059" y="connsiteY11059"/>
                </a:cxn>
                <a:cxn ang="0">
                  <a:pos x="connsiteX11060" y="connsiteY11060"/>
                </a:cxn>
                <a:cxn ang="0">
                  <a:pos x="connsiteX11061" y="connsiteY11061"/>
                </a:cxn>
                <a:cxn ang="0">
                  <a:pos x="connsiteX11062" y="connsiteY11062"/>
                </a:cxn>
                <a:cxn ang="0">
                  <a:pos x="connsiteX11063" y="connsiteY11063"/>
                </a:cxn>
                <a:cxn ang="0">
                  <a:pos x="connsiteX11064" y="connsiteY11064"/>
                </a:cxn>
                <a:cxn ang="0">
                  <a:pos x="connsiteX11065" y="connsiteY11065"/>
                </a:cxn>
                <a:cxn ang="0">
                  <a:pos x="connsiteX11066" y="connsiteY11066"/>
                </a:cxn>
                <a:cxn ang="0">
                  <a:pos x="connsiteX11067" y="connsiteY11067"/>
                </a:cxn>
                <a:cxn ang="0">
                  <a:pos x="connsiteX11068" y="connsiteY11068"/>
                </a:cxn>
                <a:cxn ang="0">
                  <a:pos x="connsiteX11069" y="connsiteY11069"/>
                </a:cxn>
                <a:cxn ang="0">
                  <a:pos x="connsiteX11070" y="connsiteY11070"/>
                </a:cxn>
                <a:cxn ang="0">
                  <a:pos x="connsiteX11071" y="connsiteY11071"/>
                </a:cxn>
                <a:cxn ang="0">
                  <a:pos x="connsiteX11072" y="connsiteY11072"/>
                </a:cxn>
                <a:cxn ang="0">
                  <a:pos x="connsiteX11073" y="connsiteY11073"/>
                </a:cxn>
                <a:cxn ang="0">
                  <a:pos x="connsiteX11074" y="connsiteY11074"/>
                </a:cxn>
                <a:cxn ang="0">
                  <a:pos x="connsiteX11075" y="connsiteY11075"/>
                </a:cxn>
                <a:cxn ang="0">
                  <a:pos x="connsiteX11076" y="connsiteY11076"/>
                </a:cxn>
                <a:cxn ang="0">
                  <a:pos x="connsiteX11077" y="connsiteY11077"/>
                </a:cxn>
                <a:cxn ang="0">
                  <a:pos x="connsiteX11078" y="connsiteY11078"/>
                </a:cxn>
                <a:cxn ang="0">
                  <a:pos x="connsiteX11079" y="connsiteY11079"/>
                </a:cxn>
                <a:cxn ang="0">
                  <a:pos x="connsiteX11080" y="connsiteY11080"/>
                </a:cxn>
                <a:cxn ang="0">
                  <a:pos x="connsiteX11081" y="connsiteY11081"/>
                </a:cxn>
                <a:cxn ang="0">
                  <a:pos x="connsiteX11082" y="connsiteY11082"/>
                </a:cxn>
                <a:cxn ang="0">
                  <a:pos x="connsiteX11083" y="connsiteY11083"/>
                </a:cxn>
                <a:cxn ang="0">
                  <a:pos x="connsiteX11084" y="connsiteY11084"/>
                </a:cxn>
                <a:cxn ang="0">
                  <a:pos x="connsiteX11085" y="connsiteY11085"/>
                </a:cxn>
                <a:cxn ang="0">
                  <a:pos x="connsiteX11086" y="connsiteY11086"/>
                </a:cxn>
                <a:cxn ang="0">
                  <a:pos x="connsiteX11087" y="connsiteY11087"/>
                </a:cxn>
                <a:cxn ang="0">
                  <a:pos x="connsiteX11088" y="connsiteY11088"/>
                </a:cxn>
                <a:cxn ang="0">
                  <a:pos x="connsiteX11089" y="connsiteY11089"/>
                </a:cxn>
                <a:cxn ang="0">
                  <a:pos x="connsiteX11090" y="connsiteY11090"/>
                </a:cxn>
                <a:cxn ang="0">
                  <a:pos x="connsiteX11091" y="connsiteY11091"/>
                </a:cxn>
                <a:cxn ang="0">
                  <a:pos x="connsiteX11092" y="connsiteY11092"/>
                </a:cxn>
                <a:cxn ang="0">
                  <a:pos x="connsiteX11093" y="connsiteY11093"/>
                </a:cxn>
                <a:cxn ang="0">
                  <a:pos x="connsiteX11094" y="connsiteY11094"/>
                </a:cxn>
                <a:cxn ang="0">
                  <a:pos x="connsiteX11095" y="connsiteY11095"/>
                </a:cxn>
                <a:cxn ang="0">
                  <a:pos x="connsiteX11096" y="connsiteY11096"/>
                </a:cxn>
                <a:cxn ang="0">
                  <a:pos x="connsiteX11097" y="connsiteY11097"/>
                </a:cxn>
                <a:cxn ang="0">
                  <a:pos x="connsiteX11098" y="connsiteY11098"/>
                </a:cxn>
                <a:cxn ang="0">
                  <a:pos x="connsiteX11099" y="connsiteY11099"/>
                </a:cxn>
                <a:cxn ang="0">
                  <a:pos x="connsiteX11100" y="connsiteY11100"/>
                </a:cxn>
                <a:cxn ang="0">
                  <a:pos x="connsiteX11101" y="connsiteY11101"/>
                </a:cxn>
                <a:cxn ang="0">
                  <a:pos x="connsiteX11102" y="connsiteY11102"/>
                </a:cxn>
                <a:cxn ang="0">
                  <a:pos x="connsiteX11103" y="connsiteY11103"/>
                </a:cxn>
                <a:cxn ang="0">
                  <a:pos x="connsiteX11104" y="connsiteY11104"/>
                </a:cxn>
                <a:cxn ang="0">
                  <a:pos x="connsiteX11105" y="connsiteY11105"/>
                </a:cxn>
                <a:cxn ang="0">
                  <a:pos x="connsiteX11106" y="connsiteY11106"/>
                </a:cxn>
                <a:cxn ang="0">
                  <a:pos x="connsiteX11107" y="connsiteY11107"/>
                </a:cxn>
                <a:cxn ang="0">
                  <a:pos x="connsiteX11108" y="connsiteY11108"/>
                </a:cxn>
                <a:cxn ang="0">
                  <a:pos x="connsiteX11109" y="connsiteY11109"/>
                </a:cxn>
                <a:cxn ang="0">
                  <a:pos x="connsiteX11110" y="connsiteY11110"/>
                </a:cxn>
                <a:cxn ang="0">
                  <a:pos x="connsiteX11111" y="connsiteY11111"/>
                </a:cxn>
                <a:cxn ang="0">
                  <a:pos x="connsiteX11112" y="connsiteY11112"/>
                </a:cxn>
                <a:cxn ang="0">
                  <a:pos x="connsiteX11113" y="connsiteY11113"/>
                </a:cxn>
                <a:cxn ang="0">
                  <a:pos x="connsiteX11114" y="connsiteY11114"/>
                </a:cxn>
                <a:cxn ang="0">
                  <a:pos x="connsiteX11115" y="connsiteY11115"/>
                </a:cxn>
                <a:cxn ang="0">
                  <a:pos x="connsiteX11116" y="connsiteY11116"/>
                </a:cxn>
                <a:cxn ang="0">
                  <a:pos x="connsiteX11117" y="connsiteY11117"/>
                </a:cxn>
                <a:cxn ang="0">
                  <a:pos x="connsiteX11118" y="connsiteY11118"/>
                </a:cxn>
                <a:cxn ang="0">
                  <a:pos x="connsiteX11119" y="connsiteY11119"/>
                </a:cxn>
                <a:cxn ang="0">
                  <a:pos x="connsiteX11120" y="connsiteY11120"/>
                </a:cxn>
                <a:cxn ang="0">
                  <a:pos x="connsiteX11121" y="connsiteY11121"/>
                </a:cxn>
                <a:cxn ang="0">
                  <a:pos x="connsiteX11122" y="connsiteY11122"/>
                </a:cxn>
                <a:cxn ang="0">
                  <a:pos x="connsiteX11123" y="connsiteY11123"/>
                </a:cxn>
                <a:cxn ang="0">
                  <a:pos x="connsiteX11124" y="connsiteY11124"/>
                </a:cxn>
                <a:cxn ang="0">
                  <a:pos x="connsiteX11125" y="connsiteY11125"/>
                </a:cxn>
                <a:cxn ang="0">
                  <a:pos x="connsiteX11126" y="connsiteY11126"/>
                </a:cxn>
                <a:cxn ang="0">
                  <a:pos x="connsiteX11127" y="connsiteY11127"/>
                </a:cxn>
                <a:cxn ang="0">
                  <a:pos x="connsiteX11128" y="connsiteY11128"/>
                </a:cxn>
                <a:cxn ang="0">
                  <a:pos x="connsiteX11129" y="connsiteY11129"/>
                </a:cxn>
                <a:cxn ang="0">
                  <a:pos x="connsiteX11130" y="connsiteY11130"/>
                </a:cxn>
                <a:cxn ang="0">
                  <a:pos x="connsiteX11131" y="connsiteY11131"/>
                </a:cxn>
                <a:cxn ang="0">
                  <a:pos x="connsiteX11132" y="connsiteY11132"/>
                </a:cxn>
                <a:cxn ang="0">
                  <a:pos x="connsiteX11133" y="connsiteY11133"/>
                </a:cxn>
                <a:cxn ang="0">
                  <a:pos x="connsiteX11134" y="connsiteY11134"/>
                </a:cxn>
                <a:cxn ang="0">
                  <a:pos x="connsiteX11135" y="connsiteY11135"/>
                </a:cxn>
                <a:cxn ang="0">
                  <a:pos x="connsiteX11136" y="connsiteY11136"/>
                </a:cxn>
                <a:cxn ang="0">
                  <a:pos x="connsiteX11137" y="connsiteY11137"/>
                </a:cxn>
                <a:cxn ang="0">
                  <a:pos x="connsiteX11138" y="connsiteY11138"/>
                </a:cxn>
                <a:cxn ang="0">
                  <a:pos x="connsiteX11139" y="connsiteY11139"/>
                </a:cxn>
                <a:cxn ang="0">
                  <a:pos x="connsiteX11140" y="connsiteY11140"/>
                </a:cxn>
                <a:cxn ang="0">
                  <a:pos x="connsiteX11141" y="connsiteY11141"/>
                </a:cxn>
                <a:cxn ang="0">
                  <a:pos x="connsiteX11142" y="connsiteY11142"/>
                </a:cxn>
                <a:cxn ang="0">
                  <a:pos x="connsiteX11143" y="connsiteY11143"/>
                </a:cxn>
                <a:cxn ang="0">
                  <a:pos x="connsiteX11144" y="connsiteY11144"/>
                </a:cxn>
                <a:cxn ang="0">
                  <a:pos x="connsiteX11145" y="connsiteY11145"/>
                </a:cxn>
                <a:cxn ang="0">
                  <a:pos x="connsiteX11146" y="connsiteY11146"/>
                </a:cxn>
                <a:cxn ang="0">
                  <a:pos x="connsiteX11147" y="connsiteY11147"/>
                </a:cxn>
                <a:cxn ang="0">
                  <a:pos x="connsiteX11148" y="connsiteY11148"/>
                </a:cxn>
                <a:cxn ang="0">
                  <a:pos x="connsiteX11149" y="connsiteY11149"/>
                </a:cxn>
                <a:cxn ang="0">
                  <a:pos x="connsiteX11150" y="connsiteY11150"/>
                </a:cxn>
                <a:cxn ang="0">
                  <a:pos x="connsiteX11151" y="connsiteY11151"/>
                </a:cxn>
                <a:cxn ang="0">
                  <a:pos x="connsiteX11152" y="connsiteY11152"/>
                </a:cxn>
                <a:cxn ang="0">
                  <a:pos x="connsiteX11153" y="connsiteY11153"/>
                </a:cxn>
                <a:cxn ang="0">
                  <a:pos x="connsiteX11154" y="connsiteY11154"/>
                </a:cxn>
                <a:cxn ang="0">
                  <a:pos x="connsiteX11155" y="connsiteY11155"/>
                </a:cxn>
                <a:cxn ang="0">
                  <a:pos x="connsiteX11156" y="connsiteY11156"/>
                </a:cxn>
                <a:cxn ang="0">
                  <a:pos x="connsiteX11157" y="connsiteY11157"/>
                </a:cxn>
                <a:cxn ang="0">
                  <a:pos x="connsiteX11158" y="connsiteY11158"/>
                </a:cxn>
                <a:cxn ang="0">
                  <a:pos x="connsiteX11159" y="connsiteY11159"/>
                </a:cxn>
                <a:cxn ang="0">
                  <a:pos x="connsiteX11160" y="connsiteY11160"/>
                </a:cxn>
                <a:cxn ang="0">
                  <a:pos x="connsiteX11161" y="connsiteY11161"/>
                </a:cxn>
                <a:cxn ang="0">
                  <a:pos x="connsiteX11162" y="connsiteY11162"/>
                </a:cxn>
                <a:cxn ang="0">
                  <a:pos x="connsiteX11163" y="connsiteY11163"/>
                </a:cxn>
                <a:cxn ang="0">
                  <a:pos x="connsiteX11164" y="connsiteY11164"/>
                </a:cxn>
                <a:cxn ang="0">
                  <a:pos x="connsiteX11165" y="connsiteY11165"/>
                </a:cxn>
                <a:cxn ang="0">
                  <a:pos x="connsiteX11166" y="connsiteY11166"/>
                </a:cxn>
                <a:cxn ang="0">
                  <a:pos x="connsiteX11167" y="connsiteY11167"/>
                </a:cxn>
                <a:cxn ang="0">
                  <a:pos x="connsiteX11168" y="connsiteY11168"/>
                </a:cxn>
                <a:cxn ang="0">
                  <a:pos x="connsiteX11169" y="connsiteY11169"/>
                </a:cxn>
                <a:cxn ang="0">
                  <a:pos x="connsiteX11170" y="connsiteY11170"/>
                </a:cxn>
                <a:cxn ang="0">
                  <a:pos x="connsiteX11171" y="connsiteY11171"/>
                </a:cxn>
                <a:cxn ang="0">
                  <a:pos x="connsiteX11172" y="connsiteY11172"/>
                </a:cxn>
                <a:cxn ang="0">
                  <a:pos x="connsiteX11173" y="connsiteY11173"/>
                </a:cxn>
                <a:cxn ang="0">
                  <a:pos x="connsiteX11174" y="connsiteY11174"/>
                </a:cxn>
                <a:cxn ang="0">
                  <a:pos x="connsiteX11175" y="connsiteY11175"/>
                </a:cxn>
                <a:cxn ang="0">
                  <a:pos x="connsiteX11176" y="connsiteY11176"/>
                </a:cxn>
                <a:cxn ang="0">
                  <a:pos x="connsiteX11177" y="connsiteY11177"/>
                </a:cxn>
                <a:cxn ang="0">
                  <a:pos x="connsiteX11178" y="connsiteY11178"/>
                </a:cxn>
                <a:cxn ang="0">
                  <a:pos x="connsiteX11179" y="connsiteY11179"/>
                </a:cxn>
                <a:cxn ang="0">
                  <a:pos x="connsiteX11180" y="connsiteY11180"/>
                </a:cxn>
                <a:cxn ang="0">
                  <a:pos x="connsiteX11181" y="connsiteY11181"/>
                </a:cxn>
                <a:cxn ang="0">
                  <a:pos x="connsiteX11182" y="connsiteY11182"/>
                </a:cxn>
                <a:cxn ang="0">
                  <a:pos x="connsiteX11183" y="connsiteY11183"/>
                </a:cxn>
                <a:cxn ang="0">
                  <a:pos x="connsiteX11184" y="connsiteY11184"/>
                </a:cxn>
                <a:cxn ang="0">
                  <a:pos x="connsiteX11185" y="connsiteY11185"/>
                </a:cxn>
                <a:cxn ang="0">
                  <a:pos x="connsiteX11186" y="connsiteY11186"/>
                </a:cxn>
                <a:cxn ang="0">
                  <a:pos x="connsiteX11187" y="connsiteY11187"/>
                </a:cxn>
                <a:cxn ang="0">
                  <a:pos x="connsiteX11188" y="connsiteY11188"/>
                </a:cxn>
                <a:cxn ang="0">
                  <a:pos x="connsiteX11189" y="connsiteY11189"/>
                </a:cxn>
                <a:cxn ang="0">
                  <a:pos x="connsiteX11190" y="connsiteY11190"/>
                </a:cxn>
                <a:cxn ang="0">
                  <a:pos x="connsiteX11191" y="connsiteY11191"/>
                </a:cxn>
                <a:cxn ang="0">
                  <a:pos x="connsiteX11192" y="connsiteY11192"/>
                </a:cxn>
                <a:cxn ang="0">
                  <a:pos x="connsiteX11193" y="connsiteY11193"/>
                </a:cxn>
                <a:cxn ang="0">
                  <a:pos x="connsiteX11194" y="connsiteY11194"/>
                </a:cxn>
                <a:cxn ang="0">
                  <a:pos x="connsiteX11195" y="connsiteY11195"/>
                </a:cxn>
                <a:cxn ang="0">
                  <a:pos x="connsiteX11196" y="connsiteY11196"/>
                </a:cxn>
                <a:cxn ang="0">
                  <a:pos x="connsiteX11197" y="connsiteY11197"/>
                </a:cxn>
                <a:cxn ang="0">
                  <a:pos x="connsiteX11198" y="connsiteY11198"/>
                </a:cxn>
                <a:cxn ang="0">
                  <a:pos x="connsiteX11199" y="connsiteY11199"/>
                </a:cxn>
                <a:cxn ang="0">
                  <a:pos x="connsiteX11200" y="connsiteY11200"/>
                </a:cxn>
                <a:cxn ang="0">
                  <a:pos x="connsiteX11201" y="connsiteY11201"/>
                </a:cxn>
                <a:cxn ang="0">
                  <a:pos x="connsiteX11202" y="connsiteY11202"/>
                </a:cxn>
                <a:cxn ang="0">
                  <a:pos x="connsiteX11203" y="connsiteY11203"/>
                </a:cxn>
                <a:cxn ang="0">
                  <a:pos x="connsiteX11204" y="connsiteY11204"/>
                </a:cxn>
                <a:cxn ang="0">
                  <a:pos x="connsiteX11205" y="connsiteY11205"/>
                </a:cxn>
                <a:cxn ang="0">
                  <a:pos x="connsiteX11206" y="connsiteY11206"/>
                </a:cxn>
                <a:cxn ang="0">
                  <a:pos x="connsiteX11207" y="connsiteY11207"/>
                </a:cxn>
                <a:cxn ang="0">
                  <a:pos x="connsiteX11208" y="connsiteY11208"/>
                </a:cxn>
                <a:cxn ang="0">
                  <a:pos x="connsiteX11209" y="connsiteY11209"/>
                </a:cxn>
                <a:cxn ang="0">
                  <a:pos x="connsiteX11210" y="connsiteY11210"/>
                </a:cxn>
                <a:cxn ang="0">
                  <a:pos x="connsiteX11211" y="connsiteY11211"/>
                </a:cxn>
                <a:cxn ang="0">
                  <a:pos x="connsiteX11212" y="connsiteY11212"/>
                </a:cxn>
                <a:cxn ang="0">
                  <a:pos x="connsiteX11213" y="connsiteY11213"/>
                </a:cxn>
                <a:cxn ang="0">
                  <a:pos x="connsiteX11214" y="connsiteY11214"/>
                </a:cxn>
                <a:cxn ang="0">
                  <a:pos x="connsiteX11215" y="connsiteY11215"/>
                </a:cxn>
                <a:cxn ang="0">
                  <a:pos x="connsiteX11216" y="connsiteY11216"/>
                </a:cxn>
                <a:cxn ang="0">
                  <a:pos x="connsiteX11217" y="connsiteY11217"/>
                </a:cxn>
                <a:cxn ang="0">
                  <a:pos x="connsiteX11218" y="connsiteY11218"/>
                </a:cxn>
                <a:cxn ang="0">
                  <a:pos x="connsiteX11219" y="connsiteY11219"/>
                </a:cxn>
                <a:cxn ang="0">
                  <a:pos x="connsiteX11220" y="connsiteY11220"/>
                </a:cxn>
                <a:cxn ang="0">
                  <a:pos x="connsiteX11221" y="connsiteY11221"/>
                </a:cxn>
                <a:cxn ang="0">
                  <a:pos x="connsiteX11222" y="connsiteY11222"/>
                </a:cxn>
                <a:cxn ang="0">
                  <a:pos x="connsiteX11223" y="connsiteY11223"/>
                </a:cxn>
                <a:cxn ang="0">
                  <a:pos x="connsiteX11224" y="connsiteY11224"/>
                </a:cxn>
                <a:cxn ang="0">
                  <a:pos x="connsiteX11225" y="connsiteY11225"/>
                </a:cxn>
                <a:cxn ang="0">
                  <a:pos x="connsiteX11226" y="connsiteY11226"/>
                </a:cxn>
                <a:cxn ang="0">
                  <a:pos x="connsiteX11227" y="connsiteY11227"/>
                </a:cxn>
                <a:cxn ang="0">
                  <a:pos x="connsiteX11228" y="connsiteY11228"/>
                </a:cxn>
                <a:cxn ang="0">
                  <a:pos x="connsiteX11229" y="connsiteY11229"/>
                </a:cxn>
                <a:cxn ang="0">
                  <a:pos x="connsiteX11230" y="connsiteY11230"/>
                </a:cxn>
                <a:cxn ang="0">
                  <a:pos x="connsiteX11231" y="connsiteY11231"/>
                </a:cxn>
                <a:cxn ang="0">
                  <a:pos x="connsiteX11232" y="connsiteY11232"/>
                </a:cxn>
                <a:cxn ang="0">
                  <a:pos x="connsiteX11233" y="connsiteY11233"/>
                </a:cxn>
                <a:cxn ang="0">
                  <a:pos x="connsiteX11234" y="connsiteY11234"/>
                </a:cxn>
                <a:cxn ang="0">
                  <a:pos x="connsiteX11235" y="connsiteY11235"/>
                </a:cxn>
                <a:cxn ang="0">
                  <a:pos x="connsiteX11236" y="connsiteY11236"/>
                </a:cxn>
                <a:cxn ang="0">
                  <a:pos x="connsiteX11237" y="connsiteY11237"/>
                </a:cxn>
                <a:cxn ang="0">
                  <a:pos x="connsiteX11238" y="connsiteY11238"/>
                </a:cxn>
                <a:cxn ang="0">
                  <a:pos x="connsiteX11239" y="connsiteY11239"/>
                </a:cxn>
                <a:cxn ang="0">
                  <a:pos x="connsiteX11240" y="connsiteY11240"/>
                </a:cxn>
                <a:cxn ang="0">
                  <a:pos x="connsiteX11241" y="connsiteY11241"/>
                </a:cxn>
                <a:cxn ang="0">
                  <a:pos x="connsiteX11242" y="connsiteY11242"/>
                </a:cxn>
                <a:cxn ang="0">
                  <a:pos x="connsiteX11243" y="connsiteY11243"/>
                </a:cxn>
                <a:cxn ang="0">
                  <a:pos x="connsiteX11244" y="connsiteY11244"/>
                </a:cxn>
                <a:cxn ang="0">
                  <a:pos x="connsiteX11245" y="connsiteY11245"/>
                </a:cxn>
                <a:cxn ang="0">
                  <a:pos x="connsiteX11246" y="connsiteY11246"/>
                </a:cxn>
                <a:cxn ang="0">
                  <a:pos x="connsiteX11247" y="connsiteY11247"/>
                </a:cxn>
                <a:cxn ang="0">
                  <a:pos x="connsiteX11248" y="connsiteY11248"/>
                </a:cxn>
                <a:cxn ang="0">
                  <a:pos x="connsiteX11249" y="connsiteY11249"/>
                </a:cxn>
                <a:cxn ang="0">
                  <a:pos x="connsiteX11250" y="connsiteY11250"/>
                </a:cxn>
                <a:cxn ang="0">
                  <a:pos x="connsiteX11251" y="connsiteY11251"/>
                </a:cxn>
                <a:cxn ang="0">
                  <a:pos x="connsiteX11252" y="connsiteY11252"/>
                </a:cxn>
                <a:cxn ang="0">
                  <a:pos x="connsiteX11253" y="connsiteY11253"/>
                </a:cxn>
                <a:cxn ang="0">
                  <a:pos x="connsiteX11254" y="connsiteY11254"/>
                </a:cxn>
                <a:cxn ang="0">
                  <a:pos x="connsiteX11255" y="connsiteY11255"/>
                </a:cxn>
                <a:cxn ang="0">
                  <a:pos x="connsiteX11256" y="connsiteY11256"/>
                </a:cxn>
                <a:cxn ang="0">
                  <a:pos x="connsiteX11257" y="connsiteY11257"/>
                </a:cxn>
                <a:cxn ang="0">
                  <a:pos x="connsiteX11258" y="connsiteY11258"/>
                </a:cxn>
                <a:cxn ang="0">
                  <a:pos x="connsiteX11259" y="connsiteY11259"/>
                </a:cxn>
                <a:cxn ang="0">
                  <a:pos x="connsiteX11260" y="connsiteY11260"/>
                </a:cxn>
                <a:cxn ang="0">
                  <a:pos x="connsiteX11261" y="connsiteY11261"/>
                </a:cxn>
                <a:cxn ang="0">
                  <a:pos x="connsiteX11262" y="connsiteY11262"/>
                </a:cxn>
                <a:cxn ang="0">
                  <a:pos x="connsiteX11263" y="connsiteY11263"/>
                </a:cxn>
                <a:cxn ang="0">
                  <a:pos x="connsiteX11264" y="connsiteY11264"/>
                </a:cxn>
                <a:cxn ang="0">
                  <a:pos x="connsiteX11265" y="connsiteY11265"/>
                </a:cxn>
                <a:cxn ang="0">
                  <a:pos x="connsiteX11266" y="connsiteY11266"/>
                </a:cxn>
                <a:cxn ang="0">
                  <a:pos x="connsiteX11267" y="connsiteY11267"/>
                </a:cxn>
                <a:cxn ang="0">
                  <a:pos x="connsiteX11268" y="connsiteY11268"/>
                </a:cxn>
                <a:cxn ang="0">
                  <a:pos x="connsiteX11269" y="connsiteY11269"/>
                </a:cxn>
                <a:cxn ang="0">
                  <a:pos x="connsiteX11270" y="connsiteY11270"/>
                </a:cxn>
                <a:cxn ang="0">
                  <a:pos x="connsiteX11271" y="connsiteY11271"/>
                </a:cxn>
                <a:cxn ang="0">
                  <a:pos x="connsiteX11272" y="connsiteY11272"/>
                </a:cxn>
                <a:cxn ang="0">
                  <a:pos x="connsiteX11273" y="connsiteY11273"/>
                </a:cxn>
                <a:cxn ang="0">
                  <a:pos x="connsiteX11274" y="connsiteY11274"/>
                </a:cxn>
                <a:cxn ang="0">
                  <a:pos x="connsiteX11275" y="connsiteY11275"/>
                </a:cxn>
                <a:cxn ang="0">
                  <a:pos x="connsiteX11276" y="connsiteY11276"/>
                </a:cxn>
                <a:cxn ang="0">
                  <a:pos x="connsiteX11277" y="connsiteY11277"/>
                </a:cxn>
                <a:cxn ang="0">
                  <a:pos x="connsiteX11278" y="connsiteY11278"/>
                </a:cxn>
                <a:cxn ang="0">
                  <a:pos x="connsiteX11279" y="connsiteY11279"/>
                </a:cxn>
                <a:cxn ang="0">
                  <a:pos x="connsiteX11280" y="connsiteY11280"/>
                </a:cxn>
                <a:cxn ang="0">
                  <a:pos x="connsiteX11281" y="connsiteY11281"/>
                </a:cxn>
                <a:cxn ang="0">
                  <a:pos x="connsiteX11282" y="connsiteY11282"/>
                </a:cxn>
                <a:cxn ang="0">
                  <a:pos x="connsiteX11283" y="connsiteY11283"/>
                </a:cxn>
                <a:cxn ang="0">
                  <a:pos x="connsiteX11284" y="connsiteY11284"/>
                </a:cxn>
                <a:cxn ang="0">
                  <a:pos x="connsiteX11285" y="connsiteY11285"/>
                </a:cxn>
                <a:cxn ang="0">
                  <a:pos x="connsiteX11286" y="connsiteY11286"/>
                </a:cxn>
                <a:cxn ang="0">
                  <a:pos x="connsiteX11287" y="connsiteY11287"/>
                </a:cxn>
                <a:cxn ang="0">
                  <a:pos x="connsiteX11288" y="connsiteY11288"/>
                </a:cxn>
                <a:cxn ang="0">
                  <a:pos x="connsiteX11289" y="connsiteY11289"/>
                </a:cxn>
                <a:cxn ang="0">
                  <a:pos x="connsiteX11290" y="connsiteY11290"/>
                </a:cxn>
                <a:cxn ang="0">
                  <a:pos x="connsiteX11291" y="connsiteY11291"/>
                </a:cxn>
                <a:cxn ang="0">
                  <a:pos x="connsiteX11292" y="connsiteY11292"/>
                </a:cxn>
                <a:cxn ang="0">
                  <a:pos x="connsiteX11293" y="connsiteY11293"/>
                </a:cxn>
                <a:cxn ang="0">
                  <a:pos x="connsiteX11294" y="connsiteY11294"/>
                </a:cxn>
                <a:cxn ang="0">
                  <a:pos x="connsiteX11295" y="connsiteY11295"/>
                </a:cxn>
                <a:cxn ang="0">
                  <a:pos x="connsiteX11296" y="connsiteY11296"/>
                </a:cxn>
                <a:cxn ang="0">
                  <a:pos x="connsiteX11297" y="connsiteY11297"/>
                </a:cxn>
                <a:cxn ang="0">
                  <a:pos x="connsiteX11298" y="connsiteY11298"/>
                </a:cxn>
                <a:cxn ang="0">
                  <a:pos x="connsiteX11299" y="connsiteY11299"/>
                </a:cxn>
                <a:cxn ang="0">
                  <a:pos x="connsiteX11300" y="connsiteY11300"/>
                </a:cxn>
                <a:cxn ang="0">
                  <a:pos x="connsiteX11301" y="connsiteY11301"/>
                </a:cxn>
                <a:cxn ang="0">
                  <a:pos x="connsiteX11302" y="connsiteY11302"/>
                </a:cxn>
                <a:cxn ang="0">
                  <a:pos x="connsiteX11303" y="connsiteY11303"/>
                </a:cxn>
                <a:cxn ang="0">
                  <a:pos x="connsiteX11304" y="connsiteY11304"/>
                </a:cxn>
                <a:cxn ang="0">
                  <a:pos x="connsiteX11305" y="connsiteY11305"/>
                </a:cxn>
                <a:cxn ang="0">
                  <a:pos x="connsiteX11306" y="connsiteY11306"/>
                </a:cxn>
                <a:cxn ang="0">
                  <a:pos x="connsiteX11307" y="connsiteY11307"/>
                </a:cxn>
                <a:cxn ang="0">
                  <a:pos x="connsiteX11308" y="connsiteY11308"/>
                </a:cxn>
                <a:cxn ang="0">
                  <a:pos x="connsiteX11309" y="connsiteY11309"/>
                </a:cxn>
                <a:cxn ang="0">
                  <a:pos x="connsiteX11310" y="connsiteY11310"/>
                </a:cxn>
                <a:cxn ang="0">
                  <a:pos x="connsiteX11311" y="connsiteY11311"/>
                </a:cxn>
                <a:cxn ang="0">
                  <a:pos x="connsiteX11312" y="connsiteY11312"/>
                </a:cxn>
                <a:cxn ang="0">
                  <a:pos x="connsiteX11313" y="connsiteY11313"/>
                </a:cxn>
                <a:cxn ang="0">
                  <a:pos x="connsiteX11314" y="connsiteY11314"/>
                </a:cxn>
                <a:cxn ang="0">
                  <a:pos x="connsiteX11315" y="connsiteY11315"/>
                </a:cxn>
                <a:cxn ang="0">
                  <a:pos x="connsiteX11316" y="connsiteY11316"/>
                </a:cxn>
                <a:cxn ang="0">
                  <a:pos x="connsiteX11317" y="connsiteY11317"/>
                </a:cxn>
                <a:cxn ang="0">
                  <a:pos x="connsiteX11318" y="connsiteY11318"/>
                </a:cxn>
                <a:cxn ang="0">
                  <a:pos x="connsiteX11319" y="connsiteY11319"/>
                </a:cxn>
                <a:cxn ang="0">
                  <a:pos x="connsiteX11320" y="connsiteY11320"/>
                </a:cxn>
                <a:cxn ang="0">
                  <a:pos x="connsiteX11321" y="connsiteY11321"/>
                </a:cxn>
                <a:cxn ang="0">
                  <a:pos x="connsiteX11322" y="connsiteY11322"/>
                </a:cxn>
                <a:cxn ang="0">
                  <a:pos x="connsiteX11323" y="connsiteY11323"/>
                </a:cxn>
                <a:cxn ang="0">
                  <a:pos x="connsiteX11324" y="connsiteY11324"/>
                </a:cxn>
                <a:cxn ang="0">
                  <a:pos x="connsiteX11325" y="connsiteY11325"/>
                </a:cxn>
                <a:cxn ang="0">
                  <a:pos x="connsiteX11326" y="connsiteY11326"/>
                </a:cxn>
                <a:cxn ang="0">
                  <a:pos x="connsiteX11327" y="connsiteY11327"/>
                </a:cxn>
                <a:cxn ang="0">
                  <a:pos x="connsiteX11328" y="connsiteY11328"/>
                </a:cxn>
                <a:cxn ang="0">
                  <a:pos x="connsiteX11329" y="connsiteY11329"/>
                </a:cxn>
                <a:cxn ang="0">
                  <a:pos x="connsiteX11330" y="connsiteY11330"/>
                </a:cxn>
                <a:cxn ang="0">
                  <a:pos x="connsiteX11331" y="connsiteY11331"/>
                </a:cxn>
                <a:cxn ang="0">
                  <a:pos x="connsiteX11332" y="connsiteY11332"/>
                </a:cxn>
                <a:cxn ang="0">
                  <a:pos x="connsiteX11333" y="connsiteY11333"/>
                </a:cxn>
                <a:cxn ang="0">
                  <a:pos x="connsiteX11334" y="connsiteY11334"/>
                </a:cxn>
                <a:cxn ang="0">
                  <a:pos x="connsiteX11335" y="connsiteY11335"/>
                </a:cxn>
                <a:cxn ang="0">
                  <a:pos x="connsiteX11336" y="connsiteY11336"/>
                </a:cxn>
                <a:cxn ang="0">
                  <a:pos x="connsiteX11337" y="connsiteY11337"/>
                </a:cxn>
                <a:cxn ang="0">
                  <a:pos x="connsiteX11338" y="connsiteY11338"/>
                </a:cxn>
                <a:cxn ang="0">
                  <a:pos x="connsiteX11339" y="connsiteY11339"/>
                </a:cxn>
                <a:cxn ang="0">
                  <a:pos x="connsiteX11340" y="connsiteY11340"/>
                </a:cxn>
                <a:cxn ang="0">
                  <a:pos x="connsiteX11341" y="connsiteY11341"/>
                </a:cxn>
                <a:cxn ang="0">
                  <a:pos x="connsiteX11342" y="connsiteY11342"/>
                </a:cxn>
                <a:cxn ang="0">
                  <a:pos x="connsiteX11343" y="connsiteY11343"/>
                </a:cxn>
                <a:cxn ang="0">
                  <a:pos x="connsiteX11344" y="connsiteY11344"/>
                </a:cxn>
                <a:cxn ang="0">
                  <a:pos x="connsiteX11345" y="connsiteY11345"/>
                </a:cxn>
                <a:cxn ang="0">
                  <a:pos x="connsiteX11346" y="connsiteY11346"/>
                </a:cxn>
                <a:cxn ang="0">
                  <a:pos x="connsiteX11347" y="connsiteY11347"/>
                </a:cxn>
                <a:cxn ang="0">
                  <a:pos x="connsiteX11348" y="connsiteY11348"/>
                </a:cxn>
                <a:cxn ang="0">
                  <a:pos x="connsiteX11349" y="connsiteY11349"/>
                </a:cxn>
                <a:cxn ang="0">
                  <a:pos x="connsiteX11350" y="connsiteY11350"/>
                </a:cxn>
                <a:cxn ang="0">
                  <a:pos x="connsiteX11351" y="connsiteY11351"/>
                </a:cxn>
                <a:cxn ang="0">
                  <a:pos x="connsiteX11352" y="connsiteY11352"/>
                </a:cxn>
                <a:cxn ang="0">
                  <a:pos x="connsiteX11353" y="connsiteY11353"/>
                </a:cxn>
                <a:cxn ang="0">
                  <a:pos x="connsiteX11354" y="connsiteY11354"/>
                </a:cxn>
                <a:cxn ang="0">
                  <a:pos x="connsiteX11355" y="connsiteY11355"/>
                </a:cxn>
                <a:cxn ang="0">
                  <a:pos x="connsiteX11356" y="connsiteY11356"/>
                </a:cxn>
                <a:cxn ang="0">
                  <a:pos x="connsiteX11357" y="connsiteY11357"/>
                </a:cxn>
                <a:cxn ang="0">
                  <a:pos x="connsiteX11358" y="connsiteY11358"/>
                </a:cxn>
                <a:cxn ang="0">
                  <a:pos x="connsiteX11359" y="connsiteY11359"/>
                </a:cxn>
                <a:cxn ang="0">
                  <a:pos x="connsiteX11360" y="connsiteY11360"/>
                </a:cxn>
                <a:cxn ang="0">
                  <a:pos x="connsiteX11361" y="connsiteY11361"/>
                </a:cxn>
                <a:cxn ang="0">
                  <a:pos x="connsiteX11362" y="connsiteY11362"/>
                </a:cxn>
                <a:cxn ang="0">
                  <a:pos x="connsiteX11363" y="connsiteY11363"/>
                </a:cxn>
                <a:cxn ang="0">
                  <a:pos x="connsiteX11364" y="connsiteY11364"/>
                </a:cxn>
                <a:cxn ang="0">
                  <a:pos x="connsiteX11365" y="connsiteY11365"/>
                </a:cxn>
                <a:cxn ang="0">
                  <a:pos x="connsiteX11366" y="connsiteY11366"/>
                </a:cxn>
                <a:cxn ang="0">
                  <a:pos x="connsiteX11367" y="connsiteY11367"/>
                </a:cxn>
                <a:cxn ang="0">
                  <a:pos x="connsiteX11368" y="connsiteY11368"/>
                </a:cxn>
                <a:cxn ang="0">
                  <a:pos x="connsiteX11369" y="connsiteY11369"/>
                </a:cxn>
                <a:cxn ang="0">
                  <a:pos x="connsiteX11370" y="connsiteY11370"/>
                </a:cxn>
                <a:cxn ang="0">
                  <a:pos x="connsiteX11371" y="connsiteY11371"/>
                </a:cxn>
                <a:cxn ang="0">
                  <a:pos x="connsiteX11372" y="connsiteY11372"/>
                </a:cxn>
                <a:cxn ang="0">
                  <a:pos x="connsiteX11373" y="connsiteY11373"/>
                </a:cxn>
                <a:cxn ang="0">
                  <a:pos x="connsiteX11374" y="connsiteY11374"/>
                </a:cxn>
                <a:cxn ang="0">
                  <a:pos x="connsiteX11375" y="connsiteY11375"/>
                </a:cxn>
                <a:cxn ang="0">
                  <a:pos x="connsiteX11376" y="connsiteY11376"/>
                </a:cxn>
                <a:cxn ang="0">
                  <a:pos x="connsiteX11377" y="connsiteY11377"/>
                </a:cxn>
                <a:cxn ang="0">
                  <a:pos x="connsiteX11378" y="connsiteY11378"/>
                </a:cxn>
                <a:cxn ang="0">
                  <a:pos x="connsiteX11379" y="connsiteY11379"/>
                </a:cxn>
                <a:cxn ang="0">
                  <a:pos x="connsiteX11380" y="connsiteY11380"/>
                </a:cxn>
                <a:cxn ang="0">
                  <a:pos x="connsiteX11381" y="connsiteY11381"/>
                </a:cxn>
                <a:cxn ang="0">
                  <a:pos x="connsiteX11382" y="connsiteY11382"/>
                </a:cxn>
                <a:cxn ang="0">
                  <a:pos x="connsiteX11383" y="connsiteY11383"/>
                </a:cxn>
                <a:cxn ang="0">
                  <a:pos x="connsiteX11384" y="connsiteY11384"/>
                </a:cxn>
                <a:cxn ang="0">
                  <a:pos x="connsiteX11385" y="connsiteY11385"/>
                </a:cxn>
                <a:cxn ang="0">
                  <a:pos x="connsiteX11386" y="connsiteY11386"/>
                </a:cxn>
                <a:cxn ang="0">
                  <a:pos x="connsiteX11387" y="connsiteY11387"/>
                </a:cxn>
                <a:cxn ang="0">
                  <a:pos x="connsiteX11388" y="connsiteY11388"/>
                </a:cxn>
                <a:cxn ang="0">
                  <a:pos x="connsiteX11389" y="connsiteY11389"/>
                </a:cxn>
                <a:cxn ang="0">
                  <a:pos x="connsiteX11390" y="connsiteY11390"/>
                </a:cxn>
                <a:cxn ang="0">
                  <a:pos x="connsiteX11391" y="connsiteY11391"/>
                </a:cxn>
                <a:cxn ang="0">
                  <a:pos x="connsiteX11392" y="connsiteY11392"/>
                </a:cxn>
                <a:cxn ang="0">
                  <a:pos x="connsiteX11393" y="connsiteY11393"/>
                </a:cxn>
                <a:cxn ang="0">
                  <a:pos x="connsiteX11394" y="connsiteY11394"/>
                </a:cxn>
                <a:cxn ang="0">
                  <a:pos x="connsiteX11395" y="connsiteY11395"/>
                </a:cxn>
                <a:cxn ang="0">
                  <a:pos x="connsiteX11396" y="connsiteY11396"/>
                </a:cxn>
                <a:cxn ang="0">
                  <a:pos x="connsiteX11397" y="connsiteY11397"/>
                </a:cxn>
                <a:cxn ang="0">
                  <a:pos x="connsiteX11398" y="connsiteY11398"/>
                </a:cxn>
                <a:cxn ang="0">
                  <a:pos x="connsiteX11399" y="connsiteY11399"/>
                </a:cxn>
                <a:cxn ang="0">
                  <a:pos x="connsiteX11400" y="connsiteY11400"/>
                </a:cxn>
                <a:cxn ang="0">
                  <a:pos x="connsiteX11401" y="connsiteY11401"/>
                </a:cxn>
                <a:cxn ang="0">
                  <a:pos x="connsiteX11402" y="connsiteY11402"/>
                </a:cxn>
                <a:cxn ang="0">
                  <a:pos x="connsiteX11403" y="connsiteY11403"/>
                </a:cxn>
                <a:cxn ang="0">
                  <a:pos x="connsiteX11404" y="connsiteY11404"/>
                </a:cxn>
                <a:cxn ang="0">
                  <a:pos x="connsiteX11405" y="connsiteY11405"/>
                </a:cxn>
                <a:cxn ang="0">
                  <a:pos x="connsiteX11406" y="connsiteY11406"/>
                </a:cxn>
                <a:cxn ang="0">
                  <a:pos x="connsiteX11407" y="connsiteY11407"/>
                </a:cxn>
                <a:cxn ang="0">
                  <a:pos x="connsiteX11408" y="connsiteY11408"/>
                </a:cxn>
                <a:cxn ang="0">
                  <a:pos x="connsiteX11409" y="connsiteY11409"/>
                </a:cxn>
                <a:cxn ang="0">
                  <a:pos x="connsiteX11410" y="connsiteY11410"/>
                </a:cxn>
                <a:cxn ang="0">
                  <a:pos x="connsiteX11411" y="connsiteY11411"/>
                </a:cxn>
                <a:cxn ang="0">
                  <a:pos x="connsiteX11412" y="connsiteY11412"/>
                </a:cxn>
                <a:cxn ang="0">
                  <a:pos x="connsiteX11413" y="connsiteY11413"/>
                </a:cxn>
                <a:cxn ang="0">
                  <a:pos x="connsiteX11414" y="connsiteY11414"/>
                </a:cxn>
                <a:cxn ang="0">
                  <a:pos x="connsiteX11415" y="connsiteY11415"/>
                </a:cxn>
                <a:cxn ang="0">
                  <a:pos x="connsiteX11416" y="connsiteY11416"/>
                </a:cxn>
                <a:cxn ang="0">
                  <a:pos x="connsiteX11417" y="connsiteY11417"/>
                </a:cxn>
                <a:cxn ang="0">
                  <a:pos x="connsiteX11418" y="connsiteY11418"/>
                </a:cxn>
                <a:cxn ang="0">
                  <a:pos x="connsiteX11419" y="connsiteY11419"/>
                </a:cxn>
                <a:cxn ang="0">
                  <a:pos x="connsiteX11420" y="connsiteY11420"/>
                </a:cxn>
                <a:cxn ang="0">
                  <a:pos x="connsiteX11421" y="connsiteY11421"/>
                </a:cxn>
                <a:cxn ang="0">
                  <a:pos x="connsiteX11422" y="connsiteY11422"/>
                </a:cxn>
                <a:cxn ang="0">
                  <a:pos x="connsiteX11423" y="connsiteY11423"/>
                </a:cxn>
                <a:cxn ang="0">
                  <a:pos x="connsiteX11424" y="connsiteY11424"/>
                </a:cxn>
                <a:cxn ang="0">
                  <a:pos x="connsiteX11425" y="connsiteY11425"/>
                </a:cxn>
                <a:cxn ang="0">
                  <a:pos x="connsiteX11426" y="connsiteY11426"/>
                </a:cxn>
                <a:cxn ang="0">
                  <a:pos x="connsiteX11427" y="connsiteY11427"/>
                </a:cxn>
                <a:cxn ang="0">
                  <a:pos x="connsiteX11428" y="connsiteY11428"/>
                </a:cxn>
                <a:cxn ang="0">
                  <a:pos x="connsiteX11429" y="connsiteY11429"/>
                </a:cxn>
                <a:cxn ang="0">
                  <a:pos x="connsiteX11430" y="connsiteY11430"/>
                </a:cxn>
                <a:cxn ang="0">
                  <a:pos x="connsiteX11431" y="connsiteY11431"/>
                </a:cxn>
                <a:cxn ang="0">
                  <a:pos x="connsiteX11432" y="connsiteY11432"/>
                </a:cxn>
                <a:cxn ang="0">
                  <a:pos x="connsiteX11433" y="connsiteY11433"/>
                </a:cxn>
                <a:cxn ang="0">
                  <a:pos x="connsiteX11434" y="connsiteY11434"/>
                </a:cxn>
                <a:cxn ang="0">
                  <a:pos x="connsiteX11435" y="connsiteY11435"/>
                </a:cxn>
                <a:cxn ang="0">
                  <a:pos x="connsiteX11436" y="connsiteY11436"/>
                </a:cxn>
                <a:cxn ang="0">
                  <a:pos x="connsiteX11437" y="connsiteY11437"/>
                </a:cxn>
                <a:cxn ang="0">
                  <a:pos x="connsiteX11438" y="connsiteY11438"/>
                </a:cxn>
                <a:cxn ang="0">
                  <a:pos x="connsiteX11439" y="connsiteY11439"/>
                </a:cxn>
                <a:cxn ang="0">
                  <a:pos x="connsiteX11440" y="connsiteY11440"/>
                </a:cxn>
                <a:cxn ang="0">
                  <a:pos x="connsiteX11441" y="connsiteY11441"/>
                </a:cxn>
                <a:cxn ang="0">
                  <a:pos x="connsiteX11442" y="connsiteY11442"/>
                </a:cxn>
                <a:cxn ang="0">
                  <a:pos x="connsiteX11443" y="connsiteY11443"/>
                </a:cxn>
                <a:cxn ang="0">
                  <a:pos x="connsiteX11444" y="connsiteY11444"/>
                </a:cxn>
                <a:cxn ang="0">
                  <a:pos x="connsiteX11445" y="connsiteY11445"/>
                </a:cxn>
                <a:cxn ang="0">
                  <a:pos x="connsiteX11446" y="connsiteY11446"/>
                </a:cxn>
                <a:cxn ang="0">
                  <a:pos x="connsiteX11447" y="connsiteY11447"/>
                </a:cxn>
                <a:cxn ang="0">
                  <a:pos x="connsiteX11448" y="connsiteY11448"/>
                </a:cxn>
                <a:cxn ang="0">
                  <a:pos x="connsiteX11449" y="connsiteY11449"/>
                </a:cxn>
                <a:cxn ang="0">
                  <a:pos x="connsiteX11450" y="connsiteY11450"/>
                </a:cxn>
                <a:cxn ang="0">
                  <a:pos x="connsiteX11451" y="connsiteY11451"/>
                </a:cxn>
                <a:cxn ang="0">
                  <a:pos x="connsiteX11452" y="connsiteY11452"/>
                </a:cxn>
                <a:cxn ang="0">
                  <a:pos x="connsiteX11453" y="connsiteY11453"/>
                </a:cxn>
                <a:cxn ang="0">
                  <a:pos x="connsiteX11454" y="connsiteY11454"/>
                </a:cxn>
                <a:cxn ang="0">
                  <a:pos x="connsiteX11455" y="connsiteY11455"/>
                </a:cxn>
                <a:cxn ang="0">
                  <a:pos x="connsiteX11456" y="connsiteY11456"/>
                </a:cxn>
                <a:cxn ang="0">
                  <a:pos x="connsiteX11457" y="connsiteY11457"/>
                </a:cxn>
                <a:cxn ang="0">
                  <a:pos x="connsiteX11458" y="connsiteY11458"/>
                </a:cxn>
                <a:cxn ang="0">
                  <a:pos x="connsiteX11459" y="connsiteY11459"/>
                </a:cxn>
                <a:cxn ang="0">
                  <a:pos x="connsiteX11460" y="connsiteY11460"/>
                </a:cxn>
                <a:cxn ang="0">
                  <a:pos x="connsiteX11461" y="connsiteY11461"/>
                </a:cxn>
                <a:cxn ang="0">
                  <a:pos x="connsiteX11462" y="connsiteY11462"/>
                </a:cxn>
                <a:cxn ang="0">
                  <a:pos x="connsiteX11463" y="connsiteY11463"/>
                </a:cxn>
                <a:cxn ang="0">
                  <a:pos x="connsiteX11464" y="connsiteY11464"/>
                </a:cxn>
                <a:cxn ang="0">
                  <a:pos x="connsiteX11465" y="connsiteY11465"/>
                </a:cxn>
                <a:cxn ang="0">
                  <a:pos x="connsiteX11466" y="connsiteY11466"/>
                </a:cxn>
                <a:cxn ang="0">
                  <a:pos x="connsiteX11467" y="connsiteY11467"/>
                </a:cxn>
                <a:cxn ang="0">
                  <a:pos x="connsiteX11468" y="connsiteY11468"/>
                </a:cxn>
                <a:cxn ang="0">
                  <a:pos x="connsiteX11469" y="connsiteY11469"/>
                </a:cxn>
                <a:cxn ang="0">
                  <a:pos x="connsiteX11470" y="connsiteY11470"/>
                </a:cxn>
                <a:cxn ang="0">
                  <a:pos x="connsiteX11471" y="connsiteY11471"/>
                </a:cxn>
                <a:cxn ang="0">
                  <a:pos x="connsiteX11472" y="connsiteY11472"/>
                </a:cxn>
                <a:cxn ang="0">
                  <a:pos x="connsiteX11473" y="connsiteY11473"/>
                </a:cxn>
                <a:cxn ang="0">
                  <a:pos x="connsiteX11474" y="connsiteY11474"/>
                </a:cxn>
                <a:cxn ang="0">
                  <a:pos x="connsiteX11475" y="connsiteY11475"/>
                </a:cxn>
                <a:cxn ang="0">
                  <a:pos x="connsiteX11476" y="connsiteY11476"/>
                </a:cxn>
                <a:cxn ang="0">
                  <a:pos x="connsiteX11477" y="connsiteY11477"/>
                </a:cxn>
                <a:cxn ang="0">
                  <a:pos x="connsiteX11478" y="connsiteY11478"/>
                </a:cxn>
                <a:cxn ang="0">
                  <a:pos x="connsiteX11479" y="connsiteY11479"/>
                </a:cxn>
                <a:cxn ang="0">
                  <a:pos x="connsiteX11480" y="connsiteY11480"/>
                </a:cxn>
                <a:cxn ang="0">
                  <a:pos x="connsiteX11481" y="connsiteY11481"/>
                </a:cxn>
                <a:cxn ang="0">
                  <a:pos x="connsiteX11482" y="connsiteY11482"/>
                </a:cxn>
                <a:cxn ang="0">
                  <a:pos x="connsiteX11483" y="connsiteY11483"/>
                </a:cxn>
                <a:cxn ang="0">
                  <a:pos x="connsiteX11484" y="connsiteY11484"/>
                </a:cxn>
                <a:cxn ang="0">
                  <a:pos x="connsiteX11485" y="connsiteY11485"/>
                </a:cxn>
                <a:cxn ang="0">
                  <a:pos x="connsiteX11486" y="connsiteY11486"/>
                </a:cxn>
                <a:cxn ang="0">
                  <a:pos x="connsiteX11487" y="connsiteY11487"/>
                </a:cxn>
                <a:cxn ang="0">
                  <a:pos x="connsiteX11488" y="connsiteY11488"/>
                </a:cxn>
                <a:cxn ang="0">
                  <a:pos x="connsiteX11489" y="connsiteY11489"/>
                </a:cxn>
                <a:cxn ang="0">
                  <a:pos x="connsiteX11490" y="connsiteY11490"/>
                </a:cxn>
                <a:cxn ang="0">
                  <a:pos x="connsiteX11491" y="connsiteY11491"/>
                </a:cxn>
                <a:cxn ang="0">
                  <a:pos x="connsiteX11492" y="connsiteY11492"/>
                </a:cxn>
                <a:cxn ang="0">
                  <a:pos x="connsiteX11493" y="connsiteY11493"/>
                </a:cxn>
                <a:cxn ang="0">
                  <a:pos x="connsiteX11494" y="connsiteY11494"/>
                </a:cxn>
                <a:cxn ang="0">
                  <a:pos x="connsiteX11495" y="connsiteY11495"/>
                </a:cxn>
                <a:cxn ang="0">
                  <a:pos x="connsiteX11496" y="connsiteY11496"/>
                </a:cxn>
                <a:cxn ang="0">
                  <a:pos x="connsiteX11497" y="connsiteY11497"/>
                </a:cxn>
                <a:cxn ang="0">
                  <a:pos x="connsiteX11498" y="connsiteY11498"/>
                </a:cxn>
                <a:cxn ang="0">
                  <a:pos x="connsiteX11499" y="connsiteY11499"/>
                </a:cxn>
                <a:cxn ang="0">
                  <a:pos x="connsiteX11500" y="connsiteY11500"/>
                </a:cxn>
                <a:cxn ang="0">
                  <a:pos x="connsiteX11501" y="connsiteY11501"/>
                </a:cxn>
                <a:cxn ang="0">
                  <a:pos x="connsiteX11502" y="connsiteY11502"/>
                </a:cxn>
                <a:cxn ang="0">
                  <a:pos x="connsiteX11503" y="connsiteY11503"/>
                </a:cxn>
                <a:cxn ang="0">
                  <a:pos x="connsiteX11504" y="connsiteY11504"/>
                </a:cxn>
                <a:cxn ang="0">
                  <a:pos x="connsiteX11505" y="connsiteY11505"/>
                </a:cxn>
                <a:cxn ang="0">
                  <a:pos x="connsiteX11506" y="connsiteY11506"/>
                </a:cxn>
                <a:cxn ang="0">
                  <a:pos x="connsiteX11507" y="connsiteY11507"/>
                </a:cxn>
                <a:cxn ang="0">
                  <a:pos x="connsiteX11508" y="connsiteY11508"/>
                </a:cxn>
                <a:cxn ang="0">
                  <a:pos x="connsiteX11509" y="connsiteY11509"/>
                </a:cxn>
                <a:cxn ang="0">
                  <a:pos x="connsiteX11510" y="connsiteY11510"/>
                </a:cxn>
                <a:cxn ang="0">
                  <a:pos x="connsiteX11511" y="connsiteY11511"/>
                </a:cxn>
                <a:cxn ang="0">
                  <a:pos x="connsiteX11512" y="connsiteY11512"/>
                </a:cxn>
                <a:cxn ang="0">
                  <a:pos x="connsiteX11513" y="connsiteY11513"/>
                </a:cxn>
                <a:cxn ang="0">
                  <a:pos x="connsiteX11514" y="connsiteY11514"/>
                </a:cxn>
                <a:cxn ang="0">
                  <a:pos x="connsiteX11515" y="connsiteY11515"/>
                </a:cxn>
                <a:cxn ang="0">
                  <a:pos x="connsiteX11516" y="connsiteY11516"/>
                </a:cxn>
                <a:cxn ang="0">
                  <a:pos x="connsiteX11517" y="connsiteY11517"/>
                </a:cxn>
                <a:cxn ang="0">
                  <a:pos x="connsiteX11518" y="connsiteY11518"/>
                </a:cxn>
                <a:cxn ang="0">
                  <a:pos x="connsiteX11519" y="connsiteY11519"/>
                </a:cxn>
                <a:cxn ang="0">
                  <a:pos x="connsiteX11520" y="connsiteY11520"/>
                </a:cxn>
                <a:cxn ang="0">
                  <a:pos x="connsiteX11521" y="connsiteY11521"/>
                </a:cxn>
                <a:cxn ang="0">
                  <a:pos x="connsiteX11522" y="connsiteY11522"/>
                </a:cxn>
                <a:cxn ang="0">
                  <a:pos x="connsiteX11523" y="connsiteY11523"/>
                </a:cxn>
                <a:cxn ang="0">
                  <a:pos x="connsiteX11524" y="connsiteY11524"/>
                </a:cxn>
                <a:cxn ang="0">
                  <a:pos x="connsiteX11525" y="connsiteY11525"/>
                </a:cxn>
                <a:cxn ang="0">
                  <a:pos x="connsiteX11526" y="connsiteY11526"/>
                </a:cxn>
                <a:cxn ang="0">
                  <a:pos x="connsiteX11527" y="connsiteY11527"/>
                </a:cxn>
                <a:cxn ang="0">
                  <a:pos x="connsiteX11528" y="connsiteY11528"/>
                </a:cxn>
                <a:cxn ang="0">
                  <a:pos x="connsiteX11529" y="connsiteY11529"/>
                </a:cxn>
                <a:cxn ang="0">
                  <a:pos x="connsiteX11530" y="connsiteY11530"/>
                </a:cxn>
                <a:cxn ang="0">
                  <a:pos x="connsiteX11531" y="connsiteY11531"/>
                </a:cxn>
                <a:cxn ang="0">
                  <a:pos x="connsiteX11532" y="connsiteY11532"/>
                </a:cxn>
                <a:cxn ang="0">
                  <a:pos x="connsiteX11533" y="connsiteY11533"/>
                </a:cxn>
                <a:cxn ang="0">
                  <a:pos x="connsiteX11534" y="connsiteY11534"/>
                </a:cxn>
                <a:cxn ang="0">
                  <a:pos x="connsiteX11535" y="connsiteY11535"/>
                </a:cxn>
                <a:cxn ang="0">
                  <a:pos x="connsiteX11536" y="connsiteY11536"/>
                </a:cxn>
                <a:cxn ang="0">
                  <a:pos x="connsiteX11537" y="connsiteY11537"/>
                </a:cxn>
                <a:cxn ang="0">
                  <a:pos x="connsiteX11538" y="connsiteY11538"/>
                </a:cxn>
                <a:cxn ang="0">
                  <a:pos x="connsiteX11539" y="connsiteY11539"/>
                </a:cxn>
                <a:cxn ang="0">
                  <a:pos x="connsiteX11540" y="connsiteY11540"/>
                </a:cxn>
                <a:cxn ang="0">
                  <a:pos x="connsiteX11541" y="connsiteY11541"/>
                </a:cxn>
                <a:cxn ang="0">
                  <a:pos x="connsiteX11542" y="connsiteY11542"/>
                </a:cxn>
                <a:cxn ang="0">
                  <a:pos x="connsiteX11543" y="connsiteY11543"/>
                </a:cxn>
                <a:cxn ang="0">
                  <a:pos x="connsiteX11544" y="connsiteY11544"/>
                </a:cxn>
                <a:cxn ang="0">
                  <a:pos x="connsiteX11545" y="connsiteY11545"/>
                </a:cxn>
                <a:cxn ang="0">
                  <a:pos x="connsiteX11546" y="connsiteY11546"/>
                </a:cxn>
                <a:cxn ang="0">
                  <a:pos x="connsiteX11547" y="connsiteY11547"/>
                </a:cxn>
                <a:cxn ang="0">
                  <a:pos x="connsiteX11548" y="connsiteY11548"/>
                </a:cxn>
                <a:cxn ang="0">
                  <a:pos x="connsiteX11549" y="connsiteY11549"/>
                </a:cxn>
                <a:cxn ang="0">
                  <a:pos x="connsiteX11550" y="connsiteY11550"/>
                </a:cxn>
                <a:cxn ang="0">
                  <a:pos x="connsiteX11551" y="connsiteY11551"/>
                </a:cxn>
                <a:cxn ang="0">
                  <a:pos x="connsiteX11552" y="connsiteY11552"/>
                </a:cxn>
                <a:cxn ang="0">
                  <a:pos x="connsiteX11553" y="connsiteY11553"/>
                </a:cxn>
                <a:cxn ang="0">
                  <a:pos x="connsiteX11554" y="connsiteY11554"/>
                </a:cxn>
                <a:cxn ang="0">
                  <a:pos x="connsiteX11555" y="connsiteY11555"/>
                </a:cxn>
                <a:cxn ang="0">
                  <a:pos x="connsiteX11556" y="connsiteY11556"/>
                </a:cxn>
                <a:cxn ang="0">
                  <a:pos x="connsiteX11557" y="connsiteY11557"/>
                </a:cxn>
                <a:cxn ang="0">
                  <a:pos x="connsiteX11558" y="connsiteY11558"/>
                </a:cxn>
                <a:cxn ang="0">
                  <a:pos x="connsiteX11559" y="connsiteY11559"/>
                </a:cxn>
                <a:cxn ang="0">
                  <a:pos x="connsiteX11560" y="connsiteY11560"/>
                </a:cxn>
                <a:cxn ang="0">
                  <a:pos x="connsiteX11561" y="connsiteY11561"/>
                </a:cxn>
                <a:cxn ang="0">
                  <a:pos x="connsiteX11562" y="connsiteY11562"/>
                </a:cxn>
                <a:cxn ang="0">
                  <a:pos x="connsiteX11563" y="connsiteY11563"/>
                </a:cxn>
                <a:cxn ang="0">
                  <a:pos x="connsiteX11564" y="connsiteY11564"/>
                </a:cxn>
                <a:cxn ang="0">
                  <a:pos x="connsiteX11565" y="connsiteY11565"/>
                </a:cxn>
                <a:cxn ang="0">
                  <a:pos x="connsiteX11566" y="connsiteY11566"/>
                </a:cxn>
                <a:cxn ang="0">
                  <a:pos x="connsiteX11567" y="connsiteY11567"/>
                </a:cxn>
                <a:cxn ang="0">
                  <a:pos x="connsiteX11568" y="connsiteY11568"/>
                </a:cxn>
                <a:cxn ang="0">
                  <a:pos x="connsiteX11569" y="connsiteY11569"/>
                </a:cxn>
                <a:cxn ang="0">
                  <a:pos x="connsiteX11570" y="connsiteY11570"/>
                </a:cxn>
                <a:cxn ang="0">
                  <a:pos x="connsiteX11571" y="connsiteY11571"/>
                </a:cxn>
                <a:cxn ang="0">
                  <a:pos x="connsiteX11572" y="connsiteY11572"/>
                </a:cxn>
                <a:cxn ang="0">
                  <a:pos x="connsiteX11573" y="connsiteY11573"/>
                </a:cxn>
                <a:cxn ang="0">
                  <a:pos x="connsiteX11574" y="connsiteY11574"/>
                </a:cxn>
                <a:cxn ang="0">
                  <a:pos x="connsiteX11575" y="connsiteY11575"/>
                </a:cxn>
                <a:cxn ang="0">
                  <a:pos x="connsiteX11576" y="connsiteY11576"/>
                </a:cxn>
                <a:cxn ang="0">
                  <a:pos x="connsiteX11577" y="connsiteY11577"/>
                </a:cxn>
                <a:cxn ang="0">
                  <a:pos x="connsiteX11578" y="connsiteY11578"/>
                </a:cxn>
                <a:cxn ang="0">
                  <a:pos x="connsiteX11579" y="connsiteY11579"/>
                </a:cxn>
                <a:cxn ang="0">
                  <a:pos x="connsiteX11580" y="connsiteY11580"/>
                </a:cxn>
                <a:cxn ang="0">
                  <a:pos x="connsiteX11581" y="connsiteY11581"/>
                </a:cxn>
                <a:cxn ang="0">
                  <a:pos x="connsiteX11582" y="connsiteY11582"/>
                </a:cxn>
                <a:cxn ang="0">
                  <a:pos x="connsiteX11583" y="connsiteY11583"/>
                </a:cxn>
                <a:cxn ang="0">
                  <a:pos x="connsiteX11584" y="connsiteY11584"/>
                </a:cxn>
                <a:cxn ang="0">
                  <a:pos x="connsiteX11585" y="connsiteY11585"/>
                </a:cxn>
                <a:cxn ang="0">
                  <a:pos x="connsiteX11586" y="connsiteY11586"/>
                </a:cxn>
                <a:cxn ang="0">
                  <a:pos x="connsiteX11587" y="connsiteY11587"/>
                </a:cxn>
                <a:cxn ang="0">
                  <a:pos x="connsiteX11588" y="connsiteY11588"/>
                </a:cxn>
                <a:cxn ang="0">
                  <a:pos x="connsiteX11589" y="connsiteY11589"/>
                </a:cxn>
                <a:cxn ang="0">
                  <a:pos x="connsiteX11590" y="connsiteY11590"/>
                </a:cxn>
                <a:cxn ang="0">
                  <a:pos x="connsiteX11591" y="connsiteY11591"/>
                </a:cxn>
                <a:cxn ang="0">
                  <a:pos x="connsiteX11592" y="connsiteY11592"/>
                </a:cxn>
                <a:cxn ang="0">
                  <a:pos x="connsiteX11593" y="connsiteY11593"/>
                </a:cxn>
                <a:cxn ang="0">
                  <a:pos x="connsiteX11594" y="connsiteY11594"/>
                </a:cxn>
                <a:cxn ang="0">
                  <a:pos x="connsiteX11595" y="connsiteY11595"/>
                </a:cxn>
                <a:cxn ang="0">
                  <a:pos x="connsiteX11596" y="connsiteY11596"/>
                </a:cxn>
                <a:cxn ang="0">
                  <a:pos x="connsiteX11597" y="connsiteY11597"/>
                </a:cxn>
                <a:cxn ang="0">
                  <a:pos x="connsiteX11598" y="connsiteY11598"/>
                </a:cxn>
                <a:cxn ang="0">
                  <a:pos x="connsiteX11599" y="connsiteY11599"/>
                </a:cxn>
                <a:cxn ang="0">
                  <a:pos x="connsiteX11600" y="connsiteY11600"/>
                </a:cxn>
                <a:cxn ang="0">
                  <a:pos x="connsiteX11601" y="connsiteY11601"/>
                </a:cxn>
                <a:cxn ang="0">
                  <a:pos x="connsiteX11602" y="connsiteY11602"/>
                </a:cxn>
                <a:cxn ang="0">
                  <a:pos x="connsiteX11603" y="connsiteY11603"/>
                </a:cxn>
                <a:cxn ang="0">
                  <a:pos x="connsiteX11604" y="connsiteY11604"/>
                </a:cxn>
                <a:cxn ang="0">
                  <a:pos x="connsiteX11605" y="connsiteY11605"/>
                </a:cxn>
                <a:cxn ang="0">
                  <a:pos x="connsiteX11606" y="connsiteY11606"/>
                </a:cxn>
                <a:cxn ang="0">
                  <a:pos x="connsiteX11607" y="connsiteY11607"/>
                </a:cxn>
                <a:cxn ang="0">
                  <a:pos x="connsiteX11608" y="connsiteY11608"/>
                </a:cxn>
                <a:cxn ang="0">
                  <a:pos x="connsiteX11609" y="connsiteY11609"/>
                </a:cxn>
                <a:cxn ang="0">
                  <a:pos x="connsiteX11610" y="connsiteY11610"/>
                </a:cxn>
                <a:cxn ang="0">
                  <a:pos x="connsiteX11611" y="connsiteY11611"/>
                </a:cxn>
                <a:cxn ang="0">
                  <a:pos x="connsiteX11612" y="connsiteY11612"/>
                </a:cxn>
                <a:cxn ang="0">
                  <a:pos x="connsiteX11613" y="connsiteY11613"/>
                </a:cxn>
                <a:cxn ang="0">
                  <a:pos x="connsiteX11614" y="connsiteY11614"/>
                </a:cxn>
                <a:cxn ang="0">
                  <a:pos x="connsiteX11615" y="connsiteY11615"/>
                </a:cxn>
                <a:cxn ang="0">
                  <a:pos x="connsiteX11616" y="connsiteY11616"/>
                </a:cxn>
                <a:cxn ang="0">
                  <a:pos x="connsiteX11617" y="connsiteY11617"/>
                </a:cxn>
                <a:cxn ang="0">
                  <a:pos x="connsiteX11618" y="connsiteY11618"/>
                </a:cxn>
                <a:cxn ang="0">
                  <a:pos x="connsiteX11619" y="connsiteY11619"/>
                </a:cxn>
                <a:cxn ang="0">
                  <a:pos x="connsiteX11620" y="connsiteY11620"/>
                </a:cxn>
                <a:cxn ang="0">
                  <a:pos x="connsiteX11621" y="connsiteY11621"/>
                </a:cxn>
                <a:cxn ang="0">
                  <a:pos x="connsiteX11622" y="connsiteY11622"/>
                </a:cxn>
                <a:cxn ang="0">
                  <a:pos x="connsiteX11623" y="connsiteY11623"/>
                </a:cxn>
                <a:cxn ang="0">
                  <a:pos x="connsiteX11624" y="connsiteY11624"/>
                </a:cxn>
                <a:cxn ang="0">
                  <a:pos x="connsiteX11625" y="connsiteY11625"/>
                </a:cxn>
                <a:cxn ang="0">
                  <a:pos x="connsiteX11626" y="connsiteY11626"/>
                </a:cxn>
                <a:cxn ang="0">
                  <a:pos x="connsiteX11627" y="connsiteY11627"/>
                </a:cxn>
                <a:cxn ang="0">
                  <a:pos x="connsiteX11628" y="connsiteY11628"/>
                </a:cxn>
                <a:cxn ang="0">
                  <a:pos x="connsiteX11629" y="connsiteY11629"/>
                </a:cxn>
                <a:cxn ang="0">
                  <a:pos x="connsiteX11630" y="connsiteY11630"/>
                </a:cxn>
                <a:cxn ang="0">
                  <a:pos x="connsiteX11631" y="connsiteY11631"/>
                </a:cxn>
                <a:cxn ang="0">
                  <a:pos x="connsiteX11632" y="connsiteY11632"/>
                </a:cxn>
                <a:cxn ang="0">
                  <a:pos x="connsiteX11633" y="connsiteY11633"/>
                </a:cxn>
                <a:cxn ang="0">
                  <a:pos x="connsiteX11634" y="connsiteY11634"/>
                </a:cxn>
                <a:cxn ang="0">
                  <a:pos x="connsiteX11635" y="connsiteY11635"/>
                </a:cxn>
                <a:cxn ang="0">
                  <a:pos x="connsiteX11636" y="connsiteY11636"/>
                </a:cxn>
                <a:cxn ang="0">
                  <a:pos x="connsiteX11637" y="connsiteY11637"/>
                </a:cxn>
                <a:cxn ang="0">
                  <a:pos x="connsiteX11638" y="connsiteY11638"/>
                </a:cxn>
                <a:cxn ang="0">
                  <a:pos x="connsiteX11639" y="connsiteY11639"/>
                </a:cxn>
                <a:cxn ang="0">
                  <a:pos x="connsiteX11640" y="connsiteY11640"/>
                </a:cxn>
                <a:cxn ang="0">
                  <a:pos x="connsiteX11641" y="connsiteY11641"/>
                </a:cxn>
                <a:cxn ang="0">
                  <a:pos x="connsiteX11642" y="connsiteY11642"/>
                </a:cxn>
                <a:cxn ang="0">
                  <a:pos x="connsiteX11643" y="connsiteY11643"/>
                </a:cxn>
                <a:cxn ang="0">
                  <a:pos x="connsiteX11644" y="connsiteY11644"/>
                </a:cxn>
                <a:cxn ang="0">
                  <a:pos x="connsiteX11645" y="connsiteY11645"/>
                </a:cxn>
                <a:cxn ang="0">
                  <a:pos x="connsiteX11646" y="connsiteY11646"/>
                </a:cxn>
                <a:cxn ang="0">
                  <a:pos x="connsiteX11647" y="connsiteY11647"/>
                </a:cxn>
                <a:cxn ang="0">
                  <a:pos x="connsiteX11648" y="connsiteY11648"/>
                </a:cxn>
                <a:cxn ang="0">
                  <a:pos x="connsiteX11649" y="connsiteY11649"/>
                </a:cxn>
                <a:cxn ang="0">
                  <a:pos x="connsiteX11650" y="connsiteY11650"/>
                </a:cxn>
                <a:cxn ang="0">
                  <a:pos x="connsiteX11651" y="connsiteY11651"/>
                </a:cxn>
                <a:cxn ang="0">
                  <a:pos x="connsiteX11652" y="connsiteY11652"/>
                </a:cxn>
                <a:cxn ang="0">
                  <a:pos x="connsiteX11653" y="connsiteY11653"/>
                </a:cxn>
                <a:cxn ang="0">
                  <a:pos x="connsiteX11654" y="connsiteY11654"/>
                </a:cxn>
                <a:cxn ang="0">
                  <a:pos x="connsiteX11655" y="connsiteY11655"/>
                </a:cxn>
                <a:cxn ang="0">
                  <a:pos x="connsiteX11656" y="connsiteY11656"/>
                </a:cxn>
                <a:cxn ang="0">
                  <a:pos x="connsiteX11657" y="connsiteY11657"/>
                </a:cxn>
                <a:cxn ang="0">
                  <a:pos x="connsiteX11658" y="connsiteY11658"/>
                </a:cxn>
                <a:cxn ang="0">
                  <a:pos x="connsiteX11659" y="connsiteY11659"/>
                </a:cxn>
                <a:cxn ang="0">
                  <a:pos x="connsiteX11660" y="connsiteY11660"/>
                </a:cxn>
                <a:cxn ang="0">
                  <a:pos x="connsiteX11661" y="connsiteY11661"/>
                </a:cxn>
                <a:cxn ang="0">
                  <a:pos x="connsiteX11662" y="connsiteY11662"/>
                </a:cxn>
                <a:cxn ang="0">
                  <a:pos x="connsiteX11663" y="connsiteY11663"/>
                </a:cxn>
                <a:cxn ang="0">
                  <a:pos x="connsiteX11664" y="connsiteY11664"/>
                </a:cxn>
                <a:cxn ang="0">
                  <a:pos x="connsiteX11665" y="connsiteY11665"/>
                </a:cxn>
                <a:cxn ang="0">
                  <a:pos x="connsiteX11666" y="connsiteY11666"/>
                </a:cxn>
                <a:cxn ang="0">
                  <a:pos x="connsiteX11667" y="connsiteY11667"/>
                </a:cxn>
                <a:cxn ang="0">
                  <a:pos x="connsiteX11668" y="connsiteY11668"/>
                </a:cxn>
                <a:cxn ang="0">
                  <a:pos x="connsiteX11669" y="connsiteY11669"/>
                </a:cxn>
                <a:cxn ang="0">
                  <a:pos x="connsiteX11670" y="connsiteY11670"/>
                </a:cxn>
                <a:cxn ang="0">
                  <a:pos x="connsiteX11671" y="connsiteY11671"/>
                </a:cxn>
                <a:cxn ang="0">
                  <a:pos x="connsiteX11672" y="connsiteY11672"/>
                </a:cxn>
                <a:cxn ang="0">
                  <a:pos x="connsiteX11673" y="connsiteY11673"/>
                </a:cxn>
                <a:cxn ang="0">
                  <a:pos x="connsiteX11674" y="connsiteY11674"/>
                </a:cxn>
                <a:cxn ang="0">
                  <a:pos x="connsiteX11675" y="connsiteY11675"/>
                </a:cxn>
                <a:cxn ang="0">
                  <a:pos x="connsiteX11676" y="connsiteY11676"/>
                </a:cxn>
                <a:cxn ang="0">
                  <a:pos x="connsiteX11677" y="connsiteY11677"/>
                </a:cxn>
                <a:cxn ang="0">
                  <a:pos x="connsiteX11678" y="connsiteY11678"/>
                </a:cxn>
                <a:cxn ang="0">
                  <a:pos x="connsiteX11679" y="connsiteY11679"/>
                </a:cxn>
                <a:cxn ang="0">
                  <a:pos x="connsiteX11680" y="connsiteY11680"/>
                </a:cxn>
                <a:cxn ang="0">
                  <a:pos x="connsiteX11681" y="connsiteY11681"/>
                </a:cxn>
                <a:cxn ang="0">
                  <a:pos x="connsiteX11682" y="connsiteY11682"/>
                </a:cxn>
                <a:cxn ang="0">
                  <a:pos x="connsiteX11683" y="connsiteY11683"/>
                </a:cxn>
                <a:cxn ang="0">
                  <a:pos x="connsiteX11684" y="connsiteY11684"/>
                </a:cxn>
                <a:cxn ang="0">
                  <a:pos x="connsiteX11685" y="connsiteY11685"/>
                </a:cxn>
                <a:cxn ang="0">
                  <a:pos x="connsiteX11686" y="connsiteY11686"/>
                </a:cxn>
                <a:cxn ang="0">
                  <a:pos x="connsiteX11687" y="connsiteY11687"/>
                </a:cxn>
                <a:cxn ang="0">
                  <a:pos x="connsiteX11688" y="connsiteY11688"/>
                </a:cxn>
                <a:cxn ang="0">
                  <a:pos x="connsiteX11689" y="connsiteY11689"/>
                </a:cxn>
                <a:cxn ang="0">
                  <a:pos x="connsiteX11690" y="connsiteY11690"/>
                </a:cxn>
                <a:cxn ang="0">
                  <a:pos x="connsiteX11691" y="connsiteY11691"/>
                </a:cxn>
                <a:cxn ang="0">
                  <a:pos x="connsiteX11692" y="connsiteY11692"/>
                </a:cxn>
                <a:cxn ang="0">
                  <a:pos x="connsiteX11693" y="connsiteY11693"/>
                </a:cxn>
                <a:cxn ang="0">
                  <a:pos x="connsiteX11694" y="connsiteY11694"/>
                </a:cxn>
                <a:cxn ang="0">
                  <a:pos x="connsiteX11695" y="connsiteY11695"/>
                </a:cxn>
                <a:cxn ang="0">
                  <a:pos x="connsiteX11696" y="connsiteY11696"/>
                </a:cxn>
                <a:cxn ang="0">
                  <a:pos x="connsiteX11697" y="connsiteY11697"/>
                </a:cxn>
                <a:cxn ang="0">
                  <a:pos x="connsiteX11698" y="connsiteY11698"/>
                </a:cxn>
                <a:cxn ang="0">
                  <a:pos x="connsiteX11699" y="connsiteY11699"/>
                </a:cxn>
                <a:cxn ang="0">
                  <a:pos x="connsiteX11700" y="connsiteY11700"/>
                </a:cxn>
                <a:cxn ang="0">
                  <a:pos x="connsiteX11701" y="connsiteY11701"/>
                </a:cxn>
                <a:cxn ang="0">
                  <a:pos x="connsiteX11702" y="connsiteY11702"/>
                </a:cxn>
                <a:cxn ang="0">
                  <a:pos x="connsiteX11703" y="connsiteY11703"/>
                </a:cxn>
                <a:cxn ang="0">
                  <a:pos x="connsiteX11704" y="connsiteY11704"/>
                </a:cxn>
                <a:cxn ang="0">
                  <a:pos x="connsiteX11705" y="connsiteY11705"/>
                </a:cxn>
                <a:cxn ang="0">
                  <a:pos x="connsiteX11706" y="connsiteY11706"/>
                </a:cxn>
                <a:cxn ang="0">
                  <a:pos x="connsiteX11707" y="connsiteY11707"/>
                </a:cxn>
                <a:cxn ang="0">
                  <a:pos x="connsiteX11708" y="connsiteY11708"/>
                </a:cxn>
                <a:cxn ang="0">
                  <a:pos x="connsiteX11709" y="connsiteY11709"/>
                </a:cxn>
                <a:cxn ang="0">
                  <a:pos x="connsiteX11710" y="connsiteY11710"/>
                </a:cxn>
                <a:cxn ang="0">
                  <a:pos x="connsiteX11711" y="connsiteY11711"/>
                </a:cxn>
                <a:cxn ang="0">
                  <a:pos x="connsiteX11712" y="connsiteY11712"/>
                </a:cxn>
                <a:cxn ang="0">
                  <a:pos x="connsiteX11713" y="connsiteY11713"/>
                </a:cxn>
                <a:cxn ang="0">
                  <a:pos x="connsiteX11714" y="connsiteY11714"/>
                </a:cxn>
                <a:cxn ang="0">
                  <a:pos x="connsiteX11715" y="connsiteY11715"/>
                </a:cxn>
                <a:cxn ang="0">
                  <a:pos x="connsiteX11716" y="connsiteY11716"/>
                </a:cxn>
                <a:cxn ang="0">
                  <a:pos x="connsiteX11717" y="connsiteY11717"/>
                </a:cxn>
                <a:cxn ang="0">
                  <a:pos x="connsiteX11718" y="connsiteY11718"/>
                </a:cxn>
                <a:cxn ang="0">
                  <a:pos x="connsiteX11719" y="connsiteY11719"/>
                </a:cxn>
                <a:cxn ang="0">
                  <a:pos x="connsiteX11720" y="connsiteY11720"/>
                </a:cxn>
                <a:cxn ang="0">
                  <a:pos x="connsiteX11721" y="connsiteY11721"/>
                </a:cxn>
                <a:cxn ang="0">
                  <a:pos x="connsiteX11722" y="connsiteY11722"/>
                </a:cxn>
                <a:cxn ang="0">
                  <a:pos x="connsiteX11723" y="connsiteY11723"/>
                </a:cxn>
                <a:cxn ang="0">
                  <a:pos x="connsiteX11724" y="connsiteY11724"/>
                </a:cxn>
                <a:cxn ang="0">
                  <a:pos x="connsiteX11725" y="connsiteY11725"/>
                </a:cxn>
                <a:cxn ang="0">
                  <a:pos x="connsiteX11726" y="connsiteY11726"/>
                </a:cxn>
                <a:cxn ang="0">
                  <a:pos x="connsiteX11727" y="connsiteY11727"/>
                </a:cxn>
                <a:cxn ang="0">
                  <a:pos x="connsiteX11728" y="connsiteY11728"/>
                </a:cxn>
                <a:cxn ang="0">
                  <a:pos x="connsiteX11729" y="connsiteY11729"/>
                </a:cxn>
                <a:cxn ang="0">
                  <a:pos x="connsiteX11730" y="connsiteY11730"/>
                </a:cxn>
                <a:cxn ang="0">
                  <a:pos x="connsiteX11731" y="connsiteY11731"/>
                </a:cxn>
                <a:cxn ang="0">
                  <a:pos x="connsiteX11732" y="connsiteY11732"/>
                </a:cxn>
                <a:cxn ang="0">
                  <a:pos x="connsiteX11733" y="connsiteY11733"/>
                </a:cxn>
                <a:cxn ang="0">
                  <a:pos x="connsiteX11734" y="connsiteY11734"/>
                </a:cxn>
                <a:cxn ang="0">
                  <a:pos x="connsiteX11735" y="connsiteY11735"/>
                </a:cxn>
                <a:cxn ang="0">
                  <a:pos x="connsiteX11736" y="connsiteY11736"/>
                </a:cxn>
                <a:cxn ang="0">
                  <a:pos x="connsiteX11737" y="connsiteY11737"/>
                </a:cxn>
                <a:cxn ang="0">
                  <a:pos x="connsiteX11738" y="connsiteY11738"/>
                </a:cxn>
                <a:cxn ang="0">
                  <a:pos x="connsiteX11739" y="connsiteY11739"/>
                </a:cxn>
                <a:cxn ang="0">
                  <a:pos x="connsiteX11740" y="connsiteY11740"/>
                </a:cxn>
                <a:cxn ang="0">
                  <a:pos x="connsiteX11741" y="connsiteY11741"/>
                </a:cxn>
                <a:cxn ang="0">
                  <a:pos x="connsiteX11742" y="connsiteY11742"/>
                </a:cxn>
                <a:cxn ang="0">
                  <a:pos x="connsiteX11743" y="connsiteY11743"/>
                </a:cxn>
                <a:cxn ang="0">
                  <a:pos x="connsiteX11744" y="connsiteY11744"/>
                </a:cxn>
                <a:cxn ang="0">
                  <a:pos x="connsiteX11745" y="connsiteY11745"/>
                </a:cxn>
                <a:cxn ang="0">
                  <a:pos x="connsiteX11746" y="connsiteY11746"/>
                </a:cxn>
                <a:cxn ang="0">
                  <a:pos x="connsiteX11747" y="connsiteY11747"/>
                </a:cxn>
                <a:cxn ang="0">
                  <a:pos x="connsiteX11748" y="connsiteY11748"/>
                </a:cxn>
                <a:cxn ang="0">
                  <a:pos x="connsiteX11749" y="connsiteY11749"/>
                </a:cxn>
                <a:cxn ang="0">
                  <a:pos x="connsiteX11750" y="connsiteY11750"/>
                </a:cxn>
                <a:cxn ang="0">
                  <a:pos x="connsiteX11751" y="connsiteY11751"/>
                </a:cxn>
                <a:cxn ang="0">
                  <a:pos x="connsiteX11752" y="connsiteY11752"/>
                </a:cxn>
                <a:cxn ang="0">
                  <a:pos x="connsiteX11753" y="connsiteY11753"/>
                </a:cxn>
                <a:cxn ang="0">
                  <a:pos x="connsiteX11754" y="connsiteY11754"/>
                </a:cxn>
                <a:cxn ang="0">
                  <a:pos x="connsiteX11755" y="connsiteY11755"/>
                </a:cxn>
                <a:cxn ang="0">
                  <a:pos x="connsiteX11756" y="connsiteY11756"/>
                </a:cxn>
                <a:cxn ang="0">
                  <a:pos x="connsiteX11757" y="connsiteY11757"/>
                </a:cxn>
                <a:cxn ang="0">
                  <a:pos x="connsiteX11758" y="connsiteY11758"/>
                </a:cxn>
                <a:cxn ang="0">
                  <a:pos x="connsiteX11759" y="connsiteY11759"/>
                </a:cxn>
                <a:cxn ang="0">
                  <a:pos x="connsiteX11760" y="connsiteY11760"/>
                </a:cxn>
                <a:cxn ang="0">
                  <a:pos x="connsiteX11761" y="connsiteY11761"/>
                </a:cxn>
                <a:cxn ang="0">
                  <a:pos x="connsiteX11762" y="connsiteY11762"/>
                </a:cxn>
                <a:cxn ang="0">
                  <a:pos x="connsiteX11763" y="connsiteY11763"/>
                </a:cxn>
                <a:cxn ang="0">
                  <a:pos x="connsiteX11764" y="connsiteY11764"/>
                </a:cxn>
                <a:cxn ang="0">
                  <a:pos x="connsiteX11765" y="connsiteY11765"/>
                </a:cxn>
                <a:cxn ang="0">
                  <a:pos x="connsiteX11766" y="connsiteY11766"/>
                </a:cxn>
                <a:cxn ang="0">
                  <a:pos x="connsiteX11767" y="connsiteY11767"/>
                </a:cxn>
                <a:cxn ang="0">
                  <a:pos x="connsiteX11768" y="connsiteY11768"/>
                </a:cxn>
                <a:cxn ang="0">
                  <a:pos x="connsiteX11769" y="connsiteY11769"/>
                </a:cxn>
                <a:cxn ang="0">
                  <a:pos x="connsiteX11770" y="connsiteY11770"/>
                </a:cxn>
                <a:cxn ang="0">
                  <a:pos x="connsiteX11771" y="connsiteY11771"/>
                </a:cxn>
                <a:cxn ang="0">
                  <a:pos x="connsiteX11772" y="connsiteY11772"/>
                </a:cxn>
                <a:cxn ang="0">
                  <a:pos x="connsiteX11773" y="connsiteY11773"/>
                </a:cxn>
                <a:cxn ang="0">
                  <a:pos x="connsiteX11774" y="connsiteY11774"/>
                </a:cxn>
                <a:cxn ang="0">
                  <a:pos x="connsiteX11775" y="connsiteY11775"/>
                </a:cxn>
                <a:cxn ang="0">
                  <a:pos x="connsiteX11776" y="connsiteY11776"/>
                </a:cxn>
                <a:cxn ang="0">
                  <a:pos x="connsiteX11777" y="connsiteY11777"/>
                </a:cxn>
                <a:cxn ang="0">
                  <a:pos x="connsiteX11778" y="connsiteY11778"/>
                </a:cxn>
                <a:cxn ang="0">
                  <a:pos x="connsiteX11779" y="connsiteY11779"/>
                </a:cxn>
                <a:cxn ang="0">
                  <a:pos x="connsiteX11780" y="connsiteY11780"/>
                </a:cxn>
                <a:cxn ang="0">
                  <a:pos x="connsiteX11781" y="connsiteY11781"/>
                </a:cxn>
                <a:cxn ang="0">
                  <a:pos x="connsiteX11782" y="connsiteY11782"/>
                </a:cxn>
                <a:cxn ang="0">
                  <a:pos x="connsiteX11783" y="connsiteY11783"/>
                </a:cxn>
                <a:cxn ang="0">
                  <a:pos x="connsiteX11784" y="connsiteY11784"/>
                </a:cxn>
                <a:cxn ang="0">
                  <a:pos x="connsiteX11785" y="connsiteY11785"/>
                </a:cxn>
                <a:cxn ang="0">
                  <a:pos x="connsiteX11786" y="connsiteY11786"/>
                </a:cxn>
                <a:cxn ang="0">
                  <a:pos x="connsiteX11787" y="connsiteY11787"/>
                </a:cxn>
                <a:cxn ang="0">
                  <a:pos x="connsiteX11788" y="connsiteY11788"/>
                </a:cxn>
                <a:cxn ang="0">
                  <a:pos x="connsiteX11789" y="connsiteY11789"/>
                </a:cxn>
                <a:cxn ang="0">
                  <a:pos x="connsiteX11790" y="connsiteY11790"/>
                </a:cxn>
                <a:cxn ang="0">
                  <a:pos x="connsiteX11791" y="connsiteY11791"/>
                </a:cxn>
                <a:cxn ang="0">
                  <a:pos x="connsiteX11792" y="connsiteY11792"/>
                </a:cxn>
                <a:cxn ang="0">
                  <a:pos x="connsiteX11793" y="connsiteY11793"/>
                </a:cxn>
                <a:cxn ang="0">
                  <a:pos x="connsiteX11794" y="connsiteY11794"/>
                </a:cxn>
                <a:cxn ang="0">
                  <a:pos x="connsiteX11795" y="connsiteY11795"/>
                </a:cxn>
                <a:cxn ang="0">
                  <a:pos x="connsiteX11796" y="connsiteY11796"/>
                </a:cxn>
                <a:cxn ang="0">
                  <a:pos x="connsiteX11797" y="connsiteY11797"/>
                </a:cxn>
                <a:cxn ang="0">
                  <a:pos x="connsiteX11798" y="connsiteY11798"/>
                </a:cxn>
                <a:cxn ang="0">
                  <a:pos x="connsiteX11799" y="connsiteY11799"/>
                </a:cxn>
                <a:cxn ang="0">
                  <a:pos x="connsiteX11800" y="connsiteY11800"/>
                </a:cxn>
                <a:cxn ang="0">
                  <a:pos x="connsiteX11801" y="connsiteY11801"/>
                </a:cxn>
                <a:cxn ang="0">
                  <a:pos x="connsiteX11802" y="connsiteY11802"/>
                </a:cxn>
                <a:cxn ang="0">
                  <a:pos x="connsiteX11803" y="connsiteY11803"/>
                </a:cxn>
                <a:cxn ang="0">
                  <a:pos x="connsiteX11804" y="connsiteY11804"/>
                </a:cxn>
                <a:cxn ang="0">
                  <a:pos x="connsiteX11805" y="connsiteY11805"/>
                </a:cxn>
                <a:cxn ang="0">
                  <a:pos x="connsiteX11806" y="connsiteY11806"/>
                </a:cxn>
                <a:cxn ang="0">
                  <a:pos x="connsiteX11807" y="connsiteY11807"/>
                </a:cxn>
                <a:cxn ang="0">
                  <a:pos x="connsiteX11808" y="connsiteY11808"/>
                </a:cxn>
                <a:cxn ang="0">
                  <a:pos x="connsiteX11809" y="connsiteY11809"/>
                </a:cxn>
                <a:cxn ang="0">
                  <a:pos x="connsiteX11810" y="connsiteY11810"/>
                </a:cxn>
                <a:cxn ang="0">
                  <a:pos x="connsiteX11811" y="connsiteY11811"/>
                </a:cxn>
                <a:cxn ang="0">
                  <a:pos x="connsiteX11812" y="connsiteY11812"/>
                </a:cxn>
                <a:cxn ang="0">
                  <a:pos x="connsiteX11813" y="connsiteY11813"/>
                </a:cxn>
                <a:cxn ang="0">
                  <a:pos x="connsiteX11814" y="connsiteY11814"/>
                </a:cxn>
                <a:cxn ang="0">
                  <a:pos x="connsiteX11815" y="connsiteY11815"/>
                </a:cxn>
                <a:cxn ang="0">
                  <a:pos x="connsiteX11816" y="connsiteY11816"/>
                </a:cxn>
                <a:cxn ang="0">
                  <a:pos x="connsiteX11817" y="connsiteY11817"/>
                </a:cxn>
                <a:cxn ang="0">
                  <a:pos x="connsiteX11818" y="connsiteY11818"/>
                </a:cxn>
                <a:cxn ang="0">
                  <a:pos x="connsiteX11819" y="connsiteY11819"/>
                </a:cxn>
                <a:cxn ang="0">
                  <a:pos x="connsiteX11820" y="connsiteY11820"/>
                </a:cxn>
                <a:cxn ang="0">
                  <a:pos x="connsiteX11821" y="connsiteY11821"/>
                </a:cxn>
                <a:cxn ang="0">
                  <a:pos x="connsiteX11822" y="connsiteY11822"/>
                </a:cxn>
                <a:cxn ang="0">
                  <a:pos x="connsiteX11823" y="connsiteY11823"/>
                </a:cxn>
                <a:cxn ang="0">
                  <a:pos x="connsiteX11824" y="connsiteY11824"/>
                </a:cxn>
                <a:cxn ang="0">
                  <a:pos x="connsiteX11825" y="connsiteY11825"/>
                </a:cxn>
                <a:cxn ang="0">
                  <a:pos x="connsiteX11826" y="connsiteY11826"/>
                </a:cxn>
                <a:cxn ang="0">
                  <a:pos x="connsiteX11827" y="connsiteY11827"/>
                </a:cxn>
                <a:cxn ang="0">
                  <a:pos x="connsiteX11828" y="connsiteY11828"/>
                </a:cxn>
                <a:cxn ang="0">
                  <a:pos x="connsiteX11829" y="connsiteY11829"/>
                </a:cxn>
                <a:cxn ang="0">
                  <a:pos x="connsiteX11830" y="connsiteY11830"/>
                </a:cxn>
                <a:cxn ang="0">
                  <a:pos x="connsiteX11831" y="connsiteY11831"/>
                </a:cxn>
                <a:cxn ang="0">
                  <a:pos x="connsiteX11832" y="connsiteY11832"/>
                </a:cxn>
                <a:cxn ang="0">
                  <a:pos x="connsiteX11833" y="connsiteY11833"/>
                </a:cxn>
                <a:cxn ang="0">
                  <a:pos x="connsiteX11834" y="connsiteY11834"/>
                </a:cxn>
                <a:cxn ang="0">
                  <a:pos x="connsiteX11835" y="connsiteY11835"/>
                </a:cxn>
                <a:cxn ang="0">
                  <a:pos x="connsiteX11836" y="connsiteY11836"/>
                </a:cxn>
                <a:cxn ang="0">
                  <a:pos x="connsiteX11837" y="connsiteY11837"/>
                </a:cxn>
                <a:cxn ang="0">
                  <a:pos x="connsiteX11838" y="connsiteY11838"/>
                </a:cxn>
                <a:cxn ang="0">
                  <a:pos x="connsiteX11839" y="connsiteY11839"/>
                </a:cxn>
                <a:cxn ang="0">
                  <a:pos x="connsiteX11840" y="connsiteY11840"/>
                </a:cxn>
                <a:cxn ang="0">
                  <a:pos x="connsiteX11841" y="connsiteY11841"/>
                </a:cxn>
                <a:cxn ang="0">
                  <a:pos x="connsiteX11842" y="connsiteY11842"/>
                </a:cxn>
                <a:cxn ang="0">
                  <a:pos x="connsiteX11843" y="connsiteY11843"/>
                </a:cxn>
                <a:cxn ang="0">
                  <a:pos x="connsiteX11844" y="connsiteY11844"/>
                </a:cxn>
                <a:cxn ang="0">
                  <a:pos x="connsiteX11845" y="connsiteY11845"/>
                </a:cxn>
                <a:cxn ang="0">
                  <a:pos x="connsiteX11846" y="connsiteY11846"/>
                </a:cxn>
                <a:cxn ang="0">
                  <a:pos x="connsiteX11847" y="connsiteY11847"/>
                </a:cxn>
                <a:cxn ang="0">
                  <a:pos x="connsiteX11848" y="connsiteY11848"/>
                </a:cxn>
                <a:cxn ang="0">
                  <a:pos x="connsiteX11849" y="connsiteY11849"/>
                </a:cxn>
                <a:cxn ang="0">
                  <a:pos x="connsiteX11850" y="connsiteY11850"/>
                </a:cxn>
                <a:cxn ang="0">
                  <a:pos x="connsiteX11851" y="connsiteY11851"/>
                </a:cxn>
                <a:cxn ang="0">
                  <a:pos x="connsiteX11852" y="connsiteY11852"/>
                </a:cxn>
                <a:cxn ang="0">
                  <a:pos x="connsiteX11853" y="connsiteY11853"/>
                </a:cxn>
                <a:cxn ang="0">
                  <a:pos x="connsiteX11854" y="connsiteY11854"/>
                </a:cxn>
                <a:cxn ang="0">
                  <a:pos x="connsiteX11855" y="connsiteY11855"/>
                </a:cxn>
                <a:cxn ang="0">
                  <a:pos x="connsiteX11856" y="connsiteY11856"/>
                </a:cxn>
                <a:cxn ang="0">
                  <a:pos x="connsiteX11857" y="connsiteY11857"/>
                </a:cxn>
                <a:cxn ang="0">
                  <a:pos x="connsiteX11858" y="connsiteY11858"/>
                </a:cxn>
                <a:cxn ang="0">
                  <a:pos x="connsiteX11859" y="connsiteY11859"/>
                </a:cxn>
                <a:cxn ang="0">
                  <a:pos x="connsiteX11860" y="connsiteY11860"/>
                </a:cxn>
                <a:cxn ang="0">
                  <a:pos x="connsiteX11861" y="connsiteY11861"/>
                </a:cxn>
                <a:cxn ang="0">
                  <a:pos x="connsiteX11862" y="connsiteY11862"/>
                </a:cxn>
                <a:cxn ang="0">
                  <a:pos x="connsiteX11863" y="connsiteY11863"/>
                </a:cxn>
                <a:cxn ang="0">
                  <a:pos x="connsiteX11864" y="connsiteY11864"/>
                </a:cxn>
                <a:cxn ang="0">
                  <a:pos x="connsiteX11865" y="connsiteY11865"/>
                </a:cxn>
                <a:cxn ang="0">
                  <a:pos x="connsiteX11866" y="connsiteY11866"/>
                </a:cxn>
                <a:cxn ang="0">
                  <a:pos x="connsiteX11867" y="connsiteY11867"/>
                </a:cxn>
                <a:cxn ang="0">
                  <a:pos x="connsiteX11868" y="connsiteY11868"/>
                </a:cxn>
                <a:cxn ang="0">
                  <a:pos x="connsiteX11869" y="connsiteY11869"/>
                </a:cxn>
                <a:cxn ang="0">
                  <a:pos x="connsiteX11870" y="connsiteY11870"/>
                </a:cxn>
                <a:cxn ang="0">
                  <a:pos x="connsiteX11871" y="connsiteY11871"/>
                </a:cxn>
                <a:cxn ang="0">
                  <a:pos x="connsiteX11872" y="connsiteY11872"/>
                </a:cxn>
                <a:cxn ang="0">
                  <a:pos x="connsiteX11873" y="connsiteY11873"/>
                </a:cxn>
                <a:cxn ang="0">
                  <a:pos x="connsiteX11874" y="connsiteY11874"/>
                </a:cxn>
                <a:cxn ang="0">
                  <a:pos x="connsiteX11875" y="connsiteY11875"/>
                </a:cxn>
                <a:cxn ang="0">
                  <a:pos x="connsiteX11876" y="connsiteY11876"/>
                </a:cxn>
                <a:cxn ang="0">
                  <a:pos x="connsiteX11877" y="connsiteY11877"/>
                </a:cxn>
                <a:cxn ang="0">
                  <a:pos x="connsiteX11878" y="connsiteY11878"/>
                </a:cxn>
                <a:cxn ang="0">
                  <a:pos x="connsiteX11879" y="connsiteY11879"/>
                </a:cxn>
                <a:cxn ang="0">
                  <a:pos x="connsiteX11880" y="connsiteY11880"/>
                </a:cxn>
                <a:cxn ang="0">
                  <a:pos x="connsiteX11881" y="connsiteY11881"/>
                </a:cxn>
                <a:cxn ang="0">
                  <a:pos x="connsiteX11882" y="connsiteY11882"/>
                </a:cxn>
                <a:cxn ang="0">
                  <a:pos x="connsiteX11883" y="connsiteY11883"/>
                </a:cxn>
                <a:cxn ang="0">
                  <a:pos x="connsiteX11884" y="connsiteY11884"/>
                </a:cxn>
                <a:cxn ang="0">
                  <a:pos x="connsiteX11885" y="connsiteY11885"/>
                </a:cxn>
                <a:cxn ang="0">
                  <a:pos x="connsiteX11886" y="connsiteY11886"/>
                </a:cxn>
                <a:cxn ang="0">
                  <a:pos x="connsiteX11887" y="connsiteY11887"/>
                </a:cxn>
                <a:cxn ang="0">
                  <a:pos x="connsiteX11888" y="connsiteY11888"/>
                </a:cxn>
                <a:cxn ang="0">
                  <a:pos x="connsiteX11889" y="connsiteY11889"/>
                </a:cxn>
                <a:cxn ang="0">
                  <a:pos x="connsiteX11890" y="connsiteY11890"/>
                </a:cxn>
                <a:cxn ang="0">
                  <a:pos x="connsiteX11891" y="connsiteY11891"/>
                </a:cxn>
                <a:cxn ang="0">
                  <a:pos x="connsiteX11892" y="connsiteY11892"/>
                </a:cxn>
                <a:cxn ang="0">
                  <a:pos x="connsiteX11893" y="connsiteY11893"/>
                </a:cxn>
                <a:cxn ang="0">
                  <a:pos x="connsiteX11894" y="connsiteY11894"/>
                </a:cxn>
                <a:cxn ang="0">
                  <a:pos x="connsiteX11895" y="connsiteY11895"/>
                </a:cxn>
                <a:cxn ang="0">
                  <a:pos x="connsiteX11896" y="connsiteY11896"/>
                </a:cxn>
                <a:cxn ang="0">
                  <a:pos x="connsiteX11897" y="connsiteY11897"/>
                </a:cxn>
                <a:cxn ang="0">
                  <a:pos x="connsiteX11898" y="connsiteY11898"/>
                </a:cxn>
                <a:cxn ang="0">
                  <a:pos x="connsiteX11899" y="connsiteY11899"/>
                </a:cxn>
                <a:cxn ang="0">
                  <a:pos x="connsiteX11900" y="connsiteY11900"/>
                </a:cxn>
                <a:cxn ang="0">
                  <a:pos x="connsiteX11901" y="connsiteY11901"/>
                </a:cxn>
                <a:cxn ang="0">
                  <a:pos x="connsiteX11902" y="connsiteY11902"/>
                </a:cxn>
                <a:cxn ang="0">
                  <a:pos x="connsiteX11903" y="connsiteY11903"/>
                </a:cxn>
                <a:cxn ang="0">
                  <a:pos x="connsiteX11904" y="connsiteY11904"/>
                </a:cxn>
                <a:cxn ang="0">
                  <a:pos x="connsiteX11905" y="connsiteY11905"/>
                </a:cxn>
                <a:cxn ang="0">
                  <a:pos x="connsiteX11906" y="connsiteY11906"/>
                </a:cxn>
                <a:cxn ang="0">
                  <a:pos x="connsiteX11907" y="connsiteY11907"/>
                </a:cxn>
                <a:cxn ang="0">
                  <a:pos x="connsiteX11908" y="connsiteY11908"/>
                </a:cxn>
                <a:cxn ang="0">
                  <a:pos x="connsiteX11909" y="connsiteY11909"/>
                </a:cxn>
                <a:cxn ang="0">
                  <a:pos x="connsiteX11910" y="connsiteY11910"/>
                </a:cxn>
                <a:cxn ang="0">
                  <a:pos x="connsiteX11911" y="connsiteY11911"/>
                </a:cxn>
                <a:cxn ang="0">
                  <a:pos x="connsiteX11912" y="connsiteY11912"/>
                </a:cxn>
                <a:cxn ang="0">
                  <a:pos x="connsiteX11913" y="connsiteY11913"/>
                </a:cxn>
                <a:cxn ang="0">
                  <a:pos x="connsiteX11914" y="connsiteY11914"/>
                </a:cxn>
                <a:cxn ang="0">
                  <a:pos x="connsiteX11915" y="connsiteY11915"/>
                </a:cxn>
                <a:cxn ang="0">
                  <a:pos x="connsiteX11916" y="connsiteY11916"/>
                </a:cxn>
                <a:cxn ang="0">
                  <a:pos x="connsiteX11917" y="connsiteY11917"/>
                </a:cxn>
                <a:cxn ang="0">
                  <a:pos x="connsiteX11918" y="connsiteY11918"/>
                </a:cxn>
                <a:cxn ang="0">
                  <a:pos x="connsiteX11919" y="connsiteY11919"/>
                </a:cxn>
                <a:cxn ang="0">
                  <a:pos x="connsiteX11920" y="connsiteY11920"/>
                </a:cxn>
                <a:cxn ang="0">
                  <a:pos x="connsiteX11921" y="connsiteY11921"/>
                </a:cxn>
                <a:cxn ang="0">
                  <a:pos x="connsiteX11922" y="connsiteY11922"/>
                </a:cxn>
                <a:cxn ang="0">
                  <a:pos x="connsiteX11923" y="connsiteY11923"/>
                </a:cxn>
                <a:cxn ang="0">
                  <a:pos x="connsiteX11924" y="connsiteY11924"/>
                </a:cxn>
                <a:cxn ang="0">
                  <a:pos x="connsiteX11925" y="connsiteY11925"/>
                </a:cxn>
                <a:cxn ang="0">
                  <a:pos x="connsiteX11926" y="connsiteY11926"/>
                </a:cxn>
                <a:cxn ang="0">
                  <a:pos x="connsiteX11927" y="connsiteY11927"/>
                </a:cxn>
                <a:cxn ang="0">
                  <a:pos x="connsiteX11928" y="connsiteY11928"/>
                </a:cxn>
                <a:cxn ang="0">
                  <a:pos x="connsiteX11929" y="connsiteY11929"/>
                </a:cxn>
                <a:cxn ang="0">
                  <a:pos x="connsiteX11930" y="connsiteY11930"/>
                </a:cxn>
                <a:cxn ang="0">
                  <a:pos x="connsiteX11931" y="connsiteY11931"/>
                </a:cxn>
                <a:cxn ang="0">
                  <a:pos x="connsiteX11932" y="connsiteY11932"/>
                </a:cxn>
                <a:cxn ang="0">
                  <a:pos x="connsiteX11933" y="connsiteY11933"/>
                </a:cxn>
                <a:cxn ang="0">
                  <a:pos x="connsiteX11934" y="connsiteY11934"/>
                </a:cxn>
                <a:cxn ang="0">
                  <a:pos x="connsiteX11935" y="connsiteY11935"/>
                </a:cxn>
                <a:cxn ang="0">
                  <a:pos x="connsiteX11936" y="connsiteY11936"/>
                </a:cxn>
                <a:cxn ang="0">
                  <a:pos x="connsiteX11937" y="connsiteY11937"/>
                </a:cxn>
                <a:cxn ang="0">
                  <a:pos x="connsiteX11938" y="connsiteY11938"/>
                </a:cxn>
                <a:cxn ang="0">
                  <a:pos x="connsiteX11939" y="connsiteY11939"/>
                </a:cxn>
                <a:cxn ang="0">
                  <a:pos x="connsiteX11940" y="connsiteY11940"/>
                </a:cxn>
                <a:cxn ang="0">
                  <a:pos x="connsiteX11941" y="connsiteY11941"/>
                </a:cxn>
                <a:cxn ang="0">
                  <a:pos x="connsiteX11942" y="connsiteY11942"/>
                </a:cxn>
                <a:cxn ang="0">
                  <a:pos x="connsiteX11943" y="connsiteY11943"/>
                </a:cxn>
                <a:cxn ang="0">
                  <a:pos x="connsiteX11944" y="connsiteY11944"/>
                </a:cxn>
                <a:cxn ang="0">
                  <a:pos x="connsiteX11945" y="connsiteY11945"/>
                </a:cxn>
                <a:cxn ang="0">
                  <a:pos x="connsiteX11946" y="connsiteY11946"/>
                </a:cxn>
                <a:cxn ang="0">
                  <a:pos x="connsiteX11947" y="connsiteY11947"/>
                </a:cxn>
                <a:cxn ang="0">
                  <a:pos x="connsiteX11948" y="connsiteY11948"/>
                </a:cxn>
                <a:cxn ang="0">
                  <a:pos x="connsiteX11949" y="connsiteY11949"/>
                </a:cxn>
                <a:cxn ang="0">
                  <a:pos x="connsiteX11950" y="connsiteY11950"/>
                </a:cxn>
                <a:cxn ang="0">
                  <a:pos x="connsiteX11951" y="connsiteY11951"/>
                </a:cxn>
                <a:cxn ang="0">
                  <a:pos x="connsiteX11952" y="connsiteY11952"/>
                </a:cxn>
                <a:cxn ang="0">
                  <a:pos x="connsiteX11953" y="connsiteY11953"/>
                </a:cxn>
                <a:cxn ang="0">
                  <a:pos x="connsiteX11954" y="connsiteY11954"/>
                </a:cxn>
                <a:cxn ang="0">
                  <a:pos x="connsiteX11955" y="connsiteY11955"/>
                </a:cxn>
                <a:cxn ang="0">
                  <a:pos x="connsiteX11956" y="connsiteY11956"/>
                </a:cxn>
                <a:cxn ang="0">
                  <a:pos x="connsiteX11957" y="connsiteY11957"/>
                </a:cxn>
                <a:cxn ang="0">
                  <a:pos x="connsiteX11958" y="connsiteY11958"/>
                </a:cxn>
                <a:cxn ang="0">
                  <a:pos x="connsiteX11959" y="connsiteY11959"/>
                </a:cxn>
                <a:cxn ang="0">
                  <a:pos x="connsiteX11960" y="connsiteY11960"/>
                </a:cxn>
                <a:cxn ang="0">
                  <a:pos x="connsiteX11961" y="connsiteY11961"/>
                </a:cxn>
                <a:cxn ang="0">
                  <a:pos x="connsiteX11962" y="connsiteY11962"/>
                </a:cxn>
                <a:cxn ang="0">
                  <a:pos x="connsiteX11963" y="connsiteY11963"/>
                </a:cxn>
                <a:cxn ang="0">
                  <a:pos x="connsiteX11964" y="connsiteY11964"/>
                </a:cxn>
                <a:cxn ang="0">
                  <a:pos x="connsiteX11965" y="connsiteY11965"/>
                </a:cxn>
                <a:cxn ang="0">
                  <a:pos x="connsiteX11966" y="connsiteY11966"/>
                </a:cxn>
                <a:cxn ang="0">
                  <a:pos x="connsiteX11967" y="connsiteY11967"/>
                </a:cxn>
                <a:cxn ang="0">
                  <a:pos x="connsiteX11968" y="connsiteY11968"/>
                </a:cxn>
                <a:cxn ang="0">
                  <a:pos x="connsiteX11969" y="connsiteY11969"/>
                </a:cxn>
                <a:cxn ang="0">
                  <a:pos x="connsiteX11970" y="connsiteY11970"/>
                </a:cxn>
                <a:cxn ang="0">
                  <a:pos x="connsiteX11971" y="connsiteY11971"/>
                </a:cxn>
                <a:cxn ang="0">
                  <a:pos x="connsiteX11972" y="connsiteY11972"/>
                </a:cxn>
                <a:cxn ang="0">
                  <a:pos x="connsiteX11973" y="connsiteY11973"/>
                </a:cxn>
                <a:cxn ang="0">
                  <a:pos x="connsiteX11974" y="connsiteY11974"/>
                </a:cxn>
                <a:cxn ang="0">
                  <a:pos x="connsiteX11975" y="connsiteY11975"/>
                </a:cxn>
                <a:cxn ang="0">
                  <a:pos x="connsiteX11976" y="connsiteY11976"/>
                </a:cxn>
                <a:cxn ang="0">
                  <a:pos x="connsiteX11977" y="connsiteY11977"/>
                </a:cxn>
                <a:cxn ang="0">
                  <a:pos x="connsiteX11978" y="connsiteY11978"/>
                </a:cxn>
                <a:cxn ang="0">
                  <a:pos x="connsiteX11979" y="connsiteY11979"/>
                </a:cxn>
                <a:cxn ang="0">
                  <a:pos x="connsiteX11980" y="connsiteY11980"/>
                </a:cxn>
                <a:cxn ang="0">
                  <a:pos x="connsiteX11981" y="connsiteY11981"/>
                </a:cxn>
                <a:cxn ang="0">
                  <a:pos x="connsiteX11982" y="connsiteY11982"/>
                </a:cxn>
                <a:cxn ang="0">
                  <a:pos x="connsiteX11983" y="connsiteY11983"/>
                </a:cxn>
                <a:cxn ang="0">
                  <a:pos x="connsiteX11984" y="connsiteY11984"/>
                </a:cxn>
                <a:cxn ang="0">
                  <a:pos x="connsiteX11985" y="connsiteY11985"/>
                </a:cxn>
                <a:cxn ang="0">
                  <a:pos x="connsiteX11986" y="connsiteY11986"/>
                </a:cxn>
                <a:cxn ang="0">
                  <a:pos x="connsiteX11987" y="connsiteY11987"/>
                </a:cxn>
                <a:cxn ang="0">
                  <a:pos x="connsiteX11988" y="connsiteY11988"/>
                </a:cxn>
                <a:cxn ang="0">
                  <a:pos x="connsiteX11989" y="connsiteY11989"/>
                </a:cxn>
                <a:cxn ang="0">
                  <a:pos x="connsiteX11990" y="connsiteY11990"/>
                </a:cxn>
                <a:cxn ang="0">
                  <a:pos x="connsiteX11991" y="connsiteY11991"/>
                </a:cxn>
                <a:cxn ang="0">
                  <a:pos x="connsiteX11992" y="connsiteY11992"/>
                </a:cxn>
                <a:cxn ang="0">
                  <a:pos x="connsiteX11993" y="connsiteY11993"/>
                </a:cxn>
                <a:cxn ang="0">
                  <a:pos x="connsiteX11994" y="connsiteY11994"/>
                </a:cxn>
                <a:cxn ang="0">
                  <a:pos x="connsiteX11995" y="connsiteY11995"/>
                </a:cxn>
                <a:cxn ang="0">
                  <a:pos x="connsiteX11996" y="connsiteY11996"/>
                </a:cxn>
                <a:cxn ang="0">
                  <a:pos x="connsiteX11997" y="connsiteY11997"/>
                </a:cxn>
                <a:cxn ang="0">
                  <a:pos x="connsiteX11998" y="connsiteY11998"/>
                </a:cxn>
                <a:cxn ang="0">
                  <a:pos x="connsiteX11999" y="connsiteY11999"/>
                </a:cxn>
                <a:cxn ang="0">
                  <a:pos x="connsiteX12000" y="connsiteY12000"/>
                </a:cxn>
                <a:cxn ang="0">
                  <a:pos x="connsiteX12001" y="connsiteY12001"/>
                </a:cxn>
                <a:cxn ang="0">
                  <a:pos x="connsiteX12002" y="connsiteY12002"/>
                </a:cxn>
                <a:cxn ang="0">
                  <a:pos x="connsiteX12003" y="connsiteY12003"/>
                </a:cxn>
                <a:cxn ang="0">
                  <a:pos x="connsiteX12004" y="connsiteY12004"/>
                </a:cxn>
                <a:cxn ang="0">
                  <a:pos x="connsiteX12005" y="connsiteY12005"/>
                </a:cxn>
                <a:cxn ang="0">
                  <a:pos x="connsiteX12006" y="connsiteY12006"/>
                </a:cxn>
                <a:cxn ang="0">
                  <a:pos x="connsiteX12007" y="connsiteY12007"/>
                </a:cxn>
                <a:cxn ang="0">
                  <a:pos x="connsiteX12008" y="connsiteY12008"/>
                </a:cxn>
                <a:cxn ang="0">
                  <a:pos x="connsiteX12009" y="connsiteY12009"/>
                </a:cxn>
                <a:cxn ang="0">
                  <a:pos x="connsiteX12010" y="connsiteY12010"/>
                </a:cxn>
                <a:cxn ang="0">
                  <a:pos x="connsiteX12011" y="connsiteY12011"/>
                </a:cxn>
                <a:cxn ang="0">
                  <a:pos x="connsiteX12012" y="connsiteY12012"/>
                </a:cxn>
                <a:cxn ang="0">
                  <a:pos x="connsiteX12013" y="connsiteY12013"/>
                </a:cxn>
                <a:cxn ang="0">
                  <a:pos x="connsiteX12014" y="connsiteY12014"/>
                </a:cxn>
                <a:cxn ang="0">
                  <a:pos x="connsiteX12015" y="connsiteY12015"/>
                </a:cxn>
                <a:cxn ang="0">
                  <a:pos x="connsiteX12016" y="connsiteY12016"/>
                </a:cxn>
                <a:cxn ang="0">
                  <a:pos x="connsiteX12017" y="connsiteY12017"/>
                </a:cxn>
                <a:cxn ang="0">
                  <a:pos x="connsiteX12018" y="connsiteY12018"/>
                </a:cxn>
                <a:cxn ang="0">
                  <a:pos x="connsiteX12019" y="connsiteY12019"/>
                </a:cxn>
                <a:cxn ang="0">
                  <a:pos x="connsiteX12020" y="connsiteY12020"/>
                </a:cxn>
                <a:cxn ang="0">
                  <a:pos x="connsiteX12021" y="connsiteY12021"/>
                </a:cxn>
                <a:cxn ang="0">
                  <a:pos x="connsiteX12022" y="connsiteY12022"/>
                </a:cxn>
                <a:cxn ang="0">
                  <a:pos x="connsiteX12023" y="connsiteY12023"/>
                </a:cxn>
                <a:cxn ang="0">
                  <a:pos x="connsiteX12024" y="connsiteY12024"/>
                </a:cxn>
                <a:cxn ang="0">
                  <a:pos x="connsiteX12025" y="connsiteY12025"/>
                </a:cxn>
                <a:cxn ang="0">
                  <a:pos x="connsiteX12026" y="connsiteY12026"/>
                </a:cxn>
                <a:cxn ang="0">
                  <a:pos x="connsiteX12027" y="connsiteY12027"/>
                </a:cxn>
                <a:cxn ang="0">
                  <a:pos x="connsiteX12028" y="connsiteY12028"/>
                </a:cxn>
                <a:cxn ang="0">
                  <a:pos x="connsiteX12029" y="connsiteY12029"/>
                </a:cxn>
                <a:cxn ang="0">
                  <a:pos x="connsiteX12030" y="connsiteY12030"/>
                </a:cxn>
                <a:cxn ang="0">
                  <a:pos x="connsiteX12031" y="connsiteY12031"/>
                </a:cxn>
                <a:cxn ang="0">
                  <a:pos x="connsiteX12032" y="connsiteY12032"/>
                </a:cxn>
                <a:cxn ang="0">
                  <a:pos x="connsiteX12033" y="connsiteY12033"/>
                </a:cxn>
                <a:cxn ang="0">
                  <a:pos x="connsiteX12034" y="connsiteY12034"/>
                </a:cxn>
                <a:cxn ang="0">
                  <a:pos x="connsiteX12035" y="connsiteY12035"/>
                </a:cxn>
                <a:cxn ang="0">
                  <a:pos x="connsiteX12036" y="connsiteY12036"/>
                </a:cxn>
                <a:cxn ang="0">
                  <a:pos x="connsiteX12037" y="connsiteY12037"/>
                </a:cxn>
                <a:cxn ang="0">
                  <a:pos x="connsiteX12038" y="connsiteY12038"/>
                </a:cxn>
                <a:cxn ang="0">
                  <a:pos x="connsiteX12039" y="connsiteY12039"/>
                </a:cxn>
                <a:cxn ang="0">
                  <a:pos x="connsiteX12040" y="connsiteY12040"/>
                </a:cxn>
                <a:cxn ang="0">
                  <a:pos x="connsiteX12041" y="connsiteY12041"/>
                </a:cxn>
                <a:cxn ang="0">
                  <a:pos x="connsiteX12042" y="connsiteY12042"/>
                </a:cxn>
                <a:cxn ang="0">
                  <a:pos x="connsiteX12043" y="connsiteY12043"/>
                </a:cxn>
                <a:cxn ang="0">
                  <a:pos x="connsiteX12044" y="connsiteY12044"/>
                </a:cxn>
                <a:cxn ang="0">
                  <a:pos x="connsiteX12045" y="connsiteY12045"/>
                </a:cxn>
                <a:cxn ang="0">
                  <a:pos x="connsiteX12046" y="connsiteY12046"/>
                </a:cxn>
                <a:cxn ang="0">
                  <a:pos x="connsiteX12047" y="connsiteY12047"/>
                </a:cxn>
                <a:cxn ang="0">
                  <a:pos x="connsiteX12048" y="connsiteY12048"/>
                </a:cxn>
                <a:cxn ang="0">
                  <a:pos x="connsiteX12049" y="connsiteY12049"/>
                </a:cxn>
                <a:cxn ang="0">
                  <a:pos x="connsiteX12050" y="connsiteY12050"/>
                </a:cxn>
                <a:cxn ang="0">
                  <a:pos x="connsiteX12051" y="connsiteY12051"/>
                </a:cxn>
                <a:cxn ang="0">
                  <a:pos x="connsiteX12052" y="connsiteY12052"/>
                </a:cxn>
                <a:cxn ang="0">
                  <a:pos x="connsiteX12053" y="connsiteY12053"/>
                </a:cxn>
                <a:cxn ang="0">
                  <a:pos x="connsiteX12054" y="connsiteY12054"/>
                </a:cxn>
                <a:cxn ang="0">
                  <a:pos x="connsiteX12055" y="connsiteY12055"/>
                </a:cxn>
                <a:cxn ang="0">
                  <a:pos x="connsiteX12056" y="connsiteY12056"/>
                </a:cxn>
                <a:cxn ang="0">
                  <a:pos x="connsiteX12057" y="connsiteY12057"/>
                </a:cxn>
                <a:cxn ang="0">
                  <a:pos x="connsiteX12058" y="connsiteY12058"/>
                </a:cxn>
                <a:cxn ang="0">
                  <a:pos x="connsiteX12059" y="connsiteY12059"/>
                </a:cxn>
                <a:cxn ang="0">
                  <a:pos x="connsiteX12060" y="connsiteY12060"/>
                </a:cxn>
                <a:cxn ang="0">
                  <a:pos x="connsiteX12061" y="connsiteY12061"/>
                </a:cxn>
                <a:cxn ang="0">
                  <a:pos x="connsiteX12062" y="connsiteY12062"/>
                </a:cxn>
                <a:cxn ang="0">
                  <a:pos x="connsiteX12063" y="connsiteY12063"/>
                </a:cxn>
                <a:cxn ang="0">
                  <a:pos x="connsiteX12064" y="connsiteY12064"/>
                </a:cxn>
                <a:cxn ang="0">
                  <a:pos x="connsiteX12065" y="connsiteY12065"/>
                </a:cxn>
                <a:cxn ang="0">
                  <a:pos x="connsiteX12066" y="connsiteY12066"/>
                </a:cxn>
                <a:cxn ang="0">
                  <a:pos x="connsiteX12067" y="connsiteY12067"/>
                </a:cxn>
                <a:cxn ang="0">
                  <a:pos x="connsiteX12068" y="connsiteY12068"/>
                </a:cxn>
                <a:cxn ang="0">
                  <a:pos x="connsiteX12069" y="connsiteY12069"/>
                </a:cxn>
                <a:cxn ang="0">
                  <a:pos x="connsiteX12070" y="connsiteY12070"/>
                </a:cxn>
                <a:cxn ang="0">
                  <a:pos x="connsiteX12071" y="connsiteY12071"/>
                </a:cxn>
                <a:cxn ang="0">
                  <a:pos x="connsiteX12072" y="connsiteY12072"/>
                </a:cxn>
                <a:cxn ang="0">
                  <a:pos x="connsiteX12073" y="connsiteY12073"/>
                </a:cxn>
                <a:cxn ang="0">
                  <a:pos x="connsiteX12074" y="connsiteY12074"/>
                </a:cxn>
                <a:cxn ang="0">
                  <a:pos x="connsiteX12075" y="connsiteY12075"/>
                </a:cxn>
                <a:cxn ang="0">
                  <a:pos x="connsiteX12076" y="connsiteY12076"/>
                </a:cxn>
                <a:cxn ang="0">
                  <a:pos x="connsiteX12077" y="connsiteY12077"/>
                </a:cxn>
                <a:cxn ang="0">
                  <a:pos x="connsiteX12078" y="connsiteY12078"/>
                </a:cxn>
                <a:cxn ang="0">
                  <a:pos x="connsiteX12079" y="connsiteY12079"/>
                </a:cxn>
                <a:cxn ang="0">
                  <a:pos x="connsiteX12080" y="connsiteY12080"/>
                </a:cxn>
                <a:cxn ang="0">
                  <a:pos x="connsiteX12081" y="connsiteY12081"/>
                </a:cxn>
                <a:cxn ang="0">
                  <a:pos x="connsiteX12082" y="connsiteY12082"/>
                </a:cxn>
                <a:cxn ang="0">
                  <a:pos x="connsiteX12083" y="connsiteY12083"/>
                </a:cxn>
                <a:cxn ang="0">
                  <a:pos x="connsiteX12084" y="connsiteY12084"/>
                </a:cxn>
                <a:cxn ang="0">
                  <a:pos x="connsiteX12085" y="connsiteY12085"/>
                </a:cxn>
                <a:cxn ang="0">
                  <a:pos x="connsiteX12086" y="connsiteY12086"/>
                </a:cxn>
                <a:cxn ang="0">
                  <a:pos x="connsiteX12087" y="connsiteY12087"/>
                </a:cxn>
                <a:cxn ang="0">
                  <a:pos x="connsiteX12088" y="connsiteY12088"/>
                </a:cxn>
                <a:cxn ang="0">
                  <a:pos x="connsiteX12089" y="connsiteY12089"/>
                </a:cxn>
                <a:cxn ang="0">
                  <a:pos x="connsiteX12090" y="connsiteY12090"/>
                </a:cxn>
                <a:cxn ang="0">
                  <a:pos x="connsiteX12091" y="connsiteY12091"/>
                </a:cxn>
                <a:cxn ang="0">
                  <a:pos x="connsiteX12092" y="connsiteY12092"/>
                </a:cxn>
                <a:cxn ang="0">
                  <a:pos x="connsiteX12093" y="connsiteY12093"/>
                </a:cxn>
                <a:cxn ang="0">
                  <a:pos x="connsiteX12094" y="connsiteY12094"/>
                </a:cxn>
                <a:cxn ang="0">
                  <a:pos x="connsiteX12095" y="connsiteY12095"/>
                </a:cxn>
                <a:cxn ang="0">
                  <a:pos x="connsiteX12096" y="connsiteY12096"/>
                </a:cxn>
                <a:cxn ang="0">
                  <a:pos x="connsiteX12097" y="connsiteY12097"/>
                </a:cxn>
                <a:cxn ang="0">
                  <a:pos x="connsiteX12098" y="connsiteY12098"/>
                </a:cxn>
                <a:cxn ang="0">
                  <a:pos x="connsiteX12099" y="connsiteY12099"/>
                </a:cxn>
                <a:cxn ang="0">
                  <a:pos x="connsiteX12100" y="connsiteY12100"/>
                </a:cxn>
                <a:cxn ang="0">
                  <a:pos x="connsiteX12101" y="connsiteY12101"/>
                </a:cxn>
                <a:cxn ang="0">
                  <a:pos x="connsiteX12102" y="connsiteY12102"/>
                </a:cxn>
                <a:cxn ang="0">
                  <a:pos x="connsiteX12103" y="connsiteY12103"/>
                </a:cxn>
                <a:cxn ang="0">
                  <a:pos x="connsiteX12104" y="connsiteY12104"/>
                </a:cxn>
                <a:cxn ang="0">
                  <a:pos x="connsiteX12105" y="connsiteY12105"/>
                </a:cxn>
                <a:cxn ang="0">
                  <a:pos x="connsiteX12106" y="connsiteY12106"/>
                </a:cxn>
                <a:cxn ang="0">
                  <a:pos x="connsiteX12107" y="connsiteY12107"/>
                </a:cxn>
                <a:cxn ang="0">
                  <a:pos x="connsiteX12108" y="connsiteY12108"/>
                </a:cxn>
                <a:cxn ang="0">
                  <a:pos x="connsiteX12109" y="connsiteY12109"/>
                </a:cxn>
                <a:cxn ang="0">
                  <a:pos x="connsiteX12110" y="connsiteY12110"/>
                </a:cxn>
                <a:cxn ang="0">
                  <a:pos x="connsiteX12111" y="connsiteY12111"/>
                </a:cxn>
                <a:cxn ang="0">
                  <a:pos x="connsiteX12112" y="connsiteY12112"/>
                </a:cxn>
                <a:cxn ang="0">
                  <a:pos x="connsiteX12113" y="connsiteY12113"/>
                </a:cxn>
                <a:cxn ang="0">
                  <a:pos x="connsiteX12114" y="connsiteY12114"/>
                </a:cxn>
                <a:cxn ang="0">
                  <a:pos x="connsiteX12115" y="connsiteY12115"/>
                </a:cxn>
                <a:cxn ang="0">
                  <a:pos x="connsiteX12116" y="connsiteY12116"/>
                </a:cxn>
                <a:cxn ang="0">
                  <a:pos x="connsiteX12117" y="connsiteY12117"/>
                </a:cxn>
                <a:cxn ang="0">
                  <a:pos x="connsiteX12118" y="connsiteY12118"/>
                </a:cxn>
                <a:cxn ang="0">
                  <a:pos x="connsiteX12119" y="connsiteY12119"/>
                </a:cxn>
                <a:cxn ang="0">
                  <a:pos x="connsiteX12120" y="connsiteY12120"/>
                </a:cxn>
                <a:cxn ang="0">
                  <a:pos x="connsiteX12121" y="connsiteY12121"/>
                </a:cxn>
                <a:cxn ang="0">
                  <a:pos x="connsiteX12122" y="connsiteY12122"/>
                </a:cxn>
                <a:cxn ang="0">
                  <a:pos x="connsiteX12123" y="connsiteY12123"/>
                </a:cxn>
                <a:cxn ang="0">
                  <a:pos x="connsiteX12124" y="connsiteY12124"/>
                </a:cxn>
                <a:cxn ang="0">
                  <a:pos x="connsiteX12125" y="connsiteY12125"/>
                </a:cxn>
                <a:cxn ang="0">
                  <a:pos x="connsiteX12126" y="connsiteY12126"/>
                </a:cxn>
                <a:cxn ang="0">
                  <a:pos x="connsiteX12127" y="connsiteY12127"/>
                </a:cxn>
                <a:cxn ang="0">
                  <a:pos x="connsiteX12128" y="connsiteY12128"/>
                </a:cxn>
                <a:cxn ang="0">
                  <a:pos x="connsiteX12129" y="connsiteY12129"/>
                </a:cxn>
                <a:cxn ang="0">
                  <a:pos x="connsiteX12130" y="connsiteY12130"/>
                </a:cxn>
                <a:cxn ang="0">
                  <a:pos x="connsiteX12131" y="connsiteY12131"/>
                </a:cxn>
                <a:cxn ang="0">
                  <a:pos x="connsiteX12132" y="connsiteY12132"/>
                </a:cxn>
                <a:cxn ang="0">
                  <a:pos x="connsiteX12133" y="connsiteY12133"/>
                </a:cxn>
                <a:cxn ang="0">
                  <a:pos x="connsiteX12134" y="connsiteY12134"/>
                </a:cxn>
                <a:cxn ang="0">
                  <a:pos x="connsiteX12135" y="connsiteY12135"/>
                </a:cxn>
                <a:cxn ang="0">
                  <a:pos x="connsiteX12136" y="connsiteY12136"/>
                </a:cxn>
                <a:cxn ang="0">
                  <a:pos x="connsiteX12137" y="connsiteY12137"/>
                </a:cxn>
                <a:cxn ang="0">
                  <a:pos x="connsiteX12138" y="connsiteY12138"/>
                </a:cxn>
                <a:cxn ang="0">
                  <a:pos x="connsiteX12139" y="connsiteY12139"/>
                </a:cxn>
                <a:cxn ang="0">
                  <a:pos x="connsiteX12140" y="connsiteY12140"/>
                </a:cxn>
                <a:cxn ang="0">
                  <a:pos x="connsiteX12141" y="connsiteY12141"/>
                </a:cxn>
                <a:cxn ang="0">
                  <a:pos x="connsiteX12142" y="connsiteY12142"/>
                </a:cxn>
                <a:cxn ang="0">
                  <a:pos x="connsiteX12143" y="connsiteY12143"/>
                </a:cxn>
                <a:cxn ang="0">
                  <a:pos x="connsiteX12144" y="connsiteY12144"/>
                </a:cxn>
                <a:cxn ang="0">
                  <a:pos x="connsiteX12145" y="connsiteY12145"/>
                </a:cxn>
                <a:cxn ang="0">
                  <a:pos x="connsiteX12146" y="connsiteY12146"/>
                </a:cxn>
                <a:cxn ang="0">
                  <a:pos x="connsiteX12147" y="connsiteY12147"/>
                </a:cxn>
                <a:cxn ang="0">
                  <a:pos x="connsiteX12148" y="connsiteY12148"/>
                </a:cxn>
                <a:cxn ang="0">
                  <a:pos x="connsiteX12149" y="connsiteY12149"/>
                </a:cxn>
                <a:cxn ang="0">
                  <a:pos x="connsiteX12150" y="connsiteY12150"/>
                </a:cxn>
                <a:cxn ang="0">
                  <a:pos x="connsiteX12151" y="connsiteY12151"/>
                </a:cxn>
                <a:cxn ang="0">
                  <a:pos x="connsiteX12152" y="connsiteY12152"/>
                </a:cxn>
                <a:cxn ang="0">
                  <a:pos x="connsiteX12153" y="connsiteY12153"/>
                </a:cxn>
                <a:cxn ang="0">
                  <a:pos x="connsiteX12154" y="connsiteY12154"/>
                </a:cxn>
                <a:cxn ang="0">
                  <a:pos x="connsiteX12155" y="connsiteY12155"/>
                </a:cxn>
                <a:cxn ang="0">
                  <a:pos x="connsiteX12156" y="connsiteY12156"/>
                </a:cxn>
                <a:cxn ang="0">
                  <a:pos x="connsiteX12157" y="connsiteY12157"/>
                </a:cxn>
                <a:cxn ang="0">
                  <a:pos x="connsiteX12158" y="connsiteY12158"/>
                </a:cxn>
                <a:cxn ang="0">
                  <a:pos x="connsiteX12159" y="connsiteY12159"/>
                </a:cxn>
                <a:cxn ang="0">
                  <a:pos x="connsiteX12160" y="connsiteY12160"/>
                </a:cxn>
                <a:cxn ang="0">
                  <a:pos x="connsiteX12161" y="connsiteY12161"/>
                </a:cxn>
                <a:cxn ang="0">
                  <a:pos x="connsiteX12162" y="connsiteY12162"/>
                </a:cxn>
                <a:cxn ang="0">
                  <a:pos x="connsiteX12163" y="connsiteY12163"/>
                </a:cxn>
                <a:cxn ang="0">
                  <a:pos x="connsiteX12164" y="connsiteY12164"/>
                </a:cxn>
                <a:cxn ang="0">
                  <a:pos x="connsiteX12165" y="connsiteY12165"/>
                </a:cxn>
                <a:cxn ang="0">
                  <a:pos x="connsiteX12166" y="connsiteY12166"/>
                </a:cxn>
                <a:cxn ang="0">
                  <a:pos x="connsiteX12167" y="connsiteY12167"/>
                </a:cxn>
                <a:cxn ang="0">
                  <a:pos x="connsiteX12168" y="connsiteY12168"/>
                </a:cxn>
                <a:cxn ang="0">
                  <a:pos x="connsiteX12169" y="connsiteY12169"/>
                </a:cxn>
                <a:cxn ang="0">
                  <a:pos x="connsiteX12170" y="connsiteY12170"/>
                </a:cxn>
                <a:cxn ang="0">
                  <a:pos x="connsiteX12171" y="connsiteY12171"/>
                </a:cxn>
                <a:cxn ang="0">
                  <a:pos x="connsiteX12172" y="connsiteY12172"/>
                </a:cxn>
                <a:cxn ang="0">
                  <a:pos x="connsiteX12173" y="connsiteY12173"/>
                </a:cxn>
                <a:cxn ang="0">
                  <a:pos x="connsiteX12174" y="connsiteY12174"/>
                </a:cxn>
                <a:cxn ang="0">
                  <a:pos x="connsiteX12175" y="connsiteY12175"/>
                </a:cxn>
                <a:cxn ang="0">
                  <a:pos x="connsiteX12176" y="connsiteY12176"/>
                </a:cxn>
                <a:cxn ang="0">
                  <a:pos x="connsiteX12177" y="connsiteY12177"/>
                </a:cxn>
                <a:cxn ang="0">
                  <a:pos x="connsiteX12178" y="connsiteY12178"/>
                </a:cxn>
                <a:cxn ang="0">
                  <a:pos x="connsiteX12179" y="connsiteY12179"/>
                </a:cxn>
                <a:cxn ang="0">
                  <a:pos x="connsiteX12180" y="connsiteY12180"/>
                </a:cxn>
                <a:cxn ang="0">
                  <a:pos x="connsiteX12181" y="connsiteY12181"/>
                </a:cxn>
                <a:cxn ang="0">
                  <a:pos x="connsiteX12182" y="connsiteY12182"/>
                </a:cxn>
                <a:cxn ang="0">
                  <a:pos x="connsiteX12183" y="connsiteY12183"/>
                </a:cxn>
                <a:cxn ang="0">
                  <a:pos x="connsiteX12184" y="connsiteY12184"/>
                </a:cxn>
                <a:cxn ang="0">
                  <a:pos x="connsiteX12185" y="connsiteY12185"/>
                </a:cxn>
                <a:cxn ang="0">
                  <a:pos x="connsiteX12186" y="connsiteY12186"/>
                </a:cxn>
                <a:cxn ang="0">
                  <a:pos x="connsiteX12187" y="connsiteY12187"/>
                </a:cxn>
                <a:cxn ang="0">
                  <a:pos x="connsiteX12188" y="connsiteY12188"/>
                </a:cxn>
                <a:cxn ang="0">
                  <a:pos x="connsiteX12189" y="connsiteY12189"/>
                </a:cxn>
                <a:cxn ang="0">
                  <a:pos x="connsiteX12190" y="connsiteY12190"/>
                </a:cxn>
                <a:cxn ang="0">
                  <a:pos x="connsiteX12191" y="connsiteY12191"/>
                </a:cxn>
                <a:cxn ang="0">
                  <a:pos x="connsiteX12192" y="connsiteY12192"/>
                </a:cxn>
                <a:cxn ang="0">
                  <a:pos x="connsiteX12193" y="connsiteY12193"/>
                </a:cxn>
                <a:cxn ang="0">
                  <a:pos x="connsiteX12194" y="connsiteY12194"/>
                </a:cxn>
                <a:cxn ang="0">
                  <a:pos x="connsiteX12195" y="connsiteY12195"/>
                </a:cxn>
                <a:cxn ang="0">
                  <a:pos x="connsiteX12196" y="connsiteY12196"/>
                </a:cxn>
                <a:cxn ang="0">
                  <a:pos x="connsiteX12197" y="connsiteY12197"/>
                </a:cxn>
                <a:cxn ang="0">
                  <a:pos x="connsiteX12198" y="connsiteY12198"/>
                </a:cxn>
                <a:cxn ang="0">
                  <a:pos x="connsiteX12199" y="connsiteY12199"/>
                </a:cxn>
                <a:cxn ang="0">
                  <a:pos x="connsiteX12200" y="connsiteY12200"/>
                </a:cxn>
                <a:cxn ang="0">
                  <a:pos x="connsiteX12201" y="connsiteY12201"/>
                </a:cxn>
                <a:cxn ang="0">
                  <a:pos x="connsiteX12202" y="connsiteY12202"/>
                </a:cxn>
                <a:cxn ang="0">
                  <a:pos x="connsiteX12203" y="connsiteY12203"/>
                </a:cxn>
                <a:cxn ang="0">
                  <a:pos x="connsiteX12204" y="connsiteY12204"/>
                </a:cxn>
                <a:cxn ang="0">
                  <a:pos x="connsiteX12205" y="connsiteY12205"/>
                </a:cxn>
                <a:cxn ang="0">
                  <a:pos x="connsiteX12206" y="connsiteY12206"/>
                </a:cxn>
                <a:cxn ang="0">
                  <a:pos x="connsiteX12207" y="connsiteY12207"/>
                </a:cxn>
                <a:cxn ang="0">
                  <a:pos x="connsiteX12208" y="connsiteY12208"/>
                </a:cxn>
                <a:cxn ang="0">
                  <a:pos x="connsiteX12209" y="connsiteY12209"/>
                </a:cxn>
                <a:cxn ang="0">
                  <a:pos x="connsiteX12210" y="connsiteY12210"/>
                </a:cxn>
                <a:cxn ang="0">
                  <a:pos x="connsiteX12211" y="connsiteY12211"/>
                </a:cxn>
                <a:cxn ang="0">
                  <a:pos x="connsiteX12212" y="connsiteY12212"/>
                </a:cxn>
                <a:cxn ang="0">
                  <a:pos x="connsiteX12213" y="connsiteY12213"/>
                </a:cxn>
                <a:cxn ang="0">
                  <a:pos x="connsiteX12214" y="connsiteY12214"/>
                </a:cxn>
                <a:cxn ang="0">
                  <a:pos x="connsiteX12215" y="connsiteY12215"/>
                </a:cxn>
                <a:cxn ang="0">
                  <a:pos x="connsiteX12216" y="connsiteY12216"/>
                </a:cxn>
                <a:cxn ang="0">
                  <a:pos x="connsiteX12217" y="connsiteY12217"/>
                </a:cxn>
                <a:cxn ang="0">
                  <a:pos x="connsiteX12218" y="connsiteY12218"/>
                </a:cxn>
                <a:cxn ang="0">
                  <a:pos x="connsiteX12219" y="connsiteY12219"/>
                </a:cxn>
                <a:cxn ang="0">
                  <a:pos x="connsiteX12220" y="connsiteY12220"/>
                </a:cxn>
                <a:cxn ang="0">
                  <a:pos x="connsiteX12221" y="connsiteY12221"/>
                </a:cxn>
                <a:cxn ang="0">
                  <a:pos x="connsiteX12222" y="connsiteY12222"/>
                </a:cxn>
                <a:cxn ang="0">
                  <a:pos x="connsiteX12223" y="connsiteY12223"/>
                </a:cxn>
                <a:cxn ang="0">
                  <a:pos x="connsiteX12224" y="connsiteY12224"/>
                </a:cxn>
                <a:cxn ang="0">
                  <a:pos x="connsiteX12225" y="connsiteY12225"/>
                </a:cxn>
                <a:cxn ang="0">
                  <a:pos x="connsiteX12226" y="connsiteY12226"/>
                </a:cxn>
                <a:cxn ang="0">
                  <a:pos x="connsiteX12227" y="connsiteY12227"/>
                </a:cxn>
                <a:cxn ang="0">
                  <a:pos x="connsiteX12228" y="connsiteY12228"/>
                </a:cxn>
                <a:cxn ang="0">
                  <a:pos x="connsiteX12229" y="connsiteY12229"/>
                </a:cxn>
                <a:cxn ang="0">
                  <a:pos x="connsiteX12230" y="connsiteY12230"/>
                </a:cxn>
                <a:cxn ang="0">
                  <a:pos x="connsiteX12231" y="connsiteY12231"/>
                </a:cxn>
                <a:cxn ang="0">
                  <a:pos x="connsiteX12232" y="connsiteY12232"/>
                </a:cxn>
                <a:cxn ang="0">
                  <a:pos x="connsiteX12233" y="connsiteY12233"/>
                </a:cxn>
                <a:cxn ang="0">
                  <a:pos x="connsiteX12234" y="connsiteY12234"/>
                </a:cxn>
                <a:cxn ang="0">
                  <a:pos x="connsiteX12235" y="connsiteY12235"/>
                </a:cxn>
                <a:cxn ang="0">
                  <a:pos x="connsiteX12236" y="connsiteY12236"/>
                </a:cxn>
                <a:cxn ang="0">
                  <a:pos x="connsiteX12237" y="connsiteY12237"/>
                </a:cxn>
                <a:cxn ang="0">
                  <a:pos x="connsiteX12238" y="connsiteY12238"/>
                </a:cxn>
                <a:cxn ang="0">
                  <a:pos x="connsiteX12239" y="connsiteY12239"/>
                </a:cxn>
                <a:cxn ang="0">
                  <a:pos x="connsiteX12240" y="connsiteY12240"/>
                </a:cxn>
                <a:cxn ang="0">
                  <a:pos x="connsiteX12241" y="connsiteY12241"/>
                </a:cxn>
                <a:cxn ang="0">
                  <a:pos x="connsiteX12242" y="connsiteY12242"/>
                </a:cxn>
                <a:cxn ang="0">
                  <a:pos x="connsiteX12243" y="connsiteY12243"/>
                </a:cxn>
                <a:cxn ang="0">
                  <a:pos x="connsiteX12244" y="connsiteY12244"/>
                </a:cxn>
                <a:cxn ang="0">
                  <a:pos x="connsiteX12245" y="connsiteY12245"/>
                </a:cxn>
                <a:cxn ang="0">
                  <a:pos x="connsiteX12246" y="connsiteY12246"/>
                </a:cxn>
                <a:cxn ang="0">
                  <a:pos x="connsiteX12247" y="connsiteY12247"/>
                </a:cxn>
                <a:cxn ang="0">
                  <a:pos x="connsiteX12248" y="connsiteY12248"/>
                </a:cxn>
                <a:cxn ang="0">
                  <a:pos x="connsiteX12249" y="connsiteY12249"/>
                </a:cxn>
                <a:cxn ang="0">
                  <a:pos x="connsiteX12250" y="connsiteY12250"/>
                </a:cxn>
                <a:cxn ang="0">
                  <a:pos x="connsiteX12251" y="connsiteY12251"/>
                </a:cxn>
                <a:cxn ang="0">
                  <a:pos x="connsiteX12252" y="connsiteY12252"/>
                </a:cxn>
                <a:cxn ang="0">
                  <a:pos x="connsiteX12253" y="connsiteY12253"/>
                </a:cxn>
                <a:cxn ang="0">
                  <a:pos x="connsiteX12254" y="connsiteY12254"/>
                </a:cxn>
                <a:cxn ang="0">
                  <a:pos x="connsiteX12255" y="connsiteY12255"/>
                </a:cxn>
                <a:cxn ang="0">
                  <a:pos x="connsiteX12256" y="connsiteY12256"/>
                </a:cxn>
                <a:cxn ang="0">
                  <a:pos x="connsiteX12257" y="connsiteY12257"/>
                </a:cxn>
                <a:cxn ang="0">
                  <a:pos x="connsiteX12258" y="connsiteY12258"/>
                </a:cxn>
                <a:cxn ang="0">
                  <a:pos x="connsiteX12259" y="connsiteY12259"/>
                </a:cxn>
                <a:cxn ang="0">
                  <a:pos x="connsiteX12260" y="connsiteY12260"/>
                </a:cxn>
                <a:cxn ang="0">
                  <a:pos x="connsiteX12261" y="connsiteY12261"/>
                </a:cxn>
                <a:cxn ang="0">
                  <a:pos x="connsiteX12262" y="connsiteY12262"/>
                </a:cxn>
                <a:cxn ang="0">
                  <a:pos x="connsiteX12263" y="connsiteY12263"/>
                </a:cxn>
                <a:cxn ang="0">
                  <a:pos x="connsiteX12264" y="connsiteY12264"/>
                </a:cxn>
                <a:cxn ang="0">
                  <a:pos x="connsiteX12265" y="connsiteY12265"/>
                </a:cxn>
                <a:cxn ang="0">
                  <a:pos x="connsiteX12266" y="connsiteY12266"/>
                </a:cxn>
                <a:cxn ang="0">
                  <a:pos x="connsiteX12267" y="connsiteY12267"/>
                </a:cxn>
                <a:cxn ang="0">
                  <a:pos x="connsiteX12268" y="connsiteY12268"/>
                </a:cxn>
                <a:cxn ang="0">
                  <a:pos x="connsiteX12269" y="connsiteY12269"/>
                </a:cxn>
                <a:cxn ang="0">
                  <a:pos x="connsiteX12270" y="connsiteY12270"/>
                </a:cxn>
                <a:cxn ang="0">
                  <a:pos x="connsiteX12271" y="connsiteY12271"/>
                </a:cxn>
                <a:cxn ang="0">
                  <a:pos x="connsiteX12272" y="connsiteY12272"/>
                </a:cxn>
                <a:cxn ang="0">
                  <a:pos x="connsiteX12273" y="connsiteY12273"/>
                </a:cxn>
                <a:cxn ang="0">
                  <a:pos x="connsiteX12274" y="connsiteY12274"/>
                </a:cxn>
                <a:cxn ang="0">
                  <a:pos x="connsiteX12275" y="connsiteY12275"/>
                </a:cxn>
                <a:cxn ang="0">
                  <a:pos x="connsiteX12276" y="connsiteY12276"/>
                </a:cxn>
                <a:cxn ang="0">
                  <a:pos x="connsiteX12277" y="connsiteY12277"/>
                </a:cxn>
                <a:cxn ang="0">
                  <a:pos x="connsiteX12278" y="connsiteY12278"/>
                </a:cxn>
                <a:cxn ang="0">
                  <a:pos x="connsiteX12279" y="connsiteY12279"/>
                </a:cxn>
                <a:cxn ang="0">
                  <a:pos x="connsiteX12280" y="connsiteY12280"/>
                </a:cxn>
                <a:cxn ang="0">
                  <a:pos x="connsiteX12281" y="connsiteY12281"/>
                </a:cxn>
                <a:cxn ang="0">
                  <a:pos x="connsiteX12282" y="connsiteY12282"/>
                </a:cxn>
                <a:cxn ang="0">
                  <a:pos x="connsiteX12283" y="connsiteY12283"/>
                </a:cxn>
                <a:cxn ang="0">
                  <a:pos x="connsiteX12284" y="connsiteY12284"/>
                </a:cxn>
                <a:cxn ang="0">
                  <a:pos x="connsiteX12285" y="connsiteY12285"/>
                </a:cxn>
                <a:cxn ang="0">
                  <a:pos x="connsiteX12286" y="connsiteY12286"/>
                </a:cxn>
                <a:cxn ang="0">
                  <a:pos x="connsiteX12287" y="connsiteY12287"/>
                </a:cxn>
                <a:cxn ang="0">
                  <a:pos x="connsiteX12288" y="connsiteY12288"/>
                </a:cxn>
                <a:cxn ang="0">
                  <a:pos x="connsiteX12289" y="connsiteY12289"/>
                </a:cxn>
                <a:cxn ang="0">
                  <a:pos x="connsiteX12290" y="connsiteY12290"/>
                </a:cxn>
                <a:cxn ang="0">
                  <a:pos x="connsiteX12291" y="connsiteY12291"/>
                </a:cxn>
                <a:cxn ang="0">
                  <a:pos x="connsiteX12292" y="connsiteY12292"/>
                </a:cxn>
                <a:cxn ang="0">
                  <a:pos x="connsiteX12293" y="connsiteY12293"/>
                </a:cxn>
                <a:cxn ang="0">
                  <a:pos x="connsiteX12294" y="connsiteY12294"/>
                </a:cxn>
                <a:cxn ang="0">
                  <a:pos x="connsiteX12295" y="connsiteY12295"/>
                </a:cxn>
                <a:cxn ang="0">
                  <a:pos x="connsiteX12296" y="connsiteY12296"/>
                </a:cxn>
                <a:cxn ang="0">
                  <a:pos x="connsiteX12297" y="connsiteY12297"/>
                </a:cxn>
                <a:cxn ang="0">
                  <a:pos x="connsiteX12298" y="connsiteY12298"/>
                </a:cxn>
                <a:cxn ang="0">
                  <a:pos x="connsiteX12299" y="connsiteY12299"/>
                </a:cxn>
                <a:cxn ang="0">
                  <a:pos x="connsiteX12300" y="connsiteY12300"/>
                </a:cxn>
                <a:cxn ang="0">
                  <a:pos x="connsiteX12301" y="connsiteY12301"/>
                </a:cxn>
                <a:cxn ang="0">
                  <a:pos x="connsiteX12302" y="connsiteY12302"/>
                </a:cxn>
                <a:cxn ang="0">
                  <a:pos x="connsiteX12303" y="connsiteY12303"/>
                </a:cxn>
                <a:cxn ang="0">
                  <a:pos x="connsiteX12304" y="connsiteY12304"/>
                </a:cxn>
                <a:cxn ang="0">
                  <a:pos x="connsiteX12305" y="connsiteY12305"/>
                </a:cxn>
                <a:cxn ang="0">
                  <a:pos x="connsiteX12306" y="connsiteY12306"/>
                </a:cxn>
                <a:cxn ang="0">
                  <a:pos x="connsiteX12307" y="connsiteY12307"/>
                </a:cxn>
                <a:cxn ang="0">
                  <a:pos x="connsiteX12308" y="connsiteY12308"/>
                </a:cxn>
                <a:cxn ang="0">
                  <a:pos x="connsiteX12309" y="connsiteY12309"/>
                </a:cxn>
                <a:cxn ang="0">
                  <a:pos x="connsiteX12310" y="connsiteY12310"/>
                </a:cxn>
                <a:cxn ang="0">
                  <a:pos x="connsiteX12311" y="connsiteY12311"/>
                </a:cxn>
                <a:cxn ang="0">
                  <a:pos x="connsiteX12312" y="connsiteY12312"/>
                </a:cxn>
                <a:cxn ang="0">
                  <a:pos x="connsiteX12313" y="connsiteY12313"/>
                </a:cxn>
                <a:cxn ang="0">
                  <a:pos x="connsiteX12314" y="connsiteY12314"/>
                </a:cxn>
                <a:cxn ang="0">
                  <a:pos x="connsiteX12315" y="connsiteY12315"/>
                </a:cxn>
                <a:cxn ang="0">
                  <a:pos x="connsiteX12316" y="connsiteY12316"/>
                </a:cxn>
                <a:cxn ang="0">
                  <a:pos x="connsiteX12317" y="connsiteY12317"/>
                </a:cxn>
                <a:cxn ang="0">
                  <a:pos x="connsiteX12318" y="connsiteY12318"/>
                </a:cxn>
                <a:cxn ang="0">
                  <a:pos x="connsiteX12319" y="connsiteY12319"/>
                </a:cxn>
                <a:cxn ang="0">
                  <a:pos x="connsiteX12320" y="connsiteY12320"/>
                </a:cxn>
                <a:cxn ang="0">
                  <a:pos x="connsiteX12321" y="connsiteY12321"/>
                </a:cxn>
                <a:cxn ang="0">
                  <a:pos x="connsiteX12322" y="connsiteY12322"/>
                </a:cxn>
                <a:cxn ang="0">
                  <a:pos x="connsiteX12323" y="connsiteY12323"/>
                </a:cxn>
                <a:cxn ang="0">
                  <a:pos x="connsiteX12324" y="connsiteY12324"/>
                </a:cxn>
                <a:cxn ang="0">
                  <a:pos x="connsiteX12325" y="connsiteY12325"/>
                </a:cxn>
                <a:cxn ang="0">
                  <a:pos x="connsiteX12326" y="connsiteY12326"/>
                </a:cxn>
                <a:cxn ang="0">
                  <a:pos x="connsiteX12327" y="connsiteY12327"/>
                </a:cxn>
                <a:cxn ang="0">
                  <a:pos x="connsiteX12328" y="connsiteY12328"/>
                </a:cxn>
                <a:cxn ang="0">
                  <a:pos x="connsiteX12329" y="connsiteY12329"/>
                </a:cxn>
                <a:cxn ang="0">
                  <a:pos x="connsiteX12330" y="connsiteY12330"/>
                </a:cxn>
                <a:cxn ang="0">
                  <a:pos x="connsiteX12331" y="connsiteY12331"/>
                </a:cxn>
                <a:cxn ang="0">
                  <a:pos x="connsiteX12332" y="connsiteY12332"/>
                </a:cxn>
                <a:cxn ang="0">
                  <a:pos x="connsiteX12333" y="connsiteY12333"/>
                </a:cxn>
                <a:cxn ang="0">
                  <a:pos x="connsiteX12334" y="connsiteY12334"/>
                </a:cxn>
                <a:cxn ang="0">
                  <a:pos x="connsiteX12335" y="connsiteY12335"/>
                </a:cxn>
                <a:cxn ang="0">
                  <a:pos x="connsiteX12336" y="connsiteY12336"/>
                </a:cxn>
                <a:cxn ang="0">
                  <a:pos x="connsiteX12337" y="connsiteY12337"/>
                </a:cxn>
                <a:cxn ang="0">
                  <a:pos x="connsiteX12338" y="connsiteY12338"/>
                </a:cxn>
                <a:cxn ang="0">
                  <a:pos x="connsiteX12339" y="connsiteY12339"/>
                </a:cxn>
                <a:cxn ang="0">
                  <a:pos x="connsiteX12340" y="connsiteY12340"/>
                </a:cxn>
                <a:cxn ang="0">
                  <a:pos x="connsiteX12341" y="connsiteY12341"/>
                </a:cxn>
                <a:cxn ang="0">
                  <a:pos x="connsiteX12342" y="connsiteY12342"/>
                </a:cxn>
                <a:cxn ang="0">
                  <a:pos x="connsiteX12343" y="connsiteY12343"/>
                </a:cxn>
                <a:cxn ang="0">
                  <a:pos x="connsiteX12344" y="connsiteY12344"/>
                </a:cxn>
                <a:cxn ang="0">
                  <a:pos x="connsiteX12345" y="connsiteY12345"/>
                </a:cxn>
                <a:cxn ang="0">
                  <a:pos x="connsiteX12346" y="connsiteY12346"/>
                </a:cxn>
                <a:cxn ang="0">
                  <a:pos x="connsiteX12347" y="connsiteY12347"/>
                </a:cxn>
                <a:cxn ang="0">
                  <a:pos x="connsiteX12348" y="connsiteY12348"/>
                </a:cxn>
                <a:cxn ang="0">
                  <a:pos x="connsiteX12349" y="connsiteY12349"/>
                </a:cxn>
                <a:cxn ang="0">
                  <a:pos x="connsiteX12350" y="connsiteY12350"/>
                </a:cxn>
                <a:cxn ang="0">
                  <a:pos x="connsiteX12351" y="connsiteY12351"/>
                </a:cxn>
                <a:cxn ang="0">
                  <a:pos x="connsiteX12352" y="connsiteY12352"/>
                </a:cxn>
                <a:cxn ang="0">
                  <a:pos x="connsiteX12353" y="connsiteY12353"/>
                </a:cxn>
                <a:cxn ang="0">
                  <a:pos x="connsiteX12354" y="connsiteY12354"/>
                </a:cxn>
                <a:cxn ang="0">
                  <a:pos x="connsiteX12355" y="connsiteY12355"/>
                </a:cxn>
                <a:cxn ang="0">
                  <a:pos x="connsiteX12356" y="connsiteY12356"/>
                </a:cxn>
                <a:cxn ang="0">
                  <a:pos x="connsiteX12357" y="connsiteY12357"/>
                </a:cxn>
                <a:cxn ang="0">
                  <a:pos x="connsiteX12358" y="connsiteY12358"/>
                </a:cxn>
                <a:cxn ang="0">
                  <a:pos x="connsiteX12359" y="connsiteY12359"/>
                </a:cxn>
                <a:cxn ang="0">
                  <a:pos x="connsiteX12360" y="connsiteY12360"/>
                </a:cxn>
                <a:cxn ang="0">
                  <a:pos x="connsiteX12361" y="connsiteY12361"/>
                </a:cxn>
                <a:cxn ang="0">
                  <a:pos x="connsiteX12362" y="connsiteY12362"/>
                </a:cxn>
                <a:cxn ang="0">
                  <a:pos x="connsiteX12363" y="connsiteY12363"/>
                </a:cxn>
                <a:cxn ang="0">
                  <a:pos x="connsiteX12364" y="connsiteY12364"/>
                </a:cxn>
                <a:cxn ang="0">
                  <a:pos x="connsiteX12365" y="connsiteY12365"/>
                </a:cxn>
                <a:cxn ang="0">
                  <a:pos x="connsiteX12366" y="connsiteY12366"/>
                </a:cxn>
                <a:cxn ang="0">
                  <a:pos x="connsiteX12367" y="connsiteY12367"/>
                </a:cxn>
                <a:cxn ang="0">
                  <a:pos x="connsiteX12368" y="connsiteY12368"/>
                </a:cxn>
                <a:cxn ang="0">
                  <a:pos x="connsiteX12369" y="connsiteY12369"/>
                </a:cxn>
                <a:cxn ang="0">
                  <a:pos x="connsiteX12370" y="connsiteY12370"/>
                </a:cxn>
                <a:cxn ang="0">
                  <a:pos x="connsiteX12371" y="connsiteY12371"/>
                </a:cxn>
                <a:cxn ang="0">
                  <a:pos x="connsiteX12372" y="connsiteY12372"/>
                </a:cxn>
                <a:cxn ang="0">
                  <a:pos x="connsiteX12373" y="connsiteY12373"/>
                </a:cxn>
                <a:cxn ang="0">
                  <a:pos x="connsiteX12374" y="connsiteY12374"/>
                </a:cxn>
                <a:cxn ang="0">
                  <a:pos x="connsiteX12375" y="connsiteY12375"/>
                </a:cxn>
                <a:cxn ang="0">
                  <a:pos x="connsiteX12376" y="connsiteY12376"/>
                </a:cxn>
                <a:cxn ang="0">
                  <a:pos x="connsiteX12377" y="connsiteY12377"/>
                </a:cxn>
                <a:cxn ang="0">
                  <a:pos x="connsiteX12378" y="connsiteY12378"/>
                </a:cxn>
                <a:cxn ang="0">
                  <a:pos x="connsiteX12379" y="connsiteY12379"/>
                </a:cxn>
                <a:cxn ang="0">
                  <a:pos x="connsiteX12380" y="connsiteY12380"/>
                </a:cxn>
                <a:cxn ang="0">
                  <a:pos x="connsiteX12381" y="connsiteY12381"/>
                </a:cxn>
                <a:cxn ang="0">
                  <a:pos x="connsiteX12382" y="connsiteY12382"/>
                </a:cxn>
                <a:cxn ang="0">
                  <a:pos x="connsiteX12383" y="connsiteY12383"/>
                </a:cxn>
                <a:cxn ang="0">
                  <a:pos x="connsiteX12384" y="connsiteY12384"/>
                </a:cxn>
                <a:cxn ang="0">
                  <a:pos x="connsiteX12385" y="connsiteY12385"/>
                </a:cxn>
                <a:cxn ang="0">
                  <a:pos x="connsiteX12386" y="connsiteY12386"/>
                </a:cxn>
                <a:cxn ang="0">
                  <a:pos x="connsiteX12387" y="connsiteY12387"/>
                </a:cxn>
                <a:cxn ang="0">
                  <a:pos x="connsiteX12388" y="connsiteY12388"/>
                </a:cxn>
                <a:cxn ang="0">
                  <a:pos x="connsiteX12389" y="connsiteY12389"/>
                </a:cxn>
                <a:cxn ang="0">
                  <a:pos x="connsiteX12390" y="connsiteY12390"/>
                </a:cxn>
                <a:cxn ang="0">
                  <a:pos x="connsiteX12391" y="connsiteY12391"/>
                </a:cxn>
                <a:cxn ang="0">
                  <a:pos x="connsiteX12392" y="connsiteY12392"/>
                </a:cxn>
                <a:cxn ang="0">
                  <a:pos x="connsiteX12393" y="connsiteY12393"/>
                </a:cxn>
                <a:cxn ang="0">
                  <a:pos x="connsiteX12394" y="connsiteY12394"/>
                </a:cxn>
                <a:cxn ang="0">
                  <a:pos x="connsiteX12395" y="connsiteY12395"/>
                </a:cxn>
                <a:cxn ang="0">
                  <a:pos x="connsiteX12396" y="connsiteY12396"/>
                </a:cxn>
                <a:cxn ang="0">
                  <a:pos x="connsiteX12397" y="connsiteY12397"/>
                </a:cxn>
                <a:cxn ang="0">
                  <a:pos x="connsiteX12398" y="connsiteY12398"/>
                </a:cxn>
                <a:cxn ang="0">
                  <a:pos x="connsiteX12399" y="connsiteY12399"/>
                </a:cxn>
                <a:cxn ang="0">
                  <a:pos x="connsiteX12400" y="connsiteY12400"/>
                </a:cxn>
                <a:cxn ang="0">
                  <a:pos x="connsiteX12401" y="connsiteY12401"/>
                </a:cxn>
                <a:cxn ang="0">
                  <a:pos x="connsiteX12402" y="connsiteY12402"/>
                </a:cxn>
                <a:cxn ang="0">
                  <a:pos x="connsiteX12403" y="connsiteY12403"/>
                </a:cxn>
                <a:cxn ang="0">
                  <a:pos x="connsiteX12404" y="connsiteY12404"/>
                </a:cxn>
                <a:cxn ang="0">
                  <a:pos x="connsiteX12405" y="connsiteY12405"/>
                </a:cxn>
                <a:cxn ang="0">
                  <a:pos x="connsiteX12406" y="connsiteY12406"/>
                </a:cxn>
                <a:cxn ang="0">
                  <a:pos x="connsiteX12407" y="connsiteY12407"/>
                </a:cxn>
                <a:cxn ang="0">
                  <a:pos x="connsiteX12408" y="connsiteY12408"/>
                </a:cxn>
                <a:cxn ang="0">
                  <a:pos x="connsiteX12409" y="connsiteY12409"/>
                </a:cxn>
                <a:cxn ang="0">
                  <a:pos x="connsiteX12410" y="connsiteY12410"/>
                </a:cxn>
                <a:cxn ang="0">
                  <a:pos x="connsiteX12411" y="connsiteY12411"/>
                </a:cxn>
                <a:cxn ang="0">
                  <a:pos x="connsiteX12412" y="connsiteY12412"/>
                </a:cxn>
                <a:cxn ang="0">
                  <a:pos x="connsiteX12413" y="connsiteY12413"/>
                </a:cxn>
                <a:cxn ang="0">
                  <a:pos x="connsiteX12414" y="connsiteY12414"/>
                </a:cxn>
                <a:cxn ang="0">
                  <a:pos x="connsiteX12415" y="connsiteY12415"/>
                </a:cxn>
                <a:cxn ang="0">
                  <a:pos x="connsiteX12416" y="connsiteY12416"/>
                </a:cxn>
                <a:cxn ang="0">
                  <a:pos x="connsiteX12417" y="connsiteY12417"/>
                </a:cxn>
                <a:cxn ang="0">
                  <a:pos x="connsiteX12418" y="connsiteY12418"/>
                </a:cxn>
                <a:cxn ang="0">
                  <a:pos x="connsiteX12419" y="connsiteY12419"/>
                </a:cxn>
                <a:cxn ang="0">
                  <a:pos x="connsiteX12420" y="connsiteY12420"/>
                </a:cxn>
                <a:cxn ang="0">
                  <a:pos x="connsiteX12421" y="connsiteY12421"/>
                </a:cxn>
                <a:cxn ang="0">
                  <a:pos x="connsiteX12422" y="connsiteY12422"/>
                </a:cxn>
                <a:cxn ang="0">
                  <a:pos x="connsiteX12423" y="connsiteY12423"/>
                </a:cxn>
                <a:cxn ang="0">
                  <a:pos x="connsiteX12424" y="connsiteY12424"/>
                </a:cxn>
                <a:cxn ang="0">
                  <a:pos x="connsiteX12425" y="connsiteY12425"/>
                </a:cxn>
                <a:cxn ang="0">
                  <a:pos x="connsiteX12426" y="connsiteY12426"/>
                </a:cxn>
                <a:cxn ang="0">
                  <a:pos x="connsiteX12427" y="connsiteY12427"/>
                </a:cxn>
                <a:cxn ang="0">
                  <a:pos x="connsiteX12428" y="connsiteY12428"/>
                </a:cxn>
                <a:cxn ang="0">
                  <a:pos x="connsiteX12429" y="connsiteY12429"/>
                </a:cxn>
                <a:cxn ang="0">
                  <a:pos x="connsiteX12430" y="connsiteY12430"/>
                </a:cxn>
                <a:cxn ang="0">
                  <a:pos x="connsiteX12431" y="connsiteY12431"/>
                </a:cxn>
                <a:cxn ang="0">
                  <a:pos x="connsiteX12432" y="connsiteY12432"/>
                </a:cxn>
                <a:cxn ang="0">
                  <a:pos x="connsiteX12433" y="connsiteY12433"/>
                </a:cxn>
                <a:cxn ang="0">
                  <a:pos x="connsiteX12434" y="connsiteY12434"/>
                </a:cxn>
                <a:cxn ang="0">
                  <a:pos x="connsiteX12435" y="connsiteY12435"/>
                </a:cxn>
                <a:cxn ang="0">
                  <a:pos x="connsiteX12436" y="connsiteY12436"/>
                </a:cxn>
                <a:cxn ang="0">
                  <a:pos x="connsiteX12437" y="connsiteY12437"/>
                </a:cxn>
                <a:cxn ang="0">
                  <a:pos x="connsiteX12438" y="connsiteY12438"/>
                </a:cxn>
                <a:cxn ang="0">
                  <a:pos x="connsiteX12439" y="connsiteY12439"/>
                </a:cxn>
                <a:cxn ang="0">
                  <a:pos x="connsiteX12440" y="connsiteY12440"/>
                </a:cxn>
                <a:cxn ang="0">
                  <a:pos x="connsiteX12441" y="connsiteY12441"/>
                </a:cxn>
                <a:cxn ang="0">
                  <a:pos x="connsiteX12442" y="connsiteY12442"/>
                </a:cxn>
                <a:cxn ang="0">
                  <a:pos x="connsiteX12443" y="connsiteY12443"/>
                </a:cxn>
                <a:cxn ang="0">
                  <a:pos x="connsiteX12444" y="connsiteY12444"/>
                </a:cxn>
                <a:cxn ang="0">
                  <a:pos x="connsiteX12445" y="connsiteY12445"/>
                </a:cxn>
                <a:cxn ang="0">
                  <a:pos x="connsiteX12446" y="connsiteY12446"/>
                </a:cxn>
                <a:cxn ang="0">
                  <a:pos x="connsiteX12447" y="connsiteY12447"/>
                </a:cxn>
                <a:cxn ang="0">
                  <a:pos x="connsiteX12448" y="connsiteY12448"/>
                </a:cxn>
                <a:cxn ang="0">
                  <a:pos x="connsiteX12449" y="connsiteY12449"/>
                </a:cxn>
                <a:cxn ang="0">
                  <a:pos x="connsiteX12450" y="connsiteY12450"/>
                </a:cxn>
                <a:cxn ang="0">
                  <a:pos x="connsiteX12451" y="connsiteY12451"/>
                </a:cxn>
                <a:cxn ang="0">
                  <a:pos x="connsiteX12452" y="connsiteY12452"/>
                </a:cxn>
                <a:cxn ang="0">
                  <a:pos x="connsiteX12453" y="connsiteY12453"/>
                </a:cxn>
                <a:cxn ang="0">
                  <a:pos x="connsiteX12454" y="connsiteY12454"/>
                </a:cxn>
                <a:cxn ang="0">
                  <a:pos x="connsiteX12455" y="connsiteY12455"/>
                </a:cxn>
                <a:cxn ang="0">
                  <a:pos x="connsiteX12456" y="connsiteY12456"/>
                </a:cxn>
                <a:cxn ang="0">
                  <a:pos x="connsiteX12457" y="connsiteY12457"/>
                </a:cxn>
                <a:cxn ang="0">
                  <a:pos x="connsiteX12458" y="connsiteY12458"/>
                </a:cxn>
                <a:cxn ang="0">
                  <a:pos x="connsiteX12459" y="connsiteY12459"/>
                </a:cxn>
                <a:cxn ang="0">
                  <a:pos x="connsiteX12460" y="connsiteY12460"/>
                </a:cxn>
                <a:cxn ang="0">
                  <a:pos x="connsiteX12461" y="connsiteY12461"/>
                </a:cxn>
                <a:cxn ang="0">
                  <a:pos x="connsiteX12462" y="connsiteY12462"/>
                </a:cxn>
                <a:cxn ang="0">
                  <a:pos x="connsiteX12463" y="connsiteY12463"/>
                </a:cxn>
                <a:cxn ang="0">
                  <a:pos x="connsiteX12464" y="connsiteY12464"/>
                </a:cxn>
                <a:cxn ang="0">
                  <a:pos x="connsiteX12465" y="connsiteY12465"/>
                </a:cxn>
                <a:cxn ang="0">
                  <a:pos x="connsiteX12466" y="connsiteY12466"/>
                </a:cxn>
                <a:cxn ang="0">
                  <a:pos x="connsiteX12467" y="connsiteY12467"/>
                </a:cxn>
                <a:cxn ang="0">
                  <a:pos x="connsiteX12468" y="connsiteY12468"/>
                </a:cxn>
                <a:cxn ang="0">
                  <a:pos x="connsiteX12469" y="connsiteY12469"/>
                </a:cxn>
                <a:cxn ang="0">
                  <a:pos x="connsiteX12470" y="connsiteY12470"/>
                </a:cxn>
                <a:cxn ang="0">
                  <a:pos x="connsiteX12471" y="connsiteY12471"/>
                </a:cxn>
                <a:cxn ang="0">
                  <a:pos x="connsiteX12472" y="connsiteY12472"/>
                </a:cxn>
                <a:cxn ang="0">
                  <a:pos x="connsiteX12473" y="connsiteY12473"/>
                </a:cxn>
                <a:cxn ang="0">
                  <a:pos x="connsiteX12474" y="connsiteY12474"/>
                </a:cxn>
                <a:cxn ang="0">
                  <a:pos x="connsiteX12475" y="connsiteY12475"/>
                </a:cxn>
                <a:cxn ang="0">
                  <a:pos x="connsiteX12476" y="connsiteY12476"/>
                </a:cxn>
                <a:cxn ang="0">
                  <a:pos x="connsiteX12477" y="connsiteY12477"/>
                </a:cxn>
                <a:cxn ang="0">
                  <a:pos x="connsiteX12478" y="connsiteY12478"/>
                </a:cxn>
                <a:cxn ang="0">
                  <a:pos x="connsiteX12479" y="connsiteY12479"/>
                </a:cxn>
                <a:cxn ang="0">
                  <a:pos x="connsiteX12480" y="connsiteY12480"/>
                </a:cxn>
                <a:cxn ang="0">
                  <a:pos x="connsiteX12481" y="connsiteY12481"/>
                </a:cxn>
                <a:cxn ang="0">
                  <a:pos x="connsiteX12482" y="connsiteY12482"/>
                </a:cxn>
                <a:cxn ang="0">
                  <a:pos x="connsiteX12483" y="connsiteY12483"/>
                </a:cxn>
                <a:cxn ang="0">
                  <a:pos x="connsiteX12484" y="connsiteY12484"/>
                </a:cxn>
                <a:cxn ang="0">
                  <a:pos x="connsiteX12485" y="connsiteY12485"/>
                </a:cxn>
                <a:cxn ang="0">
                  <a:pos x="connsiteX12486" y="connsiteY12486"/>
                </a:cxn>
                <a:cxn ang="0">
                  <a:pos x="connsiteX12487" y="connsiteY12487"/>
                </a:cxn>
                <a:cxn ang="0">
                  <a:pos x="connsiteX12488" y="connsiteY12488"/>
                </a:cxn>
                <a:cxn ang="0">
                  <a:pos x="connsiteX12489" y="connsiteY12489"/>
                </a:cxn>
                <a:cxn ang="0">
                  <a:pos x="connsiteX12490" y="connsiteY12490"/>
                </a:cxn>
                <a:cxn ang="0">
                  <a:pos x="connsiteX12491" y="connsiteY12491"/>
                </a:cxn>
                <a:cxn ang="0">
                  <a:pos x="connsiteX12492" y="connsiteY12492"/>
                </a:cxn>
                <a:cxn ang="0">
                  <a:pos x="connsiteX12493" y="connsiteY12493"/>
                </a:cxn>
                <a:cxn ang="0">
                  <a:pos x="connsiteX12494" y="connsiteY12494"/>
                </a:cxn>
                <a:cxn ang="0">
                  <a:pos x="connsiteX12495" y="connsiteY12495"/>
                </a:cxn>
                <a:cxn ang="0">
                  <a:pos x="connsiteX12496" y="connsiteY12496"/>
                </a:cxn>
                <a:cxn ang="0">
                  <a:pos x="connsiteX12497" y="connsiteY12497"/>
                </a:cxn>
                <a:cxn ang="0">
                  <a:pos x="connsiteX12498" y="connsiteY12498"/>
                </a:cxn>
                <a:cxn ang="0">
                  <a:pos x="connsiteX12499" y="connsiteY12499"/>
                </a:cxn>
                <a:cxn ang="0">
                  <a:pos x="connsiteX12500" y="connsiteY12500"/>
                </a:cxn>
                <a:cxn ang="0">
                  <a:pos x="connsiteX12501" y="connsiteY12501"/>
                </a:cxn>
                <a:cxn ang="0">
                  <a:pos x="connsiteX12502" y="connsiteY12502"/>
                </a:cxn>
                <a:cxn ang="0">
                  <a:pos x="connsiteX12503" y="connsiteY12503"/>
                </a:cxn>
                <a:cxn ang="0">
                  <a:pos x="connsiteX12504" y="connsiteY12504"/>
                </a:cxn>
                <a:cxn ang="0">
                  <a:pos x="connsiteX12505" y="connsiteY12505"/>
                </a:cxn>
                <a:cxn ang="0">
                  <a:pos x="connsiteX12506" y="connsiteY12506"/>
                </a:cxn>
                <a:cxn ang="0">
                  <a:pos x="connsiteX12507" y="connsiteY12507"/>
                </a:cxn>
                <a:cxn ang="0">
                  <a:pos x="connsiteX12508" y="connsiteY12508"/>
                </a:cxn>
                <a:cxn ang="0">
                  <a:pos x="connsiteX12509" y="connsiteY12509"/>
                </a:cxn>
                <a:cxn ang="0">
                  <a:pos x="connsiteX12510" y="connsiteY12510"/>
                </a:cxn>
                <a:cxn ang="0">
                  <a:pos x="connsiteX12511" y="connsiteY12511"/>
                </a:cxn>
                <a:cxn ang="0">
                  <a:pos x="connsiteX12512" y="connsiteY12512"/>
                </a:cxn>
                <a:cxn ang="0">
                  <a:pos x="connsiteX12513" y="connsiteY12513"/>
                </a:cxn>
                <a:cxn ang="0">
                  <a:pos x="connsiteX12514" y="connsiteY12514"/>
                </a:cxn>
                <a:cxn ang="0">
                  <a:pos x="connsiteX12515" y="connsiteY12515"/>
                </a:cxn>
                <a:cxn ang="0">
                  <a:pos x="connsiteX12516" y="connsiteY12516"/>
                </a:cxn>
                <a:cxn ang="0">
                  <a:pos x="connsiteX12517" y="connsiteY12517"/>
                </a:cxn>
                <a:cxn ang="0">
                  <a:pos x="connsiteX12518" y="connsiteY12518"/>
                </a:cxn>
                <a:cxn ang="0">
                  <a:pos x="connsiteX12519" y="connsiteY12519"/>
                </a:cxn>
                <a:cxn ang="0">
                  <a:pos x="connsiteX12520" y="connsiteY12520"/>
                </a:cxn>
                <a:cxn ang="0">
                  <a:pos x="connsiteX12521" y="connsiteY12521"/>
                </a:cxn>
                <a:cxn ang="0">
                  <a:pos x="connsiteX12522" y="connsiteY12522"/>
                </a:cxn>
                <a:cxn ang="0">
                  <a:pos x="connsiteX12523" y="connsiteY12523"/>
                </a:cxn>
                <a:cxn ang="0">
                  <a:pos x="connsiteX12524" y="connsiteY12524"/>
                </a:cxn>
                <a:cxn ang="0">
                  <a:pos x="connsiteX12525" y="connsiteY12525"/>
                </a:cxn>
                <a:cxn ang="0">
                  <a:pos x="connsiteX12526" y="connsiteY12526"/>
                </a:cxn>
                <a:cxn ang="0">
                  <a:pos x="connsiteX12527" y="connsiteY12527"/>
                </a:cxn>
                <a:cxn ang="0">
                  <a:pos x="connsiteX12528" y="connsiteY12528"/>
                </a:cxn>
                <a:cxn ang="0">
                  <a:pos x="connsiteX12529" y="connsiteY12529"/>
                </a:cxn>
                <a:cxn ang="0">
                  <a:pos x="connsiteX12530" y="connsiteY12530"/>
                </a:cxn>
                <a:cxn ang="0">
                  <a:pos x="connsiteX12531" y="connsiteY12531"/>
                </a:cxn>
                <a:cxn ang="0">
                  <a:pos x="connsiteX12532" y="connsiteY12532"/>
                </a:cxn>
                <a:cxn ang="0">
                  <a:pos x="connsiteX12533" y="connsiteY12533"/>
                </a:cxn>
                <a:cxn ang="0">
                  <a:pos x="connsiteX12534" y="connsiteY12534"/>
                </a:cxn>
                <a:cxn ang="0">
                  <a:pos x="connsiteX12535" y="connsiteY12535"/>
                </a:cxn>
                <a:cxn ang="0">
                  <a:pos x="connsiteX12536" y="connsiteY12536"/>
                </a:cxn>
                <a:cxn ang="0">
                  <a:pos x="connsiteX12537" y="connsiteY12537"/>
                </a:cxn>
                <a:cxn ang="0">
                  <a:pos x="connsiteX12538" y="connsiteY12538"/>
                </a:cxn>
                <a:cxn ang="0">
                  <a:pos x="connsiteX12539" y="connsiteY12539"/>
                </a:cxn>
                <a:cxn ang="0">
                  <a:pos x="connsiteX12540" y="connsiteY12540"/>
                </a:cxn>
                <a:cxn ang="0">
                  <a:pos x="connsiteX12541" y="connsiteY12541"/>
                </a:cxn>
                <a:cxn ang="0">
                  <a:pos x="connsiteX12542" y="connsiteY12542"/>
                </a:cxn>
                <a:cxn ang="0">
                  <a:pos x="connsiteX12543" y="connsiteY12543"/>
                </a:cxn>
                <a:cxn ang="0">
                  <a:pos x="connsiteX12544" y="connsiteY12544"/>
                </a:cxn>
                <a:cxn ang="0">
                  <a:pos x="connsiteX12545" y="connsiteY12545"/>
                </a:cxn>
                <a:cxn ang="0">
                  <a:pos x="connsiteX12546" y="connsiteY12546"/>
                </a:cxn>
                <a:cxn ang="0">
                  <a:pos x="connsiteX12547" y="connsiteY12547"/>
                </a:cxn>
                <a:cxn ang="0">
                  <a:pos x="connsiteX12548" y="connsiteY12548"/>
                </a:cxn>
                <a:cxn ang="0">
                  <a:pos x="connsiteX12549" y="connsiteY12549"/>
                </a:cxn>
                <a:cxn ang="0">
                  <a:pos x="connsiteX12550" y="connsiteY12550"/>
                </a:cxn>
                <a:cxn ang="0">
                  <a:pos x="connsiteX12551" y="connsiteY12551"/>
                </a:cxn>
                <a:cxn ang="0">
                  <a:pos x="connsiteX12552" y="connsiteY12552"/>
                </a:cxn>
                <a:cxn ang="0">
                  <a:pos x="connsiteX12553" y="connsiteY12553"/>
                </a:cxn>
                <a:cxn ang="0">
                  <a:pos x="connsiteX12554" y="connsiteY12554"/>
                </a:cxn>
                <a:cxn ang="0">
                  <a:pos x="connsiteX12555" y="connsiteY12555"/>
                </a:cxn>
                <a:cxn ang="0">
                  <a:pos x="connsiteX12556" y="connsiteY12556"/>
                </a:cxn>
                <a:cxn ang="0">
                  <a:pos x="connsiteX12557" y="connsiteY12557"/>
                </a:cxn>
                <a:cxn ang="0">
                  <a:pos x="connsiteX12558" y="connsiteY12558"/>
                </a:cxn>
                <a:cxn ang="0">
                  <a:pos x="connsiteX12559" y="connsiteY12559"/>
                </a:cxn>
                <a:cxn ang="0">
                  <a:pos x="connsiteX12560" y="connsiteY12560"/>
                </a:cxn>
                <a:cxn ang="0">
                  <a:pos x="connsiteX12561" y="connsiteY12561"/>
                </a:cxn>
                <a:cxn ang="0">
                  <a:pos x="connsiteX12562" y="connsiteY12562"/>
                </a:cxn>
                <a:cxn ang="0">
                  <a:pos x="connsiteX12563" y="connsiteY12563"/>
                </a:cxn>
                <a:cxn ang="0">
                  <a:pos x="connsiteX12564" y="connsiteY12564"/>
                </a:cxn>
                <a:cxn ang="0">
                  <a:pos x="connsiteX12565" y="connsiteY12565"/>
                </a:cxn>
                <a:cxn ang="0">
                  <a:pos x="connsiteX12566" y="connsiteY12566"/>
                </a:cxn>
                <a:cxn ang="0">
                  <a:pos x="connsiteX12567" y="connsiteY12567"/>
                </a:cxn>
                <a:cxn ang="0">
                  <a:pos x="connsiteX12568" y="connsiteY12568"/>
                </a:cxn>
                <a:cxn ang="0">
                  <a:pos x="connsiteX12569" y="connsiteY12569"/>
                </a:cxn>
                <a:cxn ang="0">
                  <a:pos x="connsiteX12570" y="connsiteY12570"/>
                </a:cxn>
                <a:cxn ang="0">
                  <a:pos x="connsiteX12571" y="connsiteY12571"/>
                </a:cxn>
                <a:cxn ang="0">
                  <a:pos x="connsiteX12572" y="connsiteY12572"/>
                </a:cxn>
                <a:cxn ang="0">
                  <a:pos x="connsiteX12573" y="connsiteY12573"/>
                </a:cxn>
                <a:cxn ang="0">
                  <a:pos x="connsiteX12574" y="connsiteY12574"/>
                </a:cxn>
                <a:cxn ang="0">
                  <a:pos x="connsiteX12575" y="connsiteY12575"/>
                </a:cxn>
                <a:cxn ang="0">
                  <a:pos x="connsiteX12576" y="connsiteY12576"/>
                </a:cxn>
                <a:cxn ang="0">
                  <a:pos x="connsiteX12577" y="connsiteY12577"/>
                </a:cxn>
                <a:cxn ang="0">
                  <a:pos x="connsiteX12578" y="connsiteY12578"/>
                </a:cxn>
                <a:cxn ang="0">
                  <a:pos x="connsiteX12579" y="connsiteY12579"/>
                </a:cxn>
                <a:cxn ang="0">
                  <a:pos x="connsiteX12580" y="connsiteY12580"/>
                </a:cxn>
                <a:cxn ang="0">
                  <a:pos x="connsiteX12581" y="connsiteY12581"/>
                </a:cxn>
                <a:cxn ang="0">
                  <a:pos x="connsiteX12582" y="connsiteY12582"/>
                </a:cxn>
                <a:cxn ang="0">
                  <a:pos x="connsiteX12583" y="connsiteY12583"/>
                </a:cxn>
                <a:cxn ang="0">
                  <a:pos x="connsiteX12584" y="connsiteY12584"/>
                </a:cxn>
                <a:cxn ang="0">
                  <a:pos x="connsiteX12585" y="connsiteY12585"/>
                </a:cxn>
                <a:cxn ang="0">
                  <a:pos x="connsiteX12586" y="connsiteY12586"/>
                </a:cxn>
                <a:cxn ang="0">
                  <a:pos x="connsiteX12587" y="connsiteY12587"/>
                </a:cxn>
                <a:cxn ang="0">
                  <a:pos x="connsiteX12588" y="connsiteY12588"/>
                </a:cxn>
                <a:cxn ang="0">
                  <a:pos x="connsiteX12589" y="connsiteY12589"/>
                </a:cxn>
                <a:cxn ang="0">
                  <a:pos x="connsiteX12590" y="connsiteY12590"/>
                </a:cxn>
                <a:cxn ang="0">
                  <a:pos x="connsiteX12591" y="connsiteY12591"/>
                </a:cxn>
                <a:cxn ang="0">
                  <a:pos x="connsiteX12592" y="connsiteY12592"/>
                </a:cxn>
                <a:cxn ang="0">
                  <a:pos x="connsiteX12593" y="connsiteY12593"/>
                </a:cxn>
                <a:cxn ang="0">
                  <a:pos x="connsiteX12594" y="connsiteY12594"/>
                </a:cxn>
                <a:cxn ang="0">
                  <a:pos x="connsiteX12595" y="connsiteY12595"/>
                </a:cxn>
                <a:cxn ang="0">
                  <a:pos x="connsiteX12596" y="connsiteY12596"/>
                </a:cxn>
                <a:cxn ang="0">
                  <a:pos x="connsiteX12597" y="connsiteY12597"/>
                </a:cxn>
                <a:cxn ang="0">
                  <a:pos x="connsiteX12598" y="connsiteY12598"/>
                </a:cxn>
                <a:cxn ang="0">
                  <a:pos x="connsiteX12599" y="connsiteY12599"/>
                </a:cxn>
                <a:cxn ang="0">
                  <a:pos x="connsiteX12600" y="connsiteY12600"/>
                </a:cxn>
                <a:cxn ang="0">
                  <a:pos x="connsiteX12601" y="connsiteY12601"/>
                </a:cxn>
                <a:cxn ang="0">
                  <a:pos x="connsiteX12602" y="connsiteY12602"/>
                </a:cxn>
                <a:cxn ang="0">
                  <a:pos x="connsiteX12603" y="connsiteY12603"/>
                </a:cxn>
                <a:cxn ang="0">
                  <a:pos x="connsiteX12604" y="connsiteY12604"/>
                </a:cxn>
                <a:cxn ang="0">
                  <a:pos x="connsiteX12605" y="connsiteY12605"/>
                </a:cxn>
                <a:cxn ang="0">
                  <a:pos x="connsiteX12606" y="connsiteY12606"/>
                </a:cxn>
                <a:cxn ang="0">
                  <a:pos x="connsiteX12607" y="connsiteY12607"/>
                </a:cxn>
                <a:cxn ang="0">
                  <a:pos x="connsiteX12608" y="connsiteY12608"/>
                </a:cxn>
                <a:cxn ang="0">
                  <a:pos x="connsiteX12609" y="connsiteY12609"/>
                </a:cxn>
                <a:cxn ang="0">
                  <a:pos x="connsiteX12610" y="connsiteY12610"/>
                </a:cxn>
                <a:cxn ang="0">
                  <a:pos x="connsiteX12611" y="connsiteY12611"/>
                </a:cxn>
                <a:cxn ang="0">
                  <a:pos x="connsiteX12612" y="connsiteY12612"/>
                </a:cxn>
                <a:cxn ang="0">
                  <a:pos x="connsiteX12613" y="connsiteY12613"/>
                </a:cxn>
                <a:cxn ang="0">
                  <a:pos x="connsiteX12614" y="connsiteY12614"/>
                </a:cxn>
                <a:cxn ang="0">
                  <a:pos x="connsiteX12615" y="connsiteY12615"/>
                </a:cxn>
                <a:cxn ang="0">
                  <a:pos x="connsiteX12616" y="connsiteY12616"/>
                </a:cxn>
                <a:cxn ang="0">
                  <a:pos x="connsiteX12617" y="connsiteY12617"/>
                </a:cxn>
                <a:cxn ang="0">
                  <a:pos x="connsiteX12618" y="connsiteY12618"/>
                </a:cxn>
                <a:cxn ang="0">
                  <a:pos x="connsiteX12619" y="connsiteY12619"/>
                </a:cxn>
                <a:cxn ang="0">
                  <a:pos x="connsiteX12620" y="connsiteY12620"/>
                </a:cxn>
                <a:cxn ang="0">
                  <a:pos x="connsiteX12621" y="connsiteY12621"/>
                </a:cxn>
                <a:cxn ang="0">
                  <a:pos x="connsiteX12622" y="connsiteY12622"/>
                </a:cxn>
                <a:cxn ang="0">
                  <a:pos x="connsiteX12623" y="connsiteY12623"/>
                </a:cxn>
                <a:cxn ang="0">
                  <a:pos x="connsiteX12624" y="connsiteY12624"/>
                </a:cxn>
                <a:cxn ang="0">
                  <a:pos x="connsiteX12625" y="connsiteY12625"/>
                </a:cxn>
                <a:cxn ang="0">
                  <a:pos x="connsiteX12626" y="connsiteY12626"/>
                </a:cxn>
                <a:cxn ang="0">
                  <a:pos x="connsiteX12627" y="connsiteY12627"/>
                </a:cxn>
                <a:cxn ang="0">
                  <a:pos x="connsiteX12628" y="connsiteY12628"/>
                </a:cxn>
                <a:cxn ang="0">
                  <a:pos x="connsiteX12629" y="connsiteY12629"/>
                </a:cxn>
                <a:cxn ang="0">
                  <a:pos x="connsiteX12630" y="connsiteY12630"/>
                </a:cxn>
                <a:cxn ang="0">
                  <a:pos x="connsiteX12631" y="connsiteY12631"/>
                </a:cxn>
                <a:cxn ang="0">
                  <a:pos x="connsiteX12632" y="connsiteY12632"/>
                </a:cxn>
                <a:cxn ang="0">
                  <a:pos x="connsiteX12633" y="connsiteY12633"/>
                </a:cxn>
                <a:cxn ang="0">
                  <a:pos x="connsiteX12634" y="connsiteY12634"/>
                </a:cxn>
                <a:cxn ang="0">
                  <a:pos x="connsiteX12635" y="connsiteY12635"/>
                </a:cxn>
                <a:cxn ang="0">
                  <a:pos x="connsiteX12636" y="connsiteY12636"/>
                </a:cxn>
                <a:cxn ang="0">
                  <a:pos x="connsiteX12637" y="connsiteY12637"/>
                </a:cxn>
                <a:cxn ang="0">
                  <a:pos x="connsiteX12638" y="connsiteY12638"/>
                </a:cxn>
                <a:cxn ang="0">
                  <a:pos x="connsiteX12639" y="connsiteY12639"/>
                </a:cxn>
                <a:cxn ang="0">
                  <a:pos x="connsiteX12640" y="connsiteY12640"/>
                </a:cxn>
                <a:cxn ang="0">
                  <a:pos x="connsiteX12641" y="connsiteY12641"/>
                </a:cxn>
                <a:cxn ang="0">
                  <a:pos x="connsiteX12642" y="connsiteY12642"/>
                </a:cxn>
                <a:cxn ang="0">
                  <a:pos x="connsiteX12643" y="connsiteY12643"/>
                </a:cxn>
                <a:cxn ang="0">
                  <a:pos x="connsiteX12644" y="connsiteY12644"/>
                </a:cxn>
                <a:cxn ang="0">
                  <a:pos x="connsiteX12645" y="connsiteY12645"/>
                </a:cxn>
                <a:cxn ang="0">
                  <a:pos x="connsiteX12646" y="connsiteY12646"/>
                </a:cxn>
                <a:cxn ang="0">
                  <a:pos x="connsiteX12647" y="connsiteY12647"/>
                </a:cxn>
                <a:cxn ang="0">
                  <a:pos x="connsiteX12648" y="connsiteY12648"/>
                </a:cxn>
                <a:cxn ang="0">
                  <a:pos x="connsiteX12649" y="connsiteY12649"/>
                </a:cxn>
                <a:cxn ang="0">
                  <a:pos x="connsiteX12650" y="connsiteY12650"/>
                </a:cxn>
                <a:cxn ang="0">
                  <a:pos x="connsiteX12651" y="connsiteY12651"/>
                </a:cxn>
                <a:cxn ang="0">
                  <a:pos x="connsiteX12652" y="connsiteY12652"/>
                </a:cxn>
                <a:cxn ang="0">
                  <a:pos x="connsiteX12653" y="connsiteY12653"/>
                </a:cxn>
                <a:cxn ang="0">
                  <a:pos x="connsiteX12654" y="connsiteY12654"/>
                </a:cxn>
                <a:cxn ang="0">
                  <a:pos x="connsiteX12655" y="connsiteY12655"/>
                </a:cxn>
                <a:cxn ang="0">
                  <a:pos x="connsiteX12656" y="connsiteY12656"/>
                </a:cxn>
                <a:cxn ang="0">
                  <a:pos x="connsiteX12657" y="connsiteY12657"/>
                </a:cxn>
                <a:cxn ang="0">
                  <a:pos x="connsiteX12658" y="connsiteY12658"/>
                </a:cxn>
                <a:cxn ang="0">
                  <a:pos x="connsiteX12659" y="connsiteY12659"/>
                </a:cxn>
                <a:cxn ang="0">
                  <a:pos x="connsiteX12660" y="connsiteY12660"/>
                </a:cxn>
                <a:cxn ang="0">
                  <a:pos x="connsiteX12661" y="connsiteY12661"/>
                </a:cxn>
                <a:cxn ang="0">
                  <a:pos x="connsiteX12662" y="connsiteY12662"/>
                </a:cxn>
                <a:cxn ang="0">
                  <a:pos x="connsiteX12663" y="connsiteY12663"/>
                </a:cxn>
                <a:cxn ang="0">
                  <a:pos x="connsiteX12664" y="connsiteY12664"/>
                </a:cxn>
                <a:cxn ang="0">
                  <a:pos x="connsiteX12665" y="connsiteY12665"/>
                </a:cxn>
                <a:cxn ang="0">
                  <a:pos x="connsiteX12666" y="connsiteY12666"/>
                </a:cxn>
                <a:cxn ang="0">
                  <a:pos x="connsiteX12667" y="connsiteY12667"/>
                </a:cxn>
                <a:cxn ang="0">
                  <a:pos x="connsiteX12668" y="connsiteY12668"/>
                </a:cxn>
                <a:cxn ang="0">
                  <a:pos x="connsiteX12669" y="connsiteY12669"/>
                </a:cxn>
                <a:cxn ang="0">
                  <a:pos x="connsiteX12670" y="connsiteY12670"/>
                </a:cxn>
                <a:cxn ang="0">
                  <a:pos x="connsiteX12671" y="connsiteY12671"/>
                </a:cxn>
                <a:cxn ang="0">
                  <a:pos x="connsiteX12672" y="connsiteY12672"/>
                </a:cxn>
                <a:cxn ang="0">
                  <a:pos x="connsiteX12673" y="connsiteY12673"/>
                </a:cxn>
                <a:cxn ang="0">
                  <a:pos x="connsiteX12674" y="connsiteY12674"/>
                </a:cxn>
                <a:cxn ang="0">
                  <a:pos x="connsiteX12675" y="connsiteY12675"/>
                </a:cxn>
                <a:cxn ang="0">
                  <a:pos x="connsiteX12676" y="connsiteY12676"/>
                </a:cxn>
                <a:cxn ang="0">
                  <a:pos x="connsiteX12677" y="connsiteY12677"/>
                </a:cxn>
                <a:cxn ang="0">
                  <a:pos x="connsiteX12678" y="connsiteY12678"/>
                </a:cxn>
                <a:cxn ang="0">
                  <a:pos x="connsiteX12679" y="connsiteY12679"/>
                </a:cxn>
                <a:cxn ang="0">
                  <a:pos x="connsiteX12680" y="connsiteY12680"/>
                </a:cxn>
                <a:cxn ang="0">
                  <a:pos x="connsiteX12681" y="connsiteY12681"/>
                </a:cxn>
                <a:cxn ang="0">
                  <a:pos x="connsiteX12682" y="connsiteY12682"/>
                </a:cxn>
                <a:cxn ang="0">
                  <a:pos x="connsiteX12683" y="connsiteY12683"/>
                </a:cxn>
                <a:cxn ang="0">
                  <a:pos x="connsiteX12684" y="connsiteY12684"/>
                </a:cxn>
                <a:cxn ang="0">
                  <a:pos x="connsiteX12685" y="connsiteY12685"/>
                </a:cxn>
                <a:cxn ang="0">
                  <a:pos x="connsiteX12686" y="connsiteY12686"/>
                </a:cxn>
                <a:cxn ang="0">
                  <a:pos x="connsiteX12687" y="connsiteY12687"/>
                </a:cxn>
                <a:cxn ang="0">
                  <a:pos x="connsiteX12688" y="connsiteY12688"/>
                </a:cxn>
                <a:cxn ang="0">
                  <a:pos x="connsiteX12689" y="connsiteY12689"/>
                </a:cxn>
                <a:cxn ang="0">
                  <a:pos x="connsiteX12690" y="connsiteY12690"/>
                </a:cxn>
                <a:cxn ang="0">
                  <a:pos x="connsiteX12691" y="connsiteY12691"/>
                </a:cxn>
                <a:cxn ang="0">
                  <a:pos x="connsiteX12692" y="connsiteY12692"/>
                </a:cxn>
                <a:cxn ang="0">
                  <a:pos x="connsiteX12693" y="connsiteY12693"/>
                </a:cxn>
                <a:cxn ang="0">
                  <a:pos x="connsiteX12694" y="connsiteY12694"/>
                </a:cxn>
                <a:cxn ang="0">
                  <a:pos x="connsiteX12695" y="connsiteY12695"/>
                </a:cxn>
                <a:cxn ang="0">
                  <a:pos x="connsiteX12696" y="connsiteY12696"/>
                </a:cxn>
                <a:cxn ang="0">
                  <a:pos x="connsiteX12697" y="connsiteY12697"/>
                </a:cxn>
                <a:cxn ang="0">
                  <a:pos x="connsiteX12698" y="connsiteY12698"/>
                </a:cxn>
                <a:cxn ang="0">
                  <a:pos x="connsiteX12699" y="connsiteY12699"/>
                </a:cxn>
                <a:cxn ang="0">
                  <a:pos x="connsiteX12700" y="connsiteY12700"/>
                </a:cxn>
                <a:cxn ang="0">
                  <a:pos x="connsiteX12701" y="connsiteY12701"/>
                </a:cxn>
                <a:cxn ang="0">
                  <a:pos x="connsiteX12702" y="connsiteY12702"/>
                </a:cxn>
                <a:cxn ang="0">
                  <a:pos x="connsiteX12703" y="connsiteY12703"/>
                </a:cxn>
                <a:cxn ang="0">
                  <a:pos x="connsiteX12704" y="connsiteY12704"/>
                </a:cxn>
                <a:cxn ang="0">
                  <a:pos x="connsiteX12705" y="connsiteY12705"/>
                </a:cxn>
                <a:cxn ang="0">
                  <a:pos x="connsiteX12706" y="connsiteY12706"/>
                </a:cxn>
                <a:cxn ang="0">
                  <a:pos x="connsiteX12707" y="connsiteY12707"/>
                </a:cxn>
                <a:cxn ang="0">
                  <a:pos x="connsiteX12708" y="connsiteY12708"/>
                </a:cxn>
                <a:cxn ang="0">
                  <a:pos x="connsiteX12709" y="connsiteY12709"/>
                </a:cxn>
                <a:cxn ang="0">
                  <a:pos x="connsiteX12710" y="connsiteY12710"/>
                </a:cxn>
                <a:cxn ang="0">
                  <a:pos x="connsiteX12711" y="connsiteY12711"/>
                </a:cxn>
                <a:cxn ang="0">
                  <a:pos x="connsiteX12712" y="connsiteY12712"/>
                </a:cxn>
                <a:cxn ang="0">
                  <a:pos x="connsiteX12713" y="connsiteY12713"/>
                </a:cxn>
                <a:cxn ang="0">
                  <a:pos x="connsiteX12714" y="connsiteY12714"/>
                </a:cxn>
                <a:cxn ang="0">
                  <a:pos x="connsiteX12715" y="connsiteY12715"/>
                </a:cxn>
                <a:cxn ang="0">
                  <a:pos x="connsiteX12716" y="connsiteY12716"/>
                </a:cxn>
                <a:cxn ang="0">
                  <a:pos x="connsiteX12717" y="connsiteY12717"/>
                </a:cxn>
                <a:cxn ang="0">
                  <a:pos x="connsiteX12718" y="connsiteY12718"/>
                </a:cxn>
                <a:cxn ang="0">
                  <a:pos x="connsiteX12719" y="connsiteY12719"/>
                </a:cxn>
                <a:cxn ang="0">
                  <a:pos x="connsiteX12720" y="connsiteY12720"/>
                </a:cxn>
                <a:cxn ang="0">
                  <a:pos x="connsiteX12721" y="connsiteY12721"/>
                </a:cxn>
                <a:cxn ang="0">
                  <a:pos x="connsiteX12722" y="connsiteY12722"/>
                </a:cxn>
                <a:cxn ang="0">
                  <a:pos x="connsiteX12723" y="connsiteY12723"/>
                </a:cxn>
                <a:cxn ang="0">
                  <a:pos x="connsiteX12724" y="connsiteY12724"/>
                </a:cxn>
                <a:cxn ang="0">
                  <a:pos x="connsiteX12725" y="connsiteY12725"/>
                </a:cxn>
                <a:cxn ang="0">
                  <a:pos x="connsiteX12726" y="connsiteY12726"/>
                </a:cxn>
                <a:cxn ang="0">
                  <a:pos x="connsiteX12727" y="connsiteY12727"/>
                </a:cxn>
                <a:cxn ang="0">
                  <a:pos x="connsiteX12728" y="connsiteY12728"/>
                </a:cxn>
                <a:cxn ang="0">
                  <a:pos x="connsiteX12729" y="connsiteY12729"/>
                </a:cxn>
                <a:cxn ang="0">
                  <a:pos x="connsiteX12730" y="connsiteY12730"/>
                </a:cxn>
                <a:cxn ang="0">
                  <a:pos x="connsiteX12731" y="connsiteY12731"/>
                </a:cxn>
                <a:cxn ang="0">
                  <a:pos x="connsiteX12732" y="connsiteY12732"/>
                </a:cxn>
                <a:cxn ang="0">
                  <a:pos x="connsiteX12733" y="connsiteY12733"/>
                </a:cxn>
                <a:cxn ang="0">
                  <a:pos x="connsiteX12734" y="connsiteY12734"/>
                </a:cxn>
                <a:cxn ang="0">
                  <a:pos x="connsiteX12735" y="connsiteY12735"/>
                </a:cxn>
                <a:cxn ang="0">
                  <a:pos x="connsiteX12736" y="connsiteY12736"/>
                </a:cxn>
                <a:cxn ang="0">
                  <a:pos x="connsiteX12737" y="connsiteY12737"/>
                </a:cxn>
                <a:cxn ang="0">
                  <a:pos x="connsiteX12738" y="connsiteY12738"/>
                </a:cxn>
                <a:cxn ang="0">
                  <a:pos x="connsiteX12739" y="connsiteY12739"/>
                </a:cxn>
                <a:cxn ang="0">
                  <a:pos x="connsiteX12740" y="connsiteY12740"/>
                </a:cxn>
                <a:cxn ang="0">
                  <a:pos x="connsiteX12741" y="connsiteY12741"/>
                </a:cxn>
                <a:cxn ang="0">
                  <a:pos x="connsiteX12742" y="connsiteY12742"/>
                </a:cxn>
                <a:cxn ang="0">
                  <a:pos x="connsiteX12743" y="connsiteY12743"/>
                </a:cxn>
                <a:cxn ang="0">
                  <a:pos x="connsiteX12744" y="connsiteY12744"/>
                </a:cxn>
                <a:cxn ang="0">
                  <a:pos x="connsiteX12745" y="connsiteY12745"/>
                </a:cxn>
                <a:cxn ang="0">
                  <a:pos x="connsiteX12746" y="connsiteY12746"/>
                </a:cxn>
                <a:cxn ang="0">
                  <a:pos x="connsiteX12747" y="connsiteY12747"/>
                </a:cxn>
                <a:cxn ang="0">
                  <a:pos x="connsiteX12748" y="connsiteY12748"/>
                </a:cxn>
                <a:cxn ang="0">
                  <a:pos x="connsiteX12749" y="connsiteY12749"/>
                </a:cxn>
                <a:cxn ang="0">
                  <a:pos x="connsiteX12750" y="connsiteY12750"/>
                </a:cxn>
                <a:cxn ang="0">
                  <a:pos x="connsiteX12751" y="connsiteY12751"/>
                </a:cxn>
                <a:cxn ang="0">
                  <a:pos x="connsiteX12752" y="connsiteY12752"/>
                </a:cxn>
                <a:cxn ang="0">
                  <a:pos x="connsiteX12753" y="connsiteY12753"/>
                </a:cxn>
                <a:cxn ang="0">
                  <a:pos x="connsiteX12754" y="connsiteY12754"/>
                </a:cxn>
                <a:cxn ang="0">
                  <a:pos x="connsiteX12755" y="connsiteY12755"/>
                </a:cxn>
                <a:cxn ang="0">
                  <a:pos x="connsiteX12756" y="connsiteY12756"/>
                </a:cxn>
                <a:cxn ang="0">
                  <a:pos x="connsiteX12757" y="connsiteY12757"/>
                </a:cxn>
                <a:cxn ang="0">
                  <a:pos x="connsiteX12758" y="connsiteY12758"/>
                </a:cxn>
                <a:cxn ang="0">
                  <a:pos x="connsiteX12759" y="connsiteY12759"/>
                </a:cxn>
                <a:cxn ang="0">
                  <a:pos x="connsiteX12760" y="connsiteY12760"/>
                </a:cxn>
                <a:cxn ang="0">
                  <a:pos x="connsiteX12761" y="connsiteY12761"/>
                </a:cxn>
                <a:cxn ang="0">
                  <a:pos x="connsiteX12762" y="connsiteY12762"/>
                </a:cxn>
                <a:cxn ang="0">
                  <a:pos x="connsiteX12763" y="connsiteY12763"/>
                </a:cxn>
                <a:cxn ang="0">
                  <a:pos x="connsiteX12764" y="connsiteY12764"/>
                </a:cxn>
                <a:cxn ang="0">
                  <a:pos x="connsiteX12765" y="connsiteY12765"/>
                </a:cxn>
                <a:cxn ang="0">
                  <a:pos x="connsiteX12766" y="connsiteY12766"/>
                </a:cxn>
                <a:cxn ang="0">
                  <a:pos x="connsiteX12767" y="connsiteY12767"/>
                </a:cxn>
                <a:cxn ang="0">
                  <a:pos x="connsiteX12768" y="connsiteY12768"/>
                </a:cxn>
                <a:cxn ang="0">
                  <a:pos x="connsiteX12769" y="connsiteY12769"/>
                </a:cxn>
                <a:cxn ang="0">
                  <a:pos x="connsiteX12770" y="connsiteY12770"/>
                </a:cxn>
                <a:cxn ang="0">
                  <a:pos x="connsiteX12771" y="connsiteY12771"/>
                </a:cxn>
                <a:cxn ang="0">
                  <a:pos x="connsiteX12772" y="connsiteY12772"/>
                </a:cxn>
                <a:cxn ang="0">
                  <a:pos x="connsiteX12773" y="connsiteY12773"/>
                </a:cxn>
                <a:cxn ang="0">
                  <a:pos x="connsiteX12774" y="connsiteY12774"/>
                </a:cxn>
                <a:cxn ang="0">
                  <a:pos x="connsiteX12775" y="connsiteY12775"/>
                </a:cxn>
                <a:cxn ang="0">
                  <a:pos x="connsiteX12776" y="connsiteY12776"/>
                </a:cxn>
                <a:cxn ang="0">
                  <a:pos x="connsiteX12777" y="connsiteY12777"/>
                </a:cxn>
                <a:cxn ang="0">
                  <a:pos x="connsiteX12778" y="connsiteY12778"/>
                </a:cxn>
                <a:cxn ang="0">
                  <a:pos x="connsiteX12779" y="connsiteY12779"/>
                </a:cxn>
                <a:cxn ang="0">
                  <a:pos x="connsiteX12780" y="connsiteY12780"/>
                </a:cxn>
                <a:cxn ang="0">
                  <a:pos x="connsiteX12781" y="connsiteY12781"/>
                </a:cxn>
                <a:cxn ang="0">
                  <a:pos x="connsiteX12782" y="connsiteY12782"/>
                </a:cxn>
                <a:cxn ang="0">
                  <a:pos x="connsiteX12783" y="connsiteY12783"/>
                </a:cxn>
                <a:cxn ang="0">
                  <a:pos x="connsiteX12784" y="connsiteY12784"/>
                </a:cxn>
                <a:cxn ang="0">
                  <a:pos x="connsiteX12785" y="connsiteY12785"/>
                </a:cxn>
                <a:cxn ang="0">
                  <a:pos x="connsiteX12786" y="connsiteY12786"/>
                </a:cxn>
                <a:cxn ang="0">
                  <a:pos x="connsiteX12787" y="connsiteY12787"/>
                </a:cxn>
                <a:cxn ang="0">
                  <a:pos x="connsiteX12788" y="connsiteY12788"/>
                </a:cxn>
                <a:cxn ang="0">
                  <a:pos x="connsiteX12789" y="connsiteY12789"/>
                </a:cxn>
                <a:cxn ang="0">
                  <a:pos x="connsiteX12790" y="connsiteY12790"/>
                </a:cxn>
                <a:cxn ang="0">
                  <a:pos x="connsiteX12791" y="connsiteY12791"/>
                </a:cxn>
                <a:cxn ang="0">
                  <a:pos x="connsiteX12792" y="connsiteY12792"/>
                </a:cxn>
                <a:cxn ang="0">
                  <a:pos x="connsiteX12793" y="connsiteY12793"/>
                </a:cxn>
                <a:cxn ang="0">
                  <a:pos x="connsiteX12794" y="connsiteY12794"/>
                </a:cxn>
                <a:cxn ang="0">
                  <a:pos x="connsiteX12795" y="connsiteY12795"/>
                </a:cxn>
                <a:cxn ang="0">
                  <a:pos x="connsiteX12796" y="connsiteY12796"/>
                </a:cxn>
                <a:cxn ang="0">
                  <a:pos x="connsiteX12797" y="connsiteY12797"/>
                </a:cxn>
                <a:cxn ang="0">
                  <a:pos x="connsiteX12798" y="connsiteY12798"/>
                </a:cxn>
                <a:cxn ang="0">
                  <a:pos x="connsiteX12799" y="connsiteY12799"/>
                </a:cxn>
                <a:cxn ang="0">
                  <a:pos x="connsiteX12800" y="connsiteY12800"/>
                </a:cxn>
                <a:cxn ang="0">
                  <a:pos x="connsiteX12801" y="connsiteY12801"/>
                </a:cxn>
                <a:cxn ang="0">
                  <a:pos x="connsiteX12802" y="connsiteY12802"/>
                </a:cxn>
                <a:cxn ang="0">
                  <a:pos x="connsiteX12803" y="connsiteY12803"/>
                </a:cxn>
                <a:cxn ang="0">
                  <a:pos x="connsiteX12804" y="connsiteY12804"/>
                </a:cxn>
                <a:cxn ang="0">
                  <a:pos x="connsiteX12805" y="connsiteY12805"/>
                </a:cxn>
                <a:cxn ang="0">
                  <a:pos x="connsiteX12806" y="connsiteY12806"/>
                </a:cxn>
                <a:cxn ang="0">
                  <a:pos x="connsiteX12807" y="connsiteY12807"/>
                </a:cxn>
                <a:cxn ang="0">
                  <a:pos x="connsiteX12808" y="connsiteY12808"/>
                </a:cxn>
                <a:cxn ang="0">
                  <a:pos x="connsiteX12809" y="connsiteY12809"/>
                </a:cxn>
                <a:cxn ang="0">
                  <a:pos x="connsiteX12810" y="connsiteY12810"/>
                </a:cxn>
                <a:cxn ang="0">
                  <a:pos x="connsiteX12811" y="connsiteY12811"/>
                </a:cxn>
                <a:cxn ang="0">
                  <a:pos x="connsiteX12812" y="connsiteY12812"/>
                </a:cxn>
                <a:cxn ang="0">
                  <a:pos x="connsiteX12813" y="connsiteY12813"/>
                </a:cxn>
                <a:cxn ang="0">
                  <a:pos x="connsiteX12814" y="connsiteY12814"/>
                </a:cxn>
                <a:cxn ang="0">
                  <a:pos x="connsiteX12815" y="connsiteY12815"/>
                </a:cxn>
                <a:cxn ang="0">
                  <a:pos x="connsiteX12816" y="connsiteY12816"/>
                </a:cxn>
                <a:cxn ang="0">
                  <a:pos x="connsiteX12817" y="connsiteY12817"/>
                </a:cxn>
                <a:cxn ang="0">
                  <a:pos x="connsiteX12818" y="connsiteY12818"/>
                </a:cxn>
                <a:cxn ang="0">
                  <a:pos x="connsiteX12819" y="connsiteY12819"/>
                </a:cxn>
                <a:cxn ang="0">
                  <a:pos x="connsiteX12820" y="connsiteY12820"/>
                </a:cxn>
                <a:cxn ang="0">
                  <a:pos x="connsiteX12821" y="connsiteY12821"/>
                </a:cxn>
                <a:cxn ang="0">
                  <a:pos x="connsiteX12822" y="connsiteY12822"/>
                </a:cxn>
                <a:cxn ang="0">
                  <a:pos x="connsiteX12823" y="connsiteY12823"/>
                </a:cxn>
                <a:cxn ang="0">
                  <a:pos x="connsiteX12824" y="connsiteY12824"/>
                </a:cxn>
                <a:cxn ang="0">
                  <a:pos x="connsiteX12825" y="connsiteY12825"/>
                </a:cxn>
                <a:cxn ang="0">
                  <a:pos x="connsiteX12826" y="connsiteY12826"/>
                </a:cxn>
                <a:cxn ang="0">
                  <a:pos x="connsiteX12827" y="connsiteY12827"/>
                </a:cxn>
                <a:cxn ang="0">
                  <a:pos x="connsiteX12828" y="connsiteY12828"/>
                </a:cxn>
                <a:cxn ang="0">
                  <a:pos x="connsiteX12829" y="connsiteY12829"/>
                </a:cxn>
                <a:cxn ang="0">
                  <a:pos x="connsiteX12830" y="connsiteY12830"/>
                </a:cxn>
                <a:cxn ang="0">
                  <a:pos x="connsiteX12831" y="connsiteY12831"/>
                </a:cxn>
                <a:cxn ang="0">
                  <a:pos x="connsiteX12832" y="connsiteY12832"/>
                </a:cxn>
                <a:cxn ang="0">
                  <a:pos x="connsiteX12833" y="connsiteY12833"/>
                </a:cxn>
                <a:cxn ang="0">
                  <a:pos x="connsiteX12834" y="connsiteY12834"/>
                </a:cxn>
                <a:cxn ang="0">
                  <a:pos x="connsiteX12835" y="connsiteY12835"/>
                </a:cxn>
                <a:cxn ang="0">
                  <a:pos x="connsiteX12836" y="connsiteY12836"/>
                </a:cxn>
                <a:cxn ang="0">
                  <a:pos x="connsiteX12837" y="connsiteY12837"/>
                </a:cxn>
                <a:cxn ang="0">
                  <a:pos x="connsiteX12838" y="connsiteY12838"/>
                </a:cxn>
                <a:cxn ang="0">
                  <a:pos x="connsiteX12839" y="connsiteY12839"/>
                </a:cxn>
                <a:cxn ang="0">
                  <a:pos x="connsiteX12840" y="connsiteY12840"/>
                </a:cxn>
                <a:cxn ang="0">
                  <a:pos x="connsiteX12841" y="connsiteY12841"/>
                </a:cxn>
                <a:cxn ang="0">
                  <a:pos x="connsiteX12842" y="connsiteY12842"/>
                </a:cxn>
                <a:cxn ang="0">
                  <a:pos x="connsiteX12843" y="connsiteY12843"/>
                </a:cxn>
                <a:cxn ang="0">
                  <a:pos x="connsiteX12844" y="connsiteY12844"/>
                </a:cxn>
                <a:cxn ang="0">
                  <a:pos x="connsiteX12845" y="connsiteY12845"/>
                </a:cxn>
                <a:cxn ang="0">
                  <a:pos x="connsiteX12846" y="connsiteY12846"/>
                </a:cxn>
                <a:cxn ang="0">
                  <a:pos x="connsiteX12847" y="connsiteY12847"/>
                </a:cxn>
                <a:cxn ang="0">
                  <a:pos x="connsiteX12848" y="connsiteY12848"/>
                </a:cxn>
                <a:cxn ang="0">
                  <a:pos x="connsiteX12849" y="connsiteY12849"/>
                </a:cxn>
                <a:cxn ang="0">
                  <a:pos x="connsiteX12850" y="connsiteY12850"/>
                </a:cxn>
                <a:cxn ang="0">
                  <a:pos x="connsiteX12851" y="connsiteY12851"/>
                </a:cxn>
                <a:cxn ang="0">
                  <a:pos x="connsiteX12852" y="connsiteY12852"/>
                </a:cxn>
                <a:cxn ang="0">
                  <a:pos x="connsiteX12853" y="connsiteY12853"/>
                </a:cxn>
                <a:cxn ang="0">
                  <a:pos x="connsiteX12854" y="connsiteY12854"/>
                </a:cxn>
                <a:cxn ang="0">
                  <a:pos x="connsiteX12855" y="connsiteY12855"/>
                </a:cxn>
                <a:cxn ang="0">
                  <a:pos x="connsiteX12856" y="connsiteY12856"/>
                </a:cxn>
                <a:cxn ang="0">
                  <a:pos x="connsiteX12857" y="connsiteY12857"/>
                </a:cxn>
                <a:cxn ang="0">
                  <a:pos x="connsiteX12858" y="connsiteY12858"/>
                </a:cxn>
                <a:cxn ang="0">
                  <a:pos x="connsiteX12859" y="connsiteY12859"/>
                </a:cxn>
                <a:cxn ang="0">
                  <a:pos x="connsiteX12860" y="connsiteY12860"/>
                </a:cxn>
                <a:cxn ang="0">
                  <a:pos x="connsiteX12861" y="connsiteY12861"/>
                </a:cxn>
                <a:cxn ang="0">
                  <a:pos x="connsiteX12862" y="connsiteY12862"/>
                </a:cxn>
                <a:cxn ang="0">
                  <a:pos x="connsiteX12863" y="connsiteY12863"/>
                </a:cxn>
                <a:cxn ang="0">
                  <a:pos x="connsiteX12864" y="connsiteY12864"/>
                </a:cxn>
                <a:cxn ang="0">
                  <a:pos x="connsiteX12865" y="connsiteY12865"/>
                </a:cxn>
                <a:cxn ang="0">
                  <a:pos x="connsiteX12866" y="connsiteY12866"/>
                </a:cxn>
                <a:cxn ang="0">
                  <a:pos x="connsiteX12867" y="connsiteY12867"/>
                </a:cxn>
                <a:cxn ang="0">
                  <a:pos x="connsiteX12868" y="connsiteY12868"/>
                </a:cxn>
                <a:cxn ang="0">
                  <a:pos x="connsiteX12869" y="connsiteY12869"/>
                </a:cxn>
                <a:cxn ang="0">
                  <a:pos x="connsiteX12870" y="connsiteY12870"/>
                </a:cxn>
                <a:cxn ang="0">
                  <a:pos x="connsiteX12871" y="connsiteY12871"/>
                </a:cxn>
                <a:cxn ang="0">
                  <a:pos x="connsiteX12872" y="connsiteY12872"/>
                </a:cxn>
                <a:cxn ang="0">
                  <a:pos x="connsiteX12873" y="connsiteY12873"/>
                </a:cxn>
                <a:cxn ang="0">
                  <a:pos x="connsiteX12874" y="connsiteY12874"/>
                </a:cxn>
                <a:cxn ang="0">
                  <a:pos x="connsiteX12875" y="connsiteY12875"/>
                </a:cxn>
                <a:cxn ang="0">
                  <a:pos x="connsiteX12876" y="connsiteY12876"/>
                </a:cxn>
                <a:cxn ang="0">
                  <a:pos x="connsiteX12877" y="connsiteY12877"/>
                </a:cxn>
                <a:cxn ang="0">
                  <a:pos x="connsiteX12878" y="connsiteY12878"/>
                </a:cxn>
                <a:cxn ang="0">
                  <a:pos x="connsiteX12879" y="connsiteY12879"/>
                </a:cxn>
                <a:cxn ang="0">
                  <a:pos x="connsiteX12880" y="connsiteY12880"/>
                </a:cxn>
                <a:cxn ang="0">
                  <a:pos x="connsiteX12881" y="connsiteY12881"/>
                </a:cxn>
                <a:cxn ang="0">
                  <a:pos x="connsiteX12882" y="connsiteY12882"/>
                </a:cxn>
                <a:cxn ang="0">
                  <a:pos x="connsiteX12883" y="connsiteY12883"/>
                </a:cxn>
                <a:cxn ang="0">
                  <a:pos x="connsiteX12884" y="connsiteY12884"/>
                </a:cxn>
                <a:cxn ang="0">
                  <a:pos x="connsiteX12885" y="connsiteY12885"/>
                </a:cxn>
                <a:cxn ang="0">
                  <a:pos x="connsiteX12886" y="connsiteY12886"/>
                </a:cxn>
                <a:cxn ang="0">
                  <a:pos x="connsiteX12887" y="connsiteY12887"/>
                </a:cxn>
                <a:cxn ang="0">
                  <a:pos x="connsiteX12888" y="connsiteY12888"/>
                </a:cxn>
                <a:cxn ang="0">
                  <a:pos x="connsiteX12889" y="connsiteY12889"/>
                </a:cxn>
                <a:cxn ang="0">
                  <a:pos x="connsiteX12890" y="connsiteY12890"/>
                </a:cxn>
                <a:cxn ang="0">
                  <a:pos x="connsiteX12891" y="connsiteY12891"/>
                </a:cxn>
                <a:cxn ang="0">
                  <a:pos x="connsiteX12892" y="connsiteY12892"/>
                </a:cxn>
                <a:cxn ang="0">
                  <a:pos x="connsiteX12893" y="connsiteY12893"/>
                </a:cxn>
                <a:cxn ang="0">
                  <a:pos x="connsiteX12894" y="connsiteY12894"/>
                </a:cxn>
                <a:cxn ang="0">
                  <a:pos x="connsiteX12895" y="connsiteY12895"/>
                </a:cxn>
                <a:cxn ang="0">
                  <a:pos x="connsiteX12896" y="connsiteY12896"/>
                </a:cxn>
                <a:cxn ang="0">
                  <a:pos x="connsiteX12897" y="connsiteY12897"/>
                </a:cxn>
                <a:cxn ang="0">
                  <a:pos x="connsiteX12898" y="connsiteY12898"/>
                </a:cxn>
                <a:cxn ang="0">
                  <a:pos x="connsiteX12899" y="connsiteY12899"/>
                </a:cxn>
                <a:cxn ang="0">
                  <a:pos x="connsiteX12900" y="connsiteY12900"/>
                </a:cxn>
                <a:cxn ang="0">
                  <a:pos x="connsiteX12901" y="connsiteY12901"/>
                </a:cxn>
                <a:cxn ang="0">
                  <a:pos x="connsiteX12902" y="connsiteY12902"/>
                </a:cxn>
                <a:cxn ang="0">
                  <a:pos x="connsiteX12903" y="connsiteY12903"/>
                </a:cxn>
                <a:cxn ang="0">
                  <a:pos x="connsiteX12904" y="connsiteY12904"/>
                </a:cxn>
                <a:cxn ang="0">
                  <a:pos x="connsiteX12905" y="connsiteY12905"/>
                </a:cxn>
                <a:cxn ang="0">
                  <a:pos x="connsiteX12906" y="connsiteY12906"/>
                </a:cxn>
                <a:cxn ang="0">
                  <a:pos x="connsiteX12907" y="connsiteY12907"/>
                </a:cxn>
                <a:cxn ang="0">
                  <a:pos x="connsiteX12908" y="connsiteY12908"/>
                </a:cxn>
                <a:cxn ang="0">
                  <a:pos x="connsiteX12909" y="connsiteY12909"/>
                </a:cxn>
                <a:cxn ang="0">
                  <a:pos x="connsiteX12910" y="connsiteY12910"/>
                </a:cxn>
                <a:cxn ang="0">
                  <a:pos x="connsiteX12911" y="connsiteY12911"/>
                </a:cxn>
                <a:cxn ang="0">
                  <a:pos x="connsiteX12912" y="connsiteY12912"/>
                </a:cxn>
                <a:cxn ang="0">
                  <a:pos x="connsiteX12913" y="connsiteY12913"/>
                </a:cxn>
                <a:cxn ang="0">
                  <a:pos x="connsiteX12914" y="connsiteY12914"/>
                </a:cxn>
                <a:cxn ang="0">
                  <a:pos x="connsiteX12915" y="connsiteY12915"/>
                </a:cxn>
                <a:cxn ang="0">
                  <a:pos x="connsiteX12916" y="connsiteY12916"/>
                </a:cxn>
                <a:cxn ang="0">
                  <a:pos x="connsiteX12917" y="connsiteY12917"/>
                </a:cxn>
                <a:cxn ang="0">
                  <a:pos x="connsiteX12918" y="connsiteY12918"/>
                </a:cxn>
                <a:cxn ang="0">
                  <a:pos x="connsiteX12919" y="connsiteY12919"/>
                </a:cxn>
                <a:cxn ang="0">
                  <a:pos x="connsiteX12920" y="connsiteY12920"/>
                </a:cxn>
                <a:cxn ang="0">
                  <a:pos x="connsiteX12921" y="connsiteY12921"/>
                </a:cxn>
                <a:cxn ang="0">
                  <a:pos x="connsiteX12922" y="connsiteY12922"/>
                </a:cxn>
                <a:cxn ang="0">
                  <a:pos x="connsiteX12923" y="connsiteY12923"/>
                </a:cxn>
                <a:cxn ang="0">
                  <a:pos x="connsiteX12924" y="connsiteY12924"/>
                </a:cxn>
                <a:cxn ang="0">
                  <a:pos x="connsiteX12925" y="connsiteY12925"/>
                </a:cxn>
                <a:cxn ang="0">
                  <a:pos x="connsiteX12926" y="connsiteY12926"/>
                </a:cxn>
                <a:cxn ang="0">
                  <a:pos x="connsiteX12927" y="connsiteY12927"/>
                </a:cxn>
                <a:cxn ang="0">
                  <a:pos x="connsiteX12928" y="connsiteY12928"/>
                </a:cxn>
                <a:cxn ang="0">
                  <a:pos x="connsiteX12929" y="connsiteY12929"/>
                </a:cxn>
                <a:cxn ang="0">
                  <a:pos x="connsiteX12930" y="connsiteY12930"/>
                </a:cxn>
                <a:cxn ang="0">
                  <a:pos x="connsiteX12931" y="connsiteY12931"/>
                </a:cxn>
                <a:cxn ang="0">
                  <a:pos x="connsiteX12932" y="connsiteY12932"/>
                </a:cxn>
                <a:cxn ang="0">
                  <a:pos x="connsiteX12933" y="connsiteY12933"/>
                </a:cxn>
                <a:cxn ang="0">
                  <a:pos x="connsiteX12934" y="connsiteY12934"/>
                </a:cxn>
                <a:cxn ang="0">
                  <a:pos x="connsiteX12935" y="connsiteY12935"/>
                </a:cxn>
                <a:cxn ang="0">
                  <a:pos x="connsiteX12936" y="connsiteY12936"/>
                </a:cxn>
                <a:cxn ang="0">
                  <a:pos x="connsiteX12937" y="connsiteY12937"/>
                </a:cxn>
                <a:cxn ang="0">
                  <a:pos x="connsiteX12938" y="connsiteY12938"/>
                </a:cxn>
                <a:cxn ang="0">
                  <a:pos x="connsiteX12939" y="connsiteY12939"/>
                </a:cxn>
                <a:cxn ang="0">
                  <a:pos x="connsiteX12940" y="connsiteY12940"/>
                </a:cxn>
                <a:cxn ang="0">
                  <a:pos x="connsiteX12941" y="connsiteY12941"/>
                </a:cxn>
                <a:cxn ang="0">
                  <a:pos x="connsiteX12942" y="connsiteY12942"/>
                </a:cxn>
                <a:cxn ang="0">
                  <a:pos x="connsiteX12943" y="connsiteY12943"/>
                </a:cxn>
                <a:cxn ang="0">
                  <a:pos x="connsiteX12944" y="connsiteY12944"/>
                </a:cxn>
                <a:cxn ang="0">
                  <a:pos x="connsiteX12945" y="connsiteY12945"/>
                </a:cxn>
                <a:cxn ang="0">
                  <a:pos x="connsiteX12946" y="connsiteY12946"/>
                </a:cxn>
                <a:cxn ang="0">
                  <a:pos x="connsiteX12947" y="connsiteY12947"/>
                </a:cxn>
                <a:cxn ang="0">
                  <a:pos x="connsiteX12948" y="connsiteY12948"/>
                </a:cxn>
                <a:cxn ang="0">
                  <a:pos x="connsiteX12949" y="connsiteY12949"/>
                </a:cxn>
                <a:cxn ang="0">
                  <a:pos x="connsiteX12950" y="connsiteY12950"/>
                </a:cxn>
                <a:cxn ang="0">
                  <a:pos x="connsiteX12951" y="connsiteY12951"/>
                </a:cxn>
                <a:cxn ang="0">
                  <a:pos x="connsiteX12952" y="connsiteY12952"/>
                </a:cxn>
                <a:cxn ang="0">
                  <a:pos x="connsiteX12953" y="connsiteY12953"/>
                </a:cxn>
                <a:cxn ang="0">
                  <a:pos x="connsiteX12954" y="connsiteY12954"/>
                </a:cxn>
                <a:cxn ang="0">
                  <a:pos x="connsiteX12955" y="connsiteY12955"/>
                </a:cxn>
                <a:cxn ang="0">
                  <a:pos x="connsiteX12956" y="connsiteY12956"/>
                </a:cxn>
                <a:cxn ang="0">
                  <a:pos x="connsiteX12957" y="connsiteY12957"/>
                </a:cxn>
                <a:cxn ang="0">
                  <a:pos x="connsiteX12958" y="connsiteY12958"/>
                </a:cxn>
                <a:cxn ang="0">
                  <a:pos x="connsiteX12959" y="connsiteY12959"/>
                </a:cxn>
                <a:cxn ang="0">
                  <a:pos x="connsiteX12960" y="connsiteY12960"/>
                </a:cxn>
                <a:cxn ang="0">
                  <a:pos x="connsiteX12961" y="connsiteY12961"/>
                </a:cxn>
                <a:cxn ang="0">
                  <a:pos x="connsiteX12962" y="connsiteY12962"/>
                </a:cxn>
                <a:cxn ang="0">
                  <a:pos x="connsiteX12963" y="connsiteY12963"/>
                </a:cxn>
                <a:cxn ang="0">
                  <a:pos x="connsiteX12964" y="connsiteY12964"/>
                </a:cxn>
                <a:cxn ang="0">
                  <a:pos x="connsiteX12965" y="connsiteY12965"/>
                </a:cxn>
                <a:cxn ang="0">
                  <a:pos x="connsiteX12966" y="connsiteY12966"/>
                </a:cxn>
                <a:cxn ang="0">
                  <a:pos x="connsiteX12967" y="connsiteY12967"/>
                </a:cxn>
                <a:cxn ang="0">
                  <a:pos x="connsiteX12968" y="connsiteY12968"/>
                </a:cxn>
                <a:cxn ang="0">
                  <a:pos x="connsiteX12969" y="connsiteY12969"/>
                </a:cxn>
                <a:cxn ang="0">
                  <a:pos x="connsiteX12970" y="connsiteY12970"/>
                </a:cxn>
                <a:cxn ang="0">
                  <a:pos x="connsiteX12971" y="connsiteY12971"/>
                </a:cxn>
                <a:cxn ang="0">
                  <a:pos x="connsiteX12972" y="connsiteY12972"/>
                </a:cxn>
                <a:cxn ang="0">
                  <a:pos x="connsiteX12973" y="connsiteY12973"/>
                </a:cxn>
                <a:cxn ang="0">
                  <a:pos x="connsiteX12974" y="connsiteY12974"/>
                </a:cxn>
                <a:cxn ang="0">
                  <a:pos x="connsiteX12975" y="connsiteY12975"/>
                </a:cxn>
                <a:cxn ang="0">
                  <a:pos x="connsiteX12976" y="connsiteY12976"/>
                </a:cxn>
                <a:cxn ang="0">
                  <a:pos x="connsiteX12977" y="connsiteY12977"/>
                </a:cxn>
                <a:cxn ang="0">
                  <a:pos x="connsiteX12978" y="connsiteY12978"/>
                </a:cxn>
                <a:cxn ang="0">
                  <a:pos x="connsiteX12979" y="connsiteY12979"/>
                </a:cxn>
                <a:cxn ang="0">
                  <a:pos x="connsiteX12980" y="connsiteY12980"/>
                </a:cxn>
                <a:cxn ang="0">
                  <a:pos x="connsiteX12981" y="connsiteY12981"/>
                </a:cxn>
                <a:cxn ang="0">
                  <a:pos x="connsiteX12982" y="connsiteY12982"/>
                </a:cxn>
                <a:cxn ang="0">
                  <a:pos x="connsiteX12983" y="connsiteY12983"/>
                </a:cxn>
                <a:cxn ang="0">
                  <a:pos x="connsiteX12984" y="connsiteY12984"/>
                </a:cxn>
                <a:cxn ang="0">
                  <a:pos x="connsiteX12985" y="connsiteY12985"/>
                </a:cxn>
                <a:cxn ang="0">
                  <a:pos x="connsiteX12986" y="connsiteY12986"/>
                </a:cxn>
                <a:cxn ang="0">
                  <a:pos x="connsiteX12987" y="connsiteY12987"/>
                </a:cxn>
                <a:cxn ang="0">
                  <a:pos x="connsiteX12988" y="connsiteY12988"/>
                </a:cxn>
                <a:cxn ang="0">
                  <a:pos x="connsiteX12989" y="connsiteY12989"/>
                </a:cxn>
                <a:cxn ang="0">
                  <a:pos x="connsiteX12990" y="connsiteY12990"/>
                </a:cxn>
                <a:cxn ang="0">
                  <a:pos x="connsiteX12991" y="connsiteY12991"/>
                </a:cxn>
                <a:cxn ang="0">
                  <a:pos x="connsiteX12992" y="connsiteY12992"/>
                </a:cxn>
                <a:cxn ang="0">
                  <a:pos x="connsiteX12993" y="connsiteY12993"/>
                </a:cxn>
                <a:cxn ang="0">
                  <a:pos x="connsiteX12994" y="connsiteY12994"/>
                </a:cxn>
                <a:cxn ang="0">
                  <a:pos x="connsiteX12995" y="connsiteY12995"/>
                </a:cxn>
                <a:cxn ang="0">
                  <a:pos x="connsiteX12996" y="connsiteY12996"/>
                </a:cxn>
                <a:cxn ang="0">
                  <a:pos x="connsiteX12997" y="connsiteY12997"/>
                </a:cxn>
                <a:cxn ang="0">
                  <a:pos x="connsiteX12998" y="connsiteY12998"/>
                </a:cxn>
                <a:cxn ang="0">
                  <a:pos x="connsiteX12999" y="connsiteY12999"/>
                </a:cxn>
                <a:cxn ang="0">
                  <a:pos x="connsiteX13000" y="connsiteY13000"/>
                </a:cxn>
                <a:cxn ang="0">
                  <a:pos x="connsiteX13001" y="connsiteY13001"/>
                </a:cxn>
                <a:cxn ang="0">
                  <a:pos x="connsiteX13002" y="connsiteY13002"/>
                </a:cxn>
                <a:cxn ang="0">
                  <a:pos x="connsiteX13003" y="connsiteY13003"/>
                </a:cxn>
                <a:cxn ang="0">
                  <a:pos x="connsiteX13004" y="connsiteY13004"/>
                </a:cxn>
                <a:cxn ang="0">
                  <a:pos x="connsiteX13005" y="connsiteY13005"/>
                </a:cxn>
                <a:cxn ang="0">
                  <a:pos x="connsiteX13006" y="connsiteY13006"/>
                </a:cxn>
                <a:cxn ang="0">
                  <a:pos x="connsiteX13007" y="connsiteY13007"/>
                </a:cxn>
                <a:cxn ang="0">
                  <a:pos x="connsiteX13008" y="connsiteY13008"/>
                </a:cxn>
                <a:cxn ang="0">
                  <a:pos x="connsiteX13009" y="connsiteY13009"/>
                </a:cxn>
                <a:cxn ang="0">
                  <a:pos x="connsiteX13010" y="connsiteY13010"/>
                </a:cxn>
                <a:cxn ang="0">
                  <a:pos x="connsiteX13011" y="connsiteY13011"/>
                </a:cxn>
                <a:cxn ang="0">
                  <a:pos x="connsiteX13012" y="connsiteY13012"/>
                </a:cxn>
                <a:cxn ang="0">
                  <a:pos x="connsiteX13013" y="connsiteY13013"/>
                </a:cxn>
                <a:cxn ang="0">
                  <a:pos x="connsiteX13014" y="connsiteY13014"/>
                </a:cxn>
                <a:cxn ang="0">
                  <a:pos x="connsiteX13015" y="connsiteY13015"/>
                </a:cxn>
                <a:cxn ang="0">
                  <a:pos x="connsiteX13016" y="connsiteY13016"/>
                </a:cxn>
                <a:cxn ang="0">
                  <a:pos x="connsiteX13017" y="connsiteY13017"/>
                </a:cxn>
                <a:cxn ang="0">
                  <a:pos x="connsiteX13018" y="connsiteY13018"/>
                </a:cxn>
                <a:cxn ang="0">
                  <a:pos x="connsiteX13019" y="connsiteY13019"/>
                </a:cxn>
                <a:cxn ang="0">
                  <a:pos x="connsiteX13020" y="connsiteY13020"/>
                </a:cxn>
                <a:cxn ang="0">
                  <a:pos x="connsiteX13021" y="connsiteY13021"/>
                </a:cxn>
                <a:cxn ang="0">
                  <a:pos x="connsiteX13022" y="connsiteY13022"/>
                </a:cxn>
                <a:cxn ang="0">
                  <a:pos x="connsiteX13023" y="connsiteY13023"/>
                </a:cxn>
                <a:cxn ang="0">
                  <a:pos x="connsiteX13024" y="connsiteY13024"/>
                </a:cxn>
                <a:cxn ang="0">
                  <a:pos x="connsiteX13025" y="connsiteY13025"/>
                </a:cxn>
                <a:cxn ang="0">
                  <a:pos x="connsiteX13026" y="connsiteY13026"/>
                </a:cxn>
                <a:cxn ang="0">
                  <a:pos x="connsiteX13027" y="connsiteY13027"/>
                </a:cxn>
                <a:cxn ang="0">
                  <a:pos x="connsiteX13028" y="connsiteY13028"/>
                </a:cxn>
                <a:cxn ang="0">
                  <a:pos x="connsiteX13029" y="connsiteY13029"/>
                </a:cxn>
                <a:cxn ang="0">
                  <a:pos x="connsiteX13030" y="connsiteY13030"/>
                </a:cxn>
                <a:cxn ang="0">
                  <a:pos x="connsiteX13031" y="connsiteY13031"/>
                </a:cxn>
                <a:cxn ang="0">
                  <a:pos x="connsiteX13032" y="connsiteY13032"/>
                </a:cxn>
                <a:cxn ang="0">
                  <a:pos x="connsiteX13033" y="connsiteY13033"/>
                </a:cxn>
                <a:cxn ang="0">
                  <a:pos x="connsiteX13034" y="connsiteY13034"/>
                </a:cxn>
                <a:cxn ang="0">
                  <a:pos x="connsiteX13035" y="connsiteY13035"/>
                </a:cxn>
                <a:cxn ang="0">
                  <a:pos x="connsiteX13036" y="connsiteY13036"/>
                </a:cxn>
                <a:cxn ang="0">
                  <a:pos x="connsiteX13037" y="connsiteY13037"/>
                </a:cxn>
                <a:cxn ang="0">
                  <a:pos x="connsiteX13038" y="connsiteY13038"/>
                </a:cxn>
                <a:cxn ang="0">
                  <a:pos x="connsiteX13039" y="connsiteY13039"/>
                </a:cxn>
                <a:cxn ang="0">
                  <a:pos x="connsiteX13040" y="connsiteY13040"/>
                </a:cxn>
                <a:cxn ang="0">
                  <a:pos x="connsiteX13041" y="connsiteY13041"/>
                </a:cxn>
                <a:cxn ang="0">
                  <a:pos x="connsiteX13042" y="connsiteY13042"/>
                </a:cxn>
                <a:cxn ang="0">
                  <a:pos x="connsiteX13043" y="connsiteY13043"/>
                </a:cxn>
                <a:cxn ang="0">
                  <a:pos x="connsiteX13044" y="connsiteY13044"/>
                </a:cxn>
                <a:cxn ang="0">
                  <a:pos x="connsiteX13045" y="connsiteY13045"/>
                </a:cxn>
                <a:cxn ang="0">
                  <a:pos x="connsiteX13046" y="connsiteY13046"/>
                </a:cxn>
                <a:cxn ang="0">
                  <a:pos x="connsiteX13047" y="connsiteY13047"/>
                </a:cxn>
                <a:cxn ang="0">
                  <a:pos x="connsiteX13048" y="connsiteY13048"/>
                </a:cxn>
                <a:cxn ang="0">
                  <a:pos x="connsiteX13049" y="connsiteY13049"/>
                </a:cxn>
                <a:cxn ang="0">
                  <a:pos x="connsiteX13050" y="connsiteY13050"/>
                </a:cxn>
                <a:cxn ang="0">
                  <a:pos x="connsiteX13051" y="connsiteY13051"/>
                </a:cxn>
                <a:cxn ang="0">
                  <a:pos x="connsiteX13052" y="connsiteY13052"/>
                </a:cxn>
                <a:cxn ang="0">
                  <a:pos x="connsiteX13053" y="connsiteY13053"/>
                </a:cxn>
                <a:cxn ang="0">
                  <a:pos x="connsiteX13054" y="connsiteY13054"/>
                </a:cxn>
                <a:cxn ang="0">
                  <a:pos x="connsiteX13055" y="connsiteY13055"/>
                </a:cxn>
                <a:cxn ang="0">
                  <a:pos x="connsiteX13056" y="connsiteY13056"/>
                </a:cxn>
                <a:cxn ang="0">
                  <a:pos x="connsiteX13057" y="connsiteY13057"/>
                </a:cxn>
                <a:cxn ang="0">
                  <a:pos x="connsiteX13058" y="connsiteY13058"/>
                </a:cxn>
                <a:cxn ang="0">
                  <a:pos x="connsiteX13059" y="connsiteY13059"/>
                </a:cxn>
                <a:cxn ang="0">
                  <a:pos x="connsiteX13060" y="connsiteY13060"/>
                </a:cxn>
                <a:cxn ang="0">
                  <a:pos x="connsiteX13061" y="connsiteY13061"/>
                </a:cxn>
                <a:cxn ang="0">
                  <a:pos x="connsiteX13062" y="connsiteY13062"/>
                </a:cxn>
                <a:cxn ang="0">
                  <a:pos x="connsiteX13063" y="connsiteY13063"/>
                </a:cxn>
                <a:cxn ang="0">
                  <a:pos x="connsiteX13064" y="connsiteY13064"/>
                </a:cxn>
                <a:cxn ang="0">
                  <a:pos x="connsiteX13065" y="connsiteY13065"/>
                </a:cxn>
                <a:cxn ang="0">
                  <a:pos x="connsiteX13066" y="connsiteY13066"/>
                </a:cxn>
                <a:cxn ang="0">
                  <a:pos x="connsiteX13067" y="connsiteY13067"/>
                </a:cxn>
                <a:cxn ang="0">
                  <a:pos x="connsiteX13068" y="connsiteY13068"/>
                </a:cxn>
                <a:cxn ang="0">
                  <a:pos x="connsiteX13069" y="connsiteY13069"/>
                </a:cxn>
                <a:cxn ang="0">
                  <a:pos x="connsiteX13070" y="connsiteY13070"/>
                </a:cxn>
                <a:cxn ang="0">
                  <a:pos x="connsiteX13071" y="connsiteY13071"/>
                </a:cxn>
                <a:cxn ang="0">
                  <a:pos x="connsiteX13072" y="connsiteY13072"/>
                </a:cxn>
                <a:cxn ang="0">
                  <a:pos x="connsiteX13073" y="connsiteY13073"/>
                </a:cxn>
                <a:cxn ang="0">
                  <a:pos x="connsiteX13074" y="connsiteY13074"/>
                </a:cxn>
                <a:cxn ang="0">
                  <a:pos x="connsiteX13075" y="connsiteY13075"/>
                </a:cxn>
                <a:cxn ang="0">
                  <a:pos x="connsiteX13076" y="connsiteY13076"/>
                </a:cxn>
                <a:cxn ang="0">
                  <a:pos x="connsiteX13077" y="connsiteY13077"/>
                </a:cxn>
                <a:cxn ang="0">
                  <a:pos x="connsiteX13078" y="connsiteY13078"/>
                </a:cxn>
                <a:cxn ang="0">
                  <a:pos x="connsiteX13079" y="connsiteY13079"/>
                </a:cxn>
                <a:cxn ang="0">
                  <a:pos x="connsiteX13080" y="connsiteY13080"/>
                </a:cxn>
                <a:cxn ang="0">
                  <a:pos x="connsiteX13081" y="connsiteY13081"/>
                </a:cxn>
                <a:cxn ang="0">
                  <a:pos x="connsiteX13082" y="connsiteY13082"/>
                </a:cxn>
                <a:cxn ang="0">
                  <a:pos x="connsiteX13083" y="connsiteY13083"/>
                </a:cxn>
                <a:cxn ang="0">
                  <a:pos x="connsiteX13084" y="connsiteY13084"/>
                </a:cxn>
                <a:cxn ang="0">
                  <a:pos x="connsiteX13085" y="connsiteY13085"/>
                </a:cxn>
                <a:cxn ang="0">
                  <a:pos x="connsiteX13086" y="connsiteY13086"/>
                </a:cxn>
                <a:cxn ang="0">
                  <a:pos x="connsiteX13087" y="connsiteY13087"/>
                </a:cxn>
                <a:cxn ang="0">
                  <a:pos x="connsiteX13088" y="connsiteY13088"/>
                </a:cxn>
                <a:cxn ang="0">
                  <a:pos x="connsiteX13089" y="connsiteY13089"/>
                </a:cxn>
                <a:cxn ang="0">
                  <a:pos x="connsiteX13090" y="connsiteY13090"/>
                </a:cxn>
                <a:cxn ang="0">
                  <a:pos x="connsiteX13091" y="connsiteY13091"/>
                </a:cxn>
                <a:cxn ang="0">
                  <a:pos x="connsiteX13092" y="connsiteY13092"/>
                </a:cxn>
                <a:cxn ang="0">
                  <a:pos x="connsiteX13093" y="connsiteY13093"/>
                </a:cxn>
                <a:cxn ang="0">
                  <a:pos x="connsiteX13094" y="connsiteY13094"/>
                </a:cxn>
                <a:cxn ang="0">
                  <a:pos x="connsiteX13095" y="connsiteY13095"/>
                </a:cxn>
                <a:cxn ang="0">
                  <a:pos x="connsiteX13096" y="connsiteY13096"/>
                </a:cxn>
                <a:cxn ang="0">
                  <a:pos x="connsiteX13097" y="connsiteY13097"/>
                </a:cxn>
                <a:cxn ang="0">
                  <a:pos x="connsiteX13098" y="connsiteY13098"/>
                </a:cxn>
                <a:cxn ang="0">
                  <a:pos x="connsiteX13099" y="connsiteY13099"/>
                </a:cxn>
                <a:cxn ang="0">
                  <a:pos x="connsiteX13100" y="connsiteY13100"/>
                </a:cxn>
                <a:cxn ang="0">
                  <a:pos x="connsiteX13101" y="connsiteY13101"/>
                </a:cxn>
                <a:cxn ang="0">
                  <a:pos x="connsiteX13102" y="connsiteY13102"/>
                </a:cxn>
                <a:cxn ang="0">
                  <a:pos x="connsiteX13103" y="connsiteY13103"/>
                </a:cxn>
                <a:cxn ang="0">
                  <a:pos x="connsiteX13104" y="connsiteY13104"/>
                </a:cxn>
                <a:cxn ang="0">
                  <a:pos x="connsiteX13105" y="connsiteY13105"/>
                </a:cxn>
                <a:cxn ang="0">
                  <a:pos x="connsiteX13106" y="connsiteY13106"/>
                </a:cxn>
                <a:cxn ang="0">
                  <a:pos x="connsiteX13107" y="connsiteY13107"/>
                </a:cxn>
                <a:cxn ang="0">
                  <a:pos x="connsiteX13108" y="connsiteY13108"/>
                </a:cxn>
                <a:cxn ang="0">
                  <a:pos x="connsiteX13109" y="connsiteY13109"/>
                </a:cxn>
                <a:cxn ang="0">
                  <a:pos x="connsiteX13110" y="connsiteY13110"/>
                </a:cxn>
                <a:cxn ang="0">
                  <a:pos x="connsiteX13111" y="connsiteY13111"/>
                </a:cxn>
                <a:cxn ang="0">
                  <a:pos x="connsiteX13112" y="connsiteY13112"/>
                </a:cxn>
                <a:cxn ang="0">
                  <a:pos x="connsiteX13113" y="connsiteY13113"/>
                </a:cxn>
                <a:cxn ang="0">
                  <a:pos x="connsiteX13114" y="connsiteY13114"/>
                </a:cxn>
                <a:cxn ang="0">
                  <a:pos x="connsiteX13115" y="connsiteY13115"/>
                </a:cxn>
                <a:cxn ang="0">
                  <a:pos x="connsiteX13116" y="connsiteY13116"/>
                </a:cxn>
                <a:cxn ang="0">
                  <a:pos x="connsiteX13117" y="connsiteY13117"/>
                </a:cxn>
                <a:cxn ang="0">
                  <a:pos x="connsiteX13118" y="connsiteY13118"/>
                </a:cxn>
                <a:cxn ang="0">
                  <a:pos x="connsiteX13119" y="connsiteY13119"/>
                </a:cxn>
                <a:cxn ang="0">
                  <a:pos x="connsiteX13120" y="connsiteY13120"/>
                </a:cxn>
                <a:cxn ang="0">
                  <a:pos x="connsiteX13121" y="connsiteY13121"/>
                </a:cxn>
                <a:cxn ang="0">
                  <a:pos x="connsiteX13122" y="connsiteY13122"/>
                </a:cxn>
                <a:cxn ang="0">
                  <a:pos x="connsiteX13123" y="connsiteY13123"/>
                </a:cxn>
                <a:cxn ang="0">
                  <a:pos x="connsiteX13124" y="connsiteY13124"/>
                </a:cxn>
                <a:cxn ang="0">
                  <a:pos x="connsiteX13125" y="connsiteY13125"/>
                </a:cxn>
                <a:cxn ang="0">
                  <a:pos x="connsiteX13126" y="connsiteY13126"/>
                </a:cxn>
                <a:cxn ang="0">
                  <a:pos x="connsiteX13127" y="connsiteY13127"/>
                </a:cxn>
                <a:cxn ang="0">
                  <a:pos x="connsiteX13128" y="connsiteY13128"/>
                </a:cxn>
                <a:cxn ang="0">
                  <a:pos x="connsiteX13129" y="connsiteY13129"/>
                </a:cxn>
                <a:cxn ang="0">
                  <a:pos x="connsiteX13130" y="connsiteY13130"/>
                </a:cxn>
                <a:cxn ang="0">
                  <a:pos x="connsiteX13131" y="connsiteY13131"/>
                </a:cxn>
                <a:cxn ang="0">
                  <a:pos x="connsiteX13132" y="connsiteY13132"/>
                </a:cxn>
                <a:cxn ang="0">
                  <a:pos x="connsiteX13133" y="connsiteY13133"/>
                </a:cxn>
                <a:cxn ang="0">
                  <a:pos x="connsiteX13134" y="connsiteY13134"/>
                </a:cxn>
                <a:cxn ang="0">
                  <a:pos x="connsiteX13135" y="connsiteY13135"/>
                </a:cxn>
                <a:cxn ang="0">
                  <a:pos x="connsiteX13136" y="connsiteY13136"/>
                </a:cxn>
                <a:cxn ang="0">
                  <a:pos x="connsiteX13137" y="connsiteY13137"/>
                </a:cxn>
                <a:cxn ang="0">
                  <a:pos x="connsiteX13138" y="connsiteY13138"/>
                </a:cxn>
                <a:cxn ang="0">
                  <a:pos x="connsiteX13139" y="connsiteY13139"/>
                </a:cxn>
                <a:cxn ang="0">
                  <a:pos x="connsiteX13140" y="connsiteY13140"/>
                </a:cxn>
                <a:cxn ang="0">
                  <a:pos x="connsiteX13141" y="connsiteY13141"/>
                </a:cxn>
                <a:cxn ang="0">
                  <a:pos x="connsiteX13142" y="connsiteY13142"/>
                </a:cxn>
                <a:cxn ang="0">
                  <a:pos x="connsiteX13143" y="connsiteY13143"/>
                </a:cxn>
                <a:cxn ang="0">
                  <a:pos x="connsiteX13144" y="connsiteY13144"/>
                </a:cxn>
                <a:cxn ang="0">
                  <a:pos x="connsiteX13145" y="connsiteY13145"/>
                </a:cxn>
                <a:cxn ang="0">
                  <a:pos x="connsiteX13146" y="connsiteY13146"/>
                </a:cxn>
                <a:cxn ang="0">
                  <a:pos x="connsiteX13147" y="connsiteY13147"/>
                </a:cxn>
                <a:cxn ang="0">
                  <a:pos x="connsiteX13148" y="connsiteY13148"/>
                </a:cxn>
                <a:cxn ang="0">
                  <a:pos x="connsiteX13149" y="connsiteY13149"/>
                </a:cxn>
                <a:cxn ang="0">
                  <a:pos x="connsiteX13150" y="connsiteY13150"/>
                </a:cxn>
                <a:cxn ang="0">
                  <a:pos x="connsiteX13151" y="connsiteY13151"/>
                </a:cxn>
                <a:cxn ang="0">
                  <a:pos x="connsiteX13152" y="connsiteY13152"/>
                </a:cxn>
                <a:cxn ang="0">
                  <a:pos x="connsiteX13153" y="connsiteY13153"/>
                </a:cxn>
                <a:cxn ang="0">
                  <a:pos x="connsiteX13154" y="connsiteY13154"/>
                </a:cxn>
                <a:cxn ang="0">
                  <a:pos x="connsiteX13155" y="connsiteY13155"/>
                </a:cxn>
                <a:cxn ang="0">
                  <a:pos x="connsiteX13156" y="connsiteY13156"/>
                </a:cxn>
                <a:cxn ang="0">
                  <a:pos x="connsiteX13157" y="connsiteY13157"/>
                </a:cxn>
                <a:cxn ang="0">
                  <a:pos x="connsiteX13158" y="connsiteY13158"/>
                </a:cxn>
                <a:cxn ang="0">
                  <a:pos x="connsiteX13159" y="connsiteY13159"/>
                </a:cxn>
                <a:cxn ang="0">
                  <a:pos x="connsiteX13160" y="connsiteY13160"/>
                </a:cxn>
                <a:cxn ang="0">
                  <a:pos x="connsiteX13161" y="connsiteY13161"/>
                </a:cxn>
                <a:cxn ang="0">
                  <a:pos x="connsiteX13162" y="connsiteY13162"/>
                </a:cxn>
                <a:cxn ang="0">
                  <a:pos x="connsiteX13163" y="connsiteY13163"/>
                </a:cxn>
                <a:cxn ang="0">
                  <a:pos x="connsiteX13164" y="connsiteY13164"/>
                </a:cxn>
                <a:cxn ang="0">
                  <a:pos x="connsiteX13165" y="connsiteY13165"/>
                </a:cxn>
                <a:cxn ang="0">
                  <a:pos x="connsiteX13166" y="connsiteY13166"/>
                </a:cxn>
                <a:cxn ang="0">
                  <a:pos x="connsiteX13167" y="connsiteY13167"/>
                </a:cxn>
                <a:cxn ang="0">
                  <a:pos x="connsiteX13168" y="connsiteY13168"/>
                </a:cxn>
                <a:cxn ang="0">
                  <a:pos x="connsiteX13169" y="connsiteY13169"/>
                </a:cxn>
                <a:cxn ang="0">
                  <a:pos x="connsiteX13170" y="connsiteY13170"/>
                </a:cxn>
                <a:cxn ang="0">
                  <a:pos x="connsiteX13171" y="connsiteY13171"/>
                </a:cxn>
                <a:cxn ang="0">
                  <a:pos x="connsiteX13172" y="connsiteY13172"/>
                </a:cxn>
                <a:cxn ang="0">
                  <a:pos x="connsiteX13173" y="connsiteY13173"/>
                </a:cxn>
                <a:cxn ang="0">
                  <a:pos x="connsiteX13174" y="connsiteY13174"/>
                </a:cxn>
                <a:cxn ang="0">
                  <a:pos x="connsiteX13175" y="connsiteY13175"/>
                </a:cxn>
                <a:cxn ang="0">
                  <a:pos x="connsiteX13176" y="connsiteY13176"/>
                </a:cxn>
                <a:cxn ang="0">
                  <a:pos x="connsiteX13177" y="connsiteY13177"/>
                </a:cxn>
                <a:cxn ang="0">
                  <a:pos x="connsiteX13178" y="connsiteY13178"/>
                </a:cxn>
                <a:cxn ang="0">
                  <a:pos x="connsiteX13179" y="connsiteY13179"/>
                </a:cxn>
                <a:cxn ang="0">
                  <a:pos x="connsiteX13180" y="connsiteY13180"/>
                </a:cxn>
                <a:cxn ang="0">
                  <a:pos x="connsiteX13181" y="connsiteY13181"/>
                </a:cxn>
                <a:cxn ang="0">
                  <a:pos x="connsiteX13182" y="connsiteY13182"/>
                </a:cxn>
                <a:cxn ang="0">
                  <a:pos x="connsiteX13183" y="connsiteY13183"/>
                </a:cxn>
                <a:cxn ang="0">
                  <a:pos x="connsiteX13184" y="connsiteY13184"/>
                </a:cxn>
                <a:cxn ang="0">
                  <a:pos x="connsiteX13185" y="connsiteY13185"/>
                </a:cxn>
                <a:cxn ang="0">
                  <a:pos x="connsiteX13186" y="connsiteY13186"/>
                </a:cxn>
                <a:cxn ang="0">
                  <a:pos x="connsiteX13187" y="connsiteY13187"/>
                </a:cxn>
                <a:cxn ang="0">
                  <a:pos x="connsiteX13188" y="connsiteY13188"/>
                </a:cxn>
                <a:cxn ang="0">
                  <a:pos x="connsiteX13189" y="connsiteY13189"/>
                </a:cxn>
                <a:cxn ang="0">
                  <a:pos x="connsiteX13190" y="connsiteY13190"/>
                </a:cxn>
                <a:cxn ang="0">
                  <a:pos x="connsiteX13191" y="connsiteY13191"/>
                </a:cxn>
                <a:cxn ang="0">
                  <a:pos x="connsiteX13192" y="connsiteY13192"/>
                </a:cxn>
                <a:cxn ang="0">
                  <a:pos x="connsiteX13193" y="connsiteY13193"/>
                </a:cxn>
                <a:cxn ang="0">
                  <a:pos x="connsiteX13194" y="connsiteY13194"/>
                </a:cxn>
                <a:cxn ang="0">
                  <a:pos x="connsiteX13195" y="connsiteY13195"/>
                </a:cxn>
                <a:cxn ang="0">
                  <a:pos x="connsiteX13196" y="connsiteY13196"/>
                </a:cxn>
                <a:cxn ang="0">
                  <a:pos x="connsiteX13197" y="connsiteY13197"/>
                </a:cxn>
                <a:cxn ang="0">
                  <a:pos x="connsiteX13198" y="connsiteY13198"/>
                </a:cxn>
                <a:cxn ang="0">
                  <a:pos x="connsiteX13199" y="connsiteY13199"/>
                </a:cxn>
                <a:cxn ang="0">
                  <a:pos x="connsiteX13200" y="connsiteY13200"/>
                </a:cxn>
                <a:cxn ang="0">
                  <a:pos x="connsiteX13201" y="connsiteY13201"/>
                </a:cxn>
                <a:cxn ang="0">
                  <a:pos x="connsiteX13202" y="connsiteY13202"/>
                </a:cxn>
                <a:cxn ang="0">
                  <a:pos x="connsiteX13203" y="connsiteY13203"/>
                </a:cxn>
                <a:cxn ang="0">
                  <a:pos x="connsiteX13204" y="connsiteY13204"/>
                </a:cxn>
                <a:cxn ang="0">
                  <a:pos x="connsiteX13205" y="connsiteY13205"/>
                </a:cxn>
                <a:cxn ang="0">
                  <a:pos x="connsiteX13206" y="connsiteY13206"/>
                </a:cxn>
                <a:cxn ang="0">
                  <a:pos x="connsiteX13207" y="connsiteY13207"/>
                </a:cxn>
                <a:cxn ang="0">
                  <a:pos x="connsiteX13208" y="connsiteY13208"/>
                </a:cxn>
                <a:cxn ang="0">
                  <a:pos x="connsiteX13209" y="connsiteY13209"/>
                </a:cxn>
                <a:cxn ang="0">
                  <a:pos x="connsiteX13210" y="connsiteY13210"/>
                </a:cxn>
                <a:cxn ang="0">
                  <a:pos x="connsiteX13211" y="connsiteY13211"/>
                </a:cxn>
                <a:cxn ang="0">
                  <a:pos x="connsiteX13212" y="connsiteY13212"/>
                </a:cxn>
                <a:cxn ang="0">
                  <a:pos x="connsiteX13213" y="connsiteY13213"/>
                </a:cxn>
                <a:cxn ang="0">
                  <a:pos x="connsiteX13214" y="connsiteY13214"/>
                </a:cxn>
                <a:cxn ang="0">
                  <a:pos x="connsiteX13215" y="connsiteY13215"/>
                </a:cxn>
                <a:cxn ang="0">
                  <a:pos x="connsiteX13216" y="connsiteY13216"/>
                </a:cxn>
                <a:cxn ang="0">
                  <a:pos x="connsiteX13217" y="connsiteY13217"/>
                </a:cxn>
                <a:cxn ang="0">
                  <a:pos x="connsiteX13218" y="connsiteY13218"/>
                </a:cxn>
                <a:cxn ang="0">
                  <a:pos x="connsiteX13219" y="connsiteY13219"/>
                </a:cxn>
                <a:cxn ang="0">
                  <a:pos x="connsiteX13220" y="connsiteY13220"/>
                </a:cxn>
                <a:cxn ang="0">
                  <a:pos x="connsiteX13221" y="connsiteY13221"/>
                </a:cxn>
                <a:cxn ang="0">
                  <a:pos x="connsiteX13222" y="connsiteY13222"/>
                </a:cxn>
                <a:cxn ang="0">
                  <a:pos x="connsiteX13223" y="connsiteY13223"/>
                </a:cxn>
                <a:cxn ang="0">
                  <a:pos x="connsiteX13224" y="connsiteY13224"/>
                </a:cxn>
                <a:cxn ang="0">
                  <a:pos x="connsiteX13225" y="connsiteY13225"/>
                </a:cxn>
                <a:cxn ang="0">
                  <a:pos x="connsiteX13226" y="connsiteY13226"/>
                </a:cxn>
                <a:cxn ang="0">
                  <a:pos x="connsiteX13227" y="connsiteY13227"/>
                </a:cxn>
                <a:cxn ang="0">
                  <a:pos x="connsiteX13228" y="connsiteY13228"/>
                </a:cxn>
                <a:cxn ang="0">
                  <a:pos x="connsiteX13229" y="connsiteY13229"/>
                </a:cxn>
                <a:cxn ang="0">
                  <a:pos x="connsiteX13230" y="connsiteY13230"/>
                </a:cxn>
                <a:cxn ang="0">
                  <a:pos x="connsiteX13231" y="connsiteY13231"/>
                </a:cxn>
                <a:cxn ang="0">
                  <a:pos x="connsiteX13232" y="connsiteY13232"/>
                </a:cxn>
                <a:cxn ang="0">
                  <a:pos x="connsiteX13233" y="connsiteY13233"/>
                </a:cxn>
                <a:cxn ang="0">
                  <a:pos x="connsiteX13234" y="connsiteY13234"/>
                </a:cxn>
                <a:cxn ang="0">
                  <a:pos x="connsiteX13235" y="connsiteY13235"/>
                </a:cxn>
                <a:cxn ang="0">
                  <a:pos x="connsiteX13236" y="connsiteY13236"/>
                </a:cxn>
                <a:cxn ang="0">
                  <a:pos x="connsiteX13237" y="connsiteY13237"/>
                </a:cxn>
                <a:cxn ang="0">
                  <a:pos x="connsiteX13238" y="connsiteY13238"/>
                </a:cxn>
                <a:cxn ang="0">
                  <a:pos x="connsiteX13239" y="connsiteY13239"/>
                </a:cxn>
                <a:cxn ang="0">
                  <a:pos x="connsiteX13240" y="connsiteY13240"/>
                </a:cxn>
                <a:cxn ang="0">
                  <a:pos x="connsiteX13241" y="connsiteY13241"/>
                </a:cxn>
                <a:cxn ang="0">
                  <a:pos x="connsiteX13242" y="connsiteY13242"/>
                </a:cxn>
                <a:cxn ang="0">
                  <a:pos x="connsiteX13243" y="connsiteY13243"/>
                </a:cxn>
                <a:cxn ang="0">
                  <a:pos x="connsiteX13244" y="connsiteY13244"/>
                </a:cxn>
                <a:cxn ang="0">
                  <a:pos x="connsiteX13245" y="connsiteY13245"/>
                </a:cxn>
                <a:cxn ang="0">
                  <a:pos x="connsiteX13246" y="connsiteY13246"/>
                </a:cxn>
                <a:cxn ang="0">
                  <a:pos x="connsiteX13247" y="connsiteY13247"/>
                </a:cxn>
                <a:cxn ang="0">
                  <a:pos x="connsiteX13248" y="connsiteY13248"/>
                </a:cxn>
                <a:cxn ang="0">
                  <a:pos x="connsiteX13249" y="connsiteY13249"/>
                </a:cxn>
                <a:cxn ang="0">
                  <a:pos x="connsiteX13250" y="connsiteY13250"/>
                </a:cxn>
                <a:cxn ang="0">
                  <a:pos x="connsiteX13251" y="connsiteY13251"/>
                </a:cxn>
                <a:cxn ang="0">
                  <a:pos x="connsiteX13252" y="connsiteY13252"/>
                </a:cxn>
                <a:cxn ang="0">
                  <a:pos x="connsiteX13253" y="connsiteY13253"/>
                </a:cxn>
                <a:cxn ang="0">
                  <a:pos x="connsiteX13254" y="connsiteY13254"/>
                </a:cxn>
                <a:cxn ang="0">
                  <a:pos x="connsiteX13255" y="connsiteY13255"/>
                </a:cxn>
                <a:cxn ang="0">
                  <a:pos x="connsiteX13256" y="connsiteY13256"/>
                </a:cxn>
                <a:cxn ang="0">
                  <a:pos x="connsiteX13257" y="connsiteY13257"/>
                </a:cxn>
                <a:cxn ang="0">
                  <a:pos x="connsiteX13258" y="connsiteY13258"/>
                </a:cxn>
                <a:cxn ang="0">
                  <a:pos x="connsiteX13259" y="connsiteY13259"/>
                </a:cxn>
                <a:cxn ang="0">
                  <a:pos x="connsiteX13260" y="connsiteY13260"/>
                </a:cxn>
                <a:cxn ang="0">
                  <a:pos x="connsiteX13261" y="connsiteY13261"/>
                </a:cxn>
                <a:cxn ang="0">
                  <a:pos x="connsiteX13262" y="connsiteY13262"/>
                </a:cxn>
                <a:cxn ang="0">
                  <a:pos x="connsiteX13263" y="connsiteY13263"/>
                </a:cxn>
                <a:cxn ang="0">
                  <a:pos x="connsiteX13264" y="connsiteY13264"/>
                </a:cxn>
                <a:cxn ang="0">
                  <a:pos x="connsiteX13265" y="connsiteY13265"/>
                </a:cxn>
                <a:cxn ang="0">
                  <a:pos x="connsiteX13266" y="connsiteY13266"/>
                </a:cxn>
                <a:cxn ang="0">
                  <a:pos x="connsiteX13267" y="connsiteY13267"/>
                </a:cxn>
                <a:cxn ang="0">
                  <a:pos x="connsiteX13268" y="connsiteY13268"/>
                </a:cxn>
                <a:cxn ang="0">
                  <a:pos x="connsiteX13269" y="connsiteY13269"/>
                </a:cxn>
                <a:cxn ang="0">
                  <a:pos x="connsiteX13270" y="connsiteY13270"/>
                </a:cxn>
                <a:cxn ang="0">
                  <a:pos x="connsiteX13271" y="connsiteY13271"/>
                </a:cxn>
                <a:cxn ang="0">
                  <a:pos x="connsiteX13272" y="connsiteY13272"/>
                </a:cxn>
                <a:cxn ang="0">
                  <a:pos x="connsiteX13273" y="connsiteY13273"/>
                </a:cxn>
                <a:cxn ang="0">
                  <a:pos x="connsiteX13274" y="connsiteY13274"/>
                </a:cxn>
                <a:cxn ang="0">
                  <a:pos x="connsiteX13275" y="connsiteY13275"/>
                </a:cxn>
                <a:cxn ang="0">
                  <a:pos x="connsiteX13276" y="connsiteY13276"/>
                </a:cxn>
                <a:cxn ang="0">
                  <a:pos x="connsiteX13277" y="connsiteY13277"/>
                </a:cxn>
                <a:cxn ang="0">
                  <a:pos x="connsiteX13278" y="connsiteY13278"/>
                </a:cxn>
                <a:cxn ang="0">
                  <a:pos x="connsiteX13279" y="connsiteY13279"/>
                </a:cxn>
                <a:cxn ang="0">
                  <a:pos x="connsiteX13280" y="connsiteY13280"/>
                </a:cxn>
                <a:cxn ang="0">
                  <a:pos x="connsiteX13281" y="connsiteY13281"/>
                </a:cxn>
                <a:cxn ang="0">
                  <a:pos x="connsiteX13282" y="connsiteY13282"/>
                </a:cxn>
                <a:cxn ang="0">
                  <a:pos x="connsiteX13283" y="connsiteY13283"/>
                </a:cxn>
                <a:cxn ang="0">
                  <a:pos x="connsiteX13284" y="connsiteY13284"/>
                </a:cxn>
                <a:cxn ang="0">
                  <a:pos x="connsiteX13285" y="connsiteY13285"/>
                </a:cxn>
                <a:cxn ang="0">
                  <a:pos x="connsiteX13286" y="connsiteY13286"/>
                </a:cxn>
                <a:cxn ang="0">
                  <a:pos x="connsiteX13287" y="connsiteY13287"/>
                </a:cxn>
                <a:cxn ang="0">
                  <a:pos x="connsiteX13288" y="connsiteY13288"/>
                </a:cxn>
                <a:cxn ang="0">
                  <a:pos x="connsiteX13289" y="connsiteY13289"/>
                </a:cxn>
                <a:cxn ang="0">
                  <a:pos x="connsiteX13290" y="connsiteY13290"/>
                </a:cxn>
                <a:cxn ang="0">
                  <a:pos x="connsiteX13291" y="connsiteY13291"/>
                </a:cxn>
                <a:cxn ang="0">
                  <a:pos x="connsiteX13292" y="connsiteY13292"/>
                </a:cxn>
                <a:cxn ang="0">
                  <a:pos x="connsiteX13293" y="connsiteY13293"/>
                </a:cxn>
                <a:cxn ang="0">
                  <a:pos x="connsiteX13294" y="connsiteY13294"/>
                </a:cxn>
                <a:cxn ang="0">
                  <a:pos x="connsiteX13295" y="connsiteY13295"/>
                </a:cxn>
                <a:cxn ang="0">
                  <a:pos x="connsiteX13296" y="connsiteY13296"/>
                </a:cxn>
                <a:cxn ang="0">
                  <a:pos x="connsiteX13297" y="connsiteY13297"/>
                </a:cxn>
                <a:cxn ang="0">
                  <a:pos x="connsiteX13298" y="connsiteY13298"/>
                </a:cxn>
                <a:cxn ang="0">
                  <a:pos x="connsiteX13299" y="connsiteY13299"/>
                </a:cxn>
                <a:cxn ang="0">
                  <a:pos x="connsiteX13300" y="connsiteY13300"/>
                </a:cxn>
                <a:cxn ang="0">
                  <a:pos x="connsiteX13301" y="connsiteY13301"/>
                </a:cxn>
                <a:cxn ang="0">
                  <a:pos x="connsiteX13302" y="connsiteY13302"/>
                </a:cxn>
                <a:cxn ang="0">
                  <a:pos x="connsiteX13303" y="connsiteY13303"/>
                </a:cxn>
                <a:cxn ang="0">
                  <a:pos x="connsiteX13304" y="connsiteY13304"/>
                </a:cxn>
                <a:cxn ang="0">
                  <a:pos x="connsiteX13305" y="connsiteY13305"/>
                </a:cxn>
                <a:cxn ang="0">
                  <a:pos x="connsiteX13306" y="connsiteY13306"/>
                </a:cxn>
                <a:cxn ang="0">
                  <a:pos x="connsiteX13307" y="connsiteY13307"/>
                </a:cxn>
                <a:cxn ang="0">
                  <a:pos x="connsiteX13308" y="connsiteY13308"/>
                </a:cxn>
                <a:cxn ang="0">
                  <a:pos x="connsiteX13309" y="connsiteY13309"/>
                </a:cxn>
                <a:cxn ang="0">
                  <a:pos x="connsiteX13310" y="connsiteY13310"/>
                </a:cxn>
                <a:cxn ang="0">
                  <a:pos x="connsiteX13311" y="connsiteY13311"/>
                </a:cxn>
                <a:cxn ang="0">
                  <a:pos x="connsiteX13312" y="connsiteY13312"/>
                </a:cxn>
                <a:cxn ang="0">
                  <a:pos x="connsiteX13313" y="connsiteY13313"/>
                </a:cxn>
                <a:cxn ang="0">
                  <a:pos x="connsiteX13314" y="connsiteY13314"/>
                </a:cxn>
                <a:cxn ang="0">
                  <a:pos x="connsiteX13315" y="connsiteY13315"/>
                </a:cxn>
                <a:cxn ang="0">
                  <a:pos x="connsiteX13316" y="connsiteY13316"/>
                </a:cxn>
                <a:cxn ang="0">
                  <a:pos x="connsiteX13317" y="connsiteY13317"/>
                </a:cxn>
                <a:cxn ang="0">
                  <a:pos x="connsiteX13318" y="connsiteY13318"/>
                </a:cxn>
                <a:cxn ang="0">
                  <a:pos x="connsiteX13319" y="connsiteY13319"/>
                </a:cxn>
                <a:cxn ang="0">
                  <a:pos x="connsiteX13320" y="connsiteY13320"/>
                </a:cxn>
                <a:cxn ang="0">
                  <a:pos x="connsiteX13321" y="connsiteY13321"/>
                </a:cxn>
                <a:cxn ang="0">
                  <a:pos x="connsiteX13322" y="connsiteY13322"/>
                </a:cxn>
                <a:cxn ang="0">
                  <a:pos x="connsiteX13323" y="connsiteY13323"/>
                </a:cxn>
                <a:cxn ang="0">
                  <a:pos x="connsiteX13324" y="connsiteY13324"/>
                </a:cxn>
                <a:cxn ang="0">
                  <a:pos x="connsiteX13325" y="connsiteY13325"/>
                </a:cxn>
                <a:cxn ang="0">
                  <a:pos x="connsiteX13326" y="connsiteY13326"/>
                </a:cxn>
                <a:cxn ang="0">
                  <a:pos x="connsiteX13327" y="connsiteY13327"/>
                </a:cxn>
                <a:cxn ang="0">
                  <a:pos x="connsiteX13328" y="connsiteY13328"/>
                </a:cxn>
                <a:cxn ang="0">
                  <a:pos x="connsiteX13329" y="connsiteY13329"/>
                </a:cxn>
                <a:cxn ang="0">
                  <a:pos x="connsiteX13330" y="connsiteY13330"/>
                </a:cxn>
                <a:cxn ang="0">
                  <a:pos x="connsiteX13331" y="connsiteY13331"/>
                </a:cxn>
                <a:cxn ang="0">
                  <a:pos x="connsiteX13332" y="connsiteY13332"/>
                </a:cxn>
                <a:cxn ang="0">
                  <a:pos x="connsiteX13333" y="connsiteY13333"/>
                </a:cxn>
                <a:cxn ang="0">
                  <a:pos x="connsiteX13334" y="connsiteY13334"/>
                </a:cxn>
                <a:cxn ang="0">
                  <a:pos x="connsiteX13335" y="connsiteY13335"/>
                </a:cxn>
                <a:cxn ang="0">
                  <a:pos x="connsiteX13336" y="connsiteY13336"/>
                </a:cxn>
                <a:cxn ang="0">
                  <a:pos x="connsiteX13337" y="connsiteY13337"/>
                </a:cxn>
                <a:cxn ang="0">
                  <a:pos x="connsiteX13338" y="connsiteY13338"/>
                </a:cxn>
                <a:cxn ang="0">
                  <a:pos x="connsiteX13339" y="connsiteY13339"/>
                </a:cxn>
                <a:cxn ang="0">
                  <a:pos x="connsiteX13340" y="connsiteY13340"/>
                </a:cxn>
                <a:cxn ang="0">
                  <a:pos x="connsiteX13341" y="connsiteY13341"/>
                </a:cxn>
                <a:cxn ang="0">
                  <a:pos x="connsiteX13342" y="connsiteY13342"/>
                </a:cxn>
                <a:cxn ang="0">
                  <a:pos x="connsiteX13343" y="connsiteY13343"/>
                </a:cxn>
                <a:cxn ang="0">
                  <a:pos x="connsiteX13344" y="connsiteY13344"/>
                </a:cxn>
                <a:cxn ang="0">
                  <a:pos x="connsiteX13345" y="connsiteY13345"/>
                </a:cxn>
                <a:cxn ang="0">
                  <a:pos x="connsiteX13346" y="connsiteY13346"/>
                </a:cxn>
                <a:cxn ang="0">
                  <a:pos x="connsiteX13347" y="connsiteY13347"/>
                </a:cxn>
                <a:cxn ang="0">
                  <a:pos x="connsiteX13348" y="connsiteY13348"/>
                </a:cxn>
                <a:cxn ang="0">
                  <a:pos x="connsiteX13349" y="connsiteY13349"/>
                </a:cxn>
                <a:cxn ang="0">
                  <a:pos x="connsiteX13350" y="connsiteY13350"/>
                </a:cxn>
                <a:cxn ang="0">
                  <a:pos x="connsiteX13351" y="connsiteY13351"/>
                </a:cxn>
                <a:cxn ang="0">
                  <a:pos x="connsiteX13352" y="connsiteY13352"/>
                </a:cxn>
                <a:cxn ang="0">
                  <a:pos x="connsiteX13353" y="connsiteY13353"/>
                </a:cxn>
                <a:cxn ang="0">
                  <a:pos x="connsiteX13354" y="connsiteY13354"/>
                </a:cxn>
                <a:cxn ang="0">
                  <a:pos x="connsiteX13355" y="connsiteY13355"/>
                </a:cxn>
                <a:cxn ang="0">
                  <a:pos x="connsiteX13356" y="connsiteY13356"/>
                </a:cxn>
                <a:cxn ang="0">
                  <a:pos x="connsiteX13357" y="connsiteY13357"/>
                </a:cxn>
                <a:cxn ang="0">
                  <a:pos x="connsiteX13358" y="connsiteY13358"/>
                </a:cxn>
                <a:cxn ang="0">
                  <a:pos x="connsiteX13359" y="connsiteY13359"/>
                </a:cxn>
                <a:cxn ang="0">
                  <a:pos x="connsiteX13360" y="connsiteY13360"/>
                </a:cxn>
                <a:cxn ang="0">
                  <a:pos x="connsiteX13361" y="connsiteY13361"/>
                </a:cxn>
                <a:cxn ang="0">
                  <a:pos x="connsiteX13362" y="connsiteY13362"/>
                </a:cxn>
                <a:cxn ang="0">
                  <a:pos x="connsiteX13363" y="connsiteY13363"/>
                </a:cxn>
                <a:cxn ang="0">
                  <a:pos x="connsiteX13364" y="connsiteY13364"/>
                </a:cxn>
                <a:cxn ang="0">
                  <a:pos x="connsiteX13365" y="connsiteY13365"/>
                </a:cxn>
                <a:cxn ang="0">
                  <a:pos x="connsiteX13366" y="connsiteY13366"/>
                </a:cxn>
                <a:cxn ang="0">
                  <a:pos x="connsiteX13367" y="connsiteY13367"/>
                </a:cxn>
                <a:cxn ang="0">
                  <a:pos x="connsiteX13368" y="connsiteY13368"/>
                </a:cxn>
                <a:cxn ang="0">
                  <a:pos x="connsiteX13369" y="connsiteY13369"/>
                </a:cxn>
                <a:cxn ang="0">
                  <a:pos x="connsiteX13370" y="connsiteY13370"/>
                </a:cxn>
                <a:cxn ang="0">
                  <a:pos x="connsiteX13371" y="connsiteY13371"/>
                </a:cxn>
                <a:cxn ang="0">
                  <a:pos x="connsiteX13372" y="connsiteY13372"/>
                </a:cxn>
                <a:cxn ang="0">
                  <a:pos x="connsiteX13373" y="connsiteY13373"/>
                </a:cxn>
                <a:cxn ang="0">
                  <a:pos x="connsiteX13374" y="connsiteY13374"/>
                </a:cxn>
                <a:cxn ang="0">
                  <a:pos x="connsiteX13375" y="connsiteY13375"/>
                </a:cxn>
                <a:cxn ang="0">
                  <a:pos x="connsiteX13376" y="connsiteY13376"/>
                </a:cxn>
                <a:cxn ang="0">
                  <a:pos x="connsiteX13377" y="connsiteY13377"/>
                </a:cxn>
                <a:cxn ang="0">
                  <a:pos x="connsiteX13378" y="connsiteY13378"/>
                </a:cxn>
                <a:cxn ang="0">
                  <a:pos x="connsiteX13379" y="connsiteY13379"/>
                </a:cxn>
                <a:cxn ang="0">
                  <a:pos x="connsiteX13380" y="connsiteY13380"/>
                </a:cxn>
                <a:cxn ang="0">
                  <a:pos x="connsiteX13381" y="connsiteY13381"/>
                </a:cxn>
                <a:cxn ang="0">
                  <a:pos x="connsiteX13382" y="connsiteY13382"/>
                </a:cxn>
                <a:cxn ang="0">
                  <a:pos x="connsiteX13383" y="connsiteY13383"/>
                </a:cxn>
                <a:cxn ang="0">
                  <a:pos x="connsiteX13384" y="connsiteY13384"/>
                </a:cxn>
                <a:cxn ang="0">
                  <a:pos x="connsiteX13385" y="connsiteY13385"/>
                </a:cxn>
                <a:cxn ang="0">
                  <a:pos x="connsiteX13386" y="connsiteY13386"/>
                </a:cxn>
                <a:cxn ang="0">
                  <a:pos x="connsiteX13387" y="connsiteY13387"/>
                </a:cxn>
                <a:cxn ang="0">
                  <a:pos x="connsiteX13388" y="connsiteY13388"/>
                </a:cxn>
                <a:cxn ang="0">
                  <a:pos x="connsiteX13389" y="connsiteY13389"/>
                </a:cxn>
                <a:cxn ang="0">
                  <a:pos x="connsiteX13390" y="connsiteY13390"/>
                </a:cxn>
                <a:cxn ang="0">
                  <a:pos x="connsiteX13391" y="connsiteY13391"/>
                </a:cxn>
                <a:cxn ang="0">
                  <a:pos x="connsiteX13392" y="connsiteY13392"/>
                </a:cxn>
                <a:cxn ang="0">
                  <a:pos x="connsiteX13393" y="connsiteY13393"/>
                </a:cxn>
                <a:cxn ang="0">
                  <a:pos x="connsiteX13394" y="connsiteY13394"/>
                </a:cxn>
                <a:cxn ang="0">
                  <a:pos x="connsiteX13395" y="connsiteY13395"/>
                </a:cxn>
                <a:cxn ang="0">
                  <a:pos x="connsiteX13396" y="connsiteY13396"/>
                </a:cxn>
                <a:cxn ang="0">
                  <a:pos x="connsiteX13397" y="connsiteY13397"/>
                </a:cxn>
                <a:cxn ang="0">
                  <a:pos x="connsiteX13398" y="connsiteY13398"/>
                </a:cxn>
                <a:cxn ang="0">
                  <a:pos x="connsiteX13399" y="connsiteY13399"/>
                </a:cxn>
                <a:cxn ang="0">
                  <a:pos x="connsiteX13400" y="connsiteY13400"/>
                </a:cxn>
                <a:cxn ang="0">
                  <a:pos x="connsiteX13401" y="connsiteY13401"/>
                </a:cxn>
                <a:cxn ang="0">
                  <a:pos x="connsiteX13402" y="connsiteY13402"/>
                </a:cxn>
                <a:cxn ang="0">
                  <a:pos x="connsiteX13403" y="connsiteY13403"/>
                </a:cxn>
                <a:cxn ang="0">
                  <a:pos x="connsiteX13404" y="connsiteY13404"/>
                </a:cxn>
                <a:cxn ang="0">
                  <a:pos x="connsiteX13405" y="connsiteY13405"/>
                </a:cxn>
                <a:cxn ang="0">
                  <a:pos x="connsiteX13406" y="connsiteY13406"/>
                </a:cxn>
                <a:cxn ang="0">
                  <a:pos x="connsiteX13407" y="connsiteY13407"/>
                </a:cxn>
                <a:cxn ang="0">
                  <a:pos x="connsiteX13408" y="connsiteY13408"/>
                </a:cxn>
                <a:cxn ang="0">
                  <a:pos x="connsiteX13409" y="connsiteY13409"/>
                </a:cxn>
                <a:cxn ang="0">
                  <a:pos x="connsiteX13410" y="connsiteY13410"/>
                </a:cxn>
                <a:cxn ang="0">
                  <a:pos x="connsiteX13411" y="connsiteY13411"/>
                </a:cxn>
                <a:cxn ang="0">
                  <a:pos x="connsiteX13412" y="connsiteY13412"/>
                </a:cxn>
                <a:cxn ang="0">
                  <a:pos x="connsiteX13413" y="connsiteY13413"/>
                </a:cxn>
                <a:cxn ang="0">
                  <a:pos x="connsiteX13414" y="connsiteY13414"/>
                </a:cxn>
                <a:cxn ang="0">
                  <a:pos x="connsiteX13415" y="connsiteY13415"/>
                </a:cxn>
                <a:cxn ang="0">
                  <a:pos x="connsiteX13416" y="connsiteY13416"/>
                </a:cxn>
                <a:cxn ang="0">
                  <a:pos x="connsiteX13417" y="connsiteY13417"/>
                </a:cxn>
                <a:cxn ang="0">
                  <a:pos x="connsiteX13418" y="connsiteY13418"/>
                </a:cxn>
                <a:cxn ang="0">
                  <a:pos x="connsiteX13419" y="connsiteY13419"/>
                </a:cxn>
                <a:cxn ang="0">
                  <a:pos x="connsiteX13420" y="connsiteY13420"/>
                </a:cxn>
                <a:cxn ang="0">
                  <a:pos x="connsiteX13421" y="connsiteY13421"/>
                </a:cxn>
                <a:cxn ang="0">
                  <a:pos x="connsiteX13422" y="connsiteY13422"/>
                </a:cxn>
                <a:cxn ang="0">
                  <a:pos x="connsiteX13423" y="connsiteY13423"/>
                </a:cxn>
                <a:cxn ang="0">
                  <a:pos x="connsiteX13424" y="connsiteY13424"/>
                </a:cxn>
                <a:cxn ang="0">
                  <a:pos x="connsiteX13425" y="connsiteY13425"/>
                </a:cxn>
                <a:cxn ang="0">
                  <a:pos x="connsiteX13426" y="connsiteY13426"/>
                </a:cxn>
                <a:cxn ang="0">
                  <a:pos x="connsiteX13427" y="connsiteY13427"/>
                </a:cxn>
                <a:cxn ang="0">
                  <a:pos x="connsiteX13428" y="connsiteY13428"/>
                </a:cxn>
                <a:cxn ang="0">
                  <a:pos x="connsiteX13429" y="connsiteY13429"/>
                </a:cxn>
                <a:cxn ang="0">
                  <a:pos x="connsiteX13430" y="connsiteY13430"/>
                </a:cxn>
                <a:cxn ang="0">
                  <a:pos x="connsiteX13431" y="connsiteY13431"/>
                </a:cxn>
                <a:cxn ang="0">
                  <a:pos x="connsiteX13432" y="connsiteY13432"/>
                </a:cxn>
                <a:cxn ang="0">
                  <a:pos x="connsiteX13433" y="connsiteY13433"/>
                </a:cxn>
                <a:cxn ang="0">
                  <a:pos x="connsiteX13434" y="connsiteY13434"/>
                </a:cxn>
                <a:cxn ang="0">
                  <a:pos x="connsiteX13435" y="connsiteY13435"/>
                </a:cxn>
                <a:cxn ang="0">
                  <a:pos x="connsiteX13436" y="connsiteY13436"/>
                </a:cxn>
                <a:cxn ang="0">
                  <a:pos x="connsiteX13437" y="connsiteY13437"/>
                </a:cxn>
                <a:cxn ang="0">
                  <a:pos x="connsiteX13438" y="connsiteY13438"/>
                </a:cxn>
                <a:cxn ang="0">
                  <a:pos x="connsiteX13439" y="connsiteY13439"/>
                </a:cxn>
                <a:cxn ang="0">
                  <a:pos x="connsiteX13440" y="connsiteY13440"/>
                </a:cxn>
                <a:cxn ang="0">
                  <a:pos x="connsiteX13441" y="connsiteY13441"/>
                </a:cxn>
                <a:cxn ang="0">
                  <a:pos x="connsiteX13442" y="connsiteY13442"/>
                </a:cxn>
                <a:cxn ang="0">
                  <a:pos x="connsiteX13443" y="connsiteY13443"/>
                </a:cxn>
                <a:cxn ang="0">
                  <a:pos x="connsiteX13444" y="connsiteY13444"/>
                </a:cxn>
                <a:cxn ang="0">
                  <a:pos x="connsiteX13445" y="connsiteY13445"/>
                </a:cxn>
                <a:cxn ang="0">
                  <a:pos x="connsiteX13446" y="connsiteY13446"/>
                </a:cxn>
                <a:cxn ang="0">
                  <a:pos x="connsiteX13447" y="connsiteY13447"/>
                </a:cxn>
                <a:cxn ang="0">
                  <a:pos x="connsiteX13448" y="connsiteY13448"/>
                </a:cxn>
                <a:cxn ang="0">
                  <a:pos x="connsiteX13449" y="connsiteY13449"/>
                </a:cxn>
                <a:cxn ang="0">
                  <a:pos x="connsiteX13450" y="connsiteY13450"/>
                </a:cxn>
                <a:cxn ang="0">
                  <a:pos x="connsiteX13451" y="connsiteY13451"/>
                </a:cxn>
                <a:cxn ang="0">
                  <a:pos x="connsiteX13452" y="connsiteY13452"/>
                </a:cxn>
                <a:cxn ang="0">
                  <a:pos x="connsiteX13453" y="connsiteY13453"/>
                </a:cxn>
                <a:cxn ang="0">
                  <a:pos x="connsiteX13454" y="connsiteY13454"/>
                </a:cxn>
                <a:cxn ang="0">
                  <a:pos x="connsiteX13455" y="connsiteY13455"/>
                </a:cxn>
                <a:cxn ang="0">
                  <a:pos x="connsiteX13456" y="connsiteY13456"/>
                </a:cxn>
                <a:cxn ang="0">
                  <a:pos x="connsiteX13457" y="connsiteY13457"/>
                </a:cxn>
                <a:cxn ang="0">
                  <a:pos x="connsiteX13458" y="connsiteY13458"/>
                </a:cxn>
                <a:cxn ang="0">
                  <a:pos x="connsiteX13459" y="connsiteY13459"/>
                </a:cxn>
                <a:cxn ang="0">
                  <a:pos x="connsiteX13460" y="connsiteY13460"/>
                </a:cxn>
                <a:cxn ang="0">
                  <a:pos x="connsiteX13461" y="connsiteY13461"/>
                </a:cxn>
                <a:cxn ang="0">
                  <a:pos x="connsiteX13462" y="connsiteY13462"/>
                </a:cxn>
                <a:cxn ang="0">
                  <a:pos x="connsiteX13463" y="connsiteY13463"/>
                </a:cxn>
                <a:cxn ang="0">
                  <a:pos x="connsiteX13464" y="connsiteY13464"/>
                </a:cxn>
                <a:cxn ang="0">
                  <a:pos x="connsiteX13465" y="connsiteY13465"/>
                </a:cxn>
                <a:cxn ang="0">
                  <a:pos x="connsiteX13466" y="connsiteY13466"/>
                </a:cxn>
                <a:cxn ang="0">
                  <a:pos x="connsiteX13467" y="connsiteY13467"/>
                </a:cxn>
                <a:cxn ang="0">
                  <a:pos x="connsiteX13468" y="connsiteY13468"/>
                </a:cxn>
                <a:cxn ang="0">
                  <a:pos x="connsiteX13469" y="connsiteY13469"/>
                </a:cxn>
                <a:cxn ang="0">
                  <a:pos x="connsiteX13470" y="connsiteY13470"/>
                </a:cxn>
                <a:cxn ang="0">
                  <a:pos x="connsiteX13471" y="connsiteY13471"/>
                </a:cxn>
                <a:cxn ang="0">
                  <a:pos x="connsiteX13472" y="connsiteY13472"/>
                </a:cxn>
                <a:cxn ang="0">
                  <a:pos x="connsiteX13473" y="connsiteY13473"/>
                </a:cxn>
                <a:cxn ang="0">
                  <a:pos x="connsiteX13474" y="connsiteY13474"/>
                </a:cxn>
                <a:cxn ang="0">
                  <a:pos x="connsiteX13475" y="connsiteY13475"/>
                </a:cxn>
                <a:cxn ang="0">
                  <a:pos x="connsiteX13476" y="connsiteY13476"/>
                </a:cxn>
                <a:cxn ang="0">
                  <a:pos x="connsiteX13477" y="connsiteY13477"/>
                </a:cxn>
                <a:cxn ang="0">
                  <a:pos x="connsiteX13478" y="connsiteY13478"/>
                </a:cxn>
                <a:cxn ang="0">
                  <a:pos x="connsiteX13479" y="connsiteY13479"/>
                </a:cxn>
                <a:cxn ang="0">
                  <a:pos x="connsiteX13480" y="connsiteY13480"/>
                </a:cxn>
                <a:cxn ang="0">
                  <a:pos x="connsiteX13481" y="connsiteY13481"/>
                </a:cxn>
                <a:cxn ang="0">
                  <a:pos x="connsiteX13482" y="connsiteY13482"/>
                </a:cxn>
                <a:cxn ang="0">
                  <a:pos x="connsiteX13483" y="connsiteY13483"/>
                </a:cxn>
                <a:cxn ang="0">
                  <a:pos x="connsiteX13484" y="connsiteY13484"/>
                </a:cxn>
                <a:cxn ang="0">
                  <a:pos x="connsiteX13485" y="connsiteY13485"/>
                </a:cxn>
                <a:cxn ang="0">
                  <a:pos x="connsiteX13486" y="connsiteY13486"/>
                </a:cxn>
                <a:cxn ang="0">
                  <a:pos x="connsiteX13487" y="connsiteY13487"/>
                </a:cxn>
                <a:cxn ang="0">
                  <a:pos x="connsiteX13488" y="connsiteY13488"/>
                </a:cxn>
                <a:cxn ang="0">
                  <a:pos x="connsiteX13489" y="connsiteY13489"/>
                </a:cxn>
                <a:cxn ang="0">
                  <a:pos x="connsiteX13490" y="connsiteY13490"/>
                </a:cxn>
                <a:cxn ang="0">
                  <a:pos x="connsiteX13491" y="connsiteY13491"/>
                </a:cxn>
                <a:cxn ang="0">
                  <a:pos x="connsiteX13492" y="connsiteY13492"/>
                </a:cxn>
                <a:cxn ang="0">
                  <a:pos x="connsiteX13493" y="connsiteY13493"/>
                </a:cxn>
                <a:cxn ang="0">
                  <a:pos x="connsiteX13494" y="connsiteY13494"/>
                </a:cxn>
                <a:cxn ang="0">
                  <a:pos x="connsiteX13495" y="connsiteY13495"/>
                </a:cxn>
                <a:cxn ang="0">
                  <a:pos x="connsiteX13496" y="connsiteY13496"/>
                </a:cxn>
                <a:cxn ang="0">
                  <a:pos x="connsiteX13497" y="connsiteY13497"/>
                </a:cxn>
                <a:cxn ang="0">
                  <a:pos x="connsiteX13498" y="connsiteY13498"/>
                </a:cxn>
                <a:cxn ang="0">
                  <a:pos x="connsiteX13499" y="connsiteY13499"/>
                </a:cxn>
                <a:cxn ang="0">
                  <a:pos x="connsiteX13500" y="connsiteY13500"/>
                </a:cxn>
                <a:cxn ang="0">
                  <a:pos x="connsiteX13501" y="connsiteY13501"/>
                </a:cxn>
                <a:cxn ang="0">
                  <a:pos x="connsiteX13502" y="connsiteY13502"/>
                </a:cxn>
                <a:cxn ang="0">
                  <a:pos x="connsiteX13503" y="connsiteY13503"/>
                </a:cxn>
                <a:cxn ang="0">
                  <a:pos x="connsiteX13504" y="connsiteY13504"/>
                </a:cxn>
                <a:cxn ang="0">
                  <a:pos x="connsiteX13505" y="connsiteY13505"/>
                </a:cxn>
                <a:cxn ang="0">
                  <a:pos x="connsiteX13506" y="connsiteY13506"/>
                </a:cxn>
                <a:cxn ang="0">
                  <a:pos x="connsiteX13507" y="connsiteY13507"/>
                </a:cxn>
                <a:cxn ang="0">
                  <a:pos x="connsiteX13508" y="connsiteY13508"/>
                </a:cxn>
                <a:cxn ang="0">
                  <a:pos x="connsiteX13509" y="connsiteY13509"/>
                </a:cxn>
                <a:cxn ang="0">
                  <a:pos x="connsiteX13510" y="connsiteY13510"/>
                </a:cxn>
                <a:cxn ang="0">
                  <a:pos x="connsiteX13511" y="connsiteY13511"/>
                </a:cxn>
                <a:cxn ang="0">
                  <a:pos x="connsiteX13512" y="connsiteY13512"/>
                </a:cxn>
                <a:cxn ang="0">
                  <a:pos x="connsiteX13513" y="connsiteY13513"/>
                </a:cxn>
                <a:cxn ang="0">
                  <a:pos x="connsiteX13514" y="connsiteY13514"/>
                </a:cxn>
                <a:cxn ang="0">
                  <a:pos x="connsiteX13515" y="connsiteY13515"/>
                </a:cxn>
                <a:cxn ang="0">
                  <a:pos x="connsiteX13516" y="connsiteY13516"/>
                </a:cxn>
                <a:cxn ang="0">
                  <a:pos x="connsiteX13517" y="connsiteY13517"/>
                </a:cxn>
                <a:cxn ang="0">
                  <a:pos x="connsiteX13518" y="connsiteY13518"/>
                </a:cxn>
                <a:cxn ang="0">
                  <a:pos x="connsiteX13519" y="connsiteY13519"/>
                </a:cxn>
                <a:cxn ang="0">
                  <a:pos x="connsiteX13520" y="connsiteY13520"/>
                </a:cxn>
                <a:cxn ang="0">
                  <a:pos x="connsiteX13521" y="connsiteY13521"/>
                </a:cxn>
                <a:cxn ang="0">
                  <a:pos x="connsiteX13522" y="connsiteY13522"/>
                </a:cxn>
                <a:cxn ang="0">
                  <a:pos x="connsiteX13523" y="connsiteY13523"/>
                </a:cxn>
                <a:cxn ang="0">
                  <a:pos x="connsiteX13524" y="connsiteY13524"/>
                </a:cxn>
                <a:cxn ang="0">
                  <a:pos x="connsiteX13525" y="connsiteY13525"/>
                </a:cxn>
                <a:cxn ang="0">
                  <a:pos x="connsiteX13526" y="connsiteY13526"/>
                </a:cxn>
                <a:cxn ang="0">
                  <a:pos x="connsiteX13527" y="connsiteY13527"/>
                </a:cxn>
                <a:cxn ang="0">
                  <a:pos x="connsiteX13528" y="connsiteY13528"/>
                </a:cxn>
                <a:cxn ang="0">
                  <a:pos x="connsiteX13529" y="connsiteY13529"/>
                </a:cxn>
                <a:cxn ang="0">
                  <a:pos x="connsiteX13530" y="connsiteY13530"/>
                </a:cxn>
                <a:cxn ang="0">
                  <a:pos x="connsiteX13531" y="connsiteY13531"/>
                </a:cxn>
                <a:cxn ang="0">
                  <a:pos x="connsiteX13532" y="connsiteY13532"/>
                </a:cxn>
                <a:cxn ang="0">
                  <a:pos x="connsiteX13533" y="connsiteY13533"/>
                </a:cxn>
                <a:cxn ang="0">
                  <a:pos x="connsiteX13534" y="connsiteY13534"/>
                </a:cxn>
                <a:cxn ang="0">
                  <a:pos x="connsiteX13535" y="connsiteY13535"/>
                </a:cxn>
                <a:cxn ang="0">
                  <a:pos x="connsiteX13536" y="connsiteY13536"/>
                </a:cxn>
                <a:cxn ang="0">
                  <a:pos x="connsiteX13537" y="connsiteY13537"/>
                </a:cxn>
                <a:cxn ang="0">
                  <a:pos x="connsiteX13538" y="connsiteY13538"/>
                </a:cxn>
                <a:cxn ang="0">
                  <a:pos x="connsiteX13539" y="connsiteY13539"/>
                </a:cxn>
                <a:cxn ang="0">
                  <a:pos x="connsiteX13540" y="connsiteY13540"/>
                </a:cxn>
                <a:cxn ang="0">
                  <a:pos x="connsiteX13541" y="connsiteY13541"/>
                </a:cxn>
                <a:cxn ang="0">
                  <a:pos x="connsiteX13542" y="connsiteY13542"/>
                </a:cxn>
                <a:cxn ang="0">
                  <a:pos x="connsiteX13543" y="connsiteY13543"/>
                </a:cxn>
                <a:cxn ang="0">
                  <a:pos x="connsiteX13544" y="connsiteY13544"/>
                </a:cxn>
                <a:cxn ang="0">
                  <a:pos x="connsiteX13545" y="connsiteY13545"/>
                </a:cxn>
                <a:cxn ang="0">
                  <a:pos x="connsiteX13546" y="connsiteY13546"/>
                </a:cxn>
                <a:cxn ang="0">
                  <a:pos x="connsiteX13547" y="connsiteY13547"/>
                </a:cxn>
                <a:cxn ang="0">
                  <a:pos x="connsiteX13548" y="connsiteY13548"/>
                </a:cxn>
                <a:cxn ang="0">
                  <a:pos x="connsiteX13549" y="connsiteY13549"/>
                </a:cxn>
                <a:cxn ang="0">
                  <a:pos x="connsiteX13550" y="connsiteY13550"/>
                </a:cxn>
                <a:cxn ang="0">
                  <a:pos x="connsiteX13551" y="connsiteY13551"/>
                </a:cxn>
                <a:cxn ang="0">
                  <a:pos x="connsiteX13552" y="connsiteY13552"/>
                </a:cxn>
                <a:cxn ang="0">
                  <a:pos x="connsiteX13553" y="connsiteY13553"/>
                </a:cxn>
                <a:cxn ang="0">
                  <a:pos x="connsiteX13554" y="connsiteY13554"/>
                </a:cxn>
                <a:cxn ang="0">
                  <a:pos x="connsiteX13555" y="connsiteY13555"/>
                </a:cxn>
                <a:cxn ang="0">
                  <a:pos x="connsiteX13556" y="connsiteY13556"/>
                </a:cxn>
                <a:cxn ang="0">
                  <a:pos x="connsiteX13557" y="connsiteY13557"/>
                </a:cxn>
                <a:cxn ang="0">
                  <a:pos x="connsiteX13558" y="connsiteY13558"/>
                </a:cxn>
                <a:cxn ang="0">
                  <a:pos x="connsiteX13559" y="connsiteY13559"/>
                </a:cxn>
                <a:cxn ang="0">
                  <a:pos x="connsiteX13560" y="connsiteY13560"/>
                </a:cxn>
                <a:cxn ang="0">
                  <a:pos x="connsiteX13561" y="connsiteY13561"/>
                </a:cxn>
                <a:cxn ang="0">
                  <a:pos x="connsiteX13562" y="connsiteY13562"/>
                </a:cxn>
                <a:cxn ang="0">
                  <a:pos x="connsiteX13563" y="connsiteY13563"/>
                </a:cxn>
                <a:cxn ang="0">
                  <a:pos x="connsiteX13564" y="connsiteY13564"/>
                </a:cxn>
                <a:cxn ang="0">
                  <a:pos x="connsiteX13565" y="connsiteY13565"/>
                </a:cxn>
                <a:cxn ang="0">
                  <a:pos x="connsiteX13566" y="connsiteY13566"/>
                </a:cxn>
                <a:cxn ang="0">
                  <a:pos x="connsiteX13567" y="connsiteY13567"/>
                </a:cxn>
                <a:cxn ang="0">
                  <a:pos x="connsiteX13568" y="connsiteY13568"/>
                </a:cxn>
                <a:cxn ang="0">
                  <a:pos x="connsiteX13569" y="connsiteY13569"/>
                </a:cxn>
                <a:cxn ang="0">
                  <a:pos x="connsiteX13570" y="connsiteY13570"/>
                </a:cxn>
                <a:cxn ang="0">
                  <a:pos x="connsiteX13571" y="connsiteY13571"/>
                </a:cxn>
                <a:cxn ang="0">
                  <a:pos x="connsiteX13572" y="connsiteY13572"/>
                </a:cxn>
                <a:cxn ang="0">
                  <a:pos x="connsiteX13573" y="connsiteY13573"/>
                </a:cxn>
                <a:cxn ang="0">
                  <a:pos x="connsiteX13574" y="connsiteY13574"/>
                </a:cxn>
                <a:cxn ang="0">
                  <a:pos x="connsiteX13575" y="connsiteY13575"/>
                </a:cxn>
                <a:cxn ang="0">
                  <a:pos x="connsiteX13576" y="connsiteY13576"/>
                </a:cxn>
                <a:cxn ang="0">
                  <a:pos x="connsiteX13577" y="connsiteY13577"/>
                </a:cxn>
                <a:cxn ang="0">
                  <a:pos x="connsiteX13578" y="connsiteY13578"/>
                </a:cxn>
                <a:cxn ang="0">
                  <a:pos x="connsiteX13579" y="connsiteY13579"/>
                </a:cxn>
                <a:cxn ang="0">
                  <a:pos x="connsiteX13580" y="connsiteY13580"/>
                </a:cxn>
                <a:cxn ang="0">
                  <a:pos x="connsiteX13581" y="connsiteY13581"/>
                </a:cxn>
                <a:cxn ang="0">
                  <a:pos x="connsiteX13582" y="connsiteY13582"/>
                </a:cxn>
                <a:cxn ang="0">
                  <a:pos x="connsiteX13583" y="connsiteY13583"/>
                </a:cxn>
                <a:cxn ang="0">
                  <a:pos x="connsiteX13584" y="connsiteY13584"/>
                </a:cxn>
                <a:cxn ang="0">
                  <a:pos x="connsiteX13585" y="connsiteY13585"/>
                </a:cxn>
                <a:cxn ang="0">
                  <a:pos x="connsiteX13586" y="connsiteY13586"/>
                </a:cxn>
                <a:cxn ang="0">
                  <a:pos x="connsiteX13587" y="connsiteY13587"/>
                </a:cxn>
                <a:cxn ang="0">
                  <a:pos x="connsiteX13588" y="connsiteY13588"/>
                </a:cxn>
                <a:cxn ang="0">
                  <a:pos x="connsiteX13589" y="connsiteY13589"/>
                </a:cxn>
                <a:cxn ang="0">
                  <a:pos x="connsiteX13590" y="connsiteY13590"/>
                </a:cxn>
                <a:cxn ang="0">
                  <a:pos x="connsiteX13591" y="connsiteY13591"/>
                </a:cxn>
                <a:cxn ang="0">
                  <a:pos x="connsiteX13592" y="connsiteY13592"/>
                </a:cxn>
                <a:cxn ang="0">
                  <a:pos x="connsiteX13593" y="connsiteY13593"/>
                </a:cxn>
                <a:cxn ang="0">
                  <a:pos x="connsiteX13594" y="connsiteY13594"/>
                </a:cxn>
                <a:cxn ang="0">
                  <a:pos x="connsiteX13595" y="connsiteY13595"/>
                </a:cxn>
                <a:cxn ang="0">
                  <a:pos x="connsiteX13596" y="connsiteY13596"/>
                </a:cxn>
                <a:cxn ang="0">
                  <a:pos x="connsiteX13597" y="connsiteY13597"/>
                </a:cxn>
                <a:cxn ang="0">
                  <a:pos x="connsiteX13598" y="connsiteY13598"/>
                </a:cxn>
                <a:cxn ang="0">
                  <a:pos x="connsiteX13599" y="connsiteY13599"/>
                </a:cxn>
                <a:cxn ang="0">
                  <a:pos x="connsiteX13600" y="connsiteY13600"/>
                </a:cxn>
                <a:cxn ang="0">
                  <a:pos x="connsiteX13601" y="connsiteY13601"/>
                </a:cxn>
                <a:cxn ang="0">
                  <a:pos x="connsiteX13602" y="connsiteY13602"/>
                </a:cxn>
                <a:cxn ang="0">
                  <a:pos x="connsiteX13603" y="connsiteY13603"/>
                </a:cxn>
                <a:cxn ang="0">
                  <a:pos x="connsiteX13604" y="connsiteY13604"/>
                </a:cxn>
                <a:cxn ang="0">
                  <a:pos x="connsiteX13605" y="connsiteY13605"/>
                </a:cxn>
                <a:cxn ang="0">
                  <a:pos x="connsiteX13606" y="connsiteY13606"/>
                </a:cxn>
                <a:cxn ang="0">
                  <a:pos x="connsiteX13607" y="connsiteY13607"/>
                </a:cxn>
                <a:cxn ang="0">
                  <a:pos x="connsiteX13608" y="connsiteY13608"/>
                </a:cxn>
                <a:cxn ang="0">
                  <a:pos x="connsiteX13609" y="connsiteY13609"/>
                </a:cxn>
                <a:cxn ang="0">
                  <a:pos x="connsiteX13610" y="connsiteY13610"/>
                </a:cxn>
                <a:cxn ang="0">
                  <a:pos x="connsiteX13611" y="connsiteY13611"/>
                </a:cxn>
                <a:cxn ang="0">
                  <a:pos x="connsiteX13612" y="connsiteY13612"/>
                </a:cxn>
                <a:cxn ang="0">
                  <a:pos x="connsiteX13613" y="connsiteY13613"/>
                </a:cxn>
                <a:cxn ang="0">
                  <a:pos x="connsiteX13614" y="connsiteY13614"/>
                </a:cxn>
                <a:cxn ang="0">
                  <a:pos x="connsiteX13615" y="connsiteY13615"/>
                </a:cxn>
                <a:cxn ang="0">
                  <a:pos x="connsiteX13616" y="connsiteY13616"/>
                </a:cxn>
                <a:cxn ang="0">
                  <a:pos x="connsiteX13617" y="connsiteY13617"/>
                </a:cxn>
                <a:cxn ang="0">
                  <a:pos x="connsiteX13618" y="connsiteY13618"/>
                </a:cxn>
                <a:cxn ang="0">
                  <a:pos x="connsiteX13619" y="connsiteY13619"/>
                </a:cxn>
                <a:cxn ang="0">
                  <a:pos x="connsiteX13620" y="connsiteY13620"/>
                </a:cxn>
                <a:cxn ang="0">
                  <a:pos x="connsiteX13621" y="connsiteY13621"/>
                </a:cxn>
                <a:cxn ang="0">
                  <a:pos x="connsiteX13622" y="connsiteY13622"/>
                </a:cxn>
                <a:cxn ang="0">
                  <a:pos x="connsiteX13623" y="connsiteY13623"/>
                </a:cxn>
                <a:cxn ang="0">
                  <a:pos x="connsiteX13624" y="connsiteY13624"/>
                </a:cxn>
                <a:cxn ang="0">
                  <a:pos x="connsiteX13625" y="connsiteY13625"/>
                </a:cxn>
                <a:cxn ang="0">
                  <a:pos x="connsiteX13626" y="connsiteY13626"/>
                </a:cxn>
                <a:cxn ang="0">
                  <a:pos x="connsiteX13627" y="connsiteY13627"/>
                </a:cxn>
                <a:cxn ang="0">
                  <a:pos x="connsiteX13628" y="connsiteY13628"/>
                </a:cxn>
                <a:cxn ang="0">
                  <a:pos x="connsiteX13629" y="connsiteY13629"/>
                </a:cxn>
                <a:cxn ang="0">
                  <a:pos x="connsiteX13630" y="connsiteY13630"/>
                </a:cxn>
                <a:cxn ang="0">
                  <a:pos x="connsiteX13631" y="connsiteY13631"/>
                </a:cxn>
                <a:cxn ang="0">
                  <a:pos x="connsiteX13632" y="connsiteY13632"/>
                </a:cxn>
                <a:cxn ang="0">
                  <a:pos x="connsiteX13633" y="connsiteY13633"/>
                </a:cxn>
                <a:cxn ang="0">
                  <a:pos x="connsiteX13634" y="connsiteY13634"/>
                </a:cxn>
                <a:cxn ang="0">
                  <a:pos x="connsiteX13635" y="connsiteY13635"/>
                </a:cxn>
                <a:cxn ang="0">
                  <a:pos x="connsiteX13636" y="connsiteY13636"/>
                </a:cxn>
                <a:cxn ang="0">
                  <a:pos x="connsiteX13637" y="connsiteY13637"/>
                </a:cxn>
                <a:cxn ang="0">
                  <a:pos x="connsiteX13638" y="connsiteY13638"/>
                </a:cxn>
                <a:cxn ang="0">
                  <a:pos x="connsiteX13639" y="connsiteY13639"/>
                </a:cxn>
                <a:cxn ang="0">
                  <a:pos x="connsiteX13640" y="connsiteY13640"/>
                </a:cxn>
                <a:cxn ang="0">
                  <a:pos x="connsiteX13641" y="connsiteY13641"/>
                </a:cxn>
                <a:cxn ang="0">
                  <a:pos x="connsiteX13642" y="connsiteY13642"/>
                </a:cxn>
                <a:cxn ang="0">
                  <a:pos x="connsiteX13643" y="connsiteY13643"/>
                </a:cxn>
                <a:cxn ang="0">
                  <a:pos x="connsiteX13644" y="connsiteY13644"/>
                </a:cxn>
                <a:cxn ang="0">
                  <a:pos x="connsiteX13645" y="connsiteY13645"/>
                </a:cxn>
                <a:cxn ang="0">
                  <a:pos x="connsiteX13646" y="connsiteY13646"/>
                </a:cxn>
                <a:cxn ang="0">
                  <a:pos x="connsiteX13647" y="connsiteY13647"/>
                </a:cxn>
                <a:cxn ang="0">
                  <a:pos x="connsiteX13648" y="connsiteY13648"/>
                </a:cxn>
                <a:cxn ang="0">
                  <a:pos x="connsiteX13649" y="connsiteY13649"/>
                </a:cxn>
                <a:cxn ang="0">
                  <a:pos x="connsiteX13650" y="connsiteY13650"/>
                </a:cxn>
                <a:cxn ang="0">
                  <a:pos x="connsiteX13651" y="connsiteY13651"/>
                </a:cxn>
                <a:cxn ang="0">
                  <a:pos x="connsiteX13652" y="connsiteY13652"/>
                </a:cxn>
                <a:cxn ang="0">
                  <a:pos x="connsiteX13653" y="connsiteY13653"/>
                </a:cxn>
                <a:cxn ang="0">
                  <a:pos x="connsiteX13654" y="connsiteY13654"/>
                </a:cxn>
                <a:cxn ang="0">
                  <a:pos x="connsiteX13655" y="connsiteY13655"/>
                </a:cxn>
                <a:cxn ang="0">
                  <a:pos x="connsiteX13656" y="connsiteY13656"/>
                </a:cxn>
                <a:cxn ang="0">
                  <a:pos x="connsiteX13657" y="connsiteY13657"/>
                </a:cxn>
                <a:cxn ang="0">
                  <a:pos x="connsiteX13658" y="connsiteY13658"/>
                </a:cxn>
                <a:cxn ang="0">
                  <a:pos x="connsiteX13659" y="connsiteY13659"/>
                </a:cxn>
                <a:cxn ang="0">
                  <a:pos x="connsiteX13660" y="connsiteY13660"/>
                </a:cxn>
                <a:cxn ang="0">
                  <a:pos x="connsiteX13661" y="connsiteY13661"/>
                </a:cxn>
                <a:cxn ang="0">
                  <a:pos x="connsiteX13662" y="connsiteY13662"/>
                </a:cxn>
                <a:cxn ang="0">
                  <a:pos x="connsiteX13663" y="connsiteY13663"/>
                </a:cxn>
                <a:cxn ang="0">
                  <a:pos x="connsiteX13664" y="connsiteY13664"/>
                </a:cxn>
                <a:cxn ang="0">
                  <a:pos x="connsiteX13665" y="connsiteY13665"/>
                </a:cxn>
                <a:cxn ang="0">
                  <a:pos x="connsiteX13666" y="connsiteY13666"/>
                </a:cxn>
                <a:cxn ang="0">
                  <a:pos x="connsiteX13667" y="connsiteY13667"/>
                </a:cxn>
                <a:cxn ang="0">
                  <a:pos x="connsiteX13668" y="connsiteY13668"/>
                </a:cxn>
                <a:cxn ang="0">
                  <a:pos x="connsiteX13669" y="connsiteY13669"/>
                </a:cxn>
                <a:cxn ang="0">
                  <a:pos x="connsiteX13670" y="connsiteY13670"/>
                </a:cxn>
                <a:cxn ang="0">
                  <a:pos x="connsiteX13671" y="connsiteY13671"/>
                </a:cxn>
                <a:cxn ang="0">
                  <a:pos x="connsiteX13672" y="connsiteY13672"/>
                </a:cxn>
                <a:cxn ang="0">
                  <a:pos x="connsiteX13673" y="connsiteY13673"/>
                </a:cxn>
                <a:cxn ang="0">
                  <a:pos x="connsiteX13674" y="connsiteY13674"/>
                </a:cxn>
                <a:cxn ang="0">
                  <a:pos x="connsiteX13675" y="connsiteY13675"/>
                </a:cxn>
                <a:cxn ang="0">
                  <a:pos x="connsiteX13676" y="connsiteY13676"/>
                </a:cxn>
                <a:cxn ang="0">
                  <a:pos x="connsiteX13677" y="connsiteY13677"/>
                </a:cxn>
                <a:cxn ang="0">
                  <a:pos x="connsiteX13678" y="connsiteY13678"/>
                </a:cxn>
                <a:cxn ang="0">
                  <a:pos x="connsiteX13679" y="connsiteY13679"/>
                </a:cxn>
                <a:cxn ang="0">
                  <a:pos x="connsiteX13680" y="connsiteY13680"/>
                </a:cxn>
                <a:cxn ang="0">
                  <a:pos x="connsiteX13681" y="connsiteY13681"/>
                </a:cxn>
                <a:cxn ang="0">
                  <a:pos x="connsiteX13682" y="connsiteY13682"/>
                </a:cxn>
                <a:cxn ang="0">
                  <a:pos x="connsiteX13683" y="connsiteY13683"/>
                </a:cxn>
                <a:cxn ang="0">
                  <a:pos x="connsiteX13684" y="connsiteY13684"/>
                </a:cxn>
                <a:cxn ang="0">
                  <a:pos x="connsiteX13685" y="connsiteY13685"/>
                </a:cxn>
                <a:cxn ang="0">
                  <a:pos x="connsiteX13686" y="connsiteY13686"/>
                </a:cxn>
                <a:cxn ang="0">
                  <a:pos x="connsiteX13687" y="connsiteY13687"/>
                </a:cxn>
                <a:cxn ang="0">
                  <a:pos x="connsiteX13688" y="connsiteY13688"/>
                </a:cxn>
                <a:cxn ang="0">
                  <a:pos x="connsiteX13689" y="connsiteY13689"/>
                </a:cxn>
                <a:cxn ang="0">
                  <a:pos x="connsiteX13690" y="connsiteY13690"/>
                </a:cxn>
                <a:cxn ang="0">
                  <a:pos x="connsiteX13691" y="connsiteY13691"/>
                </a:cxn>
                <a:cxn ang="0">
                  <a:pos x="connsiteX13692" y="connsiteY13692"/>
                </a:cxn>
                <a:cxn ang="0">
                  <a:pos x="connsiteX13693" y="connsiteY13693"/>
                </a:cxn>
                <a:cxn ang="0">
                  <a:pos x="connsiteX13694" y="connsiteY13694"/>
                </a:cxn>
                <a:cxn ang="0">
                  <a:pos x="connsiteX13695" y="connsiteY13695"/>
                </a:cxn>
                <a:cxn ang="0">
                  <a:pos x="connsiteX13696" y="connsiteY13696"/>
                </a:cxn>
                <a:cxn ang="0">
                  <a:pos x="connsiteX13697" y="connsiteY13697"/>
                </a:cxn>
                <a:cxn ang="0">
                  <a:pos x="connsiteX13698" y="connsiteY13698"/>
                </a:cxn>
                <a:cxn ang="0">
                  <a:pos x="connsiteX13699" y="connsiteY13699"/>
                </a:cxn>
                <a:cxn ang="0">
                  <a:pos x="connsiteX13700" y="connsiteY13700"/>
                </a:cxn>
                <a:cxn ang="0">
                  <a:pos x="connsiteX13701" y="connsiteY13701"/>
                </a:cxn>
                <a:cxn ang="0">
                  <a:pos x="connsiteX13702" y="connsiteY13702"/>
                </a:cxn>
                <a:cxn ang="0">
                  <a:pos x="connsiteX13703" y="connsiteY13703"/>
                </a:cxn>
                <a:cxn ang="0">
                  <a:pos x="connsiteX13704" y="connsiteY13704"/>
                </a:cxn>
                <a:cxn ang="0">
                  <a:pos x="connsiteX13705" y="connsiteY13705"/>
                </a:cxn>
                <a:cxn ang="0">
                  <a:pos x="connsiteX13706" y="connsiteY13706"/>
                </a:cxn>
                <a:cxn ang="0">
                  <a:pos x="connsiteX13707" y="connsiteY13707"/>
                </a:cxn>
                <a:cxn ang="0">
                  <a:pos x="connsiteX13708" y="connsiteY13708"/>
                </a:cxn>
                <a:cxn ang="0">
                  <a:pos x="connsiteX13709" y="connsiteY13709"/>
                </a:cxn>
                <a:cxn ang="0">
                  <a:pos x="connsiteX13710" y="connsiteY13710"/>
                </a:cxn>
                <a:cxn ang="0">
                  <a:pos x="connsiteX13711" y="connsiteY13711"/>
                </a:cxn>
                <a:cxn ang="0">
                  <a:pos x="connsiteX13712" y="connsiteY13712"/>
                </a:cxn>
                <a:cxn ang="0">
                  <a:pos x="connsiteX13713" y="connsiteY13713"/>
                </a:cxn>
                <a:cxn ang="0">
                  <a:pos x="connsiteX13714" y="connsiteY13714"/>
                </a:cxn>
                <a:cxn ang="0">
                  <a:pos x="connsiteX13715" y="connsiteY13715"/>
                </a:cxn>
                <a:cxn ang="0">
                  <a:pos x="connsiteX13716" y="connsiteY13716"/>
                </a:cxn>
                <a:cxn ang="0">
                  <a:pos x="connsiteX13717" y="connsiteY13717"/>
                </a:cxn>
                <a:cxn ang="0">
                  <a:pos x="connsiteX13718" y="connsiteY13718"/>
                </a:cxn>
                <a:cxn ang="0">
                  <a:pos x="connsiteX13719" y="connsiteY13719"/>
                </a:cxn>
                <a:cxn ang="0">
                  <a:pos x="connsiteX13720" y="connsiteY13720"/>
                </a:cxn>
                <a:cxn ang="0">
                  <a:pos x="connsiteX13721" y="connsiteY13721"/>
                </a:cxn>
                <a:cxn ang="0">
                  <a:pos x="connsiteX13722" y="connsiteY13722"/>
                </a:cxn>
                <a:cxn ang="0">
                  <a:pos x="connsiteX13723" y="connsiteY13723"/>
                </a:cxn>
                <a:cxn ang="0">
                  <a:pos x="connsiteX13724" y="connsiteY13724"/>
                </a:cxn>
                <a:cxn ang="0">
                  <a:pos x="connsiteX13725" y="connsiteY13725"/>
                </a:cxn>
                <a:cxn ang="0">
                  <a:pos x="connsiteX13726" y="connsiteY13726"/>
                </a:cxn>
                <a:cxn ang="0">
                  <a:pos x="connsiteX13727" y="connsiteY13727"/>
                </a:cxn>
                <a:cxn ang="0">
                  <a:pos x="connsiteX13728" y="connsiteY13728"/>
                </a:cxn>
                <a:cxn ang="0">
                  <a:pos x="connsiteX13729" y="connsiteY13729"/>
                </a:cxn>
                <a:cxn ang="0">
                  <a:pos x="connsiteX13730" y="connsiteY13730"/>
                </a:cxn>
                <a:cxn ang="0">
                  <a:pos x="connsiteX13731" y="connsiteY13731"/>
                </a:cxn>
                <a:cxn ang="0">
                  <a:pos x="connsiteX13732" y="connsiteY13732"/>
                </a:cxn>
                <a:cxn ang="0">
                  <a:pos x="connsiteX13733" y="connsiteY13733"/>
                </a:cxn>
                <a:cxn ang="0">
                  <a:pos x="connsiteX13734" y="connsiteY13734"/>
                </a:cxn>
                <a:cxn ang="0">
                  <a:pos x="connsiteX13735" y="connsiteY13735"/>
                </a:cxn>
                <a:cxn ang="0">
                  <a:pos x="connsiteX13736" y="connsiteY13736"/>
                </a:cxn>
                <a:cxn ang="0">
                  <a:pos x="connsiteX13737" y="connsiteY13737"/>
                </a:cxn>
                <a:cxn ang="0">
                  <a:pos x="connsiteX13738" y="connsiteY13738"/>
                </a:cxn>
                <a:cxn ang="0">
                  <a:pos x="connsiteX13739" y="connsiteY13739"/>
                </a:cxn>
                <a:cxn ang="0">
                  <a:pos x="connsiteX13740" y="connsiteY13740"/>
                </a:cxn>
                <a:cxn ang="0">
                  <a:pos x="connsiteX13741" y="connsiteY13741"/>
                </a:cxn>
                <a:cxn ang="0">
                  <a:pos x="connsiteX13742" y="connsiteY13742"/>
                </a:cxn>
                <a:cxn ang="0">
                  <a:pos x="connsiteX13743" y="connsiteY13743"/>
                </a:cxn>
                <a:cxn ang="0">
                  <a:pos x="connsiteX13744" y="connsiteY13744"/>
                </a:cxn>
                <a:cxn ang="0">
                  <a:pos x="connsiteX13745" y="connsiteY13745"/>
                </a:cxn>
                <a:cxn ang="0">
                  <a:pos x="connsiteX13746" y="connsiteY13746"/>
                </a:cxn>
                <a:cxn ang="0">
                  <a:pos x="connsiteX13747" y="connsiteY13747"/>
                </a:cxn>
                <a:cxn ang="0">
                  <a:pos x="connsiteX13748" y="connsiteY13748"/>
                </a:cxn>
                <a:cxn ang="0">
                  <a:pos x="connsiteX13749" y="connsiteY13749"/>
                </a:cxn>
                <a:cxn ang="0">
                  <a:pos x="connsiteX13750" y="connsiteY13750"/>
                </a:cxn>
                <a:cxn ang="0">
                  <a:pos x="connsiteX13751" y="connsiteY13751"/>
                </a:cxn>
                <a:cxn ang="0">
                  <a:pos x="connsiteX13752" y="connsiteY13752"/>
                </a:cxn>
                <a:cxn ang="0">
                  <a:pos x="connsiteX13753" y="connsiteY13753"/>
                </a:cxn>
                <a:cxn ang="0">
                  <a:pos x="connsiteX13754" y="connsiteY13754"/>
                </a:cxn>
                <a:cxn ang="0">
                  <a:pos x="connsiteX13755" y="connsiteY13755"/>
                </a:cxn>
                <a:cxn ang="0">
                  <a:pos x="connsiteX13756" y="connsiteY13756"/>
                </a:cxn>
                <a:cxn ang="0">
                  <a:pos x="connsiteX13757" y="connsiteY13757"/>
                </a:cxn>
                <a:cxn ang="0">
                  <a:pos x="connsiteX13758" y="connsiteY13758"/>
                </a:cxn>
                <a:cxn ang="0">
                  <a:pos x="connsiteX13759" y="connsiteY13759"/>
                </a:cxn>
                <a:cxn ang="0">
                  <a:pos x="connsiteX13760" y="connsiteY13760"/>
                </a:cxn>
                <a:cxn ang="0">
                  <a:pos x="connsiteX13761" y="connsiteY13761"/>
                </a:cxn>
                <a:cxn ang="0">
                  <a:pos x="connsiteX13762" y="connsiteY13762"/>
                </a:cxn>
                <a:cxn ang="0">
                  <a:pos x="connsiteX13763" y="connsiteY13763"/>
                </a:cxn>
                <a:cxn ang="0">
                  <a:pos x="connsiteX13764" y="connsiteY13764"/>
                </a:cxn>
                <a:cxn ang="0">
                  <a:pos x="connsiteX13765" y="connsiteY13765"/>
                </a:cxn>
                <a:cxn ang="0">
                  <a:pos x="connsiteX13766" y="connsiteY13766"/>
                </a:cxn>
                <a:cxn ang="0">
                  <a:pos x="connsiteX13767" y="connsiteY13767"/>
                </a:cxn>
                <a:cxn ang="0">
                  <a:pos x="connsiteX13768" y="connsiteY13768"/>
                </a:cxn>
                <a:cxn ang="0">
                  <a:pos x="connsiteX13769" y="connsiteY13769"/>
                </a:cxn>
                <a:cxn ang="0">
                  <a:pos x="connsiteX13770" y="connsiteY13770"/>
                </a:cxn>
                <a:cxn ang="0">
                  <a:pos x="connsiteX13771" y="connsiteY13771"/>
                </a:cxn>
                <a:cxn ang="0">
                  <a:pos x="connsiteX13772" y="connsiteY13772"/>
                </a:cxn>
                <a:cxn ang="0">
                  <a:pos x="connsiteX13773" y="connsiteY13773"/>
                </a:cxn>
                <a:cxn ang="0">
                  <a:pos x="connsiteX13774" y="connsiteY13774"/>
                </a:cxn>
                <a:cxn ang="0">
                  <a:pos x="connsiteX13775" y="connsiteY13775"/>
                </a:cxn>
                <a:cxn ang="0">
                  <a:pos x="connsiteX13776" y="connsiteY13776"/>
                </a:cxn>
                <a:cxn ang="0">
                  <a:pos x="connsiteX13777" y="connsiteY13777"/>
                </a:cxn>
                <a:cxn ang="0">
                  <a:pos x="connsiteX13778" y="connsiteY13778"/>
                </a:cxn>
                <a:cxn ang="0">
                  <a:pos x="connsiteX13779" y="connsiteY13779"/>
                </a:cxn>
                <a:cxn ang="0">
                  <a:pos x="connsiteX13780" y="connsiteY13780"/>
                </a:cxn>
                <a:cxn ang="0">
                  <a:pos x="connsiteX13781" y="connsiteY13781"/>
                </a:cxn>
                <a:cxn ang="0">
                  <a:pos x="connsiteX13782" y="connsiteY13782"/>
                </a:cxn>
                <a:cxn ang="0">
                  <a:pos x="connsiteX13783" y="connsiteY13783"/>
                </a:cxn>
                <a:cxn ang="0">
                  <a:pos x="connsiteX13784" y="connsiteY13784"/>
                </a:cxn>
                <a:cxn ang="0">
                  <a:pos x="connsiteX13785" y="connsiteY13785"/>
                </a:cxn>
                <a:cxn ang="0">
                  <a:pos x="connsiteX13786" y="connsiteY13786"/>
                </a:cxn>
                <a:cxn ang="0">
                  <a:pos x="connsiteX13787" y="connsiteY13787"/>
                </a:cxn>
                <a:cxn ang="0">
                  <a:pos x="connsiteX13788" y="connsiteY13788"/>
                </a:cxn>
                <a:cxn ang="0">
                  <a:pos x="connsiteX13789" y="connsiteY13789"/>
                </a:cxn>
                <a:cxn ang="0">
                  <a:pos x="connsiteX13790" y="connsiteY13790"/>
                </a:cxn>
                <a:cxn ang="0">
                  <a:pos x="connsiteX13791" y="connsiteY13791"/>
                </a:cxn>
                <a:cxn ang="0">
                  <a:pos x="connsiteX13792" y="connsiteY13792"/>
                </a:cxn>
                <a:cxn ang="0">
                  <a:pos x="connsiteX13793" y="connsiteY13793"/>
                </a:cxn>
                <a:cxn ang="0">
                  <a:pos x="connsiteX13794" y="connsiteY13794"/>
                </a:cxn>
                <a:cxn ang="0">
                  <a:pos x="connsiteX13795" y="connsiteY13795"/>
                </a:cxn>
                <a:cxn ang="0">
                  <a:pos x="connsiteX13796" y="connsiteY13796"/>
                </a:cxn>
                <a:cxn ang="0">
                  <a:pos x="connsiteX13797" y="connsiteY13797"/>
                </a:cxn>
                <a:cxn ang="0">
                  <a:pos x="connsiteX13798" y="connsiteY13798"/>
                </a:cxn>
                <a:cxn ang="0">
                  <a:pos x="connsiteX13799" y="connsiteY13799"/>
                </a:cxn>
                <a:cxn ang="0">
                  <a:pos x="connsiteX13800" y="connsiteY13800"/>
                </a:cxn>
                <a:cxn ang="0">
                  <a:pos x="connsiteX13801" y="connsiteY13801"/>
                </a:cxn>
                <a:cxn ang="0">
                  <a:pos x="connsiteX13802" y="connsiteY13802"/>
                </a:cxn>
                <a:cxn ang="0">
                  <a:pos x="connsiteX13803" y="connsiteY13803"/>
                </a:cxn>
                <a:cxn ang="0">
                  <a:pos x="connsiteX13804" y="connsiteY13804"/>
                </a:cxn>
                <a:cxn ang="0">
                  <a:pos x="connsiteX13805" y="connsiteY13805"/>
                </a:cxn>
                <a:cxn ang="0">
                  <a:pos x="connsiteX13806" y="connsiteY13806"/>
                </a:cxn>
                <a:cxn ang="0">
                  <a:pos x="connsiteX13807" y="connsiteY13807"/>
                </a:cxn>
                <a:cxn ang="0">
                  <a:pos x="connsiteX13808" y="connsiteY13808"/>
                </a:cxn>
                <a:cxn ang="0">
                  <a:pos x="connsiteX13809" y="connsiteY13809"/>
                </a:cxn>
                <a:cxn ang="0">
                  <a:pos x="connsiteX13810" y="connsiteY13810"/>
                </a:cxn>
                <a:cxn ang="0">
                  <a:pos x="connsiteX13811" y="connsiteY13811"/>
                </a:cxn>
                <a:cxn ang="0">
                  <a:pos x="connsiteX13812" y="connsiteY13812"/>
                </a:cxn>
                <a:cxn ang="0">
                  <a:pos x="connsiteX13813" y="connsiteY13813"/>
                </a:cxn>
                <a:cxn ang="0">
                  <a:pos x="connsiteX13814" y="connsiteY13814"/>
                </a:cxn>
                <a:cxn ang="0">
                  <a:pos x="connsiteX13815" y="connsiteY13815"/>
                </a:cxn>
                <a:cxn ang="0">
                  <a:pos x="connsiteX13816" y="connsiteY13816"/>
                </a:cxn>
                <a:cxn ang="0">
                  <a:pos x="connsiteX13817" y="connsiteY13817"/>
                </a:cxn>
                <a:cxn ang="0">
                  <a:pos x="connsiteX13818" y="connsiteY13818"/>
                </a:cxn>
                <a:cxn ang="0">
                  <a:pos x="connsiteX13819" y="connsiteY13819"/>
                </a:cxn>
                <a:cxn ang="0">
                  <a:pos x="connsiteX13820" y="connsiteY13820"/>
                </a:cxn>
                <a:cxn ang="0">
                  <a:pos x="connsiteX13821" y="connsiteY13821"/>
                </a:cxn>
                <a:cxn ang="0">
                  <a:pos x="connsiteX13822" y="connsiteY13822"/>
                </a:cxn>
                <a:cxn ang="0">
                  <a:pos x="connsiteX13823" y="connsiteY13823"/>
                </a:cxn>
                <a:cxn ang="0">
                  <a:pos x="connsiteX13824" y="connsiteY13824"/>
                </a:cxn>
                <a:cxn ang="0">
                  <a:pos x="connsiteX13825" y="connsiteY13825"/>
                </a:cxn>
                <a:cxn ang="0">
                  <a:pos x="connsiteX13826" y="connsiteY13826"/>
                </a:cxn>
                <a:cxn ang="0">
                  <a:pos x="connsiteX13827" y="connsiteY13827"/>
                </a:cxn>
                <a:cxn ang="0">
                  <a:pos x="connsiteX13828" y="connsiteY13828"/>
                </a:cxn>
                <a:cxn ang="0">
                  <a:pos x="connsiteX13829" y="connsiteY13829"/>
                </a:cxn>
                <a:cxn ang="0">
                  <a:pos x="connsiteX13830" y="connsiteY13830"/>
                </a:cxn>
                <a:cxn ang="0">
                  <a:pos x="connsiteX13831" y="connsiteY13831"/>
                </a:cxn>
                <a:cxn ang="0">
                  <a:pos x="connsiteX13832" y="connsiteY13832"/>
                </a:cxn>
                <a:cxn ang="0">
                  <a:pos x="connsiteX13833" y="connsiteY13833"/>
                </a:cxn>
                <a:cxn ang="0">
                  <a:pos x="connsiteX13834" y="connsiteY13834"/>
                </a:cxn>
                <a:cxn ang="0">
                  <a:pos x="connsiteX13835" y="connsiteY13835"/>
                </a:cxn>
                <a:cxn ang="0">
                  <a:pos x="connsiteX13836" y="connsiteY13836"/>
                </a:cxn>
                <a:cxn ang="0">
                  <a:pos x="connsiteX13837" y="connsiteY13837"/>
                </a:cxn>
                <a:cxn ang="0">
                  <a:pos x="connsiteX13838" y="connsiteY13838"/>
                </a:cxn>
                <a:cxn ang="0">
                  <a:pos x="connsiteX13839" y="connsiteY13839"/>
                </a:cxn>
                <a:cxn ang="0">
                  <a:pos x="connsiteX13840" y="connsiteY13840"/>
                </a:cxn>
                <a:cxn ang="0">
                  <a:pos x="connsiteX13841" y="connsiteY13841"/>
                </a:cxn>
                <a:cxn ang="0">
                  <a:pos x="connsiteX13842" y="connsiteY13842"/>
                </a:cxn>
                <a:cxn ang="0">
                  <a:pos x="connsiteX13843" y="connsiteY13843"/>
                </a:cxn>
                <a:cxn ang="0">
                  <a:pos x="connsiteX13844" y="connsiteY13844"/>
                </a:cxn>
                <a:cxn ang="0">
                  <a:pos x="connsiteX13845" y="connsiteY13845"/>
                </a:cxn>
                <a:cxn ang="0">
                  <a:pos x="connsiteX13846" y="connsiteY13846"/>
                </a:cxn>
                <a:cxn ang="0">
                  <a:pos x="connsiteX13847" y="connsiteY13847"/>
                </a:cxn>
                <a:cxn ang="0">
                  <a:pos x="connsiteX13848" y="connsiteY13848"/>
                </a:cxn>
                <a:cxn ang="0">
                  <a:pos x="connsiteX13849" y="connsiteY13849"/>
                </a:cxn>
                <a:cxn ang="0">
                  <a:pos x="connsiteX13850" y="connsiteY13850"/>
                </a:cxn>
                <a:cxn ang="0">
                  <a:pos x="connsiteX13851" y="connsiteY13851"/>
                </a:cxn>
                <a:cxn ang="0">
                  <a:pos x="connsiteX13852" y="connsiteY13852"/>
                </a:cxn>
                <a:cxn ang="0">
                  <a:pos x="connsiteX13853" y="connsiteY13853"/>
                </a:cxn>
                <a:cxn ang="0">
                  <a:pos x="connsiteX13854" y="connsiteY13854"/>
                </a:cxn>
                <a:cxn ang="0">
                  <a:pos x="connsiteX13855" y="connsiteY13855"/>
                </a:cxn>
                <a:cxn ang="0">
                  <a:pos x="connsiteX13856" y="connsiteY13856"/>
                </a:cxn>
                <a:cxn ang="0">
                  <a:pos x="connsiteX13857" y="connsiteY13857"/>
                </a:cxn>
                <a:cxn ang="0">
                  <a:pos x="connsiteX13858" y="connsiteY13858"/>
                </a:cxn>
                <a:cxn ang="0">
                  <a:pos x="connsiteX13859" y="connsiteY13859"/>
                </a:cxn>
                <a:cxn ang="0">
                  <a:pos x="connsiteX13860" y="connsiteY13860"/>
                </a:cxn>
                <a:cxn ang="0">
                  <a:pos x="connsiteX13861" y="connsiteY13861"/>
                </a:cxn>
                <a:cxn ang="0">
                  <a:pos x="connsiteX13862" y="connsiteY13862"/>
                </a:cxn>
                <a:cxn ang="0">
                  <a:pos x="connsiteX13863" y="connsiteY13863"/>
                </a:cxn>
                <a:cxn ang="0">
                  <a:pos x="connsiteX13864" y="connsiteY13864"/>
                </a:cxn>
                <a:cxn ang="0">
                  <a:pos x="connsiteX13865" y="connsiteY13865"/>
                </a:cxn>
                <a:cxn ang="0">
                  <a:pos x="connsiteX13866" y="connsiteY13866"/>
                </a:cxn>
                <a:cxn ang="0">
                  <a:pos x="connsiteX13867" y="connsiteY13867"/>
                </a:cxn>
                <a:cxn ang="0">
                  <a:pos x="connsiteX13868" y="connsiteY13868"/>
                </a:cxn>
                <a:cxn ang="0">
                  <a:pos x="connsiteX13869" y="connsiteY13869"/>
                </a:cxn>
                <a:cxn ang="0">
                  <a:pos x="connsiteX13870" y="connsiteY13870"/>
                </a:cxn>
                <a:cxn ang="0">
                  <a:pos x="connsiteX13871" y="connsiteY13871"/>
                </a:cxn>
                <a:cxn ang="0">
                  <a:pos x="connsiteX13872" y="connsiteY13872"/>
                </a:cxn>
                <a:cxn ang="0">
                  <a:pos x="connsiteX13873" y="connsiteY13873"/>
                </a:cxn>
                <a:cxn ang="0">
                  <a:pos x="connsiteX13874" y="connsiteY13874"/>
                </a:cxn>
                <a:cxn ang="0">
                  <a:pos x="connsiteX13875" y="connsiteY13875"/>
                </a:cxn>
                <a:cxn ang="0">
                  <a:pos x="connsiteX13876" y="connsiteY13876"/>
                </a:cxn>
                <a:cxn ang="0">
                  <a:pos x="connsiteX13877" y="connsiteY13877"/>
                </a:cxn>
                <a:cxn ang="0">
                  <a:pos x="connsiteX13878" y="connsiteY13878"/>
                </a:cxn>
                <a:cxn ang="0">
                  <a:pos x="connsiteX13879" y="connsiteY13879"/>
                </a:cxn>
                <a:cxn ang="0">
                  <a:pos x="connsiteX13880" y="connsiteY13880"/>
                </a:cxn>
                <a:cxn ang="0">
                  <a:pos x="connsiteX13881" y="connsiteY13881"/>
                </a:cxn>
                <a:cxn ang="0">
                  <a:pos x="connsiteX13882" y="connsiteY13882"/>
                </a:cxn>
                <a:cxn ang="0">
                  <a:pos x="connsiteX13883" y="connsiteY13883"/>
                </a:cxn>
                <a:cxn ang="0">
                  <a:pos x="connsiteX13884" y="connsiteY13884"/>
                </a:cxn>
                <a:cxn ang="0">
                  <a:pos x="connsiteX13885" y="connsiteY13885"/>
                </a:cxn>
                <a:cxn ang="0">
                  <a:pos x="connsiteX13886" y="connsiteY13886"/>
                </a:cxn>
                <a:cxn ang="0">
                  <a:pos x="connsiteX13887" y="connsiteY13887"/>
                </a:cxn>
                <a:cxn ang="0">
                  <a:pos x="connsiteX13888" y="connsiteY13888"/>
                </a:cxn>
                <a:cxn ang="0">
                  <a:pos x="connsiteX13889" y="connsiteY13889"/>
                </a:cxn>
                <a:cxn ang="0">
                  <a:pos x="connsiteX13890" y="connsiteY13890"/>
                </a:cxn>
                <a:cxn ang="0">
                  <a:pos x="connsiteX13891" y="connsiteY13891"/>
                </a:cxn>
                <a:cxn ang="0">
                  <a:pos x="connsiteX13892" y="connsiteY13892"/>
                </a:cxn>
                <a:cxn ang="0">
                  <a:pos x="connsiteX13893" y="connsiteY13893"/>
                </a:cxn>
                <a:cxn ang="0">
                  <a:pos x="connsiteX13894" y="connsiteY13894"/>
                </a:cxn>
                <a:cxn ang="0">
                  <a:pos x="connsiteX13895" y="connsiteY13895"/>
                </a:cxn>
                <a:cxn ang="0">
                  <a:pos x="connsiteX13896" y="connsiteY13896"/>
                </a:cxn>
                <a:cxn ang="0">
                  <a:pos x="connsiteX13897" y="connsiteY13897"/>
                </a:cxn>
                <a:cxn ang="0">
                  <a:pos x="connsiteX13898" y="connsiteY13898"/>
                </a:cxn>
                <a:cxn ang="0">
                  <a:pos x="connsiteX13899" y="connsiteY13899"/>
                </a:cxn>
                <a:cxn ang="0">
                  <a:pos x="connsiteX13900" y="connsiteY13900"/>
                </a:cxn>
                <a:cxn ang="0">
                  <a:pos x="connsiteX13901" y="connsiteY13901"/>
                </a:cxn>
                <a:cxn ang="0">
                  <a:pos x="connsiteX13902" y="connsiteY13902"/>
                </a:cxn>
                <a:cxn ang="0">
                  <a:pos x="connsiteX13903" y="connsiteY13903"/>
                </a:cxn>
                <a:cxn ang="0">
                  <a:pos x="connsiteX13904" y="connsiteY13904"/>
                </a:cxn>
                <a:cxn ang="0">
                  <a:pos x="connsiteX13905" y="connsiteY13905"/>
                </a:cxn>
                <a:cxn ang="0">
                  <a:pos x="connsiteX13906" y="connsiteY13906"/>
                </a:cxn>
                <a:cxn ang="0">
                  <a:pos x="connsiteX13907" y="connsiteY13907"/>
                </a:cxn>
                <a:cxn ang="0">
                  <a:pos x="connsiteX13908" y="connsiteY13908"/>
                </a:cxn>
                <a:cxn ang="0">
                  <a:pos x="connsiteX13909" y="connsiteY13909"/>
                </a:cxn>
                <a:cxn ang="0">
                  <a:pos x="connsiteX13910" y="connsiteY13910"/>
                </a:cxn>
                <a:cxn ang="0">
                  <a:pos x="connsiteX13911" y="connsiteY13911"/>
                </a:cxn>
                <a:cxn ang="0">
                  <a:pos x="connsiteX13912" y="connsiteY13912"/>
                </a:cxn>
                <a:cxn ang="0">
                  <a:pos x="connsiteX13913" y="connsiteY13913"/>
                </a:cxn>
                <a:cxn ang="0">
                  <a:pos x="connsiteX13914" y="connsiteY13914"/>
                </a:cxn>
                <a:cxn ang="0">
                  <a:pos x="connsiteX13915" y="connsiteY13915"/>
                </a:cxn>
                <a:cxn ang="0">
                  <a:pos x="connsiteX13916" y="connsiteY13916"/>
                </a:cxn>
                <a:cxn ang="0">
                  <a:pos x="connsiteX13917" y="connsiteY13917"/>
                </a:cxn>
                <a:cxn ang="0">
                  <a:pos x="connsiteX13918" y="connsiteY13918"/>
                </a:cxn>
                <a:cxn ang="0">
                  <a:pos x="connsiteX13919" y="connsiteY13919"/>
                </a:cxn>
                <a:cxn ang="0">
                  <a:pos x="connsiteX13920" y="connsiteY13920"/>
                </a:cxn>
                <a:cxn ang="0">
                  <a:pos x="connsiteX13921" y="connsiteY13921"/>
                </a:cxn>
                <a:cxn ang="0">
                  <a:pos x="connsiteX13922" y="connsiteY13922"/>
                </a:cxn>
                <a:cxn ang="0">
                  <a:pos x="connsiteX13923" y="connsiteY13923"/>
                </a:cxn>
                <a:cxn ang="0">
                  <a:pos x="connsiteX13924" y="connsiteY13924"/>
                </a:cxn>
                <a:cxn ang="0">
                  <a:pos x="connsiteX13925" y="connsiteY13925"/>
                </a:cxn>
                <a:cxn ang="0">
                  <a:pos x="connsiteX13926" y="connsiteY13926"/>
                </a:cxn>
                <a:cxn ang="0">
                  <a:pos x="connsiteX13927" y="connsiteY13927"/>
                </a:cxn>
                <a:cxn ang="0">
                  <a:pos x="connsiteX13928" y="connsiteY13928"/>
                </a:cxn>
                <a:cxn ang="0">
                  <a:pos x="connsiteX13929" y="connsiteY13929"/>
                </a:cxn>
                <a:cxn ang="0">
                  <a:pos x="connsiteX13930" y="connsiteY13930"/>
                </a:cxn>
                <a:cxn ang="0">
                  <a:pos x="connsiteX13931" y="connsiteY13931"/>
                </a:cxn>
                <a:cxn ang="0">
                  <a:pos x="connsiteX13932" y="connsiteY13932"/>
                </a:cxn>
                <a:cxn ang="0">
                  <a:pos x="connsiteX13933" y="connsiteY13933"/>
                </a:cxn>
                <a:cxn ang="0">
                  <a:pos x="connsiteX13934" y="connsiteY13934"/>
                </a:cxn>
                <a:cxn ang="0">
                  <a:pos x="connsiteX13935" y="connsiteY13935"/>
                </a:cxn>
                <a:cxn ang="0">
                  <a:pos x="connsiteX13936" y="connsiteY13936"/>
                </a:cxn>
                <a:cxn ang="0">
                  <a:pos x="connsiteX13937" y="connsiteY13937"/>
                </a:cxn>
                <a:cxn ang="0">
                  <a:pos x="connsiteX13938" y="connsiteY13938"/>
                </a:cxn>
                <a:cxn ang="0">
                  <a:pos x="connsiteX13939" y="connsiteY13939"/>
                </a:cxn>
                <a:cxn ang="0">
                  <a:pos x="connsiteX13940" y="connsiteY13940"/>
                </a:cxn>
                <a:cxn ang="0">
                  <a:pos x="connsiteX13941" y="connsiteY13941"/>
                </a:cxn>
                <a:cxn ang="0">
                  <a:pos x="connsiteX13942" y="connsiteY13942"/>
                </a:cxn>
                <a:cxn ang="0">
                  <a:pos x="connsiteX13943" y="connsiteY13943"/>
                </a:cxn>
                <a:cxn ang="0">
                  <a:pos x="connsiteX13944" y="connsiteY13944"/>
                </a:cxn>
                <a:cxn ang="0">
                  <a:pos x="connsiteX13945" y="connsiteY13945"/>
                </a:cxn>
                <a:cxn ang="0">
                  <a:pos x="connsiteX13946" y="connsiteY13946"/>
                </a:cxn>
                <a:cxn ang="0">
                  <a:pos x="connsiteX13947" y="connsiteY13947"/>
                </a:cxn>
                <a:cxn ang="0">
                  <a:pos x="connsiteX13948" y="connsiteY13948"/>
                </a:cxn>
                <a:cxn ang="0">
                  <a:pos x="connsiteX13949" y="connsiteY13949"/>
                </a:cxn>
                <a:cxn ang="0">
                  <a:pos x="connsiteX13950" y="connsiteY13950"/>
                </a:cxn>
                <a:cxn ang="0">
                  <a:pos x="connsiteX13951" y="connsiteY13951"/>
                </a:cxn>
                <a:cxn ang="0">
                  <a:pos x="connsiteX13952" y="connsiteY13952"/>
                </a:cxn>
                <a:cxn ang="0">
                  <a:pos x="connsiteX13953" y="connsiteY13953"/>
                </a:cxn>
                <a:cxn ang="0">
                  <a:pos x="connsiteX13954" y="connsiteY13954"/>
                </a:cxn>
                <a:cxn ang="0">
                  <a:pos x="connsiteX13955" y="connsiteY13955"/>
                </a:cxn>
                <a:cxn ang="0">
                  <a:pos x="connsiteX13956" y="connsiteY13956"/>
                </a:cxn>
                <a:cxn ang="0">
                  <a:pos x="connsiteX13957" y="connsiteY13957"/>
                </a:cxn>
                <a:cxn ang="0">
                  <a:pos x="connsiteX13958" y="connsiteY13958"/>
                </a:cxn>
                <a:cxn ang="0">
                  <a:pos x="connsiteX13959" y="connsiteY13959"/>
                </a:cxn>
                <a:cxn ang="0">
                  <a:pos x="connsiteX13960" y="connsiteY13960"/>
                </a:cxn>
                <a:cxn ang="0">
                  <a:pos x="connsiteX13961" y="connsiteY13961"/>
                </a:cxn>
                <a:cxn ang="0">
                  <a:pos x="connsiteX13962" y="connsiteY13962"/>
                </a:cxn>
                <a:cxn ang="0">
                  <a:pos x="connsiteX13963" y="connsiteY13963"/>
                </a:cxn>
                <a:cxn ang="0">
                  <a:pos x="connsiteX13964" y="connsiteY13964"/>
                </a:cxn>
                <a:cxn ang="0">
                  <a:pos x="connsiteX13965" y="connsiteY13965"/>
                </a:cxn>
                <a:cxn ang="0">
                  <a:pos x="connsiteX13966" y="connsiteY13966"/>
                </a:cxn>
                <a:cxn ang="0">
                  <a:pos x="connsiteX13967" y="connsiteY13967"/>
                </a:cxn>
                <a:cxn ang="0">
                  <a:pos x="connsiteX13968" y="connsiteY13968"/>
                </a:cxn>
                <a:cxn ang="0">
                  <a:pos x="connsiteX13969" y="connsiteY13969"/>
                </a:cxn>
                <a:cxn ang="0">
                  <a:pos x="connsiteX13970" y="connsiteY13970"/>
                </a:cxn>
                <a:cxn ang="0">
                  <a:pos x="connsiteX13971" y="connsiteY13971"/>
                </a:cxn>
                <a:cxn ang="0">
                  <a:pos x="connsiteX13972" y="connsiteY13972"/>
                </a:cxn>
                <a:cxn ang="0">
                  <a:pos x="connsiteX13973" y="connsiteY13973"/>
                </a:cxn>
                <a:cxn ang="0">
                  <a:pos x="connsiteX13974" y="connsiteY13974"/>
                </a:cxn>
                <a:cxn ang="0">
                  <a:pos x="connsiteX13975" y="connsiteY13975"/>
                </a:cxn>
                <a:cxn ang="0">
                  <a:pos x="connsiteX13976" y="connsiteY13976"/>
                </a:cxn>
                <a:cxn ang="0">
                  <a:pos x="connsiteX13977" y="connsiteY13977"/>
                </a:cxn>
                <a:cxn ang="0">
                  <a:pos x="connsiteX13978" y="connsiteY13978"/>
                </a:cxn>
                <a:cxn ang="0">
                  <a:pos x="connsiteX13979" y="connsiteY13979"/>
                </a:cxn>
                <a:cxn ang="0">
                  <a:pos x="connsiteX13980" y="connsiteY13980"/>
                </a:cxn>
                <a:cxn ang="0">
                  <a:pos x="connsiteX13981" y="connsiteY13981"/>
                </a:cxn>
                <a:cxn ang="0">
                  <a:pos x="connsiteX13982" y="connsiteY13982"/>
                </a:cxn>
                <a:cxn ang="0">
                  <a:pos x="connsiteX13983" y="connsiteY13983"/>
                </a:cxn>
                <a:cxn ang="0">
                  <a:pos x="connsiteX13984" y="connsiteY13984"/>
                </a:cxn>
                <a:cxn ang="0">
                  <a:pos x="connsiteX13985" y="connsiteY13985"/>
                </a:cxn>
                <a:cxn ang="0">
                  <a:pos x="connsiteX13986" y="connsiteY13986"/>
                </a:cxn>
                <a:cxn ang="0">
                  <a:pos x="connsiteX13987" y="connsiteY13987"/>
                </a:cxn>
                <a:cxn ang="0">
                  <a:pos x="connsiteX13988" y="connsiteY13988"/>
                </a:cxn>
                <a:cxn ang="0">
                  <a:pos x="connsiteX13989" y="connsiteY13989"/>
                </a:cxn>
                <a:cxn ang="0">
                  <a:pos x="connsiteX13990" y="connsiteY13990"/>
                </a:cxn>
                <a:cxn ang="0">
                  <a:pos x="connsiteX13991" y="connsiteY13991"/>
                </a:cxn>
                <a:cxn ang="0">
                  <a:pos x="connsiteX13992" y="connsiteY13992"/>
                </a:cxn>
                <a:cxn ang="0">
                  <a:pos x="connsiteX13993" y="connsiteY13993"/>
                </a:cxn>
                <a:cxn ang="0">
                  <a:pos x="connsiteX13994" y="connsiteY13994"/>
                </a:cxn>
                <a:cxn ang="0">
                  <a:pos x="connsiteX13995" y="connsiteY13995"/>
                </a:cxn>
                <a:cxn ang="0">
                  <a:pos x="connsiteX13996" y="connsiteY13996"/>
                </a:cxn>
                <a:cxn ang="0">
                  <a:pos x="connsiteX13997" y="connsiteY13997"/>
                </a:cxn>
                <a:cxn ang="0">
                  <a:pos x="connsiteX13998" y="connsiteY13998"/>
                </a:cxn>
                <a:cxn ang="0">
                  <a:pos x="connsiteX13999" y="connsiteY13999"/>
                </a:cxn>
                <a:cxn ang="0">
                  <a:pos x="connsiteX14000" y="connsiteY14000"/>
                </a:cxn>
                <a:cxn ang="0">
                  <a:pos x="connsiteX14001" y="connsiteY14001"/>
                </a:cxn>
                <a:cxn ang="0">
                  <a:pos x="connsiteX14002" y="connsiteY14002"/>
                </a:cxn>
                <a:cxn ang="0">
                  <a:pos x="connsiteX14003" y="connsiteY14003"/>
                </a:cxn>
                <a:cxn ang="0">
                  <a:pos x="connsiteX14004" y="connsiteY14004"/>
                </a:cxn>
                <a:cxn ang="0">
                  <a:pos x="connsiteX14005" y="connsiteY14005"/>
                </a:cxn>
                <a:cxn ang="0">
                  <a:pos x="connsiteX14006" y="connsiteY14006"/>
                </a:cxn>
                <a:cxn ang="0">
                  <a:pos x="connsiteX14007" y="connsiteY14007"/>
                </a:cxn>
                <a:cxn ang="0">
                  <a:pos x="connsiteX14008" y="connsiteY14008"/>
                </a:cxn>
                <a:cxn ang="0">
                  <a:pos x="connsiteX14009" y="connsiteY14009"/>
                </a:cxn>
                <a:cxn ang="0">
                  <a:pos x="connsiteX14010" y="connsiteY14010"/>
                </a:cxn>
                <a:cxn ang="0">
                  <a:pos x="connsiteX14011" y="connsiteY14011"/>
                </a:cxn>
                <a:cxn ang="0">
                  <a:pos x="connsiteX14012" y="connsiteY14012"/>
                </a:cxn>
                <a:cxn ang="0">
                  <a:pos x="connsiteX14013" y="connsiteY14013"/>
                </a:cxn>
                <a:cxn ang="0">
                  <a:pos x="connsiteX14014" y="connsiteY14014"/>
                </a:cxn>
                <a:cxn ang="0">
                  <a:pos x="connsiteX14015" y="connsiteY14015"/>
                </a:cxn>
                <a:cxn ang="0">
                  <a:pos x="connsiteX14016" y="connsiteY14016"/>
                </a:cxn>
                <a:cxn ang="0">
                  <a:pos x="connsiteX14017" y="connsiteY14017"/>
                </a:cxn>
                <a:cxn ang="0">
                  <a:pos x="connsiteX14018" y="connsiteY14018"/>
                </a:cxn>
                <a:cxn ang="0">
                  <a:pos x="connsiteX14019" y="connsiteY14019"/>
                </a:cxn>
                <a:cxn ang="0">
                  <a:pos x="connsiteX14020" y="connsiteY14020"/>
                </a:cxn>
                <a:cxn ang="0">
                  <a:pos x="connsiteX14021" y="connsiteY14021"/>
                </a:cxn>
                <a:cxn ang="0">
                  <a:pos x="connsiteX14022" y="connsiteY14022"/>
                </a:cxn>
                <a:cxn ang="0">
                  <a:pos x="connsiteX14023" y="connsiteY14023"/>
                </a:cxn>
                <a:cxn ang="0">
                  <a:pos x="connsiteX14024" y="connsiteY14024"/>
                </a:cxn>
                <a:cxn ang="0">
                  <a:pos x="connsiteX14025" y="connsiteY14025"/>
                </a:cxn>
                <a:cxn ang="0">
                  <a:pos x="connsiteX14026" y="connsiteY14026"/>
                </a:cxn>
                <a:cxn ang="0">
                  <a:pos x="connsiteX14027" y="connsiteY14027"/>
                </a:cxn>
                <a:cxn ang="0">
                  <a:pos x="connsiteX14028" y="connsiteY14028"/>
                </a:cxn>
                <a:cxn ang="0">
                  <a:pos x="connsiteX14029" y="connsiteY14029"/>
                </a:cxn>
                <a:cxn ang="0">
                  <a:pos x="connsiteX14030" y="connsiteY14030"/>
                </a:cxn>
                <a:cxn ang="0">
                  <a:pos x="connsiteX14031" y="connsiteY14031"/>
                </a:cxn>
                <a:cxn ang="0">
                  <a:pos x="connsiteX14032" y="connsiteY14032"/>
                </a:cxn>
                <a:cxn ang="0">
                  <a:pos x="connsiteX14033" y="connsiteY14033"/>
                </a:cxn>
                <a:cxn ang="0">
                  <a:pos x="connsiteX14034" y="connsiteY14034"/>
                </a:cxn>
                <a:cxn ang="0">
                  <a:pos x="connsiteX14035" y="connsiteY14035"/>
                </a:cxn>
                <a:cxn ang="0">
                  <a:pos x="connsiteX14036" y="connsiteY14036"/>
                </a:cxn>
                <a:cxn ang="0">
                  <a:pos x="connsiteX14037" y="connsiteY14037"/>
                </a:cxn>
                <a:cxn ang="0">
                  <a:pos x="connsiteX14038" y="connsiteY14038"/>
                </a:cxn>
                <a:cxn ang="0">
                  <a:pos x="connsiteX14039" y="connsiteY14039"/>
                </a:cxn>
                <a:cxn ang="0">
                  <a:pos x="connsiteX14040" y="connsiteY14040"/>
                </a:cxn>
                <a:cxn ang="0">
                  <a:pos x="connsiteX14041" y="connsiteY14041"/>
                </a:cxn>
                <a:cxn ang="0">
                  <a:pos x="connsiteX14042" y="connsiteY14042"/>
                </a:cxn>
                <a:cxn ang="0">
                  <a:pos x="connsiteX14043" y="connsiteY14043"/>
                </a:cxn>
                <a:cxn ang="0">
                  <a:pos x="connsiteX14044" y="connsiteY14044"/>
                </a:cxn>
                <a:cxn ang="0">
                  <a:pos x="connsiteX14045" y="connsiteY14045"/>
                </a:cxn>
                <a:cxn ang="0">
                  <a:pos x="connsiteX14046" y="connsiteY14046"/>
                </a:cxn>
                <a:cxn ang="0">
                  <a:pos x="connsiteX14047" y="connsiteY14047"/>
                </a:cxn>
                <a:cxn ang="0">
                  <a:pos x="connsiteX14048" y="connsiteY14048"/>
                </a:cxn>
                <a:cxn ang="0">
                  <a:pos x="connsiteX14049" y="connsiteY14049"/>
                </a:cxn>
                <a:cxn ang="0">
                  <a:pos x="connsiteX14050" y="connsiteY14050"/>
                </a:cxn>
                <a:cxn ang="0">
                  <a:pos x="connsiteX14051" y="connsiteY14051"/>
                </a:cxn>
                <a:cxn ang="0">
                  <a:pos x="connsiteX14052" y="connsiteY14052"/>
                </a:cxn>
                <a:cxn ang="0">
                  <a:pos x="connsiteX14053" y="connsiteY14053"/>
                </a:cxn>
                <a:cxn ang="0">
                  <a:pos x="connsiteX14054" y="connsiteY14054"/>
                </a:cxn>
                <a:cxn ang="0">
                  <a:pos x="connsiteX14055" y="connsiteY14055"/>
                </a:cxn>
                <a:cxn ang="0">
                  <a:pos x="connsiteX14056" y="connsiteY14056"/>
                </a:cxn>
                <a:cxn ang="0">
                  <a:pos x="connsiteX14057" y="connsiteY14057"/>
                </a:cxn>
                <a:cxn ang="0">
                  <a:pos x="connsiteX14058" y="connsiteY14058"/>
                </a:cxn>
                <a:cxn ang="0">
                  <a:pos x="connsiteX14059" y="connsiteY14059"/>
                </a:cxn>
                <a:cxn ang="0">
                  <a:pos x="connsiteX14060" y="connsiteY14060"/>
                </a:cxn>
                <a:cxn ang="0">
                  <a:pos x="connsiteX14061" y="connsiteY14061"/>
                </a:cxn>
                <a:cxn ang="0">
                  <a:pos x="connsiteX14062" y="connsiteY14062"/>
                </a:cxn>
                <a:cxn ang="0">
                  <a:pos x="connsiteX14063" y="connsiteY14063"/>
                </a:cxn>
                <a:cxn ang="0">
                  <a:pos x="connsiteX14064" y="connsiteY14064"/>
                </a:cxn>
                <a:cxn ang="0">
                  <a:pos x="connsiteX14065" y="connsiteY14065"/>
                </a:cxn>
                <a:cxn ang="0">
                  <a:pos x="connsiteX14066" y="connsiteY14066"/>
                </a:cxn>
                <a:cxn ang="0">
                  <a:pos x="connsiteX14067" y="connsiteY14067"/>
                </a:cxn>
                <a:cxn ang="0">
                  <a:pos x="connsiteX14068" y="connsiteY14068"/>
                </a:cxn>
                <a:cxn ang="0">
                  <a:pos x="connsiteX14069" y="connsiteY14069"/>
                </a:cxn>
                <a:cxn ang="0">
                  <a:pos x="connsiteX14070" y="connsiteY14070"/>
                </a:cxn>
                <a:cxn ang="0">
                  <a:pos x="connsiteX14071" y="connsiteY14071"/>
                </a:cxn>
                <a:cxn ang="0">
                  <a:pos x="connsiteX14072" y="connsiteY14072"/>
                </a:cxn>
                <a:cxn ang="0">
                  <a:pos x="connsiteX14073" y="connsiteY14073"/>
                </a:cxn>
                <a:cxn ang="0">
                  <a:pos x="connsiteX14074" y="connsiteY14074"/>
                </a:cxn>
                <a:cxn ang="0">
                  <a:pos x="connsiteX14075" y="connsiteY14075"/>
                </a:cxn>
                <a:cxn ang="0">
                  <a:pos x="connsiteX14076" y="connsiteY14076"/>
                </a:cxn>
                <a:cxn ang="0">
                  <a:pos x="connsiteX14077" y="connsiteY14077"/>
                </a:cxn>
                <a:cxn ang="0">
                  <a:pos x="connsiteX14078" y="connsiteY14078"/>
                </a:cxn>
                <a:cxn ang="0">
                  <a:pos x="connsiteX14079" y="connsiteY14079"/>
                </a:cxn>
                <a:cxn ang="0">
                  <a:pos x="connsiteX14080" y="connsiteY14080"/>
                </a:cxn>
                <a:cxn ang="0">
                  <a:pos x="connsiteX14081" y="connsiteY14081"/>
                </a:cxn>
                <a:cxn ang="0">
                  <a:pos x="connsiteX14082" y="connsiteY14082"/>
                </a:cxn>
                <a:cxn ang="0">
                  <a:pos x="connsiteX14083" y="connsiteY14083"/>
                </a:cxn>
                <a:cxn ang="0">
                  <a:pos x="connsiteX14084" y="connsiteY14084"/>
                </a:cxn>
                <a:cxn ang="0">
                  <a:pos x="connsiteX14085" y="connsiteY14085"/>
                </a:cxn>
                <a:cxn ang="0">
                  <a:pos x="connsiteX14086" y="connsiteY14086"/>
                </a:cxn>
                <a:cxn ang="0">
                  <a:pos x="connsiteX14087" y="connsiteY14087"/>
                </a:cxn>
                <a:cxn ang="0">
                  <a:pos x="connsiteX14088" y="connsiteY14088"/>
                </a:cxn>
                <a:cxn ang="0">
                  <a:pos x="connsiteX14089" y="connsiteY14089"/>
                </a:cxn>
                <a:cxn ang="0">
                  <a:pos x="connsiteX14090" y="connsiteY14090"/>
                </a:cxn>
                <a:cxn ang="0">
                  <a:pos x="connsiteX14091" y="connsiteY14091"/>
                </a:cxn>
                <a:cxn ang="0">
                  <a:pos x="connsiteX14092" y="connsiteY14092"/>
                </a:cxn>
                <a:cxn ang="0">
                  <a:pos x="connsiteX14093" y="connsiteY14093"/>
                </a:cxn>
                <a:cxn ang="0">
                  <a:pos x="connsiteX14094" y="connsiteY14094"/>
                </a:cxn>
                <a:cxn ang="0">
                  <a:pos x="connsiteX14095" y="connsiteY14095"/>
                </a:cxn>
                <a:cxn ang="0">
                  <a:pos x="connsiteX14096" y="connsiteY14096"/>
                </a:cxn>
                <a:cxn ang="0">
                  <a:pos x="connsiteX14097" y="connsiteY14097"/>
                </a:cxn>
                <a:cxn ang="0">
                  <a:pos x="connsiteX14098" y="connsiteY14098"/>
                </a:cxn>
                <a:cxn ang="0">
                  <a:pos x="connsiteX14099" y="connsiteY14099"/>
                </a:cxn>
                <a:cxn ang="0">
                  <a:pos x="connsiteX14100" y="connsiteY14100"/>
                </a:cxn>
                <a:cxn ang="0">
                  <a:pos x="connsiteX14101" y="connsiteY14101"/>
                </a:cxn>
                <a:cxn ang="0">
                  <a:pos x="connsiteX14102" y="connsiteY14102"/>
                </a:cxn>
                <a:cxn ang="0">
                  <a:pos x="connsiteX14103" y="connsiteY14103"/>
                </a:cxn>
                <a:cxn ang="0">
                  <a:pos x="connsiteX14104" y="connsiteY14104"/>
                </a:cxn>
                <a:cxn ang="0">
                  <a:pos x="connsiteX14105" y="connsiteY14105"/>
                </a:cxn>
                <a:cxn ang="0">
                  <a:pos x="connsiteX14106" y="connsiteY14106"/>
                </a:cxn>
                <a:cxn ang="0">
                  <a:pos x="connsiteX14107" y="connsiteY14107"/>
                </a:cxn>
                <a:cxn ang="0">
                  <a:pos x="connsiteX14108" y="connsiteY14108"/>
                </a:cxn>
                <a:cxn ang="0">
                  <a:pos x="connsiteX14109" y="connsiteY14109"/>
                </a:cxn>
                <a:cxn ang="0">
                  <a:pos x="connsiteX14110" y="connsiteY14110"/>
                </a:cxn>
                <a:cxn ang="0">
                  <a:pos x="connsiteX14111" y="connsiteY14111"/>
                </a:cxn>
                <a:cxn ang="0">
                  <a:pos x="connsiteX14112" y="connsiteY14112"/>
                </a:cxn>
                <a:cxn ang="0">
                  <a:pos x="connsiteX14113" y="connsiteY14113"/>
                </a:cxn>
                <a:cxn ang="0">
                  <a:pos x="connsiteX14114" y="connsiteY14114"/>
                </a:cxn>
                <a:cxn ang="0">
                  <a:pos x="connsiteX14115" y="connsiteY14115"/>
                </a:cxn>
                <a:cxn ang="0">
                  <a:pos x="connsiteX14116" y="connsiteY14116"/>
                </a:cxn>
                <a:cxn ang="0">
                  <a:pos x="connsiteX14117" y="connsiteY14117"/>
                </a:cxn>
                <a:cxn ang="0">
                  <a:pos x="connsiteX14118" y="connsiteY14118"/>
                </a:cxn>
                <a:cxn ang="0">
                  <a:pos x="connsiteX14119" y="connsiteY14119"/>
                </a:cxn>
                <a:cxn ang="0">
                  <a:pos x="connsiteX14120" y="connsiteY14120"/>
                </a:cxn>
                <a:cxn ang="0">
                  <a:pos x="connsiteX14121" y="connsiteY14121"/>
                </a:cxn>
                <a:cxn ang="0">
                  <a:pos x="connsiteX14122" y="connsiteY14122"/>
                </a:cxn>
                <a:cxn ang="0">
                  <a:pos x="connsiteX14123" y="connsiteY14123"/>
                </a:cxn>
                <a:cxn ang="0">
                  <a:pos x="connsiteX14124" y="connsiteY14124"/>
                </a:cxn>
                <a:cxn ang="0">
                  <a:pos x="connsiteX14125" y="connsiteY14125"/>
                </a:cxn>
                <a:cxn ang="0">
                  <a:pos x="connsiteX14126" y="connsiteY14126"/>
                </a:cxn>
                <a:cxn ang="0">
                  <a:pos x="connsiteX14127" y="connsiteY14127"/>
                </a:cxn>
                <a:cxn ang="0">
                  <a:pos x="connsiteX14128" y="connsiteY14128"/>
                </a:cxn>
                <a:cxn ang="0">
                  <a:pos x="connsiteX14129" y="connsiteY14129"/>
                </a:cxn>
                <a:cxn ang="0">
                  <a:pos x="connsiteX14130" y="connsiteY14130"/>
                </a:cxn>
                <a:cxn ang="0">
                  <a:pos x="connsiteX14131" y="connsiteY14131"/>
                </a:cxn>
                <a:cxn ang="0">
                  <a:pos x="connsiteX14132" y="connsiteY14132"/>
                </a:cxn>
                <a:cxn ang="0">
                  <a:pos x="connsiteX14133" y="connsiteY14133"/>
                </a:cxn>
                <a:cxn ang="0">
                  <a:pos x="connsiteX14134" y="connsiteY14134"/>
                </a:cxn>
                <a:cxn ang="0">
                  <a:pos x="connsiteX14135" y="connsiteY14135"/>
                </a:cxn>
                <a:cxn ang="0">
                  <a:pos x="connsiteX14136" y="connsiteY14136"/>
                </a:cxn>
                <a:cxn ang="0">
                  <a:pos x="connsiteX14137" y="connsiteY14137"/>
                </a:cxn>
                <a:cxn ang="0">
                  <a:pos x="connsiteX14138" y="connsiteY14138"/>
                </a:cxn>
                <a:cxn ang="0">
                  <a:pos x="connsiteX14139" y="connsiteY14139"/>
                </a:cxn>
                <a:cxn ang="0">
                  <a:pos x="connsiteX14140" y="connsiteY14140"/>
                </a:cxn>
                <a:cxn ang="0">
                  <a:pos x="connsiteX14141" y="connsiteY14141"/>
                </a:cxn>
                <a:cxn ang="0">
                  <a:pos x="connsiteX14142" y="connsiteY14142"/>
                </a:cxn>
                <a:cxn ang="0">
                  <a:pos x="connsiteX14143" y="connsiteY14143"/>
                </a:cxn>
                <a:cxn ang="0">
                  <a:pos x="connsiteX14144" y="connsiteY14144"/>
                </a:cxn>
                <a:cxn ang="0">
                  <a:pos x="connsiteX14145" y="connsiteY14145"/>
                </a:cxn>
                <a:cxn ang="0">
                  <a:pos x="connsiteX14146" y="connsiteY14146"/>
                </a:cxn>
                <a:cxn ang="0">
                  <a:pos x="connsiteX14147" y="connsiteY14147"/>
                </a:cxn>
                <a:cxn ang="0">
                  <a:pos x="connsiteX14148" y="connsiteY14148"/>
                </a:cxn>
                <a:cxn ang="0">
                  <a:pos x="connsiteX14149" y="connsiteY14149"/>
                </a:cxn>
                <a:cxn ang="0">
                  <a:pos x="connsiteX14150" y="connsiteY14150"/>
                </a:cxn>
                <a:cxn ang="0">
                  <a:pos x="connsiteX14151" y="connsiteY14151"/>
                </a:cxn>
                <a:cxn ang="0">
                  <a:pos x="connsiteX14152" y="connsiteY14152"/>
                </a:cxn>
                <a:cxn ang="0">
                  <a:pos x="connsiteX14153" y="connsiteY14153"/>
                </a:cxn>
                <a:cxn ang="0">
                  <a:pos x="connsiteX14154" y="connsiteY14154"/>
                </a:cxn>
                <a:cxn ang="0">
                  <a:pos x="connsiteX14155" y="connsiteY14155"/>
                </a:cxn>
                <a:cxn ang="0">
                  <a:pos x="connsiteX14156" y="connsiteY14156"/>
                </a:cxn>
                <a:cxn ang="0">
                  <a:pos x="connsiteX14157" y="connsiteY14157"/>
                </a:cxn>
                <a:cxn ang="0">
                  <a:pos x="connsiteX14158" y="connsiteY14158"/>
                </a:cxn>
                <a:cxn ang="0">
                  <a:pos x="connsiteX14159" y="connsiteY14159"/>
                </a:cxn>
                <a:cxn ang="0">
                  <a:pos x="connsiteX14160" y="connsiteY14160"/>
                </a:cxn>
                <a:cxn ang="0">
                  <a:pos x="connsiteX14161" y="connsiteY14161"/>
                </a:cxn>
                <a:cxn ang="0">
                  <a:pos x="connsiteX14162" y="connsiteY14162"/>
                </a:cxn>
                <a:cxn ang="0">
                  <a:pos x="connsiteX14163" y="connsiteY14163"/>
                </a:cxn>
                <a:cxn ang="0">
                  <a:pos x="connsiteX14164" y="connsiteY14164"/>
                </a:cxn>
                <a:cxn ang="0">
                  <a:pos x="connsiteX14165" y="connsiteY14165"/>
                </a:cxn>
                <a:cxn ang="0">
                  <a:pos x="connsiteX14166" y="connsiteY14166"/>
                </a:cxn>
                <a:cxn ang="0">
                  <a:pos x="connsiteX14167" y="connsiteY14167"/>
                </a:cxn>
                <a:cxn ang="0">
                  <a:pos x="connsiteX14168" y="connsiteY14168"/>
                </a:cxn>
                <a:cxn ang="0">
                  <a:pos x="connsiteX14169" y="connsiteY14169"/>
                </a:cxn>
                <a:cxn ang="0">
                  <a:pos x="connsiteX14170" y="connsiteY14170"/>
                </a:cxn>
                <a:cxn ang="0">
                  <a:pos x="connsiteX14171" y="connsiteY14171"/>
                </a:cxn>
                <a:cxn ang="0">
                  <a:pos x="connsiteX14172" y="connsiteY14172"/>
                </a:cxn>
                <a:cxn ang="0">
                  <a:pos x="connsiteX14173" y="connsiteY14173"/>
                </a:cxn>
                <a:cxn ang="0">
                  <a:pos x="connsiteX14174" y="connsiteY14174"/>
                </a:cxn>
                <a:cxn ang="0">
                  <a:pos x="connsiteX14175" y="connsiteY14175"/>
                </a:cxn>
                <a:cxn ang="0">
                  <a:pos x="connsiteX14176" y="connsiteY14176"/>
                </a:cxn>
                <a:cxn ang="0">
                  <a:pos x="connsiteX14177" y="connsiteY14177"/>
                </a:cxn>
                <a:cxn ang="0">
                  <a:pos x="connsiteX14178" y="connsiteY14178"/>
                </a:cxn>
                <a:cxn ang="0">
                  <a:pos x="connsiteX14179" y="connsiteY14179"/>
                </a:cxn>
                <a:cxn ang="0">
                  <a:pos x="connsiteX14180" y="connsiteY14180"/>
                </a:cxn>
                <a:cxn ang="0">
                  <a:pos x="connsiteX14181" y="connsiteY14181"/>
                </a:cxn>
                <a:cxn ang="0">
                  <a:pos x="connsiteX14182" y="connsiteY14182"/>
                </a:cxn>
                <a:cxn ang="0">
                  <a:pos x="connsiteX14183" y="connsiteY14183"/>
                </a:cxn>
                <a:cxn ang="0">
                  <a:pos x="connsiteX14184" y="connsiteY14184"/>
                </a:cxn>
                <a:cxn ang="0">
                  <a:pos x="connsiteX14185" y="connsiteY14185"/>
                </a:cxn>
                <a:cxn ang="0">
                  <a:pos x="connsiteX14186" y="connsiteY14186"/>
                </a:cxn>
                <a:cxn ang="0">
                  <a:pos x="connsiteX14187" y="connsiteY14187"/>
                </a:cxn>
                <a:cxn ang="0">
                  <a:pos x="connsiteX14188" y="connsiteY14188"/>
                </a:cxn>
                <a:cxn ang="0">
                  <a:pos x="connsiteX14189" y="connsiteY14189"/>
                </a:cxn>
                <a:cxn ang="0">
                  <a:pos x="connsiteX14190" y="connsiteY14190"/>
                </a:cxn>
                <a:cxn ang="0">
                  <a:pos x="connsiteX14191" y="connsiteY14191"/>
                </a:cxn>
                <a:cxn ang="0">
                  <a:pos x="connsiteX14192" y="connsiteY14192"/>
                </a:cxn>
                <a:cxn ang="0">
                  <a:pos x="connsiteX14193" y="connsiteY14193"/>
                </a:cxn>
                <a:cxn ang="0">
                  <a:pos x="connsiteX14194" y="connsiteY14194"/>
                </a:cxn>
                <a:cxn ang="0">
                  <a:pos x="connsiteX14195" y="connsiteY14195"/>
                </a:cxn>
                <a:cxn ang="0">
                  <a:pos x="connsiteX14196" y="connsiteY14196"/>
                </a:cxn>
                <a:cxn ang="0">
                  <a:pos x="connsiteX14197" y="connsiteY14197"/>
                </a:cxn>
                <a:cxn ang="0">
                  <a:pos x="connsiteX14198" y="connsiteY14198"/>
                </a:cxn>
                <a:cxn ang="0">
                  <a:pos x="connsiteX14199" y="connsiteY14199"/>
                </a:cxn>
                <a:cxn ang="0">
                  <a:pos x="connsiteX14200" y="connsiteY14200"/>
                </a:cxn>
                <a:cxn ang="0">
                  <a:pos x="connsiteX14201" y="connsiteY14201"/>
                </a:cxn>
                <a:cxn ang="0">
                  <a:pos x="connsiteX14202" y="connsiteY14202"/>
                </a:cxn>
                <a:cxn ang="0">
                  <a:pos x="connsiteX14203" y="connsiteY14203"/>
                </a:cxn>
                <a:cxn ang="0">
                  <a:pos x="connsiteX14204" y="connsiteY14204"/>
                </a:cxn>
                <a:cxn ang="0">
                  <a:pos x="connsiteX14205" y="connsiteY14205"/>
                </a:cxn>
                <a:cxn ang="0">
                  <a:pos x="connsiteX14206" y="connsiteY14206"/>
                </a:cxn>
                <a:cxn ang="0">
                  <a:pos x="connsiteX14207" y="connsiteY14207"/>
                </a:cxn>
                <a:cxn ang="0">
                  <a:pos x="connsiteX14208" y="connsiteY14208"/>
                </a:cxn>
                <a:cxn ang="0">
                  <a:pos x="connsiteX14209" y="connsiteY14209"/>
                </a:cxn>
                <a:cxn ang="0">
                  <a:pos x="connsiteX14210" y="connsiteY14210"/>
                </a:cxn>
                <a:cxn ang="0">
                  <a:pos x="connsiteX14211" y="connsiteY14211"/>
                </a:cxn>
                <a:cxn ang="0">
                  <a:pos x="connsiteX14212" y="connsiteY14212"/>
                </a:cxn>
                <a:cxn ang="0">
                  <a:pos x="connsiteX14213" y="connsiteY14213"/>
                </a:cxn>
                <a:cxn ang="0">
                  <a:pos x="connsiteX14214" y="connsiteY14214"/>
                </a:cxn>
                <a:cxn ang="0">
                  <a:pos x="connsiteX14215" y="connsiteY14215"/>
                </a:cxn>
                <a:cxn ang="0">
                  <a:pos x="connsiteX14216" y="connsiteY14216"/>
                </a:cxn>
                <a:cxn ang="0">
                  <a:pos x="connsiteX14217" y="connsiteY14217"/>
                </a:cxn>
                <a:cxn ang="0">
                  <a:pos x="connsiteX14218" y="connsiteY14218"/>
                </a:cxn>
                <a:cxn ang="0">
                  <a:pos x="connsiteX14219" y="connsiteY14219"/>
                </a:cxn>
                <a:cxn ang="0">
                  <a:pos x="connsiteX14220" y="connsiteY14220"/>
                </a:cxn>
                <a:cxn ang="0">
                  <a:pos x="connsiteX14221" y="connsiteY14221"/>
                </a:cxn>
                <a:cxn ang="0">
                  <a:pos x="connsiteX14222" y="connsiteY14222"/>
                </a:cxn>
                <a:cxn ang="0">
                  <a:pos x="connsiteX14223" y="connsiteY14223"/>
                </a:cxn>
                <a:cxn ang="0">
                  <a:pos x="connsiteX14224" y="connsiteY14224"/>
                </a:cxn>
                <a:cxn ang="0">
                  <a:pos x="connsiteX14225" y="connsiteY14225"/>
                </a:cxn>
                <a:cxn ang="0">
                  <a:pos x="connsiteX14226" y="connsiteY14226"/>
                </a:cxn>
                <a:cxn ang="0">
                  <a:pos x="connsiteX14227" y="connsiteY14227"/>
                </a:cxn>
                <a:cxn ang="0">
                  <a:pos x="connsiteX14228" y="connsiteY14228"/>
                </a:cxn>
                <a:cxn ang="0">
                  <a:pos x="connsiteX14229" y="connsiteY14229"/>
                </a:cxn>
                <a:cxn ang="0">
                  <a:pos x="connsiteX14230" y="connsiteY14230"/>
                </a:cxn>
                <a:cxn ang="0">
                  <a:pos x="connsiteX14231" y="connsiteY14231"/>
                </a:cxn>
                <a:cxn ang="0">
                  <a:pos x="connsiteX14232" y="connsiteY14232"/>
                </a:cxn>
                <a:cxn ang="0">
                  <a:pos x="connsiteX14233" y="connsiteY14233"/>
                </a:cxn>
                <a:cxn ang="0">
                  <a:pos x="connsiteX14234" y="connsiteY14234"/>
                </a:cxn>
                <a:cxn ang="0">
                  <a:pos x="connsiteX14235" y="connsiteY14235"/>
                </a:cxn>
                <a:cxn ang="0">
                  <a:pos x="connsiteX14236" y="connsiteY14236"/>
                </a:cxn>
                <a:cxn ang="0">
                  <a:pos x="connsiteX14237" y="connsiteY14237"/>
                </a:cxn>
                <a:cxn ang="0">
                  <a:pos x="connsiteX14238" y="connsiteY14238"/>
                </a:cxn>
                <a:cxn ang="0">
                  <a:pos x="connsiteX14239" y="connsiteY14239"/>
                </a:cxn>
                <a:cxn ang="0">
                  <a:pos x="connsiteX14240" y="connsiteY14240"/>
                </a:cxn>
                <a:cxn ang="0">
                  <a:pos x="connsiteX14241" y="connsiteY14241"/>
                </a:cxn>
                <a:cxn ang="0">
                  <a:pos x="connsiteX14242" y="connsiteY14242"/>
                </a:cxn>
                <a:cxn ang="0">
                  <a:pos x="connsiteX14243" y="connsiteY14243"/>
                </a:cxn>
                <a:cxn ang="0">
                  <a:pos x="connsiteX14244" y="connsiteY14244"/>
                </a:cxn>
                <a:cxn ang="0">
                  <a:pos x="connsiteX14245" y="connsiteY14245"/>
                </a:cxn>
                <a:cxn ang="0">
                  <a:pos x="connsiteX14246" y="connsiteY14246"/>
                </a:cxn>
                <a:cxn ang="0">
                  <a:pos x="connsiteX14247" y="connsiteY14247"/>
                </a:cxn>
                <a:cxn ang="0">
                  <a:pos x="connsiteX14248" y="connsiteY14248"/>
                </a:cxn>
                <a:cxn ang="0">
                  <a:pos x="connsiteX14249" y="connsiteY14249"/>
                </a:cxn>
                <a:cxn ang="0">
                  <a:pos x="connsiteX14250" y="connsiteY14250"/>
                </a:cxn>
                <a:cxn ang="0">
                  <a:pos x="connsiteX14251" y="connsiteY14251"/>
                </a:cxn>
                <a:cxn ang="0">
                  <a:pos x="connsiteX14252" y="connsiteY14252"/>
                </a:cxn>
                <a:cxn ang="0">
                  <a:pos x="connsiteX14253" y="connsiteY14253"/>
                </a:cxn>
                <a:cxn ang="0">
                  <a:pos x="connsiteX14254" y="connsiteY14254"/>
                </a:cxn>
                <a:cxn ang="0">
                  <a:pos x="connsiteX14255" y="connsiteY14255"/>
                </a:cxn>
                <a:cxn ang="0">
                  <a:pos x="connsiteX14256" y="connsiteY14256"/>
                </a:cxn>
                <a:cxn ang="0">
                  <a:pos x="connsiteX14257" y="connsiteY14257"/>
                </a:cxn>
                <a:cxn ang="0">
                  <a:pos x="connsiteX14258" y="connsiteY14258"/>
                </a:cxn>
                <a:cxn ang="0">
                  <a:pos x="connsiteX14259" y="connsiteY14259"/>
                </a:cxn>
                <a:cxn ang="0">
                  <a:pos x="connsiteX14260" y="connsiteY14260"/>
                </a:cxn>
                <a:cxn ang="0">
                  <a:pos x="connsiteX14261" y="connsiteY14261"/>
                </a:cxn>
                <a:cxn ang="0">
                  <a:pos x="connsiteX14262" y="connsiteY14262"/>
                </a:cxn>
                <a:cxn ang="0">
                  <a:pos x="connsiteX14263" y="connsiteY14263"/>
                </a:cxn>
                <a:cxn ang="0">
                  <a:pos x="connsiteX14264" y="connsiteY14264"/>
                </a:cxn>
                <a:cxn ang="0">
                  <a:pos x="connsiteX14265" y="connsiteY14265"/>
                </a:cxn>
                <a:cxn ang="0">
                  <a:pos x="connsiteX14266" y="connsiteY14266"/>
                </a:cxn>
                <a:cxn ang="0">
                  <a:pos x="connsiteX14267" y="connsiteY14267"/>
                </a:cxn>
                <a:cxn ang="0">
                  <a:pos x="connsiteX14268" y="connsiteY14268"/>
                </a:cxn>
                <a:cxn ang="0">
                  <a:pos x="connsiteX14269" y="connsiteY14269"/>
                </a:cxn>
                <a:cxn ang="0">
                  <a:pos x="connsiteX14270" y="connsiteY14270"/>
                </a:cxn>
                <a:cxn ang="0">
                  <a:pos x="connsiteX14271" y="connsiteY14271"/>
                </a:cxn>
                <a:cxn ang="0">
                  <a:pos x="connsiteX14272" y="connsiteY14272"/>
                </a:cxn>
                <a:cxn ang="0">
                  <a:pos x="connsiteX14273" y="connsiteY14273"/>
                </a:cxn>
                <a:cxn ang="0">
                  <a:pos x="connsiteX14274" y="connsiteY14274"/>
                </a:cxn>
                <a:cxn ang="0">
                  <a:pos x="connsiteX14275" y="connsiteY14275"/>
                </a:cxn>
                <a:cxn ang="0">
                  <a:pos x="connsiteX14276" y="connsiteY14276"/>
                </a:cxn>
                <a:cxn ang="0">
                  <a:pos x="connsiteX14277" y="connsiteY14277"/>
                </a:cxn>
                <a:cxn ang="0">
                  <a:pos x="connsiteX14278" y="connsiteY14278"/>
                </a:cxn>
                <a:cxn ang="0">
                  <a:pos x="connsiteX14279" y="connsiteY14279"/>
                </a:cxn>
                <a:cxn ang="0">
                  <a:pos x="connsiteX14280" y="connsiteY14280"/>
                </a:cxn>
                <a:cxn ang="0">
                  <a:pos x="connsiteX14281" y="connsiteY14281"/>
                </a:cxn>
                <a:cxn ang="0">
                  <a:pos x="connsiteX14282" y="connsiteY14282"/>
                </a:cxn>
                <a:cxn ang="0">
                  <a:pos x="connsiteX14283" y="connsiteY14283"/>
                </a:cxn>
                <a:cxn ang="0">
                  <a:pos x="connsiteX14284" y="connsiteY14284"/>
                </a:cxn>
                <a:cxn ang="0">
                  <a:pos x="connsiteX14285" y="connsiteY14285"/>
                </a:cxn>
                <a:cxn ang="0">
                  <a:pos x="connsiteX14286" y="connsiteY14286"/>
                </a:cxn>
                <a:cxn ang="0">
                  <a:pos x="connsiteX14287" y="connsiteY14287"/>
                </a:cxn>
                <a:cxn ang="0">
                  <a:pos x="connsiteX14288" y="connsiteY14288"/>
                </a:cxn>
                <a:cxn ang="0">
                  <a:pos x="connsiteX14289" y="connsiteY14289"/>
                </a:cxn>
                <a:cxn ang="0">
                  <a:pos x="connsiteX14290" y="connsiteY14290"/>
                </a:cxn>
                <a:cxn ang="0">
                  <a:pos x="connsiteX14291" y="connsiteY14291"/>
                </a:cxn>
                <a:cxn ang="0">
                  <a:pos x="connsiteX14292" y="connsiteY14292"/>
                </a:cxn>
                <a:cxn ang="0">
                  <a:pos x="connsiteX14293" y="connsiteY14293"/>
                </a:cxn>
                <a:cxn ang="0">
                  <a:pos x="connsiteX14294" y="connsiteY14294"/>
                </a:cxn>
                <a:cxn ang="0">
                  <a:pos x="connsiteX14295" y="connsiteY14295"/>
                </a:cxn>
                <a:cxn ang="0">
                  <a:pos x="connsiteX14296" y="connsiteY14296"/>
                </a:cxn>
                <a:cxn ang="0">
                  <a:pos x="connsiteX14297" y="connsiteY14297"/>
                </a:cxn>
                <a:cxn ang="0">
                  <a:pos x="connsiteX14298" y="connsiteY14298"/>
                </a:cxn>
                <a:cxn ang="0">
                  <a:pos x="connsiteX14299" y="connsiteY14299"/>
                </a:cxn>
                <a:cxn ang="0">
                  <a:pos x="connsiteX14300" y="connsiteY14300"/>
                </a:cxn>
                <a:cxn ang="0">
                  <a:pos x="connsiteX14301" y="connsiteY14301"/>
                </a:cxn>
                <a:cxn ang="0">
                  <a:pos x="connsiteX14302" y="connsiteY14302"/>
                </a:cxn>
                <a:cxn ang="0">
                  <a:pos x="connsiteX14303" y="connsiteY14303"/>
                </a:cxn>
                <a:cxn ang="0">
                  <a:pos x="connsiteX14304" y="connsiteY14304"/>
                </a:cxn>
                <a:cxn ang="0">
                  <a:pos x="connsiteX14305" y="connsiteY14305"/>
                </a:cxn>
                <a:cxn ang="0">
                  <a:pos x="connsiteX14306" y="connsiteY14306"/>
                </a:cxn>
                <a:cxn ang="0">
                  <a:pos x="connsiteX14307" y="connsiteY14307"/>
                </a:cxn>
                <a:cxn ang="0">
                  <a:pos x="connsiteX14308" y="connsiteY14308"/>
                </a:cxn>
                <a:cxn ang="0">
                  <a:pos x="connsiteX14309" y="connsiteY14309"/>
                </a:cxn>
                <a:cxn ang="0">
                  <a:pos x="connsiteX14310" y="connsiteY14310"/>
                </a:cxn>
                <a:cxn ang="0">
                  <a:pos x="connsiteX14311" y="connsiteY14311"/>
                </a:cxn>
                <a:cxn ang="0">
                  <a:pos x="connsiteX14312" y="connsiteY14312"/>
                </a:cxn>
                <a:cxn ang="0">
                  <a:pos x="connsiteX14313" y="connsiteY14313"/>
                </a:cxn>
                <a:cxn ang="0">
                  <a:pos x="connsiteX14314" y="connsiteY14314"/>
                </a:cxn>
                <a:cxn ang="0">
                  <a:pos x="connsiteX14315" y="connsiteY14315"/>
                </a:cxn>
                <a:cxn ang="0">
                  <a:pos x="connsiteX14316" y="connsiteY14316"/>
                </a:cxn>
                <a:cxn ang="0">
                  <a:pos x="connsiteX14317" y="connsiteY14317"/>
                </a:cxn>
                <a:cxn ang="0">
                  <a:pos x="connsiteX14318" y="connsiteY14318"/>
                </a:cxn>
                <a:cxn ang="0">
                  <a:pos x="connsiteX14319" y="connsiteY14319"/>
                </a:cxn>
                <a:cxn ang="0">
                  <a:pos x="connsiteX14320" y="connsiteY14320"/>
                </a:cxn>
                <a:cxn ang="0">
                  <a:pos x="connsiteX14321" y="connsiteY14321"/>
                </a:cxn>
                <a:cxn ang="0">
                  <a:pos x="connsiteX14322" y="connsiteY14322"/>
                </a:cxn>
                <a:cxn ang="0">
                  <a:pos x="connsiteX14323" y="connsiteY14323"/>
                </a:cxn>
                <a:cxn ang="0">
                  <a:pos x="connsiteX14324" y="connsiteY14324"/>
                </a:cxn>
                <a:cxn ang="0">
                  <a:pos x="connsiteX14325" y="connsiteY14325"/>
                </a:cxn>
                <a:cxn ang="0">
                  <a:pos x="connsiteX14326" y="connsiteY14326"/>
                </a:cxn>
                <a:cxn ang="0">
                  <a:pos x="connsiteX14327" y="connsiteY14327"/>
                </a:cxn>
                <a:cxn ang="0">
                  <a:pos x="connsiteX14328" y="connsiteY14328"/>
                </a:cxn>
                <a:cxn ang="0">
                  <a:pos x="connsiteX14329" y="connsiteY14329"/>
                </a:cxn>
                <a:cxn ang="0">
                  <a:pos x="connsiteX14330" y="connsiteY14330"/>
                </a:cxn>
                <a:cxn ang="0">
                  <a:pos x="connsiteX14331" y="connsiteY14331"/>
                </a:cxn>
                <a:cxn ang="0">
                  <a:pos x="connsiteX14332" y="connsiteY14332"/>
                </a:cxn>
                <a:cxn ang="0">
                  <a:pos x="connsiteX14333" y="connsiteY14333"/>
                </a:cxn>
                <a:cxn ang="0">
                  <a:pos x="connsiteX14334" y="connsiteY14334"/>
                </a:cxn>
                <a:cxn ang="0">
                  <a:pos x="connsiteX14335" y="connsiteY14335"/>
                </a:cxn>
                <a:cxn ang="0">
                  <a:pos x="connsiteX14336" y="connsiteY14336"/>
                </a:cxn>
                <a:cxn ang="0">
                  <a:pos x="connsiteX14337" y="connsiteY14337"/>
                </a:cxn>
                <a:cxn ang="0">
                  <a:pos x="connsiteX14338" y="connsiteY14338"/>
                </a:cxn>
                <a:cxn ang="0">
                  <a:pos x="connsiteX14339" y="connsiteY14339"/>
                </a:cxn>
                <a:cxn ang="0">
                  <a:pos x="connsiteX14340" y="connsiteY14340"/>
                </a:cxn>
                <a:cxn ang="0">
                  <a:pos x="connsiteX14341" y="connsiteY14341"/>
                </a:cxn>
                <a:cxn ang="0">
                  <a:pos x="connsiteX14342" y="connsiteY14342"/>
                </a:cxn>
                <a:cxn ang="0">
                  <a:pos x="connsiteX14343" y="connsiteY14343"/>
                </a:cxn>
                <a:cxn ang="0">
                  <a:pos x="connsiteX14344" y="connsiteY14344"/>
                </a:cxn>
                <a:cxn ang="0">
                  <a:pos x="connsiteX14345" y="connsiteY14345"/>
                </a:cxn>
                <a:cxn ang="0">
                  <a:pos x="connsiteX14346" y="connsiteY14346"/>
                </a:cxn>
                <a:cxn ang="0">
                  <a:pos x="connsiteX14347" y="connsiteY14347"/>
                </a:cxn>
                <a:cxn ang="0">
                  <a:pos x="connsiteX14348" y="connsiteY14348"/>
                </a:cxn>
                <a:cxn ang="0">
                  <a:pos x="connsiteX14349" y="connsiteY14349"/>
                </a:cxn>
                <a:cxn ang="0">
                  <a:pos x="connsiteX14350" y="connsiteY14350"/>
                </a:cxn>
                <a:cxn ang="0">
                  <a:pos x="connsiteX14351" y="connsiteY14351"/>
                </a:cxn>
                <a:cxn ang="0">
                  <a:pos x="connsiteX14352" y="connsiteY14352"/>
                </a:cxn>
                <a:cxn ang="0">
                  <a:pos x="connsiteX14353" y="connsiteY14353"/>
                </a:cxn>
                <a:cxn ang="0">
                  <a:pos x="connsiteX14354" y="connsiteY14354"/>
                </a:cxn>
                <a:cxn ang="0">
                  <a:pos x="connsiteX14355" y="connsiteY14355"/>
                </a:cxn>
                <a:cxn ang="0">
                  <a:pos x="connsiteX14356" y="connsiteY14356"/>
                </a:cxn>
                <a:cxn ang="0">
                  <a:pos x="connsiteX14357" y="connsiteY14357"/>
                </a:cxn>
                <a:cxn ang="0">
                  <a:pos x="connsiteX14358" y="connsiteY14358"/>
                </a:cxn>
                <a:cxn ang="0">
                  <a:pos x="connsiteX14359" y="connsiteY14359"/>
                </a:cxn>
                <a:cxn ang="0">
                  <a:pos x="connsiteX14360" y="connsiteY14360"/>
                </a:cxn>
                <a:cxn ang="0">
                  <a:pos x="connsiteX14361" y="connsiteY14361"/>
                </a:cxn>
                <a:cxn ang="0">
                  <a:pos x="connsiteX14362" y="connsiteY14362"/>
                </a:cxn>
                <a:cxn ang="0">
                  <a:pos x="connsiteX14363" y="connsiteY14363"/>
                </a:cxn>
                <a:cxn ang="0">
                  <a:pos x="connsiteX14364" y="connsiteY14364"/>
                </a:cxn>
                <a:cxn ang="0">
                  <a:pos x="connsiteX14365" y="connsiteY14365"/>
                </a:cxn>
                <a:cxn ang="0">
                  <a:pos x="connsiteX14366" y="connsiteY14366"/>
                </a:cxn>
                <a:cxn ang="0">
                  <a:pos x="connsiteX14367" y="connsiteY14367"/>
                </a:cxn>
                <a:cxn ang="0">
                  <a:pos x="connsiteX14368" y="connsiteY14368"/>
                </a:cxn>
                <a:cxn ang="0">
                  <a:pos x="connsiteX14369" y="connsiteY14369"/>
                </a:cxn>
                <a:cxn ang="0">
                  <a:pos x="connsiteX14370" y="connsiteY14370"/>
                </a:cxn>
                <a:cxn ang="0">
                  <a:pos x="connsiteX14371" y="connsiteY14371"/>
                </a:cxn>
                <a:cxn ang="0">
                  <a:pos x="connsiteX14372" y="connsiteY14372"/>
                </a:cxn>
                <a:cxn ang="0">
                  <a:pos x="connsiteX14373" y="connsiteY14373"/>
                </a:cxn>
                <a:cxn ang="0">
                  <a:pos x="connsiteX14374" y="connsiteY14374"/>
                </a:cxn>
                <a:cxn ang="0">
                  <a:pos x="connsiteX14375" y="connsiteY14375"/>
                </a:cxn>
                <a:cxn ang="0">
                  <a:pos x="connsiteX14376" y="connsiteY14376"/>
                </a:cxn>
                <a:cxn ang="0">
                  <a:pos x="connsiteX14377" y="connsiteY14377"/>
                </a:cxn>
                <a:cxn ang="0">
                  <a:pos x="connsiteX14378" y="connsiteY14378"/>
                </a:cxn>
                <a:cxn ang="0">
                  <a:pos x="connsiteX14379" y="connsiteY14379"/>
                </a:cxn>
                <a:cxn ang="0">
                  <a:pos x="connsiteX14380" y="connsiteY14380"/>
                </a:cxn>
                <a:cxn ang="0">
                  <a:pos x="connsiteX14381" y="connsiteY14381"/>
                </a:cxn>
                <a:cxn ang="0">
                  <a:pos x="connsiteX14382" y="connsiteY14382"/>
                </a:cxn>
                <a:cxn ang="0">
                  <a:pos x="connsiteX14383" y="connsiteY14383"/>
                </a:cxn>
                <a:cxn ang="0">
                  <a:pos x="connsiteX14384" y="connsiteY14384"/>
                </a:cxn>
                <a:cxn ang="0">
                  <a:pos x="connsiteX14385" y="connsiteY14385"/>
                </a:cxn>
                <a:cxn ang="0">
                  <a:pos x="connsiteX14386" y="connsiteY14386"/>
                </a:cxn>
                <a:cxn ang="0">
                  <a:pos x="connsiteX14387" y="connsiteY14387"/>
                </a:cxn>
                <a:cxn ang="0">
                  <a:pos x="connsiteX14388" y="connsiteY14388"/>
                </a:cxn>
                <a:cxn ang="0">
                  <a:pos x="connsiteX14389" y="connsiteY14389"/>
                </a:cxn>
                <a:cxn ang="0">
                  <a:pos x="connsiteX14390" y="connsiteY14390"/>
                </a:cxn>
                <a:cxn ang="0">
                  <a:pos x="connsiteX14391" y="connsiteY14391"/>
                </a:cxn>
                <a:cxn ang="0">
                  <a:pos x="connsiteX14392" y="connsiteY14392"/>
                </a:cxn>
                <a:cxn ang="0">
                  <a:pos x="connsiteX14393" y="connsiteY14393"/>
                </a:cxn>
                <a:cxn ang="0">
                  <a:pos x="connsiteX14394" y="connsiteY14394"/>
                </a:cxn>
                <a:cxn ang="0">
                  <a:pos x="connsiteX14395" y="connsiteY14395"/>
                </a:cxn>
                <a:cxn ang="0">
                  <a:pos x="connsiteX14396" y="connsiteY14396"/>
                </a:cxn>
                <a:cxn ang="0">
                  <a:pos x="connsiteX14397" y="connsiteY14397"/>
                </a:cxn>
                <a:cxn ang="0">
                  <a:pos x="connsiteX14398" y="connsiteY14398"/>
                </a:cxn>
                <a:cxn ang="0">
                  <a:pos x="connsiteX14399" y="connsiteY14399"/>
                </a:cxn>
                <a:cxn ang="0">
                  <a:pos x="connsiteX14400" y="connsiteY14400"/>
                </a:cxn>
                <a:cxn ang="0">
                  <a:pos x="connsiteX14401" y="connsiteY14401"/>
                </a:cxn>
                <a:cxn ang="0">
                  <a:pos x="connsiteX14402" y="connsiteY14402"/>
                </a:cxn>
                <a:cxn ang="0">
                  <a:pos x="connsiteX14403" y="connsiteY14403"/>
                </a:cxn>
                <a:cxn ang="0">
                  <a:pos x="connsiteX14404" y="connsiteY14404"/>
                </a:cxn>
                <a:cxn ang="0">
                  <a:pos x="connsiteX14405" y="connsiteY14405"/>
                </a:cxn>
                <a:cxn ang="0">
                  <a:pos x="connsiteX14406" y="connsiteY14406"/>
                </a:cxn>
                <a:cxn ang="0">
                  <a:pos x="connsiteX14407" y="connsiteY14407"/>
                </a:cxn>
                <a:cxn ang="0">
                  <a:pos x="connsiteX14408" y="connsiteY14408"/>
                </a:cxn>
                <a:cxn ang="0">
                  <a:pos x="connsiteX14409" y="connsiteY14409"/>
                </a:cxn>
                <a:cxn ang="0">
                  <a:pos x="connsiteX14410" y="connsiteY14410"/>
                </a:cxn>
                <a:cxn ang="0">
                  <a:pos x="connsiteX14411" y="connsiteY14411"/>
                </a:cxn>
                <a:cxn ang="0">
                  <a:pos x="connsiteX14412" y="connsiteY14412"/>
                </a:cxn>
                <a:cxn ang="0">
                  <a:pos x="connsiteX14413" y="connsiteY14413"/>
                </a:cxn>
                <a:cxn ang="0">
                  <a:pos x="connsiteX14414" y="connsiteY14414"/>
                </a:cxn>
                <a:cxn ang="0">
                  <a:pos x="connsiteX14415" y="connsiteY14415"/>
                </a:cxn>
                <a:cxn ang="0">
                  <a:pos x="connsiteX14416" y="connsiteY14416"/>
                </a:cxn>
                <a:cxn ang="0">
                  <a:pos x="connsiteX14417" y="connsiteY14417"/>
                </a:cxn>
                <a:cxn ang="0">
                  <a:pos x="connsiteX14418" y="connsiteY14418"/>
                </a:cxn>
                <a:cxn ang="0">
                  <a:pos x="connsiteX14419" y="connsiteY14419"/>
                </a:cxn>
                <a:cxn ang="0">
                  <a:pos x="connsiteX14420" y="connsiteY14420"/>
                </a:cxn>
                <a:cxn ang="0">
                  <a:pos x="connsiteX14421" y="connsiteY14421"/>
                </a:cxn>
                <a:cxn ang="0">
                  <a:pos x="connsiteX14422" y="connsiteY14422"/>
                </a:cxn>
                <a:cxn ang="0">
                  <a:pos x="connsiteX14423" y="connsiteY14423"/>
                </a:cxn>
                <a:cxn ang="0">
                  <a:pos x="connsiteX14424" y="connsiteY14424"/>
                </a:cxn>
                <a:cxn ang="0">
                  <a:pos x="connsiteX14425" y="connsiteY14425"/>
                </a:cxn>
                <a:cxn ang="0">
                  <a:pos x="connsiteX14426" y="connsiteY14426"/>
                </a:cxn>
                <a:cxn ang="0">
                  <a:pos x="connsiteX14427" y="connsiteY14427"/>
                </a:cxn>
                <a:cxn ang="0">
                  <a:pos x="connsiteX14428" y="connsiteY14428"/>
                </a:cxn>
                <a:cxn ang="0">
                  <a:pos x="connsiteX14429" y="connsiteY14429"/>
                </a:cxn>
                <a:cxn ang="0">
                  <a:pos x="connsiteX14430" y="connsiteY14430"/>
                </a:cxn>
                <a:cxn ang="0">
                  <a:pos x="connsiteX14431" y="connsiteY14431"/>
                </a:cxn>
                <a:cxn ang="0">
                  <a:pos x="connsiteX14432" y="connsiteY14432"/>
                </a:cxn>
                <a:cxn ang="0">
                  <a:pos x="connsiteX14433" y="connsiteY14433"/>
                </a:cxn>
                <a:cxn ang="0">
                  <a:pos x="connsiteX14434" y="connsiteY14434"/>
                </a:cxn>
                <a:cxn ang="0">
                  <a:pos x="connsiteX14435" y="connsiteY14435"/>
                </a:cxn>
                <a:cxn ang="0">
                  <a:pos x="connsiteX14436" y="connsiteY14436"/>
                </a:cxn>
                <a:cxn ang="0">
                  <a:pos x="connsiteX14437" y="connsiteY14437"/>
                </a:cxn>
                <a:cxn ang="0">
                  <a:pos x="connsiteX14438" y="connsiteY14438"/>
                </a:cxn>
                <a:cxn ang="0">
                  <a:pos x="connsiteX14439" y="connsiteY14439"/>
                </a:cxn>
                <a:cxn ang="0">
                  <a:pos x="connsiteX14440" y="connsiteY14440"/>
                </a:cxn>
                <a:cxn ang="0">
                  <a:pos x="connsiteX14441" y="connsiteY14441"/>
                </a:cxn>
                <a:cxn ang="0">
                  <a:pos x="connsiteX14442" y="connsiteY14442"/>
                </a:cxn>
                <a:cxn ang="0">
                  <a:pos x="connsiteX14443" y="connsiteY14443"/>
                </a:cxn>
                <a:cxn ang="0">
                  <a:pos x="connsiteX14444" y="connsiteY14444"/>
                </a:cxn>
                <a:cxn ang="0">
                  <a:pos x="connsiteX14445" y="connsiteY14445"/>
                </a:cxn>
                <a:cxn ang="0">
                  <a:pos x="connsiteX14446" y="connsiteY14446"/>
                </a:cxn>
                <a:cxn ang="0">
                  <a:pos x="connsiteX14447" y="connsiteY14447"/>
                </a:cxn>
                <a:cxn ang="0">
                  <a:pos x="connsiteX14448" y="connsiteY14448"/>
                </a:cxn>
                <a:cxn ang="0">
                  <a:pos x="connsiteX14449" y="connsiteY14449"/>
                </a:cxn>
                <a:cxn ang="0">
                  <a:pos x="connsiteX14450" y="connsiteY14450"/>
                </a:cxn>
                <a:cxn ang="0">
                  <a:pos x="connsiteX14451" y="connsiteY14451"/>
                </a:cxn>
                <a:cxn ang="0">
                  <a:pos x="connsiteX14452" y="connsiteY14452"/>
                </a:cxn>
                <a:cxn ang="0">
                  <a:pos x="connsiteX14453" y="connsiteY14453"/>
                </a:cxn>
                <a:cxn ang="0">
                  <a:pos x="connsiteX14454" y="connsiteY14454"/>
                </a:cxn>
                <a:cxn ang="0">
                  <a:pos x="connsiteX14455" y="connsiteY14455"/>
                </a:cxn>
                <a:cxn ang="0">
                  <a:pos x="connsiteX14456" y="connsiteY14456"/>
                </a:cxn>
                <a:cxn ang="0">
                  <a:pos x="connsiteX14457" y="connsiteY14457"/>
                </a:cxn>
                <a:cxn ang="0">
                  <a:pos x="connsiteX14458" y="connsiteY14458"/>
                </a:cxn>
                <a:cxn ang="0">
                  <a:pos x="connsiteX14459" y="connsiteY14459"/>
                </a:cxn>
                <a:cxn ang="0">
                  <a:pos x="connsiteX14460" y="connsiteY14460"/>
                </a:cxn>
                <a:cxn ang="0">
                  <a:pos x="connsiteX14461" y="connsiteY14461"/>
                </a:cxn>
                <a:cxn ang="0">
                  <a:pos x="connsiteX14462" y="connsiteY14462"/>
                </a:cxn>
                <a:cxn ang="0">
                  <a:pos x="connsiteX14463" y="connsiteY14463"/>
                </a:cxn>
                <a:cxn ang="0">
                  <a:pos x="connsiteX14464" y="connsiteY14464"/>
                </a:cxn>
                <a:cxn ang="0">
                  <a:pos x="connsiteX14465" y="connsiteY14465"/>
                </a:cxn>
                <a:cxn ang="0">
                  <a:pos x="connsiteX14466" y="connsiteY14466"/>
                </a:cxn>
                <a:cxn ang="0">
                  <a:pos x="connsiteX14467" y="connsiteY14467"/>
                </a:cxn>
                <a:cxn ang="0">
                  <a:pos x="connsiteX14468" y="connsiteY14468"/>
                </a:cxn>
                <a:cxn ang="0">
                  <a:pos x="connsiteX14469" y="connsiteY14469"/>
                </a:cxn>
                <a:cxn ang="0">
                  <a:pos x="connsiteX14470" y="connsiteY14470"/>
                </a:cxn>
                <a:cxn ang="0">
                  <a:pos x="connsiteX14471" y="connsiteY14471"/>
                </a:cxn>
                <a:cxn ang="0">
                  <a:pos x="connsiteX14472" y="connsiteY14472"/>
                </a:cxn>
                <a:cxn ang="0">
                  <a:pos x="connsiteX14473" y="connsiteY14473"/>
                </a:cxn>
                <a:cxn ang="0">
                  <a:pos x="connsiteX14474" y="connsiteY14474"/>
                </a:cxn>
                <a:cxn ang="0">
                  <a:pos x="connsiteX14475" y="connsiteY14475"/>
                </a:cxn>
                <a:cxn ang="0">
                  <a:pos x="connsiteX14476" y="connsiteY14476"/>
                </a:cxn>
                <a:cxn ang="0">
                  <a:pos x="connsiteX14477" y="connsiteY14477"/>
                </a:cxn>
                <a:cxn ang="0">
                  <a:pos x="connsiteX14478" y="connsiteY14478"/>
                </a:cxn>
                <a:cxn ang="0">
                  <a:pos x="connsiteX14479" y="connsiteY14479"/>
                </a:cxn>
                <a:cxn ang="0">
                  <a:pos x="connsiteX14480" y="connsiteY14480"/>
                </a:cxn>
                <a:cxn ang="0">
                  <a:pos x="connsiteX14481" y="connsiteY14481"/>
                </a:cxn>
                <a:cxn ang="0">
                  <a:pos x="connsiteX14482" y="connsiteY14482"/>
                </a:cxn>
                <a:cxn ang="0">
                  <a:pos x="connsiteX14483" y="connsiteY14483"/>
                </a:cxn>
                <a:cxn ang="0">
                  <a:pos x="connsiteX14484" y="connsiteY14484"/>
                </a:cxn>
                <a:cxn ang="0">
                  <a:pos x="connsiteX14485" y="connsiteY14485"/>
                </a:cxn>
                <a:cxn ang="0">
                  <a:pos x="connsiteX14486" y="connsiteY14486"/>
                </a:cxn>
                <a:cxn ang="0">
                  <a:pos x="connsiteX14487" y="connsiteY14487"/>
                </a:cxn>
                <a:cxn ang="0">
                  <a:pos x="connsiteX14488" y="connsiteY14488"/>
                </a:cxn>
                <a:cxn ang="0">
                  <a:pos x="connsiteX14489" y="connsiteY14489"/>
                </a:cxn>
                <a:cxn ang="0">
                  <a:pos x="connsiteX14490" y="connsiteY14490"/>
                </a:cxn>
                <a:cxn ang="0">
                  <a:pos x="connsiteX14491" y="connsiteY14491"/>
                </a:cxn>
                <a:cxn ang="0">
                  <a:pos x="connsiteX14492" y="connsiteY14492"/>
                </a:cxn>
                <a:cxn ang="0">
                  <a:pos x="connsiteX14493" y="connsiteY14493"/>
                </a:cxn>
                <a:cxn ang="0">
                  <a:pos x="connsiteX14494" y="connsiteY14494"/>
                </a:cxn>
                <a:cxn ang="0">
                  <a:pos x="connsiteX14495" y="connsiteY14495"/>
                </a:cxn>
                <a:cxn ang="0">
                  <a:pos x="connsiteX14496" y="connsiteY14496"/>
                </a:cxn>
                <a:cxn ang="0">
                  <a:pos x="connsiteX14497" y="connsiteY14497"/>
                </a:cxn>
                <a:cxn ang="0">
                  <a:pos x="connsiteX14498" y="connsiteY14498"/>
                </a:cxn>
                <a:cxn ang="0">
                  <a:pos x="connsiteX14499" y="connsiteY14499"/>
                </a:cxn>
                <a:cxn ang="0">
                  <a:pos x="connsiteX14500" y="connsiteY14500"/>
                </a:cxn>
                <a:cxn ang="0">
                  <a:pos x="connsiteX14501" y="connsiteY14501"/>
                </a:cxn>
                <a:cxn ang="0">
                  <a:pos x="connsiteX14502" y="connsiteY14502"/>
                </a:cxn>
                <a:cxn ang="0">
                  <a:pos x="connsiteX14503" y="connsiteY14503"/>
                </a:cxn>
                <a:cxn ang="0">
                  <a:pos x="connsiteX14504" y="connsiteY14504"/>
                </a:cxn>
                <a:cxn ang="0">
                  <a:pos x="connsiteX14505" y="connsiteY14505"/>
                </a:cxn>
                <a:cxn ang="0">
                  <a:pos x="connsiteX14506" y="connsiteY14506"/>
                </a:cxn>
                <a:cxn ang="0">
                  <a:pos x="connsiteX14507" y="connsiteY14507"/>
                </a:cxn>
                <a:cxn ang="0">
                  <a:pos x="connsiteX14508" y="connsiteY14508"/>
                </a:cxn>
                <a:cxn ang="0">
                  <a:pos x="connsiteX14509" y="connsiteY14509"/>
                </a:cxn>
                <a:cxn ang="0">
                  <a:pos x="connsiteX14510" y="connsiteY14510"/>
                </a:cxn>
                <a:cxn ang="0">
                  <a:pos x="connsiteX14511" y="connsiteY14511"/>
                </a:cxn>
                <a:cxn ang="0">
                  <a:pos x="connsiteX14512" y="connsiteY14512"/>
                </a:cxn>
                <a:cxn ang="0">
                  <a:pos x="connsiteX14513" y="connsiteY14513"/>
                </a:cxn>
                <a:cxn ang="0">
                  <a:pos x="connsiteX14514" y="connsiteY14514"/>
                </a:cxn>
                <a:cxn ang="0">
                  <a:pos x="connsiteX14515" y="connsiteY14515"/>
                </a:cxn>
                <a:cxn ang="0">
                  <a:pos x="connsiteX14516" y="connsiteY14516"/>
                </a:cxn>
                <a:cxn ang="0">
                  <a:pos x="connsiteX14517" y="connsiteY14517"/>
                </a:cxn>
                <a:cxn ang="0">
                  <a:pos x="connsiteX14518" y="connsiteY14518"/>
                </a:cxn>
                <a:cxn ang="0">
                  <a:pos x="connsiteX14519" y="connsiteY14519"/>
                </a:cxn>
                <a:cxn ang="0">
                  <a:pos x="connsiteX14520" y="connsiteY14520"/>
                </a:cxn>
                <a:cxn ang="0">
                  <a:pos x="connsiteX14521" y="connsiteY14521"/>
                </a:cxn>
                <a:cxn ang="0">
                  <a:pos x="connsiteX14522" y="connsiteY14522"/>
                </a:cxn>
                <a:cxn ang="0">
                  <a:pos x="connsiteX14523" y="connsiteY14523"/>
                </a:cxn>
                <a:cxn ang="0">
                  <a:pos x="connsiteX14524" y="connsiteY14524"/>
                </a:cxn>
                <a:cxn ang="0">
                  <a:pos x="connsiteX14525" y="connsiteY14525"/>
                </a:cxn>
                <a:cxn ang="0">
                  <a:pos x="connsiteX14526" y="connsiteY14526"/>
                </a:cxn>
                <a:cxn ang="0">
                  <a:pos x="connsiteX14527" y="connsiteY14527"/>
                </a:cxn>
                <a:cxn ang="0">
                  <a:pos x="connsiteX14528" y="connsiteY14528"/>
                </a:cxn>
                <a:cxn ang="0">
                  <a:pos x="connsiteX14529" y="connsiteY14529"/>
                </a:cxn>
                <a:cxn ang="0">
                  <a:pos x="connsiteX14530" y="connsiteY14530"/>
                </a:cxn>
                <a:cxn ang="0">
                  <a:pos x="connsiteX14531" y="connsiteY14531"/>
                </a:cxn>
                <a:cxn ang="0">
                  <a:pos x="connsiteX14532" y="connsiteY14532"/>
                </a:cxn>
                <a:cxn ang="0">
                  <a:pos x="connsiteX14533" y="connsiteY14533"/>
                </a:cxn>
                <a:cxn ang="0">
                  <a:pos x="connsiteX14534" y="connsiteY14534"/>
                </a:cxn>
                <a:cxn ang="0">
                  <a:pos x="connsiteX14535" y="connsiteY14535"/>
                </a:cxn>
                <a:cxn ang="0">
                  <a:pos x="connsiteX14536" y="connsiteY14536"/>
                </a:cxn>
                <a:cxn ang="0">
                  <a:pos x="connsiteX14537" y="connsiteY14537"/>
                </a:cxn>
                <a:cxn ang="0">
                  <a:pos x="connsiteX14538" y="connsiteY14538"/>
                </a:cxn>
                <a:cxn ang="0">
                  <a:pos x="connsiteX14539" y="connsiteY14539"/>
                </a:cxn>
                <a:cxn ang="0">
                  <a:pos x="connsiteX14540" y="connsiteY14540"/>
                </a:cxn>
                <a:cxn ang="0">
                  <a:pos x="connsiteX14541" y="connsiteY14541"/>
                </a:cxn>
                <a:cxn ang="0">
                  <a:pos x="connsiteX14542" y="connsiteY14542"/>
                </a:cxn>
                <a:cxn ang="0">
                  <a:pos x="connsiteX14543" y="connsiteY14543"/>
                </a:cxn>
                <a:cxn ang="0">
                  <a:pos x="connsiteX14544" y="connsiteY14544"/>
                </a:cxn>
                <a:cxn ang="0">
                  <a:pos x="connsiteX14545" y="connsiteY14545"/>
                </a:cxn>
                <a:cxn ang="0">
                  <a:pos x="connsiteX14546" y="connsiteY14546"/>
                </a:cxn>
                <a:cxn ang="0">
                  <a:pos x="connsiteX14547" y="connsiteY14547"/>
                </a:cxn>
                <a:cxn ang="0">
                  <a:pos x="connsiteX14548" y="connsiteY14548"/>
                </a:cxn>
                <a:cxn ang="0">
                  <a:pos x="connsiteX14549" y="connsiteY14549"/>
                </a:cxn>
                <a:cxn ang="0">
                  <a:pos x="connsiteX14550" y="connsiteY14550"/>
                </a:cxn>
                <a:cxn ang="0">
                  <a:pos x="connsiteX14551" y="connsiteY14551"/>
                </a:cxn>
                <a:cxn ang="0">
                  <a:pos x="connsiteX14552" y="connsiteY14552"/>
                </a:cxn>
                <a:cxn ang="0">
                  <a:pos x="connsiteX14553" y="connsiteY14553"/>
                </a:cxn>
                <a:cxn ang="0">
                  <a:pos x="connsiteX14554" y="connsiteY14554"/>
                </a:cxn>
                <a:cxn ang="0">
                  <a:pos x="connsiteX14555" y="connsiteY14555"/>
                </a:cxn>
                <a:cxn ang="0">
                  <a:pos x="connsiteX14556" y="connsiteY14556"/>
                </a:cxn>
                <a:cxn ang="0">
                  <a:pos x="connsiteX14557" y="connsiteY14557"/>
                </a:cxn>
                <a:cxn ang="0">
                  <a:pos x="connsiteX14558" y="connsiteY14558"/>
                </a:cxn>
                <a:cxn ang="0">
                  <a:pos x="connsiteX14559" y="connsiteY14559"/>
                </a:cxn>
                <a:cxn ang="0">
                  <a:pos x="connsiteX14560" y="connsiteY14560"/>
                </a:cxn>
                <a:cxn ang="0">
                  <a:pos x="connsiteX14561" y="connsiteY14561"/>
                </a:cxn>
                <a:cxn ang="0">
                  <a:pos x="connsiteX14562" y="connsiteY14562"/>
                </a:cxn>
                <a:cxn ang="0">
                  <a:pos x="connsiteX14563" y="connsiteY14563"/>
                </a:cxn>
                <a:cxn ang="0">
                  <a:pos x="connsiteX14564" y="connsiteY14564"/>
                </a:cxn>
                <a:cxn ang="0">
                  <a:pos x="connsiteX14565" y="connsiteY14565"/>
                </a:cxn>
                <a:cxn ang="0">
                  <a:pos x="connsiteX14566" y="connsiteY14566"/>
                </a:cxn>
                <a:cxn ang="0">
                  <a:pos x="connsiteX14567" y="connsiteY14567"/>
                </a:cxn>
                <a:cxn ang="0">
                  <a:pos x="connsiteX14568" y="connsiteY14568"/>
                </a:cxn>
                <a:cxn ang="0">
                  <a:pos x="connsiteX14569" y="connsiteY14569"/>
                </a:cxn>
                <a:cxn ang="0">
                  <a:pos x="connsiteX14570" y="connsiteY14570"/>
                </a:cxn>
                <a:cxn ang="0">
                  <a:pos x="connsiteX14571" y="connsiteY14571"/>
                </a:cxn>
                <a:cxn ang="0">
                  <a:pos x="connsiteX14572" y="connsiteY14572"/>
                </a:cxn>
                <a:cxn ang="0">
                  <a:pos x="connsiteX14573" y="connsiteY14573"/>
                </a:cxn>
                <a:cxn ang="0">
                  <a:pos x="connsiteX14574" y="connsiteY14574"/>
                </a:cxn>
                <a:cxn ang="0">
                  <a:pos x="connsiteX14575" y="connsiteY14575"/>
                </a:cxn>
                <a:cxn ang="0">
                  <a:pos x="connsiteX14576" y="connsiteY14576"/>
                </a:cxn>
                <a:cxn ang="0">
                  <a:pos x="connsiteX14577" y="connsiteY14577"/>
                </a:cxn>
                <a:cxn ang="0">
                  <a:pos x="connsiteX14578" y="connsiteY14578"/>
                </a:cxn>
                <a:cxn ang="0">
                  <a:pos x="connsiteX14579" y="connsiteY14579"/>
                </a:cxn>
                <a:cxn ang="0">
                  <a:pos x="connsiteX14580" y="connsiteY14580"/>
                </a:cxn>
                <a:cxn ang="0">
                  <a:pos x="connsiteX14581" y="connsiteY14581"/>
                </a:cxn>
                <a:cxn ang="0">
                  <a:pos x="connsiteX14582" y="connsiteY14582"/>
                </a:cxn>
                <a:cxn ang="0">
                  <a:pos x="connsiteX14583" y="connsiteY14583"/>
                </a:cxn>
                <a:cxn ang="0">
                  <a:pos x="connsiteX14584" y="connsiteY14584"/>
                </a:cxn>
                <a:cxn ang="0">
                  <a:pos x="connsiteX14585" y="connsiteY14585"/>
                </a:cxn>
                <a:cxn ang="0">
                  <a:pos x="connsiteX14586" y="connsiteY14586"/>
                </a:cxn>
                <a:cxn ang="0">
                  <a:pos x="connsiteX14587" y="connsiteY14587"/>
                </a:cxn>
                <a:cxn ang="0">
                  <a:pos x="connsiteX14588" y="connsiteY14588"/>
                </a:cxn>
                <a:cxn ang="0">
                  <a:pos x="connsiteX14589" y="connsiteY14589"/>
                </a:cxn>
                <a:cxn ang="0">
                  <a:pos x="connsiteX14590" y="connsiteY14590"/>
                </a:cxn>
                <a:cxn ang="0">
                  <a:pos x="connsiteX14591" y="connsiteY14591"/>
                </a:cxn>
                <a:cxn ang="0">
                  <a:pos x="connsiteX14592" y="connsiteY14592"/>
                </a:cxn>
                <a:cxn ang="0">
                  <a:pos x="connsiteX14593" y="connsiteY14593"/>
                </a:cxn>
                <a:cxn ang="0">
                  <a:pos x="connsiteX14594" y="connsiteY14594"/>
                </a:cxn>
                <a:cxn ang="0">
                  <a:pos x="connsiteX14595" y="connsiteY14595"/>
                </a:cxn>
                <a:cxn ang="0">
                  <a:pos x="connsiteX14596" y="connsiteY14596"/>
                </a:cxn>
                <a:cxn ang="0">
                  <a:pos x="connsiteX14597" y="connsiteY14597"/>
                </a:cxn>
                <a:cxn ang="0">
                  <a:pos x="connsiteX14598" y="connsiteY14598"/>
                </a:cxn>
                <a:cxn ang="0">
                  <a:pos x="connsiteX14599" y="connsiteY14599"/>
                </a:cxn>
                <a:cxn ang="0">
                  <a:pos x="connsiteX14600" y="connsiteY14600"/>
                </a:cxn>
                <a:cxn ang="0">
                  <a:pos x="connsiteX14601" y="connsiteY14601"/>
                </a:cxn>
                <a:cxn ang="0">
                  <a:pos x="connsiteX14602" y="connsiteY14602"/>
                </a:cxn>
                <a:cxn ang="0">
                  <a:pos x="connsiteX14603" y="connsiteY14603"/>
                </a:cxn>
                <a:cxn ang="0">
                  <a:pos x="connsiteX14604" y="connsiteY14604"/>
                </a:cxn>
                <a:cxn ang="0">
                  <a:pos x="connsiteX14605" y="connsiteY14605"/>
                </a:cxn>
                <a:cxn ang="0">
                  <a:pos x="connsiteX14606" y="connsiteY14606"/>
                </a:cxn>
                <a:cxn ang="0">
                  <a:pos x="connsiteX14607" y="connsiteY14607"/>
                </a:cxn>
                <a:cxn ang="0">
                  <a:pos x="connsiteX14608" y="connsiteY14608"/>
                </a:cxn>
                <a:cxn ang="0">
                  <a:pos x="connsiteX14609" y="connsiteY14609"/>
                </a:cxn>
                <a:cxn ang="0">
                  <a:pos x="connsiteX14610" y="connsiteY14610"/>
                </a:cxn>
                <a:cxn ang="0">
                  <a:pos x="connsiteX14611" y="connsiteY14611"/>
                </a:cxn>
                <a:cxn ang="0">
                  <a:pos x="connsiteX14612" y="connsiteY14612"/>
                </a:cxn>
                <a:cxn ang="0">
                  <a:pos x="connsiteX14613" y="connsiteY14613"/>
                </a:cxn>
                <a:cxn ang="0">
                  <a:pos x="connsiteX14614" y="connsiteY14614"/>
                </a:cxn>
                <a:cxn ang="0">
                  <a:pos x="connsiteX14615" y="connsiteY14615"/>
                </a:cxn>
                <a:cxn ang="0">
                  <a:pos x="connsiteX14616" y="connsiteY14616"/>
                </a:cxn>
                <a:cxn ang="0">
                  <a:pos x="connsiteX14617" y="connsiteY14617"/>
                </a:cxn>
                <a:cxn ang="0">
                  <a:pos x="connsiteX14618" y="connsiteY14618"/>
                </a:cxn>
                <a:cxn ang="0">
                  <a:pos x="connsiteX14619" y="connsiteY14619"/>
                </a:cxn>
                <a:cxn ang="0">
                  <a:pos x="connsiteX14620" y="connsiteY14620"/>
                </a:cxn>
                <a:cxn ang="0">
                  <a:pos x="connsiteX14621" y="connsiteY14621"/>
                </a:cxn>
                <a:cxn ang="0">
                  <a:pos x="connsiteX14622" y="connsiteY14622"/>
                </a:cxn>
                <a:cxn ang="0">
                  <a:pos x="connsiteX14623" y="connsiteY14623"/>
                </a:cxn>
                <a:cxn ang="0">
                  <a:pos x="connsiteX14624" y="connsiteY14624"/>
                </a:cxn>
                <a:cxn ang="0">
                  <a:pos x="connsiteX14625" y="connsiteY14625"/>
                </a:cxn>
                <a:cxn ang="0">
                  <a:pos x="connsiteX14626" y="connsiteY14626"/>
                </a:cxn>
                <a:cxn ang="0">
                  <a:pos x="connsiteX14627" y="connsiteY14627"/>
                </a:cxn>
                <a:cxn ang="0">
                  <a:pos x="connsiteX14628" y="connsiteY14628"/>
                </a:cxn>
                <a:cxn ang="0">
                  <a:pos x="connsiteX14629" y="connsiteY14629"/>
                </a:cxn>
                <a:cxn ang="0">
                  <a:pos x="connsiteX14630" y="connsiteY14630"/>
                </a:cxn>
                <a:cxn ang="0">
                  <a:pos x="connsiteX14631" y="connsiteY14631"/>
                </a:cxn>
                <a:cxn ang="0">
                  <a:pos x="connsiteX14632" y="connsiteY14632"/>
                </a:cxn>
                <a:cxn ang="0">
                  <a:pos x="connsiteX14633" y="connsiteY14633"/>
                </a:cxn>
                <a:cxn ang="0">
                  <a:pos x="connsiteX14634" y="connsiteY14634"/>
                </a:cxn>
                <a:cxn ang="0">
                  <a:pos x="connsiteX14635" y="connsiteY14635"/>
                </a:cxn>
                <a:cxn ang="0">
                  <a:pos x="connsiteX14636" y="connsiteY14636"/>
                </a:cxn>
                <a:cxn ang="0">
                  <a:pos x="connsiteX14637" y="connsiteY14637"/>
                </a:cxn>
                <a:cxn ang="0">
                  <a:pos x="connsiteX14638" y="connsiteY14638"/>
                </a:cxn>
                <a:cxn ang="0">
                  <a:pos x="connsiteX14639" y="connsiteY14639"/>
                </a:cxn>
                <a:cxn ang="0">
                  <a:pos x="connsiteX14640" y="connsiteY14640"/>
                </a:cxn>
                <a:cxn ang="0">
                  <a:pos x="connsiteX14641" y="connsiteY14641"/>
                </a:cxn>
                <a:cxn ang="0">
                  <a:pos x="connsiteX14642" y="connsiteY14642"/>
                </a:cxn>
                <a:cxn ang="0">
                  <a:pos x="connsiteX14643" y="connsiteY14643"/>
                </a:cxn>
                <a:cxn ang="0">
                  <a:pos x="connsiteX14644" y="connsiteY14644"/>
                </a:cxn>
                <a:cxn ang="0">
                  <a:pos x="connsiteX14645" y="connsiteY14645"/>
                </a:cxn>
                <a:cxn ang="0">
                  <a:pos x="connsiteX14646" y="connsiteY14646"/>
                </a:cxn>
                <a:cxn ang="0">
                  <a:pos x="connsiteX14647" y="connsiteY14647"/>
                </a:cxn>
                <a:cxn ang="0">
                  <a:pos x="connsiteX14648" y="connsiteY14648"/>
                </a:cxn>
                <a:cxn ang="0">
                  <a:pos x="connsiteX14649" y="connsiteY14649"/>
                </a:cxn>
                <a:cxn ang="0">
                  <a:pos x="connsiteX14650" y="connsiteY14650"/>
                </a:cxn>
                <a:cxn ang="0">
                  <a:pos x="connsiteX14651" y="connsiteY14651"/>
                </a:cxn>
                <a:cxn ang="0">
                  <a:pos x="connsiteX14652" y="connsiteY14652"/>
                </a:cxn>
                <a:cxn ang="0">
                  <a:pos x="connsiteX14653" y="connsiteY14653"/>
                </a:cxn>
                <a:cxn ang="0">
                  <a:pos x="connsiteX14654" y="connsiteY14654"/>
                </a:cxn>
                <a:cxn ang="0">
                  <a:pos x="connsiteX14655" y="connsiteY14655"/>
                </a:cxn>
                <a:cxn ang="0">
                  <a:pos x="connsiteX14656" y="connsiteY14656"/>
                </a:cxn>
                <a:cxn ang="0">
                  <a:pos x="connsiteX14657" y="connsiteY14657"/>
                </a:cxn>
                <a:cxn ang="0">
                  <a:pos x="connsiteX14658" y="connsiteY14658"/>
                </a:cxn>
                <a:cxn ang="0">
                  <a:pos x="connsiteX14659" y="connsiteY14659"/>
                </a:cxn>
                <a:cxn ang="0">
                  <a:pos x="connsiteX14660" y="connsiteY14660"/>
                </a:cxn>
                <a:cxn ang="0">
                  <a:pos x="connsiteX14661" y="connsiteY14661"/>
                </a:cxn>
                <a:cxn ang="0">
                  <a:pos x="connsiteX14662" y="connsiteY14662"/>
                </a:cxn>
                <a:cxn ang="0">
                  <a:pos x="connsiteX14663" y="connsiteY14663"/>
                </a:cxn>
                <a:cxn ang="0">
                  <a:pos x="connsiteX14664" y="connsiteY14664"/>
                </a:cxn>
                <a:cxn ang="0">
                  <a:pos x="connsiteX14665" y="connsiteY14665"/>
                </a:cxn>
                <a:cxn ang="0">
                  <a:pos x="connsiteX14666" y="connsiteY14666"/>
                </a:cxn>
                <a:cxn ang="0">
                  <a:pos x="connsiteX14667" y="connsiteY14667"/>
                </a:cxn>
                <a:cxn ang="0">
                  <a:pos x="connsiteX14668" y="connsiteY14668"/>
                </a:cxn>
                <a:cxn ang="0">
                  <a:pos x="connsiteX14669" y="connsiteY14669"/>
                </a:cxn>
                <a:cxn ang="0">
                  <a:pos x="connsiteX14670" y="connsiteY14670"/>
                </a:cxn>
                <a:cxn ang="0">
                  <a:pos x="connsiteX14671" y="connsiteY14671"/>
                </a:cxn>
                <a:cxn ang="0">
                  <a:pos x="connsiteX14672" y="connsiteY14672"/>
                </a:cxn>
                <a:cxn ang="0">
                  <a:pos x="connsiteX14673" y="connsiteY14673"/>
                </a:cxn>
                <a:cxn ang="0">
                  <a:pos x="connsiteX14674" y="connsiteY14674"/>
                </a:cxn>
                <a:cxn ang="0">
                  <a:pos x="connsiteX14675" y="connsiteY14675"/>
                </a:cxn>
                <a:cxn ang="0">
                  <a:pos x="connsiteX14676" y="connsiteY14676"/>
                </a:cxn>
                <a:cxn ang="0">
                  <a:pos x="connsiteX14677" y="connsiteY14677"/>
                </a:cxn>
                <a:cxn ang="0">
                  <a:pos x="connsiteX14678" y="connsiteY14678"/>
                </a:cxn>
                <a:cxn ang="0">
                  <a:pos x="connsiteX14679" y="connsiteY14679"/>
                </a:cxn>
                <a:cxn ang="0">
                  <a:pos x="connsiteX14680" y="connsiteY14680"/>
                </a:cxn>
                <a:cxn ang="0">
                  <a:pos x="connsiteX14681" y="connsiteY14681"/>
                </a:cxn>
                <a:cxn ang="0">
                  <a:pos x="connsiteX14682" y="connsiteY14682"/>
                </a:cxn>
                <a:cxn ang="0">
                  <a:pos x="connsiteX14683" y="connsiteY14683"/>
                </a:cxn>
                <a:cxn ang="0">
                  <a:pos x="connsiteX14684" y="connsiteY14684"/>
                </a:cxn>
                <a:cxn ang="0">
                  <a:pos x="connsiteX14685" y="connsiteY14685"/>
                </a:cxn>
                <a:cxn ang="0">
                  <a:pos x="connsiteX14686" y="connsiteY14686"/>
                </a:cxn>
                <a:cxn ang="0">
                  <a:pos x="connsiteX14687" y="connsiteY14687"/>
                </a:cxn>
                <a:cxn ang="0">
                  <a:pos x="connsiteX14688" y="connsiteY14688"/>
                </a:cxn>
                <a:cxn ang="0">
                  <a:pos x="connsiteX14689" y="connsiteY14689"/>
                </a:cxn>
                <a:cxn ang="0">
                  <a:pos x="connsiteX14690" y="connsiteY14690"/>
                </a:cxn>
                <a:cxn ang="0">
                  <a:pos x="connsiteX14691" y="connsiteY14691"/>
                </a:cxn>
                <a:cxn ang="0">
                  <a:pos x="connsiteX14692" y="connsiteY14692"/>
                </a:cxn>
                <a:cxn ang="0">
                  <a:pos x="connsiteX14693" y="connsiteY14693"/>
                </a:cxn>
                <a:cxn ang="0">
                  <a:pos x="connsiteX14694" y="connsiteY14694"/>
                </a:cxn>
                <a:cxn ang="0">
                  <a:pos x="connsiteX14695" y="connsiteY14695"/>
                </a:cxn>
                <a:cxn ang="0">
                  <a:pos x="connsiteX14696" y="connsiteY14696"/>
                </a:cxn>
                <a:cxn ang="0">
                  <a:pos x="connsiteX14697" y="connsiteY14697"/>
                </a:cxn>
                <a:cxn ang="0">
                  <a:pos x="connsiteX14698" y="connsiteY14698"/>
                </a:cxn>
                <a:cxn ang="0">
                  <a:pos x="connsiteX14699" y="connsiteY14699"/>
                </a:cxn>
                <a:cxn ang="0">
                  <a:pos x="connsiteX14700" y="connsiteY14700"/>
                </a:cxn>
                <a:cxn ang="0">
                  <a:pos x="connsiteX14701" y="connsiteY14701"/>
                </a:cxn>
                <a:cxn ang="0">
                  <a:pos x="connsiteX14702" y="connsiteY14702"/>
                </a:cxn>
                <a:cxn ang="0">
                  <a:pos x="connsiteX14703" y="connsiteY14703"/>
                </a:cxn>
                <a:cxn ang="0">
                  <a:pos x="connsiteX14704" y="connsiteY14704"/>
                </a:cxn>
                <a:cxn ang="0">
                  <a:pos x="connsiteX14705" y="connsiteY14705"/>
                </a:cxn>
                <a:cxn ang="0">
                  <a:pos x="connsiteX14706" y="connsiteY14706"/>
                </a:cxn>
                <a:cxn ang="0">
                  <a:pos x="connsiteX14707" y="connsiteY14707"/>
                </a:cxn>
                <a:cxn ang="0">
                  <a:pos x="connsiteX14708" y="connsiteY14708"/>
                </a:cxn>
                <a:cxn ang="0">
                  <a:pos x="connsiteX14709" y="connsiteY14709"/>
                </a:cxn>
                <a:cxn ang="0">
                  <a:pos x="connsiteX14710" y="connsiteY14710"/>
                </a:cxn>
                <a:cxn ang="0">
                  <a:pos x="connsiteX14711" y="connsiteY14711"/>
                </a:cxn>
                <a:cxn ang="0">
                  <a:pos x="connsiteX14712" y="connsiteY14712"/>
                </a:cxn>
                <a:cxn ang="0">
                  <a:pos x="connsiteX14713" y="connsiteY14713"/>
                </a:cxn>
                <a:cxn ang="0">
                  <a:pos x="connsiteX14714" y="connsiteY14714"/>
                </a:cxn>
                <a:cxn ang="0">
                  <a:pos x="connsiteX14715" y="connsiteY14715"/>
                </a:cxn>
                <a:cxn ang="0">
                  <a:pos x="connsiteX14716" y="connsiteY14716"/>
                </a:cxn>
                <a:cxn ang="0">
                  <a:pos x="connsiteX14717" y="connsiteY14717"/>
                </a:cxn>
                <a:cxn ang="0">
                  <a:pos x="connsiteX14718" y="connsiteY14718"/>
                </a:cxn>
                <a:cxn ang="0">
                  <a:pos x="connsiteX14719" y="connsiteY14719"/>
                </a:cxn>
                <a:cxn ang="0">
                  <a:pos x="connsiteX14720" y="connsiteY14720"/>
                </a:cxn>
                <a:cxn ang="0">
                  <a:pos x="connsiteX14721" y="connsiteY14721"/>
                </a:cxn>
                <a:cxn ang="0">
                  <a:pos x="connsiteX14722" y="connsiteY14722"/>
                </a:cxn>
                <a:cxn ang="0">
                  <a:pos x="connsiteX14723" y="connsiteY14723"/>
                </a:cxn>
                <a:cxn ang="0">
                  <a:pos x="connsiteX14724" y="connsiteY14724"/>
                </a:cxn>
                <a:cxn ang="0">
                  <a:pos x="connsiteX14725" y="connsiteY14725"/>
                </a:cxn>
                <a:cxn ang="0">
                  <a:pos x="connsiteX14726" y="connsiteY14726"/>
                </a:cxn>
                <a:cxn ang="0">
                  <a:pos x="connsiteX14727" y="connsiteY14727"/>
                </a:cxn>
                <a:cxn ang="0">
                  <a:pos x="connsiteX14728" y="connsiteY14728"/>
                </a:cxn>
                <a:cxn ang="0">
                  <a:pos x="connsiteX14729" y="connsiteY14729"/>
                </a:cxn>
                <a:cxn ang="0">
                  <a:pos x="connsiteX14730" y="connsiteY14730"/>
                </a:cxn>
                <a:cxn ang="0">
                  <a:pos x="connsiteX14731" y="connsiteY14731"/>
                </a:cxn>
                <a:cxn ang="0">
                  <a:pos x="connsiteX14732" y="connsiteY14732"/>
                </a:cxn>
                <a:cxn ang="0">
                  <a:pos x="connsiteX14733" y="connsiteY14733"/>
                </a:cxn>
                <a:cxn ang="0">
                  <a:pos x="connsiteX14734" y="connsiteY14734"/>
                </a:cxn>
                <a:cxn ang="0">
                  <a:pos x="connsiteX14735" y="connsiteY14735"/>
                </a:cxn>
                <a:cxn ang="0">
                  <a:pos x="connsiteX14736" y="connsiteY14736"/>
                </a:cxn>
                <a:cxn ang="0">
                  <a:pos x="connsiteX14737" y="connsiteY14737"/>
                </a:cxn>
                <a:cxn ang="0">
                  <a:pos x="connsiteX14738" y="connsiteY14738"/>
                </a:cxn>
                <a:cxn ang="0">
                  <a:pos x="connsiteX14739" y="connsiteY14739"/>
                </a:cxn>
                <a:cxn ang="0">
                  <a:pos x="connsiteX14740" y="connsiteY14740"/>
                </a:cxn>
                <a:cxn ang="0">
                  <a:pos x="connsiteX14741" y="connsiteY14741"/>
                </a:cxn>
                <a:cxn ang="0">
                  <a:pos x="connsiteX14742" y="connsiteY14742"/>
                </a:cxn>
                <a:cxn ang="0">
                  <a:pos x="connsiteX14743" y="connsiteY14743"/>
                </a:cxn>
                <a:cxn ang="0">
                  <a:pos x="connsiteX14744" y="connsiteY14744"/>
                </a:cxn>
                <a:cxn ang="0">
                  <a:pos x="connsiteX14745" y="connsiteY14745"/>
                </a:cxn>
                <a:cxn ang="0">
                  <a:pos x="connsiteX14746" y="connsiteY14746"/>
                </a:cxn>
                <a:cxn ang="0">
                  <a:pos x="connsiteX14747" y="connsiteY14747"/>
                </a:cxn>
                <a:cxn ang="0">
                  <a:pos x="connsiteX14748" y="connsiteY14748"/>
                </a:cxn>
                <a:cxn ang="0">
                  <a:pos x="connsiteX14749" y="connsiteY14749"/>
                </a:cxn>
                <a:cxn ang="0">
                  <a:pos x="connsiteX14750" y="connsiteY14750"/>
                </a:cxn>
                <a:cxn ang="0">
                  <a:pos x="connsiteX14751" y="connsiteY14751"/>
                </a:cxn>
                <a:cxn ang="0">
                  <a:pos x="connsiteX14752" y="connsiteY14752"/>
                </a:cxn>
                <a:cxn ang="0">
                  <a:pos x="connsiteX14753" y="connsiteY14753"/>
                </a:cxn>
                <a:cxn ang="0">
                  <a:pos x="connsiteX14754" y="connsiteY14754"/>
                </a:cxn>
                <a:cxn ang="0">
                  <a:pos x="connsiteX14755" y="connsiteY14755"/>
                </a:cxn>
                <a:cxn ang="0">
                  <a:pos x="connsiteX14756" y="connsiteY14756"/>
                </a:cxn>
                <a:cxn ang="0">
                  <a:pos x="connsiteX14757" y="connsiteY14757"/>
                </a:cxn>
                <a:cxn ang="0">
                  <a:pos x="connsiteX14758" y="connsiteY14758"/>
                </a:cxn>
                <a:cxn ang="0">
                  <a:pos x="connsiteX14759" y="connsiteY14759"/>
                </a:cxn>
                <a:cxn ang="0">
                  <a:pos x="connsiteX14760" y="connsiteY14760"/>
                </a:cxn>
                <a:cxn ang="0">
                  <a:pos x="connsiteX14761" y="connsiteY14761"/>
                </a:cxn>
                <a:cxn ang="0">
                  <a:pos x="connsiteX14762" y="connsiteY14762"/>
                </a:cxn>
                <a:cxn ang="0">
                  <a:pos x="connsiteX14763" y="connsiteY14763"/>
                </a:cxn>
                <a:cxn ang="0">
                  <a:pos x="connsiteX14764" y="connsiteY14764"/>
                </a:cxn>
                <a:cxn ang="0">
                  <a:pos x="connsiteX14765" y="connsiteY14765"/>
                </a:cxn>
                <a:cxn ang="0">
                  <a:pos x="connsiteX14766" y="connsiteY14766"/>
                </a:cxn>
                <a:cxn ang="0">
                  <a:pos x="connsiteX14767" y="connsiteY14767"/>
                </a:cxn>
                <a:cxn ang="0">
                  <a:pos x="connsiteX14768" y="connsiteY14768"/>
                </a:cxn>
                <a:cxn ang="0">
                  <a:pos x="connsiteX14769" y="connsiteY14769"/>
                </a:cxn>
                <a:cxn ang="0">
                  <a:pos x="connsiteX14770" y="connsiteY14770"/>
                </a:cxn>
                <a:cxn ang="0">
                  <a:pos x="connsiteX14771" y="connsiteY14771"/>
                </a:cxn>
                <a:cxn ang="0">
                  <a:pos x="connsiteX14772" y="connsiteY14772"/>
                </a:cxn>
                <a:cxn ang="0">
                  <a:pos x="connsiteX14773" y="connsiteY14773"/>
                </a:cxn>
                <a:cxn ang="0">
                  <a:pos x="connsiteX14774" y="connsiteY14774"/>
                </a:cxn>
                <a:cxn ang="0">
                  <a:pos x="connsiteX14775" y="connsiteY14775"/>
                </a:cxn>
                <a:cxn ang="0">
                  <a:pos x="connsiteX14776" y="connsiteY14776"/>
                </a:cxn>
                <a:cxn ang="0">
                  <a:pos x="connsiteX14777" y="connsiteY14777"/>
                </a:cxn>
                <a:cxn ang="0">
                  <a:pos x="connsiteX14778" y="connsiteY14778"/>
                </a:cxn>
                <a:cxn ang="0">
                  <a:pos x="connsiteX14779" y="connsiteY14779"/>
                </a:cxn>
                <a:cxn ang="0">
                  <a:pos x="connsiteX14780" y="connsiteY14780"/>
                </a:cxn>
                <a:cxn ang="0">
                  <a:pos x="connsiteX14781" y="connsiteY14781"/>
                </a:cxn>
                <a:cxn ang="0">
                  <a:pos x="connsiteX14782" y="connsiteY14782"/>
                </a:cxn>
                <a:cxn ang="0">
                  <a:pos x="connsiteX14783" y="connsiteY14783"/>
                </a:cxn>
                <a:cxn ang="0">
                  <a:pos x="connsiteX14784" y="connsiteY14784"/>
                </a:cxn>
                <a:cxn ang="0">
                  <a:pos x="connsiteX14785" y="connsiteY14785"/>
                </a:cxn>
                <a:cxn ang="0">
                  <a:pos x="connsiteX14786" y="connsiteY14786"/>
                </a:cxn>
                <a:cxn ang="0">
                  <a:pos x="connsiteX14787" y="connsiteY14787"/>
                </a:cxn>
                <a:cxn ang="0">
                  <a:pos x="connsiteX14788" y="connsiteY14788"/>
                </a:cxn>
                <a:cxn ang="0">
                  <a:pos x="connsiteX14789" y="connsiteY14789"/>
                </a:cxn>
                <a:cxn ang="0">
                  <a:pos x="connsiteX14790" y="connsiteY14790"/>
                </a:cxn>
                <a:cxn ang="0">
                  <a:pos x="connsiteX14791" y="connsiteY14791"/>
                </a:cxn>
                <a:cxn ang="0">
                  <a:pos x="connsiteX14792" y="connsiteY14792"/>
                </a:cxn>
                <a:cxn ang="0">
                  <a:pos x="connsiteX14793" y="connsiteY14793"/>
                </a:cxn>
                <a:cxn ang="0">
                  <a:pos x="connsiteX14794" y="connsiteY14794"/>
                </a:cxn>
                <a:cxn ang="0">
                  <a:pos x="connsiteX14795" y="connsiteY14795"/>
                </a:cxn>
                <a:cxn ang="0">
                  <a:pos x="connsiteX14796" y="connsiteY14796"/>
                </a:cxn>
                <a:cxn ang="0">
                  <a:pos x="connsiteX14797" y="connsiteY14797"/>
                </a:cxn>
                <a:cxn ang="0">
                  <a:pos x="connsiteX14798" y="connsiteY14798"/>
                </a:cxn>
                <a:cxn ang="0">
                  <a:pos x="connsiteX14799" y="connsiteY14799"/>
                </a:cxn>
                <a:cxn ang="0">
                  <a:pos x="connsiteX14800" y="connsiteY14800"/>
                </a:cxn>
                <a:cxn ang="0">
                  <a:pos x="connsiteX14801" y="connsiteY14801"/>
                </a:cxn>
                <a:cxn ang="0">
                  <a:pos x="connsiteX14802" y="connsiteY14802"/>
                </a:cxn>
                <a:cxn ang="0">
                  <a:pos x="connsiteX14803" y="connsiteY14803"/>
                </a:cxn>
                <a:cxn ang="0">
                  <a:pos x="connsiteX14804" y="connsiteY14804"/>
                </a:cxn>
                <a:cxn ang="0">
                  <a:pos x="connsiteX14805" y="connsiteY14805"/>
                </a:cxn>
                <a:cxn ang="0">
                  <a:pos x="connsiteX14806" y="connsiteY14806"/>
                </a:cxn>
                <a:cxn ang="0">
                  <a:pos x="connsiteX14807" y="connsiteY14807"/>
                </a:cxn>
                <a:cxn ang="0">
                  <a:pos x="connsiteX14808" y="connsiteY14808"/>
                </a:cxn>
                <a:cxn ang="0">
                  <a:pos x="connsiteX14809" y="connsiteY14809"/>
                </a:cxn>
                <a:cxn ang="0">
                  <a:pos x="connsiteX14810" y="connsiteY14810"/>
                </a:cxn>
                <a:cxn ang="0">
                  <a:pos x="connsiteX14811" y="connsiteY14811"/>
                </a:cxn>
                <a:cxn ang="0">
                  <a:pos x="connsiteX14812" y="connsiteY14812"/>
                </a:cxn>
                <a:cxn ang="0">
                  <a:pos x="connsiteX14813" y="connsiteY14813"/>
                </a:cxn>
                <a:cxn ang="0">
                  <a:pos x="connsiteX14814" y="connsiteY14814"/>
                </a:cxn>
                <a:cxn ang="0">
                  <a:pos x="connsiteX14815" y="connsiteY14815"/>
                </a:cxn>
                <a:cxn ang="0">
                  <a:pos x="connsiteX14816" y="connsiteY14816"/>
                </a:cxn>
                <a:cxn ang="0">
                  <a:pos x="connsiteX14817" y="connsiteY14817"/>
                </a:cxn>
                <a:cxn ang="0">
                  <a:pos x="connsiteX14818" y="connsiteY14818"/>
                </a:cxn>
                <a:cxn ang="0">
                  <a:pos x="connsiteX14819" y="connsiteY14819"/>
                </a:cxn>
                <a:cxn ang="0">
                  <a:pos x="connsiteX14820" y="connsiteY14820"/>
                </a:cxn>
                <a:cxn ang="0">
                  <a:pos x="connsiteX14821" y="connsiteY14821"/>
                </a:cxn>
                <a:cxn ang="0">
                  <a:pos x="connsiteX14822" y="connsiteY14822"/>
                </a:cxn>
                <a:cxn ang="0">
                  <a:pos x="connsiteX14823" y="connsiteY14823"/>
                </a:cxn>
                <a:cxn ang="0">
                  <a:pos x="connsiteX14824" y="connsiteY14824"/>
                </a:cxn>
                <a:cxn ang="0">
                  <a:pos x="connsiteX14825" y="connsiteY14825"/>
                </a:cxn>
                <a:cxn ang="0">
                  <a:pos x="connsiteX14826" y="connsiteY14826"/>
                </a:cxn>
                <a:cxn ang="0">
                  <a:pos x="connsiteX14827" y="connsiteY14827"/>
                </a:cxn>
                <a:cxn ang="0">
                  <a:pos x="connsiteX14828" y="connsiteY14828"/>
                </a:cxn>
                <a:cxn ang="0">
                  <a:pos x="connsiteX14829" y="connsiteY14829"/>
                </a:cxn>
                <a:cxn ang="0">
                  <a:pos x="connsiteX14830" y="connsiteY14830"/>
                </a:cxn>
                <a:cxn ang="0">
                  <a:pos x="connsiteX14831" y="connsiteY14831"/>
                </a:cxn>
                <a:cxn ang="0">
                  <a:pos x="connsiteX14832" y="connsiteY14832"/>
                </a:cxn>
                <a:cxn ang="0">
                  <a:pos x="connsiteX14833" y="connsiteY14833"/>
                </a:cxn>
                <a:cxn ang="0">
                  <a:pos x="connsiteX14834" y="connsiteY14834"/>
                </a:cxn>
                <a:cxn ang="0">
                  <a:pos x="connsiteX14835" y="connsiteY14835"/>
                </a:cxn>
                <a:cxn ang="0">
                  <a:pos x="connsiteX14836" y="connsiteY14836"/>
                </a:cxn>
                <a:cxn ang="0">
                  <a:pos x="connsiteX14837" y="connsiteY14837"/>
                </a:cxn>
                <a:cxn ang="0">
                  <a:pos x="connsiteX14838" y="connsiteY14838"/>
                </a:cxn>
                <a:cxn ang="0">
                  <a:pos x="connsiteX14839" y="connsiteY14839"/>
                </a:cxn>
                <a:cxn ang="0">
                  <a:pos x="connsiteX14840" y="connsiteY14840"/>
                </a:cxn>
                <a:cxn ang="0">
                  <a:pos x="connsiteX14841" y="connsiteY14841"/>
                </a:cxn>
                <a:cxn ang="0">
                  <a:pos x="connsiteX14842" y="connsiteY14842"/>
                </a:cxn>
                <a:cxn ang="0">
                  <a:pos x="connsiteX14843" y="connsiteY14843"/>
                </a:cxn>
                <a:cxn ang="0">
                  <a:pos x="connsiteX14844" y="connsiteY14844"/>
                </a:cxn>
                <a:cxn ang="0">
                  <a:pos x="connsiteX14845" y="connsiteY14845"/>
                </a:cxn>
                <a:cxn ang="0">
                  <a:pos x="connsiteX14846" y="connsiteY14846"/>
                </a:cxn>
                <a:cxn ang="0">
                  <a:pos x="connsiteX14847" y="connsiteY14847"/>
                </a:cxn>
                <a:cxn ang="0">
                  <a:pos x="connsiteX14848" y="connsiteY14848"/>
                </a:cxn>
                <a:cxn ang="0">
                  <a:pos x="connsiteX14849" y="connsiteY14849"/>
                </a:cxn>
                <a:cxn ang="0">
                  <a:pos x="connsiteX14850" y="connsiteY14850"/>
                </a:cxn>
                <a:cxn ang="0">
                  <a:pos x="connsiteX14851" y="connsiteY14851"/>
                </a:cxn>
                <a:cxn ang="0">
                  <a:pos x="connsiteX14852" y="connsiteY14852"/>
                </a:cxn>
                <a:cxn ang="0">
                  <a:pos x="connsiteX14853" y="connsiteY14853"/>
                </a:cxn>
                <a:cxn ang="0">
                  <a:pos x="connsiteX14854" y="connsiteY14854"/>
                </a:cxn>
                <a:cxn ang="0">
                  <a:pos x="connsiteX14855" y="connsiteY14855"/>
                </a:cxn>
                <a:cxn ang="0">
                  <a:pos x="connsiteX14856" y="connsiteY14856"/>
                </a:cxn>
                <a:cxn ang="0">
                  <a:pos x="connsiteX14857" y="connsiteY14857"/>
                </a:cxn>
                <a:cxn ang="0">
                  <a:pos x="connsiteX14858" y="connsiteY14858"/>
                </a:cxn>
                <a:cxn ang="0">
                  <a:pos x="connsiteX14859" y="connsiteY14859"/>
                </a:cxn>
                <a:cxn ang="0">
                  <a:pos x="connsiteX14860" y="connsiteY14860"/>
                </a:cxn>
                <a:cxn ang="0">
                  <a:pos x="connsiteX14861" y="connsiteY14861"/>
                </a:cxn>
                <a:cxn ang="0">
                  <a:pos x="connsiteX14862" y="connsiteY14862"/>
                </a:cxn>
                <a:cxn ang="0">
                  <a:pos x="connsiteX14863" y="connsiteY14863"/>
                </a:cxn>
                <a:cxn ang="0">
                  <a:pos x="connsiteX14864" y="connsiteY14864"/>
                </a:cxn>
                <a:cxn ang="0">
                  <a:pos x="connsiteX14865" y="connsiteY14865"/>
                </a:cxn>
                <a:cxn ang="0">
                  <a:pos x="connsiteX14866" y="connsiteY14866"/>
                </a:cxn>
                <a:cxn ang="0">
                  <a:pos x="connsiteX14867" y="connsiteY14867"/>
                </a:cxn>
                <a:cxn ang="0">
                  <a:pos x="connsiteX14868" y="connsiteY14868"/>
                </a:cxn>
                <a:cxn ang="0">
                  <a:pos x="connsiteX14869" y="connsiteY14869"/>
                </a:cxn>
                <a:cxn ang="0">
                  <a:pos x="connsiteX14870" y="connsiteY14870"/>
                </a:cxn>
                <a:cxn ang="0">
                  <a:pos x="connsiteX14871" y="connsiteY14871"/>
                </a:cxn>
                <a:cxn ang="0">
                  <a:pos x="connsiteX14872" y="connsiteY14872"/>
                </a:cxn>
                <a:cxn ang="0">
                  <a:pos x="connsiteX14873" y="connsiteY14873"/>
                </a:cxn>
                <a:cxn ang="0">
                  <a:pos x="connsiteX14874" y="connsiteY14874"/>
                </a:cxn>
                <a:cxn ang="0">
                  <a:pos x="connsiteX14875" y="connsiteY14875"/>
                </a:cxn>
                <a:cxn ang="0">
                  <a:pos x="connsiteX14876" y="connsiteY14876"/>
                </a:cxn>
                <a:cxn ang="0">
                  <a:pos x="connsiteX14877" y="connsiteY14877"/>
                </a:cxn>
                <a:cxn ang="0">
                  <a:pos x="connsiteX14878" y="connsiteY14878"/>
                </a:cxn>
                <a:cxn ang="0">
                  <a:pos x="connsiteX14879" y="connsiteY14879"/>
                </a:cxn>
                <a:cxn ang="0">
                  <a:pos x="connsiteX14880" y="connsiteY14880"/>
                </a:cxn>
                <a:cxn ang="0">
                  <a:pos x="connsiteX14881" y="connsiteY14881"/>
                </a:cxn>
                <a:cxn ang="0">
                  <a:pos x="connsiteX14882" y="connsiteY14882"/>
                </a:cxn>
                <a:cxn ang="0">
                  <a:pos x="connsiteX14883" y="connsiteY14883"/>
                </a:cxn>
                <a:cxn ang="0">
                  <a:pos x="connsiteX14884" y="connsiteY14884"/>
                </a:cxn>
                <a:cxn ang="0">
                  <a:pos x="connsiteX14885" y="connsiteY14885"/>
                </a:cxn>
                <a:cxn ang="0">
                  <a:pos x="connsiteX14886" y="connsiteY14886"/>
                </a:cxn>
                <a:cxn ang="0">
                  <a:pos x="connsiteX14887" y="connsiteY14887"/>
                </a:cxn>
                <a:cxn ang="0">
                  <a:pos x="connsiteX14888" y="connsiteY14888"/>
                </a:cxn>
                <a:cxn ang="0">
                  <a:pos x="connsiteX14889" y="connsiteY14889"/>
                </a:cxn>
                <a:cxn ang="0">
                  <a:pos x="connsiteX14890" y="connsiteY14890"/>
                </a:cxn>
                <a:cxn ang="0">
                  <a:pos x="connsiteX14891" y="connsiteY14891"/>
                </a:cxn>
                <a:cxn ang="0">
                  <a:pos x="connsiteX14892" y="connsiteY14892"/>
                </a:cxn>
                <a:cxn ang="0">
                  <a:pos x="connsiteX14893" y="connsiteY14893"/>
                </a:cxn>
                <a:cxn ang="0">
                  <a:pos x="connsiteX14894" y="connsiteY14894"/>
                </a:cxn>
                <a:cxn ang="0">
                  <a:pos x="connsiteX14895" y="connsiteY14895"/>
                </a:cxn>
                <a:cxn ang="0">
                  <a:pos x="connsiteX14896" y="connsiteY14896"/>
                </a:cxn>
                <a:cxn ang="0">
                  <a:pos x="connsiteX14897" y="connsiteY14897"/>
                </a:cxn>
                <a:cxn ang="0">
                  <a:pos x="connsiteX14898" y="connsiteY14898"/>
                </a:cxn>
                <a:cxn ang="0">
                  <a:pos x="connsiteX14899" y="connsiteY14899"/>
                </a:cxn>
                <a:cxn ang="0">
                  <a:pos x="connsiteX14900" y="connsiteY14900"/>
                </a:cxn>
                <a:cxn ang="0">
                  <a:pos x="connsiteX14901" y="connsiteY14901"/>
                </a:cxn>
                <a:cxn ang="0">
                  <a:pos x="connsiteX14902" y="connsiteY14902"/>
                </a:cxn>
                <a:cxn ang="0">
                  <a:pos x="connsiteX14903" y="connsiteY14903"/>
                </a:cxn>
                <a:cxn ang="0">
                  <a:pos x="connsiteX14904" y="connsiteY14904"/>
                </a:cxn>
                <a:cxn ang="0">
                  <a:pos x="connsiteX14905" y="connsiteY14905"/>
                </a:cxn>
                <a:cxn ang="0">
                  <a:pos x="connsiteX14906" y="connsiteY14906"/>
                </a:cxn>
                <a:cxn ang="0">
                  <a:pos x="connsiteX14907" y="connsiteY14907"/>
                </a:cxn>
                <a:cxn ang="0">
                  <a:pos x="connsiteX14908" y="connsiteY14908"/>
                </a:cxn>
                <a:cxn ang="0">
                  <a:pos x="connsiteX14909" y="connsiteY14909"/>
                </a:cxn>
                <a:cxn ang="0">
                  <a:pos x="connsiteX14910" y="connsiteY14910"/>
                </a:cxn>
                <a:cxn ang="0">
                  <a:pos x="connsiteX14911" y="connsiteY14911"/>
                </a:cxn>
                <a:cxn ang="0">
                  <a:pos x="connsiteX14912" y="connsiteY14912"/>
                </a:cxn>
                <a:cxn ang="0">
                  <a:pos x="connsiteX14913" y="connsiteY14913"/>
                </a:cxn>
                <a:cxn ang="0">
                  <a:pos x="connsiteX14914" y="connsiteY14914"/>
                </a:cxn>
                <a:cxn ang="0">
                  <a:pos x="connsiteX14915" y="connsiteY14915"/>
                </a:cxn>
                <a:cxn ang="0">
                  <a:pos x="connsiteX14916" y="connsiteY14916"/>
                </a:cxn>
                <a:cxn ang="0">
                  <a:pos x="connsiteX14917" y="connsiteY14917"/>
                </a:cxn>
                <a:cxn ang="0">
                  <a:pos x="connsiteX14918" y="connsiteY14918"/>
                </a:cxn>
                <a:cxn ang="0">
                  <a:pos x="connsiteX14919" y="connsiteY14919"/>
                </a:cxn>
                <a:cxn ang="0">
                  <a:pos x="connsiteX14920" y="connsiteY14920"/>
                </a:cxn>
                <a:cxn ang="0">
                  <a:pos x="connsiteX14921" y="connsiteY14921"/>
                </a:cxn>
                <a:cxn ang="0">
                  <a:pos x="connsiteX14922" y="connsiteY14922"/>
                </a:cxn>
                <a:cxn ang="0">
                  <a:pos x="connsiteX14923" y="connsiteY14923"/>
                </a:cxn>
                <a:cxn ang="0">
                  <a:pos x="connsiteX14924" y="connsiteY14924"/>
                </a:cxn>
                <a:cxn ang="0">
                  <a:pos x="connsiteX14925" y="connsiteY14925"/>
                </a:cxn>
                <a:cxn ang="0">
                  <a:pos x="connsiteX14926" y="connsiteY14926"/>
                </a:cxn>
                <a:cxn ang="0">
                  <a:pos x="connsiteX14927" y="connsiteY14927"/>
                </a:cxn>
                <a:cxn ang="0">
                  <a:pos x="connsiteX14928" y="connsiteY14928"/>
                </a:cxn>
                <a:cxn ang="0">
                  <a:pos x="connsiteX14929" y="connsiteY14929"/>
                </a:cxn>
                <a:cxn ang="0">
                  <a:pos x="connsiteX14930" y="connsiteY14930"/>
                </a:cxn>
                <a:cxn ang="0">
                  <a:pos x="connsiteX14931" y="connsiteY14931"/>
                </a:cxn>
                <a:cxn ang="0">
                  <a:pos x="connsiteX14932" y="connsiteY14932"/>
                </a:cxn>
                <a:cxn ang="0">
                  <a:pos x="connsiteX14933" y="connsiteY14933"/>
                </a:cxn>
                <a:cxn ang="0">
                  <a:pos x="connsiteX14934" y="connsiteY14934"/>
                </a:cxn>
                <a:cxn ang="0">
                  <a:pos x="connsiteX14935" y="connsiteY14935"/>
                </a:cxn>
                <a:cxn ang="0">
                  <a:pos x="connsiteX14936" y="connsiteY14936"/>
                </a:cxn>
                <a:cxn ang="0">
                  <a:pos x="connsiteX14937" y="connsiteY14937"/>
                </a:cxn>
                <a:cxn ang="0">
                  <a:pos x="connsiteX14938" y="connsiteY14938"/>
                </a:cxn>
                <a:cxn ang="0">
                  <a:pos x="connsiteX14939" y="connsiteY14939"/>
                </a:cxn>
                <a:cxn ang="0">
                  <a:pos x="connsiteX14940" y="connsiteY14940"/>
                </a:cxn>
                <a:cxn ang="0">
                  <a:pos x="connsiteX14941" y="connsiteY14941"/>
                </a:cxn>
                <a:cxn ang="0">
                  <a:pos x="connsiteX14942" y="connsiteY14942"/>
                </a:cxn>
                <a:cxn ang="0">
                  <a:pos x="connsiteX14943" y="connsiteY14943"/>
                </a:cxn>
                <a:cxn ang="0">
                  <a:pos x="connsiteX14944" y="connsiteY14944"/>
                </a:cxn>
                <a:cxn ang="0">
                  <a:pos x="connsiteX14945" y="connsiteY14945"/>
                </a:cxn>
                <a:cxn ang="0">
                  <a:pos x="connsiteX14946" y="connsiteY14946"/>
                </a:cxn>
                <a:cxn ang="0">
                  <a:pos x="connsiteX14947" y="connsiteY14947"/>
                </a:cxn>
                <a:cxn ang="0">
                  <a:pos x="connsiteX14948" y="connsiteY14948"/>
                </a:cxn>
                <a:cxn ang="0">
                  <a:pos x="connsiteX14949" y="connsiteY14949"/>
                </a:cxn>
                <a:cxn ang="0">
                  <a:pos x="connsiteX14950" y="connsiteY14950"/>
                </a:cxn>
                <a:cxn ang="0">
                  <a:pos x="connsiteX14951" y="connsiteY14951"/>
                </a:cxn>
                <a:cxn ang="0">
                  <a:pos x="connsiteX14952" y="connsiteY14952"/>
                </a:cxn>
                <a:cxn ang="0">
                  <a:pos x="connsiteX14953" y="connsiteY14953"/>
                </a:cxn>
                <a:cxn ang="0">
                  <a:pos x="connsiteX14954" y="connsiteY14954"/>
                </a:cxn>
                <a:cxn ang="0">
                  <a:pos x="connsiteX14955" y="connsiteY14955"/>
                </a:cxn>
                <a:cxn ang="0">
                  <a:pos x="connsiteX14956" y="connsiteY14956"/>
                </a:cxn>
                <a:cxn ang="0">
                  <a:pos x="connsiteX14957" y="connsiteY14957"/>
                </a:cxn>
                <a:cxn ang="0">
                  <a:pos x="connsiteX14958" y="connsiteY14958"/>
                </a:cxn>
                <a:cxn ang="0">
                  <a:pos x="connsiteX14959" y="connsiteY14959"/>
                </a:cxn>
                <a:cxn ang="0">
                  <a:pos x="connsiteX14960" y="connsiteY14960"/>
                </a:cxn>
                <a:cxn ang="0">
                  <a:pos x="connsiteX14961" y="connsiteY14961"/>
                </a:cxn>
                <a:cxn ang="0">
                  <a:pos x="connsiteX14962" y="connsiteY14962"/>
                </a:cxn>
                <a:cxn ang="0">
                  <a:pos x="connsiteX14963" y="connsiteY14963"/>
                </a:cxn>
                <a:cxn ang="0">
                  <a:pos x="connsiteX14964" y="connsiteY14964"/>
                </a:cxn>
                <a:cxn ang="0">
                  <a:pos x="connsiteX14965" y="connsiteY14965"/>
                </a:cxn>
                <a:cxn ang="0">
                  <a:pos x="connsiteX14966" y="connsiteY14966"/>
                </a:cxn>
                <a:cxn ang="0">
                  <a:pos x="connsiteX14967" y="connsiteY14967"/>
                </a:cxn>
                <a:cxn ang="0">
                  <a:pos x="connsiteX14968" y="connsiteY14968"/>
                </a:cxn>
                <a:cxn ang="0">
                  <a:pos x="connsiteX14969" y="connsiteY14969"/>
                </a:cxn>
                <a:cxn ang="0">
                  <a:pos x="connsiteX14970" y="connsiteY14970"/>
                </a:cxn>
                <a:cxn ang="0">
                  <a:pos x="connsiteX14971" y="connsiteY14971"/>
                </a:cxn>
                <a:cxn ang="0">
                  <a:pos x="connsiteX14972" y="connsiteY14972"/>
                </a:cxn>
                <a:cxn ang="0">
                  <a:pos x="connsiteX14973" y="connsiteY14973"/>
                </a:cxn>
                <a:cxn ang="0">
                  <a:pos x="connsiteX14974" y="connsiteY14974"/>
                </a:cxn>
                <a:cxn ang="0">
                  <a:pos x="connsiteX14975" y="connsiteY14975"/>
                </a:cxn>
                <a:cxn ang="0">
                  <a:pos x="connsiteX14976" y="connsiteY14976"/>
                </a:cxn>
                <a:cxn ang="0">
                  <a:pos x="connsiteX14977" y="connsiteY14977"/>
                </a:cxn>
                <a:cxn ang="0">
                  <a:pos x="connsiteX14978" y="connsiteY14978"/>
                </a:cxn>
                <a:cxn ang="0">
                  <a:pos x="connsiteX14979" y="connsiteY14979"/>
                </a:cxn>
                <a:cxn ang="0">
                  <a:pos x="connsiteX14980" y="connsiteY14980"/>
                </a:cxn>
                <a:cxn ang="0">
                  <a:pos x="connsiteX14981" y="connsiteY14981"/>
                </a:cxn>
                <a:cxn ang="0">
                  <a:pos x="connsiteX14982" y="connsiteY14982"/>
                </a:cxn>
                <a:cxn ang="0">
                  <a:pos x="connsiteX14983" y="connsiteY14983"/>
                </a:cxn>
                <a:cxn ang="0">
                  <a:pos x="connsiteX14984" y="connsiteY14984"/>
                </a:cxn>
                <a:cxn ang="0">
                  <a:pos x="connsiteX14985" y="connsiteY14985"/>
                </a:cxn>
                <a:cxn ang="0">
                  <a:pos x="connsiteX14986" y="connsiteY14986"/>
                </a:cxn>
                <a:cxn ang="0">
                  <a:pos x="connsiteX14987" y="connsiteY14987"/>
                </a:cxn>
                <a:cxn ang="0">
                  <a:pos x="connsiteX14988" y="connsiteY14988"/>
                </a:cxn>
                <a:cxn ang="0">
                  <a:pos x="connsiteX14989" y="connsiteY14989"/>
                </a:cxn>
                <a:cxn ang="0">
                  <a:pos x="connsiteX14990" y="connsiteY14990"/>
                </a:cxn>
                <a:cxn ang="0">
                  <a:pos x="connsiteX14991" y="connsiteY14991"/>
                </a:cxn>
                <a:cxn ang="0">
                  <a:pos x="connsiteX14992" y="connsiteY14992"/>
                </a:cxn>
                <a:cxn ang="0">
                  <a:pos x="connsiteX14993" y="connsiteY14993"/>
                </a:cxn>
                <a:cxn ang="0">
                  <a:pos x="connsiteX14994" y="connsiteY14994"/>
                </a:cxn>
                <a:cxn ang="0">
                  <a:pos x="connsiteX14995" y="connsiteY14995"/>
                </a:cxn>
                <a:cxn ang="0">
                  <a:pos x="connsiteX14996" y="connsiteY14996"/>
                </a:cxn>
                <a:cxn ang="0">
                  <a:pos x="connsiteX14997" y="connsiteY14997"/>
                </a:cxn>
                <a:cxn ang="0">
                  <a:pos x="connsiteX14998" y="connsiteY14998"/>
                </a:cxn>
                <a:cxn ang="0">
                  <a:pos x="connsiteX14999" y="connsiteY14999"/>
                </a:cxn>
                <a:cxn ang="0">
                  <a:pos x="connsiteX15000" y="connsiteY15000"/>
                </a:cxn>
                <a:cxn ang="0">
                  <a:pos x="connsiteX15001" y="connsiteY15001"/>
                </a:cxn>
                <a:cxn ang="0">
                  <a:pos x="connsiteX15002" y="connsiteY15002"/>
                </a:cxn>
                <a:cxn ang="0">
                  <a:pos x="connsiteX15003" y="connsiteY15003"/>
                </a:cxn>
                <a:cxn ang="0">
                  <a:pos x="connsiteX15004" y="connsiteY15004"/>
                </a:cxn>
                <a:cxn ang="0">
                  <a:pos x="connsiteX15005" y="connsiteY15005"/>
                </a:cxn>
                <a:cxn ang="0">
                  <a:pos x="connsiteX15006" y="connsiteY15006"/>
                </a:cxn>
                <a:cxn ang="0">
                  <a:pos x="connsiteX15007" y="connsiteY15007"/>
                </a:cxn>
                <a:cxn ang="0">
                  <a:pos x="connsiteX15008" y="connsiteY15008"/>
                </a:cxn>
                <a:cxn ang="0">
                  <a:pos x="connsiteX15009" y="connsiteY15009"/>
                </a:cxn>
                <a:cxn ang="0">
                  <a:pos x="connsiteX15010" y="connsiteY15010"/>
                </a:cxn>
                <a:cxn ang="0">
                  <a:pos x="connsiteX15011" y="connsiteY15011"/>
                </a:cxn>
                <a:cxn ang="0">
                  <a:pos x="connsiteX15012" y="connsiteY15012"/>
                </a:cxn>
                <a:cxn ang="0">
                  <a:pos x="connsiteX15013" y="connsiteY15013"/>
                </a:cxn>
                <a:cxn ang="0">
                  <a:pos x="connsiteX15014" y="connsiteY15014"/>
                </a:cxn>
                <a:cxn ang="0">
                  <a:pos x="connsiteX15015" y="connsiteY15015"/>
                </a:cxn>
                <a:cxn ang="0">
                  <a:pos x="connsiteX15016" y="connsiteY15016"/>
                </a:cxn>
                <a:cxn ang="0">
                  <a:pos x="connsiteX15017" y="connsiteY15017"/>
                </a:cxn>
                <a:cxn ang="0">
                  <a:pos x="connsiteX15018" y="connsiteY15018"/>
                </a:cxn>
                <a:cxn ang="0">
                  <a:pos x="connsiteX15019" y="connsiteY15019"/>
                </a:cxn>
                <a:cxn ang="0">
                  <a:pos x="connsiteX15020" y="connsiteY15020"/>
                </a:cxn>
                <a:cxn ang="0">
                  <a:pos x="connsiteX15021" y="connsiteY15021"/>
                </a:cxn>
                <a:cxn ang="0">
                  <a:pos x="connsiteX15022" y="connsiteY15022"/>
                </a:cxn>
                <a:cxn ang="0">
                  <a:pos x="connsiteX15023" y="connsiteY15023"/>
                </a:cxn>
                <a:cxn ang="0">
                  <a:pos x="connsiteX15024" y="connsiteY15024"/>
                </a:cxn>
                <a:cxn ang="0">
                  <a:pos x="connsiteX15025" y="connsiteY15025"/>
                </a:cxn>
                <a:cxn ang="0">
                  <a:pos x="connsiteX15026" y="connsiteY15026"/>
                </a:cxn>
                <a:cxn ang="0">
                  <a:pos x="connsiteX15027" y="connsiteY15027"/>
                </a:cxn>
                <a:cxn ang="0">
                  <a:pos x="connsiteX15028" y="connsiteY15028"/>
                </a:cxn>
                <a:cxn ang="0">
                  <a:pos x="connsiteX15029" y="connsiteY15029"/>
                </a:cxn>
                <a:cxn ang="0">
                  <a:pos x="connsiteX15030" y="connsiteY15030"/>
                </a:cxn>
                <a:cxn ang="0">
                  <a:pos x="connsiteX15031" y="connsiteY15031"/>
                </a:cxn>
                <a:cxn ang="0">
                  <a:pos x="connsiteX15032" y="connsiteY15032"/>
                </a:cxn>
                <a:cxn ang="0">
                  <a:pos x="connsiteX15033" y="connsiteY15033"/>
                </a:cxn>
                <a:cxn ang="0">
                  <a:pos x="connsiteX15034" y="connsiteY15034"/>
                </a:cxn>
                <a:cxn ang="0">
                  <a:pos x="connsiteX15035" y="connsiteY15035"/>
                </a:cxn>
                <a:cxn ang="0">
                  <a:pos x="connsiteX15036" y="connsiteY15036"/>
                </a:cxn>
                <a:cxn ang="0">
                  <a:pos x="connsiteX15037" y="connsiteY15037"/>
                </a:cxn>
                <a:cxn ang="0">
                  <a:pos x="connsiteX15038" y="connsiteY15038"/>
                </a:cxn>
                <a:cxn ang="0">
                  <a:pos x="connsiteX15039" y="connsiteY15039"/>
                </a:cxn>
                <a:cxn ang="0">
                  <a:pos x="connsiteX15040" y="connsiteY15040"/>
                </a:cxn>
                <a:cxn ang="0">
                  <a:pos x="connsiteX15041" y="connsiteY15041"/>
                </a:cxn>
                <a:cxn ang="0">
                  <a:pos x="connsiteX15042" y="connsiteY15042"/>
                </a:cxn>
                <a:cxn ang="0">
                  <a:pos x="connsiteX15043" y="connsiteY15043"/>
                </a:cxn>
                <a:cxn ang="0">
                  <a:pos x="connsiteX15044" y="connsiteY15044"/>
                </a:cxn>
                <a:cxn ang="0">
                  <a:pos x="connsiteX15045" y="connsiteY15045"/>
                </a:cxn>
                <a:cxn ang="0">
                  <a:pos x="connsiteX15046" y="connsiteY15046"/>
                </a:cxn>
                <a:cxn ang="0">
                  <a:pos x="connsiteX15047" y="connsiteY15047"/>
                </a:cxn>
                <a:cxn ang="0">
                  <a:pos x="connsiteX15048" y="connsiteY15048"/>
                </a:cxn>
                <a:cxn ang="0">
                  <a:pos x="connsiteX15049" y="connsiteY15049"/>
                </a:cxn>
                <a:cxn ang="0">
                  <a:pos x="connsiteX15050" y="connsiteY15050"/>
                </a:cxn>
                <a:cxn ang="0">
                  <a:pos x="connsiteX15051" y="connsiteY15051"/>
                </a:cxn>
                <a:cxn ang="0">
                  <a:pos x="connsiteX15052" y="connsiteY15052"/>
                </a:cxn>
                <a:cxn ang="0">
                  <a:pos x="connsiteX15053" y="connsiteY15053"/>
                </a:cxn>
                <a:cxn ang="0">
                  <a:pos x="connsiteX15054" y="connsiteY15054"/>
                </a:cxn>
                <a:cxn ang="0">
                  <a:pos x="connsiteX15055" y="connsiteY15055"/>
                </a:cxn>
                <a:cxn ang="0">
                  <a:pos x="connsiteX15056" y="connsiteY15056"/>
                </a:cxn>
                <a:cxn ang="0">
                  <a:pos x="connsiteX15057" y="connsiteY15057"/>
                </a:cxn>
                <a:cxn ang="0">
                  <a:pos x="connsiteX15058" y="connsiteY15058"/>
                </a:cxn>
                <a:cxn ang="0">
                  <a:pos x="connsiteX15059" y="connsiteY15059"/>
                </a:cxn>
                <a:cxn ang="0">
                  <a:pos x="connsiteX15060" y="connsiteY15060"/>
                </a:cxn>
                <a:cxn ang="0">
                  <a:pos x="connsiteX15061" y="connsiteY15061"/>
                </a:cxn>
                <a:cxn ang="0">
                  <a:pos x="connsiteX15062" y="connsiteY15062"/>
                </a:cxn>
                <a:cxn ang="0">
                  <a:pos x="connsiteX15063" y="connsiteY15063"/>
                </a:cxn>
                <a:cxn ang="0">
                  <a:pos x="connsiteX15064" y="connsiteY15064"/>
                </a:cxn>
                <a:cxn ang="0">
                  <a:pos x="connsiteX15065" y="connsiteY15065"/>
                </a:cxn>
                <a:cxn ang="0">
                  <a:pos x="connsiteX15066" y="connsiteY15066"/>
                </a:cxn>
                <a:cxn ang="0">
                  <a:pos x="connsiteX15067" y="connsiteY15067"/>
                </a:cxn>
                <a:cxn ang="0">
                  <a:pos x="connsiteX15068" y="connsiteY15068"/>
                </a:cxn>
                <a:cxn ang="0">
                  <a:pos x="connsiteX15069" y="connsiteY15069"/>
                </a:cxn>
                <a:cxn ang="0">
                  <a:pos x="connsiteX15070" y="connsiteY15070"/>
                </a:cxn>
                <a:cxn ang="0">
                  <a:pos x="connsiteX15071" y="connsiteY15071"/>
                </a:cxn>
                <a:cxn ang="0">
                  <a:pos x="connsiteX15072" y="connsiteY15072"/>
                </a:cxn>
                <a:cxn ang="0">
                  <a:pos x="connsiteX15073" y="connsiteY15073"/>
                </a:cxn>
                <a:cxn ang="0">
                  <a:pos x="connsiteX15074" y="connsiteY15074"/>
                </a:cxn>
                <a:cxn ang="0">
                  <a:pos x="connsiteX15075" y="connsiteY15075"/>
                </a:cxn>
                <a:cxn ang="0">
                  <a:pos x="connsiteX15076" y="connsiteY15076"/>
                </a:cxn>
                <a:cxn ang="0">
                  <a:pos x="connsiteX15077" y="connsiteY15077"/>
                </a:cxn>
                <a:cxn ang="0">
                  <a:pos x="connsiteX15078" y="connsiteY15078"/>
                </a:cxn>
                <a:cxn ang="0">
                  <a:pos x="connsiteX15079" y="connsiteY15079"/>
                </a:cxn>
                <a:cxn ang="0">
                  <a:pos x="connsiteX15080" y="connsiteY15080"/>
                </a:cxn>
                <a:cxn ang="0">
                  <a:pos x="connsiteX15081" y="connsiteY15081"/>
                </a:cxn>
                <a:cxn ang="0">
                  <a:pos x="connsiteX15082" y="connsiteY15082"/>
                </a:cxn>
                <a:cxn ang="0">
                  <a:pos x="connsiteX15083" y="connsiteY15083"/>
                </a:cxn>
                <a:cxn ang="0">
                  <a:pos x="connsiteX15084" y="connsiteY15084"/>
                </a:cxn>
                <a:cxn ang="0">
                  <a:pos x="connsiteX15085" y="connsiteY15085"/>
                </a:cxn>
                <a:cxn ang="0">
                  <a:pos x="connsiteX15086" y="connsiteY15086"/>
                </a:cxn>
                <a:cxn ang="0">
                  <a:pos x="connsiteX15087" y="connsiteY15087"/>
                </a:cxn>
                <a:cxn ang="0">
                  <a:pos x="connsiteX15088" y="connsiteY15088"/>
                </a:cxn>
                <a:cxn ang="0">
                  <a:pos x="connsiteX15089" y="connsiteY15089"/>
                </a:cxn>
                <a:cxn ang="0">
                  <a:pos x="connsiteX15090" y="connsiteY15090"/>
                </a:cxn>
                <a:cxn ang="0">
                  <a:pos x="connsiteX15091" y="connsiteY15091"/>
                </a:cxn>
                <a:cxn ang="0">
                  <a:pos x="connsiteX15092" y="connsiteY15092"/>
                </a:cxn>
                <a:cxn ang="0">
                  <a:pos x="connsiteX15093" y="connsiteY15093"/>
                </a:cxn>
                <a:cxn ang="0">
                  <a:pos x="connsiteX15094" y="connsiteY15094"/>
                </a:cxn>
                <a:cxn ang="0">
                  <a:pos x="connsiteX15095" y="connsiteY15095"/>
                </a:cxn>
                <a:cxn ang="0">
                  <a:pos x="connsiteX15096" y="connsiteY15096"/>
                </a:cxn>
                <a:cxn ang="0">
                  <a:pos x="connsiteX15097" y="connsiteY15097"/>
                </a:cxn>
                <a:cxn ang="0">
                  <a:pos x="connsiteX15098" y="connsiteY15098"/>
                </a:cxn>
                <a:cxn ang="0">
                  <a:pos x="connsiteX15099" y="connsiteY15099"/>
                </a:cxn>
                <a:cxn ang="0">
                  <a:pos x="connsiteX15100" y="connsiteY15100"/>
                </a:cxn>
                <a:cxn ang="0">
                  <a:pos x="connsiteX15101" y="connsiteY15101"/>
                </a:cxn>
                <a:cxn ang="0">
                  <a:pos x="connsiteX15102" y="connsiteY15102"/>
                </a:cxn>
                <a:cxn ang="0">
                  <a:pos x="connsiteX15103" y="connsiteY15103"/>
                </a:cxn>
                <a:cxn ang="0">
                  <a:pos x="connsiteX15104" y="connsiteY15104"/>
                </a:cxn>
                <a:cxn ang="0">
                  <a:pos x="connsiteX15105" y="connsiteY15105"/>
                </a:cxn>
                <a:cxn ang="0">
                  <a:pos x="connsiteX15106" y="connsiteY15106"/>
                </a:cxn>
                <a:cxn ang="0">
                  <a:pos x="connsiteX15107" y="connsiteY15107"/>
                </a:cxn>
                <a:cxn ang="0">
                  <a:pos x="connsiteX15108" y="connsiteY15108"/>
                </a:cxn>
                <a:cxn ang="0">
                  <a:pos x="connsiteX15109" y="connsiteY15109"/>
                </a:cxn>
                <a:cxn ang="0">
                  <a:pos x="connsiteX15110" y="connsiteY15110"/>
                </a:cxn>
                <a:cxn ang="0">
                  <a:pos x="connsiteX15111" y="connsiteY15111"/>
                </a:cxn>
                <a:cxn ang="0">
                  <a:pos x="connsiteX15112" y="connsiteY15112"/>
                </a:cxn>
                <a:cxn ang="0">
                  <a:pos x="connsiteX15113" y="connsiteY15113"/>
                </a:cxn>
                <a:cxn ang="0">
                  <a:pos x="connsiteX15114" y="connsiteY15114"/>
                </a:cxn>
                <a:cxn ang="0">
                  <a:pos x="connsiteX15115" y="connsiteY15115"/>
                </a:cxn>
                <a:cxn ang="0">
                  <a:pos x="connsiteX15116" y="connsiteY15116"/>
                </a:cxn>
                <a:cxn ang="0">
                  <a:pos x="connsiteX15117" y="connsiteY15117"/>
                </a:cxn>
                <a:cxn ang="0">
                  <a:pos x="connsiteX15118" y="connsiteY15118"/>
                </a:cxn>
                <a:cxn ang="0">
                  <a:pos x="connsiteX15119" y="connsiteY15119"/>
                </a:cxn>
                <a:cxn ang="0">
                  <a:pos x="connsiteX15120" y="connsiteY15120"/>
                </a:cxn>
                <a:cxn ang="0">
                  <a:pos x="connsiteX15121" y="connsiteY15121"/>
                </a:cxn>
                <a:cxn ang="0">
                  <a:pos x="connsiteX15122" y="connsiteY15122"/>
                </a:cxn>
                <a:cxn ang="0">
                  <a:pos x="connsiteX15123" y="connsiteY15123"/>
                </a:cxn>
                <a:cxn ang="0">
                  <a:pos x="connsiteX15124" y="connsiteY15124"/>
                </a:cxn>
                <a:cxn ang="0">
                  <a:pos x="connsiteX15125" y="connsiteY15125"/>
                </a:cxn>
                <a:cxn ang="0">
                  <a:pos x="connsiteX15126" y="connsiteY15126"/>
                </a:cxn>
                <a:cxn ang="0">
                  <a:pos x="connsiteX15127" y="connsiteY15127"/>
                </a:cxn>
                <a:cxn ang="0">
                  <a:pos x="connsiteX15128" y="connsiteY15128"/>
                </a:cxn>
                <a:cxn ang="0">
                  <a:pos x="connsiteX15129" y="connsiteY15129"/>
                </a:cxn>
                <a:cxn ang="0">
                  <a:pos x="connsiteX15130" y="connsiteY15130"/>
                </a:cxn>
                <a:cxn ang="0">
                  <a:pos x="connsiteX15131" y="connsiteY15131"/>
                </a:cxn>
                <a:cxn ang="0">
                  <a:pos x="connsiteX15132" y="connsiteY15132"/>
                </a:cxn>
                <a:cxn ang="0">
                  <a:pos x="connsiteX15133" y="connsiteY15133"/>
                </a:cxn>
                <a:cxn ang="0">
                  <a:pos x="connsiteX15134" y="connsiteY15134"/>
                </a:cxn>
                <a:cxn ang="0">
                  <a:pos x="connsiteX15135" y="connsiteY15135"/>
                </a:cxn>
                <a:cxn ang="0">
                  <a:pos x="connsiteX15136" y="connsiteY15136"/>
                </a:cxn>
                <a:cxn ang="0">
                  <a:pos x="connsiteX15137" y="connsiteY15137"/>
                </a:cxn>
                <a:cxn ang="0">
                  <a:pos x="connsiteX15138" y="connsiteY15138"/>
                </a:cxn>
                <a:cxn ang="0">
                  <a:pos x="connsiteX15139" y="connsiteY15139"/>
                </a:cxn>
                <a:cxn ang="0">
                  <a:pos x="connsiteX15140" y="connsiteY15140"/>
                </a:cxn>
                <a:cxn ang="0">
                  <a:pos x="connsiteX15141" y="connsiteY15141"/>
                </a:cxn>
                <a:cxn ang="0">
                  <a:pos x="connsiteX15142" y="connsiteY15142"/>
                </a:cxn>
                <a:cxn ang="0">
                  <a:pos x="connsiteX15143" y="connsiteY15143"/>
                </a:cxn>
                <a:cxn ang="0">
                  <a:pos x="connsiteX15144" y="connsiteY15144"/>
                </a:cxn>
                <a:cxn ang="0">
                  <a:pos x="connsiteX15145" y="connsiteY15145"/>
                </a:cxn>
                <a:cxn ang="0">
                  <a:pos x="connsiteX15146" y="connsiteY15146"/>
                </a:cxn>
                <a:cxn ang="0">
                  <a:pos x="connsiteX15147" y="connsiteY15147"/>
                </a:cxn>
                <a:cxn ang="0">
                  <a:pos x="connsiteX15148" y="connsiteY15148"/>
                </a:cxn>
                <a:cxn ang="0">
                  <a:pos x="connsiteX15149" y="connsiteY15149"/>
                </a:cxn>
                <a:cxn ang="0">
                  <a:pos x="connsiteX15150" y="connsiteY15150"/>
                </a:cxn>
                <a:cxn ang="0">
                  <a:pos x="connsiteX15151" y="connsiteY15151"/>
                </a:cxn>
                <a:cxn ang="0">
                  <a:pos x="connsiteX15152" y="connsiteY15152"/>
                </a:cxn>
                <a:cxn ang="0">
                  <a:pos x="connsiteX15153" y="connsiteY15153"/>
                </a:cxn>
                <a:cxn ang="0">
                  <a:pos x="connsiteX15154" y="connsiteY15154"/>
                </a:cxn>
                <a:cxn ang="0">
                  <a:pos x="connsiteX15155" y="connsiteY15155"/>
                </a:cxn>
                <a:cxn ang="0">
                  <a:pos x="connsiteX15156" y="connsiteY15156"/>
                </a:cxn>
                <a:cxn ang="0">
                  <a:pos x="connsiteX15157" y="connsiteY15157"/>
                </a:cxn>
                <a:cxn ang="0">
                  <a:pos x="connsiteX15158" y="connsiteY15158"/>
                </a:cxn>
                <a:cxn ang="0">
                  <a:pos x="connsiteX15159" y="connsiteY15159"/>
                </a:cxn>
                <a:cxn ang="0">
                  <a:pos x="connsiteX15160" y="connsiteY15160"/>
                </a:cxn>
                <a:cxn ang="0">
                  <a:pos x="connsiteX15161" y="connsiteY15161"/>
                </a:cxn>
                <a:cxn ang="0">
                  <a:pos x="connsiteX15162" y="connsiteY15162"/>
                </a:cxn>
                <a:cxn ang="0">
                  <a:pos x="connsiteX15163" y="connsiteY15163"/>
                </a:cxn>
                <a:cxn ang="0">
                  <a:pos x="connsiteX15164" y="connsiteY15164"/>
                </a:cxn>
                <a:cxn ang="0">
                  <a:pos x="connsiteX15165" y="connsiteY15165"/>
                </a:cxn>
                <a:cxn ang="0">
                  <a:pos x="connsiteX15166" y="connsiteY15166"/>
                </a:cxn>
                <a:cxn ang="0">
                  <a:pos x="connsiteX15167" y="connsiteY15167"/>
                </a:cxn>
                <a:cxn ang="0">
                  <a:pos x="connsiteX15168" y="connsiteY15168"/>
                </a:cxn>
                <a:cxn ang="0">
                  <a:pos x="connsiteX15169" y="connsiteY15169"/>
                </a:cxn>
                <a:cxn ang="0">
                  <a:pos x="connsiteX15170" y="connsiteY15170"/>
                </a:cxn>
                <a:cxn ang="0">
                  <a:pos x="connsiteX15171" y="connsiteY15171"/>
                </a:cxn>
                <a:cxn ang="0">
                  <a:pos x="connsiteX15172" y="connsiteY15172"/>
                </a:cxn>
                <a:cxn ang="0">
                  <a:pos x="connsiteX15173" y="connsiteY15173"/>
                </a:cxn>
                <a:cxn ang="0">
                  <a:pos x="connsiteX15174" y="connsiteY15174"/>
                </a:cxn>
                <a:cxn ang="0">
                  <a:pos x="connsiteX15175" y="connsiteY15175"/>
                </a:cxn>
                <a:cxn ang="0">
                  <a:pos x="connsiteX15176" y="connsiteY15176"/>
                </a:cxn>
                <a:cxn ang="0">
                  <a:pos x="connsiteX15177" y="connsiteY15177"/>
                </a:cxn>
                <a:cxn ang="0">
                  <a:pos x="connsiteX15178" y="connsiteY15178"/>
                </a:cxn>
                <a:cxn ang="0">
                  <a:pos x="connsiteX15179" y="connsiteY15179"/>
                </a:cxn>
                <a:cxn ang="0">
                  <a:pos x="connsiteX15180" y="connsiteY15180"/>
                </a:cxn>
                <a:cxn ang="0">
                  <a:pos x="connsiteX15181" y="connsiteY15181"/>
                </a:cxn>
                <a:cxn ang="0">
                  <a:pos x="connsiteX15182" y="connsiteY15182"/>
                </a:cxn>
                <a:cxn ang="0">
                  <a:pos x="connsiteX15183" y="connsiteY15183"/>
                </a:cxn>
                <a:cxn ang="0">
                  <a:pos x="connsiteX15184" y="connsiteY15184"/>
                </a:cxn>
                <a:cxn ang="0">
                  <a:pos x="connsiteX15185" y="connsiteY15185"/>
                </a:cxn>
                <a:cxn ang="0">
                  <a:pos x="connsiteX15186" y="connsiteY15186"/>
                </a:cxn>
                <a:cxn ang="0">
                  <a:pos x="connsiteX15187" y="connsiteY15187"/>
                </a:cxn>
                <a:cxn ang="0">
                  <a:pos x="connsiteX15188" y="connsiteY15188"/>
                </a:cxn>
                <a:cxn ang="0">
                  <a:pos x="connsiteX15189" y="connsiteY15189"/>
                </a:cxn>
                <a:cxn ang="0">
                  <a:pos x="connsiteX15190" y="connsiteY15190"/>
                </a:cxn>
                <a:cxn ang="0">
                  <a:pos x="connsiteX15191" y="connsiteY15191"/>
                </a:cxn>
                <a:cxn ang="0">
                  <a:pos x="connsiteX15192" y="connsiteY15192"/>
                </a:cxn>
                <a:cxn ang="0">
                  <a:pos x="connsiteX15193" y="connsiteY15193"/>
                </a:cxn>
                <a:cxn ang="0">
                  <a:pos x="connsiteX15194" y="connsiteY15194"/>
                </a:cxn>
                <a:cxn ang="0">
                  <a:pos x="connsiteX15195" y="connsiteY15195"/>
                </a:cxn>
                <a:cxn ang="0">
                  <a:pos x="connsiteX15196" y="connsiteY15196"/>
                </a:cxn>
                <a:cxn ang="0">
                  <a:pos x="connsiteX15197" y="connsiteY15197"/>
                </a:cxn>
                <a:cxn ang="0">
                  <a:pos x="connsiteX15198" y="connsiteY15198"/>
                </a:cxn>
                <a:cxn ang="0">
                  <a:pos x="connsiteX15199" y="connsiteY15199"/>
                </a:cxn>
                <a:cxn ang="0">
                  <a:pos x="connsiteX15200" y="connsiteY15200"/>
                </a:cxn>
                <a:cxn ang="0">
                  <a:pos x="connsiteX15201" y="connsiteY15201"/>
                </a:cxn>
                <a:cxn ang="0">
                  <a:pos x="connsiteX15202" y="connsiteY15202"/>
                </a:cxn>
                <a:cxn ang="0">
                  <a:pos x="connsiteX15203" y="connsiteY15203"/>
                </a:cxn>
                <a:cxn ang="0">
                  <a:pos x="connsiteX15204" y="connsiteY15204"/>
                </a:cxn>
                <a:cxn ang="0">
                  <a:pos x="connsiteX15205" y="connsiteY15205"/>
                </a:cxn>
                <a:cxn ang="0">
                  <a:pos x="connsiteX15206" y="connsiteY15206"/>
                </a:cxn>
                <a:cxn ang="0">
                  <a:pos x="connsiteX15207" y="connsiteY15207"/>
                </a:cxn>
                <a:cxn ang="0">
                  <a:pos x="connsiteX15208" y="connsiteY15208"/>
                </a:cxn>
                <a:cxn ang="0">
                  <a:pos x="connsiteX15209" y="connsiteY15209"/>
                </a:cxn>
                <a:cxn ang="0">
                  <a:pos x="connsiteX15210" y="connsiteY15210"/>
                </a:cxn>
                <a:cxn ang="0">
                  <a:pos x="connsiteX15211" y="connsiteY15211"/>
                </a:cxn>
                <a:cxn ang="0">
                  <a:pos x="connsiteX15212" y="connsiteY15212"/>
                </a:cxn>
                <a:cxn ang="0">
                  <a:pos x="connsiteX15213" y="connsiteY15213"/>
                </a:cxn>
                <a:cxn ang="0">
                  <a:pos x="connsiteX15214" y="connsiteY15214"/>
                </a:cxn>
                <a:cxn ang="0">
                  <a:pos x="connsiteX15215" y="connsiteY15215"/>
                </a:cxn>
                <a:cxn ang="0">
                  <a:pos x="connsiteX15216" y="connsiteY15216"/>
                </a:cxn>
                <a:cxn ang="0">
                  <a:pos x="connsiteX15217" y="connsiteY15217"/>
                </a:cxn>
                <a:cxn ang="0">
                  <a:pos x="connsiteX15218" y="connsiteY15218"/>
                </a:cxn>
                <a:cxn ang="0">
                  <a:pos x="connsiteX15219" y="connsiteY15219"/>
                </a:cxn>
                <a:cxn ang="0">
                  <a:pos x="connsiteX15220" y="connsiteY15220"/>
                </a:cxn>
                <a:cxn ang="0">
                  <a:pos x="connsiteX15221" y="connsiteY15221"/>
                </a:cxn>
                <a:cxn ang="0">
                  <a:pos x="connsiteX15222" y="connsiteY15222"/>
                </a:cxn>
                <a:cxn ang="0">
                  <a:pos x="connsiteX15223" y="connsiteY15223"/>
                </a:cxn>
                <a:cxn ang="0">
                  <a:pos x="connsiteX15224" y="connsiteY15224"/>
                </a:cxn>
                <a:cxn ang="0">
                  <a:pos x="connsiteX15225" y="connsiteY15225"/>
                </a:cxn>
                <a:cxn ang="0">
                  <a:pos x="connsiteX15226" y="connsiteY15226"/>
                </a:cxn>
                <a:cxn ang="0">
                  <a:pos x="connsiteX15227" y="connsiteY15227"/>
                </a:cxn>
                <a:cxn ang="0">
                  <a:pos x="connsiteX15228" y="connsiteY15228"/>
                </a:cxn>
                <a:cxn ang="0">
                  <a:pos x="connsiteX15229" y="connsiteY15229"/>
                </a:cxn>
                <a:cxn ang="0">
                  <a:pos x="connsiteX15230" y="connsiteY15230"/>
                </a:cxn>
                <a:cxn ang="0">
                  <a:pos x="connsiteX15231" y="connsiteY15231"/>
                </a:cxn>
                <a:cxn ang="0">
                  <a:pos x="connsiteX15232" y="connsiteY15232"/>
                </a:cxn>
                <a:cxn ang="0">
                  <a:pos x="connsiteX15233" y="connsiteY15233"/>
                </a:cxn>
                <a:cxn ang="0">
                  <a:pos x="connsiteX15234" y="connsiteY15234"/>
                </a:cxn>
                <a:cxn ang="0">
                  <a:pos x="connsiteX15235" y="connsiteY15235"/>
                </a:cxn>
                <a:cxn ang="0">
                  <a:pos x="connsiteX15236" y="connsiteY15236"/>
                </a:cxn>
                <a:cxn ang="0">
                  <a:pos x="connsiteX15237" y="connsiteY15237"/>
                </a:cxn>
                <a:cxn ang="0">
                  <a:pos x="connsiteX15238" y="connsiteY15238"/>
                </a:cxn>
                <a:cxn ang="0">
                  <a:pos x="connsiteX15239" y="connsiteY15239"/>
                </a:cxn>
                <a:cxn ang="0">
                  <a:pos x="connsiteX15240" y="connsiteY15240"/>
                </a:cxn>
                <a:cxn ang="0">
                  <a:pos x="connsiteX15241" y="connsiteY15241"/>
                </a:cxn>
                <a:cxn ang="0">
                  <a:pos x="connsiteX15242" y="connsiteY15242"/>
                </a:cxn>
                <a:cxn ang="0">
                  <a:pos x="connsiteX15243" y="connsiteY15243"/>
                </a:cxn>
                <a:cxn ang="0">
                  <a:pos x="connsiteX15244" y="connsiteY15244"/>
                </a:cxn>
                <a:cxn ang="0">
                  <a:pos x="connsiteX15245" y="connsiteY15245"/>
                </a:cxn>
                <a:cxn ang="0">
                  <a:pos x="connsiteX15246" y="connsiteY15246"/>
                </a:cxn>
                <a:cxn ang="0">
                  <a:pos x="connsiteX15247" y="connsiteY15247"/>
                </a:cxn>
                <a:cxn ang="0">
                  <a:pos x="connsiteX15248" y="connsiteY15248"/>
                </a:cxn>
                <a:cxn ang="0">
                  <a:pos x="connsiteX15249" y="connsiteY15249"/>
                </a:cxn>
                <a:cxn ang="0">
                  <a:pos x="connsiteX15250" y="connsiteY15250"/>
                </a:cxn>
                <a:cxn ang="0">
                  <a:pos x="connsiteX15251" y="connsiteY15251"/>
                </a:cxn>
                <a:cxn ang="0">
                  <a:pos x="connsiteX15252" y="connsiteY15252"/>
                </a:cxn>
                <a:cxn ang="0">
                  <a:pos x="connsiteX15253" y="connsiteY15253"/>
                </a:cxn>
                <a:cxn ang="0">
                  <a:pos x="connsiteX15254" y="connsiteY15254"/>
                </a:cxn>
                <a:cxn ang="0">
                  <a:pos x="connsiteX15255" y="connsiteY15255"/>
                </a:cxn>
                <a:cxn ang="0">
                  <a:pos x="connsiteX15256" y="connsiteY15256"/>
                </a:cxn>
                <a:cxn ang="0">
                  <a:pos x="connsiteX15257" y="connsiteY15257"/>
                </a:cxn>
                <a:cxn ang="0">
                  <a:pos x="connsiteX15258" y="connsiteY15258"/>
                </a:cxn>
                <a:cxn ang="0">
                  <a:pos x="connsiteX15259" y="connsiteY15259"/>
                </a:cxn>
                <a:cxn ang="0">
                  <a:pos x="connsiteX15260" y="connsiteY15260"/>
                </a:cxn>
                <a:cxn ang="0">
                  <a:pos x="connsiteX15261" y="connsiteY15261"/>
                </a:cxn>
                <a:cxn ang="0">
                  <a:pos x="connsiteX15262" y="connsiteY15262"/>
                </a:cxn>
                <a:cxn ang="0">
                  <a:pos x="connsiteX15263" y="connsiteY15263"/>
                </a:cxn>
                <a:cxn ang="0">
                  <a:pos x="connsiteX15264" y="connsiteY15264"/>
                </a:cxn>
                <a:cxn ang="0">
                  <a:pos x="connsiteX15265" y="connsiteY15265"/>
                </a:cxn>
                <a:cxn ang="0">
                  <a:pos x="connsiteX15266" y="connsiteY15266"/>
                </a:cxn>
                <a:cxn ang="0">
                  <a:pos x="connsiteX15267" y="connsiteY15267"/>
                </a:cxn>
                <a:cxn ang="0">
                  <a:pos x="connsiteX15268" y="connsiteY15268"/>
                </a:cxn>
                <a:cxn ang="0">
                  <a:pos x="connsiteX15269" y="connsiteY15269"/>
                </a:cxn>
                <a:cxn ang="0">
                  <a:pos x="connsiteX15270" y="connsiteY15270"/>
                </a:cxn>
                <a:cxn ang="0">
                  <a:pos x="connsiteX15271" y="connsiteY15271"/>
                </a:cxn>
                <a:cxn ang="0">
                  <a:pos x="connsiteX15272" y="connsiteY15272"/>
                </a:cxn>
                <a:cxn ang="0">
                  <a:pos x="connsiteX15273" y="connsiteY15273"/>
                </a:cxn>
                <a:cxn ang="0">
                  <a:pos x="connsiteX15274" y="connsiteY15274"/>
                </a:cxn>
                <a:cxn ang="0">
                  <a:pos x="connsiteX15275" y="connsiteY15275"/>
                </a:cxn>
                <a:cxn ang="0">
                  <a:pos x="connsiteX15276" y="connsiteY15276"/>
                </a:cxn>
                <a:cxn ang="0">
                  <a:pos x="connsiteX15277" y="connsiteY15277"/>
                </a:cxn>
                <a:cxn ang="0">
                  <a:pos x="connsiteX15278" y="connsiteY15278"/>
                </a:cxn>
                <a:cxn ang="0">
                  <a:pos x="connsiteX15279" y="connsiteY15279"/>
                </a:cxn>
                <a:cxn ang="0">
                  <a:pos x="connsiteX15280" y="connsiteY15280"/>
                </a:cxn>
                <a:cxn ang="0">
                  <a:pos x="connsiteX15281" y="connsiteY15281"/>
                </a:cxn>
                <a:cxn ang="0">
                  <a:pos x="connsiteX15282" y="connsiteY15282"/>
                </a:cxn>
                <a:cxn ang="0">
                  <a:pos x="connsiteX15283" y="connsiteY15283"/>
                </a:cxn>
                <a:cxn ang="0">
                  <a:pos x="connsiteX15284" y="connsiteY15284"/>
                </a:cxn>
                <a:cxn ang="0">
                  <a:pos x="connsiteX15285" y="connsiteY15285"/>
                </a:cxn>
                <a:cxn ang="0">
                  <a:pos x="connsiteX15286" y="connsiteY15286"/>
                </a:cxn>
                <a:cxn ang="0">
                  <a:pos x="connsiteX15287" y="connsiteY15287"/>
                </a:cxn>
                <a:cxn ang="0">
                  <a:pos x="connsiteX15288" y="connsiteY15288"/>
                </a:cxn>
                <a:cxn ang="0">
                  <a:pos x="connsiteX15289" y="connsiteY15289"/>
                </a:cxn>
                <a:cxn ang="0">
                  <a:pos x="connsiteX15290" y="connsiteY15290"/>
                </a:cxn>
                <a:cxn ang="0">
                  <a:pos x="connsiteX15291" y="connsiteY15291"/>
                </a:cxn>
                <a:cxn ang="0">
                  <a:pos x="connsiteX15292" y="connsiteY15292"/>
                </a:cxn>
                <a:cxn ang="0">
                  <a:pos x="connsiteX15293" y="connsiteY15293"/>
                </a:cxn>
                <a:cxn ang="0">
                  <a:pos x="connsiteX15294" y="connsiteY15294"/>
                </a:cxn>
                <a:cxn ang="0">
                  <a:pos x="connsiteX15295" y="connsiteY15295"/>
                </a:cxn>
                <a:cxn ang="0">
                  <a:pos x="connsiteX15296" y="connsiteY15296"/>
                </a:cxn>
                <a:cxn ang="0">
                  <a:pos x="connsiteX15297" y="connsiteY15297"/>
                </a:cxn>
                <a:cxn ang="0">
                  <a:pos x="connsiteX15298" y="connsiteY15298"/>
                </a:cxn>
                <a:cxn ang="0">
                  <a:pos x="connsiteX15299" y="connsiteY15299"/>
                </a:cxn>
                <a:cxn ang="0">
                  <a:pos x="connsiteX15300" y="connsiteY15300"/>
                </a:cxn>
                <a:cxn ang="0">
                  <a:pos x="connsiteX15301" y="connsiteY15301"/>
                </a:cxn>
                <a:cxn ang="0">
                  <a:pos x="connsiteX15302" y="connsiteY15302"/>
                </a:cxn>
                <a:cxn ang="0">
                  <a:pos x="connsiteX15303" y="connsiteY15303"/>
                </a:cxn>
                <a:cxn ang="0">
                  <a:pos x="connsiteX15304" y="connsiteY15304"/>
                </a:cxn>
                <a:cxn ang="0">
                  <a:pos x="connsiteX15305" y="connsiteY15305"/>
                </a:cxn>
                <a:cxn ang="0">
                  <a:pos x="connsiteX15306" y="connsiteY15306"/>
                </a:cxn>
                <a:cxn ang="0">
                  <a:pos x="connsiteX15307" y="connsiteY15307"/>
                </a:cxn>
                <a:cxn ang="0">
                  <a:pos x="connsiteX15308" y="connsiteY15308"/>
                </a:cxn>
                <a:cxn ang="0">
                  <a:pos x="connsiteX15309" y="connsiteY15309"/>
                </a:cxn>
                <a:cxn ang="0">
                  <a:pos x="connsiteX15310" y="connsiteY15310"/>
                </a:cxn>
                <a:cxn ang="0">
                  <a:pos x="connsiteX15311" y="connsiteY15311"/>
                </a:cxn>
                <a:cxn ang="0">
                  <a:pos x="connsiteX15312" y="connsiteY15312"/>
                </a:cxn>
                <a:cxn ang="0">
                  <a:pos x="connsiteX15313" y="connsiteY15313"/>
                </a:cxn>
                <a:cxn ang="0">
                  <a:pos x="connsiteX15314" y="connsiteY15314"/>
                </a:cxn>
                <a:cxn ang="0">
                  <a:pos x="connsiteX15315" y="connsiteY15315"/>
                </a:cxn>
                <a:cxn ang="0">
                  <a:pos x="connsiteX15316" y="connsiteY15316"/>
                </a:cxn>
                <a:cxn ang="0">
                  <a:pos x="connsiteX15317" y="connsiteY15317"/>
                </a:cxn>
                <a:cxn ang="0">
                  <a:pos x="connsiteX15318" y="connsiteY15318"/>
                </a:cxn>
                <a:cxn ang="0">
                  <a:pos x="connsiteX15319" y="connsiteY15319"/>
                </a:cxn>
                <a:cxn ang="0">
                  <a:pos x="connsiteX15320" y="connsiteY15320"/>
                </a:cxn>
                <a:cxn ang="0">
                  <a:pos x="connsiteX15321" y="connsiteY15321"/>
                </a:cxn>
                <a:cxn ang="0">
                  <a:pos x="connsiteX15322" y="connsiteY15322"/>
                </a:cxn>
                <a:cxn ang="0">
                  <a:pos x="connsiteX15323" y="connsiteY15323"/>
                </a:cxn>
                <a:cxn ang="0">
                  <a:pos x="connsiteX15324" y="connsiteY15324"/>
                </a:cxn>
                <a:cxn ang="0">
                  <a:pos x="connsiteX15325" y="connsiteY15325"/>
                </a:cxn>
                <a:cxn ang="0">
                  <a:pos x="connsiteX15326" y="connsiteY15326"/>
                </a:cxn>
                <a:cxn ang="0">
                  <a:pos x="connsiteX15327" y="connsiteY15327"/>
                </a:cxn>
                <a:cxn ang="0">
                  <a:pos x="connsiteX15328" y="connsiteY15328"/>
                </a:cxn>
                <a:cxn ang="0">
                  <a:pos x="connsiteX15329" y="connsiteY15329"/>
                </a:cxn>
                <a:cxn ang="0">
                  <a:pos x="connsiteX15330" y="connsiteY15330"/>
                </a:cxn>
                <a:cxn ang="0">
                  <a:pos x="connsiteX15331" y="connsiteY15331"/>
                </a:cxn>
                <a:cxn ang="0">
                  <a:pos x="connsiteX15332" y="connsiteY15332"/>
                </a:cxn>
                <a:cxn ang="0">
                  <a:pos x="connsiteX15333" y="connsiteY15333"/>
                </a:cxn>
                <a:cxn ang="0">
                  <a:pos x="connsiteX15334" y="connsiteY15334"/>
                </a:cxn>
                <a:cxn ang="0">
                  <a:pos x="connsiteX15335" y="connsiteY15335"/>
                </a:cxn>
                <a:cxn ang="0">
                  <a:pos x="connsiteX15336" y="connsiteY15336"/>
                </a:cxn>
                <a:cxn ang="0">
                  <a:pos x="connsiteX15337" y="connsiteY15337"/>
                </a:cxn>
                <a:cxn ang="0">
                  <a:pos x="connsiteX15338" y="connsiteY15338"/>
                </a:cxn>
                <a:cxn ang="0">
                  <a:pos x="connsiteX15339" y="connsiteY15339"/>
                </a:cxn>
                <a:cxn ang="0">
                  <a:pos x="connsiteX15340" y="connsiteY15340"/>
                </a:cxn>
                <a:cxn ang="0">
                  <a:pos x="connsiteX15341" y="connsiteY15341"/>
                </a:cxn>
                <a:cxn ang="0">
                  <a:pos x="connsiteX15342" y="connsiteY15342"/>
                </a:cxn>
                <a:cxn ang="0">
                  <a:pos x="connsiteX15343" y="connsiteY15343"/>
                </a:cxn>
                <a:cxn ang="0">
                  <a:pos x="connsiteX15344" y="connsiteY15344"/>
                </a:cxn>
                <a:cxn ang="0">
                  <a:pos x="connsiteX15345" y="connsiteY15345"/>
                </a:cxn>
                <a:cxn ang="0">
                  <a:pos x="connsiteX15346" y="connsiteY15346"/>
                </a:cxn>
                <a:cxn ang="0">
                  <a:pos x="connsiteX15347" y="connsiteY15347"/>
                </a:cxn>
                <a:cxn ang="0">
                  <a:pos x="connsiteX15348" y="connsiteY15348"/>
                </a:cxn>
                <a:cxn ang="0">
                  <a:pos x="connsiteX15349" y="connsiteY15349"/>
                </a:cxn>
                <a:cxn ang="0">
                  <a:pos x="connsiteX15350" y="connsiteY15350"/>
                </a:cxn>
                <a:cxn ang="0">
                  <a:pos x="connsiteX15351" y="connsiteY15351"/>
                </a:cxn>
                <a:cxn ang="0">
                  <a:pos x="connsiteX15352" y="connsiteY15352"/>
                </a:cxn>
                <a:cxn ang="0">
                  <a:pos x="connsiteX15353" y="connsiteY15353"/>
                </a:cxn>
                <a:cxn ang="0">
                  <a:pos x="connsiteX15354" y="connsiteY15354"/>
                </a:cxn>
                <a:cxn ang="0">
                  <a:pos x="connsiteX15355" y="connsiteY15355"/>
                </a:cxn>
                <a:cxn ang="0">
                  <a:pos x="connsiteX15356" y="connsiteY15356"/>
                </a:cxn>
                <a:cxn ang="0">
                  <a:pos x="connsiteX15357" y="connsiteY15357"/>
                </a:cxn>
                <a:cxn ang="0">
                  <a:pos x="connsiteX15358" y="connsiteY15358"/>
                </a:cxn>
                <a:cxn ang="0">
                  <a:pos x="connsiteX15359" y="connsiteY15359"/>
                </a:cxn>
                <a:cxn ang="0">
                  <a:pos x="connsiteX15360" y="connsiteY15360"/>
                </a:cxn>
                <a:cxn ang="0">
                  <a:pos x="connsiteX15361" y="connsiteY15361"/>
                </a:cxn>
                <a:cxn ang="0">
                  <a:pos x="connsiteX15362" y="connsiteY15362"/>
                </a:cxn>
                <a:cxn ang="0">
                  <a:pos x="connsiteX15363" y="connsiteY15363"/>
                </a:cxn>
                <a:cxn ang="0">
                  <a:pos x="connsiteX15364" y="connsiteY15364"/>
                </a:cxn>
                <a:cxn ang="0">
                  <a:pos x="connsiteX15365" y="connsiteY15365"/>
                </a:cxn>
                <a:cxn ang="0">
                  <a:pos x="connsiteX15366" y="connsiteY15366"/>
                </a:cxn>
                <a:cxn ang="0">
                  <a:pos x="connsiteX15367" y="connsiteY15367"/>
                </a:cxn>
                <a:cxn ang="0">
                  <a:pos x="connsiteX15368" y="connsiteY15368"/>
                </a:cxn>
                <a:cxn ang="0">
                  <a:pos x="connsiteX15369" y="connsiteY15369"/>
                </a:cxn>
                <a:cxn ang="0">
                  <a:pos x="connsiteX15370" y="connsiteY15370"/>
                </a:cxn>
                <a:cxn ang="0">
                  <a:pos x="connsiteX15371" y="connsiteY15371"/>
                </a:cxn>
                <a:cxn ang="0">
                  <a:pos x="connsiteX15372" y="connsiteY15372"/>
                </a:cxn>
                <a:cxn ang="0">
                  <a:pos x="connsiteX15373" y="connsiteY15373"/>
                </a:cxn>
                <a:cxn ang="0">
                  <a:pos x="connsiteX15374" y="connsiteY15374"/>
                </a:cxn>
                <a:cxn ang="0">
                  <a:pos x="connsiteX15375" y="connsiteY15375"/>
                </a:cxn>
                <a:cxn ang="0">
                  <a:pos x="connsiteX15376" y="connsiteY15376"/>
                </a:cxn>
                <a:cxn ang="0">
                  <a:pos x="connsiteX15377" y="connsiteY15377"/>
                </a:cxn>
                <a:cxn ang="0">
                  <a:pos x="connsiteX15378" y="connsiteY15378"/>
                </a:cxn>
                <a:cxn ang="0">
                  <a:pos x="connsiteX15379" y="connsiteY15379"/>
                </a:cxn>
                <a:cxn ang="0">
                  <a:pos x="connsiteX15380" y="connsiteY15380"/>
                </a:cxn>
                <a:cxn ang="0">
                  <a:pos x="connsiteX15381" y="connsiteY15381"/>
                </a:cxn>
                <a:cxn ang="0">
                  <a:pos x="connsiteX15382" y="connsiteY15382"/>
                </a:cxn>
                <a:cxn ang="0">
                  <a:pos x="connsiteX15383" y="connsiteY15383"/>
                </a:cxn>
                <a:cxn ang="0">
                  <a:pos x="connsiteX15384" y="connsiteY15384"/>
                </a:cxn>
                <a:cxn ang="0">
                  <a:pos x="connsiteX15385" y="connsiteY15385"/>
                </a:cxn>
                <a:cxn ang="0">
                  <a:pos x="connsiteX15386" y="connsiteY15386"/>
                </a:cxn>
                <a:cxn ang="0">
                  <a:pos x="connsiteX15387" y="connsiteY15387"/>
                </a:cxn>
                <a:cxn ang="0">
                  <a:pos x="connsiteX15388" y="connsiteY15388"/>
                </a:cxn>
                <a:cxn ang="0">
                  <a:pos x="connsiteX15389" y="connsiteY15389"/>
                </a:cxn>
                <a:cxn ang="0">
                  <a:pos x="connsiteX15390" y="connsiteY15390"/>
                </a:cxn>
                <a:cxn ang="0">
                  <a:pos x="connsiteX15391" y="connsiteY15391"/>
                </a:cxn>
                <a:cxn ang="0">
                  <a:pos x="connsiteX15392" y="connsiteY15392"/>
                </a:cxn>
                <a:cxn ang="0">
                  <a:pos x="connsiteX15393" y="connsiteY15393"/>
                </a:cxn>
                <a:cxn ang="0">
                  <a:pos x="connsiteX15394" y="connsiteY15394"/>
                </a:cxn>
                <a:cxn ang="0">
                  <a:pos x="connsiteX15395" y="connsiteY15395"/>
                </a:cxn>
                <a:cxn ang="0">
                  <a:pos x="connsiteX15396" y="connsiteY15396"/>
                </a:cxn>
                <a:cxn ang="0">
                  <a:pos x="connsiteX15397" y="connsiteY15397"/>
                </a:cxn>
                <a:cxn ang="0">
                  <a:pos x="connsiteX15398" y="connsiteY15398"/>
                </a:cxn>
                <a:cxn ang="0">
                  <a:pos x="connsiteX15399" y="connsiteY15399"/>
                </a:cxn>
                <a:cxn ang="0">
                  <a:pos x="connsiteX15400" y="connsiteY15400"/>
                </a:cxn>
                <a:cxn ang="0">
                  <a:pos x="connsiteX15401" y="connsiteY15401"/>
                </a:cxn>
                <a:cxn ang="0">
                  <a:pos x="connsiteX15402" y="connsiteY15402"/>
                </a:cxn>
                <a:cxn ang="0">
                  <a:pos x="connsiteX15403" y="connsiteY15403"/>
                </a:cxn>
                <a:cxn ang="0">
                  <a:pos x="connsiteX15404" y="connsiteY15404"/>
                </a:cxn>
                <a:cxn ang="0">
                  <a:pos x="connsiteX15405" y="connsiteY15405"/>
                </a:cxn>
                <a:cxn ang="0">
                  <a:pos x="connsiteX15406" y="connsiteY15406"/>
                </a:cxn>
                <a:cxn ang="0">
                  <a:pos x="connsiteX15407" y="connsiteY15407"/>
                </a:cxn>
                <a:cxn ang="0">
                  <a:pos x="connsiteX15408" y="connsiteY15408"/>
                </a:cxn>
                <a:cxn ang="0">
                  <a:pos x="connsiteX15409" y="connsiteY15409"/>
                </a:cxn>
                <a:cxn ang="0">
                  <a:pos x="connsiteX15410" y="connsiteY15410"/>
                </a:cxn>
                <a:cxn ang="0">
                  <a:pos x="connsiteX15411" y="connsiteY15411"/>
                </a:cxn>
                <a:cxn ang="0">
                  <a:pos x="connsiteX15412" y="connsiteY15412"/>
                </a:cxn>
                <a:cxn ang="0">
                  <a:pos x="connsiteX15413" y="connsiteY15413"/>
                </a:cxn>
                <a:cxn ang="0">
                  <a:pos x="connsiteX15414" y="connsiteY15414"/>
                </a:cxn>
                <a:cxn ang="0">
                  <a:pos x="connsiteX15415" y="connsiteY15415"/>
                </a:cxn>
                <a:cxn ang="0">
                  <a:pos x="connsiteX15416" y="connsiteY15416"/>
                </a:cxn>
                <a:cxn ang="0">
                  <a:pos x="connsiteX15417" y="connsiteY15417"/>
                </a:cxn>
                <a:cxn ang="0">
                  <a:pos x="connsiteX15418" y="connsiteY15418"/>
                </a:cxn>
                <a:cxn ang="0">
                  <a:pos x="connsiteX15419" y="connsiteY15419"/>
                </a:cxn>
                <a:cxn ang="0">
                  <a:pos x="connsiteX15420" y="connsiteY15420"/>
                </a:cxn>
                <a:cxn ang="0">
                  <a:pos x="connsiteX15421" y="connsiteY15421"/>
                </a:cxn>
                <a:cxn ang="0">
                  <a:pos x="connsiteX15422" y="connsiteY15422"/>
                </a:cxn>
                <a:cxn ang="0">
                  <a:pos x="connsiteX15423" y="connsiteY15423"/>
                </a:cxn>
                <a:cxn ang="0">
                  <a:pos x="connsiteX15424" y="connsiteY15424"/>
                </a:cxn>
                <a:cxn ang="0">
                  <a:pos x="connsiteX15425" y="connsiteY15425"/>
                </a:cxn>
                <a:cxn ang="0">
                  <a:pos x="connsiteX15426" y="connsiteY15426"/>
                </a:cxn>
                <a:cxn ang="0">
                  <a:pos x="connsiteX15427" y="connsiteY15427"/>
                </a:cxn>
                <a:cxn ang="0">
                  <a:pos x="connsiteX15428" y="connsiteY15428"/>
                </a:cxn>
                <a:cxn ang="0">
                  <a:pos x="connsiteX15429" y="connsiteY15429"/>
                </a:cxn>
                <a:cxn ang="0">
                  <a:pos x="connsiteX15430" y="connsiteY15430"/>
                </a:cxn>
                <a:cxn ang="0">
                  <a:pos x="connsiteX15431" y="connsiteY15431"/>
                </a:cxn>
                <a:cxn ang="0">
                  <a:pos x="connsiteX15432" y="connsiteY15432"/>
                </a:cxn>
                <a:cxn ang="0">
                  <a:pos x="connsiteX15433" y="connsiteY15433"/>
                </a:cxn>
                <a:cxn ang="0">
                  <a:pos x="connsiteX15434" y="connsiteY15434"/>
                </a:cxn>
                <a:cxn ang="0">
                  <a:pos x="connsiteX15435" y="connsiteY15435"/>
                </a:cxn>
                <a:cxn ang="0">
                  <a:pos x="connsiteX15436" y="connsiteY15436"/>
                </a:cxn>
                <a:cxn ang="0">
                  <a:pos x="connsiteX15437" y="connsiteY15437"/>
                </a:cxn>
                <a:cxn ang="0">
                  <a:pos x="connsiteX15438" y="connsiteY15438"/>
                </a:cxn>
                <a:cxn ang="0">
                  <a:pos x="connsiteX15439" y="connsiteY15439"/>
                </a:cxn>
                <a:cxn ang="0">
                  <a:pos x="connsiteX15440" y="connsiteY15440"/>
                </a:cxn>
                <a:cxn ang="0">
                  <a:pos x="connsiteX15441" y="connsiteY15441"/>
                </a:cxn>
                <a:cxn ang="0">
                  <a:pos x="connsiteX15442" y="connsiteY15442"/>
                </a:cxn>
                <a:cxn ang="0">
                  <a:pos x="connsiteX15443" y="connsiteY15443"/>
                </a:cxn>
                <a:cxn ang="0">
                  <a:pos x="connsiteX15444" y="connsiteY15444"/>
                </a:cxn>
                <a:cxn ang="0">
                  <a:pos x="connsiteX15445" y="connsiteY15445"/>
                </a:cxn>
                <a:cxn ang="0">
                  <a:pos x="connsiteX15446" y="connsiteY15446"/>
                </a:cxn>
                <a:cxn ang="0">
                  <a:pos x="connsiteX15447" y="connsiteY15447"/>
                </a:cxn>
                <a:cxn ang="0">
                  <a:pos x="connsiteX15448" y="connsiteY15448"/>
                </a:cxn>
                <a:cxn ang="0">
                  <a:pos x="connsiteX15449" y="connsiteY15449"/>
                </a:cxn>
                <a:cxn ang="0">
                  <a:pos x="connsiteX15450" y="connsiteY15450"/>
                </a:cxn>
                <a:cxn ang="0">
                  <a:pos x="connsiteX15451" y="connsiteY15451"/>
                </a:cxn>
                <a:cxn ang="0">
                  <a:pos x="connsiteX15452" y="connsiteY15452"/>
                </a:cxn>
                <a:cxn ang="0">
                  <a:pos x="connsiteX15453" y="connsiteY15453"/>
                </a:cxn>
                <a:cxn ang="0">
                  <a:pos x="connsiteX15454" y="connsiteY15454"/>
                </a:cxn>
                <a:cxn ang="0">
                  <a:pos x="connsiteX15455" y="connsiteY15455"/>
                </a:cxn>
                <a:cxn ang="0">
                  <a:pos x="connsiteX15456" y="connsiteY15456"/>
                </a:cxn>
                <a:cxn ang="0">
                  <a:pos x="connsiteX15457" y="connsiteY15457"/>
                </a:cxn>
                <a:cxn ang="0">
                  <a:pos x="connsiteX15458" y="connsiteY15458"/>
                </a:cxn>
                <a:cxn ang="0">
                  <a:pos x="connsiteX15459" y="connsiteY15459"/>
                </a:cxn>
                <a:cxn ang="0">
                  <a:pos x="connsiteX15460" y="connsiteY15460"/>
                </a:cxn>
                <a:cxn ang="0">
                  <a:pos x="connsiteX15461" y="connsiteY15461"/>
                </a:cxn>
                <a:cxn ang="0">
                  <a:pos x="connsiteX15462" y="connsiteY15462"/>
                </a:cxn>
                <a:cxn ang="0">
                  <a:pos x="connsiteX15463" y="connsiteY15463"/>
                </a:cxn>
                <a:cxn ang="0">
                  <a:pos x="connsiteX15464" y="connsiteY15464"/>
                </a:cxn>
                <a:cxn ang="0">
                  <a:pos x="connsiteX15465" y="connsiteY15465"/>
                </a:cxn>
                <a:cxn ang="0">
                  <a:pos x="connsiteX15466" y="connsiteY15466"/>
                </a:cxn>
                <a:cxn ang="0">
                  <a:pos x="connsiteX15467" y="connsiteY15467"/>
                </a:cxn>
                <a:cxn ang="0">
                  <a:pos x="connsiteX15468" y="connsiteY15468"/>
                </a:cxn>
                <a:cxn ang="0">
                  <a:pos x="connsiteX15469" y="connsiteY15469"/>
                </a:cxn>
                <a:cxn ang="0">
                  <a:pos x="connsiteX15470" y="connsiteY15470"/>
                </a:cxn>
                <a:cxn ang="0">
                  <a:pos x="connsiteX15471" y="connsiteY15471"/>
                </a:cxn>
                <a:cxn ang="0">
                  <a:pos x="connsiteX15472" y="connsiteY15472"/>
                </a:cxn>
                <a:cxn ang="0">
                  <a:pos x="connsiteX15473" y="connsiteY15473"/>
                </a:cxn>
                <a:cxn ang="0">
                  <a:pos x="connsiteX15474" y="connsiteY15474"/>
                </a:cxn>
                <a:cxn ang="0">
                  <a:pos x="connsiteX15475" y="connsiteY15475"/>
                </a:cxn>
                <a:cxn ang="0">
                  <a:pos x="connsiteX15476" y="connsiteY15476"/>
                </a:cxn>
                <a:cxn ang="0">
                  <a:pos x="connsiteX15477" y="connsiteY15477"/>
                </a:cxn>
                <a:cxn ang="0">
                  <a:pos x="connsiteX15478" y="connsiteY15478"/>
                </a:cxn>
                <a:cxn ang="0">
                  <a:pos x="connsiteX15479" y="connsiteY15479"/>
                </a:cxn>
                <a:cxn ang="0">
                  <a:pos x="connsiteX15480" y="connsiteY15480"/>
                </a:cxn>
                <a:cxn ang="0">
                  <a:pos x="connsiteX15481" y="connsiteY15481"/>
                </a:cxn>
                <a:cxn ang="0">
                  <a:pos x="connsiteX15482" y="connsiteY15482"/>
                </a:cxn>
                <a:cxn ang="0">
                  <a:pos x="connsiteX15483" y="connsiteY15483"/>
                </a:cxn>
                <a:cxn ang="0">
                  <a:pos x="connsiteX15484" y="connsiteY15484"/>
                </a:cxn>
                <a:cxn ang="0">
                  <a:pos x="connsiteX15485" y="connsiteY15485"/>
                </a:cxn>
                <a:cxn ang="0">
                  <a:pos x="connsiteX15486" y="connsiteY15486"/>
                </a:cxn>
                <a:cxn ang="0">
                  <a:pos x="connsiteX15487" y="connsiteY15487"/>
                </a:cxn>
                <a:cxn ang="0">
                  <a:pos x="connsiteX15488" y="connsiteY15488"/>
                </a:cxn>
                <a:cxn ang="0">
                  <a:pos x="connsiteX15489" y="connsiteY15489"/>
                </a:cxn>
                <a:cxn ang="0">
                  <a:pos x="connsiteX15490" y="connsiteY15490"/>
                </a:cxn>
                <a:cxn ang="0">
                  <a:pos x="connsiteX15491" y="connsiteY15491"/>
                </a:cxn>
                <a:cxn ang="0">
                  <a:pos x="connsiteX15492" y="connsiteY15492"/>
                </a:cxn>
                <a:cxn ang="0">
                  <a:pos x="connsiteX15493" y="connsiteY15493"/>
                </a:cxn>
                <a:cxn ang="0">
                  <a:pos x="connsiteX15494" y="connsiteY15494"/>
                </a:cxn>
                <a:cxn ang="0">
                  <a:pos x="connsiteX15495" y="connsiteY15495"/>
                </a:cxn>
                <a:cxn ang="0">
                  <a:pos x="connsiteX15496" y="connsiteY15496"/>
                </a:cxn>
                <a:cxn ang="0">
                  <a:pos x="connsiteX15497" y="connsiteY15497"/>
                </a:cxn>
                <a:cxn ang="0">
                  <a:pos x="connsiteX15498" y="connsiteY15498"/>
                </a:cxn>
                <a:cxn ang="0">
                  <a:pos x="connsiteX15499" y="connsiteY15499"/>
                </a:cxn>
                <a:cxn ang="0">
                  <a:pos x="connsiteX15500" y="connsiteY15500"/>
                </a:cxn>
                <a:cxn ang="0">
                  <a:pos x="connsiteX15501" y="connsiteY15501"/>
                </a:cxn>
                <a:cxn ang="0">
                  <a:pos x="connsiteX15502" y="connsiteY15502"/>
                </a:cxn>
                <a:cxn ang="0">
                  <a:pos x="connsiteX15503" y="connsiteY15503"/>
                </a:cxn>
                <a:cxn ang="0">
                  <a:pos x="connsiteX15504" y="connsiteY15504"/>
                </a:cxn>
                <a:cxn ang="0">
                  <a:pos x="connsiteX15505" y="connsiteY15505"/>
                </a:cxn>
                <a:cxn ang="0">
                  <a:pos x="connsiteX15506" y="connsiteY15506"/>
                </a:cxn>
                <a:cxn ang="0">
                  <a:pos x="connsiteX15507" y="connsiteY15507"/>
                </a:cxn>
                <a:cxn ang="0">
                  <a:pos x="connsiteX15508" y="connsiteY15508"/>
                </a:cxn>
                <a:cxn ang="0">
                  <a:pos x="connsiteX15509" y="connsiteY15509"/>
                </a:cxn>
                <a:cxn ang="0">
                  <a:pos x="connsiteX15510" y="connsiteY15510"/>
                </a:cxn>
                <a:cxn ang="0">
                  <a:pos x="connsiteX15511" y="connsiteY15511"/>
                </a:cxn>
                <a:cxn ang="0">
                  <a:pos x="connsiteX15512" y="connsiteY15512"/>
                </a:cxn>
                <a:cxn ang="0">
                  <a:pos x="connsiteX15513" y="connsiteY15513"/>
                </a:cxn>
                <a:cxn ang="0">
                  <a:pos x="connsiteX15514" y="connsiteY15514"/>
                </a:cxn>
                <a:cxn ang="0">
                  <a:pos x="connsiteX15515" y="connsiteY15515"/>
                </a:cxn>
                <a:cxn ang="0">
                  <a:pos x="connsiteX15516" y="connsiteY15516"/>
                </a:cxn>
                <a:cxn ang="0">
                  <a:pos x="connsiteX15517" y="connsiteY15517"/>
                </a:cxn>
                <a:cxn ang="0">
                  <a:pos x="connsiteX15518" y="connsiteY15518"/>
                </a:cxn>
                <a:cxn ang="0">
                  <a:pos x="connsiteX15519" y="connsiteY15519"/>
                </a:cxn>
                <a:cxn ang="0">
                  <a:pos x="connsiteX15520" y="connsiteY15520"/>
                </a:cxn>
                <a:cxn ang="0">
                  <a:pos x="connsiteX15521" y="connsiteY15521"/>
                </a:cxn>
                <a:cxn ang="0">
                  <a:pos x="connsiteX15522" y="connsiteY15522"/>
                </a:cxn>
                <a:cxn ang="0">
                  <a:pos x="connsiteX15523" y="connsiteY15523"/>
                </a:cxn>
                <a:cxn ang="0">
                  <a:pos x="connsiteX15524" y="connsiteY15524"/>
                </a:cxn>
                <a:cxn ang="0">
                  <a:pos x="connsiteX15525" y="connsiteY15525"/>
                </a:cxn>
                <a:cxn ang="0">
                  <a:pos x="connsiteX15526" y="connsiteY15526"/>
                </a:cxn>
                <a:cxn ang="0">
                  <a:pos x="connsiteX15527" y="connsiteY15527"/>
                </a:cxn>
                <a:cxn ang="0">
                  <a:pos x="connsiteX15528" y="connsiteY15528"/>
                </a:cxn>
                <a:cxn ang="0">
                  <a:pos x="connsiteX15529" y="connsiteY15529"/>
                </a:cxn>
                <a:cxn ang="0">
                  <a:pos x="connsiteX15530" y="connsiteY15530"/>
                </a:cxn>
                <a:cxn ang="0">
                  <a:pos x="connsiteX15531" y="connsiteY15531"/>
                </a:cxn>
                <a:cxn ang="0">
                  <a:pos x="connsiteX15532" y="connsiteY15532"/>
                </a:cxn>
                <a:cxn ang="0">
                  <a:pos x="connsiteX15533" y="connsiteY15533"/>
                </a:cxn>
                <a:cxn ang="0">
                  <a:pos x="connsiteX15534" y="connsiteY15534"/>
                </a:cxn>
                <a:cxn ang="0">
                  <a:pos x="connsiteX15535" y="connsiteY15535"/>
                </a:cxn>
                <a:cxn ang="0">
                  <a:pos x="connsiteX15536" y="connsiteY15536"/>
                </a:cxn>
                <a:cxn ang="0">
                  <a:pos x="connsiteX15537" y="connsiteY15537"/>
                </a:cxn>
                <a:cxn ang="0">
                  <a:pos x="connsiteX15538" y="connsiteY15538"/>
                </a:cxn>
                <a:cxn ang="0">
                  <a:pos x="connsiteX15539" y="connsiteY15539"/>
                </a:cxn>
                <a:cxn ang="0">
                  <a:pos x="connsiteX15540" y="connsiteY15540"/>
                </a:cxn>
                <a:cxn ang="0">
                  <a:pos x="connsiteX15541" y="connsiteY15541"/>
                </a:cxn>
                <a:cxn ang="0">
                  <a:pos x="connsiteX15542" y="connsiteY15542"/>
                </a:cxn>
                <a:cxn ang="0">
                  <a:pos x="connsiteX15543" y="connsiteY15543"/>
                </a:cxn>
                <a:cxn ang="0">
                  <a:pos x="connsiteX15544" y="connsiteY15544"/>
                </a:cxn>
                <a:cxn ang="0">
                  <a:pos x="connsiteX15545" y="connsiteY15545"/>
                </a:cxn>
                <a:cxn ang="0">
                  <a:pos x="connsiteX15546" y="connsiteY15546"/>
                </a:cxn>
                <a:cxn ang="0">
                  <a:pos x="connsiteX15547" y="connsiteY15547"/>
                </a:cxn>
                <a:cxn ang="0">
                  <a:pos x="connsiteX15548" y="connsiteY15548"/>
                </a:cxn>
                <a:cxn ang="0">
                  <a:pos x="connsiteX15549" y="connsiteY15549"/>
                </a:cxn>
                <a:cxn ang="0">
                  <a:pos x="connsiteX15550" y="connsiteY15550"/>
                </a:cxn>
                <a:cxn ang="0">
                  <a:pos x="connsiteX15551" y="connsiteY15551"/>
                </a:cxn>
                <a:cxn ang="0">
                  <a:pos x="connsiteX15552" y="connsiteY15552"/>
                </a:cxn>
                <a:cxn ang="0">
                  <a:pos x="connsiteX15553" y="connsiteY15553"/>
                </a:cxn>
                <a:cxn ang="0">
                  <a:pos x="connsiteX15554" y="connsiteY15554"/>
                </a:cxn>
                <a:cxn ang="0">
                  <a:pos x="connsiteX15555" y="connsiteY15555"/>
                </a:cxn>
                <a:cxn ang="0">
                  <a:pos x="connsiteX15556" y="connsiteY15556"/>
                </a:cxn>
                <a:cxn ang="0">
                  <a:pos x="connsiteX15557" y="connsiteY15557"/>
                </a:cxn>
                <a:cxn ang="0">
                  <a:pos x="connsiteX15558" y="connsiteY15558"/>
                </a:cxn>
                <a:cxn ang="0">
                  <a:pos x="connsiteX15559" y="connsiteY15559"/>
                </a:cxn>
                <a:cxn ang="0">
                  <a:pos x="connsiteX15560" y="connsiteY15560"/>
                </a:cxn>
                <a:cxn ang="0">
                  <a:pos x="connsiteX15561" y="connsiteY15561"/>
                </a:cxn>
                <a:cxn ang="0">
                  <a:pos x="connsiteX15562" y="connsiteY15562"/>
                </a:cxn>
                <a:cxn ang="0">
                  <a:pos x="connsiteX15563" y="connsiteY15563"/>
                </a:cxn>
                <a:cxn ang="0">
                  <a:pos x="connsiteX15564" y="connsiteY15564"/>
                </a:cxn>
                <a:cxn ang="0">
                  <a:pos x="connsiteX15565" y="connsiteY15565"/>
                </a:cxn>
                <a:cxn ang="0">
                  <a:pos x="connsiteX15566" y="connsiteY15566"/>
                </a:cxn>
                <a:cxn ang="0">
                  <a:pos x="connsiteX15567" y="connsiteY15567"/>
                </a:cxn>
                <a:cxn ang="0">
                  <a:pos x="connsiteX15568" y="connsiteY15568"/>
                </a:cxn>
                <a:cxn ang="0">
                  <a:pos x="connsiteX15569" y="connsiteY15569"/>
                </a:cxn>
                <a:cxn ang="0">
                  <a:pos x="connsiteX15570" y="connsiteY15570"/>
                </a:cxn>
                <a:cxn ang="0">
                  <a:pos x="connsiteX15571" y="connsiteY15571"/>
                </a:cxn>
                <a:cxn ang="0">
                  <a:pos x="connsiteX15572" y="connsiteY15572"/>
                </a:cxn>
                <a:cxn ang="0">
                  <a:pos x="connsiteX15573" y="connsiteY15573"/>
                </a:cxn>
                <a:cxn ang="0">
                  <a:pos x="connsiteX15574" y="connsiteY15574"/>
                </a:cxn>
                <a:cxn ang="0">
                  <a:pos x="connsiteX15575" y="connsiteY15575"/>
                </a:cxn>
                <a:cxn ang="0">
                  <a:pos x="connsiteX15576" y="connsiteY15576"/>
                </a:cxn>
                <a:cxn ang="0">
                  <a:pos x="connsiteX15577" y="connsiteY15577"/>
                </a:cxn>
                <a:cxn ang="0">
                  <a:pos x="connsiteX15578" y="connsiteY15578"/>
                </a:cxn>
                <a:cxn ang="0">
                  <a:pos x="connsiteX15579" y="connsiteY15579"/>
                </a:cxn>
                <a:cxn ang="0">
                  <a:pos x="connsiteX15580" y="connsiteY15580"/>
                </a:cxn>
                <a:cxn ang="0">
                  <a:pos x="connsiteX15581" y="connsiteY15581"/>
                </a:cxn>
                <a:cxn ang="0">
                  <a:pos x="connsiteX15582" y="connsiteY15582"/>
                </a:cxn>
                <a:cxn ang="0">
                  <a:pos x="connsiteX15583" y="connsiteY15583"/>
                </a:cxn>
                <a:cxn ang="0">
                  <a:pos x="connsiteX15584" y="connsiteY15584"/>
                </a:cxn>
                <a:cxn ang="0">
                  <a:pos x="connsiteX15585" y="connsiteY15585"/>
                </a:cxn>
                <a:cxn ang="0">
                  <a:pos x="connsiteX15586" y="connsiteY15586"/>
                </a:cxn>
                <a:cxn ang="0">
                  <a:pos x="connsiteX15587" y="connsiteY15587"/>
                </a:cxn>
                <a:cxn ang="0">
                  <a:pos x="connsiteX15588" y="connsiteY15588"/>
                </a:cxn>
                <a:cxn ang="0">
                  <a:pos x="connsiteX15589" y="connsiteY15589"/>
                </a:cxn>
                <a:cxn ang="0">
                  <a:pos x="connsiteX15590" y="connsiteY15590"/>
                </a:cxn>
                <a:cxn ang="0">
                  <a:pos x="connsiteX15591" y="connsiteY15591"/>
                </a:cxn>
                <a:cxn ang="0">
                  <a:pos x="connsiteX15592" y="connsiteY15592"/>
                </a:cxn>
                <a:cxn ang="0">
                  <a:pos x="connsiteX15593" y="connsiteY15593"/>
                </a:cxn>
                <a:cxn ang="0">
                  <a:pos x="connsiteX15594" y="connsiteY15594"/>
                </a:cxn>
                <a:cxn ang="0">
                  <a:pos x="connsiteX15595" y="connsiteY15595"/>
                </a:cxn>
                <a:cxn ang="0">
                  <a:pos x="connsiteX15596" y="connsiteY15596"/>
                </a:cxn>
                <a:cxn ang="0">
                  <a:pos x="connsiteX15597" y="connsiteY15597"/>
                </a:cxn>
                <a:cxn ang="0">
                  <a:pos x="connsiteX15598" y="connsiteY15598"/>
                </a:cxn>
                <a:cxn ang="0">
                  <a:pos x="connsiteX15599" y="connsiteY15599"/>
                </a:cxn>
                <a:cxn ang="0">
                  <a:pos x="connsiteX15600" y="connsiteY15600"/>
                </a:cxn>
                <a:cxn ang="0">
                  <a:pos x="connsiteX15601" y="connsiteY15601"/>
                </a:cxn>
                <a:cxn ang="0">
                  <a:pos x="connsiteX15602" y="connsiteY15602"/>
                </a:cxn>
                <a:cxn ang="0">
                  <a:pos x="connsiteX15603" y="connsiteY15603"/>
                </a:cxn>
                <a:cxn ang="0">
                  <a:pos x="connsiteX15604" y="connsiteY15604"/>
                </a:cxn>
                <a:cxn ang="0">
                  <a:pos x="connsiteX15605" y="connsiteY15605"/>
                </a:cxn>
                <a:cxn ang="0">
                  <a:pos x="connsiteX15606" y="connsiteY15606"/>
                </a:cxn>
                <a:cxn ang="0">
                  <a:pos x="connsiteX15607" y="connsiteY15607"/>
                </a:cxn>
                <a:cxn ang="0">
                  <a:pos x="connsiteX15608" y="connsiteY15608"/>
                </a:cxn>
                <a:cxn ang="0">
                  <a:pos x="connsiteX15609" y="connsiteY15609"/>
                </a:cxn>
                <a:cxn ang="0">
                  <a:pos x="connsiteX15610" y="connsiteY15610"/>
                </a:cxn>
                <a:cxn ang="0">
                  <a:pos x="connsiteX15611" y="connsiteY15611"/>
                </a:cxn>
                <a:cxn ang="0">
                  <a:pos x="connsiteX15612" y="connsiteY15612"/>
                </a:cxn>
                <a:cxn ang="0">
                  <a:pos x="connsiteX15613" y="connsiteY15613"/>
                </a:cxn>
                <a:cxn ang="0">
                  <a:pos x="connsiteX15614" y="connsiteY15614"/>
                </a:cxn>
                <a:cxn ang="0">
                  <a:pos x="connsiteX15615" y="connsiteY15615"/>
                </a:cxn>
                <a:cxn ang="0">
                  <a:pos x="connsiteX15616" y="connsiteY15616"/>
                </a:cxn>
                <a:cxn ang="0">
                  <a:pos x="connsiteX15617" y="connsiteY15617"/>
                </a:cxn>
                <a:cxn ang="0">
                  <a:pos x="connsiteX15618" y="connsiteY15618"/>
                </a:cxn>
                <a:cxn ang="0">
                  <a:pos x="connsiteX15619" y="connsiteY15619"/>
                </a:cxn>
                <a:cxn ang="0">
                  <a:pos x="connsiteX15620" y="connsiteY15620"/>
                </a:cxn>
                <a:cxn ang="0">
                  <a:pos x="connsiteX15621" y="connsiteY15621"/>
                </a:cxn>
                <a:cxn ang="0">
                  <a:pos x="connsiteX15622" y="connsiteY15622"/>
                </a:cxn>
                <a:cxn ang="0">
                  <a:pos x="connsiteX15623" y="connsiteY15623"/>
                </a:cxn>
                <a:cxn ang="0">
                  <a:pos x="connsiteX15624" y="connsiteY15624"/>
                </a:cxn>
                <a:cxn ang="0">
                  <a:pos x="connsiteX15625" y="connsiteY15625"/>
                </a:cxn>
                <a:cxn ang="0">
                  <a:pos x="connsiteX15626" y="connsiteY15626"/>
                </a:cxn>
                <a:cxn ang="0">
                  <a:pos x="connsiteX15627" y="connsiteY15627"/>
                </a:cxn>
                <a:cxn ang="0">
                  <a:pos x="connsiteX15628" y="connsiteY15628"/>
                </a:cxn>
                <a:cxn ang="0">
                  <a:pos x="connsiteX15629" y="connsiteY15629"/>
                </a:cxn>
                <a:cxn ang="0">
                  <a:pos x="connsiteX15630" y="connsiteY15630"/>
                </a:cxn>
                <a:cxn ang="0">
                  <a:pos x="connsiteX15631" y="connsiteY15631"/>
                </a:cxn>
                <a:cxn ang="0">
                  <a:pos x="connsiteX15632" y="connsiteY15632"/>
                </a:cxn>
                <a:cxn ang="0">
                  <a:pos x="connsiteX15633" y="connsiteY15633"/>
                </a:cxn>
                <a:cxn ang="0">
                  <a:pos x="connsiteX15634" y="connsiteY15634"/>
                </a:cxn>
                <a:cxn ang="0">
                  <a:pos x="connsiteX15635" y="connsiteY15635"/>
                </a:cxn>
                <a:cxn ang="0">
                  <a:pos x="connsiteX15636" y="connsiteY15636"/>
                </a:cxn>
                <a:cxn ang="0">
                  <a:pos x="connsiteX15637" y="connsiteY15637"/>
                </a:cxn>
                <a:cxn ang="0">
                  <a:pos x="connsiteX15638" y="connsiteY15638"/>
                </a:cxn>
                <a:cxn ang="0">
                  <a:pos x="connsiteX15639" y="connsiteY15639"/>
                </a:cxn>
                <a:cxn ang="0">
                  <a:pos x="connsiteX15640" y="connsiteY15640"/>
                </a:cxn>
                <a:cxn ang="0">
                  <a:pos x="connsiteX15641" y="connsiteY15641"/>
                </a:cxn>
                <a:cxn ang="0">
                  <a:pos x="connsiteX15642" y="connsiteY15642"/>
                </a:cxn>
                <a:cxn ang="0">
                  <a:pos x="connsiteX15643" y="connsiteY15643"/>
                </a:cxn>
                <a:cxn ang="0">
                  <a:pos x="connsiteX15644" y="connsiteY15644"/>
                </a:cxn>
                <a:cxn ang="0">
                  <a:pos x="connsiteX15645" y="connsiteY15645"/>
                </a:cxn>
                <a:cxn ang="0">
                  <a:pos x="connsiteX15646" y="connsiteY15646"/>
                </a:cxn>
                <a:cxn ang="0">
                  <a:pos x="connsiteX15647" y="connsiteY15647"/>
                </a:cxn>
                <a:cxn ang="0">
                  <a:pos x="connsiteX15648" y="connsiteY15648"/>
                </a:cxn>
                <a:cxn ang="0">
                  <a:pos x="connsiteX15649" y="connsiteY15649"/>
                </a:cxn>
                <a:cxn ang="0">
                  <a:pos x="connsiteX15650" y="connsiteY15650"/>
                </a:cxn>
                <a:cxn ang="0">
                  <a:pos x="connsiteX15651" y="connsiteY15651"/>
                </a:cxn>
                <a:cxn ang="0">
                  <a:pos x="connsiteX15652" y="connsiteY15652"/>
                </a:cxn>
                <a:cxn ang="0">
                  <a:pos x="connsiteX15653" y="connsiteY15653"/>
                </a:cxn>
                <a:cxn ang="0">
                  <a:pos x="connsiteX15654" y="connsiteY15654"/>
                </a:cxn>
                <a:cxn ang="0">
                  <a:pos x="connsiteX15655" y="connsiteY15655"/>
                </a:cxn>
                <a:cxn ang="0">
                  <a:pos x="connsiteX15656" y="connsiteY15656"/>
                </a:cxn>
                <a:cxn ang="0">
                  <a:pos x="connsiteX15657" y="connsiteY15657"/>
                </a:cxn>
                <a:cxn ang="0">
                  <a:pos x="connsiteX15658" y="connsiteY15658"/>
                </a:cxn>
                <a:cxn ang="0">
                  <a:pos x="connsiteX15659" y="connsiteY15659"/>
                </a:cxn>
                <a:cxn ang="0">
                  <a:pos x="connsiteX15660" y="connsiteY15660"/>
                </a:cxn>
                <a:cxn ang="0">
                  <a:pos x="connsiteX15661" y="connsiteY15661"/>
                </a:cxn>
                <a:cxn ang="0">
                  <a:pos x="connsiteX15662" y="connsiteY15662"/>
                </a:cxn>
                <a:cxn ang="0">
                  <a:pos x="connsiteX15663" y="connsiteY15663"/>
                </a:cxn>
                <a:cxn ang="0">
                  <a:pos x="connsiteX15664" y="connsiteY15664"/>
                </a:cxn>
                <a:cxn ang="0">
                  <a:pos x="connsiteX15665" y="connsiteY15665"/>
                </a:cxn>
                <a:cxn ang="0">
                  <a:pos x="connsiteX15666" y="connsiteY15666"/>
                </a:cxn>
                <a:cxn ang="0">
                  <a:pos x="connsiteX15667" y="connsiteY15667"/>
                </a:cxn>
                <a:cxn ang="0">
                  <a:pos x="connsiteX15668" y="connsiteY15668"/>
                </a:cxn>
                <a:cxn ang="0">
                  <a:pos x="connsiteX15669" y="connsiteY15669"/>
                </a:cxn>
                <a:cxn ang="0">
                  <a:pos x="connsiteX15670" y="connsiteY15670"/>
                </a:cxn>
                <a:cxn ang="0">
                  <a:pos x="connsiteX15671" y="connsiteY15671"/>
                </a:cxn>
                <a:cxn ang="0">
                  <a:pos x="connsiteX15672" y="connsiteY15672"/>
                </a:cxn>
                <a:cxn ang="0">
                  <a:pos x="connsiteX15673" y="connsiteY15673"/>
                </a:cxn>
                <a:cxn ang="0">
                  <a:pos x="connsiteX15674" y="connsiteY15674"/>
                </a:cxn>
                <a:cxn ang="0">
                  <a:pos x="connsiteX15675" y="connsiteY15675"/>
                </a:cxn>
                <a:cxn ang="0">
                  <a:pos x="connsiteX15676" y="connsiteY15676"/>
                </a:cxn>
                <a:cxn ang="0">
                  <a:pos x="connsiteX15677" y="connsiteY15677"/>
                </a:cxn>
                <a:cxn ang="0">
                  <a:pos x="connsiteX15678" y="connsiteY15678"/>
                </a:cxn>
                <a:cxn ang="0">
                  <a:pos x="connsiteX15679" y="connsiteY15679"/>
                </a:cxn>
                <a:cxn ang="0">
                  <a:pos x="connsiteX15680" y="connsiteY15680"/>
                </a:cxn>
                <a:cxn ang="0">
                  <a:pos x="connsiteX15681" y="connsiteY15681"/>
                </a:cxn>
                <a:cxn ang="0">
                  <a:pos x="connsiteX15682" y="connsiteY15682"/>
                </a:cxn>
                <a:cxn ang="0">
                  <a:pos x="connsiteX15683" y="connsiteY15683"/>
                </a:cxn>
                <a:cxn ang="0">
                  <a:pos x="connsiteX15684" y="connsiteY15684"/>
                </a:cxn>
                <a:cxn ang="0">
                  <a:pos x="connsiteX15685" y="connsiteY15685"/>
                </a:cxn>
                <a:cxn ang="0">
                  <a:pos x="connsiteX15686" y="connsiteY15686"/>
                </a:cxn>
                <a:cxn ang="0">
                  <a:pos x="connsiteX15687" y="connsiteY15687"/>
                </a:cxn>
                <a:cxn ang="0">
                  <a:pos x="connsiteX15688" y="connsiteY15688"/>
                </a:cxn>
                <a:cxn ang="0">
                  <a:pos x="connsiteX15689" y="connsiteY15689"/>
                </a:cxn>
                <a:cxn ang="0">
                  <a:pos x="connsiteX15690" y="connsiteY15690"/>
                </a:cxn>
                <a:cxn ang="0">
                  <a:pos x="connsiteX15691" y="connsiteY15691"/>
                </a:cxn>
                <a:cxn ang="0">
                  <a:pos x="connsiteX15692" y="connsiteY15692"/>
                </a:cxn>
                <a:cxn ang="0">
                  <a:pos x="connsiteX15693" y="connsiteY15693"/>
                </a:cxn>
                <a:cxn ang="0">
                  <a:pos x="connsiteX15694" y="connsiteY15694"/>
                </a:cxn>
                <a:cxn ang="0">
                  <a:pos x="connsiteX15695" y="connsiteY15695"/>
                </a:cxn>
                <a:cxn ang="0">
                  <a:pos x="connsiteX15696" y="connsiteY15696"/>
                </a:cxn>
                <a:cxn ang="0">
                  <a:pos x="connsiteX15697" y="connsiteY15697"/>
                </a:cxn>
                <a:cxn ang="0">
                  <a:pos x="connsiteX15698" y="connsiteY15698"/>
                </a:cxn>
                <a:cxn ang="0">
                  <a:pos x="connsiteX15699" y="connsiteY15699"/>
                </a:cxn>
                <a:cxn ang="0">
                  <a:pos x="connsiteX15700" y="connsiteY15700"/>
                </a:cxn>
                <a:cxn ang="0">
                  <a:pos x="connsiteX15701" y="connsiteY15701"/>
                </a:cxn>
                <a:cxn ang="0">
                  <a:pos x="connsiteX15702" y="connsiteY15702"/>
                </a:cxn>
                <a:cxn ang="0">
                  <a:pos x="connsiteX15703" y="connsiteY15703"/>
                </a:cxn>
                <a:cxn ang="0">
                  <a:pos x="connsiteX15704" y="connsiteY15704"/>
                </a:cxn>
                <a:cxn ang="0">
                  <a:pos x="connsiteX15705" y="connsiteY15705"/>
                </a:cxn>
                <a:cxn ang="0">
                  <a:pos x="connsiteX15706" y="connsiteY15706"/>
                </a:cxn>
                <a:cxn ang="0">
                  <a:pos x="connsiteX15707" y="connsiteY15707"/>
                </a:cxn>
                <a:cxn ang="0">
                  <a:pos x="connsiteX15708" y="connsiteY15708"/>
                </a:cxn>
                <a:cxn ang="0">
                  <a:pos x="connsiteX15709" y="connsiteY15709"/>
                </a:cxn>
                <a:cxn ang="0">
                  <a:pos x="connsiteX15710" y="connsiteY15710"/>
                </a:cxn>
                <a:cxn ang="0">
                  <a:pos x="connsiteX15711" y="connsiteY15711"/>
                </a:cxn>
                <a:cxn ang="0">
                  <a:pos x="connsiteX15712" y="connsiteY15712"/>
                </a:cxn>
                <a:cxn ang="0">
                  <a:pos x="connsiteX15713" y="connsiteY15713"/>
                </a:cxn>
                <a:cxn ang="0">
                  <a:pos x="connsiteX15714" y="connsiteY15714"/>
                </a:cxn>
                <a:cxn ang="0">
                  <a:pos x="connsiteX15715" y="connsiteY15715"/>
                </a:cxn>
                <a:cxn ang="0">
                  <a:pos x="connsiteX15716" y="connsiteY15716"/>
                </a:cxn>
                <a:cxn ang="0">
                  <a:pos x="connsiteX15717" y="connsiteY15717"/>
                </a:cxn>
                <a:cxn ang="0">
                  <a:pos x="connsiteX15718" y="connsiteY15718"/>
                </a:cxn>
                <a:cxn ang="0">
                  <a:pos x="connsiteX15719" y="connsiteY15719"/>
                </a:cxn>
                <a:cxn ang="0">
                  <a:pos x="connsiteX15720" y="connsiteY15720"/>
                </a:cxn>
                <a:cxn ang="0">
                  <a:pos x="connsiteX15721" y="connsiteY15721"/>
                </a:cxn>
                <a:cxn ang="0">
                  <a:pos x="connsiteX15722" y="connsiteY15722"/>
                </a:cxn>
                <a:cxn ang="0">
                  <a:pos x="connsiteX15723" y="connsiteY15723"/>
                </a:cxn>
                <a:cxn ang="0">
                  <a:pos x="connsiteX15724" y="connsiteY15724"/>
                </a:cxn>
                <a:cxn ang="0">
                  <a:pos x="connsiteX15725" y="connsiteY15725"/>
                </a:cxn>
                <a:cxn ang="0">
                  <a:pos x="connsiteX15726" y="connsiteY15726"/>
                </a:cxn>
                <a:cxn ang="0">
                  <a:pos x="connsiteX15727" y="connsiteY15727"/>
                </a:cxn>
                <a:cxn ang="0">
                  <a:pos x="connsiteX15728" y="connsiteY15728"/>
                </a:cxn>
                <a:cxn ang="0">
                  <a:pos x="connsiteX15729" y="connsiteY15729"/>
                </a:cxn>
                <a:cxn ang="0">
                  <a:pos x="connsiteX15730" y="connsiteY15730"/>
                </a:cxn>
                <a:cxn ang="0">
                  <a:pos x="connsiteX15731" y="connsiteY15731"/>
                </a:cxn>
                <a:cxn ang="0">
                  <a:pos x="connsiteX15732" y="connsiteY15732"/>
                </a:cxn>
                <a:cxn ang="0">
                  <a:pos x="connsiteX15733" y="connsiteY15733"/>
                </a:cxn>
                <a:cxn ang="0">
                  <a:pos x="connsiteX15734" y="connsiteY15734"/>
                </a:cxn>
                <a:cxn ang="0">
                  <a:pos x="connsiteX15735" y="connsiteY15735"/>
                </a:cxn>
                <a:cxn ang="0">
                  <a:pos x="connsiteX15736" y="connsiteY15736"/>
                </a:cxn>
                <a:cxn ang="0">
                  <a:pos x="connsiteX15737" y="connsiteY15737"/>
                </a:cxn>
                <a:cxn ang="0">
                  <a:pos x="connsiteX15738" y="connsiteY15738"/>
                </a:cxn>
                <a:cxn ang="0">
                  <a:pos x="connsiteX15739" y="connsiteY15739"/>
                </a:cxn>
                <a:cxn ang="0">
                  <a:pos x="connsiteX15740" y="connsiteY15740"/>
                </a:cxn>
                <a:cxn ang="0">
                  <a:pos x="connsiteX15741" y="connsiteY15741"/>
                </a:cxn>
                <a:cxn ang="0">
                  <a:pos x="connsiteX15742" y="connsiteY15742"/>
                </a:cxn>
                <a:cxn ang="0">
                  <a:pos x="connsiteX15743" y="connsiteY15743"/>
                </a:cxn>
                <a:cxn ang="0">
                  <a:pos x="connsiteX15744" y="connsiteY15744"/>
                </a:cxn>
                <a:cxn ang="0">
                  <a:pos x="connsiteX15745" y="connsiteY15745"/>
                </a:cxn>
                <a:cxn ang="0">
                  <a:pos x="connsiteX15746" y="connsiteY15746"/>
                </a:cxn>
                <a:cxn ang="0">
                  <a:pos x="connsiteX15747" y="connsiteY15747"/>
                </a:cxn>
                <a:cxn ang="0">
                  <a:pos x="connsiteX15748" y="connsiteY15748"/>
                </a:cxn>
                <a:cxn ang="0">
                  <a:pos x="connsiteX15749" y="connsiteY15749"/>
                </a:cxn>
                <a:cxn ang="0">
                  <a:pos x="connsiteX15750" y="connsiteY15750"/>
                </a:cxn>
                <a:cxn ang="0">
                  <a:pos x="connsiteX15751" y="connsiteY15751"/>
                </a:cxn>
                <a:cxn ang="0">
                  <a:pos x="connsiteX15752" y="connsiteY15752"/>
                </a:cxn>
                <a:cxn ang="0">
                  <a:pos x="connsiteX15753" y="connsiteY15753"/>
                </a:cxn>
                <a:cxn ang="0">
                  <a:pos x="connsiteX15754" y="connsiteY15754"/>
                </a:cxn>
                <a:cxn ang="0">
                  <a:pos x="connsiteX15755" y="connsiteY15755"/>
                </a:cxn>
                <a:cxn ang="0">
                  <a:pos x="connsiteX15756" y="connsiteY15756"/>
                </a:cxn>
                <a:cxn ang="0">
                  <a:pos x="connsiteX15757" y="connsiteY15757"/>
                </a:cxn>
                <a:cxn ang="0">
                  <a:pos x="connsiteX15758" y="connsiteY15758"/>
                </a:cxn>
                <a:cxn ang="0">
                  <a:pos x="connsiteX15759" y="connsiteY15759"/>
                </a:cxn>
                <a:cxn ang="0">
                  <a:pos x="connsiteX15760" y="connsiteY15760"/>
                </a:cxn>
                <a:cxn ang="0">
                  <a:pos x="connsiteX15761" y="connsiteY15761"/>
                </a:cxn>
                <a:cxn ang="0">
                  <a:pos x="connsiteX15762" y="connsiteY15762"/>
                </a:cxn>
                <a:cxn ang="0">
                  <a:pos x="connsiteX15763" y="connsiteY15763"/>
                </a:cxn>
                <a:cxn ang="0">
                  <a:pos x="connsiteX15764" y="connsiteY15764"/>
                </a:cxn>
                <a:cxn ang="0">
                  <a:pos x="connsiteX15765" y="connsiteY15765"/>
                </a:cxn>
                <a:cxn ang="0">
                  <a:pos x="connsiteX15766" y="connsiteY15766"/>
                </a:cxn>
                <a:cxn ang="0">
                  <a:pos x="connsiteX15767" y="connsiteY15767"/>
                </a:cxn>
                <a:cxn ang="0">
                  <a:pos x="connsiteX15768" y="connsiteY15768"/>
                </a:cxn>
                <a:cxn ang="0">
                  <a:pos x="connsiteX15769" y="connsiteY15769"/>
                </a:cxn>
                <a:cxn ang="0">
                  <a:pos x="connsiteX15770" y="connsiteY15770"/>
                </a:cxn>
                <a:cxn ang="0">
                  <a:pos x="connsiteX15771" y="connsiteY15771"/>
                </a:cxn>
                <a:cxn ang="0">
                  <a:pos x="connsiteX15772" y="connsiteY15772"/>
                </a:cxn>
                <a:cxn ang="0">
                  <a:pos x="connsiteX15773" y="connsiteY15773"/>
                </a:cxn>
                <a:cxn ang="0">
                  <a:pos x="connsiteX15774" y="connsiteY15774"/>
                </a:cxn>
                <a:cxn ang="0">
                  <a:pos x="connsiteX15775" y="connsiteY15775"/>
                </a:cxn>
                <a:cxn ang="0">
                  <a:pos x="connsiteX15776" y="connsiteY15776"/>
                </a:cxn>
                <a:cxn ang="0">
                  <a:pos x="connsiteX15777" y="connsiteY15777"/>
                </a:cxn>
                <a:cxn ang="0">
                  <a:pos x="connsiteX15778" y="connsiteY15778"/>
                </a:cxn>
                <a:cxn ang="0">
                  <a:pos x="connsiteX15779" y="connsiteY15779"/>
                </a:cxn>
                <a:cxn ang="0">
                  <a:pos x="connsiteX15780" y="connsiteY15780"/>
                </a:cxn>
                <a:cxn ang="0">
                  <a:pos x="connsiteX15781" y="connsiteY15781"/>
                </a:cxn>
                <a:cxn ang="0">
                  <a:pos x="connsiteX15782" y="connsiteY15782"/>
                </a:cxn>
                <a:cxn ang="0">
                  <a:pos x="connsiteX15783" y="connsiteY15783"/>
                </a:cxn>
                <a:cxn ang="0">
                  <a:pos x="connsiteX15784" y="connsiteY15784"/>
                </a:cxn>
                <a:cxn ang="0">
                  <a:pos x="connsiteX15785" y="connsiteY15785"/>
                </a:cxn>
                <a:cxn ang="0">
                  <a:pos x="connsiteX15786" y="connsiteY15786"/>
                </a:cxn>
                <a:cxn ang="0">
                  <a:pos x="connsiteX15787" y="connsiteY15787"/>
                </a:cxn>
                <a:cxn ang="0">
                  <a:pos x="connsiteX15788" y="connsiteY15788"/>
                </a:cxn>
                <a:cxn ang="0">
                  <a:pos x="connsiteX15789" y="connsiteY15789"/>
                </a:cxn>
                <a:cxn ang="0">
                  <a:pos x="connsiteX15790" y="connsiteY15790"/>
                </a:cxn>
                <a:cxn ang="0">
                  <a:pos x="connsiteX15791" y="connsiteY15791"/>
                </a:cxn>
                <a:cxn ang="0">
                  <a:pos x="connsiteX15792" y="connsiteY15792"/>
                </a:cxn>
                <a:cxn ang="0">
                  <a:pos x="connsiteX15793" y="connsiteY15793"/>
                </a:cxn>
                <a:cxn ang="0">
                  <a:pos x="connsiteX15794" y="connsiteY15794"/>
                </a:cxn>
                <a:cxn ang="0">
                  <a:pos x="connsiteX15795" y="connsiteY15795"/>
                </a:cxn>
                <a:cxn ang="0">
                  <a:pos x="connsiteX15796" y="connsiteY15796"/>
                </a:cxn>
                <a:cxn ang="0">
                  <a:pos x="connsiteX15797" y="connsiteY15797"/>
                </a:cxn>
                <a:cxn ang="0">
                  <a:pos x="connsiteX15798" y="connsiteY15798"/>
                </a:cxn>
                <a:cxn ang="0">
                  <a:pos x="connsiteX15799" y="connsiteY15799"/>
                </a:cxn>
                <a:cxn ang="0">
                  <a:pos x="connsiteX15800" y="connsiteY15800"/>
                </a:cxn>
                <a:cxn ang="0">
                  <a:pos x="connsiteX15801" y="connsiteY15801"/>
                </a:cxn>
                <a:cxn ang="0">
                  <a:pos x="connsiteX15802" y="connsiteY15802"/>
                </a:cxn>
                <a:cxn ang="0">
                  <a:pos x="connsiteX15803" y="connsiteY15803"/>
                </a:cxn>
                <a:cxn ang="0">
                  <a:pos x="connsiteX15804" y="connsiteY15804"/>
                </a:cxn>
                <a:cxn ang="0">
                  <a:pos x="connsiteX15805" y="connsiteY15805"/>
                </a:cxn>
                <a:cxn ang="0">
                  <a:pos x="connsiteX15806" y="connsiteY15806"/>
                </a:cxn>
                <a:cxn ang="0">
                  <a:pos x="connsiteX15807" y="connsiteY15807"/>
                </a:cxn>
                <a:cxn ang="0">
                  <a:pos x="connsiteX15808" y="connsiteY15808"/>
                </a:cxn>
                <a:cxn ang="0">
                  <a:pos x="connsiteX15809" y="connsiteY15809"/>
                </a:cxn>
                <a:cxn ang="0">
                  <a:pos x="connsiteX15810" y="connsiteY15810"/>
                </a:cxn>
                <a:cxn ang="0">
                  <a:pos x="connsiteX15811" y="connsiteY15811"/>
                </a:cxn>
                <a:cxn ang="0">
                  <a:pos x="connsiteX15812" y="connsiteY15812"/>
                </a:cxn>
                <a:cxn ang="0">
                  <a:pos x="connsiteX15813" y="connsiteY15813"/>
                </a:cxn>
                <a:cxn ang="0">
                  <a:pos x="connsiteX15814" y="connsiteY15814"/>
                </a:cxn>
                <a:cxn ang="0">
                  <a:pos x="connsiteX15815" y="connsiteY15815"/>
                </a:cxn>
                <a:cxn ang="0">
                  <a:pos x="connsiteX15816" y="connsiteY15816"/>
                </a:cxn>
                <a:cxn ang="0">
                  <a:pos x="connsiteX15817" y="connsiteY15817"/>
                </a:cxn>
                <a:cxn ang="0">
                  <a:pos x="connsiteX15818" y="connsiteY15818"/>
                </a:cxn>
                <a:cxn ang="0">
                  <a:pos x="connsiteX15819" y="connsiteY15819"/>
                </a:cxn>
                <a:cxn ang="0">
                  <a:pos x="connsiteX15820" y="connsiteY15820"/>
                </a:cxn>
                <a:cxn ang="0">
                  <a:pos x="connsiteX15821" y="connsiteY15821"/>
                </a:cxn>
                <a:cxn ang="0">
                  <a:pos x="connsiteX15822" y="connsiteY15822"/>
                </a:cxn>
                <a:cxn ang="0">
                  <a:pos x="connsiteX15823" y="connsiteY15823"/>
                </a:cxn>
                <a:cxn ang="0">
                  <a:pos x="connsiteX15824" y="connsiteY15824"/>
                </a:cxn>
                <a:cxn ang="0">
                  <a:pos x="connsiteX15825" y="connsiteY15825"/>
                </a:cxn>
                <a:cxn ang="0">
                  <a:pos x="connsiteX15826" y="connsiteY15826"/>
                </a:cxn>
                <a:cxn ang="0">
                  <a:pos x="connsiteX15827" y="connsiteY15827"/>
                </a:cxn>
                <a:cxn ang="0">
                  <a:pos x="connsiteX15828" y="connsiteY15828"/>
                </a:cxn>
                <a:cxn ang="0">
                  <a:pos x="connsiteX15829" y="connsiteY15829"/>
                </a:cxn>
                <a:cxn ang="0">
                  <a:pos x="connsiteX15830" y="connsiteY15830"/>
                </a:cxn>
                <a:cxn ang="0">
                  <a:pos x="connsiteX15831" y="connsiteY15831"/>
                </a:cxn>
                <a:cxn ang="0">
                  <a:pos x="connsiteX15832" y="connsiteY15832"/>
                </a:cxn>
                <a:cxn ang="0">
                  <a:pos x="connsiteX15833" y="connsiteY15833"/>
                </a:cxn>
                <a:cxn ang="0">
                  <a:pos x="connsiteX15834" y="connsiteY15834"/>
                </a:cxn>
                <a:cxn ang="0">
                  <a:pos x="connsiteX15835" y="connsiteY15835"/>
                </a:cxn>
                <a:cxn ang="0">
                  <a:pos x="connsiteX15836" y="connsiteY15836"/>
                </a:cxn>
                <a:cxn ang="0">
                  <a:pos x="connsiteX15837" y="connsiteY15837"/>
                </a:cxn>
                <a:cxn ang="0">
                  <a:pos x="connsiteX15838" y="connsiteY15838"/>
                </a:cxn>
                <a:cxn ang="0">
                  <a:pos x="connsiteX15839" y="connsiteY15839"/>
                </a:cxn>
                <a:cxn ang="0">
                  <a:pos x="connsiteX15840" y="connsiteY15840"/>
                </a:cxn>
                <a:cxn ang="0">
                  <a:pos x="connsiteX15841" y="connsiteY15841"/>
                </a:cxn>
                <a:cxn ang="0">
                  <a:pos x="connsiteX15842" y="connsiteY15842"/>
                </a:cxn>
                <a:cxn ang="0">
                  <a:pos x="connsiteX15843" y="connsiteY15843"/>
                </a:cxn>
                <a:cxn ang="0">
                  <a:pos x="connsiteX15844" y="connsiteY15844"/>
                </a:cxn>
                <a:cxn ang="0">
                  <a:pos x="connsiteX15845" y="connsiteY15845"/>
                </a:cxn>
                <a:cxn ang="0">
                  <a:pos x="connsiteX15846" y="connsiteY15846"/>
                </a:cxn>
                <a:cxn ang="0">
                  <a:pos x="connsiteX15847" y="connsiteY15847"/>
                </a:cxn>
                <a:cxn ang="0">
                  <a:pos x="connsiteX15848" y="connsiteY15848"/>
                </a:cxn>
                <a:cxn ang="0">
                  <a:pos x="connsiteX15849" y="connsiteY15849"/>
                </a:cxn>
                <a:cxn ang="0">
                  <a:pos x="connsiteX15850" y="connsiteY15850"/>
                </a:cxn>
                <a:cxn ang="0">
                  <a:pos x="connsiteX15851" y="connsiteY15851"/>
                </a:cxn>
                <a:cxn ang="0">
                  <a:pos x="connsiteX15852" y="connsiteY15852"/>
                </a:cxn>
                <a:cxn ang="0">
                  <a:pos x="connsiteX15853" y="connsiteY15853"/>
                </a:cxn>
                <a:cxn ang="0">
                  <a:pos x="connsiteX15854" y="connsiteY15854"/>
                </a:cxn>
                <a:cxn ang="0">
                  <a:pos x="connsiteX15855" y="connsiteY15855"/>
                </a:cxn>
                <a:cxn ang="0">
                  <a:pos x="connsiteX15856" y="connsiteY15856"/>
                </a:cxn>
                <a:cxn ang="0">
                  <a:pos x="connsiteX15857" y="connsiteY15857"/>
                </a:cxn>
                <a:cxn ang="0">
                  <a:pos x="connsiteX15858" y="connsiteY15858"/>
                </a:cxn>
                <a:cxn ang="0">
                  <a:pos x="connsiteX15859" y="connsiteY15859"/>
                </a:cxn>
                <a:cxn ang="0">
                  <a:pos x="connsiteX15860" y="connsiteY15860"/>
                </a:cxn>
                <a:cxn ang="0">
                  <a:pos x="connsiteX15861" y="connsiteY15861"/>
                </a:cxn>
                <a:cxn ang="0">
                  <a:pos x="connsiteX15862" y="connsiteY15862"/>
                </a:cxn>
                <a:cxn ang="0">
                  <a:pos x="connsiteX15863" y="connsiteY15863"/>
                </a:cxn>
                <a:cxn ang="0">
                  <a:pos x="connsiteX15864" y="connsiteY15864"/>
                </a:cxn>
                <a:cxn ang="0">
                  <a:pos x="connsiteX15865" y="connsiteY15865"/>
                </a:cxn>
                <a:cxn ang="0">
                  <a:pos x="connsiteX15866" y="connsiteY15866"/>
                </a:cxn>
                <a:cxn ang="0">
                  <a:pos x="connsiteX15867" y="connsiteY15867"/>
                </a:cxn>
                <a:cxn ang="0">
                  <a:pos x="connsiteX15868" y="connsiteY15868"/>
                </a:cxn>
                <a:cxn ang="0">
                  <a:pos x="connsiteX15869" y="connsiteY15869"/>
                </a:cxn>
                <a:cxn ang="0">
                  <a:pos x="connsiteX15870" y="connsiteY15870"/>
                </a:cxn>
                <a:cxn ang="0">
                  <a:pos x="connsiteX15871" y="connsiteY15871"/>
                </a:cxn>
                <a:cxn ang="0">
                  <a:pos x="connsiteX15872" y="connsiteY15872"/>
                </a:cxn>
                <a:cxn ang="0">
                  <a:pos x="connsiteX15873" y="connsiteY15873"/>
                </a:cxn>
                <a:cxn ang="0">
                  <a:pos x="connsiteX15874" y="connsiteY15874"/>
                </a:cxn>
                <a:cxn ang="0">
                  <a:pos x="connsiteX15875" y="connsiteY15875"/>
                </a:cxn>
                <a:cxn ang="0">
                  <a:pos x="connsiteX15876" y="connsiteY15876"/>
                </a:cxn>
                <a:cxn ang="0">
                  <a:pos x="connsiteX15877" y="connsiteY15877"/>
                </a:cxn>
                <a:cxn ang="0">
                  <a:pos x="connsiteX15878" y="connsiteY15878"/>
                </a:cxn>
                <a:cxn ang="0">
                  <a:pos x="connsiteX15879" y="connsiteY15879"/>
                </a:cxn>
                <a:cxn ang="0">
                  <a:pos x="connsiteX15880" y="connsiteY15880"/>
                </a:cxn>
                <a:cxn ang="0">
                  <a:pos x="connsiteX15881" y="connsiteY15881"/>
                </a:cxn>
                <a:cxn ang="0">
                  <a:pos x="connsiteX15882" y="connsiteY15882"/>
                </a:cxn>
                <a:cxn ang="0">
                  <a:pos x="connsiteX15883" y="connsiteY15883"/>
                </a:cxn>
                <a:cxn ang="0">
                  <a:pos x="connsiteX15884" y="connsiteY15884"/>
                </a:cxn>
                <a:cxn ang="0">
                  <a:pos x="connsiteX15885" y="connsiteY15885"/>
                </a:cxn>
                <a:cxn ang="0">
                  <a:pos x="connsiteX15886" y="connsiteY15886"/>
                </a:cxn>
                <a:cxn ang="0">
                  <a:pos x="connsiteX15887" y="connsiteY15887"/>
                </a:cxn>
                <a:cxn ang="0">
                  <a:pos x="connsiteX15888" y="connsiteY15888"/>
                </a:cxn>
                <a:cxn ang="0">
                  <a:pos x="connsiteX15889" y="connsiteY15889"/>
                </a:cxn>
                <a:cxn ang="0">
                  <a:pos x="connsiteX15890" y="connsiteY15890"/>
                </a:cxn>
                <a:cxn ang="0">
                  <a:pos x="connsiteX15891" y="connsiteY15891"/>
                </a:cxn>
                <a:cxn ang="0">
                  <a:pos x="connsiteX15892" y="connsiteY15892"/>
                </a:cxn>
                <a:cxn ang="0">
                  <a:pos x="connsiteX15893" y="connsiteY15893"/>
                </a:cxn>
                <a:cxn ang="0">
                  <a:pos x="connsiteX15894" y="connsiteY15894"/>
                </a:cxn>
                <a:cxn ang="0">
                  <a:pos x="connsiteX15895" y="connsiteY15895"/>
                </a:cxn>
                <a:cxn ang="0">
                  <a:pos x="connsiteX15896" y="connsiteY15896"/>
                </a:cxn>
                <a:cxn ang="0">
                  <a:pos x="connsiteX15897" y="connsiteY15897"/>
                </a:cxn>
                <a:cxn ang="0">
                  <a:pos x="connsiteX15898" y="connsiteY15898"/>
                </a:cxn>
                <a:cxn ang="0">
                  <a:pos x="connsiteX15899" y="connsiteY15899"/>
                </a:cxn>
                <a:cxn ang="0">
                  <a:pos x="connsiteX15900" y="connsiteY15900"/>
                </a:cxn>
                <a:cxn ang="0">
                  <a:pos x="connsiteX15901" y="connsiteY15901"/>
                </a:cxn>
                <a:cxn ang="0">
                  <a:pos x="connsiteX15902" y="connsiteY15902"/>
                </a:cxn>
                <a:cxn ang="0">
                  <a:pos x="connsiteX15903" y="connsiteY15903"/>
                </a:cxn>
                <a:cxn ang="0">
                  <a:pos x="connsiteX15904" y="connsiteY15904"/>
                </a:cxn>
                <a:cxn ang="0">
                  <a:pos x="connsiteX15905" y="connsiteY15905"/>
                </a:cxn>
                <a:cxn ang="0">
                  <a:pos x="connsiteX15906" y="connsiteY15906"/>
                </a:cxn>
                <a:cxn ang="0">
                  <a:pos x="connsiteX15907" y="connsiteY15907"/>
                </a:cxn>
                <a:cxn ang="0">
                  <a:pos x="connsiteX15908" y="connsiteY15908"/>
                </a:cxn>
                <a:cxn ang="0">
                  <a:pos x="connsiteX15909" y="connsiteY15909"/>
                </a:cxn>
                <a:cxn ang="0">
                  <a:pos x="connsiteX15910" y="connsiteY15910"/>
                </a:cxn>
                <a:cxn ang="0">
                  <a:pos x="connsiteX15911" y="connsiteY15911"/>
                </a:cxn>
                <a:cxn ang="0">
                  <a:pos x="connsiteX15912" y="connsiteY15912"/>
                </a:cxn>
                <a:cxn ang="0">
                  <a:pos x="connsiteX15913" y="connsiteY15913"/>
                </a:cxn>
                <a:cxn ang="0">
                  <a:pos x="connsiteX15914" y="connsiteY15914"/>
                </a:cxn>
                <a:cxn ang="0">
                  <a:pos x="connsiteX15915" y="connsiteY15915"/>
                </a:cxn>
                <a:cxn ang="0">
                  <a:pos x="connsiteX15916" y="connsiteY15916"/>
                </a:cxn>
                <a:cxn ang="0">
                  <a:pos x="connsiteX15917" y="connsiteY15917"/>
                </a:cxn>
                <a:cxn ang="0">
                  <a:pos x="connsiteX15918" y="connsiteY15918"/>
                </a:cxn>
                <a:cxn ang="0">
                  <a:pos x="connsiteX15919" y="connsiteY15919"/>
                </a:cxn>
                <a:cxn ang="0">
                  <a:pos x="connsiteX15920" y="connsiteY15920"/>
                </a:cxn>
                <a:cxn ang="0">
                  <a:pos x="connsiteX15921" y="connsiteY15921"/>
                </a:cxn>
                <a:cxn ang="0">
                  <a:pos x="connsiteX15922" y="connsiteY15922"/>
                </a:cxn>
                <a:cxn ang="0">
                  <a:pos x="connsiteX15923" y="connsiteY15923"/>
                </a:cxn>
                <a:cxn ang="0">
                  <a:pos x="connsiteX15924" y="connsiteY15924"/>
                </a:cxn>
                <a:cxn ang="0">
                  <a:pos x="connsiteX15925" y="connsiteY15925"/>
                </a:cxn>
                <a:cxn ang="0">
                  <a:pos x="connsiteX15926" y="connsiteY15926"/>
                </a:cxn>
                <a:cxn ang="0">
                  <a:pos x="connsiteX15927" y="connsiteY15927"/>
                </a:cxn>
                <a:cxn ang="0">
                  <a:pos x="connsiteX15928" y="connsiteY15928"/>
                </a:cxn>
                <a:cxn ang="0">
                  <a:pos x="connsiteX15929" y="connsiteY15929"/>
                </a:cxn>
                <a:cxn ang="0">
                  <a:pos x="connsiteX15930" y="connsiteY15930"/>
                </a:cxn>
                <a:cxn ang="0">
                  <a:pos x="connsiteX15931" y="connsiteY15931"/>
                </a:cxn>
                <a:cxn ang="0">
                  <a:pos x="connsiteX15932" y="connsiteY15932"/>
                </a:cxn>
                <a:cxn ang="0">
                  <a:pos x="connsiteX15933" y="connsiteY15933"/>
                </a:cxn>
                <a:cxn ang="0">
                  <a:pos x="connsiteX15934" y="connsiteY15934"/>
                </a:cxn>
                <a:cxn ang="0">
                  <a:pos x="connsiteX15935" y="connsiteY15935"/>
                </a:cxn>
                <a:cxn ang="0">
                  <a:pos x="connsiteX15936" y="connsiteY15936"/>
                </a:cxn>
                <a:cxn ang="0">
                  <a:pos x="connsiteX15937" y="connsiteY15937"/>
                </a:cxn>
                <a:cxn ang="0">
                  <a:pos x="connsiteX15938" y="connsiteY15938"/>
                </a:cxn>
                <a:cxn ang="0">
                  <a:pos x="connsiteX15939" y="connsiteY15939"/>
                </a:cxn>
                <a:cxn ang="0">
                  <a:pos x="connsiteX15940" y="connsiteY15940"/>
                </a:cxn>
                <a:cxn ang="0">
                  <a:pos x="connsiteX15941" y="connsiteY15941"/>
                </a:cxn>
                <a:cxn ang="0">
                  <a:pos x="connsiteX15942" y="connsiteY15942"/>
                </a:cxn>
                <a:cxn ang="0">
                  <a:pos x="connsiteX15943" y="connsiteY15943"/>
                </a:cxn>
                <a:cxn ang="0">
                  <a:pos x="connsiteX15944" y="connsiteY15944"/>
                </a:cxn>
                <a:cxn ang="0">
                  <a:pos x="connsiteX15945" y="connsiteY15945"/>
                </a:cxn>
                <a:cxn ang="0">
                  <a:pos x="connsiteX15946" y="connsiteY15946"/>
                </a:cxn>
                <a:cxn ang="0">
                  <a:pos x="connsiteX15947" y="connsiteY15947"/>
                </a:cxn>
                <a:cxn ang="0">
                  <a:pos x="connsiteX15948" y="connsiteY15948"/>
                </a:cxn>
                <a:cxn ang="0">
                  <a:pos x="connsiteX15949" y="connsiteY15949"/>
                </a:cxn>
                <a:cxn ang="0">
                  <a:pos x="connsiteX15950" y="connsiteY15950"/>
                </a:cxn>
                <a:cxn ang="0">
                  <a:pos x="connsiteX15951" y="connsiteY15951"/>
                </a:cxn>
                <a:cxn ang="0">
                  <a:pos x="connsiteX15952" y="connsiteY15952"/>
                </a:cxn>
                <a:cxn ang="0">
                  <a:pos x="connsiteX15953" y="connsiteY15953"/>
                </a:cxn>
                <a:cxn ang="0">
                  <a:pos x="connsiteX15954" y="connsiteY15954"/>
                </a:cxn>
                <a:cxn ang="0">
                  <a:pos x="connsiteX15955" y="connsiteY15955"/>
                </a:cxn>
                <a:cxn ang="0">
                  <a:pos x="connsiteX15956" y="connsiteY15956"/>
                </a:cxn>
                <a:cxn ang="0">
                  <a:pos x="connsiteX15957" y="connsiteY15957"/>
                </a:cxn>
                <a:cxn ang="0">
                  <a:pos x="connsiteX15958" y="connsiteY15958"/>
                </a:cxn>
                <a:cxn ang="0">
                  <a:pos x="connsiteX15959" y="connsiteY15959"/>
                </a:cxn>
                <a:cxn ang="0">
                  <a:pos x="connsiteX15960" y="connsiteY15960"/>
                </a:cxn>
                <a:cxn ang="0">
                  <a:pos x="connsiteX15961" y="connsiteY15961"/>
                </a:cxn>
                <a:cxn ang="0">
                  <a:pos x="connsiteX15962" y="connsiteY15962"/>
                </a:cxn>
                <a:cxn ang="0">
                  <a:pos x="connsiteX15963" y="connsiteY15963"/>
                </a:cxn>
                <a:cxn ang="0">
                  <a:pos x="connsiteX15964" y="connsiteY15964"/>
                </a:cxn>
                <a:cxn ang="0">
                  <a:pos x="connsiteX15965" y="connsiteY15965"/>
                </a:cxn>
                <a:cxn ang="0">
                  <a:pos x="connsiteX15966" y="connsiteY15966"/>
                </a:cxn>
                <a:cxn ang="0">
                  <a:pos x="connsiteX15967" y="connsiteY15967"/>
                </a:cxn>
                <a:cxn ang="0">
                  <a:pos x="connsiteX15968" y="connsiteY15968"/>
                </a:cxn>
                <a:cxn ang="0">
                  <a:pos x="connsiteX15969" y="connsiteY15969"/>
                </a:cxn>
                <a:cxn ang="0">
                  <a:pos x="connsiteX15970" y="connsiteY15970"/>
                </a:cxn>
                <a:cxn ang="0">
                  <a:pos x="connsiteX15971" y="connsiteY15971"/>
                </a:cxn>
                <a:cxn ang="0">
                  <a:pos x="connsiteX15972" y="connsiteY15972"/>
                </a:cxn>
                <a:cxn ang="0">
                  <a:pos x="connsiteX15973" y="connsiteY15973"/>
                </a:cxn>
                <a:cxn ang="0">
                  <a:pos x="connsiteX15974" y="connsiteY15974"/>
                </a:cxn>
                <a:cxn ang="0">
                  <a:pos x="connsiteX15975" y="connsiteY15975"/>
                </a:cxn>
                <a:cxn ang="0">
                  <a:pos x="connsiteX15976" y="connsiteY15976"/>
                </a:cxn>
                <a:cxn ang="0">
                  <a:pos x="connsiteX15977" y="connsiteY15977"/>
                </a:cxn>
                <a:cxn ang="0">
                  <a:pos x="connsiteX15978" y="connsiteY15978"/>
                </a:cxn>
                <a:cxn ang="0">
                  <a:pos x="connsiteX15979" y="connsiteY15979"/>
                </a:cxn>
                <a:cxn ang="0">
                  <a:pos x="connsiteX15980" y="connsiteY15980"/>
                </a:cxn>
                <a:cxn ang="0">
                  <a:pos x="connsiteX15981" y="connsiteY15981"/>
                </a:cxn>
                <a:cxn ang="0">
                  <a:pos x="connsiteX15982" y="connsiteY15982"/>
                </a:cxn>
                <a:cxn ang="0">
                  <a:pos x="connsiteX15983" y="connsiteY15983"/>
                </a:cxn>
                <a:cxn ang="0">
                  <a:pos x="connsiteX15984" y="connsiteY15984"/>
                </a:cxn>
                <a:cxn ang="0">
                  <a:pos x="connsiteX15985" y="connsiteY15985"/>
                </a:cxn>
                <a:cxn ang="0">
                  <a:pos x="connsiteX15986" y="connsiteY15986"/>
                </a:cxn>
                <a:cxn ang="0">
                  <a:pos x="connsiteX15987" y="connsiteY15987"/>
                </a:cxn>
                <a:cxn ang="0">
                  <a:pos x="connsiteX15988" y="connsiteY15988"/>
                </a:cxn>
                <a:cxn ang="0">
                  <a:pos x="connsiteX15989" y="connsiteY15989"/>
                </a:cxn>
                <a:cxn ang="0">
                  <a:pos x="connsiteX15990" y="connsiteY15990"/>
                </a:cxn>
                <a:cxn ang="0">
                  <a:pos x="connsiteX15991" y="connsiteY15991"/>
                </a:cxn>
                <a:cxn ang="0">
                  <a:pos x="connsiteX15992" y="connsiteY15992"/>
                </a:cxn>
                <a:cxn ang="0">
                  <a:pos x="connsiteX15993" y="connsiteY15993"/>
                </a:cxn>
                <a:cxn ang="0">
                  <a:pos x="connsiteX15994" y="connsiteY15994"/>
                </a:cxn>
                <a:cxn ang="0">
                  <a:pos x="connsiteX15995" y="connsiteY15995"/>
                </a:cxn>
                <a:cxn ang="0">
                  <a:pos x="connsiteX15996" y="connsiteY15996"/>
                </a:cxn>
                <a:cxn ang="0">
                  <a:pos x="connsiteX15997" y="connsiteY15997"/>
                </a:cxn>
                <a:cxn ang="0">
                  <a:pos x="connsiteX15998" y="connsiteY15998"/>
                </a:cxn>
                <a:cxn ang="0">
                  <a:pos x="connsiteX15999" y="connsiteY15999"/>
                </a:cxn>
                <a:cxn ang="0">
                  <a:pos x="connsiteX16000" y="connsiteY16000"/>
                </a:cxn>
                <a:cxn ang="0">
                  <a:pos x="connsiteX16001" y="connsiteY16001"/>
                </a:cxn>
                <a:cxn ang="0">
                  <a:pos x="connsiteX16002" y="connsiteY16002"/>
                </a:cxn>
                <a:cxn ang="0">
                  <a:pos x="connsiteX16003" y="connsiteY16003"/>
                </a:cxn>
                <a:cxn ang="0">
                  <a:pos x="connsiteX16004" y="connsiteY16004"/>
                </a:cxn>
                <a:cxn ang="0">
                  <a:pos x="connsiteX16005" y="connsiteY16005"/>
                </a:cxn>
                <a:cxn ang="0">
                  <a:pos x="connsiteX16006" y="connsiteY16006"/>
                </a:cxn>
                <a:cxn ang="0">
                  <a:pos x="connsiteX16007" y="connsiteY16007"/>
                </a:cxn>
                <a:cxn ang="0">
                  <a:pos x="connsiteX16008" y="connsiteY16008"/>
                </a:cxn>
                <a:cxn ang="0">
                  <a:pos x="connsiteX16009" y="connsiteY16009"/>
                </a:cxn>
                <a:cxn ang="0">
                  <a:pos x="connsiteX16010" y="connsiteY16010"/>
                </a:cxn>
                <a:cxn ang="0">
                  <a:pos x="connsiteX16011" y="connsiteY16011"/>
                </a:cxn>
                <a:cxn ang="0">
                  <a:pos x="connsiteX16012" y="connsiteY16012"/>
                </a:cxn>
                <a:cxn ang="0">
                  <a:pos x="connsiteX16013" y="connsiteY16013"/>
                </a:cxn>
                <a:cxn ang="0">
                  <a:pos x="connsiteX16014" y="connsiteY16014"/>
                </a:cxn>
                <a:cxn ang="0">
                  <a:pos x="connsiteX16015" y="connsiteY16015"/>
                </a:cxn>
                <a:cxn ang="0">
                  <a:pos x="connsiteX16016" y="connsiteY16016"/>
                </a:cxn>
                <a:cxn ang="0">
                  <a:pos x="connsiteX16017" y="connsiteY16017"/>
                </a:cxn>
                <a:cxn ang="0">
                  <a:pos x="connsiteX16018" y="connsiteY16018"/>
                </a:cxn>
                <a:cxn ang="0">
                  <a:pos x="connsiteX16019" y="connsiteY16019"/>
                </a:cxn>
                <a:cxn ang="0">
                  <a:pos x="connsiteX16020" y="connsiteY16020"/>
                </a:cxn>
                <a:cxn ang="0">
                  <a:pos x="connsiteX16021" y="connsiteY16021"/>
                </a:cxn>
                <a:cxn ang="0">
                  <a:pos x="connsiteX16022" y="connsiteY16022"/>
                </a:cxn>
                <a:cxn ang="0">
                  <a:pos x="connsiteX16023" y="connsiteY16023"/>
                </a:cxn>
                <a:cxn ang="0">
                  <a:pos x="connsiteX16024" y="connsiteY16024"/>
                </a:cxn>
                <a:cxn ang="0">
                  <a:pos x="connsiteX16025" y="connsiteY16025"/>
                </a:cxn>
                <a:cxn ang="0">
                  <a:pos x="connsiteX16026" y="connsiteY16026"/>
                </a:cxn>
                <a:cxn ang="0">
                  <a:pos x="connsiteX16027" y="connsiteY16027"/>
                </a:cxn>
                <a:cxn ang="0">
                  <a:pos x="connsiteX16028" y="connsiteY16028"/>
                </a:cxn>
                <a:cxn ang="0">
                  <a:pos x="connsiteX16029" y="connsiteY16029"/>
                </a:cxn>
                <a:cxn ang="0">
                  <a:pos x="connsiteX16030" y="connsiteY16030"/>
                </a:cxn>
                <a:cxn ang="0">
                  <a:pos x="connsiteX16031" y="connsiteY16031"/>
                </a:cxn>
                <a:cxn ang="0">
                  <a:pos x="connsiteX16032" y="connsiteY16032"/>
                </a:cxn>
                <a:cxn ang="0">
                  <a:pos x="connsiteX16033" y="connsiteY16033"/>
                </a:cxn>
                <a:cxn ang="0">
                  <a:pos x="connsiteX16034" y="connsiteY16034"/>
                </a:cxn>
                <a:cxn ang="0">
                  <a:pos x="connsiteX16035" y="connsiteY16035"/>
                </a:cxn>
                <a:cxn ang="0">
                  <a:pos x="connsiteX16036" y="connsiteY16036"/>
                </a:cxn>
                <a:cxn ang="0">
                  <a:pos x="connsiteX16037" y="connsiteY16037"/>
                </a:cxn>
                <a:cxn ang="0">
                  <a:pos x="connsiteX16038" y="connsiteY16038"/>
                </a:cxn>
                <a:cxn ang="0">
                  <a:pos x="connsiteX16039" y="connsiteY16039"/>
                </a:cxn>
                <a:cxn ang="0">
                  <a:pos x="connsiteX16040" y="connsiteY16040"/>
                </a:cxn>
                <a:cxn ang="0">
                  <a:pos x="connsiteX16041" y="connsiteY16041"/>
                </a:cxn>
                <a:cxn ang="0">
                  <a:pos x="connsiteX16042" y="connsiteY16042"/>
                </a:cxn>
                <a:cxn ang="0">
                  <a:pos x="connsiteX16043" y="connsiteY16043"/>
                </a:cxn>
                <a:cxn ang="0">
                  <a:pos x="connsiteX16044" y="connsiteY16044"/>
                </a:cxn>
                <a:cxn ang="0">
                  <a:pos x="connsiteX16045" y="connsiteY16045"/>
                </a:cxn>
                <a:cxn ang="0">
                  <a:pos x="connsiteX16046" y="connsiteY16046"/>
                </a:cxn>
                <a:cxn ang="0">
                  <a:pos x="connsiteX16047" y="connsiteY16047"/>
                </a:cxn>
                <a:cxn ang="0">
                  <a:pos x="connsiteX16048" y="connsiteY16048"/>
                </a:cxn>
                <a:cxn ang="0">
                  <a:pos x="connsiteX16049" y="connsiteY16049"/>
                </a:cxn>
                <a:cxn ang="0">
                  <a:pos x="connsiteX16050" y="connsiteY16050"/>
                </a:cxn>
                <a:cxn ang="0">
                  <a:pos x="connsiteX16051" y="connsiteY16051"/>
                </a:cxn>
                <a:cxn ang="0">
                  <a:pos x="connsiteX16052" y="connsiteY16052"/>
                </a:cxn>
                <a:cxn ang="0">
                  <a:pos x="connsiteX16053" y="connsiteY16053"/>
                </a:cxn>
                <a:cxn ang="0">
                  <a:pos x="connsiteX16054" y="connsiteY16054"/>
                </a:cxn>
                <a:cxn ang="0">
                  <a:pos x="connsiteX16055" y="connsiteY16055"/>
                </a:cxn>
                <a:cxn ang="0">
                  <a:pos x="connsiteX16056" y="connsiteY16056"/>
                </a:cxn>
                <a:cxn ang="0">
                  <a:pos x="connsiteX16057" y="connsiteY16057"/>
                </a:cxn>
                <a:cxn ang="0">
                  <a:pos x="connsiteX16058" y="connsiteY16058"/>
                </a:cxn>
                <a:cxn ang="0">
                  <a:pos x="connsiteX16059" y="connsiteY16059"/>
                </a:cxn>
                <a:cxn ang="0">
                  <a:pos x="connsiteX16060" y="connsiteY16060"/>
                </a:cxn>
                <a:cxn ang="0">
                  <a:pos x="connsiteX16061" y="connsiteY16061"/>
                </a:cxn>
                <a:cxn ang="0">
                  <a:pos x="connsiteX16062" y="connsiteY16062"/>
                </a:cxn>
                <a:cxn ang="0">
                  <a:pos x="connsiteX16063" y="connsiteY16063"/>
                </a:cxn>
                <a:cxn ang="0">
                  <a:pos x="connsiteX16064" y="connsiteY16064"/>
                </a:cxn>
                <a:cxn ang="0">
                  <a:pos x="connsiteX16065" y="connsiteY16065"/>
                </a:cxn>
                <a:cxn ang="0">
                  <a:pos x="connsiteX16066" y="connsiteY16066"/>
                </a:cxn>
                <a:cxn ang="0">
                  <a:pos x="connsiteX16067" y="connsiteY16067"/>
                </a:cxn>
                <a:cxn ang="0">
                  <a:pos x="connsiteX16068" y="connsiteY16068"/>
                </a:cxn>
                <a:cxn ang="0">
                  <a:pos x="connsiteX16069" y="connsiteY16069"/>
                </a:cxn>
                <a:cxn ang="0">
                  <a:pos x="connsiteX16070" y="connsiteY16070"/>
                </a:cxn>
                <a:cxn ang="0">
                  <a:pos x="connsiteX16071" y="connsiteY16071"/>
                </a:cxn>
                <a:cxn ang="0">
                  <a:pos x="connsiteX16072" y="connsiteY16072"/>
                </a:cxn>
                <a:cxn ang="0">
                  <a:pos x="connsiteX16073" y="connsiteY16073"/>
                </a:cxn>
                <a:cxn ang="0">
                  <a:pos x="connsiteX16074" y="connsiteY16074"/>
                </a:cxn>
                <a:cxn ang="0">
                  <a:pos x="connsiteX16075" y="connsiteY16075"/>
                </a:cxn>
                <a:cxn ang="0">
                  <a:pos x="connsiteX16076" y="connsiteY16076"/>
                </a:cxn>
                <a:cxn ang="0">
                  <a:pos x="connsiteX16077" y="connsiteY16077"/>
                </a:cxn>
                <a:cxn ang="0">
                  <a:pos x="connsiteX16078" y="connsiteY16078"/>
                </a:cxn>
                <a:cxn ang="0">
                  <a:pos x="connsiteX16079" y="connsiteY16079"/>
                </a:cxn>
                <a:cxn ang="0">
                  <a:pos x="connsiteX16080" y="connsiteY16080"/>
                </a:cxn>
                <a:cxn ang="0">
                  <a:pos x="connsiteX16081" y="connsiteY16081"/>
                </a:cxn>
                <a:cxn ang="0">
                  <a:pos x="connsiteX16082" y="connsiteY16082"/>
                </a:cxn>
                <a:cxn ang="0">
                  <a:pos x="connsiteX16083" y="connsiteY16083"/>
                </a:cxn>
                <a:cxn ang="0">
                  <a:pos x="connsiteX16084" y="connsiteY16084"/>
                </a:cxn>
                <a:cxn ang="0">
                  <a:pos x="connsiteX16085" y="connsiteY16085"/>
                </a:cxn>
                <a:cxn ang="0">
                  <a:pos x="connsiteX16086" y="connsiteY16086"/>
                </a:cxn>
                <a:cxn ang="0">
                  <a:pos x="connsiteX16087" y="connsiteY16087"/>
                </a:cxn>
                <a:cxn ang="0">
                  <a:pos x="connsiteX16088" y="connsiteY16088"/>
                </a:cxn>
                <a:cxn ang="0">
                  <a:pos x="connsiteX16089" y="connsiteY16089"/>
                </a:cxn>
                <a:cxn ang="0">
                  <a:pos x="connsiteX16090" y="connsiteY16090"/>
                </a:cxn>
                <a:cxn ang="0">
                  <a:pos x="connsiteX16091" y="connsiteY16091"/>
                </a:cxn>
                <a:cxn ang="0">
                  <a:pos x="connsiteX16092" y="connsiteY16092"/>
                </a:cxn>
                <a:cxn ang="0">
                  <a:pos x="connsiteX16093" y="connsiteY16093"/>
                </a:cxn>
                <a:cxn ang="0">
                  <a:pos x="connsiteX16094" y="connsiteY16094"/>
                </a:cxn>
                <a:cxn ang="0">
                  <a:pos x="connsiteX16095" y="connsiteY16095"/>
                </a:cxn>
                <a:cxn ang="0">
                  <a:pos x="connsiteX16096" y="connsiteY16096"/>
                </a:cxn>
                <a:cxn ang="0">
                  <a:pos x="connsiteX16097" y="connsiteY16097"/>
                </a:cxn>
                <a:cxn ang="0">
                  <a:pos x="connsiteX16098" y="connsiteY16098"/>
                </a:cxn>
                <a:cxn ang="0">
                  <a:pos x="connsiteX16099" y="connsiteY16099"/>
                </a:cxn>
                <a:cxn ang="0">
                  <a:pos x="connsiteX16100" y="connsiteY16100"/>
                </a:cxn>
                <a:cxn ang="0">
                  <a:pos x="connsiteX16101" y="connsiteY16101"/>
                </a:cxn>
                <a:cxn ang="0">
                  <a:pos x="connsiteX16102" y="connsiteY16102"/>
                </a:cxn>
                <a:cxn ang="0">
                  <a:pos x="connsiteX16103" y="connsiteY16103"/>
                </a:cxn>
                <a:cxn ang="0">
                  <a:pos x="connsiteX16104" y="connsiteY16104"/>
                </a:cxn>
                <a:cxn ang="0">
                  <a:pos x="connsiteX16105" y="connsiteY16105"/>
                </a:cxn>
                <a:cxn ang="0">
                  <a:pos x="connsiteX16106" y="connsiteY16106"/>
                </a:cxn>
                <a:cxn ang="0">
                  <a:pos x="connsiteX16107" y="connsiteY16107"/>
                </a:cxn>
                <a:cxn ang="0">
                  <a:pos x="connsiteX16108" y="connsiteY16108"/>
                </a:cxn>
                <a:cxn ang="0">
                  <a:pos x="connsiteX16109" y="connsiteY16109"/>
                </a:cxn>
                <a:cxn ang="0">
                  <a:pos x="connsiteX16110" y="connsiteY16110"/>
                </a:cxn>
                <a:cxn ang="0">
                  <a:pos x="connsiteX16111" y="connsiteY16111"/>
                </a:cxn>
                <a:cxn ang="0">
                  <a:pos x="connsiteX16112" y="connsiteY16112"/>
                </a:cxn>
                <a:cxn ang="0">
                  <a:pos x="connsiteX16113" y="connsiteY16113"/>
                </a:cxn>
                <a:cxn ang="0">
                  <a:pos x="connsiteX16114" y="connsiteY16114"/>
                </a:cxn>
                <a:cxn ang="0">
                  <a:pos x="connsiteX16115" y="connsiteY16115"/>
                </a:cxn>
                <a:cxn ang="0">
                  <a:pos x="connsiteX16116" y="connsiteY16116"/>
                </a:cxn>
                <a:cxn ang="0">
                  <a:pos x="connsiteX16117" y="connsiteY16117"/>
                </a:cxn>
                <a:cxn ang="0">
                  <a:pos x="connsiteX16118" y="connsiteY16118"/>
                </a:cxn>
                <a:cxn ang="0">
                  <a:pos x="connsiteX16119" y="connsiteY16119"/>
                </a:cxn>
                <a:cxn ang="0">
                  <a:pos x="connsiteX16120" y="connsiteY16120"/>
                </a:cxn>
                <a:cxn ang="0">
                  <a:pos x="connsiteX16121" y="connsiteY16121"/>
                </a:cxn>
                <a:cxn ang="0">
                  <a:pos x="connsiteX16122" y="connsiteY16122"/>
                </a:cxn>
                <a:cxn ang="0">
                  <a:pos x="connsiteX16123" y="connsiteY16123"/>
                </a:cxn>
                <a:cxn ang="0">
                  <a:pos x="connsiteX16124" y="connsiteY16124"/>
                </a:cxn>
                <a:cxn ang="0">
                  <a:pos x="connsiteX16125" y="connsiteY16125"/>
                </a:cxn>
                <a:cxn ang="0">
                  <a:pos x="connsiteX16126" y="connsiteY16126"/>
                </a:cxn>
                <a:cxn ang="0">
                  <a:pos x="connsiteX16127" y="connsiteY16127"/>
                </a:cxn>
                <a:cxn ang="0">
                  <a:pos x="connsiteX16128" y="connsiteY16128"/>
                </a:cxn>
                <a:cxn ang="0">
                  <a:pos x="connsiteX16129" y="connsiteY16129"/>
                </a:cxn>
                <a:cxn ang="0">
                  <a:pos x="connsiteX16130" y="connsiteY16130"/>
                </a:cxn>
                <a:cxn ang="0">
                  <a:pos x="connsiteX16131" y="connsiteY16131"/>
                </a:cxn>
                <a:cxn ang="0">
                  <a:pos x="connsiteX16132" y="connsiteY16132"/>
                </a:cxn>
                <a:cxn ang="0">
                  <a:pos x="connsiteX16133" y="connsiteY16133"/>
                </a:cxn>
                <a:cxn ang="0">
                  <a:pos x="connsiteX16134" y="connsiteY16134"/>
                </a:cxn>
                <a:cxn ang="0">
                  <a:pos x="connsiteX16135" y="connsiteY16135"/>
                </a:cxn>
                <a:cxn ang="0">
                  <a:pos x="connsiteX16136" y="connsiteY16136"/>
                </a:cxn>
                <a:cxn ang="0">
                  <a:pos x="connsiteX16137" y="connsiteY16137"/>
                </a:cxn>
                <a:cxn ang="0">
                  <a:pos x="connsiteX16138" y="connsiteY16138"/>
                </a:cxn>
                <a:cxn ang="0">
                  <a:pos x="connsiteX16139" y="connsiteY16139"/>
                </a:cxn>
                <a:cxn ang="0">
                  <a:pos x="connsiteX16140" y="connsiteY16140"/>
                </a:cxn>
                <a:cxn ang="0">
                  <a:pos x="connsiteX16141" y="connsiteY16141"/>
                </a:cxn>
                <a:cxn ang="0">
                  <a:pos x="connsiteX16142" y="connsiteY16142"/>
                </a:cxn>
                <a:cxn ang="0">
                  <a:pos x="connsiteX16143" y="connsiteY16143"/>
                </a:cxn>
                <a:cxn ang="0">
                  <a:pos x="connsiteX16144" y="connsiteY16144"/>
                </a:cxn>
                <a:cxn ang="0">
                  <a:pos x="connsiteX16145" y="connsiteY16145"/>
                </a:cxn>
                <a:cxn ang="0">
                  <a:pos x="connsiteX16146" y="connsiteY16146"/>
                </a:cxn>
                <a:cxn ang="0">
                  <a:pos x="connsiteX16147" y="connsiteY16147"/>
                </a:cxn>
                <a:cxn ang="0">
                  <a:pos x="connsiteX16148" y="connsiteY16148"/>
                </a:cxn>
                <a:cxn ang="0">
                  <a:pos x="connsiteX16149" y="connsiteY16149"/>
                </a:cxn>
                <a:cxn ang="0">
                  <a:pos x="connsiteX16150" y="connsiteY16150"/>
                </a:cxn>
                <a:cxn ang="0">
                  <a:pos x="connsiteX16151" y="connsiteY16151"/>
                </a:cxn>
                <a:cxn ang="0">
                  <a:pos x="connsiteX16152" y="connsiteY16152"/>
                </a:cxn>
                <a:cxn ang="0">
                  <a:pos x="connsiteX16153" y="connsiteY16153"/>
                </a:cxn>
                <a:cxn ang="0">
                  <a:pos x="connsiteX16154" y="connsiteY16154"/>
                </a:cxn>
                <a:cxn ang="0">
                  <a:pos x="connsiteX16155" y="connsiteY16155"/>
                </a:cxn>
                <a:cxn ang="0">
                  <a:pos x="connsiteX16156" y="connsiteY16156"/>
                </a:cxn>
                <a:cxn ang="0">
                  <a:pos x="connsiteX16157" y="connsiteY16157"/>
                </a:cxn>
                <a:cxn ang="0">
                  <a:pos x="connsiteX16158" y="connsiteY16158"/>
                </a:cxn>
                <a:cxn ang="0">
                  <a:pos x="connsiteX16159" y="connsiteY16159"/>
                </a:cxn>
                <a:cxn ang="0">
                  <a:pos x="connsiteX16160" y="connsiteY16160"/>
                </a:cxn>
                <a:cxn ang="0">
                  <a:pos x="connsiteX16161" y="connsiteY16161"/>
                </a:cxn>
                <a:cxn ang="0">
                  <a:pos x="connsiteX16162" y="connsiteY16162"/>
                </a:cxn>
                <a:cxn ang="0">
                  <a:pos x="connsiteX16163" y="connsiteY16163"/>
                </a:cxn>
                <a:cxn ang="0">
                  <a:pos x="connsiteX16164" y="connsiteY16164"/>
                </a:cxn>
                <a:cxn ang="0">
                  <a:pos x="connsiteX16165" y="connsiteY16165"/>
                </a:cxn>
                <a:cxn ang="0">
                  <a:pos x="connsiteX16166" y="connsiteY16166"/>
                </a:cxn>
                <a:cxn ang="0">
                  <a:pos x="connsiteX16167" y="connsiteY16167"/>
                </a:cxn>
                <a:cxn ang="0">
                  <a:pos x="connsiteX16168" y="connsiteY16168"/>
                </a:cxn>
                <a:cxn ang="0">
                  <a:pos x="connsiteX16169" y="connsiteY16169"/>
                </a:cxn>
                <a:cxn ang="0">
                  <a:pos x="connsiteX16170" y="connsiteY16170"/>
                </a:cxn>
                <a:cxn ang="0">
                  <a:pos x="connsiteX16171" y="connsiteY16171"/>
                </a:cxn>
                <a:cxn ang="0">
                  <a:pos x="connsiteX16172" y="connsiteY16172"/>
                </a:cxn>
                <a:cxn ang="0">
                  <a:pos x="connsiteX16173" y="connsiteY16173"/>
                </a:cxn>
                <a:cxn ang="0">
                  <a:pos x="connsiteX16174" y="connsiteY16174"/>
                </a:cxn>
                <a:cxn ang="0">
                  <a:pos x="connsiteX16175" y="connsiteY16175"/>
                </a:cxn>
                <a:cxn ang="0">
                  <a:pos x="connsiteX16176" y="connsiteY16176"/>
                </a:cxn>
                <a:cxn ang="0">
                  <a:pos x="connsiteX16177" y="connsiteY16177"/>
                </a:cxn>
                <a:cxn ang="0">
                  <a:pos x="connsiteX16178" y="connsiteY16178"/>
                </a:cxn>
                <a:cxn ang="0">
                  <a:pos x="connsiteX16179" y="connsiteY16179"/>
                </a:cxn>
                <a:cxn ang="0">
                  <a:pos x="connsiteX16180" y="connsiteY16180"/>
                </a:cxn>
                <a:cxn ang="0">
                  <a:pos x="connsiteX16181" y="connsiteY16181"/>
                </a:cxn>
                <a:cxn ang="0">
                  <a:pos x="connsiteX16182" y="connsiteY16182"/>
                </a:cxn>
                <a:cxn ang="0">
                  <a:pos x="connsiteX16183" y="connsiteY16183"/>
                </a:cxn>
                <a:cxn ang="0">
                  <a:pos x="connsiteX16184" y="connsiteY16184"/>
                </a:cxn>
                <a:cxn ang="0">
                  <a:pos x="connsiteX16185" y="connsiteY16185"/>
                </a:cxn>
                <a:cxn ang="0">
                  <a:pos x="connsiteX16186" y="connsiteY16186"/>
                </a:cxn>
                <a:cxn ang="0">
                  <a:pos x="connsiteX16187" y="connsiteY16187"/>
                </a:cxn>
                <a:cxn ang="0">
                  <a:pos x="connsiteX16188" y="connsiteY16188"/>
                </a:cxn>
                <a:cxn ang="0">
                  <a:pos x="connsiteX16189" y="connsiteY16189"/>
                </a:cxn>
                <a:cxn ang="0">
                  <a:pos x="connsiteX16190" y="connsiteY16190"/>
                </a:cxn>
                <a:cxn ang="0">
                  <a:pos x="connsiteX16191" y="connsiteY16191"/>
                </a:cxn>
                <a:cxn ang="0">
                  <a:pos x="connsiteX16192" y="connsiteY16192"/>
                </a:cxn>
                <a:cxn ang="0">
                  <a:pos x="connsiteX16193" y="connsiteY16193"/>
                </a:cxn>
                <a:cxn ang="0">
                  <a:pos x="connsiteX16194" y="connsiteY16194"/>
                </a:cxn>
                <a:cxn ang="0">
                  <a:pos x="connsiteX16195" y="connsiteY16195"/>
                </a:cxn>
                <a:cxn ang="0">
                  <a:pos x="connsiteX16196" y="connsiteY16196"/>
                </a:cxn>
                <a:cxn ang="0">
                  <a:pos x="connsiteX16197" y="connsiteY16197"/>
                </a:cxn>
                <a:cxn ang="0">
                  <a:pos x="connsiteX16198" y="connsiteY16198"/>
                </a:cxn>
                <a:cxn ang="0">
                  <a:pos x="connsiteX16199" y="connsiteY16199"/>
                </a:cxn>
                <a:cxn ang="0">
                  <a:pos x="connsiteX16200" y="connsiteY16200"/>
                </a:cxn>
                <a:cxn ang="0">
                  <a:pos x="connsiteX16201" y="connsiteY16201"/>
                </a:cxn>
                <a:cxn ang="0">
                  <a:pos x="connsiteX16202" y="connsiteY16202"/>
                </a:cxn>
                <a:cxn ang="0">
                  <a:pos x="connsiteX16203" y="connsiteY16203"/>
                </a:cxn>
                <a:cxn ang="0">
                  <a:pos x="connsiteX16204" y="connsiteY16204"/>
                </a:cxn>
                <a:cxn ang="0">
                  <a:pos x="connsiteX16205" y="connsiteY16205"/>
                </a:cxn>
                <a:cxn ang="0">
                  <a:pos x="connsiteX16206" y="connsiteY16206"/>
                </a:cxn>
                <a:cxn ang="0">
                  <a:pos x="connsiteX16207" y="connsiteY16207"/>
                </a:cxn>
                <a:cxn ang="0">
                  <a:pos x="connsiteX16208" y="connsiteY16208"/>
                </a:cxn>
                <a:cxn ang="0">
                  <a:pos x="connsiteX16209" y="connsiteY16209"/>
                </a:cxn>
                <a:cxn ang="0">
                  <a:pos x="connsiteX16210" y="connsiteY16210"/>
                </a:cxn>
                <a:cxn ang="0">
                  <a:pos x="connsiteX16211" y="connsiteY16211"/>
                </a:cxn>
                <a:cxn ang="0">
                  <a:pos x="connsiteX16212" y="connsiteY16212"/>
                </a:cxn>
                <a:cxn ang="0">
                  <a:pos x="connsiteX16213" y="connsiteY16213"/>
                </a:cxn>
                <a:cxn ang="0">
                  <a:pos x="connsiteX16214" y="connsiteY16214"/>
                </a:cxn>
                <a:cxn ang="0">
                  <a:pos x="connsiteX16215" y="connsiteY16215"/>
                </a:cxn>
                <a:cxn ang="0">
                  <a:pos x="connsiteX16216" y="connsiteY16216"/>
                </a:cxn>
                <a:cxn ang="0">
                  <a:pos x="connsiteX16217" y="connsiteY16217"/>
                </a:cxn>
                <a:cxn ang="0">
                  <a:pos x="connsiteX16218" y="connsiteY16218"/>
                </a:cxn>
                <a:cxn ang="0">
                  <a:pos x="connsiteX16219" y="connsiteY16219"/>
                </a:cxn>
                <a:cxn ang="0">
                  <a:pos x="connsiteX16220" y="connsiteY16220"/>
                </a:cxn>
                <a:cxn ang="0">
                  <a:pos x="connsiteX16221" y="connsiteY16221"/>
                </a:cxn>
                <a:cxn ang="0">
                  <a:pos x="connsiteX16222" y="connsiteY16222"/>
                </a:cxn>
                <a:cxn ang="0">
                  <a:pos x="connsiteX16223" y="connsiteY16223"/>
                </a:cxn>
                <a:cxn ang="0">
                  <a:pos x="connsiteX16224" y="connsiteY16224"/>
                </a:cxn>
                <a:cxn ang="0">
                  <a:pos x="connsiteX16225" y="connsiteY16225"/>
                </a:cxn>
                <a:cxn ang="0">
                  <a:pos x="connsiteX16226" y="connsiteY16226"/>
                </a:cxn>
                <a:cxn ang="0">
                  <a:pos x="connsiteX16227" y="connsiteY16227"/>
                </a:cxn>
                <a:cxn ang="0">
                  <a:pos x="connsiteX16228" y="connsiteY16228"/>
                </a:cxn>
                <a:cxn ang="0">
                  <a:pos x="connsiteX16229" y="connsiteY16229"/>
                </a:cxn>
                <a:cxn ang="0">
                  <a:pos x="connsiteX16230" y="connsiteY16230"/>
                </a:cxn>
                <a:cxn ang="0">
                  <a:pos x="connsiteX16231" y="connsiteY16231"/>
                </a:cxn>
                <a:cxn ang="0">
                  <a:pos x="connsiteX16232" y="connsiteY16232"/>
                </a:cxn>
                <a:cxn ang="0">
                  <a:pos x="connsiteX16233" y="connsiteY16233"/>
                </a:cxn>
                <a:cxn ang="0">
                  <a:pos x="connsiteX16234" y="connsiteY16234"/>
                </a:cxn>
                <a:cxn ang="0">
                  <a:pos x="connsiteX16235" y="connsiteY16235"/>
                </a:cxn>
                <a:cxn ang="0">
                  <a:pos x="connsiteX16236" y="connsiteY16236"/>
                </a:cxn>
                <a:cxn ang="0">
                  <a:pos x="connsiteX16237" y="connsiteY16237"/>
                </a:cxn>
                <a:cxn ang="0">
                  <a:pos x="connsiteX16238" y="connsiteY16238"/>
                </a:cxn>
                <a:cxn ang="0">
                  <a:pos x="connsiteX16239" y="connsiteY16239"/>
                </a:cxn>
                <a:cxn ang="0">
                  <a:pos x="connsiteX16240" y="connsiteY16240"/>
                </a:cxn>
                <a:cxn ang="0">
                  <a:pos x="connsiteX16241" y="connsiteY16241"/>
                </a:cxn>
                <a:cxn ang="0">
                  <a:pos x="connsiteX16242" y="connsiteY16242"/>
                </a:cxn>
                <a:cxn ang="0">
                  <a:pos x="connsiteX16243" y="connsiteY16243"/>
                </a:cxn>
                <a:cxn ang="0">
                  <a:pos x="connsiteX16244" y="connsiteY16244"/>
                </a:cxn>
                <a:cxn ang="0">
                  <a:pos x="connsiteX16245" y="connsiteY16245"/>
                </a:cxn>
                <a:cxn ang="0">
                  <a:pos x="connsiteX16246" y="connsiteY16246"/>
                </a:cxn>
                <a:cxn ang="0">
                  <a:pos x="connsiteX16247" y="connsiteY16247"/>
                </a:cxn>
                <a:cxn ang="0">
                  <a:pos x="connsiteX16248" y="connsiteY16248"/>
                </a:cxn>
                <a:cxn ang="0">
                  <a:pos x="connsiteX16249" y="connsiteY16249"/>
                </a:cxn>
                <a:cxn ang="0">
                  <a:pos x="connsiteX16250" y="connsiteY16250"/>
                </a:cxn>
                <a:cxn ang="0">
                  <a:pos x="connsiteX16251" y="connsiteY16251"/>
                </a:cxn>
                <a:cxn ang="0">
                  <a:pos x="connsiteX16252" y="connsiteY16252"/>
                </a:cxn>
                <a:cxn ang="0">
                  <a:pos x="connsiteX16253" y="connsiteY16253"/>
                </a:cxn>
                <a:cxn ang="0">
                  <a:pos x="connsiteX16254" y="connsiteY16254"/>
                </a:cxn>
                <a:cxn ang="0">
                  <a:pos x="connsiteX16255" y="connsiteY16255"/>
                </a:cxn>
                <a:cxn ang="0">
                  <a:pos x="connsiteX16256" y="connsiteY16256"/>
                </a:cxn>
                <a:cxn ang="0">
                  <a:pos x="connsiteX16257" y="connsiteY16257"/>
                </a:cxn>
                <a:cxn ang="0">
                  <a:pos x="connsiteX16258" y="connsiteY16258"/>
                </a:cxn>
                <a:cxn ang="0">
                  <a:pos x="connsiteX16259" y="connsiteY16259"/>
                </a:cxn>
                <a:cxn ang="0">
                  <a:pos x="connsiteX16260" y="connsiteY16260"/>
                </a:cxn>
                <a:cxn ang="0">
                  <a:pos x="connsiteX16261" y="connsiteY16261"/>
                </a:cxn>
                <a:cxn ang="0">
                  <a:pos x="connsiteX16262" y="connsiteY16262"/>
                </a:cxn>
                <a:cxn ang="0">
                  <a:pos x="connsiteX16263" y="connsiteY16263"/>
                </a:cxn>
                <a:cxn ang="0">
                  <a:pos x="connsiteX16264" y="connsiteY16264"/>
                </a:cxn>
                <a:cxn ang="0">
                  <a:pos x="connsiteX16265" y="connsiteY16265"/>
                </a:cxn>
                <a:cxn ang="0">
                  <a:pos x="connsiteX16266" y="connsiteY16266"/>
                </a:cxn>
                <a:cxn ang="0">
                  <a:pos x="connsiteX16267" y="connsiteY16267"/>
                </a:cxn>
                <a:cxn ang="0">
                  <a:pos x="connsiteX16268" y="connsiteY16268"/>
                </a:cxn>
                <a:cxn ang="0">
                  <a:pos x="connsiteX16269" y="connsiteY16269"/>
                </a:cxn>
                <a:cxn ang="0">
                  <a:pos x="connsiteX16270" y="connsiteY16270"/>
                </a:cxn>
                <a:cxn ang="0">
                  <a:pos x="connsiteX16271" y="connsiteY16271"/>
                </a:cxn>
                <a:cxn ang="0">
                  <a:pos x="connsiteX16272" y="connsiteY16272"/>
                </a:cxn>
                <a:cxn ang="0">
                  <a:pos x="connsiteX16273" y="connsiteY16273"/>
                </a:cxn>
                <a:cxn ang="0">
                  <a:pos x="connsiteX16274" y="connsiteY16274"/>
                </a:cxn>
                <a:cxn ang="0">
                  <a:pos x="connsiteX16275" y="connsiteY16275"/>
                </a:cxn>
                <a:cxn ang="0">
                  <a:pos x="connsiteX16276" y="connsiteY16276"/>
                </a:cxn>
                <a:cxn ang="0">
                  <a:pos x="connsiteX16277" y="connsiteY16277"/>
                </a:cxn>
                <a:cxn ang="0">
                  <a:pos x="connsiteX16278" y="connsiteY16278"/>
                </a:cxn>
                <a:cxn ang="0">
                  <a:pos x="connsiteX16279" y="connsiteY16279"/>
                </a:cxn>
                <a:cxn ang="0">
                  <a:pos x="connsiteX16280" y="connsiteY16280"/>
                </a:cxn>
                <a:cxn ang="0">
                  <a:pos x="connsiteX16281" y="connsiteY16281"/>
                </a:cxn>
                <a:cxn ang="0">
                  <a:pos x="connsiteX16282" y="connsiteY16282"/>
                </a:cxn>
                <a:cxn ang="0">
                  <a:pos x="connsiteX16283" y="connsiteY16283"/>
                </a:cxn>
                <a:cxn ang="0">
                  <a:pos x="connsiteX16284" y="connsiteY16284"/>
                </a:cxn>
                <a:cxn ang="0">
                  <a:pos x="connsiteX16285" y="connsiteY16285"/>
                </a:cxn>
                <a:cxn ang="0">
                  <a:pos x="connsiteX16286" y="connsiteY16286"/>
                </a:cxn>
                <a:cxn ang="0">
                  <a:pos x="connsiteX16287" y="connsiteY16287"/>
                </a:cxn>
                <a:cxn ang="0">
                  <a:pos x="connsiteX16288" y="connsiteY16288"/>
                </a:cxn>
                <a:cxn ang="0">
                  <a:pos x="connsiteX16289" y="connsiteY16289"/>
                </a:cxn>
                <a:cxn ang="0">
                  <a:pos x="connsiteX16290" y="connsiteY16290"/>
                </a:cxn>
                <a:cxn ang="0">
                  <a:pos x="connsiteX16291" y="connsiteY16291"/>
                </a:cxn>
                <a:cxn ang="0">
                  <a:pos x="connsiteX16292" y="connsiteY16292"/>
                </a:cxn>
                <a:cxn ang="0">
                  <a:pos x="connsiteX16293" y="connsiteY16293"/>
                </a:cxn>
                <a:cxn ang="0">
                  <a:pos x="connsiteX16294" y="connsiteY16294"/>
                </a:cxn>
                <a:cxn ang="0">
                  <a:pos x="connsiteX16295" y="connsiteY16295"/>
                </a:cxn>
                <a:cxn ang="0">
                  <a:pos x="connsiteX16296" y="connsiteY16296"/>
                </a:cxn>
                <a:cxn ang="0">
                  <a:pos x="connsiteX16297" y="connsiteY16297"/>
                </a:cxn>
                <a:cxn ang="0">
                  <a:pos x="connsiteX16298" y="connsiteY16298"/>
                </a:cxn>
                <a:cxn ang="0">
                  <a:pos x="connsiteX16299" y="connsiteY16299"/>
                </a:cxn>
                <a:cxn ang="0">
                  <a:pos x="connsiteX16300" y="connsiteY16300"/>
                </a:cxn>
                <a:cxn ang="0">
                  <a:pos x="connsiteX16301" y="connsiteY16301"/>
                </a:cxn>
                <a:cxn ang="0">
                  <a:pos x="connsiteX16302" y="connsiteY16302"/>
                </a:cxn>
                <a:cxn ang="0">
                  <a:pos x="connsiteX16303" y="connsiteY16303"/>
                </a:cxn>
                <a:cxn ang="0">
                  <a:pos x="connsiteX16304" y="connsiteY16304"/>
                </a:cxn>
                <a:cxn ang="0">
                  <a:pos x="connsiteX16305" y="connsiteY16305"/>
                </a:cxn>
                <a:cxn ang="0">
                  <a:pos x="connsiteX16306" y="connsiteY16306"/>
                </a:cxn>
                <a:cxn ang="0">
                  <a:pos x="connsiteX16307" y="connsiteY16307"/>
                </a:cxn>
                <a:cxn ang="0">
                  <a:pos x="connsiteX16308" y="connsiteY16308"/>
                </a:cxn>
                <a:cxn ang="0">
                  <a:pos x="connsiteX16309" y="connsiteY16309"/>
                </a:cxn>
                <a:cxn ang="0">
                  <a:pos x="connsiteX16310" y="connsiteY16310"/>
                </a:cxn>
                <a:cxn ang="0">
                  <a:pos x="connsiteX16311" y="connsiteY16311"/>
                </a:cxn>
                <a:cxn ang="0">
                  <a:pos x="connsiteX16312" y="connsiteY16312"/>
                </a:cxn>
                <a:cxn ang="0">
                  <a:pos x="connsiteX16313" y="connsiteY16313"/>
                </a:cxn>
                <a:cxn ang="0">
                  <a:pos x="connsiteX16314" y="connsiteY16314"/>
                </a:cxn>
                <a:cxn ang="0">
                  <a:pos x="connsiteX16315" y="connsiteY16315"/>
                </a:cxn>
                <a:cxn ang="0">
                  <a:pos x="connsiteX16316" y="connsiteY16316"/>
                </a:cxn>
                <a:cxn ang="0">
                  <a:pos x="connsiteX16317" y="connsiteY16317"/>
                </a:cxn>
                <a:cxn ang="0">
                  <a:pos x="connsiteX16318" y="connsiteY16318"/>
                </a:cxn>
                <a:cxn ang="0">
                  <a:pos x="connsiteX16319" y="connsiteY16319"/>
                </a:cxn>
                <a:cxn ang="0">
                  <a:pos x="connsiteX16320" y="connsiteY16320"/>
                </a:cxn>
                <a:cxn ang="0">
                  <a:pos x="connsiteX16321" y="connsiteY16321"/>
                </a:cxn>
                <a:cxn ang="0">
                  <a:pos x="connsiteX16322" y="connsiteY16322"/>
                </a:cxn>
                <a:cxn ang="0">
                  <a:pos x="connsiteX16323" y="connsiteY16323"/>
                </a:cxn>
                <a:cxn ang="0">
                  <a:pos x="connsiteX16324" y="connsiteY16324"/>
                </a:cxn>
                <a:cxn ang="0">
                  <a:pos x="connsiteX16325" y="connsiteY16325"/>
                </a:cxn>
                <a:cxn ang="0">
                  <a:pos x="connsiteX16326" y="connsiteY16326"/>
                </a:cxn>
                <a:cxn ang="0">
                  <a:pos x="connsiteX16327" y="connsiteY16327"/>
                </a:cxn>
                <a:cxn ang="0">
                  <a:pos x="connsiteX16328" y="connsiteY16328"/>
                </a:cxn>
                <a:cxn ang="0">
                  <a:pos x="connsiteX16329" y="connsiteY16329"/>
                </a:cxn>
                <a:cxn ang="0">
                  <a:pos x="connsiteX16330" y="connsiteY16330"/>
                </a:cxn>
                <a:cxn ang="0">
                  <a:pos x="connsiteX16331" y="connsiteY16331"/>
                </a:cxn>
                <a:cxn ang="0">
                  <a:pos x="connsiteX16332" y="connsiteY16332"/>
                </a:cxn>
                <a:cxn ang="0">
                  <a:pos x="connsiteX16333" y="connsiteY16333"/>
                </a:cxn>
                <a:cxn ang="0">
                  <a:pos x="connsiteX16334" y="connsiteY16334"/>
                </a:cxn>
                <a:cxn ang="0">
                  <a:pos x="connsiteX16335" y="connsiteY16335"/>
                </a:cxn>
                <a:cxn ang="0">
                  <a:pos x="connsiteX16336" y="connsiteY16336"/>
                </a:cxn>
                <a:cxn ang="0">
                  <a:pos x="connsiteX16337" y="connsiteY16337"/>
                </a:cxn>
                <a:cxn ang="0">
                  <a:pos x="connsiteX16338" y="connsiteY16338"/>
                </a:cxn>
                <a:cxn ang="0">
                  <a:pos x="connsiteX16339" y="connsiteY16339"/>
                </a:cxn>
                <a:cxn ang="0">
                  <a:pos x="connsiteX16340" y="connsiteY16340"/>
                </a:cxn>
                <a:cxn ang="0">
                  <a:pos x="connsiteX16341" y="connsiteY16341"/>
                </a:cxn>
                <a:cxn ang="0">
                  <a:pos x="connsiteX16342" y="connsiteY16342"/>
                </a:cxn>
                <a:cxn ang="0">
                  <a:pos x="connsiteX16343" y="connsiteY16343"/>
                </a:cxn>
                <a:cxn ang="0">
                  <a:pos x="connsiteX16344" y="connsiteY16344"/>
                </a:cxn>
                <a:cxn ang="0">
                  <a:pos x="connsiteX16345" y="connsiteY16345"/>
                </a:cxn>
                <a:cxn ang="0">
                  <a:pos x="connsiteX16346" y="connsiteY16346"/>
                </a:cxn>
                <a:cxn ang="0">
                  <a:pos x="connsiteX16347" y="connsiteY16347"/>
                </a:cxn>
                <a:cxn ang="0">
                  <a:pos x="connsiteX16348" y="connsiteY16348"/>
                </a:cxn>
                <a:cxn ang="0">
                  <a:pos x="connsiteX16349" y="connsiteY16349"/>
                </a:cxn>
                <a:cxn ang="0">
                  <a:pos x="connsiteX16350" y="connsiteY16350"/>
                </a:cxn>
                <a:cxn ang="0">
                  <a:pos x="connsiteX16351" y="connsiteY16351"/>
                </a:cxn>
                <a:cxn ang="0">
                  <a:pos x="connsiteX16352" y="connsiteY16352"/>
                </a:cxn>
                <a:cxn ang="0">
                  <a:pos x="connsiteX16353" y="connsiteY16353"/>
                </a:cxn>
                <a:cxn ang="0">
                  <a:pos x="connsiteX16354" y="connsiteY16354"/>
                </a:cxn>
                <a:cxn ang="0">
                  <a:pos x="connsiteX16355" y="connsiteY16355"/>
                </a:cxn>
                <a:cxn ang="0">
                  <a:pos x="connsiteX16356" y="connsiteY16356"/>
                </a:cxn>
                <a:cxn ang="0">
                  <a:pos x="connsiteX16357" y="connsiteY16357"/>
                </a:cxn>
                <a:cxn ang="0">
                  <a:pos x="connsiteX16358" y="connsiteY16358"/>
                </a:cxn>
                <a:cxn ang="0">
                  <a:pos x="connsiteX16359" y="connsiteY16359"/>
                </a:cxn>
                <a:cxn ang="0">
                  <a:pos x="connsiteX16360" y="connsiteY16360"/>
                </a:cxn>
                <a:cxn ang="0">
                  <a:pos x="connsiteX16361" y="connsiteY16361"/>
                </a:cxn>
                <a:cxn ang="0">
                  <a:pos x="connsiteX16362" y="connsiteY16362"/>
                </a:cxn>
                <a:cxn ang="0">
                  <a:pos x="connsiteX16363" y="connsiteY16363"/>
                </a:cxn>
                <a:cxn ang="0">
                  <a:pos x="connsiteX16364" y="connsiteY16364"/>
                </a:cxn>
                <a:cxn ang="0">
                  <a:pos x="connsiteX16365" y="connsiteY16365"/>
                </a:cxn>
                <a:cxn ang="0">
                  <a:pos x="connsiteX16366" y="connsiteY16366"/>
                </a:cxn>
                <a:cxn ang="0">
                  <a:pos x="connsiteX16367" y="connsiteY16367"/>
                </a:cxn>
                <a:cxn ang="0">
                  <a:pos x="connsiteX16368" y="connsiteY16368"/>
                </a:cxn>
                <a:cxn ang="0">
                  <a:pos x="connsiteX16369" y="connsiteY16369"/>
                </a:cxn>
                <a:cxn ang="0">
                  <a:pos x="connsiteX16370" y="connsiteY16370"/>
                </a:cxn>
                <a:cxn ang="0">
                  <a:pos x="connsiteX16371" y="connsiteY16371"/>
                </a:cxn>
                <a:cxn ang="0">
                  <a:pos x="connsiteX16372" y="connsiteY16372"/>
                </a:cxn>
                <a:cxn ang="0">
                  <a:pos x="connsiteX16373" y="connsiteY16373"/>
                </a:cxn>
                <a:cxn ang="0">
                  <a:pos x="connsiteX16374" y="connsiteY16374"/>
                </a:cxn>
                <a:cxn ang="0">
                  <a:pos x="connsiteX16375" y="connsiteY16375"/>
                </a:cxn>
                <a:cxn ang="0">
                  <a:pos x="connsiteX16376" y="connsiteY16376"/>
                </a:cxn>
                <a:cxn ang="0">
                  <a:pos x="connsiteX16377" y="connsiteY16377"/>
                </a:cxn>
                <a:cxn ang="0">
                  <a:pos x="connsiteX16378" y="connsiteY16378"/>
                </a:cxn>
                <a:cxn ang="0">
                  <a:pos x="connsiteX16379" y="connsiteY16379"/>
                </a:cxn>
                <a:cxn ang="0">
                  <a:pos x="connsiteX16380" y="connsiteY16380"/>
                </a:cxn>
                <a:cxn ang="0">
                  <a:pos x="connsiteX16381" y="connsiteY16381"/>
                </a:cxn>
                <a:cxn ang="0">
                  <a:pos x="connsiteX16382" y="connsiteY16382"/>
                </a:cxn>
                <a:cxn ang="0">
                  <a:pos x="connsiteX16383" y="connsiteY16383"/>
                </a:cxn>
                <a:cxn ang="0">
                  <a:pos x="connsiteX16384" y="connsiteY16384"/>
                </a:cxn>
                <a:cxn ang="0">
                  <a:pos x="connsiteX16385" y="connsiteY16385"/>
                </a:cxn>
                <a:cxn ang="0">
                  <a:pos x="connsiteX16386" y="connsiteY16386"/>
                </a:cxn>
                <a:cxn ang="0">
                  <a:pos x="connsiteX16387" y="connsiteY16387"/>
                </a:cxn>
                <a:cxn ang="0">
                  <a:pos x="connsiteX16388" y="connsiteY16388"/>
                </a:cxn>
                <a:cxn ang="0">
                  <a:pos x="connsiteX16389" y="connsiteY16389"/>
                </a:cxn>
                <a:cxn ang="0">
                  <a:pos x="connsiteX16390" y="connsiteY16390"/>
                </a:cxn>
                <a:cxn ang="0">
                  <a:pos x="connsiteX16391" y="connsiteY16391"/>
                </a:cxn>
                <a:cxn ang="0">
                  <a:pos x="connsiteX16392" y="connsiteY16392"/>
                </a:cxn>
                <a:cxn ang="0">
                  <a:pos x="connsiteX16393" y="connsiteY16393"/>
                </a:cxn>
                <a:cxn ang="0">
                  <a:pos x="connsiteX16394" y="connsiteY16394"/>
                </a:cxn>
                <a:cxn ang="0">
                  <a:pos x="connsiteX16395" y="connsiteY16395"/>
                </a:cxn>
                <a:cxn ang="0">
                  <a:pos x="connsiteX16396" y="connsiteY16396"/>
                </a:cxn>
                <a:cxn ang="0">
                  <a:pos x="connsiteX16397" y="connsiteY16397"/>
                </a:cxn>
                <a:cxn ang="0">
                  <a:pos x="connsiteX16398" y="connsiteY16398"/>
                </a:cxn>
                <a:cxn ang="0">
                  <a:pos x="connsiteX16399" y="connsiteY16399"/>
                </a:cxn>
                <a:cxn ang="0">
                  <a:pos x="connsiteX16400" y="connsiteY16400"/>
                </a:cxn>
                <a:cxn ang="0">
                  <a:pos x="connsiteX16401" y="connsiteY16401"/>
                </a:cxn>
                <a:cxn ang="0">
                  <a:pos x="connsiteX16402" y="connsiteY16402"/>
                </a:cxn>
                <a:cxn ang="0">
                  <a:pos x="connsiteX16403" y="connsiteY16403"/>
                </a:cxn>
                <a:cxn ang="0">
                  <a:pos x="connsiteX16404" y="connsiteY16404"/>
                </a:cxn>
                <a:cxn ang="0">
                  <a:pos x="connsiteX16405" y="connsiteY16405"/>
                </a:cxn>
                <a:cxn ang="0">
                  <a:pos x="connsiteX16406" y="connsiteY16406"/>
                </a:cxn>
                <a:cxn ang="0">
                  <a:pos x="connsiteX16407" y="connsiteY16407"/>
                </a:cxn>
                <a:cxn ang="0">
                  <a:pos x="connsiteX16408" y="connsiteY16408"/>
                </a:cxn>
                <a:cxn ang="0">
                  <a:pos x="connsiteX16409" y="connsiteY16409"/>
                </a:cxn>
                <a:cxn ang="0">
                  <a:pos x="connsiteX16410" y="connsiteY16410"/>
                </a:cxn>
                <a:cxn ang="0">
                  <a:pos x="connsiteX16411" y="connsiteY16411"/>
                </a:cxn>
                <a:cxn ang="0">
                  <a:pos x="connsiteX16412" y="connsiteY16412"/>
                </a:cxn>
                <a:cxn ang="0">
                  <a:pos x="connsiteX16413" y="connsiteY16413"/>
                </a:cxn>
                <a:cxn ang="0">
                  <a:pos x="connsiteX16414" y="connsiteY16414"/>
                </a:cxn>
                <a:cxn ang="0">
                  <a:pos x="connsiteX16415" y="connsiteY16415"/>
                </a:cxn>
                <a:cxn ang="0">
                  <a:pos x="connsiteX16416" y="connsiteY16416"/>
                </a:cxn>
                <a:cxn ang="0">
                  <a:pos x="connsiteX16417" y="connsiteY16417"/>
                </a:cxn>
                <a:cxn ang="0">
                  <a:pos x="connsiteX16418" y="connsiteY16418"/>
                </a:cxn>
                <a:cxn ang="0">
                  <a:pos x="connsiteX16419" y="connsiteY16419"/>
                </a:cxn>
                <a:cxn ang="0">
                  <a:pos x="connsiteX16420" y="connsiteY16420"/>
                </a:cxn>
                <a:cxn ang="0">
                  <a:pos x="connsiteX16421" y="connsiteY16421"/>
                </a:cxn>
                <a:cxn ang="0">
                  <a:pos x="connsiteX16422" y="connsiteY16422"/>
                </a:cxn>
                <a:cxn ang="0">
                  <a:pos x="connsiteX16423" y="connsiteY16423"/>
                </a:cxn>
                <a:cxn ang="0">
                  <a:pos x="connsiteX16424" y="connsiteY16424"/>
                </a:cxn>
                <a:cxn ang="0">
                  <a:pos x="connsiteX16425" y="connsiteY16425"/>
                </a:cxn>
                <a:cxn ang="0">
                  <a:pos x="connsiteX16426" y="connsiteY16426"/>
                </a:cxn>
                <a:cxn ang="0">
                  <a:pos x="connsiteX16427" y="connsiteY16427"/>
                </a:cxn>
                <a:cxn ang="0">
                  <a:pos x="connsiteX16428" y="connsiteY16428"/>
                </a:cxn>
                <a:cxn ang="0">
                  <a:pos x="connsiteX16429" y="connsiteY16429"/>
                </a:cxn>
                <a:cxn ang="0">
                  <a:pos x="connsiteX16430" y="connsiteY16430"/>
                </a:cxn>
                <a:cxn ang="0">
                  <a:pos x="connsiteX16431" y="connsiteY16431"/>
                </a:cxn>
                <a:cxn ang="0">
                  <a:pos x="connsiteX16432" y="connsiteY16432"/>
                </a:cxn>
                <a:cxn ang="0">
                  <a:pos x="connsiteX16433" y="connsiteY16433"/>
                </a:cxn>
                <a:cxn ang="0">
                  <a:pos x="connsiteX16434" y="connsiteY16434"/>
                </a:cxn>
                <a:cxn ang="0">
                  <a:pos x="connsiteX16435" y="connsiteY16435"/>
                </a:cxn>
                <a:cxn ang="0">
                  <a:pos x="connsiteX16436" y="connsiteY16436"/>
                </a:cxn>
                <a:cxn ang="0">
                  <a:pos x="connsiteX16437" y="connsiteY16437"/>
                </a:cxn>
                <a:cxn ang="0">
                  <a:pos x="connsiteX16438" y="connsiteY16438"/>
                </a:cxn>
                <a:cxn ang="0">
                  <a:pos x="connsiteX16439" y="connsiteY16439"/>
                </a:cxn>
                <a:cxn ang="0">
                  <a:pos x="connsiteX16440" y="connsiteY16440"/>
                </a:cxn>
                <a:cxn ang="0">
                  <a:pos x="connsiteX16441" y="connsiteY16441"/>
                </a:cxn>
                <a:cxn ang="0">
                  <a:pos x="connsiteX16442" y="connsiteY16442"/>
                </a:cxn>
                <a:cxn ang="0">
                  <a:pos x="connsiteX16443" y="connsiteY16443"/>
                </a:cxn>
                <a:cxn ang="0">
                  <a:pos x="connsiteX16444" y="connsiteY16444"/>
                </a:cxn>
                <a:cxn ang="0">
                  <a:pos x="connsiteX16445" y="connsiteY16445"/>
                </a:cxn>
                <a:cxn ang="0">
                  <a:pos x="connsiteX16446" y="connsiteY16446"/>
                </a:cxn>
                <a:cxn ang="0">
                  <a:pos x="connsiteX16447" y="connsiteY16447"/>
                </a:cxn>
                <a:cxn ang="0">
                  <a:pos x="connsiteX16448" y="connsiteY16448"/>
                </a:cxn>
                <a:cxn ang="0">
                  <a:pos x="connsiteX16449" y="connsiteY16449"/>
                </a:cxn>
                <a:cxn ang="0">
                  <a:pos x="connsiteX16450" y="connsiteY16450"/>
                </a:cxn>
                <a:cxn ang="0">
                  <a:pos x="connsiteX16451" y="connsiteY16451"/>
                </a:cxn>
                <a:cxn ang="0">
                  <a:pos x="connsiteX16452" y="connsiteY16452"/>
                </a:cxn>
                <a:cxn ang="0">
                  <a:pos x="connsiteX16453" y="connsiteY16453"/>
                </a:cxn>
                <a:cxn ang="0">
                  <a:pos x="connsiteX16454" y="connsiteY16454"/>
                </a:cxn>
                <a:cxn ang="0">
                  <a:pos x="connsiteX16455" y="connsiteY16455"/>
                </a:cxn>
                <a:cxn ang="0">
                  <a:pos x="connsiteX16456" y="connsiteY16456"/>
                </a:cxn>
                <a:cxn ang="0">
                  <a:pos x="connsiteX16457" y="connsiteY16457"/>
                </a:cxn>
                <a:cxn ang="0">
                  <a:pos x="connsiteX16458" y="connsiteY16458"/>
                </a:cxn>
                <a:cxn ang="0">
                  <a:pos x="connsiteX16459" y="connsiteY16459"/>
                </a:cxn>
                <a:cxn ang="0">
                  <a:pos x="connsiteX16460" y="connsiteY16460"/>
                </a:cxn>
                <a:cxn ang="0">
                  <a:pos x="connsiteX16461" y="connsiteY16461"/>
                </a:cxn>
                <a:cxn ang="0">
                  <a:pos x="connsiteX16462" y="connsiteY16462"/>
                </a:cxn>
                <a:cxn ang="0">
                  <a:pos x="connsiteX16463" y="connsiteY16463"/>
                </a:cxn>
                <a:cxn ang="0">
                  <a:pos x="connsiteX16464" y="connsiteY16464"/>
                </a:cxn>
                <a:cxn ang="0">
                  <a:pos x="connsiteX16465" y="connsiteY16465"/>
                </a:cxn>
                <a:cxn ang="0">
                  <a:pos x="connsiteX16466" y="connsiteY16466"/>
                </a:cxn>
                <a:cxn ang="0">
                  <a:pos x="connsiteX16467" y="connsiteY16467"/>
                </a:cxn>
                <a:cxn ang="0">
                  <a:pos x="connsiteX16468" y="connsiteY16468"/>
                </a:cxn>
                <a:cxn ang="0">
                  <a:pos x="connsiteX16469" y="connsiteY16469"/>
                </a:cxn>
                <a:cxn ang="0">
                  <a:pos x="connsiteX16470" y="connsiteY16470"/>
                </a:cxn>
                <a:cxn ang="0">
                  <a:pos x="connsiteX16471" y="connsiteY16471"/>
                </a:cxn>
                <a:cxn ang="0">
                  <a:pos x="connsiteX16472" y="connsiteY16472"/>
                </a:cxn>
                <a:cxn ang="0">
                  <a:pos x="connsiteX16473" y="connsiteY16473"/>
                </a:cxn>
                <a:cxn ang="0">
                  <a:pos x="connsiteX16474" y="connsiteY16474"/>
                </a:cxn>
                <a:cxn ang="0">
                  <a:pos x="connsiteX16475" y="connsiteY16475"/>
                </a:cxn>
                <a:cxn ang="0">
                  <a:pos x="connsiteX16476" y="connsiteY16476"/>
                </a:cxn>
                <a:cxn ang="0">
                  <a:pos x="connsiteX16477" y="connsiteY16477"/>
                </a:cxn>
                <a:cxn ang="0">
                  <a:pos x="connsiteX16478" y="connsiteY16478"/>
                </a:cxn>
                <a:cxn ang="0">
                  <a:pos x="connsiteX16479" y="connsiteY16479"/>
                </a:cxn>
                <a:cxn ang="0">
                  <a:pos x="connsiteX16480" y="connsiteY16480"/>
                </a:cxn>
                <a:cxn ang="0">
                  <a:pos x="connsiteX16481" y="connsiteY16481"/>
                </a:cxn>
                <a:cxn ang="0">
                  <a:pos x="connsiteX16482" y="connsiteY16482"/>
                </a:cxn>
                <a:cxn ang="0">
                  <a:pos x="connsiteX16483" y="connsiteY16483"/>
                </a:cxn>
                <a:cxn ang="0">
                  <a:pos x="connsiteX16484" y="connsiteY16484"/>
                </a:cxn>
                <a:cxn ang="0">
                  <a:pos x="connsiteX16485" y="connsiteY16485"/>
                </a:cxn>
                <a:cxn ang="0">
                  <a:pos x="connsiteX16486" y="connsiteY16486"/>
                </a:cxn>
                <a:cxn ang="0">
                  <a:pos x="connsiteX16487" y="connsiteY16487"/>
                </a:cxn>
                <a:cxn ang="0">
                  <a:pos x="connsiteX16488" y="connsiteY16488"/>
                </a:cxn>
                <a:cxn ang="0">
                  <a:pos x="connsiteX16489" y="connsiteY16489"/>
                </a:cxn>
                <a:cxn ang="0">
                  <a:pos x="connsiteX16490" y="connsiteY16490"/>
                </a:cxn>
                <a:cxn ang="0">
                  <a:pos x="connsiteX16491" y="connsiteY16491"/>
                </a:cxn>
                <a:cxn ang="0">
                  <a:pos x="connsiteX16492" y="connsiteY16492"/>
                </a:cxn>
                <a:cxn ang="0">
                  <a:pos x="connsiteX16493" y="connsiteY16493"/>
                </a:cxn>
                <a:cxn ang="0">
                  <a:pos x="connsiteX16494" y="connsiteY16494"/>
                </a:cxn>
                <a:cxn ang="0">
                  <a:pos x="connsiteX16495" y="connsiteY16495"/>
                </a:cxn>
                <a:cxn ang="0">
                  <a:pos x="connsiteX16496" y="connsiteY16496"/>
                </a:cxn>
                <a:cxn ang="0">
                  <a:pos x="connsiteX16497" y="connsiteY16497"/>
                </a:cxn>
                <a:cxn ang="0">
                  <a:pos x="connsiteX16498" y="connsiteY16498"/>
                </a:cxn>
                <a:cxn ang="0">
                  <a:pos x="connsiteX16499" y="connsiteY16499"/>
                </a:cxn>
                <a:cxn ang="0">
                  <a:pos x="connsiteX16500" y="connsiteY16500"/>
                </a:cxn>
                <a:cxn ang="0">
                  <a:pos x="connsiteX16501" y="connsiteY16501"/>
                </a:cxn>
                <a:cxn ang="0">
                  <a:pos x="connsiteX16502" y="connsiteY16502"/>
                </a:cxn>
                <a:cxn ang="0">
                  <a:pos x="connsiteX16503" y="connsiteY16503"/>
                </a:cxn>
                <a:cxn ang="0">
                  <a:pos x="connsiteX16504" y="connsiteY16504"/>
                </a:cxn>
                <a:cxn ang="0">
                  <a:pos x="connsiteX16505" y="connsiteY16505"/>
                </a:cxn>
                <a:cxn ang="0">
                  <a:pos x="connsiteX16506" y="connsiteY16506"/>
                </a:cxn>
                <a:cxn ang="0">
                  <a:pos x="connsiteX16507" y="connsiteY16507"/>
                </a:cxn>
                <a:cxn ang="0">
                  <a:pos x="connsiteX16508" y="connsiteY16508"/>
                </a:cxn>
                <a:cxn ang="0">
                  <a:pos x="connsiteX16509" y="connsiteY16509"/>
                </a:cxn>
                <a:cxn ang="0">
                  <a:pos x="connsiteX16510" y="connsiteY16510"/>
                </a:cxn>
                <a:cxn ang="0">
                  <a:pos x="connsiteX16511" y="connsiteY16511"/>
                </a:cxn>
                <a:cxn ang="0">
                  <a:pos x="connsiteX16512" y="connsiteY16512"/>
                </a:cxn>
                <a:cxn ang="0">
                  <a:pos x="connsiteX16513" y="connsiteY16513"/>
                </a:cxn>
                <a:cxn ang="0">
                  <a:pos x="connsiteX16514" y="connsiteY16514"/>
                </a:cxn>
                <a:cxn ang="0">
                  <a:pos x="connsiteX16515" y="connsiteY16515"/>
                </a:cxn>
                <a:cxn ang="0">
                  <a:pos x="connsiteX16516" y="connsiteY16516"/>
                </a:cxn>
                <a:cxn ang="0">
                  <a:pos x="connsiteX16517" y="connsiteY16517"/>
                </a:cxn>
                <a:cxn ang="0">
                  <a:pos x="connsiteX16518" y="connsiteY16518"/>
                </a:cxn>
                <a:cxn ang="0">
                  <a:pos x="connsiteX16519" y="connsiteY16519"/>
                </a:cxn>
                <a:cxn ang="0">
                  <a:pos x="connsiteX16520" y="connsiteY16520"/>
                </a:cxn>
                <a:cxn ang="0">
                  <a:pos x="connsiteX16521" y="connsiteY16521"/>
                </a:cxn>
                <a:cxn ang="0">
                  <a:pos x="connsiteX16522" y="connsiteY16522"/>
                </a:cxn>
                <a:cxn ang="0">
                  <a:pos x="connsiteX16523" y="connsiteY16523"/>
                </a:cxn>
                <a:cxn ang="0">
                  <a:pos x="connsiteX16524" y="connsiteY16524"/>
                </a:cxn>
                <a:cxn ang="0">
                  <a:pos x="connsiteX16525" y="connsiteY16525"/>
                </a:cxn>
                <a:cxn ang="0">
                  <a:pos x="connsiteX16526" y="connsiteY16526"/>
                </a:cxn>
                <a:cxn ang="0">
                  <a:pos x="connsiteX16527" y="connsiteY16527"/>
                </a:cxn>
                <a:cxn ang="0">
                  <a:pos x="connsiteX16528" y="connsiteY16528"/>
                </a:cxn>
                <a:cxn ang="0">
                  <a:pos x="connsiteX16529" y="connsiteY16529"/>
                </a:cxn>
                <a:cxn ang="0">
                  <a:pos x="connsiteX16530" y="connsiteY16530"/>
                </a:cxn>
                <a:cxn ang="0">
                  <a:pos x="connsiteX16531" y="connsiteY16531"/>
                </a:cxn>
                <a:cxn ang="0">
                  <a:pos x="connsiteX16532" y="connsiteY16532"/>
                </a:cxn>
                <a:cxn ang="0">
                  <a:pos x="connsiteX16533" y="connsiteY16533"/>
                </a:cxn>
                <a:cxn ang="0">
                  <a:pos x="connsiteX16534" y="connsiteY16534"/>
                </a:cxn>
                <a:cxn ang="0">
                  <a:pos x="connsiteX16535" y="connsiteY16535"/>
                </a:cxn>
                <a:cxn ang="0">
                  <a:pos x="connsiteX16536" y="connsiteY16536"/>
                </a:cxn>
                <a:cxn ang="0">
                  <a:pos x="connsiteX16537" y="connsiteY16537"/>
                </a:cxn>
                <a:cxn ang="0">
                  <a:pos x="connsiteX16538" y="connsiteY16538"/>
                </a:cxn>
                <a:cxn ang="0">
                  <a:pos x="connsiteX16539" y="connsiteY16539"/>
                </a:cxn>
                <a:cxn ang="0">
                  <a:pos x="connsiteX16540" y="connsiteY16540"/>
                </a:cxn>
                <a:cxn ang="0">
                  <a:pos x="connsiteX16541" y="connsiteY16541"/>
                </a:cxn>
                <a:cxn ang="0">
                  <a:pos x="connsiteX16542" y="connsiteY16542"/>
                </a:cxn>
                <a:cxn ang="0">
                  <a:pos x="connsiteX16543" y="connsiteY16543"/>
                </a:cxn>
                <a:cxn ang="0">
                  <a:pos x="connsiteX16544" y="connsiteY16544"/>
                </a:cxn>
                <a:cxn ang="0">
                  <a:pos x="connsiteX16545" y="connsiteY16545"/>
                </a:cxn>
                <a:cxn ang="0">
                  <a:pos x="connsiteX16546" y="connsiteY16546"/>
                </a:cxn>
                <a:cxn ang="0">
                  <a:pos x="connsiteX16547" y="connsiteY16547"/>
                </a:cxn>
                <a:cxn ang="0">
                  <a:pos x="connsiteX16548" y="connsiteY16548"/>
                </a:cxn>
                <a:cxn ang="0">
                  <a:pos x="connsiteX16549" y="connsiteY16549"/>
                </a:cxn>
                <a:cxn ang="0">
                  <a:pos x="connsiteX16550" y="connsiteY16550"/>
                </a:cxn>
                <a:cxn ang="0">
                  <a:pos x="connsiteX16551" y="connsiteY16551"/>
                </a:cxn>
                <a:cxn ang="0">
                  <a:pos x="connsiteX16552" y="connsiteY16552"/>
                </a:cxn>
                <a:cxn ang="0">
                  <a:pos x="connsiteX16553" y="connsiteY16553"/>
                </a:cxn>
                <a:cxn ang="0">
                  <a:pos x="connsiteX16554" y="connsiteY16554"/>
                </a:cxn>
                <a:cxn ang="0">
                  <a:pos x="connsiteX16555" y="connsiteY16555"/>
                </a:cxn>
                <a:cxn ang="0">
                  <a:pos x="connsiteX16556" y="connsiteY16556"/>
                </a:cxn>
                <a:cxn ang="0">
                  <a:pos x="connsiteX16557" y="connsiteY16557"/>
                </a:cxn>
                <a:cxn ang="0">
                  <a:pos x="connsiteX16558" y="connsiteY16558"/>
                </a:cxn>
                <a:cxn ang="0">
                  <a:pos x="connsiteX16559" y="connsiteY16559"/>
                </a:cxn>
                <a:cxn ang="0">
                  <a:pos x="connsiteX16560" y="connsiteY16560"/>
                </a:cxn>
                <a:cxn ang="0">
                  <a:pos x="connsiteX16561" y="connsiteY16561"/>
                </a:cxn>
                <a:cxn ang="0">
                  <a:pos x="connsiteX16562" y="connsiteY16562"/>
                </a:cxn>
                <a:cxn ang="0">
                  <a:pos x="connsiteX16563" y="connsiteY16563"/>
                </a:cxn>
                <a:cxn ang="0">
                  <a:pos x="connsiteX16564" y="connsiteY16564"/>
                </a:cxn>
                <a:cxn ang="0">
                  <a:pos x="connsiteX16565" y="connsiteY16565"/>
                </a:cxn>
                <a:cxn ang="0">
                  <a:pos x="connsiteX16566" y="connsiteY16566"/>
                </a:cxn>
                <a:cxn ang="0">
                  <a:pos x="connsiteX16567" y="connsiteY16567"/>
                </a:cxn>
                <a:cxn ang="0">
                  <a:pos x="connsiteX16568" y="connsiteY16568"/>
                </a:cxn>
                <a:cxn ang="0">
                  <a:pos x="connsiteX16569" y="connsiteY16569"/>
                </a:cxn>
                <a:cxn ang="0">
                  <a:pos x="connsiteX16570" y="connsiteY16570"/>
                </a:cxn>
                <a:cxn ang="0">
                  <a:pos x="connsiteX16571" y="connsiteY16571"/>
                </a:cxn>
                <a:cxn ang="0">
                  <a:pos x="connsiteX16572" y="connsiteY16572"/>
                </a:cxn>
                <a:cxn ang="0">
                  <a:pos x="connsiteX16573" y="connsiteY16573"/>
                </a:cxn>
                <a:cxn ang="0">
                  <a:pos x="connsiteX16574" y="connsiteY16574"/>
                </a:cxn>
                <a:cxn ang="0">
                  <a:pos x="connsiteX16575" y="connsiteY16575"/>
                </a:cxn>
                <a:cxn ang="0">
                  <a:pos x="connsiteX16576" y="connsiteY16576"/>
                </a:cxn>
                <a:cxn ang="0">
                  <a:pos x="connsiteX16577" y="connsiteY16577"/>
                </a:cxn>
                <a:cxn ang="0">
                  <a:pos x="connsiteX16578" y="connsiteY16578"/>
                </a:cxn>
                <a:cxn ang="0">
                  <a:pos x="connsiteX16579" y="connsiteY16579"/>
                </a:cxn>
                <a:cxn ang="0">
                  <a:pos x="connsiteX16580" y="connsiteY16580"/>
                </a:cxn>
                <a:cxn ang="0">
                  <a:pos x="connsiteX16581" y="connsiteY16581"/>
                </a:cxn>
                <a:cxn ang="0">
                  <a:pos x="connsiteX16582" y="connsiteY16582"/>
                </a:cxn>
                <a:cxn ang="0">
                  <a:pos x="connsiteX16583" y="connsiteY16583"/>
                </a:cxn>
                <a:cxn ang="0">
                  <a:pos x="connsiteX16584" y="connsiteY16584"/>
                </a:cxn>
                <a:cxn ang="0">
                  <a:pos x="connsiteX16585" y="connsiteY16585"/>
                </a:cxn>
                <a:cxn ang="0">
                  <a:pos x="connsiteX16586" y="connsiteY16586"/>
                </a:cxn>
                <a:cxn ang="0">
                  <a:pos x="connsiteX16587" y="connsiteY16587"/>
                </a:cxn>
                <a:cxn ang="0">
                  <a:pos x="connsiteX16588" y="connsiteY16588"/>
                </a:cxn>
                <a:cxn ang="0">
                  <a:pos x="connsiteX16589" y="connsiteY16589"/>
                </a:cxn>
                <a:cxn ang="0">
                  <a:pos x="connsiteX16590" y="connsiteY16590"/>
                </a:cxn>
                <a:cxn ang="0">
                  <a:pos x="connsiteX16591" y="connsiteY16591"/>
                </a:cxn>
                <a:cxn ang="0">
                  <a:pos x="connsiteX16592" y="connsiteY16592"/>
                </a:cxn>
                <a:cxn ang="0">
                  <a:pos x="connsiteX16593" y="connsiteY16593"/>
                </a:cxn>
                <a:cxn ang="0">
                  <a:pos x="connsiteX16594" y="connsiteY16594"/>
                </a:cxn>
                <a:cxn ang="0">
                  <a:pos x="connsiteX16595" y="connsiteY16595"/>
                </a:cxn>
                <a:cxn ang="0">
                  <a:pos x="connsiteX16596" y="connsiteY16596"/>
                </a:cxn>
                <a:cxn ang="0">
                  <a:pos x="connsiteX16597" y="connsiteY16597"/>
                </a:cxn>
                <a:cxn ang="0">
                  <a:pos x="connsiteX16598" y="connsiteY16598"/>
                </a:cxn>
                <a:cxn ang="0">
                  <a:pos x="connsiteX16599" y="connsiteY16599"/>
                </a:cxn>
                <a:cxn ang="0">
                  <a:pos x="connsiteX16600" y="connsiteY16600"/>
                </a:cxn>
                <a:cxn ang="0">
                  <a:pos x="connsiteX16601" y="connsiteY16601"/>
                </a:cxn>
                <a:cxn ang="0">
                  <a:pos x="connsiteX16602" y="connsiteY16602"/>
                </a:cxn>
                <a:cxn ang="0">
                  <a:pos x="connsiteX16603" y="connsiteY16603"/>
                </a:cxn>
                <a:cxn ang="0">
                  <a:pos x="connsiteX16604" y="connsiteY16604"/>
                </a:cxn>
                <a:cxn ang="0">
                  <a:pos x="connsiteX16605" y="connsiteY16605"/>
                </a:cxn>
                <a:cxn ang="0">
                  <a:pos x="connsiteX16606" y="connsiteY16606"/>
                </a:cxn>
                <a:cxn ang="0">
                  <a:pos x="connsiteX16607" y="connsiteY16607"/>
                </a:cxn>
                <a:cxn ang="0">
                  <a:pos x="connsiteX16608" y="connsiteY16608"/>
                </a:cxn>
                <a:cxn ang="0">
                  <a:pos x="connsiteX16609" y="connsiteY16609"/>
                </a:cxn>
                <a:cxn ang="0">
                  <a:pos x="connsiteX16610" y="connsiteY16610"/>
                </a:cxn>
                <a:cxn ang="0">
                  <a:pos x="connsiteX16611" y="connsiteY16611"/>
                </a:cxn>
                <a:cxn ang="0">
                  <a:pos x="connsiteX16612" y="connsiteY16612"/>
                </a:cxn>
                <a:cxn ang="0">
                  <a:pos x="connsiteX16613" y="connsiteY16613"/>
                </a:cxn>
                <a:cxn ang="0">
                  <a:pos x="connsiteX16614" y="connsiteY16614"/>
                </a:cxn>
                <a:cxn ang="0">
                  <a:pos x="connsiteX16615" y="connsiteY16615"/>
                </a:cxn>
                <a:cxn ang="0">
                  <a:pos x="connsiteX16616" y="connsiteY16616"/>
                </a:cxn>
                <a:cxn ang="0">
                  <a:pos x="connsiteX16617" y="connsiteY16617"/>
                </a:cxn>
                <a:cxn ang="0">
                  <a:pos x="connsiteX16618" y="connsiteY16618"/>
                </a:cxn>
                <a:cxn ang="0">
                  <a:pos x="connsiteX16619" y="connsiteY16619"/>
                </a:cxn>
                <a:cxn ang="0">
                  <a:pos x="connsiteX16620" y="connsiteY16620"/>
                </a:cxn>
                <a:cxn ang="0">
                  <a:pos x="connsiteX16621" y="connsiteY16621"/>
                </a:cxn>
                <a:cxn ang="0">
                  <a:pos x="connsiteX16622" y="connsiteY16622"/>
                </a:cxn>
                <a:cxn ang="0">
                  <a:pos x="connsiteX16623" y="connsiteY16623"/>
                </a:cxn>
                <a:cxn ang="0">
                  <a:pos x="connsiteX16624" y="connsiteY16624"/>
                </a:cxn>
                <a:cxn ang="0">
                  <a:pos x="connsiteX16625" y="connsiteY16625"/>
                </a:cxn>
                <a:cxn ang="0">
                  <a:pos x="connsiteX16626" y="connsiteY16626"/>
                </a:cxn>
                <a:cxn ang="0">
                  <a:pos x="connsiteX16627" y="connsiteY16627"/>
                </a:cxn>
                <a:cxn ang="0">
                  <a:pos x="connsiteX16628" y="connsiteY16628"/>
                </a:cxn>
                <a:cxn ang="0">
                  <a:pos x="connsiteX16629" y="connsiteY16629"/>
                </a:cxn>
                <a:cxn ang="0">
                  <a:pos x="connsiteX16630" y="connsiteY16630"/>
                </a:cxn>
                <a:cxn ang="0">
                  <a:pos x="connsiteX16631" y="connsiteY16631"/>
                </a:cxn>
                <a:cxn ang="0">
                  <a:pos x="connsiteX16632" y="connsiteY16632"/>
                </a:cxn>
                <a:cxn ang="0">
                  <a:pos x="connsiteX16633" y="connsiteY16633"/>
                </a:cxn>
                <a:cxn ang="0">
                  <a:pos x="connsiteX16634" y="connsiteY16634"/>
                </a:cxn>
                <a:cxn ang="0">
                  <a:pos x="connsiteX16635" y="connsiteY16635"/>
                </a:cxn>
                <a:cxn ang="0">
                  <a:pos x="connsiteX16636" y="connsiteY16636"/>
                </a:cxn>
                <a:cxn ang="0">
                  <a:pos x="connsiteX16637" y="connsiteY16637"/>
                </a:cxn>
                <a:cxn ang="0">
                  <a:pos x="connsiteX16638" y="connsiteY16638"/>
                </a:cxn>
                <a:cxn ang="0">
                  <a:pos x="connsiteX16639" y="connsiteY16639"/>
                </a:cxn>
                <a:cxn ang="0">
                  <a:pos x="connsiteX16640" y="connsiteY16640"/>
                </a:cxn>
                <a:cxn ang="0">
                  <a:pos x="connsiteX16641" y="connsiteY16641"/>
                </a:cxn>
                <a:cxn ang="0">
                  <a:pos x="connsiteX16642" y="connsiteY16642"/>
                </a:cxn>
                <a:cxn ang="0">
                  <a:pos x="connsiteX16643" y="connsiteY16643"/>
                </a:cxn>
                <a:cxn ang="0">
                  <a:pos x="connsiteX16644" y="connsiteY16644"/>
                </a:cxn>
                <a:cxn ang="0">
                  <a:pos x="connsiteX16645" y="connsiteY16645"/>
                </a:cxn>
                <a:cxn ang="0">
                  <a:pos x="connsiteX16646" y="connsiteY16646"/>
                </a:cxn>
                <a:cxn ang="0">
                  <a:pos x="connsiteX16647" y="connsiteY16647"/>
                </a:cxn>
                <a:cxn ang="0">
                  <a:pos x="connsiteX16648" y="connsiteY16648"/>
                </a:cxn>
                <a:cxn ang="0">
                  <a:pos x="connsiteX16649" y="connsiteY16649"/>
                </a:cxn>
                <a:cxn ang="0">
                  <a:pos x="connsiteX16650" y="connsiteY16650"/>
                </a:cxn>
                <a:cxn ang="0">
                  <a:pos x="connsiteX16651" y="connsiteY16651"/>
                </a:cxn>
                <a:cxn ang="0">
                  <a:pos x="connsiteX16652" y="connsiteY16652"/>
                </a:cxn>
                <a:cxn ang="0">
                  <a:pos x="connsiteX16653" y="connsiteY16653"/>
                </a:cxn>
                <a:cxn ang="0">
                  <a:pos x="connsiteX16654" y="connsiteY16654"/>
                </a:cxn>
                <a:cxn ang="0">
                  <a:pos x="connsiteX16655" y="connsiteY16655"/>
                </a:cxn>
                <a:cxn ang="0">
                  <a:pos x="connsiteX16656" y="connsiteY16656"/>
                </a:cxn>
                <a:cxn ang="0">
                  <a:pos x="connsiteX16657" y="connsiteY16657"/>
                </a:cxn>
                <a:cxn ang="0">
                  <a:pos x="connsiteX16658" y="connsiteY16658"/>
                </a:cxn>
                <a:cxn ang="0">
                  <a:pos x="connsiteX16659" y="connsiteY16659"/>
                </a:cxn>
                <a:cxn ang="0">
                  <a:pos x="connsiteX16660" y="connsiteY16660"/>
                </a:cxn>
                <a:cxn ang="0">
                  <a:pos x="connsiteX16661" y="connsiteY16661"/>
                </a:cxn>
                <a:cxn ang="0">
                  <a:pos x="connsiteX16662" y="connsiteY16662"/>
                </a:cxn>
                <a:cxn ang="0">
                  <a:pos x="connsiteX16663" y="connsiteY16663"/>
                </a:cxn>
                <a:cxn ang="0">
                  <a:pos x="connsiteX16664" y="connsiteY16664"/>
                </a:cxn>
                <a:cxn ang="0">
                  <a:pos x="connsiteX16665" y="connsiteY16665"/>
                </a:cxn>
                <a:cxn ang="0">
                  <a:pos x="connsiteX16666" y="connsiteY16666"/>
                </a:cxn>
                <a:cxn ang="0">
                  <a:pos x="connsiteX16667" y="connsiteY16667"/>
                </a:cxn>
                <a:cxn ang="0">
                  <a:pos x="connsiteX16668" y="connsiteY16668"/>
                </a:cxn>
                <a:cxn ang="0">
                  <a:pos x="connsiteX16669" y="connsiteY16669"/>
                </a:cxn>
                <a:cxn ang="0">
                  <a:pos x="connsiteX16670" y="connsiteY16670"/>
                </a:cxn>
                <a:cxn ang="0">
                  <a:pos x="connsiteX16671" y="connsiteY16671"/>
                </a:cxn>
                <a:cxn ang="0">
                  <a:pos x="connsiteX16672" y="connsiteY16672"/>
                </a:cxn>
                <a:cxn ang="0">
                  <a:pos x="connsiteX16673" y="connsiteY16673"/>
                </a:cxn>
                <a:cxn ang="0">
                  <a:pos x="connsiteX16674" y="connsiteY16674"/>
                </a:cxn>
                <a:cxn ang="0">
                  <a:pos x="connsiteX16675" y="connsiteY16675"/>
                </a:cxn>
                <a:cxn ang="0">
                  <a:pos x="connsiteX16676" y="connsiteY16676"/>
                </a:cxn>
                <a:cxn ang="0">
                  <a:pos x="connsiteX16677" y="connsiteY16677"/>
                </a:cxn>
                <a:cxn ang="0">
                  <a:pos x="connsiteX16678" y="connsiteY16678"/>
                </a:cxn>
                <a:cxn ang="0">
                  <a:pos x="connsiteX16679" y="connsiteY16679"/>
                </a:cxn>
                <a:cxn ang="0">
                  <a:pos x="connsiteX16680" y="connsiteY16680"/>
                </a:cxn>
                <a:cxn ang="0">
                  <a:pos x="connsiteX16681" y="connsiteY16681"/>
                </a:cxn>
                <a:cxn ang="0">
                  <a:pos x="connsiteX16682" y="connsiteY16682"/>
                </a:cxn>
                <a:cxn ang="0">
                  <a:pos x="connsiteX16683" y="connsiteY16683"/>
                </a:cxn>
                <a:cxn ang="0">
                  <a:pos x="connsiteX16684" y="connsiteY16684"/>
                </a:cxn>
                <a:cxn ang="0">
                  <a:pos x="connsiteX16685" y="connsiteY16685"/>
                </a:cxn>
                <a:cxn ang="0">
                  <a:pos x="connsiteX16686" y="connsiteY16686"/>
                </a:cxn>
                <a:cxn ang="0">
                  <a:pos x="connsiteX16687" y="connsiteY16687"/>
                </a:cxn>
                <a:cxn ang="0">
                  <a:pos x="connsiteX16688" y="connsiteY16688"/>
                </a:cxn>
                <a:cxn ang="0">
                  <a:pos x="connsiteX16689" y="connsiteY16689"/>
                </a:cxn>
                <a:cxn ang="0">
                  <a:pos x="connsiteX16690" y="connsiteY16690"/>
                </a:cxn>
                <a:cxn ang="0">
                  <a:pos x="connsiteX16691" y="connsiteY16691"/>
                </a:cxn>
                <a:cxn ang="0">
                  <a:pos x="connsiteX16692" y="connsiteY16692"/>
                </a:cxn>
                <a:cxn ang="0">
                  <a:pos x="connsiteX16693" y="connsiteY16693"/>
                </a:cxn>
                <a:cxn ang="0">
                  <a:pos x="connsiteX16694" y="connsiteY16694"/>
                </a:cxn>
                <a:cxn ang="0">
                  <a:pos x="connsiteX16695" y="connsiteY16695"/>
                </a:cxn>
                <a:cxn ang="0">
                  <a:pos x="connsiteX16696" y="connsiteY16696"/>
                </a:cxn>
                <a:cxn ang="0">
                  <a:pos x="connsiteX16697" y="connsiteY16697"/>
                </a:cxn>
                <a:cxn ang="0">
                  <a:pos x="connsiteX16698" y="connsiteY16698"/>
                </a:cxn>
                <a:cxn ang="0">
                  <a:pos x="connsiteX16699" y="connsiteY16699"/>
                </a:cxn>
                <a:cxn ang="0">
                  <a:pos x="connsiteX16700" y="connsiteY16700"/>
                </a:cxn>
                <a:cxn ang="0">
                  <a:pos x="connsiteX16701" y="connsiteY16701"/>
                </a:cxn>
                <a:cxn ang="0">
                  <a:pos x="connsiteX16702" y="connsiteY16702"/>
                </a:cxn>
                <a:cxn ang="0">
                  <a:pos x="connsiteX16703" y="connsiteY16703"/>
                </a:cxn>
                <a:cxn ang="0">
                  <a:pos x="connsiteX16704" y="connsiteY16704"/>
                </a:cxn>
                <a:cxn ang="0">
                  <a:pos x="connsiteX16705" y="connsiteY16705"/>
                </a:cxn>
                <a:cxn ang="0">
                  <a:pos x="connsiteX16706" y="connsiteY16706"/>
                </a:cxn>
                <a:cxn ang="0">
                  <a:pos x="connsiteX16707" y="connsiteY16707"/>
                </a:cxn>
                <a:cxn ang="0">
                  <a:pos x="connsiteX16708" y="connsiteY16708"/>
                </a:cxn>
                <a:cxn ang="0">
                  <a:pos x="connsiteX16709" y="connsiteY16709"/>
                </a:cxn>
                <a:cxn ang="0">
                  <a:pos x="connsiteX16710" y="connsiteY16710"/>
                </a:cxn>
                <a:cxn ang="0">
                  <a:pos x="connsiteX16711" y="connsiteY16711"/>
                </a:cxn>
                <a:cxn ang="0">
                  <a:pos x="connsiteX16712" y="connsiteY16712"/>
                </a:cxn>
                <a:cxn ang="0">
                  <a:pos x="connsiteX16713" y="connsiteY16713"/>
                </a:cxn>
                <a:cxn ang="0">
                  <a:pos x="connsiteX16714" y="connsiteY16714"/>
                </a:cxn>
                <a:cxn ang="0">
                  <a:pos x="connsiteX16715" y="connsiteY16715"/>
                </a:cxn>
                <a:cxn ang="0">
                  <a:pos x="connsiteX16716" y="connsiteY16716"/>
                </a:cxn>
                <a:cxn ang="0">
                  <a:pos x="connsiteX16717" y="connsiteY16717"/>
                </a:cxn>
                <a:cxn ang="0">
                  <a:pos x="connsiteX16718" y="connsiteY16718"/>
                </a:cxn>
                <a:cxn ang="0">
                  <a:pos x="connsiteX16719" y="connsiteY16719"/>
                </a:cxn>
                <a:cxn ang="0">
                  <a:pos x="connsiteX16720" y="connsiteY16720"/>
                </a:cxn>
                <a:cxn ang="0">
                  <a:pos x="connsiteX16721" y="connsiteY16721"/>
                </a:cxn>
                <a:cxn ang="0">
                  <a:pos x="connsiteX16722" y="connsiteY16722"/>
                </a:cxn>
                <a:cxn ang="0">
                  <a:pos x="connsiteX16723" y="connsiteY16723"/>
                </a:cxn>
                <a:cxn ang="0">
                  <a:pos x="connsiteX16724" y="connsiteY16724"/>
                </a:cxn>
                <a:cxn ang="0">
                  <a:pos x="connsiteX16725" y="connsiteY16725"/>
                </a:cxn>
                <a:cxn ang="0">
                  <a:pos x="connsiteX16726" y="connsiteY16726"/>
                </a:cxn>
                <a:cxn ang="0">
                  <a:pos x="connsiteX16727" y="connsiteY16727"/>
                </a:cxn>
                <a:cxn ang="0">
                  <a:pos x="connsiteX16728" y="connsiteY16728"/>
                </a:cxn>
                <a:cxn ang="0">
                  <a:pos x="connsiteX16729" y="connsiteY16729"/>
                </a:cxn>
                <a:cxn ang="0">
                  <a:pos x="connsiteX16730" y="connsiteY16730"/>
                </a:cxn>
                <a:cxn ang="0">
                  <a:pos x="connsiteX16731" y="connsiteY16731"/>
                </a:cxn>
                <a:cxn ang="0">
                  <a:pos x="connsiteX16732" y="connsiteY16732"/>
                </a:cxn>
                <a:cxn ang="0">
                  <a:pos x="connsiteX16733" y="connsiteY16733"/>
                </a:cxn>
                <a:cxn ang="0">
                  <a:pos x="connsiteX16734" y="connsiteY16734"/>
                </a:cxn>
                <a:cxn ang="0">
                  <a:pos x="connsiteX16735" y="connsiteY16735"/>
                </a:cxn>
                <a:cxn ang="0">
                  <a:pos x="connsiteX16736" y="connsiteY16736"/>
                </a:cxn>
                <a:cxn ang="0">
                  <a:pos x="connsiteX16737" y="connsiteY16737"/>
                </a:cxn>
                <a:cxn ang="0">
                  <a:pos x="connsiteX16738" y="connsiteY16738"/>
                </a:cxn>
                <a:cxn ang="0">
                  <a:pos x="connsiteX16739" y="connsiteY16739"/>
                </a:cxn>
                <a:cxn ang="0">
                  <a:pos x="connsiteX16740" y="connsiteY16740"/>
                </a:cxn>
                <a:cxn ang="0">
                  <a:pos x="connsiteX16741" y="connsiteY16741"/>
                </a:cxn>
                <a:cxn ang="0">
                  <a:pos x="connsiteX16742" y="connsiteY16742"/>
                </a:cxn>
                <a:cxn ang="0">
                  <a:pos x="connsiteX16743" y="connsiteY16743"/>
                </a:cxn>
                <a:cxn ang="0">
                  <a:pos x="connsiteX16744" y="connsiteY16744"/>
                </a:cxn>
                <a:cxn ang="0">
                  <a:pos x="connsiteX16745" y="connsiteY16745"/>
                </a:cxn>
                <a:cxn ang="0">
                  <a:pos x="connsiteX16746" y="connsiteY16746"/>
                </a:cxn>
                <a:cxn ang="0">
                  <a:pos x="connsiteX16747" y="connsiteY16747"/>
                </a:cxn>
                <a:cxn ang="0">
                  <a:pos x="connsiteX16748" y="connsiteY16748"/>
                </a:cxn>
                <a:cxn ang="0">
                  <a:pos x="connsiteX16749" y="connsiteY16749"/>
                </a:cxn>
                <a:cxn ang="0">
                  <a:pos x="connsiteX16750" y="connsiteY16750"/>
                </a:cxn>
                <a:cxn ang="0">
                  <a:pos x="connsiteX16751" y="connsiteY16751"/>
                </a:cxn>
                <a:cxn ang="0">
                  <a:pos x="connsiteX16752" y="connsiteY16752"/>
                </a:cxn>
                <a:cxn ang="0">
                  <a:pos x="connsiteX16753" y="connsiteY16753"/>
                </a:cxn>
                <a:cxn ang="0">
                  <a:pos x="connsiteX16754" y="connsiteY16754"/>
                </a:cxn>
                <a:cxn ang="0">
                  <a:pos x="connsiteX16755" y="connsiteY16755"/>
                </a:cxn>
                <a:cxn ang="0">
                  <a:pos x="connsiteX16756" y="connsiteY16756"/>
                </a:cxn>
                <a:cxn ang="0">
                  <a:pos x="connsiteX16757" y="connsiteY16757"/>
                </a:cxn>
                <a:cxn ang="0">
                  <a:pos x="connsiteX16758" y="connsiteY16758"/>
                </a:cxn>
                <a:cxn ang="0">
                  <a:pos x="connsiteX16759" y="connsiteY16759"/>
                </a:cxn>
                <a:cxn ang="0">
                  <a:pos x="connsiteX16760" y="connsiteY16760"/>
                </a:cxn>
                <a:cxn ang="0">
                  <a:pos x="connsiteX16761" y="connsiteY16761"/>
                </a:cxn>
                <a:cxn ang="0">
                  <a:pos x="connsiteX16762" y="connsiteY16762"/>
                </a:cxn>
                <a:cxn ang="0">
                  <a:pos x="connsiteX16763" y="connsiteY16763"/>
                </a:cxn>
                <a:cxn ang="0">
                  <a:pos x="connsiteX16764" y="connsiteY16764"/>
                </a:cxn>
                <a:cxn ang="0">
                  <a:pos x="connsiteX16765" y="connsiteY16765"/>
                </a:cxn>
                <a:cxn ang="0">
                  <a:pos x="connsiteX16766" y="connsiteY16766"/>
                </a:cxn>
                <a:cxn ang="0">
                  <a:pos x="connsiteX16767" y="connsiteY16767"/>
                </a:cxn>
                <a:cxn ang="0">
                  <a:pos x="connsiteX16768" y="connsiteY16768"/>
                </a:cxn>
                <a:cxn ang="0">
                  <a:pos x="connsiteX16769" y="connsiteY16769"/>
                </a:cxn>
                <a:cxn ang="0">
                  <a:pos x="connsiteX16770" y="connsiteY16770"/>
                </a:cxn>
                <a:cxn ang="0">
                  <a:pos x="connsiteX16771" y="connsiteY16771"/>
                </a:cxn>
                <a:cxn ang="0">
                  <a:pos x="connsiteX16772" y="connsiteY16772"/>
                </a:cxn>
                <a:cxn ang="0">
                  <a:pos x="connsiteX16773" y="connsiteY16773"/>
                </a:cxn>
                <a:cxn ang="0">
                  <a:pos x="connsiteX16774" y="connsiteY16774"/>
                </a:cxn>
                <a:cxn ang="0">
                  <a:pos x="connsiteX16775" y="connsiteY16775"/>
                </a:cxn>
                <a:cxn ang="0">
                  <a:pos x="connsiteX16776" y="connsiteY16776"/>
                </a:cxn>
                <a:cxn ang="0">
                  <a:pos x="connsiteX16777" y="connsiteY16777"/>
                </a:cxn>
                <a:cxn ang="0">
                  <a:pos x="connsiteX16778" y="connsiteY16778"/>
                </a:cxn>
                <a:cxn ang="0">
                  <a:pos x="connsiteX16779" y="connsiteY16779"/>
                </a:cxn>
                <a:cxn ang="0">
                  <a:pos x="connsiteX16780" y="connsiteY16780"/>
                </a:cxn>
                <a:cxn ang="0">
                  <a:pos x="connsiteX16781" y="connsiteY16781"/>
                </a:cxn>
                <a:cxn ang="0">
                  <a:pos x="connsiteX16782" y="connsiteY16782"/>
                </a:cxn>
                <a:cxn ang="0">
                  <a:pos x="connsiteX16783" y="connsiteY16783"/>
                </a:cxn>
                <a:cxn ang="0">
                  <a:pos x="connsiteX16784" y="connsiteY16784"/>
                </a:cxn>
                <a:cxn ang="0">
                  <a:pos x="connsiteX16785" y="connsiteY16785"/>
                </a:cxn>
                <a:cxn ang="0">
                  <a:pos x="connsiteX16786" y="connsiteY16786"/>
                </a:cxn>
                <a:cxn ang="0">
                  <a:pos x="connsiteX16787" y="connsiteY16787"/>
                </a:cxn>
                <a:cxn ang="0">
                  <a:pos x="connsiteX16788" y="connsiteY16788"/>
                </a:cxn>
                <a:cxn ang="0">
                  <a:pos x="connsiteX16789" y="connsiteY16789"/>
                </a:cxn>
                <a:cxn ang="0">
                  <a:pos x="connsiteX16790" y="connsiteY16790"/>
                </a:cxn>
                <a:cxn ang="0">
                  <a:pos x="connsiteX16791" y="connsiteY16791"/>
                </a:cxn>
                <a:cxn ang="0">
                  <a:pos x="connsiteX16792" y="connsiteY16792"/>
                </a:cxn>
                <a:cxn ang="0">
                  <a:pos x="connsiteX16793" y="connsiteY16793"/>
                </a:cxn>
                <a:cxn ang="0">
                  <a:pos x="connsiteX16794" y="connsiteY16794"/>
                </a:cxn>
                <a:cxn ang="0">
                  <a:pos x="connsiteX16795" y="connsiteY16795"/>
                </a:cxn>
                <a:cxn ang="0">
                  <a:pos x="connsiteX16796" y="connsiteY16796"/>
                </a:cxn>
                <a:cxn ang="0">
                  <a:pos x="connsiteX16797" y="connsiteY16797"/>
                </a:cxn>
                <a:cxn ang="0">
                  <a:pos x="connsiteX16798" y="connsiteY16798"/>
                </a:cxn>
                <a:cxn ang="0">
                  <a:pos x="connsiteX16799" y="connsiteY16799"/>
                </a:cxn>
                <a:cxn ang="0">
                  <a:pos x="connsiteX16800" y="connsiteY16800"/>
                </a:cxn>
                <a:cxn ang="0">
                  <a:pos x="connsiteX16801" y="connsiteY16801"/>
                </a:cxn>
                <a:cxn ang="0">
                  <a:pos x="connsiteX16802" y="connsiteY16802"/>
                </a:cxn>
                <a:cxn ang="0">
                  <a:pos x="connsiteX16803" y="connsiteY16803"/>
                </a:cxn>
                <a:cxn ang="0">
                  <a:pos x="connsiteX16804" y="connsiteY16804"/>
                </a:cxn>
                <a:cxn ang="0">
                  <a:pos x="connsiteX16805" y="connsiteY16805"/>
                </a:cxn>
                <a:cxn ang="0">
                  <a:pos x="connsiteX16806" y="connsiteY16806"/>
                </a:cxn>
                <a:cxn ang="0">
                  <a:pos x="connsiteX16807" y="connsiteY16807"/>
                </a:cxn>
                <a:cxn ang="0">
                  <a:pos x="connsiteX16808" y="connsiteY16808"/>
                </a:cxn>
                <a:cxn ang="0">
                  <a:pos x="connsiteX16809" y="connsiteY16809"/>
                </a:cxn>
                <a:cxn ang="0">
                  <a:pos x="connsiteX16810" y="connsiteY16810"/>
                </a:cxn>
                <a:cxn ang="0">
                  <a:pos x="connsiteX16811" y="connsiteY16811"/>
                </a:cxn>
                <a:cxn ang="0">
                  <a:pos x="connsiteX16812" y="connsiteY16812"/>
                </a:cxn>
                <a:cxn ang="0">
                  <a:pos x="connsiteX16813" y="connsiteY16813"/>
                </a:cxn>
                <a:cxn ang="0">
                  <a:pos x="connsiteX16814" y="connsiteY16814"/>
                </a:cxn>
                <a:cxn ang="0">
                  <a:pos x="connsiteX16815" y="connsiteY16815"/>
                </a:cxn>
                <a:cxn ang="0">
                  <a:pos x="connsiteX16816" y="connsiteY16816"/>
                </a:cxn>
                <a:cxn ang="0">
                  <a:pos x="connsiteX16817" y="connsiteY16817"/>
                </a:cxn>
                <a:cxn ang="0">
                  <a:pos x="connsiteX16818" y="connsiteY16818"/>
                </a:cxn>
                <a:cxn ang="0">
                  <a:pos x="connsiteX16819" y="connsiteY16819"/>
                </a:cxn>
                <a:cxn ang="0">
                  <a:pos x="connsiteX16820" y="connsiteY16820"/>
                </a:cxn>
                <a:cxn ang="0">
                  <a:pos x="connsiteX16821" y="connsiteY16821"/>
                </a:cxn>
                <a:cxn ang="0">
                  <a:pos x="connsiteX16822" y="connsiteY16822"/>
                </a:cxn>
                <a:cxn ang="0">
                  <a:pos x="connsiteX16823" y="connsiteY16823"/>
                </a:cxn>
                <a:cxn ang="0">
                  <a:pos x="connsiteX16824" y="connsiteY16824"/>
                </a:cxn>
                <a:cxn ang="0">
                  <a:pos x="connsiteX16825" y="connsiteY16825"/>
                </a:cxn>
                <a:cxn ang="0">
                  <a:pos x="connsiteX16826" y="connsiteY16826"/>
                </a:cxn>
                <a:cxn ang="0">
                  <a:pos x="connsiteX16827" y="connsiteY16827"/>
                </a:cxn>
                <a:cxn ang="0">
                  <a:pos x="connsiteX16828" y="connsiteY16828"/>
                </a:cxn>
                <a:cxn ang="0">
                  <a:pos x="connsiteX16829" y="connsiteY16829"/>
                </a:cxn>
                <a:cxn ang="0">
                  <a:pos x="connsiteX16830" y="connsiteY16830"/>
                </a:cxn>
                <a:cxn ang="0">
                  <a:pos x="connsiteX16831" y="connsiteY16831"/>
                </a:cxn>
                <a:cxn ang="0">
                  <a:pos x="connsiteX16832" y="connsiteY16832"/>
                </a:cxn>
                <a:cxn ang="0">
                  <a:pos x="connsiteX16833" y="connsiteY16833"/>
                </a:cxn>
                <a:cxn ang="0">
                  <a:pos x="connsiteX16834" y="connsiteY16834"/>
                </a:cxn>
                <a:cxn ang="0">
                  <a:pos x="connsiteX16835" y="connsiteY16835"/>
                </a:cxn>
                <a:cxn ang="0">
                  <a:pos x="connsiteX16836" y="connsiteY16836"/>
                </a:cxn>
                <a:cxn ang="0">
                  <a:pos x="connsiteX16837" y="connsiteY16837"/>
                </a:cxn>
                <a:cxn ang="0">
                  <a:pos x="connsiteX16838" y="connsiteY16838"/>
                </a:cxn>
                <a:cxn ang="0">
                  <a:pos x="connsiteX16839" y="connsiteY16839"/>
                </a:cxn>
                <a:cxn ang="0">
                  <a:pos x="connsiteX16840" y="connsiteY16840"/>
                </a:cxn>
                <a:cxn ang="0">
                  <a:pos x="connsiteX16841" y="connsiteY16841"/>
                </a:cxn>
                <a:cxn ang="0">
                  <a:pos x="connsiteX16842" y="connsiteY16842"/>
                </a:cxn>
                <a:cxn ang="0">
                  <a:pos x="connsiteX16843" y="connsiteY16843"/>
                </a:cxn>
                <a:cxn ang="0">
                  <a:pos x="connsiteX16844" y="connsiteY16844"/>
                </a:cxn>
                <a:cxn ang="0">
                  <a:pos x="connsiteX16845" y="connsiteY16845"/>
                </a:cxn>
                <a:cxn ang="0">
                  <a:pos x="connsiteX16846" y="connsiteY16846"/>
                </a:cxn>
                <a:cxn ang="0">
                  <a:pos x="connsiteX16847" y="connsiteY16847"/>
                </a:cxn>
                <a:cxn ang="0">
                  <a:pos x="connsiteX16848" y="connsiteY16848"/>
                </a:cxn>
                <a:cxn ang="0">
                  <a:pos x="connsiteX16849" y="connsiteY16849"/>
                </a:cxn>
                <a:cxn ang="0">
                  <a:pos x="connsiteX16850" y="connsiteY16850"/>
                </a:cxn>
                <a:cxn ang="0">
                  <a:pos x="connsiteX16851" y="connsiteY16851"/>
                </a:cxn>
                <a:cxn ang="0">
                  <a:pos x="connsiteX16852" y="connsiteY16852"/>
                </a:cxn>
                <a:cxn ang="0">
                  <a:pos x="connsiteX16853" y="connsiteY16853"/>
                </a:cxn>
                <a:cxn ang="0">
                  <a:pos x="connsiteX16854" y="connsiteY16854"/>
                </a:cxn>
                <a:cxn ang="0">
                  <a:pos x="connsiteX16855" y="connsiteY16855"/>
                </a:cxn>
                <a:cxn ang="0">
                  <a:pos x="connsiteX16856" y="connsiteY16856"/>
                </a:cxn>
                <a:cxn ang="0">
                  <a:pos x="connsiteX16857" y="connsiteY16857"/>
                </a:cxn>
                <a:cxn ang="0">
                  <a:pos x="connsiteX16858" y="connsiteY16858"/>
                </a:cxn>
                <a:cxn ang="0">
                  <a:pos x="connsiteX16859" y="connsiteY16859"/>
                </a:cxn>
                <a:cxn ang="0">
                  <a:pos x="connsiteX16860" y="connsiteY16860"/>
                </a:cxn>
                <a:cxn ang="0">
                  <a:pos x="connsiteX16861" y="connsiteY16861"/>
                </a:cxn>
                <a:cxn ang="0">
                  <a:pos x="connsiteX16862" y="connsiteY16862"/>
                </a:cxn>
                <a:cxn ang="0">
                  <a:pos x="connsiteX16863" y="connsiteY16863"/>
                </a:cxn>
                <a:cxn ang="0">
                  <a:pos x="connsiteX16864" y="connsiteY16864"/>
                </a:cxn>
                <a:cxn ang="0">
                  <a:pos x="connsiteX16865" y="connsiteY16865"/>
                </a:cxn>
                <a:cxn ang="0">
                  <a:pos x="connsiteX16866" y="connsiteY16866"/>
                </a:cxn>
                <a:cxn ang="0">
                  <a:pos x="connsiteX16867" y="connsiteY16867"/>
                </a:cxn>
                <a:cxn ang="0">
                  <a:pos x="connsiteX16868" y="connsiteY16868"/>
                </a:cxn>
                <a:cxn ang="0">
                  <a:pos x="connsiteX16869" y="connsiteY16869"/>
                </a:cxn>
                <a:cxn ang="0">
                  <a:pos x="connsiteX16870" y="connsiteY16870"/>
                </a:cxn>
                <a:cxn ang="0">
                  <a:pos x="connsiteX16871" y="connsiteY16871"/>
                </a:cxn>
                <a:cxn ang="0">
                  <a:pos x="connsiteX16872" y="connsiteY16872"/>
                </a:cxn>
                <a:cxn ang="0">
                  <a:pos x="connsiteX16873" y="connsiteY16873"/>
                </a:cxn>
                <a:cxn ang="0">
                  <a:pos x="connsiteX16874" y="connsiteY16874"/>
                </a:cxn>
                <a:cxn ang="0">
                  <a:pos x="connsiteX16875" y="connsiteY16875"/>
                </a:cxn>
                <a:cxn ang="0">
                  <a:pos x="connsiteX16876" y="connsiteY16876"/>
                </a:cxn>
                <a:cxn ang="0">
                  <a:pos x="connsiteX16877" y="connsiteY16877"/>
                </a:cxn>
                <a:cxn ang="0">
                  <a:pos x="connsiteX16878" y="connsiteY16878"/>
                </a:cxn>
                <a:cxn ang="0">
                  <a:pos x="connsiteX16879" y="connsiteY16879"/>
                </a:cxn>
                <a:cxn ang="0">
                  <a:pos x="connsiteX16880" y="connsiteY16880"/>
                </a:cxn>
                <a:cxn ang="0">
                  <a:pos x="connsiteX16881" y="connsiteY16881"/>
                </a:cxn>
                <a:cxn ang="0">
                  <a:pos x="connsiteX16882" y="connsiteY16882"/>
                </a:cxn>
                <a:cxn ang="0">
                  <a:pos x="connsiteX16883" y="connsiteY16883"/>
                </a:cxn>
                <a:cxn ang="0">
                  <a:pos x="connsiteX16884" y="connsiteY16884"/>
                </a:cxn>
                <a:cxn ang="0">
                  <a:pos x="connsiteX16885" y="connsiteY16885"/>
                </a:cxn>
                <a:cxn ang="0">
                  <a:pos x="connsiteX16886" y="connsiteY16886"/>
                </a:cxn>
                <a:cxn ang="0">
                  <a:pos x="connsiteX16887" y="connsiteY16887"/>
                </a:cxn>
                <a:cxn ang="0">
                  <a:pos x="connsiteX16888" y="connsiteY16888"/>
                </a:cxn>
                <a:cxn ang="0">
                  <a:pos x="connsiteX16889" y="connsiteY16889"/>
                </a:cxn>
                <a:cxn ang="0">
                  <a:pos x="connsiteX16890" y="connsiteY16890"/>
                </a:cxn>
                <a:cxn ang="0">
                  <a:pos x="connsiteX16891" y="connsiteY16891"/>
                </a:cxn>
                <a:cxn ang="0">
                  <a:pos x="connsiteX16892" y="connsiteY16892"/>
                </a:cxn>
                <a:cxn ang="0">
                  <a:pos x="connsiteX16893" y="connsiteY16893"/>
                </a:cxn>
                <a:cxn ang="0">
                  <a:pos x="connsiteX16894" y="connsiteY16894"/>
                </a:cxn>
                <a:cxn ang="0">
                  <a:pos x="connsiteX16895" y="connsiteY16895"/>
                </a:cxn>
                <a:cxn ang="0">
                  <a:pos x="connsiteX16896" y="connsiteY16896"/>
                </a:cxn>
                <a:cxn ang="0">
                  <a:pos x="connsiteX16897" y="connsiteY16897"/>
                </a:cxn>
                <a:cxn ang="0">
                  <a:pos x="connsiteX16898" y="connsiteY16898"/>
                </a:cxn>
                <a:cxn ang="0">
                  <a:pos x="connsiteX16899" y="connsiteY16899"/>
                </a:cxn>
                <a:cxn ang="0">
                  <a:pos x="connsiteX16900" y="connsiteY16900"/>
                </a:cxn>
                <a:cxn ang="0">
                  <a:pos x="connsiteX16901" y="connsiteY16901"/>
                </a:cxn>
                <a:cxn ang="0">
                  <a:pos x="connsiteX16902" y="connsiteY16902"/>
                </a:cxn>
                <a:cxn ang="0">
                  <a:pos x="connsiteX16903" y="connsiteY16903"/>
                </a:cxn>
                <a:cxn ang="0">
                  <a:pos x="connsiteX16904" y="connsiteY16904"/>
                </a:cxn>
                <a:cxn ang="0">
                  <a:pos x="connsiteX16905" y="connsiteY16905"/>
                </a:cxn>
                <a:cxn ang="0">
                  <a:pos x="connsiteX16906" y="connsiteY16906"/>
                </a:cxn>
                <a:cxn ang="0">
                  <a:pos x="connsiteX16907" y="connsiteY16907"/>
                </a:cxn>
                <a:cxn ang="0">
                  <a:pos x="connsiteX16908" y="connsiteY16908"/>
                </a:cxn>
                <a:cxn ang="0">
                  <a:pos x="connsiteX16909" y="connsiteY16909"/>
                </a:cxn>
                <a:cxn ang="0">
                  <a:pos x="connsiteX16910" y="connsiteY16910"/>
                </a:cxn>
                <a:cxn ang="0">
                  <a:pos x="connsiteX16911" y="connsiteY16911"/>
                </a:cxn>
                <a:cxn ang="0">
                  <a:pos x="connsiteX16912" y="connsiteY16912"/>
                </a:cxn>
                <a:cxn ang="0">
                  <a:pos x="connsiteX16913" y="connsiteY16913"/>
                </a:cxn>
                <a:cxn ang="0">
                  <a:pos x="connsiteX16914" y="connsiteY16914"/>
                </a:cxn>
                <a:cxn ang="0">
                  <a:pos x="connsiteX16915" y="connsiteY16915"/>
                </a:cxn>
                <a:cxn ang="0">
                  <a:pos x="connsiteX16916" y="connsiteY16916"/>
                </a:cxn>
                <a:cxn ang="0">
                  <a:pos x="connsiteX16917" y="connsiteY16917"/>
                </a:cxn>
                <a:cxn ang="0">
                  <a:pos x="connsiteX16918" y="connsiteY16918"/>
                </a:cxn>
                <a:cxn ang="0">
                  <a:pos x="connsiteX16919" y="connsiteY16919"/>
                </a:cxn>
                <a:cxn ang="0">
                  <a:pos x="connsiteX16920" y="connsiteY16920"/>
                </a:cxn>
                <a:cxn ang="0">
                  <a:pos x="connsiteX16921" y="connsiteY16921"/>
                </a:cxn>
                <a:cxn ang="0">
                  <a:pos x="connsiteX16922" y="connsiteY16922"/>
                </a:cxn>
                <a:cxn ang="0">
                  <a:pos x="connsiteX16923" y="connsiteY16923"/>
                </a:cxn>
                <a:cxn ang="0">
                  <a:pos x="connsiteX16924" y="connsiteY16924"/>
                </a:cxn>
                <a:cxn ang="0">
                  <a:pos x="connsiteX16925" y="connsiteY16925"/>
                </a:cxn>
                <a:cxn ang="0">
                  <a:pos x="connsiteX16926" y="connsiteY16926"/>
                </a:cxn>
                <a:cxn ang="0">
                  <a:pos x="connsiteX16927" y="connsiteY16927"/>
                </a:cxn>
                <a:cxn ang="0">
                  <a:pos x="connsiteX16928" y="connsiteY16928"/>
                </a:cxn>
                <a:cxn ang="0">
                  <a:pos x="connsiteX16929" y="connsiteY16929"/>
                </a:cxn>
                <a:cxn ang="0">
                  <a:pos x="connsiteX16930" y="connsiteY16930"/>
                </a:cxn>
                <a:cxn ang="0">
                  <a:pos x="connsiteX16931" y="connsiteY16931"/>
                </a:cxn>
                <a:cxn ang="0">
                  <a:pos x="connsiteX16932" y="connsiteY16932"/>
                </a:cxn>
                <a:cxn ang="0">
                  <a:pos x="connsiteX16933" y="connsiteY16933"/>
                </a:cxn>
                <a:cxn ang="0">
                  <a:pos x="connsiteX16934" y="connsiteY16934"/>
                </a:cxn>
                <a:cxn ang="0">
                  <a:pos x="connsiteX16935" y="connsiteY16935"/>
                </a:cxn>
                <a:cxn ang="0">
                  <a:pos x="connsiteX16936" y="connsiteY16936"/>
                </a:cxn>
                <a:cxn ang="0">
                  <a:pos x="connsiteX16937" y="connsiteY16937"/>
                </a:cxn>
                <a:cxn ang="0">
                  <a:pos x="connsiteX16938" y="connsiteY16938"/>
                </a:cxn>
                <a:cxn ang="0">
                  <a:pos x="connsiteX16939" y="connsiteY16939"/>
                </a:cxn>
                <a:cxn ang="0">
                  <a:pos x="connsiteX16940" y="connsiteY16940"/>
                </a:cxn>
                <a:cxn ang="0">
                  <a:pos x="connsiteX16941" y="connsiteY16941"/>
                </a:cxn>
                <a:cxn ang="0">
                  <a:pos x="connsiteX16942" y="connsiteY16942"/>
                </a:cxn>
                <a:cxn ang="0">
                  <a:pos x="connsiteX16943" y="connsiteY16943"/>
                </a:cxn>
                <a:cxn ang="0">
                  <a:pos x="connsiteX16944" y="connsiteY16944"/>
                </a:cxn>
                <a:cxn ang="0">
                  <a:pos x="connsiteX16945" y="connsiteY16945"/>
                </a:cxn>
                <a:cxn ang="0">
                  <a:pos x="connsiteX16946" y="connsiteY16946"/>
                </a:cxn>
                <a:cxn ang="0">
                  <a:pos x="connsiteX16947" y="connsiteY16947"/>
                </a:cxn>
                <a:cxn ang="0">
                  <a:pos x="connsiteX16948" y="connsiteY16948"/>
                </a:cxn>
                <a:cxn ang="0">
                  <a:pos x="connsiteX16949" y="connsiteY16949"/>
                </a:cxn>
                <a:cxn ang="0">
                  <a:pos x="connsiteX16950" y="connsiteY16950"/>
                </a:cxn>
                <a:cxn ang="0">
                  <a:pos x="connsiteX16951" y="connsiteY16951"/>
                </a:cxn>
                <a:cxn ang="0">
                  <a:pos x="connsiteX16952" y="connsiteY16952"/>
                </a:cxn>
                <a:cxn ang="0">
                  <a:pos x="connsiteX16953" y="connsiteY16953"/>
                </a:cxn>
                <a:cxn ang="0">
                  <a:pos x="connsiteX16954" y="connsiteY16954"/>
                </a:cxn>
                <a:cxn ang="0">
                  <a:pos x="connsiteX16955" y="connsiteY16955"/>
                </a:cxn>
                <a:cxn ang="0">
                  <a:pos x="connsiteX16956" y="connsiteY16956"/>
                </a:cxn>
                <a:cxn ang="0">
                  <a:pos x="connsiteX16957" y="connsiteY16957"/>
                </a:cxn>
                <a:cxn ang="0">
                  <a:pos x="connsiteX16958" y="connsiteY16958"/>
                </a:cxn>
                <a:cxn ang="0">
                  <a:pos x="connsiteX16959" y="connsiteY16959"/>
                </a:cxn>
                <a:cxn ang="0">
                  <a:pos x="connsiteX16960" y="connsiteY16960"/>
                </a:cxn>
                <a:cxn ang="0">
                  <a:pos x="connsiteX16961" y="connsiteY16961"/>
                </a:cxn>
                <a:cxn ang="0">
                  <a:pos x="connsiteX16962" y="connsiteY16962"/>
                </a:cxn>
                <a:cxn ang="0">
                  <a:pos x="connsiteX16963" y="connsiteY16963"/>
                </a:cxn>
                <a:cxn ang="0">
                  <a:pos x="connsiteX16964" y="connsiteY16964"/>
                </a:cxn>
                <a:cxn ang="0">
                  <a:pos x="connsiteX16965" y="connsiteY16965"/>
                </a:cxn>
                <a:cxn ang="0">
                  <a:pos x="connsiteX16966" y="connsiteY16966"/>
                </a:cxn>
                <a:cxn ang="0">
                  <a:pos x="connsiteX16967" y="connsiteY16967"/>
                </a:cxn>
                <a:cxn ang="0">
                  <a:pos x="connsiteX16968" y="connsiteY16968"/>
                </a:cxn>
                <a:cxn ang="0">
                  <a:pos x="connsiteX16969" y="connsiteY16969"/>
                </a:cxn>
                <a:cxn ang="0">
                  <a:pos x="connsiteX16970" y="connsiteY16970"/>
                </a:cxn>
                <a:cxn ang="0">
                  <a:pos x="connsiteX16971" y="connsiteY16971"/>
                </a:cxn>
                <a:cxn ang="0">
                  <a:pos x="connsiteX16972" y="connsiteY16972"/>
                </a:cxn>
                <a:cxn ang="0">
                  <a:pos x="connsiteX16973" y="connsiteY16973"/>
                </a:cxn>
                <a:cxn ang="0">
                  <a:pos x="connsiteX16974" y="connsiteY16974"/>
                </a:cxn>
                <a:cxn ang="0">
                  <a:pos x="connsiteX16975" y="connsiteY16975"/>
                </a:cxn>
                <a:cxn ang="0">
                  <a:pos x="connsiteX16976" y="connsiteY16976"/>
                </a:cxn>
                <a:cxn ang="0">
                  <a:pos x="connsiteX16977" y="connsiteY16977"/>
                </a:cxn>
                <a:cxn ang="0">
                  <a:pos x="connsiteX16978" y="connsiteY16978"/>
                </a:cxn>
                <a:cxn ang="0">
                  <a:pos x="connsiteX16979" y="connsiteY16979"/>
                </a:cxn>
                <a:cxn ang="0">
                  <a:pos x="connsiteX16980" y="connsiteY16980"/>
                </a:cxn>
                <a:cxn ang="0">
                  <a:pos x="connsiteX16981" y="connsiteY16981"/>
                </a:cxn>
                <a:cxn ang="0">
                  <a:pos x="connsiteX16982" y="connsiteY16982"/>
                </a:cxn>
                <a:cxn ang="0">
                  <a:pos x="connsiteX16983" y="connsiteY16983"/>
                </a:cxn>
                <a:cxn ang="0">
                  <a:pos x="connsiteX16984" y="connsiteY16984"/>
                </a:cxn>
                <a:cxn ang="0">
                  <a:pos x="connsiteX16985" y="connsiteY16985"/>
                </a:cxn>
                <a:cxn ang="0">
                  <a:pos x="connsiteX16986" y="connsiteY16986"/>
                </a:cxn>
                <a:cxn ang="0">
                  <a:pos x="connsiteX16987" y="connsiteY16987"/>
                </a:cxn>
                <a:cxn ang="0">
                  <a:pos x="connsiteX16988" y="connsiteY16988"/>
                </a:cxn>
                <a:cxn ang="0">
                  <a:pos x="connsiteX16989" y="connsiteY16989"/>
                </a:cxn>
                <a:cxn ang="0">
                  <a:pos x="connsiteX16990" y="connsiteY16990"/>
                </a:cxn>
                <a:cxn ang="0">
                  <a:pos x="connsiteX16991" y="connsiteY16991"/>
                </a:cxn>
                <a:cxn ang="0">
                  <a:pos x="connsiteX16992" y="connsiteY16992"/>
                </a:cxn>
                <a:cxn ang="0">
                  <a:pos x="connsiteX16993" y="connsiteY16993"/>
                </a:cxn>
                <a:cxn ang="0">
                  <a:pos x="connsiteX16994" y="connsiteY16994"/>
                </a:cxn>
                <a:cxn ang="0">
                  <a:pos x="connsiteX16995" y="connsiteY16995"/>
                </a:cxn>
                <a:cxn ang="0">
                  <a:pos x="connsiteX16996" y="connsiteY16996"/>
                </a:cxn>
                <a:cxn ang="0">
                  <a:pos x="connsiteX16997" y="connsiteY16997"/>
                </a:cxn>
                <a:cxn ang="0">
                  <a:pos x="connsiteX16998" y="connsiteY16998"/>
                </a:cxn>
                <a:cxn ang="0">
                  <a:pos x="connsiteX16999" y="connsiteY16999"/>
                </a:cxn>
                <a:cxn ang="0">
                  <a:pos x="connsiteX17000" y="connsiteY17000"/>
                </a:cxn>
                <a:cxn ang="0">
                  <a:pos x="connsiteX17001" y="connsiteY17001"/>
                </a:cxn>
                <a:cxn ang="0">
                  <a:pos x="connsiteX17002" y="connsiteY17002"/>
                </a:cxn>
                <a:cxn ang="0">
                  <a:pos x="connsiteX17003" y="connsiteY17003"/>
                </a:cxn>
                <a:cxn ang="0">
                  <a:pos x="connsiteX17004" y="connsiteY17004"/>
                </a:cxn>
                <a:cxn ang="0">
                  <a:pos x="connsiteX17005" y="connsiteY17005"/>
                </a:cxn>
                <a:cxn ang="0">
                  <a:pos x="connsiteX17006" y="connsiteY17006"/>
                </a:cxn>
                <a:cxn ang="0">
                  <a:pos x="connsiteX17007" y="connsiteY17007"/>
                </a:cxn>
                <a:cxn ang="0">
                  <a:pos x="connsiteX17008" y="connsiteY17008"/>
                </a:cxn>
                <a:cxn ang="0">
                  <a:pos x="connsiteX17009" y="connsiteY17009"/>
                </a:cxn>
                <a:cxn ang="0">
                  <a:pos x="connsiteX17010" y="connsiteY17010"/>
                </a:cxn>
                <a:cxn ang="0">
                  <a:pos x="connsiteX17011" y="connsiteY17011"/>
                </a:cxn>
                <a:cxn ang="0">
                  <a:pos x="connsiteX17012" y="connsiteY17012"/>
                </a:cxn>
                <a:cxn ang="0">
                  <a:pos x="connsiteX17013" y="connsiteY17013"/>
                </a:cxn>
                <a:cxn ang="0">
                  <a:pos x="connsiteX17014" y="connsiteY17014"/>
                </a:cxn>
                <a:cxn ang="0">
                  <a:pos x="connsiteX17015" y="connsiteY17015"/>
                </a:cxn>
                <a:cxn ang="0">
                  <a:pos x="connsiteX17016" y="connsiteY17016"/>
                </a:cxn>
                <a:cxn ang="0">
                  <a:pos x="connsiteX17017" y="connsiteY17017"/>
                </a:cxn>
                <a:cxn ang="0">
                  <a:pos x="connsiteX17018" y="connsiteY17018"/>
                </a:cxn>
                <a:cxn ang="0">
                  <a:pos x="connsiteX17019" y="connsiteY17019"/>
                </a:cxn>
                <a:cxn ang="0">
                  <a:pos x="connsiteX17020" y="connsiteY17020"/>
                </a:cxn>
                <a:cxn ang="0">
                  <a:pos x="connsiteX17021" y="connsiteY17021"/>
                </a:cxn>
                <a:cxn ang="0">
                  <a:pos x="connsiteX17022" y="connsiteY17022"/>
                </a:cxn>
                <a:cxn ang="0">
                  <a:pos x="connsiteX17023" y="connsiteY17023"/>
                </a:cxn>
                <a:cxn ang="0">
                  <a:pos x="connsiteX17024" y="connsiteY17024"/>
                </a:cxn>
                <a:cxn ang="0">
                  <a:pos x="connsiteX17025" y="connsiteY17025"/>
                </a:cxn>
                <a:cxn ang="0">
                  <a:pos x="connsiteX17026" y="connsiteY17026"/>
                </a:cxn>
                <a:cxn ang="0">
                  <a:pos x="connsiteX17027" y="connsiteY17027"/>
                </a:cxn>
                <a:cxn ang="0">
                  <a:pos x="connsiteX17028" y="connsiteY17028"/>
                </a:cxn>
                <a:cxn ang="0">
                  <a:pos x="connsiteX17029" y="connsiteY17029"/>
                </a:cxn>
                <a:cxn ang="0">
                  <a:pos x="connsiteX17030" y="connsiteY17030"/>
                </a:cxn>
                <a:cxn ang="0">
                  <a:pos x="connsiteX17031" y="connsiteY17031"/>
                </a:cxn>
                <a:cxn ang="0">
                  <a:pos x="connsiteX17032" y="connsiteY17032"/>
                </a:cxn>
                <a:cxn ang="0">
                  <a:pos x="connsiteX17033" y="connsiteY17033"/>
                </a:cxn>
                <a:cxn ang="0">
                  <a:pos x="connsiteX17034" y="connsiteY17034"/>
                </a:cxn>
                <a:cxn ang="0">
                  <a:pos x="connsiteX17035" y="connsiteY17035"/>
                </a:cxn>
                <a:cxn ang="0">
                  <a:pos x="connsiteX17036" y="connsiteY17036"/>
                </a:cxn>
                <a:cxn ang="0">
                  <a:pos x="connsiteX17037" y="connsiteY17037"/>
                </a:cxn>
                <a:cxn ang="0">
                  <a:pos x="connsiteX17038" y="connsiteY17038"/>
                </a:cxn>
                <a:cxn ang="0">
                  <a:pos x="connsiteX17039" y="connsiteY17039"/>
                </a:cxn>
                <a:cxn ang="0">
                  <a:pos x="connsiteX17040" y="connsiteY17040"/>
                </a:cxn>
                <a:cxn ang="0">
                  <a:pos x="connsiteX17041" y="connsiteY17041"/>
                </a:cxn>
                <a:cxn ang="0">
                  <a:pos x="connsiteX17042" y="connsiteY17042"/>
                </a:cxn>
                <a:cxn ang="0">
                  <a:pos x="connsiteX17043" y="connsiteY17043"/>
                </a:cxn>
                <a:cxn ang="0">
                  <a:pos x="connsiteX17044" y="connsiteY17044"/>
                </a:cxn>
                <a:cxn ang="0">
                  <a:pos x="connsiteX17045" y="connsiteY17045"/>
                </a:cxn>
                <a:cxn ang="0">
                  <a:pos x="connsiteX17046" y="connsiteY17046"/>
                </a:cxn>
                <a:cxn ang="0">
                  <a:pos x="connsiteX17047" y="connsiteY17047"/>
                </a:cxn>
                <a:cxn ang="0">
                  <a:pos x="connsiteX17048" y="connsiteY17048"/>
                </a:cxn>
                <a:cxn ang="0">
                  <a:pos x="connsiteX17049" y="connsiteY17049"/>
                </a:cxn>
                <a:cxn ang="0">
                  <a:pos x="connsiteX17050" y="connsiteY17050"/>
                </a:cxn>
                <a:cxn ang="0">
                  <a:pos x="connsiteX17051" y="connsiteY17051"/>
                </a:cxn>
                <a:cxn ang="0">
                  <a:pos x="connsiteX17052" y="connsiteY17052"/>
                </a:cxn>
                <a:cxn ang="0">
                  <a:pos x="connsiteX17053" y="connsiteY17053"/>
                </a:cxn>
                <a:cxn ang="0">
                  <a:pos x="connsiteX17054" y="connsiteY17054"/>
                </a:cxn>
                <a:cxn ang="0">
                  <a:pos x="connsiteX17055" y="connsiteY17055"/>
                </a:cxn>
                <a:cxn ang="0">
                  <a:pos x="connsiteX17056" y="connsiteY17056"/>
                </a:cxn>
                <a:cxn ang="0">
                  <a:pos x="connsiteX17057" y="connsiteY17057"/>
                </a:cxn>
                <a:cxn ang="0">
                  <a:pos x="connsiteX17058" y="connsiteY17058"/>
                </a:cxn>
                <a:cxn ang="0">
                  <a:pos x="connsiteX17059" y="connsiteY17059"/>
                </a:cxn>
                <a:cxn ang="0">
                  <a:pos x="connsiteX17060" y="connsiteY17060"/>
                </a:cxn>
                <a:cxn ang="0">
                  <a:pos x="connsiteX17061" y="connsiteY17061"/>
                </a:cxn>
                <a:cxn ang="0">
                  <a:pos x="connsiteX17062" y="connsiteY17062"/>
                </a:cxn>
                <a:cxn ang="0">
                  <a:pos x="connsiteX17063" y="connsiteY17063"/>
                </a:cxn>
                <a:cxn ang="0">
                  <a:pos x="connsiteX17064" y="connsiteY17064"/>
                </a:cxn>
                <a:cxn ang="0">
                  <a:pos x="connsiteX17065" y="connsiteY17065"/>
                </a:cxn>
                <a:cxn ang="0">
                  <a:pos x="connsiteX17066" y="connsiteY17066"/>
                </a:cxn>
                <a:cxn ang="0">
                  <a:pos x="connsiteX17067" y="connsiteY17067"/>
                </a:cxn>
                <a:cxn ang="0">
                  <a:pos x="connsiteX17068" y="connsiteY17068"/>
                </a:cxn>
                <a:cxn ang="0">
                  <a:pos x="connsiteX17069" y="connsiteY17069"/>
                </a:cxn>
                <a:cxn ang="0">
                  <a:pos x="connsiteX17070" y="connsiteY17070"/>
                </a:cxn>
                <a:cxn ang="0">
                  <a:pos x="connsiteX17071" y="connsiteY17071"/>
                </a:cxn>
                <a:cxn ang="0">
                  <a:pos x="connsiteX17072" y="connsiteY17072"/>
                </a:cxn>
                <a:cxn ang="0">
                  <a:pos x="connsiteX17073" y="connsiteY17073"/>
                </a:cxn>
                <a:cxn ang="0">
                  <a:pos x="connsiteX17074" y="connsiteY17074"/>
                </a:cxn>
                <a:cxn ang="0">
                  <a:pos x="connsiteX17075" y="connsiteY17075"/>
                </a:cxn>
                <a:cxn ang="0">
                  <a:pos x="connsiteX17076" y="connsiteY17076"/>
                </a:cxn>
                <a:cxn ang="0">
                  <a:pos x="connsiteX17077" y="connsiteY17077"/>
                </a:cxn>
                <a:cxn ang="0">
                  <a:pos x="connsiteX17078" y="connsiteY17078"/>
                </a:cxn>
                <a:cxn ang="0">
                  <a:pos x="connsiteX17079" y="connsiteY17079"/>
                </a:cxn>
                <a:cxn ang="0">
                  <a:pos x="connsiteX17080" y="connsiteY17080"/>
                </a:cxn>
                <a:cxn ang="0">
                  <a:pos x="connsiteX17081" y="connsiteY17081"/>
                </a:cxn>
                <a:cxn ang="0">
                  <a:pos x="connsiteX17082" y="connsiteY17082"/>
                </a:cxn>
                <a:cxn ang="0">
                  <a:pos x="connsiteX17083" y="connsiteY17083"/>
                </a:cxn>
                <a:cxn ang="0">
                  <a:pos x="connsiteX17084" y="connsiteY17084"/>
                </a:cxn>
                <a:cxn ang="0">
                  <a:pos x="connsiteX17085" y="connsiteY17085"/>
                </a:cxn>
                <a:cxn ang="0">
                  <a:pos x="connsiteX17086" y="connsiteY17086"/>
                </a:cxn>
                <a:cxn ang="0">
                  <a:pos x="connsiteX17087" y="connsiteY17087"/>
                </a:cxn>
                <a:cxn ang="0">
                  <a:pos x="connsiteX17088" y="connsiteY17088"/>
                </a:cxn>
                <a:cxn ang="0">
                  <a:pos x="connsiteX17089" y="connsiteY17089"/>
                </a:cxn>
                <a:cxn ang="0">
                  <a:pos x="connsiteX17090" y="connsiteY17090"/>
                </a:cxn>
                <a:cxn ang="0">
                  <a:pos x="connsiteX17091" y="connsiteY17091"/>
                </a:cxn>
                <a:cxn ang="0">
                  <a:pos x="connsiteX17092" y="connsiteY17092"/>
                </a:cxn>
                <a:cxn ang="0">
                  <a:pos x="connsiteX17093" y="connsiteY17093"/>
                </a:cxn>
                <a:cxn ang="0">
                  <a:pos x="connsiteX17094" y="connsiteY17094"/>
                </a:cxn>
                <a:cxn ang="0">
                  <a:pos x="connsiteX17095" y="connsiteY17095"/>
                </a:cxn>
                <a:cxn ang="0">
                  <a:pos x="connsiteX17096" y="connsiteY17096"/>
                </a:cxn>
                <a:cxn ang="0">
                  <a:pos x="connsiteX17097" y="connsiteY17097"/>
                </a:cxn>
                <a:cxn ang="0">
                  <a:pos x="connsiteX17098" y="connsiteY17098"/>
                </a:cxn>
                <a:cxn ang="0">
                  <a:pos x="connsiteX17099" y="connsiteY17099"/>
                </a:cxn>
                <a:cxn ang="0">
                  <a:pos x="connsiteX17100" y="connsiteY17100"/>
                </a:cxn>
                <a:cxn ang="0">
                  <a:pos x="connsiteX17101" y="connsiteY17101"/>
                </a:cxn>
                <a:cxn ang="0">
                  <a:pos x="connsiteX17102" y="connsiteY17102"/>
                </a:cxn>
                <a:cxn ang="0">
                  <a:pos x="connsiteX17103" y="connsiteY17103"/>
                </a:cxn>
                <a:cxn ang="0">
                  <a:pos x="connsiteX17104" y="connsiteY17104"/>
                </a:cxn>
                <a:cxn ang="0">
                  <a:pos x="connsiteX17105" y="connsiteY17105"/>
                </a:cxn>
                <a:cxn ang="0">
                  <a:pos x="connsiteX17106" y="connsiteY17106"/>
                </a:cxn>
                <a:cxn ang="0">
                  <a:pos x="connsiteX17107" y="connsiteY17107"/>
                </a:cxn>
                <a:cxn ang="0">
                  <a:pos x="connsiteX17108" y="connsiteY17108"/>
                </a:cxn>
                <a:cxn ang="0">
                  <a:pos x="connsiteX17109" y="connsiteY17109"/>
                </a:cxn>
                <a:cxn ang="0">
                  <a:pos x="connsiteX17110" y="connsiteY17110"/>
                </a:cxn>
                <a:cxn ang="0">
                  <a:pos x="connsiteX17111" y="connsiteY17111"/>
                </a:cxn>
                <a:cxn ang="0">
                  <a:pos x="connsiteX17112" y="connsiteY17112"/>
                </a:cxn>
                <a:cxn ang="0">
                  <a:pos x="connsiteX17113" y="connsiteY17113"/>
                </a:cxn>
                <a:cxn ang="0">
                  <a:pos x="connsiteX17114" y="connsiteY17114"/>
                </a:cxn>
                <a:cxn ang="0">
                  <a:pos x="connsiteX17115" y="connsiteY17115"/>
                </a:cxn>
                <a:cxn ang="0">
                  <a:pos x="connsiteX17116" y="connsiteY17116"/>
                </a:cxn>
                <a:cxn ang="0">
                  <a:pos x="connsiteX17117" y="connsiteY17117"/>
                </a:cxn>
                <a:cxn ang="0">
                  <a:pos x="connsiteX17118" y="connsiteY17118"/>
                </a:cxn>
                <a:cxn ang="0">
                  <a:pos x="connsiteX17119" y="connsiteY17119"/>
                </a:cxn>
                <a:cxn ang="0">
                  <a:pos x="connsiteX17120" y="connsiteY17120"/>
                </a:cxn>
                <a:cxn ang="0">
                  <a:pos x="connsiteX17121" y="connsiteY17121"/>
                </a:cxn>
                <a:cxn ang="0">
                  <a:pos x="connsiteX17122" y="connsiteY17122"/>
                </a:cxn>
                <a:cxn ang="0">
                  <a:pos x="connsiteX17123" y="connsiteY17123"/>
                </a:cxn>
                <a:cxn ang="0">
                  <a:pos x="connsiteX17124" y="connsiteY17124"/>
                </a:cxn>
                <a:cxn ang="0">
                  <a:pos x="connsiteX17125" y="connsiteY17125"/>
                </a:cxn>
                <a:cxn ang="0">
                  <a:pos x="connsiteX17126" y="connsiteY17126"/>
                </a:cxn>
                <a:cxn ang="0">
                  <a:pos x="connsiteX17127" y="connsiteY17127"/>
                </a:cxn>
                <a:cxn ang="0">
                  <a:pos x="connsiteX17128" y="connsiteY17128"/>
                </a:cxn>
                <a:cxn ang="0">
                  <a:pos x="connsiteX17129" y="connsiteY17129"/>
                </a:cxn>
                <a:cxn ang="0">
                  <a:pos x="connsiteX17130" y="connsiteY17130"/>
                </a:cxn>
                <a:cxn ang="0">
                  <a:pos x="connsiteX17131" y="connsiteY17131"/>
                </a:cxn>
                <a:cxn ang="0">
                  <a:pos x="connsiteX17132" y="connsiteY17132"/>
                </a:cxn>
                <a:cxn ang="0">
                  <a:pos x="connsiteX17133" y="connsiteY17133"/>
                </a:cxn>
                <a:cxn ang="0">
                  <a:pos x="connsiteX17134" y="connsiteY17134"/>
                </a:cxn>
                <a:cxn ang="0">
                  <a:pos x="connsiteX17135" y="connsiteY17135"/>
                </a:cxn>
                <a:cxn ang="0">
                  <a:pos x="connsiteX17136" y="connsiteY17136"/>
                </a:cxn>
                <a:cxn ang="0">
                  <a:pos x="connsiteX17137" y="connsiteY17137"/>
                </a:cxn>
                <a:cxn ang="0">
                  <a:pos x="connsiteX17138" y="connsiteY17138"/>
                </a:cxn>
                <a:cxn ang="0">
                  <a:pos x="connsiteX17139" y="connsiteY17139"/>
                </a:cxn>
                <a:cxn ang="0">
                  <a:pos x="connsiteX17140" y="connsiteY17140"/>
                </a:cxn>
                <a:cxn ang="0">
                  <a:pos x="connsiteX17141" y="connsiteY17141"/>
                </a:cxn>
                <a:cxn ang="0">
                  <a:pos x="connsiteX17142" y="connsiteY17142"/>
                </a:cxn>
                <a:cxn ang="0">
                  <a:pos x="connsiteX17143" y="connsiteY17143"/>
                </a:cxn>
                <a:cxn ang="0">
                  <a:pos x="connsiteX17144" y="connsiteY17144"/>
                </a:cxn>
                <a:cxn ang="0">
                  <a:pos x="connsiteX17145" y="connsiteY17145"/>
                </a:cxn>
                <a:cxn ang="0">
                  <a:pos x="connsiteX17146" y="connsiteY17146"/>
                </a:cxn>
                <a:cxn ang="0">
                  <a:pos x="connsiteX17147" y="connsiteY17147"/>
                </a:cxn>
                <a:cxn ang="0">
                  <a:pos x="connsiteX17148" y="connsiteY17148"/>
                </a:cxn>
                <a:cxn ang="0">
                  <a:pos x="connsiteX17149" y="connsiteY17149"/>
                </a:cxn>
                <a:cxn ang="0">
                  <a:pos x="connsiteX17150" y="connsiteY17150"/>
                </a:cxn>
                <a:cxn ang="0">
                  <a:pos x="connsiteX17151" y="connsiteY17151"/>
                </a:cxn>
                <a:cxn ang="0">
                  <a:pos x="connsiteX17152" y="connsiteY17152"/>
                </a:cxn>
                <a:cxn ang="0">
                  <a:pos x="connsiteX17153" y="connsiteY17153"/>
                </a:cxn>
                <a:cxn ang="0">
                  <a:pos x="connsiteX17154" y="connsiteY17154"/>
                </a:cxn>
                <a:cxn ang="0">
                  <a:pos x="connsiteX17155" y="connsiteY17155"/>
                </a:cxn>
                <a:cxn ang="0">
                  <a:pos x="connsiteX17156" y="connsiteY17156"/>
                </a:cxn>
                <a:cxn ang="0">
                  <a:pos x="connsiteX17157" y="connsiteY17157"/>
                </a:cxn>
                <a:cxn ang="0">
                  <a:pos x="connsiteX17158" y="connsiteY17158"/>
                </a:cxn>
                <a:cxn ang="0">
                  <a:pos x="connsiteX17159" y="connsiteY17159"/>
                </a:cxn>
                <a:cxn ang="0">
                  <a:pos x="connsiteX17160" y="connsiteY17160"/>
                </a:cxn>
                <a:cxn ang="0">
                  <a:pos x="connsiteX17161" y="connsiteY17161"/>
                </a:cxn>
                <a:cxn ang="0">
                  <a:pos x="connsiteX17162" y="connsiteY17162"/>
                </a:cxn>
                <a:cxn ang="0">
                  <a:pos x="connsiteX17163" y="connsiteY17163"/>
                </a:cxn>
                <a:cxn ang="0">
                  <a:pos x="connsiteX17164" y="connsiteY17164"/>
                </a:cxn>
                <a:cxn ang="0">
                  <a:pos x="connsiteX17165" y="connsiteY17165"/>
                </a:cxn>
                <a:cxn ang="0">
                  <a:pos x="connsiteX17166" y="connsiteY17166"/>
                </a:cxn>
                <a:cxn ang="0">
                  <a:pos x="connsiteX17167" y="connsiteY17167"/>
                </a:cxn>
                <a:cxn ang="0">
                  <a:pos x="connsiteX17168" y="connsiteY17168"/>
                </a:cxn>
                <a:cxn ang="0">
                  <a:pos x="connsiteX17169" y="connsiteY17169"/>
                </a:cxn>
                <a:cxn ang="0">
                  <a:pos x="connsiteX17170" y="connsiteY17170"/>
                </a:cxn>
                <a:cxn ang="0">
                  <a:pos x="connsiteX17171" y="connsiteY17171"/>
                </a:cxn>
                <a:cxn ang="0">
                  <a:pos x="connsiteX17172" y="connsiteY17172"/>
                </a:cxn>
                <a:cxn ang="0">
                  <a:pos x="connsiteX17173" y="connsiteY17173"/>
                </a:cxn>
                <a:cxn ang="0">
                  <a:pos x="connsiteX17174" y="connsiteY17174"/>
                </a:cxn>
                <a:cxn ang="0">
                  <a:pos x="connsiteX17175" y="connsiteY17175"/>
                </a:cxn>
                <a:cxn ang="0">
                  <a:pos x="connsiteX17176" y="connsiteY17176"/>
                </a:cxn>
                <a:cxn ang="0">
                  <a:pos x="connsiteX17177" y="connsiteY17177"/>
                </a:cxn>
                <a:cxn ang="0">
                  <a:pos x="connsiteX17178" y="connsiteY17178"/>
                </a:cxn>
                <a:cxn ang="0">
                  <a:pos x="connsiteX17179" y="connsiteY17179"/>
                </a:cxn>
                <a:cxn ang="0">
                  <a:pos x="connsiteX17180" y="connsiteY17180"/>
                </a:cxn>
                <a:cxn ang="0">
                  <a:pos x="connsiteX17181" y="connsiteY17181"/>
                </a:cxn>
                <a:cxn ang="0">
                  <a:pos x="connsiteX17182" y="connsiteY17182"/>
                </a:cxn>
                <a:cxn ang="0">
                  <a:pos x="connsiteX17183" y="connsiteY17183"/>
                </a:cxn>
                <a:cxn ang="0">
                  <a:pos x="connsiteX17184" y="connsiteY17184"/>
                </a:cxn>
                <a:cxn ang="0">
                  <a:pos x="connsiteX17185" y="connsiteY17185"/>
                </a:cxn>
                <a:cxn ang="0">
                  <a:pos x="connsiteX17186" y="connsiteY17186"/>
                </a:cxn>
                <a:cxn ang="0">
                  <a:pos x="connsiteX17187" y="connsiteY17187"/>
                </a:cxn>
                <a:cxn ang="0">
                  <a:pos x="connsiteX17188" y="connsiteY17188"/>
                </a:cxn>
                <a:cxn ang="0">
                  <a:pos x="connsiteX17189" y="connsiteY17189"/>
                </a:cxn>
                <a:cxn ang="0">
                  <a:pos x="connsiteX17190" y="connsiteY17190"/>
                </a:cxn>
                <a:cxn ang="0">
                  <a:pos x="connsiteX17191" y="connsiteY17191"/>
                </a:cxn>
                <a:cxn ang="0">
                  <a:pos x="connsiteX17192" y="connsiteY17192"/>
                </a:cxn>
                <a:cxn ang="0">
                  <a:pos x="connsiteX17193" y="connsiteY17193"/>
                </a:cxn>
                <a:cxn ang="0">
                  <a:pos x="connsiteX17194" y="connsiteY17194"/>
                </a:cxn>
                <a:cxn ang="0">
                  <a:pos x="connsiteX17195" y="connsiteY17195"/>
                </a:cxn>
                <a:cxn ang="0">
                  <a:pos x="connsiteX17196" y="connsiteY17196"/>
                </a:cxn>
                <a:cxn ang="0">
                  <a:pos x="connsiteX17197" y="connsiteY17197"/>
                </a:cxn>
                <a:cxn ang="0">
                  <a:pos x="connsiteX17198" y="connsiteY17198"/>
                </a:cxn>
                <a:cxn ang="0">
                  <a:pos x="connsiteX17199" y="connsiteY17199"/>
                </a:cxn>
                <a:cxn ang="0">
                  <a:pos x="connsiteX17200" y="connsiteY17200"/>
                </a:cxn>
                <a:cxn ang="0">
                  <a:pos x="connsiteX17201" y="connsiteY17201"/>
                </a:cxn>
                <a:cxn ang="0">
                  <a:pos x="connsiteX17202" y="connsiteY17202"/>
                </a:cxn>
                <a:cxn ang="0">
                  <a:pos x="connsiteX17203" y="connsiteY17203"/>
                </a:cxn>
                <a:cxn ang="0">
                  <a:pos x="connsiteX17204" y="connsiteY17204"/>
                </a:cxn>
                <a:cxn ang="0">
                  <a:pos x="connsiteX17205" y="connsiteY17205"/>
                </a:cxn>
                <a:cxn ang="0">
                  <a:pos x="connsiteX17206" y="connsiteY17206"/>
                </a:cxn>
                <a:cxn ang="0">
                  <a:pos x="connsiteX17207" y="connsiteY17207"/>
                </a:cxn>
                <a:cxn ang="0">
                  <a:pos x="connsiteX17208" y="connsiteY17208"/>
                </a:cxn>
                <a:cxn ang="0">
                  <a:pos x="connsiteX17209" y="connsiteY17209"/>
                </a:cxn>
                <a:cxn ang="0">
                  <a:pos x="connsiteX17210" y="connsiteY17210"/>
                </a:cxn>
                <a:cxn ang="0">
                  <a:pos x="connsiteX17211" y="connsiteY17211"/>
                </a:cxn>
                <a:cxn ang="0">
                  <a:pos x="connsiteX17212" y="connsiteY17212"/>
                </a:cxn>
                <a:cxn ang="0">
                  <a:pos x="connsiteX17213" y="connsiteY17213"/>
                </a:cxn>
                <a:cxn ang="0">
                  <a:pos x="connsiteX17214" y="connsiteY17214"/>
                </a:cxn>
                <a:cxn ang="0">
                  <a:pos x="connsiteX17215" y="connsiteY17215"/>
                </a:cxn>
                <a:cxn ang="0">
                  <a:pos x="connsiteX17216" y="connsiteY17216"/>
                </a:cxn>
                <a:cxn ang="0">
                  <a:pos x="connsiteX17217" y="connsiteY17217"/>
                </a:cxn>
                <a:cxn ang="0">
                  <a:pos x="connsiteX17218" y="connsiteY17218"/>
                </a:cxn>
                <a:cxn ang="0">
                  <a:pos x="connsiteX17219" y="connsiteY17219"/>
                </a:cxn>
                <a:cxn ang="0">
                  <a:pos x="connsiteX17220" y="connsiteY17220"/>
                </a:cxn>
                <a:cxn ang="0">
                  <a:pos x="connsiteX17221" y="connsiteY17221"/>
                </a:cxn>
                <a:cxn ang="0">
                  <a:pos x="connsiteX17222" y="connsiteY17222"/>
                </a:cxn>
                <a:cxn ang="0">
                  <a:pos x="connsiteX17223" y="connsiteY17223"/>
                </a:cxn>
                <a:cxn ang="0">
                  <a:pos x="connsiteX17224" y="connsiteY17224"/>
                </a:cxn>
                <a:cxn ang="0">
                  <a:pos x="connsiteX17225" y="connsiteY17225"/>
                </a:cxn>
                <a:cxn ang="0">
                  <a:pos x="connsiteX17226" y="connsiteY17226"/>
                </a:cxn>
                <a:cxn ang="0">
                  <a:pos x="connsiteX17227" y="connsiteY17227"/>
                </a:cxn>
                <a:cxn ang="0">
                  <a:pos x="connsiteX17228" y="connsiteY17228"/>
                </a:cxn>
                <a:cxn ang="0">
                  <a:pos x="connsiteX17229" y="connsiteY17229"/>
                </a:cxn>
                <a:cxn ang="0">
                  <a:pos x="connsiteX17230" y="connsiteY17230"/>
                </a:cxn>
                <a:cxn ang="0">
                  <a:pos x="connsiteX17231" y="connsiteY17231"/>
                </a:cxn>
                <a:cxn ang="0">
                  <a:pos x="connsiteX17232" y="connsiteY17232"/>
                </a:cxn>
                <a:cxn ang="0">
                  <a:pos x="connsiteX17233" y="connsiteY17233"/>
                </a:cxn>
                <a:cxn ang="0">
                  <a:pos x="connsiteX17234" y="connsiteY17234"/>
                </a:cxn>
                <a:cxn ang="0">
                  <a:pos x="connsiteX17235" y="connsiteY17235"/>
                </a:cxn>
                <a:cxn ang="0">
                  <a:pos x="connsiteX17236" y="connsiteY17236"/>
                </a:cxn>
                <a:cxn ang="0">
                  <a:pos x="connsiteX17237" y="connsiteY17237"/>
                </a:cxn>
                <a:cxn ang="0">
                  <a:pos x="connsiteX17238" y="connsiteY17238"/>
                </a:cxn>
                <a:cxn ang="0">
                  <a:pos x="connsiteX17239" y="connsiteY17239"/>
                </a:cxn>
                <a:cxn ang="0">
                  <a:pos x="connsiteX17240" y="connsiteY17240"/>
                </a:cxn>
                <a:cxn ang="0">
                  <a:pos x="connsiteX17241" y="connsiteY17241"/>
                </a:cxn>
                <a:cxn ang="0">
                  <a:pos x="connsiteX17242" y="connsiteY17242"/>
                </a:cxn>
                <a:cxn ang="0">
                  <a:pos x="connsiteX17243" y="connsiteY17243"/>
                </a:cxn>
                <a:cxn ang="0">
                  <a:pos x="connsiteX17244" y="connsiteY17244"/>
                </a:cxn>
                <a:cxn ang="0">
                  <a:pos x="connsiteX17245" y="connsiteY17245"/>
                </a:cxn>
                <a:cxn ang="0">
                  <a:pos x="connsiteX17246" y="connsiteY17246"/>
                </a:cxn>
                <a:cxn ang="0">
                  <a:pos x="connsiteX17247" y="connsiteY17247"/>
                </a:cxn>
                <a:cxn ang="0">
                  <a:pos x="connsiteX17248" y="connsiteY17248"/>
                </a:cxn>
                <a:cxn ang="0">
                  <a:pos x="connsiteX17249" y="connsiteY17249"/>
                </a:cxn>
                <a:cxn ang="0">
                  <a:pos x="connsiteX17250" y="connsiteY17250"/>
                </a:cxn>
                <a:cxn ang="0">
                  <a:pos x="connsiteX17251" y="connsiteY17251"/>
                </a:cxn>
                <a:cxn ang="0">
                  <a:pos x="connsiteX17252" y="connsiteY17252"/>
                </a:cxn>
                <a:cxn ang="0">
                  <a:pos x="connsiteX17253" y="connsiteY17253"/>
                </a:cxn>
                <a:cxn ang="0">
                  <a:pos x="connsiteX17254" y="connsiteY17254"/>
                </a:cxn>
                <a:cxn ang="0">
                  <a:pos x="connsiteX17255" y="connsiteY17255"/>
                </a:cxn>
                <a:cxn ang="0">
                  <a:pos x="connsiteX17256" y="connsiteY17256"/>
                </a:cxn>
                <a:cxn ang="0">
                  <a:pos x="connsiteX17257" y="connsiteY17257"/>
                </a:cxn>
                <a:cxn ang="0">
                  <a:pos x="connsiteX17258" y="connsiteY17258"/>
                </a:cxn>
                <a:cxn ang="0">
                  <a:pos x="connsiteX17259" y="connsiteY17259"/>
                </a:cxn>
                <a:cxn ang="0">
                  <a:pos x="connsiteX17260" y="connsiteY17260"/>
                </a:cxn>
                <a:cxn ang="0">
                  <a:pos x="connsiteX17261" y="connsiteY17261"/>
                </a:cxn>
                <a:cxn ang="0">
                  <a:pos x="connsiteX17262" y="connsiteY17262"/>
                </a:cxn>
                <a:cxn ang="0">
                  <a:pos x="connsiteX17263" y="connsiteY17263"/>
                </a:cxn>
                <a:cxn ang="0">
                  <a:pos x="connsiteX17264" y="connsiteY17264"/>
                </a:cxn>
                <a:cxn ang="0">
                  <a:pos x="connsiteX17265" y="connsiteY17265"/>
                </a:cxn>
                <a:cxn ang="0">
                  <a:pos x="connsiteX17266" y="connsiteY17266"/>
                </a:cxn>
                <a:cxn ang="0">
                  <a:pos x="connsiteX17267" y="connsiteY17267"/>
                </a:cxn>
                <a:cxn ang="0">
                  <a:pos x="connsiteX17268" y="connsiteY17268"/>
                </a:cxn>
                <a:cxn ang="0">
                  <a:pos x="connsiteX17269" y="connsiteY17269"/>
                </a:cxn>
                <a:cxn ang="0">
                  <a:pos x="connsiteX17270" y="connsiteY17270"/>
                </a:cxn>
                <a:cxn ang="0">
                  <a:pos x="connsiteX17271" y="connsiteY17271"/>
                </a:cxn>
                <a:cxn ang="0">
                  <a:pos x="connsiteX17272" y="connsiteY17272"/>
                </a:cxn>
                <a:cxn ang="0">
                  <a:pos x="connsiteX17273" y="connsiteY17273"/>
                </a:cxn>
                <a:cxn ang="0">
                  <a:pos x="connsiteX17274" y="connsiteY17274"/>
                </a:cxn>
                <a:cxn ang="0">
                  <a:pos x="connsiteX17275" y="connsiteY17275"/>
                </a:cxn>
                <a:cxn ang="0">
                  <a:pos x="connsiteX17276" y="connsiteY17276"/>
                </a:cxn>
                <a:cxn ang="0">
                  <a:pos x="connsiteX17277" y="connsiteY17277"/>
                </a:cxn>
                <a:cxn ang="0">
                  <a:pos x="connsiteX17278" y="connsiteY17278"/>
                </a:cxn>
                <a:cxn ang="0">
                  <a:pos x="connsiteX17279" y="connsiteY17279"/>
                </a:cxn>
                <a:cxn ang="0">
                  <a:pos x="connsiteX17280" y="connsiteY17280"/>
                </a:cxn>
                <a:cxn ang="0">
                  <a:pos x="connsiteX17281" y="connsiteY17281"/>
                </a:cxn>
                <a:cxn ang="0">
                  <a:pos x="connsiteX17282" y="connsiteY17282"/>
                </a:cxn>
                <a:cxn ang="0">
                  <a:pos x="connsiteX17283" y="connsiteY17283"/>
                </a:cxn>
                <a:cxn ang="0">
                  <a:pos x="connsiteX17284" y="connsiteY17284"/>
                </a:cxn>
                <a:cxn ang="0">
                  <a:pos x="connsiteX17285" y="connsiteY17285"/>
                </a:cxn>
                <a:cxn ang="0">
                  <a:pos x="connsiteX17286" y="connsiteY17286"/>
                </a:cxn>
                <a:cxn ang="0">
                  <a:pos x="connsiteX17287" y="connsiteY17287"/>
                </a:cxn>
                <a:cxn ang="0">
                  <a:pos x="connsiteX17288" y="connsiteY17288"/>
                </a:cxn>
                <a:cxn ang="0">
                  <a:pos x="connsiteX17289" y="connsiteY17289"/>
                </a:cxn>
                <a:cxn ang="0">
                  <a:pos x="connsiteX17290" y="connsiteY17290"/>
                </a:cxn>
                <a:cxn ang="0">
                  <a:pos x="connsiteX17291" y="connsiteY17291"/>
                </a:cxn>
                <a:cxn ang="0">
                  <a:pos x="connsiteX17292" y="connsiteY17292"/>
                </a:cxn>
                <a:cxn ang="0">
                  <a:pos x="connsiteX17293" y="connsiteY17293"/>
                </a:cxn>
                <a:cxn ang="0">
                  <a:pos x="connsiteX17294" y="connsiteY17294"/>
                </a:cxn>
                <a:cxn ang="0">
                  <a:pos x="connsiteX17295" y="connsiteY17295"/>
                </a:cxn>
                <a:cxn ang="0">
                  <a:pos x="connsiteX17296" y="connsiteY17296"/>
                </a:cxn>
                <a:cxn ang="0">
                  <a:pos x="connsiteX17297" y="connsiteY17297"/>
                </a:cxn>
                <a:cxn ang="0">
                  <a:pos x="connsiteX17298" y="connsiteY17298"/>
                </a:cxn>
                <a:cxn ang="0">
                  <a:pos x="connsiteX17299" y="connsiteY17299"/>
                </a:cxn>
                <a:cxn ang="0">
                  <a:pos x="connsiteX17300" y="connsiteY17300"/>
                </a:cxn>
                <a:cxn ang="0">
                  <a:pos x="connsiteX17301" y="connsiteY17301"/>
                </a:cxn>
                <a:cxn ang="0">
                  <a:pos x="connsiteX17302" y="connsiteY17302"/>
                </a:cxn>
                <a:cxn ang="0">
                  <a:pos x="connsiteX17303" y="connsiteY17303"/>
                </a:cxn>
                <a:cxn ang="0">
                  <a:pos x="connsiteX17304" y="connsiteY17304"/>
                </a:cxn>
                <a:cxn ang="0">
                  <a:pos x="connsiteX17305" y="connsiteY17305"/>
                </a:cxn>
                <a:cxn ang="0">
                  <a:pos x="connsiteX17306" y="connsiteY17306"/>
                </a:cxn>
                <a:cxn ang="0">
                  <a:pos x="connsiteX17307" y="connsiteY17307"/>
                </a:cxn>
                <a:cxn ang="0">
                  <a:pos x="connsiteX17308" y="connsiteY17308"/>
                </a:cxn>
                <a:cxn ang="0">
                  <a:pos x="connsiteX17309" y="connsiteY17309"/>
                </a:cxn>
                <a:cxn ang="0">
                  <a:pos x="connsiteX17310" y="connsiteY17310"/>
                </a:cxn>
                <a:cxn ang="0">
                  <a:pos x="connsiteX17311" y="connsiteY17311"/>
                </a:cxn>
                <a:cxn ang="0">
                  <a:pos x="connsiteX17312" y="connsiteY17312"/>
                </a:cxn>
                <a:cxn ang="0">
                  <a:pos x="connsiteX17313" y="connsiteY17313"/>
                </a:cxn>
                <a:cxn ang="0">
                  <a:pos x="connsiteX17314" y="connsiteY17314"/>
                </a:cxn>
                <a:cxn ang="0">
                  <a:pos x="connsiteX17315" y="connsiteY17315"/>
                </a:cxn>
                <a:cxn ang="0">
                  <a:pos x="connsiteX17316" y="connsiteY17316"/>
                </a:cxn>
                <a:cxn ang="0">
                  <a:pos x="connsiteX17317" y="connsiteY17317"/>
                </a:cxn>
                <a:cxn ang="0">
                  <a:pos x="connsiteX17318" y="connsiteY17318"/>
                </a:cxn>
                <a:cxn ang="0">
                  <a:pos x="connsiteX17319" y="connsiteY17319"/>
                </a:cxn>
                <a:cxn ang="0">
                  <a:pos x="connsiteX17320" y="connsiteY17320"/>
                </a:cxn>
                <a:cxn ang="0">
                  <a:pos x="connsiteX17321" y="connsiteY17321"/>
                </a:cxn>
                <a:cxn ang="0">
                  <a:pos x="connsiteX17322" y="connsiteY17322"/>
                </a:cxn>
                <a:cxn ang="0">
                  <a:pos x="connsiteX17323" y="connsiteY17323"/>
                </a:cxn>
                <a:cxn ang="0">
                  <a:pos x="connsiteX17324" y="connsiteY17324"/>
                </a:cxn>
                <a:cxn ang="0">
                  <a:pos x="connsiteX17325" y="connsiteY17325"/>
                </a:cxn>
                <a:cxn ang="0">
                  <a:pos x="connsiteX17326" y="connsiteY17326"/>
                </a:cxn>
                <a:cxn ang="0">
                  <a:pos x="connsiteX17327" y="connsiteY17327"/>
                </a:cxn>
                <a:cxn ang="0">
                  <a:pos x="connsiteX17328" y="connsiteY17328"/>
                </a:cxn>
                <a:cxn ang="0">
                  <a:pos x="connsiteX17329" y="connsiteY17329"/>
                </a:cxn>
                <a:cxn ang="0">
                  <a:pos x="connsiteX17330" y="connsiteY17330"/>
                </a:cxn>
                <a:cxn ang="0">
                  <a:pos x="connsiteX17331" y="connsiteY17331"/>
                </a:cxn>
                <a:cxn ang="0">
                  <a:pos x="connsiteX17332" y="connsiteY17332"/>
                </a:cxn>
                <a:cxn ang="0">
                  <a:pos x="connsiteX17333" y="connsiteY17333"/>
                </a:cxn>
                <a:cxn ang="0">
                  <a:pos x="connsiteX17334" y="connsiteY17334"/>
                </a:cxn>
                <a:cxn ang="0">
                  <a:pos x="connsiteX17335" y="connsiteY17335"/>
                </a:cxn>
                <a:cxn ang="0">
                  <a:pos x="connsiteX17336" y="connsiteY17336"/>
                </a:cxn>
                <a:cxn ang="0">
                  <a:pos x="connsiteX17337" y="connsiteY17337"/>
                </a:cxn>
                <a:cxn ang="0">
                  <a:pos x="connsiteX17338" y="connsiteY17338"/>
                </a:cxn>
                <a:cxn ang="0">
                  <a:pos x="connsiteX17339" y="connsiteY17339"/>
                </a:cxn>
                <a:cxn ang="0">
                  <a:pos x="connsiteX17340" y="connsiteY17340"/>
                </a:cxn>
                <a:cxn ang="0">
                  <a:pos x="connsiteX17341" y="connsiteY17341"/>
                </a:cxn>
                <a:cxn ang="0">
                  <a:pos x="connsiteX17342" y="connsiteY17342"/>
                </a:cxn>
                <a:cxn ang="0">
                  <a:pos x="connsiteX17343" y="connsiteY17343"/>
                </a:cxn>
                <a:cxn ang="0">
                  <a:pos x="connsiteX17344" y="connsiteY17344"/>
                </a:cxn>
                <a:cxn ang="0">
                  <a:pos x="connsiteX17345" y="connsiteY17345"/>
                </a:cxn>
                <a:cxn ang="0">
                  <a:pos x="connsiteX17346" y="connsiteY17346"/>
                </a:cxn>
                <a:cxn ang="0">
                  <a:pos x="connsiteX17347" y="connsiteY17347"/>
                </a:cxn>
                <a:cxn ang="0">
                  <a:pos x="connsiteX17348" y="connsiteY17348"/>
                </a:cxn>
                <a:cxn ang="0">
                  <a:pos x="connsiteX17349" y="connsiteY17349"/>
                </a:cxn>
                <a:cxn ang="0">
                  <a:pos x="connsiteX17350" y="connsiteY17350"/>
                </a:cxn>
                <a:cxn ang="0">
                  <a:pos x="connsiteX17351" y="connsiteY17351"/>
                </a:cxn>
                <a:cxn ang="0">
                  <a:pos x="connsiteX17352" y="connsiteY17352"/>
                </a:cxn>
                <a:cxn ang="0">
                  <a:pos x="connsiteX17353" y="connsiteY17353"/>
                </a:cxn>
                <a:cxn ang="0">
                  <a:pos x="connsiteX17354" y="connsiteY17354"/>
                </a:cxn>
                <a:cxn ang="0">
                  <a:pos x="connsiteX17355" y="connsiteY17355"/>
                </a:cxn>
                <a:cxn ang="0">
                  <a:pos x="connsiteX17356" y="connsiteY17356"/>
                </a:cxn>
                <a:cxn ang="0">
                  <a:pos x="connsiteX17357" y="connsiteY17357"/>
                </a:cxn>
                <a:cxn ang="0">
                  <a:pos x="connsiteX17358" y="connsiteY17358"/>
                </a:cxn>
                <a:cxn ang="0">
                  <a:pos x="connsiteX17359" y="connsiteY17359"/>
                </a:cxn>
                <a:cxn ang="0">
                  <a:pos x="connsiteX17360" y="connsiteY17360"/>
                </a:cxn>
                <a:cxn ang="0">
                  <a:pos x="connsiteX17361" y="connsiteY17361"/>
                </a:cxn>
                <a:cxn ang="0">
                  <a:pos x="connsiteX17362" y="connsiteY17362"/>
                </a:cxn>
                <a:cxn ang="0">
                  <a:pos x="connsiteX17363" y="connsiteY17363"/>
                </a:cxn>
                <a:cxn ang="0">
                  <a:pos x="connsiteX17364" y="connsiteY17364"/>
                </a:cxn>
                <a:cxn ang="0">
                  <a:pos x="connsiteX17365" y="connsiteY17365"/>
                </a:cxn>
                <a:cxn ang="0">
                  <a:pos x="connsiteX17366" y="connsiteY17366"/>
                </a:cxn>
                <a:cxn ang="0">
                  <a:pos x="connsiteX17367" y="connsiteY17367"/>
                </a:cxn>
                <a:cxn ang="0">
                  <a:pos x="connsiteX17368" y="connsiteY17368"/>
                </a:cxn>
                <a:cxn ang="0">
                  <a:pos x="connsiteX17369" y="connsiteY17369"/>
                </a:cxn>
                <a:cxn ang="0">
                  <a:pos x="connsiteX17370" y="connsiteY17370"/>
                </a:cxn>
                <a:cxn ang="0">
                  <a:pos x="connsiteX17371" y="connsiteY17371"/>
                </a:cxn>
                <a:cxn ang="0">
                  <a:pos x="connsiteX17372" y="connsiteY17372"/>
                </a:cxn>
                <a:cxn ang="0">
                  <a:pos x="connsiteX17373" y="connsiteY17373"/>
                </a:cxn>
                <a:cxn ang="0">
                  <a:pos x="connsiteX17374" y="connsiteY17374"/>
                </a:cxn>
                <a:cxn ang="0">
                  <a:pos x="connsiteX17375" y="connsiteY17375"/>
                </a:cxn>
                <a:cxn ang="0">
                  <a:pos x="connsiteX17376" y="connsiteY17376"/>
                </a:cxn>
                <a:cxn ang="0">
                  <a:pos x="connsiteX17377" y="connsiteY17377"/>
                </a:cxn>
                <a:cxn ang="0">
                  <a:pos x="connsiteX17378" y="connsiteY17378"/>
                </a:cxn>
                <a:cxn ang="0">
                  <a:pos x="connsiteX17379" y="connsiteY17379"/>
                </a:cxn>
                <a:cxn ang="0">
                  <a:pos x="connsiteX17380" y="connsiteY17380"/>
                </a:cxn>
                <a:cxn ang="0">
                  <a:pos x="connsiteX17381" y="connsiteY17381"/>
                </a:cxn>
                <a:cxn ang="0">
                  <a:pos x="connsiteX17382" y="connsiteY17382"/>
                </a:cxn>
                <a:cxn ang="0">
                  <a:pos x="connsiteX17383" y="connsiteY17383"/>
                </a:cxn>
                <a:cxn ang="0">
                  <a:pos x="connsiteX17384" y="connsiteY17384"/>
                </a:cxn>
                <a:cxn ang="0">
                  <a:pos x="connsiteX17385" y="connsiteY17385"/>
                </a:cxn>
                <a:cxn ang="0">
                  <a:pos x="connsiteX17386" y="connsiteY17386"/>
                </a:cxn>
                <a:cxn ang="0">
                  <a:pos x="connsiteX17387" y="connsiteY17387"/>
                </a:cxn>
                <a:cxn ang="0">
                  <a:pos x="connsiteX17388" y="connsiteY17388"/>
                </a:cxn>
                <a:cxn ang="0">
                  <a:pos x="connsiteX17389" y="connsiteY17389"/>
                </a:cxn>
                <a:cxn ang="0">
                  <a:pos x="connsiteX17390" y="connsiteY17390"/>
                </a:cxn>
                <a:cxn ang="0">
                  <a:pos x="connsiteX17391" y="connsiteY17391"/>
                </a:cxn>
                <a:cxn ang="0">
                  <a:pos x="connsiteX17392" y="connsiteY17392"/>
                </a:cxn>
                <a:cxn ang="0">
                  <a:pos x="connsiteX17393" y="connsiteY17393"/>
                </a:cxn>
                <a:cxn ang="0">
                  <a:pos x="connsiteX17394" y="connsiteY17394"/>
                </a:cxn>
                <a:cxn ang="0">
                  <a:pos x="connsiteX17395" y="connsiteY17395"/>
                </a:cxn>
                <a:cxn ang="0">
                  <a:pos x="connsiteX17396" y="connsiteY17396"/>
                </a:cxn>
                <a:cxn ang="0">
                  <a:pos x="connsiteX17397" y="connsiteY17397"/>
                </a:cxn>
                <a:cxn ang="0">
                  <a:pos x="connsiteX17398" y="connsiteY17398"/>
                </a:cxn>
                <a:cxn ang="0">
                  <a:pos x="connsiteX17399" y="connsiteY17399"/>
                </a:cxn>
                <a:cxn ang="0">
                  <a:pos x="connsiteX17400" y="connsiteY17400"/>
                </a:cxn>
                <a:cxn ang="0">
                  <a:pos x="connsiteX17401" y="connsiteY17401"/>
                </a:cxn>
                <a:cxn ang="0">
                  <a:pos x="connsiteX17402" y="connsiteY17402"/>
                </a:cxn>
                <a:cxn ang="0">
                  <a:pos x="connsiteX17403" y="connsiteY17403"/>
                </a:cxn>
                <a:cxn ang="0">
                  <a:pos x="connsiteX17404" y="connsiteY17404"/>
                </a:cxn>
                <a:cxn ang="0">
                  <a:pos x="connsiteX17405" y="connsiteY17405"/>
                </a:cxn>
                <a:cxn ang="0">
                  <a:pos x="connsiteX17406" y="connsiteY17406"/>
                </a:cxn>
                <a:cxn ang="0">
                  <a:pos x="connsiteX17407" y="connsiteY17407"/>
                </a:cxn>
                <a:cxn ang="0">
                  <a:pos x="connsiteX17408" y="connsiteY17408"/>
                </a:cxn>
                <a:cxn ang="0">
                  <a:pos x="connsiteX17409" y="connsiteY17409"/>
                </a:cxn>
                <a:cxn ang="0">
                  <a:pos x="connsiteX17410" y="connsiteY17410"/>
                </a:cxn>
                <a:cxn ang="0">
                  <a:pos x="connsiteX17411" y="connsiteY17411"/>
                </a:cxn>
                <a:cxn ang="0">
                  <a:pos x="connsiteX17412" y="connsiteY17412"/>
                </a:cxn>
                <a:cxn ang="0">
                  <a:pos x="connsiteX17413" y="connsiteY17413"/>
                </a:cxn>
                <a:cxn ang="0">
                  <a:pos x="connsiteX17414" y="connsiteY17414"/>
                </a:cxn>
                <a:cxn ang="0">
                  <a:pos x="connsiteX17415" y="connsiteY17415"/>
                </a:cxn>
                <a:cxn ang="0">
                  <a:pos x="connsiteX17416" y="connsiteY17416"/>
                </a:cxn>
                <a:cxn ang="0">
                  <a:pos x="connsiteX17417" y="connsiteY17417"/>
                </a:cxn>
                <a:cxn ang="0">
                  <a:pos x="connsiteX17418" y="connsiteY17418"/>
                </a:cxn>
                <a:cxn ang="0">
                  <a:pos x="connsiteX17419" y="connsiteY17419"/>
                </a:cxn>
                <a:cxn ang="0">
                  <a:pos x="connsiteX17420" y="connsiteY17420"/>
                </a:cxn>
                <a:cxn ang="0">
                  <a:pos x="connsiteX17421" y="connsiteY17421"/>
                </a:cxn>
                <a:cxn ang="0">
                  <a:pos x="connsiteX17422" y="connsiteY17422"/>
                </a:cxn>
                <a:cxn ang="0">
                  <a:pos x="connsiteX17423" y="connsiteY17423"/>
                </a:cxn>
                <a:cxn ang="0">
                  <a:pos x="connsiteX17424" y="connsiteY17424"/>
                </a:cxn>
                <a:cxn ang="0">
                  <a:pos x="connsiteX17425" y="connsiteY17425"/>
                </a:cxn>
                <a:cxn ang="0">
                  <a:pos x="connsiteX17426" y="connsiteY17426"/>
                </a:cxn>
                <a:cxn ang="0">
                  <a:pos x="connsiteX17427" y="connsiteY17427"/>
                </a:cxn>
                <a:cxn ang="0">
                  <a:pos x="connsiteX17428" y="connsiteY17428"/>
                </a:cxn>
                <a:cxn ang="0">
                  <a:pos x="connsiteX17429" y="connsiteY17429"/>
                </a:cxn>
                <a:cxn ang="0">
                  <a:pos x="connsiteX17430" y="connsiteY17430"/>
                </a:cxn>
                <a:cxn ang="0">
                  <a:pos x="connsiteX17431" y="connsiteY17431"/>
                </a:cxn>
                <a:cxn ang="0">
                  <a:pos x="connsiteX17432" y="connsiteY17432"/>
                </a:cxn>
                <a:cxn ang="0">
                  <a:pos x="connsiteX17433" y="connsiteY17433"/>
                </a:cxn>
                <a:cxn ang="0">
                  <a:pos x="connsiteX17434" y="connsiteY17434"/>
                </a:cxn>
                <a:cxn ang="0">
                  <a:pos x="connsiteX17435" y="connsiteY17435"/>
                </a:cxn>
                <a:cxn ang="0">
                  <a:pos x="connsiteX17436" y="connsiteY17436"/>
                </a:cxn>
                <a:cxn ang="0">
                  <a:pos x="connsiteX17437" y="connsiteY17437"/>
                </a:cxn>
                <a:cxn ang="0">
                  <a:pos x="connsiteX17438" y="connsiteY17438"/>
                </a:cxn>
                <a:cxn ang="0">
                  <a:pos x="connsiteX17439" y="connsiteY17439"/>
                </a:cxn>
                <a:cxn ang="0">
                  <a:pos x="connsiteX17440" y="connsiteY17440"/>
                </a:cxn>
                <a:cxn ang="0">
                  <a:pos x="connsiteX17441" y="connsiteY17441"/>
                </a:cxn>
                <a:cxn ang="0">
                  <a:pos x="connsiteX17442" y="connsiteY17442"/>
                </a:cxn>
                <a:cxn ang="0">
                  <a:pos x="connsiteX17443" y="connsiteY17443"/>
                </a:cxn>
                <a:cxn ang="0">
                  <a:pos x="connsiteX17444" y="connsiteY17444"/>
                </a:cxn>
                <a:cxn ang="0">
                  <a:pos x="connsiteX17445" y="connsiteY17445"/>
                </a:cxn>
                <a:cxn ang="0">
                  <a:pos x="connsiteX17446" y="connsiteY17446"/>
                </a:cxn>
                <a:cxn ang="0">
                  <a:pos x="connsiteX17447" y="connsiteY17447"/>
                </a:cxn>
                <a:cxn ang="0">
                  <a:pos x="connsiteX17448" y="connsiteY17448"/>
                </a:cxn>
                <a:cxn ang="0">
                  <a:pos x="connsiteX17449" y="connsiteY17449"/>
                </a:cxn>
                <a:cxn ang="0">
                  <a:pos x="connsiteX17450" y="connsiteY17450"/>
                </a:cxn>
                <a:cxn ang="0">
                  <a:pos x="connsiteX17451" y="connsiteY17451"/>
                </a:cxn>
                <a:cxn ang="0">
                  <a:pos x="connsiteX17452" y="connsiteY17452"/>
                </a:cxn>
                <a:cxn ang="0">
                  <a:pos x="connsiteX17453" y="connsiteY17453"/>
                </a:cxn>
                <a:cxn ang="0">
                  <a:pos x="connsiteX17454" y="connsiteY17454"/>
                </a:cxn>
                <a:cxn ang="0">
                  <a:pos x="connsiteX17455" y="connsiteY17455"/>
                </a:cxn>
                <a:cxn ang="0">
                  <a:pos x="connsiteX17456" y="connsiteY17456"/>
                </a:cxn>
                <a:cxn ang="0">
                  <a:pos x="connsiteX17457" y="connsiteY17457"/>
                </a:cxn>
                <a:cxn ang="0">
                  <a:pos x="connsiteX17458" y="connsiteY17458"/>
                </a:cxn>
                <a:cxn ang="0">
                  <a:pos x="connsiteX17459" y="connsiteY17459"/>
                </a:cxn>
                <a:cxn ang="0">
                  <a:pos x="connsiteX17460" y="connsiteY17460"/>
                </a:cxn>
                <a:cxn ang="0">
                  <a:pos x="connsiteX17461" y="connsiteY17461"/>
                </a:cxn>
                <a:cxn ang="0">
                  <a:pos x="connsiteX17462" y="connsiteY17462"/>
                </a:cxn>
                <a:cxn ang="0">
                  <a:pos x="connsiteX17463" y="connsiteY17463"/>
                </a:cxn>
                <a:cxn ang="0">
                  <a:pos x="connsiteX17464" y="connsiteY17464"/>
                </a:cxn>
                <a:cxn ang="0">
                  <a:pos x="connsiteX17465" y="connsiteY17465"/>
                </a:cxn>
                <a:cxn ang="0">
                  <a:pos x="connsiteX17466" y="connsiteY17466"/>
                </a:cxn>
                <a:cxn ang="0">
                  <a:pos x="connsiteX17467" y="connsiteY17467"/>
                </a:cxn>
                <a:cxn ang="0">
                  <a:pos x="connsiteX17468" y="connsiteY17468"/>
                </a:cxn>
                <a:cxn ang="0">
                  <a:pos x="connsiteX17469" y="connsiteY17469"/>
                </a:cxn>
                <a:cxn ang="0">
                  <a:pos x="connsiteX17470" y="connsiteY17470"/>
                </a:cxn>
                <a:cxn ang="0">
                  <a:pos x="connsiteX17471" y="connsiteY17471"/>
                </a:cxn>
                <a:cxn ang="0">
                  <a:pos x="connsiteX17472" y="connsiteY17472"/>
                </a:cxn>
                <a:cxn ang="0">
                  <a:pos x="connsiteX17473" y="connsiteY17473"/>
                </a:cxn>
                <a:cxn ang="0">
                  <a:pos x="connsiteX17474" y="connsiteY17474"/>
                </a:cxn>
                <a:cxn ang="0">
                  <a:pos x="connsiteX17475" y="connsiteY17475"/>
                </a:cxn>
                <a:cxn ang="0">
                  <a:pos x="connsiteX17476" y="connsiteY17476"/>
                </a:cxn>
                <a:cxn ang="0">
                  <a:pos x="connsiteX17477" y="connsiteY17477"/>
                </a:cxn>
                <a:cxn ang="0">
                  <a:pos x="connsiteX17478" y="connsiteY17478"/>
                </a:cxn>
                <a:cxn ang="0">
                  <a:pos x="connsiteX17479" y="connsiteY17479"/>
                </a:cxn>
                <a:cxn ang="0">
                  <a:pos x="connsiteX17480" y="connsiteY17480"/>
                </a:cxn>
                <a:cxn ang="0">
                  <a:pos x="connsiteX17481" y="connsiteY17481"/>
                </a:cxn>
                <a:cxn ang="0">
                  <a:pos x="connsiteX17482" y="connsiteY17482"/>
                </a:cxn>
                <a:cxn ang="0">
                  <a:pos x="connsiteX17483" y="connsiteY17483"/>
                </a:cxn>
                <a:cxn ang="0">
                  <a:pos x="connsiteX17484" y="connsiteY17484"/>
                </a:cxn>
                <a:cxn ang="0">
                  <a:pos x="connsiteX17485" y="connsiteY17485"/>
                </a:cxn>
                <a:cxn ang="0">
                  <a:pos x="connsiteX17486" y="connsiteY17486"/>
                </a:cxn>
                <a:cxn ang="0">
                  <a:pos x="connsiteX17487" y="connsiteY17487"/>
                </a:cxn>
                <a:cxn ang="0">
                  <a:pos x="connsiteX17488" y="connsiteY17488"/>
                </a:cxn>
                <a:cxn ang="0">
                  <a:pos x="connsiteX17489" y="connsiteY17489"/>
                </a:cxn>
                <a:cxn ang="0">
                  <a:pos x="connsiteX17490" y="connsiteY17490"/>
                </a:cxn>
                <a:cxn ang="0">
                  <a:pos x="connsiteX17491" y="connsiteY17491"/>
                </a:cxn>
                <a:cxn ang="0">
                  <a:pos x="connsiteX17492" y="connsiteY17492"/>
                </a:cxn>
                <a:cxn ang="0">
                  <a:pos x="connsiteX17493" y="connsiteY17493"/>
                </a:cxn>
                <a:cxn ang="0">
                  <a:pos x="connsiteX17494" y="connsiteY17494"/>
                </a:cxn>
                <a:cxn ang="0">
                  <a:pos x="connsiteX17495" y="connsiteY17495"/>
                </a:cxn>
                <a:cxn ang="0">
                  <a:pos x="connsiteX17496" y="connsiteY17496"/>
                </a:cxn>
                <a:cxn ang="0">
                  <a:pos x="connsiteX17497" y="connsiteY17497"/>
                </a:cxn>
                <a:cxn ang="0">
                  <a:pos x="connsiteX17498" y="connsiteY17498"/>
                </a:cxn>
                <a:cxn ang="0">
                  <a:pos x="connsiteX17499" y="connsiteY17499"/>
                </a:cxn>
                <a:cxn ang="0">
                  <a:pos x="connsiteX17500" y="connsiteY17500"/>
                </a:cxn>
                <a:cxn ang="0">
                  <a:pos x="connsiteX17501" y="connsiteY17501"/>
                </a:cxn>
                <a:cxn ang="0">
                  <a:pos x="connsiteX17502" y="connsiteY17502"/>
                </a:cxn>
                <a:cxn ang="0">
                  <a:pos x="connsiteX17503" y="connsiteY17503"/>
                </a:cxn>
                <a:cxn ang="0">
                  <a:pos x="connsiteX17504" y="connsiteY17504"/>
                </a:cxn>
                <a:cxn ang="0">
                  <a:pos x="connsiteX17505" y="connsiteY17505"/>
                </a:cxn>
                <a:cxn ang="0">
                  <a:pos x="connsiteX17506" y="connsiteY17506"/>
                </a:cxn>
                <a:cxn ang="0">
                  <a:pos x="connsiteX17507" y="connsiteY17507"/>
                </a:cxn>
                <a:cxn ang="0">
                  <a:pos x="connsiteX17508" y="connsiteY17508"/>
                </a:cxn>
                <a:cxn ang="0">
                  <a:pos x="connsiteX17509" y="connsiteY17509"/>
                </a:cxn>
                <a:cxn ang="0">
                  <a:pos x="connsiteX17510" y="connsiteY17510"/>
                </a:cxn>
                <a:cxn ang="0">
                  <a:pos x="connsiteX17511" y="connsiteY17511"/>
                </a:cxn>
                <a:cxn ang="0">
                  <a:pos x="connsiteX17512" y="connsiteY17512"/>
                </a:cxn>
                <a:cxn ang="0">
                  <a:pos x="connsiteX17513" y="connsiteY17513"/>
                </a:cxn>
                <a:cxn ang="0">
                  <a:pos x="connsiteX17514" y="connsiteY17514"/>
                </a:cxn>
                <a:cxn ang="0">
                  <a:pos x="connsiteX17515" y="connsiteY17515"/>
                </a:cxn>
                <a:cxn ang="0">
                  <a:pos x="connsiteX17516" y="connsiteY17516"/>
                </a:cxn>
                <a:cxn ang="0">
                  <a:pos x="connsiteX17517" y="connsiteY17517"/>
                </a:cxn>
                <a:cxn ang="0">
                  <a:pos x="connsiteX17518" y="connsiteY17518"/>
                </a:cxn>
                <a:cxn ang="0">
                  <a:pos x="connsiteX17519" y="connsiteY17519"/>
                </a:cxn>
                <a:cxn ang="0">
                  <a:pos x="connsiteX17520" y="connsiteY17520"/>
                </a:cxn>
                <a:cxn ang="0">
                  <a:pos x="connsiteX17521" y="connsiteY17521"/>
                </a:cxn>
                <a:cxn ang="0">
                  <a:pos x="connsiteX17522" y="connsiteY17522"/>
                </a:cxn>
                <a:cxn ang="0">
                  <a:pos x="connsiteX17523" y="connsiteY17523"/>
                </a:cxn>
                <a:cxn ang="0">
                  <a:pos x="connsiteX17524" y="connsiteY17524"/>
                </a:cxn>
                <a:cxn ang="0">
                  <a:pos x="connsiteX17525" y="connsiteY17525"/>
                </a:cxn>
                <a:cxn ang="0">
                  <a:pos x="connsiteX17526" y="connsiteY17526"/>
                </a:cxn>
                <a:cxn ang="0">
                  <a:pos x="connsiteX17527" y="connsiteY17527"/>
                </a:cxn>
                <a:cxn ang="0">
                  <a:pos x="connsiteX17528" y="connsiteY17528"/>
                </a:cxn>
                <a:cxn ang="0">
                  <a:pos x="connsiteX17529" y="connsiteY17529"/>
                </a:cxn>
                <a:cxn ang="0">
                  <a:pos x="connsiteX17530" y="connsiteY17530"/>
                </a:cxn>
                <a:cxn ang="0">
                  <a:pos x="connsiteX17531" y="connsiteY17531"/>
                </a:cxn>
                <a:cxn ang="0">
                  <a:pos x="connsiteX17532" y="connsiteY17532"/>
                </a:cxn>
                <a:cxn ang="0">
                  <a:pos x="connsiteX17533" y="connsiteY17533"/>
                </a:cxn>
                <a:cxn ang="0">
                  <a:pos x="connsiteX17534" y="connsiteY17534"/>
                </a:cxn>
                <a:cxn ang="0">
                  <a:pos x="connsiteX17535" y="connsiteY17535"/>
                </a:cxn>
                <a:cxn ang="0">
                  <a:pos x="connsiteX17536" y="connsiteY17536"/>
                </a:cxn>
                <a:cxn ang="0">
                  <a:pos x="connsiteX17537" y="connsiteY17537"/>
                </a:cxn>
                <a:cxn ang="0">
                  <a:pos x="connsiteX17538" y="connsiteY17538"/>
                </a:cxn>
                <a:cxn ang="0">
                  <a:pos x="connsiteX17539" y="connsiteY17539"/>
                </a:cxn>
                <a:cxn ang="0">
                  <a:pos x="connsiteX17540" y="connsiteY17540"/>
                </a:cxn>
                <a:cxn ang="0">
                  <a:pos x="connsiteX17541" y="connsiteY17541"/>
                </a:cxn>
                <a:cxn ang="0">
                  <a:pos x="connsiteX17542" y="connsiteY17542"/>
                </a:cxn>
                <a:cxn ang="0">
                  <a:pos x="connsiteX17543" y="connsiteY17543"/>
                </a:cxn>
                <a:cxn ang="0">
                  <a:pos x="connsiteX17544" y="connsiteY17544"/>
                </a:cxn>
                <a:cxn ang="0">
                  <a:pos x="connsiteX17545" y="connsiteY17545"/>
                </a:cxn>
                <a:cxn ang="0">
                  <a:pos x="connsiteX17546" y="connsiteY17546"/>
                </a:cxn>
                <a:cxn ang="0">
                  <a:pos x="connsiteX17547" y="connsiteY17547"/>
                </a:cxn>
                <a:cxn ang="0">
                  <a:pos x="connsiteX17548" y="connsiteY17548"/>
                </a:cxn>
                <a:cxn ang="0">
                  <a:pos x="connsiteX17549" y="connsiteY17549"/>
                </a:cxn>
                <a:cxn ang="0">
                  <a:pos x="connsiteX17550" y="connsiteY17550"/>
                </a:cxn>
                <a:cxn ang="0">
                  <a:pos x="connsiteX17551" y="connsiteY17551"/>
                </a:cxn>
                <a:cxn ang="0">
                  <a:pos x="connsiteX17552" y="connsiteY17552"/>
                </a:cxn>
                <a:cxn ang="0">
                  <a:pos x="connsiteX17553" y="connsiteY17553"/>
                </a:cxn>
                <a:cxn ang="0">
                  <a:pos x="connsiteX17554" y="connsiteY17554"/>
                </a:cxn>
                <a:cxn ang="0">
                  <a:pos x="connsiteX17555" y="connsiteY17555"/>
                </a:cxn>
                <a:cxn ang="0">
                  <a:pos x="connsiteX17556" y="connsiteY17556"/>
                </a:cxn>
                <a:cxn ang="0">
                  <a:pos x="connsiteX17557" y="connsiteY17557"/>
                </a:cxn>
                <a:cxn ang="0">
                  <a:pos x="connsiteX17558" y="connsiteY17558"/>
                </a:cxn>
                <a:cxn ang="0">
                  <a:pos x="connsiteX17559" y="connsiteY17559"/>
                </a:cxn>
                <a:cxn ang="0">
                  <a:pos x="connsiteX17560" y="connsiteY17560"/>
                </a:cxn>
                <a:cxn ang="0">
                  <a:pos x="connsiteX17561" y="connsiteY17561"/>
                </a:cxn>
                <a:cxn ang="0">
                  <a:pos x="connsiteX17562" y="connsiteY17562"/>
                </a:cxn>
                <a:cxn ang="0">
                  <a:pos x="connsiteX17563" y="connsiteY17563"/>
                </a:cxn>
                <a:cxn ang="0">
                  <a:pos x="connsiteX17564" y="connsiteY17564"/>
                </a:cxn>
                <a:cxn ang="0">
                  <a:pos x="connsiteX17565" y="connsiteY17565"/>
                </a:cxn>
                <a:cxn ang="0">
                  <a:pos x="connsiteX17566" y="connsiteY17566"/>
                </a:cxn>
                <a:cxn ang="0">
                  <a:pos x="connsiteX17567" y="connsiteY17567"/>
                </a:cxn>
                <a:cxn ang="0">
                  <a:pos x="connsiteX17568" y="connsiteY17568"/>
                </a:cxn>
                <a:cxn ang="0">
                  <a:pos x="connsiteX17569" y="connsiteY17569"/>
                </a:cxn>
                <a:cxn ang="0">
                  <a:pos x="connsiteX17570" y="connsiteY17570"/>
                </a:cxn>
                <a:cxn ang="0">
                  <a:pos x="connsiteX17571" y="connsiteY17571"/>
                </a:cxn>
                <a:cxn ang="0">
                  <a:pos x="connsiteX17572" y="connsiteY17572"/>
                </a:cxn>
                <a:cxn ang="0">
                  <a:pos x="connsiteX17573" y="connsiteY17573"/>
                </a:cxn>
                <a:cxn ang="0">
                  <a:pos x="connsiteX17574" y="connsiteY17574"/>
                </a:cxn>
                <a:cxn ang="0">
                  <a:pos x="connsiteX17575" y="connsiteY17575"/>
                </a:cxn>
                <a:cxn ang="0">
                  <a:pos x="connsiteX17576" y="connsiteY17576"/>
                </a:cxn>
                <a:cxn ang="0">
                  <a:pos x="connsiteX17577" y="connsiteY17577"/>
                </a:cxn>
                <a:cxn ang="0">
                  <a:pos x="connsiteX17578" y="connsiteY17578"/>
                </a:cxn>
                <a:cxn ang="0">
                  <a:pos x="connsiteX17579" y="connsiteY17579"/>
                </a:cxn>
                <a:cxn ang="0">
                  <a:pos x="connsiteX17580" y="connsiteY17580"/>
                </a:cxn>
                <a:cxn ang="0">
                  <a:pos x="connsiteX17581" y="connsiteY17581"/>
                </a:cxn>
                <a:cxn ang="0">
                  <a:pos x="connsiteX17582" y="connsiteY17582"/>
                </a:cxn>
                <a:cxn ang="0">
                  <a:pos x="connsiteX17583" y="connsiteY17583"/>
                </a:cxn>
                <a:cxn ang="0">
                  <a:pos x="connsiteX17584" y="connsiteY17584"/>
                </a:cxn>
                <a:cxn ang="0">
                  <a:pos x="connsiteX17585" y="connsiteY17585"/>
                </a:cxn>
                <a:cxn ang="0">
                  <a:pos x="connsiteX17586" y="connsiteY17586"/>
                </a:cxn>
                <a:cxn ang="0">
                  <a:pos x="connsiteX17587" y="connsiteY17587"/>
                </a:cxn>
                <a:cxn ang="0">
                  <a:pos x="connsiteX17588" y="connsiteY17588"/>
                </a:cxn>
                <a:cxn ang="0">
                  <a:pos x="connsiteX17589" y="connsiteY17589"/>
                </a:cxn>
                <a:cxn ang="0">
                  <a:pos x="connsiteX17590" y="connsiteY17590"/>
                </a:cxn>
                <a:cxn ang="0">
                  <a:pos x="connsiteX17591" y="connsiteY17591"/>
                </a:cxn>
                <a:cxn ang="0">
                  <a:pos x="connsiteX17592" y="connsiteY17592"/>
                </a:cxn>
                <a:cxn ang="0">
                  <a:pos x="connsiteX17593" y="connsiteY17593"/>
                </a:cxn>
                <a:cxn ang="0">
                  <a:pos x="connsiteX17594" y="connsiteY17594"/>
                </a:cxn>
                <a:cxn ang="0">
                  <a:pos x="connsiteX17595" y="connsiteY17595"/>
                </a:cxn>
                <a:cxn ang="0">
                  <a:pos x="connsiteX17596" y="connsiteY17596"/>
                </a:cxn>
                <a:cxn ang="0">
                  <a:pos x="connsiteX17597" y="connsiteY17597"/>
                </a:cxn>
                <a:cxn ang="0">
                  <a:pos x="connsiteX17598" y="connsiteY17598"/>
                </a:cxn>
                <a:cxn ang="0">
                  <a:pos x="connsiteX17599" y="connsiteY17599"/>
                </a:cxn>
                <a:cxn ang="0">
                  <a:pos x="connsiteX17600" y="connsiteY17600"/>
                </a:cxn>
                <a:cxn ang="0">
                  <a:pos x="connsiteX17601" y="connsiteY17601"/>
                </a:cxn>
                <a:cxn ang="0">
                  <a:pos x="connsiteX17602" y="connsiteY17602"/>
                </a:cxn>
                <a:cxn ang="0">
                  <a:pos x="connsiteX17603" y="connsiteY17603"/>
                </a:cxn>
                <a:cxn ang="0">
                  <a:pos x="connsiteX17604" y="connsiteY17604"/>
                </a:cxn>
                <a:cxn ang="0">
                  <a:pos x="connsiteX17605" y="connsiteY17605"/>
                </a:cxn>
                <a:cxn ang="0">
                  <a:pos x="connsiteX17606" y="connsiteY17606"/>
                </a:cxn>
                <a:cxn ang="0">
                  <a:pos x="connsiteX17607" y="connsiteY17607"/>
                </a:cxn>
                <a:cxn ang="0">
                  <a:pos x="connsiteX17608" y="connsiteY17608"/>
                </a:cxn>
                <a:cxn ang="0">
                  <a:pos x="connsiteX17609" y="connsiteY17609"/>
                </a:cxn>
                <a:cxn ang="0">
                  <a:pos x="connsiteX17610" y="connsiteY17610"/>
                </a:cxn>
                <a:cxn ang="0">
                  <a:pos x="connsiteX17611" y="connsiteY17611"/>
                </a:cxn>
                <a:cxn ang="0">
                  <a:pos x="connsiteX17612" y="connsiteY17612"/>
                </a:cxn>
                <a:cxn ang="0">
                  <a:pos x="connsiteX17613" y="connsiteY17613"/>
                </a:cxn>
                <a:cxn ang="0">
                  <a:pos x="connsiteX17614" y="connsiteY17614"/>
                </a:cxn>
                <a:cxn ang="0">
                  <a:pos x="connsiteX17615" y="connsiteY17615"/>
                </a:cxn>
                <a:cxn ang="0">
                  <a:pos x="connsiteX17616" y="connsiteY17616"/>
                </a:cxn>
                <a:cxn ang="0">
                  <a:pos x="connsiteX17617" y="connsiteY17617"/>
                </a:cxn>
                <a:cxn ang="0">
                  <a:pos x="connsiteX17618" y="connsiteY17618"/>
                </a:cxn>
                <a:cxn ang="0">
                  <a:pos x="connsiteX17619" y="connsiteY17619"/>
                </a:cxn>
                <a:cxn ang="0">
                  <a:pos x="connsiteX17620" y="connsiteY17620"/>
                </a:cxn>
                <a:cxn ang="0">
                  <a:pos x="connsiteX17621" y="connsiteY17621"/>
                </a:cxn>
                <a:cxn ang="0">
                  <a:pos x="connsiteX17622" y="connsiteY17622"/>
                </a:cxn>
                <a:cxn ang="0">
                  <a:pos x="connsiteX17623" y="connsiteY17623"/>
                </a:cxn>
                <a:cxn ang="0">
                  <a:pos x="connsiteX17624" y="connsiteY17624"/>
                </a:cxn>
                <a:cxn ang="0">
                  <a:pos x="connsiteX17625" y="connsiteY17625"/>
                </a:cxn>
                <a:cxn ang="0">
                  <a:pos x="connsiteX17626" y="connsiteY17626"/>
                </a:cxn>
                <a:cxn ang="0">
                  <a:pos x="connsiteX17627" y="connsiteY17627"/>
                </a:cxn>
                <a:cxn ang="0">
                  <a:pos x="connsiteX17628" y="connsiteY17628"/>
                </a:cxn>
                <a:cxn ang="0">
                  <a:pos x="connsiteX17629" y="connsiteY17629"/>
                </a:cxn>
                <a:cxn ang="0">
                  <a:pos x="connsiteX17630" y="connsiteY17630"/>
                </a:cxn>
                <a:cxn ang="0">
                  <a:pos x="connsiteX17631" y="connsiteY17631"/>
                </a:cxn>
                <a:cxn ang="0">
                  <a:pos x="connsiteX17632" y="connsiteY17632"/>
                </a:cxn>
                <a:cxn ang="0">
                  <a:pos x="connsiteX17633" y="connsiteY17633"/>
                </a:cxn>
                <a:cxn ang="0">
                  <a:pos x="connsiteX17634" y="connsiteY17634"/>
                </a:cxn>
                <a:cxn ang="0">
                  <a:pos x="connsiteX17635" y="connsiteY17635"/>
                </a:cxn>
                <a:cxn ang="0">
                  <a:pos x="connsiteX17636" y="connsiteY17636"/>
                </a:cxn>
                <a:cxn ang="0">
                  <a:pos x="connsiteX17637" y="connsiteY17637"/>
                </a:cxn>
                <a:cxn ang="0">
                  <a:pos x="connsiteX17638" y="connsiteY17638"/>
                </a:cxn>
                <a:cxn ang="0">
                  <a:pos x="connsiteX17639" y="connsiteY17639"/>
                </a:cxn>
                <a:cxn ang="0">
                  <a:pos x="connsiteX17640" y="connsiteY17640"/>
                </a:cxn>
                <a:cxn ang="0">
                  <a:pos x="connsiteX17641" y="connsiteY17641"/>
                </a:cxn>
                <a:cxn ang="0">
                  <a:pos x="connsiteX17642" y="connsiteY17642"/>
                </a:cxn>
                <a:cxn ang="0">
                  <a:pos x="connsiteX17643" y="connsiteY17643"/>
                </a:cxn>
                <a:cxn ang="0">
                  <a:pos x="connsiteX17644" y="connsiteY17644"/>
                </a:cxn>
                <a:cxn ang="0">
                  <a:pos x="connsiteX17645" y="connsiteY17645"/>
                </a:cxn>
                <a:cxn ang="0">
                  <a:pos x="connsiteX17646" y="connsiteY17646"/>
                </a:cxn>
                <a:cxn ang="0">
                  <a:pos x="connsiteX17647" y="connsiteY17647"/>
                </a:cxn>
                <a:cxn ang="0">
                  <a:pos x="connsiteX17648" y="connsiteY17648"/>
                </a:cxn>
                <a:cxn ang="0">
                  <a:pos x="connsiteX17649" y="connsiteY17649"/>
                </a:cxn>
                <a:cxn ang="0">
                  <a:pos x="connsiteX17650" y="connsiteY17650"/>
                </a:cxn>
                <a:cxn ang="0">
                  <a:pos x="connsiteX17651" y="connsiteY17651"/>
                </a:cxn>
                <a:cxn ang="0">
                  <a:pos x="connsiteX17652" y="connsiteY17652"/>
                </a:cxn>
                <a:cxn ang="0">
                  <a:pos x="connsiteX17653" y="connsiteY17653"/>
                </a:cxn>
                <a:cxn ang="0">
                  <a:pos x="connsiteX17654" y="connsiteY17654"/>
                </a:cxn>
                <a:cxn ang="0">
                  <a:pos x="connsiteX17655" y="connsiteY17655"/>
                </a:cxn>
                <a:cxn ang="0">
                  <a:pos x="connsiteX17656" y="connsiteY17656"/>
                </a:cxn>
                <a:cxn ang="0">
                  <a:pos x="connsiteX17657" y="connsiteY17657"/>
                </a:cxn>
                <a:cxn ang="0">
                  <a:pos x="connsiteX17658" y="connsiteY17658"/>
                </a:cxn>
                <a:cxn ang="0">
                  <a:pos x="connsiteX17659" y="connsiteY17659"/>
                </a:cxn>
                <a:cxn ang="0">
                  <a:pos x="connsiteX17660" y="connsiteY17660"/>
                </a:cxn>
                <a:cxn ang="0">
                  <a:pos x="connsiteX17661" y="connsiteY17661"/>
                </a:cxn>
                <a:cxn ang="0">
                  <a:pos x="connsiteX17662" y="connsiteY17662"/>
                </a:cxn>
                <a:cxn ang="0">
                  <a:pos x="connsiteX17663" y="connsiteY17663"/>
                </a:cxn>
                <a:cxn ang="0">
                  <a:pos x="connsiteX17664" y="connsiteY17664"/>
                </a:cxn>
                <a:cxn ang="0">
                  <a:pos x="connsiteX17665" y="connsiteY17665"/>
                </a:cxn>
                <a:cxn ang="0">
                  <a:pos x="connsiteX17666" y="connsiteY17666"/>
                </a:cxn>
                <a:cxn ang="0">
                  <a:pos x="connsiteX17667" y="connsiteY17667"/>
                </a:cxn>
                <a:cxn ang="0">
                  <a:pos x="connsiteX17668" y="connsiteY17668"/>
                </a:cxn>
                <a:cxn ang="0">
                  <a:pos x="connsiteX17669" y="connsiteY17669"/>
                </a:cxn>
                <a:cxn ang="0">
                  <a:pos x="connsiteX17670" y="connsiteY17670"/>
                </a:cxn>
                <a:cxn ang="0">
                  <a:pos x="connsiteX17671" y="connsiteY17671"/>
                </a:cxn>
                <a:cxn ang="0">
                  <a:pos x="connsiteX17672" y="connsiteY17672"/>
                </a:cxn>
                <a:cxn ang="0">
                  <a:pos x="connsiteX17673" y="connsiteY17673"/>
                </a:cxn>
                <a:cxn ang="0">
                  <a:pos x="connsiteX17674" y="connsiteY17674"/>
                </a:cxn>
                <a:cxn ang="0">
                  <a:pos x="connsiteX17675" y="connsiteY17675"/>
                </a:cxn>
                <a:cxn ang="0">
                  <a:pos x="connsiteX17676" y="connsiteY17676"/>
                </a:cxn>
                <a:cxn ang="0">
                  <a:pos x="connsiteX17677" y="connsiteY17677"/>
                </a:cxn>
                <a:cxn ang="0">
                  <a:pos x="connsiteX17678" y="connsiteY17678"/>
                </a:cxn>
                <a:cxn ang="0">
                  <a:pos x="connsiteX17679" y="connsiteY17679"/>
                </a:cxn>
                <a:cxn ang="0">
                  <a:pos x="connsiteX17680" y="connsiteY17680"/>
                </a:cxn>
                <a:cxn ang="0">
                  <a:pos x="connsiteX17681" y="connsiteY17681"/>
                </a:cxn>
                <a:cxn ang="0">
                  <a:pos x="connsiteX17682" y="connsiteY17682"/>
                </a:cxn>
                <a:cxn ang="0">
                  <a:pos x="connsiteX17683" y="connsiteY17683"/>
                </a:cxn>
                <a:cxn ang="0">
                  <a:pos x="connsiteX17684" y="connsiteY17684"/>
                </a:cxn>
                <a:cxn ang="0">
                  <a:pos x="connsiteX17685" y="connsiteY17685"/>
                </a:cxn>
                <a:cxn ang="0">
                  <a:pos x="connsiteX17686" y="connsiteY17686"/>
                </a:cxn>
                <a:cxn ang="0">
                  <a:pos x="connsiteX17687" y="connsiteY17687"/>
                </a:cxn>
                <a:cxn ang="0">
                  <a:pos x="connsiteX17688" y="connsiteY17688"/>
                </a:cxn>
                <a:cxn ang="0">
                  <a:pos x="connsiteX17689" y="connsiteY17689"/>
                </a:cxn>
                <a:cxn ang="0">
                  <a:pos x="connsiteX17690" y="connsiteY17690"/>
                </a:cxn>
                <a:cxn ang="0">
                  <a:pos x="connsiteX17691" y="connsiteY17691"/>
                </a:cxn>
                <a:cxn ang="0">
                  <a:pos x="connsiteX17692" y="connsiteY17692"/>
                </a:cxn>
                <a:cxn ang="0">
                  <a:pos x="connsiteX17693" y="connsiteY17693"/>
                </a:cxn>
                <a:cxn ang="0">
                  <a:pos x="connsiteX17694" y="connsiteY17694"/>
                </a:cxn>
                <a:cxn ang="0">
                  <a:pos x="connsiteX17695" y="connsiteY17695"/>
                </a:cxn>
                <a:cxn ang="0">
                  <a:pos x="connsiteX17696" y="connsiteY17696"/>
                </a:cxn>
                <a:cxn ang="0">
                  <a:pos x="connsiteX17697" y="connsiteY17697"/>
                </a:cxn>
                <a:cxn ang="0">
                  <a:pos x="connsiteX17698" y="connsiteY17698"/>
                </a:cxn>
                <a:cxn ang="0">
                  <a:pos x="connsiteX17699" y="connsiteY17699"/>
                </a:cxn>
                <a:cxn ang="0">
                  <a:pos x="connsiteX17700" y="connsiteY17700"/>
                </a:cxn>
                <a:cxn ang="0">
                  <a:pos x="connsiteX17701" y="connsiteY17701"/>
                </a:cxn>
                <a:cxn ang="0">
                  <a:pos x="connsiteX17702" y="connsiteY17702"/>
                </a:cxn>
                <a:cxn ang="0">
                  <a:pos x="connsiteX17703" y="connsiteY17703"/>
                </a:cxn>
                <a:cxn ang="0">
                  <a:pos x="connsiteX17704" y="connsiteY17704"/>
                </a:cxn>
                <a:cxn ang="0">
                  <a:pos x="connsiteX17705" y="connsiteY17705"/>
                </a:cxn>
                <a:cxn ang="0">
                  <a:pos x="connsiteX17706" y="connsiteY17706"/>
                </a:cxn>
                <a:cxn ang="0">
                  <a:pos x="connsiteX17707" y="connsiteY17707"/>
                </a:cxn>
                <a:cxn ang="0">
                  <a:pos x="connsiteX17708" y="connsiteY17708"/>
                </a:cxn>
                <a:cxn ang="0">
                  <a:pos x="connsiteX17709" y="connsiteY17709"/>
                </a:cxn>
                <a:cxn ang="0">
                  <a:pos x="connsiteX17710" y="connsiteY17710"/>
                </a:cxn>
                <a:cxn ang="0">
                  <a:pos x="connsiteX17711" y="connsiteY17711"/>
                </a:cxn>
                <a:cxn ang="0">
                  <a:pos x="connsiteX17712" y="connsiteY17712"/>
                </a:cxn>
                <a:cxn ang="0">
                  <a:pos x="connsiteX17713" y="connsiteY17713"/>
                </a:cxn>
                <a:cxn ang="0">
                  <a:pos x="connsiteX17714" y="connsiteY17714"/>
                </a:cxn>
                <a:cxn ang="0">
                  <a:pos x="connsiteX17715" y="connsiteY17715"/>
                </a:cxn>
                <a:cxn ang="0">
                  <a:pos x="connsiteX17716" y="connsiteY17716"/>
                </a:cxn>
                <a:cxn ang="0">
                  <a:pos x="connsiteX17717" y="connsiteY17717"/>
                </a:cxn>
                <a:cxn ang="0">
                  <a:pos x="connsiteX17718" y="connsiteY17718"/>
                </a:cxn>
                <a:cxn ang="0">
                  <a:pos x="connsiteX17719" y="connsiteY17719"/>
                </a:cxn>
                <a:cxn ang="0">
                  <a:pos x="connsiteX17720" y="connsiteY17720"/>
                </a:cxn>
                <a:cxn ang="0">
                  <a:pos x="connsiteX17721" y="connsiteY17721"/>
                </a:cxn>
                <a:cxn ang="0">
                  <a:pos x="connsiteX17722" y="connsiteY17722"/>
                </a:cxn>
                <a:cxn ang="0">
                  <a:pos x="connsiteX17723" y="connsiteY17723"/>
                </a:cxn>
                <a:cxn ang="0">
                  <a:pos x="connsiteX17724" y="connsiteY17724"/>
                </a:cxn>
                <a:cxn ang="0">
                  <a:pos x="connsiteX17725" y="connsiteY17725"/>
                </a:cxn>
                <a:cxn ang="0">
                  <a:pos x="connsiteX17726" y="connsiteY17726"/>
                </a:cxn>
                <a:cxn ang="0">
                  <a:pos x="connsiteX17727" y="connsiteY17727"/>
                </a:cxn>
                <a:cxn ang="0">
                  <a:pos x="connsiteX17728" y="connsiteY17728"/>
                </a:cxn>
                <a:cxn ang="0">
                  <a:pos x="connsiteX17729" y="connsiteY17729"/>
                </a:cxn>
                <a:cxn ang="0">
                  <a:pos x="connsiteX17730" y="connsiteY17730"/>
                </a:cxn>
                <a:cxn ang="0">
                  <a:pos x="connsiteX17731" y="connsiteY17731"/>
                </a:cxn>
                <a:cxn ang="0">
                  <a:pos x="connsiteX17732" y="connsiteY17732"/>
                </a:cxn>
                <a:cxn ang="0">
                  <a:pos x="connsiteX17733" y="connsiteY17733"/>
                </a:cxn>
                <a:cxn ang="0">
                  <a:pos x="connsiteX17734" y="connsiteY17734"/>
                </a:cxn>
                <a:cxn ang="0">
                  <a:pos x="connsiteX17735" y="connsiteY17735"/>
                </a:cxn>
                <a:cxn ang="0">
                  <a:pos x="connsiteX17736" y="connsiteY17736"/>
                </a:cxn>
                <a:cxn ang="0">
                  <a:pos x="connsiteX17737" y="connsiteY17737"/>
                </a:cxn>
                <a:cxn ang="0">
                  <a:pos x="connsiteX17738" y="connsiteY17738"/>
                </a:cxn>
                <a:cxn ang="0">
                  <a:pos x="connsiteX17739" y="connsiteY17739"/>
                </a:cxn>
                <a:cxn ang="0">
                  <a:pos x="connsiteX17740" y="connsiteY17740"/>
                </a:cxn>
                <a:cxn ang="0">
                  <a:pos x="connsiteX17741" y="connsiteY17741"/>
                </a:cxn>
                <a:cxn ang="0">
                  <a:pos x="connsiteX17742" y="connsiteY17742"/>
                </a:cxn>
                <a:cxn ang="0">
                  <a:pos x="connsiteX17743" y="connsiteY17743"/>
                </a:cxn>
                <a:cxn ang="0">
                  <a:pos x="connsiteX17744" y="connsiteY17744"/>
                </a:cxn>
                <a:cxn ang="0">
                  <a:pos x="connsiteX17745" y="connsiteY17745"/>
                </a:cxn>
                <a:cxn ang="0">
                  <a:pos x="connsiteX17746" y="connsiteY17746"/>
                </a:cxn>
                <a:cxn ang="0">
                  <a:pos x="connsiteX17747" y="connsiteY17747"/>
                </a:cxn>
                <a:cxn ang="0">
                  <a:pos x="connsiteX17748" y="connsiteY17748"/>
                </a:cxn>
                <a:cxn ang="0">
                  <a:pos x="connsiteX17749" y="connsiteY17749"/>
                </a:cxn>
                <a:cxn ang="0">
                  <a:pos x="connsiteX17750" y="connsiteY17750"/>
                </a:cxn>
                <a:cxn ang="0">
                  <a:pos x="connsiteX17751" y="connsiteY17751"/>
                </a:cxn>
                <a:cxn ang="0">
                  <a:pos x="connsiteX17752" y="connsiteY17752"/>
                </a:cxn>
                <a:cxn ang="0">
                  <a:pos x="connsiteX17753" y="connsiteY17753"/>
                </a:cxn>
                <a:cxn ang="0">
                  <a:pos x="connsiteX17754" y="connsiteY17754"/>
                </a:cxn>
                <a:cxn ang="0">
                  <a:pos x="connsiteX17755" y="connsiteY17755"/>
                </a:cxn>
                <a:cxn ang="0">
                  <a:pos x="connsiteX17756" y="connsiteY17756"/>
                </a:cxn>
                <a:cxn ang="0">
                  <a:pos x="connsiteX17757" y="connsiteY17757"/>
                </a:cxn>
                <a:cxn ang="0">
                  <a:pos x="connsiteX17758" y="connsiteY17758"/>
                </a:cxn>
                <a:cxn ang="0">
                  <a:pos x="connsiteX17759" y="connsiteY17759"/>
                </a:cxn>
                <a:cxn ang="0">
                  <a:pos x="connsiteX17760" y="connsiteY17760"/>
                </a:cxn>
                <a:cxn ang="0">
                  <a:pos x="connsiteX17761" y="connsiteY17761"/>
                </a:cxn>
                <a:cxn ang="0">
                  <a:pos x="connsiteX17762" y="connsiteY17762"/>
                </a:cxn>
                <a:cxn ang="0">
                  <a:pos x="connsiteX17763" y="connsiteY17763"/>
                </a:cxn>
                <a:cxn ang="0">
                  <a:pos x="connsiteX17764" y="connsiteY17764"/>
                </a:cxn>
                <a:cxn ang="0">
                  <a:pos x="connsiteX17765" y="connsiteY17765"/>
                </a:cxn>
                <a:cxn ang="0">
                  <a:pos x="connsiteX17766" y="connsiteY17766"/>
                </a:cxn>
                <a:cxn ang="0">
                  <a:pos x="connsiteX17767" y="connsiteY17767"/>
                </a:cxn>
                <a:cxn ang="0">
                  <a:pos x="connsiteX17768" y="connsiteY17768"/>
                </a:cxn>
                <a:cxn ang="0">
                  <a:pos x="connsiteX17769" y="connsiteY17769"/>
                </a:cxn>
                <a:cxn ang="0">
                  <a:pos x="connsiteX17770" y="connsiteY17770"/>
                </a:cxn>
                <a:cxn ang="0">
                  <a:pos x="connsiteX17771" y="connsiteY17771"/>
                </a:cxn>
                <a:cxn ang="0">
                  <a:pos x="connsiteX17772" y="connsiteY17772"/>
                </a:cxn>
                <a:cxn ang="0">
                  <a:pos x="connsiteX17773" y="connsiteY17773"/>
                </a:cxn>
                <a:cxn ang="0">
                  <a:pos x="connsiteX17774" y="connsiteY17774"/>
                </a:cxn>
                <a:cxn ang="0">
                  <a:pos x="connsiteX17775" y="connsiteY17775"/>
                </a:cxn>
                <a:cxn ang="0">
                  <a:pos x="connsiteX17776" y="connsiteY17776"/>
                </a:cxn>
                <a:cxn ang="0">
                  <a:pos x="connsiteX17777" y="connsiteY17777"/>
                </a:cxn>
                <a:cxn ang="0">
                  <a:pos x="connsiteX17778" y="connsiteY17778"/>
                </a:cxn>
                <a:cxn ang="0">
                  <a:pos x="connsiteX17779" y="connsiteY17779"/>
                </a:cxn>
                <a:cxn ang="0">
                  <a:pos x="connsiteX17780" y="connsiteY17780"/>
                </a:cxn>
                <a:cxn ang="0">
                  <a:pos x="connsiteX17781" y="connsiteY17781"/>
                </a:cxn>
                <a:cxn ang="0">
                  <a:pos x="connsiteX17782" y="connsiteY17782"/>
                </a:cxn>
                <a:cxn ang="0">
                  <a:pos x="connsiteX17783" y="connsiteY17783"/>
                </a:cxn>
                <a:cxn ang="0">
                  <a:pos x="connsiteX17784" y="connsiteY17784"/>
                </a:cxn>
                <a:cxn ang="0">
                  <a:pos x="connsiteX17785" y="connsiteY17785"/>
                </a:cxn>
                <a:cxn ang="0">
                  <a:pos x="connsiteX17786" y="connsiteY17786"/>
                </a:cxn>
                <a:cxn ang="0">
                  <a:pos x="connsiteX17787" y="connsiteY17787"/>
                </a:cxn>
                <a:cxn ang="0">
                  <a:pos x="connsiteX17788" y="connsiteY17788"/>
                </a:cxn>
                <a:cxn ang="0">
                  <a:pos x="connsiteX17789" y="connsiteY17789"/>
                </a:cxn>
                <a:cxn ang="0">
                  <a:pos x="connsiteX17790" y="connsiteY17790"/>
                </a:cxn>
                <a:cxn ang="0">
                  <a:pos x="connsiteX17791" y="connsiteY17791"/>
                </a:cxn>
                <a:cxn ang="0">
                  <a:pos x="connsiteX17792" y="connsiteY17792"/>
                </a:cxn>
                <a:cxn ang="0">
                  <a:pos x="connsiteX17793" y="connsiteY17793"/>
                </a:cxn>
                <a:cxn ang="0">
                  <a:pos x="connsiteX17794" y="connsiteY17794"/>
                </a:cxn>
                <a:cxn ang="0">
                  <a:pos x="connsiteX17795" y="connsiteY17795"/>
                </a:cxn>
                <a:cxn ang="0">
                  <a:pos x="connsiteX17796" y="connsiteY17796"/>
                </a:cxn>
                <a:cxn ang="0">
                  <a:pos x="connsiteX17797" y="connsiteY17797"/>
                </a:cxn>
                <a:cxn ang="0">
                  <a:pos x="connsiteX17798" y="connsiteY17798"/>
                </a:cxn>
                <a:cxn ang="0">
                  <a:pos x="connsiteX17799" y="connsiteY17799"/>
                </a:cxn>
                <a:cxn ang="0">
                  <a:pos x="connsiteX17800" y="connsiteY17800"/>
                </a:cxn>
                <a:cxn ang="0">
                  <a:pos x="connsiteX17801" y="connsiteY17801"/>
                </a:cxn>
                <a:cxn ang="0">
                  <a:pos x="connsiteX17802" y="connsiteY17802"/>
                </a:cxn>
                <a:cxn ang="0">
                  <a:pos x="connsiteX17803" y="connsiteY17803"/>
                </a:cxn>
                <a:cxn ang="0">
                  <a:pos x="connsiteX17804" y="connsiteY17804"/>
                </a:cxn>
                <a:cxn ang="0">
                  <a:pos x="connsiteX17805" y="connsiteY17805"/>
                </a:cxn>
                <a:cxn ang="0">
                  <a:pos x="connsiteX17806" y="connsiteY17806"/>
                </a:cxn>
                <a:cxn ang="0">
                  <a:pos x="connsiteX17807" y="connsiteY17807"/>
                </a:cxn>
                <a:cxn ang="0">
                  <a:pos x="connsiteX17808" y="connsiteY17808"/>
                </a:cxn>
                <a:cxn ang="0">
                  <a:pos x="connsiteX17809" y="connsiteY17809"/>
                </a:cxn>
                <a:cxn ang="0">
                  <a:pos x="connsiteX17810" y="connsiteY17810"/>
                </a:cxn>
                <a:cxn ang="0">
                  <a:pos x="connsiteX17811" y="connsiteY17811"/>
                </a:cxn>
                <a:cxn ang="0">
                  <a:pos x="connsiteX17812" y="connsiteY17812"/>
                </a:cxn>
                <a:cxn ang="0">
                  <a:pos x="connsiteX17813" y="connsiteY17813"/>
                </a:cxn>
                <a:cxn ang="0">
                  <a:pos x="connsiteX17814" y="connsiteY17814"/>
                </a:cxn>
                <a:cxn ang="0">
                  <a:pos x="connsiteX17815" y="connsiteY17815"/>
                </a:cxn>
                <a:cxn ang="0">
                  <a:pos x="connsiteX17816" y="connsiteY17816"/>
                </a:cxn>
                <a:cxn ang="0">
                  <a:pos x="connsiteX17817" y="connsiteY17817"/>
                </a:cxn>
                <a:cxn ang="0">
                  <a:pos x="connsiteX17818" y="connsiteY17818"/>
                </a:cxn>
                <a:cxn ang="0">
                  <a:pos x="connsiteX17819" y="connsiteY17819"/>
                </a:cxn>
                <a:cxn ang="0">
                  <a:pos x="connsiteX17820" y="connsiteY17820"/>
                </a:cxn>
                <a:cxn ang="0">
                  <a:pos x="connsiteX17821" y="connsiteY17821"/>
                </a:cxn>
                <a:cxn ang="0">
                  <a:pos x="connsiteX17822" y="connsiteY17822"/>
                </a:cxn>
                <a:cxn ang="0">
                  <a:pos x="connsiteX17823" y="connsiteY17823"/>
                </a:cxn>
                <a:cxn ang="0">
                  <a:pos x="connsiteX17824" y="connsiteY17824"/>
                </a:cxn>
                <a:cxn ang="0">
                  <a:pos x="connsiteX17825" y="connsiteY17825"/>
                </a:cxn>
                <a:cxn ang="0">
                  <a:pos x="connsiteX17826" y="connsiteY17826"/>
                </a:cxn>
                <a:cxn ang="0">
                  <a:pos x="connsiteX17827" y="connsiteY17827"/>
                </a:cxn>
                <a:cxn ang="0">
                  <a:pos x="connsiteX17828" y="connsiteY17828"/>
                </a:cxn>
                <a:cxn ang="0">
                  <a:pos x="connsiteX17829" y="connsiteY17829"/>
                </a:cxn>
                <a:cxn ang="0">
                  <a:pos x="connsiteX17830" y="connsiteY17830"/>
                </a:cxn>
                <a:cxn ang="0">
                  <a:pos x="connsiteX17831" y="connsiteY17831"/>
                </a:cxn>
                <a:cxn ang="0">
                  <a:pos x="connsiteX17832" y="connsiteY17832"/>
                </a:cxn>
                <a:cxn ang="0">
                  <a:pos x="connsiteX17833" y="connsiteY17833"/>
                </a:cxn>
                <a:cxn ang="0">
                  <a:pos x="connsiteX17834" y="connsiteY17834"/>
                </a:cxn>
                <a:cxn ang="0">
                  <a:pos x="connsiteX17835" y="connsiteY17835"/>
                </a:cxn>
                <a:cxn ang="0">
                  <a:pos x="connsiteX17836" y="connsiteY17836"/>
                </a:cxn>
                <a:cxn ang="0">
                  <a:pos x="connsiteX17837" y="connsiteY17837"/>
                </a:cxn>
                <a:cxn ang="0">
                  <a:pos x="connsiteX17838" y="connsiteY17838"/>
                </a:cxn>
                <a:cxn ang="0">
                  <a:pos x="connsiteX17839" y="connsiteY17839"/>
                </a:cxn>
                <a:cxn ang="0">
                  <a:pos x="connsiteX17840" y="connsiteY17840"/>
                </a:cxn>
                <a:cxn ang="0">
                  <a:pos x="connsiteX17841" y="connsiteY17841"/>
                </a:cxn>
                <a:cxn ang="0">
                  <a:pos x="connsiteX17842" y="connsiteY17842"/>
                </a:cxn>
                <a:cxn ang="0">
                  <a:pos x="connsiteX17843" y="connsiteY17843"/>
                </a:cxn>
                <a:cxn ang="0">
                  <a:pos x="connsiteX17844" y="connsiteY17844"/>
                </a:cxn>
                <a:cxn ang="0">
                  <a:pos x="connsiteX17845" y="connsiteY17845"/>
                </a:cxn>
                <a:cxn ang="0">
                  <a:pos x="connsiteX17846" y="connsiteY17846"/>
                </a:cxn>
                <a:cxn ang="0">
                  <a:pos x="connsiteX17847" y="connsiteY17847"/>
                </a:cxn>
                <a:cxn ang="0">
                  <a:pos x="connsiteX17848" y="connsiteY17848"/>
                </a:cxn>
                <a:cxn ang="0">
                  <a:pos x="connsiteX17849" y="connsiteY17849"/>
                </a:cxn>
                <a:cxn ang="0">
                  <a:pos x="connsiteX17850" y="connsiteY17850"/>
                </a:cxn>
                <a:cxn ang="0">
                  <a:pos x="connsiteX17851" y="connsiteY17851"/>
                </a:cxn>
                <a:cxn ang="0">
                  <a:pos x="connsiteX17852" y="connsiteY17852"/>
                </a:cxn>
                <a:cxn ang="0">
                  <a:pos x="connsiteX17853" y="connsiteY17853"/>
                </a:cxn>
                <a:cxn ang="0">
                  <a:pos x="connsiteX17854" y="connsiteY17854"/>
                </a:cxn>
                <a:cxn ang="0">
                  <a:pos x="connsiteX17855" y="connsiteY17855"/>
                </a:cxn>
                <a:cxn ang="0">
                  <a:pos x="connsiteX17856" y="connsiteY17856"/>
                </a:cxn>
                <a:cxn ang="0">
                  <a:pos x="connsiteX17857" y="connsiteY17857"/>
                </a:cxn>
                <a:cxn ang="0">
                  <a:pos x="connsiteX17858" y="connsiteY17858"/>
                </a:cxn>
                <a:cxn ang="0">
                  <a:pos x="connsiteX17859" y="connsiteY17859"/>
                </a:cxn>
                <a:cxn ang="0">
                  <a:pos x="connsiteX17860" y="connsiteY17860"/>
                </a:cxn>
                <a:cxn ang="0">
                  <a:pos x="connsiteX17861" y="connsiteY17861"/>
                </a:cxn>
                <a:cxn ang="0">
                  <a:pos x="connsiteX17862" y="connsiteY17862"/>
                </a:cxn>
                <a:cxn ang="0">
                  <a:pos x="connsiteX17863" y="connsiteY17863"/>
                </a:cxn>
                <a:cxn ang="0">
                  <a:pos x="connsiteX17864" y="connsiteY17864"/>
                </a:cxn>
                <a:cxn ang="0">
                  <a:pos x="connsiteX17865" y="connsiteY17865"/>
                </a:cxn>
                <a:cxn ang="0">
                  <a:pos x="connsiteX17866" y="connsiteY17866"/>
                </a:cxn>
                <a:cxn ang="0">
                  <a:pos x="connsiteX17867" y="connsiteY17867"/>
                </a:cxn>
                <a:cxn ang="0">
                  <a:pos x="connsiteX17868" y="connsiteY17868"/>
                </a:cxn>
                <a:cxn ang="0">
                  <a:pos x="connsiteX17869" y="connsiteY17869"/>
                </a:cxn>
                <a:cxn ang="0">
                  <a:pos x="connsiteX17870" y="connsiteY17870"/>
                </a:cxn>
                <a:cxn ang="0">
                  <a:pos x="connsiteX17871" y="connsiteY17871"/>
                </a:cxn>
                <a:cxn ang="0">
                  <a:pos x="connsiteX17872" y="connsiteY17872"/>
                </a:cxn>
                <a:cxn ang="0">
                  <a:pos x="connsiteX17873" y="connsiteY17873"/>
                </a:cxn>
                <a:cxn ang="0">
                  <a:pos x="connsiteX17874" y="connsiteY17874"/>
                </a:cxn>
                <a:cxn ang="0">
                  <a:pos x="connsiteX17875" y="connsiteY17875"/>
                </a:cxn>
                <a:cxn ang="0">
                  <a:pos x="connsiteX17876" y="connsiteY17876"/>
                </a:cxn>
                <a:cxn ang="0">
                  <a:pos x="connsiteX17877" y="connsiteY17877"/>
                </a:cxn>
                <a:cxn ang="0">
                  <a:pos x="connsiteX17878" y="connsiteY17878"/>
                </a:cxn>
                <a:cxn ang="0">
                  <a:pos x="connsiteX17879" y="connsiteY17879"/>
                </a:cxn>
                <a:cxn ang="0">
                  <a:pos x="connsiteX17880" y="connsiteY17880"/>
                </a:cxn>
                <a:cxn ang="0">
                  <a:pos x="connsiteX17881" y="connsiteY17881"/>
                </a:cxn>
                <a:cxn ang="0">
                  <a:pos x="connsiteX17882" y="connsiteY17882"/>
                </a:cxn>
                <a:cxn ang="0">
                  <a:pos x="connsiteX17883" y="connsiteY17883"/>
                </a:cxn>
                <a:cxn ang="0">
                  <a:pos x="connsiteX17884" y="connsiteY17884"/>
                </a:cxn>
                <a:cxn ang="0">
                  <a:pos x="connsiteX17885" y="connsiteY17885"/>
                </a:cxn>
                <a:cxn ang="0">
                  <a:pos x="connsiteX17886" y="connsiteY17886"/>
                </a:cxn>
                <a:cxn ang="0">
                  <a:pos x="connsiteX17887" y="connsiteY17887"/>
                </a:cxn>
                <a:cxn ang="0">
                  <a:pos x="connsiteX17888" y="connsiteY17888"/>
                </a:cxn>
                <a:cxn ang="0">
                  <a:pos x="connsiteX17889" y="connsiteY17889"/>
                </a:cxn>
                <a:cxn ang="0">
                  <a:pos x="connsiteX17890" y="connsiteY17890"/>
                </a:cxn>
                <a:cxn ang="0">
                  <a:pos x="connsiteX17891" y="connsiteY17891"/>
                </a:cxn>
                <a:cxn ang="0">
                  <a:pos x="connsiteX17892" y="connsiteY17892"/>
                </a:cxn>
                <a:cxn ang="0">
                  <a:pos x="connsiteX17893" y="connsiteY17893"/>
                </a:cxn>
                <a:cxn ang="0">
                  <a:pos x="connsiteX17894" y="connsiteY17894"/>
                </a:cxn>
                <a:cxn ang="0">
                  <a:pos x="connsiteX17895" y="connsiteY17895"/>
                </a:cxn>
                <a:cxn ang="0">
                  <a:pos x="connsiteX17896" y="connsiteY17896"/>
                </a:cxn>
                <a:cxn ang="0">
                  <a:pos x="connsiteX17897" y="connsiteY17897"/>
                </a:cxn>
                <a:cxn ang="0">
                  <a:pos x="connsiteX17898" y="connsiteY17898"/>
                </a:cxn>
                <a:cxn ang="0">
                  <a:pos x="connsiteX17899" y="connsiteY17899"/>
                </a:cxn>
                <a:cxn ang="0">
                  <a:pos x="connsiteX17900" y="connsiteY17900"/>
                </a:cxn>
                <a:cxn ang="0">
                  <a:pos x="connsiteX17901" y="connsiteY17901"/>
                </a:cxn>
                <a:cxn ang="0">
                  <a:pos x="connsiteX17902" y="connsiteY17902"/>
                </a:cxn>
                <a:cxn ang="0">
                  <a:pos x="connsiteX17903" y="connsiteY17903"/>
                </a:cxn>
                <a:cxn ang="0">
                  <a:pos x="connsiteX17904" y="connsiteY17904"/>
                </a:cxn>
                <a:cxn ang="0">
                  <a:pos x="connsiteX17905" y="connsiteY17905"/>
                </a:cxn>
                <a:cxn ang="0">
                  <a:pos x="connsiteX17906" y="connsiteY17906"/>
                </a:cxn>
                <a:cxn ang="0">
                  <a:pos x="connsiteX17907" y="connsiteY17907"/>
                </a:cxn>
                <a:cxn ang="0">
                  <a:pos x="connsiteX17908" y="connsiteY17908"/>
                </a:cxn>
                <a:cxn ang="0">
                  <a:pos x="connsiteX17909" y="connsiteY17909"/>
                </a:cxn>
                <a:cxn ang="0">
                  <a:pos x="connsiteX17910" y="connsiteY17910"/>
                </a:cxn>
                <a:cxn ang="0">
                  <a:pos x="connsiteX17911" y="connsiteY17911"/>
                </a:cxn>
                <a:cxn ang="0">
                  <a:pos x="connsiteX17912" y="connsiteY17912"/>
                </a:cxn>
                <a:cxn ang="0">
                  <a:pos x="connsiteX17913" y="connsiteY17913"/>
                </a:cxn>
                <a:cxn ang="0">
                  <a:pos x="connsiteX17914" y="connsiteY17914"/>
                </a:cxn>
                <a:cxn ang="0">
                  <a:pos x="connsiteX17915" y="connsiteY17915"/>
                </a:cxn>
                <a:cxn ang="0">
                  <a:pos x="connsiteX17916" y="connsiteY17916"/>
                </a:cxn>
                <a:cxn ang="0">
                  <a:pos x="connsiteX17917" y="connsiteY17917"/>
                </a:cxn>
                <a:cxn ang="0">
                  <a:pos x="connsiteX17918" y="connsiteY17918"/>
                </a:cxn>
                <a:cxn ang="0">
                  <a:pos x="connsiteX17919" y="connsiteY17919"/>
                </a:cxn>
                <a:cxn ang="0">
                  <a:pos x="connsiteX17920" y="connsiteY17920"/>
                </a:cxn>
                <a:cxn ang="0">
                  <a:pos x="connsiteX17921" y="connsiteY17921"/>
                </a:cxn>
                <a:cxn ang="0">
                  <a:pos x="connsiteX17922" y="connsiteY17922"/>
                </a:cxn>
                <a:cxn ang="0">
                  <a:pos x="connsiteX17923" y="connsiteY17923"/>
                </a:cxn>
                <a:cxn ang="0">
                  <a:pos x="connsiteX17924" y="connsiteY17924"/>
                </a:cxn>
                <a:cxn ang="0">
                  <a:pos x="connsiteX17925" y="connsiteY17925"/>
                </a:cxn>
                <a:cxn ang="0">
                  <a:pos x="connsiteX17926" y="connsiteY17926"/>
                </a:cxn>
                <a:cxn ang="0">
                  <a:pos x="connsiteX17927" y="connsiteY17927"/>
                </a:cxn>
                <a:cxn ang="0">
                  <a:pos x="connsiteX17928" y="connsiteY17928"/>
                </a:cxn>
                <a:cxn ang="0">
                  <a:pos x="connsiteX17929" y="connsiteY17929"/>
                </a:cxn>
                <a:cxn ang="0">
                  <a:pos x="connsiteX17930" y="connsiteY17930"/>
                </a:cxn>
                <a:cxn ang="0">
                  <a:pos x="connsiteX17931" y="connsiteY17931"/>
                </a:cxn>
                <a:cxn ang="0">
                  <a:pos x="connsiteX17932" y="connsiteY17932"/>
                </a:cxn>
                <a:cxn ang="0">
                  <a:pos x="connsiteX17933" y="connsiteY17933"/>
                </a:cxn>
                <a:cxn ang="0">
                  <a:pos x="connsiteX17934" y="connsiteY17934"/>
                </a:cxn>
                <a:cxn ang="0">
                  <a:pos x="connsiteX17935" y="connsiteY17935"/>
                </a:cxn>
                <a:cxn ang="0">
                  <a:pos x="connsiteX17936" y="connsiteY17936"/>
                </a:cxn>
                <a:cxn ang="0">
                  <a:pos x="connsiteX17937" y="connsiteY17937"/>
                </a:cxn>
                <a:cxn ang="0">
                  <a:pos x="connsiteX17938" y="connsiteY17938"/>
                </a:cxn>
                <a:cxn ang="0">
                  <a:pos x="connsiteX17939" y="connsiteY17939"/>
                </a:cxn>
                <a:cxn ang="0">
                  <a:pos x="connsiteX17940" y="connsiteY17940"/>
                </a:cxn>
                <a:cxn ang="0">
                  <a:pos x="connsiteX17941" y="connsiteY17941"/>
                </a:cxn>
                <a:cxn ang="0">
                  <a:pos x="connsiteX17942" y="connsiteY17942"/>
                </a:cxn>
                <a:cxn ang="0">
                  <a:pos x="connsiteX17943" y="connsiteY17943"/>
                </a:cxn>
                <a:cxn ang="0">
                  <a:pos x="connsiteX17944" y="connsiteY17944"/>
                </a:cxn>
                <a:cxn ang="0">
                  <a:pos x="connsiteX17945" y="connsiteY17945"/>
                </a:cxn>
                <a:cxn ang="0">
                  <a:pos x="connsiteX17946" y="connsiteY17946"/>
                </a:cxn>
                <a:cxn ang="0">
                  <a:pos x="connsiteX17947" y="connsiteY17947"/>
                </a:cxn>
                <a:cxn ang="0">
                  <a:pos x="connsiteX17948" y="connsiteY17948"/>
                </a:cxn>
                <a:cxn ang="0">
                  <a:pos x="connsiteX17949" y="connsiteY17949"/>
                </a:cxn>
                <a:cxn ang="0">
                  <a:pos x="connsiteX17950" y="connsiteY17950"/>
                </a:cxn>
                <a:cxn ang="0">
                  <a:pos x="connsiteX17951" y="connsiteY17951"/>
                </a:cxn>
                <a:cxn ang="0">
                  <a:pos x="connsiteX17952" y="connsiteY17952"/>
                </a:cxn>
                <a:cxn ang="0">
                  <a:pos x="connsiteX17953" y="connsiteY17953"/>
                </a:cxn>
                <a:cxn ang="0">
                  <a:pos x="connsiteX17954" y="connsiteY17954"/>
                </a:cxn>
                <a:cxn ang="0">
                  <a:pos x="connsiteX17955" y="connsiteY17955"/>
                </a:cxn>
                <a:cxn ang="0">
                  <a:pos x="connsiteX17956" y="connsiteY17956"/>
                </a:cxn>
                <a:cxn ang="0">
                  <a:pos x="connsiteX17957" y="connsiteY17957"/>
                </a:cxn>
                <a:cxn ang="0">
                  <a:pos x="connsiteX17958" y="connsiteY17958"/>
                </a:cxn>
                <a:cxn ang="0">
                  <a:pos x="connsiteX17959" y="connsiteY17959"/>
                </a:cxn>
                <a:cxn ang="0">
                  <a:pos x="connsiteX17960" y="connsiteY17960"/>
                </a:cxn>
                <a:cxn ang="0">
                  <a:pos x="connsiteX17961" y="connsiteY17961"/>
                </a:cxn>
                <a:cxn ang="0">
                  <a:pos x="connsiteX17962" y="connsiteY17962"/>
                </a:cxn>
                <a:cxn ang="0">
                  <a:pos x="connsiteX17963" y="connsiteY17963"/>
                </a:cxn>
                <a:cxn ang="0">
                  <a:pos x="connsiteX17964" y="connsiteY17964"/>
                </a:cxn>
                <a:cxn ang="0">
                  <a:pos x="connsiteX17965" y="connsiteY17965"/>
                </a:cxn>
                <a:cxn ang="0">
                  <a:pos x="connsiteX17966" y="connsiteY17966"/>
                </a:cxn>
                <a:cxn ang="0">
                  <a:pos x="connsiteX17967" y="connsiteY17967"/>
                </a:cxn>
                <a:cxn ang="0">
                  <a:pos x="connsiteX17968" y="connsiteY17968"/>
                </a:cxn>
                <a:cxn ang="0">
                  <a:pos x="connsiteX17969" y="connsiteY17969"/>
                </a:cxn>
                <a:cxn ang="0">
                  <a:pos x="connsiteX17970" y="connsiteY17970"/>
                </a:cxn>
                <a:cxn ang="0">
                  <a:pos x="connsiteX17971" y="connsiteY17971"/>
                </a:cxn>
                <a:cxn ang="0">
                  <a:pos x="connsiteX17972" y="connsiteY17972"/>
                </a:cxn>
                <a:cxn ang="0">
                  <a:pos x="connsiteX17973" y="connsiteY17973"/>
                </a:cxn>
                <a:cxn ang="0">
                  <a:pos x="connsiteX17974" y="connsiteY17974"/>
                </a:cxn>
                <a:cxn ang="0">
                  <a:pos x="connsiteX17975" y="connsiteY17975"/>
                </a:cxn>
                <a:cxn ang="0">
                  <a:pos x="connsiteX17976" y="connsiteY17976"/>
                </a:cxn>
                <a:cxn ang="0">
                  <a:pos x="connsiteX17977" y="connsiteY17977"/>
                </a:cxn>
                <a:cxn ang="0">
                  <a:pos x="connsiteX17978" y="connsiteY17978"/>
                </a:cxn>
                <a:cxn ang="0">
                  <a:pos x="connsiteX17979" y="connsiteY17979"/>
                </a:cxn>
                <a:cxn ang="0">
                  <a:pos x="connsiteX17980" y="connsiteY17980"/>
                </a:cxn>
                <a:cxn ang="0">
                  <a:pos x="connsiteX17981" y="connsiteY17981"/>
                </a:cxn>
                <a:cxn ang="0">
                  <a:pos x="connsiteX17982" y="connsiteY17982"/>
                </a:cxn>
                <a:cxn ang="0">
                  <a:pos x="connsiteX17983" y="connsiteY17983"/>
                </a:cxn>
                <a:cxn ang="0">
                  <a:pos x="connsiteX17984" y="connsiteY17984"/>
                </a:cxn>
                <a:cxn ang="0">
                  <a:pos x="connsiteX17985" y="connsiteY17985"/>
                </a:cxn>
                <a:cxn ang="0">
                  <a:pos x="connsiteX17986" y="connsiteY17986"/>
                </a:cxn>
                <a:cxn ang="0">
                  <a:pos x="connsiteX17987" y="connsiteY17987"/>
                </a:cxn>
                <a:cxn ang="0">
                  <a:pos x="connsiteX17988" y="connsiteY17988"/>
                </a:cxn>
                <a:cxn ang="0">
                  <a:pos x="connsiteX17989" y="connsiteY17989"/>
                </a:cxn>
                <a:cxn ang="0">
                  <a:pos x="connsiteX17990" y="connsiteY17990"/>
                </a:cxn>
                <a:cxn ang="0">
                  <a:pos x="connsiteX17991" y="connsiteY17991"/>
                </a:cxn>
                <a:cxn ang="0">
                  <a:pos x="connsiteX17992" y="connsiteY17992"/>
                </a:cxn>
                <a:cxn ang="0">
                  <a:pos x="connsiteX17993" y="connsiteY17993"/>
                </a:cxn>
                <a:cxn ang="0">
                  <a:pos x="connsiteX17994" y="connsiteY17994"/>
                </a:cxn>
                <a:cxn ang="0">
                  <a:pos x="connsiteX17995" y="connsiteY17995"/>
                </a:cxn>
                <a:cxn ang="0">
                  <a:pos x="connsiteX17996" y="connsiteY17996"/>
                </a:cxn>
                <a:cxn ang="0">
                  <a:pos x="connsiteX17997" y="connsiteY17997"/>
                </a:cxn>
                <a:cxn ang="0">
                  <a:pos x="connsiteX17998" y="connsiteY17998"/>
                </a:cxn>
                <a:cxn ang="0">
                  <a:pos x="connsiteX17999" y="connsiteY17999"/>
                </a:cxn>
                <a:cxn ang="0">
                  <a:pos x="connsiteX18000" y="connsiteY18000"/>
                </a:cxn>
                <a:cxn ang="0">
                  <a:pos x="connsiteX18001" y="connsiteY18001"/>
                </a:cxn>
                <a:cxn ang="0">
                  <a:pos x="connsiteX18002" y="connsiteY18002"/>
                </a:cxn>
                <a:cxn ang="0">
                  <a:pos x="connsiteX18003" y="connsiteY18003"/>
                </a:cxn>
                <a:cxn ang="0">
                  <a:pos x="connsiteX18004" y="connsiteY18004"/>
                </a:cxn>
                <a:cxn ang="0">
                  <a:pos x="connsiteX18005" y="connsiteY18005"/>
                </a:cxn>
                <a:cxn ang="0">
                  <a:pos x="connsiteX18006" y="connsiteY18006"/>
                </a:cxn>
                <a:cxn ang="0">
                  <a:pos x="connsiteX18007" y="connsiteY18007"/>
                </a:cxn>
                <a:cxn ang="0">
                  <a:pos x="connsiteX18008" y="connsiteY18008"/>
                </a:cxn>
                <a:cxn ang="0">
                  <a:pos x="connsiteX18009" y="connsiteY18009"/>
                </a:cxn>
                <a:cxn ang="0">
                  <a:pos x="connsiteX18010" y="connsiteY18010"/>
                </a:cxn>
                <a:cxn ang="0">
                  <a:pos x="connsiteX18011" y="connsiteY18011"/>
                </a:cxn>
                <a:cxn ang="0">
                  <a:pos x="connsiteX18012" y="connsiteY18012"/>
                </a:cxn>
                <a:cxn ang="0">
                  <a:pos x="connsiteX18013" y="connsiteY18013"/>
                </a:cxn>
                <a:cxn ang="0">
                  <a:pos x="connsiteX18014" y="connsiteY18014"/>
                </a:cxn>
                <a:cxn ang="0">
                  <a:pos x="connsiteX18015" y="connsiteY18015"/>
                </a:cxn>
                <a:cxn ang="0">
                  <a:pos x="connsiteX18016" y="connsiteY18016"/>
                </a:cxn>
                <a:cxn ang="0">
                  <a:pos x="connsiteX18017" y="connsiteY18017"/>
                </a:cxn>
                <a:cxn ang="0">
                  <a:pos x="connsiteX18018" y="connsiteY18018"/>
                </a:cxn>
                <a:cxn ang="0">
                  <a:pos x="connsiteX18019" y="connsiteY18019"/>
                </a:cxn>
                <a:cxn ang="0">
                  <a:pos x="connsiteX18020" y="connsiteY18020"/>
                </a:cxn>
                <a:cxn ang="0">
                  <a:pos x="connsiteX18021" y="connsiteY18021"/>
                </a:cxn>
                <a:cxn ang="0">
                  <a:pos x="connsiteX18022" y="connsiteY18022"/>
                </a:cxn>
                <a:cxn ang="0">
                  <a:pos x="connsiteX18023" y="connsiteY18023"/>
                </a:cxn>
                <a:cxn ang="0">
                  <a:pos x="connsiteX18024" y="connsiteY18024"/>
                </a:cxn>
                <a:cxn ang="0">
                  <a:pos x="connsiteX18025" y="connsiteY18025"/>
                </a:cxn>
                <a:cxn ang="0">
                  <a:pos x="connsiteX18026" y="connsiteY18026"/>
                </a:cxn>
                <a:cxn ang="0">
                  <a:pos x="connsiteX18027" y="connsiteY18027"/>
                </a:cxn>
                <a:cxn ang="0">
                  <a:pos x="connsiteX18028" y="connsiteY18028"/>
                </a:cxn>
                <a:cxn ang="0">
                  <a:pos x="connsiteX18029" y="connsiteY18029"/>
                </a:cxn>
                <a:cxn ang="0">
                  <a:pos x="connsiteX18030" y="connsiteY18030"/>
                </a:cxn>
                <a:cxn ang="0">
                  <a:pos x="connsiteX18031" y="connsiteY18031"/>
                </a:cxn>
                <a:cxn ang="0">
                  <a:pos x="connsiteX18032" y="connsiteY18032"/>
                </a:cxn>
                <a:cxn ang="0">
                  <a:pos x="connsiteX18033" y="connsiteY18033"/>
                </a:cxn>
                <a:cxn ang="0">
                  <a:pos x="connsiteX18034" y="connsiteY18034"/>
                </a:cxn>
                <a:cxn ang="0">
                  <a:pos x="connsiteX18035" y="connsiteY18035"/>
                </a:cxn>
                <a:cxn ang="0">
                  <a:pos x="connsiteX18036" y="connsiteY18036"/>
                </a:cxn>
                <a:cxn ang="0">
                  <a:pos x="connsiteX18037" y="connsiteY18037"/>
                </a:cxn>
                <a:cxn ang="0">
                  <a:pos x="connsiteX18038" y="connsiteY18038"/>
                </a:cxn>
                <a:cxn ang="0">
                  <a:pos x="connsiteX18039" y="connsiteY18039"/>
                </a:cxn>
                <a:cxn ang="0">
                  <a:pos x="connsiteX18040" y="connsiteY18040"/>
                </a:cxn>
                <a:cxn ang="0">
                  <a:pos x="connsiteX18041" y="connsiteY18041"/>
                </a:cxn>
                <a:cxn ang="0">
                  <a:pos x="connsiteX18042" y="connsiteY18042"/>
                </a:cxn>
                <a:cxn ang="0">
                  <a:pos x="connsiteX18043" y="connsiteY18043"/>
                </a:cxn>
                <a:cxn ang="0">
                  <a:pos x="connsiteX18044" y="connsiteY18044"/>
                </a:cxn>
                <a:cxn ang="0">
                  <a:pos x="connsiteX18045" y="connsiteY18045"/>
                </a:cxn>
                <a:cxn ang="0">
                  <a:pos x="connsiteX18046" y="connsiteY18046"/>
                </a:cxn>
                <a:cxn ang="0">
                  <a:pos x="connsiteX18047" y="connsiteY18047"/>
                </a:cxn>
                <a:cxn ang="0">
                  <a:pos x="connsiteX18048" y="connsiteY18048"/>
                </a:cxn>
                <a:cxn ang="0">
                  <a:pos x="connsiteX18049" y="connsiteY18049"/>
                </a:cxn>
                <a:cxn ang="0">
                  <a:pos x="connsiteX18050" y="connsiteY18050"/>
                </a:cxn>
                <a:cxn ang="0">
                  <a:pos x="connsiteX18051" y="connsiteY18051"/>
                </a:cxn>
                <a:cxn ang="0">
                  <a:pos x="connsiteX18052" y="connsiteY18052"/>
                </a:cxn>
                <a:cxn ang="0">
                  <a:pos x="connsiteX18053" y="connsiteY18053"/>
                </a:cxn>
                <a:cxn ang="0">
                  <a:pos x="connsiteX18054" y="connsiteY18054"/>
                </a:cxn>
                <a:cxn ang="0">
                  <a:pos x="connsiteX18055" y="connsiteY18055"/>
                </a:cxn>
                <a:cxn ang="0">
                  <a:pos x="connsiteX18056" y="connsiteY18056"/>
                </a:cxn>
                <a:cxn ang="0">
                  <a:pos x="connsiteX18057" y="connsiteY18057"/>
                </a:cxn>
                <a:cxn ang="0">
                  <a:pos x="connsiteX18058" y="connsiteY18058"/>
                </a:cxn>
                <a:cxn ang="0">
                  <a:pos x="connsiteX18059" y="connsiteY18059"/>
                </a:cxn>
                <a:cxn ang="0">
                  <a:pos x="connsiteX18060" y="connsiteY18060"/>
                </a:cxn>
                <a:cxn ang="0">
                  <a:pos x="connsiteX18061" y="connsiteY18061"/>
                </a:cxn>
                <a:cxn ang="0">
                  <a:pos x="connsiteX18062" y="connsiteY18062"/>
                </a:cxn>
                <a:cxn ang="0">
                  <a:pos x="connsiteX18063" y="connsiteY18063"/>
                </a:cxn>
                <a:cxn ang="0">
                  <a:pos x="connsiteX18064" y="connsiteY18064"/>
                </a:cxn>
                <a:cxn ang="0">
                  <a:pos x="connsiteX18065" y="connsiteY18065"/>
                </a:cxn>
                <a:cxn ang="0">
                  <a:pos x="connsiteX18066" y="connsiteY18066"/>
                </a:cxn>
                <a:cxn ang="0">
                  <a:pos x="connsiteX18067" y="connsiteY18067"/>
                </a:cxn>
                <a:cxn ang="0">
                  <a:pos x="connsiteX18068" y="connsiteY18068"/>
                </a:cxn>
                <a:cxn ang="0">
                  <a:pos x="connsiteX18069" y="connsiteY18069"/>
                </a:cxn>
                <a:cxn ang="0">
                  <a:pos x="connsiteX18070" y="connsiteY18070"/>
                </a:cxn>
                <a:cxn ang="0">
                  <a:pos x="connsiteX18071" y="connsiteY18071"/>
                </a:cxn>
                <a:cxn ang="0">
                  <a:pos x="connsiteX18072" y="connsiteY18072"/>
                </a:cxn>
                <a:cxn ang="0">
                  <a:pos x="connsiteX18073" y="connsiteY18073"/>
                </a:cxn>
                <a:cxn ang="0">
                  <a:pos x="connsiteX18074" y="connsiteY18074"/>
                </a:cxn>
                <a:cxn ang="0">
                  <a:pos x="connsiteX18075" y="connsiteY18075"/>
                </a:cxn>
                <a:cxn ang="0">
                  <a:pos x="connsiteX18076" y="connsiteY18076"/>
                </a:cxn>
                <a:cxn ang="0">
                  <a:pos x="connsiteX18077" y="connsiteY18077"/>
                </a:cxn>
                <a:cxn ang="0">
                  <a:pos x="connsiteX18078" y="connsiteY18078"/>
                </a:cxn>
                <a:cxn ang="0">
                  <a:pos x="connsiteX18079" y="connsiteY18079"/>
                </a:cxn>
                <a:cxn ang="0">
                  <a:pos x="connsiteX18080" y="connsiteY18080"/>
                </a:cxn>
                <a:cxn ang="0">
                  <a:pos x="connsiteX18081" y="connsiteY18081"/>
                </a:cxn>
                <a:cxn ang="0">
                  <a:pos x="connsiteX18082" y="connsiteY18082"/>
                </a:cxn>
                <a:cxn ang="0">
                  <a:pos x="connsiteX18083" y="connsiteY18083"/>
                </a:cxn>
                <a:cxn ang="0">
                  <a:pos x="connsiteX18084" y="connsiteY18084"/>
                </a:cxn>
                <a:cxn ang="0">
                  <a:pos x="connsiteX18085" y="connsiteY18085"/>
                </a:cxn>
                <a:cxn ang="0">
                  <a:pos x="connsiteX18086" y="connsiteY18086"/>
                </a:cxn>
                <a:cxn ang="0">
                  <a:pos x="connsiteX18087" y="connsiteY18087"/>
                </a:cxn>
                <a:cxn ang="0">
                  <a:pos x="connsiteX18088" y="connsiteY18088"/>
                </a:cxn>
                <a:cxn ang="0">
                  <a:pos x="connsiteX18089" y="connsiteY18089"/>
                </a:cxn>
                <a:cxn ang="0">
                  <a:pos x="connsiteX18090" y="connsiteY18090"/>
                </a:cxn>
                <a:cxn ang="0">
                  <a:pos x="connsiteX18091" y="connsiteY18091"/>
                </a:cxn>
                <a:cxn ang="0">
                  <a:pos x="connsiteX18092" y="connsiteY18092"/>
                </a:cxn>
                <a:cxn ang="0">
                  <a:pos x="connsiteX18093" y="connsiteY18093"/>
                </a:cxn>
                <a:cxn ang="0">
                  <a:pos x="connsiteX18094" y="connsiteY18094"/>
                </a:cxn>
                <a:cxn ang="0">
                  <a:pos x="connsiteX18095" y="connsiteY18095"/>
                </a:cxn>
                <a:cxn ang="0">
                  <a:pos x="connsiteX18096" y="connsiteY18096"/>
                </a:cxn>
                <a:cxn ang="0">
                  <a:pos x="connsiteX18097" y="connsiteY18097"/>
                </a:cxn>
                <a:cxn ang="0">
                  <a:pos x="connsiteX18098" y="connsiteY18098"/>
                </a:cxn>
                <a:cxn ang="0">
                  <a:pos x="connsiteX18099" y="connsiteY18099"/>
                </a:cxn>
                <a:cxn ang="0">
                  <a:pos x="connsiteX18100" y="connsiteY18100"/>
                </a:cxn>
                <a:cxn ang="0">
                  <a:pos x="connsiteX18101" y="connsiteY18101"/>
                </a:cxn>
                <a:cxn ang="0">
                  <a:pos x="connsiteX18102" y="connsiteY18102"/>
                </a:cxn>
                <a:cxn ang="0">
                  <a:pos x="connsiteX18103" y="connsiteY18103"/>
                </a:cxn>
                <a:cxn ang="0">
                  <a:pos x="connsiteX18104" y="connsiteY18104"/>
                </a:cxn>
                <a:cxn ang="0">
                  <a:pos x="connsiteX18105" y="connsiteY18105"/>
                </a:cxn>
                <a:cxn ang="0">
                  <a:pos x="connsiteX18106" y="connsiteY18106"/>
                </a:cxn>
                <a:cxn ang="0">
                  <a:pos x="connsiteX18107" y="connsiteY18107"/>
                </a:cxn>
                <a:cxn ang="0">
                  <a:pos x="connsiteX18108" y="connsiteY18108"/>
                </a:cxn>
                <a:cxn ang="0">
                  <a:pos x="connsiteX18109" y="connsiteY18109"/>
                </a:cxn>
                <a:cxn ang="0">
                  <a:pos x="connsiteX18110" y="connsiteY18110"/>
                </a:cxn>
                <a:cxn ang="0">
                  <a:pos x="connsiteX18111" y="connsiteY18111"/>
                </a:cxn>
                <a:cxn ang="0">
                  <a:pos x="connsiteX18112" y="connsiteY18112"/>
                </a:cxn>
                <a:cxn ang="0">
                  <a:pos x="connsiteX18113" y="connsiteY18113"/>
                </a:cxn>
                <a:cxn ang="0">
                  <a:pos x="connsiteX18114" y="connsiteY18114"/>
                </a:cxn>
                <a:cxn ang="0">
                  <a:pos x="connsiteX18115" y="connsiteY18115"/>
                </a:cxn>
                <a:cxn ang="0">
                  <a:pos x="connsiteX18116" y="connsiteY18116"/>
                </a:cxn>
                <a:cxn ang="0">
                  <a:pos x="connsiteX18117" y="connsiteY18117"/>
                </a:cxn>
                <a:cxn ang="0">
                  <a:pos x="connsiteX18118" y="connsiteY18118"/>
                </a:cxn>
                <a:cxn ang="0">
                  <a:pos x="connsiteX18119" y="connsiteY18119"/>
                </a:cxn>
                <a:cxn ang="0">
                  <a:pos x="connsiteX18120" y="connsiteY18120"/>
                </a:cxn>
                <a:cxn ang="0">
                  <a:pos x="connsiteX18121" y="connsiteY18121"/>
                </a:cxn>
                <a:cxn ang="0">
                  <a:pos x="connsiteX18122" y="connsiteY18122"/>
                </a:cxn>
                <a:cxn ang="0">
                  <a:pos x="connsiteX18123" y="connsiteY18123"/>
                </a:cxn>
                <a:cxn ang="0">
                  <a:pos x="connsiteX18124" y="connsiteY18124"/>
                </a:cxn>
                <a:cxn ang="0">
                  <a:pos x="connsiteX18125" y="connsiteY18125"/>
                </a:cxn>
                <a:cxn ang="0">
                  <a:pos x="connsiteX18126" y="connsiteY18126"/>
                </a:cxn>
                <a:cxn ang="0">
                  <a:pos x="connsiteX18127" y="connsiteY18127"/>
                </a:cxn>
                <a:cxn ang="0">
                  <a:pos x="connsiteX18128" y="connsiteY18128"/>
                </a:cxn>
                <a:cxn ang="0">
                  <a:pos x="connsiteX18129" y="connsiteY18129"/>
                </a:cxn>
                <a:cxn ang="0">
                  <a:pos x="connsiteX18130" y="connsiteY18130"/>
                </a:cxn>
                <a:cxn ang="0">
                  <a:pos x="connsiteX18131" y="connsiteY18131"/>
                </a:cxn>
                <a:cxn ang="0">
                  <a:pos x="connsiteX18132" y="connsiteY18132"/>
                </a:cxn>
                <a:cxn ang="0">
                  <a:pos x="connsiteX18133" y="connsiteY18133"/>
                </a:cxn>
                <a:cxn ang="0">
                  <a:pos x="connsiteX18134" y="connsiteY18134"/>
                </a:cxn>
                <a:cxn ang="0">
                  <a:pos x="connsiteX18135" y="connsiteY18135"/>
                </a:cxn>
                <a:cxn ang="0">
                  <a:pos x="connsiteX18136" y="connsiteY18136"/>
                </a:cxn>
                <a:cxn ang="0">
                  <a:pos x="connsiteX18137" y="connsiteY18137"/>
                </a:cxn>
                <a:cxn ang="0">
                  <a:pos x="connsiteX18138" y="connsiteY18138"/>
                </a:cxn>
                <a:cxn ang="0">
                  <a:pos x="connsiteX18139" y="connsiteY18139"/>
                </a:cxn>
                <a:cxn ang="0">
                  <a:pos x="connsiteX18140" y="connsiteY18140"/>
                </a:cxn>
                <a:cxn ang="0">
                  <a:pos x="connsiteX18141" y="connsiteY18141"/>
                </a:cxn>
                <a:cxn ang="0">
                  <a:pos x="connsiteX18142" y="connsiteY18142"/>
                </a:cxn>
                <a:cxn ang="0">
                  <a:pos x="connsiteX18143" y="connsiteY18143"/>
                </a:cxn>
                <a:cxn ang="0">
                  <a:pos x="connsiteX18144" y="connsiteY18144"/>
                </a:cxn>
                <a:cxn ang="0">
                  <a:pos x="connsiteX18145" y="connsiteY18145"/>
                </a:cxn>
                <a:cxn ang="0">
                  <a:pos x="connsiteX18146" y="connsiteY18146"/>
                </a:cxn>
                <a:cxn ang="0">
                  <a:pos x="connsiteX18147" y="connsiteY18147"/>
                </a:cxn>
                <a:cxn ang="0">
                  <a:pos x="connsiteX18148" y="connsiteY18148"/>
                </a:cxn>
                <a:cxn ang="0">
                  <a:pos x="connsiteX18149" y="connsiteY18149"/>
                </a:cxn>
                <a:cxn ang="0">
                  <a:pos x="connsiteX18150" y="connsiteY18150"/>
                </a:cxn>
                <a:cxn ang="0">
                  <a:pos x="connsiteX18151" y="connsiteY18151"/>
                </a:cxn>
                <a:cxn ang="0">
                  <a:pos x="connsiteX18152" y="connsiteY18152"/>
                </a:cxn>
                <a:cxn ang="0">
                  <a:pos x="connsiteX18153" y="connsiteY18153"/>
                </a:cxn>
                <a:cxn ang="0">
                  <a:pos x="connsiteX18154" y="connsiteY18154"/>
                </a:cxn>
                <a:cxn ang="0">
                  <a:pos x="connsiteX18155" y="connsiteY18155"/>
                </a:cxn>
                <a:cxn ang="0">
                  <a:pos x="connsiteX18156" y="connsiteY18156"/>
                </a:cxn>
                <a:cxn ang="0">
                  <a:pos x="connsiteX18157" y="connsiteY18157"/>
                </a:cxn>
                <a:cxn ang="0">
                  <a:pos x="connsiteX18158" y="connsiteY18158"/>
                </a:cxn>
                <a:cxn ang="0">
                  <a:pos x="connsiteX18159" y="connsiteY18159"/>
                </a:cxn>
                <a:cxn ang="0">
                  <a:pos x="connsiteX18160" y="connsiteY18160"/>
                </a:cxn>
                <a:cxn ang="0">
                  <a:pos x="connsiteX18161" y="connsiteY18161"/>
                </a:cxn>
                <a:cxn ang="0">
                  <a:pos x="connsiteX18162" y="connsiteY18162"/>
                </a:cxn>
                <a:cxn ang="0">
                  <a:pos x="connsiteX18163" y="connsiteY18163"/>
                </a:cxn>
                <a:cxn ang="0">
                  <a:pos x="connsiteX18164" y="connsiteY18164"/>
                </a:cxn>
                <a:cxn ang="0">
                  <a:pos x="connsiteX18165" y="connsiteY18165"/>
                </a:cxn>
                <a:cxn ang="0">
                  <a:pos x="connsiteX18166" y="connsiteY18166"/>
                </a:cxn>
                <a:cxn ang="0">
                  <a:pos x="connsiteX18167" y="connsiteY18167"/>
                </a:cxn>
                <a:cxn ang="0">
                  <a:pos x="connsiteX18168" y="connsiteY18168"/>
                </a:cxn>
                <a:cxn ang="0">
                  <a:pos x="connsiteX18169" y="connsiteY18169"/>
                </a:cxn>
                <a:cxn ang="0">
                  <a:pos x="connsiteX18170" y="connsiteY18170"/>
                </a:cxn>
                <a:cxn ang="0">
                  <a:pos x="connsiteX18171" y="connsiteY18171"/>
                </a:cxn>
                <a:cxn ang="0">
                  <a:pos x="connsiteX18172" y="connsiteY18172"/>
                </a:cxn>
                <a:cxn ang="0">
                  <a:pos x="connsiteX18173" y="connsiteY18173"/>
                </a:cxn>
                <a:cxn ang="0">
                  <a:pos x="connsiteX18174" y="connsiteY18174"/>
                </a:cxn>
                <a:cxn ang="0">
                  <a:pos x="connsiteX18175" y="connsiteY18175"/>
                </a:cxn>
                <a:cxn ang="0">
                  <a:pos x="connsiteX18176" y="connsiteY18176"/>
                </a:cxn>
                <a:cxn ang="0">
                  <a:pos x="connsiteX18177" y="connsiteY18177"/>
                </a:cxn>
                <a:cxn ang="0">
                  <a:pos x="connsiteX18178" y="connsiteY18178"/>
                </a:cxn>
                <a:cxn ang="0">
                  <a:pos x="connsiteX18179" y="connsiteY18179"/>
                </a:cxn>
                <a:cxn ang="0">
                  <a:pos x="connsiteX18180" y="connsiteY18180"/>
                </a:cxn>
                <a:cxn ang="0">
                  <a:pos x="connsiteX18181" y="connsiteY18181"/>
                </a:cxn>
                <a:cxn ang="0">
                  <a:pos x="connsiteX18182" y="connsiteY18182"/>
                </a:cxn>
                <a:cxn ang="0">
                  <a:pos x="connsiteX18183" y="connsiteY18183"/>
                </a:cxn>
                <a:cxn ang="0">
                  <a:pos x="connsiteX18184" y="connsiteY18184"/>
                </a:cxn>
                <a:cxn ang="0">
                  <a:pos x="connsiteX18185" y="connsiteY18185"/>
                </a:cxn>
                <a:cxn ang="0">
                  <a:pos x="connsiteX18186" y="connsiteY18186"/>
                </a:cxn>
                <a:cxn ang="0">
                  <a:pos x="connsiteX18187" y="connsiteY18187"/>
                </a:cxn>
                <a:cxn ang="0">
                  <a:pos x="connsiteX18188" y="connsiteY18188"/>
                </a:cxn>
                <a:cxn ang="0">
                  <a:pos x="connsiteX18189" y="connsiteY18189"/>
                </a:cxn>
                <a:cxn ang="0">
                  <a:pos x="connsiteX18190" y="connsiteY18190"/>
                </a:cxn>
                <a:cxn ang="0">
                  <a:pos x="connsiteX18191" y="connsiteY18191"/>
                </a:cxn>
                <a:cxn ang="0">
                  <a:pos x="connsiteX18192" y="connsiteY18192"/>
                </a:cxn>
                <a:cxn ang="0">
                  <a:pos x="connsiteX18193" y="connsiteY18193"/>
                </a:cxn>
                <a:cxn ang="0">
                  <a:pos x="connsiteX18194" y="connsiteY18194"/>
                </a:cxn>
                <a:cxn ang="0">
                  <a:pos x="connsiteX18195" y="connsiteY18195"/>
                </a:cxn>
                <a:cxn ang="0">
                  <a:pos x="connsiteX18196" y="connsiteY18196"/>
                </a:cxn>
                <a:cxn ang="0">
                  <a:pos x="connsiteX18197" y="connsiteY18197"/>
                </a:cxn>
                <a:cxn ang="0">
                  <a:pos x="connsiteX18198" y="connsiteY18198"/>
                </a:cxn>
                <a:cxn ang="0">
                  <a:pos x="connsiteX18199" y="connsiteY18199"/>
                </a:cxn>
                <a:cxn ang="0">
                  <a:pos x="connsiteX18200" y="connsiteY18200"/>
                </a:cxn>
                <a:cxn ang="0">
                  <a:pos x="connsiteX18201" y="connsiteY18201"/>
                </a:cxn>
                <a:cxn ang="0">
                  <a:pos x="connsiteX18202" y="connsiteY18202"/>
                </a:cxn>
                <a:cxn ang="0">
                  <a:pos x="connsiteX18203" y="connsiteY18203"/>
                </a:cxn>
                <a:cxn ang="0">
                  <a:pos x="connsiteX18204" y="connsiteY18204"/>
                </a:cxn>
                <a:cxn ang="0">
                  <a:pos x="connsiteX18205" y="connsiteY18205"/>
                </a:cxn>
                <a:cxn ang="0">
                  <a:pos x="connsiteX18206" y="connsiteY18206"/>
                </a:cxn>
                <a:cxn ang="0">
                  <a:pos x="connsiteX18207" y="connsiteY18207"/>
                </a:cxn>
                <a:cxn ang="0">
                  <a:pos x="connsiteX18208" y="connsiteY18208"/>
                </a:cxn>
                <a:cxn ang="0">
                  <a:pos x="connsiteX18209" y="connsiteY18209"/>
                </a:cxn>
                <a:cxn ang="0">
                  <a:pos x="connsiteX18210" y="connsiteY18210"/>
                </a:cxn>
                <a:cxn ang="0">
                  <a:pos x="connsiteX18211" y="connsiteY18211"/>
                </a:cxn>
                <a:cxn ang="0">
                  <a:pos x="connsiteX18212" y="connsiteY18212"/>
                </a:cxn>
                <a:cxn ang="0">
                  <a:pos x="connsiteX18213" y="connsiteY18213"/>
                </a:cxn>
                <a:cxn ang="0">
                  <a:pos x="connsiteX18214" y="connsiteY18214"/>
                </a:cxn>
                <a:cxn ang="0">
                  <a:pos x="connsiteX18215" y="connsiteY18215"/>
                </a:cxn>
                <a:cxn ang="0">
                  <a:pos x="connsiteX18216" y="connsiteY18216"/>
                </a:cxn>
                <a:cxn ang="0">
                  <a:pos x="connsiteX18217" y="connsiteY18217"/>
                </a:cxn>
                <a:cxn ang="0">
                  <a:pos x="connsiteX18218" y="connsiteY18218"/>
                </a:cxn>
                <a:cxn ang="0">
                  <a:pos x="connsiteX18219" y="connsiteY18219"/>
                </a:cxn>
                <a:cxn ang="0">
                  <a:pos x="connsiteX18220" y="connsiteY18220"/>
                </a:cxn>
                <a:cxn ang="0">
                  <a:pos x="connsiteX18221" y="connsiteY18221"/>
                </a:cxn>
                <a:cxn ang="0">
                  <a:pos x="connsiteX18222" y="connsiteY18222"/>
                </a:cxn>
                <a:cxn ang="0">
                  <a:pos x="connsiteX18223" y="connsiteY18223"/>
                </a:cxn>
                <a:cxn ang="0">
                  <a:pos x="connsiteX18224" y="connsiteY18224"/>
                </a:cxn>
                <a:cxn ang="0">
                  <a:pos x="connsiteX18225" y="connsiteY18225"/>
                </a:cxn>
                <a:cxn ang="0">
                  <a:pos x="connsiteX18226" y="connsiteY18226"/>
                </a:cxn>
                <a:cxn ang="0">
                  <a:pos x="connsiteX18227" y="connsiteY18227"/>
                </a:cxn>
                <a:cxn ang="0">
                  <a:pos x="connsiteX18228" y="connsiteY18228"/>
                </a:cxn>
                <a:cxn ang="0">
                  <a:pos x="connsiteX18229" y="connsiteY18229"/>
                </a:cxn>
                <a:cxn ang="0">
                  <a:pos x="connsiteX18230" y="connsiteY18230"/>
                </a:cxn>
                <a:cxn ang="0">
                  <a:pos x="connsiteX18231" y="connsiteY18231"/>
                </a:cxn>
                <a:cxn ang="0">
                  <a:pos x="connsiteX18232" y="connsiteY18232"/>
                </a:cxn>
                <a:cxn ang="0">
                  <a:pos x="connsiteX18233" y="connsiteY18233"/>
                </a:cxn>
                <a:cxn ang="0">
                  <a:pos x="connsiteX18234" y="connsiteY18234"/>
                </a:cxn>
                <a:cxn ang="0">
                  <a:pos x="connsiteX18235" y="connsiteY18235"/>
                </a:cxn>
                <a:cxn ang="0">
                  <a:pos x="connsiteX18236" y="connsiteY18236"/>
                </a:cxn>
                <a:cxn ang="0">
                  <a:pos x="connsiteX18237" y="connsiteY18237"/>
                </a:cxn>
                <a:cxn ang="0">
                  <a:pos x="connsiteX18238" y="connsiteY18238"/>
                </a:cxn>
                <a:cxn ang="0">
                  <a:pos x="connsiteX18239" y="connsiteY18239"/>
                </a:cxn>
                <a:cxn ang="0">
                  <a:pos x="connsiteX18240" y="connsiteY18240"/>
                </a:cxn>
                <a:cxn ang="0">
                  <a:pos x="connsiteX18241" y="connsiteY18241"/>
                </a:cxn>
                <a:cxn ang="0">
                  <a:pos x="connsiteX18242" y="connsiteY18242"/>
                </a:cxn>
                <a:cxn ang="0">
                  <a:pos x="connsiteX18243" y="connsiteY18243"/>
                </a:cxn>
                <a:cxn ang="0">
                  <a:pos x="connsiteX18244" y="connsiteY18244"/>
                </a:cxn>
                <a:cxn ang="0">
                  <a:pos x="connsiteX18245" y="connsiteY18245"/>
                </a:cxn>
                <a:cxn ang="0">
                  <a:pos x="connsiteX18246" y="connsiteY18246"/>
                </a:cxn>
                <a:cxn ang="0">
                  <a:pos x="connsiteX18247" y="connsiteY18247"/>
                </a:cxn>
                <a:cxn ang="0">
                  <a:pos x="connsiteX18248" y="connsiteY18248"/>
                </a:cxn>
                <a:cxn ang="0">
                  <a:pos x="connsiteX18249" y="connsiteY18249"/>
                </a:cxn>
                <a:cxn ang="0">
                  <a:pos x="connsiteX18250" y="connsiteY18250"/>
                </a:cxn>
                <a:cxn ang="0">
                  <a:pos x="connsiteX18251" y="connsiteY18251"/>
                </a:cxn>
                <a:cxn ang="0">
                  <a:pos x="connsiteX18252" y="connsiteY18252"/>
                </a:cxn>
                <a:cxn ang="0">
                  <a:pos x="connsiteX18253" y="connsiteY18253"/>
                </a:cxn>
                <a:cxn ang="0">
                  <a:pos x="connsiteX18254" y="connsiteY18254"/>
                </a:cxn>
                <a:cxn ang="0">
                  <a:pos x="connsiteX18255" y="connsiteY18255"/>
                </a:cxn>
                <a:cxn ang="0">
                  <a:pos x="connsiteX18256" y="connsiteY18256"/>
                </a:cxn>
                <a:cxn ang="0">
                  <a:pos x="connsiteX18257" y="connsiteY18257"/>
                </a:cxn>
                <a:cxn ang="0">
                  <a:pos x="connsiteX18258" y="connsiteY18258"/>
                </a:cxn>
                <a:cxn ang="0">
                  <a:pos x="connsiteX18259" y="connsiteY18259"/>
                </a:cxn>
                <a:cxn ang="0">
                  <a:pos x="connsiteX18260" y="connsiteY18260"/>
                </a:cxn>
                <a:cxn ang="0">
                  <a:pos x="connsiteX18261" y="connsiteY18261"/>
                </a:cxn>
                <a:cxn ang="0">
                  <a:pos x="connsiteX18262" y="connsiteY18262"/>
                </a:cxn>
                <a:cxn ang="0">
                  <a:pos x="connsiteX18263" y="connsiteY18263"/>
                </a:cxn>
                <a:cxn ang="0">
                  <a:pos x="connsiteX18264" y="connsiteY18264"/>
                </a:cxn>
                <a:cxn ang="0">
                  <a:pos x="connsiteX18265" y="connsiteY18265"/>
                </a:cxn>
                <a:cxn ang="0">
                  <a:pos x="connsiteX18266" y="connsiteY18266"/>
                </a:cxn>
                <a:cxn ang="0">
                  <a:pos x="connsiteX18267" y="connsiteY18267"/>
                </a:cxn>
                <a:cxn ang="0">
                  <a:pos x="connsiteX18268" y="connsiteY18268"/>
                </a:cxn>
                <a:cxn ang="0">
                  <a:pos x="connsiteX18269" y="connsiteY18269"/>
                </a:cxn>
                <a:cxn ang="0">
                  <a:pos x="connsiteX18270" y="connsiteY18270"/>
                </a:cxn>
                <a:cxn ang="0">
                  <a:pos x="connsiteX18271" y="connsiteY18271"/>
                </a:cxn>
                <a:cxn ang="0">
                  <a:pos x="connsiteX18272" y="connsiteY18272"/>
                </a:cxn>
                <a:cxn ang="0">
                  <a:pos x="connsiteX18273" y="connsiteY18273"/>
                </a:cxn>
                <a:cxn ang="0">
                  <a:pos x="connsiteX18274" y="connsiteY18274"/>
                </a:cxn>
                <a:cxn ang="0">
                  <a:pos x="connsiteX18275" y="connsiteY18275"/>
                </a:cxn>
                <a:cxn ang="0">
                  <a:pos x="connsiteX18276" y="connsiteY18276"/>
                </a:cxn>
                <a:cxn ang="0">
                  <a:pos x="connsiteX18277" y="connsiteY18277"/>
                </a:cxn>
                <a:cxn ang="0">
                  <a:pos x="connsiteX18278" y="connsiteY18278"/>
                </a:cxn>
                <a:cxn ang="0">
                  <a:pos x="connsiteX18279" y="connsiteY18279"/>
                </a:cxn>
                <a:cxn ang="0">
                  <a:pos x="connsiteX18280" y="connsiteY18280"/>
                </a:cxn>
                <a:cxn ang="0">
                  <a:pos x="connsiteX18281" y="connsiteY18281"/>
                </a:cxn>
                <a:cxn ang="0">
                  <a:pos x="connsiteX18282" y="connsiteY18282"/>
                </a:cxn>
                <a:cxn ang="0">
                  <a:pos x="connsiteX18283" y="connsiteY18283"/>
                </a:cxn>
                <a:cxn ang="0">
                  <a:pos x="connsiteX18284" y="connsiteY18284"/>
                </a:cxn>
                <a:cxn ang="0">
                  <a:pos x="connsiteX18285" y="connsiteY18285"/>
                </a:cxn>
                <a:cxn ang="0">
                  <a:pos x="connsiteX18286" y="connsiteY18286"/>
                </a:cxn>
                <a:cxn ang="0">
                  <a:pos x="connsiteX18287" y="connsiteY18287"/>
                </a:cxn>
                <a:cxn ang="0">
                  <a:pos x="connsiteX18288" y="connsiteY18288"/>
                </a:cxn>
                <a:cxn ang="0">
                  <a:pos x="connsiteX18289" y="connsiteY18289"/>
                </a:cxn>
                <a:cxn ang="0">
                  <a:pos x="connsiteX18290" y="connsiteY18290"/>
                </a:cxn>
                <a:cxn ang="0">
                  <a:pos x="connsiteX18291" y="connsiteY18291"/>
                </a:cxn>
                <a:cxn ang="0">
                  <a:pos x="connsiteX18292" y="connsiteY18292"/>
                </a:cxn>
                <a:cxn ang="0">
                  <a:pos x="connsiteX18293" y="connsiteY18293"/>
                </a:cxn>
                <a:cxn ang="0">
                  <a:pos x="connsiteX18294" y="connsiteY18294"/>
                </a:cxn>
                <a:cxn ang="0">
                  <a:pos x="connsiteX18295" y="connsiteY18295"/>
                </a:cxn>
                <a:cxn ang="0">
                  <a:pos x="connsiteX18296" y="connsiteY18296"/>
                </a:cxn>
                <a:cxn ang="0">
                  <a:pos x="connsiteX18297" y="connsiteY18297"/>
                </a:cxn>
                <a:cxn ang="0">
                  <a:pos x="connsiteX18298" y="connsiteY18298"/>
                </a:cxn>
                <a:cxn ang="0">
                  <a:pos x="connsiteX18299" y="connsiteY18299"/>
                </a:cxn>
                <a:cxn ang="0">
                  <a:pos x="connsiteX18300" y="connsiteY18300"/>
                </a:cxn>
                <a:cxn ang="0">
                  <a:pos x="connsiteX18301" y="connsiteY18301"/>
                </a:cxn>
                <a:cxn ang="0">
                  <a:pos x="connsiteX18302" y="connsiteY18302"/>
                </a:cxn>
                <a:cxn ang="0">
                  <a:pos x="connsiteX18303" y="connsiteY18303"/>
                </a:cxn>
                <a:cxn ang="0">
                  <a:pos x="connsiteX18304" y="connsiteY18304"/>
                </a:cxn>
                <a:cxn ang="0">
                  <a:pos x="connsiteX18305" y="connsiteY18305"/>
                </a:cxn>
                <a:cxn ang="0">
                  <a:pos x="connsiteX18306" y="connsiteY18306"/>
                </a:cxn>
                <a:cxn ang="0">
                  <a:pos x="connsiteX18307" y="connsiteY18307"/>
                </a:cxn>
                <a:cxn ang="0">
                  <a:pos x="connsiteX18308" y="connsiteY18308"/>
                </a:cxn>
                <a:cxn ang="0">
                  <a:pos x="connsiteX18309" y="connsiteY18309"/>
                </a:cxn>
                <a:cxn ang="0">
                  <a:pos x="connsiteX18310" y="connsiteY18310"/>
                </a:cxn>
                <a:cxn ang="0">
                  <a:pos x="connsiteX18311" y="connsiteY18311"/>
                </a:cxn>
                <a:cxn ang="0">
                  <a:pos x="connsiteX18312" y="connsiteY18312"/>
                </a:cxn>
                <a:cxn ang="0">
                  <a:pos x="connsiteX18313" y="connsiteY18313"/>
                </a:cxn>
                <a:cxn ang="0">
                  <a:pos x="connsiteX18314" y="connsiteY18314"/>
                </a:cxn>
                <a:cxn ang="0">
                  <a:pos x="connsiteX18315" y="connsiteY18315"/>
                </a:cxn>
                <a:cxn ang="0">
                  <a:pos x="connsiteX18316" y="connsiteY18316"/>
                </a:cxn>
                <a:cxn ang="0">
                  <a:pos x="connsiteX18317" y="connsiteY18317"/>
                </a:cxn>
                <a:cxn ang="0">
                  <a:pos x="connsiteX18318" y="connsiteY18318"/>
                </a:cxn>
                <a:cxn ang="0">
                  <a:pos x="connsiteX18319" y="connsiteY18319"/>
                </a:cxn>
                <a:cxn ang="0">
                  <a:pos x="connsiteX18320" y="connsiteY18320"/>
                </a:cxn>
                <a:cxn ang="0">
                  <a:pos x="connsiteX18321" y="connsiteY18321"/>
                </a:cxn>
                <a:cxn ang="0">
                  <a:pos x="connsiteX18322" y="connsiteY18322"/>
                </a:cxn>
                <a:cxn ang="0">
                  <a:pos x="connsiteX18323" y="connsiteY18323"/>
                </a:cxn>
                <a:cxn ang="0">
                  <a:pos x="connsiteX18324" y="connsiteY18324"/>
                </a:cxn>
                <a:cxn ang="0">
                  <a:pos x="connsiteX18325" y="connsiteY18325"/>
                </a:cxn>
                <a:cxn ang="0">
                  <a:pos x="connsiteX18326" y="connsiteY18326"/>
                </a:cxn>
                <a:cxn ang="0">
                  <a:pos x="connsiteX18327" y="connsiteY18327"/>
                </a:cxn>
                <a:cxn ang="0">
                  <a:pos x="connsiteX18328" y="connsiteY18328"/>
                </a:cxn>
                <a:cxn ang="0">
                  <a:pos x="connsiteX18329" y="connsiteY18329"/>
                </a:cxn>
                <a:cxn ang="0">
                  <a:pos x="connsiteX18330" y="connsiteY18330"/>
                </a:cxn>
                <a:cxn ang="0">
                  <a:pos x="connsiteX18331" y="connsiteY18331"/>
                </a:cxn>
                <a:cxn ang="0">
                  <a:pos x="connsiteX18332" y="connsiteY18332"/>
                </a:cxn>
                <a:cxn ang="0">
                  <a:pos x="connsiteX18333" y="connsiteY18333"/>
                </a:cxn>
                <a:cxn ang="0">
                  <a:pos x="connsiteX18334" y="connsiteY18334"/>
                </a:cxn>
                <a:cxn ang="0">
                  <a:pos x="connsiteX18335" y="connsiteY18335"/>
                </a:cxn>
                <a:cxn ang="0">
                  <a:pos x="connsiteX18336" y="connsiteY18336"/>
                </a:cxn>
                <a:cxn ang="0">
                  <a:pos x="connsiteX18337" y="connsiteY18337"/>
                </a:cxn>
                <a:cxn ang="0">
                  <a:pos x="connsiteX18338" y="connsiteY18338"/>
                </a:cxn>
                <a:cxn ang="0">
                  <a:pos x="connsiteX18339" y="connsiteY18339"/>
                </a:cxn>
                <a:cxn ang="0">
                  <a:pos x="connsiteX18340" y="connsiteY18340"/>
                </a:cxn>
                <a:cxn ang="0">
                  <a:pos x="connsiteX18341" y="connsiteY18341"/>
                </a:cxn>
                <a:cxn ang="0">
                  <a:pos x="connsiteX18342" y="connsiteY18342"/>
                </a:cxn>
                <a:cxn ang="0">
                  <a:pos x="connsiteX18343" y="connsiteY18343"/>
                </a:cxn>
                <a:cxn ang="0">
                  <a:pos x="connsiteX18344" y="connsiteY18344"/>
                </a:cxn>
                <a:cxn ang="0">
                  <a:pos x="connsiteX18345" y="connsiteY18345"/>
                </a:cxn>
                <a:cxn ang="0">
                  <a:pos x="connsiteX18346" y="connsiteY18346"/>
                </a:cxn>
                <a:cxn ang="0">
                  <a:pos x="connsiteX18347" y="connsiteY18347"/>
                </a:cxn>
                <a:cxn ang="0">
                  <a:pos x="connsiteX18348" y="connsiteY18348"/>
                </a:cxn>
                <a:cxn ang="0">
                  <a:pos x="connsiteX18349" y="connsiteY18349"/>
                </a:cxn>
                <a:cxn ang="0">
                  <a:pos x="connsiteX18350" y="connsiteY18350"/>
                </a:cxn>
                <a:cxn ang="0">
                  <a:pos x="connsiteX18351" y="connsiteY18351"/>
                </a:cxn>
                <a:cxn ang="0">
                  <a:pos x="connsiteX18352" y="connsiteY18352"/>
                </a:cxn>
                <a:cxn ang="0">
                  <a:pos x="connsiteX18353" y="connsiteY18353"/>
                </a:cxn>
                <a:cxn ang="0">
                  <a:pos x="connsiteX18354" y="connsiteY18354"/>
                </a:cxn>
                <a:cxn ang="0">
                  <a:pos x="connsiteX18355" y="connsiteY18355"/>
                </a:cxn>
                <a:cxn ang="0">
                  <a:pos x="connsiteX18356" y="connsiteY18356"/>
                </a:cxn>
                <a:cxn ang="0">
                  <a:pos x="connsiteX18357" y="connsiteY18357"/>
                </a:cxn>
                <a:cxn ang="0">
                  <a:pos x="connsiteX18358" y="connsiteY18358"/>
                </a:cxn>
                <a:cxn ang="0">
                  <a:pos x="connsiteX18359" y="connsiteY18359"/>
                </a:cxn>
                <a:cxn ang="0">
                  <a:pos x="connsiteX18360" y="connsiteY18360"/>
                </a:cxn>
                <a:cxn ang="0">
                  <a:pos x="connsiteX18361" y="connsiteY18361"/>
                </a:cxn>
                <a:cxn ang="0">
                  <a:pos x="connsiteX18362" y="connsiteY18362"/>
                </a:cxn>
                <a:cxn ang="0">
                  <a:pos x="connsiteX18363" y="connsiteY18363"/>
                </a:cxn>
                <a:cxn ang="0">
                  <a:pos x="connsiteX18364" y="connsiteY18364"/>
                </a:cxn>
                <a:cxn ang="0">
                  <a:pos x="connsiteX18365" y="connsiteY18365"/>
                </a:cxn>
                <a:cxn ang="0">
                  <a:pos x="connsiteX18366" y="connsiteY18366"/>
                </a:cxn>
                <a:cxn ang="0">
                  <a:pos x="connsiteX18367" y="connsiteY18367"/>
                </a:cxn>
                <a:cxn ang="0">
                  <a:pos x="connsiteX18368" y="connsiteY18368"/>
                </a:cxn>
                <a:cxn ang="0">
                  <a:pos x="connsiteX18369" y="connsiteY18369"/>
                </a:cxn>
                <a:cxn ang="0">
                  <a:pos x="connsiteX18370" y="connsiteY18370"/>
                </a:cxn>
                <a:cxn ang="0">
                  <a:pos x="connsiteX18371" y="connsiteY18371"/>
                </a:cxn>
                <a:cxn ang="0">
                  <a:pos x="connsiteX18372" y="connsiteY18372"/>
                </a:cxn>
                <a:cxn ang="0">
                  <a:pos x="connsiteX18373" y="connsiteY18373"/>
                </a:cxn>
                <a:cxn ang="0">
                  <a:pos x="connsiteX18374" y="connsiteY18374"/>
                </a:cxn>
                <a:cxn ang="0">
                  <a:pos x="connsiteX18375" y="connsiteY18375"/>
                </a:cxn>
                <a:cxn ang="0">
                  <a:pos x="connsiteX18376" y="connsiteY18376"/>
                </a:cxn>
                <a:cxn ang="0">
                  <a:pos x="connsiteX18377" y="connsiteY18377"/>
                </a:cxn>
                <a:cxn ang="0">
                  <a:pos x="connsiteX18378" y="connsiteY18378"/>
                </a:cxn>
                <a:cxn ang="0">
                  <a:pos x="connsiteX18379" y="connsiteY18379"/>
                </a:cxn>
                <a:cxn ang="0">
                  <a:pos x="connsiteX18380" y="connsiteY18380"/>
                </a:cxn>
                <a:cxn ang="0">
                  <a:pos x="connsiteX18381" y="connsiteY18381"/>
                </a:cxn>
                <a:cxn ang="0">
                  <a:pos x="connsiteX18382" y="connsiteY18382"/>
                </a:cxn>
                <a:cxn ang="0">
                  <a:pos x="connsiteX18383" y="connsiteY18383"/>
                </a:cxn>
                <a:cxn ang="0">
                  <a:pos x="connsiteX18384" y="connsiteY18384"/>
                </a:cxn>
                <a:cxn ang="0">
                  <a:pos x="connsiteX18385" y="connsiteY18385"/>
                </a:cxn>
                <a:cxn ang="0">
                  <a:pos x="connsiteX18386" y="connsiteY18386"/>
                </a:cxn>
                <a:cxn ang="0">
                  <a:pos x="connsiteX18387" y="connsiteY18387"/>
                </a:cxn>
                <a:cxn ang="0">
                  <a:pos x="connsiteX18388" y="connsiteY18388"/>
                </a:cxn>
                <a:cxn ang="0">
                  <a:pos x="connsiteX18389" y="connsiteY18389"/>
                </a:cxn>
                <a:cxn ang="0">
                  <a:pos x="connsiteX18390" y="connsiteY18390"/>
                </a:cxn>
                <a:cxn ang="0">
                  <a:pos x="connsiteX18391" y="connsiteY18391"/>
                </a:cxn>
                <a:cxn ang="0">
                  <a:pos x="connsiteX18392" y="connsiteY18392"/>
                </a:cxn>
                <a:cxn ang="0">
                  <a:pos x="connsiteX18393" y="connsiteY18393"/>
                </a:cxn>
                <a:cxn ang="0">
                  <a:pos x="connsiteX18394" y="connsiteY18394"/>
                </a:cxn>
                <a:cxn ang="0">
                  <a:pos x="connsiteX18395" y="connsiteY18395"/>
                </a:cxn>
                <a:cxn ang="0">
                  <a:pos x="connsiteX18396" y="connsiteY18396"/>
                </a:cxn>
                <a:cxn ang="0">
                  <a:pos x="connsiteX18397" y="connsiteY18397"/>
                </a:cxn>
                <a:cxn ang="0">
                  <a:pos x="connsiteX18398" y="connsiteY18398"/>
                </a:cxn>
                <a:cxn ang="0">
                  <a:pos x="connsiteX18399" y="connsiteY18399"/>
                </a:cxn>
                <a:cxn ang="0">
                  <a:pos x="connsiteX18400" y="connsiteY18400"/>
                </a:cxn>
                <a:cxn ang="0">
                  <a:pos x="connsiteX18401" y="connsiteY18401"/>
                </a:cxn>
                <a:cxn ang="0">
                  <a:pos x="connsiteX18402" y="connsiteY18402"/>
                </a:cxn>
                <a:cxn ang="0">
                  <a:pos x="connsiteX18403" y="connsiteY18403"/>
                </a:cxn>
                <a:cxn ang="0">
                  <a:pos x="connsiteX18404" y="connsiteY18404"/>
                </a:cxn>
                <a:cxn ang="0">
                  <a:pos x="connsiteX18405" y="connsiteY18405"/>
                </a:cxn>
                <a:cxn ang="0">
                  <a:pos x="connsiteX18406" y="connsiteY18406"/>
                </a:cxn>
                <a:cxn ang="0">
                  <a:pos x="connsiteX18407" y="connsiteY18407"/>
                </a:cxn>
                <a:cxn ang="0">
                  <a:pos x="connsiteX18408" y="connsiteY18408"/>
                </a:cxn>
                <a:cxn ang="0">
                  <a:pos x="connsiteX18409" y="connsiteY18409"/>
                </a:cxn>
                <a:cxn ang="0">
                  <a:pos x="connsiteX18410" y="connsiteY18410"/>
                </a:cxn>
                <a:cxn ang="0">
                  <a:pos x="connsiteX18411" y="connsiteY18411"/>
                </a:cxn>
                <a:cxn ang="0">
                  <a:pos x="connsiteX18412" y="connsiteY18412"/>
                </a:cxn>
                <a:cxn ang="0">
                  <a:pos x="connsiteX18413" y="connsiteY18413"/>
                </a:cxn>
                <a:cxn ang="0">
                  <a:pos x="connsiteX18414" y="connsiteY18414"/>
                </a:cxn>
                <a:cxn ang="0">
                  <a:pos x="connsiteX18415" y="connsiteY18415"/>
                </a:cxn>
                <a:cxn ang="0">
                  <a:pos x="connsiteX18416" y="connsiteY18416"/>
                </a:cxn>
                <a:cxn ang="0">
                  <a:pos x="connsiteX18417" y="connsiteY18417"/>
                </a:cxn>
                <a:cxn ang="0">
                  <a:pos x="connsiteX18418" y="connsiteY18418"/>
                </a:cxn>
                <a:cxn ang="0">
                  <a:pos x="connsiteX18419" y="connsiteY18419"/>
                </a:cxn>
                <a:cxn ang="0">
                  <a:pos x="connsiteX18420" y="connsiteY18420"/>
                </a:cxn>
                <a:cxn ang="0">
                  <a:pos x="connsiteX18421" y="connsiteY18421"/>
                </a:cxn>
                <a:cxn ang="0">
                  <a:pos x="connsiteX18422" y="connsiteY18422"/>
                </a:cxn>
                <a:cxn ang="0">
                  <a:pos x="connsiteX18423" y="connsiteY18423"/>
                </a:cxn>
                <a:cxn ang="0">
                  <a:pos x="connsiteX18424" y="connsiteY18424"/>
                </a:cxn>
                <a:cxn ang="0">
                  <a:pos x="connsiteX18425" y="connsiteY18425"/>
                </a:cxn>
                <a:cxn ang="0">
                  <a:pos x="connsiteX18426" y="connsiteY18426"/>
                </a:cxn>
                <a:cxn ang="0">
                  <a:pos x="connsiteX18427" y="connsiteY18427"/>
                </a:cxn>
                <a:cxn ang="0">
                  <a:pos x="connsiteX18428" y="connsiteY18428"/>
                </a:cxn>
                <a:cxn ang="0">
                  <a:pos x="connsiteX18429" y="connsiteY18429"/>
                </a:cxn>
                <a:cxn ang="0">
                  <a:pos x="connsiteX18430" y="connsiteY18430"/>
                </a:cxn>
                <a:cxn ang="0">
                  <a:pos x="connsiteX18431" y="connsiteY18431"/>
                </a:cxn>
                <a:cxn ang="0">
                  <a:pos x="connsiteX18432" y="connsiteY18432"/>
                </a:cxn>
                <a:cxn ang="0">
                  <a:pos x="connsiteX18433" y="connsiteY18433"/>
                </a:cxn>
                <a:cxn ang="0">
                  <a:pos x="connsiteX18434" y="connsiteY18434"/>
                </a:cxn>
                <a:cxn ang="0">
                  <a:pos x="connsiteX18435" y="connsiteY18435"/>
                </a:cxn>
                <a:cxn ang="0">
                  <a:pos x="connsiteX18436" y="connsiteY18436"/>
                </a:cxn>
                <a:cxn ang="0">
                  <a:pos x="connsiteX18437" y="connsiteY18437"/>
                </a:cxn>
                <a:cxn ang="0">
                  <a:pos x="connsiteX18438" y="connsiteY18438"/>
                </a:cxn>
                <a:cxn ang="0">
                  <a:pos x="connsiteX18439" y="connsiteY18439"/>
                </a:cxn>
                <a:cxn ang="0">
                  <a:pos x="connsiteX18440" y="connsiteY18440"/>
                </a:cxn>
                <a:cxn ang="0">
                  <a:pos x="connsiteX18441" y="connsiteY18441"/>
                </a:cxn>
                <a:cxn ang="0">
                  <a:pos x="connsiteX18442" y="connsiteY18442"/>
                </a:cxn>
                <a:cxn ang="0">
                  <a:pos x="connsiteX18443" y="connsiteY18443"/>
                </a:cxn>
                <a:cxn ang="0">
                  <a:pos x="connsiteX18444" y="connsiteY18444"/>
                </a:cxn>
                <a:cxn ang="0">
                  <a:pos x="connsiteX18445" y="connsiteY18445"/>
                </a:cxn>
                <a:cxn ang="0">
                  <a:pos x="connsiteX18446" y="connsiteY18446"/>
                </a:cxn>
                <a:cxn ang="0">
                  <a:pos x="connsiteX18447" y="connsiteY18447"/>
                </a:cxn>
                <a:cxn ang="0">
                  <a:pos x="connsiteX18448" y="connsiteY18448"/>
                </a:cxn>
                <a:cxn ang="0">
                  <a:pos x="connsiteX18449" y="connsiteY18449"/>
                </a:cxn>
                <a:cxn ang="0">
                  <a:pos x="connsiteX18450" y="connsiteY18450"/>
                </a:cxn>
                <a:cxn ang="0">
                  <a:pos x="connsiteX18451" y="connsiteY18451"/>
                </a:cxn>
                <a:cxn ang="0">
                  <a:pos x="connsiteX18452" y="connsiteY18452"/>
                </a:cxn>
                <a:cxn ang="0">
                  <a:pos x="connsiteX18453" y="connsiteY18453"/>
                </a:cxn>
                <a:cxn ang="0">
                  <a:pos x="connsiteX18454" y="connsiteY18454"/>
                </a:cxn>
                <a:cxn ang="0">
                  <a:pos x="connsiteX18455" y="connsiteY18455"/>
                </a:cxn>
                <a:cxn ang="0">
                  <a:pos x="connsiteX18456" y="connsiteY18456"/>
                </a:cxn>
                <a:cxn ang="0">
                  <a:pos x="connsiteX18457" y="connsiteY18457"/>
                </a:cxn>
                <a:cxn ang="0">
                  <a:pos x="connsiteX18458" y="connsiteY18458"/>
                </a:cxn>
                <a:cxn ang="0">
                  <a:pos x="connsiteX18459" y="connsiteY18459"/>
                </a:cxn>
                <a:cxn ang="0">
                  <a:pos x="connsiteX18460" y="connsiteY18460"/>
                </a:cxn>
                <a:cxn ang="0">
                  <a:pos x="connsiteX18461" y="connsiteY18461"/>
                </a:cxn>
                <a:cxn ang="0">
                  <a:pos x="connsiteX18462" y="connsiteY18462"/>
                </a:cxn>
                <a:cxn ang="0">
                  <a:pos x="connsiteX18463" y="connsiteY18463"/>
                </a:cxn>
                <a:cxn ang="0">
                  <a:pos x="connsiteX18464" y="connsiteY18464"/>
                </a:cxn>
                <a:cxn ang="0">
                  <a:pos x="connsiteX18465" y="connsiteY18465"/>
                </a:cxn>
                <a:cxn ang="0">
                  <a:pos x="connsiteX18466" y="connsiteY18466"/>
                </a:cxn>
                <a:cxn ang="0">
                  <a:pos x="connsiteX18467" y="connsiteY18467"/>
                </a:cxn>
                <a:cxn ang="0">
                  <a:pos x="connsiteX18468" y="connsiteY18468"/>
                </a:cxn>
                <a:cxn ang="0">
                  <a:pos x="connsiteX18469" y="connsiteY18469"/>
                </a:cxn>
                <a:cxn ang="0">
                  <a:pos x="connsiteX18470" y="connsiteY18470"/>
                </a:cxn>
                <a:cxn ang="0">
                  <a:pos x="connsiteX18471" y="connsiteY18471"/>
                </a:cxn>
                <a:cxn ang="0">
                  <a:pos x="connsiteX18472" y="connsiteY18472"/>
                </a:cxn>
                <a:cxn ang="0">
                  <a:pos x="connsiteX18473" y="connsiteY18473"/>
                </a:cxn>
                <a:cxn ang="0">
                  <a:pos x="connsiteX18474" y="connsiteY18474"/>
                </a:cxn>
                <a:cxn ang="0">
                  <a:pos x="connsiteX18475" y="connsiteY18475"/>
                </a:cxn>
                <a:cxn ang="0">
                  <a:pos x="connsiteX18476" y="connsiteY18476"/>
                </a:cxn>
                <a:cxn ang="0">
                  <a:pos x="connsiteX18477" y="connsiteY18477"/>
                </a:cxn>
                <a:cxn ang="0">
                  <a:pos x="connsiteX18478" y="connsiteY18478"/>
                </a:cxn>
                <a:cxn ang="0">
                  <a:pos x="connsiteX18479" y="connsiteY18479"/>
                </a:cxn>
                <a:cxn ang="0">
                  <a:pos x="connsiteX18480" y="connsiteY18480"/>
                </a:cxn>
                <a:cxn ang="0">
                  <a:pos x="connsiteX18481" y="connsiteY18481"/>
                </a:cxn>
                <a:cxn ang="0">
                  <a:pos x="connsiteX18482" y="connsiteY18482"/>
                </a:cxn>
                <a:cxn ang="0">
                  <a:pos x="connsiteX18483" y="connsiteY18483"/>
                </a:cxn>
                <a:cxn ang="0">
                  <a:pos x="connsiteX18484" y="connsiteY18484"/>
                </a:cxn>
                <a:cxn ang="0">
                  <a:pos x="connsiteX18485" y="connsiteY18485"/>
                </a:cxn>
                <a:cxn ang="0">
                  <a:pos x="connsiteX18486" y="connsiteY18486"/>
                </a:cxn>
                <a:cxn ang="0">
                  <a:pos x="connsiteX18487" y="connsiteY18487"/>
                </a:cxn>
                <a:cxn ang="0">
                  <a:pos x="connsiteX18488" y="connsiteY18488"/>
                </a:cxn>
                <a:cxn ang="0">
                  <a:pos x="connsiteX18489" y="connsiteY18489"/>
                </a:cxn>
                <a:cxn ang="0">
                  <a:pos x="connsiteX18490" y="connsiteY18490"/>
                </a:cxn>
                <a:cxn ang="0">
                  <a:pos x="connsiteX18491" y="connsiteY18491"/>
                </a:cxn>
                <a:cxn ang="0">
                  <a:pos x="connsiteX18492" y="connsiteY18492"/>
                </a:cxn>
                <a:cxn ang="0">
                  <a:pos x="connsiteX18493" y="connsiteY18493"/>
                </a:cxn>
                <a:cxn ang="0">
                  <a:pos x="connsiteX18494" y="connsiteY18494"/>
                </a:cxn>
                <a:cxn ang="0">
                  <a:pos x="connsiteX18495" y="connsiteY18495"/>
                </a:cxn>
                <a:cxn ang="0">
                  <a:pos x="connsiteX18496" y="connsiteY18496"/>
                </a:cxn>
                <a:cxn ang="0">
                  <a:pos x="connsiteX18497" y="connsiteY18497"/>
                </a:cxn>
                <a:cxn ang="0">
                  <a:pos x="connsiteX18498" y="connsiteY18498"/>
                </a:cxn>
                <a:cxn ang="0">
                  <a:pos x="connsiteX18499" y="connsiteY18499"/>
                </a:cxn>
                <a:cxn ang="0">
                  <a:pos x="connsiteX18500" y="connsiteY18500"/>
                </a:cxn>
                <a:cxn ang="0">
                  <a:pos x="connsiteX18501" y="connsiteY18501"/>
                </a:cxn>
                <a:cxn ang="0">
                  <a:pos x="connsiteX18502" y="connsiteY18502"/>
                </a:cxn>
                <a:cxn ang="0">
                  <a:pos x="connsiteX18503" y="connsiteY18503"/>
                </a:cxn>
                <a:cxn ang="0">
                  <a:pos x="connsiteX18504" y="connsiteY18504"/>
                </a:cxn>
                <a:cxn ang="0">
                  <a:pos x="connsiteX18505" y="connsiteY18505"/>
                </a:cxn>
                <a:cxn ang="0">
                  <a:pos x="connsiteX18506" y="connsiteY18506"/>
                </a:cxn>
                <a:cxn ang="0">
                  <a:pos x="connsiteX18507" y="connsiteY18507"/>
                </a:cxn>
                <a:cxn ang="0">
                  <a:pos x="connsiteX18508" y="connsiteY18508"/>
                </a:cxn>
                <a:cxn ang="0">
                  <a:pos x="connsiteX18509" y="connsiteY18509"/>
                </a:cxn>
                <a:cxn ang="0">
                  <a:pos x="connsiteX18510" y="connsiteY18510"/>
                </a:cxn>
                <a:cxn ang="0">
                  <a:pos x="connsiteX18511" y="connsiteY18511"/>
                </a:cxn>
                <a:cxn ang="0">
                  <a:pos x="connsiteX18512" y="connsiteY18512"/>
                </a:cxn>
                <a:cxn ang="0">
                  <a:pos x="connsiteX18513" y="connsiteY18513"/>
                </a:cxn>
                <a:cxn ang="0">
                  <a:pos x="connsiteX18514" y="connsiteY18514"/>
                </a:cxn>
                <a:cxn ang="0">
                  <a:pos x="connsiteX18515" y="connsiteY18515"/>
                </a:cxn>
                <a:cxn ang="0">
                  <a:pos x="connsiteX18516" y="connsiteY18516"/>
                </a:cxn>
                <a:cxn ang="0">
                  <a:pos x="connsiteX18517" y="connsiteY18517"/>
                </a:cxn>
                <a:cxn ang="0">
                  <a:pos x="connsiteX18518" y="connsiteY18518"/>
                </a:cxn>
                <a:cxn ang="0">
                  <a:pos x="connsiteX18519" y="connsiteY18519"/>
                </a:cxn>
                <a:cxn ang="0">
                  <a:pos x="connsiteX18520" y="connsiteY18520"/>
                </a:cxn>
                <a:cxn ang="0">
                  <a:pos x="connsiteX18521" y="connsiteY18521"/>
                </a:cxn>
                <a:cxn ang="0">
                  <a:pos x="connsiteX18522" y="connsiteY18522"/>
                </a:cxn>
                <a:cxn ang="0">
                  <a:pos x="connsiteX18523" y="connsiteY18523"/>
                </a:cxn>
                <a:cxn ang="0">
                  <a:pos x="connsiteX18524" y="connsiteY18524"/>
                </a:cxn>
                <a:cxn ang="0">
                  <a:pos x="connsiteX18525" y="connsiteY18525"/>
                </a:cxn>
                <a:cxn ang="0">
                  <a:pos x="connsiteX18526" y="connsiteY18526"/>
                </a:cxn>
                <a:cxn ang="0">
                  <a:pos x="connsiteX18527" y="connsiteY18527"/>
                </a:cxn>
                <a:cxn ang="0">
                  <a:pos x="connsiteX18528" y="connsiteY18528"/>
                </a:cxn>
                <a:cxn ang="0">
                  <a:pos x="connsiteX18529" y="connsiteY18529"/>
                </a:cxn>
                <a:cxn ang="0">
                  <a:pos x="connsiteX18530" y="connsiteY18530"/>
                </a:cxn>
                <a:cxn ang="0">
                  <a:pos x="connsiteX18531" y="connsiteY18531"/>
                </a:cxn>
                <a:cxn ang="0">
                  <a:pos x="connsiteX18532" y="connsiteY18532"/>
                </a:cxn>
                <a:cxn ang="0">
                  <a:pos x="connsiteX18533" y="connsiteY18533"/>
                </a:cxn>
                <a:cxn ang="0">
                  <a:pos x="connsiteX18534" y="connsiteY18534"/>
                </a:cxn>
                <a:cxn ang="0">
                  <a:pos x="connsiteX18535" y="connsiteY18535"/>
                </a:cxn>
                <a:cxn ang="0">
                  <a:pos x="connsiteX18536" y="connsiteY18536"/>
                </a:cxn>
                <a:cxn ang="0">
                  <a:pos x="connsiteX18537" y="connsiteY18537"/>
                </a:cxn>
                <a:cxn ang="0">
                  <a:pos x="connsiteX18538" y="connsiteY18538"/>
                </a:cxn>
                <a:cxn ang="0">
                  <a:pos x="connsiteX18539" y="connsiteY18539"/>
                </a:cxn>
                <a:cxn ang="0">
                  <a:pos x="connsiteX18540" y="connsiteY18540"/>
                </a:cxn>
                <a:cxn ang="0">
                  <a:pos x="connsiteX18541" y="connsiteY18541"/>
                </a:cxn>
                <a:cxn ang="0">
                  <a:pos x="connsiteX18542" y="connsiteY18542"/>
                </a:cxn>
                <a:cxn ang="0">
                  <a:pos x="connsiteX18543" y="connsiteY18543"/>
                </a:cxn>
                <a:cxn ang="0">
                  <a:pos x="connsiteX18544" y="connsiteY18544"/>
                </a:cxn>
                <a:cxn ang="0">
                  <a:pos x="connsiteX18545" y="connsiteY18545"/>
                </a:cxn>
                <a:cxn ang="0">
                  <a:pos x="connsiteX18546" y="connsiteY18546"/>
                </a:cxn>
                <a:cxn ang="0">
                  <a:pos x="connsiteX18547" y="connsiteY18547"/>
                </a:cxn>
                <a:cxn ang="0">
                  <a:pos x="connsiteX18548" y="connsiteY18548"/>
                </a:cxn>
                <a:cxn ang="0">
                  <a:pos x="connsiteX18549" y="connsiteY18549"/>
                </a:cxn>
                <a:cxn ang="0">
                  <a:pos x="connsiteX18550" y="connsiteY18550"/>
                </a:cxn>
                <a:cxn ang="0">
                  <a:pos x="connsiteX18551" y="connsiteY18551"/>
                </a:cxn>
                <a:cxn ang="0">
                  <a:pos x="connsiteX18552" y="connsiteY18552"/>
                </a:cxn>
                <a:cxn ang="0">
                  <a:pos x="connsiteX18553" y="connsiteY18553"/>
                </a:cxn>
                <a:cxn ang="0">
                  <a:pos x="connsiteX18554" y="connsiteY18554"/>
                </a:cxn>
                <a:cxn ang="0">
                  <a:pos x="connsiteX18555" y="connsiteY18555"/>
                </a:cxn>
                <a:cxn ang="0">
                  <a:pos x="connsiteX18556" y="connsiteY18556"/>
                </a:cxn>
                <a:cxn ang="0">
                  <a:pos x="connsiteX18557" y="connsiteY18557"/>
                </a:cxn>
                <a:cxn ang="0">
                  <a:pos x="connsiteX18558" y="connsiteY18558"/>
                </a:cxn>
                <a:cxn ang="0">
                  <a:pos x="connsiteX18559" y="connsiteY18559"/>
                </a:cxn>
                <a:cxn ang="0">
                  <a:pos x="connsiteX18560" y="connsiteY18560"/>
                </a:cxn>
                <a:cxn ang="0">
                  <a:pos x="connsiteX18561" y="connsiteY18561"/>
                </a:cxn>
                <a:cxn ang="0">
                  <a:pos x="connsiteX18562" y="connsiteY18562"/>
                </a:cxn>
                <a:cxn ang="0">
                  <a:pos x="connsiteX18563" y="connsiteY18563"/>
                </a:cxn>
                <a:cxn ang="0">
                  <a:pos x="connsiteX18564" y="connsiteY18564"/>
                </a:cxn>
                <a:cxn ang="0">
                  <a:pos x="connsiteX18565" y="connsiteY18565"/>
                </a:cxn>
                <a:cxn ang="0">
                  <a:pos x="connsiteX18566" y="connsiteY18566"/>
                </a:cxn>
                <a:cxn ang="0">
                  <a:pos x="connsiteX18567" y="connsiteY18567"/>
                </a:cxn>
                <a:cxn ang="0">
                  <a:pos x="connsiteX18568" y="connsiteY18568"/>
                </a:cxn>
                <a:cxn ang="0">
                  <a:pos x="connsiteX18569" y="connsiteY18569"/>
                </a:cxn>
                <a:cxn ang="0">
                  <a:pos x="connsiteX18570" y="connsiteY18570"/>
                </a:cxn>
                <a:cxn ang="0">
                  <a:pos x="connsiteX18571" y="connsiteY18571"/>
                </a:cxn>
                <a:cxn ang="0">
                  <a:pos x="connsiteX18572" y="connsiteY18572"/>
                </a:cxn>
                <a:cxn ang="0">
                  <a:pos x="connsiteX18573" y="connsiteY18573"/>
                </a:cxn>
                <a:cxn ang="0">
                  <a:pos x="connsiteX18574" y="connsiteY18574"/>
                </a:cxn>
                <a:cxn ang="0">
                  <a:pos x="connsiteX18575" y="connsiteY18575"/>
                </a:cxn>
                <a:cxn ang="0">
                  <a:pos x="connsiteX18576" y="connsiteY18576"/>
                </a:cxn>
                <a:cxn ang="0">
                  <a:pos x="connsiteX18577" y="connsiteY18577"/>
                </a:cxn>
                <a:cxn ang="0">
                  <a:pos x="connsiteX18578" y="connsiteY18578"/>
                </a:cxn>
                <a:cxn ang="0">
                  <a:pos x="connsiteX18579" y="connsiteY18579"/>
                </a:cxn>
                <a:cxn ang="0">
                  <a:pos x="connsiteX18580" y="connsiteY18580"/>
                </a:cxn>
                <a:cxn ang="0">
                  <a:pos x="connsiteX18581" y="connsiteY18581"/>
                </a:cxn>
                <a:cxn ang="0">
                  <a:pos x="connsiteX18582" y="connsiteY18582"/>
                </a:cxn>
                <a:cxn ang="0">
                  <a:pos x="connsiteX18583" y="connsiteY18583"/>
                </a:cxn>
                <a:cxn ang="0">
                  <a:pos x="connsiteX18584" y="connsiteY18584"/>
                </a:cxn>
                <a:cxn ang="0">
                  <a:pos x="connsiteX18585" y="connsiteY18585"/>
                </a:cxn>
                <a:cxn ang="0">
                  <a:pos x="connsiteX18586" y="connsiteY18586"/>
                </a:cxn>
                <a:cxn ang="0">
                  <a:pos x="connsiteX18587" y="connsiteY18587"/>
                </a:cxn>
                <a:cxn ang="0">
                  <a:pos x="connsiteX18588" y="connsiteY18588"/>
                </a:cxn>
                <a:cxn ang="0">
                  <a:pos x="connsiteX18589" y="connsiteY18589"/>
                </a:cxn>
                <a:cxn ang="0">
                  <a:pos x="connsiteX18590" y="connsiteY18590"/>
                </a:cxn>
                <a:cxn ang="0">
                  <a:pos x="connsiteX18591" y="connsiteY18591"/>
                </a:cxn>
                <a:cxn ang="0">
                  <a:pos x="connsiteX18592" y="connsiteY18592"/>
                </a:cxn>
                <a:cxn ang="0">
                  <a:pos x="connsiteX18593" y="connsiteY18593"/>
                </a:cxn>
                <a:cxn ang="0">
                  <a:pos x="connsiteX18594" y="connsiteY18594"/>
                </a:cxn>
                <a:cxn ang="0">
                  <a:pos x="connsiteX18595" y="connsiteY18595"/>
                </a:cxn>
                <a:cxn ang="0">
                  <a:pos x="connsiteX18596" y="connsiteY18596"/>
                </a:cxn>
                <a:cxn ang="0">
                  <a:pos x="connsiteX18597" y="connsiteY18597"/>
                </a:cxn>
                <a:cxn ang="0">
                  <a:pos x="connsiteX18598" y="connsiteY18598"/>
                </a:cxn>
                <a:cxn ang="0">
                  <a:pos x="connsiteX18599" y="connsiteY18599"/>
                </a:cxn>
                <a:cxn ang="0">
                  <a:pos x="connsiteX18600" y="connsiteY18600"/>
                </a:cxn>
                <a:cxn ang="0">
                  <a:pos x="connsiteX18601" y="connsiteY18601"/>
                </a:cxn>
                <a:cxn ang="0">
                  <a:pos x="connsiteX18602" y="connsiteY18602"/>
                </a:cxn>
                <a:cxn ang="0">
                  <a:pos x="connsiteX18603" y="connsiteY18603"/>
                </a:cxn>
                <a:cxn ang="0">
                  <a:pos x="connsiteX18604" y="connsiteY18604"/>
                </a:cxn>
                <a:cxn ang="0">
                  <a:pos x="connsiteX18605" y="connsiteY18605"/>
                </a:cxn>
                <a:cxn ang="0">
                  <a:pos x="connsiteX18606" y="connsiteY18606"/>
                </a:cxn>
                <a:cxn ang="0">
                  <a:pos x="connsiteX18607" y="connsiteY18607"/>
                </a:cxn>
                <a:cxn ang="0">
                  <a:pos x="connsiteX18608" y="connsiteY18608"/>
                </a:cxn>
                <a:cxn ang="0">
                  <a:pos x="connsiteX18609" y="connsiteY18609"/>
                </a:cxn>
                <a:cxn ang="0">
                  <a:pos x="connsiteX18610" y="connsiteY18610"/>
                </a:cxn>
                <a:cxn ang="0">
                  <a:pos x="connsiteX18611" y="connsiteY18611"/>
                </a:cxn>
                <a:cxn ang="0">
                  <a:pos x="connsiteX18612" y="connsiteY18612"/>
                </a:cxn>
                <a:cxn ang="0">
                  <a:pos x="connsiteX18613" y="connsiteY18613"/>
                </a:cxn>
                <a:cxn ang="0">
                  <a:pos x="connsiteX18614" y="connsiteY18614"/>
                </a:cxn>
                <a:cxn ang="0">
                  <a:pos x="connsiteX18615" y="connsiteY18615"/>
                </a:cxn>
                <a:cxn ang="0">
                  <a:pos x="connsiteX18616" y="connsiteY18616"/>
                </a:cxn>
                <a:cxn ang="0">
                  <a:pos x="connsiteX18617" y="connsiteY18617"/>
                </a:cxn>
                <a:cxn ang="0">
                  <a:pos x="connsiteX18618" y="connsiteY18618"/>
                </a:cxn>
                <a:cxn ang="0">
                  <a:pos x="connsiteX18619" y="connsiteY18619"/>
                </a:cxn>
                <a:cxn ang="0">
                  <a:pos x="connsiteX18620" y="connsiteY18620"/>
                </a:cxn>
                <a:cxn ang="0">
                  <a:pos x="connsiteX18621" y="connsiteY18621"/>
                </a:cxn>
                <a:cxn ang="0">
                  <a:pos x="connsiteX18622" y="connsiteY18622"/>
                </a:cxn>
                <a:cxn ang="0">
                  <a:pos x="connsiteX18623" y="connsiteY18623"/>
                </a:cxn>
                <a:cxn ang="0">
                  <a:pos x="connsiteX18624" y="connsiteY18624"/>
                </a:cxn>
                <a:cxn ang="0">
                  <a:pos x="connsiteX18625" y="connsiteY18625"/>
                </a:cxn>
                <a:cxn ang="0">
                  <a:pos x="connsiteX18626" y="connsiteY18626"/>
                </a:cxn>
                <a:cxn ang="0">
                  <a:pos x="connsiteX18627" y="connsiteY18627"/>
                </a:cxn>
                <a:cxn ang="0">
                  <a:pos x="connsiteX18628" y="connsiteY18628"/>
                </a:cxn>
                <a:cxn ang="0">
                  <a:pos x="connsiteX18629" y="connsiteY18629"/>
                </a:cxn>
                <a:cxn ang="0">
                  <a:pos x="connsiteX18630" y="connsiteY18630"/>
                </a:cxn>
                <a:cxn ang="0">
                  <a:pos x="connsiteX18631" y="connsiteY18631"/>
                </a:cxn>
                <a:cxn ang="0">
                  <a:pos x="connsiteX18632" y="connsiteY18632"/>
                </a:cxn>
                <a:cxn ang="0">
                  <a:pos x="connsiteX18633" y="connsiteY18633"/>
                </a:cxn>
                <a:cxn ang="0">
                  <a:pos x="connsiteX18634" y="connsiteY18634"/>
                </a:cxn>
                <a:cxn ang="0">
                  <a:pos x="connsiteX18635" y="connsiteY18635"/>
                </a:cxn>
                <a:cxn ang="0">
                  <a:pos x="connsiteX18636" y="connsiteY18636"/>
                </a:cxn>
                <a:cxn ang="0">
                  <a:pos x="connsiteX18637" y="connsiteY18637"/>
                </a:cxn>
                <a:cxn ang="0">
                  <a:pos x="connsiteX18638" y="connsiteY18638"/>
                </a:cxn>
                <a:cxn ang="0">
                  <a:pos x="connsiteX18639" y="connsiteY18639"/>
                </a:cxn>
                <a:cxn ang="0">
                  <a:pos x="connsiteX18640" y="connsiteY18640"/>
                </a:cxn>
                <a:cxn ang="0">
                  <a:pos x="connsiteX18641" y="connsiteY18641"/>
                </a:cxn>
                <a:cxn ang="0">
                  <a:pos x="connsiteX18642" y="connsiteY18642"/>
                </a:cxn>
                <a:cxn ang="0">
                  <a:pos x="connsiteX18643" y="connsiteY18643"/>
                </a:cxn>
                <a:cxn ang="0">
                  <a:pos x="connsiteX18644" y="connsiteY18644"/>
                </a:cxn>
                <a:cxn ang="0">
                  <a:pos x="connsiteX18645" y="connsiteY18645"/>
                </a:cxn>
                <a:cxn ang="0">
                  <a:pos x="connsiteX18646" y="connsiteY18646"/>
                </a:cxn>
                <a:cxn ang="0">
                  <a:pos x="connsiteX18647" y="connsiteY18647"/>
                </a:cxn>
                <a:cxn ang="0">
                  <a:pos x="connsiteX18648" y="connsiteY18648"/>
                </a:cxn>
                <a:cxn ang="0">
                  <a:pos x="connsiteX18649" y="connsiteY18649"/>
                </a:cxn>
                <a:cxn ang="0">
                  <a:pos x="connsiteX18650" y="connsiteY18650"/>
                </a:cxn>
                <a:cxn ang="0">
                  <a:pos x="connsiteX18651" y="connsiteY18651"/>
                </a:cxn>
                <a:cxn ang="0">
                  <a:pos x="connsiteX18652" y="connsiteY18652"/>
                </a:cxn>
                <a:cxn ang="0">
                  <a:pos x="connsiteX18653" y="connsiteY18653"/>
                </a:cxn>
                <a:cxn ang="0">
                  <a:pos x="connsiteX18654" y="connsiteY18654"/>
                </a:cxn>
                <a:cxn ang="0">
                  <a:pos x="connsiteX18655" y="connsiteY18655"/>
                </a:cxn>
                <a:cxn ang="0">
                  <a:pos x="connsiteX18656" y="connsiteY18656"/>
                </a:cxn>
                <a:cxn ang="0">
                  <a:pos x="connsiteX18657" y="connsiteY18657"/>
                </a:cxn>
                <a:cxn ang="0">
                  <a:pos x="connsiteX18658" y="connsiteY18658"/>
                </a:cxn>
                <a:cxn ang="0">
                  <a:pos x="connsiteX18659" y="connsiteY18659"/>
                </a:cxn>
                <a:cxn ang="0">
                  <a:pos x="connsiteX18660" y="connsiteY18660"/>
                </a:cxn>
                <a:cxn ang="0">
                  <a:pos x="connsiteX18661" y="connsiteY18661"/>
                </a:cxn>
                <a:cxn ang="0">
                  <a:pos x="connsiteX18662" y="connsiteY18662"/>
                </a:cxn>
                <a:cxn ang="0">
                  <a:pos x="connsiteX18663" y="connsiteY18663"/>
                </a:cxn>
                <a:cxn ang="0">
                  <a:pos x="connsiteX18664" y="connsiteY18664"/>
                </a:cxn>
                <a:cxn ang="0">
                  <a:pos x="connsiteX18665" y="connsiteY18665"/>
                </a:cxn>
                <a:cxn ang="0">
                  <a:pos x="connsiteX18666" y="connsiteY18666"/>
                </a:cxn>
                <a:cxn ang="0">
                  <a:pos x="connsiteX18667" y="connsiteY18667"/>
                </a:cxn>
                <a:cxn ang="0">
                  <a:pos x="connsiteX18668" y="connsiteY18668"/>
                </a:cxn>
                <a:cxn ang="0">
                  <a:pos x="connsiteX18669" y="connsiteY18669"/>
                </a:cxn>
                <a:cxn ang="0">
                  <a:pos x="connsiteX18670" y="connsiteY18670"/>
                </a:cxn>
                <a:cxn ang="0">
                  <a:pos x="connsiteX18671" y="connsiteY18671"/>
                </a:cxn>
                <a:cxn ang="0">
                  <a:pos x="connsiteX18672" y="connsiteY18672"/>
                </a:cxn>
                <a:cxn ang="0">
                  <a:pos x="connsiteX18673" y="connsiteY18673"/>
                </a:cxn>
                <a:cxn ang="0">
                  <a:pos x="connsiteX18674" y="connsiteY18674"/>
                </a:cxn>
                <a:cxn ang="0">
                  <a:pos x="connsiteX18675" y="connsiteY18675"/>
                </a:cxn>
                <a:cxn ang="0">
                  <a:pos x="connsiteX18676" y="connsiteY18676"/>
                </a:cxn>
                <a:cxn ang="0">
                  <a:pos x="connsiteX18677" y="connsiteY18677"/>
                </a:cxn>
                <a:cxn ang="0">
                  <a:pos x="connsiteX18678" y="connsiteY18678"/>
                </a:cxn>
                <a:cxn ang="0">
                  <a:pos x="connsiteX18679" y="connsiteY18679"/>
                </a:cxn>
                <a:cxn ang="0">
                  <a:pos x="connsiteX18680" y="connsiteY18680"/>
                </a:cxn>
                <a:cxn ang="0">
                  <a:pos x="connsiteX18681" y="connsiteY18681"/>
                </a:cxn>
                <a:cxn ang="0">
                  <a:pos x="connsiteX18682" y="connsiteY18682"/>
                </a:cxn>
                <a:cxn ang="0">
                  <a:pos x="connsiteX18683" y="connsiteY18683"/>
                </a:cxn>
                <a:cxn ang="0">
                  <a:pos x="connsiteX18684" y="connsiteY18684"/>
                </a:cxn>
                <a:cxn ang="0">
                  <a:pos x="connsiteX18685" y="connsiteY18685"/>
                </a:cxn>
                <a:cxn ang="0">
                  <a:pos x="connsiteX18686" y="connsiteY18686"/>
                </a:cxn>
                <a:cxn ang="0">
                  <a:pos x="connsiteX18687" y="connsiteY18687"/>
                </a:cxn>
                <a:cxn ang="0">
                  <a:pos x="connsiteX18688" y="connsiteY18688"/>
                </a:cxn>
                <a:cxn ang="0">
                  <a:pos x="connsiteX18689" y="connsiteY18689"/>
                </a:cxn>
                <a:cxn ang="0">
                  <a:pos x="connsiteX18690" y="connsiteY18690"/>
                </a:cxn>
                <a:cxn ang="0">
                  <a:pos x="connsiteX18691" y="connsiteY18691"/>
                </a:cxn>
                <a:cxn ang="0">
                  <a:pos x="connsiteX18692" y="connsiteY18692"/>
                </a:cxn>
                <a:cxn ang="0">
                  <a:pos x="connsiteX18693" y="connsiteY18693"/>
                </a:cxn>
                <a:cxn ang="0">
                  <a:pos x="connsiteX18694" y="connsiteY18694"/>
                </a:cxn>
                <a:cxn ang="0">
                  <a:pos x="connsiteX18695" y="connsiteY18695"/>
                </a:cxn>
                <a:cxn ang="0">
                  <a:pos x="connsiteX18696" y="connsiteY18696"/>
                </a:cxn>
                <a:cxn ang="0">
                  <a:pos x="connsiteX18697" y="connsiteY18697"/>
                </a:cxn>
                <a:cxn ang="0">
                  <a:pos x="connsiteX18698" y="connsiteY18698"/>
                </a:cxn>
                <a:cxn ang="0">
                  <a:pos x="connsiteX18699" y="connsiteY18699"/>
                </a:cxn>
                <a:cxn ang="0">
                  <a:pos x="connsiteX18700" y="connsiteY18700"/>
                </a:cxn>
                <a:cxn ang="0">
                  <a:pos x="connsiteX18701" y="connsiteY18701"/>
                </a:cxn>
                <a:cxn ang="0">
                  <a:pos x="connsiteX18702" y="connsiteY18702"/>
                </a:cxn>
                <a:cxn ang="0">
                  <a:pos x="connsiteX18703" y="connsiteY18703"/>
                </a:cxn>
                <a:cxn ang="0">
                  <a:pos x="connsiteX18704" y="connsiteY18704"/>
                </a:cxn>
                <a:cxn ang="0">
                  <a:pos x="connsiteX18705" y="connsiteY18705"/>
                </a:cxn>
                <a:cxn ang="0">
                  <a:pos x="connsiteX18706" y="connsiteY18706"/>
                </a:cxn>
                <a:cxn ang="0">
                  <a:pos x="connsiteX18707" y="connsiteY18707"/>
                </a:cxn>
                <a:cxn ang="0">
                  <a:pos x="connsiteX18708" y="connsiteY18708"/>
                </a:cxn>
                <a:cxn ang="0">
                  <a:pos x="connsiteX18709" y="connsiteY18709"/>
                </a:cxn>
                <a:cxn ang="0">
                  <a:pos x="connsiteX18710" y="connsiteY18710"/>
                </a:cxn>
                <a:cxn ang="0">
                  <a:pos x="connsiteX18711" y="connsiteY18711"/>
                </a:cxn>
                <a:cxn ang="0">
                  <a:pos x="connsiteX18712" y="connsiteY18712"/>
                </a:cxn>
                <a:cxn ang="0">
                  <a:pos x="connsiteX18713" y="connsiteY18713"/>
                </a:cxn>
                <a:cxn ang="0">
                  <a:pos x="connsiteX18714" y="connsiteY18714"/>
                </a:cxn>
                <a:cxn ang="0">
                  <a:pos x="connsiteX18715" y="connsiteY18715"/>
                </a:cxn>
                <a:cxn ang="0">
                  <a:pos x="connsiteX18716" y="connsiteY18716"/>
                </a:cxn>
                <a:cxn ang="0">
                  <a:pos x="connsiteX18717" y="connsiteY18717"/>
                </a:cxn>
                <a:cxn ang="0">
                  <a:pos x="connsiteX18718" y="connsiteY18718"/>
                </a:cxn>
                <a:cxn ang="0">
                  <a:pos x="connsiteX18719" y="connsiteY18719"/>
                </a:cxn>
                <a:cxn ang="0">
                  <a:pos x="connsiteX18720" y="connsiteY18720"/>
                </a:cxn>
                <a:cxn ang="0">
                  <a:pos x="connsiteX18721" y="connsiteY18721"/>
                </a:cxn>
                <a:cxn ang="0">
                  <a:pos x="connsiteX18722" y="connsiteY18722"/>
                </a:cxn>
                <a:cxn ang="0">
                  <a:pos x="connsiteX18723" y="connsiteY18723"/>
                </a:cxn>
                <a:cxn ang="0">
                  <a:pos x="connsiteX18724" y="connsiteY18724"/>
                </a:cxn>
                <a:cxn ang="0">
                  <a:pos x="connsiteX18725" y="connsiteY18725"/>
                </a:cxn>
                <a:cxn ang="0">
                  <a:pos x="connsiteX18726" y="connsiteY18726"/>
                </a:cxn>
                <a:cxn ang="0">
                  <a:pos x="connsiteX18727" y="connsiteY18727"/>
                </a:cxn>
                <a:cxn ang="0">
                  <a:pos x="connsiteX18728" y="connsiteY18728"/>
                </a:cxn>
                <a:cxn ang="0">
                  <a:pos x="connsiteX18729" y="connsiteY18729"/>
                </a:cxn>
                <a:cxn ang="0">
                  <a:pos x="connsiteX18730" y="connsiteY18730"/>
                </a:cxn>
                <a:cxn ang="0">
                  <a:pos x="connsiteX18731" y="connsiteY18731"/>
                </a:cxn>
                <a:cxn ang="0">
                  <a:pos x="connsiteX18732" y="connsiteY18732"/>
                </a:cxn>
                <a:cxn ang="0">
                  <a:pos x="connsiteX18733" y="connsiteY18733"/>
                </a:cxn>
                <a:cxn ang="0">
                  <a:pos x="connsiteX18734" y="connsiteY18734"/>
                </a:cxn>
                <a:cxn ang="0">
                  <a:pos x="connsiteX18735" y="connsiteY18735"/>
                </a:cxn>
                <a:cxn ang="0">
                  <a:pos x="connsiteX18736" y="connsiteY18736"/>
                </a:cxn>
                <a:cxn ang="0">
                  <a:pos x="connsiteX18737" y="connsiteY18737"/>
                </a:cxn>
                <a:cxn ang="0">
                  <a:pos x="connsiteX18738" y="connsiteY18738"/>
                </a:cxn>
                <a:cxn ang="0">
                  <a:pos x="connsiteX18739" y="connsiteY18739"/>
                </a:cxn>
                <a:cxn ang="0">
                  <a:pos x="connsiteX18740" y="connsiteY18740"/>
                </a:cxn>
                <a:cxn ang="0">
                  <a:pos x="connsiteX18741" y="connsiteY18741"/>
                </a:cxn>
                <a:cxn ang="0">
                  <a:pos x="connsiteX18742" y="connsiteY18742"/>
                </a:cxn>
                <a:cxn ang="0">
                  <a:pos x="connsiteX18743" y="connsiteY18743"/>
                </a:cxn>
                <a:cxn ang="0">
                  <a:pos x="connsiteX18744" y="connsiteY18744"/>
                </a:cxn>
                <a:cxn ang="0">
                  <a:pos x="connsiteX18745" y="connsiteY18745"/>
                </a:cxn>
                <a:cxn ang="0">
                  <a:pos x="connsiteX18746" y="connsiteY18746"/>
                </a:cxn>
                <a:cxn ang="0">
                  <a:pos x="connsiteX18747" y="connsiteY18747"/>
                </a:cxn>
                <a:cxn ang="0">
                  <a:pos x="connsiteX18748" y="connsiteY18748"/>
                </a:cxn>
                <a:cxn ang="0">
                  <a:pos x="connsiteX18749" y="connsiteY18749"/>
                </a:cxn>
                <a:cxn ang="0">
                  <a:pos x="connsiteX18750" y="connsiteY18750"/>
                </a:cxn>
                <a:cxn ang="0">
                  <a:pos x="connsiteX18751" y="connsiteY18751"/>
                </a:cxn>
                <a:cxn ang="0">
                  <a:pos x="connsiteX18752" y="connsiteY18752"/>
                </a:cxn>
                <a:cxn ang="0">
                  <a:pos x="connsiteX18753" y="connsiteY18753"/>
                </a:cxn>
                <a:cxn ang="0">
                  <a:pos x="connsiteX18754" y="connsiteY18754"/>
                </a:cxn>
                <a:cxn ang="0">
                  <a:pos x="connsiteX18755" y="connsiteY18755"/>
                </a:cxn>
                <a:cxn ang="0">
                  <a:pos x="connsiteX18756" y="connsiteY18756"/>
                </a:cxn>
                <a:cxn ang="0">
                  <a:pos x="connsiteX18757" y="connsiteY18757"/>
                </a:cxn>
                <a:cxn ang="0">
                  <a:pos x="connsiteX18758" y="connsiteY18758"/>
                </a:cxn>
                <a:cxn ang="0">
                  <a:pos x="connsiteX18759" y="connsiteY18759"/>
                </a:cxn>
                <a:cxn ang="0">
                  <a:pos x="connsiteX18760" y="connsiteY18760"/>
                </a:cxn>
                <a:cxn ang="0">
                  <a:pos x="connsiteX18761" y="connsiteY18761"/>
                </a:cxn>
                <a:cxn ang="0">
                  <a:pos x="connsiteX18762" y="connsiteY18762"/>
                </a:cxn>
                <a:cxn ang="0">
                  <a:pos x="connsiteX18763" y="connsiteY18763"/>
                </a:cxn>
                <a:cxn ang="0">
                  <a:pos x="connsiteX18764" y="connsiteY18764"/>
                </a:cxn>
                <a:cxn ang="0">
                  <a:pos x="connsiteX18765" y="connsiteY18765"/>
                </a:cxn>
                <a:cxn ang="0">
                  <a:pos x="connsiteX18766" y="connsiteY18766"/>
                </a:cxn>
                <a:cxn ang="0">
                  <a:pos x="connsiteX18767" y="connsiteY18767"/>
                </a:cxn>
                <a:cxn ang="0">
                  <a:pos x="connsiteX18768" y="connsiteY18768"/>
                </a:cxn>
                <a:cxn ang="0">
                  <a:pos x="connsiteX18769" y="connsiteY18769"/>
                </a:cxn>
                <a:cxn ang="0">
                  <a:pos x="connsiteX18770" y="connsiteY18770"/>
                </a:cxn>
                <a:cxn ang="0">
                  <a:pos x="connsiteX18771" y="connsiteY18771"/>
                </a:cxn>
                <a:cxn ang="0">
                  <a:pos x="connsiteX18772" y="connsiteY18772"/>
                </a:cxn>
                <a:cxn ang="0">
                  <a:pos x="connsiteX18773" y="connsiteY18773"/>
                </a:cxn>
                <a:cxn ang="0">
                  <a:pos x="connsiteX18774" y="connsiteY18774"/>
                </a:cxn>
                <a:cxn ang="0">
                  <a:pos x="connsiteX18775" y="connsiteY18775"/>
                </a:cxn>
                <a:cxn ang="0">
                  <a:pos x="connsiteX18776" y="connsiteY18776"/>
                </a:cxn>
                <a:cxn ang="0">
                  <a:pos x="connsiteX18777" y="connsiteY18777"/>
                </a:cxn>
                <a:cxn ang="0">
                  <a:pos x="connsiteX18778" y="connsiteY18778"/>
                </a:cxn>
                <a:cxn ang="0">
                  <a:pos x="connsiteX18779" y="connsiteY18779"/>
                </a:cxn>
                <a:cxn ang="0">
                  <a:pos x="connsiteX18780" y="connsiteY18780"/>
                </a:cxn>
                <a:cxn ang="0">
                  <a:pos x="connsiteX18781" y="connsiteY18781"/>
                </a:cxn>
                <a:cxn ang="0">
                  <a:pos x="connsiteX18782" y="connsiteY18782"/>
                </a:cxn>
                <a:cxn ang="0">
                  <a:pos x="connsiteX18783" y="connsiteY18783"/>
                </a:cxn>
                <a:cxn ang="0">
                  <a:pos x="connsiteX18784" y="connsiteY18784"/>
                </a:cxn>
                <a:cxn ang="0">
                  <a:pos x="connsiteX18785" y="connsiteY18785"/>
                </a:cxn>
                <a:cxn ang="0">
                  <a:pos x="connsiteX18786" y="connsiteY18786"/>
                </a:cxn>
                <a:cxn ang="0">
                  <a:pos x="connsiteX18787" y="connsiteY18787"/>
                </a:cxn>
                <a:cxn ang="0">
                  <a:pos x="connsiteX18788" y="connsiteY18788"/>
                </a:cxn>
                <a:cxn ang="0">
                  <a:pos x="connsiteX18789" y="connsiteY18789"/>
                </a:cxn>
                <a:cxn ang="0">
                  <a:pos x="connsiteX18790" y="connsiteY18790"/>
                </a:cxn>
                <a:cxn ang="0">
                  <a:pos x="connsiteX18791" y="connsiteY18791"/>
                </a:cxn>
                <a:cxn ang="0">
                  <a:pos x="connsiteX18792" y="connsiteY18792"/>
                </a:cxn>
                <a:cxn ang="0">
                  <a:pos x="connsiteX18793" y="connsiteY18793"/>
                </a:cxn>
                <a:cxn ang="0">
                  <a:pos x="connsiteX18794" y="connsiteY18794"/>
                </a:cxn>
                <a:cxn ang="0">
                  <a:pos x="connsiteX18795" y="connsiteY18795"/>
                </a:cxn>
                <a:cxn ang="0">
                  <a:pos x="connsiteX18796" y="connsiteY18796"/>
                </a:cxn>
                <a:cxn ang="0">
                  <a:pos x="connsiteX18797" y="connsiteY18797"/>
                </a:cxn>
                <a:cxn ang="0">
                  <a:pos x="connsiteX18798" y="connsiteY18798"/>
                </a:cxn>
                <a:cxn ang="0">
                  <a:pos x="connsiteX18799" y="connsiteY18799"/>
                </a:cxn>
                <a:cxn ang="0">
                  <a:pos x="connsiteX18800" y="connsiteY18800"/>
                </a:cxn>
                <a:cxn ang="0">
                  <a:pos x="connsiteX18801" y="connsiteY18801"/>
                </a:cxn>
                <a:cxn ang="0">
                  <a:pos x="connsiteX18802" y="connsiteY18802"/>
                </a:cxn>
                <a:cxn ang="0">
                  <a:pos x="connsiteX18803" y="connsiteY18803"/>
                </a:cxn>
                <a:cxn ang="0">
                  <a:pos x="connsiteX18804" y="connsiteY18804"/>
                </a:cxn>
                <a:cxn ang="0">
                  <a:pos x="connsiteX18805" y="connsiteY18805"/>
                </a:cxn>
                <a:cxn ang="0">
                  <a:pos x="connsiteX18806" y="connsiteY18806"/>
                </a:cxn>
                <a:cxn ang="0">
                  <a:pos x="connsiteX18807" y="connsiteY18807"/>
                </a:cxn>
                <a:cxn ang="0">
                  <a:pos x="connsiteX18808" y="connsiteY18808"/>
                </a:cxn>
                <a:cxn ang="0">
                  <a:pos x="connsiteX18809" y="connsiteY18809"/>
                </a:cxn>
                <a:cxn ang="0">
                  <a:pos x="connsiteX18810" y="connsiteY18810"/>
                </a:cxn>
                <a:cxn ang="0">
                  <a:pos x="connsiteX18811" y="connsiteY18811"/>
                </a:cxn>
                <a:cxn ang="0">
                  <a:pos x="connsiteX18812" y="connsiteY18812"/>
                </a:cxn>
                <a:cxn ang="0">
                  <a:pos x="connsiteX18813" y="connsiteY18813"/>
                </a:cxn>
                <a:cxn ang="0">
                  <a:pos x="connsiteX18814" y="connsiteY18814"/>
                </a:cxn>
                <a:cxn ang="0">
                  <a:pos x="connsiteX18815" y="connsiteY18815"/>
                </a:cxn>
                <a:cxn ang="0">
                  <a:pos x="connsiteX18816" y="connsiteY18816"/>
                </a:cxn>
                <a:cxn ang="0">
                  <a:pos x="connsiteX18817" y="connsiteY18817"/>
                </a:cxn>
                <a:cxn ang="0">
                  <a:pos x="connsiteX18818" y="connsiteY18818"/>
                </a:cxn>
                <a:cxn ang="0">
                  <a:pos x="connsiteX18819" y="connsiteY18819"/>
                </a:cxn>
                <a:cxn ang="0">
                  <a:pos x="connsiteX18820" y="connsiteY18820"/>
                </a:cxn>
                <a:cxn ang="0">
                  <a:pos x="connsiteX18821" y="connsiteY18821"/>
                </a:cxn>
                <a:cxn ang="0">
                  <a:pos x="connsiteX18822" y="connsiteY18822"/>
                </a:cxn>
                <a:cxn ang="0">
                  <a:pos x="connsiteX18823" y="connsiteY18823"/>
                </a:cxn>
                <a:cxn ang="0">
                  <a:pos x="connsiteX18824" y="connsiteY18824"/>
                </a:cxn>
                <a:cxn ang="0">
                  <a:pos x="connsiteX18825" y="connsiteY18825"/>
                </a:cxn>
                <a:cxn ang="0">
                  <a:pos x="connsiteX18826" y="connsiteY18826"/>
                </a:cxn>
                <a:cxn ang="0">
                  <a:pos x="connsiteX18827" y="connsiteY18827"/>
                </a:cxn>
                <a:cxn ang="0">
                  <a:pos x="connsiteX18828" y="connsiteY18828"/>
                </a:cxn>
                <a:cxn ang="0">
                  <a:pos x="connsiteX18829" y="connsiteY18829"/>
                </a:cxn>
                <a:cxn ang="0">
                  <a:pos x="connsiteX18830" y="connsiteY18830"/>
                </a:cxn>
                <a:cxn ang="0">
                  <a:pos x="connsiteX18831" y="connsiteY18831"/>
                </a:cxn>
                <a:cxn ang="0">
                  <a:pos x="connsiteX18832" y="connsiteY18832"/>
                </a:cxn>
                <a:cxn ang="0">
                  <a:pos x="connsiteX18833" y="connsiteY18833"/>
                </a:cxn>
                <a:cxn ang="0">
                  <a:pos x="connsiteX18834" y="connsiteY18834"/>
                </a:cxn>
                <a:cxn ang="0">
                  <a:pos x="connsiteX18835" y="connsiteY18835"/>
                </a:cxn>
                <a:cxn ang="0">
                  <a:pos x="connsiteX18836" y="connsiteY18836"/>
                </a:cxn>
                <a:cxn ang="0">
                  <a:pos x="connsiteX18837" y="connsiteY18837"/>
                </a:cxn>
                <a:cxn ang="0">
                  <a:pos x="connsiteX18838" y="connsiteY18838"/>
                </a:cxn>
                <a:cxn ang="0">
                  <a:pos x="connsiteX18839" y="connsiteY18839"/>
                </a:cxn>
                <a:cxn ang="0">
                  <a:pos x="connsiteX18840" y="connsiteY18840"/>
                </a:cxn>
                <a:cxn ang="0">
                  <a:pos x="connsiteX18841" y="connsiteY18841"/>
                </a:cxn>
                <a:cxn ang="0">
                  <a:pos x="connsiteX18842" y="connsiteY18842"/>
                </a:cxn>
                <a:cxn ang="0">
                  <a:pos x="connsiteX18843" y="connsiteY18843"/>
                </a:cxn>
                <a:cxn ang="0">
                  <a:pos x="connsiteX18844" y="connsiteY18844"/>
                </a:cxn>
                <a:cxn ang="0">
                  <a:pos x="connsiteX18845" y="connsiteY18845"/>
                </a:cxn>
                <a:cxn ang="0">
                  <a:pos x="connsiteX18846" y="connsiteY18846"/>
                </a:cxn>
                <a:cxn ang="0">
                  <a:pos x="connsiteX18847" y="connsiteY18847"/>
                </a:cxn>
                <a:cxn ang="0">
                  <a:pos x="connsiteX18848" y="connsiteY18848"/>
                </a:cxn>
                <a:cxn ang="0">
                  <a:pos x="connsiteX18849" y="connsiteY18849"/>
                </a:cxn>
                <a:cxn ang="0">
                  <a:pos x="connsiteX18850" y="connsiteY18850"/>
                </a:cxn>
                <a:cxn ang="0">
                  <a:pos x="connsiteX18851" y="connsiteY18851"/>
                </a:cxn>
                <a:cxn ang="0">
                  <a:pos x="connsiteX18852" y="connsiteY18852"/>
                </a:cxn>
                <a:cxn ang="0">
                  <a:pos x="connsiteX18853" y="connsiteY18853"/>
                </a:cxn>
                <a:cxn ang="0">
                  <a:pos x="connsiteX18854" y="connsiteY18854"/>
                </a:cxn>
                <a:cxn ang="0">
                  <a:pos x="connsiteX18855" y="connsiteY18855"/>
                </a:cxn>
                <a:cxn ang="0">
                  <a:pos x="connsiteX18856" y="connsiteY18856"/>
                </a:cxn>
                <a:cxn ang="0">
                  <a:pos x="connsiteX18857" y="connsiteY18857"/>
                </a:cxn>
                <a:cxn ang="0">
                  <a:pos x="connsiteX18858" y="connsiteY18858"/>
                </a:cxn>
                <a:cxn ang="0">
                  <a:pos x="connsiteX18859" y="connsiteY18859"/>
                </a:cxn>
                <a:cxn ang="0">
                  <a:pos x="connsiteX18860" y="connsiteY18860"/>
                </a:cxn>
                <a:cxn ang="0">
                  <a:pos x="connsiteX18861" y="connsiteY18861"/>
                </a:cxn>
                <a:cxn ang="0">
                  <a:pos x="connsiteX18862" y="connsiteY18862"/>
                </a:cxn>
                <a:cxn ang="0">
                  <a:pos x="connsiteX18863" y="connsiteY18863"/>
                </a:cxn>
                <a:cxn ang="0">
                  <a:pos x="connsiteX18864" y="connsiteY18864"/>
                </a:cxn>
                <a:cxn ang="0">
                  <a:pos x="connsiteX18865" y="connsiteY18865"/>
                </a:cxn>
                <a:cxn ang="0">
                  <a:pos x="connsiteX18866" y="connsiteY18866"/>
                </a:cxn>
                <a:cxn ang="0">
                  <a:pos x="connsiteX18867" y="connsiteY18867"/>
                </a:cxn>
                <a:cxn ang="0">
                  <a:pos x="connsiteX18868" y="connsiteY18868"/>
                </a:cxn>
                <a:cxn ang="0">
                  <a:pos x="connsiteX18869" y="connsiteY18869"/>
                </a:cxn>
                <a:cxn ang="0">
                  <a:pos x="connsiteX18870" y="connsiteY18870"/>
                </a:cxn>
                <a:cxn ang="0">
                  <a:pos x="connsiteX18871" y="connsiteY18871"/>
                </a:cxn>
                <a:cxn ang="0">
                  <a:pos x="connsiteX18872" y="connsiteY18872"/>
                </a:cxn>
                <a:cxn ang="0">
                  <a:pos x="connsiteX18873" y="connsiteY18873"/>
                </a:cxn>
                <a:cxn ang="0">
                  <a:pos x="connsiteX18874" y="connsiteY18874"/>
                </a:cxn>
                <a:cxn ang="0">
                  <a:pos x="connsiteX18875" y="connsiteY18875"/>
                </a:cxn>
                <a:cxn ang="0">
                  <a:pos x="connsiteX18876" y="connsiteY18876"/>
                </a:cxn>
                <a:cxn ang="0">
                  <a:pos x="connsiteX18877" y="connsiteY18877"/>
                </a:cxn>
                <a:cxn ang="0">
                  <a:pos x="connsiteX18878" y="connsiteY18878"/>
                </a:cxn>
                <a:cxn ang="0">
                  <a:pos x="connsiteX18879" y="connsiteY18879"/>
                </a:cxn>
                <a:cxn ang="0">
                  <a:pos x="connsiteX18880" y="connsiteY18880"/>
                </a:cxn>
                <a:cxn ang="0">
                  <a:pos x="connsiteX18881" y="connsiteY18881"/>
                </a:cxn>
                <a:cxn ang="0">
                  <a:pos x="connsiteX18882" y="connsiteY18882"/>
                </a:cxn>
                <a:cxn ang="0">
                  <a:pos x="connsiteX18883" y="connsiteY18883"/>
                </a:cxn>
                <a:cxn ang="0">
                  <a:pos x="connsiteX18884" y="connsiteY18884"/>
                </a:cxn>
                <a:cxn ang="0">
                  <a:pos x="connsiteX18885" y="connsiteY18885"/>
                </a:cxn>
                <a:cxn ang="0">
                  <a:pos x="connsiteX18886" y="connsiteY18886"/>
                </a:cxn>
                <a:cxn ang="0">
                  <a:pos x="connsiteX18887" y="connsiteY18887"/>
                </a:cxn>
                <a:cxn ang="0">
                  <a:pos x="connsiteX18888" y="connsiteY18888"/>
                </a:cxn>
                <a:cxn ang="0">
                  <a:pos x="connsiteX18889" y="connsiteY18889"/>
                </a:cxn>
                <a:cxn ang="0">
                  <a:pos x="connsiteX18890" y="connsiteY18890"/>
                </a:cxn>
                <a:cxn ang="0">
                  <a:pos x="connsiteX18891" y="connsiteY18891"/>
                </a:cxn>
                <a:cxn ang="0">
                  <a:pos x="connsiteX18892" y="connsiteY18892"/>
                </a:cxn>
                <a:cxn ang="0">
                  <a:pos x="connsiteX18893" y="connsiteY18893"/>
                </a:cxn>
                <a:cxn ang="0">
                  <a:pos x="connsiteX18894" y="connsiteY18894"/>
                </a:cxn>
                <a:cxn ang="0">
                  <a:pos x="connsiteX18895" y="connsiteY18895"/>
                </a:cxn>
                <a:cxn ang="0">
                  <a:pos x="connsiteX18896" y="connsiteY18896"/>
                </a:cxn>
                <a:cxn ang="0">
                  <a:pos x="connsiteX18897" y="connsiteY18897"/>
                </a:cxn>
                <a:cxn ang="0">
                  <a:pos x="connsiteX18898" y="connsiteY18898"/>
                </a:cxn>
                <a:cxn ang="0">
                  <a:pos x="connsiteX18899" y="connsiteY18899"/>
                </a:cxn>
                <a:cxn ang="0">
                  <a:pos x="connsiteX18900" y="connsiteY18900"/>
                </a:cxn>
                <a:cxn ang="0">
                  <a:pos x="connsiteX18901" y="connsiteY18901"/>
                </a:cxn>
                <a:cxn ang="0">
                  <a:pos x="connsiteX18902" y="connsiteY18902"/>
                </a:cxn>
                <a:cxn ang="0">
                  <a:pos x="connsiteX18903" y="connsiteY18903"/>
                </a:cxn>
                <a:cxn ang="0">
                  <a:pos x="connsiteX18904" y="connsiteY18904"/>
                </a:cxn>
                <a:cxn ang="0">
                  <a:pos x="connsiteX18905" y="connsiteY18905"/>
                </a:cxn>
                <a:cxn ang="0">
                  <a:pos x="connsiteX18906" y="connsiteY18906"/>
                </a:cxn>
                <a:cxn ang="0">
                  <a:pos x="connsiteX18907" y="connsiteY18907"/>
                </a:cxn>
                <a:cxn ang="0">
                  <a:pos x="connsiteX18908" y="connsiteY18908"/>
                </a:cxn>
                <a:cxn ang="0">
                  <a:pos x="connsiteX18909" y="connsiteY18909"/>
                </a:cxn>
                <a:cxn ang="0">
                  <a:pos x="connsiteX18910" y="connsiteY18910"/>
                </a:cxn>
                <a:cxn ang="0">
                  <a:pos x="connsiteX18911" y="connsiteY18911"/>
                </a:cxn>
                <a:cxn ang="0">
                  <a:pos x="connsiteX18912" y="connsiteY18912"/>
                </a:cxn>
                <a:cxn ang="0">
                  <a:pos x="connsiteX18913" y="connsiteY18913"/>
                </a:cxn>
                <a:cxn ang="0">
                  <a:pos x="connsiteX18914" y="connsiteY18914"/>
                </a:cxn>
                <a:cxn ang="0">
                  <a:pos x="connsiteX18915" y="connsiteY18915"/>
                </a:cxn>
                <a:cxn ang="0">
                  <a:pos x="connsiteX18916" y="connsiteY18916"/>
                </a:cxn>
                <a:cxn ang="0">
                  <a:pos x="connsiteX18917" y="connsiteY18917"/>
                </a:cxn>
                <a:cxn ang="0">
                  <a:pos x="connsiteX18918" y="connsiteY18918"/>
                </a:cxn>
                <a:cxn ang="0">
                  <a:pos x="connsiteX18919" y="connsiteY18919"/>
                </a:cxn>
                <a:cxn ang="0">
                  <a:pos x="connsiteX18920" y="connsiteY18920"/>
                </a:cxn>
                <a:cxn ang="0">
                  <a:pos x="connsiteX18921" y="connsiteY18921"/>
                </a:cxn>
                <a:cxn ang="0">
                  <a:pos x="connsiteX18922" y="connsiteY18922"/>
                </a:cxn>
                <a:cxn ang="0">
                  <a:pos x="connsiteX18923" y="connsiteY18923"/>
                </a:cxn>
                <a:cxn ang="0">
                  <a:pos x="connsiteX18924" y="connsiteY18924"/>
                </a:cxn>
                <a:cxn ang="0">
                  <a:pos x="connsiteX18925" y="connsiteY18925"/>
                </a:cxn>
                <a:cxn ang="0">
                  <a:pos x="connsiteX18926" y="connsiteY18926"/>
                </a:cxn>
                <a:cxn ang="0">
                  <a:pos x="connsiteX18927" y="connsiteY18927"/>
                </a:cxn>
                <a:cxn ang="0">
                  <a:pos x="connsiteX18928" y="connsiteY18928"/>
                </a:cxn>
                <a:cxn ang="0">
                  <a:pos x="connsiteX18929" y="connsiteY18929"/>
                </a:cxn>
                <a:cxn ang="0">
                  <a:pos x="connsiteX18930" y="connsiteY18930"/>
                </a:cxn>
                <a:cxn ang="0">
                  <a:pos x="connsiteX18931" y="connsiteY18931"/>
                </a:cxn>
                <a:cxn ang="0">
                  <a:pos x="connsiteX18932" y="connsiteY18932"/>
                </a:cxn>
                <a:cxn ang="0">
                  <a:pos x="connsiteX18933" y="connsiteY18933"/>
                </a:cxn>
                <a:cxn ang="0">
                  <a:pos x="connsiteX18934" y="connsiteY18934"/>
                </a:cxn>
                <a:cxn ang="0">
                  <a:pos x="connsiteX18935" y="connsiteY18935"/>
                </a:cxn>
                <a:cxn ang="0">
                  <a:pos x="connsiteX18936" y="connsiteY18936"/>
                </a:cxn>
                <a:cxn ang="0">
                  <a:pos x="connsiteX18937" y="connsiteY18937"/>
                </a:cxn>
                <a:cxn ang="0">
                  <a:pos x="connsiteX18938" y="connsiteY18938"/>
                </a:cxn>
                <a:cxn ang="0">
                  <a:pos x="connsiteX18939" y="connsiteY18939"/>
                </a:cxn>
                <a:cxn ang="0">
                  <a:pos x="connsiteX18940" y="connsiteY18940"/>
                </a:cxn>
                <a:cxn ang="0">
                  <a:pos x="connsiteX18941" y="connsiteY18941"/>
                </a:cxn>
                <a:cxn ang="0">
                  <a:pos x="connsiteX18942" y="connsiteY18942"/>
                </a:cxn>
                <a:cxn ang="0">
                  <a:pos x="connsiteX18943" y="connsiteY18943"/>
                </a:cxn>
                <a:cxn ang="0">
                  <a:pos x="connsiteX18944" y="connsiteY18944"/>
                </a:cxn>
                <a:cxn ang="0">
                  <a:pos x="connsiteX18945" y="connsiteY18945"/>
                </a:cxn>
                <a:cxn ang="0">
                  <a:pos x="connsiteX18946" y="connsiteY18946"/>
                </a:cxn>
                <a:cxn ang="0">
                  <a:pos x="connsiteX18947" y="connsiteY18947"/>
                </a:cxn>
                <a:cxn ang="0">
                  <a:pos x="connsiteX18948" y="connsiteY18948"/>
                </a:cxn>
                <a:cxn ang="0">
                  <a:pos x="connsiteX18949" y="connsiteY18949"/>
                </a:cxn>
                <a:cxn ang="0">
                  <a:pos x="connsiteX18950" y="connsiteY18950"/>
                </a:cxn>
                <a:cxn ang="0">
                  <a:pos x="connsiteX18951" y="connsiteY18951"/>
                </a:cxn>
                <a:cxn ang="0">
                  <a:pos x="connsiteX18952" y="connsiteY18952"/>
                </a:cxn>
                <a:cxn ang="0">
                  <a:pos x="connsiteX18953" y="connsiteY18953"/>
                </a:cxn>
                <a:cxn ang="0">
                  <a:pos x="connsiteX18954" y="connsiteY18954"/>
                </a:cxn>
                <a:cxn ang="0">
                  <a:pos x="connsiteX18955" y="connsiteY18955"/>
                </a:cxn>
                <a:cxn ang="0">
                  <a:pos x="connsiteX18956" y="connsiteY18956"/>
                </a:cxn>
                <a:cxn ang="0">
                  <a:pos x="connsiteX18957" y="connsiteY18957"/>
                </a:cxn>
                <a:cxn ang="0">
                  <a:pos x="connsiteX18958" y="connsiteY18958"/>
                </a:cxn>
                <a:cxn ang="0">
                  <a:pos x="connsiteX18959" y="connsiteY18959"/>
                </a:cxn>
                <a:cxn ang="0">
                  <a:pos x="connsiteX18960" y="connsiteY18960"/>
                </a:cxn>
                <a:cxn ang="0">
                  <a:pos x="connsiteX18961" y="connsiteY18961"/>
                </a:cxn>
                <a:cxn ang="0">
                  <a:pos x="connsiteX18962" y="connsiteY18962"/>
                </a:cxn>
                <a:cxn ang="0">
                  <a:pos x="connsiteX18963" y="connsiteY18963"/>
                </a:cxn>
                <a:cxn ang="0">
                  <a:pos x="connsiteX18964" y="connsiteY18964"/>
                </a:cxn>
                <a:cxn ang="0">
                  <a:pos x="connsiteX18965" y="connsiteY18965"/>
                </a:cxn>
                <a:cxn ang="0">
                  <a:pos x="connsiteX18966" y="connsiteY18966"/>
                </a:cxn>
                <a:cxn ang="0">
                  <a:pos x="connsiteX18967" y="connsiteY18967"/>
                </a:cxn>
                <a:cxn ang="0">
                  <a:pos x="connsiteX18968" y="connsiteY18968"/>
                </a:cxn>
                <a:cxn ang="0">
                  <a:pos x="connsiteX18969" y="connsiteY18969"/>
                </a:cxn>
                <a:cxn ang="0">
                  <a:pos x="connsiteX18970" y="connsiteY18970"/>
                </a:cxn>
                <a:cxn ang="0">
                  <a:pos x="connsiteX18971" y="connsiteY18971"/>
                </a:cxn>
                <a:cxn ang="0">
                  <a:pos x="connsiteX18972" y="connsiteY18972"/>
                </a:cxn>
                <a:cxn ang="0">
                  <a:pos x="connsiteX18973" y="connsiteY18973"/>
                </a:cxn>
                <a:cxn ang="0">
                  <a:pos x="connsiteX18974" y="connsiteY18974"/>
                </a:cxn>
                <a:cxn ang="0">
                  <a:pos x="connsiteX18975" y="connsiteY18975"/>
                </a:cxn>
                <a:cxn ang="0">
                  <a:pos x="connsiteX18976" y="connsiteY18976"/>
                </a:cxn>
                <a:cxn ang="0">
                  <a:pos x="connsiteX18977" y="connsiteY18977"/>
                </a:cxn>
                <a:cxn ang="0">
                  <a:pos x="connsiteX18978" y="connsiteY18978"/>
                </a:cxn>
                <a:cxn ang="0">
                  <a:pos x="connsiteX18979" y="connsiteY18979"/>
                </a:cxn>
                <a:cxn ang="0">
                  <a:pos x="connsiteX18980" y="connsiteY18980"/>
                </a:cxn>
                <a:cxn ang="0">
                  <a:pos x="connsiteX18981" y="connsiteY18981"/>
                </a:cxn>
                <a:cxn ang="0">
                  <a:pos x="connsiteX18982" y="connsiteY18982"/>
                </a:cxn>
                <a:cxn ang="0">
                  <a:pos x="connsiteX18983" y="connsiteY18983"/>
                </a:cxn>
                <a:cxn ang="0">
                  <a:pos x="connsiteX18984" y="connsiteY18984"/>
                </a:cxn>
                <a:cxn ang="0">
                  <a:pos x="connsiteX18985" y="connsiteY18985"/>
                </a:cxn>
                <a:cxn ang="0">
                  <a:pos x="connsiteX18986" y="connsiteY18986"/>
                </a:cxn>
                <a:cxn ang="0">
                  <a:pos x="connsiteX18987" y="connsiteY18987"/>
                </a:cxn>
                <a:cxn ang="0">
                  <a:pos x="connsiteX18988" y="connsiteY18988"/>
                </a:cxn>
                <a:cxn ang="0">
                  <a:pos x="connsiteX18989" y="connsiteY18989"/>
                </a:cxn>
                <a:cxn ang="0">
                  <a:pos x="connsiteX18990" y="connsiteY18990"/>
                </a:cxn>
                <a:cxn ang="0">
                  <a:pos x="connsiteX18991" y="connsiteY18991"/>
                </a:cxn>
                <a:cxn ang="0">
                  <a:pos x="connsiteX18992" y="connsiteY18992"/>
                </a:cxn>
                <a:cxn ang="0">
                  <a:pos x="connsiteX18993" y="connsiteY18993"/>
                </a:cxn>
                <a:cxn ang="0">
                  <a:pos x="connsiteX18994" y="connsiteY18994"/>
                </a:cxn>
                <a:cxn ang="0">
                  <a:pos x="connsiteX18995" y="connsiteY18995"/>
                </a:cxn>
                <a:cxn ang="0">
                  <a:pos x="connsiteX18996" y="connsiteY18996"/>
                </a:cxn>
                <a:cxn ang="0">
                  <a:pos x="connsiteX18997" y="connsiteY18997"/>
                </a:cxn>
                <a:cxn ang="0">
                  <a:pos x="connsiteX18998" y="connsiteY18998"/>
                </a:cxn>
                <a:cxn ang="0">
                  <a:pos x="connsiteX18999" y="connsiteY18999"/>
                </a:cxn>
                <a:cxn ang="0">
                  <a:pos x="connsiteX19000" y="connsiteY19000"/>
                </a:cxn>
                <a:cxn ang="0">
                  <a:pos x="connsiteX19001" y="connsiteY19001"/>
                </a:cxn>
                <a:cxn ang="0">
                  <a:pos x="connsiteX19002" y="connsiteY19002"/>
                </a:cxn>
                <a:cxn ang="0">
                  <a:pos x="connsiteX19003" y="connsiteY19003"/>
                </a:cxn>
                <a:cxn ang="0">
                  <a:pos x="connsiteX19004" y="connsiteY19004"/>
                </a:cxn>
                <a:cxn ang="0">
                  <a:pos x="connsiteX19005" y="connsiteY19005"/>
                </a:cxn>
                <a:cxn ang="0">
                  <a:pos x="connsiteX19006" y="connsiteY19006"/>
                </a:cxn>
                <a:cxn ang="0">
                  <a:pos x="connsiteX19007" y="connsiteY19007"/>
                </a:cxn>
                <a:cxn ang="0">
                  <a:pos x="connsiteX19008" y="connsiteY19008"/>
                </a:cxn>
                <a:cxn ang="0">
                  <a:pos x="connsiteX19009" y="connsiteY19009"/>
                </a:cxn>
                <a:cxn ang="0">
                  <a:pos x="connsiteX19010" y="connsiteY19010"/>
                </a:cxn>
                <a:cxn ang="0">
                  <a:pos x="connsiteX19011" y="connsiteY19011"/>
                </a:cxn>
                <a:cxn ang="0">
                  <a:pos x="connsiteX19012" y="connsiteY19012"/>
                </a:cxn>
                <a:cxn ang="0">
                  <a:pos x="connsiteX19013" y="connsiteY19013"/>
                </a:cxn>
                <a:cxn ang="0">
                  <a:pos x="connsiteX19014" y="connsiteY19014"/>
                </a:cxn>
                <a:cxn ang="0">
                  <a:pos x="connsiteX19015" y="connsiteY19015"/>
                </a:cxn>
                <a:cxn ang="0">
                  <a:pos x="connsiteX19016" y="connsiteY19016"/>
                </a:cxn>
                <a:cxn ang="0">
                  <a:pos x="connsiteX19017" y="connsiteY19017"/>
                </a:cxn>
                <a:cxn ang="0">
                  <a:pos x="connsiteX19018" y="connsiteY19018"/>
                </a:cxn>
                <a:cxn ang="0">
                  <a:pos x="connsiteX19019" y="connsiteY19019"/>
                </a:cxn>
                <a:cxn ang="0">
                  <a:pos x="connsiteX19020" y="connsiteY19020"/>
                </a:cxn>
                <a:cxn ang="0">
                  <a:pos x="connsiteX19021" y="connsiteY19021"/>
                </a:cxn>
                <a:cxn ang="0">
                  <a:pos x="connsiteX19022" y="connsiteY19022"/>
                </a:cxn>
                <a:cxn ang="0">
                  <a:pos x="connsiteX19023" y="connsiteY19023"/>
                </a:cxn>
                <a:cxn ang="0">
                  <a:pos x="connsiteX19024" y="connsiteY19024"/>
                </a:cxn>
                <a:cxn ang="0">
                  <a:pos x="connsiteX19025" y="connsiteY19025"/>
                </a:cxn>
                <a:cxn ang="0">
                  <a:pos x="connsiteX19026" y="connsiteY19026"/>
                </a:cxn>
                <a:cxn ang="0">
                  <a:pos x="connsiteX19027" y="connsiteY19027"/>
                </a:cxn>
                <a:cxn ang="0">
                  <a:pos x="connsiteX19028" y="connsiteY19028"/>
                </a:cxn>
                <a:cxn ang="0">
                  <a:pos x="connsiteX19029" y="connsiteY19029"/>
                </a:cxn>
                <a:cxn ang="0">
                  <a:pos x="connsiteX19030" y="connsiteY19030"/>
                </a:cxn>
                <a:cxn ang="0">
                  <a:pos x="connsiteX19031" y="connsiteY19031"/>
                </a:cxn>
                <a:cxn ang="0">
                  <a:pos x="connsiteX19032" y="connsiteY19032"/>
                </a:cxn>
                <a:cxn ang="0">
                  <a:pos x="connsiteX19033" y="connsiteY19033"/>
                </a:cxn>
                <a:cxn ang="0">
                  <a:pos x="connsiteX19034" y="connsiteY19034"/>
                </a:cxn>
                <a:cxn ang="0">
                  <a:pos x="connsiteX19035" y="connsiteY19035"/>
                </a:cxn>
                <a:cxn ang="0">
                  <a:pos x="connsiteX19036" y="connsiteY19036"/>
                </a:cxn>
                <a:cxn ang="0">
                  <a:pos x="connsiteX19037" y="connsiteY19037"/>
                </a:cxn>
                <a:cxn ang="0">
                  <a:pos x="connsiteX19038" y="connsiteY19038"/>
                </a:cxn>
                <a:cxn ang="0">
                  <a:pos x="connsiteX19039" y="connsiteY19039"/>
                </a:cxn>
                <a:cxn ang="0">
                  <a:pos x="connsiteX19040" y="connsiteY19040"/>
                </a:cxn>
                <a:cxn ang="0">
                  <a:pos x="connsiteX19041" y="connsiteY19041"/>
                </a:cxn>
                <a:cxn ang="0">
                  <a:pos x="connsiteX19042" y="connsiteY19042"/>
                </a:cxn>
                <a:cxn ang="0">
                  <a:pos x="connsiteX19043" y="connsiteY19043"/>
                </a:cxn>
                <a:cxn ang="0">
                  <a:pos x="connsiteX19044" y="connsiteY19044"/>
                </a:cxn>
                <a:cxn ang="0">
                  <a:pos x="connsiteX19045" y="connsiteY19045"/>
                </a:cxn>
                <a:cxn ang="0">
                  <a:pos x="connsiteX19046" y="connsiteY19046"/>
                </a:cxn>
                <a:cxn ang="0">
                  <a:pos x="connsiteX19047" y="connsiteY19047"/>
                </a:cxn>
                <a:cxn ang="0">
                  <a:pos x="connsiteX19048" y="connsiteY19048"/>
                </a:cxn>
                <a:cxn ang="0">
                  <a:pos x="connsiteX19049" y="connsiteY19049"/>
                </a:cxn>
                <a:cxn ang="0">
                  <a:pos x="connsiteX19050" y="connsiteY19050"/>
                </a:cxn>
                <a:cxn ang="0">
                  <a:pos x="connsiteX19051" y="connsiteY19051"/>
                </a:cxn>
                <a:cxn ang="0">
                  <a:pos x="connsiteX19052" y="connsiteY19052"/>
                </a:cxn>
                <a:cxn ang="0">
                  <a:pos x="connsiteX19053" y="connsiteY19053"/>
                </a:cxn>
                <a:cxn ang="0">
                  <a:pos x="connsiteX19054" y="connsiteY19054"/>
                </a:cxn>
                <a:cxn ang="0">
                  <a:pos x="connsiteX19055" y="connsiteY19055"/>
                </a:cxn>
                <a:cxn ang="0">
                  <a:pos x="connsiteX19056" y="connsiteY19056"/>
                </a:cxn>
                <a:cxn ang="0">
                  <a:pos x="connsiteX19057" y="connsiteY19057"/>
                </a:cxn>
                <a:cxn ang="0">
                  <a:pos x="connsiteX19058" y="connsiteY19058"/>
                </a:cxn>
                <a:cxn ang="0">
                  <a:pos x="connsiteX19059" y="connsiteY19059"/>
                </a:cxn>
                <a:cxn ang="0">
                  <a:pos x="connsiteX19060" y="connsiteY19060"/>
                </a:cxn>
                <a:cxn ang="0">
                  <a:pos x="connsiteX19061" y="connsiteY19061"/>
                </a:cxn>
                <a:cxn ang="0">
                  <a:pos x="connsiteX19062" y="connsiteY19062"/>
                </a:cxn>
                <a:cxn ang="0">
                  <a:pos x="connsiteX19063" y="connsiteY19063"/>
                </a:cxn>
                <a:cxn ang="0">
                  <a:pos x="connsiteX19064" y="connsiteY19064"/>
                </a:cxn>
                <a:cxn ang="0">
                  <a:pos x="connsiteX19065" y="connsiteY19065"/>
                </a:cxn>
                <a:cxn ang="0">
                  <a:pos x="connsiteX19066" y="connsiteY19066"/>
                </a:cxn>
                <a:cxn ang="0">
                  <a:pos x="connsiteX19067" y="connsiteY19067"/>
                </a:cxn>
                <a:cxn ang="0">
                  <a:pos x="connsiteX19068" y="connsiteY19068"/>
                </a:cxn>
                <a:cxn ang="0">
                  <a:pos x="connsiteX19069" y="connsiteY19069"/>
                </a:cxn>
                <a:cxn ang="0">
                  <a:pos x="connsiteX19070" y="connsiteY19070"/>
                </a:cxn>
                <a:cxn ang="0">
                  <a:pos x="connsiteX19071" y="connsiteY19071"/>
                </a:cxn>
                <a:cxn ang="0">
                  <a:pos x="connsiteX19072" y="connsiteY19072"/>
                </a:cxn>
                <a:cxn ang="0">
                  <a:pos x="connsiteX19073" y="connsiteY19073"/>
                </a:cxn>
                <a:cxn ang="0">
                  <a:pos x="connsiteX19074" y="connsiteY19074"/>
                </a:cxn>
                <a:cxn ang="0">
                  <a:pos x="connsiteX19075" y="connsiteY19075"/>
                </a:cxn>
                <a:cxn ang="0">
                  <a:pos x="connsiteX19076" y="connsiteY19076"/>
                </a:cxn>
                <a:cxn ang="0">
                  <a:pos x="connsiteX19077" y="connsiteY19077"/>
                </a:cxn>
                <a:cxn ang="0">
                  <a:pos x="connsiteX19078" y="connsiteY19078"/>
                </a:cxn>
                <a:cxn ang="0">
                  <a:pos x="connsiteX19079" y="connsiteY19079"/>
                </a:cxn>
                <a:cxn ang="0">
                  <a:pos x="connsiteX19080" y="connsiteY19080"/>
                </a:cxn>
                <a:cxn ang="0">
                  <a:pos x="connsiteX19081" y="connsiteY19081"/>
                </a:cxn>
                <a:cxn ang="0">
                  <a:pos x="connsiteX19082" y="connsiteY19082"/>
                </a:cxn>
                <a:cxn ang="0">
                  <a:pos x="connsiteX19083" y="connsiteY19083"/>
                </a:cxn>
                <a:cxn ang="0">
                  <a:pos x="connsiteX19084" y="connsiteY19084"/>
                </a:cxn>
                <a:cxn ang="0">
                  <a:pos x="connsiteX19085" y="connsiteY19085"/>
                </a:cxn>
                <a:cxn ang="0">
                  <a:pos x="connsiteX19086" y="connsiteY19086"/>
                </a:cxn>
                <a:cxn ang="0">
                  <a:pos x="connsiteX19087" y="connsiteY19087"/>
                </a:cxn>
                <a:cxn ang="0">
                  <a:pos x="connsiteX19088" y="connsiteY19088"/>
                </a:cxn>
                <a:cxn ang="0">
                  <a:pos x="connsiteX19089" y="connsiteY19089"/>
                </a:cxn>
                <a:cxn ang="0">
                  <a:pos x="connsiteX19090" y="connsiteY19090"/>
                </a:cxn>
                <a:cxn ang="0">
                  <a:pos x="connsiteX19091" y="connsiteY19091"/>
                </a:cxn>
                <a:cxn ang="0">
                  <a:pos x="connsiteX19092" y="connsiteY19092"/>
                </a:cxn>
                <a:cxn ang="0">
                  <a:pos x="connsiteX19093" y="connsiteY19093"/>
                </a:cxn>
                <a:cxn ang="0">
                  <a:pos x="connsiteX19094" y="connsiteY19094"/>
                </a:cxn>
                <a:cxn ang="0">
                  <a:pos x="connsiteX19095" y="connsiteY19095"/>
                </a:cxn>
                <a:cxn ang="0">
                  <a:pos x="connsiteX19096" y="connsiteY19096"/>
                </a:cxn>
                <a:cxn ang="0">
                  <a:pos x="connsiteX19097" y="connsiteY19097"/>
                </a:cxn>
                <a:cxn ang="0">
                  <a:pos x="connsiteX19098" y="connsiteY19098"/>
                </a:cxn>
                <a:cxn ang="0">
                  <a:pos x="connsiteX19099" y="connsiteY19099"/>
                </a:cxn>
                <a:cxn ang="0">
                  <a:pos x="connsiteX19100" y="connsiteY19100"/>
                </a:cxn>
                <a:cxn ang="0">
                  <a:pos x="connsiteX19101" y="connsiteY19101"/>
                </a:cxn>
                <a:cxn ang="0">
                  <a:pos x="connsiteX19102" y="connsiteY19102"/>
                </a:cxn>
                <a:cxn ang="0">
                  <a:pos x="connsiteX19103" y="connsiteY19103"/>
                </a:cxn>
                <a:cxn ang="0">
                  <a:pos x="connsiteX19104" y="connsiteY19104"/>
                </a:cxn>
                <a:cxn ang="0">
                  <a:pos x="connsiteX19105" y="connsiteY19105"/>
                </a:cxn>
                <a:cxn ang="0">
                  <a:pos x="connsiteX19106" y="connsiteY19106"/>
                </a:cxn>
                <a:cxn ang="0">
                  <a:pos x="connsiteX19107" y="connsiteY19107"/>
                </a:cxn>
                <a:cxn ang="0">
                  <a:pos x="connsiteX19108" y="connsiteY19108"/>
                </a:cxn>
                <a:cxn ang="0">
                  <a:pos x="connsiteX19109" y="connsiteY19109"/>
                </a:cxn>
                <a:cxn ang="0">
                  <a:pos x="connsiteX19110" y="connsiteY19110"/>
                </a:cxn>
                <a:cxn ang="0">
                  <a:pos x="connsiteX19111" y="connsiteY19111"/>
                </a:cxn>
                <a:cxn ang="0">
                  <a:pos x="connsiteX19112" y="connsiteY19112"/>
                </a:cxn>
                <a:cxn ang="0">
                  <a:pos x="connsiteX19113" y="connsiteY19113"/>
                </a:cxn>
                <a:cxn ang="0">
                  <a:pos x="connsiteX19114" y="connsiteY19114"/>
                </a:cxn>
                <a:cxn ang="0">
                  <a:pos x="connsiteX19115" y="connsiteY19115"/>
                </a:cxn>
                <a:cxn ang="0">
                  <a:pos x="connsiteX19116" y="connsiteY19116"/>
                </a:cxn>
                <a:cxn ang="0">
                  <a:pos x="connsiteX19117" y="connsiteY19117"/>
                </a:cxn>
                <a:cxn ang="0">
                  <a:pos x="connsiteX19118" y="connsiteY19118"/>
                </a:cxn>
                <a:cxn ang="0">
                  <a:pos x="connsiteX19119" y="connsiteY19119"/>
                </a:cxn>
                <a:cxn ang="0">
                  <a:pos x="connsiteX19120" y="connsiteY19120"/>
                </a:cxn>
                <a:cxn ang="0">
                  <a:pos x="connsiteX19121" y="connsiteY19121"/>
                </a:cxn>
                <a:cxn ang="0">
                  <a:pos x="connsiteX19122" y="connsiteY19122"/>
                </a:cxn>
                <a:cxn ang="0">
                  <a:pos x="connsiteX19123" y="connsiteY19123"/>
                </a:cxn>
                <a:cxn ang="0">
                  <a:pos x="connsiteX19124" y="connsiteY19124"/>
                </a:cxn>
                <a:cxn ang="0">
                  <a:pos x="connsiteX19125" y="connsiteY19125"/>
                </a:cxn>
                <a:cxn ang="0">
                  <a:pos x="connsiteX19126" y="connsiteY19126"/>
                </a:cxn>
                <a:cxn ang="0">
                  <a:pos x="connsiteX19127" y="connsiteY19127"/>
                </a:cxn>
                <a:cxn ang="0">
                  <a:pos x="connsiteX19128" y="connsiteY19128"/>
                </a:cxn>
                <a:cxn ang="0">
                  <a:pos x="connsiteX19129" y="connsiteY19129"/>
                </a:cxn>
                <a:cxn ang="0">
                  <a:pos x="connsiteX19130" y="connsiteY19130"/>
                </a:cxn>
                <a:cxn ang="0">
                  <a:pos x="connsiteX19131" y="connsiteY19131"/>
                </a:cxn>
                <a:cxn ang="0">
                  <a:pos x="connsiteX19132" y="connsiteY19132"/>
                </a:cxn>
                <a:cxn ang="0">
                  <a:pos x="connsiteX19133" y="connsiteY19133"/>
                </a:cxn>
                <a:cxn ang="0">
                  <a:pos x="connsiteX19134" y="connsiteY19134"/>
                </a:cxn>
                <a:cxn ang="0">
                  <a:pos x="connsiteX19135" y="connsiteY19135"/>
                </a:cxn>
                <a:cxn ang="0">
                  <a:pos x="connsiteX19136" y="connsiteY19136"/>
                </a:cxn>
                <a:cxn ang="0">
                  <a:pos x="connsiteX19137" y="connsiteY19137"/>
                </a:cxn>
                <a:cxn ang="0">
                  <a:pos x="connsiteX19138" y="connsiteY19138"/>
                </a:cxn>
                <a:cxn ang="0">
                  <a:pos x="connsiteX19139" y="connsiteY19139"/>
                </a:cxn>
                <a:cxn ang="0">
                  <a:pos x="connsiteX19140" y="connsiteY19140"/>
                </a:cxn>
                <a:cxn ang="0">
                  <a:pos x="connsiteX19141" y="connsiteY19141"/>
                </a:cxn>
                <a:cxn ang="0">
                  <a:pos x="connsiteX19142" y="connsiteY19142"/>
                </a:cxn>
                <a:cxn ang="0">
                  <a:pos x="connsiteX19143" y="connsiteY19143"/>
                </a:cxn>
                <a:cxn ang="0">
                  <a:pos x="connsiteX19144" y="connsiteY19144"/>
                </a:cxn>
                <a:cxn ang="0">
                  <a:pos x="connsiteX19145" y="connsiteY19145"/>
                </a:cxn>
                <a:cxn ang="0">
                  <a:pos x="connsiteX19146" y="connsiteY19146"/>
                </a:cxn>
                <a:cxn ang="0">
                  <a:pos x="connsiteX19147" y="connsiteY19147"/>
                </a:cxn>
                <a:cxn ang="0">
                  <a:pos x="connsiteX19148" y="connsiteY19148"/>
                </a:cxn>
                <a:cxn ang="0">
                  <a:pos x="connsiteX19149" y="connsiteY19149"/>
                </a:cxn>
                <a:cxn ang="0">
                  <a:pos x="connsiteX19150" y="connsiteY19150"/>
                </a:cxn>
                <a:cxn ang="0">
                  <a:pos x="connsiteX19151" y="connsiteY19151"/>
                </a:cxn>
                <a:cxn ang="0">
                  <a:pos x="connsiteX19152" y="connsiteY19152"/>
                </a:cxn>
                <a:cxn ang="0">
                  <a:pos x="connsiteX19153" y="connsiteY19153"/>
                </a:cxn>
                <a:cxn ang="0">
                  <a:pos x="connsiteX19154" y="connsiteY19154"/>
                </a:cxn>
                <a:cxn ang="0">
                  <a:pos x="connsiteX19155" y="connsiteY19155"/>
                </a:cxn>
                <a:cxn ang="0">
                  <a:pos x="connsiteX19156" y="connsiteY19156"/>
                </a:cxn>
                <a:cxn ang="0">
                  <a:pos x="connsiteX19157" y="connsiteY19157"/>
                </a:cxn>
                <a:cxn ang="0">
                  <a:pos x="connsiteX19158" y="connsiteY19158"/>
                </a:cxn>
                <a:cxn ang="0">
                  <a:pos x="connsiteX19159" y="connsiteY19159"/>
                </a:cxn>
                <a:cxn ang="0">
                  <a:pos x="connsiteX19160" y="connsiteY19160"/>
                </a:cxn>
                <a:cxn ang="0">
                  <a:pos x="connsiteX19161" y="connsiteY19161"/>
                </a:cxn>
                <a:cxn ang="0">
                  <a:pos x="connsiteX19162" y="connsiteY19162"/>
                </a:cxn>
                <a:cxn ang="0">
                  <a:pos x="connsiteX19163" y="connsiteY19163"/>
                </a:cxn>
                <a:cxn ang="0">
                  <a:pos x="connsiteX19164" y="connsiteY19164"/>
                </a:cxn>
                <a:cxn ang="0">
                  <a:pos x="connsiteX19165" y="connsiteY19165"/>
                </a:cxn>
                <a:cxn ang="0">
                  <a:pos x="connsiteX19166" y="connsiteY19166"/>
                </a:cxn>
                <a:cxn ang="0">
                  <a:pos x="connsiteX19167" y="connsiteY19167"/>
                </a:cxn>
                <a:cxn ang="0">
                  <a:pos x="connsiteX19168" y="connsiteY19168"/>
                </a:cxn>
                <a:cxn ang="0">
                  <a:pos x="connsiteX19169" y="connsiteY19169"/>
                </a:cxn>
                <a:cxn ang="0">
                  <a:pos x="connsiteX19170" y="connsiteY19170"/>
                </a:cxn>
                <a:cxn ang="0">
                  <a:pos x="connsiteX19171" y="connsiteY19171"/>
                </a:cxn>
                <a:cxn ang="0">
                  <a:pos x="connsiteX19172" y="connsiteY19172"/>
                </a:cxn>
                <a:cxn ang="0">
                  <a:pos x="connsiteX19173" y="connsiteY19173"/>
                </a:cxn>
                <a:cxn ang="0">
                  <a:pos x="connsiteX19174" y="connsiteY19174"/>
                </a:cxn>
                <a:cxn ang="0">
                  <a:pos x="connsiteX19175" y="connsiteY19175"/>
                </a:cxn>
                <a:cxn ang="0">
                  <a:pos x="connsiteX19176" y="connsiteY19176"/>
                </a:cxn>
                <a:cxn ang="0">
                  <a:pos x="connsiteX19177" y="connsiteY19177"/>
                </a:cxn>
                <a:cxn ang="0">
                  <a:pos x="connsiteX19178" y="connsiteY19178"/>
                </a:cxn>
                <a:cxn ang="0">
                  <a:pos x="connsiteX19179" y="connsiteY19179"/>
                </a:cxn>
                <a:cxn ang="0">
                  <a:pos x="connsiteX19180" y="connsiteY19180"/>
                </a:cxn>
                <a:cxn ang="0">
                  <a:pos x="connsiteX19181" y="connsiteY19181"/>
                </a:cxn>
                <a:cxn ang="0">
                  <a:pos x="connsiteX19182" y="connsiteY19182"/>
                </a:cxn>
                <a:cxn ang="0">
                  <a:pos x="connsiteX19183" y="connsiteY19183"/>
                </a:cxn>
                <a:cxn ang="0">
                  <a:pos x="connsiteX19184" y="connsiteY19184"/>
                </a:cxn>
                <a:cxn ang="0">
                  <a:pos x="connsiteX19185" y="connsiteY19185"/>
                </a:cxn>
                <a:cxn ang="0">
                  <a:pos x="connsiteX19186" y="connsiteY19186"/>
                </a:cxn>
                <a:cxn ang="0">
                  <a:pos x="connsiteX19187" y="connsiteY19187"/>
                </a:cxn>
                <a:cxn ang="0">
                  <a:pos x="connsiteX19188" y="connsiteY19188"/>
                </a:cxn>
                <a:cxn ang="0">
                  <a:pos x="connsiteX19189" y="connsiteY19189"/>
                </a:cxn>
                <a:cxn ang="0">
                  <a:pos x="connsiteX19190" y="connsiteY19190"/>
                </a:cxn>
                <a:cxn ang="0">
                  <a:pos x="connsiteX19191" y="connsiteY19191"/>
                </a:cxn>
                <a:cxn ang="0">
                  <a:pos x="connsiteX19192" y="connsiteY19192"/>
                </a:cxn>
                <a:cxn ang="0">
                  <a:pos x="connsiteX19193" y="connsiteY19193"/>
                </a:cxn>
                <a:cxn ang="0">
                  <a:pos x="connsiteX19194" y="connsiteY19194"/>
                </a:cxn>
                <a:cxn ang="0">
                  <a:pos x="connsiteX19195" y="connsiteY19195"/>
                </a:cxn>
                <a:cxn ang="0">
                  <a:pos x="connsiteX19196" y="connsiteY19196"/>
                </a:cxn>
                <a:cxn ang="0">
                  <a:pos x="connsiteX19197" y="connsiteY19197"/>
                </a:cxn>
                <a:cxn ang="0">
                  <a:pos x="connsiteX19198" y="connsiteY19198"/>
                </a:cxn>
                <a:cxn ang="0">
                  <a:pos x="connsiteX19199" y="connsiteY19199"/>
                </a:cxn>
                <a:cxn ang="0">
                  <a:pos x="connsiteX19200" y="connsiteY19200"/>
                </a:cxn>
                <a:cxn ang="0">
                  <a:pos x="connsiteX19201" y="connsiteY19201"/>
                </a:cxn>
                <a:cxn ang="0">
                  <a:pos x="connsiteX19202" y="connsiteY19202"/>
                </a:cxn>
                <a:cxn ang="0">
                  <a:pos x="connsiteX19203" y="connsiteY19203"/>
                </a:cxn>
                <a:cxn ang="0">
                  <a:pos x="connsiteX19204" y="connsiteY19204"/>
                </a:cxn>
                <a:cxn ang="0">
                  <a:pos x="connsiteX19205" y="connsiteY19205"/>
                </a:cxn>
                <a:cxn ang="0">
                  <a:pos x="connsiteX19206" y="connsiteY19206"/>
                </a:cxn>
                <a:cxn ang="0">
                  <a:pos x="connsiteX19207" y="connsiteY19207"/>
                </a:cxn>
                <a:cxn ang="0">
                  <a:pos x="connsiteX19208" y="connsiteY19208"/>
                </a:cxn>
                <a:cxn ang="0">
                  <a:pos x="connsiteX19209" y="connsiteY19209"/>
                </a:cxn>
                <a:cxn ang="0">
                  <a:pos x="connsiteX19210" y="connsiteY19210"/>
                </a:cxn>
                <a:cxn ang="0">
                  <a:pos x="connsiteX19211" y="connsiteY19211"/>
                </a:cxn>
                <a:cxn ang="0">
                  <a:pos x="connsiteX19212" y="connsiteY19212"/>
                </a:cxn>
                <a:cxn ang="0">
                  <a:pos x="connsiteX19213" y="connsiteY19213"/>
                </a:cxn>
                <a:cxn ang="0">
                  <a:pos x="connsiteX19214" y="connsiteY19214"/>
                </a:cxn>
                <a:cxn ang="0">
                  <a:pos x="connsiteX19215" y="connsiteY19215"/>
                </a:cxn>
                <a:cxn ang="0">
                  <a:pos x="connsiteX19216" y="connsiteY19216"/>
                </a:cxn>
                <a:cxn ang="0">
                  <a:pos x="connsiteX19217" y="connsiteY19217"/>
                </a:cxn>
                <a:cxn ang="0">
                  <a:pos x="connsiteX19218" y="connsiteY19218"/>
                </a:cxn>
                <a:cxn ang="0">
                  <a:pos x="connsiteX19219" y="connsiteY19219"/>
                </a:cxn>
                <a:cxn ang="0">
                  <a:pos x="connsiteX19220" y="connsiteY19220"/>
                </a:cxn>
                <a:cxn ang="0">
                  <a:pos x="connsiteX19221" y="connsiteY19221"/>
                </a:cxn>
                <a:cxn ang="0">
                  <a:pos x="connsiteX19222" y="connsiteY19222"/>
                </a:cxn>
                <a:cxn ang="0">
                  <a:pos x="connsiteX19223" y="connsiteY19223"/>
                </a:cxn>
                <a:cxn ang="0">
                  <a:pos x="connsiteX19224" y="connsiteY19224"/>
                </a:cxn>
                <a:cxn ang="0">
                  <a:pos x="connsiteX19225" y="connsiteY19225"/>
                </a:cxn>
                <a:cxn ang="0">
                  <a:pos x="connsiteX19226" y="connsiteY19226"/>
                </a:cxn>
                <a:cxn ang="0">
                  <a:pos x="connsiteX19227" y="connsiteY19227"/>
                </a:cxn>
                <a:cxn ang="0">
                  <a:pos x="connsiteX19228" y="connsiteY19228"/>
                </a:cxn>
                <a:cxn ang="0">
                  <a:pos x="connsiteX19229" y="connsiteY19229"/>
                </a:cxn>
                <a:cxn ang="0">
                  <a:pos x="connsiteX19230" y="connsiteY19230"/>
                </a:cxn>
                <a:cxn ang="0">
                  <a:pos x="connsiteX19231" y="connsiteY19231"/>
                </a:cxn>
                <a:cxn ang="0">
                  <a:pos x="connsiteX19232" y="connsiteY19232"/>
                </a:cxn>
                <a:cxn ang="0">
                  <a:pos x="connsiteX19233" y="connsiteY19233"/>
                </a:cxn>
                <a:cxn ang="0">
                  <a:pos x="connsiteX19234" y="connsiteY19234"/>
                </a:cxn>
                <a:cxn ang="0">
                  <a:pos x="connsiteX19235" y="connsiteY19235"/>
                </a:cxn>
                <a:cxn ang="0">
                  <a:pos x="connsiteX19236" y="connsiteY19236"/>
                </a:cxn>
                <a:cxn ang="0">
                  <a:pos x="connsiteX19237" y="connsiteY19237"/>
                </a:cxn>
                <a:cxn ang="0">
                  <a:pos x="connsiteX19238" y="connsiteY19238"/>
                </a:cxn>
                <a:cxn ang="0">
                  <a:pos x="connsiteX19239" y="connsiteY19239"/>
                </a:cxn>
                <a:cxn ang="0">
                  <a:pos x="connsiteX19240" y="connsiteY19240"/>
                </a:cxn>
                <a:cxn ang="0">
                  <a:pos x="connsiteX19241" y="connsiteY19241"/>
                </a:cxn>
                <a:cxn ang="0">
                  <a:pos x="connsiteX19242" y="connsiteY19242"/>
                </a:cxn>
                <a:cxn ang="0">
                  <a:pos x="connsiteX19243" y="connsiteY19243"/>
                </a:cxn>
                <a:cxn ang="0">
                  <a:pos x="connsiteX19244" y="connsiteY19244"/>
                </a:cxn>
                <a:cxn ang="0">
                  <a:pos x="connsiteX19245" y="connsiteY19245"/>
                </a:cxn>
                <a:cxn ang="0">
                  <a:pos x="connsiteX19246" y="connsiteY19246"/>
                </a:cxn>
                <a:cxn ang="0">
                  <a:pos x="connsiteX19247" y="connsiteY19247"/>
                </a:cxn>
                <a:cxn ang="0">
                  <a:pos x="connsiteX19248" y="connsiteY19248"/>
                </a:cxn>
                <a:cxn ang="0">
                  <a:pos x="connsiteX19249" y="connsiteY19249"/>
                </a:cxn>
                <a:cxn ang="0">
                  <a:pos x="connsiteX19250" y="connsiteY19250"/>
                </a:cxn>
                <a:cxn ang="0">
                  <a:pos x="connsiteX19251" y="connsiteY19251"/>
                </a:cxn>
                <a:cxn ang="0">
                  <a:pos x="connsiteX19252" y="connsiteY19252"/>
                </a:cxn>
                <a:cxn ang="0">
                  <a:pos x="connsiteX19253" y="connsiteY19253"/>
                </a:cxn>
                <a:cxn ang="0">
                  <a:pos x="connsiteX19254" y="connsiteY19254"/>
                </a:cxn>
                <a:cxn ang="0">
                  <a:pos x="connsiteX19255" y="connsiteY19255"/>
                </a:cxn>
                <a:cxn ang="0">
                  <a:pos x="connsiteX19256" y="connsiteY19256"/>
                </a:cxn>
                <a:cxn ang="0">
                  <a:pos x="connsiteX19257" y="connsiteY19257"/>
                </a:cxn>
                <a:cxn ang="0">
                  <a:pos x="connsiteX19258" y="connsiteY19258"/>
                </a:cxn>
                <a:cxn ang="0">
                  <a:pos x="connsiteX19259" y="connsiteY19259"/>
                </a:cxn>
                <a:cxn ang="0">
                  <a:pos x="connsiteX19260" y="connsiteY19260"/>
                </a:cxn>
                <a:cxn ang="0">
                  <a:pos x="connsiteX19261" y="connsiteY19261"/>
                </a:cxn>
                <a:cxn ang="0">
                  <a:pos x="connsiteX19262" y="connsiteY19262"/>
                </a:cxn>
                <a:cxn ang="0">
                  <a:pos x="connsiteX19263" y="connsiteY19263"/>
                </a:cxn>
                <a:cxn ang="0">
                  <a:pos x="connsiteX19264" y="connsiteY19264"/>
                </a:cxn>
                <a:cxn ang="0">
                  <a:pos x="connsiteX19265" y="connsiteY19265"/>
                </a:cxn>
                <a:cxn ang="0">
                  <a:pos x="connsiteX19266" y="connsiteY19266"/>
                </a:cxn>
                <a:cxn ang="0">
                  <a:pos x="connsiteX19267" y="connsiteY19267"/>
                </a:cxn>
                <a:cxn ang="0">
                  <a:pos x="connsiteX19268" y="connsiteY19268"/>
                </a:cxn>
                <a:cxn ang="0">
                  <a:pos x="connsiteX19269" y="connsiteY19269"/>
                </a:cxn>
                <a:cxn ang="0">
                  <a:pos x="connsiteX19270" y="connsiteY19270"/>
                </a:cxn>
                <a:cxn ang="0">
                  <a:pos x="connsiteX19271" y="connsiteY19271"/>
                </a:cxn>
                <a:cxn ang="0">
                  <a:pos x="connsiteX19272" y="connsiteY19272"/>
                </a:cxn>
                <a:cxn ang="0">
                  <a:pos x="connsiteX19273" y="connsiteY19273"/>
                </a:cxn>
                <a:cxn ang="0">
                  <a:pos x="connsiteX19274" y="connsiteY19274"/>
                </a:cxn>
                <a:cxn ang="0">
                  <a:pos x="connsiteX19275" y="connsiteY19275"/>
                </a:cxn>
                <a:cxn ang="0">
                  <a:pos x="connsiteX19276" y="connsiteY19276"/>
                </a:cxn>
                <a:cxn ang="0">
                  <a:pos x="connsiteX19277" y="connsiteY19277"/>
                </a:cxn>
                <a:cxn ang="0">
                  <a:pos x="connsiteX19278" y="connsiteY19278"/>
                </a:cxn>
                <a:cxn ang="0">
                  <a:pos x="connsiteX19279" y="connsiteY19279"/>
                </a:cxn>
                <a:cxn ang="0">
                  <a:pos x="connsiteX19280" y="connsiteY19280"/>
                </a:cxn>
                <a:cxn ang="0">
                  <a:pos x="connsiteX19281" y="connsiteY19281"/>
                </a:cxn>
                <a:cxn ang="0">
                  <a:pos x="connsiteX19282" y="connsiteY19282"/>
                </a:cxn>
                <a:cxn ang="0">
                  <a:pos x="connsiteX19283" y="connsiteY19283"/>
                </a:cxn>
                <a:cxn ang="0">
                  <a:pos x="connsiteX19284" y="connsiteY19284"/>
                </a:cxn>
                <a:cxn ang="0">
                  <a:pos x="connsiteX19285" y="connsiteY19285"/>
                </a:cxn>
                <a:cxn ang="0">
                  <a:pos x="connsiteX19286" y="connsiteY19286"/>
                </a:cxn>
                <a:cxn ang="0">
                  <a:pos x="connsiteX19287" y="connsiteY19287"/>
                </a:cxn>
                <a:cxn ang="0">
                  <a:pos x="connsiteX19288" y="connsiteY19288"/>
                </a:cxn>
                <a:cxn ang="0">
                  <a:pos x="connsiteX19289" y="connsiteY19289"/>
                </a:cxn>
                <a:cxn ang="0">
                  <a:pos x="connsiteX19290" y="connsiteY19290"/>
                </a:cxn>
                <a:cxn ang="0">
                  <a:pos x="connsiteX19291" y="connsiteY19291"/>
                </a:cxn>
                <a:cxn ang="0">
                  <a:pos x="connsiteX19292" y="connsiteY19292"/>
                </a:cxn>
                <a:cxn ang="0">
                  <a:pos x="connsiteX19293" y="connsiteY19293"/>
                </a:cxn>
                <a:cxn ang="0">
                  <a:pos x="connsiteX19294" y="connsiteY19294"/>
                </a:cxn>
                <a:cxn ang="0">
                  <a:pos x="connsiteX19295" y="connsiteY19295"/>
                </a:cxn>
                <a:cxn ang="0">
                  <a:pos x="connsiteX19296" y="connsiteY19296"/>
                </a:cxn>
                <a:cxn ang="0">
                  <a:pos x="connsiteX19297" y="connsiteY19297"/>
                </a:cxn>
                <a:cxn ang="0">
                  <a:pos x="connsiteX19298" y="connsiteY19298"/>
                </a:cxn>
                <a:cxn ang="0">
                  <a:pos x="connsiteX19299" y="connsiteY19299"/>
                </a:cxn>
                <a:cxn ang="0">
                  <a:pos x="connsiteX19300" y="connsiteY19300"/>
                </a:cxn>
                <a:cxn ang="0">
                  <a:pos x="connsiteX19301" y="connsiteY19301"/>
                </a:cxn>
                <a:cxn ang="0">
                  <a:pos x="connsiteX19302" y="connsiteY19302"/>
                </a:cxn>
                <a:cxn ang="0">
                  <a:pos x="connsiteX19303" y="connsiteY19303"/>
                </a:cxn>
                <a:cxn ang="0">
                  <a:pos x="connsiteX19304" y="connsiteY19304"/>
                </a:cxn>
                <a:cxn ang="0">
                  <a:pos x="connsiteX19305" y="connsiteY19305"/>
                </a:cxn>
                <a:cxn ang="0">
                  <a:pos x="connsiteX19306" y="connsiteY19306"/>
                </a:cxn>
                <a:cxn ang="0">
                  <a:pos x="connsiteX19307" y="connsiteY19307"/>
                </a:cxn>
                <a:cxn ang="0">
                  <a:pos x="connsiteX19308" y="connsiteY19308"/>
                </a:cxn>
                <a:cxn ang="0">
                  <a:pos x="connsiteX19309" y="connsiteY19309"/>
                </a:cxn>
                <a:cxn ang="0">
                  <a:pos x="connsiteX19310" y="connsiteY19310"/>
                </a:cxn>
                <a:cxn ang="0">
                  <a:pos x="connsiteX19311" y="connsiteY19311"/>
                </a:cxn>
                <a:cxn ang="0">
                  <a:pos x="connsiteX19312" y="connsiteY19312"/>
                </a:cxn>
                <a:cxn ang="0">
                  <a:pos x="connsiteX19313" y="connsiteY19313"/>
                </a:cxn>
                <a:cxn ang="0">
                  <a:pos x="connsiteX19314" y="connsiteY19314"/>
                </a:cxn>
                <a:cxn ang="0">
                  <a:pos x="connsiteX19315" y="connsiteY19315"/>
                </a:cxn>
                <a:cxn ang="0">
                  <a:pos x="connsiteX19316" y="connsiteY19316"/>
                </a:cxn>
                <a:cxn ang="0">
                  <a:pos x="connsiteX19317" y="connsiteY19317"/>
                </a:cxn>
                <a:cxn ang="0">
                  <a:pos x="connsiteX19318" y="connsiteY19318"/>
                </a:cxn>
                <a:cxn ang="0">
                  <a:pos x="connsiteX19319" y="connsiteY19319"/>
                </a:cxn>
                <a:cxn ang="0">
                  <a:pos x="connsiteX19320" y="connsiteY19320"/>
                </a:cxn>
                <a:cxn ang="0">
                  <a:pos x="connsiteX19321" y="connsiteY19321"/>
                </a:cxn>
                <a:cxn ang="0">
                  <a:pos x="connsiteX19322" y="connsiteY19322"/>
                </a:cxn>
                <a:cxn ang="0">
                  <a:pos x="connsiteX19323" y="connsiteY19323"/>
                </a:cxn>
                <a:cxn ang="0">
                  <a:pos x="connsiteX19324" y="connsiteY19324"/>
                </a:cxn>
                <a:cxn ang="0">
                  <a:pos x="connsiteX19325" y="connsiteY19325"/>
                </a:cxn>
                <a:cxn ang="0">
                  <a:pos x="connsiteX19326" y="connsiteY19326"/>
                </a:cxn>
                <a:cxn ang="0">
                  <a:pos x="connsiteX19327" y="connsiteY19327"/>
                </a:cxn>
                <a:cxn ang="0">
                  <a:pos x="connsiteX19328" y="connsiteY19328"/>
                </a:cxn>
                <a:cxn ang="0">
                  <a:pos x="connsiteX19329" y="connsiteY19329"/>
                </a:cxn>
                <a:cxn ang="0">
                  <a:pos x="connsiteX19330" y="connsiteY19330"/>
                </a:cxn>
                <a:cxn ang="0">
                  <a:pos x="connsiteX19331" y="connsiteY19331"/>
                </a:cxn>
                <a:cxn ang="0">
                  <a:pos x="connsiteX19332" y="connsiteY19332"/>
                </a:cxn>
                <a:cxn ang="0">
                  <a:pos x="connsiteX19333" y="connsiteY19333"/>
                </a:cxn>
                <a:cxn ang="0">
                  <a:pos x="connsiteX19334" y="connsiteY19334"/>
                </a:cxn>
                <a:cxn ang="0">
                  <a:pos x="connsiteX19335" y="connsiteY19335"/>
                </a:cxn>
                <a:cxn ang="0">
                  <a:pos x="connsiteX19336" y="connsiteY19336"/>
                </a:cxn>
                <a:cxn ang="0">
                  <a:pos x="connsiteX19337" y="connsiteY19337"/>
                </a:cxn>
                <a:cxn ang="0">
                  <a:pos x="connsiteX19338" y="connsiteY19338"/>
                </a:cxn>
                <a:cxn ang="0">
                  <a:pos x="connsiteX19339" y="connsiteY19339"/>
                </a:cxn>
                <a:cxn ang="0">
                  <a:pos x="connsiteX19340" y="connsiteY19340"/>
                </a:cxn>
                <a:cxn ang="0">
                  <a:pos x="connsiteX19341" y="connsiteY19341"/>
                </a:cxn>
                <a:cxn ang="0">
                  <a:pos x="connsiteX19342" y="connsiteY19342"/>
                </a:cxn>
                <a:cxn ang="0">
                  <a:pos x="connsiteX19343" y="connsiteY19343"/>
                </a:cxn>
                <a:cxn ang="0">
                  <a:pos x="connsiteX19344" y="connsiteY19344"/>
                </a:cxn>
                <a:cxn ang="0">
                  <a:pos x="connsiteX19345" y="connsiteY19345"/>
                </a:cxn>
                <a:cxn ang="0">
                  <a:pos x="connsiteX19346" y="connsiteY19346"/>
                </a:cxn>
                <a:cxn ang="0">
                  <a:pos x="connsiteX19347" y="connsiteY19347"/>
                </a:cxn>
                <a:cxn ang="0">
                  <a:pos x="connsiteX19348" y="connsiteY19348"/>
                </a:cxn>
                <a:cxn ang="0">
                  <a:pos x="connsiteX19349" y="connsiteY19349"/>
                </a:cxn>
                <a:cxn ang="0">
                  <a:pos x="connsiteX19350" y="connsiteY19350"/>
                </a:cxn>
                <a:cxn ang="0">
                  <a:pos x="connsiteX19351" y="connsiteY19351"/>
                </a:cxn>
                <a:cxn ang="0">
                  <a:pos x="connsiteX19352" y="connsiteY19352"/>
                </a:cxn>
                <a:cxn ang="0">
                  <a:pos x="connsiteX19353" y="connsiteY19353"/>
                </a:cxn>
                <a:cxn ang="0">
                  <a:pos x="connsiteX19354" y="connsiteY19354"/>
                </a:cxn>
                <a:cxn ang="0">
                  <a:pos x="connsiteX19355" y="connsiteY19355"/>
                </a:cxn>
                <a:cxn ang="0">
                  <a:pos x="connsiteX19356" y="connsiteY19356"/>
                </a:cxn>
                <a:cxn ang="0">
                  <a:pos x="connsiteX19357" y="connsiteY19357"/>
                </a:cxn>
                <a:cxn ang="0">
                  <a:pos x="connsiteX19358" y="connsiteY19358"/>
                </a:cxn>
                <a:cxn ang="0">
                  <a:pos x="connsiteX19359" y="connsiteY19359"/>
                </a:cxn>
                <a:cxn ang="0">
                  <a:pos x="connsiteX19360" y="connsiteY19360"/>
                </a:cxn>
                <a:cxn ang="0">
                  <a:pos x="connsiteX19361" y="connsiteY19361"/>
                </a:cxn>
                <a:cxn ang="0">
                  <a:pos x="connsiteX19362" y="connsiteY19362"/>
                </a:cxn>
                <a:cxn ang="0">
                  <a:pos x="connsiteX19363" y="connsiteY19363"/>
                </a:cxn>
                <a:cxn ang="0">
                  <a:pos x="connsiteX19364" y="connsiteY19364"/>
                </a:cxn>
                <a:cxn ang="0">
                  <a:pos x="connsiteX19365" y="connsiteY19365"/>
                </a:cxn>
                <a:cxn ang="0">
                  <a:pos x="connsiteX19366" y="connsiteY19366"/>
                </a:cxn>
                <a:cxn ang="0">
                  <a:pos x="connsiteX19367" y="connsiteY19367"/>
                </a:cxn>
                <a:cxn ang="0">
                  <a:pos x="connsiteX19368" y="connsiteY19368"/>
                </a:cxn>
                <a:cxn ang="0">
                  <a:pos x="connsiteX19369" y="connsiteY19369"/>
                </a:cxn>
                <a:cxn ang="0">
                  <a:pos x="connsiteX19370" y="connsiteY19370"/>
                </a:cxn>
                <a:cxn ang="0">
                  <a:pos x="connsiteX19371" y="connsiteY19371"/>
                </a:cxn>
                <a:cxn ang="0">
                  <a:pos x="connsiteX19372" y="connsiteY19372"/>
                </a:cxn>
                <a:cxn ang="0">
                  <a:pos x="connsiteX19373" y="connsiteY19373"/>
                </a:cxn>
                <a:cxn ang="0">
                  <a:pos x="connsiteX19374" y="connsiteY19374"/>
                </a:cxn>
                <a:cxn ang="0">
                  <a:pos x="connsiteX19375" y="connsiteY19375"/>
                </a:cxn>
                <a:cxn ang="0">
                  <a:pos x="connsiteX19376" y="connsiteY19376"/>
                </a:cxn>
                <a:cxn ang="0">
                  <a:pos x="connsiteX19377" y="connsiteY19377"/>
                </a:cxn>
                <a:cxn ang="0">
                  <a:pos x="connsiteX19378" y="connsiteY19378"/>
                </a:cxn>
                <a:cxn ang="0">
                  <a:pos x="connsiteX19379" y="connsiteY19379"/>
                </a:cxn>
                <a:cxn ang="0">
                  <a:pos x="connsiteX19380" y="connsiteY19380"/>
                </a:cxn>
                <a:cxn ang="0">
                  <a:pos x="connsiteX19381" y="connsiteY19381"/>
                </a:cxn>
                <a:cxn ang="0">
                  <a:pos x="connsiteX19382" y="connsiteY19382"/>
                </a:cxn>
                <a:cxn ang="0">
                  <a:pos x="connsiteX19383" y="connsiteY19383"/>
                </a:cxn>
                <a:cxn ang="0">
                  <a:pos x="connsiteX19384" y="connsiteY19384"/>
                </a:cxn>
                <a:cxn ang="0">
                  <a:pos x="connsiteX19385" y="connsiteY19385"/>
                </a:cxn>
                <a:cxn ang="0">
                  <a:pos x="connsiteX19386" y="connsiteY19386"/>
                </a:cxn>
                <a:cxn ang="0">
                  <a:pos x="connsiteX19387" y="connsiteY19387"/>
                </a:cxn>
                <a:cxn ang="0">
                  <a:pos x="connsiteX19388" y="connsiteY19388"/>
                </a:cxn>
                <a:cxn ang="0">
                  <a:pos x="connsiteX19389" y="connsiteY19389"/>
                </a:cxn>
                <a:cxn ang="0">
                  <a:pos x="connsiteX19390" y="connsiteY19390"/>
                </a:cxn>
                <a:cxn ang="0">
                  <a:pos x="connsiteX19391" y="connsiteY19391"/>
                </a:cxn>
                <a:cxn ang="0">
                  <a:pos x="connsiteX19392" y="connsiteY19392"/>
                </a:cxn>
                <a:cxn ang="0">
                  <a:pos x="connsiteX19393" y="connsiteY19393"/>
                </a:cxn>
                <a:cxn ang="0">
                  <a:pos x="connsiteX19394" y="connsiteY19394"/>
                </a:cxn>
                <a:cxn ang="0">
                  <a:pos x="connsiteX19395" y="connsiteY19395"/>
                </a:cxn>
                <a:cxn ang="0">
                  <a:pos x="connsiteX19396" y="connsiteY19396"/>
                </a:cxn>
                <a:cxn ang="0">
                  <a:pos x="connsiteX19397" y="connsiteY19397"/>
                </a:cxn>
                <a:cxn ang="0">
                  <a:pos x="connsiteX19398" y="connsiteY19398"/>
                </a:cxn>
                <a:cxn ang="0">
                  <a:pos x="connsiteX19399" y="connsiteY19399"/>
                </a:cxn>
                <a:cxn ang="0">
                  <a:pos x="connsiteX19400" y="connsiteY19400"/>
                </a:cxn>
                <a:cxn ang="0">
                  <a:pos x="connsiteX19401" y="connsiteY19401"/>
                </a:cxn>
                <a:cxn ang="0">
                  <a:pos x="connsiteX19402" y="connsiteY19402"/>
                </a:cxn>
                <a:cxn ang="0">
                  <a:pos x="connsiteX19403" y="connsiteY19403"/>
                </a:cxn>
                <a:cxn ang="0">
                  <a:pos x="connsiteX19404" y="connsiteY19404"/>
                </a:cxn>
                <a:cxn ang="0">
                  <a:pos x="connsiteX19405" y="connsiteY19405"/>
                </a:cxn>
                <a:cxn ang="0">
                  <a:pos x="connsiteX19406" y="connsiteY19406"/>
                </a:cxn>
                <a:cxn ang="0">
                  <a:pos x="connsiteX19407" y="connsiteY19407"/>
                </a:cxn>
                <a:cxn ang="0">
                  <a:pos x="connsiteX19408" y="connsiteY19408"/>
                </a:cxn>
                <a:cxn ang="0">
                  <a:pos x="connsiteX19409" y="connsiteY19409"/>
                </a:cxn>
                <a:cxn ang="0">
                  <a:pos x="connsiteX19410" y="connsiteY19410"/>
                </a:cxn>
                <a:cxn ang="0">
                  <a:pos x="connsiteX19411" y="connsiteY19411"/>
                </a:cxn>
                <a:cxn ang="0">
                  <a:pos x="connsiteX19412" y="connsiteY19412"/>
                </a:cxn>
                <a:cxn ang="0">
                  <a:pos x="connsiteX19413" y="connsiteY19413"/>
                </a:cxn>
                <a:cxn ang="0">
                  <a:pos x="connsiteX19414" y="connsiteY19414"/>
                </a:cxn>
                <a:cxn ang="0">
                  <a:pos x="connsiteX19415" y="connsiteY19415"/>
                </a:cxn>
                <a:cxn ang="0">
                  <a:pos x="connsiteX19416" y="connsiteY19416"/>
                </a:cxn>
                <a:cxn ang="0">
                  <a:pos x="connsiteX19417" y="connsiteY19417"/>
                </a:cxn>
                <a:cxn ang="0">
                  <a:pos x="connsiteX19418" y="connsiteY19418"/>
                </a:cxn>
                <a:cxn ang="0">
                  <a:pos x="connsiteX19419" y="connsiteY19419"/>
                </a:cxn>
                <a:cxn ang="0">
                  <a:pos x="connsiteX19420" y="connsiteY19420"/>
                </a:cxn>
                <a:cxn ang="0">
                  <a:pos x="connsiteX19421" y="connsiteY19421"/>
                </a:cxn>
                <a:cxn ang="0">
                  <a:pos x="connsiteX19422" y="connsiteY19422"/>
                </a:cxn>
                <a:cxn ang="0">
                  <a:pos x="connsiteX19423" y="connsiteY19423"/>
                </a:cxn>
                <a:cxn ang="0">
                  <a:pos x="connsiteX19424" y="connsiteY19424"/>
                </a:cxn>
                <a:cxn ang="0">
                  <a:pos x="connsiteX19425" y="connsiteY19425"/>
                </a:cxn>
                <a:cxn ang="0">
                  <a:pos x="connsiteX19426" y="connsiteY19426"/>
                </a:cxn>
                <a:cxn ang="0">
                  <a:pos x="connsiteX19427" y="connsiteY19427"/>
                </a:cxn>
                <a:cxn ang="0">
                  <a:pos x="connsiteX19428" y="connsiteY19428"/>
                </a:cxn>
                <a:cxn ang="0">
                  <a:pos x="connsiteX19429" y="connsiteY19429"/>
                </a:cxn>
                <a:cxn ang="0">
                  <a:pos x="connsiteX19430" y="connsiteY19430"/>
                </a:cxn>
                <a:cxn ang="0">
                  <a:pos x="connsiteX19431" y="connsiteY19431"/>
                </a:cxn>
                <a:cxn ang="0">
                  <a:pos x="connsiteX19432" y="connsiteY19432"/>
                </a:cxn>
                <a:cxn ang="0">
                  <a:pos x="connsiteX19433" y="connsiteY19433"/>
                </a:cxn>
                <a:cxn ang="0">
                  <a:pos x="connsiteX19434" y="connsiteY19434"/>
                </a:cxn>
                <a:cxn ang="0">
                  <a:pos x="connsiteX19435" y="connsiteY19435"/>
                </a:cxn>
                <a:cxn ang="0">
                  <a:pos x="connsiteX19436" y="connsiteY19436"/>
                </a:cxn>
                <a:cxn ang="0">
                  <a:pos x="connsiteX19437" y="connsiteY19437"/>
                </a:cxn>
                <a:cxn ang="0">
                  <a:pos x="connsiteX19438" y="connsiteY19438"/>
                </a:cxn>
                <a:cxn ang="0">
                  <a:pos x="connsiteX19439" y="connsiteY19439"/>
                </a:cxn>
                <a:cxn ang="0">
                  <a:pos x="connsiteX19440" y="connsiteY19440"/>
                </a:cxn>
                <a:cxn ang="0">
                  <a:pos x="connsiteX19441" y="connsiteY19441"/>
                </a:cxn>
                <a:cxn ang="0">
                  <a:pos x="connsiteX19442" y="connsiteY19442"/>
                </a:cxn>
                <a:cxn ang="0">
                  <a:pos x="connsiteX19443" y="connsiteY19443"/>
                </a:cxn>
                <a:cxn ang="0">
                  <a:pos x="connsiteX19444" y="connsiteY19444"/>
                </a:cxn>
                <a:cxn ang="0">
                  <a:pos x="connsiteX19445" y="connsiteY19445"/>
                </a:cxn>
                <a:cxn ang="0">
                  <a:pos x="connsiteX19446" y="connsiteY19446"/>
                </a:cxn>
                <a:cxn ang="0">
                  <a:pos x="connsiteX19447" y="connsiteY19447"/>
                </a:cxn>
                <a:cxn ang="0">
                  <a:pos x="connsiteX19448" y="connsiteY19448"/>
                </a:cxn>
                <a:cxn ang="0">
                  <a:pos x="connsiteX19449" y="connsiteY19449"/>
                </a:cxn>
                <a:cxn ang="0">
                  <a:pos x="connsiteX19450" y="connsiteY19450"/>
                </a:cxn>
                <a:cxn ang="0">
                  <a:pos x="connsiteX19451" y="connsiteY19451"/>
                </a:cxn>
                <a:cxn ang="0">
                  <a:pos x="connsiteX19452" y="connsiteY19452"/>
                </a:cxn>
                <a:cxn ang="0">
                  <a:pos x="connsiteX19453" y="connsiteY19453"/>
                </a:cxn>
                <a:cxn ang="0">
                  <a:pos x="connsiteX19454" y="connsiteY19454"/>
                </a:cxn>
                <a:cxn ang="0">
                  <a:pos x="connsiteX19455" y="connsiteY19455"/>
                </a:cxn>
                <a:cxn ang="0">
                  <a:pos x="connsiteX19456" y="connsiteY19456"/>
                </a:cxn>
                <a:cxn ang="0">
                  <a:pos x="connsiteX19457" y="connsiteY19457"/>
                </a:cxn>
                <a:cxn ang="0">
                  <a:pos x="connsiteX19458" y="connsiteY19458"/>
                </a:cxn>
                <a:cxn ang="0">
                  <a:pos x="connsiteX19459" y="connsiteY19459"/>
                </a:cxn>
                <a:cxn ang="0">
                  <a:pos x="connsiteX19460" y="connsiteY19460"/>
                </a:cxn>
                <a:cxn ang="0">
                  <a:pos x="connsiteX19461" y="connsiteY19461"/>
                </a:cxn>
                <a:cxn ang="0">
                  <a:pos x="connsiteX19462" y="connsiteY19462"/>
                </a:cxn>
                <a:cxn ang="0">
                  <a:pos x="connsiteX19463" y="connsiteY19463"/>
                </a:cxn>
                <a:cxn ang="0">
                  <a:pos x="connsiteX19464" y="connsiteY19464"/>
                </a:cxn>
                <a:cxn ang="0">
                  <a:pos x="connsiteX19465" y="connsiteY19465"/>
                </a:cxn>
                <a:cxn ang="0">
                  <a:pos x="connsiteX19466" y="connsiteY19466"/>
                </a:cxn>
                <a:cxn ang="0">
                  <a:pos x="connsiteX19467" y="connsiteY19467"/>
                </a:cxn>
                <a:cxn ang="0">
                  <a:pos x="connsiteX19468" y="connsiteY19468"/>
                </a:cxn>
                <a:cxn ang="0">
                  <a:pos x="connsiteX19469" y="connsiteY19469"/>
                </a:cxn>
                <a:cxn ang="0">
                  <a:pos x="connsiteX19470" y="connsiteY19470"/>
                </a:cxn>
                <a:cxn ang="0">
                  <a:pos x="connsiteX19471" y="connsiteY19471"/>
                </a:cxn>
                <a:cxn ang="0">
                  <a:pos x="connsiteX19472" y="connsiteY19472"/>
                </a:cxn>
                <a:cxn ang="0">
                  <a:pos x="connsiteX19473" y="connsiteY19473"/>
                </a:cxn>
                <a:cxn ang="0">
                  <a:pos x="connsiteX19474" y="connsiteY19474"/>
                </a:cxn>
                <a:cxn ang="0">
                  <a:pos x="connsiteX19475" y="connsiteY19475"/>
                </a:cxn>
                <a:cxn ang="0">
                  <a:pos x="connsiteX19476" y="connsiteY19476"/>
                </a:cxn>
                <a:cxn ang="0">
                  <a:pos x="connsiteX19477" y="connsiteY19477"/>
                </a:cxn>
                <a:cxn ang="0">
                  <a:pos x="connsiteX19478" y="connsiteY19478"/>
                </a:cxn>
                <a:cxn ang="0">
                  <a:pos x="connsiteX19479" y="connsiteY19479"/>
                </a:cxn>
                <a:cxn ang="0">
                  <a:pos x="connsiteX19480" y="connsiteY19480"/>
                </a:cxn>
                <a:cxn ang="0">
                  <a:pos x="connsiteX19481" y="connsiteY19481"/>
                </a:cxn>
                <a:cxn ang="0">
                  <a:pos x="connsiteX19482" y="connsiteY19482"/>
                </a:cxn>
                <a:cxn ang="0">
                  <a:pos x="connsiteX19483" y="connsiteY19483"/>
                </a:cxn>
                <a:cxn ang="0">
                  <a:pos x="connsiteX19484" y="connsiteY19484"/>
                </a:cxn>
                <a:cxn ang="0">
                  <a:pos x="connsiteX19485" y="connsiteY19485"/>
                </a:cxn>
                <a:cxn ang="0">
                  <a:pos x="connsiteX19486" y="connsiteY19486"/>
                </a:cxn>
                <a:cxn ang="0">
                  <a:pos x="connsiteX19487" y="connsiteY19487"/>
                </a:cxn>
                <a:cxn ang="0">
                  <a:pos x="connsiteX19488" y="connsiteY19488"/>
                </a:cxn>
                <a:cxn ang="0">
                  <a:pos x="connsiteX19489" y="connsiteY19489"/>
                </a:cxn>
                <a:cxn ang="0">
                  <a:pos x="connsiteX19490" y="connsiteY19490"/>
                </a:cxn>
                <a:cxn ang="0">
                  <a:pos x="connsiteX19491" y="connsiteY19491"/>
                </a:cxn>
                <a:cxn ang="0">
                  <a:pos x="connsiteX19492" y="connsiteY19492"/>
                </a:cxn>
                <a:cxn ang="0">
                  <a:pos x="connsiteX19493" y="connsiteY19493"/>
                </a:cxn>
                <a:cxn ang="0">
                  <a:pos x="connsiteX19494" y="connsiteY19494"/>
                </a:cxn>
                <a:cxn ang="0">
                  <a:pos x="connsiteX19495" y="connsiteY19495"/>
                </a:cxn>
                <a:cxn ang="0">
                  <a:pos x="connsiteX19496" y="connsiteY19496"/>
                </a:cxn>
                <a:cxn ang="0">
                  <a:pos x="connsiteX19497" y="connsiteY19497"/>
                </a:cxn>
                <a:cxn ang="0">
                  <a:pos x="connsiteX19498" y="connsiteY19498"/>
                </a:cxn>
                <a:cxn ang="0">
                  <a:pos x="connsiteX19499" y="connsiteY19499"/>
                </a:cxn>
                <a:cxn ang="0">
                  <a:pos x="connsiteX19500" y="connsiteY19500"/>
                </a:cxn>
                <a:cxn ang="0">
                  <a:pos x="connsiteX19501" y="connsiteY19501"/>
                </a:cxn>
                <a:cxn ang="0">
                  <a:pos x="connsiteX19502" y="connsiteY19502"/>
                </a:cxn>
                <a:cxn ang="0">
                  <a:pos x="connsiteX19503" y="connsiteY19503"/>
                </a:cxn>
                <a:cxn ang="0">
                  <a:pos x="connsiteX19504" y="connsiteY19504"/>
                </a:cxn>
                <a:cxn ang="0">
                  <a:pos x="connsiteX19505" y="connsiteY19505"/>
                </a:cxn>
                <a:cxn ang="0">
                  <a:pos x="connsiteX19506" y="connsiteY19506"/>
                </a:cxn>
                <a:cxn ang="0">
                  <a:pos x="connsiteX19507" y="connsiteY19507"/>
                </a:cxn>
                <a:cxn ang="0">
                  <a:pos x="connsiteX19508" y="connsiteY19508"/>
                </a:cxn>
                <a:cxn ang="0">
                  <a:pos x="connsiteX19509" y="connsiteY19509"/>
                </a:cxn>
                <a:cxn ang="0">
                  <a:pos x="connsiteX19510" y="connsiteY19510"/>
                </a:cxn>
                <a:cxn ang="0">
                  <a:pos x="connsiteX19511" y="connsiteY19511"/>
                </a:cxn>
                <a:cxn ang="0">
                  <a:pos x="connsiteX19512" y="connsiteY19512"/>
                </a:cxn>
                <a:cxn ang="0">
                  <a:pos x="connsiteX19513" y="connsiteY19513"/>
                </a:cxn>
                <a:cxn ang="0">
                  <a:pos x="connsiteX19514" y="connsiteY19514"/>
                </a:cxn>
                <a:cxn ang="0">
                  <a:pos x="connsiteX19515" y="connsiteY19515"/>
                </a:cxn>
                <a:cxn ang="0">
                  <a:pos x="connsiteX19516" y="connsiteY19516"/>
                </a:cxn>
                <a:cxn ang="0">
                  <a:pos x="connsiteX19517" y="connsiteY19517"/>
                </a:cxn>
                <a:cxn ang="0">
                  <a:pos x="connsiteX19518" y="connsiteY19518"/>
                </a:cxn>
                <a:cxn ang="0">
                  <a:pos x="connsiteX19519" y="connsiteY19519"/>
                </a:cxn>
                <a:cxn ang="0">
                  <a:pos x="connsiteX19520" y="connsiteY19520"/>
                </a:cxn>
                <a:cxn ang="0">
                  <a:pos x="connsiteX19521" y="connsiteY19521"/>
                </a:cxn>
                <a:cxn ang="0">
                  <a:pos x="connsiteX19522" y="connsiteY19522"/>
                </a:cxn>
                <a:cxn ang="0">
                  <a:pos x="connsiteX19523" y="connsiteY19523"/>
                </a:cxn>
                <a:cxn ang="0">
                  <a:pos x="connsiteX19524" y="connsiteY19524"/>
                </a:cxn>
                <a:cxn ang="0">
                  <a:pos x="connsiteX19525" y="connsiteY19525"/>
                </a:cxn>
                <a:cxn ang="0">
                  <a:pos x="connsiteX19526" y="connsiteY19526"/>
                </a:cxn>
                <a:cxn ang="0">
                  <a:pos x="connsiteX19527" y="connsiteY19527"/>
                </a:cxn>
                <a:cxn ang="0">
                  <a:pos x="connsiteX19528" y="connsiteY19528"/>
                </a:cxn>
                <a:cxn ang="0">
                  <a:pos x="connsiteX19529" y="connsiteY19529"/>
                </a:cxn>
                <a:cxn ang="0">
                  <a:pos x="connsiteX19530" y="connsiteY19530"/>
                </a:cxn>
                <a:cxn ang="0">
                  <a:pos x="connsiteX19531" y="connsiteY19531"/>
                </a:cxn>
                <a:cxn ang="0">
                  <a:pos x="connsiteX19532" y="connsiteY19532"/>
                </a:cxn>
                <a:cxn ang="0">
                  <a:pos x="connsiteX19533" y="connsiteY19533"/>
                </a:cxn>
                <a:cxn ang="0">
                  <a:pos x="connsiteX19534" y="connsiteY19534"/>
                </a:cxn>
                <a:cxn ang="0">
                  <a:pos x="connsiteX19535" y="connsiteY19535"/>
                </a:cxn>
                <a:cxn ang="0">
                  <a:pos x="connsiteX19536" y="connsiteY19536"/>
                </a:cxn>
                <a:cxn ang="0">
                  <a:pos x="connsiteX19537" y="connsiteY19537"/>
                </a:cxn>
                <a:cxn ang="0">
                  <a:pos x="connsiteX19538" y="connsiteY19538"/>
                </a:cxn>
                <a:cxn ang="0">
                  <a:pos x="connsiteX19539" y="connsiteY19539"/>
                </a:cxn>
                <a:cxn ang="0">
                  <a:pos x="connsiteX19540" y="connsiteY19540"/>
                </a:cxn>
                <a:cxn ang="0">
                  <a:pos x="connsiteX19541" y="connsiteY19541"/>
                </a:cxn>
                <a:cxn ang="0">
                  <a:pos x="connsiteX19542" y="connsiteY19542"/>
                </a:cxn>
                <a:cxn ang="0">
                  <a:pos x="connsiteX19543" y="connsiteY19543"/>
                </a:cxn>
                <a:cxn ang="0">
                  <a:pos x="connsiteX19544" y="connsiteY19544"/>
                </a:cxn>
                <a:cxn ang="0">
                  <a:pos x="connsiteX19545" y="connsiteY19545"/>
                </a:cxn>
                <a:cxn ang="0">
                  <a:pos x="connsiteX19546" y="connsiteY19546"/>
                </a:cxn>
                <a:cxn ang="0">
                  <a:pos x="connsiteX19547" y="connsiteY19547"/>
                </a:cxn>
                <a:cxn ang="0">
                  <a:pos x="connsiteX19548" y="connsiteY19548"/>
                </a:cxn>
                <a:cxn ang="0">
                  <a:pos x="connsiteX19549" y="connsiteY19549"/>
                </a:cxn>
                <a:cxn ang="0">
                  <a:pos x="connsiteX19550" y="connsiteY19550"/>
                </a:cxn>
                <a:cxn ang="0">
                  <a:pos x="connsiteX19551" y="connsiteY19551"/>
                </a:cxn>
                <a:cxn ang="0">
                  <a:pos x="connsiteX19552" y="connsiteY19552"/>
                </a:cxn>
                <a:cxn ang="0">
                  <a:pos x="connsiteX19553" y="connsiteY19553"/>
                </a:cxn>
                <a:cxn ang="0">
                  <a:pos x="connsiteX19554" y="connsiteY19554"/>
                </a:cxn>
                <a:cxn ang="0">
                  <a:pos x="connsiteX19555" y="connsiteY19555"/>
                </a:cxn>
                <a:cxn ang="0">
                  <a:pos x="connsiteX19556" y="connsiteY19556"/>
                </a:cxn>
                <a:cxn ang="0">
                  <a:pos x="connsiteX19557" y="connsiteY19557"/>
                </a:cxn>
                <a:cxn ang="0">
                  <a:pos x="connsiteX19558" y="connsiteY19558"/>
                </a:cxn>
                <a:cxn ang="0">
                  <a:pos x="connsiteX19559" y="connsiteY19559"/>
                </a:cxn>
                <a:cxn ang="0">
                  <a:pos x="connsiteX19560" y="connsiteY19560"/>
                </a:cxn>
                <a:cxn ang="0">
                  <a:pos x="connsiteX19561" y="connsiteY19561"/>
                </a:cxn>
                <a:cxn ang="0">
                  <a:pos x="connsiteX19562" y="connsiteY19562"/>
                </a:cxn>
                <a:cxn ang="0">
                  <a:pos x="connsiteX19563" y="connsiteY19563"/>
                </a:cxn>
                <a:cxn ang="0">
                  <a:pos x="connsiteX19564" y="connsiteY19564"/>
                </a:cxn>
                <a:cxn ang="0">
                  <a:pos x="connsiteX19565" y="connsiteY19565"/>
                </a:cxn>
                <a:cxn ang="0">
                  <a:pos x="connsiteX19566" y="connsiteY19566"/>
                </a:cxn>
                <a:cxn ang="0">
                  <a:pos x="connsiteX19567" y="connsiteY19567"/>
                </a:cxn>
                <a:cxn ang="0">
                  <a:pos x="connsiteX19568" y="connsiteY19568"/>
                </a:cxn>
                <a:cxn ang="0">
                  <a:pos x="connsiteX19569" y="connsiteY19569"/>
                </a:cxn>
                <a:cxn ang="0">
                  <a:pos x="connsiteX19570" y="connsiteY19570"/>
                </a:cxn>
                <a:cxn ang="0">
                  <a:pos x="connsiteX19571" y="connsiteY19571"/>
                </a:cxn>
                <a:cxn ang="0">
                  <a:pos x="connsiteX19572" y="connsiteY19572"/>
                </a:cxn>
                <a:cxn ang="0">
                  <a:pos x="connsiteX19573" y="connsiteY19573"/>
                </a:cxn>
                <a:cxn ang="0">
                  <a:pos x="connsiteX19574" y="connsiteY19574"/>
                </a:cxn>
                <a:cxn ang="0">
                  <a:pos x="connsiteX19575" y="connsiteY19575"/>
                </a:cxn>
                <a:cxn ang="0">
                  <a:pos x="connsiteX19576" y="connsiteY19576"/>
                </a:cxn>
                <a:cxn ang="0">
                  <a:pos x="connsiteX19577" y="connsiteY19577"/>
                </a:cxn>
                <a:cxn ang="0">
                  <a:pos x="connsiteX19578" y="connsiteY19578"/>
                </a:cxn>
                <a:cxn ang="0">
                  <a:pos x="connsiteX19579" y="connsiteY19579"/>
                </a:cxn>
                <a:cxn ang="0">
                  <a:pos x="connsiteX19580" y="connsiteY19580"/>
                </a:cxn>
                <a:cxn ang="0">
                  <a:pos x="connsiteX19581" y="connsiteY19581"/>
                </a:cxn>
                <a:cxn ang="0">
                  <a:pos x="connsiteX19582" y="connsiteY19582"/>
                </a:cxn>
                <a:cxn ang="0">
                  <a:pos x="connsiteX19583" y="connsiteY19583"/>
                </a:cxn>
                <a:cxn ang="0">
                  <a:pos x="connsiteX19584" y="connsiteY19584"/>
                </a:cxn>
                <a:cxn ang="0">
                  <a:pos x="connsiteX19585" y="connsiteY19585"/>
                </a:cxn>
                <a:cxn ang="0">
                  <a:pos x="connsiteX19586" y="connsiteY19586"/>
                </a:cxn>
                <a:cxn ang="0">
                  <a:pos x="connsiteX19587" y="connsiteY19587"/>
                </a:cxn>
                <a:cxn ang="0">
                  <a:pos x="connsiteX19588" y="connsiteY19588"/>
                </a:cxn>
                <a:cxn ang="0">
                  <a:pos x="connsiteX19589" y="connsiteY19589"/>
                </a:cxn>
                <a:cxn ang="0">
                  <a:pos x="connsiteX19590" y="connsiteY19590"/>
                </a:cxn>
                <a:cxn ang="0">
                  <a:pos x="connsiteX19591" y="connsiteY19591"/>
                </a:cxn>
                <a:cxn ang="0">
                  <a:pos x="connsiteX19592" y="connsiteY19592"/>
                </a:cxn>
                <a:cxn ang="0">
                  <a:pos x="connsiteX19593" y="connsiteY19593"/>
                </a:cxn>
                <a:cxn ang="0">
                  <a:pos x="connsiteX19594" y="connsiteY19594"/>
                </a:cxn>
                <a:cxn ang="0">
                  <a:pos x="connsiteX19595" y="connsiteY19595"/>
                </a:cxn>
                <a:cxn ang="0">
                  <a:pos x="connsiteX19596" y="connsiteY19596"/>
                </a:cxn>
                <a:cxn ang="0">
                  <a:pos x="connsiteX19597" y="connsiteY19597"/>
                </a:cxn>
                <a:cxn ang="0">
                  <a:pos x="connsiteX19598" y="connsiteY19598"/>
                </a:cxn>
                <a:cxn ang="0">
                  <a:pos x="connsiteX19599" y="connsiteY19599"/>
                </a:cxn>
                <a:cxn ang="0">
                  <a:pos x="connsiteX19600" y="connsiteY19600"/>
                </a:cxn>
                <a:cxn ang="0">
                  <a:pos x="connsiteX19601" y="connsiteY19601"/>
                </a:cxn>
                <a:cxn ang="0">
                  <a:pos x="connsiteX19602" y="connsiteY19602"/>
                </a:cxn>
                <a:cxn ang="0">
                  <a:pos x="connsiteX19603" y="connsiteY19603"/>
                </a:cxn>
                <a:cxn ang="0">
                  <a:pos x="connsiteX19604" y="connsiteY19604"/>
                </a:cxn>
                <a:cxn ang="0">
                  <a:pos x="connsiteX19605" y="connsiteY19605"/>
                </a:cxn>
                <a:cxn ang="0">
                  <a:pos x="connsiteX19606" y="connsiteY19606"/>
                </a:cxn>
                <a:cxn ang="0">
                  <a:pos x="connsiteX19607" y="connsiteY19607"/>
                </a:cxn>
                <a:cxn ang="0">
                  <a:pos x="connsiteX19608" y="connsiteY19608"/>
                </a:cxn>
                <a:cxn ang="0">
                  <a:pos x="connsiteX19609" y="connsiteY19609"/>
                </a:cxn>
                <a:cxn ang="0">
                  <a:pos x="connsiteX19610" y="connsiteY19610"/>
                </a:cxn>
                <a:cxn ang="0">
                  <a:pos x="connsiteX19611" y="connsiteY19611"/>
                </a:cxn>
                <a:cxn ang="0">
                  <a:pos x="connsiteX19612" y="connsiteY19612"/>
                </a:cxn>
                <a:cxn ang="0">
                  <a:pos x="connsiteX19613" y="connsiteY19613"/>
                </a:cxn>
                <a:cxn ang="0">
                  <a:pos x="connsiteX19614" y="connsiteY19614"/>
                </a:cxn>
                <a:cxn ang="0">
                  <a:pos x="connsiteX19615" y="connsiteY19615"/>
                </a:cxn>
                <a:cxn ang="0">
                  <a:pos x="connsiteX19616" y="connsiteY19616"/>
                </a:cxn>
                <a:cxn ang="0">
                  <a:pos x="connsiteX19617" y="connsiteY19617"/>
                </a:cxn>
                <a:cxn ang="0">
                  <a:pos x="connsiteX19618" y="connsiteY19618"/>
                </a:cxn>
                <a:cxn ang="0">
                  <a:pos x="connsiteX19619" y="connsiteY19619"/>
                </a:cxn>
                <a:cxn ang="0">
                  <a:pos x="connsiteX19620" y="connsiteY19620"/>
                </a:cxn>
                <a:cxn ang="0">
                  <a:pos x="connsiteX19621" y="connsiteY19621"/>
                </a:cxn>
                <a:cxn ang="0">
                  <a:pos x="connsiteX19622" y="connsiteY19622"/>
                </a:cxn>
                <a:cxn ang="0">
                  <a:pos x="connsiteX19623" y="connsiteY19623"/>
                </a:cxn>
                <a:cxn ang="0">
                  <a:pos x="connsiteX19624" y="connsiteY19624"/>
                </a:cxn>
                <a:cxn ang="0">
                  <a:pos x="connsiteX19625" y="connsiteY19625"/>
                </a:cxn>
                <a:cxn ang="0">
                  <a:pos x="connsiteX19626" y="connsiteY19626"/>
                </a:cxn>
                <a:cxn ang="0">
                  <a:pos x="connsiteX19627" y="connsiteY19627"/>
                </a:cxn>
                <a:cxn ang="0">
                  <a:pos x="connsiteX19628" y="connsiteY19628"/>
                </a:cxn>
                <a:cxn ang="0">
                  <a:pos x="connsiteX19629" y="connsiteY19629"/>
                </a:cxn>
                <a:cxn ang="0">
                  <a:pos x="connsiteX19630" y="connsiteY19630"/>
                </a:cxn>
                <a:cxn ang="0">
                  <a:pos x="connsiteX19631" y="connsiteY19631"/>
                </a:cxn>
                <a:cxn ang="0">
                  <a:pos x="connsiteX19632" y="connsiteY19632"/>
                </a:cxn>
                <a:cxn ang="0">
                  <a:pos x="connsiteX19633" y="connsiteY19633"/>
                </a:cxn>
                <a:cxn ang="0">
                  <a:pos x="connsiteX19634" y="connsiteY19634"/>
                </a:cxn>
                <a:cxn ang="0">
                  <a:pos x="connsiteX19635" y="connsiteY19635"/>
                </a:cxn>
                <a:cxn ang="0">
                  <a:pos x="connsiteX19636" y="connsiteY19636"/>
                </a:cxn>
                <a:cxn ang="0">
                  <a:pos x="connsiteX19637" y="connsiteY19637"/>
                </a:cxn>
                <a:cxn ang="0">
                  <a:pos x="connsiteX19638" y="connsiteY19638"/>
                </a:cxn>
                <a:cxn ang="0">
                  <a:pos x="connsiteX19639" y="connsiteY19639"/>
                </a:cxn>
                <a:cxn ang="0">
                  <a:pos x="connsiteX19640" y="connsiteY19640"/>
                </a:cxn>
                <a:cxn ang="0">
                  <a:pos x="connsiteX19641" y="connsiteY19641"/>
                </a:cxn>
                <a:cxn ang="0">
                  <a:pos x="connsiteX19642" y="connsiteY19642"/>
                </a:cxn>
                <a:cxn ang="0">
                  <a:pos x="connsiteX19643" y="connsiteY19643"/>
                </a:cxn>
                <a:cxn ang="0">
                  <a:pos x="connsiteX19644" y="connsiteY19644"/>
                </a:cxn>
                <a:cxn ang="0">
                  <a:pos x="connsiteX19645" y="connsiteY19645"/>
                </a:cxn>
                <a:cxn ang="0">
                  <a:pos x="connsiteX19646" y="connsiteY19646"/>
                </a:cxn>
                <a:cxn ang="0">
                  <a:pos x="connsiteX19647" y="connsiteY19647"/>
                </a:cxn>
                <a:cxn ang="0">
                  <a:pos x="connsiteX19648" y="connsiteY19648"/>
                </a:cxn>
                <a:cxn ang="0">
                  <a:pos x="connsiteX19649" y="connsiteY19649"/>
                </a:cxn>
                <a:cxn ang="0">
                  <a:pos x="connsiteX19650" y="connsiteY19650"/>
                </a:cxn>
                <a:cxn ang="0">
                  <a:pos x="connsiteX19651" y="connsiteY19651"/>
                </a:cxn>
                <a:cxn ang="0">
                  <a:pos x="connsiteX19652" y="connsiteY19652"/>
                </a:cxn>
                <a:cxn ang="0">
                  <a:pos x="connsiteX19653" y="connsiteY19653"/>
                </a:cxn>
                <a:cxn ang="0">
                  <a:pos x="connsiteX19654" y="connsiteY19654"/>
                </a:cxn>
                <a:cxn ang="0">
                  <a:pos x="connsiteX19655" y="connsiteY19655"/>
                </a:cxn>
                <a:cxn ang="0">
                  <a:pos x="connsiteX19656" y="connsiteY19656"/>
                </a:cxn>
                <a:cxn ang="0">
                  <a:pos x="connsiteX19657" y="connsiteY19657"/>
                </a:cxn>
                <a:cxn ang="0">
                  <a:pos x="connsiteX19658" y="connsiteY19658"/>
                </a:cxn>
                <a:cxn ang="0">
                  <a:pos x="connsiteX19659" y="connsiteY19659"/>
                </a:cxn>
                <a:cxn ang="0">
                  <a:pos x="connsiteX19660" y="connsiteY19660"/>
                </a:cxn>
                <a:cxn ang="0">
                  <a:pos x="connsiteX19661" y="connsiteY19661"/>
                </a:cxn>
                <a:cxn ang="0">
                  <a:pos x="connsiteX19662" y="connsiteY19662"/>
                </a:cxn>
                <a:cxn ang="0">
                  <a:pos x="connsiteX19663" y="connsiteY19663"/>
                </a:cxn>
                <a:cxn ang="0">
                  <a:pos x="connsiteX19664" y="connsiteY19664"/>
                </a:cxn>
                <a:cxn ang="0">
                  <a:pos x="connsiteX19665" y="connsiteY19665"/>
                </a:cxn>
                <a:cxn ang="0">
                  <a:pos x="connsiteX19666" y="connsiteY19666"/>
                </a:cxn>
                <a:cxn ang="0">
                  <a:pos x="connsiteX19667" y="connsiteY19667"/>
                </a:cxn>
                <a:cxn ang="0">
                  <a:pos x="connsiteX19668" y="connsiteY19668"/>
                </a:cxn>
                <a:cxn ang="0">
                  <a:pos x="connsiteX19669" y="connsiteY19669"/>
                </a:cxn>
                <a:cxn ang="0">
                  <a:pos x="connsiteX19670" y="connsiteY19670"/>
                </a:cxn>
                <a:cxn ang="0">
                  <a:pos x="connsiteX19671" y="connsiteY19671"/>
                </a:cxn>
                <a:cxn ang="0">
                  <a:pos x="connsiteX19672" y="connsiteY19672"/>
                </a:cxn>
                <a:cxn ang="0">
                  <a:pos x="connsiteX19673" y="connsiteY19673"/>
                </a:cxn>
                <a:cxn ang="0">
                  <a:pos x="connsiteX19674" y="connsiteY19674"/>
                </a:cxn>
                <a:cxn ang="0">
                  <a:pos x="connsiteX19675" y="connsiteY19675"/>
                </a:cxn>
                <a:cxn ang="0">
                  <a:pos x="connsiteX19676" y="connsiteY19676"/>
                </a:cxn>
                <a:cxn ang="0">
                  <a:pos x="connsiteX19677" y="connsiteY19677"/>
                </a:cxn>
                <a:cxn ang="0">
                  <a:pos x="connsiteX19678" y="connsiteY19678"/>
                </a:cxn>
                <a:cxn ang="0">
                  <a:pos x="connsiteX19679" y="connsiteY19679"/>
                </a:cxn>
                <a:cxn ang="0">
                  <a:pos x="connsiteX19680" y="connsiteY19680"/>
                </a:cxn>
                <a:cxn ang="0">
                  <a:pos x="connsiteX19681" y="connsiteY19681"/>
                </a:cxn>
                <a:cxn ang="0">
                  <a:pos x="connsiteX19682" y="connsiteY19682"/>
                </a:cxn>
                <a:cxn ang="0">
                  <a:pos x="connsiteX19683" y="connsiteY19683"/>
                </a:cxn>
                <a:cxn ang="0">
                  <a:pos x="connsiteX19684" y="connsiteY19684"/>
                </a:cxn>
                <a:cxn ang="0">
                  <a:pos x="connsiteX19685" y="connsiteY19685"/>
                </a:cxn>
                <a:cxn ang="0">
                  <a:pos x="connsiteX19686" y="connsiteY19686"/>
                </a:cxn>
                <a:cxn ang="0">
                  <a:pos x="connsiteX19687" y="connsiteY19687"/>
                </a:cxn>
                <a:cxn ang="0">
                  <a:pos x="connsiteX19688" y="connsiteY19688"/>
                </a:cxn>
                <a:cxn ang="0">
                  <a:pos x="connsiteX19689" y="connsiteY19689"/>
                </a:cxn>
                <a:cxn ang="0">
                  <a:pos x="connsiteX19690" y="connsiteY19690"/>
                </a:cxn>
                <a:cxn ang="0">
                  <a:pos x="connsiteX19691" y="connsiteY19691"/>
                </a:cxn>
                <a:cxn ang="0">
                  <a:pos x="connsiteX19692" y="connsiteY19692"/>
                </a:cxn>
                <a:cxn ang="0">
                  <a:pos x="connsiteX19693" y="connsiteY19693"/>
                </a:cxn>
                <a:cxn ang="0">
                  <a:pos x="connsiteX19694" y="connsiteY19694"/>
                </a:cxn>
                <a:cxn ang="0">
                  <a:pos x="connsiteX19695" y="connsiteY19695"/>
                </a:cxn>
                <a:cxn ang="0">
                  <a:pos x="connsiteX19696" y="connsiteY19696"/>
                </a:cxn>
                <a:cxn ang="0">
                  <a:pos x="connsiteX19697" y="connsiteY19697"/>
                </a:cxn>
                <a:cxn ang="0">
                  <a:pos x="connsiteX19698" y="connsiteY19698"/>
                </a:cxn>
                <a:cxn ang="0">
                  <a:pos x="connsiteX19699" y="connsiteY19699"/>
                </a:cxn>
                <a:cxn ang="0">
                  <a:pos x="connsiteX19700" y="connsiteY19700"/>
                </a:cxn>
                <a:cxn ang="0">
                  <a:pos x="connsiteX19701" y="connsiteY19701"/>
                </a:cxn>
                <a:cxn ang="0">
                  <a:pos x="connsiteX19702" y="connsiteY19702"/>
                </a:cxn>
                <a:cxn ang="0">
                  <a:pos x="connsiteX19703" y="connsiteY19703"/>
                </a:cxn>
                <a:cxn ang="0">
                  <a:pos x="connsiteX19704" y="connsiteY19704"/>
                </a:cxn>
                <a:cxn ang="0">
                  <a:pos x="connsiteX19705" y="connsiteY19705"/>
                </a:cxn>
                <a:cxn ang="0">
                  <a:pos x="connsiteX19706" y="connsiteY19706"/>
                </a:cxn>
                <a:cxn ang="0">
                  <a:pos x="connsiteX19707" y="connsiteY19707"/>
                </a:cxn>
                <a:cxn ang="0">
                  <a:pos x="connsiteX19708" y="connsiteY19708"/>
                </a:cxn>
                <a:cxn ang="0">
                  <a:pos x="connsiteX19709" y="connsiteY19709"/>
                </a:cxn>
                <a:cxn ang="0">
                  <a:pos x="connsiteX19710" y="connsiteY19710"/>
                </a:cxn>
                <a:cxn ang="0">
                  <a:pos x="connsiteX19711" y="connsiteY19711"/>
                </a:cxn>
                <a:cxn ang="0">
                  <a:pos x="connsiteX19712" y="connsiteY19712"/>
                </a:cxn>
                <a:cxn ang="0">
                  <a:pos x="connsiteX19713" y="connsiteY19713"/>
                </a:cxn>
                <a:cxn ang="0">
                  <a:pos x="connsiteX19714" y="connsiteY19714"/>
                </a:cxn>
                <a:cxn ang="0">
                  <a:pos x="connsiteX19715" y="connsiteY19715"/>
                </a:cxn>
                <a:cxn ang="0">
                  <a:pos x="connsiteX19716" y="connsiteY19716"/>
                </a:cxn>
                <a:cxn ang="0">
                  <a:pos x="connsiteX19717" y="connsiteY19717"/>
                </a:cxn>
                <a:cxn ang="0">
                  <a:pos x="connsiteX19718" y="connsiteY19718"/>
                </a:cxn>
                <a:cxn ang="0">
                  <a:pos x="connsiteX19719" y="connsiteY19719"/>
                </a:cxn>
                <a:cxn ang="0">
                  <a:pos x="connsiteX19720" y="connsiteY19720"/>
                </a:cxn>
                <a:cxn ang="0">
                  <a:pos x="connsiteX19721" y="connsiteY19721"/>
                </a:cxn>
                <a:cxn ang="0">
                  <a:pos x="connsiteX19722" y="connsiteY19722"/>
                </a:cxn>
                <a:cxn ang="0">
                  <a:pos x="connsiteX19723" y="connsiteY19723"/>
                </a:cxn>
                <a:cxn ang="0">
                  <a:pos x="connsiteX19724" y="connsiteY19724"/>
                </a:cxn>
                <a:cxn ang="0">
                  <a:pos x="connsiteX19725" y="connsiteY19725"/>
                </a:cxn>
                <a:cxn ang="0">
                  <a:pos x="connsiteX19726" y="connsiteY19726"/>
                </a:cxn>
                <a:cxn ang="0">
                  <a:pos x="connsiteX19727" y="connsiteY19727"/>
                </a:cxn>
                <a:cxn ang="0">
                  <a:pos x="connsiteX19728" y="connsiteY19728"/>
                </a:cxn>
                <a:cxn ang="0">
                  <a:pos x="connsiteX19729" y="connsiteY19729"/>
                </a:cxn>
                <a:cxn ang="0">
                  <a:pos x="connsiteX19730" y="connsiteY19730"/>
                </a:cxn>
                <a:cxn ang="0">
                  <a:pos x="connsiteX19731" y="connsiteY19731"/>
                </a:cxn>
                <a:cxn ang="0">
                  <a:pos x="connsiteX19732" y="connsiteY19732"/>
                </a:cxn>
                <a:cxn ang="0">
                  <a:pos x="connsiteX19733" y="connsiteY19733"/>
                </a:cxn>
                <a:cxn ang="0">
                  <a:pos x="connsiteX19734" y="connsiteY19734"/>
                </a:cxn>
                <a:cxn ang="0">
                  <a:pos x="connsiteX19735" y="connsiteY19735"/>
                </a:cxn>
                <a:cxn ang="0">
                  <a:pos x="connsiteX19736" y="connsiteY19736"/>
                </a:cxn>
                <a:cxn ang="0">
                  <a:pos x="connsiteX19737" y="connsiteY19737"/>
                </a:cxn>
                <a:cxn ang="0">
                  <a:pos x="connsiteX19738" y="connsiteY19738"/>
                </a:cxn>
                <a:cxn ang="0">
                  <a:pos x="connsiteX19739" y="connsiteY19739"/>
                </a:cxn>
                <a:cxn ang="0">
                  <a:pos x="connsiteX19740" y="connsiteY19740"/>
                </a:cxn>
                <a:cxn ang="0">
                  <a:pos x="connsiteX19741" y="connsiteY19741"/>
                </a:cxn>
                <a:cxn ang="0">
                  <a:pos x="connsiteX19742" y="connsiteY19742"/>
                </a:cxn>
                <a:cxn ang="0">
                  <a:pos x="connsiteX19743" y="connsiteY19743"/>
                </a:cxn>
                <a:cxn ang="0">
                  <a:pos x="connsiteX19744" y="connsiteY19744"/>
                </a:cxn>
                <a:cxn ang="0">
                  <a:pos x="connsiteX19745" y="connsiteY19745"/>
                </a:cxn>
                <a:cxn ang="0">
                  <a:pos x="connsiteX19746" y="connsiteY19746"/>
                </a:cxn>
                <a:cxn ang="0">
                  <a:pos x="connsiteX19747" y="connsiteY19747"/>
                </a:cxn>
                <a:cxn ang="0">
                  <a:pos x="connsiteX19748" y="connsiteY19748"/>
                </a:cxn>
                <a:cxn ang="0">
                  <a:pos x="connsiteX19749" y="connsiteY19749"/>
                </a:cxn>
                <a:cxn ang="0">
                  <a:pos x="connsiteX19750" y="connsiteY19750"/>
                </a:cxn>
                <a:cxn ang="0">
                  <a:pos x="connsiteX19751" y="connsiteY19751"/>
                </a:cxn>
                <a:cxn ang="0">
                  <a:pos x="connsiteX19752" y="connsiteY19752"/>
                </a:cxn>
                <a:cxn ang="0">
                  <a:pos x="connsiteX19753" y="connsiteY19753"/>
                </a:cxn>
                <a:cxn ang="0">
                  <a:pos x="connsiteX19754" y="connsiteY19754"/>
                </a:cxn>
                <a:cxn ang="0">
                  <a:pos x="connsiteX19755" y="connsiteY19755"/>
                </a:cxn>
                <a:cxn ang="0">
                  <a:pos x="connsiteX19756" y="connsiteY19756"/>
                </a:cxn>
                <a:cxn ang="0">
                  <a:pos x="connsiteX19757" y="connsiteY19757"/>
                </a:cxn>
                <a:cxn ang="0">
                  <a:pos x="connsiteX19758" y="connsiteY19758"/>
                </a:cxn>
                <a:cxn ang="0">
                  <a:pos x="connsiteX19759" y="connsiteY19759"/>
                </a:cxn>
                <a:cxn ang="0">
                  <a:pos x="connsiteX19760" y="connsiteY19760"/>
                </a:cxn>
                <a:cxn ang="0">
                  <a:pos x="connsiteX19761" y="connsiteY19761"/>
                </a:cxn>
                <a:cxn ang="0">
                  <a:pos x="connsiteX19762" y="connsiteY19762"/>
                </a:cxn>
                <a:cxn ang="0">
                  <a:pos x="connsiteX19763" y="connsiteY19763"/>
                </a:cxn>
                <a:cxn ang="0">
                  <a:pos x="connsiteX19764" y="connsiteY19764"/>
                </a:cxn>
                <a:cxn ang="0">
                  <a:pos x="connsiteX19765" y="connsiteY19765"/>
                </a:cxn>
                <a:cxn ang="0">
                  <a:pos x="connsiteX19766" y="connsiteY19766"/>
                </a:cxn>
                <a:cxn ang="0">
                  <a:pos x="connsiteX19767" y="connsiteY19767"/>
                </a:cxn>
                <a:cxn ang="0">
                  <a:pos x="connsiteX19768" y="connsiteY19768"/>
                </a:cxn>
                <a:cxn ang="0">
                  <a:pos x="connsiteX19769" y="connsiteY19769"/>
                </a:cxn>
                <a:cxn ang="0">
                  <a:pos x="connsiteX19770" y="connsiteY19770"/>
                </a:cxn>
                <a:cxn ang="0">
                  <a:pos x="connsiteX19771" y="connsiteY19771"/>
                </a:cxn>
                <a:cxn ang="0">
                  <a:pos x="connsiteX19772" y="connsiteY19772"/>
                </a:cxn>
                <a:cxn ang="0">
                  <a:pos x="connsiteX19773" y="connsiteY19773"/>
                </a:cxn>
                <a:cxn ang="0">
                  <a:pos x="connsiteX19774" y="connsiteY19774"/>
                </a:cxn>
                <a:cxn ang="0">
                  <a:pos x="connsiteX19775" y="connsiteY19775"/>
                </a:cxn>
                <a:cxn ang="0">
                  <a:pos x="connsiteX19776" y="connsiteY19776"/>
                </a:cxn>
                <a:cxn ang="0">
                  <a:pos x="connsiteX19777" y="connsiteY19777"/>
                </a:cxn>
                <a:cxn ang="0">
                  <a:pos x="connsiteX19778" y="connsiteY19778"/>
                </a:cxn>
                <a:cxn ang="0">
                  <a:pos x="connsiteX19779" y="connsiteY19779"/>
                </a:cxn>
                <a:cxn ang="0">
                  <a:pos x="connsiteX19780" y="connsiteY19780"/>
                </a:cxn>
                <a:cxn ang="0">
                  <a:pos x="connsiteX19781" y="connsiteY19781"/>
                </a:cxn>
                <a:cxn ang="0">
                  <a:pos x="connsiteX19782" y="connsiteY19782"/>
                </a:cxn>
                <a:cxn ang="0">
                  <a:pos x="connsiteX19783" y="connsiteY19783"/>
                </a:cxn>
                <a:cxn ang="0">
                  <a:pos x="connsiteX19784" y="connsiteY19784"/>
                </a:cxn>
                <a:cxn ang="0">
                  <a:pos x="connsiteX19785" y="connsiteY19785"/>
                </a:cxn>
                <a:cxn ang="0">
                  <a:pos x="connsiteX19786" y="connsiteY19786"/>
                </a:cxn>
                <a:cxn ang="0">
                  <a:pos x="connsiteX19787" y="connsiteY19787"/>
                </a:cxn>
                <a:cxn ang="0">
                  <a:pos x="connsiteX19788" y="connsiteY19788"/>
                </a:cxn>
                <a:cxn ang="0">
                  <a:pos x="connsiteX19789" y="connsiteY19789"/>
                </a:cxn>
                <a:cxn ang="0">
                  <a:pos x="connsiteX19790" y="connsiteY19790"/>
                </a:cxn>
                <a:cxn ang="0">
                  <a:pos x="connsiteX19791" y="connsiteY19791"/>
                </a:cxn>
                <a:cxn ang="0">
                  <a:pos x="connsiteX19792" y="connsiteY19792"/>
                </a:cxn>
                <a:cxn ang="0">
                  <a:pos x="connsiteX19793" y="connsiteY19793"/>
                </a:cxn>
                <a:cxn ang="0">
                  <a:pos x="connsiteX19794" y="connsiteY19794"/>
                </a:cxn>
                <a:cxn ang="0">
                  <a:pos x="connsiteX19795" y="connsiteY19795"/>
                </a:cxn>
                <a:cxn ang="0">
                  <a:pos x="connsiteX19796" y="connsiteY19796"/>
                </a:cxn>
                <a:cxn ang="0">
                  <a:pos x="connsiteX19797" y="connsiteY19797"/>
                </a:cxn>
                <a:cxn ang="0">
                  <a:pos x="connsiteX19798" y="connsiteY19798"/>
                </a:cxn>
                <a:cxn ang="0">
                  <a:pos x="connsiteX19799" y="connsiteY19799"/>
                </a:cxn>
                <a:cxn ang="0">
                  <a:pos x="connsiteX19800" y="connsiteY19800"/>
                </a:cxn>
                <a:cxn ang="0">
                  <a:pos x="connsiteX19801" y="connsiteY19801"/>
                </a:cxn>
                <a:cxn ang="0">
                  <a:pos x="connsiteX19802" y="connsiteY19802"/>
                </a:cxn>
                <a:cxn ang="0">
                  <a:pos x="connsiteX19803" y="connsiteY19803"/>
                </a:cxn>
                <a:cxn ang="0">
                  <a:pos x="connsiteX19804" y="connsiteY19804"/>
                </a:cxn>
                <a:cxn ang="0">
                  <a:pos x="connsiteX19805" y="connsiteY19805"/>
                </a:cxn>
                <a:cxn ang="0">
                  <a:pos x="connsiteX19806" y="connsiteY19806"/>
                </a:cxn>
                <a:cxn ang="0">
                  <a:pos x="connsiteX19807" y="connsiteY19807"/>
                </a:cxn>
                <a:cxn ang="0">
                  <a:pos x="connsiteX19808" y="connsiteY19808"/>
                </a:cxn>
                <a:cxn ang="0">
                  <a:pos x="connsiteX19809" y="connsiteY19809"/>
                </a:cxn>
                <a:cxn ang="0">
                  <a:pos x="connsiteX19810" y="connsiteY19810"/>
                </a:cxn>
                <a:cxn ang="0">
                  <a:pos x="connsiteX19811" y="connsiteY19811"/>
                </a:cxn>
                <a:cxn ang="0">
                  <a:pos x="connsiteX19812" y="connsiteY19812"/>
                </a:cxn>
                <a:cxn ang="0">
                  <a:pos x="connsiteX19813" y="connsiteY19813"/>
                </a:cxn>
                <a:cxn ang="0">
                  <a:pos x="connsiteX19814" y="connsiteY19814"/>
                </a:cxn>
                <a:cxn ang="0">
                  <a:pos x="connsiteX19815" y="connsiteY19815"/>
                </a:cxn>
                <a:cxn ang="0">
                  <a:pos x="connsiteX19816" y="connsiteY19816"/>
                </a:cxn>
                <a:cxn ang="0">
                  <a:pos x="connsiteX19817" y="connsiteY19817"/>
                </a:cxn>
                <a:cxn ang="0">
                  <a:pos x="connsiteX19818" y="connsiteY19818"/>
                </a:cxn>
                <a:cxn ang="0">
                  <a:pos x="connsiteX19819" y="connsiteY19819"/>
                </a:cxn>
                <a:cxn ang="0">
                  <a:pos x="connsiteX19820" y="connsiteY19820"/>
                </a:cxn>
                <a:cxn ang="0">
                  <a:pos x="connsiteX19821" y="connsiteY19821"/>
                </a:cxn>
                <a:cxn ang="0">
                  <a:pos x="connsiteX19822" y="connsiteY19822"/>
                </a:cxn>
                <a:cxn ang="0">
                  <a:pos x="connsiteX19823" y="connsiteY19823"/>
                </a:cxn>
                <a:cxn ang="0">
                  <a:pos x="connsiteX19824" y="connsiteY19824"/>
                </a:cxn>
                <a:cxn ang="0">
                  <a:pos x="connsiteX19825" y="connsiteY19825"/>
                </a:cxn>
                <a:cxn ang="0">
                  <a:pos x="connsiteX19826" y="connsiteY19826"/>
                </a:cxn>
                <a:cxn ang="0">
                  <a:pos x="connsiteX19827" y="connsiteY19827"/>
                </a:cxn>
                <a:cxn ang="0">
                  <a:pos x="connsiteX19828" y="connsiteY19828"/>
                </a:cxn>
                <a:cxn ang="0">
                  <a:pos x="connsiteX19829" y="connsiteY19829"/>
                </a:cxn>
                <a:cxn ang="0">
                  <a:pos x="connsiteX19830" y="connsiteY19830"/>
                </a:cxn>
                <a:cxn ang="0">
                  <a:pos x="connsiteX19831" y="connsiteY19831"/>
                </a:cxn>
                <a:cxn ang="0">
                  <a:pos x="connsiteX19832" y="connsiteY19832"/>
                </a:cxn>
                <a:cxn ang="0">
                  <a:pos x="connsiteX19833" y="connsiteY19833"/>
                </a:cxn>
                <a:cxn ang="0">
                  <a:pos x="connsiteX19834" y="connsiteY19834"/>
                </a:cxn>
                <a:cxn ang="0">
                  <a:pos x="connsiteX19835" y="connsiteY19835"/>
                </a:cxn>
                <a:cxn ang="0">
                  <a:pos x="connsiteX19836" y="connsiteY19836"/>
                </a:cxn>
                <a:cxn ang="0">
                  <a:pos x="connsiteX19837" y="connsiteY19837"/>
                </a:cxn>
                <a:cxn ang="0">
                  <a:pos x="connsiteX19838" y="connsiteY19838"/>
                </a:cxn>
                <a:cxn ang="0">
                  <a:pos x="connsiteX19839" y="connsiteY19839"/>
                </a:cxn>
                <a:cxn ang="0">
                  <a:pos x="connsiteX19840" y="connsiteY19840"/>
                </a:cxn>
                <a:cxn ang="0">
                  <a:pos x="connsiteX19841" y="connsiteY19841"/>
                </a:cxn>
                <a:cxn ang="0">
                  <a:pos x="connsiteX19842" y="connsiteY19842"/>
                </a:cxn>
                <a:cxn ang="0">
                  <a:pos x="connsiteX19843" y="connsiteY19843"/>
                </a:cxn>
                <a:cxn ang="0">
                  <a:pos x="connsiteX19844" y="connsiteY19844"/>
                </a:cxn>
                <a:cxn ang="0">
                  <a:pos x="connsiteX19845" y="connsiteY19845"/>
                </a:cxn>
                <a:cxn ang="0">
                  <a:pos x="connsiteX19846" y="connsiteY19846"/>
                </a:cxn>
                <a:cxn ang="0">
                  <a:pos x="connsiteX19847" y="connsiteY19847"/>
                </a:cxn>
                <a:cxn ang="0">
                  <a:pos x="connsiteX19848" y="connsiteY19848"/>
                </a:cxn>
                <a:cxn ang="0">
                  <a:pos x="connsiteX19849" y="connsiteY19849"/>
                </a:cxn>
                <a:cxn ang="0">
                  <a:pos x="connsiteX19850" y="connsiteY19850"/>
                </a:cxn>
                <a:cxn ang="0">
                  <a:pos x="connsiteX19851" y="connsiteY19851"/>
                </a:cxn>
                <a:cxn ang="0">
                  <a:pos x="connsiteX19852" y="connsiteY19852"/>
                </a:cxn>
                <a:cxn ang="0">
                  <a:pos x="connsiteX19853" y="connsiteY19853"/>
                </a:cxn>
                <a:cxn ang="0">
                  <a:pos x="connsiteX19854" y="connsiteY19854"/>
                </a:cxn>
                <a:cxn ang="0">
                  <a:pos x="connsiteX19855" y="connsiteY19855"/>
                </a:cxn>
                <a:cxn ang="0">
                  <a:pos x="connsiteX19856" y="connsiteY19856"/>
                </a:cxn>
                <a:cxn ang="0">
                  <a:pos x="connsiteX19857" y="connsiteY19857"/>
                </a:cxn>
                <a:cxn ang="0">
                  <a:pos x="connsiteX19858" y="connsiteY19858"/>
                </a:cxn>
                <a:cxn ang="0">
                  <a:pos x="connsiteX19859" y="connsiteY19859"/>
                </a:cxn>
                <a:cxn ang="0">
                  <a:pos x="connsiteX19860" y="connsiteY19860"/>
                </a:cxn>
                <a:cxn ang="0">
                  <a:pos x="connsiteX19861" y="connsiteY19861"/>
                </a:cxn>
                <a:cxn ang="0">
                  <a:pos x="connsiteX19862" y="connsiteY19862"/>
                </a:cxn>
                <a:cxn ang="0">
                  <a:pos x="connsiteX19863" y="connsiteY19863"/>
                </a:cxn>
                <a:cxn ang="0">
                  <a:pos x="connsiteX19864" y="connsiteY19864"/>
                </a:cxn>
                <a:cxn ang="0">
                  <a:pos x="connsiteX19865" y="connsiteY19865"/>
                </a:cxn>
                <a:cxn ang="0">
                  <a:pos x="connsiteX19866" y="connsiteY19866"/>
                </a:cxn>
                <a:cxn ang="0">
                  <a:pos x="connsiteX19867" y="connsiteY19867"/>
                </a:cxn>
                <a:cxn ang="0">
                  <a:pos x="connsiteX19868" y="connsiteY19868"/>
                </a:cxn>
                <a:cxn ang="0">
                  <a:pos x="connsiteX19869" y="connsiteY19869"/>
                </a:cxn>
                <a:cxn ang="0">
                  <a:pos x="connsiteX19870" y="connsiteY19870"/>
                </a:cxn>
                <a:cxn ang="0">
                  <a:pos x="connsiteX19871" y="connsiteY19871"/>
                </a:cxn>
                <a:cxn ang="0">
                  <a:pos x="connsiteX19872" y="connsiteY19872"/>
                </a:cxn>
                <a:cxn ang="0">
                  <a:pos x="connsiteX19873" y="connsiteY19873"/>
                </a:cxn>
                <a:cxn ang="0">
                  <a:pos x="connsiteX19874" y="connsiteY19874"/>
                </a:cxn>
                <a:cxn ang="0">
                  <a:pos x="connsiteX19875" y="connsiteY19875"/>
                </a:cxn>
                <a:cxn ang="0">
                  <a:pos x="connsiteX19876" y="connsiteY19876"/>
                </a:cxn>
                <a:cxn ang="0">
                  <a:pos x="connsiteX19877" y="connsiteY19877"/>
                </a:cxn>
                <a:cxn ang="0">
                  <a:pos x="connsiteX19878" y="connsiteY19878"/>
                </a:cxn>
                <a:cxn ang="0">
                  <a:pos x="connsiteX19879" y="connsiteY19879"/>
                </a:cxn>
                <a:cxn ang="0">
                  <a:pos x="connsiteX19880" y="connsiteY19880"/>
                </a:cxn>
                <a:cxn ang="0">
                  <a:pos x="connsiteX19881" y="connsiteY19881"/>
                </a:cxn>
                <a:cxn ang="0">
                  <a:pos x="connsiteX19882" y="connsiteY19882"/>
                </a:cxn>
                <a:cxn ang="0">
                  <a:pos x="connsiteX19883" y="connsiteY19883"/>
                </a:cxn>
                <a:cxn ang="0">
                  <a:pos x="connsiteX19884" y="connsiteY19884"/>
                </a:cxn>
                <a:cxn ang="0">
                  <a:pos x="connsiteX19885" y="connsiteY19885"/>
                </a:cxn>
                <a:cxn ang="0">
                  <a:pos x="connsiteX19886" y="connsiteY19886"/>
                </a:cxn>
                <a:cxn ang="0">
                  <a:pos x="connsiteX19887" y="connsiteY19887"/>
                </a:cxn>
                <a:cxn ang="0">
                  <a:pos x="connsiteX19888" y="connsiteY19888"/>
                </a:cxn>
                <a:cxn ang="0">
                  <a:pos x="connsiteX19889" y="connsiteY19889"/>
                </a:cxn>
                <a:cxn ang="0">
                  <a:pos x="connsiteX19890" y="connsiteY19890"/>
                </a:cxn>
                <a:cxn ang="0">
                  <a:pos x="connsiteX19891" y="connsiteY19891"/>
                </a:cxn>
                <a:cxn ang="0">
                  <a:pos x="connsiteX19892" y="connsiteY19892"/>
                </a:cxn>
                <a:cxn ang="0">
                  <a:pos x="connsiteX19893" y="connsiteY19893"/>
                </a:cxn>
                <a:cxn ang="0">
                  <a:pos x="connsiteX19894" y="connsiteY19894"/>
                </a:cxn>
                <a:cxn ang="0">
                  <a:pos x="connsiteX19895" y="connsiteY19895"/>
                </a:cxn>
                <a:cxn ang="0">
                  <a:pos x="connsiteX19896" y="connsiteY19896"/>
                </a:cxn>
                <a:cxn ang="0">
                  <a:pos x="connsiteX19897" y="connsiteY19897"/>
                </a:cxn>
                <a:cxn ang="0">
                  <a:pos x="connsiteX19898" y="connsiteY19898"/>
                </a:cxn>
                <a:cxn ang="0">
                  <a:pos x="connsiteX19899" y="connsiteY19899"/>
                </a:cxn>
                <a:cxn ang="0">
                  <a:pos x="connsiteX19900" y="connsiteY19900"/>
                </a:cxn>
                <a:cxn ang="0">
                  <a:pos x="connsiteX19901" y="connsiteY19901"/>
                </a:cxn>
                <a:cxn ang="0">
                  <a:pos x="connsiteX19902" y="connsiteY19902"/>
                </a:cxn>
                <a:cxn ang="0">
                  <a:pos x="connsiteX19903" y="connsiteY19903"/>
                </a:cxn>
                <a:cxn ang="0">
                  <a:pos x="connsiteX19904" y="connsiteY19904"/>
                </a:cxn>
                <a:cxn ang="0">
                  <a:pos x="connsiteX19905" y="connsiteY19905"/>
                </a:cxn>
                <a:cxn ang="0">
                  <a:pos x="connsiteX19906" y="connsiteY19906"/>
                </a:cxn>
                <a:cxn ang="0">
                  <a:pos x="connsiteX19907" y="connsiteY19907"/>
                </a:cxn>
                <a:cxn ang="0">
                  <a:pos x="connsiteX19908" y="connsiteY19908"/>
                </a:cxn>
                <a:cxn ang="0">
                  <a:pos x="connsiteX19909" y="connsiteY19909"/>
                </a:cxn>
                <a:cxn ang="0">
                  <a:pos x="connsiteX19910" y="connsiteY19910"/>
                </a:cxn>
                <a:cxn ang="0">
                  <a:pos x="connsiteX19911" y="connsiteY19911"/>
                </a:cxn>
                <a:cxn ang="0">
                  <a:pos x="connsiteX19912" y="connsiteY19912"/>
                </a:cxn>
                <a:cxn ang="0">
                  <a:pos x="connsiteX19913" y="connsiteY19913"/>
                </a:cxn>
                <a:cxn ang="0">
                  <a:pos x="connsiteX19914" y="connsiteY19914"/>
                </a:cxn>
                <a:cxn ang="0">
                  <a:pos x="connsiteX19915" y="connsiteY19915"/>
                </a:cxn>
                <a:cxn ang="0">
                  <a:pos x="connsiteX19916" y="connsiteY19916"/>
                </a:cxn>
                <a:cxn ang="0">
                  <a:pos x="connsiteX19917" y="connsiteY19917"/>
                </a:cxn>
                <a:cxn ang="0">
                  <a:pos x="connsiteX19918" y="connsiteY19918"/>
                </a:cxn>
                <a:cxn ang="0">
                  <a:pos x="connsiteX19919" y="connsiteY19919"/>
                </a:cxn>
                <a:cxn ang="0">
                  <a:pos x="connsiteX19920" y="connsiteY19920"/>
                </a:cxn>
                <a:cxn ang="0">
                  <a:pos x="connsiteX19921" y="connsiteY19921"/>
                </a:cxn>
                <a:cxn ang="0">
                  <a:pos x="connsiteX19922" y="connsiteY19922"/>
                </a:cxn>
                <a:cxn ang="0">
                  <a:pos x="connsiteX19923" y="connsiteY19923"/>
                </a:cxn>
                <a:cxn ang="0">
                  <a:pos x="connsiteX19924" y="connsiteY19924"/>
                </a:cxn>
                <a:cxn ang="0">
                  <a:pos x="connsiteX19925" y="connsiteY19925"/>
                </a:cxn>
                <a:cxn ang="0">
                  <a:pos x="connsiteX19926" y="connsiteY19926"/>
                </a:cxn>
                <a:cxn ang="0">
                  <a:pos x="connsiteX19927" y="connsiteY19927"/>
                </a:cxn>
                <a:cxn ang="0">
                  <a:pos x="connsiteX19928" y="connsiteY19928"/>
                </a:cxn>
                <a:cxn ang="0">
                  <a:pos x="connsiteX19929" y="connsiteY19929"/>
                </a:cxn>
                <a:cxn ang="0">
                  <a:pos x="connsiteX19930" y="connsiteY19930"/>
                </a:cxn>
                <a:cxn ang="0">
                  <a:pos x="connsiteX19931" y="connsiteY19931"/>
                </a:cxn>
                <a:cxn ang="0">
                  <a:pos x="connsiteX19932" y="connsiteY19932"/>
                </a:cxn>
                <a:cxn ang="0">
                  <a:pos x="connsiteX19933" y="connsiteY19933"/>
                </a:cxn>
                <a:cxn ang="0">
                  <a:pos x="connsiteX19934" y="connsiteY19934"/>
                </a:cxn>
                <a:cxn ang="0">
                  <a:pos x="connsiteX19935" y="connsiteY19935"/>
                </a:cxn>
                <a:cxn ang="0">
                  <a:pos x="connsiteX19936" y="connsiteY19936"/>
                </a:cxn>
                <a:cxn ang="0">
                  <a:pos x="connsiteX19937" y="connsiteY19937"/>
                </a:cxn>
                <a:cxn ang="0">
                  <a:pos x="connsiteX19938" y="connsiteY19938"/>
                </a:cxn>
                <a:cxn ang="0">
                  <a:pos x="connsiteX19939" y="connsiteY19939"/>
                </a:cxn>
                <a:cxn ang="0">
                  <a:pos x="connsiteX19940" y="connsiteY19940"/>
                </a:cxn>
                <a:cxn ang="0">
                  <a:pos x="connsiteX19941" y="connsiteY19941"/>
                </a:cxn>
                <a:cxn ang="0">
                  <a:pos x="connsiteX19942" y="connsiteY19942"/>
                </a:cxn>
                <a:cxn ang="0">
                  <a:pos x="connsiteX19943" y="connsiteY19943"/>
                </a:cxn>
                <a:cxn ang="0">
                  <a:pos x="connsiteX19944" y="connsiteY19944"/>
                </a:cxn>
                <a:cxn ang="0">
                  <a:pos x="connsiteX19945" y="connsiteY19945"/>
                </a:cxn>
                <a:cxn ang="0">
                  <a:pos x="connsiteX19946" y="connsiteY19946"/>
                </a:cxn>
                <a:cxn ang="0">
                  <a:pos x="connsiteX19947" y="connsiteY19947"/>
                </a:cxn>
                <a:cxn ang="0">
                  <a:pos x="connsiteX19948" y="connsiteY19948"/>
                </a:cxn>
                <a:cxn ang="0">
                  <a:pos x="connsiteX19949" y="connsiteY19949"/>
                </a:cxn>
                <a:cxn ang="0">
                  <a:pos x="connsiteX19950" y="connsiteY19950"/>
                </a:cxn>
                <a:cxn ang="0">
                  <a:pos x="connsiteX19951" y="connsiteY19951"/>
                </a:cxn>
                <a:cxn ang="0">
                  <a:pos x="connsiteX19952" y="connsiteY19952"/>
                </a:cxn>
                <a:cxn ang="0">
                  <a:pos x="connsiteX19953" y="connsiteY19953"/>
                </a:cxn>
                <a:cxn ang="0">
                  <a:pos x="connsiteX19954" y="connsiteY19954"/>
                </a:cxn>
                <a:cxn ang="0">
                  <a:pos x="connsiteX19955" y="connsiteY19955"/>
                </a:cxn>
                <a:cxn ang="0">
                  <a:pos x="connsiteX19956" y="connsiteY19956"/>
                </a:cxn>
                <a:cxn ang="0">
                  <a:pos x="connsiteX19957" y="connsiteY19957"/>
                </a:cxn>
                <a:cxn ang="0">
                  <a:pos x="connsiteX19958" y="connsiteY19958"/>
                </a:cxn>
                <a:cxn ang="0">
                  <a:pos x="connsiteX19959" y="connsiteY19959"/>
                </a:cxn>
                <a:cxn ang="0">
                  <a:pos x="connsiteX19960" y="connsiteY19960"/>
                </a:cxn>
                <a:cxn ang="0">
                  <a:pos x="connsiteX19961" y="connsiteY19961"/>
                </a:cxn>
                <a:cxn ang="0">
                  <a:pos x="connsiteX19962" y="connsiteY19962"/>
                </a:cxn>
                <a:cxn ang="0">
                  <a:pos x="connsiteX19963" y="connsiteY19963"/>
                </a:cxn>
                <a:cxn ang="0">
                  <a:pos x="connsiteX19964" y="connsiteY19964"/>
                </a:cxn>
                <a:cxn ang="0">
                  <a:pos x="connsiteX19965" y="connsiteY19965"/>
                </a:cxn>
                <a:cxn ang="0">
                  <a:pos x="connsiteX19966" y="connsiteY19966"/>
                </a:cxn>
                <a:cxn ang="0">
                  <a:pos x="connsiteX19967" y="connsiteY19967"/>
                </a:cxn>
                <a:cxn ang="0">
                  <a:pos x="connsiteX19968" y="connsiteY19968"/>
                </a:cxn>
                <a:cxn ang="0">
                  <a:pos x="connsiteX19969" y="connsiteY19969"/>
                </a:cxn>
                <a:cxn ang="0">
                  <a:pos x="connsiteX19970" y="connsiteY19970"/>
                </a:cxn>
                <a:cxn ang="0">
                  <a:pos x="connsiteX19971" y="connsiteY19971"/>
                </a:cxn>
                <a:cxn ang="0">
                  <a:pos x="connsiteX19972" y="connsiteY19972"/>
                </a:cxn>
                <a:cxn ang="0">
                  <a:pos x="connsiteX19973" y="connsiteY19973"/>
                </a:cxn>
                <a:cxn ang="0">
                  <a:pos x="connsiteX19974" y="connsiteY19974"/>
                </a:cxn>
                <a:cxn ang="0">
                  <a:pos x="connsiteX19975" y="connsiteY19975"/>
                </a:cxn>
                <a:cxn ang="0">
                  <a:pos x="connsiteX19976" y="connsiteY19976"/>
                </a:cxn>
                <a:cxn ang="0">
                  <a:pos x="connsiteX19977" y="connsiteY19977"/>
                </a:cxn>
                <a:cxn ang="0">
                  <a:pos x="connsiteX19978" y="connsiteY19978"/>
                </a:cxn>
                <a:cxn ang="0">
                  <a:pos x="connsiteX19979" y="connsiteY19979"/>
                </a:cxn>
                <a:cxn ang="0">
                  <a:pos x="connsiteX19980" y="connsiteY19980"/>
                </a:cxn>
                <a:cxn ang="0">
                  <a:pos x="connsiteX19981" y="connsiteY19981"/>
                </a:cxn>
                <a:cxn ang="0">
                  <a:pos x="connsiteX19982" y="connsiteY19982"/>
                </a:cxn>
                <a:cxn ang="0">
                  <a:pos x="connsiteX19983" y="connsiteY19983"/>
                </a:cxn>
                <a:cxn ang="0">
                  <a:pos x="connsiteX19984" y="connsiteY19984"/>
                </a:cxn>
                <a:cxn ang="0">
                  <a:pos x="connsiteX19985" y="connsiteY19985"/>
                </a:cxn>
                <a:cxn ang="0">
                  <a:pos x="connsiteX19986" y="connsiteY19986"/>
                </a:cxn>
                <a:cxn ang="0">
                  <a:pos x="connsiteX19987" y="connsiteY19987"/>
                </a:cxn>
                <a:cxn ang="0">
                  <a:pos x="connsiteX19988" y="connsiteY19988"/>
                </a:cxn>
                <a:cxn ang="0">
                  <a:pos x="connsiteX19989" y="connsiteY19989"/>
                </a:cxn>
                <a:cxn ang="0">
                  <a:pos x="connsiteX19990" y="connsiteY19990"/>
                </a:cxn>
                <a:cxn ang="0">
                  <a:pos x="connsiteX19991" y="connsiteY19991"/>
                </a:cxn>
                <a:cxn ang="0">
                  <a:pos x="connsiteX19992" y="connsiteY19992"/>
                </a:cxn>
                <a:cxn ang="0">
                  <a:pos x="connsiteX19993" y="connsiteY19993"/>
                </a:cxn>
                <a:cxn ang="0">
                  <a:pos x="connsiteX19994" y="connsiteY19994"/>
                </a:cxn>
                <a:cxn ang="0">
                  <a:pos x="connsiteX19995" y="connsiteY19995"/>
                </a:cxn>
                <a:cxn ang="0">
                  <a:pos x="connsiteX19996" y="connsiteY19996"/>
                </a:cxn>
                <a:cxn ang="0">
                  <a:pos x="connsiteX19997" y="connsiteY19997"/>
                </a:cxn>
                <a:cxn ang="0">
                  <a:pos x="connsiteX19998" y="connsiteY19998"/>
                </a:cxn>
                <a:cxn ang="0">
                  <a:pos x="connsiteX19999" y="connsiteY19999"/>
                </a:cxn>
                <a:cxn ang="0">
                  <a:pos x="connsiteX20000" y="connsiteY20000"/>
                </a:cxn>
                <a:cxn ang="0">
                  <a:pos x="connsiteX20001" y="connsiteY20001"/>
                </a:cxn>
                <a:cxn ang="0">
                  <a:pos x="connsiteX20002" y="connsiteY20002"/>
                </a:cxn>
                <a:cxn ang="0">
                  <a:pos x="connsiteX20003" y="connsiteY20003"/>
                </a:cxn>
                <a:cxn ang="0">
                  <a:pos x="connsiteX20004" y="connsiteY20004"/>
                </a:cxn>
                <a:cxn ang="0">
                  <a:pos x="connsiteX20005" y="connsiteY20005"/>
                </a:cxn>
                <a:cxn ang="0">
                  <a:pos x="connsiteX20006" y="connsiteY20006"/>
                </a:cxn>
                <a:cxn ang="0">
                  <a:pos x="connsiteX20007" y="connsiteY20007"/>
                </a:cxn>
                <a:cxn ang="0">
                  <a:pos x="connsiteX20008" y="connsiteY20008"/>
                </a:cxn>
                <a:cxn ang="0">
                  <a:pos x="connsiteX20009" y="connsiteY20009"/>
                </a:cxn>
                <a:cxn ang="0">
                  <a:pos x="connsiteX20010" y="connsiteY20010"/>
                </a:cxn>
                <a:cxn ang="0">
                  <a:pos x="connsiteX20011" y="connsiteY20011"/>
                </a:cxn>
                <a:cxn ang="0">
                  <a:pos x="connsiteX20012" y="connsiteY20012"/>
                </a:cxn>
                <a:cxn ang="0">
                  <a:pos x="connsiteX20013" y="connsiteY20013"/>
                </a:cxn>
                <a:cxn ang="0">
                  <a:pos x="connsiteX20014" y="connsiteY20014"/>
                </a:cxn>
                <a:cxn ang="0">
                  <a:pos x="connsiteX20015" y="connsiteY20015"/>
                </a:cxn>
                <a:cxn ang="0">
                  <a:pos x="connsiteX20016" y="connsiteY20016"/>
                </a:cxn>
                <a:cxn ang="0">
                  <a:pos x="connsiteX20017" y="connsiteY20017"/>
                </a:cxn>
                <a:cxn ang="0">
                  <a:pos x="connsiteX20018" y="connsiteY20018"/>
                </a:cxn>
                <a:cxn ang="0">
                  <a:pos x="connsiteX20019" y="connsiteY20019"/>
                </a:cxn>
                <a:cxn ang="0">
                  <a:pos x="connsiteX20020" y="connsiteY20020"/>
                </a:cxn>
                <a:cxn ang="0">
                  <a:pos x="connsiteX20021" y="connsiteY20021"/>
                </a:cxn>
                <a:cxn ang="0">
                  <a:pos x="connsiteX20022" y="connsiteY20022"/>
                </a:cxn>
                <a:cxn ang="0">
                  <a:pos x="connsiteX20023" y="connsiteY20023"/>
                </a:cxn>
                <a:cxn ang="0">
                  <a:pos x="connsiteX20024" y="connsiteY20024"/>
                </a:cxn>
                <a:cxn ang="0">
                  <a:pos x="connsiteX20025" y="connsiteY20025"/>
                </a:cxn>
                <a:cxn ang="0">
                  <a:pos x="connsiteX20026" y="connsiteY20026"/>
                </a:cxn>
                <a:cxn ang="0">
                  <a:pos x="connsiteX20027" y="connsiteY20027"/>
                </a:cxn>
                <a:cxn ang="0">
                  <a:pos x="connsiteX20028" y="connsiteY20028"/>
                </a:cxn>
                <a:cxn ang="0">
                  <a:pos x="connsiteX20029" y="connsiteY20029"/>
                </a:cxn>
                <a:cxn ang="0">
                  <a:pos x="connsiteX20030" y="connsiteY20030"/>
                </a:cxn>
                <a:cxn ang="0">
                  <a:pos x="connsiteX20031" y="connsiteY20031"/>
                </a:cxn>
                <a:cxn ang="0">
                  <a:pos x="connsiteX20032" y="connsiteY20032"/>
                </a:cxn>
                <a:cxn ang="0">
                  <a:pos x="connsiteX20033" y="connsiteY20033"/>
                </a:cxn>
                <a:cxn ang="0">
                  <a:pos x="connsiteX20034" y="connsiteY20034"/>
                </a:cxn>
                <a:cxn ang="0">
                  <a:pos x="connsiteX20035" y="connsiteY20035"/>
                </a:cxn>
                <a:cxn ang="0">
                  <a:pos x="connsiteX20036" y="connsiteY20036"/>
                </a:cxn>
                <a:cxn ang="0">
                  <a:pos x="connsiteX20037" y="connsiteY20037"/>
                </a:cxn>
                <a:cxn ang="0">
                  <a:pos x="connsiteX20038" y="connsiteY20038"/>
                </a:cxn>
                <a:cxn ang="0">
                  <a:pos x="connsiteX20039" y="connsiteY20039"/>
                </a:cxn>
                <a:cxn ang="0">
                  <a:pos x="connsiteX20040" y="connsiteY20040"/>
                </a:cxn>
                <a:cxn ang="0">
                  <a:pos x="connsiteX20041" y="connsiteY20041"/>
                </a:cxn>
                <a:cxn ang="0">
                  <a:pos x="connsiteX20042" y="connsiteY20042"/>
                </a:cxn>
                <a:cxn ang="0">
                  <a:pos x="connsiteX20043" y="connsiteY20043"/>
                </a:cxn>
                <a:cxn ang="0">
                  <a:pos x="connsiteX20044" y="connsiteY20044"/>
                </a:cxn>
                <a:cxn ang="0">
                  <a:pos x="connsiteX20045" y="connsiteY20045"/>
                </a:cxn>
                <a:cxn ang="0">
                  <a:pos x="connsiteX20046" y="connsiteY20046"/>
                </a:cxn>
                <a:cxn ang="0">
                  <a:pos x="connsiteX20047" y="connsiteY20047"/>
                </a:cxn>
                <a:cxn ang="0">
                  <a:pos x="connsiteX20048" y="connsiteY20048"/>
                </a:cxn>
                <a:cxn ang="0">
                  <a:pos x="connsiteX20049" y="connsiteY20049"/>
                </a:cxn>
                <a:cxn ang="0">
                  <a:pos x="connsiteX20050" y="connsiteY20050"/>
                </a:cxn>
                <a:cxn ang="0">
                  <a:pos x="connsiteX20051" y="connsiteY20051"/>
                </a:cxn>
                <a:cxn ang="0">
                  <a:pos x="connsiteX20052" y="connsiteY20052"/>
                </a:cxn>
                <a:cxn ang="0">
                  <a:pos x="connsiteX20053" y="connsiteY20053"/>
                </a:cxn>
                <a:cxn ang="0">
                  <a:pos x="connsiteX20054" y="connsiteY20054"/>
                </a:cxn>
                <a:cxn ang="0">
                  <a:pos x="connsiteX20055" y="connsiteY20055"/>
                </a:cxn>
                <a:cxn ang="0">
                  <a:pos x="connsiteX20056" y="connsiteY20056"/>
                </a:cxn>
                <a:cxn ang="0">
                  <a:pos x="connsiteX20057" y="connsiteY20057"/>
                </a:cxn>
                <a:cxn ang="0">
                  <a:pos x="connsiteX20058" y="connsiteY20058"/>
                </a:cxn>
                <a:cxn ang="0">
                  <a:pos x="connsiteX20059" y="connsiteY20059"/>
                </a:cxn>
                <a:cxn ang="0">
                  <a:pos x="connsiteX20060" y="connsiteY20060"/>
                </a:cxn>
                <a:cxn ang="0">
                  <a:pos x="connsiteX20061" y="connsiteY20061"/>
                </a:cxn>
                <a:cxn ang="0">
                  <a:pos x="connsiteX20062" y="connsiteY20062"/>
                </a:cxn>
                <a:cxn ang="0">
                  <a:pos x="connsiteX20063" y="connsiteY20063"/>
                </a:cxn>
                <a:cxn ang="0">
                  <a:pos x="connsiteX20064" y="connsiteY20064"/>
                </a:cxn>
                <a:cxn ang="0">
                  <a:pos x="connsiteX20065" y="connsiteY20065"/>
                </a:cxn>
                <a:cxn ang="0">
                  <a:pos x="connsiteX20066" y="connsiteY20066"/>
                </a:cxn>
                <a:cxn ang="0">
                  <a:pos x="connsiteX20067" y="connsiteY20067"/>
                </a:cxn>
                <a:cxn ang="0">
                  <a:pos x="connsiteX20068" y="connsiteY20068"/>
                </a:cxn>
                <a:cxn ang="0">
                  <a:pos x="connsiteX20069" y="connsiteY20069"/>
                </a:cxn>
                <a:cxn ang="0">
                  <a:pos x="connsiteX20070" y="connsiteY20070"/>
                </a:cxn>
                <a:cxn ang="0">
                  <a:pos x="connsiteX20071" y="connsiteY20071"/>
                </a:cxn>
                <a:cxn ang="0">
                  <a:pos x="connsiteX20072" y="connsiteY20072"/>
                </a:cxn>
                <a:cxn ang="0">
                  <a:pos x="connsiteX20073" y="connsiteY20073"/>
                </a:cxn>
                <a:cxn ang="0">
                  <a:pos x="connsiteX20074" y="connsiteY20074"/>
                </a:cxn>
                <a:cxn ang="0">
                  <a:pos x="connsiteX20075" y="connsiteY20075"/>
                </a:cxn>
                <a:cxn ang="0">
                  <a:pos x="connsiteX20076" y="connsiteY20076"/>
                </a:cxn>
                <a:cxn ang="0">
                  <a:pos x="connsiteX20077" y="connsiteY20077"/>
                </a:cxn>
                <a:cxn ang="0">
                  <a:pos x="connsiteX20078" y="connsiteY20078"/>
                </a:cxn>
                <a:cxn ang="0">
                  <a:pos x="connsiteX20079" y="connsiteY20079"/>
                </a:cxn>
                <a:cxn ang="0">
                  <a:pos x="connsiteX20080" y="connsiteY20080"/>
                </a:cxn>
                <a:cxn ang="0">
                  <a:pos x="connsiteX20081" y="connsiteY20081"/>
                </a:cxn>
                <a:cxn ang="0">
                  <a:pos x="connsiteX20082" y="connsiteY20082"/>
                </a:cxn>
                <a:cxn ang="0">
                  <a:pos x="connsiteX20083" y="connsiteY20083"/>
                </a:cxn>
                <a:cxn ang="0">
                  <a:pos x="connsiteX20084" y="connsiteY20084"/>
                </a:cxn>
                <a:cxn ang="0">
                  <a:pos x="connsiteX20085" y="connsiteY20085"/>
                </a:cxn>
                <a:cxn ang="0">
                  <a:pos x="connsiteX20086" y="connsiteY20086"/>
                </a:cxn>
                <a:cxn ang="0">
                  <a:pos x="connsiteX20087" y="connsiteY20087"/>
                </a:cxn>
                <a:cxn ang="0">
                  <a:pos x="connsiteX20088" y="connsiteY20088"/>
                </a:cxn>
                <a:cxn ang="0">
                  <a:pos x="connsiteX20089" y="connsiteY20089"/>
                </a:cxn>
                <a:cxn ang="0">
                  <a:pos x="connsiteX20090" y="connsiteY20090"/>
                </a:cxn>
                <a:cxn ang="0">
                  <a:pos x="connsiteX20091" y="connsiteY20091"/>
                </a:cxn>
                <a:cxn ang="0">
                  <a:pos x="connsiteX20092" y="connsiteY20092"/>
                </a:cxn>
                <a:cxn ang="0">
                  <a:pos x="connsiteX20093" y="connsiteY20093"/>
                </a:cxn>
                <a:cxn ang="0">
                  <a:pos x="connsiteX20094" y="connsiteY20094"/>
                </a:cxn>
                <a:cxn ang="0">
                  <a:pos x="connsiteX20095" y="connsiteY20095"/>
                </a:cxn>
                <a:cxn ang="0">
                  <a:pos x="connsiteX20096" y="connsiteY20096"/>
                </a:cxn>
                <a:cxn ang="0">
                  <a:pos x="connsiteX20097" y="connsiteY20097"/>
                </a:cxn>
                <a:cxn ang="0">
                  <a:pos x="connsiteX20098" y="connsiteY20098"/>
                </a:cxn>
                <a:cxn ang="0">
                  <a:pos x="connsiteX20099" y="connsiteY20099"/>
                </a:cxn>
                <a:cxn ang="0">
                  <a:pos x="connsiteX20100" y="connsiteY20100"/>
                </a:cxn>
                <a:cxn ang="0">
                  <a:pos x="connsiteX20101" y="connsiteY20101"/>
                </a:cxn>
                <a:cxn ang="0">
                  <a:pos x="connsiteX20102" y="connsiteY20102"/>
                </a:cxn>
                <a:cxn ang="0">
                  <a:pos x="connsiteX20103" y="connsiteY20103"/>
                </a:cxn>
                <a:cxn ang="0">
                  <a:pos x="connsiteX20104" y="connsiteY20104"/>
                </a:cxn>
                <a:cxn ang="0">
                  <a:pos x="connsiteX20105" y="connsiteY20105"/>
                </a:cxn>
                <a:cxn ang="0">
                  <a:pos x="connsiteX20106" y="connsiteY20106"/>
                </a:cxn>
                <a:cxn ang="0">
                  <a:pos x="connsiteX20107" y="connsiteY20107"/>
                </a:cxn>
                <a:cxn ang="0">
                  <a:pos x="connsiteX20108" y="connsiteY20108"/>
                </a:cxn>
                <a:cxn ang="0">
                  <a:pos x="connsiteX20109" y="connsiteY20109"/>
                </a:cxn>
                <a:cxn ang="0">
                  <a:pos x="connsiteX20110" y="connsiteY20110"/>
                </a:cxn>
                <a:cxn ang="0">
                  <a:pos x="connsiteX20111" y="connsiteY20111"/>
                </a:cxn>
                <a:cxn ang="0">
                  <a:pos x="connsiteX20112" y="connsiteY20112"/>
                </a:cxn>
                <a:cxn ang="0">
                  <a:pos x="connsiteX20113" y="connsiteY20113"/>
                </a:cxn>
                <a:cxn ang="0">
                  <a:pos x="connsiteX20114" y="connsiteY20114"/>
                </a:cxn>
                <a:cxn ang="0">
                  <a:pos x="connsiteX20115" y="connsiteY20115"/>
                </a:cxn>
                <a:cxn ang="0">
                  <a:pos x="connsiteX20116" y="connsiteY20116"/>
                </a:cxn>
                <a:cxn ang="0">
                  <a:pos x="connsiteX20117" y="connsiteY20117"/>
                </a:cxn>
                <a:cxn ang="0">
                  <a:pos x="connsiteX20118" y="connsiteY20118"/>
                </a:cxn>
                <a:cxn ang="0">
                  <a:pos x="connsiteX20119" y="connsiteY20119"/>
                </a:cxn>
                <a:cxn ang="0">
                  <a:pos x="connsiteX20120" y="connsiteY20120"/>
                </a:cxn>
                <a:cxn ang="0">
                  <a:pos x="connsiteX20121" y="connsiteY20121"/>
                </a:cxn>
                <a:cxn ang="0">
                  <a:pos x="connsiteX20122" y="connsiteY20122"/>
                </a:cxn>
                <a:cxn ang="0">
                  <a:pos x="connsiteX20123" y="connsiteY20123"/>
                </a:cxn>
                <a:cxn ang="0">
                  <a:pos x="connsiteX20124" y="connsiteY20124"/>
                </a:cxn>
                <a:cxn ang="0">
                  <a:pos x="connsiteX20125" y="connsiteY20125"/>
                </a:cxn>
                <a:cxn ang="0">
                  <a:pos x="connsiteX20126" y="connsiteY20126"/>
                </a:cxn>
                <a:cxn ang="0">
                  <a:pos x="connsiteX20127" y="connsiteY20127"/>
                </a:cxn>
                <a:cxn ang="0">
                  <a:pos x="connsiteX20128" y="connsiteY20128"/>
                </a:cxn>
                <a:cxn ang="0">
                  <a:pos x="connsiteX20129" y="connsiteY20129"/>
                </a:cxn>
                <a:cxn ang="0">
                  <a:pos x="connsiteX20130" y="connsiteY20130"/>
                </a:cxn>
                <a:cxn ang="0">
                  <a:pos x="connsiteX20131" y="connsiteY20131"/>
                </a:cxn>
                <a:cxn ang="0">
                  <a:pos x="connsiteX20132" y="connsiteY20132"/>
                </a:cxn>
                <a:cxn ang="0">
                  <a:pos x="connsiteX20133" y="connsiteY20133"/>
                </a:cxn>
                <a:cxn ang="0">
                  <a:pos x="connsiteX20134" y="connsiteY20134"/>
                </a:cxn>
                <a:cxn ang="0">
                  <a:pos x="connsiteX20135" y="connsiteY20135"/>
                </a:cxn>
                <a:cxn ang="0">
                  <a:pos x="connsiteX20136" y="connsiteY20136"/>
                </a:cxn>
                <a:cxn ang="0">
                  <a:pos x="connsiteX20137" y="connsiteY20137"/>
                </a:cxn>
                <a:cxn ang="0">
                  <a:pos x="connsiteX20138" y="connsiteY20138"/>
                </a:cxn>
                <a:cxn ang="0">
                  <a:pos x="connsiteX20139" y="connsiteY20139"/>
                </a:cxn>
                <a:cxn ang="0">
                  <a:pos x="connsiteX20140" y="connsiteY20140"/>
                </a:cxn>
                <a:cxn ang="0">
                  <a:pos x="connsiteX20141" y="connsiteY20141"/>
                </a:cxn>
                <a:cxn ang="0">
                  <a:pos x="connsiteX20142" y="connsiteY20142"/>
                </a:cxn>
                <a:cxn ang="0">
                  <a:pos x="connsiteX20143" y="connsiteY20143"/>
                </a:cxn>
                <a:cxn ang="0">
                  <a:pos x="connsiteX20144" y="connsiteY20144"/>
                </a:cxn>
                <a:cxn ang="0">
                  <a:pos x="connsiteX20145" y="connsiteY20145"/>
                </a:cxn>
                <a:cxn ang="0">
                  <a:pos x="connsiteX20146" y="connsiteY20146"/>
                </a:cxn>
                <a:cxn ang="0">
                  <a:pos x="connsiteX20147" y="connsiteY20147"/>
                </a:cxn>
                <a:cxn ang="0">
                  <a:pos x="connsiteX20148" y="connsiteY20148"/>
                </a:cxn>
                <a:cxn ang="0">
                  <a:pos x="connsiteX20149" y="connsiteY20149"/>
                </a:cxn>
                <a:cxn ang="0">
                  <a:pos x="connsiteX20150" y="connsiteY20150"/>
                </a:cxn>
                <a:cxn ang="0">
                  <a:pos x="connsiteX20151" y="connsiteY20151"/>
                </a:cxn>
                <a:cxn ang="0">
                  <a:pos x="connsiteX20152" y="connsiteY20152"/>
                </a:cxn>
                <a:cxn ang="0">
                  <a:pos x="connsiteX20153" y="connsiteY20153"/>
                </a:cxn>
                <a:cxn ang="0">
                  <a:pos x="connsiteX20154" y="connsiteY20154"/>
                </a:cxn>
                <a:cxn ang="0">
                  <a:pos x="connsiteX20155" y="connsiteY20155"/>
                </a:cxn>
                <a:cxn ang="0">
                  <a:pos x="connsiteX20156" y="connsiteY20156"/>
                </a:cxn>
                <a:cxn ang="0">
                  <a:pos x="connsiteX20157" y="connsiteY20157"/>
                </a:cxn>
                <a:cxn ang="0">
                  <a:pos x="connsiteX20158" y="connsiteY20158"/>
                </a:cxn>
                <a:cxn ang="0">
                  <a:pos x="connsiteX20159" y="connsiteY20159"/>
                </a:cxn>
                <a:cxn ang="0">
                  <a:pos x="connsiteX20160" y="connsiteY20160"/>
                </a:cxn>
                <a:cxn ang="0">
                  <a:pos x="connsiteX20161" y="connsiteY20161"/>
                </a:cxn>
                <a:cxn ang="0">
                  <a:pos x="connsiteX20162" y="connsiteY20162"/>
                </a:cxn>
                <a:cxn ang="0">
                  <a:pos x="connsiteX20163" y="connsiteY20163"/>
                </a:cxn>
                <a:cxn ang="0">
                  <a:pos x="connsiteX20164" y="connsiteY20164"/>
                </a:cxn>
                <a:cxn ang="0">
                  <a:pos x="connsiteX20165" y="connsiteY20165"/>
                </a:cxn>
                <a:cxn ang="0">
                  <a:pos x="connsiteX20166" y="connsiteY20166"/>
                </a:cxn>
                <a:cxn ang="0">
                  <a:pos x="connsiteX20167" y="connsiteY20167"/>
                </a:cxn>
                <a:cxn ang="0">
                  <a:pos x="connsiteX20168" y="connsiteY20168"/>
                </a:cxn>
                <a:cxn ang="0">
                  <a:pos x="connsiteX20169" y="connsiteY20169"/>
                </a:cxn>
                <a:cxn ang="0">
                  <a:pos x="connsiteX20170" y="connsiteY20170"/>
                </a:cxn>
                <a:cxn ang="0">
                  <a:pos x="connsiteX20171" y="connsiteY20171"/>
                </a:cxn>
                <a:cxn ang="0">
                  <a:pos x="connsiteX20172" y="connsiteY20172"/>
                </a:cxn>
                <a:cxn ang="0">
                  <a:pos x="connsiteX20173" y="connsiteY20173"/>
                </a:cxn>
                <a:cxn ang="0">
                  <a:pos x="connsiteX20174" y="connsiteY20174"/>
                </a:cxn>
                <a:cxn ang="0">
                  <a:pos x="connsiteX20175" y="connsiteY20175"/>
                </a:cxn>
                <a:cxn ang="0">
                  <a:pos x="connsiteX20176" y="connsiteY20176"/>
                </a:cxn>
                <a:cxn ang="0">
                  <a:pos x="connsiteX20177" y="connsiteY20177"/>
                </a:cxn>
                <a:cxn ang="0">
                  <a:pos x="connsiteX20178" y="connsiteY20178"/>
                </a:cxn>
                <a:cxn ang="0">
                  <a:pos x="connsiteX20179" y="connsiteY20179"/>
                </a:cxn>
                <a:cxn ang="0">
                  <a:pos x="connsiteX20180" y="connsiteY20180"/>
                </a:cxn>
                <a:cxn ang="0">
                  <a:pos x="connsiteX20181" y="connsiteY20181"/>
                </a:cxn>
                <a:cxn ang="0">
                  <a:pos x="connsiteX20182" y="connsiteY20182"/>
                </a:cxn>
                <a:cxn ang="0">
                  <a:pos x="connsiteX20183" y="connsiteY20183"/>
                </a:cxn>
                <a:cxn ang="0">
                  <a:pos x="connsiteX20184" y="connsiteY20184"/>
                </a:cxn>
                <a:cxn ang="0">
                  <a:pos x="connsiteX20185" y="connsiteY20185"/>
                </a:cxn>
                <a:cxn ang="0">
                  <a:pos x="connsiteX20186" y="connsiteY20186"/>
                </a:cxn>
                <a:cxn ang="0">
                  <a:pos x="connsiteX20187" y="connsiteY20187"/>
                </a:cxn>
                <a:cxn ang="0">
                  <a:pos x="connsiteX20188" y="connsiteY20188"/>
                </a:cxn>
                <a:cxn ang="0">
                  <a:pos x="connsiteX20189" y="connsiteY20189"/>
                </a:cxn>
                <a:cxn ang="0">
                  <a:pos x="connsiteX20190" y="connsiteY20190"/>
                </a:cxn>
                <a:cxn ang="0">
                  <a:pos x="connsiteX20191" y="connsiteY20191"/>
                </a:cxn>
                <a:cxn ang="0">
                  <a:pos x="connsiteX20192" y="connsiteY20192"/>
                </a:cxn>
                <a:cxn ang="0">
                  <a:pos x="connsiteX20193" y="connsiteY20193"/>
                </a:cxn>
                <a:cxn ang="0">
                  <a:pos x="connsiteX20194" y="connsiteY20194"/>
                </a:cxn>
                <a:cxn ang="0">
                  <a:pos x="connsiteX20195" y="connsiteY20195"/>
                </a:cxn>
                <a:cxn ang="0">
                  <a:pos x="connsiteX20196" y="connsiteY20196"/>
                </a:cxn>
                <a:cxn ang="0">
                  <a:pos x="connsiteX20197" y="connsiteY20197"/>
                </a:cxn>
                <a:cxn ang="0">
                  <a:pos x="connsiteX20198" y="connsiteY20198"/>
                </a:cxn>
                <a:cxn ang="0">
                  <a:pos x="connsiteX20199" y="connsiteY20199"/>
                </a:cxn>
                <a:cxn ang="0">
                  <a:pos x="connsiteX20200" y="connsiteY20200"/>
                </a:cxn>
                <a:cxn ang="0">
                  <a:pos x="connsiteX20201" y="connsiteY20201"/>
                </a:cxn>
                <a:cxn ang="0">
                  <a:pos x="connsiteX20202" y="connsiteY20202"/>
                </a:cxn>
                <a:cxn ang="0">
                  <a:pos x="connsiteX20203" y="connsiteY20203"/>
                </a:cxn>
                <a:cxn ang="0">
                  <a:pos x="connsiteX20204" y="connsiteY20204"/>
                </a:cxn>
                <a:cxn ang="0">
                  <a:pos x="connsiteX20205" y="connsiteY20205"/>
                </a:cxn>
                <a:cxn ang="0">
                  <a:pos x="connsiteX20206" y="connsiteY20206"/>
                </a:cxn>
                <a:cxn ang="0">
                  <a:pos x="connsiteX20207" y="connsiteY20207"/>
                </a:cxn>
                <a:cxn ang="0">
                  <a:pos x="connsiteX20208" y="connsiteY20208"/>
                </a:cxn>
                <a:cxn ang="0">
                  <a:pos x="connsiteX20209" y="connsiteY20209"/>
                </a:cxn>
                <a:cxn ang="0">
                  <a:pos x="connsiteX20210" y="connsiteY20210"/>
                </a:cxn>
                <a:cxn ang="0">
                  <a:pos x="connsiteX20211" y="connsiteY20211"/>
                </a:cxn>
                <a:cxn ang="0">
                  <a:pos x="connsiteX20212" y="connsiteY20212"/>
                </a:cxn>
                <a:cxn ang="0">
                  <a:pos x="connsiteX20213" y="connsiteY20213"/>
                </a:cxn>
                <a:cxn ang="0">
                  <a:pos x="connsiteX20214" y="connsiteY20214"/>
                </a:cxn>
                <a:cxn ang="0">
                  <a:pos x="connsiteX20215" y="connsiteY20215"/>
                </a:cxn>
                <a:cxn ang="0">
                  <a:pos x="connsiteX20216" y="connsiteY20216"/>
                </a:cxn>
                <a:cxn ang="0">
                  <a:pos x="connsiteX20217" y="connsiteY20217"/>
                </a:cxn>
                <a:cxn ang="0">
                  <a:pos x="connsiteX20218" y="connsiteY20218"/>
                </a:cxn>
                <a:cxn ang="0">
                  <a:pos x="connsiteX20219" y="connsiteY20219"/>
                </a:cxn>
                <a:cxn ang="0">
                  <a:pos x="connsiteX20220" y="connsiteY20220"/>
                </a:cxn>
                <a:cxn ang="0">
                  <a:pos x="connsiteX20221" y="connsiteY20221"/>
                </a:cxn>
                <a:cxn ang="0">
                  <a:pos x="connsiteX20222" y="connsiteY20222"/>
                </a:cxn>
                <a:cxn ang="0">
                  <a:pos x="connsiteX20223" y="connsiteY20223"/>
                </a:cxn>
                <a:cxn ang="0">
                  <a:pos x="connsiteX20224" y="connsiteY20224"/>
                </a:cxn>
                <a:cxn ang="0">
                  <a:pos x="connsiteX20225" y="connsiteY20225"/>
                </a:cxn>
                <a:cxn ang="0">
                  <a:pos x="connsiteX20226" y="connsiteY20226"/>
                </a:cxn>
                <a:cxn ang="0">
                  <a:pos x="connsiteX20227" y="connsiteY20227"/>
                </a:cxn>
                <a:cxn ang="0">
                  <a:pos x="connsiteX20228" y="connsiteY20228"/>
                </a:cxn>
                <a:cxn ang="0">
                  <a:pos x="connsiteX20229" y="connsiteY20229"/>
                </a:cxn>
                <a:cxn ang="0">
                  <a:pos x="connsiteX20230" y="connsiteY20230"/>
                </a:cxn>
                <a:cxn ang="0">
                  <a:pos x="connsiteX20231" y="connsiteY20231"/>
                </a:cxn>
                <a:cxn ang="0">
                  <a:pos x="connsiteX20232" y="connsiteY20232"/>
                </a:cxn>
                <a:cxn ang="0">
                  <a:pos x="connsiteX20233" y="connsiteY20233"/>
                </a:cxn>
                <a:cxn ang="0">
                  <a:pos x="connsiteX20234" y="connsiteY20234"/>
                </a:cxn>
                <a:cxn ang="0">
                  <a:pos x="connsiteX20235" y="connsiteY20235"/>
                </a:cxn>
                <a:cxn ang="0">
                  <a:pos x="connsiteX20236" y="connsiteY20236"/>
                </a:cxn>
                <a:cxn ang="0">
                  <a:pos x="connsiteX20237" y="connsiteY20237"/>
                </a:cxn>
                <a:cxn ang="0">
                  <a:pos x="connsiteX20238" y="connsiteY20238"/>
                </a:cxn>
                <a:cxn ang="0">
                  <a:pos x="connsiteX20239" y="connsiteY20239"/>
                </a:cxn>
                <a:cxn ang="0">
                  <a:pos x="connsiteX20240" y="connsiteY20240"/>
                </a:cxn>
                <a:cxn ang="0">
                  <a:pos x="connsiteX20241" y="connsiteY20241"/>
                </a:cxn>
                <a:cxn ang="0">
                  <a:pos x="connsiteX20242" y="connsiteY20242"/>
                </a:cxn>
                <a:cxn ang="0">
                  <a:pos x="connsiteX20243" y="connsiteY20243"/>
                </a:cxn>
                <a:cxn ang="0">
                  <a:pos x="connsiteX20244" y="connsiteY20244"/>
                </a:cxn>
                <a:cxn ang="0">
                  <a:pos x="connsiteX20245" y="connsiteY20245"/>
                </a:cxn>
                <a:cxn ang="0">
                  <a:pos x="connsiteX20246" y="connsiteY20246"/>
                </a:cxn>
                <a:cxn ang="0">
                  <a:pos x="connsiteX20247" y="connsiteY20247"/>
                </a:cxn>
                <a:cxn ang="0">
                  <a:pos x="connsiteX20248" y="connsiteY20248"/>
                </a:cxn>
                <a:cxn ang="0">
                  <a:pos x="connsiteX20249" y="connsiteY20249"/>
                </a:cxn>
                <a:cxn ang="0">
                  <a:pos x="connsiteX20250" y="connsiteY20250"/>
                </a:cxn>
                <a:cxn ang="0">
                  <a:pos x="connsiteX20251" y="connsiteY20251"/>
                </a:cxn>
                <a:cxn ang="0">
                  <a:pos x="connsiteX20252" y="connsiteY20252"/>
                </a:cxn>
                <a:cxn ang="0">
                  <a:pos x="connsiteX20253" y="connsiteY20253"/>
                </a:cxn>
                <a:cxn ang="0">
                  <a:pos x="connsiteX20254" y="connsiteY20254"/>
                </a:cxn>
                <a:cxn ang="0">
                  <a:pos x="connsiteX20255" y="connsiteY20255"/>
                </a:cxn>
                <a:cxn ang="0">
                  <a:pos x="connsiteX20256" y="connsiteY20256"/>
                </a:cxn>
                <a:cxn ang="0">
                  <a:pos x="connsiteX20257" y="connsiteY20257"/>
                </a:cxn>
                <a:cxn ang="0">
                  <a:pos x="connsiteX20258" y="connsiteY20258"/>
                </a:cxn>
                <a:cxn ang="0">
                  <a:pos x="connsiteX20259" y="connsiteY20259"/>
                </a:cxn>
                <a:cxn ang="0">
                  <a:pos x="connsiteX20260" y="connsiteY20260"/>
                </a:cxn>
                <a:cxn ang="0">
                  <a:pos x="connsiteX20261" y="connsiteY20261"/>
                </a:cxn>
                <a:cxn ang="0">
                  <a:pos x="connsiteX20262" y="connsiteY20262"/>
                </a:cxn>
                <a:cxn ang="0">
                  <a:pos x="connsiteX20263" y="connsiteY20263"/>
                </a:cxn>
                <a:cxn ang="0">
                  <a:pos x="connsiteX20264" y="connsiteY20264"/>
                </a:cxn>
                <a:cxn ang="0">
                  <a:pos x="connsiteX20265" y="connsiteY20265"/>
                </a:cxn>
                <a:cxn ang="0">
                  <a:pos x="connsiteX20266" y="connsiteY20266"/>
                </a:cxn>
                <a:cxn ang="0">
                  <a:pos x="connsiteX20267" y="connsiteY20267"/>
                </a:cxn>
                <a:cxn ang="0">
                  <a:pos x="connsiteX20268" y="connsiteY20268"/>
                </a:cxn>
                <a:cxn ang="0">
                  <a:pos x="connsiteX20269" y="connsiteY20269"/>
                </a:cxn>
                <a:cxn ang="0">
                  <a:pos x="connsiteX20270" y="connsiteY20270"/>
                </a:cxn>
                <a:cxn ang="0">
                  <a:pos x="connsiteX20271" y="connsiteY20271"/>
                </a:cxn>
                <a:cxn ang="0">
                  <a:pos x="connsiteX20272" y="connsiteY20272"/>
                </a:cxn>
                <a:cxn ang="0">
                  <a:pos x="connsiteX20273" y="connsiteY20273"/>
                </a:cxn>
                <a:cxn ang="0">
                  <a:pos x="connsiteX20274" y="connsiteY20274"/>
                </a:cxn>
                <a:cxn ang="0">
                  <a:pos x="connsiteX20275" y="connsiteY20275"/>
                </a:cxn>
                <a:cxn ang="0">
                  <a:pos x="connsiteX20276" y="connsiteY20276"/>
                </a:cxn>
                <a:cxn ang="0">
                  <a:pos x="connsiteX20277" y="connsiteY20277"/>
                </a:cxn>
                <a:cxn ang="0">
                  <a:pos x="connsiteX20278" y="connsiteY20278"/>
                </a:cxn>
                <a:cxn ang="0">
                  <a:pos x="connsiteX20279" y="connsiteY20279"/>
                </a:cxn>
                <a:cxn ang="0">
                  <a:pos x="connsiteX20280" y="connsiteY20280"/>
                </a:cxn>
                <a:cxn ang="0">
                  <a:pos x="connsiteX20281" y="connsiteY20281"/>
                </a:cxn>
                <a:cxn ang="0">
                  <a:pos x="connsiteX20282" y="connsiteY20282"/>
                </a:cxn>
                <a:cxn ang="0">
                  <a:pos x="connsiteX20283" y="connsiteY20283"/>
                </a:cxn>
                <a:cxn ang="0">
                  <a:pos x="connsiteX20284" y="connsiteY20284"/>
                </a:cxn>
                <a:cxn ang="0">
                  <a:pos x="connsiteX20285" y="connsiteY20285"/>
                </a:cxn>
                <a:cxn ang="0">
                  <a:pos x="connsiteX20286" y="connsiteY20286"/>
                </a:cxn>
                <a:cxn ang="0">
                  <a:pos x="connsiteX20287" y="connsiteY20287"/>
                </a:cxn>
                <a:cxn ang="0">
                  <a:pos x="connsiteX20288" y="connsiteY20288"/>
                </a:cxn>
                <a:cxn ang="0">
                  <a:pos x="connsiteX20289" y="connsiteY20289"/>
                </a:cxn>
                <a:cxn ang="0">
                  <a:pos x="connsiteX20290" y="connsiteY20290"/>
                </a:cxn>
                <a:cxn ang="0">
                  <a:pos x="connsiteX20291" y="connsiteY20291"/>
                </a:cxn>
                <a:cxn ang="0">
                  <a:pos x="connsiteX20292" y="connsiteY20292"/>
                </a:cxn>
                <a:cxn ang="0">
                  <a:pos x="connsiteX20293" y="connsiteY20293"/>
                </a:cxn>
                <a:cxn ang="0">
                  <a:pos x="connsiteX20294" y="connsiteY20294"/>
                </a:cxn>
                <a:cxn ang="0">
                  <a:pos x="connsiteX20295" y="connsiteY20295"/>
                </a:cxn>
                <a:cxn ang="0">
                  <a:pos x="connsiteX20296" y="connsiteY20296"/>
                </a:cxn>
                <a:cxn ang="0">
                  <a:pos x="connsiteX20297" y="connsiteY20297"/>
                </a:cxn>
                <a:cxn ang="0">
                  <a:pos x="connsiteX20298" y="connsiteY20298"/>
                </a:cxn>
                <a:cxn ang="0">
                  <a:pos x="connsiteX20299" y="connsiteY20299"/>
                </a:cxn>
                <a:cxn ang="0">
                  <a:pos x="connsiteX20300" y="connsiteY20300"/>
                </a:cxn>
                <a:cxn ang="0">
                  <a:pos x="connsiteX20301" y="connsiteY20301"/>
                </a:cxn>
                <a:cxn ang="0">
                  <a:pos x="connsiteX20302" y="connsiteY20302"/>
                </a:cxn>
                <a:cxn ang="0">
                  <a:pos x="connsiteX20303" y="connsiteY20303"/>
                </a:cxn>
                <a:cxn ang="0">
                  <a:pos x="connsiteX20304" y="connsiteY20304"/>
                </a:cxn>
                <a:cxn ang="0">
                  <a:pos x="connsiteX20305" y="connsiteY20305"/>
                </a:cxn>
                <a:cxn ang="0">
                  <a:pos x="connsiteX20306" y="connsiteY20306"/>
                </a:cxn>
                <a:cxn ang="0">
                  <a:pos x="connsiteX20307" y="connsiteY20307"/>
                </a:cxn>
                <a:cxn ang="0">
                  <a:pos x="connsiteX20308" y="connsiteY20308"/>
                </a:cxn>
                <a:cxn ang="0">
                  <a:pos x="connsiteX20309" y="connsiteY20309"/>
                </a:cxn>
                <a:cxn ang="0">
                  <a:pos x="connsiteX20310" y="connsiteY20310"/>
                </a:cxn>
                <a:cxn ang="0">
                  <a:pos x="connsiteX20311" y="connsiteY20311"/>
                </a:cxn>
                <a:cxn ang="0">
                  <a:pos x="connsiteX20312" y="connsiteY20312"/>
                </a:cxn>
                <a:cxn ang="0">
                  <a:pos x="connsiteX20313" y="connsiteY20313"/>
                </a:cxn>
                <a:cxn ang="0">
                  <a:pos x="connsiteX20314" y="connsiteY20314"/>
                </a:cxn>
                <a:cxn ang="0">
                  <a:pos x="connsiteX20315" y="connsiteY20315"/>
                </a:cxn>
                <a:cxn ang="0">
                  <a:pos x="connsiteX20316" y="connsiteY20316"/>
                </a:cxn>
                <a:cxn ang="0">
                  <a:pos x="connsiteX20317" y="connsiteY20317"/>
                </a:cxn>
                <a:cxn ang="0">
                  <a:pos x="connsiteX20318" y="connsiteY20318"/>
                </a:cxn>
                <a:cxn ang="0">
                  <a:pos x="connsiteX20319" y="connsiteY20319"/>
                </a:cxn>
                <a:cxn ang="0">
                  <a:pos x="connsiteX20320" y="connsiteY20320"/>
                </a:cxn>
                <a:cxn ang="0">
                  <a:pos x="connsiteX20321" y="connsiteY20321"/>
                </a:cxn>
                <a:cxn ang="0">
                  <a:pos x="connsiteX20322" y="connsiteY20322"/>
                </a:cxn>
                <a:cxn ang="0">
                  <a:pos x="connsiteX20323" y="connsiteY20323"/>
                </a:cxn>
                <a:cxn ang="0">
                  <a:pos x="connsiteX20324" y="connsiteY20324"/>
                </a:cxn>
                <a:cxn ang="0">
                  <a:pos x="connsiteX20325" y="connsiteY20325"/>
                </a:cxn>
                <a:cxn ang="0">
                  <a:pos x="connsiteX20326" y="connsiteY20326"/>
                </a:cxn>
                <a:cxn ang="0">
                  <a:pos x="connsiteX20327" y="connsiteY20327"/>
                </a:cxn>
                <a:cxn ang="0">
                  <a:pos x="connsiteX20328" y="connsiteY20328"/>
                </a:cxn>
                <a:cxn ang="0">
                  <a:pos x="connsiteX20329" y="connsiteY20329"/>
                </a:cxn>
                <a:cxn ang="0">
                  <a:pos x="connsiteX20330" y="connsiteY20330"/>
                </a:cxn>
                <a:cxn ang="0">
                  <a:pos x="connsiteX20331" y="connsiteY20331"/>
                </a:cxn>
                <a:cxn ang="0">
                  <a:pos x="connsiteX20332" y="connsiteY20332"/>
                </a:cxn>
                <a:cxn ang="0">
                  <a:pos x="connsiteX20333" y="connsiteY20333"/>
                </a:cxn>
                <a:cxn ang="0">
                  <a:pos x="connsiteX20334" y="connsiteY20334"/>
                </a:cxn>
                <a:cxn ang="0">
                  <a:pos x="connsiteX20335" y="connsiteY20335"/>
                </a:cxn>
                <a:cxn ang="0">
                  <a:pos x="connsiteX20336" y="connsiteY20336"/>
                </a:cxn>
                <a:cxn ang="0">
                  <a:pos x="connsiteX20337" y="connsiteY20337"/>
                </a:cxn>
                <a:cxn ang="0">
                  <a:pos x="connsiteX20338" y="connsiteY20338"/>
                </a:cxn>
                <a:cxn ang="0">
                  <a:pos x="connsiteX20339" y="connsiteY20339"/>
                </a:cxn>
                <a:cxn ang="0">
                  <a:pos x="connsiteX20340" y="connsiteY20340"/>
                </a:cxn>
                <a:cxn ang="0">
                  <a:pos x="connsiteX20341" y="connsiteY20341"/>
                </a:cxn>
                <a:cxn ang="0">
                  <a:pos x="connsiteX20342" y="connsiteY20342"/>
                </a:cxn>
                <a:cxn ang="0">
                  <a:pos x="connsiteX20343" y="connsiteY20343"/>
                </a:cxn>
                <a:cxn ang="0">
                  <a:pos x="connsiteX20344" y="connsiteY20344"/>
                </a:cxn>
                <a:cxn ang="0">
                  <a:pos x="connsiteX20345" y="connsiteY20345"/>
                </a:cxn>
                <a:cxn ang="0">
                  <a:pos x="connsiteX20346" y="connsiteY20346"/>
                </a:cxn>
                <a:cxn ang="0">
                  <a:pos x="connsiteX20347" y="connsiteY20347"/>
                </a:cxn>
                <a:cxn ang="0">
                  <a:pos x="connsiteX20348" y="connsiteY20348"/>
                </a:cxn>
                <a:cxn ang="0">
                  <a:pos x="connsiteX20349" y="connsiteY20349"/>
                </a:cxn>
                <a:cxn ang="0">
                  <a:pos x="connsiteX20350" y="connsiteY20350"/>
                </a:cxn>
                <a:cxn ang="0">
                  <a:pos x="connsiteX20351" y="connsiteY20351"/>
                </a:cxn>
                <a:cxn ang="0">
                  <a:pos x="connsiteX20352" y="connsiteY20352"/>
                </a:cxn>
                <a:cxn ang="0">
                  <a:pos x="connsiteX20353" y="connsiteY20353"/>
                </a:cxn>
                <a:cxn ang="0">
                  <a:pos x="connsiteX20354" y="connsiteY20354"/>
                </a:cxn>
                <a:cxn ang="0">
                  <a:pos x="connsiteX20355" y="connsiteY20355"/>
                </a:cxn>
                <a:cxn ang="0">
                  <a:pos x="connsiteX20356" y="connsiteY20356"/>
                </a:cxn>
                <a:cxn ang="0">
                  <a:pos x="connsiteX20357" y="connsiteY20357"/>
                </a:cxn>
                <a:cxn ang="0">
                  <a:pos x="connsiteX20358" y="connsiteY20358"/>
                </a:cxn>
                <a:cxn ang="0">
                  <a:pos x="connsiteX20359" y="connsiteY20359"/>
                </a:cxn>
                <a:cxn ang="0">
                  <a:pos x="connsiteX20360" y="connsiteY20360"/>
                </a:cxn>
                <a:cxn ang="0">
                  <a:pos x="connsiteX20361" y="connsiteY20361"/>
                </a:cxn>
                <a:cxn ang="0">
                  <a:pos x="connsiteX20362" y="connsiteY20362"/>
                </a:cxn>
                <a:cxn ang="0">
                  <a:pos x="connsiteX20363" y="connsiteY20363"/>
                </a:cxn>
                <a:cxn ang="0">
                  <a:pos x="connsiteX20364" y="connsiteY20364"/>
                </a:cxn>
                <a:cxn ang="0">
                  <a:pos x="connsiteX20365" y="connsiteY20365"/>
                </a:cxn>
                <a:cxn ang="0">
                  <a:pos x="connsiteX20366" y="connsiteY20366"/>
                </a:cxn>
                <a:cxn ang="0">
                  <a:pos x="connsiteX20367" y="connsiteY20367"/>
                </a:cxn>
                <a:cxn ang="0">
                  <a:pos x="connsiteX20368" y="connsiteY20368"/>
                </a:cxn>
                <a:cxn ang="0">
                  <a:pos x="connsiteX20369" y="connsiteY20369"/>
                </a:cxn>
                <a:cxn ang="0">
                  <a:pos x="connsiteX20370" y="connsiteY20370"/>
                </a:cxn>
                <a:cxn ang="0">
                  <a:pos x="connsiteX20371" y="connsiteY20371"/>
                </a:cxn>
                <a:cxn ang="0">
                  <a:pos x="connsiteX20372" y="connsiteY20372"/>
                </a:cxn>
                <a:cxn ang="0">
                  <a:pos x="connsiteX20373" y="connsiteY20373"/>
                </a:cxn>
                <a:cxn ang="0">
                  <a:pos x="connsiteX20374" y="connsiteY20374"/>
                </a:cxn>
                <a:cxn ang="0">
                  <a:pos x="connsiteX20375" y="connsiteY20375"/>
                </a:cxn>
                <a:cxn ang="0">
                  <a:pos x="connsiteX20376" y="connsiteY20376"/>
                </a:cxn>
                <a:cxn ang="0">
                  <a:pos x="connsiteX20377" y="connsiteY20377"/>
                </a:cxn>
                <a:cxn ang="0">
                  <a:pos x="connsiteX20378" y="connsiteY20378"/>
                </a:cxn>
                <a:cxn ang="0">
                  <a:pos x="connsiteX20379" y="connsiteY20379"/>
                </a:cxn>
                <a:cxn ang="0">
                  <a:pos x="connsiteX20380" y="connsiteY20380"/>
                </a:cxn>
                <a:cxn ang="0">
                  <a:pos x="connsiteX20381" y="connsiteY20381"/>
                </a:cxn>
                <a:cxn ang="0">
                  <a:pos x="connsiteX20382" y="connsiteY20382"/>
                </a:cxn>
                <a:cxn ang="0">
                  <a:pos x="connsiteX20383" y="connsiteY20383"/>
                </a:cxn>
                <a:cxn ang="0">
                  <a:pos x="connsiteX20384" y="connsiteY20384"/>
                </a:cxn>
                <a:cxn ang="0">
                  <a:pos x="connsiteX20385" y="connsiteY20385"/>
                </a:cxn>
                <a:cxn ang="0">
                  <a:pos x="connsiteX20386" y="connsiteY20386"/>
                </a:cxn>
                <a:cxn ang="0">
                  <a:pos x="connsiteX20387" y="connsiteY20387"/>
                </a:cxn>
                <a:cxn ang="0">
                  <a:pos x="connsiteX20388" y="connsiteY20388"/>
                </a:cxn>
                <a:cxn ang="0">
                  <a:pos x="connsiteX20389" y="connsiteY20389"/>
                </a:cxn>
                <a:cxn ang="0">
                  <a:pos x="connsiteX20390" y="connsiteY20390"/>
                </a:cxn>
                <a:cxn ang="0">
                  <a:pos x="connsiteX20391" y="connsiteY20391"/>
                </a:cxn>
                <a:cxn ang="0">
                  <a:pos x="connsiteX20392" y="connsiteY20392"/>
                </a:cxn>
                <a:cxn ang="0">
                  <a:pos x="connsiteX20393" y="connsiteY20393"/>
                </a:cxn>
                <a:cxn ang="0">
                  <a:pos x="connsiteX20394" y="connsiteY20394"/>
                </a:cxn>
                <a:cxn ang="0">
                  <a:pos x="connsiteX20395" y="connsiteY20395"/>
                </a:cxn>
                <a:cxn ang="0">
                  <a:pos x="connsiteX20396" y="connsiteY20396"/>
                </a:cxn>
                <a:cxn ang="0">
                  <a:pos x="connsiteX20397" y="connsiteY20397"/>
                </a:cxn>
                <a:cxn ang="0">
                  <a:pos x="connsiteX20398" y="connsiteY20398"/>
                </a:cxn>
                <a:cxn ang="0">
                  <a:pos x="connsiteX20399" y="connsiteY20399"/>
                </a:cxn>
                <a:cxn ang="0">
                  <a:pos x="connsiteX20400" y="connsiteY20400"/>
                </a:cxn>
                <a:cxn ang="0">
                  <a:pos x="connsiteX20401" y="connsiteY20401"/>
                </a:cxn>
                <a:cxn ang="0">
                  <a:pos x="connsiteX20402" y="connsiteY20402"/>
                </a:cxn>
                <a:cxn ang="0">
                  <a:pos x="connsiteX20403" y="connsiteY20403"/>
                </a:cxn>
                <a:cxn ang="0">
                  <a:pos x="connsiteX20404" y="connsiteY20404"/>
                </a:cxn>
                <a:cxn ang="0">
                  <a:pos x="connsiteX20405" y="connsiteY20405"/>
                </a:cxn>
                <a:cxn ang="0">
                  <a:pos x="connsiteX20406" y="connsiteY20406"/>
                </a:cxn>
                <a:cxn ang="0">
                  <a:pos x="connsiteX20407" y="connsiteY20407"/>
                </a:cxn>
                <a:cxn ang="0">
                  <a:pos x="connsiteX20408" y="connsiteY20408"/>
                </a:cxn>
                <a:cxn ang="0">
                  <a:pos x="connsiteX20409" y="connsiteY20409"/>
                </a:cxn>
                <a:cxn ang="0">
                  <a:pos x="connsiteX20410" y="connsiteY20410"/>
                </a:cxn>
                <a:cxn ang="0">
                  <a:pos x="connsiteX20411" y="connsiteY20411"/>
                </a:cxn>
                <a:cxn ang="0">
                  <a:pos x="connsiteX20412" y="connsiteY20412"/>
                </a:cxn>
                <a:cxn ang="0">
                  <a:pos x="connsiteX20413" y="connsiteY20413"/>
                </a:cxn>
                <a:cxn ang="0">
                  <a:pos x="connsiteX20414" y="connsiteY20414"/>
                </a:cxn>
                <a:cxn ang="0">
                  <a:pos x="connsiteX20415" y="connsiteY20415"/>
                </a:cxn>
                <a:cxn ang="0">
                  <a:pos x="connsiteX20416" y="connsiteY20416"/>
                </a:cxn>
                <a:cxn ang="0">
                  <a:pos x="connsiteX20417" y="connsiteY20417"/>
                </a:cxn>
                <a:cxn ang="0">
                  <a:pos x="connsiteX20418" y="connsiteY20418"/>
                </a:cxn>
                <a:cxn ang="0">
                  <a:pos x="connsiteX20419" y="connsiteY20419"/>
                </a:cxn>
                <a:cxn ang="0">
                  <a:pos x="connsiteX20420" y="connsiteY20420"/>
                </a:cxn>
                <a:cxn ang="0">
                  <a:pos x="connsiteX20421" y="connsiteY20421"/>
                </a:cxn>
                <a:cxn ang="0">
                  <a:pos x="connsiteX20422" y="connsiteY20422"/>
                </a:cxn>
                <a:cxn ang="0">
                  <a:pos x="connsiteX20423" y="connsiteY20423"/>
                </a:cxn>
                <a:cxn ang="0">
                  <a:pos x="connsiteX20424" y="connsiteY20424"/>
                </a:cxn>
                <a:cxn ang="0">
                  <a:pos x="connsiteX20425" y="connsiteY20425"/>
                </a:cxn>
                <a:cxn ang="0">
                  <a:pos x="connsiteX20426" y="connsiteY20426"/>
                </a:cxn>
                <a:cxn ang="0">
                  <a:pos x="connsiteX20427" y="connsiteY20427"/>
                </a:cxn>
                <a:cxn ang="0">
                  <a:pos x="connsiteX20428" y="connsiteY20428"/>
                </a:cxn>
                <a:cxn ang="0">
                  <a:pos x="connsiteX20429" y="connsiteY20429"/>
                </a:cxn>
                <a:cxn ang="0">
                  <a:pos x="connsiteX20430" y="connsiteY20430"/>
                </a:cxn>
                <a:cxn ang="0">
                  <a:pos x="connsiteX20431" y="connsiteY20431"/>
                </a:cxn>
                <a:cxn ang="0">
                  <a:pos x="connsiteX20432" y="connsiteY20432"/>
                </a:cxn>
                <a:cxn ang="0">
                  <a:pos x="connsiteX20433" y="connsiteY20433"/>
                </a:cxn>
                <a:cxn ang="0">
                  <a:pos x="connsiteX20434" y="connsiteY20434"/>
                </a:cxn>
                <a:cxn ang="0">
                  <a:pos x="connsiteX20435" y="connsiteY20435"/>
                </a:cxn>
                <a:cxn ang="0">
                  <a:pos x="connsiteX20436" y="connsiteY20436"/>
                </a:cxn>
                <a:cxn ang="0">
                  <a:pos x="connsiteX20437" y="connsiteY20437"/>
                </a:cxn>
                <a:cxn ang="0">
                  <a:pos x="connsiteX20438" y="connsiteY20438"/>
                </a:cxn>
                <a:cxn ang="0">
                  <a:pos x="connsiteX20439" y="connsiteY20439"/>
                </a:cxn>
                <a:cxn ang="0">
                  <a:pos x="connsiteX20440" y="connsiteY20440"/>
                </a:cxn>
                <a:cxn ang="0">
                  <a:pos x="connsiteX20441" y="connsiteY20441"/>
                </a:cxn>
                <a:cxn ang="0">
                  <a:pos x="connsiteX20442" y="connsiteY20442"/>
                </a:cxn>
                <a:cxn ang="0">
                  <a:pos x="connsiteX20443" y="connsiteY20443"/>
                </a:cxn>
                <a:cxn ang="0">
                  <a:pos x="connsiteX20444" y="connsiteY20444"/>
                </a:cxn>
                <a:cxn ang="0">
                  <a:pos x="connsiteX20445" y="connsiteY20445"/>
                </a:cxn>
                <a:cxn ang="0">
                  <a:pos x="connsiteX20446" y="connsiteY20446"/>
                </a:cxn>
                <a:cxn ang="0">
                  <a:pos x="connsiteX20447" y="connsiteY20447"/>
                </a:cxn>
                <a:cxn ang="0">
                  <a:pos x="connsiteX20448" y="connsiteY20448"/>
                </a:cxn>
                <a:cxn ang="0">
                  <a:pos x="connsiteX20449" y="connsiteY20449"/>
                </a:cxn>
                <a:cxn ang="0">
                  <a:pos x="connsiteX20450" y="connsiteY20450"/>
                </a:cxn>
                <a:cxn ang="0">
                  <a:pos x="connsiteX20451" y="connsiteY20451"/>
                </a:cxn>
                <a:cxn ang="0">
                  <a:pos x="connsiteX20452" y="connsiteY20452"/>
                </a:cxn>
                <a:cxn ang="0">
                  <a:pos x="connsiteX20453" y="connsiteY20453"/>
                </a:cxn>
                <a:cxn ang="0">
                  <a:pos x="connsiteX20454" y="connsiteY20454"/>
                </a:cxn>
                <a:cxn ang="0">
                  <a:pos x="connsiteX20455" y="connsiteY20455"/>
                </a:cxn>
                <a:cxn ang="0">
                  <a:pos x="connsiteX20456" y="connsiteY20456"/>
                </a:cxn>
                <a:cxn ang="0">
                  <a:pos x="connsiteX20457" y="connsiteY20457"/>
                </a:cxn>
                <a:cxn ang="0">
                  <a:pos x="connsiteX20458" y="connsiteY20458"/>
                </a:cxn>
                <a:cxn ang="0">
                  <a:pos x="connsiteX20459" y="connsiteY20459"/>
                </a:cxn>
                <a:cxn ang="0">
                  <a:pos x="connsiteX20460" y="connsiteY20460"/>
                </a:cxn>
                <a:cxn ang="0">
                  <a:pos x="connsiteX20461" y="connsiteY20461"/>
                </a:cxn>
                <a:cxn ang="0">
                  <a:pos x="connsiteX20462" y="connsiteY20462"/>
                </a:cxn>
                <a:cxn ang="0">
                  <a:pos x="connsiteX20463" y="connsiteY20463"/>
                </a:cxn>
                <a:cxn ang="0">
                  <a:pos x="connsiteX20464" y="connsiteY20464"/>
                </a:cxn>
                <a:cxn ang="0">
                  <a:pos x="connsiteX20465" y="connsiteY20465"/>
                </a:cxn>
                <a:cxn ang="0">
                  <a:pos x="connsiteX20466" y="connsiteY20466"/>
                </a:cxn>
                <a:cxn ang="0">
                  <a:pos x="connsiteX20467" y="connsiteY20467"/>
                </a:cxn>
                <a:cxn ang="0">
                  <a:pos x="connsiteX20468" y="connsiteY20468"/>
                </a:cxn>
                <a:cxn ang="0">
                  <a:pos x="connsiteX20469" y="connsiteY20469"/>
                </a:cxn>
                <a:cxn ang="0">
                  <a:pos x="connsiteX20470" y="connsiteY20470"/>
                </a:cxn>
                <a:cxn ang="0">
                  <a:pos x="connsiteX20471" y="connsiteY20471"/>
                </a:cxn>
                <a:cxn ang="0">
                  <a:pos x="connsiteX20472" y="connsiteY20472"/>
                </a:cxn>
                <a:cxn ang="0">
                  <a:pos x="connsiteX20473" y="connsiteY20473"/>
                </a:cxn>
                <a:cxn ang="0">
                  <a:pos x="connsiteX20474" y="connsiteY20474"/>
                </a:cxn>
                <a:cxn ang="0">
                  <a:pos x="connsiteX20475" y="connsiteY20475"/>
                </a:cxn>
                <a:cxn ang="0">
                  <a:pos x="connsiteX20476" y="connsiteY20476"/>
                </a:cxn>
                <a:cxn ang="0">
                  <a:pos x="connsiteX20477" y="connsiteY20477"/>
                </a:cxn>
                <a:cxn ang="0">
                  <a:pos x="connsiteX20478" y="connsiteY20478"/>
                </a:cxn>
                <a:cxn ang="0">
                  <a:pos x="connsiteX20479" y="connsiteY20479"/>
                </a:cxn>
                <a:cxn ang="0">
                  <a:pos x="connsiteX20480" y="connsiteY20480"/>
                </a:cxn>
                <a:cxn ang="0">
                  <a:pos x="connsiteX20481" y="connsiteY20481"/>
                </a:cxn>
                <a:cxn ang="0">
                  <a:pos x="connsiteX20482" y="connsiteY20482"/>
                </a:cxn>
                <a:cxn ang="0">
                  <a:pos x="connsiteX20483" y="connsiteY20483"/>
                </a:cxn>
                <a:cxn ang="0">
                  <a:pos x="connsiteX20484" y="connsiteY20484"/>
                </a:cxn>
                <a:cxn ang="0">
                  <a:pos x="connsiteX20485" y="connsiteY20485"/>
                </a:cxn>
                <a:cxn ang="0">
                  <a:pos x="connsiteX20486" y="connsiteY20486"/>
                </a:cxn>
                <a:cxn ang="0">
                  <a:pos x="connsiteX20487" y="connsiteY20487"/>
                </a:cxn>
                <a:cxn ang="0">
                  <a:pos x="connsiteX20488" y="connsiteY20488"/>
                </a:cxn>
                <a:cxn ang="0">
                  <a:pos x="connsiteX20489" y="connsiteY20489"/>
                </a:cxn>
                <a:cxn ang="0">
                  <a:pos x="connsiteX20490" y="connsiteY20490"/>
                </a:cxn>
                <a:cxn ang="0">
                  <a:pos x="connsiteX20491" y="connsiteY20491"/>
                </a:cxn>
                <a:cxn ang="0">
                  <a:pos x="connsiteX20492" y="connsiteY20492"/>
                </a:cxn>
                <a:cxn ang="0">
                  <a:pos x="connsiteX20493" y="connsiteY20493"/>
                </a:cxn>
                <a:cxn ang="0">
                  <a:pos x="connsiteX20494" y="connsiteY20494"/>
                </a:cxn>
                <a:cxn ang="0">
                  <a:pos x="connsiteX20495" y="connsiteY20495"/>
                </a:cxn>
                <a:cxn ang="0">
                  <a:pos x="connsiteX20496" y="connsiteY20496"/>
                </a:cxn>
                <a:cxn ang="0">
                  <a:pos x="connsiteX20497" y="connsiteY20497"/>
                </a:cxn>
                <a:cxn ang="0">
                  <a:pos x="connsiteX20498" y="connsiteY20498"/>
                </a:cxn>
                <a:cxn ang="0">
                  <a:pos x="connsiteX20499" y="connsiteY20499"/>
                </a:cxn>
                <a:cxn ang="0">
                  <a:pos x="connsiteX20500" y="connsiteY20500"/>
                </a:cxn>
                <a:cxn ang="0">
                  <a:pos x="connsiteX20501" y="connsiteY20501"/>
                </a:cxn>
                <a:cxn ang="0">
                  <a:pos x="connsiteX20502" y="connsiteY20502"/>
                </a:cxn>
                <a:cxn ang="0">
                  <a:pos x="connsiteX20503" y="connsiteY20503"/>
                </a:cxn>
                <a:cxn ang="0">
                  <a:pos x="connsiteX20504" y="connsiteY20504"/>
                </a:cxn>
                <a:cxn ang="0">
                  <a:pos x="connsiteX20505" y="connsiteY20505"/>
                </a:cxn>
                <a:cxn ang="0">
                  <a:pos x="connsiteX20506" y="connsiteY20506"/>
                </a:cxn>
                <a:cxn ang="0">
                  <a:pos x="connsiteX20507" y="connsiteY20507"/>
                </a:cxn>
                <a:cxn ang="0">
                  <a:pos x="connsiteX20508" y="connsiteY20508"/>
                </a:cxn>
                <a:cxn ang="0">
                  <a:pos x="connsiteX20509" y="connsiteY20509"/>
                </a:cxn>
                <a:cxn ang="0">
                  <a:pos x="connsiteX20510" y="connsiteY20510"/>
                </a:cxn>
                <a:cxn ang="0">
                  <a:pos x="connsiteX20511" y="connsiteY20511"/>
                </a:cxn>
                <a:cxn ang="0">
                  <a:pos x="connsiteX20512" y="connsiteY20512"/>
                </a:cxn>
                <a:cxn ang="0">
                  <a:pos x="connsiteX20513" y="connsiteY20513"/>
                </a:cxn>
                <a:cxn ang="0">
                  <a:pos x="connsiteX20514" y="connsiteY20514"/>
                </a:cxn>
                <a:cxn ang="0">
                  <a:pos x="connsiteX20515" y="connsiteY20515"/>
                </a:cxn>
                <a:cxn ang="0">
                  <a:pos x="connsiteX20516" y="connsiteY20516"/>
                </a:cxn>
                <a:cxn ang="0">
                  <a:pos x="connsiteX20517" y="connsiteY20517"/>
                </a:cxn>
                <a:cxn ang="0">
                  <a:pos x="connsiteX20518" y="connsiteY20518"/>
                </a:cxn>
                <a:cxn ang="0">
                  <a:pos x="connsiteX20519" y="connsiteY20519"/>
                </a:cxn>
                <a:cxn ang="0">
                  <a:pos x="connsiteX20520" y="connsiteY20520"/>
                </a:cxn>
                <a:cxn ang="0">
                  <a:pos x="connsiteX20521" y="connsiteY20521"/>
                </a:cxn>
                <a:cxn ang="0">
                  <a:pos x="connsiteX20522" y="connsiteY20522"/>
                </a:cxn>
                <a:cxn ang="0">
                  <a:pos x="connsiteX20523" y="connsiteY20523"/>
                </a:cxn>
                <a:cxn ang="0">
                  <a:pos x="connsiteX20524" y="connsiteY20524"/>
                </a:cxn>
                <a:cxn ang="0">
                  <a:pos x="connsiteX20525" y="connsiteY20525"/>
                </a:cxn>
                <a:cxn ang="0">
                  <a:pos x="connsiteX20526" y="connsiteY20526"/>
                </a:cxn>
                <a:cxn ang="0">
                  <a:pos x="connsiteX20527" y="connsiteY20527"/>
                </a:cxn>
                <a:cxn ang="0">
                  <a:pos x="connsiteX20528" y="connsiteY20528"/>
                </a:cxn>
                <a:cxn ang="0">
                  <a:pos x="connsiteX20529" y="connsiteY20529"/>
                </a:cxn>
                <a:cxn ang="0">
                  <a:pos x="connsiteX20530" y="connsiteY20530"/>
                </a:cxn>
                <a:cxn ang="0">
                  <a:pos x="connsiteX20531" y="connsiteY20531"/>
                </a:cxn>
                <a:cxn ang="0">
                  <a:pos x="connsiteX20532" y="connsiteY20532"/>
                </a:cxn>
                <a:cxn ang="0">
                  <a:pos x="connsiteX20533" y="connsiteY20533"/>
                </a:cxn>
                <a:cxn ang="0">
                  <a:pos x="connsiteX20534" y="connsiteY20534"/>
                </a:cxn>
                <a:cxn ang="0">
                  <a:pos x="connsiteX20535" y="connsiteY20535"/>
                </a:cxn>
                <a:cxn ang="0">
                  <a:pos x="connsiteX20536" y="connsiteY20536"/>
                </a:cxn>
                <a:cxn ang="0">
                  <a:pos x="connsiteX20537" y="connsiteY20537"/>
                </a:cxn>
                <a:cxn ang="0">
                  <a:pos x="connsiteX20538" y="connsiteY20538"/>
                </a:cxn>
                <a:cxn ang="0">
                  <a:pos x="connsiteX20539" y="connsiteY20539"/>
                </a:cxn>
                <a:cxn ang="0">
                  <a:pos x="connsiteX20540" y="connsiteY20540"/>
                </a:cxn>
                <a:cxn ang="0">
                  <a:pos x="connsiteX20541" y="connsiteY20541"/>
                </a:cxn>
                <a:cxn ang="0">
                  <a:pos x="connsiteX20542" y="connsiteY20542"/>
                </a:cxn>
                <a:cxn ang="0">
                  <a:pos x="connsiteX20543" y="connsiteY20543"/>
                </a:cxn>
                <a:cxn ang="0">
                  <a:pos x="connsiteX20544" y="connsiteY20544"/>
                </a:cxn>
                <a:cxn ang="0">
                  <a:pos x="connsiteX20545" y="connsiteY20545"/>
                </a:cxn>
                <a:cxn ang="0">
                  <a:pos x="connsiteX20546" y="connsiteY20546"/>
                </a:cxn>
                <a:cxn ang="0">
                  <a:pos x="connsiteX20547" y="connsiteY20547"/>
                </a:cxn>
                <a:cxn ang="0">
                  <a:pos x="connsiteX20548" y="connsiteY20548"/>
                </a:cxn>
                <a:cxn ang="0">
                  <a:pos x="connsiteX20549" y="connsiteY20549"/>
                </a:cxn>
                <a:cxn ang="0">
                  <a:pos x="connsiteX20550" y="connsiteY20550"/>
                </a:cxn>
                <a:cxn ang="0">
                  <a:pos x="connsiteX20551" y="connsiteY20551"/>
                </a:cxn>
                <a:cxn ang="0">
                  <a:pos x="connsiteX20552" y="connsiteY20552"/>
                </a:cxn>
                <a:cxn ang="0">
                  <a:pos x="connsiteX20553" y="connsiteY20553"/>
                </a:cxn>
                <a:cxn ang="0">
                  <a:pos x="connsiteX20554" y="connsiteY20554"/>
                </a:cxn>
                <a:cxn ang="0">
                  <a:pos x="connsiteX20555" y="connsiteY20555"/>
                </a:cxn>
                <a:cxn ang="0">
                  <a:pos x="connsiteX20556" y="connsiteY20556"/>
                </a:cxn>
                <a:cxn ang="0">
                  <a:pos x="connsiteX20557" y="connsiteY20557"/>
                </a:cxn>
                <a:cxn ang="0">
                  <a:pos x="connsiteX20558" y="connsiteY20558"/>
                </a:cxn>
                <a:cxn ang="0">
                  <a:pos x="connsiteX20559" y="connsiteY20559"/>
                </a:cxn>
                <a:cxn ang="0">
                  <a:pos x="connsiteX20560" y="connsiteY20560"/>
                </a:cxn>
                <a:cxn ang="0">
                  <a:pos x="connsiteX20561" y="connsiteY20561"/>
                </a:cxn>
                <a:cxn ang="0">
                  <a:pos x="connsiteX20562" y="connsiteY20562"/>
                </a:cxn>
                <a:cxn ang="0">
                  <a:pos x="connsiteX20563" y="connsiteY20563"/>
                </a:cxn>
                <a:cxn ang="0">
                  <a:pos x="connsiteX20564" y="connsiteY20564"/>
                </a:cxn>
                <a:cxn ang="0">
                  <a:pos x="connsiteX20565" y="connsiteY20565"/>
                </a:cxn>
                <a:cxn ang="0">
                  <a:pos x="connsiteX20566" y="connsiteY20566"/>
                </a:cxn>
                <a:cxn ang="0">
                  <a:pos x="connsiteX20567" y="connsiteY20567"/>
                </a:cxn>
                <a:cxn ang="0">
                  <a:pos x="connsiteX20568" y="connsiteY20568"/>
                </a:cxn>
                <a:cxn ang="0">
                  <a:pos x="connsiteX20569" y="connsiteY20569"/>
                </a:cxn>
                <a:cxn ang="0">
                  <a:pos x="connsiteX20570" y="connsiteY20570"/>
                </a:cxn>
                <a:cxn ang="0">
                  <a:pos x="connsiteX20571" y="connsiteY20571"/>
                </a:cxn>
                <a:cxn ang="0">
                  <a:pos x="connsiteX20572" y="connsiteY20572"/>
                </a:cxn>
                <a:cxn ang="0">
                  <a:pos x="connsiteX20573" y="connsiteY20573"/>
                </a:cxn>
                <a:cxn ang="0">
                  <a:pos x="connsiteX20574" y="connsiteY20574"/>
                </a:cxn>
                <a:cxn ang="0">
                  <a:pos x="connsiteX20575" y="connsiteY20575"/>
                </a:cxn>
                <a:cxn ang="0">
                  <a:pos x="connsiteX20576" y="connsiteY20576"/>
                </a:cxn>
                <a:cxn ang="0">
                  <a:pos x="connsiteX20577" y="connsiteY20577"/>
                </a:cxn>
                <a:cxn ang="0">
                  <a:pos x="connsiteX20578" y="connsiteY20578"/>
                </a:cxn>
                <a:cxn ang="0">
                  <a:pos x="connsiteX20579" y="connsiteY20579"/>
                </a:cxn>
                <a:cxn ang="0">
                  <a:pos x="connsiteX20580" y="connsiteY20580"/>
                </a:cxn>
                <a:cxn ang="0">
                  <a:pos x="connsiteX20581" y="connsiteY20581"/>
                </a:cxn>
                <a:cxn ang="0">
                  <a:pos x="connsiteX20582" y="connsiteY20582"/>
                </a:cxn>
                <a:cxn ang="0">
                  <a:pos x="connsiteX20583" y="connsiteY20583"/>
                </a:cxn>
                <a:cxn ang="0">
                  <a:pos x="connsiteX20584" y="connsiteY20584"/>
                </a:cxn>
                <a:cxn ang="0">
                  <a:pos x="connsiteX20585" y="connsiteY20585"/>
                </a:cxn>
                <a:cxn ang="0">
                  <a:pos x="connsiteX20586" y="connsiteY20586"/>
                </a:cxn>
                <a:cxn ang="0">
                  <a:pos x="connsiteX20587" y="connsiteY20587"/>
                </a:cxn>
                <a:cxn ang="0">
                  <a:pos x="connsiteX20588" y="connsiteY20588"/>
                </a:cxn>
                <a:cxn ang="0">
                  <a:pos x="connsiteX20589" y="connsiteY20589"/>
                </a:cxn>
                <a:cxn ang="0">
                  <a:pos x="connsiteX20590" y="connsiteY20590"/>
                </a:cxn>
                <a:cxn ang="0">
                  <a:pos x="connsiteX20591" y="connsiteY20591"/>
                </a:cxn>
                <a:cxn ang="0">
                  <a:pos x="connsiteX20592" y="connsiteY20592"/>
                </a:cxn>
                <a:cxn ang="0">
                  <a:pos x="connsiteX20593" y="connsiteY20593"/>
                </a:cxn>
                <a:cxn ang="0">
                  <a:pos x="connsiteX20594" y="connsiteY20594"/>
                </a:cxn>
                <a:cxn ang="0">
                  <a:pos x="connsiteX20595" y="connsiteY20595"/>
                </a:cxn>
                <a:cxn ang="0">
                  <a:pos x="connsiteX20596" y="connsiteY20596"/>
                </a:cxn>
                <a:cxn ang="0">
                  <a:pos x="connsiteX20597" y="connsiteY20597"/>
                </a:cxn>
                <a:cxn ang="0">
                  <a:pos x="connsiteX20598" y="connsiteY20598"/>
                </a:cxn>
                <a:cxn ang="0">
                  <a:pos x="connsiteX20599" y="connsiteY20599"/>
                </a:cxn>
                <a:cxn ang="0">
                  <a:pos x="connsiteX20600" y="connsiteY20600"/>
                </a:cxn>
                <a:cxn ang="0">
                  <a:pos x="connsiteX20601" y="connsiteY20601"/>
                </a:cxn>
                <a:cxn ang="0">
                  <a:pos x="connsiteX20602" y="connsiteY20602"/>
                </a:cxn>
                <a:cxn ang="0">
                  <a:pos x="connsiteX20603" y="connsiteY20603"/>
                </a:cxn>
                <a:cxn ang="0">
                  <a:pos x="connsiteX20604" y="connsiteY20604"/>
                </a:cxn>
                <a:cxn ang="0">
                  <a:pos x="connsiteX20605" y="connsiteY20605"/>
                </a:cxn>
                <a:cxn ang="0">
                  <a:pos x="connsiteX20606" y="connsiteY20606"/>
                </a:cxn>
                <a:cxn ang="0">
                  <a:pos x="connsiteX20607" y="connsiteY20607"/>
                </a:cxn>
                <a:cxn ang="0">
                  <a:pos x="connsiteX20608" y="connsiteY20608"/>
                </a:cxn>
                <a:cxn ang="0">
                  <a:pos x="connsiteX20609" y="connsiteY20609"/>
                </a:cxn>
                <a:cxn ang="0">
                  <a:pos x="connsiteX20610" y="connsiteY20610"/>
                </a:cxn>
                <a:cxn ang="0">
                  <a:pos x="connsiteX20611" y="connsiteY20611"/>
                </a:cxn>
                <a:cxn ang="0">
                  <a:pos x="connsiteX20612" y="connsiteY20612"/>
                </a:cxn>
                <a:cxn ang="0">
                  <a:pos x="connsiteX20613" y="connsiteY20613"/>
                </a:cxn>
                <a:cxn ang="0">
                  <a:pos x="connsiteX20614" y="connsiteY20614"/>
                </a:cxn>
                <a:cxn ang="0">
                  <a:pos x="connsiteX20615" y="connsiteY20615"/>
                </a:cxn>
                <a:cxn ang="0">
                  <a:pos x="connsiteX20616" y="connsiteY20616"/>
                </a:cxn>
                <a:cxn ang="0">
                  <a:pos x="connsiteX20617" y="connsiteY20617"/>
                </a:cxn>
                <a:cxn ang="0">
                  <a:pos x="connsiteX20618" y="connsiteY20618"/>
                </a:cxn>
                <a:cxn ang="0">
                  <a:pos x="connsiteX20619" y="connsiteY20619"/>
                </a:cxn>
                <a:cxn ang="0">
                  <a:pos x="connsiteX20620" y="connsiteY20620"/>
                </a:cxn>
                <a:cxn ang="0">
                  <a:pos x="connsiteX20621" y="connsiteY20621"/>
                </a:cxn>
                <a:cxn ang="0">
                  <a:pos x="connsiteX20622" y="connsiteY20622"/>
                </a:cxn>
                <a:cxn ang="0">
                  <a:pos x="connsiteX20623" y="connsiteY20623"/>
                </a:cxn>
                <a:cxn ang="0">
                  <a:pos x="connsiteX20624" y="connsiteY20624"/>
                </a:cxn>
                <a:cxn ang="0">
                  <a:pos x="connsiteX20625" y="connsiteY20625"/>
                </a:cxn>
                <a:cxn ang="0">
                  <a:pos x="connsiteX20626" y="connsiteY20626"/>
                </a:cxn>
                <a:cxn ang="0">
                  <a:pos x="connsiteX20627" y="connsiteY20627"/>
                </a:cxn>
                <a:cxn ang="0">
                  <a:pos x="connsiteX20628" y="connsiteY20628"/>
                </a:cxn>
                <a:cxn ang="0">
                  <a:pos x="connsiteX20629" y="connsiteY20629"/>
                </a:cxn>
                <a:cxn ang="0">
                  <a:pos x="connsiteX20630" y="connsiteY20630"/>
                </a:cxn>
                <a:cxn ang="0">
                  <a:pos x="connsiteX20631" y="connsiteY20631"/>
                </a:cxn>
                <a:cxn ang="0">
                  <a:pos x="connsiteX20632" y="connsiteY20632"/>
                </a:cxn>
                <a:cxn ang="0">
                  <a:pos x="connsiteX20633" y="connsiteY20633"/>
                </a:cxn>
                <a:cxn ang="0">
                  <a:pos x="connsiteX20634" y="connsiteY20634"/>
                </a:cxn>
                <a:cxn ang="0">
                  <a:pos x="connsiteX20635" y="connsiteY20635"/>
                </a:cxn>
                <a:cxn ang="0">
                  <a:pos x="connsiteX20636" y="connsiteY20636"/>
                </a:cxn>
                <a:cxn ang="0">
                  <a:pos x="connsiteX20637" y="connsiteY20637"/>
                </a:cxn>
                <a:cxn ang="0">
                  <a:pos x="connsiteX20638" y="connsiteY20638"/>
                </a:cxn>
                <a:cxn ang="0">
                  <a:pos x="connsiteX20639" y="connsiteY20639"/>
                </a:cxn>
                <a:cxn ang="0">
                  <a:pos x="connsiteX20640" y="connsiteY20640"/>
                </a:cxn>
                <a:cxn ang="0">
                  <a:pos x="connsiteX20641" y="connsiteY20641"/>
                </a:cxn>
                <a:cxn ang="0">
                  <a:pos x="connsiteX20642" y="connsiteY20642"/>
                </a:cxn>
                <a:cxn ang="0">
                  <a:pos x="connsiteX20643" y="connsiteY20643"/>
                </a:cxn>
                <a:cxn ang="0">
                  <a:pos x="connsiteX20644" y="connsiteY20644"/>
                </a:cxn>
                <a:cxn ang="0">
                  <a:pos x="connsiteX20645" y="connsiteY20645"/>
                </a:cxn>
                <a:cxn ang="0">
                  <a:pos x="connsiteX20646" y="connsiteY20646"/>
                </a:cxn>
                <a:cxn ang="0">
                  <a:pos x="connsiteX20647" y="connsiteY20647"/>
                </a:cxn>
                <a:cxn ang="0">
                  <a:pos x="connsiteX20648" y="connsiteY20648"/>
                </a:cxn>
                <a:cxn ang="0">
                  <a:pos x="connsiteX20649" y="connsiteY20649"/>
                </a:cxn>
                <a:cxn ang="0">
                  <a:pos x="connsiteX20650" y="connsiteY20650"/>
                </a:cxn>
                <a:cxn ang="0">
                  <a:pos x="connsiteX20651" y="connsiteY20651"/>
                </a:cxn>
                <a:cxn ang="0">
                  <a:pos x="connsiteX20652" y="connsiteY20652"/>
                </a:cxn>
                <a:cxn ang="0">
                  <a:pos x="connsiteX20653" y="connsiteY20653"/>
                </a:cxn>
                <a:cxn ang="0">
                  <a:pos x="connsiteX20654" y="connsiteY20654"/>
                </a:cxn>
                <a:cxn ang="0">
                  <a:pos x="connsiteX20655" y="connsiteY20655"/>
                </a:cxn>
                <a:cxn ang="0">
                  <a:pos x="connsiteX20656" y="connsiteY20656"/>
                </a:cxn>
                <a:cxn ang="0">
                  <a:pos x="connsiteX20657" y="connsiteY20657"/>
                </a:cxn>
                <a:cxn ang="0">
                  <a:pos x="connsiteX20658" y="connsiteY20658"/>
                </a:cxn>
                <a:cxn ang="0">
                  <a:pos x="connsiteX20659" y="connsiteY20659"/>
                </a:cxn>
                <a:cxn ang="0">
                  <a:pos x="connsiteX20660" y="connsiteY20660"/>
                </a:cxn>
                <a:cxn ang="0">
                  <a:pos x="connsiteX20661" y="connsiteY20661"/>
                </a:cxn>
                <a:cxn ang="0">
                  <a:pos x="connsiteX20662" y="connsiteY20662"/>
                </a:cxn>
                <a:cxn ang="0">
                  <a:pos x="connsiteX20663" y="connsiteY20663"/>
                </a:cxn>
                <a:cxn ang="0">
                  <a:pos x="connsiteX20664" y="connsiteY20664"/>
                </a:cxn>
                <a:cxn ang="0">
                  <a:pos x="connsiteX20665" y="connsiteY20665"/>
                </a:cxn>
                <a:cxn ang="0">
                  <a:pos x="connsiteX20666" y="connsiteY20666"/>
                </a:cxn>
                <a:cxn ang="0">
                  <a:pos x="connsiteX20667" y="connsiteY20667"/>
                </a:cxn>
                <a:cxn ang="0">
                  <a:pos x="connsiteX20668" y="connsiteY20668"/>
                </a:cxn>
                <a:cxn ang="0">
                  <a:pos x="connsiteX20669" y="connsiteY20669"/>
                </a:cxn>
                <a:cxn ang="0">
                  <a:pos x="connsiteX20670" y="connsiteY20670"/>
                </a:cxn>
                <a:cxn ang="0">
                  <a:pos x="connsiteX20671" y="connsiteY20671"/>
                </a:cxn>
                <a:cxn ang="0">
                  <a:pos x="connsiteX20672" y="connsiteY20672"/>
                </a:cxn>
                <a:cxn ang="0">
                  <a:pos x="connsiteX20673" y="connsiteY20673"/>
                </a:cxn>
                <a:cxn ang="0">
                  <a:pos x="connsiteX20674" y="connsiteY20674"/>
                </a:cxn>
                <a:cxn ang="0">
                  <a:pos x="connsiteX20675" y="connsiteY20675"/>
                </a:cxn>
                <a:cxn ang="0">
                  <a:pos x="connsiteX20676" y="connsiteY20676"/>
                </a:cxn>
                <a:cxn ang="0">
                  <a:pos x="connsiteX20677" y="connsiteY20677"/>
                </a:cxn>
                <a:cxn ang="0">
                  <a:pos x="connsiteX20678" y="connsiteY20678"/>
                </a:cxn>
                <a:cxn ang="0">
                  <a:pos x="connsiteX20679" y="connsiteY20679"/>
                </a:cxn>
                <a:cxn ang="0">
                  <a:pos x="connsiteX20680" y="connsiteY20680"/>
                </a:cxn>
                <a:cxn ang="0">
                  <a:pos x="connsiteX20681" y="connsiteY20681"/>
                </a:cxn>
                <a:cxn ang="0">
                  <a:pos x="connsiteX20682" y="connsiteY20682"/>
                </a:cxn>
                <a:cxn ang="0">
                  <a:pos x="connsiteX20683" y="connsiteY20683"/>
                </a:cxn>
                <a:cxn ang="0">
                  <a:pos x="connsiteX20684" y="connsiteY20684"/>
                </a:cxn>
                <a:cxn ang="0">
                  <a:pos x="connsiteX20685" y="connsiteY20685"/>
                </a:cxn>
                <a:cxn ang="0">
                  <a:pos x="connsiteX20686" y="connsiteY20686"/>
                </a:cxn>
                <a:cxn ang="0">
                  <a:pos x="connsiteX20687" y="connsiteY20687"/>
                </a:cxn>
                <a:cxn ang="0">
                  <a:pos x="connsiteX20688" y="connsiteY20688"/>
                </a:cxn>
                <a:cxn ang="0">
                  <a:pos x="connsiteX20689" y="connsiteY20689"/>
                </a:cxn>
                <a:cxn ang="0">
                  <a:pos x="connsiteX20690" y="connsiteY20690"/>
                </a:cxn>
                <a:cxn ang="0">
                  <a:pos x="connsiteX20691" y="connsiteY20691"/>
                </a:cxn>
                <a:cxn ang="0">
                  <a:pos x="connsiteX20692" y="connsiteY20692"/>
                </a:cxn>
                <a:cxn ang="0">
                  <a:pos x="connsiteX20693" y="connsiteY20693"/>
                </a:cxn>
                <a:cxn ang="0">
                  <a:pos x="connsiteX20694" y="connsiteY20694"/>
                </a:cxn>
                <a:cxn ang="0">
                  <a:pos x="connsiteX20695" y="connsiteY20695"/>
                </a:cxn>
                <a:cxn ang="0">
                  <a:pos x="connsiteX20696" y="connsiteY20696"/>
                </a:cxn>
                <a:cxn ang="0">
                  <a:pos x="connsiteX20697" y="connsiteY20697"/>
                </a:cxn>
                <a:cxn ang="0">
                  <a:pos x="connsiteX20698" y="connsiteY20698"/>
                </a:cxn>
                <a:cxn ang="0">
                  <a:pos x="connsiteX20699" y="connsiteY20699"/>
                </a:cxn>
                <a:cxn ang="0">
                  <a:pos x="connsiteX20700" y="connsiteY20700"/>
                </a:cxn>
                <a:cxn ang="0">
                  <a:pos x="connsiteX20701" y="connsiteY20701"/>
                </a:cxn>
                <a:cxn ang="0">
                  <a:pos x="connsiteX20702" y="connsiteY20702"/>
                </a:cxn>
                <a:cxn ang="0">
                  <a:pos x="connsiteX20703" y="connsiteY20703"/>
                </a:cxn>
                <a:cxn ang="0">
                  <a:pos x="connsiteX20704" y="connsiteY20704"/>
                </a:cxn>
                <a:cxn ang="0">
                  <a:pos x="connsiteX20705" y="connsiteY20705"/>
                </a:cxn>
                <a:cxn ang="0">
                  <a:pos x="connsiteX20706" y="connsiteY20706"/>
                </a:cxn>
                <a:cxn ang="0">
                  <a:pos x="connsiteX20707" y="connsiteY20707"/>
                </a:cxn>
                <a:cxn ang="0">
                  <a:pos x="connsiteX20708" y="connsiteY20708"/>
                </a:cxn>
                <a:cxn ang="0">
                  <a:pos x="connsiteX20709" y="connsiteY20709"/>
                </a:cxn>
                <a:cxn ang="0">
                  <a:pos x="connsiteX20710" y="connsiteY20710"/>
                </a:cxn>
                <a:cxn ang="0">
                  <a:pos x="connsiteX20711" y="connsiteY20711"/>
                </a:cxn>
                <a:cxn ang="0">
                  <a:pos x="connsiteX20712" y="connsiteY20712"/>
                </a:cxn>
                <a:cxn ang="0">
                  <a:pos x="connsiteX20713" y="connsiteY20713"/>
                </a:cxn>
                <a:cxn ang="0">
                  <a:pos x="connsiteX20714" y="connsiteY20714"/>
                </a:cxn>
                <a:cxn ang="0">
                  <a:pos x="connsiteX20715" y="connsiteY20715"/>
                </a:cxn>
                <a:cxn ang="0">
                  <a:pos x="connsiteX20716" y="connsiteY20716"/>
                </a:cxn>
                <a:cxn ang="0">
                  <a:pos x="connsiteX20717" y="connsiteY20717"/>
                </a:cxn>
                <a:cxn ang="0">
                  <a:pos x="connsiteX20718" y="connsiteY20718"/>
                </a:cxn>
                <a:cxn ang="0">
                  <a:pos x="connsiteX20719" y="connsiteY20719"/>
                </a:cxn>
                <a:cxn ang="0">
                  <a:pos x="connsiteX20720" y="connsiteY20720"/>
                </a:cxn>
                <a:cxn ang="0">
                  <a:pos x="connsiteX20721" y="connsiteY20721"/>
                </a:cxn>
                <a:cxn ang="0">
                  <a:pos x="connsiteX20722" y="connsiteY20722"/>
                </a:cxn>
                <a:cxn ang="0">
                  <a:pos x="connsiteX20723" y="connsiteY20723"/>
                </a:cxn>
                <a:cxn ang="0">
                  <a:pos x="connsiteX20724" y="connsiteY20724"/>
                </a:cxn>
                <a:cxn ang="0">
                  <a:pos x="connsiteX20725" y="connsiteY20725"/>
                </a:cxn>
                <a:cxn ang="0">
                  <a:pos x="connsiteX20726" y="connsiteY20726"/>
                </a:cxn>
                <a:cxn ang="0">
                  <a:pos x="connsiteX20727" y="connsiteY20727"/>
                </a:cxn>
                <a:cxn ang="0">
                  <a:pos x="connsiteX20728" y="connsiteY20728"/>
                </a:cxn>
                <a:cxn ang="0">
                  <a:pos x="connsiteX20729" y="connsiteY20729"/>
                </a:cxn>
                <a:cxn ang="0">
                  <a:pos x="connsiteX20730" y="connsiteY20730"/>
                </a:cxn>
                <a:cxn ang="0">
                  <a:pos x="connsiteX20731" y="connsiteY20731"/>
                </a:cxn>
                <a:cxn ang="0">
                  <a:pos x="connsiteX20732" y="connsiteY20732"/>
                </a:cxn>
                <a:cxn ang="0">
                  <a:pos x="connsiteX20733" y="connsiteY20733"/>
                </a:cxn>
                <a:cxn ang="0">
                  <a:pos x="connsiteX20734" y="connsiteY20734"/>
                </a:cxn>
                <a:cxn ang="0">
                  <a:pos x="connsiteX20735" y="connsiteY20735"/>
                </a:cxn>
                <a:cxn ang="0">
                  <a:pos x="connsiteX20736" y="connsiteY20736"/>
                </a:cxn>
                <a:cxn ang="0">
                  <a:pos x="connsiteX20737" y="connsiteY20737"/>
                </a:cxn>
                <a:cxn ang="0">
                  <a:pos x="connsiteX20738" y="connsiteY20738"/>
                </a:cxn>
                <a:cxn ang="0">
                  <a:pos x="connsiteX20739" y="connsiteY20739"/>
                </a:cxn>
                <a:cxn ang="0">
                  <a:pos x="connsiteX20740" y="connsiteY20740"/>
                </a:cxn>
                <a:cxn ang="0">
                  <a:pos x="connsiteX20741" y="connsiteY20741"/>
                </a:cxn>
                <a:cxn ang="0">
                  <a:pos x="connsiteX20742" y="connsiteY20742"/>
                </a:cxn>
                <a:cxn ang="0">
                  <a:pos x="connsiteX20743" y="connsiteY20743"/>
                </a:cxn>
                <a:cxn ang="0">
                  <a:pos x="connsiteX20744" y="connsiteY20744"/>
                </a:cxn>
                <a:cxn ang="0">
                  <a:pos x="connsiteX20745" y="connsiteY20745"/>
                </a:cxn>
                <a:cxn ang="0">
                  <a:pos x="connsiteX20746" y="connsiteY20746"/>
                </a:cxn>
                <a:cxn ang="0">
                  <a:pos x="connsiteX20747" y="connsiteY20747"/>
                </a:cxn>
                <a:cxn ang="0">
                  <a:pos x="connsiteX20748" y="connsiteY20748"/>
                </a:cxn>
                <a:cxn ang="0">
                  <a:pos x="connsiteX20749" y="connsiteY20749"/>
                </a:cxn>
                <a:cxn ang="0">
                  <a:pos x="connsiteX20750" y="connsiteY20750"/>
                </a:cxn>
                <a:cxn ang="0">
                  <a:pos x="connsiteX20751" y="connsiteY20751"/>
                </a:cxn>
                <a:cxn ang="0">
                  <a:pos x="connsiteX20752" y="connsiteY20752"/>
                </a:cxn>
                <a:cxn ang="0">
                  <a:pos x="connsiteX20753" y="connsiteY20753"/>
                </a:cxn>
                <a:cxn ang="0">
                  <a:pos x="connsiteX20754" y="connsiteY20754"/>
                </a:cxn>
                <a:cxn ang="0">
                  <a:pos x="connsiteX20755" y="connsiteY20755"/>
                </a:cxn>
                <a:cxn ang="0">
                  <a:pos x="connsiteX20756" y="connsiteY20756"/>
                </a:cxn>
                <a:cxn ang="0">
                  <a:pos x="connsiteX20757" y="connsiteY20757"/>
                </a:cxn>
                <a:cxn ang="0">
                  <a:pos x="connsiteX20758" y="connsiteY20758"/>
                </a:cxn>
                <a:cxn ang="0">
                  <a:pos x="connsiteX20759" y="connsiteY20759"/>
                </a:cxn>
                <a:cxn ang="0">
                  <a:pos x="connsiteX20760" y="connsiteY20760"/>
                </a:cxn>
                <a:cxn ang="0">
                  <a:pos x="connsiteX20761" y="connsiteY20761"/>
                </a:cxn>
                <a:cxn ang="0">
                  <a:pos x="connsiteX20762" y="connsiteY20762"/>
                </a:cxn>
                <a:cxn ang="0">
                  <a:pos x="connsiteX20763" y="connsiteY20763"/>
                </a:cxn>
                <a:cxn ang="0">
                  <a:pos x="connsiteX20764" y="connsiteY20764"/>
                </a:cxn>
                <a:cxn ang="0">
                  <a:pos x="connsiteX20765" y="connsiteY20765"/>
                </a:cxn>
                <a:cxn ang="0">
                  <a:pos x="connsiteX20766" y="connsiteY20766"/>
                </a:cxn>
                <a:cxn ang="0">
                  <a:pos x="connsiteX20767" y="connsiteY20767"/>
                </a:cxn>
                <a:cxn ang="0">
                  <a:pos x="connsiteX20768" y="connsiteY20768"/>
                </a:cxn>
                <a:cxn ang="0">
                  <a:pos x="connsiteX20769" y="connsiteY20769"/>
                </a:cxn>
                <a:cxn ang="0">
                  <a:pos x="connsiteX20770" y="connsiteY20770"/>
                </a:cxn>
                <a:cxn ang="0">
                  <a:pos x="connsiteX20771" y="connsiteY20771"/>
                </a:cxn>
                <a:cxn ang="0">
                  <a:pos x="connsiteX20772" y="connsiteY20772"/>
                </a:cxn>
                <a:cxn ang="0">
                  <a:pos x="connsiteX20773" y="connsiteY20773"/>
                </a:cxn>
                <a:cxn ang="0">
                  <a:pos x="connsiteX20774" y="connsiteY20774"/>
                </a:cxn>
                <a:cxn ang="0">
                  <a:pos x="connsiteX20775" y="connsiteY20775"/>
                </a:cxn>
                <a:cxn ang="0">
                  <a:pos x="connsiteX20776" y="connsiteY20776"/>
                </a:cxn>
                <a:cxn ang="0">
                  <a:pos x="connsiteX20777" y="connsiteY20777"/>
                </a:cxn>
                <a:cxn ang="0">
                  <a:pos x="connsiteX20778" y="connsiteY20778"/>
                </a:cxn>
                <a:cxn ang="0">
                  <a:pos x="connsiteX20779" y="connsiteY20779"/>
                </a:cxn>
                <a:cxn ang="0">
                  <a:pos x="connsiteX20780" y="connsiteY20780"/>
                </a:cxn>
                <a:cxn ang="0">
                  <a:pos x="connsiteX20781" y="connsiteY20781"/>
                </a:cxn>
                <a:cxn ang="0">
                  <a:pos x="connsiteX20782" y="connsiteY20782"/>
                </a:cxn>
                <a:cxn ang="0">
                  <a:pos x="connsiteX20783" y="connsiteY20783"/>
                </a:cxn>
                <a:cxn ang="0">
                  <a:pos x="connsiteX20784" y="connsiteY20784"/>
                </a:cxn>
                <a:cxn ang="0">
                  <a:pos x="connsiteX20785" y="connsiteY20785"/>
                </a:cxn>
                <a:cxn ang="0">
                  <a:pos x="connsiteX20786" y="connsiteY20786"/>
                </a:cxn>
                <a:cxn ang="0">
                  <a:pos x="connsiteX20787" y="connsiteY20787"/>
                </a:cxn>
                <a:cxn ang="0">
                  <a:pos x="connsiteX20788" y="connsiteY20788"/>
                </a:cxn>
                <a:cxn ang="0">
                  <a:pos x="connsiteX20789" y="connsiteY20789"/>
                </a:cxn>
                <a:cxn ang="0">
                  <a:pos x="connsiteX20790" y="connsiteY20790"/>
                </a:cxn>
                <a:cxn ang="0">
                  <a:pos x="connsiteX20791" y="connsiteY20791"/>
                </a:cxn>
                <a:cxn ang="0">
                  <a:pos x="connsiteX20792" y="connsiteY20792"/>
                </a:cxn>
                <a:cxn ang="0">
                  <a:pos x="connsiteX20793" y="connsiteY20793"/>
                </a:cxn>
                <a:cxn ang="0">
                  <a:pos x="connsiteX20794" y="connsiteY20794"/>
                </a:cxn>
                <a:cxn ang="0">
                  <a:pos x="connsiteX20795" y="connsiteY20795"/>
                </a:cxn>
                <a:cxn ang="0">
                  <a:pos x="connsiteX20796" y="connsiteY20796"/>
                </a:cxn>
                <a:cxn ang="0">
                  <a:pos x="connsiteX20797" y="connsiteY20797"/>
                </a:cxn>
                <a:cxn ang="0">
                  <a:pos x="connsiteX20798" y="connsiteY20798"/>
                </a:cxn>
                <a:cxn ang="0">
                  <a:pos x="connsiteX20799" y="connsiteY20799"/>
                </a:cxn>
                <a:cxn ang="0">
                  <a:pos x="connsiteX20800" y="connsiteY20800"/>
                </a:cxn>
                <a:cxn ang="0">
                  <a:pos x="connsiteX20801" y="connsiteY20801"/>
                </a:cxn>
                <a:cxn ang="0">
                  <a:pos x="connsiteX20802" y="connsiteY20802"/>
                </a:cxn>
                <a:cxn ang="0">
                  <a:pos x="connsiteX20803" y="connsiteY20803"/>
                </a:cxn>
                <a:cxn ang="0">
                  <a:pos x="connsiteX20804" y="connsiteY20804"/>
                </a:cxn>
                <a:cxn ang="0">
                  <a:pos x="connsiteX20805" y="connsiteY20805"/>
                </a:cxn>
                <a:cxn ang="0">
                  <a:pos x="connsiteX20806" y="connsiteY20806"/>
                </a:cxn>
                <a:cxn ang="0">
                  <a:pos x="connsiteX20807" y="connsiteY20807"/>
                </a:cxn>
                <a:cxn ang="0">
                  <a:pos x="connsiteX20808" y="connsiteY20808"/>
                </a:cxn>
                <a:cxn ang="0">
                  <a:pos x="connsiteX20809" y="connsiteY20809"/>
                </a:cxn>
                <a:cxn ang="0">
                  <a:pos x="connsiteX20810" y="connsiteY20810"/>
                </a:cxn>
                <a:cxn ang="0">
                  <a:pos x="connsiteX20811" y="connsiteY20811"/>
                </a:cxn>
                <a:cxn ang="0">
                  <a:pos x="connsiteX20812" y="connsiteY20812"/>
                </a:cxn>
                <a:cxn ang="0">
                  <a:pos x="connsiteX20813" y="connsiteY20813"/>
                </a:cxn>
                <a:cxn ang="0">
                  <a:pos x="connsiteX20814" y="connsiteY20814"/>
                </a:cxn>
                <a:cxn ang="0">
                  <a:pos x="connsiteX20815" y="connsiteY20815"/>
                </a:cxn>
                <a:cxn ang="0">
                  <a:pos x="connsiteX20816" y="connsiteY20816"/>
                </a:cxn>
                <a:cxn ang="0">
                  <a:pos x="connsiteX20817" y="connsiteY20817"/>
                </a:cxn>
                <a:cxn ang="0">
                  <a:pos x="connsiteX20818" y="connsiteY20818"/>
                </a:cxn>
                <a:cxn ang="0">
                  <a:pos x="connsiteX20819" y="connsiteY20819"/>
                </a:cxn>
                <a:cxn ang="0">
                  <a:pos x="connsiteX20820" y="connsiteY20820"/>
                </a:cxn>
                <a:cxn ang="0">
                  <a:pos x="connsiteX20821" y="connsiteY20821"/>
                </a:cxn>
                <a:cxn ang="0">
                  <a:pos x="connsiteX20822" y="connsiteY20822"/>
                </a:cxn>
                <a:cxn ang="0">
                  <a:pos x="connsiteX20823" y="connsiteY20823"/>
                </a:cxn>
                <a:cxn ang="0">
                  <a:pos x="connsiteX20824" y="connsiteY20824"/>
                </a:cxn>
                <a:cxn ang="0">
                  <a:pos x="connsiteX20825" y="connsiteY20825"/>
                </a:cxn>
                <a:cxn ang="0">
                  <a:pos x="connsiteX20826" y="connsiteY20826"/>
                </a:cxn>
                <a:cxn ang="0">
                  <a:pos x="connsiteX20827" y="connsiteY20827"/>
                </a:cxn>
                <a:cxn ang="0">
                  <a:pos x="connsiteX20828" y="connsiteY20828"/>
                </a:cxn>
                <a:cxn ang="0">
                  <a:pos x="connsiteX20829" y="connsiteY20829"/>
                </a:cxn>
                <a:cxn ang="0">
                  <a:pos x="connsiteX20830" y="connsiteY20830"/>
                </a:cxn>
                <a:cxn ang="0">
                  <a:pos x="connsiteX20831" y="connsiteY20831"/>
                </a:cxn>
                <a:cxn ang="0">
                  <a:pos x="connsiteX20832" y="connsiteY20832"/>
                </a:cxn>
                <a:cxn ang="0">
                  <a:pos x="connsiteX20833" y="connsiteY20833"/>
                </a:cxn>
                <a:cxn ang="0">
                  <a:pos x="connsiteX20834" y="connsiteY20834"/>
                </a:cxn>
                <a:cxn ang="0">
                  <a:pos x="connsiteX20835" y="connsiteY20835"/>
                </a:cxn>
                <a:cxn ang="0">
                  <a:pos x="connsiteX20836" y="connsiteY20836"/>
                </a:cxn>
                <a:cxn ang="0">
                  <a:pos x="connsiteX20837" y="connsiteY20837"/>
                </a:cxn>
                <a:cxn ang="0">
                  <a:pos x="connsiteX20838" y="connsiteY20838"/>
                </a:cxn>
                <a:cxn ang="0">
                  <a:pos x="connsiteX20839" y="connsiteY20839"/>
                </a:cxn>
                <a:cxn ang="0">
                  <a:pos x="connsiteX20840" y="connsiteY20840"/>
                </a:cxn>
                <a:cxn ang="0">
                  <a:pos x="connsiteX20841" y="connsiteY20841"/>
                </a:cxn>
                <a:cxn ang="0">
                  <a:pos x="connsiteX20842" y="connsiteY20842"/>
                </a:cxn>
                <a:cxn ang="0">
                  <a:pos x="connsiteX20843" y="connsiteY20843"/>
                </a:cxn>
                <a:cxn ang="0">
                  <a:pos x="connsiteX20844" y="connsiteY20844"/>
                </a:cxn>
                <a:cxn ang="0">
                  <a:pos x="connsiteX20845" y="connsiteY20845"/>
                </a:cxn>
                <a:cxn ang="0">
                  <a:pos x="connsiteX20846" y="connsiteY20846"/>
                </a:cxn>
                <a:cxn ang="0">
                  <a:pos x="connsiteX20847" y="connsiteY20847"/>
                </a:cxn>
                <a:cxn ang="0">
                  <a:pos x="connsiteX20848" y="connsiteY20848"/>
                </a:cxn>
                <a:cxn ang="0">
                  <a:pos x="connsiteX20849" y="connsiteY20849"/>
                </a:cxn>
                <a:cxn ang="0">
                  <a:pos x="connsiteX20850" y="connsiteY20850"/>
                </a:cxn>
                <a:cxn ang="0">
                  <a:pos x="connsiteX20851" y="connsiteY20851"/>
                </a:cxn>
                <a:cxn ang="0">
                  <a:pos x="connsiteX20852" y="connsiteY20852"/>
                </a:cxn>
                <a:cxn ang="0">
                  <a:pos x="connsiteX20853" y="connsiteY20853"/>
                </a:cxn>
                <a:cxn ang="0">
                  <a:pos x="connsiteX20854" y="connsiteY20854"/>
                </a:cxn>
                <a:cxn ang="0">
                  <a:pos x="connsiteX20855" y="connsiteY20855"/>
                </a:cxn>
                <a:cxn ang="0">
                  <a:pos x="connsiteX20856" y="connsiteY20856"/>
                </a:cxn>
                <a:cxn ang="0">
                  <a:pos x="connsiteX20857" y="connsiteY20857"/>
                </a:cxn>
                <a:cxn ang="0">
                  <a:pos x="connsiteX20858" y="connsiteY20858"/>
                </a:cxn>
                <a:cxn ang="0">
                  <a:pos x="connsiteX20859" y="connsiteY20859"/>
                </a:cxn>
                <a:cxn ang="0">
                  <a:pos x="connsiteX20860" y="connsiteY20860"/>
                </a:cxn>
                <a:cxn ang="0">
                  <a:pos x="connsiteX20861" y="connsiteY20861"/>
                </a:cxn>
                <a:cxn ang="0">
                  <a:pos x="connsiteX20862" y="connsiteY20862"/>
                </a:cxn>
                <a:cxn ang="0">
                  <a:pos x="connsiteX20863" y="connsiteY20863"/>
                </a:cxn>
                <a:cxn ang="0">
                  <a:pos x="connsiteX20864" y="connsiteY20864"/>
                </a:cxn>
                <a:cxn ang="0">
                  <a:pos x="connsiteX20865" y="connsiteY20865"/>
                </a:cxn>
                <a:cxn ang="0">
                  <a:pos x="connsiteX20866" y="connsiteY20866"/>
                </a:cxn>
                <a:cxn ang="0">
                  <a:pos x="connsiteX20867" y="connsiteY20867"/>
                </a:cxn>
                <a:cxn ang="0">
                  <a:pos x="connsiteX20868" y="connsiteY20868"/>
                </a:cxn>
                <a:cxn ang="0">
                  <a:pos x="connsiteX20869" y="connsiteY20869"/>
                </a:cxn>
                <a:cxn ang="0">
                  <a:pos x="connsiteX20870" y="connsiteY20870"/>
                </a:cxn>
                <a:cxn ang="0">
                  <a:pos x="connsiteX20871" y="connsiteY20871"/>
                </a:cxn>
                <a:cxn ang="0">
                  <a:pos x="connsiteX20872" y="connsiteY20872"/>
                </a:cxn>
                <a:cxn ang="0">
                  <a:pos x="connsiteX20873" y="connsiteY20873"/>
                </a:cxn>
                <a:cxn ang="0">
                  <a:pos x="connsiteX20874" y="connsiteY20874"/>
                </a:cxn>
                <a:cxn ang="0">
                  <a:pos x="connsiteX20875" y="connsiteY20875"/>
                </a:cxn>
                <a:cxn ang="0">
                  <a:pos x="connsiteX20876" y="connsiteY20876"/>
                </a:cxn>
                <a:cxn ang="0">
                  <a:pos x="connsiteX20877" y="connsiteY20877"/>
                </a:cxn>
                <a:cxn ang="0">
                  <a:pos x="connsiteX20878" y="connsiteY20878"/>
                </a:cxn>
                <a:cxn ang="0">
                  <a:pos x="connsiteX20879" y="connsiteY20879"/>
                </a:cxn>
                <a:cxn ang="0">
                  <a:pos x="connsiteX20880" y="connsiteY20880"/>
                </a:cxn>
                <a:cxn ang="0">
                  <a:pos x="connsiteX20881" y="connsiteY20881"/>
                </a:cxn>
                <a:cxn ang="0">
                  <a:pos x="connsiteX20882" y="connsiteY20882"/>
                </a:cxn>
                <a:cxn ang="0">
                  <a:pos x="connsiteX20883" y="connsiteY20883"/>
                </a:cxn>
                <a:cxn ang="0">
                  <a:pos x="connsiteX20884" y="connsiteY20884"/>
                </a:cxn>
                <a:cxn ang="0">
                  <a:pos x="connsiteX20885" y="connsiteY20885"/>
                </a:cxn>
                <a:cxn ang="0">
                  <a:pos x="connsiteX20886" y="connsiteY20886"/>
                </a:cxn>
                <a:cxn ang="0">
                  <a:pos x="connsiteX20887" y="connsiteY20887"/>
                </a:cxn>
                <a:cxn ang="0">
                  <a:pos x="connsiteX20888" y="connsiteY20888"/>
                </a:cxn>
                <a:cxn ang="0">
                  <a:pos x="connsiteX20889" y="connsiteY20889"/>
                </a:cxn>
                <a:cxn ang="0">
                  <a:pos x="connsiteX20890" y="connsiteY20890"/>
                </a:cxn>
                <a:cxn ang="0">
                  <a:pos x="connsiteX20891" y="connsiteY20891"/>
                </a:cxn>
                <a:cxn ang="0">
                  <a:pos x="connsiteX20892" y="connsiteY20892"/>
                </a:cxn>
                <a:cxn ang="0">
                  <a:pos x="connsiteX20893" y="connsiteY20893"/>
                </a:cxn>
                <a:cxn ang="0">
                  <a:pos x="connsiteX20894" y="connsiteY20894"/>
                </a:cxn>
                <a:cxn ang="0">
                  <a:pos x="connsiteX20895" y="connsiteY20895"/>
                </a:cxn>
                <a:cxn ang="0">
                  <a:pos x="connsiteX20896" y="connsiteY20896"/>
                </a:cxn>
                <a:cxn ang="0">
                  <a:pos x="connsiteX20897" y="connsiteY20897"/>
                </a:cxn>
                <a:cxn ang="0">
                  <a:pos x="connsiteX20898" y="connsiteY20898"/>
                </a:cxn>
                <a:cxn ang="0">
                  <a:pos x="connsiteX20899" y="connsiteY20899"/>
                </a:cxn>
                <a:cxn ang="0">
                  <a:pos x="connsiteX20900" y="connsiteY20900"/>
                </a:cxn>
                <a:cxn ang="0">
                  <a:pos x="connsiteX20901" y="connsiteY20901"/>
                </a:cxn>
                <a:cxn ang="0">
                  <a:pos x="connsiteX20902" y="connsiteY20902"/>
                </a:cxn>
                <a:cxn ang="0">
                  <a:pos x="connsiteX20903" y="connsiteY20903"/>
                </a:cxn>
                <a:cxn ang="0">
                  <a:pos x="connsiteX20904" y="connsiteY20904"/>
                </a:cxn>
                <a:cxn ang="0">
                  <a:pos x="connsiteX20905" y="connsiteY20905"/>
                </a:cxn>
                <a:cxn ang="0">
                  <a:pos x="connsiteX20906" y="connsiteY20906"/>
                </a:cxn>
                <a:cxn ang="0">
                  <a:pos x="connsiteX20907" y="connsiteY20907"/>
                </a:cxn>
                <a:cxn ang="0">
                  <a:pos x="connsiteX20908" y="connsiteY20908"/>
                </a:cxn>
                <a:cxn ang="0">
                  <a:pos x="connsiteX20909" y="connsiteY20909"/>
                </a:cxn>
                <a:cxn ang="0">
                  <a:pos x="connsiteX20910" y="connsiteY20910"/>
                </a:cxn>
                <a:cxn ang="0">
                  <a:pos x="connsiteX20911" y="connsiteY20911"/>
                </a:cxn>
                <a:cxn ang="0">
                  <a:pos x="connsiteX20912" y="connsiteY20912"/>
                </a:cxn>
                <a:cxn ang="0">
                  <a:pos x="connsiteX20913" y="connsiteY20913"/>
                </a:cxn>
                <a:cxn ang="0">
                  <a:pos x="connsiteX20914" y="connsiteY20914"/>
                </a:cxn>
                <a:cxn ang="0">
                  <a:pos x="connsiteX20915" y="connsiteY20915"/>
                </a:cxn>
                <a:cxn ang="0">
                  <a:pos x="connsiteX20916" y="connsiteY20916"/>
                </a:cxn>
                <a:cxn ang="0">
                  <a:pos x="connsiteX20917" y="connsiteY20917"/>
                </a:cxn>
                <a:cxn ang="0">
                  <a:pos x="connsiteX20918" y="connsiteY20918"/>
                </a:cxn>
                <a:cxn ang="0">
                  <a:pos x="connsiteX20919" y="connsiteY20919"/>
                </a:cxn>
                <a:cxn ang="0">
                  <a:pos x="connsiteX20920" y="connsiteY20920"/>
                </a:cxn>
                <a:cxn ang="0">
                  <a:pos x="connsiteX20921" y="connsiteY20921"/>
                </a:cxn>
                <a:cxn ang="0">
                  <a:pos x="connsiteX20922" y="connsiteY20922"/>
                </a:cxn>
                <a:cxn ang="0">
                  <a:pos x="connsiteX20923" y="connsiteY20923"/>
                </a:cxn>
                <a:cxn ang="0">
                  <a:pos x="connsiteX20924" y="connsiteY20924"/>
                </a:cxn>
                <a:cxn ang="0">
                  <a:pos x="connsiteX20925" y="connsiteY20925"/>
                </a:cxn>
                <a:cxn ang="0">
                  <a:pos x="connsiteX20926" y="connsiteY20926"/>
                </a:cxn>
                <a:cxn ang="0">
                  <a:pos x="connsiteX20927" y="connsiteY20927"/>
                </a:cxn>
                <a:cxn ang="0">
                  <a:pos x="connsiteX20928" y="connsiteY20928"/>
                </a:cxn>
                <a:cxn ang="0">
                  <a:pos x="connsiteX20929" y="connsiteY20929"/>
                </a:cxn>
                <a:cxn ang="0">
                  <a:pos x="connsiteX20930" y="connsiteY20930"/>
                </a:cxn>
                <a:cxn ang="0">
                  <a:pos x="connsiteX20931" y="connsiteY20931"/>
                </a:cxn>
                <a:cxn ang="0">
                  <a:pos x="connsiteX20932" y="connsiteY20932"/>
                </a:cxn>
                <a:cxn ang="0">
                  <a:pos x="connsiteX20933" y="connsiteY20933"/>
                </a:cxn>
                <a:cxn ang="0">
                  <a:pos x="connsiteX20934" y="connsiteY20934"/>
                </a:cxn>
                <a:cxn ang="0">
                  <a:pos x="connsiteX20935" y="connsiteY20935"/>
                </a:cxn>
                <a:cxn ang="0">
                  <a:pos x="connsiteX20936" y="connsiteY20936"/>
                </a:cxn>
                <a:cxn ang="0">
                  <a:pos x="connsiteX20937" y="connsiteY20937"/>
                </a:cxn>
                <a:cxn ang="0">
                  <a:pos x="connsiteX20938" y="connsiteY20938"/>
                </a:cxn>
                <a:cxn ang="0">
                  <a:pos x="connsiteX20939" y="connsiteY20939"/>
                </a:cxn>
                <a:cxn ang="0">
                  <a:pos x="connsiteX20940" y="connsiteY20940"/>
                </a:cxn>
                <a:cxn ang="0">
                  <a:pos x="connsiteX20941" y="connsiteY20941"/>
                </a:cxn>
                <a:cxn ang="0">
                  <a:pos x="connsiteX20942" y="connsiteY20942"/>
                </a:cxn>
                <a:cxn ang="0">
                  <a:pos x="connsiteX20943" y="connsiteY20943"/>
                </a:cxn>
                <a:cxn ang="0">
                  <a:pos x="connsiteX20944" y="connsiteY20944"/>
                </a:cxn>
                <a:cxn ang="0">
                  <a:pos x="connsiteX20945" y="connsiteY20945"/>
                </a:cxn>
                <a:cxn ang="0">
                  <a:pos x="connsiteX20946" y="connsiteY20946"/>
                </a:cxn>
                <a:cxn ang="0">
                  <a:pos x="connsiteX20947" y="connsiteY20947"/>
                </a:cxn>
                <a:cxn ang="0">
                  <a:pos x="connsiteX20948" y="connsiteY20948"/>
                </a:cxn>
                <a:cxn ang="0">
                  <a:pos x="connsiteX20949" y="connsiteY20949"/>
                </a:cxn>
                <a:cxn ang="0">
                  <a:pos x="connsiteX20950" y="connsiteY20950"/>
                </a:cxn>
                <a:cxn ang="0">
                  <a:pos x="connsiteX20951" y="connsiteY20951"/>
                </a:cxn>
                <a:cxn ang="0">
                  <a:pos x="connsiteX20952" y="connsiteY20952"/>
                </a:cxn>
                <a:cxn ang="0">
                  <a:pos x="connsiteX20953" y="connsiteY20953"/>
                </a:cxn>
                <a:cxn ang="0">
                  <a:pos x="connsiteX20954" y="connsiteY20954"/>
                </a:cxn>
                <a:cxn ang="0">
                  <a:pos x="connsiteX20955" y="connsiteY20955"/>
                </a:cxn>
                <a:cxn ang="0">
                  <a:pos x="connsiteX20956" y="connsiteY20956"/>
                </a:cxn>
                <a:cxn ang="0">
                  <a:pos x="connsiteX20957" y="connsiteY20957"/>
                </a:cxn>
                <a:cxn ang="0">
                  <a:pos x="connsiteX20958" y="connsiteY20958"/>
                </a:cxn>
                <a:cxn ang="0">
                  <a:pos x="connsiteX20959" y="connsiteY20959"/>
                </a:cxn>
                <a:cxn ang="0">
                  <a:pos x="connsiteX20960" y="connsiteY20960"/>
                </a:cxn>
                <a:cxn ang="0">
                  <a:pos x="connsiteX20961" y="connsiteY20961"/>
                </a:cxn>
                <a:cxn ang="0">
                  <a:pos x="connsiteX20962" y="connsiteY20962"/>
                </a:cxn>
                <a:cxn ang="0">
                  <a:pos x="connsiteX20963" y="connsiteY20963"/>
                </a:cxn>
                <a:cxn ang="0">
                  <a:pos x="connsiteX20964" y="connsiteY20964"/>
                </a:cxn>
                <a:cxn ang="0">
                  <a:pos x="connsiteX20965" y="connsiteY20965"/>
                </a:cxn>
                <a:cxn ang="0">
                  <a:pos x="connsiteX20966" y="connsiteY20966"/>
                </a:cxn>
                <a:cxn ang="0">
                  <a:pos x="connsiteX20967" y="connsiteY20967"/>
                </a:cxn>
                <a:cxn ang="0">
                  <a:pos x="connsiteX20968" y="connsiteY20968"/>
                </a:cxn>
                <a:cxn ang="0">
                  <a:pos x="connsiteX20969" y="connsiteY20969"/>
                </a:cxn>
                <a:cxn ang="0">
                  <a:pos x="connsiteX20970" y="connsiteY20970"/>
                </a:cxn>
                <a:cxn ang="0">
                  <a:pos x="connsiteX20971" y="connsiteY20971"/>
                </a:cxn>
                <a:cxn ang="0">
                  <a:pos x="connsiteX20972" y="connsiteY20972"/>
                </a:cxn>
                <a:cxn ang="0">
                  <a:pos x="connsiteX20973" y="connsiteY20973"/>
                </a:cxn>
                <a:cxn ang="0">
                  <a:pos x="connsiteX20974" y="connsiteY20974"/>
                </a:cxn>
                <a:cxn ang="0">
                  <a:pos x="connsiteX20975" y="connsiteY20975"/>
                </a:cxn>
                <a:cxn ang="0">
                  <a:pos x="connsiteX20976" y="connsiteY20976"/>
                </a:cxn>
                <a:cxn ang="0">
                  <a:pos x="connsiteX20977" y="connsiteY20977"/>
                </a:cxn>
                <a:cxn ang="0">
                  <a:pos x="connsiteX20978" y="connsiteY20978"/>
                </a:cxn>
                <a:cxn ang="0">
                  <a:pos x="connsiteX20979" y="connsiteY20979"/>
                </a:cxn>
                <a:cxn ang="0">
                  <a:pos x="connsiteX20980" y="connsiteY20980"/>
                </a:cxn>
                <a:cxn ang="0">
                  <a:pos x="connsiteX20981" y="connsiteY20981"/>
                </a:cxn>
                <a:cxn ang="0">
                  <a:pos x="connsiteX20982" y="connsiteY20982"/>
                </a:cxn>
                <a:cxn ang="0">
                  <a:pos x="connsiteX20983" y="connsiteY20983"/>
                </a:cxn>
                <a:cxn ang="0">
                  <a:pos x="connsiteX20984" y="connsiteY20984"/>
                </a:cxn>
                <a:cxn ang="0">
                  <a:pos x="connsiteX20985" y="connsiteY20985"/>
                </a:cxn>
                <a:cxn ang="0">
                  <a:pos x="connsiteX20986" y="connsiteY20986"/>
                </a:cxn>
                <a:cxn ang="0">
                  <a:pos x="connsiteX20987" y="connsiteY20987"/>
                </a:cxn>
                <a:cxn ang="0">
                  <a:pos x="connsiteX20988" y="connsiteY20988"/>
                </a:cxn>
                <a:cxn ang="0">
                  <a:pos x="connsiteX20989" y="connsiteY20989"/>
                </a:cxn>
                <a:cxn ang="0">
                  <a:pos x="connsiteX20990" y="connsiteY20990"/>
                </a:cxn>
                <a:cxn ang="0">
                  <a:pos x="connsiteX20991" y="connsiteY20991"/>
                </a:cxn>
                <a:cxn ang="0">
                  <a:pos x="connsiteX20992" y="connsiteY20992"/>
                </a:cxn>
                <a:cxn ang="0">
                  <a:pos x="connsiteX20993" y="connsiteY20993"/>
                </a:cxn>
                <a:cxn ang="0">
                  <a:pos x="connsiteX20994" y="connsiteY20994"/>
                </a:cxn>
                <a:cxn ang="0">
                  <a:pos x="connsiteX20995" y="connsiteY20995"/>
                </a:cxn>
                <a:cxn ang="0">
                  <a:pos x="connsiteX20996" y="connsiteY20996"/>
                </a:cxn>
                <a:cxn ang="0">
                  <a:pos x="connsiteX20997" y="connsiteY20997"/>
                </a:cxn>
                <a:cxn ang="0">
                  <a:pos x="connsiteX20998" y="connsiteY20998"/>
                </a:cxn>
                <a:cxn ang="0">
                  <a:pos x="connsiteX20999" y="connsiteY20999"/>
                </a:cxn>
                <a:cxn ang="0">
                  <a:pos x="connsiteX21000" y="connsiteY21000"/>
                </a:cxn>
                <a:cxn ang="0">
                  <a:pos x="connsiteX21001" y="connsiteY21001"/>
                </a:cxn>
                <a:cxn ang="0">
                  <a:pos x="connsiteX21002" y="connsiteY21002"/>
                </a:cxn>
                <a:cxn ang="0">
                  <a:pos x="connsiteX21003" y="connsiteY21003"/>
                </a:cxn>
                <a:cxn ang="0">
                  <a:pos x="connsiteX21004" y="connsiteY21004"/>
                </a:cxn>
                <a:cxn ang="0">
                  <a:pos x="connsiteX21005" y="connsiteY21005"/>
                </a:cxn>
                <a:cxn ang="0">
                  <a:pos x="connsiteX21006" y="connsiteY21006"/>
                </a:cxn>
                <a:cxn ang="0">
                  <a:pos x="connsiteX21007" y="connsiteY21007"/>
                </a:cxn>
                <a:cxn ang="0">
                  <a:pos x="connsiteX21008" y="connsiteY21008"/>
                </a:cxn>
                <a:cxn ang="0">
                  <a:pos x="connsiteX21009" y="connsiteY21009"/>
                </a:cxn>
                <a:cxn ang="0">
                  <a:pos x="connsiteX21010" y="connsiteY21010"/>
                </a:cxn>
                <a:cxn ang="0">
                  <a:pos x="connsiteX21011" y="connsiteY21011"/>
                </a:cxn>
                <a:cxn ang="0">
                  <a:pos x="connsiteX21012" y="connsiteY21012"/>
                </a:cxn>
                <a:cxn ang="0">
                  <a:pos x="connsiteX21013" y="connsiteY21013"/>
                </a:cxn>
                <a:cxn ang="0">
                  <a:pos x="connsiteX21014" y="connsiteY21014"/>
                </a:cxn>
                <a:cxn ang="0">
                  <a:pos x="connsiteX21015" y="connsiteY21015"/>
                </a:cxn>
                <a:cxn ang="0">
                  <a:pos x="connsiteX21016" y="connsiteY21016"/>
                </a:cxn>
                <a:cxn ang="0">
                  <a:pos x="connsiteX21017" y="connsiteY21017"/>
                </a:cxn>
                <a:cxn ang="0">
                  <a:pos x="connsiteX21018" y="connsiteY21018"/>
                </a:cxn>
                <a:cxn ang="0">
                  <a:pos x="connsiteX21019" y="connsiteY21019"/>
                </a:cxn>
                <a:cxn ang="0">
                  <a:pos x="connsiteX21020" y="connsiteY21020"/>
                </a:cxn>
                <a:cxn ang="0">
                  <a:pos x="connsiteX21021" y="connsiteY21021"/>
                </a:cxn>
                <a:cxn ang="0">
                  <a:pos x="connsiteX21022" y="connsiteY21022"/>
                </a:cxn>
                <a:cxn ang="0">
                  <a:pos x="connsiteX21023" y="connsiteY21023"/>
                </a:cxn>
                <a:cxn ang="0">
                  <a:pos x="connsiteX21024" y="connsiteY21024"/>
                </a:cxn>
                <a:cxn ang="0">
                  <a:pos x="connsiteX21025" y="connsiteY21025"/>
                </a:cxn>
                <a:cxn ang="0">
                  <a:pos x="connsiteX21026" y="connsiteY21026"/>
                </a:cxn>
                <a:cxn ang="0">
                  <a:pos x="connsiteX21027" y="connsiteY21027"/>
                </a:cxn>
                <a:cxn ang="0">
                  <a:pos x="connsiteX21028" y="connsiteY21028"/>
                </a:cxn>
                <a:cxn ang="0">
                  <a:pos x="connsiteX21029" y="connsiteY21029"/>
                </a:cxn>
                <a:cxn ang="0">
                  <a:pos x="connsiteX21030" y="connsiteY21030"/>
                </a:cxn>
                <a:cxn ang="0">
                  <a:pos x="connsiteX21031" y="connsiteY21031"/>
                </a:cxn>
                <a:cxn ang="0">
                  <a:pos x="connsiteX21032" y="connsiteY21032"/>
                </a:cxn>
                <a:cxn ang="0">
                  <a:pos x="connsiteX21033" y="connsiteY21033"/>
                </a:cxn>
                <a:cxn ang="0">
                  <a:pos x="connsiteX21034" y="connsiteY21034"/>
                </a:cxn>
                <a:cxn ang="0">
                  <a:pos x="connsiteX21035" y="connsiteY21035"/>
                </a:cxn>
                <a:cxn ang="0">
                  <a:pos x="connsiteX21036" y="connsiteY21036"/>
                </a:cxn>
                <a:cxn ang="0">
                  <a:pos x="connsiteX21037" y="connsiteY21037"/>
                </a:cxn>
                <a:cxn ang="0">
                  <a:pos x="connsiteX21038" y="connsiteY21038"/>
                </a:cxn>
                <a:cxn ang="0">
                  <a:pos x="connsiteX21039" y="connsiteY21039"/>
                </a:cxn>
                <a:cxn ang="0">
                  <a:pos x="connsiteX21040" y="connsiteY21040"/>
                </a:cxn>
                <a:cxn ang="0">
                  <a:pos x="connsiteX21041" y="connsiteY21041"/>
                </a:cxn>
                <a:cxn ang="0">
                  <a:pos x="connsiteX21042" y="connsiteY21042"/>
                </a:cxn>
                <a:cxn ang="0">
                  <a:pos x="connsiteX21043" y="connsiteY21043"/>
                </a:cxn>
                <a:cxn ang="0">
                  <a:pos x="connsiteX21044" y="connsiteY21044"/>
                </a:cxn>
                <a:cxn ang="0">
                  <a:pos x="connsiteX21045" y="connsiteY21045"/>
                </a:cxn>
                <a:cxn ang="0">
                  <a:pos x="connsiteX21046" y="connsiteY21046"/>
                </a:cxn>
                <a:cxn ang="0">
                  <a:pos x="connsiteX21047" y="connsiteY21047"/>
                </a:cxn>
                <a:cxn ang="0">
                  <a:pos x="connsiteX21048" y="connsiteY21048"/>
                </a:cxn>
                <a:cxn ang="0">
                  <a:pos x="connsiteX21049" y="connsiteY21049"/>
                </a:cxn>
                <a:cxn ang="0">
                  <a:pos x="connsiteX21050" y="connsiteY21050"/>
                </a:cxn>
                <a:cxn ang="0">
                  <a:pos x="connsiteX21051" y="connsiteY21051"/>
                </a:cxn>
                <a:cxn ang="0">
                  <a:pos x="connsiteX21052" y="connsiteY21052"/>
                </a:cxn>
                <a:cxn ang="0">
                  <a:pos x="connsiteX21053" y="connsiteY21053"/>
                </a:cxn>
                <a:cxn ang="0">
                  <a:pos x="connsiteX21054" y="connsiteY21054"/>
                </a:cxn>
                <a:cxn ang="0">
                  <a:pos x="connsiteX21055" y="connsiteY21055"/>
                </a:cxn>
                <a:cxn ang="0">
                  <a:pos x="connsiteX21056" y="connsiteY21056"/>
                </a:cxn>
                <a:cxn ang="0">
                  <a:pos x="connsiteX21057" y="connsiteY21057"/>
                </a:cxn>
                <a:cxn ang="0">
                  <a:pos x="connsiteX21058" y="connsiteY21058"/>
                </a:cxn>
                <a:cxn ang="0">
                  <a:pos x="connsiteX21059" y="connsiteY21059"/>
                </a:cxn>
                <a:cxn ang="0">
                  <a:pos x="connsiteX21060" y="connsiteY21060"/>
                </a:cxn>
                <a:cxn ang="0">
                  <a:pos x="connsiteX21061" y="connsiteY21061"/>
                </a:cxn>
                <a:cxn ang="0">
                  <a:pos x="connsiteX21062" y="connsiteY21062"/>
                </a:cxn>
                <a:cxn ang="0">
                  <a:pos x="connsiteX21063" y="connsiteY21063"/>
                </a:cxn>
                <a:cxn ang="0">
                  <a:pos x="connsiteX21064" y="connsiteY21064"/>
                </a:cxn>
                <a:cxn ang="0">
                  <a:pos x="connsiteX21065" y="connsiteY21065"/>
                </a:cxn>
                <a:cxn ang="0">
                  <a:pos x="connsiteX21066" y="connsiteY21066"/>
                </a:cxn>
                <a:cxn ang="0">
                  <a:pos x="connsiteX21067" y="connsiteY21067"/>
                </a:cxn>
                <a:cxn ang="0">
                  <a:pos x="connsiteX21068" y="connsiteY21068"/>
                </a:cxn>
                <a:cxn ang="0">
                  <a:pos x="connsiteX21069" y="connsiteY21069"/>
                </a:cxn>
                <a:cxn ang="0">
                  <a:pos x="connsiteX21070" y="connsiteY21070"/>
                </a:cxn>
                <a:cxn ang="0">
                  <a:pos x="connsiteX21071" y="connsiteY21071"/>
                </a:cxn>
                <a:cxn ang="0">
                  <a:pos x="connsiteX21072" y="connsiteY21072"/>
                </a:cxn>
                <a:cxn ang="0">
                  <a:pos x="connsiteX21073" y="connsiteY21073"/>
                </a:cxn>
                <a:cxn ang="0">
                  <a:pos x="connsiteX21074" y="connsiteY21074"/>
                </a:cxn>
                <a:cxn ang="0">
                  <a:pos x="connsiteX21075" y="connsiteY21075"/>
                </a:cxn>
                <a:cxn ang="0">
                  <a:pos x="connsiteX21076" y="connsiteY21076"/>
                </a:cxn>
                <a:cxn ang="0">
                  <a:pos x="connsiteX21077" y="connsiteY21077"/>
                </a:cxn>
                <a:cxn ang="0">
                  <a:pos x="connsiteX21078" y="connsiteY21078"/>
                </a:cxn>
                <a:cxn ang="0">
                  <a:pos x="connsiteX21079" y="connsiteY21079"/>
                </a:cxn>
                <a:cxn ang="0">
                  <a:pos x="connsiteX21080" y="connsiteY21080"/>
                </a:cxn>
                <a:cxn ang="0">
                  <a:pos x="connsiteX21081" y="connsiteY21081"/>
                </a:cxn>
                <a:cxn ang="0">
                  <a:pos x="connsiteX21082" y="connsiteY21082"/>
                </a:cxn>
                <a:cxn ang="0">
                  <a:pos x="connsiteX21083" y="connsiteY21083"/>
                </a:cxn>
                <a:cxn ang="0">
                  <a:pos x="connsiteX21084" y="connsiteY21084"/>
                </a:cxn>
                <a:cxn ang="0">
                  <a:pos x="connsiteX21085" y="connsiteY21085"/>
                </a:cxn>
                <a:cxn ang="0">
                  <a:pos x="connsiteX21086" y="connsiteY21086"/>
                </a:cxn>
                <a:cxn ang="0">
                  <a:pos x="connsiteX21087" y="connsiteY21087"/>
                </a:cxn>
                <a:cxn ang="0">
                  <a:pos x="connsiteX21088" y="connsiteY21088"/>
                </a:cxn>
                <a:cxn ang="0">
                  <a:pos x="connsiteX21089" y="connsiteY21089"/>
                </a:cxn>
                <a:cxn ang="0">
                  <a:pos x="connsiteX21090" y="connsiteY21090"/>
                </a:cxn>
                <a:cxn ang="0">
                  <a:pos x="connsiteX21091" y="connsiteY21091"/>
                </a:cxn>
                <a:cxn ang="0">
                  <a:pos x="connsiteX21092" y="connsiteY21092"/>
                </a:cxn>
                <a:cxn ang="0">
                  <a:pos x="connsiteX21093" y="connsiteY21093"/>
                </a:cxn>
                <a:cxn ang="0">
                  <a:pos x="connsiteX21094" y="connsiteY21094"/>
                </a:cxn>
                <a:cxn ang="0">
                  <a:pos x="connsiteX21095" y="connsiteY21095"/>
                </a:cxn>
                <a:cxn ang="0">
                  <a:pos x="connsiteX21096" y="connsiteY21096"/>
                </a:cxn>
                <a:cxn ang="0">
                  <a:pos x="connsiteX21097" y="connsiteY21097"/>
                </a:cxn>
                <a:cxn ang="0">
                  <a:pos x="connsiteX21098" y="connsiteY21098"/>
                </a:cxn>
                <a:cxn ang="0">
                  <a:pos x="connsiteX21099" y="connsiteY21099"/>
                </a:cxn>
                <a:cxn ang="0">
                  <a:pos x="connsiteX21100" y="connsiteY21100"/>
                </a:cxn>
                <a:cxn ang="0">
                  <a:pos x="connsiteX21101" y="connsiteY21101"/>
                </a:cxn>
                <a:cxn ang="0">
                  <a:pos x="connsiteX21102" y="connsiteY21102"/>
                </a:cxn>
                <a:cxn ang="0">
                  <a:pos x="connsiteX21103" y="connsiteY21103"/>
                </a:cxn>
                <a:cxn ang="0">
                  <a:pos x="connsiteX21104" y="connsiteY21104"/>
                </a:cxn>
                <a:cxn ang="0">
                  <a:pos x="connsiteX21105" y="connsiteY21105"/>
                </a:cxn>
                <a:cxn ang="0">
                  <a:pos x="connsiteX21106" y="connsiteY21106"/>
                </a:cxn>
                <a:cxn ang="0">
                  <a:pos x="connsiteX21107" y="connsiteY21107"/>
                </a:cxn>
                <a:cxn ang="0">
                  <a:pos x="connsiteX21108" y="connsiteY21108"/>
                </a:cxn>
                <a:cxn ang="0">
                  <a:pos x="connsiteX21109" y="connsiteY21109"/>
                </a:cxn>
                <a:cxn ang="0">
                  <a:pos x="connsiteX21110" y="connsiteY21110"/>
                </a:cxn>
                <a:cxn ang="0">
                  <a:pos x="connsiteX21111" y="connsiteY21111"/>
                </a:cxn>
                <a:cxn ang="0">
                  <a:pos x="connsiteX21112" y="connsiteY21112"/>
                </a:cxn>
                <a:cxn ang="0">
                  <a:pos x="connsiteX21113" y="connsiteY21113"/>
                </a:cxn>
                <a:cxn ang="0">
                  <a:pos x="connsiteX21114" y="connsiteY21114"/>
                </a:cxn>
                <a:cxn ang="0">
                  <a:pos x="connsiteX21115" y="connsiteY21115"/>
                </a:cxn>
                <a:cxn ang="0">
                  <a:pos x="connsiteX21116" y="connsiteY21116"/>
                </a:cxn>
                <a:cxn ang="0">
                  <a:pos x="connsiteX21117" y="connsiteY21117"/>
                </a:cxn>
                <a:cxn ang="0">
                  <a:pos x="connsiteX21118" y="connsiteY21118"/>
                </a:cxn>
                <a:cxn ang="0">
                  <a:pos x="connsiteX21119" y="connsiteY21119"/>
                </a:cxn>
                <a:cxn ang="0">
                  <a:pos x="connsiteX21120" y="connsiteY21120"/>
                </a:cxn>
                <a:cxn ang="0">
                  <a:pos x="connsiteX21121" y="connsiteY21121"/>
                </a:cxn>
                <a:cxn ang="0">
                  <a:pos x="connsiteX21122" y="connsiteY21122"/>
                </a:cxn>
                <a:cxn ang="0">
                  <a:pos x="connsiteX21123" y="connsiteY21123"/>
                </a:cxn>
                <a:cxn ang="0">
                  <a:pos x="connsiteX21124" y="connsiteY21124"/>
                </a:cxn>
                <a:cxn ang="0">
                  <a:pos x="connsiteX21125" y="connsiteY21125"/>
                </a:cxn>
                <a:cxn ang="0">
                  <a:pos x="connsiteX21126" y="connsiteY21126"/>
                </a:cxn>
                <a:cxn ang="0">
                  <a:pos x="connsiteX21127" y="connsiteY21127"/>
                </a:cxn>
                <a:cxn ang="0">
                  <a:pos x="connsiteX21128" y="connsiteY21128"/>
                </a:cxn>
                <a:cxn ang="0">
                  <a:pos x="connsiteX21129" y="connsiteY21129"/>
                </a:cxn>
                <a:cxn ang="0">
                  <a:pos x="connsiteX21130" y="connsiteY21130"/>
                </a:cxn>
                <a:cxn ang="0">
                  <a:pos x="connsiteX21131" y="connsiteY21131"/>
                </a:cxn>
                <a:cxn ang="0">
                  <a:pos x="connsiteX21132" y="connsiteY21132"/>
                </a:cxn>
                <a:cxn ang="0">
                  <a:pos x="connsiteX21133" y="connsiteY21133"/>
                </a:cxn>
                <a:cxn ang="0">
                  <a:pos x="connsiteX21134" y="connsiteY21134"/>
                </a:cxn>
                <a:cxn ang="0">
                  <a:pos x="connsiteX21135" y="connsiteY21135"/>
                </a:cxn>
                <a:cxn ang="0">
                  <a:pos x="connsiteX21136" y="connsiteY21136"/>
                </a:cxn>
                <a:cxn ang="0">
                  <a:pos x="connsiteX21137" y="connsiteY21137"/>
                </a:cxn>
                <a:cxn ang="0">
                  <a:pos x="connsiteX21138" y="connsiteY21138"/>
                </a:cxn>
                <a:cxn ang="0">
                  <a:pos x="connsiteX21139" y="connsiteY21139"/>
                </a:cxn>
                <a:cxn ang="0">
                  <a:pos x="connsiteX21140" y="connsiteY21140"/>
                </a:cxn>
                <a:cxn ang="0">
                  <a:pos x="connsiteX21141" y="connsiteY21141"/>
                </a:cxn>
                <a:cxn ang="0">
                  <a:pos x="connsiteX21142" y="connsiteY21142"/>
                </a:cxn>
                <a:cxn ang="0">
                  <a:pos x="connsiteX21143" y="connsiteY21143"/>
                </a:cxn>
                <a:cxn ang="0">
                  <a:pos x="connsiteX21144" y="connsiteY21144"/>
                </a:cxn>
                <a:cxn ang="0">
                  <a:pos x="connsiteX21145" y="connsiteY21145"/>
                </a:cxn>
                <a:cxn ang="0">
                  <a:pos x="connsiteX21146" y="connsiteY21146"/>
                </a:cxn>
                <a:cxn ang="0">
                  <a:pos x="connsiteX21147" y="connsiteY21147"/>
                </a:cxn>
                <a:cxn ang="0">
                  <a:pos x="connsiteX21148" y="connsiteY21148"/>
                </a:cxn>
                <a:cxn ang="0">
                  <a:pos x="connsiteX21149" y="connsiteY21149"/>
                </a:cxn>
                <a:cxn ang="0">
                  <a:pos x="connsiteX21150" y="connsiteY21150"/>
                </a:cxn>
                <a:cxn ang="0">
                  <a:pos x="connsiteX21151" y="connsiteY21151"/>
                </a:cxn>
                <a:cxn ang="0">
                  <a:pos x="connsiteX21152" y="connsiteY21152"/>
                </a:cxn>
                <a:cxn ang="0">
                  <a:pos x="connsiteX21153" y="connsiteY21153"/>
                </a:cxn>
                <a:cxn ang="0">
                  <a:pos x="connsiteX21154" y="connsiteY21154"/>
                </a:cxn>
                <a:cxn ang="0">
                  <a:pos x="connsiteX21155" y="connsiteY21155"/>
                </a:cxn>
                <a:cxn ang="0">
                  <a:pos x="connsiteX21156" y="connsiteY21156"/>
                </a:cxn>
                <a:cxn ang="0">
                  <a:pos x="connsiteX21157" y="connsiteY21157"/>
                </a:cxn>
                <a:cxn ang="0">
                  <a:pos x="connsiteX21158" y="connsiteY21158"/>
                </a:cxn>
                <a:cxn ang="0">
                  <a:pos x="connsiteX21159" y="connsiteY21159"/>
                </a:cxn>
                <a:cxn ang="0">
                  <a:pos x="connsiteX21160" y="connsiteY21160"/>
                </a:cxn>
                <a:cxn ang="0">
                  <a:pos x="connsiteX21161" y="connsiteY21161"/>
                </a:cxn>
                <a:cxn ang="0">
                  <a:pos x="connsiteX21162" y="connsiteY21162"/>
                </a:cxn>
                <a:cxn ang="0">
                  <a:pos x="connsiteX21163" y="connsiteY21163"/>
                </a:cxn>
                <a:cxn ang="0">
                  <a:pos x="connsiteX21164" y="connsiteY21164"/>
                </a:cxn>
                <a:cxn ang="0">
                  <a:pos x="connsiteX21165" y="connsiteY21165"/>
                </a:cxn>
                <a:cxn ang="0">
                  <a:pos x="connsiteX21166" y="connsiteY21166"/>
                </a:cxn>
                <a:cxn ang="0">
                  <a:pos x="connsiteX21167" y="connsiteY21167"/>
                </a:cxn>
                <a:cxn ang="0">
                  <a:pos x="connsiteX21168" y="connsiteY21168"/>
                </a:cxn>
                <a:cxn ang="0">
                  <a:pos x="connsiteX21169" y="connsiteY21169"/>
                </a:cxn>
                <a:cxn ang="0">
                  <a:pos x="connsiteX21170" y="connsiteY21170"/>
                </a:cxn>
                <a:cxn ang="0">
                  <a:pos x="connsiteX21171" y="connsiteY21171"/>
                </a:cxn>
                <a:cxn ang="0">
                  <a:pos x="connsiteX21172" y="connsiteY21172"/>
                </a:cxn>
                <a:cxn ang="0">
                  <a:pos x="connsiteX21173" y="connsiteY21173"/>
                </a:cxn>
                <a:cxn ang="0">
                  <a:pos x="connsiteX21174" y="connsiteY21174"/>
                </a:cxn>
                <a:cxn ang="0">
                  <a:pos x="connsiteX21175" y="connsiteY21175"/>
                </a:cxn>
                <a:cxn ang="0">
                  <a:pos x="connsiteX21176" y="connsiteY21176"/>
                </a:cxn>
                <a:cxn ang="0">
                  <a:pos x="connsiteX21177" y="connsiteY21177"/>
                </a:cxn>
                <a:cxn ang="0">
                  <a:pos x="connsiteX21178" y="connsiteY21178"/>
                </a:cxn>
                <a:cxn ang="0">
                  <a:pos x="connsiteX21179" y="connsiteY21179"/>
                </a:cxn>
                <a:cxn ang="0">
                  <a:pos x="connsiteX21180" y="connsiteY21180"/>
                </a:cxn>
                <a:cxn ang="0">
                  <a:pos x="connsiteX21181" y="connsiteY21181"/>
                </a:cxn>
                <a:cxn ang="0">
                  <a:pos x="connsiteX21182" y="connsiteY21182"/>
                </a:cxn>
                <a:cxn ang="0">
                  <a:pos x="connsiteX21183" y="connsiteY21183"/>
                </a:cxn>
                <a:cxn ang="0">
                  <a:pos x="connsiteX21184" y="connsiteY21184"/>
                </a:cxn>
                <a:cxn ang="0">
                  <a:pos x="connsiteX21185" y="connsiteY21185"/>
                </a:cxn>
                <a:cxn ang="0">
                  <a:pos x="connsiteX21186" y="connsiteY21186"/>
                </a:cxn>
                <a:cxn ang="0">
                  <a:pos x="connsiteX21187" y="connsiteY21187"/>
                </a:cxn>
                <a:cxn ang="0">
                  <a:pos x="connsiteX21188" y="connsiteY21188"/>
                </a:cxn>
                <a:cxn ang="0">
                  <a:pos x="connsiteX21189" y="connsiteY21189"/>
                </a:cxn>
                <a:cxn ang="0">
                  <a:pos x="connsiteX21190" y="connsiteY21190"/>
                </a:cxn>
                <a:cxn ang="0">
                  <a:pos x="connsiteX21191" y="connsiteY21191"/>
                </a:cxn>
                <a:cxn ang="0">
                  <a:pos x="connsiteX21192" y="connsiteY21192"/>
                </a:cxn>
                <a:cxn ang="0">
                  <a:pos x="connsiteX21193" y="connsiteY21193"/>
                </a:cxn>
                <a:cxn ang="0">
                  <a:pos x="connsiteX21194" y="connsiteY21194"/>
                </a:cxn>
                <a:cxn ang="0">
                  <a:pos x="connsiteX21195" y="connsiteY21195"/>
                </a:cxn>
                <a:cxn ang="0">
                  <a:pos x="connsiteX21196" y="connsiteY21196"/>
                </a:cxn>
                <a:cxn ang="0">
                  <a:pos x="connsiteX21197" y="connsiteY21197"/>
                </a:cxn>
                <a:cxn ang="0">
                  <a:pos x="connsiteX21198" y="connsiteY21198"/>
                </a:cxn>
                <a:cxn ang="0">
                  <a:pos x="connsiteX21199" y="connsiteY21199"/>
                </a:cxn>
                <a:cxn ang="0">
                  <a:pos x="connsiteX21200" y="connsiteY21200"/>
                </a:cxn>
                <a:cxn ang="0">
                  <a:pos x="connsiteX21201" y="connsiteY21201"/>
                </a:cxn>
                <a:cxn ang="0">
                  <a:pos x="connsiteX21202" y="connsiteY21202"/>
                </a:cxn>
                <a:cxn ang="0">
                  <a:pos x="connsiteX21203" y="connsiteY21203"/>
                </a:cxn>
                <a:cxn ang="0">
                  <a:pos x="connsiteX21204" y="connsiteY21204"/>
                </a:cxn>
                <a:cxn ang="0">
                  <a:pos x="connsiteX21205" y="connsiteY21205"/>
                </a:cxn>
                <a:cxn ang="0">
                  <a:pos x="connsiteX21206" y="connsiteY21206"/>
                </a:cxn>
                <a:cxn ang="0">
                  <a:pos x="connsiteX21207" y="connsiteY21207"/>
                </a:cxn>
                <a:cxn ang="0">
                  <a:pos x="connsiteX21208" y="connsiteY21208"/>
                </a:cxn>
                <a:cxn ang="0">
                  <a:pos x="connsiteX21209" y="connsiteY21209"/>
                </a:cxn>
                <a:cxn ang="0">
                  <a:pos x="connsiteX21210" y="connsiteY21210"/>
                </a:cxn>
                <a:cxn ang="0">
                  <a:pos x="connsiteX21211" y="connsiteY21211"/>
                </a:cxn>
                <a:cxn ang="0">
                  <a:pos x="connsiteX21212" y="connsiteY21212"/>
                </a:cxn>
                <a:cxn ang="0">
                  <a:pos x="connsiteX21213" y="connsiteY21213"/>
                </a:cxn>
                <a:cxn ang="0">
                  <a:pos x="connsiteX21214" y="connsiteY21214"/>
                </a:cxn>
                <a:cxn ang="0">
                  <a:pos x="connsiteX21215" y="connsiteY21215"/>
                </a:cxn>
                <a:cxn ang="0">
                  <a:pos x="connsiteX21216" y="connsiteY21216"/>
                </a:cxn>
                <a:cxn ang="0">
                  <a:pos x="connsiteX21217" y="connsiteY21217"/>
                </a:cxn>
                <a:cxn ang="0">
                  <a:pos x="connsiteX21218" y="connsiteY21218"/>
                </a:cxn>
                <a:cxn ang="0">
                  <a:pos x="connsiteX21219" y="connsiteY21219"/>
                </a:cxn>
                <a:cxn ang="0">
                  <a:pos x="connsiteX21220" y="connsiteY21220"/>
                </a:cxn>
                <a:cxn ang="0">
                  <a:pos x="connsiteX21221" y="connsiteY21221"/>
                </a:cxn>
                <a:cxn ang="0">
                  <a:pos x="connsiteX21222" y="connsiteY21222"/>
                </a:cxn>
                <a:cxn ang="0">
                  <a:pos x="connsiteX21223" y="connsiteY21223"/>
                </a:cxn>
                <a:cxn ang="0">
                  <a:pos x="connsiteX21224" y="connsiteY21224"/>
                </a:cxn>
                <a:cxn ang="0">
                  <a:pos x="connsiteX21225" y="connsiteY21225"/>
                </a:cxn>
                <a:cxn ang="0">
                  <a:pos x="connsiteX21226" y="connsiteY21226"/>
                </a:cxn>
                <a:cxn ang="0">
                  <a:pos x="connsiteX21227" y="connsiteY21227"/>
                </a:cxn>
                <a:cxn ang="0">
                  <a:pos x="connsiteX21228" y="connsiteY21228"/>
                </a:cxn>
                <a:cxn ang="0">
                  <a:pos x="connsiteX21229" y="connsiteY21229"/>
                </a:cxn>
                <a:cxn ang="0">
                  <a:pos x="connsiteX21230" y="connsiteY21230"/>
                </a:cxn>
                <a:cxn ang="0">
                  <a:pos x="connsiteX21231" y="connsiteY21231"/>
                </a:cxn>
                <a:cxn ang="0">
                  <a:pos x="connsiteX21232" y="connsiteY21232"/>
                </a:cxn>
                <a:cxn ang="0">
                  <a:pos x="connsiteX21233" y="connsiteY21233"/>
                </a:cxn>
                <a:cxn ang="0">
                  <a:pos x="connsiteX21234" y="connsiteY21234"/>
                </a:cxn>
                <a:cxn ang="0">
                  <a:pos x="connsiteX21235" y="connsiteY21235"/>
                </a:cxn>
                <a:cxn ang="0">
                  <a:pos x="connsiteX21236" y="connsiteY21236"/>
                </a:cxn>
                <a:cxn ang="0">
                  <a:pos x="connsiteX21237" y="connsiteY21237"/>
                </a:cxn>
                <a:cxn ang="0">
                  <a:pos x="connsiteX21238" y="connsiteY21238"/>
                </a:cxn>
                <a:cxn ang="0">
                  <a:pos x="connsiteX21239" y="connsiteY21239"/>
                </a:cxn>
                <a:cxn ang="0">
                  <a:pos x="connsiteX21240" y="connsiteY21240"/>
                </a:cxn>
                <a:cxn ang="0">
                  <a:pos x="connsiteX21241" y="connsiteY21241"/>
                </a:cxn>
                <a:cxn ang="0">
                  <a:pos x="connsiteX21242" y="connsiteY21242"/>
                </a:cxn>
                <a:cxn ang="0">
                  <a:pos x="connsiteX21243" y="connsiteY21243"/>
                </a:cxn>
                <a:cxn ang="0">
                  <a:pos x="connsiteX21244" y="connsiteY21244"/>
                </a:cxn>
                <a:cxn ang="0">
                  <a:pos x="connsiteX21245" y="connsiteY21245"/>
                </a:cxn>
                <a:cxn ang="0">
                  <a:pos x="connsiteX21246" y="connsiteY21246"/>
                </a:cxn>
                <a:cxn ang="0">
                  <a:pos x="connsiteX21247" y="connsiteY21247"/>
                </a:cxn>
                <a:cxn ang="0">
                  <a:pos x="connsiteX21248" y="connsiteY21248"/>
                </a:cxn>
                <a:cxn ang="0">
                  <a:pos x="connsiteX21249" y="connsiteY21249"/>
                </a:cxn>
                <a:cxn ang="0">
                  <a:pos x="connsiteX21250" y="connsiteY21250"/>
                </a:cxn>
                <a:cxn ang="0">
                  <a:pos x="connsiteX21251" y="connsiteY21251"/>
                </a:cxn>
                <a:cxn ang="0">
                  <a:pos x="connsiteX21252" y="connsiteY21252"/>
                </a:cxn>
                <a:cxn ang="0">
                  <a:pos x="connsiteX21253" y="connsiteY21253"/>
                </a:cxn>
                <a:cxn ang="0">
                  <a:pos x="connsiteX21254" y="connsiteY21254"/>
                </a:cxn>
                <a:cxn ang="0">
                  <a:pos x="connsiteX21255" y="connsiteY21255"/>
                </a:cxn>
                <a:cxn ang="0">
                  <a:pos x="connsiteX21256" y="connsiteY21256"/>
                </a:cxn>
                <a:cxn ang="0">
                  <a:pos x="connsiteX21257" y="connsiteY21257"/>
                </a:cxn>
                <a:cxn ang="0">
                  <a:pos x="connsiteX21258" y="connsiteY21258"/>
                </a:cxn>
                <a:cxn ang="0">
                  <a:pos x="connsiteX21259" y="connsiteY21259"/>
                </a:cxn>
                <a:cxn ang="0">
                  <a:pos x="connsiteX21260" y="connsiteY21260"/>
                </a:cxn>
                <a:cxn ang="0">
                  <a:pos x="connsiteX21261" y="connsiteY21261"/>
                </a:cxn>
                <a:cxn ang="0">
                  <a:pos x="connsiteX21262" y="connsiteY21262"/>
                </a:cxn>
                <a:cxn ang="0">
                  <a:pos x="connsiteX21263" y="connsiteY21263"/>
                </a:cxn>
                <a:cxn ang="0">
                  <a:pos x="connsiteX21264" y="connsiteY21264"/>
                </a:cxn>
                <a:cxn ang="0">
                  <a:pos x="connsiteX21265" y="connsiteY21265"/>
                </a:cxn>
                <a:cxn ang="0">
                  <a:pos x="connsiteX21266" y="connsiteY21266"/>
                </a:cxn>
                <a:cxn ang="0">
                  <a:pos x="connsiteX21267" y="connsiteY21267"/>
                </a:cxn>
                <a:cxn ang="0">
                  <a:pos x="connsiteX21268" y="connsiteY21268"/>
                </a:cxn>
                <a:cxn ang="0">
                  <a:pos x="connsiteX21269" y="connsiteY21269"/>
                </a:cxn>
                <a:cxn ang="0">
                  <a:pos x="connsiteX21270" y="connsiteY21270"/>
                </a:cxn>
                <a:cxn ang="0">
                  <a:pos x="connsiteX21271" y="connsiteY21271"/>
                </a:cxn>
                <a:cxn ang="0">
                  <a:pos x="connsiteX21272" y="connsiteY21272"/>
                </a:cxn>
                <a:cxn ang="0">
                  <a:pos x="connsiteX21273" y="connsiteY21273"/>
                </a:cxn>
                <a:cxn ang="0">
                  <a:pos x="connsiteX21274" y="connsiteY21274"/>
                </a:cxn>
                <a:cxn ang="0">
                  <a:pos x="connsiteX21275" y="connsiteY21275"/>
                </a:cxn>
                <a:cxn ang="0">
                  <a:pos x="connsiteX21276" y="connsiteY21276"/>
                </a:cxn>
                <a:cxn ang="0">
                  <a:pos x="connsiteX21277" y="connsiteY21277"/>
                </a:cxn>
                <a:cxn ang="0">
                  <a:pos x="connsiteX21278" y="connsiteY21278"/>
                </a:cxn>
                <a:cxn ang="0">
                  <a:pos x="connsiteX21279" y="connsiteY21279"/>
                </a:cxn>
                <a:cxn ang="0">
                  <a:pos x="connsiteX21280" y="connsiteY21280"/>
                </a:cxn>
                <a:cxn ang="0">
                  <a:pos x="connsiteX21281" y="connsiteY21281"/>
                </a:cxn>
                <a:cxn ang="0">
                  <a:pos x="connsiteX21282" y="connsiteY21282"/>
                </a:cxn>
                <a:cxn ang="0">
                  <a:pos x="connsiteX21283" y="connsiteY21283"/>
                </a:cxn>
                <a:cxn ang="0">
                  <a:pos x="connsiteX21284" y="connsiteY21284"/>
                </a:cxn>
                <a:cxn ang="0">
                  <a:pos x="connsiteX21285" y="connsiteY21285"/>
                </a:cxn>
                <a:cxn ang="0">
                  <a:pos x="connsiteX21286" y="connsiteY21286"/>
                </a:cxn>
                <a:cxn ang="0">
                  <a:pos x="connsiteX21287" y="connsiteY21287"/>
                </a:cxn>
                <a:cxn ang="0">
                  <a:pos x="connsiteX21288" y="connsiteY21288"/>
                </a:cxn>
                <a:cxn ang="0">
                  <a:pos x="connsiteX21289" y="connsiteY21289"/>
                </a:cxn>
                <a:cxn ang="0">
                  <a:pos x="connsiteX21290" y="connsiteY21290"/>
                </a:cxn>
                <a:cxn ang="0">
                  <a:pos x="connsiteX21291" y="connsiteY21291"/>
                </a:cxn>
                <a:cxn ang="0">
                  <a:pos x="connsiteX21292" y="connsiteY21292"/>
                </a:cxn>
                <a:cxn ang="0">
                  <a:pos x="connsiteX21293" y="connsiteY21293"/>
                </a:cxn>
                <a:cxn ang="0">
                  <a:pos x="connsiteX21294" y="connsiteY21294"/>
                </a:cxn>
                <a:cxn ang="0">
                  <a:pos x="connsiteX21295" y="connsiteY21295"/>
                </a:cxn>
                <a:cxn ang="0">
                  <a:pos x="connsiteX21296" y="connsiteY21296"/>
                </a:cxn>
                <a:cxn ang="0">
                  <a:pos x="connsiteX21297" y="connsiteY21297"/>
                </a:cxn>
                <a:cxn ang="0">
                  <a:pos x="connsiteX21298" y="connsiteY21298"/>
                </a:cxn>
                <a:cxn ang="0">
                  <a:pos x="connsiteX21299" y="connsiteY21299"/>
                </a:cxn>
                <a:cxn ang="0">
                  <a:pos x="connsiteX21300" y="connsiteY21300"/>
                </a:cxn>
                <a:cxn ang="0">
                  <a:pos x="connsiteX21301" y="connsiteY21301"/>
                </a:cxn>
                <a:cxn ang="0">
                  <a:pos x="connsiteX21302" y="connsiteY21302"/>
                </a:cxn>
                <a:cxn ang="0">
                  <a:pos x="connsiteX21303" y="connsiteY21303"/>
                </a:cxn>
                <a:cxn ang="0">
                  <a:pos x="connsiteX21304" y="connsiteY21304"/>
                </a:cxn>
                <a:cxn ang="0">
                  <a:pos x="connsiteX21305" y="connsiteY21305"/>
                </a:cxn>
                <a:cxn ang="0">
                  <a:pos x="connsiteX21306" y="connsiteY21306"/>
                </a:cxn>
                <a:cxn ang="0">
                  <a:pos x="connsiteX21307" y="connsiteY21307"/>
                </a:cxn>
                <a:cxn ang="0">
                  <a:pos x="connsiteX21308" y="connsiteY21308"/>
                </a:cxn>
                <a:cxn ang="0">
                  <a:pos x="connsiteX21309" y="connsiteY21309"/>
                </a:cxn>
                <a:cxn ang="0">
                  <a:pos x="connsiteX21310" y="connsiteY21310"/>
                </a:cxn>
                <a:cxn ang="0">
                  <a:pos x="connsiteX21311" y="connsiteY21311"/>
                </a:cxn>
                <a:cxn ang="0">
                  <a:pos x="connsiteX21312" y="connsiteY21312"/>
                </a:cxn>
                <a:cxn ang="0">
                  <a:pos x="connsiteX21313" y="connsiteY21313"/>
                </a:cxn>
                <a:cxn ang="0">
                  <a:pos x="connsiteX21314" y="connsiteY21314"/>
                </a:cxn>
                <a:cxn ang="0">
                  <a:pos x="connsiteX21315" y="connsiteY21315"/>
                </a:cxn>
                <a:cxn ang="0">
                  <a:pos x="connsiteX21316" y="connsiteY21316"/>
                </a:cxn>
                <a:cxn ang="0">
                  <a:pos x="connsiteX21317" y="connsiteY21317"/>
                </a:cxn>
                <a:cxn ang="0">
                  <a:pos x="connsiteX21318" y="connsiteY21318"/>
                </a:cxn>
                <a:cxn ang="0">
                  <a:pos x="connsiteX21319" y="connsiteY21319"/>
                </a:cxn>
                <a:cxn ang="0">
                  <a:pos x="connsiteX21320" y="connsiteY21320"/>
                </a:cxn>
                <a:cxn ang="0">
                  <a:pos x="connsiteX21321" y="connsiteY21321"/>
                </a:cxn>
                <a:cxn ang="0">
                  <a:pos x="connsiteX21322" y="connsiteY21322"/>
                </a:cxn>
                <a:cxn ang="0">
                  <a:pos x="connsiteX21323" y="connsiteY21323"/>
                </a:cxn>
                <a:cxn ang="0">
                  <a:pos x="connsiteX21324" y="connsiteY21324"/>
                </a:cxn>
                <a:cxn ang="0">
                  <a:pos x="connsiteX21325" y="connsiteY21325"/>
                </a:cxn>
                <a:cxn ang="0">
                  <a:pos x="connsiteX21326" y="connsiteY21326"/>
                </a:cxn>
                <a:cxn ang="0">
                  <a:pos x="connsiteX21327" y="connsiteY21327"/>
                </a:cxn>
                <a:cxn ang="0">
                  <a:pos x="connsiteX21328" y="connsiteY21328"/>
                </a:cxn>
                <a:cxn ang="0">
                  <a:pos x="connsiteX21329" y="connsiteY21329"/>
                </a:cxn>
                <a:cxn ang="0">
                  <a:pos x="connsiteX21330" y="connsiteY21330"/>
                </a:cxn>
                <a:cxn ang="0">
                  <a:pos x="connsiteX21331" y="connsiteY21331"/>
                </a:cxn>
                <a:cxn ang="0">
                  <a:pos x="connsiteX21332" y="connsiteY21332"/>
                </a:cxn>
                <a:cxn ang="0">
                  <a:pos x="connsiteX21333" y="connsiteY21333"/>
                </a:cxn>
                <a:cxn ang="0">
                  <a:pos x="connsiteX21334" y="connsiteY21334"/>
                </a:cxn>
                <a:cxn ang="0">
                  <a:pos x="connsiteX21335" y="connsiteY21335"/>
                </a:cxn>
                <a:cxn ang="0">
                  <a:pos x="connsiteX21336" y="connsiteY21336"/>
                </a:cxn>
                <a:cxn ang="0">
                  <a:pos x="connsiteX21337" y="connsiteY21337"/>
                </a:cxn>
                <a:cxn ang="0">
                  <a:pos x="connsiteX21338" y="connsiteY21338"/>
                </a:cxn>
                <a:cxn ang="0">
                  <a:pos x="connsiteX21339" y="connsiteY21339"/>
                </a:cxn>
                <a:cxn ang="0">
                  <a:pos x="connsiteX21340" y="connsiteY21340"/>
                </a:cxn>
                <a:cxn ang="0">
                  <a:pos x="connsiteX21341" y="connsiteY21341"/>
                </a:cxn>
                <a:cxn ang="0">
                  <a:pos x="connsiteX21342" y="connsiteY21342"/>
                </a:cxn>
                <a:cxn ang="0">
                  <a:pos x="connsiteX21343" y="connsiteY21343"/>
                </a:cxn>
                <a:cxn ang="0">
                  <a:pos x="connsiteX21344" y="connsiteY21344"/>
                </a:cxn>
                <a:cxn ang="0">
                  <a:pos x="connsiteX21345" y="connsiteY21345"/>
                </a:cxn>
                <a:cxn ang="0">
                  <a:pos x="connsiteX21346" y="connsiteY21346"/>
                </a:cxn>
                <a:cxn ang="0">
                  <a:pos x="connsiteX21347" y="connsiteY21347"/>
                </a:cxn>
                <a:cxn ang="0">
                  <a:pos x="connsiteX21348" y="connsiteY21348"/>
                </a:cxn>
                <a:cxn ang="0">
                  <a:pos x="connsiteX21349" y="connsiteY21349"/>
                </a:cxn>
                <a:cxn ang="0">
                  <a:pos x="connsiteX21350" y="connsiteY21350"/>
                </a:cxn>
                <a:cxn ang="0">
                  <a:pos x="connsiteX21351" y="connsiteY21351"/>
                </a:cxn>
                <a:cxn ang="0">
                  <a:pos x="connsiteX21352" y="connsiteY21352"/>
                </a:cxn>
                <a:cxn ang="0">
                  <a:pos x="connsiteX21353" y="connsiteY21353"/>
                </a:cxn>
                <a:cxn ang="0">
                  <a:pos x="connsiteX21354" y="connsiteY21354"/>
                </a:cxn>
                <a:cxn ang="0">
                  <a:pos x="connsiteX21355" y="connsiteY21355"/>
                </a:cxn>
                <a:cxn ang="0">
                  <a:pos x="connsiteX21356" y="connsiteY21356"/>
                </a:cxn>
                <a:cxn ang="0">
                  <a:pos x="connsiteX21357" y="connsiteY21357"/>
                </a:cxn>
                <a:cxn ang="0">
                  <a:pos x="connsiteX21358" y="connsiteY21358"/>
                </a:cxn>
                <a:cxn ang="0">
                  <a:pos x="connsiteX21359" y="connsiteY21359"/>
                </a:cxn>
                <a:cxn ang="0">
                  <a:pos x="connsiteX21360" y="connsiteY21360"/>
                </a:cxn>
                <a:cxn ang="0">
                  <a:pos x="connsiteX21361" y="connsiteY21361"/>
                </a:cxn>
                <a:cxn ang="0">
                  <a:pos x="connsiteX21362" y="connsiteY21362"/>
                </a:cxn>
                <a:cxn ang="0">
                  <a:pos x="connsiteX21363" y="connsiteY21363"/>
                </a:cxn>
                <a:cxn ang="0">
                  <a:pos x="connsiteX21364" y="connsiteY21364"/>
                </a:cxn>
                <a:cxn ang="0">
                  <a:pos x="connsiteX21365" y="connsiteY21365"/>
                </a:cxn>
                <a:cxn ang="0">
                  <a:pos x="connsiteX21366" y="connsiteY21366"/>
                </a:cxn>
                <a:cxn ang="0">
                  <a:pos x="connsiteX21367" y="connsiteY21367"/>
                </a:cxn>
                <a:cxn ang="0">
                  <a:pos x="connsiteX21368" y="connsiteY21368"/>
                </a:cxn>
                <a:cxn ang="0">
                  <a:pos x="connsiteX21369" y="connsiteY21369"/>
                </a:cxn>
                <a:cxn ang="0">
                  <a:pos x="connsiteX21370" y="connsiteY21370"/>
                </a:cxn>
                <a:cxn ang="0">
                  <a:pos x="connsiteX21371" y="connsiteY21371"/>
                </a:cxn>
                <a:cxn ang="0">
                  <a:pos x="connsiteX21372" y="connsiteY21372"/>
                </a:cxn>
                <a:cxn ang="0">
                  <a:pos x="connsiteX21373" y="connsiteY21373"/>
                </a:cxn>
                <a:cxn ang="0">
                  <a:pos x="connsiteX21374" y="connsiteY21374"/>
                </a:cxn>
                <a:cxn ang="0">
                  <a:pos x="connsiteX21375" y="connsiteY21375"/>
                </a:cxn>
                <a:cxn ang="0">
                  <a:pos x="connsiteX21376" y="connsiteY21376"/>
                </a:cxn>
                <a:cxn ang="0">
                  <a:pos x="connsiteX21377" y="connsiteY21377"/>
                </a:cxn>
                <a:cxn ang="0">
                  <a:pos x="connsiteX21378" y="connsiteY21378"/>
                </a:cxn>
                <a:cxn ang="0">
                  <a:pos x="connsiteX21379" y="connsiteY21379"/>
                </a:cxn>
                <a:cxn ang="0">
                  <a:pos x="connsiteX21380" y="connsiteY21380"/>
                </a:cxn>
                <a:cxn ang="0">
                  <a:pos x="connsiteX21381" y="connsiteY21381"/>
                </a:cxn>
                <a:cxn ang="0">
                  <a:pos x="connsiteX21382" y="connsiteY21382"/>
                </a:cxn>
                <a:cxn ang="0">
                  <a:pos x="connsiteX21383" y="connsiteY21383"/>
                </a:cxn>
                <a:cxn ang="0">
                  <a:pos x="connsiteX21384" y="connsiteY21384"/>
                </a:cxn>
                <a:cxn ang="0">
                  <a:pos x="connsiteX21385" y="connsiteY21385"/>
                </a:cxn>
                <a:cxn ang="0">
                  <a:pos x="connsiteX21386" y="connsiteY21386"/>
                </a:cxn>
                <a:cxn ang="0">
                  <a:pos x="connsiteX21387" y="connsiteY21387"/>
                </a:cxn>
                <a:cxn ang="0">
                  <a:pos x="connsiteX21388" y="connsiteY21388"/>
                </a:cxn>
                <a:cxn ang="0">
                  <a:pos x="connsiteX21389" y="connsiteY21389"/>
                </a:cxn>
                <a:cxn ang="0">
                  <a:pos x="connsiteX21390" y="connsiteY21390"/>
                </a:cxn>
                <a:cxn ang="0">
                  <a:pos x="connsiteX21391" y="connsiteY21391"/>
                </a:cxn>
                <a:cxn ang="0">
                  <a:pos x="connsiteX21392" y="connsiteY21392"/>
                </a:cxn>
                <a:cxn ang="0">
                  <a:pos x="connsiteX21393" y="connsiteY21393"/>
                </a:cxn>
                <a:cxn ang="0">
                  <a:pos x="connsiteX21394" y="connsiteY21394"/>
                </a:cxn>
                <a:cxn ang="0">
                  <a:pos x="connsiteX21395" y="connsiteY21395"/>
                </a:cxn>
                <a:cxn ang="0">
                  <a:pos x="connsiteX21396" y="connsiteY21396"/>
                </a:cxn>
                <a:cxn ang="0">
                  <a:pos x="connsiteX21397" y="connsiteY21397"/>
                </a:cxn>
                <a:cxn ang="0">
                  <a:pos x="connsiteX21398" y="connsiteY21398"/>
                </a:cxn>
                <a:cxn ang="0">
                  <a:pos x="connsiteX21399" y="connsiteY21399"/>
                </a:cxn>
                <a:cxn ang="0">
                  <a:pos x="connsiteX21400" y="connsiteY21400"/>
                </a:cxn>
                <a:cxn ang="0">
                  <a:pos x="connsiteX21401" y="connsiteY21401"/>
                </a:cxn>
                <a:cxn ang="0">
                  <a:pos x="connsiteX21402" y="connsiteY21402"/>
                </a:cxn>
                <a:cxn ang="0">
                  <a:pos x="connsiteX21403" y="connsiteY21403"/>
                </a:cxn>
                <a:cxn ang="0">
                  <a:pos x="connsiteX21404" y="connsiteY21404"/>
                </a:cxn>
                <a:cxn ang="0">
                  <a:pos x="connsiteX21405" y="connsiteY21405"/>
                </a:cxn>
                <a:cxn ang="0">
                  <a:pos x="connsiteX21406" y="connsiteY21406"/>
                </a:cxn>
                <a:cxn ang="0">
                  <a:pos x="connsiteX21407" y="connsiteY21407"/>
                </a:cxn>
                <a:cxn ang="0">
                  <a:pos x="connsiteX21408" y="connsiteY21408"/>
                </a:cxn>
                <a:cxn ang="0">
                  <a:pos x="connsiteX21409" y="connsiteY21409"/>
                </a:cxn>
                <a:cxn ang="0">
                  <a:pos x="connsiteX21410" y="connsiteY21410"/>
                </a:cxn>
                <a:cxn ang="0">
                  <a:pos x="connsiteX21411" y="connsiteY21411"/>
                </a:cxn>
                <a:cxn ang="0">
                  <a:pos x="connsiteX21412" y="connsiteY21412"/>
                </a:cxn>
                <a:cxn ang="0">
                  <a:pos x="connsiteX21413" y="connsiteY21413"/>
                </a:cxn>
                <a:cxn ang="0">
                  <a:pos x="connsiteX21414" y="connsiteY21414"/>
                </a:cxn>
                <a:cxn ang="0">
                  <a:pos x="connsiteX21415" y="connsiteY21415"/>
                </a:cxn>
                <a:cxn ang="0">
                  <a:pos x="connsiteX21416" y="connsiteY21416"/>
                </a:cxn>
                <a:cxn ang="0">
                  <a:pos x="connsiteX21417" y="connsiteY21417"/>
                </a:cxn>
                <a:cxn ang="0">
                  <a:pos x="connsiteX21418" y="connsiteY21418"/>
                </a:cxn>
                <a:cxn ang="0">
                  <a:pos x="connsiteX21419" y="connsiteY21419"/>
                </a:cxn>
                <a:cxn ang="0">
                  <a:pos x="connsiteX21420" y="connsiteY21420"/>
                </a:cxn>
                <a:cxn ang="0">
                  <a:pos x="connsiteX21421" y="connsiteY21421"/>
                </a:cxn>
                <a:cxn ang="0">
                  <a:pos x="connsiteX21422" y="connsiteY21422"/>
                </a:cxn>
                <a:cxn ang="0">
                  <a:pos x="connsiteX21423" y="connsiteY21423"/>
                </a:cxn>
                <a:cxn ang="0">
                  <a:pos x="connsiteX21424" y="connsiteY21424"/>
                </a:cxn>
                <a:cxn ang="0">
                  <a:pos x="connsiteX21425" y="connsiteY21425"/>
                </a:cxn>
                <a:cxn ang="0">
                  <a:pos x="connsiteX21426" y="connsiteY21426"/>
                </a:cxn>
                <a:cxn ang="0">
                  <a:pos x="connsiteX21427" y="connsiteY21427"/>
                </a:cxn>
                <a:cxn ang="0">
                  <a:pos x="connsiteX21428" y="connsiteY21428"/>
                </a:cxn>
                <a:cxn ang="0">
                  <a:pos x="connsiteX21429" y="connsiteY21429"/>
                </a:cxn>
                <a:cxn ang="0">
                  <a:pos x="connsiteX21430" y="connsiteY21430"/>
                </a:cxn>
                <a:cxn ang="0">
                  <a:pos x="connsiteX21431" y="connsiteY21431"/>
                </a:cxn>
                <a:cxn ang="0">
                  <a:pos x="connsiteX21432" y="connsiteY21432"/>
                </a:cxn>
                <a:cxn ang="0">
                  <a:pos x="connsiteX21433" y="connsiteY21433"/>
                </a:cxn>
                <a:cxn ang="0">
                  <a:pos x="connsiteX21434" y="connsiteY21434"/>
                </a:cxn>
                <a:cxn ang="0">
                  <a:pos x="connsiteX21435" y="connsiteY21435"/>
                </a:cxn>
                <a:cxn ang="0">
                  <a:pos x="connsiteX21436" y="connsiteY21436"/>
                </a:cxn>
                <a:cxn ang="0">
                  <a:pos x="connsiteX21437" y="connsiteY21437"/>
                </a:cxn>
                <a:cxn ang="0">
                  <a:pos x="connsiteX21438" y="connsiteY21438"/>
                </a:cxn>
                <a:cxn ang="0">
                  <a:pos x="connsiteX21439" y="connsiteY21439"/>
                </a:cxn>
                <a:cxn ang="0">
                  <a:pos x="connsiteX21440" y="connsiteY21440"/>
                </a:cxn>
                <a:cxn ang="0">
                  <a:pos x="connsiteX21441" y="connsiteY21441"/>
                </a:cxn>
                <a:cxn ang="0">
                  <a:pos x="connsiteX21442" y="connsiteY21442"/>
                </a:cxn>
                <a:cxn ang="0">
                  <a:pos x="connsiteX21443" y="connsiteY21443"/>
                </a:cxn>
                <a:cxn ang="0">
                  <a:pos x="connsiteX21444" y="connsiteY21444"/>
                </a:cxn>
                <a:cxn ang="0">
                  <a:pos x="connsiteX21445" y="connsiteY21445"/>
                </a:cxn>
                <a:cxn ang="0">
                  <a:pos x="connsiteX21446" y="connsiteY21446"/>
                </a:cxn>
                <a:cxn ang="0">
                  <a:pos x="connsiteX21447" y="connsiteY21447"/>
                </a:cxn>
                <a:cxn ang="0">
                  <a:pos x="connsiteX21448" y="connsiteY21448"/>
                </a:cxn>
                <a:cxn ang="0">
                  <a:pos x="connsiteX21449" y="connsiteY21449"/>
                </a:cxn>
                <a:cxn ang="0">
                  <a:pos x="connsiteX21450" y="connsiteY21450"/>
                </a:cxn>
                <a:cxn ang="0">
                  <a:pos x="connsiteX21451" y="connsiteY21451"/>
                </a:cxn>
                <a:cxn ang="0">
                  <a:pos x="connsiteX21452" y="connsiteY21452"/>
                </a:cxn>
                <a:cxn ang="0">
                  <a:pos x="connsiteX21453" y="connsiteY21453"/>
                </a:cxn>
                <a:cxn ang="0">
                  <a:pos x="connsiteX21454" y="connsiteY21454"/>
                </a:cxn>
                <a:cxn ang="0">
                  <a:pos x="connsiteX21455" y="connsiteY21455"/>
                </a:cxn>
                <a:cxn ang="0">
                  <a:pos x="connsiteX21456" y="connsiteY21456"/>
                </a:cxn>
                <a:cxn ang="0">
                  <a:pos x="connsiteX21457" y="connsiteY21457"/>
                </a:cxn>
                <a:cxn ang="0">
                  <a:pos x="connsiteX21458" y="connsiteY21458"/>
                </a:cxn>
                <a:cxn ang="0">
                  <a:pos x="connsiteX21459" y="connsiteY21459"/>
                </a:cxn>
                <a:cxn ang="0">
                  <a:pos x="connsiteX21460" y="connsiteY21460"/>
                </a:cxn>
                <a:cxn ang="0">
                  <a:pos x="connsiteX21461" y="connsiteY21461"/>
                </a:cxn>
                <a:cxn ang="0">
                  <a:pos x="connsiteX21462" y="connsiteY21462"/>
                </a:cxn>
                <a:cxn ang="0">
                  <a:pos x="connsiteX21463" y="connsiteY21463"/>
                </a:cxn>
                <a:cxn ang="0">
                  <a:pos x="connsiteX21464" y="connsiteY21464"/>
                </a:cxn>
                <a:cxn ang="0">
                  <a:pos x="connsiteX21465" y="connsiteY21465"/>
                </a:cxn>
                <a:cxn ang="0">
                  <a:pos x="connsiteX21466" y="connsiteY21466"/>
                </a:cxn>
                <a:cxn ang="0">
                  <a:pos x="connsiteX21467" y="connsiteY21467"/>
                </a:cxn>
                <a:cxn ang="0">
                  <a:pos x="connsiteX21468" y="connsiteY21468"/>
                </a:cxn>
                <a:cxn ang="0">
                  <a:pos x="connsiteX21469" y="connsiteY21469"/>
                </a:cxn>
                <a:cxn ang="0">
                  <a:pos x="connsiteX21470" y="connsiteY21470"/>
                </a:cxn>
                <a:cxn ang="0">
                  <a:pos x="connsiteX21471" y="connsiteY21471"/>
                </a:cxn>
                <a:cxn ang="0">
                  <a:pos x="connsiteX21472" y="connsiteY21472"/>
                </a:cxn>
                <a:cxn ang="0">
                  <a:pos x="connsiteX21473" y="connsiteY21473"/>
                </a:cxn>
                <a:cxn ang="0">
                  <a:pos x="connsiteX21474" y="connsiteY21474"/>
                </a:cxn>
                <a:cxn ang="0">
                  <a:pos x="connsiteX21475" y="connsiteY21475"/>
                </a:cxn>
                <a:cxn ang="0">
                  <a:pos x="connsiteX21476" y="connsiteY21476"/>
                </a:cxn>
                <a:cxn ang="0">
                  <a:pos x="connsiteX21477" y="connsiteY21477"/>
                </a:cxn>
                <a:cxn ang="0">
                  <a:pos x="connsiteX21478" y="connsiteY21478"/>
                </a:cxn>
                <a:cxn ang="0">
                  <a:pos x="connsiteX21479" y="connsiteY21479"/>
                </a:cxn>
                <a:cxn ang="0">
                  <a:pos x="connsiteX21480" y="connsiteY21480"/>
                </a:cxn>
                <a:cxn ang="0">
                  <a:pos x="connsiteX21481" y="connsiteY21481"/>
                </a:cxn>
                <a:cxn ang="0">
                  <a:pos x="connsiteX21482" y="connsiteY21482"/>
                </a:cxn>
                <a:cxn ang="0">
                  <a:pos x="connsiteX21483" y="connsiteY21483"/>
                </a:cxn>
                <a:cxn ang="0">
                  <a:pos x="connsiteX21484" y="connsiteY21484"/>
                </a:cxn>
                <a:cxn ang="0">
                  <a:pos x="connsiteX21485" y="connsiteY21485"/>
                </a:cxn>
                <a:cxn ang="0">
                  <a:pos x="connsiteX21486" y="connsiteY21486"/>
                </a:cxn>
                <a:cxn ang="0">
                  <a:pos x="connsiteX21487" y="connsiteY21487"/>
                </a:cxn>
                <a:cxn ang="0">
                  <a:pos x="connsiteX21488" y="connsiteY21488"/>
                </a:cxn>
                <a:cxn ang="0">
                  <a:pos x="connsiteX21489" y="connsiteY21489"/>
                </a:cxn>
                <a:cxn ang="0">
                  <a:pos x="connsiteX21490" y="connsiteY21490"/>
                </a:cxn>
                <a:cxn ang="0">
                  <a:pos x="connsiteX21491" y="connsiteY21491"/>
                </a:cxn>
                <a:cxn ang="0">
                  <a:pos x="connsiteX21492" y="connsiteY21492"/>
                </a:cxn>
                <a:cxn ang="0">
                  <a:pos x="connsiteX21493" y="connsiteY21493"/>
                </a:cxn>
                <a:cxn ang="0">
                  <a:pos x="connsiteX21494" y="connsiteY21494"/>
                </a:cxn>
                <a:cxn ang="0">
                  <a:pos x="connsiteX21495" y="connsiteY21495"/>
                </a:cxn>
                <a:cxn ang="0">
                  <a:pos x="connsiteX21496" y="connsiteY21496"/>
                </a:cxn>
                <a:cxn ang="0">
                  <a:pos x="connsiteX21497" y="connsiteY21497"/>
                </a:cxn>
                <a:cxn ang="0">
                  <a:pos x="connsiteX21498" y="connsiteY21498"/>
                </a:cxn>
                <a:cxn ang="0">
                  <a:pos x="connsiteX21499" y="connsiteY21499"/>
                </a:cxn>
                <a:cxn ang="0">
                  <a:pos x="connsiteX21500" y="connsiteY21500"/>
                </a:cxn>
                <a:cxn ang="0">
                  <a:pos x="connsiteX21501" y="connsiteY21501"/>
                </a:cxn>
                <a:cxn ang="0">
                  <a:pos x="connsiteX21502" y="connsiteY21502"/>
                </a:cxn>
                <a:cxn ang="0">
                  <a:pos x="connsiteX21503" y="connsiteY21503"/>
                </a:cxn>
                <a:cxn ang="0">
                  <a:pos x="connsiteX21504" y="connsiteY21504"/>
                </a:cxn>
                <a:cxn ang="0">
                  <a:pos x="connsiteX21505" y="connsiteY21505"/>
                </a:cxn>
                <a:cxn ang="0">
                  <a:pos x="connsiteX21506" y="connsiteY21506"/>
                </a:cxn>
                <a:cxn ang="0">
                  <a:pos x="connsiteX21507" y="connsiteY21507"/>
                </a:cxn>
                <a:cxn ang="0">
                  <a:pos x="connsiteX21508" y="connsiteY21508"/>
                </a:cxn>
                <a:cxn ang="0">
                  <a:pos x="connsiteX21509" y="connsiteY21509"/>
                </a:cxn>
                <a:cxn ang="0">
                  <a:pos x="connsiteX21510" y="connsiteY21510"/>
                </a:cxn>
                <a:cxn ang="0">
                  <a:pos x="connsiteX21511" y="connsiteY21511"/>
                </a:cxn>
                <a:cxn ang="0">
                  <a:pos x="connsiteX21512" y="connsiteY21512"/>
                </a:cxn>
                <a:cxn ang="0">
                  <a:pos x="connsiteX21513" y="connsiteY21513"/>
                </a:cxn>
                <a:cxn ang="0">
                  <a:pos x="connsiteX21514" y="connsiteY21514"/>
                </a:cxn>
                <a:cxn ang="0">
                  <a:pos x="connsiteX21515" y="connsiteY21515"/>
                </a:cxn>
                <a:cxn ang="0">
                  <a:pos x="connsiteX21516" y="connsiteY21516"/>
                </a:cxn>
                <a:cxn ang="0">
                  <a:pos x="connsiteX21517" y="connsiteY21517"/>
                </a:cxn>
                <a:cxn ang="0">
                  <a:pos x="connsiteX21518" y="connsiteY21518"/>
                </a:cxn>
                <a:cxn ang="0">
                  <a:pos x="connsiteX21519" y="connsiteY21519"/>
                </a:cxn>
                <a:cxn ang="0">
                  <a:pos x="connsiteX21520" y="connsiteY21520"/>
                </a:cxn>
                <a:cxn ang="0">
                  <a:pos x="connsiteX21521" y="connsiteY21521"/>
                </a:cxn>
                <a:cxn ang="0">
                  <a:pos x="connsiteX21522" y="connsiteY21522"/>
                </a:cxn>
                <a:cxn ang="0">
                  <a:pos x="connsiteX21523" y="connsiteY21523"/>
                </a:cxn>
                <a:cxn ang="0">
                  <a:pos x="connsiteX21524" y="connsiteY21524"/>
                </a:cxn>
                <a:cxn ang="0">
                  <a:pos x="connsiteX21525" y="connsiteY21525"/>
                </a:cxn>
                <a:cxn ang="0">
                  <a:pos x="connsiteX21526" y="connsiteY21526"/>
                </a:cxn>
                <a:cxn ang="0">
                  <a:pos x="connsiteX21527" y="connsiteY21527"/>
                </a:cxn>
                <a:cxn ang="0">
                  <a:pos x="connsiteX21528" y="connsiteY21528"/>
                </a:cxn>
                <a:cxn ang="0">
                  <a:pos x="connsiteX21529" y="connsiteY21529"/>
                </a:cxn>
                <a:cxn ang="0">
                  <a:pos x="connsiteX21530" y="connsiteY21530"/>
                </a:cxn>
                <a:cxn ang="0">
                  <a:pos x="connsiteX21531" y="connsiteY21531"/>
                </a:cxn>
                <a:cxn ang="0">
                  <a:pos x="connsiteX21532" y="connsiteY21532"/>
                </a:cxn>
                <a:cxn ang="0">
                  <a:pos x="connsiteX21533" y="connsiteY21533"/>
                </a:cxn>
                <a:cxn ang="0">
                  <a:pos x="connsiteX21534" y="connsiteY21534"/>
                </a:cxn>
                <a:cxn ang="0">
                  <a:pos x="connsiteX21535" y="connsiteY21535"/>
                </a:cxn>
                <a:cxn ang="0">
                  <a:pos x="connsiteX21536" y="connsiteY21536"/>
                </a:cxn>
                <a:cxn ang="0">
                  <a:pos x="connsiteX21537" y="connsiteY21537"/>
                </a:cxn>
                <a:cxn ang="0">
                  <a:pos x="connsiteX21538" y="connsiteY21538"/>
                </a:cxn>
                <a:cxn ang="0">
                  <a:pos x="connsiteX21539" y="connsiteY21539"/>
                </a:cxn>
                <a:cxn ang="0">
                  <a:pos x="connsiteX21540" y="connsiteY21540"/>
                </a:cxn>
                <a:cxn ang="0">
                  <a:pos x="connsiteX21541" y="connsiteY21541"/>
                </a:cxn>
                <a:cxn ang="0">
                  <a:pos x="connsiteX21542" y="connsiteY21542"/>
                </a:cxn>
                <a:cxn ang="0">
                  <a:pos x="connsiteX21543" y="connsiteY21543"/>
                </a:cxn>
                <a:cxn ang="0">
                  <a:pos x="connsiteX21544" y="connsiteY21544"/>
                </a:cxn>
                <a:cxn ang="0">
                  <a:pos x="connsiteX21545" y="connsiteY21545"/>
                </a:cxn>
                <a:cxn ang="0">
                  <a:pos x="connsiteX21546" y="connsiteY21546"/>
                </a:cxn>
                <a:cxn ang="0">
                  <a:pos x="connsiteX21547" y="connsiteY21547"/>
                </a:cxn>
                <a:cxn ang="0">
                  <a:pos x="connsiteX21548" y="connsiteY21548"/>
                </a:cxn>
                <a:cxn ang="0">
                  <a:pos x="connsiteX21549" y="connsiteY21549"/>
                </a:cxn>
                <a:cxn ang="0">
                  <a:pos x="connsiteX21550" y="connsiteY21550"/>
                </a:cxn>
                <a:cxn ang="0">
                  <a:pos x="connsiteX21551" y="connsiteY21551"/>
                </a:cxn>
                <a:cxn ang="0">
                  <a:pos x="connsiteX21552" y="connsiteY21552"/>
                </a:cxn>
                <a:cxn ang="0">
                  <a:pos x="connsiteX21553" y="connsiteY21553"/>
                </a:cxn>
                <a:cxn ang="0">
                  <a:pos x="connsiteX21554" y="connsiteY21554"/>
                </a:cxn>
                <a:cxn ang="0">
                  <a:pos x="connsiteX21555" y="connsiteY21555"/>
                </a:cxn>
                <a:cxn ang="0">
                  <a:pos x="connsiteX21556" y="connsiteY21556"/>
                </a:cxn>
                <a:cxn ang="0">
                  <a:pos x="connsiteX21557" y="connsiteY21557"/>
                </a:cxn>
                <a:cxn ang="0">
                  <a:pos x="connsiteX21558" y="connsiteY21558"/>
                </a:cxn>
                <a:cxn ang="0">
                  <a:pos x="connsiteX21559" y="connsiteY21559"/>
                </a:cxn>
                <a:cxn ang="0">
                  <a:pos x="connsiteX21560" y="connsiteY21560"/>
                </a:cxn>
                <a:cxn ang="0">
                  <a:pos x="connsiteX21561" y="connsiteY21561"/>
                </a:cxn>
                <a:cxn ang="0">
                  <a:pos x="connsiteX21562" y="connsiteY21562"/>
                </a:cxn>
                <a:cxn ang="0">
                  <a:pos x="connsiteX21563" y="connsiteY21563"/>
                </a:cxn>
                <a:cxn ang="0">
                  <a:pos x="connsiteX21564" y="connsiteY21564"/>
                </a:cxn>
                <a:cxn ang="0">
                  <a:pos x="connsiteX21565" y="connsiteY21565"/>
                </a:cxn>
                <a:cxn ang="0">
                  <a:pos x="connsiteX21566" y="connsiteY21566"/>
                </a:cxn>
                <a:cxn ang="0">
                  <a:pos x="connsiteX21567" y="connsiteY21567"/>
                </a:cxn>
                <a:cxn ang="0">
                  <a:pos x="connsiteX21568" y="connsiteY21568"/>
                </a:cxn>
                <a:cxn ang="0">
                  <a:pos x="connsiteX21569" y="connsiteY21569"/>
                </a:cxn>
                <a:cxn ang="0">
                  <a:pos x="connsiteX21570" y="connsiteY21570"/>
                </a:cxn>
                <a:cxn ang="0">
                  <a:pos x="connsiteX21571" y="connsiteY21571"/>
                </a:cxn>
                <a:cxn ang="0">
                  <a:pos x="connsiteX21572" y="connsiteY21572"/>
                </a:cxn>
                <a:cxn ang="0">
                  <a:pos x="connsiteX21573" y="connsiteY21573"/>
                </a:cxn>
                <a:cxn ang="0">
                  <a:pos x="connsiteX21574" y="connsiteY21574"/>
                </a:cxn>
                <a:cxn ang="0">
                  <a:pos x="connsiteX21575" y="connsiteY21575"/>
                </a:cxn>
                <a:cxn ang="0">
                  <a:pos x="connsiteX21576" y="connsiteY21576"/>
                </a:cxn>
                <a:cxn ang="0">
                  <a:pos x="connsiteX21577" y="connsiteY21577"/>
                </a:cxn>
                <a:cxn ang="0">
                  <a:pos x="connsiteX21578" y="connsiteY21578"/>
                </a:cxn>
                <a:cxn ang="0">
                  <a:pos x="connsiteX21579" y="connsiteY21579"/>
                </a:cxn>
                <a:cxn ang="0">
                  <a:pos x="connsiteX21580" y="connsiteY21580"/>
                </a:cxn>
                <a:cxn ang="0">
                  <a:pos x="connsiteX21581" y="connsiteY21581"/>
                </a:cxn>
                <a:cxn ang="0">
                  <a:pos x="connsiteX21582" y="connsiteY21582"/>
                </a:cxn>
                <a:cxn ang="0">
                  <a:pos x="connsiteX21583" y="connsiteY21583"/>
                </a:cxn>
                <a:cxn ang="0">
                  <a:pos x="connsiteX21584" y="connsiteY21584"/>
                </a:cxn>
                <a:cxn ang="0">
                  <a:pos x="connsiteX21585" y="connsiteY21585"/>
                </a:cxn>
                <a:cxn ang="0">
                  <a:pos x="connsiteX21586" y="connsiteY21586"/>
                </a:cxn>
                <a:cxn ang="0">
                  <a:pos x="connsiteX21587" y="connsiteY21587"/>
                </a:cxn>
                <a:cxn ang="0">
                  <a:pos x="connsiteX21588" y="connsiteY21588"/>
                </a:cxn>
                <a:cxn ang="0">
                  <a:pos x="connsiteX21589" y="connsiteY21589"/>
                </a:cxn>
                <a:cxn ang="0">
                  <a:pos x="connsiteX21590" y="connsiteY21590"/>
                </a:cxn>
                <a:cxn ang="0">
                  <a:pos x="connsiteX21591" y="connsiteY21591"/>
                </a:cxn>
                <a:cxn ang="0">
                  <a:pos x="connsiteX21592" y="connsiteY21592"/>
                </a:cxn>
                <a:cxn ang="0">
                  <a:pos x="connsiteX21593" y="connsiteY21593"/>
                </a:cxn>
                <a:cxn ang="0">
                  <a:pos x="connsiteX21594" y="connsiteY21594"/>
                </a:cxn>
                <a:cxn ang="0">
                  <a:pos x="connsiteX21595" y="connsiteY21595"/>
                </a:cxn>
                <a:cxn ang="0">
                  <a:pos x="connsiteX21596" y="connsiteY21596"/>
                </a:cxn>
                <a:cxn ang="0">
                  <a:pos x="connsiteX21597" y="connsiteY21597"/>
                </a:cxn>
                <a:cxn ang="0">
                  <a:pos x="connsiteX21598" y="connsiteY21598"/>
                </a:cxn>
                <a:cxn ang="0">
                  <a:pos x="connsiteX21599" y="connsiteY21599"/>
                </a:cxn>
                <a:cxn ang="0">
                  <a:pos x="connsiteX21600" y="connsiteY21600"/>
                </a:cxn>
                <a:cxn ang="0">
                  <a:pos x="connsiteX21601" y="connsiteY21601"/>
                </a:cxn>
                <a:cxn ang="0">
                  <a:pos x="connsiteX21602" y="connsiteY21602"/>
                </a:cxn>
                <a:cxn ang="0">
                  <a:pos x="connsiteX21603" y="connsiteY21603"/>
                </a:cxn>
                <a:cxn ang="0">
                  <a:pos x="connsiteX21604" y="connsiteY21604"/>
                </a:cxn>
                <a:cxn ang="0">
                  <a:pos x="connsiteX21605" y="connsiteY21605"/>
                </a:cxn>
                <a:cxn ang="0">
                  <a:pos x="connsiteX21606" y="connsiteY21606"/>
                </a:cxn>
                <a:cxn ang="0">
                  <a:pos x="connsiteX21607" y="connsiteY21607"/>
                </a:cxn>
                <a:cxn ang="0">
                  <a:pos x="connsiteX21608" y="connsiteY21608"/>
                </a:cxn>
                <a:cxn ang="0">
                  <a:pos x="connsiteX21609" y="connsiteY21609"/>
                </a:cxn>
                <a:cxn ang="0">
                  <a:pos x="connsiteX21610" y="connsiteY21610"/>
                </a:cxn>
                <a:cxn ang="0">
                  <a:pos x="connsiteX21611" y="connsiteY21611"/>
                </a:cxn>
                <a:cxn ang="0">
                  <a:pos x="connsiteX21612" y="connsiteY21612"/>
                </a:cxn>
                <a:cxn ang="0">
                  <a:pos x="connsiteX21613" y="connsiteY21613"/>
                </a:cxn>
                <a:cxn ang="0">
                  <a:pos x="connsiteX21614" y="connsiteY21614"/>
                </a:cxn>
                <a:cxn ang="0">
                  <a:pos x="connsiteX21615" y="connsiteY21615"/>
                </a:cxn>
                <a:cxn ang="0">
                  <a:pos x="connsiteX21616" y="connsiteY21616"/>
                </a:cxn>
                <a:cxn ang="0">
                  <a:pos x="connsiteX21617" y="connsiteY21617"/>
                </a:cxn>
                <a:cxn ang="0">
                  <a:pos x="connsiteX21618" y="connsiteY21618"/>
                </a:cxn>
                <a:cxn ang="0">
                  <a:pos x="connsiteX21619" y="connsiteY21619"/>
                </a:cxn>
                <a:cxn ang="0">
                  <a:pos x="connsiteX21620" y="connsiteY21620"/>
                </a:cxn>
                <a:cxn ang="0">
                  <a:pos x="connsiteX21621" y="connsiteY21621"/>
                </a:cxn>
                <a:cxn ang="0">
                  <a:pos x="connsiteX21622" y="connsiteY21622"/>
                </a:cxn>
                <a:cxn ang="0">
                  <a:pos x="connsiteX21623" y="connsiteY21623"/>
                </a:cxn>
                <a:cxn ang="0">
                  <a:pos x="connsiteX21624" y="connsiteY21624"/>
                </a:cxn>
                <a:cxn ang="0">
                  <a:pos x="connsiteX21625" y="connsiteY21625"/>
                </a:cxn>
                <a:cxn ang="0">
                  <a:pos x="connsiteX21626" y="connsiteY21626"/>
                </a:cxn>
                <a:cxn ang="0">
                  <a:pos x="connsiteX21627" y="connsiteY21627"/>
                </a:cxn>
                <a:cxn ang="0">
                  <a:pos x="connsiteX21628" y="connsiteY21628"/>
                </a:cxn>
                <a:cxn ang="0">
                  <a:pos x="connsiteX21629" y="connsiteY21629"/>
                </a:cxn>
                <a:cxn ang="0">
                  <a:pos x="connsiteX21630" y="connsiteY21630"/>
                </a:cxn>
                <a:cxn ang="0">
                  <a:pos x="connsiteX21631" y="connsiteY21631"/>
                </a:cxn>
                <a:cxn ang="0">
                  <a:pos x="connsiteX21632" y="connsiteY21632"/>
                </a:cxn>
                <a:cxn ang="0">
                  <a:pos x="connsiteX21633" y="connsiteY21633"/>
                </a:cxn>
                <a:cxn ang="0">
                  <a:pos x="connsiteX21634" y="connsiteY21634"/>
                </a:cxn>
                <a:cxn ang="0">
                  <a:pos x="connsiteX21635" y="connsiteY21635"/>
                </a:cxn>
                <a:cxn ang="0">
                  <a:pos x="connsiteX21636" y="connsiteY21636"/>
                </a:cxn>
                <a:cxn ang="0">
                  <a:pos x="connsiteX21637" y="connsiteY21637"/>
                </a:cxn>
                <a:cxn ang="0">
                  <a:pos x="connsiteX21638" y="connsiteY21638"/>
                </a:cxn>
                <a:cxn ang="0">
                  <a:pos x="connsiteX21639" y="connsiteY21639"/>
                </a:cxn>
                <a:cxn ang="0">
                  <a:pos x="connsiteX21640" y="connsiteY21640"/>
                </a:cxn>
                <a:cxn ang="0">
                  <a:pos x="connsiteX21641" y="connsiteY21641"/>
                </a:cxn>
                <a:cxn ang="0">
                  <a:pos x="connsiteX21642" y="connsiteY21642"/>
                </a:cxn>
                <a:cxn ang="0">
                  <a:pos x="connsiteX21643" y="connsiteY21643"/>
                </a:cxn>
                <a:cxn ang="0">
                  <a:pos x="connsiteX21644" y="connsiteY21644"/>
                </a:cxn>
                <a:cxn ang="0">
                  <a:pos x="connsiteX21645" y="connsiteY21645"/>
                </a:cxn>
                <a:cxn ang="0">
                  <a:pos x="connsiteX21646" y="connsiteY21646"/>
                </a:cxn>
                <a:cxn ang="0">
                  <a:pos x="connsiteX21647" y="connsiteY21647"/>
                </a:cxn>
                <a:cxn ang="0">
                  <a:pos x="connsiteX21648" y="connsiteY21648"/>
                </a:cxn>
                <a:cxn ang="0">
                  <a:pos x="connsiteX21649" y="connsiteY21649"/>
                </a:cxn>
                <a:cxn ang="0">
                  <a:pos x="connsiteX21650" y="connsiteY21650"/>
                </a:cxn>
                <a:cxn ang="0">
                  <a:pos x="connsiteX21651" y="connsiteY21651"/>
                </a:cxn>
                <a:cxn ang="0">
                  <a:pos x="connsiteX21652" y="connsiteY21652"/>
                </a:cxn>
                <a:cxn ang="0">
                  <a:pos x="connsiteX21653" y="connsiteY21653"/>
                </a:cxn>
                <a:cxn ang="0">
                  <a:pos x="connsiteX21654" y="connsiteY21654"/>
                </a:cxn>
                <a:cxn ang="0">
                  <a:pos x="connsiteX21655" y="connsiteY21655"/>
                </a:cxn>
                <a:cxn ang="0">
                  <a:pos x="connsiteX21656" y="connsiteY21656"/>
                </a:cxn>
                <a:cxn ang="0">
                  <a:pos x="connsiteX21657" y="connsiteY21657"/>
                </a:cxn>
                <a:cxn ang="0">
                  <a:pos x="connsiteX21658" y="connsiteY21658"/>
                </a:cxn>
                <a:cxn ang="0">
                  <a:pos x="connsiteX21659" y="connsiteY21659"/>
                </a:cxn>
                <a:cxn ang="0">
                  <a:pos x="connsiteX21660" y="connsiteY21660"/>
                </a:cxn>
                <a:cxn ang="0">
                  <a:pos x="connsiteX21661" y="connsiteY21661"/>
                </a:cxn>
                <a:cxn ang="0">
                  <a:pos x="connsiteX21662" y="connsiteY21662"/>
                </a:cxn>
                <a:cxn ang="0">
                  <a:pos x="connsiteX21663" y="connsiteY21663"/>
                </a:cxn>
                <a:cxn ang="0">
                  <a:pos x="connsiteX21664" y="connsiteY21664"/>
                </a:cxn>
                <a:cxn ang="0">
                  <a:pos x="connsiteX21665" y="connsiteY21665"/>
                </a:cxn>
                <a:cxn ang="0">
                  <a:pos x="connsiteX21666" y="connsiteY21666"/>
                </a:cxn>
                <a:cxn ang="0">
                  <a:pos x="connsiteX21667" y="connsiteY21667"/>
                </a:cxn>
                <a:cxn ang="0">
                  <a:pos x="connsiteX21668" y="connsiteY21668"/>
                </a:cxn>
                <a:cxn ang="0">
                  <a:pos x="connsiteX21669" y="connsiteY21669"/>
                </a:cxn>
                <a:cxn ang="0">
                  <a:pos x="connsiteX21670" y="connsiteY21670"/>
                </a:cxn>
                <a:cxn ang="0">
                  <a:pos x="connsiteX21671" y="connsiteY21671"/>
                </a:cxn>
                <a:cxn ang="0">
                  <a:pos x="connsiteX21672" y="connsiteY21672"/>
                </a:cxn>
                <a:cxn ang="0">
                  <a:pos x="connsiteX21673" y="connsiteY21673"/>
                </a:cxn>
                <a:cxn ang="0">
                  <a:pos x="connsiteX21674" y="connsiteY21674"/>
                </a:cxn>
                <a:cxn ang="0">
                  <a:pos x="connsiteX21675" y="connsiteY21675"/>
                </a:cxn>
                <a:cxn ang="0">
                  <a:pos x="connsiteX21676" y="connsiteY21676"/>
                </a:cxn>
                <a:cxn ang="0">
                  <a:pos x="connsiteX21677" y="connsiteY21677"/>
                </a:cxn>
                <a:cxn ang="0">
                  <a:pos x="connsiteX21678" y="connsiteY21678"/>
                </a:cxn>
                <a:cxn ang="0">
                  <a:pos x="connsiteX21679" y="connsiteY21679"/>
                </a:cxn>
                <a:cxn ang="0">
                  <a:pos x="connsiteX21680" y="connsiteY21680"/>
                </a:cxn>
                <a:cxn ang="0">
                  <a:pos x="connsiteX21681" y="connsiteY21681"/>
                </a:cxn>
                <a:cxn ang="0">
                  <a:pos x="connsiteX21682" y="connsiteY21682"/>
                </a:cxn>
                <a:cxn ang="0">
                  <a:pos x="connsiteX21683" y="connsiteY21683"/>
                </a:cxn>
                <a:cxn ang="0">
                  <a:pos x="connsiteX21684" y="connsiteY21684"/>
                </a:cxn>
                <a:cxn ang="0">
                  <a:pos x="connsiteX21685" y="connsiteY21685"/>
                </a:cxn>
                <a:cxn ang="0">
                  <a:pos x="connsiteX21686" y="connsiteY21686"/>
                </a:cxn>
                <a:cxn ang="0">
                  <a:pos x="connsiteX21687" y="connsiteY21687"/>
                </a:cxn>
                <a:cxn ang="0">
                  <a:pos x="connsiteX21688" y="connsiteY21688"/>
                </a:cxn>
                <a:cxn ang="0">
                  <a:pos x="connsiteX21689" y="connsiteY21689"/>
                </a:cxn>
                <a:cxn ang="0">
                  <a:pos x="connsiteX21690" y="connsiteY21690"/>
                </a:cxn>
                <a:cxn ang="0">
                  <a:pos x="connsiteX21691" y="connsiteY21691"/>
                </a:cxn>
                <a:cxn ang="0">
                  <a:pos x="connsiteX21692" y="connsiteY21692"/>
                </a:cxn>
                <a:cxn ang="0">
                  <a:pos x="connsiteX21693" y="connsiteY21693"/>
                </a:cxn>
                <a:cxn ang="0">
                  <a:pos x="connsiteX21694" y="connsiteY21694"/>
                </a:cxn>
                <a:cxn ang="0">
                  <a:pos x="connsiteX21695" y="connsiteY21695"/>
                </a:cxn>
                <a:cxn ang="0">
                  <a:pos x="connsiteX21696" y="connsiteY21696"/>
                </a:cxn>
                <a:cxn ang="0">
                  <a:pos x="connsiteX21697" y="connsiteY21697"/>
                </a:cxn>
                <a:cxn ang="0">
                  <a:pos x="connsiteX21698" y="connsiteY21698"/>
                </a:cxn>
                <a:cxn ang="0">
                  <a:pos x="connsiteX21699" y="connsiteY21699"/>
                </a:cxn>
                <a:cxn ang="0">
                  <a:pos x="connsiteX21700" y="connsiteY21700"/>
                </a:cxn>
                <a:cxn ang="0">
                  <a:pos x="connsiteX21701" y="connsiteY21701"/>
                </a:cxn>
                <a:cxn ang="0">
                  <a:pos x="connsiteX21702" y="connsiteY21702"/>
                </a:cxn>
                <a:cxn ang="0">
                  <a:pos x="connsiteX21703" y="connsiteY21703"/>
                </a:cxn>
                <a:cxn ang="0">
                  <a:pos x="connsiteX21704" y="connsiteY21704"/>
                </a:cxn>
                <a:cxn ang="0">
                  <a:pos x="connsiteX21705" y="connsiteY21705"/>
                </a:cxn>
                <a:cxn ang="0">
                  <a:pos x="connsiteX21706" y="connsiteY21706"/>
                </a:cxn>
                <a:cxn ang="0">
                  <a:pos x="connsiteX21707" y="connsiteY21707"/>
                </a:cxn>
                <a:cxn ang="0">
                  <a:pos x="connsiteX21708" y="connsiteY21708"/>
                </a:cxn>
                <a:cxn ang="0">
                  <a:pos x="connsiteX21709" y="connsiteY21709"/>
                </a:cxn>
                <a:cxn ang="0">
                  <a:pos x="connsiteX21710" y="connsiteY21710"/>
                </a:cxn>
                <a:cxn ang="0">
                  <a:pos x="connsiteX21711" y="connsiteY21711"/>
                </a:cxn>
                <a:cxn ang="0">
                  <a:pos x="connsiteX21712" y="connsiteY21712"/>
                </a:cxn>
                <a:cxn ang="0">
                  <a:pos x="connsiteX21713" y="connsiteY21713"/>
                </a:cxn>
                <a:cxn ang="0">
                  <a:pos x="connsiteX21714" y="connsiteY21714"/>
                </a:cxn>
                <a:cxn ang="0">
                  <a:pos x="connsiteX21715" y="connsiteY21715"/>
                </a:cxn>
                <a:cxn ang="0">
                  <a:pos x="connsiteX21716" y="connsiteY21716"/>
                </a:cxn>
                <a:cxn ang="0">
                  <a:pos x="connsiteX21717" y="connsiteY21717"/>
                </a:cxn>
                <a:cxn ang="0">
                  <a:pos x="connsiteX21718" y="connsiteY21718"/>
                </a:cxn>
                <a:cxn ang="0">
                  <a:pos x="connsiteX21719" y="connsiteY21719"/>
                </a:cxn>
                <a:cxn ang="0">
                  <a:pos x="connsiteX21720" y="connsiteY21720"/>
                </a:cxn>
                <a:cxn ang="0">
                  <a:pos x="connsiteX21721" y="connsiteY21721"/>
                </a:cxn>
                <a:cxn ang="0">
                  <a:pos x="connsiteX21722" y="connsiteY21722"/>
                </a:cxn>
                <a:cxn ang="0">
                  <a:pos x="connsiteX21723" y="connsiteY21723"/>
                </a:cxn>
                <a:cxn ang="0">
                  <a:pos x="connsiteX21724" y="connsiteY21724"/>
                </a:cxn>
                <a:cxn ang="0">
                  <a:pos x="connsiteX21725" y="connsiteY21725"/>
                </a:cxn>
                <a:cxn ang="0">
                  <a:pos x="connsiteX21726" y="connsiteY21726"/>
                </a:cxn>
                <a:cxn ang="0">
                  <a:pos x="connsiteX21727" y="connsiteY21727"/>
                </a:cxn>
                <a:cxn ang="0">
                  <a:pos x="connsiteX21728" y="connsiteY21728"/>
                </a:cxn>
                <a:cxn ang="0">
                  <a:pos x="connsiteX21729" y="connsiteY21729"/>
                </a:cxn>
                <a:cxn ang="0">
                  <a:pos x="connsiteX21730" y="connsiteY21730"/>
                </a:cxn>
                <a:cxn ang="0">
                  <a:pos x="connsiteX21731" y="connsiteY21731"/>
                </a:cxn>
                <a:cxn ang="0">
                  <a:pos x="connsiteX21732" y="connsiteY21732"/>
                </a:cxn>
                <a:cxn ang="0">
                  <a:pos x="connsiteX21733" y="connsiteY21733"/>
                </a:cxn>
                <a:cxn ang="0">
                  <a:pos x="connsiteX21734" y="connsiteY21734"/>
                </a:cxn>
                <a:cxn ang="0">
                  <a:pos x="connsiteX21735" y="connsiteY21735"/>
                </a:cxn>
                <a:cxn ang="0">
                  <a:pos x="connsiteX21736" y="connsiteY21736"/>
                </a:cxn>
                <a:cxn ang="0">
                  <a:pos x="connsiteX21737" y="connsiteY21737"/>
                </a:cxn>
                <a:cxn ang="0">
                  <a:pos x="connsiteX21738" y="connsiteY21738"/>
                </a:cxn>
                <a:cxn ang="0">
                  <a:pos x="connsiteX21739" y="connsiteY21739"/>
                </a:cxn>
                <a:cxn ang="0">
                  <a:pos x="connsiteX21740" y="connsiteY21740"/>
                </a:cxn>
                <a:cxn ang="0">
                  <a:pos x="connsiteX21741" y="connsiteY21741"/>
                </a:cxn>
                <a:cxn ang="0">
                  <a:pos x="connsiteX21742" y="connsiteY21742"/>
                </a:cxn>
                <a:cxn ang="0">
                  <a:pos x="connsiteX21743" y="connsiteY21743"/>
                </a:cxn>
                <a:cxn ang="0">
                  <a:pos x="connsiteX21744" y="connsiteY21744"/>
                </a:cxn>
                <a:cxn ang="0">
                  <a:pos x="connsiteX21745" y="connsiteY21745"/>
                </a:cxn>
                <a:cxn ang="0">
                  <a:pos x="connsiteX21746" y="connsiteY21746"/>
                </a:cxn>
                <a:cxn ang="0">
                  <a:pos x="connsiteX21747" y="connsiteY21747"/>
                </a:cxn>
                <a:cxn ang="0">
                  <a:pos x="connsiteX21748" y="connsiteY21748"/>
                </a:cxn>
                <a:cxn ang="0">
                  <a:pos x="connsiteX21749" y="connsiteY21749"/>
                </a:cxn>
                <a:cxn ang="0">
                  <a:pos x="connsiteX21750" y="connsiteY21750"/>
                </a:cxn>
                <a:cxn ang="0">
                  <a:pos x="connsiteX21751" y="connsiteY21751"/>
                </a:cxn>
                <a:cxn ang="0">
                  <a:pos x="connsiteX21752" y="connsiteY21752"/>
                </a:cxn>
                <a:cxn ang="0">
                  <a:pos x="connsiteX21753" y="connsiteY21753"/>
                </a:cxn>
                <a:cxn ang="0">
                  <a:pos x="connsiteX21754" y="connsiteY21754"/>
                </a:cxn>
                <a:cxn ang="0">
                  <a:pos x="connsiteX21755" y="connsiteY21755"/>
                </a:cxn>
                <a:cxn ang="0">
                  <a:pos x="connsiteX21756" y="connsiteY21756"/>
                </a:cxn>
                <a:cxn ang="0">
                  <a:pos x="connsiteX21757" y="connsiteY21757"/>
                </a:cxn>
                <a:cxn ang="0">
                  <a:pos x="connsiteX21758" y="connsiteY21758"/>
                </a:cxn>
                <a:cxn ang="0">
                  <a:pos x="connsiteX21759" y="connsiteY21759"/>
                </a:cxn>
                <a:cxn ang="0">
                  <a:pos x="connsiteX21760" y="connsiteY21760"/>
                </a:cxn>
                <a:cxn ang="0">
                  <a:pos x="connsiteX21761" y="connsiteY21761"/>
                </a:cxn>
                <a:cxn ang="0">
                  <a:pos x="connsiteX21762" y="connsiteY21762"/>
                </a:cxn>
                <a:cxn ang="0">
                  <a:pos x="connsiteX21763" y="connsiteY21763"/>
                </a:cxn>
                <a:cxn ang="0">
                  <a:pos x="connsiteX21764" y="connsiteY21764"/>
                </a:cxn>
                <a:cxn ang="0">
                  <a:pos x="connsiteX21765" y="connsiteY21765"/>
                </a:cxn>
                <a:cxn ang="0">
                  <a:pos x="connsiteX21766" y="connsiteY21766"/>
                </a:cxn>
                <a:cxn ang="0">
                  <a:pos x="connsiteX21767" y="connsiteY21767"/>
                </a:cxn>
                <a:cxn ang="0">
                  <a:pos x="connsiteX21768" y="connsiteY21768"/>
                </a:cxn>
                <a:cxn ang="0">
                  <a:pos x="connsiteX21769" y="connsiteY21769"/>
                </a:cxn>
                <a:cxn ang="0">
                  <a:pos x="connsiteX21770" y="connsiteY21770"/>
                </a:cxn>
                <a:cxn ang="0">
                  <a:pos x="connsiteX21771" y="connsiteY21771"/>
                </a:cxn>
                <a:cxn ang="0">
                  <a:pos x="connsiteX21772" y="connsiteY21772"/>
                </a:cxn>
                <a:cxn ang="0">
                  <a:pos x="connsiteX21773" y="connsiteY21773"/>
                </a:cxn>
                <a:cxn ang="0">
                  <a:pos x="connsiteX21774" y="connsiteY21774"/>
                </a:cxn>
                <a:cxn ang="0">
                  <a:pos x="connsiteX21775" y="connsiteY21775"/>
                </a:cxn>
                <a:cxn ang="0">
                  <a:pos x="connsiteX21776" y="connsiteY21776"/>
                </a:cxn>
                <a:cxn ang="0">
                  <a:pos x="connsiteX21777" y="connsiteY21777"/>
                </a:cxn>
                <a:cxn ang="0">
                  <a:pos x="connsiteX21778" y="connsiteY21778"/>
                </a:cxn>
                <a:cxn ang="0">
                  <a:pos x="connsiteX21779" y="connsiteY21779"/>
                </a:cxn>
                <a:cxn ang="0">
                  <a:pos x="connsiteX21780" y="connsiteY21780"/>
                </a:cxn>
                <a:cxn ang="0">
                  <a:pos x="connsiteX21781" y="connsiteY21781"/>
                </a:cxn>
                <a:cxn ang="0">
                  <a:pos x="connsiteX21782" y="connsiteY21782"/>
                </a:cxn>
                <a:cxn ang="0">
                  <a:pos x="connsiteX21783" y="connsiteY21783"/>
                </a:cxn>
                <a:cxn ang="0">
                  <a:pos x="connsiteX21784" y="connsiteY21784"/>
                </a:cxn>
                <a:cxn ang="0">
                  <a:pos x="connsiteX21785" y="connsiteY21785"/>
                </a:cxn>
                <a:cxn ang="0">
                  <a:pos x="connsiteX21786" y="connsiteY21786"/>
                </a:cxn>
                <a:cxn ang="0">
                  <a:pos x="connsiteX21787" y="connsiteY21787"/>
                </a:cxn>
                <a:cxn ang="0">
                  <a:pos x="connsiteX21788" y="connsiteY21788"/>
                </a:cxn>
                <a:cxn ang="0">
                  <a:pos x="connsiteX21789" y="connsiteY21789"/>
                </a:cxn>
                <a:cxn ang="0">
                  <a:pos x="connsiteX21790" y="connsiteY21790"/>
                </a:cxn>
                <a:cxn ang="0">
                  <a:pos x="connsiteX21791" y="connsiteY21791"/>
                </a:cxn>
                <a:cxn ang="0">
                  <a:pos x="connsiteX21792" y="connsiteY21792"/>
                </a:cxn>
                <a:cxn ang="0">
                  <a:pos x="connsiteX21793" y="connsiteY21793"/>
                </a:cxn>
                <a:cxn ang="0">
                  <a:pos x="connsiteX21794" y="connsiteY21794"/>
                </a:cxn>
                <a:cxn ang="0">
                  <a:pos x="connsiteX21795" y="connsiteY21795"/>
                </a:cxn>
                <a:cxn ang="0">
                  <a:pos x="connsiteX21796" y="connsiteY21796"/>
                </a:cxn>
                <a:cxn ang="0">
                  <a:pos x="connsiteX21797" y="connsiteY21797"/>
                </a:cxn>
                <a:cxn ang="0">
                  <a:pos x="connsiteX21798" y="connsiteY21798"/>
                </a:cxn>
                <a:cxn ang="0">
                  <a:pos x="connsiteX21799" y="connsiteY21799"/>
                </a:cxn>
                <a:cxn ang="0">
                  <a:pos x="connsiteX21800" y="connsiteY21800"/>
                </a:cxn>
                <a:cxn ang="0">
                  <a:pos x="connsiteX21801" y="connsiteY21801"/>
                </a:cxn>
                <a:cxn ang="0">
                  <a:pos x="connsiteX21802" y="connsiteY21802"/>
                </a:cxn>
                <a:cxn ang="0">
                  <a:pos x="connsiteX21803" y="connsiteY21803"/>
                </a:cxn>
                <a:cxn ang="0">
                  <a:pos x="connsiteX21804" y="connsiteY21804"/>
                </a:cxn>
                <a:cxn ang="0">
                  <a:pos x="connsiteX21805" y="connsiteY21805"/>
                </a:cxn>
                <a:cxn ang="0">
                  <a:pos x="connsiteX21806" y="connsiteY21806"/>
                </a:cxn>
                <a:cxn ang="0">
                  <a:pos x="connsiteX21807" y="connsiteY21807"/>
                </a:cxn>
                <a:cxn ang="0">
                  <a:pos x="connsiteX21808" y="connsiteY21808"/>
                </a:cxn>
                <a:cxn ang="0">
                  <a:pos x="connsiteX21809" y="connsiteY21809"/>
                </a:cxn>
                <a:cxn ang="0">
                  <a:pos x="connsiteX21810" y="connsiteY21810"/>
                </a:cxn>
                <a:cxn ang="0">
                  <a:pos x="connsiteX21811" y="connsiteY21811"/>
                </a:cxn>
                <a:cxn ang="0">
                  <a:pos x="connsiteX21812" y="connsiteY21812"/>
                </a:cxn>
                <a:cxn ang="0">
                  <a:pos x="connsiteX21813" y="connsiteY21813"/>
                </a:cxn>
                <a:cxn ang="0">
                  <a:pos x="connsiteX21814" y="connsiteY21814"/>
                </a:cxn>
                <a:cxn ang="0">
                  <a:pos x="connsiteX21815" y="connsiteY21815"/>
                </a:cxn>
                <a:cxn ang="0">
                  <a:pos x="connsiteX21816" y="connsiteY21816"/>
                </a:cxn>
                <a:cxn ang="0">
                  <a:pos x="connsiteX21817" y="connsiteY21817"/>
                </a:cxn>
                <a:cxn ang="0">
                  <a:pos x="connsiteX21818" y="connsiteY21818"/>
                </a:cxn>
                <a:cxn ang="0">
                  <a:pos x="connsiteX21819" y="connsiteY21819"/>
                </a:cxn>
                <a:cxn ang="0">
                  <a:pos x="connsiteX21820" y="connsiteY21820"/>
                </a:cxn>
                <a:cxn ang="0">
                  <a:pos x="connsiteX21821" y="connsiteY21821"/>
                </a:cxn>
                <a:cxn ang="0">
                  <a:pos x="connsiteX21822" y="connsiteY21822"/>
                </a:cxn>
                <a:cxn ang="0">
                  <a:pos x="connsiteX21823" y="connsiteY21823"/>
                </a:cxn>
                <a:cxn ang="0">
                  <a:pos x="connsiteX21824" y="connsiteY21824"/>
                </a:cxn>
                <a:cxn ang="0">
                  <a:pos x="connsiteX21825" y="connsiteY21825"/>
                </a:cxn>
                <a:cxn ang="0">
                  <a:pos x="connsiteX21826" y="connsiteY21826"/>
                </a:cxn>
                <a:cxn ang="0">
                  <a:pos x="connsiteX21827" y="connsiteY21827"/>
                </a:cxn>
                <a:cxn ang="0">
                  <a:pos x="connsiteX21828" y="connsiteY21828"/>
                </a:cxn>
                <a:cxn ang="0">
                  <a:pos x="connsiteX21829" y="connsiteY21829"/>
                </a:cxn>
                <a:cxn ang="0">
                  <a:pos x="connsiteX21830" y="connsiteY21830"/>
                </a:cxn>
                <a:cxn ang="0">
                  <a:pos x="connsiteX21831" y="connsiteY21831"/>
                </a:cxn>
                <a:cxn ang="0">
                  <a:pos x="connsiteX21832" y="connsiteY21832"/>
                </a:cxn>
                <a:cxn ang="0">
                  <a:pos x="connsiteX21833" y="connsiteY21833"/>
                </a:cxn>
                <a:cxn ang="0">
                  <a:pos x="connsiteX21834" y="connsiteY21834"/>
                </a:cxn>
                <a:cxn ang="0">
                  <a:pos x="connsiteX21835" y="connsiteY21835"/>
                </a:cxn>
                <a:cxn ang="0">
                  <a:pos x="connsiteX21836" y="connsiteY21836"/>
                </a:cxn>
                <a:cxn ang="0">
                  <a:pos x="connsiteX21837" y="connsiteY21837"/>
                </a:cxn>
                <a:cxn ang="0">
                  <a:pos x="connsiteX21838" y="connsiteY21838"/>
                </a:cxn>
                <a:cxn ang="0">
                  <a:pos x="connsiteX21839" y="connsiteY21839"/>
                </a:cxn>
                <a:cxn ang="0">
                  <a:pos x="connsiteX21840" y="connsiteY21840"/>
                </a:cxn>
                <a:cxn ang="0">
                  <a:pos x="connsiteX21841" y="connsiteY21841"/>
                </a:cxn>
                <a:cxn ang="0">
                  <a:pos x="connsiteX21842" y="connsiteY21842"/>
                </a:cxn>
                <a:cxn ang="0">
                  <a:pos x="connsiteX21843" y="connsiteY21843"/>
                </a:cxn>
                <a:cxn ang="0">
                  <a:pos x="connsiteX21844" y="connsiteY21844"/>
                </a:cxn>
                <a:cxn ang="0">
                  <a:pos x="connsiteX21845" y="connsiteY21845"/>
                </a:cxn>
                <a:cxn ang="0">
                  <a:pos x="connsiteX21846" y="connsiteY21846"/>
                </a:cxn>
                <a:cxn ang="0">
                  <a:pos x="connsiteX21847" y="connsiteY21847"/>
                </a:cxn>
                <a:cxn ang="0">
                  <a:pos x="connsiteX21848" y="connsiteY21848"/>
                </a:cxn>
                <a:cxn ang="0">
                  <a:pos x="connsiteX21849" y="connsiteY21849"/>
                </a:cxn>
                <a:cxn ang="0">
                  <a:pos x="connsiteX21850" y="connsiteY21850"/>
                </a:cxn>
                <a:cxn ang="0">
                  <a:pos x="connsiteX21851" y="connsiteY21851"/>
                </a:cxn>
                <a:cxn ang="0">
                  <a:pos x="connsiteX21852" y="connsiteY21852"/>
                </a:cxn>
                <a:cxn ang="0">
                  <a:pos x="connsiteX21853" y="connsiteY21853"/>
                </a:cxn>
                <a:cxn ang="0">
                  <a:pos x="connsiteX21854" y="connsiteY21854"/>
                </a:cxn>
                <a:cxn ang="0">
                  <a:pos x="connsiteX21855" y="connsiteY21855"/>
                </a:cxn>
                <a:cxn ang="0">
                  <a:pos x="connsiteX21856" y="connsiteY21856"/>
                </a:cxn>
                <a:cxn ang="0">
                  <a:pos x="connsiteX21857" y="connsiteY21857"/>
                </a:cxn>
                <a:cxn ang="0">
                  <a:pos x="connsiteX21858" y="connsiteY21858"/>
                </a:cxn>
                <a:cxn ang="0">
                  <a:pos x="connsiteX21859" y="connsiteY21859"/>
                </a:cxn>
                <a:cxn ang="0">
                  <a:pos x="connsiteX21860" y="connsiteY21860"/>
                </a:cxn>
                <a:cxn ang="0">
                  <a:pos x="connsiteX21861" y="connsiteY21861"/>
                </a:cxn>
                <a:cxn ang="0">
                  <a:pos x="connsiteX21862" y="connsiteY21862"/>
                </a:cxn>
                <a:cxn ang="0">
                  <a:pos x="connsiteX21863" y="connsiteY21863"/>
                </a:cxn>
                <a:cxn ang="0">
                  <a:pos x="connsiteX21864" y="connsiteY21864"/>
                </a:cxn>
                <a:cxn ang="0">
                  <a:pos x="connsiteX21865" y="connsiteY21865"/>
                </a:cxn>
                <a:cxn ang="0">
                  <a:pos x="connsiteX21866" y="connsiteY21866"/>
                </a:cxn>
                <a:cxn ang="0">
                  <a:pos x="connsiteX21867" y="connsiteY21867"/>
                </a:cxn>
                <a:cxn ang="0">
                  <a:pos x="connsiteX21868" y="connsiteY21868"/>
                </a:cxn>
                <a:cxn ang="0">
                  <a:pos x="connsiteX21869" y="connsiteY21869"/>
                </a:cxn>
                <a:cxn ang="0">
                  <a:pos x="connsiteX21870" y="connsiteY21870"/>
                </a:cxn>
                <a:cxn ang="0">
                  <a:pos x="connsiteX21871" y="connsiteY21871"/>
                </a:cxn>
                <a:cxn ang="0">
                  <a:pos x="connsiteX21872" y="connsiteY21872"/>
                </a:cxn>
                <a:cxn ang="0">
                  <a:pos x="connsiteX21873" y="connsiteY21873"/>
                </a:cxn>
                <a:cxn ang="0">
                  <a:pos x="connsiteX21874" y="connsiteY21874"/>
                </a:cxn>
                <a:cxn ang="0">
                  <a:pos x="connsiteX21875" y="connsiteY21875"/>
                </a:cxn>
                <a:cxn ang="0">
                  <a:pos x="connsiteX21876" y="connsiteY21876"/>
                </a:cxn>
                <a:cxn ang="0">
                  <a:pos x="connsiteX21877" y="connsiteY21877"/>
                </a:cxn>
                <a:cxn ang="0">
                  <a:pos x="connsiteX21878" y="connsiteY21878"/>
                </a:cxn>
                <a:cxn ang="0">
                  <a:pos x="connsiteX21879" y="connsiteY21879"/>
                </a:cxn>
                <a:cxn ang="0">
                  <a:pos x="connsiteX21880" y="connsiteY21880"/>
                </a:cxn>
                <a:cxn ang="0">
                  <a:pos x="connsiteX21881" y="connsiteY21881"/>
                </a:cxn>
                <a:cxn ang="0">
                  <a:pos x="connsiteX21882" y="connsiteY21882"/>
                </a:cxn>
                <a:cxn ang="0">
                  <a:pos x="connsiteX21883" y="connsiteY21883"/>
                </a:cxn>
                <a:cxn ang="0">
                  <a:pos x="connsiteX21884" y="connsiteY21884"/>
                </a:cxn>
                <a:cxn ang="0">
                  <a:pos x="connsiteX21885" y="connsiteY21885"/>
                </a:cxn>
                <a:cxn ang="0">
                  <a:pos x="connsiteX21886" y="connsiteY21886"/>
                </a:cxn>
                <a:cxn ang="0">
                  <a:pos x="connsiteX21887" y="connsiteY21887"/>
                </a:cxn>
                <a:cxn ang="0">
                  <a:pos x="connsiteX21888" y="connsiteY21888"/>
                </a:cxn>
                <a:cxn ang="0">
                  <a:pos x="connsiteX21889" y="connsiteY21889"/>
                </a:cxn>
                <a:cxn ang="0">
                  <a:pos x="connsiteX21890" y="connsiteY21890"/>
                </a:cxn>
                <a:cxn ang="0">
                  <a:pos x="connsiteX21891" y="connsiteY21891"/>
                </a:cxn>
                <a:cxn ang="0">
                  <a:pos x="connsiteX21892" y="connsiteY21892"/>
                </a:cxn>
                <a:cxn ang="0">
                  <a:pos x="connsiteX21893" y="connsiteY21893"/>
                </a:cxn>
                <a:cxn ang="0">
                  <a:pos x="connsiteX21894" y="connsiteY21894"/>
                </a:cxn>
                <a:cxn ang="0">
                  <a:pos x="connsiteX21895" y="connsiteY21895"/>
                </a:cxn>
                <a:cxn ang="0">
                  <a:pos x="connsiteX21896" y="connsiteY21896"/>
                </a:cxn>
                <a:cxn ang="0">
                  <a:pos x="connsiteX21897" y="connsiteY21897"/>
                </a:cxn>
                <a:cxn ang="0">
                  <a:pos x="connsiteX21898" y="connsiteY21898"/>
                </a:cxn>
                <a:cxn ang="0">
                  <a:pos x="connsiteX21899" y="connsiteY21899"/>
                </a:cxn>
                <a:cxn ang="0">
                  <a:pos x="connsiteX21900" y="connsiteY21900"/>
                </a:cxn>
                <a:cxn ang="0">
                  <a:pos x="connsiteX21901" y="connsiteY21901"/>
                </a:cxn>
                <a:cxn ang="0">
                  <a:pos x="connsiteX21902" y="connsiteY21902"/>
                </a:cxn>
                <a:cxn ang="0">
                  <a:pos x="connsiteX21903" y="connsiteY21903"/>
                </a:cxn>
                <a:cxn ang="0">
                  <a:pos x="connsiteX21904" y="connsiteY21904"/>
                </a:cxn>
                <a:cxn ang="0">
                  <a:pos x="connsiteX21905" y="connsiteY21905"/>
                </a:cxn>
                <a:cxn ang="0">
                  <a:pos x="connsiteX21906" y="connsiteY21906"/>
                </a:cxn>
                <a:cxn ang="0">
                  <a:pos x="connsiteX21907" y="connsiteY21907"/>
                </a:cxn>
                <a:cxn ang="0">
                  <a:pos x="connsiteX21908" y="connsiteY21908"/>
                </a:cxn>
                <a:cxn ang="0">
                  <a:pos x="connsiteX21909" y="connsiteY21909"/>
                </a:cxn>
                <a:cxn ang="0">
                  <a:pos x="connsiteX21910" y="connsiteY21910"/>
                </a:cxn>
                <a:cxn ang="0">
                  <a:pos x="connsiteX21911" y="connsiteY21911"/>
                </a:cxn>
                <a:cxn ang="0">
                  <a:pos x="connsiteX21912" y="connsiteY21912"/>
                </a:cxn>
                <a:cxn ang="0">
                  <a:pos x="connsiteX21913" y="connsiteY21913"/>
                </a:cxn>
                <a:cxn ang="0">
                  <a:pos x="connsiteX21914" y="connsiteY21914"/>
                </a:cxn>
                <a:cxn ang="0">
                  <a:pos x="connsiteX21915" y="connsiteY21915"/>
                </a:cxn>
                <a:cxn ang="0">
                  <a:pos x="connsiteX21916" y="connsiteY21916"/>
                </a:cxn>
                <a:cxn ang="0">
                  <a:pos x="connsiteX21917" y="connsiteY21917"/>
                </a:cxn>
                <a:cxn ang="0">
                  <a:pos x="connsiteX21918" y="connsiteY21918"/>
                </a:cxn>
                <a:cxn ang="0">
                  <a:pos x="connsiteX21919" y="connsiteY21919"/>
                </a:cxn>
                <a:cxn ang="0">
                  <a:pos x="connsiteX21920" y="connsiteY21920"/>
                </a:cxn>
                <a:cxn ang="0">
                  <a:pos x="connsiteX21921" y="connsiteY21921"/>
                </a:cxn>
                <a:cxn ang="0">
                  <a:pos x="connsiteX21922" y="connsiteY21922"/>
                </a:cxn>
                <a:cxn ang="0">
                  <a:pos x="connsiteX21923" y="connsiteY21923"/>
                </a:cxn>
                <a:cxn ang="0">
                  <a:pos x="connsiteX21924" y="connsiteY21924"/>
                </a:cxn>
                <a:cxn ang="0">
                  <a:pos x="connsiteX21925" y="connsiteY21925"/>
                </a:cxn>
                <a:cxn ang="0">
                  <a:pos x="connsiteX21926" y="connsiteY21926"/>
                </a:cxn>
                <a:cxn ang="0">
                  <a:pos x="connsiteX21927" y="connsiteY21927"/>
                </a:cxn>
                <a:cxn ang="0">
                  <a:pos x="connsiteX21928" y="connsiteY21928"/>
                </a:cxn>
                <a:cxn ang="0">
                  <a:pos x="connsiteX21929" y="connsiteY21929"/>
                </a:cxn>
                <a:cxn ang="0">
                  <a:pos x="connsiteX21930" y="connsiteY21930"/>
                </a:cxn>
                <a:cxn ang="0">
                  <a:pos x="connsiteX21931" y="connsiteY21931"/>
                </a:cxn>
                <a:cxn ang="0">
                  <a:pos x="connsiteX21932" y="connsiteY21932"/>
                </a:cxn>
                <a:cxn ang="0">
                  <a:pos x="connsiteX21933" y="connsiteY21933"/>
                </a:cxn>
                <a:cxn ang="0">
                  <a:pos x="connsiteX21934" y="connsiteY21934"/>
                </a:cxn>
                <a:cxn ang="0">
                  <a:pos x="connsiteX21935" y="connsiteY21935"/>
                </a:cxn>
                <a:cxn ang="0">
                  <a:pos x="connsiteX21936" y="connsiteY21936"/>
                </a:cxn>
                <a:cxn ang="0">
                  <a:pos x="connsiteX21937" y="connsiteY21937"/>
                </a:cxn>
                <a:cxn ang="0">
                  <a:pos x="connsiteX21938" y="connsiteY21938"/>
                </a:cxn>
                <a:cxn ang="0">
                  <a:pos x="connsiteX21939" y="connsiteY21939"/>
                </a:cxn>
                <a:cxn ang="0">
                  <a:pos x="connsiteX21940" y="connsiteY21940"/>
                </a:cxn>
                <a:cxn ang="0">
                  <a:pos x="connsiteX21941" y="connsiteY21941"/>
                </a:cxn>
                <a:cxn ang="0">
                  <a:pos x="connsiteX21942" y="connsiteY21942"/>
                </a:cxn>
                <a:cxn ang="0">
                  <a:pos x="connsiteX21943" y="connsiteY21943"/>
                </a:cxn>
                <a:cxn ang="0">
                  <a:pos x="connsiteX21944" y="connsiteY21944"/>
                </a:cxn>
                <a:cxn ang="0">
                  <a:pos x="connsiteX21945" y="connsiteY21945"/>
                </a:cxn>
                <a:cxn ang="0">
                  <a:pos x="connsiteX21946" y="connsiteY21946"/>
                </a:cxn>
                <a:cxn ang="0">
                  <a:pos x="connsiteX21947" y="connsiteY21947"/>
                </a:cxn>
                <a:cxn ang="0">
                  <a:pos x="connsiteX21948" y="connsiteY21948"/>
                </a:cxn>
                <a:cxn ang="0">
                  <a:pos x="connsiteX21949" y="connsiteY21949"/>
                </a:cxn>
                <a:cxn ang="0">
                  <a:pos x="connsiteX21950" y="connsiteY21950"/>
                </a:cxn>
                <a:cxn ang="0">
                  <a:pos x="connsiteX21951" y="connsiteY21951"/>
                </a:cxn>
                <a:cxn ang="0">
                  <a:pos x="connsiteX21952" y="connsiteY21952"/>
                </a:cxn>
                <a:cxn ang="0">
                  <a:pos x="connsiteX21953" y="connsiteY21953"/>
                </a:cxn>
                <a:cxn ang="0">
                  <a:pos x="connsiteX21954" y="connsiteY21954"/>
                </a:cxn>
                <a:cxn ang="0">
                  <a:pos x="connsiteX21955" y="connsiteY21955"/>
                </a:cxn>
                <a:cxn ang="0">
                  <a:pos x="connsiteX21956" y="connsiteY21956"/>
                </a:cxn>
                <a:cxn ang="0">
                  <a:pos x="connsiteX21957" y="connsiteY21957"/>
                </a:cxn>
                <a:cxn ang="0">
                  <a:pos x="connsiteX21958" y="connsiteY21958"/>
                </a:cxn>
                <a:cxn ang="0">
                  <a:pos x="connsiteX21959" y="connsiteY21959"/>
                </a:cxn>
                <a:cxn ang="0">
                  <a:pos x="connsiteX21960" y="connsiteY21960"/>
                </a:cxn>
                <a:cxn ang="0">
                  <a:pos x="connsiteX21961" y="connsiteY21961"/>
                </a:cxn>
                <a:cxn ang="0">
                  <a:pos x="connsiteX21962" y="connsiteY21962"/>
                </a:cxn>
                <a:cxn ang="0">
                  <a:pos x="connsiteX21963" y="connsiteY21963"/>
                </a:cxn>
                <a:cxn ang="0">
                  <a:pos x="connsiteX21964" y="connsiteY21964"/>
                </a:cxn>
                <a:cxn ang="0">
                  <a:pos x="connsiteX21965" y="connsiteY21965"/>
                </a:cxn>
                <a:cxn ang="0">
                  <a:pos x="connsiteX21966" y="connsiteY21966"/>
                </a:cxn>
                <a:cxn ang="0">
                  <a:pos x="connsiteX21967" y="connsiteY21967"/>
                </a:cxn>
                <a:cxn ang="0">
                  <a:pos x="connsiteX21968" y="connsiteY21968"/>
                </a:cxn>
                <a:cxn ang="0">
                  <a:pos x="connsiteX21969" y="connsiteY21969"/>
                </a:cxn>
                <a:cxn ang="0">
                  <a:pos x="connsiteX21970" y="connsiteY21970"/>
                </a:cxn>
                <a:cxn ang="0">
                  <a:pos x="connsiteX21971" y="connsiteY21971"/>
                </a:cxn>
                <a:cxn ang="0">
                  <a:pos x="connsiteX21972" y="connsiteY21972"/>
                </a:cxn>
                <a:cxn ang="0">
                  <a:pos x="connsiteX21973" y="connsiteY21973"/>
                </a:cxn>
                <a:cxn ang="0">
                  <a:pos x="connsiteX21974" y="connsiteY21974"/>
                </a:cxn>
                <a:cxn ang="0">
                  <a:pos x="connsiteX21975" y="connsiteY21975"/>
                </a:cxn>
                <a:cxn ang="0">
                  <a:pos x="connsiteX21976" y="connsiteY21976"/>
                </a:cxn>
                <a:cxn ang="0">
                  <a:pos x="connsiteX21977" y="connsiteY21977"/>
                </a:cxn>
                <a:cxn ang="0">
                  <a:pos x="connsiteX21978" y="connsiteY21978"/>
                </a:cxn>
                <a:cxn ang="0">
                  <a:pos x="connsiteX21979" y="connsiteY21979"/>
                </a:cxn>
                <a:cxn ang="0">
                  <a:pos x="connsiteX21980" y="connsiteY21980"/>
                </a:cxn>
                <a:cxn ang="0">
                  <a:pos x="connsiteX21981" y="connsiteY21981"/>
                </a:cxn>
                <a:cxn ang="0">
                  <a:pos x="connsiteX21982" y="connsiteY21982"/>
                </a:cxn>
                <a:cxn ang="0">
                  <a:pos x="connsiteX21983" y="connsiteY21983"/>
                </a:cxn>
                <a:cxn ang="0">
                  <a:pos x="connsiteX21984" y="connsiteY21984"/>
                </a:cxn>
                <a:cxn ang="0">
                  <a:pos x="connsiteX21985" y="connsiteY21985"/>
                </a:cxn>
                <a:cxn ang="0">
                  <a:pos x="connsiteX21986" y="connsiteY21986"/>
                </a:cxn>
                <a:cxn ang="0">
                  <a:pos x="connsiteX21987" y="connsiteY21987"/>
                </a:cxn>
                <a:cxn ang="0">
                  <a:pos x="connsiteX21988" y="connsiteY21988"/>
                </a:cxn>
                <a:cxn ang="0">
                  <a:pos x="connsiteX21989" y="connsiteY21989"/>
                </a:cxn>
                <a:cxn ang="0">
                  <a:pos x="connsiteX21990" y="connsiteY21990"/>
                </a:cxn>
                <a:cxn ang="0">
                  <a:pos x="connsiteX21991" y="connsiteY21991"/>
                </a:cxn>
                <a:cxn ang="0">
                  <a:pos x="connsiteX21992" y="connsiteY21992"/>
                </a:cxn>
                <a:cxn ang="0">
                  <a:pos x="connsiteX21993" y="connsiteY21993"/>
                </a:cxn>
                <a:cxn ang="0">
                  <a:pos x="connsiteX21994" y="connsiteY21994"/>
                </a:cxn>
                <a:cxn ang="0">
                  <a:pos x="connsiteX21995" y="connsiteY21995"/>
                </a:cxn>
                <a:cxn ang="0">
                  <a:pos x="connsiteX21996" y="connsiteY21996"/>
                </a:cxn>
                <a:cxn ang="0">
                  <a:pos x="connsiteX21997" y="connsiteY21997"/>
                </a:cxn>
                <a:cxn ang="0">
                  <a:pos x="connsiteX21998" y="connsiteY21998"/>
                </a:cxn>
                <a:cxn ang="0">
                  <a:pos x="connsiteX21999" y="connsiteY21999"/>
                </a:cxn>
                <a:cxn ang="0">
                  <a:pos x="connsiteX22000" y="connsiteY22000"/>
                </a:cxn>
                <a:cxn ang="0">
                  <a:pos x="connsiteX22001" y="connsiteY22001"/>
                </a:cxn>
                <a:cxn ang="0">
                  <a:pos x="connsiteX22002" y="connsiteY22002"/>
                </a:cxn>
                <a:cxn ang="0">
                  <a:pos x="connsiteX22003" y="connsiteY22003"/>
                </a:cxn>
                <a:cxn ang="0">
                  <a:pos x="connsiteX22004" y="connsiteY22004"/>
                </a:cxn>
                <a:cxn ang="0">
                  <a:pos x="connsiteX22005" y="connsiteY22005"/>
                </a:cxn>
                <a:cxn ang="0">
                  <a:pos x="connsiteX22006" y="connsiteY22006"/>
                </a:cxn>
                <a:cxn ang="0">
                  <a:pos x="connsiteX22007" y="connsiteY22007"/>
                </a:cxn>
                <a:cxn ang="0">
                  <a:pos x="connsiteX22008" y="connsiteY22008"/>
                </a:cxn>
                <a:cxn ang="0">
                  <a:pos x="connsiteX22009" y="connsiteY22009"/>
                </a:cxn>
                <a:cxn ang="0">
                  <a:pos x="connsiteX22010" y="connsiteY22010"/>
                </a:cxn>
                <a:cxn ang="0">
                  <a:pos x="connsiteX22011" y="connsiteY22011"/>
                </a:cxn>
                <a:cxn ang="0">
                  <a:pos x="connsiteX22012" y="connsiteY22012"/>
                </a:cxn>
                <a:cxn ang="0">
                  <a:pos x="connsiteX22013" y="connsiteY22013"/>
                </a:cxn>
                <a:cxn ang="0">
                  <a:pos x="connsiteX22014" y="connsiteY22014"/>
                </a:cxn>
                <a:cxn ang="0">
                  <a:pos x="connsiteX22015" y="connsiteY22015"/>
                </a:cxn>
                <a:cxn ang="0">
                  <a:pos x="connsiteX22016" y="connsiteY22016"/>
                </a:cxn>
                <a:cxn ang="0">
                  <a:pos x="connsiteX22017" y="connsiteY22017"/>
                </a:cxn>
                <a:cxn ang="0">
                  <a:pos x="connsiteX22018" y="connsiteY22018"/>
                </a:cxn>
                <a:cxn ang="0">
                  <a:pos x="connsiteX22019" y="connsiteY22019"/>
                </a:cxn>
                <a:cxn ang="0">
                  <a:pos x="connsiteX22020" y="connsiteY22020"/>
                </a:cxn>
                <a:cxn ang="0">
                  <a:pos x="connsiteX22021" y="connsiteY22021"/>
                </a:cxn>
                <a:cxn ang="0">
                  <a:pos x="connsiteX22022" y="connsiteY22022"/>
                </a:cxn>
                <a:cxn ang="0">
                  <a:pos x="connsiteX22023" y="connsiteY22023"/>
                </a:cxn>
                <a:cxn ang="0">
                  <a:pos x="connsiteX22024" y="connsiteY22024"/>
                </a:cxn>
                <a:cxn ang="0">
                  <a:pos x="connsiteX22025" y="connsiteY22025"/>
                </a:cxn>
                <a:cxn ang="0">
                  <a:pos x="connsiteX22026" y="connsiteY22026"/>
                </a:cxn>
                <a:cxn ang="0">
                  <a:pos x="connsiteX22027" y="connsiteY22027"/>
                </a:cxn>
                <a:cxn ang="0">
                  <a:pos x="connsiteX22028" y="connsiteY22028"/>
                </a:cxn>
                <a:cxn ang="0">
                  <a:pos x="connsiteX22029" y="connsiteY22029"/>
                </a:cxn>
                <a:cxn ang="0">
                  <a:pos x="connsiteX22030" y="connsiteY22030"/>
                </a:cxn>
                <a:cxn ang="0">
                  <a:pos x="connsiteX22031" y="connsiteY22031"/>
                </a:cxn>
                <a:cxn ang="0">
                  <a:pos x="connsiteX22032" y="connsiteY22032"/>
                </a:cxn>
                <a:cxn ang="0">
                  <a:pos x="connsiteX22033" y="connsiteY22033"/>
                </a:cxn>
                <a:cxn ang="0">
                  <a:pos x="connsiteX22034" y="connsiteY22034"/>
                </a:cxn>
                <a:cxn ang="0">
                  <a:pos x="connsiteX22035" y="connsiteY22035"/>
                </a:cxn>
                <a:cxn ang="0">
                  <a:pos x="connsiteX22036" y="connsiteY22036"/>
                </a:cxn>
                <a:cxn ang="0">
                  <a:pos x="connsiteX22037" y="connsiteY22037"/>
                </a:cxn>
                <a:cxn ang="0">
                  <a:pos x="connsiteX22038" y="connsiteY22038"/>
                </a:cxn>
                <a:cxn ang="0">
                  <a:pos x="connsiteX22039" y="connsiteY22039"/>
                </a:cxn>
                <a:cxn ang="0">
                  <a:pos x="connsiteX22040" y="connsiteY22040"/>
                </a:cxn>
                <a:cxn ang="0">
                  <a:pos x="connsiteX22041" y="connsiteY22041"/>
                </a:cxn>
                <a:cxn ang="0">
                  <a:pos x="connsiteX22042" y="connsiteY22042"/>
                </a:cxn>
                <a:cxn ang="0">
                  <a:pos x="connsiteX22043" y="connsiteY22043"/>
                </a:cxn>
                <a:cxn ang="0">
                  <a:pos x="connsiteX22044" y="connsiteY22044"/>
                </a:cxn>
                <a:cxn ang="0">
                  <a:pos x="connsiteX22045" y="connsiteY22045"/>
                </a:cxn>
                <a:cxn ang="0">
                  <a:pos x="connsiteX22046" y="connsiteY22046"/>
                </a:cxn>
                <a:cxn ang="0">
                  <a:pos x="connsiteX22047" y="connsiteY22047"/>
                </a:cxn>
                <a:cxn ang="0">
                  <a:pos x="connsiteX22048" y="connsiteY22048"/>
                </a:cxn>
                <a:cxn ang="0">
                  <a:pos x="connsiteX22049" y="connsiteY22049"/>
                </a:cxn>
                <a:cxn ang="0">
                  <a:pos x="connsiteX22050" y="connsiteY22050"/>
                </a:cxn>
                <a:cxn ang="0">
                  <a:pos x="connsiteX22051" y="connsiteY22051"/>
                </a:cxn>
                <a:cxn ang="0">
                  <a:pos x="connsiteX22052" y="connsiteY22052"/>
                </a:cxn>
                <a:cxn ang="0">
                  <a:pos x="connsiteX22053" y="connsiteY22053"/>
                </a:cxn>
                <a:cxn ang="0">
                  <a:pos x="connsiteX22054" y="connsiteY22054"/>
                </a:cxn>
                <a:cxn ang="0">
                  <a:pos x="connsiteX22055" y="connsiteY22055"/>
                </a:cxn>
                <a:cxn ang="0">
                  <a:pos x="connsiteX22056" y="connsiteY22056"/>
                </a:cxn>
                <a:cxn ang="0">
                  <a:pos x="connsiteX22057" y="connsiteY22057"/>
                </a:cxn>
                <a:cxn ang="0">
                  <a:pos x="connsiteX22058" y="connsiteY22058"/>
                </a:cxn>
                <a:cxn ang="0">
                  <a:pos x="connsiteX22059" y="connsiteY22059"/>
                </a:cxn>
                <a:cxn ang="0">
                  <a:pos x="connsiteX22060" y="connsiteY22060"/>
                </a:cxn>
                <a:cxn ang="0">
                  <a:pos x="connsiteX22061" y="connsiteY22061"/>
                </a:cxn>
                <a:cxn ang="0">
                  <a:pos x="connsiteX22062" y="connsiteY22062"/>
                </a:cxn>
                <a:cxn ang="0">
                  <a:pos x="connsiteX22063" y="connsiteY22063"/>
                </a:cxn>
                <a:cxn ang="0">
                  <a:pos x="connsiteX22064" y="connsiteY22064"/>
                </a:cxn>
                <a:cxn ang="0">
                  <a:pos x="connsiteX22065" y="connsiteY22065"/>
                </a:cxn>
                <a:cxn ang="0">
                  <a:pos x="connsiteX22066" y="connsiteY22066"/>
                </a:cxn>
                <a:cxn ang="0">
                  <a:pos x="connsiteX22067" y="connsiteY22067"/>
                </a:cxn>
                <a:cxn ang="0">
                  <a:pos x="connsiteX22068" y="connsiteY22068"/>
                </a:cxn>
                <a:cxn ang="0">
                  <a:pos x="connsiteX22069" y="connsiteY22069"/>
                </a:cxn>
                <a:cxn ang="0">
                  <a:pos x="connsiteX22070" y="connsiteY22070"/>
                </a:cxn>
                <a:cxn ang="0">
                  <a:pos x="connsiteX22071" y="connsiteY22071"/>
                </a:cxn>
                <a:cxn ang="0">
                  <a:pos x="connsiteX22072" y="connsiteY22072"/>
                </a:cxn>
                <a:cxn ang="0">
                  <a:pos x="connsiteX22073" y="connsiteY22073"/>
                </a:cxn>
                <a:cxn ang="0">
                  <a:pos x="connsiteX22074" y="connsiteY22074"/>
                </a:cxn>
                <a:cxn ang="0">
                  <a:pos x="connsiteX22075" y="connsiteY22075"/>
                </a:cxn>
                <a:cxn ang="0">
                  <a:pos x="connsiteX22076" y="connsiteY22076"/>
                </a:cxn>
                <a:cxn ang="0">
                  <a:pos x="connsiteX22077" y="connsiteY22077"/>
                </a:cxn>
                <a:cxn ang="0">
                  <a:pos x="connsiteX22078" y="connsiteY22078"/>
                </a:cxn>
                <a:cxn ang="0">
                  <a:pos x="connsiteX22079" y="connsiteY22079"/>
                </a:cxn>
                <a:cxn ang="0">
                  <a:pos x="connsiteX22080" y="connsiteY22080"/>
                </a:cxn>
                <a:cxn ang="0">
                  <a:pos x="connsiteX22081" y="connsiteY22081"/>
                </a:cxn>
                <a:cxn ang="0">
                  <a:pos x="connsiteX22082" y="connsiteY22082"/>
                </a:cxn>
                <a:cxn ang="0">
                  <a:pos x="connsiteX22083" y="connsiteY22083"/>
                </a:cxn>
                <a:cxn ang="0">
                  <a:pos x="connsiteX22084" y="connsiteY22084"/>
                </a:cxn>
                <a:cxn ang="0">
                  <a:pos x="connsiteX22085" y="connsiteY22085"/>
                </a:cxn>
                <a:cxn ang="0">
                  <a:pos x="connsiteX22086" y="connsiteY22086"/>
                </a:cxn>
                <a:cxn ang="0">
                  <a:pos x="connsiteX22087" y="connsiteY22087"/>
                </a:cxn>
                <a:cxn ang="0">
                  <a:pos x="connsiteX22088" y="connsiteY22088"/>
                </a:cxn>
                <a:cxn ang="0">
                  <a:pos x="connsiteX22089" y="connsiteY22089"/>
                </a:cxn>
                <a:cxn ang="0">
                  <a:pos x="connsiteX22090" y="connsiteY22090"/>
                </a:cxn>
                <a:cxn ang="0">
                  <a:pos x="connsiteX22091" y="connsiteY22091"/>
                </a:cxn>
                <a:cxn ang="0">
                  <a:pos x="connsiteX22092" y="connsiteY22092"/>
                </a:cxn>
                <a:cxn ang="0">
                  <a:pos x="connsiteX22093" y="connsiteY22093"/>
                </a:cxn>
                <a:cxn ang="0">
                  <a:pos x="connsiteX22094" y="connsiteY22094"/>
                </a:cxn>
                <a:cxn ang="0">
                  <a:pos x="connsiteX22095" y="connsiteY22095"/>
                </a:cxn>
                <a:cxn ang="0">
                  <a:pos x="connsiteX22096" y="connsiteY22096"/>
                </a:cxn>
                <a:cxn ang="0">
                  <a:pos x="connsiteX22097" y="connsiteY22097"/>
                </a:cxn>
                <a:cxn ang="0">
                  <a:pos x="connsiteX22098" y="connsiteY22098"/>
                </a:cxn>
                <a:cxn ang="0">
                  <a:pos x="connsiteX22099" y="connsiteY22099"/>
                </a:cxn>
                <a:cxn ang="0">
                  <a:pos x="connsiteX22100" y="connsiteY22100"/>
                </a:cxn>
                <a:cxn ang="0">
                  <a:pos x="connsiteX22101" y="connsiteY22101"/>
                </a:cxn>
                <a:cxn ang="0">
                  <a:pos x="connsiteX22102" y="connsiteY22102"/>
                </a:cxn>
                <a:cxn ang="0">
                  <a:pos x="connsiteX22103" y="connsiteY22103"/>
                </a:cxn>
                <a:cxn ang="0">
                  <a:pos x="connsiteX22104" y="connsiteY22104"/>
                </a:cxn>
                <a:cxn ang="0">
                  <a:pos x="connsiteX22105" y="connsiteY22105"/>
                </a:cxn>
                <a:cxn ang="0">
                  <a:pos x="connsiteX22106" y="connsiteY22106"/>
                </a:cxn>
                <a:cxn ang="0">
                  <a:pos x="connsiteX22107" y="connsiteY22107"/>
                </a:cxn>
                <a:cxn ang="0">
                  <a:pos x="connsiteX22108" y="connsiteY22108"/>
                </a:cxn>
                <a:cxn ang="0">
                  <a:pos x="connsiteX22109" y="connsiteY22109"/>
                </a:cxn>
                <a:cxn ang="0">
                  <a:pos x="connsiteX22110" y="connsiteY22110"/>
                </a:cxn>
                <a:cxn ang="0">
                  <a:pos x="connsiteX22111" y="connsiteY22111"/>
                </a:cxn>
                <a:cxn ang="0">
                  <a:pos x="connsiteX22112" y="connsiteY22112"/>
                </a:cxn>
                <a:cxn ang="0">
                  <a:pos x="connsiteX22113" y="connsiteY22113"/>
                </a:cxn>
                <a:cxn ang="0">
                  <a:pos x="connsiteX22114" y="connsiteY22114"/>
                </a:cxn>
                <a:cxn ang="0">
                  <a:pos x="connsiteX22115" y="connsiteY22115"/>
                </a:cxn>
                <a:cxn ang="0">
                  <a:pos x="connsiteX22116" y="connsiteY22116"/>
                </a:cxn>
                <a:cxn ang="0">
                  <a:pos x="connsiteX22117" y="connsiteY22117"/>
                </a:cxn>
                <a:cxn ang="0">
                  <a:pos x="connsiteX22118" y="connsiteY22118"/>
                </a:cxn>
                <a:cxn ang="0">
                  <a:pos x="connsiteX22119" y="connsiteY22119"/>
                </a:cxn>
                <a:cxn ang="0">
                  <a:pos x="connsiteX22120" y="connsiteY22120"/>
                </a:cxn>
                <a:cxn ang="0">
                  <a:pos x="connsiteX22121" y="connsiteY22121"/>
                </a:cxn>
                <a:cxn ang="0">
                  <a:pos x="connsiteX22122" y="connsiteY22122"/>
                </a:cxn>
                <a:cxn ang="0">
                  <a:pos x="connsiteX22123" y="connsiteY22123"/>
                </a:cxn>
                <a:cxn ang="0">
                  <a:pos x="connsiteX22124" y="connsiteY22124"/>
                </a:cxn>
                <a:cxn ang="0">
                  <a:pos x="connsiteX22125" y="connsiteY22125"/>
                </a:cxn>
                <a:cxn ang="0">
                  <a:pos x="connsiteX22126" y="connsiteY22126"/>
                </a:cxn>
                <a:cxn ang="0">
                  <a:pos x="connsiteX22127" y="connsiteY22127"/>
                </a:cxn>
                <a:cxn ang="0">
                  <a:pos x="connsiteX22128" y="connsiteY22128"/>
                </a:cxn>
                <a:cxn ang="0">
                  <a:pos x="connsiteX22129" y="connsiteY22129"/>
                </a:cxn>
                <a:cxn ang="0">
                  <a:pos x="connsiteX22130" y="connsiteY22130"/>
                </a:cxn>
                <a:cxn ang="0">
                  <a:pos x="connsiteX22131" y="connsiteY22131"/>
                </a:cxn>
                <a:cxn ang="0">
                  <a:pos x="connsiteX22132" y="connsiteY22132"/>
                </a:cxn>
                <a:cxn ang="0">
                  <a:pos x="connsiteX22133" y="connsiteY22133"/>
                </a:cxn>
                <a:cxn ang="0">
                  <a:pos x="connsiteX22134" y="connsiteY22134"/>
                </a:cxn>
                <a:cxn ang="0">
                  <a:pos x="connsiteX22135" y="connsiteY22135"/>
                </a:cxn>
                <a:cxn ang="0">
                  <a:pos x="connsiteX22136" y="connsiteY22136"/>
                </a:cxn>
                <a:cxn ang="0">
                  <a:pos x="connsiteX22137" y="connsiteY22137"/>
                </a:cxn>
                <a:cxn ang="0">
                  <a:pos x="connsiteX22138" y="connsiteY22138"/>
                </a:cxn>
                <a:cxn ang="0">
                  <a:pos x="connsiteX22139" y="connsiteY22139"/>
                </a:cxn>
                <a:cxn ang="0">
                  <a:pos x="connsiteX22140" y="connsiteY22140"/>
                </a:cxn>
                <a:cxn ang="0">
                  <a:pos x="connsiteX22141" y="connsiteY22141"/>
                </a:cxn>
                <a:cxn ang="0">
                  <a:pos x="connsiteX22142" y="connsiteY22142"/>
                </a:cxn>
                <a:cxn ang="0">
                  <a:pos x="connsiteX22143" y="connsiteY22143"/>
                </a:cxn>
                <a:cxn ang="0">
                  <a:pos x="connsiteX22144" y="connsiteY22144"/>
                </a:cxn>
                <a:cxn ang="0">
                  <a:pos x="connsiteX22145" y="connsiteY22145"/>
                </a:cxn>
                <a:cxn ang="0">
                  <a:pos x="connsiteX22146" y="connsiteY22146"/>
                </a:cxn>
                <a:cxn ang="0">
                  <a:pos x="connsiteX22147" y="connsiteY22147"/>
                </a:cxn>
                <a:cxn ang="0">
                  <a:pos x="connsiteX22148" y="connsiteY22148"/>
                </a:cxn>
                <a:cxn ang="0">
                  <a:pos x="connsiteX22149" y="connsiteY22149"/>
                </a:cxn>
                <a:cxn ang="0">
                  <a:pos x="connsiteX22150" y="connsiteY22150"/>
                </a:cxn>
                <a:cxn ang="0">
                  <a:pos x="connsiteX22151" y="connsiteY22151"/>
                </a:cxn>
                <a:cxn ang="0">
                  <a:pos x="connsiteX22152" y="connsiteY22152"/>
                </a:cxn>
                <a:cxn ang="0">
                  <a:pos x="connsiteX22153" y="connsiteY22153"/>
                </a:cxn>
                <a:cxn ang="0">
                  <a:pos x="connsiteX22154" y="connsiteY22154"/>
                </a:cxn>
                <a:cxn ang="0">
                  <a:pos x="connsiteX22155" y="connsiteY22155"/>
                </a:cxn>
                <a:cxn ang="0">
                  <a:pos x="connsiteX22156" y="connsiteY22156"/>
                </a:cxn>
                <a:cxn ang="0">
                  <a:pos x="connsiteX22157" y="connsiteY22157"/>
                </a:cxn>
                <a:cxn ang="0">
                  <a:pos x="connsiteX22158" y="connsiteY22158"/>
                </a:cxn>
                <a:cxn ang="0">
                  <a:pos x="connsiteX22159" y="connsiteY22159"/>
                </a:cxn>
                <a:cxn ang="0">
                  <a:pos x="connsiteX22160" y="connsiteY22160"/>
                </a:cxn>
                <a:cxn ang="0">
                  <a:pos x="connsiteX22161" y="connsiteY22161"/>
                </a:cxn>
                <a:cxn ang="0">
                  <a:pos x="connsiteX22162" y="connsiteY22162"/>
                </a:cxn>
                <a:cxn ang="0">
                  <a:pos x="connsiteX22163" y="connsiteY22163"/>
                </a:cxn>
                <a:cxn ang="0">
                  <a:pos x="connsiteX22164" y="connsiteY22164"/>
                </a:cxn>
                <a:cxn ang="0">
                  <a:pos x="connsiteX22165" y="connsiteY22165"/>
                </a:cxn>
                <a:cxn ang="0">
                  <a:pos x="connsiteX22166" y="connsiteY22166"/>
                </a:cxn>
                <a:cxn ang="0">
                  <a:pos x="connsiteX22167" y="connsiteY22167"/>
                </a:cxn>
                <a:cxn ang="0">
                  <a:pos x="connsiteX22168" y="connsiteY22168"/>
                </a:cxn>
                <a:cxn ang="0">
                  <a:pos x="connsiteX22169" y="connsiteY22169"/>
                </a:cxn>
                <a:cxn ang="0">
                  <a:pos x="connsiteX22170" y="connsiteY22170"/>
                </a:cxn>
                <a:cxn ang="0">
                  <a:pos x="connsiteX22171" y="connsiteY22171"/>
                </a:cxn>
                <a:cxn ang="0">
                  <a:pos x="connsiteX22172" y="connsiteY22172"/>
                </a:cxn>
                <a:cxn ang="0">
                  <a:pos x="connsiteX22173" y="connsiteY22173"/>
                </a:cxn>
                <a:cxn ang="0">
                  <a:pos x="connsiteX22174" y="connsiteY22174"/>
                </a:cxn>
                <a:cxn ang="0">
                  <a:pos x="connsiteX22175" y="connsiteY22175"/>
                </a:cxn>
                <a:cxn ang="0">
                  <a:pos x="connsiteX22176" y="connsiteY22176"/>
                </a:cxn>
                <a:cxn ang="0">
                  <a:pos x="connsiteX22177" y="connsiteY22177"/>
                </a:cxn>
                <a:cxn ang="0">
                  <a:pos x="connsiteX22178" y="connsiteY22178"/>
                </a:cxn>
                <a:cxn ang="0">
                  <a:pos x="connsiteX22179" y="connsiteY22179"/>
                </a:cxn>
                <a:cxn ang="0">
                  <a:pos x="connsiteX22180" y="connsiteY22180"/>
                </a:cxn>
                <a:cxn ang="0">
                  <a:pos x="connsiteX22181" y="connsiteY22181"/>
                </a:cxn>
                <a:cxn ang="0">
                  <a:pos x="connsiteX22182" y="connsiteY22182"/>
                </a:cxn>
                <a:cxn ang="0">
                  <a:pos x="connsiteX22183" y="connsiteY22183"/>
                </a:cxn>
                <a:cxn ang="0">
                  <a:pos x="connsiteX22184" y="connsiteY22184"/>
                </a:cxn>
                <a:cxn ang="0">
                  <a:pos x="connsiteX22185" y="connsiteY22185"/>
                </a:cxn>
                <a:cxn ang="0">
                  <a:pos x="connsiteX22186" y="connsiteY22186"/>
                </a:cxn>
                <a:cxn ang="0">
                  <a:pos x="connsiteX22187" y="connsiteY22187"/>
                </a:cxn>
                <a:cxn ang="0">
                  <a:pos x="connsiteX22188" y="connsiteY22188"/>
                </a:cxn>
                <a:cxn ang="0">
                  <a:pos x="connsiteX22189" y="connsiteY22189"/>
                </a:cxn>
                <a:cxn ang="0">
                  <a:pos x="connsiteX22190" y="connsiteY22190"/>
                </a:cxn>
                <a:cxn ang="0">
                  <a:pos x="connsiteX22191" y="connsiteY22191"/>
                </a:cxn>
                <a:cxn ang="0">
                  <a:pos x="connsiteX22192" y="connsiteY22192"/>
                </a:cxn>
                <a:cxn ang="0">
                  <a:pos x="connsiteX22193" y="connsiteY22193"/>
                </a:cxn>
                <a:cxn ang="0">
                  <a:pos x="connsiteX22194" y="connsiteY22194"/>
                </a:cxn>
                <a:cxn ang="0">
                  <a:pos x="connsiteX22195" y="connsiteY22195"/>
                </a:cxn>
                <a:cxn ang="0">
                  <a:pos x="connsiteX22196" y="connsiteY22196"/>
                </a:cxn>
                <a:cxn ang="0">
                  <a:pos x="connsiteX22197" y="connsiteY22197"/>
                </a:cxn>
                <a:cxn ang="0">
                  <a:pos x="connsiteX22198" y="connsiteY22198"/>
                </a:cxn>
                <a:cxn ang="0">
                  <a:pos x="connsiteX22199" y="connsiteY22199"/>
                </a:cxn>
                <a:cxn ang="0">
                  <a:pos x="connsiteX22200" y="connsiteY22200"/>
                </a:cxn>
                <a:cxn ang="0">
                  <a:pos x="connsiteX22201" y="connsiteY22201"/>
                </a:cxn>
                <a:cxn ang="0">
                  <a:pos x="connsiteX22202" y="connsiteY22202"/>
                </a:cxn>
                <a:cxn ang="0">
                  <a:pos x="connsiteX22203" y="connsiteY22203"/>
                </a:cxn>
                <a:cxn ang="0">
                  <a:pos x="connsiteX22204" y="connsiteY22204"/>
                </a:cxn>
                <a:cxn ang="0">
                  <a:pos x="connsiteX22205" y="connsiteY22205"/>
                </a:cxn>
                <a:cxn ang="0">
                  <a:pos x="connsiteX22206" y="connsiteY22206"/>
                </a:cxn>
                <a:cxn ang="0">
                  <a:pos x="connsiteX22207" y="connsiteY22207"/>
                </a:cxn>
                <a:cxn ang="0">
                  <a:pos x="connsiteX22208" y="connsiteY22208"/>
                </a:cxn>
                <a:cxn ang="0">
                  <a:pos x="connsiteX22209" y="connsiteY22209"/>
                </a:cxn>
                <a:cxn ang="0">
                  <a:pos x="connsiteX22210" y="connsiteY22210"/>
                </a:cxn>
                <a:cxn ang="0">
                  <a:pos x="connsiteX22211" y="connsiteY22211"/>
                </a:cxn>
                <a:cxn ang="0">
                  <a:pos x="connsiteX22212" y="connsiteY22212"/>
                </a:cxn>
                <a:cxn ang="0">
                  <a:pos x="connsiteX22213" y="connsiteY22213"/>
                </a:cxn>
                <a:cxn ang="0">
                  <a:pos x="connsiteX22214" y="connsiteY22214"/>
                </a:cxn>
                <a:cxn ang="0">
                  <a:pos x="connsiteX22215" y="connsiteY22215"/>
                </a:cxn>
                <a:cxn ang="0">
                  <a:pos x="connsiteX22216" y="connsiteY22216"/>
                </a:cxn>
                <a:cxn ang="0">
                  <a:pos x="connsiteX22217" y="connsiteY22217"/>
                </a:cxn>
                <a:cxn ang="0">
                  <a:pos x="connsiteX22218" y="connsiteY22218"/>
                </a:cxn>
                <a:cxn ang="0">
                  <a:pos x="connsiteX22219" y="connsiteY22219"/>
                </a:cxn>
                <a:cxn ang="0">
                  <a:pos x="connsiteX22220" y="connsiteY22220"/>
                </a:cxn>
                <a:cxn ang="0">
                  <a:pos x="connsiteX22221" y="connsiteY22221"/>
                </a:cxn>
                <a:cxn ang="0">
                  <a:pos x="connsiteX22222" y="connsiteY22222"/>
                </a:cxn>
                <a:cxn ang="0">
                  <a:pos x="connsiteX22223" y="connsiteY22223"/>
                </a:cxn>
                <a:cxn ang="0">
                  <a:pos x="connsiteX22224" y="connsiteY22224"/>
                </a:cxn>
                <a:cxn ang="0">
                  <a:pos x="connsiteX22225" y="connsiteY22225"/>
                </a:cxn>
                <a:cxn ang="0">
                  <a:pos x="connsiteX22226" y="connsiteY22226"/>
                </a:cxn>
                <a:cxn ang="0">
                  <a:pos x="connsiteX22227" y="connsiteY22227"/>
                </a:cxn>
                <a:cxn ang="0">
                  <a:pos x="connsiteX22228" y="connsiteY22228"/>
                </a:cxn>
                <a:cxn ang="0">
                  <a:pos x="connsiteX22229" y="connsiteY22229"/>
                </a:cxn>
                <a:cxn ang="0">
                  <a:pos x="connsiteX22230" y="connsiteY22230"/>
                </a:cxn>
                <a:cxn ang="0">
                  <a:pos x="connsiteX22231" y="connsiteY22231"/>
                </a:cxn>
                <a:cxn ang="0">
                  <a:pos x="connsiteX22232" y="connsiteY22232"/>
                </a:cxn>
                <a:cxn ang="0">
                  <a:pos x="connsiteX22233" y="connsiteY22233"/>
                </a:cxn>
                <a:cxn ang="0">
                  <a:pos x="connsiteX22234" y="connsiteY22234"/>
                </a:cxn>
                <a:cxn ang="0">
                  <a:pos x="connsiteX22235" y="connsiteY22235"/>
                </a:cxn>
                <a:cxn ang="0">
                  <a:pos x="connsiteX22236" y="connsiteY22236"/>
                </a:cxn>
                <a:cxn ang="0">
                  <a:pos x="connsiteX22237" y="connsiteY22237"/>
                </a:cxn>
                <a:cxn ang="0">
                  <a:pos x="connsiteX22238" y="connsiteY22238"/>
                </a:cxn>
                <a:cxn ang="0">
                  <a:pos x="connsiteX22239" y="connsiteY22239"/>
                </a:cxn>
                <a:cxn ang="0">
                  <a:pos x="connsiteX22240" y="connsiteY22240"/>
                </a:cxn>
                <a:cxn ang="0">
                  <a:pos x="connsiteX22241" y="connsiteY22241"/>
                </a:cxn>
                <a:cxn ang="0">
                  <a:pos x="connsiteX22242" y="connsiteY22242"/>
                </a:cxn>
                <a:cxn ang="0">
                  <a:pos x="connsiteX22243" y="connsiteY22243"/>
                </a:cxn>
                <a:cxn ang="0">
                  <a:pos x="connsiteX22244" y="connsiteY22244"/>
                </a:cxn>
                <a:cxn ang="0">
                  <a:pos x="connsiteX22245" y="connsiteY22245"/>
                </a:cxn>
                <a:cxn ang="0">
                  <a:pos x="connsiteX22246" y="connsiteY22246"/>
                </a:cxn>
                <a:cxn ang="0">
                  <a:pos x="connsiteX22247" y="connsiteY22247"/>
                </a:cxn>
                <a:cxn ang="0">
                  <a:pos x="connsiteX22248" y="connsiteY22248"/>
                </a:cxn>
                <a:cxn ang="0">
                  <a:pos x="connsiteX22249" y="connsiteY22249"/>
                </a:cxn>
                <a:cxn ang="0">
                  <a:pos x="connsiteX22250" y="connsiteY22250"/>
                </a:cxn>
                <a:cxn ang="0">
                  <a:pos x="connsiteX22251" y="connsiteY22251"/>
                </a:cxn>
                <a:cxn ang="0">
                  <a:pos x="connsiteX22252" y="connsiteY22252"/>
                </a:cxn>
                <a:cxn ang="0">
                  <a:pos x="connsiteX22253" y="connsiteY22253"/>
                </a:cxn>
                <a:cxn ang="0">
                  <a:pos x="connsiteX22254" y="connsiteY22254"/>
                </a:cxn>
                <a:cxn ang="0">
                  <a:pos x="connsiteX22255" y="connsiteY22255"/>
                </a:cxn>
                <a:cxn ang="0">
                  <a:pos x="connsiteX22256" y="connsiteY22256"/>
                </a:cxn>
                <a:cxn ang="0">
                  <a:pos x="connsiteX22257" y="connsiteY22257"/>
                </a:cxn>
                <a:cxn ang="0">
                  <a:pos x="connsiteX22258" y="connsiteY22258"/>
                </a:cxn>
                <a:cxn ang="0">
                  <a:pos x="connsiteX22259" y="connsiteY22259"/>
                </a:cxn>
                <a:cxn ang="0">
                  <a:pos x="connsiteX22260" y="connsiteY22260"/>
                </a:cxn>
                <a:cxn ang="0">
                  <a:pos x="connsiteX22261" y="connsiteY22261"/>
                </a:cxn>
                <a:cxn ang="0">
                  <a:pos x="connsiteX22262" y="connsiteY22262"/>
                </a:cxn>
                <a:cxn ang="0">
                  <a:pos x="connsiteX22263" y="connsiteY22263"/>
                </a:cxn>
                <a:cxn ang="0">
                  <a:pos x="connsiteX22264" y="connsiteY22264"/>
                </a:cxn>
                <a:cxn ang="0">
                  <a:pos x="connsiteX22265" y="connsiteY22265"/>
                </a:cxn>
                <a:cxn ang="0">
                  <a:pos x="connsiteX22266" y="connsiteY22266"/>
                </a:cxn>
                <a:cxn ang="0">
                  <a:pos x="connsiteX22267" y="connsiteY22267"/>
                </a:cxn>
                <a:cxn ang="0">
                  <a:pos x="connsiteX22268" y="connsiteY22268"/>
                </a:cxn>
                <a:cxn ang="0">
                  <a:pos x="connsiteX22269" y="connsiteY22269"/>
                </a:cxn>
                <a:cxn ang="0">
                  <a:pos x="connsiteX22270" y="connsiteY22270"/>
                </a:cxn>
                <a:cxn ang="0">
                  <a:pos x="connsiteX22271" y="connsiteY22271"/>
                </a:cxn>
                <a:cxn ang="0">
                  <a:pos x="connsiteX22272" y="connsiteY22272"/>
                </a:cxn>
                <a:cxn ang="0">
                  <a:pos x="connsiteX22273" y="connsiteY22273"/>
                </a:cxn>
                <a:cxn ang="0">
                  <a:pos x="connsiteX22274" y="connsiteY22274"/>
                </a:cxn>
                <a:cxn ang="0">
                  <a:pos x="connsiteX22275" y="connsiteY22275"/>
                </a:cxn>
                <a:cxn ang="0">
                  <a:pos x="connsiteX22276" y="connsiteY22276"/>
                </a:cxn>
                <a:cxn ang="0">
                  <a:pos x="connsiteX22277" y="connsiteY22277"/>
                </a:cxn>
                <a:cxn ang="0">
                  <a:pos x="connsiteX22278" y="connsiteY22278"/>
                </a:cxn>
                <a:cxn ang="0">
                  <a:pos x="connsiteX22279" y="connsiteY22279"/>
                </a:cxn>
                <a:cxn ang="0">
                  <a:pos x="connsiteX22280" y="connsiteY22280"/>
                </a:cxn>
                <a:cxn ang="0">
                  <a:pos x="connsiteX22281" y="connsiteY22281"/>
                </a:cxn>
                <a:cxn ang="0">
                  <a:pos x="connsiteX22282" y="connsiteY22282"/>
                </a:cxn>
                <a:cxn ang="0">
                  <a:pos x="connsiteX22283" y="connsiteY22283"/>
                </a:cxn>
                <a:cxn ang="0">
                  <a:pos x="connsiteX22284" y="connsiteY22284"/>
                </a:cxn>
                <a:cxn ang="0">
                  <a:pos x="connsiteX22285" y="connsiteY22285"/>
                </a:cxn>
                <a:cxn ang="0">
                  <a:pos x="connsiteX22286" y="connsiteY22286"/>
                </a:cxn>
                <a:cxn ang="0">
                  <a:pos x="connsiteX22287" y="connsiteY22287"/>
                </a:cxn>
                <a:cxn ang="0">
                  <a:pos x="connsiteX22288" y="connsiteY22288"/>
                </a:cxn>
                <a:cxn ang="0">
                  <a:pos x="connsiteX22289" y="connsiteY22289"/>
                </a:cxn>
                <a:cxn ang="0">
                  <a:pos x="connsiteX22290" y="connsiteY22290"/>
                </a:cxn>
                <a:cxn ang="0">
                  <a:pos x="connsiteX22291" y="connsiteY22291"/>
                </a:cxn>
                <a:cxn ang="0">
                  <a:pos x="connsiteX22292" y="connsiteY22292"/>
                </a:cxn>
                <a:cxn ang="0">
                  <a:pos x="connsiteX22293" y="connsiteY22293"/>
                </a:cxn>
                <a:cxn ang="0">
                  <a:pos x="connsiteX22294" y="connsiteY22294"/>
                </a:cxn>
                <a:cxn ang="0">
                  <a:pos x="connsiteX22295" y="connsiteY22295"/>
                </a:cxn>
                <a:cxn ang="0">
                  <a:pos x="connsiteX22296" y="connsiteY22296"/>
                </a:cxn>
                <a:cxn ang="0">
                  <a:pos x="connsiteX22297" y="connsiteY22297"/>
                </a:cxn>
                <a:cxn ang="0">
                  <a:pos x="connsiteX22298" y="connsiteY22298"/>
                </a:cxn>
                <a:cxn ang="0">
                  <a:pos x="connsiteX22299" y="connsiteY22299"/>
                </a:cxn>
                <a:cxn ang="0">
                  <a:pos x="connsiteX22300" y="connsiteY22300"/>
                </a:cxn>
                <a:cxn ang="0">
                  <a:pos x="connsiteX22301" y="connsiteY22301"/>
                </a:cxn>
                <a:cxn ang="0">
                  <a:pos x="connsiteX22302" y="connsiteY22302"/>
                </a:cxn>
                <a:cxn ang="0">
                  <a:pos x="connsiteX22303" y="connsiteY22303"/>
                </a:cxn>
                <a:cxn ang="0">
                  <a:pos x="connsiteX22304" y="connsiteY22304"/>
                </a:cxn>
                <a:cxn ang="0">
                  <a:pos x="connsiteX22305" y="connsiteY22305"/>
                </a:cxn>
                <a:cxn ang="0">
                  <a:pos x="connsiteX22306" y="connsiteY22306"/>
                </a:cxn>
                <a:cxn ang="0">
                  <a:pos x="connsiteX22307" y="connsiteY22307"/>
                </a:cxn>
                <a:cxn ang="0">
                  <a:pos x="connsiteX22308" y="connsiteY22308"/>
                </a:cxn>
                <a:cxn ang="0">
                  <a:pos x="connsiteX22309" y="connsiteY22309"/>
                </a:cxn>
                <a:cxn ang="0">
                  <a:pos x="connsiteX22310" y="connsiteY22310"/>
                </a:cxn>
                <a:cxn ang="0">
                  <a:pos x="connsiteX22311" y="connsiteY22311"/>
                </a:cxn>
                <a:cxn ang="0">
                  <a:pos x="connsiteX22312" y="connsiteY22312"/>
                </a:cxn>
                <a:cxn ang="0">
                  <a:pos x="connsiteX22313" y="connsiteY22313"/>
                </a:cxn>
                <a:cxn ang="0">
                  <a:pos x="connsiteX22314" y="connsiteY22314"/>
                </a:cxn>
                <a:cxn ang="0">
                  <a:pos x="connsiteX22315" y="connsiteY22315"/>
                </a:cxn>
                <a:cxn ang="0">
                  <a:pos x="connsiteX22316" y="connsiteY22316"/>
                </a:cxn>
                <a:cxn ang="0">
                  <a:pos x="connsiteX22317" y="connsiteY22317"/>
                </a:cxn>
                <a:cxn ang="0">
                  <a:pos x="connsiteX22318" y="connsiteY22318"/>
                </a:cxn>
                <a:cxn ang="0">
                  <a:pos x="connsiteX22319" y="connsiteY22319"/>
                </a:cxn>
                <a:cxn ang="0">
                  <a:pos x="connsiteX22320" y="connsiteY22320"/>
                </a:cxn>
                <a:cxn ang="0">
                  <a:pos x="connsiteX22321" y="connsiteY22321"/>
                </a:cxn>
                <a:cxn ang="0">
                  <a:pos x="connsiteX22322" y="connsiteY22322"/>
                </a:cxn>
                <a:cxn ang="0">
                  <a:pos x="connsiteX22323" y="connsiteY22323"/>
                </a:cxn>
                <a:cxn ang="0">
                  <a:pos x="connsiteX22324" y="connsiteY22324"/>
                </a:cxn>
                <a:cxn ang="0">
                  <a:pos x="connsiteX22325" y="connsiteY22325"/>
                </a:cxn>
                <a:cxn ang="0">
                  <a:pos x="connsiteX22326" y="connsiteY22326"/>
                </a:cxn>
                <a:cxn ang="0">
                  <a:pos x="connsiteX22327" y="connsiteY22327"/>
                </a:cxn>
                <a:cxn ang="0">
                  <a:pos x="connsiteX22328" y="connsiteY22328"/>
                </a:cxn>
                <a:cxn ang="0">
                  <a:pos x="connsiteX22329" y="connsiteY22329"/>
                </a:cxn>
                <a:cxn ang="0">
                  <a:pos x="connsiteX22330" y="connsiteY22330"/>
                </a:cxn>
                <a:cxn ang="0">
                  <a:pos x="connsiteX22331" y="connsiteY22331"/>
                </a:cxn>
                <a:cxn ang="0">
                  <a:pos x="connsiteX22332" y="connsiteY22332"/>
                </a:cxn>
                <a:cxn ang="0">
                  <a:pos x="connsiteX22333" y="connsiteY22333"/>
                </a:cxn>
                <a:cxn ang="0">
                  <a:pos x="connsiteX22334" y="connsiteY22334"/>
                </a:cxn>
                <a:cxn ang="0">
                  <a:pos x="connsiteX22335" y="connsiteY22335"/>
                </a:cxn>
                <a:cxn ang="0">
                  <a:pos x="connsiteX22336" y="connsiteY22336"/>
                </a:cxn>
                <a:cxn ang="0">
                  <a:pos x="connsiteX22337" y="connsiteY22337"/>
                </a:cxn>
                <a:cxn ang="0">
                  <a:pos x="connsiteX22338" y="connsiteY22338"/>
                </a:cxn>
                <a:cxn ang="0">
                  <a:pos x="connsiteX22339" y="connsiteY22339"/>
                </a:cxn>
                <a:cxn ang="0">
                  <a:pos x="connsiteX22340" y="connsiteY22340"/>
                </a:cxn>
                <a:cxn ang="0">
                  <a:pos x="connsiteX22341" y="connsiteY22341"/>
                </a:cxn>
                <a:cxn ang="0">
                  <a:pos x="connsiteX22342" y="connsiteY22342"/>
                </a:cxn>
                <a:cxn ang="0">
                  <a:pos x="connsiteX22343" y="connsiteY22343"/>
                </a:cxn>
                <a:cxn ang="0">
                  <a:pos x="connsiteX22344" y="connsiteY22344"/>
                </a:cxn>
                <a:cxn ang="0">
                  <a:pos x="connsiteX22345" y="connsiteY22345"/>
                </a:cxn>
                <a:cxn ang="0">
                  <a:pos x="connsiteX22346" y="connsiteY22346"/>
                </a:cxn>
                <a:cxn ang="0">
                  <a:pos x="connsiteX22347" y="connsiteY22347"/>
                </a:cxn>
                <a:cxn ang="0">
                  <a:pos x="connsiteX22348" y="connsiteY22348"/>
                </a:cxn>
                <a:cxn ang="0">
                  <a:pos x="connsiteX22349" y="connsiteY22349"/>
                </a:cxn>
                <a:cxn ang="0">
                  <a:pos x="connsiteX22350" y="connsiteY22350"/>
                </a:cxn>
                <a:cxn ang="0">
                  <a:pos x="connsiteX22351" y="connsiteY22351"/>
                </a:cxn>
                <a:cxn ang="0">
                  <a:pos x="connsiteX22352" y="connsiteY22352"/>
                </a:cxn>
                <a:cxn ang="0">
                  <a:pos x="connsiteX22353" y="connsiteY22353"/>
                </a:cxn>
                <a:cxn ang="0">
                  <a:pos x="connsiteX22354" y="connsiteY22354"/>
                </a:cxn>
                <a:cxn ang="0">
                  <a:pos x="connsiteX22355" y="connsiteY22355"/>
                </a:cxn>
                <a:cxn ang="0">
                  <a:pos x="connsiteX22356" y="connsiteY22356"/>
                </a:cxn>
                <a:cxn ang="0">
                  <a:pos x="connsiteX22357" y="connsiteY22357"/>
                </a:cxn>
                <a:cxn ang="0">
                  <a:pos x="connsiteX22358" y="connsiteY22358"/>
                </a:cxn>
                <a:cxn ang="0">
                  <a:pos x="connsiteX22359" y="connsiteY22359"/>
                </a:cxn>
                <a:cxn ang="0">
                  <a:pos x="connsiteX22360" y="connsiteY22360"/>
                </a:cxn>
                <a:cxn ang="0">
                  <a:pos x="connsiteX22361" y="connsiteY22361"/>
                </a:cxn>
                <a:cxn ang="0">
                  <a:pos x="connsiteX22362" y="connsiteY22362"/>
                </a:cxn>
                <a:cxn ang="0">
                  <a:pos x="connsiteX22363" y="connsiteY22363"/>
                </a:cxn>
                <a:cxn ang="0">
                  <a:pos x="connsiteX22364" y="connsiteY22364"/>
                </a:cxn>
                <a:cxn ang="0">
                  <a:pos x="connsiteX22365" y="connsiteY22365"/>
                </a:cxn>
                <a:cxn ang="0">
                  <a:pos x="connsiteX22366" y="connsiteY22366"/>
                </a:cxn>
                <a:cxn ang="0">
                  <a:pos x="connsiteX22367" y="connsiteY22367"/>
                </a:cxn>
                <a:cxn ang="0">
                  <a:pos x="connsiteX22368" y="connsiteY22368"/>
                </a:cxn>
                <a:cxn ang="0">
                  <a:pos x="connsiteX22369" y="connsiteY22369"/>
                </a:cxn>
                <a:cxn ang="0">
                  <a:pos x="connsiteX22370" y="connsiteY22370"/>
                </a:cxn>
                <a:cxn ang="0">
                  <a:pos x="connsiteX22371" y="connsiteY22371"/>
                </a:cxn>
                <a:cxn ang="0">
                  <a:pos x="connsiteX22372" y="connsiteY22372"/>
                </a:cxn>
                <a:cxn ang="0">
                  <a:pos x="connsiteX22373" y="connsiteY22373"/>
                </a:cxn>
                <a:cxn ang="0">
                  <a:pos x="connsiteX22374" y="connsiteY22374"/>
                </a:cxn>
                <a:cxn ang="0">
                  <a:pos x="connsiteX22375" y="connsiteY22375"/>
                </a:cxn>
                <a:cxn ang="0">
                  <a:pos x="connsiteX22376" y="connsiteY22376"/>
                </a:cxn>
                <a:cxn ang="0">
                  <a:pos x="connsiteX22377" y="connsiteY22377"/>
                </a:cxn>
                <a:cxn ang="0">
                  <a:pos x="connsiteX22378" y="connsiteY22378"/>
                </a:cxn>
                <a:cxn ang="0">
                  <a:pos x="connsiteX22379" y="connsiteY22379"/>
                </a:cxn>
                <a:cxn ang="0">
                  <a:pos x="connsiteX22380" y="connsiteY22380"/>
                </a:cxn>
                <a:cxn ang="0">
                  <a:pos x="connsiteX22381" y="connsiteY22381"/>
                </a:cxn>
                <a:cxn ang="0">
                  <a:pos x="connsiteX22382" y="connsiteY22382"/>
                </a:cxn>
                <a:cxn ang="0">
                  <a:pos x="connsiteX22383" y="connsiteY22383"/>
                </a:cxn>
                <a:cxn ang="0">
                  <a:pos x="connsiteX22384" y="connsiteY22384"/>
                </a:cxn>
                <a:cxn ang="0">
                  <a:pos x="connsiteX22385" y="connsiteY22385"/>
                </a:cxn>
                <a:cxn ang="0">
                  <a:pos x="connsiteX22386" y="connsiteY22386"/>
                </a:cxn>
                <a:cxn ang="0">
                  <a:pos x="connsiteX22387" y="connsiteY22387"/>
                </a:cxn>
                <a:cxn ang="0">
                  <a:pos x="connsiteX22388" y="connsiteY22388"/>
                </a:cxn>
                <a:cxn ang="0">
                  <a:pos x="connsiteX22389" y="connsiteY22389"/>
                </a:cxn>
                <a:cxn ang="0">
                  <a:pos x="connsiteX22390" y="connsiteY22390"/>
                </a:cxn>
                <a:cxn ang="0">
                  <a:pos x="connsiteX22391" y="connsiteY22391"/>
                </a:cxn>
                <a:cxn ang="0">
                  <a:pos x="connsiteX22392" y="connsiteY22392"/>
                </a:cxn>
                <a:cxn ang="0">
                  <a:pos x="connsiteX22393" y="connsiteY22393"/>
                </a:cxn>
                <a:cxn ang="0">
                  <a:pos x="connsiteX22394" y="connsiteY22394"/>
                </a:cxn>
                <a:cxn ang="0">
                  <a:pos x="connsiteX22395" y="connsiteY22395"/>
                </a:cxn>
                <a:cxn ang="0">
                  <a:pos x="connsiteX22396" y="connsiteY22396"/>
                </a:cxn>
                <a:cxn ang="0">
                  <a:pos x="connsiteX22397" y="connsiteY22397"/>
                </a:cxn>
                <a:cxn ang="0">
                  <a:pos x="connsiteX22398" y="connsiteY22398"/>
                </a:cxn>
                <a:cxn ang="0">
                  <a:pos x="connsiteX22399" y="connsiteY22399"/>
                </a:cxn>
                <a:cxn ang="0">
                  <a:pos x="connsiteX22400" y="connsiteY22400"/>
                </a:cxn>
                <a:cxn ang="0">
                  <a:pos x="connsiteX22401" y="connsiteY22401"/>
                </a:cxn>
                <a:cxn ang="0">
                  <a:pos x="connsiteX22402" y="connsiteY22402"/>
                </a:cxn>
                <a:cxn ang="0">
                  <a:pos x="connsiteX22403" y="connsiteY22403"/>
                </a:cxn>
                <a:cxn ang="0">
                  <a:pos x="connsiteX22404" y="connsiteY22404"/>
                </a:cxn>
                <a:cxn ang="0">
                  <a:pos x="connsiteX22405" y="connsiteY22405"/>
                </a:cxn>
                <a:cxn ang="0">
                  <a:pos x="connsiteX22406" y="connsiteY22406"/>
                </a:cxn>
                <a:cxn ang="0">
                  <a:pos x="connsiteX22407" y="connsiteY22407"/>
                </a:cxn>
                <a:cxn ang="0">
                  <a:pos x="connsiteX22408" y="connsiteY22408"/>
                </a:cxn>
                <a:cxn ang="0">
                  <a:pos x="connsiteX22409" y="connsiteY22409"/>
                </a:cxn>
                <a:cxn ang="0">
                  <a:pos x="connsiteX22410" y="connsiteY22410"/>
                </a:cxn>
                <a:cxn ang="0">
                  <a:pos x="connsiteX22411" y="connsiteY22411"/>
                </a:cxn>
                <a:cxn ang="0">
                  <a:pos x="connsiteX22412" y="connsiteY22412"/>
                </a:cxn>
                <a:cxn ang="0">
                  <a:pos x="connsiteX22413" y="connsiteY22413"/>
                </a:cxn>
                <a:cxn ang="0">
                  <a:pos x="connsiteX22414" y="connsiteY22414"/>
                </a:cxn>
                <a:cxn ang="0">
                  <a:pos x="connsiteX22415" y="connsiteY22415"/>
                </a:cxn>
                <a:cxn ang="0">
                  <a:pos x="connsiteX22416" y="connsiteY22416"/>
                </a:cxn>
                <a:cxn ang="0">
                  <a:pos x="connsiteX22417" y="connsiteY22417"/>
                </a:cxn>
                <a:cxn ang="0">
                  <a:pos x="connsiteX22418" y="connsiteY22418"/>
                </a:cxn>
                <a:cxn ang="0">
                  <a:pos x="connsiteX22419" y="connsiteY22419"/>
                </a:cxn>
                <a:cxn ang="0">
                  <a:pos x="connsiteX22420" y="connsiteY22420"/>
                </a:cxn>
                <a:cxn ang="0">
                  <a:pos x="connsiteX22421" y="connsiteY22421"/>
                </a:cxn>
                <a:cxn ang="0">
                  <a:pos x="connsiteX22422" y="connsiteY22422"/>
                </a:cxn>
                <a:cxn ang="0">
                  <a:pos x="connsiteX22423" y="connsiteY22423"/>
                </a:cxn>
                <a:cxn ang="0">
                  <a:pos x="connsiteX22424" y="connsiteY22424"/>
                </a:cxn>
                <a:cxn ang="0">
                  <a:pos x="connsiteX22425" y="connsiteY22425"/>
                </a:cxn>
                <a:cxn ang="0">
                  <a:pos x="connsiteX22426" y="connsiteY22426"/>
                </a:cxn>
                <a:cxn ang="0">
                  <a:pos x="connsiteX22427" y="connsiteY22427"/>
                </a:cxn>
                <a:cxn ang="0">
                  <a:pos x="connsiteX22428" y="connsiteY22428"/>
                </a:cxn>
                <a:cxn ang="0">
                  <a:pos x="connsiteX22429" y="connsiteY22429"/>
                </a:cxn>
                <a:cxn ang="0">
                  <a:pos x="connsiteX22430" y="connsiteY22430"/>
                </a:cxn>
                <a:cxn ang="0">
                  <a:pos x="connsiteX22431" y="connsiteY22431"/>
                </a:cxn>
                <a:cxn ang="0">
                  <a:pos x="connsiteX22432" y="connsiteY22432"/>
                </a:cxn>
                <a:cxn ang="0">
                  <a:pos x="connsiteX22433" y="connsiteY22433"/>
                </a:cxn>
                <a:cxn ang="0">
                  <a:pos x="connsiteX22434" y="connsiteY22434"/>
                </a:cxn>
                <a:cxn ang="0">
                  <a:pos x="connsiteX22435" y="connsiteY22435"/>
                </a:cxn>
                <a:cxn ang="0">
                  <a:pos x="connsiteX22436" y="connsiteY22436"/>
                </a:cxn>
                <a:cxn ang="0">
                  <a:pos x="connsiteX22437" y="connsiteY22437"/>
                </a:cxn>
                <a:cxn ang="0">
                  <a:pos x="connsiteX22438" y="connsiteY22438"/>
                </a:cxn>
                <a:cxn ang="0">
                  <a:pos x="connsiteX22439" y="connsiteY22439"/>
                </a:cxn>
                <a:cxn ang="0">
                  <a:pos x="connsiteX22440" y="connsiteY22440"/>
                </a:cxn>
                <a:cxn ang="0">
                  <a:pos x="connsiteX22441" y="connsiteY22441"/>
                </a:cxn>
                <a:cxn ang="0">
                  <a:pos x="connsiteX22442" y="connsiteY22442"/>
                </a:cxn>
                <a:cxn ang="0">
                  <a:pos x="connsiteX22443" y="connsiteY22443"/>
                </a:cxn>
                <a:cxn ang="0">
                  <a:pos x="connsiteX22444" y="connsiteY22444"/>
                </a:cxn>
                <a:cxn ang="0">
                  <a:pos x="connsiteX22445" y="connsiteY22445"/>
                </a:cxn>
                <a:cxn ang="0">
                  <a:pos x="connsiteX22446" y="connsiteY22446"/>
                </a:cxn>
                <a:cxn ang="0">
                  <a:pos x="connsiteX22447" y="connsiteY22447"/>
                </a:cxn>
                <a:cxn ang="0">
                  <a:pos x="connsiteX22448" y="connsiteY22448"/>
                </a:cxn>
                <a:cxn ang="0">
                  <a:pos x="connsiteX22449" y="connsiteY22449"/>
                </a:cxn>
                <a:cxn ang="0">
                  <a:pos x="connsiteX22450" y="connsiteY22450"/>
                </a:cxn>
                <a:cxn ang="0">
                  <a:pos x="connsiteX22451" y="connsiteY22451"/>
                </a:cxn>
                <a:cxn ang="0">
                  <a:pos x="connsiteX22452" y="connsiteY22452"/>
                </a:cxn>
                <a:cxn ang="0">
                  <a:pos x="connsiteX22453" y="connsiteY22453"/>
                </a:cxn>
                <a:cxn ang="0">
                  <a:pos x="connsiteX22454" y="connsiteY22454"/>
                </a:cxn>
                <a:cxn ang="0">
                  <a:pos x="connsiteX22455" y="connsiteY22455"/>
                </a:cxn>
                <a:cxn ang="0">
                  <a:pos x="connsiteX22456" y="connsiteY22456"/>
                </a:cxn>
                <a:cxn ang="0">
                  <a:pos x="connsiteX22457" y="connsiteY22457"/>
                </a:cxn>
                <a:cxn ang="0">
                  <a:pos x="connsiteX22458" y="connsiteY22458"/>
                </a:cxn>
                <a:cxn ang="0">
                  <a:pos x="connsiteX22459" y="connsiteY22459"/>
                </a:cxn>
                <a:cxn ang="0">
                  <a:pos x="connsiteX22460" y="connsiteY22460"/>
                </a:cxn>
                <a:cxn ang="0">
                  <a:pos x="connsiteX22461" y="connsiteY22461"/>
                </a:cxn>
                <a:cxn ang="0">
                  <a:pos x="connsiteX22462" y="connsiteY22462"/>
                </a:cxn>
                <a:cxn ang="0">
                  <a:pos x="connsiteX22463" y="connsiteY22463"/>
                </a:cxn>
                <a:cxn ang="0">
                  <a:pos x="connsiteX22464" y="connsiteY22464"/>
                </a:cxn>
                <a:cxn ang="0">
                  <a:pos x="connsiteX22465" y="connsiteY22465"/>
                </a:cxn>
                <a:cxn ang="0">
                  <a:pos x="connsiteX22466" y="connsiteY22466"/>
                </a:cxn>
                <a:cxn ang="0">
                  <a:pos x="connsiteX22467" y="connsiteY22467"/>
                </a:cxn>
                <a:cxn ang="0">
                  <a:pos x="connsiteX22468" y="connsiteY22468"/>
                </a:cxn>
                <a:cxn ang="0">
                  <a:pos x="connsiteX22469" y="connsiteY22469"/>
                </a:cxn>
                <a:cxn ang="0">
                  <a:pos x="connsiteX22470" y="connsiteY22470"/>
                </a:cxn>
                <a:cxn ang="0">
                  <a:pos x="connsiteX22471" y="connsiteY22471"/>
                </a:cxn>
                <a:cxn ang="0">
                  <a:pos x="connsiteX22472" y="connsiteY22472"/>
                </a:cxn>
                <a:cxn ang="0">
                  <a:pos x="connsiteX22473" y="connsiteY22473"/>
                </a:cxn>
                <a:cxn ang="0">
                  <a:pos x="connsiteX22474" y="connsiteY22474"/>
                </a:cxn>
                <a:cxn ang="0">
                  <a:pos x="connsiteX22475" y="connsiteY22475"/>
                </a:cxn>
                <a:cxn ang="0">
                  <a:pos x="connsiteX22476" y="connsiteY22476"/>
                </a:cxn>
                <a:cxn ang="0">
                  <a:pos x="connsiteX22477" y="connsiteY22477"/>
                </a:cxn>
                <a:cxn ang="0">
                  <a:pos x="connsiteX22478" y="connsiteY22478"/>
                </a:cxn>
                <a:cxn ang="0">
                  <a:pos x="connsiteX22479" y="connsiteY22479"/>
                </a:cxn>
                <a:cxn ang="0">
                  <a:pos x="connsiteX22480" y="connsiteY22480"/>
                </a:cxn>
                <a:cxn ang="0">
                  <a:pos x="connsiteX22481" y="connsiteY22481"/>
                </a:cxn>
                <a:cxn ang="0">
                  <a:pos x="connsiteX22482" y="connsiteY22482"/>
                </a:cxn>
                <a:cxn ang="0">
                  <a:pos x="connsiteX22483" y="connsiteY22483"/>
                </a:cxn>
                <a:cxn ang="0">
                  <a:pos x="connsiteX22484" y="connsiteY22484"/>
                </a:cxn>
                <a:cxn ang="0">
                  <a:pos x="connsiteX22485" y="connsiteY22485"/>
                </a:cxn>
                <a:cxn ang="0">
                  <a:pos x="connsiteX22486" y="connsiteY22486"/>
                </a:cxn>
                <a:cxn ang="0">
                  <a:pos x="connsiteX22487" y="connsiteY22487"/>
                </a:cxn>
                <a:cxn ang="0">
                  <a:pos x="connsiteX22488" y="connsiteY22488"/>
                </a:cxn>
                <a:cxn ang="0">
                  <a:pos x="connsiteX22489" y="connsiteY22489"/>
                </a:cxn>
                <a:cxn ang="0">
                  <a:pos x="connsiteX22490" y="connsiteY22490"/>
                </a:cxn>
                <a:cxn ang="0">
                  <a:pos x="connsiteX22491" y="connsiteY22491"/>
                </a:cxn>
                <a:cxn ang="0">
                  <a:pos x="connsiteX22492" y="connsiteY22492"/>
                </a:cxn>
                <a:cxn ang="0">
                  <a:pos x="connsiteX22493" y="connsiteY22493"/>
                </a:cxn>
                <a:cxn ang="0">
                  <a:pos x="connsiteX22494" y="connsiteY22494"/>
                </a:cxn>
                <a:cxn ang="0">
                  <a:pos x="connsiteX22495" y="connsiteY22495"/>
                </a:cxn>
                <a:cxn ang="0">
                  <a:pos x="connsiteX22496" y="connsiteY22496"/>
                </a:cxn>
                <a:cxn ang="0">
                  <a:pos x="connsiteX22497" y="connsiteY22497"/>
                </a:cxn>
                <a:cxn ang="0">
                  <a:pos x="connsiteX22498" y="connsiteY22498"/>
                </a:cxn>
                <a:cxn ang="0">
                  <a:pos x="connsiteX22499" y="connsiteY22499"/>
                </a:cxn>
                <a:cxn ang="0">
                  <a:pos x="connsiteX22500" y="connsiteY22500"/>
                </a:cxn>
                <a:cxn ang="0">
                  <a:pos x="connsiteX22501" y="connsiteY22501"/>
                </a:cxn>
                <a:cxn ang="0">
                  <a:pos x="connsiteX22502" y="connsiteY22502"/>
                </a:cxn>
                <a:cxn ang="0">
                  <a:pos x="connsiteX22503" y="connsiteY22503"/>
                </a:cxn>
                <a:cxn ang="0">
                  <a:pos x="connsiteX22504" y="connsiteY22504"/>
                </a:cxn>
                <a:cxn ang="0">
                  <a:pos x="connsiteX22505" y="connsiteY22505"/>
                </a:cxn>
                <a:cxn ang="0">
                  <a:pos x="connsiteX22506" y="connsiteY22506"/>
                </a:cxn>
                <a:cxn ang="0">
                  <a:pos x="connsiteX22507" y="connsiteY22507"/>
                </a:cxn>
                <a:cxn ang="0">
                  <a:pos x="connsiteX22508" y="connsiteY22508"/>
                </a:cxn>
                <a:cxn ang="0">
                  <a:pos x="connsiteX22509" y="connsiteY22509"/>
                </a:cxn>
                <a:cxn ang="0">
                  <a:pos x="connsiteX22510" y="connsiteY22510"/>
                </a:cxn>
                <a:cxn ang="0">
                  <a:pos x="connsiteX22511" y="connsiteY22511"/>
                </a:cxn>
                <a:cxn ang="0">
                  <a:pos x="connsiteX22512" y="connsiteY22512"/>
                </a:cxn>
                <a:cxn ang="0">
                  <a:pos x="connsiteX22513" y="connsiteY22513"/>
                </a:cxn>
                <a:cxn ang="0">
                  <a:pos x="connsiteX22514" y="connsiteY22514"/>
                </a:cxn>
                <a:cxn ang="0">
                  <a:pos x="connsiteX22515" y="connsiteY22515"/>
                </a:cxn>
                <a:cxn ang="0">
                  <a:pos x="connsiteX22516" y="connsiteY22516"/>
                </a:cxn>
                <a:cxn ang="0">
                  <a:pos x="connsiteX22517" y="connsiteY22517"/>
                </a:cxn>
                <a:cxn ang="0">
                  <a:pos x="connsiteX22518" y="connsiteY22518"/>
                </a:cxn>
                <a:cxn ang="0">
                  <a:pos x="connsiteX22519" y="connsiteY22519"/>
                </a:cxn>
                <a:cxn ang="0">
                  <a:pos x="connsiteX22520" y="connsiteY22520"/>
                </a:cxn>
                <a:cxn ang="0">
                  <a:pos x="connsiteX22521" y="connsiteY22521"/>
                </a:cxn>
                <a:cxn ang="0">
                  <a:pos x="connsiteX22522" y="connsiteY22522"/>
                </a:cxn>
                <a:cxn ang="0">
                  <a:pos x="connsiteX22523" y="connsiteY22523"/>
                </a:cxn>
                <a:cxn ang="0">
                  <a:pos x="connsiteX22524" y="connsiteY22524"/>
                </a:cxn>
                <a:cxn ang="0">
                  <a:pos x="connsiteX22525" y="connsiteY22525"/>
                </a:cxn>
                <a:cxn ang="0">
                  <a:pos x="connsiteX22526" y="connsiteY22526"/>
                </a:cxn>
                <a:cxn ang="0">
                  <a:pos x="connsiteX22527" y="connsiteY22527"/>
                </a:cxn>
                <a:cxn ang="0">
                  <a:pos x="connsiteX22528" y="connsiteY22528"/>
                </a:cxn>
                <a:cxn ang="0">
                  <a:pos x="connsiteX22529" y="connsiteY22529"/>
                </a:cxn>
                <a:cxn ang="0">
                  <a:pos x="connsiteX22530" y="connsiteY22530"/>
                </a:cxn>
                <a:cxn ang="0">
                  <a:pos x="connsiteX22531" y="connsiteY22531"/>
                </a:cxn>
                <a:cxn ang="0">
                  <a:pos x="connsiteX22532" y="connsiteY22532"/>
                </a:cxn>
                <a:cxn ang="0">
                  <a:pos x="connsiteX22533" y="connsiteY22533"/>
                </a:cxn>
                <a:cxn ang="0">
                  <a:pos x="connsiteX22534" y="connsiteY22534"/>
                </a:cxn>
                <a:cxn ang="0">
                  <a:pos x="connsiteX22535" y="connsiteY22535"/>
                </a:cxn>
                <a:cxn ang="0">
                  <a:pos x="connsiteX22536" y="connsiteY22536"/>
                </a:cxn>
                <a:cxn ang="0">
                  <a:pos x="connsiteX22537" y="connsiteY22537"/>
                </a:cxn>
                <a:cxn ang="0">
                  <a:pos x="connsiteX22538" y="connsiteY22538"/>
                </a:cxn>
                <a:cxn ang="0">
                  <a:pos x="connsiteX22539" y="connsiteY22539"/>
                </a:cxn>
                <a:cxn ang="0">
                  <a:pos x="connsiteX22540" y="connsiteY22540"/>
                </a:cxn>
                <a:cxn ang="0">
                  <a:pos x="connsiteX22541" y="connsiteY22541"/>
                </a:cxn>
                <a:cxn ang="0">
                  <a:pos x="connsiteX22542" y="connsiteY22542"/>
                </a:cxn>
                <a:cxn ang="0">
                  <a:pos x="connsiteX22543" y="connsiteY22543"/>
                </a:cxn>
                <a:cxn ang="0">
                  <a:pos x="connsiteX22544" y="connsiteY22544"/>
                </a:cxn>
                <a:cxn ang="0">
                  <a:pos x="connsiteX22545" y="connsiteY22545"/>
                </a:cxn>
                <a:cxn ang="0">
                  <a:pos x="connsiteX22546" y="connsiteY22546"/>
                </a:cxn>
                <a:cxn ang="0">
                  <a:pos x="connsiteX22547" y="connsiteY22547"/>
                </a:cxn>
                <a:cxn ang="0">
                  <a:pos x="connsiteX22548" y="connsiteY22548"/>
                </a:cxn>
                <a:cxn ang="0">
                  <a:pos x="connsiteX22549" y="connsiteY22549"/>
                </a:cxn>
                <a:cxn ang="0">
                  <a:pos x="connsiteX22550" y="connsiteY22550"/>
                </a:cxn>
                <a:cxn ang="0">
                  <a:pos x="connsiteX22551" y="connsiteY22551"/>
                </a:cxn>
                <a:cxn ang="0">
                  <a:pos x="connsiteX22552" y="connsiteY22552"/>
                </a:cxn>
                <a:cxn ang="0">
                  <a:pos x="connsiteX22553" y="connsiteY22553"/>
                </a:cxn>
                <a:cxn ang="0">
                  <a:pos x="connsiteX22554" y="connsiteY22554"/>
                </a:cxn>
                <a:cxn ang="0">
                  <a:pos x="connsiteX22555" y="connsiteY22555"/>
                </a:cxn>
                <a:cxn ang="0">
                  <a:pos x="connsiteX22556" y="connsiteY22556"/>
                </a:cxn>
                <a:cxn ang="0">
                  <a:pos x="connsiteX22557" y="connsiteY22557"/>
                </a:cxn>
                <a:cxn ang="0">
                  <a:pos x="connsiteX22558" y="connsiteY22558"/>
                </a:cxn>
                <a:cxn ang="0">
                  <a:pos x="connsiteX22559" y="connsiteY22559"/>
                </a:cxn>
                <a:cxn ang="0">
                  <a:pos x="connsiteX22560" y="connsiteY22560"/>
                </a:cxn>
                <a:cxn ang="0">
                  <a:pos x="connsiteX22561" y="connsiteY22561"/>
                </a:cxn>
                <a:cxn ang="0">
                  <a:pos x="connsiteX22562" y="connsiteY22562"/>
                </a:cxn>
                <a:cxn ang="0">
                  <a:pos x="connsiteX22563" y="connsiteY22563"/>
                </a:cxn>
                <a:cxn ang="0">
                  <a:pos x="connsiteX22564" y="connsiteY22564"/>
                </a:cxn>
                <a:cxn ang="0">
                  <a:pos x="connsiteX22565" y="connsiteY22565"/>
                </a:cxn>
                <a:cxn ang="0">
                  <a:pos x="connsiteX22566" y="connsiteY22566"/>
                </a:cxn>
                <a:cxn ang="0">
                  <a:pos x="connsiteX22567" y="connsiteY22567"/>
                </a:cxn>
                <a:cxn ang="0">
                  <a:pos x="connsiteX22568" y="connsiteY22568"/>
                </a:cxn>
                <a:cxn ang="0">
                  <a:pos x="connsiteX22569" y="connsiteY22569"/>
                </a:cxn>
                <a:cxn ang="0">
                  <a:pos x="connsiteX22570" y="connsiteY22570"/>
                </a:cxn>
                <a:cxn ang="0">
                  <a:pos x="connsiteX22571" y="connsiteY22571"/>
                </a:cxn>
                <a:cxn ang="0">
                  <a:pos x="connsiteX22572" y="connsiteY22572"/>
                </a:cxn>
                <a:cxn ang="0">
                  <a:pos x="connsiteX22573" y="connsiteY22573"/>
                </a:cxn>
                <a:cxn ang="0">
                  <a:pos x="connsiteX22574" y="connsiteY22574"/>
                </a:cxn>
                <a:cxn ang="0">
                  <a:pos x="connsiteX22575" y="connsiteY22575"/>
                </a:cxn>
                <a:cxn ang="0">
                  <a:pos x="connsiteX22576" y="connsiteY22576"/>
                </a:cxn>
                <a:cxn ang="0">
                  <a:pos x="connsiteX22577" y="connsiteY22577"/>
                </a:cxn>
                <a:cxn ang="0">
                  <a:pos x="connsiteX22578" y="connsiteY22578"/>
                </a:cxn>
                <a:cxn ang="0">
                  <a:pos x="connsiteX22579" y="connsiteY22579"/>
                </a:cxn>
                <a:cxn ang="0">
                  <a:pos x="connsiteX22580" y="connsiteY22580"/>
                </a:cxn>
                <a:cxn ang="0">
                  <a:pos x="connsiteX22581" y="connsiteY22581"/>
                </a:cxn>
                <a:cxn ang="0">
                  <a:pos x="connsiteX22582" y="connsiteY22582"/>
                </a:cxn>
                <a:cxn ang="0">
                  <a:pos x="connsiteX22583" y="connsiteY22583"/>
                </a:cxn>
                <a:cxn ang="0">
                  <a:pos x="connsiteX22584" y="connsiteY22584"/>
                </a:cxn>
                <a:cxn ang="0">
                  <a:pos x="connsiteX22585" y="connsiteY22585"/>
                </a:cxn>
                <a:cxn ang="0">
                  <a:pos x="connsiteX22586" y="connsiteY22586"/>
                </a:cxn>
                <a:cxn ang="0">
                  <a:pos x="connsiteX22587" y="connsiteY22587"/>
                </a:cxn>
                <a:cxn ang="0">
                  <a:pos x="connsiteX22588" y="connsiteY22588"/>
                </a:cxn>
                <a:cxn ang="0">
                  <a:pos x="connsiteX22589" y="connsiteY22589"/>
                </a:cxn>
                <a:cxn ang="0">
                  <a:pos x="connsiteX22590" y="connsiteY22590"/>
                </a:cxn>
                <a:cxn ang="0">
                  <a:pos x="connsiteX22591" y="connsiteY22591"/>
                </a:cxn>
                <a:cxn ang="0">
                  <a:pos x="connsiteX22592" y="connsiteY22592"/>
                </a:cxn>
                <a:cxn ang="0">
                  <a:pos x="connsiteX22593" y="connsiteY22593"/>
                </a:cxn>
                <a:cxn ang="0">
                  <a:pos x="connsiteX22594" y="connsiteY22594"/>
                </a:cxn>
                <a:cxn ang="0">
                  <a:pos x="connsiteX22595" y="connsiteY22595"/>
                </a:cxn>
                <a:cxn ang="0">
                  <a:pos x="connsiteX22596" y="connsiteY22596"/>
                </a:cxn>
                <a:cxn ang="0">
                  <a:pos x="connsiteX22597" y="connsiteY22597"/>
                </a:cxn>
                <a:cxn ang="0">
                  <a:pos x="connsiteX22598" y="connsiteY22598"/>
                </a:cxn>
                <a:cxn ang="0">
                  <a:pos x="connsiteX22599" y="connsiteY22599"/>
                </a:cxn>
                <a:cxn ang="0">
                  <a:pos x="connsiteX22600" y="connsiteY22600"/>
                </a:cxn>
                <a:cxn ang="0">
                  <a:pos x="connsiteX22601" y="connsiteY22601"/>
                </a:cxn>
                <a:cxn ang="0">
                  <a:pos x="connsiteX22602" y="connsiteY22602"/>
                </a:cxn>
                <a:cxn ang="0">
                  <a:pos x="connsiteX22603" y="connsiteY22603"/>
                </a:cxn>
                <a:cxn ang="0">
                  <a:pos x="connsiteX22604" y="connsiteY22604"/>
                </a:cxn>
                <a:cxn ang="0">
                  <a:pos x="connsiteX22605" y="connsiteY22605"/>
                </a:cxn>
                <a:cxn ang="0">
                  <a:pos x="connsiteX22606" y="connsiteY22606"/>
                </a:cxn>
                <a:cxn ang="0">
                  <a:pos x="connsiteX22607" y="connsiteY22607"/>
                </a:cxn>
                <a:cxn ang="0">
                  <a:pos x="connsiteX22608" y="connsiteY22608"/>
                </a:cxn>
                <a:cxn ang="0">
                  <a:pos x="connsiteX22609" y="connsiteY22609"/>
                </a:cxn>
                <a:cxn ang="0">
                  <a:pos x="connsiteX22610" y="connsiteY22610"/>
                </a:cxn>
                <a:cxn ang="0">
                  <a:pos x="connsiteX22611" y="connsiteY22611"/>
                </a:cxn>
                <a:cxn ang="0">
                  <a:pos x="connsiteX22612" y="connsiteY22612"/>
                </a:cxn>
                <a:cxn ang="0">
                  <a:pos x="connsiteX22613" y="connsiteY22613"/>
                </a:cxn>
                <a:cxn ang="0">
                  <a:pos x="connsiteX22614" y="connsiteY22614"/>
                </a:cxn>
                <a:cxn ang="0">
                  <a:pos x="connsiteX22615" y="connsiteY22615"/>
                </a:cxn>
                <a:cxn ang="0">
                  <a:pos x="connsiteX22616" y="connsiteY22616"/>
                </a:cxn>
                <a:cxn ang="0">
                  <a:pos x="connsiteX22617" y="connsiteY22617"/>
                </a:cxn>
                <a:cxn ang="0">
                  <a:pos x="connsiteX22618" y="connsiteY22618"/>
                </a:cxn>
                <a:cxn ang="0">
                  <a:pos x="connsiteX22619" y="connsiteY22619"/>
                </a:cxn>
                <a:cxn ang="0">
                  <a:pos x="connsiteX22620" y="connsiteY22620"/>
                </a:cxn>
                <a:cxn ang="0">
                  <a:pos x="connsiteX22621" y="connsiteY22621"/>
                </a:cxn>
                <a:cxn ang="0">
                  <a:pos x="connsiteX22622" y="connsiteY22622"/>
                </a:cxn>
                <a:cxn ang="0">
                  <a:pos x="connsiteX22623" y="connsiteY22623"/>
                </a:cxn>
                <a:cxn ang="0">
                  <a:pos x="connsiteX22624" y="connsiteY22624"/>
                </a:cxn>
                <a:cxn ang="0">
                  <a:pos x="connsiteX22625" y="connsiteY22625"/>
                </a:cxn>
                <a:cxn ang="0">
                  <a:pos x="connsiteX22626" y="connsiteY22626"/>
                </a:cxn>
                <a:cxn ang="0">
                  <a:pos x="connsiteX22627" y="connsiteY22627"/>
                </a:cxn>
                <a:cxn ang="0">
                  <a:pos x="connsiteX22628" y="connsiteY22628"/>
                </a:cxn>
                <a:cxn ang="0">
                  <a:pos x="connsiteX22629" y="connsiteY22629"/>
                </a:cxn>
                <a:cxn ang="0">
                  <a:pos x="connsiteX22630" y="connsiteY22630"/>
                </a:cxn>
                <a:cxn ang="0">
                  <a:pos x="connsiteX22631" y="connsiteY22631"/>
                </a:cxn>
                <a:cxn ang="0">
                  <a:pos x="connsiteX22632" y="connsiteY22632"/>
                </a:cxn>
                <a:cxn ang="0">
                  <a:pos x="connsiteX22633" y="connsiteY22633"/>
                </a:cxn>
                <a:cxn ang="0">
                  <a:pos x="connsiteX22634" y="connsiteY22634"/>
                </a:cxn>
                <a:cxn ang="0">
                  <a:pos x="connsiteX22635" y="connsiteY22635"/>
                </a:cxn>
                <a:cxn ang="0">
                  <a:pos x="connsiteX22636" y="connsiteY22636"/>
                </a:cxn>
                <a:cxn ang="0">
                  <a:pos x="connsiteX22637" y="connsiteY22637"/>
                </a:cxn>
                <a:cxn ang="0">
                  <a:pos x="connsiteX22638" y="connsiteY22638"/>
                </a:cxn>
                <a:cxn ang="0">
                  <a:pos x="connsiteX22639" y="connsiteY22639"/>
                </a:cxn>
                <a:cxn ang="0">
                  <a:pos x="connsiteX22640" y="connsiteY22640"/>
                </a:cxn>
                <a:cxn ang="0">
                  <a:pos x="connsiteX22641" y="connsiteY22641"/>
                </a:cxn>
                <a:cxn ang="0">
                  <a:pos x="connsiteX22642" y="connsiteY22642"/>
                </a:cxn>
                <a:cxn ang="0">
                  <a:pos x="connsiteX22643" y="connsiteY22643"/>
                </a:cxn>
                <a:cxn ang="0">
                  <a:pos x="connsiteX22644" y="connsiteY22644"/>
                </a:cxn>
                <a:cxn ang="0">
                  <a:pos x="connsiteX22645" y="connsiteY22645"/>
                </a:cxn>
                <a:cxn ang="0">
                  <a:pos x="connsiteX22646" y="connsiteY22646"/>
                </a:cxn>
                <a:cxn ang="0">
                  <a:pos x="connsiteX22647" y="connsiteY22647"/>
                </a:cxn>
                <a:cxn ang="0">
                  <a:pos x="connsiteX22648" y="connsiteY22648"/>
                </a:cxn>
                <a:cxn ang="0">
                  <a:pos x="connsiteX22649" y="connsiteY22649"/>
                </a:cxn>
                <a:cxn ang="0">
                  <a:pos x="connsiteX22650" y="connsiteY22650"/>
                </a:cxn>
                <a:cxn ang="0">
                  <a:pos x="connsiteX22651" y="connsiteY22651"/>
                </a:cxn>
                <a:cxn ang="0">
                  <a:pos x="connsiteX22652" y="connsiteY22652"/>
                </a:cxn>
                <a:cxn ang="0">
                  <a:pos x="connsiteX22653" y="connsiteY22653"/>
                </a:cxn>
                <a:cxn ang="0">
                  <a:pos x="connsiteX22654" y="connsiteY22654"/>
                </a:cxn>
                <a:cxn ang="0">
                  <a:pos x="connsiteX22655" y="connsiteY22655"/>
                </a:cxn>
                <a:cxn ang="0">
                  <a:pos x="connsiteX22656" y="connsiteY22656"/>
                </a:cxn>
                <a:cxn ang="0">
                  <a:pos x="connsiteX22657" y="connsiteY22657"/>
                </a:cxn>
                <a:cxn ang="0">
                  <a:pos x="connsiteX22658" y="connsiteY22658"/>
                </a:cxn>
                <a:cxn ang="0">
                  <a:pos x="connsiteX22659" y="connsiteY22659"/>
                </a:cxn>
                <a:cxn ang="0">
                  <a:pos x="connsiteX22660" y="connsiteY22660"/>
                </a:cxn>
                <a:cxn ang="0">
                  <a:pos x="connsiteX22661" y="connsiteY22661"/>
                </a:cxn>
                <a:cxn ang="0">
                  <a:pos x="connsiteX22662" y="connsiteY22662"/>
                </a:cxn>
                <a:cxn ang="0">
                  <a:pos x="connsiteX22663" y="connsiteY22663"/>
                </a:cxn>
                <a:cxn ang="0">
                  <a:pos x="connsiteX22664" y="connsiteY22664"/>
                </a:cxn>
                <a:cxn ang="0">
                  <a:pos x="connsiteX22665" y="connsiteY22665"/>
                </a:cxn>
                <a:cxn ang="0">
                  <a:pos x="connsiteX22666" y="connsiteY22666"/>
                </a:cxn>
                <a:cxn ang="0">
                  <a:pos x="connsiteX22667" y="connsiteY22667"/>
                </a:cxn>
                <a:cxn ang="0">
                  <a:pos x="connsiteX22668" y="connsiteY22668"/>
                </a:cxn>
                <a:cxn ang="0">
                  <a:pos x="connsiteX22669" y="connsiteY22669"/>
                </a:cxn>
                <a:cxn ang="0">
                  <a:pos x="connsiteX22670" y="connsiteY22670"/>
                </a:cxn>
                <a:cxn ang="0">
                  <a:pos x="connsiteX22671" y="connsiteY22671"/>
                </a:cxn>
                <a:cxn ang="0">
                  <a:pos x="connsiteX22672" y="connsiteY22672"/>
                </a:cxn>
                <a:cxn ang="0">
                  <a:pos x="connsiteX22673" y="connsiteY22673"/>
                </a:cxn>
                <a:cxn ang="0">
                  <a:pos x="connsiteX22674" y="connsiteY22674"/>
                </a:cxn>
                <a:cxn ang="0">
                  <a:pos x="connsiteX22675" y="connsiteY22675"/>
                </a:cxn>
                <a:cxn ang="0">
                  <a:pos x="connsiteX22676" y="connsiteY22676"/>
                </a:cxn>
                <a:cxn ang="0">
                  <a:pos x="connsiteX22677" y="connsiteY22677"/>
                </a:cxn>
                <a:cxn ang="0">
                  <a:pos x="connsiteX22678" y="connsiteY22678"/>
                </a:cxn>
                <a:cxn ang="0">
                  <a:pos x="connsiteX22679" y="connsiteY22679"/>
                </a:cxn>
                <a:cxn ang="0">
                  <a:pos x="connsiteX22680" y="connsiteY22680"/>
                </a:cxn>
                <a:cxn ang="0">
                  <a:pos x="connsiteX22681" y="connsiteY22681"/>
                </a:cxn>
                <a:cxn ang="0">
                  <a:pos x="connsiteX22682" y="connsiteY22682"/>
                </a:cxn>
                <a:cxn ang="0">
                  <a:pos x="connsiteX22683" y="connsiteY22683"/>
                </a:cxn>
                <a:cxn ang="0">
                  <a:pos x="connsiteX22684" y="connsiteY22684"/>
                </a:cxn>
                <a:cxn ang="0">
                  <a:pos x="connsiteX22685" y="connsiteY22685"/>
                </a:cxn>
                <a:cxn ang="0">
                  <a:pos x="connsiteX22686" y="connsiteY22686"/>
                </a:cxn>
                <a:cxn ang="0">
                  <a:pos x="connsiteX22687" y="connsiteY22687"/>
                </a:cxn>
                <a:cxn ang="0">
                  <a:pos x="connsiteX22688" y="connsiteY22688"/>
                </a:cxn>
                <a:cxn ang="0">
                  <a:pos x="connsiteX22689" y="connsiteY22689"/>
                </a:cxn>
                <a:cxn ang="0">
                  <a:pos x="connsiteX22690" y="connsiteY22690"/>
                </a:cxn>
                <a:cxn ang="0">
                  <a:pos x="connsiteX22691" y="connsiteY22691"/>
                </a:cxn>
                <a:cxn ang="0">
                  <a:pos x="connsiteX22692" y="connsiteY22692"/>
                </a:cxn>
                <a:cxn ang="0">
                  <a:pos x="connsiteX22693" y="connsiteY22693"/>
                </a:cxn>
                <a:cxn ang="0">
                  <a:pos x="connsiteX22694" y="connsiteY22694"/>
                </a:cxn>
                <a:cxn ang="0">
                  <a:pos x="connsiteX22695" y="connsiteY22695"/>
                </a:cxn>
                <a:cxn ang="0">
                  <a:pos x="connsiteX22696" y="connsiteY22696"/>
                </a:cxn>
                <a:cxn ang="0">
                  <a:pos x="connsiteX22697" y="connsiteY22697"/>
                </a:cxn>
                <a:cxn ang="0">
                  <a:pos x="connsiteX22698" y="connsiteY22698"/>
                </a:cxn>
                <a:cxn ang="0">
                  <a:pos x="connsiteX22699" y="connsiteY22699"/>
                </a:cxn>
                <a:cxn ang="0">
                  <a:pos x="connsiteX22700" y="connsiteY22700"/>
                </a:cxn>
                <a:cxn ang="0">
                  <a:pos x="connsiteX22701" y="connsiteY22701"/>
                </a:cxn>
                <a:cxn ang="0">
                  <a:pos x="connsiteX22702" y="connsiteY22702"/>
                </a:cxn>
                <a:cxn ang="0">
                  <a:pos x="connsiteX22703" y="connsiteY22703"/>
                </a:cxn>
                <a:cxn ang="0">
                  <a:pos x="connsiteX22704" y="connsiteY22704"/>
                </a:cxn>
                <a:cxn ang="0">
                  <a:pos x="connsiteX22705" y="connsiteY22705"/>
                </a:cxn>
                <a:cxn ang="0">
                  <a:pos x="connsiteX22706" y="connsiteY22706"/>
                </a:cxn>
                <a:cxn ang="0">
                  <a:pos x="connsiteX22707" y="connsiteY22707"/>
                </a:cxn>
                <a:cxn ang="0">
                  <a:pos x="connsiteX22708" y="connsiteY22708"/>
                </a:cxn>
                <a:cxn ang="0">
                  <a:pos x="connsiteX22709" y="connsiteY22709"/>
                </a:cxn>
                <a:cxn ang="0">
                  <a:pos x="connsiteX22710" y="connsiteY22710"/>
                </a:cxn>
                <a:cxn ang="0">
                  <a:pos x="connsiteX22711" y="connsiteY22711"/>
                </a:cxn>
                <a:cxn ang="0">
                  <a:pos x="connsiteX22712" y="connsiteY22712"/>
                </a:cxn>
                <a:cxn ang="0">
                  <a:pos x="connsiteX22713" y="connsiteY22713"/>
                </a:cxn>
                <a:cxn ang="0">
                  <a:pos x="connsiteX22714" y="connsiteY22714"/>
                </a:cxn>
                <a:cxn ang="0">
                  <a:pos x="connsiteX22715" y="connsiteY22715"/>
                </a:cxn>
                <a:cxn ang="0">
                  <a:pos x="connsiteX22716" y="connsiteY22716"/>
                </a:cxn>
                <a:cxn ang="0">
                  <a:pos x="connsiteX22717" y="connsiteY22717"/>
                </a:cxn>
                <a:cxn ang="0">
                  <a:pos x="connsiteX22718" y="connsiteY22718"/>
                </a:cxn>
                <a:cxn ang="0">
                  <a:pos x="connsiteX22719" y="connsiteY22719"/>
                </a:cxn>
                <a:cxn ang="0">
                  <a:pos x="connsiteX22720" y="connsiteY22720"/>
                </a:cxn>
                <a:cxn ang="0">
                  <a:pos x="connsiteX22721" y="connsiteY22721"/>
                </a:cxn>
                <a:cxn ang="0">
                  <a:pos x="connsiteX22722" y="connsiteY22722"/>
                </a:cxn>
                <a:cxn ang="0">
                  <a:pos x="connsiteX22723" y="connsiteY22723"/>
                </a:cxn>
                <a:cxn ang="0">
                  <a:pos x="connsiteX22724" y="connsiteY22724"/>
                </a:cxn>
                <a:cxn ang="0">
                  <a:pos x="connsiteX22725" y="connsiteY22725"/>
                </a:cxn>
                <a:cxn ang="0">
                  <a:pos x="connsiteX22726" y="connsiteY22726"/>
                </a:cxn>
                <a:cxn ang="0">
                  <a:pos x="connsiteX22727" y="connsiteY22727"/>
                </a:cxn>
                <a:cxn ang="0">
                  <a:pos x="connsiteX22728" y="connsiteY22728"/>
                </a:cxn>
                <a:cxn ang="0">
                  <a:pos x="connsiteX22729" y="connsiteY22729"/>
                </a:cxn>
                <a:cxn ang="0">
                  <a:pos x="connsiteX22730" y="connsiteY22730"/>
                </a:cxn>
                <a:cxn ang="0">
                  <a:pos x="connsiteX22731" y="connsiteY22731"/>
                </a:cxn>
                <a:cxn ang="0">
                  <a:pos x="connsiteX22732" y="connsiteY22732"/>
                </a:cxn>
                <a:cxn ang="0">
                  <a:pos x="connsiteX22733" y="connsiteY22733"/>
                </a:cxn>
                <a:cxn ang="0">
                  <a:pos x="connsiteX22734" y="connsiteY22734"/>
                </a:cxn>
                <a:cxn ang="0">
                  <a:pos x="connsiteX22735" y="connsiteY22735"/>
                </a:cxn>
                <a:cxn ang="0">
                  <a:pos x="connsiteX22736" y="connsiteY22736"/>
                </a:cxn>
                <a:cxn ang="0">
                  <a:pos x="connsiteX22737" y="connsiteY22737"/>
                </a:cxn>
                <a:cxn ang="0">
                  <a:pos x="connsiteX22738" y="connsiteY22738"/>
                </a:cxn>
                <a:cxn ang="0">
                  <a:pos x="connsiteX22739" y="connsiteY22739"/>
                </a:cxn>
                <a:cxn ang="0">
                  <a:pos x="connsiteX22740" y="connsiteY22740"/>
                </a:cxn>
                <a:cxn ang="0">
                  <a:pos x="connsiteX22741" y="connsiteY22741"/>
                </a:cxn>
                <a:cxn ang="0">
                  <a:pos x="connsiteX22742" y="connsiteY22742"/>
                </a:cxn>
                <a:cxn ang="0">
                  <a:pos x="connsiteX22743" y="connsiteY22743"/>
                </a:cxn>
                <a:cxn ang="0">
                  <a:pos x="connsiteX22744" y="connsiteY22744"/>
                </a:cxn>
                <a:cxn ang="0">
                  <a:pos x="connsiteX22745" y="connsiteY22745"/>
                </a:cxn>
                <a:cxn ang="0">
                  <a:pos x="connsiteX22746" y="connsiteY22746"/>
                </a:cxn>
                <a:cxn ang="0">
                  <a:pos x="connsiteX22747" y="connsiteY22747"/>
                </a:cxn>
                <a:cxn ang="0">
                  <a:pos x="connsiteX22748" y="connsiteY22748"/>
                </a:cxn>
                <a:cxn ang="0">
                  <a:pos x="connsiteX22749" y="connsiteY22749"/>
                </a:cxn>
                <a:cxn ang="0">
                  <a:pos x="connsiteX22750" y="connsiteY22750"/>
                </a:cxn>
                <a:cxn ang="0">
                  <a:pos x="connsiteX22751" y="connsiteY22751"/>
                </a:cxn>
                <a:cxn ang="0">
                  <a:pos x="connsiteX22752" y="connsiteY22752"/>
                </a:cxn>
                <a:cxn ang="0">
                  <a:pos x="connsiteX22753" y="connsiteY22753"/>
                </a:cxn>
                <a:cxn ang="0">
                  <a:pos x="connsiteX22754" y="connsiteY22754"/>
                </a:cxn>
                <a:cxn ang="0">
                  <a:pos x="connsiteX22755" y="connsiteY22755"/>
                </a:cxn>
                <a:cxn ang="0">
                  <a:pos x="connsiteX22756" y="connsiteY22756"/>
                </a:cxn>
                <a:cxn ang="0">
                  <a:pos x="connsiteX22757" y="connsiteY22757"/>
                </a:cxn>
                <a:cxn ang="0">
                  <a:pos x="connsiteX22758" y="connsiteY22758"/>
                </a:cxn>
                <a:cxn ang="0">
                  <a:pos x="connsiteX22759" y="connsiteY22759"/>
                </a:cxn>
                <a:cxn ang="0">
                  <a:pos x="connsiteX22760" y="connsiteY22760"/>
                </a:cxn>
                <a:cxn ang="0">
                  <a:pos x="connsiteX22761" y="connsiteY22761"/>
                </a:cxn>
                <a:cxn ang="0">
                  <a:pos x="connsiteX22762" y="connsiteY22762"/>
                </a:cxn>
                <a:cxn ang="0">
                  <a:pos x="connsiteX22763" y="connsiteY22763"/>
                </a:cxn>
                <a:cxn ang="0">
                  <a:pos x="connsiteX22764" y="connsiteY22764"/>
                </a:cxn>
                <a:cxn ang="0">
                  <a:pos x="connsiteX22765" y="connsiteY22765"/>
                </a:cxn>
                <a:cxn ang="0">
                  <a:pos x="connsiteX22766" y="connsiteY22766"/>
                </a:cxn>
                <a:cxn ang="0">
                  <a:pos x="connsiteX22767" y="connsiteY22767"/>
                </a:cxn>
                <a:cxn ang="0">
                  <a:pos x="connsiteX22768" y="connsiteY22768"/>
                </a:cxn>
                <a:cxn ang="0">
                  <a:pos x="connsiteX22769" y="connsiteY22769"/>
                </a:cxn>
                <a:cxn ang="0">
                  <a:pos x="connsiteX22770" y="connsiteY22770"/>
                </a:cxn>
                <a:cxn ang="0">
                  <a:pos x="connsiteX22771" y="connsiteY22771"/>
                </a:cxn>
                <a:cxn ang="0">
                  <a:pos x="connsiteX22772" y="connsiteY22772"/>
                </a:cxn>
                <a:cxn ang="0">
                  <a:pos x="connsiteX22773" y="connsiteY22773"/>
                </a:cxn>
                <a:cxn ang="0">
                  <a:pos x="connsiteX22774" y="connsiteY22774"/>
                </a:cxn>
                <a:cxn ang="0">
                  <a:pos x="connsiteX22775" y="connsiteY22775"/>
                </a:cxn>
                <a:cxn ang="0">
                  <a:pos x="connsiteX22776" y="connsiteY22776"/>
                </a:cxn>
                <a:cxn ang="0">
                  <a:pos x="connsiteX22777" y="connsiteY22777"/>
                </a:cxn>
                <a:cxn ang="0">
                  <a:pos x="connsiteX22778" y="connsiteY22778"/>
                </a:cxn>
                <a:cxn ang="0">
                  <a:pos x="connsiteX22779" y="connsiteY22779"/>
                </a:cxn>
                <a:cxn ang="0">
                  <a:pos x="connsiteX22780" y="connsiteY22780"/>
                </a:cxn>
                <a:cxn ang="0">
                  <a:pos x="connsiteX22781" y="connsiteY22781"/>
                </a:cxn>
                <a:cxn ang="0">
                  <a:pos x="connsiteX22782" y="connsiteY22782"/>
                </a:cxn>
                <a:cxn ang="0">
                  <a:pos x="connsiteX22783" y="connsiteY22783"/>
                </a:cxn>
                <a:cxn ang="0">
                  <a:pos x="connsiteX22784" y="connsiteY22784"/>
                </a:cxn>
                <a:cxn ang="0">
                  <a:pos x="connsiteX22785" y="connsiteY22785"/>
                </a:cxn>
                <a:cxn ang="0">
                  <a:pos x="connsiteX22786" y="connsiteY22786"/>
                </a:cxn>
                <a:cxn ang="0">
                  <a:pos x="connsiteX22787" y="connsiteY22787"/>
                </a:cxn>
                <a:cxn ang="0">
                  <a:pos x="connsiteX22788" y="connsiteY22788"/>
                </a:cxn>
                <a:cxn ang="0">
                  <a:pos x="connsiteX22789" y="connsiteY22789"/>
                </a:cxn>
                <a:cxn ang="0">
                  <a:pos x="connsiteX22790" y="connsiteY22790"/>
                </a:cxn>
                <a:cxn ang="0">
                  <a:pos x="connsiteX22791" y="connsiteY22791"/>
                </a:cxn>
                <a:cxn ang="0">
                  <a:pos x="connsiteX22792" y="connsiteY22792"/>
                </a:cxn>
                <a:cxn ang="0">
                  <a:pos x="connsiteX22793" y="connsiteY22793"/>
                </a:cxn>
                <a:cxn ang="0">
                  <a:pos x="connsiteX22794" y="connsiteY22794"/>
                </a:cxn>
                <a:cxn ang="0">
                  <a:pos x="connsiteX22795" y="connsiteY22795"/>
                </a:cxn>
                <a:cxn ang="0">
                  <a:pos x="connsiteX22796" y="connsiteY22796"/>
                </a:cxn>
                <a:cxn ang="0">
                  <a:pos x="connsiteX22797" y="connsiteY22797"/>
                </a:cxn>
                <a:cxn ang="0">
                  <a:pos x="connsiteX22798" y="connsiteY22798"/>
                </a:cxn>
                <a:cxn ang="0">
                  <a:pos x="connsiteX22799" y="connsiteY22799"/>
                </a:cxn>
                <a:cxn ang="0">
                  <a:pos x="connsiteX22800" y="connsiteY22800"/>
                </a:cxn>
                <a:cxn ang="0">
                  <a:pos x="connsiteX22801" y="connsiteY22801"/>
                </a:cxn>
                <a:cxn ang="0">
                  <a:pos x="connsiteX22802" y="connsiteY22802"/>
                </a:cxn>
                <a:cxn ang="0">
                  <a:pos x="connsiteX22803" y="connsiteY22803"/>
                </a:cxn>
                <a:cxn ang="0">
                  <a:pos x="connsiteX22804" y="connsiteY22804"/>
                </a:cxn>
                <a:cxn ang="0">
                  <a:pos x="connsiteX22805" y="connsiteY22805"/>
                </a:cxn>
                <a:cxn ang="0">
                  <a:pos x="connsiteX22806" y="connsiteY22806"/>
                </a:cxn>
                <a:cxn ang="0">
                  <a:pos x="connsiteX22807" y="connsiteY22807"/>
                </a:cxn>
                <a:cxn ang="0">
                  <a:pos x="connsiteX22808" y="connsiteY22808"/>
                </a:cxn>
                <a:cxn ang="0">
                  <a:pos x="connsiteX22809" y="connsiteY22809"/>
                </a:cxn>
                <a:cxn ang="0">
                  <a:pos x="connsiteX22810" y="connsiteY22810"/>
                </a:cxn>
                <a:cxn ang="0">
                  <a:pos x="connsiteX22811" y="connsiteY22811"/>
                </a:cxn>
                <a:cxn ang="0">
                  <a:pos x="connsiteX22812" y="connsiteY22812"/>
                </a:cxn>
                <a:cxn ang="0">
                  <a:pos x="connsiteX22813" y="connsiteY22813"/>
                </a:cxn>
                <a:cxn ang="0">
                  <a:pos x="connsiteX22814" y="connsiteY22814"/>
                </a:cxn>
                <a:cxn ang="0">
                  <a:pos x="connsiteX22815" y="connsiteY22815"/>
                </a:cxn>
                <a:cxn ang="0">
                  <a:pos x="connsiteX22816" y="connsiteY22816"/>
                </a:cxn>
                <a:cxn ang="0">
                  <a:pos x="connsiteX22817" y="connsiteY22817"/>
                </a:cxn>
                <a:cxn ang="0">
                  <a:pos x="connsiteX22818" y="connsiteY22818"/>
                </a:cxn>
                <a:cxn ang="0">
                  <a:pos x="connsiteX22819" y="connsiteY22819"/>
                </a:cxn>
                <a:cxn ang="0">
                  <a:pos x="connsiteX22820" y="connsiteY22820"/>
                </a:cxn>
                <a:cxn ang="0">
                  <a:pos x="connsiteX22821" y="connsiteY22821"/>
                </a:cxn>
                <a:cxn ang="0">
                  <a:pos x="connsiteX22822" y="connsiteY22822"/>
                </a:cxn>
                <a:cxn ang="0">
                  <a:pos x="connsiteX22823" y="connsiteY22823"/>
                </a:cxn>
                <a:cxn ang="0">
                  <a:pos x="connsiteX22824" y="connsiteY22824"/>
                </a:cxn>
                <a:cxn ang="0">
                  <a:pos x="connsiteX22825" y="connsiteY22825"/>
                </a:cxn>
                <a:cxn ang="0">
                  <a:pos x="connsiteX22826" y="connsiteY22826"/>
                </a:cxn>
                <a:cxn ang="0">
                  <a:pos x="connsiteX22827" y="connsiteY22827"/>
                </a:cxn>
                <a:cxn ang="0">
                  <a:pos x="connsiteX22828" y="connsiteY22828"/>
                </a:cxn>
                <a:cxn ang="0">
                  <a:pos x="connsiteX22829" y="connsiteY22829"/>
                </a:cxn>
                <a:cxn ang="0">
                  <a:pos x="connsiteX22830" y="connsiteY22830"/>
                </a:cxn>
                <a:cxn ang="0">
                  <a:pos x="connsiteX22831" y="connsiteY22831"/>
                </a:cxn>
                <a:cxn ang="0">
                  <a:pos x="connsiteX22832" y="connsiteY22832"/>
                </a:cxn>
                <a:cxn ang="0">
                  <a:pos x="connsiteX22833" y="connsiteY22833"/>
                </a:cxn>
                <a:cxn ang="0">
                  <a:pos x="connsiteX22834" y="connsiteY22834"/>
                </a:cxn>
                <a:cxn ang="0">
                  <a:pos x="connsiteX22835" y="connsiteY22835"/>
                </a:cxn>
                <a:cxn ang="0">
                  <a:pos x="connsiteX22836" y="connsiteY22836"/>
                </a:cxn>
                <a:cxn ang="0">
                  <a:pos x="connsiteX22837" y="connsiteY22837"/>
                </a:cxn>
                <a:cxn ang="0">
                  <a:pos x="connsiteX22838" y="connsiteY22838"/>
                </a:cxn>
                <a:cxn ang="0">
                  <a:pos x="connsiteX22839" y="connsiteY22839"/>
                </a:cxn>
                <a:cxn ang="0">
                  <a:pos x="connsiteX22840" y="connsiteY22840"/>
                </a:cxn>
                <a:cxn ang="0">
                  <a:pos x="connsiteX22841" y="connsiteY22841"/>
                </a:cxn>
                <a:cxn ang="0">
                  <a:pos x="connsiteX22842" y="connsiteY22842"/>
                </a:cxn>
                <a:cxn ang="0">
                  <a:pos x="connsiteX22843" y="connsiteY22843"/>
                </a:cxn>
                <a:cxn ang="0">
                  <a:pos x="connsiteX22844" y="connsiteY22844"/>
                </a:cxn>
                <a:cxn ang="0">
                  <a:pos x="connsiteX22845" y="connsiteY22845"/>
                </a:cxn>
                <a:cxn ang="0">
                  <a:pos x="connsiteX22846" y="connsiteY22846"/>
                </a:cxn>
                <a:cxn ang="0">
                  <a:pos x="connsiteX22847" y="connsiteY22847"/>
                </a:cxn>
                <a:cxn ang="0">
                  <a:pos x="connsiteX22848" y="connsiteY22848"/>
                </a:cxn>
                <a:cxn ang="0">
                  <a:pos x="connsiteX22849" y="connsiteY22849"/>
                </a:cxn>
                <a:cxn ang="0">
                  <a:pos x="connsiteX22850" y="connsiteY22850"/>
                </a:cxn>
                <a:cxn ang="0">
                  <a:pos x="connsiteX22851" y="connsiteY22851"/>
                </a:cxn>
                <a:cxn ang="0">
                  <a:pos x="connsiteX22852" y="connsiteY22852"/>
                </a:cxn>
                <a:cxn ang="0">
                  <a:pos x="connsiteX22853" y="connsiteY22853"/>
                </a:cxn>
                <a:cxn ang="0">
                  <a:pos x="connsiteX22854" y="connsiteY22854"/>
                </a:cxn>
                <a:cxn ang="0">
                  <a:pos x="connsiteX22855" y="connsiteY22855"/>
                </a:cxn>
                <a:cxn ang="0">
                  <a:pos x="connsiteX22856" y="connsiteY22856"/>
                </a:cxn>
                <a:cxn ang="0">
                  <a:pos x="connsiteX22857" y="connsiteY22857"/>
                </a:cxn>
                <a:cxn ang="0">
                  <a:pos x="connsiteX22858" y="connsiteY22858"/>
                </a:cxn>
                <a:cxn ang="0">
                  <a:pos x="connsiteX22859" y="connsiteY22859"/>
                </a:cxn>
                <a:cxn ang="0">
                  <a:pos x="connsiteX22860" y="connsiteY22860"/>
                </a:cxn>
                <a:cxn ang="0">
                  <a:pos x="connsiteX22861" y="connsiteY22861"/>
                </a:cxn>
                <a:cxn ang="0">
                  <a:pos x="connsiteX22862" y="connsiteY22862"/>
                </a:cxn>
                <a:cxn ang="0">
                  <a:pos x="connsiteX22863" y="connsiteY22863"/>
                </a:cxn>
                <a:cxn ang="0">
                  <a:pos x="connsiteX22864" y="connsiteY22864"/>
                </a:cxn>
                <a:cxn ang="0">
                  <a:pos x="connsiteX22865" y="connsiteY22865"/>
                </a:cxn>
                <a:cxn ang="0">
                  <a:pos x="connsiteX22866" y="connsiteY22866"/>
                </a:cxn>
                <a:cxn ang="0">
                  <a:pos x="connsiteX22867" y="connsiteY22867"/>
                </a:cxn>
                <a:cxn ang="0">
                  <a:pos x="connsiteX22868" y="connsiteY22868"/>
                </a:cxn>
                <a:cxn ang="0">
                  <a:pos x="connsiteX22869" y="connsiteY22869"/>
                </a:cxn>
                <a:cxn ang="0">
                  <a:pos x="connsiteX22870" y="connsiteY22870"/>
                </a:cxn>
                <a:cxn ang="0">
                  <a:pos x="connsiteX22871" y="connsiteY22871"/>
                </a:cxn>
                <a:cxn ang="0">
                  <a:pos x="connsiteX22872" y="connsiteY22872"/>
                </a:cxn>
                <a:cxn ang="0">
                  <a:pos x="connsiteX22873" y="connsiteY22873"/>
                </a:cxn>
                <a:cxn ang="0">
                  <a:pos x="connsiteX22874" y="connsiteY22874"/>
                </a:cxn>
                <a:cxn ang="0">
                  <a:pos x="connsiteX22875" y="connsiteY22875"/>
                </a:cxn>
                <a:cxn ang="0">
                  <a:pos x="connsiteX22876" y="connsiteY22876"/>
                </a:cxn>
                <a:cxn ang="0">
                  <a:pos x="connsiteX22877" y="connsiteY22877"/>
                </a:cxn>
                <a:cxn ang="0">
                  <a:pos x="connsiteX22878" y="connsiteY22878"/>
                </a:cxn>
                <a:cxn ang="0">
                  <a:pos x="connsiteX22879" y="connsiteY22879"/>
                </a:cxn>
                <a:cxn ang="0">
                  <a:pos x="connsiteX22880" y="connsiteY22880"/>
                </a:cxn>
                <a:cxn ang="0">
                  <a:pos x="connsiteX22881" y="connsiteY22881"/>
                </a:cxn>
                <a:cxn ang="0">
                  <a:pos x="connsiteX22882" y="connsiteY22882"/>
                </a:cxn>
                <a:cxn ang="0">
                  <a:pos x="connsiteX22883" y="connsiteY22883"/>
                </a:cxn>
                <a:cxn ang="0">
                  <a:pos x="connsiteX22884" y="connsiteY22884"/>
                </a:cxn>
                <a:cxn ang="0">
                  <a:pos x="connsiteX22885" y="connsiteY22885"/>
                </a:cxn>
                <a:cxn ang="0">
                  <a:pos x="connsiteX22886" y="connsiteY22886"/>
                </a:cxn>
                <a:cxn ang="0">
                  <a:pos x="connsiteX22887" y="connsiteY22887"/>
                </a:cxn>
                <a:cxn ang="0">
                  <a:pos x="connsiteX22888" y="connsiteY22888"/>
                </a:cxn>
                <a:cxn ang="0">
                  <a:pos x="connsiteX22889" y="connsiteY22889"/>
                </a:cxn>
                <a:cxn ang="0">
                  <a:pos x="connsiteX22890" y="connsiteY22890"/>
                </a:cxn>
                <a:cxn ang="0">
                  <a:pos x="connsiteX22891" y="connsiteY22891"/>
                </a:cxn>
                <a:cxn ang="0">
                  <a:pos x="connsiteX22892" y="connsiteY22892"/>
                </a:cxn>
                <a:cxn ang="0">
                  <a:pos x="connsiteX22893" y="connsiteY22893"/>
                </a:cxn>
                <a:cxn ang="0">
                  <a:pos x="connsiteX22894" y="connsiteY22894"/>
                </a:cxn>
                <a:cxn ang="0">
                  <a:pos x="connsiteX22895" y="connsiteY22895"/>
                </a:cxn>
                <a:cxn ang="0">
                  <a:pos x="connsiteX22896" y="connsiteY22896"/>
                </a:cxn>
                <a:cxn ang="0">
                  <a:pos x="connsiteX22897" y="connsiteY22897"/>
                </a:cxn>
                <a:cxn ang="0">
                  <a:pos x="connsiteX22898" y="connsiteY22898"/>
                </a:cxn>
                <a:cxn ang="0">
                  <a:pos x="connsiteX22899" y="connsiteY22899"/>
                </a:cxn>
                <a:cxn ang="0">
                  <a:pos x="connsiteX22900" y="connsiteY22900"/>
                </a:cxn>
                <a:cxn ang="0">
                  <a:pos x="connsiteX22901" y="connsiteY22901"/>
                </a:cxn>
                <a:cxn ang="0">
                  <a:pos x="connsiteX22902" y="connsiteY22902"/>
                </a:cxn>
                <a:cxn ang="0">
                  <a:pos x="connsiteX22903" y="connsiteY22903"/>
                </a:cxn>
                <a:cxn ang="0">
                  <a:pos x="connsiteX22904" y="connsiteY22904"/>
                </a:cxn>
                <a:cxn ang="0">
                  <a:pos x="connsiteX22905" y="connsiteY22905"/>
                </a:cxn>
                <a:cxn ang="0">
                  <a:pos x="connsiteX22906" y="connsiteY22906"/>
                </a:cxn>
                <a:cxn ang="0">
                  <a:pos x="connsiteX22907" y="connsiteY22907"/>
                </a:cxn>
                <a:cxn ang="0">
                  <a:pos x="connsiteX22908" y="connsiteY22908"/>
                </a:cxn>
                <a:cxn ang="0">
                  <a:pos x="connsiteX22909" y="connsiteY22909"/>
                </a:cxn>
                <a:cxn ang="0">
                  <a:pos x="connsiteX22910" y="connsiteY22910"/>
                </a:cxn>
                <a:cxn ang="0">
                  <a:pos x="connsiteX22911" y="connsiteY22911"/>
                </a:cxn>
                <a:cxn ang="0">
                  <a:pos x="connsiteX22912" y="connsiteY22912"/>
                </a:cxn>
                <a:cxn ang="0">
                  <a:pos x="connsiteX22913" y="connsiteY22913"/>
                </a:cxn>
                <a:cxn ang="0">
                  <a:pos x="connsiteX22914" y="connsiteY22914"/>
                </a:cxn>
                <a:cxn ang="0">
                  <a:pos x="connsiteX22915" y="connsiteY22915"/>
                </a:cxn>
                <a:cxn ang="0">
                  <a:pos x="connsiteX22916" y="connsiteY22916"/>
                </a:cxn>
                <a:cxn ang="0">
                  <a:pos x="connsiteX22917" y="connsiteY22917"/>
                </a:cxn>
                <a:cxn ang="0">
                  <a:pos x="connsiteX22918" y="connsiteY22918"/>
                </a:cxn>
                <a:cxn ang="0">
                  <a:pos x="connsiteX22919" y="connsiteY22919"/>
                </a:cxn>
                <a:cxn ang="0">
                  <a:pos x="connsiteX22920" y="connsiteY22920"/>
                </a:cxn>
                <a:cxn ang="0">
                  <a:pos x="connsiteX22921" y="connsiteY22921"/>
                </a:cxn>
                <a:cxn ang="0">
                  <a:pos x="connsiteX22922" y="connsiteY22922"/>
                </a:cxn>
                <a:cxn ang="0">
                  <a:pos x="connsiteX22923" y="connsiteY22923"/>
                </a:cxn>
                <a:cxn ang="0">
                  <a:pos x="connsiteX22924" y="connsiteY22924"/>
                </a:cxn>
                <a:cxn ang="0">
                  <a:pos x="connsiteX22925" y="connsiteY22925"/>
                </a:cxn>
                <a:cxn ang="0">
                  <a:pos x="connsiteX22926" y="connsiteY22926"/>
                </a:cxn>
                <a:cxn ang="0">
                  <a:pos x="connsiteX22927" y="connsiteY22927"/>
                </a:cxn>
                <a:cxn ang="0">
                  <a:pos x="connsiteX22928" y="connsiteY22928"/>
                </a:cxn>
                <a:cxn ang="0">
                  <a:pos x="connsiteX22929" y="connsiteY22929"/>
                </a:cxn>
                <a:cxn ang="0">
                  <a:pos x="connsiteX22930" y="connsiteY22930"/>
                </a:cxn>
                <a:cxn ang="0">
                  <a:pos x="connsiteX22931" y="connsiteY22931"/>
                </a:cxn>
                <a:cxn ang="0">
                  <a:pos x="connsiteX22932" y="connsiteY22932"/>
                </a:cxn>
                <a:cxn ang="0">
                  <a:pos x="connsiteX22933" y="connsiteY22933"/>
                </a:cxn>
                <a:cxn ang="0">
                  <a:pos x="connsiteX22934" y="connsiteY22934"/>
                </a:cxn>
                <a:cxn ang="0">
                  <a:pos x="connsiteX22935" y="connsiteY22935"/>
                </a:cxn>
                <a:cxn ang="0">
                  <a:pos x="connsiteX22936" y="connsiteY22936"/>
                </a:cxn>
                <a:cxn ang="0">
                  <a:pos x="connsiteX22937" y="connsiteY22937"/>
                </a:cxn>
                <a:cxn ang="0">
                  <a:pos x="connsiteX22938" y="connsiteY22938"/>
                </a:cxn>
                <a:cxn ang="0">
                  <a:pos x="connsiteX22939" y="connsiteY22939"/>
                </a:cxn>
                <a:cxn ang="0">
                  <a:pos x="connsiteX22940" y="connsiteY22940"/>
                </a:cxn>
                <a:cxn ang="0">
                  <a:pos x="connsiteX22941" y="connsiteY22941"/>
                </a:cxn>
                <a:cxn ang="0">
                  <a:pos x="connsiteX22942" y="connsiteY22942"/>
                </a:cxn>
                <a:cxn ang="0">
                  <a:pos x="connsiteX22943" y="connsiteY22943"/>
                </a:cxn>
                <a:cxn ang="0">
                  <a:pos x="connsiteX22944" y="connsiteY22944"/>
                </a:cxn>
                <a:cxn ang="0">
                  <a:pos x="connsiteX22945" y="connsiteY22945"/>
                </a:cxn>
                <a:cxn ang="0">
                  <a:pos x="connsiteX22946" y="connsiteY22946"/>
                </a:cxn>
                <a:cxn ang="0">
                  <a:pos x="connsiteX22947" y="connsiteY22947"/>
                </a:cxn>
                <a:cxn ang="0">
                  <a:pos x="connsiteX22948" y="connsiteY22948"/>
                </a:cxn>
                <a:cxn ang="0">
                  <a:pos x="connsiteX22949" y="connsiteY22949"/>
                </a:cxn>
                <a:cxn ang="0">
                  <a:pos x="connsiteX22950" y="connsiteY22950"/>
                </a:cxn>
                <a:cxn ang="0">
                  <a:pos x="connsiteX22951" y="connsiteY22951"/>
                </a:cxn>
                <a:cxn ang="0">
                  <a:pos x="connsiteX22952" y="connsiteY22952"/>
                </a:cxn>
                <a:cxn ang="0">
                  <a:pos x="connsiteX22953" y="connsiteY22953"/>
                </a:cxn>
                <a:cxn ang="0">
                  <a:pos x="connsiteX22954" y="connsiteY22954"/>
                </a:cxn>
                <a:cxn ang="0">
                  <a:pos x="connsiteX22955" y="connsiteY22955"/>
                </a:cxn>
                <a:cxn ang="0">
                  <a:pos x="connsiteX22956" y="connsiteY22956"/>
                </a:cxn>
                <a:cxn ang="0">
                  <a:pos x="connsiteX22957" y="connsiteY22957"/>
                </a:cxn>
                <a:cxn ang="0">
                  <a:pos x="connsiteX22958" y="connsiteY22958"/>
                </a:cxn>
                <a:cxn ang="0">
                  <a:pos x="connsiteX22959" y="connsiteY22959"/>
                </a:cxn>
                <a:cxn ang="0">
                  <a:pos x="connsiteX22960" y="connsiteY22960"/>
                </a:cxn>
                <a:cxn ang="0">
                  <a:pos x="connsiteX22961" y="connsiteY22961"/>
                </a:cxn>
                <a:cxn ang="0">
                  <a:pos x="connsiteX22962" y="connsiteY22962"/>
                </a:cxn>
                <a:cxn ang="0">
                  <a:pos x="connsiteX22963" y="connsiteY22963"/>
                </a:cxn>
                <a:cxn ang="0">
                  <a:pos x="connsiteX22964" y="connsiteY22964"/>
                </a:cxn>
                <a:cxn ang="0">
                  <a:pos x="connsiteX22965" y="connsiteY22965"/>
                </a:cxn>
                <a:cxn ang="0">
                  <a:pos x="connsiteX22966" y="connsiteY22966"/>
                </a:cxn>
                <a:cxn ang="0">
                  <a:pos x="connsiteX22967" y="connsiteY22967"/>
                </a:cxn>
                <a:cxn ang="0">
                  <a:pos x="connsiteX22968" y="connsiteY22968"/>
                </a:cxn>
                <a:cxn ang="0">
                  <a:pos x="connsiteX22969" y="connsiteY22969"/>
                </a:cxn>
                <a:cxn ang="0">
                  <a:pos x="connsiteX22970" y="connsiteY22970"/>
                </a:cxn>
                <a:cxn ang="0">
                  <a:pos x="connsiteX22971" y="connsiteY22971"/>
                </a:cxn>
                <a:cxn ang="0">
                  <a:pos x="connsiteX22972" y="connsiteY22972"/>
                </a:cxn>
                <a:cxn ang="0">
                  <a:pos x="connsiteX22973" y="connsiteY22973"/>
                </a:cxn>
                <a:cxn ang="0">
                  <a:pos x="connsiteX22974" y="connsiteY22974"/>
                </a:cxn>
                <a:cxn ang="0">
                  <a:pos x="connsiteX22975" y="connsiteY22975"/>
                </a:cxn>
                <a:cxn ang="0">
                  <a:pos x="connsiteX22976" y="connsiteY22976"/>
                </a:cxn>
                <a:cxn ang="0">
                  <a:pos x="connsiteX22977" y="connsiteY22977"/>
                </a:cxn>
                <a:cxn ang="0">
                  <a:pos x="connsiteX22978" y="connsiteY22978"/>
                </a:cxn>
                <a:cxn ang="0">
                  <a:pos x="connsiteX22979" y="connsiteY22979"/>
                </a:cxn>
                <a:cxn ang="0">
                  <a:pos x="connsiteX22980" y="connsiteY22980"/>
                </a:cxn>
                <a:cxn ang="0">
                  <a:pos x="connsiteX22981" y="connsiteY22981"/>
                </a:cxn>
                <a:cxn ang="0">
                  <a:pos x="connsiteX22982" y="connsiteY22982"/>
                </a:cxn>
                <a:cxn ang="0">
                  <a:pos x="connsiteX22983" y="connsiteY22983"/>
                </a:cxn>
                <a:cxn ang="0">
                  <a:pos x="connsiteX22984" y="connsiteY22984"/>
                </a:cxn>
                <a:cxn ang="0">
                  <a:pos x="connsiteX22985" y="connsiteY22985"/>
                </a:cxn>
                <a:cxn ang="0">
                  <a:pos x="connsiteX22986" y="connsiteY22986"/>
                </a:cxn>
                <a:cxn ang="0">
                  <a:pos x="connsiteX22987" y="connsiteY22987"/>
                </a:cxn>
                <a:cxn ang="0">
                  <a:pos x="connsiteX22988" y="connsiteY22988"/>
                </a:cxn>
                <a:cxn ang="0">
                  <a:pos x="connsiteX22989" y="connsiteY22989"/>
                </a:cxn>
                <a:cxn ang="0">
                  <a:pos x="connsiteX22990" y="connsiteY22990"/>
                </a:cxn>
                <a:cxn ang="0">
                  <a:pos x="connsiteX22991" y="connsiteY22991"/>
                </a:cxn>
                <a:cxn ang="0">
                  <a:pos x="connsiteX22992" y="connsiteY22992"/>
                </a:cxn>
                <a:cxn ang="0">
                  <a:pos x="connsiteX22993" y="connsiteY22993"/>
                </a:cxn>
                <a:cxn ang="0">
                  <a:pos x="connsiteX22994" y="connsiteY22994"/>
                </a:cxn>
                <a:cxn ang="0">
                  <a:pos x="connsiteX22995" y="connsiteY22995"/>
                </a:cxn>
                <a:cxn ang="0">
                  <a:pos x="connsiteX22996" y="connsiteY22996"/>
                </a:cxn>
                <a:cxn ang="0">
                  <a:pos x="connsiteX22997" y="connsiteY22997"/>
                </a:cxn>
                <a:cxn ang="0">
                  <a:pos x="connsiteX22998" y="connsiteY22998"/>
                </a:cxn>
                <a:cxn ang="0">
                  <a:pos x="connsiteX22999" y="connsiteY22999"/>
                </a:cxn>
                <a:cxn ang="0">
                  <a:pos x="connsiteX23000" y="connsiteY23000"/>
                </a:cxn>
                <a:cxn ang="0">
                  <a:pos x="connsiteX23001" y="connsiteY23001"/>
                </a:cxn>
                <a:cxn ang="0">
                  <a:pos x="connsiteX23002" y="connsiteY23002"/>
                </a:cxn>
                <a:cxn ang="0">
                  <a:pos x="connsiteX23003" y="connsiteY23003"/>
                </a:cxn>
                <a:cxn ang="0">
                  <a:pos x="connsiteX23004" y="connsiteY23004"/>
                </a:cxn>
                <a:cxn ang="0">
                  <a:pos x="connsiteX23005" y="connsiteY23005"/>
                </a:cxn>
                <a:cxn ang="0">
                  <a:pos x="connsiteX23006" y="connsiteY23006"/>
                </a:cxn>
                <a:cxn ang="0">
                  <a:pos x="connsiteX23007" y="connsiteY23007"/>
                </a:cxn>
                <a:cxn ang="0">
                  <a:pos x="connsiteX23008" y="connsiteY23008"/>
                </a:cxn>
                <a:cxn ang="0">
                  <a:pos x="connsiteX23009" y="connsiteY23009"/>
                </a:cxn>
                <a:cxn ang="0">
                  <a:pos x="connsiteX23010" y="connsiteY23010"/>
                </a:cxn>
                <a:cxn ang="0">
                  <a:pos x="connsiteX23011" y="connsiteY23011"/>
                </a:cxn>
                <a:cxn ang="0">
                  <a:pos x="connsiteX23012" y="connsiteY23012"/>
                </a:cxn>
                <a:cxn ang="0">
                  <a:pos x="connsiteX23013" y="connsiteY23013"/>
                </a:cxn>
                <a:cxn ang="0">
                  <a:pos x="connsiteX23014" y="connsiteY23014"/>
                </a:cxn>
                <a:cxn ang="0">
                  <a:pos x="connsiteX23015" y="connsiteY23015"/>
                </a:cxn>
                <a:cxn ang="0">
                  <a:pos x="connsiteX23016" y="connsiteY23016"/>
                </a:cxn>
                <a:cxn ang="0">
                  <a:pos x="connsiteX23017" y="connsiteY23017"/>
                </a:cxn>
                <a:cxn ang="0">
                  <a:pos x="connsiteX23018" y="connsiteY23018"/>
                </a:cxn>
                <a:cxn ang="0">
                  <a:pos x="connsiteX23019" y="connsiteY23019"/>
                </a:cxn>
                <a:cxn ang="0">
                  <a:pos x="connsiteX23020" y="connsiteY23020"/>
                </a:cxn>
                <a:cxn ang="0">
                  <a:pos x="connsiteX23021" y="connsiteY23021"/>
                </a:cxn>
                <a:cxn ang="0">
                  <a:pos x="connsiteX23022" y="connsiteY23022"/>
                </a:cxn>
                <a:cxn ang="0">
                  <a:pos x="connsiteX23023" y="connsiteY23023"/>
                </a:cxn>
                <a:cxn ang="0">
                  <a:pos x="connsiteX23024" y="connsiteY23024"/>
                </a:cxn>
                <a:cxn ang="0">
                  <a:pos x="connsiteX23025" y="connsiteY23025"/>
                </a:cxn>
                <a:cxn ang="0">
                  <a:pos x="connsiteX23026" y="connsiteY23026"/>
                </a:cxn>
                <a:cxn ang="0">
                  <a:pos x="connsiteX23027" y="connsiteY23027"/>
                </a:cxn>
                <a:cxn ang="0">
                  <a:pos x="connsiteX23028" y="connsiteY23028"/>
                </a:cxn>
                <a:cxn ang="0">
                  <a:pos x="connsiteX23029" y="connsiteY23029"/>
                </a:cxn>
                <a:cxn ang="0">
                  <a:pos x="connsiteX23030" y="connsiteY23030"/>
                </a:cxn>
                <a:cxn ang="0">
                  <a:pos x="connsiteX23031" y="connsiteY23031"/>
                </a:cxn>
                <a:cxn ang="0">
                  <a:pos x="connsiteX23032" y="connsiteY23032"/>
                </a:cxn>
                <a:cxn ang="0">
                  <a:pos x="connsiteX23033" y="connsiteY23033"/>
                </a:cxn>
                <a:cxn ang="0">
                  <a:pos x="connsiteX23034" y="connsiteY23034"/>
                </a:cxn>
                <a:cxn ang="0">
                  <a:pos x="connsiteX23035" y="connsiteY23035"/>
                </a:cxn>
                <a:cxn ang="0">
                  <a:pos x="connsiteX23036" y="connsiteY23036"/>
                </a:cxn>
                <a:cxn ang="0">
                  <a:pos x="connsiteX23037" y="connsiteY23037"/>
                </a:cxn>
                <a:cxn ang="0">
                  <a:pos x="connsiteX23038" y="connsiteY23038"/>
                </a:cxn>
                <a:cxn ang="0">
                  <a:pos x="connsiteX23039" y="connsiteY23039"/>
                </a:cxn>
                <a:cxn ang="0">
                  <a:pos x="connsiteX23040" y="connsiteY23040"/>
                </a:cxn>
                <a:cxn ang="0">
                  <a:pos x="connsiteX23041" y="connsiteY23041"/>
                </a:cxn>
                <a:cxn ang="0">
                  <a:pos x="connsiteX23042" y="connsiteY23042"/>
                </a:cxn>
                <a:cxn ang="0">
                  <a:pos x="connsiteX23043" y="connsiteY23043"/>
                </a:cxn>
                <a:cxn ang="0">
                  <a:pos x="connsiteX23044" y="connsiteY23044"/>
                </a:cxn>
                <a:cxn ang="0">
                  <a:pos x="connsiteX23045" y="connsiteY23045"/>
                </a:cxn>
                <a:cxn ang="0">
                  <a:pos x="connsiteX23046" y="connsiteY23046"/>
                </a:cxn>
                <a:cxn ang="0">
                  <a:pos x="connsiteX23047" y="connsiteY23047"/>
                </a:cxn>
                <a:cxn ang="0">
                  <a:pos x="connsiteX23048" y="connsiteY23048"/>
                </a:cxn>
                <a:cxn ang="0">
                  <a:pos x="connsiteX23049" y="connsiteY23049"/>
                </a:cxn>
                <a:cxn ang="0">
                  <a:pos x="connsiteX23050" y="connsiteY23050"/>
                </a:cxn>
                <a:cxn ang="0">
                  <a:pos x="connsiteX23051" y="connsiteY23051"/>
                </a:cxn>
                <a:cxn ang="0">
                  <a:pos x="connsiteX23052" y="connsiteY23052"/>
                </a:cxn>
                <a:cxn ang="0">
                  <a:pos x="connsiteX23053" y="connsiteY23053"/>
                </a:cxn>
                <a:cxn ang="0">
                  <a:pos x="connsiteX23054" y="connsiteY23054"/>
                </a:cxn>
                <a:cxn ang="0">
                  <a:pos x="connsiteX23055" y="connsiteY23055"/>
                </a:cxn>
                <a:cxn ang="0">
                  <a:pos x="connsiteX23056" y="connsiteY23056"/>
                </a:cxn>
                <a:cxn ang="0">
                  <a:pos x="connsiteX23057" y="connsiteY23057"/>
                </a:cxn>
                <a:cxn ang="0">
                  <a:pos x="connsiteX23058" y="connsiteY23058"/>
                </a:cxn>
                <a:cxn ang="0">
                  <a:pos x="connsiteX23059" y="connsiteY23059"/>
                </a:cxn>
                <a:cxn ang="0">
                  <a:pos x="connsiteX23060" y="connsiteY23060"/>
                </a:cxn>
                <a:cxn ang="0">
                  <a:pos x="connsiteX23061" y="connsiteY23061"/>
                </a:cxn>
                <a:cxn ang="0">
                  <a:pos x="connsiteX23062" y="connsiteY23062"/>
                </a:cxn>
                <a:cxn ang="0">
                  <a:pos x="connsiteX23063" y="connsiteY23063"/>
                </a:cxn>
                <a:cxn ang="0">
                  <a:pos x="connsiteX23064" y="connsiteY23064"/>
                </a:cxn>
                <a:cxn ang="0">
                  <a:pos x="connsiteX23065" y="connsiteY23065"/>
                </a:cxn>
                <a:cxn ang="0">
                  <a:pos x="connsiteX23066" y="connsiteY23066"/>
                </a:cxn>
                <a:cxn ang="0">
                  <a:pos x="connsiteX23067" y="connsiteY23067"/>
                </a:cxn>
                <a:cxn ang="0">
                  <a:pos x="connsiteX23068" y="connsiteY23068"/>
                </a:cxn>
                <a:cxn ang="0">
                  <a:pos x="connsiteX23069" y="connsiteY23069"/>
                </a:cxn>
                <a:cxn ang="0">
                  <a:pos x="connsiteX23070" y="connsiteY23070"/>
                </a:cxn>
                <a:cxn ang="0">
                  <a:pos x="connsiteX23071" y="connsiteY23071"/>
                </a:cxn>
                <a:cxn ang="0">
                  <a:pos x="connsiteX23072" y="connsiteY23072"/>
                </a:cxn>
                <a:cxn ang="0">
                  <a:pos x="connsiteX23073" y="connsiteY23073"/>
                </a:cxn>
                <a:cxn ang="0">
                  <a:pos x="connsiteX23074" y="connsiteY23074"/>
                </a:cxn>
                <a:cxn ang="0">
                  <a:pos x="connsiteX23075" y="connsiteY23075"/>
                </a:cxn>
                <a:cxn ang="0">
                  <a:pos x="connsiteX23076" y="connsiteY23076"/>
                </a:cxn>
                <a:cxn ang="0">
                  <a:pos x="connsiteX23077" y="connsiteY23077"/>
                </a:cxn>
                <a:cxn ang="0">
                  <a:pos x="connsiteX23078" y="connsiteY23078"/>
                </a:cxn>
                <a:cxn ang="0">
                  <a:pos x="connsiteX23079" y="connsiteY23079"/>
                </a:cxn>
                <a:cxn ang="0">
                  <a:pos x="connsiteX23080" y="connsiteY23080"/>
                </a:cxn>
                <a:cxn ang="0">
                  <a:pos x="connsiteX23081" y="connsiteY23081"/>
                </a:cxn>
                <a:cxn ang="0">
                  <a:pos x="connsiteX23082" y="connsiteY23082"/>
                </a:cxn>
                <a:cxn ang="0">
                  <a:pos x="connsiteX23083" y="connsiteY23083"/>
                </a:cxn>
                <a:cxn ang="0">
                  <a:pos x="connsiteX23084" y="connsiteY23084"/>
                </a:cxn>
                <a:cxn ang="0">
                  <a:pos x="connsiteX23085" y="connsiteY23085"/>
                </a:cxn>
                <a:cxn ang="0">
                  <a:pos x="connsiteX23086" y="connsiteY23086"/>
                </a:cxn>
                <a:cxn ang="0">
                  <a:pos x="connsiteX23087" y="connsiteY23087"/>
                </a:cxn>
                <a:cxn ang="0">
                  <a:pos x="connsiteX23088" y="connsiteY23088"/>
                </a:cxn>
                <a:cxn ang="0">
                  <a:pos x="connsiteX23089" y="connsiteY23089"/>
                </a:cxn>
                <a:cxn ang="0">
                  <a:pos x="connsiteX23090" y="connsiteY23090"/>
                </a:cxn>
                <a:cxn ang="0">
                  <a:pos x="connsiteX23091" y="connsiteY23091"/>
                </a:cxn>
                <a:cxn ang="0">
                  <a:pos x="connsiteX23092" y="connsiteY23092"/>
                </a:cxn>
                <a:cxn ang="0">
                  <a:pos x="connsiteX23093" y="connsiteY23093"/>
                </a:cxn>
                <a:cxn ang="0">
                  <a:pos x="connsiteX23094" y="connsiteY23094"/>
                </a:cxn>
                <a:cxn ang="0">
                  <a:pos x="connsiteX23095" y="connsiteY23095"/>
                </a:cxn>
                <a:cxn ang="0">
                  <a:pos x="connsiteX23096" y="connsiteY23096"/>
                </a:cxn>
                <a:cxn ang="0">
                  <a:pos x="connsiteX23097" y="connsiteY23097"/>
                </a:cxn>
                <a:cxn ang="0">
                  <a:pos x="connsiteX23098" y="connsiteY23098"/>
                </a:cxn>
                <a:cxn ang="0">
                  <a:pos x="connsiteX23099" y="connsiteY23099"/>
                </a:cxn>
                <a:cxn ang="0">
                  <a:pos x="connsiteX23100" y="connsiteY23100"/>
                </a:cxn>
                <a:cxn ang="0">
                  <a:pos x="connsiteX23101" y="connsiteY23101"/>
                </a:cxn>
                <a:cxn ang="0">
                  <a:pos x="connsiteX23102" y="connsiteY23102"/>
                </a:cxn>
                <a:cxn ang="0">
                  <a:pos x="connsiteX23103" y="connsiteY23103"/>
                </a:cxn>
                <a:cxn ang="0">
                  <a:pos x="connsiteX23104" y="connsiteY23104"/>
                </a:cxn>
                <a:cxn ang="0">
                  <a:pos x="connsiteX23105" y="connsiteY23105"/>
                </a:cxn>
                <a:cxn ang="0">
                  <a:pos x="connsiteX23106" y="connsiteY23106"/>
                </a:cxn>
                <a:cxn ang="0">
                  <a:pos x="connsiteX23107" y="connsiteY23107"/>
                </a:cxn>
                <a:cxn ang="0">
                  <a:pos x="connsiteX23108" y="connsiteY23108"/>
                </a:cxn>
                <a:cxn ang="0">
                  <a:pos x="connsiteX23109" y="connsiteY23109"/>
                </a:cxn>
                <a:cxn ang="0">
                  <a:pos x="connsiteX23110" y="connsiteY23110"/>
                </a:cxn>
                <a:cxn ang="0">
                  <a:pos x="connsiteX23111" y="connsiteY23111"/>
                </a:cxn>
                <a:cxn ang="0">
                  <a:pos x="connsiteX23112" y="connsiteY23112"/>
                </a:cxn>
                <a:cxn ang="0">
                  <a:pos x="connsiteX23113" y="connsiteY23113"/>
                </a:cxn>
                <a:cxn ang="0">
                  <a:pos x="connsiteX23114" y="connsiteY23114"/>
                </a:cxn>
                <a:cxn ang="0">
                  <a:pos x="connsiteX23115" y="connsiteY23115"/>
                </a:cxn>
                <a:cxn ang="0">
                  <a:pos x="connsiteX23116" y="connsiteY23116"/>
                </a:cxn>
                <a:cxn ang="0">
                  <a:pos x="connsiteX23117" y="connsiteY23117"/>
                </a:cxn>
                <a:cxn ang="0">
                  <a:pos x="connsiteX23118" y="connsiteY23118"/>
                </a:cxn>
                <a:cxn ang="0">
                  <a:pos x="connsiteX23119" y="connsiteY23119"/>
                </a:cxn>
                <a:cxn ang="0">
                  <a:pos x="connsiteX23120" y="connsiteY23120"/>
                </a:cxn>
                <a:cxn ang="0">
                  <a:pos x="connsiteX23121" y="connsiteY23121"/>
                </a:cxn>
                <a:cxn ang="0">
                  <a:pos x="connsiteX23122" y="connsiteY23122"/>
                </a:cxn>
                <a:cxn ang="0">
                  <a:pos x="connsiteX23123" y="connsiteY23123"/>
                </a:cxn>
                <a:cxn ang="0">
                  <a:pos x="connsiteX23124" y="connsiteY23124"/>
                </a:cxn>
                <a:cxn ang="0">
                  <a:pos x="connsiteX23125" y="connsiteY23125"/>
                </a:cxn>
                <a:cxn ang="0">
                  <a:pos x="connsiteX23126" y="connsiteY23126"/>
                </a:cxn>
                <a:cxn ang="0">
                  <a:pos x="connsiteX23127" y="connsiteY23127"/>
                </a:cxn>
                <a:cxn ang="0">
                  <a:pos x="connsiteX23128" y="connsiteY23128"/>
                </a:cxn>
                <a:cxn ang="0">
                  <a:pos x="connsiteX23129" y="connsiteY23129"/>
                </a:cxn>
                <a:cxn ang="0">
                  <a:pos x="connsiteX23130" y="connsiteY23130"/>
                </a:cxn>
                <a:cxn ang="0">
                  <a:pos x="connsiteX23131" y="connsiteY23131"/>
                </a:cxn>
                <a:cxn ang="0">
                  <a:pos x="connsiteX23132" y="connsiteY23132"/>
                </a:cxn>
                <a:cxn ang="0">
                  <a:pos x="connsiteX23133" y="connsiteY23133"/>
                </a:cxn>
                <a:cxn ang="0">
                  <a:pos x="connsiteX23134" y="connsiteY23134"/>
                </a:cxn>
                <a:cxn ang="0">
                  <a:pos x="connsiteX23135" y="connsiteY23135"/>
                </a:cxn>
                <a:cxn ang="0">
                  <a:pos x="connsiteX23136" y="connsiteY23136"/>
                </a:cxn>
                <a:cxn ang="0">
                  <a:pos x="connsiteX23137" y="connsiteY23137"/>
                </a:cxn>
                <a:cxn ang="0">
                  <a:pos x="connsiteX23138" y="connsiteY23138"/>
                </a:cxn>
                <a:cxn ang="0">
                  <a:pos x="connsiteX23139" y="connsiteY23139"/>
                </a:cxn>
                <a:cxn ang="0">
                  <a:pos x="connsiteX23140" y="connsiteY23140"/>
                </a:cxn>
                <a:cxn ang="0">
                  <a:pos x="connsiteX23141" y="connsiteY23141"/>
                </a:cxn>
                <a:cxn ang="0">
                  <a:pos x="connsiteX23142" y="connsiteY23142"/>
                </a:cxn>
                <a:cxn ang="0">
                  <a:pos x="connsiteX23143" y="connsiteY23143"/>
                </a:cxn>
                <a:cxn ang="0">
                  <a:pos x="connsiteX23144" y="connsiteY23144"/>
                </a:cxn>
                <a:cxn ang="0">
                  <a:pos x="connsiteX23145" y="connsiteY23145"/>
                </a:cxn>
                <a:cxn ang="0">
                  <a:pos x="connsiteX23146" y="connsiteY23146"/>
                </a:cxn>
                <a:cxn ang="0">
                  <a:pos x="connsiteX23147" y="connsiteY23147"/>
                </a:cxn>
                <a:cxn ang="0">
                  <a:pos x="connsiteX23148" y="connsiteY23148"/>
                </a:cxn>
                <a:cxn ang="0">
                  <a:pos x="connsiteX23149" y="connsiteY23149"/>
                </a:cxn>
                <a:cxn ang="0">
                  <a:pos x="connsiteX23150" y="connsiteY23150"/>
                </a:cxn>
                <a:cxn ang="0">
                  <a:pos x="connsiteX23151" y="connsiteY23151"/>
                </a:cxn>
                <a:cxn ang="0">
                  <a:pos x="connsiteX23152" y="connsiteY23152"/>
                </a:cxn>
                <a:cxn ang="0">
                  <a:pos x="connsiteX23153" y="connsiteY23153"/>
                </a:cxn>
                <a:cxn ang="0">
                  <a:pos x="connsiteX23154" y="connsiteY23154"/>
                </a:cxn>
                <a:cxn ang="0">
                  <a:pos x="connsiteX23155" y="connsiteY23155"/>
                </a:cxn>
                <a:cxn ang="0">
                  <a:pos x="connsiteX23156" y="connsiteY23156"/>
                </a:cxn>
                <a:cxn ang="0">
                  <a:pos x="connsiteX23157" y="connsiteY23157"/>
                </a:cxn>
                <a:cxn ang="0">
                  <a:pos x="connsiteX23158" y="connsiteY23158"/>
                </a:cxn>
                <a:cxn ang="0">
                  <a:pos x="connsiteX23159" y="connsiteY23159"/>
                </a:cxn>
                <a:cxn ang="0">
                  <a:pos x="connsiteX23160" y="connsiteY23160"/>
                </a:cxn>
                <a:cxn ang="0">
                  <a:pos x="connsiteX23161" y="connsiteY23161"/>
                </a:cxn>
                <a:cxn ang="0">
                  <a:pos x="connsiteX23162" y="connsiteY23162"/>
                </a:cxn>
                <a:cxn ang="0">
                  <a:pos x="connsiteX23163" y="connsiteY23163"/>
                </a:cxn>
                <a:cxn ang="0">
                  <a:pos x="connsiteX23164" y="connsiteY23164"/>
                </a:cxn>
                <a:cxn ang="0">
                  <a:pos x="connsiteX23165" y="connsiteY23165"/>
                </a:cxn>
                <a:cxn ang="0">
                  <a:pos x="connsiteX23166" y="connsiteY23166"/>
                </a:cxn>
                <a:cxn ang="0">
                  <a:pos x="connsiteX23167" y="connsiteY23167"/>
                </a:cxn>
                <a:cxn ang="0">
                  <a:pos x="connsiteX23168" y="connsiteY23168"/>
                </a:cxn>
                <a:cxn ang="0">
                  <a:pos x="connsiteX23169" y="connsiteY23169"/>
                </a:cxn>
                <a:cxn ang="0">
                  <a:pos x="connsiteX23170" y="connsiteY23170"/>
                </a:cxn>
                <a:cxn ang="0">
                  <a:pos x="connsiteX23171" y="connsiteY23171"/>
                </a:cxn>
                <a:cxn ang="0">
                  <a:pos x="connsiteX23172" y="connsiteY23172"/>
                </a:cxn>
                <a:cxn ang="0">
                  <a:pos x="connsiteX23173" y="connsiteY23173"/>
                </a:cxn>
                <a:cxn ang="0">
                  <a:pos x="connsiteX23174" y="connsiteY23174"/>
                </a:cxn>
                <a:cxn ang="0">
                  <a:pos x="connsiteX23175" y="connsiteY23175"/>
                </a:cxn>
                <a:cxn ang="0">
                  <a:pos x="connsiteX23176" y="connsiteY23176"/>
                </a:cxn>
                <a:cxn ang="0">
                  <a:pos x="connsiteX23177" y="connsiteY23177"/>
                </a:cxn>
                <a:cxn ang="0">
                  <a:pos x="connsiteX23178" y="connsiteY23178"/>
                </a:cxn>
                <a:cxn ang="0">
                  <a:pos x="connsiteX23179" y="connsiteY23179"/>
                </a:cxn>
                <a:cxn ang="0">
                  <a:pos x="connsiteX23180" y="connsiteY23180"/>
                </a:cxn>
                <a:cxn ang="0">
                  <a:pos x="connsiteX23181" y="connsiteY23181"/>
                </a:cxn>
                <a:cxn ang="0">
                  <a:pos x="connsiteX23182" y="connsiteY23182"/>
                </a:cxn>
                <a:cxn ang="0">
                  <a:pos x="connsiteX23183" y="connsiteY23183"/>
                </a:cxn>
                <a:cxn ang="0">
                  <a:pos x="connsiteX23184" y="connsiteY23184"/>
                </a:cxn>
                <a:cxn ang="0">
                  <a:pos x="connsiteX23185" y="connsiteY23185"/>
                </a:cxn>
                <a:cxn ang="0">
                  <a:pos x="connsiteX23186" y="connsiteY23186"/>
                </a:cxn>
                <a:cxn ang="0">
                  <a:pos x="connsiteX23187" y="connsiteY23187"/>
                </a:cxn>
                <a:cxn ang="0">
                  <a:pos x="connsiteX23188" y="connsiteY23188"/>
                </a:cxn>
                <a:cxn ang="0">
                  <a:pos x="connsiteX23189" y="connsiteY23189"/>
                </a:cxn>
                <a:cxn ang="0">
                  <a:pos x="connsiteX23190" y="connsiteY23190"/>
                </a:cxn>
                <a:cxn ang="0">
                  <a:pos x="connsiteX23191" y="connsiteY23191"/>
                </a:cxn>
                <a:cxn ang="0">
                  <a:pos x="connsiteX23192" y="connsiteY23192"/>
                </a:cxn>
                <a:cxn ang="0">
                  <a:pos x="connsiteX23193" y="connsiteY23193"/>
                </a:cxn>
                <a:cxn ang="0">
                  <a:pos x="connsiteX23194" y="connsiteY23194"/>
                </a:cxn>
                <a:cxn ang="0">
                  <a:pos x="connsiteX23195" y="connsiteY23195"/>
                </a:cxn>
                <a:cxn ang="0">
                  <a:pos x="connsiteX23196" y="connsiteY23196"/>
                </a:cxn>
                <a:cxn ang="0">
                  <a:pos x="connsiteX23197" y="connsiteY23197"/>
                </a:cxn>
                <a:cxn ang="0">
                  <a:pos x="connsiteX23198" y="connsiteY23198"/>
                </a:cxn>
                <a:cxn ang="0">
                  <a:pos x="connsiteX23199" y="connsiteY23199"/>
                </a:cxn>
                <a:cxn ang="0">
                  <a:pos x="connsiteX23200" y="connsiteY23200"/>
                </a:cxn>
                <a:cxn ang="0">
                  <a:pos x="connsiteX23201" y="connsiteY23201"/>
                </a:cxn>
                <a:cxn ang="0">
                  <a:pos x="connsiteX23202" y="connsiteY23202"/>
                </a:cxn>
                <a:cxn ang="0">
                  <a:pos x="connsiteX23203" y="connsiteY23203"/>
                </a:cxn>
                <a:cxn ang="0">
                  <a:pos x="connsiteX23204" y="connsiteY23204"/>
                </a:cxn>
                <a:cxn ang="0">
                  <a:pos x="connsiteX23205" y="connsiteY23205"/>
                </a:cxn>
                <a:cxn ang="0">
                  <a:pos x="connsiteX23206" y="connsiteY23206"/>
                </a:cxn>
                <a:cxn ang="0">
                  <a:pos x="connsiteX23207" y="connsiteY23207"/>
                </a:cxn>
                <a:cxn ang="0">
                  <a:pos x="connsiteX23208" y="connsiteY23208"/>
                </a:cxn>
                <a:cxn ang="0">
                  <a:pos x="connsiteX23209" y="connsiteY23209"/>
                </a:cxn>
                <a:cxn ang="0">
                  <a:pos x="connsiteX23210" y="connsiteY23210"/>
                </a:cxn>
                <a:cxn ang="0">
                  <a:pos x="connsiteX23211" y="connsiteY23211"/>
                </a:cxn>
                <a:cxn ang="0">
                  <a:pos x="connsiteX23212" y="connsiteY23212"/>
                </a:cxn>
                <a:cxn ang="0">
                  <a:pos x="connsiteX23213" y="connsiteY23213"/>
                </a:cxn>
                <a:cxn ang="0">
                  <a:pos x="connsiteX23214" y="connsiteY23214"/>
                </a:cxn>
                <a:cxn ang="0">
                  <a:pos x="connsiteX23215" y="connsiteY23215"/>
                </a:cxn>
                <a:cxn ang="0">
                  <a:pos x="connsiteX23216" y="connsiteY23216"/>
                </a:cxn>
                <a:cxn ang="0">
                  <a:pos x="connsiteX23217" y="connsiteY23217"/>
                </a:cxn>
                <a:cxn ang="0">
                  <a:pos x="connsiteX23218" y="connsiteY23218"/>
                </a:cxn>
                <a:cxn ang="0">
                  <a:pos x="connsiteX23219" y="connsiteY23219"/>
                </a:cxn>
                <a:cxn ang="0">
                  <a:pos x="connsiteX23220" y="connsiteY23220"/>
                </a:cxn>
                <a:cxn ang="0">
                  <a:pos x="connsiteX23221" y="connsiteY23221"/>
                </a:cxn>
                <a:cxn ang="0">
                  <a:pos x="connsiteX23222" y="connsiteY23222"/>
                </a:cxn>
                <a:cxn ang="0">
                  <a:pos x="connsiteX23223" y="connsiteY23223"/>
                </a:cxn>
                <a:cxn ang="0">
                  <a:pos x="connsiteX23224" y="connsiteY23224"/>
                </a:cxn>
                <a:cxn ang="0">
                  <a:pos x="connsiteX23225" y="connsiteY23225"/>
                </a:cxn>
                <a:cxn ang="0">
                  <a:pos x="connsiteX23226" y="connsiteY23226"/>
                </a:cxn>
                <a:cxn ang="0">
                  <a:pos x="connsiteX23227" y="connsiteY23227"/>
                </a:cxn>
                <a:cxn ang="0">
                  <a:pos x="connsiteX23228" y="connsiteY23228"/>
                </a:cxn>
                <a:cxn ang="0">
                  <a:pos x="connsiteX23229" y="connsiteY23229"/>
                </a:cxn>
                <a:cxn ang="0">
                  <a:pos x="connsiteX23230" y="connsiteY23230"/>
                </a:cxn>
                <a:cxn ang="0">
                  <a:pos x="connsiteX23231" y="connsiteY23231"/>
                </a:cxn>
                <a:cxn ang="0">
                  <a:pos x="connsiteX23232" y="connsiteY23232"/>
                </a:cxn>
                <a:cxn ang="0">
                  <a:pos x="connsiteX23233" y="connsiteY23233"/>
                </a:cxn>
                <a:cxn ang="0">
                  <a:pos x="connsiteX23234" y="connsiteY23234"/>
                </a:cxn>
                <a:cxn ang="0">
                  <a:pos x="connsiteX23235" y="connsiteY23235"/>
                </a:cxn>
                <a:cxn ang="0">
                  <a:pos x="connsiteX23236" y="connsiteY23236"/>
                </a:cxn>
                <a:cxn ang="0">
                  <a:pos x="connsiteX23237" y="connsiteY23237"/>
                </a:cxn>
                <a:cxn ang="0">
                  <a:pos x="connsiteX23238" y="connsiteY23238"/>
                </a:cxn>
                <a:cxn ang="0">
                  <a:pos x="connsiteX23239" y="connsiteY23239"/>
                </a:cxn>
                <a:cxn ang="0">
                  <a:pos x="connsiteX23240" y="connsiteY23240"/>
                </a:cxn>
                <a:cxn ang="0">
                  <a:pos x="connsiteX23241" y="connsiteY23241"/>
                </a:cxn>
                <a:cxn ang="0">
                  <a:pos x="connsiteX23242" y="connsiteY23242"/>
                </a:cxn>
                <a:cxn ang="0">
                  <a:pos x="connsiteX23243" y="connsiteY23243"/>
                </a:cxn>
                <a:cxn ang="0">
                  <a:pos x="connsiteX23244" y="connsiteY23244"/>
                </a:cxn>
                <a:cxn ang="0">
                  <a:pos x="connsiteX23245" y="connsiteY23245"/>
                </a:cxn>
                <a:cxn ang="0">
                  <a:pos x="connsiteX23246" y="connsiteY23246"/>
                </a:cxn>
                <a:cxn ang="0">
                  <a:pos x="connsiteX23247" y="connsiteY23247"/>
                </a:cxn>
                <a:cxn ang="0">
                  <a:pos x="connsiteX23248" y="connsiteY23248"/>
                </a:cxn>
                <a:cxn ang="0">
                  <a:pos x="connsiteX23249" y="connsiteY23249"/>
                </a:cxn>
                <a:cxn ang="0">
                  <a:pos x="connsiteX23250" y="connsiteY23250"/>
                </a:cxn>
                <a:cxn ang="0">
                  <a:pos x="connsiteX23251" y="connsiteY23251"/>
                </a:cxn>
                <a:cxn ang="0">
                  <a:pos x="connsiteX23252" y="connsiteY23252"/>
                </a:cxn>
                <a:cxn ang="0">
                  <a:pos x="connsiteX23253" y="connsiteY23253"/>
                </a:cxn>
                <a:cxn ang="0">
                  <a:pos x="connsiteX23254" y="connsiteY23254"/>
                </a:cxn>
                <a:cxn ang="0">
                  <a:pos x="connsiteX23255" y="connsiteY23255"/>
                </a:cxn>
                <a:cxn ang="0">
                  <a:pos x="connsiteX23256" y="connsiteY23256"/>
                </a:cxn>
                <a:cxn ang="0">
                  <a:pos x="connsiteX23257" y="connsiteY23257"/>
                </a:cxn>
                <a:cxn ang="0">
                  <a:pos x="connsiteX23258" y="connsiteY23258"/>
                </a:cxn>
                <a:cxn ang="0">
                  <a:pos x="connsiteX23259" y="connsiteY23259"/>
                </a:cxn>
                <a:cxn ang="0">
                  <a:pos x="connsiteX23260" y="connsiteY23260"/>
                </a:cxn>
                <a:cxn ang="0">
                  <a:pos x="connsiteX23261" y="connsiteY23261"/>
                </a:cxn>
                <a:cxn ang="0">
                  <a:pos x="connsiteX23262" y="connsiteY23262"/>
                </a:cxn>
                <a:cxn ang="0">
                  <a:pos x="connsiteX23263" y="connsiteY23263"/>
                </a:cxn>
                <a:cxn ang="0">
                  <a:pos x="connsiteX23264" y="connsiteY23264"/>
                </a:cxn>
                <a:cxn ang="0">
                  <a:pos x="connsiteX23265" y="connsiteY23265"/>
                </a:cxn>
                <a:cxn ang="0">
                  <a:pos x="connsiteX23266" y="connsiteY23266"/>
                </a:cxn>
                <a:cxn ang="0">
                  <a:pos x="connsiteX23267" y="connsiteY23267"/>
                </a:cxn>
                <a:cxn ang="0">
                  <a:pos x="connsiteX23268" y="connsiteY23268"/>
                </a:cxn>
                <a:cxn ang="0">
                  <a:pos x="connsiteX23269" y="connsiteY23269"/>
                </a:cxn>
                <a:cxn ang="0">
                  <a:pos x="connsiteX23270" y="connsiteY23270"/>
                </a:cxn>
                <a:cxn ang="0">
                  <a:pos x="connsiteX23271" y="connsiteY23271"/>
                </a:cxn>
                <a:cxn ang="0">
                  <a:pos x="connsiteX23272" y="connsiteY23272"/>
                </a:cxn>
                <a:cxn ang="0">
                  <a:pos x="connsiteX23273" y="connsiteY23273"/>
                </a:cxn>
                <a:cxn ang="0">
                  <a:pos x="connsiteX23274" y="connsiteY23274"/>
                </a:cxn>
                <a:cxn ang="0">
                  <a:pos x="connsiteX23275" y="connsiteY23275"/>
                </a:cxn>
                <a:cxn ang="0">
                  <a:pos x="connsiteX23276" y="connsiteY23276"/>
                </a:cxn>
                <a:cxn ang="0">
                  <a:pos x="connsiteX23277" y="connsiteY23277"/>
                </a:cxn>
                <a:cxn ang="0">
                  <a:pos x="connsiteX23278" y="connsiteY23278"/>
                </a:cxn>
                <a:cxn ang="0">
                  <a:pos x="connsiteX23279" y="connsiteY23279"/>
                </a:cxn>
                <a:cxn ang="0">
                  <a:pos x="connsiteX23280" y="connsiteY23280"/>
                </a:cxn>
                <a:cxn ang="0">
                  <a:pos x="connsiteX23281" y="connsiteY23281"/>
                </a:cxn>
                <a:cxn ang="0">
                  <a:pos x="connsiteX23282" y="connsiteY23282"/>
                </a:cxn>
                <a:cxn ang="0">
                  <a:pos x="connsiteX23283" y="connsiteY23283"/>
                </a:cxn>
                <a:cxn ang="0">
                  <a:pos x="connsiteX23284" y="connsiteY23284"/>
                </a:cxn>
                <a:cxn ang="0">
                  <a:pos x="connsiteX23285" y="connsiteY23285"/>
                </a:cxn>
                <a:cxn ang="0">
                  <a:pos x="connsiteX23286" y="connsiteY23286"/>
                </a:cxn>
                <a:cxn ang="0">
                  <a:pos x="connsiteX23287" y="connsiteY23287"/>
                </a:cxn>
                <a:cxn ang="0">
                  <a:pos x="connsiteX23288" y="connsiteY23288"/>
                </a:cxn>
                <a:cxn ang="0">
                  <a:pos x="connsiteX23289" y="connsiteY23289"/>
                </a:cxn>
                <a:cxn ang="0">
                  <a:pos x="connsiteX23290" y="connsiteY23290"/>
                </a:cxn>
                <a:cxn ang="0">
                  <a:pos x="connsiteX23291" y="connsiteY23291"/>
                </a:cxn>
                <a:cxn ang="0">
                  <a:pos x="connsiteX23292" y="connsiteY23292"/>
                </a:cxn>
                <a:cxn ang="0">
                  <a:pos x="connsiteX23293" y="connsiteY23293"/>
                </a:cxn>
                <a:cxn ang="0">
                  <a:pos x="connsiteX23294" y="connsiteY23294"/>
                </a:cxn>
                <a:cxn ang="0">
                  <a:pos x="connsiteX23295" y="connsiteY23295"/>
                </a:cxn>
                <a:cxn ang="0">
                  <a:pos x="connsiteX23296" y="connsiteY23296"/>
                </a:cxn>
                <a:cxn ang="0">
                  <a:pos x="connsiteX23297" y="connsiteY23297"/>
                </a:cxn>
                <a:cxn ang="0">
                  <a:pos x="connsiteX23298" y="connsiteY23298"/>
                </a:cxn>
                <a:cxn ang="0">
                  <a:pos x="connsiteX23299" y="connsiteY23299"/>
                </a:cxn>
                <a:cxn ang="0">
                  <a:pos x="connsiteX23300" y="connsiteY23300"/>
                </a:cxn>
                <a:cxn ang="0">
                  <a:pos x="connsiteX23301" y="connsiteY23301"/>
                </a:cxn>
                <a:cxn ang="0">
                  <a:pos x="connsiteX23302" y="connsiteY23302"/>
                </a:cxn>
                <a:cxn ang="0">
                  <a:pos x="connsiteX23303" y="connsiteY23303"/>
                </a:cxn>
                <a:cxn ang="0">
                  <a:pos x="connsiteX23304" y="connsiteY23304"/>
                </a:cxn>
                <a:cxn ang="0">
                  <a:pos x="connsiteX23305" y="connsiteY23305"/>
                </a:cxn>
                <a:cxn ang="0">
                  <a:pos x="connsiteX23306" y="connsiteY23306"/>
                </a:cxn>
                <a:cxn ang="0">
                  <a:pos x="connsiteX23307" y="connsiteY23307"/>
                </a:cxn>
                <a:cxn ang="0">
                  <a:pos x="connsiteX23308" y="connsiteY23308"/>
                </a:cxn>
                <a:cxn ang="0">
                  <a:pos x="connsiteX23309" y="connsiteY23309"/>
                </a:cxn>
                <a:cxn ang="0">
                  <a:pos x="connsiteX23310" y="connsiteY23310"/>
                </a:cxn>
                <a:cxn ang="0">
                  <a:pos x="connsiteX23311" y="connsiteY23311"/>
                </a:cxn>
                <a:cxn ang="0">
                  <a:pos x="connsiteX23312" y="connsiteY23312"/>
                </a:cxn>
                <a:cxn ang="0">
                  <a:pos x="connsiteX23313" y="connsiteY23313"/>
                </a:cxn>
                <a:cxn ang="0">
                  <a:pos x="connsiteX23314" y="connsiteY23314"/>
                </a:cxn>
                <a:cxn ang="0">
                  <a:pos x="connsiteX23315" y="connsiteY23315"/>
                </a:cxn>
                <a:cxn ang="0">
                  <a:pos x="connsiteX23316" y="connsiteY23316"/>
                </a:cxn>
                <a:cxn ang="0">
                  <a:pos x="connsiteX23317" y="connsiteY23317"/>
                </a:cxn>
                <a:cxn ang="0">
                  <a:pos x="connsiteX23318" y="connsiteY23318"/>
                </a:cxn>
                <a:cxn ang="0">
                  <a:pos x="connsiteX23319" y="connsiteY23319"/>
                </a:cxn>
                <a:cxn ang="0">
                  <a:pos x="connsiteX23320" y="connsiteY23320"/>
                </a:cxn>
                <a:cxn ang="0">
                  <a:pos x="connsiteX23321" y="connsiteY23321"/>
                </a:cxn>
                <a:cxn ang="0">
                  <a:pos x="connsiteX23322" y="connsiteY23322"/>
                </a:cxn>
                <a:cxn ang="0">
                  <a:pos x="connsiteX23323" y="connsiteY23323"/>
                </a:cxn>
                <a:cxn ang="0">
                  <a:pos x="connsiteX23324" y="connsiteY23324"/>
                </a:cxn>
                <a:cxn ang="0">
                  <a:pos x="connsiteX23325" y="connsiteY23325"/>
                </a:cxn>
                <a:cxn ang="0">
                  <a:pos x="connsiteX23326" y="connsiteY23326"/>
                </a:cxn>
                <a:cxn ang="0">
                  <a:pos x="connsiteX23327" y="connsiteY23327"/>
                </a:cxn>
                <a:cxn ang="0">
                  <a:pos x="connsiteX23328" y="connsiteY23328"/>
                </a:cxn>
                <a:cxn ang="0">
                  <a:pos x="connsiteX23329" y="connsiteY23329"/>
                </a:cxn>
                <a:cxn ang="0">
                  <a:pos x="connsiteX23330" y="connsiteY23330"/>
                </a:cxn>
                <a:cxn ang="0">
                  <a:pos x="connsiteX23331" y="connsiteY23331"/>
                </a:cxn>
                <a:cxn ang="0">
                  <a:pos x="connsiteX23332" y="connsiteY23332"/>
                </a:cxn>
                <a:cxn ang="0">
                  <a:pos x="connsiteX23333" y="connsiteY23333"/>
                </a:cxn>
                <a:cxn ang="0">
                  <a:pos x="connsiteX23334" y="connsiteY23334"/>
                </a:cxn>
                <a:cxn ang="0">
                  <a:pos x="connsiteX23335" y="connsiteY23335"/>
                </a:cxn>
                <a:cxn ang="0">
                  <a:pos x="connsiteX23336" y="connsiteY23336"/>
                </a:cxn>
                <a:cxn ang="0">
                  <a:pos x="connsiteX23337" y="connsiteY23337"/>
                </a:cxn>
                <a:cxn ang="0">
                  <a:pos x="connsiteX23338" y="connsiteY23338"/>
                </a:cxn>
                <a:cxn ang="0">
                  <a:pos x="connsiteX23339" y="connsiteY23339"/>
                </a:cxn>
                <a:cxn ang="0">
                  <a:pos x="connsiteX23340" y="connsiteY23340"/>
                </a:cxn>
                <a:cxn ang="0">
                  <a:pos x="connsiteX23341" y="connsiteY23341"/>
                </a:cxn>
                <a:cxn ang="0">
                  <a:pos x="connsiteX23342" y="connsiteY23342"/>
                </a:cxn>
                <a:cxn ang="0">
                  <a:pos x="connsiteX23343" y="connsiteY23343"/>
                </a:cxn>
                <a:cxn ang="0">
                  <a:pos x="connsiteX23344" y="connsiteY23344"/>
                </a:cxn>
                <a:cxn ang="0">
                  <a:pos x="connsiteX23345" y="connsiteY23345"/>
                </a:cxn>
                <a:cxn ang="0">
                  <a:pos x="connsiteX23346" y="connsiteY23346"/>
                </a:cxn>
                <a:cxn ang="0">
                  <a:pos x="connsiteX23347" y="connsiteY23347"/>
                </a:cxn>
                <a:cxn ang="0">
                  <a:pos x="connsiteX23348" y="connsiteY23348"/>
                </a:cxn>
                <a:cxn ang="0">
                  <a:pos x="connsiteX23349" y="connsiteY23349"/>
                </a:cxn>
                <a:cxn ang="0">
                  <a:pos x="connsiteX23350" y="connsiteY23350"/>
                </a:cxn>
                <a:cxn ang="0">
                  <a:pos x="connsiteX23351" y="connsiteY23351"/>
                </a:cxn>
                <a:cxn ang="0">
                  <a:pos x="connsiteX23352" y="connsiteY23352"/>
                </a:cxn>
                <a:cxn ang="0">
                  <a:pos x="connsiteX23353" y="connsiteY23353"/>
                </a:cxn>
                <a:cxn ang="0">
                  <a:pos x="connsiteX23354" y="connsiteY23354"/>
                </a:cxn>
                <a:cxn ang="0">
                  <a:pos x="connsiteX23355" y="connsiteY23355"/>
                </a:cxn>
                <a:cxn ang="0">
                  <a:pos x="connsiteX23356" y="connsiteY23356"/>
                </a:cxn>
                <a:cxn ang="0">
                  <a:pos x="connsiteX23357" y="connsiteY23357"/>
                </a:cxn>
                <a:cxn ang="0">
                  <a:pos x="connsiteX23358" y="connsiteY23358"/>
                </a:cxn>
                <a:cxn ang="0">
                  <a:pos x="connsiteX23359" y="connsiteY23359"/>
                </a:cxn>
                <a:cxn ang="0">
                  <a:pos x="connsiteX23360" y="connsiteY23360"/>
                </a:cxn>
                <a:cxn ang="0">
                  <a:pos x="connsiteX23361" y="connsiteY23361"/>
                </a:cxn>
                <a:cxn ang="0">
                  <a:pos x="connsiteX23362" y="connsiteY23362"/>
                </a:cxn>
                <a:cxn ang="0">
                  <a:pos x="connsiteX23363" y="connsiteY23363"/>
                </a:cxn>
                <a:cxn ang="0">
                  <a:pos x="connsiteX23364" y="connsiteY23364"/>
                </a:cxn>
                <a:cxn ang="0">
                  <a:pos x="connsiteX23365" y="connsiteY23365"/>
                </a:cxn>
                <a:cxn ang="0">
                  <a:pos x="connsiteX23366" y="connsiteY23366"/>
                </a:cxn>
                <a:cxn ang="0">
                  <a:pos x="connsiteX23367" y="connsiteY23367"/>
                </a:cxn>
                <a:cxn ang="0">
                  <a:pos x="connsiteX23368" y="connsiteY23368"/>
                </a:cxn>
                <a:cxn ang="0">
                  <a:pos x="connsiteX23369" y="connsiteY23369"/>
                </a:cxn>
                <a:cxn ang="0">
                  <a:pos x="connsiteX23370" y="connsiteY23370"/>
                </a:cxn>
                <a:cxn ang="0">
                  <a:pos x="connsiteX23371" y="connsiteY23371"/>
                </a:cxn>
                <a:cxn ang="0">
                  <a:pos x="connsiteX23372" y="connsiteY23372"/>
                </a:cxn>
                <a:cxn ang="0">
                  <a:pos x="connsiteX23373" y="connsiteY23373"/>
                </a:cxn>
                <a:cxn ang="0">
                  <a:pos x="connsiteX23374" y="connsiteY23374"/>
                </a:cxn>
                <a:cxn ang="0">
                  <a:pos x="connsiteX23375" y="connsiteY23375"/>
                </a:cxn>
                <a:cxn ang="0">
                  <a:pos x="connsiteX23376" y="connsiteY23376"/>
                </a:cxn>
                <a:cxn ang="0">
                  <a:pos x="connsiteX23377" y="connsiteY23377"/>
                </a:cxn>
                <a:cxn ang="0">
                  <a:pos x="connsiteX23378" y="connsiteY23378"/>
                </a:cxn>
                <a:cxn ang="0">
                  <a:pos x="connsiteX23379" y="connsiteY23379"/>
                </a:cxn>
                <a:cxn ang="0">
                  <a:pos x="connsiteX23380" y="connsiteY23380"/>
                </a:cxn>
                <a:cxn ang="0">
                  <a:pos x="connsiteX23381" y="connsiteY23381"/>
                </a:cxn>
                <a:cxn ang="0">
                  <a:pos x="connsiteX23382" y="connsiteY23382"/>
                </a:cxn>
                <a:cxn ang="0">
                  <a:pos x="connsiteX23383" y="connsiteY23383"/>
                </a:cxn>
                <a:cxn ang="0">
                  <a:pos x="connsiteX23384" y="connsiteY23384"/>
                </a:cxn>
                <a:cxn ang="0">
                  <a:pos x="connsiteX23385" y="connsiteY23385"/>
                </a:cxn>
                <a:cxn ang="0">
                  <a:pos x="connsiteX23386" y="connsiteY23386"/>
                </a:cxn>
                <a:cxn ang="0">
                  <a:pos x="connsiteX23387" y="connsiteY23387"/>
                </a:cxn>
                <a:cxn ang="0">
                  <a:pos x="connsiteX23388" y="connsiteY23388"/>
                </a:cxn>
                <a:cxn ang="0">
                  <a:pos x="connsiteX23389" y="connsiteY23389"/>
                </a:cxn>
                <a:cxn ang="0">
                  <a:pos x="connsiteX23390" y="connsiteY23390"/>
                </a:cxn>
                <a:cxn ang="0">
                  <a:pos x="connsiteX23391" y="connsiteY23391"/>
                </a:cxn>
                <a:cxn ang="0">
                  <a:pos x="connsiteX23392" y="connsiteY23392"/>
                </a:cxn>
                <a:cxn ang="0">
                  <a:pos x="connsiteX23393" y="connsiteY23393"/>
                </a:cxn>
                <a:cxn ang="0">
                  <a:pos x="connsiteX23394" y="connsiteY23394"/>
                </a:cxn>
                <a:cxn ang="0">
                  <a:pos x="connsiteX23395" y="connsiteY23395"/>
                </a:cxn>
                <a:cxn ang="0">
                  <a:pos x="connsiteX23396" y="connsiteY23396"/>
                </a:cxn>
                <a:cxn ang="0">
                  <a:pos x="connsiteX23397" y="connsiteY23397"/>
                </a:cxn>
                <a:cxn ang="0">
                  <a:pos x="connsiteX23398" y="connsiteY23398"/>
                </a:cxn>
                <a:cxn ang="0">
                  <a:pos x="connsiteX23399" y="connsiteY23399"/>
                </a:cxn>
                <a:cxn ang="0">
                  <a:pos x="connsiteX23400" y="connsiteY23400"/>
                </a:cxn>
                <a:cxn ang="0">
                  <a:pos x="connsiteX23401" y="connsiteY23401"/>
                </a:cxn>
                <a:cxn ang="0">
                  <a:pos x="connsiteX23402" y="connsiteY23402"/>
                </a:cxn>
                <a:cxn ang="0">
                  <a:pos x="connsiteX23403" y="connsiteY23403"/>
                </a:cxn>
                <a:cxn ang="0">
                  <a:pos x="connsiteX23404" y="connsiteY23404"/>
                </a:cxn>
                <a:cxn ang="0">
                  <a:pos x="connsiteX23405" y="connsiteY23405"/>
                </a:cxn>
                <a:cxn ang="0">
                  <a:pos x="connsiteX23406" y="connsiteY23406"/>
                </a:cxn>
                <a:cxn ang="0">
                  <a:pos x="connsiteX23407" y="connsiteY23407"/>
                </a:cxn>
                <a:cxn ang="0">
                  <a:pos x="connsiteX23408" y="connsiteY23408"/>
                </a:cxn>
                <a:cxn ang="0">
                  <a:pos x="connsiteX23409" y="connsiteY23409"/>
                </a:cxn>
                <a:cxn ang="0">
                  <a:pos x="connsiteX23410" y="connsiteY23410"/>
                </a:cxn>
                <a:cxn ang="0">
                  <a:pos x="connsiteX23411" y="connsiteY23411"/>
                </a:cxn>
                <a:cxn ang="0">
                  <a:pos x="connsiteX23412" y="connsiteY23412"/>
                </a:cxn>
                <a:cxn ang="0">
                  <a:pos x="connsiteX23413" y="connsiteY23413"/>
                </a:cxn>
                <a:cxn ang="0">
                  <a:pos x="connsiteX23414" y="connsiteY23414"/>
                </a:cxn>
                <a:cxn ang="0">
                  <a:pos x="connsiteX23415" y="connsiteY23415"/>
                </a:cxn>
                <a:cxn ang="0">
                  <a:pos x="connsiteX23416" y="connsiteY23416"/>
                </a:cxn>
                <a:cxn ang="0">
                  <a:pos x="connsiteX23417" y="connsiteY23417"/>
                </a:cxn>
                <a:cxn ang="0">
                  <a:pos x="connsiteX23418" y="connsiteY23418"/>
                </a:cxn>
                <a:cxn ang="0">
                  <a:pos x="connsiteX23419" y="connsiteY23419"/>
                </a:cxn>
                <a:cxn ang="0">
                  <a:pos x="connsiteX23420" y="connsiteY23420"/>
                </a:cxn>
                <a:cxn ang="0">
                  <a:pos x="connsiteX23421" y="connsiteY23421"/>
                </a:cxn>
                <a:cxn ang="0">
                  <a:pos x="connsiteX23422" y="connsiteY23422"/>
                </a:cxn>
                <a:cxn ang="0">
                  <a:pos x="connsiteX23423" y="connsiteY23423"/>
                </a:cxn>
                <a:cxn ang="0">
                  <a:pos x="connsiteX23424" y="connsiteY23424"/>
                </a:cxn>
                <a:cxn ang="0">
                  <a:pos x="connsiteX23425" y="connsiteY23425"/>
                </a:cxn>
                <a:cxn ang="0">
                  <a:pos x="connsiteX23426" y="connsiteY23426"/>
                </a:cxn>
                <a:cxn ang="0">
                  <a:pos x="connsiteX23427" y="connsiteY23427"/>
                </a:cxn>
                <a:cxn ang="0">
                  <a:pos x="connsiteX23428" y="connsiteY23428"/>
                </a:cxn>
                <a:cxn ang="0">
                  <a:pos x="connsiteX23429" y="connsiteY23429"/>
                </a:cxn>
                <a:cxn ang="0">
                  <a:pos x="connsiteX23430" y="connsiteY23430"/>
                </a:cxn>
                <a:cxn ang="0">
                  <a:pos x="connsiteX23431" y="connsiteY23431"/>
                </a:cxn>
                <a:cxn ang="0">
                  <a:pos x="connsiteX23432" y="connsiteY23432"/>
                </a:cxn>
                <a:cxn ang="0">
                  <a:pos x="connsiteX23433" y="connsiteY23433"/>
                </a:cxn>
                <a:cxn ang="0">
                  <a:pos x="connsiteX23434" y="connsiteY23434"/>
                </a:cxn>
                <a:cxn ang="0">
                  <a:pos x="connsiteX23435" y="connsiteY23435"/>
                </a:cxn>
                <a:cxn ang="0">
                  <a:pos x="connsiteX23436" y="connsiteY23436"/>
                </a:cxn>
                <a:cxn ang="0">
                  <a:pos x="connsiteX23437" y="connsiteY23437"/>
                </a:cxn>
                <a:cxn ang="0">
                  <a:pos x="connsiteX23438" y="connsiteY23438"/>
                </a:cxn>
                <a:cxn ang="0">
                  <a:pos x="connsiteX23439" y="connsiteY23439"/>
                </a:cxn>
                <a:cxn ang="0">
                  <a:pos x="connsiteX23440" y="connsiteY23440"/>
                </a:cxn>
                <a:cxn ang="0">
                  <a:pos x="connsiteX23441" y="connsiteY23441"/>
                </a:cxn>
                <a:cxn ang="0">
                  <a:pos x="connsiteX23442" y="connsiteY23442"/>
                </a:cxn>
                <a:cxn ang="0">
                  <a:pos x="connsiteX23443" y="connsiteY23443"/>
                </a:cxn>
                <a:cxn ang="0">
                  <a:pos x="connsiteX23444" y="connsiteY23444"/>
                </a:cxn>
                <a:cxn ang="0">
                  <a:pos x="connsiteX23445" y="connsiteY23445"/>
                </a:cxn>
                <a:cxn ang="0">
                  <a:pos x="connsiteX23446" y="connsiteY23446"/>
                </a:cxn>
                <a:cxn ang="0">
                  <a:pos x="connsiteX23447" y="connsiteY23447"/>
                </a:cxn>
                <a:cxn ang="0">
                  <a:pos x="connsiteX23448" y="connsiteY23448"/>
                </a:cxn>
                <a:cxn ang="0">
                  <a:pos x="connsiteX23449" y="connsiteY23449"/>
                </a:cxn>
                <a:cxn ang="0">
                  <a:pos x="connsiteX23450" y="connsiteY23450"/>
                </a:cxn>
                <a:cxn ang="0">
                  <a:pos x="connsiteX23451" y="connsiteY23451"/>
                </a:cxn>
                <a:cxn ang="0">
                  <a:pos x="connsiteX23452" y="connsiteY23452"/>
                </a:cxn>
                <a:cxn ang="0">
                  <a:pos x="connsiteX23453" y="connsiteY23453"/>
                </a:cxn>
                <a:cxn ang="0">
                  <a:pos x="connsiteX23454" y="connsiteY23454"/>
                </a:cxn>
                <a:cxn ang="0">
                  <a:pos x="connsiteX23455" y="connsiteY23455"/>
                </a:cxn>
                <a:cxn ang="0">
                  <a:pos x="connsiteX23456" y="connsiteY23456"/>
                </a:cxn>
                <a:cxn ang="0">
                  <a:pos x="connsiteX23457" y="connsiteY23457"/>
                </a:cxn>
                <a:cxn ang="0">
                  <a:pos x="connsiteX23458" y="connsiteY23458"/>
                </a:cxn>
                <a:cxn ang="0">
                  <a:pos x="connsiteX23459" y="connsiteY23459"/>
                </a:cxn>
                <a:cxn ang="0">
                  <a:pos x="connsiteX23460" y="connsiteY23460"/>
                </a:cxn>
                <a:cxn ang="0">
                  <a:pos x="connsiteX23461" y="connsiteY23461"/>
                </a:cxn>
                <a:cxn ang="0">
                  <a:pos x="connsiteX23462" y="connsiteY23462"/>
                </a:cxn>
                <a:cxn ang="0">
                  <a:pos x="connsiteX23463" y="connsiteY23463"/>
                </a:cxn>
                <a:cxn ang="0">
                  <a:pos x="connsiteX23464" y="connsiteY23464"/>
                </a:cxn>
                <a:cxn ang="0">
                  <a:pos x="connsiteX23465" y="connsiteY23465"/>
                </a:cxn>
                <a:cxn ang="0">
                  <a:pos x="connsiteX23466" y="connsiteY23466"/>
                </a:cxn>
                <a:cxn ang="0">
                  <a:pos x="connsiteX23467" y="connsiteY23467"/>
                </a:cxn>
                <a:cxn ang="0">
                  <a:pos x="connsiteX23468" y="connsiteY23468"/>
                </a:cxn>
                <a:cxn ang="0">
                  <a:pos x="connsiteX23469" y="connsiteY23469"/>
                </a:cxn>
                <a:cxn ang="0">
                  <a:pos x="connsiteX23470" y="connsiteY23470"/>
                </a:cxn>
                <a:cxn ang="0">
                  <a:pos x="connsiteX23471" y="connsiteY23471"/>
                </a:cxn>
                <a:cxn ang="0">
                  <a:pos x="connsiteX23472" y="connsiteY23472"/>
                </a:cxn>
                <a:cxn ang="0">
                  <a:pos x="connsiteX23473" y="connsiteY23473"/>
                </a:cxn>
                <a:cxn ang="0">
                  <a:pos x="connsiteX23474" y="connsiteY23474"/>
                </a:cxn>
                <a:cxn ang="0">
                  <a:pos x="connsiteX23475" y="connsiteY23475"/>
                </a:cxn>
                <a:cxn ang="0">
                  <a:pos x="connsiteX23476" y="connsiteY23476"/>
                </a:cxn>
                <a:cxn ang="0">
                  <a:pos x="connsiteX23477" y="connsiteY23477"/>
                </a:cxn>
                <a:cxn ang="0">
                  <a:pos x="connsiteX23478" y="connsiteY23478"/>
                </a:cxn>
                <a:cxn ang="0">
                  <a:pos x="connsiteX23479" y="connsiteY23479"/>
                </a:cxn>
                <a:cxn ang="0">
                  <a:pos x="connsiteX23480" y="connsiteY23480"/>
                </a:cxn>
                <a:cxn ang="0">
                  <a:pos x="connsiteX23481" y="connsiteY23481"/>
                </a:cxn>
                <a:cxn ang="0">
                  <a:pos x="connsiteX23482" y="connsiteY23482"/>
                </a:cxn>
                <a:cxn ang="0">
                  <a:pos x="connsiteX23483" y="connsiteY23483"/>
                </a:cxn>
                <a:cxn ang="0">
                  <a:pos x="connsiteX23484" y="connsiteY23484"/>
                </a:cxn>
                <a:cxn ang="0">
                  <a:pos x="connsiteX23485" y="connsiteY23485"/>
                </a:cxn>
                <a:cxn ang="0">
                  <a:pos x="connsiteX23486" y="connsiteY23486"/>
                </a:cxn>
                <a:cxn ang="0">
                  <a:pos x="connsiteX23487" y="connsiteY23487"/>
                </a:cxn>
                <a:cxn ang="0">
                  <a:pos x="connsiteX23488" y="connsiteY23488"/>
                </a:cxn>
                <a:cxn ang="0">
                  <a:pos x="connsiteX23489" y="connsiteY23489"/>
                </a:cxn>
                <a:cxn ang="0">
                  <a:pos x="connsiteX23490" y="connsiteY23490"/>
                </a:cxn>
                <a:cxn ang="0">
                  <a:pos x="connsiteX23491" y="connsiteY23491"/>
                </a:cxn>
                <a:cxn ang="0">
                  <a:pos x="connsiteX23492" y="connsiteY23492"/>
                </a:cxn>
                <a:cxn ang="0">
                  <a:pos x="connsiteX23493" y="connsiteY23493"/>
                </a:cxn>
                <a:cxn ang="0">
                  <a:pos x="connsiteX23494" y="connsiteY23494"/>
                </a:cxn>
                <a:cxn ang="0">
                  <a:pos x="connsiteX23495" y="connsiteY23495"/>
                </a:cxn>
                <a:cxn ang="0">
                  <a:pos x="connsiteX23496" y="connsiteY23496"/>
                </a:cxn>
                <a:cxn ang="0">
                  <a:pos x="connsiteX23497" y="connsiteY23497"/>
                </a:cxn>
                <a:cxn ang="0">
                  <a:pos x="connsiteX23498" y="connsiteY23498"/>
                </a:cxn>
                <a:cxn ang="0">
                  <a:pos x="connsiteX23499" y="connsiteY23499"/>
                </a:cxn>
                <a:cxn ang="0">
                  <a:pos x="connsiteX23500" y="connsiteY23500"/>
                </a:cxn>
                <a:cxn ang="0">
                  <a:pos x="connsiteX23501" y="connsiteY23501"/>
                </a:cxn>
                <a:cxn ang="0">
                  <a:pos x="connsiteX23502" y="connsiteY23502"/>
                </a:cxn>
                <a:cxn ang="0">
                  <a:pos x="connsiteX23503" y="connsiteY23503"/>
                </a:cxn>
                <a:cxn ang="0">
                  <a:pos x="connsiteX23504" y="connsiteY23504"/>
                </a:cxn>
                <a:cxn ang="0">
                  <a:pos x="connsiteX23505" y="connsiteY23505"/>
                </a:cxn>
                <a:cxn ang="0">
                  <a:pos x="connsiteX23506" y="connsiteY23506"/>
                </a:cxn>
                <a:cxn ang="0">
                  <a:pos x="connsiteX23507" y="connsiteY23507"/>
                </a:cxn>
                <a:cxn ang="0">
                  <a:pos x="connsiteX23508" y="connsiteY23508"/>
                </a:cxn>
                <a:cxn ang="0">
                  <a:pos x="connsiteX23509" y="connsiteY23509"/>
                </a:cxn>
                <a:cxn ang="0">
                  <a:pos x="connsiteX23510" y="connsiteY23510"/>
                </a:cxn>
                <a:cxn ang="0">
                  <a:pos x="connsiteX23511" y="connsiteY23511"/>
                </a:cxn>
                <a:cxn ang="0">
                  <a:pos x="connsiteX23512" y="connsiteY23512"/>
                </a:cxn>
                <a:cxn ang="0">
                  <a:pos x="connsiteX23513" y="connsiteY23513"/>
                </a:cxn>
                <a:cxn ang="0">
                  <a:pos x="connsiteX23514" y="connsiteY23514"/>
                </a:cxn>
                <a:cxn ang="0">
                  <a:pos x="connsiteX23515" y="connsiteY23515"/>
                </a:cxn>
                <a:cxn ang="0">
                  <a:pos x="connsiteX23516" y="connsiteY23516"/>
                </a:cxn>
                <a:cxn ang="0">
                  <a:pos x="connsiteX23517" y="connsiteY23517"/>
                </a:cxn>
                <a:cxn ang="0">
                  <a:pos x="connsiteX23518" y="connsiteY23518"/>
                </a:cxn>
                <a:cxn ang="0">
                  <a:pos x="connsiteX23519" y="connsiteY23519"/>
                </a:cxn>
                <a:cxn ang="0">
                  <a:pos x="connsiteX23520" y="connsiteY23520"/>
                </a:cxn>
                <a:cxn ang="0">
                  <a:pos x="connsiteX23521" y="connsiteY23521"/>
                </a:cxn>
                <a:cxn ang="0">
                  <a:pos x="connsiteX23522" y="connsiteY23522"/>
                </a:cxn>
                <a:cxn ang="0">
                  <a:pos x="connsiteX23523" y="connsiteY23523"/>
                </a:cxn>
                <a:cxn ang="0">
                  <a:pos x="connsiteX23524" y="connsiteY23524"/>
                </a:cxn>
                <a:cxn ang="0">
                  <a:pos x="connsiteX23525" y="connsiteY23525"/>
                </a:cxn>
                <a:cxn ang="0">
                  <a:pos x="connsiteX23526" y="connsiteY23526"/>
                </a:cxn>
                <a:cxn ang="0">
                  <a:pos x="connsiteX23527" y="connsiteY23527"/>
                </a:cxn>
                <a:cxn ang="0">
                  <a:pos x="connsiteX23528" y="connsiteY23528"/>
                </a:cxn>
                <a:cxn ang="0">
                  <a:pos x="connsiteX23529" y="connsiteY23529"/>
                </a:cxn>
                <a:cxn ang="0">
                  <a:pos x="connsiteX23530" y="connsiteY23530"/>
                </a:cxn>
                <a:cxn ang="0">
                  <a:pos x="connsiteX23531" y="connsiteY23531"/>
                </a:cxn>
                <a:cxn ang="0">
                  <a:pos x="connsiteX23532" y="connsiteY23532"/>
                </a:cxn>
                <a:cxn ang="0">
                  <a:pos x="connsiteX23533" y="connsiteY23533"/>
                </a:cxn>
                <a:cxn ang="0">
                  <a:pos x="connsiteX23534" y="connsiteY23534"/>
                </a:cxn>
                <a:cxn ang="0">
                  <a:pos x="connsiteX23535" y="connsiteY23535"/>
                </a:cxn>
                <a:cxn ang="0">
                  <a:pos x="connsiteX23536" y="connsiteY23536"/>
                </a:cxn>
                <a:cxn ang="0">
                  <a:pos x="connsiteX23537" y="connsiteY23537"/>
                </a:cxn>
                <a:cxn ang="0">
                  <a:pos x="connsiteX23538" y="connsiteY23538"/>
                </a:cxn>
                <a:cxn ang="0">
                  <a:pos x="connsiteX23539" y="connsiteY23539"/>
                </a:cxn>
                <a:cxn ang="0">
                  <a:pos x="connsiteX23540" y="connsiteY23540"/>
                </a:cxn>
                <a:cxn ang="0">
                  <a:pos x="connsiteX23541" y="connsiteY23541"/>
                </a:cxn>
                <a:cxn ang="0">
                  <a:pos x="connsiteX23542" y="connsiteY23542"/>
                </a:cxn>
                <a:cxn ang="0">
                  <a:pos x="connsiteX23543" y="connsiteY23543"/>
                </a:cxn>
                <a:cxn ang="0">
                  <a:pos x="connsiteX23544" y="connsiteY23544"/>
                </a:cxn>
                <a:cxn ang="0">
                  <a:pos x="connsiteX23545" y="connsiteY23545"/>
                </a:cxn>
                <a:cxn ang="0">
                  <a:pos x="connsiteX23546" y="connsiteY23546"/>
                </a:cxn>
                <a:cxn ang="0">
                  <a:pos x="connsiteX23547" y="connsiteY23547"/>
                </a:cxn>
                <a:cxn ang="0">
                  <a:pos x="connsiteX23548" y="connsiteY23548"/>
                </a:cxn>
                <a:cxn ang="0">
                  <a:pos x="connsiteX23549" y="connsiteY23549"/>
                </a:cxn>
                <a:cxn ang="0">
                  <a:pos x="connsiteX23550" y="connsiteY23550"/>
                </a:cxn>
                <a:cxn ang="0">
                  <a:pos x="connsiteX23551" y="connsiteY23551"/>
                </a:cxn>
                <a:cxn ang="0">
                  <a:pos x="connsiteX23552" y="connsiteY23552"/>
                </a:cxn>
                <a:cxn ang="0">
                  <a:pos x="connsiteX23553" y="connsiteY23553"/>
                </a:cxn>
                <a:cxn ang="0">
                  <a:pos x="connsiteX23554" y="connsiteY23554"/>
                </a:cxn>
                <a:cxn ang="0">
                  <a:pos x="connsiteX23555" y="connsiteY23555"/>
                </a:cxn>
                <a:cxn ang="0">
                  <a:pos x="connsiteX23556" y="connsiteY23556"/>
                </a:cxn>
                <a:cxn ang="0">
                  <a:pos x="connsiteX23557" y="connsiteY23557"/>
                </a:cxn>
                <a:cxn ang="0">
                  <a:pos x="connsiteX23558" y="connsiteY23558"/>
                </a:cxn>
                <a:cxn ang="0">
                  <a:pos x="connsiteX23559" y="connsiteY23559"/>
                </a:cxn>
                <a:cxn ang="0">
                  <a:pos x="connsiteX23560" y="connsiteY23560"/>
                </a:cxn>
                <a:cxn ang="0">
                  <a:pos x="connsiteX23561" y="connsiteY23561"/>
                </a:cxn>
                <a:cxn ang="0">
                  <a:pos x="connsiteX23562" y="connsiteY23562"/>
                </a:cxn>
                <a:cxn ang="0">
                  <a:pos x="connsiteX23563" y="connsiteY23563"/>
                </a:cxn>
                <a:cxn ang="0">
                  <a:pos x="connsiteX23564" y="connsiteY23564"/>
                </a:cxn>
                <a:cxn ang="0">
                  <a:pos x="connsiteX23565" y="connsiteY23565"/>
                </a:cxn>
                <a:cxn ang="0">
                  <a:pos x="connsiteX23566" y="connsiteY23566"/>
                </a:cxn>
                <a:cxn ang="0">
                  <a:pos x="connsiteX23567" y="connsiteY23567"/>
                </a:cxn>
                <a:cxn ang="0">
                  <a:pos x="connsiteX23568" y="connsiteY23568"/>
                </a:cxn>
                <a:cxn ang="0">
                  <a:pos x="connsiteX23569" y="connsiteY23569"/>
                </a:cxn>
                <a:cxn ang="0">
                  <a:pos x="connsiteX23570" y="connsiteY23570"/>
                </a:cxn>
                <a:cxn ang="0">
                  <a:pos x="connsiteX23571" y="connsiteY23571"/>
                </a:cxn>
                <a:cxn ang="0">
                  <a:pos x="connsiteX23572" y="connsiteY23572"/>
                </a:cxn>
                <a:cxn ang="0">
                  <a:pos x="connsiteX23573" y="connsiteY23573"/>
                </a:cxn>
                <a:cxn ang="0">
                  <a:pos x="connsiteX23574" y="connsiteY23574"/>
                </a:cxn>
                <a:cxn ang="0">
                  <a:pos x="connsiteX23575" y="connsiteY23575"/>
                </a:cxn>
                <a:cxn ang="0">
                  <a:pos x="connsiteX23576" y="connsiteY23576"/>
                </a:cxn>
                <a:cxn ang="0">
                  <a:pos x="connsiteX23577" y="connsiteY23577"/>
                </a:cxn>
                <a:cxn ang="0">
                  <a:pos x="connsiteX23578" y="connsiteY23578"/>
                </a:cxn>
                <a:cxn ang="0">
                  <a:pos x="connsiteX23579" y="connsiteY23579"/>
                </a:cxn>
                <a:cxn ang="0">
                  <a:pos x="connsiteX23580" y="connsiteY23580"/>
                </a:cxn>
                <a:cxn ang="0">
                  <a:pos x="connsiteX23581" y="connsiteY23581"/>
                </a:cxn>
                <a:cxn ang="0">
                  <a:pos x="connsiteX23582" y="connsiteY23582"/>
                </a:cxn>
                <a:cxn ang="0">
                  <a:pos x="connsiteX23583" y="connsiteY23583"/>
                </a:cxn>
                <a:cxn ang="0">
                  <a:pos x="connsiteX23584" y="connsiteY23584"/>
                </a:cxn>
                <a:cxn ang="0">
                  <a:pos x="connsiteX23585" y="connsiteY23585"/>
                </a:cxn>
                <a:cxn ang="0">
                  <a:pos x="connsiteX23586" y="connsiteY23586"/>
                </a:cxn>
                <a:cxn ang="0">
                  <a:pos x="connsiteX23587" y="connsiteY23587"/>
                </a:cxn>
                <a:cxn ang="0">
                  <a:pos x="connsiteX23588" y="connsiteY23588"/>
                </a:cxn>
                <a:cxn ang="0">
                  <a:pos x="connsiteX23589" y="connsiteY23589"/>
                </a:cxn>
                <a:cxn ang="0">
                  <a:pos x="connsiteX23590" y="connsiteY23590"/>
                </a:cxn>
                <a:cxn ang="0">
                  <a:pos x="connsiteX23591" y="connsiteY23591"/>
                </a:cxn>
                <a:cxn ang="0">
                  <a:pos x="connsiteX23592" y="connsiteY23592"/>
                </a:cxn>
                <a:cxn ang="0">
                  <a:pos x="connsiteX23593" y="connsiteY23593"/>
                </a:cxn>
                <a:cxn ang="0">
                  <a:pos x="connsiteX23594" y="connsiteY23594"/>
                </a:cxn>
                <a:cxn ang="0">
                  <a:pos x="connsiteX23595" y="connsiteY23595"/>
                </a:cxn>
                <a:cxn ang="0">
                  <a:pos x="connsiteX23596" y="connsiteY23596"/>
                </a:cxn>
                <a:cxn ang="0">
                  <a:pos x="connsiteX23597" y="connsiteY23597"/>
                </a:cxn>
                <a:cxn ang="0">
                  <a:pos x="connsiteX23598" y="connsiteY23598"/>
                </a:cxn>
                <a:cxn ang="0">
                  <a:pos x="connsiteX23599" y="connsiteY23599"/>
                </a:cxn>
                <a:cxn ang="0">
                  <a:pos x="connsiteX23600" y="connsiteY23600"/>
                </a:cxn>
                <a:cxn ang="0">
                  <a:pos x="connsiteX23601" y="connsiteY23601"/>
                </a:cxn>
                <a:cxn ang="0">
                  <a:pos x="connsiteX23602" y="connsiteY23602"/>
                </a:cxn>
                <a:cxn ang="0">
                  <a:pos x="connsiteX23603" y="connsiteY23603"/>
                </a:cxn>
                <a:cxn ang="0">
                  <a:pos x="connsiteX23604" y="connsiteY23604"/>
                </a:cxn>
                <a:cxn ang="0">
                  <a:pos x="connsiteX23605" y="connsiteY23605"/>
                </a:cxn>
                <a:cxn ang="0">
                  <a:pos x="connsiteX23606" y="connsiteY23606"/>
                </a:cxn>
                <a:cxn ang="0">
                  <a:pos x="connsiteX23607" y="connsiteY23607"/>
                </a:cxn>
                <a:cxn ang="0">
                  <a:pos x="connsiteX23608" y="connsiteY23608"/>
                </a:cxn>
                <a:cxn ang="0">
                  <a:pos x="connsiteX23609" y="connsiteY23609"/>
                </a:cxn>
                <a:cxn ang="0">
                  <a:pos x="connsiteX23610" y="connsiteY23610"/>
                </a:cxn>
                <a:cxn ang="0">
                  <a:pos x="connsiteX23611" y="connsiteY23611"/>
                </a:cxn>
                <a:cxn ang="0">
                  <a:pos x="connsiteX23612" y="connsiteY23612"/>
                </a:cxn>
                <a:cxn ang="0">
                  <a:pos x="connsiteX23613" y="connsiteY23613"/>
                </a:cxn>
                <a:cxn ang="0">
                  <a:pos x="connsiteX23614" y="connsiteY23614"/>
                </a:cxn>
                <a:cxn ang="0">
                  <a:pos x="connsiteX23615" y="connsiteY23615"/>
                </a:cxn>
                <a:cxn ang="0">
                  <a:pos x="connsiteX23616" y="connsiteY23616"/>
                </a:cxn>
                <a:cxn ang="0">
                  <a:pos x="connsiteX23617" y="connsiteY23617"/>
                </a:cxn>
                <a:cxn ang="0">
                  <a:pos x="connsiteX23618" y="connsiteY23618"/>
                </a:cxn>
                <a:cxn ang="0">
                  <a:pos x="connsiteX23619" y="connsiteY23619"/>
                </a:cxn>
                <a:cxn ang="0">
                  <a:pos x="connsiteX23620" y="connsiteY23620"/>
                </a:cxn>
                <a:cxn ang="0">
                  <a:pos x="connsiteX23621" y="connsiteY23621"/>
                </a:cxn>
                <a:cxn ang="0">
                  <a:pos x="connsiteX23622" y="connsiteY23622"/>
                </a:cxn>
                <a:cxn ang="0">
                  <a:pos x="connsiteX23623" y="connsiteY23623"/>
                </a:cxn>
                <a:cxn ang="0">
                  <a:pos x="connsiteX23624" y="connsiteY23624"/>
                </a:cxn>
                <a:cxn ang="0">
                  <a:pos x="connsiteX23625" y="connsiteY23625"/>
                </a:cxn>
                <a:cxn ang="0">
                  <a:pos x="connsiteX23626" y="connsiteY23626"/>
                </a:cxn>
                <a:cxn ang="0">
                  <a:pos x="connsiteX23627" y="connsiteY23627"/>
                </a:cxn>
                <a:cxn ang="0">
                  <a:pos x="connsiteX23628" y="connsiteY23628"/>
                </a:cxn>
                <a:cxn ang="0">
                  <a:pos x="connsiteX23629" y="connsiteY23629"/>
                </a:cxn>
                <a:cxn ang="0">
                  <a:pos x="connsiteX23630" y="connsiteY23630"/>
                </a:cxn>
                <a:cxn ang="0">
                  <a:pos x="connsiteX23631" y="connsiteY23631"/>
                </a:cxn>
                <a:cxn ang="0">
                  <a:pos x="connsiteX23632" y="connsiteY23632"/>
                </a:cxn>
                <a:cxn ang="0">
                  <a:pos x="connsiteX23633" y="connsiteY23633"/>
                </a:cxn>
                <a:cxn ang="0">
                  <a:pos x="connsiteX23634" y="connsiteY23634"/>
                </a:cxn>
                <a:cxn ang="0">
                  <a:pos x="connsiteX23635" y="connsiteY23635"/>
                </a:cxn>
                <a:cxn ang="0">
                  <a:pos x="connsiteX23636" y="connsiteY23636"/>
                </a:cxn>
                <a:cxn ang="0">
                  <a:pos x="connsiteX23637" y="connsiteY23637"/>
                </a:cxn>
                <a:cxn ang="0">
                  <a:pos x="connsiteX23638" y="connsiteY23638"/>
                </a:cxn>
                <a:cxn ang="0">
                  <a:pos x="connsiteX23639" y="connsiteY23639"/>
                </a:cxn>
                <a:cxn ang="0">
                  <a:pos x="connsiteX23640" y="connsiteY23640"/>
                </a:cxn>
                <a:cxn ang="0">
                  <a:pos x="connsiteX23641" y="connsiteY23641"/>
                </a:cxn>
                <a:cxn ang="0">
                  <a:pos x="connsiteX23642" y="connsiteY23642"/>
                </a:cxn>
                <a:cxn ang="0">
                  <a:pos x="connsiteX23643" y="connsiteY23643"/>
                </a:cxn>
                <a:cxn ang="0">
                  <a:pos x="connsiteX23644" y="connsiteY23644"/>
                </a:cxn>
                <a:cxn ang="0">
                  <a:pos x="connsiteX23645" y="connsiteY23645"/>
                </a:cxn>
                <a:cxn ang="0">
                  <a:pos x="connsiteX23646" y="connsiteY23646"/>
                </a:cxn>
                <a:cxn ang="0">
                  <a:pos x="connsiteX23647" y="connsiteY23647"/>
                </a:cxn>
                <a:cxn ang="0">
                  <a:pos x="connsiteX23648" y="connsiteY23648"/>
                </a:cxn>
                <a:cxn ang="0">
                  <a:pos x="connsiteX23649" y="connsiteY23649"/>
                </a:cxn>
                <a:cxn ang="0">
                  <a:pos x="connsiteX23650" y="connsiteY23650"/>
                </a:cxn>
                <a:cxn ang="0">
                  <a:pos x="connsiteX23651" y="connsiteY23651"/>
                </a:cxn>
                <a:cxn ang="0">
                  <a:pos x="connsiteX23652" y="connsiteY23652"/>
                </a:cxn>
                <a:cxn ang="0">
                  <a:pos x="connsiteX23653" y="connsiteY23653"/>
                </a:cxn>
                <a:cxn ang="0">
                  <a:pos x="connsiteX23654" y="connsiteY23654"/>
                </a:cxn>
                <a:cxn ang="0">
                  <a:pos x="connsiteX23655" y="connsiteY23655"/>
                </a:cxn>
                <a:cxn ang="0">
                  <a:pos x="connsiteX23656" y="connsiteY23656"/>
                </a:cxn>
                <a:cxn ang="0">
                  <a:pos x="connsiteX23657" y="connsiteY23657"/>
                </a:cxn>
                <a:cxn ang="0">
                  <a:pos x="connsiteX23658" y="connsiteY23658"/>
                </a:cxn>
                <a:cxn ang="0">
                  <a:pos x="connsiteX23659" y="connsiteY23659"/>
                </a:cxn>
                <a:cxn ang="0">
                  <a:pos x="connsiteX23660" y="connsiteY23660"/>
                </a:cxn>
                <a:cxn ang="0">
                  <a:pos x="connsiteX23661" y="connsiteY23661"/>
                </a:cxn>
                <a:cxn ang="0">
                  <a:pos x="connsiteX23662" y="connsiteY23662"/>
                </a:cxn>
                <a:cxn ang="0">
                  <a:pos x="connsiteX23663" y="connsiteY23663"/>
                </a:cxn>
                <a:cxn ang="0">
                  <a:pos x="connsiteX23664" y="connsiteY23664"/>
                </a:cxn>
                <a:cxn ang="0">
                  <a:pos x="connsiteX23665" y="connsiteY23665"/>
                </a:cxn>
                <a:cxn ang="0">
                  <a:pos x="connsiteX23666" y="connsiteY23666"/>
                </a:cxn>
                <a:cxn ang="0">
                  <a:pos x="connsiteX23667" y="connsiteY23667"/>
                </a:cxn>
                <a:cxn ang="0">
                  <a:pos x="connsiteX23668" y="connsiteY23668"/>
                </a:cxn>
                <a:cxn ang="0">
                  <a:pos x="connsiteX23669" y="connsiteY23669"/>
                </a:cxn>
                <a:cxn ang="0">
                  <a:pos x="connsiteX23670" y="connsiteY23670"/>
                </a:cxn>
                <a:cxn ang="0">
                  <a:pos x="connsiteX23671" y="connsiteY23671"/>
                </a:cxn>
                <a:cxn ang="0">
                  <a:pos x="connsiteX23672" y="connsiteY23672"/>
                </a:cxn>
                <a:cxn ang="0">
                  <a:pos x="connsiteX23673" y="connsiteY23673"/>
                </a:cxn>
                <a:cxn ang="0">
                  <a:pos x="connsiteX23674" y="connsiteY23674"/>
                </a:cxn>
                <a:cxn ang="0">
                  <a:pos x="connsiteX23675" y="connsiteY23675"/>
                </a:cxn>
                <a:cxn ang="0">
                  <a:pos x="connsiteX23676" y="connsiteY23676"/>
                </a:cxn>
                <a:cxn ang="0">
                  <a:pos x="connsiteX23677" y="connsiteY23677"/>
                </a:cxn>
                <a:cxn ang="0">
                  <a:pos x="connsiteX23678" y="connsiteY23678"/>
                </a:cxn>
                <a:cxn ang="0">
                  <a:pos x="connsiteX23679" y="connsiteY23679"/>
                </a:cxn>
                <a:cxn ang="0">
                  <a:pos x="connsiteX23680" y="connsiteY23680"/>
                </a:cxn>
                <a:cxn ang="0">
                  <a:pos x="connsiteX23681" y="connsiteY23681"/>
                </a:cxn>
                <a:cxn ang="0">
                  <a:pos x="connsiteX23682" y="connsiteY23682"/>
                </a:cxn>
                <a:cxn ang="0">
                  <a:pos x="connsiteX23683" y="connsiteY23683"/>
                </a:cxn>
                <a:cxn ang="0">
                  <a:pos x="connsiteX23684" y="connsiteY23684"/>
                </a:cxn>
                <a:cxn ang="0">
                  <a:pos x="connsiteX23685" y="connsiteY23685"/>
                </a:cxn>
                <a:cxn ang="0">
                  <a:pos x="connsiteX23686" y="connsiteY23686"/>
                </a:cxn>
                <a:cxn ang="0">
                  <a:pos x="connsiteX23687" y="connsiteY23687"/>
                </a:cxn>
                <a:cxn ang="0">
                  <a:pos x="connsiteX23688" y="connsiteY23688"/>
                </a:cxn>
                <a:cxn ang="0">
                  <a:pos x="connsiteX23689" y="connsiteY23689"/>
                </a:cxn>
                <a:cxn ang="0">
                  <a:pos x="connsiteX23690" y="connsiteY23690"/>
                </a:cxn>
                <a:cxn ang="0">
                  <a:pos x="connsiteX23691" y="connsiteY23691"/>
                </a:cxn>
                <a:cxn ang="0">
                  <a:pos x="connsiteX23692" y="connsiteY23692"/>
                </a:cxn>
                <a:cxn ang="0">
                  <a:pos x="connsiteX23693" y="connsiteY23693"/>
                </a:cxn>
                <a:cxn ang="0">
                  <a:pos x="connsiteX23694" y="connsiteY23694"/>
                </a:cxn>
                <a:cxn ang="0">
                  <a:pos x="connsiteX23695" y="connsiteY23695"/>
                </a:cxn>
                <a:cxn ang="0">
                  <a:pos x="connsiteX23696" y="connsiteY23696"/>
                </a:cxn>
                <a:cxn ang="0">
                  <a:pos x="connsiteX23697" y="connsiteY23697"/>
                </a:cxn>
                <a:cxn ang="0">
                  <a:pos x="connsiteX23698" y="connsiteY23698"/>
                </a:cxn>
                <a:cxn ang="0">
                  <a:pos x="connsiteX23699" y="connsiteY23699"/>
                </a:cxn>
                <a:cxn ang="0">
                  <a:pos x="connsiteX23700" y="connsiteY23700"/>
                </a:cxn>
                <a:cxn ang="0">
                  <a:pos x="connsiteX23701" y="connsiteY23701"/>
                </a:cxn>
                <a:cxn ang="0">
                  <a:pos x="connsiteX23702" y="connsiteY23702"/>
                </a:cxn>
                <a:cxn ang="0">
                  <a:pos x="connsiteX23703" y="connsiteY23703"/>
                </a:cxn>
                <a:cxn ang="0">
                  <a:pos x="connsiteX23704" y="connsiteY23704"/>
                </a:cxn>
                <a:cxn ang="0">
                  <a:pos x="connsiteX23705" y="connsiteY23705"/>
                </a:cxn>
                <a:cxn ang="0">
                  <a:pos x="connsiteX23706" y="connsiteY23706"/>
                </a:cxn>
                <a:cxn ang="0">
                  <a:pos x="connsiteX23707" y="connsiteY23707"/>
                </a:cxn>
                <a:cxn ang="0">
                  <a:pos x="connsiteX23708" y="connsiteY23708"/>
                </a:cxn>
                <a:cxn ang="0">
                  <a:pos x="connsiteX23709" y="connsiteY23709"/>
                </a:cxn>
                <a:cxn ang="0">
                  <a:pos x="connsiteX23710" y="connsiteY23710"/>
                </a:cxn>
                <a:cxn ang="0">
                  <a:pos x="connsiteX23711" y="connsiteY23711"/>
                </a:cxn>
                <a:cxn ang="0">
                  <a:pos x="connsiteX23712" y="connsiteY23712"/>
                </a:cxn>
                <a:cxn ang="0">
                  <a:pos x="connsiteX23713" y="connsiteY23713"/>
                </a:cxn>
                <a:cxn ang="0">
                  <a:pos x="connsiteX23714" y="connsiteY23714"/>
                </a:cxn>
                <a:cxn ang="0">
                  <a:pos x="connsiteX23715" y="connsiteY23715"/>
                </a:cxn>
                <a:cxn ang="0">
                  <a:pos x="connsiteX23716" y="connsiteY23716"/>
                </a:cxn>
                <a:cxn ang="0">
                  <a:pos x="connsiteX23717" y="connsiteY23717"/>
                </a:cxn>
                <a:cxn ang="0">
                  <a:pos x="connsiteX23718" y="connsiteY23718"/>
                </a:cxn>
                <a:cxn ang="0">
                  <a:pos x="connsiteX23719" y="connsiteY23719"/>
                </a:cxn>
                <a:cxn ang="0">
                  <a:pos x="connsiteX23720" y="connsiteY23720"/>
                </a:cxn>
                <a:cxn ang="0">
                  <a:pos x="connsiteX23721" y="connsiteY23721"/>
                </a:cxn>
                <a:cxn ang="0">
                  <a:pos x="connsiteX23722" y="connsiteY23722"/>
                </a:cxn>
                <a:cxn ang="0">
                  <a:pos x="connsiteX23723" y="connsiteY23723"/>
                </a:cxn>
                <a:cxn ang="0">
                  <a:pos x="connsiteX23724" y="connsiteY23724"/>
                </a:cxn>
                <a:cxn ang="0">
                  <a:pos x="connsiteX23725" y="connsiteY23725"/>
                </a:cxn>
                <a:cxn ang="0">
                  <a:pos x="connsiteX23726" y="connsiteY23726"/>
                </a:cxn>
                <a:cxn ang="0">
                  <a:pos x="connsiteX23727" y="connsiteY23727"/>
                </a:cxn>
                <a:cxn ang="0">
                  <a:pos x="connsiteX23728" y="connsiteY23728"/>
                </a:cxn>
                <a:cxn ang="0">
                  <a:pos x="connsiteX23729" y="connsiteY23729"/>
                </a:cxn>
                <a:cxn ang="0">
                  <a:pos x="connsiteX23730" y="connsiteY23730"/>
                </a:cxn>
                <a:cxn ang="0">
                  <a:pos x="connsiteX23731" y="connsiteY23731"/>
                </a:cxn>
                <a:cxn ang="0">
                  <a:pos x="connsiteX23732" y="connsiteY23732"/>
                </a:cxn>
                <a:cxn ang="0">
                  <a:pos x="connsiteX23733" y="connsiteY23733"/>
                </a:cxn>
                <a:cxn ang="0">
                  <a:pos x="connsiteX23734" y="connsiteY23734"/>
                </a:cxn>
                <a:cxn ang="0">
                  <a:pos x="connsiteX23735" y="connsiteY23735"/>
                </a:cxn>
                <a:cxn ang="0">
                  <a:pos x="connsiteX23736" y="connsiteY23736"/>
                </a:cxn>
                <a:cxn ang="0">
                  <a:pos x="connsiteX23737" y="connsiteY23737"/>
                </a:cxn>
                <a:cxn ang="0">
                  <a:pos x="connsiteX23738" y="connsiteY23738"/>
                </a:cxn>
                <a:cxn ang="0">
                  <a:pos x="connsiteX23739" y="connsiteY23739"/>
                </a:cxn>
                <a:cxn ang="0">
                  <a:pos x="connsiteX23740" y="connsiteY23740"/>
                </a:cxn>
                <a:cxn ang="0">
                  <a:pos x="connsiteX23741" y="connsiteY23741"/>
                </a:cxn>
                <a:cxn ang="0">
                  <a:pos x="connsiteX23742" y="connsiteY23742"/>
                </a:cxn>
                <a:cxn ang="0">
                  <a:pos x="connsiteX23743" y="connsiteY23743"/>
                </a:cxn>
                <a:cxn ang="0">
                  <a:pos x="connsiteX23744" y="connsiteY23744"/>
                </a:cxn>
                <a:cxn ang="0">
                  <a:pos x="connsiteX23745" y="connsiteY23745"/>
                </a:cxn>
                <a:cxn ang="0">
                  <a:pos x="connsiteX23746" y="connsiteY23746"/>
                </a:cxn>
                <a:cxn ang="0">
                  <a:pos x="connsiteX23747" y="connsiteY23747"/>
                </a:cxn>
                <a:cxn ang="0">
                  <a:pos x="connsiteX23748" y="connsiteY23748"/>
                </a:cxn>
                <a:cxn ang="0">
                  <a:pos x="connsiteX23749" y="connsiteY23749"/>
                </a:cxn>
                <a:cxn ang="0">
                  <a:pos x="connsiteX23750" y="connsiteY23750"/>
                </a:cxn>
                <a:cxn ang="0">
                  <a:pos x="connsiteX23751" y="connsiteY23751"/>
                </a:cxn>
                <a:cxn ang="0">
                  <a:pos x="connsiteX23752" y="connsiteY23752"/>
                </a:cxn>
                <a:cxn ang="0">
                  <a:pos x="connsiteX23753" y="connsiteY23753"/>
                </a:cxn>
                <a:cxn ang="0">
                  <a:pos x="connsiteX23754" y="connsiteY23754"/>
                </a:cxn>
                <a:cxn ang="0">
                  <a:pos x="connsiteX23755" y="connsiteY23755"/>
                </a:cxn>
                <a:cxn ang="0">
                  <a:pos x="connsiteX23756" y="connsiteY23756"/>
                </a:cxn>
                <a:cxn ang="0">
                  <a:pos x="connsiteX23757" y="connsiteY23757"/>
                </a:cxn>
                <a:cxn ang="0">
                  <a:pos x="connsiteX23758" y="connsiteY23758"/>
                </a:cxn>
                <a:cxn ang="0">
                  <a:pos x="connsiteX23759" y="connsiteY23759"/>
                </a:cxn>
                <a:cxn ang="0">
                  <a:pos x="connsiteX23760" y="connsiteY23760"/>
                </a:cxn>
                <a:cxn ang="0">
                  <a:pos x="connsiteX23761" y="connsiteY23761"/>
                </a:cxn>
                <a:cxn ang="0">
                  <a:pos x="connsiteX23762" y="connsiteY23762"/>
                </a:cxn>
                <a:cxn ang="0">
                  <a:pos x="connsiteX23763" y="connsiteY23763"/>
                </a:cxn>
                <a:cxn ang="0">
                  <a:pos x="connsiteX23764" y="connsiteY23764"/>
                </a:cxn>
                <a:cxn ang="0">
                  <a:pos x="connsiteX23765" y="connsiteY23765"/>
                </a:cxn>
                <a:cxn ang="0">
                  <a:pos x="connsiteX23766" y="connsiteY23766"/>
                </a:cxn>
                <a:cxn ang="0">
                  <a:pos x="connsiteX23767" y="connsiteY23767"/>
                </a:cxn>
                <a:cxn ang="0">
                  <a:pos x="connsiteX23768" y="connsiteY23768"/>
                </a:cxn>
                <a:cxn ang="0">
                  <a:pos x="connsiteX23769" y="connsiteY23769"/>
                </a:cxn>
                <a:cxn ang="0">
                  <a:pos x="connsiteX23770" y="connsiteY23770"/>
                </a:cxn>
                <a:cxn ang="0">
                  <a:pos x="connsiteX23771" y="connsiteY23771"/>
                </a:cxn>
                <a:cxn ang="0">
                  <a:pos x="connsiteX23772" y="connsiteY23772"/>
                </a:cxn>
                <a:cxn ang="0">
                  <a:pos x="connsiteX23773" y="connsiteY23773"/>
                </a:cxn>
                <a:cxn ang="0">
                  <a:pos x="connsiteX23774" y="connsiteY23774"/>
                </a:cxn>
                <a:cxn ang="0">
                  <a:pos x="connsiteX23775" y="connsiteY23775"/>
                </a:cxn>
                <a:cxn ang="0">
                  <a:pos x="connsiteX23776" y="connsiteY23776"/>
                </a:cxn>
                <a:cxn ang="0">
                  <a:pos x="connsiteX23777" y="connsiteY23777"/>
                </a:cxn>
                <a:cxn ang="0">
                  <a:pos x="connsiteX23778" y="connsiteY23778"/>
                </a:cxn>
                <a:cxn ang="0">
                  <a:pos x="connsiteX23779" y="connsiteY23779"/>
                </a:cxn>
                <a:cxn ang="0">
                  <a:pos x="connsiteX23780" y="connsiteY23780"/>
                </a:cxn>
                <a:cxn ang="0">
                  <a:pos x="connsiteX23781" y="connsiteY23781"/>
                </a:cxn>
                <a:cxn ang="0">
                  <a:pos x="connsiteX23782" y="connsiteY23782"/>
                </a:cxn>
                <a:cxn ang="0">
                  <a:pos x="connsiteX23783" y="connsiteY23783"/>
                </a:cxn>
                <a:cxn ang="0">
                  <a:pos x="connsiteX23784" y="connsiteY23784"/>
                </a:cxn>
                <a:cxn ang="0">
                  <a:pos x="connsiteX23785" y="connsiteY23785"/>
                </a:cxn>
                <a:cxn ang="0">
                  <a:pos x="connsiteX23786" y="connsiteY23786"/>
                </a:cxn>
                <a:cxn ang="0">
                  <a:pos x="connsiteX23787" y="connsiteY23787"/>
                </a:cxn>
                <a:cxn ang="0">
                  <a:pos x="connsiteX23788" y="connsiteY23788"/>
                </a:cxn>
                <a:cxn ang="0">
                  <a:pos x="connsiteX23789" y="connsiteY23789"/>
                </a:cxn>
                <a:cxn ang="0">
                  <a:pos x="connsiteX23790" y="connsiteY23790"/>
                </a:cxn>
                <a:cxn ang="0">
                  <a:pos x="connsiteX23791" y="connsiteY23791"/>
                </a:cxn>
                <a:cxn ang="0">
                  <a:pos x="connsiteX23792" y="connsiteY23792"/>
                </a:cxn>
                <a:cxn ang="0">
                  <a:pos x="connsiteX23793" y="connsiteY23793"/>
                </a:cxn>
                <a:cxn ang="0">
                  <a:pos x="connsiteX23794" y="connsiteY23794"/>
                </a:cxn>
                <a:cxn ang="0">
                  <a:pos x="connsiteX23795" y="connsiteY23795"/>
                </a:cxn>
                <a:cxn ang="0">
                  <a:pos x="connsiteX23796" y="connsiteY23796"/>
                </a:cxn>
                <a:cxn ang="0">
                  <a:pos x="connsiteX23797" y="connsiteY23797"/>
                </a:cxn>
                <a:cxn ang="0">
                  <a:pos x="connsiteX23798" y="connsiteY23798"/>
                </a:cxn>
                <a:cxn ang="0">
                  <a:pos x="connsiteX23799" y="connsiteY23799"/>
                </a:cxn>
                <a:cxn ang="0">
                  <a:pos x="connsiteX23800" y="connsiteY23800"/>
                </a:cxn>
                <a:cxn ang="0">
                  <a:pos x="connsiteX23801" y="connsiteY23801"/>
                </a:cxn>
                <a:cxn ang="0">
                  <a:pos x="connsiteX23802" y="connsiteY23802"/>
                </a:cxn>
                <a:cxn ang="0">
                  <a:pos x="connsiteX23803" y="connsiteY23803"/>
                </a:cxn>
                <a:cxn ang="0">
                  <a:pos x="connsiteX23804" y="connsiteY23804"/>
                </a:cxn>
                <a:cxn ang="0">
                  <a:pos x="connsiteX23805" y="connsiteY23805"/>
                </a:cxn>
                <a:cxn ang="0">
                  <a:pos x="connsiteX23806" y="connsiteY23806"/>
                </a:cxn>
                <a:cxn ang="0">
                  <a:pos x="connsiteX23807" y="connsiteY23807"/>
                </a:cxn>
                <a:cxn ang="0">
                  <a:pos x="connsiteX23808" y="connsiteY23808"/>
                </a:cxn>
                <a:cxn ang="0">
                  <a:pos x="connsiteX23809" y="connsiteY23809"/>
                </a:cxn>
                <a:cxn ang="0">
                  <a:pos x="connsiteX23810" y="connsiteY23810"/>
                </a:cxn>
                <a:cxn ang="0">
                  <a:pos x="connsiteX23811" y="connsiteY23811"/>
                </a:cxn>
                <a:cxn ang="0">
                  <a:pos x="connsiteX23812" y="connsiteY23812"/>
                </a:cxn>
                <a:cxn ang="0">
                  <a:pos x="connsiteX23813" y="connsiteY23813"/>
                </a:cxn>
                <a:cxn ang="0">
                  <a:pos x="connsiteX23814" y="connsiteY23814"/>
                </a:cxn>
                <a:cxn ang="0">
                  <a:pos x="connsiteX23815" y="connsiteY23815"/>
                </a:cxn>
                <a:cxn ang="0">
                  <a:pos x="connsiteX23816" y="connsiteY23816"/>
                </a:cxn>
                <a:cxn ang="0">
                  <a:pos x="connsiteX23817" y="connsiteY23817"/>
                </a:cxn>
                <a:cxn ang="0">
                  <a:pos x="connsiteX23818" y="connsiteY23818"/>
                </a:cxn>
                <a:cxn ang="0">
                  <a:pos x="connsiteX23819" y="connsiteY23819"/>
                </a:cxn>
                <a:cxn ang="0">
                  <a:pos x="connsiteX23820" y="connsiteY23820"/>
                </a:cxn>
                <a:cxn ang="0">
                  <a:pos x="connsiteX23821" y="connsiteY23821"/>
                </a:cxn>
                <a:cxn ang="0">
                  <a:pos x="connsiteX23822" y="connsiteY23822"/>
                </a:cxn>
                <a:cxn ang="0">
                  <a:pos x="connsiteX23823" y="connsiteY23823"/>
                </a:cxn>
                <a:cxn ang="0">
                  <a:pos x="connsiteX23824" y="connsiteY23824"/>
                </a:cxn>
                <a:cxn ang="0">
                  <a:pos x="connsiteX23825" y="connsiteY23825"/>
                </a:cxn>
                <a:cxn ang="0">
                  <a:pos x="connsiteX23826" y="connsiteY23826"/>
                </a:cxn>
                <a:cxn ang="0">
                  <a:pos x="connsiteX23827" y="connsiteY23827"/>
                </a:cxn>
                <a:cxn ang="0">
                  <a:pos x="connsiteX23828" y="connsiteY23828"/>
                </a:cxn>
                <a:cxn ang="0">
                  <a:pos x="connsiteX23829" y="connsiteY23829"/>
                </a:cxn>
                <a:cxn ang="0">
                  <a:pos x="connsiteX23830" y="connsiteY23830"/>
                </a:cxn>
                <a:cxn ang="0">
                  <a:pos x="connsiteX23831" y="connsiteY23831"/>
                </a:cxn>
                <a:cxn ang="0">
                  <a:pos x="connsiteX23832" y="connsiteY23832"/>
                </a:cxn>
                <a:cxn ang="0">
                  <a:pos x="connsiteX23833" y="connsiteY23833"/>
                </a:cxn>
                <a:cxn ang="0">
                  <a:pos x="connsiteX23834" y="connsiteY23834"/>
                </a:cxn>
                <a:cxn ang="0">
                  <a:pos x="connsiteX23835" y="connsiteY23835"/>
                </a:cxn>
                <a:cxn ang="0">
                  <a:pos x="connsiteX23836" y="connsiteY23836"/>
                </a:cxn>
                <a:cxn ang="0">
                  <a:pos x="connsiteX23837" y="connsiteY23837"/>
                </a:cxn>
                <a:cxn ang="0">
                  <a:pos x="connsiteX23838" y="connsiteY23838"/>
                </a:cxn>
                <a:cxn ang="0">
                  <a:pos x="connsiteX23839" y="connsiteY23839"/>
                </a:cxn>
                <a:cxn ang="0">
                  <a:pos x="connsiteX23840" y="connsiteY23840"/>
                </a:cxn>
                <a:cxn ang="0">
                  <a:pos x="connsiteX23841" y="connsiteY23841"/>
                </a:cxn>
                <a:cxn ang="0">
                  <a:pos x="connsiteX23842" y="connsiteY23842"/>
                </a:cxn>
                <a:cxn ang="0">
                  <a:pos x="connsiteX23843" y="connsiteY23843"/>
                </a:cxn>
                <a:cxn ang="0">
                  <a:pos x="connsiteX23844" y="connsiteY23844"/>
                </a:cxn>
                <a:cxn ang="0">
                  <a:pos x="connsiteX23845" y="connsiteY23845"/>
                </a:cxn>
                <a:cxn ang="0">
                  <a:pos x="connsiteX23846" y="connsiteY23846"/>
                </a:cxn>
                <a:cxn ang="0">
                  <a:pos x="connsiteX23847" y="connsiteY23847"/>
                </a:cxn>
                <a:cxn ang="0">
                  <a:pos x="connsiteX23848" y="connsiteY23848"/>
                </a:cxn>
                <a:cxn ang="0">
                  <a:pos x="connsiteX23849" y="connsiteY23849"/>
                </a:cxn>
                <a:cxn ang="0">
                  <a:pos x="connsiteX23850" y="connsiteY23850"/>
                </a:cxn>
                <a:cxn ang="0">
                  <a:pos x="connsiteX23851" y="connsiteY23851"/>
                </a:cxn>
                <a:cxn ang="0">
                  <a:pos x="connsiteX23852" y="connsiteY23852"/>
                </a:cxn>
                <a:cxn ang="0">
                  <a:pos x="connsiteX23853" y="connsiteY23853"/>
                </a:cxn>
                <a:cxn ang="0">
                  <a:pos x="connsiteX23854" y="connsiteY23854"/>
                </a:cxn>
                <a:cxn ang="0">
                  <a:pos x="connsiteX23855" y="connsiteY23855"/>
                </a:cxn>
                <a:cxn ang="0">
                  <a:pos x="connsiteX23856" y="connsiteY23856"/>
                </a:cxn>
                <a:cxn ang="0">
                  <a:pos x="connsiteX23857" y="connsiteY23857"/>
                </a:cxn>
                <a:cxn ang="0">
                  <a:pos x="connsiteX23858" y="connsiteY23858"/>
                </a:cxn>
                <a:cxn ang="0">
                  <a:pos x="connsiteX23859" y="connsiteY23859"/>
                </a:cxn>
                <a:cxn ang="0">
                  <a:pos x="connsiteX23860" y="connsiteY23860"/>
                </a:cxn>
                <a:cxn ang="0">
                  <a:pos x="connsiteX23861" y="connsiteY23861"/>
                </a:cxn>
                <a:cxn ang="0">
                  <a:pos x="connsiteX23862" y="connsiteY23862"/>
                </a:cxn>
                <a:cxn ang="0">
                  <a:pos x="connsiteX23863" y="connsiteY23863"/>
                </a:cxn>
                <a:cxn ang="0">
                  <a:pos x="connsiteX23864" y="connsiteY23864"/>
                </a:cxn>
                <a:cxn ang="0">
                  <a:pos x="connsiteX23865" y="connsiteY23865"/>
                </a:cxn>
                <a:cxn ang="0">
                  <a:pos x="connsiteX23866" y="connsiteY23866"/>
                </a:cxn>
                <a:cxn ang="0">
                  <a:pos x="connsiteX23867" y="connsiteY23867"/>
                </a:cxn>
                <a:cxn ang="0">
                  <a:pos x="connsiteX23868" y="connsiteY23868"/>
                </a:cxn>
                <a:cxn ang="0">
                  <a:pos x="connsiteX23869" y="connsiteY23869"/>
                </a:cxn>
                <a:cxn ang="0">
                  <a:pos x="connsiteX23870" y="connsiteY23870"/>
                </a:cxn>
                <a:cxn ang="0">
                  <a:pos x="connsiteX23871" y="connsiteY23871"/>
                </a:cxn>
                <a:cxn ang="0">
                  <a:pos x="connsiteX23872" y="connsiteY23872"/>
                </a:cxn>
                <a:cxn ang="0">
                  <a:pos x="connsiteX23873" y="connsiteY23873"/>
                </a:cxn>
                <a:cxn ang="0">
                  <a:pos x="connsiteX23874" y="connsiteY23874"/>
                </a:cxn>
                <a:cxn ang="0">
                  <a:pos x="connsiteX23875" y="connsiteY23875"/>
                </a:cxn>
                <a:cxn ang="0">
                  <a:pos x="connsiteX23876" y="connsiteY23876"/>
                </a:cxn>
                <a:cxn ang="0">
                  <a:pos x="connsiteX23877" y="connsiteY23877"/>
                </a:cxn>
                <a:cxn ang="0">
                  <a:pos x="connsiteX23878" y="connsiteY23878"/>
                </a:cxn>
                <a:cxn ang="0">
                  <a:pos x="connsiteX23879" y="connsiteY23879"/>
                </a:cxn>
                <a:cxn ang="0">
                  <a:pos x="connsiteX23880" y="connsiteY23880"/>
                </a:cxn>
                <a:cxn ang="0">
                  <a:pos x="connsiteX23881" y="connsiteY23881"/>
                </a:cxn>
                <a:cxn ang="0">
                  <a:pos x="connsiteX23882" y="connsiteY23882"/>
                </a:cxn>
                <a:cxn ang="0">
                  <a:pos x="connsiteX23883" y="connsiteY23883"/>
                </a:cxn>
                <a:cxn ang="0">
                  <a:pos x="connsiteX23884" y="connsiteY23884"/>
                </a:cxn>
                <a:cxn ang="0">
                  <a:pos x="connsiteX23885" y="connsiteY23885"/>
                </a:cxn>
                <a:cxn ang="0">
                  <a:pos x="connsiteX23886" y="connsiteY23886"/>
                </a:cxn>
                <a:cxn ang="0">
                  <a:pos x="connsiteX23887" y="connsiteY23887"/>
                </a:cxn>
                <a:cxn ang="0">
                  <a:pos x="connsiteX23888" y="connsiteY23888"/>
                </a:cxn>
                <a:cxn ang="0">
                  <a:pos x="connsiteX23889" y="connsiteY23889"/>
                </a:cxn>
                <a:cxn ang="0">
                  <a:pos x="connsiteX23890" y="connsiteY23890"/>
                </a:cxn>
                <a:cxn ang="0">
                  <a:pos x="connsiteX23891" y="connsiteY23891"/>
                </a:cxn>
                <a:cxn ang="0">
                  <a:pos x="connsiteX23892" y="connsiteY23892"/>
                </a:cxn>
                <a:cxn ang="0">
                  <a:pos x="connsiteX23893" y="connsiteY23893"/>
                </a:cxn>
                <a:cxn ang="0">
                  <a:pos x="connsiteX23894" y="connsiteY23894"/>
                </a:cxn>
                <a:cxn ang="0">
                  <a:pos x="connsiteX23895" y="connsiteY23895"/>
                </a:cxn>
                <a:cxn ang="0">
                  <a:pos x="connsiteX23896" y="connsiteY23896"/>
                </a:cxn>
                <a:cxn ang="0">
                  <a:pos x="connsiteX23897" y="connsiteY23897"/>
                </a:cxn>
                <a:cxn ang="0">
                  <a:pos x="connsiteX23898" y="connsiteY23898"/>
                </a:cxn>
                <a:cxn ang="0">
                  <a:pos x="connsiteX23899" y="connsiteY23899"/>
                </a:cxn>
                <a:cxn ang="0">
                  <a:pos x="connsiteX23900" y="connsiteY23900"/>
                </a:cxn>
                <a:cxn ang="0">
                  <a:pos x="connsiteX23901" y="connsiteY23901"/>
                </a:cxn>
                <a:cxn ang="0">
                  <a:pos x="connsiteX23902" y="connsiteY23902"/>
                </a:cxn>
                <a:cxn ang="0">
                  <a:pos x="connsiteX23903" y="connsiteY23903"/>
                </a:cxn>
                <a:cxn ang="0">
                  <a:pos x="connsiteX23904" y="connsiteY23904"/>
                </a:cxn>
                <a:cxn ang="0">
                  <a:pos x="connsiteX23905" y="connsiteY23905"/>
                </a:cxn>
                <a:cxn ang="0">
                  <a:pos x="connsiteX23906" y="connsiteY23906"/>
                </a:cxn>
                <a:cxn ang="0">
                  <a:pos x="connsiteX23907" y="connsiteY23907"/>
                </a:cxn>
                <a:cxn ang="0">
                  <a:pos x="connsiteX23908" y="connsiteY23908"/>
                </a:cxn>
                <a:cxn ang="0">
                  <a:pos x="connsiteX23909" y="connsiteY23909"/>
                </a:cxn>
                <a:cxn ang="0">
                  <a:pos x="connsiteX23910" y="connsiteY23910"/>
                </a:cxn>
                <a:cxn ang="0">
                  <a:pos x="connsiteX23911" y="connsiteY23911"/>
                </a:cxn>
                <a:cxn ang="0">
                  <a:pos x="connsiteX23912" y="connsiteY23912"/>
                </a:cxn>
                <a:cxn ang="0">
                  <a:pos x="connsiteX23913" y="connsiteY23913"/>
                </a:cxn>
                <a:cxn ang="0">
                  <a:pos x="connsiteX23914" y="connsiteY23914"/>
                </a:cxn>
                <a:cxn ang="0">
                  <a:pos x="connsiteX23915" y="connsiteY23915"/>
                </a:cxn>
                <a:cxn ang="0">
                  <a:pos x="connsiteX23916" y="connsiteY23916"/>
                </a:cxn>
                <a:cxn ang="0">
                  <a:pos x="connsiteX23917" y="connsiteY23917"/>
                </a:cxn>
                <a:cxn ang="0">
                  <a:pos x="connsiteX23918" y="connsiteY23918"/>
                </a:cxn>
                <a:cxn ang="0">
                  <a:pos x="connsiteX23919" y="connsiteY23919"/>
                </a:cxn>
                <a:cxn ang="0">
                  <a:pos x="connsiteX23920" y="connsiteY23920"/>
                </a:cxn>
                <a:cxn ang="0">
                  <a:pos x="connsiteX23921" y="connsiteY23921"/>
                </a:cxn>
                <a:cxn ang="0">
                  <a:pos x="connsiteX23922" y="connsiteY23922"/>
                </a:cxn>
                <a:cxn ang="0">
                  <a:pos x="connsiteX23923" y="connsiteY23923"/>
                </a:cxn>
                <a:cxn ang="0">
                  <a:pos x="connsiteX23924" y="connsiteY23924"/>
                </a:cxn>
                <a:cxn ang="0">
                  <a:pos x="connsiteX23925" y="connsiteY23925"/>
                </a:cxn>
                <a:cxn ang="0">
                  <a:pos x="connsiteX23926" y="connsiteY23926"/>
                </a:cxn>
                <a:cxn ang="0">
                  <a:pos x="connsiteX23927" y="connsiteY23927"/>
                </a:cxn>
                <a:cxn ang="0">
                  <a:pos x="connsiteX23928" y="connsiteY23928"/>
                </a:cxn>
                <a:cxn ang="0">
                  <a:pos x="connsiteX23929" y="connsiteY23929"/>
                </a:cxn>
                <a:cxn ang="0">
                  <a:pos x="connsiteX23930" y="connsiteY23930"/>
                </a:cxn>
                <a:cxn ang="0">
                  <a:pos x="connsiteX23931" y="connsiteY23931"/>
                </a:cxn>
                <a:cxn ang="0">
                  <a:pos x="connsiteX23932" y="connsiteY23932"/>
                </a:cxn>
                <a:cxn ang="0">
                  <a:pos x="connsiteX23933" y="connsiteY23933"/>
                </a:cxn>
                <a:cxn ang="0">
                  <a:pos x="connsiteX23934" y="connsiteY23934"/>
                </a:cxn>
                <a:cxn ang="0">
                  <a:pos x="connsiteX23935" y="connsiteY23935"/>
                </a:cxn>
                <a:cxn ang="0">
                  <a:pos x="connsiteX23936" y="connsiteY23936"/>
                </a:cxn>
                <a:cxn ang="0">
                  <a:pos x="connsiteX23937" y="connsiteY23937"/>
                </a:cxn>
                <a:cxn ang="0">
                  <a:pos x="connsiteX23938" y="connsiteY23938"/>
                </a:cxn>
                <a:cxn ang="0">
                  <a:pos x="connsiteX23939" y="connsiteY23939"/>
                </a:cxn>
                <a:cxn ang="0">
                  <a:pos x="connsiteX23940" y="connsiteY23940"/>
                </a:cxn>
                <a:cxn ang="0">
                  <a:pos x="connsiteX23941" y="connsiteY23941"/>
                </a:cxn>
                <a:cxn ang="0">
                  <a:pos x="connsiteX23942" y="connsiteY23942"/>
                </a:cxn>
                <a:cxn ang="0">
                  <a:pos x="connsiteX23943" y="connsiteY23943"/>
                </a:cxn>
                <a:cxn ang="0">
                  <a:pos x="connsiteX23944" y="connsiteY23944"/>
                </a:cxn>
                <a:cxn ang="0">
                  <a:pos x="connsiteX23945" y="connsiteY23945"/>
                </a:cxn>
                <a:cxn ang="0">
                  <a:pos x="connsiteX23946" y="connsiteY23946"/>
                </a:cxn>
                <a:cxn ang="0">
                  <a:pos x="connsiteX23947" y="connsiteY23947"/>
                </a:cxn>
                <a:cxn ang="0">
                  <a:pos x="connsiteX23948" y="connsiteY23948"/>
                </a:cxn>
                <a:cxn ang="0">
                  <a:pos x="connsiteX23949" y="connsiteY23949"/>
                </a:cxn>
                <a:cxn ang="0">
                  <a:pos x="connsiteX23950" y="connsiteY23950"/>
                </a:cxn>
                <a:cxn ang="0">
                  <a:pos x="connsiteX23951" y="connsiteY23951"/>
                </a:cxn>
                <a:cxn ang="0">
                  <a:pos x="connsiteX23952" y="connsiteY23952"/>
                </a:cxn>
                <a:cxn ang="0">
                  <a:pos x="connsiteX23953" y="connsiteY23953"/>
                </a:cxn>
                <a:cxn ang="0">
                  <a:pos x="connsiteX23954" y="connsiteY23954"/>
                </a:cxn>
                <a:cxn ang="0">
                  <a:pos x="connsiteX23955" y="connsiteY23955"/>
                </a:cxn>
                <a:cxn ang="0">
                  <a:pos x="connsiteX23956" y="connsiteY23956"/>
                </a:cxn>
                <a:cxn ang="0">
                  <a:pos x="connsiteX23957" y="connsiteY23957"/>
                </a:cxn>
                <a:cxn ang="0">
                  <a:pos x="connsiteX23958" y="connsiteY23958"/>
                </a:cxn>
                <a:cxn ang="0">
                  <a:pos x="connsiteX23959" y="connsiteY23959"/>
                </a:cxn>
                <a:cxn ang="0">
                  <a:pos x="connsiteX23960" y="connsiteY23960"/>
                </a:cxn>
                <a:cxn ang="0">
                  <a:pos x="connsiteX23961" y="connsiteY23961"/>
                </a:cxn>
                <a:cxn ang="0">
                  <a:pos x="connsiteX23962" y="connsiteY23962"/>
                </a:cxn>
                <a:cxn ang="0">
                  <a:pos x="connsiteX23963" y="connsiteY23963"/>
                </a:cxn>
                <a:cxn ang="0">
                  <a:pos x="connsiteX23964" y="connsiteY23964"/>
                </a:cxn>
                <a:cxn ang="0">
                  <a:pos x="connsiteX23965" y="connsiteY23965"/>
                </a:cxn>
                <a:cxn ang="0">
                  <a:pos x="connsiteX23966" y="connsiteY23966"/>
                </a:cxn>
                <a:cxn ang="0">
                  <a:pos x="connsiteX23967" y="connsiteY23967"/>
                </a:cxn>
                <a:cxn ang="0">
                  <a:pos x="connsiteX23968" y="connsiteY23968"/>
                </a:cxn>
                <a:cxn ang="0">
                  <a:pos x="connsiteX23969" y="connsiteY23969"/>
                </a:cxn>
                <a:cxn ang="0">
                  <a:pos x="connsiteX23970" y="connsiteY23970"/>
                </a:cxn>
                <a:cxn ang="0">
                  <a:pos x="connsiteX23971" y="connsiteY23971"/>
                </a:cxn>
                <a:cxn ang="0">
                  <a:pos x="connsiteX23972" y="connsiteY23972"/>
                </a:cxn>
                <a:cxn ang="0">
                  <a:pos x="connsiteX23973" y="connsiteY23973"/>
                </a:cxn>
                <a:cxn ang="0">
                  <a:pos x="connsiteX23974" y="connsiteY23974"/>
                </a:cxn>
                <a:cxn ang="0">
                  <a:pos x="connsiteX23975" y="connsiteY23975"/>
                </a:cxn>
                <a:cxn ang="0">
                  <a:pos x="connsiteX23976" y="connsiteY23976"/>
                </a:cxn>
                <a:cxn ang="0">
                  <a:pos x="connsiteX23977" y="connsiteY23977"/>
                </a:cxn>
                <a:cxn ang="0">
                  <a:pos x="connsiteX23978" y="connsiteY23978"/>
                </a:cxn>
                <a:cxn ang="0">
                  <a:pos x="connsiteX23979" y="connsiteY23979"/>
                </a:cxn>
                <a:cxn ang="0">
                  <a:pos x="connsiteX23980" y="connsiteY23980"/>
                </a:cxn>
                <a:cxn ang="0">
                  <a:pos x="connsiteX23981" y="connsiteY23981"/>
                </a:cxn>
                <a:cxn ang="0">
                  <a:pos x="connsiteX23982" y="connsiteY23982"/>
                </a:cxn>
                <a:cxn ang="0">
                  <a:pos x="connsiteX23983" y="connsiteY23983"/>
                </a:cxn>
                <a:cxn ang="0">
                  <a:pos x="connsiteX23984" y="connsiteY23984"/>
                </a:cxn>
                <a:cxn ang="0">
                  <a:pos x="connsiteX23985" y="connsiteY23985"/>
                </a:cxn>
                <a:cxn ang="0">
                  <a:pos x="connsiteX23986" y="connsiteY23986"/>
                </a:cxn>
                <a:cxn ang="0">
                  <a:pos x="connsiteX23987" y="connsiteY23987"/>
                </a:cxn>
                <a:cxn ang="0">
                  <a:pos x="connsiteX23988" y="connsiteY23988"/>
                </a:cxn>
                <a:cxn ang="0">
                  <a:pos x="connsiteX23989" y="connsiteY23989"/>
                </a:cxn>
                <a:cxn ang="0">
                  <a:pos x="connsiteX23990" y="connsiteY23990"/>
                </a:cxn>
                <a:cxn ang="0">
                  <a:pos x="connsiteX23991" y="connsiteY23991"/>
                </a:cxn>
                <a:cxn ang="0">
                  <a:pos x="connsiteX23992" y="connsiteY23992"/>
                </a:cxn>
                <a:cxn ang="0">
                  <a:pos x="connsiteX23993" y="connsiteY23993"/>
                </a:cxn>
                <a:cxn ang="0">
                  <a:pos x="connsiteX23994" y="connsiteY23994"/>
                </a:cxn>
                <a:cxn ang="0">
                  <a:pos x="connsiteX23995" y="connsiteY23995"/>
                </a:cxn>
                <a:cxn ang="0">
                  <a:pos x="connsiteX23996" y="connsiteY23996"/>
                </a:cxn>
                <a:cxn ang="0">
                  <a:pos x="connsiteX23997" y="connsiteY23997"/>
                </a:cxn>
                <a:cxn ang="0">
                  <a:pos x="connsiteX23998" y="connsiteY23998"/>
                </a:cxn>
                <a:cxn ang="0">
                  <a:pos x="connsiteX23999" y="connsiteY23999"/>
                </a:cxn>
                <a:cxn ang="0">
                  <a:pos x="connsiteX24000" y="connsiteY24000"/>
                </a:cxn>
                <a:cxn ang="0">
                  <a:pos x="connsiteX24001" y="connsiteY24001"/>
                </a:cxn>
                <a:cxn ang="0">
                  <a:pos x="connsiteX24002" y="connsiteY24002"/>
                </a:cxn>
                <a:cxn ang="0">
                  <a:pos x="connsiteX24003" y="connsiteY24003"/>
                </a:cxn>
                <a:cxn ang="0">
                  <a:pos x="connsiteX24004" y="connsiteY24004"/>
                </a:cxn>
                <a:cxn ang="0">
                  <a:pos x="connsiteX24005" y="connsiteY24005"/>
                </a:cxn>
                <a:cxn ang="0">
                  <a:pos x="connsiteX24006" y="connsiteY24006"/>
                </a:cxn>
                <a:cxn ang="0">
                  <a:pos x="connsiteX24007" y="connsiteY24007"/>
                </a:cxn>
                <a:cxn ang="0">
                  <a:pos x="connsiteX24008" y="connsiteY24008"/>
                </a:cxn>
                <a:cxn ang="0">
                  <a:pos x="connsiteX24009" y="connsiteY24009"/>
                </a:cxn>
                <a:cxn ang="0">
                  <a:pos x="connsiteX24010" y="connsiteY24010"/>
                </a:cxn>
                <a:cxn ang="0">
                  <a:pos x="connsiteX24011" y="connsiteY24011"/>
                </a:cxn>
                <a:cxn ang="0">
                  <a:pos x="connsiteX24012" y="connsiteY24012"/>
                </a:cxn>
                <a:cxn ang="0">
                  <a:pos x="connsiteX24013" y="connsiteY24013"/>
                </a:cxn>
                <a:cxn ang="0">
                  <a:pos x="connsiteX24014" y="connsiteY24014"/>
                </a:cxn>
                <a:cxn ang="0">
                  <a:pos x="connsiteX24015" y="connsiteY24015"/>
                </a:cxn>
                <a:cxn ang="0">
                  <a:pos x="connsiteX24016" y="connsiteY24016"/>
                </a:cxn>
                <a:cxn ang="0">
                  <a:pos x="connsiteX24017" y="connsiteY24017"/>
                </a:cxn>
                <a:cxn ang="0">
                  <a:pos x="connsiteX24018" y="connsiteY24018"/>
                </a:cxn>
                <a:cxn ang="0">
                  <a:pos x="connsiteX24019" y="connsiteY24019"/>
                </a:cxn>
                <a:cxn ang="0">
                  <a:pos x="connsiteX24020" y="connsiteY24020"/>
                </a:cxn>
                <a:cxn ang="0">
                  <a:pos x="connsiteX24021" y="connsiteY24021"/>
                </a:cxn>
                <a:cxn ang="0">
                  <a:pos x="connsiteX24022" y="connsiteY24022"/>
                </a:cxn>
                <a:cxn ang="0">
                  <a:pos x="connsiteX24023" y="connsiteY24023"/>
                </a:cxn>
                <a:cxn ang="0">
                  <a:pos x="connsiteX24024" y="connsiteY24024"/>
                </a:cxn>
                <a:cxn ang="0">
                  <a:pos x="connsiteX24025" y="connsiteY24025"/>
                </a:cxn>
                <a:cxn ang="0">
                  <a:pos x="connsiteX24026" y="connsiteY24026"/>
                </a:cxn>
                <a:cxn ang="0">
                  <a:pos x="connsiteX24027" y="connsiteY24027"/>
                </a:cxn>
                <a:cxn ang="0">
                  <a:pos x="connsiteX24028" y="connsiteY24028"/>
                </a:cxn>
                <a:cxn ang="0">
                  <a:pos x="connsiteX24029" y="connsiteY24029"/>
                </a:cxn>
                <a:cxn ang="0">
                  <a:pos x="connsiteX24030" y="connsiteY24030"/>
                </a:cxn>
                <a:cxn ang="0">
                  <a:pos x="connsiteX24031" y="connsiteY24031"/>
                </a:cxn>
                <a:cxn ang="0">
                  <a:pos x="connsiteX24032" y="connsiteY24032"/>
                </a:cxn>
                <a:cxn ang="0">
                  <a:pos x="connsiteX24033" y="connsiteY24033"/>
                </a:cxn>
                <a:cxn ang="0">
                  <a:pos x="connsiteX24034" y="connsiteY24034"/>
                </a:cxn>
                <a:cxn ang="0">
                  <a:pos x="connsiteX24035" y="connsiteY24035"/>
                </a:cxn>
                <a:cxn ang="0">
                  <a:pos x="connsiteX24036" y="connsiteY24036"/>
                </a:cxn>
                <a:cxn ang="0">
                  <a:pos x="connsiteX24037" y="connsiteY24037"/>
                </a:cxn>
                <a:cxn ang="0">
                  <a:pos x="connsiteX24038" y="connsiteY24038"/>
                </a:cxn>
                <a:cxn ang="0">
                  <a:pos x="connsiteX24039" y="connsiteY24039"/>
                </a:cxn>
                <a:cxn ang="0">
                  <a:pos x="connsiteX24040" y="connsiteY24040"/>
                </a:cxn>
                <a:cxn ang="0">
                  <a:pos x="connsiteX24041" y="connsiteY24041"/>
                </a:cxn>
                <a:cxn ang="0">
                  <a:pos x="connsiteX24042" y="connsiteY24042"/>
                </a:cxn>
                <a:cxn ang="0">
                  <a:pos x="connsiteX24043" y="connsiteY24043"/>
                </a:cxn>
                <a:cxn ang="0">
                  <a:pos x="connsiteX24044" y="connsiteY24044"/>
                </a:cxn>
                <a:cxn ang="0">
                  <a:pos x="connsiteX24045" y="connsiteY24045"/>
                </a:cxn>
                <a:cxn ang="0">
                  <a:pos x="connsiteX24046" y="connsiteY24046"/>
                </a:cxn>
                <a:cxn ang="0">
                  <a:pos x="connsiteX24047" y="connsiteY24047"/>
                </a:cxn>
                <a:cxn ang="0">
                  <a:pos x="connsiteX24048" y="connsiteY24048"/>
                </a:cxn>
                <a:cxn ang="0">
                  <a:pos x="connsiteX24049" y="connsiteY24049"/>
                </a:cxn>
                <a:cxn ang="0">
                  <a:pos x="connsiteX24050" y="connsiteY24050"/>
                </a:cxn>
                <a:cxn ang="0">
                  <a:pos x="connsiteX24051" y="connsiteY24051"/>
                </a:cxn>
                <a:cxn ang="0">
                  <a:pos x="connsiteX24052" y="connsiteY24052"/>
                </a:cxn>
                <a:cxn ang="0">
                  <a:pos x="connsiteX24053" y="connsiteY24053"/>
                </a:cxn>
                <a:cxn ang="0">
                  <a:pos x="connsiteX24054" y="connsiteY24054"/>
                </a:cxn>
                <a:cxn ang="0">
                  <a:pos x="connsiteX24055" y="connsiteY24055"/>
                </a:cxn>
                <a:cxn ang="0">
                  <a:pos x="connsiteX24056" y="connsiteY24056"/>
                </a:cxn>
                <a:cxn ang="0">
                  <a:pos x="connsiteX24057" y="connsiteY24057"/>
                </a:cxn>
                <a:cxn ang="0">
                  <a:pos x="connsiteX24058" y="connsiteY24058"/>
                </a:cxn>
                <a:cxn ang="0">
                  <a:pos x="connsiteX24059" y="connsiteY24059"/>
                </a:cxn>
                <a:cxn ang="0">
                  <a:pos x="connsiteX24060" y="connsiteY24060"/>
                </a:cxn>
                <a:cxn ang="0">
                  <a:pos x="connsiteX24061" y="connsiteY24061"/>
                </a:cxn>
                <a:cxn ang="0">
                  <a:pos x="connsiteX24062" y="connsiteY24062"/>
                </a:cxn>
                <a:cxn ang="0">
                  <a:pos x="connsiteX24063" y="connsiteY24063"/>
                </a:cxn>
                <a:cxn ang="0">
                  <a:pos x="connsiteX24064" y="connsiteY24064"/>
                </a:cxn>
                <a:cxn ang="0">
                  <a:pos x="connsiteX24065" y="connsiteY24065"/>
                </a:cxn>
                <a:cxn ang="0">
                  <a:pos x="connsiteX24066" y="connsiteY24066"/>
                </a:cxn>
                <a:cxn ang="0">
                  <a:pos x="connsiteX24067" y="connsiteY24067"/>
                </a:cxn>
                <a:cxn ang="0">
                  <a:pos x="connsiteX24068" y="connsiteY24068"/>
                </a:cxn>
                <a:cxn ang="0">
                  <a:pos x="connsiteX24069" y="connsiteY24069"/>
                </a:cxn>
                <a:cxn ang="0">
                  <a:pos x="connsiteX24070" y="connsiteY24070"/>
                </a:cxn>
                <a:cxn ang="0">
                  <a:pos x="connsiteX24071" y="connsiteY24071"/>
                </a:cxn>
                <a:cxn ang="0">
                  <a:pos x="connsiteX24072" y="connsiteY24072"/>
                </a:cxn>
                <a:cxn ang="0">
                  <a:pos x="connsiteX24073" y="connsiteY24073"/>
                </a:cxn>
                <a:cxn ang="0">
                  <a:pos x="connsiteX24074" y="connsiteY24074"/>
                </a:cxn>
                <a:cxn ang="0">
                  <a:pos x="connsiteX24075" y="connsiteY24075"/>
                </a:cxn>
                <a:cxn ang="0">
                  <a:pos x="connsiteX24076" y="connsiteY24076"/>
                </a:cxn>
                <a:cxn ang="0">
                  <a:pos x="connsiteX24077" y="connsiteY24077"/>
                </a:cxn>
                <a:cxn ang="0">
                  <a:pos x="connsiteX24078" y="connsiteY24078"/>
                </a:cxn>
                <a:cxn ang="0">
                  <a:pos x="connsiteX24079" y="connsiteY24079"/>
                </a:cxn>
                <a:cxn ang="0">
                  <a:pos x="connsiteX24080" y="connsiteY24080"/>
                </a:cxn>
                <a:cxn ang="0">
                  <a:pos x="connsiteX24081" y="connsiteY24081"/>
                </a:cxn>
                <a:cxn ang="0">
                  <a:pos x="connsiteX24082" y="connsiteY24082"/>
                </a:cxn>
                <a:cxn ang="0">
                  <a:pos x="connsiteX24083" y="connsiteY24083"/>
                </a:cxn>
                <a:cxn ang="0">
                  <a:pos x="connsiteX24084" y="connsiteY24084"/>
                </a:cxn>
                <a:cxn ang="0">
                  <a:pos x="connsiteX24085" y="connsiteY24085"/>
                </a:cxn>
                <a:cxn ang="0">
                  <a:pos x="connsiteX24086" y="connsiteY24086"/>
                </a:cxn>
                <a:cxn ang="0">
                  <a:pos x="connsiteX24087" y="connsiteY24087"/>
                </a:cxn>
                <a:cxn ang="0">
                  <a:pos x="connsiteX24088" y="connsiteY24088"/>
                </a:cxn>
                <a:cxn ang="0">
                  <a:pos x="connsiteX24089" y="connsiteY24089"/>
                </a:cxn>
                <a:cxn ang="0">
                  <a:pos x="connsiteX24090" y="connsiteY24090"/>
                </a:cxn>
                <a:cxn ang="0">
                  <a:pos x="connsiteX24091" y="connsiteY24091"/>
                </a:cxn>
                <a:cxn ang="0">
                  <a:pos x="connsiteX24092" y="connsiteY24092"/>
                </a:cxn>
                <a:cxn ang="0">
                  <a:pos x="connsiteX24093" y="connsiteY24093"/>
                </a:cxn>
                <a:cxn ang="0">
                  <a:pos x="connsiteX24094" y="connsiteY24094"/>
                </a:cxn>
                <a:cxn ang="0">
                  <a:pos x="connsiteX24095" y="connsiteY24095"/>
                </a:cxn>
                <a:cxn ang="0">
                  <a:pos x="connsiteX24096" y="connsiteY24096"/>
                </a:cxn>
                <a:cxn ang="0">
                  <a:pos x="connsiteX24097" y="connsiteY24097"/>
                </a:cxn>
                <a:cxn ang="0">
                  <a:pos x="connsiteX24098" y="connsiteY24098"/>
                </a:cxn>
                <a:cxn ang="0">
                  <a:pos x="connsiteX24099" y="connsiteY24099"/>
                </a:cxn>
                <a:cxn ang="0">
                  <a:pos x="connsiteX24100" y="connsiteY24100"/>
                </a:cxn>
                <a:cxn ang="0">
                  <a:pos x="connsiteX24101" y="connsiteY24101"/>
                </a:cxn>
                <a:cxn ang="0">
                  <a:pos x="connsiteX24102" y="connsiteY24102"/>
                </a:cxn>
                <a:cxn ang="0">
                  <a:pos x="connsiteX24103" y="connsiteY24103"/>
                </a:cxn>
                <a:cxn ang="0">
                  <a:pos x="connsiteX24104" y="connsiteY24104"/>
                </a:cxn>
                <a:cxn ang="0">
                  <a:pos x="connsiteX24105" y="connsiteY24105"/>
                </a:cxn>
                <a:cxn ang="0">
                  <a:pos x="connsiteX24106" y="connsiteY24106"/>
                </a:cxn>
                <a:cxn ang="0">
                  <a:pos x="connsiteX24107" y="connsiteY24107"/>
                </a:cxn>
                <a:cxn ang="0">
                  <a:pos x="connsiteX24108" y="connsiteY24108"/>
                </a:cxn>
                <a:cxn ang="0">
                  <a:pos x="connsiteX24109" y="connsiteY24109"/>
                </a:cxn>
                <a:cxn ang="0">
                  <a:pos x="connsiteX24110" y="connsiteY24110"/>
                </a:cxn>
                <a:cxn ang="0">
                  <a:pos x="connsiteX24111" y="connsiteY24111"/>
                </a:cxn>
                <a:cxn ang="0">
                  <a:pos x="connsiteX24112" y="connsiteY24112"/>
                </a:cxn>
                <a:cxn ang="0">
                  <a:pos x="connsiteX24113" y="connsiteY24113"/>
                </a:cxn>
                <a:cxn ang="0">
                  <a:pos x="connsiteX24114" y="connsiteY24114"/>
                </a:cxn>
                <a:cxn ang="0">
                  <a:pos x="connsiteX24115" y="connsiteY24115"/>
                </a:cxn>
                <a:cxn ang="0">
                  <a:pos x="connsiteX24116" y="connsiteY24116"/>
                </a:cxn>
                <a:cxn ang="0">
                  <a:pos x="connsiteX24117" y="connsiteY24117"/>
                </a:cxn>
                <a:cxn ang="0">
                  <a:pos x="connsiteX24118" y="connsiteY24118"/>
                </a:cxn>
                <a:cxn ang="0">
                  <a:pos x="connsiteX24119" y="connsiteY24119"/>
                </a:cxn>
                <a:cxn ang="0">
                  <a:pos x="connsiteX24120" y="connsiteY24120"/>
                </a:cxn>
                <a:cxn ang="0">
                  <a:pos x="connsiteX24121" y="connsiteY24121"/>
                </a:cxn>
                <a:cxn ang="0">
                  <a:pos x="connsiteX24122" y="connsiteY24122"/>
                </a:cxn>
                <a:cxn ang="0">
                  <a:pos x="connsiteX24123" y="connsiteY24123"/>
                </a:cxn>
                <a:cxn ang="0">
                  <a:pos x="connsiteX24124" y="connsiteY24124"/>
                </a:cxn>
                <a:cxn ang="0">
                  <a:pos x="connsiteX24125" y="connsiteY24125"/>
                </a:cxn>
                <a:cxn ang="0">
                  <a:pos x="connsiteX24126" y="connsiteY24126"/>
                </a:cxn>
                <a:cxn ang="0">
                  <a:pos x="connsiteX24127" y="connsiteY24127"/>
                </a:cxn>
                <a:cxn ang="0">
                  <a:pos x="connsiteX24128" y="connsiteY24128"/>
                </a:cxn>
                <a:cxn ang="0">
                  <a:pos x="connsiteX24129" y="connsiteY24129"/>
                </a:cxn>
                <a:cxn ang="0">
                  <a:pos x="connsiteX24130" y="connsiteY24130"/>
                </a:cxn>
                <a:cxn ang="0">
                  <a:pos x="connsiteX24131" y="connsiteY24131"/>
                </a:cxn>
                <a:cxn ang="0">
                  <a:pos x="connsiteX24132" y="connsiteY24132"/>
                </a:cxn>
                <a:cxn ang="0">
                  <a:pos x="connsiteX24133" y="connsiteY24133"/>
                </a:cxn>
                <a:cxn ang="0">
                  <a:pos x="connsiteX24134" y="connsiteY24134"/>
                </a:cxn>
                <a:cxn ang="0">
                  <a:pos x="connsiteX24135" y="connsiteY24135"/>
                </a:cxn>
                <a:cxn ang="0">
                  <a:pos x="connsiteX24136" y="connsiteY24136"/>
                </a:cxn>
                <a:cxn ang="0">
                  <a:pos x="connsiteX24137" y="connsiteY24137"/>
                </a:cxn>
                <a:cxn ang="0">
                  <a:pos x="connsiteX24138" y="connsiteY24138"/>
                </a:cxn>
                <a:cxn ang="0">
                  <a:pos x="connsiteX24139" y="connsiteY24139"/>
                </a:cxn>
                <a:cxn ang="0">
                  <a:pos x="connsiteX24140" y="connsiteY24140"/>
                </a:cxn>
                <a:cxn ang="0">
                  <a:pos x="connsiteX24141" y="connsiteY24141"/>
                </a:cxn>
                <a:cxn ang="0">
                  <a:pos x="connsiteX24142" y="connsiteY24142"/>
                </a:cxn>
                <a:cxn ang="0">
                  <a:pos x="connsiteX24143" y="connsiteY24143"/>
                </a:cxn>
                <a:cxn ang="0">
                  <a:pos x="connsiteX24144" y="connsiteY24144"/>
                </a:cxn>
                <a:cxn ang="0">
                  <a:pos x="connsiteX24145" y="connsiteY24145"/>
                </a:cxn>
                <a:cxn ang="0">
                  <a:pos x="connsiteX24146" y="connsiteY24146"/>
                </a:cxn>
                <a:cxn ang="0">
                  <a:pos x="connsiteX24147" y="connsiteY24147"/>
                </a:cxn>
                <a:cxn ang="0">
                  <a:pos x="connsiteX24148" y="connsiteY24148"/>
                </a:cxn>
                <a:cxn ang="0">
                  <a:pos x="connsiteX24149" y="connsiteY24149"/>
                </a:cxn>
                <a:cxn ang="0">
                  <a:pos x="connsiteX24150" y="connsiteY24150"/>
                </a:cxn>
                <a:cxn ang="0">
                  <a:pos x="connsiteX24151" y="connsiteY24151"/>
                </a:cxn>
                <a:cxn ang="0">
                  <a:pos x="connsiteX24152" y="connsiteY24152"/>
                </a:cxn>
                <a:cxn ang="0">
                  <a:pos x="connsiteX24153" y="connsiteY24153"/>
                </a:cxn>
                <a:cxn ang="0">
                  <a:pos x="connsiteX24154" y="connsiteY24154"/>
                </a:cxn>
                <a:cxn ang="0">
                  <a:pos x="connsiteX24155" y="connsiteY24155"/>
                </a:cxn>
                <a:cxn ang="0">
                  <a:pos x="connsiteX24156" y="connsiteY24156"/>
                </a:cxn>
                <a:cxn ang="0">
                  <a:pos x="connsiteX24157" y="connsiteY24157"/>
                </a:cxn>
                <a:cxn ang="0">
                  <a:pos x="connsiteX24158" y="connsiteY24158"/>
                </a:cxn>
                <a:cxn ang="0">
                  <a:pos x="connsiteX24159" y="connsiteY24159"/>
                </a:cxn>
                <a:cxn ang="0">
                  <a:pos x="connsiteX24160" y="connsiteY24160"/>
                </a:cxn>
                <a:cxn ang="0">
                  <a:pos x="connsiteX24161" y="connsiteY24161"/>
                </a:cxn>
                <a:cxn ang="0">
                  <a:pos x="connsiteX24162" y="connsiteY24162"/>
                </a:cxn>
                <a:cxn ang="0">
                  <a:pos x="connsiteX24163" y="connsiteY24163"/>
                </a:cxn>
                <a:cxn ang="0">
                  <a:pos x="connsiteX24164" y="connsiteY24164"/>
                </a:cxn>
                <a:cxn ang="0">
                  <a:pos x="connsiteX24165" y="connsiteY24165"/>
                </a:cxn>
                <a:cxn ang="0">
                  <a:pos x="connsiteX24166" y="connsiteY24166"/>
                </a:cxn>
                <a:cxn ang="0">
                  <a:pos x="connsiteX24167" y="connsiteY24167"/>
                </a:cxn>
                <a:cxn ang="0">
                  <a:pos x="connsiteX24168" y="connsiteY24168"/>
                </a:cxn>
                <a:cxn ang="0">
                  <a:pos x="connsiteX24169" y="connsiteY24169"/>
                </a:cxn>
                <a:cxn ang="0">
                  <a:pos x="connsiteX24170" y="connsiteY24170"/>
                </a:cxn>
                <a:cxn ang="0">
                  <a:pos x="connsiteX24171" y="connsiteY24171"/>
                </a:cxn>
                <a:cxn ang="0">
                  <a:pos x="connsiteX24172" y="connsiteY24172"/>
                </a:cxn>
                <a:cxn ang="0">
                  <a:pos x="connsiteX24173" y="connsiteY24173"/>
                </a:cxn>
                <a:cxn ang="0">
                  <a:pos x="connsiteX24174" y="connsiteY24174"/>
                </a:cxn>
                <a:cxn ang="0">
                  <a:pos x="connsiteX24175" y="connsiteY24175"/>
                </a:cxn>
                <a:cxn ang="0">
                  <a:pos x="connsiteX24176" y="connsiteY24176"/>
                </a:cxn>
                <a:cxn ang="0">
                  <a:pos x="connsiteX24177" y="connsiteY24177"/>
                </a:cxn>
                <a:cxn ang="0">
                  <a:pos x="connsiteX24178" y="connsiteY24178"/>
                </a:cxn>
                <a:cxn ang="0">
                  <a:pos x="connsiteX24179" y="connsiteY24179"/>
                </a:cxn>
                <a:cxn ang="0">
                  <a:pos x="connsiteX24180" y="connsiteY24180"/>
                </a:cxn>
                <a:cxn ang="0">
                  <a:pos x="connsiteX24181" y="connsiteY24181"/>
                </a:cxn>
                <a:cxn ang="0">
                  <a:pos x="connsiteX24182" y="connsiteY24182"/>
                </a:cxn>
                <a:cxn ang="0">
                  <a:pos x="connsiteX24183" y="connsiteY24183"/>
                </a:cxn>
                <a:cxn ang="0">
                  <a:pos x="connsiteX24184" y="connsiteY24184"/>
                </a:cxn>
                <a:cxn ang="0">
                  <a:pos x="connsiteX24185" y="connsiteY24185"/>
                </a:cxn>
                <a:cxn ang="0">
                  <a:pos x="connsiteX24186" y="connsiteY24186"/>
                </a:cxn>
                <a:cxn ang="0">
                  <a:pos x="connsiteX24187" y="connsiteY24187"/>
                </a:cxn>
                <a:cxn ang="0">
                  <a:pos x="connsiteX24188" y="connsiteY24188"/>
                </a:cxn>
                <a:cxn ang="0">
                  <a:pos x="connsiteX24189" y="connsiteY24189"/>
                </a:cxn>
                <a:cxn ang="0">
                  <a:pos x="connsiteX24190" y="connsiteY24190"/>
                </a:cxn>
                <a:cxn ang="0">
                  <a:pos x="connsiteX24191" y="connsiteY24191"/>
                </a:cxn>
                <a:cxn ang="0">
                  <a:pos x="connsiteX24192" y="connsiteY24192"/>
                </a:cxn>
                <a:cxn ang="0">
                  <a:pos x="connsiteX24193" y="connsiteY24193"/>
                </a:cxn>
                <a:cxn ang="0">
                  <a:pos x="connsiteX24194" y="connsiteY24194"/>
                </a:cxn>
                <a:cxn ang="0">
                  <a:pos x="connsiteX24195" y="connsiteY24195"/>
                </a:cxn>
                <a:cxn ang="0">
                  <a:pos x="connsiteX24196" y="connsiteY24196"/>
                </a:cxn>
                <a:cxn ang="0">
                  <a:pos x="connsiteX24197" y="connsiteY24197"/>
                </a:cxn>
                <a:cxn ang="0">
                  <a:pos x="connsiteX24198" y="connsiteY24198"/>
                </a:cxn>
                <a:cxn ang="0">
                  <a:pos x="connsiteX24199" y="connsiteY24199"/>
                </a:cxn>
                <a:cxn ang="0">
                  <a:pos x="connsiteX24200" y="connsiteY24200"/>
                </a:cxn>
                <a:cxn ang="0">
                  <a:pos x="connsiteX24201" y="connsiteY24201"/>
                </a:cxn>
                <a:cxn ang="0">
                  <a:pos x="connsiteX24202" y="connsiteY24202"/>
                </a:cxn>
                <a:cxn ang="0">
                  <a:pos x="connsiteX24203" y="connsiteY24203"/>
                </a:cxn>
                <a:cxn ang="0">
                  <a:pos x="connsiteX24204" y="connsiteY24204"/>
                </a:cxn>
                <a:cxn ang="0">
                  <a:pos x="connsiteX24205" y="connsiteY24205"/>
                </a:cxn>
                <a:cxn ang="0">
                  <a:pos x="connsiteX24206" y="connsiteY24206"/>
                </a:cxn>
                <a:cxn ang="0">
                  <a:pos x="connsiteX24207" y="connsiteY24207"/>
                </a:cxn>
                <a:cxn ang="0">
                  <a:pos x="connsiteX24208" y="connsiteY24208"/>
                </a:cxn>
                <a:cxn ang="0">
                  <a:pos x="connsiteX24209" y="connsiteY24209"/>
                </a:cxn>
                <a:cxn ang="0">
                  <a:pos x="connsiteX24210" y="connsiteY24210"/>
                </a:cxn>
                <a:cxn ang="0">
                  <a:pos x="connsiteX24211" y="connsiteY24211"/>
                </a:cxn>
                <a:cxn ang="0">
                  <a:pos x="connsiteX24212" y="connsiteY24212"/>
                </a:cxn>
                <a:cxn ang="0">
                  <a:pos x="connsiteX24213" y="connsiteY24213"/>
                </a:cxn>
                <a:cxn ang="0">
                  <a:pos x="connsiteX24214" y="connsiteY24214"/>
                </a:cxn>
                <a:cxn ang="0">
                  <a:pos x="connsiteX24215" y="connsiteY24215"/>
                </a:cxn>
                <a:cxn ang="0">
                  <a:pos x="connsiteX24216" y="connsiteY24216"/>
                </a:cxn>
                <a:cxn ang="0">
                  <a:pos x="connsiteX24217" y="connsiteY24217"/>
                </a:cxn>
                <a:cxn ang="0">
                  <a:pos x="connsiteX24218" y="connsiteY24218"/>
                </a:cxn>
                <a:cxn ang="0">
                  <a:pos x="connsiteX24219" y="connsiteY24219"/>
                </a:cxn>
                <a:cxn ang="0">
                  <a:pos x="connsiteX24220" y="connsiteY24220"/>
                </a:cxn>
                <a:cxn ang="0">
                  <a:pos x="connsiteX24221" y="connsiteY24221"/>
                </a:cxn>
                <a:cxn ang="0">
                  <a:pos x="connsiteX24222" y="connsiteY24222"/>
                </a:cxn>
                <a:cxn ang="0">
                  <a:pos x="connsiteX24223" y="connsiteY24223"/>
                </a:cxn>
                <a:cxn ang="0">
                  <a:pos x="connsiteX24224" y="connsiteY24224"/>
                </a:cxn>
                <a:cxn ang="0">
                  <a:pos x="connsiteX24225" y="connsiteY24225"/>
                </a:cxn>
                <a:cxn ang="0">
                  <a:pos x="connsiteX24226" y="connsiteY24226"/>
                </a:cxn>
                <a:cxn ang="0">
                  <a:pos x="connsiteX24227" y="connsiteY24227"/>
                </a:cxn>
                <a:cxn ang="0">
                  <a:pos x="connsiteX24228" y="connsiteY24228"/>
                </a:cxn>
                <a:cxn ang="0">
                  <a:pos x="connsiteX24229" y="connsiteY24229"/>
                </a:cxn>
                <a:cxn ang="0">
                  <a:pos x="connsiteX24230" y="connsiteY24230"/>
                </a:cxn>
                <a:cxn ang="0">
                  <a:pos x="connsiteX24231" y="connsiteY24231"/>
                </a:cxn>
                <a:cxn ang="0">
                  <a:pos x="connsiteX24232" y="connsiteY24232"/>
                </a:cxn>
                <a:cxn ang="0">
                  <a:pos x="connsiteX24233" y="connsiteY24233"/>
                </a:cxn>
                <a:cxn ang="0">
                  <a:pos x="connsiteX24234" y="connsiteY24234"/>
                </a:cxn>
                <a:cxn ang="0">
                  <a:pos x="connsiteX24235" y="connsiteY24235"/>
                </a:cxn>
                <a:cxn ang="0">
                  <a:pos x="connsiteX24236" y="connsiteY24236"/>
                </a:cxn>
                <a:cxn ang="0">
                  <a:pos x="connsiteX24237" y="connsiteY24237"/>
                </a:cxn>
                <a:cxn ang="0">
                  <a:pos x="connsiteX24238" y="connsiteY24238"/>
                </a:cxn>
                <a:cxn ang="0">
                  <a:pos x="connsiteX24239" y="connsiteY24239"/>
                </a:cxn>
                <a:cxn ang="0">
                  <a:pos x="connsiteX24240" y="connsiteY24240"/>
                </a:cxn>
                <a:cxn ang="0">
                  <a:pos x="connsiteX24241" y="connsiteY24241"/>
                </a:cxn>
                <a:cxn ang="0">
                  <a:pos x="connsiteX24242" y="connsiteY24242"/>
                </a:cxn>
                <a:cxn ang="0">
                  <a:pos x="connsiteX24243" y="connsiteY24243"/>
                </a:cxn>
                <a:cxn ang="0">
                  <a:pos x="connsiteX24244" y="connsiteY24244"/>
                </a:cxn>
                <a:cxn ang="0">
                  <a:pos x="connsiteX24245" y="connsiteY24245"/>
                </a:cxn>
                <a:cxn ang="0">
                  <a:pos x="connsiteX24246" y="connsiteY24246"/>
                </a:cxn>
                <a:cxn ang="0">
                  <a:pos x="connsiteX24247" y="connsiteY24247"/>
                </a:cxn>
                <a:cxn ang="0">
                  <a:pos x="connsiteX24248" y="connsiteY24248"/>
                </a:cxn>
                <a:cxn ang="0">
                  <a:pos x="connsiteX24249" y="connsiteY24249"/>
                </a:cxn>
                <a:cxn ang="0">
                  <a:pos x="connsiteX24250" y="connsiteY24250"/>
                </a:cxn>
                <a:cxn ang="0">
                  <a:pos x="connsiteX24251" y="connsiteY24251"/>
                </a:cxn>
                <a:cxn ang="0">
                  <a:pos x="connsiteX24252" y="connsiteY24252"/>
                </a:cxn>
                <a:cxn ang="0">
                  <a:pos x="connsiteX24253" y="connsiteY24253"/>
                </a:cxn>
                <a:cxn ang="0">
                  <a:pos x="connsiteX24254" y="connsiteY24254"/>
                </a:cxn>
                <a:cxn ang="0">
                  <a:pos x="connsiteX24255" y="connsiteY24255"/>
                </a:cxn>
                <a:cxn ang="0">
                  <a:pos x="connsiteX24256" y="connsiteY24256"/>
                </a:cxn>
                <a:cxn ang="0">
                  <a:pos x="connsiteX24257" y="connsiteY24257"/>
                </a:cxn>
                <a:cxn ang="0">
                  <a:pos x="connsiteX24258" y="connsiteY24258"/>
                </a:cxn>
                <a:cxn ang="0">
                  <a:pos x="connsiteX24259" y="connsiteY24259"/>
                </a:cxn>
                <a:cxn ang="0">
                  <a:pos x="connsiteX24260" y="connsiteY24260"/>
                </a:cxn>
                <a:cxn ang="0">
                  <a:pos x="connsiteX24261" y="connsiteY24261"/>
                </a:cxn>
                <a:cxn ang="0">
                  <a:pos x="connsiteX24262" y="connsiteY24262"/>
                </a:cxn>
                <a:cxn ang="0">
                  <a:pos x="connsiteX24263" y="connsiteY24263"/>
                </a:cxn>
                <a:cxn ang="0">
                  <a:pos x="connsiteX24264" y="connsiteY24264"/>
                </a:cxn>
                <a:cxn ang="0">
                  <a:pos x="connsiteX24265" y="connsiteY24265"/>
                </a:cxn>
                <a:cxn ang="0">
                  <a:pos x="connsiteX24266" y="connsiteY24266"/>
                </a:cxn>
                <a:cxn ang="0">
                  <a:pos x="connsiteX24267" y="connsiteY24267"/>
                </a:cxn>
                <a:cxn ang="0">
                  <a:pos x="connsiteX24268" y="connsiteY24268"/>
                </a:cxn>
                <a:cxn ang="0">
                  <a:pos x="connsiteX24269" y="connsiteY24269"/>
                </a:cxn>
                <a:cxn ang="0">
                  <a:pos x="connsiteX24270" y="connsiteY24270"/>
                </a:cxn>
                <a:cxn ang="0">
                  <a:pos x="connsiteX24271" y="connsiteY24271"/>
                </a:cxn>
                <a:cxn ang="0">
                  <a:pos x="connsiteX24272" y="connsiteY24272"/>
                </a:cxn>
                <a:cxn ang="0">
                  <a:pos x="connsiteX24273" y="connsiteY24273"/>
                </a:cxn>
                <a:cxn ang="0">
                  <a:pos x="connsiteX24274" y="connsiteY24274"/>
                </a:cxn>
                <a:cxn ang="0">
                  <a:pos x="connsiteX24275" y="connsiteY24275"/>
                </a:cxn>
                <a:cxn ang="0">
                  <a:pos x="connsiteX24276" y="connsiteY24276"/>
                </a:cxn>
                <a:cxn ang="0">
                  <a:pos x="connsiteX24277" y="connsiteY24277"/>
                </a:cxn>
                <a:cxn ang="0">
                  <a:pos x="connsiteX24278" y="connsiteY24278"/>
                </a:cxn>
                <a:cxn ang="0">
                  <a:pos x="connsiteX24279" y="connsiteY24279"/>
                </a:cxn>
                <a:cxn ang="0">
                  <a:pos x="connsiteX24280" y="connsiteY24280"/>
                </a:cxn>
                <a:cxn ang="0">
                  <a:pos x="connsiteX24281" y="connsiteY24281"/>
                </a:cxn>
                <a:cxn ang="0">
                  <a:pos x="connsiteX24282" y="connsiteY24282"/>
                </a:cxn>
                <a:cxn ang="0">
                  <a:pos x="connsiteX24283" y="connsiteY24283"/>
                </a:cxn>
                <a:cxn ang="0">
                  <a:pos x="connsiteX24284" y="connsiteY24284"/>
                </a:cxn>
                <a:cxn ang="0">
                  <a:pos x="connsiteX24285" y="connsiteY24285"/>
                </a:cxn>
                <a:cxn ang="0">
                  <a:pos x="connsiteX24286" y="connsiteY24286"/>
                </a:cxn>
                <a:cxn ang="0">
                  <a:pos x="connsiteX24287" y="connsiteY24287"/>
                </a:cxn>
                <a:cxn ang="0">
                  <a:pos x="connsiteX24288" y="connsiteY24288"/>
                </a:cxn>
                <a:cxn ang="0">
                  <a:pos x="connsiteX24289" y="connsiteY24289"/>
                </a:cxn>
                <a:cxn ang="0">
                  <a:pos x="connsiteX24290" y="connsiteY24290"/>
                </a:cxn>
                <a:cxn ang="0">
                  <a:pos x="connsiteX24291" y="connsiteY24291"/>
                </a:cxn>
                <a:cxn ang="0">
                  <a:pos x="connsiteX24292" y="connsiteY24292"/>
                </a:cxn>
                <a:cxn ang="0">
                  <a:pos x="connsiteX24293" y="connsiteY24293"/>
                </a:cxn>
                <a:cxn ang="0">
                  <a:pos x="connsiteX24294" y="connsiteY24294"/>
                </a:cxn>
                <a:cxn ang="0">
                  <a:pos x="connsiteX24295" y="connsiteY24295"/>
                </a:cxn>
                <a:cxn ang="0">
                  <a:pos x="connsiteX24296" y="connsiteY24296"/>
                </a:cxn>
                <a:cxn ang="0">
                  <a:pos x="connsiteX24297" y="connsiteY24297"/>
                </a:cxn>
                <a:cxn ang="0">
                  <a:pos x="connsiteX24298" y="connsiteY24298"/>
                </a:cxn>
                <a:cxn ang="0">
                  <a:pos x="connsiteX24299" y="connsiteY24299"/>
                </a:cxn>
                <a:cxn ang="0">
                  <a:pos x="connsiteX24300" y="connsiteY24300"/>
                </a:cxn>
                <a:cxn ang="0">
                  <a:pos x="connsiteX24301" y="connsiteY24301"/>
                </a:cxn>
                <a:cxn ang="0">
                  <a:pos x="connsiteX24302" y="connsiteY24302"/>
                </a:cxn>
                <a:cxn ang="0">
                  <a:pos x="connsiteX24303" y="connsiteY24303"/>
                </a:cxn>
                <a:cxn ang="0">
                  <a:pos x="connsiteX24304" y="connsiteY24304"/>
                </a:cxn>
                <a:cxn ang="0">
                  <a:pos x="connsiteX24305" y="connsiteY24305"/>
                </a:cxn>
                <a:cxn ang="0">
                  <a:pos x="connsiteX24306" y="connsiteY24306"/>
                </a:cxn>
                <a:cxn ang="0">
                  <a:pos x="connsiteX24307" y="connsiteY24307"/>
                </a:cxn>
                <a:cxn ang="0">
                  <a:pos x="connsiteX24308" y="connsiteY24308"/>
                </a:cxn>
                <a:cxn ang="0">
                  <a:pos x="connsiteX24309" y="connsiteY24309"/>
                </a:cxn>
                <a:cxn ang="0">
                  <a:pos x="connsiteX24310" y="connsiteY24310"/>
                </a:cxn>
                <a:cxn ang="0">
                  <a:pos x="connsiteX24311" y="connsiteY24311"/>
                </a:cxn>
                <a:cxn ang="0">
                  <a:pos x="connsiteX24312" y="connsiteY24312"/>
                </a:cxn>
                <a:cxn ang="0">
                  <a:pos x="connsiteX24313" y="connsiteY24313"/>
                </a:cxn>
                <a:cxn ang="0">
                  <a:pos x="connsiteX24314" y="connsiteY24314"/>
                </a:cxn>
                <a:cxn ang="0">
                  <a:pos x="connsiteX24315" y="connsiteY24315"/>
                </a:cxn>
                <a:cxn ang="0">
                  <a:pos x="connsiteX24316" y="connsiteY24316"/>
                </a:cxn>
                <a:cxn ang="0">
                  <a:pos x="connsiteX24317" y="connsiteY24317"/>
                </a:cxn>
                <a:cxn ang="0">
                  <a:pos x="connsiteX24318" y="connsiteY24318"/>
                </a:cxn>
                <a:cxn ang="0">
                  <a:pos x="connsiteX24319" y="connsiteY24319"/>
                </a:cxn>
                <a:cxn ang="0">
                  <a:pos x="connsiteX24320" y="connsiteY24320"/>
                </a:cxn>
                <a:cxn ang="0">
                  <a:pos x="connsiteX24321" y="connsiteY24321"/>
                </a:cxn>
                <a:cxn ang="0">
                  <a:pos x="connsiteX24322" y="connsiteY24322"/>
                </a:cxn>
                <a:cxn ang="0">
                  <a:pos x="connsiteX24323" y="connsiteY24323"/>
                </a:cxn>
                <a:cxn ang="0">
                  <a:pos x="connsiteX24324" y="connsiteY24324"/>
                </a:cxn>
                <a:cxn ang="0">
                  <a:pos x="connsiteX24325" y="connsiteY24325"/>
                </a:cxn>
                <a:cxn ang="0">
                  <a:pos x="connsiteX24326" y="connsiteY24326"/>
                </a:cxn>
                <a:cxn ang="0">
                  <a:pos x="connsiteX24327" y="connsiteY24327"/>
                </a:cxn>
                <a:cxn ang="0">
                  <a:pos x="connsiteX24328" y="connsiteY24328"/>
                </a:cxn>
                <a:cxn ang="0">
                  <a:pos x="connsiteX24329" y="connsiteY24329"/>
                </a:cxn>
                <a:cxn ang="0">
                  <a:pos x="connsiteX24330" y="connsiteY24330"/>
                </a:cxn>
                <a:cxn ang="0">
                  <a:pos x="connsiteX24331" y="connsiteY24331"/>
                </a:cxn>
                <a:cxn ang="0">
                  <a:pos x="connsiteX24332" y="connsiteY24332"/>
                </a:cxn>
                <a:cxn ang="0">
                  <a:pos x="connsiteX24333" y="connsiteY24333"/>
                </a:cxn>
                <a:cxn ang="0">
                  <a:pos x="connsiteX24334" y="connsiteY24334"/>
                </a:cxn>
                <a:cxn ang="0">
                  <a:pos x="connsiteX24335" y="connsiteY24335"/>
                </a:cxn>
                <a:cxn ang="0">
                  <a:pos x="connsiteX24336" y="connsiteY24336"/>
                </a:cxn>
                <a:cxn ang="0">
                  <a:pos x="connsiteX24337" y="connsiteY24337"/>
                </a:cxn>
                <a:cxn ang="0">
                  <a:pos x="connsiteX24338" y="connsiteY24338"/>
                </a:cxn>
                <a:cxn ang="0">
                  <a:pos x="connsiteX24339" y="connsiteY24339"/>
                </a:cxn>
                <a:cxn ang="0">
                  <a:pos x="connsiteX24340" y="connsiteY24340"/>
                </a:cxn>
                <a:cxn ang="0">
                  <a:pos x="connsiteX24341" y="connsiteY24341"/>
                </a:cxn>
                <a:cxn ang="0">
                  <a:pos x="connsiteX24342" y="connsiteY24342"/>
                </a:cxn>
                <a:cxn ang="0">
                  <a:pos x="connsiteX24343" y="connsiteY24343"/>
                </a:cxn>
                <a:cxn ang="0">
                  <a:pos x="connsiteX24344" y="connsiteY24344"/>
                </a:cxn>
                <a:cxn ang="0">
                  <a:pos x="connsiteX24345" y="connsiteY24345"/>
                </a:cxn>
                <a:cxn ang="0">
                  <a:pos x="connsiteX24346" y="connsiteY24346"/>
                </a:cxn>
                <a:cxn ang="0">
                  <a:pos x="connsiteX24347" y="connsiteY24347"/>
                </a:cxn>
                <a:cxn ang="0">
                  <a:pos x="connsiteX24348" y="connsiteY24348"/>
                </a:cxn>
                <a:cxn ang="0">
                  <a:pos x="connsiteX24349" y="connsiteY24349"/>
                </a:cxn>
                <a:cxn ang="0">
                  <a:pos x="connsiteX24350" y="connsiteY24350"/>
                </a:cxn>
                <a:cxn ang="0">
                  <a:pos x="connsiteX24351" y="connsiteY24351"/>
                </a:cxn>
                <a:cxn ang="0">
                  <a:pos x="connsiteX24352" y="connsiteY24352"/>
                </a:cxn>
                <a:cxn ang="0">
                  <a:pos x="connsiteX24353" y="connsiteY24353"/>
                </a:cxn>
                <a:cxn ang="0">
                  <a:pos x="connsiteX24354" y="connsiteY24354"/>
                </a:cxn>
                <a:cxn ang="0">
                  <a:pos x="connsiteX24355" y="connsiteY24355"/>
                </a:cxn>
                <a:cxn ang="0">
                  <a:pos x="connsiteX24356" y="connsiteY24356"/>
                </a:cxn>
                <a:cxn ang="0">
                  <a:pos x="connsiteX24357" y="connsiteY24357"/>
                </a:cxn>
                <a:cxn ang="0">
                  <a:pos x="connsiteX24358" y="connsiteY24358"/>
                </a:cxn>
                <a:cxn ang="0">
                  <a:pos x="connsiteX24359" y="connsiteY24359"/>
                </a:cxn>
                <a:cxn ang="0">
                  <a:pos x="connsiteX24360" y="connsiteY24360"/>
                </a:cxn>
                <a:cxn ang="0">
                  <a:pos x="connsiteX24361" y="connsiteY24361"/>
                </a:cxn>
                <a:cxn ang="0">
                  <a:pos x="connsiteX24362" y="connsiteY24362"/>
                </a:cxn>
                <a:cxn ang="0">
                  <a:pos x="connsiteX24363" y="connsiteY24363"/>
                </a:cxn>
                <a:cxn ang="0">
                  <a:pos x="connsiteX24364" y="connsiteY24364"/>
                </a:cxn>
                <a:cxn ang="0">
                  <a:pos x="connsiteX24365" y="connsiteY24365"/>
                </a:cxn>
                <a:cxn ang="0">
                  <a:pos x="connsiteX24366" y="connsiteY24366"/>
                </a:cxn>
                <a:cxn ang="0">
                  <a:pos x="connsiteX24367" y="connsiteY24367"/>
                </a:cxn>
                <a:cxn ang="0">
                  <a:pos x="connsiteX24368" y="connsiteY24368"/>
                </a:cxn>
                <a:cxn ang="0">
                  <a:pos x="connsiteX24369" y="connsiteY24369"/>
                </a:cxn>
                <a:cxn ang="0">
                  <a:pos x="connsiteX24370" y="connsiteY24370"/>
                </a:cxn>
                <a:cxn ang="0">
                  <a:pos x="connsiteX24371" y="connsiteY24371"/>
                </a:cxn>
                <a:cxn ang="0">
                  <a:pos x="connsiteX24372" y="connsiteY24372"/>
                </a:cxn>
                <a:cxn ang="0">
                  <a:pos x="connsiteX24373" y="connsiteY24373"/>
                </a:cxn>
                <a:cxn ang="0">
                  <a:pos x="connsiteX24374" y="connsiteY24374"/>
                </a:cxn>
                <a:cxn ang="0">
                  <a:pos x="connsiteX24375" y="connsiteY24375"/>
                </a:cxn>
                <a:cxn ang="0">
                  <a:pos x="connsiteX24376" y="connsiteY24376"/>
                </a:cxn>
                <a:cxn ang="0">
                  <a:pos x="connsiteX24377" y="connsiteY24377"/>
                </a:cxn>
                <a:cxn ang="0">
                  <a:pos x="connsiteX24378" y="connsiteY24378"/>
                </a:cxn>
                <a:cxn ang="0">
                  <a:pos x="connsiteX24379" y="connsiteY24379"/>
                </a:cxn>
                <a:cxn ang="0">
                  <a:pos x="connsiteX24380" y="connsiteY24380"/>
                </a:cxn>
                <a:cxn ang="0">
                  <a:pos x="connsiteX24381" y="connsiteY24381"/>
                </a:cxn>
                <a:cxn ang="0">
                  <a:pos x="connsiteX24382" y="connsiteY24382"/>
                </a:cxn>
                <a:cxn ang="0">
                  <a:pos x="connsiteX24383" y="connsiteY24383"/>
                </a:cxn>
                <a:cxn ang="0">
                  <a:pos x="connsiteX24384" y="connsiteY24384"/>
                </a:cxn>
                <a:cxn ang="0">
                  <a:pos x="connsiteX24385" y="connsiteY24385"/>
                </a:cxn>
                <a:cxn ang="0">
                  <a:pos x="connsiteX24386" y="connsiteY24386"/>
                </a:cxn>
                <a:cxn ang="0">
                  <a:pos x="connsiteX24387" y="connsiteY24387"/>
                </a:cxn>
                <a:cxn ang="0">
                  <a:pos x="connsiteX24388" y="connsiteY24388"/>
                </a:cxn>
                <a:cxn ang="0">
                  <a:pos x="connsiteX24389" y="connsiteY24389"/>
                </a:cxn>
                <a:cxn ang="0">
                  <a:pos x="connsiteX24390" y="connsiteY24390"/>
                </a:cxn>
                <a:cxn ang="0">
                  <a:pos x="connsiteX24391" y="connsiteY24391"/>
                </a:cxn>
                <a:cxn ang="0">
                  <a:pos x="connsiteX24392" y="connsiteY24392"/>
                </a:cxn>
                <a:cxn ang="0">
                  <a:pos x="connsiteX24393" y="connsiteY24393"/>
                </a:cxn>
                <a:cxn ang="0">
                  <a:pos x="connsiteX24394" y="connsiteY24394"/>
                </a:cxn>
                <a:cxn ang="0">
                  <a:pos x="connsiteX24395" y="connsiteY24395"/>
                </a:cxn>
                <a:cxn ang="0">
                  <a:pos x="connsiteX24396" y="connsiteY24396"/>
                </a:cxn>
                <a:cxn ang="0">
                  <a:pos x="connsiteX24397" y="connsiteY24397"/>
                </a:cxn>
                <a:cxn ang="0">
                  <a:pos x="connsiteX24398" y="connsiteY24398"/>
                </a:cxn>
                <a:cxn ang="0">
                  <a:pos x="connsiteX24399" y="connsiteY24399"/>
                </a:cxn>
                <a:cxn ang="0">
                  <a:pos x="connsiteX24400" y="connsiteY24400"/>
                </a:cxn>
                <a:cxn ang="0">
                  <a:pos x="connsiteX24401" y="connsiteY24401"/>
                </a:cxn>
                <a:cxn ang="0">
                  <a:pos x="connsiteX24402" y="connsiteY24402"/>
                </a:cxn>
                <a:cxn ang="0">
                  <a:pos x="connsiteX24403" y="connsiteY24403"/>
                </a:cxn>
                <a:cxn ang="0">
                  <a:pos x="connsiteX24404" y="connsiteY24404"/>
                </a:cxn>
                <a:cxn ang="0">
                  <a:pos x="connsiteX24405" y="connsiteY24405"/>
                </a:cxn>
                <a:cxn ang="0">
                  <a:pos x="connsiteX24406" y="connsiteY24406"/>
                </a:cxn>
                <a:cxn ang="0">
                  <a:pos x="connsiteX24407" y="connsiteY24407"/>
                </a:cxn>
                <a:cxn ang="0">
                  <a:pos x="connsiteX24408" y="connsiteY24408"/>
                </a:cxn>
                <a:cxn ang="0">
                  <a:pos x="connsiteX24409" y="connsiteY24409"/>
                </a:cxn>
                <a:cxn ang="0">
                  <a:pos x="connsiteX24410" y="connsiteY24410"/>
                </a:cxn>
                <a:cxn ang="0">
                  <a:pos x="connsiteX24411" y="connsiteY24411"/>
                </a:cxn>
                <a:cxn ang="0">
                  <a:pos x="connsiteX24412" y="connsiteY24412"/>
                </a:cxn>
                <a:cxn ang="0">
                  <a:pos x="connsiteX24413" y="connsiteY24413"/>
                </a:cxn>
                <a:cxn ang="0">
                  <a:pos x="connsiteX24414" y="connsiteY24414"/>
                </a:cxn>
                <a:cxn ang="0">
                  <a:pos x="connsiteX24415" y="connsiteY24415"/>
                </a:cxn>
                <a:cxn ang="0">
                  <a:pos x="connsiteX24416" y="connsiteY24416"/>
                </a:cxn>
                <a:cxn ang="0">
                  <a:pos x="connsiteX24417" y="connsiteY24417"/>
                </a:cxn>
                <a:cxn ang="0">
                  <a:pos x="connsiteX24418" y="connsiteY24418"/>
                </a:cxn>
                <a:cxn ang="0">
                  <a:pos x="connsiteX24419" y="connsiteY24419"/>
                </a:cxn>
                <a:cxn ang="0">
                  <a:pos x="connsiteX24420" y="connsiteY24420"/>
                </a:cxn>
                <a:cxn ang="0">
                  <a:pos x="connsiteX24421" y="connsiteY24421"/>
                </a:cxn>
                <a:cxn ang="0">
                  <a:pos x="connsiteX24422" y="connsiteY24422"/>
                </a:cxn>
                <a:cxn ang="0">
                  <a:pos x="connsiteX24423" y="connsiteY24423"/>
                </a:cxn>
                <a:cxn ang="0">
                  <a:pos x="connsiteX24424" y="connsiteY24424"/>
                </a:cxn>
                <a:cxn ang="0">
                  <a:pos x="connsiteX24425" y="connsiteY24425"/>
                </a:cxn>
                <a:cxn ang="0">
                  <a:pos x="connsiteX24426" y="connsiteY24426"/>
                </a:cxn>
                <a:cxn ang="0">
                  <a:pos x="connsiteX24427" y="connsiteY24427"/>
                </a:cxn>
                <a:cxn ang="0">
                  <a:pos x="connsiteX24428" y="connsiteY24428"/>
                </a:cxn>
                <a:cxn ang="0">
                  <a:pos x="connsiteX24429" y="connsiteY24429"/>
                </a:cxn>
                <a:cxn ang="0">
                  <a:pos x="connsiteX24430" y="connsiteY24430"/>
                </a:cxn>
                <a:cxn ang="0">
                  <a:pos x="connsiteX24431" y="connsiteY24431"/>
                </a:cxn>
                <a:cxn ang="0">
                  <a:pos x="connsiteX24432" y="connsiteY24432"/>
                </a:cxn>
                <a:cxn ang="0">
                  <a:pos x="connsiteX24433" y="connsiteY24433"/>
                </a:cxn>
                <a:cxn ang="0">
                  <a:pos x="connsiteX24434" y="connsiteY24434"/>
                </a:cxn>
                <a:cxn ang="0">
                  <a:pos x="connsiteX24435" y="connsiteY24435"/>
                </a:cxn>
                <a:cxn ang="0">
                  <a:pos x="connsiteX24436" y="connsiteY24436"/>
                </a:cxn>
                <a:cxn ang="0">
                  <a:pos x="connsiteX24437" y="connsiteY24437"/>
                </a:cxn>
                <a:cxn ang="0">
                  <a:pos x="connsiteX24438" y="connsiteY24438"/>
                </a:cxn>
                <a:cxn ang="0">
                  <a:pos x="connsiteX24439" y="connsiteY24439"/>
                </a:cxn>
                <a:cxn ang="0">
                  <a:pos x="connsiteX24440" y="connsiteY24440"/>
                </a:cxn>
                <a:cxn ang="0">
                  <a:pos x="connsiteX24441" y="connsiteY24441"/>
                </a:cxn>
                <a:cxn ang="0">
                  <a:pos x="connsiteX24442" y="connsiteY24442"/>
                </a:cxn>
                <a:cxn ang="0">
                  <a:pos x="connsiteX24443" y="connsiteY24443"/>
                </a:cxn>
                <a:cxn ang="0">
                  <a:pos x="connsiteX24444" y="connsiteY24444"/>
                </a:cxn>
                <a:cxn ang="0">
                  <a:pos x="connsiteX24445" y="connsiteY24445"/>
                </a:cxn>
                <a:cxn ang="0">
                  <a:pos x="connsiteX24446" y="connsiteY24446"/>
                </a:cxn>
                <a:cxn ang="0">
                  <a:pos x="connsiteX24447" y="connsiteY24447"/>
                </a:cxn>
                <a:cxn ang="0">
                  <a:pos x="connsiteX24448" y="connsiteY24448"/>
                </a:cxn>
                <a:cxn ang="0">
                  <a:pos x="connsiteX24449" y="connsiteY24449"/>
                </a:cxn>
                <a:cxn ang="0">
                  <a:pos x="connsiteX24450" y="connsiteY24450"/>
                </a:cxn>
                <a:cxn ang="0">
                  <a:pos x="connsiteX24451" y="connsiteY24451"/>
                </a:cxn>
                <a:cxn ang="0">
                  <a:pos x="connsiteX24452" y="connsiteY24452"/>
                </a:cxn>
                <a:cxn ang="0">
                  <a:pos x="connsiteX24453" y="connsiteY24453"/>
                </a:cxn>
                <a:cxn ang="0">
                  <a:pos x="connsiteX24454" y="connsiteY24454"/>
                </a:cxn>
                <a:cxn ang="0">
                  <a:pos x="connsiteX24455" y="connsiteY24455"/>
                </a:cxn>
                <a:cxn ang="0">
                  <a:pos x="connsiteX24456" y="connsiteY24456"/>
                </a:cxn>
                <a:cxn ang="0">
                  <a:pos x="connsiteX24457" y="connsiteY24457"/>
                </a:cxn>
                <a:cxn ang="0">
                  <a:pos x="connsiteX24458" y="connsiteY24458"/>
                </a:cxn>
                <a:cxn ang="0">
                  <a:pos x="connsiteX24459" y="connsiteY24459"/>
                </a:cxn>
                <a:cxn ang="0">
                  <a:pos x="connsiteX24460" y="connsiteY24460"/>
                </a:cxn>
                <a:cxn ang="0">
                  <a:pos x="connsiteX24461" y="connsiteY24461"/>
                </a:cxn>
                <a:cxn ang="0">
                  <a:pos x="connsiteX24462" y="connsiteY24462"/>
                </a:cxn>
                <a:cxn ang="0">
                  <a:pos x="connsiteX24463" y="connsiteY24463"/>
                </a:cxn>
                <a:cxn ang="0">
                  <a:pos x="connsiteX24464" y="connsiteY24464"/>
                </a:cxn>
                <a:cxn ang="0">
                  <a:pos x="connsiteX24465" y="connsiteY24465"/>
                </a:cxn>
                <a:cxn ang="0">
                  <a:pos x="connsiteX24466" y="connsiteY24466"/>
                </a:cxn>
                <a:cxn ang="0">
                  <a:pos x="connsiteX24467" y="connsiteY24467"/>
                </a:cxn>
                <a:cxn ang="0">
                  <a:pos x="connsiteX24468" y="connsiteY24468"/>
                </a:cxn>
                <a:cxn ang="0">
                  <a:pos x="connsiteX24469" y="connsiteY24469"/>
                </a:cxn>
                <a:cxn ang="0">
                  <a:pos x="connsiteX24470" y="connsiteY24470"/>
                </a:cxn>
                <a:cxn ang="0">
                  <a:pos x="connsiteX24471" y="connsiteY24471"/>
                </a:cxn>
                <a:cxn ang="0">
                  <a:pos x="connsiteX24472" y="connsiteY24472"/>
                </a:cxn>
                <a:cxn ang="0">
                  <a:pos x="connsiteX24473" y="connsiteY24473"/>
                </a:cxn>
                <a:cxn ang="0">
                  <a:pos x="connsiteX24474" y="connsiteY24474"/>
                </a:cxn>
                <a:cxn ang="0">
                  <a:pos x="connsiteX24475" y="connsiteY24475"/>
                </a:cxn>
                <a:cxn ang="0">
                  <a:pos x="connsiteX24476" y="connsiteY24476"/>
                </a:cxn>
                <a:cxn ang="0">
                  <a:pos x="connsiteX24477" y="connsiteY24477"/>
                </a:cxn>
                <a:cxn ang="0">
                  <a:pos x="connsiteX24478" y="connsiteY24478"/>
                </a:cxn>
                <a:cxn ang="0">
                  <a:pos x="connsiteX24479" y="connsiteY24479"/>
                </a:cxn>
                <a:cxn ang="0">
                  <a:pos x="connsiteX24480" y="connsiteY24480"/>
                </a:cxn>
                <a:cxn ang="0">
                  <a:pos x="connsiteX24481" y="connsiteY24481"/>
                </a:cxn>
                <a:cxn ang="0">
                  <a:pos x="connsiteX24482" y="connsiteY24482"/>
                </a:cxn>
                <a:cxn ang="0">
                  <a:pos x="connsiteX24483" y="connsiteY24483"/>
                </a:cxn>
                <a:cxn ang="0">
                  <a:pos x="connsiteX24484" y="connsiteY24484"/>
                </a:cxn>
                <a:cxn ang="0">
                  <a:pos x="connsiteX24485" y="connsiteY24485"/>
                </a:cxn>
                <a:cxn ang="0">
                  <a:pos x="connsiteX24486" y="connsiteY24486"/>
                </a:cxn>
                <a:cxn ang="0">
                  <a:pos x="connsiteX24487" y="connsiteY24487"/>
                </a:cxn>
                <a:cxn ang="0">
                  <a:pos x="connsiteX24488" y="connsiteY24488"/>
                </a:cxn>
                <a:cxn ang="0">
                  <a:pos x="connsiteX24489" y="connsiteY24489"/>
                </a:cxn>
                <a:cxn ang="0">
                  <a:pos x="connsiteX24490" y="connsiteY24490"/>
                </a:cxn>
                <a:cxn ang="0">
                  <a:pos x="connsiteX24491" y="connsiteY24491"/>
                </a:cxn>
                <a:cxn ang="0">
                  <a:pos x="connsiteX24492" y="connsiteY24492"/>
                </a:cxn>
                <a:cxn ang="0">
                  <a:pos x="connsiteX24493" y="connsiteY24493"/>
                </a:cxn>
                <a:cxn ang="0">
                  <a:pos x="connsiteX24494" y="connsiteY24494"/>
                </a:cxn>
                <a:cxn ang="0">
                  <a:pos x="connsiteX24495" y="connsiteY24495"/>
                </a:cxn>
                <a:cxn ang="0">
                  <a:pos x="connsiteX24496" y="connsiteY24496"/>
                </a:cxn>
                <a:cxn ang="0">
                  <a:pos x="connsiteX24497" y="connsiteY24497"/>
                </a:cxn>
                <a:cxn ang="0">
                  <a:pos x="connsiteX24498" y="connsiteY24498"/>
                </a:cxn>
                <a:cxn ang="0">
                  <a:pos x="connsiteX24499" y="connsiteY24499"/>
                </a:cxn>
                <a:cxn ang="0">
                  <a:pos x="connsiteX24500" y="connsiteY24500"/>
                </a:cxn>
                <a:cxn ang="0">
                  <a:pos x="connsiteX24501" y="connsiteY24501"/>
                </a:cxn>
                <a:cxn ang="0">
                  <a:pos x="connsiteX24502" y="connsiteY24502"/>
                </a:cxn>
                <a:cxn ang="0">
                  <a:pos x="connsiteX24503" y="connsiteY24503"/>
                </a:cxn>
                <a:cxn ang="0">
                  <a:pos x="connsiteX24504" y="connsiteY24504"/>
                </a:cxn>
                <a:cxn ang="0">
                  <a:pos x="connsiteX24505" y="connsiteY24505"/>
                </a:cxn>
                <a:cxn ang="0">
                  <a:pos x="connsiteX24506" y="connsiteY24506"/>
                </a:cxn>
                <a:cxn ang="0">
                  <a:pos x="connsiteX24507" y="connsiteY24507"/>
                </a:cxn>
                <a:cxn ang="0">
                  <a:pos x="connsiteX24508" y="connsiteY24508"/>
                </a:cxn>
                <a:cxn ang="0">
                  <a:pos x="connsiteX24509" y="connsiteY24509"/>
                </a:cxn>
                <a:cxn ang="0">
                  <a:pos x="connsiteX24510" y="connsiteY24510"/>
                </a:cxn>
                <a:cxn ang="0">
                  <a:pos x="connsiteX24511" y="connsiteY24511"/>
                </a:cxn>
                <a:cxn ang="0">
                  <a:pos x="connsiteX24512" y="connsiteY24512"/>
                </a:cxn>
                <a:cxn ang="0">
                  <a:pos x="connsiteX24513" y="connsiteY24513"/>
                </a:cxn>
                <a:cxn ang="0">
                  <a:pos x="connsiteX24514" y="connsiteY24514"/>
                </a:cxn>
                <a:cxn ang="0">
                  <a:pos x="connsiteX24515" y="connsiteY24515"/>
                </a:cxn>
                <a:cxn ang="0">
                  <a:pos x="connsiteX24516" y="connsiteY24516"/>
                </a:cxn>
                <a:cxn ang="0">
                  <a:pos x="connsiteX24517" y="connsiteY24517"/>
                </a:cxn>
                <a:cxn ang="0">
                  <a:pos x="connsiteX24518" y="connsiteY24518"/>
                </a:cxn>
                <a:cxn ang="0">
                  <a:pos x="connsiteX24519" y="connsiteY24519"/>
                </a:cxn>
                <a:cxn ang="0">
                  <a:pos x="connsiteX24520" y="connsiteY24520"/>
                </a:cxn>
                <a:cxn ang="0">
                  <a:pos x="connsiteX24521" y="connsiteY24521"/>
                </a:cxn>
                <a:cxn ang="0">
                  <a:pos x="connsiteX24522" y="connsiteY24522"/>
                </a:cxn>
                <a:cxn ang="0">
                  <a:pos x="connsiteX24523" y="connsiteY24523"/>
                </a:cxn>
                <a:cxn ang="0">
                  <a:pos x="connsiteX24524" y="connsiteY24524"/>
                </a:cxn>
                <a:cxn ang="0">
                  <a:pos x="connsiteX24525" y="connsiteY24525"/>
                </a:cxn>
                <a:cxn ang="0">
                  <a:pos x="connsiteX24526" y="connsiteY24526"/>
                </a:cxn>
                <a:cxn ang="0">
                  <a:pos x="connsiteX24527" y="connsiteY24527"/>
                </a:cxn>
                <a:cxn ang="0">
                  <a:pos x="connsiteX24528" y="connsiteY24528"/>
                </a:cxn>
                <a:cxn ang="0">
                  <a:pos x="connsiteX24529" y="connsiteY24529"/>
                </a:cxn>
                <a:cxn ang="0">
                  <a:pos x="connsiteX24530" y="connsiteY24530"/>
                </a:cxn>
                <a:cxn ang="0">
                  <a:pos x="connsiteX24531" y="connsiteY24531"/>
                </a:cxn>
                <a:cxn ang="0">
                  <a:pos x="connsiteX24532" y="connsiteY24532"/>
                </a:cxn>
                <a:cxn ang="0">
                  <a:pos x="connsiteX24533" y="connsiteY24533"/>
                </a:cxn>
                <a:cxn ang="0">
                  <a:pos x="connsiteX24534" y="connsiteY24534"/>
                </a:cxn>
                <a:cxn ang="0">
                  <a:pos x="connsiteX24535" y="connsiteY24535"/>
                </a:cxn>
                <a:cxn ang="0">
                  <a:pos x="connsiteX24536" y="connsiteY24536"/>
                </a:cxn>
                <a:cxn ang="0">
                  <a:pos x="connsiteX24537" y="connsiteY24537"/>
                </a:cxn>
                <a:cxn ang="0">
                  <a:pos x="connsiteX24538" y="connsiteY24538"/>
                </a:cxn>
                <a:cxn ang="0">
                  <a:pos x="connsiteX24539" y="connsiteY24539"/>
                </a:cxn>
                <a:cxn ang="0">
                  <a:pos x="connsiteX24540" y="connsiteY24540"/>
                </a:cxn>
                <a:cxn ang="0">
                  <a:pos x="connsiteX24541" y="connsiteY24541"/>
                </a:cxn>
                <a:cxn ang="0">
                  <a:pos x="connsiteX24542" y="connsiteY24542"/>
                </a:cxn>
                <a:cxn ang="0">
                  <a:pos x="connsiteX24543" y="connsiteY24543"/>
                </a:cxn>
                <a:cxn ang="0">
                  <a:pos x="connsiteX24544" y="connsiteY24544"/>
                </a:cxn>
                <a:cxn ang="0">
                  <a:pos x="connsiteX24545" y="connsiteY24545"/>
                </a:cxn>
                <a:cxn ang="0">
                  <a:pos x="connsiteX24546" y="connsiteY24546"/>
                </a:cxn>
                <a:cxn ang="0">
                  <a:pos x="connsiteX24547" y="connsiteY24547"/>
                </a:cxn>
                <a:cxn ang="0">
                  <a:pos x="connsiteX24548" y="connsiteY24548"/>
                </a:cxn>
                <a:cxn ang="0">
                  <a:pos x="connsiteX24549" y="connsiteY24549"/>
                </a:cxn>
                <a:cxn ang="0">
                  <a:pos x="connsiteX24550" y="connsiteY24550"/>
                </a:cxn>
                <a:cxn ang="0">
                  <a:pos x="connsiteX24551" y="connsiteY24551"/>
                </a:cxn>
                <a:cxn ang="0">
                  <a:pos x="connsiteX24552" y="connsiteY24552"/>
                </a:cxn>
                <a:cxn ang="0">
                  <a:pos x="connsiteX24553" y="connsiteY24553"/>
                </a:cxn>
                <a:cxn ang="0">
                  <a:pos x="connsiteX24554" y="connsiteY24554"/>
                </a:cxn>
                <a:cxn ang="0">
                  <a:pos x="connsiteX24555" y="connsiteY24555"/>
                </a:cxn>
                <a:cxn ang="0">
                  <a:pos x="connsiteX24556" y="connsiteY24556"/>
                </a:cxn>
                <a:cxn ang="0">
                  <a:pos x="connsiteX24557" y="connsiteY24557"/>
                </a:cxn>
                <a:cxn ang="0">
                  <a:pos x="connsiteX24558" y="connsiteY24558"/>
                </a:cxn>
                <a:cxn ang="0">
                  <a:pos x="connsiteX24559" y="connsiteY24559"/>
                </a:cxn>
                <a:cxn ang="0">
                  <a:pos x="connsiteX24560" y="connsiteY24560"/>
                </a:cxn>
                <a:cxn ang="0">
                  <a:pos x="connsiteX24561" y="connsiteY24561"/>
                </a:cxn>
                <a:cxn ang="0">
                  <a:pos x="connsiteX24562" y="connsiteY24562"/>
                </a:cxn>
                <a:cxn ang="0">
                  <a:pos x="connsiteX24563" y="connsiteY24563"/>
                </a:cxn>
                <a:cxn ang="0">
                  <a:pos x="connsiteX24564" y="connsiteY24564"/>
                </a:cxn>
                <a:cxn ang="0">
                  <a:pos x="connsiteX24565" y="connsiteY24565"/>
                </a:cxn>
                <a:cxn ang="0">
                  <a:pos x="connsiteX24566" y="connsiteY24566"/>
                </a:cxn>
                <a:cxn ang="0">
                  <a:pos x="connsiteX24567" y="connsiteY24567"/>
                </a:cxn>
                <a:cxn ang="0">
                  <a:pos x="connsiteX24568" y="connsiteY24568"/>
                </a:cxn>
                <a:cxn ang="0">
                  <a:pos x="connsiteX24569" y="connsiteY24569"/>
                </a:cxn>
                <a:cxn ang="0">
                  <a:pos x="connsiteX24570" y="connsiteY24570"/>
                </a:cxn>
                <a:cxn ang="0">
                  <a:pos x="connsiteX24571" y="connsiteY24571"/>
                </a:cxn>
                <a:cxn ang="0">
                  <a:pos x="connsiteX24572" y="connsiteY24572"/>
                </a:cxn>
                <a:cxn ang="0">
                  <a:pos x="connsiteX24573" y="connsiteY24573"/>
                </a:cxn>
                <a:cxn ang="0">
                  <a:pos x="connsiteX24574" y="connsiteY24574"/>
                </a:cxn>
                <a:cxn ang="0">
                  <a:pos x="connsiteX24575" y="connsiteY24575"/>
                </a:cxn>
                <a:cxn ang="0">
                  <a:pos x="connsiteX24576" y="connsiteY24576"/>
                </a:cxn>
                <a:cxn ang="0">
                  <a:pos x="connsiteX24577" y="connsiteY24577"/>
                </a:cxn>
                <a:cxn ang="0">
                  <a:pos x="connsiteX24578" y="connsiteY24578"/>
                </a:cxn>
                <a:cxn ang="0">
                  <a:pos x="connsiteX24579" y="connsiteY24579"/>
                </a:cxn>
                <a:cxn ang="0">
                  <a:pos x="connsiteX24580" y="connsiteY24580"/>
                </a:cxn>
                <a:cxn ang="0">
                  <a:pos x="connsiteX24581" y="connsiteY24581"/>
                </a:cxn>
                <a:cxn ang="0">
                  <a:pos x="connsiteX24582" y="connsiteY24582"/>
                </a:cxn>
                <a:cxn ang="0">
                  <a:pos x="connsiteX24583" y="connsiteY24583"/>
                </a:cxn>
                <a:cxn ang="0">
                  <a:pos x="connsiteX24584" y="connsiteY24584"/>
                </a:cxn>
                <a:cxn ang="0">
                  <a:pos x="connsiteX24585" y="connsiteY24585"/>
                </a:cxn>
                <a:cxn ang="0">
                  <a:pos x="connsiteX24586" y="connsiteY24586"/>
                </a:cxn>
                <a:cxn ang="0">
                  <a:pos x="connsiteX24587" y="connsiteY24587"/>
                </a:cxn>
                <a:cxn ang="0">
                  <a:pos x="connsiteX24588" y="connsiteY24588"/>
                </a:cxn>
                <a:cxn ang="0">
                  <a:pos x="connsiteX24589" y="connsiteY24589"/>
                </a:cxn>
                <a:cxn ang="0">
                  <a:pos x="connsiteX24590" y="connsiteY24590"/>
                </a:cxn>
                <a:cxn ang="0">
                  <a:pos x="connsiteX24591" y="connsiteY24591"/>
                </a:cxn>
                <a:cxn ang="0">
                  <a:pos x="connsiteX24592" y="connsiteY24592"/>
                </a:cxn>
                <a:cxn ang="0">
                  <a:pos x="connsiteX24593" y="connsiteY24593"/>
                </a:cxn>
                <a:cxn ang="0">
                  <a:pos x="connsiteX24594" y="connsiteY24594"/>
                </a:cxn>
                <a:cxn ang="0">
                  <a:pos x="connsiteX24595" y="connsiteY24595"/>
                </a:cxn>
                <a:cxn ang="0">
                  <a:pos x="connsiteX24596" y="connsiteY24596"/>
                </a:cxn>
                <a:cxn ang="0">
                  <a:pos x="connsiteX24597" y="connsiteY24597"/>
                </a:cxn>
                <a:cxn ang="0">
                  <a:pos x="connsiteX24598" y="connsiteY24598"/>
                </a:cxn>
                <a:cxn ang="0">
                  <a:pos x="connsiteX24599" y="connsiteY24599"/>
                </a:cxn>
                <a:cxn ang="0">
                  <a:pos x="connsiteX24600" y="connsiteY24600"/>
                </a:cxn>
                <a:cxn ang="0">
                  <a:pos x="connsiteX24601" y="connsiteY24601"/>
                </a:cxn>
                <a:cxn ang="0">
                  <a:pos x="connsiteX24602" y="connsiteY24602"/>
                </a:cxn>
                <a:cxn ang="0">
                  <a:pos x="connsiteX24603" y="connsiteY24603"/>
                </a:cxn>
                <a:cxn ang="0">
                  <a:pos x="connsiteX24604" y="connsiteY24604"/>
                </a:cxn>
                <a:cxn ang="0">
                  <a:pos x="connsiteX24605" y="connsiteY24605"/>
                </a:cxn>
                <a:cxn ang="0">
                  <a:pos x="connsiteX24606" y="connsiteY24606"/>
                </a:cxn>
                <a:cxn ang="0">
                  <a:pos x="connsiteX24607" y="connsiteY24607"/>
                </a:cxn>
                <a:cxn ang="0">
                  <a:pos x="connsiteX24608" y="connsiteY24608"/>
                </a:cxn>
                <a:cxn ang="0">
                  <a:pos x="connsiteX24609" y="connsiteY24609"/>
                </a:cxn>
                <a:cxn ang="0">
                  <a:pos x="connsiteX24610" y="connsiteY24610"/>
                </a:cxn>
                <a:cxn ang="0">
                  <a:pos x="connsiteX24611" y="connsiteY24611"/>
                </a:cxn>
                <a:cxn ang="0">
                  <a:pos x="connsiteX24612" y="connsiteY24612"/>
                </a:cxn>
                <a:cxn ang="0">
                  <a:pos x="connsiteX24613" y="connsiteY24613"/>
                </a:cxn>
                <a:cxn ang="0">
                  <a:pos x="connsiteX24614" y="connsiteY24614"/>
                </a:cxn>
                <a:cxn ang="0">
                  <a:pos x="connsiteX24615" y="connsiteY24615"/>
                </a:cxn>
                <a:cxn ang="0">
                  <a:pos x="connsiteX24616" y="connsiteY24616"/>
                </a:cxn>
                <a:cxn ang="0">
                  <a:pos x="connsiteX24617" y="connsiteY24617"/>
                </a:cxn>
                <a:cxn ang="0">
                  <a:pos x="connsiteX24618" y="connsiteY24618"/>
                </a:cxn>
                <a:cxn ang="0">
                  <a:pos x="connsiteX24619" y="connsiteY24619"/>
                </a:cxn>
                <a:cxn ang="0">
                  <a:pos x="connsiteX24620" y="connsiteY24620"/>
                </a:cxn>
                <a:cxn ang="0">
                  <a:pos x="connsiteX24621" y="connsiteY24621"/>
                </a:cxn>
                <a:cxn ang="0">
                  <a:pos x="connsiteX24622" y="connsiteY24622"/>
                </a:cxn>
                <a:cxn ang="0">
                  <a:pos x="connsiteX24623" y="connsiteY24623"/>
                </a:cxn>
                <a:cxn ang="0">
                  <a:pos x="connsiteX24624" y="connsiteY24624"/>
                </a:cxn>
                <a:cxn ang="0">
                  <a:pos x="connsiteX24625" y="connsiteY24625"/>
                </a:cxn>
                <a:cxn ang="0">
                  <a:pos x="connsiteX24626" y="connsiteY24626"/>
                </a:cxn>
                <a:cxn ang="0">
                  <a:pos x="connsiteX24627" y="connsiteY24627"/>
                </a:cxn>
                <a:cxn ang="0">
                  <a:pos x="connsiteX24628" y="connsiteY24628"/>
                </a:cxn>
                <a:cxn ang="0">
                  <a:pos x="connsiteX24629" y="connsiteY24629"/>
                </a:cxn>
                <a:cxn ang="0">
                  <a:pos x="connsiteX24630" y="connsiteY24630"/>
                </a:cxn>
                <a:cxn ang="0">
                  <a:pos x="connsiteX24631" y="connsiteY24631"/>
                </a:cxn>
                <a:cxn ang="0">
                  <a:pos x="connsiteX24632" y="connsiteY24632"/>
                </a:cxn>
                <a:cxn ang="0">
                  <a:pos x="connsiteX24633" y="connsiteY24633"/>
                </a:cxn>
                <a:cxn ang="0">
                  <a:pos x="connsiteX24634" y="connsiteY24634"/>
                </a:cxn>
                <a:cxn ang="0">
                  <a:pos x="connsiteX24635" y="connsiteY24635"/>
                </a:cxn>
                <a:cxn ang="0">
                  <a:pos x="connsiteX24636" y="connsiteY24636"/>
                </a:cxn>
                <a:cxn ang="0">
                  <a:pos x="connsiteX24637" y="connsiteY24637"/>
                </a:cxn>
                <a:cxn ang="0">
                  <a:pos x="connsiteX24638" y="connsiteY24638"/>
                </a:cxn>
                <a:cxn ang="0">
                  <a:pos x="connsiteX24639" y="connsiteY24639"/>
                </a:cxn>
                <a:cxn ang="0">
                  <a:pos x="connsiteX24640" y="connsiteY24640"/>
                </a:cxn>
                <a:cxn ang="0">
                  <a:pos x="connsiteX24641" y="connsiteY24641"/>
                </a:cxn>
                <a:cxn ang="0">
                  <a:pos x="connsiteX24642" y="connsiteY24642"/>
                </a:cxn>
                <a:cxn ang="0">
                  <a:pos x="connsiteX24643" y="connsiteY24643"/>
                </a:cxn>
                <a:cxn ang="0">
                  <a:pos x="connsiteX24644" y="connsiteY24644"/>
                </a:cxn>
                <a:cxn ang="0">
                  <a:pos x="connsiteX24645" y="connsiteY24645"/>
                </a:cxn>
                <a:cxn ang="0">
                  <a:pos x="connsiteX24646" y="connsiteY24646"/>
                </a:cxn>
                <a:cxn ang="0">
                  <a:pos x="connsiteX24647" y="connsiteY24647"/>
                </a:cxn>
                <a:cxn ang="0">
                  <a:pos x="connsiteX24648" y="connsiteY24648"/>
                </a:cxn>
                <a:cxn ang="0">
                  <a:pos x="connsiteX24649" y="connsiteY24649"/>
                </a:cxn>
                <a:cxn ang="0">
                  <a:pos x="connsiteX24650" y="connsiteY24650"/>
                </a:cxn>
                <a:cxn ang="0">
                  <a:pos x="connsiteX24651" y="connsiteY24651"/>
                </a:cxn>
                <a:cxn ang="0">
                  <a:pos x="connsiteX24652" y="connsiteY24652"/>
                </a:cxn>
                <a:cxn ang="0">
                  <a:pos x="connsiteX24653" y="connsiteY24653"/>
                </a:cxn>
                <a:cxn ang="0">
                  <a:pos x="connsiteX24654" y="connsiteY24654"/>
                </a:cxn>
                <a:cxn ang="0">
                  <a:pos x="connsiteX24655" y="connsiteY24655"/>
                </a:cxn>
                <a:cxn ang="0">
                  <a:pos x="connsiteX24656" y="connsiteY24656"/>
                </a:cxn>
                <a:cxn ang="0">
                  <a:pos x="connsiteX24657" y="connsiteY24657"/>
                </a:cxn>
                <a:cxn ang="0">
                  <a:pos x="connsiteX24658" y="connsiteY24658"/>
                </a:cxn>
                <a:cxn ang="0">
                  <a:pos x="connsiteX24659" y="connsiteY24659"/>
                </a:cxn>
                <a:cxn ang="0">
                  <a:pos x="connsiteX24660" y="connsiteY24660"/>
                </a:cxn>
                <a:cxn ang="0">
                  <a:pos x="connsiteX24661" y="connsiteY24661"/>
                </a:cxn>
                <a:cxn ang="0">
                  <a:pos x="connsiteX24662" y="connsiteY24662"/>
                </a:cxn>
                <a:cxn ang="0">
                  <a:pos x="connsiteX24663" y="connsiteY24663"/>
                </a:cxn>
                <a:cxn ang="0">
                  <a:pos x="connsiteX24664" y="connsiteY24664"/>
                </a:cxn>
                <a:cxn ang="0">
                  <a:pos x="connsiteX24665" y="connsiteY24665"/>
                </a:cxn>
                <a:cxn ang="0">
                  <a:pos x="connsiteX24666" y="connsiteY24666"/>
                </a:cxn>
                <a:cxn ang="0">
                  <a:pos x="connsiteX24667" y="connsiteY24667"/>
                </a:cxn>
                <a:cxn ang="0">
                  <a:pos x="connsiteX24668" y="connsiteY24668"/>
                </a:cxn>
                <a:cxn ang="0">
                  <a:pos x="connsiteX24669" y="connsiteY24669"/>
                </a:cxn>
                <a:cxn ang="0">
                  <a:pos x="connsiteX24670" y="connsiteY24670"/>
                </a:cxn>
                <a:cxn ang="0">
                  <a:pos x="connsiteX24671" y="connsiteY24671"/>
                </a:cxn>
                <a:cxn ang="0">
                  <a:pos x="connsiteX24672" y="connsiteY24672"/>
                </a:cxn>
                <a:cxn ang="0">
                  <a:pos x="connsiteX24673" y="connsiteY24673"/>
                </a:cxn>
                <a:cxn ang="0">
                  <a:pos x="connsiteX24674" y="connsiteY24674"/>
                </a:cxn>
                <a:cxn ang="0">
                  <a:pos x="connsiteX24675" y="connsiteY24675"/>
                </a:cxn>
                <a:cxn ang="0">
                  <a:pos x="connsiteX24676" y="connsiteY24676"/>
                </a:cxn>
                <a:cxn ang="0">
                  <a:pos x="connsiteX24677" y="connsiteY24677"/>
                </a:cxn>
                <a:cxn ang="0">
                  <a:pos x="connsiteX24678" y="connsiteY24678"/>
                </a:cxn>
                <a:cxn ang="0">
                  <a:pos x="connsiteX24679" y="connsiteY24679"/>
                </a:cxn>
                <a:cxn ang="0">
                  <a:pos x="connsiteX24680" y="connsiteY24680"/>
                </a:cxn>
                <a:cxn ang="0">
                  <a:pos x="connsiteX24681" y="connsiteY24681"/>
                </a:cxn>
                <a:cxn ang="0">
                  <a:pos x="connsiteX24682" y="connsiteY24682"/>
                </a:cxn>
                <a:cxn ang="0">
                  <a:pos x="connsiteX24683" y="connsiteY24683"/>
                </a:cxn>
                <a:cxn ang="0">
                  <a:pos x="connsiteX24684" y="connsiteY24684"/>
                </a:cxn>
                <a:cxn ang="0">
                  <a:pos x="connsiteX24685" y="connsiteY24685"/>
                </a:cxn>
                <a:cxn ang="0">
                  <a:pos x="connsiteX24686" y="connsiteY24686"/>
                </a:cxn>
                <a:cxn ang="0">
                  <a:pos x="connsiteX24687" y="connsiteY24687"/>
                </a:cxn>
                <a:cxn ang="0">
                  <a:pos x="connsiteX24688" y="connsiteY24688"/>
                </a:cxn>
                <a:cxn ang="0">
                  <a:pos x="connsiteX24689" y="connsiteY24689"/>
                </a:cxn>
                <a:cxn ang="0">
                  <a:pos x="connsiteX24690" y="connsiteY24690"/>
                </a:cxn>
                <a:cxn ang="0">
                  <a:pos x="connsiteX24691" y="connsiteY24691"/>
                </a:cxn>
                <a:cxn ang="0">
                  <a:pos x="connsiteX24692" y="connsiteY24692"/>
                </a:cxn>
                <a:cxn ang="0">
                  <a:pos x="connsiteX24693" y="connsiteY24693"/>
                </a:cxn>
                <a:cxn ang="0">
                  <a:pos x="connsiteX24694" y="connsiteY24694"/>
                </a:cxn>
                <a:cxn ang="0">
                  <a:pos x="connsiteX24695" y="connsiteY24695"/>
                </a:cxn>
                <a:cxn ang="0">
                  <a:pos x="connsiteX24696" y="connsiteY24696"/>
                </a:cxn>
                <a:cxn ang="0">
                  <a:pos x="connsiteX24697" y="connsiteY24697"/>
                </a:cxn>
                <a:cxn ang="0">
                  <a:pos x="connsiteX24698" y="connsiteY24698"/>
                </a:cxn>
                <a:cxn ang="0">
                  <a:pos x="connsiteX24699" y="connsiteY24699"/>
                </a:cxn>
                <a:cxn ang="0">
                  <a:pos x="connsiteX24700" y="connsiteY24700"/>
                </a:cxn>
                <a:cxn ang="0">
                  <a:pos x="connsiteX24701" y="connsiteY24701"/>
                </a:cxn>
                <a:cxn ang="0">
                  <a:pos x="connsiteX24702" y="connsiteY24702"/>
                </a:cxn>
                <a:cxn ang="0">
                  <a:pos x="connsiteX24703" y="connsiteY24703"/>
                </a:cxn>
                <a:cxn ang="0">
                  <a:pos x="connsiteX24704" y="connsiteY24704"/>
                </a:cxn>
                <a:cxn ang="0">
                  <a:pos x="connsiteX24705" y="connsiteY24705"/>
                </a:cxn>
                <a:cxn ang="0">
                  <a:pos x="connsiteX24706" y="connsiteY24706"/>
                </a:cxn>
                <a:cxn ang="0">
                  <a:pos x="connsiteX24707" y="connsiteY24707"/>
                </a:cxn>
                <a:cxn ang="0">
                  <a:pos x="connsiteX24708" y="connsiteY24708"/>
                </a:cxn>
                <a:cxn ang="0">
                  <a:pos x="connsiteX24709" y="connsiteY24709"/>
                </a:cxn>
                <a:cxn ang="0">
                  <a:pos x="connsiteX24710" y="connsiteY24710"/>
                </a:cxn>
                <a:cxn ang="0">
                  <a:pos x="connsiteX24711" y="connsiteY24711"/>
                </a:cxn>
                <a:cxn ang="0">
                  <a:pos x="connsiteX24712" y="connsiteY24712"/>
                </a:cxn>
                <a:cxn ang="0">
                  <a:pos x="connsiteX24713" y="connsiteY24713"/>
                </a:cxn>
                <a:cxn ang="0">
                  <a:pos x="connsiteX24714" y="connsiteY24714"/>
                </a:cxn>
                <a:cxn ang="0">
                  <a:pos x="connsiteX24715" y="connsiteY24715"/>
                </a:cxn>
                <a:cxn ang="0">
                  <a:pos x="connsiteX24716" y="connsiteY24716"/>
                </a:cxn>
                <a:cxn ang="0">
                  <a:pos x="connsiteX24717" y="connsiteY24717"/>
                </a:cxn>
                <a:cxn ang="0">
                  <a:pos x="connsiteX24718" y="connsiteY24718"/>
                </a:cxn>
                <a:cxn ang="0">
                  <a:pos x="connsiteX24719" y="connsiteY24719"/>
                </a:cxn>
                <a:cxn ang="0">
                  <a:pos x="connsiteX24720" y="connsiteY24720"/>
                </a:cxn>
                <a:cxn ang="0">
                  <a:pos x="connsiteX24721" y="connsiteY24721"/>
                </a:cxn>
                <a:cxn ang="0">
                  <a:pos x="connsiteX24722" y="connsiteY24722"/>
                </a:cxn>
                <a:cxn ang="0">
                  <a:pos x="connsiteX24723" y="connsiteY24723"/>
                </a:cxn>
                <a:cxn ang="0">
                  <a:pos x="connsiteX24724" y="connsiteY24724"/>
                </a:cxn>
                <a:cxn ang="0">
                  <a:pos x="connsiteX24725" y="connsiteY24725"/>
                </a:cxn>
                <a:cxn ang="0">
                  <a:pos x="connsiteX24726" y="connsiteY24726"/>
                </a:cxn>
                <a:cxn ang="0">
                  <a:pos x="connsiteX24727" y="connsiteY24727"/>
                </a:cxn>
                <a:cxn ang="0">
                  <a:pos x="connsiteX24728" y="connsiteY24728"/>
                </a:cxn>
                <a:cxn ang="0">
                  <a:pos x="connsiteX24729" y="connsiteY24729"/>
                </a:cxn>
                <a:cxn ang="0">
                  <a:pos x="connsiteX24730" y="connsiteY24730"/>
                </a:cxn>
                <a:cxn ang="0">
                  <a:pos x="connsiteX24731" y="connsiteY24731"/>
                </a:cxn>
                <a:cxn ang="0">
                  <a:pos x="connsiteX24732" y="connsiteY24732"/>
                </a:cxn>
                <a:cxn ang="0">
                  <a:pos x="connsiteX24733" y="connsiteY24733"/>
                </a:cxn>
                <a:cxn ang="0">
                  <a:pos x="connsiteX24734" y="connsiteY24734"/>
                </a:cxn>
                <a:cxn ang="0">
                  <a:pos x="connsiteX24735" y="connsiteY24735"/>
                </a:cxn>
                <a:cxn ang="0">
                  <a:pos x="connsiteX24736" y="connsiteY24736"/>
                </a:cxn>
                <a:cxn ang="0">
                  <a:pos x="connsiteX24737" y="connsiteY24737"/>
                </a:cxn>
                <a:cxn ang="0">
                  <a:pos x="connsiteX24738" y="connsiteY24738"/>
                </a:cxn>
                <a:cxn ang="0">
                  <a:pos x="connsiteX24739" y="connsiteY24739"/>
                </a:cxn>
                <a:cxn ang="0">
                  <a:pos x="connsiteX24740" y="connsiteY24740"/>
                </a:cxn>
                <a:cxn ang="0">
                  <a:pos x="connsiteX24741" y="connsiteY24741"/>
                </a:cxn>
                <a:cxn ang="0">
                  <a:pos x="connsiteX24742" y="connsiteY24742"/>
                </a:cxn>
                <a:cxn ang="0">
                  <a:pos x="connsiteX24743" y="connsiteY24743"/>
                </a:cxn>
                <a:cxn ang="0">
                  <a:pos x="connsiteX24744" y="connsiteY24744"/>
                </a:cxn>
                <a:cxn ang="0">
                  <a:pos x="connsiteX24745" y="connsiteY24745"/>
                </a:cxn>
                <a:cxn ang="0">
                  <a:pos x="connsiteX24746" y="connsiteY24746"/>
                </a:cxn>
                <a:cxn ang="0">
                  <a:pos x="connsiteX24747" y="connsiteY24747"/>
                </a:cxn>
                <a:cxn ang="0">
                  <a:pos x="connsiteX24748" y="connsiteY24748"/>
                </a:cxn>
                <a:cxn ang="0">
                  <a:pos x="connsiteX24749" y="connsiteY24749"/>
                </a:cxn>
                <a:cxn ang="0">
                  <a:pos x="connsiteX24750" y="connsiteY24750"/>
                </a:cxn>
                <a:cxn ang="0">
                  <a:pos x="connsiteX24751" y="connsiteY24751"/>
                </a:cxn>
                <a:cxn ang="0">
                  <a:pos x="connsiteX24752" y="connsiteY24752"/>
                </a:cxn>
                <a:cxn ang="0">
                  <a:pos x="connsiteX24753" y="connsiteY24753"/>
                </a:cxn>
                <a:cxn ang="0">
                  <a:pos x="connsiteX24754" y="connsiteY24754"/>
                </a:cxn>
                <a:cxn ang="0">
                  <a:pos x="connsiteX24755" y="connsiteY24755"/>
                </a:cxn>
                <a:cxn ang="0">
                  <a:pos x="connsiteX24756" y="connsiteY24756"/>
                </a:cxn>
                <a:cxn ang="0">
                  <a:pos x="connsiteX24757" y="connsiteY24757"/>
                </a:cxn>
                <a:cxn ang="0">
                  <a:pos x="connsiteX24758" y="connsiteY24758"/>
                </a:cxn>
                <a:cxn ang="0">
                  <a:pos x="connsiteX24759" y="connsiteY24759"/>
                </a:cxn>
                <a:cxn ang="0">
                  <a:pos x="connsiteX24760" y="connsiteY24760"/>
                </a:cxn>
                <a:cxn ang="0">
                  <a:pos x="connsiteX24761" y="connsiteY24761"/>
                </a:cxn>
                <a:cxn ang="0">
                  <a:pos x="connsiteX24762" y="connsiteY24762"/>
                </a:cxn>
                <a:cxn ang="0">
                  <a:pos x="connsiteX24763" y="connsiteY24763"/>
                </a:cxn>
                <a:cxn ang="0">
                  <a:pos x="connsiteX24764" y="connsiteY24764"/>
                </a:cxn>
                <a:cxn ang="0">
                  <a:pos x="connsiteX24765" y="connsiteY24765"/>
                </a:cxn>
                <a:cxn ang="0">
                  <a:pos x="connsiteX24766" y="connsiteY24766"/>
                </a:cxn>
                <a:cxn ang="0">
                  <a:pos x="connsiteX24767" y="connsiteY24767"/>
                </a:cxn>
                <a:cxn ang="0">
                  <a:pos x="connsiteX24768" y="connsiteY24768"/>
                </a:cxn>
                <a:cxn ang="0">
                  <a:pos x="connsiteX24769" y="connsiteY24769"/>
                </a:cxn>
                <a:cxn ang="0">
                  <a:pos x="connsiteX24770" y="connsiteY24770"/>
                </a:cxn>
                <a:cxn ang="0">
                  <a:pos x="connsiteX24771" y="connsiteY24771"/>
                </a:cxn>
                <a:cxn ang="0">
                  <a:pos x="connsiteX24772" y="connsiteY24772"/>
                </a:cxn>
                <a:cxn ang="0">
                  <a:pos x="connsiteX24773" y="connsiteY24773"/>
                </a:cxn>
                <a:cxn ang="0">
                  <a:pos x="connsiteX24774" y="connsiteY24774"/>
                </a:cxn>
                <a:cxn ang="0">
                  <a:pos x="connsiteX24775" y="connsiteY24775"/>
                </a:cxn>
                <a:cxn ang="0">
                  <a:pos x="connsiteX24776" y="connsiteY24776"/>
                </a:cxn>
                <a:cxn ang="0">
                  <a:pos x="connsiteX24777" y="connsiteY24777"/>
                </a:cxn>
                <a:cxn ang="0">
                  <a:pos x="connsiteX24778" y="connsiteY24778"/>
                </a:cxn>
                <a:cxn ang="0">
                  <a:pos x="connsiteX24779" y="connsiteY24779"/>
                </a:cxn>
                <a:cxn ang="0">
                  <a:pos x="connsiteX24780" y="connsiteY24780"/>
                </a:cxn>
                <a:cxn ang="0">
                  <a:pos x="connsiteX24781" y="connsiteY24781"/>
                </a:cxn>
                <a:cxn ang="0">
                  <a:pos x="connsiteX24782" y="connsiteY24782"/>
                </a:cxn>
                <a:cxn ang="0">
                  <a:pos x="connsiteX24783" y="connsiteY24783"/>
                </a:cxn>
                <a:cxn ang="0">
                  <a:pos x="connsiteX24784" y="connsiteY24784"/>
                </a:cxn>
                <a:cxn ang="0">
                  <a:pos x="connsiteX24785" y="connsiteY24785"/>
                </a:cxn>
                <a:cxn ang="0">
                  <a:pos x="connsiteX24786" y="connsiteY24786"/>
                </a:cxn>
                <a:cxn ang="0">
                  <a:pos x="connsiteX24787" y="connsiteY24787"/>
                </a:cxn>
                <a:cxn ang="0">
                  <a:pos x="connsiteX24788" y="connsiteY24788"/>
                </a:cxn>
                <a:cxn ang="0">
                  <a:pos x="connsiteX24789" y="connsiteY24789"/>
                </a:cxn>
                <a:cxn ang="0">
                  <a:pos x="connsiteX24790" y="connsiteY24790"/>
                </a:cxn>
                <a:cxn ang="0">
                  <a:pos x="connsiteX24791" y="connsiteY24791"/>
                </a:cxn>
                <a:cxn ang="0">
                  <a:pos x="connsiteX24792" y="connsiteY24792"/>
                </a:cxn>
                <a:cxn ang="0">
                  <a:pos x="connsiteX24793" y="connsiteY24793"/>
                </a:cxn>
                <a:cxn ang="0">
                  <a:pos x="connsiteX24794" y="connsiteY24794"/>
                </a:cxn>
                <a:cxn ang="0">
                  <a:pos x="connsiteX24795" y="connsiteY24795"/>
                </a:cxn>
                <a:cxn ang="0">
                  <a:pos x="connsiteX24796" y="connsiteY24796"/>
                </a:cxn>
                <a:cxn ang="0">
                  <a:pos x="connsiteX24797" y="connsiteY24797"/>
                </a:cxn>
                <a:cxn ang="0">
                  <a:pos x="connsiteX24798" y="connsiteY24798"/>
                </a:cxn>
                <a:cxn ang="0">
                  <a:pos x="connsiteX24799" y="connsiteY24799"/>
                </a:cxn>
                <a:cxn ang="0">
                  <a:pos x="connsiteX24800" y="connsiteY24800"/>
                </a:cxn>
                <a:cxn ang="0">
                  <a:pos x="connsiteX24801" y="connsiteY24801"/>
                </a:cxn>
                <a:cxn ang="0">
                  <a:pos x="connsiteX24802" y="connsiteY24802"/>
                </a:cxn>
                <a:cxn ang="0">
                  <a:pos x="connsiteX24803" y="connsiteY24803"/>
                </a:cxn>
                <a:cxn ang="0">
                  <a:pos x="connsiteX24804" y="connsiteY24804"/>
                </a:cxn>
                <a:cxn ang="0">
                  <a:pos x="connsiteX24805" y="connsiteY24805"/>
                </a:cxn>
                <a:cxn ang="0">
                  <a:pos x="connsiteX24806" y="connsiteY24806"/>
                </a:cxn>
                <a:cxn ang="0">
                  <a:pos x="connsiteX24807" y="connsiteY24807"/>
                </a:cxn>
                <a:cxn ang="0">
                  <a:pos x="connsiteX24808" y="connsiteY24808"/>
                </a:cxn>
                <a:cxn ang="0">
                  <a:pos x="connsiteX24809" y="connsiteY24809"/>
                </a:cxn>
                <a:cxn ang="0">
                  <a:pos x="connsiteX24810" y="connsiteY24810"/>
                </a:cxn>
                <a:cxn ang="0">
                  <a:pos x="connsiteX24811" y="connsiteY24811"/>
                </a:cxn>
                <a:cxn ang="0">
                  <a:pos x="connsiteX24812" y="connsiteY24812"/>
                </a:cxn>
                <a:cxn ang="0">
                  <a:pos x="connsiteX24813" y="connsiteY24813"/>
                </a:cxn>
                <a:cxn ang="0">
                  <a:pos x="connsiteX24814" y="connsiteY24814"/>
                </a:cxn>
                <a:cxn ang="0">
                  <a:pos x="connsiteX24815" y="connsiteY24815"/>
                </a:cxn>
                <a:cxn ang="0">
                  <a:pos x="connsiteX24816" y="connsiteY24816"/>
                </a:cxn>
                <a:cxn ang="0">
                  <a:pos x="connsiteX24817" y="connsiteY24817"/>
                </a:cxn>
                <a:cxn ang="0">
                  <a:pos x="connsiteX24818" y="connsiteY24818"/>
                </a:cxn>
                <a:cxn ang="0">
                  <a:pos x="connsiteX24819" y="connsiteY24819"/>
                </a:cxn>
                <a:cxn ang="0">
                  <a:pos x="connsiteX24820" y="connsiteY24820"/>
                </a:cxn>
                <a:cxn ang="0">
                  <a:pos x="connsiteX24821" y="connsiteY24821"/>
                </a:cxn>
                <a:cxn ang="0">
                  <a:pos x="connsiteX24822" y="connsiteY24822"/>
                </a:cxn>
                <a:cxn ang="0">
                  <a:pos x="connsiteX24823" y="connsiteY24823"/>
                </a:cxn>
                <a:cxn ang="0">
                  <a:pos x="connsiteX24824" y="connsiteY24824"/>
                </a:cxn>
                <a:cxn ang="0">
                  <a:pos x="connsiteX24825" y="connsiteY24825"/>
                </a:cxn>
                <a:cxn ang="0">
                  <a:pos x="connsiteX24826" y="connsiteY24826"/>
                </a:cxn>
                <a:cxn ang="0">
                  <a:pos x="connsiteX24827" y="connsiteY24827"/>
                </a:cxn>
                <a:cxn ang="0">
                  <a:pos x="connsiteX24828" y="connsiteY24828"/>
                </a:cxn>
                <a:cxn ang="0">
                  <a:pos x="connsiteX24829" y="connsiteY24829"/>
                </a:cxn>
                <a:cxn ang="0">
                  <a:pos x="connsiteX24830" y="connsiteY24830"/>
                </a:cxn>
                <a:cxn ang="0">
                  <a:pos x="connsiteX24831" y="connsiteY24831"/>
                </a:cxn>
                <a:cxn ang="0">
                  <a:pos x="connsiteX24832" y="connsiteY24832"/>
                </a:cxn>
                <a:cxn ang="0">
                  <a:pos x="connsiteX24833" y="connsiteY24833"/>
                </a:cxn>
                <a:cxn ang="0">
                  <a:pos x="connsiteX24834" y="connsiteY24834"/>
                </a:cxn>
                <a:cxn ang="0">
                  <a:pos x="connsiteX24835" y="connsiteY24835"/>
                </a:cxn>
                <a:cxn ang="0">
                  <a:pos x="connsiteX24836" y="connsiteY24836"/>
                </a:cxn>
                <a:cxn ang="0">
                  <a:pos x="connsiteX24837" y="connsiteY24837"/>
                </a:cxn>
                <a:cxn ang="0">
                  <a:pos x="connsiteX24838" y="connsiteY24838"/>
                </a:cxn>
                <a:cxn ang="0">
                  <a:pos x="connsiteX24839" y="connsiteY24839"/>
                </a:cxn>
                <a:cxn ang="0">
                  <a:pos x="connsiteX24840" y="connsiteY24840"/>
                </a:cxn>
                <a:cxn ang="0">
                  <a:pos x="connsiteX24841" y="connsiteY24841"/>
                </a:cxn>
                <a:cxn ang="0">
                  <a:pos x="connsiteX24842" y="connsiteY24842"/>
                </a:cxn>
                <a:cxn ang="0">
                  <a:pos x="connsiteX24843" y="connsiteY24843"/>
                </a:cxn>
                <a:cxn ang="0">
                  <a:pos x="connsiteX24844" y="connsiteY24844"/>
                </a:cxn>
                <a:cxn ang="0">
                  <a:pos x="connsiteX24845" y="connsiteY24845"/>
                </a:cxn>
                <a:cxn ang="0">
                  <a:pos x="connsiteX24846" y="connsiteY24846"/>
                </a:cxn>
                <a:cxn ang="0">
                  <a:pos x="connsiteX24847" y="connsiteY24847"/>
                </a:cxn>
                <a:cxn ang="0">
                  <a:pos x="connsiteX24848" y="connsiteY24848"/>
                </a:cxn>
                <a:cxn ang="0">
                  <a:pos x="connsiteX24849" y="connsiteY24849"/>
                </a:cxn>
                <a:cxn ang="0">
                  <a:pos x="connsiteX24850" y="connsiteY24850"/>
                </a:cxn>
                <a:cxn ang="0">
                  <a:pos x="connsiteX24851" y="connsiteY24851"/>
                </a:cxn>
                <a:cxn ang="0">
                  <a:pos x="connsiteX24852" y="connsiteY24852"/>
                </a:cxn>
                <a:cxn ang="0">
                  <a:pos x="connsiteX24853" y="connsiteY24853"/>
                </a:cxn>
                <a:cxn ang="0">
                  <a:pos x="connsiteX24854" y="connsiteY24854"/>
                </a:cxn>
                <a:cxn ang="0">
                  <a:pos x="connsiteX24855" y="connsiteY24855"/>
                </a:cxn>
                <a:cxn ang="0">
                  <a:pos x="connsiteX24856" y="connsiteY24856"/>
                </a:cxn>
                <a:cxn ang="0">
                  <a:pos x="connsiteX24857" y="connsiteY24857"/>
                </a:cxn>
                <a:cxn ang="0">
                  <a:pos x="connsiteX24858" y="connsiteY24858"/>
                </a:cxn>
                <a:cxn ang="0">
                  <a:pos x="connsiteX24859" y="connsiteY24859"/>
                </a:cxn>
                <a:cxn ang="0">
                  <a:pos x="connsiteX24860" y="connsiteY24860"/>
                </a:cxn>
                <a:cxn ang="0">
                  <a:pos x="connsiteX24861" y="connsiteY24861"/>
                </a:cxn>
                <a:cxn ang="0">
                  <a:pos x="connsiteX24862" y="connsiteY24862"/>
                </a:cxn>
                <a:cxn ang="0">
                  <a:pos x="connsiteX24863" y="connsiteY24863"/>
                </a:cxn>
                <a:cxn ang="0">
                  <a:pos x="connsiteX24864" y="connsiteY24864"/>
                </a:cxn>
                <a:cxn ang="0">
                  <a:pos x="connsiteX24865" y="connsiteY24865"/>
                </a:cxn>
                <a:cxn ang="0">
                  <a:pos x="connsiteX24866" y="connsiteY24866"/>
                </a:cxn>
                <a:cxn ang="0">
                  <a:pos x="connsiteX24867" y="connsiteY24867"/>
                </a:cxn>
                <a:cxn ang="0">
                  <a:pos x="connsiteX24868" y="connsiteY24868"/>
                </a:cxn>
                <a:cxn ang="0">
                  <a:pos x="connsiteX24869" y="connsiteY24869"/>
                </a:cxn>
                <a:cxn ang="0">
                  <a:pos x="connsiteX24870" y="connsiteY24870"/>
                </a:cxn>
                <a:cxn ang="0">
                  <a:pos x="connsiteX24871" y="connsiteY24871"/>
                </a:cxn>
                <a:cxn ang="0">
                  <a:pos x="connsiteX24872" y="connsiteY24872"/>
                </a:cxn>
                <a:cxn ang="0">
                  <a:pos x="connsiteX24873" y="connsiteY24873"/>
                </a:cxn>
                <a:cxn ang="0">
                  <a:pos x="connsiteX24874" y="connsiteY24874"/>
                </a:cxn>
                <a:cxn ang="0">
                  <a:pos x="connsiteX24875" y="connsiteY24875"/>
                </a:cxn>
                <a:cxn ang="0">
                  <a:pos x="connsiteX24876" y="connsiteY24876"/>
                </a:cxn>
                <a:cxn ang="0">
                  <a:pos x="connsiteX24877" y="connsiteY24877"/>
                </a:cxn>
                <a:cxn ang="0">
                  <a:pos x="connsiteX24878" y="connsiteY24878"/>
                </a:cxn>
                <a:cxn ang="0">
                  <a:pos x="connsiteX24879" y="connsiteY24879"/>
                </a:cxn>
                <a:cxn ang="0">
                  <a:pos x="connsiteX24880" y="connsiteY24880"/>
                </a:cxn>
                <a:cxn ang="0">
                  <a:pos x="connsiteX24881" y="connsiteY24881"/>
                </a:cxn>
                <a:cxn ang="0">
                  <a:pos x="connsiteX24882" y="connsiteY24882"/>
                </a:cxn>
                <a:cxn ang="0">
                  <a:pos x="connsiteX24883" y="connsiteY24883"/>
                </a:cxn>
                <a:cxn ang="0">
                  <a:pos x="connsiteX24884" y="connsiteY24884"/>
                </a:cxn>
                <a:cxn ang="0">
                  <a:pos x="connsiteX24885" y="connsiteY24885"/>
                </a:cxn>
                <a:cxn ang="0">
                  <a:pos x="connsiteX24886" y="connsiteY24886"/>
                </a:cxn>
                <a:cxn ang="0">
                  <a:pos x="connsiteX24887" y="connsiteY24887"/>
                </a:cxn>
                <a:cxn ang="0">
                  <a:pos x="connsiteX24888" y="connsiteY24888"/>
                </a:cxn>
                <a:cxn ang="0">
                  <a:pos x="connsiteX24889" y="connsiteY24889"/>
                </a:cxn>
                <a:cxn ang="0">
                  <a:pos x="connsiteX24890" y="connsiteY24890"/>
                </a:cxn>
                <a:cxn ang="0">
                  <a:pos x="connsiteX24891" y="connsiteY24891"/>
                </a:cxn>
                <a:cxn ang="0">
                  <a:pos x="connsiteX24892" y="connsiteY24892"/>
                </a:cxn>
                <a:cxn ang="0">
                  <a:pos x="connsiteX24893" y="connsiteY24893"/>
                </a:cxn>
                <a:cxn ang="0">
                  <a:pos x="connsiteX24894" y="connsiteY24894"/>
                </a:cxn>
                <a:cxn ang="0">
                  <a:pos x="connsiteX24895" y="connsiteY24895"/>
                </a:cxn>
                <a:cxn ang="0">
                  <a:pos x="connsiteX24896" y="connsiteY24896"/>
                </a:cxn>
                <a:cxn ang="0">
                  <a:pos x="connsiteX24897" y="connsiteY24897"/>
                </a:cxn>
                <a:cxn ang="0">
                  <a:pos x="connsiteX24898" y="connsiteY24898"/>
                </a:cxn>
                <a:cxn ang="0">
                  <a:pos x="connsiteX24899" y="connsiteY24899"/>
                </a:cxn>
                <a:cxn ang="0">
                  <a:pos x="connsiteX24900" y="connsiteY24900"/>
                </a:cxn>
                <a:cxn ang="0">
                  <a:pos x="connsiteX24901" y="connsiteY24901"/>
                </a:cxn>
                <a:cxn ang="0">
                  <a:pos x="connsiteX24902" y="connsiteY24902"/>
                </a:cxn>
                <a:cxn ang="0">
                  <a:pos x="connsiteX24903" y="connsiteY24903"/>
                </a:cxn>
                <a:cxn ang="0">
                  <a:pos x="connsiteX24904" y="connsiteY24904"/>
                </a:cxn>
                <a:cxn ang="0">
                  <a:pos x="connsiteX24905" y="connsiteY24905"/>
                </a:cxn>
                <a:cxn ang="0">
                  <a:pos x="connsiteX24906" y="connsiteY24906"/>
                </a:cxn>
                <a:cxn ang="0">
                  <a:pos x="connsiteX24907" y="connsiteY24907"/>
                </a:cxn>
                <a:cxn ang="0">
                  <a:pos x="connsiteX24908" y="connsiteY24908"/>
                </a:cxn>
                <a:cxn ang="0">
                  <a:pos x="connsiteX24909" y="connsiteY24909"/>
                </a:cxn>
                <a:cxn ang="0">
                  <a:pos x="connsiteX24910" y="connsiteY24910"/>
                </a:cxn>
                <a:cxn ang="0">
                  <a:pos x="connsiteX24911" y="connsiteY24911"/>
                </a:cxn>
                <a:cxn ang="0">
                  <a:pos x="connsiteX24912" y="connsiteY24912"/>
                </a:cxn>
                <a:cxn ang="0">
                  <a:pos x="connsiteX24913" y="connsiteY24913"/>
                </a:cxn>
                <a:cxn ang="0">
                  <a:pos x="connsiteX24914" y="connsiteY24914"/>
                </a:cxn>
                <a:cxn ang="0">
                  <a:pos x="connsiteX24915" y="connsiteY24915"/>
                </a:cxn>
                <a:cxn ang="0">
                  <a:pos x="connsiteX24916" y="connsiteY24916"/>
                </a:cxn>
                <a:cxn ang="0">
                  <a:pos x="connsiteX24917" y="connsiteY24917"/>
                </a:cxn>
                <a:cxn ang="0">
                  <a:pos x="connsiteX24918" y="connsiteY24918"/>
                </a:cxn>
                <a:cxn ang="0">
                  <a:pos x="connsiteX24919" y="connsiteY24919"/>
                </a:cxn>
                <a:cxn ang="0">
                  <a:pos x="connsiteX24920" y="connsiteY24920"/>
                </a:cxn>
                <a:cxn ang="0">
                  <a:pos x="connsiteX24921" y="connsiteY24921"/>
                </a:cxn>
                <a:cxn ang="0">
                  <a:pos x="connsiteX24922" y="connsiteY24922"/>
                </a:cxn>
                <a:cxn ang="0">
                  <a:pos x="connsiteX24923" y="connsiteY24923"/>
                </a:cxn>
                <a:cxn ang="0">
                  <a:pos x="connsiteX24924" y="connsiteY24924"/>
                </a:cxn>
                <a:cxn ang="0">
                  <a:pos x="connsiteX24925" y="connsiteY24925"/>
                </a:cxn>
                <a:cxn ang="0">
                  <a:pos x="connsiteX24926" y="connsiteY24926"/>
                </a:cxn>
                <a:cxn ang="0">
                  <a:pos x="connsiteX24927" y="connsiteY24927"/>
                </a:cxn>
                <a:cxn ang="0">
                  <a:pos x="connsiteX24928" y="connsiteY24928"/>
                </a:cxn>
                <a:cxn ang="0">
                  <a:pos x="connsiteX24929" y="connsiteY24929"/>
                </a:cxn>
                <a:cxn ang="0">
                  <a:pos x="connsiteX24930" y="connsiteY24930"/>
                </a:cxn>
                <a:cxn ang="0">
                  <a:pos x="connsiteX24931" y="connsiteY24931"/>
                </a:cxn>
                <a:cxn ang="0">
                  <a:pos x="connsiteX24932" y="connsiteY24932"/>
                </a:cxn>
                <a:cxn ang="0">
                  <a:pos x="connsiteX24933" y="connsiteY24933"/>
                </a:cxn>
                <a:cxn ang="0">
                  <a:pos x="connsiteX24934" y="connsiteY24934"/>
                </a:cxn>
                <a:cxn ang="0">
                  <a:pos x="connsiteX24935" y="connsiteY24935"/>
                </a:cxn>
                <a:cxn ang="0">
                  <a:pos x="connsiteX24936" y="connsiteY24936"/>
                </a:cxn>
                <a:cxn ang="0">
                  <a:pos x="connsiteX24937" y="connsiteY24937"/>
                </a:cxn>
                <a:cxn ang="0">
                  <a:pos x="connsiteX24938" y="connsiteY24938"/>
                </a:cxn>
                <a:cxn ang="0">
                  <a:pos x="connsiteX24939" y="connsiteY24939"/>
                </a:cxn>
                <a:cxn ang="0">
                  <a:pos x="connsiteX24940" y="connsiteY24940"/>
                </a:cxn>
                <a:cxn ang="0">
                  <a:pos x="connsiteX24941" y="connsiteY24941"/>
                </a:cxn>
                <a:cxn ang="0">
                  <a:pos x="connsiteX24942" y="connsiteY24942"/>
                </a:cxn>
                <a:cxn ang="0">
                  <a:pos x="connsiteX24943" y="connsiteY24943"/>
                </a:cxn>
                <a:cxn ang="0">
                  <a:pos x="connsiteX24944" y="connsiteY24944"/>
                </a:cxn>
                <a:cxn ang="0">
                  <a:pos x="connsiteX24945" y="connsiteY24945"/>
                </a:cxn>
                <a:cxn ang="0">
                  <a:pos x="connsiteX24946" y="connsiteY24946"/>
                </a:cxn>
                <a:cxn ang="0">
                  <a:pos x="connsiteX24947" y="connsiteY24947"/>
                </a:cxn>
                <a:cxn ang="0">
                  <a:pos x="connsiteX24948" y="connsiteY24948"/>
                </a:cxn>
                <a:cxn ang="0">
                  <a:pos x="connsiteX24949" y="connsiteY24949"/>
                </a:cxn>
                <a:cxn ang="0">
                  <a:pos x="connsiteX24950" y="connsiteY24950"/>
                </a:cxn>
                <a:cxn ang="0">
                  <a:pos x="connsiteX24951" y="connsiteY24951"/>
                </a:cxn>
                <a:cxn ang="0">
                  <a:pos x="connsiteX24952" y="connsiteY24952"/>
                </a:cxn>
                <a:cxn ang="0">
                  <a:pos x="connsiteX24953" y="connsiteY24953"/>
                </a:cxn>
                <a:cxn ang="0">
                  <a:pos x="connsiteX24954" y="connsiteY24954"/>
                </a:cxn>
                <a:cxn ang="0">
                  <a:pos x="connsiteX24955" y="connsiteY24955"/>
                </a:cxn>
                <a:cxn ang="0">
                  <a:pos x="connsiteX24956" y="connsiteY24956"/>
                </a:cxn>
                <a:cxn ang="0">
                  <a:pos x="connsiteX24957" y="connsiteY24957"/>
                </a:cxn>
                <a:cxn ang="0">
                  <a:pos x="connsiteX24958" y="connsiteY24958"/>
                </a:cxn>
                <a:cxn ang="0">
                  <a:pos x="connsiteX24959" y="connsiteY24959"/>
                </a:cxn>
                <a:cxn ang="0">
                  <a:pos x="connsiteX24960" y="connsiteY24960"/>
                </a:cxn>
                <a:cxn ang="0">
                  <a:pos x="connsiteX24961" y="connsiteY24961"/>
                </a:cxn>
                <a:cxn ang="0">
                  <a:pos x="connsiteX24962" y="connsiteY24962"/>
                </a:cxn>
                <a:cxn ang="0">
                  <a:pos x="connsiteX24963" y="connsiteY24963"/>
                </a:cxn>
                <a:cxn ang="0">
                  <a:pos x="connsiteX24964" y="connsiteY24964"/>
                </a:cxn>
                <a:cxn ang="0">
                  <a:pos x="connsiteX24965" y="connsiteY24965"/>
                </a:cxn>
                <a:cxn ang="0">
                  <a:pos x="connsiteX24966" y="connsiteY24966"/>
                </a:cxn>
                <a:cxn ang="0">
                  <a:pos x="connsiteX24967" y="connsiteY24967"/>
                </a:cxn>
                <a:cxn ang="0">
                  <a:pos x="connsiteX24968" y="connsiteY24968"/>
                </a:cxn>
                <a:cxn ang="0">
                  <a:pos x="connsiteX24969" y="connsiteY24969"/>
                </a:cxn>
                <a:cxn ang="0">
                  <a:pos x="connsiteX24970" y="connsiteY24970"/>
                </a:cxn>
                <a:cxn ang="0">
                  <a:pos x="connsiteX24971" y="connsiteY24971"/>
                </a:cxn>
                <a:cxn ang="0">
                  <a:pos x="connsiteX24972" y="connsiteY24972"/>
                </a:cxn>
                <a:cxn ang="0">
                  <a:pos x="connsiteX24973" y="connsiteY24973"/>
                </a:cxn>
                <a:cxn ang="0">
                  <a:pos x="connsiteX24974" y="connsiteY24974"/>
                </a:cxn>
                <a:cxn ang="0">
                  <a:pos x="connsiteX24975" y="connsiteY24975"/>
                </a:cxn>
                <a:cxn ang="0">
                  <a:pos x="connsiteX24976" y="connsiteY24976"/>
                </a:cxn>
                <a:cxn ang="0">
                  <a:pos x="connsiteX24977" y="connsiteY24977"/>
                </a:cxn>
                <a:cxn ang="0">
                  <a:pos x="connsiteX24978" y="connsiteY24978"/>
                </a:cxn>
                <a:cxn ang="0">
                  <a:pos x="connsiteX24979" y="connsiteY24979"/>
                </a:cxn>
                <a:cxn ang="0">
                  <a:pos x="connsiteX24980" y="connsiteY24980"/>
                </a:cxn>
                <a:cxn ang="0">
                  <a:pos x="connsiteX24981" y="connsiteY24981"/>
                </a:cxn>
                <a:cxn ang="0">
                  <a:pos x="connsiteX24982" y="connsiteY24982"/>
                </a:cxn>
                <a:cxn ang="0">
                  <a:pos x="connsiteX24983" y="connsiteY24983"/>
                </a:cxn>
                <a:cxn ang="0">
                  <a:pos x="connsiteX24984" y="connsiteY24984"/>
                </a:cxn>
                <a:cxn ang="0">
                  <a:pos x="connsiteX24985" y="connsiteY24985"/>
                </a:cxn>
                <a:cxn ang="0">
                  <a:pos x="connsiteX24986" y="connsiteY24986"/>
                </a:cxn>
                <a:cxn ang="0">
                  <a:pos x="connsiteX24987" y="connsiteY24987"/>
                </a:cxn>
                <a:cxn ang="0">
                  <a:pos x="connsiteX24988" y="connsiteY24988"/>
                </a:cxn>
                <a:cxn ang="0">
                  <a:pos x="connsiteX24989" y="connsiteY24989"/>
                </a:cxn>
                <a:cxn ang="0">
                  <a:pos x="connsiteX24990" y="connsiteY24990"/>
                </a:cxn>
                <a:cxn ang="0">
                  <a:pos x="connsiteX24991" y="connsiteY24991"/>
                </a:cxn>
                <a:cxn ang="0">
                  <a:pos x="connsiteX24992" y="connsiteY24992"/>
                </a:cxn>
                <a:cxn ang="0">
                  <a:pos x="connsiteX24993" y="connsiteY24993"/>
                </a:cxn>
                <a:cxn ang="0">
                  <a:pos x="connsiteX24994" y="connsiteY24994"/>
                </a:cxn>
                <a:cxn ang="0">
                  <a:pos x="connsiteX24995" y="connsiteY24995"/>
                </a:cxn>
                <a:cxn ang="0">
                  <a:pos x="connsiteX24996" y="connsiteY24996"/>
                </a:cxn>
                <a:cxn ang="0">
                  <a:pos x="connsiteX24997" y="connsiteY24997"/>
                </a:cxn>
                <a:cxn ang="0">
                  <a:pos x="connsiteX24998" y="connsiteY24998"/>
                </a:cxn>
                <a:cxn ang="0">
                  <a:pos x="connsiteX24999" y="connsiteY24999"/>
                </a:cxn>
                <a:cxn ang="0">
                  <a:pos x="connsiteX25000" y="connsiteY25000"/>
                </a:cxn>
                <a:cxn ang="0">
                  <a:pos x="connsiteX25001" y="connsiteY25001"/>
                </a:cxn>
                <a:cxn ang="0">
                  <a:pos x="connsiteX25002" y="connsiteY25002"/>
                </a:cxn>
                <a:cxn ang="0">
                  <a:pos x="connsiteX25003" y="connsiteY25003"/>
                </a:cxn>
                <a:cxn ang="0">
                  <a:pos x="connsiteX25004" y="connsiteY25004"/>
                </a:cxn>
                <a:cxn ang="0">
                  <a:pos x="connsiteX25005" y="connsiteY25005"/>
                </a:cxn>
                <a:cxn ang="0">
                  <a:pos x="connsiteX25006" y="connsiteY25006"/>
                </a:cxn>
                <a:cxn ang="0">
                  <a:pos x="connsiteX25007" y="connsiteY25007"/>
                </a:cxn>
                <a:cxn ang="0">
                  <a:pos x="connsiteX25008" y="connsiteY25008"/>
                </a:cxn>
                <a:cxn ang="0">
                  <a:pos x="connsiteX25009" y="connsiteY25009"/>
                </a:cxn>
                <a:cxn ang="0">
                  <a:pos x="connsiteX25010" y="connsiteY25010"/>
                </a:cxn>
                <a:cxn ang="0">
                  <a:pos x="connsiteX25011" y="connsiteY25011"/>
                </a:cxn>
                <a:cxn ang="0">
                  <a:pos x="connsiteX25012" y="connsiteY25012"/>
                </a:cxn>
                <a:cxn ang="0">
                  <a:pos x="connsiteX25013" y="connsiteY25013"/>
                </a:cxn>
                <a:cxn ang="0">
                  <a:pos x="connsiteX25014" y="connsiteY25014"/>
                </a:cxn>
                <a:cxn ang="0">
                  <a:pos x="connsiteX25015" y="connsiteY25015"/>
                </a:cxn>
                <a:cxn ang="0">
                  <a:pos x="connsiteX25016" y="connsiteY25016"/>
                </a:cxn>
                <a:cxn ang="0">
                  <a:pos x="connsiteX25017" y="connsiteY25017"/>
                </a:cxn>
                <a:cxn ang="0">
                  <a:pos x="connsiteX25018" y="connsiteY25018"/>
                </a:cxn>
                <a:cxn ang="0">
                  <a:pos x="connsiteX25019" y="connsiteY25019"/>
                </a:cxn>
                <a:cxn ang="0">
                  <a:pos x="connsiteX25020" y="connsiteY25020"/>
                </a:cxn>
                <a:cxn ang="0">
                  <a:pos x="connsiteX25021" y="connsiteY25021"/>
                </a:cxn>
                <a:cxn ang="0">
                  <a:pos x="connsiteX25022" y="connsiteY25022"/>
                </a:cxn>
                <a:cxn ang="0">
                  <a:pos x="connsiteX25023" y="connsiteY25023"/>
                </a:cxn>
                <a:cxn ang="0">
                  <a:pos x="connsiteX25024" y="connsiteY25024"/>
                </a:cxn>
                <a:cxn ang="0">
                  <a:pos x="connsiteX25025" y="connsiteY25025"/>
                </a:cxn>
                <a:cxn ang="0">
                  <a:pos x="connsiteX25026" y="connsiteY25026"/>
                </a:cxn>
                <a:cxn ang="0">
                  <a:pos x="connsiteX25027" y="connsiteY25027"/>
                </a:cxn>
                <a:cxn ang="0">
                  <a:pos x="connsiteX25028" y="connsiteY25028"/>
                </a:cxn>
                <a:cxn ang="0">
                  <a:pos x="connsiteX25029" y="connsiteY25029"/>
                </a:cxn>
                <a:cxn ang="0">
                  <a:pos x="connsiteX25030" y="connsiteY25030"/>
                </a:cxn>
                <a:cxn ang="0">
                  <a:pos x="connsiteX25031" y="connsiteY25031"/>
                </a:cxn>
                <a:cxn ang="0">
                  <a:pos x="connsiteX25032" y="connsiteY25032"/>
                </a:cxn>
                <a:cxn ang="0">
                  <a:pos x="connsiteX25033" y="connsiteY25033"/>
                </a:cxn>
                <a:cxn ang="0">
                  <a:pos x="connsiteX25034" y="connsiteY25034"/>
                </a:cxn>
                <a:cxn ang="0">
                  <a:pos x="connsiteX25035" y="connsiteY25035"/>
                </a:cxn>
                <a:cxn ang="0">
                  <a:pos x="connsiteX25036" y="connsiteY25036"/>
                </a:cxn>
                <a:cxn ang="0">
                  <a:pos x="connsiteX25037" y="connsiteY25037"/>
                </a:cxn>
                <a:cxn ang="0">
                  <a:pos x="connsiteX25038" y="connsiteY25038"/>
                </a:cxn>
                <a:cxn ang="0">
                  <a:pos x="connsiteX25039" y="connsiteY25039"/>
                </a:cxn>
                <a:cxn ang="0">
                  <a:pos x="connsiteX25040" y="connsiteY25040"/>
                </a:cxn>
                <a:cxn ang="0">
                  <a:pos x="connsiteX25041" y="connsiteY25041"/>
                </a:cxn>
                <a:cxn ang="0">
                  <a:pos x="connsiteX25042" y="connsiteY25042"/>
                </a:cxn>
                <a:cxn ang="0">
                  <a:pos x="connsiteX25043" y="connsiteY25043"/>
                </a:cxn>
                <a:cxn ang="0">
                  <a:pos x="connsiteX25044" y="connsiteY25044"/>
                </a:cxn>
                <a:cxn ang="0">
                  <a:pos x="connsiteX25045" y="connsiteY25045"/>
                </a:cxn>
                <a:cxn ang="0">
                  <a:pos x="connsiteX25046" y="connsiteY25046"/>
                </a:cxn>
                <a:cxn ang="0">
                  <a:pos x="connsiteX25047" y="connsiteY25047"/>
                </a:cxn>
                <a:cxn ang="0">
                  <a:pos x="connsiteX25048" y="connsiteY25048"/>
                </a:cxn>
                <a:cxn ang="0">
                  <a:pos x="connsiteX25049" y="connsiteY25049"/>
                </a:cxn>
                <a:cxn ang="0">
                  <a:pos x="connsiteX25050" y="connsiteY25050"/>
                </a:cxn>
                <a:cxn ang="0">
                  <a:pos x="connsiteX25051" y="connsiteY25051"/>
                </a:cxn>
                <a:cxn ang="0">
                  <a:pos x="connsiteX25052" y="connsiteY25052"/>
                </a:cxn>
                <a:cxn ang="0">
                  <a:pos x="connsiteX25053" y="connsiteY25053"/>
                </a:cxn>
                <a:cxn ang="0">
                  <a:pos x="connsiteX25054" y="connsiteY25054"/>
                </a:cxn>
                <a:cxn ang="0">
                  <a:pos x="connsiteX25055" y="connsiteY25055"/>
                </a:cxn>
                <a:cxn ang="0">
                  <a:pos x="connsiteX25056" y="connsiteY25056"/>
                </a:cxn>
                <a:cxn ang="0">
                  <a:pos x="connsiteX25057" y="connsiteY25057"/>
                </a:cxn>
                <a:cxn ang="0">
                  <a:pos x="connsiteX25058" y="connsiteY25058"/>
                </a:cxn>
                <a:cxn ang="0">
                  <a:pos x="connsiteX25059" y="connsiteY25059"/>
                </a:cxn>
                <a:cxn ang="0">
                  <a:pos x="connsiteX25060" y="connsiteY25060"/>
                </a:cxn>
                <a:cxn ang="0">
                  <a:pos x="connsiteX25061" y="connsiteY25061"/>
                </a:cxn>
                <a:cxn ang="0">
                  <a:pos x="connsiteX25062" y="connsiteY25062"/>
                </a:cxn>
                <a:cxn ang="0">
                  <a:pos x="connsiteX25063" y="connsiteY25063"/>
                </a:cxn>
                <a:cxn ang="0">
                  <a:pos x="connsiteX25064" y="connsiteY25064"/>
                </a:cxn>
                <a:cxn ang="0">
                  <a:pos x="connsiteX25065" y="connsiteY25065"/>
                </a:cxn>
                <a:cxn ang="0">
                  <a:pos x="connsiteX25066" y="connsiteY25066"/>
                </a:cxn>
                <a:cxn ang="0">
                  <a:pos x="connsiteX25067" y="connsiteY25067"/>
                </a:cxn>
                <a:cxn ang="0">
                  <a:pos x="connsiteX25068" y="connsiteY25068"/>
                </a:cxn>
                <a:cxn ang="0">
                  <a:pos x="connsiteX25069" y="connsiteY25069"/>
                </a:cxn>
                <a:cxn ang="0">
                  <a:pos x="connsiteX25070" y="connsiteY25070"/>
                </a:cxn>
                <a:cxn ang="0">
                  <a:pos x="connsiteX25071" y="connsiteY25071"/>
                </a:cxn>
                <a:cxn ang="0">
                  <a:pos x="connsiteX25072" y="connsiteY25072"/>
                </a:cxn>
                <a:cxn ang="0">
                  <a:pos x="connsiteX25073" y="connsiteY25073"/>
                </a:cxn>
                <a:cxn ang="0">
                  <a:pos x="connsiteX25074" y="connsiteY25074"/>
                </a:cxn>
                <a:cxn ang="0">
                  <a:pos x="connsiteX25075" y="connsiteY25075"/>
                </a:cxn>
                <a:cxn ang="0">
                  <a:pos x="connsiteX25076" y="connsiteY25076"/>
                </a:cxn>
                <a:cxn ang="0">
                  <a:pos x="connsiteX25077" y="connsiteY25077"/>
                </a:cxn>
                <a:cxn ang="0">
                  <a:pos x="connsiteX25078" y="connsiteY25078"/>
                </a:cxn>
                <a:cxn ang="0">
                  <a:pos x="connsiteX25079" y="connsiteY25079"/>
                </a:cxn>
                <a:cxn ang="0">
                  <a:pos x="connsiteX25080" y="connsiteY25080"/>
                </a:cxn>
                <a:cxn ang="0">
                  <a:pos x="connsiteX25081" y="connsiteY25081"/>
                </a:cxn>
                <a:cxn ang="0">
                  <a:pos x="connsiteX25082" y="connsiteY25082"/>
                </a:cxn>
                <a:cxn ang="0">
                  <a:pos x="connsiteX25083" y="connsiteY25083"/>
                </a:cxn>
                <a:cxn ang="0">
                  <a:pos x="connsiteX25084" y="connsiteY25084"/>
                </a:cxn>
                <a:cxn ang="0">
                  <a:pos x="connsiteX25085" y="connsiteY25085"/>
                </a:cxn>
                <a:cxn ang="0">
                  <a:pos x="connsiteX25086" y="connsiteY25086"/>
                </a:cxn>
                <a:cxn ang="0">
                  <a:pos x="connsiteX25087" y="connsiteY25087"/>
                </a:cxn>
                <a:cxn ang="0">
                  <a:pos x="connsiteX25088" y="connsiteY25088"/>
                </a:cxn>
                <a:cxn ang="0">
                  <a:pos x="connsiteX25089" y="connsiteY25089"/>
                </a:cxn>
                <a:cxn ang="0">
                  <a:pos x="connsiteX25090" y="connsiteY25090"/>
                </a:cxn>
                <a:cxn ang="0">
                  <a:pos x="connsiteX25091" y="connsiteY25091"/>
                </a:cxn>
                <a:cxn ang="0">
                  <a:pos x="connsiteX25092" y="connsiteY25092"/>
                </a:cxn>
                <a:cxn ang="0">
                  <a:pos x="connsiteX25093" y="connsiteY25093"/>
                </a:cxn>
                <a:cxn ang="0">
                  <a:pos x="connsiteX25094" y="connsiteY25094"/>
                </a:cxn>
                <a:cxn ang="0">
                  <a:pos x="connsiteX25095" y="connsiteY25095"/>
                </a:cxn>
                <a:cxn ang="0">
                  <a:pos x="connsiteX25096" y="connsiteY25096"/>
                </a:cxn>
                <a:cxn ang="0">
                  <a:pos x="connsiteX25097" y="connsiteY25097"/>
                </a:cxn>
                <a:cxn ang="0">
                  <a:pos x="connsiteX25098" y="connsiteY25098"/>
                </a:cxn>
                <a:cxn ang="0">
                  <a:pos x="connsiteX25099" y="connsiteY25099"/>
                </a:cxn>
                <a:cxn ang="0">
                  <a:pos x="connsiteX25100" y="connsiteY25100"/>
                </a:cxn>
                <a:cxn ang="0">
                  <a:pos x="connsiteX25101" y="connsiteY25101"/>
                </a:cxn>
                <a:cxn ang="0">
                  <a:pos x="connsiteX25102" y="connsiteY25102"/>
                </a:cxn>
                <a:cxn ang="0">
                  <a:pos x="connsiteX25103" y="connsiteY25103"/>
                </a:cxn>
                <a:cxn ang="0">
                  <a:pos x="connsiteX25104" y="connsiteY25104"/>
                </a:cxn>
                <a:cxn ang="0">
                  <a:pos x="connsiteX25105" y="connsiteY25105"/>
                </a:cxn>
                <a:cxn ang="0">
                  <a:pos x="connsiteX25106" y="connsiteY25106"/>
                </a:cxn>
                <a:cxn ang="0">
                  <a:pos x="connsiteX25107" y="connsiteY25107"/>
                </a:cxn>
                <a:cxn ang="0">
                  <a:pos x="connsiteX25108" y="connsiteY25108"/>
                </a:cxn>
                <a:cxn ang="0">
                  <a:pos x="connsiteX25109" y="connsiteY25109"/>
                </a:cxn>
                <a:cxn ang="0">
                  <a:pos x="connsiteX25110" y="connsiteY25110"/>
                </a:cxn>
                <a:cxn ang="0">
                  <a:pos x="connsiteX25111" y="connsiteY25111"/>
                </a:cxn>
                <a:cxn ang="0">
                  <a:pos x="connsiteX25112" y="connsiteY25112"/>
                </a:cxn>
                <a:cxn ang="0">
                  <a:pos x="connsiteX25113" y="connsiteY25113"/>
                </a:cxn>
                <a:cxn ang="0">
                  <a:pos x="connsiteX25114" y="connsiteY25114"/>
                </a:cxn>
                <a:cxn ang="0">
                  <a:pos x="connsiteX25115" y="connsiteY25115"/>
                </a:cxn>
                <a:cxn ang="0">
                  <a:pos x="connsiteX25116" y="connsiteY25116"/>
                </a:cxn>
                <a:cxn ang="0">
                  <a:pos x="connsiteX25117" y="connsiteY25117"/>
                </a:cxn>
                <a:cxn ang="0">
                  <a:pos x="connsiteX25118" y="connsiteY25118"/>
                </a:cxn>
                <a:cxn ang="0">
                  <a:pos x="connsiteX25119" y="connsiteY25119"/>
                </a:cxn>
                <a:cxn ang="0">
                  <a:pos x="connsiteX25120" y="connsiteY25120"/>
                </a:cxn>
                <a:cxn ang="0">
                  <a:pos x="connsiteX25121" y="connsiteY25121"/>
                </a:cxn>
                <a:cxn ang="0">
                  <a:pos x="connsiteX25122" y="connsiteY25122"/>
                </a:cxn>
                <a:cxn ang="0">
                  <a:pos x="connsiteX25123" y="connsiteY25123"/>
                </a:cxn>
                <a:cxn ang="0">
                  <a:pos x="connsiteX25124" y="connsiteY25124"/>
                </a:cxn>
                <a:cxn ang="0">
                  <a:pos x="connsiteX25125" y="connsiteY25125"/>
                </a:cxn>
                <a:cxn ang="0">
                  <a:pos x="connsiteX25126" y="connsiteY25126"/>
                </a:cxn>
                <a:cxn ang="0">
                  <a:pos x="connsiteX25127" y="connsiteY25127"/>
                </a:cxn>
                <a:cxn ang="0">
                  <a:pos x="connsiteX25128" y="connsiteY25128"/>
                </a:cxn>
                <a:cxn ang="0">
                  <a:pos x="connsiteX25129" y="connsiteY25129"/>
                </a:cxn>
                <a:cxn ang="0">
                  <a:pos x="connsiteX25130" y="connsiteY25130"/>
                </a:cxn>
                <a:cxn ang="0">
                  <a:pos x="connsiteX25131" y="connsiteY25131"/>
                </a:cxn>
                <a:cxn ang="0">
                  <a:pos x="connsiteX25132" y="connsiteY25132"/>
                </a:cxn>
                <a:cxn ang="0">
                  <a:pos x="connsiteX25133" y="connsiteY25133"/>
                </a:cxn>
                <a:cxn ang="0">
                  <a:pos x="connsiteX25134" y="connsiteY25134"/>
                </a:cxn>
                <a:cxn ang="0">
                  <a:pos x="connsiteX25135" y="connsiteY25135"/>
                </a:cxn>
                <a:cxn ang="0">
                  <a:pos x="connsiteX25136" y="connsiteY25136"/>
                </a:cxn>
                <a:cxn ang="0">
                  <a:pos x="connsiteX25137" y="connsiteY25137"/>
                </a:cxn>
                <a:cxn ang="0">
                  <a:pos x="connsiteX25138" y="connsiteY25138"/>
                </a:cxn>
                <a:cxn ang="0">
                  <a:pos x="connsiteX25139" y="connsiteY25139"/>
                </a:cxn>
                <a:cxn ang="0">
                  <a:pos x="connsiteX25140" y="connsiteY25140"/>
                </a:cxn>
                <a:cxn ang="0">
                  <a:pos x="connsiteX25141" y="connsiteY25141"/>
                </a:cxn>
                <a:cxn ang="0">
                  <a:pos x="connsiteX25142" y="connsiteY25142"/>
                </a:cxn>
                <a:cxn ang="0">
                  <a:pos x="connsiteX25143" y="connsiteY25143"/>
                </a:cxn>
                <a:cxn ang="0">
                  <a:pos x="connsiteX25144" y="connsiteY25144"/>
                </a:cxn>
                <a:cxn ang="0">
                  <a:pos x="connsiteX25145" y="connsiteY25145"/>
                </a:cxn>
                <a:cxn ang="0">
                  <a:pos x="connsiteX25146" y="connsiteY25146"/>
                </a:cxn>
                <a:cxn ang="0">
                  <a:pos x="connsiteX25147" y="connsiteY25147"/>
                </a:cxn>
                <a:cxn ang="0">
                  <a:pos x="connsiteX25148" y="connsiteY25148"/>
                </a:cxn>
                <a:cxn ang="0">
                  <a:pos x="connsiteX25149" y="connsiteY25149"/>
                </a:cxn>
                <a:cxn ang="0">
                  <a:pos x="connsiteX25150" y="connsiteY25150"/>
                </a:cxn>
                <a:cxn ang="0">
                  <a:pos x="connsiteX25151" y="connsiteY25151"/>
                </a:cxn>
                <a:cxn ang="0">
                  <a:pos x="connsiteX25152" y="connsiteY25152"/>
                </a:cxn>
                <a:cxn ang="0">
                  <a:pos x="connsiteX25153" y="connsiteY25153"/>
                </a:cxn>
                <a:cxn ang="0">
                  <a:pos x="connsiteX25154" y="connsiteY25154"/>
                </a:cxn>
                <a:cxn ang="0">
                  <a:pos x="connsiteX25155" y="connsiteY25155"/>
                </a:cxn>
                <a:cxn ang="0">
                  <a:pos x="connsiteX25156" y="connsiteY25156"/>
                </a:cxn>
                <a:cxn ang="0">
                  <a:pos x="connsiteX25157" y="connsiteY25157"/>
                </a:cxn>
                <a:cxn ang="0">
                  <a:pos x="connsiteX25158" y="connsiteY25158"/>
                </a:cxn>
                <a:cxn ang="0">
                  <a:pos x="connsiteX25159" y="connsiteY25159"/>
                </a:cxn>
                <a:cxn ang="0">
                  <a:pos x="connsiteX25160" y="connsiteY25160"/>
                </a:cxn>
                <a:cxn ang="0">
                  <a:pos x="connsiteX25161" y="connsiteY25161"/>
                </a:cxn>
                <a:cxn ang="0">
                  <a:pos x="connsiteX25162" y="connsiteY25162"/>
                </a:cxn>
                <a:cxn ang="0">
                  <a:pos x="connsiteX25163" y="connsiteY25163"/>
                </a:cxn>
                <a:cxn ang="0">
                  <a:pos x="connsiteX25164" y="connsiteY25164"/>
                </a:cxn>
                <a:cxn ang="0">
                  <a:pos x="connsiteX25165" y="connsiteY25165"/>
                </a:cxn>
                <a:cxn ang="0">
                  <a:pos x="connsiteX25166" y="connsiteY25166"/>
                </a:cxn>
                <a:cxn ang="0">
                  <a:pos x="connsiteX25167" y="connsiteY25167"/>
                </a:cxn>
                <a:cxn ang="0">
                  <a:pos x="connsiteX25168" y="connsiteY25168"/>
                </a:cxn>
                <a:cxn ang="0">
                  <a:pos x="connsiteX25169" y="connsiteY25169"/>
                </a:cxn>
                <a:cxn ang="0">
                  <a:pos x="connsiteX25170" y="connsiteY25170"/>
                </a:cxn>
                <a:cxn ang="0">
                  <a:pos x="connsiteX25171" y="connsiteY25171"/>
                </a:cxn>
                <a:cxn ang="0">
                  <a:pos x="connsiteX25172" y="connsiteY25172"/>
                </a:cxn>
                <a:cxn ang="0">
                  <a:pos x="connsiteX25173" y="connsiteY25173"/>
                </a:cxn>
                <a:cxn ang="0">
                  <a:pos x="connsiteX25174" y="connsiteY25174"/>
                </a:cxn>
                <a:cxn ang="0">
                  <a:pos x="connsiteX25175" y="connsiteY25175"/>
                </a:cxn>
                <a:cxn ang="0">
                  <a:pos x="connsiteX25176" y="connsiteY25176"/>
                </a:cxn>
                <a:cxn ang="0">
                  <a:pos x="connsiteX25177" y="connsiteY25177"/>
                </a:cxn>
                <a:cxn ang="0">
                  <a:pos x="connsiteX25178" y="connsiteY25178"/>
                </a:cxn>
                <a:cxn ang="0">
                  <a:pos x="connsiteX25179" y="connsiteY25179"/>
                </a:cxn>
                <a:cxn ang="0">
                  <a:pos x="connsiteX25180" y="connsiteY25180"/>
                </a:cxn>
                <a:cxn ang="0">
                  <a:pos x="connsiteX25181" y="connsiteY25181"/>
                </a:cxn>
                <a:cxn ang="0">
                  <a:pos x="connsiteX25182" y="connsiteY25182"/>
                </a:cxn>
                <a:cxn ang="0">
                  <a:pos x="connsiteX25183" y="connsiteY25183"/>
                </a:cxn>
                <a:cxn ang="0">
                  <a:pos x="connsiteX25184" y="connsiteY25184"/>
                </a:cxn>
                <a:cxn ang="0">
                  <a:pos x="connsiteX25185" y="connsiteY25185"/>
                </a:cxn>
                <a:cxn ang="0">
                  <a:pos x="connsiteX25186" y="connsiteY25186"/>
                </a:cxn>
                <a:cxn ang="0">
                  <a:pos x="connsiteX25187" y="connsiteY25187"/>
                </a:cxn>
                <a:cxn ang="0">
                  <a:pos x="connsiteX25188" y="connsiteY25188"/>
                </a:cxn>
                <a:cxn ang="0">
                  <a:pos x="connsiteX25189" y="connsiteY25189"/>
                </a:cxn>
                <a:cxn ang="0">
                  <a:pos x="connsiteX25190" y="connsiteY25190"/>
                </a:cxn>
                <a:cxn ang="0">
                  <a:pos x="connsiteX25191" y="connsiteY25191"/>
                </a:cxn>
                <a:cxn ang="0">
                  <a:pos x="connsiteX25192" y="connsiteY25192"/>
                </a:cxn>
                <a:cxn ang="0">
                  <a:pos x="connsiteX25193" y="connsiteY25193"/>
                </a:cxn>
                <a:cxn ang="0">
                  <a:pos x="connsiteX25194" y="connsiteY25194"/>
                </a:cxn>
                <a:cxn ang="0">
                  <a:pos x="connsiteX25195" y="connsiteY25195"/>
                </a:cxn>
                <a:cxn ang="0">
                  <a:pos x="connsiteX25196" y="connsiteY25196"/>
                </a:cxn>
                <a:cxn ang="0">
                  <a:pos x="connsiteX25197" y="connsiteY25197"/>
                </a:cxn>
                <a:cxn ang="0">
                  <a:pos x="connsiteX25198" y="connsiteY25198"/>
                </a:cxn>
                <a:cxn ang="0">
                  <a:pos x="connsiteX25199" y="connsiteY25199"/>
                </a:cxn>
                <a:cxn ang="0">
                  <a:pos x="connsiteX25200" y="connsiteY25200"/>
                </a:cxn>
                <a:cxn ang="0">
                  <a:pos x="connsiteX25201" y="connsiteY25201"/>
                </a:cxn>
                <a:cxn ang="0">
                  <a:pos x="connsiteX25202" y="connsiteY25202"/>
                </a:cxn>
                <a:cxn ang="0">
                  <a:pos x="connsiteX25203" y="connsiteY25203"/>
                </a:cxn>
                <a:cxn ang="0">
                  <a:pos x="connsiteX25204" y="connsiteY25204"/>
                </a:cxn>
                <a:cxn ang="0">
                  <a:pos x="connsiteX25205" y="connsiteY25205"/>
                </a:cxn>
                <a:cxn ang="0">
                  <a:pos x="connsiteX25206" y="connsiteY25206"/>
                </a:cxn>
                <a:cxn ang="0">
                  <a:pos x="connsiteX25207" y="connsiteY25207"/>
                </a:cxn>
                <a:cxn ang="0">
                  <a:pos x="connsiteX25208" y="connsiteY25208"/>
                </a:cxn>
                <a:cxn ang="0">
                  <a:pos x="connsiteX25209" y="connsiteY25209"/>
                </a:cxn>
                <a:cxn ang="0">
                  <a:pos x="connsiteX25210" y="connsiteY25210"/>
                </a:cxn>
                <a:cxn ang="0">
                  <a:pos x="connsiteX25211" y="connsiteY25211"/>
                </a:cxn>
                <a:cxn ang="0">
                  <a:pos x="connsiteX25212" y="connsiteY25212"/>
                </a:cxn>
                <a:cxn ang="0">
                  <a:pos x="connsiteX25213" y="connsiteY25213"/>
                </a:cxn>
                <a:cxn ang="0">
                  <a:pos x="connsiteX25214" y="connsiteY25214"/>
                </a:cxn>
                <a:cxn ang="0">
                  <a:pos x="connsiteX25215" y="connsiteY25215"/>
                </a:cxn>
                <a:cxn ang="0">
                  <a:pos x="connsiteX25216" y="connsiteY25216"/>
                </a:cxn>
                <a:cxn ang="0">
                  <a:pos x="connsiteX25217" y="connsiteY25217"/>
                </a:cxn>
                <a:cxn ang="0">
                  <a:pos x="connsiteX25218" y="connsiteY25218"/>
                </a:cxn>
                <a:cxn ang="0">
                  <a:pos x="connsiteX25219" y="connsiteY25219"/>
                </a:cxn>
                <a:cxn ang="0">
                  <a:pos x="connsiteX25220" y="connsiteY25220"/>
                </a:cxn>
                <a:cxn ang="0">
                  <a:pos x="connsiteX25221" y="connsiteY25221"/>
                </a:cxn>
                <a:cxn ang="0">
                  <a:pos x="connsiteX25222" y="connsiteY25222"/>
                </a:cxn>
                <a:cxn ang="0">
                  <a:pos x="connsiteX25223" y="connsiteY25223"/>
                </a:cxn>
                <a:cxn ang="0">
                  <a:pos x="connsiteX25224" y="connsiteY25224"/>
                </a:cxn>
                <a:cxn ang="0">
                  <a:pos x="connsiteX25225" y="connsiteY25225"/>
                </a:cxn>
                <a:cxn ang="0">
                  <a:pos x="connsiteX25226" y="connsiteY25226"/>
                </a:cxn>
                <a:cxn ang="0">
                  <a:pos x="connsiteX25227" y="connsiteY25227"/>
                </a:cxn>
                <a:cxn ang="0">
                  <a:pos x="connsiteX25228" y="connsiteY25228"/>
                </a:cxn>
                <a:cxn ang="0">
                  <a:pos x="connsiteX25229" y="connsiteY25229"/>
                </a:cxn>
                <a:cxn ang="0">
                  <a:pos x="connsiteX25230" y="connsiteY25230"/>
                </a:cxn>
                <a:cxn ang="0">
                  <a:pos x="connsiteX25231" y="connsiteY25231"/>
                </a:cxn>
                <a:cxn ang="0">
                  <a:pos x="connsiteX25232" y="connsiteY25232"/>
                </a:cxn>
                <a:cxn ang="0">
                  <a:pos x="connsiteX25233" y="connsiteY25233"/>
                </a:cxn>
                <a:cxn ang="0">
                  <a:pos x="connsiteX25234" y="connsiteY25234"/>
                </a:cxn>
                <a:cxn ang="0">
                  <a:pos x="connsiteX25235" y="connsiteY25235"/>
                </a:cxn>
                <a:cxn ang="0">
                  <a:pos x="connsiteX25236" y="connsiteY25236"/>
                </a:cxn>
                <a:cxn ang="0">
                  <a:pos x="connsiteX25237" y="connsiteY25237"/>
                </a:cxn>
                <a:cxn ang="0">
                  <a:pos x="connsiteX25238" y="connsiteY25238"/>
                </a:cxn>
                <a:cxn ang="0">
                  <a:pos x="connsiteX25239" y="connsiteY25239"/>
                </a:cxn>
                <a:cxn ang="0">
                  <a:pos x="connsiteX25240" y="connsiteY25240"/>
                </a:cxn>
                <a:cxn ang="0">
                  <a:pos x="connsiteX25241" y="connsiteY25241"/>
                </a:cxn>
                <a:cxn ang="0">
                  <a:pos x="connsiteX25242" y="connsiteY25242"/>
                </a:cxn>
                <a:cxn ang="0">
                  <a:pos x="connsiteX25243" y="connsiteY25243"/>
                </a:cxn>
                <a:cxn ang="0">
                  <a:pos x="connsiteX25244" y="connsiteY25244"/>
                </a:cxn>
                <a:cxn ang="0">
                  <a:pos x="connsiteX25245" y="connsiteY25245"/>
                </a:cxn>
                <a:cxn ang="0">
                  <a:pos x="connsiteX25246" y="connsiteY25246"/>
                </a:cxn>
                <a:cxn ang="0">
                  <a:pos x="connsiteX25247" y="connsiteY25247"/>
                </a:cxn>
                <a:cxn ang="0">
                  <a:pos x="connsiteX25248" y="connsiteY25248"/>
                </a:cxn>
                <a:cxn ang="0">
                  <a:pos x="connsiteX25249" y="connsiteY25249"/>
                </a:cxn>
                <a:cxn ang="0">
                  <a:pos x="connsiteX25250" y="connsiteY25250"/>
                </a:cxn>
                <a:cxn ang="0">
                  <a:pos x="connsiteX25251" y="connsiteY25251"/>
                </a:cxn>
                <a:cxn ang="0">
                  <a:pos x="connsiteX25252" y="connsiteY25252"/>
                </a:cxn>
                <a:cxn ang="0">
                  <a:pos x="connsiteX25253" y="connsiteY25253"/>
                </a:cxn>
                <a:cxn ang="0">
                  <a:pos x="connsiteX25254" y="connsiteY25254"/>
                </a:cxn>
                <a:cxn ang="0">
                  <a:pos x="connsiteX25255" y="connsiteY25255"/>
                </a:cxn>
                <a:cxn ang="0">
                  <a:pos x="connsiteX25256" y="connsiteY25256"/>
                </a:cxn>
                <a:cxn ang="0">
                  <a:pos x="connsiteX25257" y="connsiteY25257"/>
                </a:cxn>
                <a:cxn ang="0">
                  <a:pos x="connsiteX25258" y="connsiteY25258"/>
                </a:cxn>
                <a:cxn ang="0">
                  <a:pos x="connsiteX25259" y="connsiteY25259"/>
                </a:cxn>
                <a:cxn ang="0">
                  <a:pos x="connsiteX25260" y="connsiteY25260"/>
                </a:cxn>
                <a:cxn ang="0">
                  <a:pos x="connsiteX25261" y="connsiteY25261"/>
                </a:cxn>
                <a:cxn ang="0">
                  <a:pos x="connsiteX25262" y="connsiteY25262"/>
                </a:cxn>
                <a:cxn ang="0">
                  <a:pos x="connsiteX25263" y="connsiteY25263"/>
                </a:cxn>
                <a:cxn ang="0">
                  <a:pos x="connsiteX25264" y="connsiteY25264"/>
                </a:cxn>
                <a:cxn ang="0">
                  <a:pos x="connsiteX25265" y="connsiteY25265"/>
                </a:cxn>
                <a:cxn ang="0">
                  <a:pos x="connsiteX25266" y="connsiteY25266"/>
                </a:cxn>
                <a:cxn ang="0">
                  <a:pos x="connsiteX25267" y="connsiteY25267"/>
                </a:cxn>
                <a:cxn ang="0">
                  <a:pos x="connsiteX25268" y="connsiteY25268"/>
                </a:cxn>
                <a:cxn ang="0">
                  <a:pos x="connsiteX25269" y="connsiteY25269"/>
                </a:cxn>
                <a:cxn ang="0">
                  <a:pos x="connsiteX25270" y="connsiteY25270"/>
                </a:cxn>
                <a:cxn ang="0">
                  <a:pos x="connsiteX25271" y="connsiteY25271"/>
                </a:cxn>
                <a:cxn ang="0">
                  <a:pos x="connsiteX25272" y="connsiteY25272"/>
                </a:cxn>
                <a:cxn ang="0">
                  <a:pos x="connsiteX25273" y="connsiteY25273"/>
                </a:cxn>
                <a:cxn ang="0">
                  <a:pos x="connsiteX25274" y="connsiteY25274"/>
                </a:cxn>
                <a:cxn ang="0">
                  <a:pos x="connsiteX25275" y="connsiteY25275"/>
                </a:cxn>
                <a:cxn ang="0">
                  <a:pos x="connsiteX25276" y="connsiteY25276"/>
                </a:cxn>
                <a:cxn ang="0">
                  <a:pos x="connsiteX25277" y="connsiteY25277"/>
                </a:cxn>
                <a:cxn ang="0">
                  <a:pos x="connsiteX25278" y="connsiteY25278"/>
                </a:cxn>
                <a:cxn ang="0">
                  <a:pos x="connsiteX25279" y="connsiteY25279"/>
                </a:cxn>
                <a:cxn ang="0">
                  <a:pos x="connsiteX25280" y="connsiteY25280"/>
                </a:cxn>
                <a:cxn ang="0">
                  <a:pos x="connsiteX25281" y="connsiteY25281"/>
                </a:cxn>
                <a:cxn ang="0">
                  <a:pos x="connsiteX25282" y="connsiteY25282"/>
                </a:cxn>
                <a:cxn ang="0">
                  <a:pos x="connsiteX25283" y="connsiteY25283"/>
                </a:cxn>
                <a:cxn ang="0">
                  <a:pos x="connsiteX25284" y="connsiteY25284"/>
                </a:cxn>
                <a:cxn ang="0">
                  <a:pos x="connsiteX25285" y="connsiteY25285"/>
                </a:cxn>
                <a:cxn ang="0">
                  <a:pos x="connsiteX25286" y="connsiteY25286"/>
                </a:cxn>
                <a:cxn ang="0">
                  <a:pos x="connsiteX25287" y="connsiteY25287"/>
                </a:cxn>
                <a:cxn ang="0">
                  <a:pos x="connsiteX25288" y="connsiteY25288"/>
                </a:cxn>
                <a:cxn ang="0">
                  <a:pos x="connsiteX25289" y="connsiteY25289"/>
                </a:cxn>
                <a:cxn ang="0">
                  <a:pos x="connsiteX25290" y="connsiteY25290"/>
                </a:cxn>
                <a:cxn ang="0">
                  <a:pos x="connsiteX25291" y="connsiteY25291"/>
                </a:cxn>
                <a:cxn ang="0">
                  <a:pos x="connsiteX25292" y="connsiteY25292"/>
                </a:cxn>
                <a:cxn ang="0">
                  <a:pos x="connsiteX25293" y="connsiteY25293"/>
                </a:cxn>
                <a:cxn ang="0">
                  <a:pos x="connsiteX25294" y="connsiteY25294"/>
                </a:cxn>
                <a:cxn ang="0">
                  <a:pos x="connsiteX25295" y="connsiteY25295"/>
                </a:cxn>
                <a:cxn ang="0">
                  <a:pos x="connsiteX25296" y="connsiteY25296"/>
                </a:cxn>
                <a:cxn ang="0">
                  <a:pos x="connsiteX25297" y="connsiteY25297"/>
                </a:cxn>
                <a:cxn ang="0">
                  <a:pos x="connsiteX25298" y="connsiteY25298"/>
                </a:cxn>
                <a:cxn ang="0">
                  <a:pos x="connsiteX25299" y="connsiteY25299"/>
                </a:cxn>
                <a:cxn ang="0">
                  <a:pos x="connsiteX25300" y="connsiteY25300"/>
                </a:cxn>
                <a:cxn ang="0">
                  <a:pos x="connsiteX25301" y="connsiteY25301"/>
                </a:cxn>
                <a:cxn ang="0">
                  <a:pos x="connsiteX25302" y="connsiteY25302"/>
                </a:cxn>
                <a:cxn ang="0">
                  <a:pos x="connsiteX25303" y="connsiteY25303"/>
                </a:cxn>
                <a:cxn ang="0">
                  <a:pos x="connsiteX25304" y="connsiteY25304"/>
                </a:cxn>
                <a:cxn ang="0">
                  <a:pos x="connsiteX25305" y="connsiteY25305"/>
                </a:cxn>
                <a:cxn ang="0">
                  <a:pos x="connsiteX25306" y="connsiteY25306"/>
                </a:cxn>
                <a:cxn ang="0">
                  <a:pos x="connsiteX25307" y="connsiteY25307"/>
                </a:cxn>
                <a:cxn ang="0">
                  <a:pos x="connsiteX25308" y="connsiteY25308"/>
                </a:cxn>
                <a:cxn ang="0">
                  <a:pos x="connsiteX25309" y="connsiteY25309"/>
                </a:cxn>
                <a:cxn ang="0">
                  <a:pos x="connsiteX25310" y="connsiteY25310"/>
                </a:cxn>
                <a:cxn ang="0">
                  <a:pos x="connsiteX25311" y="connsiteY25311"/>
                </a:cxn>
                <a:cxn ang="0">
                  <a:pos x="connsiteX25312" y="connsiteY25312"/>
                </a:cxn>
                <a:cxn ang="0">
                  <a:pos x="connsiteX25313" y="connsiteY25313"/>
                </a:cxn>
                <a:cxn ang="0">
                  <a:pos x="connsiteX25314" y="connsiteY25314"/>
                </a:cxn>
                <a:cxn ang="0">
                  <a:pos x="connsiteX25315" y="connsiteY25315"/>
                </a:cxn>
                <a:cxn ang="0">
                  <a:pos x="connsiteX25316" y="connsiteY25316"/>
                </a:cxn>
                <a:cxn ang="0">
                  <a:pos x="connsiteX25317" y="connsiteY25317"/>
                </a:cxn>
                <a:cxn ang="0">
                  <a:pos x="connsiteX25318" y="connsiteY25318"/>
                </a:cxn>
                <a:cxn ang="0">
                  <a:pos x="connsiteX25319" y="connsiteY25319"/>
                </a:cxn>
                <a:cxn ang="0">
                  <a:pos x="connsiteX25320" y="connsiteY25320"/>
                </a:cxn>
                <a:cxn ang="0">
                  <a:pos x="connsiteX25321" y="connsiteY25321"/>
                </a:cxn>
                <a:cxn ang="0">
                  <a:pos x="connsiteX25322" y="connsiteY25322"/>
                </a:cxn>
                <a:cxn ang="0">
                  <a:pos x="connsiteX25323" y="connsiteY25323"/>
                </a:cxn>
                <a:cxn ang="0">
                  <a:pos x="connsiteX25324" y="connsiteY25324"/>
                </a:cxn>
                <a:cxn ang="0">
                  <a:pos x="connsiteX25325" y="connsiteY25325"/>
                </a:cxn>
                <a:cxn ang="0">
                  <a:pos x="connsiteX25326" y="connsiteY25326"/>
                </a:cxn>
                <a:cxn ang="0">
                  <a:pos x="connsiteX25327" y="connsiteY25327"/>
                </a:cxn>
                <a:cxn ang="0">
                  <a:pos x="connsiteX25328" y="connsiteY25328"/>
                </a:cxn>
                <a:cxn ang="0">
                  <a:pos x="connsiteX25329" y="connsiteY25329"/>
                </a:cxn>
                <a:cxn ang="0">
                  <a:pos x="connsiteX25330" y="connsiteY25330"/>
                </a:cxn>
                <a:cxn ang="0">
                  <a:pos x="connsiteX25331" y="connsiteY25331"/>
                </a:cxn>
                <a:cxn ang="0">
                  <a:pos x="connsiteX25332" y="connsiteY25332"/>
                </a:cxn>
                <a:cxn ang="0">
                  <a:pos x="connsiteX25333" y="connsiteY25333"/>
                </a:cxn>
                <a:cxn ang="0">
                  <a:pos x="connsiteX25334" y="connsiteY25334"/>
                </a:cxn>
                <a:cxn ang="0">
                  <a:pos x="connsiteX25335" y="connsiteY25335"/>
                </a:cxn>
                <a:cxn ang="0">
                  <a:pos x="connsiteX25336" y="connsiteY25336"/>
                </a:cxn>
                <a:cxn ang="0">
                  <a:pos x="connsiteX25337" y="connsiteY25337"/>
                </a:cxn>
                <a:cxn ang="0">
                  <a:pos x="connsiteX25338" y="connsiteY25338"/>
                </a:cxn>
                <a:cxn ang="0">
                  <a:pos x="connsiteX25339" y="connsiteY25339"/>
                </a:cxn>
                <a:cxn ang="0">
                  <a:pos x="connsiteX25340" y="connsiteY25340"/>
                </a:cxn>
                <a:cxn ang="0">
                  <a:pos x="connsiteX25341" y="connsiteY25341"/>
                </a:cxn>
                <a:cxn ang="0">
                  <a:pos x="connsiteX25342" y="connsiteY25342"/>
                </a:cxn>
                <a:cxn ang="0">
                  <a:pos x="connsiteX25343" y="connsiteY25343"/>
                </a:cxn>
                <a:cxn ang="0">
                  <a:pos x="connsiteX25344" y="connsiteY25344"/>
                </a:cxn>
                <a:cxn ang="0">
                  <a:pos x="connsiteX25345" y="connsiteY25345"/>
                </a:cxn>
                <a:cxn ang="0">
                  <a:pos x="connsiteX25346" y="connsiteY25346"/>
                </a:cxn>
                <a:cxn ang="0">
                  <a:pos x="connsiteX25347" y="connsiteY25347"/>
                </a:cxn>
                <a:cxn ang="0">
                  <a:pos x="connsiteX25348" y="connsiteY25348"/>
                </a:cxn>
                <a:cxn ang="0">
                  <a:pos x="connsiteX25349" y="connsiteY25349"/>
                </a:cxn>
                <a:cxn ang="0">
                  <a:pos x="connsiteX25350" y="connsiteY25350"/>
                </a:cxn>
                <a:cxn ang="0">
                  <a:pos x="connsiteX25351" y="connsiteY25351"/>
                </a:cxn>
                <a:cxn ang="0">
                  <a:pos x="connsiteX25352" y="connsiteY25352"/>
                </a:cxn>
                <a:cxn ang="0">
                  <a:pos x="connsiteX25353" y="connsiteY25353"/>
                </a:cxn>
                <a:cxn ang="0">
                  <a:pos x="connsiteX25354" y="connsiteY25354"/>
                </a:cxn>
                <a:cxn ang="0">
                  <a:pos x="connsiteX25355" y="connsiteY25355"/>
                </a:cxn>
                <a:cxn ang="0">
                  <a:pos x="connsiteX25356" y="connsiteY25356"/>
                </a:cxn>
                <a:cxn ang="0">
                  <a:pos x="connsiteX25357" y="connsiteY25357"/>
                </a:cxn>
                <a:cxn ang="0">
                  <a:pos x="connsiteX25358" y="connsiteY25358"/>
                </a:cxn>
                <a:cxn ang="0">
                  <a:pos x="connsiteX25359" y="connsiteY25359"/>
                </a:cxn>
                <a:cxn ang="0">
                  <a:pos x="connsiteX25360" y="connsiteY25360"/>
                </a:cxn>
                <a:cxn ang="0">
                  <a:pos x="connsiteX25361" y="connsiteY25361"/>
                </a:cxn>
                <a:cxn ang="0">
                  <a:pos x="connsiteX25362" y="connsiteY25362"/>
                </a:cxn>
                <a:cxn ang="0">
                  <a:pos x="connsiteX25363" y="connsiteY25363"/>
                </a:cxn>
                <a:cxn ang="0">
                  <a:pos x="connsiteX25364" y="connsiteY25364"/>
                </a:cxn>
                <a:cxn ang="0">
                  <a:pos x="connsiteX25365" y="connsiteY25365"/>
                </a:cxn>
                <a:cxn ang="0">
                  <a:pos x="connsiteX25366" y="connsiteY25366"/>
                </a:cxn>
                <a:cxn ang="0">
                  <a:pos x="connsiteX25367" y="connsiteY25367"/>
                </a:cxn>
                <a:cxn ang="0">
                  <a:pos x="connsiteX25368" y="connsiteY25368"/>
                </a:cxn>
                <a:cxn ang="0">
                  <a:pos x="connsiteX25369" y="connsiteY25369"/>
                </a:cxn>
                <a:cxn ang="0">
                  <a:pos x="connsiteX25370" y="connsiteY25370"/>
                </a:cxn>
                <a:cxn ang="0">
                  <a:pos x="connsiteX25371" y="connsiteY25371"/>
                </a:cxn>
                <a:cxn ang="0">
                  <a:pos x="connsiteX25372" y="connsiteY25372"/>
                </a:cxn>
                <a:cxn ang="0">
                  <a:pos x="connsiteX25373" y="connsiteY25373"/>
                </a:cxn>
                <a:cxn ang="0">
                  <a:pos x="connsiteX25374" y="connsiteY25374"/>
                </a:cxn>
                <a:cxn ang="0">
                  <a:pos x="connsiteX25375" y="connsiteY25375"/>
                </a:cxn>
                <a:cxn ang="0">
                  <a:pos x="connsiteX25376" y="connsiteY25376"/>
                </a:cxn>
                <a:cxn ang="0">
                  <a:pos x="connsiteX25377" y="connsiteY25377"/>
                </a:cxn>
                <a:cxn ang="0">
                  <a:pos x="connsiteX25378" y="connsiteY25378"/>
                </a:cxn>
                <a:cxn ang="0">
                  <a:pos x="connsiteX25379" y="connsiteY25379"/>
                </a:cxn>
                <a:cxn ang="0">
                  <a:pos x="connsiteX25380" y="connsiteY25380"/>
                </a:cxn>
                <a:cxn ang="0">
                  <a:pos x="connsiteX25381" y="connsiteY25381"/>
                </a:cxn>
                <a:cxn ang="0">
                  <a:pos x="connsiteX25382" y="connsiteY25382"/>
                </a:cxn>
                <a:cxn ang="0">
                  <a:pos x="connsiteX25383" y="connsiteY25383"/>
                </a:cxn>
                <a:cxn ang="0">
                  <a:pos x="connsiteX25384" y="connsiteY25384"/>
                </a:cxn>
                <a:cxn ang="0">
                  <a:pos x="connsiteX25385" y="connsiteY25385"/>
                </a:cxn>
                <a:cxn ang="0">
                  <a:pos x="connsiteX25386" y="connsiteY25386"/>
                </a:cxn>
                <a:cxn ang="0">
                  <a:pos x="connsiteX25387" y="connsiteY25387"/>
                </a:cxn>
                <a:cxn ang="0">
                  <a:pos x="connsiteX25388" y="connsiteY25388"/>
                </a:cxn>
                <a:cxn ang="0">
                  <a:pos x="connsiteX25389" y="connsiteY25389"/>
                </a:cxn>
                <a:cxn ang="0">
                  <a:pos x="connsiteX25390" y="connsiteY25390"/>
                </a:cxn>
                <a:cxn ang="0">
                  <a:pos x="connsiteX25391" y="connsiteY25391"/>
                </a:cxn>
                <a:cxn ang="0">
                  <a:pos x="connsiteX25392" y="connsiteY25392"/>
                </a:cxn>
                <a:cxn ang="0">
                  <a:pos x="connsiteX25393" y="connsiteY25393"/>
                </a:cxn>
                <a:cxn ang="0">
                  <a:pos x="connsiteX25394" y="connsiteY25394"/>
                </a:cxn>
                <a:cxn ang="0">
                  <a:pos x="connsiteX25395" y="connsiteY25395"/>
                </a:cxn>
                <a:cxn ang="0">
                  <a:pos x="connsiteX25396" y="connsiteY25396"/>
                </a:cxn>
                <a:cxn ang="0">
                  <a:pos x="connsiteX25397" y="connsiteY25397"/>
                </a:cxn>
                <a:cxn ang="0">
                  <a:pos x="connsiteX25398" y="connsiteY25398"/>
                </a:cxn>
                <a:cxn ang="0">
                  <a:pos x="connsiteX25399" y="connsiteY25399"/>
                </a:cxn>
                <a:cxn ang="0">
                  <a:pos x="connsiteX25400" y="connsiteY25400"/>
                </a:cxn>
                <a:cxn ang="0">
                  <a:pos x="connsiteX25401" y="connsiteY25401"/>
                </a:cxn>
                <a:cxn ang="0">
                  <a:pos x="connsiteX25402" y="connsiteY25402"/>
                </a:cxn>
                <a:cxn ang="0">
                  <a:pos x="connsiteX25403" y="connsiteY25403"/>
                </a:cxn>
                <a:cxn ang="0">
                  <a:pos x="connsiteX25404" y="connsiteY25404"/>
                </a:cxn>
                <a:cxn ang="0">
                  <a:pos x="connsiteX25405" y="connsiteY25405"/>
                </a:cxn>
                <a:cxn ang="0">
                  <a:pos x="connsiteX25406" y="connsiteY25406"/>
                </a:cxn>
                <a:cxn ang="0">
                  <a:pos x="connsiteX25407" y="connsiteY25407"/>
                </a:cxn>
                <a:cxn ang="0">
                  <a:pos x="connsiteX25408" y="connsiteY25408"/>
                </a:cxn>
                <a:cxn ang="0">
                  <a:pos x="connsiteX25409" y="connsiteY25409"/>
                </a:cxn>
                <a:cxn ang="0">
                  <a:pos x="connsiteX25410" y="connsiteY25410"/>
                </a:cxn>
                <a:cxn ang="0">
                  <a:pos x="connsiteX25411" y="connsiteY25411"/>
                </a:cxn>
                <a:cxn ang="0">
                  <a:pos x="connsiteX25412" y="connsiteY25412"/>
                </a:cxn>
                <a:cxn ang="0">
                  <a:pos x="connsiteX25413" y="connsiteY25413"/>
                </a:cxn>
                <a:cxn ang="0">
                  <a:pos x="connsiteX25414" y="connsiteY25414"/>
                </a:cxn>
                <a:cxn ang="0">
                  <a:pos x="connsiteX25415" y="connsiteY25415"/>
                </a:cxn>
                <a:cxn ang="0">
                  <a:pos x="connsiteX25416" y="connsiteY25416"/>
                </a:cxn>
                <a:cxn ang="0">
                  <a:pos x="connsiteX25417" y="connsiteY25417"/>
                </a:cxn>
                <a:cxn ang="0">
                  <a:pos x="connsiteX25418" y="connsiteY25418"/>
                </a:cxn>
                <a:cxn ang="0">
                  <a:pos x="connsiteX25419" y="connsiteY25419"/>
                </a:cxn>
                <a:cxn ang="0">
                  <a:pos x="connsiteX25420" y="connsiteY25420"/>
                </a:cxn>
                <a:cxn ang="0">
                  <a:pos x="connsiteX25421" y="connsiteY25421"/>
                </a:cxn>
                <a:cxn ang="0">
                  <a:pos x="connsiteX25422" y="connsiteY25422"/>
                </a:cxn>
                <a:cxn ang="0">
                  <a:pos x="connsiteX25423" y="connsiteY25423"/>
                </a:cxn>
                <a:cxn ang="0">
                  <a:pos x="connsiteX25424" y="connsiteY25424"/>
                </a:cxn>
                <a:cxn ang="0">
                  <a:pos x="connsiteX25425" y="connsiteY25425"/>
                </a:cxn>
                <a:cxn ang="0">
                  <a:pos x="connsiteX25426" y="connsiteY25426"/>
                </a:cxn>
                <a:cxn ang="0">
                  <a:pos x="connsiteX25427" y="connsiteY25427"/>
                </a:cxn>
                <a:cxn ang="0">
                  <a:pos x="connsiteX25428" y="connsiteY25428"/>
                </a:cxn>
                <a:cxn ang="0">
                  <a:pos x="connsiteX25429" y="connsiteY25429"/>
                </a:cxn>
                <a:cxn ang="0">
                  <a:pos x="connsiteX25430" y="connsiteY25430"/>
                </a:cxn>
                <a:cxn ang="0">
                  <a:pos x="connsiteX25431" y="connsiteY25431"/>
                </a:cxn>
                <a:cxn ang="0">
                  <a:pos x="connsiteX25432" y="connsiteY25432"/>
                </a:cxn>
                <a:cxn ang="0">
                  <a:pos x="connsiteX25433" y="connsiteY25433"/>
                </a:cxn>
                <a:cxn ang="0">
                  <a:pos x="connsiteX25434" y="connsiteY25434"/>
                </a:cxn>
                <a:cxn ang="0">
                  <a:pos x="connsiteX25435" y="connsiteY25435"/>
                </a:cxn>
                <a:cxn ang="0">
                  <a:pos x="connsiteX25436" y="connsiteY25436"/>
                </a:cxn>
                <a:cxn ang="0">
                  <a:pos x="connsiteX25437" y="connsiteY25437"/>
                </a:cxn>
                <a:cxn ang="0">
                  <a:pos x="connsiteX25438" y="connsiteY25438"/>
                </a:cxn>
                <a:cxn ang="0">
                  <a:pos x="connsiteX25439" y="connsiteY25439"/>
                </a:cxn>
                <a:cxn ang="0">
                  <a:pos x="connsiteX25440" y="connsiteY25440"/>
                </a:cxn>
                <a:cxn ang="0">
                  <a:pos x="connsiteX25441" y="connsiteY25441"/>
                </a:cxn>
                <a:cxn ang="0">
                  <a:pos x="connsiteX25442" y="connsiteY25442"/>
                </a:cxn>
                <a:cxn ang="0">
                  <a:pos x="connsiteX25443" y="connsiteY25443"/>
                </a:cxn>
                <a:cxn ang="0">
                  <a:pos x="connsiteX25444" y="connsiteY25444"/>
                </a:cxn>
                <a:cxn ang="0">
                  <a:pos x="connsiteX25445" y="connsiteY25445"/>
                </a:cxn>
                <a:cxn ang="0">
                  <a:pos x="connsiteX25446" y="connsiteY25446"/>
                </a:cxn>
                <a:cxn ang="0">
                  <a:pos x="connsiteX25447" y="connsiteY25447"/>
                </a:cxn>
                <a:cxn ang="0">
                  <a:pos x="connsiteX25448" y="connsiteY25448"/>
                </a:cxn>
                <a:cxn ang="0">
                  <a:pos x="connsiteX25449" y="connsiteY25449"/>
                </a:cxn>
                <a:cxn ang="0">
                  <a:pos x="connsiteX25450" y="connsiteY25450"/>
                </a:cxn>
                <a:cxn ang="0">
                  <a:pos x="connsiteX25451" y="connsiteY25451"/>
                </a:cxn>
                <a:cxn ang="0">
                  <a:pos x="connsiteX25452" y="connsiteY25452"/>
                </a:cxn>
                <a:cxn ang="0">
                  <a:pos x="connsiteX25453" y="connsiteY25453"/>
                </a:cxn>
                <a:cxn ang="0">
                  <a:pos x="connsiteX25454" y="connsiteY25454"/>
                </a:cxn>
                <a:cxn ang="0">
                  <a:pos x="connsiteX25455" y="connsiteY25455"/>
                </a:cxn>
                <a:cxn ang="0">
                  <a:pos x="connsiteX25456" y="connsiteY25456"/>
                </a:cxn>
                <a:cxn ang="0">
                  <a:pos x="connsiteX25457" y="connsiteY25457"/>
                </a:cxn>
                <a:cxn ang="0">
                  <a:pos x="connsiteX25458" y="connsiteY25458"/>
                </a:cxn>
                <a:cxn ang="0">
                  <a:pos x="connsiteX25459" y="connsiteY25459"/>
                </a:cxn>
                <a:cxn ang="0">
                  <a:pos x="connsiteX25460" y="connsiteY25460"/>
                </a:cxn>
                <a:cxn ang="0">
                  <a:pos x="connsiteX25461" y="connsiteY25461"/>
                </a:cxn>
                <a:cxn ang="0">
                  <a:pos x="connsiteX25462" y="connsiteY25462"/>
                </a:cxn>
                <a:cxn ang="0">
                  <a:pos x="connsiteX25463" y="connsiteY25463"/>
                </a:cxn>
                <a:cxn ang="0">
                  <a:pos x="connsiteX25464" y="connsiteY25464"/>
                </a:cxn>
                <a:cxn ang="0">
                  <a:pos x="connsiteX25465" y="connsiteY25465"/>
                </a:cxn>
                <a:cxn ang="0">
                  <a:pos x="connsiteX25466" y="connsiteY25466"/>
                </a:cxn>
                <a:cxn ang="0">
                  <a:pos x="connsiteX25467" y="connsiteY25467"/>
                </a:cxn>
                <a:cxn ang="0">
                  <a:pos x="connsiteX25468" y="connsiteY25468"/>
                </a:cxn>
                <a:cxn ang="0">
                  <a:pos x="connsiteX25469" y="connsiteY25469"/>
                </a:cxn>
                <a:cxn ang="0">
                  <a:pos x="connsiteX25470" y="connsiteY25470"/>
                </a:cxn>
                <a:cxn ang="0">
                  <a:pos x="connsiteX25471" y="connsiteY25471"/>
                </a:cxn>
                <a:cxn ang="0">
                  <a:pos x="connsiteX25472" y="connsiteY25472"/>
                </a:cxn>
                <a:cxn ang="0">
                  <a:pos x="connsiteX25473" y="connsiteY25473"/>
                </a:cxn>
                <a:cxn ang="0">
                  <a:pos x="connsiteX25474" y="connsiteY25474"/>
                </a:cxn>
                <a:cxn ang="0">
                  <a:pos x="connsiteX25475" y="connsiteY25475"/>
                </a:cxn>
                <a:cxn ang="0">
                  <a:pos x="connsiteX25476" y="connsiteY25476"/>
                </a:cxn>
                <a:cxn ang="0">
                  <a:pos x="connsiteX25477" y="connsiteY25477"/>
                </a:cxn>
                <a:cxn ang="0">
                  <a:pos x="connsiteX25478" y="connsiteY25478"/>
                </a:cxn>
                <a:cxn ang="0">
                  <a:pos x="connsiteX25479" y="connsiteY25479"/>
                </a:cxn>
                <a:cxn ang="0">
                  <a:pos x="connsiteX25480" y="connsiteY25480"/>
                </a:cxn>
                <a:cxn ang="0">
                  <a:pos x="connsiteX25481" y="connsiteY25481"/>
                </a:cxn>
                <a:cxn ang="0">
                  <a:pos x="connsiteX25482" y="connsiteY25482"/>
                </a:cxn>
                <a:cxn ang="0">
                  <a:pos x="connsiteX25483" y="connsiteY25483"/>
                </a:cxn>
                <a:cxn ang="0">
                  <a:pos x="connsiteX25484" y="connsiteY25484"/>
                </a:cxn>
                <a:cxn ang="0">
                  <a:pos x="connsiteX25485" y="connsiteY25485"/>
                </a:cxn>
                <a:cxn ang="0">
                  <a:pos x="connsiteX25486" y="connsiteY25486"/>
                </a:cxn>
                <a:cxn ang="0">
                  <a:pos x="connsiteX25487" y="connsiteY25487"/>
                </a:cxn>
                <a:cxn ang="0">
                  <a:pos x="connsiteX25488" y="connsiteY25488"/>
                </a:cxn>
                <a:cxn ang="0">
                  <a:pos x="connsiteX25489" y="connsiteY25489"/>
                </a:cxn>
                <a:cxn ang="0">
                  <a:pos x="connsiteX25490" y="connsiteY25490"/>
                </a:cxn>
                <a:cxn ang="0">
                  <a:pos x="connsiteX25491" y="connsiteY25491"/>
                </a:cxn>
                <a:cxn ang="0">
                  <a:pos x="connsiteX25492" y="connsiteY25492"/>
                </a:cxn>
                <a:cxn ang="0">
                  <a:pos x="connsiteX25493" y="connsiteY25493"/>
                </a:cxn>
                <a:cxn ang="0">
                  <a:pos x="connsiteX25494" y="connsiteY25494"/>
                </a:cxn>
                <a:cxn ang="0">
                  <a:pos x="connsiteX25495" y="connsiteY25495"/>
                </a:cxn>
                <a:cxn ang="0">
                  <a:pos x="connsiteX25496" y="connsiteY25496"/>
                </a:cxn>
                <a:cxn ang="0">
                  <a:pos x="connsiteX25497" y="connsiteY25497"/>
                </a:cxn>
                <a:cxn ang="0">
                  <a:pos x="connsiteX25498" y="connsiteY25498"/>
                </a:cxn>
                <a:cxn ang="0">
                  <a:pos x="connsiteX25499" y="connsiteY25499"/>
                </a:cxn>
                <a:cxn ang="0">
                  <a:pos x="connsiteX25500" y="connsiteY25500"/>
                </a:cxn>
                <a:cxn ang="0">
                  <a:pos x="connsiteX25501" y="connsiteY25501"/>
                </a:cxn>
                <a:cxn ang="0">
                  <a:pos x="connsiteX25502" y="connsiteY25502"/>
                </a:cxn>
                <a:cxn ang="0">
                  <a:pos x="connsiteX25503" y="connsiteY25503"/>
                </a:cxn>
                <a:cxn ang="0">
                  <a:pos x="connsiteX25504" y="connsiteY25504"/>
                </a:cxn>
                <a:cxn ang="0">
                  <a:pos x="connsiteX25505" y="connsiteY25505"/>
                </a:cxn>
                <a:cxn ang="0">
                  <a:pos x="connsiteX25506" y="connsiteY25506"/>
                </a:cxn>
                <a:cxn ang="0">
                  <a:pos x="connsiteX25507" y="connsiteY25507"/>
                </a:cxn>
                <a:cxn ang="0">
                  <a:pos x="connsiteX25508" y="connsiteY25508"/>
                </a:cxn>
                <a:cxn ang="0">
                  <a:pos x="connsiteX25509" y="connsiteY25509"/>
                </a:cxn>
                <a:cxn ang="0">
                  <a:pos x="connsiteX25510" y="connsiteY25510"/>
                </a:cxn>
                <a:cxn ang="0">
                  <a:pos x="connsiteX25511" y="connsiteY25511"/>
                </a:cxn>
                <a:cxn ang="0">
                  <a:pos x="connsiteX25512" y="connsiteY25512"/>
                </a:cxn>
                <a:cxn ang="0">
                  <a:pos x="connsiteX25513" y="connsiteY25513"/>
                </a:cxn>
                <a:cxn ang="0">
                  <a:pos x="connsiteX25514" y="connsiteY25514"/>
                </a:cxn>
                <a:cxn ang="0">
                  <a:pos x="connsiteX25515" y="connsiteY25515"/>
                </a:cxn>
                <a:cxn ang="0">
                  <a:pos x="connsiteX25516" y="connsiteY25516"/>
                </a:cxn>
                <a:cxn ang="0">
                  <a:pos x="connsiteX25517" y="connsiteY25517"/>
                </a:cxn>
                <a:cxn ang="0">
                  <a:pos x="connsiteX25518" y="connsiteY25518"/>
                </a:cxn>
                <a:cxn ang="0">
                  <a:pos x="connsiteX25519" y="connsiteY25519"/>
                </a:cxn>
                <a:cxn ang="0">
                  <a:pos x="connsiteX25520" y="connsiteY25520"/>
                </a:cxn>
                <a:cxn ang="0">
                  <a:pos x="connsiteX25521" y="connsiteY25521"/>
                </a:cxn>
                <a:cxn ang="0">
                  <a:pos x="connsiteX25522" y="connsiteY25522"/>
                </a:cxn>
                <a:cxn ang="0">
                  <a:pos x="connsiteX25523" y="connsiteY25523"/>
                </a:cxn>
                <a:cxn ang="0">
                  <a:pos x="connsiteX25524" y="connsiteY25524"/>
                </a:cxn>
                <a:cxn ang="0">
                  <a:pos x="connsiteX25525" y="connsiteY25525"/>
                </a:cxn>
                <a:cxn ang="0">
                  <a:pos x="connsiteX25526" y="connsiteY25526"/>
                </a:cxn>
                <a:cxn ang="0">
                  <a:pos x="connsiteX25527" y="connsiteY25527"/>
                </a:cxn>
                <a:cxn ang="0">
                  <a:pos x="connsiteX25528" y="connsiteY25528"/>
                </a:cxn>
                <a:cxn ang="0">
                  <a:pos x="connsiteX25529" y="connsiteY25529"/>
                </a:cxn>
                <a:cxn ang="0">
                  <a:pos x="connsiteX25530" y="connsiteY25530"/>
                </a:cxn>
                <a:cxn ang="0">
                  <a:pos x="connsiteX25531" y="connsiteY25531"/>
                </a:cxn>
                <a:cxn ang="0">
                  <a:pos x="connsiteX25532" y="connsiteY25532"/>
                </a:cxn>
                <a:cxn ang="0">
                  <a:pos x="connsiteX25533" y="connsiteY25533"/>
                </a:cxn>
                <a:cxn ang="0">
                  <a:pos x="connsiteX25534" y="connsiteY25534"/>
                </a:cxn>
                <a:cxn ang="0">
                  <a:pos x="connsiteX25535" y="connsiteY25535"/>
                </a:cxn>
                <a:cxn ang="0">
                  <a:pos x="connsiteX25536" y="connsiteY25536"/>
                </a:cxn>
                <a:cxn ang="0">
                  <a:pos x="connsiteX25537" y="connsiteY25537"/>
                </a:cxn>
                <a:cxn ang="0">
                  <a:pos x="connsiteX25538" y="connsiteY25538"/>
                </a:cxn>
                <a:cxn ang="0">
                  <a:pos x="connsiteX25539" y="connsiteY25539"/>
                </a:cxn>
                <a:cxn ang="0">
                  <a:pos x="connsiteX25540" y="connsiteY25540"/>
                </a:cxn>
                <a:cxn ang="0">
                  <a:pos x="connsiteX25541" y="connsiteY25541"/>
                </a:cxn>
                <a:cxn ang="0">
                  <a:pos x="connsiteX25542" y="connsiteY25542"/>
                </a:cxn>
                <a:cxn ang="0">
                  <a:pos x="connsiteX25543" y="connsiteY25543"/>
                </a:cxn>
                <a:cxn ang="0">
                  <a:pos x="connsiteX25544" y="connsiteY25544"/>
                </a:cxn>
                <a:cxn ang="0">
                  <a:pos x="connsiteX25545" y="connsiteY25545"/>
                </a:cxn>
                <a:cxn ang="0">
                  <a:pos x="connsiteX25546" y="connsiteY25546"/>
                </a:cxn>
                <a:cxn ang="0">
                  <a:pos x="connsiteX25547" y="connsiteY25547"/>
                </a:cxn>
                <a:cxn ang="0">
                  <a:pos x="connsiteX25548" y="connsiteY25548"/>
                </a:cxn>
                <a:cxn ang="0">
                  <a:pos x="connsiteX25549" y="connsiteY25549"/>
                </a:cxn>
                <a:cxn ang="0">
                  <a:pos x="connsiteX25550" y="connsiteY25550"/>
                </a:cxn>
                <a:cxn ang="0">
                  <a:pos x="connsiteX25551" y="connsiteY25551"/>
                </a:cxn>
                <a:cxn ang="0">
                  <a:pos x="connsiteX25552" y="connsiteY25552"/>
                </a:cxn>
                <a:cxn ang="0">
                  <a:pos x="connsiteX25553" y="connsiteY25553"/>
                </a:cxn>
                <a:cxn ang="0">
                  <a:pos x="connsiteX25554" y="connsiteY25554"/>
                </a:cxn>
                <a:cxn ang="0">
                  <a:pos x="connsiteX25555" y="connsiteY25555"/>
                </a:cxn>
                <a:cxn ang="0">
                  <a:pos x="connsiteX25556" y="connsiteY25556"/>
                </a:cxn>
                <a:cxn ang="0">
                  <a:pos x="connsiteX25557" y="connsiteY25557"/>
                </a:cxn>
                <a:cxn ang="0">
                  <a:pos x="connsiteX25558" y="connsiteY25558"/>
                </a:cxn>
                <a:cxn ang="0">
                  <a:pos x="connsiteX25559" y="connsiteY25559"/>
                </a:cxn>
                <a:cxn ang="0">
                  <a:pos x="connsiteX25560" y="connsiteY25560"/>
                </a:cxn>
                <a:cxn ang="0">
                  <a:pos x="connsiteX25561" y="connsiteY25561"/>
                </a:cxn>
                <a:cxn ang="0">
                  <a:pos x="connsiteX25562" y="connsiteY25562"/>
                </a:cxn>
                <a:cxn ang="0">
                  <a:pos x="connsiteX25563" y="connsiteY25563"/>
                </a:cxn>
                <a:cxn ang="0">
                  <a:pos x="connsiteX25564" y="connsiteY25564"/>
                </a:cxn>
                <a:cxn ang="0">
                  <a:pos x="connsiteX25565" y="connsiteY25565"/>
                </a:cxn>
                <a:cxn ang="0">
                  <a:pos x="connsiteX25566" y="connsiteY25566"/>
                </a:cxn>
                <a:cxn ang="0">
                  <a:pos x="connsiteX25567" y="connsiteY25567"/>
                </a:cxn>
                <a:cxn ang="0">
                  <a:pos x="connsiteX25568" y="connsiteY25568"/>
                </a:cxn>
                <a:cxn ang="0">
                  <a:pos x="connsiteX25569" y="connsiteY25569"/>
                </a:cxn>
                <a:cxn ang="0">
                  <a:pos x="connsiteX25570" y="connsiteY25570"/>
                </a:cxn>
                <a:cxn ang="0">
                  <a:pos x="connsiteX25571" y="connsiteY25571"/>
                </a:cxn>
                <a:cxn ang="0">
                  <a:pos x="connsiteX25572" y="connsiteY25572"/>
                </a:cxn>
                <a:cxn ang="0">
                  <a:pos x="connsiteX25573" y="connsiteY25573"/>
                </a:cxn>
                <a:cxn ang="0">
                  <a:pos x="connsiteX25574" y="connsiteY25574"/>
                </a:cxn>
                <a:cxn ang="0">
                  <a:pos x="connsiteX25575" y="connsiteY25575"/>
                </a:cxn>
                <a:cxn ang="0">
                  <a:pos x="connsiteX25576" y="connsiteY25576"/>
                </a:cxn>
                <a:cxn ang="0">
                  <a:pos x="connsiteX25577" y="connsiteY25577"/>
                </a:cxn>
                <a:cxn ang="0">
                  <a:pos x="connsiteX25578" y="connsiteY25578"/>
                </a:cxn>
                <a:cxn ang="0">
                  <a:pos x="connsiteX25579" y="connsiteY25579"/>
                </a:cxn>
                <a:cxn ang="0">
                  <a:pos x="connsiteX25580" y="connsiteY25580"/>
                </a:cxn>
                <a:cxn ang="0">
                  <a:pos x="connsiteX25581" y="connsiteY25581"/>
                </a:cxn>
                <a:cxn ang="0">
                  <a:pos x="connsiteX25582" y="connsiteY25582"/>
                </a:cxn>
                <a:cxn ang="0">
                  <a:pos x="connsiteX25583" y="connsiteY25583"/>
                </a:cxn>
                <a:cxn ang="0">
                  <a:pos x="connsiteX25584" y="connsiteY25584"/>
                </a:cxn>
                <a:cxn ang="0">
                  <a:pos x="connsiteX25585" y="connsiteY25585"/>
                </a:cxn>
                <a:cxn ang="0">
                  <a:pos x="connsiteX25586" y="connsiteY25586"/>
                </a:cxn>
                <a:cxn ang="0">
                  <a:pos x="connsiteX25587" y="connsiteY25587"/>
                </a:cxn>
                <a:cxn ang="0">
                  <a:pos x="connsiteX25588" y="connsiteY25588"/>
                </a:cxn>
                <a:cxn ang="0">
                  <a:pos x="connsiteX25589" y="connsiteY25589"/>
                </a:cxn>
                <a:cxn ang="0">
                  <a:pos x="connsiteX25590" y="connsiteY25590"/>
                </a:cxn>
                <a:cxn ang="0">
                  <a:pos x="connsiteX25591" y="connsiteY25591"/>
                </a:cxn>
                <a:cxn ang="0">
                  <a:pos x="connsiteX25592" y="connsiteY25592"/>
                </a:cxn>
                <a:cxn ang="0">
                  <a:pos x="connsiteX25593" y="connsiteY25593"/>
                </a:cxn>
                <a:cxn ang="0">
                  <a:pos x="connsiteX25594" y="connsiteY25594"/>
                </a:cxn>
                <a:cxn ang="0">
                  <a:pos x="connsiteX25595" y="connsiteY25595"/>
                </a:cxn>
                <a:cxn ang="0">
                  <a:pos x="connsiteX25596" y="connsiteY25596"/>
                </a:cxn>
                <a:cxn ang="0">
                  <a:pos x="connsiteX25597" y="connsiteY25597"/>
                </a:cxn>
                <a:cxn ang="0">
                  <a:pos x="connsiteX25598" y="connsiteY25598"/>
                </a:cxn>
                <a:cxn ang="0">
                  <a:pos x="connsiteX25599" y="connsiteY25599"/>
                </a:cxn>
                <a:cxn ang="0">
                  <a:pos x="connsiteX25600" y="connsiteY25600"/>
                </a:cxn>
                <a:cxn ang="0">
                  <a:pos x="connsiteX25601" y="connsiteY25601"/>
                </a:cxn>
                <a:cxn ang="0">
                  <a:pos x="connsiteX25602" y="connsiteY25602"/>
                </a:cxn>
                <a:cxn ang="0">
                  <a:pos x="connsiteX25603" y="connsiteY25603"/>
                </a:cxn>
                <a:cxn ang="0">
                  <a:pos x="connsiteX25604" y="connsiteY25604"/>
                </a:cxn>
                <a:cxn ang="0">
                  <a:pos x="connsiteX25605" y="connsiteY25605"/>
                </a:cxn>
                <a:cxn ang="0">
                  <a:pos x="connsiteX25606" y="connsiteY25606"/>
                </a:cxn>
                <a:cxn ang="0">
                  <a:pos x="connsiteX25607" y="connsiteY25607"/>
                </a:cxn>
                <a:cxn ang="0">
                  <a:pos x="connsiteX25608" y="connsiteY25608"/>
                </a:cxn>
                <a:cxn ang="0">
                  <a:pos x="connsiteX25609" y="connsiteY25609"/>
                </a:cxn>
                <a:cxn ang="0">
                  <a:pos x="connsiteX25610" y="connsiteY25610"/>
                </a:cxn>
                <a:cxn ang="0">
                  <a:pos x="connsiteX25611" y="connsiteY25611"/>
                </a:cxn>
                <a:cxn ang="0">
                  <a:pos x="connsiteX25612" y="connsiteY25612"/>
                </a:cxn>
                <a:cxn ang="0">
                  <a:pos x="connsiteX25613" y="connsiteY25613"/>
                </a:cxn>
                <a:cxn ang="0">
                  <a:pos x="connsiteX25614" y="connsiteY25614"/>
                </a:cxn>
                <a:cxn ang="0">
                  <a:pos x="connsiteX25615" y="connsiteY25615"/>
                </a:cxn>
                <a:cxn ang="0">
                  <a:pos x="connsiteX25616" y="connsiteY25616"/>
                </a:cxn>
                <a:cxn ang="0">
                  <a:pos x="connsiteX25617" y="connsiteY25617"/>
                </a:cxn>
                <a:cxn ang="0">
                  <a:pos x="connsiteX25618" y="connsiteY25618"/>
                </a:cxn>
                <a:cxn ang="0">
                  <a:pos x="connsiteX25619" y="connsiteY25619"/>
                </a:cxn>
                <a:cxn ang="0">
                  <a:pos x="connsiteX25620" y="connsiteY25620"/>
                </a:cxn>
                <a:cxn ang="0">
                  <a:pos x="connsiteX25621" y="connsiteY25621"/>
                </a:cxn>
                <a:cxn ang="0">
                  <a:pos x="connsiteX25622" y="connsiteY25622"/>
                </a:cxn>
                <a:cxn ang="0">
                  <a:pos x="connsiteX25623" y="connsiteY25623"/>
                </a:cxn>
                <a:cxn ang="0">
                  <a:pos x="connsiteX25624" y="connsiteY25624"/>
                </a:cxn>
                <a:cxn ang="0">
                  <a:pos x="connsiteX25625" y="connsiteY25625"/>
                </a:cxn>
                <a:cxn ang="0">
                  <a:pos x="connsiteX25626" y="connsiteY25626"/>
                </a:cxn>
                <a:cxn ang="0">
                  <a:pos x="connsiteX25627" y="connsiteY25627"/>
                </a:cxn>
                <a:cxn ang="0">
                  <a:pos x="connsiteX25628" y="connsiteY25628"/>
                </a:cxn>
                <a:cxn ang="0">
                  <a:pos x="connsiteX25629" y="connsiteY25629"/>
                </a:cxn>
                <a:cxn ang="0">
                  <a:pos x="connsiteX25630" y="connsiteY25630"/>
                </a:cxn>
                <a:cxn ang="0">
                  <a:pos x="connsiteX25631" y="connsiteY25631"/>
                </a:cxn>
                <a:cxn ang="0">
                  <a:pos x="connsiteX25632" y="connsiteY25632"/>
                </a:cxn>
                <a:cxn ang="0">
                  <a:pos x="connsiteX25633" y="connsiteY25633"/>
                </a:cxn>
                <a:cxn ang="0">
                  <a:pos x="connsiteX25634" y="connsiteY25634"/>
                </a:cxn>
                <a:cxn ang="0">
                  <a:pos x="connsiteX25635" y="connsiteY25635"/>
                </a:cxn>
                <a:cxn ang="0">
                  <a:pos x="connsiteX25636" y="connsiteY25636"/>
                </a:cxn>
                <a:cxn ang="0">
                  <a:pos x="connsiteX25637" y="connsiteY25637"/>
                </a:cxn>
                <a:cxn ang="0">
                  <a:pos x="connsiteX25638" y="connsiteY25638"/>
                </a:cxn>
                <a:cxn ang="0">
                  <a:pos x="connsiteX25639" y="connsiteY25639"/>
                </a:cxn>
                <a:cxn ang="0">
                  <a:pos x="connsiteX25640" y="connsiteY25640"/>
                </a:cxn>
                <a:cxn ang="0">
                  <a:pos x="connsiteX25641" y="connsiteY25641"/>
                </a:cxn>
                <a:cxn ang="0">
                  <a:pos x="connsiteX25642" y="connsiteY25642"/>
                </a:cxn>
                <a:cxn ang="0">
                  <a:pos x="connsiteX25643" y="connsiteY25643"/>
                </a:cxn>
                <a:cxn ang="0">
                  <a:pos x="connsiteX25644" y="connsiteY25644"/>
                </a:cxn>
                <a:cxn ang="0">
                  <a:pos x="connsiteX25645" y="connsiteY25645"/>
                </a:cxn>
                <a:cxn ang="0">
                  <a:pos x="connsiteX25646" y="connsiteY25646"/>
                </a:cxn>
                <a:cxn ang="0">
                  <a:pos x="connsiteX25647" y="connsiteY25647"/>
                </a:cxn>
                <a:cxn ang="0">
                  <a:pos x="connsiteX25648" y="connsiteY25648"/>
                </a:cxn>
                <a:cxn ang="0">
                  <a:pos x="connsiteX25649" y="connsiteY25649"/>
                </a:cxn>
                <a:cxn ang="0">
                  <a:pos x="connsiteX25650" y="connsiteY25650"/>
                </a:cxn>
                <a:cxn ang="0">
                  <a:pos x="connsiteX25651" y="connsiteY25651"/>
                </a:cxn>
                <a:cxn ang="0">
                  <a:pos x="connsiteX25652" y="connsiteY25652"/>
                </a:cxn>
                <a:cxn ang="0">
                  <a:pos x="connsiteX25653" y="connsiteY25653"/>
                </a:cxn>
                <a:cxn ang="0">
                  <a:pos x="connsiteX25654" y="connsiteY25654"/>
                </a:cxn>
                <a:cxn ang="0">
                  <a:pos x="connsiteX25655" y="connsiteY25655"/>
                </a:cxn>
                <a:cxn ang="0">
                  <a:pos x="connsiteX25656" y="connsiteY25656"/>
                </a:cxn>
                <a:cxn ang="0">
                  <a:pos x="connsiteX25657" y="connsiteY25657"/>
                </a:cxn>
                <a:cxn ang="0">
                  <a:pos x="connsiteX25658" y="connsiteY25658"/>
                </a:cxn>
                <a:cxn ang="0">
                  <a:pos x="connsiteX25659" y="connsiteY25659"/>
                </a:cxn>
                <a:cxn ang="0">
                  <a:pos x="connsiteX25660" y="connsiteY25660"/>
                </a:cxn>
                <a:cxn ang="0">
                  <a:pos x="connsiteX25661" y="connsiteY25661"/>
                </a:cxn>
                <a:cxn ang="0">
                  <a:pos x="connsiteX25662" y="connsiteY25662"/>
                </a:cxn>
                <a:cxn ang="0">
                  <a:pos x="connsiteX25663" y="connsiteY25663"/>
                </a:cxn>
                <a:cxn ang="0">
                  <a:pos x="connsiteX25664" y="connsiteY25664"/>
                </a:cxn>
                <a:cxn ang="0">
                  <a:pos x="connsiteX25665" y="connsiteY25665"/>
                </a:cxn>
                <a:cxn ang="0">
                  <a:pos x="connsiteX25666" y="connsiteY25666"/>
                </a:cxn>
                <a:cxn ang="0">
                  <a:pos x="connsiteX25667" y="connsiteY25667"/>
                </a:cxn>
                <a:cxn ang="0">
                  <a:pos x="connsiteX25668" y="connsiteY25668"/>
                </a:cxn>
                <a:cxn ang="0">
                  <a:pos x="connsiteX25669" y="connsiteY25669"/>
                </a:cxn>
                <a:cxn ang="0">
                  <a:pos x="connsiteX25670" y="connsiteY25670"/>
                </a:cxn>
                <a:cxn ang="0">
                  <a:pos x="connsiteX25671" y="connsiteY25671"/>
                </a:cxn>
                <a:cxn ang="0">
                  <a:pos x="connsiteX25672" y="connsiteY25672"/>
                </a:cxn>
                <a:cxn ang="0">
                  <a:pos x="connsiteX25673" y="connsiteY25673"/>
                </a:cxn>
                <a:cxn ang="0">
                  <a:pos x="connsiteX25674" y="connsiteY25674"/>
                </a:cxn>
                <a:cxn ang="0">
                  <a:pos x="connsiteX25675" y="connsiteY25675"/>
                </a:cxn>
                <a:cxn ang="0">
                  <a:pos x="connsiteX25676" y="connsiteY25676"/>
                </a:cxn>
                <a:cxn ang="0">
                  <a:pos x="connsiteX25677" y="connsiteY25677"/>
                </a:cxn>
                <a:cxn ang="0">
                  <a:pos x="connsiteX25678" y="connsiteY25678"/>
                </a:cxn>
                <a:cxn ang="0">
                  <a:pos x="connsiteX25679" y="connsiteY25679"/>
                </a:cxn>
                <a:cxn ang="0">
                  <a:pos x="connsiteX25680" y="connsiteY25680"/>
                </a:cxn>
                <a:cxn ang="0">
                  <a:pos x="connsiteX25681" y="connsiteY25681"/>
                </a:cxn>
                <a:cxn ang="0">
                  <a:pos x="connsiteX25682" y="connsiteY25682"/>
                </a:cxn>
                <a:cxn ang="0">
                  <a:pos x="connsiteX25683" y="connsiteY25683"/>
                </a:cxn>
                <a:cxn ang="0">
                  <a:pos x="connsiteX25684" y="connsiteY25684"/>
                </a:cxn>
                <a:cxn ang="0">
                  <a:pos x="connsiteX25685" y="connsiteY25685"/>
                </a:cxn>
                <a:cxn ang="0">
                  <a:pos x="connsiteX25686" y="connsiteY25686"/>
                </a:cxn>
                <a:cxn ang="0">
                  <a:pos x="connsiteX25687" y="connsiteY25687"/>
                </a:cxn>
                <a:cxn ang="0">
                  <a:pos x="connsiteX25688" y="connsiteY25688"/>
                </a:cxn>
                <a:cxn ang="0">
                  <a:pos x="connsiteX25689" y="connsiteY25689"/>
                </a:cxn>
                <a:cxn ang="0">
                  <a:pos x="connsiteX25690" y="connsiteY25690"/>
                </a:cxn>
                <a:cxn ang="0">
                  <a:pos x="connsiteX25691" y="connsiteY25691"/>
                </a:cxn>
                <a:cxn ang="0">
                  <a:pos x="connsiteX25692" y="connsiteY25692"/>
                </a:cxn>
                <a:cxn ang="0">
                  <a:pos x="connsiteX25693" y="connsiteY25693"/>
                </a:cxn>
                <a:cxn ang="0">
                  <a:pos x="connsiteX25694" y="connsiteY25694"/>
                </a:cxn>
                <a:cxn ang="0">
                  <a:pos x="connsiteX25695" y="connsiteY25695"/>
                </a:cxn>
                <a:cxn ang="0">
                  <a:pos x="connsiteX25696" y="connsiteY25696"/>
                </a:cxn>
                <a:cxn ang="0">
                  <a:pos x="connsiteX25697" y="connsiteY25697"/>
                </a:cxn>
                <a:cxn ang="0">
                  <a:pos x="connsiteX25698" y="connsiteY25698"/>
                </a:cxn>
                <a:cxn ang="0">
                  <a:pos x="connsiteX25699" y="connsiteY25699"/>
                </a:cxn>
                <a:cxn ang="0">
                  <a:pos x="connsiteX25700" y="connsiteY25700"/>
                </a:cxn>
                <a:cxn ang="0">
                  <a:pos x="connsiteX25701" y="connsiteY25701"/>
                </a:cxn>
                <a:cxn ang="0">
                  <a:pos x="connsiteX25702" y="connsiteY25702"/>
                </a:cxn>
                <a:cxn ang="0">
                  <a:pos x="connsiteX25703" y="connsiteY25703"/>
                </a:cxn>
                <a:cxn ang="0">
                  <a:pos x="connsiteX25704" y="connsiteY25704"/>
                </a:cxn>
                <a:cxn ang="0">
                  <a:pos x="connsiteX25705" y="connsiteY25705"/>
                </a:cxn>
                <a:cxn ang="0">
                  <a:pos x="connsiteX25706" y="connsiteY25706"/>
                </a:cxn>
                <a:cxn ang="0">
                  <a:pos x="connsiteX25707" y="connsiteY25707"/>
                </a:cxn>
                <a:cxn ang="0">
                  <a:pos x="connsiteX25708" y="connsiteY25708"/>
                </a:cxn>
                <a:cxn ang="0">
                  <a:pos x="connsiteX25709" y="connsiteY25709"/>
                </a:cxn>
                <a:cxn ang="0">
                  <a:pos x="connsiteX25710" y="connsiteY25710"/>
                </a:cxn>
                <a:cxn ang="0">
                  <a:pos x="connsiteX25711" y="connsiteY25711"/>
                </a:cxn>
                <a:cxn ang="0">
                  <a:pos x="connsiteX25712" y="connsiteY25712"/>
                </a:cxn>
                <a:cxn ang="0">
                  <a:pos x="connsiteX25713" y="connsiteY25713"/>
                </a:cxn>
                <a:cxn ang="0">
                  <a:pos x="connsiteX25714" y="connsiteY25714"/>
                </a:cxn>
                <a:cxn ang="0">
                  <a:pos x="connsiteX25715" y="connsiteY25715"/>
                </a:cxn>
                <a:cxn ang="0">
                  <a:pos x="connsiteX25716" y="connsiteY25716"/>
                </a:cxn>
                <a:cxn ang="0">
                  <a:pos x="connsiteX25717" y="connsiteY25717"/>
                </a:cxn>
                <a:cxn ang="0">
                  <a:pos x="connsiteX25718" y="connsiteY25718"/>
                </a:cxn>
                <a:cxn ang="0">
                  <a:pos x="connsiteX25719" y="connsiteY25719"/>
                </a:cxn>
                <a:cxn ang="0">
                  <a:pos x="connsiteX25720" y="connsiteY25720"/>
                </a:cxn>
                <a:cxn ang="0">
                  <a:pos x="connsiteX25721" y="connsiteY25721"/>
                </a:cxn>
                <a:cxn ang="0">
                  <a:pos x="connsiteX25722" y="connsiteY25722"/>
                </a:cxn>
                <a:cxn ang="0">
                  <a:pos x="connsiteX25723" y="connsiteY25723"/>
                </a:cxn>
                <a:cxn ang="0">
                  <a:pos x="connsiteX25724" y="connsiteY25724"/>
                </a:cxn>
                <a:cxn ang="0">
                  <a:pos x="connsiteX25725" y="connsiteY25725"/>
                </a:cxn>
                <a:cxn ang="0">
                  <a:pos x="connsiteX25726" y="connsiteY25726"/>
                </a:cxn>
                <a:cxn ang="0">
                  <a:pos x="connsiteX25727" y="connsiteY25727"/>
                </a:cxn>
                <a:cxn ang="0">
                  <a:pos x="connsiteX25728" y="connsiteY25728"/>
                </a:cxn>
                <a:cxn ang="0">
                  <a:pos x="connsiteX25729" y="connsiteY25729"/>
                </a:cxn>
                <a:cxn ang="0">
                  <a:pos x="connsiteX25730" y="connsiteY25730"/>
                </a:cxn>
                <a:cxn ang="0">
                  <a:pos x="connsiteX25731" y="connsiteY25731"/>
                </a:cxn>
                <a:cxn ang="0">
                  <a:pos x="connsiteX25732" y="connsiteY25732"/>
                </a:cxn>
                <a:cxn ang="0">
                  <a:pos x="connsiteX25733" y="connsiteY25733"/>
                </a:cxn>
                <a:cxn ang="0">
                  <a:pos x="connsiteX25734" y="connsiteY25734"/>
                </a:cxn>
                <a:cxn ang="0">
                  <a:pos x="connsiteX25735" y="connsiteY25735"/>
                </a:cxn>
                <a:cxn ang="0">
                  <a:pos x="connsiteX25736" y="connsiteY25736"/>
                </a:cxn>
                <a:cxn ang="0">
                  <a:pos x="connsiteX25737" y="connsiteY25737"/>
                </a:cxn>
                <a:cxn ang="0">
                  <a:pos x="connsiteX25738" y="connsiteY25738"/>
                </a:cxn>
                <a:cxn ang="0">
                  <a:pos x="connsiteX25739" y="connsiteY25739"/>
                </a:cxn>
                <a:cxn ang="0">
                  <a:pos x="connsiteX25740" y="connsiteY25740"/>
                </a:cxn>
                <a:cxn ang="0">
                  <a:pos x="connsiteX25741" y="connsiteY25741"/>
                </a:cxn>
                <a:cxn ang="0">
                  <a:pos x="connsiteX25742" y="connsiteY25742"/>
                </a:cxn>
                <a:cxn ang="0">
                  <a:pos x="connsiteX25743" y="connsiteY25743"/>
                </a:cxn>
                <a:cxn ang="0">
                  <a:pos x="connsiteX25744" y="connsiteY25744"/>
                </a:cxn>
                <a:cxn ang="0">
                  <a:pos x="connsiteX25745" y="connsiteY25745"/>
                </a:cxn>
                <a:cxn ang="0">
                  <a:pos x="connsiteX25746" y="connsiteY25746"/>
                </a:cxn>
                <a:cxn ang="0">
                  <a:pos x="connsiteX25747" y="connsiteY25747"/>
                </a:cxn>
                <a:cxn ang="0">
                  <a:pos x="connsiteX25748" y="connsiteY25748"/>
                </a:cxn>
                <a:cxn ang="0">
                  <a:pos x="connsiteX25749" y="connsiteY25749"/>
                </a:cxn>
                <a:cxn ang="0">
                  <a:pos x="connsiteX25750" y="connsiteY25750"/>
                </a:cxn>
                <a:cxn ang="0">
                  <a:pos x="connsiteX25751" y="connsiteY25751"/>
                </a:cxn>
                <a:cxn ang="0">
                  <a:pos x="connsiteX25752" y="connsiteY25752"/>
                </a:cxn>
                <a:cxn ang="0">
                  <a:pos x="connsiteX25753" y="connsiteY25753"/>
                </a:cxn>
                <a:cxn ang="0">
                  <a:pos x="connsiteX25754" y="connsiteY25754"/>
                </a:cxn>
                <a:cxn ang="0">
                  <a:pos x="connsiteX25755" y="connsiteY25755"/>
                </a:cxn>
                <a:cxn ang="0">
                  <a:pos x="connsiteX25756" y="connsiteY25756"/>
                </a:cxn>
                <a:cxn ang="0">
                  <a:pos x="connsiteX25757" y="connsiteY25757"/>
                </a:cxn>
                <a:cxn ang="0">
                  <a:pos x="connsiteX25758" y="connsiteY25758"/>
                </a:cxn>
                <a:cxn ang="0">
                  <a:pos x="connsiteX25759" y="connsiteY25759"/>
                </a:cxn>
                <a:cxn ang="0">
                  <a:pos x="connsiteX25760" y="connsiteY25760"/>
                </a:cxn>
                <a:cxn ang="0">
                  <a:pos x="connsiteX25761" y="connsiteY25761"/>
                </a:cxn>
                <a:cxn ang="0">
                  <a:pos x="connsiteX25762" y="connsiteY25762"/>
                </a:cxn>
                <a:cxn ang="0">
                  <a:pos x="connsiteX25763" y="connsiteY25763"/>
                </a:cxn>
                <a:cxn ang="0">
                  <a:pos x="connsiteX25764" y="connsiteY25764"/>
                </a:cxn>
                <a:cxn ang="0">
                  <a:pos x="connsiteX25765" y="connsiteY25765"/>
                </a:cxn>
                <a:cxn ang="0">
                  <a:pos x="connsiteX25766" y="connsiteY25766"/>
                </a:cxn>
                <a:cxn ang="0">
                  <a:pos x="connsiteX25767" y="connsiteY25767"/>
                </a:cxn>
                <a:cxn ang="0">
                  <a:pos x="connsiteX25768" y="connsiteY25768"/>
                </a:cxn>
                <a:cxn ang="0">
                  <a:pos x="connsiteX25769" y="connsiteY25769"/>
                </a:cxn>
                <a:cxn ang="0">
                  <a:pos x="connsiteX25770" y="connsiteY25770"/>
                </a:cxn>
                <a:cxn ang="0">
                  <a:pos x="connsiteX25771" y="connsiteY25771"/>
                </a:cxn>
                <a:cxn ang="0">
                  <a:pos x="connsiteX25772" y="connsiteY25772"/>
                </a:cxn>
                <a:cxn ang="0">
                  <a:pos x="connsiteX25773" y="connsiteY25773"/>
                </a:cxn>
                <a:cxn ang="0">
                  <a:pos x="connsiteX25774" y="connsiteY25774"/>
                </a:cxn>
                <a:cxn ang="0">
                  <a:pos x="connsiteX25775" y="connsiteY25775"/>
                </a:cxn>
                <a:cxn ang="0">
                  <a:pos x="connsiteX25776" y="connsiteY25776"/>
                </a:cxn>
                <a:cxn ang="0">
                  <a:pos x="connsiteX25777" y="connsiteY25777"/>
                </a:cxn>
                <a:cxn ang="0">
                  <a:pos x="connsiteX25778" y="connsiteY25778"/>
                </a:cxn>
                <a:cxn ang="0">
                  <a:pos x="connsiteX25779" y="connsiteY25779"/>
                </a:cxn>
                <a:cxn ang="0">
                  <a:pos x="connsiteX25780" y="connsiteY25780"/>
                </a:cxn>
                <a:cxn ang="0">
                  <a:pos x="connsiteX25781" y="connsiteY25781"/>
                </a:cxn>
                <a:cxn ang="0">
                  <a:pos x="connsiteX25782" y="connsiteY25782"/>
                </a:cxn>
                <a:cxn ang="0">
                  <a:pos x="connsiteX25783" y="connsiteY25783"/>
                </a:cxn>
                <a:cxn ang="0">
                  <a:pos x="connsiteX25784" y="connsiteY25784"/>
                </a:cxn>
                <a:cxn ang="0">
                  <a:pos x="connsiteX25785" y="connsiteY25785"/>
                </a:cxn>
                <a:cxn ang="0">
                  <a:pos x="connsiteX25786" y="connsiteY25786"/>
                </a:cxn>
                <a:cxn ang="0">
                  <a:pos x="connsiteX25787" y="connsiteY25787"/>
                </a:cxn>
                <a:cxn ang="0">
                  <a:pos x="connsiteX25788" y="connsiteY25788"/>
                </a:cxn>
                <a:cxn ang="0">
                  <a:pos x="connsiteX25789" y="connsiteY25789"/>
                </a:cxn>
                <a:cxn ang="0">
                  <a:pos x="connsiteX25790" y="connsiteY25790"/>
                </a:cxn>
                <a:cxn ang="0">
                  <a:pos x="connsiteX25791" y="connsiteY25791"/>
                </a:cxn>
                <a:cxn ang="0">
                  <a:pos x="connsiteX25792" y="connsiteY25792"/>
                </a:cxn>
                <a:cxn ang="0">
                  <a:pos x="connsiteX25793" y="connsiteY25793"/>
                </a:cxn>
                <a:cxn ang="0">
                  <a:pos x="connsiteX25794" y="connsiteY25794"/>
                </a:cxn>
                <a:cxn ang="0">
                  <a:pos x="connsiteX25795" y="connsiteY25795"/>
                </a:cxn>
                <a:cxn ang="0">
                  <a:pos x="connsiteX25796" y="connsiteY25796"/>
                </a:cxn>
                <a:cxn ang="0">
                  <a:pos x="connsiteX25797" y="connsiteY25797"/>
                </a:cxn>
                <a:cxn ang="0">
                  <a:pos x="connsiteX25798" y="connsiteY25798"/>
                </a:cxn>
                <a:cxn ang="0">
                  <a:pos x="connsiteX25799" y="connsiteY25799"/>
                </a:cxn>
                <a:cxn ang="0">
                  <a:pos x="connsiteX25800" y="connsiteY25800"/>
                </a:cxn>
                <a:cxn ang="0">
                  <a:pos x="connsiteX25801" y="connsiteY25801"/>
                </a:cxn>
                <a:cxn ang="0">
                  <a:pos x="connsiteX25802" y="connsiteY25802"/>
                </a:cxn>
                <a:cxn ang="0">
                  <a:pos x="connsiteX25803" y="connsiteY25803"/>
                </a:cxn>
                <a:cxn ang="0">
                  <a:pos x="connsiteX25804" y="connsiteY25804"/>
                </a:cxn>
                <a:cxn ang="0">
                  <a:pos x="connsiteX25805" y="connsiteY25805"/>
                </a:cxn>
                <a:cxn ang="0">
                  <a:pos x="connsiteX25806" y="connsiteY25806"/>
                </a:cxn>
                <a:cxn ang="0">
                  <a:pos x="connsiteX25807" y="connsiteY25807"/>
                </a:cxn>
                <a:cxn ang="0">
                  <a:pos x="connsiteX25808" y="connsiteY25808"/>
                </a:cxn>
                <a:cxn ang="0">
                  <a:pos x="connsiteX25809" y="connsiteY25809"/>
                </a:cxn>
                <a:cxn ang="0">
                  <a:pos x="connsiteX25810" y="connsiteY25810"/>
                </a:cxn>
                <a:cxn ang="0">
                  <a:pos x="connsiteX25811" y="connsiteY25811"/>
                </a:cxn>
                <a:cxn ang="0">
                  <a:pos x="connsiteX25812" y="connsiteY25812"/>
                </a:cxn>
                <a:cxn ang="0">
                  <a:pos x="connsiteX25813" y="connsiteY25813"/>
                </a:cxn>
                <a:cxn ang="0">
                  <a:pos x="connsiteX25814" y="connsiteY25814"/>
                </a:cxn>
                <a:cxn ang="0">
                  <a:pos x="connsiteX25815" y="connsiteY25815"/>
                </a:cxn>
                <a:cxn ang="0">
                  <a:pos x="connsiteX25816" y="connsiteY25816"/>
                </a:cxn>
                <a:cxn ang="0">
                  <a:pos x="connsiteX25817" y="connsiteY25817"/>
                </a:cxn>
                <a:cxn ang="0">
                  <a:pos x="connsiteX25818" y="connsiteY25818"/>
                </a:cxn>
                <a:cxn ang="0">
                  <a:pos x="connsiteX25819" y="connsiteY25819"/>
                </a:cxn>
                <a:cxn ang="0">
                  <a:pos x="connsiteX25820" y="connsiteY25820"/>
                </a:cxn>
                <a:cxn ang="0">
                  <a:pos x="connsiteX25821" y="connsiteY25821"/>
                </a:cxn>
                <a:cxn ang="0">
                  <a:pos x="connsiteX25822" y="connsiteY25822"/>
                </a:cxn>
                <a:cxn ang="0">
                  <a:pos x="connsiteX25823" y="connsiteY25823"/>
                </a:cxn>
                <a:cxn ang="0">
                  <a:pos x="connsiteX25824" y="connsiteY25824"/>
                </a:cxn>
                <a:cxn ang="0">
                  <a:pos x="connsiteX25825" y="connsiteY25825"/>
                </a:cxn>
                <a:cxn ang="0">
                  <a:pos x="connsiteX25826" y="connsiteY25826"/>
                </a:cxn>
                <a:cxn ang="0">
                  <a:pos x="connsiteX25827" y="connsiteY25827"/>
                </a:cxn>
                <a:cxn ang="0">
                  <a:pos x="connsiteX25828" y="connsiteY25828"/>
                </a:cxn>
                <a:cxn ang="0">
                  <a:pos x="connsiteX25829" y="connsiteY25829"/>
                </a:cxn>
                <a:cxn ang="0">
                  <a:pos x="connsiteX25830" y="connsiteY25830"/>
                </a:cxn>
                <a:cxn ang="0">
                  <a:pos x="connsiteX25831" y="connsiteY25831"/>
                </a:cxn>
                <a:cxn ang="0">
                  <a:pos x="connsiteX25832" y="connsiteY25832"/>
                </a:cxn>
                <a:cxn ang="0">
                  <a:pos x="connsiteX25833" y="connsiteY25833"/>
                </a:cxn>
                <a:cxn ang="0">
                  <a:pos x="connsiteX25834" y="connsiteY25834"/>
                </a:cxn>
                <a:cxn ang="0">
                  <a:pos x="connsiteX25835" y="connsiteY25835"/>
                </a:cxn>
                <a:cxn ang="0">
                  <a:pos x="connsiteX25836" y="connsiteY25836"/>
                </a:cxn>
                <a:cxn ang="0">
                  <a:pos x="connsiteX25837" y="connsiteY25837"/>
                </a:cxn>
                <a:cxn ang="0">
                  <a:pos x="connsiteX25838" y="connsiteY25838"/>
                </a:cxn>
                <a:cxn ang="0">
                  <a:pos x="connsiteX25839" y="connsiteY25839"/>
                </a:cxn>
                <a:cxn ang="0">
                  <a:pos x="connsiteX25840" y="connsiteY25840"/>
                </a:cxn>
                <a:cxn ang="0">
                  <a:pos x="connsiteX25841" y="connsiteY25841"/>
                </a:cxn>
                <a:cxn ang="0">
                  <a:pos x="connsiteX25842" y="connsiteY25842"/>
                </a:cxn>
                <a:cxn ang="0">
                  <a:pos x="connsiteX25843" y="connsiteY25843"/>
                </a:cxn>
                <a:cxn ang="0">
                  <a:pos x="connsiteX25844" y="connsiteY25844"/>
                </a:cxn>
                <a:cxn ang="0">
                  <a:pos x="connsiteX25845" y="connsiteY25845"/>
                </a:cxn>
                <a:cxn ang="0">
                  <a:pos x="connsiteX25846" y="connsiteY25846"/>
                </a:cxn>
                <a:cxn ang="0">
                  <a:pos x="connsiteX25847" y="connsiteY25847"/>
                </a:cxn>
                <a:cxn ang="0">
                  <a:pos x="connsiteX25848" y="connsiteY25848"/>
                </a:cxn>
                <a:cxn ang="0">
                  <a:pos x="connsiteX25849" y="connsiteY25849"/>
                </a:cxn>
                <a:cxn ang="0">
                  <a:pos x="connsiteX25850" y="connsiteY25850"/>
                </a:cxn>
                <a:cxn ang="0">
                  <a:pos x="connsiteX25851" y="connsiteY25851"/>
                </a:cxn>
                <a:cxn ang="0">
                  <a:pos x="connsiteX25852" y="connsiteY25852"/>
                </a:cxn>
                <a:cxn ang="0">
                  <a:pos x="connsiteX25853" y="connsiteY25853"/>
                </a:cxn>
                <a:cxn ang="0">
                  <a:pos x="connsiteX25854" y="connsiteY25854"/>
                </a:cxn>
                <a:cxn ang="0">
                  <a:pos x="connsiteX25855" y="connsiteY25855"/>
                </a:cxn>
                <a:cxn ang="0">
                  <a:pos x="connsiteX25856" y="connsiteY25856"/>
                </a:cxn>
                <a:cxn ang="0">
                  <a:pos x="connsiteX25857" y="connsiteY25857"/>
                </a:cxn>
                <a:cxn ang="0">
                  <a:pos x="connsiteX25858" y="connsiteY25858"/>
                </a:cxn>
                <a:cxn ang="0">
                  <a:pos x="connsiteX25859" y="connsiteY25859"/>
                </a:cxn>
                <a:cxn ang="0">
                  <a:pos x="connsiteX25860" y="connsiteY25860"/>
                </a:cxn>
                <a:cxn ang="0">
                  <a:pos x="connsiteX25861" y="connsiteY25861"/>
                </a:cxn>
                <a:cxn ang="0">
                  <a:pos x="connsiteX25862" y="connsiteY25862"/>
                </a:cxn>
                <a:cxn ang="0">
                  <a:pos x="connsiteX25863" y="connsiteY25863"/>
                </a:cxn>
                <a:cxn ang="0">
                  <a:pos x="connsiteX25864" y="connsiteY25864"/>
                </a:cxn>
                <a:cxn ang="0">
                  <a:pos x="connsiteX25865" y="connsiteY25865"/>
                </a:cxn>
                <a:cxn ang="0">
                  <a:pos x="connsiteX25866" y="connsiteY25866"/>
                </a:cxn>
                <a:cxn ang="0">
                  <a:pos x="connsiteX25867" y="connsiteY25867"/>
                </a:cxn>
                <a:cxn ang="0">
                  <a:pos x="connsiteX25868" y="connsiteY25868"/>
                </a:cxn>
                <a:cxn ang="0">
                  <a:pos x="connsiteX25869" y="connsiteY25869"/>
                </a:cxn>
                <a:cxn ang="0">
                  <a:pos x="connsiteX25870" y="connsiteY25870"/>
                </a:cxn>
                <a:cxn ang="0">
                  <a:pos x="connsiteX25871" y="connsiteY25871"/>
                </a:cxn>
                <a:cxn ang="0">
                  <a:pos x="connsiteX25872" y="connsiteY25872"/>
                </a:cxn>
                <a:cxn ang="0">
                  <a:pos x="connsiteX25873" y="connsiteY25873"/>
                </a:cxn>
                <a:cxn ang="0">
                  <a:pos x="connsiteX25874" y="connsiteY25874"/>
                </a:cxn>
                <a:cxn ang="0">
                  <a:pos x="connsiteX25875" y="connsiteY25875"/>
                </a:cxn>
                <a:cxn ang="0">
                  <a:pos x="connsiteX25876" y="connsiteY25876"/>
                </a:cxn>
                <a:cxn ang="0">
                  <a:pos x="connsiteX25877" y="connsiteY25877"/>
                </a:cxn>
                <a:cxn ang="0">
                  <a:pos x="connsiteX25878" y="connsiteY25878"/>
                </a:cxn>
                <a:cxn ang="0">
                  <a:pos x="connsiteX25879" y="connsiteY25879"/>
                </a:cxn>
                <a:cxn ang="0">
                  <a:pos x="connsiteX25880" y="connsiteY25880"/>
                </a:cxn>
                <a:cxn ang="0">
                  <a:pos x="connsiteX25881" y="connsiteY25881"/>
                </a:cxn>
                <a:cxn ang="0">
                  <a:pos x="connsiteX25882" y="connsiteY25882"/>
                </a:cxn>
                <a:cxn ang="0">
                  <a:pos x="connsiteX25883" y="connsiteY25883"/>
                </a:cxn>
                <a:cxn ang="0">
                  <a:pos x="connsiteX25884" y="connsiteY25884"/>
                </a:cxn>
                <a:cxn ang="0">
                  <a:pos x="connsiteX25885" y="connsiteY25885"/>
                </a:cxn>
                <a:cxn ang="0">
                  <a:pos x="connsiteX25886" y="connsiteY25886"/>
                </a:cxn>
                <a:cxn ang="0">
                  <a:pos x="connsiteX25887" y="connsiteY25887"/>
                </a:cxn>
                <a:cxn ang="0">
                  <a:pos x="connsiteX25888" y="connsiteY25888"/>
                </a:cxn>
                <a:cxn ang="0">
                  <a:pos x="connsiteX25889" y="connsiteY25889"/>
                </a:cxn>
                <a:cxn ang="0">
                  <a:pos x="connsiteX25890" y="connsiteY25890"/>
                </a:cxn>
                <a:cxn ang="0">
                  <a:pos x="connsiteX25891" y="connsiteY25891"/>
                </a:cxn>
                <a:cxn ang="0">
                  <a:pos x="connsiteX25892" y="connsiteY25892"/>
                </a:cxn>
                <a:cxn ang="0">
                  <a:pos x="connsiteX25893" y="connsiteY25893"/>
                </a:cxn>
                <a:cxn ang="0">
                  <a:pos x="connsiteX25894" y="connsiteY25894"/>
                </a:cxn>
                <a:cxn ang="0">
                  <a:pos x="connsiteX25895" y="connsiteY25895"/>
                </a:cxn>
                <a:cxn ang="0">
                  <a:pos x="connsiteX25896" y="connsiteY25896"/>
                </a:cxn>
                <a:cxn ang="0">
                  <a:pos x="connsiteX25897" y="connsiteY25897"/>
                </a:cxn>
                <a:cxn ang="0">
                  <a:pos x="connsiteX25898" y="connsiteY25898"/>
                </a:cxn>
                <a:cxn ang="0">
                  <a:pos x="connsiteX25899" y="connsiteY25899"/>
                </a:cxn>
                <a:cxn ang="0">
                  <a:pos x="connsiteX25900" y="connsiteY25900"/>
                </a:cxn>
                <a:cxn ang="0">
                  <a:pos x="connsiteX25901" y="connsiteY25901"/>
                </a:cxn>
                <a:cxn ang="0">
                  <a:pos x="connsiteX25902" y="connsiteY25902"/>
                </a:cxn>
                <a:cxn ang="0">
                  <a:pos x="connsiteX25903" y="connsiteY25903"/>
                </a:cxn>
                <a:cxn ang="0">
                  <a:pos x="connsiteX25904" y="connsiteY25904"/>
                </a:cxn>
                <a:cxn ang="0">
                  <a:pos x="connsiteX25905" y="connsiteY25905"/>
                </a:cxn>
                <a:cxn ang="0">
                  <a:pos x="connsiteX25906" y="connsiteY25906"/>
                </a:cxn>
                <a:cxn ang="0">
                  <a:pos x="connsiteX25907" y="connsiteY25907"/>
                </a:cxn>
                <a:cxn ang="0">
                  <a:pos x="connsiteX25908" y="connsiteY25908"/>
                </a:cxn>
                <a:cxn ang="0">
                  <a:pos x="connsiteX25909" y="connsiteY25909"/>
                </a:cxn>
                <a:cxn ang="0">
                  <a:pos x="connsiteX25910" y="connsiteY25910"/>
                </a:cxn>
                <a:cxn ang="0">
                  <a:pos x="connsiteX25911" y="connsiteY25911"/>
                </a:cxn>
                <a:cxn ang="0">
                  <a:pos x="connsiteX25912" y="connsiteY25912"/>
                </a:cxn>
                <a:cxn ang="0">
                  <a:pos x="connsiteX25913" y="connsiteY25913"/>
                </a:cxn>
                <a:cxn ang="0">
                  <a:pos x="connsiteX25914" y="connsiteY25914"/>
                </a:cxn>
                <a:cxn ang="0">
                  <a:pos x="connsiteX25915" y="connsiteY25915"/>
                </a:cxn>
                <a:cxn ang="0">
                  <a:pos x="connsiteX25916" y="connsiteY25916"/>
                </a:cxn>
                <a:cxn ang="0">
                  <a:pos x="connsiteX25917" y="connsiteY25917"/>
                </a:cxn>
                <a:cxn ang="0">
                  <a:pos x="connsiteX25918" y="connsiteY25918"/>
                </a:cxn>
                <a:cxn ang="0">
                  <a:pos x="connsiteX25919" y="connsiteY25919"/>
                </a:cxn>
                <a:cxn ang="0">
                  <a:pos x="connsiteX25920" y="connsiteY25920"/>
                </a:cxn>
                <a:cxn ang="0">
                  <a:pos x="connsiteX25921" y="connsiteY25921"/>
                </a:cxn>
                <a:cxn ang="0">
                  <a:pos x="connsiteX25922" y="connsiteY25922"/>
                </a:cxn>
                <a:cxn ang="0">
                  <a:pos x="connsiteX25923" y="connsiteY25923"/>
                </a:cxn>
                <a:cxn ang="0">
                  <a:pos x="connsiteX25924" y="connsiteY25924"/>
                </a:cxn>
                <a:cxn ang="0">
                  <a:pos x="connsiteX25925" y="connsiteY25925"/>
                </a:cxn>
                <a:cxn ang="0">
                  <a:pos x="connsiteX25926" y="connsiteY25926"/>
                </a:cxn>
                <a:cxn ang="0">
                  <a:pos x="connsiteX25927" y="connsiteY25927"/>
                </a:cxn>
                <a:cxn ang="0">
                  <a:pos x="connsiteX25928" y="connsiteY25928"/>
                </a:cxn>
                <a:cxn ang="0">
                  <a:pos x="connsiteX25929" y="connsiteY25929"/>
                </a:cxn>
                <a:cxn ang="0">
                  <a:pos x="connsiteX25930" y="connsiteY25930"/>
                </a:cxn>
                <a:cxn ang="0">
                  <a:pos x="connsiteX25931" y="connsiteY25931"/>
                </a:cxn>
                <a:cxn ang="0">
                  <a:pos x="connsiteX25932" y="connsiteY25932"/>
                </a:cxn>
                <a:cxn ang="0">
                  <a:pos x="connsiteX25933" y="connsiteY25933"/>
                </a:cxn>
                <a:cxn ang="0">
                  <a:pos x="connsiteX25934" y="connsiteY25934"/>
                </a:cxn>
                <a:cxn ang="0">
                  <a:pos x="connsiteX25935" y="connsiteY25935"/>
                </a:cxn>
                <a:cxn ang="0">
                  <a:pos x="connsiteX25936" y="connsiteY25936"/>
                </a:cxn>
                <a:cxn ang="0">
                  <a:pos x="connsiteX25937" y="connsiteY25937"/>
                </a:cxn>
                <a:cxn ang="0">
                  <a:pos x="connsiteX25938" y="connsiteY25938"/>
                </a:cxn>
                <a:cxn ang="0">
                  <a:pos x="connsiteX25939" y="connsiteY25939"/>
                </a:cxn>
                <a:cxn ang="0">
                  <a:pos x="connsiteX25940" y="connsiteY25940"/>
                </a:cxn>
                <a:cxn ang="0">
                  <a:pos x="connsiteX25941" y="connsiteY25941"/>
                </a:cxn>
                <a:cxn ang="0">
                  <a:pos x="connsiteX25942" y="connsiteY25942"/>
                </a:cxn>
                <a:cxn ang="0">
                  <a:pos x="connsiteX25943" y="connsiteY25943"/>
                </a:cxn>
                <a:cxn ang="0">
                  <a:pos x="connsiteX25944" y="connsiteY25944"/>
                </a:cxn>
                <a:cxn ang="0">
                  <a:pos x="connsiteX25945" y="connsiteY25945"/>
                </a:cxn>
                <a:cxn ang="0">
                  <a:pos x="connsiteX25946" y="connsiteY25946"/>
                </a:cxn>
                <a:cxn ang="0">
                  <a:pos x="connsiteX25947" y="connsiteY25947"/>
                </a:cxn>
                <a:cxn ang="0">
                  <a:pos x="connsiteX25948" y="connsiteY25948"/>
                </a:cxn>
                <a:cxn ang="0">
                  <a:pos x="connsiteX25949" y="connsiteY25949"/>
                </a:cxn>
                <a:cxn ang="0">
                  <a:pos x="connsiteX25950" y="connsiteY25950"/>
                </a:cxn>
                <a:cxn ang="0">
                  <a:pos x="connsiteX25951" y="connsiteY25951"/>
                </a:cxn>
                <a:cxn ang="0">
                  <a:pos x="connsiteX25952" y="connsiteY25952"/>
                </a:cxn>
                <a:cxn ang="0">
                  <a:pos x="connsiteX25953" y="connsiteY25953"/>
                </a:cxn>
                <a:cxn ang="0">
                  <a:pos x="connsiteX25954" y="connsiteY25954"/>
                </a:cxn>
                <a:cxn ang="0">
                  <a:pos x="connsiteX25955" y="connsiteY25955"/>
                </a:cxn>
                <a:cxn ang="0">
                  <a:pos x="connsiteX25956" y="connsiteY25956"/>
                </a:cxn>
                <a:cxn ang="0">
                  <a:pos x="connsiteX25957" y="connsiteY25957"/>
                </a:cxn>
                <a:cxn ang="0">
                  <a:pos x="connsiteX25958" y="connsiteY25958"/>
                </a:cxn>
                <a:cxn ang="0">
                  <a:pos x="connsiteX25959" y="connsiteY25959"/>
                </a:cxn>
                <a:cxn ang="0">
                  <a:pos x="connsiteX25960" y="connsiteY25960"/>
                </a:cxn>
                <a:cxn ang="0">
                  <a:pos x="connsiteX25961" y="connsiteY25961"/>
                </a:cxn>
                <a:cxn ang="0">
                  <a:pos x="connsiteX25962" y="connsiteY25962"/>
                </a:cxn>
                <a:cxn ang="0">
                  <a:pos x="connsiteX25963" y="connsiteY25963"/>
                </a:cxn>
                <a:cxn ang="0">
                  <a:pos x="connsiteX25964" y="connsiteY25964"/>
                </a:cxn>
                <a:cxn ang="0">
                  <a:pos x="connsiteX25965" y="connsiteY25965"/>
                </a:cxn>
                <a:cxn ang="0">
                  <a:pos x="connsiteX25966" y="connsiteY25966"/>
                </a:cxn>
                <a:cxn ang="0">
                  <a:pos x="connsiteX25967" y="connsiteY25967"/>
                </a:cxn>
                <a:cxn ang="0">
                  <a:pos x="connsiteX25968" y="connsiteY25968"/>
                </a:cxn>
                <a:cxn ang="0">
                  <a:pos x="connsiteX25969" y="connsiteY25969"/>
                </a:cxn>
                <a:cxn ang="0">
                  <a:pos x="connsiteX25970" y="connsiteY25970"/>
                </a:cxn>
                <a:cxn ang="0">
                  <a:pos x="connsiteX25971" y="connsiteY25971"/>
                </a:cxn>
                <a:cxn ang="0">
                  <a:pos x="connsiteX25972" y="connsiteY25972"/>
                </a:cxn>
                <a:cxn ang="0">
                  <a:pos x="connsiteX25973" y="connsiteY25973"/>
                </a:cxn>
                <a:cxn ang="0">
                  <a:pos x="connsiteX25974" y="connsiteY25974"/>
                </a:cxn>
                <a:cxn ang="0">
                  <a:pos x="connsiteX25975" y="connsiteY25975"/>
                </a:cxn>
                <a:cxn ang="0">
                  <a:pos x="connsiteX25976" y="connsiteY25976"/>
                </a:cxn>
                <a:cxn ang="0">
                  <a:pos x="connsiteX25977" y="connsiteY25977"/>
                </a:cxn>
                <a:cxn ang="0">
                  <a:pos x="connsiteX25978" y="connsiteY25978"/>
                </a:cxn>
                <a:cxn ang="0">
                  <a:pos x="connsiteX25979" y="connsiteY25979"/>
                </a:cxn>
                <a:cxn ang="0">
                  <a:pos x="connsiteX25980" y="connsiteY25980"/>
                </a:cxn>
                <a:cxn ang="0">
                  <a:pos x="connsiteX25981" y="connsiteY25981"/>
                </a:cxn>
                <a:cxn ang="0">
                  <a:pos x="connsiteX25982" y="connsiteY25982"/>
                </a:cxn>
                <a:cxn ang="0">
                  <a:pos x="connsiteX25983" y="connsiteY25983"/>
                </a:cxn>
                <a:cxn ang="0">
                  <a:pos x="connsiteX25984" y="connsiteY25984"/>
                </a:cxn>
                <a:cxn ang="0">
                  <a:pos x="connsiteX25985" y="connsiteY25985"/>
                </a:cxn>
                <a:cxn ang="0">
                  <a:pos x="connsiteX25986" y="connsiteY25986"/>
                </a:cxn>
                <a:cxn ang="0">
                  <a:pos x="connsiteX25987" y="connsiteY25987"/>
                </a:cxn>
                <a:cxn ang="0">
                  <a:pos x="connsiteX25988" y="connsiteY25988"/>
                </a:cxn>
                <a:cxn ang="0">
                  <a:pos x="connsiteX25989" y="connsiteY25989"/>
                </a:cxn>
                <a:cxn ang="0">
                  <a:pos x="connsiteX25990" y="connsiteY25990"/>
                </a:cxn>
                <a:cxn ang="0">
                  <a:pos x="connsiteX25991" y="connsiteY25991"/>
                </a:cxn>
                <a:cxn ang="0">
                  <a:pos x="connsiteX25992" y="connsiteY25992"/>
                </a:cxn>
                <a:cxn ang="0">
                  <a:pos x="connsiteX25993" y="connsiteY25993"/>
                </a:cxn>
                <a:cxn ang="0">
                  <a:pos x="connsiteX25994" y="connsiteY25994"/>
                </a:cxn>
                <a:cxn ang="0">
                  <a:pos x="connsiteX25995" y="connsiteY25995"/>
                </a:cxn>
                <a:cxn ang="0">
                  <a:pos x="connsiteX25996" y="connsiteY25996"/>
                </a:cxn>
                <a:cxn ang="0">
                  <a:pos x="connsiteX25997" y="connsiteY25997"/>
                </a:cxn>
                <a:cxn ang="0">
                  <a:pos x="connsiteX25998" y="connsiteY25998"/>
                </a:cxn>
                <a:cxn ang="0">
                  <a:pos x="connsiteX25999" y="connsiteY25999"/>
                </a:cxn>
                <a:cxn ang="0">
                  <a:pos x="connsiteX26000" y="connsiteY26000"/>
                </a:cxn>
                <a:cxn ang="0">
                  <a:pos x="connsiteX26001" y="connsiteY26001"/>
                </a:cxn>
                <a:cxn ang="0">
                  <a:pos x="connsiteX26002" y="connsiteY26002"/>
                </a:cxn>
                <a:cxn ang="0">
                  <a:pos x="connsiteX26003" y="connsiteY26003"/>
                </a:cxn>
                <a:cxn ang="0">
                  <a:pos x="connsiteX26004" y="connsiteY26004"/>
                </a:cxn>
                <a:cxn ang="0">
                  <a:pos x="connsiteX26005" y="connsiteY26005"/>
                </a:cxn>
                <a:cxn ang="0">
                  <a:pos x="connsiteX26006" y="connsiteY26006"/>
                </a:cxn>
                <a:cxn ang="0">
                  <a:pos x="connsiteX26007" y="connsiteY26007"/>
                </a:cxn>
                <a:cxn ang="0">
                  <a:pos x="connsiteX26008" y="connsiteY26008"/>
                </a:cxn>
                <a:cxn ang="0">
                  <a:pos x="connsiteX26009" y="connsiteY26009"/>
                </a:cxn>
                <a:cxn ang="0">
                  <a:pos x="connsiteX26010" y="connsiteY26010"/>
                </a:cxn>
                <a:cxn ang="0">
                  <a:pos x="connsiteX26011" y="connsiteY26011"/>
                </a:cxn>
                <a:cxn ang="0">
                  <a:pos x="connsiteX26012" y="connsiteY26012"/>
                </a:cxn>
                <a:cxn ang="0">
                  <a:pos x="connsiteX26013" y="connsiteY26013"/>
                </a:cxn>
                <a:cxn ang="0">
                  <a:pos x="connsiteX26014" y="connsiteY26014"/>
                </a:cxn>
                <a:cxn ang="0">
                  <a:pos x="connsiteX26015" y="connsiteY26015"/>
                </a:cxn>
                <a:cxn ang="0">
                  <a:pos x="connsiteX26016" y="connsiteY26016"/>
                </a:cxn>
                <a:cxn ang="0">
                  <a:pos x="connsiteX26017" y="connsiteY26017"/>
                </a:cxn>
                <a:cxn ang="0">
                  <a:pos x="connsiteX26018" y="connsiteY26018"/>
                </a:cxn>
                <a:cxn ang="0">
                  <a:pos x="connsiteX26019" y="connsiteY26019"/>
                </a:cxn>
                <a:cxn ang="0">
                  <a:pos x="connsiteX26020" y="connsiteY26020"/>
                </a:cxn>
                <a:cxn ang="0">
                  <a:pos x="connsiteX26021" y="connsiteY26021"/>
                </a:cxn>
                <a:cxn ang="0">
                  <a:pos x="connsiteX26022" y="connsiteY26022"/>
                </a:cxn>
                <a:cxn ang="0">
                  <a:pos x="connsiteX26023" y="connsiteY26023"/>
                </a:cxn>
                <a:cxn ang="0">
                  <a:pos x="connsiteX26024" y="connsiteY26024"/>
                </a:cxn>
                <a:cxn ang="0">
                  <a:pos x="connsiteX26025" y="connsiteY26025"/>
                </a:cxn>
                <a:cxn ang="0">
                  <a:pos x="connsiteX26026" y="connsiteY26026"/>
                </a:cxn>
                <a:cxn ang="0">
                  <a:pos x="connsiteX26027" y="connsiteY26027"/>
                </a:cxn>
                <a:cxn ang="0">
                  <a:pos x="connsiteX26028" y="connsiteY26028"/>
                </a:cxn>
                <a:cxn ang="0">
                  <a:pos x="connsiteX26029" y="connsiteY26029"/>
                </a:cxn>
                <a:cxn ang="0">
                  <a:pos x="connsiteX26030" y="connsiteY26030"/>
                </a:cxn>
                <a:cxn ang="0">
                  <a:pos x="connsiteX26031" y="connsiteY26031"/>
                </a:cxn>
                <a:cxn ang="0">
                  <a:pos x="connsiteX26032" y="connsiteY26032"/>
                </a:cxn>
                <a:cxn ang="0">
                  <a:pos x="connsiteX26033" y="connsiteY26033"/>
                </a:cxn>
                <a:cxn ang="0">
                  <a:pos x="connsiteX26034" y="connsiteY26034"/>
                </a:cxn>
                <a:cxn ang="0">
                  <a:pos x="connsiteX26035" y="connsiteY26035"/>
                </a:cxn>
                <a:cxn ang="0">
                  <a:pos x="connsiteX26036" y="connsiteY26036"/>
                </a:cxn>
                <a:cxn ang="0">
                  <a:pos x="connsiteX26037" y="connsiteY26037"/>
                </a:cxn>
                <a:cxn ang="0">
                  <a:pos x="connsiteX26038" y="connsiteY26038"/>
                </a:cxn>
                <a:cxn ang="0">
                  <a:pos x="connsiteX26039" y="connsiteY26039"/>
                </a:cxn>
                <a:cxn ang="0">
                  <a:pos x="connsiteX26040" y="connsiteY26040"/>
                </a:cxn>
                <a:cxn ang="0">
                  <a:pos x="connsiteX26041" y="connsiteY26041"/>
                </a:cxn>
                <a:cxn ang="0">
                  <a:pos x="connsiteX26042" y="connsiteY26042"/>
                </a:cxn>
                <a:cxn ang="0">
                  <a:pos x="connsiteX26043" y="connsiteY26043"/>
                </a:cxn>
                <a:cxn ang="0">
                  <a:pos x="connsiteX26044" y="connsiteY26044"/>
                </a:cxn>
                <a:cxn ang="0">
                  <a:pos x="connsiteX26045" y="connsiteY26045"/>
                </a:cxn>
                <a:cxn ang="0">
                  <a:pos x="connsiteX26046" y="connsiteY26046"/>
                </a:cxn>
                <a:cxn ang="0">
                  <a:pos x="connsiteX26047" y="connsiteY26047"/>
                </a:cxn>
                <a:cxn ang="0">
                  <a:pos x="connsiteX26048" y="connsiteY26048"/>
                </a:cxn>
                <a:cxn ang="0">
                  <a:pos x="connsiteX26049" y="connsiteY26049"/>
                </a:cxn>
                <a:cxn ang="0">
                  <a:pos x="connsiteX26050" y="connsiteY26050"/>
                </a:cxn>
                <a:cxn ang="0">
                  <a:pos x="connsiteX26051" y="connsiteY26051"/>
                </a:cxn>
                <a:cxn ang="0">
                  <a:pos x="connsiteX26052" y="connsiteY26052"/>
                </a:cxn>
                <a:cxn ang="0">
                  <a:pos x="connsiteX26053" y="connsiteY26053"/>
                </a:cxn>
                <a:cxn ang="0">
                  <a:pos x="connsiteX26054" y="connsiteY26054"/>
                </a:cxn>
                <a:cxn ang="0">
                  <a:pos x="connsiteX26055" y="connsiteY26055"/>
                </a:cxn>
                <a:cxn ang="0">
                  <a:pos x="connsiteX26056" y="connsiteY26056"/>
                </a:cxn>
                <a:cxn ang="0">
                  <a:pos x="connsiteX26057" y="connsiteY26057"/>
                </a:cxn>
                <a:cxn ang="0">
                  <a:pos x="connsiteX26058" y="connsiteY26058"/>
                </a:cxn>
                <a:cxn ang="0">
                  <a:pos x="connsiteX26059" y="connsiteY26059"/>
                </a:cxn>
                <a:cxn ang="0">
                  <a:pos x="connsiteX26060" y="connsiteY26060"/>
                </a:cxn>
                <a:cxn ang="0">
                  <a:pos x="connsiteX26061" y="connsiteY26061"/>
                </a:cxn>
                <a:cxn ang="0">
                  <a:pos x="connsiteX26062" y="connsiteY26062"/>
                </a:cxn>
                <a:cxn ang="0">
                  <a:pos x="connsiteX26063" y="connsiteY26063"/>
                </a:cxn>
                <a:cxn ang="0">
                  <a:pos x="connsiteX26064" y="connsiteY26064"/>
                </a:cxn>
                <a:cxn ang="0">
                  <a:pos x="connsiteX26065" y="connsiteY26065"/>
                </a:cxn>
                <a:cxn ang="0">
                  <a:pos x="connsiteX26066" y="connsiteY26066"/>
                </a:cxn>
                <a:cxn ang="0">
                  <a:pos x="connsiteX26067" y="connsiteY26067"/>
                </a:cxn>
                <a:cxn ang="0">
                  <a:pos x="connsiteX26068" y="connsiteY26068"/>
                </a:cxn>
                <a:cxn ang="0">
                  <a:pos x="connsiteX26069" y="connsiteY26069"/>
                </a:cxn>
                <a:cxn ang="0">
                  <a:pos x="connsiteX26070" y="connsiteY26070"/>
                </a:cxn>
                <a:cxn ang="0">
                  <a:pos x="connsiteX26071" y="connsiteY26071"/>
                </a:cxn>
                <a:cxn ang="0">
                  <a:pos x="connsiteX26072" y="connsiteY26072"/>
                </a:cxn>
                <a:cxn ang="0">
                  <a:pos x="connsiteX26073" y="connsiteY26073"/>
                </a:cxn>
                <a:cxn ang="0">
                  <a:pos x="connsiteX26074" y="connsiteY26074"/>
                </a:cxn>
                <a:cxn ang="0">
                  <a:pos x="connsiteX26075" y="connsiteY26075"/>
                </a:cxn>
                <a:cxn ang="0">
                  <a:pos x="connsiteX26076" y="connsiteY26076"/>
                </a:cxn>
                <a:cxn ang="0">
                  <a:pos x="connsiteX26077" y="connsiteY26077"/>
                </a:cxn>
                <a:cxn ang="0">
                  <a:pos x="connsiteX26078" y="connsiteY26078"/>
                </a:cxn>
                <a:cxn ang="0">
                  <a:pos x="connsiteX26079" y="connsiteY26079"/>
                </a:cxn>
                <a:cxn ang="0">
                  <a:pos x="connsiteX26080" y="connsiteY26080"/>
                </a:cxn>
                <a:cxn ang="0">
                  <a:pos x="connsiteX26081" y="connsiteY26081"/>
                </a:cxn>
                <a:cxn ang="0">
                  <a:pos x="connsiteX26082" y="connsiteY26082"/>
                </a:cxn>
                <a:cxn ang="0">
                  <a:pos x="connsiteX26083" y="connsiteY26083"/>
                </a:cxn>
                <a:cxn ang="0">
                  <a:pos x="connsiteX26084" y="connsiteY26084"/>
                </a:cxn>
                <a:cxn ang="0">
                  <a:pos x="connsiteX26085" y="connsiteY26085"/>
                </a:cxn>
                <a:cxn ang="0">
                  <a:pos x="connsiteX26086" y="connsiteY26086"/>
                </a:cxn>
                <a:cxn ang="0">
                  <a:pos x="connsiteX26087" y="connsiteY26087"/>
                </a:cxn>
                <a:cxn ang="0">
                  <a:pos x="connsiteX26088" y="connsiteY26088"/>
                </a:cxn>
                <a:cxn ang="0">
                  <a:pos x="connsiteX26089" y="connsiteY26089"/>
                </a:cxn>
                <a:cxn ang="0">
                  <a:pos x="connsiteX26090" y="connsiteY26090"/>
                </a:cxn>
                <a:cxn ang="0">
                  <a:pos x="connsiteX26091" y="connsiteY26091"/>
                </a:cxn>
                <a:cxn ang="0">
                  <a:pos x="connsiteX26092" y="connsiteY26092"/>
                </a:cxn>
                <a:cxn ang="0">
                  <a:pos x="connsiteX26093" y="connsiteY26093"/>
                </a:cxn>
                <a:cxn ang="0">
                  <a:pos x="connsiteX26094" y="connsiteY26094"/>
                </a:cxn>
                <a:cxn ang="0">
                  <a:pos x="connsiteX26095" y="connsiteY26095"/>
                </a:cxn>
                <a:cxn ang="0">
                  <a:pos x="connsiteX26096" y="connsiteY26096"/>
                </a:cxn>
                <a:cxn ang="0">
                  <a:pos x="connsiteX26097" y="connsiteY26097"/>
                </a:cxn>
                <a:cxn ang="0">
                  <a:pos x="connsiteX26098" y="connsiteY26098"/>
                </a:cxn>
                <a:cxn ang="0">
                  <a:pos x="connsiteX26099" y="connsiteY26099"/>
                </a:cxn>
                <a:cxn ang="0">
                  <a:pos x="connsiteX26100" y="connsiteY26100"/>
                </a:cxn>
                <a:cxn ang="0">
                  <a:pos x="connsiteX26101" y="connsiteY26101"/>
                </a:cxn>
                <a:cxn ang="0">
                  <a:pos x="connsiteX26102" y="connsiteY26102"/>
                </a:cxn>
                <a:cxn ang="0">
                  <a:pos x="connsiteX26103" y="connsiteY26103"/>
                </a:cxn>
                <a:cxn ang="0">
                  <a:pos x="connsiteX26104" y="connsiteY26104"/>
                </a:cxn>
                <a:cxn ang="0">
                  <a:pos x="connsiteX26105" y="connsiteY26105"/>
                </a:cxn>
                <a:cxn ang="0">
                  <a:pos x="connsiteX26106" y="connsiteY26106"/>
                </a:cxn>
                <a:cxn ang="0">
                  <a:pos x="connsiteX26107" y="connsiteY26107"/>
                </a:cxn>
                <a:cxn ang="0">
                  <a:pos x="connsiteX26108" y="connsiteY26108"/>
                </a:cxn>
                <a:cxn ang="0">
                  <a:pos x="connsiteX26109" y="connsiteY26109"/>
                </a:cxn>
                <a:cxn ang="0">
                  <a:pos x="connsiteX26110" y="connsiteY26110"/>
                </a:cxn>
                <a:cxn ang="0">
                  <a:pos x="connsiteX26111" y="connsiteY26111"/>
                </a:cxn>
                <a:cxn ang="0">
                  <a:pos x="connsiteX26112" y="connsiteY26112"/>
                </a:cxn>
                <a:cxn ang="0">
                  <a:pos x="connsiteX26113" y="connsiteY26113"/>
                </a:cxn>
                <a:cxn ang="0">
                  <a:pos x="connsiteX26114" y="connsiteY26114"/>
                </a:cxn>
                <a:cxn ang="0">
                  <a:pos x="connsiteX26115" y="connsiteY26115"/>
                </a:cxn>
                <a:cxn ang="0">
                  <a:pos x="connsiteX26116" y="connsiteY26116"/>
                </a:cxn>
                <a:cxn ang="0">
                  <a:pos x="connsiteX26117" y="connsiteY26117"/>
                </a:cxn>
                <a:cxn ang="0">
                  <a:pos x="connsiteX26118" y="connsiteY26118"/>
                </a:cxn>
                <a:cxn ang="0">
                  <a:pos x="connsiteX26119" y="connsiteY26119"/>
                </a:cxn>
                <a:cxn ang="0">
                  <a:pos x="connsiteX26120" y="connsiteY26120"/>
                </a:cxn>
                <a:cxn ang="0">
                  <a:pos x="connsiteX26121" y="connsiteY26121"/>
                </a:cxn>
                <a:cxn ang="0">
                  <a:pos x="connsiteX26122" y="connsiteY26122"/>
                </a:cxn>
                <a:cxn ang="0">
                  <a:pos x="connsiteX26123" y="connsiteY26123"/>
                </a:cxn>
                <a:cxn ang="0">
                  <a:pos x="connsiteX26124" y="connsiteY26124"/>
                </a:cxn>
                <a:cxn ang="0">
                  <a:pos x="connsiteX26125" y="connsiteY26125"/>
                </a:cxn>
                <a:cxn ang="0">
                  <a:pos x="connsiteX26126" y="connsiteY26126"/>
                </a:cxn>
                <a:cxn ang="0">
                  <a:pos x="connsiteX26127" y="connsiteY26127"/>
                </a:cxn>
                <a:cxn ang="0">
                  <a:pos x="connsiteX26128" y="connsiteY26128"/>
                </a:cxn>
                <a:cxn ang="0">
                  <a:pos x="connsiteX26129" y="connsiteY26129"/>
                </a:cxn>
                <a:cxn ang="0">
                  <a:pos x="connsiteX26130" y="connsiteY26130"/>
                </a:cxn>
                <a:cxn ang="0">
                  <a:pos x="connsiteX26131" y="connsiteY26131"/>
                </a:cxn>
                <a:cxn ang="0">
                  <a:pos x="connsiteX26132" y="connsiteY26132"/>
                </a:cxn>
                <a:cxn ang="0">
                  <a:pos x="connsiteX26133" y="connsiteY26133"/>
                </a:cxn>
                <a:cxn ang="0">
                  <a:pos x="connsiteX26134" y="connsiteY26134"/>
                </a:cxn>
                <a:cxn ang="0">
                  <a:pos x="connsiteX26135" y="connsiteY26135"/>
                </a:cxn>
                <a:cxn ang="0">
                  <a:pos x="connsiteX26136" y="connsiteY26136"/>
                </a:cxn>
                <a:cxn ang="0">
                  <a:pos x="connsiteX26137" y="connsiteY26137"/>
                </a:cxn>
                <a:cxn ang="0">
                  <a:pos x="connsiteX26138" y="connsiteY26138"/>
                </a:cxn>
                <a:cxn ang="0">
                  <a:pos x="connsiteX26139" y="connsiteY26139"/>
                </a:cxn>
                <a:cxn ang="0">
                  <a:pos x="connsiteX26140" y="connsiteY26140"/>
                </a:cxn>
                <a:cxn ang="0">
                  <a:pos x="connsiteX26141" y="connsiteY26141"/>
                </a:cxn>
                <a:cxn ang="0">
                  <a:pos x="connsiteX26142" y="connsiteY26142"/>
                </a:cxn>
                <a:cxn ang="0">
                  <a:pos x="connsiteX26143" y="connsiteY26143"/>
                </a:cxn>
                <a:cxn ang="0">
                  <a:pos x="connsiteX26144" y="connsiteY26144"/>
                </a:cxn>
                <a:cxn ang="0">
                  <a:pos x="connsiteX26145" y="connsiteY26145"/>
                </a:cxn>
                <a:cxn ang="0">
                  <a:pos x="connsiteX26146" y="connsiteY26146"/>
                </a:cxn>
                <a:cxn ang="0">
                  <a:pos x="connsiteX26147" y="connsiteY26147"/>
                </a:cxn>
                <a:cxn ang="0">
                  <a:pos x="connsiteX26148" y="connsiteY26148"/>
                </a:cxn>
                <a:cxn ang="0">
                  <a:pos x="connsiteX26149" y="connsiteY26149"/>
                </a:cxn>
                <a:cxn ang="0">
                  <a:pos x="connsiteX26150" y="connsiteY26150"/>
                </a:cxn>
                <a:cxn ang="0">
                  <a:pos x="connsiteX26151" y="connsiteY26151"/>
                </a:cxn>
                <a:cxn ang="0">
                  <a:pos x="connsiteX26152" y="connsiteY26152"/>
                </a:cxn>
                <a:cxn ang="0">
                  <a:pos x="connsiteX26153" y="connsiteY26153"/>
                </a:cxn>
                <a:cxn ang="0">
                  <a:pos x="connsiteX26154" y="connsiteY26154"/>
                </a:cxn>
                <a:cxn ang="0">
                  <a:pos x="connsiteX26155" y="connsiteY26155"/>
                </a:cxn>
                <a:cxn ang="0">
                  <a:pos x="connsiteX26156" y="connsiteY26156"/>
                </a:cxn>
                <a:cxn ang="0">
                  <a:pos x="connsiteX26157" y="connsiteY26157"/>
                </a:cxn>
                <a:cxn ang="0">
                  <a:pos x="connsiteX26158" y="connsiteY26158"/>
                </a:cxn>
                <a:cxn ang="0">
                  <a:pos x="connsiteX26159" y="connsiteY26159"/>
                </a:cxn>
                <a:cxn ang="0">
                  <a:pos x="connsiteX26160" y="connsiteY26160"/>
                </a:cxn>
                <a:cxn ang="0">
                  <a:pos x="connsiteX26161" y="connsiteY26161"/>
                </a:cxn>
                <a:cxn ang="0">
                  <a:pos x="connsiteX26162" y="connsiteY26162"/>
                </a:cxn>
                <a:cxn ang="0">
                  <a:pos x="connsiteX26163" y="connsiteY26163"/>
                </a:cxn>
                <a:cxn ang="0">
                  <a:pos x="connsiteX26164" y="connsiteY26164"/>
                </a:cxn>
                <a:cxn ang="0">
                  <a:pos x="connsiteX26165" y="connsiteY26165"/>
                </a:cxn>
                <a:cxn ang="0">
                  <a:pos x="connsiteX26166" y="connsiteY26166"/>
                </a:cxn>
                <a:cxn ang="0">
                  <a:pos x="connsiteX26167" y="connsiteY26167"/>
                </a:cxn>
                <a:cxn ang="0">
                  <a:pos x="connsiteX26168" y="connsiteY26168"/>
                </a:cxn>
                <a:cxn ang="0">
                  <a:pos x="connsiteX26169" y="connsiteY26169"/>
                </a:cxn>
                <a:cxn ang="0">
                  <a:pos x="connsiteX26170" y="connsiteY26170"/>
                </a:cxn>
                <a:cxn ang="0">
                  <a:pos x="connsiteX26171" y="connsiteY26171"/>
                </a:cxn>
                <a:cxn ang="0">
                  <a:pos x="connsiteX26172" y="connsiteY26172"/>
                </a:cxn>
                <a:cxn ang="0">
                  <a:pos x="connsiteX26173" y="connsiteY26173"/>
                </a:cxn>
                <a:cxn ang="0">
                  <a:pos x="connsiteX26174" y="connsiteY26174"/>
                </a:cxn>
                <a:cxn ang="0">
                  <a:pos x="connsiteX26175" y="connsiteY26175"/>
                </a:cxn>
                <a:cxn ang="0">
                  <a:pos x="connsiteX26176" y="connsiteY26176"/>
                </a:cxn>
                <a:cxn ang="0">
                  <a:pos x="connsiteX26177" y="connsiteY26177"/>
                </a:cxn>
                <a:cxn ang="0">
                  <a:pos x="connsiteX26178" y="connsiteY26178"/>
                </a:cxn>
                <a:cxn ang="0">
                  <a:pos x="connsiteX26179" y="connsiteY26179"/>
                </a:cxn>
                <a:cxn ang="0">
                  <a:pos x="connsiteX26180" y="connsiteY26180"/>
                </a:cxn>
                <a:cxn ang="0">
                  <a:pos x="connsiteX26181" y="connsiteY26181"/>
                </a:cxn>
                <a:cxn ang="0">
                  <a:pos x="connsiteX26182" y="connsiteY26182"/>
                </a:cxn>
                <a:cxn ang="0">
                  <a:pos x="connsiteX26183" y="connsiteY26183"/>
                </a:cxn>
                <a:cxn ang="0">
                  <a:pos x="connsiteX26184" y="connsiteY26184"/>
                </a:cxn>
                <a:cxn ang="0">
                  <a:pos x="connsiteX26185" y="connsiteY26185"/>
                </a:cxn>
                <a:cxn ang="0">
                  <a:pos x="connsiteX26186" y="connsiteY26186"/>
                </a:cxn>
                <a:cxn ang="0">
                  <a:pos x="connsiteX26187" y="connsiteY26187"/>
                </a:cxn>
                <a:cxn ang="0">
                  <a:pos x="connsiteX26188" y="connsiteY26188"/>
                </a:cxn>
                <a:cxn ang="0">
                  <a:pos x="connsiteX26189" y="connsiteY26189"/>
                </a:cxn>
                <a:cxn ang="0">
                  <a:pos x="connsiteX26190" y="connsiteY26190"/>
                </a:cxn>
                <a:cxn ang="0">
                  <a:pos x="connsiteX26191" y="connsiteY26191"/>
                </a:cxn>
                <a:cxn ang="0">
                  <a:pos x="connsiteX26192" y="connsiteY26192"/>
                </a:cxn>
                <a:cxn ang="0">
                  <a:pos x="connsiteX26193" y="connsiteY26193"/>
                </a:cxn>
                <a:cxn ang="0">
                  <a:pos x="connsiteX26194" y="connsiteY26194"/>
                </a:cxn>
                <a:cxn ang="0">
                  <a:pos x="connsiteX26195" y="connsiteY26195"/>
                </a:cxn>
                <a:cxn ang="0">
                  <a:pos x="connsiteX26196" y="connsiteY26196"/>
                </a:cxn>
                <a:cxn ang="0">
                  <a:pos x="connsiteX26197" y="connsiteY26197"/>
                </a:cxn>
                <a:cxn ang="0">
                  <a:pos x="connsiteX26198" y="connsiteY26198"/>
                </a:cxn>
                <a:cxn ang="0">
                  <a:pos x="connsiteX26199" y="connsiteY26199"/>
                </a:cxn>
                <a:cxn ang="0">
                  <a:pos x="connsiteX26200" y="connsiteY26200"/>
                </a:cxn>
                <a:cxn ang="0">
                  <a:pos x="connsiteX26201" y="connsiteY26201"/>
                </a:cxn>
                <a:cxn ang="0">
                  <a:pos x="connsiteX26202" y="connsiteY26202"/>
                </a:cxn>
                <a:cxn ang="0">
                  <a:pos x="connsiteX26203" y="connsiteY26203"/>
                </a:cxn>
                <a:cxn ang="0">
                  <a:pos x="connsiteX26204" y="connsiteY26204"/>
                </a:cxn>
                <a:cxn ang="0">
                  <a:pos x="connsiteX26205" y="connsiteY26205"/>
                </a:cxn>
                <a:cxn ang="0">
                  <a:pos x="connsiteX26206" y="connsiteY26206"/>
                </a:cxn>
                <a:cxn ang="0">
                  <a:pos x="connsiteX26207" y="connsiteY26207"/>
                </a:cxn>
                <a:cxn ang="0">
                  <a:pos x="connsiteX26208" y="connsiteY26208"/>
                </a:cxn>
                <a:cxn ang="0">
                  <a:pos x="connsiteX26209" y="connsiteY26209"/>
                </a:cxn>
                <a:cxn ang="0">
                  <a:pos x="connsiteX26210" y="connsiteY26210"/>
                </a:cxn>
                <a:cxn ang="0">
                  <a:pos x="connsiteX26211" y="connsiteY26211"/>
                </a:cxn>
                <a:cxn ang="0">
                  <a:pos x="connsiteX26212" y="connsiteY26212"/>
                </a:cxn>
                <a:cxn ang="0">
                  <a:pos x="connsiteX26213" y="connsiteY26213"/>
                </a:cxn>
                <a:cxn ang="0">
                  <a:pos x="connsiteX26214" y="connsiteY26214"/>
                </a:cxn>
                <a:cxn ang="0">
                  <a:pos x="connsiteX26215" y="connsiteY26215"/>
                </a:cxn>
                <a:cxn ang="0">
                  <a:pos x="connsiteX26216" y="connsiteY26216"/>
                </a:cxn>
                <a:cxn ang="0">
                  <a:pos x="connsiteX26217" y="connsiteY26217"/>
                </a:cxn>
                <a:cxn ang="0">
                  <a:pos x="connsiteX26218" y="connsiteY26218"/>
                </a:cxn>
                <a:cxn ang="0">
                  <a:pos x="connsiteX26219" y="connsiteY26219"/>
                </a:cxn>
                <a:cxn ang="0">
                  <a:pos x="connsiteX26220" y="connsiteY26220"/>
                </a:cxn>
                <a:cxn ang="0">
                  <a:pos x="connsiteX26221" y="connsiteY26221"/>
                </a:cxn>
                <a:cxn ang="0">
                  <a:pos x="connsiteX26222" y="connsiteY26222"/>
                </a:cxn>
                <a:cxn ang="0">
                  <a:pos x="connsiteX26223" y="connsiteY26223"/>
                </a:cxn>
                <a:cxn ang="0">
                  <a:pos x="connsiteX26224" y="connsiteY26224"/>
                </a:cxn>
                <a:cxn ang="0">
                  <a:pos x="connsiteX26225" y="connsiteY26225"/>
                </a:cxn>
                <a:cxn ang="0">
                  <a:pos x="connsiteX26226" y="connsiteY26226"/>
                </a:cxn>
                <a:cxn ang="0">
                  <a:pos x="connsiteX26227" y="connsiteY26227"/>
                </a:cxn>
                <a:cxn ang="0">
                  <a:pos x="connsiteX26228" y="connsiteY26228"/>
                </a:cxn>
                <a:cxn ang="0">
                  <a:pos x="connsiteX26229" y="connsiteY26229"/>
                </a:cxn>
                <a:cxn ang="0">
                  <a:pos x="connsiteX26230" y="connsiteY26230"/>
                </a:cxn>
                <a:cxn ang="0">
                  <a:pos x="connsiteX26231" y="connsiteY26231"/>
                </a:cxn>
                <a:cxn ang="0">
                  <a:pos x="connsiteX26232" y="connsiteY26232"/>
                </a:cxn>
                <a:cxn ang="0">
                  <a:pos x="connsiteX26233" y="connsiteY26233"/>
                </a:cxn>
                <a:cxn ang="0">
                  <a:pos x="connsiteX26234" y="connsiteY26234"/>
                </a:cxn>
                <a:cxn ang="0">
                  <a:pos x="connsiteX26235" y="connsiteY26235"/>
                </a:cxn>
                <a:cxn ang="0">
                  <a:pos x="connsiteX26236" y="connsiteY26236"/>
                </a:cxn>
                <a:cxn ang="0">
                  <a:pos x="connsiteX26237" y="connsiteY26237"/>
                </a:cxn>
                <a:cxn ang="0">
                  <a:pos x="connsiteX26238" y="connsiteY26238"/>
                </a:cxn>
                <a:cxn ang="0">
                  <a:pos x="connsiteX26239" y="connsiteY26239"/>
                </a:cxn>
                <a:cxn ang="0">
                  <a:pos x="connsiteX26240" y="connsiteY26240"/>
                </a:cxn>
                <a:cxn ang="0">
                  <a:pos x="connsiteX26241" y="connsiteY26241"/>
                </a:cxn>
                <a:cxn ang="0">
                  <a:pos x="connsiteX26242" y="connsiteY26242"/>
                </a:cxn>
                <a:cxn ang="0">
                  <a:pos x="connsiteX26243" y="connsiteY26243"/>
                </a:cxn>
                <a:cxn ang="0">
                  <a:pos x="connsiteX26244" y="connsiteY26244"/>
                </a:cxn>
                <a:cxn ang="0">
                  <a:pos x="connsiteX26245" y="connsiteY26245"/>
                </a:cxn>
                <a:cxn ang="0">
                  <a:pos x="connsiteX26246" y="connsiteY26246"/>
                </a:cxn>
                <a:cxn ang="0">
                  <a:pos x="connsiteX26247" y="connsiteY26247"/>
                </a:cxn>
                <a:cxn ang="0">
                  <a:pos x="connsiteX26248" y="connsiteY26248"/>
                </a:cxn>
                <a:cxn ang="0">
                  <a:pos x="connsiteX26249" y="connsiteY26249"/>
                </a:cxn>
                <a:cxn ang="0">
                  <a:pos x="connsiteX26250" y="connsiteY26250"/>
                </a:cxn>
                <a:cxn ang="0">
                  <a:pos x="connsiteX26251" y="connsiteY26251"/>
                </a:cxn>
                <a:cxn ang="0">
                  <a:pos x="connsiteX26252" y="connsiteY26252"/>
                </a:cxn>
                <a:cxn ang="0">
                  <a:pos x="connsiteX26253" y="connsiteY26253"/>
                </a:cxn>
                <a:cxn ang="0">
                  <a:pos x="connsiteX26254" y="connsiteY26254"/>
                </a:cxn>
                <a:cxn ang="0">
                  <a:pos x="connsiteX26255" y="connsiteY26255"/>
                </a:cxn>
                <a:cxn ang="0">
                  <a:pos x="connsiteX26256" y="connsiteY26256"/>
                </a:cxn>
                <a:cxn ang="0">
                  <a:pos x="connsiteX26257" y="connsiteY26257"/>
                </a:cxn>
                <a:cxn ang="0">
                  <a:pos x="connsiteX26258" y="connsiteY26258"/>
                </a:cxn>
                <a:cxn ang="0">
                  <a:pos x="connsiteX26259" y="connsiteY26259"/>
                </a:cxn>
                <a:cxn ang="0">
                  <a:pos x="connsiteX26260" y="connsiteY26260"/>
                </a:cxn>
                <a:cxn ang="0">
                  <a:pos x="connsiteX26261" y="connsiteY26261"/>
                </a:cxn>
                <a:cxn ang="0">
                  <a:pos x="connsiteX26262" y="connsiteY26262"/>
                </a:cxn>
                <a:cxn ang="0">
                  <a:pos x="connsiteX26263" y="connsiteY26263"/>
                </a:cxn>
                <a:cxn ang="0">
                  <a:pos x="connsiteX26264" y="connsiteY26264"/>
                </a:cxn>
                <a:cxn ang="0">
                  <a:pos x="connsiteX26265" y="connsiteY26265"/>
                </a:cxn>
                <a:cxn ang="0">
                  <a:pos x="connsiteX26266" y="connsiteY26266"/>
                </a:cxn>
                <a:cxn ang="0">
                  <a:pos x="connsiteX26267" y="connsiteY26267"/>
                </a:cxn>
                <a:cxn ang="0">
                  <a:pos x="connsiteX26268" y="connsiteY26268"/>
                </a:cxn>
                <a:cxn ang="0">
                  <a:pos x="connsiteX26269" y="connsiteY26269"/>
                </a:cxn>
                <a:cxn ang="0">
                  <a:pos x="connsiteX26270" y="connsiteY26270"/>
                </a:cxn>
                <a:cxn ang="0">
                  <a:pos x="connsiteX26271" y="connsiteY26271"/>
                </a:cxn>
                <a:cxn ang="0">
                  <a:pos x="connsiteX26272" y="connsiteY26272"/>
                </a:cxn>
                <a:cxn ang="0">
                  <a:pos x="connsiteX26273" y="connsiteY26273"/>
                </a:cxn>
                <a:cxn ang="0">
                  <a:pos x="connsiteX26274" y="connsiteY26274"/>
                </a:cxn>
                <a:cxn ang="0">
                  <a:pos x="connsiteX26275" y="connsiteY26275"/>
                </a:cxn>
                <a:cxn ang="0">
                  <a:pos x="connsiteX26276" y="connsiteY26276"/>
                </a:cxn>
                <a:cxn ang="0">
                  <a:pos x="connsiteX26277" y="connsiteY26277"/>
                </a:cxn>
                <a:cxn ang="0">
                  <a:pos x="connsiteX26278" y="connsiteY26278"/>
                </a:cxn>
                <a:cxn ang="0">
                  <a:pos x="connsiteX26279" y="connsiteY26279"/>
                </a:cxn>
                <a:cxn ang="0">
                  <a:pos x="connsiteX26280" y="connsiteY26280"/>
                </a:cxn>
                <a:cxn ang="0">
                  <a:pos x="connsiteX26281" y="connsiteY26281"/>
                </a:cxn>
                <a:cxn ang="0">
                  <a:pos x="connsiteX26282" y="connsiteY26282"/>
                </a:cxn>
                <a:cxn ang="0">
                  <a:pos x="connsiteX26283" y="connsiteY26283"/>
                </a:cxn>
                <a:cxn ang="0">
                  <a:pos x="connsiteX26284" y="connsiteY26284"/>
                </a:cxn>
                <a:cxn ang="0">
                  <a:pos x="connsiteX26285" y="connsiteY26285"/>
                </a:cxn>
                <a:cxn ang="0">
                  <a:pos x="connsiteX26286" y="connsiteY26286"/>
                </a:cxn>
                <a:cxn ang="0">
                  <a:pos x="connsiteX26287" y="connsiteY26287"/>
                </a:cxn>
                <a:cxn ang="0">
                  <a:pos x="connsiteX26288" y="connsiteY26288"/>
                </a:cxn>
                <a:cxn ang="0">
                  <a:pos x="connsiteX26289" y="connsiteY26289"/>
                </a:cxn>
                <a:cxn ang="0">
                  <a:pos x="connsiteX26290" y="connsiteY26290"/>
                </a:cxn>
                <a:cxn ang="0">
                  <a:pos x="connsiteX26291" y="connsiteY26291"/>
                </a:cxn>
                <a:cxn ang="0">
                  <a:pos x="connsiteX26292" y="connsiteY26292"/>
                </a:cxn>
                <a:cxn ang="0">
                  <a:pos x="connsiteX26293" y="connsiteY26293"/>
                </a:cxn>
                <a:cxn ang="0">
                  <a:pos x="connsiteX26294" y="connsiteY26294"/>
                </a:cxn>
                <a:cxn ang="0">
                  <a:pos x="connsiteX26295" y="connsiteY26295"/>
                </a:cxn>
                <a:cxn ang="0">
                  <a:pos x="connsiteX26296" y="connsiteY26296"/>
                </a:cxn>
                <a:cxn ang="0">
                  <a:pos x="connsiteX26297" y="connsiteY26297"/>
                </a:cxn>
                <a:cxn ang="0">
                  <a:pos x="connsiteX26298" y="connsiteY26298"/>
                </a:cxn>
                <a:cxn ang="0">
                  <a:pos x="connsiteX26299" y="connsiteY26299"/>
                </a:cxn>
                <a:cxn ang="0">
                  <a:pos x="connsiteX26300" y="connsiteY26300"/>
                </a:cxn>
                <a:cxn ang="0">
                  <a:pos x="connsiteX26301" y="connsiteY26301"/>
                </a:cxn>
                <a:cxn ang="0">
                  <a:pos x="connsiteX26302" y="connsiteY26302"/>
                </a:cxn>
                <a:cxn ang="0">
                  <a:pos x="connsiteX26303" y="connsiteY26303"/>
                </a:cxn>
                <a:cxn ang="0">
                  <a:pos x="connsiteX26304" y="connsiteY26304"/>
                </a:cxn>
                <a:cxn ang="0">
                  <a:pos x="connsiteX26305" y="connsiteY26305"/>
                </a:cxn>
                <a:cxn ang="0">
                  <a:pos x="connsiteX26306" y="connsiteY26306"/>
                </a:cxn>
                <a:cxn ang="0">
                  <a:pos x="connsiteX26307" y="connsiteY26307"/>
                </a:cxn>
                <a:cxn ang="0">
                  <a:pos x="connsiteX26308" y="connsiteY26308"/>
                </a:cxn>
                <a:cxn ang="0">
                  <a:pos x="connsiteX26309" y="connsiteY26309"/>
                </a:cxn>
                <a:cxn ang="0">
                  <a:pos x="connsiteX26310" y="connsiteY26310"/>
                </a:cxn>
                <a:cxn ang="0">
                  <a:pos x="connsiteX26311" y="connsiteY26311"/>
                </a:cxn>
                <a:cxn ang="0">
                  <a:pos x="connsiteX26312" y="connsiteY26312"/>
                </a:cxn>
                <a:cxn ang="0">
                  <a:pos x="connsiteX26313" y="connsiteY26313"/>
                </a:cxn>
                <a:cxn ang="0">
                  <a:pos x="connsiteX26314" y="connsiteY26314"/>
                </a:cxn>
                <a:cxn ang="0">
                  <a:pos x="connsiteX26315" y="connsiteY26315"/>
                </a:cxn>
                <a:cxn ang="0">
                  <a:pos x="connsiteX26316" y="connsiteY26316"/>
                </a:cxn>
                <a:cxn ang="0">
                  <a:pos x="connsiteX26317" y="connsiteY26317"/>
                </a:cxn>
                <a:cxn ang="0">
                  <a:pos x="connsiteX26318" y="connsiteY26318"/>
                </a:cxn>
                <a:cxn ang="0">
                  <a:pos x="connsiteX26319" y="connsiteY26319"/>
                </a:cxn>
                <a:cxn ang="0">
                  <a:pos x="connsiteX26320" y="connsiteY26320"/>
                </a:cxn>
                <a:cxn ang="0">
                  <a:pos x="connsiteX26321" y="connsiteY26321"/>
                </a:cxn>
                <a:cxn ang="0">
                  <a:pos x="connsiteX26322" y="connsiteY26322"/>
                </a:cxn>
                <a:cxn ang="0">
                  <a:pos x="connsiteX26323" y="connsiteY26323"/>
                </a:cxn>
                <a:cxn ang="0">
                  <a:pos x="connsiteX26324" y="connsiteY26324"/>
                </a:cxn>
                <a:cxn ang="0">
                  <a:pos x="connsiteX26325" y="connsiteY26325"/>
                </a:cxn>
                <a:cxn ang="0">
                  <a:pos x="connsiteX26326" y="connsiteY26326"/>
                </a:cxn>
                <a:cxn ang="0">
                  <a:pos x="connsiteX26327" y="connsiteY26327"/>
                </a:cxn>
                <a:cxn ang="0">
                  <a:pos x="connsiteX26328" y="connsiteY26328"/>
                </a:cxn>
                <a:cxn ang="0">
                  <a:pos x="connsiteX26329" y="connsiteY26329"/>
                </a:cxn>
                <a:cxn ang="0">
                  <a:pos x="connsiteX26330" y="connsiteY26330"/>
                </a:cxn>
                <a:cxn ang="0">
                  <a:pos x="connsiteX26331" y="connsiteY26331"/>
                </a:cxn>
                <a:cxn ang="0">
                  <a:pos x="connsiteX26332" y="connsiteY26332"/>
                </a:cxn>
                <a:cxn ang="0">
                  <a:pos x="connsiteX26333" y="connsiteY26333"/>
                </a:cxn>
                <a:cxn ang="0">
                  <a:pos x="connsiteX26334" y="connsiteY26334"/>
                </a:cxn>
                <a:cxn ang="0">
                  <a:pos x="connsiteX26335" y="connsiteY26335"/>
                </a:cxn>
                <a:cxn ang="0">
                  <a:pos x="connsiteX26336" y="connsiteY26336"/>
                </a:cxn>
                <a:cxn ang="0">
                  <a:pos x="connsiteX26337" y="connsiteY26337"/>
                </a:cxn>
                <a:cxn ang="0">
                  <a:pos x="connsiteX26338" y="connsiteY26338"/>
                </a:cxn>
                <a:cxn ang="0">
                  <a:pos x="connsiteX26339" y="connsiteY26339"/>
                </a:cxn>
                <a:cxn ang="0">
                  <a:pos x="connsiteX26340" y="connsiteY26340"/>
                </a:cxn>
                <a:cxn ang="0">
                  <a:pos x="connsiteX26341" y="connsiteY26341"/>
                </a:cxn>
                <a:cxn ang="0">
                  <a:pos x="connsiteX26342" y="connsiteY26342"/>
                </a:cxn>
                <a:cxn ang="0">
                  <a:pos x="connsiteX26343" y="connsiteY26343"/>
                </a:cxn>
                <a:cxn ang="0">
                  <a:pos x="connsiteX26344" y="connsiteY26344"/>
                </a:cxn>
                <a:cxn ang="0">
                  <a:pos x="connsiteX26345" y="connsiteY26345"/>
                </a:cxn>
                <a:cxn ang="0">
                  <a:pos x="connsiteX26346" y="connsiteY26346"/>
                </a:cxn>
                <a:cxn ang="0">
                  <a:pos x="connsiteX26347" y="connsiteY26347"/>
                </a:cxn>
                <a:cxn ang="0">
                  <a:pos x="connsiteX26348" y="connsiteY26348"/>
                </a:cxn>
                <a:cxn ang="0">
                  <a:pos x="connsiteX26349" y="connsiteY26349"/>
                </a:cxn>
                <a:cxn ang="0">
                  <a:pos x="connsiteX26350" y="connsiteY26350"/>
                </a:cxn>
                <a:cxn ang="0">
                  <a:pos x="connsiteX26351" y="connsiteY26351"/>
                </a:cxn>
                <a:cxn ang="0">
                  <a:pos x="connsiteX26352" y="connsiteY26352"/>
                </a:cxn>
                <a:cxn ang="0">
                  <a:pos x="connsiteX26353" y="connsiteY26353"/>
                </a:cxn>
                <a:cxn ang="0">
                  <a:pos x="connsiteX26354" y="connsiteY26354"/>
                </a:cxn>
                <a:cxn ang="0">
                  <a:pos x="connsiteX26355" y="connsiteY26355"/>
                </a:cxn>
                <a:cxn ang="0">
                  <a:pos x="connsiteX26356" y="connsiteY26356"/>
                </a:cxn>
                <a:cxn ang="0">
                  <a:pos x="connsiteX26357" y="connsiteY26357"/>
                </a:cxn>
                <a:cxn ang="0">
                  <a:pos x="connsiteX26358" y="connsiteY26358"/>
                </a:cxn>
                <a:cxn ang="0">
                  <a:pos x="connsiteX26359" y="connsiteY26359"/>
                </a:cxn>
                <a:cxn ang="0">
                  <a:pos x="connsiteX26360" y="connsiteY26360"/>
                </a:cxn>
                <a:cxn ang="0">
                  <a:pos x="connsiteX26361" y="connsiteY26361"/>
                </a:cxn>
                <a:cxn ang="0">
                  <a:pos x="connsiteX26362" y="connsiteY26362"/>
                </a:cxn>
                <a:cxn ang="0">
                  <a:pos x="connsiteX26363" y="connsiteY26363"/>
                </a:cxn>
                <a:cxn ang="0">
                  <a:pos x="connsiteX26364" y="connsiteY26364"/>
                </a:cxn>
                <a:cxn ang="0">
                  <a:pos x="connsiteX26365" y="connsiteY26365"/>
                </a:cxn>
                <a:cxn ang="0">
                  <a:pos x="connsiteX26366" y="connsiteY26366"/>
                </a:cxn>
                <a:cxn ang="0">
                  <a:pos x="connsiteX26367" y="connsiteY26367"/>
                </a:cxn>
                <a:cxn ang="0">
                  <a:pos x="connsiteX26368" y="connsiteY26368"/>
                </a:cxn>
                <a:cxn ang="0">
                  <a:pos x="connsiteX26369" y="connsiteY26369"/>
                </a:cxn>
                <a:cxn ang="0">
                  <a:pos x="connsiteX26370" y="connsiteY26370"/>
                </a:cxn>
                <a:cxn ang="0">
                  <a:pos x="connsiteX26371" y="connsiteY26371"/>
                </a:cxn>
                <a:cxn ang="0">
                  <a:pos x="connsiteX26372" y="connsiteY26372"/>
                </a:cxn>
                <a:cxn ang="0">
                  <a:pos x="connsiteX26373" y="connsiteY26373"/>
                </a:cxn>
                <a:cxn ang="0">
                  <a:pos x="connsiteX26374" y="connsiteY26374"/>
                </a:cxn>
                <a:cxn ang="0">
                  <a:pos x="connsiteX26375" y="connsiteY26375"/>
                </a:cxn>
                <a:cxn ang="0">
                  <a:pos x="connsiteX26376" y="connsiteY26376"/>
                </a:cxn>
                <a:cxn ang="0">
                  <a:pos x="connsiteX26377" y="connsiteY26377"/>
                </a:cxn>
                <a:cxn ang="0">
                  <a:pos x="connsiteX26378" y="connsiteY26378"/>
                </a:cxn>
                <a:cxn ang="0">
                  <a:pos x="connsiteX26379" y="connsiteY26379"/>
                </a:cxn>
                <a:cxn ang="0">
                  <a:pos x="connsiteX26380" y="connsiteY26380"/>
                </a:cxn>
                <a:cxn ang="0">
                  <a:pos x="connsiteX26381" y="connsiteY26381"/>
                </a:cxn>
                <a:cxn ang="0">
                  <a:pos x="connsiteX26382" y="connsiteY26382"/>
                </a:cxn>
                <a:cxn ang="0">
                  <a:pos x="connsiteX26383" y="connsiteY26383"/>
                </a:cxn>
                <a:cxn ang="0">
                  <a:pos x="connsiteX26384" y="connsiteY26384"/>
                </a:cxn>
                <a:cxn ang="0">
                  <a:pos x="connsiteX26385" y="connsiteY26385"/>
                </a:cxn>
                <a:cxn ang="0">
                  <a:pos x="connsiteX26386" y="connsiteY26386"/>
                </a:cxn>
                <a:cxn ang="0">
                  <a:pos x="connsiteX26387" y="connsiteY26387"/>
                </a:cxn>
                <a:cxn ang="0">
                  <a:pos x="connsiteX26388" y="connsiteY26388"/>
                </a:cxn>
                <a:cxn ang="0">
                  <a:pos x="connsiteX26389" y="connsiteY26389"/>
                </a:cxn>
                <a:cxn ang="0">
                  <a:pos x="connsiteX26390" y="connsiteY26390"/>
                </a:cxn>
                <a:cxn ang="0">
                  <a:pos x="connsiteX26391" y="connsiteY26391"/>
                </a:cxn>
                <a:cxn ang="0">
                  <a:pos x="connsiteX26392" y="connsiteY26392"/>
                </a:cxn>
                <a:cxn ang="0">
                  <a:pos x="connsiteX26393" y="connsiteY26393"/>
                </a:cxn>
                <a:cxn ang="0">
                  <a:pos x="connsiteX26394" y="connsiteY26394"/>
                </a:cxn>
                <a:cxn ang="0">
                  <a:pos x="connsiteX26395" y="connsiteY26395"/>
                </a:cxn>
                <a:cxn ang="0">
                  <a:pos x="connsiteX26396" y="connsiteY26396"/>
                </a:cxn>
                <a:cxn ang="0">
                  <a:pos x="connsiteX26397" y="connsiteY26397"/>
                </a:cxn>
                <a:cxn ang="0">
                  <a:pos x="connsiteX26398" y="connsiteY26398"/>
                </a:cxn>
                <a:cxn ang="0">
                  <a:pos x="connsiteX26399" y="connsiteY26399"/>
                </a:cxn>
                <a:cxn ang="0">
                  <a:pos x="connsiteX26400" y="connsiteY26400"/>
                </a:cxn>
                <a:cxn ang="0">
                  <a:pos x="connsiteX26401" y="connsiteY26401"/>
                </a:cxn>
                <a:cxn ang="0">
                  <a:pos x="connsiteX26402" y="connsiteY26402"/>
                </a:cxn>
                <a:cxn ang="0">
                  <a:pos x="connsiteX26403" y="connsiteY26403"/>
                </a:cxn>
                <a:cxn ang="0">
                  <a:pos x="connsiteX26404" y="connsiteY26404"/>
                </a:cxn>
                <a:cxn ang="0">
                  <a:pos x="connsiteX26405" y="connsiteY26405"/>
                </a:cxn>
                <a:cxn ang="0">
                  <a:pos x="connsiteX26406" y="connsiteY26406"/>
                </a:cxn>
                <a:cxn ang="0">
                  <a:pos x="connsiteX26407" y="connsiteY26407"/>
                </a:cxn>
                <a:cxn ang="0">
                  <a:pos x="connsiteX26408" y="connsiteY26408"/>
                </a:cxn>
                <a:cxn ang="0">
                  <a:pos x="connsiteX26409" y="connsiteY26409"/>
                </a:cxn>
                <a:cxn ang="0">
                  <a:pos x="connsiteX26410" y="connsiteY26410"/>
                </a:cxn>
                <a:cxn ang="0">
                  <a:pos x="connsiteX26411" y="connsiteY26411"/>
                </a:cxn>
                <a:cxn ang="0">
                  <a:pos x="connsiteX26412" y="connsiteY26412"/>
                </a:cxn>
                <a:cxn ang="0">
                  <a:pos x="connsiteX26413" y="connsiteY26413"/>
                </a:cxn>
                <a:cxn ang="0">
                  <a:pos x="connsiteX26414" y="connsiteY26414"/>
                </a:cxn>
                <a:cxn ang="0">
                  <a:pos x="connsiteX26415" y="connsiteY26415"/>
                </a:cxn>
                <a:cxn ang="0">
                  <a:pos x="connsiteX26416" y="connsiteY26416"/>
                </a:cxn>
                <a:cxn ang="0">
                  <a:pos x="connsiteX26417" y="connsiteY26417"/>
                </a:cxn>
                <a:cxn ang="0">
                  <a:pos x="connsiteX26418" y="connsiteY26418"/>
                </a:cxn>
                <a:cxn ang="0">
                  <a:pos x="connsiteX26419" y="connsiteY26419"/>
                </a:cxn>
                <a:cxn ang="0">
                  <a:pos x="connsiteX26420" y="connsiteY26420"/>
                </a:cxn>
                <a:cxn ang="0">
                  <a:pos x="connsiteX26421" y="connsiteY26421"/>
                </a:cxn>
                <a:cxn ang="0">
                  <a:pos x="connsiteX26422" y="connsiteY26422"/>
                </a:cxn>
                <a:cxn ang="0">
                  <a:pos x="connsiteX26423" y="connsiteY26423"/>
                </a:cxn>
                <a:cxn ang="0">
                  <a:pos x="connsiteX26424" y="connsiteY26424"/>
                </a:cxn>
                <a:cxn ang="0">
                  <a:pos x="connsiteX26425" y="connsiteY26425"/>
                </a:cxn>
                <a:cxn ang="0">
                  <a:pos x="connsiteX26426" y="connsiteY26426"/>
                </a:cxn>
                <a:cxn ang="0">
                  <a:pos x="connsiteX26427" y="connsiteY26427"/>
                </a:cxn>
                <a:cxn ang="0">
                  <a:pos x="connsiteX26428" y="connsiteY26428"/>
                </a:cxn>
                <a:cxn ang="0">
                  <a:pos x="connsiteX26429" y="connsiteY26429"/>
                </a:cxn>
                <a:cxn ang="0">
                  <a:pos x="connsiteX26430" y="connsiteY26430"/>
                </a:cxn>
                <a:cxn ang="0">
                  <a:pos x="connsiteX26431" y="connsiteY26431"/>
                </a:cxn>
                <a:cxn ang="0">
                  <a:pos x="connsiteX26432" y="connsiteY26432"/>
                </a:cxn>
                <a:cxn ang="0">
                  <a:pos x="connsiteX26433" y="connsiteY26433"/>
                </a:cxn>
                <a:cxn ang="0">
                  <a:pos x="connsiteX26434" y="connsiteY26434"/>
                </a:cxn>
                <a:cxn ang="0">
                  <a:pos x="connsiteX26435" y="connsiteY26435"/>
                </a:cxn>
                <a:cxn ang="0">
                  <a:pos x="connsiteX26436" y="connsiteY26436"/>
                </a:cxn>
                <a:cxn ang="0">
                  <a:pos x="connsiteX26437" y="connsiteY26437"/>
                </a:cxn>
                <a:cxn ang="0">
                  <a:pos x="connsiteX26438" y="connsiteY26438"/>
                </a:cxn>
                <a:cxn ang="0">
                  <a:pos x="connsiteX26439" y="connsiteY26439"/>
                </a:cxn>
                <a:cxn ang="0">
                  <a:pos x="connsiteX26440" y="connsiteY26440"/>
                </a:cxn>
                <a:cxn ang="0">
                  <a:pos x="connsiteX26441" y="connsiteY26441"/>
                </a:cxn>
                <a:cxn ang="0">
                  <a:pos x="connsiteX26442" y="connsiteY26442"/>
                </a:cxn>
                <a:cxn ang="0">
                  <a:pos x="connsiteX26443" y="connsiteY26443"/>
                </a:cxn>
                <a:cxn ang="0">
                  <a:pos x="connsiteX26444" y="connsiteY26444"/>
                </a:cxn>
                <a:cxn ang="0">
                  <a:pos x="connsiteX26445" y="connsiteY26445"/>
                </a:cxn>
                <a:cxn ang="0">
                  <a:pos x="connsiteX26446" y="connsiteY26446"/>
                </a:cxn>
                <a:cxn ang="0">
                  <a:pos x="connsiteX26447" y="connsiteY26447"/>
                </a:cxn>
                <a:cxn ang="0">
                  <a:pos x="connsiteX26448" y="connsiteY26448"/>
                </a:cxn>
                <a:cxn ang="0">
                  <a:pos x="connsiteX26449" y="connsiteY26449"/>
                </a:cxn>
                <a:cxn ang="0">
                  <a:pos x="connsiteX26450" y="connsiteY26450"/>
                </a:cxn>
                <a:cxn ang="0">
                  <a:pos x="connsiteX26451" y="connsiteY26451"/>
                </a:cxn>
                <a:cxn ang="0">
                  <a:pos x="connsiteX26452" y="connsiteY26452"/>
                </a:cxn>
                <a:cxn ang="0">
                  <a:pos x="connsiteX26453" y="connsiteY26453"/>
                </a:cxn>
                <a:cxn ang="0">
                  <a:pos x="connsiteX26454" y="connsiteY26454"/>
                </a:cxn>
                <a:cxn ang="0">
                  <a:pos x="connsiteX26455" y="connsiteY26455"/>
                </a:cxn>
                <a:cxn ang="0">
                  <a:pos x="connsiteX26456" y="connsiteY26456"/>
                </a:cxn>
                <a:cxn ang="0">
                  <a:pos x="connsiteX26457" y="connsiteY26457"/>
                </a:cxn>
                <a:cxn ang="0">
                  <a:pos x="connsiteX26458" y="connsiteY26458"/>
                </a:cxn>
                <a:cxn ang="0">
                  <a:pos x="connsiteX26459" y="connsiteY26459"/>
                </a:cxn>
                <a:cxn ang="0">
                  <a:pos x="connsiteX26460" y="connsiteY26460"/>
                </a:cxn>
                <a:cxn ang="0">
                  <a:pos x="connsiteX26461" y="connsiteY26461"/>
                </a:cxn>
                <a:cxn ang="0">
                  <a:pos x="connsiteX26462" y="connsiteY26462"/>
                </a:cxn>
                <a:cxn ang="0">
                  <a:pos x="connsiteX26463" y="connsiteY26463"/>
                </a:cxn>
                <a:cxn ang="0">
                  <a:pos x="connsiteX26464" y="connsiteY26464"/>
                </a:cxn>
                <a:cxn ang="0">
                  <a:pos x="connsiteX26465" y="connsiteY26465"/>
                </a:cxn>
                <a:cxn ang="0">
                  <a:pos x="connsiteX26466" y="connsiteY26466"/>
                </a:cxn>
                <a:cxn ang="0">
                  <a:pos x="connsiteX26467" y="connsiteY26467"/>
                </a:cxn>
                <a:cxn ang="0">
                  <a:pos x="connsiteX26468" y="connsiteY26468"/>
                </a:cxn>
                <a:cxn ang="0">
                  <a:pos x="connsiteX26469" y="connsiteY26469"/>
                </a:cxn>
                <a:cxn ang="0">
                  <a:pos x="connsiteX26470" y="connsiteY26470"/>
                </a:cxn>
                <a:cxn ang="0">
                  <a:pos x="connsiteX26471" y="connsiteY26471"/>
                </a:cxn>
                <a:cxn ang="0">
                  <a:pos x="connsiteX26472" y="connsiteY26472"/>
                </a:cxn>
                <a:cxn ang="0">
                  <a:pos x="connsiteX26473" y="connsiteY26473"/>
                </a:cxn>
                <a:cxn ang="0">
                  <a:pos x="connsiteX26474" y="connsiteY26474"/>
                </a:cxn>
                <a:cxn ang="0">
                  <a:pos x="connsiteX26475" y="connsiteY26475"/>
                </a:cxn>
                <a:cxn ang="0">
                  <a:pos x="connsiteX26476" y="connsiteY26476"/>
                </a:cxn>
                <a:cxn ang="0">
                  <a:pos x="connsiteX26477" y="connsiteY26477"/>
                </a:cxn>
                <a:cxn ang="0">
                  <a:pos x="connsiteX26478" y="connsiteY26478"/>
                </a:cxn>
                <a:cxn ang="0">
                  <a:pos x="connsiteX26479" y="connsiteY26479"/>
                </a:cxn>
                <a:cxn ang="0">
                  <a:pos x="connsiteX26480" y="connsiteY26480"/>
                </a:cxn>
                <a:cxn ang="0">
                  <a:pos x="connsiteX26481" y="connsiteY26481"/>
                </a:cxn>
                <a:cxn ang="0">
                  <a:pos x="connsiteX26482" y="connsiteY26482"/>
                </a:cxn>
                <a:cxn ang="0">
                  <a:pos x="connsiteX26483" y="connsiteY26483"/>
                </a:cxn>
                <a:cxn ang="0">
                  <a:pos x="connsiteX26484" y="connsiteY26484"/>
                </a:cxn>
                <a:cxn ang="0">
                  <a:pos x="connsiteX26485" y="connsiteY26485"/>
                </a:cxn>
                <a:cxn ang="0">
                  <a:pos x="connsiteX26486" y="connsiteY26486"/>
                </a:cxn>
                <a:cxn ang="0">
                  <a:pos x="connsiteX26487" y="connsiteY26487"/>
                </a:cxn>
                <a:cxn ang="0">
                  <a:pos x="connsiteX26488" y="connsiteY26488"/>
                </a:cxn>
                <a:cxn ang="0">
                  <a:pos x="connsiteX26489" y="connsiteY26489"/>
                </a:cxn>
                <a:cxn ang="0">
                  <a:pos x="connsiteX26490" y="connsiteY26490"/>
                </a:cxn>
                <a:cxn ang="0">
                  <a:pos x="connsiteX26491" y="connsiteY26491"/>
                </a:cxn>
                <a:cxn ang="0">
                  <a:pos x="connsiteX26492" y="connsiteY26492"/>
                </a:cxn>
                <a:cxn ang="0">
                  <a:pos x="connsiteX26493" y="connsiteY26493"/>
                </a:cxn>
                <a:cxn ang="0">
                  <a:pos x="connsiteX26494" y="connsiteY26494"/>
                </a:cxn>
                <a:cxn ang="0">
                  <a:pos x="connsiteX26495" y="connsiteY26495"/>
                </a:cxn>
                <a:cxn ang="0">
                  <a:pos x="connsiteX26496" y="connsiteY26496"/>
                </a:cxn>
                <a:cxn ang="0">
                  <a:pos x="connsiteX26497" y="connsiteY26497"/>
                </a:cxn>
                <a:cxn ang="0">
                  <a:pos x="connsiteX26498" y="connsiteY26498"/>
                </a:cxn>
                <a:cxn ang="0">
                  <a:pos x="connsiteX26499" y="connsiteY26499"/>
                </a:cxn>
                <a:cxn ang="0">
                  <a:pos x="connsiteX26500" y="connsiteY26500"/>
                </a:cxn>
                <a:cxn ang="0">
                  <a:pos x="connsiteX26501" y="connsiteY26501"/>
                </a:cxn>
                <a:cxn ang="0">
                  <a:pos x="connsiteX26502" y="connsiteY26502"/>
                </a:cxn>
                <a:cxn ang="0">
                  <a:pos x="connsiteX26503" y="connsiteY26503"/>
                </a:cxn>
                <a:cxn ang="0">
                  <a:pos x="connsiteX26504" y="connsiteY26504"/>
                </a:cxn>
                <a:cxn ang="0">
                  <a:pos x="connsiteX26505" y="connsiteY26505"/>
                </a:cxn>
                <a:cxn ang="0">
                  <a:pos x="connsiteX26506" y="connsiteY26506"/>
                </a:cxn>
                <a:cxn ang="0">
                  <a:pos x="connsiteX26507" y="connsiteY26507"/>
                </a:cxn>
                <a:cxn ang="0">
                  <a:pos x="connsiteX26508" y="connsiteY26508"/>
                </a:cxn>
                <a:cxn ang="0">
                  <a:pos x="connsiteX26509" y="connsiteY26509"/>
                </a:cxn>
                <a:cxn ang="0">
                  <a:pos x="connsiteX26510" y="connsiteY26510"/>
                </a:cxn>
                <a:cxn ang="0">
                  <a:pos x="connsiteX26511" y="connsiteY26511"/>
                </a:cxn>
                <a:cxn ang="0">
                  <a:pos x="connsiteX26512" y="connsiteY26512"/>
                </a:cxn>
                <a:cxn ang="0">
                  <a:pos x="connsiteX26513" y="connsiteY26513"/>
                </a:cxn>
                <a:cxn ang="0">
                  <a:pos x="connsiteX26514" y="connsiteY26514"/>
                </a:cxn>
                <a:cxn ang="0">
                  <a:pos x="connsiteX26515" y="connsiteY26515"/>
                </a:cxn>
                <a:cxn ang="0">
                  <a:pos x="connsiteX26516" y="connsiteY26516"/>
                </a:cxn>
                <a:cxn ang="0">
                  <a:pos x="connsiteX26517" y="connsiteY26517"/>
                </a:cxn>
                <a:cxn ang="0">
                  <a:pos x="connsiteX26518" y="connsiteY26518"/>
                </a:cxn>
                <a:cxn ang="0">
                  <a:pos x="connsiteX26519" y="connsiteY26519"/>
                </a:cxn>
                <a:cxn ang="0">
                  <a:pos x="connsiteX26520" y="connsiteY26520"/>
                </a:cxn>
                <a:cxn ang="0">
                  <a:pos x="connsiteX26521" y="connsiteY26521"/>
                </a:cxn>
                <a:cxn ang="0">
                  <a:pos x="connsiteX26522" y="connsiteY26522"/>
                </a:cxn>
                <a:cxn ang="0">
                  <a:pos x="connsiteX26523" y="connsiteY26523"/>
                </a:cxn>
                <a:cxn ang="0">
                  <a:pos x="connsiteX26524" y="connsiteY26524"/>
                </a:cxn>
                <a:cxn ang="0">
                  <a:pos x="connsiteX26525" y="connsiteY26525"/>
                </a:cxn>
                <a:cxn ang="0">
                  <a:pos x="connsiteX26526" y="connsiteY26526"/>
                </a:cxn>
                <a:cxn ang="0">
                  <a:pos x="connsiteX26527" y="connsiteY26527"/>
                </a:cxn>
                <a:cxn ang="0">
                  <a:pos x="connsiteX26528" y="connsiteY26528"/>
                </a:cxn>
                <a:cxn ang="0">
                  <a:pos x="connsiteX26529" y="connsiteY26529"/>
                </a:cxn>
                <a:cxn ang="0">
                  <a:pos x="connsiteX26530" y="connsiteY26530"/>
                </a:cxn>
                <a:cxn ang="0">
                  <a:pos x="connsiteX26531" y="connsiteY26531"/>
                </a:cxn>
                <a:cxn ang="0">
                  <a:pos x="connsiteX26532" y="connsiteY26532"/>
                </a:cxn>
                <a:cxn ang="0">
                  <a:pos x="connsiteX26533" y="connsiteY26533"/>
                </a:cxn>
                <a:cxn ang="0">
                  <a:pos x="connsiteX26534" y="connsiteY26534"/>
                </a:cxn>
                <a:cxn ang="0">
                  <a:pos x="connsiteX26535" y="connsiteY26535"/>
                </a:cxn>
                <a:cxn ang="0">
                  <a:pos x="connsiteX26536" y="connsiteY26536"/>
                </a:cxn>
                <a:cxn ang="0">
                  <a:pos x="connsiteX26537" y="connsiteY26537"/>
                </a:cxn>
                <a:cxn ang="0">
                  <a:pos x="connsiteX26538" y="connsiteY26538"/>
                </a:cxn>
                <a:cxn ang="0">
                  <a:pos x="connsiteX26539" y="connsiteY26539"/>
                </a:cxn>
                <a:cxn ang="0">
                  <a:pos x="connsiteX26540" y="connsiteY26540"/>
                </a:cxn>
                <a:cxn ang="0">
                  <a:pos x="connsiteX26541" y="connsiteY26541"/>
                </a:cxn>
                <a:cxn ang="0">
                  <a:pos x="connsiteX26542" y="connsiteY26542"/>
                </a:cxn>
                <a:cxn ang="0">
                  <a:pos x="connsiteX26543" y="connsiteY26543"/>
                </a:cxn>
                <a:cxn ang="0">
                  <a:pos x="connsiteX26544" y="connsiteY26544"/>
                </a:cxn>
                <a:cxn ang="0">
                  <a:pos x="connsiteX26545" y="connsiteY26545"/>
                </a:cxn>
                <a:cxn ang="0">
                  <a:pos x="connsiteX26546" y="connsiteY26546"/>
                </a:cxn>
                <a:cxn ang="0">
                  <a:pos x="connsiteX26547" y="connsiteY26547"/>
                </a:cxn>
                <a:cxn ang="0">
                  <a:pos x="connsiteX26548" y="connsiteY26548"/>
                </a:cxn>
                <a:cxn ang="0">
                  <a:pos x="connsiteX26549" y="connsiteY26549"/>
                </a:cxn>
                <a:cxn ang="0">
                  <a:pos x="connsiteX26550" y="connsiteY26550"/>
                </a:cxn>
                <a:cxn ang="0">
                  <a:pos x="connsiteX26551" y="connsiteY26551"/>
                </a:cxn>
                <a:cxn ang="0">
                  <a:pos x="connsiteX26552" y="connsiteY26552"/>
                </a:cxn>
                <a:cxn ang="0">
                  <a:pos x="connsiteX26553" y="connsiteY26553"/>
                </a:cxn>
                <a:cxn ang="0">
                  <a:pos x="connsiteX26554" y="connsiteY26554"/>
                </a:cxn>
                <a:cxn ang="0">
                  <a:pos x="connsiteX26555" y="connsiteY26555"/>
                </a:cxn>
                <a:cxn ang="0">
                  <a:pos x="connsiteX26556" y="connsiteY26556"/>
                </a:cxn>
                <a:cxn ang="0">
                  <a:pos x="connsiteX26557" y="connsiteY26557"/>
                </a:cxn>
                <a:cxn ang="0">
                  <a:pos x="connsiteX26558" y="connsiteY26558"/>
                </a:cxn>
                <a:cxn ang="0">
                  <a:pos x="connsiteX26559" y="connsiteY26559"/>
                </a:cxn>
                <a:cxn ang="0">
                  <a:pos x="connsiteX26560" y="connsiteY26560"/>
                </a:cxn>
                <a:cxn ang="0">
                  <a:pos x="connsiteX26561" y="connsiteY26561"/>
                </a:cxn>
                <a:cxn ang="0">
                  <a:pos x="connsiteX26562" y="connsiteY26562"/>
                </a:cxn>
                <a:cxn ang="0">
                  <a:pos x="connsiteX26563" y="connsiteY26563"/>
                </a:cxn>
                <a:cxn ang="0">
                  <a:pos x="connsiteX26564" y="connsiteY26564"/>
                </a:cxn>
                <a:cxn ang="0">
                  <a:pos x="connsiteX26565" y="connsiteY26565"/>
                </a:cxn>
                <a:cxn ang="0">
                  <a:pos x="connsiteX26566" y="connsiteY26566"/>
                </a:cxn>
                <a:cxn ang="0">
                  <a:pos x="connsiteX26567" y="connsiteY26567"/>
                </a:cxn>
                <a:cxn ang="0">
                  <a:pos x="connsiteX26568" y="connsiteY26568"/>
                </a:cxn>
                <a:cxn ang="0">
                  <a:pos x="connsiteX26569" y="connsiteY26569"/>
                </a:cxn>
                <a:cxn ang="0">
                  <a:pos x="connsiteX26570" y="connsiteY26570"/>
                </a:cxn>
                <a:cxn ang="0">
                  <a:pos x="connsiteX26571" y="connsiteY26571"/>
                </a:cxn>
                <a:cxn ang="0">
                  <a:pos x="connsiteX26572" y="connsiteY26572"/>
                </a:cxn>
                <a:cxn ang="0">
                  <a:pos x="connsiteX26573" y="connsiteY26573"/>
                </a:cxn>
                <a:cxn ang="0">
                  <a:pos x="connsiteX26574" y="connsiteY26574"/>
                </a:cxn>
                <a:cxn ang="0">
                  <a:pos x="connsiteX26575" y="connsiteY26575"/>
                </a:cxn>
                <a:cxn ang="0">
                  <a:pos x="connsiteX26576" y="connsiteY26576"/>
                </a:cxn>
                <a:cxn ang="0">
                  <a:pos x="connsiteX26577" y="connsiteY26577"/>
                </a:cxn>
                <a:cxn ang="0">
                  <a:pos x="connsiteX26578" y="connsiteY26578"/>
                </a:cxn>
                <a:cxn ang="0">
                  <a:pos x="connsiteX26579" y="connsiteY26579"/>
                </a:cxn>
                <a:cxn ang="0">
                  <a:pos x="connsiteX26580" y="connsiteY26580"/>
                </a:cxn>
                <a:cxn ang="0">
                  <a:pos x="connsiteX26581" y="connsiteY26581"/>
                </a:cxn>
                <a:cxn ang="0">
                  <a:pos x="connsiteX26582" y="connsiteY26582"/>
                </a:cxn>
                <a:cxn ang="0">
                  <a:pos x="connsiteX26583" y="connsiteY26583"/>
                </a:cxn>
                <a:cxn ang="0">
                  <a:pos x="connsiteX26584" y="connsiteY26584"/>
                </a:cxn>
                <a:cxn ang="0">
                  <a:pos x="connsiteX26585" y="connsiteY26585"/>
                </a:cxn>
                <a:cxn ang="0">
                  <a:pos x="connsiteX26586" y="connsiteY26586"/>
                </a:cxn>
                <a:cxn ang="0">
                  <a:pos x="connsiteX26587" y="connsiteY26587"/>
                </a:cxn>
                <a:cxn ang="0">
                  <a:pos x="connsiteX26588" y="connsiteY26588"/>
                </a:cxn>
                <a:cxn ang="0">
                  <a:pos x="connsiteX26589" y="connsiteY26589"/>
                </a:cxn>
                <a:cxn ang="0">
                  <a:pos x="connsiteX26590" y="connsiteY26590"/>
                </a:cxn>
                <a:cxn ang="0">
                  <a:pos x="connsiteX26591" y="connsiteY26591"/>
                </a:cxn>
                <a:cxn ang="0">
                  <a:pos x="connsiteX26592" y="connsiteY26592"/>
                </a:cxn>
                <a:cxn ang="0">
                  <a:pos x="connsiteX26593" y="connsiteY26593"/>
                </a:cxn>
                <a:cxn ang="0">
                  <a:pos x="connsiteX26594" y="connsiteY26594"/>
                </a:cxn>
                <a:cxn ang="0">
                  <a:pos x="connsiteX26595" y="connsiteY26595"/>
                </a:cxn>
                <a:cxn ang="0">
                  <a:pos x="connsiteX26596" y="connsiteY26596"/>
                </a:cxn>
                <a:cxn ang="0">
                  <a:pos x="connsiteX26597" y="connsiteY26597"/>
                </a:cxn>
                <a:cxn ang="0">
                  <a:pos x="connsiteX26598" y="connsiteY26598"/>
                </a:cxn>
                <a:cxn ang="0">
                  <a:pos x="connsiteX26599" y="connsiteY26599"/>
                </a:cxn>
                <a:cxn ang="0">
                  <a:pos x="connsiteX26600" y="connsiteY26600"/>
                </a:cxn>
                <a:cxn ang="0">
                  <a:pos x="connsiteX26601" y="connsiteY26601"/>
                </a:cxn>
                <a:cxn ang="0">
                  <a:pos x="connsiteX26602" y="connsiteY26602"/>
                </a:cxn>
                <a:cxn ang="0">
                  <a:pos x="connsiteX26603" y="connsiteY26603"/>
                </a:cxn>
                <a:cxn ang="0">
                  <a:pos x="connsiteX26604" y="connsiteY26604"/>
                </a:cxn>
                <a:cxn ang="0">
                  <a:pos x="connsiteX26605" y="connsiteY26605"/>
                </a:cxn>
                <a:cxn ang="0">
                  <a:pos x="connsiteX26606" y="connsiteY26606"/>
                </a:cxn>
                <a:cxn ang="0">
                  <a:pos x="connsiteX26607" y="connsiteY26607"/>
                </a:cxn>
                <a:cxn ang="0">
                  <a:pos x="connsiteX26608" y="connsiteY26608"/>
                </a:cxn>
                <a:cxn ang="0">
                  <a:pos x="connsiteX26609" y="connsiteY26609"/>
                </a:cxn>
                <a:cxn ang="0">
                  <a:pos x="connsiteX26610" y="connsiteY26610"/>
                </a:cxn>
                <a:cxn ang="0">
                  <a:pos x="connsiteX26611" y="connsiteY26611"/>
                </a:cxn>
                <a:cxn ang="0">
                  <a:pos x="connsiteX26612" y="connsiteY26612"/>
                </a:cxn>
                <a:cxn ang="0">
                  <a:pos x="connsiteX26613" y="connsiteY26613"/>
                </a:cxn>
                <a:cxn ang="0">
                  <a:pos x="connsiteX26614" y="connsiteY26614"/>
                </a:cxn>
                <a:cxn ang="0">
                  <a:pos x="connsiteX26615" y="connsiteY26615"/>
                </a:cxn>
                <a:cxn ang="0">
                  <a:pos x="connsiteX26616" y="connsiteY26616"/>
                </a:cxn>
                <a:cxn ang="0">
                  <a:pos x="connsiteX26617" y="connsiteY26617"/>
                </a:cxn>
                <a:cxn ang="0">
                  <a:pos x="connsiteX26618" y="connsiteY26618"/>
                </a:cxn>
                <a:cxn ang="0">
                  <a:pos x="connsiteX26619" y="connsiteY26619"/>
                </a:cxn>
                <a:cxn ang="0">
                  <a:pos x="connsiteX26620" y="connsiteY26620"/>
                </a:cxn>
                <a:cxn ang="0">
                  <a:pos x="connsiteX26621" y="connsiteY26621"/>
                </a:cxn>
                <a:cxn ang="0">
                  <a:pos x="connsiteX26622" y="connsiteY26622"/>
                </a:cxn>
                <a:cxn ang="0">
                  <a:pos x="connsiteX26623" y="connsiteY26623"/>
                </a:cxn>
                <a:cxn ang="0">
                  <a:pos x="connsiteX26624" y="connsiteY26624"/>
                </a:cxn>
                <a:cxn ang="0">
                  <a:pos x="connsiteX26625" y="connsiteY26625"/>
                </a:cxn>
                <a:cxn ang="0">
                  <a:pos x="connsiteX26626" y="connsiteY26626"/>
                </a:cxn>
                <a:cxn ang="0">
                  <a:pos x="connsiteX26627" y="connsiteY26627"/>
                </a:cxn>
                <a:cxn ang="0">
                  <a:pos x="connsiteX26628" y="connsiteY26628"/>
                </a:cxn>
                <a:cxn ang="0">
                  <a:pos x="connsiteX26629" y="connsiteY26629"/>
                </a:cxn>
                <a:cxn ang="0">
                  <a:pos x="connsiteX26630" y="connsiteY26630"/>
                </a:cxn>
                <a:cxn ang="0">
                  <a:pos x="connsiteX26631" y="connsiteY26631"/>
                </a:cxn>
                <a:cxn ang="0">
                  <a:pos x="connsiteX26632" y="connsiteY26632"/>
                </a:cxn>
                <a:cxn ang="0">
                  <a:pos x="connsiteX26633" y="connsiteY26633"/>
                </a:cxn>
                <a:cxn ang="0">
                  <a:pos x="connsiteX26634" y="connsiteY26634"/>
                </a:cxn>
                <a:cxn ang="0">
                  <a:pos x="connsiteX26635" y="connsiteY26635"/>
                </a:cxn>
                <a:cxn ang="0">
                  <a:pos x="connsiteX26636" y="connsiteY26636"/>
                </a:cxn>
                <a:cxn ang="0">
                  <a:pos x="connsiteX26637" y="connsiteY26637"/>
                </a:cxn>
                <a:cxn ang="0">
                  <a:pos x="connsiteX26638" y="connsiteY26638"/>
                </a:cxn>
                <a:cxn ang="0">
                  <a:pos x="connsiteX26639" y="connsiteY26639"/>
                </a:cxn>
                <a:cxn ang="0">
                  <a:pos x="connsiteX26640" y="connsiteY26640"/>
                </a:cxn>
                <a:cxn ang="0">
                  <a:pos x="connsiteX26641" y="connsiteY26641"/>
                </a:cxn>
                <a:cxn ang="0">
                  <a:pos x="connsiteX26642" y="connsiteY26642"/>
                </a:cxn>
                <a:cxn ang="0">
                  <a:pos x="connsiteX26643" y="connsiteY26643"/>
                </a:cxn>
                <a:cxn ang="0">
                  <a:pos x="connsiteX26644" y="connsiteY26644"/>
                </a:cxn>
                <a:cxn ang="0">
                  <a:pos x="connsiteX26645" y="connsiteY26645"/>
                </a:cxn>
                <a:cxn ang="0">
                  <a:pos x="connsiteX26646" y="connsiteY26646"/>
                </a:cxn>
                <a:cxn ang="0">
                  <a:pos x="connsiteX26647" y="connsiteY26647"/>
                </a:cxn>
                <a:cxn ang="0">
                  <a:pos x="connsiteX26648" y="connsiteY26648"/>
                </a:cxn>
                <a:cxn ang="0">
                  <a:pos x="connsiteX26649" y="connsiteY26649"/>
                </a:cxn>
                <a:cxn ang="0">
                  <a:pos x="connsiteX26650" y="connsiteY26650"/>
                </a:cxn>
                <a:cxn ang="0">
                  <a:pos x="connsiteX26651" y="connsiteY26651"/>
                </a:cxn>
                <a:cxn ang="0">
                  <a:pos x="connsiteX26652" y="connsiteY26652"/>
                </a:cxn>
                <a:cxn ang="0">
                  <a:pos x="connsiteX26653" y="connsiteY26653"/>
                </a:cxn>
                <a:cxn ang="0">
                  <a:pos x="connsiteX26654" y="connsiteY26654"/>
                </a:cxn>
                <a:cxn ang="0">
                  <a:pos x="connsiteX26655" y="connsiteY26655"/>
                </a:cxn>
                <a:cxn ang="0">
                  <a:pos x="connsiteX26656" y="connsiteY26656"/>
                </a:cxn>
                <a:cxn ang="0">
                  <a:pos x="connsiteX26657" y="connsiteY26657"/>
                </a:cxn>
                <a:cxn ang="0">
                  <a:pos x="connsiteX26658" y="connsiteY26658"/>
                </a:cxn>
                <a:cxn ang="0">
                  <a:pos x="connsiteX26659" y="connsiteY26659"/>
                </a:cxn>
                <a:cxn ang="0">
                  <a:pos x="connsiteX26660" y="connsiteY26660"/>
                </a:cxn>
                <a:cxn ang="0">
                  <a:pos x="connsiteX26661" y="connsiteY26661"/>
                </a:cxn>
                <a:cxn ang="0">
                  <a:pos x="connsiteX26662" y="connsiteY26662"/>
                </a:cxn>
                <a:cxn ang="0">
                  <a:pos x="connsiteX26663" y="connsiteY26663"/>
                </a:cxn>
                <a:cxn ang="0">
                  <a:pos x="connsiteX26664" y="connsiteY26664"/>
                </a:cxn>
                <a:cxn ang="0">
                  <a:pos x="connsiteX26665" y="connsiteY26665"/>
                </a:cxn>
                <a:cxn ang="0">
                  <a:pos x="connsiteX26666" y="connsiteY26666"/>
                </a:cxn>
                <a:cxn ang="0">
                  <a:pos x="connsiteX26667" y="connsiteY26667"/>
                </a:cxn>
                <a:cxn ang="0">
                  <a:pos x="connsiteX26668" y="connsiteY26668"/>
                </a:cxn>
                <a:cxn ang="0">
                  <a:pos x="connsiteX26669" y="connsiteY26669"/>
                </a:cxn>
                <a:cxn ang="0">
                  <a:pos x="connsiteX26670" y="connsiteY26670"/>
                </a:cxn>
                <a:cxn ang="0">
                  <a:pos x="connsiteX26671" y="connsiteY26671"/>
                </a:cxn>
                <a:cxn ang="0">
                  <a:pos x="connsiteX26672" y="connsiteY26672"/>
                </a:cxn>
                <a:cxn ang="0">
                  <a:pos x="connsiteX26673" y="connsiteY26673"/>
                </a:cxn>
                <a:cxn ang="0">
                  <a:pos x="connsiteX26674" y="connsiteY26674"/>
                </a:cxn>
                <a:cxn ang="0">
                  <a:pos x="connsiteX26675" y="connsiteY26675"/>
                </a:cxn>
                <a:cxn ang="0">
                  <a:pos x="connsiteX26676" y="connsiteY26676"/>
                </a:cxn>
                <a:cxn ang="0">
                  <a:pos x="connsiteX26677" y="connsiteY26677"/>
                </a:cxn>
                <a:cxn ang="0">
                  <a:pos x="connsiteX26678" y="connsiteY26678"/>
                </a:cxn>
                <a:cxn ang="0">
                  <a:pos x="connsiteX26679" y="connsiteY26679"/>
                </a:cxn>
                <a:cxn ang="0">
                  <a:pos x="connsiteX26680" y="connsiteY26680"/>
                </a:cxn>
                <a:cxn ang="0">
                  <a:pos x="connsiteX26681" y="connsiteY26681"/>
                </a:cxn>
                <a:cxn ang="0">
                  <a:pos x="connsiteX26682" y="connsiteY26682"/>
                </a:cxn>
                <a:cxn ang="0">
                  <a:pos x="connsiteX26683" y="connsiteY26683"/>
                </a:cxn>
                <a:cxn ang="0">
                  <a:pos x="connsiteX26684" y="connsiteY26684"/>
                </a:cxn>
                <a:cxn ang="0">
                  <a:pos x="connsiteX26685" y="connsiteY26685"/>
                </a:cxn>
                <a:cxn ang="0">
                  <a:pos x="connsiteX26686" y="connsiteY26686"/>
                </a:cxn>
                <a:cxn ang="0">
                  <a:pos x="connsiteX26687" y="connsiteY26687"/>
                </a:cxn>
                <a:cxn ang="0">
                  <a:pos x="connsiteX26688" y="connsiteY26688"/>
                </a:cxn>
                <a:cxn ang="0">
                  <a:pos x="connsiteX26689" y="connsiteY26689"/>
                </a:cxn>
                <a:cxn ang="0">
                  <a:pos x="connsiteX26690" y="connsiteY26690"/>
                </a:cxn>
                <a:cxn ang="0">
                  <a:pos x="connsiteX26691" y="connsiteY26691"/>
                </a:cxn>
                <a:cxn ang="0">
                  <a:pos x="connsiteX26692" y="connsiteY26692"/>
                </a:cxn>
                <a:cxn ang="0">
                  <a:pos x="connsiteX26693" y="connsiteY26693"/>
                </a:cxn>
                <a:cxn ang="0">
                  <a:pos x="connsiteX26694" y="connsiteY26694"/>
                </a:cxn>
                <a:cxn ang="0">
                  <a:pos x="connsiteX26695" y="connsiteY26695"/>
                </a:cxn>
                <a:cxn ang="0">
                  <a:pos x="connsiteX26696" y="connsiteY26696"/>
                </a:cxn>
                <a:cxn ang="0">
                  <a:pos x="connsiteX26697" y="connsiteY26697"/>
                </a:cxn>
                <a:cxn ang="0">
                  <a:pos x="connsiteX26698" y="connsiteY26698"/>
                </a:cxn>
                <a:cxn ang="0">
                  <a:pos x="connsiteX26699" y="connsiteY26699"/>
                </a:cxn>
                <a:cxn ang="0">
                  <a:pos x="connsiteX26700" y="connsiteY26700"/>
                </a:cxn>
                <a:cxn ang="0">
                  <a:pos x="connsiteX26701" y="connsiteY26701"/>
                </a:cxn>
                <a:cxn ang="0">
                  <a:pos x="connsiteX26702" y="connsiteY26702"/>
                </a:cxn>
                <a:cxn ang="0">
                  <a:pos x="connsiteX26703" y="connsiteY26703"/>
                </a:cxn>
                <a:cxn ang="0">
                  <a:pos x="connsiteX26704" y="connsiteY26704"/>
                </a:cxn>
                <a:cxn ang="0">
                  <a:pos x="connsiteX26705" y="connsiteY26705"/>
                </a:cxn>
                <a:cxn ang="0">
                  <a:pos x="connsiteX26706" y="connsiteY26706"/>
                </a:cxn>
                <a:cxn ang="0">
                  <a:pos x="connsiteX26707" y="connsiteY26707"/>
                </a:cxn>
                <a:cxn ang="0">
                  <a:pos x="connsiteX26708" y="connsiteY26708"/>
                </a:cxn>
                <a:cxn ang="0">
                  <a:pos x="connsiteX26709" y="connsiteY26709"/>
                </a:cxn>
                <a:cxn ang="0">
                  <a:pos x="connsiteX26710" y="connsiteY26710"/>
                </a:cxn>
                <a:cxn ang="0">
                  <a:pos x="connsiteX26711" y="connsiteY26711"/>
                </a:cxn>
                <a:cxn ang="0">
                  <a:pos x="connsiteX26712" y="connsiteY26712"/>
                </a:cxn>
                <a:cxn ang="0">
                  <a:pos x="connsiteX26713" y="connsiteY26713"/>
                </a:cxn>
                <a:cxn ang="0">
                  <a:pos x="connsiteX26714" y="connsiteY26714"/>
                </a:cxn>
                <a:cxn ang="0">
                  <a:pos x="connsiteX26715" y="connsiteY26715"/>
                </a:cxn>
                <a:cxn ang="0">
                  <a:pos x="connsiteX26716" y="connsiteY26716"/>
                </a:cxn>
                <a:cxn ang="0">
                  <a:pos x="connsiteX26717" y="connsiteY26717"/>
                </a:cxn>
                <a:cxn ang="0">
                  <a:pos x="connsiteX26718" y="connsiteY26718"/>
                </a:cxn>
                <a:cxn ang="0">
                  <a:pos x="connsiteX26719" y="connsiteY26719"/>
                </a:cxn>
                <a:cxn ang="0">
                  <a:pos x="connsiteX26720" y="connsiteY26720"/>
                </a:cxn>
                <a:cxn ang="0">
                  <a:pos x="connsiteX26721" y="connsiteY26721"/>
                </a:cxn>
                <a:cxn ang="0">
                  <a:pos x="connsiteX26722" y="connsiteY26722"/>
                </a:cxn>
                <a:cxn ang="0">
                  <a:pos x="connsiteX26723" y="connsiteY26723"/>
                </a:cxn>
                <a:cxn ang="0">
                  <a:pos x="connsiteX26724" y="connsiteY26724"/>
                </a:cxn>
                <a:cxn ang="0">
                  <a:pos x="connsiteX26725" y="connsiteY26725"/>
                </a:cxn>
                <a:cxn ang="0">
                  <a:pos x="connsiteX26726" y="connsiteY26726"/>
                </a:cxn>
                <a:cxn ang="0">
                  <a:pos x="connsiteX26727" y="connsiteY26727"/>
                </a:cxn>
                <a:cxn ang="0">
                  <a:pos x="connsiteX26728" y="connsiteY26728"/>
                </a:cxn>
                <a:cxn ang="0">
                  <a:pos x="connsiteX26729" y="connsiteY26729"/>
                </a:cxn>
                <a:cxn ang="0">
                  <a:pos x="connsiteX26730" y="connsiteY26730"/>
                </a:cxn>
                <a:cxn ang="0">
                  <a:pos x="connsiteX26731" y="connsiteY26731"/>
                </a:cxn>
                <a:cxn ang="0">
                  <a:pos x="connsiteX26732" y="connsiteY26732"/>
                </a:cxn>
                <a:cxn ang="0">
                  <a:pos x="connsiteX26733" y="connsiteY26733"/>
                </a:cxn>
                <a:cxn ang="0">
                  <a:pos x="connsiteX26734" y="connsiteY26734"/>
                </a:cxn>
                <a:cxn ang="0">
                  <a:pos x="connsiteX26735" y="connsiteY26735"/>
                </a:cxn>
                <a:cxn ang="0">
                  <a:pos x="connsiteX26736" y="connsiteY26736"/>
                </a:cxn>
                <a:cxn ang="0">
                  <a:pos x="connsiteX26737" y="connsiteY26737"/>
                </a:cxn>
                <a:cxn ang="0">
                  <a:pos x="connsiteX26738" y="connsiteY26738"/>
                </a:cxn>
                <a:cxn ang="0">
                  <a:pos x="connsiteX26739" y="connsiteY26739"/>
                </a:cxn>
                <a:cxn ang="0">
                  <a:pos x="connsiteX26740" y="connsiteY26740"/>
                </a:cxn>
                <a:cxn ang="0">
                  <a:pos x="connsiteX26741" y="connsiteY26741"/>
                </a:cxn>
                <a:cxn ang="0">
                  <a:pos x="connsiteX26742" y="connsiteY26742"/>
                </a:cxn>
                <a:cxn ang="0">
                  <a:pos x="connsiteX26743" y="connsiteY26743"/>
                </a:cxn>
                <a:cxn ang="0">
                  <a:pos x="connsiteX26744" y="connsiteY26744"/>
                </a:cxn>
                <a:cxn ang="0">
                  <a:pos x="connsiteX26745" y="connsiteY26745"/>
                </a:cxn>
                <a:cxn ang="0">
                  <a:pos x="connsiteX26746" y="connsiteY26746"/>
                </a:cxn>
                <a:cxn ang="0">
                  <a:pos x="connsiteX26747" y="connsiteY26747"/>
                </a:cxn>
                <a:cxn ang="0">
                  <a:pos x="connsiteX26748" y="connsiteY26748"/>
                </a:cxn>
                <a:cxn ang="0">
                  <a:pos x="connsiteX26749" y="connsiteY26749"/>
                </a:cxn>
                <a:cxn ang="0">
                  <a:pos x="connsiteX26750" y="connsiteY26750"/>
                </a:cxn>
                <a:cxn ang="0">
                  <a:pos x="connsiteX26751" y="connsiteY26751"/>
                </a:cxn>
                <a:cxn ang="0">
                  <a:pos x="connsiteX26752" y="connsiteY26752"/>
                </a:cxn>
                <a:cxn ang="0">
                  <a:pos x="connsiteX26753" y="connsiteY26753"/>
                </a:cxn>
                <a:cxn ang="0">
                  <a:pos x="connsiteX26754" y="connsiteY26754"/>
                </a:cxn>
                <a:cxn ang="0">
                  <a:pos x="connsiteX26755" y="connsiteY26755"/>
                </a:cxn>
                <a:cxn ang="0">
                  <a:pos x="connsiteX26756" y="connsiteY26756"/>
                </a:cxn>
                <a:cxn ang="0">
                  <a:pos x="connsiteX26757" y="connsiteY26757"/>
                </a:cxn>
                <a:cxn ang="0">
                  <a:pos x="connsiteX26758" y="connsiteY26758"/>
                </a:cxn>
                <a:cxn ang="0">
                  <a:pos x="connsiteX26759" y="connsiteY26759"/>
                </a:cxn>
                <a:cxn ang="0">
                  <a:pos x="connsiteX26760" y="connsiteY26760"/>
                </a:cxn>
                <a:cxn ang="0">
                  <a:pos x="connsiteX26761" y="connsiteY26761"/>
                </a:cxn>
                <a:cxn ang="0">
                  <a:pos x="connsiteX26762" y="connsiteY26762"/>
                </a:cxn>
                <a:cxn ang="0">
                  <a:pos x="connsiteX26763" y="connsiteY26763"/>
                </a:cxn>
                <a:cxn ang="0">
                  <a:pos x="connsiteX26764" y="connsiteY26764"/>
                </a:cxn>
                <a:cxn ang="0">
                  <a:pos x="connsiteX26765" y="connsiteY26765"/>
                </a:cxn>
                <a:cxn ang="0">
                  <a:pos x="connsiteX26766" y="connsiteY26766"/>
                </a:cxn>
                <a:cxn ang="0">
                  <a:pos x="connsiteX26767" y="connsiteY26767"/>
                </a:cxn>
                <a:cxn ang="0">
                  <a:pos x="connsiteX26768" y="connsiteY26768"/>
                </a:cxn>
                <a:cxn ang="0">
                  <a:pos x="connsiteX26769" y="connsiteY26769"/>
                </a:cxn>
                <a:cxn ang="0">
                  <a:pos x="connsiteX26770" y="connsiteY26770"/>
                </a:cxn>
                <a:cxn ang="0">
                  <a:pos x="connsiteX26771" y="connsiteY26771"/>
                </a:cxn>
                <a:cxn ang="0">
                  <a:pos x="connsiteX26772" y="connsiteY26772"/>
                </a:cxn>
                <a:cxn ang="0">
                  <a:pos x="connsiteX26773" y="connsiteY26773"/>
                </a:cxn>
                <a:cxn ang="0">
                  <a:pos x="connsiteX26774" y="connsiteY26774"/>
                </a:cxn>
                <a:cxn ang="0">
                  <a:pos x="connsiteX26775" y="connsiteY26775"/>
                </a:cxn>
                <a:cxn ang="0">
                  <a:pos x="connsiteX26776" y="connsiteY26776"/>
                </a:cxn>
                <a:cxn ang="0">
                  <a:pos x="connsiteX26777" y="connsiteY26777"/>
                </a:cxn>
                <a:cxn ang="0">
                  <a:pos x="connsiteX26778" y="connsiteY26778"/>
                </a:cxn>
                <a:cxn ang="0">
                  <a:pos x="connsiteX26779" y="connsiteY26779"/>
                </a:cxn>
                <a:cxn ang="0">
                  <a:pos x="connsiteX26780" y="connsiteY26780"/>
                </a:cxn>
                <a:cxn ang="0">
                  <a:pos x="connsiteX26781" y="connsiteY26781"/>
                </a:cxn>
                <a:cxn ang="0">
                  <a:pos x="connsiteX26782" y="connsiteY26782"/>
                </a:cxn>
                <a:cxn ang="0">
                  <a:pos x="connsiteX26783" y="connsiteY26783"/>
                </a:cxn>
                <a:cxn ang="0">
                  <a:pos x="connsiteX26784" y="connsiteY26784"/>
                </a:cxn>
                <a:cxn ang="0">
                  <a:pos x="connsiteX26785" y="connsiteY26785"/>
                </a:cxn>
                <a:cxn ang="0">
                  <a:pos x="connsiteX26786" y="connsiteY26786"/>
                </a:cxn>
                <a:cxn ang="0">
                  <a:pos x="connsiteX26787" y="connsiteY26787"/>
                </a:cxn>
                <a:cxn ang="0">
                  <a:pos x="connsiteX26788" y="connsiteY26788"/>
                </a:cxn>
                <a:cxn ang="0">
                  <a:pos x="connsiteX26789" y="connsiteY26789"/>
                </a:cxn>
                <a:cxn ang="0">
                  <a:pos x="connsiteX26790" y="connsiteY26790"/>
                </a:cxn>
                <a:cxn ang="0">
                  <a:pos x="connsiteX26791" y="connsiteY26791"/>
                </a:cxn>
                <a:cxn ang="0">
                  <a:pos x="connsiteX26792" y="connsiteY26792"/>
                </a:cxn>
                <a:cxn ang="0">
                  <a:pos x="connsiteX26793" y="connsiteY26793"/>
                </a:cxn>
                <a:cxn ang="0">
                  <a:pos x="connsiteX26794" y="connsiteY26794"/>
                </a:cxn>
                <a:cxn ang="0">
                  <a:pos x="connsiteX26795" y="connsiteY26795"/>
                </a:cxn>
                <a:cxn ang="0">
                  <a:pos x="connsiteX26796" y="connsiteY26796"/>
                </a:cxn>
                <a:cxn ang="0">
                  <a:pos x="connsiteX26797" y="connsiteY26797"/>
                </a:cxn>
                <a:cxn ang="0">
                  <a:pos x="connsiteX26798" y="connsiteY26798"/>
                </a:cxn>
                <a:cxn ang="0">
                  <a:pos x="connsiteX26799" y="connsiteY26799"/>
                </a:cxn>
                <a:cxn ang="0">
                  <a:pos x="connsiteX26800" y="connsiteY26800"/>
                </a:cxn>
                <a:cxn ang="0">
                  <a:pos x="connsiteX26801" y="connsiteY26801"/>
                </a:cxn>
                <a:cxn ang="0">
                  <a:pos x="connsiteX26802" y="connsiteY26802"/>
                </a:cxn>
                <a:cxn ang="0">
                  <a:pos x="connsiteX26803" y="connsiteY26803"/>
                </a:cxn>
                <a:cxn ang="0">
                  <a:pos x="connsiteX26804" y="connsiteY26804"/>
                </a:cxn>
                <a:cxn ang="0">
                  <a:pos x="connsiteX26805" y="connsiteY26805"/>
                </a:cxn>
                <a:cxn ang="0">
                  <a:pos x="connsiteX26806" y="connsiteY26806"/>
                </a:cxn>
                <a:cxn ang="0">
                  <a:pos x="connsiteX26807" y="connsiteY26807"/>
                </a:cxn>
                <a:cxn ang="0">
                  <a:pos x="connsiteX26808" y="connsiteY26808"/>
                </a:cxn>
                <a:cxn ang="0">
                  <a:pos x="connsiteX26809" y="connsiteY26809"/>
                </a:cxn>
                <a:cxn ang="0">
                  <a:pos x="connsiteX26810" y="connsiteY26810"/>
                </a:cxn>
                <a:cxn ang="0">
                  <a:pos x="connsiteX26811" y="connsiteY26811"/>
                </a:cxn>
                <a:cxn ang="0">
                  <a:pos x="connsiteX26812" y="connsiteY26812"/>
                </a:cxn>
                <a:cxn ang="0">
                  <a:pos x="connsiteX26813" y="connsiteY26813"/>
                </a:cxn>
                <a:cxn ang="0">
                  <a:pos x="connsiteX26814" y="connsiteY26814"/>
                </a:cxn>
                <a:cxn ang="0">
                  <a:pos x="connsiteX26815" y="connsiteY26815"/>
                </a:cxn>
                <a:cxn ang="0">
                  <a:pos x="connsiteX26816" y="connsiteY26816"/>
                </a:cxn>
                <a:cxn ang="0">
                  <a:pos x="connsiteX26817" y="connsiteY26817"/>
                </a:cxn>
                <a:cxn ang="0">
                  <a:pos x="connsiteX26818" y="connsiteY26818"/>
                </a:cxn>
                <a:cxn ang="0">
                  <a:pos x="connsiteX26819" y="connsiteY26819"/>
                </a:cxn>
                <a:cxn ang="0">
                  <a:pos x="connsiteX26820" y="connsiteY26820"/>
                </a:cxn>
                <a:cxn ang="0">
                  <a:pos x="connsiteX26821" y="connsiteY26821"/>
                </a:cxn>
                <a:cxn ang="0">
                  <a:pos x="connsiteX26822" y="connsiteY26822"/>
                </a:cxn>
                <a:cxn ang="0">
                  <a:pos x="connsiteX26823" y="connsiteY26823"/>
                </a:cxn>
                <a:cxn ang="0">
                  <a:pos x="connsiteX26824" y="connsiteY26824"/>
                </a:cxn>
                <a:cxn ang="0">
                  <a:pos x="connsiteX26825" y="connsiteY26825"/>
                </a:cxn>
                <a:cxn ang="0">
                  <a:pos x="connsiteX26826" y="connsiteY26826"/>
                </a:cxn>
                <a:cxn ang="0">
                  <a:pos x="connsiteX26827" y="connsiteY26827"/>
                </a:cxn>
                <a:cxn ang="0">
                  <a:pos x="connsiteX26828" y="connsiteY26828"/>
                </a:cxn>
                <a:cxn ang="0">
                  <a:pos x="connsiteX26829" y="connsiteY26829"/>
                </a:cxn>
                <a:cxn ang="0">
                  <a:pos x="connsiteX26830" y="connsiteY26830"/>
                </a:cxn>
                <a:cxn ang="0">
                  <a:pos x="connsiteX26831" y="connsiteY26831"/>
                </a:cxn>
                <a:cxn ang="0">
                  <a:pos x="connsiteX26832" y="connsiteY26832"/>
                </a:cxn>
                <a:cxn ang="0">
                  <a:pos x="connsiteX26833" y="connsiteY26833"/>
                </a:cxn>
                <a:cxn ang="0">
                  <a:pos x="connsiteX26834" y="connsiteY26834"/>
                </a:cxn>
                <a:cxn ang="0">
                  <a:pos x="connsiteX26835" y="connsiteY26835"/>
                </a:cxn>
                <a:cxn ang="0">
                  <a:pos x="connsiteX26836" y="connsiteY26836"/>
                </a:cxn>
                <a:cxn ang="0">
                  <a:pos x="connsiteX26837" y="connsiteY26837"/>
                </a:cxn>
                <a:cxn ang="0">
                  <a:pos x="connsiteX26838" y="connsiteY26838"/>
                </a:cxn>
                <a:cxn ang="0">
                  <a:pos x="connsiteX26839" y="connsiteY26839"/>
                </a:cxn>
                <a:cxn ang="0">
                  <a:pos x="connsiteX26840" y="connsiteY26840"/>
                </a:cxn>
                <a:cxn ang="0">
                  <a:pos x="connsiteX26841" y="connsiteY26841"/>
                </a:cxn>
                <a:cxn ang="0">
                  <a:pos x="connsiteX26842" y="connsiteY26842"/>
                </a:cxn>
                <a:cxn ang="0">
                  <a:pos x="connsiteX26843" y="connsiteY26843"/>
                </a:cxn>
                <a:cxn ang="0">
                  <a:pos x="connsiteX26844" y="connsiteY26844"/>
                </a:cxn>
                <a:cxn ang="0">
                  <a:pos x="connsiteX26845" y="connsiteY26845"/>
                </a:cxn>
                <a:cxn ang="0">
                  <a:pos x="connsiteX26846" y="connsiteY26846"/>
                </a:cxn>
                <a:cxn ang="0">
                  <a:pos x="connsiteX26847" y="connsiteY26847"/>
                </a:cxn>
                <a:cxn ang="0">
                  <a:pos x="connsiteX26848" y="connsiteY26848"/>
                </a:cxn>
                <a:cxn ang="0">
                  <a:pos x="connsiteX26849" y="connsiteY26849"/>
                </a:cxn>
                <a:cxn ang="0">
                  <a:pos x="connsiteX26850" y="connsiteY26850"/>
                </a:cxn>
                <a:cxn ang="0">
                  <a:pos x="connsiteX26851" y="connsiteY26851"/>
                </a:cxn>
                <a:cxn ang="0">
                  <a:pos x="connsiteX26852" y="connsiteY26852"/>
                </a:cxn>
                <a:cxn ang="0">
                  <a:pos x="connsiteX26853" y="connsiteY26853"/>
                </a:cxn>
                <a:cxn ang="0">
                  <a:pos x="connsiteX26854" y="connsiteY26854"/>
                </a:cxn>
                <a:cxn ang="0">
                  <a:pos x="connsiteX26855" y="connsiteY26855"/>
                </a:cxn>
                <a:cxn ang="0">
                  <a:pos x="connsiteX26856" y="connsiteY26856"/>
                </a:cxn>
                <a:cxn ang="0">
                  <a:pos x="connsiteX26857" y="connsiteY26857"/>
                </a:cxn>
                <a:cxn ang="0">
                  <a:pos x="connsiteX26858" y="connsiteY26858"/>
                </a:cxn>
                <a:cxn ang="0">
                  <a:pos x="connsiteX26859" y="connsiteY26859"/>
                </a:cxn>
                <a:cxn ang="0">
                  <a:pos x="connsiteX26860" y="connsiteY26860"/>
                </a:cxn>
                <a:cxn ang="0">
                  <a:pos x="connsiteX26861" y="connsiteY26861"/>
                </a:cxn>
                <a:cxn ang="0">
                  <a:pos x="connsiteX26862" y="connsiteY26862"/>
                </a:cxn>
                <a:cxn ang="0">
                  <a:pos x="connsiteX26863" y="connsiteY26863"/>
                </a:cxn>
                <a:cxn ang="0">
                  <a:pos x="connsiteX26864" y="connsiteY26864"/>
                </a:cxn>
                <a:cxn ang="0">
                  <a:pos x="connsiteX26865" y="connsiteY26865"/>
                </a:cxn>
                <a:cxn ang="0">
                  <a:pos x="connsiteX26866" y="connsiteY26866"/>
                </a:cxn>
                <a:cxn ang="0">
                  <a:pos x="connsiteX26867" y="connsiteY26867"/>
                </a:cxn>
                <a:cxn ang="0">
                  <a:pos x="connsiteX26868" y="connsiteY26868"/>
                </a:cxn>
                <a:cxn ang="0">
                  <a:pos x="connsiteX26869" y="connsiteY26869"/>
                </a:cxn>
                <a:cxn ang="0">
                  <a:pos x="connsiteX26870" y="connsiteY26870"/>
                </a:cxn>
                <a:cxn ang="0">
                  <a:pos x="connsiteX26871" y="connsiteY26871"/>
                </a:cxn>
                <a:cxn ang="0">
                  <a:pos x="connsiteX26872" y="connsiteY26872"/>
                </a:cxn>
                <a:cxn ang="0">
                  <a:pos x="connsiteX26873" y="connsiteY26873"/>
                </a:cxn>
                <a:cxn ang="0">
                  <a:pos x="connsiteX26874" y="connsiteY26874"/>
                </a:cxn>
                <a:cxn ang="0">
                  <a:pos x="connsiteX26875" y="connsiteY26875"/>
                </a:cxn>
                <a:cxn ang="0">
                  <a:pos x="connsiteX26876" y="connsiteY26876"/>
                </a:cxn>
                <a:cxn ang="0">
                  <a:pos x="connsiteX26877" y="connsiteY26877"/>
                </a:cxn>
                <a:cxn ang="0">
                  <a:pos x="connsiteX26878" y="connsiteY26878"/>
                </a:cxn>
                <a:cxn ang="0">
                  <a:pos x="connsiteX26879" y="connsiteY26879"/>
                </a:cxn>
                <a:cxn ang="0">
                  <a:pos x="connsiteX26880" y="connsiteY26880"/>
                </a:cxn>
                <a:cxn ang="0">
                  <a:pos x="connsiteX26881" y="connsiteY26881"/>
                </a:cxn>
                <a:cxn ang="0">
                  <a:pos x="connsiteX26882" y="connsiteY26882"/>
                </a:cxn>
                <a:cxn ang="0">
                  <a:pos x="connsiteX26883" y="connsiteY26883"/>
                </a:cxn>
                <a:cxn ang="0">
                  <a:pos x="connsiteX26884" y="connsiteY26884"/>
                </a:cxn>
                <a:cxn ang="0">
                  <a:pos x="connsiteX26885" y="connsiteY26885"/>
                </a:cxn>
                <a:cxn ang="0">
                  <a:pos x="connsiteX26886" y="connsiteY26886"/>
                </a:cxn>
                <a:cxn ang="0">
                  <a:pos x="connsiteX26887" y="connsiteY26887"/>
                </a:cxn>
                <a:cxn ang="0">
                  <a:pos x="connsiteX26888" y="connsiteY26888"/>
                </a:cxn>
                <a:cxn ang="0">
                  <a:pos x="connsiteX26889" y="connsiteY26889"/>
                </a:cxn>
                <a:cxn ang="0">
                  <a:pos x="connsiteX26890" y="connsiteY26890"/>
                </a:cxn>
                <a:cxn ang="0">
                  <a:pos x="connsiteX26891" y="connsiteY26891"/>
                </a:cxn>
                <a:cxn ang="0">
                  <a:pos x="connsiteX26892" y="connsiteY26892"/>
                </a:cxn>
                <a:cxn ang="0">
                  <a:pos x="connsiteX26893" y="connsiteY26893"/>
                </a:cxn>
                <a:cxn ang="0">
                  <a:pos x="connsiteX26894" y="connsiteY26894"/>
                </a:cxn>
                <a:cxn ang="0">
                  <a:pos x="connsiteX26895" y="connsiteY26895"/>
                </a:cxn>
                <a:cxn ang="0">
                  <a:pos x="connsiteX26896" y="connsiteY26896"/>
                </a:cxn>
                <a:cxn ang="0">
                  <a:pos x="connsiteX26897" y="connsiteY26897"/>
                </a:cxn>
                <a:cxn ang="0">
                  <a:pos x="connsiteX26898" y="connsiteY26898"/>
                </a:cxn>
                <a:cxn ang="0">
                  <a:pos x="connsiteX26899" y="connsiteY26899"/>
                </a:cxn>
                <a:cxn ang="0">
                  <a:pos x="connsiteX26900" y="connsiteY26900"/>
                </a:cxn>
                <a:cxn ang="0">
                  <a:pos x="connsiteX26901" y="connsiteY26901"/>
                </a:cxn>
                <a:cxn ang="0">
                  <a:pos x="connsiteX26902" y="connsiteY26902"/>
                </a:cxn>
                <a:cxn ang="0">
                  <a:pos x="connsiteX26903" y="connsiteY26903"/>
                </a:cxn>
                <a:cxn ang="0">
                  <a:pos x="connsiteX26904" y="connsiteY26904"/>
                </a:cxn>
                <a:cxn ang="0">
                  <a:pos x="connsiteX26905" y="connsiteY26905"/>
                </a:cxn>
                <a:cxn ang="0">
                  <a:pos x="connsiteX26906" y="connsiteY26906"/>
                </a:cxn>
                <a:cxn ang="0">
                  <a:pos x="connsiteX26907" y="connsiteY26907"/>
                </a:cxn>
                <a:cxn ang="0">
                  <a:pos x="connsiteX26908" y="connsiteY26908"/>
                </a:cxn>
                <a:cxn ang="0">
                  <a:pos x="connsiteX26909" y="connsiteY26909"/>
                </a:cxn>
                <a:cxn ang="0">
                  <a:pos x="connsiteX26910" y="connsiteY26910"/>
                </a:cxn>
                <a:cxn ang="0">
                  <a:pos x="connsiteX26911" y="connsiteY26911"/>
                </a:cxn>
                <a:cxn ang="0">
                  <a:pos x="connsiteX26912" y="connsiteY26912"/>
                </a:cxn>
                <a:cxn ang="0">
                  <a:pos x="connsiteX26913" y="connsiteY26913"/>
                </a:cxn>
                <a:cxn ang="0">
                  <a:pos x="connsiteX26914" y="connsiteY26914"/>
                </a:cxn>
                <a:cxn ang="0">
                  <a:pos x="connsiteX26915" y="connsiteY26915"/>
                </a:cxn>
                <a:cxn ang="0">
                  <a:pos x="connsiteX26916" y="connsiteY26916"/>
                </a:cxn>
                <a:cxn ang="0">
                  <a:pos x="connsiteX26917" y="connsiteY26917"/>
                </a:cxn>
                <a:cxn ang="0">
                  <a:pos x="connsiteX26918" y="connsiteY26918"/>
                </a:cxn>
                <a:cxn ang="0">
                  <a:pos x="connsiteX26919" y="connsiteY26919"/>
                </a:cxn>
                <a:cxn ang="0">
                  <a:pos x="connsiteX26920" y="connsiteY26920"/>
                </a:cxn>
                <a:cxn ang="0">
                  <a:pos x="connsiteX26921" y="connsiteY26921"/>
                </a:cxn>
                <a:cxn ang="0">
                  <a:pos x="connsiteX26922" y="connsiteY26922"/>
                </a:cxn>
                <a:cxn ang="0">
                  <a:pos x="connsiteX26923" y="connsiteY26923"/>
                </a:cxn>
                <a:cxn ang="0">
                  <a:pos x="connsiteX26924" y="connsiteY26924"/>
                </a:cxn>
                <a:cxn ang="0">
                  <a:pos x="connsiteX26925" y="connsiteY26925"/>
                </a:cxn>
                <a:cxn ang="0">
                  <a:pos x="connsiteX26926" y="connsiteY26926"/>
                </a:cxn>
                <a:cxn ang="0">
                  <a:pos x="connsiteX26927" y="connsiteY26927"/>
                </a:cxn>
                <a:cxn ang="0">
                  <a:pos x="connsiteX26928" y="connsiteY26928"/>
                </a:cxn>
                <a:cxn ang="0">
                  <a:pos x="connsiteX26929" y="connsiteY26929"/>
                </a:cxn>
                <a:cxn ang="0">
                  <a:pos x="connsiteX26930" y="connsiteY26930"/>
                </a:cxn>
                <a:cxn ang="0">
                  <a:pos x="connsiteX26931" y="connsiteY26931"/>
                </a:cxn>
                <a:cxn ang="0">
                  <a:pos x="connsiteX26932" y="connsiteY26932"/>
                </a:cxn>
                <a:cxn ang="0">
                  <a:pos x="connsiteX26933" y="connsiteY26933"/>
                </a:cxn>
                <a:cxn ang="0">
                  <a:pos x="connsiteX26934" y="connsiteY26934"/>
                </a:cxn>
                <a:cxn ang="0">
                  <a:pos x="connsiteX26935" y="connsiteY26935"/>
                </a:cxn>
                <a:cxn ang="0">
                  <a:pos x="connsiteX26936" y="connsiteY26936"/>
                </a:cxn>
                <a:cxn ang="0">
                  <a:pos x="connsiteX26937" y="connsiteY26937"/>
                </a:cxn>
                <a:cxn ang="0">
                  <a:pos x="connsiteX26938" y="connsiteY26938"/>
                </a:cxn>
                <a:cxn ang="0">
                  <a:pos x="connsiteX26939" y="connsiteY26939"/>
                </a:cxn>
                <a:cxn ang="0">
                  <a:pos x="connsiteX26940" y="connsiteY26940"/>
                </a:cxn>
                <a:cxn ang="0">
                  <a:pos x="connsiteX26941" y="connsiteY26941"/>
                </a:cxn>
                <a:cxn ang="0">
                  <a:pos x="connsiteX26942" y="connsiteY26942"/>
                </a:cxn>
                <a:cxn ang="0">
                  <a:pos x="connsiteX26943" y="connsiteY26943"/>
                </a:cxn>
                <a:cxn ang="0">
                  <a:pos x="connsiteX26944" y="connsiteY26944"/>
                </a:cxn>
                <a:cxn ang="0">
                  <a:pos x="connsiteX26945" y="connsiteY26945"/>
                </a:cxn>
                <a:cxn ang="0">
                  <a:pos x="connsiteX26946" y="connsiteY26946"/>
                </a:cxn>
                <a:cxn ang="0">
                  <a:pos x="connsiteX26947" y="connsiteY26947"/>
                </a:cxn>
                <a:cxn ang="0">
                  <a:pos x="connsiteX26948" y="connsiteY26948"/>
                </a:cxn>
                <a:cxn ang="0">
                  <a:pos x="connsiteX26949" y="connsiteY26949"/>
                </a:cxn>
                <a:cxn ang="0">
                  <a:pos x="connsiteX26950" y="connsiteY26950"/>
                </a:cxn>
                <a:cxn ang="0">
                  <a:pos x="connsiteX26951" y="connsiteY26951"/>
                </a:cxn>
                <a:cxn ang="0">
                  <a:pos x="connsiteX26952" y="connsiteY26952"/>
                </a:cxn>
                <a:cxn ang="0">
                  <a:pos x="connsiteX26953" y="connsiteY26953"/>
                </a:cxn>
                <a:cxn ang="0">
                  <a:pos x="connsiteX26954" y="connsiteY26954"/>
                </a:cxn>
                <a:cxn ang="0">
                  <a:pos x="connsiteX26955" y="connsiteY26955"/>
                </a:cxn>
                <a:cxn ang="0">
                  <a:pos x="connsiteX26956" y="connsiteY26956"/>
                </a:cxn>
                <a:cxn ang="0">
                  <a:pos x="connsiteX26957" y="connsiteY26957"/>
                </a:cxn>
                <a:cxn ang="0">
                  <a:pos x="connsiteX26958" y="connsiteY26958"/>
                </a:cxn>
                <a:cxn ang="0">
                  <a:pos x="connsiteX26959" y="connsiteY26959"/>
                </a:cxn>
                <a:cxn ang="0">
                  <a:pos x="connsiteX26960" y="connsiteY26960"/>
                </a:cxn>
                <a:cxn ang="0">
                  <a:pos x="connsiteX26961" y="connsiteY26961"/>
                </a:cxn>
                <a:cxn ang="0">
                  <a:pos x="connsiteX26962" y="connsiteY26962"/>
                </a:cxn>
                <a:cxn ang="0">
                  <a:pos x="connsiteX26963" y="connsiteY26963"/>
                </a:cxn>
                <a:cxn ang="0">
                  <a:pos x="connsiteX26964" y="connsiteY26964"/>
                </a:cxn>
                <a:cxn ang="0">
                  <a:pos x="connsiteX26965" y="connsiteY26965"/>
                </a:cxn>
                <a:cxn ang="0">
                  <a:pos x="connsiteX26966" y="connsiteY26966"/>
                </a:cxn>
                <a:cxn ang="0">
                  <a:pos x="connsiteX26967" y="connsiteY26967"/>
                </a:cxn>
                <a:cxn ang="0">
                  <a:pos x="connsiteX26968" y="connsiteY26968"/>
                </a:cxn>
                <a:cxn ang="0">
                  <a:pos x="connsiteX26969" y="connsiteY26969"/>
                </a:cxn>
                <a:cxn ang="0">
                  <a:pos x="connsiteX26970" y="connsiteY26970"/>
                </a:cxn>
                <a:cxn ang="0">
                  <a:pos x="connsiteX26971" y="connsiteY26971"/>
                </a:cxn>
                <a:cxn ang="0">
                  <a:pos x="connsiteX26972" y="connsiteY26972"/>
                </a:cxn>
                <a:cxn ang="0">
                  <a:pos x="connsiteX26973" y="connsiteY26973"/>
                </a:cxn>
                <a:cxn ang="0">
                  <a:pos x="connsiteX26974" y="connsiteY26974"/>
                </a:cxn>
                <a:cxn ang="0">
                  <a:pos x="connsiteX26975" y="connsiteY26975"/>
                </a:cxn>
                <a:cxn ang="0">
                  <a:pos x="connsiteX26976" y="connsiteY26976"/>
                </a:cxn>
                <a:cxn ang="0">
                  <a:pos x="connsiteX26977" y="connsiteY26977"/>
                </a:cxn>
                <a:cxn ang="0">
                  <a:pos x="connsiteX26978" y="connsiteY26978"/>
                </a:cxn>
                <a:cxn ang="0">
                  <a:pos x="connsiteX26979" y="connsiteY26979"/>
                </a:cxn>
                <a:cxn ang="0">
                  <a:pos x="connsiteX26980" y="connsiteY26980"/>
                </a:cxn>
                <a:cxn ang="0">
                  <a:pos x="connsiteX26981" y="connsiteY26981"/>
                </a:cxn>
                <a:cxn ang="0">
                  <a:pos x="connsiteX26982" y="connsiteY26982"/>
                </a:cxn>
                <a:cxn ang="0">
                  <a:pos x="connsiteX26983" y="connsiteY26983"/>
                </a:cxn>
                <a:cxn ang="0">
                  <a:pos x="connsiteX26984" y="connsiteY26984"/>
                </a:cxn>
                <a:cxn ang="0">
                  <a:pos x="connsiteX26985" y="connsiteY26985"/>
                </a:cxn>
                <a:cxn ang="0">
                  <a:pos x="connsiteX26986" y="connsiteY26986"/>
                </a:cxn>
                <a:cxn ang="0">
                  <a:pos x="connsiteX26987" y="connsiteY26987"/>
                </a:cxn>
                <a:cxn ang="0">
                  <a:pos x="connsiteX26988" y="connsiteY26988"/>
                </a:cxn>
                <a:cxn ang="0">
                  <a:pos x="connsiteX26989" y="connsiteY26989"/>
                </a:cxn>
                <a:cxn ang="0">
                  <a:pos x="connsiteX26990" y="connsiteY26990"/>
                </a:cxn>
                <a:cxn ang="0">
                  <a:pos x="connsiteX26991" y="connsiteY26991"/>
                </a:cxn>
                <a:cxn ang="0">
                  <a:pos x="connsiteX26992" y="connsiteY26992"/>
                </a:cxn>
                <a:cxn ang="0">
                  <a:pos x="connsiteX26993" y="connsiteY26993"/>
                </a:cxn>
                <a:cxn ang="0">
                  <a:pos x="connsiteX26994" y="connsiteY26994"/>
                </a:cxn>
                <a:cxn ang="0">
                  <a:pos x="connsiteX26995" y="connsiteY26995"/>
                </a:cxn>
                <a:cxn ang="0">
                  <a:pos x="connsiteX26996" y="connsiteY26996"/>
                </a:cxn>
                <a:cxn ang="0">
                  <a:pos x="connsiteX26997" y="connsiteY26997"/>
                </a:cxn>
                <a:cxn ang="0">
                  <a:pos x="connsiteX26998" y="connsiteY26998"/>
                </a:cxn>
                <a:cxn ang="0">
                  <a:pos x="connsiteX26999" y="connsiteY26999"/>
                </a:cxn>
                <a:cxn ang="0">
                  <a:pos x="connsiteX27000" y="connsiteY27000"/>
                </a:cxn>
                <a:cxn ang="0">
                  <a:pos x="connsiteX27001" y="connsiteY27001"/>
                </a:cxn>
                <a:cxn ang="0">
                  <a:pos x="connsiteX27002" y="connsiteY27002"/>
                </a:cxn>
                <a:cxn ang="0">
                  <a:pos x="connsiteX27003" y="connsiteY27003"/>
                </a:cxn>
                <a:cxn ang="0">
                  <a:pos x="connsiteX27004" y="connsiteY27004"/>
                </a:cxn>
                <a:cxn ang="0">
                  <a:pos x="connsiteX27005" y="connsiteY27005"/>
                </a:cxn>
                <a:cxn ang="0">
                  <a:pos x="connsiteX27006" y="connsiteY27006"/>
                </a:cxn>
                <a:cxn ang="0">
                  <a:pos x="connsiteX27007" y="connsiteY27007"/>
                </a:cxn>
                <a:cxn ang="0">
                  <a:pos x="connsiteX27008" y="connsiteY27008"/>
                </a:cxn>
                <a:cxn ang="0">
                  <a:pos x="connsiteX27009" y="connsiteY27009"/>
                </a:cxn>
                <a:cxn ang="0">
                  <a:pos x="connsiteX27010" y="connsiteY27010"/>
                </a:cxn>
                <a:cxn ang="0">
                  <a:pos x="connsiteX27011" y="connsiteY27011"/>
                </a:cxn>
                <a:cxn ang="0">
                  <a:pos x="connsiteX27012" y="connsiteY27012"/>
                </a:cxn>
                <a:cxn ang="0">
                  <a:pos x="connsiteX27013" y="connsiteY27013"/>
                </a:cxn>
                <a:cxn ang="0">
                  <a:pos x="connsiteX27014" y="connsiteY27014"/>
                </a:cxn>
                <a:cxn ang="0">
                  <a:pos x="connsiteX27015" y="connsiteY27015"/>
                </a:cxn>
                <a:cxn ang="0">
                  <a:pos x="connsiteX27016" y="connsiteY27016"/>
                </a:cxn>
                <a:cxn ang="0">
                  <a:pos x="connsiteX27017" y="connsiteY27017"/>
                </a:cxn>
                <a:cxn ang="0">
                  <a:pos x="connsiteX27018" y="connsiteY27018"/>
                </a:cxn>
                <a:cxn ang="0">
                  <a:pos x="connsiteX27019" y="connsiteY27019"/>
                </a:cxn>
                <a:cxn ang="0">
                  <a:pos x="connsiteX27020" y="connsiteY27020"/>
                </a:cxn>
                <a:cxn ang="0">
                  <a:pos x="connsiteX27021" y="connsiteY27021"/>
                </a:cxn>
                <a:cxn ang="0">
                  <a:pos x="connsiteX27022" y="connsiteY27022"/>
                </a:cxn>
                <a:cxn ang="0">
                  <a:pos x="connsiteX27023" y="connsiteY27023"/>
                </a:cxn>
                <a:cxn ang="0">
                  <a:pos x="connsiteX27024" y="connsiteY27024"/>
                </a:cxn>
                <a:cxn ang="0">
                  <a:pos x="connsiteX27025" y="connsiteY27025"/>
                </a:cxn>
                <a:cxn ang="0">
                  <a:pos x="connsiteX27026" y="connsiteY27026"/>
                </a:cxn>
                <a:cxn ang="0">
                  <a:pos x="connsiteX27027" y="connsiteY27027"/>
                </a:cxn>
                <a:cxn ang="0">
                  <a:pos x="connsiteX27028" y="connsiteY27028"/>
                </a:cxn>
                <a:cxn ang="0">
                  <a:pos x="connsiteX27029" y="connsiteY27029"/>
                </a:cxn>
                <a:cxn ang="0">
                  <a:pos x="connsiteX27030" y="connsiteY27030"/>
                </a:cxn>
                <a:cxn ang="0">
                  <a:pos x="connsiteX27031" y="connsiteY27031"/>
                </a:cxn>
                <a:cxn ang="0">
                  <a:pos x="connsiteX27032" y="connsiteY27032"/>
                </a:cxn>
                <a:cxn ang="0">
                  <a:pos x="connsiteX27033" y="connsiteY27033"/>
                </a:cxn>
                <a:cxn ang="0">
                  <a:pos x="connsiteX27034" y="connsiteY27034"/>
                </a:cxn>
                <a:cxn ang="0">
                  <a:pos x="connsiteX27035" y="connsiteY27035"/>
                </a:cxn>
                <a:cxn ang="0">
                  <a:pos x="connsiteX27036" y="connsiteY27036"/>
                </a:cxn>
                <a:cxn ang="0">
                  <a:pos x="connsiteX27037" y="connsiteY27037"/>
                </a:cxn>
                <a:cxn ang="0">
                  <a:pos x="connsiteX27038" y="connsiteY27038"/>
                </a:cxn>
                <a:cxn ang="0">
                  <a:pos x="connsiteX27039" y="connsiteY27039"/>
                </a:cxn>
                <a:cxn ang="0">
                  <a:pos x="connsiteX27040" y="connsiteY27040"/>
                </a:cxn>
                <a:cxn ang="0">
                  <a:pos x="connsiteX27041" y="connsiteY27041"/>
                </a:cxn>
                <a:cxn ang="0">
                  <a:pos x="connsiteX27042" y="connsiteY27042"/>
                </a:cxn>
                <a:cxn ang="0">
                  <a:pos x="connsiteX27043" y="connsiteY27043"/>
                </a:cxn>
                <a:cxn ang="0">
                  <a:pos x="connsiteX27044" y="connsiteY27044"/>
                </a:cxn>
                <a:cxn ang="0">
                  <a:pos x="connsiteX27045" y="connsiteY27045"/>
                </a:cxn>
                <a:cxn ang="0">
                  <a:pos x="connsiteX27046" y="connsiteY27046"/>
                </a:cxn>
                <a:cxn ang="0">
                  <a:pos x="connsiteX27047" y="connsiteY27047"/>
                </a:cxn>
                <a:cxn ang="0">
                  <a:pos x="connsiteX27048" y="connsiteY27048"/>
                </a:cxn>
                <a:cxn ang="0">
                  <a:pos x="connsiteX27049" y="connsiteY27049"/>
                </a:cxn>
                <a:cxn ang="0">
                  <a:pos x="connsiteX27050" y="connsiteY27050"/>
                </a:cxn>
                <a:cxn ang="0">
                  <a:pos x="connsiteX27051" y="connsiteY27051"/>
                </a:cxn>
                <a:cxn ang="0">
                  <a:pos x="connsiteX27052" y="connsiteY27052"/>
                </a:cxn>
                <a:cxn ang="0">
                  <a:pos x="connsiteX27053" y="connsiteY27053"/>
                </a:cxn>
                <a:cxn ang="0">
                  <a:pos x="connsiteX27054" y="connsiteY27054"/>
                </a:cxn>
                <a:cxn ang="0">
                  <a:pos x="connsiteX27055" y="connsiteY27055"/>
                </a:cxn>
                <a:cxn ang="0">
                  <a:pos x="connsiteX27056" y="connsiteY27056"/>
                </a:cxn>
                <a:cxn ang="0">
                  <a:pos x="connsiteX27057" y="connsiteY27057"/>
                </a:cxn>
                <a:cxn ang="0">
                  <a:pos x="connsiteX27058" y="connsiteY27058"/>
                </a:cxn>
                <a:cxn ang="0">
                  <a:pos x="connsiteX27059" y="connsiteY27059"/>
                </a:cxn>
                <a:cxn ang="0">
                  <a:pos x="connsiteX27060" y="connsiteY27060"/>
                </a:cxn>
                <a:cxn ang="0">
                  <a:pos x="connsiteX27061" y="connsiteY27061"/>
                </a:cxn>
                <a:cxn ang="0">
                  <a:pos x="connsiteX27062" y="connsiteY27062"/>
                </a:cxn>
                <a:cxn ang="0">
                  <a:pos x="connsiteX27063" y="connsiteY27063"/>
                </a:cxn>
                <a:cxn ang="0">
                  <a:pos x="connsiteX27064" y="connsiteY27064"/>
                </a:cxn>
                <a:cxn ang="0">
                  <a:pos x="connsiteX27065" y="connsiteY27065"/>
                </a:cxn>
                <a:cxn ang="0">
                  <a:pos x="connsiteX27066" y="connsiteY27066"/>
                </a:cxn>
                <a:cxn ang="0">
                  <a:pos x="connsiteX27067" y="connsiteY27067"/>
                </a:cxn>
                <a:cxn ang="0">
                  <a:pos x="connsiteX27068" y="connsiteY27068"/>
                </a:cxn>
                <a:cxn ang="0">
                  <a:pos x="connsiteX27069" y="connsiteY27069"/>
                </a:cxn>
                <a:cxn ang="0">
                  <a:pos x="connsiteX27070" y="connsiteY27070"/>
                </a:cxn>
                <a:cxn ang="0">
                  <a:pos x="connsiteX27071" y="connsiteY27071"/>
                </a:cxn>
                <a:cxn ang="0">
                  <a:pos x="connsiteX27072" y="connsiteY27072"/>
                </a:cxn>
                <a:cxn ang="0">
                  <a:pos x="connsiteX27073" y="connsiteY27073"/>
                </a:cxn>
                <a:cxn ang="0">
                  <a:pos x="connsiteX27074" y="connsiteY27074"/>
                </a:cxn>
                <a:cxn ang="0">
                  <a:pos x="connsiteX27075" y="connsiteY27075"/>
                </a:cxn>
                <a:cxn ang="0">
                  <a:pos x="connsiteX27076" y="connsiteY27076"/>
                </a:cxn>
                <a:cxn ang="0">
                  <a:pos x="connsiteX27077" y="connsiteY27077"/>
                </a:cxn>
                <a:cxn ang="0">
                  <a:pos x="connsiteX27078" y="connsiteY27078"/>
                </a:cxn>
                <a:cxn ang="0">
                  <a:pos x="connsiteX27079" y="connsiteY27079"/>
                </a:cxn>
                <a:cxn ang="0">
                  <a:pos x="connsiteX27080" y="connsiteY27080"/>
                </a:cxn>
                <a:cxn ang="0">
                  <a:pos x="connsiteX27081" y="connsiteY27081"/>
                </a:cxn>
                <a:cxn ang="0">
                  <a:pos x="connsiteX27082" y="connsiteY27082"/>
                </a:cxn>
                <a:cxn ang="0">
                  <a:pos x="connsiteX27083" y="connsiteY27083"/>
                </a:cxn>
                <a:cxn ang="0">
                  <a:pos x="connsiteX27084" y="connsiteY27084"/>
                </a:cxn>
                <a:cxn ang="0">
                  <a:pos x="connsiteX27085" y="connsiteY27085"/>
                </a:cxn>
                <a:cxn ang="0">
                  <a:pos x="connsiteX27086" y="connsiteY27086"/>
                </a:cxn>
                <a:cxn ang="0">
                  <a:pos x="connsiteX27087" y="connsiteY27087"/>
                </a:cxn>
                <a:cxn ang="0">
                  <a:pos x="connsiteX27088" y="connsiteY27088"/>
                </a:cxn>
                <a:cxn ang="0">
                  <a:pos x="connsiteX27089" y="connsiteY27089"/>
                </a:cxn>
                <a:cxn ang="0">
                  <a:pos x="connsiteX27090" y="connsiteY27090"/>
                </a:cxn>
                <a:cxn ang="0">
                  <a:pos x="connsiteX27091" y="connsiteY27091"/>
                </a:cxn>
                <a:cxn ang="0">
                  <a:pos x="connsiteX27092" y="connsiteY27092"/>
                </a:cxn>
                <a:cxn ang="0">
                  <a:pos x="connsiteX27093" y="connsiteY27093"/>
                </a:cxn>
                <a:cxn ang="0">
                  <a:pos x="connsiteX27094" y="connsiteY27094"/>
                </a:cxn>
                <a:cxn ang="0">
                  <a:pos x="connsiteX27095" y="connsiteY27095"/>
                </a:cxn>
                <a:cxn ang="0">
                  <a:pos x="connsiteX27096" y="connsiteY27096"/>
                </a:cxn>
                <a:cxn ang="0">
                  <a:pos x="connsiteX27097" y="connsiteY27097"/>
                </a:cxn>
                <a:cxn ang="0">
                  <a:pos x="connsiteX27098" y="connsiteY27098"/>
                </a:cxn>
                <a:cxn ang="0">
                  <a:pos x="connsiteX27099" y="connsiteY27099"/>
                </a:cxn>
                <a:cxn ang="0">
                  <a:pos x="connsiteX27100" y="connsiteY27100"/>
                </a:cxn>
                <a:cxn ang="0">
                  <a:pos x="connsiteX27101" y="connsiteY27101"/>
                </a:cxn>
                <a:cxn ang="0">
                  <a:pos x="connsiteX27102" y="connsiteY27102"/>
                </a:cxn>
                <a:cxn ang="0">
                  <a:pos x="connsiteX27103" y="connsiteY27103"/>
                </a:cxn>
                <a:cxn ang="0">
                  <a:pos x="connsiteX27104" y="connsiteY27104"/>
                </a:cxn>
                <a:cxn ang="0">
                  <a:pos x="connsiteX27105" y="connsiteY27105"/>
                </a:cxn>
                <a:cxn ang="0">
                  <a:pos x="connsiteX27106" y="connsiteY27106"/>
                </a:cxn>
                <a:cxn ang="0">
                  <a:pos x="connsiteX27107" y="connsiteY27107"/>
                </a:cxn>
                <a:cxn ang="0">
                  <a:pos x="connsiteX27108" y="connsiteY27108"/>
                </a:cxn>
                <a:cxn ang="0">
                  <a:pos x="connsiteX27109" y="connsiteY27109"/>
                </a:cxn>
                <a:cxn ang="0">
                  <a:pos x="connsiteX27110" y="connsiteY27110"/>
                </a:cxn>
                <a:cxn ang="0">
                  <a:pos x="connsiteX27111" y="connsiteY27111"/>
                </a:cxn>
                <a:cxn ang="0">
                  <a:pos x="connsiteX27112" y="connsiteY27112"/>
                </a:cxn>
                <a:cxn ang="0">
                  <a:pos x="connsiteX27113" y="connsiteY27113"/>
                </a:cxn>
                <a:cxn ang="0">
                  <a:pos x="connsiteX27114" y="connsiteY27114"/>
                </a:cxn>
                <a:cxn ang="0">
                  <a:pos x="connsiteX27115" y="connsiteY27115"/>
                </a:cxn>
                <a:cxn ang="0">
                  <a:pos x="connsiteX27116" y="connsiteY27116"/>
                </a:cxn>
                <a:cxn ang="0">
                  <a:pos x="connsiteX27117" y="connsiteY27117"/>
                </a:cxn>
                <a:cxn ang="0">
                  <a:pos x="connsiteX27118" y="connsiteY27118"/>
                </a:cxn>
                <a:cxn ang="0">
                  <a:pos x="connsiteX27119" y="connsiteY27119"/>
                </a:cxn>
                <a:cxn ang="0">
                  <a:pos x="connsiteX27120" y="connsiteY27120"/>
                </a:cxn>
                <a:cxn ang="0">
                  <a:pos x="connsiteX27121" y="connsiteY27121"/>
                </a:cxn>
                <a:cxn ang="0">
                  <a:pos x="connsiteX27122" y="connsiteY27122"/>
                </a:cxn>
                <a:cxn ang="0">
                  <a:pos x="connsiteX27123" y="connsiteY27123"/>
                </a:cxn>
                <a:cxn ang="0">
                  <a:pos x="connsiteX27124" y="connsiteY27124"/>
                </a:cxn>
                <a:cxn ang="0">
                  <a:pos x="connsiteX27125" y="connsiteY27125"/>
                </a:cxn>
                <a:cxn ang="0">
                  <a:pos x="connsiteX27126" y="connsiteY27126"/>
                </a:cxn>
                <a:cxn ang="0">
                  <a:pos x="connsiteX27127" y="connsiteY27127"/>
                </a:cxn>
                <a:cxn ang="0">
                  <a:pos x="connsiteX27128" y="connsiteY27128"/>
                </a:cxn>
                <a:cxn ang="0">
                  <a:pos x="connsiteX27129" y="connsiteY27129"/>
                </a:cxn>
                <a:cxn ang="0">
                  <a:pos x="connsiteX27130" y="connsiteY27130"/>
                </a:cxn>
                <a:cxn ang="0">
                  <a:pos x="connsiteX27131" y="connsiteY27131"/>
                </a:cxn>
                <a:cxn ang="0">
                  <a:pos x="connsiteX27132" y="connsiteY27132"/>
                </a:cxn>
                <a:cxn ang="0">
                  <a:pos x="connsiteX27133" y="connsiteY27133"/>
                </a:cxn>
                <a:cxn ang="0">
                  <a:pos x="connsiteX27134" y="connsiteY27134"/>
                </a:cxn>
                <a:cxn ang="0">
                  <a:pos x="connsiteX27135" y="connsiteY27135"/>
                </a:cxn>
                <a:cxn ang="0">
                  <a:pos x="connsiteX27136" y="connsiteY27136"/>
                </a:cxn>
                <a:cxn ang="0">
                  <a:pos x="connsiteX27137" y="connsiteY27137"/>
                </a:cxn>
                <a:cxn ang="0">
                  <a:pos x="connsiteX27138" y="connsiteY27138"/>
                </a:cxn>
                <a:cxn ang="0">
                  <a:pos x="connsiteX27139" y="connsiteY27139"/>
                </a:cxn>
                <a:cxn ang="0">
                  <a:pos x="connsiteX27140" y="connsiteY27140"/>
                </a:cxn>
                <a:cxn ang="0">
                  <a:pos x="connsiteX27141" y="connsiteY27141"/>
                </a:cxn>
                <a:cxn ang="0">
                  <a:pos x="connsiteX27142" y="connsiteY27142"/>
                </a:cxn>
                <a:cxn ang="0">
                  <a:pos x="connsiteX27143" y="connsiteY27143"/>
                </a:cxn>
                <a:cxn ang="0">
                  <a:pos x="connsiteX27144" y="connsiteY27144"/>
                </a:cxn>
                <a:cxn ang="0">
                  <a:pos x="connsiteX27145" y="connsiteY27145"/>
                </a:cxn>
                <a:cxn ang="0">
                  <a:pos x="connsiteX27146" y="connsiteY27146"/>
                </a:cxn>
                <a:cxn ang="0">
                  <a:pos x="connsiteX27147" y="connsiteY27147"/>
                </a:cxn>
                <a:cxn ang="0">
                  <a:pos x="connsiteX27148" y="connsiteY27148"/>
                </a:cxn>
                <a:cxn ang="0">
                  <a:pos x="connsiteX27149" y="connsiteY27149"/>
                </a:cxn>
                <a:cxn ang="0">
                  <a:pos x="connsiteX27150" y="connsiteY27150"/>
                </a:cxn>
                <a:cxn ang="0">
                  <a:pos x="connsiteX27151" y="connsiteY27151"/>
                </a:cxn>
                <a:cxn ang="0">
                  <a:pos x="connsiteX27152" y="connsiteY27152"/>
                </a:cxn>
                <a:cxn ang="0">
                  <a:pos x="connsiteX27153" y="connsiteY27153"/>
                </a:cxn>
                <a:cxn ang="0">
                  <a:pos x="connsiteX27154" y="connsiteY27154"/>
                </a:cxn>
                <a:cxn ang="0">
                  <a:pos x="connsiteX27155" y="connsiteY27155"/>
                </a:cxn>
                <a:cxn ang="0">
                  <a:pos x="connsiteX27156" y="connsiteY27156"/>
                </a:cxn>
                <a:cxn ang="0">
                  <a:pos x="connsiteX27157" y="connsiteY27157"/>
                </a:cxn>
                <a:cxn ang="0">
                  <a:pos x="connsiteX27158" y="connsiteY27158"/>
                </a:cxn>
                <a:cxn ang="0">
                  <a:pos x="connsiteX27159" y="connsiteY27159"/>
                </a:cxn>
                <a:cxn ang="0">
                  <a:pos x="connsiteX27160" y="connsiteY27160"/>
                </a:cxn>
                <a:cxn ang="0">
                  <a:pos x="connsiteX27161" y="connsiteY27161"/>
                </a:cxn>
                <a:cxn ang="0">
                  <a:pos x="connsiteX27162" y="connsiteY27162"/>
                </a:cxn>
                <a:cxn ang="0">
                  <a:pos x="connsiteX27163" y="connsiteY27163"/>
                </a:cxn>
                <a:cxn ang="0">
                  <a:pos x="connsiteX27164" y="connsiteY27164"/>
                </a:cxn>
                <a:cxn ang="0">
                  <a:pos x="connsiteX27165" y="connsiteY27165"/>
                </a:cxn>
                <a:cxn ang="0">
                  <a:pos x="connsiteX27166" y="connsiteY27166"/>
                </a:cxn>
                <a:cxn ang="0">
                  <a:pos x="connsiteX27167" y="connsiteY27167"/>
                </a:cxn>
                <a:cxn ang="0">
                  <a:pos x="connsiteX27168" y="connsiteY27168"/>
                </a:cxn>
                <a:cxn ang="0">
                  <a:pos x="connsiteX27169" y="connsiteY27169"/>
                </a:cxn>
                <a:cxn ang="0">
                  <a:pos x="connsiteX27170" y="connsiteY27170"/>
                </a:cxn>
                <a:cxn ang="0">
                  <a:pos x="connsiteX27171" y="connsiteY27171"/>
                </a:cxn>
                <a:cxn ang="0">
                  <a:pos x="connsiteX27172" y="connsiteY27172"/>
                </a:cxn>
                <a:cxn ang="0">
                  <a:pos x="connsiteX27173" y="connsiteY27173"/>
                </a:cxn>
                <a:cxn ang="0">
                  <a:pos x="connsiteX27174" y="connsiteY27174"/>
                </a:cxn>
                <a:cxn ang="0">
                  <a:pos x="connsiteX27175" y="connsiteY27175"/>
                </a:cxn>
                <a:cxn ang="0">
                  <a:pos x="connsiteX27176" y="connsiteY27176"/>
                </a:cxn>
                <a:cxn ang="0">
                  <a:pos x="connsiteX27177" y="connsiteY27177"/>
                </a:cxn>
                <a:cxn ang="0">
                  <a:pos x="connsiteX27178" y="connsiteY27178"/>
                </a:cxn>
                <a:cxn ang="0">
                  <a:pos x="connsiteX27179" y="connsiteY27179"/>
                </a:cxn>
                <a:cxn ang="0">
                  <a:pos x="connsiteX27180" y="connsiteY27180"/>
                </a:cxn>
                <a:cxn ang="0">
                  <a:pos x="connsiteX27181" y="connsiteY27181"/>
                </a:cxn>
                <a:cxn ang="0">
                  <a:pos x="connsiteX27182" y="connsiteY27182"/>
                </a:cxn>
                <a:cxn ang="0">
                  <a:pos x="connsiteX27183" y="connsiteY27183"/>
                </a:cxn>
                <a:cxn ang="0">
                  <a:pos x="connsiteX27184" y="connsiteY27184"/>
                </a:cxn>
                <a:cxn ang="0">
                  <a:pos x="connsiteX27185" y="connsiteY27185"/>
                </a:cxn>
                <a:cxn ang="0">
                  <a:pos x="connsiteX27186" y="connsiteY27186"/>
                </a:cxn>
                <a:cxn ang="0">
                  <a:pos x="connsiteX27187" y="connsiteY27187"/>
                </a:cxn>
                <a:cxn ang="0">
                  <a:pos x="connsiteX27188" y="connsiteY27188"/>
                </a:cxn>
                <a:cxn ang="0">
                  <a:pos x="connsiteX27189" y="connsiteY27189"/>
                </a:cxn>
                <a:cxn ang="0">
                  <a:pos x="connsiteX27190" y="connsiteY27190"/>
                </a:cxn>
                <a:cxn ang="0">
                  <a:pos x="connsiteX27191" y="connsiteY27191"/>
                </a:cxn>
                <a:cxn ang="0">
                  <a:pos x="connsiteX27192" y="connsiteY27192"/>
                </a:cxn>
                <a:cxn ang="0">
                  <a:pos x="connsiteX27193" y="connsiteY27193"/>
                </a:cxn>
                <a:cxn ang="0">
                  <a:pos x="connsiteX27194" y="connsiteY27194"/>
                </a:cxn>
                <a:cxn ang="0">
                  <a:pos x="connsiteX27195" y="connsiteY27195"/>
                </a:cxn>
                <a:cxn ang="0">
                  <a:pos x="connsiteX27196" y="connsiteY27196"/>
                </a:cxn>
                <a:cxn ang="0">
                  <a:pos x="connsiteX27197" y="connsiteY27197"/>
                </a:cxn>
                <a:cxn ang="0">
                  <a:pos x="connsiteX27198" y="connsiteY27198"/>
                </a:cxn>
                <a:cxn ang="0">
                  <a:pos x="connsiteX27199" y="connsiteY27199"/>
                </a:cxn>
                <a:cxn ang="0">
                  <a:pos x="connsiteX27200" y="connsiteY27200"/>
                </a:cxn>
                <a:cxn ang="0">
                  <a:pos x="connsiteX27201" y="connsiteY27201"/>
                </a:cxn>
                <a:cxn ang="0">
                  <a:pos x="connsiteX27202" y="connsiteY27202"/>
                </a:cxn>
                <a:cxn ang="0">
                  <a:pos x="connsiteX27203" y="connsiteY27203"/>
                </a:cxn>
                <a:cxn ang="0">
                  <a:pos x="connsiteX27204" y="connsiteY27204"/>
                </a:cxn>
                <a:cxn ang="0">
                  <a:pos x="connsiteX27205" y="connsiteY27205"/>
                </a:cxn>
                <a:cxn ang="0">
                  <a:pos x="connsiteX27206" y="connsiteY27206"/>
                </a:cxn>
                <a:cxn ang="0">
                  <a:pos x="connsiteX27207" y="connsiteY27207"/>
                </a:cxn>
                <a:cxn ang="0">
                  <a:pos x="connsiteX27208" y="connsiteY27208"/>
                </a:cxn>
                <a:cxn ang="0">
                  <a:pos x="connsiteX27209" y="connsiteY27209"/>
                </a:cxn>
                <a:cxn ang="0">
                  <a:pos x="connsiteX27210" y="connsiteY27210"/>
                </a:cxn>
                <a:cxn ang="0">
                  <a:pos x="connsiteX27211" y="connsiteY27211"/>
                </a:cxn>
                <a:cxn ang="0">
                  <a:pos x="connsiteX27212" y="connsiteY27212"/>
                </a:cxn>
                <a:cxn ang="0">
                  <a:pos x="connsiteX27213" y="connsiteY27213"/>
                </a:cxn>
                <a:cxn ang="0">
                  <a:pos x="connsiteX27214" y="connsiteY27214"/>
                </a:cxn>
                <a:cxn ang="0">
                  <a:pos x="connsiteX27215" y="connsiteY27215"/>
                </a:cxn>
                <a:cxn ang="0">
                  <a:pos x="connsiteX27216" y="connsiteY27216"/>
                </a:cxn>
                <a:cxn ang="0">
                  <a:pos x="connsiteX27217" y="connsiteY27217"/>
                </a:cxn>
                <a:cxn ang="0">
                  <a:pos x="connsiteX27218" y="connsiteY27218"/>
                </a:cxn>
                <a:cxn ang="0">
                  <a:pos x="connsiteX27219" y="connsiteY27219"/>
                </a:cxn>
                <a:cxn ang="0">
                  <a:pos x="connsiteX27220" y="connsiteY27220"/>
                </a:cxn>
                <a:cxn ang="0">
                  <a:pos x="connsiteX27221" y="connsiteY27221"/>
                </a:cxn>
                <a:cxn ang="0">
                  <a:pos x="connsiteX27222" y="connsiteY27222"/>
                </a:cxn>
                <a:cxn ang="0">
                  <a:pos x="connsiteX27223" y="connsiteY27223"/>
                </a:cxn>
                <a:cxn ang="0">
                  <a:pos x="connsiteX27224" y="connsiteY27224"/>
                </a:cxn>
                <a:cxn ang="0">
                  <a:pos x="connsiteX27225" y="connsiteY27225"/>
                </a:cxn>
                <a:cxn ang="0">
                  <a:pos x="connsiteX27226" y="connsiteY27226"/>
                </a:cxn>
                <a:cxn ang="0">
                  <a:pos x="connsiteX27227" y="connsiteY27227"/>
                </a:cxn>
                <a:cxn ang="0">
                  <a:pos x="connsiteX27228" y="connsiteY27228"/>
                </a:cxn>
                <a:cxn ang="0">
                  <a:pos x="connsiteX27229" y="connsiteY27229"/>
                </a:cxn>
                <a:cxn ang="0">
                  <a:pos x="connsiteX27230" y="connsiteY27230"/>
                </a:cxn>
                <a:cxn ang="0">
                  <a:pos x="connsiteX27231" y="connsiteY27231"/>
                </a:cxn>
                <a:cxn ang="0">
                  <a:pos x="connsiteX27232" y="connsiteY27232"/>
                </a:cxn>
                <a:cxn ang="0">
                  <a:pos x="connsiteX27233" y="connsiteY27233"/>
                </a:cxn>
                <a:cxn ang="0">
                  <a:pos x="connsiteX27234" y="connsiteY27234"/>
                </a:cxn>
                <a:cxn ang="0">
                  <a:pos x="connsiteX27235" y="connsiteY27235"/>
                </a:cxn>
                <a:cxn ang="0">
                  <a:pos x="connsiteX27236" y="connsiteY27236"/>
                </a:cxn>
                <a:cxn ang="0">
                  <a:pos x="connsiteX27237" y="connsiteY27237"/>
                </a:cxn>
                <a:cxn ang="0">
                  <a:pos x="connsiteX27238" y="connsiteY27238"/>
                </a:cxn>
                <a:cxn ang="0">
                  <a:pos x="connsiteX27239" y="connsiteY27239"/>
                </a:cxn>
                <a:cxn ang="0">
                  <a:pos x="connsiteX27240" y="connsiteY27240"/>
                </a:cxn>
                <a:cxn ang="0">
                  <a:pos x="connsiteX27241" y="connsiteY27241"/>
                </a:cxn>
                <a:cxn ang="0">
                  <a:pos x="connsiteX27242" y="connsiteY27242"/>
                </a:cxn>
                <a:cxn ang="0">
                  <a:pos x="connsiteX27243" y="connsiteY27243"/>
                </a:cxn>
                <a:cxn ang="0">
                  <a:pos x="connsiteX27244" y="connsiteY27244"/>
                </a:cxn>
                <a:cxn ang="0">
                  <a:pos x="connsiteX27245" y="connsiteY27245"/>
                </a:cxn>
                <a:cxn ang="0">
                  <a:pos x="connsiteX27246" y="connsiteY27246"/>
                </a:cxn>
                <a:cxn ang="0">
                  <a:pos x="connsiteX27247" y="connsiteY27247"/>
                </a:cxn>
                <a:cxn ang="0">
                  <a:pos x="connsiteX27248" y="connsiteY27248"/>
                </a:cxn>
                <a:cxn ang="0">
                  <a:pos x="connsiteX27249" y="connsiteY27249"/>
                </a:cxn>
                <a:cxn ang="0">
                  <a:pos x="connsiteX27250" y="connsiteY27250"/>
                </a:cxn>
                <a:cxn ang="0">
                  <a:pos x="connsiteX27251" y="connsiteY27251"/>
                </a:cxn>
                <a:cxn ang="0">
                  <a:pos x="connsiteX27252" y="connsiteY27252"/>
                </a:cxn>
                <a:cxn ang="0">
                  <a:pos x="connsiteX27253" y="connsiteY27253"/>
                </a:cxn>
                <a:cxn ang="0">
                  <a:pos x="connsiteX27254" y="connsiteY27254"/>
                </a:cxn>
                <a:cxn ang="0">
                  <a:pos x="connsiteX27255" y="connsiteY27255"/>
                </a:cxn>
                <a:cxn ang="0">
                  <a:pos x="connsiteX27256" y="connsiteY27256"/>
                </a:cxn>
                <a:cxn ang="0">
                  <a:pos x="connsiteX27257" y="connsiteY27257"/>
                </a:cxn>
                <a:cxn ang="0">
                  <a:pos x="connsiteX27258" y="connsiteY27258"/>
                </a:cxn>
                <a:cxn ang="0">
                  <a:pos x="connsiteX27259" y="connsiteY27259"/>
                </a:cxn>
                <a:cxn ang="0">
                  <a:pos x="connsiteX27260" y="connsiteY27260"/>
                </a:cxn>
                <a:cxn ang="0">
                  <a:pos x="connsiteX27261" y="connsiteY27261"/>
                </a:cxn>
                <a:cxn ang="0">
                  <a:pos x="connsiteX27262" y="connsiteY27262"/>
                </a:cxn>
                <a:cxn ang="0">
                  <a:pos x="connsiteX27263" y="connsiteY27263"/>
                </a:cxn>
                <a:cxn ang="0">
                  <a:pos x="connsiteX27264" y="connsiteY27264"/>
                </a:cxn>
                <a:cxn ang="0">
                  <a:pos x="connsiteX27265" y="connsiteY27265"/>
                </a:cxn>
                <a:cxn ang="0">
                  <a:pos x="connsiteX27266" y="connsiteY27266"/>
                </a:cxn>
                <a:cxn ang="0">
                  <a:pos x="connsiteX27267" y="connsiteY27267"/>
                </a:cxn>
                <a:cxn ang="0">
                  <a:pos x="connsiteX27268" y="connsiteY27268"/>
                </a:cxn>
                <a:cxn ang="0">
                  <a:pos x="connsiteX27269" y="connsiteY27269"/>
                </a:cxn>
                <a:cxn ang="0">
                  <a:pos x="connsiteX27270" y="connsiteY27270"/>
                </a:cxn>
                <a:cxn ang="0">
                  <a:pos x="connsiteX27271" y="connsiteY27271"/>
                </a:cxn>
                <a:cxn ang="0">
                  <a:pos x="connsiteX27272" y="connsiteY27272"/>
                </a:cxn>
                <a:cxn ang="0">
                  <a:pos x="connsiteX27273" y="connsiteY27273"/>
                </a:cxn>
                <a:cxn ang="0">
                  <a:pos x="connsiteX27274" y="connsiteY27274"/>
                </a:cxn>
                <a:cxn ang="0">
                  <a:pos x="connsiteX27275" y="connsiteY27275"/>
                </a:cxn>
                <a:cxn ang="0">
                  <a:pos x="connsiteX27276" y="connsiteY27276"/>
                </a:cxn>
                <a:cxn ang="0">
                  <a:pos x="connsiteX27277" y="connsiteY27277"/>
                </a:cxn>
                <a:cxn ang="0">
                  <a:pos x="connsiteX27278" y="connsiteY27278"/>
                </a:cxn>
                <a:cxn ang="0">
                  <a:pos x="connsiteX27279" y="connsiteY27279"/>
                </a:cxn>
                <a:cxn ang="0">
                  <a:pos x="connsiteX27280" y="connsiteY27280"/>
                </a:cxn>
                <a:cxn ang="0">
                  <a:pos x="connsiteX27281" y="connsiteY27281"/>
                </a:cxn>
                <a:cxn ang="0">
                  <a:pos x="connsiteX27282" y="connsiteY27282"/>
                </a:cxn>
                <a:cxn ang="0">
                  <a:pos x="connsiteX27283" y="connsiteY27283"/>
                </a:cxn>
                <a:cxn ang="0">
                  <a:pos x="connsiteX27284" y="connsiteY27284"/>
                </a:cxn>
                <a:cxn ang="0">
                  <a:pos x="connsiteX27285" y="connsiteY27285"/>
                </a:cxn>
                <a:cxn ang="0">
                  <a:pos x="connsiteX27286" y="connsiteY27286"/>
                </a:cxn>
                <a:cxn ang="0">
                  <a:pos x="connsiteX27287" y="connsiteY27287"/>
                </a:cxn>
                <a:cxn ang="0">
                  <a:pos x="connsiteX27288" y="connsiteY27288"/>
                </a:cxn>
                <a:cxn ang="0">
                  <a:pos x="connsiteX27289" y="connsiteY27289"/>
                </a:cxn>
                <a:cxn ang="0">
                  <a:pos x="connsiteX27290" y="connsiteY27290"/>
                </a:cxn>
                <a:cxn ang="0">
                  <a:pos x="connsiteX27291" y="connsiteY27291"/>
                </a:cxn>
                <a:cxn ang="0">
                  <a:pos x="connsiteX27292" y="connsiteY27292"/>
                </a:cxn>
                <a:cxn ang="0">
                  <a:pos x="connsiteX27293" y="connsiteY27293"/>
                </a:cxn>
                <a:cxn ang="0">
                  <a:pos x="connsiteX27294" y="connsiteY27294"/>
                </a:cxn>
                <a:cxn ang="0">
                  <a:pos x="connsiteX27295" y="connsiteY27295"/>
                </a:cxn>
                <a:cxn ang="0">
                  <a:pos x="connsiteX27296" y="connsiteY27296"/>
                </a:cxn>
                <a:cxn ang="0">
                  <a:pos x="connsiteX27297" y="connsiteY27297"/>
                </a:cxn>
                <a:cxn ang="0">
                  <a:pos x="connsiteX27298" y="connsiteY27298"/>
                </a:cxn>
                <a:cxn ang="0">
                  <a:pos x="connsiteX27299" y="connsiteY27299"/>
                </a:cxn>
                <a:cxn ang="0">
                  <a:pos x="connsiteX27300" y="connsiteY27300"/>
                </a:cxn>
                <a:cxn ang="0">
                  <a:pos x="connsiteX27301" y="connsiteY27301"/>
                </a:cxn>
                <a:cxn ang="0">
                  <a:pos x="connsiteX27302" y="connsiteY27302"/>
                </a:cxn>
                <a:cxn ang="0">
                  <a:pos x="connsiteX27303" y="connsiteY27303"/>
                </a:cxn>
                <a:cxn ang="0">
                  <a:pos x="connsiteX27304" y="connsiteY27304"/>
                </a:cxn>
                <a:cxn ang="0">
                  <a:pos x="connsiteX27305" y="connsiteY27305"/>
                </a:cxn>
                <a:cxn ang="0">
                  <a:pos x="connsiteX27306" y="connsiteY27306"/>
                </a:cxn>
                <a:cxn ang="0">
                  <a:pos x="connsiteX27307" y="connsiteY27307"/>
                </a:cxn>
                <a:cxn ang="0">
                  <a:pos x="connsiteX27308" y="connsiteY27308"/>
                </a:cxn>
                <a:cxn ang="0">
                  <a:pos x="connsiteX27309" y="connsiteY27309"/>
                </a:cxn>
                <a:cxn ang="0">
                  <a:pos x="connsiteX27310" y="connsiteY27310"/>
                </a:cxn>
                <a:cxn ang="0">
                  <a:pos x="connsiteX27311" y="connsiteY27311"/>
                </a:cxn>
                <a:cxn ang="0">
                  <a:pos x="connsiteX27312" y="connsiteY27312"/>
                </a:cxn>
                <a:cxn ang="0">
                  <a:pos x="connsiteX27313" y="connsiteY27313"/>
                </a:cxn>
                <a:cxn ang="0">
                  <a:pos x="connsiteX27314" y="connsiteY27314"/>
                </a:cxn>
                <a:cxn ang="0">
                  <a:pos x="connsiteX27315" y="connsiteY27315"/>
                </a:cxn>
                <a:cxn ang="0">
                  <a:pos x="connsiteX27316" y="connsiteY27316"/>
                </a:cxn>
                <a:cxn ang="0">
                  <a:pos x="connsiteX27317" y="connsiteY27317"/>
                </a:cxn>
                <a:cxn ang="0">
                  <a:pos x="connsiteX27318" y="connsiteY27318"/>
                </a:cxn>
                <a:cxn ang="0">
                  <a:pos x="connsiteX27319" y="connsiteY27319"/>
                </a:cxn>
                <a:cxn ang="0">
                  <a:pos x="connsiteX27320" y="connsiteY27320"/>
                </a:cxn>
                <a:cxn ang="0">
                  <a:pos x="connsiteX27321" y="connsiteY27321"/>
                </a:cxn>
                <a:cxn ang="0">
                  <a:pos x="connsiteX27322" y="connsiteY27322"/>
                </a:cxn>
                <a:cxn ang="0">
                  <a:pos x="connsiteX27323" y="connsiteY27323"/>
                </a:cxn>
                <a:cxn ang="0">
                  <a:pos x="connsiteX27324" y="connsiteY27324"/>
                </a:cxn>
                <a:cxn ang="0">
                  <a:pos x="connsiteX27325" y="connsiteY27325"/>
                </a:cxn>
                <a:cxn ang="0">
                  <a:pos x="connsiteX27326" y="connsiteY27326"/>
                </a:cxn>
                <a:cxn ang="0">
                  <a:pos x="connsiteX27327" y="connsiteY27327"/>
                </a:cxn>
                <a:cxn ang="0">
                  <a:pos x="connsiteX27328" y="connsiteY27328"/>
                </a:cxn>
                <a:cxn ang="0">
                  <a:pos x="connsiteX27329" y="connsiteY27329"/>
                </a:cxn>
                <a:cxn ang="0">
                  <a:pos x="connsiteX27330" y="connsiteY27330"/>
                </a:cxn>
                <a:cxn ang="0">
                  <a:pos x="connsiteX27331" y="connsiteY27331"/>
                </a:cxn>
                <a:cxn ang="0">
                  <a:pos x="connsiteX27332" y="connsiteY27332"/>
                </a:cxn>
                <a:cxn ang="0">
                  <a:pos x="connsiteX27333" y="connsiteY27333"/>
                </a:cxn>
                <a:cxn ang="0">
                  <a:pos x="connsiteX27334" y="connsiteY27334"/>
                </a:cxn>
                <a:cxn ang="0">
                  <a:pos x="connsiteX27335" y="connsiteY27335"/>
                </a:cxn>
                <a:cxn ang="0">
                  <a:pos x="connsiteX27336" y="connsiteY27336"/>
                </a:cxn>
                <a:cxn ang="0">
                  <a:pos x="connsiteX27337" y="connsiteY27337"/>
                </a:cxn>
                <a:cxn ang="0">
                  <a:pos x="connsiteX27338" y="connsiteY27338"/>
                </a:cxn>
                <a:cxn ang="0">
                  <a:pos x="connsiteX27339" y="connsiteY27339"/>
                </a:cxn>
                <a:cxn ang="0">
                  <a:pos x="connsiteX27340" y="connsiteY27340"/>
                </a:cxn>
                <a:cxn ang="0">
                  <a:pos x="connsiteX27341" y="connsiteY27341"/>
                </a:cxn>
                <a:cxn ang="0">
                  <a:pos x="connsiteX27342" y="connsiteY27342"/>
                </a:cxn>
                <a:cxn ang="0">
                  <a:pos x="connsiteX27343" y="connsiteY27343"/>
                </a:cxn>
                <a:cxn ang="0">
                  <a:pos x="connsiteX27344" y="connsiteY27344"/>
                </a:cxn>
                <a:cxn ang="0">
                  <a:pos x="connsiteX27345" y="connsiteY27345"/>
                </a:cxn>
                <a:cxn ang="0">
                  <a:pos x="connsiteX27346" y="connsiteY27346"/>
                </a:cxn>
                <a:cxn ang="0">
                  <a:pos x="connsiteX27347" y="connsiteY27347"/>
                </a:cxn>
                <a:cxn ang="0">
                  <a:pos x="connsiteX27348" y="connsiteY27348"/>
                </a:cxn>
                <a:cxn ang="0">
                  <a:pos x="connsiteX27349" y="connsiteY27349"/>
                </a:cxn>
                <a:cxn ang="0">
                  <a:pos x="connsiteX27350" y="connsiteY27350"/>
                </a:cxn>
                <a:cxn ang="0">
                  <a:pos x="connsiteX27351" y="connsiteY27351"/>
                </a:cxn>
                <a:cxn ang="0">
                  <a:pos x="connsiteX27352" y="connsiteY27352"/>
                </a:cxn>
                <a:cxn ang="0">
                  <a:pos x="connsiteX27353" y="connsiteY27353"/>
                </a:cxn>
                <a:cxn ang="0">
                  <a:pos x="connsiteX27354" y="connsiteY27354"/>
                </a:cxn>
                <a:cxn ang="0">
                  <a:pos x="connsiteX27355" y="connsiteY27355"/>
                </a:cxn>
                <a:cxn ang="0">
                  <a:pos x="connsiteX27356" y="connsiteY27356"/>
                </a:cxn>
                <a:cxn ang="0">
                  <a:pos x="connsiteX27357" y="connsiteY27357"/>
                </a:cxn>
                <a:cxn ang="0">
                  <a:pos x="connsiteX27358" y="connsiteY27358"/>
                </a:cxn>
                <a:cxn ang="0">
                  <a:pos x="connsiteX27359" y="connsiteY27359"/>
                </a:cxn>
                <a:cxn ang="0">
                  <a:pos x="connsiteX27360" y="connsiteY27360"/>
                </a:cxn>
                <a:cxn ang="0">
                  <a:pos x="connsiteX27361" y="connsiteY27361"/>
                </a:cxn>
                <a:cxn ang="0">
                  <a:pos x="connsiteX27362" y="connsiteY27362"/>
                </a:cxn>
                <a:cxn ang="0">
                  <a:pos x="connsiteX27363" y="connsiteY27363"/>
                </a:cxn>
                <a:cxn ang="0">
                  <a:pos x="connsiteX27364" y="connsiteY27364"/>
                </a:cxn>
                <a:cxn ang="0">
                  <a:pos x="connsiteX27365" y="connsiteY27365"/>
                </a:cxn>
                <a:cxn ang="0">
                  <a:pos x="connsiteX27366" y="connsiteY27366"/>
                </a:cxn>
                <a:cxn ang="0">
                  <a:pos x="connsiteX27367" y="connsiteY27367"/>
                </a:cxn>
                <a:cxn ang="0">
                  <a:pos x="connsiteX27368" y="connsiteY27368"/>
                </a:cxn>
                <a:cxn ang="0">
                  <a:pos x="connsiteX27369" y="connsiteY27369"/>
                </a:cxn>
                <a:cxn ang="0">
                  <a:pos x="connsiteX27370" y="connsiteY27370"/>
                </a:cxn>
                <a:cxn ang="0">
                  <a:pos x="connsiteX27371" y="connsiteY27371"/>
                </a:cxn>
                <a:cxn ang="0">
                  <a:pos x="connsiteX27372" y="connsiteY27372"/>
                </a:cxn>
                <a:cxn ang="0">
                  <a:pos x="connsiteX27373" y="connsiteY27373"/>
                </a:cxn>
                <a:cxn ang="0">
                  <a:pos x="connsiteX27374" y="connsiteY27374"/>
                </a:cxn>
                <a:cxn ang="0">
                  <a:pos x="connsiteX27375" y="connsiteY27375"/>
                </a:cxn>
                <a:cxn ang="0">
                  <a:pos x="connsiteX27376" y="connsiteY27376"/>
                </a:cxn>
                <a:cxn ang="0">
                  <a:pos x="connsiteX27377" y="connsiteY27377"/>
                </a:cxn>
                <a:cxn ang="0">
                  <a:pos x="connsiteX27378" y="connsiteY27378"/>
                </a:cxn>
                <a:cxn ang="0">
                  <a:pos x="connsiteX27379" y="connsiteY27379"/>
                </a:cxn>
                <a:cxn ang="0">
                  <a:pos x="connsiteX27380" y="connsiteY27380"/>
                </a:cxn>
                <a:cxn ang="0">
                  <a:pos x="connsiteX27381" y="connsiteY27381"/>
                </a:cxn>
                <a:cxn ang="0">
                  <a:pos x="connsiteX27382" y="connsiteY27382"/>
                </a:cxn>
                <a:cxn ang="0">
                  <a:pos x="connsiteX27383" y="connsiteY27383"/>
                </a:cxn>
                <a:cxn ang="0">
                  <a:pos x="connsiteX27384" y="connsiteY27384"/>
                </a:cxn>
                <a:cxn ang="0">
                  <a:pos x="connsiteX27385" y="connsiteY27385"/>
                </a:cxn>
                <a:cxn ang="0">
                  <a:pos x="connsiteX27386" y="connsiteY27386"/>
                </a:cxn>
                <a:cxn ang="0">
                  <a:pos x="connsiteX27387" y="connsiteY27387"/>
                </a:cxn>
                <a:cxn ang="0">
                  <a:pos x="connsiteX27388" y="connsiteY27388"/>
                </a:cxn>
                <a:cxn ang="0">
                  <a:pos x="connsiteX27389" y="connsiteY27389"/>
                </a:cxn>
                <a:cxn ang="0">
                  <a:pos x="connsiteX27390" y="connsiteY27390"/>
                </a:cxn>
                <a:cxn ang="0">
                  <a:pos x="connsiteX27391" y="connsiteY27391"/>
                </a:cxn>
                <a:cxn ang="0">
                  <a:pos x="connsiteX27392" y="connsiteY27392"/>
                </a:cxn>
                <a:cxn ang="0">
                  <a:pos x="connsiteX27393" y="connsiteY27393"/>
                </a:cxn>
                <a:cxn ang="0">
                  <a:pos x="connsiteX27394" y="connsiteY27394"/>
                </a:cxn>
                <a:cxn ang="0">
                  <a:pos x="connsiteX27395" y="connsiteY27395"/>
                </a:cxn>
                <a:cxn ang="0">
                  <a:pos x="connsiteX27396" y="connsiteY27396"/>
                </a:cxn>
                <a:cxn ang="0">
                  <a:pos x="connsiteX27397" y="connsiteY27397"/>
                </a:cxn>
                <a:cxn ang="0">
                  <a:pos x="connsiteX27398" y="connsiteY27398"/>
                </a:cxn>
                <a:cxn ang="0">
                  <a:pos x="connsiteX27399" y="connsiteY27399"/>
                </a:cxn>
                <a:cxn ang="0">
                  <a:pos x="connsiteX27400" y="connsiteY27400"/>
                </a:cxn>
                <a:cxn ang="0">
                  <a:pos x="connsiteX27401" y="connsiteY27401"/>
                </a:cxn>
                <a:cxn ang="0">
                  <a:pos x="connsiteX27402" y="connsiteY27402"/>
                </a:cxn>
                <a:cxn ang="0">
                  <a:pos x="connsiteX27403" y="connsiteY27403"/>
                </a:cxn>
                <a:cxn ang="0">
                  <a:pos x="connsiteX27404" y="connsiteY27404"/>
                </a:cxn>
                <a:cxn ang="0">
                  <a:pos x="connsiteX27405" y="connsiteY27405"/>
                </a:cxn>
                <a:cxn ang="0">
                  <a:pos x="connsiteX27406" y="connsiteY27406"/>
                </a:cxn>
                <a:cxn ang="0">
                  <a:pos x="connsiteX27407" y="connsiteY27407"/>
                </a:cxn>
                <a:cxn ang="0">
                  <a:pos x="connsiteX27408" y="connsiteY27408"/>
                </a:cxn>
                <a:cxn ang="0">
                  <a:pos x="connsiteX27409" y="connsiteY27409"/>
                </a:cxn>
                <a:cxn ang="0">
                  <a:pos x="connsiteX27410" y="connsiteY27410"/>
                </a:cxn>
                <a:cxn ang="0">
                  <a:pos x="connsiteX27411" y="connsiteY27411"/>
                </a:cxn>
                <a:cxn ang="0">
                  <a:pos x="connsiteX27412" y="connsiteY27412"/>
                </a:cxn>
                <a:cxn ang="0">
                  <a:pos x="connsiteX27413" y="connsiteY27413"/>
                </a:cxn>
                <a:cxn ang="0">
                  <a:pos x="connsiteX27414" y="connsiteY27414"/>
                </a:cxn>
                <a:cxn ang="0">
                  <a:pos x="connsiteX27415" y="connsiteY27415"/>
                </a:cxn>
                <a:cxn ang="0">
                  <a:pos x="connsiteX27416" y="connsiteY27416"/>
                </a:cxn>
                <a:cxn ang="0">
                  <a:pos x="connsiteX27417" y="connsiteY27417"/>
                </a:cxn>
                <a:cxn ang="0">
                  <a:pos x="connsiteX27418" y="connsiteY27418"/>
                </a:cxn>
                <a:cxn ang="0">
                  <a:pos x="connsiteX27419" y="connsiteY27419"/>
                </a:cxn>
                <a:cxn ang="0">
                  <a:pos x="connsiteX27420" y="connsiteY27420"/>
                </a:cxn>
                <a:cxn ang="0">
                  <a:pos x="connsiteX27421" y="connsiteY27421"/>
                </a:cxn>
                <a:cxn ang="0">
                  <a:pos x="connsiteX27422" y="connsiteY27422"/>
                </a:cxn>
                <a:cxn ang="0">
                  <a:pos x="connsiteX27423" y="connsiteY27423"/>
                </a:cxn>
                <a:cxn ang="0">
                  <a:pos x="connsiteX27424" y="connsiteY27424"/>
                </a:cxn>
                <a:cxn ang="0">
                  <a:pos x="connsiteX27425" y="connsiteY27425"/>
                </a:cxn>
                <a:cxn ang="0">
                  <a:pos x="connsiteX27426" y="connsiteY27426"/>
                </a:cxn>
                <a:cxn ang="0">
                  <a:pos x="connsiteX27427" y="connsiteY27427"/>
                </a:cxn>
                <a:cxn ang="0">
                  <a:pos x="connsiteX27428" y="connsiteY27428"/>
                </a:cxn>
                <a:cxn ang="0">
                  <a:pos x="connsiteX27429" y="connsiteY27429"/>
                </a:cxn>
                <a:cxn ang="0">
                  <a:pos x="connsiteX27430" y="connsiteY27430"/>
                </a:cxn>
                <a:cxn ang="0">
                  <a:pos x="connsiteX27431" y="connsiteY27431"/>
                </a:cxn>
                <a:cxn ang="0">
                  <a:pos x="connsiteX27432" y="connsiteY27432"/>
                </a:cxn>
                <a:cxn ang="0">
                  <a:pos x="connsiteX27433" y="connsiteY27433"/>
                </a:cxn>
                <a:cxn ang="0">
                  <a:pos x="connsiteX27434" y="connsiteY27434"/>
                </a:cxn>
                <a:cxn ang="0">
                  <a:pos x="connsiteX27435" y="connsiteY27435"/>
                </a:cxn>
                <a:cxn ang="0">
                  <a:pos x="connsiteX27436" y="connsiteY27436"/>
                </a:cxn>
                <a:cxn ang="0">
                  <a:pos x="connsiteX27437" y="connsiteY27437"/>
                </a:cxn>
                <a:cxn ang="0">
                  <a:pos x="connsiteX27438" y="connsiteY27438"/>
                </a:cxn>
                <a:cxn ang="0">
                  <a:pos x="connsiteX27439" y="connsiteY27439"/>
                </a:cxn>
                <a:cxn ang="0">
                  <a:pos x="connsiteX27440" y="connsiteY27440"/>
                </a:cxn>
                <a:cxn ang="0">
                  <a:pos x="connsiteX27441" y="connsiteY27441"/>
                </a:cxn>
                <a:cxn ang="0">
                  <a:pos x="connsiteX27442" y="connsiteY27442"/>
                </a:cxn>
                <a:cxn ang="0">
                  <a:pos x="connsiteX27443" y="connsiteY27443"/>
                </a:cxn>
                <a:cxn ang="0">
                  <a:pos x="connsiteX27444" y="connsiteY27444"/>
                </a:cxn>
                <a:cxn ang="0">
                  <a:pos x="connsiteX27445" y="connsiteY27445"/>
                </a:cxn>
                <a:cxn ang="0">
                  <a:pos x="connsiteX27446" y="connsiteY27446"/>
                </a:cxn>
                <a:cxn ang="0">
                  <a:pos x="connsiteX27447" y="connsiteY27447"/>
                </a:cxn>
                <a:cxn ang="0">
                  <a:pos x="connsiteX27448" y="connsiteY27448"/>
                </a:cxn>
                <a:cxn ang="0">
                  <a:pos x="connsiteX27449" y="connsiteY27449"/>
                </a:cxn>
                <a:cxn ang="0">
                  <a:pos x="connsiteX27450" y="connsiteY27450"/>
                </a:cxn>
                <a:cxn ang="0">
                  <a:pos x="connsiteX27451" y="connsiteY27451"/>
                </a:cxn>
                <a:cxn ang="0">
                  <a:pos x="connsiteX27452" y="connsiteY27452"/>
                </a:cxn>
                <a:cxn ang="0">
                  <a:pos x="connsiteX27453" y="connsiteY27453"/>
                </a:cxn>
                <a:cxn ang="0">
                  <a:pos x="connsiteX27454" y="connsiteY27454"/>
                </a:cxn>
                <a:cxn ang="0">
                  <a:pos x="connsiteX27455" y="connsiteY27455"/>
                </a:cxn>
                <a:cxn ang="0">
                  <a:pos x="connsiteX27456" y="connsiteY27456"/>
                </a:cxn>
                <a:cxn ang="0">
                  <a:pos x="connsiteX27457" y="connsiteY27457"/>
                </a:cxn>
                <a:cxn ang="0">
                  <a:pos x="connsiteX27458" y="connsiteY27458"/>
                </a:cxn>
                <a:cxn ang="0">
                  <a:pos x="connsiteX27459" y="connsiteY27459"/>
                </a:cxn>
                <a:cxn ang="0">
                  <a:pos x="connsiteX27460" y="connsiteY27460"/>
                </a:cxn>
                <a:cxn ang="0">
                  <a:pos x="connsiteX27461" y="connsiteY27461"/>
                </a:cxn>
                <a:cxn ang="0">
                  <a:pos x="connsiteX27462" y="connsiteY27462"/>
                </a:cxn>
                <a:cxn ang="0">
                  <a:pos x="connsiteX27463" y="connsiteY27463"/>
                </a:cxn>
                <a:cxn ang="0">
                  <a:pos x="connsiteX27464" y="connsiteY27464"/>
                </a:cxn>
                <a:cxn ang="0">
                  <a:pos x="connsiteX27465" y="connsiteY27465"/>
                </a:cxn>
                <a:cxn ang="0">
                  <a:pos x="connsiteX27466" y="connsiteY27466"/>
                </a:cxn>
                <a:cxn ang="0">
                  <a:pos x="connsiteX27467" y="connsiteY27467"/>
                </a:cxn>
                <a:cxn ang="0">
                  <a:pos x="connsiteX27468" y="connsiteY27468"/>
                </a:cxn>
                <a:cxn ang="0">
                  <a:pos x="connsiteX27469" y="connsiteY27469"/>
                </a:cxn>
                <a:cxn ang="0">
                  <a:pos x="connsiteX27470" y="connsiteY27470"/>
                </a:cxn>
                <a:cxn ang="0">
                  <a:pos x="connsiteX27471" y="connsiteY27471"/>
                </a:cxn>
                <a:cxn ang="0">
                  <a:pos x="connsiteX27472" y="connsiteY27472"/>
                </a:cxn>
                <a:cxn ang="0">
                  <a:pos x="connsiteX27473" y="connsiteY27473"/>
                </a:cxn>
                <a:cxn ang="0">
                  <a:pos x="connsiteX27474" y="connsiteY27474"/>
                </a:cxn>
                <a:cxn ang="0">
                  <a:pos x="connsiteX27475" y="connsiteY27475"/>
                </a:cxn>
                <a:cxn ang="0">
                  <a:pos x="connsiteX27476" y="connsiteY27476"/>
                </a:cxn>
                <a:cxn ang="0">
                  <a:pos x="connsiteX27477" y="connsiteY27477"/>
                </a:cxn>
                <a:cxn ang="0">
                  <a:pos x="connsiteX27478" y="connsiteY27478"/>
                </a:cxn>
                <a:cxn ang="0">
                  <a:pos x="connsiteX27479" y="connsiteY27479"/>
                </a:cxn>
                <a:cxn ang="0">
                  <a:pos x="connsiteX27480" y="connsiteY27480"/>
                </a:cxn>
                <a:cxn ang="0">
                  <a:pos x="connsiteX27481" y="connsiteY27481"/>
                </a:cxn>
                <a:cxn ang="0">
                  <a:pos x="connsiteX27482" y="connsiteY27482"/>
                </a:cxn>
                <a:cxn ang="0">
                  <a:pos x="connsiteX27483" y="connsiteY27483"/>
                </a:cxn>
                <a:cxn ang="0">
                  <a:pos x="connsiteX27484" y="connsiteY27484"/>
                </a:cxn>
                <a:cxn ang="0">
                  <a:pos x="connsiteX27485" y="connsiteY27485"/>
                </a:cxn>
                <a:cxn ang="0">
                  <a:pos x="connsiteX27486" y="connsiteY27486"/>
                </a:cxn>
                <a:cxn ang="0">
                  <a:pos x="connsiteX27487" y="connsiteY27487"/>
                </a:cxn>
                <a:cxn ang="0">
                  <a:pos x="connsiteX27488" y="connsiteY27488"/>
                </a:cxn>
                <a:cxn ang="0">
                  <a:pos x="connsiteX27489" y="connsiteY27489"/>
                </a:cxn>
                <a:cxn ang="0">
                  <a:pos x="connsiteX27490" y="connsiteY27490"/>
                </a:cxn>
                <a:cxn ang="0">
                  <a:pos x="connsiteX27491" y="connsiteY27491"/>
                </a:cxn>
                <a:cxn ang="0">
                  <a:pos x="connsiteX27492" y="connsiteY27492"/>
                </a:cxn>
                <a:cxn ang="0">
                  <a:pos x="connsiteX27493" y="connsiteY27493"/>
                </a:cxn>
                <a:cxn ang="0">
                  <a:pos x="connsiteX27494" y="connsiteY27494"/>
                </a:cxn>
                <a:cxn ang="0">
                  <a:pos x="connsiteX27495" y="connsiteY27495"/>
                </a:cxn>
                <a:cxn ang="0">
                  <a:pos x="connsiteX27496" y="connsiteY27496"/>
                </a:cxn>
                <a:cxn ang="0">
                  <a:pos x="connsiteX27497" y="connsiteY27497"/>
                </a:cxn>
                <a:cxn ang="0">
                  <a:pos x="connsiteX27498" y="connsiteY27498"/>
                </a:cxn>
                <a:cxn ang="0">
                  <a:pos x="connsiteX27499" y="connsiteY27499"/>
                </a:cxn>
                <a:cxn ang="0">
                  <a:pos x="connsiteX27500" y="connsiteY27500"/>
                </a:cxn>
                <a:cxn ang="0">
                  <a:pos x="connsiteX27501" y="connsiteY27501"/>
                </a:cxn>
                <a:cxn ang="0">
                  <a:pos x="connsiteX27502" y="connsiteY27502"/>
                </a:cxn>
                <a:cxn ang="0">
                  <a:pos x="connsiteX27503" y="connsiteY27503"/>
                </a:cxn>
                <a:cxn ang="0">
                  <a:pos x="connsiteX27504" y="connsiteY27504"/>
                </a:cxn>
                <a:cxn ang="0">
                  <a:pos x="connsiteX27505" y="connsiteY27505"/>
                </a:cxn>
                <a:cxn ang="0">
                  <a:pos x="connsiteX27506" y="connsiteY27506"/>
                </a:cxn>
                <a:cxn ang="0">
                  <a:pos x="connsiteX27507" y="connsiteY27507"/>
                </a:cxn>
                <a:cxn ang="0">
                  <a:pos x="connsiteX27508" y="connsiteY27508"/>
                </a:cxn>
                <a:cxn ang="0">
                  <a:pos x="connsiteX27509" y="connsiteY27509"/>
                </a:cxn>
                <a:cxn ang="0">
                  <a:pos x="connsiteX27510" y="connsiteY27510"/>
                </a:cxn>
                <a:cxn ang="0">
                  <a:pos x="connsiteX27511" y="connsiteY27511"/>
                </a:cxn>
                <a:cxn ang="0">
                  <a:pos x="connsiteX27512" y="connsiteY27512"/>
                </a:cxn>
                <a:cxn ang="0">
                  <a:pos x="connsiteX27513" y="connsiteY27513"/>
                </a:cxn>
                <a:cxn ang="0">
                  <a:pos x="connsiteX27514" y="connsiteY27514"/>
                </a:cxn>
                <a:cxn ang="0">
                  <a:pos x="connsiteX27515" y="connsiteY27515"/>
                </a:cxn>
                <a:cxn ang="0">
                  <a:pos x="connsiteX27516" y="connsiteY27516"/>
                </a:cxn>
                <a:cxn ang="0">
                  <a:pos x="connsiteX27517" y="connsiteY27517"/>
                </a:cxn>
                <a:cxn ang="0">
                  <a:pos x="connsiteX27518" y="connsiteY27518"/>
                </a:cxn>
                <a:cxn ang="0">
                  <a:pos x="connsiteX27519" y="connsiteY27519"/>
                </a:cxn>
                <a:cxn ang="0">
                  <a:pos x="connsiteX27520" y="connsiteY27520"/>
                </a:cxn>
                <a:cxn ang="0">
                  <a:pos x="connsiteX27521" y="connsiteY27521"/>
                </a:cxn>
                <a:cxn ang="0">
                  <a:pos x="connsiteX27522" y="connsiteY27522"/>
                </a:cxn>
                <a:cxn ang="0">
                  <a:pos x="connsiteX27523" y="connsiteY27523"/>
                </a:cxn>
                <a:cxn ang="0">
                  <a:pos x="connsiteX27524" y="connsiteY27524"/>
                </a:cxn>
                <a:cxn ang="0">
                  <a:pos x="connsiteX27525" y="connsiteY27525"/>
                </a:cxn>
                <a:cxn ang="0">
                  <a:pos x="connsiteX27526" y="connsiteY27526"/>
                </a:cxn>
                <a:cxn ang="0">
                  <a:pos x="connsiteX27527" y="connsiteY27527"/>
                </a:cxn>
                <a:cxn ang="0">
                  <a:pos x="connsiteX27528" y="connsiteY27528"/>
                </a:cxn>
                <a:cxn ang="0">
                  <a:pos x="connsiteX27529" y="connsiteY27529"/>
                </a:cxn>
                <a:cxn ang="0">
                  <a:pos x="connsiteX27530" y="connsiteY27530"/>
                </a:cxn>
                <a:cxn ang="0">
                  <a:pos x="connsiteX27531" y="connsiteY27531"/>
                </a:cxn>
                <a:cxn ang="0">
                  <a:pos x="connsiteX27532" y="connsiteY27532"/>
                </a:cxn>
                <a:cxn ang="0">
                  <a:pos x="connsiteX27533" y="connsiteY27533"/>
                </a:cxn>
                <a:cxn ang="0">
                  <a:pos x="connsiteX27534" y="connsiteY27534"/>
                </a:cxn>
                <a:cxn ang="0">
                  <a:pos x="connsiteX27535" y="connsiteY27535"/>
                </a:cxn>
                <a:cxn ang="0">
                  <a:pos x="connsiteX27536" y="connsiteY27536"/>
                </a:cxn>
                <a:cxn ang="0">
                  <a:pos x="connsiteX27537" y="connsiteY27537"/>
                </a:cxn>
                <a:cxn ang="0">
                  <a:pos x="connsiteX27538" y="connsiteY27538"/>
                </a:cxn>
                <a:cxn ang="0">
                  <a:pos x="connsiteX27539" y="connsiteY27539"/>
                </a:cxn>
                <a:cxn ang="0">
                  <a:pos x="connsiteX27540" y="connsiteY27540"/>
                </a:cxn>
                <a:cxn ang="0">
                  <a:pos x="connsiteX27541" y="connsiteY27541"/>
                </a:cxn>
                <a:cxn ang="0">
                  <a:pos x="connsiteX27542" y="connsiteY27542"/>
                </a:cxn>
                <a:cxn ang="0">
                  <a:pos x="connsiteX27543" y="connsiteY27543"/>
                </a:cxn>
                <a:cxn ang="0">
                  <a:pos x="connsiteX27544" y="connsiteY27544"/>
                </a:cxn>
                <a:cxn ang="0">
                  <a:pos x="connsiteX27545" y="connsiteY27545"/>
                </a:cxn>
                <a:cxn ang="0">
                  <a:pos x="connsiteX27546" y="connsiteY27546"/>
                </a:cxn>
                <a:cxn ang="0">
                  <a:pos x="connsiteX27547" y="connsiteY27547"/>
                </a:cxn>
                <a:cxn ang="0">
                  <a:pos x="connsiteX27548" y="connsiteY27548"/>
                </a:cxn>
                <a:cxn ang="0">
                  <a:pos x="connsiteX27549" y="connsiteY27549"/>
                </a:cxn>
                <a:cxn ang="0">
                  <a:pos x="connsiteX27550" y="connsiteY27550"/>
                </a:cxn>
                <a:cxn ang="0">
                  <a:pos x="connsiteX27551" y="connsiteY27551"/>
                </a:cxn>
                <a:cxn ang="0">
                  <a:pos x="connsiteX27552" y="connsiteY27552"/>
                </a:cxn>
                <a:cxn ang="0">
                  <a:pos x="connsiteX27553" y="connsiteY27553"/>
                </a:cxn>
                <a:cxn ang="0">
                  <a:pos x="connsiteX27554" y="connsiteY27554"/>
                </a:cxn>
                <a:cxn ang="0">
                  <a:pos x="connsiteX27555" y="connsiteY27555"/>
                </a:cxn>
                <a:cxn ang="0">
                  <a:pos x="connsiteX27556" y="connsiteY27556"/>
                </a:cxn>
                <a:cxn ang="0">
                  <a:pos x="connsiteX27557" y="connsiteY27557"/>
                </a:cxn>
                <a:cxn ang="0">
                  <a:pos x="connsiteX27558" y="connsiteY27558"/>
                </a:cxn>
                <a:cxn ang="0">
                  <a:pos x="connsiteX27559" y="connsiteY27559"/>
                </a:cxn>
                <a:cxn ang="0">
                  <a:pos x="connsiteX27560" y="connsiteY27560"/>
                </a:cxn>
                <a:cxn ang="0">
                  <a:pos x="connsiteX27561" y="connsiteY27561"/>
                </a:cxn>
                <a:cxn ang="0">
                  <a:pos x="connsiteX27562" y="connsiteY27562"/>
                </a:cxn>
                <a:cxn ang="0">
                  <a:pos x="connsiteX27563" y="connsiteY27563"/>
                </a:cxn>
                <a:cxn ang="0">
                  <a:pos x="connsiteX27564" y="connsiteY27564"/>
                </a:cxn>
                <a:cxn ang="0">
                  <a:pos x="connsiteX27565" y="connsiteY27565"/>
                </a:cxn>
                <a:cxn ang="0">
                  <a:pos x="connsiteX27566" y="connsiteY27566"/>
                </a:cxn>
                <a:cxn ang="0">
                  <a:pos x="connsiteX27567" y="connsiteY27567"/>
                </a:cxn>
                <a:cxn ang="0">
                  <a:pos x="connsiteX27568" y="connsiteY27568"/>
                </a:cxn>
                <a:cxn ang="0">
                  <a:pos x="connsiteX27569" y="connsiteY27569"/>
                </a:cxn>
                <a:cxn ang="0">
                  <a:pos x="connsiteX27570" y="connsiteY27570"/>
                </a:cxn>
                <a:cxn ang="0">
                  <a:pos x="connsiteX27571" y="connsiteY27571"/>
                </a:cxn>
                <a:cxn ang="0">
                  <a:pos x="connsiteX27572" y="connsiteY27572"/>
                </a:cxn>
                <a:cxn ang="0">
                  <a:pos x="connsiteX27573" y="connsiteY27573"/>
                </a:cxn>
                <a:cxn ang="0">
                  <a:pos x="connsiteX27574" y="connsiteY27574"/>
                </a:cxn>
                <a:cxn ang="0">
                  <a:pos x="connsiteX27575" y="connsiteY27575"/>
                </a:cxn>
                <a:cxn ang="0">
                  <a:pos x="connsiteX27576" y="connsiteY27576"/>
                </a:cxn>
                <a:cxn ang="0">
                  <a:pos x="connsiteX27577" y="connsiteY27577"/>
                </a:cxn>
                <a:cxn ang="0">
                  <a:pos x="connsiteX27578" y="connsiteY27578"/>
                </a:cxn>
                <a:cxn ang="0">
                  <a:pos x="connsiteX27579" y="connsiteY27579"/>
                </a:cxn>
                <a:cxn ang="0">
                  <a:pos x="connsiteX27580" y="connsiteY27580"/>
                </a:cxn>
                <a:cxn ang="0">
                  <a:pos x="connsiteX27581" y="connsiteY27581"/>
                </a:cxn>
                <a:cxn ang="0">
                  <a:pos x="connsiteX27582" y="connsiteY27582"/>
                </a:cxn>
                <a:cxn ang="0">
                  <a:pos x="connsiteX27583" y="connsiteY27583"/>
                </a:cxn>
                <a:cxn ang="0">
                  <a:pos x="connsiteX27584" y="connsiteY27584"/>
                </a:cxn>
                <a:cxn ang="0">
                  <a:pos x="connsiteX27585" y="connsiteY27585"/>
                </a:cxn>
                <a:cxn ang="0">
                  <a:pos x="connsiteX27586" y="connsiteY27586"/>
                </a:cxn>
                <a:cxn ang="0">
                  <a:pos x="connsiteX27587" y="connsiteY27587"/>
                </a:cxn>
                <a:cxn ang="0">
                  <a:pos x="connsiteX27588" y="connsiteY27588"/>
                </a:cxn>
                <a:cxn ang="0">
                  <a:pos x="connsiteX27589" y="connsiteY27589"/>
                </a:cxn>
                <a:cxn ang="0">
                  <a:pos x="connsiteX27590" y="connsiteY27590"/>
                </a:cxn>
                <a:cxn ang="0">
                  <a:pos x="connsiteX27591" y="connsiteY27591"/>
                </a:cxn>
                <a:cxn ang="0">
                  <a:pos x="connsiteX27592" y="connsiteY27592"/>
                </a:cxn>
                <a:cxn ang="0">
                  <a:pos x="connsiteX27593" y="connsiteY27593"/>
                </a:cxn>
                <a:cxn ang="0">
                  <a:pos x="connsiteX27594" y="connsiteY27594"/>
                </a:cxn>
                <a:cxn ang="0">
                  <a:pos x="connsiteX27595" y="connsiteY27595"/>
                </a:cxn>
                <a:cxn ang="0">
                  <a:pos x="connsiteX27596" y="connsiteY27596"/>
                </a:cxn>
                <a:cxn ang="0">
                  <a:pos x="connsiteX27597" y="connsiteY27597"/>
                </a:cxn>
                <a:cxn ang="0">
                  <a:pos x="connsiteX27598" y="connsiteY27598"/>
                </a:cxn>
                <a:cxn ang="0">
                  <a:pos x="connsiteX27599" y="connsiteY27599"/>
                </a:cxn>
                <a:cxn ang="0">
                  <a:pos x="connsiteX27600" y="connsiteY27600"/>
                </a:cxn>
                <a:cxn ang="0">
                  <a:pos x="connsiteX27601" y="connsiteY27601"/>
                </a:cxn>
                <a:cxn ang="0">
                  <a:pos x="connsiteX27602" y="connsiteY27602"/>
                </a:cxn>
                <a:cxn ang="0">
                  <a:pos x="connsiteX27603" y="connsiteY27603"/>
                </a:cxn>
                <a:cxn ang="0">
                  <a:pos x="connsiteX27604" y="connsiteY27604"/>
                </a:cxn>
                <a:cxn ang="0">
                  <a:pos x="connsiteX27605" y="connsiteY27605"/>
                </a:cxn>
                <a:cxn ang="0">
                  <a:pos x="connsiteX27606" y="connsiteY27606"/>
                </a:cxn>
                <a:cxn ang="0">
                  <a:pos x="connsiteX27607" y="connsiteY27607"/>
                </a:cxn>
                <a:cxn ang="0">
                  <a:pos x="connsiteX27608" y="connsiteY27608"/>
                </a:cxn>
                <a:cxn ang="0">
                  <a:pos x="connsiteX27609" y="connsiteY27609"/>
                </a:cxn>
                <a:cxn ang="0">
                  <a:pos x="connsiteX27610" y="connsiteY27610"/>
                </a:cxn>
                <a:cxn ang="0">
                  <a:pos x="connsiteX27611" y="connsiteY27611"/>
                </a:cxn>
                <a:cxn ang="0">
                  <a:pos x="connsiteX27612" y="connsiteY27612"/>
                </a:cxn>
                <a:cxn ang="0">
                  <a:pos x="connsiteX27613" y="connsiteY27613"/>
                </a:cxn>
                <a:cxn ang="0">
                  <a:pos x="connsiteX27614" y="connsiteY27614"/>
                </a:cxn>
                <a:cxn ang="0">
                  <a:pos x="connsiteX27615" y="connsiteY27615"/>
                </a:cxn>
                <a:cxn ang="0">
                  <a:pos x="connsiteX27616" y="connsiteY27616"/>
                </a:cxn>
                <a:cxn ang="0">
                  <a:pos x="connsiteX27617" y="connsiteY27617"/>
                </a:cxn>
                <a:cxn ang="0">
                  <a:pos x="connsiteX27618" y="connsiteY27618"/>
                </a:cxn>
                <a:cxn ang="0">
                  <a:pos x="connsiteX27619" y="connsiteY27619"/>
                </a:cxn>
                <a:cxn ang="0">
                  <a:pos x="connsiteX27620" y="connsiteY27620"/>
                </a:cxn>
                <a:cxn ang="0">
                  <a:pos x="connsiteX27621" y="connsiteY27621"/>
                </a:cxn>
                <a:cxn ang="0">
                  <a:pos x="connsiteX27622" y="connsiteY27622"/>
                </a:cxn>
                <a:cxn ang="0">
                  <a:pos x="connsiteX27623" y="connsiteY27623"/>
                </a:cxn>
                <a:cxn ang="0">
                  <a:pos x="connsiteX27624" y="connsiteY27624"/>
                </a:cxn>
                <a:cxn ang="0">
                  <a:pos x="connsiteX27625" y="connsiteY27625"/>
                </a:cxn>
                <a:cxn ang="0">
                  <a:pos x="connsiteX27626" y="connsiteY27626"/>
                </a:cxn>
                <a:cxn ang="0">
                  <a:pos x="connsiteX27627" y="connsiteY27627"/>
                </a:cxn>
                <a:cxn ang="0">
                  <a:pos x="connsiteX27628" y="connsiteY27628"/>
                </a:cxn>
                <a:cxn ang="0">
                  <a:pos x="connsiteX27629" y="connsiteY27629"/>
                </a:cxn>
                <a:cxn ang="0">
                  <a:pos x="connsiteX27630" y="connsiteY27630"/>
                </a:cxn>
                <a:cxn ang="0">
                  <a:pos x="connsiteX27631" y="connsiteY27631"/>
                </a:cxn>
                <a:cxn ang="0">
                  <a:pos x="connsiteX27632" y="connsiteY27632"/>
                </a:cxn>
                <a:cxn ang="0">
                  <a:pos x="connsiteX27633" y="connsiteY27633"/>
                </a:cxn>
                <a:cxn ang="0">
                  <a:pos x="connsiteX27634" y="connsiteY27634"/>
                </a:cxn>
                <a:cxn ang="0">
                  <a:pos x="connsiteX27635" y="connsiteY27635"/>
                </a:cxn>
                <a:cxn ang="0">
                  <a:pos x="connsiteX27636" y="connsiteY27636"/>
                </a:cxn>
                <a:cxn ang="0">
                  <a:pos x="connsiteX27637" y="connsiteY27637"/>
                </a:cxn>
                <a:cxn ang="0">
                  <a:pos x="connsiteX27638" y="connsiteY27638"/>
                </a:cxn>
                <a:cxn ang="0">
                  <a:pos x="connsiteX27639" y="connsiteY27639"/>
                </a:cxn>
                <a:cxn ang="0">
                  <a:pos x="connsiteX27640" y="connsiteY27640"/>
                </a:cxn>
                <a:cxn ang="0">
                  <a:pos x="connsiteX27641" y="connsiteY27641"/>
                </a:cxn>
                <a:cxn ang="0">
                  <a:pos x="connsiteX27642" y="connsiteY27642"/>
                </a:cxn>
                <a:cxn ang="0">
                  <a:pos x="connsiteX27643" y="connsiteY27643"/>
                </a:cxn>
                <a:cxn ang="0">
                  <a:pos x="connsiteX27644" y="connsiteY27644"/>
                </a:cxn>
                <a:cxn ang="0">
                  <a:pos x="connsiteX27645" y="connsiteY27645"/>
                </a:cxn>
                <a:cxn ang="0">
                  <a:pos x="connsiteX27646" y="connsiteY27646"/>
                </a:cxn>
                <a:cxn ang="0">
                  <a:pos x="connsiteX27647" y="connsiteY27647"/>
                </a:cxn>
                <a:cxn ang="0">
                  <a:pos x="connsiteX27648" y="connsiteY27648"/>
                </a:cxn>
                <a:cxn ang="0">
                  <a:pos x="connsiteX27649" y="connsiteY27649"/>
                </a:cxn>
                <a:cxn ang="0">
                  <a:pos x="connsiteX27650" y="connsiteY27650"/>
                </a:cxn>
                <a:cxn ang="0">
                  <a:pos x="connsiteX27651" y="connsiteY27651"/>
                </a:cxn>
                <a:cxn ang="0">
                  <a:pos x="connsiteX27652" y="connsiteY27652"/>
                </a:cxn>
                <a:cxn ang="0">
                  <a:pos x="connsiteX27653" y="connsiteY27653"/>
                </a:cxn>
                <a:cxn ang="0">
                  <a:pos x="connsiteX27654" y="connsiteY27654"/>
                </a:cxn>
                <a:cxn ang="0">
                  <a:pos x="connsiteX27655" y="connsiteY27655"/>
                </a:cxn>
                <a:cxn ang="0">
                  <a:pos x="connsiteX27656" y="connsiteY27656"/>
                </a:cxn>
                <a:cxn ang="0">
                  <a:pos x="connsiteX27657" y="connsiteY27657"/>
                </a:cxn>
                <a:cxn ang="0">
                  <a:pos x="connsiteX27658" y="connsiteY27658"/>
                </a:cxn>
                <a:cxn ang="0">
                  <a:pos x="connsiteX27659" y="connsiteY27659"/>
                </a:cxn>
                <a:cxn ang="0">
                  <a:pos x="connsiteX27660" y="connsiteY27660"/>
                </a:cxn>
                <a:cxn ang="0">
                  <a:pos x="connsiteX27661" y="connsiteY27661"/>
                </a:cxn>
                <a:cxn ang="0">
                  <a:pos x="connsiteX27662" y="connsiteY27662"/>
                </a:cxn>
                <a:cxn ang="0">
                  <a:pos x="connsiteX27663" y="connsiteY27663"/>
                </a:cxn>
                <a:cxn ang="0">
                  <a:pos x="connsiteX27664" y="connsiteY27664"/>
                </a:cxn>
                <a:cxn ang="0">
                  <a:pos x="connsiteX27665" y="connsiteY27665"/>
                </a:cxn>
                <a:cxn ang="0">
                  <a:pos x="connsiteX27666" y="connsiteY27666"/>
                </a:cxn>
                <a:cxn ang="0">
                  <a:pos x="connsiteX27667" y="connsiteY27667"/>
                </a:cxn>
                <a:cxn ang="0">
                  <a:pos x="connsiteX27668" y="connsiteY27668"/>
                </a:cxn>
                <a:cxn ang="0">
                  <a:pos x="connsiteX27669" y="connsiteY27669"/>
                </a:cxn>
                <a:cxn ang="0">
                  <a:pos x="connsiteX27670" y="connsiteY27670"/>
                </a:cxn>
                <a:cxn ang="0">
                  <a:pos x="connsiteX27671" y="connsiteY27671"/>
                </a:cxn>
                <a:cxn ang="0">
                  <a:pos x="connsiteX27672" y="connsiteY27672"/>
                </a:cxn>
                <a:cxn ang="0">
                  <a:pos x="connsiteX27673" y="connsiteY27673"/>
                </a:cxn>
                <a:cxn ang="0">
                  <a:pos x="connsiteX27674" y="connsiteY27674"/>
                </a:cxn>
                <a:cxn ang="0">
                  <a:pos x="connsiteX27675" y="connsiteY27675"/>
                </a:cxn>
                <a:cxn ang="0">
                  <a:pos x="connsiteX27676" y="connsiteY27676"/>
                </a:cxn>
                <a:cxn ang="0">
                  <a:pos x="connsiteX27677" y="connsiteY27677"/>
                </a:cxn>
                <a:cxn ang="0">
                  <a:pos x="connsiteX27678" y="connsiteY27678"/>
                </a:cxn>
                <a:cxn ang="0">
                  <a:pos x="connsiteX27679" y="connsiteY27679"/>
                </a:cxn>
                <a:cxn ang="0">
                  <a:pos x="connsiteX27680" y="connsiteY27680"/>
                </a:cxn>
                <a:cxn ang="0">
                  <a:pos x="connsiteX27681" y="connsiteY27681"/>
                </a:cxn>
                <a:cxn ang="0">
                  <a:pos x="connsiteX27682" y="connsiteY27682"/>
                </a:cxn>
                <a:cxn ang="0">
                  <a:pos x="connsiteX27683" y="connsiteY27683"/>
                </a:cxn>
                <a:cxn ang="0">
                  <a:pos x="connsiteX27684" y="connsiteY27684"/>
                </a:cxn>
                <a:cxn ang="0">
                  <a:pos x="connsiteX27685" y="connsiteY27685"/>
                </a:cxn>
                <a:cxn ang="0">
                  <a:pos x="connsiteX27686" y="connsiteY27686"/>
                </a:cxn>
                <a:cxn ang="0">
                  <a:pos x="connsiteX27687" y="connsiteY27687"/>
                </a:cxn>
                <a:cxn ang="0">
                  <a:pos x="connsiteX27688" y="connsiteY27688"/>
                </a:cxn>
                <a:cxn ang="0">
                  <a:pos x="connsiteX27689" y="connsiteY27689"/>
                </a:cxn>
                <a:cxn ang="0">
                  <a:pos x="connsiteX27690" y="connsiteY27690"/>
                </a:cxn>
                <a:cxn ang="0">
                  <a:pos x="connsiteX27691" y="connsiteY27691"/>
                </a:cxn>
                <a:cxn ang="0">
                  <a:pos x="connsiteX27692" y="connsiteY27692"/>
                </a:cxn>
                <a:cxn ang="0">
                  <a:pos x="connsiteX27693" y="connsiteY27693"/>
                </a:cxn>
                <a:cxn ang="0">
                  <a:pos x="connsiteX27694" y="connsiteY27694"/>
                </a:cxn>
                <a:cxn ang="0">
                  <a:pos x="connsiteX27695" y="connsiteY27695"/>
                </a:cxn>
                <a:cxn ang="0">
                  <a:pos x="connsiteX27696" y="connsiteY27696"/>
                </a:cxn>
                <a:cxn ang="0">
                  <a:pos x="connsiteX27697" y="connsiteY27697"/>
                </a:cxn>
                <a:cxn ang="0">
                  <a:pos x="connsiteX27698" y="connsiteY27698"/>
                </a:cxn>
                <a:cxn ang="0">
                  <a:pos x="connsiteX27699" y="connsiteY27699"/>
                </a:cxn>
                <a:cxn ang="0">
                  <a:pos x="connsiteX27700" y="connsiteY27700"/>
                </a:cxn>
                <a:cxn ang="0">
                  <a:pos x="connsiteX27701" y="connsiteY27701"/>
                </a:cxn>
                <a:cxn ang="0">
                  <a:pos x="connsiteX27702" y="connsiteY27702"/>
                </a:cxn>
                <a:cxn ang="0">
                  <a:pos x="connsiteX27703" y="connsiteY27703"/>
                </a:cxn>
                <a:cxn ang="0">
                  <a:pos x="connsiteX27704" y="connsiteY27704"/>
                </a:cxn>
                <a:cxn ang="0">
                  <a:pos x="connsiteX27705" y="connsiteY27705"/>
                </a:cxn>
                <a:cxn ang="0">
                  <a:pos x="connsiteX27706" y="connsiteY27706"/>
                </a:cxn>
                <a:cxn ang="0">
                  <a:pos x="connsiteX27707" y="connsiteY27707"/>
                </a:cxn>
                <a:cxn ang="0">
                  <a:pos x="connsiteX27708" y="connsiteY27708"/>
                </a:cxn>
                <a:cxn ang="0">
                  <a:pos x="connsiteX27709" y="connsiteY27709"/>
                </a:cxn>
                <a:cxn ang="0">
                  <a:pos x="connsiteX27710" y="connsiteY27710"/>
                </a:cxn>
                <a:cxn ang="0">
                  <a:pos x="connsiteX27711" y="connsiteY27711"/>
                </a:cxn>
                <a:cxn ang="0">
                  <a:pos x="connsiteX27712" y="connsiteY27712"/>
                </a:cxn>
                <a:cxn ang="0">
                  <a:pos x="connsiteX27713" y="connsiteY27713"/>
                </a:cxn>
                <a:cxn ang="0">
                  <a:pos x="connsiteX27714" y="connsiteY27714"/>
                </a:cxn>
                <a:cxn ang="0">
                  <a:pos x="connsiteX27715" y="connsiteY27715"/>
                </a:cxn>
                <a:cxn ang="0">
                  <a:pos x="connsiteX27716" y="connsiteY27716"/>
                </a:cxn>
                <a:cxn ang="0">
                  <a:pos x="connsiteX27717" y="connsiteY27717"/>
                </a:cxn>
                <a:cxn ang="0">
                  <a:pos x="connsiteX27718" y="connsiteY27718"/>
                </a:cxn>
                <a:cxn ang="0">
                  <a:pos x="connsiteX27719" y="connsiteY27719"/>
                </a:cxn>
                <a:cxn ang="0">
                  <a:pos x="connsiteX27720" y="connsiteY27720"/>
                </a:cxn>
                <a:cxn ang="0">
                  <a:pos x="connsiteX27721" y="connsiteY27721"/>
                </a:cxn>
                <a:cxn ang="0">
                  <a:pos x="connsiteX27722" y="connsiteY27722"/>
                </a:cxn>
                <a:cxn ang="0">
                  <a:pos x="connsiteX27723" y="connsiteY27723"/>
                </a:cxn>
                <a:cxn ang="0">
                  <a:pos x="connsiteX27724" y="connsiteY27724"/>
                </a:cxn>
                <a:cxn ang="0">
                  <a:pos x="connsiteX27725" y="connsiteY27725"/>
                </a:cxn>
                <a:cxn ang="0">
                  <a:pos x="connsiteX27726" y="connsiteY27726"/>
                </a:cxn>
                <a:cxn ang="0">
                  <a:pos x="connsiteX27727" y="connsiteY27727"/>
                </a:cxn>
                <a:cxn ang="0">
                  <a:pos x="connsiteX27728" y="connsiteY27728"/>
                </a:cxn>
                <a:cxn ang="0">
                  <a:pos x="connsiteX27729" y="connsiteY27729"/>
                </a:cxn>
                <a:cxn ang="0">
                  <a:pos x="connsiteX27730" y="connsiteY27730"/>
                </a:cxn>
                <a:cxn ang="0">
                  <a:pos x="connsiteX27731" y="connsiteY27731"/>
                </a:cxn>
                <a:cxn ang="0">
                  <a:pos x="connsiteX27732" y="connsiteY27732"/>
                </a:cxn>
                <a:cxn ang="0">
                  <a:pos x="connsiteX27733" y="connsiteY27733"/>
                </a:cxn>
                <a:cxn ang="0">
                  <a:pos x="connsiteX27734" y="connsiteY27734"/>
                </a:cxn>
                <a:cxn ang="0">
                  <a:pos x="connsiteX27735" y="connsiteY27735"/>
                </a:cxn>
                <a:cxn ang="0">
                  <a:pos x="connsiteX27736" y="connsiteY27736"/>
                </a:cxn>
                <a:cxn ang="0">
                  <a:pos x="connsiteX27737" y="connsiteY27737"/>
                </a:cxn>
                <a:cxn ang="0">
                  <a:pos x="connsiteX27738" y="connsiteY27738"/>
                </a:cxn>
                <a:cxn ang="0">
                  <a:pos x="connsiteX27739" y="connsiteY27739"/>
                </a:cxn>
                <a:cxn ang="0">
                  <a:pos x="connsiteX27740" y="connsiteY27740"/>
                </a:cxn>
                <a:cxn ang="0">
                  <a:pos x="connsiteX27741" y="connsiteY27741"/>
                </a:cxn>
                <a:cxn ang="0">
                  <a:pos x="connsiteX27742" y="connsiteY27742"/>
                </a:cxn>
                <a:cxn ang="0">
                  <a:pos x="connsiteX27743" y="connsiteY27743"/>
                </a:cxn>
                <a:cxn ang="0">
                  <a:pos x="connsiteX27744" y="connsiteY27744"/>
                </a:cxn>
                <a:cxn ang="0">
                  <a:pos x="connsiteX27745" y="connsiteY27745"/>
                </a:cxn>
                <a:cxn ang="0">
                  <a:pos x="connsiteX27746" y="connsiteY27746"/>
                </a:cxn>
                <a:cxn ang="0">
                  <a:pos x="connsiteX27747" y="connsiteY27747"/>
                </a:cxn>
                <a:cxn ang="0">
                  <a:pos x="connsiteX27748" y="connsiteY27748"/>
                </a:cxn>
                <a:cxn ang="0">
                  <a:pos x="connsiteX27749" y="connsiteY27749"/>
                </a:cxn>
                <a:cxn ang="0">
                  <a:pos x="connsiteX27750" y="connsiteY27750"/>
                </a:cxn>
                <a:cxn ang="0">
                  <a:pos x="connsiteX27751" y="connsiteY27751"/>
                </a:cxn>
                <a:cxn ang="0">
                  <a:pos x="connsiteX27752" y="connsiteY27752"/>
                </a:cxn>
                <a:cxn ang="0">
                  <a:pos x="connsiteX27753" y="connsiteY27753"/>
                </a:cxn>
                <a:cxn ang="0">
                  <a:pos x="connsiteX27754" y="connsiteY27754"/>
                </a:cxn>
                <a:cxn ang="0">
                  <a:pos x="connsiteX27755" y="connsiteY27755"/>
                </a:cxn>
                <a:cxn ang="0">
                  <a:pos x="connsiteX27756" y="connsiteY27756"/>
                </a:cxn>
                <a:cxn ang="0">
                  <a:pos x="connsiteX27757" y="connsiteY27757"/>
                </a:cxn>
                <a:cxn ang="0">
                  <a:pos x="connsiteX27758" y="connsiteY27758"/>
                </a:cxn>
                <a:cxn ang="0">
                  <a:pos x="connsiteX27759" y="connsiteY27759"/>
                </a:cxn>
                <a:cxn ang="0">
                  <a:pos x="connsiteX27760" y="connsiteY27760"/>
                </a:cxn>
                <a:cxn ang="0">
                  <a:pos x="connsiteX27761" y="connsiteY27761"/>
                </a:cxn>
                <a:cxn ang="0">
                  <a:pos x="connsiteX27762" y="connsiteY27762"/>
                </a:cxn>
                <a:cxn ang="0">
                  <a:pos x="connsiteX27763" y="connsiteY27763"/>
                </a:cxn>
                <a:cxn ang="0">
                  <a:pos x="connsiteX27764" y="connsiteY27764"/>
                </a:cxn>
                <a:cxn ang="0">
                  <a:pos x="connsiteX27765" y="connsiteY27765"/>
                </a:cxn>
                <a:cxn ang="0">
                  <a:pos x="connsiteX27766" y="connsiteY27766"/>
                </a:cxn>
                <a:cxn ang="0">
                  <a:pos x="connsiteX27767" y="connsiteY27767"/>
                </a:cxn>
                <a:cxn ang="0">
                  <a:pos x="connsiteX27768" y="connsiteY27768"/>
                </a:cxn>
                <a:cxn ang="0">
                  <a:pos x="connsiteX27769" y="connsiteY27769"/>
                </a:cxn>
                <a:cxn ang="0">
                  <a:pos x="connsiteX27770" y="connsiteY27770"/>
                </a:cxn>
                <a:cxn ang="0">
                  <a:pos x="connsiteX27771" y="connsiteY27771"/>
                </a:cxn>
                <a:cxn ang="0">
                  <a:pos x="connsiteX27772" y="connsiteY27772"/>
                </a:cxn>
                <a:cxn ang="0">
                  <a:pos x="connsiteX27773" y="connsiteY27773"/>
                </a:cxn>
                <a:cxn ang="0">
                  <a:pos x="connsiteX27774" y="connsiteY27774"/>
                </a:cxn>
                <a:cxn ang="0">
                  <a:pos x="connsiteX27775" y="connsiteY27775"/>
                </a:cxn>
                <a:cxn ang="0">
                  <a:pos x="connsiteX27776" y="connsiteY27776"/>
                </a:cxn>
                <a:cxn ang="0">
                  <a:pos x="connsiteX27777" y="connsiteY27777"/>
                </a:cxn>
                <a:cxn ang="0">
                  <a:pos x="connsiteX27778" y="connsiteY27778"/>
                </a:cxn>
                <a:cxn ang="0">
                  <a:pos x="connsiteX27779" y="connsiteY27779"/>
                </a:cxn>
                <a:cxn ang="0">
                  <a:pos x="connsiteX27780" y="connsiteY27780"/>
                </a:cxn>
                <a:cxn ang="0">
                  <a:pos x="connsiteX27781" y="connsiteY27781"/>
                </a:cxn>
                <a:cxn ang="0">
                  <a:pos x="connsiteX27782" y="connsiteY27782"/>
                </a:cxn>
                <a:cxn ang="0">
                  <a:pos x="connsiteX27783" y="connsiteY27783"/>
                </a:cxn>
                <a:cxn ang="0">
                  <a:pos x="connsiteX27784" y="connsiteY27784"/>
                </a:cxn>
                <a:cxn ang="0">
                  <a:pos x="connsiteX27785" y="connsiteY27785"/>
                </a:cxn>
                <a:cxn ang="0">
                  <a:pos x="connsiteX27786" y="connsiteY27786"/>
                </a:cxn>
                <a:cxn ang="0">
                  <a:pos x="connsiteX27787" y="connsiteY27787"/>
                </a:cxn>
                <a:cxn ang="0">
                  <a:pos x="connsiteX27788" y="connsiteY27788"/>
                </a:cxn>
                <a:cxn ang="0">
                  <a:pos x="connsiteX27789" y="connsiteY27789"/>
                </a:cxn>
                <a:cxn ang="0">
                  <a:pos x="connsiteX27790" y="connsiteY27790"/>
                </a:cxn>
                <a:cxn ang="0">
                  <a:pos x="connsiteX27791" y="connsiteY27791"/>
                </a:cxn>
                <a:cxn ang="0">
                  <a:pos x="connsiteX27792" y="connsiteY27792"/>
                </a:cxn>
                <a:cxn ang="0">
                  <a:pos x="connsiteX27793" y="connsiteY27793"/>
                </a:cxn>
                <a:cxn ang="0">
                  <a:pos x="connsiteX27794" y="connsiteY27794"/>
                </a:cxn>
                <a:cxn ang="0">
                  <a:pos x="connsiteX27795" y="connsiteY27795"/>
                </a:cxn>
                <a:cxn ang="0">
                  <a:pos x="connsiteX27796" y="connsiteY27796"/>
                </a:cxn>
                <a:cxn ang="0">
                  <a:pos x="connsiteX27797" y="connsiteY27797"/>
                </a:cxn>
                <a:cxn ang="0">
                  <a:pos x="connsiteX27798" y="connsiteY27798"/>
                </a:cxn>
                <a:cxn ang="0">
                  <a:pos x="connsiteX27799" y="connsiteY27799"/>
                </a:cxn>
                <a:cxn ang="0">
                  <a:pos x="connsiteX27800" y="connsiteY27800"/>
                </a:cxn>
                <a:cxn ang="0">
                  <a:pos x="connsiteX27801" y="connsiteY27801"/>
                </a:cxn>
                <a:cxn ang="0">
                  <a:pos x="connsiteX27802" y="connsiteY27802"/>
                </a:cxn>
                <a:cxn ang="0">
                  <a:pos x="connsiteX27803" y="connsiteY27803"/>
                </a:cxn>
                <a:cxn ang="0">
                  <a:pos x="connsiteX27804" y="connsiteY27804"/>
                </a:cxn>
                <a:cxn ang="0">
                  <a:pos x="connsiteX27805" y="connsiteY27805"/>
                </a:cxn>
                <a:cxn ang="0">
                  <a:pos x="connsiteX27806" y="connsiteY27806"/>
                </a:cxn>
                <a:cxn ang="0">
                  <a:pos x="connsiteX27807" y="connsiteY27807"/>
                </a:cxn>
                <a:cxn ang="0">
                  <a:pos x="connsiteX27808" y="connsiteY27808"/>
                </a:cxn>
                <a:cxn ang="0">
                  <a:pos x="connsiteX27809" y="connsiteY27809"/>
                </a:cxn>
                <a:cxn ang="0">
                  <a:pos x="connsiteX27810" y="connsiteY27810"/>
                </a:cxn>
                <a:cxn ang="0">
                  <a:pos x="connsiteX27811" y="connsiteY27811"/>
                </a:cxn>
                <a:cxn ang="0">
                  <a:pos x="connsiteX27812" y="connsiteY27812"/>
                </a:cxn>
                <a:cxn ang="0">
                  <a:pos x="connsiteX27813" y="connsiteY27813"/>
                </a:cxn>
                <a:cxn ang="0">
                  <a:pos x="connsiteX27814" y="connsiteY27814"/>
                </a:cxn>
                <a:cxn ang="0">
                  <a:pos x="connsiteX27815" y="connsiteY27815"/>
                </a:cxn>
                <a:cxn ang="0">
                  <a:pos x="connsiteX27816" y="connsiteY27816"/>
                </a:cxn>
                <a:cxn ang="0">
                  <a:pos x="connsiteX27817" y="connsiteY27817"/>
                </a:cxn>
                <a:cxn ang="0">
                  <a:pos x="connsiteX27818" y="connsiteY27818"/>
                </a:cxn>
                <a:cxn ang="0">
                  <a:pos x="connsiteX27819" y="connsiteY27819"/>
                </a:cxn>
                <a:cxn ang="0">
                  <a:pos x="connsiteX27820" y="connsiteY27820"/>
                </a:cxn>
                <a:cxn ang="0">
                  <a:pos x="connsiteX27821" y="connsiteY27821"/>
                </a:cxn>
                <a:cxn ang="0">
                  <a:pos x="connsiteX27822" y="connsiteY27822"/>
                </a:cxn>
                <a:cxn ang="0">
                  <a:pos x="connsiteX27823" y="connsiteY27823"/>
                </a:cxn>
                <a:cxn ang="0">
                  <a:pos x="connsiteX27824" y="connsiteY27824"/>
                </a:cxn>
                <a:cxn ang="0">
                  <a:pos x="connsiteX27825" y="connsiteY27825"/>
                </a:cxn>
                <a:cxn ang="0">
                  <a:pos x="connsiteX27826" y="connsiteY27826"/>
                </a:cxn>
                <a:cxn ang="0">
                  <a:pos x="connsiteX27827" y="connsiteY27827"/>
                </a:cxn>
                <a:cxn ang="0">
                  <a:pos x="connsiteX27828" y="connsiteY27828"/>
                </a:cxn>
                <a:cxn ang="0">
                  <a:pos x="connsiteX27829" y="connsiteY27829"/>
                </a:cxn>
                <a:cxn ang="0">
                  <a:pos x="connsiteX27830" y="connsiteY27830"/>
                </a:cxn>
                <a:cxn ang="0">
                  <a:pos x="connsiteX27831" y="connsiteY27831"/>
                </a:cxn>
                <a:cxn ang="0">
                  <a:pos x="connsiteX27832" y="connsiteY27832"/>
                </a:cxn>
                <a:cxn ang="0">
                  <a:pos x="connsiteX27833" y="connsiteY27833"/>
                </a:cxn>
                <a:cxn ang="0">
                  <a:pos x="connsiteX27834" y="connsiteY27834"/>
                </a:cxn>
                <a:cxn ang="0">
                  <a:pos x="connsiteX27835" y="connsiteY27835"/>
                </a:cxn>
                <a:cxn ang="0">
                  <a:pos x="connsiteX27836" y="connsiteY27836"/>
                </a:cxn>
                <a:cxn ang="0">
                  <a:pos x="connsiteX27837" y="connsiteY27837"/>
                </a:cxn>
                <a:cxn ang="0">
                  <a:pos x="connsiteX27838" y="connsiteY27838"/>
                </a:cxn>
                <a:cxn ang="0">
                  <a:pos x="connsiteX27839" y="connsiteY27839"/>
                </a:cxn>
                <a:cxn ang="0">
                  <a:pos x="connsiteX27840" y="connsiteY27840"/>
                </a:cxn>
                <a:cxn ang="0">
                  <a:pos x="connsiteX27841" y="connsiteY27841"/>
                </a:cxn>
                <a:cxn ang="0">
                  <a:pos x="connsiteX27842" y="connsiteY27842"/>
                </a:cxn>
                <a:cxn ang="0">
                  <a:pos x="connsiteX27843" y="connsiteY27843"/>
                </a:cxn>
                <a:cxn ang="0">
                  <a:pos x="connsiteX27844" y="connsiteY27844"/>
                </a:cxn>
                <a:cxn ang="0">
                  <a:pos x="connsiteX27845" y="connsiteY27845"/>
                </a:cxn>
                <a:cxn ang="0">
                  <a:pos x="connsiteX27846" y="connsiteY27846"/>
                </a:cxn>
                <a:cxn ang="0">
                  <a:pos x="connsiteX27847" y="connsiteY27847"/>
                </a:cxn>
                <a:cxn ang="0">
                  <a:pos x="connsiteX27848" y="connsiteY27848"/>
                </a:cxn>
                <a:cxn ang="0">
                  <a:pos x="connsiteX27849" y="connsiteY27849"/>
                </a:cxn>
                <a:cxn ang="0">
                  <a:pos x="connsiteX27850" y="connsiteY27850"/>
                </a:cxn>
                <a:cxn ang="0">
                  <a:pos x="connsiteX27851" y="connsiteY27851"/>
                </a:cxn>
                <a:cxn ang="0">
                  <a:pos x="connsiteX27852" y="connsiteY27852"/>
                </a:cxn>
                <a:cxn ang="0">
                  <a:pos x="connsiteX27853" y="connsiteY27853"/>
                </a:cxn>
                <a:cxn ang="0">
                  <a:pos x="connsiteX27854" y="connsiteY27854"/>
                </a:cxn>
                <a:cxn ang="0">
                  <a:pos x="connsiteX27855" y="connsiteY27855"/>
                </a:cxn>
                <a:cxn ang="0">
                  <a:pos x="connsiteX27856" y="connsiteY27856"/>
                </a:cxn>
                <a:cxn ang="0">
                  <a:pos x="connsiteX27857" y="connsiteY27857"/>
                </a:cxn>
                <a:cxn ang="0">
                  <a:pos x="connsiteX27858" y="connsiteY27858"/>
                </a:cxn>
                <a:cxn ang="0">
                  <a:pos x="connsiteX27859" y="connsiteY27859"/>
                </a:cxn>
                <a:cxn ang="0">
                  <a:pos x="connsiteX27860" y="connsiteY27860"/>
                </a:cxn>
                <a:cxn ang="0">
                  <a:pos x="connsiteX27861" y="connsiteY27861"/>
                </a:cxn>
                <a:cxn ang="0">
                  <a:pos x="connsiteX27862" y="connsiteY27862"/>
                </a:cxn>
                <a:cxn ang="0">
                  <a:pos x="connsiteX27863" y="connsiteY27863"/>
                </a:cxn>
                <a:cxn ang="0">
                  <a:pos x="connsiteX27864" y="connsiteY27864"/>
                </a:cxn>
                <a:cxn ang="0">
                  <a:pos x="connsiteX27865" y="connsiteY27865"/>
                </a:cxn>
                <a:cxn ang="0">
                  <a:pos x="connsiteX27866" y="connsiteY27866"/>
                </a:cxn>
                <a:cxn ang="0">
                  <a:pos x="connsiteX27867" y="connsiteY27867"/>
                </a:cxn>
                <a:cxn ang="0">
                  <a:pos x="connsiteX27868" y="connsiteY27868"/>
                </a:cxn>
                <a:cxn ang="0">
                  <a:pos x="connsiteX27869" y="connsiteY27869"/>
                </a:cxn>
                <a:cxn ang="0">
                  <a:pos x="connsiteX27870" y="connsiteY27870"/>
                </a:cxn>
                <a:cxn ang="0">
                  <a:pos x="connsiteX27871" y="connsiteY27871"/>
                </a:cxn>
                <a:cxn ang="0">
                  <a:pos x="connsiteX27872" y="connsiteY27872"/>
                </a:cxn>
                <a:cxn ang="0">
                  <a:pos x="connsiteX27873" y="connsiteY27873"/>
                </a:cxn>
                <a:cxn ang="0">
                  <a:pos x="connsiteX27874" y="connsiteY27874"/>
                </a:cxn>
                <a:cxn ang="0">
                  <a:pos x="connsiteX27875" y="connsiteY27875"/>
                </a:cxn>
                <a:cxn ang="0">
                  <a:pos x="connsiteX27876" y="connsiteY27876"/>
                </a:cxn>
                <a:cxn ang="0">
                  <a:pos x="connsiteX27877" y="connsiteY27877"/>
                </a:cxn>
                <a:cxn ang="0">
                  <a:pos x="connsiteX27878" y="connsiteY27878"/>
                </a:cxn>
                <a:cxn ang="0">
                  <a:pos x="connsiteX27879" y="connsiteY27879"/>
                </a:cxn>
                <a:cxn ang="0">
                  <a:pos x="connsiteX27880" y="connsiteY27880"/>
                </a:cxn>
                <a:cxn ang="0">
                  <a:pos x="connsiteX27881" y="connsiteY27881"/>
                </a:cxn>
                <a:cxn ang="0">
                  <a:pos x="connsiteX27882" y="connsiteY27882"/>
                </a:cxn>
                <a:cxn ang="0">
                  <a:pos x="connsiteX27883" y="connsiteY27883"/>
                </a:cxn>
                <a:cxn ang="0">
                  <a:pos x="connsiteX27884" y="connsiteY27884"/>
                </a:cxn>
                <a:cxn ang="0">
                  <a:pos x="connsiteX27885" y="connsiteY27885"/>
                </a:cxn>
                <a:cxn ang="0">
                  <a:pos x="connsiteX27886" y="connsiteY27886"/>
                </a:cxn>
                <a:cxn ang="0">
                  <a:pos x="connsiteX27887" y="connsiteY27887"/>
                </a:cxn>
                <a:cxn ang="0">
                  <a:pos x="connsiteX27888" y="connsiteY27888"/>
                </a:cxn>
                <a:cxn ang="0">
                  <a:pos x="connsiteX27889" y="connsiteY27889"/>
                </a:cxn>
                <a:cxn ang="0">
                  <a:pos x="connsiteX27890" y="connsiteY27890"/>
                </a:cxn>
                <a:cxn ang="0">
                  <a:pos x="connsiteX27891" y="connsiteY27891"/>
                </a:cxn>
                <a:cxn ang="0">
                  <a:pos x="connsiteX27892" y="connsiteY27892"/>
                </a:cxn>
                <a:cxn ang="0">
                  <a:pos x="connsiteX27893" y="connsiteY27893"/>
                </a:cxn>
                <a:cxn ang="0">
                  <a:pos x="connsiteX27894" y="connsiteY27894"/>
                </a:cxn>
                <a:cxn ang="0">
                  <a:pos x="connsiteX27895" y="connsiteY27895"/>
                </a:cxn>
                <a:cxn ang="0">
                  <a:pos x="connsiteX27896" y="connsiteY27896"/>
                </a:cxn>
                <a:cxn ang="0">
                  <a:pos x="connsiteX27897" y="connsiteY27897"/>
                </a:cxn>
                <a:cxn ang="0">
                  <a:pos x="connsiteX27898" y="connsiteY27898"/>
                </a:cxn>
                <a:cxn ang="0">
                  <a:pos x="connsiteX27899" y="connsiteY27899"/>
                </a:cxn>
                <a:cxn ang="0">
                  <a:pos x="connsiteX27900" y="connsiteY27900"/>
                </a:cxn>
                <a:cxn ang="0">
                  <a:pos x="connsiteX27901" y="connsiteY27901"/>
                </a:cxn>
                <a:cxn ang="0">
                  <a:pos x="connsiteX27902" y="connsiteY27902"/>
                </a:cxn>
                <a:cxn ang="0">
                  <a:pos x="connsiteX27903" y="connsiteY27903"/>
                </a:cxn>
                <a:cxn ang="0">
                  <a:pos x="connsiteX27904" y="connsiteY27904"/>
                </a:cxn>
                <a:cxn ang="0">
                  <a:pos x="connsiteX27905" y="connsiteY27905"/>
                </a:cxn>
                <a:cxn ang="0">
                  <a:pos x="connsiteX27906" y="connsiteY27906"/>
                </a:cxn>
                <a:cxn ang="0">
                  <a:pos x="connsiteX27907" y="connsiteY27907"/>
                </a:cxn>
                <a:cxn ang="0">
                  <a:pos x="connsiteX27908" y="connsiteY27908"/>
                </a:cxn>
                <a:cxn ang="0">
                  <a:pos x="connsiteX27909" y="connsiteY27909"/>
                </a:cxn>
                <a:cxn ang="0">
                  <a:pos x="connsiteX27910" y="connsiteY27910"/>
                </a:cxn>
                <a:cxn ang="0">
                  <a:pos x="connsiteX27911" y="connsiteY27911"/>
                </a:cxn>
                <a:cxn ang="0">
                  <a:pos x="connsiteX27912" y="connsiteY27912"/>
                </a:cxn>
                <a:cxn ang="0">
                  <a:pos x="connsiteX27913" y="connsiteY27913"/>
                </a:cxn>
                <a:cxn ang="0">
                  <a:pos x="connsiteX27914" y="connsiteY27914"/>
                </a:cxn>
                <a:cxn ang="0">
                  <a:pos x="connsiteX27915" y="connsiteY27915"/>
                </a:cxn>
                <a:cxn ang="0">
                  <a:pos x="connsiteX27916" y="connsiteY27916"/>
                </a:cxn>
                <a:cxn ang="0">
                  <a:pos x="connsiteX27917" y="connsiteY27917"/>
                </a:cxn>
                <a:cxn ang="0">
                  <a:pos x="connsiteX27918" y="connsiteY27918"/>
                </a:cxn>
                <a:cxn ang="0">
                  <a:pos x="connsiteX27919" y="connsiteY27919"/>
                </a:cxn>
                <a:cxn ang="0">
                  <a:pos x="connsiteX27920" y="connsiteY27920"/>
                </a:cxn>
                <a:cxn ang="0">
                  <a:pos x="connsiteX27921" y="connsiteY27921"/>
                </a:cxn>
                <a:cxn ang="0">
                  <a:pos x="connsiteX27922" y="connsiteY27922"/>
                </a:cxn>
                <a:cxn ang="0">
                  <a:pos x="connsiteX27923" y="connsiteY27923"/>
                </a:cxn>
                <a:cxn ang="0">
                  <a:pos x="connsiteX27924" y="connsiteY27924"/>
                </a:cxn>
                <a:cxn ang="0">
                  <a:pos x="connsiteX27925" y="connsiteY27925"/>
                </a:cxn>
                <a:cxn ang="0">
                  <a:pos x="connsiteX27926" y="connsiteY27926"/>
                </a:cxn>
                <a:cxn ang="0">
                  <a:pos x="connsiteX27927" y="connsiteY27927"/>
                </a:cxn>
                <a:cxn ang="0">
                  <a:pos x="connsiteX27928" y="connsiteY27928"/>
                </a:cxn>
                <a:cxn ang="0">
                  <a:pos x="connsiteX27929" y="connsiteY27929"/>
                </a:cxn>
                <a:cxn ang="0">
                  <a:pos x="connsiteX27930" y="connsiteY27930"/>
                </a:cxn>
                <a:cxn ang="0">
                  <a:pos x="connsiteX27931" y="connsiteY27931"/>
                </a:cxn>
                <a:cxn ang="0">
                  <a:pos x="connsiteX27932" y="connsiteY27932"/>
                </a:cxn>
                <a:cxn ang="0">
                  <a:pos x="connsiteX27933" y="connsiteY27933"/>
                </a:cxn>
                <a:cxn ang="0">
                  <a:pos x="connsiteX27934" y="connsiteY27934"/>
                </a:cxn>
                <a:cxn ang="0">
                  <a:pos x="connsiteX27935" y="connsiteY27935"/>
                </a:cxn>
                <a:cxn ang="0">
                  <a:pos x="connsiteX27936" y="connsiteY27936"/>
                </a:cxn>
                <a:cxn ang="0">
                  <a:pos x="connsiteX27937" y="connsiteY27937"/>
                </a:cxn>
                <a:cxn ang="0">
                  <a:pos x="connsiteX27938" y="connsiteY27938"/>
                </a:cxn>
                <a:cxn ang="0">
                  <a:pos x="connsiteX27939" y="connsiteY27939"/>
                </a:cxn>
                <a:cxn ang="0">
                  <a:pos x="connsiteX27940" y="connsiteY27940"/>
                </a:cxn>
                <a:cxn ang="0">
                  <a:pos x="connsiteX27941" y="connsiteY27941"/>
                </a:cxn>
                <a:cxn ang="0">
                  <a:pos x="connsiteX27942" y="connsiteY27942"/>
                </a:cxn>
                <a:cxn ang="0">
                  <a:pos x="connsiteX27943" y="connsiteY27943"/>
                </a:cxn>
                <a:cxn ang="0">
                  <a:pos x="connsiteX27944" y="connsiteY27944"/>
                </a:cxn>
                <a:cxn ang="0">
                  <a:pos x="connsiteX27945" y="connsiteY27945"/>
                </a:cxn>
                <a:cxn ang="0">
                  <a:pos x="connsiteX27946" y="connsiteY27946"/>
                </a:cxn>
                <a:cxn ang="0">
                  <a:pos x="connsiteX27947" y="connsiteY27947"/>
                </a:cxn>
                <a:cxn ang="0">
                  <a:pos x="connsiteX27948" y="connsiteY27948"/>
                </a:cxn>
                <a:cxn ang="0">
                  <a:pos x="connsiteX27949" y="connsiteY27949"/>
                </a:cxn>
                <a:cxn ang="0">
                  <a:pos x="connsiteX27950" y="connsiteY27950"/>
                </a:cxn>
                <a:cxn ang="0">
                  <a:pos x="connsiteX27951" y="connsiteY27951"/>
                </a:cxn>
                <a:cxn ang="0">
                  <a:pos x="connsiteX27952" y="connsiteY27952"/>
                </a:cxn>
                <a:cxn ang="0">
                  <a:pos x="connsiteX27953" y="connsiteY27953"/>
                </a:cxn>
                <a:cxn ang="0">
                  <a:pos x="connsiteX27954" y="connsiteY27954"/>
                </a:cxn>
                <a:cxn ang="0">
                  <a:pos x="connsiteX27955" y="connsiteY27955"/>
                </a:cxn>
                <a:cxn ang="0">
                  <a:pos x="connsiteX27956" y="connsiteY27956"/>
                </a:cxn>
                <a:cxn ang="0">
                  <a:pos x="connsiteX27957" y="connsiteY27957"/>
                </a:cxn>
                <a:cxn ang="0">
                  <a:pos x="connsiteX27958" y="connsiteY27958"/>
                </a:cxn>
                <a:cxn ang="0">
                  <a:pos x="connsiteX27959" y="connsiteY27959"/>
                </a:cxn>
                <a:cxn ang="0">
                  <a:pos x="connsiteX27960" y="connsiteY27960"/>
                </a:cxn>
                <a:cxn ang="0">
                  <a:pos x="connsiteX27961" y="connsiteY27961"/>
                </a:cxn>
                <a:cxn ang="0">
                  <a:pos x="connsiteX27962" y="connsiteY27962"/>
                </a:cxn>
                <a:cxn ang="0">
                  <a:pos x="connsiteX27963" y="connsiteY27963"/>
                </a:cxn>
                <a:cxn ang="0">
                  <a:pos x="connsiteX27964" y="connsiteY27964"/>
                </a:cxn>
                <a:cxn ang="0">
                  <a:pos x="connsiteX27965" y="connsiteY27965"/>
                </a:cxn>
                <a:cxn ang="0">
                  <a:pos x="connsiteX27966" y="connsiteY27966"/>
                </a:cxn>
                <a:cxn ang="0">
                  <a:pos x="connsiteX27967" y="connsiteY27967"/>
                </a:cxn>
                <a:cxn ang="0">
                  <a:pos x="connsiteX27968" y="connsiteY27968"/>
                </a:cxn>
                <a:cxn ang="0">
                  <a:pos x="connsiteX27969" y="connsiteY27969"/>
                </a:cxn>
                <a:cxn ang="0">
                  <a:pos x="connsiteX27970" y="connsiteY27970"/>
                </a:cxn>
                <a:cxn ang="0">
                  <a:pos x="connsiteX27971" y="connsiteY27971"/>
                </a:cxn>
                <a:cxn ang="0">
                  <a:pos x="connsiteX27972" y="connsiteY27972"/>
                </a:cxn>
                <a:cxn ang="0">
                  <a:pos x="connsiteX27973" y="connsiteY27973"/>
                </a:cxn>
                <a:cxn ang="0">
                  <a:pos x="connsiteX27974" y="connsiteY27974"/>
                </a:cxn>
                <a:cxn ang="0">
                  <a:pos x="connsiteX27975" y="connsiteY27975"/>
                </a:cxn>
                <a:cxn ang="0">
                  <a:pos x="connsiteX27976" y="connsiteY27976"/>
                </a:cxn>
                <a:cxn ang="0">
                  <a:pos x="connsiteX27977" y="connsiteY27977"/>
                </a:cxn>
                <a:cxn ang="0">
                  <a:pos x="connsiteX27978" y="connsiteY27978"/>
                </a:cxn>
                <a:cxn ang="0">
                  <a:pos x="connsiteX27979" y="connsiteY27979"/>
                </a:cxn>
                <a:cxn ang="0">
                  <a:pos x="connsiteX27980" y="connsiteY27980"/>
                </a:cxn>
                <a:cxn ang="0">
                  <a:pos x="connsiteX27981" y="connsiteY27981"/>
                </a:cxn>
                <a:cxn ang="0">
                  <a:pos x="connsiteX27982" y="connsiteY27982"/>
                </a:cxn>
                <a:cxn ang="0">
                  <a:pos x="connsiteX27983" y="connsiteY27983"/>
                </a:cxn>
                <a:cxn ang="0">
                  <a:pos x="connsiteX27984" y="connsiteY27984"/>
                </a:cxn>
                <a:cxn ang="0">
                  <a:pos x="connsiteX27985" y="connsiteY27985"/>
                </a:cxn>
                <a:cxn ang="0">
                  <a:pos x="connsiteX27986" y="connsiteY27986"/>
                </a:cxn>
                <a:cxn ang="0">
                  <a:pos x="connsiteX27987" y="connsiteY27987"/>
                </a:cxn>
                <a:cxn ang="0">
                  <a:pos x="connsiteX27988" y="connsiteY27988"/>
                </a:cxn>
                <a:cxn ang="0">
                  <a:pos x="connsiteX27989" y="connsiteY27989"/>
                </a:cxn>
                <a:cxn ang="0">
                  <a:pos x="connsiteX27990" y="connsiteY27990"/>
                </a:cxn>
                <a:cxn ang="0">
                  <a:pos x="connsiteX27991" y="connsiteY27991"/>
                </a:cxn>
                <a:cxn ang="0">
                  <a:pos x="connsiteX27992" y="connsiteY27992"/>
                </a:cxn>
                <a:cxn ang="0">
                  <a:pos x="connsiteX27993" y="connsiteY27993"/>
                </a:cxn>
                <a:cxn ang="0">
                  <a:pos x="connsiteX27994" y="connsiteY27994"/>
                </a:cxn>
                <a:cxn ang="0">
                  <a:pos x="connsiteX27995" y="connsiteY27995"/>
                </a:cxn>
                <a:cxn ang="0">
                  <a:pos x="connsiteX27996" y="connsiteY27996"/>
                </a:cxn>
                <a:cxn ang="0">
                  <a:pos x="connsiteX27997" y="connsiteY27997"/>
                </a:cxn>
                <a:cxn ang="0">
                  <a:pos x="connsiteX27998" y="connsiteY27998"/>
                </a:cxn>
                <a:cxn ang="0">
                  <a:pos x="connsiteX27999" y="connsiteY27999"/>
                </a:cxn>
                <a:cxn ang="0">
                  <a:pos x="connsiteX28000" y="connsiteY28000"/>
                </a:cxn>
                <a:cxn ang="0">
                  <a:pos x="connsiteX28001" y="connsiteY28001"/>
                </a:cxn>
                <a:cxn ang="0">
                  <a:pos x="connsiteX28002" y="connsiteY28002"/>
                </a:cxn>
                <a:cxn ang="0">
                  <a:pos x="connsiteX28003" y="connsiteY28003"/>
                </a:cxn>
                <a:cxn ang="0">
                  <a:pos x="connsiteX28004" y="connsiteY28004"/>
                </a:cxn>
                <a:cxn ang="0">
                  <a:pos x="connsiteX28005" y="connsiteY28005"/>
                </a:cxn>
                <a:cxn ang="0">
                  <a:pos x="connsiteX28006" y="connsiteY28006"/>
                </a:cxn>
                <a:cxn ang="0">
                  <a:pos x="connsiteX28007" y="connsiteY28007"/>
                </a:cxn>
                <a:cxn ang="0">
                  <a:pos x="connsiteX28008" y="connsiteY28008"/>
                </a:cxn>
                <a:cxn ang="0">
                  <a:pos x="connsiteX28009" y="connsiteY28009"/>
                </a:cxn>
                <a:cxn ang="0">
                  <a:pos x="connsiteX28010" y="connsiteY28010"/>
                </a:cxn>
                <a:cxn ang="0">
                  <a:pos x="connsiteX28011" y="connsiteY28011"/>
                </a:cxn>
                <a:cxn ang="0">
                  <a:pos x="connsiteX28012" y="connsiteY28012"/>
                </a:cxn>
                <a:cxn ang="0">
                  <a:pos x="connsiteX28013" y="connsiteY28013"/>
                </a:cxn>
                <a:cxn ang="0">
                  <a:pos x="connsiteX28014" y="connsiteY28014"/>
                </a:cxn>
                <a:cxn ang="0">
                  <a:pos x="connsiteX28015" y="connsiteY28015"/>
                </a:cxn>
                <a:cxn ang="0">
                  <a:pos x="connsiteX28016" y="connsiteY28016"/>
                </a:cxn>
                <a:cxn ang="0">
                  <a:pos x="connsiteX28017" y="connsiteY28017"/>
                </a:cxn>
                <a:cxn ang="0">
                  <a:pos x="connsiteX28018" y="connsiteY28018"/>
                </a:cxn>
                <a:cxn ang="0">
                  <a:pos x="connsiteX28019" y="connsiteY28019"/>
                </a:cxn>
                <a:cxn ang="0">
                  <a:pos x="connsiteX28020" y="connsiteY28020"/>
                </a:cxn>
                <a:cxn ang="0">
                  <a:pos x="connsiteX28021" y="connsiteY28021"/>
                </a:cxn>
                <a:cxn ang="0">
                  <a:pos x="connsiteX28022" y="connsiteY28022"/>
                </a:cxn>
                <a:cxn ang="0">
                  <a:pos x="connsiteX28023" y="connsiteY28023"/>
                </a:cxn>
                <a:cxn ang="0">
                  <a:pos x="connsiteX28024" y="connsiteY28024"/>
                </a:cxn>
                <a:cxn ang="0">
                  <a:pos x="connsiteX28025" y="connsiteY28025"/>
                </a:cxn>
                <a:cxn ang="0">
                  <a:pos x="connsiteX28026" y="connsiteY28026"/>
                </a:cxn>
                <a:cxn ang="0">
                  <a:pos x="connsiteX28027" y="connsiteY28027"/>
                </a:cxn>
                <a:cxn ang="0">
                  <a:pos x="connsiteX28028" y="connsiteY28028"/>
                </a:cxn>
                <a:cxn ang="0">
                  <a:pos x="connsiteX28029" y="connsiteY28029"/>
                </a:cxn>
                <a:cxn ang="0">
                  <a:pos x="connsiteX28030" y="connsiteY28030"/>
                </a:cxn>
                <a:cxn ang="0">
                  <a:pos x="connsiteX28031" y="connsiteY28031"/>
                </a:cxn>
                <a:cxn ang="0">
                  <a:pos x="connsiteX28032" y="connsiteY28032"/>
                </a:cxn>
                <a:cxn ang="0">
                  <a:pos x="connsiteX28033" y="connsiteY28033"/>
                </a:cxn>
                <a:cxn ang="0">
                  <a:pos x="connsiteX28034" y="connsiteY28034"/>
                </a:cxn>
                <a:cxn ang="0">
                  <a:pos x="connsiteX28035" y="connsiteY28035"/>
                </a:cxn>
                <a:cxn ang="0">
                  <a:pos x="connsiteX28036" y="connsiteY28036"/>
                </a:cxn>
                <a:cxn ang="0">
                  <a:pos x="connsiteX28037" y="connsiteY28037"/>
                </a:cxn>
                <a:cxn ang="0">
                  <a:pos x="connsiteX28038" y="connsiteY28038"/>
                </a:cxn>
                <a:cxn ang="0">
                  <a:pos x="connsiteX28039" y="connsiteY28039"/>
                </a:cxn>
                <a:cxn ang="0">
                  <a:pos x="connsiteX28040" y="connsiteY28040"/>
                </a:cxn>
                <a:cxn ang="0">
                  <a:pos x="connsiteX28041" y="connsiteY28041"/>
                </a:cxn>
                <a:cxn ang="0">
                  <a:pos x="connsiteX28042" y="connsiteY28042"/>
                </a:cxn>
                <a:cxn ang="0">
                  <a:pos x="connsiteX28043" y="connsiteY28043"/>
                </a:cxn>
                <a:cxn ang="0">
                  <a:pos x="connsiteX28044" y="connsiteY28044"/>
                </a:cxn>
                <a:cxn ang="0">
                  <a:pos x="connsiteX28045" y="connsiteY28045"/>
                </a:cxn>
                <a:cxn ang="0">
                  <a:pos x="connsiteX28046" y="connsiteY28046"/>
                </a:cxn>
                <a:cxn ang="0">
                  <a:pos x="connsiteX28047" y="connsiteY28047"/>
                </a:cxn>
                <a:cxn ang="0">
                  <a:pos x="connsiteX28048" y="connsiteY28048"/>
                </a:cxn>
                <a:cxn ang="0">
                  <a:pos x="connsiteX28049" y="connsiteY28049"/>
                </a:cxn>
                <a:cxn ang="0">
                  <a:pos x="connsiteX28050" y="connsiteY28050"/>
                </a:cxn>
                <a:cxn ang="0">
                  <a:pos x="connsiteX28051" y="connsiteY28051"/>
                </a:cxn>
                <a:cxn ang="0">
                  <a:pos x="connsiteX28052" y="connsiteY28052"/>
                </a:cxn>
                <a:cxn ang="0">
                  <a:pos x="connsiteX28053" y="connsiteY28053"/>
                </a:cxn>
                <a:cxn ang="0">
                  <a:pos x="connsiteX28054" y="connsiteY28054"/>
                </a:cxn>
                <a:cxn ang="0">
                  <a:pos x="connsiteX28055" y="connsiteY28055"/>
                </a:cxn>
                <a:cxn ang="0">
                  <a:pos x="connsiteX28056" y="connsiteY28056"/>
                </a:cxn>
                <a:cxn ang="0">
                  <a:pos x="connsiteX28057" y="connsiteY28057"/>
                </a:cxn>
                <a:cxn ang="0">
                  <a:pos x="connsiteX28058" y="connsiteY28058"/>
                </a:cxn>
                <a:cxn ang="0">
                  <a:pos x="connsiteX28059" y="connsiteY28059"/>
                </a:cxn>
                <a:cxn ang="0">
                  <a:pos x="connsiteX28060" y="connsiteY28060"/>
                </a:cxn>
                <a:cxn ang="0">
                  <a:pos x="connsiteX28061" y="connsiteY28061"/>
                </a:cxn>
                <a:cxn ang="0">
                  <a:pos x="connsiteX28062" y="connsiteY28062"/>
                </a:cxn>
                <a:cxn ang="0">
                  <a:pos x="connsiteX28063" y="connsiteY28063"/>
                </a:cxn>
                <a:cxn ang="0">
                  <a:pos x="connsiteX28064" y="connsiteY28064"/>
                </a:cxn>
                <a:cxn ang="0">
                  <a:pos x="connsiteX28065" y="connsiteY28065"/>
                </a:cxn>
                <a:cxn ang="0">
                  <a:pos x="connsiteX28066" y="connsiteY28066"/>
                </a:cxn>
                <a:cxn ang="0">
                  <a:pos x="connsiteX28067" y="connsiteY28067"/>
                </a:cxn>
                <a:cxn ang="0">
                  <a:pos x="connsiteX28068" y="connsiteY28068"/>
                </a:cxn>
                <a:cxn ang="0">
                  <a:pos x="connsiteX28069" y="connsiteY28069"/>
                </a:cxn>
                <a:cxn ang="0">
                  <a:pos x="connsiteX28070" y="connsiteY28070"/>
                </a:cxn>
                <a:cxn ang="0">
                  <a:pos x="connsiteX28071" y="connsiteY28071"/>
                </a:cxn>
                <a:cxn ang="0">
                  <a:pos x="connsiteX28072" y="connsiteY28072"/>
                </a:cxn>
                <a:cxn ang="0">
                  <a:pos x="connsiteX28073" y="connsiteY28073"/>
                </a:cxn>
                <a:cxn ang="0">
                  <a:pos x="connsiteX28074" y="connsiteY28074"/>
                </a:cxn>
                <a:cxn ang="0">
                  <a:pos x="connsiteX28075" y="connsiteY28075"/>
                </a:cxn>
                <a:cxn ang="0">
                  <a:pos x="connsiteX28076" y="connsiteY28076"/>
                </a:cxn>
                <a:cxn ang="0">
                  <a:pos x="connsiteX28077" y="connsiteY28077"/>
                </a:cxn>
                <a:cxn ang="0">
                  <a:pos x="connsiteX28078" y="connsiteY28078"/>
                </a:cxn>
                <a:cxn ang="0">
                  <a:pos x="connsiteX28079" y="connsiteY28079"/>
                </a:cxn>
                <a:cxn ang="0">
                  <a:pos x="connsiteX28080" y="connsiteY28080"/>
                </a:cxn>
                <a:cxn ang="0">
                  <a:pos x="connsiteX28081" y="connsiteY28081"/>
                </a:cxn>
                <a:cxn ang="0">
                  <a:pos x="connsiteX28082" y="connsiteY28082"/>
                </a:cxn>
                <a:cxn ang="0">
                  <a:pos x="connsiteX28083" y="connsiteY28083"/>
                </a:cxn>
                <a:cxn ang="0">
                  <a:pos x="connsiteX28084" y="connsiteY28084"/>
                </a:cxn>
                <a:cxn ang="0">
                  <a:pos x="connsiteX28085" y="connsiteY28085"/>
                </a:cxn>
                <a:cxn ang="0">
                  <a:pos x="connsiteX28086" y="connsiteY28086"/>
                </a:cxn>
                <a:cxn ang="0">
                  <a:pos x="connsiteX28087" y="connsiteY28087"/>
                </a:cxn>
                <a:cxn ang="0">
                  <a:pos x="connsiteX28088" y="connsiteY28088"/>
                </a:cxn>
                <a:cxn ang="0">
                  <a:pos x="connsiteX28089" y="connsiteY28089"/>
                </a:cxn>
                <a:cxn ang="0">
                  <a:pos x="connsiteX28090" y="connsiteY28090"/>
                </a:cxn>
                <a:cxn ang="0">
                  <a:pos x="connsiteX28091" y="connsiteY28091"/>
                </a:cxn>
                <a:cxn ang="0">
                  <a:pos x="connsiteX28092" y="connsiteY28092"/>
                </a:cxn>
                <a:cxn ang="0">
                  <a:pos x="connsiteX28093" y="connsiteY28093"/>
                </a:cxn>
                <a:cxn ang="0">
                  <a:pos x="connsiteX28094" y="connsiteY28094"/>
                </a:cxn>
                <a:cxn ang="0">
                  <a:pos x="connsiteX28095" y="connsiteY28095"/>
                </a:cxn>
                <a:cxn ang="0">
                  <a:pos x="connsiteX28096" y="connsiteY28096"/>
                </a:cxn>
                <a:cxn ang="0">
                  <a:pos x="connsiteX28097" y="connsiteY28097"/>
                </a:cxn>
                <a:cxn ang="0">
                  <a:pos x="connsiteX28098" y="connsiteY28098"/>
                </a:cxn>
                <a:cxn ang="0">
                  <a:pos x="connsiteX28099" y="connsiteY28099"/>
                </a:cxn>
                <a:cxn ang="0">
                  <a:pos x="connsiteX28100" y="connsiteY28100"/>
                </a:cxn>
                <a:cxn ang="0">
                  <a:pos x="connsiteX28101" y="connsiteY28101"/>
                </a:cxn>
                <a:cxn ang="0">
                  <a:pos x="connsiteX28102" y="connsiteY28102"/>
                </a:cxn>
                <a:cxn ang="0">
                  <a:pos x="connsiteX28103" y="connsiteY28103"/>
                </a:cxn>
                <a:cxn ang="0">
                  <a:pos x="connsiteX28104" y="connsiteY28104"/>
                </a:cxn>
                <a:cxn ang="0">
                  <a:pos x="connsiteX28105" y="connsiteY28105"/>
                </a:cxn>
                <a:cxn ang="0">
                  <a:pos x="connsiteX28106" y="connsiteY28106"/>
                </a:cxn>
                <a:cxn ang="0">
                  <a:pos x="connsiteX28107" y="connsiteY28107"/>
                </a:cxn>
                <a:cxn ang="0">
                  <a:pos x="connsiteX28108" y="connsiteY28108"/>
                </a:cxn>
                <a:cxn ang="0">
                  <a:pos x="connsiteX28109" y="connsiteY28109"/>
                </a:cxn>
                <a:cxn ang="0">
                  <a:pos x="connsiteX28110" y="connsiteY28110"/>
                </a:cxn>
                <a:cxn ang="0">
                  <a:pos x="connsiteX28111" y="connsiteY28111"/>
                </a:cxn>
                <a:cxn ang="0">
                  <a:pos x="connsiteX28112" y="connsiteY28112"/>
                </a:cxn>
                <a:cxn ang="0">
                  <a:pos x="connsiteX28113" y="connsiteY28113"/>
                </a:cxn>
                <a:cxn ang="0">
                  <a:pos x="connsiteX28114" y="connsiteY28114"/>
                </a:cxn>
                <a:cxn ang="0">
                  <a:pos x="connsiteX28115" y="connsiteY28115"/>
                </a:cxn>
                <a:cxn ang="0">
                  <a:pos x="connsiteX28116" y="connsiteY28116"/>
                </a:cxn>
                <a:cxn ang="0">
                  <a:pos x="connsiteX28117" y="connsiteY28117"/>
                </a:cxn>
                <a:cxn ang="0">
                  <a:pos x="connsiteX28118" y="connsiteY28118"/>
                </a:cxn>
                <a:cxn ang="0">
                  <a:pos x="connsiteX28119" y="connsiteY28119"/>
                </a:cxn>
                <a:cxn ang="0">
                  <a:pos x="connsiteX28120" y="connsiteY28120"/>
                </a:cxn>
                <a:cxn ang="0">
                  <a:pos x="connsiteX28121" y="connsiteY28121"/>
                </a:cxn>
                <a:cxn ang="0">
                  <a:pos x="connsiteX28122" y="connsiteY28122"/>
                </a:cxn>
                <a:cxn ang="0">
                  <a:pos x="connsiteX28123" y="connsiteY28123"/>
                </a:cxn>
                <a:cxn ang="0">
                  <a:pos x="connsiteX28124" y="connsiteY28124"/>
                </a:cxn>
                <a:cxn ang="0">
                  <a:pos x="connsiteX28125" y="connsiteY28125"/>
                </a:cxn>
                <a:cxn ang="0">
                  <a:pos x="connsiteX28126" y="connsiteY28126"/>
                </a:cxn>
                <a:cxn ang="0">
                  <a:pos x="connsiteX28127" y="connsiteY28127"/>
                </a:cxn>
                <a:cxn ang="0">
                  <a:pos x="connsiteX28128" y="connsiteY28128"/>
                </a:cxn>
                <a:cxn ang="0">
                  <a:pos x="connsiteX28129" y="connsiteY28129"/>
                </a:cxn>
                <a:cxn ang="0">
                  <a:pos x="connsiteX28130" y="connsiteY28130"/>
                </a:cxn>
                <a:cxn ang="0">
                  <a:pos x="connsiteX28131" y="connsiteY28131"/>
                </a:cxn>
                <a:cxn ang="0">
                  <a:pos x="connsiteX28132" y="connsiteY28132"/>
                </a:cxn>
                <a:cxn ang="0">
                  <a:pos x="connsiteX28133" y="connsiteY28133"/>
                </a:cxn>
                <a:cxn ang="0">
                  <a:pos x="connsiteX28134" y="connsiteY28134"/>
                </a:cxn>
                <a:cxn ang="0">
                  <a:pos x="connsiteX28135" y="connsiteY28135"/>
                </a:cxn>
                <a:cxn ang="0">
                  <a:pos x="connsiteX28136" y="connsiteY28136"/>
                </a:cxn>
                <a:cxn ang="0">
                  <a:pos x="connsiteX28137" y="connsiteY28137"/>
                </a:cxn>
                <a:cxn ang="0">
                  <a:pos x="connsiteX28138" y="connsiteY28138"/>
                </a:cxn>
                <a:cxn ang="0">
                  <a:pos x="connsiteX28139" y="connsiteY28139"/>
                </a:cxn>
                <a:cxn ang="0">
                  <a:pos x="connsiteX28140" y="connsiteY28140"/>
                </a:cxn>
                <a:cxn ang="0">
                  <a:pos x="connsiteX28141" y="connsiteY28141"/>
                </a:cxn>
                <a:cxn ang="0">
                  <a:pos x="connsiteX28142" y="connsiteY28142"/>
                </a:cxn>
                <a:cxn ang="0">
                  <a:pos x="connsiteX28143" y="connsiteY28143"/>
                </a:cxn>
                <a:cxn ang="0">
                  <a:pos x="connsiteX28144" y="connsiteY28144"/>
                </a:cxn>
                <a:cxn ang="0">
                  <a:pos x="connsiteX28145" y="connsiteY28145"/>
                </a:cxn>
                <a:cxn ang="0">
                  <a:pos x="connsiteX28146" y="connsiteY28146"/>
                </a:cxn>
                <a:cxn ang="0">
                  <a:pos x="connsiteX28147" y="connsiteY28147"/>
                </a:cxn>
                <a:cxn ang="0">
                  <a:pos x="connsiteX28148" y="connsiteY28148"/>
                </a:cxn>
                <a:cxn ang="0">
                  <a:pos x="connsiteX28149" y="connsiteY28149"/>
                </a:cxn>
                <a:cxn ang="0">
                  <a:pos x="connsiteX28150" y="connsiteY28150"/>
                </a:cxn>
                <a:cxn ang="0">
                  <a:pos x="connsiteX28151" y="connsiteY28151"/>
                </a:cxn>
                <a:cxn ang="0">
                  <a:pos x="connsiteX28152" y="connsiteY28152"/>
                </a:cxn>
                <a:cxn ang="0">
                  <a:pos x="connsiteX28153" y="connsiteY28153"/>
                </a:cxn>
                <a:cxn ang="0">
                  <a:pos x="connsiteX28154" y="connsiteY28154"/>
                </a:cxn>
                <a:cxn ang="0">
                  <a:pos x="connsiteX28155" y="connsiteY28155"/>
                </a:cxn>
                <a:cxn ang="0">
                  <a:pos x="connsiteX28156" y="connsiteY28156"/>
                </a:cxn>
                <a:cxn ang="0">
                  <a:pos x="connsiteX28157" y="connsiteY28157"/>
                </a:cxn>
                <a:cxn ang="0">
                  <a:pos x="connsiteX28158" y="connsiteY28158"/>
                </a:cxn>
                <a:cxn ang="0">
                  <a:pos x="connsiteX28159" y="connsiteY28159"/>
                </a:cxn>
                <a:cxn ang="0">
                  <a:pos x="connsiteX28160" y="connsiteY28160"/>
                </a:cxn>
                <a:cxn ang="0">
                  <a:pos x="connsiteX28161" y="connsiteY28161"/>
                </a:cxn>
                <a:cxn ang="0">
                  <a:pos x="connsiteX28162" y="connsiteY28162"/>
                </a:cxn>
                <a:cxn ang="0">
                  <a:pos x="connsiteX28163" y="connsiteY28163"/>
                </a:cxn>
                <a:cxn ang="0">
                  <a:pos x="connsiteX28164" y="connsiteY28164"/>
                </a:cxn>
                <a:cxn ang="0">
                  <a:pos x="connsiteX28165" y="connsiteY28165"/>
                </a:cxn>
                <a:cxn ang="0">
                  <a:pos x="connsiteX28166" y="connsiteY28166"/>
                </a:cxn>
                <a:cxn ang="0">
                  <a:pos x="connsiteX28167" y="connsiteY28167"/>
                </a:cxn>
                <a:cxn ang="0">
                  <a:pos x="connsiteX28168" y="connsiteY28168"/>
                </a:cxn>
                <a:cxn ang="0">
                  <a:pos x="connsiteX28169" y="connsiteY28169"/>
                </a:cxn>
                <a:cxn ang="0">
                  <a:pos x="connsiteX28170" y="connsiteY28170"/>
                </a:cxn>
                <a:cxn ang="0">
                  <a:pos x="connsiteX28171" y="connsiteY28171"/>
                </a:cxn>
                <a:cxn ang="0">
                  <a:pos x="connsiteX28172" y="connsiteY28172"/>
                </a:cxn>
                <a:cxn ang="0">
                  <a:pos x="connsiteX28173" y="connsiteY28173"/>
                </a:cxn>
                <a:cxn ang="0">
                  <a:pos x="connsiteX28174" y="connsiteY28174"/>
                </a:cxn>
                <a:cxn ang="0">
                  <a:pos x="connsiteX28175" y="connsiteY28175"/>
                </a:cxn>
                <a:cxn ang="0">
                  <a:pos x="connsiteX28176" y="connsiteY28176"/>
                </a:cxn>
                <a:cxn ang="0">
                  <a:pos x="connsiteX28177" y="connsiteY28177"/>
                </a:cxn>
                <a:cxn ang="0">
                  <a:pos x="connsiteX28178" y="connsiteY28178"/>
                </a:cxn>
                <a:cxn ang="0">
                  <a:pos x="connsiteX28179" y="connsiteY28179"/>
                </a:cxn>
                <a:cxn ang="0">
                  <a:pos x="connsiteX28180" y="connsiteY28180"/>
                </a:cxn>
                <a:cxn ang="0">
                  <a:pos x="connsiteX28181" y="connsiteY28181"/>
                </a:cxn>
                <a:cxn ang="0">
                  <a:pos x="connsiteX28182" y="connsiteY28182"/>
                </a:cxn>
                <a:cxn ang="0">
                  <a:pos x="connsiteX28183" y="connsiteY28183"/>
                </a:cxn>
                <a:cxn ang="0">
                  <a:pos x="connsiteX28184" y="connsiteY28184"/>
                </a:cxn>
                <a:cxn ang="0">
                  <a:pos x="connsiteX28185" y="connsiteY28185"/>
                </a:cxn>
                <a:cxn ang="0">
                  <a:pos x="connsiteX28186" y="connsiteY28186"/>
                </a:cxn>
                <a:cxn ang="0">
                  <a:pos x="connsiteX28187" y="connsiteY28187"/>
                </a:cxn>
                <a:cxn ang="0">
                  <a:pos x="connsiteX28188" y="connsiteY28188"/>
                </a:cxn>
                <a:cxn ang="0">
                  <a:pos x="connsiteX28189" y="connsiteY28189"/>
                </a:cxn>
                <a:cxn ang="0">
                  <a:pos x="connsiteX28190" y="connsiteY28190"/>
                </a:cxn>
                <a:cxn ang="0">
                  <a:pos x="connsiteX28191" y="connsiteY28191"/>
                </a:cxn>
                <a:cxn ang="0">
                  <a:pos x="connsiteX28192" y="connsiteY28192"/>
                </a:cxn>
                <a:cxn ang="0">
                  <a:pos x="connsiteX28193" y="connsiteY28193"/>
                </a:cxn>
                <a:cxn ang="0">
                  <a:pos x="connsiteX28194" y="connsiteY28194"/>
                </a:cxn>
                <a:cxn ang="0">
                  <a:pos x="connsiteX28195" y="connsiteY28195"/>
                </a:cxn>
                <a:cxn ang="0">
                  <a:pos x="connsiteX28196" y="connsiteY28196"/>
                </a:cxn>
                <a:cxn ang="0">
                  <a:pos x="connsiteX28197" y="connsiteY28197"/>
                </a:cxn>
                <a:cxn ang="0">
                  <a:pos x="connsiteX28198" y="connsiteY28198"/>
                </a:cxn>
                <a:cxn ang="0">
                  <a:pos x="connsiteX28199" y="connsiteY28199"/>
                </a:cxn>
                <a:cxn ang="0">
                  <a:pos x="connsiteX28200" y="connsiteY28200"/>
                </a:cxn>
                <a:cxn ang="0">
                  <a:pos x="connsiteX28201" y="connsiteY28201"/>
                </a:cxn>
                <a:cxn ang="0">
                  <a:pos x="connsiteX28202" y="connsiteY28202"/>
                </a:cxn>
                <a:cxn ang="0">
                  <a:pos x="connsiteX28203" y="connsiteY28203"/>
                </a:cxn>
                <a:cxn ang="0">
                  <a:pos x="connsiteX28204" y="connsiteY28204"/>
                </a:cxn>
                <a:cxn ang="0">
                  <a:pos x="connsiteX28205" y="connsiteY28205"/>
                </a:cxn>
                <a:cxn ang="0">
                  <a:pos x="connsiteX28206" y="connsiteY28206"/>
                </a:cxn>
                <a:cxn ang="0">
                  <a:pos x="connsiteX28207" y="connsiteY28207"/>
                </a:cxn>
                <a:cxn ang="0">
                  <a:pos x="connsiteX28208" y="connsiteY28208"/>
                </a:cxn>
                <a:cxn ang="0">
                  <a:pos x="connsiteX28209" y="connsiteY28209"/>
                </a:cxn>
                <a:cxn ang="0">
                  <a:pos x="connsiteX28210" y="connsiteY28210"/>
                </a:cxn>
                <a:cxn ang="0">
                  <a:pos x="connsiteX28211" y="connsiteY28211"/>
                </a:cxn>
                <a:cxn ang="0">
                  <a:pos x="connsiteX28212" y="connsiteY28212"/>
                </a:cxn>
                <a:cxn ang="0">
                  <a:pos x="connsiteX28213" y="connsiteY28213"/>
                </a:cxn>
                <a:cxn ang="0">
                  <a:pos x="connsiteX28214" y="connsiteY28214"/>
                </a:cxn>
                <a:cxn ang="0">
                  <a:pos x="connsiteX28215" y="connsiteY28215"/>
                </a:cxn>
                <a:cxn ang="0">
                  <a:pos x="connsiteX28216" y="connsiteY28216"/>
                </a:cxn>
                <a:cxn ang="0">
                  <a:pos x="connsiteX28217" y="connsiteY28217"/>
                </a:cxn>
                <a:cxn ang="0">
                  <a:pos x="connsiteX28218" y="connsiteY28218"/>
                </a:cxn>
                <a:cxn ang="0">
                  <a:pos x="connsiteX28219" y="connsiteY28219"/>
                </a:cxn>
                <a:cxn ang="0">
                  <a:pos x="connsiteX28220" y="connsiteY28220"/>
                </a:cxn>
                <a:cxn ang="0">
                  <a:pos x="connsiteX28221" y="connsiteY28221"/>
                </a:cxn>
                <a:cxn ang="0">
                  <a:pos x="connsiteX28222" y="connsiteY28222"/>
                </a:cxn>
                <a:cxn ang="0">
                  <a:pos x="connsiteX28223" y="connsiteY28223"/>
                </a:cxn>
                <a:cxn ang="0">
                  <a:pos x="connsiteX28224" y="connsiteY28224"/>
                </a:cxn>
                <a:cxn ang="0">
                  <a:pos x="connsiteX28225" y="connsiteY28225"/>
                </a:cxn>
                <a:cxn ang="0">
                  <a:pos x="connsiteX28226" y="connsiteY28226"/>
                </a:cxn>
                <a:cxn ang="0">
                  <a:pos x="connsiteX28227" y="connsiteY28227"/>
                </a:cxn>
                <a:cxn ang="0">
                  <a:pos x="connsiteX28228" y="connsiteY28228"/>
                </a:cxn>
                <a:cxn ang="0">
                  <a:pos x="connsiteX28229" y="connsiteY28229"/>
                </a:cxn>
                <a:cxn ang="0">
                  <a:pos x="connsiteX28230" y="connsiteY28230"/>
                </a:cxn>
                <a:cxn ang="0">
                  <a:pos x="connsiteX28231" y="connsiteY28231"/>
                </a:cxn>
                <a:cxn ang="0">
                  <a:pos x="connsiteX28232" y="connsiteY28232"/>
                </a:cxn>
                <a:cxn ang="0">
                  <a:pos x="connsiteX28233" y="connsiteY28233"/>
                </a:cxn>
                <a:cxn ang="0">
                  <a:pos x="connsiteX28234" y="connsiteY28234"/>
                </a:cxn>
                <a:cxn ang="0">
                  <a:pos x="connsiteX28235" y="connsiteY28235"/>
                </a:cxn>
                <a:cxn ang="0">
                  <a:pos x="connsiteX28236" y="connsiteY28236"/>
                </a:cxn>
                <a:cxn ang="0">
                  <a:pos x="connsiteX28237" y="connsiteY28237"/>
                </a:cxn>
                <a:cxn ang="0">
                  <a:pos x="connsiteX28238" y="connsiteY28238"/>
                </a:cxn>
                <a:cxn ang="0">
                  <a:pos x="connsiteX28239" y="connsiteY28239"/>
                </a:cxn>
                <a:cxn ang="0">
                  <a:pos x="connsiteX28240" y="connsiteY28240"/>
                </a:cxn>
                <a:cxn ang="0">
                  <a:pos x="connsiteX28241" y="connsiteY28241"/>
                </a:cxn>
              </a:cxnLst>
              <a:rect l="l" t="t" r="r" b="b"/>
              <a:pathLst>
                <a:path w="3359086" h="3355086">
                  <a:moveTo>
                    <a:pt x="1657159" y="3345656"/>
                  </a:moveTo>
                  <a:cubicBezTo>
                    <a:pt x="1659731" y="3345656"/>
                    <a:pt x="1661826" y="3347752"/>
                    <a:pt x="1661826" y="3350228"/>
                  </a:cubicBezTo>
                  <a:cubicBezTo>
                    <a:pt x="1661826" y="3352705"/>
                    <a:pt x="1659731" y="3354800"/>
                    <a:pt x="1657159" y="3354800"/>
                  </a:cubicBezTo>
                  <a:cubicBezTo>
                    <a:pt x="1654683" y="3354800"/>
                    <a:pt x="1652587" y="3352705"/>
                    <a:pt x="1652587" y="3350228"/>
                  </a:cubicBezTo>
                  <a:cubicBezTo>
                    <a:pt x="1652587" y="3347752"/>
                    <a:pt x="1654587" y="3345656"/>
                    <a:pt x="1657159" y="3345656"/>
                  </a:cubicBezTo>
                  <a:close/>
                  <a:moveTo>
                    <a:pt x="1618678" y="3345276"/>
                  </a:moveTo>
                  <a:cubicBezTo>
                    <a:pt x="1621059" y="3345276"/>
                    <a:pt x="1622964" y="3347181"/>
                    <a:pt x="1622964" y="3349562"/>
                  </a:cubicBezTo>
                  <a:cubicBezTo>
                    <a:pt x="1622964" y="3351943"/>
                    <a:pt x="1621059" y="3353848"/>
                    <a:pt x="1618678" y="3353848"/>
                  </a:cubicBezTo>
                  <a:cubicBezTo>
                    <a:pt x="1616297" y="3353848"/>
                    <a:pt x="1614392" y="3351943"/>
                    <a:pt x="1614392" y="3349562"/>
                  </a:cubicBezTo>
                  <a:cubicBezTo>
                    <a:pt x="1614392" y="3347181"/>
                    <a:pt x="1616297" y="3345276"/>
                    <a:pt x="1618678" y="3345276"/>
                  </a:cubicBezTo>
                  <a:close/>
                  <a:moveTo>
                    <a:pt x="1695640" y="3344990"/>
                  </a:moveTo>
                  <a:cubicBezTo>
                    <a:pt x="1698402" y="3344990"/>
                    <a:pt x="1700688" y="3347276"/>
                    <a:pt x="1700688" y="3350038"/>
                  </a:cubicBezTo>
                  <a:cubicBezTo>
                    <a:pt x="1700688" y="3352800"/>
                    <a:pt x="1698402" y="3355086"/>
                    <a:pt x="1695640" y="3355086"/>
                  </a:cubicBezTo>
                  <a:cubicBezTo>
                    <a:pt x="1692878" y="3355086"/>
                    <a:pt x="1690592" y="3352800"/>
                    <a:pt x="1690592" y="3350038"/>
                  </a:cubicBezTo>
                  <a:cubicBezTo>
                    <a:pt x="1690592" y="3347276"/>
                    <a:pt x="1692878" y="3344990"/>
                    <a:pt x="1695640" y="3344990"/>
                  </a:cubicBezTo>
                  <a:close/>
                  <a:moveTo>
                    <a:pt x="1580293" y="3344609"/>
                  </a:moveTo>
                  <a:cubicBezTo>
                    <a:pt x="1582388" y="3344609"/>
                    <a:pt x="1584007" y="3346228"/>
                    <a:pt x="1584007" y="3348324"/>
                  </a:cubicBezTo>
                  <a:cubicBezTo>
                    <a:pt x="1584007" y="3350419"/>
                    <a:pt x="1582388" y="3352038"/>
                    <a:pt x="1580293" y="3352038"/>
                  </a:cubicBezTo>
                  <a:cubicBezTo>
                    <a:pt x="1578197" y="3352038"/>
                    <a:pt x="1576578" y="3350419"/>
                    <a:pt x="1576578" y="3348324"/>
                  </a:cubicBezTo>
                  <a:cubicBezTo>
                    <a:pt x="1576578" y="3346228"/>
                    <a:pt x="1578197" y="3344609"/>
                    <a:pt x="1580293" y="3344609"/>
                  </a:cubicBezTo>
                  <a:close/>
                  <a:moveTo>
                    <a:pt x="1734026" y="3344037"/>
                  </a:moveTo>
                  <a:cubicBezTo>
                    <a:pt x="1736814" y="3344037"/>
                    <a:pt x="1739075" y="3346297"/>
                    <a:pt x="1739075" y="3349085"/>
                  </a:cubicBezTo>
                  <a:cubicBezTo>
                    <a:pt x="1739075" y="3351874"/>
                    <a:pt x="1736814" y="3354134"/>
                    <a:pt x="1734026" y="3354134"/>
                  </a:cubicBezTo>
                  <a:cubicBezTo>
                    <a:pt x="1731238" y="3354134"/>
                    <a:pt x="1728978" y="3351874"/>
                    <a:pt x="1728978" y="3349085"/>
                  </a:cubicBezTo>
                  <a:cubicBezTo>
                    <a:pt x="1728978" y="3346297"/>
                    <a:pt x="1731238" y="3344037"/>
                    <a:pt x="1734026" y="3344037"/>
                  </a:cubicBezTo>
                  <a:close/>
                  <a:moveTo>
                    <a:pt x="1542002" y="3343466"/>
                  </a:moveTo>
                  <a:cubicBezTo>
                    <a:pt x="1543621" y="3343466"/>
                    <a:pt x="1544954" y="3344799"/>
                    <a:pt x="1544954" y="3346419"/>
                  </a:cubicBezTo>
                  <a:cubicBezTo>
                    <a:pt x="1544954" y="3348038"/>
                    <a:pt x="1543621" y="3349371"/>
                    <a:pt x="1542002" y="3349371"/>
                  </a:cubicBezTo>
                  <a:cubicBezTo>
                    <a:pt x="1540382" y="3349371"/>
                    <a:pt x="1539049" y="3348038"/>
                    <a:pt x="1539049" y="3346419"/>
                  </a:cubicBezTo>
                  <a:cubicBezTo>
                    <a:pt x="1539049" y="3344799"/>
                    <a:pt x="1540382" y="3343466"/>
                    <a:pt x="1542002" y="3343466"/>
                  </a:cubicBezTo>
                  <a:close/>
                  <a:moveTo>
                    <a:pt x="1772411" y="3342323"/>
                  </a:moveTo>
                  <a:cubicBezTo>
                    <a:pt x="1775199" y="3342323"/>
                    <a:pt x="1777460" y="3344583"/>
                    <a:pt x="1777460" y="3347371"/>
                  </a:cubicBezTo>
                  <a:cubicBezTo>
                    <a:pt x="1777460" y="3350160"/>
                    <a:pt x="1775199" y="3352420"/>
                    <a:pt x="1772411" y="3352420"/>
                  </a:cubicBezTo>
                  <a:cubicBezTo>
                    <a:pt x="1769623" y="3352420"/>
                    <a:pt x="1767363" y="3350160"/>
                    <a:pt x="1767363" y="3347371"/>
                  </a:cubicBezTo>
                  <a:cubicBezTo>
                    <a:pt x="1767363" y="3344583"/>
                    <a:pt x="1769623" y="3342323"/>
                    <a:pt x="1772411" y="3342323"/>
                  </a:cubicBezTo>
                  <a:close/>
                  <a:moveTo>
                    <a:pt x="1503901" y="3341561"/>
                  </a:moveTo>
                  <a:cubicBezTo>
                    <a:pt x="1505059" y="3341561"/>
                    <a:pt x="1505997" y="3342499"/>
                    <a:pt x="1505997" y="3343656"/>
                  </a:cubicBezTo>
                  <a:cubicBezTo>
                    <a:pt x="1505997" y="3344814"/>
                    <a:pt x="1505059" y="3345752"/>
                    <a:pt x="1503901" y="3345752"/>
                  </a:cubicBezTo>
                  <a:cubicBezTo>
                    <a:pt x="1502744" y="3345752"/>
                    <a:pt x="1501806" y="3344814"/>
                    <a:pt x="1501806" y="3343656"/>
                  </a:cubicBezTo>
                  <a:cubicBezTo>
                    <a:pt x="1501806" y="3342499"/>
                    <a:pt x="1502744" y="3341561"/>
                    <a:pt x="1503901" y="3341561"/>
                  </a:cubicBezTo>
                  <a:close/>
                  <a:moveTo>
                    <a:pt x="1810606" y="3339942"/>
                  </a:moveTo>
                  <a:cubicBezTo>
                    <a:pt x="1813369" y="3339942"/>
                    <a:pt x="1815654" y="3342228"/>
                    <a:pt x="1815654" y="3344990"/>
                  </a:cubicBezTo>
                  <a:cubicBezTo>
                    <a:pt x="1815654" y="3347752"/>
                    <a:pt x="1813369" y="3350038"/>
                    <a:pt x="1810606" y="3350038"/>
                  </a:cubicBezTo>
                  <a:cubicBezTo>
                    <a:pt x="1807844" y="3350038"/>
                    <a:pt x="1805558" y="3347752"/>
                    <a:pt x="1805558" y="3344990"/>
                  </a:cubicBezTo>
                  <a:cubicBezTo>
                    <a:pt x="1805558" y="3342228"/>
                    <a:pt x="1807844" y="3339942"/>
                    <a:pt x="1810606" y="3339942"/>
                  </a:cubicBezTo>
                  <a:close/>
                  <a:moveTo>
                    <a:pt x="1465992" y="3339084"/>
                  </a:moveTo>
                  <a:cubicBezTo>
                    <a:pt x="1466623" y="3339084"/>
                    <a:pt x="1467135" y="3339596"/>
                    <a:pt x="1467135" y="3340227"/>
                  </a:cubicBezTo>
                  <a:cubicBezTo>
                    <a:pt x="1467135" y="3340858"/>
                    <a:pt x="1466623" y="3341370"/>
                    <a:pt x="1465992" y="3341370"/>
                  </a:cubicBezTo>
                  <a:cubicBezTo>
                    <a:pt x="1465361" y="3341370"/>
                    <a:pt x="1464849" y="3340858"/>
                    <a:pt x="1464849" y="3340227"/>
                  </a:cubicBezTo>
                  <a:cubicBezTo>
                    <a:pt x="1464849" y="3339596"/>
                    <a:pt x="1465361" y="3339084"/>
                    <a:pt x="1465992" y="3339084"/>
                  </a:cubicBezTo>
                  <a:close/>
                  <a:moveTo>
                    <a:pt x="1848612" y="3337274"/>
                  </a:moveTo>
                  <a:cubicBezTo>
                    <a:pt x="1851088" y="3337274"/>
                    <a:pt x="1853184" y="3339370"/>
                    <a:pt x="1853184" y="3341846"/>
                  </a:cubicBezTo>
                  <a:cubicBezTo>
                    <a:pt x="1853184" y="3344323"/>
                    <a:pt x="1851184" y="3346418"/>
                    <a:pt x="1848612" y="3346418"/>
                  </a:cubicBezTo>
                  <a:cubicBezTo>
                    <a:pt x="1846136" y="3346418"/>
                    <a:pt x="1844040" y="3344323"/>
                    <a:pt x="1844040" y="3341846"/>
                  </a:cubicBezTo>
                  <a:cubicBezTo>
                    <a:pt x="1844040" y="3339370"/>
                    <a:pt x="1846136" y="3337274"/>
                    <a:pt x="1848612" y="3337274"/>
                  </a:cubicBezTo>
                  <a:close/>
                  <a:moveTo>
                    <a:pt x="1598199" y="3337179"/>
                  </a:moveTo>
                  <a:cubicBezTo>
                    <a:pt x="1601628" y="3337179"/>
                    <a:pt x="1604391" y="3339941"/>
                    <a:pt x="1604391" y="3343370"/>
                  </a:cubicBezTo>
                  <a:cubicBezTo>
                    <a:pt x="1604391" y="3346799"/>
                    <a:pt x="1601628" y="3349561"/>
                    <a:pt x="1598199" y="3349561"/>
                  </a:cubicBezTo>
                  <a:cubicBezTo>
                    <a:pt x="1594770" y="3349561"/>
                    <a:pt x="1592008" y="3346799"/>
                    <a:pt x="1592008" y="3343370"/>
                  </a:cubicBezTo>
                  <a:cubicBezTo>
                    <a:pt x="1592008" y="3339941"/>
                    <a:pt x="1594770" y="3337179"/>
                    <a:pt x="1598199" y="3337179"/>
                  </a:cubicBezTo>
                  <a:close/>
                  <a:moveTo>
                    <a:pt x="1754981" y="3336322"/>
                  </a:moveTo>
                  <a:cubicBezTo>
                    <a:pt x="1758410" y="3336322"/>
                    <a:pt x="1761172" y="3339084"/>
                    <a:pt x="1761172" y="3342513"/>
                  </a:cubicBezTo>
                  <a:cubicBezTo>
                    <a:pt x="1761172" y="3345942"/>
                    <a:pt x="1758410" y="3348704"/>
                    <a:pt x="1754981" y="3348704"/>
                  </a:cubicBezTo>
                  <a:cubicBezTo>
                    <a:pt x="1751552" y="3348704"/>
                    <a:pt x="1748790" y="3345942"/>
                    <a:pt x="1748790" y="3342513"/>
                  </a:cubicBezTo>
                  <a:cubicBezTo>
                    <a:pt x="1748790" y="3339084"/>
                    <a:pt x="1751552" y="3336322"/>
                    <a:pt x="1754981" y="3336322"/>
                  </a:cubicBezTo>
                  <a:close/>
                  <a:moveTo>
                    <a:pt x="1428369" y="3335846"/>
                  </a:moveTo>
                  <a:cubicBezTo>
                    <a:pt x="1428559" y="3335846"/>
                    <a:pt x="1428559" y="3335846"/>
                    <a:pt x="1428559" y="3336037"/>
                  </a:cubicBezTo>
                  <a:cubicBezTo>
                    <a:pt x="1428559" y="3336227"/>
                    <a:pt x="1428369" y="3336227"/>
                    <a:pt x="1428369" y="3336227"/>
                  </a:cubicBezTo>
                  <a:cubicBezTo>
                    <a:pt x="1428178" y="3336227"/>
                    <a:pt x="1428178" y="3336227"/>
                    <a:pt x="1428178" y="3336037"/>
                  </a:cubicBezTo>
                  <a:cubicBezTo>
                    <a:pt x="1428178" y="3335846"/>
                    <a:pt x="1428178" y="3335846"/>
                    <a:pt x="1428369" y="3335846"/>
                  </a:cubicBezTo>
                  <a:close/>
                  <a:moveTo>
                    <a:pt x="1559051" y="3335370"/>
                  </a:moveTo>
                  <a:cubicBezTo>
                    <a:pt x="1562480" y="3335370"/>
                    <a:pt x="1565243" y="3338132"/>
                    <a:pt x="1565243" y="3341561"/>
                  </a:cubicBezTo>
                  <a:cubicBezTo>
                    <a:pt x="1565243" y="3344990"/>
                    <a:pt x="1562480" y="3347752"/>
                    <a:pt x="1559051" y="3347752"/>
                  </a:cubicBezTo>
                  <a:cubicBezTo>
                    <a:pt x="1555622" y="3347752"/>
                    <a:pt x="1552860" y="3344990"/>
                    <a:pt x="1552860" y="3341561"/>
                  </a:cubicBezTo>
                  <a:cubicBezTo>
                    <a:pt x="1552860" y="3338132"/>
                    <a:pt x="1555622" y="3335370"/>
                    <a:pt x="1559051" y="3335370"/>
                  </a:cubicBezTo>
                  <a:close/>
                  <a:moveTo>
                    <a:pt x="1793938" y="3334131"/>
                  </a:moveTo>
                  <a:cubicBezTo>
                    <a:pt x="1797367" y="3334131"/>
                    <a:pt x="1800130" y="3336893"/>
                    <a:pt x="1800130" y="3340322"/>
                  </a:cubicBezTo>
                  <a:cubicBezTo>
                    <a:pt x="1800130" y="3343751"/>
                    <a:pt x="1797367" y="3346513"/>
                    <a:pt x="1793938" y="3346513"/>
                  </a:cubicBezTo>
                  <a:cubicBezTo>
                    <a:pt x="1790509" y="3346513"/>
                    <a:pt x="1787747" y="3343751"/>
                    <a:pt x="1787747" y="3340322"/>
                  </a:cubicBezTo>
                  <a:cubicBezTo>
                    <a:pt x="1787747" y="3336893"/>
                    <a:pt x="1790509" y="3334131"/>
                    <a:pt x="1793938" y="3334131"/>
                  </a:cubicBezTo>
                  <a:close/>
                  <a:moveTo>
                    <a:pt x="1886330" y="3333750"/>
                  </a:moveTo>
                  <a:cubicBezTo>
                    <a:pt x="1888698" y="3333750"/>
                    <a:pt x="1890617" y="3335669"/>
                    <a:pt x="1890617" y="3338036"/>
                  </a:cubicBezTo>
                  <a:cubicBezTo>
                    <a:pt x="1890617" y="3340404"/>
                    <a:pt x="1888697" y="3342323"/>
                    <a:pt x="1886330" y="3342323"/>
                  </a:cubicBezTo>
                  <a:cubicBezTo>
                    <a:pt x="1883963" y="3342323"/>
                    <a:pt x="1882044" y="3340404"/>
                    <a:pt x="1882044" y="3338036"/>
                  </a:cubicBezTo>
                  <a:cubicBezTo>
                    <a:pt x="1882044" y="3335669"/>
                    <a:pt x="1883963" y="3333750"/>
                    <a:pt x="1886330" y="3333750"/>
                  </a:cubicBezTo>
                  <a:close/>
                  <a:moveTo>
                    <a:pt x="1520094" y="3332798"/>
                  </a:moveTo>
                  <a:cubicBezTo>
                    <a:pt x="1523523" y="3332798"/>
                    <a:pt x="1526286" y="3335560"/>
                    <a:pt x="1526286" y="3338989"/>
                  </a:cubicBezTo>
                  <a:cubicBezTo>
                    <a:pt x="1526286" y="3342418"/>
                    <a:pt x="1523523" y="3345180"/>
                    <a:pt x="1520094" y="3345180"/>
                  </a:cubicBezTo>
                  <a:cubicBezTo>
                    <a:pt x="1516665" y="3345180"/>
                    <a:pt x="1513903" y="3342418"/>
                    <a:pt x="1513903" y="3338989"/>
                  </a:cubicBezTo>
                  <a:cubicBezTo>
                    <a:pt x="1513903" y="3335560"/>
                    <a:pt x="1516665" y="3332798"/>
                    <a:pt x="1520094" y="3332798"/>
                  </a:cubicBezTo>
                  <a:close/>
                  <a:moveTo>
                    <a:pt x="1832800" y="3331179"/>
                  </a:moveTo>
                  <a:cubicBezTo>
                    <a:pt x="1836229" y="3331179"/>
                    <a:pt x="1838992" y="3333941"/>
                    <a:pt x="1838992" y="3337370"/>
                  </a:cubicBezTo>
                  <a:cubicBezTo>
                    <a:pt x="1838992" y="3340799"/>
                    <a:pt x="1836229" y="3343561"/>
                    <a:pt x="1832800" y="3343561"/>
                  </a:cubicBezTo>
                  <a:cubicBezTo>
                    <a:pt x="1829371" y="3343561"/>
                    <a:pt x="1826609" y="3340799"/>
                    <a:pt x="1826609" y="3337370"/>
                  </a:cubicBezTo>
                  <a:cubicBezTo>
                    <a:pt x="1826609" y="3333941"/>
                    <a:pt x="1829371" y="3331179"/>
                    <a:pt x="1832800" y="3331179"/>
                  </a:cubicBezTo>
                  <a:close/>
                  <a:moveTo>
                    <a:pt x="1576768" y="3331179"/>
                  </a:moveTo>
                  <a:cubicBezTo>
                    <a:pt x="1580197" y="3331179"/>
                    <a:pt x="1582960" y="3333941"/>
                    <a:pt x="1582960" y="3337370"/>
                  </a:cubicBezTo>
                  <a:cubicBezTo>
                    <a:pt x="1582960" y="3340799"/>
                    <a:pt x="1580197" y="3343561"/>
                    <a:pt x="1576768" y="3343561"/>
                  </a:cubicBezTo>
                  <a:cubicBezTo>
                    <a:pt x="1573339" y="3343561"/>
                    <a:pt x="1570577" y="3340799"/>
                    <a:pt x="1570577" y="3337370"/>
                  </a:cubicBezTo>
                  <a:cubicBezTo>
                    <a:pt x="1570577" y="3333941"/>
                    <a:pt x="1573339" y="3331179"/>
                    <a:pt x="1576768" y="3331179"/>
                  </a:cubicBezTo>
                  <a:close/>
                  <a:moveTo>
                    <a:pt x="1776698" y="3330036"/>
                  </a:moveTo>
                  <a:cubicBezTo>
                    <a:pt x="1780127" y="3330036"/>
                    <a:pt x="1782889" y="3332798"/>
                    <a:pt x="1782889" y="3336227"/>
                  </a:cubicBezTo>
                  <a:cubicBezTo>
                    <a:pt x="1782889" y="3339656"/>
                    <a:pt x="1780127" y="3342418"/>
                    <a:pt x="1776698" y="3342418"/>
                  </a:cubicBezTo>
                  <a:cubicBezTo>
                    <a:pt x="1773269" y="3342418"/>
                    <a:pt x="1770507" y="3339656"/>
                    <a:pt x="1770507" y="3336227"/>
                  </a:cubicBezTo>
                  <a:cubicBezTo>
                    <a:pt x="1770507" y="3332798"/>
                    <a:pt x="1773269" y="3330036"/>
                    <a:pt x="1776698" y="3330036"/>
                  </a:cubicBezTo>
                  <a:close/>
                  <a:moveTo>
                    <a:pt x="1923859" y="3329845"/>
                  </a:moveTo>
                  <a:cubicBezTo>
                    <a:pt x="1925954" y="3329845"/>
                    <a:pt x="1927573" y="3331464"/>
                    <a:pt x="1927573" y="3333560"/>
                  </a:cubicBezTo>
                  <a:cubicBezTo>
                    <a:pt x="1927573" y="3335655"/>
                    <a:pt x="1925859" y="3337274"/>
                    <a:pt x="1923859" y="3337274"/>
                  </a:cubicBezTo>
                  <a:cubicBezTo>
                    <a:pt x="1921763" y="3337274"/>
                    <a:pt x="1920144" y="3335655"/>
                    <a:pt x="1920144" y="3333560"/>
                  </a:cubicBezTo>
                  <a:cubicBezTo>
                    <a:pt x="1920144" y="3331464"/>
                    <a:pt x="1921763" y="3329845"/>
                    <a:pt x="1923859" y="3329845"/>
                  </a:cubicBezTo>
                  <a:close/>
                  <a:moveTo>
                    <a:pt x="1481423" y="3329559"/>
                  </a:moveTo>
                  <a:cubicBezTo>
                    <a:pt x="1484852" y="3329559"/>
                    <a:pt x="1487614" y="3332321"/>
                    <a:pt x="1487614" y="3335750"/>
                  </a:cubicBezTo>
                  <a:cubicBezTo>
                    <a:pt x="1487614" y="3339179"/>
                    <a:pt x="1484852" y="3341942"/>
                    <a:pt x="1481423" y="3341942"/>
                  </a:cubicBezTo>
                  <a:cubicBezTo>
                    <a:pt x="1477994" y="3341942"/>
                    <a:pt x="1475232" y="3339179"/>
                    <a:pt x="1475232" y="3335750"/>
                  </a:cubicBezTo>
                  <a:cubicBezTo>
                    <a:pt x="1475232" y="3332321"/>
                    <a:pt x="1477994" y="3329559"/>
                    <a:pt x="1481423" y="3329559"/>
                  </a:cubicBezTo>
                  <a:close/>
                  <a:moveTo>
                    <a:pt x="1536953" y="3328893"/>
                  </a:moveTo>
                  <a:cubicBezTo>
                    <a:pt x="1540382" y="3328893"/>
                    <a:pt x="1543144" y="3331655"/>
                    <a:pt x="1543144" y="3335084"/>
                  </a:cubicBezTo>
                  <a:cubicBezTo>
                    <a:pt x="1543144" y="3338513"/>
                    <a:pt x="1540382" y="3341275"/>
                    <a:pt x="1536953" y="3341275"/>
                  </a:cubicBezTo>
                  <a:cubicBezTo>
                    <a:pt x="1533524" y="3341275"/>
                    <a:pt x="1530762" y="3338513"/>
                    <a:pt x="1530762" y="3335084"/>
                  </a:cubicBezTo>
                  <a:cubicBezTo>
                    <a:pt x="1530762" y="3331655"/>
                    <a:pt x="1533524" y="3328893"/>
                    <a:pt x="1536953" y="3328893"/>
                  </a:cubicBezTo>
                  <a:close/>
                  <a:moveTo>
                    <a:pt x="1871471" y="3327464"/>
                  </a:moveTo>
                  <a:cubicBezTo>
                    <a:pt x="1874900" y="3327464"/>
                    <a:pt x="1877663" y="3330226"/>
                    <a:pt x="1877663" y="3333655"/>
                  </a:cubicBezTo>
                  <a:cubicBezTo>
                    <a:pt x="1877663" y="3337084"/>
                    <a:pt x="1874900" y="3339847"/>
                    <a:pt x="1871471" y="3339847"/>
                  </a:cubicBezTo>
                  <a:cubicBezTo>
                    <a:pt x="1868042" y="3339847"/>
                    <a:pt x="1865280" y="3337084"/>
                    <a:pt x="1865280" y="3333655"/>
                  </a:cubicBezTo>
                  <a:cubicBezTo>
                    <a:pt x="1865280" y="3330226"/>
                    <a:pt x="1868042" y="3327464"/>
                    <a:pt x="1871471" y="3327464"/>
                  </a:cubicBezTo>
                  <a:close/>
                  <a:moveTo>
                    <a:pt x="1816512" y="3327273"/>
                  </a:moveTo>
                  <a:cubicBezTo>
                    <a:pt x="1819941" y="3327273"/>
                    <a:pt x="1822704" y="3330035"/>
                    <a:pt x="1822704" y="3333464"/>
                  </a:cubicBezTo>
                  <a:cubicBezTo>
                    <a:pt x="1822704" y="3336893"/>
                    <a:pt x="1819941" y="3339655"/>
                    <a:pt x="1816512" y="3339655"/>
                  </a:cubicBezTo>
                  <a:cubicBezTo>
                    <a:pt x="1813083" y="3339655"/>
                    <a:pt x="1810321" y="3336893"/>
                    <a:pt x="1810321" y="3333464"/>
                  </a:cubicBezTo>
                  <a:cubicBezTo>
                    <a:pt x="1810321" y="3330035"/>
                    <a:pt x="1813083" y="3327273"/>
                    <a:pt x="1816512" y="3327273"/>
                  </a:cubicBezTo>
                  <a:close/>
                  <a:moveTo>
                    <a:pt x="1497329" y="3325749"/>
                  </a:moveTo>
                  <a:cubicBezTo>
                    <a:pt x="1500758" y="3325749"/>
                    <a:pt x="1503521" y="3328511"/>
                    <a:pt x="1503521" y="3331940"/>
                  </a:cubicBezTo>
                  <a:cubicBezTo>
                    <a:pt x="1503521" y="3335369"/>
                    <a:pt x="1500758" y="3338132"/>
                    <a:pt x="1497329" y="3338132"/>
                  </a:cubicBezTo>
                  <a:cubicBezTo>
                    <a:pt x="1493900" y="3338132"/>
                    <a:pt x="1491138" y="3335369"/>
                    <a:pt x="1491138" y="3331940"/>
                  </a:cubicBezTo>
                  <a:cubicBezTo>
                    <a:pt x="1491138" y="3328511"/>
                    <a:pt x="1493900" y="3325749"/>
                    <a:pt x="1497329" y="3325749"/>
                  </a:cubicBezTo>
                  <a:close/>
                  <a:moveTo>
                    <a:pt x="1961007" y="3325559"/>
                  </a:moveTo>
                  <a:cubicBezTo>
                    <a:pt x="1962638" y="3325559"/>
                    <a:pt x="1963960" y="3326881"/>
                    <a:pt x="1963960" y="3328512"/>
                  </a:cubicBezTo>
                  <a:cubicBezTo>
                    <a:pt x="1963960" y="3330142"/>
                    <a:pt x="1962638" y="3331465"/>
                    <a:pt x="1961007" y="3331465"/>
                  </a:cubicBezTo>
                  <a:cubicBezTo>
                    <a:pt x="1959376" y="3331465"/>
                    <a:pt x="1958054" y="3330142"/>
                    <a:pt x="1958054" y="3328512"/>
                  </a:cubicBezTo>
                  <a:cubicBezTo>
                    <a:pt x="1958054" y="3326881"/>
                    <a:pt x="1959376" y="3325559"/>
                    <a:pt x="1961007" y="3325559"/>
                  </a:cubicBezTo>
                  <a:close/>
                  <a:moveTo>
                    <a:pt x="1442942" y="3325464"/>
                  </a:moveTo>
                  <a:cubicBezTo>
                    <a:pt x="1446362" y="3325464"/>
                    <a:pt x="1449133" y="3328236"/>
                    <a:pt x="1449133" y="3331655"/>
                  </a:cubicBezTo>
                  <a:cubicBezTo>
                    <a:pt x="1449133" y="3335074"/>
                    <a:pt x="1446362" y="3337846"/>
                    <a:pt x="1442942" y="3337846"/>
                  </a:cubicBezTo>
                  <a:cubicBezTo>
                    <a:pt x="1439523" y="3337846"/>
                    <a:pt x="1436751" y="3335074"/>
                    <a:pt x="1436751" y="3331655"/>
                  </a:cubicBezTo>
                  <a:cubicBezTo>
                    <a:pt x="1436751" y="3328236"/>
                    <a:pt x="1439523" y="3325464"/>
                    <a:pt x="1442942" y="3325464"/>
                  </a:cubicBezTo>
                  <a:close/>
                  <a:moveTo>
                    <a:pt x="1554479" y="3325463"/>
                  </a:moveTo>
                  <a:cubicBezTo>
                    <a:pt x="1557908" y="3325463"/>
                    <a:pt x="1560671" y="3328225"/>
                    <a:pt x="1560671" y="3331654"/>
                  </a:cubicBezTo>
                  <a:cubicBezTo>
                    <a:pt x="1560671" y="3335083"/>
                    <a:pt x="1557908" y="3337846"/>
                    <a:pt x="1554479" y="3337846"/>
                  </a:cubicBezTo>
                  <a:cubicBezTo>
                    <a:pt x="1551050" y="3337846"/>
                    <a:pt x="1548288" y="3335083"/>
                    <a:pt x="1548288" y="3331654"/>
                  </a:cubicBezTo>
                  <a:cubicBezTo>
                    <a:pt x="1548288" y="3328225"/>
                    <a:pt x="1551050" y="3325463"/>
                    <a:pt x="1554479" y="3325463"/>
                  </a:cubicBezTo>
                  <a:close/>
                  <a:moveTo>
                    <a:pt x="1799462" y="3324035"/>
                  </a:moveTo>
                  <a:cubicBezTo>
                    <a:pt x="1802891" y="3324035"/>
                    <a:pt x="1805654" y="3326797"/>
                    <a:pt x="1805654" y="3330226"/>
                  </a:cubicBezTo>
                  <a:cubicBezTo>
                    <a:pt x="1805654" y="3333655"/>
                    <a:pt x="1802891" y="3336417"/>
                    <a:pt x="1799462" y="3336417"/>
                  </a:cubicBezTo>
                  <a:cubicBezTo>
                    <a:pt x="1796033" y="3336417"/>
                    <a:pt x="1793271" y="3333655"/>
                    <a:pt x="1793271" y="3330226"/>
                  </a:cubicBezTo>
                  <a:cubicBezTo>
                    <a:pt x="1793271" y="3326797"/>
                    <a:pt x="1796033" y="3324035"/>
                    <a:pt x="1799462" y="3324035"/>
                  </a:cubicBezTo>
                  <a:close/>
                  <a:moveTo>
                    <a:pt x="1855945" y="3323749"/>
                  </a:moveTo>
                  <a:cubicBezTo>
                    <a:pt x="1859374" y="3323749"/>
                    <a:pt x="1862137" y="3326511"/>
                    <a:pt x="1862137" y="3329940"/>
                  </a:cubicBezTo>
                  <a:cubicBezTo>
                    <a:pt x="1862137" y="3333369"/>
                    <a:pt x="1859374" y="3336131"/>
                    <a:pt x="1855945" y="3336131"/>
                  </a:cubicBezTo>
                  <a:cubicBezTo>
                    <a:pt x="1852516" y="3336131"/>
                    <a:pt x="1849754" y="3333369"/>
                    <a:pt x="1849754" y="3329940"/>
                  </a:cubicBezTo>
                  <a:cubicBezTo>
                    <a:pt x="1849754" y="3326511"/>
                    <a:pt x="1852516" y="3323749"/>
                    <a:pt x="1855945" y="3323749"/>
                  </a:cubicBezTo>
                  <a:close/>
                  <a:moveTo>
                    <a:pt x="1909762" y="3323082"/>
                  </a:moveTo>
                  <a:cubicBezTo>
                    <a:pt x="1913191" y="3323082"/>
                    <a:pt x="1915953" y="3325844"/>
                    <a:pt x="1915953" y="3329273"/>
                  </a:cubicBezTo>
                  <a:cubicBezTo>
                    <a:pt x="1915953" y="3332702"/>
                    <a:pt x="1913191" y="3335465"/>
                    <a:pt x="1909762" y="3335465"/>
                  </a:cubicBezTo>
                  <a:cubicBezTo>
                    <a:pt x="1906333" y="3335465"/>
                    <a:pt x="1903571" y="3332702"/>
                    <a:pt x="1903571" y="3329273"/>
                  </a:cubicBezTo>
                  <a:cubicBezTo>
                    <a:pt x="1903571" y="3325844"/>
                    <a:pt x="1906333" y="3323082"/>
                    <a:pt x="1909762" y="3323082"/>
                  </a:cubicBezTo>
                  <a:close/>
                  <a:moveTo>
                    <a:pt x="1513903" y="3322606"/>
                  </a:moveTo>
                  <a:cubicBezTo>
                    <a:pt x="1517332" y="3322606"/>
                    <a:pt x="1520095" y="3325368"/>
                    <a:pt x="1520095" y="3328797"/>
                  </a:cubicBezTo>
                  <a:cubicBezTo>
                    <a:pt x="1520095" y="3332226"/>
                    <a:pt x="1517332" y="3334988"/>
                    <a:pt x="1513903" y="3334988"/>
                  </a:cubicBezTo>
                  <a:cubicBezTo>
                    <a:pt x="1510474" y="3334988"/>
                    <a:pt x="1507712" y="3332226"/>
                    <a:pt x="1507712" y="3328797"/>
                  </a:cubicBezTo>
                  <a:cubicBezTo>
                    <a:pt x="1507712" y="3325368"/>
                    <a:pt x="1510474" y="3322606"/>
                    <a:pt x="1513903" y="3322606"/>
                  </a:cubicBezTo>
                  <a:close/>
                  <a:moveTo>
                    <a:pt x="1457896" y="3321844"/>
                  </a:moveTo>
                  <a:cubicBezTo>
                    <a:pt x="1461325" y="3321844"/>
                    <a:pt x="1464088" y="3324606"/>
                    <a:pt x="1464088" y="3328035"/>
                  </a:cubicBezTo>
                  <a:cubicBezTo>
                    <a:pt x="1464088" y="3331464"/>
                    <a:pt x="1461325" y="3334227"/>
                    <a:pt x="1457896" y="3334227"/>
                  </a:cubicBezTo>
                  <a:cubicBezTo>
                    <a:pt x="1454467" y="3334227"/>
                    <a:pt x="1451705" y="3331464"/>
                    <a:pt x="1451705" y="3328035"/>
                  </a:cubicBezTo>
                  <a:cubicBezTo>
                    <a:pt x="1451705" y="3324606"/>
                    <a:pt x="1454467" y="3321844"/>
                    <a:pt x="1457896" y="3321844"/>
                  </a:cubicBezTo>
                  <a:close/>
                  <a:moveTo>
                    <a:pt x="1404747" y="3321368"/>
                  </a:moveTo>
                  <a:cubicBezTo>
                    <a:pt x="1407795" y="3321368"/>
                    <a:pt x="1410271" y="3323845"/>
                    <a:pt x="1410271" y="3326892"/>
                  </a:cubicBezTo>
                  <a:cubicBezTo>
                    <a:pt x="1410271" y="3329940"/>
                    <a:pt x="1407795" y="3332417"/>
                    <a:pt x="1404747" y="3332417"/>
                  </a:cubicBezTo>
                  <a:cubicBezTo>
                    <a:pt x="1401699" y="3332417"/>
                    <a:pt x="1399222" y="3329940"/>
                    <a:pt x="1399222" y="3326892"/>
                  </a:cubicBezTo>
                  <a:cubicBezTo>
                    <a:pt x="1399222" y="3323845"/>
                    <a:pt x="1401699" y="3321368"/>
                    <a:pt x="1404747" y="3321368"/>
                  </a:cubicBezTo>
                  <a:close/>
                  <a:moveTo>
                    <a:pt x="1781746" y="3321272"/>
                  </a:moveTo>
                  <a:cubicBezTo>
                    <a:pt x="1785175" y="3321272"/>
                    <a:pt x="1787938" y="3324034"/>
                    <a:pt x="1787938" y="3327463"/>
                  </a:cubicBezTo>
                  <a:cubicBezTo>
                    <a:pt x="1787938" y="3330892"/>
                    <a:pt x="1785175" y="3333655"/>
                    <a:pt x="1781746" y="3333655"/>
                  </a:cubicBezTo>
                  <a:cubicBezTo>
                    <a:pt x="1778317" y="3333655"/>
                    <a:pt x="1775555" y="3330892"/>
                    <a:pt x="1775555" y="3327463"/>
                  </a:cubicBezTo>
                  <a:cubicBezTo>
                    <a:pt x="1775555" y="3324034"/>
                    <a:pt x="1778317" y="3321272"/>
                    <a:pt x="1781746" y="3321272"/>
                  </a:cubicBezTo>
                  <a:close/>
                  <a:moveTo>
                    <a:pt x="1997869" y="3320701"/>
                  </a:moveTo>
                  <a:cubicBezTo>
                    <a:pt x="1999026" y="3320701"/>
                    <a:pt x="1999964" y="3321639"/>
                    <a:pt x="1999964" y="3322796"/>
                  </a:cubicBezTo>
                  <a:cubicBezTo>
                    <a:pt x="1999964" y="3323954"/>
                    <a:pt x="1999026" y="3324892"/>
                    <a:pt x="1997869" y="3324892"/>
                  </a:cubicBezTo>
                  <a:cubicBezTo>
                    <a:pt x="1996711" y="3324892"/>
                    <a:pt x="1995773" y="3323954"/>
                    <a:pt x="1995773" y="3322796"/>
                  </a:cubicBezTo>
                  <a:cubicBezTo>
                    <a:pt x="1995773" y="3321639"/>
                    <a:pt x="1996711" y="3320701"/>
                    <a:pt x="1997869" y="3320701"/>
                  </a:cubicBezTo>
                  <a:close/>
                  <a:moveTo>
                    <a:pt x="1839944" y="3320701"/>
                  </a:moveTo>
                  <a:cubicBezTo>
                    <a:pt x="1843373" y="3320701"/>
                    <a:pt x="1846136" y="3323463"/>
                    <a:pt x="1846136" y="3326892"/>
                  </a:cubicBezTo>
                  <a:cubicBezTo>
                    <a:pt x="1846136" y="3330321"/>
                    <a:pt x="1843373" y="3333084"/>
                    <a:pt x="1839944" y="3333084"/>
                  </a:cubicBezTo>
                  <a:cubicBezTo>
                    <a:pt x="1836515" y="3333084"/>
                    <a:pt x="1833753" y="3330321"/>
                    <a:pt x="1833753" y="3326892"/>
                  </a:cubicBezTo>
                  <a:cubicBezTo>
                    <a:pt x="1833753" y="3323463"/>
                    <a:pt x="1836515" y="3320701"/>
                    <a:pt x="1839944" y="3320701"/>
                  </a:cubicBezTo>
                  <a:close/>
                  <a:moveTo>
                    <a:pt x="1531143" y="3319939"/>
                  </a:moveTo>
                  <a:cubicBezTo>
                    <a:pt x="1534572" y="3319939"/>
                    <a:pt x="1537334" y="3322701"/>
                    <a:pt x="1537334" y="3326130"/>
                  </a:cubicBezTo>
                  <a:cubicBezTo>
                    <a:pt x="1537334" y="3329559"/>
                    <a:pt x="1534572" y="3332321"/>
                    <a:pt x="1531143" y="3332321"/>
                  </a:cubicBezTo>
                  <a:cubicBezTo>
                    <a:pt x="1527714" y="3332321"/>
                    <a:pt x="1524952" y="3329559"/>
                    <a:pt x="1524952" y="3326130"/>
                  </a:cubicBezTo>
                  <a:cubicBezTo>
                    <a:pt x="1524952" y="3322701"/>
                    <a:pt x="1527714" y="3319939"/>
                    <a:pt x="1531143" y="3319939"/>
                  </a:cubicBezTo>
                  <a:close/>
                  <a:moveTo>
                    <a:pt x="1895189" y="3319368"/>
                  </a:moveTo>
                  <a:cubicBezTo>
                    <a:pt x="1898618" y="3319368"/>
                    <a:pt x="1901380" y="3322130"/>
                    <a:pt x="1901380" y="3325559"/>
                  </a:cubicBezTo>
                  <a:cubicBezTo>
                    <a:pt x="1901380" y="3328988"/>
                    <a:pt x="1898618" y="3331750"/>
                    <a:pt x="1895189" y="3331750"/>
                  </a:cubicBezTo>
                  <a:cubicBezTo>
                    <a:pt x="1891760" y="3331750"/>
                    <a:pt x="1888998" y="3328988"/>
                    <a:pt x="1888998" y="3325559"/>
                  </a:cubicBezTo>
                  <a:cubicBezTo>
                    <a:pt x="1888998" y="3322130"/>
                    <a:pt x="1891760" y="3319368"/>
                    <a:pt x="1895189" y="3319368"/>
                  </a:cubicBezTo>
                  <a:close/>
                  <a:moveTo>
                    <a:pt x="1473517" y="3318796"/>
                  </a:moveTo>
                  <a:cubicBezTo>
                    <a:pt x="1476937" y="3318796"/>
                    <a:pt x="1479709" y="3321568"/>
                    <a:pt x="1479709" y="3324987"/>
                  </a:cubicBezTo>
                  <a:cubicBezTo>
                    <a:pt x="1479709" y="3328407"/>
                    <a:pt x="1476937" y="3331179"/>
                    <a:pt x="1473517" y="3331179"/>
                  </a:cubicBezTo>
                  <a:cubicBezTo>
                    <a:pt x="1470098" y="3331179"/>
                    <a:pt x="1467326" y="3328407"/>
                    <a:pt x="1467326" y="3324987"/>
                  </a:cubicBezTo>
                  <a:cubicBezTo>
                    <a:pt x="1467326" y="3321568"/>
                    <a:pt x="1470098" y="3318796"/>
                    <a:pt x="1473517" y="3318796"/>
                  </a:cubicBezTo>
                  <a:close/>
                  <a:moveTo>
                    <a:pt x="1823179" y="3318129"/>
                  </a:moveTo>
                  <a:cubicBezTo>
                    <a:pt x="1826608" y="3318129"/>
                    <a:pt x="1829371" y="3320891"/>
                    <a:pt x="1829371" y="3324320"/>
                  </a:cubicBezTo>
                  <a:cubicBezTo>
                    <a:pt x="1829371" y="3327749"/>
                    <a:pt x="1826608" y="3330511"/>
                    <a:pt x="1823179" y="3330511"/>
                  </a:cubicBezTo>
                  <a:cubicBezTo>
                    <a:pt x="1819750" y="3330511"/>
                    <a:pt x="1816988" y="3327749"/>
                    <a:pt x="1816988" y="3324320"/>
                  </a:cubicBezTo>
                  <a:cubicBezTo>
                    <a:pt x="1816988" y="3320891"/>
                    <a:pt x="1819750" y="3318129"/>
                    <a:pt x="1823179" y="3318129"/>
                  </a:cubicBezTo>
                  <a:close/>
                  <a:moveTo>
                    <a:pt x="1947766" y="3317939"/>
                  </a:moveTo>
                  <a:cubicBezTo>
                    <a:pt x="1951195" y="3317939"/>
                    <a:pt x="1953958" y="3320701"/>
                    <a:pt x="1953958" y="3324130"/>
                  </a:cubicBezTo>
                  <a:cubicBezTo>
                    <a:pt x="1953958" y="3327559"/>
                    <a:pt x="1951195" y="3330322"/>
                    <a:pt x="1947766" y="3330322"/>
                  </a:cubicBezTo>
                  <a:cubicBezTo>
                    <a:pt x="1944337" y="3330322"/>
                    <a:pt x="1941575" y="3327559"/>
                    <a:pt x="1941575" y="3324130"/>
                  </a:cubicBezTo>
                  <a:cubicBezTo>
                    <a:pt x="1941575" y="3320701"/>
                    <a:pt x="1944337" y="3317939"/>
                    <a:pt x="1947766" y="3317939"/>
                  </a:cubicBezTo>
                  <a:close/>
                  <a:moveTo>
                    <a:pt x="1366837" y="3317367"/>
                  </a:moveTo>
                  <a:cubicBezTo>
                    <a:pt x="1369123" y="3317367"/>
                    <a:pt x="1370932" y="3319177"/>
                    <a:pt x="1370932" y="3321463"/>
                  </a:cubicBezTo>
                  <a:cubicBezTo>
                    <a:pt x="1370932" y="3323749"/>
                    <a:pt x="1369123" y="3325559"/>
                    <a:pt x="1366837" y="3325559"/>
                  </a:cubicBezTo>
                  <a:cubicBezTo>
                    <a:pt x="1364551" y="3325559"/>
                    <a:pt x="1362741" y="3323749"/>
                    <a:pt x="1362741" y="3321463"/>
                  </a:cubicBezTo>
                  <a:cubicBezTo>
                    <a:pt x="1362741" y="3319177"/>
                    <a:pt x="1364551" y="3317367"/>
                    <a:pt x="1366837" y="3317367"/>
                  </a:cubicBezTo>
                  <a:close/>
                  <a:moveTo>
                    <a:pt x="1418843" y="3317081"/>
                  </a:moveTo>
                  <a:cubicBezTo>
                    <a:pt x="1422272" y="3317081"/>
                    <a:pt x="1425035" y="3319843"/>
                    <a:pt x="1425035" y="3323272"/>
                  </a:cubicBezTo>
                  <a:cubicBezTo>
                    <a:pt x="1425035" y="3326701"/>
                    <a:pt x="1422272" y="3329464"/>
                    <a:pt x="1418843" y="3329464"/>
                  </a:cubicBezTo>
                  <a:cubicBezTo>
                    <a:pt x="1415414" y="3329464"/>
                    <a:pt x="1412652" y="3326701"/>
                    <a:pt x="1412652" y="3323272"/>
                  </a:cubicBezTo>
                  <a:cubicBezTo>
                    <a:pt x="1412652" y="3319843"/>
                    <a:pt x="1415414" y="3317081"/>
                    <a:pt x="1418843" y="3317081"/>
                  </a:cubicBezTo>
                  <a:close/>
                  <a:moveTo>
                    <a:pt x="1880139" y="3316415"/>
                  </a:moveTo>
                  <a:cubicBezTo>
                    <a:pt x="1883568" y="3316415"/>
                    <a:pt x="1886330" y="3319177"/>
                    <a:pt x="1886330" y="3322606"/>
                  </a:cubicBezTo>
                  <a:cubicBezTo>
                    <a:pt x="1886330" y="3326035"/>
                    <a:pt x="1883568" y="3328797"/>
                    <a:pt x="1880139" y="3328797"/>
                  </a:cubicBezTo>
                  <a:cubicBezTo>
                    <a:pt x="1876710" y="3328797"/>
                    <a:pt x="1873948" y="3326035"/>
                    <a:pt x="1873948" y="3322606"/>
                  </a:cubicBezTo>
                  <a:cubicBezTo>
                    <a:pt x="1873948" y="3319177"/>
                    <a:pt x="1876710" y="3316415"/>
                    <a:pt x="1880139" y="3316415"/>
                  </a:cubicBezTo>
                  <a:close/>
                  <a:moveTo>
                    <a:pt x="1489804" y="3316415"/>
                  </a:moveTo>
                  <a:cubicBezTo>
                    <a:pt x="1493233" y="3316415"/>
                    <a:pt x="1495996" y="3319177"/>
                    <a:pt x="1495996" y="3322606"/>
                  </a:cubicBezTo>
                  <a:cubicBezTo>
                    <a:pt x="1495996" y="3326035"/>
                    <a:pt x="1493233" y="3328797"/>
                    <a:pt x="1489804" y="3328797"/>
                  </a:cubicBezTo>
                  <a:cubicBezTo>
                    <a:pt x="1486375" y="3328797"/>
                    <a:pt x="1483613" y="3326035"/>
                    <a:pt x="1483613" y="3322606"/>
                  </a:cubicBezTo>
                  <a:cubicBezTo>
                    <a:pt x="1483613" y="3319177"/>
                    <a:pt x="1486375" y="3316415"/>
                    <a:pt x="1489804" y="3316415"/>
                  </a:cubicBezTo>
                  <a:close/>
                  <a:moveTo>
                    <a:pt x="1805749" y="3316129"/>
                  </a:moveTo>
                  <a:cubicBezTo>
                    <a:pt x="1809178" y="3316129"/>
                    <a:pt x="1811941" y="3318891"/>
                    <a:pt x="1811941" y="3322320"/>
                  </a:cubicBezTo>
                  <a:cubicBezTo>
                    <a:pt x="1811941" y="3325749"/>
                    <a:pt x="1809178" y="3328511"/>
                    <a:pt x="1805749" y="3328511"/>
                  </a:cubicBezTo>
                  <a:cubicBezTo>
                    <a:pt x="1802320" y="3328511"/>
                    <a:pt x="1799558" y="3325749"/>
                    <a:pt x="1799558" y="3322320"/>
                  </a:cubicBezTo>
                  <a:cubicBezTo>
                    <a:pt x="1799558" y="3318891"/>
                    <a:pt x="1802320" y="3316129"/>
                    <a:pt x="1805749" y="3316129"/>
                  </a:cubicBezTo>
                  <a:close/>
                  <a:moveTo>
                    <a:pt x="2034254" y="3315367"/>
                  </a:moveTo>
                  <a:cubicBezTo>
                    <a:pt x="2034885" y="3315367"/>
                    <a:pt x="2035397" y="3315879"/>
                    <a:pt x="2035397" y="3316510"/>
                  </a:cubicBezTo>
                  <a:cubicBezTo>
                    <a:pt x="2035397" y="3317141"/>
                    <a:pt x="2034885" y="3317653"/>
                    <a:pt x="2034254" y="3317653"/>
                  </a:cubicBezTo>
                  <a:cubicBezTo>
                    <a:pt x="2033623" y="3317653"/>
                    <a:pt x="2033111" y="3317141"/>
                    <a:pt x="2033111" y="3316510"/>
                  </a:cubicBezTo>
                  <a:cubicBezTo>
                    <a:pt x="2033111" y="3315879"/>
                    <a:pt x="2033623" y="3315367"/>
                    <a:pt x="2034254" y="3315367"/>
                  </a:cubicBezTo>
                  <a:close/>
                  <a:moveTo>
                    <a:pt x="1506759" y="3314414"/>
                  </a:moveTo>
                  <a:cubicBezTo>
                    <a:pt x="1510188" y="3314414"/>
                    <a:pt x="1512951" y="3317176"/>
                    <a:pt x="1512951" y="3320605"/>
                  </a:cubicBezTo>
                  <a:cubicBezTo>
                    <a:pt x="1512951" y="3324034"/>
                    <a:pt x="1510188" y="3326797"/>
                    <a:pt x="1506759" y="3326797"/>
                  </a:cubicBezTo>
                  <a:cubicBezTo>
                    <a:pt x="1503330" y="3326797"/>
                    <a:pt x="1500568" y="3324034"/>
                    <a:pt x="1500568" y="3320605"/>
                  </a:cubicBezTo>
                  <a:cubicBezTo>
                    <a:pt x="1500568" y="3317176"/>
                    <a:pt x="1503330" y="3314414"/>
                    <a:pt x="1506759" y="3314414"/>
                  </a:cubicBezTo>
                  <a:close/>
                  <a:moveTo>
                    <a:pt x="1934146" y="3314319"/>
                  </a:moveTo>
                  <a:cubicBezTo>
                    <a:pt x="1937575" y="3314319"/>
                    <a:pt x="1940338" y="3317081"/>
                    <a:pt x="1940338" y="3320510"/>
                  </a:cubicBezTo>
                  <a:cubicBezTo>
                    <a:pt x="1940338" y="3323939"/>
                    <a:pt x="1937575" y="3326701"/>
                    <a:pt x="1934146" y="3326701"/>
                  </a:cubicBezTo>
                  <a:cubicBezTo>
                    <a:pt x="1930717" y="3326701"/>
                    <a:pt x="1927955" y="3323939"/>
                    <a:pt x="1927955" y="3320510"/>
                  </a:cubicBezTo>
                  <a:cubicBezTo>
                    <a:pt x="1927955" y="3317081"/>
                    <a:pt x="1930717" y="3314319"/>
                    <a:pt x="1934146" y="3314319"/>
                  </a:cubicBezTo>
                  <a:close/>
                  <a:moveTo>
                    <a:pt x="1433512" y="3314224"/>
                  </a:moveTo>
                  <a:cubicBezTo>
                    <a:pt x="1436941" y="3314224"/>
                    <a:pt x="1439703" y="3316986"/>
                    <a:pt x="1439703" y="3320415"/>
                  </a:cubicBezTo>
                  <a:cubicBezTo>
                    <a:pt x="1439703" y="3323844"/>
                    <a:pt x="1436941" y="3326606"/>
                    <a:pt x="1433512" y="3326606"/>
                  </a:cubicBezTo>
                  <a:cubicBezTo>
                    <a:pt x="1430083" y="3326606"/>
                    <a:pt x="1427321" y="3323844"/>
                    <a:pt x="1427321" y="3320415"/>
                  </a:cubicBezTo>
                  <a:cubicBezTo>
                    <a:pt x="1427321" y="3316986"/>
                    <a:pt x="1430083" y="3314224"/>
                    <a:pt x="1433512" y="3314224"/>
                  </a:cubicBezTo>
                  <a:close/>
                  <a:moveTo>
                    <a:pt x="1864423" y="3314129"/>
                  </a:moveTo>
                  <a:cubicBezTo>
                    <a:pt x="1867852" y="3314129"/>
                    <a:pt x="1870615" y="3316891"/>
                    <a:pt x="1870615" y="3320320"/>
                  </a:cubicBezTo>
                  <a:cubicBezTo>
                    <a:pt x="1870615" y="3323749"/>
                    <a:pt x="1867852" y="3326512"/>
                    <a:pt x="1864423" y="3326512"/>
                  </a:cubicBezTo>
                  <a:cubicBezTo>
                    <a:pt x="1860994" y="3326512"/>
                    <a:pt x="1858232" y="3323749"/>
                    <a:pt x="1858232" y="3320320"/>
                  </a:cubicBezTo>
                  <a:cubicBezTo>
                    <a:pt x="1858232" y="3316891"/>
                    <a:pt x="1860994" y="3314129"/>
                    <a:pt x="1864423" y="3314129"/>
                  </a:cubicBezTo>
                  <a:close/>
                  <a:moveTo>
                    <a:pt x="1524571" y="3312795"/>
                  </a:moveTo>
                  <a:cubicBezTo>
                    <a:pt x="1528000" y="3312795"/>
                    <a:pt x="1530763" y="3315557"/>
                    <a:pt x="1530763" y="3318986"/>
                  </a:cubicBezTo>
                  <a:cubicBezTo>
                    <a:pt x="1530763" y="3322415"/>
                    <a:pt x="1528000" y="3325177"/>
                    <a:pt x="1524571" y="3325177"/>
                  </a:cubicBezTo>
                  <a:cubicBezTo>
                    <a:pt x="1521142" y="3325177"/>
                    <a:pt x="1518380" y="3322415"/>
                    <a:pt x="1518380" y="3318986"/>
                  </a:cubicBezTo>
                  <a:cubicBezTo>
                    <a:pt x="1518380" y="3315557"/>
                    <a:pt x="1521142" y="3312795"/>
                    <a:pt x="1524571" y="3312795"/>
                  </a:cubicBezTo>
                  <a:close/>
                  <a:moveTo>
                    <a:pt x="1329404" y="3312795"/>
                  </a:moveTo>
                  <a:cubicBezTo>
                    <a:pt x="1330832" y="3312795"/>
                    <a:pt x="1331975" y="3313938"/>
                    <a:pt x="1331975" y="3315367"/>
                  </a:cubicBezTo>
                  <a:cubicBezTo>
                    <a:pt x="1331975" y="3316795"/>
                    <a:pt x="1330832" y="3317938"/>
                    <a:pt x="1329404" y="3317938"/>
                  </a:cubicBezTo>
                  <a:cubicBezTo>
                    <a:pt x="1327975" y="3317938"/>
                    <a:pt x="1326832" y="3316795"/>
                    <a:pt x="1326832" y="3315367"/>
                  </a:cubicBezTo>
                  <a:cubicBezTo>
                    <a:pt x="1326832" y="3313938"/>
                    <a:pt x="1327975" y="3312795"/>
                    <a:pt x="1329404" y="3312795"/>
                  </a:cubicBezTo>
                  <a:close/>
                  <a:moveTo>
                    <a:pt x="1848040" y="3312224"/>
                  </a:moveTo>
                  <a:cubicBezTo>
                    <a:pt x="1851460" y="3312224"/>
                    <a:pt x="1854231" y="3314996"/>
                    <a:pt x="1854231" y="3318415"/>
                  </a:cubicBezTo>
                  <a:cubicBezTo>
                    <a:pt x="1854231" y="3321835"/>
                    <a:pt x="1851460" y="3324606"/>
                    <a:pt x="1848040" y="3324606"/>
                  </a:cubicBezTo>
                  <a:cubicBezTo>
                    <a:pt x="1844621" y="3324606"/>
                    <a:pt x="1841849" y="3321835"/>
                    <a:pt x="1841849" y="3318415"/>
                  </a:cubicBezTo>
                  <a:cubicBezTo>
                    <a:pt x="1841849" y="3314996"/>
                    <a:pt x="1844621" y="3312224"/>
                    <a:pt x="1848040" y="3312224"/>
                  </a:cubicBezTo>
                  <a:close/>
                  <a:moveTo>
                    <a:pt x="1985390" y="3312129"/>
                  </a:moveTo>
                  <a:cubicBezTo>
                    <a:pt x="1988819" y="3312129"/>
                    <a:pt x="1991582" y="3314891"/>
                    <a:pt x="1991582" y="3318320"/>
                  </a:cubicBezTo>
                  <a:cubicBezTo>
                    <a:pt x="1991582" y="3321749"/>
                    <a:pt x="1988819" y="3324511"/>
                    <a:pt x="1985390" y="3324511"/>
                  </a:cubicBezTo>
                  <a:cubicBezTo>
                    <a:pt x="1981961" y="3324511"/>
                    <a:pt x="1979199" y="3321749"/>
                    <a:pt x="1979199" y="3318320"/>
                  </a:cubicBezTo>
                  <a:cubicBezTo>
                    <a:pt x="1979199" y="3314891"/>
                    <a:pt x="1981961" y="3312129"/>
                    <a:pt x="1985390" y="3312129"/>
                  </a:cubicBezTo>
                  <a:close/>
                  <a:moveTo>
                    <a:pt x="1448752" y="3311938"/>
                  </a:moveTo>
                  <a:cubicBezTo>
                    <a:pt x="1452181" y="3311938"/>
                    <a:pt x="1454944" y="3314700"/>
                    <a:pt x="1454944" y="3318129"/>
                  </a:cubicBezTo>
                  <a:cubicBezTo>
                    <a:pt x="1454944" y="3321558"/>
                    <a:pt x="1452181" y="3324320"/>
                    <a:pt x="1448752" y="3324320"/>
                  </a:cubicBezTo>
                  <a:cubicBezTo>
                    <a:pt x="1445323" y="3324320"/>
                    <a:pt x="1442561" y="3321558"/>
                    <a:pt x="1442561" y="3318129"/>
                  </a:cubicBezTo>
                  <a:cubicBezTo>
                    <a:pt x="1442561" y="3314700"/>
                    <a:pt x="1445323" y="3311938"/>
                    <a:pt x="1448752" y="3311938"/>
                  </a:cubicBezTo>
                  <a:close/>
                  <a:moveTo>
                    <a:pt x="1380077" y="3311652"/>
                  </a:moveTo>
                  <a:cubicBezTo>
                    <a:pt x="1383506" y="3311652"/>
                    <a:pt x="1386268" y="3314414"/>
                    <a:pt x="1386268" y="3317843"/>
                  </a:cubicBezTo>
                  <a:cubicBezTo>
                    <a:pt x="1386268" y="3321272"/>
                    <a:pt x="1383506" y="3324034"/>
                    <a:pt x="1380077" y="3324034"/>
                  </a:cubicBezTo>
                  <a:cubicBezTo>
                    <a:pt x="1376648" y="3324034"/>
                    <a:pt x="1373886" y="3321272"/>
                    <a:pt x="1373886" y="3317843"/>
                  </a:cubicBezTo>
                  <a:cubicBezTo>
                    <a:pt x="1373886" y="3314414"/>
                    <a:pt x="1376648" y="3311652"/>
                    <a:pt x="1380077" y="3311652"/>
                  </a:cubicBezTo>
                  <a:close/>
                  <a:moveTo>
                    <a:pt x="1919954" y="3311367"/>
                  </a:moveTo>
                  <a:cubicBezTo>
                    <a:pt x="1923374" y="3311367"/>
                    <a:pt x="1926146" y="3314139"/>
                    <a:pt x="1926146" y="3317558"/>
                  </a:cubicBezTo>
                  <a:cubicBezTo>
                    <a:pt x="1926146" y="3320978"/>
                    <a:pt x="1923374" y="3323750"/>
                    <a:pt x="1919954" y="3323750"/>
                  </a:cubicBezTo>
                  <a:cubicBezTo>
                    <a:pt x="1916535" y="3323750"/>
                    <a:pt x="1913763" y="3320978"/>
                    <a:pt x="1913763" y="3317558"/>
                  </a:cubicBezTo>
                  <a:cubicBezTo>
                    <a:pt x="1913763" y="3314139"/>
                    <a:pt x="1916535" y="3311367"/>
                    <a:pt x="1919954" y="3311367"/>
                  </a:cubicBezTo>
                  <a:close/>
                  <a:moveTo>
                    <a:pt x="1830799" y="3310795"/>
                  </a:moveTo>
                  <a:cubicBezTo>
                    <a:pt x="1834228" y="3310795"/>
                    <a:pt x="1836991" y="3313557"/>
                    <a:pt x="1836991" y="3316986"/>
                  </a:cubicBezTo>
                  <a:cubicBezTo>
                    <a:pt x="1836991" y="3320415"/>
                    <a:pt x="1834228" y="3323178"/>
                    <a:pt x="1830799" y="3323178"/>
                  </a:cubicBezTo>
                  <a:cubicBezTo>
                    <a:pt x="1827370" y="3323178"/>
                    <a:pt x="1824608" y="3320415"/>
                    <a:pt x="1824608" y="3316986"/>
                  </a:cubicBezTo>
                  <a:cubicBezTo>
                    <a:pt x="1824608" y="3313557"/>
                    <a:pt x="1827370" y="3310795"/>
                    <a:pt x="1830799" y="3310795"/>
                  </a:cubicBezTo>
                  <a:close/>
                  <a:moveTo>
                    <a:pt x="1464563" y="3310128"/>
                  </a:moveTo>
                  <a:cubicBezTo>
                    <a:pt x="1467992" y="3310128"/>
                    <a:pt x="1470755" y="3312890"/>
                    <a:pt x="1470755" y="3316319"/>
                  </a:cubicBezTo>
                  <a:cubicBezTo>
                    <a:pt x="1470755" y="3319748"/>
                    <a:pt x="1467992" y="3322510"/>
                    <a:pt x="1464563" y="3322510"/>
                  </a:cubicBezTo>
                  <a:cubicBezTo>
                    <a:pt x="1461134" y="3322510"/>
                    <a:pt x="1458372" y="3319748"/>
                    <a:pt x="1458372" y="3316319"/>
                  </a:cubicBezTo>
                  <a:cubicBezTo>
                    <a:pt x="1458372" y="3312890"/>
                    <a:pt x="1461134" y="3310128"/>
                    <a:pt x="1464563" y="3310128"/>
                  </a:cubicBezTo>
                  <a:close/>
                  <a:moveTo>
                    <a:pt x="1812797" y="3309652"/>
                  </a:moveTo>
                  <a:cubicBezTo>
                    <a:pt x="1816226" y="3309652"/>
                    <a:pt x="1818989" y="3312414"/>
                    <a:pt x="1818989" y="3315843"/>
                  </a:cubicBezTo>
                  <a:cubicBezTo>
                    <a:pt x="1818989" y="3319272"/>
                    <a:pt x="1816226" y="3322035"/>
                    <a:pt x="1812797" y="3322035"/>
                  </a:cubicBezTo>
                  <a:cubicBezTo>
                    <a:pt x="1809368" y="3322035"/>
                    <a:pt x="1806606" y="3319272"/>
                    <a:pt x="1806606" y="3315843"/>
                  </a:cubicBezTo>
                  <a:cubicBezTo>
                    <a:pt x="1806606" y="3312414"/>
                    <a:pt x="1809368" y="3309652"/>
                    <a:pt x="1812797" y="3309652"/>
                  </a:cubicBezTo>
                  <a:close/>
                  <a:moveTo>
                    <a:pt x="2070259" y="3309462"/>
                  </a:moveTo>
                  <a:cubicBezTo>
                    <a:pt x="2070449" y="3309462"/>
                    <a:pt x="2070449" y="3309462"/>
                    <a:pt x="2070449" y="3309652"/>
                  </a:cubicBezTo>
                  <a:cubicBezTo>
                    <a:pt x="2070449" y="3309843"/>
                    <a:pt x="2070259" y="3309843"/>
                    <a:pt x="2070259" y="3309843"/>
                  </a:cubicBezTo>
                  <a:cubicBezTo>
                    <a:pt x="2070068" y="3309843"/>
                    <a:pt x="2070068" y="3309843"/>
                    <a:pt x="2070068" y="3309652"/>
                  </a:cubicBezTo>
                  <a:cubicBezTo>
                    <a:pt x="2070068" y="3309462"/>
                    <a:pt x="2070068" y="3309462"/>
                    <a:pt x="2070259" y="3309462"/>
                  </a:cubicBezTo>
                  <a:close/>
                  <a:moveTo>
                    <a:pt x="1905285" y="3309176"/>
                  </a:moveTo>
                  <a:cubicBezTo>
                    <a:pt x="1908714" y="3309176"/>
                    <a:pt x="1911476" y="3311938"/>
                    <a:pt x="1911476" y="3315367"/>
                  </a:cubicBezTo>
                  <a:cubicBezTo>
                    <a:pt x="1911476" y="3318796"/>
                    <a:pt x="1908714" y="3321558"/>
                    <a:pt x="1905285" y="3321558"/>
                  </a:cubicBezTo>
                  <a:cubicBezTo>
                    <a:pt x="1901856" y="3321558"/>
                    <a:pt x="1899094" y="3318796"/>
                    <a:pt x="1899094" y="3315367"/>
                  </a:cubicBezTo>
                  <a:cubicBezTo>
                    <a:pt x="1899094" y="3311938"/>
                    <a:pt x="1901856" y="3309176"/>
                    <a:pt x="1905285" y="3309176"/>
                  </a:cubicBezTo>
                  <a:close/>
                  <a:moveTo>
                    <a:pt x="1481232" y="3308795"/>
                  </a:moveTo>
                  <a:cubicBezTo>
                    <a:pt x="1484661" y="3308795"/>
                    <a:pt x="1487424" y="3311557"/>
                    <a:pt x="1487424" y="3314986"/>
                  </a:cubicBezTo>
                  <a:cubicBezTo>
                    <a:pt x="1487424" y="3318415"/>
                    <a:pt x="1484661" y="3321178"/>
                    <a:pt x="1481232" y="3321178"/>
                  </a:cubicBezTo>
                  <a:cubicBezTo>
                    <a:pt x="1477803" y="3321178"/>
                    <a:pt x="1475041" y="3318415"/>
                    <a:pt x="1475041" y="3314986"/>
                  </a:cubicBezTo>
                  <a:cubicBezTo>
                    <a:pt x="1475041" y="3311557"/>
                    <a:pt x="1477803" y="3308795"/>
                    <a:pt x="1481232" y="3308795"/>
                  </a:cubicBezTo>
                  <a:close/>
                  <a:moveTo>
                    <a:pt x="1393792" y="3308795"/>
                  </a:moveTo>
                  <a:cubicBezTo>
                    <a:pt x="1397221" y="3308795"/>
                    <a:pt x="1399984" y="3311557"/>
                    <a:pt x="1399984" y="3314986"/>
                  </a:cubicBezTo>
                  <a:cubicBezTo>
                    <a:pt x="1399984" y="3318415"/>
                    <a:pt x="1397221" y="3321178"/>
                    <a:pt x="1393792" y="3321178"/>
                  </a:cubicBezTo>
                  <a:cubicBezTo>
                    <a:pt x="1390363" y="3321178"/>
                    <a:pt x="1387601" y="3318415"/>
                    <a:pt x="1387601" y="3314986"/>
                  </a:cubicBezTo>
                  <a:cubicBezTo>
                    <a:pt x="1387601" y="3311557"/>
                    <a:pt x="1390363" y="3308795"/>
                    <a:pt x="1393792" y="3308795"/>
                  </a:cubicBezTo>
                  <a:close/>
                  <a:moveTo>
                    <a:pt x="1793747" y="3308509"/>
                  </a:moveTo>
                  <a:cubicBezTo>
                    <a:pt x="1797176" y="3308509"/>
                    <a:pt x="1799939" y="3311271"/>
                    <a:pt x="1799939" y="3314700"/>
                  </a:cubicBezTo>
                  <a:cubicBezTo>
                    <a:pt x="1799939" y="3318129"/>
                    <a:pt x="1797176" y="3320892"/>
                    <a:pt x="1793747" y="3320892"/>
                  </a:cubicBezTo>
                  <a:lnTo>
                    <a:pt x="1793462" y="3320607"/>
                  </a:lnTo>
                  <a:lnTo>
                    <a:pt x="1787366" y="3326701"/>
                  </a:lnTo>
                  <a:cubicBezTo>
                    <a:pt x="1783937" y="3326701"/>
                    <a:pt x="1781175" y="3323939"/>
                    <a:pt x="1781175" y="3320510"/>
                  </a:cubicBezTo>
                  <a:cubicBezTo>
                    <a:pt x="1781175" y="3317081"/>
                    <a:pt x="1783937" y="3314319"/>
                    <a:pt x="1787366" y="3314319"/>
                  </a:cubicBezTo>
                  <a:lnTo>
                    <a:pt x="1787652" y="3314605"/>
                  </a:lnTo>
                  <a:close/>
                  <a:moveTo>
                    <a:pt x="1972627" y="3308414"/>
                  </a:moveTo>
                  <a:cubicBezTo>
                    <a:pt x="1976056" y="3308414"/>
                    <a:pt x="1978819" y="3311176"/>
                    <a:pt x="1978819" y="3314605"/>
                  </a:cubicBezTo>
                  <a:cubicBezTo>
                    <a:pt x="1978819" y="3318034"/>
                    <a:pt x="1976056" y="3320797"/>
                    <a:pt x="1972627" y="3320797"/>
                  </a:cubicBezTo>
                  <a:cubicBezTo>
                    <a:pt x="1969198" y="3320797"/>
                    <a:pt x="1966436" y="3318034"/>
                    <a:pt x="1966436" y="3314605"/>
                  </a:cubicBezTo>
                  <a:cubicBezTo>
                    <a:pt x="1966436" y="3311176"/>
                    <a:pt x="1969198" y="3308414"/>
                    <a:pt x="1972627" y="3308414"/>
                  </a:cubicBezTo>
                  <a:close/>
                  <a:moveTo>
                    <a:pt x="1498758" y="3307747"/>
                  </a:moveTo>
                  <a:cubicBezTo>
                    <a:pt x="1502187" y="3307747"/>
                    <a:pt x="1504950" y="3310509"/>
                    <a:pt x="1504950" y="3313938"/>
                  </a:cubicBezTo>
                  <a:cubicBezTo>
                    <a:pt x="1504950" y="3317367"/>
                    <a:pt x="1502187" y="3320129"/>
                    <a:pt x="1498758" y="3320129"/>
                  </a:cubicBezTo>
                  <a:cubicBezTo>
                    <a:pt x="1495329" y="3320129"/>
                    <a:pt x="1492567" y="3317367"/>
                    <a:pt x="1492567" y="3313938"/>
                  </a:cubicBezTo>
                  <a:cubicBezTo>
                    <a:pt x="1492567" y="3310509"/>
                    <a:pt x="1495329" y="3307747"/>
                    <a:pt x="1498758" y="3307747"/>
                  </a:cubicBezTo>
                  <a:close/>
                  <a:moveTo>
                    <a:pt x="1292447" y="3307652"/>
                  </a:moveTo>
                  <a:cubicBezTo>
                    <a:pt x="1293018" y="3307652"/>
                    <a:pt x="1293399" y="3308033"/>
                    <a:pt x="1293399" y="3308605"/>
                  </a:cubicBezTo>
                  <a:cubicBezTo>
                    <a:pt x="1293399" y="3309176"/>
                    <a:pt x="1292923" y="3309557"/>
                    <a:pt x="1292447" y="3309557"/>
                  </a:cubicBezTo>
                  <a:cubicBezTo>
                    <a:pt x="1291875" y="3309557"/>
                    <a:pt x="1291494" y="3309176"/>
                    <a:pt x="1291494" y="3308605"/>
                  </a:cubicBezTo>
                  <a:cubicBezTo>
                    <a:pt x="1291494" y="3308033"/>
                    <a:pt x="1291875" y="3307652"/>
                    <a:pt x="1292447" y="3307652"/>
                  </a:cubicBezTo>
                  <a:close/>
                  <a:moveTo>
                    <a:pt x="1890045" y="3307461"/>
                  </a:moveTo>
                  <a:cubicBezTo>
                    <a:pt x="1893474" y="3307461"/>
                    <a:pt x="1896237" y="3310223"/>
                    <a:pt x="1896237" y="3313652"/>
                  </a:cubicBezTo>
                  <a:cubicBezTo>
                    <a:pt x="1896237" y="3317081"/>
                    <a:pt x="1893474" y="3319843"/>
                    <a:pt x="1890045" y="3319843"/>
                  </a:cubicBezTo>
                  <a:cubicBezTo>
                    <a:pt x="1886616" y="3319843"/>
                    <a:pt x="1883854" y="3317081"/>
                    <a:pt x="1883854" y="3313652"/>
                  </a:cubicBezTo>
                  <a:cubicBezTo>
                    <a:pt x="1883854" y="3310223"/>
                    <a:pt x="1886616" y="3307461"/>
                    <a:pt x="1890045" y="3307461"/>
                  </a:cubicBezTo>
                  <a:close/>
                  <a:moveTo>
                    <a:pt x="1517141" y="3306795"/>
                  </a:moveTo>
                  <a:cubicBezTo>
                    <a:pt x="1520570" y="3306795"/>
                    <a:pt x="1523332" y="3309557"/>
                    <a:pt x="1523332" y="3312986"/>
                  </a:cubicBezTo>
                  <a:cubicBezTo>
                    <a:pt x="1523332" y="3316415"/>
                    <a:pt x="1520570" y="3319177"/>
                    <a:pt x="1517141" y="3319177"/>
                  </a:cubicBezTo>
                  <a:cubicBezTo>
                    <a:pt x="1513712" y="3319177"/>
                    <a:pt x="1510950" y="3316415"/>
                    <a:pt x="1510950" y="3312986"/>
                  </a:cubicBezTo>
                  <a:cubicBezTo>
                    <a:pt x="1510950" y="3309557"/>
                    <a:pt x="1513712" y="3306795"/>
                    <a:pt x="1517141" y="3306795"/>
                  </a:cubicBezTo>
                  <a:close/>
                  <a:moveTo>
                    <a:pt x="1873948" y="3306223"/>
                  </a:moveTo>
                  <a:cubicBezTo>
                    <a:pt x="1877377" y="3306223"/>
                    <a:pt x="1880140" y="3308985"/>
                    <a:pt x="1880140" y="3312414"/>
                  </a:cubicBezTo>
                  <a:cubicBezTo>
                    <a:pt x="1880140" y="3315843"/>
                    <a:pt x="1877377" y="3318605"/>
                    <a:pt x="1873948" y="3318605"/>
                  </a:cubicBezTo>
                  <a:cubicBezTo>
                    <a:pt x="1870519" y="3318605"/>
                    <a:pt x="1867757" y="3315843"/>
                    <a:pt x="1867757" y="3312414"/>
                  </a:cubicBezTo>
                  <a:cubicBezTo>
                    <a:pt x="1867757" y="3308985"/>
                    <a:pt x="1870519" y="3306223"/>
                    <a:pt x="1873948" y="3306223"/>
                  </a:cubicBezTo>
                  <a:close/>
                  <a:moveTo>
                    <a:pt x="1536667" y="3305842"/>
                  </a:moveTo>
                  <a:lnTo>
                    <a:pt x="1542812" y="3311986"/>
                  </a:lnTo>
                  <a:lnTo>
                    <a:pt x="1543335" y="3311462"/>
                  </a:lnTo>
                  <a:cubicBezTo>
                    <a:pt x="1546764" y="3311462"/>
                    <a:pt x="1549526" y="3314224"/>
                    <a:pt x="1549526" y="3317653"/>
                  </a:cubicBezTo>
                  <a:lnTo>
                    <a:pt x="1549336" y="3317843"/>
                  </a:lnTo>
                  <a:lnTo>
                    <a:pt x="1555433" y="3323939"/>
                  </a:lnTo>
                  <a:cubicBezTo>
                    <a:pt x="1555433" y="3327368"/>
                    <a:pt x="1552670" y="3330130"/>
                    <a:pt x="1549241" y="3330130"/>
                  </a:cubicBezTo>
                  <a:cubicBezTo>
                    <a:pt x="1545812" y="3330130"/>
                    <a:pt x="1543050" y="3327368"/>
                    <a:pt x="1543050" y="3323939"/>
                  </a:cubicBezTo>
                  <a:lnTo>
                    <a:pt x="1543240" y="3323750"/>
                  </a:lnTo>
                  <a:lnTo>
                    <a:pt x="1537191" y="3317700"/>
                  </a:lnTo>
                  <a:lnTo>
                    <a:pt x="1536667" y="3318224"/>
                  </a:lnTo>
                  <a:cubicBezTo>
                    <a:pt x="1533238" y="3318224"/>
                    <a:pt x="1530476" y="3315462"/>
                    <a:pt x="1530476" y="3312033"/>
                  </a:cubicBezTo>
                  <a:cubicBezTo>
                    <a:pt x="1530476" y="3308604"/>
                    <a:pt x="1533238" y="3305842"/>
                    <a:pt x="1536667" y="3305842"/>
                  </a:cubicBezTo>
                  <a:close/>
                  <a:moveTo>
                    <a:pt x="2022633" y="3305652"/>
                  </a:moveTo>
                  <a:cubicBezTo>
                    <a:pt x="2026062" y="3305652"/>
                    <a:pt x="2028825" y="3308414"/>
                    <a:pt x="2028825" y="3311843"/>
                  </a:cubicBezTo>
                  <a:cubicBezTo>
                    <a:pt x="2028825" y="3315272"/>
                    <a:pt x="2026062" y="3318034"/>
                    <a:pt x="2022633" y="3318034"/>
                  </a:cubicBezTo>
                  <a:cubicBezTo>
                    <a:pt x="2019204" y="3318034"/>
                    <a:pt x="2016442" y="3315272"/>
                    <a:pt x="2016442" y="3311843"/>
                  </a:cubicBezTo>
                  <a:cubicBezTo>
                    <a:pt x="2016442" y="3308414"/>
                    <a:pt x="2019204" y="3305652"/>
                    <a:pt x="2022633" y="3305652"/>
                  </a:cubicBezTo>
                  <a:close/>
                  <a:moveTo>
                    <a:pt x="1341786" y="3305556"/>
                  </a:moveTo>
                  <a:cubicBezTo>
                    <a:pt x="1345215" y="3305556"/>
                    <a:pt x="1347978" y="3308318"/>
                    <a:pt x="1347978" y="3311747"/>
                  </a:cubicBezTo>
                  <a:cubicBezTo>
                    <a:pt x="1347978" y="3315176"/>
                    <a:pt x="1345215" y="3317938"/>
                    <a:pt x="1341786" y="3317938"/>
                  </a:cubicBezTo>
                  <a:cubicBezTo>
                    <a:pt x="1338357" y="3317938"/>
                    <a:pt x="1335595" y="3315176"/>
                    <a:pt x="1335595" y="3311747"/>
                  </a:cubicBezTo>
                  <a:cubicBezTo>
                    <a:pt x="1335595" y="3308318"/>
                    <a:pt x="1338357" y="3305556"/>
                    <a:pt x="1341786" y="3305556"/>
                  </a:cubicBezTo>
                  <a:close/>
                  <a:moveTo>
                    <a:pt x="1857184" y="3305271"/>
                  </a:moveTo>
                  <a:cubicBezTo>
                    <a:pt x="1860613" y="3305271"/>
                    <a:pt x="1863376" y="3308033"/>
                    <a:pt x="1863376" y="3311462"/>
                  </a:cubicBezTo>
                  <a:cubicBezTo>
                    <a:pt x="1863376" y="3314891"/>
                    <a:pt x="1860613" y="3317653"/>
                    <a:pt x="1857184" y="3317653"/>
                  </a:cubicBezTo>
                  <a:cubicBezTo>
                    <a:pt x="1853755" y="3317653"/>
                    <a:pt x="1850993" y="3314891"/>
                    <a:pt x="1850993" y="3311462"/>
                  </a:cubicBezTo>
                  <a:cubicBezTo>
                    <a:pt x="1850993" y="3308033"/>
                    <a:pt x="1853755" y="3305271"/>
                    <a:pt x="1857184" y="3305271"/>
                  </a:cubicBezTo>
                  <a:close/>
                  <a:moveTo>
                    <a:pt x="1557241" y="3304794"/>
                  </a:moveTo>
                  <a:lnTo>
                    <a:pt x="1562814" y="3310366"/>
                  </a:lnTo>
                  <a:lnTo>
                    <a:pt x="1563052" y="3310128"/>
                  </a:lnTo>
                  <a:cubicBezTo>
                    <a:pt x="1566481" y="3310128"/>
                    <a:pt x="1569244" y="3312890"/>
                    <a:pt x="1569244" y="3316319"/>
                  </a:cubicBezTo>
                  <a:lnTo>
                    <a:pt x="1569005" y="3316558"/>
                  </a:lnTo>
                  <a:lnTo>
                    <a:pt x="1574386" y="3321939"/>
                  </a:lnTo>
                  <a:lnTo>
                    <a:pt x="1573243" y="3323082"/>
                  </a:lnTo>
                  <a:lnTo>
                    <a:pt x="1578959" y="3328797"/>
                  </a:lnTo>
                  <a:cubicBezTo>
                    <a:pt x="1578959" y="3332226"/>
                    <a:pt x="1576196" y="3334988"/>
                    <a:pt x="1572767" y="3334988"/>
                  </a:cubicBezTo>
                  <a:cubicBezTo>
                    <a:pt x="1569338" y="3334988"/>
                    <a:pt x="1566576" y="3332226"/>
                    <a:pt x="1566576" y="3328797"/>
                  </a:cubicBezTo>
                  <a:lnTo>
                    <a:pt x="1567719" y="3327654"/>
                  </a:lnTo>
                  <a:lnTo>
                    <a:pt x="1562004" y="3321939"/>
                  </a:lnTo>
                  <a:lnTo>
                    <a:pt x="1562243" y="3321701"/>
                  </a:lnTo>
                  <a:lnTo>
                    <a:pt x="1557480" y="3316938"/>
                  </a:lnTo>
                  <a:lnTo>
                    <a:pt x="1557241" y="3317176"/>
                  </a:lnTo>
                  <a:cubicBezTo>
                    <a:pt x="1553812" y="3317176"/>
                    <a:pt x="1551050" y="3314414"/>
                    <a:pt x="1551050" y="3310985"/>
                  </a:cubicBezTo>
                  <a:cubicBezTo>
                    <a:pt x="1551050" y="3307556"/>
                    <a:pt x="1553812" y="3304794"/>
                    <a:pt x="1557241" y="3304794"/>
                  </a:cubicBezTo>
                  <a:close/>
                  <a:moveTo>
                    <a:pt x="1839467" y="3304509"/>
                  </a:moveTo>
                  <a:cubicBezTo>
                    <a:pt x="1842896" y="3304509"/>
                    <a:pt x="1845659" y="3307271"/>
                    <a:pt x="1845659" y="3310700"/>
                  </a:cubicBezTo>
                  <a:cubicBezTo>
                    <a:pt x="1845659" y="3314129"/>
                    <a:pt x="1842896" y="3316891"/>
                    <a:pt x="1839467" y="3316891"/>
                  </a:cubicBezTo>
                  <a:cubicBezTo>
                    <a:pt x="1836038" y="3316891"/>
                    <a:pt x="1833276" y="3314129"/>
                    <a:pt x="1833276" y="3310700"/>
                  </a:cubicBezTo>
                  <a:cubicBezTo>
                    <a:pt x="1833276" y="3307271"/>
                    <a:pt x="1836038" y="3304509"/>
                    <a:pt x="1839467" y="3304509"/>
                  </a:cubicBezTo>
                  <a:close/>
                  <a:moveTo>
                    <a:pt x="1820703" y="3303842"/>
                  </a:moveTo>
                  <a:cubicBezTo>
                    <a:pt x="1824132" y="3303842"/>
                    <a:pt x="1826895" y="3306604"/>
                    <a:pt x="1826895" y="3310033"/>
                  </a:cubicBezTo>
                  <a:cubicBezTo>
                    <a:pt x="1826895" y="3313462"/>
                    <a:pt x="1824132" y="3316224"/>
                    <a:pt x="1820703" y="3316224"/>
                  </a:cubicBezTo>
                  <a:cubicBezTo>
                    <a:pt x="1817274" y="3316224"/>
                    <a:pt x="1814512" y="3313462"/>
                    <a:pt x="1814512" y="3310033"/>
                  </a:cubicBezTo>
                  <a:cubicBezTo>
                    <a:pt x="1814512" y="3306604"/>
                    <a:pt x="1817274" y="3303842"/>
                    <a:pt x="1820703" y="3303842"/>
                  </a:cubicBezTo>
                  <a:close/>
                  <a:moveTo>
                    <a:pt x="1800891" y="3302985"/>
                  </a:moveTo>
                  <a:cubicBezTo>
                    <a:pt x="1804320" y="3302985"/>
                    <a:pt x="1807083" y="3305747"/>
                    <a:pt x="1807083" y="3309176"/>
                  </a:cubicBezTo>
                  <a:cubicBezTo>
                    <a:pt x="1807083" y="3312605"/>
                    <a:pt x="1804320" y="3315367"/>
                    <a:pt x="1800891" y="3315367"/>
                  </a:cubicBezTo>
                  <a:cubicBezTo>
                    <a:pt x="1797462" y="3315367"/>
                    <a:pt x="1794700" y="3312605"/>
                    <a:pt x="1794700" y="3309176"/>
                  </a:cubicBezTo>
                  <a:cubicBezTo>
                    <a:pt x="1794700" y="3305747"/>
                    <a:pt x="1797462" y="3302985"/>
                    <a:pt x="1800891" y="3302985"/>
                  </a:cubicBezTo>
                  <a:close/>
                  <a:moveTo>
                    <a:pt x="1454562" y="3302985"/>
                  </a:moveTo>
                  <a:cubicBezTo>
                    <a:pt x="1457991" y="3302985"/>
                    <a:pt x="1460754" y="3305747"/>
                    <a:pt x="1460754" y="3309176"/>
                  </a:cubicBezTo>
                  <a:cubicBezTo>
                    <a:pt x="1460754" y="3312605"/>
                    <a:pt x="1457991" y="3315367"/>
                    <a:pt x="1454562" y="3315367"/>
                  </a:cubicBezTo>
                  <a:cubicBezTo>
                    <a:pt x="1451133" y="3315367"/>
                    <a:pt x="1448371" y="3312605"/>
                    <a:pt x="1448371" y="3309176"/>
                  </a:cubicBezTo>
                  <a:cubicBezTo>
                    <a:pt x="1448371" y="3305747"/>
                    <a:pt x="1451133" y="3302985"/>
                    <a:pt x="1454562" y="3302985"/>
                  </a:cubicBezTo>
                  <a:close/>
                  <a:moveTo>
                    <a:pt x="1354549" y="3302604"/>
                  </a:moveTo>
                  <a:cubicBezTo>
                    <a:pt x="1357978" y="3302604"/>
                    <a:pt x="1360741" y="3305366"/>
                    <a:pt x="1360741" y="3308795"/>
                  </a:cubicBezTo>
                  <a:cubicBezTo>
                    <a:pt x="1360741" y="3312224"/>
                    <a:pt x="1357978" y="3314986"/>
                    <a:pt x="1354549" y="3314986"/>
                  </a:cubicBezTo>
                  <a:cubicBezTo>
                    <a:pt x="1351120" y="3314986"/>
                    <a:pt x="1348358" y="3312224"/>
                    <a:pt x="1348358" y="3308795"/>
                  </a:cubicBezTo>
                  <a:cubicBezTo>
                    <a:pt x="1348358" y="3305366"/>
                    <a:pt x="1351120" y="3302604"/>
                    <a:pt x="1354549" y="3302604"/>
                  </a:cubicBezTo>
                  <a:close/>
                  <a:moveTo>
                    <a:pt x="1471612" y="3302318"/>
                  </a:moveTo>
                  <a:cubicBezTo>
                    <a:pt x="1475041" y="3302318"/>
                    <a:pt x="1477803" y="3305080"/>
                    <a:pt x="1477803" y="3308509"/>
                  </a:cubicBezTo>
                  <a:cubicBezTo>
                    <a:pt x="1477803" y="3311938"/>
                    <a:pt x="1475041" y="3314700"/>
                    <a:pt x="1471612" y="3314700"/>
                  </a:cubicBezTo>
                  <a:cubicBezTo>
                    <a:pt x="1468183" y="3314700"/>
                    <a:pt x="1465421" y="3311938"/>
                    <a:pt x="1465421" y="3308509"/>
                  </a:cubicBezTo>
                  <a:cubicBezTo>
                    <a:pt x="1465421" y="3305080"/>
                    <a:pt x="1468183" y="3302318"/>
                    <a:pt x="1471612" y="3302318"/>
                  </a:cubicBezTo>
                  <a:close/>
                  <a:moveTo>
                    <a:pt x="2010727" y="3301937"/>
                  </a:moveTo>
                  <a:cubicBezTo>
                    <a:pt x="2014156" y="3301937"/>
                    <a:pt x="2016919" y="3304699"/>
                    <a:pt x="2016919" y="3308128"/>
                  </a:cubicBezTo>
                  <a:cubicBezTo>
                    <a:pt x="2016919" y="3311557"/>
                    <a:pt x="2014156" y="3314320"/>
                    <a:pt x="2010727" y="3314320"/>
                  </a:cubicBezTo>
                  <a:cubicBezTo>
                    <a:pt x="2007298" y="3314320"/>
                    <a:pt x="2004536" y="3311557"/>
                    <a:pt x="2004536" y="3308128"/>
                  </a:cubicBezTo>
                  <a:cubicBezTo>
                    <a:pt x="2004536" y="3304699"/>
                    <a:pt x="2007298" y="3301937"/>
                    <a:pt x="2010727" y="3301937"/>
                  </a:cubicBezTo>
                  <a:close/>
                  <a:moveTo>
                    <a:pt x="1779841" y="3301746"/>
                  </a:moveTo>
                  <a:cubicBezTo>
                    <a:pt x="1783270" y="3301746"/>
                    <a:pt x="1786032" y="3304508"/>
                    <a:pt x="1786032" y="3307937"/>
                  </a:cubicBezTo>
                  <a:cubicBezTo>
                    <a:pt x="1786032" y="3311366"/>
                    <a:pt x="1783270" y="3314128"/>
                    <a:pt x="1779841" y="3314128"/>
                  </a:cubicBezTo>
                  <a:lnTo>
                    <a:pt x="1779555" y="3313843"/>
                  </a:lnTo>
                  <a:lnTo>
                    <a:pt x="1773649" y="3319748"/>
                  </a:lnTo>
                  <a:lnTo>
                    <a:pt x="1773602" y="3319701"/>
                  </a:lnTo>
                  <a:lnTo>
                    <a:pt x="1768792" y="3324511"/>
                  </a:lnTo>
                  <a:lnTo>
                    <a:pt x="1769363" y="3325082"/>
                  </a:lnTo>
                  <a:lnTo>
                    <a:pt x="1763363" y="3331082"/>
                  </a:lnTo>
                  <a:lnTo>
                    <a:pt x="1764983" y="3332702"/>
                  </a:lnTo>
                  <a:cubicBezTo>
                    <a:pt x="1764983" y="3336131"/>
                    <a:pt x="1762220" y="3338893"/>
                    <a:pt x="1758791" y="3338893"/>
                  </a:cubicBezTo>
                  <a:cubicBezTo>
                    <a:pt x="1755362" y="3338893"/>
                    <a:pt x="1752600" y="3336131"/>
                    <a:pt x="1752600" y="3332702"/>
                  </a:cubicBezTo>
                  <a:lnTo>
                    <a:pt x="1758601" y="3326702"/>
                  </a:lnTo>
                  <a:lnTo>
                    <a:pt x="1756981" y="3325082"/>
                  </a:lnTo>
                  <a:lnTo>
                    <a:pt x="1762505" y="3319558"/>
                  </a:lnTo>
                  <a:lnTo>
                    <a:pt x="1761934" y="3318986"/>
                  </a:lnTo>
                  <a:cubicBezTo>
                    <a:pt x="1761934" y="3315557"/>
                    <a:pt x="1764696" y="3312795"/>
                    <a:pt x="1768125" y="3312795"/>
                  </a:cubicBezTo>
                  <a:lnTo>
                    <a:pt x="1768173" y="3312843"/>
                  </a:lnTo>
                  <a:lnTo>
                    <a:pt x="1773649" y="3307366"/>
                  </a:lnTo>
                  <a:lnTo>
                    <a:pt x="1773935" y="3307652"/>
                  </a:lnTo>
                  <a:close/>
                  <a:moveTo>
                    <a:pt x="1489709" y="3301746"/>
                  </a:moveTo>
                  <a:cubicBezTo>
                    <a:pt x="1493138" y="3301746"/>
                    <a:pt x="1495901" y="3304508"/>
                    <a:pt x="1495901" y="3307937"/>
                  </a:cubicBezTo>
                  <a:cubicBezTo>
                    <a:pt x="1495901" y="3311366"/>
                    <a:pt x="1493138" y="3314128"/>
                    <a:pt x="1489709" y="3314128"/>
                  </a:cubicBezTo>
                  <a:cubicBezTo>
                    <a:pt x="1486280" y="3314128"/>
                    <a:pt x="1483518" y="3311366"/>
                    <a:pt x="1483518" y="3307937"/>
                  </a:cubicBezTo>
                  <a:cubicBezTo>
                    <a:pt x="1483518" y="3304508"/>
                    <a:pt x="1486280" y="3301746"/>
                    <a:pt x="1489709" y="3301746"/>
                  </a:cubicBezTo>
                  <a:close/>
                  <a:moveTo>
                    <a:pt x="1508854" y="3301079"/>
                  </a:moveTo>
                  <a:cubicBezTo>
                    <a:pt x="1512283" y="3301079"/>
                    <a:pt x="1515046" y="3303841"/>
                    <a:pt x="1515046" y="3307270"/>
                  </a:cubicBezTo>
                  <a:cubicBezTo>
                    <a:pt x="1515046" y="3310699"/>
                    <a:pt x="1512283" y="3313461"/>
                    <a:pt x="1508854" y="3313461"/>
                  </a:cubicBezTo>
                  <a:cubicBezTo>
                    <a:pt x="1505425" y="3313461"/>
                    <a:pt x="1502663" y="3310699"/>
                    <a:pt x="1502663" y="3307270"/>
                  </a:cubicBezTo>
                  <a:cubicBezTo>
                    <a:pt x="1502663" y="3303841"/>
                    <a:pt x="1505425" y="3301079"/>
                    <a:pt x="1508854" y="3301079"/>
                  </a:cubicBezTo>
                  <a:close/>
                  <a:moveTo>
                    <a:pt x="1757457" y="3300127"/>
                  </a:moveTo>
                  <a:cubicBezTo>
                    <a:pt x="1760886" y="3300127"/>
                    <a:pt x="1763649" y="3302889"/>
                    <a:pt x="1763649" y="3306318"/>
                  </a:cubicBezTo>
                  <a:lnTo>
                    <a:pt x="1758125" y="3311843"/>
                  </a:lnTo>
                  <a:lnTo>
                    <a:pt x="1758505" y="3312223"/>
                  </a:lnTo>
                  <a:lnTo>
                    <a:pt x="1753600" y="3317129"/>
                  </a:lnTo>
                  <a:lnTo>
                    <a:pt x="1753933" y="3317462"/>
                  </a:lnTo>
                  <a:lnTo>
                    <a:pt x="1749123" y="3322272"/>
                  </a:lnTo>
                  <a:lnTo>
                    <a:pt x="1749838" y="3322987"/>
                  </a:lnTo>
                  <a:lnTo>
                    <a:pt x="1744694" y="3328130"/>
                  </a:lnTo>
                  <a:lnTo>
                    <a:pt x="1746218" y="3329654"/>
                  </a:lnTo>
                  <a:lnTo>
                    <a:pt x="1740407" y="3335464"/>
                  </a:lnTo>
                  <a:lnTo>
                    <a:pt x="1743075" y="3338131"/>
                  </a:lnTo>
                  <a:cubicBezTo>
                    <a:pt x="1743075" y="3341560"/>
                    <a:pt x="1740312" y="3344323"/>
                    <a:pt x="1736883" y="3344323"/>
                  </a:cubicBezTo>
                  <a:cubicBezTo>
                    <a:pt x="1733454" y="3344323"/>
                    <a:pt x="1730692" y="3341560"/>
                    <a:pt x="1730692" y="3338131"/>
                  </a:cubicBezTo>
                  <a:lnTo>
                    <a:pt x="1736502" y="3332321"/>
                  </a:lnTo>
                  <a:lnTo>
                    <a:pt x="1733835" y="3329654"/>
                  </a:lnTo>
                  <a:lnTo>
                    <a:pt x="1738979" y="3324511"/>
                  </a:lnTo>
                  <a:lnTo>
                    <a:pt x="1737455" y="3322987"/>
                  </a:lnTo>
                  <a:lnTo>
                    <a:pt x="1742265" y="3318177"/>
                  </a:lnTo>
                  <a:lnTo>
                    <a:pt x="1741550" y="3317462"/>
                  </a:lnTo>
                  <a:lnTo>
                    <a:pt x="1746456" y="3312556"/>
                  </a:lnTo>
                  <a:lnTo>
                    <a:pt x="1746123" y="3312223"/>
                  </a:lnTo>
                  <a:lnTo>
                    <a:pt x="1751647" y="3306699"/>
                  </a:lnTo>
                  <a:lnTo>
                    <a:pt x="1751266" y="3306318"/>
                  </a:lnTo>
                  <a:cubicBezTo>
                    <a:pt x="1751266" y="3302889"/>
                    <a:pt x="1754028" y="3300127"/>
                    <a:pt x="1757457" y="3300127"/>
                  </a:cubicBezTo>
                  <a:close/>
                  <a:moveTo>
                    <a:pt x="1529143" y="3300127"/>
                  </a:moveTo>
                  <a:cubicBezTo>
                    <a:pt x="1532572" y="3300127"/>
                    <a:pt x="1535335" y="3302889"/>
                    <a:pt x="1535335" y="3306318"/>
                  </a:cubicBezTo>
                  <a:cubicBezTo>
                    <a:pt x="1535335" y="3309747"/>
                    <a:pt x="1532572" y="3312510"/>
                    <a:pt x="1529143" y="3312510"/>
                  </a:cubicBezTo>
                  <a:cubicBezTo>
                    <a:pt x="1525714" y="3312510"/>
                    <a:pt x="1522952" y="3309747"/>
                    <a:pt x="1522952" y="3306318"/>
                  </a:cubicBezTo>
                  <a:cubicBezTo>
                    <a:pt x="1522952" y="3302889"/>
                    <a:pt x="1525714" y="3300127"/>
                    <a:pt x="1529143" y="3300127"/>
                  </a:cubicBezTo>
                  <a:close/>
                  <a:moveTo>
                    <a:pt x="1884711" y="3299365"/>
                  </a:moveTo>
                  <a:cubicBezTo>
                    <a:pt x="1888140" y="3299365"/>
                    <a:pt x="1890903" y="3302127"/>
                    <a:pt x="1890903" y="3305556"/>
                  </a:cubicBezTo>
                  <a:cubicBezTo>
                    <a:pt x="1890903" y="3308985"/>
                    <a:pt x="1888140" y="3311747"/>
                    <a:pt x="1884711" y="3311747"/>
                  </a:cubicBezTo>
                  <a:cubicBezTo>
                    <a:pt x="1881282" y="3311747"/>
                    <a:pt x="1878520" y="3308985"/>
                    <a:pt x="1878520" y="3305556"/>
                  </a:cubicBezTo>
                  <a:cubicBezTo>
                    <a:pt x="1878520" y="3302127"/>
                    <a:pt x="1881282" y="3299365"/>
                    <a:pt x="1884711" y="3299365"/>
                  </a:cubicBezTo>
                  <a:close/>
                  <a:moveTo>
                    <a:pt x="1998440" y="3298984"/>
                  </a:moveTo>
                  <a:cubicBezTo>
                    <a:pt x="2001869" y="3298984"/>
                    <a:pt x="2004632" y="3301746"/>
                    <a:pt x="2004632" y="3305175"/>
                  </a:cubicBezTo>
                  <a:cubicBezTo>
                    <a:pt x="2004632" y="3308604"/>
                    <a:pt x="2001869" y="3311367"/>
                    <a:pt x="1998440" y="3311367"/>
                  </a:cubicBezTo>
                  <a:cubicBezTo>
                    <a:pt x="1995011" y="3311367"/>
                    <a:pt x="1992249" y="3308604"/>
                    <a:pt x="1992249" y="3305175"/>
                  </a:cubicBezTo>
                  <a:cubicBezTo>
                    <a:pt x="1992249" y="3301746"/>
                    <a:pt x="1995011" y="3298984"/>
                    <a:pt x="1998440" y="3298984"/>
                  </a:cubicBezTo>
                  <a:close/>
                  <a:moveTo>
                    <a:pt x="1867471" y="3298984"/>
                  </a:moveTo>
                  <a:cubicBezTo>
                    <a:pt x="1870900" y="3298984"/>
                    <a:pt x="1873663" y="3301746"/>
                    <a:pt x="1873663" y="3305175"/>
                  </a:cubicBezTo>
                  <a:cubicBezTo>
                    <a:pt x="1873663" y="3308604"/>
                    <a:pt x="1870900" y="3311367"/>
                    <a:pt x="1867471" y="3311367"/>
                  </a:cubicBezTo>
                  <a:cubicBezTo>
                    <a:pt x="1864042" y="3311367"/>
                    <a:pt x="1861280" y="3308604"/>
                    <a:pt x="1861280" y="3305175"/>
                  </a:cubicBezTo>
                  <a:cubicBezTo>
                    <a:pt x="1861280" y="3301746"/>
                    <a:pt x="1864042" y="3298984"/>
                    <a:pt x="1867471" y="3298984"/>
                  </a:cubicBezTo>
                  <a:close/>
                  <a:moveTo>
                    <a:pt x="2059400" y="3298794"/>
                  </a:moveTo>
                  <a:cubicBezTo>
                    <a:pt x="2062734" y="3298794"/>
                    <a:pt x="2065496" y="3301556"/>
                    <a:pt x="2065496" y="3304890"/>
                  </a:cubicBezTo>
                  <a:cubicBezTo>
                    <a:pt x="2065496" y="3308224"/>
                    <a:pt x="2062829" y="3310986"/>
                    <a:pt x="2059400" y="3310986"/>
                  </a:cubicBezTo>
                  <a:cubicBezTo>
                    <a:pt x="2056066" y="3310986"/>
                    <a:pt x="2053304" y="3308224"/>
                    <a:pt x="2053304" y="3304890"/>
                  </a:cubicBezTo>
                  <a:cubicBezTo>
                    <a:pt x="2053304" y="3301556"/>
                    <a:pt x="2056066" y="3298794"/>
                    <a:pt x="2059400" y="3298794"/>
                  </a:cubicBezTo>
                  <a:close/>
                  <a:moveTo>
                    <a:pt x="1550765" y="3298698"/>
                  </a:moveTo>
                  <a:cubicBezTo>
                    <a:pt x="1554194" y="3298698"/>
                    <a:pt x="1556957" y="3301460"/>
                    <a:pt x="1556957" y="3304889"/>
                  </a:cubicBezTo>
                  <a:cubicBezTo>
                    <a:pt x="1556957" y="3308318"/>
                    <a:pt x="1554194" y="3311080"/>
                    <a:pt x="1550765" y="3311080"/>
                  </a:cubicBezTo>
                  <a:cubicBezTo>
                    <a:pt x="1547336" y="3311080"/>
                    <a:pt x="1544574" y="3308318"/>
                    <a:pt x="1544574" y="3304889"/>
                  </a:cubicBezTo>
                  <a:cubicBezTo>
                    <a:pt x="1544574" y="3301460"/>
                    <a:pt x="1547336" y="3298698"/>
                    <a:pt x="1550765" y="3298698"/>
                  </a:cubicBezTo>
                  <a:close/>
                  <a:moveTo>
                    <a:pt x="1303972" y="3298698"/>
                  </a:moveTo>
                  <a:cubicBezTo>
                    <a:pt x="1307401" y="3298698"/>
                    <a:pt x="1310164" y="3301460"/>
                    <a:pt x="1310164" y="3304889"/>
                  </a:cubicBezTo>
                  <a:cubicBezTo>
                    <a:pt x="1310164" y="3308318"/>
                    <a:pt x="1307401" y="3311080"/>
                    <a:pt x="1303972" y="3311080"/>
                  </a:cubicBezTo>
                  <a:cubicBezTo>
                    <a:pt x="1300543" y="3311080"/>
                    <a:pt x="1297781" y="3308318"/>
                    <a:pt x="1297781" y="3304889"/>
                  </a:cubicBezTo>
                  <a:cubicBezTo>
                    <a:pt x="1297781" y="3301460"/>
                    <a:pt x="1300543" y="3298698"/>
                    <a:pt x="1303972" y="3298698"/>
                  </a:cubicBezTo>
                  <a:close/>
                  <a:moveTo>
                    <a:pt x="1849087" y="3298508"/>
                  </a:moveTo>
                  <a:cubicBezTo>
                    <a:pt x="1852516" y="3298508"/>
                    <a:pt x="1855279" y="3301270"/>
                    <a:pt x="1855279" y="3304699"/>
                  </a:cubicBezTo>
                  <a:cubicBezTo>
                    <a:pt x="1855279" y="3308128"/>
                    <a:pt x="1852516" y="3310890"/>
                    <a:pt x="1849087" y="3310890"/>
                  </a:cubicBezTo>
                  <a:cubicBezTo>
                    <a:pt x="1845658" y="3310890"/>
                    <a:pt x="1842896" y="3308128"/>
                    <a:pt x="1842896" y="3304699"/>
                  </a:cubicBezTo>
                  <a:cubicBezTo>
                    <a:pt x="1842896" y="3301270"/>
                    <a:pt x="1845658" y="3298508"/>
                    <a:pt x="1849087" y="3298508"/>
                  </a:cubicBezTo>
                  <a:close/>
                  <a:moveTo>
                    <a:pt x="1829561" y="3297746"/>
                  </a:moveTo>
                  <a:cubicBezTo>
                    <a:pt x="1832990" y="3297746"/>
                    <a:pt x="1835753" y="3300508"/>
                    <a:pt x="1835753" y="3303937"/>
                  </a:cubicBezTo>
                  <a:cubicBezTo>
                    <a:pt x="1835753" y="3307366"/>
                    <a:pt x="1832990" y="3310129"/>
                    <a:pt x="1829561" y="3310129"/>
                  </a:cubicBezTo>
                  <a:cubicBezTo>
                    <a:pt x="1826132" y="3310129"/>
                    <a:pt x="1823370" y="3307366"/>
                    <a:pt x="1823370" y="3303937"/>
                  </a:cubicBezTo>
                  <a:cubicBezTo>
                    <a:pt x="1823370" y="3300508"/>
                    <a:pt x="1826132" y="3297746"/>
                    <a:pt x="1829561" y="3297746"/>
                  </a:cubicBezTo>
                  <a:close/>
                  <a:moveTo>
                    <a:pt x="1733645" y="3297746"/>
                  </a:moveTo>
                  <a:cubicBezTo>
                    <a:pt x="1737074" y="3297746"/>
                    <a:pt x="1739837" y="3300508"/>
                    <a:pt x="1739837" y="3303937"/>
                  </a:cubicBezTo>
                  <a:lnTo>
                    <a:pt x="1734598" y="3309176"/>
                  </a:lnTo>
                  <a:lnTo>
                    <a:pt x="1735931" y="3310509"/>
                  </a:lnTo>
                  <a:lnTo>
                    <a:pt x="1731549" y="3314891"/>
                  </a:lnTo>
                  <a:lnTo>
                    <a:pt x="1732502" y="3315843"/>
                  </a:lnTo>
                  <a:lnTo>
                    <a:pt x="1728358" y="3319987"/>
                  </a:lnTo>
                  <a:lnTo>
                    <a:pt x="1729359" y="3320987"/>
                  </a:lnTo>
                  <a:lnTo>
                    <a:pt x="1725025" y="3325321"/>
                  </a:lnTo>
                  <a:lnTo>
                    <a:pt x="1726597" y="3326892"/>
                  </a:lnTo>
                  <a:lnTo>
                    <a:pt x="1721644" y="3331846"/>
                  </a:lnTo>
                  <a:lnTo>
                    <a:pt x="1724119" y="3334321"/>
                  </a:lnTo>
                  <a:lnTo>
                    <a:pt x="1718309" y="3340132"/>
                  </a:lnTo>
                  <a:lnTo>
                    <a:pt x="1722024" y="3343846"/>
                  </a:lnTo>
                  <a:cubicBezTo>
                    <a:pt x="1722024" y="3347275"/>
                    <a:pt x="1719262" y="3350038"/>
                    <a:pt x="1715833" y="3350038"/>
                  </a:cubicBezTo>
                  <a:cubicBezTo>
                    <a:pt x="1712404" y="3350038"/>
                    <a:pt x="1709642" y="3347275"/>
                    <a:pt x="1709642" y="3343846"/>
                  </a:cubicBezTo>
                  <a:lnTo>
                    <a:pt x="1715452" y="3338037"/>
                  </a:lnTo>
                  <a:lnTo>
                    <a:pt x="1711737" y="3334321"/>
                  </a:lnTo>
                  <a:lnTo>
                    <a:pt x="1716690" y="3329368"/>
                  </a:lnTo>
                  <a:lnTo>
                    <a:pt x="1714214" y="3326892"/>
                  </a:lnTo>
                  <a:lnTo>
                    <a:pt x="1718548" y="3322559"/>
                  </a:lnTo>
                  <a:lnTo>
                    <a:pt x="1716976" y="3320987"/>
                  </a:lnTo>
                  <a:lnTo>
                    <a:pt x="1721119" y="3316844"/>
                  </a:lnTo>
                  <a:lnTo>
                    <a:pt x="1720119" y="3315843"/>
                  </a:lnTo>
                  <a:lnTo>
                    <a:pt x="1724500" y="3311462"/>
                  </a:lnTo>
                  <a:lnTo>
                    <a:pt x="1723548" y="3310509"/>
                  </a:lnTo>
                  <a:lnTo>
                    <a:pt x="1728787" y="3305270"/>
                  </a:lnTo>
                  <a:lnTo>
                    <a:pt x="1727454" y="3303937"/>
                  </a:lnTo>
                  <a:cubicBezTo>
                    <a:pt x="1727454" y="3300508"/>
                    <a:pt x="1730216" y="3297746"/>
                    <a:pt x="1733645" y="3297746"/>
                  </a:cubicBezTo>
                  <a:close/>
                  <a:moveTo>
                    <a:pt x="1985771" y="3296793"/>
                  </a:moveTo>
                  <a:cubicBezTo>
                    <a:pt x="1989200" y="3296793"/>
                    <a:pt x="1991963" y="3299555"/>
                    <a:pt x="1991963" y="3302984"/>
                  </a:cubicBezTo>
                  <a:cubicBezTo>
                    <a:pt x="1991963" y="3306413"/>
                    <a:pt x="1989200" y="3309176"/>
                    <a:pt x="1985771" y="3309176"/>
                  </a:cubicBezTo>
                  <a:cubicBezTo>
                    <a:pt x="1982342" y="3309176"/>
                    <a:pt x="1979580" y="3306413"/>
                    <a:pt x="1979580" y="3302984"/>
                  </a:cubicBezTo>
                  <a:cubicBezTo>
                    <a:pt x="1979580" y="3299555"/>
                    <a:pt x="1982342" y="3296793"/>
                    <a:pt x="1985771" y="3296793"/>
                  </a:cubicBezTo>
                  <a:close/>
                  <a:moveTo>
                    <a:pt x="1808892" y="3296603"/>
                  </a:moveTo>
                  <a:cubicBezTo>
                    <a:pt x="1812321" y="3296603"/>
                    <a:pt x="1815084" y="3299365"/>
                    <a:pt x="1815084" y="3302794"/>
                  </a:cubicBezTo>
                  <a:cubicBezTo>
                    <a:pt x="1815084" y="3306223"/>
                    <a:pt x="1812321" y="3308986"/>
                    <a:pt x="1808892" y="3308986"/>
                  </a:cubicBezTo>
                  <a:cubicBezTo>
                    <a:pt x="1805463" y="3308986"/>
                    <a:pt x="1802701" y="3306223"/>
                    <a:pt x="1802701" y="3302794"/>
                  </a:cubicBezTo>
                  <a:cubicBezTo>
                    <a:pt x="1802701" y="3299365"/>
                    <a:pt x="1805463" y="3296603"/>
                    <a:pt x="1808892" y="3296603"/>
                  </a:cubicBezTo>
                  <a:close/>
                  <a:moveTo>
                    <a:pt x="1573815" y="3296603"/>
                  </a:moveTo>
                  <a:cubicBezTo>
                    <a:pt x="1577244" y="3296603"/>
                    <a:pt x="1580007" y="3299365"/>
                    <a:pt x="1580007" y="3302794"/>
                  </a:cubicBezTo>
                  <a:lnTo>
                    <a:pt x="1579340" y="3303461"/>
                  </a:lnTo>
                  <a:lnTo>
                    <a:pt x="1585341" y="3309461"/>
                  </a:lnTo>
                  <a:lnTo>
                    <a:pt x="1584959" y="3309843"/>
                  </a:lnTo>
                  <a:lnTo>
                    <a:pt x="1590103" y="3314986"/>
                  </a:lnTo>
                  <a:lnTo>
                    <a:pt x="1589579" y="3315510"/>
                  </a:lnTo>
                  <a:lnTo>
                    <a:pt x="1594295" y="3320225"/>
                  </a:lnTo>
                  <a:lnTo>
                    <a:pt x="1593199" y="3321321"/>
                  </a:lnTo>
                  <a:lnTo>
                    <a:pt x="1598104" y="3326225"/>
                  </a:lnTo>
                  <a:lnTo>
                    <a:pt x="1596056" y="3328274"/>
                  </a:lnTo>
                  <a:lnTo>
                    <a:pt x="1601438" y="3333655"/>
                  </a:lnTo>
                  <a:cubicBezTo>
                    <a:pt x="1601438" y="3337084"/>
                    <a:pt x="1598675" y="3339847"/>
                    <a:pt x="1595246" y="3339847"/>
                  </a:cubicBezTo>
                  <a:cubicBezTo>
                    <a:pt x="1591817" y="3339847"/>
                    <a:pt x="1589055" y="3337084"/>
                    <a:pt x="1589055" y="3333655"/>
                  </a:cubicBezTo>
                  <a:lnTo>
                    <a:pt x="1591103" y="3331608"/>
                  </a:lnTo>
                  <a:lnTo>
                    <a:pt x="1585721" y="3326225"/>
                  </a:lnTo>
                  <a:lnTo>
                    <a:pt x="1586817" y="3325130"/>
                  </a:lnTo>
                  <a:lnTo>
                    <a:pt x="1581912" y="3320225"/>
                  </a:lnTo>
                  <a:lnTo>
                    <a:pt x="1582435" y="3319702"/>
                  </a:lnTo>
                  <a:lnTo>
                    <a:pt x="1577720" y="3314986"/>
                  </a:lnTo>
                  <a:lnTo>
                    <a:pt x="1578102" y="3314605"/>
                  </a:lnTo>
                  <a:lnTo>
                    <a:pt x="1572958" y="3309461"/>
                  </a:lnTo>
                  <a:lnTo>
                    <a:pt x="1573624" y="3308795"/>
                  </a:lnTo>
                  <a:lnTo>
                    <a:pt x="1567624" y="3302794"/>
                  </a:lnTo>
                  <a:cubicBezTo>
                    <a:pt x="1567624" y="3299365"/>
                    <a:pt x="1570386" y="3296603"/>
                    <a:pt x="1573815" y="3296603"/>
                  </a:cubicBezTo>
                  <a:close/>
                  <a:moveTo>
                    <a:pt x="1443227" y="3296317"/>
                  </a:moveTo>
                  <a:cubicBezTo>
                    <a:pt x="1446656" y="3296317"/>
                    <a:pt x="1449419" y="3299079"/>
                    <a:pt x="1449419" y="3302508"/>
                  </a:cubicBezTo>
                  <a:lnTo>
                    <a:pt x="1443227" y="3308699"/>
                  </a:lnTo>
                  <a:lnTo>
                    <a:pt x="1444465" y="3309937"/>
                  </a:lnTo>
                  <a:cubicBezTo>
                    <a:pt x="1444465" y="3313366"/>
                    <a:pt x="1441703" y="3316129"/>
                    <a:pt x="1438274" y="3316129"/>
                  </a:cubicBezTo>
                  <a:cubicBezTo>
                    <a:pt x="1434845" y="3316129"/>
                    <a:pt x="1432083" y="3313366"/>
                    <a:pt x="1432083" y="3309937"/>
                  </a:cubicBezTo>
                  <a:lnTo>
                    <a:pt x="1438274" y="3303746"/>
                  </a:lnTo>
                  <a:lnTo>
                    <a:pt x="1437036" y="3302508"/>
                  </a:lnTo>
                  <a:cubicBezTo>
                    <a:pt x="1437036" y="3299079"/>
                    <a:pt x="1439798" y="3296317"/>
                    <a:pt x="1443227" y="3296317"/>
                  </a:cubicBezTo>
                  <a:close/>
                  <a:moveTo>
                    <a:pt x="1460849" y="3296031"/>
                  </a:moveTo>
                  <a:cubicBezTo>
                    <a:pt x="1464278" y="3296031"/>
                    <a:pt x="1467041" y="3298793"/>
                    <a:pt x="1467041" y="3302222"/>
                  </a:cubicBezTo>
                  <a:cubicBezTo>
                    <a:pt x="1467041" y="3305651"/>
                    <a:pt x="1464278" y="3308413"/>
                    <a:pt x="1460849" y="3308413"/>
                  </a:cubicBezTo>
                  <a:cubicBezTo>
                    <a:pt x="1457420" y="3308413"/>
                    <a:pt x="1454658" y="3305651"/>
                    <a:pt x="1454658" y="3302222"/>
                  </a:cubicBezTo>
                  <a:cubicBezTo>
                    <a:pt x="1454658" y="3298793"/>
                    <a:pt x="1457420" y="3296031"/>
                    <a:pt x="1460849" y="3296031"/>
                  </a:cubicBezTo>
                  <a:close/>
                  <a:moveTo>
                    <a:pt x="1315783" y="3295650"/>
                  </a:moveTo>
                  <a:cubicBezTo>
                    <a:pt x="1319212" y="3295650"/>
                    <a:pt x="1321974" y="3298412"/>
                    <a:pt x="1321974" y="3301841"/>
                  </a:cubicBezTo>
                  <a:cubicBezTo>
                    <a:pt x="1321974" y="3305270"/>
                    <a:pt x="1319212" y="3308033"/>
                    <a:pt x="1315783" y="3308033"/>
                  </a:cubicBezTo>
                  <a:cubicBezTo>
                    <a:pt x="1312354" y="3308033"/>
                    <a:pt x="1309592" y="3305270"/>
                    <a:pt x="1309592" y="3301841"/>
                  </a:cubicBezTo>
                  <a:cubicBezTo>
                    <a:pt x="1309592" y="3298412"/>
                    <a:pt x="1312354" y="3295650"/>
                    <a:pt x="1315783" y="3295650"/>
                  </a:cubicBezTo>
                  <a:close/>
                  <a:moveTo>
                    <a:pt x="1479613" y="3295460"/>
                  </a:moveTo>
                  <a:cubicBezTo>
                    <a:pt x="1483042" y="3295460"/>
                    <a:pt x="1485805" y="3298222"/>
                    <a:pt x="1485805" y="3301651"/>
                  </a:cubicBezTo>
                  <a:cubicBezTo>
                    <a:pt x="1485805" y="3305080"/>
                    <a:pt x="1483042" y="3307842"/>
                    <a:pt x="1479613" y="3307842"/>
                  </a:cubicBezTo>
                  <a:cubicBezTo>
                    <a:pt x="1476184" y="3307842"/>
                    <a:pt x="1473422" y="3305080"/>
                    <a:pt x="1473422" y="3301651"/>
                  </a:cubicBezTo>
                  <a:cubicBezTo>
                    <a:pt x="1473422" y="3298222"/>
                    <a:pt x="1476184" y="3295460"/>
                    <a:pt x="1479613" y="3295460"/>
                  </a:cubicBezTo>
                  <a:close/>
                  <a:moveTo>
                    <a:pt x="1786794" y="3294888"/>
                  </a:moveTo>
                  <a:cubicBezTo>
                    <a:pt x="1790223" y="3294888"/>
                    <a:pt x="1792986" y="3297650"/>
                    <a:pt x="1792986" y="3301079"/>
                  </a:cubicBezTo>
                  <a:cubicBezTo>
                    <a:pt x="1792986" y="3304508"/>
                    <a:pt x="1790223" y="3307270"/>
                    <a:pt x="1786794" y="3307270"/>
                  </a:cubicBezTo>
                  <a:cubicBezTo>
                    <a:pt x="1783365" y="3307270"/>
                    <a:pt x="1780603" y="3304508"/>
                    <a:pt x="1780603" y="3301079"/>
                  </a:cubicBezTo>
                  <a:cubicBezTo>
                    <a:pt x="1780603" y="3297650"/>
                    <a:pt x="1783365" y="3294888"/>
                    <a:pt x="1786794" y="3294888"/>
                  </a:cubicBezTo>
                  <a:close/>
                  <a:moveTo>
                    <a:pt x="2048350" y="3294793"/>
                  </a:moveTo>
                  <a:cubicBezTo>
                    <a:pt x="2051779" y="3294793"/>
                    <a:pt x="2054542" y="3297555"/>
                    <a:pt x="2054542" y="3300984"/>
                  </a:cubicBezTo>
                  <a:cubicBezTo>
                    <a:pt x="2054542" y="3304413"/>
                    <a:pt x="2051779" y="3307176"/>
                    <a:pt x="2048350" y="3307176"/>
                  </a:cubicBezTo>
                  <a:cubicBezTo>
                    <a:pt x="2044921" y="3307176"/>
                    <a:pt x="2042159" y="3304413"/>
                    <a:pt x="2042159" y="3300984"/>
                  </a:cubicBezTo>
                  <a:cubicBezTo>
                    <a:pt x="2042159" y="3297555"/>
                    <a:pt x="2044921" y="3294793"/>
                    <a:pt x="2048350" y="3294793"/>
                  </a:cubicBezTo>
                  <a:close/>
                  <a:moveTo>
                    <a:pt x="1499520" y="3294507"/>
                  </a:moveTo>
                  <a:cubicBezTo>
                    <a:pt x="1502940" y="3294507"/>
                    <a:pt x="1505712" y="3297279"/>
                    <a:pt x="1505712" y="3300698"/>
                  </a:cubicBezTo>
                  <a:cubicBezTo>
                    <a:pt x="1505712" y="3304117"/>
                    <a:pt x="1502940" y="3306889"/>
                    <a:pt x="1499520" y="3306889"/>
                  </a:cubicBezTo>
                  <a:cubicBezTo>
                    <a:pt x="1496101" y="3306889"/>
                    <a:pt x="1493329" y="3304117"/>
                    <a:pt x="1493329" y="3300698"/>
                  </a:cubicBezTo>
                  <a:cubicBezTo>
                    <a:pt x="1493329" y="3297279"/>
                    <a:pt x="1496101" y="3294507"/>
                    <a:pt x="1499520" y="3294507"/>
                  </a:cubicBezTo>
                  <a:close/>
                  <a:moveTo>
                    <a:pt x="1708308" y="3294412"/>
                  </a:moveTo>
                  <a:cubicBezTo>
                    <a:pt x="1711737" y="3294412"/>
                    <a:pt x="1714500" y="3297174"/>
                    <a:pt x="1714500" y="3300603"/>
                  </a:cubicBezTo>
                  <a:lnTo>
                    <a:pt x="1709452" y="3305651"/>
                  </a:lnTo>
                  <a:lnTo>
                    <a:pt x="1712024" y="3308223"/>
                  </a:lnTo>
                  <a:lnTo>
                    <a:pt x="1708023" y="3312224"/>
                  </a:lnTo>
                  <a:lnTo>
                    <a:pt x="1709737" y="3313938"/>
                  </a:lnTo>
                  <a:lnTo>
                    <a:pt x="1706212" y="3317462"/>
                  </a:lnTo>
                  <a:lnTo>
                    <a:pt x="1707736" y="3318986"/>
                  </a:lnTo>
                  <a:lnTo>
                    <a:pt x="1704165" y="3322557"/>
                  </a:lnTo>
                  <a:lnTo>
                    <a:pt x="1706023" y="3324415"/>
                  </a:lnTo>
                  <a:lnTo>
                    <a:pt x="1701974" y="3328464"/>
                  </a:lnTo>
                  <a:lnTo>
                    <a:pt x="1704403" y="3330893"/>
                  </a:lnTo>
                  <a:lnTo>
                    <a:pt x="1699593" y="3335703"/>
                  </a:lnTo>
                  <a:lnTo>
                    <a:pt x="1703070" y="3339179"/>
                  </a:lnTo>
                  <a:cubicBezTo>
                    <a:pt x="1703070" y="3342608"/>
                    <a:pt x="1700307" y="3345370"/>
                    <a:pt x="1696878" y="3345370"/>
                  </a:cubicBezTo>
                  <a:cubicBezTo>
                    <a:pt x="1693449" y="3345370"/>
                    <a:pt x="1690687" y="3342608"/>
                    <a:pt x="1690687" y="3339179"/>
                  </a:cubicBezTo>
                  <a:lnTo>
                    <a:pt x="1695496" y="3334370"/>
                  </a:lnTo>
                  <a:lnTo>
                    <a:pt x="1692020" y="3330893"/>
                  </a:lnTo>
                  <a:lnTo>
                    <a:pt x="1696069" y="3326844"/>
                  </a:lnTo>
                  <a:lnTo>
                    <a:pt x="1693640" y="3324415"/>
                  </a:lnTo>
                  <a:lnTo>
                    <a:pt x="1697212" y="3320844"/>
                  </a:lnTo>
                  <a:lnTo>
                    <a:pt x="1695354" y="3318986"/>
                  </a:lnTo>
                  <a:lnTo>
                    <a:pt x="1698878" y="3315462"/>
                  </a:lnTo>
                  <a:lnTo>
                    <a:pt x="1697354" y="3313938"/>
                  </a:lnTo>
                  <a:lnTo>
                    <a:pt x="1701355" y="3309937"/>
                  </a:lnTo>
                  <a:lnTo>
                    <a:pt x="1699641" y="3308223"/>
                  </a:lnTo>
                  <a:lnTo>
                    <a:pt x="1704689" y="3303175"/>
                  </a:lnTo>
                  <a:lnTo>
                    <a:pt x="1702117" y="3300603"/>
                  </a:lnTo>
                  <a:cubicBezTo>
                    <a:pt x="1702117" y="3297174"/>
                    <a:pt x="1704879" y="3294412"/>
                    <a:pt x="1708308" y="3294412"/>
                  </a:cubicBezTo>
                  <a:close/>
                  <a:moveTo>
                    <a:pt x="1598294" y="3293650"/>
                  </a:moveTo>
                  <a:cubicBezTo>
                    <a:pt x="1601723" y="3293650"/>
                    <a:pt x="1604486" y="3296412"/>
                    <a:pt x="1604486" y="3299841"/>
                  </a:cubicBezTo>
                  <a:lnTo>
                    <a:pt x="1602676" y="3301651"/>
                  </a:lnTo>
                  <a:lnTo>
                    <a:pt x="1608486" y="3307461"/>
                  </a:lnTo>
                  <a:lnTo>
                    <a:pt x="1607343" y="3308605"/>
                  </a:lnTo>
                  <a:lnTo>
                    <a:pt x="1612106" y="3313367"/>
                  </a:lnTo>
                  <a:lnTo>
                    <a:pt x="1611201" y="3314272"/>
                  </a:lnTo>
                  <a:lnTo>
                    <a:pt x="1615345" y="3318415"/>
                  </a:lnTo>
                  <a:lnTo>
                    <a:pt x="1614059" y="3319701"/>
                  </a:lnTo>
                  <a:lnTo>
                    <a:pt x="1618202" y="3323844"/>
                  </a:lnTo>
                  <a:lnTo>
                    <a:pt x="1616154" y="3325892"/>
                  </a:lnTo>
                  <a:lnTo>
                    <a:pt x="1620678" y="3330416"/>
                  </a:lnTo>
                  <a:lnTo>
                    <a:pt x="1617630" y="3333464"/>
                  </a:lnTo>
                  <a:lnTo>
                    <a:pt x="1622965" y="3338798"/>
                  </a:lnTo>
                  <a:cubicBezTo>
                    <a:pt x="1622965" y="3342227"/>
                    <a:pt x="1620202" y="3344990"/>
                    <a:pt x="1616773" y="3344990"/>
                  </a:cubicBezTo>
                  <a:cubicBezTo>
                    <a:pt x="1613344" y="3344990"/>
                    <a:pt x="1610582" y="3342227"/>
                    <a:pt x="1610582" y="3338798"/>
                  </a:cubicBezTo>
                  <a:lnTo>
                    <a:pt x="1613630" y="3335751"/>
                  </a:lnTo>
                  <a:lnTo>
                    <a:pt x="1608296" y="3330416"/>
                  </a:lnTo>
                  <a:lnTo>
                    <a:pt x="1610343" y="3328369"/>
                  </a:lnTo>
                  <a:lnTo>
                    <a:pt x="1605819" y="3323844"/>
                  </a:lnTo>
                  <a:lnTo>
                    <a:pt x="1607105" y="3322558"/>
                  </a:lnTo>
                  <a:lnTo>
                    <a:pt x="1602962" y="3318415"/>
                  </a:lnTo>
                  <a:lnTo>
                    <a:pt x="1603867" y="3317511"/>
                  </a:lnTo>
                  <a:lnTo>
                    <a:pt x="1599723" y="3313367"/>
                  </a:lnTo>
                  <a:lnTo>
                    <a:pt x="1600866" y="3312224"/>
                  </a:lnTo>
                  <a:lnTo>
                    <a:pt x="1596104" y="3307461"/>
                  </a:lnTo>
                  <a:lnTo>
                    <a:pt x="1597914" y="3305652"/>
                  </a:lnTo>
                  <a:lnTo>
                    <a:pt x="1592103" y="3299841"/>
                  </a:lnTo>
                  <a:cubicBezTo>
                    <a:pt x="1592103" y="3296412"/>
                    <a:pt x="1594865" y="3293650"/>
                    <a:pt x="1598294" y="3293650"/>
                  </a:cubicBezTo>
                  <a:close/>
                  <a:moveTo>
                    <a:pt x="1327975" y="3293460"/>
                  </a:moveTo>
                  <a:cubicBezTo>
                    <a:pt x="1331404" y="3293460"/>
                    <a:pt x="1334167" y="3296222"/>
                    <a:pt x="1334167" y="3299651"/>
                  </a:cubicBezTo>
                  <a:cubicBezTo>
                    <a:pt x="1334167" y="3303080"/>
                    <a:pt x="1331404" y="3305842"/>
                    <a:pt x="1327975" y="3305842"/>
                  </a:cubicBezTo>
                  <a:cubicBezTo>
                    <a:pt x="1324546" y="3305842"/>
                    <a:pt x="1321784" y="3303080"/>
                    <a:pt x="1321784" y="3299651"/>
                  </a:cubicBezTo>
                  <a:cubicBezTo>
                    <a:pt x="1321784" y="3296222"/>
                    <a:pt x="1324546" y="3293460"/>
                    <a:pt x="1327975" y="3293460"/>
                  </a:cubicBezTo>
                  <a:close/>
                  <a:moveTo>
                    <a:pt x="1520856" y="3292983"/>
                  </a:moveTo>
                  <a:cubicBezTo>
                    <a:pt x="1524285" y="3292983"/>
                    <a:pt x="1527048" y="3295745"/>
                    <a:pt x="1527048" y="3299174"/>
                  </a:cubicBezTo>
                  <a:cubicBezTo>
                    <a:pt x="1527048" y="3302603"/>
                    <a:pt x="1524285" y="3305366"/>
                    <a:pt x="1520856" y="3305366"/>
                  </a:cubicBezTo>
                  <a:cubicBezTo>
                    <a:pt x="1517427" y="3305366"/>
                    <a:pt x="1514665" y="3302603"/>
                    <a:pt x="1514665" y="3299174"/>
                  </a:cubicBezTo>
                  <a:cubicBezTo>
                    <a:pt x="1514665" y="3295745"/>
                    <a:pt x="1517427" y="3292983"/>
                    <a:pt x="1520856" y="3292983"/>
                  </a:cubicBezTo>
                  <a:close/>
                  <a:moveTo>
                    <a:pt x="1896808" y="3292793"/>
                  </a:moveTo>
                  <a:cubicBezTo>
                    <a:pt x="1900237" y="3292793"/>
                    <a:pt x="1902999" y="3295555"/>
                    <a:pt x="1902999" y="3298984"/>
                  </a:cubicBezTo>
                  <a:lnTo>
                    <a:pt x="1901618" y="3300366"/>
                  </a:lnTo>
                  <a:lnTo>
                    <a:pt x="1907381" y="3306128"/>
                  </a:lnTo>
                  <a:cubicBezTo>
                    <a:pt x="1907381" y="3309557"/>
                    <a:pt x="1904618" y="3312319"/>
                    <a:pt x="1901189" y="3312319"/>
                  </a:cubicBezTo>
                  <a:cubicBezTo>
                    <a:pt x="1897760" y="3312319"/>
                    <a:pt x="1894998" y="3309557"/>
                    <a:pt x="1894998" y="3306128"/>
                  </a:cubicBezTo>
                  <a:lnTo>
                    <a:pt x="1896379" y="3304747"/>
                  </a:lnTo>
                  <a:lnTo>
                    <a:pt x="1890617" y="3298984"/>
                  </a:lnTo>
                  <a:cubicBezTo>
                    <a:pt x="1890617" y="3295555"/>
                    <a:pt x="1893379" y="3292793"/>
                    <a:pt x="1896808" y="3292793"/>
                  </a:cubicBezTo>
                  <a:close/>
                  <a:moveTo>
                    <a:pt x="1878901" y="3292412"/>
                  </a:moveTo>
                  <a:cubicBezTo>
                    <a:pt x="1882330" y="3292412"/>
                    <a:pt x="1885093" y="3295174"/>
                    <a:pt x="1885093" y="3298603"/>
                  </a:cubicBezTo>
                  <a:cubicBezTo>
                    <a:pt x="1885093" y="3302032"/>
                    <a:pt x="1882330" y="3304795"/>
                    <a:pt x="1878901" y="3304795"/>
                  </a:cubicBezTo>
                  <a:cubicBezTo>
                    <a:pt x="1875472" y="3304795"/>
                    <a:pt x="1872710" y="3302032"/>
                    <a:pt x="1872710" y="3298603"/>
                  </a:cubicBezTo>
                  <a:cubicBezTo>
                    <a:pt x="1872710" y="3295174"/>
                    <a:pt x="1875472" y="3292412"/>
                    <a:pt x="1878901" y="3292412"/>
                  </a:cubicBezTo>
                  <a:close/>
                  <a:moveTo>
                    <a:pt x="1763172" y="3292221"/>
                  </a:moveTo>
                  <a:cubicBezTo>
                    <a:pt x="1766601" y="3292221"/>
                    <a:pt x="1769363" y="3294983"/>
                    <a:pt x="1769363" y="3298412"/>
                  </a:cubicBezTo>
                  <a:cubicBezTo>
                    <a:pt x="1769363" y="3301841"/>
                    <a:pt x="1766601" y="3304603"/>
                    <a:pt x="1763172" y="3304603"/>
                  </a:cubicBezTo>
                  <a:cubicBezTo>
                    <a:pt x="1759743" y="3304603"/>
                    <a:pt x="1756981" y="3301841"/>
                    <a:pt x="1756981" y="3298412"/>
                  </a:cubicBezTo>
                  <a:cubicBezTo>
                    <a:pt x="1756981" y="3294983"/>
                    <a:pt x="1759743" y="3292221"/>
                    <a:pt x="1763172" y="3292221"/>
                  </a:cubicBezTo>
                  <a:close/>
                  <a:moveTo>
                    <a:pt x="1340548" y="3291840"/>
                  </a:moveTo>
                  <a:cubicBezTo>
                    <a:pt x="1343977" y="3291840"/>
                    <a:pt x="1346740" y="3294602"/>
                    <a:pt x="1346740" y="3298031"/>
                  </a:cubicBezTo>
                  <a:cubicBezTo>
                    <a:pt x="1346740" y="3301460"/>
                    <a:pt x="1343977" y="3304223"/>
                    <a:pt x="1340548" y="3304223"/>
                  </a:cubicBezTo>
                  <a:cubicBezTo>
                    <a:pt x="1337119" y="3304223"/>
                    <a:pt x="1334357" y="3301460"/>
                    <a:pt x="1334357" y="3298031"/>
                  </a:cubicBezTo>
                  <a:cubicBezTo>
                    <a:pt x="1334357" y="3294602"/>
                    <a:pt x="1337119" y="3291840"/>
                    <a:pt x="1340548" y="3291840"/>
                  </a:cubicBezTo>
                  <a:close/>
                  <a:moveTo>
                    <a:pt x="2037016" y="3291650"/>
                  </a:moveTo>
                  <a:cubicBezTo>
                    <a:pt x="2040445" y="3291650"/>
                    <a:pt x="2043207" y="3294412"/>
                    <a:pt x="2043207" y="3297841"/>
                  </a:cubicBezTo>
                  <a:cubicBezTo>
                    <a:pt x="2043207" y="3301270"/>
                    <a:pt x="2040445" y="3304032"/>
                    <a:pt x="2037016" y="3304032"/>
                  </a:cubicBezTo>
                  <a:cubicBezTo>
                    <a:pt x="2033587" y="3304032"/>
                    <a:pt x="2030825" y="3301270"/>
                    <a:pt x="2030825" y="3297841"/>
                  </a:cubicBezTo>
                  <a:cubicBezTo>
                    <a:pt x="2030825" y="3294412"/>
                    <a:pt x="2033587" y="3291650"/>
                    <a:pt x="2037016" y="3291650"/>
                  </a:cubicBezTo>
                  <a:close/>
                  <a:moveTo>
                    <a:pt x="1859851" y="3291650"/>
                  </a:moveTo>
                  <a:cubicBezTo>
                    <a:pt x="1863280" y="3291650"/>
                    <a:pt x="1866043" y="3294412"/>
                    <a:pt x="1866043" y="3297841"/>
                  </a:cubicBezTo>
                  <a:cubicBezTo>
                    <a:pt x="1866043" y="3301270"/>
                    <a:pt x="1863280" y="3304032"/>
                    <a:pt x="1859851" y="3304032"/>
                  </a:cubicBezTo>
                  <a:cubicBezTo>
                    <a:pt x="1856422" y="3304032"/>
                    <a:pt x="1853660" y="3301270"/>
                    <a:pt x="1853660" y="3297841"/>
                  </a:cubicBezTo>
                  <a:cubicBezTo>
                    <a:pt x="1853660" y="3294412"/>
                    <a:pt x="1856422" y="3291650"/>
                    <a:pt x="1859851" y="3291650"/>
                  </a:cubicBezTo>
                  <a:close/>
                  <a:moveTo>
                    <a:pt x="2095690" y="3291554"/>
                  </a:moveTo>
                  <a:cubicBezTo>
                    <a:pt x="2098833" y="3291554"/>
                    <a:pt x="2101310" y="3294031"/>
                    <a:pt x="2101310" y="3297174"/>
                  </a:cubicBezTo>
                  <a:cubicBezTo>
                    <a:pt x="2101310" y="3300317"/>
                    <a:pt x="2098738" y="3302793"/>
                    <a:pt x="2095690" y="3302793"/>
                  </a:cubicBezTo>
                  <a:cubicBezTo>
                    <a:pt x="2092547" y="3302793"/>
                    <a:pt x="2090070" y="3300317"/>
                    <a:pt x="2090070" y="3297174"/>
                  </a:cubicBezTo>
                  <a:cubicBezTo>
                    <a:pt x="2090070" y="3294031"/>
                    <a:pt x="2092547" y="3291554"/>
                    <a:pt x="2095690" y="3291554"/>
                  </a:cubicBezTo>
                  <a:close/>
                  <a:moveTo>
                    <a:pt x="1266538" y="3291459"/>
                  </a:moveTo>
                  <a:cubicBezTo>
                    <a:pt x="1269777" y="3291459"/>
                    <a:pt x="1272444" y="3294126"/>
                    <a:pt x="1272444" y="3297365"/>
                  </a:cubicBezTo>
                  <a:cubicBezTo>
                    <a:pt x="1272444" y="3300603"/>
                    <a:pt x="1269777" y="3303270"/>
                    <a:pt x="1266538" y="3303270"/>
                  </a:cubicBezTo>
                  <a:cubicBezTo>
                    <a:pt x="1263300" y="3303270"/>
                    <a:pt x="1260633" y="3300603"/>
                    <a:pt x="1260633" y="3297365"/>
                  </a:cubicBezTo>
                  <a:cubicBezTo>
                    <a:pt x="1260633" y="3294126"/>
                    <a:pt x="1263300" y="3291459"/>
                    <a:pt x="1266538" y="3291459"/>
                  </a:cubicBezTo>
                  <a:close/>
                  <a:moveTo>
                    <a:pt x="1543621" y="3290697"/>
                  </a:moveTo>
                  <a:cubicBezTo>
                    <a:pt x="1547050" y="3290697"/>
                    <a:pt x="1549813" y="3293459"/>
                    <a:pt x="1549813" y="3296888"/>
                  </a:cubicBezTo>
                  <a:cubicBezTo>
                    <a:pt x="1549813" y="3300317"/>
                    <a:pt x="1547050" y="3303079"/>
                    <a:pt x="1543621" y="3303079"/>
                  </a:cubicBezTo>
                  <a:cubicBezTo>
                    <a:pt x="1540192" y="3303079"/>
                    <a:pt x="1537430" y="3300317"/>
                    <a:pt x="1537430" y="3296888"/>
                  </a:cubicBezTo>
                  <a:cubicBezTo>
                    <a:pt x="1537430" y="3293459"/>
                    <a:pt x="1540192" y="3290697"/>
                    <a:pt x="1543621" y="3290697"/>
                  </a:cubicBezTo>
                  <a:close/>
                  <a:moveTo>
                    <a:pt x="1839467" y="3290412"/>
                  </a:moveTo>
                  <a:cubicBezTo>
                    <a:pt x="1842896" y="3290412"/>
                    <a:pt x="1845659" y="3293174"/>
                    <a:pt x="1845659" y="3296603"/>
                  </a:cubicBezTo>
                  <a:cubicBezTo>
                    <a:pt x="1845659" y="3300032"/>
                    <a:pt x="1842896" y="3302794"/>
                    <a:pt x="1839467" y="3302794"/>
                  </a:cubicBezTo>
                  <a:cubicBezTo>
                    <a:pt x="1836038" y="3302794"/>
                    <a:pt x="1833276" y="3300032"/>
                    <a:pt x="1833276" y="3296603"/>
                  </a:cubicBezTo>
                  <a:cubicBezTo>
                    <a:pt x="1833276" y="3293174"/>
                    <a:pt x="1836038" y="3290412"/>
                    <a:pt x="1839467" y="3290412"/>
                  </a:cubicBezTo>
                  <a:close/>
                  <a:moveTo>
                    <a:pt x="1681257" y="3289935"/>
                  </a:moveTo>
                  <a:cubicBezTo>
                    <a:pt x="1684686" y="3289935"/>
                    <a:pt x="1687449" y="3292697"/>
                    <a:pt x="1687449" y="3296126"/>
                  </a:cubicBezTo>
                  <a:lnTo>
                    <a:pt x="1682495" y="3301079"/>
                  </a:lnTo>
                  <a:lnTo>
                    <a:pt x="1686592" y="3305175"/>
                  </a:lnTo>
                  <a:lnTo>
                    <a:pt x="1682924" y="3308843"/>
                  </a:lnTo>
                  <a:lnTo>
                    <a:pt x="1685734" y="3311652"/>
                  </a:lnTo>
                  <a:lnTo>
                    <a:pt x="1682734" y="3314653"/>
                  </a:lnTo>
                  <a:lnTo>
                    <a:pt x="1684972" y="3316891"/>
                  </a:lnTo>
                  <a:lnTo>
                    <a:pt x="1682115" y="3319748"/>
                  </a:lnTo>
                  <a:lnTo>
                    <a:pt x="1684306" y="3321939"/>
                  </a:lnTo>
                  <a:lnTo>
                    <a:pt x="1681162" y="3325083"/>
                  </a:lnTo>
                  <a:lnTo>
                    <a:pt x="1683734" y="3327654"/>
                  </a:lnTo>
                  <a:lnTo>
                    <a:pt x="1679828" y="3331559"/>
                  </a:lnTo>
                  <a:lnTo>
                    <a:pt x="1683258" y="3334988"/>
                  </a:lnTo>
                  <a:lnTo>
                    <a:pt x="1678257" y="3339989"/>
                  </a:lnTo>
                  <a:lnTo>
                    <a:pt x="1682782" y="3344513"/>
                  </a:lnTo>
                  <a:cubicBezTo>
                    <a:pt x="1682782" y="3347942"/>
                    <a:pt x="1680019" y="3350704"/>
                    <a:pt x="1676590" y="3350704"/>
                  </a:cubicBezTo>
                  <a:cubicBezTo>
                    <a:pt x="1673161" y="3350704"/>
                    <a:pt x="1670399" y="3347942"/>
                    <a:pt x="1670399" y="3344513"/>
                  </a:cubicBezTo>
                  <a:lnTo>
                    <a:pt x="1675400" y="3339513"/>
                  </a:lnTo>
                  <a:lnTo>
                    <a:pt x="1670875" y="3334988"/>
                  </a:lnTo>
                  <a:lnTo>
                    <a:pt x="1674780" y="3331083"/>
                  </a:lnTo>
                  <a:lnTo>
                    <a:pt x="1671351" y="3327654"/>
                  </a:lnTo>
                  <a:lnTo>
                    <a:pt x="1674495" y="3324511"/>
                  </a:lnTo>
                  <a:lnTo>
                    <a:pt x="1671923" y="3321939"/>
                  </a:lnTo>
                  <a:lnTo>
                    <a:pt x="1674781" y="3319082"/>
                  </a:lnTo>
                  <a:lnTo>
                    <a:pt x="1672590" y="3316891"/>
                  </a:lnTo>
                  <a:lnTo>
                    <a:pt x="1675590" y="3313891"/>
                  </a:lnTo>
                  <a:lnTo>
                    <a:pt x="1673351" y="3311652"/>
                  </a:lnTo>
                  <a:lnTo>
                    <a:pt x="1677018" y="3307985"/>
                  </a:lnTo>
                  <a:lnTo>
                    <a:pt x="1674209" y="3305175"/>
                  </a:lnTo>
                  <a:lnTo>
                    <a:pt x="1679162" y="3300222"/>
                  </a:lnTo>
                  <a:lnTo>
                    <a:pt x="1675066" y="3296126"/>
                  </a:lnTo>
                  <a:cubicBezTo>
                    <a:pt x="1675066" y="3292697"/>
                    <a:pt x="1677828" y="3289935"/>
                    <a:pt x="1681257" y="3289935"/>
                  </a:cubicBezTo>
                  <a:close/>
                  <a:moveTo>
                    <a:pt x="1624488" y="3289554"/>
                  </a:moveTo>
                  <a:cubicBezTo>
                    <a:pt x="1627917" y="3289554"/>
                    <a:pt x="1630680" y="3292316"/>
                    <a:pt x="1630680" y="3295745"/>
                  </a:cubicBezTo>
                  <a:lnTo>
                    <a:pt x="1627441" y="3298984"/>
                  </a:lnTo>
                  <a:lnTo>
                    <a:pt x="1633252" y="3304794"/>
                  </a:lnTo>
                  <a:lnTo>
                    <a:pt x="1631108" y="3306938"/>
                  </a:lnTo>
                  <a:lnTo>
                    <a:pt x="1635442" y="3311271"/>
                  </a:lnTo>
                  <a:lnTo>
                    <a:pt x="1633775" y="3312938"/>
                  </a:lnTo>
                  <a:lnTo>
                    <a:pt x="1637443" y="3316605"/>
                  </a:lnTo>
                  <a:lnTo>
                    <a:pt x="1635871" y="3318177"/>
                  </a:lnTo>
                  <a:lnTo>
                    <a:pt x="1639253" y="3321558"/>
                  </a:lnTo>
                  <a:lnTo>
                    <a:pt x="1637110" y="3323701"/>
                  </a:lnTo>
                  <a:lnTo>
                    <a:pt x="1640872" y="3327463"/>
                  </a:lnTo>
                  <a:lnTo>
                    <a:pt x="1637918" y="3330417"/>
                  </a:lnTo>
                  <a:lnTo>
                    <a:pt x="1642300" y="3334798"/>
                  </a:lnTo>
                  <a:lnTo>
                    <a:pt x="1638156" y="3338941"/>
                  </a:lnTo>
                  <a:lnTo>
                    <a:pt x="1643539" y="3344323"/>
                  </a:lnTo>
                  <a:cubicBezTo>
                    <a:pt x="1643539" y="3347752"/>
                    <a:pt x="1640776" y="3350514"/>
                    <a:pt x="1637347" y="3350514"/>
                  </a:cubicBezTo>
                  <a:cubicBezTo>
                    <a:pt x="1633918" y="3350514"/>
                    <a:pt x="1631156" y="3347752"/>
                    <a:pt x="1631156" y="3344323"/>
                  </a:cubicBezTo>
                  <a:lnTo>
                    <a:pt x="1635299" y="3340180"/>
                  </a:lnTo>
                  <a:lnTo>
                    <a:pt x="1629917" y="3334798"/>
                  </a:lnTo>
                  <a:lnTo>
                    <a:pt x="1632870" y="3331845"/>
                  </a:lnTo>
                  <a:lnTo>
                    <a:pt x="1628489" y="3327463"/>
                  </a:lnTo>
                  <a:lnTo>
                    <a:pt x="1630632" y="3325320"/>
                  </a:lnTo>
                  <a:lnTo>
                    <a:pt x="1626870" y="3321558"/>
                  </a:lnTo>
                  <a:lnTo>
                    <a:pt x="1628442" y="3319987"/>
                  </a:lnTo>
                  <a:lnTo>
                    <a:pt x="1625060" y="3316605"/>
                  </a:lnTo>
                  <a:lnTo>
                    <a:pt x="1626727" y="3314939"/>
                  </a:lnTo>
                  <a:lnTo>
                    <a:pt x="1623059" y="3311271"/>
                  </a:lnTo>
                  <a:lnTo>
                    <a:pt x="1625202" y="3309128"/>
                  </a:lnTo>
                  <a:lnTo>
                    <a:pt x="1620869" y="3304794"/>
                  </a:lnTo>
                  <a:lnTo>
                    <a:pt x="1624108" y="3301556"/>
                  </a:lnTo>
                  <a:lnTo>
                    <a:pt x="1618297" y="3295745"/>
                  </a:lnTo>
                  <a:cubicBezTo>
                    <a:pt x="1618297" y="3292316"/>
                    <a:pt x="1621059" y="3289554"/>
                    <a:pt x="1624488" y="3289554"/>
                  </a:cubicBezTo>
                  <a:close/>
                  <a:moveTo>
                    <a:pt x="1430464" y="3289459"/>
                  </a:moveTo>
                  <a:cubicBezTo>
                    <a:pt x="1433893" y="3289459"/>
                    <a:pt x="1436656" y="3292221"/>
                    <a:pt x="1436656" y="3295650"/>
                  </a:cubicBezTo>
                  <a:lnTo>
                    <a:pt x="1431131" y="3301175"/>
                  </a:lnTo>
                  <a:lnTo>
                    <a:pt x="1432750" y="3302794"/>
                  </a:lnTo>
                  <a:lnTo>
                    <a:pt x="1426702" y="3308842"/>
                  </a:lnTo>
                  <a:lnTo>
                    <a:pt x="1429036" y="3311176"/>
                  </a:lnTo>
                  <a:cubicBezTo>
                    <a:pt x="1429036" y="3314605"/>
                    <a:pt x="1426273" y="3317367"/>
                    <a:pt x="1422844" y="3317367"/>
                  </a:cubicBezTo>
                  <a:cubicBezTo>
                    <a:pt x="1419415" y="3317367"/>
                    <a:pt x="1416653" y="3314605"/>
                    <a:pt x="1416653" y="3311176"/>
                  </a:cubicBezTo>
                  <a:lnTo>
                    <a:pt x="1422701" y="3305128"/>
                  </a:lnTo>
                  <a:lnTo>
                    <a:pt x="1420367" y="3302794"/>
                  </a:lnTo>
                  <a:lnTo>
                    <a:pt x="1425892" y="3297269"/>
                  </a:lnTo>
                  <a:lnTo>
                    <a:pt x="1424273" y="3295650"/>
                  </a:lnTo>
                  <a:cubicBezTo>
                    <a:pt x="1424273" y="3292221"/>
                    <a:pt x="1427035" y="3289459"/>
                    <a:pt x="1430464" y="3289459"/>
                  </a:cubicBezTo>
                  <a:close/>
                  <a:moveTo>
                    <a:pt x="2025300" y="3289364"/>
                  </a:moveTo>
                  <a:cubicBezTo>
                    <a:pt x="2028729" y="3289364"/>
                    <a:pt x="2031492" y="3292126"/>
                    <a:pt x="2031492" y="3295555"/>
                  </a:cubicBezTo>
                  <a:cubicBezTo>
                    <a:pt x="2031492" y="3298984"/>
                    <a:pt x="2028729" y="3301747"/>
                    <a:pt x="2025300" y="3301747"/>
                  </a:cubicBezTo>
                  <a:cubicBezTo>
                    <a:pt x="2021871" y="3301747"/>
                    <a:pt x="2019109" y="3298984"/>
                    <a:pt x="2019109" y="3295555"/>
                  </a:cubicBezTo>
                  <a:cubicBezTo>
                    <a:pt x="2019109" y="3292126"/>
                    <a:pt x="2021871" y="3289364"/>
                    <a:pt x="2025300" y="3289364"/>
                  </a:cubicBezTo>
                  <a:close/>
                  <a:moveTo>
                    <a:pt x="1448752" y="3288887"/>
                  </a:moveTo>
                  <a:cubicBezTo>
                    <a:pt x="1452181" y="3288887"/>
                    <a:pt x="1454944" y="3291649"/>
                    <a:pt x="1454944" y="3295078"/>
                  </a:cubicBezTo>
                  <a:cubicBezTo>
                    <a:pt x="1454944" y="3298507"/>
                    <a:pt x="1452181" y="3301269"/>
                    <a:pt x="1448752" y="3301269"/>
                  </a:cubicBezTo>
                  <a:cubicBezTo>
                    <a:pt x="1445323" y="3301269"/>
                    <a:pt x="1442561" y="3298507"/>
                    <a:pt x="1442561" y="3295078"/>
                  </a:cubicBezTo>
                  <a:cubicBezTo>
                    <a:pt x="1442561" y="3291649"/>
                    <a:pt x="1445323" y="3288887"/>
                    <a:pt x="1448752" y="3288887"/>
                  </a:cubicBezTo>
                  <a:close/>
                  <a:moveTo>
                    <a:pt x="1738026" y="3288602"/>
                  </a:moveTo>
                  <a:cubicBezTo>
                    <a:pt x="1741455" y="3288602"/>
                    <a:pt x="1744217" y="3291364"/>
                    <a:pt x="1744217" y="3294793"/>
                  </a:cubicBezTo>
                  <a:cubicBezTo>
                    <a:pt x="1744217" y="3298222"/>
                    <a:pt x="1741455" y="3300984"/>
                    <a:pt x="1738026" y="3300984"/>
                  </a:cubicBezTo>
                  <a:cubicBezTo>
                    <a:pt x="1734597" y="3300984"/>
                    <a:pt x="1731835" y="3298222"/>
                    <a:pt x="1731835" y="3294793"/>
                  </a:cubicBezTo>
                  <a:cubicBezTo>
                    <a:pt x="1731835" y="3291364"/>
                    <a:pt x="1734597" y="3288602"/>
                    <a:pt x="1738026" y="3288602"/>
                  </a:cubicBezTo>
                  <a:close/>
                  <a:moveTo>
                    <a:pt x="1817750" y="3288411"/>
                  </a:moveTo>
                  <a:cubicBezTo>
                    <a:pt x="1821179" y="3288411"/>
                    <a:pt x="1823942" y="3291173"/>
                    <a:pt x="1823942" y="3294602"/>
                  </a:cubicBezTo>
                  <a:cubicBezTo>
                    <a:pt x="1823942" y="3298031"/>
                    <a:pt x="1821179" y="3300793"/>
                    <a:pt x="1817750" y="3300793"/>
                  </a:cubicBezTo>
                  <a:cubicBezTo>
                    <a:pt x="1814321" y="3300793"/>
                    <a:pt x="1811559" y="3298031"/>
                    <a:pt x="1811559" y="3294602"/>
                  </a:cubicBezTo>
                  <a:cubicBezTo>
                    <a:pt x="1811559" y="3291173"/>
                    <a:pt x="1814321" y="3288411"/>
                    <a:pt x="1817750" y="3288411"/>
                  </a:cubicBezTo>
                  <a:close/>
                  <a:moveTo>
                    <a:pt x="1277492" y="3288030"/>
                  </a:moveTo>
                  <a:cubicBezTo>
                    <a:pt x="1280921" y="3288030"/>
                    <a:pt x="1283684" y="3290792"/>
                    <a:pt x="1283684" y="3294221"/>
                  </a:cubicBezTo>
                  <a:cubicBezTo>
                    <a:pt x="1283684" y="3297650"/>
                    <a:pt x="1280921" y="3300412"/>
                    <a:pt x="1277492" y="3300412"/>
                  </a:cubicBezTo>
                  <a:cubicBezTo>
                    <a:pt x="1274063" y="3300412"/>
                    <a:pt x="1271301" y="3297650"/>
                    <a:pt x="1271301" y="3294221"/>
                  </a:cubicBezTo>
                  <a:cubicBezTo>
                    <a:pt x="1271301" y="3290792"/>
                    <a:pt x="1274063" y="3288030"/>
                    <a:pt x="1277492" y="3288030"/>
                  </a:cubicBezTo>
                  <a:close/>
                  <a:moveTo>
                    <a:pt x="1468278" y="3287840"/>
                  </a:moveTo>
                  <a:cubicBezTo>
                    <a:pt x="1471707" y="3287840"/>
                    <a:pt x="1474470" y="3290602"/>
                    <a:pt x="1474470" y="3294031"/>
                  </a:cubicBezTo>
                  <a:cubicBezTo>
                    <a:pt x="1474470" y="3297460"/>
                    <a:pt x="1471707" y="3300222"/>
                    <a:pt x="1468278" y="3300222"/>
                  </a:cubicBezTo>
                  <a:cubicBezTo>
                    <a:pt x="1464849" y="3300222"/>
                    <a:pt x="1462087" y="3297460"/>
                    <a:pt x="1462087" y="3294031"/>
                  </a:cubicBezTo>
                  <a:cubicBezTo>
                    <a:pt x="1462087" y="3290602"/>
                    <a:pt x="1464849" y="3287840"/>
                    <a:pt x="1468278" y="3287840"/>
                  </a:cubicBezTo>
                  <a:close/>
                  <a:moveTo>
                    <a:pt x="2013299" y="3287745"/>
                  </a:moveTo>
                  <a:cubicBezTo>
                    <a:pt x="2016728" y="3287745"/>
                    <a:pt x="2019491" y="3290507"/>
                    <a:pt x="2019491" y="3293936"/>
                  </a:cubicBezTo>
                  <a:cubicBezTo>
                    <a:pt x="2019491" y="3297365"/>
                    <a:pt x="2016728" y="3300127"/>
                    <a:pt x="2013299" y="3300127"/>
                  </a:cubicBezTo>
                  <a:cubicBezTo>
                    <a:pt x="2009870" y="3300127"/>
                    <a:pt x="2007108" y="3297365"/>
                    <a:pt x="2007108" y="3293936"/>
                  </a:cubicBezTo>
                  <a:cubicBezTo>
                    <a:pt x="2007108" y="3290507"/>
                    <a:pt x="2009870" y="3287745"/>
                    <a:pt x="2013299" y="3287745"/>
                  </a:cubicBezTo>
                  <a:close/>
                  <a:moveTo>
                    <a:pt x="1567910" y="3287268"/>
                  </a:moveTo>
                  <a:cubicBezTo>
                    <a:pt x="1571339" y="3287268"/>
                    <a:pt x="1574101" y="3290030"/>
                    <a:pt x="1574101" y="3293459"/>
                  </a:cubicBezTo>
                  <a:cubicBezTo>
                    <a:pt x="1574101" y="3296888"/>
                    <a:pt x="1571339" y="3299651"/>
                    <a:pt x="1567910" y="3299651"/>
                  </a:cubicBezTo>
                  <a:cubicBezTo>
                    <a:pt x="1564481" y="3299651"/>
                    <a:pt x="1561719" y="3296888"/>
                    <a:pt x="1561719" y="3293459"/>
                  </a:cubicBezTo>
                  <a:cubicBezTo>
                    <a:pt x="1561719" y="3290030"/>
                    <a:pt x="1564481" y="3287268"/>
                    <a:pt x="1567910" y="3287268"/>
                  </a:cubicBezTo>
                  <a:close/>
                  <a:moveTo>
                    <a:pt x="2085403" y="3286982"/>
                  </a:moveTo>
                  <a:cubicBezTo>
                    <a:pt x="2088832" y="3286982"/>
                    <a:pt x="2091595" y="3289744"/>
                    <a:pt x="2091595" y="3293173"/>
                  </a:cubicBezTo>
                  <a:cubicBezTo>
                    <a:pt x="2091595" y="3296602"/>
                    <a:pt x="2088832" y="3299365"/>
                    <a:pt x="2085403" y="3299365"/>
                  </a:cubicBezTo>
                  <a:cubicBezTo>
                    <a:pt x="2081974" y="3299365"/>
                    <a:pt x="2079212" y="3296602"/>
                    <a:pt x="2079212" y="3293173"/>
                  </a:cubicBezTo>
                  <a:cubicBezTo>
                    <a:pt x="2079212" y="3289744"/>
                    <a:pt x="2081974" y="3286982"/>
                    <a:pt x="2085403" y="3286982"/>
                  </a:cubicBezTo>
                  <a:close/>
                  <a:moveTo>
                    <a:pt x="2000725" y="3286697"/>
                  </a:moveTo>
                  <a:cubicBezTo>
                    <a:pt x="2004154" y="3286697"/>
                    <a:pt x="2006917" y="3289459"/>
                    <a:pt x="2006917" y="3292888"/>
                  </a:cubicBezTo>
                  <a:cubicBezTo>
                    <a:pt x="2006917" y="3296317"/>
                    <a:pt x="2004154" y="3299080"/>
                    <a:pt x="2000725" y="3299080"/>
                  </a:cubicBezTo>
                  <a:cubicBezTo>
                    <a:pt x="1997296" y="3299080"/>
                    <a:pt x="1994534" y="3296317"/>
                    <a:pt x="1994534" y="3292888"/>
                  </a:cubicBezTo>
                  <a:cubicBezTo>
                    <a:pt x="1994534" y="3289459"/>
                    <a:pt x="1997296" y="3286697"/>
                    <a:pt x="2000725" y="3286697"/>
                  </a:cubicBezTo>
                  <a:close/>
                  <a:moveTo>
                    <a:pt x="1489233" y="3286030"/>
                  </a:moveTo>
                  <a:cubicBezTo>
                    <a:pt x="1492662" y="3286030"/>
                    <a:pt x="1495425" y="3288792"/>
                    <a:pt x="1495425" y="3292221"/>
                  </a:cubicBezTo>
                  <a:cubicBezTo>
                    <a:pt x="1495425" y="3295650"/>
                    <a:pt x="1492662" y="3298412"/>
                    <a:pt x="1489233" y="3298412"/>
                  </a:cubicBezTo>
                  <a:cubicBezTo>
                    <a:pt x="1485804" y="3298412"/>
                    <a:pt x="1483042" y="3295650"/>
                    <a:pt x="1483042" y="3292221"/>
                  </a:cubicBezTo>
                  <a:cubicBezTo>
                    <a:pt x="1483042" y="3288792"/>
                    <a:pt x="1485804" y="3286030"/>
                    <a:pt x="1489233" y="3286030"/>
                  </a:cubicBezTo>
                  <a:close/>
                  <a:moveTo>
                    <a:pt x="1288636" y="3285649"/>
                  </a:moveTo>
                  <a:cubicBezTo>
                    <a:pt x="1292065" y="3285649"/>
                    <a:pt x="1294828" y="3288411"/>
                    <a:pt x="1294828" y="3291840"/>
                  </a:cubicBezTo>
                  <a:cubicBezTo>
                    <a:pt x="1294828" y="3295269"/>
                    <a:pt x="1292065" y="3298031"/>
                    <a:pt x="1288636" y="3298031"/>
                  </a:cubicBezTo>
                  <a:cubicBezTo>
                    <a:pt x="1285207" y="3298031"/>
                    <a:pt x="1282445" y="3295269"/>
                    <a:pt x="1282445" y="3291840"/>
                  </a:cubicBezTo>
                  <a:cubicBezTo>
                    <a:pt x="1282445" y="3288411"/>
                    <a:pt x="1285207" y="3285649"/>
                    <a:pt x="1288636" y="3285649"/>
                  </a:cubicBezTo>
                  <a:close/>
                  <a:moveTo>
                    <a:pt x="1794509" y="3285363"/>
                  </a:moveTo>
                  <a:cubicBezTo>
                    <a:pt x="1797938" y="3285363"/>
                    <a:pt x="1800701" y="3288125"/>
                    <a:pt x="1800701" y="3291554"/>
                  </a:cubicBezTo>
                  <a:cubicBezTo>
                    <a:pt x="1800701" y="3294983"/>
                    <a:pt x="1797938" y="3297745"/>
                    <a:pt x="1794509" y="3297745"/>
                  </a:cubicBezTo>
                  <a:cubicBezTo>
                    <a:pt x="1791080" y="3297745"/>
                    <a:pt x="1788318" y="3294983"/>
                    <a:pt x="1788318" y="3291554"/>
                  </a:cubicBezTo>
                  <a:cubicBezTo>
                    <a:pt x="1788318" y="3288125"/>
                    <a:pt x="1791080" y="3285363"/>
                    <a:pt x="1794509" y="3285363"/>
                  </a:cubicBezTo>
                  <a:close/>
                  <a:moveTo>
                    <a:pt x="1910333" y="3285268"/>
                  </a:moveTo>
                  <a:cubicBezTo>
                    <a:pt x="1913762" y="3285268"/>
                    <a:pt x="1916525" y="3288030"/>
                    <a:pt x="1916525" y="3291459"/>
                  </a:cubicBezTo>
                  <a:lnTo>
                    <a:pt x="1914334" y="3293650"/>
                  </a:lnTo>
                  <a:lnTo>
                    <a:pt x="1919859" y="3299174"/>
                  </a:lnTo>
                  <a:lnTo>
                    <a:pt x="1917525" y="3301508"/>
                  </a:lnTo>
                  <a:lnTo>
                    <a:pt x="1922907" y="3306889"/>
                  </a:lnTo>
                  <a:cubicBezTo>
                    <a:pt x="1922907" y="3310318"/>
                    <a:pt x="1920144" y="3313081"/>
                    <a:pt x="1916715" y="3313081"/>
                  </a:cubicBezTo>
                  <a:cubicBezTo>
                    <a:pt x="1913286" y="3313081"/>
                    <a:pt x="1910524" y="3310318"/>
                    <a:pt x="1910524" y="3306889"/>
                  </a:cubicBezTo>
                  <a:lnTo>
                    <a:pt x="1912857" y="3304556"/>
                  </a:lnTo>
                  <a:lnTo>
                    <a:pt x="1907476" y="3299174"/>
                  </a:lnTo>
                  <a:lnTo>
                    <a:pt x="1909666" y="3296984"/>
                  </a:lnTo>
                  <a:lnTo>
                    <a:pt x="1904142" y="3291459"/>
                  </a:lnTo>
                  <a:cubicBezTo>
                    <a:pt x="1904142" y="3288030"/>
                    <a:pt x="1906904" y="3285268"/>
                    <a:pt x="1910333" y="3285268"/>
                  </a:cubicBezTo>
                  <a:close/>
                  <a:moveTo>
                    <a:pt x="2131504" y="3285078"/>
                  </a:moveTo>
                  <a:cubicBezTo>
                    <a:pt x="2133766" y="3285078"/>
                    <a:pt x="2135600" y="3286912"/>
                    <a:pt x="2135600" y="3289174"/>
                  </a:cubicBezTo>
                  <a:cubicBezTo>
                    <a:pt x="2135600" y="3291436"/>
                    <a:pt x="2133766" y="3293269"/>
                    <a:pt x="2131504" y="3293269"/>
                  </a:cubicBezTo>
                  <a:cubicBezTo>
                    <a:pt x="2129242" y="3293269"/>
                    <a:pt x="2127408" y="3291436"/>
                    <a:pt x="2127408" y="3289174"/>
                  </a:cubicBezTo>
                  <a:cubicBezTo>
                    <a:pt x="2127408" y="3286912"/>
                    <a:pt x="2129242" y="3285078"/>
                    <a:pt x="2131504" y="3285078"/>
                  </a:cubicBezTo>
                  <a:close/>
                  <a:moveTo>
                    <a:pt x="1229677" y="3284982"/>
                  </a:moveTo>
                  <a:cubicBezTo>
                    <a:pt x="1232059" y="3284982"/>
                    <a:pt x="1233964" y="3286887"/>
                    <a:pt x="1233964" y="3289268"/>
                  </a:cubicBezTo>
                  <a:cubicBezTo>
                    <a:pt x="1233964" y="3291650"/>
                    <a:pt x="1232059" y="3293554"/>
                    <a:pt x="1229677" y="3293554"/>
                  </a:cubicBezTo>
                  <a:cubicBezTo>
                    <a:pt x="1227296" y="3293554"/>
                    <a:pt x="1225391" y="3291650"/>
                    <a:pt x="1225391" y="3289268"/>
                  </a:cubicBezTo>
                  <a:cubicBezTo>
                    <a:pt x="1225391" y="3286887"/>
                    <a:pt x="1227296" y="3284982"/>
                    <a:pt x="1229677" y="3284982"/>
                  </a:cubicBezTo>
                  <a:close/>
                  <a:moveTo>
                    <a:pt x="1891760" y="3284411"/>
                  </a:moveTo>
                  <a:cubicBezTo>
                    <a:pt x="1895189" y="3284411"/>
                    <a:pt x="1897951" y="3287173"/>
                    <a:pt x="1897951" y="3290602"/>
                  </a:cubicBezTo>
                  <a:cubicBezTo>
                    <a:pt x="1897951" y="3294031"/>
                    <a:pt x="1895189" y="3296793"/>
                    <a:pt x="1891760" y="3296793"/>
                  </a:cubicBezTo>
                  <a:cubicBezTo>
                    <a:pt x="1888331" y="3296793"/>
                    <a:pt x="1885569" y="3294031"/>
                    <a:pt x="1885569" y="3290602"/>
                  </a:cubicBezTo>
                  <a:cubicBezTo>
                    <a:pt x="1885569" y="3287173"/>
                    <a:pt x="1888331" y="3284411"/>
                    <a:pt x="1891760" y="3284411"/>
                  </a:cubicBezTo>
                  <a:close/>
                  <a:moveTo>
                    <a:pt x="1652491" y="3284125"/>
                  </a:moveTo>
                  <a:cubicBezTo>
                    <a:pt x="1655920" y="3284125"/>
                    <a:pt x="1658683" y="3286887"/>
                    <a:pt x="1658683" y="3290316"/>
                  </a:cubicBezTo>
                  <a:lnTo>
                    <a:pt x="1653730" y="3295269"/>
                  </a:lnTo>
                  <a:lnTo>
                    <a:pt x="1659541" y="3301079"/>
                  </a:lnTo>
                  <a:lnTo>
                    <a:pt x="1656111" y="3304508"/>
                  </a:lnTo>
                  <a:lnTo>
                    <a:pt x="1660208" y="3308604"/>
                  </a:lnTo>
                  <a:lnTo>
                    <a:pt x="1657731" y="3311081"/>
                  </a:lnTo>
                  <a:lnTo>
                    <a:pt x="1660970" y="3314319"/>
                  </a:lnTo>
                  <a:lnTo>
                    <a:pt x="1658731" y="3316558"/>
                  </a:lnTo>
                  <a:lnTo>
                    <a:pt x="1661541" y="3319367"/>
                  </a:lnTo>
                  <a:lnTo>
                    <a:pt x="1659159" y="3321749"/>
                  </a:lnTo>
                  <a:lnTo>
                    <a:pt x="1662112" y="3324701"/>
                  </a:lnTo>
                  <a:lnTo>
                    <a:pt x="1659159" y="3327654"/>
                  </a:lnTo>
                  <a:lnTo>
                    <a:pt x="1662589" y="3331083"/>
                  </a:lnTo>
                  <a:lnTo>
                    <a:pt x="1658635" y="3335036"/>
                  </a:lnTo>
                  <a:lnTo>
                    <a:pt x="1662969" y="3339370"/>
                  </a:lnTo>
                  <a:cubicBezTo>
                    <a:pt x="1662969" y="3342789"/>
                    <a:pt x="1660198" y="3345561"/>
                    <a:pt x="1656778" y="3345561"/>
                  </a:cubicBezTo>
                  <a:cubicBezTo>
                    <a:pt x="1653359" y="3345561"/>
                    <a:pt x="1650587" y="3342789"/>
                    <a:pt x="1650587" y="3339370"/>
                  </a:cubicBezTo>
                  <a:lnTo>
                    <a:pt x="1654540" y="3335417"/>
                  </a:lnTo>
                  <a:lnTo>
                    <a:pt x="1650206" y="3331083"/>
                  </a:lnTo>
                  <a:lnTo>
                    <a:pt x="1653159" y="3328131"/>
                  </a:lnTo>
                  <a:lnTo>
                    <a:pt x="1649729" y="3324701"/>
                  </a:lnTo>
                  <a:lnTo>
                    <a:pt x="1652110" y="3322320"/>
                  </a:lnTo>
                  <a:lnTo>
                    <a:pt x="1649158" y="3319367"/>
                  </a:lnTo>
                  <a:lnTo>
                    <a:pt x="1651396" y="3317129"/>
                  </a:lnTo>
                  <a:lnTo>
                    <a:pt x="1648587" y="3314319"/>
                  </a:lnTo>
                  <a:lnTo>
                    <a:pt x="1651064" y="3311843"/>
                  </a:lnTo>
                  <a:lnTo>
                    <a:pt x="1647825" y="3308604"/>
                  </a:lnTo>
                  <a:lnTo>
                    <a:pt x="1651254" y="3305175"/>
                  </a:lnTo>
                  <a:lnTo>
                    <a:pt x="1647158" y="3301079"/>
                  </a:lnTo>
                  <a:lnTo>
                    <a:pt x="1652111" y="3296127"/>
                  </a:lnTo>
                  <a:lnTo>
                    <a:pt x="1646300" y="3290316"/>
                  </a:lnTo>
                  <a:cubicBezTo>
                    <a:pt x="1646300" y="3286887"/>
                    <a:pt x="1649062" y="3284125"/>
                    <a:pt x="1652491" y="3284125"/>
                  </a:cubicBezTo>
                  <a:close/>
                  <a:moveTo>
                    <a:pt x="1300257" y="3283935"/>
                  </a:moveTo>
                  <a:cubicBezTo>
                    <a:pt x="1303686" y="3283935"/>
                    <a:pt x="1306449" y="3286697"/>
                    <a:pt x="1306449" y="3290126"/>
                  </a:cubicBezTo>
                  <a:cubicBezTo>
                    <a:pt x="1306449" y="3293555"/>
                    <a:pt x="1303686" y="3296317"/>
                    <a:pt x="1300257" y="3296317"/>
                  </a:cubicBezTo>
                  <a:cubicBezTo>
                    <a:pt x="1296828" y="3296317"/>
                    <a:pt x="1294066" y="3293555"/>
                    <a:pt x="1294066" y="3290126"/>
                  </a:cubicBezTo>
                  <a:cubicBezTo>
                    <a:pt x="1294066" y="3286697"/>
                    <a:pt x="1296828" y="3283935"/>
                    <a:pt x="1300257" y="3283935"/>
                  </a:cubicBezTo>
                  <a:close/>
                  <a:moveTo>
                    <a:pt x="2075020" y="3283649"/>
                  </a:moveTo>
                  <a:cubicBezTo>
                    <a:pt x="2078449" y="3283649"/>
                    <a:pt x="2081212" y="3286411"/>
                    <a:pt x="2081212" y="3289840"/>
                  </a:cubicBezTo>
                  <a:cubicBezTo>
                    <a:pt x="2081212" y="3293269"/>
                    <a:pt x="2078449" y="3296031"/>
                    <a:pt x="2075020" y="3296031"/>
                  </a:cubicBezTo>
                  <a:cubicBezTo>
                    <a:pt x="2071591" y="3296031"/>
                    <a:pt x="2068829" y="3293269"/>
                    <a:pt x="2068829" y="3289840"/>
                  </a:cubicBezTo>
                  <a:cubicBezTo>
                    <a:pt x="2068829" y="3286411"/>
                    <a:pt x="2071591" y="3283649"/>
                    <a:pt x="2075020" y="3283649"/>
                  </a:cubicBezTo>
                  <a:close/>
                  <a:moveTo>
                    <a:pt x="1711070" y="3283554"/>
                  </a:moveTo>
                  <a:cubicBezTo>
                    <a:pt x="1714499" y="3283554"/>
                    <a:pt x="1717261" y="3286316"/>
                    <a:pt x="1717261" y="3289745"/>
                  </a:cubicBezTo>
                  <a:cubicBezTo>
                    <a:pt x="1717261" y="3293174"/>
                    <a:pt x="1714499" y="3295936"/>
                    <a:pt x="1711070" y="3295936"/>
                  </a:cubicBezTo>
                  <a:cubicBezTo>
                    <a:pt x="1707641" y="3295936"/>
                    <a:pt x="1704879" y="3293174"/>
                    <a:pt x="1704879" y="3289745"/>
                  </a:cubicBezTo>
                  <a:cubicBezTo>
                    <a:pt x="1704879" y="3286316"/>
                    <a:pt x="1707641" y="3283554"/>
                    <a:pt x="1711070" y="3283554"/>
                  </a:cubicBezTo>
                  <a:close/>
                  <a:moveTo>
                    <a:pt x="1511617" y="3283363"/>
                  </a:moveTo>
                  <a:cubicBezTo>
                    <a:pt x="1515046" y="3283363"/>
                    <a:pt x="1517809" y="3286125"/>
                    <a:pt x="1517809" y="3289554"/>
                  </a:cubicBezTo>
                  <a:cubicBezTo>
                    <a:pt x="1517809" y="3292983"/>
                    <a:pt x="1515046" y="3295745"/>
                    <a:pt x="1511617" y="3295745"/>
                  </a:cubicBezTo>
                  <a:cubicBezTo>
                    <a:pt x="1508188" y="3295745"/>
                    <a:pt x="1505426" y="3292983"/>
                    <a:pt x="1505426" y="3289554"/>
                  </a:cubicBezTo>
                  <a:cubicBezTo>
                    <a:pt x="1505426" y="3286125"/>
                    <a:pt x="1508188" y="3283363"/>
                    <a:pt x="1511617" y="3283363"/>
                  </a:cubicBezTo>
                  <a:close/>
                  <a:moveTo>
                    <a:pt x="1871852" y="3282887"/>
                  </a:moveTo>
                  <a:cubicBezTo>
                    <a:pt x="1875281" y="3282887"/>
                    <a:pt x="1878044" y="3285649"/>
                    <a:pt x="1878044" y="3289078"/>
                  </a:cubicBezTo>
                  <a:cubicBezTo>
                    <a:pt x="1878044" y="3292507"/>
                    <a:pt x="1875281" y="3295270"/>
                    <a:pt x="1871852" y="3295270"/>
                  </a:cubicBezTo>
                  <a:cubicBezTo>
                    <a:pt x="1868423" y="3295270"/>
                    <a:pt x="1865661" y="3292507"/>
                    <a:pt x="1865661" y="3289078"/>
                  </a:cubicBezTo>
                  <a:cubicBezTo>
                    <a:pt x="1865661" y="3285649"/>
                    <a:pt x="1868423" y="3282887"/>
                    <a:pt x="1871852" y="3282887"/>
                  </a:cubicBezTo>
                  <a:close/>
                  <a:moveTo>
                    <a:pt x="1312258" y="3282887"/>
                  </a:moveTo>
                  <a:cubicBezTo>
                    <a:pt x="1315687" y="3282887"/>
                    <a:pt x="1318450" y="3285649"/>
                    <a:pt x="1318450" y="3289078"/>
                  </a:cubicBezTo>
                  <a:cubicBezTo>
                    <a:pt x="1318450" y="3292507"/>
                    <a:pt x="1315687" y="3295270"/>
                    <a:pt x="1312258" y="3295270"/>
                  </a:cubicBezTo>
                  <a:cubicBezTo>
                    <a:pt x="1308829" y="3295270"/>
                    <a:pt x="1306067" y="3292507"/>
                    <a:pt x="1306067" y="3289078"/>
                  </a:cubicBezTo>
                  <a:cubicBezTo>
                    <a:pt x="1306067" y="3285649"/>
                    <a:pt x="1308829" y="3282887"/>
                    <a:pt x="1312258" y="3282887"/>
                  </a:cubicBezTo>
                  <a:close/>
                  <a:moveTo>
                    <a:pt x="1593913" y="3282696"/>
                  </a:moveTo>
                  <a:cubicBezTo>
                    <a:pt x="1597342" y="3282696"/>
                    <a:pt x="1600105" y="3285458"/>
                    <a:pt x="1600105" y="3288887"/>
                  </a:cubicBezTo>
                  <a:cubicBezTo>
                    <a:pt x="1600105" y="3292316"/>
                    <a:pt x="1597342" y="3295078"/>
                    <a:pt x="1593913" y="3295078"/>
                  </a:cubicBezTo>
                  <a:cubicBezTo>
                    <a:pt x="1590484" y="3295078"/>
                    <a:pt x="1587722" y="3292316"/>
                    <a:pt x="1587722" y="3288887"/>
                  </a:cubicBezTo>
                  <a:cubicBezTo>
                    <a:pt x="1587722" y="3285458"/>
                    <a:pt x="1590484" y="3282696"/>
                    <a:pt x="1593913" y="3282696"/>
                  </a:cubicBezTo>
                  <a:close/>
                  <a:moveTo>
                    <a:pt x="1324736" y="3282315"/>
                  </a:moveTo>
                  <a:cubicBezTo>
                    <a:pt x="1328165" y="3282315"/>
                    <a:pt x="1330928" y="3285077"/>
                    <a:pt x="1330928" y="3288506"/>
                  </a:cubicBezTo>
                  <a:cubicBezTo>
                    <a:pt x="1330928" y="3291935"/>
                    <a:pt x="1328165" y="3294698"/>
                    <a:pt x="1324736" y="3294698"/>
                  </a:cubicBezTo>
                  <a:cubicBezTo>
                    <a:pt x="1321307" y="3294698"/>
                    <a:pt x="1318545" y="3291935"/>
                    <a:pt x="1318545" y="3288506"/>
                  </a:cubicBezTo>
                  <a:cubicBezTo>
                    <a:pt x="1318545" y="3285077"/>
                    <a:pt x="1321307" y="3282315"/>
                    <a:pt x="1324736" y="3282315"/>
                  </a:cubicBezTo>
                  <a:close/>
                  <a:moveTo>
                    <a:pt x="1398650" y="3281839"/>
                  </a:moveTo>
                  <a:cubicBezTo>
                    <a:pt x="1402079" y="3281839"/>
                    <a:pt x="1404842" y="3284601"/>
                    <a:pt x="1404842" y="3288030"/>
                  </a:cubicBezTo>
                  <a:lnTo>
                    <a:pt x="1400126" y="3292745"/>
                  </a:lnTo>
                  <a:lnTo>
                    <a:pt x="1403318" y="3295936"/>
                  </a:lnTo>
                  <a:lnTo>
                    <a:pt x="1398603" y="3300651"/>
                  </a:lnTo>
                  <a:lnTo>
                    <a:pt x="1401889" y="3303937"/>
                  </a:lnTo>
                  <a:cubicBezTo>
                    <a:pt x="1401889" y="3307366"/>
                    <a:pt x="1399127" y="3310129"/>
                    <a:pt x="1395698" y="3310129"/>
                  </a:cubicBezTo>
                  <a:cubicBezTo>
                    <a:pt x="1392269" y="3310129"/>
                    <a:pt x="1389507" y="3307366"/>
                    <a:pt x="1389507" y="3303937"/>
                  </a:cubicBezTo>
                  <a:lnTo>
                    <a:pt x="1394221" y="3299223"/>
                  </a:lnTo>
                  <a:lnTo>
                    <a:pt x="1390935" y="3295936"/>
                  </a:lnTo>
                  <a:lnTo>
                    <a:pt x="1395650" y="3291221"/>
                  </a:lnTo>
                  <a:lnTo>
                    <a:pt x="1392459" y="3288030"/>
                  </a:lnTo>
                  <a:cubicBezTo>
                    <a:pt x="1392459" y="3284601"/>
                    <a:pt x="1395221" y="3281839"/>
                    <a:pt x="1398650" y="3281839"/>
                  </a:cubicBezTo>
                  <a:close/>
                  <a:moveTo>
                    <a:pt x="2064257" y="3281172"/>
                  </a:moveTo>
                  <a:cubicBezTo>
                    <a:pt x="2067677" y="3281172"/>
                    <a:pt x="2070448" y="3283944"/>
                    <a:pt x="2070448" y="3287363"/>
                  </a:cubicBezTo>
                  <a:cubicBezTo>
                    <a:pt x="2070448" y="3290782"/>
                    <a:pt x="2067677" y="3293554"/>
                    <a:pt x="2064257" y="3293554"/>
                  </a:cubicBezTo>
                  <a:cubicBezTo>
                    <a:pt x="2060838" y="3293554"/>
                    <a:pt x="2058066" y="3290782"/>
                    <a:pt x="2058066" y="3287363"/>
                  </a:cubicBezTo>
                  <a:cubicBezTo>
                    <a:pt x="2058066" y="3283944"/>
                    <a:pt x="2060838" y="3281172"/>
                    <a:pt x="2064257" y="3281172"/>
                  </a:cubicBezTo>
                  <a:close/>
                  <a:moveTo>
                    <a:pt x="1769554" y="3281172"/>
                  </a:moveTo>
                  <a:cubicBezTo>
                    <a:pt x="1772983" y="3281172"/>
                    <a:pt x="1775745" y="3283934"/>
                    <a:pt x="1775745" y="3287363"/>
                  </a:cubicBezTo>
                  <a:cubicBezTo>
                    <a:pt x="1775745" y="3290792"/>
                    <a:pt x="1772983" y="3293554"/>
                    <a:pt x="1769554" y="3293554"/>
                  </a:cubicBezTo>
                  <a:cubicBezTo>
                    <a:pt x="1766125" y="3293554"/>
                    <a:pt x="1763363" y="3290792"/>
                    <a:pt x="1763363" y="3287363"/>
                  </a:cubicBezTo>
                  <a:cubicBezTo>
                    <a:pt x="1763363" y="3283934"/>
                    <a:pt x="1766125" y="3281172"/>
                    <a:pt x="1769554" y="3281172"/>
                  </a:cubicBezTo>
                  <a:close/>
                  <a:moveTo>
                    <a:pt x="1416367" y="3281077"/>
                  </a:moveTo>
                  <a:cubicBezTo>
                    <a:pt x="1419796" y="3281077"/>
                    <a:pt x="1422559" y="3283839"/>
                    <a:pt x="1422559" y="3287268"/>
                  </a:cubicBezTo>
                  <a:lnTo>
                    <a:pt x="1416749" y="3293078"/>
                  </a:lnTo>
                  <a:lnTo>
                    <a:pt x="1419511" y="3295840"/>
                  </a:lnTo>
                  <a:lnTo>
                    <a:pt x="1414510" y="3300842"/>
                  </a:lnTo>
                  <a:lnTo>
                    <a:pt x="1416938" y="3303270"/>
                  </a:lnTo>
                  <a:lnTo>
                    <a:pt x="1410795" y="3309414"/>
                  </a:lnTo>
                  <a:lnTo>
                    <a:pt x="1414177" y="3312795"/>
                  </a:lnTo>
                  <a:cubicBezTo>
                    <a:pt x="1414177" y="3316224"/>
                    <a:pt x="1411414" y="3318986"/>
                    <a:pt x="1407985" y="3318986"/>
                  </a:cubicBezTo>
                  <a:cubicBezTo>
                    <a:pt x="1404556" y="3318986"/>
                    <a:pt x="1401794" y="3316224"/>
                    <a:pt x="1401794" y="3312795"/>
                  </a:cubicBezTo>
                  <a:lnTo>
                    <a:pt x="1407938" y="3306652"/>
                  </a:lnTo>
                  <a:lnTo>
                    <a:pt x="1404556" y="3303270"/>
                  </a:lnTo>
                  <a:lnTo>
                    <a:pt x="1409557" y="3298269"/>
                  </a:lnTo>
                  <a:lnTo>
                    <a:pt x="1407128" y="3295840"/>
                  </a:lnTo>
                  <a:lnTo>
                    <a:pt x="1412938" y="3290030"/>
                  </a:lnTo>
                  <a:lnTo>
                    <a:pt x="1410176" y="3287268"/>
                  </a:lnTo>
                  <a:cubicBezTo>
                    <a:pt x="1410176" y="3283839"/>
                    <a:pt x="1412938" y="3281077"/>
                    <a:pt x="1416367" y="3281077"/>
                  </a:cubicBezTo>
                  <a:close/>
                  <a:moveTo>
                    <a:pt x="1850516" y="3280505"/>
                  </a:moveTo>
                  <a:cubicBezTo>
                    <a:pt x="1853945" y="3280505"/>
                    <a:pt x="1856707" y="3283267"/>
                    <a:pt x="1856707" y="3286696"/>
                  </a:cubicBezTo>
                  <a:cubicBezTo>
                    <a:pt x="1856707" y="3290125"/>
                    <a:pt x="1853945" y="3292888"/>
                    <a:pt x="1850516" y="3292888"/>
                  </a:cubicBezTo>
                  <a:cubicBezTo>
                    <a:pt x="1847087" y="3292888"/>
                    <a:pt x="1844325" y="3290125"/>
                    <a:pt x="1844325" y="3286696"/>
                  </a:cubicBezTo>
                  <a:cubicBezTo>
                    <a:pt x="1844325" y="3283267"/>
                    <a:pt x="1847087" y="3280505"/>
                    <a:pt x="1850516" y="3280505"/>
                  </a:cubicBezTo>
                  <a:close/>
                  <a:moveTo>
                    <a:pt x="1435417" y="3279744"/>
                  </a:moveTo>
                  <a:cubicBezTo>
                    <a:pt x="1438846" y="3279744"/>
                    <a:pt x="1441609" y="3282506"/>
                    <a:pt x="1441609" y="3285935"/>
                  </a:cubicBezTo>
                  <a:cubicBezTo>
                    <a:pt x="1441609" y="3289364"/>
                    <a:pt x="1438846" y="3292126"/>
                    <a:pt x="1435417" y="3292126"/>
                  </a:cubicBezTo>
                  <a:cubicBezTo>
                    <a:pt x="1431988" y="3292126"/>
                    <a:pt x="1429226" y="3289364"/>
                    <a:pt x="1429226" y="3285935"/>
                  </a:cubicBezTo>
                  <a:cubicBezTo>
                    <a:pt x="1429226" y="3282506"/>
                    <a:pt x="1431988" y="3279744"/>
                    <a:pt x="1435417" y="3279744"/>
                  </a:cubicBezTo>
                  <a:close/>
                  <a:moveTo>
                    <a:pt x="1239678" y="3279744"/>
                  </a:moveTo>
                  <a:cubicBezTo>
                    <a:pt x="1243107" y="3279744"/>
                    <a:pt x="1245870" y="3282506"/>
                    <a:pt x="1245870" y="3285935"/>
                  </a:cubicBezTo>
                  <a:cubicBezTo>
                    <a:pt x="1245870" y="3289364"/>
                    <a:pt x="1243107" y="3292126"/>
                    <a:pt x="1239678" y="3292126"/>
                  </a:cubicBezTo>
                  <a:cubicBezTo>
                    <a:pt x="1236249" y="3292126"/>
                    <a:pt x="1233487" y="3289364"/>
                    <a:pt x="1233487" y="3285935"/>
                  </a:cubicBezTo>
                  <a:cubicBezTo>
                    <a:pt x="1233487" y="3282506"/>
                    <a:pt x="1236249" y="3279744"/>
                    <a:pt x="1239678" y="3279744"/>
                  </a:cubicBezTo>
                  <a:close/>
                  <a:moveTo>
                    <a:pt x="2053303" y="3279458"/>
                  </a:moveTo>
                  <a:cubicBezTo>
                    <a:pt x="2056732" y="3279458"/>
                    <a:pt x="2059495" y="3282220"/>
                    <a:pt x="2059495" y="3285649"/>
                  </a:cubicBezTo>
                  <a:cubicBezTo>
                    <a:pt x="2059495" y="3289078"/>
                    <a:pt x="2056732" y="3291840"/>
                    <a:pt x="2053303" y="3291840"/>
                  </a:cubicBezTo>
                  <a:cubicBezTo>
                    <a:pt x="2049874" y="3291840"/>
                    <a:pt x="2047112" y="3289078"/>
                    <a:pt x="2047112" y="3285649"/>
                  </a:cubicBezTo>
                  <a:cubicBezTo>
                    <a:pt x="2047112" y="3282220"/>
                    <a:pt x="2049874" y="3279458"/>
                    <a:pt x="2053303" y="3279458"/>
                  </a:cubicBezTo>
                  <a:close/>
                  <a:moveTo>
                    <a:pt x="1535620" y="3279458"/>
                  </a:moveTo>
                  <a:cubicBezTo>
                    <a:pt x="1539049" y="3279458"/>
                    <a:pt x="1541811" y="3282220"/>
                    <a:pt x="1541811" y="3285649"/>
                  </a:cubicBezTo>
                  <a:cubicBezTo>
                    <a:pt x="1541811" y="3289078"/>
                    <a:pt x="1539049" y="3291840"/>
                    <a:pt x="1535620" y="3291840"/>
                  </a:cubicBezTo>
                  <a:cubicBezTo>
                    <a:pt x="1532191" y="3291840"/>
                    <a:pt x="1529429" y="3289078"/>
                    <a:pt x="1529429" y="3285649"/>
                  </a:cubicBezTo>
                  <a:cubicBezTo>
                    <a:pt x="1529429" y="3282220"/>
                    <a:pt x="1532191" y="3279458"/>
                    <a:pt x="1535620" y="3279458"/>
                  </a:cubicBezTo>
                  <a:close/>
                  <a:moveTo>
                    <a:pt x="2121979" y="3278601"/>
                  </a:moveTo>
                  <a:cubicBezTo>
                    <a:pt x="2125408" y="3278601"/>
                    <a:pt x="2128170" y="3281363"/>
                    <a:pt x="2128170" y="3284792"/>
                  </a:cubicBezTo>
                  <a:cubicBezTo>
                    <a:pt x="2128170" y="3288221"/>
                    <a:pt x="2125408" y="3290983"/>
                    <a:pt x="2121979" y="3290983"/>
                  </a:cubicBezTo>
                  <a:cubicBezTo>
                    <a:pt x="2118550" y="3290983"/>
                    <a:pt x="2115788" y="3288221"/>
                    <a:pt x="2115788" y="3284792"/>
                  </a:cubicBezTo>
                  <a:cubicBezTo>
                    <a:pt x="2115788" y="3281363"/>
                    <a:pt x="2118550" y="3278601"/>
                    <a:pt x="2121979" y="3278601"/>
                  </a:cubicBezTo>
                  <a:close/>
                  <a:moveTo>
                    <a:pt x="1193387" y="3278601"/>
                  </a:moveTo>
                  <a:cubicBezTo>
                    <a:pt x="1194544" y="3278601"/>
                    <a:pt x="1195482" y="3279539"/>
                    <a:pt x="1195482" y="3280697"/>
                  </a:cubicBezTo>
                  <a:cubicBezTo>
                    <a:pt x="1195482" y="3281854"/>
                    <a:pt x="1194544" y="3282792"/>
                    <a:pt x="1193387" y="3282792"/>
                  </a:cubicBezTo>
                  <a:cubicBezTo>
                    <a:pt x="1192229" y="3282792"/>
                    <a:pt x="1191291" y="3281854"/>
                    <a:pt x="1191291" y="3280697"/>
                  </a:cubicBezTo>
                  <a:cubicBezTo>
                    <a:pt x="1191291" y="3279539"/>
                    <a:pt x="1192229" y="3278601"/>
                    <a:pt x="1193387" y="3278601"/>
                  </a:cubicBezTo>
                  <a:close/>
                  <a:moveTo>
                    <a:pt x="2041874" y="3278315"/>
                  </a:moveTo>
                  <a:cubicBezTo>
                    <a:pt x="2045303" y="3278315"/>
                    <a:pt x="2048066" y="3281077"/>
                    <a:pt x="2048066" y="3284506"/>
                  </a:cubicBezTo>
                  <a:cubicBezTo>
                    <a:pt x="2048066" y="3287935"/>
                    <a:pt x="2045303" y="3290697"/>
                    <a:pt x="2041874" y="3290697"/>
                  </a:cubicBezTo>
                  <a:cubicBezTo>
                    <a:pt x="2038445" y="3290697"/>
                    <a:pt x="2035683" y="3287935"/>
                    <a:pt x="2035683" y="3284506"/>
                  </a:cubicBezTo>
                  <a:cubicBezTo>
                    <a:pt x="2035683" y="3281077"/>
                    <a:pt x="2038445" y="3278315"/>
                    <a:pt x="2041874" y="3278315"/>
                  </a:cubicBezTo>
                  <a:close/>
                  <a:moveTo>
                    <a:pt x="2166747" y="3277934"/>
                  </a:moveTo>
                  <a:cubicBezTo>
                    <a:pt x="2168220" y="3277934"/>
                    <a:pt x="2169414" y="3279128"/>
                    <a:pt x="2169414" y="3280601"/>
                  </a:cubicBezTo>
                  <a:cubicBezTo>
                    <a:pt x="2169414" y="3282074"/>
                    <a:pt x="2168220" y="3283268"/>
                    <a:pt x="2166747" y="3283268"/>
                  </a:cubicBezTo>
                  <a:cubicBezTo>
                    <a:pt x="2165274" y="3283268"/>
                    <a:pt x="2164080" y="3282074"/>
                    <a:pt x="2164080" y="3280601"/>
                  </a:cubicBezTo>
                  <a:cubicBezTo>
                    <a:pt x="2164080" y="3279128"/>
                    <a:pt x="2165274" y="3277934"/>
                    <a:pt x="2166747" y="3277934"/>
                  </a:cubicBezTo>
                  <a:close/>
                  <a:moveTo>
                    <a:pt x="2029967" y="3277648"/>
                  </a:moveTo>
                  <a:cubicBezTo>
                    <a:pt x="2033396" y="3277648"/>
                    <a:pt x="2036159" y="3280410"/>
                    <a:pt x="2036159" y="3283839"/>
                  </a:cubicBezTo>
                  <a:cubicBezTo>
                    <a:pt x="2036159" y="3287268"/>
                    <a:pt x="2033396" y="3290030"/>
                    <a:pt x="2029967" y="3290030"/>
                  </a:cubicBezTo>
                  <a:cubicBezTo>
                    <a:pt x="2026538" y="3290030"/>
                    <a:pt x="2023776" y="3287268"/>
                    <a:pt x="2023776" y="3283839"/>
                  </a:cubicBezTo>
                  <a:cubicBezTo>
                    <a:pt x="2023776" y="3280410"/>
                    <a:pt x="2026538" y="3277648"/>
                    <a:pt x="2029967" y="3277648"/>
                  </a:cubicBezTo>
                  <a:close/>
                  <a:moveTo>
                    <a:pt x="1975865" y="3277648"/>
                  </a:moveTo>
                  <a:cubicBezTo>
                    <a:pt x="1979294" y="3277648"/>
                    <a:pt x="1982057" y="3280410"/>
                    <a:pt x="1982057" y="3283839"/>
                  </a:cubicBezTo>
                  <a:lnTo>
                    <a:pt x="1976961" y="3288935"/>
                  </a:lnTo>
                  <a:lnTo>
                    <a:pt x="1980057" y="3292030"/>
                  </a:lnTo>
                  <a:lnTo>
                    <a:pt x="1974818" y="3297270"/>
                  </a:lnTo>
                  <a:lnTo>
                    <a:pt x="1978913" y="3301365"/>
                  </a:lnTo>
                  <a:cubicBezTo>
                    <a:pt x="1978913" y="3304794"/>
                    <a:pt x="1976151" y="3307556"/>
                    <a:pt x="1972722" y="3307556"/>
                  </a:cubicBezTo>
                  <a:cubicBezTo>
                    <a:pt x="1969293" y="3307556"/>
                    <a:pt x="1966531" y="3304794"/>
                    <a:pt x="1966531" y="3301365"/>
                  </a:cubicBezTo>
                  <a:lnTo>
                    <a:pt x="1971770" y="3296127"/>
                  </a:lnTo>
                  <a:lnTo>
                    <a:pt x="1967674" y="3292030"/>
                  </a:lnTo>
                  <a:lnTo>
                    <a:pt x="1972769" y="3286935"/>
                  </a:lnTo>
                  <a:lnTo>
                    <a:pt x="1969674" y="3283839"/>
                  </a:lnTo>
                  <a:cubicBezTo>
                    <a:pt x="1969674" y="3280410"/>
                    <a:pt x="1972436" y="3277648"/>
                    <a:pt x="1975865" y="3277648"/>
                  </a:cubicBezTo>
                  <a:close/>
                  <a:moveTo>
                    <a:pt x="1990534" y="3277553"/>
                  </a:moveTo>
                  <a:cubicBezTo>
                    <a:pt x="1993963" y="3277553"/>
                    <a:pt x="1996726" y="3280315"/>
                    <a:pt x="1996726" y="3283744"/>
                  </a:cubicBezTo>
                  <a:lnTo>
                    <a:pt x="1991058" y="3289412"/>
                  </a:lnTo>
                  <a:lnTo>
                    <a:pt x="1993868" y="3292221"/>
                  </a:lnTo>
                  <a:cubicBezTo>
                    <a:pt x="1993868" y="3295650"/>
                    <a:pt x="1991105" y="3298412"/>
                    <a:pt x="1987676" y="3298412"/>
                  </a:cubicBezTo>
                  <a:cubicBezTo>
                    <a:pt x="1984247" y="3298412"/>
                    <a:pt x="1981485" y="3295650"/>
                    <a:pt x="1981485" y="3292221"/>
                  </a:cubicBezTo>
                  <a:lnTo>
                    <a:pt x="1987152" y="3286554"/>
                  </a:lnTo>
                  <a:lnTo>
                    <a:pt x="1984343" y="3283744"/>
                  </a:lnTo>
                  <a:cubicBezTo>
                    <a:pt x="1984343" y="3280315"/>
                    <a:pt x="1987105" y="3277553"/>
                    <a:pt x="1990534" y="3277553"/>
                  </a:cubicBezTo>
                  <a:close/>
                  <a:moveTo>
                    <a:pt x="1455800" y="3277553"/>
                  </a:moveTo>
                  <a:cubicBezTo>
                    <a:pt x="1459229" y="3277553"/>
                    <a:pt x="1461992" y="3280315"/>
                    <a:pt x="1461992" y="3283744"/>
                  </a:cubicBezTo>
                  <a:cubicBezTo>
                    <a:pt x="1461992" y="3287173"/>
                    <a:pt x="1459229" y="3289936"/>
                    <a:pt x="1455800" y="3289936"/>
                  </a:cubicBezTo>
                  <a:cubicBezTo>
                    <a:pt x="1452371" y="3289936"/>
                    <a:pt x="1449609" y="3287173"/>
                    <a:pt x="1449609" y="3283744"/>
                  </a:cubicBezTo>
                  <a:cubicBezTo>
                    <a:pt x="1449609" y="3280315"/>
                    <a:pt x="1452371" y="3277553"/>
                    <a:pt x="1455800" y="3277553"/>
                  </a:cubicBezTo>
                  <a:close/>
                  <a:moveTo>
                    <a:pt x="2004440" y="3277457"/>
                  </a:moveTo>
                  <a:cubicBezTo>
                    <a:pt x="2007869" y="3277457"/>
                    <a:pt x="2010632" y="3280219"/>
                    <a:pt x="2010632" y="3283648"/>
                  </a:cubicBezTo>
                  <a:cubicBezTo>
                    <a:pt x="2010632" y="3287077"/>
                    <a:pt x="2007869" y="3289840"/>
                    <a:pt x="2004440" y="3289840"/>
                  </a:cubicBezTo>
                  <a:cubicBezTo>
                    <a:pt x="2001011" y="3289840"/>
                    <a:pt x="1998249" y="3287077"/>
                    <a:pt x="1998249" y="3283648"/>
                  </a:cubicBezTo>
                  <a:cubicBezTo>
                    <a:pt x="1998249" y="3280219"/>
                    <a:pt x="2001011" y="3277457"/>
                    <a:pt x="2004440" y="3277457"/>
                  </a:cubicBezTo>
                  <a:close/>
                  <a:moveTo>
                    <a:pt x="2017585" y="3277362"/>
                  </a:moveTo>
                  <a:cubicBezTo>
                    <a:pt x="2021014" y="3277362"/>
                    <a:pt x="2023777" y="3280124"/>
                    <a:pt x="2023777" y="3283553"/>
                  </a:cubicBezTo>
                  <a:cubicBezTo>
                    <a:pt x="2023777" y="3286982"/>
                    <a:pt x="2021014" y="3289744"/>
                    <a:pt x="2017585" y="3289744"/>
                  </a:cubicBezTo>
                  <a:cubicBezTo>
                    <a:pt x="2014156" y="3289744"/>
                    <a:pt x="2011394" y="3286982"/>
                    <a:pt x="2011394" y="3283553"/>
                  </a:cubicBezTo>
                  <a:cubicBezTo>
                    <a:pt x="2011394" y="3280124"/>
                    <a:pt x="2014156" y="3277362"/>
                    <a:pt x="2017585" y="3277362"/>
                  </a:cubicBezTo>
                  <a:close/>
                  <a:moveTo>
                    <a:pt x="1682305" y="3277077"/>
                  </a:moveTo>
                  <a:cubicBezTo>
                    <a:pt x="1685734" y="3277077"/>
                    <a:pt x="1688497" y="3279839"/>
                    <a:pt x="1688497" y="3283268"/>
                  </a:cubicBezTo>
                  <a:cubicBezTo>
                    <a:pt x="1688497" y="3286697"/>
                    <a:pt x="1685734" y="3289459"/>
                    <a:pt x="1682305" y="3289459"/>
                  </a:cubicBezTo>
                  <a:cubicBezTo>
                    <a:pt x="1678876" y="3289459"/>
                    <a:pt x="1676114" y="3286697"/>
                    <a:pt x="1676114" y="3283268"/>
                  </a:cubicBezTo>
                  <a:cubicBezTo>
                    <a:pt x="1676114" y="3279839"/>
                    <a:pt x="1678876" y="3277077"/>
                    <a:pt x="1682305" y="3277077"/>
                  </a:cubicBezTo>
                  <a:close/>
                  <a:moveTo>
                    <a:pt x="1943290" y="3276886"/>
                  </a:moveTo>
                  <a:cubicBezTo>
                    <a:pt x="1946719" y="3276886"/>
                    <a:pt x="1949482" y="3279648"/>
                    <a:pt x="1949482" y="3283077"/>
                  </a:cubicBezTo>
                  <a:lnTo>
                    <a:pt x="1945434" y="3287126"/>
                  </a:lnTo>
                  <a:lnTo>
                    <a:pt x="1950244" y="3291935"/>
                  </a:lnTo>
                  <a:lnTo>
                    <a:pt x="1946719" y="3295460"/>
                  </a:lnTo>
                  <a:lnTo>
                    <a:pt x="1950911" y="3299651"/>
                  </a:lnTo>
                  <a:lnTo>
                    <a:pt x="1946481" y="3304080"/>
                  </a:lnTo>
                  <a:lnTo>
                    <a:pt x="1951957" y="3309556"/>
                  </a:lnTo>
                  <a:cubicBezTo>
                    <a:pt x="1951957" y="3312985"/>
                    <a:pt x="1949195" y="3315748"/>
                    <a:pt x="1945766" y="3315748"/>
                  </a:cubicBezTo>
                  <a:cubicBezTo>
                    <a:pt x="1942337" y="3315748"/>
                    <a:pt x="1939575" y="3312985"/>
                    <a:pt x="1939575" y="3309556"/>
                  </a:cubicBezTo>
                  <a:lnTo>
                    <a:pt x="1944004" y="3305127"/>
                  </a:lnTo>
                  <a:lnTo>
                    <a:pt x="1938528" y="3299651"/>
                  </a:lnTo>
                  <a:lnTo>
                    <a:pt x="1942052" y="3296127"/>
                  </a:lnTo>
                  <a:lnTo>
                    <a:pt x="1937861" y="3291935"/>
                  </a:lnTo>
                  <a:lnTo>
                    <a:pt x="1941909" y="3287888"/>
                  </a:lnTo>
                  <a:lnTo>
                    <a:pt x="1937099" y="3283077"/>
                  </a:lnTo>
                  <a:cubicBezTo>
                    <a:pt x="1937099" y="3279648"/>
                    <a:pt x="1939861" y="3276886"/>
                    <a:pt x="1943290" y="3276886"/>
                  </a:cubicBezTo>
                  <a:close/>
                  <a:moveTo>
                    <a:pt x="1827561" y="3276886"/>
                  </a:moveTo>
                  <a:cubicBezTo>
                    <a:pt x="1830990" y="3276886"/>
                    <a:pt x="1833753" y="3279648"/>
                    <a:pt x="1833753" y="3283077"/>
                  </a:cubicBezTo>
                  <a:cubicBezTo>
                    <a:pt x="1833753" y="3286506"/>
                    <a:pt x="1830990" y="3289269"/>
                    <a:pt x="1827561" y="3289269"/>
                  </a:cubicBezTo>
                  <a:cubicBezTo>
                    <a:pt x="1824132" y="3289269"/>
                    <a:pt x="1821370" y="3286506"/>
                    <a:pt x="1821370" y="3283077"/>
                  </a:cubicBezTo>
                  <a:cubicBezTo>
                    <a:pt x="1821370" y="3279648"/>
                    <a:pt x="1824132" y="3276886"/>
                    <a:pt x="1827561" y="3276886"/>
                  </a:cubicBezTo>
                  <a:close/>
                  <a:moveTo>
                    <a:pt x="1621726" y="3276600"/>
                  </a:moveTo>
                  <a:cubicBezTo>
                    <a:pt x="1625155" y="3276600"/>
                    <a:pt x="1627918" y="3279362"/>
                    <a:pt x="1627918" y="3282791"/>
                  </a:cubicBezTo>
                  <a:cubicBezTo>
                    <a:pt x="1627918" y="3286220"/>
                    <a:pt x="1625155" y="3288983"/>
                    <a:pt x="1621726" y="3288983"/>
                  </a:cubicBezTo>
                  <a:cubicBezTo>
                    <a:pt x="1618297" y="3288983"/>
                    <a:pt x="1615535" y="3286220"/>
                    <a:pt x="1615535" y="3282791"/>
                  </a:cubicBezTo>
                  <a:cubicBezTo>
                    <a:pt x="1615535" y="3279362"/>
                    <a:pt x="1618297" y="3276600"/>
                    <a:pt x="1621726" y="3276600"/>
                  </a:cubicBezTo>
                  <a:close/>
                  <a:moveTo>
                    <a:pt x="1925287" y="3275743"/>
                  </a:moveTo>
                  <a:cubicBezTo>
                    <a:pt x="1928716" y="3275743"/>
                    <a:pt x="1931479" y="3278505"/>
                    <a:pt x="1931479" y="3281934"/>
                  </a:cubicBezTo>
                  <a:lnTo>
                    <a:pt x="1927764" y="3285649"/>
                  </a:lnTo>
                  <a:lnTo>
                    <a:pt x="1933955" y="3291840"/>
                  </a:lnTo>
                  <a:lnTo>
                    <a:pt x="1931098" y="3294698"/>
                  </a:lnTo>
                  <a:lnTo>
                    <a:pt x="1935766" y="3299365"/>
                  </a:lnTo>
                  <a:lnTo>
                    <a:pt x="1932479" y="3302651"/>
                  </a:lnTo>
                  <a:lnTo>
                    <a:pt x="1937766" y="3307937"/>
                  </a:lnTo>
                  <a:cubicBezTo>
                    <a:pt x="1937766" y="3311366"/>
                    <a:pt x="1935003" y="3314128"/>
                    <a:pt x="1931574" y="3314128"/>
                  </a:cubicBezTo>
                  <a:cubicBezTo>
                    <a:pt x="1928145" y="3314128"/>
                    <a:pt x="1925383" y="3311366"/>
                    <a:pt x="1925383" y="3307937"/>
                  </a:cubicBezTo>
                  <a:lnTo>
                    <a:pt x="1928669" y="3304651"/>
                  </a:lnTo>
                  <a:lnTo>
                    <a:pt x="1923383" y="3299365"/>
                  </a:lnTo>
                  <a:lnTo>
                    <a:pt x="1926241" y="3296508"/>
                  </a:lnTo>
                  <a:lnTo>
                    <a:pt x="1921573" y="3291840"/>
                  </a:lnTo>
                  <a:lnTo>
                    <a:pt x="1925287" y="3288126"/>
                  </a:lnTo>
                  <a:lnTo>
                    <a:pt x="1919096" y="3281934"/>
                  </a:lnTo>
                  <a:cubicBezTo>
                    <a:pt x="1919096" y="3278505"/>
                    <a:pt x="1921858" y="3275743"/>
                    <a:pt x="1925287" y="3275743"/>
                  </a:cubicBezTo>
                  <a:close/>
                  <a:moveTo>
                    <a:pt x="1742789" y="3275457"/>
                  </a:moveTo>
                  <a:cubicBezTo>
                    <a:pt x="1746218" y="3275457"/>
                    <a:pt x="1748980" y="3278219"/>
                    <a:pt x="1748980" y="3281648"/>
                  </a:cubicBezTo>
                  <a:cubicBezTo>
                    <a:pt x="1748980" y="3285077"/>
                    <a:pt x="1746218" y="3287840"/>
                    <a:pt x="1742789" y="3287840"/>
                  </a:cubicBezTo>
                  <a:cubicBezTo>
                    <a:pt x="1739360" y="3287840"/>
                    <a:pt x="1736598" y="3285077"/>
                    <a:pt x="1736598" y="3281648"/>
                  </a:cubicBezTo>
                  <a:cubicBezTo>
                    <a:pt x="1736598" y="3278219"/>
                    <a:pt x="1739360" y="3275457"/>
                    <a:pt x="1742789" y="3275457"/>
                  </a:cubicBezTo>
                  <a:close/>
                  <a:moveTo>
                    <a:pt x="2112454" y="3275076"/>
                  </a:moveTo>
                  <a:cubicBezTo>
                    <a:pt x="2115883" y="3275076"/>
                    <a:pt x="2118645" y="3277838"/>
                    <a:pt x="2118645" y="3281267"/>
                  </a:cubicBezTo>
                  <a:cubicBezTo>
                    <a:pt x="2118645" y="3284696"/>
                    <a:pt x="2115883" y="3287459"/>
                    <a:pt x="2112454" y="3287459"/>
                  </a:cubicBezTo>
                  <a:cubicBezTo>
                    <a:pt x="2109025" y="3287459"/>
                    <a:pt x="2106263" y="3284696"/>
                    <a:pt x="2106263" y="3281267"/>
                  </a:cubicBezTo>
                  <a:cubicBezTo>
                    <a:pt x="2106263" y="3277838"/>
                    <a:pt x="2109025" y="3275076"/>
                    <a:pt x="2112454" y="3275076"/>
                  </a:cubicBezTo>
                  <a:close/>
                  <a:moveTo>
                    <a:pt x="1477803" y="3274314"/>
                  </a:moveTo>
                  <a:cubicBezTo>
                    <a:pt x="1481232" y="3274314"/>
                    <a:pt x="1483995" y="3277076"/>
                    <a:pt x="1483995" y="3280505"/>
                  </a:cubicBezTo>
                  <a:cubicBezTo>
                    <a:pt x="1483995" y="3283934"/>
                    <a:pt x="1481232" y="3286696"/>
                    <a:pt x="1477803" y="3286696"/>
                  </a:cubicBezTo>
                  <a:cubicBezTo>
                    <a:pt x="1474374" y="3286696"/>
                    <a:pt x="1471612" y="3283934"/>
                    <a:pt x="1471612" y="3280505"/>
                  </a:cubicBezTo>
                  <a:cubicBezTo>
                    <a:pt x="1471612" y="3277076"/>
                    <a:pt x="1474374" y="3274314"/>
                    <a:pt x="1477803" y="3274314"/>
                  </a:cubicBezTo>
                  <a:close/>
                  <a:moveTo>
                    <a:pt x="1561337" y="3274124"/>
                  </a:moveTo>
                  <a:cubicBezTo>
                    <a:pt x="1564766" y="3274124"/>
                    <a:pt x="1567529" y="3276886"/>
                    <a:pt x="1567529" y="3280315"/>
                  </a:cubicBezTo>
                  <a:cubicBezTo>
                    <a:pt x="1567529" y="3283744"/>
                    <a:pt x="1564766" y="3286506"/>
                    <a:pt x="1561337" y="3286506"/>
                  </a:cubicBezTo>
                  <a:cubicBezTo>
                    <a:pt x="1557908" y="3286506"/>
                    <a:pt x="1555146" y="3283744"/>
                    <a:pt x="1555146" y="3280315"/>
                  </a:cubicBezTo>
                  <a:cubicBezTo>
                    <a:pt x="1555146" y="3276886"/>
                    <a:pt x="1557908" y="3274124"/>
                    <a:pt x="1561337" y="3274124"/>
                  </a:cubicBezTo>
                  <a:close/>
                  <a:moveTo>
                    <a:pt x="1905952" y="3273838"/>
                  </a:moveTo>
                  <a:cubicBezTo>
                    <a:pt x="1909381" y="3273838"/>
                    <a:pt x="1912144" y="3276600"/>
                    <a:pt x="1912144" y="3280029"/>
                  </a:cubicBezTo>
                  <a:cubicBezTo>
                    <a:pt x="1912144" y="3283458"/>
                    <a:pt x="1909381" y="3286220"/>
                    <a:pt x="1905952" y="3286220"/>
                  </a:cubicBezTo>
                  <a:cubicBezTo>
                    <a:pt x="1902523" y="3286220"/>
                    <a:pt x="1899761" y="3283458"/>
                    <a:pt x="1899761" y="3280029"/>
                  </a:cubicBezTo>
                  <a:cubicBezTo>
                    <a:pt x="1899761" y="3276600"/>
                    <a:pt x="1902523" y="3273838"/>
                    <a:pt x="1905952" y="3273838"/>
                  </a:cubicBezTo>
                  <a:close/>
                  <a:moveTo>
                    <a:pt x="1334261" y="3273457"/>
                  </a:moveTo>
                  <a:cubicBezTo>
                    <a:pt x="1337690" y="3273457"/>
                    <a:pt x="1340453" y="3276219"/>
                    <a:pt x="1340453" y="3279648"/>
                  </a:cubicBezTo>
                  <a:lnTo>
                    <a:pt x="1337976" y="3282125"/>
                  </a:lnTo>
                  <a:lnTo>
                    <a:pt x="1344073" y="3288220"/>
                  </a:lnTo>
                  <a:cubicBezTo>
                    <a:pt x="1344073" y="3291649"/>
                    <a:pt x="1341310" y="3294411"/>
                    <a:pt x="1337881" y="3294411"/>
                  </a:cubicBezTo>
                  <a:cubicBezTo>
                    <a:pt x="1334452" y="3294411"/>
                    <a:pt x="1331690" y="3291649"/>
                    <a:pt x="1331690" y="3288220"/>
                  </a:cubicBezTo>
                  <a:lnTo>
                    <a:pt x="1334166" y="3285744"/>
                  </a:lnTo>
                  <a:lnTo>
                    <a:pt x="1328070" y="3279648"/>
                  </a:lnTo>
                  <a:cubicBezTo>
                    <a:pt x="1328070" y="3276219"/>
                    <a:pt x="1330832" y="3273457"/>
                    <a:pt x="1334261" y="3273457"/>
                  </a:cubicBezTo>
                  <a:close/>
                  <a:moveTo>
                    <a:pt x="1349120" y="3273362"/>
                  </a:moveTo>
                  <a:cubicBezTo>
                    <a:pt x="1352549" y="3273362"/>
                    <a:pt x="1355311" y="3276124"/>
                    <a:pt x="1355311" y="3279553"/>
                  </a:cubicBezTo>
                  <a:lnTo>
                    <a:pt x="1352311" y="3282553"/>
                  </a:lnTo>
                  <a:lnTo>
                    <a:pt x="1357979" y="3288220"/>
                  </a:lnTo>
                  <a:lnTo>
                    <a:pt x="1354549" y="3291650"/>
                  </a:lnTo>
                  <a:lnTo>
                    <a:pt x="1359884" y="3296984"/>
                  </a:lnTo>
                  <a:cubicBezTo>
                    <a:pt x="1359884" y="3300413"/>
                    <a:pt x="1357121" y="3303175"/>
                    <a:pt x="1353692" y="3303175"/>
                  </a:cubicBezTo>
                  <a:cubicBezTo>
                    <a:pt x="1350263" y="3303175"/>
                    <a:pt x="1347501" y="3300413"/>
                    <a:pt x="1347501" y="3296984"/>
                  </a:cubicBezTo>
                  <a:lnTo>
                    <a:pt x="1350931" y="3293555"/>
                  </a:lnTo>
                  <a:lnTo>
                    <a:pt x="1345596" y="3288220"/>
                  </a:lnTo>
                  <a:lnTo>
                    <a:pt x="1348596" y="3285221"/>
                  </a:lnTo>
                  <a:lnTo>
                    <a:pt x="1342929" y="3279553"/>
                  </a:lnTo>
                  <a:cubicBezTo>
                    <a:pt x="1342929" y="3276124"/>
                    <a:pt x="1345691" y="3273362"/>
                    <a:pt x="1349120" y="3273362"/>
                  </a:cubicBezTo>
                  <a:close/>
                  <a:moveTo>
                    <a:pt x="1320260" y="3273362"/>
                  </a:moveTo>
                  <a:cubicBezTo>
                    <a:pt x="1323689" y="3273362"/>
                    <a:pt x="1326451" y="3276124"/>
                    <a:pt x="1326451" y="3279553"/>
                  </a:cubicBezTo>
                  <a:cubicBezTo>
                    <a:pt x="1326451" y="3282982"/>
                    <a:pt x="1323689" y="3285745"/>
                    <a:pt x="1320260" y="3285745"/>
                  </a:cubicBezTo>
                  <a:cubicBezTo>
                    <a:pt x="1316831" y="3285745"/>
                    <a:pt x="1314069" y="3282982"/>
                    <a:pt x="1314069" y="3279553"/>
                  </a:cubicBezTo>
                  <a:cubicBezTo>
                    <a:pt x="1314069" y="3276124"/>
                    <a:pt x="1316831" y="3273362"/>
                    <a:pt x="1320260" y="3273362"/>
                  </a:cubicBezTo>
                  <a:close/>
                  <a:moveTo>
                    <a:pt x="1307020" y="3273171"/>
                  </a:moveTo>
                  <a:cubicBezTo>
                    <a:pt x="1310449" y="3273171"/>
                    <a:pt x="1313211" y="3275933"/>
                    <a:pt x="1313211" y="3279362"/>
                  </a:cubicBezTo>
                  <a:cubicBezTo>
                    <a:pt x="1313211" y="3282791"/>
                    <a:pt x="1310449" y="3285553"/>
                    <a:pt x="1307020" y="3285553"/>
                  </a:cubicBezTo>
                  <a:cubicBezTo>
                    <a:pt x="1303591" y="3285553"/>
                    <a:pt x="1300829" y="3282791"/>
                    <a:pt x="1300829" y="3279362"/>
                  </a:cubicBezTo>
                  <a:cubicBezTo>
                    <a:pt x="1300829" y="3275933"/>
                    <a:pt x="1303591" y="3273171"/>
                    <a:pt x="1307020" y="3273171"/>
                  </a:cubicBezTo>
                  <a:close/>
                  <a:moveTo>
                    <a:pt x="1294542" y="3273171"/>
                  </a:moveTo>
                  <a:cubicBezTo>
                    <a:pt x="1297971" y="3273171"/>
                    <a:pt x="1300734" y="3275933"/>
                    <a:pt x="1300734" y="3279362"/>
                  </a:cubicBezTo>
                  <a:cubicBezTo>
                    <a:pt x="1300734" y="3282791"/>
                    <a:pt x="1297971" y="3285553"/>
                    <a:pt x="1294542" y="3285553"/>
                  </a:cubicBezTo>
                  <a:lnTo>
                    <a:pt x="1288780" y="3279791"/>
                  </a:lnTo>
                  <a:lnTo>
                    <a:pt x="1282731" y="3285839"/>
                  </a:lnTo>
                  <a:lnTo>
                    <a:pt x="1277398" y="3280506"/>
                  </a:lnTo>
                  <a:lnTo>
                    <a:pt x="1271396" y="3286506"/>
                  </a:lnTo>
                  <a:lnTo>
                    <a:pt x="1266587" y="3281697"/>
                  </a:lnTo>
                  <a:lnTo>
                    <a:pt x="1260538" y="3287745"/>
                  </a:lnTo>
                  <a:lnTo>
                    <a:pt x="1256157" y="3283363"/>
                  </a:lnTo>
                  <a:lnTo>
                    <a:pt x="1249965" y="3289555"/>
                  </a:lnTo>
                  <a:cubicBezTo>
                    <a:pt x="1246536" y="3289555"/>
                    <a:pt x="1243774" y="3286792"/>
                    <a:pt x="1243774" y="3283363"/>
                  </a:cubicBezTo>
                  <a:cubicBezTo>
                    <a:pt x="1243774" y="3279934"/>
                    <a:pt x="1246536" y="3277172"/>
                    <a:pt x="1249965" y="3277172"/>
                  </a:cubicBezTo>
                  <a:lnTo>
                    <a:pt x="1255393" y="3282600"/>
                  </a:lnTo>
                  <a:lnTo>
                    <a:pt x="1254347" y="3281553"/>
                  </a:lnTo>
                  <a:cubicBezTo>
                    <a:pt x="1254347" y="3278124"/>
                    <a:pt x="1257109" y="3275362"/>
                    <a:pt x="1260538" y="3275362"/>
                  </a:cubicBezTo>
                  <a:lnTo>
                    <a:pt x="1265348" y="3280172"/>
                  </a:lnTo>
                  <a:lnTo>
                    <a:pt x="1271396" y="3274124"/>
                  </a:lnTo>
                  <a:lnTo>
                    <a:pt x="1276730" y="3279458"/>
                  </a:lnTo>
                  <a:lnTo>
                    <a:pt x="1282731" y="3273457"/>
                  </a:lnTo>
                  <a:lnTo>
                    <a:pt x="1288494" y="3279219"/>
                  </a:lnTo>
                  <a:close/>
                  <a:moveTo>
                    <a:pt x="1365122" y="3272981"/>
                  </a:moveTo>
                  <a:cubicBezTo>
                    <a:pt x="1368551" y="3272981"/>
                    <a:pt x="1371314" y="3275743"/>
                    <a:pt x="1371314" y="3279172"/>
                  </a:cubicBezTo>
                  <a:lnTo>
                    <a:pt x="1367457" y="3283030"/>
                  </a:lnTo>
                  <a:lnTo>
                    <a:pt x="1372648" y="3288220"/>
                  </a:lnTo>
                  <a:lnTo>
                    <a:pt x="1369122" y="3291745"/>
                  </a:lnTo>
                  <a:lnTo>
                    <a:pt x="1373695" y="3296317"/>
                  </a:lnTo>
                  <a:lnTo>
                    <a:pt x="1368646" y="3301365"/>
                  </a:lnTo>
                  <a:lnTo>
                    <a:pt x="1373886" y="3306604"/>
                  </a:lnTo>
                  <a:cubicBezTo>
                    <a:pt x="1373886" y="3310033"/>
                    <a:pt x="1371123" y="3312796"/>
                    <a:pt x="1367694" y="3312796"/>
                  </a:cubicBezTo>
                  <a:cubicBezTo>
                    <a:pt x="1364265" y="3312796"/>
                    <a:pt x="1361503" y="3310033"/>
                    <a:pt x="1361503" y="3306604"/>
                  </a:cubicBezTo>
                  <a:lnTo>
                    <a:pt x="1366551" y="3301556"/>
                  </a:lnTo>
                  <a:lnTo>
                    <a:pt x="1361312" y="3296317"/>
                  </a:lnTo>
                  <a:lnTo>
                    <a:pt x="1364837" y="3292792"/>
                  </a:lnTo>
                  <a:lnTo>
                    <a:pt x="1360265" y="3288220"/>
                  </a:lnTo>
                  <a:lnTo>
                    <a:pt x="1364122" y="3284364"/>
                  </a:lnTo>
                  <a:lnTo>
                    <a:pt x="1358931" y="3279172"/>
                  </a:lnTo>
                  <a:cubicBezTo>
                    <a:pt x="1358931" y="3275743"/>
                    <a:pt x="1361693" y="3272981"/>
                    <a:pt x="1365122" y="3272981"/>
                  </a:cubicBezTo>
                  <a:close/>
                  <a:moveTo>
                    <a:pt x="1802986" y="3272028"/>
                  </a:moveTo>
                  <a:cubicBezTo>
                    <a:pt x="1806415" y="3272028"/>
                    <a:pt x="1809178" y="3274790"/>
                    <a:pt x="1809178" y="3278219"/>
                  </a:cubicBezTo>
                  <a:cubicBezTo>
                    <a:pt x="1809178" y="3281648"/>
                    <a:pt x="1806415" y="3284410"/>
                    <a:pt x="1802986" y="3284410"/>
                  </a:cubicBezTo>
                  <a:cubicBezTo>
                    <a:pt x="1799557" y="3284410"/>
                    <a:pt x="1796795" y="3281648"/>
                    <a:pt x="1796795" y="3278219"/>
                  </a:cubicBezTo>
                  <a:cubicBezTo>
                    <a:pt x="1796795" y="3274790"/>
                    <a:pt x="1799557" y="3272028"/>
                    <a:pt x="1802986" y="3272028"/>
                  </a:cubicBezTo>
                  <a:close/>
                  <a:moveTo>
                    <a:pt x="1382267" y="3271933"/>
                  </a:moveTo>
                  <a:cubicBezTo>
                    <a:pt x="1385696" y="3271933"/>
                    <a:pt x="1388459" y="3274695"/>
                    <a:pt x="1388459" y="3278124"/>
                  </a:cubicBezTo>
                  <a:lnTo>
                    <a:pt x="1383268" y="3283315"/>
                  </a:lnTo>
                  <a:lnTo>
                    <a:pt x="1388174" y="3288220"/>
                  </a:lnTo>
                  <a:lnTo>
                    <a:pt x="1384220" y="3292174"/>
                  </a:lnTo>
                  <a:lnTo>
                    <a:pt x="1388078" y="3296031"/>
                  </a:lnTo>
                  <a:lnTo>
                    <a:pt x="1383362" y="3300746"/>
                  </a:lnTo>
                  <a:lnTo>
                    <a:pt x="1387601" y="3304985"/>
                  </a:lnTo>
                  <a:cubicBezTo>
                    <a:pt x="1387601" y="3308414"/>
                    <a:pt x="1384839" y="3311176"/>
                    <a:pt x="1381410" y="3311176"/>
                  </a:cubicBezTo>
                  <a:cubicBezTo>
                    <a:pt x="1377981" y="3311176"/>
                    <a:pt x="1375219" y="3308414"/>
                    <a:pt x="1375219" y="3304985"/>
                  </a:cubicBezTo>
                  <a:lnTo>
                    <a:pt x="1379934" y="3300270"/>
                  </a:lnTo>
                  <a:lnTo>
                    <a:pt x="1375695" y="3296031"/>
                  </a:lnTo>
                  <a:lnTo>
                    <a:pt x="1379649" y="3292078"/>
                  </a:lnTo>
                  <a:lnTo>
                    <a:pt x="1375791" y="3288220"/>
                  </a:lnTo>
                  <a:lnTo>
                    <a:pt x="1380982" y="3283030"/>
                  </a:lnTo>
                  <a:lnTo>
                    <a:pt x="1376076" y="3278124"/>
                  </a:lnTo>
                  <a:cubicBezTo>
                    <a:pt x="1376076" y="3274695"/>
                    <a:pt x="1378838" y="3271933"/>
                    <a:pt x="1382267" y="3271933"/>
                  </a:cubicBezTo>
                  <a:close/>
                  <a:moveTo>
                    <a:pt x="1157573" y="3271266"/>
                  </a:moveTo>
                  <a:cubicBezTo>
                    <a:pt x="1157731" y="3271266"/>
                    <a:pt x="1157858" y="3271394"/>
                    <a:pt x="1157858" y="3271552"/>
                  </a:cubicBezTo>
                  <a:cubicBezTo>
                    <a:pt x="1157858" y="3271710"/>
                    <a:pt x="1157731" y="3271837"/>
                    <a:pt x="1157573" y="3271837"/>
                  </a:cubicBezTo>
                  <a:cubicBezTo>
                    <a:pt x="1157415" y="3271837"/>
                    <a:pt x="1157287" y="3271710"/>
                    <a:pt x="1157287" y="3271552"/>
                  </a:cubicBezTo>
                  <a:cubicBezTo>
                    <a:pt x="1157287" y="3271394"/>
                    <a:pt x="1157415" y="3271266"/>
                    <a:pt x="1157573" y="3271266"/>
                  </a:cubicBezTo>
                  <a:close/>
                  <a:moveTo>
                    <a:pt x="1885092" y="3270885"/>
                  </a:moveTo>
                  <a:cubicBezTo>
                    <a:pt x="1888521" y="3270885"/>
                    <a:pt x="1891284" y="3273647"/>
                    <a:pt x="1891284" y="3277076"/>
                  </a:cubicBezTo>
                  <a:cubicBezTo>
                    <a:pt x="1891284" y="3280505"/>
                    <a:pt x="1888521" y="3283267"/>
                    <a:pt x="1885092" y="3283267"/>
                  </a:cubicBezTo>
                  <a:cubicBezTo>
                    <a:pt x="1881663" y="3283267"/>
                    <a:pt x="1878901" y="3280505"/>
                    <a:pt x="1878901" y="3277076"/>
                  </a:cubicBezTo>
                  <a:cubicBezTo>
                    <a:pt x="1878901" y="3273647"/>
                    <a:pt x="1881663" y="3270885"/>
                    <a:pt x="1885092" y="3270885"/>
                  </a:cubicBezTo>
                  <a:close/>
                  <a:moveTo>
                    <a:pt x="2201513" y="3270695"/>
                  </a:moveTo>
                  <a:cubicBezTo>
                    <a:pt x="2201989" y="3270695"/>
                    <a:pt x="2202465" y="3271171"/>
                    <a:pt x="2202465" y="3271648"/>
                  </a:cubicBezTo>
                  <a:cubicBezTo>
                    <a:pt x="2202465" y="3272124"/>
                    <a:pt x="2202084" y="3272600"/>
                    <a:pt x="2201513" y="3272600"/>
                  </a:cubicBezTo>
                  <a:cubicBezTo>
                    <a:pt x="2201036" y="3272600"/>
                    <a:pt x="2200560" y="3272124"/>
                    <a:pt x="2200560" y="3271648"/>
                  </a:cubicBezTo>
                  <a:cubicBezTo>
                    <a:pt x="2200560" y="3271171"/>
                    <a:pt x="2201036" y="3270695"/>
                    <a:pt x="2201513" y="3270695"/>
                  </a:cubicBezTo>
                  <a:close/>
                  <a:moveTo>
                    <a:pt x="1400650" y="3270219"/>
                  </a:moveTo>
                  <a:cubicBezTo>
                    <a:pt x="1404079" y="3270219"/>
                    <a:pt x="1406842" y="3272981"/>
                    <a:pt x="1406842" y="3276410"/>
                  </a:cubicBezTo>
                  <a:cubicBezTo>
                    <a:pt x="1406842" y="3279839"/>
                    <a:pt x="1404079" y="3282601"/>
                    <a:pt x="1400650" y="3282601"/>
                  </a:cubicBezTo>
                  <a:cubicBezTo>
                    <a:pt x="1397221" y="3282601"/>
                    <a:pt x="1394459" y="3279839"/>
                    <a:pt x="1394459" y="3276410"/>
                  </a:cubicBezTo>
                  <a:cubicBezTo>
                    <a:pt x="1394459" y="3272981"/>
                    <a:pt x="1397221" y="3270219"/>
                    <a:pt x="1400650" y="3270219"/>
                  </a:cubicBezTo>
                  <a:close/>
                  <a:moveTo>
                    <a:pt x="2157983" y="3269742"/>
                  </a:moveTo>
                  <a:cubicBezTo>
                    <a:pt x="2161412" y="3269742"/>
                    <a:pt x="2164175" y="3272504"/>
                    <a:pt x="2164175" y="3275933"/>
                  </a:cubicBezTo>
                  <a:cubicBezTo>
                    <a:pt x="2164175" y="3279362"/>
                    <a:pt x="2161412" y="3282125"/>
                    <a:pt x="2157983" y="3282125"/>
                  </a:cubicBezTo>
                  <a:cubicBezTo>
                    <a:pt x="2154554" y="3282125"/>
                    <a:pt x="2151792" y="3279362"/>
                    <a:pt x="2151792" y="3275933"/>
                  </a:cubicBezTo>
                  <a:cubicBezTo>
                    <a:pt x="2151792" y="3272504"/>
                    <a:pt x="2154554" y="3269742"/>
                    <a:pt x="2157983" y="3269742"/>
                  </a:cubicBezTo>
                  <a:close/>
                  <a:moveTo>
                    <a:pt x="1501330" y="3269742"/>
                  </a:moveTo>
                  <a:cubicBezTo>
                    <a:pt x="1504759" y="3269742"/>
                    <a:pt x="1507522" y="3272504"/>
                    <a:pt x="1507522" y="3275933"/>
                  </a:cubicBezTo>
                  <a:cubicBezTo>
                    <a:pt x="1507522" y="3279362"/>
                    <a:pt x="1504759" y="3282125"/>
                    <a:pt x="1501330" y="3282125"/>
                  </a:cubicBezTo>
                  <a:cubicBezTo>
                    <a:pt x="1497901" y="3282125"/>
                    <a:pt x="1495139" y="3279362"/>
                    <a:pt x="1495139" y="3275933"/>
                  </a:cubicBezTo>
                  <a:cubicBezTo>
                    <a:pt x="1495139" y="3272504"/>
                    <a:pt x="1497901" y="3269742"/>
                    <a:pt x="1501330" y="3269742"/>
                  </a:cubicBezTo>
                  <a:close/>
                  <a:moveTo>
                    <a:pt x="1651539" y="3268599"/>
                  </a:moveTo>
                  <a:cubicBezTo>
                    <a:pt x="1654968" y="3268599"/>
                    <a:pt x="1657730" y="3271361"/>
                    <a:pt x="1657730" y="3274790"/>
                  </a:cubicBezTo>
                  <a:cubicBezTo>
                    <a:pt x="1657730" y="3278219"/>
                    <a:pt x="1654968" y="3280982"/>
                    <a:pt x="1651539" y="3280982"/>
                  </a:cubicBezTo>
                  <a:cubicBezTo>
                    <a:pt x="1648110" y="3280982"/>
                    <a:pt x="1645348" y="3278219"/>
                    <a:pt x="1645348" y="3274790"/>
                  </a:cubicBezTo>
                  <a:cubicBezTo>
                    <a:pt x="1645348" y="3271361"/>
                    <a:pt x="1648110" y="3268599"/>
                    <a:pt x="1651539" y="3268599"/>
                  </a:cubicBezTo>
                  <a:close/>
                  <a:moveTo>
                    <a:pt x="2023204" y="3268313"/>
                  </a:moveTo>
                  <a:cubicBezTo>
                    <a:pt x="2026633" y="3268313"/>
                    <a:pt x="2029396" y="3271075"/>
                    <a:pt x="2029396" y="3274504"/>
                  </a:cubicBezTo>
                  <a:cubicBezTo>
                    <a:pt x="2029396" y="3277933"/>
                    <a:pt x="2026633" y="3280696"/>
                    <a:pt x="2023204" y="3280696"/>
                  </a:cubicBezTo>
                  <a:cubicBezTo>
                    <a:pt x="2019775" y="3280696"/>
                    <a:pt x="2017013" y="3277933"/>
                    <a:pt x="2017013" y="3274504"/>
                  </a:cubicBezTo>
                  <a:cubicBezTo>
                    <a:pt x="2017013" y="3271075"/>
                    <a:pt x="2019775" y="3268313"/>
                    <a:pt x="2023204" y="3268313"/>
                  </a:cubicBezTo>
                  <a:close/>
                  <a:moveTo>
                    <a:pt x="2009107" y="3268313"/>
                  </a:moveTo>
                  <a:cubicBezTo>
                    <a:pt x="2012536" y="3268313"/>
                    <a:pt x="2015299" y="3271075"/>
                    <a:pt x="2015299" y="3274504"/>
                  </a:cubicBezTo>
                  <a:cubicBezTo>
                    <a:pt x="2015299" y="3277933"/>
                    <a:pt x="2012536" y="3280696"/>
                    <a:pt x="2009107" y="3280696"/>
                  </a:cubicBezTo>
                  <a:cubicBezTo>
                    <a:pt x="2005678" y="3280696"/>
                    <a:pt x="2002916" y="3277933"/>
                    <a:pt x="2002916" y="3274504"/>
                  </a:cubicBezTo>
                  <a:cubicBezTo>
                    <a:pt x="2002916" y="3271075"/>
                    <a:pt x="2005678" y="3268313"/>
                    <a:pt x="2009107" y="3268313"/>
                  </a:cubicBezTo>
                  <a:close/>
                  <a:moveTo>
                    <a:pt x="2036349" y="3268123"/>
                  </a:moveTo>
                  <a:cubicBezTo>
                    <a:pt x="2039778" y="3268123"/>
                    <a:pt x="2042541" y="3270885"/>
                    <a:pt x="2042541" y="3274314"/>
                  </a:cubicBezTo>
                  <a:cubicBezTo>
                    <a:pt x="2042541" y="3277743"/>
                    <a:pt x="2039778" y="3280505"/>
                    <a:pt x="2036349" y="3280505"/>
                  </a:cubicBezTo>
                  <a:cubicBezTo>
                    <a:pt x="2032920" y="3280505"/>
                    <a:pt x="2030158" y="3277743"/>
                    <a:pt x="2030158" y="3274314"/>
                  </a:cubicBezTo>
                  <a:cubicBezTo>
                    <a:pt x="2030158" y="3270885"/>
                    <a:pt x="2032920" y="3268123"/>
                    <a:pt x="2036349" y="3268123"/>
                  </a:cubicBezTo>
                  <a:close/>
                  <a:moveTo>
                    <a:pt x="1714118" y="3268123"/>
                  </a:moveTo>
                  <a:cubicBezTo>
                    <a:pt x="1717547" y="3268123"/>
                    <a:pt x="1720310" y="3270885"/>
                    <a:pt x="1720310" y="3274314"/>
                  </a:cubicBezTo>
                  <a:cubicBezTo>
                    <a:pt x="1720310" y="3277743"/>
                    <a:pt x="1717547" y="3280505"/>
                    <a:pt x="1714118" y="3280505"/>
                  </a:cubicBezTo>
                  <a:cubicBezTo>
                    <a:pt x="1710689" y="3280505"/>
                    <a:pt x="1707927" y="3277743"/>
                    <a:pt x="1707927" y="3274314"/>
                  </a:cubicBezTo>
                  <a:cubicBezTo>
                    <a:pt x="1707927" y="3270885"/>
                    <a:pt x="1710689" y="3268123"/>
                    <a:pt x="1714118" y="3268123"/>
                  </a:cubicBezTo>
                  <a:close/>
                  <a:moveTo>
                    <a:pt x="2048732" y="3268028"/>
                  </a:moveTo>
                  <a:lnTo>
                    <a:pt x="2054590" y="3273885"/>
                  </a:lnTo>
                  <a:lnTo>
                    <a:pt x="2060447" y="3268028"/>
                  </a:lnTo>
                  <a:lnTo>
                    <a:pt x="2066258" y="3273838"/>
                  </a:lnTo>
                  <a:lnTo>
                    <a:pt x="2071687" y="3268409"/>
                  </a:lnTo>
                  <a:lnTo>
                    <a:pt x="2077354" y="3274077"/>
                  </a:lnTo>
                  <a:lnTo>
                    <a:pt x="2082355" y="3269076"/>
                  </a:lnTo>
                  <a:lnTo>
                    <a:pt x="2088165" y="3274886"/>
                  </a:lnTo>
                  <a:lnTo>
                    <a:pt x="2092642" y="3270409"/>
                  </a:lnTo>
                  <a:lnTo>
                    <a:pt x="2098643" y="3276409"/>
                  </a:lnTo>
                  <a:lnTo>
                    <a:pt x="2102643" y="3272409"/>
                  </a:lnTo>
                  <a:cubicBezTo>
                    <a:pt x="2106072" y="3272409"/>
                    <a:pt x="2108834" y="3275171"/>
                    <a:pt x="2108834" y="3278600"/>
                  </a:cubicBezTo>
                  <a:cubicBezTo>
                    <a:pt x="2108834" y="3282029"/>
                    <a:pt x="2106072" y="3284792"/>
                    <a:pt x="2102643" y="3284792"/>
                  </a:cubicBezTo>
                  <a:lnTo>
                    <a:pt x="2096643" y="3278791"/>
                  </a:lnTo>
                  <a:lnTo>
                    <a:pt x="2092642" y="3282792"/>
                  </a:lnTo>
                  <a:lnTo>
                    <a:pt x="2086832" y="3276982"/>
                  </a:lnTo>
                  <a:lnTo>
                    <a:pt x="2082355" y="3281458"/>
                  </a:lnTo>
                  <a:lnTo>
                    <a:pt x="2076688" y="3275791"/>
                  </a:lnTo>
                  <a:lnTo>
                    <a:pt x="2071687" y="3280791"/>
                  </a:lnTo>
                  <a:lnTo>
                    <a:pt x="2065877" y="3274981"/>
                  </a:lnTo>
                  <a:lnTo>
                    <a:pt x="2060447" y="3280411"/>
                  </a:lnTo>
                  <a:lnTo>
                    <a:pt x="2054590" y="3274553"/>
                  </a:lnTo>
                  <a:lnTo>
                    <a:pt x="2048732" y="3280411"/>
                  </a:lnTo>
                  <a:cubicBezTo>
                    <a:pt x="2045303" y="3280411"/>
                    <a:pt x="2042541" y="3277648"/>
                    <a:pt x="2042541" y="3274219"/>
                  </a:cubicBezTo>
                  <a:cubicBezTo>
                    <a:pt x="2042541" y="3270790"/>
                    <a:pt x="2045303" y="3268028"/>
                    <a:pt x="2048732" y="3268028"/>
                  </a:cubicBezTo>
                  <a:close/>
                  <a:moveTo>
                    <a:pt x="1994153" y="3268028"/>
                  </a:moveTo>
                  <a:cubicBezTo>
                    <a:pt x="1997582" y="3268028"/>
                    <a:pt x="2000344" y="3270790"/>
                    <a:pt x="2000344" y="3274219"/>
                  </a:cubicBezTo>
                  <a:cubicBezTo>
                    <a:pt x="2000344" y="3277648"/>
                    <a:pt x="1997582" y="3280411"/>
                    <a:pt x="1994153" y="3280411"/>
                  </a:cubicBezTo>
                  <a:cubicBezTo>
                    <a:pt x="1990724" y="3280411"/>
                    <a:pt x="1987962" y="3277648"/>
                    <a:pt x="1987962" y="3274219"/>
                  </a:cubicBezTo>
                  <a:cubicBezTo>
                    <a:pt x="1987962" y="3270790"/>
                    <a:pt x="1990724" y="3268028"/>
                    <a:pt x="1994153" y="3268028"/>
                  </a:cubicBezTo>
                  <a:close/>
                  <a:moveTo>
                    <a:pt x="1420558" y="3267456"/>
                  </a:moveTo>
                  <a:cubicBezTo>
                    <a:pt x="1423987" y="3267456"/>
                    <a:pt x="1426749" y="3270218"/>
                    <a:pt x="1426749" y="3273647"/>
                  </a:cubicBezTo>
                  <a:cubicBezTo>
                    <a:pt x="1426749" y="3277076"/>
                    <a:pt x="1423987" y="3279838"/>
                    <a:pt x="1420558" y="3279838"/>
                  </a:cubicBezTo>
                  <a:cubicBezTo>
                    <a:pt x="1417129" y="3279838"/>
                    <a:pt x="1414367" y="3277076"/>
                    <a:pt x="1414367" y="3273647"/>
                  </a:cubicBezTo>
                  <a:cubicBezTo>
                    <a:pt x="1414367" y="3270218"/>
                    <a:pt x="1417129" y="3267456"/>
                    <a:pt x="1420558" y="3267456"/>
                  </a:cubicBezTo>
                  <a:close/>
                  <a:moveTo>
                    <a:pt x="1977961" y="3267171"/>
                  </a:moveTo>
                  <a:cubicBezTo>
                    <a:pt x="1981390" y="3267171"/>
                    <a:pt x="1984153" y="3269933"/>
                    <a:pt x="1984153" y="3273362"/>
                  </a:cubicBezTo>
                  <a:cubicBezTo>
                    <a:pt x="1984153" y="3276791"/>
                    <a:pt x="1981390" y="3279553"/>
                    <a:pt x="1977961" y="3279553"/>
                  </a:cubicBezTo>
                  <a:cubicBezTo>
                    <a:pt x="1974532" y="3279553"/>
                    <a:pt x="1971770" y="3276791"/>
                    <a:pt x="1971770" y="3273362"/>
                  </a:cubicBezTo>
                  <a:cubicBezTo>
                    <a:pt x="1971770" y="3269933"/>
                    <a:pt x="1974532" y="3267171"/>
                    <a:pt x="1977961" y="3267171"/>
                  </a:cubicBezTo>
                  <a:close/>
                  <a:moveTo>
                    <a:pt x="1589055" y="3267075"/>
                  </a:moveTo>
                  <a:cubicBezTo>
                    <a:pt x="1592484" y="3267075"/>
                    <a:pt x="1595247" y="3269837"/>
                    <a:pt x="1595247" y="3273266"/>
                  </a:cubicBezTo>
                  <a:cubicBezTo>
                    <a:pt x="1595247" y="3276695"/>
                    <a:pt x="1592484" y="3279458"/>
                    <a:pt x="1589055" y="3279458"/>
                  </a:cubicBezTo>
                  <a:cubicBezTo>
                    <a:pt x="1585626" y="3279458"/>
                    <a:pt x="1582864" y="3276695"/>
                    <a:pt x="1582864" y="3273266"/>
                  </a:cubicBezTo>
                  <a:cubicBezTo>
                    <a:pt x="1582864" y="3269837"/>
                    <a:pt x="1585626" y="3267075"/>
                    <a:pt x="1589055" y="3267075"/>
                  </a:cubicBezTo>
                  <a:close/>
                  <a:moveTo>
                    <a:pt x="1862708" y="3266599"/>
                  </a:moveTo>
                  <a:cubicBezTo>
                    <a:pt x="1866137" y="3266599"/>
                    <a:pt x="1868900" y="3269361"/>
                    <a:pt x="1868900" y="3272790"/>
                  </a:cubicBezTo>
                  <a:cubicBezTo>
                    <a:pt x="1868900" y="3276219"/>
                    <a:pt x="1866137" y="3278981"/>
                    <a:pt x="1862708" y="3278981"/>
                  </a:cubicBezTo>
                  <a:cubicBezTo>
                    <a:pt x="1859279" y="3278981"/>
                    <a:pt x="1856517" y="3276219"/>
                    <a:pt x="1856517" y="3272790"/>
                  </a:cubicBezTo>
                  <a:cubicBezTo>
                    <a:pt x="1856517" y="3269361"/>
                    <a:pt x="1859279" y="3266599"/>
                    <a:pt x="1862708" y="3266599"/>
                  </a:cubicBezTo>
                  <a:close/>
                  <a:moveTo>
                    <a:pt x="1960625" y="3265551"/>
                  </a:moveTo>
                  <a:cubicBezTo>
                    <a:pt x="1964054" y="3265551"/>
                    <a:pt x="1966817" y="3268313"/>
                    <a:pt x="1966817" y="3271742"/>
                  </a:cubicBezTo>
                  <a:lnTo>
                    <a:pt x="1960626" y="3277934"/>
                  </a:lnTo>
                  <a:lnTo>
                    <a:pt x="1966341" y="3283648"/>
                  </a:lnTo>
                  <a:lnTo>
                    <a:pt x="1961816" y="3288173"/>
                  </a:lnTo>
                  <a:lnTo>
                    <a:pt x="1965579" y="3291935"/>
                  </a:lnTo>
                  <a:lnTo>
                    <a:pt x="1961197" y="3296317"/>
                  </a:lnTo>
                  <a:lnTo>
                    <a:pt x="1965198" y="3300317"/>
                  </a:lnTo>
                  <a:lnTo>
                    <a:pt x="1959720" y="3305795"/>
                  </a:lnTo>
                  <a:lnTo>
                    <a:pt x="1965673" y="3311747"/>
                  </a:lnTo>
                  <a:cubicBezTo>
                    <a:pt x="1965673" y="3315176"/>
                    <a:pt x="1962911" y="3317938"/>
                    <a:pt x="1959482" y="3317938"/>
                  </a:cubicBezTo>
                  <a:cubicBezTo>
                    <a:pt x="1956053" y="3317938"/>
                    <a:pt x="1953291" y="3315176"/>
                    <a:pt x="1953291" y="3311747"/>
                  </a:cubicBezTo>
                  <a:lnTo>
                    <a:pt x="1958768" y="3306271"/>
                  </a:lnTo>
                  <a:lnTo>
                    <a:pt x="1952815" y="3300317"/>
                  </a:lnTo>
                  <a:lnTo>
                    <a:pt x="1957196" y="3295936"/>
                  </a:lnTo>
                  <a:lnTo>
                    <a:pt x="1953196" y="3291935"/>
                  </a:lnTo>
                  <a:lnTo>
                    <a:pt x="1957720" y="3287411"/>
                  </a:lnTo>
                  <a:lnTo>
                    <a:pt x="1953958" y="3283648"/>
                  </a:lnTo>
                  <a:lnTo>
                    <a:pt x="1960149" y="3277458"/>
                  </a:lnTo>
                  <a:lnTo>
                    <a:pt x="1954434" y="3271742"/>
                  </a:lnTo>
                  <a:cubicBezTo>
                    <a:pt x="1954434" y="3268313"/>
                    <a:pt x="1957196" y="3265551"/>
                    <a:pt x="1960625" y="3265551"/>
                  </a:cubicBezTo>
                  <a:close/>
                  <a:moveTo>
                    <a:pt x="1776507" y="3265456"/>
                  </a:moveTo>
                  <a:cubicBezTo>
                    <a:pt x="1779936" y="3265456"/>
                    <a:pt x="1782699" y="3268218"/>
                    <a:pt x="1782699" y="3271647"/>
                  </a:cubicBezTo>
                  <a:cubicBezTo>
                    <a:pt x="1782699" y="3275076"/>
                    <a:pt x="1779936" y="3277838"/>
                    <a:pt x="1776507" y="3277838"/>
                  </a:cubicBezTo>
                  <a:cubicBezTo>
                    <a:pt x="1773078" y="3277838"/>
                    <a:pt x="1770316" y="3275076"/>
                    <a:pt x="1770316" y="3271647"/>
                  </a:cubicBezTo>
                  <a:cubicBezTo>
                    <a:pt x="1770316" y="3268218"/>
                    <a:pt x="1773078" y="3265456"/>
                    <a:pt x="1776507" y="3265456"/>
                  </a:cubicBezTo>
                  <a:close/>
                  <a:moveTo>
                    <a:pt x="1300543" y="3263646"/>
                  </a:moveTo>
                  <a:cubicBezTo>
                    <a:pt x="1303972" y="3263646"/>
                    <a:pt x="1306735" y="3266408"/>
                    <a:pt x="1306735" y="3269837"/>
                  </a:cubicBezTo>
                  <a:cubicBezTo>
                    <a:pt x="1306735" y="3273266"/>
                    <a:pt x="1303972" y="3276028"/>
                    <a:pt x="1300543" y="3276028"/>
                  </a:cubicBezTo>
                  <a:cubicBezTo>
                    <a:pt x="1297114" y="3276028"/>
                    <a:pt x="1294352" y="3273266"/>
                    <a:pt x="1294352" y="3269837"/>
                  </a:cubicBezTo>
                  <a:cubicBezTo>
                    <a:pt x="1294352" y="3266408"/>
                    <a:pt x="1297114" y="3263646"/>
                    <a:pt x="1300543" y="3263646"/>
                  </a:cubicBezTo>
                  <a:close/>
                  <a:moveTo>
                    <a:pt x="1526761" y="3263551"/>
                  </a:moveTo>
                  <a:cubicBezTo>
                    <a:pt x="1530190" y="3263551"/>
                    <a:pt x="1532953" y="3266313"/>
                    <a:pt x="1532953" y="3269742"/>
                  </a:cubicBezTo>
                  <a:cubicBezTo>
                    <a:pt x="1532953" y="3273171"/>
                    <a:pt x="1530190" y="3275934"/>
                    <a:pt x="1526761" y="3275934"/>
                  </a:cubicBezTo>
                  <a:cubicBezTo>
                    <a:pt x="1523332" y="3275934"/>
                    <a:pt x="1520570" y="3273171"/>
                    <a:pt x="1520570" y="3269742"/>
                  </a:cubicBezTo>
                  <a:cubicBezTo>
                    <a:pt x="1520570" y="3266313"/>
                    <a:pt x="1523332" y="3263551"/>
                    <a:pt x="1526761" y="3263551"/>
                  </a:cubicBezTo>
                  <a:close/>
                  <a:moveTo>
                    <a:pt x="1287303" y="3263551"/>
                  </a:moveTo>
                  <a:cubicBezTo>
                    <a:pt x="1290732" y="3263551"/>
                    <a:pt x="1293495" y="3266313"/>
                    <a:pt x="1293495" y="3269742"/>
                  </a:cubicBezTo>
                  <a:cubicBezTo>
                    <a:pt x="1293495" y="3273171"/>
                    <a:pt x="1290732" y="3275934"/>
                    <a:pt x="1287303" y="3275934"/>
                  </a:cubicBezTo>
                  <a:cubicBezTo>
                    <a:pt x="1283874" y="3275934"/>
                    <a:pt x="1281112" y="3273171"/>
                    <a:pt x="1281112" y="3269742"/>
                  </a:cubicBezTo>
                  <a:cubicBezTo>
                    <a:pt x="1281112" y="3266313"/>
                    <a:pt x="1283874" y="3263551"/>
                    <a:pt x="1287303" y="3263551"/>
                  </a:cubicBezTo>
                  <a:close/>
                  <a:moveTo>
                    <a:pt x="1441989" y="3263361"/>
                  </a:moveTo>
                  <a:cubicBezTo>
                    <a:pt x="1445418" y="3263361"/>
                    <a:pt x="1448180" y="3266123"/>
                    <a:pt x="1448180" y="3269552"/>
                  </a:cubicBezTo>
                  <a:cubicBezTo>
                    <a:pt x="1448180" y="3272981"/>
                    <a:pt x="1445418" y="3275743"/>
                    <a:pt x="1441989" y="3275743"/>
                  </a:cubicBezTo>
                  <a:cubicBezTo>
                    <a:pt x="1438560" y="3275743"/>
                    <a:pt x="1435798" y="3272981"/>
                    <a:pt x="1435798" y="3269552"/>
                  </a:cubicBezTo>
                  <a:cubicBezTo>
                    <a:pt x="1435798" y="3266123"/>
                    <a:pt x="1438560" y="3263361"/>
                    <a:pt x="1441989" y="3263361"/>
                  </a:cubicBezTo>
                  <a:close/>
                  <a:moveTo>
                    <a:pt x="1314735" y="3263361"/>
                  </a:moveTo>
                  <a:cubicBezTo>
                    <a:pt x="1318164" y="3263361"/>
                    <a:pt x="1320926" y="3266123"/>
                    <a:pt x="1320926" y="3269552"/>
                  </a:cubicBezTo>
                  <a:cubicBezTo>
                    <a:pt x="1320926" y="3272981"/>
                    <a:pt x="1318164" y="3275743"/>
                    <a:pt x="1314735" y="3275743"/>
                  </a:cubicBezTo>
                  <a:cubicBezTo>
                    <a:pt x="1311306" y="3275743"/>
                    <a:pt x="1308544" y="3272981"/>
                    <a:pt x="1308544" y="3269552"/>
                  </a:cubicBezTo>
                  <a:cubicBezTo>
                    <a:pt x="1308544" y="3266123"/>
                    <a:pt x="1311306" y="3263361"/>
                    <a:pt x="1314735" y="3263361"/>
                  </a:cubicBezTo>
                  <a:close/>
                  <a:moveTo>
                    <a:pt x="1941956" y="3262979"/>
                  </a:moveTo>
                  <a:cubicBezTo>
                    <a:pt x="1945385" y="3262979"/>
                    <a:pt x="1948148" y="3265741"/>
                    <a:pt x="1948148" y="3269170"/>
                  </a:cubicBezTo>
                  <a:cubicBezTo>
                    <a:pt x="1948148" y="3272599"/>
                    <a:pt x="1945385" y="3275361"/>
                    <a:pt x="1941956" y="3275361"/>
                  </a:cubicBezTo>
                  <a:cubicBezTo>
                    <a:pt x="1938527" y="3275361"/>
                    <a:pt x="1935765" y="3272599"/>
                    <a:pt x="1935765" y="3269170"/>
                  </a:cubicBezTo>
                  <a:cubicBezTo>
                    <a:pt x="1935765" y="3265741"/>
                    <a:pt x="1938527" y="3262979"/>
                    <a:pt x="1941956" y="3262979"/>
                  </a:cubicBezTo>
                  <a:close/>
                  <a:moveTo>
                    <a:pt x="1329975" y="3262598"/>
                  </a:moveTo>
                  <a:cubicBezTo>
                    <a:pt x="1333404" y="3262598"/>
                    <a:pt x="1336167" y="3265360"/>
                    <a:pt x="1336167" y="3268789"/>
                  </a:cubicBezTo>
                  <a:cubicBezTo>
                    <a:pt x="1336167" y="3272218"/>
                    <a:pt x="1333404" y="3274981"/>
                    <a:pt x="1329975" y="3274981"/>
                  </a:cubicBezTo>
                  <a:cubicBezTo>
                    <a:pt x="1326546" y="3274981"/>
                    <a:pt x="1323784" y="3272218"/>
                    <a:pt x="1323784" y="3268789"/>
                  </a:cubicBezTo>
                  <a:cubicBezTo>
                    <a:pt x="1323784" y="3265360"/>
                    <a:pt x="1326546" y="3262598"/>
                    <a:pt x="1329975" y="3262598"/>
                  </a:cubicBezTo>
                  <a:close/>
                  <a:moveTo>
                    <a:pt x="1346453" y="3261170"/>
                  </a:moveTo>
                  <a:cubicBezTo>
                    <a:pt x="1349882" y="3261170"/>
                    <a:pt x="1352644" y="3263932"/>
                    <a:pt x="1352644" y="3267361"/>
                  </a:cubicBezTo>
                  <a:cubicBezTo>
                    <a:pt x="1352644" y="3270790"/>
                    <a:pt x="1349882" y="3273553"/>
                    <a:pt x="1346453" y="3273553"/>
                  </a:cubicBezTo>
                  <a:cubicBezTo>
                    <a:pt x="1343024" y="3273553"/>
                    <a:pt x="1340262" y="3270790"/>
                    <a:pt x="1340262" y="3267361"/>
                  </a:cubicBezTo>
                  <a:cubicBezTo>
                    <a:pt x="1340262" y="3263932"/>
                    <a:pt x="1343024" y="3261170"/>
                    <a:pt x="1346453" y="3261170"/>
                  </a:cubicBezTo>
                  <a:close/>
                  <a:moveTo>
                    <a:pt x="1838515" y="3260694"/>
                  </a:moveTo>
                  <a:cubicBezTo>
                    <a:pt x="1841944" y="3260694"/>
                    <a:pt x="1844707" y="3263456"/>
                    <a:pt x="1844707" y="3266885"/>
                  </a:cubicBezTo>
                  <a:cubicBezTo>
                    <a:pt x="1844707" y="3270314"/>
                    <a:pt x="1841944" y="3273076"/>
                    <a:pt x="1838515" y="3273076"/>
                  </a:cubicBezTo>
                  <a:cubicBezTo>
                    <a:pt x="1835086" y="3273076"/>
                    <a:pt x="1832324" y="3270314"/>
                    <a:pt x="1832324" y="3266885"/>
                  </a:cubicBezTo>
                  <a:cubicBezTo>
                    <a:pt x="1832324" y="3263456"/>
                    <a:pt x="1835086" y="3260694"/>
                    <a:pt x="1838515" y="3260694"/>
                  </a:cubicBezTo>
                  <a:close/>
                  <a:moveTo>
                    <a:pt x="1921668" y="3259265"/>
                  </a:moveTo>
                  <a:cubicBezTo>
                    <a:pt x="1925097" y="3259265"/>
                    <a:pt x="1927859" y="3262027"/>
                    <a:pt x="1927859" y="3265456"/>
                  </a:cubicBezTo>
                  <a:cubicBezTo>
                    <a:pt x="1927859" y="3268885"/>
                    <a:pt x="1925097" y="3271647"/>
                    <a:pt x="1921668" y="3271647"/>
                  </a:cubicBezTo>
                  <a:cubicBezTo>
                    <a:pt x="1918239" y="3271647"/>
                    <a:pt x="1915477" y="3268885"/>
                    <a:pt x="1915477" y="3265456"/>
                  </a:cubicBezTo>
                  <a:cubicBezTo>
                    <a:pt x="1915477" y="3262027"/>
                    <a:pt x="1918239" y="3259265"/>
                    <a:pt x="1921668" y="3259265"/>
                  </a:cubicBezTo>
                  <a:close/>
                  <a:moveTo>
                    <a:pt x="1246965" y="3259217"/>
                  </a:moveTo>
                  <a:lnTo>
                    <a:pt x="1241916" y="3264266"/>
                  </a:lnTo>
                  <a:lnTo>
                    <a:pt x="1246488" y="3268838"/>
                  </a:lnTo>
                  <a:lnTo>
                    <a:pt x="1251537" y="3263789"/>
                  </a:lnTo>
                  <a:close/>
                  <a:moveTo>
                    <a:pt x="1364170" y="3258788"/>
                  </a:moveTo>
                  <a:cubicBezTo>
                    <a:pt x="1367599" y="3258788"/>
                    <a:pt x="1370361" y="3261550"/>
                    <a:pt x="1370361" y="3264979"/>
                  </a:cubicBezTo>
                  <a:cubicBezTo>
                    <a:pt x="1370361" y="3268408"/>
                    <a:pt x="1367599" y="3271171"/>
                    <a:pt x="1364170" y="3271171"/>
                  </a:cubicBezTo>
                  <a:cubicBezTo>
                    <a:pt x="1360741" y="3271171"/>
                    <a:pt x="1357979" y="3268408"/>
                    <a:pt x="1357979" y="3264979"/>
                  </a:cubicBezTo>
                  <a:cubicBezTo>
                    <a:pt x="1357979" y="3261550"/>
                    <a:pt x="1360741" y="3258788"/>
                    <a:pt x="1364170" y="3258788"/>
                  </a:cubicBezTo>
                  <a:close/>
                  <a:moveTo>
                    <a:pt x="1683448" y="3258598"/>
                  </a:moveTo>
                  <a:cubicBezTo>
                    <a:pt x="1686877" y="3258598"/>
                    <a:pt x="1689640" y="3261360"/>
                    <a:pt x="1689640" y="3264789"/>
                  </a:cubicBezTo>
                  <a:cubicBezTo>
                    <a:pt x="1689640" y="3268218"/>
                    <a:pt x="1686877" y="3270980"/>
                    <a:pt x="1683448" y="3270980"/>
                  </a:cubicBezTo>
                  <a:cubicBezTo>
                    <a:pt x="1680019" y="3270980"/>
                    <a:pt x="1677257" y="3268218"/>
                    <a:pt x="1677257" y="3264789"/>
                  </a:cubicBezTo>
                  <a:cubicBezTo>
                    <a:pt x="1677257" y="3261360"/>
                    <a:pt x="1680019" y="3258598"/>
                    <a:pt x="1683448" y="3258598"/>
                  </a:cubicBezTo>
                  <a:close/>
                  <a:moveTo>
                    <a:pt x="1618678" y="3258122"/>
                  </a:moveTo>
                  <a:cubicBezTo>
                    <a:pt x="1622107" y="3258122"/>
                    <a:pt x="1624870" y="3260884"/>
                    <a:pt x="1624870" y="3264313"/>
                  </a:cubicBezTo>
                  <a:cubicBezTo>
                    <a:pt x="1624870" y="3267742"/>
                    <a:pt x="1622107" y="3270505"/>
                    <a:pt x="1618678" y="3270505"/>
                  </a:cubicBezTo>
                  <a:cubicBezTo>
                    <a:pt x="1615249" y="3270505"/>
                    <a:pt x="1612487" y="3267742"/>
                    <a:pt x="1612487" y="3264313"/>
                  </a:cubicBezTo>
                  <a:cubicBezTo>
                    <a:pt x="1612487" y="3260884"/>
                    <a:pt x="1615249" y="3258122"/>
                    <a:pt x="1618678" y="3258122"/>
                  </a:cubicBezTo>
                  <a:close/>
                  <a:moveTo>
                    <a:pt x="2057304" y="3257931"/>
                  </a:moveTo>
                  <a:cubicBezTo>
                    <a:pt x="2060733" y="3257931"/>
                    <a:pt x="2063496" y="3260693"/>
                    <a:pt x="2063496" y="3264122"/>
                  </a:cubicBezTo>
                  <a:cubicBezTo>
                    <a:pt x="2063496" y="3267551"/>
                    <a:pt x="2060733" y="3270313"/>
                    <a:pt x="2057304" y="3270313"/>
                  </a:cubicBezTo>
                  <a:cubicBezTo>
                    <a:pt x="2053875" y="3270313"/>
                    <a:pt x="2051113" y="3267551"/>
                    <a:pt x="2051113" y="3264122"/>
                  </a:cubicBezTo>
                  <a:cubicBezTo>
                    <a:pt x="2051113" y="3260693"/>
                    <a:pt x="2053875" y="3257931"/>
                    <a:pt x="2057304" y="3257931"/>
                  </a:cubicBezTo>
                  <a:close/>
                  <a:moveTo>
                    <a:pt x="1465135" y="3257836"/>
                  </a:moveTo>
                  <a:cubicBezTo>
                    <a:pt x="1468564" y="3257836"/>
                    <a:pt x="1471327" y="3260598"/>
                    <a:pt x="1471327" y="3264027"/>
                  </a:cubicBezTo>
                  <a:cubicBezTo>
                    <a:pt x="1471327" y="3267456"/>
                    <a:pt x="1468564" y="3270219"/>
                    <a:pt x="1465135" y="3270219"/>
                  </a:cubicBezTo>
                  <a:cubicBezTo>
                    <a:pt x="1461706" y="3270219"/>
                    <a:pt x="1458944" y="3267456"/>
                    <a:pt x="1458944" y="3264027"/>
                  </a:cubicBezTo>
                  <a:cubicBezTo>
                    <a:pt x="1458944" y="3260598"/>
                    <a:pt x="1461706" y="3257836"/>
                    <a:pt x="1465135" y="3257836"/>
                  </a:cubicBezTo>
                  <a:close/>
                  <a:moveTo>
                    <a:pt x="2044064" y="3257646"/>
                  </a:moveTo>
                  <a:cubicBezTo>
                    <a:pt x="2047493" y="3257646"/>
                    <a:pt x="2050256" y="3260408"/>
                    <a:pt x="2050256" y="3263837"/>
                  </a:cubicBezTo>
                  <a:cubicBezTo>
                    <a:pt x="2050256" y="3267266"/>
                    <a:pt x="2047493" y="3270028"/>
                    <a:pt x="2044064" y="3270028"/>
                  </a:cubicBezTo>
                  <a:cubicBezTo>
                    <a:pt x="2040635" y="3270028"/>
                    <a:pt x="2037873" y="3267266"/>
                    <a:pt x="2037873" y="3263837"/>
                  </a:cubicBezTo>
                  <a:cubicBezTo>
                    <a:pt x="2037873" y="3260408"/>
                    <a:pt x="2040635" y="3257646"/>
                    <a:pt x="2044064" y="3257646"/>
                  </a:cubicBezTo>
                  <a:close/>
                  <a:moveTo>
                    <a:pt x="2029777" y="3256979"/>
                  </a:moveTo>
                  <a:cubicBezTo>
                    <a:pt x="2033206" y="3256979"/>
                    <a:pt x="2035969" y="3259741"/>
                    <a:pt x="2035969" y="3263170"/>
                  </a:cubicBezTo>
                  <a:cubicBezTo>
                    <a:pt x="2035969" y="3266599"/>
                    <a:pt x="2033206" y="3269362"/>
                    <a:pt x="2029777" y="3269362"/>
                  </a:cubicBezTo>
                  <a:cubicBezTo>
                    <a:pt x="2026348" y="3269362"/>
                    <a:pt x="2023586" y="3266599"/>
                    <a:pt x="2023586" y="3263170"/>
                  </a:cubicBezTo>
                  <a:cubicBezTo>
                    <a:pt x="2023586" y="3259741"/>
                    <a:pt x="2026348" y="3256979"/>
                    <a:pt x="2029777" y="3256979"/>
                  </a:cubicBezTo>
                  <a:close/>
                  <a:moveTo>
                    <a:pt x="1748027" y="3256979"/>
                  </a:moveTo>
                  <a:cubicBezTo>
                    <a:pt x="1751456" y="3256979"/>
                    <a:pt x="1754219" y="3259741"/>
                    <a:pt x="1754219" y="3263170"/>
                  </a:cubicBezTo>
                  <a:cubicBezTo>
                    <a:pt x="1754219" y="3266599"/>
                    <a:pt x="1751456" y="3269362"/>
                    <a:pt x="1748027" y="3269362"/>
                  </a:cubicBezTo>
                  <a:cubicBezTo>
                    <a:pt x="1744598" y="3269362"/>
                    <a:pt x="1741836" y="3266599"/>
                    <a:pt x="1741836" y="3263170"/>
                  </a:cubicBezTo>
                  <a:cubicBezTo>
                    <a:pt x="1741836" y="3259741"/>
                    <a:pt x="1744598" y="3256979"/>
                    <a:pt x="1748027" y="3256979"/>
                  </a:cubicBezTo>
                  <a:close/>
                  <a:moveTo>
                    <a:pt x="2014441" y="3255645"/>
                  </a:moveTo>
                  <a:cubicBezTo>
                    <a:pt x="2017870" y="3255645"/>
                    <a:pt x="2020633" y="3258407"/>
                    <a:pt x="2020633" y="3261836"/>
                  </a:cubicBezTo>
                  <a:cubicBezTo>
                    <a:pt x="2020633" y="3265265"/>
                    <a:pt x="2017870" y="3268027"/>
                    <a:pt x="2014441" y="3268027"/>
                  </a:cubicBezTo>
                  <a:cubicBezTo>
                    <a:pt x="2011012" y="3268027"/>
                    <a:pt x="2008250" y="3265265"/>
                    <a:pt x="2008250" y="3261836"/>
                  </a:cubicBezTo>
                  <a:cubicBezTo>
                    <a:pt x="2008250" y="3258407"/>
                    <a:pt x="2011012" y="3255645"/>
                    <a:pt x="2014441" y="3255645"/>
                  </a:cubicBezTo>
                  <a:close/>
                  <a:moveTo>
                    <a:pt x="1554194" y="3255455"/>
                  </a:moveTo>
                  <a:cubicBezTo>
                    <a:pt x="1557623" y="3255455"/>
                    <a:pt x="1560386" y="3258217"/>
                    <a:pt x="1560386" y="3261646"/>
                  </a:cubicBezTo>
                  <a:cubicBezTo>
                    <a:pt x="1560386" y="3265075"/>
                    <a:pt x="1557623" y="3267838"/>
                    <a:pt x="1554194" y="3267838"/>
                  </a:cubicBezTo>
                  <a:cubicBezTo>
                    <a:pt x="1550765" y="3267838"/>
                    <a:pt x="1548003" y="3265075"/>
                    <a:pt x="1548003" y="3261646"/>
                  </a:cubicBezTo>
                  <a:cubicBezTo>
                    <a:pt x="1548003" y="3258217"/>
                    <a:pt x="1550765" y="3255455"/>
                    <a:pt x="1554194" y="3255455"/>
                  </a:cubicBezTo>
                  <a:close/>
                  <a:moveTo>
                    <a:pt x="1383410" y="3255264"/>
                  </a:moveTo>
                  <a:cubicBezTo>
                    <a:pt x="1386839" y="3255264"/>
                    <a:pt x="1389602" y="3258026"/>
                    <a:pt x="1389602" y="3261455"/>
                  </a:cubicBezTo>
                  <a:cubicBezTo>
                    <a:pt x="1389602" y="3264884"/>
                    <a:pt x="1386839" y="3267646"/>
                    <a:pt x="1383410" y="3267646"/>
                  </a:cubicBezTo>
                  <a:cubicBezTo>
                    <a:pt x="1379981" y="3267646"/>
                    <a:pt x="1377219" y="3264884"/>
                    <a:pt x="1377219" y="3261455"/>
                  </a:cubicBezTo>
                  <a:cubicBezTo>
                    <a:pt x="1377219" y="3258026"/>
                    <a:pt x="1379981" y="3255264"/>
                    <a:pt x="1383410" y="3255264"/>
                  </a:cubicBezTo>
                  <a:close/>
                  <a:moveTo>
                    <a:pt x="1899761" y="3254026"/>
                  </a:moveTo>
                  <a:cubicBezTo>
                    <a:pt x="1903190" y="3254026"/>
                    <a:pt x="1905953" y="3256788"/>
                    <a:pt x="1905953" y="3260217"/>
                  </a:cubicBezTo>
                  <a:cubicBezTo>
                    <a:pt x="1905953" y="3263646"/>
                    <a:pt x="1903190" y="3266409"/>
                    <a:pt x="1899761" y="3266409"/>
                  </a:cubicBezTo>
                  <a:cubicBezTo>
                    <a:pt x="1896332" y="3266409"/>
                    <a:pt x="1893570" y="3263646"/>
                    <a:pt x="1893570" y="3260217"/>
                  </a:cubicBezTo>
                  <a:cubicBezTo>
                    <a:pt x="1893570" y="3256788"/>
                    <a:pt x="1896332" y="3254026"/>
                    <a:pt x="1899761" y="3254026"/>
                  </a:cubicBezTo>
                  <a:close/>
                  <a:moveTo>
                    <a:pt x="1997773" y="3253454"/>
                  </a:moveTo>
                  <a:cubicBezTo>
                    <a:pt x="2001202" y="3253454"/>
                    <a:pt x="2003965" y="3256216"/>
                    <a:pt x="2003965" y="3259645"/>
                  </a:cubicBezTo>
                  <a:cubicBezTo>
                    <a:pt x="2003965" y="3263074"/>
                    <a:pt x="2001202" y="3265836"/>
                    <a:pt x="1997773" y="3265836"/>
                  </a:cubicBezTo>
                  <a:cubicBezTo>
                    <a:pt x="1994344" y="3265836"/>
                    <a:pt x="1991582" y="3263074"/>
                    <a:pt x="1991582" y="3259645"/>
                  </a:cubicBezTo>
                  <a:cubicBezTo>
                    <a:pt x="1991582" y="3256216"/>
                    <a:pt x="1994344" y="3253454"/>
                    <a:pt x="1997773" y="3253454"/>
                  </a:cubicBezTo>
                  <a:close/>
                  <a:moveTo>
                    <a:pt x="1812416" y="3253073"/>
                  </a:moveTo>
                  <a:cubicBezTo>
                    <a:pt x="1815845" y="3253073"/>
                    <a:pt x="1818607" y="3255835"/>
                    <a:pt x="1818607" y="3259264"/>
                  </a:cubicBezTo>
                  <a:cubicBezTo>
                    <a:pt x="1818607" y="3262693"/>
                    <a:pt x="1815845" y="3265456"/>
                    <a:pt x="1812416" y="3265456"/>
                  </a:cubicBezTo>
                  <a:cubicBezTo>
                    <a:pt x="1808987" y="3265456"/>
                    <a:pt x="1806225" y="3262693"/>
                    <a:pt x="1806225" y="3259264"/>
                  </a:cubicBezTo>
                  <a:cubicBezTo>
                    <a:pt x="1806225" y="3255835"/>
                    <a:pt x="1808987" y="3253073"/>
                    <a:pt x="1812416" y="3253073"/>
                  </a:cubicBezTo>
                  <a:close/>
                  <a:moveTo>
                    <a:pt x="1130141" y="3252788"/>
                  </a:moveTo>
                  <a:cubicBezTo>
                    <a:pt x="1132808" y="3252788"/>
                    <a:pt x="1134999" y="3254979"/>
                    <a:pt x="1134999" y="3257646"/>
                  </a:cubicBezTo>
                  <a:cubicBezTo>
                    <a:pt x="1134999" y="3260313"/>
                    <a:pt x="1132808" y="3262504"/>
                    <a:pt x="1130141" y="3262504"/>
                  </a:cubicBezTo>
                  <a:cubicBezTo>
                    <a:pt x="1127474" y="3262504"/>
                    <a:pt x="1125283" y="3260313"/>
                    <a:pt x="1125283" y="3257646"/>
                  </a:cubicBezTo>
                  <a:cubicBezTo>
                    <a:pt x="1125283" y="3254979"/>
                    <a:pt x="1127474" y="3252788"/>
                    <a:pt x="1130141" y="3252788"/>
                  </a:cubicBezTo>
                  <a:close/>
                  <a:moveTo>
                    <a:pt x="1265300" y="3252502"/>
                  </a:moveTo>
                  <a:cubicBezTo>
                    <a:pt x="1268729" y="3252502"/>
                    <a:pt x="1271492" y="3255264"/>
                    <a:pt x="1271492" y="3258693"/>
                  </a:cubicBezTo>
                  <a:cubicBezTo>
                    <a:pt x="1271492" y="3262122"/>
                    <a:pt x="1268729" y="3264885"/>
                    <a:pt x="1265300" y="3264885"/>
                  </a:cubicBezTo>
                  <a:cubicBezTo>
                    <a:pt x="1261871" y="3264885"/>
                    <a:pt x="1259109" y="3262122"/>
                    <a:pt x="1259109" y="3258693"/>
                  </a:cubicBezTo>
                  <a:cubicBezTo>
                    <a:pt x="1259109" y="3255264"/>
                    <a:pt x="1261871" y="3252502"/>
                    <a:pt x="1265300" y="3252502"/>
                  </a:cubicBezTo>
                  <a:close/>
                  <a:moveTo>
                    <a:pt x="1220057" y="3252502"/>
                  </a:moveTo>
                  <a:lnTo>
                    <a:pt x="1225201" y="3257645"/>
                  </a:lnTo>
                  <a:lnTo>
                    <a:pt x="1230344" y="3252502"/>
                  </a:lnTo>
                  <a:lnTo>
                    <a:pt x="1235821" y="3257978"/>
                  </a:lnTo>
                  <a:lnTo>
                    <a:pt x="1241202" y="3252597"/>
                  </a:lnTo>
                  <a:lnTo>
                    <a:pt x="1247061" y="3258455"/>
                  </a:lnTo>
                  <a:lnTo>
                    <a:pt x="1252823" y="3252693"/>
                  </a:lnTo>
                  <a:cubicBezTo>
                    <a:pt x="1256252" y="3252693"/>
                    <a:pt x="1259014" y="3255455"/>
                    <a:pt x="1259014" y="3258884"/>
                  </a:cubicBezTo>
                  <a:lnTo>
                    <a:pt x="1253251" y="3264647"/>
                  </a:lnTo>
                  <a:lnTo>
                    <a:pt x="1257490" y="3268885"/>
                  </a:lnTo>
                  <a:lnTo>
                    <a:pt x="1263110" y="3263265"/>
                  </a:lnTo>
                  <a:lnTo>
                    <a:pt x="1269063" y="3269218"/>
                  </a:lnTo>
                  <a:lnTo>
                    <a:pt x="1274825" y="3263456"/>
                  </a:lnTo>
                  <a:cubicBezTo>
                    <a:pt x="1278254" y="3263456"/>
                    <a:pt x="1281017" y="3266218"/>
                    <a:pt x="1281017" y="3269647"/>
                  </a:cubicBezTo>
                  <a:cubicBezTo>
                    <a:pt x="1281017" y="3273076"/>
                    <a:pt x="1278254" y="3275839"/>
                    <a:pt x="1274825" y="3275839"/>
                  </a:cubicBezTo>
                  <a:lnTo>
                    <a:pt x="1268872" y="3269885"/>
                  </a:lnTo>
                  <a:lnTo>
                    <a:pt x="1263110" y="3275648"/>
                  </a:lnTo>
                  <a:lnTo>
                    <a:pt x="1257586" y="3270123"/>
                  </a:lnTo>
                  <a:lnTo>
                    <a:pt x="1251965" y="3275743"/>
                  </a:lnTo>
                  <a:lnTo>
                    <a:pt x="1246869" y="3270648"/>
                  </a:lnTo>
                  <a:lnTo>
                    <a:pt x="1241392" y="3276124"/>
                  </a:lnTo>
                  <a:lnTo>
                    <a:pt x="1236773" y="3271505"/>
                  </a:lnTo>
                  <a:lnTo>
                    <a:pt x="1231296" y="3276981"/>
                  </a:lnTo>
                  <a:lnTo>
                    <a:pt x="1227106" y="3272791"/>
                  </a:lnTo>
                  <a:lnTo>
                    <a:pt x="1221485" y="3278410"/>
                  </a:lnTo>
                  <a:lnTo>
                    <a:pt x="1217675" y="3274600"/>
                  </a:lnTo>
                  <a:lnTo>
                    <a:pt x="1211865" y="3280411"/>
                  </a:lnTo>
                  <a:lnTo>
                    <a:pt x="1208626" y="3277172"/>
                  </a:lnTo>
                  <a:lnTo>
                    <a:pt x="1202530" y="3283267"/>
                  </a:lnTo>
                  <a:cubicBezTo>
                    <a:pt x="1199101" y="3283267"/>
                    <a:pt x="1196339" y="3280505"/>
                    <a:pt x="1196339" y="3277076"/>
                  </a:cubicBezTo>
                  <a:cubicBezTo>
                    <a:pt x="1196339" y="3273647"/>
                    <a:pt x="1199101" y="3270885"/>
                    <a:pt x="1202530" y="3270885"/>
                  </a:cubicBezTo>
                  <a:lnTo>
                    <a:pt x="1205769" y="3274124"/>
                  </a:lnTo>
                  <a:lnTo>
                    <a:pt x="1211865" y="3268028"/>
                  </a:lnTo>
                  <a:lnTo>
                    <a:pt x="1215675" y="3271838"/>
                  </a:lnTo>
                  <a:lnTo>
                    <a:pt x="1221485" y="3266028"/>
                  </a:lnTo>
                  <a:lnTo>
                    <a:pt x="1225676" y="3270219"/>
                  </a:lnTo>
                  <a:lnTo>
                    <a:pt x="1231296" y="3264599"/>
                  </a:lnTo>
                  <a:lnTo>
                    <a:pt x="1235916" y="3269218"/>
                  </a:lnTo>
                  <a:lnTo>
                    <a:pt x="1240679" y="3264456"/>
                  </a:lnTo>
                  <a:lnTo>
                    <a:pt x="1235726" y="3259503"/>
                  </a:lnTo>
                  <a:lnTo>
                    <a:pt x="1230344" y="3264885"/>
                  </a:lnTo>
                  <a:lnTo>
                    <a:pt x="1225201" y="3259741"/>
                  </a:lnTo>
                  <a:lnTo>
                    <a:pt x="1220057" y="3264885"/>
                  </a:lnTo>
                  <a:lnTo>
                    <a:pt x="1215247" y="3260074"/>
                  </a:lnTo>
                  <a:lnTo>
                    <a:pt x="1210246" y="3265075"/>
                  </a:lnTo>
                  <a:lnTo>
                    <a:pt x="1205817" y="3260646"/>
                  </a:lnTo>
                  <a:lnTo>
                    <a:pt x="1200816" y="3265646"/>
                  </a:lnTo>
                  <a:lnTo>
                    <a:pt x="1196864" y="3261694"/>
                  </a:lnTo>
                  <a:lnTo>
                    <a:pt x="1191863" y="3266695"/>
                  </a:lnTo>
                  <a:lnTo>
                    <a:pt x="1188291" y="3263122"/>
                  </a:lnTo>
                  <a:lnTo>
                    <a:pt x="1183099" y="3268313"/>
                  </a:lnTo>
                  <a:lnTo>
                    <a:pt x="1179956" y="3265170"/>
                  </a:lnTo>
                  <a:lnTo>
                    <a:pt x="1174432" y="3270694"/>
                  </a:lnTo>
                  <a:lnTo>
                    <a:pt x="1171766" y="3268028"/>
                  </a:lnTo>
                  <a:lnTo>
                    <a:pt x="1166050" y="3273742"/>
                  </a:lnTo>
                  <a:cubicBezTo>
                    <a:pt x="1162621" y="3273742"/>
                    <a:pt x="1159859" y="3270980"/>
                    <a:pt x="1159859" y="3267551"/>
                  </a:cubicBezTo>
                  <a:cubicBezTo>
                    <a:pt x="1159859" y="3264122"/>
                    <a:pt x="1162621" y="3261360"/>
                    <a:pt x="1166050" y="3261360"/>
                  </a:cubicBezTo>
                  <a:lnTo>
                    <a:pt x="1168717" y="3264027"/>
                  </a:lnTo>
                  <a:lnTo>
                    <a:pt x="1174432" y="3258312"/>
                  </a:lnTo>
                  <a:lnTo>
                    <a:pt x="1177575" y="3261455"/>
                  </a:lnTo>
                  <a:lnTo>
                    <a:pt x="1183099" y="3255931"/>
                  </a:lnTo>
                  <a:lnTo>
                    <a:pt x="1186672" y="3259503"/>
                  </a:lnTo>
                  <a:lnTo>
                    <a:pt x="1191863" y="3254312"/>
                  </a:lnTo>
                  <a:lnTo>
                    <a:pt x="1195816" y="3258265"/>
                  </a:lnTo>
                  <a:lnTo>
                    <a:pt x="1200816" y="3253264"/>
                  </a:lnTo>
                  <a:lnTo>
                    <a:pt x="1205246" y="3257693"/>
                  </a:lnTo>
                  <a:lnTo>
                    <a:pt x="1210246" y="3252693"/>
                  </a:lnTo>
                  <a:lnTo>
                    <a:pt x="1215056" y="3257503"/>
                  </a:lnTo>
                  <a:close/>
                  <a:moveTo>
                    <a:pt x="1278731" y="3251835"/>
                  </a:moveTo>
                  <a:cubicBezTo>
                    <a:pt x="1282160" y="3251835"/>
                    <a:pt x="1284922" y="3254597"/>
                    <a:pt x="1284922" y="3258026"/>
                  </a:cubicBezTo>
                  <a:cubicBezTo>
                    <a:pt x="1284922" y="3261455"/>
                    <a:pt x="1282160" y="3264217"/>
                    <a:pt x="1278731" y="3264217"/>
                  </a:cubicBezTo>
                  <a:cubicBezTo>
                    <a:pt x="1275302" y="3264217"/>
                    <a:pt x="1272540" y="3261455"/>
                    <a:pt x="1272540" y="3258026"/>
                  </a:cubicBezTo>
                  <a:cubicBezTo>
                    <a:pt x="1272540" y="3254597"/>
                    <a:pt x="1275302" y="3251835"/>
                    <a:pt x="1278731" y="3251835"/>
                  </a:cubicBezTo>
                  <a:close/>
                  <a:moveTo>
                    <a:pt x="1490090" y="3250597"/>
                  </a:moveTo>
                  <a:cubicBezTo>
                    <a:pt x="1493519" y="3250597"/>
                    <a:pt x="1496282" y="3253359"/>
                    <a:pt x="1496282" y="3256788"/>
                  </a:cubicBezTo>
                  <a:cubicBezTo>
                    <a:pt x="1496282" y="3260217"/>
                    <a:pt x="1493519" y="3262979"/>
                    <a:pt x="1490090" y="3262979"/>
                  </a:cubicBezTo>
                  <a:cubicBezTo>
                    <a:pt x="1486661" y="3262979"/>
                    <a:pt x="1483899" y="3260217"/>
                    <a:pt x="1483899" y="3256788"/>
                  </a:cubicBezTo>
                  <a:cubicBezTo>
                    <a:pt x="1483899" y="3253359"/>
                    <a:pt x="1486661" y="3250597"/>
                    <a:pt x="1490090" y="3250597"/>
                  </a:cubicBezTo>
                  <a:close/>
                  <a:moveTo>
                    <a:pt x="1293113" y="3250597"/>
                  </a:moveTo>
                  <a:cubicBezTo>
                    <a:pt x="1296542" y="3250597"/>
                    <a:pt x="1299305" y="3253359"/>
                    <a:pt x="1299305" y="3256788"/>
                  </a:cubicBezTo>
                  <a:cubicBezTo>
                    <a:pt x="1299305" y="3260217"/>
                    <a:pt x="1296542" y="3262979"/>
                    <a:pt x="1293113" y="3262979"/>
                  </a:cubicBezTo>
                  <a:cubicBezTo>
                    <a:pt x="1289684" y="3262979"/>
                    <a:pt x="1286922" y="3260217"/>
                    <a:pt x="1286922" y="3256788"/>
                  </a:cubicBezTo>
                  <a:cubicBezTo>
                    <a:pt x="1286922" y="3253359"/>
                    <a:pt x="1289684" y="3250597"/>
                    <a:pt x="1293113" y="3250597"/>
                  </a:cubicBezTo>
                  <a:close/>
                  <a:moveTo>
                    <a:pt x="1404175" y="3250216"/>
                  </a:moveTo>
                  <a:cubicBezTo>
                    <a:pt x="1407604" y="3250216"/>
                    <a:pt x="1410367" y="3252978"/>
                    <a:pt x="1410367" y="3256407"/>
                  </a:cubicBezTo>
                  <a:cubicBezTo>
                    <a:pt x="1410367" y="3259836"/>
                    <a:pt x="1407604" y="3262598"/>
                    <a:pt x="1404175" y="3262598"/>
                  </a:cubicBezTo>
                  <a:cubicBezTo>
                    <a:pt x="1400746" y="3262598"/>
                    <a:pt x="1397984" y="3259836"/>
                    <a:pt x="1397984" y="3256407"/>
                  </a:cubicBezTo>
                  <a:cubicBezTo>
                    <a:pt x="1397984" y="3252978"/>
                    <a:pt x="1400746" y="3250216"/>
                    <a:pt x="1404175" y="3250216"/>
                  </a:cubicBezTo>
                  <a:close/>
                  <a:moveTo>
                    <a:pt x="1979770" y="3250121"/>
                  </a:moveTo>
                  <a:cubicBezTo>
                    <a:pt x="1983199" y="3250121"/>
                    <a:pt x="1985962" y="3252883"/>
                    <a:pt x="1985962" y="3256312"/>
                  </a:cubicBezTo>
                  <a:cubicBezTo>
                    <a:pt x="1985962" y="3259741"/>
                    <a:pt x="1983199" y="3262504"/>
                    <a:pt x="1979770" y="3262504"/>
                  </a:cubicBezTo>
                  <a:cubicBezTo>
                    <a:pt x="1976341" y="3262504"/>
                    <a:pt x="1973579" y="3259741"/>
                    <a:pt x="1973579" y="3256312"/>
                  </a:cubicBezTo>
                  <a:cubicBezTo>
                    <a:pt x="1973579" y="3252883"/>
                    <a:pt x="1976341" y="3250121"/>
                    <a:pt x="1979770" y="3250121"/>
                  </a:cubicBezTo>
                  <a:close/>
                  <a:moveTo>
                    <a:pt x="1308829" y="3248406"/>
                  </a:moveTo>
                  <a:cubicBezTo>
                    <a:pt x="1312258" y="3248406"/>
                    <a:pt x="1315021" y="3251168"/>
                    <a:pt x="1315021" y="3254597"/>
                  </a:cubicBezTo>
                  <a:cubicBezTo>
                    <a:pt x="1315021" y="3258026"/>
                    <a:pt x="1312258" y="3260788"/>
                    <a:pt x="1308829" y="3260788"/>
                  </a:cubicBezTo>
                  <a:cubicBezTo>
                    <a:pt x="1305400" y="3260788"/>
                    <a:pt x="1302638" y="3258026"/>
                    <a:pt x="1302638" y="3254597"/>
                  </a:cubicBezTo>
                  <a:cubicBezTo>
                    <a:pt x="1302638" y="3251168"/>
                    <a:pt x="1305400" y="3248406"/>
                    <a:pt x="1308829" y="3248406"/>
                  </a:cubicBezTo>
                  <a:close/>
                  <a:moveTo>
                    <a:pt x="1876139" y="3247073"/>
                  </a:moveTo>
                  <a:cubicBezTo>
                    <a:pt x="1879568" y="3247073"/>
                    <a:pt x="1882330" y="3249835"/>
                    <a:pt x="1882330" y="3253264"/>
                  </a:cubicBezTo>
                  <a:cubicBezTo>
                    <a:pt x="1882330" y="3256693"/>
                    <a:pt x="1879568" y="3259455"/>
                    <a:pt x="1876139" y="3259455"/>
                  </a:cubicBezTo>
                  <a:cubicBezTo>
                    <a:pt x="1872710" y="3259455"/>
                    <a:pt x="1869948" y="3256693"/>
                    <a:pt x="1869948" y="3253264"/>
                  </a:cubicBezTo>
                  <a:cubicBezTo>
                    <a:pt x="1869948" y="3249835"/>
                    <a:pt x="1872710" y="3247073"/>
                    <a:pt x="1876139" y="3247073"/>
                  </a:cubicBezTo>
                  <a:close/>
                  <a:moveTo>
                    <a:pt x="1650491" y="3246882"/>
                  </a:moveTo>
                  <a:cubicBezTo>
                    <a:pt x="1653920" y="3246882"/>
                    <a:pt x="1656682" y="3249644"/>
                    <a:pt x="1656682" y="3253073"/>
                  </a:cubicBezTo>
                  <a:cubicBezTo>
                    <a:pt x="1656682" y="3256502"/>
                    <a:pt x="1653920" y="3259265"/>
                    <a:pt x="1650491" y="3259265"/>
                  </a:cubicBezTo>
                  <a:cubicBezTo>
                    <a:pt x="1647062" y="3259265"/>
                    <a:pt x="1644300" y="3256502"/>
                    <a:pt x="1644300" y="3253073"/>
                  </a:cubicBezTo>
                  <a:cubicBezTo>
                    <a:pt x="1644300" y="3249644"/>
                    <a:pt x="1647062" y="3246882"/>
                    <a:pt x="1650491" y="3246882"/>
                  </a:cubicBezTo>
                  <a:close/>
                  <a:moveTo>
                    <a:pt x="1717452" y="3246215"/>
                  </a:moveTo>
                  <a:cubicBezTo>
                    <a:pt x="1720881" y="3246215"/>
                    <a:pt x="1723644" y="3248977"/>
                    <a:pt x="1723644" y="3252406"/>
                  </a:cubicBezTo>
                  <a:cubicBezTo>
                    <a:pt x="1723644" y="3255835"/>
                    <a:pt x="1720881" y="3258598"/>
                    <a:pt x="1717452" y="3258598"/>
                  </a:cubicBezTo>
                  <a:cubicBezTo>
                    <a:pt x="1714023" y="3258598"/>
                    <a:pt x="1711261" y="3255835"/>
                    <a:pt x="1711261" y="3252406"/>
                  </a:cubicBezTo>
                  <a:cubicBezTo>
                    <a:pt x="1711261" y="3248977"/>
                    <a:pt x="1714023" y="3246215"/>
                    <a:pt x="1717452" y="3246215"/>
                  </a:cubicBezTo>
                  <a:close/>
                  <a:moveTo>
                    <a:pt x="2092928" y="3246120"/>
                  </a:moveTo>
                  <a:lnTo>
                    <a:pt x="2098786" y="3251978"/>
                  </a:lnTo>
                  <a:lnTo>
                    <a:pt x="2104453" y="3246311"/>
                  </a:lnTo>
                  <a:lnTo>
                    <a:pt x="2109835" y="3251692"/>
                  </a:lnTo>
                  <a:lnTo>
                    <a:pt x="2115216" y="3246311"/>
                  </a:lnTo>
                  <a:lnTo>
                    <a:pt x="2120216" y="3251311"/>
                  </a:lnTo>
                  <a:lnTo>
                    <a:pt x="2125312" y="3246215"/>
                  </a:lnTo>
                  <a:lnTo>
                    <a:pt x="2130123" y="3251025"/>
                  </a:lnTo>
                  <a:lnTo>
                    <a:pt x="2134837" y="3246311"/>
                  </a:lnTo>
                  <a:lnTo>
                    <a:pt x="2139552" y="3251026"/>
                  </a:lnTo>
                  <a:lnTo>
                    <a:pt x="2143982" y="3246596"/>
                  </a:lnTo>
                  <a:lnTo>
                    <a:pt x="2148697" y="3251311"/>
                  </a:lnTo>
                  <a:lnTo>
                    <a:pt x="2152649" y="3247359"/>
                  </a:lnTo>
                  <a:lnTo>
                    <a:pt x="2157460" y="3252170"/>
                  </a:lnTo>
                  <a:lnTo>
                    <a:pt x="2161127" y="3248502"/>
                  </a:lnTo>
                  <a:lnTo>
                    <a:pt x="2166175" y="3253550"/>
                  </a:lnTo>
                  <a:lnTo>
                    <a:pt x="2169413" y="3250311"/>
                  </a:lnTo>
                  <a:lnTo>
                    <a:pt x="2174700" y="3255597"/>
                  </a:lnTo>
                  <a:lnTo>
                    <a:pt x="2177414" y="3252883"/>
                  </a:lnTo>
                  <a:lnTo>
                    <a:pt x="2183130" y="3258598"/>
                  </a:lnTo>
                  <a:lnTo>
                    <a:pt x="2185511" y="3256217"/>
                  </a:lnTo>
                  <a:lnTo>
                    <a:pt x="2191559" y="3262265"/>
                  </a:lnTo>
                  <a:lnTo>
                    <a:pt x="2193416" y="3260408"/>
                  </a:lnTo>
                  <a:cubicBezTo>
                    <a:pt x="2196845" y="3260408"/>
                    <a:pt x="2199607" y="3263170"/>
                    <a:pt x="2199607" y="3266599"/>
                  </a:cubicBezTo>
                  <a:cubicBezTo>
                    <a:pt x="2199607" y="3270028"/>
                    <a:pt x="2196845" y="3272790"/>
                    <a:pt x="2193416" y="3272790"/>
                  </a:cubicBezTo>
                  <a:lnTo>
                    <a:pt x="2187368" y="3266742"/>
                  </a:lnTo>
                  <a:lnTo>
                    <a:pt x="2185511" y="3268599"/>
                  </a:lnTo>
                  <a:lnTo>
                    <a:pt x="2179796" y="3262884"/>
                  </a:lnTo>
                  <a:lnTo>
                    <a:pt x="2177414" y="3265265"/>
                  </a:lnTo>
                  <a:lnTo>
                    <a:pt x="2172128" y="3259979"/>
                  </a:lnTo>
                  <a:lnTo>
                    <a:pt x="2169413" y="3262693"/>
                  </a:lnTo>
                  <a:lnTo>
                    <a:pt x="2164365" y="3257646"/>
                  </a:lnTo>
                  <a:lnTo>
                    <a:pt x="2161127" y="3260884"/>
                  </a:lnTo>
                  <a:lnTo>
                    <a:pt x="2156317" y="3256074"/>
                  </a:lnTo>
                  <a:lnTo>
                    <a:pt x="2152649" y="3259741"/>
                  </a:lnTo>
                  <a:lnTo>
                    <a:pt x="2147934" y="3255027"/>
                  </a:lnTo>
                  <a:lnTo>
                    <a:pt x="2143982" y="3258979"/>
                  </a:lnTo>
                  <a:lnTo>
                    <a:pt x="2139267" y="3254264"/>
                  </a:lnTo>
                  <a:lnTo>
                    <a:pt x="2134837" y="3258693"/>
                  </a:lnTo>
                  <a:lnTo>
                    <a:pt x="2130027" y="3253883"/>
                  </a:lnTo>
                  <a:lnTo>
                    <a:pt x="2125312" y="3258598"/>
                  </a:lnTo>
                  <a:lnTo>
                    <a:pt x="2120312" y="3253598"/>
                  </a:lnTo>
                  <a:lnTo>
                    <a:pt x="2115216" y="3258693"/>
                  </a:lnTo>
                  <a:lnTo>
                    <a:pt x="2109835" y="3253312"/>
                  </a:lnTo>
                  <a:lnTo>
                    <a:pt x="2104453" y="3258693"/>
                  </a:lnTo>
                  <a:lnTo>
                    <a:pt x="2098595" y="3252836"/>
                  </a:lnTo>
                  <a:lnTo>
                    <a:pt x="2093023" y="3258408"/>
                  </a:lnTo>
                  <a:lnTo>
                    <a:pt x="2097500" y="3262884"/>
                  </a:lnTo>
                  <a:lnTo>
                    <a:pt x="2102643" y="3257741"/>
                  </a:lnTo>
                  <a:lnTo>
                    <a:pt x="2107834" y="3262932"/>
                  </a:lnTo>
                  <a:lnTo>
                    <a:pt x="2112549" y="3258217"/>
                  </a:lnTo>
                  <a:lnTo>
                    <a:pt x="2117788" y="3263456"/>
                  </a:lnTo>
                  <a:lnTo>
                    <a:pt x="2122074" y="3259170"/>
                  </a:lnTo>
                  <a:lnTo>
                    <a:pt x="2127503" y="3264599"/>
                  </a:lnTo>
                  <a:lnTo>
                    <a:pt x="2131408" y="3260694"/>
                  </a:lnTo>
                  <a:lnTo>
                    <a:pt x="2136980" y="3266266"/>
                  </a:lnTo>
                  <a:lnTo>
                    <a:pt x="2140362" y="3262884"/>
                  </a:lnTo>
                  <a:lnTo>
                    <a:pt x="2146315" y="3268837"/>
                  </a:lnTo>
                  <a:lnTo>
                    <a:pt x="2149220" y="3265932"/>
                  </a:lnTo>
                  <a:cubicBezTo>
                    <a:pt x="2152649" y="3265932"/>
                    <a:pt x="2155411" y="3268694"/>
                    <a:pt x="2155411" y="3272123"/>
                  </a:cubicBezTo>
                  <a:cubicBezTo>
                    <a:pt x="2155411" y="3275552"/>
                    <a:pt x="2152649" y="3278315"/>
                    <a:pt x="2149220" y="3278315"/>
                  </a:cubicBezTo>
                  <a:lnTo>
                    <a:pt x="2143267" y="3272362"/>
                  </a:lnTo>
                  <a:lnTo>
                    <a:pt x="2140362" y="3275267"/>
                  </a:lnTo>
                  <a:lnTo>
                    <a:pt x="2134790" y="3269695"/>
                  </a:lnTo>
                  <a:lnTo>
                    <a:pt x="2131408" y="3273076"/>
                  </a:lnTo>
                  <a:lnTo>
                    <a:pt x="2125979" y="3267648"/>
                  </a:lnTo>
                  <a:lnTo>
                    <a:pt x="2122074" y="3271552"/>
                  </a:lnTo>
                  <a:lnTo>
                    <a:pt x="2116835" y="3266314"/>
                  </a:lnTo>
                  <a:lnTo>
                    <a:pt x="2112549" y="3270599"/>
                  </a:lnTo>
                  <a:lnTo>
                    <a:pt x="2107358" y="3265408"/>
                  </a:lnTo>
                  <a:lnTo>
                    <a:pt x="2102643" y="3270123"/>
                  </a:lnTo>
                  <a:lnTo>
                    <a:pt x="2097405" y="3264885"/>
                  </a:lnTo>
                  <a:lnTo>
                    <a:pt x="2092261" y="3270028"/>
                  </a:lnTo>
                  <a:lnTo>
                    <a:pt x="2086832" y="3264599"/>
                  </a:lnTo>
                  <a:lnTo>
                    <a:pt x="2081307" y="3270123"/>
                  </a:lnTo>
                  <a:lnTo>
                    <a:pt x="2075544" y="3264361"/>
                  </a:lnTo>
                  <a:lnTo>
                    <a:pt x="2069686" y="3270219"/>
                  </a:lnTo>
                  <a:cubicBezTo>
                    <a:pt x="2066257" y="3270219"/>
                    <a:pt x="2063495" y="3267456"/>
                    <a:pt x="2063495" y="3264027"/>
                  </a:cubicBezTo>
                  <a:cubicBezTo>
                    <a:pt x="2063495" y="3260598"/>
                    <a:pt x="2066257" y="3257836"/>
                    <a:pt x="2069686" y="3257836"/>
                  </a:cubicBezTo>
                  <a:lnTo>
                    <a:pt x="2075449" y="3263599"/>
                  </a:lnTo>
                  <a:lnTo>
                    <a:pt x="2081307" y="3257741"/>
                  </a:lnTo>
                  <a:lnTo>
                    <a:pt x="2086737" y="3263170"/>
                  </a:lnTo>
                  <a:lnTo>
                    <a:pt x="2092166" y="3257741"/>
                  </a:lnTo>
                  <a:lnTo>
                    <a:pt x="2086737" y="3252311"/>
                  </a:lnTo>
                  <a:cubicBezTo>
                    <a:pt x="2086737" y="3248882"/>
                    <a:pt x="2089499" y="3246120"/>
                    <a:pt x="2092928" y="3246120"/>
                  </a:cubicBezTo>
                  <a:close/>
                  <a:moveTo>
                    <a:pt x="2080450" y="3245454"/>
                  </a:moveTo>
                  <a:cubicBezTo>
                    <a:pt x="2083879" y="3245454"/>
                    <a:pt x="2086642" y="3248216"/>
                    <a:pt x="2086642" y="3251645"/>
                  </a:cubicBezTo>
                  <a:cubicBezTo>
                    <a:pt x="2086642" y="3255074"/>
                    <a:pt x="2083879" y="3257836"/>
                    <a:pt x="2080450" y="3257836"/>
                  </a:cubicBezTo>
                  <a:cubicBezTo>
                    <a:pt x="2077021" y="3257836"/>
                    <a:pt x="2074259" y="3255074"/>
                    <a:pt x="2074259" y="3251645"/>
                  </a:cubicBezTo>
                  <a:cubicBezTo>
                    <a:pt x="2074259" y="3248216"/>
                    <a:pt x="2077021" y="3245454"/>
                    <a:pt x="2080450" y="3245454"/>
                  </a:cubicBezTo>
                  <a:close/>
                  <a:moveTo>
                    <a:pt x="1960244" y="3245358"/>
                  </a:moveTo>
                  <a:cubicBezTo>
                    <a:pt x="1963673" y="3245358"/>
                    <a:pt x="1966436" y="3248120"/>
                    <a:pt x="1966436" y="3251549"/>
                  </a:cubicBezTo>
                  <a:cubicBezTo>
                    <a:pt x="1966436" y="3254978"/>
                    <a:pt x="1963673" y="3257741"/>
                    <a:pt x="1960244" y="3257741"/>
                  </a:cubicBezTo>
                  <a:cubicBezTo>
                    <a:pt x="1956815" y="3257741"/>
                    <a:pt x="1954053" y="3254978"/>
                    <a:pt x="1954053" y="3251549"/>
                  </a:cubicBezTo>
                  <a:cubicBezTo>
                    <a:pt x="1954053" y="3248120"/>
                    <a:pt x="1956815" y="3245358"/>
                    <a:pt x="1960244" y="3245358"/>
                  </a:cubicBezTo>
                  <a:close/>
                  <a:moveTo>
                    <a:pt x="1583626" y="3245168"/>
                  </a:moveTo>
                  <a:cubicBezTo>
                    <a:pt x="1587055" y="3245168"/>
                    <a:pt x="1589818" y="3247930"/>
                    <a:pt x="1589818" y="3251359"/>
                  </a:cubicBezTo>
                  <a:cubicBezTo>
                    <a:pt x="1589818" y="3254788"/>
                    <a:pt x="1587055" y="3257550"/>
                    <a:pt x="1583626" y="3257550"/>
                  </a:cubicBezTo>
                  <a:cubicBezTo>
                    <a:pt x="1580197" y="3257550"/>
                    <a:pt x="1577435" y="3254788"/>
                    <a:pt x="1577435" y="3251359"/>
                  </a:cubicBezTo>
                  <a:cubicBezTo>
                    <a:pt x="1577435" y="3247930"/>
                    <a:pt x="1580197" y="3245168"/>
                    <a:pt x="1583626" y="3245168"/>
                  </a:cubicBezTo>
                  <a:close/>
                  <a:moveTo>
                    <a:pt x="1325784" y="3245168"/>
                  </a:moveTo>
                  <a:cubicBezTo>
                    <a:pt x="1329204" y="3245168"/>
                    <a:pt x="1331975" y="3247940"/>
                    <a:pt x="1331975" y="3251359"/>
                  </a:cubicBezTo>
                  <a:cubicBezTo>
                    <a:pt x="1331975" y="3254778"/>
                    <a:pt x="1329204" y="3257550"/>
                    <a:pt x="1325784" y="3257550"/>
                  </a:cubicBezTo>
                  <a:cubicBezTo>
                    <a:pt x="1322365" y="3257550"/>
                    <a:pt x="1319593" y="3254778"/>
                    <a:pt x="1319593" y="3251359"/>
                  </a:cubicBezTo>
                  <a:cubicBezTo>
                    <a:pt x="1319593" y="3247940"/>
                    <a:pt x="1322365" y="3245168"/>
                    <a:pt x="1325784" y="3245168"/>
                  </a:cubicBezTo>
                  <a:close/>
                  <a:moveTo>
                    <a:pt x="1094803" y="3244977"/>
                  </a:moveTo>
                  <a:cubicBezTo>
                    <a:pt x="1096041" y="3244977"/>
                    <a:pt x="1097089" y="3246025"/>
                    <a:pt x="1097089" y="3247263"/>
                  </a:cubicBezTo>
                  <a:cubicBezTo>
                    <a:pt x="1097089" y="3248501"/>
                    <a:pt x="1096041" y="3249549"/>
                    <a:pt x="1094803" y="3249549"/>
                  </a:cubicBezTo>
                  <a:cubicBezTo>
                    <a:pt x="1093565" y="3249549"/>
                    <a:pt x="1092517" y="3248501"/>
                    <a:pt x="1092517" y="3247263"/>
                  </a:cubicBezTo>
                  <a:cubicBezTo>
                    <a:pt x="1092517" y="3246025"/>
                    <a:pt x="1093565" y="3244977"/>
                    <a:pt x="1094803" y="3244977"/>
                  </a:cubicBezTo>
                  <a:close/>
                  <a:moveTo>
                    <a:pt x="2067115" y="3244311"/>
                  </a:moveTo>
                  <a:cubicBezTo>
                    <a:pt x="2070544" y="3244311"/>
                    <a:pt x="2073307" y="3247073"/>
                    <a:pt x="2073307" y="3250502"/>
                  </a:cubicBezTo>
                  <a:cubicBezTo>
                    <a:pt x="2073307" y="3253931"/>
                    <a:pt x="2070544" y="3256693"/>
                    <a:pt x="2067115" y="3256693"/>
                  </a:cubicBezTo>
                  <a:cubicBezTo>
                    <a:pt x="2063686" y="3256693"/>
                    <a:pt x="2060924" y="3253931"/>
                    <a:pt x="2060924" y="3250502"/>
                  </a:cubicBezTo>
                  <a:cubicBezTo>
                    <a:pt x="2060924" y="3247073"/>
                    <a:pt x="2063686" y="3244311"/>
                    <a:pt x="2067115" y="3244311"/>
                  </a:cubicBezTo>
                  <a:close/>
                  <a:moveTo>
                    <a:pt x="1426749" y="3243644"/>
                  </a:moveTo>
                  <a:cubicBezTo>
                    <a:pt x="1430178" y="3243644"/>
                    <a:pt x="1432941" y="3246406"/>
                    <a:pt x="1432941" y="3249835"/>
                  </a:cubicBezTo>
                  <a:cubicBezTo>
                    <a:pt x="1432941" y="3253264"/>
                    <a:pt x="1430178" y="3256026"/>
                    <a:pt x="1426749" y="3256026"/>
                  </a:cubicBezTo>
                  <a:cubicBezTo>
                    <a:pt x="1423320" y="3256026"/>
                    <a:pt x="1420558" y="3253264"/>
                    <a:pt x="1420558" y="3249835"/>
                  </a:cubicBezTo>
                  <a:cubicBezTo>
                    <a:pt x="1420558" y="3246406"/>
                    <a:pt x="1423320" y="3243644"/>
                    <a:pt x="1426749" y="3243644"/>
                  </a:cubicBezTo>
                  <a:close/>
                  <a:moveTo>
                    <a:pt x="1784222" y="3243358"/>
                  </a:moveTo>
                  <a:cubicBezTo>
                    <a:pt x="1787651" y="3243358"/>
                    <a:pt x="1790414" y="3246120"/>
                    <a:pt x="1790414" y="3249549"/>
                  </a:cubicBezTo>
                  <a:cubicBezTo>
                    <a:pt x="1790414" y="3252978"/>
                    <a:pt x="1787651" y="3255740"/>
                    <a:pt x="1784222" y="3255740"/>
                  </a:cubicBezTo>
                  <a:cubicBezTo>
                    <a:pt x="1780793" y="3255740"/>
                    <a:pt x="1778031" y="3252978"/>
                    <a:pt x="1778031" y="3249549"/>
                  </a:cubicBezTo>
                  <a:cubicBezTo>
                    <a:pt x="1778031" y="3246120"/>
                    <a:pt x="1780793" y="3243358"/>
                    <a:pt x="1784222" y="3243358"/>
                  </a:cubicBezTo>
                  <a:close/>
                  <a:moveTo>
                    <a:pt x="2262568" y="3242405"/>
                  </a:moveTo>
                  <a:cubicBezTo>
                    <a:pt x="2264854" y="3242405"/>
                    <a:pt x="2266759" y="3244310"/>
                    <a:pt x="2266759" y="3246596"/>
                  </a:cubicBezTo>
                  <a:cubicBezTo>
                    <a:pt x="2266759" y="3248882"/>
                    <a:pt x="2264854" y="3250787"/>
                    <a:pt x="2262568" y="3250787"/>
                  </a:cubicBezTo>
                  <a:cubicBezTo>
                    <a:pt x="2260282" y="3250787"/>
                    <a:pt x="2258377" y="3248882"/>
                    <a:pt x="2258377" y="3246596"/>
                  </a:cubicBezTo>
                  <a:cubicBezTo>
                    <a:pt x="2258377" y="3244310"/>
                    <a:pt x="2260282" y="3242405"/>
                    <a:pt x="2262568" y="3242405"/>
                  </a:cubicBezTo>
                  <a:close/>
                  <a:moveTo>
                    <a:pt x="2052541" y="3242310"/>
                  </a:moveTo>
                  <a:cubicBezTo>
                    <a:pt x="2055970" y="3242310"/>
                    <a:pt x="2058733" y="3245072"/>
                    <a:pt x="2058733" y="3248501"/>
                  </a:cubicBezTo>
                  <a:cubicBezTo>
                    <a:pt x="2058733" y="3251930"/>
                    <a:pt x="2055970" y="3254692"/>
                    <a:pt x="2052541" y="3254692"/>
                  </a:cubicBezTo>
                  <a:cubicBezTo>
                    <a:pt x="2049112" y="3254692"/>
                    <a:pt x="2046350" y="3251930"/>
                    <a:pt x="2046350" y="3248501"/>
                  </a:cubicBezTo>
                  <a:cubicBezTo>
                    <a:pt x="2046350" y="3245072"/>
                    <a:pt x="2049112" y="3242310"/>
                    <a:pt x="2052541" y="3242310"/>
                  </a:cubicBezTo>
                  <a:close/>
                  <a:moveTo>
                    <a:pt x="1517046" y="3241167"/>
                  </a:moveTo>
                  <a:cubicBezTo>
                    <a:pt x="1520475" y="3241167"/>
                    <a:pt x="1523238" y="3243929"/>
                    <a:pt x="1523238" y="3247358"/>
                  </a:cubicBezTo>
                  <a:cubicBezTo>
                    <a:pt x="1523238" y="3250787"/>
                    <a:pt x="1520475" y="3253550"/>
                    <a:pt x="1517046" y="3253550"/>
                  </a:cubicBezTo>
                  <a:cubicBezTo>
                    <a:pt x="1513617" y="3253550"/>
                    <a:pt x="1510855" y="3250787"/>
                    <a:pt x="1510855" y="3247358"/>
                  </a:cubicBezTo>
                  <a:cubicBezTo>
                    <a:pt x="1510855" y="3243929"/>
                    <a:pt x="1513617" y="3241167"/>
                    <a:pt x="1517046" y="3241167"/>
                  </a:cubicBezTo>
                  <a:close/>
                  <a:moveTo>
                    <a:pt x="1344262" y="3240691"/>
                  </a:moveTo>
                  <a:cubicBezTo>
                    <a:pt x="1347691" y="3240691"/>
                    <a:pt x="1350454" y="3243453"/>
                    <a:pt x="1350454" y="3246882"/>
                  </a:cubicBezTo>
                  <a:cubicBezTo>
                    <a:pt x="1350454" y="3250311"/>
                    <a:pt x="1347691" y="3253073"/>
                    <a:pt x="1344262" y="3253073"/>
                  </a:cubicBezTo>
                  <a:cubicBezTo>
                    <a:pt x="1340833" y="3253073"/>
                    <a:pt x="1338071" y="3250311"/>
                    <a:pt x="1338071" y="3246882"/>
                  </a:cubicBezTo>
                  <a:cubicBezTo>
                    <a:pt x="1338071" y="3243453"/>
                    <a:pt x="1340833" y="3240691"/>
                    <a:pt x="1344262" y="3240691"/>
                  </a:cubicBezTo>
                  <a:close/>
                  <a:moveTo>
                    <a:pt x="1228534" y="3239643"/>
                  </a:moveTo>
                  <a:cubicBezTo>
                    <a:pt x="1231963" y="3239643"/>
                    <a:pt x="1234726" y="3242405"/>
                    <a:pt x="1234726" y="3245834"/>
                  </a:cubicBezTo>
                  <a:cubicBezTo>
                    <a:pt x="1234726" y="3249263"/>
                    <a:pt x="1231963" y="3252026"/>
                    <a:pt x="1228534" y="3252026"/>
                  </a:cubicBezTo>
                  <a:lnTo>
                    <a:pt x="1223057" y="3246549"/>
                  </a:lnTo>
                  <a:lnTo>
                    <a:pt x="1216913" y="3252693"/>
                  </a:lnTo>
                  <a:lnTo>
                    <a:pt x="1211675" y="3247454"/>
                  </a:lnTo>
                  <a:lnTo>
                    <a:pt x="1206245" y="3252883"/>
                  </a:lnTo>
                  <a:lnTo>
                    <a:pt x="1201245" y="3247883"/>
                  </a:lnTo>
                  <a:lnTo>
                    <a:pt x="1196149" y="3252979"/>
                  </a:lnTo>
                  <a:lnTo>
                    <a:pt x="1191434" y="3248263"/>
                  </a:lnTo>
                  <a:lnTo>
                    <a:pt x="1186719" y="3252979"/>
                  </a:lnTo>
                  <a:lnTo>
                    <a:pt x="1182385" y="3248644"/>
                  </a:lnTo>
                  <a:lnTo>
                    <a:pt x="1177861" y="3253168"/>
                  </a:lnTo>
                  <a:lnTo>
                    <a:pt x="1173766" y="3249073"/>
                  </a:lnTo>
                  <a:lnTo>
                    <a:pt x="1169288" y="3253550"/>
                  </a:lnTo>
                  <a:lnTo>
                    <a:pt x="1165621" y="3249883"/>
                  </a:lnTo>
                  <a:lnTo>
                    <a:pt x="1161097" y="3254407"/>
                  </a:lnTo>
                  <a:lnTo>
                    <a:pt x="1157811" y="3251121"/>
                  </a:lnTo>
                  <a:lnTo>
                    <a:pt x="1153191" y="3255740"/>
                  </a:lnTo>
                  <a:lnTo>
                    <a:pt x="1150286" y="3252835"/>
                  </a:lnTo>
                  <a:lnTo>
                    <a:pt x="1145380" y="3257741"/>
                  </a:lnTo>
                  <a:lnTo>
                    <a:pt x="1142904" y="3255265"/>
                  </a:lnTo>
                  <a:lnTo>
                    <a:pt x="1137761" y="3260408"/>
                  </a:lnTo>
                  <a:cubicBezTo>
                    <a:pt x="1134332" y="3260408"/>
                    <a:pt x="1131570" y="3257645"/>
                    <a:pt x="1131570" y="3254216"/>
                  </a:cubicBezTo>
                  <a:cubicBezTo>
                    <a:pt x="1131570" y="3250787"/>
                    <a:pt x="1134332" y="3248025"/>
                    <a:pt x="1137761" y="3248025"/>
                  </a:cubicBezTo>
                  <a:lnTo>
                    <a:pt x="1140237" y="3250501"/>
                  </a:lnTo>
                  <a:lnTo>
                    <a:pt x="1145380" y="3245358"/>
                  </a:lnTo>
                  <a:lnTo>
                    <a:pt x="1148286" y="3248264"/>
                  </a:lnTo>
                  <a:lnTo>
                    <a:pt x="1153191" y="3243358"/>
                  </a:lnTo>
                  <a:lnTo>
                    <a:pt x="1156477" y="3246644"/>
                  </a:lnTo>
                  <a:lnTo>
                    <a:pt x="1161097" y="3242024"/>
                  </a:lnTo>
                  <a:lnTo>
                    <a:pt x="1164764" y="3245691"/>
                  </a:lnTo>
                  <a:lnTo>
                    <a:pt x="1169288" y="3241167"/>
                  </a:lnTo>
                  <a:lnTo>
                    <a:pt x="1173384" y="3245263"/>
                  </a:lnTo>
                  <a:lnTo>
                    <a:pt x="1177861" y="3240786"/>
                  </a:lnTo>
                  <a:lnTo>
                    <a:pt x="1182195" y="3245120"/>
                  </a:lnTo>
                  <a:lnTo>
                    <a:pt x="1186719" y="3240596"/>
                  </a:lnTo>
                  <a:lnTo>
                    <a:pt x="1191434" y="3245311"/>
                  </a:lnTo>
                  <a:lnTo>
                    <a:pt x="1196149" y="3240596"/>
                  </a:lnTo>
                  <a:lnTo>
                    <a:pt x="1201150" y="3245596"/>
                  </a:lnTo>
                  <a:lnTo>
                    <a:pt x="1206245" y="3240501"/>
                  </a:lnTo>
                  <a:lnTo>
                    <a:pt x="1211484" y="3245739"/>
                  </a:lnTo>
                  <a:lnTo>
                    <a:pt x="1216913" y="3240310"/>
                  </a:lnTo>
                  <a:lnTo>
                    <a:pt x="1222391" y="3245787"/>
                  </a:lnTo>
                  <a:close/>
                  <a:moveTo>
                    <a:pt x="2036730" y="3239262"/>
                  </a:moveTo>
                  <a:cubicBezTo>
                    <a:pt x="2040159" y="3239262"/>
                    <a:pt x="2042922" y="3242024"/>
                    <a:pt x="2042922" y="3245453"/>
                  </a:cubicBezTo>
                  <a:cubicBezTo>
                    <a:pt x="2042922" y="3248882"/>
                    <a:pt x="2040159" y="3251644"/>
                    <a:pt x="2036730" y="3251644"/>
                  </a:cubicBezTo>
                  <a:cubicBezTo>
                    <a:pt x="2033301" y="3251644"/>
                    <a:pt x="2030539" y="3248882"/>
                    <a:pt x="2030539" y="3245453"/>
                  </a:cubicBezTo>
                  <a:cubicBezTo>
                    <a:pt x="2030539" y="3242024"/>
                    <a:pt x="2033301" y="3239262"/>
                    <a:pt x="2036730" y="3239262"/>
                  </a:cubicBezTo>
                  <a:close/>
                  <a:moveTo>
                    <a:pt x="1939003" y="3239072"/>
                  </a:moveTo>
                  <a:cubicBezTo>
                    <a:pt x="1942432" y="3239072"/>
                    <a:pt x="1945195" y="3241834"/>
                    <a:pt x="1945195" y="3245263"/>
                  </a:cubicBezTo>
                  <a:cubicBezTo>
                    <a:pt x="1945195" y="3248692"/>
                    <a:pt x="1942432" y="3251455"/>
                    <a:pt x="1939003" y="3251455"/>
                  </a:cubicBezTo>
                  <a:cubicBezTo>
                    <a:pt x="1935574" y="3251455"/>
                    <a:pt x="1932812" y="3248692"/>
                    <a:pt x="1932812" y="3245263"/>
                  </a:cubicBezTo>
                  <a:cubicBezTo>
                    <a:pt x="1932812" y="3241834"/>
                    <a:pt x="1935574" y="3239072"/>
                    <a:pt x="1939003" y="3239072"/>
                  </a:cubicBezTo>
                  <a:close/>
                  <a:moveTo>
                    <a:pt x="1241011" y="3238500"/>
                  </a:moveTo>
                  <a:cubicBezTo>
                    <a:pt x="1244440" y="3238500"/>
                    <a:pt x="1247203" y="3241262"/>
                    <a:pt x="1247203" y="3244691"/>
                  </a:cubicBezTo>
                  <a:cubicBezTo>
                    <a:pt x="1247203" y="3248120"/>
                    <a:pt x="1244440" y="3250883"/>
                    <a:pt x="1241011" y="3250883"/>
                  </a:cubicBezTo>
                  <a:cubicBezTo>
                    <a:pt x="1237582" y="3250883"/>
                    <a:pt x="1234820" y="3248120"/>
                    <a:pt x="1234820" y="3244691"/>
                  </a:cubicBezTo>
                  <a:cubicBezTo>
                    <a:pt x="1234820" y="3241262"/>
                    <a:pt x="1237582" y="3238500"/>
                    <a:pt x="1241011" y="3238500"/>
                  </a:cubicBezTo>
                  <a:close/>
                  <a:moveTo>
                    <a:pt x="1850516" y="3238119"/>
                  </a:moveTo>
                  <a:cubicBezTo>
                    <a:pt x="1853945" y="3238119"/>
                    <a:pt x="1856707" y="3240881"/>
                    <a:pt x="1856707" y="3244310"/>
                  </a:cubicBezTo>
                  <a:cubicBezTo>
                    <a:pt x="1856707" y="3247739"/>
                    <a:pt x="1853945" y="3250501"/>
                    <a:pt x="1850516" y="3250501"/>
                  </a:cubicBezTo>
                  <a:cubicBezTo>
                    <a:pt x="1847087" y="3250501"/>
                    <a:pt x="1844325" y="3247739"/>
                    <a:pt x="1844325" y="3244310"/>
                  </a:cubicBezTo>
                  <a:cubicBezTo>
                    <a:pt x="1844325" y="3240881"/>
                    <a:pt x="1847087" y="3238119"/>
                    <a:pt x="1850516" y="3238119"/>
                  </a:cubicBezTo>
                  <a:close/>
                  <a:moveTo>
                    <a:pt x="1254632" y="3236595"/>
                  </a:moveTo>
                  <a:cubicBezTo>
                    <a:pt x="1258061" y="3236595"/>
                    <a:pt x="1260823" y="3239357"/>
                    <a:pt x="1260823" y="3242786"/>
                  </a:cubicBezTo>
                  <a:cubicBezTo>
                    <a:pt x="1260823" y="3246215"/>
                    <a:pt x="1258061" y="3248977"/>
                    <a:pt x="1254632" y="3248977"/>
                  </a:cubicBezTo>
                  <a:cubicBezTo>
                    <a:pt x="1251203" y="3248977"/>
                    <a:pt x="1248441" y="3246215"/>
                    <a:pt x="1248441" y="3242786"/>
                  </a:cubicBezTo>
                  <a:cubicBezTo>
                    <a:pt x="1248441" y="3239357"/>
                    <a:pt x="1251203" y="3236595"/>
                    <a:pt x="1254632" y="3236595"/>
                  </a:cubicBezTo>
                  <a:close/>
                  <a:moveTo>
                    <a:pt x="1060227" y="3236310"/>
                  </a:moveTo>
                  <a:cubicBezTo>
                    <a:pt x="1060418" y="3236310"/>
                    <a:pt x="1060418" y="3236310"/>
                    <a:pt x="1060418" y="3236500"/>
                  </a:cubicBezTo>
                  <a:cubicBezTo>
                    <a:pt x="1060418" y="3236691"/>
                    <a:pt x="1060227" y="3236691"/>
                    <a:pt x="1060227" y="3236691"/>
                  </a:cubicBezTo>
                  <a:cubicBezTo>
                    <a:pt x="1060037" y="3236691"/>
                    <a:pt x="1060037" y="3236691"/>
                    <a:pt x="1060037" y="3236500"/>
                  </a:cubicBezTo>
                  <a:cubicBezTo>
                    <a:pt x="1060037" y="3236310"/>
                    <a:pt x="1060037" y="3236310"/>
                    <a:pt x="1060227" y="3236310"/>
                  </a:cubicBezTo>
                  <a:close/>
                  <a:moveTo>
                    <a:pt x="1451228" y="3234976"/>
                  </a:moveTo>
                  <a:cubicBezTo>
                    <a:pt x="1454657" y="3234976"/>
                    <a:pt x="1457419" y="3237738"/>
                    <a:pt x="1457419" y="3241167"/>
                  </a:cubicBezTo>
                  <a:cubicBezTo>
                    <a:pt x="1457419" y="3244596"/>
                    <a:pt x="1454657" y="3247359"/>
                    <a:pt x="1451228" y="3247359"/>
                  </a:cubicBezTo>
                  <a:cubicBezTo>
                    <a:pt x="1447799" y="3247359"/>
                    <a:pt x="1445037" y="3244596"/>
                    <a:pt x="1445037" y="3241167"/>
                  </a:cubicBezTo>
                  <a:cubicBezTo>
                    <a:pt x="1445037" y="3237738"/>
                    <a:pt x="1447799" y="3234976"/>
                    <a:pt x="1451228" y="3234976"/>
                  </a:cubicBezTo>
                  <a:close/>
                  <a:moveTo>
                    <a:pt x="2019490" y="3234881"/>
                  </a:moveTo>
                  <a:cubicBezTo>
                    <a:pt x="2022919" y="3234881"/>
                    <a:pt x="2025682" y="3237643"/>
                    <a:pt x="2025682" y="3241072"/>
                  </a:cubicBezTo>
                  <a:cubicBezTo>
                    <a:pt x="2025682" y="3244501"/>
                    <a:pt x="2022919" y="3247264"/>
                    <a:pt x="2019490" y="3247264"/>
                  </a:cubicBezTo>
                  <a:cubicBezTo>
                    <a:pt x="2016061" y="3247264"/>
                    <a:pt x="2013299" y="3244501"/>
                    <a:pt x="2013299" y="3241072"/>
                  </a:cubicBezTo>
                  <a:cubicBezTo>
                    <a:pt x="2013299" y="3237643"/>
                    <a:pt x="2016061" y="3234881"/>
                    <a:pt x="2019490" y="3234881"/>
                  </a:cubicBezTo>
                  <a:close/>
                  <a:moveTo>
                    <a:pt x="1364360" y="3234595"/>
                  </a:moveTo>
                  <a:cubicBezTo>
                    <a:pt x="1367789" y="3234595"/>
                    <a:pt x="1370552" y="3237357"/>
                    <a:pt x="1370552" y="3240786"/>
                  </a:cubicBezTo>
                  <a:cubicBezTo>
                    <a:pt x="1370552" y="3244215"/>
                    <a:pt x="1367789" y="3246978"/>
                    <a:pt x="1364360" y="3246978"/>
                  </a:cubicBezTo>
                  <a:cubicBezTo>
                    <a:pt x="1360931" y="3246978"/>
                    <a:pt x="1358169" y="3244215"/>
                    <a:pt x="1358169" y="3240786"/>
                  </a:cubicBezTo>
                  <a:cubicBezTo>
                    <a:pt x="1358169" y="3237357"/>
                    <a:pt x="1360931" y="3234595"/>
                    <a:pt x="1364360" y="3234595"/>
                  </a:cubicBezTo>
                  <a:close/>
                  <a:moveTo>
                    <a:pt x="2296096" y="3234024"/>
                  </a:moveTo>
                  <a:cubicBezTo>
                    <a:pt x="2297254" y="3234024"/>
                    <a:pt x="2298192" y="3234962"/>
                    <a:pt x="2298192" y="3236119"/>
                  </a:cubicBezTo>
                  <a:cubicBezTo>
                    <a:pt x="2298192" y="3237277"/>
                    <a:pt x="2297254" y="3238215"/>
                    <a:pt x="2296096" y="3238215"/>
                  </a:cubicBezTo>
                  <a:cubicBezTo>
                    <a:pt x="2294939" y="3238215"/>
                    <a:pt x="2294001" y="3237277"/>
                    <a:pt x="2294001" y="3236119"/>
                  </a:cubicBezTo>
                  <a:cubicBezTo>
                    <a:pt x="2294001" y="3234962"/>
                    <a:pt x="2294939" y="3234024"/>
                    <a:pt x="2296096" y="3234024"/>
                  </a:cubicBezTo>
                  <a:close/>
                  <a:moveTo>
                    <a:pt x="1269396" y="3233643"/>
                  </a:moveTo>
                  <a:cubicBezTo>
                    <a:pt x="1272825" y="3233643"/>
                    <a:pt x="1275588" y="3236405"/>
                    <a:pt x="1275588" y="3239834"/>
                  </a:cubicBezTo>
                  <a:cubicBezTo>
                    <a:pt x="1275588" y="3243263"/>
                    <a:pt x="1272825" y="3246025"/>
                    <a:pt x="1269396" y="3246025"/>
                  </a:cubicBezTo>
                  <a:cubicBezTo>
                    <a:pt x="1265967" y="3246025"/>
                    <a:pt x="1263205" y="3243263"/>
                    <a:pt x="1263205" y="3239834"/>
                  </a:cubicBezTo>
                  <a:cubicBezTo>
                    <a:pt x="1263205" y="3236405"/>
                    <a:pt x="1265967" y="3233643"/>
                    <a:pt x="1269396" y="3233643"/>
                  </a:cubicBezTo>
                  <a:close/>
                  <a:moveTo>
                    <a:pt x="1684686" y="3232976"/>
                  </a:moveTo>
                  <a:cubicBezTo>
                    <a:pt x="1688115" y="3232976"/>
                    <a:pt x="1690878" y="3235738"/>
                    <a:pt x="1690878" y="3239167"/>
                  </a:cubicBezTo>
                  <a:cubicBezTo>
                    <a:pt x="1690878" y="3242596"/>
                    <a:pt x="1688115" y="3245358"/>
                    <a:pt x="1684686" y="3245358"/>
                  </a:cubicBezTo>
                  <a:cubicBezTo>
                    <a:pt x="1681257" y="3245358"/>
                    <a:pt x="1678495" y="3242596"/>
                    <a:pt x="1678495" y="3239167"/>
                  </a:cubicBezTo>
                  <a:cubicBezTo>
                    <a:pt x="1678495" y="3235738"/>
                    <a:pt x="1681257" y="3232976"/>
                    <a:pt x="1684686" y="3232976"/>
                  </a:cubicBezTo>
                  <a:close/>
                  <a:moveTo>
                    <a:pt x="2130075" y="3232690"/>
                  </a:moveTo>
                  <a:lnTo>
                    <a:pt x="2135648" y="3238262"/>
                  </a:lnTo>
                  <a:lnTo>
                    <a:pt x="2140648" y="3233262"/>
                  </a:lnTo>
                  <a:lnTo>
                    <a:pt x="2145696" y="3238309"/>
                  </a:lnTo>
                  <a:lnTo>
                    <a:pt x="2150458" y="3233547"/>
                  </a:lnTo>
                  <a:lnTo>
                    <a:pt x="2155174" y="3238262"/>
                  </a:lnTo>
                  <a:lnTo>
                    <a:pt x="2159698" y="3233738"/>
                  </a:lnTo>
                  <a:lnTo>
                    <a:pt x="2164080" y="3238119"/>
                  </a:lnTo>
                  <a:lnTo>
                    <a:pt x="2168366" y="3233833"/>
                  </a:lnTo>
                  <a:lnTo>
                    <a:pt x="2172605" y="3238071"/>
                  </a:lnTo>
                  <a:lnTo>
                    <a:pt x="2176557" y="3234119"/>
                  </a:lnTo>
                  <a:lnTo>
                    <a:pt x="2180748" y="3238309"/>
                  </a:lnTo>
                  <a:lnTo>
                    <a:pt x="2184367" y="3234690"/>
                  </a:lnTo>
                  <a:lnTo>
                    <a:pt x="2188654" y="3238976"/>
                  </a:lnTo>
                  <a:lnTo>
                    <a:pt x="2191987" y="3235643"/>
                  </a:lnTo>
                  <a:lnTo>
                    <a:pt x="2196464" y="3240120"/>
                  </a:lnTo>
                  <a:lnTo>
                    <a:pt x="2199322" y="3237262"/>
                  </a:lnTo>
                  <a:lnTo>
                    <a:pt x="2204037" y="3241976"/>
                  </a:lnTo>
                  <a:lnTo>
                    <a:pt x="2206656" y="3239357"/>
                  </a:lnTo>
                  <a:lnTo>
                    <a:pt x="2211705" y="3244405"/>
                  </a:lnTo>
                  <a:lnTo>
                    <a:pt x="2213800" y="3242310"/>
                  </a:lnTo>
                  <a:lnTo>
                    <a:pt x="2219277" y="3247787"/>
                  </a:lnTo>
                  <a:lnTo>
                    <a:pt x="2221039" y="3246025"/>
                  </a:lnTo>
                  <a:lnTo>
                    <a:pt x="2227040" y="3252026"/>
                  </a:lnTo>
                  <a:lnTo>
                    <a:pt x="2228278" y="3250788"/>
                  </a:lnTo>
                  <a:cubicBezTo>
                    <a:pt x="2231592" y="3250788"/>
                    <a:pt x="2234279" y="3253475"/>
                    <a:pt x="2234279" y="3256789"/>
                  </a:cubicBezTo>
                  <a:cubicBezTo>
                    <a:pt x="2234279" y="3260103"/>
                    <a:pt x="2231592" y="3262790"/>
                    <a:pt x="2228278" y="3262790"/>
                  </a:cubicBezTo>
                  <a:lnTo>
                    <a:pt x="2222467" y="3256979"/>
                  </a:lnTo>
                  <a:lnTo>
                    <a:pt x="2221039" y="3258407"/>
                  </a:lnTo>
                  <a:lnTo>
                    <a:pt x="2215562" y="3252930"/>
                  </a:lnTo>
                  <a:lnTo>
                    <a:pt x="2213800" y="3254692"/>
                  </a:lnTo>
                  <a:lnTo>
                    <a:pt x="2208752" y="3249644"/>
                  </a:lnTo>
                  <a:lnTo>
                    <a:pt x="2206656" y="3251740"/>
                  </a:lnTo>
                  <a:lnTo>
                    <a:pt x="2201942" y="3247025"/>
                  </a:lnTo>
                  <a:lnTo>
                    <a:pt x="2199322" y="3249645"/>
                  </a:lnTo>
                  <a:lnTo>
                    <a:pt x="2194845" y="3245168"/>
                  </a:lnTo>
                  <a:lnTo>
                    <a:pt x="2191987" y="3248025"/>
                  </a:lnTo>
                  <a:lnTo>
                    <a:pt x="2187701" y="3243739"/>
                  </a:lnTo>
                  <a:lnTo>
                    <a:pt x="2184367" y="3247073"/>
                  </a:lnTo>
                  <a:lnTo>
                    <a:pt x="2180177" y="3242882"/>
                  </a:lnTo>
                  <a:lnTo>
                    <a:pt x="2176557" y="3246501"/>
                  </a:lnTo>
                  <a:lnTo>
                    <a:pt x="2172319" y="3242263"/>
                  </a:lnTo>
                  <a:lnTo>
                    <a:pt x="2168366" y="3246215"/>
                  </a:lnTo>
                  <a:lnTo>
                    <a:pt x="2163985" y="3241834"/>
                  </a:lnTo>
                  <a:lnTo>
                    <a:pt x="2159698" y="3246121"/>
                  </a:lnTo>
                  <a:lnTo>
                    <a:pt x="2154983" y="3241405"/>
                  </a:lnTo>
                  <a:lnTo>
                    <a:pt x="2150458" y="3245929"/>
                  </a:lnTo>
                  <a:lnTo>
                    <a:pt x="2145411" y="3240882"/>
                  </a:lnTo>
                  <a:lnTo>
                    <a:pt x="2140648" y="3245644"/>
                  </a:lnTo>
                  <a:lnTo>
                    <a:pt x="2135076" y="3240072"/>
                  </a:lnTo>
                  <a:lnTo>
                    <a:pt x="2130075" y="3245072"/>
                  </a:lnTo>
                  <a:cubicBezTo>
                    <a:pt x="2126646" y="3245072"/>
                    <a:pt x="2123884" y="3242310"/>
                    <a:pt x="2123884" y="3238881"/>
                  </a:cubicBezTo>
                  <a:cubicBezTo>
                    <a:pt x="2123884" y="3235452"/>
                    <a:pt x="2126646" y="3232690"/>
                    <a:pt x="2130075" y="3232690"/>
                  </a:cubicBezTo>
                  <a:close/>
                  <a:moveTo>
                    <a:pt x="1615344" y="3232404"/>
                  </a:moveTo>
                  <a:cubicBezTo>
                    <a:pt x="1618773" y="3232404"/>
                    <a:pt x="1621536" y="3235166"/>
                    <a:pt x="1621536" y="3238595"/>
                  </a:cubicBezTo>
                  <a:cubicBezTo>
                    <a:pt x="1621536" y="3242024"/>
                    <a:pt x="1618773" y="3244786"/>
                    <a:pt x="1615344" y="3244786"/>
                  </a:cubicBezTo>
                  <a:cubicBezTo>
                    <a:pt x="1611915" y="3244786"/>
                    <a:pt x="1609153" y="3242024"/>
                    <a:pt x="1609153" y="3238595"/>
                  </a:cubicBezTo>
                  <a:cubicBezTo>
                    <a:pt x="1609153" y="3235166"/>
                    <a:pt x="1611915" y="3232404"/>
                    <a:pt x="1615344" y="3232404"/>
                  </a:cubicBezTo>
                  <a:close/>
                  <a:moveTo>
                    <a:pt x="2118550" y="3231547"/>
                  </a:moveTo>
                  <a:cubicBezTo>
                    <a:pt x="2121979" y="3231547"/>
                    <a:pt x="2124742" y="3234309"/>
                    <a:pt x="2124742" y="3237738"/>
                  </a:cubicBezTo>
                  <a:cubicBezTo>
                    <a:pt x="2124742" y="3241167"/>
                    <a:pt x="2121979" y="3243929"/>
                    <a:pt x="2118550" y="3243929"/>
                  </a:cubicBezTo>
                  <a:cubicBezTo>
                    <a:pt x="2115121" y="3243929"/>
                    <a:pt x="2112359" y="3241167"/>
                    <a:pt x="2112359" y="3237738"/>
                  </a:cubicBezTo>
                  <a:cubicBezTo>
                    <a:pt x="2112359" y="3234309"/>
                    <a:pt x="2115121" y="3231547"/>
                    <a:pt x="2118550" y="3231547"/>
                  </a:cubicBezTo>
                  <a:close/>
                  <a:moveTo>
                    <a:pt x="1753933" y="3231166"/>
                  </a:moveTo>
                  <a:cubicBezTo>
                    <a:pt x="1757362" y="3231166"/>
                    <a:pt x="1760124" y="3233928"/>
                    <a:pt x="1760124" y="3237357"/>
                  </a:cubicBezTo>
                  <a:cubicBezTo>
                    <a:pt x="1760124" y="3240786"/>
                    <a:pt x="1757362" y="3243548"/>
                    <a:pt x="1753933" y="3243548"/>
                  </a:cubicBezTo>
                  <a:cubicBezTo>
                    <a:pt x="1750504" y="3243548"/>
                    <a:pt x="1747742" y="3240786"/>
                    <a:pt x="1747742" y="3237357"/>
                  </a:cubicBezTo>
                  <a:cubicBezTo>
                    <a:pt x="1747742" y="3233928"/>
                    <a:pt x="1750504" y="3231166"/>
                    <a:pt x="1753933" y="3231166"/>
                  </a:cubicBezTo>
                  <a:close/>
                  <a:moveTo>
                    <a:pt x="1915953" y="3230785"/>
                  </a:moveTo>
                  <a:cubicBezTo>
                    <a:pt x="1919382" y="3230785"/>
                    <a:pt x="1922145" y="3233547"/>
                    <a:pt x="1922145" y="3236976"/>
                  </a:cubicBezTo>
                  <a:cubicBezTo>
                    <a:pt x="1922145" y="3240405"/>
                    <a:pt x="1919382" y="3243168"/>
                    <a:pt x="1915953" y="3243168"/>
                  </a:cubicBezTo>
                  <a:cubicBezTo>
                    <a:pt x="1912524" y="3243168"/>
                    <a:pt x="1909762" y="3240405"/>
                    <a:pt x="1909762" y="3236976"/>
                  </a:cubicBezTo>
                  <a:cubicBezTo>
                    <a:pt x="1909762" y="3233547"/>
                    <a:pt x="1912524" y="3230785"/>
                    <a:pt x="1915953" y="3230785"/>
                  </a:cubicBezTo>
                  <a:close/>
                  <a:moveTo>
                    <a:pt x="2106072" y="3229547"/>
                  </a:moveTo>
                  <a:cubicBezTo>
                    <a:pt x="2109501" y="3229547"/>
                    <a:pt x="2112263" y="3232309"/>
                    <a:pt x="2112263" y="3235738"/>
                  </a:cubicBezTo>
                  <a:cubicBezTo>
                    <a:pt x="2112263" y="3239167"/>
                    <a:pt x="2109501" y="3241930"/>
                    <a:pt x="2106072" y="3241930"/>
                  </a:cubicBezTo>
                  <a:cubicBezTo>
                    <a:pt x="2102643" y="3241930"/>
                    <a:pt x="2099881" y="3239167"/>
                    <a:pt x="2099881" y="3235738"/>
                  </a:cubicBezTo>
                  <a:cubicBezTo>
                    <a:pt x="2099881" y="3232309"/>
                    <a:pt x="2102643" y="3229547"/>
                    <a:pt x="2106072" y="3229547"/>
                  </a:cubicBezTo>
                  <a:close/>
                  <a:moveTo>
                    <a:pt x="1546192" y="3229452"/>
                  </a:moveTo>
                  <a:cubicBezTo>
                    <a:pt x="1549621" y="3229452"/>
                    <a:pt x="1552384" y="3232214"/>
                    <a:pt x="1552384" y="3235643"/>
                  </a:cubicBezTo>
                  <a:cubicBezTo>
                    <a:pt x="1552384" y="3239072"/>
                    <a:pt x="1549621" y="3241834"/>
                    <a:pt x="1546192" y="3241834"/>
                  </a:cubicBezTo>
                  <a:cubicBezTo>
                    <a:pt x="1542763" y="3241834"/>
                    <a:pt x="1540001" y="3239072"/>
                    <a:pt x="1540001" y="3235643"/>
                  </a:cubicBezTo>
                  <a:cubicBezTo>
                    <a:pt x="1540001" y="3232214"/>
                    <a:pt x="1542763" y="3229452"/>
                    <a:pt x="1546192" y="3229452"/>
                  </a:cubicBezTo>
                  <a:close/>
                  <a:moveTo>
                    <a:pt x="1285493" y="3229452"/>
                  </a:moveTo>
                  <a:cubicBezTo>
                    <a:pt x="1288922" y="3229452"/>
                    <a:pt x="1291685" y="3232214"/>
                    <a:pt x="1291685" y="3235643"/>
                  </a:cubicBezTo>
                  <a:cubicBezTo>
                    <a:pt x="1291685" y="3239072"/>
                    <a:pt x="1288922" y="3241834"/>
                    <a:pt x="1285493" y="3241834"/>
                  </a:cubicBezTo>
                  <a:cubicBezTo>
                    <a:pt x="1282064" y="3241834"/>
                    <a:pt x="1279302" y="3239072"/>
                    <a:pt x="1279302" y="3235643"/>
                  </a:cubicBezTo>
                  <a:cubicBezTo>
                    <a:pt x="1279302" y="3232214"/>
                    <a:pt x="1282064" y="3229452"/>
                    <a:pt x="1285493" y="3229452"/>
                  </a:cubicBezTo>
                  <a:close/>
                  <a:moveTo>
                    <a:pt x="2000821" y="3228975"/>
                  </a:moveTo>
                  <a:cubicBezTo>
                    <a:pt x="2004250" y="3228975"/>
                    <a:pt x="2007013" y="3231737"/>
                    <a:pt x="2007013" y="3235166"/>
                  </a:cubicBezTo>
                  <a:cubicBezTo>
                    <a:pt x="2007013" y="3238595"/>
                    <a:pt x="2004250" y="3241358"/>
                    <a:pt x="2000821" y="3241358"/>
                  </a:cubicBezTo>
                  <a:cubicBezTo>
                    <a:pt x="1997392" y="3241358"/>
                    <a:pt x="1994630" y="3238595"/>
                    <a:pt x="1994630" y="3235166"/>
                  </a:cubicBezTo>
                  <a:cubicBezTo>
                    <a:pt x="1994630" y="3231737"/>
                    <a:pt x="1997392" y="3228975"/>
                    <a:pt x="2000821" y="3228975"/>
                  </a:cubicBezTo>
                  <a:close/>
                  <a:moveTo>
                    <a:pt x="1822703" y="3226880"/>
                  </a:moveTo>
                  <a:cubicBezTo>
                    <a:pt x="1826132" y="3226880"/>
                    <a:pt x="1828894" y="3229642"/>
                    <a:pt x="1828894" y="3233071"/>
                  </a:cubicBezTo>
                  <a:cubicBezTo>
                    <a:pt x="1828894" y="3236500"/>
                    <a:pt x="1826132" y="3239263"/>
                    <a:pt x="1822703" y="3239263"/>
                  </a:cubicBezTo>
                  <a:cubicBezTo>
                    <a:pt x="1819274" y="3239263"/>
                    <a:pt x="1816512" y="3236500"/>
                    <a:pt x="1816512" y="3233071"/>
                  </a:cubicBezTo>
                  <a:cubicBezTo>
                    <a:pt x="1816512" y="3229642"/>
                    <a:pt x="1819274" y="3226880"/>
                    <a:pt x="1822703" y="3226880"/>
                  </a:cubicBezTo>
                  <a:close/>
                  <a:moveTo>
                    <a:pt x="2092451" y="3226689"/>
                  </a:moveTo>
                  <a:cubicBezTo>
                    <a:pt x="2095880" y="3226689"/>
                    <a:pt x="2098643" y="3229451"/>
                    <a:pt x="2098643" y="3232880"/>
                  </a:cubicBezTo>
                  <a:cubicBezTo>
                    <a:pt x="2098643" y="3236309"/>
                    <a:pt x="2095880" y="3239071"/>
                    <a:pt x="2092451" y="3239071"/>
                  </a:cubicBezTo>
                  <a:cubicBezTo>
                    <a:pt x="2089022" y="3239071"/>
                    <a:pt x="2086260" y="3236309"/>
                    <a:pt x="2086260" y="3232880"/>
                  </a:cubicBezTo>
                  <a:cubicBezTo>
                    <a:pt x="2086260" y="3229451"/>
                    <a:pt x="2089022" y="3226689"/>
                    <a:pt x="2092451" y="3226689"/>
                  </a:cubicBezTo>
                  <a:close/>
                  <a:moveTo>
                    <a:pt x="1386173" y="3226689"/>
                  </a:moveTo>
                  <a:cubicBezTo>
                    <a:pt x="1389602" y="3226689"/>
                    <a:pt x="1392364" y="3229451"/>
                    <a:pt x="1392364" y="3232880"/>
                  </a:cubicBezTo>
                  <a:cubicBezTo>
                    <a:pt x="1392364" y="3236309"/>
                    <a:pt x="1389602" y="3239071"/>
                    <a:pt x="1386173" y="3239071"/>
                  </a:cubicBezTo>
                  <a:cubicBezTo>
                    <a:pt x="1382744" y="3239071"/>
                    <a:pt x="1379982" y="3236309"/>
                    <a:pt x="1379982" y="3232880"/>
                  </a:cubicBezTo>
                  <a:cubicBezTo>
                    <a:pt x="1379982" y="3229451"/>
                    <a:pt x="1382744" y="3226689"/>
                    <a:pt x="1386173" y="3226689"/>
                  </a:cubicBezTo>
                  <a:close/>
                  <a:moveTo>
                    <a:pt x="2329148" y="3225165"/>
                  </a:moveTo>
                  <a:cubicBezTo>
                    <a:pt x="2329306" y="3225165"/>
                    <a:pt x="2329433" y="3225293"/>
                    <a:pt x="2329433" y="3225451"/>
                  </a:cubicBezTo>
                  <a:cubicBezTo>
                    <a:pt x="2329433" y="3225609"/>
                    <a:pt x="2329306" y="3225736"/>
                    <a:pt x="2329148" y="3225736"/>
                  </a:cubicBezTo>
                  <a:cubicBezTo>
                    <a:pt x="2328990" y="3225736"/>
                    <a:pt x="2328862" y="3225609"/>
                    <a:pt x="2328862" y="3225451"/>
                  </a:cubicBezTo>
                  <a:cubicBezTo>
                    <a:pt x="2328862" y="3225293"/>
                    <a:pt x="2328990" y="3225165"/>
                    <a:pt x="2329148" y="3225165"/>
                  </a:cubicBezTo>
                  <a:close/>
                  <a:moveTo>
                    <a:pt x="1190148" y="3225070"/>
                  </a:moveTo>
                  <a:cubicBezTo>
                    <a:pt x="1193577" y="3225070"/>
                    <a:pt x="1196339" y="3227832"/>
                    <a:pt x="1196339" y="3231261"/>
                  </a:cubicBezTo>
                  <a:cubicBezTo>
                    <a:pt x="1196339" y="3234690"/>
                    <a:pt x="1193577" y="3237453"/>
                    <a:pt x="1190148" y="3237453"/>
                  </a:cubicBezTo>
                  <a:lnTo>
                    <a:pt x="1185480" y="3232785"/>
                  </a:lnTo>
                  <a:lnTo>
                    <a:pt x="1179575" y="3238691"/>
                  </a:lnTo>
                  <a:lnTo>
                    <a:pt x="1175003" y="3234119"/>
                  </a:lnTo>
                  <a:lnTo>
                    <a:pt x="1169765" y="3239357"/>
                  </a:lnTo>
                  <a:lnTo>
                    <a:pt x="1165384" y="3234976"/>
                  </a:lnTo>
                  <a:lnTo>
                    <a:pt x="1160716" y="3239643"/>
                  </a:lnTo>
                  <a:lnTo>
                    <a:pt x="1156573" y="3235500"/>
                  </a:lnTo>
                  <a:lnTo>
                    <a:pt x="1152143" y="3239929"/>
                  </a:lnTo>
                  <a:lnTo>
                    <a:pt x="1148286" y="3236072"/>
                  </a:lnTo>
                  <a:lnTo>
                    <a:pt x="1144238" y="3240120"/>
                  </a:lnTo>
                  <a:lnTo>
                    <a:pt x="1140666" y="3236548"/>
                  </a:lnTo>
                  <a:lnTo>
                    <a:pt x="1136618" y="3240595"/>
                  </a:lnTo>
                  <a:lnTo>
                    <a:pt x="1133284" y="3237261"/>
                  </a:lnTo>
                  <a:lnTo>
                    <a:pt x="1129283" y="3241262"/>
                  </a:lnTo>
                  <a:lnTo>
                    <a:pt x="1126331" y="3238310"/>
                  </a:lnTo>
                  <a:lnTo>
                    <a:pt x="1122235" y="3242405"/>
                  </a:lnTo>
                  <a:lnTo>
                    <a:pt x="1119616" y="3239786"/>
                  </a:lnTo>
                  <a:lnTo>
                    <a:pt x="1115282" y="3244119"/>
                  </a:lnTo>
                  <a:lnTo>
                    <a:pt x="1113092" y="3241929"/>
                  </a:lnTo>
                  <a:lnTo>
                    <a:pt x="1108519" y="3246501"/>
                  </a:lnTo>
                  <a:lnTo>
                    <a:pt x="1106662" y="3244644"/>
                  </a:lnTo>
                  <a:lnTo>
                    <a:pt x="1101661" y="3249645"/>
                  </a:lnTo>
                  <a:cubicBezTo>
                    <a:pt x="1098232" y="3249645"/>
                    <a:pt x="1095470" y="3246882"/>
                    <a:pt x="1095470" y="3243453"/>
                  </a:cubicBezTo>
                  <a:cubicBezTo>
                    <a:pt x="1095470" y="3240024"/>
                    <a:pt x="1098232" y="3237262"/>
                    <a:pt x="1101661" y="3237262"/>
                  </a:cubicBezTo>
                  <a:lnTo>
                    <a:pt x="1103519" y="3239120"/>
                  </a:lnTo>
                  <a:lnTo>
                    <a:pt x="1108519" y="3234119"/>
                  </a:lnTo>
                  <a:lnTo>
                    <a:pt x="1110710" y="3236310"/>
                  </a:lnTo>
                  <a:lnTo>
                    <a:pt x="1115282" y="3231737"/>
                  </a:lnTo>
                  <a:lnTo>
                    <a:pt x="1117902" y="3234357"/>
                  </a:lnTo>
                  <a:lnTo>
                    <a:pt x="1122235" y="3230023"/>
                  </a:lnTo>
                  <a:lnTo>
                    <a:pt x="1125188" y="3232976"/>
                  </a:lnTo>
                  <a:lnTo>
                    <a:pt x="1129283" y="3228880"/>
                  </a:lnTo>
                  <a:lnTo>
                    <a:pt x="1132617" y="3232214"/>
                  </a:lnTo>
                  <a:lnTo>
                    <a:pt x="1136618" y="3228213"/>
                  </a:lnTo>
                  <a:lnTo>
                    <a:pt x="1140190" y="3231785"/>
                  </a:lnTo>
                  <a:lnTo>
                    <a:pt x="1144238" y="3227737"/>
                  </a:lnTo>
                  <a:lnTo>
                    <a:pt x="1148095" y="3231594"/>
                  </a:lnTo>
                  <a:lnTo>
                    <a:pt x="1152143" y="3227546"/>
                  </a:lnTo>
                  <a:lnTo>
                    <a:pt x="1156287" y="3231690"/>
                  </a:lnTo>
                  <a:lnTo>
                    <a:pt x="1160716" y="3227261"/>
                  </a:lnTo>
                  <a:lnTo>
                    <a:pt x="1165098" y="3231642"/>
                  </a:lnTo>
                  <a:lnTo>
                    <a:pt x="1169765" y="3226975"/>
                  </a:lnTo>
                  <a:lnTo>
                    <a:pt x="1174337" y="3231547"/>
                  </a:lnTo>
                  <a:lnTo>
                    <a:pt x="1179575" y="3226308"/>
                  </a:lnTo>
                  <a:lnTo>
                    <a:pt x="1184243" y="3230976"/>
                  </a:lnTo>
                  <a:close/>
                  <a:moveTo>
                    <a:pt x="1477708" y="3224118"/>
                  </a:moveTo>
                  <a:cubicBezTo>
                    <a:pt x="1481137" y="3224118"/>
                    <a:pt x="1483899" y="3226880"/>
                    <a:pt x="1483899" y="3230309"/>
                  </a:cubicBezTo>
                  <a:cubicBezTo>
                    <a:pt x="1483899" y="3233738"/>
                    <a:pt x="1481137" y="3236500"/>
                    <a:pt x="1477708" y="3236500"/>
                  </a:cubicBezTo>
                  <a:cubicBezTo>
                    <a:pt x="1474279" y="3236500"/>
                    <a:pt x="1471517" y="3233738"/>
                    <a:pt x="1471517" y="3230309"/>
                  </a:cubicBezTo>
                  <a:cubicBezTo>
                    <a:pt x="1471517" y="3226880"/>
                    <a:pt x="1474279" y="3224118"/>
                    <a:pt x="1477708" y="3224118"/>
                  </a:cubicBezTo>
                  <a:close/>
                  <a:moveTo>
                    <a:pt x="1303115" y="3223737"/>
                  </a:moveTo>
                  <a:cubicBezTo>
                    <a:pt x="1306544" y="3223737"/>
                    <a:pt x="1309307" y="3226499"/>
                    <a:pt x="1309307" y="3229928"/>
                  </a:cubicBezTo>
                  <a:cubicBezTo>
                    <a:pt x="1309307" y="3233357"/>
                    <a:pt x="1306544" y="3236119"/>
                    <a:pt x="1303115" y="3236119"/>
                  </a:cubicBezTo>
                  <a:cubicBezTo>
                    <a:pt x="1299686" y="3236119"/>
                    <a:pt x="1296924" y="3233357"/>
                    <a:pt x="1296924" y="3229928"/>
                  </a:cubicBezTo>
                  <a:cubicBezTo>
                    <a:pt x="1296924" y="3226499"/>
                    <a:pt x="1299686" y="3223737"/>
                    <a:pt x="1303115" y="3223737"/>
                  </a:cubicBezTo>
                  <a:close/>
                  <a:moveTo>
                    <a:pt x="1201673" y="3223260"/>
                  </a:moveTo>
                  <a:cubicBezTo>
                    <a:pt x="1205102" y="3223260"/>
                    <a:pt x="1207864" y="3226022"/>
                    <a:pt x="1207864" y="3229451"/>
                  </a:cubicBezTo>
                  <a:cubicBezTo>
                    <a:pt x="1207864" y="3232880"/>
                    <a:pt x="1205102" y="3235642"/>
                    <a:pt x="1201673" y="3235642"/>
                  </a:cubicBezTo>
                  <a:cubicBezTo>
                    <a:pt x="1198244" y="3235642"/>
                    <a:pt x="1195482" y="3232880"/>
                    <a:pt x="1195482" y="3229451"/>
                  </a:cubicBezTo>
                  <a:cubicBezTo>
                    <a:pt x="1195482" y="3226022"/>
                    <a:pt x="1198244" y="3223260"/>
                    <a:pt x="1201673" y="3223260"/>
                  </a:cubicBezTo>
                  <a:close/>
                  <a:moveTo>
                    <a:pt x="2077592" y="3222594"/>
                  </a:moveTo>
                  <a:cubicBezTo>
                    <a:pt x="2081021" y="3222594"/>
                    <a:pt x="2083784" y="3225356"/>
                    <a:pt x="2083784" y="3228785"/>
                  </a:cubicBezTo>
                  <a:cubicBezTo>
                    <a:pt x="2083784" y="3232214"/>
                    <a:pt x="2081021" y="3234976"/>
                    <a:pt x="2077592" y="3234976"/>
                  </a:cubicBezTo>
                  <a:cubicBezTo>
                    <a:pt x="2074163" y="3234976"/>
                    <a:pt x="2071401" y="3232214"/>
                    <a:pt x="2071401" y="3228785"/>
                  </a:cubicBezTo>
                  <a:cubicBezTo>
                    <a:pt x="2071401" y="3225356"/>
                    <a:pt x="2074163" y="3222594"/>
                    <a:pt x="2077592" y="3222594"/>
                  </a:cubicBezTo>
                  <a:close/>
                  <a:moveTo>
                    <a:pt x="1980342" y="3221355"/>
                  </a:moveTo>
                  <a:cubicBezTo>
                    <a:pt x="1983771" y="3221355"/>
                    <a:pt x="1986534" y="3224117"/>
                    <a:pt x="1986534" y="3227546"/>
                  </a:cubicBezTo>
                  <a:cubicBezTo>
                    <a:pt x="1986534" y="3230975"/>
                    <a:pt x="1983771" y="3233737"/>
                    <a:pt x="1980342" y="3233737"/>
                  </a:cubicBezTo>
                  <a:cubicBezTo>
                    <a:pt x="1976913" y="3233737"/>
                    <a:pt x="1974151" y="3230975"/>
                    <a:pt x="1974151" y="3227546"/>
                  </a:cubicBezTo>
                  <a:cubicBezTo>
                    <a:pt x="1974151" y="3224117"/>
                    <a:pt x="1976913" y="3221355"/>
                    <a:pt x="1980342" y="3221355"/>
                  </a:cubicBezTo>
                  <a:close/>
                  <a:moveTo>
                    <a:pt x="1214341" y="3220403"/>
                  </a:moveTo>
                  <a:cubicBezTo>
                    <a:pt x="1217770" y="3220403"/>
                    <a:pt x="1220533" y="3223165"/>
                    <a:pt x="1220533" y="3226594"/>
                  </a:cubicBezTo>
                  <a:cubicBezTo>
                    <a:pt x="1220533" y="3230023"/>
                    <a:pt x="1217770" y="3232786"/>
                    <a:pt x="1214341" y="3232786"/>
                  </a:cubicBezTo>
                  <a:cubicBezTo>
                    <a:pt x="1210912" y="3232786"/>
                    <a:pt x="1208150" y="3230023"/>
                    <a:pt x="1208150" y="3226594"/>
                  </a:cubicBezTo>
                  <a:cubicBezTo>
                    <a:pt x="1208150" y="3223165"/>
                    <a:pt x="1210912" y="3220403"/>
                    <a:pt x="1214341" y="3220403"/>
                  </a:cubicBezTo>
                  <a:close/>
                  <a:moveTo>
                    <a:pt x="1890807" y="3220307"/>
                  </a:moveTo>
                  <a:cubicBezTo>
                    <a:pt x="1894236" y="3220307"/>
                    <a:pt x="1896999" y="3223069"/>
                    <a:pt x="1896999" y="3226498"/>
                  </a:cubicBezTo>
                  <a:cubicBezTo>
                    <a:pt x="1896999" y="3229927"/>
                    <a:pt x="1894236" y="3232690"/>
                    <a:pt x="1890807" y="3232690"/>
                  </a:cubicBezTo>
                  <a:cubicBezTo>
                    <a:pt x="1887378" y="3232690"/>
                    <a:pt x="1884616" y="3229927"/>
                    <a:pt x="1884616" y="3226498"/>
                  </a:cubicBezTo>
                  <a:cubicBezTo>
                    <a:pt x="1884616" y="3223069"/>
                    <a:pt x="1887378" y="3220307"/>
                    <a:pt x="1890807" y="3220307"/>
                  </a:cubicBezTo>
                  <a:close/>
                  <a:moveTo>
                    <a:pt x="2168746" y="3217450"/>
                  </a:moveTo>
                  <a:lnTo>
                    <a:pt x="2174080" y="3222784"/>
                  </a:lnTo>
                  <a:lnTo>
                    <a:pt x="2178271" y="3218593"/>
                  </a:lnTo>
                  <a:lnTo>
                    <a:pt x="2183082" y="3223403"/>
                  </a:lnTo>
                  <a:lnTo>
                    <a:pt x="2187130" y="3219355"/>
                  </a:lnTo>
                  <a:lnTo>
                    <a:pt x="2191511" y="3223736"/>
                  </a:lnTo>
                  <a:lnTo>
                    <a:pt x="2195416" y="3219831"/>
                  </a:lnTo>
                  <a:lnTo>
                    <a:pt x="2199417" y="3223831"/>
                  </a:lnTo>
                  <a:lnTo>
                    <a:pt x="2203036" y="3220212"/>
                  </a:lnTo>
                  <a:lnTo>
                    <a:pt x="2206894" y="3224070"/>
                  </a:lnTo>
                  <a:lnTo>
                    <a:pt x="2210371" y="3220593"/>
                  </a:lnTo>
                  <a:lnTo>
                    <a:pt x="2214086" y="3224308"/>
                  </a:lnTo>
                  <a:lnTo>
                    <a:pt x="2217229" y="3221165"/>
                  </a:lnTo>
                  <a:lnTo>
                    <a:pt x="2220991" y="3224927"/>
                  </a:lnTo>
                  <a:lnTo>
                    <a:pt x="2223896" y="3222022"/>
                  </a:lnTo>
                  <a:lnTo>
                    <a:pt x="2227849" y="3225975"/>
                  </a:lnTo>
                  <a:lnTo>
                    <a:pt x="2230373" y="3223451"/>
                  </a:lnTo>
                  <a:lnTo>
                    <a:pt x="2234517" y="3227594"/>
                  </a:lnTo>
                  <a:lnTo>
                    <a:pt x="2236755" y="3225356"/>
                  </a:lnTo>
                  <a:lnTo>
                    <a:pt x="2241232" y="3229833"/>
                  </a:lnTo>
                  <a:lnTo>
                    <a:pt x="2243137" y="3227928"/>
                  </a:lnTo>
                  <a:lnTo>
                    <a:pt x="2247994" y="3232786"/>
                  </a:lnTo>
                  <a:lnTo>
                    <a:pt x="2249519" y="3231261"/>
                  </a:lnTo>
                  <a:lnTo>
                    <a:pt x="2254805" y="3236547"/>
                  </a:lnTo>
                  <a:lnTo>
                    <a:pt x="2255900" y="3235452"/>
                  </a:lnTo>
                  <a:cubicBezTo>
                    <a:pt x="2259329" y="3235452"/>
                    <a:pt x="2262092" y="3238214"/>
                    <a:pt x="2262092" y="3241643"/>
                  </a:cubicBezTo>
                  <a:cubicBezTo>
                    <a:pt x="2262092" y="3245072"/>
                    <a:pt x="2259329" y="3247834"/>
                    <a:pt x="2255900" y="3247834"/>
                  </a:cubicBezTo>
                  <a:lnTo>
                    <a:pt x="2250614" y="3242548"/>
                  </a:lnTo>
                  <a:lnTo>
                    <a:pt x="2249519" y="3243643"/>
                  </a:lnTo>
                  <a:lnTo>
                    <a:pt x="2244661" y="3238786"/>
                  </a:lnTo>
                  <a:lnTo>
                    <a:pt x="2243137" y="3240310"/>
                  </a:lnTo>
                  <a:lnTo>
                    <a:pt x="2238661" y="3235834"/>
                  </a:lnTo>
                  <a:lnTo>
                    <a:pt x="2236755" y="3237739"/>
                  </a:lnTo>
                  <a:lnTo>
                    <a:pt x="2232612" y="3233595"/>
                  </a:lnTo>
                  <a:lnTo>
                    <a:pt x="2230373" y="3235833"/>
                  </a:lnTo>
                  <a:lnTo>
                    <a:pt x="2226420" y="3231880"/>
                  </a:lnTo>
                  <a:lnTo>
                    <a:pt x="2223896" y="3234404"/>
                  </a:lnTo>
                  <a:lnTo>
                    <a:pt x="2220134" y="3230642"/>
                  </a:lnTo>
                  <a:lnTo>
                    <a:pt x="2217229" y="3233547"/>
                  </a:lnTo>
                  <a:lnTo>
                    <a:pt x="2213514" y="3229833"/>
                  </a:lnTo>
                  <a:lnTo>
                    <a:pt x="2210371" y="3232976"/>
                  </a:lnTo>
                  <a:lnTo>
                    <a:pt x="2206513" y="3229118"/>
                  </a:lnTo>
                  <a:lnTo>
                    <a:pt x="2203036" y="3232594"/>
                  </a:lnTo>
                  <a:lnTo>
                    <a:pt x="2199036" y="3228594"/>
                  </a:lnTo>
                  <a:lnTo>
                    <a:pt x="2195416" y="3232213"/>
                  </a:lnTo>
                  <a:lnTo>
                    <a:pt x="2191035" y="3227833"/>
                  </a:lnTo>
                  <a:lnTo>
                    <a:pt x="2187130" y="3231737"/>
                  </a:lnTo>
                  <a:lnTo>
                    <a:pt x="2182320" y="3226927"/>
                  </a:lnTo>
                  <a:lnTo>
                    <a:pt x="2178271" y="3230976"/>
                  </a:lnTo>
                  <a:lnTo>
                    <a:pt x="2172937" y="3225642"/>
                  </a:lnTo>
                  <a:lnTo>
                    <a:pt x="2168746" y="3229832"/>
                  </a:lnTo>
                  <a:cubicBezTo>
                    <a:pt x="2165317" y="3229832"/>
                    <a:pt x="2162555" y="3227070"/>
                    <a:pt x="2162555" y="3223641"/>
                  </a:cubicBezTo>
                  <a:cubicBezTo>
                    <a:pt x="2162555" y="3220212"/>
                    <a:pt x="2165317" y="3217450"/>
                    <a:pt x="2168746" y="3217450"/>
                  </a:cubicBezTo>
                  <a:close/>
                  <a:moveTo>
                    <a:pt x="2061304" y="3217069"/>
                  </a:moveTo>
                  <a:cubicBezTo>
                    <a:pt x="2064733" y="3217069"/>
                    <a:pt x="2067496" y="3219831"/>
                    <a:pt x="2067496" y="3223260"/>
                  </a:cubicBezTo>
                  <a:cubicBezTo>
                    <a:pt x="2067496" y="3226689"/>
                    <a:pt x="2064733" y="3229452"/>
                    <a:pt x="2061304" y="3229452"/>
                  </a:cubicBezTo>
                  <a:cubicBezTo>
                    <a:pt x="2057875" y="3229452"/>
                    <a:pt x="2055113" y="3226689"/>
                    <a:pt x="2055113" y="3223260"/>
                  </a:cubicBezTo>
                  <a:cubicBezTo>
                    <a:pt x="2055113" y="3219831"/>
                    <a:pt x="2057875" y="3217069"/>
                    <a:pt x="2061304" y="3217069"/>
                  </a:cubicBezTo>
                  <a:close/>
                  <a:moveTo>
                    <a:pt x="1649444" y="3216879"/>
                  </a:moveTo>
                  <a:cubicBezTo>
                    <a:pt x="1652873" y="3216879"/>
                    <a:pt x="1655636" y="3219641"/>
                    <a:pt x="1655636" y="3223070"/>
                  </a:cubicBezTo>
                  <a:cubicBezTo>
                    <a:pt x="1655636" y="3226499"/>
                    <a:pt x="1652873" y="3229261"/>
                    <a:pt x="1649444" y="3229261"/>
                  </a:cubicBezTo>
                  <a:cubicBezTo>
                    <a:pt x="1646015" y="3229261"/>
                    <a:pt x="1643253" y="3226499"/>
                    <a:pt x="1643253" y="3223070"/>
                  </a:cubicBezTo>
                  <a:cubicBezTo>
                    <a:pt x="1643253" y="3219641"/>
                    <a:pt x="1646015" y="3216879"/>
                    <a:pt x="1649444" y="3216879"/>
                  </a:cubicBezTo>
                  <a:close/>
                  <a:moveTo>
                    <a:pt x="1409985" y="3216497"/>
                  </a:moveTo>
                  <a:cubicBezTo>
                    <a:pt x="1413414" y="3216497"/>
                    <a:pt x="1416176" y="3219259"/>
                    <a:pt x="1416176" y="3222688"/>
                  </a:cubicBezTo>
                  <a:cubicBezTo>
                    <a:pt x="1416176" y="3226117"/>
                    <a:pt x="1413414" y="3228880"/>
                    <a:pt x="1409985" y="3228880"/>
                  </a:cubicBezTo>
                  <a:cubicBezTo>
                    <a:pt x="1406556" y="3228880"/>
                    <a:pt x="1403794" y="3226117"/>
                    <a:pt x="1403794" y="3222688"/>
                  </a:cubicBezTo>
                  <a:cubicBezTo>
                    <a:pt x="1403794" y="3219259"/>
                    <a:pt x="1406556" y="3216497"/>
                    <a:pt x="1409985" y="3216497"/>
                  </a:cubicBezTo>
                  <a:close/>
                  <a:moveTo>
                    <a:pt x="1228153" y="3216402"/>
                  </a:moveTo>
                  <a:cubicBezTo>
                    <a:pt x="1231582" y="3216402"/>
                    <a:pt x="1234345" y="3219164"/>
                    <a:pt x="1234345" y="3222593"/>
                  </a:cubicBezTo>
                  <a:cubicBezTo>
                    <a:pt x="1234345" y="3226022"/>
                    <a:pt x="1231582" y="3228784"/>
                    <a:pt x="1228153" y="3228784"/>
                  </a:cubicBezTo>
                  <a:cubicBezTo>
                    <a:pt x="1224724" y="3228784"/>
                    <a:pt x="1221962" y="3226022"/>
                    <a:pt x="1221962" y="3222593"/>
                  </a:cubicBezTo>
                  <a:cubicBezTo>
                    <a:pt x="1221962" y="3219164"/>
                    <a:pt x="1224724" y="3216402"/>
                    <a:pt x="1228153" y="3216402"/>
                  </a:cubicBezTo>
                  <a:close/>
                  <a:moveTo>
                    <a:pt x="1322355" y="3216212"/>
                  </a:moveTo>
                  <a:cubicBezTo>
                    <a:pt x="1325784" y="3216212"/>
                    <a:pt x="1328547" y="3218974"/>
                    <a:pt x="1328547" y="3222403"/>
                  </a:cubicBezTo>
                  <a:cubicBezTo>
                    <a:pt x="1328547" y="3225832"/>
                    <a:pt x="1325784" y="3228595"/>
                    <a:pt x="1322355" y="3228595"/>
                  </a:cubicBezTo>
                  <a:cubicBezTo>
                    <a:pt x="1318926" y="3228595"/>
                    <a:pt x="1316164" y="3225832"/>
                    <a:pt x="1316164" y="3222403"/>
                  </a:cubicBezTo>
                  <a:cubicBezTo>
                    <a:pt x="1316164" y="3218974"/>
                    <a:pt x="1318926" y="3216212"/>
                    <a:pt x="1322355" y="3216212"/>
                  </a:cubicBezTo>
                  <a:close/>
                  <a:moveTo>
                    <a:pt x="1721167" y="3216117"/>
                  </a:moveTo>
                  <a:cubicBezTo>
                    <a:pt x="1724596" y="3216117"/>
                    <a:pt x="1727359" y="3218879"/>
                    <a:pt x="1727359" y="3222308"/>
                  </a:cubicBezTo>
                  <a:cubicBezTo>
                    <a:pt x="1727359" y="3225737"/>
                    <a:pt x="1724596" y="3228499"/>
                    <a:pt x="1721167" y="3228499"/>
                  </a:cubicBezTo>
                  <a:cubicBezTo>
                    <a:pt x="1717738" y="3228499"/>
                    <a:pt x="1714976" y="3225737"/>
                    <a:pt x="1714976" y="3222308"/>
                  </a:cubicBezTo>
                  <a:cubicBezTo>
                    <a:pt x="1714976" y="3218879"/>
                    <a:pt x="1717738" y="3216117"/>
                    <a:pt x="1721167" y="3216117"/>
                  </a:cubicBezTo>
                  <a:close/>
                  <a:moveTo>
                    <a:pt x="2158269" y="3215450"/>
                  </a:moveTo>
                  <a:cubicBezTo>
                    <a:pt x="2161698" y="3215450"/>
                    <a:pt x="2164461" y="3218212"/>
                    <a:pt x="2164461" y="3221641"/>
                  </a:cubicBezTo>
                  <a:cubicBezTo>
                    <a:pt x="2164461" y="3225070"/>
                    <a:pt x="2161698" y="3227832"/>
                    <a:pt x="2158269" y="3227832"/>
                  </a:cubicBezTo>
                  <a:cubicBezTo>
                    <a:pt x="2154840" y="3227832"/>
                    <a:pt x="2152078" y="3225070"/>
                    <a:pt x="2152078" y="3221641"/>
                  </a:cubicBezTo>
                  <a:cubicBezTo>
                    <a:pt x="2152078" y="3218212"/>
                    <a:pt x="2154840" y="3215450"/>
                    <a:pt x="2158269" y="3215450"/>
                  </a:cubicBezTo>
                  <a:close/>
                  <a:moveTo>
                    <a:pt x="1577720" y="3214973"/>
                  </a:moveTo>
                  <a:cubicBezTo>
                    <a:pt x="1581149" y="3214973"/>
                    <a:pt x="1583911" y="3217735"/>
                    <a:pt x="1583911" y="3221164"/>
                  </a:cubicBezTo>
                  <a:cubicBezTo>
                    <a:pt x="1583911" y="3224593"/>
                    <a:pt x="1581149" y="3227356"/>
                    <a:pt x="1577720" y="3227356"/>
                  </a:cubicBezTo>
                  <a:cubicBezTo>
                    <a:pt x="1574291" y="3227356"/>
                    <a:pt x="1571529" y="3224593"/>
                    <a:pt x="1571529" y="3221164"/>
                  </a:cubicBezTo>
                  <a:cubicBezTo>
                    <a:pt x="1571529" y="3217735"/>
                    <a:pt x="1574291" y="3214973"/>
                    <a:pt x="1577720" y="3214973"/>
                  </a:cubicBezTo>
                  <a:close/>
                  <a:moveTo>
                    <a:pt x="1792699" y="3212973"/>
                  </a:moveTo>
                  <a:cubicBezTo>
                    <a:pt x="1796128" y="3212973"/>
                    <a:pt x="1798891" y="3215735"/>
                    <a:pt x="1798891" y="3219164"/>
                  </a:cubicBezTo>
                  <a:cubicBezTo>
                    <a:pt x="1798891" y="3222593"/>
                    <a:pt x="1796128" y="3225355"/>
                    <a:pt x="1792699" y="3225355"/>
                  </a:cubicBezTo>
                  <a:cubicBezTo>
                    <a:pt x="1789270" y="3225355"/>
                    <a:pt x="1786508" y="3222593"/>
                    <a:pt x="1786508" y="3219164"/>
                  </a:cubicBezTo>
                  <a:cubicBezTo>
                    <a:pt x="1786508" y="3215735"/>
                    <a:pt x="1789270" y="3212973"/>
                    <a:pt x="1792699" y="3212973"/>
                  </a:cubicBezTo>
                  <a:close/>
                  <a:moveTo>
                    <a:pt x="2146744" y="3212687"/>
                  </a:moveTo>
                  <a:cubicBezTo>
                    <a:pt x="2150173" y="3212687"/>
                    <a:pt x="2152936" y="3215449"/>
                    <a:pt x="2152936" y="3218878"/>
                  </a:cubicBezTo>
                  <a:cubicBezTo>
                    <a:pt x="2152936" y="3222307"/>
                    <a:pt x="2150173" y="3225069"/>
                    <a:pt x="2146744" y="3225069"/>
                  </a:cubicBezTo>
                  <a:cubicBezTo>
                    <a:pt x="2143315" y="3225069"/>
                    <a:pt x="2140553" y="3222307"/>
                    <a:pt x="2140553" y="3218878"/>
                  </a:cubicBezTo>
                  <a:cubicBezTo>
                    <a:pt x="2140553" y="3215449"/>
                    <a:pt x="2143315" y="3212687"/>
                    <a:pt x="2146744" y="3212687"/>
                  </a:cubicBezTo>
                  <a:close/>
                  <a:moveTo>
                    <a:pt x="1957958" y="3211545"/>
                  </a:moveTo>
                  <a:cubicBezTo>
                    <a:pt x="1961387" y="3211545"/>
                    <a:pt x="1964150" y="3214307"/>
                    <a:pt x="1964150" y="3217736"/>
                  </a:cubicBezTo>
                  <a:cubicBezTo>
                    <a:pt x="1964150" y="3221165"/>
                    <a:pt x="1961387" y="3223927"/>
                    <a:pt x="1957958" y="3223927"/>
                  </a:cubicBezTo>
                  <a:cubicBezTo>
                    <a:pt x="1954529" y="3223927"/>
                    <a:pt x="1951767" y="3221165"/>
                    <a:pt x="1951767" y="3217736"/>
                  </a:cubicBezTo>
                  <a:cubicBezTo>
                    <a:pt x="1951767" y="3214307"/>
                    <a:pt x="1954529" y="3211545"/>
                    <a:pt x="1957958" y="3211545"/>
                  </a:cubicBezTo>
                  <a:close/>
                  <a:moveTo>
                    <a:pt x="1243298" y="3210973"/>
                  </a:moveTo>
                  <a:cubicBezTo>
                    <a:pt x="1246727" y="3210973"/>
                    <a:pt x="1249489" y="3213735"/>
                    <a:pt x="1249489" y="3217164"/>
                  </a:cubicBezTo>
                  <a:cubicBezTo>
                    <a:pt x="1249489" y="3220593"/>
                    <a:pt x="1246727" y="3223355"/>
                    <a:pt x="1243298" y="3223355"/>
                  </a:cubicBezTo>
                  <a:cubicBezTo>
                    <a:pt x="1239869" y="3223355"/>
                    <a:pt x="1237107" y="3220593"/>
                    <a:pt x="1237107" y="3217164"/>
                  </a:cubicBezTo>
                  <a:cubicBezTo>
                    <a:pt x="1237107" y="3213735"/>
                    <a:pt x="1239869" y="3210973"/>
                    <a:pt x="1243298" y="3210973"/>
                  </a:cubicBezTo>
                  <a:close/>
                  <a:moveTo>
                    <a:pt x="1506473" y="3210687"/>
                  </a:moveTo>
                  <a:cubicBezTo>
                    <a:pt x="1509902" y="3210687"/>
                    <a:pt x="1512665" y="3213449"/>
                    <a:pt x="1512665" y="3216878"/>
                  </a:cubicBezTo>
                  <a:cubicBezTo>
                    <a:pt x="1512665" y="3220307"/>
                    <a:pt x="1509902" y="3223069"/>
                    <a:pt x="1506473" y="3223069"/>
                  </a:cubicBezTo>
                  <a:cubicBezTo>
                    <a:pt x="1503044" y="3223069"/>
                    <a:pt x="1500282" y="3220307"/>
                    <a:pt x="1500282" y="3216878"/>
                  </a:cubicBezTo>
                  <a:cubicBezTo>
                    <a:pt x="1500282" y="3213449"/>
                    <a:pt x="1503044" y="3210687"/>
                    <a:pt x="1506473" y="3210687"/>
                  </a:cubicBezTo>
                  <a:close/>
                  <a:moveTo>
                    <a:pt x="2043398" y="3209830"/>
                  </a:moveTo>
                  <a:cubicBezTo>
                    <a:pt x="2046827" y="3209830"/>
                    <a:pt x="2049589" y="3212592"/>
                    <a:pt x="2049589" y="3216021"/>
                  </a:cubicBezTo>
                  <a:cubicBezTo>
                    <a:pt x="2049589" y="3219450"/>
                    <a:pt x="2046827" y="3222212"/>
                    <a:pt x="2043398" y="3222212"/>
                  </a:cubicBezTo>
                  <a:cubicBezTo>
                    <a:pt x="2039969" y="3222212"/>
                    <a:pt x="2037207" y="3219450"/>
                    <a:pt x="2037207" y="3216021"/>
                  </a:cubicBezTo>
                  <a:cubicBezTo>
                    <a:pt x="2037207" y="3212592"/>
                    <a:pt x="2039969" y="3209830"/>
                    <a:pt x="2043398" y="3209830"/>
                  </a:cubicBezTo>
                  <a:close/>
                  <a:moveTo>
                    <a:pt x="2134171" y="3208687"/>
                  </a:moveTo>
                  <a:cubicBezTo>
                    <a:pt x="2137600" y="3208687"/>
                    <a:pt x="2140363" y="3211449"/>
                    <a:pt x="2140363" y="3214878"/>
                  </a:cubicBezTo>
                  <a:cubicBezTo>
                    <a:pt x="2140363" y="3218307"/>
                    <a:pt x="2137600" y="3221070"/>
                    <a:pt x="2134171" y="3221070"/>
                  </a:cubicBezTo>
                  <a:cubicBezTo>
                    <a:pt x="2130742" y="3221070"/>
                    <a:pt x="2127980" y="3218307"/>
                    <a:pt x="2127980" y="3214878"/>
                  </a:cubicBezTo>
                  <a:cubicBezTo>
                    <a:pt x="2127980" y="3211449"/>
                    <a:pt x="2130742" y="3208687"/>
                    <a:pt x="2134171" y="3208687"/>
                  </a:cubicBezTo>
                  <a:close/>
                  <a:moveTo>
                    <a:pt x="1150238" y="3208496"/>
                  </a:moveTo>
                  <a:cubicBezTo>
                    <a:pt x="1153667" y="3208496"/>
                    <a:pt x="1156430" y="3211258"/>
                    <a:pt x="1156430" y="3214687"/>
                  </a:cubicBezTo>
                  <a:cubicBezTo>
                    <a:pt x="1156430" y="3218116"/>
                    <a:pt x="1153667" y="3220879"/>
                    <a:pt x="1150238" y="3220879"/>
                  </a:cubicBezTo>
                  <a:lnTo>
                    <a:pt x="1146381" y="3217022"/>
                  </a:lnTo>
                  <a:lnTo>
                    <a:pt x="1140618" y="3222784"/>
                  </a:lnTo>
                  <a:lnTo>
                    <a:pt x="1136904" y="3219070"/>
                  </a:lnTo>
                  <a:lnTo>
                    <a:pt x="1131855" y="3224118"/>
                  </a:lnTo>
                  <a:lnTo>
                    <a:pt x="1128283" y="3220546"/>
                  </a:lnTo>
                  <a:lnTo>
                    <a:pt x="1123854" y="3224975"/>
                  </a:lnTo>
                  <a:lnTo>
                    <a:pt x="1120378" y="3221498"/>
                  </a:lnTo>
                  <a:lnTo>
                    <a:pt x="1116329" y="3225547"/>
                  </a:lnTo>
                  <a:lnTo>
                    <a:pt x="1113043" y="3222261"/>
                  </a:lnTo>
                  <a:lnTo>
                    <a:pt x="1109281" y="3226022"/>
                  </a:lnTo>
                  <a:lnTo>
                    <a:pt x="1106233" y="3222974"/>
                  </a:lnTo>
                  <a:lnTo>
                    <a:pt x="1102709" y="3226499"/>
                  </a:lnTo>
                  <a:lnTo>
                    <a:pt x="1099899" y="3223689"/>
                  </a:lnTo>
                  <a:lnTo>
                    <a:pt x="1096327" y="3227260"/>
                  </a:lnTo>
                  <a:lnTo>
                    <a:pt x="1093851" y="3224784"/>
                  </a:lnTo>
                  <a:lnTo>
                    <a:pt x="1090231" y="3228403"/>
                  </a:lnTo>
                  <a:lnTo>
                    <a:pt x="1087993" y="3226165"/>
                  </a:lnTo>
                  <a:lnTo>
                    <a:pt x="1084230" y="3229927"/>
                  </a:lnTo>
                  <a:lnTo>
                    <a:pt x="1082325" y="3228023"/>
                  </a:lnTo>
                  <a:lnTo>
                    <a:pt x="1078324" y="3232023"/>
                  </a:lnTo>
                  <a:lnTo>
                    <a:pt x="1076706" y="3230405"/>
                  </a:lnTo>
                  <a:lnTo>
                    <a:pt x="1072324" y="3234786"/>
                  </a:lnTo>
                  <a:lnTo>
                    <a:pt x="1071085" y="3233547"/>
                  </a:lnTo>
                  <a:lnTo>
                    <a:pt x="1066323" y="3238309"/>
                  </a:lnTo>
                  <a:cubicBezTo>
                    <a:pt x="1062894" y="3238309"/>
                    <a:pt x="1060132" y="3235547"/>
                    <a:pt x="1060132" y="3232118"/>
                  </a:cubicBezTo>
                  <a:cubicBezTo>
                    <a:pt x="1060132" y="3228689"/>
                    <a:pt x="1062894" y="3225927"/>
                    <a:pt x="1066323" y="3225927"/>
                  </a:cubicBezTo>
                  <a:lnTo>
                    <a:pt x="1067562" y="3227166"/>
                  </a:lnTo>
                  <a:lnTo>
                    <a:pt x="1072324" y="3222403"/>
                  </a:lnTo>
                  <a:lnTo>
                    <a:pt x="1073943" y="3224022"/>
                  </a:lnTo>
                  <a:lnTo>
                    <a:pt x="1078324" y="3219641"/>
                  </a:lnTo>
                  <a:lnTo>
                    <a:pt x="1080229" y="3221546"/>
                  </a:lnTo>
                  <a:lnTo>
                    <a:pt x="1084230" y="3217545"/>
                  </a:lnTo>
                  <a:lnTo>
                    <a:pt x="1086469" y="3219784"/>
                  </a:lnTo>
                  <a:lnTo>
                    <a:pt x="1090231" y="3216021"/>
                  </a:lnTo>
                  <a:lnTo>
                    <a:pt x="1092708" y="3218498"/>
                  </a:lnTo>
                  <a:lnTo>
                    <a:pt x="1096327" y="3214878"/>
                  </a:lnTo>
                  <a:lnTo>
                    <a:pt x="1099137" y="3217688"/>
                  </a:lnTo>
                  <a:lnTo>
                    <a:pt x="1102709" y="3214116"/>
                  </a:lnTo>
                  <a:lnTo>
                    <a:pt x="1105757" y="3217164"/>
                  </a:lnTo>
                  <a:lnTo>
                    <a:pt x="1109281" y="3213640"/>
                  </a:lnTo>
                  <a:lnTo>
                    <a:pt x="1112567" y="3216926"/>
                  </a:lnTo>
                  <a:lnTo>
                    <a:pt x="1116329" y="3213164"/>
                  </a:lnTo>
                  <a:lnTo>
                    <a:pt x="1119806" y="3216641"/>
                  </a:lnTo>
                  <a:lnTo>
                    <a:pt x="1123854" y="3212592"/>
                  </a:lnTo>
                  <a:lnTo>
                    <a:pt x="1127426" y="3216164"/>
                  </a:lnTo>
                  <a:lnTo>
                    <a:pt x="1131855" y="3211735"/>
                  </a:lnTo>
                  <a:lnTo>
                    <a:pt x="1135570" y="3215450"/>
                  </a:lnTo>
                  <a:lnTo>
                    <a:pt x="1140618" y="3210402"/>
                  </a:lnTo>
                  <a:lnTo>
                    <a:pt x="1144475" y="3214259"/>
                  </a:lnTo>
                  <a:close/>
                  <a:moveTo>
                    <a:pt x="1863566" y="3207354"/>
                  </a:moveTo>
                  <a:cubicBezTo>
                    <a:pt x="1866995" y="3207354"/>
                    <a:pt x="1869758" y="3210116"/>
                    <a:pt x="1869758" y="3213545"/>
                  </a:cubicBezTo>
                  <a:cubicBezTo>
                    <a:pt x="1869758" y="3216974"/>
                    <a:pt x="1866995" y="3219736"/>
                    <a:pt x="1863566" y="3219736"/>
                  </a:cubicBezTo>
                  <a:cubicBezTo>
                    <a:pt x="1860137" y="3219736"/>
                    <a:pt x="1857375" y="3216974"/>
                    <a:pt x="1857375" y="3213545"/>
                  </a:cubicBezTo>
                  <a:cubicBezTo>
                    <a:pt x="1857375" y="3210116"/>
                    <a:pt x="1860137" y="3207354"/>
                    <a:pt x="1863566" y="3207354"/>
                  </a:cubicBezTo>
                  <a:close/>
                  <a:moveTo>
                    <a:pt x="997838" y="3207354"/>
                  </a:moveTo>
                  <a:cubicBezTo>
                    <a:pt x="998522" y="3207354"/>
                    <a:pt x="999076" y="3207908"/>
                    <a:pt x="999076" y="3208592"/>
                  </a:cubicBezTo>
                  <a:cubicBezTo>
                    <a:pt x="999076" y="3209276"/>
                    <a:pt x="998522" y="3209831"/>
                    <a:pt x="997838" y="3209831"/>
                  </a:cubicBezTo>
                  <a:cubicBezTo>
                    <a:pt x="997154" y="3209831"/>
                    <a:pt x="996600" y="3209276"/>
                    <a:pt x="996600" y="3208592"/>
                  </a:cubicBezTo>
                  <a:cubicBezTo>
                    <a:pt x="996600" y="3207908"/>
                    <a:pt x="997154" y="3207354"/>
                    <a:pt x="997838" y="3207354"/>
                  </a:cubicBezTo>
                  <a:close/>
                  <a:moveTo>
                    <a:pt x="1343500" y="3206687"/>
                  </a:moveTo>
                  <a:cubicBezTo>
                    <a:pt x="1346929" y="3206687"/>
                    <a:pt x="1349692" y="3209449"/>
                    <a:pt x="1349692" y="3212878"/>
                  </a:cubicBezTo>
                  <a:cubicBezTo>
                    <a:pt x="1349692" y="3216307"/>
                    <a:pt x="1346929" y="3219070"/>
                    <a:pt x="1343500" y="3219070"/>
                  </a:cubicBezTo>
                  <a:cubicBezTo>
                    <a:pt x="1340071" y="3219070"/>
                    <a:pt x="1337309" y="3216307"/>
                    <a:pt x="1337309" y="3212878"/>
                  </a:cubicBezTo>
                  <a:cubicBezTo>
                    <a:pt x="1337309" y="3209449"/>
                    <a:pt x="1340071" y="3206687"/>
                    <a:pt x="1343500" y="3206687"/>
                  </a:cubicBezTo>
                  <a:close/>
                  <a:moveTo>
                    <a:pt x="1160716" y="3205639"/>
                  </a:moveTo>
                  <a:cubicBezTo>
                    <a:pt x="1164145" y="3205639"/>
                    <a:pt x="1166908" y="3208401"/>
                    <a:pt x="1166908" y="3211830"/>
                  </a:cubicBezTo>
                  <a:cubicBezTo>
                    <a:pt x="1166908" y="3215259"/>
                    <a:pt x="1164145" y="3218021"/>
                    <a:pt x="1160716" y="3218021"/>
                  </a:cubicBezTo>
                  <a:cubicBezTo>
                    <a:pt x="1157287" y="3218021"/>
                    <a:pt x="1154525" y="3215259"/>
                    <a:pt x="1154525" y="3211830"/>
                  </a:cubicBezTo>
                  <a:cubicBezTo>
                    <a:pt x="1154525" y="3208401"/>
                    <a:pt x="1157287" y="3205639"/>
                    <a:pt x="1160716" y="3205639"/>
                  </a:cubicBezTo>
                  <a:close/>
                  <a:moveTo>
                    <a:pt x="1435893" y="3203829"/>
                  </a:moveTo>
                  <a:cubicBezTo>
                    <a:pt x="1439322" y="3203829"/>
                    <a:pt x="1442084" y="3206591"/>
                    <a:pt x="1442084" y="3210020"/>
                  </a:cubicBezTo>
                  <a:cubicBezTo>
                    <a:pt x="1442084" y="3213449"/>
                    <a:pt x="1439322" y="3216211"/>
                    <a:pt x="1435893" y="3216211"/>
                  </a:cubicBezTo>
                  <a:cubicBezTo>
                    <a:pt x="1432464" y="3216211"/>
                    <a:pt x="1429702" y="3213449"/>
                    <a:pt x="1429702" y="3210020"/>
                  </a:cubicBezTo>
                  <a:cubicBezTo>
                    <a:pt x="1429702" y="3206591"/>
                    <a:pt x="1432464" y="3203829"/>
                    <a:pt x="1435893" y="3203829"/>
                  </a:cubicBezTo>
                  <a:close/>
                  <a:moveTo>
                    <a:pt x="1259966" y="3203829"/>
                  </a:moveTo>
                  <a:cubicBezTo>
                    <a:pt x="1263395" y="3203829"/>
                    <a:pt x="1266157" y="3206591"/>
                    <a:pt x="1266157" y="3210020"/>
                  </a:cubicBezTo>
                  <a:cubicBezTo>
                    <a:pt x="1266157" y="3213449"/>
                    <a:pt x="1263395" y="3216211"/>
                    <a:pt x="1259966" y="3216211"/>
                  </a:cubicBezTo>
                  <a:cubicBezTo>
                    <a:pt x="1256537" y="3216211"/>
                    <a:pt x="1253775" y="3213449"/>
                    <a:pt x="1253775" y="3210020"/>
                  </a:cubicBezTo>
                  <a:cubicBezTo>
                    <a:pt x="1253775" y="3206591"/>
                    <a:pt x="1256537" y="3203829"/>
                    <a:pt x="1259966" y="3203829"/>
                  </a:cubicBezTo>
                  <a:close/>
                  <a:moveTo>
                    <a:pt x="2120264" y="3203448"/>
                  </a:moveTo>
                  <a:cubicBezTo>
                    <a:pt x="2123693" y="3203448"/>
                    <a:pt x="2126456" y="3206210"/>
                    <a:pt x="2126456" y="3209639"/>
                  </a:cubicBezTo>
                  <a:cubicBezTo>
                    <a:pt x="2126456" y="3213068"/>
                    <a:pt x="2123693" y="3215830"/>
                    <a:pt x="2120264" y="3215830"/>
                  </a:cubicBezTo>
                  <a:cubicBezTo>
                    <a:pt x="2116835" y="3215830"/>
                    <a:pt x="2114073" y="3213068"/>
                    <a:pt x="2114073" y="3209639"/>
                  </a:cubicBezTo>
                  <a:cubicBezTo>
                    <a:pt x="2114073" y="3206210"/>
                    <a:pt x="2116835" y="3203448"/>
                    <a:pt x="2120264" y="3203448"/>
                  </a:cubicBezTo>
                  <a:close/>
                  <a:moveTo>
                    <a:pt x="1172241" y="3201734"/>
                  </a:moveTo>
                  <a:cubicBezTo>
                    <a:pt x="1175670" y="3201734"/>
                    <a:pt x="1178433" y="3204496"/>
                    <a:pt x="1178433" y="3207925"/>
                  </a:cubicBezTo>
                  <a:cubicBezTo>
                    <a:pt x="1178433" y="3211354"/>
                    <a:pt x="1175670" y="3214116"/>
                    <a:pt x="1172241" y="3214116"/>
                  </a:cubicBezTo>
                  <a:cubicBezTo>
                    <a:pt x="1168812" y="3214116"/>
                    <a:pt x="1166050" y="3211354"/>
                    <a:pt x="1166050" y="3207925"/>
                  </a:cubicBezTo>
                  <a:cubicBezTo>
                    <a:pt x="1166050" y="3204496"/>
                    <a:pt x="1168812" y="3201734"/>
                    <a:pt x="1172241" y="3201734"/>
                  </a:cubicBezTo>
                  <a:close/>
                  <a:moveTo>
                    <a:pt x="2023776" y="3200496"/>
                  </a:moveTo>
                  <a:cubicBezTo>
                    <a:pt x="2027205" y="3200496"/>
                    <a:pt x="2029967" y="3203258"/>
                    <a:pt x="2029967" y="3206687"/>
                  </a:cubicBezTo>
                  <a:cubicBezTo>
                    <a:pt x="2029967" y="3210116"/>
                    <a:pt x="2027205" y="3212878"/>
                    <a:pt x="2023776" y="3212878"/>
                  </a:cubicBezTo>
                  <a:cubicBezTo>
                    <a:pt x="2020347" y="3212878"/>
                    <a:pt x="2017585" y="3210116"/>
                    <a:pt x="2017585" y="3206687"/>
                  </a:cubicBezTo>
                  <a:cubicBezTo>
                    <a:pt x="2017585" y="3203258"/>
                    <a:pt x="2020347" y="3200496"/>
                    <a:pt x="2023776" y="3200496"/>
                  </a:cubicBezTo>
                  <a:close/>
                  <a:moveTo>
                    <a:pt x="1933574" y="3199257"/>
                  </a:moveTo>
                  <a:cubicBezTo>
                    <a:pt x="1937003" y="3199257"/>
                    <a:pt x="1939765" y="3202019"/>
                    <a:pt x="1939765" y="3205448"/>
                  </a:cubicBezTo>
                  <a:cubicBezTo>
                    <a:pt x="1939765" y="3208877"/>
                    <a:pt x="1937003" y="3211640"/>
                    <a:pt x="1933574" y="3211640"/>
                  </a:cubicBezTo>
                  <a:cubicBezTo>
                    <a:pt x="1930145" y="3211640"/>
                    <a:pt x="1927383" y="3208877"/>
                    <a:pt x="1927383" y="3205448"/>
                  </a:cubicBezTo>
                  <a:cubicBezTo>
                    <a:pt x="1927383" y="3202019"/>
                    <a:pt x="1930145" y="3199257"/>
                    <a:pt x="1933574" y="3199257"/>
                  </a:cubicBezTo>
                  <a:close/>
                  <a:moveTo>
                    <a:pt x="1686020" y="3198114"/>
                  </a:moveTo>
                  <a:cubicBezTo>
                    <a:pt x="1689449" y="3198114"/>
                    <a:pt x="1692212" y="3200876"/>
                    <a:pt x="1692212" y="3204305"/>
                  </a:cubicBezTo>
                  <a:cubicBezTo>
                    <a:pt x="1692212" y="3207734"/>
                    <a:pt x="1689449" y="3210496"/>
                    <a:pt x="1686020" y="3210496"/>
                  </a:cubicBezTo>
                  <a:cubicBezTo>
                    <a:pt x="1682591" y="3210496"/>
                    <a:pt x="1679829" y="3207734"/>
                    <a:pt x="1679829" y="3204305"/>
                  </a:cubicBezTo>
                  <a:cubicBezTo>
                    <a:pt x="1679829" y="3200876"/>
                    <a:pt x="1682591" y="3198114"/>
                    <a:pt x="1686020" y="3198114"/>
                  </a:cubicBezTo>
                  <a:close/>
                  <a:moveTo>
                    <a:pt x="1611629" y="3197447"/>
                  </a:moveTo>
                  <a:cubicBezTo>
                    <a:pt x="1615058" y="3197447"/>
                    <a:pt x="1617821" y="3200209"/>
                    <a:pt x="1617821" y="3203638"/>
                  </a:cubicBezTo>
                  <a:cubicBezTo>
                    <a:pt x="1617821" y="3207067"/>
                    <a:pt x="1615058" y="3209830"/>
                    <a:pt x="1611629" y="3209830"/>
                  </a:cubicBezTo>
                  <a:cubicBezTo>
                    <a:pt x="1608200" y="3209830"/>
                    <a:pt x="1605438" y="3207067"/>
                    <a:pt x="1605438" y="3203638"/>
                  </a:cubicBezTo>
                  <a:cubicBezTo>
                    <a:pt x="1605438" y="3200209"/>
                    <a:pt x="1608200" y="3197447"/>
                    <a:pt x="1611629" y="3197447"/>
                  </a:cubicBezTo>
                  <a:close/>
                  <a:moveTo>
                    <a:pt x="2199512" y="3197257"/>
                  </a:moveTo>
                  <a:lnTo>
                    <a:pt x="2205656" y="3203400"/>
                  </a:lnTo>
                  <a:lnTo>
                    <a:pt x="2208942" y="3200114"/>
                  </a:lnTo>
                  <a:lnTo>
                    <a:pt x="2214181" y="3205353"/>
                  </a:lnTo>
                  <a:lnTo>
                    <a:pt x="2217419" y="3202115"/>
                  </a:lnTo>
                  <a:lnTo>
                    <a:pt x="2222039" y="3206735"/>
                  </a:lnTo>
                  <a:lnTo>
                    <a:pt x="2225230" y="3203544"/>
                  </a:lnTo>
                  <a:lnTo>
                    <a:pt x="2229278" y="3207592"/>
                  </a:lnTo>
                  <a:lnTo>
                    <a:pt x="2232374" y="3204496"/>
                  </a:lnTo>
                  <a:lnTo>
                    <a:pt x="2236041" y="3208163"/>
                  </a:lnTo>
                  <a:lnTo>
                    <a:pt x="2239041" y="3205163"/>
                  </a:lnTo>
                  <a:lnTo>
                    <a:pt x="2242518" y="3208639"/>
                  </a:lnTo>
                  <a:lnTo>
                    <a:pt x="2245328" y="3205829"/>
                  </a:lnTo>
                  <a:lnTo>
                    <a:pt x="2248662" y="3209163"/>
                  </a:lnTo>
                  <a:lnTo>
                    <a:pt x="2251233" y="3206592"/>
                  </a:lnTo>
                  <a:lnTo>
                    <a:pt x="2254519" y="3209878"/>
                  </a:lnTo>
                  <a:lnTo>
                    <a:pt x="2256948" y="3207449"/>
                  </a:lnTo>
                  <a:lnTo>
                    <a:pt x="2260377" y="3210878"/>
                  </a:lnTo>
                  <a:lnTo>
                    <a:pt x="2262473" y="3208782"/>
                  </a:lnTo>
                  <a:lnTo>
                    <a:pt x="2266092" y="3212402"/>
                  </a:lnTo>
                  <a:lnTo>
                    <a:pt x="2267902" y="3210592"/>
                  </a:lnTo>
                  <a:lnTo>
                    <a:pt x="2271807" y="3214497"/>
                  </a:lnTo>
                  <a:lnTo>
                    <a:pt x="2273331" y="3212973"/>
                  </a:lnTo>
                  <a:lnTo>
                    <a:pt x="2277618" y="3217259"/>
                  </a:lnTo>
                  <a:lnTo>
                    <a:pt x="2278856" y="3216021"/>
                  </a:lnTo>
                  <a:lnTo>
                    <a:pt x="2283570" y="3220736"/>
                  </a:lnTo>
                  <a:lnTo>
                    <a:pt x="2284475" y="3219831"/>
                  </a:lnTo>
                  <a:lnTo>
                    <a:pt x="2289666" y="3225022"/>
                  </a:lnTo>
                  <a:lnTo>
                    <a:pt x="2290190" y="3224498"/>
                  </a:lnTo>
                  <a:cubicBezTo>
                    <a:pt x="2293619" y="3224498"/>
                    <a:pt x="2296382" y="3227260"/>
                    <a:pt x="2296382" y="3230689"/>
                  </a:cubicBezTo>
                  <a:cubicBezTo>
                    <a:pt x="2296382" y="3234118"/>
                    <a:pt x="2293619" y="3236881"/>
                    <a:pt x="2290190" y="3236881"/>
                  </a:cubicBezTo>
                  <a:lnTo>
                    <a:pt x="2284999" y="3231689"/>
                  </a:lnTo>
                  <a:lnTo>
                    <a:pt x="2284475" y="3232213"/>
                  </a:lnTo>
                  <a:lnTo>
                    <a:pt x="2279760" y="3227499"/>
                  </a:lnTo>
                  <a:lnTo>
                    <a:pt x="2278856" y="3228403"/>
                  </a:lnTo>
                  <a:lnTo>
                    <a:pt x="2274570" y="3224117"/>
                  </a:lnTo>
                  <a:lnTo>
                    <a:pt x="2273331" y="3225355"/>
                  </a:lnTo>
                  <a:lnTo>
                    <a:pt x="2269426" y="3221450"/>
                  </a:lnTo>
                  <a:lnTo>
                    <a:pt x="2267902" y="3222974"/>
                  </a:lnTo>
                  <a:lnTo>
                    <a:pt x="2264283" y="3219355"/>
                  </a:lnTo>
                  <a:lnTo>
                    <a:pt x="2262473" y="3221165"/>
                  </a:lnTo>
                  <a:lnTo>
                    <a:pt x="2259044" y="3217736"/>
                  </a:lnTo>
                  <a:lnTo>
                    <a:pt x="2256948" y="3219831"/>
                  </a:lnTo>
                  <a:lnTo>
                    <a:pt x="2253662" y="3216545"/>
                  </a:lnTo>
                  <a:lnTo>
                    <a:pt x="2251233" y="3218974"/>
                  </a:lnTo>
                  <a:lnTo>
                    <a:pt x="2247899" y="3215640"/>
                  </a:lnTo>
                  <a:lnTo>
                    <a:pt x="2245328" y="3218211"/>
                  </a:lnTo>
                  <a:lnTo>
                    <a:pt x="2241852" y="3214735"/>
                  </a:lnTo>
                  <a:lnTo>
                    <a:pt x="2239041" y="3217546"/>
                  </a:lnTo>
                  <a:lnTo>
                    <a:pt x="2235374" y="3213879"/>
                  </a:lnTo>
                  <a:lnTo>
                    <a:pt x="2232374" y="3216878"/>
                  </a:lnTo>
                  <a:lnTo>
                    <a:pt x="2228326" y="3212831"/>
                  </a:lnTo>
                  <a:lnTo>
                    <a:pt x="2225230" y="3215926"/>
                  </a:lnTo>
                  <a:lnTo>
                    <a:pt x="2220610" y="3211306"/>
                  </a:lnTo>
                  <a:lnTo>
                    <a:pt x="2217419" y="3214497"/>
                  </a:lnTo>
                  <a:lnTo>
                    <a:pt x="2212180" y="3209259"/>
                  </a:lnTo>
                  <a:lnTo>
                    <a:pt x="2208942" y="3212497"/>
                  </a:lnTo>
                  <a:lnTo>
                    <a:pt x="2202799" y="3206353"/>
                  </a:lnTo>
                  <a:lnTo>
                    <a:pt x="2199512" y="3209639"/>
                  </a:lnTo>
                  <a:cubicBezTo>
                    <a:pt x="2196083" y="3209639"/>
                    <a:pt x="2193321" y="3206877"/>
                    <a:pt x="2193321" y="3203448"/>
                  </a:cubicBezTo>
                  <a:cubicBezTo>
                    <a:pt x="2193321" y="3200019"/>
                    <a:pt x="2196083" y="3197257"/>
                    <a:pt x="2199512" y="3197257"/>
                  </a:cubicBezTo>
                  <a:close/>
                  <a:moveTo>
                    <a:pt x="1185005" y="3196495"/>
                  </a:moveTo>
                  <a:cubicBezTo>
                    <a:pt x="1188434" y="3196495"/>
                    <a:pt x="1191196" y="3199257"/>
                    <a:pt x="1191196" y="3202686"/>
                  </a:cubicBezTo>
                  <a:cubicBezTo>
                    <a:pt x="1191196" y="3206115"/>
                    <a:pt x="1188434" y="3208878"/>
                    <a:pt x="1185005" y="3208878"/>
                  </a:cubicBezTo>
                  <a:cubicBezTo>
                    <a:pt x="1181576" y="3208878"/>
                    <a:pt x="1178814" y="3206115"/>
                    <a:pt x="1178814" y="3202686"/>
                  </a:cubicBezTo>
                  <a:cubicBezTo>
                    <a:pt x="1178814" y="3199257"/>
                    <a:pt x="1181576" y="3196495"/>
                    <a:pt x="1185005" y="3196495"/>
                  </a:cubicBezTo>
                  <a:close/>
                  <a:moveTo>
                    <a:pt x="2104929" y="3196400"/>
                  </a:moveTo>
                  <a:cubicBezTo>
                    <a:pt x="2108358" y="3196400"/>
                    <a:pt x="2111121" y="3199162"/>
                    <a:pt x="2111121" y="3202591"/>
                  </a:cubicBezTo>
                  <a:cubicBezTo>
                    <a:pt x="2111121" y="3206020"/>
                    <a:pt x="2108358" y="3208782"/>
                    <a:pt x="2104929" y="3208782"/>
                  </a:cubicBezTo>
                  <a:cubicBezTo>
                    <a:pt x="2101500" y="3208782"/>
                    <a:pt x="2098738" y="3206020"/>
                    <a:pt x="2098738" y="3202591"/>
                  </a:cubicBezTo>
                  <a:cubicBezTo>
                    <a:pt x="2098738" y="3199162"/>
                    <a:pt x="2101500" y="3196400"/>
                    <a:pt x="2104929" y="3196400"/>
                  </a:cubicBezTo>
                  <a:close/>
                  <a:moveTo>
                    <a:pt x="1760219" y="3196114"/>
                  </a:moveTo>
                  <a:cubicBezTo>
                    <a:pt x="1763648" y="3196114"/>
                    <a:pt x="1766411" y="3198876"/>
                    <a:pt x="1766411" y="3202305"/>
                  </a:cubicBezTo>
                  <a:cubicBezTo>
                    <a:pt x="1766411" y="3205734"/>
                    <a:pt x="1763648" y="3208496"/>
                    <a:pt x="1760219" y="3208496"/>
                  </a:cubicBezTo>
                  <a:cubicBezTo>
                    <a:pt x="1756790" y="3208496"/>
                    <a:pt x="1754028" y="3205734"/>
                    <a:pt x="1754028" y="3202305"/>
                  </a:cubicBezTo>
                  <a:cubicBezTo>
                    <a:pt x="1754028" y="3198876"/>
                    <a:pt x="1756790" y="3196114"/>
                    <a:pt x="1760219" y="3196114"/>
                  </a:cubicBezTo>
                  <a:close/>
                  <a:moveTo>
                    <a:pt x="1366551" y="3194685"/>
                  </a:moveTo>
                  <a:cubicBezTo>
                    <a:pt x="1369980" y="3194685"/>
                    <a:pt x="1372742" y="3197447"/>
                    <a:pt x="1372742" y="3200876"/>
                  </a:cubicBezTo>
                  <a:cubicBezTo>
                    <a:pt x="1372742" y="3204305"/>
                    <a:pt x="1369980" y="3207067"/>
                    <a:pt x="1366551" y="3207067"/>
                  </a:cubicBezTo>
                  <a:cubicBezTo>
                    <a:pt x="1363122" y="3207067"/>
                    <a:pt x="1360360" y="3204305"/>
                    <a:pt x="1360360" y="3200876"/>
                  </a:cubicBezTo>
                  <a:cubicBezTo>
                    <a:pt x="1360360" y="3197447"/>
                    <a:pt x="1363122" y="3194685"/>
                    <a:pt x="1366551" y="3194685"/>
                  </a:cubicBezTo>
                  <a:close/>
                  <a:moveTo>
                    <a:pt x="1278349" y="3194685"/>
                  </a:moveTo>
                  <a:cubicBezTo>
                    <a:pt x="1281778" y="3194685"/>
                    <a:pt x="1284541" y="3197447"/>
                    <a:pt x="1284541" y="3200876"/>
                  </a:cubicBezTo>
                  <a:cubicBezTo>
                    <a:pt x="1284541" y="3204305"/>
                    <a:pt x="1281778" y="3207067"/>
                    <a:pt x="1278349" y="3207067"/>
                  </a:cubicBezTo>
                  <a:cubicBezTo>
                    <a:pt x="1274920" y="3207067"/>
                    <a:pt x="1272158" y="3204305"/>
                    <a:pt x="1272158" y="3200876"/>
                  </a:cubicBezTo>
                  <a:cubicBezTo>
                    <a:pt x="1272158" y="3197447"/>
                    <a:pt x="1274920" y="3194685"/>
                    <a:pt x="1278349" y="3194685"/>
                  </a:cubicBezTo>
                  <a:close/>
                  <a:moveTo>
                    <a:pt x="1537525" y="3194209"/>
                  </a:moveTo>
                  <a:cubicBezTo>
                    <a:pt x="1540954" y="3194209"/>
                    <a:pt x="1543717" y="3196971"/>
                    <a:pt x="1543717" y="3200400"/>
                  </a:cubicBezTo>
                  <a:cubicBezTo>
                    <a:pt x="1543717" y="3203829"/>
                    <a:pt x="1540954" y="3206592"/>
                    <a:pt x="1537525" y="3206592"/>
                  </a:cubicBezTo>
                  <a:cubicBezTo>
                    <a:pt x="1534096" y="3206592"/>
                    <a:pt x="1531334" y="3203829"/>
                    <a:pt x="1531334" y="3200400"/>
                  </a:cubicBezTo>
                  <a:cubicBezTo>
                    <a:pt x="1531334" y="3196971"/>
                    <a:pt x="1534096" y="3194209"/>
                    <a:pt x="1537525" y="3194209"/>
                  </a:cubicBezTo>
                  <a:close/>
                  <a:moveTo>
                    <a:pt x="2388869" y="3193828"/>
                  </a:moveTo>
                  <a:cubicBezTo>
                    <a:pt x="2390107" y="3193828"/>
                    <a:pt x="2391155" y="3194876"/>
                    <a:pt x="2391155" y="3196114"/>
                  </a:cubicBezTo>
                  <a:cubicBezTo>
                    <a:pt x="2391155" y="3197352"/>
                    <a:pt x="2390107" y="3198400"/>
                    <a:pt x="2388869" y="3198400"/>
                  </a:cubicBezTo>
                  <a:cubicBezTo>
                    <a:pt x="2387631" y="3198400"/>
                    <a:pt x="2386583" y="3197352"/>
                    <a:pt x="2386583" y="3196114"/>
                  </a:cubicBezTo>
                  <a:cubicBezTo>
                    <a:pt x="2386583" y="3194876"/>
                    <a:pt x="2387631" y="3193828"/>
                    <a:pt x="2388869" y="3193828"/>
                  </a:cubicBezTo>
                  <a:close/>
                  <a:moveTo>
                    <a:pt x="2189130" y="3193352"/>
                  </a:moveTo>
                  <a:cubicBezTo>
                    <a:pt x="2192559" y="3193352"/>
                    <a:pt x="2195322" y="3196114"/>
                    <a:pt x="2195322" y="3199543"/>
                  </a:cubicBezTo>
                  <a:cubicBezTo>
                    <a:pt x="2195322" y="3202972"/>
                    <a:pt x="2192559" y="3205734"/>
                    <a:pt x="2189130" y="3205734"/>
                  </a:cubicBezTo>
                  <a:cubicBezTo>
                    <a:pt x="2185701" y="3205734"/>
                    <a:pt x="2182939" y="3202972"/>
                    <a:pt x="2182939" y="3199543"/>
                  </a:cubicBezTo>
                  <a:cubicBezTo>
                    <a:pt x="2182939" y="3196114"/>
                    <a:pt x="2185701" y="3193352"/>
                    <a:pt x="2189130" y="3193352"/>
                  </a:cubicBezTo>
                  <a:close/>
                  <a:moveTo>
                    <a:pt x="1834038" y="3191447"/>
                  </a:moveTo>
                  <a:cubicBezTo>
                    <a:pt x="1837467" y="3191447"/>
                    <a:pt x="1840230" y="3194209"/>
                    <a:pt x="1840230" y="3197638"/>
                  </a:cubicBezTo>
                  <a:cubicBezTo>
                    <a:pt x="1840230" y="3201067"/>
                    <a:pt x="1837467" y="3203830"/>
                    <a:pt x="1834038" y="3203830"/>
                  </a:cubicBezTo>
                  <a:cubicBezTo>
                    <a:pt x="1830609" y="3203830"/>
                    <a:pt x="1827847" y="3201067"/>
                    <a:pt x="1827847" y="3197638"/>
                  </a:cubicBezTo>
                  <a:cubicBezTo>
                    <a:pt x="1827847" y="3194209"/>
                    <a:pt x="1830609" y="3191447"/>
                    <a:pt x="1834038" y="3191447"/>
                  </a:cubicBezTo>
                  <a:close/>
                  <a:moveTo>
                    <a:pt x="1108709" y="3189637"/>
                  </a:moveTo>
                  <a:cubicBezTo>
                    <a:pt x="1112138" y="3189637"/>
                    <a:pt x="1114901" y="3192399"/>
                    <a:pt x="1114901" y="3195828"/>
                  </a:cubicBezTo>
                  <a:cubicBezTo>
                    <a:pt x="1114901" y="3199257"/>
                    <a:pt x="1112138" y="3202020"/>
                    <a:pt x="1108709" y="3202020"/>
                  </a:cubicBezTo>
                  <a:lnTo>
                    <a:pt x="1105900" y="3199210"/>
                  </a:lnTo>
                  <a:lnTo>
                    <a:pt x="1100232" y="3204877"/>
                  </a:lnTo>
                  <a:lnTo>
                    <a:pt x="1097517" y="3202163"/>
                  </a:lnTo>
                  <a:lnTo>
                    <a:pt x="1092612" y="3207067"/>
                  </a:lnTo>
                  <a:lnTo>
                    <a:pt x="1089802" y="3204258"/>
                  </a:lnTo>
                  <a:lnTo>
                    <a:pt x="1085563" y="3208496"/>
                  </a:lnTo>
                  <a:lnTo>
                    <a:pt x="1082944" y="3205877"/>
                  </a:lnTo>
                  <a:lnTo>
                    <a:pt x="1079182" y="3209639"/>
                  </a:lnTo>
                  <a:lnTo>
                    <a:pt x="1076610" y="3207068"/>
                  </a:lnTo>
                  <a:lnTo>
                    <a:pt x="1073181" y="3210496"/>
                  </a:lnTo>
                  <a:lnTo>
                    <a:pt x="1070800" y="3208116"/>
                  </a:lnTo>
                  <a:lnTo>
                    <a:pt x="1067657" y="3211259"/>
                  </a:lnTo>
                  <a:lnTo>
                    <a:pt x="1065466" y="3209068"/>
                  </a:lnTo>
                  <a:lnTo>
                    <a:pt x="1062322" y="3212212"/>
                  </a:lnTo>
                  <a:lnTo>
                    <a:pt x="1060322" y="3210212"/>
                  </a:lnTo>
                  <a:lnTo>
                    <a:pt x="1057179" y="3213355"/>
                  </a:lnTo>
                  <a:lnTo>
                    <a:pt x="1055369" y="3211545"/>
                  </a:lnTo>
                  <a:lnTo>
                    <a:pt x="1052131" y="3214783"/>
                  </a:lnTo>
                  <a:lnTo>
                    <a:pt x="1050607" y="3213259"/>
                  </a:lnTo>
                  <a:lnTo>
                    <a:pt x="1047082" y="3216783"/>
                  </a:lnTo>
                  <a:lnTo>
                    <a:pt x="1045940" y="3215641"/>
                  </a:lnTo>
                  <a:lnTo>
                    <a:pt x="1042130" y="3219450"/>
                  </a:lnTo>
                  <a:lnTo>
                    <a:pt x="1041177" y="3218497"/>
                  </a:lnTo>
                  <a:lnTo>
                    <a:pt x="1036986" y="3222688"/>
                  </a:lnTo>
                  <a:lnTo>
                    <a:pt x="1035463" y="3221165"/>
                  </a:lnTo>
                  <a:lnTo>
                    <a:pt x="1031747" y="3224880"/>
                  </a:lnTo>
                  <a:cubicBezTo>
                    <a:pt x="1029328" y="3224880"/>
                    <a:pt x="1027366" y="3222918"/>
                    <a:pt x="1027366" y="3220499"/>
                  </a:cubicBezTo>
                  <a:lnTo>
                    <a:pt x="1031081" y="3216783"/>
                  </a:lnTo>
                  <a:lnTo>
                    <a:pt x="1030795" y="3216497"/>
                  </a:lnTo>
                  <a:cubicBezTo>
                    <a:pt x="1030795" y="3213068"/>
                    <a:pt x="1033557" y="3210306"/>
                    <a:pt x="1036986" y="3210306"/>
                  </a:cubicBezTo>
                  <a:lnTo>
                    <a:pt x="1037939" y="3211259"/>
                  </a:lnTo>
                  <a:lnTo>
                    <a:pt x="1042130" y="3207068"/>
                  </a:lnTo>
                  <a:lnTo>
                    <a:pt x="1043273" y="3208211"/>
                  </a:lnTo>
                  <a:lnTo>
                    <a:pt x="1047082" y="3204401"/>
                  </a:lnTo>
                  <a:lnTo>
                    <a:pt x="1048607" y="3205926"/>
                  </a:lnTo>
                  <a:lnTo>
                    <a:pt x="1052131" y="3202401"/>
                  </a:lnTo>
                  <a:lnTo>
                    <a:pt x="1053941" y="3204211"/>
                  </a:lnTo>
                  <a:lnTo>
                    <a:pt x="1057179" y="3200972"/>
                  </a:lnTo>
                  <a:lnTo>
                    <a:pt x="1059179" y="3202972"/>
                  </a:lnTo>
                  <a:lnTo>
                    <a:pt x="1062322" y="3199829"/>
                  </a:lnTo>
                  <a:lnTo>
                    <a:pt x="1064513" y="3202020"/>
                  </a:lnTo>
                  <a:lnTo>
                    <a:pt x="1067657" y="3198876"/>
                  </a:lnTo>
                  <a:lnTo>
                    <a:pt x="1070038" y="3201257"/>
                  </a:lnTo>
                  <a:lnTo>
                    <a:pt x="1073181" y="3198114"/>
                  </a:lnTo>
                  <a:lnTo>
                    <a:pt x="1075753" y="3200686"/>
                  </a:lnTo>
                  <a:lnTo>
                    <a:pt x="1079182" y="3197257"/>
                  </a:lnTo>
                  <a:lnTo>
                    <a:pt x="1081801" y="3199876"/>
                  </a:lnTo>
                  <a:lnTo>
                    <a:pt x="1085563" y="3196114"/>
                  </a:lnTo>
                  <a:lnTo>
                    <a:pt x="1088373" y="3198924"/>
                  </a:lnTo>
                  <a:lnTo>
                    <a:pt x="1092612" y="3194685"/>
                  </a:lnTo>
                  <a:lnTo>
                    <a:pt x="1095327" y="3197400"/>
                  </a:lnTo>
                  <a:lnTo>
                    <a:pt x="1100232" y="3192495"/>
                  </a:lnTo>
                  <a:lnTo>
                    <a:pt x="1103042" y="3195305"/>
                  </a:lnTo>
                  <a:close/>
                  <a:moveTo>
                    <a:pt x="1199197" y="3189542"/>
                  </a:moveTo>
                  <a:cubicBezTo>
                    <a:pt x="1202626" y="3189542"/>
                    <a:pt x="1205389" y="3192304"/>
                    <a:pt x="1205389" y="3195733"/>
                  </a:cubicBezTo>
                  <a:cubicBezTo>
                    <a:pt x="1205389" y="3199162"/>
                    <a:pt x="1202626" y="3201924"/>
                    <a:pt x="1199197" y="3201924"/>
                  </a:cubicBezTo>
                  <a:cubicBezTo>
                    <a:pt x="1195768" y="3201924"/>
                    <a:pt x="1193006" y="3199162"/>
                    <a:pt x="1193006" y="3195733"/>
                  </a:cubicBezTo>
                  <a:cubicBezTo>
                    <a:pt x="1193006" y="3192304"/>
                    <a:pt x="1195768" y="3189542"/>
                    <a:pt x="1199197" y="3189542"/>
                  </a:cubicBezTo>
                  <a:close/>
                  <a:moveTo>
                    <a:pt x="2002249" y="3188875"/>
                  </a:moveTo>
                  <a:cubicBezTo>
                    <a:pt x="2005678" y="3188875"/>
                    <a:pt x="2008441" y="3191637"/>
                    <a:pt x="2008441" y="3195066"/>
                  </a:cubicBezTo>
                  <a:cubicBezTo>
                    <a:pt x="2008441" y="3198495"/>
                    <a:pt x="2005678" y="3201257"/>
                    <a:pt x="2002249" y="3201257"/>
                  </a:cubicBezTo>
                  <a:cubicBezTo>
                    <a:pt x="1998820" y="3201257"/>
                    <a:pt x="1996058" y="3198495"/>
                    <a:pt x="1996058" y="3195066"/>
                  </a:cubicBezTo>
                  <a:cubicBezTo>
                    <a:pt x="1996058" y="3191637"/>
                    <a:pt x="1998820" y="3188875"/>
                    <a:pt x="2002249" y="3188875"/>
                  </a:cubicBezTo>
                  <a:close/>
                  <a:moveTo>
                    <a:pt x="1464087" y="3188399"/>
                  </a:moveTo>
                  <a:cubicBezTo>
                    <a:pt x="1467516" y="3188399"/>
                    <a:pt x="1470279" y="3191161"/>
                    <a:pt x="1470279" y="3194590"/>
                  </a:cubicBezTo>
                  <a:cubicBezTo>
                    <a:pt x="1470279" y="3198019"/>
                    <a:pt x="1467516" y="3200781"/>
                    <a:pt x="1464087" y="3200781"/>
                  </a:cubicBezTo>
                  <a:cubicBezTo>
                    <a:pt x="1460658" y="3200781"/>
                    <a:pt x="1457896" y="3198019"/>
                    <a:pt x="1457896" y="3194590"/>
                  </a:cubicBezTo>
                  <a:cubicBezTo>
                    <a:pt x="1457896" y="3191161"/>
                    <a:pt x="1460658" y="3188399"/>
                    <a:pt x="1464087" y="3188399"/>
                  </a:cubicBezTo>
                  <a:close/>
                  <a:moveTo>
                    <a:pt x="2177605" y="3188113"/>
                  </a:moveTo>
                  <a:cubicBezTo>
                    <a:pt x="2181034" y="3188113"/>
                    <a:pt x="2183797" y="3190875"/>
                    <a:pt x="2183797" y="3194304"/>
                  </a:cubicBezTo>
                  <a:cubicBezTo>
                    <a:pt x="2183797" y="3197733"/>
                    <a:pt x="2181034" y="3200495"/>
                    <a:pt x="2177605" y="3200495"/>
                  </a:cubicBezTo>
                  <a:cubicBezTo>
                    <a:pt x="2174176" y="3200495"/>
                    <a:pt x="2171414" y="3197733"/>
                    <a:pt x="2171414" y="3194304"/>
                  </a:cubicBezTo>
                  <a:cubicBezTo>
                    <a:pt x="2171414" y="3190875"/>
                    <a:pt x="2174176" y="3188113"/>
                    <a:pt x="2177605" y="3188113"/>
                  </a:cubicBezTo>
                  <a:close/>
                  <a:moveTo>
                    <a:pt x="2088070" y="3187542"/>
                  </a:moveTo>
                  <a:cubicBezTo>
                    <a:pt x="2091499" y="3187542"/>
                    <a:pt x="2094261" y="3190304"/>
                    <a:pt x="2094261" y="3193733"/>
                  </a:cubicBezTo>
                  <a:cubicBezTo>
                    <a:pt x="2094261" y="3197162"/>
                    <a:pt x="2091499" y="3199924"/>
                    <a:pt x="2088070" y="3199924"/>
                  </a:cubicBezTo>
                  <a:cubicBezTo>
                    <a:pt x="2084641" y="3199924"/>
                    <a:pt x="2081879" y="3197162"/>
                    <a:pt x="2081879" y="3193733"/>
                  </a:cubicBezTo>
                  <a:cubicBezTo>
                    <a:pt x="2081879" y="3190304"/>
                    <a:pt x="2084641" y="3187542"/>
                    <a:pt x="2088070" y="3187542"/>
                  </a:cubicBezTo>
                  <a:close/>
                  <a:moveTo>
                    <a:pt x="1118139" y="3185637"/>
                  </a:moveTo>
                  <a:cubicBezTo>
                    <a:pt x="1121568" y="3185637"/>
                    <a:pt x="1124331" y="3188399"/>
                    <a:pt x="1124331" y="3191828"/>
                  </a:cubicBezTo>
                  <a:cubicBezTo>
                    <a:pt x="1124331" y="3195257"/>
                    <a:pt x="1121568" y="3198019"/>
                    <a:pt x="1118139" y="3198019"/>
                  </a:cubicBezTo>
                  <a:cubicBezTo>
                    <a:pt x="1114710" y="3198019"/>
                    <a:pt x="1111948" y="3195257"/>
                    <a:pt x="1111948" y="3191828"/>
                  </a:cubicBezTo>
                  <a:cubicBezTo>
                    <a:pt x="1111948" y="3188399"/>
                    <a:pt x="1114710" y="3185637"/>
                    <a:pt x="1118139" y="3185637"/>
                  </a:cubicBezTo>
                  <a:close/>
                  <a:moveTo>
                    <a:pt x="1906999" y="3184303"/>
                  </a:moveTo>
                  <a:cubicBezTo>
                    <a:pt x="1910428" y="3184303"/>
                    <a:pt x="1913191" y="3187065"/>
                    <a:pt x="1913191" y="3190494"/>
                  </a:cubicBezTo>
                  <a:cubicBezTo>
                    <a:pt x="1913191" y="3193923"/>
                    <a:pt x="1910428" y="3196686"/>
                    <a:pt x="1906999" y="3196686"/>
                  </a:cubicBezTo>
                  <a:cubicBezTo>
                    <a:pt x="1903570" y="3196686"/>
                    <a:pt x="1900808" y="3193923"/>
                    <a:pt x="1900808" y="3190494"/>
                  </a:cubicBezTo>
                  <a:cubicBezTo>
                    <a:pt x="1900808" y="3187065"/>
                    <a:pt x="1903570" y="3184303"/>
                    <a:pt x="1906999" y="3184303"/>
                  </a:cubicBezTo>
                  <a:close/>
                  <a:moveTo>
                    <a:pt x="2420492" y="3184113"/>
                  </a:moveTo>
                  <a:cubicBezTo>
                    <a:pt x="2420598" y="3184113"/>
                    <a:pt x="2420683" y="3184198"/>
                    <a:pt x="2420683" y="3184303"/>
                  </a:cubicBezTo>
                  <a:cubicBezTo>
                    <a:pt x="2420683" y="3184409"/>
                    <a:pt x="2420598" y="3184494"/>
                    <a:pt x="2420492" y="3184494"/>
                  </a:cubicBezTo>
                  <a:cubicBezTo>
                    <a:pt x="2420387" y="3184494"/>
                    <a:pt x="2420302" y="3184409"/>
                    <a:pt x="2420302" y="3184303"/>
                  </a:cubicBezTo>
                  <a:cubicBezTo>
                    <a:pt x="2420302" y="3184198"/>
                    <a:pt x="2420387" y="3184113"/>
                    <a:pt x="2420492" y="3184113"/>
                  </a:cubicBezTo>
                  <a:close/>
                  <a:moveTo>
                    <a:pt x="1298447" y="3183351"/>
                  </a:moveTo>
                  <a:cubicBezTo>
                    <a:pt x="1301876" y="3183351"/>
                    <a:pt x="1304639" y="3186113"/>
                    <a:pt x="1304639" y="3189542"/>
                  </a:cubicBezTo>
                  <a:cubicBezTo>
                    <a:pt x="1304639" y="3192971"/>
                    <a:pt x="1301876" y="3195733"/>
                    <a:pt x="1298447" y="3195733"/>
                  </a:cubicBezTo>
                  <a:cubicBezTo>
                    <a:pt x="1295018" y="3195733"/>
                    <a:pt x="1292256" y="3192971"/>
                    <a:pt x="1292256" y="3189542"/>
                  </a:cubicBezTo>
                  <a:cubicBezTo>
                    <a:pt x="1292256" y="3186113"/>
                    <a:pt x="1295018" y="3183351"/>
                    <a:pt x="1298447" y="3183351"/>
                  </a:cubicBezTo>
                  <a:close/>
                  <a:moveTo>
                    <a:pt x="2164841" y="3181255"/>
                  </a:moveTo>
                  <a:cubicBezTo>
                    <a:pt x="2168270" y="3181255"/>
                    <a:pt x="2171032" y="3184017"/>
                    <a:pt x="2171032" y="3187446"/>
                  </a:cubicBezTo>
                  <a:cubicBezTo>
                    <a:pt x="2171032" y="3190875"/>
                    <a:pt x="2168270" y="3193637"/>
                    <a:pt x="2164841" y="3193637"/>
                  </a:cubicBezTo>
                  <a:cubicBezTo>
                    <a:pt x="2161412" y="3193637"/>
                    <a:pt x="2158650" y="3190875"/>
                    <a:pt x="2158650" y="3187446"/>
                  </a:cubicBezTo>
                  <a:cubicBezTo>
                    <a:pt x="2158650" y="3184017"/>
                    <a:pt x="2161412" y="3181255"/>
                    <a:pt x="2164841" y="3181255"/>
                  </a:cubicBezTo>
                  <a:close/>
                  <a:moveTo>
                    <a:pt x="1214818" y="3180779"/>
                  </a:moveTo>
                  <a:cubicBezTo>
                    <a:pt x="1218247" y="3180779"/>
                    <a:pt x="1221010" y="3183541"/>
                    <a:pt x="1221010" y="3186970"/>
                  </a:cubicBezTo>
                  <a:cubicBezTo>
                    <a:pt x="1221010" y="3190399"/>
                    <a:pt x="1218247" y="3193162"/>
                    <a:pt x="1214818" y="3193162"/>
                  </a:cubicBezTo>
                  <a:cubicBezTo>
                    <a:pt x="1211389" y="3193162"/>
                    <a:pt x="1208627" y="3190399"/>
                    <a:pt x="1208627" y="3186970"/>
                  </a:cubicBezTo>
                  <a:cubicBezTo>
                    <a:pt x="1208627" y="3183541"/>
                    <a:pt x="1211389" y="3180779"/>
                    <a:pt x="1214818" y="3180779"/>
                  </a:cubicBezTo>
                  <a:close/>
                  <a:moveTo>
                    <a:pt x="1128521" y="3180398"/>
                  </a:moveTo>
                  <a:cubicBezTo>
                    <a:pt x="1131950" y="3180398"/>
                    <a:pt x="1134712" y="3183160"/>
                    <a:pt x="1134712" y="3186589"/>
                  </a:cubicBezTo>
                  <a:cubicBezTo>
                    <a:pt x="1134712" y="3190018"/>
                    <a:pt x="1131950" y="3192780"/>
                    <a:pt x="1128521" y="3192780"/>
                  </a:cubicBezTo>
                  <a:cubicBezTo>
                    <a:pt x="1125092" y="3192780"/>
                    <a:pt x="1122330" y="3190018"/>
                    <a:pt x="1122330" y="3186589"/>
                  </a:cubicBezTo>
                  <a:cubicBezTo>
                    <a:pt x="1122330" y="3183160"/>
                    <a:pt x="1125092" y="3180398"/>
                    <a:pt x="1128521" y="3180398"/>
                  </a:cubicBezTo>
                  <a:close/>
                  <a:moveTo>
                    <a:pt x="1391697" y="3180112"/>
                  </a:moveTo>
                  <a:cubicBezTo>
                    <a:pt x="1395126" y="3180112"/>
                    <a:pt x="1397888" y="3182874"/>
                    <a:pt x="1397888" y="3186303"/>
                  </a:cubicBezTo>
                  <a:cubicBezTo>
                    <a:pt x="1397888" y="3189732"/>
                    <a:pt x="1395126" y="3192495"/>
                    <a:pt x="1391697" y="3192495"/>
                  </a:cubicBezTo>
                  <a:cubicBezTo>
                    <a:pt x="1388268" y="3192495"/>
                    <a:pt x="1385506" y="3189732"/>
                    <a:pt x="1385506" y="3186303"/>
                  </a:cubicBezTo>
                  <a:cubicBezTo>
                    <a:pt x="1385506" y="3182874"/>
                    <a:pt x="1388268" y="3180112"/>
                    <a:pt x="1391697" y="3180112"/>
                  </a:cubicBezTo>
                  <a:close/>
                  <a:moveTo>
                    <a:pt x="1648205" y="3176588"/>
                  </a:moveTo>
                  <a:cubicBezTo>
                    <a:pt x="1651634" y="3176588"/>
                    <a:pt x="1654397" y="3179350"/>
                    <a:pt x="1654397" y="3182779"/>
                  </a:cubicBezTo>
                  <a:cubicBezTo>
                    <a:pt x="1654397" y="3186208"/>
                    <a:pt x="1651634" y="3188971"/>
                    <a:pt x="1648205" y="3188971"/>
                  </a:cubicBezTo>
                  <a:cubicBezTo>
                    <a:pt x="1644776" y="3188971"/>
                    <a:pt x="1642014" y="3186208"/>
                    <a:pt x="1642014" y="3182779"/>
                  </a:cubicBezTo>
                  <a:cubicBezTo>
                    <a:pt x="1642014" y="3179350"/>
                    <a:pt x="1644776" y="3176588"/>
                    <a:pt x="1648205" y="3176588"/>
                  </a:cubicBezTo>
                  <a:close/>
                  <a:moveTo>
                    <a:pt x="2242375" y="3176493"/>
                  </a:moveTo>
                  <a:lnTo>
                    <a:pt x="2248471" y="3182588"/>
                  </a:lnTo>
                  <a:lnTo>
                    <a:pt x="2250566" y="3180493"/>
                  </a:lnTo>
                  <a:lnTo>
                    <a:pt x="2255805" y="3185732"/>
                  </a:lnTo>
                  <a:lnTo>
                    <a:pt x="2257996" y="3183541"/>
                  </a:lnTo>
                  <a:lnTo>
                    <a:pt x="2262425" y="3187970"/>
                  </a:lnTo>
                  <a:lnTo>
                    <a:pt x="2264663" y="3185732"/>
                  </a:lnTo>
                  <a:lnTo>
                    <a:pt x="2268521" y="3189589"/>
                  </a:lnTo>
                  <a:lnTo>
                    <a:pt x="2270759" y="3187351"/>
                  </a:lnTo>
                  <a:lnTo>
                    <a:pt x="2274189" y="3190780"/>
                  </a:lnTo>
                  <a:lnTo>
                    <a:pt x="2276284" y="3188685"/>
                  </a:lnTo>
                  <a:lnTo>
                    <a:pt x="2279427" y="3191828"/>
                  </a:lnTo>
                  <a:lnTo>
                    <a:pt x="2281523" y="3189732"/>
                  </a:lnTo>
                  <a:lnTo>
                    <a:pt x="2284428" y="3192637"/>
                  </a:lnTo>
                  <a:lnTo>
                    <a:pt x="2286380" y="3190685"/>
                  </a:lnTo>
                  <a:lnTo>
                    <a:pt x="2289286" y="3193591"/>
                  </a:lnTo>
                  <a:lnTo>
                    <a:pt x="2291048" y="3191828"/>
                  </a:lnTo>
                  <a:lnTo>
                    <a:pt x="2294000" y="3194780"/>
                  </a:lnTo>
                  <a:lnTo>
                    <a:pt x="2295524" y="3193256"/>
                  </a:lnTo>
                  <a:lnTo>
                    <a:pt x="2298620" y="3196352"/>
                  </a:lnTo>
                  <a:lnTo>
                    <a:pt x="2300001" y="3194971"/>
                  </a:lnTo>
                  <a:lnTo>
                    <a:pt x="2303430" y="3198400"/>
                  </a:lnTo>
                  <a:lnTo>
                    <a:pt x="2304573" y="3197257"/>
                  </a:lnTo>
                  <a:lnTo>
                    <a:pt x="2308240" y="3200924"/>
                  </a:lnTo>
                  <a:lnTo>
                    <a:pt x="2309050" y="3200114"/>
                  </a:lnTo>
                  <a:lnTo>
                    <a:pt x="2313194" y="3204257"/>
                  </a:lnTo>
                  <a:lnTo>
                    <a:pt x="2313812" y="3203639"/>
                  </a:lnTo>
                  <a:lnTo>
                    <a:pt x="2318432" y="3208258"/>
                  </a:lnTo>
                  <a:lnTo>
                    <a:pt x="2318670" y="3208020"/>
                  </a:lnTo>
                  <a:cubicBezTo>
                    <a:pt x="2322099" y="3208020"/>
                    <a:pt x="2324862" y="3210782"/>
                    <a:pt x="2324862" y="3214211"/>
                  </a:cubicBezTo>
                  <a:lnTo>
                    <a:pt x="2324814" y="3214260"/>
                  </a:lnTo>
                  <a:lnTo>
                    <a:pt x="2329910" y="3219355"/>
                  </a:lnTo>
                  <a:cubicBezTo>
                    <a:pt x="2329910" y="3222784"/>
                    <a:pt x="2327147" y="3225547"/>
                    <a:pt x="2323718" y="3225547"/>
                  </a:cubicBezTo>
                  <a:cubicBezTo>
                    <a:pt x="2320289" y="3225547"/>
                    <a:pt x="2317527" y="3222784"/>
                    <a:pt x="2317527" y="3219355"/>
                  </a:cubicBezTo>
                  <a:lnTo>
                    <a:pt x="2317575" y="3219307"/>
                  </a:lnTo>
                  <a:lnTo>
                    <a:pt x="2314051" y="3215783"/>
                  </a:lnTo>
                  <a:lnTo>
                    <a:pt x="2313812" y="3216022"/>
                  </a:lnTo>
                  <a:lnTo>
                    <a:pt x="2309669" y="3211878"/>
                  </a:lnTo>
                  <a:lnTo>
                    <a:pt x="2309050" y="3212497"/>
                  </a:lnTo>
                  <a:lnTo>
                    <a:pt x="2305383" y="3208830"/>
                  </a:lnTo>
                  <a:lnTo>
                    <a:pt x="2304573" y="3209639"/>
                  </a:lnTo>
                  <a:lnTo>
                    <a:pt x="2301144" y="3206210"/>
                  </a:lnTo>
                  <a:lnTo>
                    <a:pt x="2300001" y="3207353"/>
                  </a:lnTo>
                  <a:lnTo>
                    <a:pt x="2296905" y="3204258"/>
                  </a:lnTo>
                  <a:lnTo>
                    <a:pt x="2295524" y="3205639"/>
                  </a:lnTo>
                  <a:lnTo>
                    <a:pt x="2292572" y="3202687"/>
                  </a:lnTo>
                  <a:lnTo>
                    <a:pt x="2291048" y="3204211"/>
                  </a:lnTo>
                  <a:lnTo>
                    <a:pt x="2288142" y="3201305"/>
                  </a:lnTo>
                  <a:lnTo>
                    <a:pt x="2286380" y="3203067"/>
                  </a:lnTo>
                  <a:lnTo>
                    <a:pt x="2283475" y="3200163"/>
                  </a:lnTo>
                  <a:lnTo>
                    <a:pt x="2281523" y="3202115"/>
                  </a:lnTo>
                  <a:lnTo>
                    <a:pt x="2278380" y="3198972"/>
                  </a:lnTo>
                  <a:lnTo>
                    <a:pt x="2276284" y="3201067"/>
                  </a:lnTo>
                  <a:lnTo>
                    <a:pt x="2272855" y="3197638"/>
                  </a:lnTo>
                  <a:lnTo>
                    <a:pt x="2270759" y="3199734"/>
                  </a:lnTo>
                  <a:lnTo>
                    <a:pt x="2266902" y="3195876"/>
                  </a:lnTo>
                  <a:lnTo>
                    <a:pt x="2264663" y="3198114"/>
                  </a:lnTo>
                  <a:lnTo>
                    <a:pt x="2260234" y="3193685"/>
                  </a:lnTo>
                  <a:lnTo>
                    <a:pt x="2257996" y="3195923"/>
                  </a:lnTo>
                  <a:lnTo>
                    <a:pt x="2252757" y="3190685"/>
                  </a:lnTo>
                  <a:lnTo>
                    <a:pt x="2250566" y="3192876"/>
                  </a:lnTo>
                  <a:lnTo>
                    <a:pt x="2244471" y="3186780"/>
                  </a:lnTo>
                  <a:lnTo>
                    <a:pt x="2242375" y="3188875"/>
                  </a:lnTo>
                  <a:cubicBezTo>
                    <a:pt x="2238946" y="3188875"/>
                    <a:pt x="2236184" y="3186113"/>
                    <a:pt x="2236184" y="3182684"/>
                  </a:cubicBezTo>
                  <a:cubicBezTo>
                    <a:pt x="2236184" y="3179255"/>
                    <a:pt x="2238946" y="3176493"/>
                    <a:pt x="2242375" y="3176493"/>
                  </a:cubicBezTo>
                  <a:close/>
                  <a:moveTo>
                    <a:pt x="2069401" y="3176397"/>
                  </a:moveTo>
                  <a:cubicBezTo>
                    <a:pt x="2072830" y="3176397"/>
                    <a:pt x="2075593" y="3179159"/>
                    <a:pt x="2075593" y="3182588"/>
                  </a:cubicBezTo>
                  <a:cubicBezTo>
                    <a:pt x="2075593" y="3186017"/>
                    <a:pt x="2072830" y="3188779"/>
                    <a:pt x="2069401" y="3188779"/>
                  </a:cubicBezTo>
                  <a:cubicBezTo>
                    <a:pt x="2065972" y="3188779"/>
                    <a:pt x="2063210" y="3186017"/>
                    <a:pt x="2063210" y="3182588"/>
                  </a:cubicBezTo>
                  <a:cubicBezTo>
                    <a:pt x="2063210" y="3179159"/>
                    <a:pt x="2065972" y="3176397"/>
                    <a:pt x="2069401" y="3176397"/>
                  </a:cubicBezTo>
                  <a:close/>
                  <a:moveTo>
                    <a:pt x="1725262" y="3175826"/>
                  </a:moveTo>
                  <a:cubicBezTo>
                    <a:pt x="1728691" y="3175826"/>
                    <a:pt x="1731454" y="3178588"/>
                    <a:pt x="1731454" y="3182017"/>
                  </a:cubicBezTo>
                  <a:cubicBezTo>
                    <a:pt x="1731454" y="3185446"/>
                    <a:pt x="1728691" y="3188208"/>
                    <a:pt x="1725262" y="3188208"/>
                  </a:cubicBezTo>
                  <a:cubicBezTo>
                    <a:pt x="1721833" y="3188208"/>
                    <a:pt x="1719071" y="3185446"/>
                    <a:pt x="1719071" y="3182017"/>
                  </a:cubicBezTo>
                  <a:cubicBezTo>
                    <a:pt x="1719071" y="3178588"/>
                    <a:pt x="1721833" y="3175826"/>
                    <a:pt x="1725262" y="3175826"/>
                  </a:cubicBezTo>
                  <a:close/>
                  <a:moveTo>
                    <a:pt x="1978723" y="3174587"/>
                  </a:moveTo>
                  <a:cubicBezTo>
                    <a:pt x="1982152" y="3174587"/>
                    <a:pt x="1984915" y="3177349"/>
                    <a:pt x="1984915" y="3180778"/>
                  </a:cubicBezTo>
                  <a:cubicBezTo>
                    <a:pt x="1984915" y="3184207"/>
                    <a:pt x="1982152" y="3186969"/>
                    <a:pt x="1978723" y="3186969"/>
                  </a:cubicBezTo>
                  <a:cubicBezTo>
                    <a:pt x="1975294" y="3186969"/>
                    <a:pt x="1972532" y="3184207"/>
                    <a:pt x="1972532" y="3180778"/>
                  </a:cubicBezTo>
                  <a:cubicBezTo>
                    <a:pt x="1972532" y="3177349"/>
                    <a:pt x="1975294" y="3174587"/>
                    <a:pt x="1978723" y="3174587"/>
                  </a:cubicBezTo>
                  <a:close/>
                  <a:moveTo>
                    <a:pt x="1571243" y="3174492"/>
                  </a:moveTo>
                  <a:cubicBezTo>
                    <a:pt x="1574672" y="3174492"/>
                    <a:pt x="1577435" y="3177254"/>
                    <a:pt x="1577435" y="3180683"/>
                  </a:cubicBezTo>
                  <a:cubicBezTo>
                    <a:pt x="1577435" y="3184112"/>
                    <a:pt x="1574672" y="3186875"/>
                    <a:pt x="1571243" y="3186875"/>
                  </a:cubicBezTo>
                  <a:cubicBezTo>
                    <a:pt x="1567814" y="3186875"/>
                    <a:pt x="1565052" y="3184112"/>
                    <a:pt x="1565052" y="3180683"/>
                  </a:cubicBezTo>
                  <a:cubicBezTo>
                    <a:pt x="1565052" y="3177254"/>
                    <a:pt x="1567814" y="3174492"/>
                    <a:pt x="1571243" y="3174492"/>
                  </a:cubicBezTo>
                  <a:close/>
                  <a:moveTo>
                    <a:pt x="1140142" y="3173635"/>
                  </a:moveTo>
                  <a:cubicBezTo>
                    <a:pt x="1143571" y="3173635"/>
                    <a:pt x="1146333" y="3176397"/>
                    <a:pt x="1146333" y="3179826"/>
                  </a:cubicBezTo>
                  <a:cubicBezTo>
                    <a:pt x="1146333" y="3183255"/>
                    <a:pt x="1143571" y="3186018"/>
                    <a:pt x="1140142" y="3186018"/>
                  </a:cubicBezTo>
                  <a:cubicBezTo>
                    <a:pt x="1136713" y="3186018"/>
                    <a:pt x="1133951" y="3183255"/>
                    <a:pt x="1133951" y="3179826"/>
                  </a:cubicBezTo>
                  <a:cubicBezTo>
                    <a:pt x="1133951" y="3176397"/>
                    <a:pt x="1136713" y="3173635"/>
                    <a:pt x="1140142" y="3173635"/>
                  </a:cubicBezTo>
                  <a:close/>
                  <a:moveTo>
                    <a:pt x="2150554" y="3172587"/>
                  </a:moveTo>
                  <a:cubicBezTo>
                    <a:pt x="2153983" y="3172587"/>
                    <a:pt x="2156745" y="3175349"/>
                    <a:pt x="2156745" y="3178778"/>
                  </a:cubicBezTo>
                  <a:cubicBezTo>
                    <a:pt x="2156745" y="3182207"/>
                    <a:pt x="2153983" y="3184969"/>
                    <a:pt x="2150554" y="3184969"/>
                  </a:cubicBezTo>
                  <a:cubicBezTo>
                    <a:pt x="2147125" y="3184969"/>
                    <a:pt x="2144363" y="3182207"/>
                    <a:pt x="2144363" y="3178778"/>
                  </a:cubicBezTo>
                  <a:cubicBezTo>
                    <a:pt x="2144363" y="3175349"/>
                    <a:pt x="2147125" y="3172587"/>
                    <a:pt x="2150554" y="3172587"/>
                  </a:cubicBezTo>
                  <a:close/>
                  <a:moveTo>
                    <a:pt x="1801939" y="3172302"/>
                  </a:moveTo>
                  <a:cubicBezTo>
                    <a:pt x="1805368" y="3172302"/>
                    <a:pt x="1808131" y="3175064"/>
                    <a:pt x="1808131" y="3178493"/>
                  </a:cubicBezTo>
                  <a:cubicBezTo>
                    <a:pt x="1808131" y="3181922"/>
                    <a:pt x="1805368" y="3184684"/>
                    <a:pt x="1801939" y="3184684"/>
                  </a:cubicBezTo>
                  <a:cubicBezTo>
                    <a:pt x="1798510" y="3184684"/>
                    <a:pt x="1795748" y="3181922"/>
                    <a:pt x="1795748" y="3178493"/>
                  </a:cubicBezTo>
                  <a:cubicBezTo>
                    <a:pt x="1795748" y="3175064"/>
                    <a:pt x="1798510" y="3172302"/>
                    <a:pt x="1801939" y="3172302"/>
                  </a:cubicBezTo>
                  <a:close/>
                  <a:moveTo>
                    <a:pt x="2233136" y="3171254"/>
                  </a:moveTo>
                  <a:cubicBezTo>
                    <a:pt x="2236565" y="3171254"/>
                    <a:pt x="2239328" y="3174016"/>
                    <a:pt x="2239328" y="3177445"/>
                  </a:cubicBezTo>
                  <a:cubicBezTo>
                    <a:pt x="2239328" y="3180874"/>
                    <a:pt x="2236565" y="3183637"/>
                    <a:pt x="2233136" y="3183637"/>
                  </a:cubicBezTo>
                  <a:cubicBezTo>
                    <a:pt x="2229707" y="3183637"/>
                    <a:pt x="2226945" y="3180874"/>
                    <a:pt x="2226945" y="3177445"/>
                  </a:cubicBezTo>
                  <a:cubicBezTo>
                    <a:pt x="2226945" y="3174016"/>
                    <a:pt x="2229707" y="3171254"/>
                    <a:pt x="2233136" y="3171254"/>
                  </a:cubicBezTo>
                  <a:close/>
                  <a:moveTo>
                    <a:pt x="1494757" y="3169825"/>
                  </a:moveTo>
                  <a:cubicBezTo>
                    <a:pt x="1498186" y="3169825"/>
                    <a:pt x="1500949" y="3172587"/>
                    <a:pt x="1500949" y="3176016"/>
                  </a:cubicBezTo>
                  <a:cubicBezTo>
                    <a:pt x="1500949" y="3179445"/>
                    <a:pt x="1498186" y="3182207"/>
                    <a:pt x="1494757" y="3182207"/>
                  </a:cubicBezTo>
                  <a:cubicBezTo>
                    <a:pt x="1491328" y="3182207"/>
                    <a:pt x="1488566" y="3179445"/>
                    <a:pt x="1488566" y="3176016"/>
                  </a:cubicBezTo>
                  <a:cubicBezTo>
                    <a:pt x="1488566" y="3172587"/>
                    <a:pt x="1491328" y="3169825"/>
                    <a:pt x="1494757" y="3169825"/>
                  </a:cubicBezTo>
                  <a:close/>
                  <a:moveTo>
                    <a:pt x="1232153" y="3169825"/>
                  </a:moveTo>
                  <a:cubicBezTo>
                    <a:pt x="1235582" y="3169825"/>
                    <a:pt x="1238344" y="3172587"/>
                    <a:pt x="1238344" y="3176016"/>
                  </a:cubicBezTo>
                  <a:cubicBezTo>
                    <a:pt x="1238344" y="3179445"/>
                    <a:pt x="1235582" y="3182207"/>
                    <a:pt x="1232153" y="3182207"/>
                  </a:cubicBezTo>
                  <a:cubicBezTo>
                    <a:pt x="1228724" y="3182207"/>
                    <a:pt x="1225962" y="3179445"/>
                    <a:pt x="1225962" y="3176016"/>
                  </a:cubicBezTo>
                  <a:cubicBezTo>
                    <a:pt x="1225962" y="3172587"/>
                    <a:pt x="1228724" y="3169825"/>
                    <a:pt x="1232153" y="3169825"/>
                  </a:cubicBezTo>
                  <a:close/>
                  <a:moveTo>
                    <a:pt x="1320641" y="3169349"/>
                  </a:moveTo>
                  <a:cubicBezTo>
                    <a:pt x="1324070" y="3169349"/>
                    <a:pt x="1326833" y="3172111"/>
                    <a:pt x="1326833" y="3175540"/>
                  </a:cubicBezTo>
                  <a:cubicBezTo>
                    <a:pt x="1326833" y="3178969"/>
                    <a:pt x="1324070" y="3181731"/>
                    <a:pt x="1320641" y="3181731"/>
                  </a:cubicBezTo>
                  <a:cubicBezTo>
                    <a:pt x="1317212" y="3181731"/>
                    <a:pt x="1314450" y="3178969"/>
                    <a:pt x="1314450" y="3175540"/>
                  </a:cubicBezTo>
                  <a:cubicBezTo>
                    <a:pt x="1314450" y="3172111"/>
                    <a:pt x="1317212" y="3169349"/>
                    <a:pt x="1320641" y="3169349"/>
                  </a:cubicBezTo>
                  <a:close/>
                  <a:moveTo>
                    <a:pt x="1065751" y="3168301"/>
                  </a:moveTo>
                  <a:cubicBezTo>
                    <a:pt x="1069180" y="3168301"/>
                    <a:pt x="1071943" y="3171063"/>
                    <a:pt x="1071943" y="3174492"/>
                  </a:cubicBezTo>
                  <a:cubicBezTo>
                    <a:pt x="1071943" y="3177921"/>
                    <a:pt x="1069180" y="3180684"/>
                    <a:pt x="1065751" y="3180684"/>
                  </a:cubicBezTo>
                  <a:lnTo>
                    <a:pt x="1064132" y="3179065"/>
                  </a:lnTo>
                  <a:lnTo>
                    <a:pt x="1058417" y="3184780"/>
                  </a:lnTo>
                  <a:lnTo>
                    <a:pt x="1056702" y="3183065"/>
                  </a:lnTo>
                  <a:lnTo>
                    <a:pt x="1051940" y="3187828"/>
                  </a:lnTo>
                  <a:lnTo>
                    <a:pt x="1050178" y="3186066"/>
                  </a:lnTo>
                  <a:lnTo>
                    <a:pt x="1046035" y="3190209"/>
                  </a:lnTo>
                  <a:lnTo>
                    <a:pt x="1044272" y="3188446"/>
                  </a:lnTo>
                  <a:lnTo>
                    <a:pt x="1040796" y="3191923"/>
                  </a:lnTo>
                  <a:lnTo>
                    <a:pt x="1039081" y="3190208"/>
                  </a:lnTo>
                  <a:lnTo>
                    <a:pt x="1035938" y="3193351"/>
                  </a:lnTo>
                  <a:lnTo>
                    <a:pt x="1034272" y="3191685"/>
                  </a:lnTo>
                  <a:lnTo>
                    <a:pt x="1031366" y="3194590"/>
                  </a:lnTo>
                  <a:lnTo>
                    <a:pt x="1029890" y="3193114"/>
                  </a:lnTo>
                  <a:lnTo>
                    <a:pt x="1027175" y="3195829"/>
                  </a:lnTo>
                  <a:lnTo>
                    <a:pt x="1025746" y="3194400"/>
                  </a:lnTo>
                  <a:lnTo>
                    <a:pt x="1022984" y="3197161"/>
                  </a:lnTo>
                  <a:lnTo>
                    <a:pt x="1021794" y="3195971"/>
                  </a:lnTo>
                  <a:lnTo>
                    <a:pt x="1018984" y="3198781"/>
                  </a:lnTo>
                  <a:lnTo>
                    <a:pt x="1017984" y="3197781"/>
                  </a:lnTo>
                  <a:lnTo>
                    <a:pt x="1014983" y="3200781"/>
                  </a:lnTo>
                  <a:lnTo>
                    <a:pt x="1014222" y="3200020"/>
                  </a:lnTo>
                  <a:lnTo>
                    <a:pt x="1010983" y="3203258"/>
                  </a:lnTo>
                  <a:lnTo>
                    <a:pt x="1010459" y="3202734"/>
                  </a:lnTo>
                  <a:lnTo>
                    <a:pt x="1006792" y="3206401"/>
                  </a:lnTo>
                  <a:lnTo>
                    <a:pt x="1006506" y="3206116"/>
                  </a:lnTo>
                  <a:lnTo>
                    <a:pt x="1002410" y="3210211"/>
                  </a:lnTo>
                  <a:cubicBezTo>
                    <a:pt x="998981" y="3210211"/>
                    <a:pt x="996219" y="3207449"/>
                    <a:pt x="996219" y="3204020"/>
                  </a:cubicBezTo>
                  <a:cubicBezTo>
                    <a:pt x="996219" y="3200591"/>
                    <a:pt x="998981" y="3197829"/>
                    <a:pt x="1002410" y="3197829"/>
                  </a:cubicBezTo>
                  <a:lnTo>
                    <a:pt x="1002696" y="3198115"/>
                  </a:lnTo>
                  <a:lnTo>
                    <a:pt x="1006792" y="3194019"/>
                  </a:lnTo>
                  <a:lnTo>
                    <a:pt x="1007316" y="3194543"/>
                  </a:lnTo>
                  <a:lnTo>
                    <a:pt x="1010983" y="3190875"/>
                  </a:lnTo>
                  <a:lnTo>
                    <a:pt x="1011745" y="3191637"/>
                  </a:lnTo>
                  <a:lnTo>
                    <a:pt x="1014983" y="3188399"/>
                  </a:lnTo>
                  <a:lnTo>
                    <a:pt x="1015983" y="3189399"/>
                  </a:lnTo>
                  <a:lnTo>
                    <a:pt x="1018984" y="3186398"/>
                  </a:lnTo>
                  <a:lnTo>
                    <a:pt x="1020175" y="3187589"/>
                  </a:lnTo>
                  <a:lnTo>
                    <a:pt x="1022984" y="3184779"/>
                  </a:lnTo>
                  <a:lnTo>
                    <a:pt x="1024413" y="3186208"/>
                  </a:lnTo>
                  <a:lnTo>
                    <a:pt x="1027175" y="3183446"/>
                  </a:lnTo>
                  <a:lnTo>
                    <a:pt x="1028651" y="3184922"/>
                  </a:lnTo>
                  <a:lnTo>
                    <a:pt x="1031366" y="3182207"/>
                  </a:lnTo>
                  <a:lnTo>
                    <a:pt x="1033033" y="3183874"/>
                  </a:lnTo>
                  <a:lnTo>
                    <a:pt x="1035938" y="3180969"/>
                  </a:lnTo>
                  <a:lnTo>
                    <a:pt x="1037653" y="3182684"/>
                  </a:lnTo>
                  <a:lnTo>
                    <a:pt x="1040796" y="3179540"/>
                  </a:lnTo>
                  <a:lnTo>
                    <a:pt x="1042559" y="3181303"/>
                  </a:lnTo>
                  <a:lnTo>
                    <a:pt x="1046035" y="3177826"/>
                  </a:lnTo>
                  <a:lnTo>
                    <a:pt x="1047797" y="3179588"/>
                  </a:lnTo>
                  <a:lnTo>
                    <a:pt x="1051940" y="3175445"/>
                  </a:lnTo>
                  <a:lnTo>
                    <a:pt x="1053655" y="3177160"/>
                  </a:lnTo>
                  <a:lnTo>
                    <a:pt x="1058417" y="3172397"/>
                  </a:lnTo>
                  <a:lnTo>
                    <a:pt x="1060036" y="3174016"/>
                  </a:lnTo>
                  <a:close/>
                  <a:moveTo>
                    <a:pt x="1877948" y="3166110"/>
                  </a:moveTo>
                  <a:cubicBezTo>
                    <a:pt x="1881377" y="3166110"/>
                    <a:pt x="1884140" y="3168872"/>
                    <a:pt x="1884140" y="3172301"/>
                  </a:cubicBezTo>
                  <a:cubicBezTo>
                    <a:pt x="1884140" y="3175730"/>
                    <a:pt x="1881377" y="3178492"/>
                    <a:pt x="1877948" y="3178492"/>
                  </a:cubicBezTo>
                  <a:cubicBezTo>
                    <a:pt x="1874519" y="3178492"/>
                    <a:pt x="1871757" y="3175730"/>
                    <a:pt x="1871757" y="3172301"/>
                  </a:cubicBezTo>
                  <a:cubicBezTo>
                    <a:pt x="1871757" y="3168872"/>
                    <a:pt x="1874519" y="3166110"/>
                    <a:pt x="1877948" y="3166110"/>
                  </a:cubicBezTo>
                  <a:close/>
                  <a:moveTo>
                    <a:pt x="1153191" y="3165062"/>
                  </a:moveTo>
                  <a:cubicBezTo>
                    <a:pt x="1156620" y="3165062"/>
                    <a:pt x="1159383" y="3167824"/>
                    <a:pt x="1159383" y="3171253"/>
                  </a:cubicBezTo>
                  <a:cubicBezTo>
                    <a:pt x="1159383" y="3174682"/>
                    <a:pt x="1156620" y="3177444"/>
                    <a:pt x="1153191" y="3177444"/>
                  </a:cubicBezTo>
                  <a:cubicBezTo>
                    <a:pt x="1149762" y="3177444"/>
                    <a:pt x="1147000" y="3174682"/>
                    <a:pt x="1147000" y="3171253"/>
                  </a:cubicBezTo>
                  <a:cubicBezTo>
                    <a:pt x="1147000" y="3167824"/>
                    <a:pt x="1149762" y="3165062"/>
                    <a:pt x="1153191" y="3165062"/>
                  </a:cubicBezTo>
                  <a:close/>
                  <a:moveTo>
                    <a:pt x="903350" y="3164872"/>
                  </a:moveTo>
                  <a:cubicBezTo>
                    <a:pt x="903403" y="3164872"/>
                    <a:pt x="903445" y="3164915"/>
                    <a:pt x="903445" y="3164967"/>
                  </a:cubicBezTo>
                  <a:cubicBezTo>
                    <a:pt x="903445" y="3165020"/>
                    <a:pt x="903403" y="3165062"/>
                    <a:pt x="903350" y="3165062"/>
                  </a:cubicBezTo>
                  <a:cubicBezTo>
                    <a:pt x="903298" y="3165062"/>
                    <a:pt x="903255" y="3165020"/>
                    <a:pt x="903255" y="3164967"/>
                  </a:cubicBezTo>
                  <a:cubicBezTo>
                    <a:pt x="903255" y="3164915"/>
                    <a:pt x="903298" y="3164872"/>
                    <a:pt x="903350" y="3164872"/>
                  </a:cubicBezTo>
                  <a:close/>
                  <a:moveTo>
                    <a:pt x="2222753" y="3164491"/>
                  </a:moveTo>
                  <a:cubicBezTo>
                    <a:pt x="2226182" y="3164491"/>
                    <a:pt x="2228944" y="3167253"/>
                    <a:pt x="2228944" y="3170682"/>
                  </a:cubicBezTo>
                  <a:cubicBezTo>
                    <a:pt x="2228944" y="3174111"/>
                    <a:pt x="2226182" y="3176873"/>
                    <a:pt x="2222753" y="3176873"/>
                  </a:cubicBezTo>
                  <a:cubicBezTo>
                    <a:pt x="2219324" y="3176873"/>
                    <a:pt x="2216562" y="3174111"/>
                    <a:pt x="2216562" y="3170682"/>
                  </a:cubicBezTo>
                  <a:cubicBezTo>
                    <a:pt x="2216562" y="3167253"/>
                    <a:pt x="2219324" y="3164491"/>
                    <a:pt x="2222753" y="3164491"/>
                  </a:cubicBezTo>
                  <a:close/>
                  <a:moveTo>
                    <a:pt x="1073943" y="3162967"/>
                  </a:moveTo>
                  <a:cubicBezTo>
                    <a:pt x="1077372" y="3162967"/>
                    <a:pt x="1080135" y="3165729"/>
                    <a:pt x="1080135" y="3169158"/>
                  </a:cubicBezTo>
                  <a:cubicBezTo>
                    <a:pt x="1080135" y="3172587"/>
                    <a:pt x="1077372" y="3175349"/>
                    <a:pt x="1073943" y="3175349"/>
                  </a:cubicBezTo>
                  <a:cubicBezTo>
                    <a:pt x="1070514" y="3175349"/>
                    <a:pt x="1067752" y="3172587"/>
                    <a:pt x="1067752" y="3169158"/>
                  </a:cubicBezTo>
                  <a:cubicBezTo>
                    <a:pt x="1067752" y="3165729"/>
                    <a:pt x="1070514" y="3162967"/>
                    <a:pt x="1073943" y="3162967"/>
                  </a:cubicBezTo>
                  <a:close/>
                  <a:moveTo>
                    <a:pt x="2048827" y="3162586"/>
                  </a:moveTo>
                  <a:cubicBezTo>
                    <a:pt x="2052247" y="3162586"/>
                    <a:pt x="2055019" y="3165358"/>
                    <a:pt x="2055019" y="3168777"/>
                  </a:cubicBezTo>
                  <a:cubicBezTo>
                    <a:pt x="2055019" y="3172197"/>
                    <a:pt x="2052247" y="3174969"/>
                    <a:pt x="2048827" y="3174969"/>
                  </a:cubicBezTo>
                  <a:cubicBezTo>
                    <a:pt x="2045408" y="3174969"/>
                    <a:pt x="2042636" y="3172197"/>
                    <a:pt x="2042636" y="3168777"/>
                  </a:cubicBezTo>
                  <a:cubicBezTo>
                    <a:pt x="2042636" y="3165358"/>
                    <a:pt x="2045408" y="3162586"/>
                    <a:pt x="2048827" y="3162586"/>
                  </a:cubicBezTo>
                  <a:close/>
                  <a:moveTo>
                    <a:pt x="1419224" y="3162396"/>
                  </a:moveTo>
                  <a:cubicBezTo>
                    <a:pt x="1422653" y="3162396"/>
                    <a:pt x="1425415" y="3165158"/>
                    <a:pt x="1425415" y="3168587"/>
                  </a:cubicBezTo>
                  <a:cubicBezTo>
                    <a:pt x="1425415" y="3172016"/>
                    <a:pt x="1422653" y="3174778"/>
                    <a:pt x="1419224" y="3174778"/>
                  </a:cubicBezTo>
                  <a:cubicBezTo>
                    <a:pt x="1415795" y="3174778"/>
                    <a:pt x="1413033" y="3172016"/>
                    <a:pt x="1413033" y="3168587"/>
                  </a:cubicBezTo>
                  <a:cubicBezTo>
                    <a:pt x="1413033" y="3165158"/>
                    <a:pt x="1415795" y="3162396"/>
                    <a:pt x="1419224" y="3162396"/>
                  </a:cubicBezTo>
                  <a:close/>
                  <a:moveTo>
                    <a:pt x="2134837" y="3161824"/>
                  </a:moveTo>
                  <a:cubicBezTo>
                    <a:pt x="2138266" y="3161824"/>
                    <a:pt x="2141029" y="3164586"/>
                    <a:pt x="2141029" y="3168015"/>
                  </a:cubicBezTo>
                  <a:cubicBezTo>
                    <a:pt x="2141029" y="3171444"/>
                    <a:pt x="2138266" y="3174206"/>
                    <a:pt x="2134837" y="3174206"/>
                  </a:cubicBezTo>
                  <a:cubicBezTo>
                    <a:pt x="2131408" y="3174206"/>
                    <a:pt x="2128646" y="3171444"/>
                    <a:pt x="2128646" y="3168015"/>
                  </a:cubicBezTo>
                  <a:cubicBezTo>
                    <a:pt x="2128646" y="3164586"/>
                    <a:pt x="2131408" y="3161824"/>
                    <a:pt x="2134837" y="3161824"/>
                  </a:cubicBezTo>
                  <a:close/>
                  <a:moveTo>
                    <a:pt x="1952815" y="3157347"/>
                  </a:moveTo>
                  <a:cubicBezTo>
                    <a:pt x="1956244" y="3157347"/>
                    <a:pt x="1959007" y="3160109"/>
                    <a:pt x="1959007" y="3163538"/>
                  </a:cubicBezTo>
                  <a:cubicBezTo>
                    <a:pt x="1959007" y="3166967"/>
                    <a:pt x="1956244" y="3169729"/>
                    <a:pt x="1952815" y="3169729"/>
                  </a:cubicBezTo>
                  <a:cubicBezTo>
                    <a:pt x="1949386" y="3169729"/>
                    <a:pt x="1946624" y="3166967"/>
                    <a:pt x="1946624" y="3163538"/>
                  </a:cubicBezTo>
                  <a:cubicBezTo>
                    <a:pt x="1946624" y="3160109"/>
                    <a:pt x="1949386" y="3157347"/>
                    <a:pt x="1952815" y="3157347"/>
                  </a:cubicBezTo>
                  <a:close/>
                  <a:moveTo>
                    <a:pt x="1251299" y="3156395"/>
                  </a:moveTo>
                  <a:cubicBezTo>
                    <a:pt x="1254728" y="3156395"/>
                    <a:pt x="1257491" y="3159157"/>
                    <a:pt x="1257491" y="3162586"/>
                  </a:cubicBezTo>
                  <a:cubicBezTo>
                    <a:pt x="1257491" y="3166015"/>
                    <a:pt x="1254728" y="3168778"/>
                    <a:pt x="1251299" y="3168778"/>
                  </a:cubicBezTo>
                  <a:cubicBezTo>
                    <a:pt x="1247870" y="3168778"/>
                    <a:pt x="1245108" y="3166015"/>
                    <a:pt x="1245108" y="3162586"/>
                  </a:cubicBezTo>
                  <a:cubicBezTo>
                    <a:pt x="1245108" y="3159157"/>
                    <a:pt x="1247870" y="3156395"/>
                    <a:pt x="1251299" y="3156395"/>
                  </a:cubicBezTo>
                  <a:close/>
                  <a:moveTo>
                    <a:pt x="1083182" y="3156109"/>
                  </a:moveTo>
                  <a:cubicBezTo>
                    <a:pt x="1086602" y="3156109"/>
                    <a:pt x="1089374" y="3158881"/>
                    <a:pt x="1089374" y="3162300"/>
                  </a:cubicBezTo>
                  <a:cubicBezTo>
                    <a:pt x="1089374" y="3165719"/>
                    <a:pt x="1086602" y="3168491"/>
                    <a:pt x="1083182" y="3168491"/>
                  </a:cubicBezTo>
                  <a:cubicBezTo>
                    <a:pt x="1079763" y="3168491"/>
                    <a:pt x="1076991" y="3165719"/>
                    <a:pt x="1076991" y="3162300"/>
                  </a:cubicBezTo>
                  <a:cubicBezTo>
                    <a:pt x="1076991" y="3158881"/>
                    <a:pt x="1079763" y="3156109"/>
                    <a:pt x="1083182" y="3156109"/>
                  </a:cubicBezTo>
                  <a:close/>
                  <a:moveTo>
                    <a:pt x="2211133" y="3155919"/>
                  </a:moveTo>
                  <a:cubicBezTo>
                    <a:pt x="2214562" y="3155919"/>
                    <a:pt x="2217324" y="3158681"/>
                    <a:pt x="2217324" y="3162110"/>
                  </a:cubicBezTo>
                  <a:cubicBezTo>
                    <a:pt x="2217324" y="3165539"/>
                    <a:pt x="2214562" y="3168301"/>
                    <a:pt x="2211133" y="3168301"/>
                  </a:cubicBezTo>
                  <a:cubicBezTo>
                    <a:pt x="2207704" y="3168301"/>
                    <a:pt x="2204942" y="3165539"/>
                    <a:pt x="2204942" y="3162110"/>
                  </a:cubicBezTo>
                  <a:cubicBezTo>
                    <a:pt x="2204942" y="3158681"/>
                    <a:pt x="2207704" y="3155919"/>
                    <a:pt x="2211133" y="3155919"/>
                  </a:cubicBezTo>
                  <a:close/>
                  <a:moveTo>
                    <a:pt x="1167669" y="3154395"/>
                  </a:moveTo>
                  <a:cubicBezTo>
                    <a:pt x="1171098" y="3154395"/>
                    <a:pt x="1173860" y="3157157"/>
                    <a:pt x="1173860" y="3160586"/>
                  </a:cubicBezTo>
                  <a:cubicBezTo>
                    <a:pt x="1173860" y="3164015"/>
                    <a:pt x="1171098" y="3166777"/>
                    <a:pt x="1167669" y="3166777"/>
                  </a:cubicBezTo>
                  <a:cubicBezTo>
                    <a:pt x="1164240" y="3166777"/>
                    <a:pt x="1161478" y="3164015"/>
                    <a:pt x="1161478" y="3160586"/>
                  </a:cubicBezTo>
                  <a:cubicBezTo>
                    <a:pt x="1161478" y="3157157"/>
                    <a:pt x="1164240" y="3154395"/>
                    <a:pt x="1167669" y="3154395"/>
                  </a:cubicBezTo>
                  <a:close/>
                  <a:moveTo>
                    <a:pt x="2286761" y="3153061"/>
                  </a:moveTo>
                  <a:lnTo>
                    <a:pt x="2292953" y="3159252"/>
                  </a:lnTo>
                  <a:lnTo>
                    <a:pt x="2293715" y="3158490"/>
                  </a:lnTo>
                  <a:lnTo>
                    <a:pt x="2298906" y="3163681"/>
                  </a:lnTo>
                  <a:lnTo>
                    <a:pt x="2299906" y="3162681"/>
                  </a:lnTo>
                  <a:lnTo>
                    <a:pt x="2304288" y="3167062"/>
                  </a:lnTo>
                  <a:lnTo>
                    <a:pt x="2305430" y="3165920"/>
                  </a:lnTo>
                  <a:lnTo>
                    <a:pt x="2309145" y="3169634"/>
                  </a:lnTo>
                  <a:lnTo>
                    <a:pt x="2310383" y="3168396"/>
                  </a:lnTo>
                  <a:lnTo>
                    <a:pt x="2313574" y="3171587"/>
                  </a:lnTo>
                  <a:lnTo>
                    <a:pt x="2314765" y="3170396"/>
                  </a:lnTo>
                  <a:lnTo>
                    <a:pt x="2317623" y="3173254"/>
                  </a:lnTo>
                  <a:lnTo>
                    <a:pt x="2318861" y="3172016"/>
                  </a:lnTo>
                  <a:lnTo>
                    <a:pt x="2321433" y="3174588"/>
                  </a:lnTo>
                  <a:lnTo>
                    <a:pt x="2322575" y="3173445"/>
                  </a:lnTo>
                  <a:lnTo>
                    <a:pt x="2325099" y="3175969"/>
                  </a:lnTo>
                  <a:lnTo>
                    <a:pt x="2326195" y="3174873"/>
                  </a:lnTo>
                  <a:lnTo>
                    <a:pt x="2328767" y="3177445"/>
                  </a:lnTo>
                  <a:lnTo>
                    <a:pt x="2329719" y="3176493"/>
                  </a:lnTo>
                  <a:lnTo>
                    <a:pt x="2332386" y="3179160"/>
                  </a:lnTo>
                  <a:lnTo>
                    <a:pt x="2333148" y="3178397"/>
                  </a:lnTo>
                  <a:lnTo>
                    <a:pt x="2336054" y="3181303"/>
                  </a:lnTo>
                  <a:lnTo>
                    <a:pt x="2336672" y="3180684"/>
                  </a:lnTo>
                  <a:lnTo>
                    <a:pt x="2339815" y="3183827"/>
                  </a:lnTo>
                  <a:lnTo>
                    <a:pt x="2340196" y="3183446"/>
                  </a:lnTo>
                  <a:lnTo>
                    <a:pt x="2343816" y="3187066"/>
                  </a:lnTo>
                  <a:lnTo>
                    <a:pt x="2344007" y="3186875"/>
                  </a:lnTo>
                  <a:cubicBezTo>
                    <a:pt x="2347436" y="3186875"/>
                    <a:pt x="2350199" y="3189637"/>
                    <a:pt x="2350199" y="3193066"/>
                  </a:cubicBezTo>
                  <a:lnTo>
                    <a:pt x="2350055" y="3193210"/>
                  </a:lnTo>
                  <a:lnTo>
                    <a:pt x="2354103" y="3197257"/>
                  </a:lnTo>
                  <a:lnTo>
                    <a:pt x="2353770" y="3197590"/>
                  </a:lnTo>
                  <a:lnTo>
                    <a:pt x="2358295" y="3202114"/>
                  </a:lnTo>
                  <a:lnTo>
                    <a:pt x="2357056" y="3203353"/>
                  </a:lnTo>
                  <a:lnTo>
                    <a:pt x="2361532" y="3207830"/>
                  </a:lnTo>
                  <a:cubicBezTo>
                    <a:pt x="2361532" y="3210513"/>
                    <a:pt x="2359358" y="3212687"/>
                    <a:pt x="2356675" y="3212687"/>
                  </a:cubicBezTo>
                  <a:lnTo>
                    <a:pt x="2352198" y="3208211"/>
                  </a:lnTo>
                  <a:lnTo>
                    <a:pt x="2352103" y="3208306"/>
                  </a:lnTo>
                  <a:cubicBezTo>
                    <a:pt x="2348674" y="3208306"/>
                    <a:pt x="2345912" y="3205543"/>
                    <a:pt x="2345912" y="3202114"/>
                  </a:cubicBezTo>
                  <a:lnTo>
                    <a:pt x="2346245" y="3201781"/>
                  </a:lnTo>
                  <a:lnTo>
                    <a:pt x="2341721" y="3197257"/>
                  </a:lnTo>
                  <a:lnTo>
                    <a:pt x="2341864" y="3197114"/>
                  </a:lnTo>
                  <a:lnTo>
                    <a:pt x="2340387" y="3195638"/>
                  </a:lnTo>
                  <a:lnTo>
                    <a:pt x="2340196" y="3195829"/>
                  </a:lnTo>
                  <a:lnTo>
                    <a:pt x="2337053" y="3192686"/>
                  </a:lnTo>
                  <a:lnTo>
                    <a:pt x="2336672" y="3193066"/>
                  </a:lnTo>
                  <a:lnTo>
                    <a:pt x="2333767" y="3190161"/>
                  </a:lnTo>
                  <a:lnTo>
                    <a:pt x="2333148" y="3190780"/>
                  </a:lnTo>
                  <a:lnTo>
                    <a:pt x="2330481" y="3188113"/>
                  </a:lnTo>
                  <a:lnTo>
                    <a:pt x="2329719" y="3188875"/>
                  </a:lnTo>
                  <a:lnTo>
                    <a:pt x="2327147" y="3186303"/>
                  </a:lnTo>
                  <a:lnTo>
                    <a:pt x="2326195" y="3187255"/>
                  </a:lnTo>
                  <a:lnTo>
                    <a:pt x="2323671" y="3184731"/>
                  </a:lnTo>
                  <a:lnTo>
                    <a:pt x="2322575" y="3185827"/>
                  </a:lnTo>
                  <a:lnTo>
                    <a:pt x="2320004" y="3183256"/>
                  </a:lnTo>
                  <a:lnTo>
                    <a:pt x="2318861" y="3184398"/>
                  </a:lnTo>
                  <a:lnTo>
                    <a:pt x="2316003" y="3181541"/>
                  </a:lnTo>
                  <a:lnTo>
                    <a:pt x="2314765" y="3182779"/>
                  </a:lnTo>
                  <a:lnTo>
                    <a:pt x="2311574" y="3179588"/>
                  </a:lnTo>
                  <a:lnTo>
                    <a:pt x="2310383" y="3180778"/>
                  </a:lnTo>
                  <a:lnTo>
                    <a:pt x="2306669" y="3177064"/>
                  </a:lnTo>
                  <a:lnTo>
                    <a:pt x="2305430" y="3178303"/>
                  </a:lnTo>
                  <a:lnTo>
                    <a:pt x="2301048" y="3173921"/>
                  </a:lnTo>
                  <a:lnTo>
                    <a:pt x="2299906" y="3175063"/>
                  </a:lnTo>
                  <a:lnTo>
                    <a:pt x="2294716" y="3169873"/>
                  </a:lnTo>
                  <a:lnTo>
                    <a:pt x="2293715" y="3170873"/>
                  </a:lnTo>
                  <a:lnTo>
                    <a:pt x="2287524" y="3164681"/>
                  </a:lnTo>
                  <a:lnTo>
                    <a:pt x="2286761" y="3165444"/>
                  </a:lnTo>
                  <a:cubicBezTo>
                    <a:pt x="2283332" y="3165444"/>
                    <a:pt x="2280570" y="3162681"/>
                    <a:pt x="2280570" y="3159252"/>
                  </a:cubicBezTo>
                  <a:cubicBezTo>
                    <a:pt x="2280570" y="3155823"/>
                    <a:pt x="2283332" y="3153061"/>
                    <a:pt x="2286761" y="3153061"/>
                  </a:cubicBezTo>
                  <a:close/>
                  <a:moveTo>
                    <a:pt x="1345024" y="3152394"/>
                  </a:moveTo>
                  <a:cubicBezTo>
                    <a:pt x="1348453" y="3152394"/>
                    <a:pt x="1351216" y="3155156"/>
                    <a:pt x="1351216" y="3158585"/>
                  </a:cubicBezTo>
                  <a:cubicBezTo>
                    <a:pt x="1351216" y="3162014"/>
                    <a:pt x="1348453" y="3164776"/>
                    <a:pt x="1345024" y="3164776"/>
                  </a:cubicBezTo>
                  <a:cubicBezTo>
                    <a:pt x="1341595" y="3164776"/>
                    <a:pt x="1338833" y="3162014"/>
                    <a:pt x="1338833" y="3158585"/>
                  </a:cubicBezTo>
                  <a:cubicBezTo>
                    <a:pt x="1338833" y="3155156"/>
                    <a:pt x="1341595" y="3152394"/>
                    <a:pt x="1345024" y="3152394"/>
                  </a:cubicBezTo>
                  <a:close/>
                  <a:moveTo>
                    <a:pt x="1687448" y="3151823"/>
                  </a:moveTo>
                  <a:cubicBezTo>
                    <a:pt x="1690877" y="3151823"/>
                    <a:pt x="1693640" y="3154585"/>
                    <a:pt x="1693640" y="3158014"/>
                  </a:cubicBezTo>
                  <a:cubicBezTo>
                    <a:pt x="1693640" y="3161443"/>
                    <a:pt x="1690877" y="3164205"/>
                    <a:pt x="1687448" y="3164205"/>
                  </a:cubicBezTo>
                  <a:cubicBezTo>
                    <a:pt x="1684019" y="3164205"/>
                    <a:pt x="1681257" y="3161443"/>
                    <a:pt x="1681257" y="3158014"/>
                  </a:cubicBezTo>
                  <a:cubicBezTo>
                    <a:pt x="1681257" y="3154585"/>
                    <a:pt x="1684019" y="3151823"/>
                    <a:pt x="1687448" y="3151823"/>
                  </a:cubicBezTo>
                  <a:close/>
                  <a:moveTo>
                    <a:pt x="1607629" y="3151156"/>
                  </a:moveTo>
                  <a:cubicBezTo>
                    <a:pt x="1611058" y="3151156"/>
                    <a:pt x="1613820" y="3153918"/>
                    <a:pt x="1613820" y="3157347"/>
                  </a:cubicBezTo>
                  <a:cubicBezTo>
                    <a:pt x="1613820" y="3160776"/>
                    <a:pt x="1611058" y="3163538"/>
                    <a:pt x="1607629" y="3163538"/>
                  </a:cubicBezTo>
                  <a:cubicBezTo>
                    <a:pt x="1604200" y="3163538"/>
                    <a:pt x="1601438" y="3160776"/>
                    <a:pt x="1601438" y="3157347"/>
                  </a:cubicBezTo>
                  <a:cubicBezTo>
                    <a:pt x="1601438" y="3153918"/>
                    <a:pt x="1604200" y="3151156"/>
                    <a:pt x="1607629" y="3151156"/>
                  </a:cubicBezTo>
                  <a:close/>
                  <a:moveTo>
                    <a:pt x="2479071" y="3150585"/>
                  </a:moveTo>
                  <a:cubicBezTo>
                    <a:pt x="2479833" y="3150585"/>
                    <a:pt x="2480500" y="3151252"/>
                    <a:pt x="2480500" y="3152014"/>
                  </a:cubicBezTo>
                  <a:cubicBezTo>
                    <a:pt x="2480500" y="3152776"/>
                    <a:pt x="2479833" y="3153442"/>
                    <a:pt x="2479071" y="3153442"/>
                  </a:cubicBezTo>
                  <a:cubicBezTo>
                    <a:pt x="2478309" y="3153442"/>
                    <a:pt x="2477642" y="3152776"/>
                    <a:pt x="2477642" y="3152014"/>
                  </a:cubicBezTo>
                  <a:cubicBezTo>
                    <a:pt x="2477642" y="3151252"/>
                    <a:pt x="2478309" y="3150585"/>
                    <a:pt x="2479071" y="3150585"/>
                  </a:cubicBezTo>
                  <a:close/>
                  <a:moveTo>
                    <a:pt x="1767268" y="3149632"/>
                  </a:moveTo>
                  <a:cubicBezTo>
                    <a:pt x="1770697" y="3149632"/>
                    <a:pt x="1773460" y="3152394"/>
                    <a:pt x="1773460" y="3155823"/>
                  </a:cubicBezTo>
                  <a:cubicBezTo>
                    <a:pt x="1773460" y="3159252"/>
                    <a:pt x="1770697" y="3162014"/>
                    <a:pt x="1767268" y="3162014"/>
                  </a:cubicBezTo>
                  <a:cubicBezTo>
                    <a:pt x="1763839" y="3162014"/>
                    <a:pt x="1761077" y="3159252"/>
                    <a:pt x="1761077" y="3155823"/>
                  </a:cubicBezTo>
                  <a:cubicBezTo>
                    <a:pt x="1761077" y="3152394"/>
                    <a:pt x="1763839" y="3149632"/>
                    <a:pt x="1767268" y="3149632"/>
                  </a:cubicBezTo>
                  <a:close/>
                  <a:moveTo>
                    <a:pt x="2117216" y="3148489"/>
                  </a:moveTo>
                  <a:cubicBezTo>
                    <a:pt x="2120645" y="3148489"/>
                    <a:pt x="2123407" y="3151251"/>
                    <a:pt x="2123407" y="3154680"/>
                  </a:cubicBezTo>
                  <a:cubicBezTo>
                    <a:pt x="2123407" y="3158109"/>
                    <a:pt x="2120645" y="3160871"/>
                    <a:pt x="2117216" y="3160871"/>
                  </a:cubicBezTo>
                  <a:cubicBezTo>
                    <a:pt x="2113787" y="3160871"/>
                    <a:pt x="2111025" y="3158109"/>
                    <a:pt x="2111025" y="3154680"/>
                  </a:cubicBezTo>
                  <a:cubicBezTo>
                    <a:pt x="2111025" y="3151251"/>
                    <a:pt x="2113787" y="3148489"/>
                    <a:pt x="2117216" y="3148489"/>
                  </a:cubicBezTo>
                  <a:close/>
                  <a:moveTo>
                    <a:pt x="1528095" y="3147632"/>
                  </a:moveTo>
                  <a:cubicBezTo>
                    <a:pt x="1531524" y="3147632"/>
                    <a:pt x="1534287" y="3150394"/>
                    <a:pt x="1534287" y="3153823"/>
                  </a:cubicBezTo>
                  <a:cubicBezTo>
                    <a:pt x="1534287" y="3157252"/>
                    <a:pt x="1531524" y="3160014"/>
                    <a:pt x="1528095" y="3160014"/>
                  </a:cubicBezTo>
                  <a:cubicBezTo>
                    <a:pt x="1524666" y="3160014"/>
                    <a:pt x="1521904" y="3157252"/>
                    <a:pt x="1521904" y="3153823"/>
                  </a:cubicBezTo>
                  <a:cubicBezTo>
                    <a:pt x="1521904" y="3150394"/>
                    <a:pt x="1524666" y="3147632"/>
                    <a:pt x="1528095" y="3147632"/>
                  </a:cubicBezTo>
                  <a:close/>
                  <a:moveTo>
                    <a:pt x="1093565" y="3147632"/>
                  </a:moveTo>
                  <a:cubicBezTo>
                    <a:pt x="1096994" y="3147632"/>
                    <a:pt x="1099756" y="3150394"/>
                    <a:pt x="1099756" y="3153823"/>
                  </a:cubicBezTo>
                  <a:cubicBezTo>
                    <a:pt x="1099756" y="3157252"/>
                    <a:pt x="1096994" y="3160014"/>
                    <a:pt x="1093565" y="3160014"/>
                  </a:cubicBezTo>
                  <a:cubicBezTo>
                    <a:pt x="1090136" y="3160014"/>
                    <a:pt x="1087374" y="3157252"/>
                    <a:pt x="1087374" y="3153823"/>
                  </a:cubicBezTo>
                  <a:cubicBezTo>
                    <a:pt x="1087374" y="3150394"/>
                    <a:pt x="1090136" y="3147632"/>
                    <a:pt x="1093565" y="3147632"/>
                  </a:cubicBezTo>
                  <a:close/>
                  <a:moveTo>
                    <a:pt x="2278760" y="3146298"/>
                  </a:moveTo>
                  <a:cubicBezTo>
                    <a:pt x="2282189" y="3146298"/>
                    <a:pt x="2284952" y="3149060"/>
                    <a:pt x="2284952" y="3152489"/>
                  </a:cubicBezTo>
                  <a:cubicBezTo>
                    <a:pt x="2284952" y="3155918"/>
                    <a:pt x="2282189" y="3158680"/>
                    <a:pt x="2278760" y="3158680"/>
                  </a:cubicBezTo>
                  <a:cubicBezTo>
                    <a:pt x="2275331" y="3158680"/>
                    <a:pt x="2272569" y="3155918"/>
                    <a:pt x="2272569" y="3152489"/>
                  </a:cubicBezTo>
                  <a:cubicBezTo>
                    <a:pt x="2272569" y="3149060"/>
                    <a:pt x="2275331" y="3146298"/>
                    <a:pt x="2278760" y="3146298"/>
                  </a:cubicBezTo>
                  <a:close/>
                  <a:moveTo>
                    <a:pt x="2026253" y="3146108"/>
                  </a:moveTo>
                  <a:cubicBezTo>
                    <a:pt x="2029682" y="3146108"/>
                    <a:pt x="2032445" y="3148870"/>
                    <a:pt x="2032445" y="3152299"/>
                  </a:cubicBezTo>
                  <a:cubicBezTo>
                    <a:pt x="2032445" y="3155728"/>
                    <a:pt x="2029682" y="3158490"/>
                    <a:pt x="2026253" y="3158490"/>
                  </a:cubicBezTo>
                  <a:cubicBezTo>
                    <a:pt x="2022824" y="3158490"/>
                    <a:pt x="2020062" y="3155728"/>
                    <a:pt x="2020062" y="3152299"/>
                  </a:cubicBezTo>
                  <a:cubicBezTo>
                    <a:pt x="2020062" y="3148870"/>
                    <a:pt x="2022824" y="3146108"/>
                    <a:pt x="2026253" y="3146108"/>
                  </a:cubicBezTo>
                  <a:close/>
                  <a:moveTo>
                    <a:pt x="2198084" y="3145346"/>
                  </a:moveTo>
                  <a:cubicBezTo>
                    <a:pt x="2201504" y="3145346"/>
                    <a:pt x="2204275" y="3148118"/>
                    <a:pt x="2204275" y="3151537"/>
                  </a:cubicBezTo>
                  <a:cubicBezTo>
                    <a:pt x="2204275" y="3154956"/>
                    <a:pt x="2201504" y="3157728"/>
                    <a:pt x="2198084" y="3157728"/>
                  </a:cubicBezTo>
                  <a:cubicBezTo>
                    <a:pt x="2194665" y="3157728"/>
                    <a:pt x="2191893" y="3154956"/>
                    <a:pt x="2191893" y="3151537"/>
                  </a:cubicBezTo>
                  <a:cubicBezTo>
                    <a:pt x="2191893" y="3148118"/>
                    <a:pt x="2194665" y="3145346"/>
                    <a:pt x="2198084" y="3145346"/>
                  </a:cubicBezTo>
                  <a:close/>
                  <a:moveTo>
                    <a:pt x="1846421" y="3144489"/>
                  </a:moveTo>
                  <a:cubicBezTo>
                    <a:pt x="1849841" y="3144489"/>
                    <a:pt x="1852613" y="3147261"/>
                    <a:pt x="1852613" y="3150680"/>
                  </a:cubicBezTo>
                  <a:cubicBezTo>
                    <a:pt x="1852613" y="3154099"/>
                    <a:pt x="1849841" y="3156871"/>
                    <a:pt x="1846421" y="3156871"/>
                  </a:cubicBezTo>
                  <a:cubicBezTo>
                    <a:pt x="1843002" y="3156871"/>
                    <a:pt x="1840230" y="3154099"/>
                    <a:pt x="1840230" y="3150680"/>
                  </a:cubicBezTo>
                  <a:cubicBezTo>
                    <a:pt x="1840230" y="3147261"/>
                    <a:pt x="1843002" y="3144489"/>
                    <a:pt x="1846421" y="3144489"/>
                  </a:cubicBezTo>
                  <a:close/>
                  <a:moveTo>
                    <a:pt x="1021270" y="3144203"/>
                  </a:moveTo>
                  <a:cubicBezTo>
                    <a:pt x="1024699" y="3144203"/>
                    <a:pt x="1027462" y="3146965"/>
                    <a:pt x="1027462" y="3150394"/>
                  </a:cubicBezTo>
                  <a:cubicBezTo>
                    <a:pt x="1027462" y="3153823"/>
                    <a:pt x="1024699" y="3156586"/>
                    <a:pt x="1021270" y="3156586"/>
                  </a:cubicBezTo>
                  <a:lnTo>
                    <a:pt x="1020984" y="3156300"/>
                  </a:lnTo>
                  <a:lnTo>
                    <a:pt x="1015174" y="3162109"/>
                  </a:lnTo>
                  <a:lnTo>
                    <a:pt x="1014698" y="3161633"/>
                  </a:lnTo>
                  <a:lnTo>
                    <a:pt x="1009935" y="3166396"/>
                  </a:lnTo>
                  <a:lnTo>
                    <a:pt x="1009268" y="3165730"/>
                  </a:lnTo>
                  <a:lnTo>
                    <a:pt x="1005268" y="3169729"/>
                  </a:lnTo>
                  <a:lnTo>
                    <a:pt x="1004554" y="3169015"/>
                  </a:lnTo>
                  <a:lnTo>
                    <a:pt x="1001172" y="3172396"/>
                  </a:lnTo>
                  <a:lnTo>
                    <a:pt x="1000410" y="3171634"/>
                  </a:lnTo>
                  <a:lnTo>
                    <a:pt x="997457" y="3174587"/>
                  </a:lnTo>
                  <a:lnTo>
                    <a:pt x="996648" y="3173778"/>
                  </a:lnTo>
                  <a:lnTo>
                    <a:pt x="994028" y="3176397"/>
                  </a:lnTo>
                  <a:lnTo>
                    <a:pt x="993314" y="3175683"/>
                  </a:lnTo>
                  <a:lnTo>
                    <a:pt x="990885" y="3178111"/>
                  </a:lnTo>
                  <a:lnTo>
                    <a:pt x="990171" y="3177397"/>
                  </a:lnTo>
                  <a:lnTo>
                    <a:pt x="987837" y="3179731"/>
                  </a:lnTo>
                  <a:lnTo>
                    <a:pt x="987313" y="3179207"/>
                  </a:lnTo>
                  <a:lnTo>
                    <a:pt x="984884" y="3181636"/>
                  </a:lnTo>
                  <a:lnTo>
                    <a:pt x="984456" y="3181208"/>
                  </a:lnTo>
                  <a:lnTo>
                    <a:pt x="981932" y="3183731"/>
                  </a:lnTo>
                  <a:lnTo>
                    <a:pt x="981694" y="3183494"/>
                  </a:lnTo>
                  <a:lnTo>
                    <a:pt x="978884" y="3186304"/>
                  </a:lnTo>
                  <a:lnTo>
                    <a:pt x="978741" y="3186161"/>
                  </a:lnTo>
                  <a:lnTo>
                    <a:pt x="978265" y="3186637"/>
                  </a:lnTo>
                  <a:lnTo>
                    <a:pt x="978503" y="3186875"/>
                  </a:lnTo>
                  <a:lnTo>
                    <a:pt x="974217" y="3191161"/>
                  </a:lnTo>
                  <a:lnTo>
                    <a:pt x="974217" y="3191161"/>
                  </a:lnTo>
                  <a:cubicBezTo>
                    <a:pt x="974217" y="3194304"/>
                    <a:pt x="971740" y="3196780"/>
                    <a:pt x="968597" y="3196780"/>
                  </a:cubicBezTo>
                  <a:cubicBezTo>
                    <a:pt x="965454" y="3196780"/>
                    <a:pt x="962977" y="3194304"/>
                    <a:pt x="962977" y="3191161"/>
                  </a:cubicBezTo>
                  <a:lnTo>
                    <a:pt x="966692" y="3187447"/>
                  </a:lnTo>
                  <a:lnTo>
                    <a:pt x="966120" y="3186875"/>
                  </a:lnTo>
                  <a:lnTo>
                    <a:pt x="969692" y="3183303"/>
                  </a:lnTo>
                  <a:lnTo>
                    <a:pt x="969454" y="3183065"/>
                  </a:lnTo>
                  <a:cubicBezTo>
                    <a:pt x="969454" y="3179646"/>
                    <a:pt x="972226" y="3176874"/>
                    <a:pt x="975645" y="3176874"/>
                  </a:cubicBezTo>
                  <a:lnTo>
                    <a:pt x="975788" y="3177017"/>
                  </a:lnTo>
                  <a:lnTo>
                    <a:pt x="978884" y="3173921"/>
                  </a:lnTo>
                  <a:lnTo>
                    <a:pt x="979122" y="3174159"/>
                  </a:lnTo>
                  <a:lnTo>
                    <a:pt x="981932" y="3171349"/>
                  </a:lnTo>
                  <a:lnTo>
                    <a:pt x="982361" y="3171778"/>
                  </a:lnTo>
                  <a:lnTo>
                    <a:pt x="984884" y="3169254"/>
                  </a:lnTo>
                  <a:lnTo>
                    <a:pt x="985408" y="3169778"/>
                  </a:lnTo>
                  <a:lnTo>
                    <a:pt x="987837" y="3167348"/>
                  </a:lnTo>
                  <a:lnTo>
                    <a:pt x="988552" y="3168063"/>
                  </a:lnTo>
                  <a:lnTo>
                    <a:pt x="990885" y="3165729"/>
                  </a:lnTo>
                  <a:lnTo>
                    <a:pt x="991600" y="3166444"/>
                  </a:lnTo>
                  <a:lnTo>
                    <a:pt x="994028" y="3164015"/>
                  </a:lnTo>
                  <a:lnTo>
                    <a:pt x="994838" y="3164825"/>
                  </a:lnTo>
                  <a:lnTo>
                    <a:pt x="997457" y="3162205"/>
                  </a:lnTo>
                  <a:lnTo>
                    <a:pt x="998219" y="3162967"/>
                  </a:lnTo>
                  <a:lnTo>
                    <a:pt x="1001172" y="3160014"/>
                  </a:lnTo>
                  <a:lnTo>
                    <a:pt x="1001887" y="3160729"/>
                  </a:lnTo>
                  <a:lnTo>
                    <a:pt x="1005268" y="3157347"/>
                  </a:lnTo>
                  <a:lnTo>
                    <a:pt x="1005935" y="3158014"/>
                  </a:lnTo>
                  <a:lnTo>
                    <a:pt x="1009935" y="3154013"/>
                  </a:lnTo>
                  <a:lnTo>
                    <a:pt x="1010412" y="3154490"/>
                  </a:lnTo>
                  <a:lnTo>
                    <a:pt x="1015174" y="3149727"/>
                  </a:lnTo>
                  <a:lnTo>
                    <a:pt x="1015460" y="3150013"/>
                  </a:lnTo>
                  <a:close/>
                  <a:moveTo>
                    <a:pt x="1449323" y="3141250"/>
                  </a:moveTo>
                  <a:cubicBezTo>
                    <a:pt x="1452752" y="3141250"/>
                    <a:pt x="1455515" y="3144012"/>
                    <a:pt x="1455515" y="3147441"/>
                  </a:cubicBezTo>
                  <a:cubicBezTo>
                    <a:pt x="1455515" y="3150870"/>
                    <a:pt x="1452752" y="3153632"/>
                    <a:pt x="1449323" y="3153632"/>
                  </a:cubicBezTo>
                  <a:cubicBezTo>
                    <a:pt x="1445894" y="3153632"/>
                    <a:pt x="1443132" y="3150870"/>
                    <a:pt x="1443132" y="3147441"/>
                  </a:cubicBezTo>
                  <a:cubicBezTo>
                    <a:pt x="1443132" y="3144012"/>
                    <a:pt x="1445894" y="3141250"/>
                    <a:pt x="1449323" y="3141250"/>
                  </a:cubicBezTo>
                  <a:close/>
                  <a:moveTo>
                    <a:pt x="1183862" y="3141250"/>
                  </a:moveTo>
                  <a:cubicBezTo>
                    <a:pt x="1187282" y="3141250"/>
                    <a:pt x="1190054" y="3144022"/>
                    <a:pt x="1190054" y="3147441"/>
                  </a:cubicBezTo>
                  <a:cubicBezTo>
                    <a:pt x="1190054" y="3150860"/>
                    <a:pt x="1187282" y="3153632"/>
                    <a:pt x="1183862" y="3153632"/>
                  </a:cubicBezTo>
                  <a:cubicBezTo>
                    <a:pt x="1180443" y="3153632"/>
                    <a:pt x="1177671" y="3150860"/>
                    <a:pt x="1177671" y="3147441"/>
                  </a:cubicBezTo>
                  <a:cubicBezTo>
                    <a:pt x="1177671" y="3144022"/>
                    <a:pt x="1180443" y="3141250"/>
                    <a:pt x="1183862" y="3141250"/>
                  </a:cubicBezTo>
                  <a:close/>
                  <a:moveTo>
                    <a:pt x="1272444" y="3140012"/>
                  </a:moveTo>
                  <a:cubicBezTo>
                    <a:pt x="1275873" y="3140012"/>
                    <a:pt x="1278636" y="3142774"/>
                    <a:pt x="1278636" y="3146203"/>
                  </a:cubicBezTo>
                  <a:cubicBezTo>
                    <a:pt x="1278636" y="3149632"/>
                    <a:pt x="1275873" y="3152395"/>
                    <a:pt x="1272444" y="3152395"/>
                  </a:cubicBezTo>
                  <a:cubicBezTo>
                    <a:pt x="1269015" y="3152395"/>
                    <a:pt x="1266253" y="3149632"/>
                    <a:pt x="1266253" y="3146203"/>
                  </a:cubicBezTo>
                  <a:cubicBezTo>
                    <a:pt x="1266253" y="3142774"/>
                    <a:pt x="1269015" y="3140012"/>
                    <a:pt x="1272444" y="3140012"/>
                  </a:cubicBezTo>
                  <a:close/>
                  <a:moveTo>
                    <a:pt x="2269616" y="3137726"/>
                  </a:moveTo>
                  <a:cubicBezTo>
                    <a:pt x="2273045" y="3137726"/>
                    <a:pt x="2275807" y="3140488"/>
                    <a:pt x="2275807" y="3143917"/>
                  </a:cubicBezTo>
                  <a:cubicBezTo>
                    <a:pt x="2275807" y="3147346"/>
                    <a:pt x="2273045" y="3150108"/>
                    <a:pt x="2269616" y="3150108"/>
                  </a:cubicBezTo>
                  <a:cubicBezTo>
                    <a:pt x="2266187" y="3150108"/>
                    <a:pt x="2263425" y="3147346"/>
                    <a:pt x="2263425" y="3143917"/>
                  </a:cubicBezTo>
                  <a:cubicBezTo>
                    <a:pt x="2263425" y="3140488"/>
                    <a:pt x="2266187" y="3137726"/>
                    <a:pt x="2269616" y="3137726"/>
                  </a:cubicBezTo>
                  <a:close/>
                  <a:moveTo>
                    <a:pt x="1028223" y="3137345"/>
                  </a:moveTo>
                  <a:cubicBezTo>
                    <a:pt x="1031652" y="3137345"/>
                    <a:pt x="1034414" y="3140107"/>
                    <a:pt x="1034414" y="3143536"/>
                  </a:cubicBezTo>
                  <a:cubicBezTo>
                    <a:pt x="1034414" y="3146965"/>
                    <a:pt x="1031652" y="3149728"/>
                    <a:pt x="1028223" y="3149728"/>
                  </a:cubicBezTo>
                  <a:cubicBezTo>
                    <a:pt x="1024794" y="3149728"/>
                    <a:pt x="1022032" y="3146965"/>
                    <a:pt x="1022032" y="3143536"/>
                  </a:cubicBezTo>
                  <a:cubicBezTo>
                    <a:pt x="1022032" y="3140107"/>
                    <a:pt x="1024794" y="3137345"/>
                    <a:pt x="1028223" y="3137345"/>
                  </a:cubicBezTo>
                  <a:close/>
                  <a:moveTo>
                    <a:pt x="1105376" y="3137154"/>
                  </a:moveTo>
                  <a:cubicBezTo>
                    <a:pt x="1108805" y="3137154"/>
                    <a:pt x="1111567" y="3139916"/>
                    <a:pt x="1111567" y="3143345"/>
                  </a:cubicBezTo>
                  <a:cubicBezTo>
                    <a:pt x="1111567" y="3146774"/>
                    <a:pt x="1108805" y="3149536"/>
                    <a:pt x="1105376" y="3149536"/>
                  </a:cubicBezTo>
                  <a:cubicBezTo>
                    <a:pt x="1101947" y="3149536"/>
                    <a:pt x="1099185" y="3146774"/>
                    <a:pt x="1099185" y="3143345"/>
                  </a:cubicBezTo>
                  <a:cubicBezTo>
                    <a:pt x="1099185" y="3139916"/>
                    <a:pt x="1101947" y="3137154"/>
                    <a:pt x="1105376" y="3137154"/>
                  </a:cubicBezTo>
                  <a:close/>
                  <a:moveTo>
                    <a:pt x="1924526" y="3136678"/>
                  </a:moveTo>
                  <a:cubicBezTo>
                    <a:pt x="1927946" y="3136678"/>
                    <a:pt x="1930717" y="3139450"/>
                    <a:pt x="1930717" y="3142869"/>
                  </a:cubicBezTo>
                  <a:cubicBezTo>
                    <a:pt x="1930717" y="3146289"/>
                    <a:pt x="1927946" y="3149061"/>
                    <a:pt x="1924526" y="3149061"/>
                  </a:cubicBezTo>
                  <a:cubicBezTo>
                    <a:pt x="1921107" y="3149061"/>
                    <a:pt x="1918335" y="3146289"/>
                    <a:pt x="1918335" y="3142869"/>
                  </a:cubicBezTo>
                  <a:cubicBezTo>
                    <a:pt x="1918335" y="3139450"/>
                    <a:pt x="1921107" y="3136678"/>
                    <a:pt x="1924526" y="3136678"/>
                  </a:cubicBezTo>
                  <a:close/>
                  <a:moveTo>
                    <a:pt x="2338291" y="3133725"/>
                  </a:moveTo>
                  <a:cubicBezTo>
                    <a:pt x="2341720" y="3133725"/>
                    <a:pt x="2344483" y="3136487"/>
                    <a:pt x="2344483" y="3139916"/>
                  </a:cubicBezTo>
                  <a:lnTo>
                    <a:pt x="2344150" y="3140250"/>
                  </a:lnTo>
                  <a:lnTo>
                    <a:pt x="2349437" y="3145536"/>
                  </a:lnTo>
                  <a:lnTo>
                    <a:pt x="2349341" y="3145632"/>
                  </a:lnTo>
                  <a:lnTo>
                    <a:pt x="2351103" y="3147394"/>
                  </a:lnTo>
                  <a:lnTo>
                    <a:pt x="2351150" y="3147346"/>
                  </a:lnTo>
                  <a:lnTo>
                    <a:pt x="2354199" y="3150395"/>
                  </a:lnTo>
                  <a:lnTo>
                    <a:pt x="2354389" y="3150204"/>
                  </a:lnTo>
                  <a:lnTo>
                    <a:pt x="2357056" y="3152871"/>
                  </a:lnTo>
                  <a:lnTo>
                    <a:pt x="2357341" y="3152585"/>
                  </a:lnTo>
                  <a:lnTo>
                    <a:pt x="2359675" y="3154919"/>
                  </a:lnTo>
                  <a:lnTo>
                    <a:pt x="2359913" y="3154680"/>
                  </a:lnTo>
                  <a:lnTo>
                    <a:pt x="2362104" y="3156871"/>
                  </a:lnTo>
                  <a:lnTo>
                    <a:pt x="2362390" y="3156585"/>
                  </a:lnTo>
                  <a:lnTo>
                    <a:pt x="2364581" y="3158776"/>
                  </a:lnTo>
                  <a:lnTo>
                    <a:pt x="2364771" y="3158586"/>
                  </a:lnTo>
                  <a:lnTo>
                    <a:pt x="2367009" y="3160824"/>
                  </a:lnTo>
                  <a:lnTo>
                    <a:pt x="2367152" y="3160681"/>
                  </a:lnTo>
                  <a:lnTo>
                    <a:pt x="2369629" y="3163158"/>
                  </a:lnTo>
                  <a:lnTo>
                    <a:pt x="2369629" y="3163157"/>
                  </a:lnTo>
                  <a:cubicBezTo>
                    <a:pt x="2373058" y="3163157"/>
                    <a:pt x="2375820" y="3165919"/>
                    <a:pt x="2375820" y="3169348"/>
                  </a:cubicBezTo>
                  <a:lnTo>
                    <a:pt x="2375725" y="3169444"/>
                  </a:lnTo>
                  <a:lnTo>
                    <a:pt x="2378392" y="3172111"/>
                  </a:lnTo>
                  <a:lnTo>
                    <a:pt x="2378059" y="3172445"/>
                  </a:lnTo>
                  <a:lnTo>
                    <a:pt x="2381155" y="3175540"/>
                  </a:lnTo>
                  <a:lnTo>
                    <a:pt x="2380679" y="3176017"/>
                  </a:lnTo>
                  <a:lnTo>
                    <a:pt x="2384203" y="3179540"/>
                  </a:lnTo>
                  <a:lnTo>
                    <a:pt x="2383488" y="3180255"/>
                  </a:lnTo>
                  <a:lnTo>
                    <a:pt x="2387537" y="3184303"/>
                  </a:lnTo>
                  <a:lnTo>
                    <a:pt x="2386584" y="3185256"/>
                  </a:lnTo>
                  <a:lnTo>
                    <a:pt x="2391155" y="3189827"/>
                  </a:lnTo>
                  <a:cubicBezTo>
                    <a:pt x="2391155" y="3193256"/>
                    <a:pt x="2388393" y="3196018"/>
                    <a:pt x="2384964" y="3196018"/>
                  </a:cubicBezTo>
                  <a:cubicBezTo>
                    <a:pt x="2381535" y="3196018"/>
                    <a:pt x="2378773" y="3193256"/>
                    <a:pt x="2378773" y="3189827"/>
                  </a:cubicBezTo>
                  <a:lnTo>
                    <a:pt x="2379725" y="3188875"/>
                  </a:lnTo>
                  <a:lnTo>
                    <a:pt x="2375154" y="3184303"/>
                  </a:lnTo>
                  <a:lnTo>
                    <a:pt x="2375868" y="3183589"/>
                  </a:lnTo>
                  <a:lnTo>
                    <a:pt x="2371820" y="3179540"/>
                  </a:lnTo>
                  <a:lnTo>
                    <a:pt x="2372296" y="3179064"/>
                  </a:lnTo>
                  <a:lnTo>
                    <a:pt x="2368772" y="3175540"/>
                  </a:lnTo>
                  <a:lnTo>
                    <a:pt x="2369105" y="3175207"/>
                  </a:lnTo>
                  <a:lnTo>
                    <a:pt x="2366010" y="3172111"/>
                  </a:lnTo>
                  <a:lnTo>
                    <a:pt x="2366105" y="3172016"/>
                  </a:lnTo>
                  <a:lnTo>
                    <a:pt x="2364914" y="3170825"/>
                  </a:lnTo>
                  <a:lnTo>
                    <a:pt x="2364771" y="3170968"/>
                  </a:lnTo>
                  <a:lnTo>
                    <a:pt x="2362580" y="3168777"/>
                  </a:lnTo>
                  <a:lnTo>
                    <a:pt x="2362390" y="3168967"/>
                  </a:lnTo>
                  <a:lnTo>
                    <a:pt x="2360199" y="3166776"/>
                  </a:lnTo>
                  <a:lnTo>
                    <a:pt x="2359913" y="3167062"/>
                  </a:lnTo>
                  <a:lnTo>
                    <a:pt x="2357580" y="3164729"/>
                  </a:lnTo>
                  <a:lnTo>
                    <a:pt x="2357341" y="3164967"/>
                  </a:lnTo>
                  <a:lnTo>
                    <a:pt x="2354675" y="3162301"/>
                  </a:lnTo>
                  <a:lnTo>
                    <a:pt x="2354389" y="3162586"/>
                  </a:lnTo>
                  <a:lnTo>
                    <a:pt x="2351341" y="3159538"/>
                  </a:lnTo>
                  <a:lnTo>
                    <a:pt x="2351150" y="3159728"/>
                  </a:lnTo>
                  <a:lnTo>
                    <a:pt x="2347579" y="3156157"/>
                  </a:lnTo>
                  <a:lnTo>
                    <a:pt x="2347531" y="3156205"/>
                  </a:lnTo>
                  <a:cubicBezTo>
                    <a:pt x="2344102" y="3156205"/>
                    <a:pt x="2341340" y="3153442"/>
                    <a:pt x="2341340" y="3150013"/>
                  </a:cubicBezTo>
                  <a:lnTo>
                    <a:pt x="2341435" y="3149918"/>
                  </a:lnTo>
                  <a:lnTo>
                    <a:pt x="2337054" y="3145536"/>
                  </a:lnTo>
                  <a:lnTo>
                    <a:pt x="2337387" y="3145204"/>
                  </a:lnTo>
                  <a:lnTo>
                    <a:pt x="2332100" y="3139916"/>
                  </a:lnTo>
                  <a:cubicBezTo>
                    <a:pt x="2332100" y="3136487"/>
                    <a:pt x="2334862" y="3133725"/>
                    <a:pt x="2338291" y="3133725"/>
                  </a:cubicBezTo>
                  <a:close/>
                  <a:moveTo>
                    <a:pt x="2097690" y="3132487"/>
                  </a:moveTo>
                  <a:cubicBezTo>
                    <a:pt x="2101119" y="3132487"/>
                    <a:pt x="2103882" y="3135249"/>
                    <a:pt x="2103882" y="3138678"/>
                  </a:cubicBezTo>
                  <a:cubicBezTo>
                    <a:pt x="2103882" y="3142107"/>
                    <a:pt x="2101119" y="3144870"/>
                    <a:pt x="2097690" y="3144870"/>
                  </a:cubicBezTo>
                  <a:cubicBezTo>
                    <a:pt x="2094261" y="3144870"/>
                    <a:pt x="2091499" y="3142107"/>
                    <a:pt x="2091499" y="3138678"/>
                  </a:cubicBezTo>
                  <a:cubicBezTo>
                    <a:pt x="2091499" y="3135249"/>
                    <a:pt x="2094261" y="3132487"/>
                    <a:pt x="2097690" y="3132487"/>
                  </a:cubicBezTo>
                  <a:close/>
                  <a:moveTo>
                    <a:pt x="2183510" y="3132392"/>
                  </a:moveTo>
                  <a:cubicBezTo>
                    <a:pt x="2186939" y="3132392"/>
                    <a:pt x="2189702" y="3135154"/>
                    <a:pt x="2189702" y="3138583"/>
                  </a:cubicBezTo>
                  <a:cubicBezTo>
                    <a:pt x="2189702" y="3142012"/>
                    <a:pt x="2186939" y="3144774"/>
                    <a:pt x="2183510" y="3144774"/>
                  </a:cubicBezTo>
                  <a:cubicBezTo>
                    <a:pt x="2180081" y="3144774"/>
                    <a:pt x="2177319" y="3142012"/>
                    <a:pt x="2177319" y="3138583"/>
                  </a:cubicBezTo>
                  <a:cubicBezTo>
                    <a:pt x="2177319" y="3135154"/>
                    <a:pt x="2180081" y="3132392"/>
                    <a:pt x="2183510" y="3132392"/>
                  </a:cubicBezTo>
                  <a:close/>
                  <a:moveTo>
                    <a:pt x="1371790" y="3132201"/>
                  </a:moveTo>
                  <a:cubicBezTo>
                    <a:pt x="1375219" y="3132201"/>
                    <a:pt x="1377982" y="3134963"/>
                    <a:pt x="1377982" y="3138392"/>
                  </a:cubicBezTo>
                  <a:cubicBezTo>
                    <a:pt x="1377982" y="3141821"/>
                    <a:pt x="1375219" y="3144584"/>
                    <a:pt x="1371790" y="3144584"/>
                  </a:cubicBezTo>
                  <a:cubicBezTo>
                    <a:pt x="1368361" y="3144584"/>
                    <a:pt x="1365599" y="3141821"/>
                    <a:pt x="1365599" y="3138392"/>
                  </a:cubicBezTo>
                  <a:cubicBezTo>
                    <a:pt x="1365599" y="3134963"/>
                    <a:pt x="1368361" y="3132201"/>
                    <a:pt x="1371790" y="3132201"/>
                  </a:cubicBezTo>
                  <a:close/>
                  <a:moveTo>
                    <a:pt x="842677" y="3130963"/>
                  </a:moveTo>
                  <a:cubicBezTo>
                    <a:pt x="842772" y="3130963"/>
                    <a:pt x="842962" y="3131153"/>
                    <a:pt x="842962" y="3131249"/>
                  </a:cubicBezTo>
                  <a:cubicBezTo>
                    <a:pt x="842962" y="3131344"/>
                    <a:pt x="842677" y="3131534"/>
                    <a:pt x="842677" y="3131534"/>
                  </a:cubicBezTo>
                  <a:cubicBezTo>
                    <a:pt x="842581" y="3131534"/>
                    <a:pt x="842391" y="3131344"/>
                    <a:pt x="842391" y="3131249"/>
                  </a:cubicBezTo>
                  <a:cubicBezTo>
                    <a:pt x="842391" y="3131153"/>
                    <a:pt x="842581" y="3130963"/>
                    <a:pt x="842677" y="3130963"/>
                  </a:cubicBezTo>
                  <a:close/>
                  <a:moveTo>
                    <a:pt x="1036129" y="3128772"/>
                  </a:moveTo>
                  <a:cubicBezTo>
                    <a:pt x="1039558" y="3128772"/>
                    <a:pt x="1042321" y="3131534"/>
                    <a:pt x="1042321" y="3134963"/>
                  </a:cubicBezTo>
                  <a:cubicBezTo>
                    <a:pt x="1042321" y="3138392"/>
                    <a:pt x="1039558" y="3141154"/>
                    <a:pt x="1036129" y="3141154"/>
                  </a:cubicBezTo>
                  <a:cubicBezTo>
                    <a:pt x="1032700" y="3141154"/>
                    <a:pt x="1029938" y="3138392"/>
                    <a:pt x="1029938" y="3134963"/>
                  </a:cubicBezTo>
                  <a:cubicBezTo>
                    <a:pt x="1029938" y="3131534"/>
                    <a:pt x="1032700" y="3128772"/>
                    <a:pt x="1036129" y="3128772"/>
                  </a:cubicBezTo>
                  <a:close/>
                  <a:moveTo>
                    <a:pt x="2259234" y="3127248"/>
                  </a:moveTo>
                  <a:cubicBezTo>
                    <a:pt x="2262663" y="3127248"/>
                    <a:pt x="2265426" y="3130010"/>
                    <a:pt x="2265426" y="3133439"/>
                  </a:cubicBezTo>
                  <a:cubicBezTo>
                    <a:pt x="2265426" y="3136868"/>
                    <a:pt x="2262663" y="3139630"/>
                    <a:pt x="2259234" y="3139630"/>
                  </a:cubicBezTo>
                  <a:cubicBezTo>
                    <a:pt x="2255805" y="3139630"/>
                    <a:pt x="2253043" y="3136868"/>
                    <a:pt x="2253043" y="3133439"/>
                  </a:cubicBezTo>
                  <a:cubicBezTo>
                    <a:pt x="2253043" y="3130010"/>
                    <a:pt x="2255805" y="3127248"/>
                    <a:pt x="2259234" y="3127248"/>
                  </a:cubicBezTo>
                  <a:close/>
                  <a:moveTo>
                    <a:pt x="2332481" y="3126677"/>
                  </a:moveTo>
                  <a:cubicBezTo>
                    <a:pt x="2335910" y="3126677"/>
                    <a:pt x="2338673" y="3129439"/>
                    <a:pt x="2338673" y="3132868"/>
                  </a:cubicBezTo>
                  <a:cubicBezTo>
                    <a:pt x="2338673" y="3136297"/>
                    <a:pt x="2335910" y="3139059"/>
                    <a:pt x="2332481" y="3139059"/>
                  </a:cubicBezTo>
                  <a:cubicBezTo>
                    <a:pt x="2329052" y="3139059"/>
                    <a:pt x="2326290" y="3136297"/>
                    <a:pt x="2326290" y="3132868"/>
                  </a:cubicBezTo>
                  <a:cubicBezTo>
                    <a:pt x="2326290" y="3129439"/>
                    <a:pt x="2329052" y="3126677"/>
                    <a:pt x="2332481" y="3126677"/>
                  </a:cubicBezTo>
                  <a:close/>
                  <a:moveTo>
                    <a:pt x="2001202" y="3126296"/>
                  </a:moveTo>
                  <a:cubicBezTo>
                    <a:pt x="2004631" y="3126296"/>
                    <a:pt x="2007394" y="3129058"/>
                    <a:pt x="2007394" y="3132487"/>
                  </a:cubicBezTo>
                  <a:cubicBezTo>
                    <a:pt x="2007394" y="3135916"/>
                    <a:pt x="2004631" y="3138679"/>
                    <a:pt x="2001202" y="3138679"/>
                  </a:cubicBezTo>
                  <a:cubicBezTo>
                    <a:pt x="1997773" y="3138679"/>
                    <a:pt x="1995011" y="3135916"/>
                    <a:pt x="1995011" y="3132487"/>
                  </a:cubicBezTo>
                  <a:cubicBezTo>
                    <a:pt x="1995011" y="3129058"/>
                    <a:pt x="1997773" y="3126296"/>
                    <a:pt x="2001202" y="3126296"/>
                  </a:cubicBezTo>
                  <a:close/>
                  <a:moveTo>
                    <a:pt x="1201959" y="3125438"/>
                  </a:moveTo>
                  <a:cubicBezTo>
                    <a:pt x="1205388" y="3125438"/>
                    <a:pt x="1208150" y="3128200"/>
                    <a:pt x="1208150" y="3131629"/>
                  </a:cubicBezTo>
                  <a:cubicBezTo>
                    <a:pt x="1208150" y="3135058"/>
                    <a:pt x="1205388" y="3137821"/>
                    <a:pt x="1201959" y="3137821"/>
                  </a:cubicBezTo>
                  <a:cubicBezTo>
                    <a:pt x="1198530" y="3137821"/>
                    <a:pt x="1195768" y="3135058"/>
                    <a:pt x="1195768" y="3131629"/>
                  </a:cubicBezTo>
                  <a:cubicBezTo>
                    <a:pt x="1195768" y="3128200"/>
                    <a:pt x="1198530" y="3125438"/>
                    <a:pt x="1201959" y="3125438"/>
                  </a:cubicBezTo>
                  <a:close/>
                  <a:moveTo>
                    <a:pt x="1118615" y="3124200"/>
                  </a:moveTo>
                  <a:cubicBezTo>
                    <a:pt x="1122044" y="3124200"/>
                    <a:pt x="1124806" y="3126962"/>
                    <a:pt x="1124806" y="3130391"/>
                  </a:cubicBezTo>
                  <a:cubicBezTo>
                    <a:pt x="1124806" y="3133820"/>
                    <a:pt x="1122044" y="3136583"/>
                    <a:pt x="1118615" y="3136583"/>
                  </a:cubicBezTo>
                  <a:cubicBezTo>
                    <a:pt x="1115186" y="3136583"/>
                    <a:pt x="1112424" y="3133820"/>
                    <a:pt x="1112424" y="3130391"/>
                  </a:cubicBezTo>
                  <a:cubicBezTo>
                    <a:pt x="1112424" y="3126962"/>
                    <a:pt x="1115186" y="3124200"/>
                    <a:pt x="1118615" y="3124200"/>
                  </a:cubicBezTo>
                  <a:close/>
                  <a:moveTo>
                    <a:pt x="1646872" y="3123724"/>
                  </a:moveTo>
                  <a:cubicBezTo>
                    <a:pt x="1650301" y="3123724"/>
                    <a:pt x="1653064" y="3126486"/>
                    <a:pt x="1653064" y="3129915"/>
                  </a:cubicBezTo>
                  <a:cubicBezTo>
                    <a:pt x="1653064" y="3133344"/>
                    <a:pt x="1650301" y="3136106"/>
                    <a:pt x="1646872" y="3136106"/>
                  </a:cubicBezTo>
                  <a:cubicBezTo>
                    <a:pt x="1643443" y="3136106"/>
                    <a:pt x="1640681" y="3133344"/>
                    <a:pt x="1640681" y="3129915"/>
                  </a:cubicBezTo>
                  <a:cubicBezTo>
                    <a:pt x="1640681" y="3126486"/>
                    <a:pt x="1643443" y="3123724"/>
                    <a:pt x="1646872" y="3123724"/>
                  </a:cubicBezTo>
                  <a:close/>
                  <a:moveTo>
                    <a:pt x="1729644" y="3122962"/>
                  </a:moveTo>
                  <a:cubicBezTo>
                    <a:pt x="1733073" y="3122962"/>
                    <a:pt x="1735836" y="3125724"/>
                    <a:pt x="1735836" y="3129153"/>
                  </a:cubicBezTo>
                  <a:cubicBezTo>
                    <a:pt x="1735836" y="3132582"/>
                    <a:pt x="1733073" y="3135345"/>
                    <a:pt x="1729644" y="3135345"/>
                  </a:cubicBezTo>
                  <a:cubicBezTo>
                    <a:pt x="1726215" y="3135345"/>
                    <a:pt x="1723453" y="3132582"/>
                    <a:pt x="1723453" y="3129153"/>
                  </a:cubicBezTo>
                  <a:cubicBezTo>
                    <a:pt x="1723453" y="3125724"/>
                    <a:pt x="1726215" y="3122962"/>
                    <a:pt x="1729644" y="3122962"/>
                  </a:cubicBezTo>
                  <a:close/>
                  <a:moveTo>
                    <a:pt x="1564099" y="3121533"/>
                  </a:moveTo>
                  <a:cubicBezTo>
                    <a:pt x="1567528" y="3121533"/>
                    <a:pt x="1570291" y="3124295"/>
                    <a:pt x="1570291" y="3127724"/>
                  </a:cubicBezTo>
                  <a:cubicBezTo>
                    <a:pt x="1570291" y="3131153"/>
                    <a:pt x="1567528" y="3133916"/>
                    <a:pt x="1564099" y="3133916"/>
                  </a:cubicBezTo>
                  <a:cubicBezTo>
                    <a:pt x="1560670" y="3133916"/>
                    <a:pt x="1557908" y="3131153"/>
                    <a:pt x="1557908" y="3127724"/>
                  </a:cubicBezTo>
                  <a:cubicBezTo>
                    <a:pt x="1557908" y="3124295"/>
                    <a:pt x="1560670" y="3121533"/>
                    <a:pt x="1564099" y="3121533"/>
                  </a:cubicBezTo>
                  <a:close/>
                  <a:moveTo>
                    <a:pt x="1295875" y="3120581"/>
                  </a:moveTo>
                  <a:cubicBezTo>
                    <a:pt x="1299304" y="3120581"/>
                    <a:pt x="1302067" y="3123343"/>
                    <a:pt x="1302067" y="3126772"/>
                  </a:cubicBezTo>
                  <a:cubicBezTo>
                    <a:pt x="1302067" y="3130201"/>
                    <a:pt x="1299304" y="3132964"/>
                    <a:pt x="1295875" y="3132964"/>
                  </a:cubicBezTo>
                  <a:cubicBezTo>
                    <a:pt x="1292446" y="3132964"/>
                    <a:pt x="1289684" y="3130201"/>
                    <a:pt x="1289684" y="3126772"/>
                  </a:cubicBezTo>
                  <a:cubicBezTo>
                    <a:pt x="1289684" y="3123343"/>
                    <a:pt x="1292446" y="3120581"/>
                    <a:pt x="1295875" y="3120581"/>
                  </a:cubicBezTo>
                  <a:close/>
                  <a:moveTo>
                    <a:pt x="1812131" y="3119152"/>
                  </a:moveTo>
                  <a:cubicBezTo>
                    <a:pt x="1815560" y="3119152"/>
                    <a:pt x="1818322" y="3121914"/>
                    <a:pt x="1818322" y="3125343"/>
                  </a:cubicBezTo>
                  <a:cubicBezTo>
                    <a:pt x="1818322" y="3128772"/>
                    <a:pt x="1815560" y="3131535"/>
                    <a:pt x="1812131" y="3131535"/>
                  </a:cubicBezTo>
                  <a:cubicBezTo>
                    <a:pt x="1808702" y="3131535"/>
                    <a:pt x="1805940" y="3128772"/>
                    <a:pt x="1805940" y="3125343"/>
                  </a:cubicBezTo>
                  <a:cubicBezTo>
                    <a:pt x="1805940" y="3121914"/>
                    <a:pt x="1808702" y="3119152"/>
                    <a:pt x="1812131" y="3119152"/>
                  </a:cubicBezTo>
                  <a:close/>
                  <a:moveTo>
                    <a:pt x="1045368" y="3118199"/>
                  </a:moveTo>
                  <a:cubicBezTo>
                    <a:pt x="1048797" y="3118199"/>
                    <a:pt x="1051560" y="3120961"/>
                    <a:pt x="1051560" y="3124390"/>
                  </a:cubicBezTo>
                  <a:cubicBezTo>
                    <a:pt x="1051560" y="3127819"/>
                    <a:pt x="1048797" y="3130582"/>
                    <a:pt x="1045368" y="3130582"/>
                  </a:cubicBezTo>
                  <a:cubicBezTo>
                    <a:pt x="1041939" y="3130582"/>
                    <a:pt x="1039177" y="3127819"/>
                    <a:pt x="1039177" y="3124390"/>
                  </a:cubicBezTo>
                  <a:cubicBezTo>
                    <a:pt x="1039177" y="3120961"/>
                    <a:pt x="1041939" y="3118199"/>
                    <a:pt x="1045368" y="3118199"/>
                  </a:cubicBezTo>
                  <a:close/>
                  <a:moveTo>
                    <a:pt x="2325814" y="3118104"/>
                  </a:moveTo>
                  <a:cubicBezTo>
                    <a:pt x="2329243" y="3118104"/>
                    <a:pt x="2332006" y="3120866"/>
                    <a:pt x="2332006" y="3124295"/>
                  </a:cubicBezTo>
                  <a:cubicBezTo>
                    <a:pt x="2332006" y="3127724"/>
                    <a:pt x="2329243" y="3130486"/>
                    <a:pt x="2325814" y="3130486"/>
                  </a:cubicBezTo>
                  <a:cubicBezTo>
                    <a:pt x="2322385" y="3130486"/>
                    <a:pt x="2319623" y="3127724"/>
                    <a:pt x="2319623" y="3124295"/>
                  </a:cubicBezTo>
                  <a:cubicBezTo>
                    <a:pt x="2319623" y="3120866"/>
                    <a:pt x="2322385" y="3118104"/>
                    <a:pt x="2325814" y="3118104"/>
                  </a:cubicBezTo>
                  <a:close/>
                  <a:moveTo>
                    <a:pt x="975455" y="3117247"/>
                  </a:moveTo>
                  <a:cubicBezTo>
                    <a:pt x="978884" y="3117247"/>
                    <a:pt x="981646" y="3120009"/>
                    <a:pt x="981646" y="3123438"/>
                  </a:cubicBezTo>
                  <a:lnTo>
                    <a:pt x="975740" y="3129344"/>
                  </a:lnTo>
                  <a:lnTo>
                    <a:pt x="976883" y="3130487"/>
                  </a:lnTo>
                  <a:lnTo>
                    <a:pt x="971930" y="3135440"/>
                  </a:lnTo>
                  <a:lnTo>
                    <a:pt x="972787" y="3136297"/>
                  </a:lnTo>
                  <a:lnTo>
                    <a:pt x="968835" y="3140250"/>
                  </a:lnTo>
                  <a:lnTo>
                    <a:pt x="969454" y="3140869"/>
                  </a:lnTo>
                  <a:lnTo>
                    <a:pt x="966121" y="3144203"/>
                  </a:lnTo>
                  <a:lnTo>
                    <a:pt x="966502" y="3144584"/>
                  </a:lnTo>
                  <a:lnTo>
                    <a:pt x="963691" y="3147395"/>
                  </a:lnTo>
                  <a:lnTo>
                    <a:pt x="964024" y="3147727"/>
                  </a:lnTo>
                  <a:lnTo>
                    <a:pt x="961644" y="3150107"/>
                  </a:lnTo>
                  <a:lnTo>
                    <a:pt x="961835" y="3150298"/>
                  </a:lnTo>
                  <a:lnTo>
                    <a:pt x="959691" y="3152443"/>
                  </a:lnTo>
                  <a:lnTo>
                    <a:pt x="959833" y="3152585"/>
                  </a:lnTo>
                  <a:lnTo>
                    <a:pt x="957786" y="3154632"/>
                  </a:lnTo>
                  <a:lnTo>
                    <a:pt x="957929" y="3154775"/>
                  </a:lnTo>
                  <a:lnTo>
                    <a:pt x="955881" y="3156823"/>
                  </a:lnTo>
                  <a:lnTo>
                    <a:pt x="956024" y="3156966"/>
                  </a:lnTo>
                  <a:lnTo>
                    <a:pt x="953880" y="3159110"/>
                  </a:lnTo>
                  <a:lnTo>
                    <a:pt x="954118" y="3159347"/>
                  </a:lnTo>
                  <a:lnTo>
                    <a:pt x="951737" y="3161729"/>
                  </a:lnTo>
                  <a:lnTo>
                    <a:pt x="952118" y="3162110"/>
                  </a:lnTo>
                  <a:lnTo>
                    <a:pt x="949452" y="3164777"/>
                  </a:lnTo>
                  <a:lnTo>
                    <a:pt x="949928" y="3165253"/>
                  </a:lnTo>
                  <a:lnTo>
                    <a:pt x="946928" y="3168253"/>
                  </a:lnTo>
                  <a:lnTo>
                    <a:pt x="947547" y="3168872"/>
                  </a:lnTo>
                  <a:lnTo>
                    <a:pt x="944069" y="3172349"/>
                  </a:lnTo>
                  <a:lnTo>
                    <a:pt x="944879" y="3173159"/>
                  </a:lnTo>
                  <a:cubicBezTo>
                    <a:pt x="944879" y="3176588"/>
                    <a:pt x="942117" y="3179350"/>
                    <a:pt x="938688" y="3179350"/>
                  </a:cubicBezTo>
                  <a:lnTo>
                    <a:pt x="937879" y="3178541"/>
                  </a:lnTo>
                  <a:lnTo>
                    <a:pt x="935641" y="3180778"/>
                  </a:lnTo>
                  <a:cubicBezTo>
                    <a:pt x="934220" y="3180778"/>
                    <a:pt x="933069" y="3179627"/>
                    <a:pt x="933069" y="3178207"/>
                  </a:cubicBezTo>
                  <a:lnTo>
                    <a:pt x="935307" y="3175969"/>
                  </a:lnTo>
                  <a:lnTo>
                    <a:pt x="932497" y="3173159"/>
                  </a:lnTo>
                  <a:lnTo>
                    <a:pt x="935974" y="3169682"/>
                  </a:lnTo>
                  <a:lnTo>
                    <a:pt x="935164" y="3168872"/>
                  </a:lnTo>
                  <a:lnTo>
                    <a:pt x="938164" y="3165872"/>
                  </a:lnTo>
                  <a:lnTo>
                    <a:pt x="937545" y="3165253"/>
                  </a:lnTo>
                  <a:lnTo>
                    <a:pt x="940212" y="3162586"/>
                  </a:lnTo>
                  <a:lnTo>
                    <a:pt x="939736" y="3162110"/>
                  </a:lnTo>
                  <a:lnTo>
                    <a:pt x="942118" y="3159729"/>
                  </a:lnTo>
                  <a:lnTo>
                    <a:pt x="941736" y="3159347"/>
                  </a:lnTo>
                  <a:lnTo>
                    <a:pt x="943879" y="3157204"/>
                  </a:lnTo>
                  <a:lnTo>
                    <a:pt x="943641" y="3156966"/>
                  </a:lnTo>
                  <a:lnTo>
                    <a:pt x="945689" y="3154918"/>
                  </a:lnTo>
                  <a:lnTo>
                    <a:pt x="945546" y="3154775"/>
                  </a:lnTo>
                  <a:lnTo>
                    <a:pt x="947594" y="3152728"/>
                  </a:lnTo>
                  <a:lnTo>
                    <a:pt x="947451" y="3152585"/>
                  </a:lnTo>
                  <a:lnTo>
                    <a:pt x="949595" y="3150441"/>
                  </a:lnTo>
                  <a:lnTo>
                    <a:pt x="949452" y="3150298"/>
                  </a:lnTo>
                  <a:lnTo>
                    <a:pt x="951833" y="3147918"/>
                  </a:lnTo>
                  <a:lnTo>
                    <a:pt x="951642" y="3147727"/>
                  </a:lnTo>
                  <a:lnTo>
                    <a:pt x="954452" y="3144917"/>
                  </a:lnTo>
                  <a:lnTo>
                    <a:pt x="954119" y="3144584"/>
                  </a:lnTo>
                  <a:lnTo>
                    <a:pt x="957453" y="3141250"/>
                  </a:lnTo>
                  <a:lnTo>
                    <a:pt x="957072" y="3140869"/>
                  </a:lnTo>
                  <a:lnTo>
                    <a:pt x="961024" y="3136917"/>
                  </a:lnTo>
                  <a:lnTo>
                    <a:pt x="960405" y="3136297"/>
                  </a:lnTo>
                  <a:lnTo>
                    <a:pt x="965358" y="3131344"/>
                  </a:lnTo>
                  <a:lnTo>
                    <a:pt x="964501" y="3130487"/>
                  </a:lnTo>
                  <a:lnTo>
                    <a:pt x="970407" y="3124581"/>
                  </a:lnTo>
                  <a:lnTo>
                    <a:pt x="969264" y="3123438"/>
                  </a:lnTo>
                  <a:cubicBezTo>
                    <a:pt x="969264" y="3120009"/>
                    <a:pt x="972026" y="3117247"/>
                    <a:pt x="975455" y="3117247"/>
                  </a:cubicBezTo>
                  <a:close/>
                  <a:moveTo>
                    <a:pt x="2167127" y="3116676"/>
                  </a:moveTo>
                  <a:cubicBezTo>
                    <a:pt x="2170556" y="3116676"/>
                    <a:pt x="2173319" y="3119438"/>
                    <a:pt x="2173319" y="3122867"/>
                  </a:cubicBezTo>
                  <a:cubicBezTo>
                    <a:pt x="2173319" y="3126296"/>
                    <a:pt x="2170556" y="3129058"/>
                    <a:pt x="2167127" y="3129058"/>
                  </a:cubicBezTo>
                  <a:cubicBezTo>
                    <a:pt x="2163698" y="3129058"/>
                    <a:pt x="2160936" y="3126296"/>
                    <a:pt x="2160936" y="3122867"/>
                  </a:cubicBezTo>
                  <a:cubicBezTo>
                    <a:pt x="2160936" y="3119438"/>
                    <a:pt x="2163698" y="3116676"/>
                    <a:pt x="2167127" y="3116676"/>
                  </a:cubicBezTo>
                  <a:close/>
                  <a:moveTo>
                    <a:pt x="1482089" y="3116390"/>
                  </a:moveTo>
                  <a:cubicBezTo>
                    <a:pt x="1485518" y="3116390"/>
                    <a:pt x="1488281" y="3119152"/>
                    <a:pt x="1488281" y="3122581"/>
                  </a:cubicBezTo>
                  <a:cubicBezTo>
                    <a:pt x="1488281" y="3126010"/>
                    <a:pt x="1485518" y="3128772"/>
                    <a:pt x="1482089" y="3128772"/>
                  </a:cubicBezTo>
                  <a:cubicBezTo>
                    <a:pt x="1478660" y="3128772"/>
                    <a:pt x="1475898" y="3126010"/>
                    <a:pt x="1475898" y="3122581"/>
                  </a:cubicBezTo>
                  <a:cubicBezTo>
                    <a:pt x="1475898" y="3119152"/>
                    <a:pt x="1478660" y="3116390"/>
                    <a:pt x="1482089" y="3116390"/>
                  </a:cubicBezTo>
                  <a:close/>
                  <a:moveTo>
                    <a:pt x="2536888" y="3115056"/>
                  </a:moveTo>
                  <a:cubicBezTo>
                    <a:pt x="2538316" y="3115056"/>
                    <a:pt x="2539459" y="3116199"/>
                    <a:pt x="2539459" y="3117628"/>
                  </a:cubicBezTo>
                  <a:cubicBezTo>
                    <a:pt x="2539459" y="3119057"/>
                    <a:pt x="2538316" y="3120200"/>
                    <a:pt x="2536888" y="3120200"/>
                  </a:cubicBezTo>
                  <a:cubicBezTo>
                    <a:pt x="2535459" y="3120200"/>
                    <a:pt x="2534316" y="3119057"/>
                    <a:pt x="2534316" y="3117628"/>
                  </a:cubicBezTo>
                  <a:cubicBezTo>
                    <a:pt x="2534316" y="3116199"/>
                    <a:pt x="2535459" y="3115056"/>
                    <a:pt x="2536888" y="3115056"/>
                  </a:cubicBezTo>
                  <a:close/>
                  <a:moveTo>
                    <a:pt x="2247423" y="3114389"/>
                  </a:moveTo>
                  <a:cubicBezTo>
                    <a:pt x="2250852" y="3114389"/>
                    <a:pt x="2253615" y="3117151"/>
                    <a:pt x="2253615" y="3120580"/>
                  </a:cubicBezTo>
                  <a:cubicBezTo>
                    <a:pt x="2253615" y="3124009"/>
                    <a:pt x="2250852" y="3126772"/>
                    <a:pt x="2247423" y="3126772"/>
                  </a:cubicBezTo>
                  <a:cubicBezTo>
                    <a:pt x="2243994" y="3126772"/>
                    <a:pt x="2241232" y="3124009"/>
                    <a:pt x="2241232" y="3120580"/>
                  </a:cubicBezTo>
                  <a:cubicBezTo>
                    <a:pt x="2241232" y="3117151"/>
                    <a:pt x="2243994" y="3114389"/>
                    <a:pt x="2247423" y="3114389"/>
                  </a:cubicBezTo>
                  <a:close/>
                  <a:moveTo>
                    <a:pt x="2076068" y="3113342"/>
                  </a:moveTo>
                  <a:cubicBezTo>
                    <a:pt x="2079497" y="3113342"/>
                    <a:pt x="2082260" y="3116104"/>
                    <a:pt x="2082260" y="3119533"/>
                  </a:cubicBezTo>
                  <a:cubicBezTo>
                    <a:pt x="2082260" y="3122962"/>
                    <a:pt x="2079497" y="3125724"/>
                    <a:pt x="2076068" y="3125724"/>
                  </a:cubicBezTo>
                  <a:cubicBezTo>
                    <a:pt x="2072639" y="3125724"/>
                    <a:pt x="2069877" y="3122962"/>
                    <a:pt x="2069877" y="3119533"/>
                  </a:cubicBezTo>
                  <a:cubicBezTo>
                    <a:pt x="2069877" y="3116104"/>
                    <a:pt x="2072639" y="3113342"/>
                    <a:pt x="2076068" y="3113342"/>
                  </a:cubicBezTo>
                  <a:close/>
                  <a:moveTo>
                    <a:pt x="1893665" y="3112389"/>
                  </a:moveTo>
                  <a:cubicBezTo>
                    <a:pt x="1897094" y="3112389"/>
                    <a:pt x="1899857" y="3115151"/>
                    <a:pt x="1899857" y="3118580"/>
                  </a:cubicBezTo>
                  <a:cubicBezTo>
                    <a:pt x="1899857" y="3122009"/>
                    <a:pt x="1897094" y="3124771"/>
                    <a:pt x="1893665" y="3124771"/>
                  </a:cubicBezTo>
                  <a:cubicBezTo>
                    <a:pt x="1890236" y="3124771"/>
                    <a:pt x="1887474" y="3122009"/>
                    <a:pt x="1887474" y="3118580"/>
                  </a:cubicBezTo>
                  <a:cubicBezTo>
                    <a:pt x="1887474" y="3115151"/>
                    <a:pt x="1890236" y="3112389"/>
                    <a:pt x="1893665" y="3112389"/>
                  </a:cubicBezTo>
                  <a:close/>
                  <a:moveTo>
                    <a:pt x="1133665" y="3108674"/>
                  </a:moveTo>
                  <a:cubicBezTo>
                    <a:pt x="1137094" y="3108674"/>
                    <a:pt x="1139856" y="3111436"/>
                    <a:pt x="1139856" y="3114865"/>
                  </a:cubicBezTo>
                  <a:cubicBezTo>
                    <a:pt x="1139856" y="3118294"/>
                    <a:pt x="1137094" y="3121057"/>
                    <a:pt x="1133665" y="3121057"/>
                  </a:cubicBezTo>
                  <a:cubicBezTo>
                    <a:pt x="1130236" y="3121057"/>
                    <a:pt x="1127474" y="3118294"/>
                    <a:pt x="1127474" y="3114865"/>
                  </a:cubicBezTo>
                  <a:cubicBezTo>
                    <a:pt x="1127474" y="3111436"/>
                    <a:pt x="1130236" y="3108674"/>
                    <a:pt x="1133665" y="3108674"/>
                  </a:cubicBezTo>
                  <a:close/>
                  <a:moveTo>
                    <a:pt x="981074" y="3108579"/>
                  </a:moveTo>
                  <a:cubicBezTo>
                    <a:pt x="984503" y="3108579"/>
                    <a:pt x="987266" y="3111341"/>
                    <a:pt x="987266" y="3114770"/>
                  </a:cubicBezTo>
                  <a:cubicBezTo>
                    <a:pt x="987266" y="3118199"/>
                    <a:pt x="984503" y="3120961"/>
                    <a:pt x="981074" y="3120961"/>
                  </a:cubicBezTo>
                  <a:cubicBezTo>
                    <a:pt x="977645" y="3120961"/>
                    <a:pt x="974883" y="3118199"/>
                    <a:pt x="974883" y="3114770"/>
                  </a:cubicBezTo>
                  <a:cubicBezTo>
                    <a:pt x="974883" y="3111341"/>
                    <a:pt x="977645" y="3108579"/>
                    <a:pt x="981074" y="3108579"/>
                  </a:cubicBezTo>
                  <a:close/>
                  <a:moveTo>
                    <a:pt x="1401127" y="3108294"/>
                  </a:moveTo>
                  <a:cubicBezTo>
                    <a:pt x="1404556" y="3108294"/>
                    <a:pt x="1407319" y="3111056"/>
                    <a:pt x="1407319" y="3114485"/>
                  </a:cubicBezTo>
                  <a:cubicBezTo>
                    <a:pt x="1407319" y="3117914"/>
                    <a:pt x="1404556" y="3120676"/>
                    <a:pt x="1401127" y="3120676"/>
                  </a:cubicBezTo>
                  <a:cubicBezTo>
                    <a:pt x="1397698" y="3120676"/>
                    <a:pt x="1394936" y="3117914"/>
                    <a:pt x="1394936" y="3114485"/>
                  </a:cubicBezTo>
                  <a:cubicBezTo>
                    <a:pt x="1394936" y="3111056"/>
                    <a:pt x="1397698" y="3108294"/>
                    <a:pt x="1401127" y="3108294"/>
                  </a:cubicBezTo>
                  <a:close/>
                  <a:moveTo>
                    <a:pt x="2318003" y="3107531"/>
                  </a:moveTo>
                  <a:cubicBezTo>
                    <a:pt x="2321432" y="3107531"/>
                    <a:pt x="2324194" y="3110293"/>
                    <a:pt x="2324194" y="3113722"/>
                  </a:cubicBezTo>
                  <a:cubicBezTo>
                    <a:pt x="2324194" y="3117151"/>
                    <a:pt x="2321432" y="3119914"/>
                    <a:pt x="2318003" y="3119914"/>
                  </a:cubicBezTo>
                  <a:cubicBezTo>
                    <a:pt x="2314574" y="3119914"/>
                    <a:pt x="2311812" y="3117151"/>
                    <a:pt x="2311812" y="3113722"/>
                  </a:cubicBezTo>
                  <a:cubicBezTo>
                    <a:pt x="2311812" y="3110293"/>
                    <a:pt x="2314574" y="3107531"/>
                    <a:pt x="2318003" y="3107531"/>
                  </a:cubicBezTo>
                  <a:close/>
                  <a:moveTo>
                    <a:pt x="1222057" y="3106484"/>
                  </a:moveTo>
                  <a:cubicBezTo>
                    <a:pt x="1225486" y="3106484"/>
                    <a:pt x="1228248" y="3109246"/>
                    <a:pt x="1228248" y="3112675"/>
                  </a:cubicBezTo>
                  <a:cubicBezTo>
                    <a:pt x="1228248" y="3116104"/>
                    <a:pt x="1225486" y="3118866"/>
                    <a:pt x="1222057" y="3118866"/>
                  </a:cubicBezTo>
                  <a:cubicBezTo>
                    <a:pt x="1218628" y="3118866"/>
                    <a:pt x="1215866" y="3116104"/>
                    <a:pt x="1215866" y="3112675"/>
                  </a:cubicBezTo>
                  <a:cubicBezTo>
                    <a:pt x="1215866" y="3109246"/>
                    <a:pt x="1218628" y="3106484"/>
                    <a:pt x="1222057" y="3106484"/>
                  </a:cubicBezTo>
                  <a:close/>
                  <a:moveTo>
                    <a:pt x="2384107" y="3106007"/>
                  </a:moveTo>
                  <a:cubicBezTo>
                    <a:pt x="2387536" y="3106007"/>
                    <a:pt x="2390299" y="3108769"/>
                    <a:pt x="2390299" y="3112198"/>
                  </a:cubicBezTo>
                  <a:lnTo>
                    <a:pt x="2388489" y="3114009"/>
                  </a:lnTo>
                  <a:lnTo>
                    <a:pt x="2393918" y="3119437"/>
                  </a:lnTo>
                  <a:lnTo>
                    <a:pt x="2392441" y="3120914"/>
                  </a:lnTo>
                  <a:lnTo>
                    <a:pt x="2396871" y="3125343"/>
                  </a:lnTo>
                  <a:lnTo>
                    <a:pt x="2395680" y="3126534"/>
                  </a:lnTo>
                  <a:lnTo>
                    <a:pt x="2399347" y="3130201"/>
                  </a:lnTo>
                  <a:lnTo>
                    <a:pt x="2398347" y="3131201"/>
                  </a:lnTo>
                  <a:lnTo>
                    <a:pt x="2401348" y="3134201"/>
                  </a:lnTo>
                  <a:lnTo>
                    <a:pt x="2400585" y="3134964"/>
                  </a:lnTo>
                  <a:lnTo>
                    <a:pt x="2403061" y="3137440"/>
                  </a:lnTo>
                  <a:lnTo>
                    <a:pt x="2402347" y="3138154"/>
                  </a:lnTo>
                  <a:lnTo>
                    <a:pt x="2404491" y="3140297"/>
                  </a:lnTo>
                  <a:lnTo>
                    <a:pt x="2403871" y="3140917"/>
                  </a:lnTo>
                  <a:lnTo>
                    <a:pt x="2405824" y="3142869"/>
                  </a:lnTo>
                  <a:lnTo>
                    <a:pt x="2405205" y="3143488"/>
                  </a:lnTo>
                  <a:lnTo>
                    <a:pt x="2407063" y="3145345"/>
                  </a:lnTo>
                  <a:lnTo>
                    <a:pt x="2406443" y="3145965"/>
                  </a:lnTo>
                  <a:lnTo>
                    <a:pt x="2408396" y="3147917"/>
                  </a:lnTo>
                  <a:lnTo>
                    <a:pt x="2407729" y="3148584"/>
                  </a:lnTo>
                  <a:lnTo>
                    <a:pt x="2409730" y="3150584"/>
                  </a:lnTo>
                  <a:lnTo>
                    <a:pt x="2408967" y="3151347"/>
                  </a:lnTo>
                  <a:lnTo>
                    <a:pt x="2411253" y="3153632"/>
                  </a:lnTo>
                  <a:lnTo>
                    <a:pt x="2410396" y="3154490"/>
                  </a:lnTo>
                  <a:lnTo>
                    <a:pt x="2413063" y="3157156"/>
                  </a:lnTo>
                  <a:lnTo>
                    <a:pt x="2412063" y="3158156"/>
                  </a:lnTo>
                  <a:lnTo>
                    <a:pt x="2415064" y="3161157"/>
                  </a:lnTo>
                  <a:lnTo>
                    <a:pt x="2413873" y="3162348"/>
                  </a:lnTo>
                  <a:lnTo>
                    <a:pt x="2417349" y="3165824"/>
                  </a:lnTo>
                  <a:lnTo>
                    <a:pt x="2416063" y="3167110"/>
                  </a:lnTo>
                  <a:lnTo>
                    <a:pt x="2420112" y="3171158"/>
                  </a:lnTo>
                  <a:lnTo>
                    <a:pt x="2418588" y="3172683"/>
                  </a:lnTo>
                  <a:lnTo>
                    <a:pt x="2423159" y="3177254"/>
                  </a:lnTo>
                  <a:cubicBezTo>
                    <a:pt x="2423159" y="3180683"/>
                    <a:pt x="2420397" y="3183445"/>
                    <a:pt x="2416968" y="3183445"/>
                  </a:cubicBezTo>
                  <a:cubicBezTo>
                    <a:pt x="2413539" y="3183445"/>
                    <a:pt x="2410777" y="3180683"/>
                    <a:pt x="2410777" y="3177254"/>
                  </a:cubicBezTo>
                  <a:lnTo>
                    <a:pt x="2412301" y="3175731"/>
                  </a:lnTo>
                  <a:lnTo>
                    <a:pt x="2407729" y="3171158"/>
                  </a:lnTo>
                  <a:lnTo>
                    <a:pt x="2409015" y="3169873"/>
                  </a:lnTo>
                  <a:lnTo>
                    <a:pt x="2404967" y="3165824"/>
                  </a:lnTo>
                  <a:lnTo>
                    <a:pt x="2406158" y="3164634"/>
                  </a:lnTo>
                  <a:lnTo>
                    <a:pt x="2402681" y="3161157"/>
                  </a:lnTo>
                  <a:lnTo>
                    <a:pt x="2403681" y="3160157"/>
                  </a:lnTo>
                  <a:lnTo>
                    <a:pt x="2400680" y="3157156"/>
                  </a:lnTo>
                  <a:lnTo>
                    <a:pt x="2401537" y="3156299"/>
                  </a:lnTo>
                  <a:lnTo>
                    <a:pt x="2398871" y="3153632"/>
                  </a:lnTo>
                  <a:lnTo>
                    <a:pt x="2399633" y="3152870"/>
                  </a:lnTo>
                  <a:lnTo>
                    <a:pt x="2397347" y="3150584"/>
                  </a:lnTo>
                  <a:lnTo>
                    <a:pt x="2398013" y="3149918"/>
                  </a:lnTo>
                  <a:lnTo>
                    <a:pt x="2396013" y="3147917"/>
                  </a:lnTo>
                  <a:lnTo>
                    <a:pt x="2396633" y="3147298"/>
                  </a:lnTo>
                  <a:lnTo>
                    <a:pt x="2394680" y="3145345"/>
                  </a:lnTo>
                  <a:lnTo>
                    <a:pt x="2395298" y="3144727"/>
                  </a:lnTo>
                  <a:lnTo>
                    <a:pt x="2393441" y="3142869"/>
                  </a:lnTo>
                  <a:lnTo>
                    <a:pt x="2394061" y="3142250"/>
                  </a:lnTo>
                  <a:lnTo>
                    <a:pt x="2392108" y="3140297"/>
                  </a:lnTo>
                  <a:lnTo>
                    <a:pt x="2392822" y="3139583"/>
                  </a:lnTo>
                  <a:lnTo>
                    <a:pt x="2390679" y="3137440"/>
                  </a:lnTo>
                  <a:lnTo>
                    <a:pt x="2391441" y="3136678"/>
                  </a:lnTo>
                  <a:lnTo>
                    <a:pt x="2388965" y="3134201"/>
                  </a:lnTo>
                  <a:lnTo>
                    <a:pt x="2389965" y="3133201"/>
                  </a:lnTo>
                  <a:lnTo>
                    <a:pt x="2386965" y="3130201"/>
                  </a:lnTo>
                  <a:lnTo>
                    <a:pt x="2388155" y="3129011"/>
                  </a:lnTo>
                  <a:lnTo>
                    <a:pt x="2384488" y="3125343"/>
                  </a:lnTo>
                  <a:lnTo>
                    <a:pt x="2385964" y="3123867"/>
                  </a:lnTo>
                  <a:lnTo>
                    <a:pt x="2381535" y="3119437"/>
                  </a:lnTo>
                  <a:lnTo>
                    <a:pt x="2383345" y="3117628"/>
                  </a:lnTo>
                  <a:lnTo>
                    <a:pt x="2377916" y="3112198"/>
                  </a:lnTo>
                  <a:cubicBezTo>
                    <a:pt x="2377916" y="3108769"/>
                    <a:pt x="2380678" y="3106007"/>
                    <a:pt x="2384107" y="3106007"/>
                  </a:cubicBezTo>
                  <a:close/>
                  <a:moveTo>
                    <a:pt x="1055845" y="3105436"/>
                  </a:moveTo>
                  <a:cubicBezTo>
                    <a:pt x="1059274" y="3105436"/>
                    <a:pt x="1062037" y="3108198"/>
                    <a:pt x="1062037" y="3111627"/>
                  </a:cubicBezTo>
                  <a:cubicBezTo>
                    <a:pt x="1062037" y="3115056"/>
                    <a:pt x="1059274" y="3117819"/>
                    <a:pt x="1055845" y="3117819"/>
                  </a:cubicBezTo>
                  <a:cubicBezTo>
                    <a:pt x="1052416" y="3117819"/>
                    <a:pt x="1049654" y="3115056"/>
                    <a:pt x="1049654" y="3111627"/>
                  </a:cubicBezTo>
                  <a:cubicBezTo>
                    <a:pt x="1049654" y="3108198"/>
                    <a:pt x="1052416" y="3105436"/>
                    <a:pt x="1055845" y="3105436"/>
                  </a:cubicBezTo>
                  <a:close/>
                  <a:moveTo>
                    <a:pt x="2565940" y="3104198"/>
                  </a:moveTo>
                  <a:cubicBezTo>
                    <a:pt x="2566045" y="3104198"/>
                    <a:pt x="2566130" y="3104283"/>
                    <a:pt x="2566130" y="3104389"/>
                  </a:cubicBezTo>
                  <a:cubicBezTo>
                    <a:pt x="2566130" y="3104494"/>
                    <a:pt x="2566045" y="3104579"/>
                    <a:pt x="2565940" y="3104579"/>
                  </a:cubicBezTo>
                  <a:cubicBezTo>
                    <a:pt x="2565834" y="3104579"/>
                    <a:pt x="2565749" y="3104494"/>
                    <a:pt x="2565749" y="3104389"/>
                  </a:cubicBezTo>
                  <a:cubicBezTo>
                    <a:pt x="2565749" y="3104283"/>
                    <a:pt x="2565834" y="3104198"/>
                    <a:pt x="2565940" y="3104198"/>
                  </a:cubicBezTo>
                  <a:close/>
                  <a:moveTo>
                    <a:pt x="1973770" y="3102864"/>
                  </a:moveTo>
                  <a:cubicBezTo>
                    <a:pt x="1977199" y="3102864"/>
                    <a:pt x="1979961" y="3105626"/>
                    <a:pt x="1979961" y="3109055"/>
                  </a:cubicBezTo>
                  <a:cubicBezTo>
                    <a:pt x="1979961" y="3112484"/>
                    <a:pt x="1977199" y="3115246"/>
                    <a:pt x="1973770" y="3115246"/>
                  </a:cubicBezTo>
                  <a:cubicBezTo>
                    <a:pt x="1970341" y="3115246"/>
                    <a:pt x="1967579" y="3112484"/>
                    <a:pt x="1967579" y="3109055"/>
                  </a:cubicBezTo>
                  <a:cubicBezTo>
                    <a:pt x="1967579" y="3105626"/>
                    <a:pt x="1970341" y="3102864"/>
                    <a:pt x="1973770" y="3102864"/>
                  </a:cubicBezTo>
                  <a:close/>
                  <a:moveTo>
                    <a:pt x="2234088" y="3098959"/>
                  </a:moveTo>
                  <a:cubicBezTo>
                    <a:pt x="2237517" y="3098959"/>
                    <a:pt x="2240280" y="3101721"/>
                    <a:pt x="2240280" y="3105150"/>
                  </a:cubicBezTo>
                  <a:cubicBezTo>
                    <a:pt x="2240280" y="3108579"/>
                    <a:pt x="2237517" y="3111342"/>
                    <a:pt x="2234088" y="3111342"/>
                  </a:cubicBezTo>
                  <a:cubicBezTo>
                    <a:pt x="2230659" y="3111342"/>
                    <a:pt x="2227897" y="3108579"/>
                    <a:pt x="2227897" y="3105150"/>
                  </a:cubicBezTo>
                  <a:cubicBezTo>
                    <a:pt x="2227897" y="3101721"/>
                    <a:pt x="2230659" y="3098959"/>
                    <a:pt x="2234088" y="3098959"/>
                  </a:cubicBezTo>
                  <a:close/>
                  <a:moveTo>
                    <a:pt x="2148744" y="3098006"/>
                  </a:moveTo>
                  <a:cubicBezTo>
                    <a:pt x="2152173" y="3098006"/>
                    <a:pt x="2154936" y="3100768"/>
                    <a:pt x="2154936" y="3104197"/>
                  </a:cubicBezTo>
                  <a:cubicBezTo>
                    <a:pt x="2154936" y="3107626"/>
                    <a:pt x="2152173" y="3110389"/>
                    <a:pt x="2148744" y="3110389"/>
                  </a:cubicBezTo>
                  <a:cubicBezTo>
                    <a:pt x="2145315" y="3110389"/>
                    <a:pt x="2142553" y="3107626"/>
                    <a:pt x="2142553" y="3104197"/>
                  </a:cubicBezTo>
                  <a:cubicBezTo>
                    <a:pt x="2142553" y="3100768"/>
                    <a:pt x="2145315" y="3098006"/>
                    <a:pt x="2148744" y="3098006"/>
                  </a:cubicBezTo>
                  <a:close/>
                  <a:moveTo>
                    <a:pt x="987742" y="3097911"/>
                  </a:moveTo>
                  <a:cubicBezTo>
                    <a:pt x="991171" y="3097911"/>
                    <a:pt x="993933" y="3100673"/>
                    <a:pt x="993933" y="3104102"/>
                  </a:cubicBezTo>
                  <a:cubicBezTo>
                    <a:pt x="993933" y="3107531"/>
                    <a:pt x="991171" y="3110293"/>
                    <a:pt x="987742" y="3110293"/>
                  </a:cubicBezTo>
                  <a:cubicBezTo>
                    <a:pt x="984313" y="3110293"/>
                    <a:pt x="981551" y="3107531"/>
                    <a:pt x="981551" y="3104102"/>
                  </a:cubicBezTo>
                  <a:cubicBezTo>
                    <a:pt x="981551" y="3100673"/>
                    <a:pt x="984313" y="3097911"/>
                    <a:pt x="987742" y="3097911"/>
                  </a:cubicBezTo>
                  <a:close/>
                  <a:moveTo>
                    <a:pt x="1321688" y="3097530"/>
                  </a:moveTo>
                  <a:cubicBezTo>
                    <a:pt x="1325117" y="3097530"/>
                    <a:pt x="1327880" y="3100292"/>
                    <a:pt x="1327880" y="3103721"/>
                  </a:cubicBezTo>
                  <a:cubicBezTo>
                    <a:pt x="1327880" y="3107150"/>
                    <a:pt x="1325117" y="3109912"/>
                    <a:pt x="1321688" y="3109912"/>
                  </a:cubicBezTo>
                  <a:cubicBezTo>
                    <a:pt x="1318259" y="3109912"/>
                    <a:pt x="1315497" y="3107150"/>
                    <a:pt x="1315497" y="3103721"/>
                  </a:cubicBezTo>
                  <a:cubicBezTo>
                    <a:pt x="1315497" y="3100292"/>
                    <a:pt x="1318259" y="3097530"/>
                    <a:pt x="1321688" y="3097530"/>
                  </a:cubicBezTo>
                  <a:close/>
                  <a:moveTo>
                    <a:pt x="2379630" y="3097245"/>
                  </a:moveTo>
                  <a:cubicBezTo>
                    <a:pt x="2383059" y="3097245"/>
                    <a:pt x="2385822" y="3100007"/>
                    <a:pt x="2385822" y="3103436"/>
                  </a:cubicBezTo>
                  <a:cubicBezTo>
                    <a:pt x="2385822" y="3106865"/>
                    <a:pt x="2383059" y="3109627"/>
                    <a:pt x="2379630" y="3109627"/>
                  </a:cubicBezTo>
                  <a:cubicBezTo>
                    <a:pt x="2376201" y="3109627"/>
                    <a:pt x="2373439" y="3106865"/>
                    <a:pt x="2373439" y="3103436"/>
                  </a:cubicBezTo>
                  <a:cubicBezTo>
                    <a:pt x="2373439" y="3100007"/>
                    <a:pt x="2376201" y="3097245"/>
                    <a:pt x="2379630" y="3097245"/>
                  </a:cubicBezTo>
                  <a:close/>
                  <a:moveTo>
                    <a:pt x="924877" y="3096102"/>
                  </a:moveTo>
                  <a:cubicBezTo>
                    <a:pt x="928306" y="3096102"/>
                    <a:pt x="931069" y="3098864"/>
                    <a:pt x="931069" y="3102293"/>
                  </a:cubicBezTo>
                  <a:lnTo>
                    <a:pt x="926068" y="3107294"/>
                  </a:lnTo>
                  <a:lnTo>
                    <a:pt x="928402" y="3109627"/>
                  </a:lnTo>
                  <a:lnTo>
                    <a:pt x="924306" y="3113723"/>
                  </a:lnTo>
                  <a:lnTo>
                    <a:pt x="926306" y="3115723"/>
                  </a:lnTo>
                  <a:lnTo>
                    <a:pt x="922972" y="3119057"/>
                  </a:lnTo>
                  <a:lnTo>
                    <a:pt x="924591" y="3120676"/>
                  </a:lnTo>
                  <a:lnTo>
                    <a:pt x="921829" y="3123438"/>
                  </a:lnTo>
                  <a:lnTo>
                    <a:pt x="923353" y="3124962"/>
                  </a:lnTo>
                  <a:lnTo>
                    <a:pt x="921114" y="3127201"/>
                  </a:lnTo>
                  <a:lnTo>
                    <a:pt x="922400" y="3128486"/>
                  </a:lnTo>
                  <a:lnTo>
                    <a:pt x="920448" y="3130438"/>
                  </a:lnTo>
                  <a:lnTo>
                    <a:pt x="921544" y="3131534"/>
                  </a:lnTo>
                  <a:lnTo>
                    <a:pt x="919734" y="3133345"/>
                  </a:lnTo>
                  <a:lnTo>
                    <a:pt x="920781" y="3134392"/>
                  </a:lnTo>
                  <a:lnTo>
                    <a:pt x="919019" y="3136154"/>
                  </a:lnTo>
                  <a:lnTo>
                    <a:pt x="920019" y="3137154"/>
                  </a:lnTo>
                  <a:lnTo>
                    <a:pt x="918257" y="3138916"/>
                  </a:lnTo>
                  <a:lnTo>
                    <a:pt x="919258" y="3139916"/>
                  </a:lnTo>
                  <a:lnTo>
                    <a:pt x="917257" y="3141917"/>
                  </a:lnTo>
                  <a:lnTo>
                    <a:pt x="918305" y="3142964"/>
                  </a:lnTo>
                  <a:lnTo>
                    <a:pt x="916066" y="3145203"/>
                  </a:lnTo>
                  <a:lnTo>
                    <a:pt x="917162" y="3146298"/>
                  </a:lnTo>
                  <a:lnTo>
                    <a:pt x="914638" y="3148822"/>
                  </a:lnTo>
                  <a:lnTo>
                    <a:pt x="915829" y="3150013"/>
                  </a:lnTo>
                  <a:lnTo>
                    <a:pt x="912781" y="3153061"/>
                  </a:lnTo>
                  <a:lnTo>
                    <a:pt x="914114" y="3154394"/>
                  </a:lnTo>
                  <a:lnTo>
                    <a:pt x="910589" y="3157918"/>
                  </a:lnTo>
                  <a:lnTo>
                    <a:pt x="911923" y="3159252"/>
                  </a:lnTo>
                  <a:cubicBezTo>
                    <a:pt x="911923" y="3162586"/>
                    <a:pt x="909161" y="3165348"/>
                    <a:pt x="905827" y="3165348"/>
                  </a:cubicBezTo>
                  <a:cubicBezTo>
                    <a:pt x="902493" y="3165348"/>
                    <a:pt x="899731" y="3162586"/>
                    <a:pt x="899731" y="3159252"/>
                  </a:cubicBezTo>
                  <a:lnTo>
                    <a:pt x="903160" y="3155823"/>
                  </a:lnTo>
                  <a:lnTo>
                    <a:pt x="901731" y="3154394"/>
                  </a:lnTo>
                  <a:lnTo>
                    <a:pt x="904779" y="3151346"/>
                  </a:lnTo>
                  <a:lnTo>
                    <a:pt x="903446" y="3150013"/>
                  </a:lnTo>
                  <a:lnTo>
                    <a:pt x="905970" y="3147489"/>
                  </a:lnTo>
                  <a:lnTo>
                    <a:pt x="904779" y="3146298"/>
                  </a:lnTo>
                  <a:lnTo>
                    <a:pt x="907018" y="3144060"/>
                  </a:lnTo>
                  <a:lnTo>
                    <a:pt x="905922" y="3142964"/>
                  </a:lnTo>
                  <a:lnTo>
                    <a:pt x="907922" y="3140964"/>
                  </a:lnTo>
                  <a:lnTo>
                    <a:pt x="906875" y="3139916"/>
                  </a:lnTo>
                  <a:lnTo>
                    <a:pt x="908637" y="3138154"/>
                  </a:lnTo>
                  <a:lnTo>
                    <a:pt x="907637" y="3137154"/>
                  </a:lnTo>
                  <a:lnTo>
                    <a:pt x="909399" y="3135392"/>
                  </a:lnTo>
                  <a:lnTo>
                    <a:pt x="908399" y="3134392"/>
                  </a:lnTo>
                  <a:lnTo>
                    <a:pt x="910209" y="3132582"/>
                  </a:lnTo>
                  <a:lnTo>
                    <a:pt x="909161" y="3131534"/>
                  </a:lnTo>
                  <a:lnTo>
                    <a:pt x="911114" y="3129582"/>
                  </a:lnTo>
                  <a:lnTo>
                    <a:pt x="910018" y="3128486"/>
                  </a:lnTo>
                  <a:lnTo>
                    <a:pt x="912256" y="3126248"/>
                  </a:lnTo>
                  <a:lnTo>
                    <a:pt x="910970" y="3124962"/>
                  </a:lnTo>
                  <a:lnTo>
                    <a:pt x="913733" y="3122200"/>
                  </a:lnTo>
                  <a:lnTo>
                    <a:pt x="912209" y="3120676"/>
                  </a:lnTo>
                  <a:lnTo>
                    <a:pt x="915543" y="3117343"/>
                  </a:lnTo>
                  <a:lnTo>
                    <a:pt x="913923" y="3115723"/>
                  </a:lnTo>
                  <a:lnTo>
                    <a:pt x="918019" y="3111627"/>
                  </a:lnTo>
                  <a:lnTo>
                    <a:pt x="916019" y="3109627"/>
                  </a:lnTo>
                  <a:lnTo>
                    <a:pt x="921020" y="3104627"/>
                  </a:lnTo>
                  <a:lnTo>
                    <a:pt x="918686" y="3102293"/>
                  </a:lnTo>
                  <a:cubicBezTo>
                    <a:pt x="918686" y="3098864"/>
                    <a:pt x="921448" y="3096102"/>
                    <a:pt x="924877" y="3096102"/>
                  </a:cubicBezTo>
                  <a:close/>
                  <a:moveTo>
                    <a:pt x="2308954" y="3094768"/>
                  </a:moveTo>
                  <a:cubicBezTo>
                    <a:pt x="2312383" y="3094768"/>
                    <a:pt x="2315146" y="3097530"/>
                    <a:pt x="2315146" y="3100959"/>
                  </a:cubicBezTo>
                  <a:cubicBezTo>
                    <a:pt x="2315146" y="3104388"/>
                    <a:pt x="2312383" y="3107151"/>
                    <a:pt x="2308954" y="3107151"/>
                  </a:cubicBezTo>
                  <a:cubicBezTo>
                    <a:pt x="2305525" y="3107151"/>
                    <a:pt x="2302763" y="3104388"/>
                    <a:pt x="2302763" y="3100959"/>
                  </a:cubicBezTo>
                  <a:cubicBezTo>
                    <a:pt x="2302763" y="3097530"/>
                    <a:pt x="2305525" y="3094768"/>
                    <a:pt x="2308954" y="3094768"/>
                  </a:cubicBezTo>
                  <a:close/>
                  <a:moveTo>
                    <a:pt x="782860" y="3094768"/>
                  </a:moveTo>
                  <a:cubicBezTo>
                    <a:pt x="782955" y="3094768"/>
                    <a:pt x="783145" y="3094959"/>
                    <a:pt x="783145" y="3095054"/>
                  </a:cubicBezTo>
                  <a:cubicBezTo>
                    <a:pt x="783145" y="3095149"/>
                    <a:pt x="782860" y="3095339"/>
                    <a:pt x="782860" y="3095339"/>
                  </a:cubicBezTo>
                  <a:cubicBezTo>
                    <a:pt x="782764" y="3095339"/>
                    <a:pt x="782574" y="3095149"/>
                    <a:pt x="782574" y="3095054"/>
                  </a:cubicBezTo>
                  <a:cubicBezTo>
                    <a:pt x="782574" y="3094959"/>
                    <a:pt x="782764" y="3094768"/>
                    <a:pt x="782860" y="3094768"/>
                  </a:cubicBezTo>
                  <a:close/>
                  <a:moveTo>
                    <a:pt x="1689068" y="3091815"/>
                  </a:moveTo>
                  <a:cubicBezTo>
                    <a:pt x="1692488" y="3091815"/>
                    <a:pt x="1695259" y="3094587"/>
                    <a:pt x="1695259" y="3098006"/>
                  </a:cubicBezTo>
                  <a:cubicBezTo>
                    <a:pt x="1695259" y="3101425"/>
                    <a:pt x="1692488" y="3104197"/>
                    <a:pt x="1689068" y="3104197"/>
                  </a:cubicBezTo>
                  <a:cubicBezTo>
                    <a:pt x="1685649" y="3104197"/>
                    <a:pt x="1682877" y="3101425"/>
                    <a:pt x="1682877" y="3098006"/>
                  </a:cubicBezTo>
                  <a:cubicBezTo>
                    <a:pt x="1682877" y="3094587"/>
                    <a:pt x="1685649" y="3091815"/>
                    <a:pt x="1689068" y="3091815"/>
                  </a:cubicBezTo>
                  <a:close/>
                  <a:moveTo>
                    <a:pt x="1603152" y="3091148"/>
                  </a:moveTo>
                  <a:cubicBezTo>
                    <a:pt x="1606581" y="3091148"/>
                    <a:pt x="1609344" y="3093910"/>
                    <a:pt x="1609344" y="3097339"/>
                  </a:cubicBezTo>
                  <a:cubicBezTo>
                    <a:pt x="1609344" y="3100768"/>
                    <a:pt x="1606581" y="3103531"/>
                    <a:pt x="1603152" y="3103531"/>
                  </a:cubicBezTo>
                  <a:cubicBezTo>
                    <a:pt x="1599723" y="3103531"/>
                    <a:pt x="1596961" y="3100768"/>
                    <a:pt x="1596961" y="3097339"/>
                  </a:cubicBezTo>
                  <a:cubicBezTo>
                    <a:pt x="1596961" y="3093910"/>
                    <a:pt x="1599723" y="3091148"/>
                    <a:pt x="1603152" y="3091148"/>
                  </a:cubicBezTo>
                  <a:close/>
                  <a:moveTo>
                    <a:pt x="2052161" y="3090672"/>
                  </a:moveTo>
                  <a:cubicBezTo>
                    <a:pt x="2055590" y="3090672"/>
                    <a:pt x="2058353" y="3093434"/>
                    <a:pt x="2058353" y="3096863"/>
                  </a:cubicBezTo>
                  <a:cubicBezTo>
                    <a:pt x="2058353" y="3100292"/>
                    <a:pt x="2055590" y="3103054"/>
                    <a:pt x="2052161" y="3103054"/>
                  </a:cubicBezTo>
                  <a:cubicBezTo>
                    <a:pt x="2048732" y="3103054"/>
                    <a:pt x="2045970" y="3100292"/>
                    <a:pt x="2045970" y="3096863"/>
                  </a:cubicBezTo>
                  <a:cubicBezTo>
                    <a:pt x="2045970" y="3093434"/>
                    <a:pt x="2048732" y="3090672"/>
                    <a:pt x="2052161" y="3090672"/>
                  </a:cubicBezTo>
                  <a:close/>
                  <a:moveTo>
                    <a:pt x="1150429" y="3090196"/>
                  </a:moveTo>
                  <a:cubicBezTo>
                    <a:pt x="1153858" y="3090196"/>
                    <a:pt x="1156621" y="3092958"/>
                    <a:pt x="1156621" y="3096387"/>
                  </a:cubicBezTo>
                  <a:cubicBezTo>
                    <a:pt x="1156621" y="3099816"/>
                    <a:pt x="1153858" y="3102578"/>
                    <a:pt x="1150429" y="3102578"/>
                  </a:cubicBezTo>
                  <a:cubicBezTo>
                    <a:pt x="1147000" y="3102578"/>
                    <a:pt x="1144238" y="3099816"/>
                    <a:pt x="1144238" y="3096387"/>
                  </a:cubicBezTo>
                  <a:cubicBezTo>
                    <a:pt x="1144238" y="3092958"/>
                    <a:pt x="1147000" y="3090196"/>
                    <a:pt x="1150429" y="3090196"/>
                  </a:cubicBezTo>
                  <a:close/>
                  <a:moveTo>
                    <a:pt x="1067847" y="3090101"/>
                  </a:moveTo>
                  <a:cubicBezTo>
                    <a:pt x="1071276" y="3090101"/>
                    <a:pt x="1074039" y="3092863"/>
                    <a:pt x="1074039" y="3096292"/>
                  </a:cubicBezTo>
                  <a:cubicBezTo>
                    <a:pt x="1074039" y="3099721"/>
                    <a:pt x="1071276" y="3102483"/>
                    <a:pt x="1067847" y="3102483"/>
                  </a:cubicBezTo>
                  <a:cubicBezTo>
                    <a:pt x="1064418" y="3102483"/>
                    <a:pt x="1061656" y="3099721"/>
                    <a:pt x="1061656" y="3096292"/>
                  </a:cubicBezTo>
                  <a:cubicBezTo>
                    <a:pt x="1061656" y="3092863"/>
                    <a:pt x="1064418" y="3090101"/>
                    <a:pt x="1067847" y="3090101"/>
                  </a:cubicBezTo>
                  <a:close/>
                  <a:moveTo>
                    <a:pt x="1774888" y="3089434"/>
                  </a:moveTo>
                  <a:cubicBezTo>
                    <a:pt x="1778317" y="3089434"/>
                    <a:pt x="1781080" y="3092196"/>
                    <a:pt x="1781080" y="3095625"/>
                  </a:cubicBezTo>
                  <a:cubicBezTo>
                    <a:pt x="1781080" y="3099054"/>
                    <a:pt x="1778317" y="3101817"/>
                    <a:pt x="1774888" y="3101817"/>
                  </a:cubicBezTo>
                  <a:cubicBezTo>
                    <a:pt x="1771459" y="3101817"/>
                    <a:pt x="1768697" y="3099054"/>
                    <a:pt x="1768697" y="3095625"/>
                  </a:cubicBezTo>
                  <a:cubicBezTo>
                    <a:pt x="1768697" y="3092196"/>
                    <a:pt x="1771459" y="3089434"/>
                    <a:pt x="1774888" y="3089434"/>
                  </a:cubicBezTo>
                  <a:close/>
                  <a:moveTo>
                    <a:pt x="1517713" y="3087243"/>
                  </a:moveTo>
                  <a:cubicBezTo>
                    <a:pt x="1521142" y="3087243"/>
                    <a:pt x="1523905" y="3090005"/>
                    <a:pt x="1523905" y="3093434"/>
                  </a:cubicBezTo>
                  <a:cubicBezTo>
                    <a:pt x="1523905" y="3096863"/>
                    <a:pt x="1521142" y="3099626"/>
                    <a:pt x="1517713" y="3099626"/>
                  </a:cubicBezTo>
                  <a:cubicBezTo>
                    <a:pt x="1514284" y="3099626"/>
                    <a:pt x="1511522" y="3096863"/>
                    <a:pt x="1511522" y="3093434"/>
                  </a:cubicBezTo>
                  <a:cubicBezTo>
                    <a:pt x="1511522" y="3090005"/>
                    <a:pt x="1514284" y="3087243"/>
                    <a:pt x="1517713" y="3087243"/>
                  </a:cubicBezTo>
                  <a:close/>
                  <a:moveTo>
                    <a:pt x="928306" y="3087148"/>
                  </a:moveTo>
                  <a:cubicBezTo>
                    <a:pt x="931735" y="3087148"/>
                    <a:pt x="934498" y="3089910"/>
                    <a:pt x="934498" y="3093339"/>
                  </a:cubicBezTo>
                  <a:cubicBezTo>
                    <a:pt x="934498" y="3096768"/>
                    <a:pt x="931735" y="3099530"/>
                    <a:pt x="928306" y="3099530"/>
                  </a:cubicBezTo>
                  <a:cubicBezTo>
                    <a:pt x="924877" y="3099530"/>
                    <a:pt x="922115" y="3096768"/>
                    <a:pt x="922115" y="3093339"/>
                  </a:cubicBezTo>
                  <a:cubicBezTo>
                    <a:pt x="922115" y="3089910"/>
                    <a:pt x="924877" y="3087148"/>
                    <a:pt x="928306" y="3087148"/>
                  </a:cubicBezTo>
                  <a:close/>
                  <a:moveTo>
                    <a:pt x="2374296" y="3086577"/>
                  </a:moveTo>
                  <a:cubicBezTo>
                    <a:pt x="2377725" y="3086577"/>
                    <a:pt x="2380488" y="3089339"/>
                    <a:pt x="2380488" y="3092768"/>
                  </a:cubicBezTo>
                  <a:cubicBezTo>
                    <a:pt x="2380488" y="3096197"/>
                    <a:pt x="2377725" y="3098959"/>
                    <a:pt x="2374296" y="3098959"/>
                  </a:cubicBezTo>
                  <a:cubicBezTo>
                    <a:pt x="2370867" y="3098959"/>
                    <a:pt x="2368105" y="3096197"/>
                    <a:pt x="2368105" y="3092768"/>
                  </a:cubicBezTo>
                  <a:cubicBezTo>
                    <a:pt x="2368105" y="3089339"/>
                    <a:pt x="2370867" y="3086577"/>
                    <a:pt x="2374296" y="3086577"/>
                  </a:cubicBezTo>
                  <a:close/>
                  <a:moveTo>
                    <a:pt x="995552" y="3085148"/>
                  </a:moveTo>
                  <a:cubicBezTo>
                    <a:pt x="998981" y="3085148"/>
                    <a:pt x="1001743" y="3087910"/>
                    <a:pt x="1001743" y="3091339"/>
                  </a:cubicBezTo>
                  <a:cubicBezTo>
                    <a:pt x="1001743" y="3094768"/>
                    <a:pt x="998981" y="3097530"/>
                    <a:pt x="995552" y="3097530"/>
                  </a:cubicBezTo>
                  <a:cubicBezTo>
                    <a:pt x="992123" y="3097530"/>
                    <a:pt x="989361" y="3094768"/>
                    <a:pt x="989361" y="3091339"/>
                  </a:cubicBezTo>
                  <a:cubicBezTo>
                    <a:pt x="989361" y="3087910"/>
                    <a:pt x="992123" y="3085148"/>
                    <a:pt x="995552" y="3085148"/>
                  </a:cubicBezTo>
                  <a:close/>
                  <a:moveTo>
                    <a:pt x="1244345" y="3084100"/>
                  </a:moveTo>
                  <a:cubicBezTo>
                    <a:pt x="1247774" y="3084100"/>
                    <a:pt x="1250536" y="3086862"/>
                    <a:pt x="1250536" y="3090291"/>
                  </a:cubicBezTo>
                  <a:cubicBezTo>
                    <a:pt x="1250536" y="3093720"/>
                    <a:pt x="1247774" y="3096482"/>
                    <a:pt x="1244345" y="3096482"/>
                  </a:cubicBezTo>
                  <a:cubicBezTo>
                    <a:pt x="1240916" y="3096482"/>
                    <a:pt x="1238154" y="3093720"/>
                    <a:pt x="1238154" y="3090291"/>
                  </a:cubicBezTo>
                  <a:cubicBezTo>
                    <a:pt x="1238154" y="3086862"/>
                    <a:pt x="1240916" y="3084100"/>
                    <a:pt x="1244345" y="3084100"/>
                  </a:cubicBezTo>
                  <a:close/>
                  <a:moveTo>
                    <a:pt x="1859851" y="3083910"/>
                  </a:moveTo>
                  <a:cubicBezTo>
                    <a:pt x="1863280" y="3083910"/>
                    <a:pt x="1866043" y="3086672"/>
                    <a:pt x="1866043" y="3090101"/>
                  </a:cubicBezTo>
                  <a:cubicBezTo>
                    <a:pt x="1866043" y="3093530"/>
                    <a:pt x="1863280" y="3096292"/>
                    <a:pt x="1859851" y="3096292"/>
                  </a:cubicBezTo>
                  <a:cubicBezTo>
                    <a:pt x="1856422" y="3096292"/>
                    <a:pt x="1853660" y="3093530"/>
                    <a:pt x="1853660" y="3090101"/>
                  </a:cubicBezTo>
                  <a:cubicBezTo>
                    <a:pt x="1853660" y="3086672"/>
                    <a:pt x="1856422" y="3083910"/>
                    <a:pt x="1859851" y="3083910"/>
                  </a:cubicBezTo>
                  <a:close/>
                  <a:moveTo>
                    <a:pt x="2218943" y="3080671"/>
                  </a:moveTo>
                  <a:cubicBezTo>
                    <a:pt x="2222372" y="3080671"/>
                    <a:pt x="2225135" y="3083433"/>
                    <a:pt x="2225135" y="3086862"/>
                  </a:cubicBezTo>
                  <a:cubicBezTo>
                    <a:pt x="2225135" y="3090291"/>
                    <a:pt x="2222372" y="3093053"/>
                    <a:pt x="2218943" y="3093053"/>
                  </a:cubicBezTo>
                  <a:cubicBezTo>
                    <a:pt x="2215514" y="3093053"/>
                    <a:pt x="2212752" y="3090291"/>
                    <a:pt x="2212752" y="3086862"/>
                  </a:cubicBezTo>
                  <a:cubicBezTo>
                    <a:pt x="2212752" y="3083433"/>
                    <a:pt x="2215514" y="3080671"/>
                    <a:pt x="2218943" y="3080671"/>
                  </a:cubicBezTo>
                  <a:close/>
                  <a:moveTo>
                    <a:pt x="1433131" y="3080385"/>
                  </a:moveTo>
                  <a:cubicBezTo>
                    <a:pt x="1436560" y="3080385"/>
                    <a:pt x="1439323" y="3083147"/>
                    <a:pt x="1439323" y="3086576"/>
                  </a:cubicBezTo>
                  <a:cubicBezTo>
                    <a:pt x="1439323" y="3090005"/>
                    <a:pt x="1436560" y="3092767"/>
                    <a:pt x="1433131" y="3092767"/>
                  </a:cubicBezTo>
                  <a:cubicBezTo>
                    <a:pt x="1429702" y="3092767"/>
                    <a:pt x="1426940" y="3090005"/>
                    <a:pt x="1426940" y="3086576"/>
                  </a:cubicBezTo>
                  <a:cubicBezTo>
                    <a:pt x="1426940" y="3083147"/>
                    <a:pt x="1429702" y="3080385"/>
                    <a:pt x="1433131" y="3080385"/>
                  </a:cubicBezTo>
                  <a:close/>
                  <a:moveTo>
                    <a:pt x="2298477" y="3079528"/>
                  </a:moveTo>
                  <a:cubicBezTo>
                    <a:pt x="2301906" y="3079528"/>
                    <a:pt x="2304669" y="3082290"/>
                    <a:pt x="2304669" y="3085719"/>
                  </a:cubicBezTo>
                  <a:cubicBezTo>
                    <a:pt x="2304669" y="3089148"/>
                    <a:pt x="2301906" y="3091911"/>
                    <a:pt x="2298477" y="3091911"/>
                  </a:cubicBezTo>
                  <a:cubicBezTo>
                    <a:pt x="2295048" y="3091911"/>
                    <a:pt x="2292286" y="3089148"/>
                    <a:pt x="2292286" y="3085719"/>
                  </a:cubicBezTo>
                  <a:cubicBezTo>
                    <a:pt x="2292286" y="3082290"/>
                    <a:pt x="2295048" y="3079528"/>
                    <a:pt x="2298477" y="3079528"/>
                  </a:cubicBezTo>
                  <a:close/>
                  <a:moveTo>
                    <a:pt x="932687" y="3076385"/>
                  </a:moveTo>
                  <a:cubicBezTo>
                    <a:pt x="936107" y="3076385"/>
                    <a:pt x="938878" y="3079157"/>
                    <a:pt x="938878" y="3082576"/>
                  </a:cubicBezTo>
                  <a:cubicBezTo>
                    <a:pt x="938878" y="3085995"/>
                    <a:pt x="936107" y="3088767"/>
                    <a:pt x="932687" y="3088767"/>
                  </a:cubicBezTo>
                  <a:cubicBezTo>
                    <a:pt x="929268" y="3088767"/>
                    <a:pt x="926496" y="3085995"/>
                    <a:pt x="926496" y="3082576"/>
                  </a:cubicBezTo>
                  <a:cubicBezTo>
                    <a:pt x="926496" y="3079157"/>
                    <a:pt x="929268" y="3076385"/>
                    <a:pt x="932687" y="3076385"/>
                  </a:cubicBezTo>
                  <a:close/>
                  <a:moveTo>
                    <a:pt x="2128265" y="3075909"/>
                  </a:moveTo>
                  <a:cubicBezTo>
                    <a:pt x="2131694" y="3075909"/>
                    <a:pt x="2134457" y="3078671"/>
                    <a:pt x="2134457" y="3082100"/>
                  </a:cubicBezTo>
                  <a:cubicBezTo>
                    <a:pt x="2134457" y="3085529"/>
                    <a:pt x="2131694" y="3088291"/>
                    <a:pt x="2128265" y="3088291"/>
                  </a:cubicBezTo>
                  <a:cubicBezTo>
                    <a:pt x="2124836" y="3088291"/>
                    <a:pt x="2122074" y="3085529"/>
                    <a:pt x="2122074" y="3082100"/>
                  </a:cubicBezTo>
                  <a:cubicBezTo>
                    <a:pt x="2122074" y="3078671"/>
                    <a:pt x="2124836" y="3075909"/>
                    <a:pt x="2128265" y="3075909"/>
                  </a:cubicBezTo>
                  <a:close/>
                  <a:moveTo>
                    <a:pt x="1943671" y="3075432"/>
                  </a:moveTo>
                  <a:cubicBezTo>
                    <a:pt x="1947100" y="3075432"/>
                    <a:pt x="1949863" y="3078194"/>
                    <a:pt x="1949863" y="3081623"/>
                  </a:cubicBezTo>
                  <a:cubicBezTo>
                    <a:pt x="1949863" y="3085052"/>
                    <a:pt x="1947100" y="3087815"/>
                    <a:pt x="1943671" y="3087815"/>
                  </a:cubicBezTo>
                  <a:cubicBezTo>
                    <a:pt x="1940242" y="3087815"/>
                    <a:pt x="1937480" y="3085052"/>
                    <a:pt x="1937480" y="3081623"/>
                  </a:cubicBezTo>
                  <a:cubicBezTo>
                    <a:pt x="1937480" y="3078194"/>
                    <a:pt x="1940242" y="3075432"/>
                    <a:pt x="1943671" y="3075432"/>
                  </a:cubicBezTo>
                  <a:close/>
                  <a:moveTo>
                    <a:pt x="2431065" y="3075337"/>
                  </a:moveTo>
                  <a:cubicBezTo>
                    <a:pt x="2434494" y="3075337"/>
                    <a:pt x="2437257" y="3078099"/>
                    <a:pt x="2437257" y="3081528"/>
                  </a:cubicBezTo>
                  <a:lnTo>
                    <a:pt x="2433875" y="3084910"/>
                  </a:lnTo>
                  <a:lnTo>
                    <a:pt x="2439542" y="3090577"/>
                  </a:lnTo>
                  <a:lnTo>
                    <a:pt x="2436590" y="3093530"/>
                  </a:lnTo>
                  <a:lnTo>
                    <a:pt x="2441257" y="3098197"/>
                  </a:lnTo>
                  <a:lnTo>
                    <a:pt x="2438685" y="3100769"/>
                  </a:lnTo>
                  <a:lnTo>
                    <a:pt x="2442400" y="3104483"/>
                  </a:lnTo>
                  <a:lnTo>
                    <a:pt x="2440161" y="3106722"/>
                  </a:lnTo>
                  <a:lnTo>
                    <a:pt x="2443162" y="3109722"/>
                  </a:lnTo>
                  <a:lnTo>
                    <a:pt x="2441162" y="3111722"/>
                  </a:lnTo>
                  <a:lnTo>
                    <a:pt x="2443544" y="3114104"/>
                  </a:lnTo>
                  <a:lnTo>
                    <a:pt x="2441782" y="3115866"/>
                  </a:lnTo>
                  <a:lnTo>
                    <a:pt x="2443829" y="3117913"/>
                  </a:lnTo>
                  <a:lnTo>
                    <a:pt x="2442161" y="3119581"/>
                  </a:lnTo>
                  <a:lnTo>
                    <a:pt x="2443923" y="3121343"/>
                  </a:lnTo>
                  <a:lnTo>
                    <a:pt x="2442400" y="3122866"/>
                  </a:lnTo>
                  <a:lnTo>
                    <a:pt x="2444020" y="3124486"/>
                  </a:lnTo>
                  <a:lnTo>
                    <a:pt x="2442591" y="3125916"/>
                  </a:lnTo>
                  <a:lnTo>
                    <a:pt x="2444209" y="3127534"/>
                  </a:lnTo>
                  <a:lnTo>
                    <a:pt x="2442781" y="3128962"/>
                  </a:lnTo>
                  <a:lnTo>
                    <a:pt x="2444496" y="3130677"/>
                  </a:lnTo>
                  <a:lnTo>
                    <a:pt x="2443067" y="3132106"/>
                  </a:lnTo>
                  <a:lnTo>
                    <a:pt x="2444972" y="3134011"/>
                  </a:lnTo>
                  <a:lnTo>
                    <a:pt x="2443448" y="3135535"/>
                  </a:lnTo>
                  <a:lnTo>
                    <a:pt x="2445639" y="3137726"/>
                  </a:lnTo>
                  <a:lnTo>
                    <a:pt x="2444115" y="3139250"/>
                  </a:lnTo>
                  <a:lnTo>
                    <a:pt x="2446686" y="3141821"/>
                  </a:lnTo>
                  <a:lnTo>
                    <a:pt x="2445019" y="3143488"/>
                  </a:lnTo>
                  <a:lnTo>
                    <a:pt x="2448020" y="3146488"/>
                  </a:lnTo>
                  <a:lnTo>
                    <a:pt x="2446210" y="3148298"/>
                  </a:lnTo>
                  <a:lnTo>
                    <a:pt x="2449735" y="3151822"/>
                  </a:lnTo>
                  <a:lnTo>
                    <a:pt x="2447781" y="3153776"/>
                  </a:lnTo>
                  <a:lnTo>
                    <a:pt x="2451925" y="3157919"/>
                  </a:lnTo>
                  <a:lnTo>
                    <a:pt x="2448925" y="3160919"/>
                  </a:lnTo>
                  <a:lnTo>
                    <a:pt x="2452687" y="3164681"/>
                  </a:lnTo>
                  <a:cubicBezTo>
                    <a:pt x="2452687" y="3167062"/>
                    <a:pt x="2450782" y="3168967"/>
                    <a:pt x="2448401" y="3168967"/>
                  </a:cubicBezTo>
                  <a:cubicBezTo>
                    <a:pt x="2446020" y="3168967"/>
                    <a:pt x="2444115" y="3167062"/>
                    <a:pt x="2444115" y="3164681"/>
                  </a:cubicBezTo>
                  <a:lnTo>
                    <a:pt x="2445209" y="3163587"/>
                  </a:lnTo>
                  <a:lnTo>
                    <a:pt x="2439542" y="3157919"/>
                  </a:lnTo>
                  <a:lnTo>
                    <a:pt x="2441495" y="3155966"/>
                  </a:lnTo>
                  <a:lnTo>
                    <a:pt x="2437352" y="3151822"/>
                  </a:lnTo>
                  <a:lnTo>
                    <a:pt x="2439161" y="3150013"/>
                  </a:lnTo>
                  <a:lnTo>
                    <a:pt x="2435637" y="3146488"/>
                  </a:lnTo>
                  <a:lnTo>
                    <a:pt x="2437304" y="3144821"/>
                  </a:lnTo>
                  <a:lnTo>
                    <a:pt x="2434304" y="3141821"/>
                  </a:lnTo>
                  <a:lnTo>
                    <a:pt x="2435827" y="3140298"/>
                  </a:lnTo>
                  <a:lnTo>
                    <a:pt x="2433256" y="3137726"/>
                  </a:lnTo>
                  <a:lnTo>
                    <a:pt x="2434780" y="3136202"/>
                  </a:lnTo>
                  <a:lnTo>
                    <a:pt x="2432589" y="3134011"/>
                  </a:lnTo>
                  <a:lnTo>
                    <a:pt x="2434018" y="3132582"/>
                  </a:lnTo>
                  <a:lnTo>
                    <a:pt x="2432113" y="3130677"/>
                  </a:lnTo>
                  <a:lnTo>
                    <a:pt x="2433542" y="3129249"/>
                  </a:lnTo>
                  <a:lnTo>
                    <a:pt x="2431827" y="3127534"/>
                  </a:lnTo>
                  <a:lnTo>
                    <a:pt x="2433256" y="3126105"/>
                  </a:lnTo>
                  <a:lnTo>
                    <a:pt x="2431637" y="3124486"/>
                  </a:lnTo>
                  <a:lnTo>
                    <a:pt x="2433161" y="3122963"/>
                  </a:lnTo>
                  <a:lnTo>
                    <a:pt x="2431541" y="3121343"/>
                  </a:lnTo>
                  <a:lnTo>
                    <a:pt x="2433208" y="3119676"/>
                  </a:lnTo>
                  <a:lnTo>
                    <a:pt x="2431446" y="3117913"/>
                  </a:lnTo>
                  <a:lnTo>
                    <a:pt x="2433208" y="3116151"/>
                  </a:lnTo>
                  <a:lnTo>
                    <a:pt x="2431161" y="3114104"/>
                  </a:lnTo>
                  <a:lnTo>
                    <a:pt x="2433161" y="3112104"/>
                  </a:lnTo>
                  <a:lnTo>
                    <a:pt x="2430779" y="3109722"/>
                  </a:lnTo>
                  <a:lnTo>
                    <a:pt x="2433017" y="3107484"/>
                  </a:lnTo>
                  <a:lnTo>
                    <a:pt x="2430017" y="3104483"/>
                  </a:lnTo>
                  <a:lnTo>
                    <a:pt x="2432589" y="3101912"/>
                  </a:lnTo>
                  <a:lnTo>
                    <a:pt x="2428875" y="3098197"/>
                  </a:lnTo>
                  <a:lnTo>
                    <a:pt x="2431828" y="3095245"/>
                  </a:lnTo>
                  <a:lnTo>
                    <a:pt x="2427160" y="3090577"/>
                  </a:lnTo>
                  <a:lnTo>
                    <a:pt x="2430541" y="3087196"/>
                  </a:lnTo>
                  <a:lnTo>
                    <a:pt x="2424874" y="3081528"/>
                  </a:lnTo>
                  <a:cubicBezTo>
                    <a:pt x="2424874" y="3078099"/>
                    <a:pt x="2427636" y="3075337"/>
                    <a:pt x="2431065" y="3075337"/>
                  </a:cubicBezTo>
                  <a:close/>
                  <a:moveTo>
                    <a:pt x="2367819" y="3073718"/>
                  </a:moveTo>
                  <a:cubicBezTo>
                    <a:pt x="2371248" y="3073718"/>
                    <a:pt x="2374011" y="3076480"/>
                    <a:pt x="2374011" y="3079909"/>
                  </a:cubicBezTo>
                  <a:cubicBezTo>
                    <a:pt x="2374011" y="3083338"/>
                    <a:pt x="2371248" y="3086100"/>
                    <a:pt x="2367819" y="3086100"/>
                  </a:cubicBezTo>
                  <a:cubicBezTo>
                    <a:pt x="2364390" y="3086100"/>
                    <a:pt x="2361628" y="3083338"/>
                    <a:pt x="2361628" y="3079909"/>
                  </a:cubicBezTo>
                  <a:cubicBezTo>
                    <a:pt x="2361628" y="3076480"/>
                    <a:pt x="2364390" y="3073718"/>
                    <a:pt x="2367819" y="3073718"/>
                  </a:cubicBezTo>
                  <a:close/>
                  <a:moveTo>
                    <a:pt x="1081468" y="3071908"/>
                  </a:moveTo>
                  <a:cubicBezTo>
                    <a:pt x="1084897" y="3071908"/>
                    <a:pt x="1087660" y="3074670"/>
                    <a:pt x="1087660" y="3078099"/>
                  </a:cubicBezTo>
                  <a:cubicBezTo>
                    <a:pt x="1087660" y="3081528"/>
                    <a:pt x="1084897" y="3084290"/>
                    <a:pt x="1081468" y="3084290"/>
                  </a:cubicBezTo>
                  <a:cubicBezTo>
                    <a:pt x="1078039" y="3084290"/>
                    <a:pt x="1075277" y="3081528"/>
                    <a:pt x="1075277" y="3078099"/>
                  </a:cubicBezTo>
                  <a:cubicBezTo>
                    <a:pt x="1075277" y="3074670"/>
                    <a:pt x="1078039" y="3071908"/>
                    <a:pt x="1081468" y="3071908"/>
                  </a:cubicBezTo>
                  <a:close/>
                  <a:moveTo>
                    <a:pt x="1350168" y="3070479"/>
                  </a:moveTo>
                  <a:cubicBezTo>
                    <a:pt x="1353597" y="3070479"/>
                    <a:pt x="1356359" y="3073241"/>
                    <a:pt x="1356359" y="3076670"/>
                  </a:cubicBezTo>
                  <a:cubicBezTo>
                    <a:pt x="1356359" y="3080099"/>
                    <a:pt x="1353597" y="3082861"/>
                    <a:pt x="1350168" y="3082861"/>
                  </a:cubicBezTo>
                  <a:cubicBezTo>
                    <a:pt x="1346739" y="3082861"/>
                    <a:pt x="1343977" y="3080099"/>
                    <a:pt x="1343977" y="3076670"/>
                  </a:cubicBezTo>
                  <a:cubicBezTo>
                    <a:pt x="1343977" y="3073241"/>
                    <a:pt x="1346739" y="3070479"/>
                    <a:pt x="1350168" y="3070479"/>
                  </a:cubicBezTo>
                  <a:close/>
                  <a:moveTo>
                    <a:pt x="1004696" y="3069908"/>
                  </a:moveTo>
                  <a:cubicBezTo>
                    <a:pt x="1008125" y="3069908"/>
                    <a:pt x="1010887" y="3072670"/>
                    <a:pt x="1010887" y="3076099"/>
                  </a:cubicBezTo>
                  <a:cubicBezTo>
                    <a:pt x="1010887" y="3079528"/>
                    <a:pt x="1008125" y="3082290"/>
                    <a:pt x="1004696" y="3082290"/>
                  </a:cubicBezTo>
                  <a:cubicBezTo>
                    <a:pt x="1001267" y="3082290"/>
                    <a:pt x="998505" y="3079528"/>
                    <a:pt x="998505" y="3076099"/>
                  </a:cubicBezTo>
                  <a:cubicBezTo>
                    <a:pt x="998505" y="3072670"/>
                    <a:pt x="1001267" y="3069908"/>
                    <a:pt x="1004696" y="3069908"/>
                  </a:cubicBezTo>
                  <a:close/>
                  <a:moveTo>
                    <a:pt x="1169288" y="3068384"/>
                  </a:moveTo>
                  <a:cubicBezTo>
                    <a:pt x="1172717" y="3068384"/>
                    <a:pt x="1175480" y="3071146"/>
                    <a:pt x="1175480" y="3074575"/>
                  </a:cubicBezTo>
                  <a:cubicBezTo>
                    <a:pt x="1175480" y="3078004"/>
                    <a:pt x="1172717" y="3080766"/>
                    <a:pt x="1169288" y="3080766"/>
                  </a:cubicBezTo>
                  <a:cubicBezTo>
                    <a:pt x="1165859" y="3080766"/>
                    <a:pt x="1163097" y="3078004"/>
                    <a:pt x="1163097" y="3074575"/>
                  </a:cubicBezTo>
                  <a:cubicBezTo>
                    <a:pt x="1163097" y="3071146"/>
                    <a:pt x="1165859" y="3068384"/>
                    <a:pt x="1169288" y="3068384"/>
                  </a:cubicBezTo>
                  <a:close/>
                  <a:moveTo>
                    <a:pt x="2621756" y="3067241"/>
                  </a:moveTo>
                  <a:cubicBezTo>
                    <a:pt x="2621946" y="3067241"/>
                    <a:pt x="2622041" y="3067336"/>
                    <a:pt x="2622041" y="3067527"/>
                  </a:cubicBezTo>
                  <a:cubicBezTo>
                    <a:pt x="2622041" y="3067717"/>
                    <a:pt x="2621756" y="3067812"/>
                    <a:pt x="2621756" y="3067812"/>
                  </a:cubicBezTo>
                  <a:cubicBezTo>
                    <a:pt x="2621565" y="3067812"/>
                    <a:pt x="2621470" y="3067717"/>
                    <a:pt x="2621470" y="3067527"/>
                  </a:cubicBezTo>
                  <a:cubicBezTo>
                    <a:pt x="2621470" y="3067336"/>
                    <a:pt x="2621565" y="3067241"/>
                    <a:pt x="2621756" y="3067241"/>
                  </a:cubicBezTo>
                  <a:close/>
                  <a:moveTo>
                    <a:pt x="878109" y="3064764"/>
                  </a:moveTo>
                  <a:cubicBezTo>
                    <a:pt x="881538" y="3064764"/>
                    <a:pt x="884300" y="3067526"/>
                    <a:pt x="884300" y="3070955"/>
                  </a:cubicBezTo>
                  <a:lnTo>
                    <a:pt x="878966" y="3076290"/>
                  </a:lnTo>
                  <a:lnTo>
                    <a:pt x="882872" y="3080195"/>
                  </a:lnTo>
                  <a:lnTo>
                    <a:pt x="878585" y="3084481"/>
                  </a:lnTo>
                  <a:lnTo>
                    <a:pt x="882110" y="3088005"/>
                  </a:lnTo>
                  <a:lnTo>
                    <a:pt x="878681" y="3091434"/>
                  </a:lnTo>
                  <a:lnTo>
                    <a:pt x="881729" y="3094482"/>
                  </a:lnTo>
                  <a:lnTo>
                    <a:pt x="879014" y="3097197"/>
                  </a:lnTo>
                  <a:lnTo>
                    <a:pt x="881729" y="3099911"/>
                  </a:lnTo>
                  <a:lnTo>
                    <a:pt x="879490" y="3102150"/>
                  </a:lnTo>
                  <a:lnTo>
                    <a:pt x="881919" y="3104578"/>
                  </a:lnTo>
                  <a:lnTo>
                    <a:pt x="880109" y="3106388"/>
                  </a:lnTo>
                  <a:lnTo>
                    <a:pt x="882396" y="3108674"/>
                  </a:lnTo>
                  <a:lnTo>
                    <a:pt x="880729" y="3110341"/>
                  </a:lnTo>
                  <a:lnTo>
                    <a:pt x="882777" y="3112389"/>
                  </a:lnTo>
                  <a:lnTo>
                    <a:pt x="881300" y="3113866"/>
                  </a:lnTo>
                  <a:lnTo>
                    <a:pt x="883253" y="3115818"/>
                  </a:lnTo>
                  <a:lnTo>
                    <a:pt x="881729" y="3117342"/>
                  </a:lnTo>
                  <a:lnTo>
                    <a:pt x="883539" y="3119152"/>
                  </a:lnTo>
                  <a:lnTo>
                    <a:pt x="881919" y="3120772"/>
                  </a:lnTo>
                  <a:lnTo>
                    <a:pt x="883729" y="3122581"/>
                  </a:lnTo>
                  <a:lnTo>
                    <a:pt x="881872" y="3124439"/>
                  </a:lnTo>
                  <a:lnTo>
                    <a:pt x="883633" y="3126200"/>
                  </a:lnTo>
                  <a:lnTo>
                    <a:pt x="881490" y="3128343"/>
                  </a:lnTo>
                  <a:lnTo>
                    <a:pt x="883348" y="3130201"/>
                  </a:lnTo>
                  <a:lnTo>
                    <a:pt x="880729" y="3132820"/>
                  </a:lnTo>
                  <a:lnTo>
                    <a:pt x="882587" y="3134678"/>
                  </a:lnTo>
                  <a:lnTo>
                    <a:pt x="879587" y="3137678"/>
                  </a:lnTo>
                  <a:lnTo>
                    <a:pt x="881539" y="3139630"/>
                  </a:lnTo>
                  <a:lnTo>
                    <a:pt x="876537" y="3144632"/>
                  </a:lnTo>
                  <a:lnTo>
                    <a:pt x="877156" y="3145251"/>
                  </a:lnTo>
                  <a:cubicBezTo>
                    <a:pt x="877156" y="3147061"/>
                    <a:pt x="875633" y="3148584"/>
                    <a:pt x="873823" y="3148584"/>
                  </a:cubicBezTo>
                  <a:cubicBezTo>
                    <a:pt x="872013" y="3148584"/>
                    <a:pt x="870489" y="3147061"/>
                    <a:pt x="870489" y="3145251"/>
                  </a:cubicBezTo>
                  <a:lnTo>
                    <a:pt x="872633" y="3143108"/>
                  </a:lnTo>
                  <a:lnTo>
                    <a:pt x="869156" y="3139630"/>
                  </a:lnTo>
                  <a:lnTo>
                    <a:pt x="872156" y="3136630"/>
                  </a:lnTo>
                  <a:lnTo>
                    <a:pt x="870204" y="3134678"/>
                  </a:lnTo>
                  <a:lnTo>
                    <a:pt x="872824" y="3132059"/>
                  </a:lnTo>
                  <a:lnTo>
                    <a:pt x="870966" y="3130201"/>
                  </a:lnTo>
                  <a:lnTo>
                    <a:pt x="873109" y="3128058"/>
                  </a:lnTo>
                  <a:lnTo>
                    <a:pt x="871251" y="3126200"/>
                  </a:lnTo>
                  <a:lnTo>
                    <a:pt x="873109" y="3124343"/>
                  </a:lnTo>
                  <a:lnTo>
                    <a:pt x="871347" y="3122581"/>
                  </a:lnTo>
                  <a:lnTo>
                    <a:pt x="872966" y="3120962"/>
                  </a:lnTo>
                  <a:lnTo>
                    <a:pt x="871156" y="3119152"/>
                  </a:lnTo>
                  <a:lnTo>
                    <a:pt x="872680" y="3117628"/>
                  </a:lnTo>
                  <a:lnTo>
                    <a:pt x="870870" y="3115818"/>
                  </a:lnTo>
                  <a:lnTo>
                    <a:pt x="872347" y="3114342"/>
                  </a:lnTo>
                  <a:lnTo>
                    <a:pt x="870394" y="3112389"/>
                  </a:lnTo>
                  <a:lnTo>
                    <a:pt x="872061" y="3110722"/>
                  </a:lnTo>
                  <a:lnTo>
                    <a:pt x="870013" y="3108674"/>
                  </a:lnTo>
                  <a:lnTo>
                    <a:pt x="871823" y="3106864"/>
                  </a:lnTo>
                  <a:lnTo>
                    <a:pt x="869537" y="3104578"/>
                  </a:lnTo>
                  <a:lnTo>
                    <a:pt x="871775" y="3102340"/>
                  </a:lnTo>
                  <a:lnTo>
                    <a:pt x="869346" y="3099911"/>
                  </a:lnTo>
                  <a:lnTo>
                    <a:pt x="872061" y="3097197"/>
                  </a:lnTo>
                  <a:lnTo>
                    <a:pt x="869346" y="3094482"/>
                  </a:lnTo>
                  <a:lnTo>
                    <a:pt x="872775" y="3091053"/>
                  </a:lnTo>
                  <a:lnTo>
                    <a:pt x="869727" y="3088005"/>
                  </a:lnTo>
                  <a:lnTo>
                    <a:pt x="874013" y="3083719"/>
                  </a:lnTo>
                  <a:lnTo>
                    <a:pt x="870489" y="3080195"/>
                  </a:lnTo>
                  <a:lnTo>
                    <a:pt x="875824" y="3074861"/>
                  </a:lnTo>
                  <a:lnTo>
                    <a:pt x="871918" y="3070955"/>
                  </a:lnTo>
                  <a:cubicBezTo>
                    <a:pt x="871918" y="3067526"/>
                    <a:pt x="874680" y="3064764"/>
                    <a:pt x="878109" y="3064764"/>
                  </a:cubicBezTo>
                  <a:close/>
                  <a:moveTo>
                    <a:pt x="2427922" y="3064383"/>
                  </a:moveTo>
                  <a:cubicBezTo>
                    <a:pt x="2431351" y="3064383"/>
                    <a:pt x="2434114" y="3067145"/>
                    <a:pt x="2434114" y="3070574"/>
                  </a:cubicBezTo>
                  <a:cubicBezTo>
                    <a:pt x="2434114" y="3074003"/>
                    <a:pt x="2431351" y="3076766"/>
                    <a:pt x="2427922" y="3076766"/>
                  </a:cubicBezTo>
                  <a:cubicBezTo>
                    <a:pt x="2424493" y="3076766"/>
                    <a:pt x="2421731" y="3074003"/>
                    <a:pt x="2421731" y="3070574"/>
                  </a:cubicBezTo>
                  <a:cubicBezTo>
                    <a:pt x="2421731" y="3067145"/>
                    <a:pt x="2424493" y="3064383"/>
                    <a:pt x="2427922" y="3064383"/>
                  </a:cubicBezTo>
                  <a:close/>
                  <a:moveTo>
                    <a:pt x="2025681" y="3064097"/>
                  </a:moveTo>
                  <a:cubicBezTo>
                    <a:pt x="2029110" y="3064097"/>
                    <a:pt x="2031873" y="3066859"/>
                    <a:pt x="2031873" y="3070288"/>
                  </a:cubicBezTo>
                  <a:cubicBezTo>
                    <a:pt x="2031873" y="3073717"/>
                    <a:pt x="2029110" y="3076480"/>
                    <a:pt x="2025681" y="3076480"/>
                  </a:cubicBezTo>
                  <a:cubicBezTo>
                    <a:pt x="2022252" y="3076480"/>
                    <a:pt x="2019490" y="3073717"/>
                    <a:pt x="2019490" y="3070288"/>
                  </a:cubicBezTo>
                  <a:cubicBezTo>
                    <a:pt x="2019490" y="3066859"/>
                    <a:pt x="2022252" y="3064097"/>
                    <a:pt x="2025681" y="3064097"/>
                  </a:cubicBezTo>
                  <a:close/>
                  <a:moveTo>
                    <a:pt x="937926" y="3063526"/>
                  </a:moveTo>
                  <a:cubicBezTo>
                    <a:pt x="941355" y="3063526"/>
                    <a:pt x="944118" y="3066288"/>
                    <a:pt x="944118" y="3069717"/>
                  </a:cubicBezTo>
                  <a:cubicBezTo>
                    <a:pt x="944118" y="3073146"/>
                    <a:pt x="941355" y="3075909"/>
                    <a:pt x="937926" y="3075909"/>
                  </a:cubicBezTo>
                  <a:cubicBezTo>
                    <a:pt x="934497" y="3075909"/>
                    <a:pt x="931735" y="3073146"/>
                    <a:pt x="931735" y="3069717"/>
                  </a:cubicBezTo>
                  <a:cubicBezTo>
                    <a:pt x="931735" y="3066288"/>
                    <a:pt x="934497" y="3063526"/>
                    <a:pt x="937926" y="3063526"/>
                  </a:cubicBezTo>
                  <a:close/>
                  <a:moveTo>
                    <a:pt x="2286475" y="3061335"/>
                  </a:moveTo>
                  <a:cubicBezTo>
                    <a:pt x="2289904" y="3061335"/>
                    <a:pt x="2292667" y="3064097"/>
                    <a:pt x="2292667" y="3067526"/>
                  </a:cubicBezTo>
                  <a:cubicBezTo>
                    <a:pt x="2292667" y="3070955"/>
                    <a:pt x="2289904" y="3073717"/>
                    <a:pt x="2286475" y="3073717"/>
                  </a:cubicBezTo>
                  <a:cubicBezTo>
                    <a:pt x="2283046" y="3073717"/>
                    <a:pt x="2280284" y="3070955"/>
                    <a:pt x="2280284" y="3067526"/>
                  </a:cubicBezTo>
                  <a:cubicBezTo>
                    <a:pt x="2280284" y="3064097"/>
                    <a:pt x="2283046" y="3061335"/>
                    <a:pt x="2286475" y="3061335"/>
                  </a:cubicBezTo>
                  <a:close/>
                  <a:moveTo>
                    <a:pt x="2201894" y="3058954"/>
                  </a:moveTo>
                  <a:cubicBezTo>
                    <a:pt x="2205323" y="3058954"/>
                    <a:pt x="2208086" y="3061716"/>
                    <a:pt x="2208086" y="3065145"/>
                  </a:cubicBezTo>
                  <a:cubicBezTo>
                    <a:pt x="2208086" y="3068574"/>
                    <a:pt x="2205323" y="3071336"/>
                    <a:pt x="2201894" y="3071336"/>
                  </a:cubicBezTo>
                  <a:cubicBezTo>
                    <a:pt x="2198465" y="3071336"/>
                    <a:pt x="2195703" y="3068574"/>
                    <a:pt x="2195703" y="3065145"/>
                  </a:cubicBezTo>
                  <a:cubicBezTo>
                    <a:pt x="2195703" y="3061716"/>
                    <a:pt x="2198465" y="3058954"/>
                    <a:pt x="2201894" y="3058954"/>
                  </a:cubicBezTo>
                  <a:close/>
                  <a:moveTo>
                    <a:pt x="2360104" y="3058478"/>
                  </a:moveTo>
                  <a:cubicBezTo>
                    <a:pt x="2363533" y="3058478"/>
                    <a:pt x="2366295" y="3061240"/>
                    <a:pt x="2366295" y="3064669"/>
                  </a:cubicBezTo>
                  <a:cubicBezTo>
                    <a:pt x="2366295" y="3068098"/>
                    <a:pt x="2363533" y="3070861"/>
                    <a:pt x="2360104" y="3070861"/>
                  </a:cubicBezTo>
                  <a:cubicBezTo>
                    <a:pt x="2356675" y="3070861"/>
                    <a:pt x="2353913" y="3068098"/>
                    <a:pt x="2353913" y="3064669"/>
                  </a:cubicBezTo>
                  <a:cubicBezTo>
                    <a:pt x="2353913" y="3061240"/>
                    <a:pt x="2356675" y="3058478"/>
                    <a:pt x="2360104" y="3058478"/>
                  </a:cubicBezTo>
                  <a:close/>
                  <a:moveTo>
                    <a:pt x="1269110" y="3057906"/>
                  </a:moveTo>
                  <a:cubicBezTo>
                    <a:pt x="1272539" y="3057906"/>
                    <a:pt x="1275302" y="3060668"/>
                    <a:pt x="1275302" y="3064097"/>
                  </a:cubicBezTo>
                  <a:cubicBezTo>
                    <a:pt x="1275302" y="3067526"/>
                    <a:pt x="1272539" y="3070288"/>
                    <a:pt x="1269110" y="3070288"/>
                  </a:cubicBezTo>
                  <a:cubicBezTo>
                    <a:pt x="1265681" y="3070288"/>
                    <a:pt x="1262919" y="3067526"/>
                    <a:pt x="1262919" y="3064097"/>
                  </a:cubicBezTo>
                  <a:cubicBezTo>
                    <a:pt x="1262919" y="3060668"/>
                    <a:pt x="1265681" y="3057906"/>
                    <a:pt x="1269110" y="3057906"/>
                  </a:cubicBezTo>
                  <a:close/>
                  <a:moveTo>
                    <a:pt x="724186" y="3056573"/>
                  </a:moveTo>
                  <a:cubicBezTo>
                    <a:pt x="724291" y="3056573"/>
                    <a:pt x="724376" y="3056658"/>
                    <a:pt x="724376" y="3056764"/>
                  </a:cubicBezTo>
                  <a:cubicBezTo>
                    <a:pt x="724376" y="3056869"/>
                    <a:pt x="724291" y="3056954"/>
                    <a:pt x="724186" y="3056954"/>
                  </a:cubicBezTo>
                  <a:cubicBezTo>
                    <a:pt x="724080" y="3056954"/>
                    <a:pt x="723995" y="3056869"/>
                    <a:pt x="723995" y="3056764"/>
                  </a:cubicBezTo>
                  <a:cubicBezTo>
                    <a:pt x="723995" y="3056658"/>
                    <a:pt x="724080" y="3056573"/>
                    <a:pt x="724186" y="3056573"/>
                  </a:cubicBezTo>
                  <a:close/>
                  <a:moveTo>
                    <a:pt x="1645348" y="3055906"/>
                  </a:moveTo>
                  <a:cubicBezTo>
                    <a:pt x="1648777" y="3055906"/>
                    <a:pt x="1651540" y="3058668"/>
                    <a:pt x="1651540" y="3062097"/>
                  </a:cubicBezTo>
                  <a:cubicBezTo>
                    <a:pt x="1651540" y="3065526"/>
                    <a:pt x="1648777" y="3068288"/>
                    <a:pt x="1645348" y="3068288"/>
                  </a:cubicBezTo>
                  <a:cubicBezTo>
                    <a:pt x="1641919" y="3068288"/>
                    <a:pt x="1639157" y="3065526"/>
                    <a:pt x="1639157" y="3062097"/>
                  </a:cubicBezTo>
                  <a:cubicBezTo>
                    <a:pt x="1639157" y="3058668"/>
                    <a:pt x="1641919" y="3055906"/>
                    <a:pt x="1645348" y="3055906"/>
                  </a:cubicBezTo>
                  <a:close/>
                  <a:moveTo>
                    <a:pt x="1734502" y="3055049"/>
                  </a:moveTo>
                  <a:cubicBezTo>
                    <a:pt x="1737931" y="3055049"/>
                    <a:pt x="1740694" y="3057811"/>
                    <a:pt x="1740694" y="3061240"/>
                  </a:cubicBezTo>
                  <a:cubicBezTo>
                    <a:pt x="1740694" y="3064669"/>
                    <a:pt x="1737931" y="3067431"/>
                    <a:pt x="1734502" y="3067431"/>
                  </a:cubicBezTo>
                  <a:cubicBezTo>
                    <a:pt x="1731073" y="3067431"/>
                    <a:pt x="1728311" y="3064669"/>
                    <a:pt x="1728311" y="3061240"/>
                  </a:cubicBezTo>
                  <a:cubicBezTo>
                    <a:pt x="1728311" y="3057811"/>
                    <a:pt x="1731073" y="3055049"/>
                    <a:pt x="1734502" y="3055049"/>
                  </a:cubicBezTo>
                  <a:close/>
                  <a:moveTo>
                    <a:pt x="880205" y="3053811"/>
                  </a:moveTo>
                  <a:cubicBezTo>
                    <a:pt x="883634" y="3053811"/>
                    <a:pt x="886396" y="3056573"/>
                    <a:pt x="886396" y="3060002"/>
                  </a:cubicBezTo>
                  <a:cubicBezTo>
                    <a:pt x="886396" y="3063431"/>
                    <a:pt x="883634" y="3066193"/>
                    <a:pt x="880205" y="3066193"/>
                  </a:cubicBezTo>
                  <a:cubicBezTo>
                    <a:pt x="876776" y="3066193"/>
                    <a:pt x="874014" y="3063431"/>
                    <a:pt x="874014" y="3060002"/>
                  </a:cubicBezTo>
                  <a:cubicBezTo>
                    <a:pt x="874014" y="3056573"/>
                    <a:pt x="876776" y="3053811"/>
                    <a:pt x="880205" y="3053811"/>
                  </a:cubicBezTo>
                  <a:close/>
                  <a:moveTo>
                    <a:pt x="1556384" y="3053525"/>
                  </a:moveTo>
                  <a:cubicBezTo>
                    <a:pt x="1559813" y="3053525"/>
                    <a:pt x="1562576" y="3056287"/>
                    <a:pt x="1562576" y="3059716"/>
                  </a:cubicBezTo>
                  <a:cubicBezTo>
                    <a:pt x="1562576" y="3063145"/>
                    <a:pt x="1559813" y="3065907"/>
                    <a:pt x="1556384" y="3065907"/>
                  </a:cubicBezTo>
                  <a:cubicBezTo>
                    <a:pt x="1552955" y="3065907"/>
                    <a:pt x="1550193" y="3063145"/>
                    <a:pt x="1550193" y="3059716"/>
                  </a:cubicBezTo>
                  <a:cubicBezTo>
                    <a:pt x="1550193" y="3056287"/>
                    <a:pt x="1552955" y="3053525"/>
                    <a:pt x="1556384" y="3053525"/>
                  </a:cubicBezTo>
                  <a:close/>
                  <a:moveTo>
                    <a:pt x="1015364" y="3051810"/>
                  </a:moveTo>
                  <a:cubicBezTo>
                    <a:pt x="1018793" y="3051810"/>
                    <a:pt x="1021556" y="3054572"/>
                    <a:pt x="1021556" y="3058001"/>
                  </a:cubicBezTo>
                  <a:cubicBezTo>
                    <a:pt x="1021556" y="3061430"/>
                    <a:pt x="1018793" y="3064192"/>
                    <a:pt x="1015364" y="3064192"/>
                  </a:cubicBezTo>
                  <a:cubicBezTo>
                    <a:pt x="1011935" y="3064192"/>
                    <a:pt x="1009173" y="3061430"/>
                    <a:pt x="1009173" y="3058001"/>
                  </a:cubicBezTo>
                  <a:cubicBezTo>
                    <a:pt x="1009173" y="3054572"/>
                    <a:pt x="1011935" y="3051810"/>
                    <a:pt x="1015364" y="3051810"/>
                  </a:cubicBezTo>
                  <a:close/>
                  <a:moveTo>
                    <a:pt x="2423921" y="3051429"/>
                  </a:moveTo>
                  <a:cubicBezTo>
                    <a:pt x="2427350" y="3051429"/>
                    <a:pt x="2430113" y="3054191"/>
                    <a:pt x="2430113" y="3057620"/>
                  </a:cubicBezTo>
                  <a:cubicBezTo>
                    <a:pt x="2430113" y="3061049"/>
                    <a:pt x="2427350" y="3063811"/>
                    <a:pt x="2423921" y="3063811"/>
                  </a:cubicBezTo>
                  <a:cubicBezTo>
                    <a:pt x="2420492" y="3063811"/>
                    <a:pt x="2417730" y="3061049"/>
                    <a:pt x="2417730" y="3057620"/>
                  </a:cubicBezTo>
                  <a:cubicBezTo>
                    <a:pt x="2417730" y="3054191"/>
                    <a:pt x="2420492" y="3051429"/>
                    <a:pt x="2423921" y="3051429"/>
                  </a:cubicBezTo>
                  <a:close/>
                  <a:moveTo>
                    <a:pt x="1823084" y="3050858"/>
                  </a:moveTo>
                  <a:cubicBezTo>
                    <a:pt x="1826513" y="3050858"/>
                    <a:pt x="1829276" y="3053620"/>
                    <a:pt x="1829276" y="3057049"/>
                  </a:cubicBezTo>
                  <a:cubicBezTo>
                    <a:pt x="1829276" y="3060478"/>
                    <a:pt x="1826513" y="3063240"/>
                    <a:pt x="1823084" y="3063240"/>
                  </a:cubicBezTo>
                  <a:cubicBezTo>
                    <a:pt x="1819655" y="3063240"/>
                    <a:pt x="1816893" y="3060478"/>
                    <a:pt x="1816893" y="3057049"/>
                  </a:cubicBezTo>
                  <a:cubicBezTo>
                    <a:pt x="1816893" y="3053620"/>
                    <a:pt x="1819655" y="3050858"/>
                    <a:pt x="1823084" y="3050858"/>
                  </a:cubicBezTo>
                  <a:close/>
                  <a:moveTo>
                    <a:pt x="1096993" y="3050381"/>
                  </a:moveTo>
                  <a:cubicBezTo>
                    <a:pt x="1100422" y="3050381"/>
                    <a:pt x="1103185" y="3053143"/>
                    <a:pt x="1103185" y="3056572"/>
                  </a:cubicBezTo>
                  <a:cubicBezTo>
                    <a:pt x="1103185" y="3060001"/>
                    <a:pt x="1100422" y="3062764"/>
                    <a:pt x="1096993" y="3062764"/>
                  </a:cubicBezTo>
                  <a:cubicBezTo>
                    <a:pt x="1093564" y="3062764"/>
                    <a:pt x="1090802" y="3060001"/>
                    <a:pt x="1090802" y="3056572"/>
                  </a:cubicBezTo>
                  <a:cubicBezTo>
                    <a:pt x="1090802" y="3053143"/>
                    <a:pt x="1093564" y="3050381"/>
                    <a:pt x="1096993" y="3050381"/>
                  </a:cubicBezTo>
                  <a:close/>
                  <a:moveTo>
                    <a:pt x="2105500" y="3050096"/>
                  </a:moveTo>
                  <a:cubicBezTo>
                    <a:pt x="2108929" y="3050096"/>
                    <a:pt x="2111692" y="3052858"/>
                    <a:pt x="2111692" y="3056287"/>
                  </a:cubicBezTo>
                  <a:cubicBezTo>
                    <a:pt x="2111692" y="3059716"/>
                    <a:pt x="2108929" y="3062479"/>
                    <a:pt x="2105500" y="3062479"/>
                  </a:cubicBezTo>
                  <a:cubicBezTo>
                    <a:pt x="2102071" y="3062479"/>
                    <a:pt x="2099309" y="3059716"/>
                    <a:pt x="2099309" y="3056287"/>
                  </a:cubicBezTo>
                  <a:cubicBezTo>
                    <a:pt x="2099309" y="3052858"/>
                    <a:pt x="2102071" y="3050096"/>
                    <a:pt x="2105500" y="3050096"/>
                  </a:cubicBezTo>
                  <a:close/>
                  <a:moveTo>
                    <a:pt x="944403" y="3048191"/>
                  </a:moveTo>
                  <a:cubicBezTo>
                    <a:pt x="947832" y="3048191"/>
                    <a:pt x="950595" y="3050953"/>
                    <a:pt x="950595" y="3054382"/>
                  </a:cubicBezTo>
                  <a:cubicBezTo>
                    <a:pt x="950595" y="3057811"/>
                    <a:pt x="947832" y="3060573"/>
                    <a:pt x="944403" y="3060573"/>
                  </a:cubicBezTo>
                  <a:cubicBezTo>
                    <a:pt x="940974" y="3060573"/>
                    <a:pt x="938212" y="3057811"/>
                    <a:pt x="938212" y="3054382"/>
                  </a:cubicBezTo>
                  <a:cubicBezTo>
                    <a:pt x="938212" y="3050953"/>
                    <a:pt x="940974" y="3048191"/>
                    <a:pt x="944403" y="3048191"/>
                  </a:cubicBezTo>
                  <a:close/>
                  <a:moveTo>
                    <a:pt x="1468183" y="3047905"/>
                  </a:moveTo>
                  <a:cubicBezTo>
                    <a:pt x="1471612" y="3047905"/>
                    <a:pt x="1474374" y="3050667"/>
                    <a:pt x="1474374" y="3054096"/>
                  </a:cubicBezTo>
                  <a:cubicBezTo>
                    <a:pt x="1474374" y="3057525"/>
                    <a:pt x="1471612" y="3060287"/>
                    <a:pt x="1468183" y="3060287"/>
                  </a:cubicBezTo>
                  <a:cubicBezTo>
                    <a:pt x="1464754" y="3060287"/>
                    <a:pt x="1461992" y="3057525"/>
                    <a:pt x="1461992" y="3054096"/>
                  </a:cubicBezTo>
                  <a:cubicBezTo>
                    <a:pt x="1461992" y="3050667"/>
                    <a:pt x="1464754" y="3047905"/>
                    <a:pt x="1468183" y="3047905"/>
                  </a:cubicBezTo>
                  <a:close/>
                  <a:moveTo>
                    <a:pt x="1910619" y="3043619"/>
                  </a:moveTo>
                  <a:cubicBezTo>
                    <a:pt x="1914048" y="3043619"/>
                    <a:pt x="1916811" y="3046381"/>
                    <a:pt x="1916811" y="3049810"/>
                  </a:cubicBezTo>
                  <a:cubicBezTo>
                    <a:pt x="1916811" y="3053239"/>
                    <a:pt x="1914048" y="3056001"/>
                    <a:pt x="1910619" y="3056001"/>
                  </a:cubicBezTo>
                  <a:cubicBezTo>
                    <a:pt x="1907190" y="3056001"/>
                    <a:pt x="1904428" y="3053239"/>
                    <a:pt x="1904428" y="3049810"/>
                  </a:cubicBezTo>
                  <a:cubicBezTo>
                    <a:pt x="1904428" y="3046381"/>
                    <a:pt x="1907190" y="3043619"/>
                    <a:pt x="1910619" y="3043619"/>
                  </a:cubicBezTo>
                  <a:close/>
                  <a:moveTo>
                    <a:pt x="1190434" y="3042762"/>
                  </a:moveTo>
                  <a:cubicBezTo>
                    <a:pt x="1193863" y="3042762"/>
                    <a:pt x="1196625" y="3045524"/>
                    <a:pt x="1196625" y="3048953"/>
                  </a:cubicBezTo>
                  <a:cubicBezTo>
                    <a:pt x="1196625" y="3052382"/>
                    <a:pt x="1193863" y="3055144"/>
                    <a:pt x="1190434" y="3055144"/>
                  </a:cubicBezTo>
                  <a:cubicBezTo>
                    <a:pt x="1187005" y="3055144"/>
                    <a:pt x="1184243" y="3052382"/>
                    <a:pt x="1184243" y="3048953"/>
                  </a:cubicBezTo>
                  <a:cubicBezTo>
                    <a:pt x="1184243" y="3045524"/>
                    <a:pt x="1187005" y="3042762"/>
                    <a:pt x="1190434" y="3042762"/>
                  </a:cubicBezTo>
                  <a:close/>
                  <a:moveTo>
                    <a:pt x="2478976" y="3041333"/>
                  </a:moveTo>
                  <a:cubicBezTo>
                    <a:pt x="2482405" y="3041333"/>
                    <a:pt x="2485168" y="3044095"/>
                    <a:pt x="2485168" y="3047524"/>
                  </a:cubicBezTo>
                  <a:lnTo>
                    <a:pt x="2480119" y="3052572"/>
                  </a:lnTo>
                  <a:lnTo>
                    <a:pt x="2486215" y="3058668"/>
                  </a:lnTo>
                  <a:lnTo>
                    <a:pt x="2481643" y="3063241"/>
                  </a:lnTo>
                  <a:lnTo>
                    <a:pt x="2486500" y="3068098"/>
                  </a:lnTo>
                  <a:lnTo>
                    <a:pt x="2482452" y="3072146"/>
                  </a:lnTo>
                  <a:lnTo>
                    <a:pt x="2486406" y="3076099"/>
                  </a:lnTo>
                  <a:lnTo>
                    <a:pt x="2482738" y="3079767"/>
                  </a:lnTo>
                  <a:lnTo>
                    <a:pt x="2485834" y="3082862"/>
                  </a:lnTo>
                  <a:lnTo>
                    <a:pt x="2482595" y="3086101"/>
                  </a:lnTo>
                  <a:lnTo>
                    <a:pt x="2485072" y="3088577"/>
                  </a:lnTo>
                  <a:lnTo>
                    <a:pt x="2482072" y="3091577"/>
                  </a:lnTo>
                  <a:lnTo>
                    <a:pt x="2484025" y="3093529"/>
                  </a:lnTo>
                  <a:lnTo>
                    <a:pt x="2481310" y="3096245"/>
                  </a:lnTo>
                  <a:lnTo>
                    <a:pt x="2482976" y="3097911"/>
                  </a:lnTo>
                  <a:lnTo>
                    <a:pt x="2480404" y="3100483"/>
                  </a:lnTo>
                  <a:lnTo>
                    <a:pt x="2481833" y="3101912"/>
                  </a:lnTo>
                  <a:lnTo>
                    <a:pt x="2479500" y="3104245"/>
                  </a:lnTo>
                  <a:lnTo>
                    <a:pt x="2480881" y="3105626"/>
                  </a:lnTo>
                  <a:lnTo>
                    <a:pt x="2478594" y="3107913"/>
                  </a:lnTo>
                  <a:lnTo>
                    <a:pt x="2480023" y="3109341"/>
                  </a:lnTo>
                  <a:lnTo>
                    <a:pt x="2477785" y="3111579"/>
                  </a:lnTo>
                  <a:lnTo>
                    <a:pt x="2479357" y="3113151"/>
                  </a:lnTo>
                  <a:lnTo>
                    <a:pt x="2477167" y="3115342"/>
                  </a:lnTo>
                  <a:lnTo>
                    <a:pt x="2478977" y="3117152"/>
                  </a:lnTo>
                  <a:lnTo>
                    <a:pt x="2476786" y="3119343"/>
                  </a:lnTo>
                  <a:lnTo>
                    <a:pt x="2478976" y="3121533"/>
                  </a:lnTo>
                  <a:lnTo>
                    <a:pt x="2476690" y="3123819"/>
                  </a:lnTo>
                  <a:lnTo>
                    <a:pt x="2479262" y="3126391"/>
                  </a:lnTo>
                  <a:lnTo>
                    <a:pt x="2476975" y="3128678"/>
                  </a:lnTo>
                  <a:lnTo>
                    <a:pt x="2480023" y="3131725"/>
                  </a:lnTo>
                  <a:lnTo>
                    <a:pt x="2477642" y="3134106"/>
                  </a:lnTo>
                  <a:lnTo>
                    <a:pt x="2481263" y="3137726"/>
                  </a:lnTo>
                  <a:lnTo>
                    <a:pt x="2478738" y="3140251"/>
                  </a:lnTo>
                  <a:lnTo>
                    <a:pt x="2482976" y="3144488"/>
                  </a:lnTo>
                  <a:cubicBezTo>
                    <a:pt x="2482976" y="3147917"/>
                    <a:pt x="2480214" y="3150679"/>
                    <a:pt x="2476785" y="3150679"/>
                  </a:cubicBezTo>
                  <a:cubicBezTo>
                    <a:pt x="2473356" y="3150679"/>
                    <a:pt x="2470594" y="3147917"/>
                    <a:pt x="2470594" y="3144488"/>
                  </a:cubicBezTo>
                  <a:lnTo>
                    <a:pt x="2473118" y="3141964"/>
                  </a:lnTo>
                  <a:lnTo>
                    <a:pt x="2468880" y="3137726"/>
                  </a:lnTo>
                  <a:lnTo>
                    <a:pt x="2471261" y="3135345"/>
                  </a:lnTo>
                  <a:lnTo>
                    <a:pt x="2467641" y="3131725"/>
                  </a:lnTo>
                  <a:lnTo>
                    <a:pt x="2469927" y="3129439"/>
                  </a:lnTo>
                  <a:lnTo>
                    <a:pt x="2466879" y="3126391"/>
                  </a:lnTo>
                  <a:lnTo>
                    <a:pt x="2469165" y="3124105"/>
                  </a:lnTo>
                  <a:lnTo>
                    <a:pt x="2466593" y="3121533"/>
                  </a:lnTo>
                  <a:lnTo>
                    <a:pt x="2468784" y="3119342"/>
                  </a:lnTo>
                  <a:lnTo>
                    <a:pt x="2466594" y="3117152"/>
                  </a:lnTo>
                  <a:lnTo>
                    <a:pt x="2468785" y="3114961"/>
                  </a:lnTo>
                  <a:lnTo>
                    <a:pt x="2466975" y="3113151"/>
                  </a:lnTo>
                  <a:lnTo>
                    <a:pt x="2469213" y="3110913"/>
                  </a:lnTo>
                  <a:lnTo>
                    <a:pt x="2467641" y="3109341"/>
                  </a:lnTo>
                  <a:lnTo>
                    <a:pt x="2469928" y="3107055"/>
                  </a:lnTo>
                  <a:lnTo>
                    <a:pt x="2468499" y="3105626"/>
                  </a:lnTo>
                  <a:lnTo>
                    <a:pt x="2470832" y="3103293"/>
                  </a:lnTo>
                  <a:lnTo>
                    <a:pt x="2469451" y="3101912"/>
                  </a:lnTo>
                  <a:lnTo>
                    <a:pt x="2472023" y="3099340"/>
                  </a:lnTo>
                  <a:lnTo>
                    <a:pt x="2470594" y="3097911"/>
                  </a:lnTo>
                  <a:lnTo>
                    <a:pt x="2473309" y="3095196"/>
                  </a:lnTo>
                  <a:lnTo>
                    <a:pt x="2471642" y="3093529"/>
                  </a:lnTo>
                  <a:lnTo>
                    <a:pt x="2474642" y="3090529"/>
                  </a:lnTo>
                  <a:lnTo>
                    <a:pt x="2472690" y="3088577"/>
                  </a:lnTo>
                  <a:lnTo>
                    <a:pt x="2475928" y="3085339"/>
                  </a:lnTo>
                  <a:lnTo>
                    <a:pt x="2473451" y="3082862"/>
                  </a:lnTo>
                  <a:lnTo>
                    <a:pt x="2477118" y="3079195"/>
                  </a:lnTo>
                  <a:lnTo>
                    <a:pt x="2474023" y="3076099"/>
                  </a:lnTo>
                  <a:lnTo>
                    <a:pt x="2478071" y="3072051"/>
                  </a:lnTo>
                  <a:lnTo>
                    <a:pt x="2474118" y="3068098"/>
                  </a:lnTo>
                  <a:lnTo>
                    <a:pt x="2478690" y="3063526"/>
                  </a:lnTo>
                  <a:lnTo>
                    <a:pt x="2473833" y="3058668"/>
                  </a:lnTo>
                  <a:lnTo>
                    <a:pt x="2478881" y="3053620"/>
                  </a:lnTo>
                  <a:lnTo>
                    <a:pt x="2472785" y="3047524"/>
                  </a:lnTo>
                  <a:cubicBezTo>
                    <a:pt x="2472785" y="3044095"/>
                    <a:pt x="2475547" y="3041333"/>
                    <a:pt x="2478976" y="3041333"/>
                  </a:cubicBezTo>
                  <a:close/>
                  <a:moveTo>
                    <a:pt x="883157" y="3040666"/>
                  </a:moveTo>
                  <a:cubicBezTo>
                    <a:pt x="886586" y="3040666"/>
                    <a:pt x="889349" y="3043428"/>
                    <a:pt x="889349" y="3046857"/>
                  </a:cubicBezTo>
                  <a:cubicBezTo>
                    <a:pt x="889349" y="3050286"/>
                    <a:pt x="886586" y="3053048"/>
                    <a:pt x="883157" y="3053048"/>
                  </a:cubicBezTo>
                  <a:cubicBezTo>
                    <a:pt x="879728" y="3053048"/>
                    <a:pt x="876966" y="3050286"/>
                    <a:pt x="876966" y="3046857"/>
                  </a:cubicBezTo>
                  <a:cubicBezTo>
                    <a:pt x="876966" y="3043428"/>
                    <a:pt x="879728" y="3040666"/>
                    <a:pt x="883157" y="3040666"/>
                  </a:cubicBezTo>
                  <a:close/>
                  <a:moveTo>
                    <a:pt x="2351055" y="3040380"/>
                  </a:moveTo>
                  <a:cubicBezTo>
                    <a:pt x="2354484" y="3040380"/>
                    <a:pt x="2357247" y="3043142"/>
                    <a:pt x="2357247" y="3046571"/>
                  </a:cubicBezTo>
                  <a:cubicBezTo>
                    <a:pt x="2357247" y="3050000"/>
                    <a:pt x="2354484" y="3052762"/>
                    <a:pt x="2351055" y="3052762"/>
                  </a:cubicBezTo>
                  <a:cubicBezTo>
                    <a:pt x="2347626" y="3052762"/>
                    <a:pt x="2344864" y="3050000"/>
                    <a:pt x="2344864" y="3046571"/>
                  </a:cubicBezTo>
                  <a:cubicBezTo>
                    <a:pt x="2344864" y="3043142"/>
                    <a:pt x="2347626" y="3040380"/>
                    <a:pt x="2351055" y="3040380"/>
                  </a:cubicBezTo>
                  <a:close/>
                  <a:moveTo>
                    <a:pt x="2272664" y="3039999"/>
                  </a:moveTo>
                  <a:cubicBezTo>
                    <a:pt x="2276093" y="3039999"/>
                    <a:pt x="2278856" y="3042761"/>
                    <a:pt x="2278856" y="3046190"/>
                  </a:cubicBezTo>
                  <a:cubicBezTo>
                    <a:pt x="2278856" y="3049619"/>
                    <a:pt x="2276093" y="3052382"/>
                    <a:pt x="2272664" y="3052382"/>
                  </a:cubicBezTo>
                  <a:cubicBezTo>
                    <a:pt x="2269235" y="3052382"/>
                    <a:pt x="2266473" y="3049619"/>
                    <a:pt x="2266473" y="3046190"/>
                  </a:cubicBezTo>
                  <a:cubicBezTo>
                    <a:pt x="2266473" y="3042761"/>
                    <a:pt x="2269235" y="3039999"/>
                    <a:pt x="2272664" y="3039999"/>
                  </a:cubicBezTo>
                  <a:close/>
                  <a:moveTo>
                    <a:pt x="2649474" y="3039714"/>
                  </a:moveTo>
                  <a:cubicBezTo>
                    <a:pt x="2651473" y="3039714"/>
                    <a:pt x="2653093" y="3041334"/>
                    <a:pt x="2653093" y="3043334"/>
                  </a:cubicBezTo>
                  <a:cubicBezTo>
                    <a:pt x="2653093" y="3045333"/>
                    <a:pt x="2651473" y="3046953"/>
                    <a:pt x="2649474" y="3046953"/>
                  </a:cubicBezTo>
                  <a:cubicBezTo>
                    <a:pt x="2647475" y="3046953"/>
                    <a:pt x="2645854" y="3045333"/>
                    <a:pt x="2645854" y="3043334"/>
                  </a:cubicBezTo>
                  <a:cubicBezTo>
                    <a:pt x="2645854" y="3041334"/>
                    <a:pt x="2647475" y="3039714"/>
                    <a:pt x="2649474" y="3039714"/>
                  </a:cubicBezTo>
                  <a:close/>
                  <a:moveTo>
                    <a:pt x="1381410" y="3039142"/>
                  </a:moveTo>
                  <a:cubicBezTo>
                    <a:pt x="1384839" y="3039142"/>
                    <a:pt x="1387601" y="3041904"/>
                    <a:pt x="1387601" y="3045333"/>
                  </a:cubicBezTo>
                  <a:cubicBezTo>
                    <a:pt x="1387601" y="3048762"/>
                    <a:pt x="1384839" y="3051524"/>
                    <a:pt x="1381410" y="3051524"/>
                  </a:cubicBezTo>
                  <a:cubicBezTo>
                    <a:pt x="1377981" y="3051524"/>
                    <a:pt x="1375219" y="3048762"/>
                    <a:pt x="1375219" y="3045333"/>
                  </a:cubicBezTo>
                  <a:cubicBezTo>
                    <a:pt x="1375219" y="3041904"/>
                    <a:pt x="1377981" y="3039142"/>
                    <a:pt x="1381410" y="3039142"/>
                  </a:cubicBezTo>
                  <a:close/>
                  <a:moveTo>
                    <a:pt x="2418873" y="3036094"/>
                  </a:moveTo>
                  <a:cubicBezTo>
                    <a:pt x="2422302" y="3036094"/>
                    <a:pt x="2425065" y="3038856"/>
                    <a:pt x="2425065" y="3042285"/>
                  </a:cubicBezTo>
                  <a:cubicBezTo>
                    <a:pt x="2425065" y="3045714"/>
                    <a:pt x="2422302" y="3048477"/>
                    <a:pt x="2418873" y="3048477"/>
                  </a:cubicBezTo>
                  <a:cubicBezTo>
                    <a:pt x="2415444" y="3048477"/>
                    <a:pt x="2412682" y="3045714"/>
                    <a:pt x="2412682" y="3042285"/>
                  </a:cubicBezTo>
                  <a:cubicBezTo>
                    <a:pt x="2412682" y="3038856"/>
                    <a:pt x="2415444" y="3036094"/>
                    <a:pt x="2418873" y="3036094"/>
                  </a:cubicBezTo>
                  <a:close/>
                  <a:moveTo>
                    <a:pt x="2182748" y="3033713"/>
                  </a:moveTo>
                  <a:cubicBezTo>
                    <a:pt x="2186177" y="3033713"/>
                    <a:pt x="2188940" y="3036475"/>
                    <a:pt x="2188940" y="3039904"/>
                  </a:cubicBezTo>
                  <a:cubicBezTo>
                    <a:pt x="2188940" y="3043333"/>
                    <a:pt x="2186177" y="3046096"/>
                    <a:pt x="2182748" y="3046096"/>
                  </a:cubicBezTo>
                  <a:cubicBezTo>
                    <a:pt x="2179319" y="3046096"/>
                    <a:pt x="2176557" y="3043333"/>
                    <a:pt x="2176557" y="3039904"/>
                  </a:cubicBezTo>
                  <a:cubicBezTo>
                    <a:pt x="2176557" y="3036475"/>
                    <a:pt x="2179319" y="3033713"/>
                    <a:pt x="2182748" y="3033713"/>
                  </a:cubicBezTo>
                  <a:close/>
                  <a:moveTo>
                    <a:pt x="1996535" y="3033237"/>
                  </a:moveTo>
                  <a:cubicBezTo>
                    <a:pt x="1999964" y="3033237"/>
                    <a:pt x="2002726" y="3035999"/>
                    <a:pt x="2002726" y="3039428"/>
                  </a:cubicBezTo>
                  <a:cubicBezTo>
                    <a:pt x="2002726" y="3042857"/>
                    <a:pt x="1999964" y="3045619"/>
                    <a:pt x="1996535" y="3045619"/>
                  </a:cubicBezTo>
                  <a:cubicBezTo>
                    <a:pt x="1993106" y="3045619"/>
                    <a:pt x="1990344" y="3042857"/>
                    <a:pt x="1990344" y="3039428"/>
                  </a:cubicBezTo>
                  <a:cubicBezTo>
                    <a:pt x="1990344" y="3035999"/>
                    <a:pt x="1993106" y="3033237"/>
                    <a:pt x="1996535" y="3033237"/>
                  </a:cubicBezTo>
                  <a:close/>
                  <a:moveTo>
                    <a:pt x="1027651" y="3030570"/>
                  </a:moveTo>
                  <a:cubicBezTo>
                    <a:pt x="1031080" y="3030570"/>
                    <a:pt x="1033843" y="3033332"/>
                    <a:pt x="1033843" y="3036761"/>
                  </a:cubicBezTo>
                  <a:cubicBezTo>
                    <a:pt x="1033843" y="3040190"/>
                    <a:pt x="1031080" y="3042952"/>
                    <a:pt x="1027651" y="3042952"/>
                  </a:cubicBezTo>
                  <a:cubicBezTo>
                    <a:pt x="1024222" y="3042952"/>
                    <a:pt x="1021460" y="3040190"/>
                    <a:pt x="1021460" y="3036761"/>
                  </a:cubicBezTo>
                  <a:cubicBezTo>
                    <a:pt x="1021460" y="3033332"/>
                    <a:pt x="1024222" y="3030570"/>
                    <a:pt x="1027651" y="3030570"/>
                  </a:cubicBezTo>
                  <a:close/>
                  <a:moveTo>
                    <a:pt x="830389" y="3030284"/>
                  </a:moveTo>
                  <a:cubicBezTo>
                    <a:pt x="833818" y="3030284"/>
                    <a:pt x="836581" y="3033046"/>
                    <a:pt x="836581" y="3036475"/>
                  </a:cubicBezTo>
                  <a:lnTo>
                    <a:pt x="830865" y="3042191"/>
                  </a:lnTo>
                  <a:lnTo>
                    <a:pt x="836485" y="3047810"/>
                  </a:lnTo>
                  <a:lnTo>
                    <a:pt x="831913" y="3052382"/>
                  </a:lnTo>
                  <a:lnTo>
                    <a:pt x="836962" y="3057430"/>
                  </a:lnTo>
                  <a:lnTo>
                    <a:pt x="833342" y="3061050"/>
                  </a:lnTo>
                  <a:lnTo>
                    <a:pt x="837914" y="3065621"/>
                  </a:lnTo>
                  <a:lnTo>
                    <a:pt x="835103" y="3068431"/>
                  </a:lnTo>
                  <a:lnTo>
                    <a:pt x="839248" y="3072575"/>
                  </a:lnTo>
                  <a:lnTo>
                    <a:pt x="836962" y="3074861"/>
                  </a:lnTo>
                  <a:lnTo>
                    <a:pt x="840676" y="3078575"/>
                  </a:lnTo>
                  <a:lnTo>
                    <a:pt x="838866" y="3080385"/>
                  </a:lnTo>
                  <a:lnTo>
                    <a:pt x="842296" y="3083814"/>
                  </a:lnTo>
                  <a:lnTo>
                    <a:pt x="840819" y="3085291"/>
                  </a:lnTo>
                  <a:lnTo>
                    <a:pt x="844010" y="3088481"/>
                  </a:lnTo>
                  <a:lnTo>
                    <a:pt x="842676" y="3089815"/>
                  </a:lnTo>
                  <a:lnTo>
                    <a:pt x="845629" y="3092768"/>
                  </a:lnTo>
                  <a:lnTo>
                    <a:pt x="844343" y="3094054"/>
                  </a:lnTo>
                  <a:lnTo>
                    <a:pt x="847058" y="3096768"/>
                  </a:lnTo>
                  <a:lnTo>
                    <a:pt x="845724" y="3098102"/>
                  </a:lnTo>
                  <a:lnTo>
                    <a:pt x="848392" y="3100769"/>
                  </a:lnTo>
                  <a:lnTo>
                    <a:pt x="846820" y="3102341"/>
                  </a:lnTo>
                  <a:lnTo>
                    <a:pt x="849439" y="3104960"/>
                  </a:lnTo>
                  <a:lnTo>
                    <a:pt x="847629" y="3106770"/>
                  </a:lnTo>
                  <a:lnTo>
                    <a:pt x="850106" y="3109246"/>
                  </a:lnTo>
                  <a:lnTo>
                    <a:pt x="847915" y="3111437"/>
                  </a:lnTo>
                  <a:lnTo>
                    <a:pt x="850487" y="3114008"/>
                  </a:lnTo>
                  <a:lnTo>
                    <a:pt x="847867" y="3116628"/>
                  </a:lnTo>
                  <a:lnTo>
                    <a:pt x="850391" y="3119152"/>
                  </a:lnTo>
                  <a:lnTo>
                    <a:pt x="847343" y="3122200"/>
                  </a:lnTo>
                  <a:lnTo>
                    <a:pt x="849916" y="3124772"/>
                  </a:lnTo>
                  <a:cubicBezTo>
                    <a:pt x="849916" y="3128191"/>
                    <a:pt x="847144" y="3130963"/>
                    <a:pt x="843724" y="3130963"/>
                  </a:cubicBezTo>
                  <a:cubicBezTo>
                    <a:pt x="840305" y="3130963"/>
                    <a:pt x="837533" y="3128191"/>
                    <a:pt x="837533" y="3124772"/>
                  </a:cubicBezTo>
                  <a:lnTo>
                    <a:pt x="840581" y="3121724"/>
                  </a:lnTo>
                  <a:lnTo>
                    <a:pt x="838009" y="3119152"/>
                  </a:lnTo>
                  <a:lnTo>
                    <a:pt x="840628" y="3116533"/>
                  </a:lnTo>
                  <a:lnTo>
                    <a:pt x="838104" y="3114008"/>
                  </a:lnTo>
                  <a:lnTo>
                    <a:pt x="840294" y="3111818"/>
                  </a:lnTo>
                  <a:lnTo>
                    <a:pt x="837723" y="3109246"/>
                  </a:lnTo>
                  <a:lnTo>
                    <a:pt x="839533" y="3107437"/>
                  </a:lnTo>
                  <a:lnTo>
                    <a:pt x="837056" y="3104960"/>
                  </a:lnTo>
                  <a:lnTo>
                    <a:pt x="838628" y="3103388"/>
                  </a:lnTo>
                  <a:lnTo>
                    <a:pt x="836009" y="3100769"/>
                  </a:lnTo>
                  <a:lnTo>
                    <a:pt x="837342" y="3099436"/>
                  </a:lnTo>
                  <a:lnTo>
                    <a:pt x="834675" y="3096768"/>
                  </a:lnTo>
                  <a:lnTo>
                    <a:pt x="835961" y="3095482"/>
                  </a:lnTo>
                  <a:lnTo>
                    <a:pt x="833247" y="3092768"/>
                  </a:lnTo>
                  <a:lnTo>
                    <a:pt x="834580" y="3091435"/>
                  </a:lnTo>
                  <a:lnTo>
                    <a:pt x="831627" y="3088481"/>
                  </a:lnTo>
                  <a:lnTo>
                    <a:pt x="833104" y="3087005"/>
                  </a:lnTo>
                  <a:lnTo>
                    <a:pt x="829913" y="3083814"/>
                  </a:lnTo>
                  <a:lnTo>
                    <a:pt x="831722" y="3082005"/>
                  </a:lnTo>
                  <a:lnTo>
                    <a:pt x="828293" y="3078575"/>
                  </a:lnTo>
                  <a:lnTo>
                    <a:pt x="830579" y="3076289"/>
                  </a:lnTo>
                  <a:lnTo>
                    <a:pt x="826865" y="3072575"/>
                  </a:lnTo>
                  <a:lnTo>
                    <a:pt x="829675" y="3069765"/>
                  </a:lnTo>
                  <a:lnTo>
                    <a:pt x="825531" y="3065621"/>
                  </a:lnTo>
                  <a:lnTo>
                    <a:pt x="829150" y="3062002"/>
                  </a:lnTo>
                  <a:lnTo>
                    <a:pt x="824579" y="3057430"/>
                  </a:lnTo>
                  <a:lnTo>
                    <a:pt x="829151" y="3052859"/>
                  </a:lnTo>
                  <a:lnTo>
                    <a:pt x="824102" y="3047810"/>
                  </a:lnTo>
                  <a:lnTo>
                    <a:pt x="829818" y="3042095"/>
                  </a:lnTo>
                  <a:lnTo>
                    <a:pt x="824198" y="3036475"/>
                  </a:lnTo>
                  <a:cubicBezTo>
                    <a:pt x="824198" y="3033046"/>
                    <a:pt x="826960" y="3030284"/>
                    <a:pt x="830389" y="3030284"/>
                  </a:cubicBezTo>
                  <a:close/>
                  <a:moveTo>
                    <a:pt x="952118" y="3030093"/>
                  </a:moveTo>
                  <a:cubicBezTo>
                    <a:pt x="955538" y="3030093"/>
                    <a:pt x="958310" y="3032865"/>
                    <a:pt x="958310" y="3036284"/>
                  </a:cubicBezTo>
                  <a:cubicBezTo>
                    <a:pt x="958310" y="3039704"/>
                    <a:pt x="955538" y="3042476"/>
                    <a:pt x="952118" y="3042476"/>
                  </a:cubicBezTo>
                  <a:cubicBezTo>
                    <a:pt x="948699" y="3042476"/>
                    <a:pt x="945927" y="3039704"/>
                    <a:pt x="945927" y="3036284"/>
                  </a:cubicBezTo>
                  <a:cubicBezTo>
                    <a:pt x="945927" y="3032865"/>
                    <a:pt x="948699" y="3030093"/>
                    <a:pt x="952118" y="3030093"/>
                  </a:cubicBezTo>
                  <a:close/>
                  <a:moveTo>
                    <a:pt x="694372" y="3029807"/>
                  </a:moveTo>
                  <a:cubicBezTo>
                    <a:pt x="695705" y="3029807"/>
                    <a:pt x="696848" y="3030950"/>
                    <a:pt x="696848" y="3032284"/>
                  </a:cubicBezTo>
                  <a:cubicBezTo>
                    <a:pt x="696848" y="3033617"/>
                    <a:pt x="695705" y="3034760"/>
                    <a:pt x="694372" y="3034760"/>
                  </a:cubicBezTo>
                  <a:cubicBezTo>
                    <a:pt x="692943" y="3034760"/>
                    <a:pt x="691895" y="3033617"/>
                    <a:pt x="691895" y="3032284"/>
                  </a:cubicBezTo>
                  <a:cubicBezTo>
                    <a:pt x="691895" y="3030950"/>
                    <a:pt x="693038" y="3029807"/>
                    <a:pt x="694372" y="3029807"/>
                  </a:cubicBezTo>
                  <a:close/>
                  <a:moveTo>
                    <a:pt x="2526410" y="3028950"/>
                  </a:moveTo>
                  <a:cubicBezTo>
                    <a:pt x="2529839" y="3028950"/>
                    <a:pt x="2532602" y="3031712"/>
                    <a:pt x="2532602" y="3035141"/>
                  </a:cubicBezTo>
                  <a:lnTo>
                    <a:pt x="2526982" y="3040761"/>
                  </a:lnTo>
                  <a:lnTo>
                    <a:pt x="2531173" y="3044952"/>
                  </a:lnTo>
                  <a:lnTo>
                    <a:pt x="2526030" y="3050096"/>
                  </a:lnTo>
                  <a:lnTo>
                    <a:pt x="2529363" y="3053429"/>
                  </a:lnTo>
                  <a:lnTo>
                    <a:pt x="2524696" y="3058097"/>
                  </a:lnTo>
                  <a:lnTo>
                    <a:pt x="2527267" y="3060668"/>
                  </a:lnTo>
                  <a:lnTo>
                    <a:pt x="2522981" y="3064955"/>
                  </a:lnTo>
                  <a:lnTo>
                    <a:pt x="2524981" y="3066955"/>
                  </a:lnTo>
                  <a:lnTo>
                    <a:pt x="2521077" y="3070860"/>
                  </a:lnTo>
                  <a:lnTo>
                    <a:pt x="2522696" y="3072479"/>
                  </a:lnTo>
                  <a:lnTo>
                    <a:pt x="2519076" y="3076099"/>
                  </a:lnTo>
                  <a:lnTo>
                    <a:pt x="2520409" y="3077432"/>
                  </a:lnTo>
                  <a:lnTo>
                    <a:pt x="2516980" y="3080862"/>
                  </a:lnTo>
                  <a:lnTo>
                    <a:pt x="2518219" y="3082100"/>
                  </a:lnTo>
                  <a:lnTo>
                    <a:pt x="2515028" y="3085291"/>
                  </a:lnTo>
                  <a:lnTo>
                    <a:pt x="2516219" y="3086481"/>
                  </a:lnTo>
                  <a:lnTo>
                    <a:pt x="2513123" y="3089577"/>
                  </a:lnTo>
                  <a:lnTo>
                    <a:pt x="2514504" y="3090958"/>
                  </a:lnTo>
                  <a:lnTo>
                    <a:pt x="2511551" y="3093911"/>
                  </a:lnTo>
                  <a:lnTo>
                    <a:pt x="2513075" y="3095435"/>
                  </a:lnTo>
                  <a:lnTo>
                    <a:pt x="2510170" y="3098340"/>
                  </a:lnTo>
                  <a:lnTo>
                    <a:pt x="2511932" y="3100102"/>
                  </a:lnTo>
                  <a:lnTo>
                    <a:pt x="2509027" y="3103007"/>
                  </a:lnTo>
                  <a:lnTo>
                    <a:pt x="2511265" y="3105245"/>
                  </a:lnTo>
                  <a:lnTo>
                    <a:pt x="2508360" y="3108150"/>
                  </a:lnTo>
                  <a:lnTo>
                    <a:pt x="2510980" y="3110770"/>
                  </a:lnTo>
                  <a:lnTo>
                    <a:pt x="2508075" y="3113676"/>
                  </a:lnTo>
                  <a:lnTo>
                    <a:pt x="2511265" y="3116866"/>
                  </a:lnTo>
                  <a:lnTo>
                    <a:pt x="2508265" y="3119866"/>
                  </a:lnTo>
                  <a:lnTo>
                    <a:pt x="2512028" y="3123628"/>
                  </a:lnTo>
                  <a:lnTo>
                    <a:pt x="2508694" y="3126962"/>
                  </a:lnTo>
                  <a:lnTo>
                    <a:pt x="2512789" y="3131058"/>
                  </a:lnTo>
                  <a:cubicBezTo>
                    <a:pt x="2512789" y="3134201"/>
                    <a:pt x="2510313" y="3136677"/>
                    <a:pt x="2507170" y="3136677"/>
                  </a:cubicBezTo>
                  <a:cubicBezTo>
                    <a:pt x="2504027" y="3136677"/>
                    <a:pt x="2501550" y="3134201"/>
                    <a:pt x="2501550" y="3131058"/>
                  </a:cubicBezTo>
                  <a:lnTo>
                    <a:pt x="2504313" y="3128296"/>
                  </a:lnTo>
                  <a:lnTo>
                    <a:pt x="2499645" y="3123628"/>
                  </a:lnTo>
                  <a:lnTo>
                    <a:pt x="2502645" y="3120628"/>
                  </a:lnTo>
                  <a:lnTo>
                    <a:pt x="2498883" y="3116866"/>
                  </a:lnTo>
                  <a:lnTo>
                    <a:pt x="2501788" y="3113961"/>
                  </a:lnTo>
                  <a:lnTo>
                    <a:pt x="2498598" y="3110770"/>
                  </a:lnTo>
                  <a:lnTo>
                    <a:pt x="2501503" y="3107865"/>
                  </a:lnTo>
                  <a:lnTo>
                    <a:pt x="2498883" y="3105245"/>
                  </a:lnTo>
                  <a:lnTo>
                    <a:pt x="2501788" y="3102340"/>
                  </a:lnTo>
                  <a:lnTo>
                    <a:pt x="2499550" y="3100102"/>
                  </a:lnTo>
                  <a:lnTo>
                    <a:pt x="2502455" y="3097197"/>
                  </a:lnTo>
                  <a:lnTo>
                    <a:pt x="2500693" y="3095435"/>
                  </a:lnTo>
                  <a:lnTo>
                    <a:pt x="2503646" y="3092482"/>
                  </a:lnTo>
                  <a:lnTo>
                    <a:pt x="2502122" y="3090958"/>
                  </a:lnTo>
                  <a:lnTo>
                    <a:pt x="2505217" y="3087863"/>
                  </a:lnTo>
                  <a:lnTo>
                    <a:pt x="2503836" y="3086481"/>
                  </a:lnTo>
                  <a:lnTo>
                    <a:pt x="2507027" y="3083291"/>
                  </a:lnTo>
                  <a:lnTo>
                    <a:pt x="2505836" y="3082100"/>
                  </a:lnTo>
                  <a:lnTo>
                    <a:pt x="2509265" y="3078671"/>
                  </a:lnTo>
                  <a:lnTo>
                    <a:pt x="2508027" y="3077432"/>
                  </a:lnTo>
                  <a:lnTo>
                    <a:pt x="2511646" y="3073813"/>
                  </a:lnTo>
                  <a:lnTo>
                    <a:pt x="2510313" y="3072479"/>
                  </a:lnTo>
                  <a:lnTo>
                    <a:pt x="2514218" y="3068574"/>
                  </a:lnTo>
                  <a:lnTo>
                    <a:pt x="2512599" y="3066955"/>
                  </a:lnTo>
                  <a:lnTo>
                    <a:pt x="2516885" y="3062669"/>
                  </a:lnTo>
                  <a:lnTo>
                    <a:pt x="2514885" y="3060668"/>
                  </a:lnTo>
                  <a:lnTo>
                    <a:pt x="2519552" y="3056001"/>
                  </a:lnTo>
                  <a:lnTo>
                    <a:pt x="2516981" y="3053429"/>
                  </a:lnTo>
                  <a:lnTo>
                    <a:pt x="2522124" y="3048286"/>
                  </a:lnTo>
                  <a:lnTo>
                    <a:pt x="2518791" y="3044952"/>
                  </a:lnTo>
                  <a:lnTo>
                    <a:pt x="2524410" y="3039333"/>
                  </a:lnTo>
                  <a:lnTo>
                    <a:pt x="2520219" y="3035141"/>
                  </a:lnTo>
                  <a:cubicBezTo>
                    <a:pt x="2520219" y="3031712"/>
                    <a:pt x="2522981" y="3028950"/>
                    <a:pt x="2526410" y="3028950"/>
                  </a:cubicBezTo>
                  <a:close/>
                  <a:moveTo>
                    <a:pt x="2676334" y="3028760"/>
                  </a:moveTo>
                  <a:cubicBezTo>
                    <a:pt x="2676524" y="3028760"/>
                    <a:pt x="2676619" y="3028855"/>
                    <a:pt x="2676619" y="3029046"/>
                  </a:cubicBezTo>
                  <a:cubicBezTo>
                    <a:pt x="2676619" y="3029236"/>
                    <a:pt x="2676334" y="3029331"/>
                    <a:pt x="2676334" y="3029331"/>
                  </a:cubicBezTo>
                  <a:cubicBezTo>
                    <a:pt x="2676143" y="3029331"/>
                    <a:pt x="2676048" y="3029236"/>
                    <a:pt x="2676048" y="3029046"/>
                  </a:cubicBezTo>
                  <a:cubicBezTo>
                    <a:pt x="2676048" y="3028855"/>
                    <a:pt x="2676143" y="3028760"/>
                    <a:pt x="2676334" y="3028760"/>
                  </a:cubicBezTo>
                  <a:close/>
                  <a:moveTo>
                    <a:pt x="2477261" y="3028093"/>
                  </a:moveTo>
                  <a:cubicBezTo>
                    <a:pt x="2480690" y="3028093"/>
                    <a:pt x="2483453" y="3030855"/>
                    <a:pt x="2483453" y="3034284"/>
                  </a:cubicBezTo>
                  <a:cubicBezTo>
                    <a:pt x="2483453" y="3037713"/>
                    <a:pt x="2480690" y="3040476"/>
                    <a:pt x="2477261" y="3040476"/>
                  </a:cubicBezTo>
                  <a:cubicBezTo>
                    <a:pt x="2473832" y="3040476"/>
                    <a:pt x="2471070" y="3037713"/>
                    <a:pt x="2471070" y="3034284"/>
                  </a:cubicBezTo>
                  <a:cubicBezTo>
                    <a:pt x="2471070" y="3030855"/>
                    <a:pt x="2473832" y="3028093"/>
                    <a:pt x="2477261" y="3028093"/>
                  </a:cubicBezTo>
                  <a:close/>
                  <a:moveTo>
                    <a:pt x="787241" y="3027903"/>
                  </a:moveTo>
                  <a:cubicBezTo>
                    <a:pt x="790670" y="3027903"/>
                    <a:pt x="793433" y="3030665"/>
                    <a:pt x="793433" y="3034094"/>
                  </a:cubicBezTo>
                  <a:lnTo>
                    <a:pt x="790384" y="3037142"/>
                  </a:lnTo>
                  <a:lnTo>
                    <a:pt x="796004" y="3042761"/>
                  </a:lnTo>
                  <a:lnTo>
                    <a:pt x="793669" y="3045095"/>
                  </a:lnTo>
                  <a:lnTo>
                    <a:pt x="798766" y="3050191"/>
                  </a:lnTo>
                  <a:lnTo>
                    <a:pt x="796909" y="3052048"/>
                  </a:lnTo>
                  <a:lnTo>
                    <a:pt x="801624" y="3056763"/>
                  </a:lnTo>
                  <a:lnTo>
                    <a:pt x="800147" y="3058240"/>
                  </a:lnTo>
                  <a:lnTo>
                    <a:pt x="804481" y="3062573"/>
                  </a:lnTo>
                  <a:lnTo>
                    <a:pt x="803195" y="3063859"/>
                  </a:lnTo>
                  <a:lnTo>
                    <a:pt x="807244" y="3067907"/>
                  </a:lnTo>
                  <a:lnTo>
                    <a:pt x="806101" y="3069051"/>
                  </a:lnTo>
                  <a:lnTo>
                    <a:pt x="809910" y="3072860"/>
                  </a:lnTo>
                  <a:lnTo>
                    <a:pt x="808767" y="3074004"/>
                  </a:lnTo>
                  <a:lnTo>
                    <a:pt x="812291" y="3077528"/>
                  </a:lnTo>
                  <a:lnTo>
                    <a:pt x="811006" y="3078814"/>
                  </a:lnTo>
                  <a:lnTo>
                    <a:pt x="814483" y="3082290"/>
                  </a:lnTo>
                  <a:lnTo>
                    <a:pt x="812958" y="3083815"/>
                  </a:lnTo>
                  <a:lnTo>
                    <a:pt x="816292" y="3087148"/>
                  </a:lnTo>
                  <a:lnTo>
                    <a:pt x="814435" y="3089006"/>
                  </a:lnTo>
                  <a:lnTo>
                    <a:pt x="817625" y="3092196"/>
                  </a:lnTo>
                  <a:lnTo>
                    <a:pt x="815482" y="3094339"/>
                  </a:lnTo>
                  <a:lnTo>
                    <a:pt x="818673" y="3097530"/>
                  </a:lnTo>
                  <a:lnTo>
                    <a:pt x="815863" y="3100340"/>
                  </a:lnTo>
                  <a:lnTo>
                    <a:pt x="819054" y="3103531"/>
                  </a:lnTo>
                  <a:lnTo>
                    <a:pt x="814578" y="3108007"/>
                  </a:lnTo>
                  <a:lnTo>
                    <a:pt x="816483" y="3109912"/>
                  </a:lnTo>
                  <a:cubicBezTo>
                    <a:pt x="816483" y="3111911"/>
                    <a:pt x="814862" y="3113532"/>
                    <a:pt x="812864" y="3113532"/>
                  </a:cubicBezTo>
                  <a:cubicBezTo>
                    <a:pt x="810865" y="3113532"/>
                    <a:pt x="809244" y="3111911"/>
                    <a:pt x="809244" y="3109912"/>
                  </a:cubicBezTo>
                  <a:lnTo>
                    <a:pt x="811149" y="3108008"/>
                  </a:lnTo>
                  <a:lnTo>
                    <a:pt x="806672" y="3103531"/>
                  </a:lnTo>
                  <a:lnTo>
                    <a:pt x="809482" y="3100721"/>
                  </a:lnTo>
                  <a:lnTo>
                    <a:pt x="806291" y="3097530"/>
                  </a:lnTo>
                  <a:lnTo>
                    <a:pt x="808434" y="3095387"/>
                  </a:lnTo>
                  <a:lnTo>
                    <a:pt x="805243" y="3092196"/>
                  </a:lnTo>
                  <a:lnTo>
                    <a:pt x="807101" y="3090339"/>
                  </a:lnTo>
                  <a:lnTo>
                    <a:pt x="803910" y="3087148"/>
                  </a:lnTo>
                  <a:lnTo>
                    <a:pt x="805434" y="3085624"/>
                  </a:lnTo>
                  <a:lnTo>
                    <a:pt x="802100" y="3082290"/>
                  </a:lnTo>
                  <a:lnTo>
                    <a:pt x="803386" y="3081005"/>
                  </a:lnTo>
                  <a:lnTo>
                    <a:pt x="799909" y="3077528"/>
                  </a:lnTo>
                  <a:lnTo>
                    <a:pt x="801053" y="3076385"/>
                  </a:lnTo>
                  <a:lnTo>
                    <a:pt x="797528" y="3072860"/>
                  </a:lnTo>
                  <a:lnTo>
                    <a:pt x="798671" y="3071718"/>
                  </a:lnTo>
                  <a:lnTo>
                    <a:pt x="794861" y="3067907"/>
                  </a:lnTo>
                  <a:lnTo>
                    <a:pt x="796147" y="3066622"/>
                  </a:lnTo>
                  <a:lnTo>
                    <a:pt x="792099" y="3062573"/>
                  </a:lnTo>
                  <a:lnTo>
                    <a:pt x="793575" y="3061097"/>
                  </a:lnTo>
                  <a:lnTo>
                    <a:pt x="789241" y="3056763"/>
                  </a:lnTo>
                  <a:lnTo>
                    <a:pt x="791098" y="3054906"/>
                  </a:lnTo>
                  <a:lnTo>
                    <a:pt x="786383" y="3050191"/>
                  </a:lnTo>
                  <a:lnTo>
                    <a:pt x="788717" y="3047857"/>
                  </a:lnTo>
                  <a:lnTo>
                    <a:pt x="783621" y="3042761"/>
                  </a:lnTo>
                  <a:lnTo>
                    <a:pt x="786669" y="3039713"/>
                  </a:lnTo>
                  <a:lnTo>
                    <a:pt x="781050" y="3034094"/>
                  </a:lnTo>
                  <a:cubicBezTo>
                    <a:pt x="781050" y="3030665"/>
                    <a:pt x="783812" y="3027903"/>
                    <a:pt x="787241" y="3027903"/>
                  </a:cubicBezTo>
                  <a:close/>
                  <a:moveTo>
                    <a:pt x="1296542" y="3027521"/>
                  </a:moveTo>
                  <a:cubicBezTo>
                    <a:pt x="1299971" y="3027521"/>
                    <a:pt x="1302734" y="3030283"/>
                    <a:pt x="1302734" y="3033712"/>
                  </a:cubicBezTo>
                  <a:cubicBezTo>
                    <a:pt x="1302734" y="3037141"/>
                    <a:pt x="1299971" y="3039904"/>
                    <a:pt x="1296542" y="3039904"/>
                  </a:cubicBezTo>
                  <a:cubicBezTo>
                    <a:pt x="1293113" y="3039904"/>
                    <a:pt x="1290351" y="3037141"/>
                    <a:pt x="1290351" y="3033712"/>
                  </a:cubicBezTo>
                  <a:cubicBezTo>
                    <a:pt x="1290351" y="3030283"/>
                    <a:pt x="1293113" y="3027521"/>
                    <a:pt x="1296542" y="3027521"/>
                  </a:cubicBezTo>
                  <a:close/>
                  <a:moveTo>
                    <a:pt x="1114615" y="3025331"/>
                  </a:moveTo>
                  <a:cubicBezTo>
                    <a:pt x="1118044" y="3025331"/>
                    <a:pt x="1120806" y="3028093"/>
                    <a:pt x="1120806" y="3031522"/>
                  </a:cubicBezTo>
                  <a:cubicBezTo>
                    <a:pt x="1120806" y="3034951"/>
                    <a:pt x="1118044" y="3037714"/>
                    <a:pt x="1114615" y="3037714"/>
                  </a:cubicBezTo>
                  <a:cubicBezTo>
                    <a:pt x="1111186" y="3037714"/>
                    <a:pt x="1108424" y="3034951"/>
                    <a:pt x="1108424" y="3031522"/>
                  </a:cubicBezTo>
                  <a:cubicBezTo>
                    <a:pt x="1108424" y="3028093"/>
                    <a:pt x="1111186" y="3025331"/>
                    <a:pt x="1114615" y="3025331"/>
                  </a:cubicBezTo>
                  <a:close/>
                  <a:moveTo>
                    <a:pt x="887063" y="3025236"/>
                  </a:moveTo>
                  <a:cubicBezTo>
                    <a:pt x="890492" y="3025236"/>
                    <a:pt x="893254" y="3027998"/>
                    <a:pt x="893254" y="3031427"/>
                  </a:cubicBezTo>
                  <a:cubicBezTo>
                    <a:pt x="893254" y="3034856"/>
                    <a:pt x="890492" y="3037618"/>
                    <a:pt x="887063" y="3037618"/>
                  </a:cubicBezTo>
                  <a:cubicBezTo>
                    <a:pt x="883634" y="3037618"/>
                    <a:pt x="880872" y="3034856"/>
                    <a:pt x="880872" y="3031427"/>
                  </a:cubicBezTo>
                  <a:cubicBezTo>
                    <a:pt x="880872" y="3027998"/>
                    <a:pt x="883634" y="3025236"/>
                    <a:pt x="887063" y="3025236"/>
                  </a:cubicBezTo>
                  <a:close/>
                  <a:moveTo>
                    <a:pt x="2563939" y="3024093"/>
                  </a:moveTo>
                  <a:cubicBezTo>
                    <a:pt x="2567368" y="3024093"/>
                    <a:pt x="2570130" y="3026855"/>
                    <a:pt x="2570130" y="3030284"/>
                  </a:cubicBezTo>
                  <a:lnTo>
                    <a:pt x="2564511" y="3035904"/>
                  </a:lnTo>
                  <a:lnTo>
                    <a:pt x="2566701" y="3038094"/>
                  </a:lnTo>
                  <a:lnTo>
                    <a:pt x="2561510" y="3043286"/>
                  </a:lnTo>
                  <a:lnTo>
                    <a:pt x="2563177" y="3044952"/>
                  </a:lnTo>
                  <a:lnTo>
                    <a:pt x="2558319" y="3049810"/>
                  </a:lnTo>
                  <a:lnTo>
                    <a:pt x="2559653" y="3051143"/>
                  </a:lnTo>
                  <a:lnTo>
                    <a:pt x="2555176" y="3055620"/>
                  </a:lnTo>
                  <a:lnTo>
                    <a:pt x="2556319" y="3056763"/>
                  </a:lnTo>
                  <a:lnTo>
                    <a:pt x="2552080" y="3061002"/>
                  </a:lnTo>
                  <a:lnTo>
                    <a:pt x="2553175" y="3062097"/>
                  </a:lnTo>
                  <a:lnTo>
                    <a:pt x="2549127" y="3066145"/>
                  </a:lnTo>
                  <a:lnTo>
                    <a:pt x="2550223" y="3067240"/>
                  </a:lnTo>
                  <a:lnTo>
                    <a:pt x="2546461" y="3071003"/>
                  </a:lnTo>
                  <a:lnTo>
                    <a:pt x="2547747" y="3072289"/>
                  </a:lnTo>
                  <a:lnTo>
                    <a:pt x="2544031" y="3076004"/>
                  </a:lnTo>
                  <a:lnTo>
                    <a:pt x="2545555" y="3077528"/>
                  </a:lnTo>
                  <a:lnTo>
                    <a:pt x="2541984" y="3081099"/>
                  </a:lnTo>
                  <a:lnTo>
                    <a:pt x="2543842" y="3082957"/>
                  </a:lnTo>
                  <a:lnTo>
                    <a:pt x="2540270" y="3086529"/>
                  </a:lnTo>
                  <a:lnTo>
                    <a:pt x="2542603" y="3088862"/>
                  </a:lnTo>
                  <a:lnTo>
                    <a:pt x="2539078" y="3092387"/>
                  </a:lnTo>
                  <a:lnTo>
                    <a:pt x="2541840" y="3095149"/>
                  </a:lnTo>
                  <a:lnTo>
                    <a:pt x="2538316" y="3098673"/>
                  </a:lnTo>
                  <a:lnTo>
                    <a:pt x="2541650" y="3102007"/>
                  </a:lnTo>
                  <a:lnTo>
                    <a:pt x="2538079" y="3105579"/>
                  </a:lnTo>
                  <a:lnTo>
                    <a:pt x="2542032" y="3109531"/>
                  </a:lnTo>
                  <a:cubicBezTo>
                    <a:pt x="2542032" y="3112960"/>
                    <a:pt x="2539269" y="3115723"/>
                    <a:pt x="2535840" y="3115723"/>
                  </a:cubicBezTo>
                  <a:cubicBezTo>
                    <a:pt x="2532411" y="3115723"/>
                    <a:pt x="2529649" y="3112960"/>
                    <a:pt x="2529649" y="3109531"/>
                  </a:cubicBezTo>
                  <a:lnTo>
                    <a:pt x="2533220" y="3105960"/>
                  </a:lnTo>
                  <a:lnTo>
                    <a:pt x="2529268" y="3102007"/>
                  </a:lnTo>
                  <a:lnTo>
                    <a:pt x="2532792" y="3098483"/>
                  </a:lnTo>
                  <a:lnTo>
                    <a:pt x="2529458" y="3095149"/>
                  </a:lnTo>
                  <a:lnTo>
                    <a:pt x="2532983" y="3091624"/>
                  </a:lnTo>
                  <a:lnTo>
                    <a:pt x="2530221" y="3088862"/>
                  </a:lnTo>
                  <a:lnTo>
                    <a:pt x="2533793" y="3085291"/>
                  </a:lnTo>
                  <a:lnTo>
                    <a:pt x="2531459" y="3082957"/>
                  </a:lnTo>
                  <a:lnTo>
                    <a:pt x="2535031" y="3079386"/>
                  </a:lnTo>
                  <a:lnTo>
                    <a:pt x="2533173" y="3077528"/>
                  </a:lnTo>
                  <a:lnTo>
                    <a:pt x="2536888" y="3073813"/>
                  </a:lnTo>
                  <a:lnTo>
                    <a:pt x="2535364" y="3072289"/>
                  </a:lnTo>
                  <a:lnTo>
                    <a:pt x="2539127" y="3068526"/>
                  </a:lnTo>
                  <a:lnTo>
                    <a:pt x="2537841" y="3067240"/>
                  </a:lnTo>
                  <a:lnTo>
                    <a:pt x="2541889" y="3063193"/>
                  </a:lnTo>
                  <a:lnTo>
                    <a:pt x="2540793" y="3062097"/>
                  </a:lnTo>
                  <a:lnTo>
                    <a:pt x="2545031" y="3057859"/>
                  </a:lnTo>
                  <a:lnTo>
                    <a:pt x="2543936" y="3056763"/>
                  </a:lnTo>
                  <a:lnTo>
                    <a:pt x="2548413" y="3052286"/>
                  </a:lnTo>
                  <a:lnTo>
                    <a:pt x="2547270" y="3051143"/>
                  </a:lnTo>
                  <a:lnTo>
                    <a:pt x="2552127" y="3046286"/>
                  </a:lnTo>
                  <a:lnTo>
                    <a:pt x="2550794" y="3044952"/>
                  </a:lnTo>
                  <a:lnTo>
                    <a:pt x="2555985" y="3039761"/>
                  </a:lnTo>
                  <a:lnTo>
                    <a:pt x="2554319" y="3038094"/>
                  </a:lnTo>
                  <a:lnTo>
                    <a:pt x="2559939" y="3032475"/>
                  </a:lnTo>
                  <a:lnTo>
                    <a:pt x="2557748" y="3030284"/>
                  </a:lnTo>
                  <a:cubicBezTo>
                    <a:pt x="2557748" y="3026855"/>
                    <a:pt x="2560510" y="3024093"/>
                    <a:pt x="2563939" y="3024093"/>
                  </a:cubicBezTo>
                  <a:close/>
                  <a:moveTo>
                    <a:pt x="2080164" y="3020092"/>
                  </a:moveTo>
                  <a:cubicBezTo>
                    <a:pt x="2083593" y="3020092"/>
                    <a:pt x="2086355" y="3022854"/>
                    <a:pt x="2086355" y="3026283"/>
                  </a:cubicBezTo>
                  <a:cubicBezTo>
                    <a:pt x="2086355" y="3029712"/>
                    <a:pt x="2083593" y="3032474"/>
                    <a:pt x="2080164" y="3032474"/>
                  </a:cubicBezTo>
                  <a:cubicBezTo>
                    <a:pt x="2076735" y="3032474"/>
                    <a:pt x="2073973" y="3029712"/>
                    <a:pt x="2073973" y="3026283"/>
                  </a:cubicBezTo>
                  <a:cubicBezTo>
                    <a:pt x="2073973" y="3022854"/>
                    <a:pt x="2076735" y="3020092"/>
                    <a:pt x="2080164" y="3020092"/>
                  </a:cubicBezTo>
                  <a:close/>
                  <a:moveTo>
                    <a:pt x="2340387" y="3019235"/>
                  </a:moveTo>
                  <a:cubicBezTo>
                    <a:pt x="2343816" y="3019235"/>
                    <a:pt x="2346579" y="3021997"/>
                    <a:pt x="2346579" y="3025426"/>
                  </a:cubicBezTo>
                  <a:cubicBezTo>
                    <a:pt x="2346579" y="3028855"/>
                    <a:pt x="2343816" y="3031617"/>
                    <a:pt x="2340387" y="3031617"/>
                  </a:cubicBezTo>
                  <a:cubicBezTo>
                    <a:pt x="2336958" y="3031617"/>
                    <a:pt x="2334196" y="3028855"/>
                    <a:pt x="2334196" y="3025426"/>
                  </a:cubicBezTo>
                  <a:cubicBezTo>
                    <a:pt x="2334196" y="3021997"/>
                    <a:pt x="2336958" y="3019235"/>
                    <a:pt x="2340387" y="3019235"/>
                  </a:cubicBezTo>
                  <a:close/>
                  <a:moveTo>
                    <a:pt x="2412586" y="3017996"/>
                  </a:moveTo>
                  <a:cubicBezTo>
                    <a:pt x="2416015" y="3017996"/>
                    <a:pt x="2418778" y="3020758"/>
                    <a:pt x="2418778" y="3024187"/>
                  </a:cubicBezTo>
                  <a:cubicBezTo>
                    <a:pt x="2418778" y="3027616"/>
                    <a:pt x="2416015" y="3030379"/>
                    <a:pt x="2412586" y="3030379"/>
                  </a:cubicBezTo>
                  <a:cubicBezTo>
                    <a:pt x="2409157" y="3030379"/>
                    <a:pt x="2406395" y="3027616"/>
                    <a:pt x="2406395" y="3024187"/>
                  </a:cubicBezTo>
                  <a:cubicBezTo>
                    <a:pt x="2406395" y="3020758"/>
                    <a:pt x="2409157" y="3017996"/>
                    <a:pt x="2412586" y="3017996"/>
                  </a:cubicBezTo>
                  <a:close/>
                  <a:moveTo>
                    <a:pt x="784955" y="3017806"/>
                  </a:moveTo>
                  <a:cubicBezTo>
                    <a:pt x="788384" y="3017806"/>
                    <a:pt x="791146" y="3020568"/>
                    <a:pt x="791146" y="3023997"/>
                  </a:cubicBezTo>
                  <a:cubicBezTo>
                    <a:pt x="791146" y="3027426"/>
                    <a:pt x="788384" y="3030188"/>
                    <a:pt x="784955" y="3030188"/>
                  </a:cubicBezTo>
                  <a:cubicBezTo>
                    <a:pt x="781526" y="3030188"/>
                    <a:pt x="778764" y="3027426"/>
                    <a:pt x="778764" y="3023997"/>
                  </a:cubicBezTo>
                  <a:cubicBezTo>
                    <a:pt x="778764" y="3020568"/>
                    <a:pt x="781526" y="3017806"/>
                    <a:pt x="784955" y="3017806"/>
                  </a:cubicBezTo>
                  <a:close/>
                  <a:moveTo>
                    <a:pt x="2527458" y="3017425"/>
                  </a:moveTo>
                  <a:cubicBezTo>
                    <a:pt x="2530887" y="3017425"/>
                    <a:pt x="2533649" y="3020187"/>
                    <a:pt x="2533649" y="3023616"/>
                  </a:cubicBezTo>
                  <a:cubicBezTo>
                    <a:pt x="2533649" y="3027045"/>
                    <a:pt x="2530887" y="3029807"/>
                    <a:pt x="2527458" y="3029807"/>
                  </a:cubicBezTo>
                  <a:cubicBezTo>
                    <a:pt x="2524029" y="3029807"/>
                    <a:pt x="2521267" y="3027045"/>
                    <a:pt x="2521267" y="3023616"/>
                  </a:cubicBezTo>
                  <a:cubicBezTo>
                    <a:pt x="2521267" y="3020187"/>
                    <a:pt x="2524029" y="3017425"/>
                    <a:pt x="2527458" y="3017425"/>
                  </a:cubicBezTo>
                  <a:close/>
                  <a:moveTo>
                    <a:pt x="831055" y="3016949"/>
                  </a:moveTo>
                  <a:cubicBezTo>
                    <a:pt x="834484" y="3016949"/>
                    <a:pt x="837247" y="3019711"/>
                    <a:pt x="837247" y="3023140"/>
                  </a:cubicBezTo>
                  <a:cubicBezTo>
                    <a:pt x="837247" y="3026569"/>
                    <a:pt x="834484" y="3029331"/>
                    <a:pt x="831055" y="3029331"/>
                  </a:cubicBezTo>
                  <a:cubicBezTo>
                    <a:pt x="827626" y="3029331"/>
                    <a:pt x="824864" y="3026569"/>
                    <a:pt x="824864" y="3023140"/>
                  </a:cubicBezTo>
                  <a:cubicBezTo>
                    <a:pt x="824864" y="3019711"/>
                    <a:pt x="827626" y="3016949"/>
                    <a:pt x="831055" y="3016949"/>
                  </a:cubicBezTo>
                  <a:close/>
                  <a:moveTo>
                    <a:pt x="1690877" y="3015520"/>
                  </a:moveTo>
                  <a:cubicBezTo>
                    <a:pt x="1694306" y="3015520"/>
                    <a:pt x="1697069" y="3018282"/>
                    <a:pt x="1697069" y="3021711"/>
                  </a:cubicBezTo>
                  <a:cubicBezTo>
                    <a:pt x="1697069" y="3025140"/>
                    <a:pt x="1694306" y="3027903"/>
                    <a:pt x="1690877" y="3027903"/>
                  </a:cubicBezTo>
                  <a:cubicBezTo>
                    <a:pt x="1687448" y="3027903"/>
                    <a:pt x="1684686" y="3025140"/>
                    <a:pt x="1684686" y="3021711"/>
                  </a:cubicBezTo>
                  <a:cubicBezTo>
                    <a:pt x="1684686" y="3018282"/>
                    <a:pt x="1687448" y="3015520"/>
                    <a:pt x="1690877" y="3015520"/>
                  </a:cubicBezTo>
                  <a:close/>
                  <a:moveTo>
                    <a:pt x="2567368" y="3015139"/>
                  </a:moveTo>
                  <a:cubicBezTo>
                    <a:pt x="2570797" y="3015139"/>
                    <a:pt x="2573559" y="3017901"/>
                    <a:pt x="2573559" y="3021330"/>
                  </a:cubicBezTo>
                  <a:cubicBezTo>
                    <a:pt x="2573559" y="3024759"/>
                    <a:pt x="2570797" y="3027521"/>
                    <a:pt x="2567368" y="3027521"/>
                  </a:cubicBezTo>
                  <a:cubicBezTo>
                    <a:pt x="2563939" y="3027521"/>
                    <a:pt x="2561177" y="3024759"/>
                    <a:pt x="2561177" y="3021330"/>
                  </a:cubicBezTo>
                  <a:cubicBezTo>
                    <a:pt x="2561177" y="3017901"/>
                    <a:pt x="2563939" y="3015139"/>
                    <a:pt x="2567368" y="3015139"/>
                  </a:cubicBezTo>
                  <a:close/>
                  <a:moveTo>
                    <a:pt x="2256948" y="3015139"/>
                  </a:moveTo>
                  <a:cubicBezTo>
                    <a:pt x="2260377" y="3015139"/>
                    <a:pt x="2263140" y="3017901"/>
                    <a:pt x="2263140" y="3021330"/>
                  </a:cubicBezTo>
                  <a:cubicBezTo>
                    <a:pt x="2263140" y="3024759"/>
                    <a:pt x="2260377" y="3027521"/>
                    <a:pt x="2256948" y="3027521"/>
                  </a:cubicBezTo>
                  <a:cubicBezTo>
                    <a:pt x="2253519" y="3027521"/>
                    <a:pt x="2250757" y="3024759"/>
                    <a:pt x="2250757" y="3021330"/>
                  </a:cubicBezTo>
                  <a:cubicBezTo>
                    <a:pt x="2250757" y="3017901"/>
                    <a:pt x="2253519" y="3015139"/>
                    <a:pt x="2256948" y="3015139"/>
                  </a:cubicBezTo>
                  <a:close/>
                  <a:moveTo>
                    <a:pt x="1598390" y="3014663"/>
                  </a:moveTo>
                  <a:cubicBezTo>
                    <a:pt x="1601819" y="3014663"/>
                    <a:pt x="1604582" y="3017425"/>
                    <a:pt x="1604582" y="3020854"/>
                  </a:cubicBezTo>
                  <a:cubicBezTo>
                    <a:pt x="1604582" y="3024283"/>
                    <a:pt x="1601819" y="3027046"/>
                    <a:pt x="1598390" y="3027046"/>
                  </a:cubicBezTo>
                  <a:cubicBezTo>
                    <a:pt x="1594961" y="3027046"/>
                    <a:pt x="1592199" y="3024283"/>
                    <a:pt x="1592199" y="3020854"/>
                  </a:cubicBezTo>
                  <a:cubicBezTo>
                    <a:pt x="1592199" y="3017425"/>
                    <a:pt x="1594961" y="3014663"/>
                    <a:pt x="1598390" y="3014663"/>
                  </a:cubicBezTo>
                  <a:close/>
                  <a:moveTo>
                    <a:pt x="749903" y="3013234"/>
                  </a:moveTo>
                  <a:cubicBezTo>
                    <a:pt x="753332" y="3013234"/>
                    <a:pt x="756094" y="3015996"/>
                    <a:pt x="756094" y="3019425"/>
                  </a:cubicBezTo>
                  <a:lnTo>
                    <a:pt x="754094" y="3021426"/>
                  </a:lnTo>
                  <a:lnTo>
                    <a:pt x="760189" y="3027521"/>
                  </a:lnTo>
                  <a:lnTo>
                    <a:pt x="758665" y="3029045"/>
                  </a:lnTo>
                  <a:lnTo>
                    <a:pt x="764285" y="3034665"/>
                  </a:lnTo>
                  <a:lnTo>
                    <a:pt x="763047" y="3035903"/>
                  </a:lnTo>
                  <a:lnTo>
                    <a:pt x="768287" y="3041142"/>
                  </a:lnTo>
                  <a:lnTo>
                    <a:pt x="767239" y="3042190"/>
                  </a:lnTo>
                  <a:lnTo>
                    <a:pt x="772096" y="3047047"/>
                  </a:lnTo>
                  <a:lnTo>
                    <a:pt x="771096" y="3048048"/>
                  </a:lnTo>
                  <a:lnTo>
                    <a:pt x="775716" y="3052667"/>
                  </a:lnTo>
                  <a:lnTo>
                    <a:pt x="774573" y="3053811"/>
                  </a:lnTo>
                  <a:lnTo>
                    <a:pt x="778954" y="3058192"/>
                  </a:lnTo>
                  <a:lnTo>
                    <a:pt x="777668" y="3059478"/>
                  </a:lnTo>
                  <a:lnTo>
                    <a:pt x="781812" y="3063621"/>
                  </a:lnTo>
                  <a:lnTo>
                    <a:pt x="780240" y="3065193"/>
                  </a:lnTo>
                  <a:lnTo>
                    <a:pt x="784288" y="3069241"/>
                  </a:lnTo>
                  <a:lnTo>
                    <a:pt x="782383" y="3071146"/>
                  </a:lnTo>
                  <a:lnTo>
                    <a:pt x="786289" y="3075051"/>
                  </a:lnTo>
                  <a:lnTo>
                    <a:pt x="783955" y="3077385"/>
                  </a:lnTo>
                  <a:lnTo>
                    <a:pt x="787812" y="3081242"/>
                  </a:lnTo>
                  <a:lnTo>
                    <a:pt x="784955" y="3084100"/>
                  </a:lnTo>
                  <a:lnTo>
                    <a:pt x="788670" y="3087814"/>
                  </a:lnTo>
                  <a:cubicBezTo>
                    <a:pt x="788670" y="3091243"/>
                    <a:pt x="785907" y="3094006"/>
                    <a:pt x="782478" y="3094006"/>
                  </a:cubicBezTo>
                  <a:cubicBezTo>
                    <a:pt x="779049" y="3094006"/>
                    <a:pt x="776287" y="3091243"/>
                    <a:pt x="776287" y="3087814"/>
                  </a:cubicBezTo>
                  <a:lnTo>
                    <a:pt x="779144" y="3084957"/>
                  </a:lnTo>
                  <a:lnTo>
                    <a:pt x="775430" y="3081242"/>
                  </a:lnTo>
                  <a:lnTo>
                    <a:pt x="777763" y="3078909"/>
                  </a:lnTo>
                  <a:lnTo>
                    <a:pt x="773906" y="3075051"/>
                  </a:lnTo>
                  <a:lnTo>
                    <a:pt x="775811" y="3073146"/>
                  </a:lnTo>
                  <a:lnTo>
                    <a:pt x="771906" y="3069241"/>
                  </a:lnTo>
                  <a:lnTo>
                    <a:pt x="773478" y="3067670"/>
                  </a:lnTo>
                  <a:lnTo>
                    <a:pt x="769429" y="3063621"/>
                  </a:lnTo>
                  <a:lnTo>
                    <a:pt x="770715" y="3062335"/>
                  </a:lnTo>
                  <a:lnTo>
                    <a:pt x="766572" y="3058192"/>
                  </a:lnTo>
                  <a:lnTo>
                    <a:pt x="767715" y="3057050"/>
                  </a:lnTo>
                  <a:lnTo>
                    <a:pt x="763333" y="3052667"/>
                  </a:lnTo>
                  <a:lnTo>
                    <a:pt x="764333" y="3051667"/>
                  </a:lnTo>
                  <a:lnTo>
                    <a:pt x="759714" y="3047047"/>
                  </a:lnTo>
                  <a:lnTo>
                    <a:pt x="760761" y="3046000"/>
                  </a:lnTo>
                  <a:lnTo>
                    <a:pt x="755904" y="3041142"/>
                  </a:lnTo>
                  <a:lnTo>
                    <a:pt x="757142" y="3039904"/>
                  </a:lnTo>
                  <a:lnTo>
                    <a:pt x="751903" y="3034665"/>
                  </a:lnTo>
                  <a:lnTo>
                    <a:pt x="753427" y="3033141"/>
                  </a:lnTo>
                  <a:lnTo>
                    <a:pt x="747807" y="3027521"/>
                  </a:lnTo>
                  <a:lnTo>
                    <a:pt x="749807" y="3025521"/>
                  </a:lnTo>
                  <a:lnTo>
                    <a:pt x="743712" y="3019425"/>
                  </a:lnTo>
                  <a:cubicBezTo>
                    <a:pt x="743712" y="3015996"/>
                    <a:pt x="746474" y="3013234"/>
                    <a:pt x="749903" y="3013234"/>
                  </a:cubicBezTo>
                  <a:close/>
                  <a:moveTo>
                    <a:pt x="1214056" y="3013044"/>
                  </a:moveTo>
                  <a:cubicBezTo>
                    <a:pt x="1217485" y="3013044"/>
                    <a:pt x="1220248" y="3015806"/>
                    <a:pt x="1220248" y="3019235"/>
                  </a:cubicBezTo>
                  <a:cubicBezTo>
                    <a:pt x="1220248" y="3022664"/>
                    <a:pt x="1217485" y="3025426"/>
                    <a:pt x="1214056" y="3025426"/>
                  </a:cubicBezTo>
                  <a:cubicBezTo>
                    <a:pt x="1210627" y="3025426"/>
                    <a:pt x="1207865" y="3022664"/>
                    <a:pt x="1207865" y="3019235"/>
                  </a:cubicBezTo>
                  <a:cubicBezTo>
                    <a:pt x="1207865" y="3015806"/>
                    <a:pt x="1210627" y="3013044"/>
                    <a:pt x="1214056" y="3013044"/>
                  </a:cubicBezTo>
                  <a:close/>
                  <a:moveTo>
                    <a:pt x="1783079" y="3012853"/>
                  </a:moveTo>
                  <a:cubicBezTo>
                    <a:pt x="1786508" y="3012853"/>
                    <a:pt x="1789271" y="3015615"/>
                    <a:pt x="1789271" y="3019044"/>
                  </a:cubicBezTo>
                  <a:cubicBezTo>
                    <a:pt x="1789271" y="3022473"/>
                    <a:pt x="1786508" y="3025236"/>
                    <a:pt x="1783079" y="3025236"/>
                  </a:cubicBezTo>
                  <a:cubicBezTo>
                    <a:pt x="1779650" y="3025236"/>
                    <a:pt x="1776888" y="3022473"/>
                    <a:pt x="1776888" y="3019044"/>
                  </a:cubicBezTo>
                  <a:cubicBezTo>
                    <a:pt x="1776888" y="3015615"/>
                    <a:pt x="1779650" y="3012853"/>
                    <a:pt x="1783079" y="3012853"/>
                  </a:cubicBezTo>
                  <a:close/>
                  <a:moveTo>
                    <a:pt x="2474594" y="3012567"/>
                  </a:moveTo>
                  <a:cubicBezTo>
                    <a:pt x="2478023" y="3012567"/>
                    <a:pt x="2480786" y="3015329"/>
                    <a:pt x="2480786" y="3018758"/>
                  </a:cubicBezTo>
                  <a:cubicBezTo>
                    <a:pt x="2480786" y="3022187"/>
                    <a:pt x="2478023" y="3024950"/>
                    <a:pt x="2474594" y="3024950"/>
                  </a:cubicBezTo>
                  <a:cubicBezTo>
                    <a:pt x="2471165" y="3024950"/>
                    <a:pt x="2468403" y="3022187"/>
                    <a:pt x="2468403" y="3018758"/>
                  </a:cubicBezTo>
                  <a:cubicBezTo>
                    <a:pt x="2468403" y="3015329"/>
                    <a:pt x="2471165" y="3012567"/>
                    <a:pt x="2474594" y="3012567"/>
                  </a:cubicBezTo>
                  <a:close/>
                  <a:moveTo>
                    <a:pt x="1506473" y="3010567"/>
                  </a:moveTo>
                  <a:cubicBezTo>
                    <a:pt x="1509902" y="3010567"/>
                    <a:pt x="1512665" y="3013329"/>
                    <a:pt x="1512665" y="3016758"/>
                  </a:cubicBezTo>
                  <a:cubicBezTo>
                    <a:pt x="1512665" y="3020187"/>
                    <a:pt x="1509902" y="3022949"/>
                    <a:pt x="1506473" y="3022949"/>
                  </a:cubicBezTo>
                  <a:cubicBezTo>
                    <a:pt x="1503044" y="3022949"/>
                    <a:pt x="1500282" y="3020187"/>
                    <a:pt x="1500282" y="3016758"/>
                  </a:cubicBezTo>
                  <a:cubicBezTo>
                    <a:pt x="1500282" y="3013329"/>
                    <a:pt x="1503044" y="3010567"/>
                    <a:pt x="1506473" y="3010567"/>
                  </a:cubicBezTo>
                  <a:close/>
                  <a:moveTo>
                    <a:pt x="2597943" y="3009043"/>
                  </a:moveTo>
                  <a:cubicBezTo>
                    <a:pt x="2601372" y="3009043"/>
                    <a:pt x="2604134" y="3011805"/>
                    <a:pt x="2604134" y="3015234"/>
                  </a:cubicBezTo>
                  <a:lnTo>
                    <a:pt x="2598039" y="3021330"/>
                  </a:lnTo>
                  <a:lnTo>
                    <a:pt x="2599468" y="3022759"/>
                  </a:lnTo>
                  <a:lnTo>
                    <a:pt x="2593800" y="3028426"/>
                  </a:lnTo>
                  <a:lnTo>
                    <a:pt x="2594895" y="3029521"/>
                  </a:lnTo>
                  <a:lnTo>
                    <a:pt x="2589561" y="3034856"/>
                  </a:lnTo>
                  <a:lnTo>
                    <a:pt x="2590609" y="3035903"/>
                  </a:lnTo>
                  <a:lnTo>
                    <a:pt x="2585608" y="3040904"/>
                  </a:lnTo>
                  <a:lnTo>
                    <a:pt x="2586608" y="3041904"/>
                  </a:lnTo>
                  <a:lnTo>
                    <a:pt x="2581894" y="3046619"/>
                  </a:lnTo>
                  <a:lnTo>
                    <a:pt x="2582989" y="3047714"/>
                  </a:lnTo>
                  <a:lnTo>
                    <a:pt x="2578369" y="3052334"/>
                  </a:lnTo>
                  <a:lnTo>
                    <a:pt x="2579655" y="3053620"/>
                  </a:lnTo>
                  <a:lnTo>
                    <a:pt x="2575274" y="3058002"/>
                  </a:lnTo>
                  <a:lnTo>
                    <a:pt x="2576893" y="3059620"/>
                  </a:lnTo>
                  <a:lnTo>
                    <a:pt x="2572654" y="3063859"/>
                  </a:lnTo>
                  <a:lnTo>
                    <a:pt x="2574607" y="3065812"/>
                  </a:lnTo>
                  <a:lnTo>
                    <a:pt x="2570464" y="3069956"/>
                  </a:lnTo>
                  <a:lnTo>
                    <a:pt x="2572892" y="3072384"/>
                  </a:lnTo>
                  <a:lnTo>
                    <a:pt x="2568749" y="3076528"/>
                  </a:lnTo>
                  <a:lnTo>
                    <a:pt x="2571749" y="3079528"/>
                  </a:lnTo>
                  <a:lnTo>
                    <a:pt x="2567702" y="3083576"/>
                  </a:lnTo>
                  <a:lnTo>
                    <a:pt x="2571274" y="3087148"/>
                  </a:lnTo>
                  <a:lnTo>
                    <a:pt x="2567177" y="3091244"/>
                  </a:lnTo>
                  <a:lnTo>
                    <a:pt x="2571273" y="3095340"/>
                  </a:lnTo>
                  <a:cubicBezTo>
                    <a:pt x="2571273" y="3098707"/>
                    <a:pt x="2568544" y="3101436"/>
                    <a:pt x="2565177" y="3101436"/>
                  </a:cubicBezTo>
                  <a:cubicBezTo>
                    <a:pt x="2561810" y="3101436"/>
                    <a:pt x="2559081" y="3098707"/>
                    <a:pt x="2559081" y="3095340"/>
                  </a:cubicBezTo>
                  <a:lnTo>
                    <a:pt x="2563082" y="3091339"/>
                  </a:lnTo>
                  <a:lnTo>
                    <a:pt x="2558891" y="3087148"/>
                  </a:lnTo>
                  <a:lnTo>
                    <a:pt x="2562939" y="3083101"/>
                  </a:lnTo>
                  <a:lnTo>
                    <a:pt x="2559367" y="3079528"/>
                  </a:lnTo>
                  <a:lnTo>
                    <a:pt x="2563510" y="3075385"/>
                  </a:lnTo>
                  <a:lnTo>
                    <a:pt x="2560510" y="3072384"/>
                  </a:lnTo>
                  <a:lnTo>
                    <a:pt x="2564653" y="3068241"/>
                  </a:lnTo>
                  <a:lnTo>
                    <a:pt x="2562225" y="3065812"/>
                  </a:lnTo>
                  <a:lnTo>
                    <a:pt x="2566464" y="3061574"/>
                  </a:lnTo>
                  <a:lnTo>
                    <a:pt x="2564510" y="3059620"/>
                  </a:lnTo>
                  <a:lnTo>
                    <a:pt x="2568891" y="3055239"/>
                  </a:lnTo>
                  <a:lnTo>
                    <a:pt x="2567273" y="3053620"/>
                  </a:lnTo>
                  <a:lnTo>
                    <a:pt x="2571893" y="3049000"/>
                  </a:lnTo>
                  <a:lnTo>
                    <a:pt x="2570607" y="3047714"/>
                  </a:lnTo>
                  <a:lnTo>
                    <a:pt x="2575321" y="3043000"/>
                  </a:lnTo>
                  <a:lnTo>
                    <a:pt x="2574226" y="3041904"/>
                  </a:lnTo>
                  <a:lnTo>
                    <a:pt x="2579227" y="3036904"/>
                  </a:lnTo>
                  <a:lnTo>
                    <a:pt x="2578226" y="3035903"/>
                  </a:lnTo>
                  <a:lnTo>
                    <a:pt x="2583560" y="3030569"/>
                  </a:lnTo>
                  <a:lnTo>
                    <a:pt x="2582513" y="3029521"/>
                  </a:lnTo>
                  <a:lnTo>
                    <a:pt x="2588180" y="3023854"/>
                  </a:lnTo>
                  <a:lnTo>
                    <a:pt x="2587085" y="3022759"/>
                  </a:lnTo>
                  <a:lnTo>
                    <a:pt x="2593181" y="3016663"/>
                  </a:lnTo>
                  <a:lnTo>
                    <a:pt x="2591752" y="3015234"/>
                  </a:lnTo>
                  <a:cubicBezTo>
                    <a:pt x="2591752" y="3011805"/>
                    <a:pt x="2594514" y="3009043"/>
                    <a:pt x="2597943" y="3009043"/>
                  </a:cubicBezTo>
                  <a:close/>
                  <a:moveTo>
                    <a:pt x="961357" y="3009043"/>
                  </a:moveTo>
                  <a:cubicBezTo>
                    <a:pt x="964786" y="3009043"/>
                    <a:pt x="967549" y="3011805"/>
                    <a:pt x="967549" y="3015234"/>
                  </a:cubicBezTo>
                  <a:cubicBezTo>
                    <a:pt x="967549" y="3018663"/>
                    <a:pt x="964786" y="3021426"/>
                    <a:pt x="961357" y="3021426"/>
                  </a:cubicBezTo>
                  <a:cubicBezTo>
                    <a:pt x="957928" y="3021426"/>
                    <a:pt x="955166" y="3018663"/>
                    <a:pt x="955166" y="3015234"/>
                  </a:cubicBezTo>
                  <a:cubicBezTo>
                    <a:pt x="955166" y="3011805"/>
                    <a:pt x="957928" y="3009043"/>
                    <a:pt x="961357" y="3009043"/>
                  </a:cubicBezTo>
                  <a:close/>
                  <a:moveTo>
                    <a:pt x="892111" y="3007138"/>
                  </a:moveTo>
                  <a:cubicBezTo>
                    <a:pt x="895540" y="3007138"/>
                    <a:pt x="898302" y="3009900"/>
                    <a:pt x="898302" y="3013329"/>
                  </a:cubicBezTo>
                  <a:cubicBezTo>
                    <a:pt x="898302" y="3016758"/>
                    <a:pt x="895540" y="3019520"/>
                    <a:pt x="892111" y="3019520"/>
                  </a:cubicBezTo>
                  <a:cubicBezTo>
                    <a:pt x="888682" y="3019520"/>
                    <a:pt x="885920" y="3016758"/>
                    <a:pt x="885920" y="3013329"/>
                  </a:cubicBezTo>
                  <a:cubicBezTo>
                    <a:pt x="885920" y="3009900"/>
                    <a:pt x="888682" y="3007138"/>
                    <a:pt x="892111" y="3007138"/>
                  </a:cubicBezTo>
                  <a:close/>
                  <a:moveTo>
                    <a:pt x="1874519" y="3006947"/>
                  </a:moveTo>
                  <a:cubicBezTo>
                    <a:pt x="1877948" y="3006947"/>
                    <a:pt x="1880711" y="3009709"/>
                    <a:pt x="1880711" y="3013138"/>
                  </a:cubicBezTo>
                  <a:cubicBezTo>
                    <a:pt x="1880711" y="3016567"/>
                    <a:pt x="1877948" y="3019330"/>
                    <a:pt x="1874519" y="3019330"/>
                  </a:cubicBezTo>
                  <a:cubicBezTo>
                    <a:pt x="1871090" y="3019330"/>
                    <a:pt x="1868328" y="3016567"/>
                    <a:pt x="1868328" y="3013138"/>
                  </a:cubicBezTo>
                  <a:cubicBezTo>
                    <a:pt x="1868328" y="3009709"/>
                    <a:pt x="1871090" y="3006947"/>
                    <a:pt x="1874519" y="3006947"/>
                  </a:cubicBezTo>
                  <a:close/>
                  <a:moveTo>
                    <a:pt x="722661" y="3006186"/>
                  </a:moveTo>
                  <a:cubicBezTo>
                    <a:pt x="726090" y="3006186"/>
                    <a:pt x="728852" y="3008948"/>
                    <a:pt x="728852" y="3012377"/>
                  </a:cubicBezTo>
                  <a:lnTo>
                    <a:pt x="727757" y="3013472"/>
                  </a:lnTo>
                  <a:lnTo>
                    <a:pt x="733806" y="3019520"/>
                  </a:lnTo>
                  <a:lnTo>
                    <a:pt x="732805" y="3020521"/>
                  </a:lnTo>
                  <a:lnTo>
                    <a:pt x="738472" y="3026188"/>
                  </a:lnTo>
                  <a:lnTo>
                    <a:pt x="737520" y="3027140"/>
                  </a:lnTo>
                  <a:lnTo>
                    <a:pt x="742854" y="3032474"/>
                  </a:lnTo>
                  <a:lnTo>
                    <a:pt x="741759" y="3033570"/>
                  </a:lnTo>
                  <a:lnTo>
                    <a:pt x="746855" y="3038665"/>
                  </a:lnTo>
                  <a:lnTo>
                    <a:pt x="745474" y="3040047"/>
                  </a:lnTo>
                  <a:lnTo>
                    <a:pt x="750379" y="3044952"/>
                  </a:lnTo>
                  <a:lnTo>
                    <a:pt x="748760" y="3046571"/>
                  </a:lnTo>
                  <a:lnTo>
                    <a:pt x="753427" y="3051238"/>
                  </a:lnTo>
                  <a:lnTo>
                    <a:pt x="751379" y="3053287"/>
                  </a:lnTo>
                  <a:lnTo>
                    <a:pt x="755904" y="3057811"/>
                  </a:lnTo>
                  <a:lnTo>
                    <a:pt x="753332" y="3060383"/>
                  </a:lnTo>
                  <a:lnTo>
                    <a:pt x="757808" y="3064859"/>
                  </a:lnTo>
                  <a:lnTo>
                    <a:pt x="753379" y="3069289"/>
                  </a:lnTo>
                  <a:lnTo>
                    <a:pt x="756285" y="3072194"/>
                  </a:lnTo>
                  <a:cubicBezTo>
                    <a:pt x="756285" y="3074035"/>
                    <a:pt x="754792" y="3075528"/>
                    <a:pt x="752951" y="3075528"/>
                  </a:cubicBezTo>
                  <a:cubicBezTo>
                    <a:pt x="751110" y="3075528"/>
                    <a:pt x="749617" y="3074035"/>
                    <a:pt x="749617" y="3072194"/>
                  </a:cubicBezTo>
                  <a:lnTo>
                    <a:pt x="751189" y="3070623"/>
                  </a:lnTo>
                  <a:lnTo>
                    <a:pt x="745426" y="3064859"/>
                  </a:lnTo>
                  <a:lnTo>
                    <a:pt x="747997" y="3062288"/>
                  </a:lnTo>
                  <a:lnTo>
                    <a:pt x="743521" y="3057811"/>
                  </a:lnTo>
                  <a:lnTo>
                    <a:pt x="745569" y="3055763"/>
                  </a:lnTo>
                  <a:lnTo>
                    <a:pt x="741045" y="3051238"/>
                  </a:lnTo>
                  <a:lnTo>
                    <a:pt x="742664" y="3049620"/>
                  </a:lnTo>
                  <a:lnTo>
                    <a:pt x="737997" y="3044952"/>
                  </a:lnTo>
                  <a:lnTo>
                    <a:pt x="739378" y="3043572"/>
                  </a:lnTo>
                  <a:lnTo>
                    <a:pt x="734472" y="3038665"/>
                  </a:lnTo>
                  <a:lnTo>
                    <a:pt x="735567" y="3037570"/>
                  </a:lnTo>
                  <a:lnTo>
                    <a:pt x="730472" y="3032474"/>
                  </a:lnTo>
                  <a:lnTo>
                    <a:pt x="731424" y="3031523"/>
                  </a:lnTo>
                  <a:lnTo>
                    <a:pt x="726090" y="3026188"/>
                  </a:lnTo>
                  <a:lnTo>
                    <a:pt x="727091" y="3025188"/>
                  </a:lnTo>
                  <a:lnTo>
                    <a:pt x="721423" y="3019520"/>
                  </a:lnTo>
                  <a:lnTo>
                    <a:pt x="722518" y="3018425"/>
                  </a:lnTo>
                  <a:lnTo>
                    <a:pt x="716470" y="3012377"/>
                  </a:lnTo>
                  <a:cubicBezTo>
                    <a:pt x="716470" y="3008948"/>
                    <a:pt x="719232" y="3006186"/>
                    <a:pt x="722661" y="3006186"/>
                  </a:cubicBezTo>
                  <a:close/>
                  <a:moveTo>
                    <a:pt x="783145" y="3006090"/>
                  </a:moveTo>
                  <a:cubicBezTo>
                    <a:pt x="786574" y="3006090"/>
                    <a:pt x="789337" y="3008852"/>
                    <a:pt x="789337" y="3012281"/>
                  </a:cubicBezTo>
                  <a:cubicBezTo>
                    <a:pt x="789337" y="3015710"/>
                    <a:pt x="786574" y="3018473"/>
                    <a:pt x="783145" y="3018473"/>
                  </a:cubicBezTo>
                  <a:cubicBezTo>
                    <a:pt x="779716" y="3018473"/>
                    <a:pt x="776954" y="3015710"/>
                    <a:pt x="776954" y="3012281"/>
                  </a:cubicBezTo>
                  <a:cubicBezTo>
                    <a:pt x="776954" y="3008852"/>
                    <a:pt x="779716" y="3006090"/>
                    <a:pt x="783145" y="3006090"/>
                  </a:cubicBezTo>
                  <a:close/>
                  <a:moveTo>
                    <a:pt x="1041749" y="3005804"/>
                  </a:moveTo>
                  <a:cubicBezTo>
                    <a:pt x="1045178" y="3005804"/>
                    <a:pt x="1047940" y="3008566"/>
                    <a:pt x="1047940" y="3011995"/>
                  </a:cubicBezTo>
                  <a:cubicBezTo>
                    <a:pt x="1047940" y="3015424"/>
                    <a:pt x="1045178" y="3018186"/>
                    <a:pt x="1041749" y="3018186"/>
                  </a:cubicBezTo>
                  <a:cubicBezTo>
                    <a:pt x="1038320" y="3018186"/>
                    <a:pt x="1035558" y="3015424"/>
                    <a:pt x="1035558" y="3011995"/>
                  </a:cubicBezTo>
                  <a:cubicBezTo>
                    <a:pt x="1035558" y="3008566"/>
                    <a:pt x="1038320" y="3005804"/>
                    <a:pt x="1041749" y="3005804"/>
                  </a:cubicBezTo>
                  <a:close/>
                  <a:moveTo>
                    <a:pt x="2570416" y="3004852"/>
                  </a:moveTo>
                  <a:cubicBezTo>
                    <a:pt x="2573845" y="3004852"/>
                    <a:pt x="2576608" y="3007614"/>
                    <a:pt x="2576608" y="3011043"/>
                  </a:cubicBezTo>
                  <a:cubicBezTo>
                    <a:pt x="2576608" y="3014472"/>
                    <a:pt x="2573845" y="3017235"/>
                    <a:pt x="2570416" y="3017235"/>
                  </a:cubicBezTo>
                  <a:cubicBezTo>
                    <a:pt x="2566987" y="3017235"/>
                    <a:pt x="2564225" y="3014472"/>
                    <a:pt x="2564225" y="3011043"/>
                  </a:cubicBezTo>
                  <a:cubicBezTo>
                    <a:pt x="2564225" y="3007614"/>
                    <a:pt x="2566987" y="3004852"/>
                    <a:pt x="2570416" y="3004852"/>
                  </a:cubicBezTo>
                  <a:close/>
                  <a:moveTo>
                    <a:pt x="2161127" y="3004376"/>
                  </a:moveTo>
                  <a:cubicBezTo>
                    <a:pt x="2164556" y="3004376"/>
                    <a:pt x="2167318" y="3007138"/>
                    <a:pt x="2167318" y="3010567"/>
                  </a:cubicBezTo>
                  <a:cubicBezTo>
                    <a:pt x="2167318" y="3013996"/>
                    <a:pt x="2164556" y="3016758"/>
                    <a:pt x="2161127" y="3016758"/>
                  </a:cubicBezTo>
                  <a:cubicBezTo>
                    <a:pt x="2157698" y="3016758"/>
                    <a:pt x="2154936" y="3013996"/>
                    <a:pt x="2154936" y="3010567"/>
                  </a:cubicBezTo>
                  <a:cubicBezTo>
                    <a:pt x="2154936" y="3007138"/>
                    <a:pt x="2157698" y="3004376"/>
                    <a:pt x="2161127" y="3004376"/>
                  </a:cubicBezTo>
                  <a:close/>
                  <a:moveTo>
                    <a:pt x="745902" y="3004090"/>
                  </a:moveTo>
                  <a:cubicBezTo>
                    <a:pt x="749331" y="3004090"/>
                    <a:pt x="752093" y="3006852"/>
                    <a:pt x="752093" y="3010281"/>
                  </a:cubicBezTo>
                  <a:cubicBezTo>
                    <a:pt x="752093" y="3013710"/>
                    <a:pt x="749331" y="3016472"/>
                    <a:pt x="745902" y="3016472"/>
                  </a:cubicBezTo>
                  <a:cubicBezTo>
                    <a:pt x="742473" y="3016472"/>
                    <a:pt x="739711" y="3013710"/>
                    <a:pt x="739711" y="3010281"/>
                  </a:cubicBezTo>
                  <a:cubicBezTo>
                    <a:pt x="739711" y="3006852"/>
                    <a:pt x="742473" y="3004090"/>
                    <a:pt x="745902" y="3004090"/>
                  </a:cubicBezTo>
                  <a:close/>
                  <a:moveTo>
                    <a:pt x="2527744" y="3003899"/>
                  </a:moveTo>
                  <a:cubicBezTo>
                    <a:pt x="2531173" y="3003899"/>
                    <a:pt x="2533935" y="3006661"/>
                    <a:pt x="2533935" y="3010090"/>
                  </a:cubicBezTo>
                  <a:cubicBezTo>
                    <a:pt x="2533935" y="3013519"/>
                    <a:pt x="2531173" y="3016282"/>
                    <a:pt x="2527744" y="3016282"/>
                  </a:cubicBezTo>
                  <a:cubicBezTo>
                    <a:pt x="2524315" y="3016282"/>
                    <a:pt x="2521553" y="3013519"/>
                    <a:pt x="2521553" y="3010090"/>
                  </a:cubicBezTo>
                  <a:cubicBezTo>
                    <a:pt x="2521553" y="3006661"/>
                    <a:pt x="2524315" y="3003899"/>
                    <a:pt x="2527744" y="3003899"/>
                  </a:cubicBezTo>
                  <a:close/>
                  <a:moveTo>
                    <a:pt x="1415700" y="3003042"/>
                  </a:moveTo>
                  <a:cubicBezTo>
                    <a:pt x="1419129" y="3003042"/>
                    <a:pt x="1421892" y="3005804"/>
                    <a:pt x="1421892" y="3009233"/>
                  </a:cubicBezTo>
                  <a:cubicBezTo>
                    <a:pt x="1421892" y="3012662"/>
                    <a:pt x="1419129" y="3015425"/>
                    <a:pt x="1415700" y="3015425"/>
                  </a:cubicBezTo>
                  <a:cubicBezTo>
                    <a:pt x="1412271" y="3015425"/>
                    <a:pt x="1409509" y="3012662"/>
                    <a:pt x="1409509" y="3009233"/>
                  </a:cubicBezTo>
                  <a:cubicBezTo>
                    <a:pt x="1409509" y="3005804"/>
                    <a:pt x="1412271" y="3003042"/>
                    <a:pt x="1415700" y="3003042"/>
                  </a:cubicBezTo>
                  <a:close/>
                  <a:moveTo>
                    <a:pt x="2679572" y="3001804"/>
                  </a:moveTo>
                  <a:cubicBezTo>
                    <a:pt x="2683001" y="3001804"/>
                    <a:pt x="2685763" y="3004566"/>
                    <a:pt x="2685763" y="3007995"/>
                  </a:cubicBezTo>
                  <a:lnTo>
                    <a:pt x="2679620" y="3014139"/>
                  </a:lnTo>
                  <a:lnTo>
                    <a:pt x="2683764" y="3018282"/>
                  </a:lnTo>
                  <a:cubicBezTo>
                    <a:pt x="2683764" y="3021701"/>
                    <a:pt x="2680992" y="3024473"/>
                    <a:pt x="2677572" y="3024473"/>
                  </a:cubicBezTo>
                  <a:cubicBezTo>
                    <a:pt x="2674153" y="3024473"/>
                    <a:pt x="2671381" y="3021701"/>
                    <a:pt x="2671381" y="3018282"/>
                  </a:cubicBezTo>
                  <a:lnTo>
                    <a:pt x="2677525" y="3012139"/>
                  </a:lnTo>
                  <a:lnTo>
                    <a:pt x="2673381" y="3007995"/>
                  </a:lnTo>
                  <a:cubicBezTo>
                    <a:pt x="2673381" y="3004566"/>
                    <a:pt x="2676143" y="3001804"/>
                    <a:pt x="2679572" y="3001804"/>
                  </a:cubicBezTo>
                  <a:close/>
                  <a:moveTo>
                    <a:pt x="2622327" y="3001709"/>
                  </a:moveTo>
                  <a:cubicBezTo>
                    <a:pt x="2625756" y="3001709"/>
                    <a:pt x="2628518" y="3004471"/>
                    <a:pt x="2628518" y="3007900"/>
                  </a:cubicBezTo>
                  <a:lnTo>
                    <a:pt x="2622422" y="3013996"/>
                  </a:lnTo>
                  <a:lnTo>
                    <a:pt x="2623375" y="3014948"/>
                  </a:lnTo>
                  <a:lnTo>
                    <a:pt x="2617612" y="3020711"/>
                  </a:lnTo>
                  <a:lnTo>
                    <a:pt x="2618613" y="3021711"/>
                  </a:lnTo>
                  <a:lnTo>
                    <a:pt x="2613183" y="3027141"/>
                  </a:lnTo>
                  <a:lnTo>
                    <a:pt x="2614326" y="3028283"/>
                  </a:lnTo>
                  <a:lnTo>
                    <a:pt x="2609088" y="3033522"/>
                  </a:lnTo>
                  <a:lnTo>
                    <a:pt x="2610517" y="3034951"/>
                  </a:lnTo>
                  <a:lnTo>
                    <a:pt x="2605516" y="3039952"/>
                  </a:lnTo>
                  <a:lnTo>
                    <a:pt x="2607182" y="3041618"/>
                  </a:lnTo>
                  <a:lnTo>
                    <a:pt x="2602324" y="3046476"/>
                  </a:lnTo>
                  <a:lnTo>
                    <a:pt x="2604515" y="3048667"/>
                  </a:lnTo>
                  <a:lnTo>
                    <a:pt x="2599705" y="3053477"/>
                  </a:lnTo>
                  <a:lnTo>
                    <a:pt x="2602324" y="3056096"/>
                  </a:lnTo>
                  <a:lnTo>
                    <a:pt x="2597657" y="3060763"/>
                  </a:lnTo>
                  <a:lnTo>
                    <a:pt x="2600896" y="3064002"/>
                  </a:lnTo>
                  <a:lnTo>
                    <a:pt x="2596324" y="3068575"/>
                  </a:lnTo>
                  <a:lnTo>
                    <a:pt x="2600134" y="3072384"/>
                  </a:lnTo>
                  <a:lnTo>
                    <a:pt x="2594086" y="3078432"/>
                  </a:lnTo>
                  <a:lnTo>
                    <a:pt x="2597087" y="3081433"/>
                  </a:lnTo>
                  <a:cubicBezTo>
                    <a:pt x="2597087" y="3083274"/>
                    <a:pt x="2595594" y="3084767"/>
                    <a:pt x="2593753" y="3084767"/>
                  </a:cubicBezTo>
                  <a:cubicBezTo>
                    <a:pt x="2591912" y="3084767"/>
                    <a:pt x="2590419" y="3083274"/>
                    <a:pt x="2590419" y="3081433"/>
                  </a:cubicBezTo>
                  <a:lnTo>
                    <a:pt x="2593609" y="3078243"/>
                  </a:lnTo>
                  <a:lnTo>
                    <a:pt x="2587751" y="3072384"/>
                  </a:lnTo>
                  <a:lnTo>
                    <a:pt x="2592323" y="3067812"/>
                  </a:lnTo>
                  <a:lnTo>
                    <a:pt x="2588514" y="3064002"/>
                  </a:lnTo>
                  <a:lnTo>
                    <a:pt x="2593181" y="3059335"/>
                  </a:lnTo>
                  <a:lnTo>
                    <a:pt x="2589942" y="3056096"/>
                  </a:lnTo>
                  <a:lnTo>
                    <a:pt x="2594752" y="3051286"/>
                  </a:lnTo>
                  <a:lnTo>
                    <a:pt x="2592133" y="3048667"/>
                  </a:lnTo>
                  <a:lnTo>
                    <a:pt x="2596991" y="3043809"/>
                  </a:lnTo>
                  <a:lnTo>
                    <a:pt x="2594800" y="3041618"/>
                  </a:lnTo>
                  <a:lnTo>
                    <a:pt x="2599801" y="3036618"/>
                  </a:lnTo>
                  <a:lnTo>
                    <a:pt x="2598134" y="3034951"/>
                  </a:lnTo>
                  <a:lnTo>
                    <a:pt x="2603373" y="3029712"/>
                  </a:lnTo>
                  <a:lnTo>
                    <a:pt x="2601944" y="3028283"/>
                  </a:lnTo>
                  <a:lnTo>
                    <a:pt x="2607373" y="3022854"/>
                  </a:lnTo>
                  <a:lnTo>
                    <a:pt x="2606230" y="3021711"/>
                  </a:lnTo>
                  <a:lnTo>
                    <a:pt x="2611992" y="3015949"/>
                  </a:lnTo>
                  <a:lnTo>
                    <a:pt x="2610992" y="3014948"/>
                  </a:lnTo>
                  <a:lnTo>
                    <a:pt x="2617088" y="3008852"/>
                  </a:lnTo>
                  <a:lnTo>
                    <a:pt x="2616136" y="3007900"/>
                  </a:lnTo>
                  <a:cubicBezTo>
                    <a:pt x="2616136" y="3004471"/>
                    <a:pt x="2618898" y="3001709"/>
                    <a:pt x="2622327" y="3001709"/>
                  </a:cubicBezTo>
                  <a:close/>
                  <a:moveTo>
                    <a:pt x="664273" y="3001423"/>
                  </a:moveTo>
                  <a:cubicBezTo>
                    <a:pt x="667321" y="3001423"/>
                    <a:pt x="669798" y="3003899"/>
                    <a:pt x="669798" y="3006947"/>
                  </a:cubicBezTo>
                  <a:cubicBezTo>
                    <a:pt x="669798" y="3009995"/>
                    <a:pt x="667321" y="3012472"/>
                    <a:pt x="664273" y="3012472"/>
                  </a:cubicBezTo>
                  <a:cubicBezTo>
                    <a:pt x="661225" y="3012472"/>
                    <a:pt x="658749" y="3009995"/>
                    <a:pt x="658749" y="3006947"/>
                  </a:cubicBezTo>
                  <a:cubicBezTo>
                    <a:pt x="658749" y="3003899"/>
                    <a:pt x="661225" y="3001423"/>
                    <a:pt x="664273" y="3001423"/>
                  </a:cubicBezTo>
                  <a:close/>
                  <a:moveTo>
                    <a:pt x="832675" y="3001328"/>
                  </a:moveTo>
                  <a:cubicBezTo>
                    <a:pt x="836104" y="3001328"/>
                    <a:pt x="838867" y="3004090"/>
                    <a:pt x="838867" y="3007519"/>
                  </a:cubicBezTo>
                  <a:cubicBezTo>
                    <a:pt x="838867" y="3010948"/>
                    <a:pt x="836104" y="3013711"/>
                    <a:pt x="832675" y="3013711"/>
                  </a:cubicBezTo>
                  <a:cubicBezTo>
                    <a:pt x="829246" y="3013711"/>
                    <a:pt x="826484" y="3010948"/>
                    <a:pt x="826484" y="3007519"/>
                  </a:cubicBezTo>
                  <a:cubicBezTo>
                    <a:pt x="826484" y="3004090"/>
                    <a:pt x="829246" y="3001328"/>
                    <a:pt x="832675" y="3001328"/>
                  </a:cubicBezTo>
                  <a:close/>
                  <a:moveTo>
                    <a:pt x="2602706" y="3000661"/>
                  </a:moveTo>
                  <a:cubicBezTo>
                    <a:pt x="2606135" y="3000661"/>
                    <a:pt x="2608897" y="3003423"/>
                    <a:pt x="2608897" y="3006852"/>
                  </a:cubicBezTo>
                  <a:cubicBezTo>
                    <a:pt x="2608897" y="3010281"/>
                    <a:pt x="2606135" y="3013044"/>
                    <a:pt x="2602706" y="3013044"/>
                  </a:cubicBezTo>
                  <a:cubicBezTo>
                    <a:pt x="2599277" y="3013044"/>
                    <a:pt x="2596515" y="3010281"/>
                    <a:pt x="2596515" y="3006852"/>
                  </a:cubicBezTo>
                  <a:cubicBezTo>
                    <a:pt x="2596515" y="3003423"/>
                    <a:pt x="2599277" y="3000661"/>
                    <a:pt x="2602706" y="3000661"/>
                  </a:cubicBezTo>
                  <a:close/>
                  <a:moveTo>
                    <a:pt x="2703861" y="3000185"/>
                  </a:moveTo>
                  <a:cubicBezTo>
                    <a:pt x="2705671" y="3000185"/>
                    <a:pt x="2707195" y="3001709"/>
                    <a:pt x="2707195" y="3003519"/>
                  </a:cubicBezTo>
                  <a:cubicBezTo>
                    <a:pt x="2707195" y="3005329"/>
                    <a:pt x="2705671" y="3006853"/>
                    <a:pt x="2703861" y="3006853"/>
                  </a:cubicBezTo>
                  <a:cubicBezTo>
                    <a:pt x="2702051" y="3006853"/>
                    <a:pt x="2700527" y="3005329"/>
                    <a:pt x="2700527" y="3003519"/>
                  </a:cubicBezTo>
                  <a:cubicBezTo>
                    <a:pt x="2700527" y="3001709"/>
                    <a:pt x="2702051" y="3000185"/>
                    <a:pt x="2703861" y="3000185"/>
                  </a:cubicBezTo>
                  <a:close/>
                  <a:moveTo>
                    <a:pt x="2658522" y="2999994"/>
                  </a:moveTo>
                  <a:cubicBezTo>
                    <a:pt x="2661951" y="2999994"/>
                    <a:pt x="2664714" y="3002756"/>
                    <a:pt x="2664714" y="3006185"/>
                  </a:cubicBezTo>
                  <a:lnTo>
                    <a:pt x="2658760" y="3012138"/>
                  </a:lnTo>
                  <a:lnTo>
                    <a:pt x="2661380" y="3014758"/>
                  </a:lnTo>
                  <a:lnTo>
                    <a:pt x="2655522" y="3020616"/>
                  </a:lnTo>
                  <a:lnTo>
                    <a:pt x="2658713" y="3023806"/>
                  </a:lnTo>
                  <a:lnTo>
                    <a:pt x="2652997" y="3029522"/>
                  </a:lnTo>
                  <a:lnTo>
                    <a:pt x="2656807" y="3033331"/>
                  </a:lnTo>
                  <a:cubicBezTo>
                    <a:pt x="2656807" y="3036760"/>
                    <a:pt x="2654045" y="3039523"/>
                    <a:pt x="2650616" y="3039523"/>
                  </a:cubicBezTo>
                  <a:cubicBezTo>
                    <a:pt x="2647187" y="3039523"/>
                    <a:pt x="2644425" y="3036760"/>
                    <a:pt x="2644425" y="3033331"/>
                  </a:cubicBezTo>
                  <a:lnTo>
                    <a:pt x="2650140" y="3027617"/>
                  </a:lnTo>
                  <a:lnTo>
                    <a:pt x="2646330" y="3023806"/>
                  </a:lnTo>
                  <a:lnTo>
                    <a:pt x="2652187" y="3017949"/>
                  </a:lnTo>
                  <a:lnTo>
                    <a:pt x="2648997" y="3014758"/>
                  </a:lnTo>
                  <a:lnTo>
                    <a:pt x="2654950" y="3008805"/>
                  </a:lnTo>
                  <a:lnTo>
                    <a:pt x="2652331" y="3006185"/>
                  </a:lnTo>
                  <a:cubicBezTo>
                    <a:pt x="2652331" y="3002756"/>
                    <a:pt x="2655093" y="2999994"/>
                    <a:pt x="2658522" y="2999994"/>
                  </a:cubicBezTo>
                  <a:close/>
                  <a:moveTo>
                    <a:pt x="700182" y="2998947"/>
                  </a:moveTo>
                  <a:cubicBezTo>
                    <a:pt x="703602" y="2998947"/>
                    <a:pt x="706374" y="3001719"/>
                    <a:pt x="706374" y="3005138"/>
                  </a:cubicBezTo>
                  <a:lnTo>
                    <a:pt x="705374" y="3006138"/>
                  </a:lnTo>
                  <a:lnTo>
                    <a:pt x="711517" y="3012281"/>
                  </a:lnTo>
                  <a:lnTo>
                    <a:pt x="710326" y="3013473"/>
                  </a:lnTo>
                  <a:lnTo>
                    <a:pt x="716089" y="3019235"/>
                  </a:lnTo>
                  <a:lnTo>
                    <a:pt x="714660" y="3020664"/>
                  </a:lnTo>
                  <a:lnTo>
                    <a:pt x="720185" y="3026188"/>
                  </a:lnTo>
                  <a:lnTo>
                    <a:pt x="718328" y="3028046"/>
                  </a:lnTo>
                  <a:lnTo>
                    <a:pt x="723614" y="3033331"/>
                  </a:lnTo>
                  <a:lnTo>
                    <a:pt x="721375" y="3035570"/>
                  </a:lnTo>
                  <a:lnTo>
                    <a:pt x="726566" y="3040761"/>
                  </a:lnTo>
                  <a:lnTo>
                    <a:pt x="723709" y="3043619"/>
                  </a:lnTo>
                  <a:lnTo>
                    <a:pt x="728566" y="3048477"/>
                  </a:lnTo>
                  <a:cubicBezTo>
                    <a:pt x="728566" y="3051811"/>
                    <a:pt x="725899" y="3054478"/>
                    <a:pt x="722566" y="3054478"/>
                  </a:cubicBezTo>
                  <a:cubicBezTo>
                    <a:pt x="719232" y="3054478"/>
                    <a:pt x="716565" y="3051811"/>
                    <a:pt x="716565" y="3048477"/>
                  </a:cubicBezTo>
                  <a:lnTo>
                    <a:pt x="719232" y="3045810"/>
                  </a:lnTo>
                  <a:lnTo>
                    <a:pt x="714184" y="3040761"/>
                  </a:lnTo>
                  <a:lnTo>
                    <a:pt x="716422" y="3038523"/>
                  </a:lnTo>
                  <a:lnTo>
                    <a:pt x="711231" y="3033331"/>
                  </a:lnTo>
                  <a:lnTo>
                    <a:pt x="713088" y="3031475"/>
                  </a:lnTo>
                  <a:lnTo>
                    <a:pt x="707802" y="3026188"/>
                  </a:lnTo>
                  <a:lnTo>
                    <a:pt x="709231" y="3024760"/>
                  </a:lnTo>
                  <a:lnTo>
                    <a:pt x="703706" y="3019235"/>
                  </a:lnTo>
                  <a:lnTo>
                    <a:pt x="704897" y="3018044"/>
                  </a:lnTo>
                  <a:lnTo>
                    <a:pt x="699135" y="3012281"/>
                  </a:lnTo>
                  <a:lnTo>
                    <a:pt x="700135" y="3011282"/>
                  </a:lnTo>
                  <a:lnTo>
                    <a:pt x="693991" y="3005138"/>
                  </a:lnTo>
                  <a:cubicBezTo>
                    <a:pt x="693991" y="3001719"/>
                    <a:pt x="696763" y="2998947"/>
                    <a:pt x="700182" y="2998947"/>
                  </a:cubicBezTo>
                  <a:close/>
                  <a:moveTo>
                    <a:pt x="717518" y="2998375"/>
                  </a:moveTo>
                  <a:cubicBezTo>
                    <a:pt x="720947" y="2998375"/>
                    <a:pt x="723710" y="3001137"/>
                    <a:pt x="723710" y="3004566"/>
                  </a:cubicBezTo>
                  <a:cubicBezTo>
                    <a:pt x="723710" y="3007995"/>
                    <a:pt x="720947" y="3010757"/>
                    <a:pt x="717518" y="3010757"/>
                  </a:cubicBezTo>
                  <a:cubicBezTo>
                    <a:pt x="714089" y="3010757"/>
                    <a:pt x="711327" y="3007995"/>
                    <a:pt x="711327" y="3004566"/>
                  </a:cubicBezTo>
                  <a:cubicBezTo>
                    <a:pt x="711327" y="3001137"/>
                    <a:pt x="714089" y="2998375"/>
                    <a:pt x="717518" y="2998375"/>
                  </a:cubicBezTo>
                  <a:close/>
                  <a:moveTo>
                    <a:pt x="1964340" y="2997708"/>
                  </a:moveTo>
                  <a:cubicBezTo>
                    <a:pt x="1967769" y="2997708"/>
                    <a:pt x="1970532" y="3000470"/>
                    <a:pt x="1970532" y="3003899"/>
                  </a:cubicBezTo>
                  <a:cubicBezTo>
                    <a:pt x="1970532" y="3007328"/>
                    <a:pt x="1967769" y="3010091"/>
                    <a:pt x="1964340" y="3010091"/>
                  </a:cubicBezTo>
                  <a:cubicBezTo>
                    <a:pt x="1960911" y="3010091"/>
                    <a:pt x="1958149" y="3007328"/>
                    <a:pt x="1958149" y="3003899"/>
                  </a:cubicBezTo>
                  <a:cubicBezTo>
                    <a:pt x="1958149" y="3000470"/>
                    <a:pt x="1960911" y="2997708"/>
                    <a:pt x="1964340" y="2997708"/>
                  </a:cubicBezTo>
                  <a:close/>
                  <a:moveTo>
                    <a:pt x="2404871" y="2996851"/>
                  </a:moveTo>
                  <a:cubicBezTo>
                    <a:pt x="2408300" y="2996851"/>
                    <a:pt x="2411063" y="2999613"/>
                    <a:pt x="2411063" y="3003042"/>
                  </a:cubicBezTo>
                  <a:cubicBezTo>
                    <a:pt x="2411063" y="3006471"/>
                    <a:pt x="2408300" y="3009234"/>
                    <a:pt x="2404871" y="3009234"/>
                  </a:cubicBezTo>
                  <a:cubicBezTo>
                    <a:pt x="2401442" y="3009234"/>
                    <a:pt x="2398680" y="3006471"/>
                    <a:pt x="2398680" y="3003042"/>
                  </a:cubicBezTo>
                  <a:cubicBezTo>
                    <a:pt x="2398680" y="2999613"/>
                    <a:pt x="2401442" y="2996851"/>
                    <a:pt x="2404871" y="2996851"/>
                  </a:cubicBezTo>
                  <a:close/>
                  <a:moveTo>
                    <a:pt x="1134427" y="2996184"/>
                  </a:moveTo>
                  <a:cubicBezTo>
                    <a:pt x="1137856" y="2996184"/>
                    <a:pt x="1140619" y="2998946"/>
                    <a:pt x="1140619" y="3002375"/>
                  </a:cubicBezTo>
                  <a:cubicBezTo>
                    <a:pt x="1140619" y="3005804"/>
                    <a:pt x="1137856" y="3008567"/>
                    <a:pt x="1134427" y="3008567"/>
                  </a:cubicBezTo>
                  <a:cubicBezTo>
                    <a:pt x="1130998" y="3008567"/>
                    <a:pt x="1128236" y="3005804"/>
                    <a:pt x="1128236" y="3002375"/>
                  </a:cubicBezTo>
                  <a:cubicBezTo>
                    <a:pt x="1128236" y="2998946"/>
                    <a:pt x="1130998" y="2996184"/>
                    <a:pt x="1134427" y="2996184"/>
                  </a:cubicBezTo>
                  <a:close/>
                  <a:moveTo>
                    <a:pt x="2643187" y="2995232"/>
                  </a:moveTo>
                  <a:cubicBezTo>
                    <a:pt x="2646616" y="2995232"/>
                    <a:pt x="2649378" y="2997994"/>
                    <a:pt x="2649378" y="3001423"/>
                  </a:cubicBezTo>
                  <a:lnTo>
                    <a:pt x="2643187" y="3007614"/>
                  </a:lnTo>
                  <a:lnTo>
                    <a:pt x="2644426" y="3008852"/>
                  </a:lnTo>
                  <a:lnTo>
                    <a:pt x="2638567" y="3014710"/>
                  </a:lnTo>
                  <a:lnTo>
                    <a:pt x="2640139" y="3016282"/>
                  </a:lnTo>
                  <a:lnTo>
                    <a:pt x="2634520" y="3021901"/>
                  </a:lnTo>
                  <a:lnTo>
                    <a:pt x="2636425" y="3023806"/>
                  </a:lnTo>
                  <a:lnTo>
                    <a:pt x="2630995" y="3029236"/>
                  </a:lnTo>
                  <a:lnTo>
                    <a:pt x="2633376" y="3031617"/>
                  </a:lnTo>
                  <a:lnTo>
                    <a:pt x="2628042" y="3036952"/>
                  </a:lnTo>
                  <a:lnTo>
                    <a:pt x="2630995" y="3039904"/>
                  </a:lnTo>
                  <a:lnTo>
                    <a:pt x="2625757" y="3045143"/>
                  </a:lnTo>
                  <a:lnTo>
                    <a:pt x="2629185" y="3048571"/>
                  </a:lnTo>
                  <a:lnTo>
                    <a:pt x="2624137" y="3053620"/>
                  </a:lnTo>
                  <a:lnTo>
                    <a:pt x="2628232" y="3057715"/>
                  </a:lnTo>
                  <a:cubicBezTo>
                    <a:pt x="2628232" y="3061144"/>
                    <a:pt x="2625470" y="3063907"/>
                    <a:pt x="2622041" y="3063907"/>
                  </a:cubicBezTo>
                  <a:cubicBezTo>
                    <a:pt x="2618612" y="3063907"/>
                    <a:pt x="2615850" y="3061144"/>
                    <a:pt x="2615850" y="3057715"/>
                  </a:cubicBezTo>
                  <a:lnTo>
                    <a:pt x="2620898" y="3052667"/>
                  </a:lnTo>
                  <a:lnTo>
                    <a:pt x="2616803" y="3048571"/>
                  </a:lnTo>
                  <a:lnTo>
                    <a:pt x="2622041" y="3043333"/>
                  </a:lnTo>
                  <a:lnTo>
                    <a:pt x="2618613" y="3039904"/>
                  </a:lnTo>
                  <a:lnTo>
                    <a:pt x="2623947" y="3034570"/>
                  </a:lnTo>
                  <a:lnTo>
                    <a:pt x="2620994" y="3031617"/>
                  </a:lnTo>
                  <a:lnTo>
                    <a:pt x="2626423" y="3026188"/>
                  </a:lnTo>
                  <a:lnTo>
                    <a:pt x="2624042" y="3023806"/>
                  </a:lnTo>
                  <a:lnTo>
                    <a:pt x="2629661" y="3018187"/>
                  </a:lnTo>
                  <a:lnTo>
                    <a:pt x="2627757" y="3016282"/>
                  </a:lnTo>
                  <a:lnTo>
                    <a:pt x="2633615" y="3010424"/>
                  </a:lnTo>
                  <a:lnTo>
                    <a:pt x="2632043" y="3008852"/>
                  </a:lnTo>
                  <a:cubicBezTo>
                    <a:pt x="2632043" y="3005423"/>
                    <a:pt x="2634805" y="3002661"/>
                    <a:pt x="2638234" y="3002661"/>
                  </a:cubicBezTo>
                  <a:lnTo>
                    <a:pt x="2638436" y="3002863"/>
                  </a:lnTo>
                  <a:lnTo>
                    <a:pt x="2636996" y="3001423"/>
                  </a:lnTo>
                  <a:cubicBezTo>
                    <a:pt x="2636996" y="2997994"/>
                    <a:pt x="2639758" y="2995232"/>
                    <a:pt x="2643187" y="2995232"/>
                  </a:cubicBezTo>
                  <a:close/>
                  <a:moveTo>
                    <a:pt x="2328004" y="2994565"/>
                  </a:moveTo>
                  <a:cubicBezTo>
                    <a:pt x="2331433" y="2994565"/>
                    <a:pt x="2334196" y="2997327"/>
                    <a:pt x="2334196" y="3000756"/>
                  </a:cubicBezTo>
                  <a:cubicBezTo>
                    <a:pt x="2334196" y="3004185"/>
                    <a:pt x="2331433" y="3006947"/>
                    <a:pt x="2328004" y="3006947"/>
                  </a:cubicBezTo>
                  <a:cubicBezTo>
                    <a:pt x="2324575" y="3006947"/>
                    <a:pt x="2321813" y="3004185"/>
                    <a:pt x="2321813" y="3000756"/>
                  </a:cubicBezTo>
                  <a:cubicBezTo>
                    <a:pt x="2321813" y="2997327"/>
                    <a:pt x="2324575" y="2994565"/>
                    <a:pt x="2328004" y="2994565"/>
                  </a:cubicBezTo>
                  <a:close/>
                  <a:moveTo>
                    <a:pt x="2470975" y="2994374"/>
                  </a:moveTo>
                  <a:cubicBezTo>
                    <a:pt x="2474404" y="2994374"/>
                    <a:pt x="2477167" y="2997136"/>
                    <a:pt x="2477167" y="3000565"/>
                  </a:cubicBezTo>
                  <a:cubicBezTo>
                    <a:pt x="2477167" y="3003994"/>
                    <a:pt x="2474404" y="3006757"/>
                    <a:pt x="2470975" y="3006757"/>
                  </a:cubicBezTo>
                  <a:cubicBezTo>
                    <a:pt x="2467546" y="3006757"/>
                    <a:pt x="2464784" y="3003994"/>
                    <a:pt x="2464784" y="3000565"/>
                  </a:cubicBezTo>
                  <a:cubicBezTo>
                    <a:pt x="2464784" y="2997136"/>
                    <a:pt x="2467546" y="2994374"/>
                    <a:pt x="2470975" y="2994374"/>
                  </a:cubicBezTo>
                  <a:close/>
                  <a:moveTo>
                    <a:pt x="2627756" y="2994184"/>
                  </a:moveTo>
                  <a:cubicBezTo>
                    <a:pt x="2631185" y="2994184"/>
                    <a:pt x="2633947" y="2996946"/>
                    <a:pt x="2633947" y="3000375"/>
                  </a:cubicBezTo>
                  <a:cubicBezTo>
                    <a:pt x="2633947" y="3003804"/>
                    <a:pt x="2631185" y="3006567"/>
                    <a:pt x="2627756" y="3006567"/>
                  </a:cubicBezTo>
                  <a:cubicBezTo>
                    <a:pt x="2624327" y="3006567"/>
                    <a:pt x="2621565" y="3003804"/>
                    <a:pt x="2621565" y="3000375"/>
                  </a:cubicBezTo>
                  <a:cubicBezTo>
                    <a:pt x="2621565" y="2996946"/>
                    <a:pt x="2624327" y="2994184"/>
                    <a:pt x="2627756" y="2994184"/>
                  </a:cubicBezTo>
                  <a:close/>
                  <a:moveTo>
                    <a:pt x="680275" y="2993708"/>
                  </a:moveTo>
                  <a:cubicBezTo>
                    <a:pt x="683704" y="2993708"/>
                    <a:pt x="686467" y="2996470"/>
                    <a:pt x="686467" y="2999899"/>
                  </a:cubicBezTo>
                  <a:lnTo>
                    <a:pt x="684847" y="3001519"/>
                  </a:lnTo>
                  <a:lnTo>
                    <a:pt x="690943" y="3007614"/>
                  </a:lnTo>
                  <a:lnTo>
                    <a:pt x="688895" y="3009662"/>
                  </a:lnTo>
                  <a:lnTo>
                    <a:pt x="694848" y="3015615"/>
                  </a:lnTo>
                  <a:lnTo>
                    <a:pt x="692372" y="3018092"/>
                  </a:lnTo>
                  <a:lnTo>
                    <a:pt x="698087" y="3023806"/>
                  </a:lnTo>
                  <a:cubicBezTo>
                    <a:pt x="698087" y="3027235"/>
                    <a:pt x="695324" y="3029998"/>
                    <a:pt x="691895" y="3029998"/>
                  </a:cubicBezTo>
                  <a:cubicBezTo>
                    <a:pt x="688466" y="3029998"/>
                    <a:pt x="685704" y="3027235"/>
                    <a:pt x="685704" y="3023806"/>
                  </a:cubicBezTo>
                  <a:lnTo>
                    <a:pt x="688181" y="3021330"/>
                  </a:lnTo>
                  <a:lnTo>
                    <a:pt x="682466" y="3015615"/>
                  </a:lnTo>
                  <a:lnTo>
                    <a:pt x="684514" y="3013568"/>
                  </a:lnTo>
                  <a:lnTo>
                    <a:pt x="678560" y="3007614"/>
                  </a:lnTo>
                  <a:lnTo>
                    <a:pt x="680180" y="3005995"/>
                  </a:lnTo>
                  <a:lnTo>
                    <a:pt x="674084" y="2999899"/>
                  </a:lnTo>
                  <a:cubicBezTo>
                    <a:pt x="674084" y="2996470"/>
                    <a:pt x="676846" y="2993708"/>
                    <a:pt x="680275" y="2993708"/>
                  </a:cubicBezTo>
                  <a:close/>
                  <a:moveTo>
                    <a:pt x="742092" y="2993517"/>
                  </a:moveTo>
                  <a:cubicBezTo>
                    <a:pt x="745521" y="2993517"/>
                    <a:pt x="748283" y="2996279"/>
                    <a:pt x="748283" y="2999708"/>
                  </a:cubicBezTo>
                  <a:cubicBezTo>
                    <a:pt x="748283" y="3003137"/>
                    <a:pt x="745521" y="3005900"/>
                    <a:pt x="742092" y="3005900"/>
                  </a:cubicBezTo>
                  <a:cubicBezTo>
                    <a:pt x="738663" y="3005900"/>
                    <a:pt x="735901" y="3003137"/>
                    <a:pt x="735901" y="2999708"/>
                  </a:cubicBezTo>
                  <a:cubicBezTo>
                    <a:pt x="735901" y="2996279"/>
                    <a:pt x="738663" y="2993517"/>
                    <a:pt x="742092" y="2993517"/>
                  </a:cubicBezTo>
                  <a:close/>
                  <a:moveTo>
                    <a:pt x="2573178" y="2992851"/>
                  </a:moveTo>
                  <a:cubicBezTo>
                    <a:pt x="2576607" y="2992851"/>
                    <a:pt x="2579369" y="2995613"/>
                    <a:pt x="2579369" y="2999042"/>
                  </a:cubicBezTo>
                  <a:cubicBezTo>
                    <a:pt x="2579369" y="3002471"/>
                    <a:pt x="2576607" y="3005233"/>
                    <a:pt x="2573178" y="3005233"/>
                  </a:cubicBezTo>
                  <a:cubicBezTo>
                    <a:pt x="2569749" y="3005233"/>
                    <a:pt x="2566987" y="3002471"/>
                    <a:pt x="2566987" y="2999042"/>
                  </a:cubicBezTo>
                  <a:cubicBezTo>
                    <a:pt x="2566987" y="2995613"/>
                    <a:pt x="2569749" y="2992851"/>
                    <a:pt x="2573178" y="2992851"/>
                  </a:cubicBezTo>
                  <a:close/>
                  <a:moveTo>
                    <a:pt x="1326736" y="2992374"/>
                  </a:moveTo>
                  <a:cubicBezTo>
                    <a:pt x="1330165" y="2992374"/>
                    <a:pt x="1332928" y="2995136"/>
                    <a:pt x="1332928" y="2998565"/>
                  </a:cubicBezTo>
                  <a:cubicBezTo>
                    <a:pt x="1332928" y="3001994"/>
                    <a:pt x="1330165" y="3004757"/>
                    <a:pt x="1326736" y="3004757"/>
                  </a:cubicBezTo>
                  <a:cubicBezTo>
                    <a:pt x="1323307" y="3004757"/>
                    <a:pt x="1320545" y="3001994"/>
                    <a:pt x="1320545" y="2998565"/>
                  </a:cubicBezTo>
                  <a:cubicBezTo>
                    <a:pt x="1320545" y="2995136"/>
                    <a:pt x="1323307" y="2992374"/>
                    <a:pt x="1326736" y="2992374"/>
                  </a:cubicBezTo>
                  <a:close/>
                  <a:moveTo>
                    <a:pt x="781907" y="2992374"/>
                  </a:moveTo>
                  <a:cubicBezTo>
                    <a:pt x="785336" y="2992374"/>
                    <a:pt x="788098" y="2995136"/>
                    <a:pt x="788098" y="2998565"/>
                  </a:cubicBezTo>
                  <a:cubicBezTo>
                    <a:pt x="788098" y="3001994"/>
                    <a:pt x="785336" y="3004757"/>
                    <a:pt x="781907" y="3004757"/>
                  </a:cubicBezTo>
                  <a:cubicBezTo>
                    <a:pt x="778478" y="3004757"/>
                    <a:pt x="775716" y="3001994"/>
                    <a:pt x="775716" y="2998565"/>
                  </a:cubicBezTo>
                  <a:cubicBezTo>
                    <a:pt x="775716" y="2995136"/>
                    <a:pt x="778478" y="2992374"/>
                    <a:pt x="781907" y="2992374"/>
                  </a:cubicBezTo>
                  <a:close/>
                  <a:moveTo>
                    <a:pt x="2682334" y="2991898"/>
                  </a:moveTo>
                  <a:cubicBezTo>
                    <a:pt x="2685763" y="2991898"/>
                    <a:pt x="2688526" y="2994660"/>
                    <a:pt x="2688526" y="2998089"/>
                  </a:cubicBezTo>
                  <a:cubicBezTo>
                    <a:pt x="2688526" y="3001518"/>
                    <a:pt x="2685763" y="3004280"/>
                    <a:pt x="2682334" y="3004280"/>
                  </a:cubicBezTo>
                  <a:cubicBezTo>
                    <a:pt x="2678905" y="3004280"/>
                    <a:pt x="2676143" y="3001518"/>
                    <a:pt x="2676143" y="2998089"/>
                  </a:cubicBezTo>
                  <a:cubicBezTo>
                    <a:pt x="2676143" y="2994660"/>
                    <a:pt x="2678905" y="2991898"/>
                    <a:pt x="2682334" y="2991898"/>
                  </a:cubicBezTo>
                  <a:close/>
                  <a:moveTo>
                    <a:pt x="660844" y="2991803"/>
                  </a:moveTo>
                  <a:cubicBezTo>
                    <a:pt x="664273" y="2991803"/>
                    <a:pt x="667035" y="2994565"/>
                    <a:pt x="667035" y="2997994"/>
                  </a:cubicBezTo>
                  <a:cubicBezTo>
                    <a:pt x="667035" y="3001423"/>
                    <a:pt x="664273" y="3004186"/>
                    <a:pt x="660844" y="3004186"/>
                  </a:cubicBezTo>
                  <a:cubicBezTo>
                    <a:pt x="657415" y="3004186"/>
                    <a:pt x="654653" y="3001423"/>
                    <a:pt x="654653" y="2997994"/>
                  </a:cubicBezTo>
                  <a:cubicBezTo>
                    <a:pt x="654653" y="2994565"/>
                    <a:pt x="657415" y="2991803"/>
                    <a:pt x="660844" y="2991803"/>
                  </a:cubicBezTo>
                  <a:close/>
                  <a:moveTo>
                    <a:pt x="2662523" y="2991612"/>
                  </a:moveTo>
                  <a:cubicBezTo>
                    <a:pt x="2665952" y="2991612"/>
                    <a:pt x="2668714" y="2994374"/>
                    <a:pt x="2668714" y="2997803"/>
                  </a:cubicBezTo>
                  <a:cubicBezTo>
                    <a:pt x="2668714" y="3001232"/>
                    <a:pt x="2665952" y="3003994"/>
                    <a:pt x="2662523" y="3003994"/>
                  </a:cubicBezTo>
                  <a:cubicBezTo>
                    <a:pt x="2659094" y="3003994"/>
                    <a:pt x="2656332" y="3001232"/>
                    <a:pt x="2656332" y="2997803"/>
                  </a:cubicBezTo>
                  <a:cubicBezTo>
                    <a:pt x="2656332" y="2994374"/>
                    <a:pt x="2659094" y="2991612"/>
                    <a:pt x="2662523" y="2991612"/>
                  </a:cubicBezTo>
                  <a:close/>
                  <a:moveTo>
                    <a:pt x="694753" y="2991517"/>
                  </a:moveTo>
                  <a:cubicBezTo>
                    <a:pt x="698173" y="2991517"/>
                    <a:pt x="700944" y="2994289"/>
                    <a:pt x="700944" y="2997708"/>
                  </a:cubicBezTo>
                  <a:cubicBezTo>
                    <a:pt x="700944" y="3001127"/>
                    <a:pt x="698173" y="3003899"/>
                    <a:pt x="694753" y="3003899"/>
                  </a:cubicBezTo>
                  <a:cubicBezTo>
                    <a:pt x="691334" y="3003899"/>
                    <a:pt x="688562" y="3001127"/>
                    <a:pt x="688562" y="2997708"/>
                  </a:cubicBezTo>
                  <a:cubicBezTo>
                    <a:pt x="688562" y="2994289"/>
                    <a:pt x="691334" y="2991517"/>
                    <a:pt x="694753" y="2991517"/>
                  </a:cubicBezTo>
                  <a:close/>
                  <a:moveTo>
                    <a:pt x="2607373" y="2991136"/>
                  </a:moveTo>
                  <a:cubicBezTo>
                    <a:pt x="2610802" y="2991136"/>
                    <a:pt x="2613565" y="2993898"/>
                    <a:pt x="2613565" y="2997327"/>
                  </a:cubicBezTo>
                  <a:cubicBezTo>
                    <a:pt x="2613565" y="3000756"/>
                    <a:pt x="2610802" y="3003519"/>
                    <a:pt x="2607373" y="3003519"/>
                  </a:cubicBezTo>
                  <a:cubicBezTo>
                    <a:pt x="2603944" y="3003519"/>
                    <a:pt x="2601182" y="3000756"/>
                    <a:pt x="2601182" y="2997327"/>
                  </a:cubicBezTo>
                  <a:cubicBezTo>
                    <a:pt x="2601182" y="2993898"/>
                    <a:pt x="2603944" y="2991136"/>
                    <a:pt x="2607373" y="2991136"/>
                  </a:cubicBezTo>
                  <a:close/>
                  <a:moveTo>
                    <a:pt x="712184" y="2989707"/>
                  </a:moveTo>
                  <a:cubicBezTo>
                    <a:pt x="715613" y="2989707"/>
                    <a:pt x="718375" y="2992469"/>
                    <a:pt x="718375" y="2995898"/>
                  </a:cubicBezTo>
                  <a:cubicBezTo>
                    <a:pt x="718375" y="2999327"/>
                    <a:pt x="715613" y="3002090"/>
                    <a:pt x="712184" y="3002090"/>
                  </a:cubicBezTo>
                  <a:cubicBezTo>
                    <a:pt x="708755" y="3002090"/>
                    <a:pt x="705993" y="2999327"/>
                    <a:pt x="705993" y="2995898"/>
                  </a:cubicBezTo>
                  <a:cubicBezTo>
                    <a:pt x="705993" y="2992469"/>
                    <a:pt x="708755" y="2989707"/>
                    <a:pt x="712184" y="2989707"/>
                  </a:cubicBezTo>
                  <a:close/>
                  <a:moveTo>
                    <a:pt x="637508" y="2989231"/>
                  </a:moveTo>
                  <a:cubicBezTo>
                    <a:pt x="638175" y="2989231"/>
                    <a:pt x="638746" y="2989802"/>
                    <a:pt x="638746" y="2990469"/>
                  </a:cubicBezTo>
                  <a:cubicBezTo>
                    <a:pt x="638746" y="2991136"/>
                    <a:pt x="638175" y="2991707"/>
                    <a:pt x="637508" y="2991707"/>
                  </a:cubicBezTo>
                  <a:cubicBezTo>
                    <a:pt x="636841" y="2991707"/>
                    <a:pt x="636270" y="2991136"/>
                    <a:pt x="636270" y="2990469"/>
                  </a:cubicBezTo>
                  <a:cubicBezTo>
                    <a:pt x="636270" y="2989802"/>
                    <a:pt x="636841" y="2989231"/>
                    <a:pt x="637508" y="2989231"/>
                  </a:cubicBezTo>
                  <a:close/>
                  <a:moveTo>
                    <a:pt x="2729483" y="2988850"/>
                  </a:moveTo>
                  <a:cubicBezTo>
                    <a:pt x="2729589" y="2988850"/>
                    <a:pt x="2729674" y="2988935"/>
                    <a:pt x="2729674" y="2989040"/>
                  </a:cubicBezTo>
                  <a:cubicBezTo>
                    <a:pt x="2729674" y="2989146"/>
                    <a:pt x="2729589" y="2989231"/>
                    <a:pt x="2729483" y="2989231"/>
                  </a:cubicBezTo>
                  <a:cubicBezTo>
                    <a:pt x="2729378" y="2989231"/>
                    <a:pt x="2729293" y="2989146"/>
                    <a:pt x="2729293" y="2989040"/>
                  </a:cubicBezTo>
                  <a:cubicBezTo>
                    <a:pt x="2729293" y="2988935"/>
                    <a:pt x="2729378" y="2988850"/>
                    <a:pt x="2729483" y="2988850"/>
                  </a:cubicBezTo>
                  <a:close/>
                  <a:moveTo>
                    <a:pt x="2527363" y="2988088"/>
                  </a:moveTo>
                  <a:cubicBezTo>
                    <a:pt x="2530792" y="2988088"/>
                    <a:pt x="2533554" y="2990850"/>
                    <a:pt x="2533554" y="2994279"/>
                  </a:cubicBezTo>
                  <a:cubicBezTo>
                    <a:pt x="2533554" y="2997708"/>
                    <a:pt x="2530792" y="3000470"/>
                    <a:pt x="2527363" y="3000470"/>
                  </a:cubicBezTo>
                  <a:cubicBezTo>
                    <a:pt x="2523934" y="3000470"/>
                    <a:pt x="2521172" y="2997708"/>
                    <a:pt x="2521172" y="2994279"/>
                  </a:cubicBezTo>
                  <a:cubicBezTo>
                    <a:pt x="2521172" y="2990850"/>
                    <a:pt x="2523934" y="2988088"/>
                    <a:pt x="2527363" y="2988088"/>
                  </a:cubicBezTo>
                  <a:close/>
                  <a:moveTo>
                    <a:pt x="2648521" y="2987802"/>
                  </a:moveTo>
                  <a:cubicBezTo>
                    <a:pt x="2651950" y="2987802"/>
                    <a:pt x="2654712" y="2990564"/>
                    <a:pt x="2654712" y="2993993"/>
                  </a:cubicBezTo>
                  <a:cubicBezTo>
                    <a:pt x="2654712" y="2997422"/>
                    <a:pt x="2651950" y="3000184"/>
                    <a:pt x="2648521" y="3000184"/>
                  </a:cubicBezTo>
                  <a:cubicBezTo>
                    <a:pt x="2645092" y="3000184"/>
                    <a:pt x="2642330" y="2997422"/>
                    <a:pt x="2642330" y="2993993"/>
                  </a:cubicBezTo>
                  <a:cubicBezTo>
                    <a:pt x="2642330" y="2990564"/>
                    <a:pt x="2645092" y="2987802"/>
                    <a:pt x="2648521" y="2987802"/>
                  </a:cubicBezTo>
                  <a:close/>
                  <a:moveTo>
                    <a:pt x="2239136" y="2986278"/>
                  </a:moveTo>
                  <a:cubicBezTo>
                    <a:pt x="2242565" y="2986278"/>
                    <a:pt x="2245328" y="2989040"/>
                    <a:pt x="2245328" y="2992469"/>
                  </a:cubicBezTo>
                  <a:cubicBezTo>
                    <a:pt x="2245328" y="2995898"/>
                    <a:pt x="2242565" y="2998660"/>
                    <a:pt x="2239136" y="2998660"/>
                  </a:cubicBezTo>
                  <a:cubicBezTo>
                    <a:pt x="2235707" y="2998660"/>
                    <a:pt x="2232945" y="2995898"/>
                    <a:pt x="2232945" y="2992469"/>
                  </a:cubicBezTo>
                  <a:cubicBezTo>
                    <a:pt x="2232945" y="2989040"/>
                    <a:pt x="2235707" y="2986278"/>
                    <a:pt x="2239136" y="2986278"/>
                  </a:cubicBezTo>
                  <a:close/>
                  <a:moveTo>
                    <a:pt x="2705861" y="2986183"/>
                  </a:moveTo>
                  <a:cubicBezTo>
                    <a:pt x="2709290" y="2986183"/>
                    <a:pt x="2712053" y="2988945"/>
                    <a:pt x="2712053" y="2992374"/>
                  </a:cubicBezTo>
                  <a:cubicBezTo>
                    <a:pt x="2712053" y="2995803"/>
                    <a:pt x="2709290" y="2998565"/>
                    <a:pt x="2705861" y="2998565"/>
                  </a:cubicBezTo>
                  <a:cubicBezTo>
                    <a:pt x="2702432" y="2998565"/>
                    <a:pt x="2699670" y="2995803"/>
                    <a:pt x="2699670" y="2992374"/>
                  </a:cubicBezTo>
                  <a:cubicBezTo>
                    <a:pt x="2699670" y="2988945"/>
                    <a:pt x="2702432" y="2986183"/>
                    <a:pt x="2705861" y="2986183"/>
                  </a:cubicBezTo>
                  <a:close/>
                  <a:moveTo>
                    <a:pt x="898397" y="2986088"/>
                  </a:moveTo>
                  <a:cubicBezTo>
                    <a:pt x="901826" y="2986088"/>
                    <a:pt x="904589" y="2988850"/>
                    <a:pt x="904589" y="2992279"/>
                  </a:cubicBezTo>
                  <a:cubicBezTo>
                    <a:pt x="904589" y="2995708"/>
                    <a:pt x="901826" y="2998471"/>
                    <a:pt x="898397" y="2998471"/>
                  </a:cubicBezTo>
                  <a:cubicBezTo>
                    <a:pt x="894968" y="2998471"/>
                    <a:pt x="892206" y="2995708"/>
                    <a:pt x="892206" y="2992279"/>
                  </a:cubicBezTo>
                  <a:cubicBezTo>
                    <a:pt x="892206" y="2988850"/>
                    <a:pt x="894968" y="2986088"/>
                    <a:pt x="898397" y="2986088"/>
                  </a:cubicBezTo>
                  <a:close/>
                  <a:moveTo>
                    <a:pt x="2633471" y="2985993"/>
                  </a:moveTo>
                  <a:cubicBezTo>
                    <a:pt x="2636900" y="2985993"/>
                    <a:pt x="2639663" y="2988755"/>
                    <a:pt x="2639663" y="2992184"/>
                  </a:cubicBezTo>
                  <a:cubicBezTo>
                    <a:pt x="2639663" y="2995613"/>
                    <a:pt x="2636900" y="2998375"/>
                    <a:pt x="2633471" y="2998375"/>
                  </a:cubicBezTo>
                  <a:cubicBezTo>
                    <a:pt x="2630042" y="2998375"/>
                    <a:pt x="2627280" y="2995613"/>
                    <a:pt x="2627280" y="2992184"/>
                  </a:cubicBezTo>
                  <a:cubicBezTo>
                    <a:pt x="2627280" y="2988755"/>
                    <a:pt x="2630042" y="2985993"/>
                    <a:pt x="2633471" y="2985993"/>
                  </a:cubicBezTo>
                  <a:close/>
                  <a:moveTo>
                    <a:pt x="675226" y="2985897"/>
                  </a:moveTo>
                  <a:cubicBezTo>
                    <a:pt x="678655" y="2985897"/>
                    <a:pt x="681418" y="2988659"/>
                    <a:pt x="681418" y="2992088"/>
                  </a:cubicBezTo>
                  <a:cubicBezTo>
                    <a:pt x="681418" y="2995517"/>
                    <a:pt x="678655" y="2998279"/>
                    <a:pt x="675226" y="2998279"/>
                  </a:cubicBezTo>
                  <a:cubicBezTo>
                    <a:pt x="671797" y="2998279"/>
                    <a:pt x="669035" y="2995517"/>
                    <a:pt x="669035" y="2992088"/>
                  </a:cubicBezTo>
                  <a:cubicBezTo>
                    <a:pt x="669035" y="2988659"/>
                    <a:pt x="671797" y="2985897"/>
                    <a:pt x="675226" y="2985897"/>
                  </a:cubicBezTo>
                  <a:close/>
                  <a:moveTo>
                    <a:pt x="2052065" y="2985516"/>
                  </a:moveTo>
                  <a:cubicBezTo>
                    <a:pt x="2055494" y="2985516"/>
                    <a:pt x="2058257" y="2988278"/>
                    <a:pt x="2058257" y="2991707"/>
                  </a:cubicBezTo>
                  <a:cubicBezTo>
                    <a:pt x="2058257" y="2995136"/>
                    <a:pt x="2055494" y="2997899"/>
                    <a:pt x="2052065" y="2997899"/>
                  </a:cubicBezTo>
                  <a:cubicBezTo>
                    <a:pt x="2048636" y="2997899"/>
                    <a:pt x="2045874" y="2995136"/>
                    <a:pt x="2045874" y="2991707"/>
                  </a:cubicBezTo>
                  <a:cubicBezTo>
                    <a:pt x="2045874" y="2988278"/>
                    <a:pt x="2048636" y="2985516"/>
                    <a:pt x="2052065" y="2985516"/>
                  </a:cubicBezTo>
                  <a:close/>
                  <a:moveTo>
                    <a:pt x="972216" y="2984469"/>
                  </a:moveTo>
                  <a:cubicBezTo>
                    <a:pt x="975645" y="2984469"/>
                    <a:pt x="978408" y="2987231"/>
                    <a:pt x="978408" y="2990660"/>
                  </a:cubicBezTo>
                  <a:cubicBezTo>
                    <a:pt x="978408" y="2994089"/>
                    <a:pt x="975645" y="2996851"/>
                    <a:pt x="972216" y="2996851"/>
                  </a:cubicBezTo>
                  <a:cubicBezTo>
                    <a:pt x="968787" y="2996851"/>
                    <a:pt x="966025" y="2994089"/>
                    <a:pt x="966025" y="2990660"/>
                  </a:cubicBezTo>
                  <a:cubicBezTo>
                    <a:pt x="966025" y="2987231"/>
                    <a:pt x="968787" y="2984469"/>
                    <a:pt x="972216" y="2984469"/>
                  </a:cubicBezTo>
                  <a:close/>
                  <a:moveTo>
                    <a:pt x="688943" y="2983802"/>
                  </a:moveTo>
                  <a:cubicBezTo>
                    <a:pt x="692372" y="2983802"/>
                    <a:pt x="695135" y="2986564"/>
                    <a:pt x="695135" y="2989993"/>
                  </a:cubicBezTo>
                  <a:cubicBezTo>
                    <a:pt x="695135" y="2993422"/>
                    <a:pt x="692372" y="2996184"/>
                    <a:pt x="688943" y="2996184"/>
                  </a:cubicBezTo>
                  <a:cubicBezTo>
                    <a:pt x="685514" y="2996184"/>
                    <a:pt x="682752" y="2993422"/>
                    <a:pt x="682752" y="2989993"/>
                  </a:cubicBezTo>
                  <a:cubicBezTo>
                    <a:pt x="682752" y="2986564"/>
                    <a:pt x="685514" y="2983802"/>
                    <a:pt x="688943" y="2983802"/>
                  </a:cubicBezTo>
                  <a:close/>
                  <a:moveTo>
                    <a:pt x="2667285" y="2983326"/>
                  </a:moveTo>
                  <a:cubicBezTo>
                    <a:pt x="2670714" y="2983326"/>
                    <a:pt x="2673476" y="2986088"/>
                    <a:pt x="2673476" y="2989517"/>
                  </a:cubicBezTo>
                  <a:cubicBezTo>
                    <a:pt x="2673476" y="2992946"/>
                    <a:pt x="2670714" y="2995708"/>
                    <a:pt x="2667285" y="2995708"/>
                  </a:cubicBezTo>
                  <a:cubicBezTo>
                    <a:pt x="2663856" y="2995708"/>
                    <a:pt x="2661094" y="2992946"/>
                    <a:pt x="2661094" y="2989517"/>
                  </a:cubicBezTo>
                  <a:cubicBezTo>
                    <a:pt x="2661094" y="2986088"/>
                    <a:pt x="2663856" y="2983326"/>
                    <a:pt x="2667285" y="2983326"/>
                  </a:cubicBezTo>
                  <a:close/>
                  <a:moveTo>
                    <a:pt x="835151" y="2983040"/>
                  </a:moveTo>
                  <a:cubicBezTo>
                    <a:pt x="838580" y="2983040"/>
                    <a:pt x="841343" y="2985802"/>
                    <a:pt x="841343" y="2989231"/>
                  </a:cubicBezTo>
                  <a:cubicBezTo>
                    <a:pt x="841343" y="2992660"/>
                    <a:pt x="838580" y="2995422"/>
                    <a:pt x="835151" y="2995422"/>
                  </a:cubicBezTo>
                  <a:cubicBezTo>
                    <a:pt x="831722" y="2995422"/>
                    <a:pt x="828960" y="2992660"/>
                    <a:pt x="828960" y="2989231"/>
                  </a:cubicBezTo>
                  <a:cubicBezTo>
                    <a:pt x="828960" y="2985802"/>
                    <a:pt x="831722" y="2983040"/>
                    <a:pt x="835151" y="2983040"/>
                  </a:cubicBezTo>
                  <a:close/>
                  <a:moveTo>
                    <a:pt x="656653" y="2983040"/>
                  </a:moveTo>
                  <a:cubicBezTo>
                    <a:pt x="660082" y="2983040"/>
                    <a:pt x="662844" y="2985802"/>
                    <a:pt x="662844" y="2989231"/>
                  </a:cubicBezTo>
                  <a:cubicBezTo>
                    <a:pt x="662844" y="2992660"/>
                    <a:pt x="660082" y="2995422"/>
                    <a:pt x="656653" y="2995422"/>
                  </a:cubicBezTo>
                  <a:cubicBezTo>
                    <a:pt x="653224" y="2995422"/>
                    <a:pt x="650462" y="2992660"/>
                    <a:pt x="650462" y="2989231"/>
                  </a:cubicBezTo>
                  <a:cubicBezTo>
                    <a:pt x="650462" y="2985802"/>
                    <a:pt x="653224" y="2983040"/>
                    <a:pt x="656653" y="2983040"/>
                  </a:cubicBezTo>
                  <a:close/>
                  <a:moveTo>
                    <a:pt x="2685859" y="2982468"/>
                  </a:moveTo>
                  <a:cubicBezTo>
                    <a:pt x="2689288" y="2982468"/>
                    <a:pt x="2692051" y="2985230"/>
                    <a:pt x="2692051" y="2988659"/>
                  </a:cubicBezTo>
                  <a:cubicBezTo>
                    <a:pt x="2692051" y="2992088"/>
                    <a:pt x="2689288" y="2994851"/>
                    <a:pt x="2685859" y="2994851"/>
                  </a:cubicBezTo>
                  <a:cubicBezTo>
                    <a:pt x="2682430" y="2994851"/>
                    <a:pt x="2679668" y="2992088"/>
                    <a:pt x="2679668" y="2988659"/>
                  </a:cubicBezTo>
                  <a:cubicBezTo>
                    <a:pt x="2679668" y="2985230"/>
                    <a:pt x="2682430" y="2982468"/>
                    <a:pt x="2685859" y="2982468"/>
                  </a:cubicBezTo>
                  <a:close/>
                  <a:moveTo>
                    <a:pt x="738568" y="2981325"/>
                  </a:moveTo>
                  <a:cubicBezTo>
                    <a:pt x="741997" y="2981325"/>
                    <a:pt x="744760" y="2984087"/>
                    <a:pt x="744760" y="2987516"/>
                  </a:cubicBezTo>
                  <a:cubicBezTo>
                    <a:pt x="744760" y="2990945"/>
                    <a:pt x="741997" y="2993708"/>
                    <a:pt x="738568" y="2993708"/>
                  </a:cubicBezTo>
                  <a:cubicBezTo>
                    <a:pt x="735139" y="2993708"/>
                    <a:pt x="732377" y="2990945"/>
                    <a:pt x="732377" y="2987516"/>
                  </a:cubicBezTo>
                  <a:cubicBezTo>
                    <a:pt x="732377" y="2984087"/>
                    <a:pt x="735139" y="2981325"/>
                    <a:pt x="738568" y="2981325"/>
                  </a:cubicBezTo>
                  <a:close/>
                  <a:moveTo>
                    <a:pt x="2612040" y="2980278"/>
                  </a:moveTo>
                  <a:cubicBezTo>
                    <a:pt x="2615469" y="2980278"/>
                    <a:pt x="2618232" y="2983040"/>
                    <a:pt x="2618232" y="2986469"/>
                  </a:cubicBezTo>
                  <a:cubicBezTo>
                    <a:pt x="2618232" y="2989898"/>
                    <a:pt x="2615469" y="2992660"/>
                    <a:pt x="2612040" y="2992660"/>
                  </a:cubicBezTo>
                  <a:cubicBezTo>
                    <a:pt x="2608611" y="2992660"/>
                    <a:pt x="2605849" y="2989898"/>
                    <a:pt x="2605849" y="2986469"/>
                  </a:cubicBezTo>
                  <a:cubicBezTo>
                    <a:pt x="2605849" y="2983040"/>
                    <a:pt x="2608611" y="2980278"/>
                    <a:pt x="2612040" y="2980278"/>
                  </a:cubicBezTo>
                  <a:close/>
                  <a:moveTo>
                    <a:pt x="2654331" y="2979992"/>
                  </a:moveTo>
                  <a:cubicBezTo>
                    <a:pt x="2657760" y="2979992"/>
                    <a:pt x="2660523" y="2982754"/>
                    <a:pt x="2660523" y="2986183"/>
                  </a:cubicBezTo>
                  <a:cubicBezTo>
                    <a:pt x="2660523" y="2989612"/>
                    <a:pt x="2657760" y="2992374"/>
                    <a:pt x="2654331" y="2992374"/>
                  </a:cubicBezTo>
                  <a:cubicBezTo>
                    <a:pt x="2650902" y="2992374"/>
                    <a:pt x="2648140" y="2989612"/>
                    <a:pt x="2648140" y="2986183"/>
                  </a:cubicBezTo>
                  <a:cubicBezTo>
                    <a:pt x="2648140" y="2982754"/>
                    <a:pt x="2650902" y="2979992"/>
                    <a:pt x="2654331" y="2979992"/>
                  </a:cubicBezTo>
                  <a:close/>
                  <a:moveTo>
                    <a:pt x="706945" y="2979896"/>
                  </a:moveTo>
                  <a:cubicBezTo>
                    <a:pt x="710374" y="2979896"/>
                    <a:pt x="713137" y="2982658"/>
                    <a:pt x="713137" y="2986087"/>
                  </a:cubicBezTo>
                  <a:cubicBezTo>
                    <a:pt x="713137" y="2989516"/>
                    <a:pt x="710374" y="2992279"/>
                    <a:pt x="706945" y="2992279"/>
                  </a:cubicBezTo>
                  <a:cubicBezTo>
                    <a:pt x="703516" y="2992279"/>
                    <a:pt x="700754" y="2989516"/>
                    <a:pt x="700754" y="2986087"/>
                  </a:cubicBezTo>
                  <a:cubicBezTo>
                    <a:pt x="700754" y="2982658"/>
                    <a:pt x="703516" y="2979896"/>
                    <a:pt x="706945" y="2979896"/>
                  </a:cubicBezTo>
                  <a:close/>
                  <a:moveTo>
                    <a:pt x="2575464" y="2979039"/>
                  </a:moveTo>
                  <a:cubicBezTo>
                    <a:pt x="2578893" y="2979039"/>
                    <a:pt x="2581656" y="2981801"/>
                    <a:pt x="2581656" y="2985230"/>
                  </a:cubicBezTo>
                  <a:cubicBezTo>
                    <a:pt x="2581656" y="2988659"/>
                    <a:pt x="2578893" y="2991421"/>
                    <a:pt x="2575464" y="2991421"/>
                  </a:cubicBezTo>
                  <a:cubicBezTo>
                    <a:pt x="2572035" y="2991421"/>
                    <a:pt x="2569273" y="2988659"/>
                    <a:pt x="2569273" y="2985230"/>
                  </a:cubicBezTo>
                  <a:cubicBezTo>
                    <a:pt x="2569273" y="2981801"/>
                    <a:pt x="2572035" y="2979039"/>
                    <a:pt x="2575464" y="2979039"/>
                  </a:cubicBezTo>
                  <a:close/>
                  <a:moveTo>
                    <a:pt x="1240249" y="2978849"/>
                  </a:moveTo>
                  <a:cubicBezTo>
                    <a:pt x="1243678" y="2978849"/>
                    <a:pt x="1246441" y="2981611"/>
                    <a:pt x="1246441" y="2985040"/>
                  </a:cubicBezTo>
                  <a:cubicBezTo>
                    <a:pt x="1246441" y="2988469"/>
                    <a:pt x="1243678" y="2991231"/>
                    <a:pt x="1240249" y="2991231"/>
                  </a:cubicBezTo>
                  <a:cubicBezTo>
                    <a:pt x="1236820" y="2991231"/>
                    <a:pt x="1234058" y="2988469"/>
                    <a:pt x="1234058" y="2985040"/>
                  </a:cubicBezTo>
                  <a:cubicBezTo>
                    <a:pt x="1234058" y="2981611"/>
                    <a:pt x="1236820" y="2978849"/>
                    <a:pt x="1240249" y="2978849"/>
                  </a:cubicBezTo>
                  <a:close/>
                  <a:moveTo>
                    <a:pt x="669607" y="2978087"/>
                  </a:moveTo>
                  <a:cubicBezTo>
                    <a:pt x="673036" y="2978087"/>
                    <a:pt x="675798" y="2980849"/>
                    <a:pt x="675798" y="2984278"/>
                  </a:cubicBezTo>
                  <a:cubicBezTo>
                    <a:pt x="675798" y="2987707"/>
                    <a:pt x="673036" y="2990470"/>
                    <a:pt x="669607" y="2990470"/>
                  </a:cubicBezTo>
                  <a:cubicBezTo>
                    <a:pt x="666178" y="2990470"/>
                    <a:pt x="663416" y="2987707"/>
                    <a:pt x="663416" y="2984278"/>
                  </a:cubicBezTo>
                  <a:cubicBezTo>
                    <a:pt x="663416" y="2980849"/>
                    <a:pt x="666178" y="2978087"/>
                    <a:pt x="669607" y="2978087"/>
                  </a:cubicBezTo>
                  <a:close/>
                  <a:moveTo>
                    <a:pt x="1057941" y="2977134"/>
                  </a:moveTo>
                  <a:cubicBezTo>
                    <a:pt x="1061370" y="2977134"/>
                    <a:pt x="1064133" y="2979896"/>
                    <a:pt x="1064133" y="2983325"/>
                  </a:cubicBezTo>
                  <a:cubicBezTo>
                    <a:pt x="1064133" y="2986754"/>
                    <a:pt x="1061370" y="2989517"/>
                    <a:pt x="1057941" y="2989517"/>
                  </a:cubicBezTo>
                  <a:cubicBezTo>
                    <a:pt x="1054512" y="2989517"/>
                    <a:pt x="1051750" y="2986754"/>
                    <a:pt x="1051750" y="2983325"/>
                  </a:cubicBezTo>
                  <a:cubicBezTo>
                    <a:pt x="1051750" y="2979896"/>
                    <a:pt x="1054512" y="2977134"/>
                    <a:pt x="1057941" y="2977134"/>
                  </a:cubicBezTo>
                  <a:close/>
                  <a:moveTo>
                    <a:pt x="2639377" y="2976944"/>
                  </a:moveTo>
                  <a:cubicBezTo>
                    <a:pt x="2642806" y="2976944"/>
                    <a:pt x="2645568" y="2979706"/>
                    <a:pt x="2645568" y="2983135"/>
                  </a:cubicBezTo>
                  <a:cubicBezTo>
                    <a:pt x="2645568" y="2986564"/>
                    <a:pt x="2642806" y="2989326"/>
                    <a:pt x="2639377" y="2989326"/>
                  </a:cubicBezTo>
                  <a:cubicBezTo>
                    <a:pt x="2635948" y="2989326"/>
                    <a:pt x="2633186" y="2986564"/>
                    <a:pt x="2633186" y="2983135"/>
                  </a:cubicBezTo>
                  <a:cubicBezTo>
                    <a:pt x="2633186" y="2979706"/>
                    <a:pt x="2635948" y="2976944"/>
                    <a:pt x="2639377" y="2976944"/>
                  </a:cubicBezTo>
                  <a:close/>
                  <a:moveTo>
                    <a:pt x="781335" y="2976468"/>
                  </a:moveTo>
                  <a:cubicBezTo>
                    <a:pt x="784764" y="2976468"/>
                    <a:pt x="787527" y="2979230"/>
                    <a:pt x="787527" y="2982659"/>
                  </a:cubicBezTo>
                  <a:cubicBezTo>
                    <a:pt x="787527" y="2986088"/>
                    <a:pt x="784764" y="2988850"/>
                    <a:pt x="781335" y="2988850"/>
                  </a:cubicBezTo>
                  <a:cubicBezTo>
                    <a:pt x="777906" y="2988850"/>
                    <a:pt x="775144" y="2986088"/>
                    <a:pt x="775144" y="2982659"/>
                  </a:cubicBezTo>
                  <a:cubicBezTo>
                    <a:pt x="775144" y="2979230"/>
                    <a:pt x="777906" y="2976468"/>
                    <a:pt x="781335" y="2976468"/>
                  </a:cubicBezTo>
                  <a:close/>
                  <a:moveTo>
                    <a:pt x="2708719" y="2975515"/>
                  </a:moveTo>
                  <a:cubicBezTo>
                    <a:pt x="2712148" y="2975515"/>
                    <a:pt x="2714910" y="2978277"/>
                    <a:pt x="2714910" y="2981706"/>
                  </a:cubicBezTo>
                  <a:cubicBezTo>
                    <a:pt x="2714910" y="2985135"/>
                    <a:pt x="2712148" y="2987897"/>
                    <a:pt x="2708719" y="2987897"/>
                  </a:cubicBezTo>
                  <a:cubicBezTo>
                    <a:pt x="2705290" y="2987897"/>
                    <a:pt x="2702528" y="2985135"/>
                    <a:pt x="2702528" y="2981706"/>
                  </a:cubicBezTo>
                  <a:cubicBezTo>
                    <a:pt x="2702528" y="2978277"/>
                    <a:pt x="2705290" y="2975515"/>
                    <a:pt x="2708719" y="2975515"/>
                  </a:cubicBezTo>
                  <a:close/>
                  <a:moveTo>
                    <a:pt x="2672524" y="2975229"/>
                  </a:moveTo>
                  <a:cubicBezTo>
                    <a:pt x="2675953" y="2975229"/>
                    <a:pt x="2678716" y="2977991"/>
                    <a:pt x="2678716" y="2981420"/>
                  </a:cubicBezTo>
                  <a:cubicBezTo>
                    <a:pt x="2678716" y="2984849"/>
                    <a:pt x="2675953" y="2987611"/>
                    <a:pt x="2672524" y="2987611"/>
                  </a:cubicBezTo>
                  <a:cubicBezTo>
                    <a:pt x="2669095" y="2987611"/>
                    <a:pt x="2666333" y="2984849"/>
                    <a:pt x="2666333" y="2981420"/>
                  </a:cubicBezTo>
                  <a:cubicBezTo>
                    <a:pt x="2666333" y="2977991"/>
                    <a:pt x="2669095" y="2975229"/>
                    <a:pt x="2672524" y="2975229"/>
                  </a:cubicBezTo>
                  <a:close/>
                  <a:moveTo>
                    <a:pt x="682847" y="2975229"/>
                  </a:moveTo>
                  <a:cubicBezTo>
                    <a:pt x="686276" y="2975229"/>
                    <a:pt x="689038" y="2977991"/>
                    <a:pt x="689038" y="2981420"/>
                  </a:cubicBezTo>
                  <a:cubicBezTo>
                    <a:pt x="689038" y="2984849"/>
                    <a:pt x="686276" y="2987611"/>
                    <a:pt x="682847" y="2987611"/>
                  </a:cubicBezTo>
                  <a:cubicBezTo>
                    <a:pt x="679418" y="2987611"/>
                    <a:pt x="676656" y="2984849"/>
                    <a:pt x="676656" y="2981420"/>
                  </a:cubicBezTo>
                  <a:cubicBezTo>
                    <a:pt x="676656" y="2977991"/>
                    <a:pt x="679418" y="2975229"/>
                    <a:pt x="682847" y="2975229"/>
                  </a:cubicBezTo>
                  <a:close/>
                  <a:moveTo>
                    <a:pt x="651890" y="2974467"/>
                  </a:moveTo>
                  <a:cubicBezTo>
                    <a:pt x="655319" y="2974467"/>
                    <a:pt x="658081" y="2977229"/>
                    <a:pt x="658081" y="2980658"/>
                  </a:cubicBezTo>
                  <a:cubicBezTo>
                    <a:pt x="658081" y="2984087"/>
                    <a:pt x="655319" y="2986850"/>
                    <a:pt x="651890" y="2986850"/>
                  </a:cubicBezTo>
                  <a:cubicBezTo>
                    <a:pt x="648461" y="2986850"/>
                    <a:pt x="645699" y="2984087"/>
                    <a:pt x="645699" y="2980658"/>
                  </a:cubicBezTo>
                  <a:cubicBezTo>
                    <a:pt x="645699" y="2977229"/>
                    <a:pt x="648461" y="2974467"/>
                    <a:pt x="651890" y="2974467"/>
                  </a:cubicBezTo>
                  <a:close/>
                  <a:moveTo>
                    <a:pt x="633888" y="2974467"/>
                  </a:moveTo>
                  <a:cubicBezTo>
                    <a:pt x="637317" y="2974467"/>
                    <a:pt x="640079" y="2977229"/>
                    <a:pt x="640079" y="2980658"/>
                  </a:cubicBezTo>
                  <a:cubicBezTo>
                    <a:pt x="640079" y="2984087"/>
                    <a:pt x="637317" y="2986850"/>
                    <a:pt x="633888" y="2986850"/>
                  </a:cubicBezTo>
                  <a:cubicBezTo>
                    <a:pt x="630459" y="2986850"/>
                    <a:pt x="627697" y="2984087"/>
                    <a:pt x="627697" y="2980658"/>
                  </a:cubicBezTo>
                  <a:cubicBezTo>
                    <a:pt x="627697" y="2977229"/>
                    <a:pt x="630459" y="2974467"/>
                    <a:pt x="633888" y="2974467"/>
                  </a:cubicBezTo>
                  <a:close/>
                  <a:moveTo>
                    <a:pt x="2690145" y="2973324"/>
                  </a:moveTo>
                  <a:cubicBezTo>
                    <a:pt x="2693574" y="2973324"/>
                    <a:pt x="2696336" y="2976086"/>
                    <a:pt x="2696336" y="2979515"/>
                  </a:cubicBezTo>
                  <a:cubicBezTo>
                    <a:pt x="2696336" y="2982944"/>
                    <a:pt x="2693574" y="2985707"/>
                    <a:pt x="2690145" y="2985707"/>
                  </a:cubicBezTo>
                  <a:cubicBezTo>
                    <a:pt x="2686716" y="2985707"/>
                    <a:pt x="2683954" y="2982944"/>
                    <a:pt x="2683954" y="2979515"/>
                  </a:cubicBezTo>
                  <a:cubicBezTo>
                    <a:pt x="2683954" y="2976086"/>
                    <a:pt x="2686716" y="2973324"/>
                    <a:pt x="2690145" y="2973324"/>
                  </a:cubicBezTo>
                  <a:close/>
                  <a:moveTo>
                    <a:pt x="2466117" y="2973229"/>
                  </a:moveTo>
                  <a:cubicBezTo>
                    <a:pt x="2469546" y="2973229"/>
                    <a:pt x="2472308" y="2975991"/>
                    <a:pt x="2472308" y="2979420"/>
                  </a:cubicBezTo>
                  <a:cubicBezTo>
                    <a:pt x="2472308" y="2982849"/>
                    <a:pt x="2469546" y="2985611"/>
                    <a:pt x="2466117" y="2985611"/>
                  </a:cubicBezTo>
                  <a:cubicBezTo>
                    <a:pt x="2462688" y="2985611"/>
                    <a:pt x="2459926" y="2982849"/>
                    <a:pt x="2459926" y="2979420"/>
                  </a:cubicBezTo>
                  <a:cubicBezTo>
                    <a:pt x="2459926" y="2975991"/>
                    <a:pt x="2462688" y="2973229"/>
                    <a:pt x="2466117" y="2973229"/>
                  </a:cubicBezTo>
                  <a:close/>
                  <a:moveTo>
                    <a:pt x="2395727" y="2972372"/>
                  </a:moveTo>
                  <a:cubicBezTo>
                    <a:pt x="2399156" y="2972372"/>
                    <a:pt x="2401919" y="2975134"/>
                    <a:pt x="2401919" y="2978563"/>
                  </a:cubicBezTo>
                  <a:cubicBezTo>
                    <a:pt x="2401919" y="2981992"/>
                    <a:pt x="2399156" y="2984755"/>
                    <a:pt x="2395727" y="2984755"/>
                  </a:cubicBezTo>
                  <a:cubicBezTo>
                    <a:pt x="2392298" y="2984755"/>
                    <a:pt x="2389536" y="2981992"/>
                    <a:pt x="2389536" y="2978563"/>
                  </a:cubicBezTo>
                  <a:cubicBezTo>
                    <a:pt x="2389536" y="2975134"/>
                    <a:pt x="2392298" y="2972372"/>
                    <a:pt x="2395727" y="2972372"/>
                  </a:cubicBezTo>
                  <a:close/>
                  <a:moveTo>
                    <a:pt x="2660617" y="2971800"/>
                  </a:moveTo>
                  <a:cubicBezTo>
                    <a:pt x="2664046" y="2971800"/>
                    <a:pt x="2666809" y="2974562"/>
                    <a:pt x="2666809" y="2977991"/>
                  </a:cubicBezTo>
                  <a:cubicBezTo>
                    <a:pt x="2666809" y="2981420"/>
                    <a:pt x="2664046" y="2984183"/>
                    <a:pt x="2660617" y="2984183"/>
                  </a:cubicBezTo>
                  <a:cubicBezTo>
                    <a:pt x="2657188" y="2984183"/>
                    <a:pt x="2654426" y="2981420"/>
                    <a:pt x="2654426" y="2977991"/>
                  </a:cubicBezTo>
                  <a:cubicBezTo>
                    <a:pt x="2654426" y="2974562"/>
                    <a:pt x="2657188" y="2971800"/>
                    <a:pt x="2660617" y="2971800"/>
                  </a:cubicBezTo>
                  <a:close/>
                  <a:moveTo>
                    <a:pt x="2731484" y="2971134"/>
                  </a:moveTo>
                  <a:cubicBezTo>
                    <a:pt x="2734798" y="2971134"/>
                    <a:pt x="2737484" y="2973821"/>
                    <a:pt x="2737484" y="2977135"/>
                  </a:cubicBezTo>
                  <a:cubicBezTo>
                    <a:pt x="2737484" y="2980449"/>
                    <a:pt x="2734798" y="2983135"/>
                    <a:pt x="2731484" y="2983135"/>
                  </a:cubicBezTo>
                  <a:cubicBezTo>
                    <a:pt x="2728170" y="2983135"/>
                    <a:pt x="2725483" y="2980449"/>
                    <a:pt x="2725483" y="2977135"/>
                  </a:cubicBezTo>
                  <a:cubicBezTo>
                    <a:pt x="2725483" y="2973821"/>
                    <a:pt x="2728170" y="2971134"/>
                    <a:pt x="2731484" y="2971134"/>
                  </a:cubicBezTo>
                  <a:close/>
                  <a:moveTo>
                    <a:pt x="2137028" y="2970562"/>
                  </a:moveTo>
                  <a:cubicBezTo>
                    <a:pt x="2140457" y="2970562"/>
                    <a:pt x="2143219" y="2973324"/>
                    <a:pt x="2143219" y="2976753"/>
                  </a:cubicBezTo>
                  <a:cubicBezTo>
                    <a:pt x="2143219" y="2980182"/>
                    <a:pt x="2140457" y="2982945"/>
                    <a:pt x="2137028" y="2982945"/>
                  </a:cubicBezTo>
                  <a:cubicBezTo>
                    <a:pt x="2133599" y="2982945"/>
                    <a:pt x="2130837" y="2980182"/>
                    <a:pt x="2130837" y="2976753"/>
                  </a:cubicBezTo>
                  <a:cubicBezTo>
                    <a:pt x="2130837" y="2973324"/>
                    <a:pt x="2133599" y="2970562"/>
                    <a:pt x="2137028" y="2970562"/>
                  </a:cubicBezTo>
                  <a:close/>
                  <a:moveTo>
                    <a:pt x="1643824" y="2970371"/>
                  </a:moveTo>
                  <a:cubicBezTo>
                    <a:pt x="1647253" y="2970371"/>
                    <a:pt x="1650016" y="2973133"/>
                    <a:pt x="1650016" y="2976562"/>
                  </a:cubicBezTo>
                  <a:cubicBezTo>
                    <a:pt x="1650016" y="2979991"/>
                    <a:pt x="1647253" y="2982754"/>
                    <a:pt x="1643824" y="2982754"/>
                  </a:cubicBezTo>
                  <a:cubicBezTo>
                    <a:pt x="1640395" y="2982754"/>
                    <a:pt x="1637633" y="2979991"/>
                    <a:pt x="1637633" y="2976562"/>
                  </a:cubicBezTo>
                  <a:cubicBezTo>
                    <a:pt x="1637633" y="2973133"/>
                    <a:pt x="1640395" y="2970371"/>
                    <a:pt x="1643824" y="2970371"/>
                  </a:cubicBezTo>
                  <a:close/>
                  <a:moveTo>
                    <a:pt x="663416" y="2969895"/>
                  </a:moveTo>
                  <a:cubicBezTo>
                    <a:pt x="666845" y="2969895"/>
                    <a:pt x="669608" y="2972657"/>
                    <a:pt x="669608" y="2976086"/>
                  </a:cubicBezTo>
                  <a:cubicBezTo>
                    <a:pt x="669608" y="2979515"/>
                    <a:pt x="666845" y="2982277"/>
                    <a:pt x="663416" y="2982277"/>
                  </a:cubicBezTo>
                  <a:cubicBezTo>
                    <a:pt x="659987" y="2982277"/>
                    <a:pt x="657225" y="2979515"/>
                    <a:pt x="657225" y="2976086"/>
                  </a:cubicBezTo>
                  <a:cubicBezTo>
                    <a:pt x="657225" y="2972657"/>
                    <a:pt x="659987" y="2969895"/>
                    <a:pt x="663416" y="2969895"/>
                  </a:cubicBezTo>
                  <a:close/>
                  <a:moveTo>
                    <a:pt x="2526124" y="2969800"/>
                  </a:moveTo>
                  <a:cubicBezTo>
                    <a:pt x="2529553" y="2969800"/>
                    <a:pt x="2532315" y="2972562"/>
                    <a:pt x="2532315" y="2975991"/>
                  </a:cubicBezTo>
                  <a:cubicBezTo>
                    <a:pt x="2532315" y="2979420"/>
                    <a:pt x="2529553" y="2982182"/>
                    <a:pt x="2526124" y="2982182"/>
                  </a:cubicBezTo>
                  <a:cubicBezTo>
                    <a:pt x="2522695" y="2982182"/>
                    <a:pt x="2519933" y="2979420"/>
                    <a:pt x="2519933" y="2975991"/>
                  </a:cubicBezTo>
                  <a:cubicBezTo>
                    <a:pt x="2519933" y="2972562"/>
                    <a:pt x="2522695" y="2969800"/>
                    <a:pt x="2526124" y="2969800"/>
                  </a:cubicBezTo>
                  <a:close/>
                  <a:moveTo>
                    <a:pt x="1739741" y="2969419"/>
                  </a:moveTo>
                  <a:cubicBezTo>
                    <a:pt x="1743170" y="2969419"/>
                    <a:pt x="1745933" y="2972181"/>
                    <a:pt x="1745933" y="2975610"/>
                  </a:cubicBezTo>
                  <a:cubicBezTo>
                    <a:pt x="1745933" y="2979039"/>
                    <a:pt x="1743170" y="2981802"/>
                    <a:pt x="1739741" y="2981802"/>
                  </a:cubicBezTo>
                  <a:cubicBezTo>
                    <a:pt x="1736312" y="2981802"/>
                    <a:pt x="1733550" y="2979039"/>
                    <a:pt x="1733550" y="2975610"/>
                  </a:cubicBezTo>
                  <a:cubicBezTo>
                    <a:pt x="1733550" y="2972181"/>
                    <a:pt x="1736312" y="2969419"/>
                    <a:pt x="1739741" y="2969419"/>
                  </a:cubicBezTo>
                  <a:close/>
                  <a:moveTo>
                    <a:pt x="701706" y="2968847"/>
                  </a:moveTo>
                  <a:cubicBezTo>
                    <a:pt x="705135" y="2968847"/>
                    <a:pt x="707898" y="2971609"/>
                    <a:pt x="707898" y="2975038"/>
                  </a:cubicBezTo>
                  <a:cubicBezTo>
                    <a:pt x="707898" y="2978467"/>
                    <a:pt x="705135" y="2981230"/>
                    <a:pt x="701706" y="2981230"/>
                  </a:cubicBezTo>
                  <a:cubicBezTo>
                    <a:pt x="698277" y="2981230"/>
                    <a:pt x="695515" y="2978467"/>
                    <a:pt x="695515" y="2975038"/>
                  </a:cubicBezTo>
                  <a:cubicBezTo>
                    <a:pt x="695515" y="2971609"/>
                    <a:pt x="698277" y="2968847"/>
                    <a:pt x="701706" y="2968847"/>
                  </a:cubicBezTo>
                  <a:close/>
                  <a:moveTo>
                    <a:pt x="2616326" y="2967895"/>
                  </a:moveTo>
                  <a:cubicBezTo>
                    <a:pt x="2619755" y="2967895"/>
                    <a:pt x="2622517" y="2970657"/>
                    <a:pt x="2622517" y="2974086"/>
                  </a:cubicBezTo>
                  <a:cubicBezTo>
                    <a:pt x="2622517" y="2977515"/>
                    <a:pt x="2619755" y="2980278"/>
                    <a:pt x="2616326" y="2980278"/>
                  </a:cubicBezTo>
                  <a:cubicBezTo>
                    <a:pt x="2612897" y="2980278"/>
                    <a:pt x="2610135" y="2977515"/>
                    <a:pt x="2610135" y="2974086"/>
                  </a:cubicBezTo>
                  <a:cubicBezTo>
                    <a:pt x="2610135" y="2970657"/>
                    <a:pt x="2612897" y="2967895"/>
                    <a:pt x="2616326" y="2967895"/>
                  </a:cubicBezTo>
                  <a:close/>
                  <a:moveTo>
                    <a:pt x="1548002" y="2967800"/>
                  </a:moveTo>
                  <a:cubicBezTo>
                    <a:pt x="1551431" y="2967800"/>
                    <a:pt x="1554194" y="2970562"/>
                    <a:pt x="1554194" y="2973991"/>
                  </a:cubicBezTo>
                  <a:cubicBezTo>
                    <a:pt x="1554194" y="2977420"/>
                    <a:pt x="1551431" y="2980182"/>
                    <a:pt x="1548002" y="2980182"/>
                  </a:cubicBezTo>
                  <a:cubicBezTo>
                    <a:pt x="1544573" y="2980182"/>
                    <a:pt x="1541811" y="2977420"/>
                    <a:pt x="1541811" y="2973991"/>
                  </a:cubicBezTo>
                  <a:cubicBezTo>
                    <a:pt x="1541811" y="2970562"/>
                    <a:pt x="1544573" y="2967800"/>
                    <a:pt x="1548002" y="2967800"/>
                  </a:cubicBezTo>
                  <a:close/>
                  <a:moveTo>
                    <a:pt x="735520" y="2967228"/>
                  </a:moveTo>
                  <a:cubicBezTo>
                    <a:pt x="738949" y="2967228"/>
                    <a:pt x="741712" y="2969990"/>
                    <a:pt x="741712" y="2973419"/>
                  </a:cubicBezTo>
                  <a:cubicBezTo>
                    <a:pt x="741712" y="2976848"/>
                    <a:pt x="738949" y="2979610"/>
                    <a:pt x="735520" y="2979610"/>
                  </a:cubicBezTo>
                  <a:cubicBezTo>
                    <a:pt x="732091" y="2979610"/>
                    <a:pt x="729329" y="2976848"/>
                    <a:pt x="729329" y="2973419"/>
                  </a:cubicBezTo>
                  <a:cubicBezTo>
                    <a:pt x="729329" y="2969990"/>
                    <a:pt x="732091" y="2967228"/>
                    <a:pt x="735520" y="2967228"/>
                  </a:cubicBezTo>
                  <a:close/>
                  <a:moveTo>
                    <a:pt x="2678429" y="2966943"/>
                  </a:moveTo>
                  <a:cubicBezTo>
                    <a:pt x="2681858" y="2966943"/>
                    <a:pt x="2684621" y="2969705"/>
                    <a:pt x="2684621" y="2973134"/>
                  </a:cubicBezTo>
                  <a:cubicBezTo>
                    <a:pt x="2684621" y="2976563"/>
                    <a:pt x="2681858" y="2979325"/>
                    <a:pt x="2678429" y="2979325"/>
                  </a:cubicBezTo>
                  <a:cubicBezTo>
                    <a:pt x="2675000" y="2979325"/>
                    <a:pt x="2672238" y="2976563"/>
                    <a:pt x="2672238" y="2973134"/>
                  </a:cubicBezTo>
                  <a:cubicBezTo>
                    <a:pt x="2672238" y="2969705"/>
                    <a:pt x="2675000" y="2966943"/>
                    <a:pt x="2678429" y="2966943"/>
                  </a:cubicBezTo>
                  <a:close/>
                  <a:moveTo>
                    <a:pt x="2645282" y="2966847"/>
                  </a:moveTo>
                  <a:cubicBezTo>
                    <a:pt x="2648702" y="2966847"/>
                    <a:pt x="2651473" y="2969619"/>
                    <a:pt x="2651473" y="2973038"/>
                  </a:cubicBezTo>
                  <a:cubicBezTo>
                    <a:pt x="2651473" y="2976457"/>
                    <a:pt x="2648702" y="2979229"/>
                    <a:pt x="2645282" y="2979229"/>
                  </a:cubicBezTo>
                  <a:cubicBezTo>
                    <a:pt x="2641863" y="2979229"/>
                    <a:pt x="2639091" y="2976457"/>
                    <a:pt x="2639091" y="2973038"/>
                  </a:cubicBezTo>
                  <a:cubicBezTo>
                    <a:pt x="2639091" y="2969619"/>
                    <a:pt x="2641863" y="2966847"/>
                    <a:pt x="2645282" y="2966847"/>
                  </a:cubicBezTo>
                  <a:close/>
                  <a:moveTo>
                    <a:pt x="2313717" y="2966085"/>
                  </a:moveTo>
                  <a:cubicBezTo>
                    <a:pt x="2317146" y="2966085"/>
                    <a:pt x="2319909" y="2968847"/>
                    <a:pt x="2319909" y="2972276"/>
                  </a:cubicBezTo>
                  <a:cubicBezTo>
                    <a:pt x="2319909" y="2975705"/>
                    <a:pt x="2317146" y="2978467"/>
                    <a:pt x="2313717" y="2978467"/>
                  </a:cubicBezTo>
                  <a:cubicBezTo>
                    <a:pt x="2310288" y="2978467"/>
                    <a:pt x="2307526" y="2975705"/>
                    <a:pt x="2307526" y="2972276"/>
                  </a:cubicBezTo>
                  <a:cubicBezTo>
                    <a:pt x="2307526" y="2968847"/>
                    <a:pt x="2310288" y="2966085"/>
                    <a:pt x="2313717" y="2966085"/>
                  </a:cubicBezTo>
                  <a:close/>
                  <a:moveTo>
                    <a:pt x="676465" y="2965990"/>
                  </a:moveTo>
                  <a:cubicBezTo>
                    <a:pt x="679894" y="2965990"/>
                    <a:pt x="682656" y="2968752"/>
                    <a:pt x="682656" y="2972181"/>
                  </a:cubicBezTo>
                  <a:cubicBezTo>
                    <a:pt x="682656" y="2975610"/>
                    <a:pt x="679894" y="2978372"/>
                    <a:pt x="676465" y="2978372"/>
                  </a:cubicBezTo>
                  <a:cubicBezTo>
                    <a:pt x="673036" y="2978372"/>
                    <a:pt x="670274" y="2975610"/>
                    <a:pt x="670274" y="2972181"/>
                  </a:cubicBezTo>
                  <a:cubicBezTo>
                    <a:pt x="670274" y="2968752"/>
                    <a:pt x="673036" y="2965990"/>
                    <a:pt x="676465" y="2965990"/>
                  </a:cubicBezTo>
                  <a:close/>
                  <a:moveTo>
                    <a:pt x="646366" y="2965895"/>
                  </a:moveTo>
                  <a:cubicBezTo>
                    <a:pt x="649795" y="2965895"/>
                    <a:pt x="652558" y="2968657"/>
                    <a:pt x="652558" y="2972086"/>
                  </a:cubicBezTo>
                  <a:cubicBezTo>
                    <a:pt x="652558" y="2975515"/>
                    <a:pt x="649795" y="2978278"/>
                    <a:pt x="646366" y="2978278"/>
                  </a:cubicBezTo>
                  <a:cubicBezTo>
                    <a:pt x="642937" y="2978278"/>
                    <a:pt x="640175" y="2975515"/>
                    <a:pt x="640175" y="2972086"/>
                  </a:cubicBezTo>
                  <a:cubicBezTo>
                    <a:pt x="640175" y="2968657"/>
                    <a:pt x="642937" y="2965895"/>
                    <a:pt x="646366" y="2965895"/>
                  </a:cubicBezTo>
                  <a:close/>
                  <a:moveTo>
                    <a:pt x="2712338" y="2965228"/>
                  </a:moveTo>
                  <a:cubicBezTo>
                    <a:pt x="2715767" y="2965228"/>
                    <a:pt x="2718530" y="2967990"/>
                    <a:pt x="2718530" y="2971419"/>
                  </a:cubicBezTo>
                  <a:cubicBezTo>
                    <a:pt x="2718530" y="2974848"/>
                    <a:pt x="2715767" y="2977611"/>
                    <a:pt x="2712338" y="2977611"/>
                  </a:cubicBezTo>
                  <a:cubicBezTo>
                    <a:pt x="2708909" y="2977611"/>
                    <a:pt x="2706147" y="2974848"/>
                    <a:pt x="2706147" y="2971419"/>
                  </a:cubicBezTo>
                  <a:cubicBezTo>
                    <a:pt x="2706147" y="2967990"/>
                    <a:pt x="2708909" y="2965228"/>
                    <a:pt x="2712338" y="2965228"/>
                  </a:cubicBezTo>
                  <a:close/>
                  <a:moveTo>
                    <a:pt x="1835086" y="2964942"/>
                  </a:moveTo>
                  <a:cubicBezTo>
                    <a:pt x="1838515" y="2964942"/>
                    <a:pt x="1841278" y="2967704"/>
                    <a:pt x="1841278" y="2971133"/>
                  </a:cubicBezTo>
                  <a:cubicBezTo>
                    <a:pt x="1841278" y="2974562"/>
                    <a:pt x="1838515" y="2977325"/>
                    <a:pt x="1835086" y="2977325"/>
                  </a:cubicBezTo>
                  <a:cubicBezTo>
                    <a:pt x="1831657" y="2977325"/>
                    <a:pt x="1828895" y="2974562"/>
                    <a:pt x="1828895" y="2971133"/>
                  </a:cubicBezTo>
                  <a:cubicBezTo>
                    <a:pt x="1828895" y="2967704"/>
                    <a:pt x="1831657" y="2964942"/>
                    <a:pt x="1835086" y="2964942"/>
                  </a:cubicBezTo>
                  <a:close/>
                  <a:moveTo>
                    <a:pt x="629602" y="2964847"/>
                  </a:moveTo>
                  <a:cubicBezTo>
                    <a:pt x="633031" y="2964847"/>
                    <a:pt x="635794" y="2967609"/>
                    <a:pt x="635794" y="2971038"/>
                  </a:cubicBezTo>
                  <a:cubicBezTo>
                    <a:pt x="635794" y="2974467"/>
                    <a:pt x="633031" y="2977229"/>
                    <a:pt x="629602" y="2977229"/>
                  </a:cubicBezTo>
                  <a:cubicBezTo>
                    <a:pt x="626173" y="2977229"/>
                    <a:pt x="623411" y="2974467"/>
                    <a:pt x="623411" y="2971038"/>
                  </a:cubicBezTo>
                  <a:cubicBezTo>
                    <a:pt x="623411" y="2967609"/>
                    <a:pt x="626173" y="2964847"/>
                    <a:pt x="629602" y="2964847"/>
                  </a:cubicBezTo>
                  <a:close/>
                  <a:moveTo>
                    <a:pt x="2695098" y="2964276"/>
                  </a:moveTo>
                  <a:cubicBezTo>
                    <a:pt x="2698527" y="2964276"/>
                    <a:pt x="2701290" y="2967038"/>
                    <a:pt x="2701290" y="2970467"/>
                  </a:cubicBezTo>
                  <a:cubicBezTo>
                    <a:pt x="2701290" y="2973896"/>
                    <a:pt x="2698527" y="2976658"/>
                    <a:pt x="2695098" y="2976658"/>
                  </a:cubicBezTo>
                  <a:cubicBezTo>
                    <a:pt x="2691669" y="2976658"/>
                    <a:pt x="2688907" y="2973896"/>
                    <a:pt x="2688907" y="2970467"/>
                  </a:cubicBezTo>
                  <a:cubicBezTo>
                    <a:pt x="2688907" y="2967038"/>
                    <a:pt x="2691669" y="2964276"/>
                    <a:pt x="2695098" y="2964276"/>
                  </a:cubicBezTo>
                  <a:close/>
                  <a:moveTo>
                    <a:pt x="2667190" y="2962942"/>
                  </a:moveTo>
                  <a:cubicBezTo>
                    <a:pt x="2670619" y="2962942"/>
                    <a:pt x="2673382" y="2965704"/>
                    <a:pt x="2673382" y="2969133"/>
                  </a:cubicBezTo>
                  <a:cubicBezTo>
                    <a:pt x="2673382" y="2972562"/>
                    <a:pt x="2670619" y="2975324"/>
                    <a:pt x="2667190" y="2975324"/>
                  </a:cubicBezTo>
                  <a:cubicBezTo>
                    <a:pt x="2663761" y="2975324"/>
                    <a:pt x="2660999" y="2972562"/>
                    <a:pt x="2660999" y="2969133"/>
                  </a:cubicBezTo>
                  <a:cubicBezTo>
                    <a:pt x="2660999" y="2965704"/>
                    <a:pt x="2663761" y="2962942"/>
                    <a:pt x="2667190" y="2962942"/>
                  </a:cubicBezTo>
                  <a:close/>
                  <a:moveTo>
                    <a:pt x="2577179" y="2962942"/>
                  </a:moveTo>
                  <a:cubicBezTo>
                    <a:pt x="2580608" y="2962942"/>
                    <a:pt x="2583370" y="2965704"/>
                    <a:pt x="2583370" y="2969133"/>
                  </a:cubicBezTo>
                  <a:cubicBezTo>
                    <a:pt x="2583370" y="2972562"/>
                    <a:pt x="2580608" y="2975324"/>
                    <a:pt x="2577179" y="2975324"/>
                  </a:cubicBezTo>
                  <a:cubicBezTo>
                    <a:pt x="2573750" y="2975324"/>
                    <a:pt x="2570988" y="2972562"/>
                    <a:pt x="2570988" y="2969133"/>
                  </a:cubicBezTo>
                  <a:cubicBezTo>
                    <a:pt x="2570988" y="2965704"/>
                    <a:pt x="2573750" y="2962942"/>
                    <a:pt x="2577179" y="2962942"/>
                  </a:cubicBezTo>
                  <a:close/>
                  <a:moveTo>
                    <a:pt x="1156620" y="2962656"/>
                  </a:moveTo>
                  <a:cubicBezTo>
                    <a:pt x="1160049" y="2962656"/>
                    <a:pt x="1162812" y="2965418"/>
                    <a:pt x="1162812" y="2968847"/>
                  </a:cubicBezTo>
                  <a:cubicBezTo>
                    <a:pt x="1162812" y="2972276"/>
                    <a:pt x="1160049" y="2975038"/>
                    <a:pt x="1156620" y="2975038"/>
                  </a:cubicBezTo>
                  <a:cubicBezTo>
                    <a:pt x="1153191" y="2975038"/>
                    <a:pt x="1150429" y="2972276"/>
                    <a:pt x="1150429" y="2968847"/>
                  </a:cubicBezTo>
                  <a:cubicBezTo>
                    <a:pt x="1150429" y="2965418"/>
                    <a:pt x="1153191" y="2962656"/>
                    <a:pt x="1156620" y="2962656"/>
                  </a:cubicBezTo>
                  <a:close/>
                  <a:moveTo>
                    <a:pt x="838866" y="2961894"/>
                  </a:moveTo>
                  <a:cubicBezTo>
                    <a:pt x="842295" y="2961894"/>
                    <a:pt x="845058" y="2964656"/>
                    <a:pt x="845058" y="2968085"/>
                  </a:cubicBezTo>
                  <a:cubicBezTo>
                    <a:pt x="845058" y="2971514"/>
                    <a:pt x="842295" y="2974276"/>
                    <a:pt x="838866" y="2974276"/>
                  </a:cubicBezTo>
                  <a:cubicBezTo>
                    <a:pt x="835437" y="2974276"/>
                    <a:pt x="832675" y="2971514"/>
                    <a:pt x="832675" y="2968085"/>
                  </a:cubicBezTo>
                  <a:cubicBezTo>
                    <a:pt x="832675" y="2964656"/>
                    <a:pt x="835437" y="2961894"/>
                    <a:pt x="838866" y="2961894"/>
                  </a:cubicBezTo>
                  <a:close/>
                  <a:moveTo>
                    <a:pt x="1453228" y="2961704"/>
                  </a:moveTo>
                  <a:cubicBezTo>
                    <a:pt x="1456657" y="2961704"/>
                    <a:pt x="1459420" y="2964466"/>
                    <a:pt x="1459420" y="2967895"/>
                  </a:cubicBezTo>
                  <a:cubicBezTo>
                    <a:pt x="1459420" y="2971324"/>
                    <a:pt x="1456657" y="2974087"/>
                    <a:pt x="1453228" y="2974087"/>
                  </a:cubicBezTo>
                  <a:cubicBezTo>
                    <a:pt x="1449799" y="2974087"/>
                    <a:pt x="1447037" y="2971324"/>
                    <a:pt x="1447037" y="2967895"/>
                  </a:cubicBezTo>
                  <a:cubicBezTo>
                    <a:pt x="1447037" y="2964466"/>
                    <a:pt x="1449799" y="2961704"/>
                    <a:pt x="1453228" y="2961704"/>
                  </a:cubicBezTo>
                  <a:close/>
                  <a:moveTo>
                    <a:pt x="906208" y="2961609"/>
                  </a:moveTo>
                  <a:cubicBezTo>
                    <a:pt x="909637" y="2961609"/>
                    <a:pt x="912400" y="2964371"/>
                    <a:pt x="912400" y="2967800"/>
                  </a:cubicBezTo>
                  <a:cubicBezTo>
                    <a:pt x="912400" y="2971229"/>
                    <a:pt x="909637" y="2973991"/>
                    <a:pt x="906208" y="2973991"/>
                  </a:cubicBezTo>
                  <a:cubicBezTo>
                    <a:pt x="902779" y="2973991"/>
                    <a:pt x="900017" y="2971229"/>
                    <a:pt x="900017" y="2967800"/>
                  </a:cubicBezTo>
                  <a:cubicBezTo>
                    <a:pt x="900017" y="2964371"/>
                    <a:pt x="902779" y="2961609"/>
                    <a:pt x="906208" y="2961609"/>
                  </a:cubicBezTo>
                  <a:close/>
                  <a:moveTo>
                    <a:pt x="656843" y="2961323"/>
                  </a:moveTo>
                  <a:cubicBezTo>
                    <a:pt x="660272" y="2961323"/>
                    <a:pt x="663035" y="2964085"/>
                    <a:pt x="663035" y="2967514"/>
                  </a:cubicBezTo>
                  <a:cubicBezTo>
                    <a:pt x="663035" y="2970943"/>
                    <a:pt x="660272" y="2973705"/>
                    <a:pt x="656843" y="2973705"/>
                  </a:cubicBezTo>
                  <a:cubicBezTo>
                    <a:pt x="653414" y="2973705"/>
                    <a:pt x="650652" y="2970943"/>
                    <a:pt x="650652" y="2967514"/>
                  </a:cubicBezTo>
                  <a:cubicBezTo>
                    <a:pt x="650652" y="2964085"/>
                    <a:pt x="653414" y="2961323"/>
                    <a:pt x="656843" y="2961323"/>
                  </a:cubicBezTo>
                  <a:close/>
                  <a:moveTo>
                    <a:pt x="2756535" y="2959608"/>
                  </a:moveTo>
                  <a:cubicBezTo>
                    <a:pt x="2757963" y="2959608"/>
                    <a:pt x="2759107" y="2960751"/>
                    <a:pt x="2759107" y="2962180"/>
                  </a:cubicBezTo>
                  <a:cubicBezTo>
                    <a:pt x="2759107" y="2963609"/>
                    <a:pt x="2757963" y="2964752"/>
                    <a:pt x="2756535" y="2964752"/>
                  </a:cubicBezTo>
                  <a:cubicBezTo>
                    <a:pt x="2755106" y="2964752"/>
                    <a:pt x="2753963" y="2963609"/>
                    <a:pt x="2753963" y="2962180"/>
                  </a:cubicBezTo>
                  <a:cubicBezTo>
                    <a:pt x="2753963" y="2960751"/>
                    <a:pt x="2755106" y="2959608"/>
                    <a:pt x="2756535" y="2959608"/>
                  </a:cubicBezTo>
                  <a:close/>
                  <a:moveTo>
                    <a:pt x="2734341" y="2959513"/>
                  </a:moveTo>
                  <a:cubicBezTo>
                    <a:pt x="2737770" y="2959513"/>
                    <a:pt x="2740532" y="2962275"/>
                    <a:pt x="2740532" y="2965704"/>
                  </a:cubicBezTo>
                  <a:cubicBezTo>
                    <a:pt x="2740532" y="2969133"/>
                    <a:pt x="2737770" y="2971895"/>
                    <a:pt x="2734341" y="2971895"/>
                  </a:cubicBezTo>
                  <a:cubicBezTo>
                    <a:pt x="2730912" y="2971895"/>
                    <a:pt x="2728150" y="2969133"/>
                    <a:pt x="2728150" y="2965704"/>
                  </a:cubicBezTo>
                  <a:cubicBezTo>
                    <a:pt x="2728150" y="2962275"/>
                    <a:pt x="2730912" y="2959513"/>
                    <a:pt x="2734341" y="2959513"/>
                  </a:cubicBezTo>
                  <a:close/>
                  <a:moveTo>
                    <a:pt x="607790" y="2959227"/>
                  </a:moveTo>
                  <a:cubicBezTo>
                    <a:pt x="610158" y="2959227"/>
                    <a:pt x="612077" y="2961146"/>
                    <a:pt x="612077" y="2963513"/>
                  </a:cubicBezTo>
                  <a:cubicBezTo>
                    <a:pt x="612077" y="2965881"/>
                    <a:pt x="610158" y="2967800"/>
                    <a:pt x="607790" y="2967800"/>
                  </a:cubicBezTo>
                  <a:cubicBezTo>
                    <a:pt x="605423" y="2967800"/>
                    <a:pt x="603504" y="2965881"/>
                    <a:pt x="603504" y="2963513"/>
                  </a:cubicBezTo>
                  <a:cubicBezTo>
                    <a:pt x="603504" y="2961146"/>
                    <a:pt x="605423" y="2959227"/>
                    <a:pt x="607790" y="2959227"/>
                  </a:cubicBezTo>
                  <a:close/>
                  <a:moveTo>
                    <a:pt x="2684906" y="2958370"/>
                  </a:moveTo>
                  <a:cubicBezTo>
                    <a:pt x="2688335" y="2958370"/>
                    <a:pt x="2691097" y="2961132"/>
                    <a:pt x="2691097" y="2964561"/>
                  </a:cubicBezTo>
                  <a:cubicBezTo>
                    <a:pt x="2691097" y="2967990"/>
                    <a:pt x="2688335" y="2970753"/>
                    <a:pt x="2684906" y="2970753"/>
                  </a:cubicBezTo>
                  <a:cubicBezTo>
                    <a:pt x="2681477" y="2970753"/>
                    <a:pt x="2678715" y="2967990"/>
                    <a:pt x="2678715" y="2964561"/>
                  </a:cubicBezTo>
                  <a:cubicBezTo>
                    <a:pt x="2678715" y="2961132"/>
                    <a:pt x="2681477" y="2958370"/>
                    <a:pt x="2684906" y="2958370"/>
                  </a:cubicBezTo>
                  <a:close/>
                  <a:moveTo>
                    <a:pt x="781526" y="2958084"/>
                  </a:moveTo>
                  <a:cubicBezTo>
                    <a:pt x="784955" y="2958084"/>
                    <a:pt x="787717" y="2960846"/>
                    <a:pt x="787717" y="2964275"/>
                  </a:cubicBezTo>
                  <a:cubicBezTo>
                    <a:pt x="787717" y="2967704"/>
                    <a:pt x="784955" y="2970467"/>
                    <a:pt x="781526" y="2970467"/>
                  </a:cubicBezTo>
                  <a:cubicBezTo>
                    <a:pt x="778097" y="2970467"/>
                    <a:pt x="775335" y="2967704"/>
                    <a:pt x="775335" y="2964275"/>
                  </a:cubicBezTo>
                  <a:cubicBezTo>
                    <a:pt x="775335" y="2960846"/>
                    <a:pt x="778097" y="2958084"/>
                    <a:pt x="781526" y="2958084"/>
                  </a:cubicBezTo>
                  <a:close/>
                  <a:moveTo>
                    <a:pt x="640270" y="2957227"/>
                  </a:moveTo>
                  <a:cubicBezTo>
                    <a:pt x="643699" y="2957227"/>
                    <a:pt x="646462" y="2959989"/>
                    <a:pt x="646462" y="2963418"/>
                  </a:cubicBezTo>
                  <a:cubicBezTo>
                    <a:pt x="646462" y="2966847"/>
                    <a:pt x="643699" y="2969610"/>
                    <a:pt x="640270" y="2969610"/>
                  </a:cubicBezTo>
                  <a:cubicBezTo>
                    <a:pt x="636841" y="2969610"/>
                    <a:pt x="634079" y="2966847"/>
                    <a:pt x="634079" y="2963418"/>
                  </a:cubicBezTo>
                  <a:cubicBezTo>
                    <a:pt x="634079" y="2959989"/>
                    <a:pt x="636841" y="2957227"/>
                    <a:pt x="640270" y="2957227"/>
                  </a:cubicBezTo>
                  <a:close/>
                  <a:moveTo>
                    <a:pt x="1929002" y="2957037"/>
                  </a:moveTo>
                  <a:cubicBezTo>
                    <a:pt x="1932431" y="2957037"/>
                    <a:pt x="1935194" y="2959799"/>
                    <a:pt x="1935194" y="2963228"/>
                  </a:cubicBezTo>
                  <a:cubicBezTo>
                    <a:pt x="1935194" y="2966657"/>
                    <a:pt x="1932431" y="2969419"/>
                    <a:pt x="1929002" y="2969419"/>
                  </a:cubicBezTo>
                  <a:cubicBezTo>
                    <a:pt x="1925573" y="2969419"/>
                    <a:pt x="1922811" y="2966657"/>
                    <a:pt x="1922811" y="2963228"/>
                  </a:cubicBezTo>
                  <a:cubicBezTo>
                    <a:pt x="1922811" y="2959799"/>
                    <a:pt x="1925573" y="2957037"/>
                    <a:pt x="1929002" y="2957037"/>
                  </a:cubicBezTo>
                  <a:close/>
                  <a:moveTo>
                    <a:pt x="696658" y="2956179"/>
                  </a:moveTo>
                  <a:cubicBezTo>
                    <a:pt x="700087" y="2956179"/>
                    <a:pt x="702850" y="2958941"/>
                    <a:pt x="702850" y="2962370"/>
                  </a:cubicBezTo>
                  <a:cubicBezTo>
                    <a:pt x="702850" y="2965799"/>
                    <a:pt x="700087" y="2968561"/>
                    <a:pt x="696658" y="2968561"/>
                  </a:cubicBezTo>
                  <a:cubicBezTo>
                    <a:pt x="693229" y="2968561"/>
                    <a:pt x="690467" y="2965799"/>
                    <a:pt x="690467" y="2962370"/>
                  </a:cubicBezTo>
                  <a:cubicBezTo>
                    <a:pt x="690467" y="2958941"/>
                    <a:pt x="693229" y="2956179"/>
                    <a:pt x="696658" y="2956179"/>
                  </a:cubicBezTo>
                  <a:close/>
                  <a:moveTo>
                    <a:pt x="984980" y="2956084"/>
                  </a:moveTo>
                  <a:cubicBezTo>
                    <a:pt x="988409" y="2956084"/>
                    <a:pt x="991171" y="2958846"/>
                    <a:pt x="991171" y="2962275"/>
                  </a:cubicBezTo>
                  <a:cubicBezTo>
                    <a:pt x="991171" y="2965704"/>
                    <a:pt x="988409" y="2968467"/>
                    <a:pt x="984980" y="2968467"/>
                  </a:cubicBezTo>
                  <a:cubicBezTo>
                    <a:pt x="981551" y="2968467"/>
                    <a:pt x="978789" y="2965704"/>
                    <a:pt x="978789" y="2962275"/>
                  </a:cubicBezTo>
                  <a:cubicBezTo>
                    <a:pt x="978789" y="2958846"/>
                    <a:pt x="981551" y="2956084"/>
                    <a:pt x="984980" y="2956084"/>
                  </a:cubicBezTo>
                  <a:close/>
                  <a:moveTo>
                    <a:pt x="670083" y="2955608"/>
                  </a:moveTo>
                  <a:cubicBezTo>
                    <a:pt x="673512" y="2955608"/>
                    <a:pt x="676275" y="2958370"/>
                    <a:pt x="676275" y="2961799"/>
                  </a:cubicBezTo>
                  <a:cubicBezTo>
                    <a:pt x="676275" y="2965228"/>
                    <a:pt x="673512" y="2967990"/>
                    <a:pt x="670083" y="2967990"/>
                  </a:cubicBezTo>
                  <a:cubicBezTo>
                    <a:pt x="666654" y="2967990"/>
                    <a:pt x="663892" y="2965228"/>
                    <a:pt x="663892" y="2961799"/>
                  </a:cubicBezTo>
                  <a:cubicBezTo>
                    <a:pt x="663892" y="2958370"/>
                    <a:pt x="666654" y="2955608"/>
                    <a:pt x="670083" y="2955608"/>
                  </a:cubicBezTo>
                  <a:close/>
                  <a:moveTo>
                    <a:pt x="2651188" y="2955512"/>
                  </a:moveTo>
                  <a:cubicBezTo>
                    <a:pt x="2654617" y="2955512"/>
                    <a:pt x="2657379" y="2958274"/>
                    <a:pt x="2657379" y="2961703"/>
                  </a:cubicBezTo>
                  <a:cubicBezTo>
                    <a:pt x="2657379" y="2965132"/>
                    <a:pt x="2654617" y="2967894"/>
                    <a:pt x="2651188" y="2967894"/>
                  </a:cubicBezTo>
                  <a:cubicBezTo>
                    <a:pt x="2647759" y="2967894"/>
                    <a:pt x="2644997" y="2965132"/>
                    <a:pt x="2644997" y="2961703"/>
                  </a:cubicBezTo>
                  <a:cubicBezTo>
                    <a:pt x="2644997" y="2958274"/>
                    <a:pt x="2647759" y="2955512"/>
                    <a:pt x="2651188" y="2955512"/>
                  </a:cubicBezTo>
                  <a:close/>
                  <a:moveTo>
                    <a:pt x="624458" y="2955417"/>
                  </a:moveTo>
                  <a:cubicBezTo>
                    <a:pt x="627887" y="2955417"/>
                    <a:pt x="630649" y="2958179"/>
                    <a:pt x="630649" y="2961608"/>
                  </a:cubicBezTo>
                  <a:cubicBezTo>
                    <a:pt x="630649" y="2965037"/>
                    <a:pt x="627887" y="2967800"/>
                    <a:pt x="624458" y="2967800"/>
                  </a:cubicBezTo>
                  <a:cubicBezTo>
                    <a:pt x="621029" y="2967800"/>
                    <a:pt x="618267" y="2965037"/>
                    <a:pt x="618267" y="2961608"/>
                  </a:cubicBezTo>
                  <a:cubicBezTo>
                    <a:pt x="618267" y="2958179"/>
                    <a:pt x="621029" y="2955417"/>
                    <a:pt x="624458" y="2955417"/>
                  </a:cubicBezTo>
                  <a:close/>
                  <a:moveTo>
                    <a:pt x="2716720" y="2955227"/>
                  </a:moveTo>
                  <a:cubicBezTo>
                    <a:pt x="2720149" y="2955227"/>
                    <a:pt x="2722911" y="2957989"/>
                    <a:pt x="2722911" y="2961418"/>
                  </a:cubicBezTo>
                  <a:cubicBezTo>
                    <a:pt x="2722911" y="2964847"/>
                    <a:pt x="2720149" y="2967609"/>
                    <a:pt x="2716720" y="2967609"/>
                  </a:cubicBezTo>
                  <a:cubicBezTo>
                    <a:pt x="2713291" y="2967609"/>
                    <a:pt x="2710529" y="2964847"/>
                    <a:pt x="2710529" y="2961418"/>
                  </a:cubicBezTo>
                  <a:cubicBezTo>
                    <a:pt x="2710529" y="2957989"/>
                    <a:pt x="2713291" y="2955227"/>
                    <a:pt x="2716720" y="2955227"/>
                  </a:cubicBezTo>
                  <a:close/>
                  <a:moveTo>
                    <a:pt x="2700813" y="2955227"/>
                  </a:moveTo>
                  <a:cubicBezTo>
                    <a:pt x="2704242" y="2955227"/>
                    <a:pt x="2707005" y="2957989"/>
                    <a:pt x="2707005" y="2961418"/>
                  </a:cubicBezTo>
                  <a:cubicBezTo>
                    <a:pt x="2707005" y="2964847"/>
                    <a:pt x="2704242" y="2967609"/>
                    <a:pt x="2700813" y="2967609"/>
                  </a:cubicBezTo>
                  <a:cubicBezTo>
                    <a:pt x="2697384" y="2967609"/>
                    <a:pt x="2694622" y="2964847"/>
                    <a:pt x="2694622" y="2961418"/>
                  </a:cubicBezTo>
                  <a:cubicBezTo>
                    <a:pt x="2694622" y="2957989"/>
                    <a:pt x="2697384" y="2955227"/>
                    <a:pt x="2700813" y="2955227"/>
                  </a:cubicBezTo>
                  <a:close/>
                  <a:moveTo>
                    <a:pt x="2620327" y="2953607"/>
                  </a:moveTo>
                  <a:cubicBezTo>
                    <a:pt x="2623756" y="2953607"/>
                    <a:pt x="2626518" y="2956369"/>
                    <a:pt x="2626518" y="2959798"/>
                  </a:cubicBezTo>
                  <a:cubicBezTo>
                    <a:pt x="2626518" y="2963227"/>
                    <a:pt x="2623756" y="2965990"/>
                    <a:pt x="2620327" y="2965990"/>
                  </a:cubicBezTo>
                  <a:cubicBezTo>
                    <a:pt x="2616898" y="2965990"/>
                    <a:pt x="2614136" y="2963227"/>
                    <a:pt x="2614136" y="2959798"/>
                  </a:cubicBezTo>
                  <a:cubicBezTo>
                    <a:pt x="2614136" y="2956369"/>
                    <a:pt x="2616898" y="2953607"/>
                    <a:pt x="2620327" y="2953607"/>
                  </a:cubicBezTo>
                  <a:close/>
                  <a:moveTo>
                    <a:pt x="2673952" y="2953227"/>
                  </a:moveTo>
                  <a:cubicBezTo>
                    <a:pt x="2677381" y="2953227"/>
                    <a:pt x="2680144" y="2955989"/>
                    <a:pt x="2680144" y="2959418"/>
                  </a:cubicBezTo>
                  <a:cubicBezTo>
                    <a:pt x="2680144" y="2962847"/>
                    <a:pt x="2677381" y="2965609"/>
                    <a:pt x="2673952" y="2965609"/>
                  </a:cubicBezTo>
                  <a:cubicBezTo>
                    <a:pt x="2670523" y="2965609"/>
                    <a:pt x="2667761" y="2962847"/>
                    <a:pt x="2667761" y="2959418"/>
                  </a:cubicBezTo>
                  <a:cubicBezTo>
                    <a:pt x="2667761" y="2955989"/>
                    <a:pt x="2670523" y="2953227"/>
                    <a:pt x="2673952" y="2953227"/>
                  </a:cubicBezTo>
                  <a:close/>
                  <a:moveTo>
                    <a:pt x="2218943" y="2953036"/>
                  </a:moveTo>
                  <a:cubicBezTo>
                    <a:pt x="2222372" y="2953036"/>
                    <a:pt x="2225135" y="2955798"/>
                    <a:pt x="2225135" y="2959227"/>
                  </a:cubicBezTo>
                  <a:cubicBezTo>
                    <a:pt x="2225135" y="2962656"/>
                    <a:pt x="2222372" y="2965419"/>
                    <a:pt x="2218943" y="2965419"/>
                  </a:cubicBezTo>
                  <a:cubicBezTo>
                    <a:pt x="2215514" y="2965419"/>
                    <a:pt x="2212752" y="2962656"/>
                    <a:pt x="2212752" y="2959227"/>
                  </a:cubicBezTo>
                  <a:cubicBezTo>
                    <a:pt x="2212752" y="2955798"/>
                    <a:pt x="2215514" y="2953036"/>
                    <a:pt x="2218943" y="2953036"/>
                  </a:cubicBezTo>
                  <a:close/>
                  <a:moveTo>
                    <a:pt x="1360169" y="2952274"/>
                  </a:moveTo>
                  <a:cubicBezTo>
                    <a:pt x="1363598" y="2952274"/>
                    <a:pt x="1366361" y="2955036"/>
                    <a:pt x="1366361" y="2958465"/>
                  </a:cubicBezTo>
                  <a:cubicBezTo>
                    <a:pt x="1366361" y="2961894"/>
                    <a:pt x="1363598" y="2964656"/>
                    <a:pt x="1360169" y="2964656"/>
                  </a:cubicBezTo>
                  <a:cubicBezTo>
                    <a:pt x="1356740" y="2964656"/>
                    <a:pt x="1353978" y="2961894"/>
                    <a:pt x="1353978" y="2958465"/>
                  </a:cubicBezTo>
                  <a:cubicBezTo>
                    <a:pt x="1353978" y="2955036"/>
                    <a:pt x="1356740" y="2952274"/>
                    <a:pt x="1360169" y="2952274"/>
                  </a:cubicBezTo>
                  <a:close/>
                  <a:moveTo>
                    <a:pt x="649985" y="2952179"/>
                  </a:moveTo>
                  <a:cubicBezTo>
                    <a:pt x="653414" y="2952179"/>
                    <a:pt x="656177" y="2954941"/>
                    <a:pt x="656177" y="2958370"/>
                  </a:cubicBezTo>
                  <a:cubicBezTo>
                    <a:pt x="656177" y="2961799"/>
                    <a:pt x="653414" y="2964562"/>
                    <a:pt x="649985" y="2964562"/>
                  </a:cubicBezTo>
                  <a:cubicBezTo>
                    <a:pt x="646556" y="2964562"/>
                    <a:pt x="643794" y="2961799"/>
                    <a:pt x="643794" y="2958370"/>
                  </a:cubicBezTo>
                  <a:cubicBezTo>
                    <a:pt x="643794" y="2954941"/>
                    <a:pt x="646556" y="2952179"/>
                    <a:pt x="649985" y="2952179"/>
                  </a:cubicBezTo>
                  <a:close/>
                  <a:moveTo>
                    <a:pt x="732948" y="2951036"/>
                  </a:moveTo>
                  <a:cubicBezTo>
                    <a:pt x="736377" y="2951036"/>
                    <a:pt x="739139" y="2953798"/>
                    <a:pt x="739139" y="2957227"/>
                  </a:cubicBezTo>
                  <a:cubicBezTo>
                    <a:pt x="739139" y="2960656"/>
                    <a:pt x="736377" y="2963418"/>
                    <a:pt x="732948" y="2963418"/>
                  </a:cubicBezTo>
                  <a:cubicBezTo>
                    <a:pt x="729519" y="2963418"/>
                    <a:pt x="726757" y="2960656"/>
                    <a:pt x="726757" y="2957227"/>
                  </a:cubicBezTo>
                  <a:cubicBezTo>
                    <a:pt x="726757" y="2953798"/>
                    <a:pt x="729519" y="2951036"/>
                    <a:pt x="732948" y="2951036"/>
                  </a:cubicBezTo>
                  <a:close/>
                  <a:moveTo>
                    <a:pt x="2691764" y="2949417"/>
                  </a:moveTo>
                  <a:cubicBezTo>
                    <a:pt x="2695193" y="2949417"/>
                    <a:pt x="2697955" y="2952179"/>
                    <a:pt x="2697955" y="2955608"/>
                  </a:cubicBezTo>
                  <a:cubicBezTo>
                    <a:pt x="2697955" y="2959037"/>
                    <a:pt x="2695193" y="2961799"/>
                    <a:pt x="2691764" y="2961799"/>
                  </a:cubicBezTo>
                  <a:cubicBezTo>
                    <a:pt x="2688335" y="2961799"/>
                    <a:pt x="2685573" y="2959037"/>
                    <a:pt x="2685573" y="2955608"/>
                  </a:cubicBezTo>
                  <a:cubicBezTo>
                    <a:pt x="2685573" y="2952179"/>
                    <a:pt x="2688335" y="2949417"/>
                    <a:pt x="2691764" y="2949417"/>
                  </a:cubicBezTo>
                  <a:close/>
                  <a:moveTo>
                    <a:pt x="2459831" y="2948845"/>
                  </a:moveTo>
                  <a:cubicBezTo>
                    <a:pt x="2463260" y="2948845"/>
                    <a:pt x="2466022" y="2951607"/>
                    <a:pt x="2466022" y="2955036"/>
                  </a:cubicBezTo>
                  <a:cubicBezTo>
                    <a:pt x="2466022" y="2958465"/>
                    <a:pt x="2463260" y="2961228"/>
                    <a:pt x="2459831" y="2961228"/>
                  </a:cubicBezTo>
                  <a:cubicBezTo>
                    <a:pt x="2456402" y="2961228"/>
                    <a:pt x="2453640" y="2958465"/>
                    <a:pt x="2453640" y="2955036"/>
                  </a:cubicBezTo>
                  <a:cubicBezTo>
                    <a:pt x="2453640" y="2951607"/>
                    <a:pt x="2456402" y="2948845"/>
                    <a:pt x="2459831" y="2948845"/>
                  </a:cubicBezTo>
                  <a:close/>
                  <a:moveTo>
                    <a:pt x="2523839" y="2948559"/>
                  </a:moveTo>
                  <a:cubicBezTo>
                    <a:pt x="2527268" y="2948559"/>
                    <a:pt x="2530030" y="2951321"/>
                    <a:pt x="2530030" y="2954750"/>
                  </a:cubicBezTo>
                  <a:cubicBezTo>
                    <a:pt x="2530030" y="2958179"/>
                    <a:pt x="2527268" y="2960942"/>
                    <a:pt x="2523839" y="2960942"/>
                  </a:cubicBezTo>
                  <a:cubicBezTo>
                    <a:pt x="2520410" y="2960942"/>
                    <a:pt x="2517648" y="2958179"/>
                    <a:pt x="2517648" y="2954750"/>
                  </a:cubicBezTo>
                  <a:cubicBezTo>
                    <a:pt x="2517648" y="2951321"/>
                    <a:pt x="2520410" y="2948559"/>
                    <a:pt x="2523839" y="2948559"/>
                  </a:cubicBezTo>
                  <a:close/>
                  <a:moveTo>
                    <a:pt x="2737960" y="2948369"/>
                  </a:moveTo>
                  <a:cubicBezTo>
                    <a:pt x="2741389" y="2948369"/>
                    <a:pt x="2744152" y="2951131"/>
                    <a:pt x="2744152" y="2954560"/>
                  </a:cubicBezTo>
                  <a:cubicBezTo>
                    <a:pt x="2744152" y="2957989"/>
                    <a:pt x="2741389" y="2960751"/>
                    <a:pt x="2737960" y="2960751"/>
                  </a:cubicBezTo>
                  <a:cubicBezTo>
                    <a:pt x="2734531" y="2960751"/>
                    <a:pt x="2731769" y="2957989"/>
                    <a:pt x="2731769" y="2954560"/>
                  </a:cubicBezTo>
                  <a:cubicBezTo>
                    <a:pt x="2731769" y="2951131"/>
                    <a:pt x="2734531" y="2948369"/>
                    <a:pt x="2737960" y="2948369"/>
                  </a:cubicBezTo>
                  <a:close/>
                  <a:moveTo>
                    <a:pt x="633602" y="2948369"/>
                  </a:moveTo>
                  <a:cubicBezTo>
                    <a:pt x="637031" y="2948369"/>
                    <a:pt x="639793" y="2951131"/>
                    <a:pt x="639793" y="2954560"/>
                  </a:cubicBezTo>
                  <a:cubicBezTo>
                    <a:pt x="639793" y="2957989"/>
                    <a:pt x="637031" y="2960751"/>
                    <a:pt x="633602" y="2960751"/>
                  </a:cubicBezTo>
                  <a:cubicBezTo>
                    <a:pt x="630173" y="2960751"/>
                    <a:pt x="627411" y="2957989"/>
                    <a:pt x="627411" y="2954560"/>
                  </a:cubicBezTo>
                  <a:cubicBezTo>
                    <a:pt x="627411" y="2951131"/>
                    <a:pt x="630173" y="2948369"/>
                    <a:pt x="633602" y="2948369"/>
                  </a:cubicBezTo>
                  <a:close/>
                  <a:moveTo>
                    <a:pt x="603408" y="2946940"/>
                  </a:moveTo>
                  <a:cubicBezTo>
                    <a:pt x="606837" y="2946940"/>
                    <a:pt x="609599" y="2949702"/>
                    <a:pt x="609599" y="2953131"/>
                  </a:cubicBezTo>
                  <a:cubicBezTo>
                    <a:pt x="609599" y="2956560"/>
                    <a:pt x="606837" y="2959322"/>
                    <a:pt x="603408" y="2959322"/>
                  </a:cubicBezTo>
                  <a:cubicBezTo>
                    <a:pt x="599979" y="2959322"/>
                    <a:pt x="597217" y="2956560"/>
                    <a:pt x="597217" y="2953131"/>
                  </a:cubicBezTo>
                  <a:cubicBezTo>
                    <a:pt x="597217" y="2949702"/>
                    <a:pt x="599979" y="2946940"/>
                    <a:pt x="603408" y="2946940"/>
                  </a:cubicBezTo>
                  <a:close/>
                  <a:moveTo>
                    <a:pt x="582549" y="2946464"/>
                  </a:moveTo>
                  <a:cubicBezTo>
                    <a:pt x="582707" y="2946464"/>
                    <a:pt x="582834" y="2946592"/>
                    <a:pt x="582834" y="2946750"/>
                  </a:cubicBezTo>
                  <a:cubicBezTo>
                    <a:pt x="582834" y="2946907"/>
                    <a:pt x="582707" y="2947035"/>
                    <a:pt x="582549" y="2947035"/>
                  </a:cubicBezTo>
                  <a:cubicBezTo>
                    <a:pt x="582391" y="2947035"/>
                    <a:pt x="582263" y="2946907"/>
                    <a:pt x="582263" y="2946750"/>
                  </a:cubicBezTo>
                  <a:cubicBezTo>
                    <a:pt x="582263" y="2946592"/>
                    <a:pt x="582391" y="2946464"/>
                    <a:pt x="582549" y="2946464"/>
                  </a:cubicBezTo>
                  <a:close/>
                  <a:moveTo>
                    <a:pt x="2707099" y="2946178"/>
                  </a:moveTo>
                  <a:cubicBezTo>
                    <a:pt x="2710528" y="2946178"/>
                    <a:pt x="2713290" y="2948940"/>
                    <a:pt x="2713290" y="2952369"/>
                  </a:cubicBezTo>
                  <a:cubicBezTo>
                    <a:pt x="2713290" y="2955798"/>
                    <a:pt x="2710528" y="2958561"/>
                    <a:pt x="2707099" y="2958561"/>
                  </a:cubicBezTo>
                  <a:cubicBezTo>
                    <a:pt x="2703670" y="2958561"/>
                    <a:pt x="2700908" y="2955798"/>
                    <a:pt x="2700908" y="2952369"/>
                  </a:cubicBezTo>
                  <a:cubicBezTo>
                    <a:pt x="2700908" y="2948940"/>
                    <a:pt x="2703670" y="2946178"/>
                    <a:pt x="2707099" y="2946178"/>
                  </a:cubicBezTo>
                  <a:close/>
                  <a:moveTo>
                    <a:pt x="618648" y="2946083"/>
                  </a:moveTo>
                  <a:cubicBezTo>
                    <a:pt x="622077" y="2946083"/>
                    <a:pt x="624839" y="2948845"/>
                    <a:pt x="624839" y="2952274"/>
                  </a:cubicBezTo>
                  <a:cubicBezTo>
                    <a:pt x="624839" y="2955703"/>
                    <a:pt x="622077" y="2958465"/>
                    <a:pt x="618648" y="2958465"/>
                  </a:cubicBezTo>
                  <a:cubicBezTo>
                    <a:pt x="615219" y="2958465"/>
                    <a:pt x="612457" y="2955703"/>
                    <a:pt x="612457" y="2952274"/>
                  </a:cubicBezTo>
                  <a:cubicBezTo>
                    <a:pt x="612457" y="2948845"/>
                    <a:pt x="615219" y="2946083"/>
                    <a:pt x="618648" y="2946083"/>
                  </a:cubicBezTo>
                  <a:close/>
                  <a:moveTo>
                    <a:pt x="2020919" y="2945892"/>
                  </a:moveTo>
                  <a:cubicBezTo>
                    <a:pt x="2024348" y="2945892"/>
                    <a:pt x="2027111" y="2948654"/>
                    <a:pt x="2027111" y="2952083"/>
                  </a:cubicBezTo>
                  <a:cubicBezTo>
                    <a:pt x="2027111" y="2955512"/>
                    <a:pt x="2024348" y="2958275"/>
                    <a:pt x="2020919" y="2958275"/>
                  </a:cubicBezTo>
                  <a:cubicBezTo>
                    <a:pt x="2017490" y="2958275"/>
                    <a:pt x="2014728" y="2955512"/>
                    <a:pt x="2014728" y="2952083"/>
                  </a:cubicBezTo>
                  <a:cubicBezTo>
                    <a:pt x="2014728" y="2948654"/>
                    <a:pt x="2017490" y="2945892"/>
                    <a:pt x="2020919" y="2945892"/>
                  </a:cubicBezTo>
                  <a:close/>
                  <a:moveTo>
                    <a:pt x="2721958" y="2945416"/>
                  </a:moveTo>
                  <a:cubicBezTo>
                    <a:pt x="2725387" y="2945416"/>
                    <a:pt x="2728150" y="2948178"/>
                    <a:pt x="2728150" y="2951607"/>
                  </a:cubicBezTo>
                  <a:cubicBezTo>
                    <a:pt x="2728150" y="2955036"/>
                    <a:pt x="2725387" y="2957798"/>
                    <a:pt x="2721958" y="2957798"/>
                  </a:cubicBezTo>
                  <a:cubicBezTo>
                    <a:pt x="2718529" y="2957798"/>
                    <a:pt x="2715767" y="2955036"/>
                    <a:pt x="2715767" y="2951607"/>
                  </a:cubicBezTo>
                  <a:cubicBezTo>
                    <a:pt x="2715767" y="2948178"/>
                    <a:pt x="2718529" y="2945416"/>
                    <a:pt x="2721958" y="2945416"/>
                  </a:cubicBezTo>
                  <a:close/>
                  <a:moveTo>
                    <a:pt x="2578131" y="2944368"/>
                  </a:moveTo>
                  <a:cubicBezTo>
                    <a:pt x="2581560" y="2944368"/>
                    <a:pt x="2584323" y="2947130"/>
                    <a:pt x="2584323" y="2950559"/>
                  </a:cubicBezTo>
                  <a:cubicBezTo>
                    <a:pt x="2584323" y="2953988"/>
                    <a:pt x="2581560" y="2956751"/>
                    <a:pt x="2578131" y="2956751"/>
                  </a:cubicBezTo>
                  <a:cubicBezTo>
                    <a:pt x="2574702" y="2956751"/>
                    <a:pt x="2571940" y="2953988"/>
                    <a:pt x="2571940" y="2950559"/>
                  </a:cubicBezTo>
                  <a:cubicBezTo>
                    <a:pt x="2571940" y="2947130"/>
                    <a:pt x="2574702" y="2944368"/>
                    <a:pt x="2578131" y="2944368"/>
                  </a:cubicBezTo>
                  <a:close/>
                  <a:moveTo>
                    <a:pt x="2384774" y="2944178"/>
                  </a:moveTo>
                  <a:cubicBezTo>
                    <a:pt x="2388203" y="2944178"/>
                    <a:pt x="2390966" y="2946940"/>
                    <a:pt x="2390966" y="2950369"/>
                  </a:cubicBezTo>
                  <a:cubicBezTo>
                    <a:pt x="2390966" y="2953798"/>
                    <a:pt x="2388203" y="2956561"/>
                    <a:pt x="2384774" y="2956561"/>
                  </a:cubicBezTo>
                  <a:cubicBezTo>
                    <a:pt x="2381345" y="2956561"/>
                    <a:pt x="2378583" y="2953798"/>
                    <a:pt x="2378583" y="2950369"/>
                  </a:cubicBezTo>
                  <a:cubicBezTo>
                    <a:pt x="2378583" y="2946940"/>
                    <a:pt x="2381345" y="2944178"/>
                    <a:pt x="2384774" y="2944178"/>
                  </a:cubicBezTo>
                  <a:close/>
                  <a:moveTo>
                    <a:pt x="1076420" y="2944082"/>
                  </a:moveTo>
                  <a:cubicBezTo>
                    <a:pt x="1079849" y="2944082"/>
                    <a:pt x="1082612" y="2946844"/>
                    <a:pt x="1082612" y="2950273"/>
                  </a:cubicBezTo>
                  <a:cubicBezTo>
                    <a:pt x="1082612" y="2953702"/>
                    <a:pt x="1079849" y="2956465"/>
                    <a:pt x="1076420" y="2956465"/>
                  </a:cubicBezTo>
                  <a:cubicBezTo>
                    <a:pt x="1072991" y="2956465"/>
                    <a:pt x="1070229" y="2953702"/>
                    <a:pt x="1070229" y="2950273"/>
                  </a:cubicBezTo>
                  <a:cubicBezTo>
                    <a:pt x="1070229" y="2946844"/>
                    <a:pt x="1072991" y="2944082"/>
                    <a:pt x="1076420" y="2944082"/>
                  </a:cubicBezTo>
                  <a:close/>
                  <a:moveTo>
                    <a:pt x="663606" y="2943987"/>
                  </a:moveTo>
                  <a:cubicBezTo>
                    <a:pt x="667035" y="2943987"/>
                    <a:pt x="669798" y="2946749"/>
                    <a:pt x="669798" y="2950178"/>
                  </a:cubicBezTo>
                  <a:cubicBezTo>
                    <a:pt x="669798" y="2953607"/>
                    <a:pt x="667035" y="2956369"/>
                    <a:pt x="663606" y="2956369"/>
                  </a:cubicBezTo>
                  <a:cubicBezTo>
                    <a:pt x="660177" y="2956369"/>
                    <a:pt x="657415" y="2953607"/>
                    <a:pt x="657415" y="2950178"/>
                  </a:cubicBezTo>
                  <a:cubicBezTo>
                    <a:pt x="657415" y="2946749"/>
                    <a:pt x="660177" y="2943987"/>
                    <a:pt x="663606" y="2943987"/>
                  </a:cubicBezTo>
                  <a:close/>
                  <a:moveTo>
                    <a:pt x="2759297" y="2943797"/>
                  </a:moveTo>
                  <a:cubicBezTo>
                    <a:pt x="2762726" y="2943797"/>
                    <a:pt x="2765488" y="2946559"/>
                    <a:pt x="2765488" y="2949988"/>
                  </a:cubicBezTo>
                  <a:cubicBezTo>
                    <a:pt x="2765488" y="2953417"/>
                    <a:pt x="2762726" y="2956180"/>
                    <a:pt x="2759297" y="2956180"/>
                  </a:cubicBezTo>
                  <a:cubicBezTo>
                    <a:pt x="2755868" y="2956180"/>
                    <a:pt x="2753106" y="2953417"/>
                    <a:pt x="2753106" y="2949988"/>
                  </a:cubicBezTo>
                  <a:cubicBezTo>
                    <a:pt x="2753106" y="2946559"/>
                    <a:pt x="2755868" y="2943797"/>
                    <a:pt x="2759297" y="2943797"/>
                  </a:cubicBezTo>
                  <a:close/>
                  <a:moveTo>
                    <a:pt x="2656998" y="2942654"/>
                  </a:moveTo>
                  <a:cubicBezTo>
                    <a:pt x="2660427" y="2942654"/>
                    <a:pt x="2663190" y="2945416"/>
                    <a:pt x="2663190" y="2948845"/>
                  </a:cubicBezTo>
                  <a:cubicBezTo>
                    <a:pt x="2663190" y="2952274"/>
                    <a:pt x="2660427" y="2955037"/>
                    <a:pt x="2656998" y="2955037"/>
                  </a:cubicBezTo>
                  <a:cubicBezTo>
                    <a:pt x="2653569" y="2955037"/>
                    <a:pt x="2650807" y="2952274"/>
                    <a:pt x="2650807" y="2948845"/>
                  </a:cubicBezTo>
                  <a:cubicBezTo>
                    <a:pt x="2650807" y="2945416"/>
                    <a:pt x="2653569" y="2942654"/>
                    <a:pt x="2656998" y="2942654"/>
                  </a:cubicBezTo>
                  <a:close/>
                  <a:moveTo>
                    <a:pt x="2681001" y="2942559"/>
                  </a:moveTo>
                  <a:cubicBezTo>
                    <a:pt x="2684430" y="2942559"/>
                    <a:pt x="2687192" y="2945321"/>
                    <a:pt x="2687192" y="2948750"/>
                  </a:cubicBezTo>
                  <a:cubicBezTo>
                    <a:pt x="2687192" y="2952179"/>
                    <a:pt x="2684430" y="2954941"/>
                    <a:pt x="2681001" y="2954941"/>
                  </a:cubicBezTo>
                  <a:cubicBezTo>
                    <a:pt x="2677572" y="2954941"/>
                    <a:pt x="2674810" y="2952179"/>
                    <a:pt x="2674810" y="2948750"/>
                  </a:cubicBezTo>
                  <a:cubicBezTo>
                    <a:pt x="2674810" y="2945321"/>
                    <a:pt x="2677572" y="2942559"/>
                    <a:pt x="2681001" y="2942559"/>
                  </a:cubicBezTo>
                  <a:close/>
                  <a:moveTo>
                    <a:pt x="642746" y="2942178"/>
                  </a:moveTo>
                  <a:cubicBezTo>
                    <a:pt x="646175" y="2942178"/>
                    <a:pt x="648937" y="2944940"/>
                    <a:pt x="648937" y="2948369"/>
                  </a:cubicBezTo>
                  <a:cubicBezTo>
                    <a:pt x="648937" y="2951798"/>
                    <a:pt x="646175" y="2954560"/>
                    <a:pt x="642746" y="2954560"/>
                  </a:cubicBezTo>
                  <a:cubicBezTo>
                    <a:pt x="639317" y="2954560"/>
                    <a:pt x="636555" y="2951798"/>
                    <a:pt x="636555" y="2948369"/>
                  </a:cubicBezTo>
                  <a:cubicBezTo>
                    <a:pt x="636555" y="2944940"/>
                    <a:pt x="639317" y="2942178"/>
                    <a:pt x="642746" y="2942178"/>
                  </a:cubicBezTo>
                  <a:close/>
                  <a:moveTo>
                    <a:pt x="691895" y="2941701"/>
                  </a:moveTo>
                  <a:cubicBezTo>
                    <a:pt x="695315" y="2941701"/>
                    <a:pt x="698087" y="2944473"/>
                    <a:pt x="698087" y="2947892"/>
                  </a:cubicBezTo>
                  <a:cubicBezTo>
                    <a:pt x="698087" y="2951312"/>
                    <a:pt x="695315" y="2954084"/>
                    <a:pt x="691895" y="2954084"/>
                  </a:cubicBezTo>
                  <a:cubicBezTo>
                    <a:pt x="688476" y="2954084"/>
                    <a:pt x="685704" y="2951312"/>
                    <a:pt x="685704" y="2947892"/>
                  </a:cubicBezTo>
                  <a:cubicBezTo>
                    <a:pt x="685704" y="2944473"/>
                    <a:pt x="688476" y="2941701"/>
                    <a:pt x="691895" y="2941701"/>
                  </a:cubicBezTo>
                  <a:close/>
                  <a:moveTo>
                    <a:pt x="2699099" y="2939892"/>
                  </a:moveTo>
                  <a:cubicBezTo>
                    <a:pt x="2702528" y="2939892"/>
                    <a:pt x="2705290" y="2942654"/>
                    <a:pt x="2705290" y="2946083"/>
                  </a:cubicBezTo>
                  <a:cubicBezTo>
                    <a:pt x="2705290" y="2949512"/>
                    <a:pt x="2702528" y="2952274"/>
                    <a:pt x="2699099" y="2952274"/>
                  </a:cubicBezTo>
                  <a:cubicBezTo>
                    <a:pt x="2695670" y="2952274"/>
                    <a:pt x="2692908" y="2949512"/>
                    <a:pt x="2692908" y="2946083"/>
                  </a:cubicBezTo>
                  <a:cubicBezTo>
                    <a:pt x="2692908" y="2942654"/>
                    <a:pt x="2695670" y="2939892"/>
                    <a:pt x="2699099" y="2939892"/>
                  </a:cubicBezTo>
                  <a:close/>
                  <a:moveTo>
                    <a:pt x="1269396" y="2939701"/>
                  </a:moveTo>
                  <a:cubicBezTo>
                    <a:pt x="1272825" y="2939701"/>
                    <a:pt x="1275588" y="2942463"/>
                    <a:pt x="1275588" y="2945892"/>
                  </a:cubicBezTo>
                  <a:cubicBezTo>
                    <a:pt x="1275588" y="2949321"/>
                    <a:pt x="1272825" y="2952084"/>
                    <a:pt x="1269396" y="2952084"/>
                  </a:cubicBezTo>
                  <a:cubicBezTo>
                    <a:pt x="1265967" y="2952084"/>
                    <a:pt x="1263205" y="2949321"/>
                    <a:pt x="1263205" y="2945892"/>
                  </a:cubicBezTo>
                  <a:cubicBezTo>
                    <a:pt x="1263205" y="2942463"/>
                    <a:pt x="1265967" y="2939701"/>
                    <a:pt x="1269396" y="2939701"/>
                  </a:cubicBezTo>
                  <a:close/>
                  <a:moveTo>
                    <a:pt x="626459" y="2939034"/>
                  </a:moveTo>
                  <a:cubicBezTo>
                    <a:pt x="629888" y="2939034"/>
                    <a:pt x="632650" y="2941796"/>
                    <a:pt x="632650" y="2945225"/>
                  </a:cubicBezTo>
                  <a:cubicBezTo>
                    <a:pt x="632650" y="2948654"/>
                    <a:pt x="629888" y="2951417"/>
                    <a:pt x="626459" y="2951417"/>
                  </a:cubicBezTo>
                  <a:cubicBezTo>
                    <a:pt x="623030" y="2951417"/>
                    <a:pt x="620268" y="2948654"/>
                    <a:pt x="620268" y="2945225"/>
                  </a:cubicBezTo>
                  <a:cubicBezTo>
                    <a:pt x="620268" y="2941796"/>
                    <a:pt x="623030" y="2939034"/>
                    <a:pt x="626459" y="2939034"/>
                  </a:cubicBezTo>
                  <a:close/>
                  <a:moveTo>
                    <a:pt x="2742437" y="2937510"/>
                  </a:moveTo>
                  <a:cubicBezTo>
                    <a:pt x="2745866" y="2937510"/>
                    <a:pt x="2748629" y="2940272"/>
                    <a:pt x="2748629" y="2943701"/>
                  </a:cubicBezTo>
                  <a:cubicBezTo>
                    <a:pt x="2748629" y="2947130"/>
                    <a:pt x="2745866" y="2949892"/>
                    <a:pt x="2742437" y="2949892"/>
                  </a:cubicBezTo>
                  <a:cubicBezTo>
                    <a:pt x="2739008" y="2949892"/>
                    <a:pt x="2736246" y="2947130"/>
                    <a:pt x="2736246" y="2943701"/>
                  </a:cubicBezTo>
                  <a:cubicBezTo>
                    <a:pt x="2736246" y="2940272"/>
                    <a:pt x="2739008" y="2937510"/>
                    <a:pt x="2742437" y="2937510"/>
                  </a:cubicBezTo>
                  <a:close/>
                  <a:moveTo>
                    <a:pt x="843819" y="2937510"/>
                  </a:moveTo>
                  <a:cubicBezTo>
                    <a:pt x="847248" y="2937510"/>
                    <a:pt x="850010" y="2940272"/>
                    <a:pt x="850010" y="2943701"/>
                  </a:cubicBezTo>
                  <a:cubicBezTo>
                    <a:pt x="850010" y="2947130"/>
                    <a:pt x="847248" y="2949892"/>
                    <a:pt x="843819" y="2949892"/>
                  </a:cubicBezTo>
                  <a:cubicBezTo>
                    <a:pt x="840390" y="2949892"/>
                    <a:pt x="837628" y="2947130"/>
                    <a:pt x="837628" y="2943701"/>
                  </a:cubicBezTo>
                  <a:cubicBezTo>
                    <a:pt x="837628" y="2940272"/>
                    <a:pt x="840390" y="2937510"/>
                    <a:pt x="843819" y="2937510"/>
                  </a:cubicBezTo>
                  <a:close/>
                  <a:moveTo>
                    <a:pt x="2623946" y="2937224"/>
                  </a:moveTo>
                  <a:cubicBezTo>
                    <a:pt x="2627375" y="2937224"/>
                    <a:pt x="2630138" y="2939986"/>
                    <a:pt x="2630138" y="2943415"/>
                  </a:cubicBezTo>
                  <a:cubicBezTo>
                    <a:pt x="2630138" y="2946844"/>
                    <a:pt x="2627375" y="2949607"/>
                    <a:pt x="2623946" y="2949607"/>
                  </a:cubicBezTo>
                  <a:cubicBezTo>
                    <a:pt x="2620517" y="2949607"/>
                    <a:pt x="2617755" y="2946844"/>
                    <a:pt x="2617755" y="2943415"/>
                  </a:cubicBezTo>
                  <a:cubicBezTo>
                    <a:pt x="2617755" y="2939986"/>
                    <a:pt x="2620517" y="2937224"/>
                    <a:pt x="2623946" y="2937224"/>
                  </a:cubicBezTo>
                  <a:close/>
                  <a:moveTo>
                    <a:pt x="2713957" y="2936939"/>
                  </a:moveTo>
                  <a:cubicBezTo>
                    <a:pt x="2717386" y="2936939"/>
                    <a:pt x="2720148" y="2939701"/>
                    <a:pt x="2720148" y="2943130"/>
                  </a:cubicBezTo>
                  <a:cubicBezTo>
                    <a:pt x="2720148" y="2946559"/>
                    <a:pt x="2717386" y="2949322"/>
                    <a:pt x="2713957" y="2949322"/>
                  </a:cubicBezTo>
                  <a:cubicBezTo>
                    <a:pt x="2710528" y="2949322"/>
                    <a:pt x="2707766" y="2946559"/>
                    <a:pt x="2707766" y="2943130"/>
                  </a:cubicBezTo>
                  <a:cubicBezTo>
                    <a:pt x="2707766" y="2939701"/>
                    <a:pt x="2710528" y="2936939"/>
                    <a:pt x="2713957" y="2936939"/>
                  </a:cubicBezTo>
                  <a:close/>
                  <a:moveTo>
                    <a:pt x="782668" y="2936844"/>
                  </a:moveTo>
                  <a:cubicBezTo>
                    <a:pt x="786097" y="2936844"/>
                    <a:pt x="788860" y="2939606"/>
                    <a:pt x="788860" y="2943035"/>
                  </a:cubicBezTo>
                  <a:cubicBezTo>
                    <a:pt x="788860" y="2946464"/>
                    <a:pt x="786097" y="2949226"/>
                    <a:pt x="782668" y="2949226"/>
                  </a:cubicBezTo>
                  <a:cubicBezTo>
                    <a:pt x="779239" y="2949226"/>
                    <a:pt x="776477" y="2946464"/>
                    <a:pt x="776477" y="2943035"/>
                  </a:cubicBezTo>
                  <a:cubicBezTo>
                    <a:pt x="776477" y="2939606"/>
                    <a:pt x="779239" y="2936844"/>
                    <a:pt x="782668" y="2936844"/>
                  </a:cubicBezTo>
                  <a:close/>
                  <a:moveTo>
                    <a:pt x="612266" y="2936653"/>
                  </a:moveTo>
                  <a:cubicBezTo>
                    <a:pt x="615695" y="2936653"/>
                    <a:pt x="618457" y="2939415"/>
                    <a:pt x="618457" y="2942844"/>
                  </a:cubicBezTo>
                  <a:cubicBezTo>
                    <a:pt x="618457" y="2946273"/>
                    <a:pt x="615695" y="2949036"/>
                    <a:pt x="612266" y="2949036"/>
                  </a:cubicBezTo>
                  <a:cubicBezTo>
                    <a:pt x="608837" y="2949036"/>
                    <a:pt x="606075" y="2946273"/>
                    <a:pt x="606075" y="2942844"/>
                  </a:cubicBezTo>
                  <a:cubicBezTo>
                    <a:pt x="606075" y="2939415"/>
                    <a:pt x="608837" y="2936653"/>
                    <a:pt x="612266" y="2936653"/>
                  </a:cubicBezTo>
                  <a:close/>
                  <a:moveTo>
                    <a:pt x="598169" y="2936653"/>
                  </a:moveTo>
                  <a:cubicBezTo>
                    <a:pt x="601589" y="2936653"/>
                    <a:pt x="604361" y="2939425"/>
                    <a:pt x="604361" y="2942844"/>
                  </a:cubicBezTo>
                  <a:cubicBezTo>
                    <a:pt x="604361" y="2946264"/>
                    <a:pt x="601589" y="2949036"/>
                    <a:pt x="598169" y="2949036"/>
                  </a:cubicBezTo>
                  <a:cubicBezTo>
                    <a:pt x="594750" y="2949036"/>
                    <a:pt x="591978" y="2946264"/>
                    <a:pt x="591978" y="2942844"/>
                  </a:cubicBezTo>
                  <a:cubicBezTo>
                    <a:pt x="591978" y="2939425"/>
                    <a:pt x="594750" y="2936653"/>
                    <a:pt x="598169" y="2936653"/>
                  </a:cubicBezTo>
                  <a:close/>
                  <a:moveTo>
                    <a:pt x="2727864" y="2935605"/>
                  </a:moveTo>
                  <a:cubicBezTo>
                    <a:pt x="2731293" y="2935605"/>
                    <a:pt x="2734056" y="2938367"/>
                    <a:pt x="2734056" y="2941796"/>
                  </a:cubicBezTo>
                  <a:cubicBezTo>
                    <a:pt x="2734056" y="2945225"/>
                    <a:pt x="2731293" y="2947987"/>
                    <a:pt x="2727864" y="2947987"/>
                  </a:cubicBezTo>
                  <a:cubicBezTo>
                    <a:pt x="2724435" y="2947987"/>
                    <a:pt x="2721673" y="2945225"/>
                    <a:pt x="2721673" y="2941796"/>
                  </a:cubicBezTo>
                  <a:cubicBezTo>
                    <a:pt x="2721673" y="2938367"/>
                    <a:pt x="2724435" y="2935605"/>
                    <a:pt x="2727864" y="2935605"/>
                  </a:cubicBezTo>
                  <a:close/>
                  <a:moveTo>
                    <a:pt x="915638" y="2933414"/>
                  </a:moveTo>
                  <a:cubicBezTo>
                    <a:pt x="919067" y="2933414"/>
                    <a:pt x="921829" y="2936176"/>
                    <a:pt x="921829" y="2939605"/>
                  </a:cubicBezTo>
                  <a:cubicBezTo>
                    <a:pt x="921829" y="2943034"/>
                    <a:pt x="919067" y="2945797"/>
                    <a:pt x="915638" y="2945797"/>
                  </a:cubicBezTo>
                  <a:cubicBezTo>
                    <a:pt x="912209" y="2945797"/>
                    <a:pt x="909447" y="2943034"/>
                    <a:pt x="909447" y="2939605"/>
                  </a:cubicBezTo>
                  <a:cubicBezTo>
                    <a:pt x="909447" y="2936176"/>
                    <a:pt x="912209" y="2933414"/>
                    <a:pt x="915638" y="2933414"/>
                  </a:cubicBezTo>
                  <a:close/>
                  <a:moveTo>
                    <a:pt x="2297334" y="2933319"/>
                  </a:moveTo>
                  <a:cubicBezTo>
                    <a:pt x="2300763" y="2933319"/>
                    <a:pt x="2303526" y="2936081"/>
                    <a:pt x="2303526" y="2939510"/>
                  </a:cubicBezTo>
                  <a:cubicBezTo>
                    <a:pt x="2303526" y="2942939"/>
                    <a:pt x="2300763" y="2945701"/>
                    <a:pt x="2297334" y="2945701"/>
                  </a:cubicBezTo>
                  <a:cubicBezTo>
                    <a:pt x="2293905" y="2945701"/>
                    <a:pt x="2291143" y="2942939"/>
                    <a:pt x="2291143" y="2939510"/>
                  </a:cubicBezTo>
                  <a:cubicBezTo>
                    <a:pt x="2291143" y="2936081"/>
                    <a:pt x="2293905" y="2933319"/>
                    <a:pt x="2297334" y="2933319"/>
                  </a:cubicBezTo>
                  <a:close/>
                  <a:moveTo>
                    <a:pt x="731043" y="2932367"/>
                  </a:moveTo>
                  <a:cubicBezTo>
                    <a:pt x="734472" y="2932367"/>
                    <a:pt x="737235" y="2935129"/>
                    <a:pt x="737235" y="2938558"/>
                  </a:cubicBezTo>
                  <a:cubicBezTo>
                    <a:pt x="737235" y="2941987"/>
                    <a:pt x="734472" y="2944749"/>
                    <a:pt x="731043" y="2944749"/>
                  </a:cubicBezTo>
                  <a:cubicBezTo>
                    <a:pt x="727614" y="2944749"/>
                    <a:pt x="724852" y="2941987"/>
                    <a:pt x="724852" y="2938558"/>
                  </a:cubicBezTo>
                  <a:cubicBezTo>
                    <a:pt x="724852" y="2935129"/>
                    <a:pt x="727614" y="2932367"/>
                    <a:pt x="731043" y="2932367"/>
                  </a:cubicBezTo>
                  <a:close/>
                  <a:moveTo>
                    <a:pt x="2762916" y="2931795"/>
                  </a:moveTo>
                  <a:cubicBezTo>
                    <a:pt x="2766345" y="2931795"/>
                    <a:pt x="2769107" y="2934557"/>
                    <a:pt x="2769107" y="2937986"/>
                  </a:cubicBezTo>
                  <a:cubicBezTo>
                    <a:pt x="2769107" y="2941415"/>
                    <a:pt x="2766345" y="2944177"/>
                    <a:pt x="2762916" y="2944177"/>
                  </a:cubicBezTo>
                  <a:cubicBezTo>
                    <a:pt x="2759487" y="2944177"/>
                    <a:pt x="2756725" y="2941415"/>
                    <a:pt x="2756725" y="2937986"/>
                  </a:cubicBezTo>
                  <a:cubicBezTo>
                    <a:pt x="2756725" y="2934557"/>
                    <a:pt x="2759487" y="2931795"/>
                    <a:pt x="2762916" y="2931795"/>
                  </a:cubicBezTo>
                  <a:close/>
                  <a:moveTo>
                    <a:pt x="2110168" y="2931795"/>
                  </a:moveTo>
                  <a:cubicBezTo>
                    <a:pt x="2113597" y="2931795"/>
                    <a:pt x="2116360" y="2934557"/>
                    <a:pt x="2116360" y="2937986"/>
                  </a:cubicBezTo>
                  <a:cubicBezTo>
                    <a:pt x="2116360" y="2941415"/>
                    <a:pt x="2113597" y="2944177"/>
                    <a:pt x="2110168" y="2944177"/>
                  </a:cubicBezTo>
                  <a:cubicBezTo>
                    <a:pt x="2106739" y="2944177"/>
                    <a:pt x="2103977" y="2941415"/>
                    <a:pt x="2103977" y="2937986"/>
                  </a:cubicBezTo>
                  <a:cubicBezTo>
                    <a:pt x="2103977" y="2934557"/>
                    <a:pt x="2106739" y="2931795"/>
                    <a:pt x="2110168" y="2931795"/>
                  </a:cubicBezTo>
                  <a:close/>
                  <a:moveTo>
                    <a:pt x="635317" y="2931224"/>
                  </a:moveTo>
                  <a:cubicBezTo>
                    <a:pt x="638746" y="2931224"/>
                    <a:pt x="641508" y="2933986"/>
                    <a:pt x="641508" y="2937415"/>
                  </a:cubicBezTo>
                  <a:cubicBezTo>
                    <a:pt x="641508" y="2940844"/>
                    <a:pt x="638746" y="2943606"/>
                    <a:pt x="635317" y="2943606"/>
                  </a:cubicBezTo>
                  <a:cubicBezTo>
                    <a:pt x="631888" y="2943606"/>
                    <a:pt x="629126" y="2940844"/>
                    <a:pt x="629126" y="2937415"/>
                  </a:cubicBezTo>
                  <a:cubicBezTo>
                    <a:pt x="629126" y="2933986"/>
                    <a:pt x="631888" y="2931224"/>
                    <a:pt x="635317" y="2931224"/>
                  </a:cubicBezTo>
                  <a:close/>
                  <a:moveTo>
                    <a:pt x="657224" y="2930843"/>
                  </a:moveTo>
                  <a:cubicBezTo>
                    <a:pt x="660653" y="2930843"/>
                    <a:pt x="663416" y="2933605"/>
                    <a:pt x="663416" y="2937034"/>
                  </a:cubicBezTo>
                  <a:cubicBezTo>
                    <a:pt x="663416" y="2940463"/>
                    <a:pt x="660653" y="2943225"/>
                    <a:pt x="657224" y="2943225"/>
                  </a:cubicBezTo>
                  <a:cubicBezTo>
                    <a:pt x="653795" y="2943225"/>
                    <a:pt x="651033" y="2940463"/>
                    <a:pt x="651033" y="2937034"/>
                  </a:cubicBezTo>
                  <a:cubicBezTo>
                    <a:pt x="651033" y="2933605"/>
                    <a:pt x="653795" y="2930843"/>
                    <a:pt x="657224" y="2930843"/>
                  </a:cubicBezTo>
                  <a:close/>
                  <a:moveTo>
                    <a:pt x="2688049" y="2930652"/>
                  </a:moveTo>
                  <a:cubicBezTo>
                    <a:pt x="2691478" y="2930652"/>
                    <a:pt x="2694240" y="2933414"/>
                    <a:pt x="2694240" y="2936843"/>
                  </a:cubicBezTo>
                  <a:cubicBezTo>
                    <a:pt x="2694240" y="2940272"/>
                    <a:pt x="2691478" y="2943034"/>
                    <a:pt x="2688049" y="2943034"/>
                  </a:cubicBezTo>
                  <a:cubicBezTo>
                    <a:pt x="2684620" y="2943034"/>
                    <a:pt x="2681858" y="2940272"/>
                    <a:pt x="2681858" y="2936843"/>
                  </a:cubicBezTo>
                  <a:cubicBezTo>
                    <a:pt x="2681858" y="2933414"/>
                    <a:pt x="2684620" y="2930652"/>
                    <a:pt x="2688049" y="2930652"/>
                  </a:cubicBezTo>
                  <a:close/>
                  <a:moveTo>
                    <a:pt x="2706718" y="2929509"/>
                  </a:moveTo>
                  <a:cubicBezTo>
                    <a:pt x="2710147" y="2929509"/>
                    <a:pt x="2712910" y="2932271"/>
                    <a:pt x="2712910" y="2935700"/>
                  </a:cubicBezTo>
                  <a:cubicBezTo>
                    <a:pt x="2712910" y="2939129"/>
                    <a:pt x="2710147" y="2941892"/>
                    <a:pt x="2706718" y="2941892"/>
                  </a:cubicBezTo>
                  <a:cubicBezTo>
                    <a:pt x="2703289" y="2941892"/>
                    <a:pt x="2700527" y="2939129"/>
                    <a:pt x="2700527" y="2935700"/>
                  </a:cubicBezTo>
                  <a:cubicBezTo>
                    <a:pt x="2700527" y="2932271"/>
                    <a:pt x="2703289" y="2929509"/>
                    <a:pt x="2706718" y="2929509"/>
                  </a:cubicBezTo>
                  <a:close/>
                  <a:moveTo>
                    <a:pt x="577977" y="2929414"/>
                  </a:moveTo>
                  <a:cubicBezTo>
                    <a:pt x="581406" y="2929414"/>
                    <a:pt x="584073" y="2932081"/>
                    <a:pt x="584073" y="2935510"/>
                  </a:cubicBezTo>
                  <a:cubicBezTo>
                    <a:pt x="584073" y="2938939"/>
                    <a:pt x="581311" y="2941606"/>
                    <a:pt x="577977" y="2941606"/>
                  </a:cubicBezTo>
                  <a:cubicBezTo>
                    <a:pt x="574548" y="2941606"/>
                    <a:pt x="571881" y="2938939"/>
                    <a:pt x="571881" y="2935510"/>
                  </a:cubicBezTo>
                  <a:cubicBezTo>
                    <a:pt x="571881" y="2932081"/>
                    <a:pt x="574548" y="2929414"/>
                    <a:pt x="577977" y="2929414"/>
                  </a:cubicBezTo>
                  <a:close/>
                  <a:moveTo>
                    <a:pt x="618838" y="2929128"/>
                  </a:moveTo>
                  <a:cubicBezTo>
                    <a:pt x="622267" y="2929128"/>
                    <a:pt x="625030" y="2931890"/>
                    <a:pt x="625030" y="2935319"/>
                  </a:cubicBezTo>
                  <a:cubicBezTo>
                    <a:pt x="625030" y="2938748"/>
                    <a:pt x="622267" y="2941510"/>
                    <a:pt x="618838" y="2941510"/>
                  </a:cubicBezTo>
                  <a:cubicBezTo>
                    <a:pt x="615409" y="2941510"/>
                    <a:pt x="612647" y="2938748"/>
                    <a:pt x="612647" y="2935319"/>
                  </a:cubicBezTo>
                  <a:cubicBezTo>
                    <a:pt x="612647" y="2931890"/>
                    <a:pt x="615409" y="2929128"/>
                    <a:pt x="618838" y="2929128"/>
                  </a:cubicBezTo>
                  <a:close/>
                  <a:moveTo>
                    <a:pt x="2783777" y="2929033"/>
                  </a:moveTo>
                  <a:cubicBezTo>
                    <a:pt x="2786828" y="2929033"/>
                    <a:pt x="2789301" y="2931506"/>
                    <a:pt x="2789301" y="2934557"/>
                  </a:cubicBezTo>
                  <a:cubicBezTo>
                    <a:pt x="2789301" y="2937608"/>
                    <a:pt x="2786828" y="2940082"/>
                    <a:pt x="2783777" y="2940082"/>
                  </a:cubicBezTo>
                  <a:cubicBezTo>
                    <a:pt x="2780726" y="2940082"/>
                    <a:pt x="2778252" y="2937608"/>
                    <a:pt x="2778252" y="2934557"/>
                  </a:cubicBezTo>
                  <a:cubicBezTo>
                    <a:pt x="2778252" y="2931506"/>
                    <a:pt x="2780726" y="2929033"/>
                    <a:pt x="2783777" y="2929033"/>
                  </a:cubicBezTo>
                  <a:close/>
                  <a:moveTo>
                    <a:pt x="2662523" y="2927890"/>
                  </a:moveTo>
                  <a:cubicBezTo>
                    <a:pt x="2665952" y="2927890"/>
                    <a:pt x="2668714" y="2930652"/>
                    <a:pt x="2668714" y="2934081"/>
                  </a:cubicBezTo>
                  <a:cubicBezTo>
                    <a:pt x="2668714" y="2937510"/>
                    <a:pt x="2665952" y="2940272"/>
                    <a:pt x="2662523" y="2940272"/>
                  </a:cubicBezTo>
                  <a:cubicBezTo>
                    <a:pt x="2659094" y="2940272"/>
                    <a:pt x="2656332" y="2937510"/>
                    <a:pt x="2656332" y="2934081"/>
                  </a:cubicBezTo>
                  <a:cubicBezTo>
                    <a:pt x="2656332" y="2930652"/>
                    <a:pt x="2659094" y="2927890"/>
                    <a:pt x="2662523" y="2927890"/>
                  </a:cubicBezTo>
                  <a:close/>
                  <a:moveTo>
                    <a:pt x="2721387" y="2927223"/>
                  </a:moveTo>
                  <a:cubicBezTo>
                    <a:pt x="2724816" y="2927223"/>
                    <a:pt x="2727578" y="2929985"/>
                    <a:pt x="2727578" y="2933414"/>
                  </a:cubicBezTo>
                  <a:cubicBezTo>
                    <a:pt x="2727578" y="2936843"/>
                    <a:pt x="2724816" y="2939605"/>
                    <a:pt x="2721387" y="2939605"/>
                  </a:cubicBezTo>
                  <a:cubicBezTo>
                    <a:pt x="2717958" y="2939605"/>
                    <a:pt x="2715196" y="2936843"/>
                    <a:pt x="2715196" y="2933414"/>
                  </a:cubicBezTo>
                  <a:cubicBezTo>
                    <a:pt x="2715196" y="2929985"/>
                    <a:pt x="2717958" y="2927223"/>
                    <a:pt x="2721387" y="2927223"/>
                  </a:cubicBezTo>
                  <a:close/>
                  <a:moveTo>
                    <a:pt x="605123" y="2927033"/>
                  </a:moveTo>
                  <a:cubicBezTo>
                    <a:pt x="608552" y="2927033"/>
                    <a:pt x="611314" y="2929795"/>
                    <a:pt x="611314" y="2933224"/>
                  </a:cubicBezTo>
                  <a:cubicBezTo>
                    <a:pt x="611314" y="2936653"/>
                    <a:pt x="608552" y="2939415"/>
                    <a:pt x="605123" y="2939415"/>
                  </a:cubicBezTo>
                  <a:cubicBezTo>
                    <a:pt x="601694" y="2939415"/>
                    <a:pt x="598932" y="2936653"/>
                    <a:pt x="598932" y="2933224"/>
                  </a:cubicBezTo>
                  <a:cubicBezTo>
                    <a:pt x="598932" y="2929795"/>
                    <a:pt x="601694" y="2927033"/>
                    <a:pt x="605123" y="2927033"/>
                  </a:cubicBezTo>
                  <a:close/>
                  <a:moveTo>
                    <a:pt x="2747771" y="2926842"/>
                  </a:moveTo>
                  <a:cubicBezTo>
                    <a:pt x="2751200" y="2926842"/>
                    <a:pt x="2753963" y="2929604"/>
                    <a:pt x="2753963" y="2933033"/>
                  </a:cubicBezTo>
                  <a:cubicBezTo>
                    <a:pt x="2753963" y="2936462"/>
                    <a:pt x="2751200" y="2939225"/>
                    <a:pt x="2747771" y="2939225"/>
                  </a:cubicBezTo>
                  <a:cubicBezTo>
                    <a:pt x="2744342" y="2939225"/>
                    <a:pt x="2741580" y="2936462"/>
                    <a:pt x="2741580" y="2933033"/>
                  </a:cubicBezTo>
                  <a:cubicBezTo>
                    <a:pt x="2741580" y="2929604"/>
                    <a:pt x="2744342" y="2926842"/>
                    <a:pt x="2747771" y="2926842"/>
                  </a:cubicBezTo>
                  <a:close/>
                  <a:moveTo>
                    <a:pt x="592169" y="2926556"/>
                  </a:moveTo>
                  <a:cubicBezTo>
                    <a:pt x="595598" y="2926556"/>
                    <a:pt x="598360" y="2929318"/>
                    <a:pt x="598360" y="2932747"/>
                  </a:cubicBezTo>
                  <a:cubicBezTo>
                    <a:pt x="598360" y="2936176"/>
                    <a:pt x="595598" y="2938939"/>
                    <a:pt x="592169" y="2938939"/>
                  </a:cubicBezTo>
                  <a:cubicBezTo>
                    <a:pt x="588740" y="2938939"/>
                    <a:pt x="585978" y="2936176"/>
                    <a:pt x="585978" y="2932747"/>
                  </a:cubicBezTo>
                  <a:cubicBezTo>
                    <a:pt x="585978" y="2929318"/>
                    <a:pt x="588740" y="2926556"/>
                    <a:pt x="592169" y="2926556"/>
                  </a:cubicBezTo>
                  <a:close/>
                  <a:moveTo>
                    <a:pt x="2734436" y="2925699"/>
                  </a:moveTo>
                  <a:cubicBezTo>
                    <a:pt x="2737865" y="2925699"/>
                    <a:pt x="2740628" y="2928461"/>
                    <a:pt x="2740628" y="2931890"/>
                  </a:cubicBezTo>
                  <a:cubicBezTo>
                    <a:pt x="2740628" y="2935319"/>
                    <a:pt x="2737865" y="2938082"/>
                    <a:pt x="2734436" y="2938082"/>
                  </a:cubicBezTo>
                  <a:cubicBezTo>
                    <a:pt x="2731007" y="2938082"/>
                    <a:pt x="2728245" y="2935319"/>
                    <a:pt x="2728245" y="2931890"/>
                  </a:cubicBezTo>
                  <a:cubicBezTo>
                    <a:pt x="2728245" y="2928461"/>
                    <a:pt x="2731007" y="2925699"/>
                    <a:pt x="2734436" y="2925699"/>
                  </a:cubicBezTo>
                  <a:close/>
                  <a:moveTo>
                    <a:pt x="687514" y="2925128"/>
                  </a:moveTo>
                  <a:cubicBezTo>
                    <a:pt x="690943" y="2925128"/>
                    <a:pt x="693706" y="2927890"/>
                    <a:pt x="693706" y="2931319"/>
                  </a:cubicBezTo>
                  <a:cubicBezTo>
                    <a:pt x="693706" y="2934748"/>
                    <a:pt x="690943" y="2937511"/>
                    <a:pt x="687514" y="2937511"/>
                  </a:cubicBezTo>
                  <a:cubicBezTo>
                    <a:pt x="684085" y="2937511"/>
                    <a:pt x="681323" y="2934748"/>
                    <a:pt x="681323" y="2931319"/>
                  </a:cubicBezTo>
                  <a:cubicBezTo>
                    <a:pt x="681323" y="2927890"/>
                    <a:pt x="684085" y="2925128"/>
                    <a:pt x="687514" y="2925128"/>
                  </a:cubicBezTo>
                  <a:close/>
                  <a:moveTo>
                    <a:pt x="1181576" y="2924366"/>
                  </a:moveTo>
                  <a:cubicBezTo>
                    <a:pt x="1185005" y="2924366"/>
                    <a:pt x="1187767" y="2927128"/>
                    <a:pt x="1187767" y="2930557"/>
                  </a:cubicBezTo>
                  <a:cubicBezTo>
                    <a:pt x="1187767" y="2933986"/>
                    <a:pt x="1185005" y="2936748"/>
                    <a:pt x="1181576" y="2936748"/>
                  </a:cubicBezTo>
                  <a:cubicBezTo>
                    <a:pt x="1178147" y="2936748"/>
                    <a:pt x="1175385" y="2933986"/>
                    <a:pt x="1175385" y="2930557"/>
                  </a:cubicBezTo>
                  <a:cubicBezTo>
                    <a:pt x="1175385" y="2927128"/>
                    <a:pt x="1178147" y="2924366"/>
                    <a:pt x="1181576" y="2924366"/>
                  </a:cubicBezTo>
                  <a:close/>
                  <a:moveTo>
                    <a:pt x="2520314" y="2924175"/>
                  </a:moveTo>
                  <a:cubicBezTo>
                    <a:pt x="2523743" y="2924175"/>
                    <a:pt x="2526505" y="2926937"/>
                    <a:pt x="2526505" y="2930366"/>
                  </a:cubicBezTo>
                  <a:cubicBezTo>
                    <a:pt x="2526505" y="2933795"/>
                    <a:pt x="2523743" y="2936558"/>
                    <a:pt x="2520314" y="2936558"/>
                  </a:cubicBezTo>
                  <a:cubicBezTo>
                    <a:pt x="2516885" y="2936558"/>
                    <a:pt x="2514123" y="2933795"/>
                    <a:pt x="2514123" y="2930366"/>
                  </a:cubicBezTo>
                  <a:cubicBezTo>
                    <a:pt x="2514123" y="2926937"/>
                    <a:pt x="2516885" y="2924175"/>
                    <a:pt x="2520314" y="2924175"/>
                  </a:cubicBezTo>
                  <a:close/>
                  <a:moveTo>
                    <a:pt x="999743" y="2923509"/>
                  </a:moveTo>
                  <a:cubicBezTo>
                    <a:pt x="1003172" y="2923509"/>
                    <a:pt x="1005935" y="2926271"/>
                    <a:pt x="1005935" y="2929700"/>
                  </a:cubicBezTo>
                  <a:cubicBezTo>
                    <a:pt x="1005935" y="2933129"/>
                    <a:pt x="1003172" y="2935891"/>
                    <a:pt x="999743" y="2935891"/>
                  </a:cubicBezTo>
                  <a:cubicBezTo>
                    <a:pt x="996314" y="2935891"/>
                    <a:pt x="993552" y="2933129"/>
                    <a:pt x="993552" y="2929700"/>
                  </a:cubicBezTo>
                  <a:cubicBezTo>
                    <a:pt x="993552" y="2926271"/>
                    <a:pt x="996314" y="2923509"/>
                    <a:pt x="999743" y="2923509"/>
                  </a:cubicBezTo>
                  <a:close/>
                  <a:moveTo>
                    <a:pt x="2578131" y="2923032"/>
                  </a:moveTo>
                  <a:cubicBezTo>
                    <a:pt x="2581560" y="2923032"/>
                    <a:pt x="2584323" y="2925794"/>
                    <a:pt x="2584323" y="2929223"/>
                  </a:cubicBezTo>
                  <a:cubicBezTo>
                    <a:pt x="2584323" y="2932652"/>
                    <a:pt x="2581560" y="2935415"/>
                    <a:pt x="2578131" y="2935415"/>
                  </a:cubicBezTo>
                  <a:cubicBezTo>
                    <a:pt x="2574702" y="2935415"/>
                    <a:pt x="2571940" y="2932652"/>
                    <a:pt x="2571940" y="2929223"/>
                  </a:cubicBezTo>
                  <a:cubicBezTo>
                    <a:pt x="2571940" y="2925794"/>
                    <a:pt x="2574702" y="2923032"/>
                    <a:pt x="2578131" y="2923032"/>
                  </a:cubicBezTo>
                  <a:close/>
                  <a:moveTo>
                    <a:pt x="2452020" y="2920746"/>
                  </a:moveTo>
                  <a:cubicBezTo>
                    <a:pt x="2455449" y="2920746"/>
                    <a:pt x="2458211" y="2923508"/>
                    <a:pt x="2458211" y="2926937"/>
                  </a:cubicBezTo>
                  <a:cubicBezTo>
                    <a:pt x="2458211" y="2930366"/>
                    <a:pt x="2455449" y="2933128"/>
                    <a:pt x="2452020" y="2933128"/>
                  </a:cubicBezTo>
                  <a:cubicBezTo>
                    <a:pt x="2448591" y="2933128"/>
                    <a:pt x="2445829" y="2930366"/>
                    <a:pt x="2445829" y="2926937"/>
                  </a:cubicBezTo>
                  <a:cubicBezTo>
                    <a:pt x="2445829" y="2923508"/>
                    <a:pt x="2448591" y="2920746"/>
                    <a:pt x="2452020" y="2920746"/>
                  </a:cubicBezTo>
                  <a:close/>
                  <a:moveTo>
                    <a:pt x="2767393" y="2920175"/>
                  </a:moveTo>
                  <a:cubicBezTo>
                    <a:pt x="2770822" y="2920175"/>
                    <a:pt x="2773584" y="2922937"/>
                    <a:pt x="2773584" y="2926366"/>
                  </a:cubicBezTo>
                  <a:cubicBezTo>
                    <a:pt x="2773584" y="2929795"/>
                    <a:pt x="2770822" y="2932557"/>
                    <a:pt x="2767393" y="2932557"/>
                  </a:cubicBezTo>
                  <a:cubicBezTo>
                    <a:pt x="2763964" y="2932557"/>
                    <a:pt x="2761202" y="2929795"/>
                    <a:pt x="2761202" y="2926366"/>
                  </a:cubicBezTo>
                  <a:cubicBezTo>
                    <a:pt x="2761202" y="2922937"/>
                    <a:pt x="2763964" y="2920175"/>
                    <a:pt x="2767393" y="2920175"/>
                  </a:cubicBezTo>
                  <a:close/>
                  <a:moveTo>
                    <a:pt x="1692782" y="2919984"/>
                  </a:moveTo>
                  <a:cubicBezTo>
                    <a:pt x="1696211" y="2919984"/>
                    <a:pt x="1698973" y="2922746"/>
                    <a:pt x="1698973" y="2926175"/>
                  </a:cubicBezTo>
                  <a:cubicBezTo>
                    <a:pt x="1698973" y="2929604"/>
                    <a:pt x="1696211" y="2932367"/>
                    <a:pt x="1692782" y="2932367"/>
                  </a:cubicBezTo>
                  <a:cubicBezTo>
                    <a:pt x="1689353" y="2932367"/>
                    <a:pt x="1686591" y="2929604"/>
                    <a:pt x="1686591" y="2926175"/>
                  </a:cubicBezTo>
                  <a:cubicBezTo>
                    <a:pt x="1686591" y="2922746"/>
                    <a:pt x="1689353" y="2919984"/>
                    <a:pt x="1692782" y="2919984"/>
                  </a:cubicBezTo>
                  <a:close/>
                  <a:moveTo>
                    <a:pt x="1593151" y="2919127"/>
                  </a:moveTo>
                  <a:cubicBezTo>
                    <a:pt x="1596580" y="2919127"/>
                    <a:pt x="1599343" y="2921889"/>
                    <a:pt x="1599343" y="2925318"/>
                  </a:cubicBezTo>
                  <a:cubicBezTo>
                    <a:pt x="1599343" y="2928747"/>
                    <a:pt x="1596580" y="2931510"/>
                    <a:pt x="1593151" y="2931510"/>
                  </a:cubicBezTo>
                  <a:cubicBezTo>
                    <a:pt x="1589722" y="2931510"/>
                    <a:pt x="1586960" y="2928747"/>
                    <a:pt x="1586960" y="2925318"/>
                  </a:cubicBezTo>
                  <a:cubicBezTo>
                    <a:pt x="1586960" y="2921889"/>
                    <a:pt x="1589722" y="2919127"/>
                    <a:pt x="1593151" y="2919127"/>
                  </a:cubicBezTo>
                  <a:close/>
                  <a:moveTo>
                    <a:pt x="627792" y="2919032"/>
                  </a:moveTo>
                  <a:cubicBezTo>
                    <a:pt x="631221" y="2919032"/>
                    <a:pt x="633983" y="2921794"/>
                    <a:pt x="633983" y="2925223"/>
                  </a:cubicBezTo>
                  <a:cubicBezTo>
                    <a:pt x="633983" y="2928652"/>
                    <a:pt x="631221" y="2931414"/>
                    <a:pt x="627792" y="2931414"/>
                  </a:cubicBezTo>
                  <a:cubicBezTo>
                    <a:pt x="624363" y="2931414"/>
                    <a:pt x="621601" y="2928652"/>
                    <a:pt x="621601" y="2925223"/>
                  </a:cubicBezTo>
                  <a:cubicBezTo>
                    <a:pt x="621601" y="2921794"/>
                    <a:pt x="624363" y="2919032"/>
                    <a:pt x="627792" y="2919032"/>
                  </a:cubicBezTo>
                  <a:close/>
                  <a:moveTo>
                    <a:pt x="610837" y="2918555"/>
                  </a:moveTo>
                  <a:cubicBezTo>
                    <a:pt x="614266" y="2918555"/>
                    <a:pt x="617028" y="2921317"/>
                    <a:pt x="617028" y="2924746"/>
                  </a:cubicBezTo>
                  <a:cubicBezTo>
                    <a:pt x="617028" y="2928175"/>
                    <a:pt x="614266" y="2930938"/>
                    <a:pt x="610837" y="2930938"/>
                  </a:cubicBezTo>
                  <a:cubicBezTo>
                    <a:pt x="607408" y="2930938"/>
                    <a:pt x="604646" y="2928175"/>
                    <a:pt x="604646" y="2924746"/>
                  </a:cubicBezTo>
                  <a:cubicBezTo>
                    <a:pt x="604646" y="2921317"/>
                    <a:pt x="607408" y="2918555"/>
                    <a:pt x="610837" y="2918555"/>
                  </a:cubicBezTo>
                  <a:close/>
                  <a:moveTo>
                    <a:pt x="2807588" y="2918460"/>
                  </a:moveTo>
                  <a:cubicBezTo>
                    <a:pt x="2808272" y="2918460"/>
                    <a:pt x="2808827" y="2919014"/>
                    <a:pt x="2808827" y="2919698"/>
                  </a:cubicBezTo>
                  <a:cubicBezTo>
                    <a:pt x="2808827" y="2920382"/>
                    <a:pt x="2808272" y="2920936"/>
                    <a:pt x="2807588" y="2920936"/>
                  </a:cubicBezTo>
                  <a:cubicBezTo>
                    <a:pt x="2806904" y="2920936"/>
                    <a:pt x="2806350" y="2920382"/>
                    <a:pt x="2806350" y="2919698"/>
                  </a:cubicBezTo>
                  <a:cubicBezTo>
                    <a:pt x="2806350" y="2919014"/>
                    <a:pt x="2806904" y="2918460"/>
                    <a:pt x="2807588" y="2918460"/>
                  </a:cubicBezTo>
                  <a:close/>
                  <a:moveTo>
                    <a:pt x="2626899" y="2918460"/>
                  </a:moveTo>
                  <a:cubicBezTo>
                    <a:pt x="2630328" y="2918460"/>
                    <a:pt x="2633090" y="2921222"/>
                    <a:pt x="2633090" y="2924651"/>
                  </a:cubicBezTo>
                  <a:cubicBezTo>
                    <a:pt x="2633090" y="2928080"/>
                    <a:pt x="2630328" y="2930842"/>
                    <a:pt x="2626899" y="2930842"/>
                  </a:cubicBezTo>
                  <a:cubicBezTo>
                    <a:pt x="2623470" y="2930842"/>
                    <a:pt x="2620708" y="2928080"/>
                    <a:pt x="2620708" y="2924651"/>
                  </a:cubicBezTo>
                  <a:cubicBezTo>
                    <a:pt x="2620708" y="2921222"/>
                    <a:pt x="2623470" y="2918460"/>
                    <a:pt x="2626899" y="2918460"/>
                  </a:cubicBezTo>
                  <a:close/>
                  <a:moveTo>
                    <a:pt x="572737" y="2918365"/>
                  </a:moveTo>
                  <a:cubicBezTo>
                    <a:pt x="576166" y="2918365"/>
                    <a:pt x="578928" y="2921127"/>
                    <a:pt x="578928" y="2924556"/>
                  </a:cubicBezTo>
                  <a:cubicBezTo>
                    <a:pt x="578928" y="2927985"/>
                    <a:pt x="576166" y="2930747"/>
                    <a:pt x="572737" y="2930747"/>
                  </a:cubicBezTo>
                  <a:cubicBezTo>
                    <a:pt x="569308" y="2930747"/>
                    <a:pt x="566546" y="2927985"/>
                    <a:pt x="566546" y="2924556"/>
                  </a:cubicBezTo>
                  <a:cubicBezTo>
                    <a:pt x="566546" y="2921127"/>
                    <a:pt x="569308" y="2918365"/>
                    <a:pt x="572737" y="2918365"/>
                  </a:cubicBezTo>
                  <a:close/>
                  <a:moveTo>
                    <a:pt x="2714624" y="2918174"/>
                  </a:moveTo>
                  <a:cubicBezTo>
                    <a:pt x="2718053" y="2918174"/>
                    <a:pt x="2720815" y="2920936"/>
                    <a:pt x="2720815" y="2924365"/>
                  </a:cubicBezTo>
                  <a:cubicBezTo>
                    <a:pt x="2720815" y="2927794"/>
                    <a:pt x="2718053" y="2930557"/>
                    <a:pt x="2714624" y="2930557"/>
                  </a:cubicBezTo>
                  <a:cubicBezTo>
                    <a:pt x="2711195" y="2930557"/>
                    <a:pt x="2708433" y="2927794"/>
                    <a:pt x="2708433" y="2924365"/>
                  </a:cubicBezTo>
                  <a:cubicBezTo>
                    <a:pt x="2708433" y="2920936"/>
                    <a:pt x="2711195" y="2918174"/>
                    <a:pt x="2714624" y="2918174"/>
                  </a:cubicBezTo>
                  <a:close/>
                  <a:moveTo>
                    <a:pt x="2695098" y="2917222"/>
                  </a:moveTo>
                  <a:cubicBezTo>
                    <a:pt x="2698527" y="2917222"/>
                    <a:pt x="2701290" y="2919984"/>
                    <a:pt x="2701290" y="2923413"/>
                  </a:cubicBezTo>
                  <a:cubicBezTo>
                    <a:pt x="2701290" y="2926842"/>
                    <a:pt x="2698527" y="2929604"/>
                    <a:pt x="2695098" y="2929604"/>
                  </a:cubicBezTo>
                  <a:cubicBezTo>
                    <a:pt x="2691669" y="2929604"/>
                    <a:pt x="2688907" y="2926842"/>
                    <a:pt x="2688907" y="2923413"/>
                  </a:cubicBezTo>
                  <a:cubicBezTo>
                    <a:pt x="2688907" y="2919984"/>
                    <a:pt x="2691669" y="2917222"/>
                    <a:pt x="2695098" y="2917222"/>
                  </a:cubicBezTo>
                  <a:close/>
                  <a:moveTo>
                    <a:pt x="1792128" y="2917222"/>
                  </a:moveTo>
                  <a:cubicBezTo>
                    <a:pt x="1795557" y="2917222"/>
                    <a:pt x="1798320" y="2919984"/>
                    <a:pt x="1798320" y="2923413"/>
                  </a:cubicBezTo>
                  <a:cubicBezTo>
                    <a:pt x="1798320" y="2926842"/>
                    <a:pt x="1795557" y="2929604"/>
                    <a:pt x="1792128" y="2929604"/>
                  </a:cubicBezTo>
                  <a:cubicBezTo>
                    <a:pt x="1788699" y="2929604"/>
                    <a:pt x="1785937" y="2926842"/>
                    <a:pt x="1785937" y="2923413"/>
                  </a:cubicBezTo>
                  <a:cubicBezTo>
                    <a:pt x="1785937" y="2919984"/>
                    <a:pt x="1788699" y="2917222"/>
                    <a:pt x="1792128" y="2917222"/>
                  </a:cubicBezTo>
                  <a:close/>
                  <a:moveTo>
                    <a:pt x="2729293" y="2916936"/>
                  </a:moveTo>
                  <a:cubicBezTo>
                    <a:pt x="2732722" y="2916936"/>
                    <a:pt x="2735484" y="2919698"/>
                    <a:pt x="2735484" y="2923127"/>
                  </a:cubicBezTo>
                  <a:cubicBezTo>
                    <a:pt x="2735484" y="2926556"/>
                    <a:pt x="2732722" y="2929318"/>
                    <a:pt x="2729293" y="2929318"/>
                  </a:cubicBezTo>
                  <a:cubicBezTo>
                    <a:pt x="2725864" y="2929318"/>
                    <a:pt x="2723102" y="2926556"/>
                    <a:pt x="2723102" y="2923127"/>
                  </a:cubicBezTo>
                  <a:cubicBezTo>
                    <a:pt x="2723102" y="2919698"/>
                    <a:pt x="2725864" y="2916936"/>
                    <a:pt x="2729293" y="2916936"/>
                  </a:cubicBezTo>
                  <a:close/>
                  <a:moveTo>
                    <a:pt x="597503" y="2916936"/>
                  </a:moveTo>
                  <a:cubicBezTo>
                    <a:pt x="600932" y="2916936"/>
                    <a:pt x="603694" y="2919698"/>
                    <a:pt x="603694" y="2923127"/>
                  </a:cubicBezTo>
                  <a:cubicBezTo>
                    <a:pt x="603694" y="2926556"/>
                    <a:pt x="600932" y="2929318"/>
                    <a:pt x="597503" y="2929318"/>
                  </a:cubicBezTo>
                  <a:cubicBezTo>
                    <a:pt x="594074" y="2929318"/>
                    <a:pt x="591312" y="2926556"/>
                    <a:pt x="591312" y="2923127"/>
                  </a:cubicBezTo>
                  <a:cubicBezTo>
                    <a:pt x="591312" y="2919698"/>
                    <a:pt x="594074" y="2916936"/>
                    <a:pt x="597503" y="2916936"/>
                  </a:cubicBezTo>
                  <a:close/>
                  <a:moveTo>
                    <a:pt x="585406" y="2916365"/>
                  </a:moveTo>
                  <a:cubicBezTo>
                    <a:pt x="588835" y="2916365"/>
                    <a:pt x="591597" y="2919127"/>
                    <a:pt x="591597" y="2922556"/>
                  </a:cubicBezTo>
                  <a:cubicBezTo>
                    <a:pt x="591597" y="2925985"/>
                    <a:pt x="588835" y="2928747"/>
                    <a:pt x="585406" y="2928747"/>
                  </a:cubicBezTo>
                  <a:cubicBezTo>
                    <a:pt x="581977" y="2928747"/>
                    <a:pt x="579215" y="2925985"/>
                    <a:pt x="579215" y="2922556"/>
                  </a:cubicBezTo>
                  <a:cubicBezTo>
                    <a:pt x="579215" y="2919127"/>
                    <a:pt x="581977" y="2916365"/>
                    <a:pt x="585406" y="2916365"/>
                  </a:cubicBezTo>
                  <a:close/>
                  <a:moveTo>
                    <a:pt x="553402" y="2916365"/>
                  </a:moveTo>
                  <a:cubicBezTo>
                    <a:pt x="554545" y="2916365"/>
                    <a:pt x="555403" y="2917222"/>
                    <a:pt x="555403" y="2918365"/>
                  </a:cubicBezTo>
                  <a:cubicBezTo>
                    <a:pt x="555403" y="2919508"/>
                    <a:pt x="554545" y="2920365"/>
                    <a:pt x="553402" y="2920365"/>
                  </a:cubicBezTo>
                  <a:cubicBezTo>
                    <a:pt x="552259" y="2920365"/>
                    <a:pt x="551402" y="2919508"/>
                    <a:pt x="551402" y="2918365"/>
                  </a:cubicBezTo>
                  <a:cubicBezTo>
                    <a:pt x="551402" y="2917222"/>
                    <a:pt x="552259" y="2916365"/>
                    <a:pt x="553402" y="2916365"/>
                  </a:cubicBezTo>
                  <a:close/>
                  <a:moveTo>
                    <a:pt x="2753867" y="2916270"/>
                  </a:moveTo>
                  <a:cubicBezTo>
                    <a:pt x="2757296" y="2916270"/>
                    <a:pt x="2760058" y="2919032"/>
                    <a:pt x="2760058" y="2922461"/>
                  </a:cubicBezTo>
                  <a:cubicBezTo>
                    <a:pt x="2760058" y="2925890"/>
                    <a:pt x="2757296" y="2928652"/>
                    <a:pt x="2753867" y="2928652"/>
                  </a:cubicBezTo>
                  <a:cubicBezTo>
                    <a:pt x="2750438" y="2928652"/>
                    <a:pt x="2747676" y="2925890"/>
                    <a:pt x="2747676" y="2922461"/>
                  </a:cubicBezTo>
                  <a:cubicBezTo>
                    <a:pt x="2747676" y="2919032"/>
                    <a:pt x="2750438" y="2916270"/>
                    <a:pt x="2753867" y="2916270"/>
                  </a:cubicBezTo>
                  <a:close/>
                  <a:moveTo>
                    <a:pt x="650938" y="2915888"/>
                  </a:moveTo>
                  <a:cubicBezTo>
                    <a:pt x="654367" y="2915888"/>
                    <a:pt x="657129" y="2918650"/>
                    <a:pt x="657129" y="2922079"/>
                  </a:cubicBezTo>
                  <a:cubicBezTo>
                    <a:pt x="657129" y="2925508"/>
                    <a:pt x="654367" y="2928271"/>
                    <a:pt x="650938" y="2928271"/>
                  </a:cubicBezTo>
                  <a:cubicBezTo>
                    <a:pt x="647509" y="2928271"/>
                    <a:pt x="644747" y="2925508"/>
                    <a:pt x="644747" y="2922079"/>
                  </a:cubicBezTo>
                  <a:cubicBezTo>
                    <a:pt x="644747" y="2918650"/>
                    <a:pt x="647509" y="2915888"/>
                    <a:pt x="650938" y="2915888"/>
                  </a:cubicBezTo>
                  <a:close/>
                  <a:moveTo>
                    <a:pt x="2787205" y="2915698"/>
                  </a:moveTo>
                  <a:cubicBezTo>
                    <a:pt x="2790634" y="2915698"/>
                    <a:pt x="2793396" y="2918460"/>
                    <a:pt x="2793396" y="2921889"/>
                  </a:cubicBezTo>
                  <a:cubicBezTo>
                    <a:pt x="2793396" y="2925318"/>
                    <a:pt x="2790634" y="2928080"/>
                    <a:pt x="2787205" y="2928080"/>
                  </a:cubicBezTo>
                  <a:cubicBezTo>
                    <a:pt x="2783776" y="2928080"/>
                    <a:pt x="2781014" y="2925318"/>
                    <a:pt x="2781014" y="2921889"/>
                  </a:cubicBezTo>
                  <a:cubicBezTo>
                    <a:pt x="2781014" y="2918460"/>
                    <a:pt x="2783776" y="2915698"/>
                    <a:pt x="2787205" y="2915698"/>
                  </a:cubicBezTo>
                  <a:close/>
                  <a:moveTo>
                    <a:pt x="2741675" y="2915698"/>
                  </a:moveTo>
                  <a:cubicBezTo>
                    <a:pt x="2745104" y="2915698"/>
                    <a:pt x="2747866" y="2918460"/>
                    <a:pt x="2747866" y="2921889"/>
                  </a:cubicBezTo>
                  <a:cubicBezTo>
                    <a:pt x="2747866" y="2925318"/>
                    <a:pt x="2745104" y="2928080"/>
                    <a:pt x="2741675" y="2928080"/>
                  </a:cubicBezTo>
                  <a:cubicBezTo>
                    <a:pt x="2738246" y="2928080"/>
                    <a:pt x="2735484" y="2925318"/>
                    <a:pt x="2735484" y="2921889"/>
                  </a:cubicBezTo>
                  <a:cubicBezTo>
                    <a:pt x="2735484" y="2918460"/>
                    <a:pt x="2738246" y="2915698"/>
                    <a:pt x="2741675" y="2915698"/>
                  </a:cubicBezTo>
                  <a:close/>
                  <a:moveTo>
                    <a:pt x="2196178" y="2915031"/>
                  </a:moveTo>
                  <a:cubicBezTo>
                    <a:pt x="2199607" y="2915031"/>
                    <a:pt x="2202370" y="2917793"/>
                    <a:pt x="2202370" y="2921222"/>
                  </a:cubicBezTo>
                  <a:cubicBezTo>
                    <a:pt x="2202370" y="2924651"/>
                    <a:pt x="2199607" y="2927413"/>
                    <a:pt x="2196178" y="2927413"/>
                  </a:cubicBezTo>
                  <a:cubicBezTo>
                    <a:pt x="2192749" y="2927413"/>
                    <a:pt x="2189987" y="2924651"/>
                    <a:pt x="2189987" y="2921222"/>
                  </a:cubicBezTo>
                  <a:cubicBezTo>
                    <a:pt x="2189987" y="2917793"/>
                    <a:pt x="2192749" y="2915031"/>
                    <a:pt x="2196178" y="2915031"/>
                  </a:cubicBezTo>
                  <a:close/>
                  <a:moveTo>
                    <a:pt x="1494281" y="2914650"/>
                  </a:moveTo>
                  <a:cubicBezTo>
                    <a:pt x="1497710" y="2914650"/>
                    <a:pt x="1500473" y="2917412"/>
                    <a:pt x="1500473" y="2920841"/>
                  </a:cubicBezTo>
                  <a:cubicBezTo>
                    <a:pt x="1500473" y="2924270"/>
                    <a:pt x="1497710" y="2927033"/>
                    <a:pt x="1494281" y="2927033"/>
                  </a:cubicBezTo>
                  <a:cubicBezTo>
                    <a:pt x="1490852" y="2927033"/>
                    <a:pt x="1488090" y="2924270"/>
                    <a:pt x="1488090" y="2920841"/>
                  </a:cubicBezTo>
                  <a:cubicBezTo>
                    <a:pt x="1488090" y="2917412"/>
                    <a:pt x="1490852" y="2914650"/>
                    <a:pt x="1494281" y="2914650"/>
                  </a:cubicBezTo>
                  <a:close/>
                  <a:moveTo>
                    <a:pt x="784955" y="2912364"/>
                  </a:moveTo>
                  <a:cubicBezTo>
                    <a:pt x="788384" y="2912364"/>
                    <a:pt x="791146" y="2915126"/>
                    <a:pt x="791146" y="2918555"/>
                  </a:cubicBezTo>
                  <a:cubicBezTo>
                    <a:pt x="791146" y="2921984"/>
                    <a:pt x="788384" y="2924746"/>
                    <a:pt x="784955" y="2924746"/>
                  </a:cubicBezTo>
                  <a:cubicBezTo>
                    <a:pt x="781526" y="2924746"/>
                    <a:pt x="778764" y="2921984"/>
                    <a:pt x="778764" y="2918555"/>
                  </a:cubicBezTo>
                  <a:cubicBezTo>
                    <a:pt x="778764" y="2915126"/>
                    <a:pt x="781526" y="2912364"/>
                    <a:pt x="784955" y="2912364"/>
                  </a:cubicBezTo>
                  <a:close/>
                  <a:moveTo>
                    <a:pt x="2371915" y="2911697"/>
                  </a:moveTo>
                  <a:cubicBezTo>
                    <a:pt x="2375344" y="2911697"/>
                    <a:pt x="2378107" y="2914459"/>
                    <a:pt x="2378107" y="2917888"/>
                  </a:cubicBezTo>
                  <a:cubicBezTo>
                    <a:pt x="2378107" y="2921317"/>
                    <a:pt x="2375344" y="2924080"/>
                    <a:pt x="2371915" y="2924080"/>
                  </a:cubicBezTo>
                  <a:cubicBezTo>
                    <a:pt x="2368486" y="2924080"/>
                    <a:pt x="2365724" y="2921317"/>
                    <a:pt x="2365724" y="2917888"/>
                  </a:cubicBezTo>
                  <a:cubicBezTo>
                    <a:pt x="2365724" y="2914459"/>
                    <a:pt x="2368486" y="2911697"/>
                    <a:pt x="2371915" y="2911697"/>
                  </a:cubicBezTo>
                  <a:close/>
                  <a:moveTo>
                    <a:pt x="2667761" y="2911126"/>
                  </a:moveTo>
                  <a:cubicBezTo>
                    <a:pt x="2671190" y="2911126"/>
                    <a:pt x="2673953" y="2913888"/>
                    <a:pt x="2673953" y="2917317"/>
                  </a:cubicBezTo>
                  <a:cubicBezTo>
                    <a:pt x="2673953" y="2920746"/>
                    <a:pt x="2671190" y="2923509"/>
                    <a:pt x="2667761" y="2923509"/>
                  </a:cubicBezTo>
                  <a:cubicBezTo>
                    <a:pt x="2664332" y="2923509"/>
                    <a:pt x="2661570" y="2920746"/>
                    <a:pt x="2661570" y="2917317"/>
                  </a:cubicBezTo>
                  <a:cubicBezTo>
                    <a:pt x="2661570" y="2913888"/>
                    <a:pt x="2664332" y="2911126"/>
                    <a:pt x="2667761" y="2911126"/>
                  </a:cubicBezTo>
                  <a:close/>
                  <a:moveTo>
                    <a:pt x="729900" y="2910936"/>
                  </a:moveTo>
                  <a:cubicBezTo>
                    <a:pt x="733329" y="2910936"/>
                    <a:pt x="736091" y="2913698"/>
                    <a:pt x="736091" y="2917127"/>
                  </a:cubicBezTo>
                  <a:cubicBezTo>
                    <a:pt x="736091" y="2920556"/>
                    <a:pt x="733329" y="2923318"/>
                    <a:pt x="729900" y="2923318"/>
                  </a:cubicBezTo>
                  <a:cubicBezTo>
                    <a:pt x="726471" y="2923318"/>
                    <a:pt x="723709" y="2920556"/>
                    <a:pt x="723709" y="2917127"/>
                  </a:cubicBezTo>
                  <a:cubicBezTo>
                    <a:pt x="723709" y="2913698"/>
                    <a:pt x="726471" y="2910936"/>
                    <a:pt x="729900" y="2910936"/>
                  </a:cubicBezTo>
                  <a:close/>
                  <a:moveTo>
                    <a:pt x="1890331" y="2910745"/>
                  </a:moveTo>
                  <a:cubicBezTo>
                    <a:pt x="1893760" y="2910745"/>
                    <a:pt x="1896523" y="2913507"/>
                    <a:pt x="1896523" y="2916936"/>
                  </a:cubicBezTo>
                  <a:cubicBezTo>
                    <a:pt x="1896523" y="2920365"/>
                    <a:pt x="1893760" y="2923128"/>
                    <a:pt x="1890331" y="2923128"/>
                  </a:cubicBezTo>
                  <a:cubicBezTo>
                    <a:pt x="1886902" y="2923128"/>
                    <a:pt x="1884140" y="2920365"/>
                    <a:pt x="1884140" y="2916936"/>
                  </a:cubicBezTo>
                  <a:cubicBezTo>
                    <a:pt x="1884140" y="2913507"/>
                    <a:pt x="1886902" y="2910745"/>
                    <a:pt x="1890331" y="2910745"/>
                  </a:cubicBezTo>
                  <a:close/>
                  <a:moveTo>
                    <a:pt x="850201" y="2909412"/>
                  </a:moveTo>
                  <a:cubicBezTo>
                    <a:pt x="853621" y="2909412"/>
                    <a:pt x="856393" y="2912184"/>
                    <a:pt x="856393" y="2915603"/>
                  </a:cubicBezTo>
                  <a:cubicBezTo>
                    <a:pt x="856393" y="2919022"/>
                    <a:pt x="853621" y="2921794"/>
                    <a:pt x="850201" y="2921794"/>
                  </a:cubicBezTo>
                  <a:cubicBezTo>
                    <a:pt x="846782" y="2921794"/>
                    <a:pt x="844010" y="2919022"/>
                    <a:pt x="844010" y="2915603"/>
                  </a:cubicBezTo>
                  <a:cubicBezTo>
                    <a:pt x="844010" y="2912184"/>
                    <a:pt x="846782" y="2909412"/>
                    <a:pt x="850201" y="2909412"/>
                  </a:cubicBezTo>
                  <a:close/>
                  <a:moveTo>
                    <a:pt x="2772727" y="2908649"/>
                  </a:moveTo>
                  <a:cubicBezTo>
                    <a:pt x="2776156" y="2908649"/>
                    <a:pt x="2778918" y="2911411"/>
                    <a:pt x="2778918" y="2914840"/>
                  </a:cubicBezTo>
                  <a:cubicBezTo>
                    <a:pt x="2778918" y="2918269"/>
                    <a:pt x="2776156" y="2921032"/>
                    <a:pt x="2772727" y="2921032"/>
                  </a:cubicBezTo>
                  <a:cubicBezTo>
                    <a:pt x="2769298" y="2921032"/>
                    <a:pt x="2766536" y="2918269"/>
                    <a:pt x="2766536" y="2914840"/>
                  </a:cubicBezTo>
                  <a:cubicBezTo>
                    <a:pt x="2766536" y="2911411"/>
                    <a:pt x="2769298" y="2908649"/>
                    <a:pt x="2772727" y="2908649"/>
                  </a:cubicBezTo>
                  <a:close/>
                  <a:moveTo>
                    <a:pt x="566642" y="2907411"/>
                  </a:moveTo>
                  <a:cubicBezTo>
                    <a:pt x="570071" y="2907411"/>
                    <a:pt x="572833" y="2910173"/>
                    <a:pt x="572833" y="2913602"/>
                  </a:cubicBezTo>
                  <a:cubicBezTo>
                    <a:pt x="572833" y="2917031"/>
                    <a:pt x="570071" y="2919793"/>
                    <a:pt x="566642" y="2919793"/>
                  </a:cubicBezTo>
                  <a:cubicBezTo>
                    <a:pt x="563213" y="2919793"/>
                    <a:pt x="560451" y="2917031"/>
                    <a:pt x="560451" y="2913602"/>
                  </a:cubicBezTo>
                  <a:cubicBezTo>
                    <a:pt x="560451" y="2910173"/>
                    <a:pt x="563213" y="2907411"/>
                    <a:pt x="566642" y="2907411"/>
                  </a:cubicBezTo>
                  <a:close/>
                  <a:moveTo>
                    <a:pt x="602551" y="2906935"/>
                  </a:moveTo>
                  <a:cubicBezTo>
                    <a:pt x="605980" y="2906935"/>
                    <a:pt x="608742" y="2909697"/>
                    <a:pt x="608742" y="2913126"/>
                  </a:cubicBezTo>
                  <a:cubicBezTo>
                    <a:pt x="608742" y="2916555"/>
                    <a:pt x="605980" y="2919318"/>
                    <a:pt x="602551" y="2919318"/>
                  </a:cubicBezTo>
                  <a:cubicBezTo>
                    <a:pt x="599122" y="2919318"/>
                    <a:pt x="596360" y="2916555"/>
                    <a:pt x="596360" y="2913126"/>
                  </a:cubicBezTo>
                  <a:cubicBezTo>
                    <a:pt x="596360" y="2909697"/>
                    <a:pt x="599122" y="2906935"/>
                    <a:pt x="602551" y="2906935"/>
                  </a:cubicBezTo>
                  <a:close/>
                  <a:moveTo>
                    <a:pt x="1396841" y="2906554"/>
                  </a:moveTo>
                  <a:cubicBezTo>
                    <a:pt x="1400270" y="2906554"/>
                    <a:pt x="1403033" y="2909316"/>
                    <a:pt x="1403033" y="2912745"/>
                  </a:cubicBezTo>
                  <a:cubicBezTo>
                    <a:pt x="1403033" y="2916174"/>
                    <a:pt x="1400270" y="2918936"/>
                    <a:pt x="1396841" y="2918936"/>
                  </a:cubicBezTo>
                  <a:cubicBezTo>
                    <a:pt x="1393412" y="2918936"/>
                    <a:pt x="1390650" y="2916174"/>
                    <a:pt x="1390650" y="2912745"/>
                  </a:cubicBezTo>
                  <a:cubicBezTo>
                    <a:pt x="1390650" y="2909316"/>
                    <a:pt x="1393412" y="2906554"/>
                    <a:pt x="1396841" y="2906554"/>
                  </a:cubicBezTo>
                  <a:close/>
                  <a:moveTo>
                    <a:pt x="1097279" y="2906459"/>
                  </a:moveTo>
                  <a:cubicBezTo>
                    <a:pt x="1100708" y="2906459"/>
                    <a:pt x="1103470" y="2909221"/>
                    <a:pt x="1103470" y="2912650"/>
                  </a:cubicBezTo>
                  <a:cubicBezTo>
                    <a:pt x="1103470" y="2916079"/>
                    <a:pt x="1100708" y="2918841"/>
                    <a:pt x="1097279" y="2918841"/>
                  </a:cubicBezTo>
                  <a:cubicBezTo>
                    <a:pt x="1093850" y="2918841"/>
                    <a:pt x="1091088" y="2916079"/>
                    <a:pt x="1091088" y="2912650"/>
                  </a:cubicBezTo>
                  <a:cubicBezTo>
                    <a:pt x="1091088" y="2909221"/>
                    <a:pt x="1093850" y="2906459"/>
                    <a:pt x="1097279" y="2906459"/>
                  </a:cubicBezTo>
                  <a:close/>
                  <a:moveTo>
                    <a:pt x="683704" y="2906173"/>
                  </a:moveTo>
                  <a:cubicBezTo>
                    <a:pt x="687133" y="2906173"/>
                    <a:pt x="689896" y="2908935"/>
                    <a:pt x="689896" y="2912364"/>
                  </a:cubicBezTo>
                  <a:cubicBezTo>
                    <a:pt x="689896" y="2915793"/>
                    <a:pt x="687133" y="2918555"/>
                    <a:pt x="683704" y="2918555"/>
                  </a:cubicBezTo>
                  <a:cubicBezTo>
                    <a:pt x="680275" y="2918555"/>
                    <a:pt x="677513" y="2915793"/>
                    <a:pt x="677513" y="2912364"/>
                  </a:cubicBezTo>
                  <a:cubicBezTo>
                    <a:pt x="677513" y="2908935"/>
                    <a:pt x="680275" y="2906173"/>
                    <a:pt x="683704" y="2906173"/>
                  </a:cubicBezTo>
                  <a:close/>
                  <a:moveTo>
                    <a:pt x="2737580" y="2905887"/>
                  </a:moveTo>
                  <a:cubicBezTo>
                    <a:pt x="2741009" y="2905887"/>
                    <a:pt x="2743771" y="2908649"/>
                    <a:pt x="2743771" y="2912078"/>
                  </a:cubicBezTo>
                  <a:cubicBezTo>
                    <a:pt x="2743771" y="2915507"/>
                    <a:pt x="2741009" y="2918269"/>
                    <a:pt x="2737580" y="2918269"/>
                  </a:cubicBezTo>
                  <a:cubicBezTo>
                    <a:pt x="2734151" y="2918269"/>
                    <a:pt x="2731389" y="2915507"/>
                    <a:pt x="2731389" y="2912078"/>
                  </a:cubicBezTo>
                  <a:cubicBezTo>
                    <a:pt x="2731389" y="2908649"/>
                    <a:pt x="2734151" y="2905887"/>
                    <a:pt x="2737580" y="2905887"/>
                  </a:cubicBezTo>
                  <a:close/>
                  <a:moveTo>
                    <a:pt x="578072" y="2905887"/>
                  </a:moveTo>
                  <a:lnTo>
                    <a:pt x="583977" y="2911792"/>
                  </a:lnTo>
                  <a:lnTo>
                    <a:pt x="589406" y="2906363"/>
                  </a:lnTo>
                  <a:cubicBezTo>
                    <a:pt x="592835" y="2906363"/>
                    <a:pt x="595597" y="2909125"/>
                    <a:pt x="595597" y="2912554"/>
                  </a:cubicBezTo>
                  <a:cubicBezTo>
                    <a:pt x="595597" y="2915983"/>
                    <a:pt x="592835" y="2918746"/>
                    <a:pt x="589406" y="2918746"/>
                  </a:cubicBezTo>
                  <a:lnTo>
                    <a:pt x="583501" y="2912840"/>
                  </a:lnTo>
                  <a:lnTo>
                    <a:pt x="578072" y="2918269"/>
                  </a:lnTo>
                  <a:cubicBezTo>
                    <a:pt x="574643" y="2918269"/>
                    <a:pt x="571881" y="2915507"/>
                    <a:pt x="571881" y="2912078"/>
                  </a:cubicBezTo>
                  <a:cubicBezTo>
                    <a:pt x="571881" y="2908649"/>
                    <a:pt x="574643" y="2905887"/>
                    <a:pt x="578072" y="2905887"/>
                  </a:cubicBezTo>
                  <a:close/>
                  <a:moveTo>
                    <a:pt x="2722721" y="2905697"/>
                  </a:moveTo>
                  <a:cubicBezTo>
                    <a:pt x="2726150" y="2905697"/>
                    <a:pt x="2728912" y="2908459"/>
                    <a:pt x="2728912" y="2911888"/>
                  </a:cubicBezTo>
                  <a:cubicBezTo>
                    <a:pt x="2728912" y="2915317"/>
                    <a:pt x="2726150" y="2918080"/>
                    <a:pt x="2722721" y="2918080"/>
                  </a:cubicBezTo>
                  <a:cubicBezTo>
                    <a:pt x="2719292" y="2918080"/>
                    <a:pt x="2716530" y="2915317"/>
                    <a:pt x="2716530" y="2911888"/>
                  </a:cubicBezTo>
                  <a:cubicBezTo>
                    <a:pt x="2716530" y="2908459"/>
                    <a:pt x="2719292" y="2905697"/>
                    <a:pt x="2722721" y="2905697"/>
                  </a:cubicBezTo>
                  <a:close/>
                  <a:moveTo>
                    <a:pt x="620172" y="2905316"/>
                  </a:moveTo>
                  <a:cubicBezTo>
                    <a:pt x="623601" y="2905316"/>
                    <a:pt x="626364" y="2908078"/>
                    <a:pt x="626364" y="2911507"/>
                  </a:cubicBezTo>
                  <a:cubicBezTo>
                    <a:pt x="626364" y="2914936"/>
                    <a:pt x="623601" y="2917698"/>
                    <a:pt x="620172" y="2917698"/>
                  </a:cubicBezTo>
                  <a:cubicBezTo>
                    <a:pt x="616743" y="2917698"/>
                    <a:pt x="613981" y="2914936"/>
                    <a:pt x="613981" y="2911507"/>
                  </a:cubicBezTo>
                  <a:cubicBezTo>
                    <a:pt x="613981" y="2908078"/>
                    <a:pt x="616743" y="2905316"/>
                    <a:pt x="620172" y="2905316"/>
                  </a:cubicBezTo>
                  <a:close/>
                  <a:moveTo>
                    <a:pt x="2749486" y="2905221"/>
                  </a:moveTo>
                  <a:lnTo>
                    <a:pt x="2755249" y="2910984"/>
                  </a:lnTo>
                  <a:lnTo>
                    <a:pt x="2760630" y="2905602"/>
                  </a:lnTo>
                  <a:cubicBezTo>
                    <a:pt x="2764059" y="2905602"/>
                    <a:pt x="2766822" y="2908364"/>
                    <a:pt x="2766822" y="2911793"/>
                  </a:cubicBezTo>
                  <a:cubicBezTo>
                    <a:pt x="2766822" y="2915222"/>
                    <a:pt x="2764059" y="2917984"/>
                    <a:pt x="2760630" y="2917984"/>
                  </a:cubicBezTo>
                  <a:lnTo>
                    <a:pt x="2754867" y="2912222"/>
                  </a:lnTo>
                  <a:lnTo>
                    <a:pt x="2749486" y="2917603"/>
                  </a:lnTo>
                  <a:cubicBezTo>
                    <a:pt x="2746057" y="2917603"/>
                    <a:pt x="2743295" y="2914841"/>
                    <a:pt x="2743295" y="2911412"/>
                  </a:cubicBezTo>
                  <a:cubicBezTo>
                    <a:pt x="2743295" y="2907983"/>
                    <a:pt x="2746057" y="2905221"/>
                    <a:pt x="2749486" y="2905221"/>
                  </a:cubicBezTo>
                  <a:close/>
                  <a:moveTo>
                    <a:pt x="2791586" y="2903220"/>
                  </a:moveTo>
                  <a:cubicBezTo>
                    <a:pt x="2795015" y="2903220"/>
                    <a:pt x="2797778" y="2905982"/>
                    <a:pt x="2797778" y="2909411"/>
                  </a:cubicBezTo>
                  <a:cubicBezTo>
                    <a:pt x="2797778" y="2912840"/>
                    <a:pt x="2795015" y="2915602"/>
                    <a:pt x="2791586" y="2915602"/>
                  </a:cubicBezTo>
                  <a:cubicBezTo>
                    <a:pt x="2788157" y="2915602"/>
                    <a:pt x="2785395" y="2912840"/>
                    <a:pt x="2785395" y="2909411"/>
                  </a:cubicBezTo>
                  <a:cubicBezTo>
                    <a:pt x="2785395" y="2905982"/>
                    <a:pt x="2788157" y="2903220"/>
                    <a:pt x="2791586" y="2903220"/>
                  </a:cubicBezTo>
                  <a:close/>
                  <a:moveTo>
                    <a:pt x="2702051" y="2902077"/>
                  </a:moveTo>
                  <a:cubicBezTo>
                    <a:pt x="2705480" y="2902077"/>
                    <a:pt x="2708242" y="2904839"/>
                    <a:pt x="2708242" y="2908268"/>
                  </a:cubicBezTo>
                  <a:cubicBezTo>
                    <a:pt x="2708242" y="2911697"/>
                    <a:pt x="2705480" y="2914459"/>
                    <a:pt x="2702051" y="2914459"/>
                  </a:cubicBezTo>
                  <a:cubicBezTo>
                    <a:pt x="2698622" y="2914459"/>
                    <a:pt x="2695860" y="2911697"/>
                    <a:pt x="2695860" y="2908268"/>
                  </a:cubicBezTo>
                  <a:cubicBezTo>
                    <a:pt x="2695860" y="2904839"/>
                    <a:pt x="2698622" y="2902077"/>
                    <a:pt x="2702051" y="2902077"/>
                  </a:cubicBezTo>
                  <a:close/>
                  <a:moveTo>
                    <a:pt x="926972" y="2901125"/>
                  </a:moveTo>
                  <a:cubicBezTo>
                    <a:pt x="930401" y="2901125"/>
                    <a:pt x="933164" y="2903887"/>
                    <a:pt x="933164" y="2907316"/>
                  </a:cubicBezTo>
                  <a:cubicBezTo>
                    <a:pt x="933164" y="2910745"/>
                    <a:pt x="930401" y="2913507"/>
                    <a:pt x="926972" y="2913507"/>
                  </a:cubicBezTo>
                  <a:cubicBezTo>
                    <a:pt x="923543" y="2913507"/>
                    <a:pt x="920781" y="2910745"/>
                    <a:pt x="920781" y="2907316"/>
                  </a:cubicBezTo>
                  <a:cubicBezTo>
                    <a:pt x="920781" y="2903887"/>
                    <a:pt x="923543" y="2901125"/>
                    <a:pt x="926972" y="2901125"/>
                  </a:cubicBezTo>
                  <a:close/>
                  <a:moveTo>
                    <a:pt x="1986628" y="2900839"/>
                  </a:moveTo>
                  <a:cubicBezTo>
                    <a:pt x="1990057" y="2900839"/>
                    <a:pt x="1992820" y="2903601"/>
                    <a:pt x="1992820" y="2907030"/>
                  </a:cubicBezTo>
                  <a:cubicBezTo>
                    <a:pt x="1992820" y="2910459"/>
                    <a:pt x="1990057" y="2913221"/>
                    <a:pt x="1986628" y="2913221"/>
                  </a:cubicBezTo>
                  <a:cubicBezTo>
                    <a:pt x="1983199" y="2913221"/>
                    <a:pt x="1980437" y="2910459"/>
                    <a:pt x="1980437" y="2907030"/>
                  </a:cubicBezTo>
                  <a:cubicBezTo>
                    <a:pt x="1980437" y="2903601"/>
                    <a:pt x="1983199" y="2900839"/>
                    <a:pt x="1986628" y="2900839"/>
                  </a:cubicBezTo>
                  <a:close/>
                  <a:moveTo>
                    <a:pt x="548163" y="2900363"/>
                  </a:moveTo>
                  <a:cubicBezTo>
                    <a:pt x="551592" y="2900363"/>
                    <a:pt x="554354" y="2903125"/>
                    <a:pt x="554354" y="2906554"/>
                  </a:cubicBezTo>
                  <a:cubicBezTo>
                    <a:pt x="554354" y="2909983"/>
                    <a:pt x="551592" y="2912746"/>
                    <a:pt x="548163" y="2912746"/>
                  </a:cubicBezTo>
                  <a:cubicBezTo>
                    <a:pt x="544734" y="2912746"/>
                    <a:pt x="541972" y="2909983"/>
                    <a:pt x="541972" y="2906554"/>
                  </a:cubicBezTo>
                  <a:cubicBezTo>
                    <a:pt x="541972" y="2903125"/>
                    <a:pt x="544734" y="2900363"/>
                    <a:pt x="548163" y="2900363"/>
                  </a:cubicBezTo>
                  <a:close/>
                  <a:moveTo>
                    <a:pt x="2810922" y="2899982"/>
                  </a:moveTo>
                  <a:cubicBezTo>
                    <a:pt x="2814351" y="2899982"/>
                    <a:pt x="2817114" y="2902744"/>
                    <a:pt x="2817114" y="2906173"/>
                  </a:cubicBezTo>
                  <a:cubicBezTo>
                    <a:pt x="2817114" y="2909602"/>
                    <a:pt x="2814351" y="2912364"/>
                    <a:pt x="2810922" y="2912364"/>
                  </a:cubicBezTo>
                  <a:cubicBezTo>
                    <a:pt x="2807493" y="2912364"/>
                    <a:pt x="2804731" y="2909602"/>
                    <a:pt x="2804731" y="2906173"/>
                  </a:cubicBezTo>
                  <a:cubicBezTo>
                    <a:pt x="2804731" y="2902744"/>
                    <a:pt x="2807493" y="2899982"/>
                    <a:pt x="2810922" y="2899982"/>
                  </a:cubicBezTo>
                  <a:close/>
                  <a:moveTo>
                    <a:pt x="645032" y="2898934"/>
                  </a:moveTo>
                  <a:cubicBezTo>
                    <a:pt x="648461" y="2898934"/>
                    <a:pt x="651224" y="2901696"/>
                    <a:pt x="651224" y="2905125"/>
                  </a:cubicBezTo>
                  <a:cubicBezTo>
                    <a:pt x="651224" y="2908554"/>
                    <a:pt x="648461" y="2911317"/>
                    <a:pt x="645032" y="2911317"/>
                  </a:cubicBezTo>
                  <a:cubicBezTo>
                    <a:pt x="641603" y="2911317"/>
                    <a:pt x="638841" y="2908554"/>
                    <a:pt x="638841" y="2905125"/>
                  </a:cubicBezTo>
                  <a:cubicBezTo>
                    <a:pt x="638841" y="2901696"/>
                    <a:pt x="641603" y="2898934"/>
                    <a:pt x="645032" y="2898934"/>
                  </a:cubicBezTo>
                  <a:close/>
                  <a:moveTo>
                    <a:pt x="2577179" y="2898553"/>
                  </a:moveTo>
                  <a:cubicBezTo>
                    <a:pt x="2580608" y="2898553"/>
                    <a:pt x="2583370" y="2901315"/>
                    <a:pt x="2583370" y="2904744"/>
                  </a:cubicBezTo>
                  <a:cubicBezTo>
                    <a:pt x="2583370" y="2908173"/>
                    <a:pt x="2580608" y="2910936"/>
                    <a:pt x="2577179" y="2910936"/>
                  </a:cubicBezTo>
                  <a:cubicBezTo>
                    <a:pt x="2573750" y="2910936"/>
                    <a:pt x="2570988" y="2908173"/>
                    <a:pt x="2570988" y="2904744"/>
                  </a:cubicBezTo>
                  <a:cubicBezTo>
                    <a:pt x="2570988" y="2901315"/>
                    <a:pt x="2573750" y="2898553"/>
                    <a:pt x="2577179" y="2898553"/>
                  </a:cubicBezTo>
                  <a:close/>
                  <a:moveTo>
                    <a:pt x="2778823" y="2897220"/>
                  </a:moveTo>
                  <a:cubicBezTo>
                    <a:pt x="2782252" y="2897220"/>
                    <a:pt x="2785015" y="2899982"/>
                    <a:pt x="2785015" y="2903411"/>
                  </a:cubicBezTo>
                  <a:cubicBezTo>
                    <a:pt x="2785015" y="2906840"/>
                    <a:pt x="2782252" y="2909602"/>
                    <a:pt x="2778823" y="2909602"/>
                  </a:cubicBezTo>
                  <a:cubicBezTo>
                    <a:pt x="2775394" y="2909602"/>
                    <a:pt x="2772632" y="2906840"/>
                    <a:pt x="2772632" y="2903411"/>
                  </a:cubicBezTo>
                  <a:cubicBezTo>
                    <a:pt x="2772632" y="2899982"/>
                    <a:pt x="2775394" y="2897220"/>
                    <a:pt x="2778823" y="2897220"/>
                  </a:cubicBezTo>
                  <a:close/>
                  <a:moveTo>
                    <a:pt x="2629090" y="2896838"/>
                  </a:moveTo>
                  <a:cubicBezTo>
                    <a:pt x="2632519" y="2896838"/>
                    <a:pt x="2635282" y="2899600"/>
                    <a:pt x="2635282" y="2903029"/>
                  </a:cubicBezTo>
                  <a:cubicBezTo>
                    <a:pt x="2635282" y="2906458"/>
                    <a:pt x="2632519" y="2909221"/>
                    <a:pt x="2629090" y="2909221"/>
                  </a:cubicBezTo>
                  <a:cubicBezTo>
                    <a:pt x="2625661" y="2909221"/>
                    <a:pt x="2622899" y="2906458"/>
                    <a:pt x="2622899" y="2903029"/>
                  </a:cubicBezTo>
                  <a:cubicBezTo>
                    <a:pt x="2622899" y="2899600"/>
                    <a:pt x="2625661" y="2896838"/>
                    <a:pt x="2629090" y="2896838"/>
                  </a:cubicBezTo>
                  <a:close/>
                  <a:moveTo>
                    <a:pt x="2515457" y="2896077"/>
                  </a:moveTo>
                  <a:cubicBezTo>
                    <a:pt x="2518886" y="2896077"/>
                    <a:pt x="2521648" y="2898839"/>
                    <a:pt x="2521648" y="2902268"/>
                  </a:cubicBezTo>
                  <a:cubicBezTo>
                    <a:pt x="2521648" y="2905697"/>
                    <a:pt x="2518886" y="2908459"/>
                    <a:pt x="2515457" y="2908459"/>
                  </a:cubicBezTo>
                  <a:cubicBezTo>
                    <a:pt x="2512028" y="2908459"/>
                    <a:pt x="2509266" y="2905697"/>
                    <a:pt x="2509266" y="2902268"/>
                  </a:cubicBezTo>
                  <a:cubicBezTo>
                    <a:pt x="2509266" y="2898839"/>
                    <a:pt x="2512028" y="2896077"/>
                    <a:pt x="2515457" y="2896077"/>
                  </a:cubicBezTo>
                  <a:close/>
                  <a:moveTo>
                    <a:pt x="2278570" y="2895886"/>
                  </a:moveTo>
                  <a:cubicBezTo>
                    <a:pt x="2281999" y="2895886"/>
                    <a:pt x="2284761" y="2898648"/>
                    <a:pt x="2284761" y="2902077"/>
                  </a:cubicBezTo>
                  <a:cubicBezTo>
                    <a:pt x="2284761" y="2905506"/>
                    <a:pt x="2281999" y="2908269"/>
                    <a:pt x="2278570" y="2908269"/>
                  </a:cubicBezTo>
                  <a:cubicBezTo>
                    <a:pt x="2275141" y="2908269"/>
                    <a:pt x="2272379" y="2905506"/>
                    <a:pt x="2272379" y="2902077"/>
                  </a:cubicBezTo>
                  <a:cubicBezTo>
                    <a:pt x="2272379" y="2898648"/>
                    <a:pt x="2275141" y="2895886"/>
                    <a:pt x="2278570" y="2895886"/>
                  </a:cubicBezTo>
                  <a:close/>
                  <a:moveTo>
                    <a:pt x="1301686" y="2895124"/>
                  </a:moveTo>
                  <a:cubicBezTo>
                    <a:pt x="1305115" y="2895124"/>
                    <a:pt x="1307878" y="2897886"/>
                    <a:pt x="1307878" y="2901315"/>
                  </a:cubicBezTo>
                  <a:cubicBezTo>
                    <a:pt x="1307878" y="2904744"/>
                    <a:pt x="1305115" y="2907506"/>
                    <a:pt x="1301686" y="2907506"/>
                  </a:cubicBezTo>
                  <a:cubicBezTo>
                    <a:pt x="1298257" y="2907506"/>
                    <a:pt x="1295495" y="2904744"/>
                    <a:pt x="1295495" y="2901315"/>
                  </a:cubicBezTo>
                  <a:cubicBezTo>
                    <a:pt x="1295495" y="2897886"/>
                    <a:pt x="1298257" y="2895124"/>
                    <a:pt x="1301686" y="2895124"/>
                  </a:cubicBezTo>
                  <a:close/>
                  <a:moveTo>
                    <a:pt x="580738" y="2895029"/>
                  </a:moveTo>
                  <a:cubicBezTo>
                    <a:pt x="584167" y="2895029"/>
                    <a:pt x="586929" y="2897791"/>
                    <a:pt x="586929" y="2901220"/>
                  </a:cubicBezTo>
                  <a:cubicBezTo>
                    <a:pt x="586929" y="2904649"/>
                    <a:pt x="584167" y="2907412"/>
                    <a:pt x="580738" y="2907412"/>
                  </a:cubicBezTo>
                  <a:lnTo>
                    <a:pt x="575452" y="2902125"/>
                  </a:lnTo>
                  <a:lnTo>
                    <a:pt x="570071" y="2907506"/>
                  </a:lnTo>
                  <a:lnTo>
                    <a:pt x="565546" y="2902981"/>
                  </a:lnTo>
                  <a:lnTo>
                    <a:pt x="559783" y="2908744"/>
                  </a:lnTo>
                  <a:cubicBezTo>
                    <a:pt x="556354" y="2908744"/>
                    <a:pt x="553592" y="2905982"/>
                    <a:pt x="553592" y="2902553"/>
                  </a:cubicBezTo>
                  <a:cubicBezTo>
                    <a:pt x="553592" y="2899124"/>
                    <a:pt x="556354" y="2896362"/>
                    <a:pt x="559783" y="2896362"/>
                  </a:cubicBezTo>
                  <a:lnTo>
                    <a:pt x="564308" y="2900887"/>
                  </a:lnTo>
                  <a:lnTo>
                    <a:pt x="570071" y="2895124"/>
                  </a:lnTo>
                  <a:lnTo>
                    <a:pt x="575357" y="2900410"/>
                  </a:lnTo>
                  <a:close/>
                  <a:moveTo>
                    <a:pt x="594074" y="2894076"/>
                  </a:moveTo>
                  <a:cubicBezTo>
                    <a:pt x="597503" y="2894076"/>
                    <a:pt x="600265" y="2896838"/>
                    <a:pt x="600265" y="2900267"/>
                  </a:cubicBezTo>
                  <a:cubicBezTo>
                    <a:pt x="600265" y="2903696"/>
                    <a:pt x="597503" y="2906459"/>
                    <a:pt x="594074" y="2906459"/>
                  </a:cubicBezTo>
                  <a:cubicBezTo>
                    <a:pt x="590645" y="2906459"/>
                    <a:pt x="587883" y="2903696"/>
                    <a:pt x="587883" y="2900267"/>
                  </a:cubicBezTo>
                  <a:cubicBezTo>
                    <a:pt x="587883" y="2896838"/>
                    <a:pt x="590645" y="2894076"/>
                    <a:pt x="594074" y="2894076"/>
                  </a:cubicBezTo>
                  <a:close/>
                  <a:moveTo>
                    <a:pt x="2746247" y="2893981"/>
                  </a:moveTo>
                  <a:lnTo>
                    <a:pt x="2752200" y="2899934"/>
                  </a:lnTo>
                  <a:lnTo>
                    <a:pt x="2757963" y="2894171"/>
                  </a:lnTo>
                  <a:lnTo>
                    <a:pt x="2763345" y="2899553"/>
                  </a:lnTo>
                  <a:lnTo>
                    <a:pt x="2768155" y="2894743"/>
                  </a:lnTo>
                  <a:cubicBezTo>
                    <a:pt x="2771584" y="2894743"/>
                    <a:pt x="2774346" y="2897505"/>
                    <a:pt x="2774346" y="2900934"/>
                  </a:cubicBezTo>
                  <a:cubicBezTo>
                    <a:pt x="2774346" y="2904363"/>
                    <a:pt x="2771584" y="2907126"/>
                    <a:pt x="2768155" y="2907126"/>
                  </a:cubicBezTo>
                  <a:lnTo>
                    <a:pt x="2762773" y="2901744"/>
                  </a:lnTo>
                  <a:lnTo>
                    <a:pt x="2757963" y="2906554"/>
                  </a:lnTo>
                  <a:lnTo>
                    <a:pt x="2752010" y="2900600"/>
                  </a:lnTo>
                  <a:lnTo>
                    <a:pt x="2746247" y="2906363"/>
                  </a:lnTo>
                  <a:cubicBezTo>
                    <a:pt x="2742818" y="2906363"/>
                    <a:pt x="2740056" y="2903601"/>
                    <a:pt x="2740056" y="2900172"/>
                  </a:cubicBezTo>
                  <a:cubicBezTo>
                    <a:pt x="2740056" y="2896743"/>
                    <a:pt x="2742818" y="2893981"/>
                    <a:pt x="2746247" y="2893981"/>
                  </a:cubicBezTo>
                  <a:close/>
                  <a:moveTo>
                    <a:pt x="2672524" y="2892076"/>
                  </a:moveTo>
                  <a:cubicBezTo>
                    <a:pt x="2675953" y="2892076"/>
                    <a:pt x="2678716" y="2894838"/>
                    <a:pt x="2678716" y="2898267"/>
                  </a:cubicBezTo>
                  <a:cubicBezTo>
                    <a:pt x="2678716" y="2901696"/>
                    <a:pt x="2675953" y="2904459"/>
                    <a:pt x="2672524" y="2904459"/>
                  </a:cubicBezTo>
                  <a:cubicBezTo>
                    <a:pt x="2669095" y="2904459"/>
                    <a:pt x="2666333" y="2901696"/>
                    <a:pt x="2666333" y="2898267"/>
                  </a:cubicBezTo>
                  <a:cubicBezTo>
                    <a:pt x="2666333" y="2894838"/>
                    <a:pt x="2669095" y="2892076"/>
                    <a:pt x="2672524" y="2892076"/>
                  </a:cubicBezTo>
                  <a:close/>
                  <a:moveTo>
                    <a:pt x="2730817" y="2891695"/>
                  </a:moveTo>
                  <a:cubicBezTo>
                    <a:pt x="2734246" y="2891695"/>
                    <a:pt x="2737009" y="2894457"/>
                    <a:pt x="2737009" y="2897886"/>
                  </a:cubicBezTo>
                  <a:cubicBezTo>
                    <a:pt x="2737009" y="2901315"/>
                    <a:pt x="2734246" y="2904078"/>
                    <a:pt x="2730817" y="2904078"/>
                  </a:cubicBezTo>
                  <a:cubicBezTo>
                    <a:pt x="2727388" y="2904078"/>
                    <a:pt x="2724626" y="2901315"/>
                    <a:pt x="2724626" y="2897886"/>
                  </a:cubicBezTo>
                  <a:cubicBezTo>
                    <a:pt x="2724626" y="2894457"/>
                    <a:pt x="2727388" y="2891695"/>
                    <a:pt x="2730817" y="2891695"/>
                  </a:cubicBezTo>
                  <a:close/>
                  <a:moveTo>
                    <a:pt x="2796825" y="2890933"/>
                  </a:moveTo>
                  <a:cubicBezTo>
                    <a:pt x="2800254" y="2890933"/>
                    <a:pt x="2803016" y="2893695"/>
                    <a:pt x="2803016" y="2897124"/>
                  </a:cubicBezTo>
                  <a:cubicBezTo>
                    <a:pt x="2803016" y="2900553"/>
                    <a:pt x="2800254" y="2903315"/>
                    <a:pt x="2796825" y="2903315"/>
                  </a:cubicBezTo>
                  <a:cubicBezTo>
                    <a:pt x="2793396" y="2903315"/>
                    <a:pt x="2790634" y="2900553"/>
                    <a:pt x="2790634" y="2897124"/>
                  </a:cubicBezTo>
                  <a:cubicBezTo>
                    <a:pt x="2790634" y="2893695"/>
                    <a:pt x="2793396" y="2890933"/>
                    <a:pt x="2796825" y="2890933"/>
                  </a:cubicBezTo>
                  <a:close/>
                  <a:moveTo>
                    <a:pt x="612647" y="2889980"/>
                  </a:moveTo>
                  <a:cubicBezTo>
                    <a:pt x="616076" y="2889980"/>
                    <a:pt x="618839" y="2892742"/>
                    <a:pt x="618839" y="2896171"/>
                  </a:cubicBezTo>
                  <a:cubicBezTo>
                    <a:pt x="618839" y="2899600"/>
                    <a:pt x="616076" y="2902363"/>
                    <a:pt x="612647" y="2902363"/>
                  </a:cubicBezTo>
                  <a:cubicBezTo>
                    <a:pt x="609218" y="2902363"/>
                    <a:pt x="606456" y="2899600"/>
                    <a:pt x="606456" y="2896171"/>
                  </a:cubicBezTo>
                  <a:cubicBezTo>
                    <a:pt x="606456" y="2892742"/>
                    <a:pt x="609218" y="2889980"/>
                    <a:pt x="612647" y="2889980"/>
                  </a:cubicBezTo>
                  <a:close/>
                  <a:moveTo>
                    <a:pt x="2442495" y="2888552"/>
                  </a:moveTo>
                  <a:cubicBezTo>
                    <a:pt x="2445924" y="2888552"/>
                    <a:pt x="2448686" y="2891314"/>
                    <a:pt x="2448686" y="2894743"/>
                  </a:cubicBezTo>
                  <a:cubicBezTo>
                    <a:pt x="2448686" y="2898172"/>
                    <a:pt x="2445924" y="2900934"/>
                    <a:pt x="2442495" y="2900934"/>
                  </a:cubicBezTo>
                  <a:cubicBezTo>
                    <a:pt x="2439066" y="2900934"/>
                    <a:pt x="2436304" y="2898172"/>
                    <a:pt x="2436304" y="2894743"/>
                  </a:cubicBezTo>
                  <a:cubicBezTo>
                    <a:pt x="2436304" y="2891314"/>
                    <a:pt x="2439066" y="2888552"/>
                    <a:pt x="2442495" y="2888552"/>
                  </a:cubicBezTo>
                  <a:close/>
                  <a:moveTo>
                    <a:pt x="541972" y="2888552"/>
                  </a:moveTo>
                  <a:cubicBezTo>
                    <a:pt x="545401" y="2888552"/>
                    <a:pt x="548163" y="2891314"/>
                    <a:pt x="548163" y="2894743"/>
                  </a:cubicBezTo>
                  <a:cubicBezTo>
                    <a:pt x="548163" y="2898172"/>
                    <a:pt x="545401" y="2900934"/>
                    <a:pt x="541972" y="2900934"/>
                  </a:cubicBezTo>
                  <a:cubicBezTo>
                    <a:pt x="538543" y="2900934"/>
                    <a:pt x="535781" y="2898172"/>
                    <a:pt x="535781" y="2894743"/>
                  </a:cubicBezTo>
                  <a:cubicBezTo>
                    <a:pt x="535781" y="2891314"/>
                    <a:pt x="538543" y="2888552"/>
                    <a:pt x="541972" y="2888552"/>
                  </a:cubicBezTo>
                  <a:close/>
                  <a:moveTo>
                    <a:pt x="2080259" y="2887790"/>
                  </a:moveTo>
                  <a:cubicBezTo>
                    <a:pt x="2083688" y="2887790"/>
                    <a:pt x="2086451" y="2890552"/>
                    <a:pt x="2086451" y="2893981"/>
                  </a:cubicBezTo>
                  <a:cubicBezTo>
                    <a:pt x="2086451" y="2897410"/>
                    <a:pt x="2083688" y="2900172"/>
                    <a:pt x="2080259" y="2900172"/>
                  </a:cubicBezTo>
                  <a:cubicBezTo>
                    <a:pt x="2076830" y="2900172"/>
                    <a:pt x="2074068" y="2897410"/>
                    <a:pt x="2074068" y="2893981"/>
                  </a:cubicBezTo>
                  <a:cubicBezTo>
                    <a:pt x="2074068" y="2890552"/>
                    <a:pt x="2076830" y="2887790"/>
                    <a:pt x="2080259" y="2887790"/>
                  </a:cubicBezTo>
                  <a:close/>
                  <a:moveTo>
                    <a:pt x="2815113" y="2886647"/>
                  </a:moveTo>
                  <a:cubicBezTo>
                    <a:pt x="2818542" y="2886647"/>
                    <a:pt x="2821305" y="2889409"/>
                    <a:pt x="2821305" y="2892838"/>
                  </a:cubicBezTo>
                  <a:cubicBezTo>
                    <a:pt x="2821305" y="2896267"/>
                    <a:pt x="2818542" y="2899030"/>
                    <a:pt x="2815113" y="2899030"/>
                  </a:cubicBezTo>
                  <a:cubicBezTo>
                    <a:pt x="2811684" y="2899030"/>
                    <a:pt x="2808922" y="2896267"/>
                    <a:pt x="2808922" y="2892838"/>
                  </a:cubicBezTo>
                  <a:cubicBezTo>
                    <a:pt x="2808922" y="2889409"/>
                    <a:pt x="2811684" y="2886647"/>
                    <a:pt x="2815113" y="2886647"/>
                  </a:cubicBezTo>
                  <a:close/>
                  <a:moveTo>
                    <a:pt x="2834068" y="2886552"/>
                  </a:moveTo>
                  <a:cubicBezTo>
                    <a:pt x="2836450" y="2886552"/>
                    <a:pt x="2838354" y="2888457"/>
                    <a:pt x="2838354" y="2890838"/>
                  </a:cubicBezTo>
                  <a:cubicBezTo>
                    <a:pt x="2838354" y="2893219"/>
                    <a:pt x="2836450" y="2895124"/>
                    <a:pt x="2834068" y="2895124"/>
                  </a:cubicBezTo>
                  <a:cubicBezTo>
                    <a:pt x="2831687" y="2895124"/>
                    <a:pt x="2829782" y="2893219"/>
                    <a:pt x="2829782" y="2890838"/>
                  </a:cubicBezTo>
                  <a:cubicBezTo>
                    <a:pt x="2829782" y="2888457"/>
                    <a:pt x="2831687" y="2886552"/>
                    <a:pt x="2834068" y="2886552"/>
                  </a:cubicBezTo>
                  <a:close/>
                  <a:moveTo>
                    <a:pt x="729805" y="2886361"/>
                  </a:moveTo>
                  <a:cubicBezTo>
                    <a:pt x="733234" y="2886361"/>
                    <a:pt x="735996" y="2889123"/>
                    <a:pt x="735996" y="2892552"/>
                  </a:cubicBezTo>
                  <a:cubicBezTo>
                    <a:pt x="735996" y="2895981"/>
                    <a:pt x="733234" y="2898744"/>
                    <a:pt x="729805" y="2898744"/>
                  </a:cubicBezTo>
                  <a:cubicBezTo>
                    <a:pt x="726376" y="2898744"/>
                    <a:pt x="723614" y="2895981"/>
                    <a:pt x="723614" y="2892552"/>
                  </a:cubicBezTo>
                  <a:cubicBezTo>
                    <a:pt x="723614" y="2889123"/>
                    <a:pt x="726376" y="2886361"/>
                    <a:pt x="729805" y="2886361"/>
                  </a:cubicBezTo>
                  <a:close/>
                  <a:moveTo>
                    <a:pt x="1016698" y="2886266"/>
                  </a:moveTo>
                  <a:cubicBezTo>
                    <a:pt x="1020127" y="2886266"/>
                    <a:pt x="1022890" y="2889028"/>
                    <a:pt x="1022890" y="2892457"/>
                  </a:cubicBezTo>
                  <a:cubicBezTo>
                    <a:pt x="1022890" y="2895886"/>
                    <a:pt x="1020127" y="2898648"/>
                    <a:pt x="1016698" y="2898648"/>
                  </a:cubicBezTo>
                  <a:cubicBezTo>
                    <a:pt x="1013269" y="2898648"/>
                    <a:pt x="1010507" y="2895886"/>
                    <a:pt x="1010507" y="2892457"/>
                  </a:cubicBezTo>
                  <a:cubicBezTo>
                    <a:pt x="1010507" y="2889028"/>
                    <a:pt x="1013269" y="2886266"/>
                    <a:pt x="1016698" y="2886266"/>
                  </a:cubicBezTo>
                  <a:close/>
                  <a:moveTo>
                    <a:pt x="2708719" y="2884837"/>
                  </a:moveTo>
                  <a:cubicBezTo>
                    <a:pt x="2712148" y="2884837"/>
                    <a:pt x="2714910" y="2887599"/>
                    <a:pt x="2714910" y="2891028"/>
                  </a:cubicBezTo>
                  <a:cubicBezTo>
                    <a:pt x="2714910" y="2894457"/>
                    <a:pt x="2712148" y="2897220"/>
                    <a:pt x="2708719" y="2897220"/>
                  </a:cubicBezTo>
                  <a:cubicBezTo>
                    <a:pt x="2705290" y="2897220"/>
                    <a:pt x="2702528" y="2894457"/>
                    <a:pt x="2702528" y="2891028"/>
                  </a:cubicBezTo>
                  <a:cubicBezTo>
                    <a:pt x="2702528" y="2887599"/>
                    <a:pt x="2705290" y="2884837"/>
                    <a:pt x="2708719" y="2884837"/>
                  </a:cubicBezTo>
                  <a:close/>
                  <a:moveTo>
                    <a:pt x="680561" y="2884551"/>
                  </a:moveTo>
                  <a:cubicBezTo>
                    <a:pt x="683990" y="2884551"/>
                    <a:pt x="686752" y="2887313"/>
                    <a:pt x="686752" y="2890742"/>
                  </a:cubicBezTo>
                  <a:cubicBezTo>
                    <a:pt x="686752" y="2894171"/>
                    <a:pt x="683990" y="2896934"/>
                    <a:pt x="680561" y="2896934"/>
                  </a:cubicBezTo>
                  <a:cubicBezTo>
                    <a:pt x="677132" y="2896934"/>
                    <a:pt x="674370" y="2894171"/>
                    <a:pt x="674370" y="2890742"/>
                  </a:cubicBezTo>
                  <a:cubicBezTo>
                    <a:pt x="674370" y="2887313"/>
                    <a:pt x="677132" y="2884551"/>
                    <a:pt x="680561" y="2884551"/>
                  </a:cubicBezTo>
                  <a:close/>
                  <a:moveTo>
                    <a:pt x="788574" y="2884361"/>
                  </a:moveTo>
                  <a:cubicBezTo>
                    <a:pt x="792003" y="2884361"/>
                    <a:pt x="794766" y="2887123"/>
                    <a:pt x="794766" y="2890552"/>
                  </a:cubicBezTo>
                  <a:cubicBezTo>
                    <a:pt x="794766" y="2893981"/>
                    <a:pt x="792003" y="2896743"/>
                    <a:pt x="788574" y="2896743"/>
                  </a:cubicBezTo>
                  <a:cubicBezTo>
                    <a:pt x="785145" y="2896743"/>
                    <a:pt x="782383" y="2893981"/>
                    <a:pt x="782383" y="2890552"/>
                  </a:cubicBezTo>
                  <a:cubicBezTo>
                    <a:pt x="782383" y="2887123"/>
                    <a:pt x="785145" y="2884361"/>
                    <a:pt x="788574" y="2884361"/>
                  </a:cubicBezTo>
                  <a:close/>
                  <a:moveTo>
                    <a:pt x="524351" y="2884265"/>
                  </a:moveTo>
                  <a:cubicBezTo>
                    <a:pt x="526923" y="2884265"/>
                    <a:pt x="529018" y="2886361"/>
                    <a:pt x="529018" y="2888932"/>
                  </a:cubicBezTo>
                  <a:cubicBezTo>
                    <a:pt x="529018" y="2891504"/>
                    <a:pt x="526923" y="2893600"/>
                    <a:pt x="524351" y="2893600"/>
                  </a:cubicBezTo>
                  <a:cubicBezTo>
                    <a:pt x="521779" y="2893600"/>
                    <a:pt x="519684" y="2891504"/>
                    <a:pt x="519684" y="2888932"/>
                  </a:cubicBezTo>
                  <a:cubicBezTo>
                    <a:pt x="519684" y="2886361"/>
                    <a:pt x="521779" y="2884265"/>
                    <a:pt x="524351" y="2884265"/>
                  </a:cubicBezTo>
                  <a:close/>
                  <a:moveTo>
                    <a:pt x="571785" y="2882742"/>
                  </a:moveTo>
                  <a:cubicBezTo>
                    <a:pt x="575214" y="2882742"/>
                    <a:pt x="577976" y="2885504"/>
                    <a:pt x="577976" y="2888933"/>
                  </a:cubicBezTo>
                  <a:cubicBezTo>
                    <a:pt x="577976" y="2892362"/>
                    <a:pt x="575214" y="2895124"/>
                    <a:pt x="571785" y="2895124"/>
                  </a:cubicBezTo>
                  <a:lnTo>
                    <a:pt x="567165" y="2890504"/>
                  </a:lnTo>
                  <a:lnTo>
                    <a:pt x="561498" y="2896171"/>
                  </a:lnTo>
                  <a:lnTo>
                    <a:pt x="557498" y="2892171"/>
                  </a:lnTo>
                  <a:lnTo>
                    <a:pt x="552163" y="2897505"/>
                  </a:lnTo>
                  <a:cubicBezTo>
                    <a:pt x="548734" y="2897505"/>
                    <a:pt x="545972" y="2894743"/>
                    <a:pt x="545972" y="2891314"/>
                  </a:cubicBezTo>
                  <a:cubicBezTo>
                    <a:pt x="545972" y="2887885"/>
                    <a:pt x="548734" y="2885123"/>
                    <a:pt x="552163" y="2885123"/>
                  </a:cubicBezTo>
                  <a:lnTo>
                    <a:pt x="556164" y="2889124"/>
                  </a:lnTo>
                  <a:lnTo>
                    <a:pt x="561498" y="2883789"/>
                  </a:lnTo>
                  <a:lnTo>
                    <a:pt x="566118" y="2888409"/>
                  </a:lnTo>
                  <a:close/>
                  <a:moveTo>
                    <a:pt x="2766821" y="2882551"/>
                  </a:moveTo>
                  <a:lnTo>
                    <a:pt x="2772013" y="2887742"/>
                  </a:lnTo>
                  <a:lnTo>
                    <a:pt x="2776251" y="2883504"/>
                  </a:lnTo>
                  <a:lnTo>
                    <a:pt x="2782156" y="2889409"/>
                  </a:lnTo>
                  <a:lnTo>
                    <a:pt x="2785776" y="2885789"/>
                  </a:lnTo>
                  <a:cubicBezTo>
                    <a:pt x="2789205" y="2885789"/>
                    <a:pt x="2791967" y="2888551"/>
                    <a:pt x="2791967" y="2891980"/>
                  </a:cubicBezTo>
                  <a:cubicBezTo>
                    <a:pt x="2791967" y="2895409"/>
                    <a:pt x="2789205" y="2898172"/>
                    <a:pt x="2785776" y="2898172"/>
                  </a:cubicBezTo>
                  <a:lnTo>
                    <a:pt x="2779871" y="2892266"/>
                  </a:lnTo>
                  <a:lnTo>
                    <a:pt x="2776251" y="2895886"/>
                  </a:lnTo>
                  <a:lnTo>
                    <a:pt x="2771060" y="2890695"/>
                  </a:lnTo>
                  <a:lnTo>
                    <a:pt x="2766821" y="2894934"/>
                  </a:lnTo>
                  <a:cubicBezTo>
                    <a:pt x="2763392" y="2894934"/>
                    <a:pt x="2760630" y="2892171"/>
                    <a:pt x="2760630" y="2888742"/>
                  </a:cubicBezTo>
                  <a:cubicBezTo>
                    <a:pt x="2760630" y="2885313"/>
                    <a:pt x="2763392" y="2882551"/>
                    <a:pt x="2766821" y="2882551"/>
                  </a:cubicBezTo>
                  <a:close/>
                  <a:moveTo>
                    <a:pt x="2755201" y="2880837"/>
                  </a:moveTo>
                  <a:cubicBezTo>
                    <a:pt x="2758630" y="2880837"/>
                    <a:pt x="2761393" y="2883599"/>
                    <a:pt x="2761393" y="2887028"/>
                  </a:cubicBezTo>
                  <a:cubicBezTo>
                    <a:pt x="2761393" y="2890457"/>
                    <a:pt x="2758630" y="2893219"/>
                    <a:pt x="2755201" y="2893219"/>
                  </a:cubicBezTo>
                  <a:cubicBezTo>
                    <a:pt x="2751772" y="2893219"/>
                    <a:pt x="2749010" y="2890457"/>
                    <a:pt x="2749010" y="2887028"/>
                  </a:cubicBezTo>
                  <a:cubicBezTo>
                    <a:pt x="2749010" y="2883599"/>
                    <a:pt x="2751772" y="2880837"/>
                    <a:pt x="2755201" y="2880837"/>
                  </a:cubicBezTo>
                  <a:close/>
                  <a:moveTo>
                    <a:pt x="1209484" y="2880646"/>
                  </a:moveTo>
                  <a:cubicBezTo>
                    <a:pt x="1212913" y="2880646"/>
                    <a:pt x="1215675" y="2883408"/>
                    <a:pt x="1215675" y="2886837"/>
                  </a:cubicBezTo>
                  <a:cubicBezTo>
                    <a:pt x="1215675" y="2890266"/>
                    <a:pt x="1212913" y="2893028"/>
                    <a:pt x="1209484" y="2893028"/>
                  </a:cubicBezTo>
                  <a:cubicBezTo>
                    <a:pt x="1206055" y="2893028"/>
                    <a:pt x="1203293" y="2890266"/>
                    <a:pt x="1203293" y="2886837"/>
                  </a:cubicBezTo>
                  <a:cubicBezTo>
                    <a:pt x="1203293" y="2883408"/>
                    <a:pt x="1206055" y="2880646"/>
                    <a:pt x="1209484" y="2880646"/>
                  </a:cubicBezTo>
                  <a:close/>
                  <a:moveTo>
                    <a:pt x="585501" y="2879884"/>
                  </a:moveTo>
                  <a:cubicBezTo>
                    <a:pt x="588930" y="2879884"/>
                    <a:pt x="591692" y="2882646"/>
                    <a:pt x="591692" y="2886075"/>
                  </a:cubicBezTo>
                  <a:cubicBezTo>
                    <a:pt x="591692" y="2889504"/>
                    <a:pt x="588930" y="2892267"/>
                    <a:pt x="585501" y="2892267"/>
                  </a:cubicBezTo>
                  <a:cubicBezTo>
                    <a:pt x="582072" y="2892267"/>
                    <a:pt x="579310" y="2889504"/>
                    <a:pt x="579310" y="2886075"/>
                  </a:cubicBezTo>
                  <a:cubicBezTo>
                    <a:pt x="579310" y="2882646"/>
                    <a:pt x="582072" y="2879884"/>
                    <a:pt x="585501" y="2879884"/>
                  </a:cubicBezTo>
                  <a:close/>
                  <a:moveTo>
                    <a:pt x="639508" y="2879694"/>
                  </a:moveTo>
                  <a:cubicBezTo>
                    <a:pt x="642937" y="2879694"/>
                    <a:pt x="645700" y="2882456"/>
                    <a:pt x="645700" y="2885885"/>
                  </a:cubicBezTo>
                  <a:cubicBezTo>
                    <a:pt x="645700" y="2889314"/>
                    <a:pt x="642937" y="2892076"/>
                    <a:pt x="639508" y="2892076"/>
                  </a:cubicBezTo>
                  <a:cubicBezTo>
                    <a:pt x="636079" y="2892076"/>
                    <a:pt x="633317" y="2889314"/>
                    <a:pt x="633317" y="2885885"/>
                  </a:cubicBezTo>
                  <a:cubicBezTo>
                    <a:pt x="633317" y="2882456"/>
                    <a:pt x="636079" y="2879694"/>
                    <a:pt x="639508" y="2879694"/>
                  </a:cubicBezTo>
                  <a:close/>
                  <a:moveTo>
                    <a:pt x="2802921" y="2878646"/>
                  </a:moveTo>
                  <a:cubicBezTo>
                    <a:pt x="2806350" y="2878646"/>
                    <a:pt x="2809113" y="2881408"/>
                    <a:pt x="2809113" y="2884837"/>
                  </a:cubicBezTo>
                  <a:cubicBezTo>
                    <a:pt x="2809113" y="2888266"/>
                    <a:pt x="2806350" y="2891029"/>
                    <a:pt x="2802921" y="2891029"/>
                  </a:cubicBezTo>
                  <a:cubicBezTo>
                    <a:pt x="2799492" y="2891029"/>
                    <a:pt x="2796730" y="2888266"/>
                    <a:pt x="2796730" y="2884837"/>
                  </a:cubicBezTo>
                  <a:cubicBezTo>
                    <a:pt x="2796730" y="2881408"/>
                    <a:pt x="2799492" y="2878646"/>
                    <a:pt x="2802921" y="2878646"/>
                  </a:cubicBezTo>
                  <a:close/>
                  <a:moveTo>
                    <a:pt x="858202" y="2877312"/>
                  </a:moveTo>
                  <a:cubicBezTo>
                    <a:pt x="861631" y="2877312"/>
                    <a:pt x="864394" y="2880074"/>
                    <a:pt x="864394" y="2883503"/>
                  </a:cubicBezTo>
                  <a:cubicBezTo>
                    <a:pt x="864394" y="2886932"/>
                    <a:pt x="861631" y="2889694"/>
                    <a:pt x="858202" y="2889694"/>
                  </a:cubicBezTo>
                  <a:cubicBezTo>
                    <a:pt x="854773" y="2889694"/>
                    <a:pt x="852011" y="2886932"/>
                    <a:pt x="852011" y="2883503"/>
                  </a:cubicBezTo>
                  <a:cubicBezTo>
                    <a:pt x="852011" y="2880074"/>
                    <a:pt x="854773" y="2877312"/>
                    <a:pt x="858202" y="2877312"/>
                  </a:cubicBezTo>
                  <a:close/>
                  <a:moveTo>
                    <a:pt x="2739008" y="2876074"/>
                  </a:moveTo>
                  <a:cubicBezTo>
                    <a:pt x="2742437" y="2876074"/>
                    <a:pt x="2745199" y="2878836"/>
                    <a:pt x="2745199" y="2882265"/>
                  </a:cubicBezTo>
                  <a:cubicBezTo>
                    <a:pt x="2745199" y="2885694"/>
                    <a:pt x="2742437" y="2888456"/>
                    <a:pt x="2739008" y="2888456"/>
                  </a:cubicBezTo>
                  <a:cubicBezTo>
                    <a:pt x="2735579" y="2888456"/>
                    <a:pt x="2732817" y="2885694"/>
                    <a:pt x="2732817" y="2882265"/>
                  </a:cubicBezTo>
                  <a:cubicBezTo>
                    <a:pt x="2732817" y="2878836"/>
                    <a:pt x="2735579" y="2876074"/>
                    <a:pt x="2739008" y="2876074"/>
                  </a:cubicBezTo>
                  <a:close/>
                  <a:moveTo>
                    <a:pt x="2856833" y="2875884"/>
                  </a:moveTo>
                  <a:cubicBezTo>
                    <a:pt x="2856938" y="2875884"/>
                    <a:pt x="2857023" y="2875969"/>
                    <a:pt x="2857023" y="2876075"/>
                  </a:cubicBezTo>
                  <a:cubicBezTo>
                    <a:pt x="2857023" y="2876180"/>
                    <a:pt x="2856938" y="2876265"/>
                    <a:pt x="2856833" y="2876265"/>
                  </a:cubicBezTo>
                  <a:cubicBezTo>
                    <a:pt x="2856727" y="2876265"/>
                    <a:pt x="2856642" y="2876180"/>
                    <a:pt x="2856642" y="2876075"/>
                  </a:cubicBezTo>
                  <a:cubicBezTo>
                    <a:pt x="2856642" y="2875969"/>
                    <a:pt x="2856727" y="2875884"/>
                    <a:pt x="2856833" y="2875884"/>
                  </a:cubicBezTo>
                  <a:close/>
                  <a:moveTo>
                    <a:pt x="2356961" y="2874740"/>
                  </a:moveTo>
                  <a:cubicBezTo>
                    <a:pt x="2360390" y="2874740"/>
                    <a:pt x="2363153" y="2877502"/>
                    <a:pt x="2363153" y="2880931"/>
                  </a:cubicBezTo>
                  <a:cubicBezTo>
                    <a:pt x="2363153" y="2884360"/>
                    <a:pt x="2360390" y="2887123"/>
                    <a:pt x="2356961" y="2887123"/>
                  </a:cubicBezTo>
                  <a:cubicBezTo>
                    <a:pt x="2353532" y="2887123"/>
                    <a:pt x="2350770" y="2884360"/>
                    <a:pt x="2350770" y="2880931"/>
                  </a:cubicBezTo>
                  <a:cubicBezTo>
                    <a:pt x="2350770" y="2877502"/>
                    <a:pt x="2353532" y="2874740"/>
                    <a:pt x="2356961" y="2874740"/>
                  </a:cubicBezTo>
                  <a:close/>
                  <a:moveTo>
                    <a:pt x="2820257" y="2873597"/>
                  </a:moveTo>
                  <a:cubicBezTo>
                    <a:pt x="2823686" y="2873597"/>
                    <a:pt x="2826448" y="2876359"/>
                    <a:pt x="2826448" y="2879788"/>
                  </a:cubicBezTo>
                  <a:cubicBezTo>
                    <a:pt x="2826448" y="2883217"/>
                    <a:pt x="2823686" y="2885980"/>
                    <a:pt x="2820257" y="2885980"/>
                  </a:cubicBezTo>
                  <a:cubicBezTo>
                    <a:pt x="2816828" y="2885980"/>
                    <a:pt x="2814066" y="2883217"/>
                    <a:pt x="2814066" y="2879788"/>
                  </a:cubicBezTo>
                  <a:cubicBezTo>
                    <a:pt x="2814066" y="2876359"/>
                    <a:pt x="2816828" y="2873597"/>
                    <a:pt x="2820257" y="2873597"/>
                  </a:cubicBezTo>
                  <a:close/>
                  <a:moveTo>
                    <a:pt x="605313" y="2872645"/>
                  </a:moveTo>
                  <a:cubicBezTo>
                    <a:pt x="608742" y="2872645"/>
                    <a:pt x="611504" y="2875407"/>
                    <a:pt x="611504" y="2878836"/>
                  </a:cubicBezTo>
                  <a:cubicBezTo>
                    <a:pt x="611504" y="2882265"/>
                    <a:pt x="608742" y="2885028"/>
                    <a:pt x="605313" y="2885028"/>
                  </a:cubicBezTo>
                  <a:cubicBezTo>
                    <a:pt x="601884" y="2885028"/>
                    <a:pt x="599122" y="2882265"/>
                    <a:pt x="599122" y="2878836"/>
                  </a:cubicBezTo>
                  <a:cubicBezTo>
                    <a:pt x="599122" y="2875407"/>
                    <a:pt x="601884" y="2872645"/>
                    <a:pt x="605313" y="2872645"/>
                  </a:cubicBezTo>
                  <a:close/>
                  <a:moveTo>
                    <a:pt x="2630423" y="2872264"/>
                  </a:moveTo>
                  <a:cubicBezTo>
                    <a:pt x="2633852" y="2872264"/>
                    <a:pt x="2636614" y="2875026"/>
                    <a:pt x="2636614" y="2878455"/>
                  </a:cubicBezTo>
                  <a:cubicBezTo>
                    <a:pt x="2636614" y="2881884"/>
                    <a:pt x="2633852" y="2884646"/>
                    <a:pt x="2630423" y="2884646"/>
                  </a:cubicBezTo>
                  <a:cubicBezTo>
                    <a:pt x="2626994" y="2884646"/>
                    <a:pt x="2624232" y="2881884"/>
                    <a:pt x="2624232" y="2878455"/>
                  </a:cubicBezTo>
                  <a:cubicBezTo>
                    <a:pt x="2624232" y="2875026"/>
                    <a:pt x="2626994" y="2872264"/>
                    <a:pt x="2630423" y="2872264"/>
                  </a:cubicBezTo>
                  <a:close/>
                  <a:moveTo>
                    <a:pt x="2170652" y="2871788"/>
                  </a:moveTo>
                  <a:cubicBezTo>
                    <a:pt x="2174081" y="2871788"/>
                    <a:pt x="2176843" y="2874550"/>
                    <a:pt x="2176843" y="2877979"/>
                  </a:cubicBezTo>
                  <a:cubicBezTo>
                    <a:pt x="2176843" y="2881408"/>
                    <a:pt x="2174081" y="2884171"/>
                    <a:pt x="2170652" y="2884171"/>
                  </a:cubicBezTo>
                  <a:cubicBezTo>
                    <a:pt x="2167223" y="2884171"/>
                    <a:pt x="2164461" y="2881408"/>
                    <a:pt x="2164461" y="2877979"/>
                  </a:cubicBezTo>
                  <a:cubicBezTo>
                    <a:pt x="2164461" y="2874550"/>
                    <a:pt x="2167223" y="2871788"/>
                    <a:pt x="2170652" y="2871788"/>
                  </a:cubicBezTo>
                  <a:close/>
                  <a:moveTo>
                    <a:pt x="552354" y="2871693"/>
                  </a:moveTo>
                  <a:cubicBezTo>
                    <a:pt x="555783" y="2871693"/>
                    <a:pt x="558545" y="2874455"/>
                    <a:pt x="558545" y="2877884"/>
                  </a:cubicBezTo>
                  <a:cubicBezTo>
                    <a:pt x="558545" y="2881313"/>
                    <a:pt x="555783" y="2884075"/>
                    <a:pt x="552354" y="2884075"/>
                  </a:cubicBezTo>
                  <a:lnTo>
                    <a:pt x="549068" y="2880789"/>
                  </a:lnTo>
                  <a:lnTo>
                    <a:pt x="543877" y="2885980"/>
                  </a:lnTo>
                  <a:lnTo>
                    <a:pt x="541068" y="2883171"/>
                  </a:lnTo>
                  <a:lnTo>
                    <a:pt x="535114" y="2889123"/>
                  </a:lnTo>
                  <a:cubicBezTo>
                    <a:pt x="531685" y="2889123"/>
                    <a:pt x="528923" y="2886361"/>
                    <a:pt x="528923" y="2882932"/>
                  </a:cubicBezTo>
                  <a:cubicBezTo>
                    <a:pt x="528923" y="2879503"/>
                    <a:pt x="531685" y="2876741"/>
                    <a:pt x="535114" y="2876741"/>
                  </a:cubicBezTo>
                  <a:lnTo>
                    <a:pt x="537924" y="2879551"/>
                  </a:lnTo>
                  <a:lnTo>
                    <a:pt x="543877" y="2873597"/>
                  </a:lnTo>
                  <a:lnTo>
                    <a:pt x="547164" y="2876884"/>
                  </a:lnTo>
                  <a:close/>
                  <a:moveTo>
                    <a:pt x="501205" y="2871502"/>
                  </a:moveTo>
                  <a:cubicBezTo>
                    <a:pt x="501363" y="2871502"/>
                    <a:pt x="501491" y="2871630"/>
                    <a:pt x="501491" y="2871788"/>
                  </a:cubicBezTo>
                  <a:cubicBezTo>
                    <a:pt x="501491" y="2871945"/>
                    <a:pt x="501363" y="2872073"/>
                    <a:pt x="501205" y="2872073"/>
                  </a:cubicBezTo>
                  <a:cubicBezTo>
                    <a:pt x="501047" y="2872073"/>
                    <a:pt x="500919" y="2871945"/>
                    <a:pt x="500919" y="2871788"/>
                  </a:cubicBezTo>
                  <a:cubicBezTo>
                    <a:pt x="500919" y="2871630"/>
                    <a:pt x="501047" y="2871502"/>
                    <a:pt x="501205" y="2871502"/>
                  </a:cubicBezTo>
                  <a:close/>
                  <a:moveTo>
                    <a:pt x="2838068" y="2870645"/>
                  </a:moveTo>
                  <a:cubicBezTo>
                    <a:pt x="2841497" y="2870645"/>
                    <a:pt x="2844259" y="2873407"/>
                    <a:pt x="2844259" y="2876836"/>
                  </a:cubicBezTo>
                  <a:cubicBezTo>
                    <a:pt x="2844259" y="2880265"/>
                    <a:pt x="2841497" y="2883028"/>
                    <a:pt x="2838068" y="2883028"/>
                  </a:cubicBezTo>
                  <a:cubicBezTo>
                    <a:pt x="2834639" y="2883028"/>
                    <a:pt x="2831877" y="2880265"/>
                    <a:pt x="2831877" y="2876836"/>
                  </a:cubicBezTo>
                  <a:cubicBezTo>
                    <a:pt x="2831877" y="2873407"/>
                    <a:pt x="2834639" y="2870645"/>
                    <a:pt x="2838068" y="2870645"/>
                  </a:cubicBezTo>
                  <a:close/>
                  <a:moveTo>
                    <a:pt x="2574988" y="2870549"/>
                  </a:moveTo>
                  <a:cubicBezTo>
                    <a:pt x="2578417" y="2870549"/>
                    <a:pt x="2581179" y="2873311"/>
                    <a:pt x="2581179" y="2876740"/>
                  </a:cubicBezTo>
                  <a:cubicBezTo>
                    <a:pt x="2581179" y="2880169"/>
                    <a:pt x="2578417" y="2882932"/>
                    <a:pt x="2574988" y="2882932"/>
                  </a:cubicBezTo>
                  <a:cubicBezTo>
                    <a:pt x="2571559" y="2882932"/>
                    <a:pt x="2568797" y="2880169"/>
                    <a:pt x="2568797" y="2876740"/>
                  </a:cubicBezTo>
                  <a:cubicBezTo>
                    <a:pt x="2568797" y="2873311"/>
                    <a:pt x="2571559" y="2870549"/>
                    <a:pt x="2574988" y="2870549"/>
                  </a:cubicBezTo>
                  <a:close/>
                  <a:moveTo>
                    <a:pt x="2676619" y="2870264"/>
                  </a:moveTo>
                  <a:cubicBezTo>
                    <a:pt x="2680048" y="2870264"/>
                    <a:pt x="2682811" y="2873026"/>
                    <a:pt x="2682811" y="2876455"/>
                  </a:cubicBezTo>
                  <a:cubicBezTo>
                    <a:pt x="2682811" y="2879884"/>
                    <a:pt x="2680048" y="2882647"/>
                    <a:pt x="2676619" y="2882647"/>
                  </a:cubicBezTo>
                  <a:cubicBezTo>
                    <a:pt x="2673190" y="2882647"/>
                    <a:pt x="2670428" y="2879884"/>
                    <a:pt x="2670428" y="2876455"/>
                  </a:cubicBezTo>
                  <a:cubicBezTo>
                    <a:pt x="2670428" y="2873026"/>
                    <a:pt x="2673190" y="2870264"/>
                    <a:pt x="2676619" y="2870264"/>
                  </a:cubicBezTo>
                  <a:close/>
                  <a:moveTo>
                    <a:pt x="518254" y="2870169"/>
                  </a:moveTo>
                  <a:cubicBezTo>
                    <a:pt x="521683" y="2870169"/>
                    <a:pt x="524446" y="2872931"/>
                    <a:pt x="524446" y="2876360"/>
                  </a:cubicBezTo>
                  <a:cubicBezTo>
                    <a:pt x="524446" y="2879789"/>
                    <a:pt x="521683" y="2882551"/>
                    <a:pt x="518254" y="2882551"/>
                  </a:cubicBezTo>
                  <a:cubicBezTo>
                    <a:pt x="514825" y="2882551"/>
                    <a:pt x="512063" y="2879789"/>
                    <a:pt x="512063" y="2876360"/>
                  </a:cubicBezTo>
                  <a:cubicBezTo>
                    <a:pt x="512063" y="2872931"/>
                    <a:pt x="514825" y="2870169"/>
                    <a:pt x="518254" y="2870169"/>
                  </a:cubicBezTo>
                  <a:close/>
                  <a:moveTo>
                    <a:pt x="2776060" y="2869883"/>
                  </a:moveTo>
                  <a:lnTo>
                    <a:pt x="2781490" y="2875312"/>
                  </a:lnTo>
                  <a:lnTo>
                    <a:pt x="2785014" y="2871788"/>
                  </a:lnTo>
                  <a:lnTo>
                    <a:pt x="2790396" y="2877169"/>
                  </a:lnTo>
                  <a:lnTo>
                    <a:pt x="2793396" y="2874169"/>
                  </a:lnTo>
                  <a:cubicBezTo>
                    <a:pt x="2796825" y="2874169"/>
                    <a:pt x="2799588" y="2876931"/>
                    <a:pt x="2799588" y="2880360"/>
                  </a:cubicBezTo>
                  <a:cubicBezTo>
                    <a:pt x="2799588" y="2883789"/>
                    <a:pt x="2796825" y="2886552"/>
                    <a:pt x="2793396" y="2886552"/>
                  </a:cubicBezTo>
                  <a:lnTo>
                    <a:pt x="2788015" y="2881170"/>
                  </a:lnTo>
                  <a:lnTo>
                    <a:pt x="2785014" y="2884171"/>
                  </a:lnTo>
                  <a:lnTo>
                    <a:pt x="2779585" y="2878741"/>
                  </a:lnTo>
                  <a:lnTo>
                    <a:pt x="2776060" y="2882265"/>
                  </a:lnTo>
                  <a:cubicBezTo>
                    <a:pt x="2772631" y="2882265"/>
                    <a:pt x="2769869" y="2879503"/>
                    <a:pt x="2769869" y="2876074"/>
                  </a:cubicBezTo>
                  <a:cubicBezTo>
                    <a:pt x="2769869" y="2872645"/>
                    <a:pt x="2772631" y="2869883"/>
                    <a:pt x="2776060" y="2869883"/>
                  </a:cubicBezTo>
                  <a:close/>
                  <a:moveTo>
                    <a:pt x="562546" y="2869311"/>
                  </a:moveTo>
                  <a:cubicBezTo>
                    <a:pt x="565975" y="2869311"/>
                    <a:pt x="568737" y="2872073"/>
                    <a:pt x="568737" y="2875502"/>
                  </a:cubicBezTo>
                  <a:cubicBezTo>
                    <a:pt x="568737" y="2878931"/>
                    <a:pt x="565975" y="2881693"/>
                    <a:pt x="562546" y="2881693"/>
                  </a:cubicBezTo>
                  <a:cubicBezTo>
                    <a:pt x="559117" y="2881693"/>
                    <a:pt x="556355" y="2878931"/>
                    <a:pt x="556355" y="2875502"/>
                  </a:cubicBezTo>
                  <a:cubicBezTo>
                    <a:pt x="556355" y="2872073"/>
                    <a:pt x="559117" y="2869311"/>
                    <a:pt x="562546" y="2869311"/>
                  </a:cubicBezTo>
                  <a:close/>
                  <a:moveTo>
                    <a:pt x="2764345" y="2866359"/>
                  </a:moveTo>
                  <a:cubicBezTo>
                    <a:pt x="2767774" y="2866359"/>
                    <a:pt x="2770536" y="2869121"/>
                    <a:pt x="2770536" y="2872550"/>
                  </a:cubicBezTo>
                  <a:cubicBezTo>
                    <a:pt x="2770536" y="2875979"/>
                    <a:pt x="2767774" y="2878741"/>
                    <a:pt x="2764345" y="2878741"/>
                  </a:cubicBezTo>
                  <a:cubicBezTo>
                    <a:pt x="2760916" y="2878741"/>
                    <a:pt x="2758154" y="2875979"/>
                    <a:pt x="2758154" y="2872550"/>
                  </a:cubicBezTo>
                  <a:cubicBezTo>
                    <a:pt x="2758154" y="2869121"/>
                    <a:pt x="2760916" y="2866359"/>
                    <a:pt x="2764345" y="2866359"/>
                  </a:cubicBezTo>
                  <a:close/>
                  <a:moveTo>
                    <a:pt x="2715100" y="2865406"/>
                  </a:moveTo>
                  <a:cubicBezTo>
                    <a:pt x="2718529" y="2865406"/>
                    <a:pt x="2721292" y="2868168"/>
                    <a:pt x="2721292" y="2871597"/>
                  </a:cubicBezTo>
                  <a:cubicBezTo>
                    <a:pt x="2721292" y="2875026"/>
                    <a:pt x="2718529" y="2877788"/>
                    <a:pt x="2715100" y="2877788"/>
                  </a:cubicBezTo>
                  <a:cubicBezTo>
                    <a:pt x="2711671" y="2877788"/>
                    <a:pt x="2708909" y="2875026"/>
                    <a:pt x="2708909" y="2871597"/>
                  </a:cubicBezTo>
                  <a:cubicBezTo>
                    <a:pt x="2708909" y="2868168"/>
                    <a:pt x="2711671" y="2865406"/>
                    <a:pt x="2715100" y="2865406"/>
                  </a:cubicBezTo>
                  <a:close/>
                  <a:moveTo>
                    <a:pt x="940212" y="2864358"/>
                  </a:moveTo>
                  <a:cubicBezTo>
                    <a:pt x="943641" y="2864358"/>
                    <a:pt x="946404" y="2867120"/>
                    <a:pt x="946404" y="2870549"/>
                  </a:cubicBezTo>
                  <a:cubicBezTo>
                    <a:pt x="946404" y="2873978"/>
                    <a:pt x="943641" y="2876741"/>
                    <a:pt x="940212" y="2876741"/>
                  </a:cubicBezTo>
                  <a:cubicBezTo>
                    <a:pt x="936783" y="2876741"/>
                    <a:pt x="934021" y="2873978"/>
                    <a:pt x="934021" y="2870549"/>
                  </a:cubicBezTo>
                  <a:cubicBezTo>
                    <a:pt x="934021" y="2867120"/>
                    <a:pt x="936783" y="2864358"/>
                    <a:pt x="940212" y="2864358"/>
                  </a:cubicBezTo>
                  <a:close/>
                  <a:moveTo>
                    <a:pt x="1642109" y="2864168"/>
                  </a:moveTo>
                  <a:cubicBezTo>
                    <a:pt x="1645538" y="2864168"/>
                    <a:pt x="1648301" y="2866930"/>
                    <a:pt x="1648301" y="2870359"/>
                  </a:cubicBezTo>
                  <a:cubicBezTo>
                    <a:pt x="1648301" y="2873788"/>
                    <a:pt x="1645538" y="2876550"/>
                    <a:pt x="1642109" y="2876550"/>
                  </a:cubicBezTo>
                  <a:cubicBezTo>
                    <a:pt x="1638680" y="2876550"/>
                    <a:pt x="1635918" y="2873788"/>
                    <a:pt x="1635918" y="2870359"/>
                  </a:cubicBezTo>
                  <a:cubicBezTo>
                    <a:pt x="1635918" y="2866930"/>
                    <a:pt x="1638680" y="2864168"/>
                    <a:pt x="1642109" y="2864168"/>
                  </a:cubicBezTo>
                  <a:close/>
                  <a:moveTo>
                    <a:pt x="2509075" y="2864072"/>
                  </a:moveTo>
                  <a:cubicBezTo>
                    <a:pt x="2512504" y="2864072"/>
                    <a:pt x="2515267" y="2866834"/>
                    <a:pt x="2515267" y="2870263"/>
                  </a:cubicBezTo>
                  <a:cubicBezTo>
                    <a:pt x="2515267" y="2873692"/>
                    <a:pt x="2512504" y="2876455"/>
                    <a:pt x="2509075" y="2876455"/>
                  </a:cubicBezTo>
                  <a:cubicBezTo>
                    <a:pt x="2505646" y="2876455"/>
                    <a:pt x="2502884" y="2873692"/>
                    <a:pt x="2502884" y="2870263"/>
                  </a:cubicBezTo>
                  <a:cubicBezTo>
                    <a:pt x="2502884" y="2866834"/>
                    <a:pt x="2505646" y="2864072"/>
                    <a:pt x="2509075" y="2864072"/>
                  </a:cubicBezTo>
                  <a:close/>
                  <a:moveTo>
                    <a:pt x="576833" y="2864072"/>
                  </a:moveTo>
                  <a:cubicBezTo>
                    <a:pt x="580262" y="2864072"/>
                    <a:pt x="583024" y="2866834"/>
                    <a:pt x="583024" y="2870263"/>
                  </a:cubicBezTo>
                  <a:cubicBezTo>
                    <a:pt x="583024" y="2873692"/>
                    <a:pt x="580262" y="2876455"/>
                    <a:pt x="576833" y="2876455"/>
                  </a:cubicBezTo>
                  <a:cubicBezTo>
                    <a:pt x="573404" y="2876455"/>
                    <a:pt x="570642" y="2873692"/>
                    <a:pt x="570642" y="2870263"/>
                  </a:cubicBezTo>
                  <a:cubicBezTo>
                    <a:pt x="570642" y="2866834"/>
                    <a:pt x="573404" y="2864072"/>
                    <a:pt x="576833" y="2864072"/>
                  </a:cubicBezTo>
                  <a:close/>
                  <a:moveTo>
                    <a:pt x="1120806" y="2863501"/>
                  </a:moveTo>
                  <a:cubicBezTo>
                    <a:pt x="1124235" y="2863501"/>
                    <a:pt x="1126998" y="2866263"/>
                    <a:pt x="1126998" y="2869692"/>
                  </a:cubicBezTo>
                  <a:cubicBezTo>
                    <a:pt x="1126998" y="2873121"/>
                    <a:pt x="1124235" y="2875884"/>
                    <a:pt x="1120806" y="2875884"/>
                  </a:cubicBezTo>
                  <a:cubicBezTo>
                    <a:pt x="1117377" y="2875884"/>
                    <a:pt x="1114615" y="2873121"/>
                    <a:pt x="1114615" y="2869692"/>
                  </a:cubicBezTo>
                  <a:cubicBezTo>
                    <a:pt x="1114615" y="2866263"/>
                    <a:pt x="1117377" y="2863501"/>
                    <a:pt x="1120806" y="2863501"/>
                  </a:cubicBezTo>
                  <a:close/>
                  <a:moveTo>
                    <a:pt x="1745360" y="2863120"/>
                  </a:moveTo>
                  <a:cubicBezTo>
                    <a:pt x="1748789" y="2863120"/>
                    <a:pt x="1751552" y="2865882"/>
                    <a:pt x="1751552" y="2869311"/>
                  </a:cubicBezTo>
                  <a:cubicBezTo>
                    <a:pt x="1751552" y="2872740"/>
                    <a:pt x="1748789" y="2875503"/>
                    <a:pt x="1745360" y="2875503"/>
                  </a:cubicBezTo>
                  <a:cubicBezTo>
                    <a:pt x="1741931" y="2875503"/>
                    <a:pt x="1739169" y="2872740"/>
                    <a:pt x="1739169" y="2869311"/>
                  </a:cubicBezTo>
                  <a:cubicBezTo>
                    <a:pt x="1739169" y="2865882"/>
                    <a:pt x="1741931" y="2863120"/>
                    <a:pt x="1745360" y="2863120"/>
                  </a:cubicBezTo>
                  <a:close/>
                  <a:moveTo>
                    <a:pt x="1538953" y="2861405"/>
                  </a:moveTo>
                  <a:cubicBezTo>
                    <a:pt x="1542382" y="2861405"/>
                    <a:pt x="1545145" y="2864167"/>
                    <a:pt x="1545145" y="2867596"/>
                  </a:cubicBezTo>
                  <a:cubicBezTo>
                    <a:pt x="1545145" y="2871025"/>
                    <a:pt x="1542382" y="2873788"/>
                    <a:pt x="1538953" y="2873788"/>
                  </a:cubicBezTo>
                  <a:cubicBezTo>
                    <a:pt x="1535524" y="2873788"/>
                    <a:pt x="1532762" y="2871025"/>
                    <a:pt x="1532762" y="2867596"/>
                  </a:cubicBezTo>
                  <a:cubicBezTo>
                    <a:pt x="1532762" y="2864167"/>
                    <a:pt x="1535524" y="2861405"/>
                    <a:pt x="1538953" y="2861405"/>
                  </a:cubicBezTo>
                  <a:close/>
                  <a:moveTo>
                    <a:pt x="2826257" y="2860548"/>
                  </a:moveTo>
                  <a:cubicBezTo>
                    <a:pt x="2829686" y="2860548"/>
                    <a:pt x="2832448" y="2863310"/>
                    <a:pt x="2832448" y="2866739"/>
                  </a:cubicBezTo>
                  <a:cubicBezTo>
                    <a:pt x="2832448" y="2870168"/>
                    <a:pt x="2829686" y="2872930"/>
                    <a:pt x="2826257" y="2872930"/>
                  </a:cubicBezTo>
                  <a:cubicBezTo>
                    <a:pt x="2822828" y="2872930"/>
                    <a:pt x="2820066" y="2870168"/>
                    <a:pt x="2820066" y="2866739"/>
                  </a:cubicBezTo>
                  <a:cubicBezTo>
                    <a:pt x="2820066" y="2863310"/>
                    <a:pt x="2822828" y="2860548"/>
                    <a:pt x="2826257" y="2860548"/>
                  </a:cubicBezTo>
                  <a:close/>
                  <a:moveTo>
                    <a:pt x="678274" y="2859881"/>
                  </a:moveTo>
                  <a:cubicBezTo>
                    <a:pt x="681703" y="2859881"/>
                    <a:pt x="684466" y="2862643"/>
                    <a:pt x="684466" y="2866072"/>
                  </a:cubicBezTo>
                  <a:cubicBezTo>
                    <a:pt x="684466" y="2869501"/>
                    <a:pt x="681703" y="2872264"/>
                    <a:pt x="678274" y="2872264"/>
                  </a:cubicBezTo>
                  <a:cubicBezTo>
                    <a:pt x="674845" y="2872264"/>
                    <a:pt x="672083" y="2869501"/>
                    <a:pt x="672083" y="2866072"/>
                  </a:cubicBezTo>
                  <a:cubicBezTo>
                    <a:pt x="672083" y="2862643"/>
                    <a:pt x="674845" y="2859881"/>
                    <a:pt x="678274" y="2859881"/>
                  </a:cubicBezTo>
                  <a:close/>
                  <a:moveTo>
                    <a:pt x="542829" y="2858834"/>
                  </a:moveTo>
                  <a:cubicBezTo>
                    <a:pt x="546258" y="2858834"/>
                    <a:pt x="549020" y="2861596"/>
                    <a:pt x="549020" y="2865025"/>
                  </a:cubicBezTo>
                  <a:cubicBezTo>
                    <a:pt x="549020" y="2868454"/>
                    <a:pt x="546258" y="2871216"/>
                    <a:pt x="542829" y="2871216"/>
                  </a:cubicBezTo>
                  <a:lnTo>
                    <a:pt x="540258" y="2868645"/>
                  </a:lnTo>
                  <a:lnTo>
                    <a:pt x="535019" y="2873883"/>
                  </a:lnTo>
                  <a:lnTo>
                    <a:pt x="532828" y="2871692"/>
                  </a:lnTo>
                  <a:lnTo>
                    <a:pt x="527399" y="2877121"/>
                  </a:lnTo>
                  <a:cubicBezTo>
                    <a:pt x="523970" y="2877121"/>
                    <a:pt x="521208" y="2874359"/>
                    <a:pt x="521208" y="2870930"/>
                  </a:cubicBezTo>
                  <a:cubicBezTo>
                    <a:pt x="521208" y="2867501"/>
                    <a:pt x="523970" y="2864739"/>
                    <a:pt x="527399" y="2864739"/>
                  </a:cubicBezTo>
                  <a:lnTo>
                    <a:pt x="529590" y="2866930"/>
                  </a:lnTo>
                  <a:lnTo>
                    <a:pt x="535019" y="2861501"/>
                  </a:lnTo>
                  <a:lnTo>
                    <a:pt x="537591" y="2864073"/>
                  </a:lnTo>
                  <a:close/>
                  <a:moveTo>
                    <a:pt x="2747009" y="2858548"/>
                  </a:moveTo>
                  <a:cubicBezTo>
                    <a:pt x="2750438" y="2858548"/>
                    <a:pt x="2753200" y="2861310"/>
                    <a:pt x="2753200" y="2864739"/>
                  </a:cubicBezTo>
                  <a:cubicBezTo>
                    <a:pt x="2753200" y="2868168"/>
                    <a:pt x="2750438" y="2870930"/>
                    <a:pt x="2747009" y="2870930"/>
                  </a:cubicBezTo>
                  <a:cubicBezTo>
                    <a:pt x="2743580" y="2870930"/>
                    <a:pt x="2740818" y="2868168"/>
                    <a:pt x="2740818" y="2864739"/>
                  </a:cubicBezTo>
                  <a:cubicBezTo>
                    <a:pt x="2740818" y="2861310"/>
                    <a:pt x="2743580" y="2858548"/>
                    <a:pt x="2747009" y="2858548"/>
                  </a:cubicBezTo>
                  <a:close/>
                  <a:moveTo>
                    <a:pt x="730853" y="2858357"/>
                  </a:moveTo>
                  <a:cubicBezTo>
                    <a:pt x="734282" y="2858357"/>
                    <a:pt x="737044" y="2861119"/>
                    <a:pt x="737044" y="2864548"/>
                  </a:cubicBezTo>
                  <a:cubicBezTo>
                    <a:pt x="737044" y="2867977"/>
                    <a:pt x="734282" y="2870740"/>
                    <a:pt x="730853" y="2870740"/>
                  </a:cubicBezTo>
                  <a:cubicBezTo>
                    <a:pt x="727424" y="2870740"/>
                    <a:pt x="724662" y="2867977"/>
                    <a:pt x="724662" y="2864548"/>
                  </a:cubicBezTo>
                  <a:cubicBezTo>
                    <a:pt x="724662" y="2861119"/>
                    <a:pt x="727424" y="2858357"/>
                    <a:pt x="730853" y="2858357"/>
                  </a:cubicBezTo>
                  <a:close/>
                  <a:moveTo>
                    <a:pt x="1847945" y="2858262"/>
                  </a:moveTo>
                  <a:cubicBezTo>
                    <a:pt x="1851374" y="2858262"/>
                    <a:pt x="1854137" y="2861024"/>
                    <a:pt x="1854137" y="2864453"/>
                  </a:cubicBezTo>
                  <a:cubicBezTo>
                    <a:pt x="1854137" y="2867882"/>
                    <a:pt x="1851374" y="2870644"/>
                    <a:pt x="1847945" y="2870644"/>
                  </a:cubicBezTo>
                  <a:cubicBezTo>
                    <a:pt x="1844516" y="2870644"/>
                    <a:pt x="1841754" y="2867882"/>
                    <a:pt x="1841754" y="2864453"/>
                  </a:cubicBezTo>
                  <a:cubicBezTo>
                    <a:pt x="1841754" y="2861024"/>
                    <a:pt x="1844516" y="2858262"/>
                    <a:pt x="1847945" y="2858262"/>
                  </a:cubicBezTo>
                  <a:close/>
                  <a:moveTo>
                    <a:pt x="634555" y="2857786"/>
                  </a:moveTo>
                  <a:cubicBezTo>
                    <a:pt x="637984" y="2857786"/>
                    <a:pt x="640746" y="2860548"/>
                    <a:pt x="640746" y="2863977"/>
                  </a:cubicBezTo>
                  <a:cubicBezTo>
                    <a:pt x="640746" y="2867406"/>
                    <a:pt x="637984" y="2870169"/>
                    <a:pt x="634555" y="2870169"/>
                  </a:cubicBezTo>
                  <a:cubicBezTo>
                    <a:pt x="631126" y="2870169"/>
                    <a:pt x="628364" y="2867406"/>
                    <a:pt x="628364" y="2863977"/>
                  </a:cubicBezTo>
                  <a:cubicBezTo>
                    <a:pt x="628364" y="2860548"/>
                    <a:pt x="631126" y="2857786"/>
                    <a:pt x="634555" y="2857786"/>
                  </a:cubicBezTo>
                  <a:close/>
                  <a:moveTo>
                    <a:pt x="511397" y="2857596"/>
                  </a:moveTo>
                  <a:cubicBezTo>
                    <a:pt x="514826" y="2857596"/>
                    <a:pt x="517588" y="2860358"/>
                    <a:pt x="517588" y="2863787"/>
                  </a:cubicBezTo>
                  <a:cubicBezTo>
                    <a:pt x="517588" y="2867216"/>
                    <a:pt x="514826" y="2869978"/>
                    <a:pt x="511397" y="2869978"/>
                  </a:cubicBezTo>
                  <a:cubicBezTo>
                    <a:pt x="507968" y="2869978"/>
                    <a:pt x="505206" y="2867216"/>
                    <a:pt x="505206" y="2863787"/>
                  </a:cubicBezTo>
                  <a:cubicBezTo>
                    <a:pt x="505206" y="2860358"/>
                    <a:pt x="507968" y="2857596"/>
                    <a:pt x="511397" y="2857596"/>
                  </a:cubicBezTo>
                  <a:close/>
                  <a:moveTo>
                    <a:pt x="2843021" y="2856738"/>
                  </a:moveTo>
                  <a:cubicBezTo>
                    <a:pt x="2846450" y="2856738"/>
                    <a:pt x="2849213" y="2859500"/>
                    <a:pt x="2849213" y="2862929"/>
                  </a:cubicBezTo>
                  <a:cubicBezTo>
                    <a:pt x="2849213" y="2866358"/>
                    <a:pt x="2846450" y="2869120"/>
                    <a:pt x="2843021" y="2869120"/>
                  </a:cubicBezTo>
                  <a:cubicBezTo>
                    <a:pt x="2839592" y="2869120"/>
                    <a:pt x="2836830" y="2866358"/>
                    <a:pt x="2836830" y="2862929"/>
                  </a:cubicBezTo>
                  <a:cubicBezTo>
                    <a:pt x="2836830" y="2859500"/>
                    <a:pt x="2839592" y="2856738"/>
                    <a:pt x="2843021" y="2856738"/>
                  </a:cubicBezTo>
                  <a:close/>
                  <a:moveTo>
                    <a:pt x="2785681" y="2856167"/>
                  </a:moveTo>
                  <a:lnTo>
                    <a:pt x="2791634" y="2862120"/>
                  </a:lnTo>
                  <a:lnTo>
                    <a:pt x="2794349" y="2859405"/>
                  </a:lnTo>
                  <a:lnTo>
                    <a:pt x="2799445" y="2864501"/>
                  </a:lnTo>
                  <a:lnTo>
                    <a:pt x="2801778" y="2862168"/>
                  </a:lnTo>
                  <a:lnTo>
                    <a:pt x="2807969" y="2868359"/>
                  </a:lnTo>
                  <a:lnTo>
                    <a:pt x="2809874" y="2866454"/>
                  </a:lnTo>
                  <a:cubicBezTo>
                    <a:pt x="2813303" y="2866454"/>
                    <a:pt x="2816065" y="2869216"/>
                    <a:pt x="2816065" y="2872645"/>
                  </a:cubicBezTo>
                  <a:cubicBezTo>
                    <a:pt x="2816065" y="2876074"/>
                    <a:pt x="2813303" y="2878837"/>
                    <a:pt x="2809874" y="2878837"/>
                  </a:cubicBezTo>
                  <a:cubicBezTo>
                    <a:pt x="2806445" y="2878837"/>
                    <a:pt x="2803683" y="2876074"/>
                    <a:pt x="2803683" y="2872645"/>
                  </a:cubicBezTo>
                  <a:lnTo>
                    <a:pt x="2804804" y="2871524"/>
                  </a:lnTo>
                  <a:lnTo>
                    <a:pt x="2801778" y="2874550"/>
                  </a:lnTo>
                  <a:lnTo>
                    <a:pt x="2796682" y="2869454"/>
                  </a:lnTo>
                  <a:lnTo>
                    <a:pt x="2794349" y="2871787"/>
                  </a:lnTo>
                  <a:lnTo>
                    <a:pt x="2788396" y="2865834"/>
                  </a:lnTo>
                  <a:lnTo>
                    <a:pt x="2785681" y="2868549"/>
                  </a:lnTo>
                  <a:cubicBezTo>
                    <a:pt x="2782252" y="2868549"/>
                    <a:pt x="2779490" y="2865787"/>
                    <a:pt x="2779490" y="2862358"/>
                  </a:cubicBezTo>
                  <a:cubicBezTo>
                    <a:pt x="2779490" y="2858929"/>
                    <a:pt x="2782252" y="2856167"/>
                    <a:pt x="2785681" y="2856167"/>
                  </a:cubicBezTo>
                  <a:close/>
                  <a:moveTo>
                    <a:pt x="2860548" y="2855214"/>
                  </a:moveTo>
                  <a:cubicBezTo>
                    <a:pt x="2863862" y="2855214"/>
                    <a:pt x="2866549" y="2857901"/>
                    <a:pt x="2866549" y="2861215"/>
                  </a:cubicBezTo>
                  <a:cubicBezTo>
                    <a:pt x="2866549" y="2864529"/>
                    <a:pt x="2863862" y="2867216"/>
                    <a:pt x="2860548" y="2867216"/>
                  </a:cubicBezTo>
                  <a:cubicBezTo>
                    <a:pt x="2857234" y="2867216"/>
                    <a:pt x="2854547" y="2864529"/>
                    <a:pt x="2854547" y="2861215"/>
                  </a:cubicBezTo>
                  <a:cubicBezTo>
                    <a:pt x="2854547" y="2857901"/>
                    <a:pt x="2857234" y="2855214"/>
                    <a:pt x="2860548" y="2855214"/>
                  </a:cubicBezTo>
                  <a:close/>
                  <a:moveTo>
                    <a:pt x="1437036" y="2854833"/>
                  </a:moveTo>
                  <a:cubicBezTo>
                    <a:pt x="1440465" y="2854833"/>
                    <a:pt x="1443228" y="2857595"/>
                    <a:pt x="1443228" y="2861024"/>
                  </a:cubicBezTo>
                  <a:cubicBezTo>
                    <a:pt x="1443228" y="2864453"/>
                    <a:pt x="1440465" y="2867216"/>
                    <a:pt x="1437036" y="2867216"/>
                  </a:cubicBezTo>
                  <a:cubicBezTo>
                    <a:pt x="1433607" y="2867216"/>
                    <a:pt x="1430845" y="2864453"/>
                    <a:pt x="1430845" y="2861024"/>
                  </a:cubicBezTo>
                  <a:cubicBezTo>
                    <a:pt x="1430845" y="2857595"/>
                    <a:pt x="1433607" y="2854833"/>
                    <a:pt x="1437036" y="2854833"/>
                  </a:cubicBezTo>
                  <a:close/>
                  <a:moveTo>
                    <a:pt x="553116" y="2854547"/>
                  </a:moveTo>
                  <a:cubicBezTo>
                    <a:pt x="556545" y="2854547"/>
                    <a:pt x="559308" y="2857309"/>
                    <a:pt x="559308" y="2860738"/>
                  </a:cubicBezTo>
                  <a:cubicBezTo>
                    <a:pt x="559308" y="2864167"/>
                    <a:pt x="556545" y="2866930"/>
                    <a:pt x="553116" y="2866930"/>
                  </a:cubicBezTo>
                  <a:cubicBezTo>
                    <a:pt x="549687" y="2866930"/>
                    <a:pt x="546925" y="2864167"/>
                    <a:pt x="546925" y="2860738"/>
                  </a:cubicBezTo>
                  <a:cubicBezTo>
                    <a:pt x="546925" y="2857309"/>
                    <a:pt x="549687" y="2854547"/>
                    <a:pt x="553116" y="2854547"/>
                  </a:cubicBezTo>
                  <a:close/>
                  <a:moveTo>
                    <a:pt x="2257234" y="2853404"/>
                  </a:moveTo>
                  <a:cubicBezTo>
                    <a:pt x="2260663" y="2853404"/>
                    <a:pt x="2263426" y="2856166"/>
                    <a:pt x="2263426" y="2859595"/>
                  </a:cubicBezTo>
                  <a:cubicBezTo>
                    <a:pt x="2263426" y="2863024"/>
                    <a:pt x="2260663" y="2865786"/>
                    <a:pt x="2257234" y="2865786"/>
                  </a:cubicBezTo>
                  <a:cubicBezTo>
                    <a:pt x="2253805" y="2865786"/>
                    <a:pt x="2251043" y="2863024"/>
                    <a:pt x="2251043" y="2859595"/>
                  </a:cubicBezTo>
                  <a:cubicBezTo>
                    <a:pt x="2251043" y="2856166"/>
                    <a:pt x="2253805" y="2853404"/>
                    <a:pt x="2257234" y="2853404"/>
                  </a:cubicBezTo>
                  <a:close/>
                  <a:moveTo>
                    <a:pt x="598264" y="2853023"/>
                  </a:moveTo>
                  <a:cubicBezTo>
                    <a:pt x="601693" y="2853023"/>
                    <a:pt x="604455" y="2855785"/>
                    <a:pt x="604455" y="2859214"/>
                  </a:cubicBezTo>
                  <a:cubicBezTo>
                    <a:pt x="604455" y="2862643"/>
                    <a:pt x="601693" y="2865406"/>
                    <a:pt x="598264" y="2865406"/>
                  </a:cubicBezTo>
                  <a:cubicBezTo>
                    <a:pt x="594835" y="2865406"/>
                    <a:pt x="592073" y="2862643"/>
                    <a:pt x="592073" y="2859214"/>
                  </a:cubicBezTo>
                  <a:cubicBezTo>
                    <a:pt x="592073" y="2855785"/>
                    <a:pt x="594835" y="2853023"/>
                    <a:pt x="598264" y="2853023"/>
                  </a:cubicBezTo>
                  <a:close/>
                  <a:moveTo>
                    <a:pt x="495300" y="2852452"/>
                  </a:moveTo>
                  <a:cubicBezTo>
                    <a:pt x="498614" y="2852452"/>
                    <a:pt x="501301" y="2855139"/>
                    <a:pt x="501301" y="2858453"/>
                  </a:cubicBezTo>
                  <a:cubicBezTo>
                    <a:pt x="501301" y="2861767"/>
                    <a:pt x="498614" y="2864454"/>
                    <a:pt x="495300" y="2864454"/>
                  </a:cubicBezTo>
                  <a:cubicBezTo>
                    <a:pt x="491986" y="2864454"/>
                    <a:pt x="489299" y="2861767"/>
                    <a:pt x="489299" y="2858453"/>
                  </a:cubicBezTo>
                  <a:cubicBezTo>
                    <a:pt x="489299" y="2855139"/>
                    <a:pt x="491986" y="2852452"/>
                    <a:pt x="495300" y="2852452"/>
                  </a:cubicBezTo>
                  <a:close/>
                  <a:moveTo>
                    <a:pt x="793622" y="2852357"/>
                  </a:moveTo>
                  <a:cubicBezTo>
                    <a:pt x="797051" y="2852357"/>
                    <a:pt x="799814" y="2855119"/>
                    <a:pt x="799814" y="2858548"/>
                  </a:cubicBezTo>
                  <a:cubicBezTo>
                    <a:pt x="799814" y="2861977"/>
                    <a:pt x="797051" y="2864739"/>
                    <a:pt x="793622" y="2864739"/>
                  </a:cubicBezTo>
                  <a:cubicBezTo>
                    <a:pt x="790193" y="2864739"/>
                    <a:pt x="787431" y="2861977"/>
                    <a:pt x="787431" y="2858548"/>
                  </a:cubicBezTo>
                  <a:cubicBezTo>
                    <a:pt x="787431" y="2855119"/>
                    <a:pt x="790193" y="2852357"/>
                    <a:pt x="793622" y="2852357"/>
                  </a:cubicBezTo>
                  <a:close/>
                  <a:moveTo>
                    <a:pt x="2431065" y="2851880"/>
                  </a:moveTo>
                  <a:cubicBezTo>
                    <a:pt x="2434494" y="2851880"/>
                    <a:pt x="2437257" y="2854642"/>
                    <a:pt x="2437257" y="2858071"/>
                  </a:cubicBezTo>
                  <a:cubicBezTo>
                    <a:pt x="2437257" y="2861500"/>
                    <a:pt x="2434494" y="2864263"/>
                    <a:pt x="2431065" y="2864263"/>
                  </a:cubicBezTo>
                  <a:cubicBezTo>
                    <a:pt x="2427636" y="2864263"/>
                    <a:pt x="2424874" y="2861500"/>
                    <a:pt x="2424874" y="2858071"/>
                  </a:cubicBezTo>
                  <a:cubicBezTo>
                    <a:pt x="2424874" y="2854642"/>
                    <a:pt x="2427636" y="2851880"/>
                    <a:pt x="2431065" y="2851880"/>
                  </a:cubicBezTo>
                  <a:close/>
                  <a:moveTo>
                    <a:pt x="2773489" y="2850166"/>
                  </a:moveTo>
                  <a:cubicBezTo>
                    <a:pt x="2776918" y="2850166"/>
                    <a:pt x="2779680" y="2852928"/>
                    <a:pt x="2779680" y="2856357"/>
                  </a:cubicBezTo>
                  <a:cubicBezTo>
                    <a:pt x="2779680" y="2859786"/>
                    <a:pt x="2776918" y="2862548"/>
                    <a:pt x="2773489" y="2862548"/>
                  </a:cubicBezTo>
                  <a:cubicBezTo>
                    <a:pt x="2770060" y="2862548"/>
                    <a:pt x="2767298" y="2859786"/>
                    <a:pt x="2767298" y="2856357"/>
                  </a:cubicBezTo>
                  <a:cubicBezTo>
                    <a:pt x="2767298" y="2852928"/>
                    <a:pt x="2770060" y="2850166"/>
                    <a:pt x="2773489" y="2850166"/>
                  </a:cubicBezTo>
                  <a:close/>
                  <a:moveTo>
                    <a:pt x="1948814" y="2849785"/>
                  </a:moveTo>
                  <a:cubicBezTo>
                    <a:pt x="1952243" y="2849785"/>
                    <a:pt x="1955006" y="2852547"/>
                    <a:pt x="1955006" y="2855976"/>
                  </a:cubicBezTo>
                  <a:cubicBezTo>
                    <a:pt x="1955006" y="2859405"/>
                    <a:pt x="1952243" y="2862168"/>
                    <a:pt x="1948814" y="2862168"/>
                  </a:cubicBezTo>
                  <a:cubicBezTo>
                    <a:pt x="1945385" y="2862168"/>
                    <a:pt x="1942623" y="2859405"/>
                    <a:pt x="1942623" y="2855976"/>
                  </a:cubicBezTo>
                  <a:cubicBezTo>
                    <a:pt x="1942623" y="2852547"/>
                    <a:pt x="1945385" y="2849785"/>
                    <a:pt x="1948814" y="2849785"/>
                  </a:cubicBezTo>
                  <a:close/>
                  <a:moveTo>
                    <a:pt x="2833115" y="2847499"/>
                  </a:moveTo>
                  <a:cubicBezTo>
                    <a:pt x="2836544" y="2847499"/>
                    <a:pt x="2839306" y="2850261"/>
                    <a:pt x="2839306" y="2853690"/>
                  </a:cubicBezTo>
                  <a:cubicBezTo>
                    <a:pt x="2839306" y="2857119"/>
                    <a:pt x="2836544" y="2859881"/>
                    <a:pt x="2833115" y="2859881"/>
                  </a:cubicBezTo>
                  <a:cubicBezTo>
                    <a:pt x="2829686" y="2859881"/>
                    <a:pt x="2826924" y="2857119"/>
                    <a:pt x="2826924" y="2853690"/>
                  </a:cubicBezTo>
                  <a:cubicBezTo>
                    <a:pt x="2826924" y="2850261"/>
                    <a:pt x="2829686" y="2847499"/>
                    <a:pt x="2833115" y="2847499"/>
                  </a:cubicBezTo>
                  <a:close/>
                  <a:moveTo>
                    <a:pt x="568356" y="2846261"/>
                  </a:moveTo>
                  <a:cubicBezTo>
                    <a:pt x="571785" y="2846261"/>
                    <a:pt x="574547" y="2849023"/>
                    <a:pt x="574547" y="2852452"/>
                  </a:cubicBezTo>
                  <a:cubicBezTo>
                    <a:pt x="574547" y="2855881"/>
                    <a:pt x="571785" y="2858643"/>
                    <a:pt x="568356" y="2858643"/>
                  </a:cubicBezTo>
                  <a:cubicBezTo>
                    <a:pt x="564927" y="2858643"/>
                    <a:pt x="562165" y="2855881"/>
                    <a:pt x="562165" y="2852452"/>
                  </a:cubicBezTo>
                  <a:cubicBezTo>
                    <a:pt x="562165" y="2849023"/>
                    <a:pt x="564927" y="2846261"/>
                    <a:pt x="568356" y="2846261"/>
                  </a:cubicBezTo>
                  <a:close/>
                  <a:moveTo>
                    <a:pt x="2804159" y="2846165"/>
                  </a:moveTo>
                  <a:lnTo>
                    <a:pt x="2809255" y="2851262"/>
                  </a:lnTo>
                  <a:lnTo>
                    <a:pt x="2810732" y="2849785"/>
                  </a:lnTo>
                  <a:lnTo>
                    <a:pt x="2816257" y="2855310"/>
                  </a:lnTo>
                  <a:lnTo>
                    <a:pt x="2817590" y="2853976"/>
                  </a:lnTo>
                  <a:cubicBezTo>
                    <a:pt x="2821019" y="2853976"/>
                    <a:pt x="2823781" y="2856738"/>
                    <a:pt x="2823781" y="2860167"/>
                  </a:cubicBezTo>
                  <a:cubicBezTo>
                    <a:pt x="2823781" y="2863596"/>
                    <a:pt x="2821019" y="2866359"/>
                    <a:pt x="2817590" y="2866359"/>
                  </a:cubicBezTo>
                  <a:lnTo>
                    <a:pt x="2812066" y="2860834"/>
                  </a:lnTo>
                  <a:lnTo>
                    <a:pt x="2810732" y="2862168"/>
                  </a:lnTo>
                  <a:lnTo>
                    <a:pt x="2805636" y="2857071"/>
                  </a:lnTo>
                  <a:lnTo>
                    <a:pt x="2804159" y="2858548"/>
                  </a:lnTo>
                  <a:cubicBezTo>
                    <a:pt x="2800730" y="2858548"/>
                    <a:pt x="2797968" y="2855785"/>
                    <a:pt x="2797968" y="2852356"/>
                  </a:cubicBezTo>
                  <a:cubicBezTo>
                    <a:pt x="2797968" y="2848927"/>
                    <a:pt x="2800730" y="2846165"/>
                    <a:pt x="2804159" y="2846165"/>
                  </a:cubicBezTo>
                  <a:close/>
                  <a:moveTo>
                    <a:pt x="2680049" y="2845499"/>
                  </a:moveTo>
                  <a:cubicBezTo>
                    <a:pt x="2683468" y="2845499"/>
                    <a:pt x="2686240" y="2848271"/>
                    <a:pt x="2686240" y="2851690"/>
                  </a:cubicBezTo>
                  <a:cubicBezTo>
                    <a:pt x="2686240" y="2855110"/>
                    <a:pt x="2683468" y="2857881"/>
                    <a:pt x="2680049" y="2857881"/>
                  </a:cubicBezTo>
                  <a:cubicBezTo>
                    <a:pt x="2676630" y="2857881"/>
                    <a:pt x="2673858" y="2855110"/>
                    <a:pt x="2673858" y="2851690"/>
                  </a:cubicBezTo>
                  <a:cubicBezTo>
                    <a:pt x="2673858" y="2848271"/>
                    <a:pt x="2676630" y="2845499"/>
                    <a:pt x="2680049" y="2845499"/>
                  </a:cubicBezTo>
                  <a:close/>
                  <a:moveTo>
                    <a:pt x="532923" y="2844832"/>
                  </a:moveTo>
                  <a:cubicBezTo>
                    <a:pt x="536352" y="2844832"/>
                    <a:pt x="539114" y="2847594"/>
                    <a:pt x="539114" y="2851023"/>
                  </a:cubicBezTo>
                  <a:cubicBezTo>
                    <a:pt x="539114" y="2854452"/>
                    <a:pt x="536352" y="2857214"/>
                    <a:pt x="532923" y="2857214"/>
                  </a:cubicBezTo>
                  <a:lnTo>
                    <a:pt x="531209" y="2855500"/>
                  </a:lnTo>
                  <a:lnTo>
                    <a:pt x="525589" y="2861119"/>
                  </a:lnTo>
                  <a:lnTo>
                    <a:pt x="524161" y="2859691"/>
                  </a:lnTo>
                  <a:lnTo>
                    <a:pt x="519017" y="2864835"/>
                  </a:lnTo>
                  <a:cubicBezTo>
                    <a:pt x="515588" y="2864835"/>
                    <a:pt x="512826" y="2862072"/>
                    <a:pt x="512826" y="2858643"/>
                  </a:cubicBezTo>
                  <a:cubicBezTo>
                    <a:pt x="512826" y="2855214"/>
                    <a:pt x="515588" y="2852452"/>
                    <a:pt x="519017" y="2852452"/>
                  </a:cubicBezTo>
                  <a:lnTo>
                    <a:pt x="520446" y="2853881"/>
                  </a:lnTo>
                  <a:lnTo>
                    <a:pt x="525589" y="2848737"/>
                  </a:lnTo>
                  <a:lnTo>
                    <a:pt x="527304" y="2850452"/>
                  </a:lnTo>
                  <a:close/>
                  <a:moveTo>
                    <a:pt x="1337309" y="2844642"/>
                  </a:moveTo>
                  <a:cubicBezTo>
                    <a:pt x="1340738" y="2844642"/>
                    <a:pt x="1343501" y="2847404"/>
                    <a:pt x="1343501" y="2850833"/>
                  </a:cubicBezTo>
                  <a:cubicBezTo>
                    <a:pt x="1343501" y="2854262"/>
                    <a:pt x="1340738" y="2857024"/>
                    <a:pt x="1337309" y="2857024"/>
                  </a:cubicBezTo>
                  <a:cubicBezTo>
                    <a:pt x="1333880" y="2857024"/>
                    <a:pt x="1331118" y="2854262"/>
                    <a:pt x="1331118" y="2850833"/>
                  </a:cubicBezTo>
                  <a:cubicBezTo>
                    <a:pt x="1331118" y="2847404"/>
                    <a:pt x="1333880" y="2844642"/>
                    <a:pt x="1337309" y="2844642"/>
                  </a:cubicBezTo>
                  <a:close/>
                  <a:moveTo>
                    <a:pt x="2882550" y="2844356"/>
                  </a:moveTo>
                  <a:cubicBezTo>
                    <a:pt x="2883598" y="2844356"/>
                    <a:pt x="2884455" y="2845214"/>
                    <a:pt x="2884455" y="2846261"/>
                  </a:cubicBezTo>
                  <a:cubicBezTo>
                    <a:pt x="2884455" y="2847309"/>
                    <a:pt x="2883598" y="2848166"/>
                    <a:pt x="2882550" y="2848166"/>
                  </a:cubicBezTo>
                  <a:cubicBezTo>
                    <a:pt x="2881502" y="2848166"/>
                    <a:pt x="2880645" y="2847309"/>
                    <a:pt x="2880645" y="2846261"/>
                  </a:cubicBezTo>
                  <a:cubicBezTo>
                    <a:pt x="2880645" y="2845214"/>
                    <a:pt x="2881502" y="2844356"/>
                    <a:pt x="2882550" y="2844356"/>
                  </a:cubicBezTo>
                  <a:close/>
                  <a:moveTo>
                    <a:pt x="2630709" y="2844261"/>
                  </a:moveTo>
                  <a:cubicBezTo>
                    <a:pt x="2634138" y="2844261"/>
                    <a:pt x="2636900" y="2847023"/>
                    <a:pt x="2636900" y="2850452"/>
                  </a:cubicBezTo>
                  <a:cubicBezTo>
                    <a:pt x="2636900" y="2853881"/>
                    <a:pt x="2634138" y="2856643"/>
                    <a:pt x="2630709" y="2856643"/>
                  </a:cubicBezTo>
                  <a:cubicBezTo>
                    <a:pt x="2627280" y="2856643"/>
                    <a:pt x="2624518" y="2853881"/>
                    <a:pt x="2624518" y="2850452"/>
                  </a:cubicBezTo>
                  <a:cubicBezTo>
                    <a:pt x="2624518" y="2847023"/>
                    <a:pt x="2627280" y="2844261"/>
                    <a:pt x="2630709" y="2844261"/>
                  </a:cubicBezTo>
                  <a:close/>
                  <a:moveTo>
                    <a:pt x="1036129" y="2844070"/>
                  </a:moveTo>
                  <a:cubicBezTo>
                    <a:pt x="1039558" y="2844070"/>
                    <a:pt x="1042321" y="2846832"/>
                    <a:pt x="1042321" y="2850261"/>
                  </a:cubicBezTo>
                  <a:cubicBezTo>
                    <a:pt x="1042321" y="2853690"/>
                    <a:pt x="1039558" y="2856453"/>
                    <a:pt x="1036129" y="2856453"/>
                  </a:cubicBezTo>
                  <a:cubicBezTo>
                    <a:pt x="1032700" y="2856453"/>
                    <a:pt x="1029938" y="2853690"/>
                    <a:pt x="1029938" y="2850261"/>
                  </a:cubicBezTo>
                  <a:cubicBezTo>
                    <a:pt x="1029938" y="2846832"/>
                    <a:pt x="1032700" y="2844070"/>
                    <a:pt x="1036129" y="2844070"/>
                  </a:cubicBezTo>
                  <a:close/>
                  <a:moveTo>
                    <a:pt x="2721006" y="2843403"/>
                  </a:moveTo>
                  <a:cubicBezTo>
                    <a:pt x="2724435" y="2843403"/>
                    <a:pt x="2727198" y="2846165"/>
                    <a:pt x="2727198" y="2849594"/>
                  </a:cubicBezTo>
                  <a:cubicBezTo>
                    <a:pt x="2727198" y="2853023"/>
                    <a:pt x="2724435" y="2855785"/>
                    <a:pt x="2721006" y="2855785"/>
                  </a:cubicBezTo>
                  <a:cubicBezTo>
                    <a:pt x="2717577" y="2855785"/>
                    <a:pt x="2714815" y="2853023"/>
                    <a:pt x="2714815" y="2849594"/>
                  </a:cubicBezTo>
                  <a:cubicBezTo>
                    <a:pt x="2714815" y="2846165"/>
                    <a:pt x="2717577" y="2843403"/>
                    <a:pt x="2721006" y="2843403"/>
                  </a:cubicBezTo>
                  <a:close/>
                  <a:moveTo>
                    <a:pt x="2848832" y="2842927"/>
                  </a:moveTo>
                  <a:cubicBezTo>
                    <a:pt x="2852261" y="2842927"/>
                    <a:pt x="2855023" y="2845689"/>
                    <a:pt x="2855023" y="2849118"/>
                  </a:cubicBezTo>
                  <a:cubicBezTo>
                    <a:pt x="2855023" y="2852547"/>
                    <a:pt x="2852261" y="2855310"/>
                    <a:pt x="2848832" y="2855310"/>
                  </a:cubicBezTo>
                  <a:cubicBezTo>
                    <a:pt x="2845403" y="2855310"/>
                    <a:pt x="2842641" y="2852547"/>
                    <a:pt x="2842641" y="2849118"/>
                  </a:cubicBezTo>
                  <a:cubicBezTo>
                    <a:pt x="2842641" y="2845689"/>
                    <a:pt x="2845403" y="2842927"/>
                    <a:pt x="2848832" y="2842927"/>
                  </a:cubicBezTo>
                  <a:close/>
                  <a:moveTo>
                    <a:pt x="2795587" y="2841117"/>
                  </a:moveTo>
                  <a:cubicBezTo>
                    <a:pt x="2799016" y="2841117"/>
                    <a:pt x="2801778" y="2843879"/>
                    <a:pt x="2801778" y="2847308"/>
                  </a:cubicBezTo>
                  <a:cubicBezTo>
                    <a:pt x="2801778" y="2850737"/>
                    <a:pt x="2799016" y="2853500"/>
                    <a:pt x="2795587" y="2853500"/>
                  </a:cubicBezTo>
                  <a:cubicBezTo>
                    <a:pt x="2792158" y="2853500"/>
                    <a:pt x="2789396" y="2850737"/>
                    <a:pt x="2789396" y="2847308"/>
                  </a:cubicBezTo>
                  <a:cubicBezTo>
                    <a:pt x="2789396" y="2843879"/>
                    <a:pt x="2792158" y="2841117"/>
                    <a:pt x="2795587" y="2841117"/>
                  </a:cubicBezTo>
                  <a:close/>
                  <a:moveTo>
                    <a:pt x="868108" y="2840831"/>
                  </a:moveTo>
                  <a:cubicBezTo>
                    <a:pt x="871537" y="2840831"/>
                    <a:pt x="874300" y="2843593"/>
                    <a:pt x="874300" y="2847022"/>
                  </a:cubicBezTo>
                  <a:cubicBezTo>
                    <a:pt x="874300" y="2850451"/>
                    <a:pt x="871537" y="2853214"/>
                    <a:pt x="868108" y="2853214"/>
                  </a:cubicBezTo>
                  <a:cubicBezTo>
                    <a:pt x="864679" y="2853214"/>
                    <a:pt x="861917" y="2850451"/>
                    <a:pt x="861917" y="2847022"/>
                  </a:cubicBezTo>
                  <a:cubicBezTo>
                    <a:pt x="861917" y="2843593"/>
                    <a:pt x="864679" y="2840831"/>
                    <a:pt x="868108" y="2840831"/>
                  </a:cubicBezTo>
                  <a:close/>
                  <a:moveTo>
                    <a:pt x="2865215" y="2840355"/>
                  </a:moveTo>
                  <a:cubicBezTo>
                    <a:pt x="2868644" y="2840355"/>
                    <a:pt x="2871406" y="2843117"/>
                    <a:pt x="2871406" y="2846546"/>
                  </a:cubicBezTo>
                  <a:cubicBezTo>
                    <a:pt x="2871406" y="2849975"/>
                    <a:pt x="2868644" y="2852737"/>
                    <a:pt x="2865215" y="2852737"/>
                  </a:cubicBezTo>
                  <a:cubicBezTo>
                    <a:pt x="2861786" y="2852737"/>
                    <a:pt x="2859024" y="2849975"/>
                    <a:pt x="2859024" y="2846546"/>
                  </a:cubicBezTo>
                  <a:cubicBezTo>
                    <a:pt x="2859024" y="2843117"/>
                    <a:pt x="2861786" y="2840355"/>
                    <a:pt x="2865215" y="2840355"/>
                  </a:cubicBezTo>
                  <a:close/>
                  <a:moveTo>
                    <a:pt x="473106" y="2839498"/>
                  </a:moveTo>
                  <a:cubicBezTo>
                    <a:pt x="473948" y="2839498"/>
                    <a:pt x="474630" y="2840180"/>
                    <a:pt x="474630" y="2841022"/>
                  </a:cubicBezTo>
                  <a:cubicBezTo>
                    <a:pt x="474630" y="2841864"/>
                    <a:pt x="473948" y="2842546"/>
                    <a:pt x="473106" y="2842546"/>
                  </a:cubicBezTo>
                  <a:cubicBezTo>
                    <a:pt x="472264" y="2842546"/>
                    <a:pt x="471582" y="2841864"/>
                    <a:pt x="471582" y="2841022"/>
                  </a:cubicBezTo>
                  <a:cubicBezTo>
                    <a:pt x="471582" y="2840180"/>
                    <a:pt x="472264" y="2839498"/>
                    <a:pt x="473106" y="2839498"/>
                  </a:cubicBezTo>
                  <a:close/>
                  <a:moveTo>
                    <a:pt x="488536" y="2838927"/>
                  </a:moveTo>
                  <a:cubicBezTo>
                    <a:pt x="491965" y="2838927"/>
                    <a:pt x="494727" y="2841689"/>
                    <a:pt x="494727" y="2845118"/>
                  </a:cubicBezTo>
                  <a:cubicBezTo>
                    <a:pt x="494727" y="2848547"/>
                    <a:pt x="491965" y="2851309"/>
                    <a:pt x="488536" y="2851309"/>
                  </a:cubicBezTo>
                  <a:cubicBezTo>
                    <a:pt x="485107" y="2851309"/>
                    <a:pt x="482345" y="2848547"/>
                    <a:pt x="482345" y="2845118"/>
                  </a:cubicBezTo>
                  <a:cubicBezTo>
                    <a:pt x="482345" y="2841689"/>
                    <a:pt x="485107" y="2838927"/>
                    <a:pt x="488536" y="2838927"/>
                  </a:cubicBezTo>
                  <a:close/>
                  <a:moveTo>
                    <a:pt x="2754724" y="2838736"/>
                  </a:moveTo>
                  <a:cubicBezTo>
                    <a:pt x="2758153" y="2838736"/>
                    <a:pt x="2760915" y="2841498"/>
                    <a:pt x="2760915" y="2844927"/>
                  </a:cubicBezTo>
                  <a:cubicBezTo>
                    <a:pt x="2760915" y="2848356"/>
                    <a:pt x="2758153" y="2851119"/>
                    <a:pt x="2754724" y="2851119"/>
                  </a:cubicBezTo>
                  <a:cubicBezTo>
                    <a:pt x="2751295" y="2851119"/>
                    <a:pt x="2748533" y="2848356"/>
                    <a:pt x="2748533" y="2844927"/>
                  </a:cubicBezTo>
                  <a:cubicBezTo>
                    <a:pt x="2748533" y="2841498"/>
                    <a:pt x="2751295" y="2838736"/>
                    <a:pt x="2754724" y="2838736"/>
                  </a:cubicBezTo>
                  <a:close/>
                  <a:moveTo>
                    <a:pt x="2571464" y="2838641"/>
                  </a:moveTo>
                  <a:cubicBezTo>
                    <a:pt x="2574893" y="2838641"/>
                    <a:pt x="2577655" y="2841403"/>
                    <a:pt x="2577655" y="2844832"/>
                  </a:cubicBezTo>
                  <a:cubicBezTo>
                    <a:pt x="2577655" y="2848261"/>
                    <a:pt x="2574893" y="2851023"/>
                    <a:pt x="2571464" y="2851023"/>
                  </a:cubicBezTo>
                  <a:cubicBezTo>
                    <a:pt x="2568035" y="2851023"/>
                    <a:pt x="2565273" y="2848261"/>
                    <a:pt x="2565273" y="2844832"/>
                  </a:cubicBezTo>
                  <a:cubicBezTo>
                    <a:pt x="2565273" y="2841403"/>
                    <a:pt x="2568035" y="2838641"/>
                    <a:pt x="2571464" y="2838641"/>
                  </a:cubicBezTo>
                  <a:close/>
                  <a:moveTo>
                    <a:pt x="543496" y="2838260"/>
                  </a:moveTo>
                  <a:cubicBezTo>
                    <a:pt x="546925" y="2838260"/>
                    <a:pt x="549687" y="2841022"/>
                    <a:pt x="549687" y="2844451"/>
                  </a:cubicBezTo>
                  <a:cubicBezTo>
                    <a:pt x="549687" y="2847880"/>
                    <a:pt x="546925" y="2850642"/>
                    <a:pt x="543496" y="2850642"/>
                  </a:cubicBezTo>
                  <a:cubicBezTo>
                    <a:pt x="540067" y="2850642"/>
                    <a:pt x="537305" y="2847880"/>
                    <a:pt x="537305" y="2844451"/>
                  </a:cubicBezTo>
                  <a:cubicBezTo>
                    <a:pt x="537305" y="2841022"/>
                    <a:pt x="540067" y="2838260"/>
                    <a:pt x="543496" y="2838260"/>
                  </a:cubicBezTo>
                  <a:close/>
                  <a:moveTo>
                    <a:pt x="2047112" y="2837879"/>
                  </a:moveTo>
                  <a:cubicBezTo>
                    <a:pt x="2050541" y="2837879"/>
                    <a:pt x="2053304" y="2840641"/>
                    <a:pt x="2053304" y="2844070"/>
                  </a:cubicBezTo>
                  <a:cubicBezTo>
                    <a:pt x="2053304" y="2847499"/>
                    <a:pt x="2050541" y="2850262"/>
                    <a:pt x="2047112" y="2850262"/>
                  </a:cubicBezTo>
                  <a:cubicBezTo>
                    <a:pt x="2043683" y="2850262"/>
                    <a:pt x="2040921" y="2847499"/>
                    <a:pt x="2040921" y="2844070"/>
                  </a:cubicBezTo>
                  <a:cubicBezTo>
                    <a:pt x="2040921" y="2840641"/>
                    <a:pt x="2043683" y="2837879"/>
                    <a:pt x="2047112" y="2837879"/>
                  </a:cubicBezTo>
                  <a:close/>
                  <a:moveTo>
                    <a:pt x="515587" y="2835212"/>
                  </a:moveTo>
                  <a:cubicBezTo>
                    <a:pt x="519016" y="2835212"/>
                    <a:pt x="521778" y="2837974"/>
                    <a:pt x="521778" y="2841403"/>
                  </a:cubicBezTo>
                  <a:cubicBezTo>
                    <a:pt x="521778" y="2844832"/>
                    <a:pt x="519016" y="2847595"/>
                    <a:pt x="515587" y="2847595"/>
                  </a:cubicBezTo>
                  <a:lnTo>
                    <a:pt x="514968" y="2846976"/>
                  </a:lnTo>
                  <a:lnTo>
                    <a:pt x="509873" y="2852071"/>
                  </a:lnTo>
                  <a:lnTo>
                    <a:pt x="509349" y="2851547"/>
                  </a:lnTo>
                  <a:lnTo>
                    <a:pt x="503681" y="2857214"/>
                  </a:lnTo>
                  <a:cubicBezTo>
                    <a:pt x="500252" y="2857214"/>
                    <a:pt x="497490" y="2854452"/>
                    <a:pt x="497490" y="2851023"/>
                  </a:cubicBezTo>
                  <a:cubicBezTo>
                    <a:pt x="497490" y="2847594"/>
                    <a:pt x="500252" y="2844832"/>
                    <a:pt x="503681" y="2844832"/>
                  </a:cubicBezTo>
                  <a:lnTo>
                    <a:pt x="504205" y="2845356"/>
                  </a:lnTo>
                  <a:lnTo>
                    <a:pt x="509873" y="2839688"/>
                  </a:lnTo>
                  <a:lnTo>
                    <a:pt x="510492" y="2840307"/>
                  </a:lnTo>
                  <a:close/>
                  <a:moveTo>
                    <a:pt x="630268" y="2833021"/>
                  </a:moveTo>
                  <a:cubicBezTo>
                    <a:pt x="633697" y="2833021"/>
                    <a:pt x="636460" y="2835783"/>
                    <a:pt x="636460" y="2839212"/>
                  </a:cubicBezTo>
                  <a:cubicBezTo>
                    <a:pt x="636460" y="2842641"/>
                    <a:pt x="633697" y="2845403"/>
                    <a:pt x="630268" y="2845403"/>
                  </a:cubicBezTo>
                  <a:cubicBezTo>
                    <a:pt x="626839" y="2845403"/>
                    <a:pt x="624077" y="2842641"/>
                    <a:pt x="624077" y="2839212"/>
                  </a:cubicBezTo>
                  <a:cubicBezTo>
                    <a:pt x="624077" y="2835783"/>
                    <a:pt x="626839" y="2833021"/>
                    <a:pt x="630268" y="2833021"/>
                  </a:cubicBezTo>
                  <a:close/>
                  <a:moveTo>
                    <a:pt x="2339625" y="2832735"/>
                  </a:moveTo>
                  <a:cubicBezTo>
                    <a:pt x="2343054" y="2832735"/>
                    <a:pt x="2345817" y="2835497"/>
                    <a:pt x="2345817" y="2838926"/>
                  </a:cubicBezTo>
                  <a:cubicBezTo>
                    <a:pt x="2345817" y="2842355"/>
                    <a:pt x="2343054" y="2845117"/>
                    <a:pt x="2339625" y="2845117"/>
                  </a:cubicBezTo>
                  <a:cubicBezTo>
                    <a:pt x="2336196" y="2845117"/>
                    <a:pt x="2333434" y="2842355"/>
                    <a:pt x="2333434" y="2838926"/>
                  </a:cubicBezTo>
                  <a:cubicBezTo>
                    <a:pt x="2333434" y="2835497"/>
                    <a:pt x="2336196" y="2832735"/>
                    <a:pt x="2339625" y="2832735"/>
                  </a:cubicBezTo>
                  <a:close/>
                  <a:moveTo>
                    <a:pt x="2782633" y="2832164"/>
                  </a:moveTo>
                  <a:cubicBezTo>
                    <a:pt x="2786062" y="2832164"/>
                    <a:pt x="2788825" y="2834926"/>
                    <a:pt x="2788825" y="2838355"/>
                  </a:cubicBezTo>
                  <a:cubicBezTo>
                    <a:pt x="2788825" y="2841784"/>
                    <a:pt x="2786062" y="2844547"/>
                    <a:pt x="2782633" y="2844547"/>
                  </a:cubicBezTo>
                  <a:cubicBezTo>
                    <a:pt x="2779204" y="2844547"/>
                    <a:pt x="2776442" y="2841784"/>
                    <a:pt x="2776442" y="2838355"/>
                  </a:cubicBezTo>
                  <a:cubicBezTo>
                    <a:pt x="2776442" y="2834926"/>
                    <a:pt x="2779204" y="2832164"/>
                    <a:pt x="2782633" y="2832164"/>
                  </a:cubicBezTo>
                  <a:close/>
                  <a:moveTo>
                    <a:pt x="2814351" y="2831783"/>
                  </a:moveTo>
                  <a:lnTo>
                    <a:pt x="2819780" y="2837212"/>
                  </a:lnTo>
                  <a:lnTo>
                    <a:pt x="2820352" y="2836640"/>
                  </a:lnTo>
                  <a:lnTo>
                    <a:pt x="2825543" y="2841832"/>
                  </a:lnTo>
                  <a:lnTo>
                    <a:pt x="2826067" y="2841308"/>
                  </a:lnTo>
                  <a:cubicBezTo>
                    <a:pt x="2829496" y="2841308"/>
                    <a:pt x="2832259" y="2844070"/>
                    <a:pt x="2832259" y="2847499"/>
                  </a:cubicBezTo>
                  <a:cubicBezTo>
                    <a:pt x="2832259" y="2850928"/>
                    <a:pt x="2829496" y="2853690"/>
                    <a:pt x="2826067" y="2853690"/>
                  </a:cubicBezTo>
                  <a:lnTo>
                    <a:pt x="2820876" y="2848499"/>
                  </a:lnTo>
                  <a:lnTo>
                    <a:pt x="2820352" y="2849023"/>
                  </a:lnTo>
                  <a:lnTo>
                    <a:pt x="2814923" y="2843593"/>
                  </a:lnTo>
                  <a:lnTo>
                    <a:pt x="2814351" y="2844165"/>
                  </a:lnTo>
                  <a:cubicBezTo>
                    <a:pt x="2810922" y="2844165"/>
                    <a:pt x="2808160" y="2841403"/>
                    <a:pt x="2808160" y="2837974"/>
                  </a:cubicBezTo>
                  <a:cubicBezTo>
                    <a:pt x="2808160" y="2834545"/>
                    <a:pt x="2810922" y="2831783"/>
                    <a:pt x="2814351" y="2831783"/>
                  </a:cubicBezTo>
                  <a:close/>
                  <a:moveTo>
                    <a:pt x="676941" y="2831783"/>
                  </a:moveTo>
                  <a:cubicBezTo>
                    <a:pt x="680370" y="2831783"/>
                    <a:pt x="683133" y="2834545"/>
                    <a:pt x="683133" y="2837974"/>
                  </a:cubicBezTo>
                  <a:cubicBezTo>
                    <a:pt x="683133" y="2841403"/>
                    <a:pt x="680370" y="2844165"/>
                    <a:pt x="676941" y="2844165"/>
                  </a:cubicBezTo>
                  <a:cubicBezTo>
                    <a:pt x="673512" y="2844165"/>
                    <a:pt x="670750" y="2841403"/>
                    <a:pt x="670750" y="2837974"/>
                  </a:cubicBezTo>
                  <a:cubicBezTo>
                    <a:pt x="670750" y="2834545"/>
                    <a:pt x="673512" y="2831783"/>
                    <a:pt x="676941" y="2831783"/>
                  </a:cubicBezTo>
                  <a:close/>
                  <a:moveTo>
                    <a:pt x="1240535" y="2831306"/>
                  </a:moveTo>
                  <a:cubicBezTo>
                    <a:pt x="1243964" y="2831306"/>
                    <a:pt x="1246727" y="2834068"/>
                    <a:pt x="1246727" y="2837497"/>
                  </a:cubicBezTo>
                  <a:cubicBezTo>
                    <a:pt x="1246727" y="2840926"/>
                    <a:pt x="1243964" y="2843689"/>
                    <a:pt x="1240535" y="2843689"/>
                  </a:cubicBezTo>
                  <a:cubicBezTo>
                    <a:pt x="1237106" y="2843689"/>
                    <a:pt x="1234344" y="2840926"/>
                    <a:pt x="1234344" y="2837497"/>
                  </a:cubicBezTo>
                  <a:cubicBezTo>
                    <a:pt x="1234344" y="2834068"/>
                    <a:pt x="1237106" y="2831306"/>
                    <a:pt x="1240535" y="2831306"/>
                  </a:cubicBezTo>
                  <a:close/>
                  <a:moveTo>
                    <a:pt x="591692" y="2830926"/>
                  </a:moveTo>
                  <a:cubicBezTo>
                    <a:pt x="595121" y="2830926"/>
                    <a:pt x="597883" y="2833688"/>
                    <a:pt x="597883" y="2837117"/>
                  </a:cubicBezTo>
                  <a:cubicBezTo>
                    <a:pt x="597883" y="2840546"/>
                    <a:pt x="595121" y="2843308"/>
                    <a:pt x="591692" y="2843308"/>
                  </a:cubicBezTo>
                  <a:cubicBezTo>
                    <a:pt x="588263" y="2843308"/>
                    <a:pt x="585501" y="2840546"/>
                    <a:pt x="585501" y="2837117"/>
                  </a:cubicBezTo>
                  <a:cubicBezTo>
                    <a:pt x="585501" y="2833688"/>
                    <a:pt x="588263" y="2830926"/>
                    <a:pt x="591692" y="2830926"/>
                  </a:cubicBezTo>
                  <a:close/>
                  <a:moveTo>
                    <a:pt x="522731" y="2829497"/>
                  </a:moveTo>
                  <a:cubicBezTo>
                    <a:pt x="526160" y="2829497"/>
                    <a:pt x="528922" y="2832259"/>
                    <a:pt x="528922" y="2835688"/>
                  </a:cubicBezTo>
                  <a:cubicBezTo>
                    <a:pt x="528922" y="2839117"/>
                    <a:pt x="526160" y="2841880"/>
                    <a:pt x="522731" y="2841880"/>
                  </a:cubicBezTo>
                  <a:cubicBezTo>
                    <a:pt x="519302" y="2841880"/>
                    <a:pt x="516540" y="2839117"/>
                    <a:pt x="516540" y="2835688"/>
                  </a:cubicBezTo>
                  <a:cubicBezTo>
                    <a:pt x="516540" y="2832259"/>
                    <a:pt x="519302" y="2829497"/>
                    <a:pt x="522731" y="2829497"/>
                  </a:cubicBezTo>
                  <a:close/>
                  <a:moveTo>
                    <a:pt x="2855499" y="2829116"/>
                  </a:moveTo>
                  <a:cubicBezTo>
                    <a:pt x="2858928" y="2829116"/>
                    <a:pt x="2861690" y="2831878"/>
                    <a:pt x="2861690" y="2835307"/>
                  </a:cubicBezTo>
                  <a:cubicBezTo>
                    <a:pt x="2861690" y="2838736"/>
                    <a:pt x="2858928" y="2841498"/>
                    <a:pt x="2855499" y="2841498"/>
                  </a:cubicBezTo>
                  <a:cubicBezTo>
                    <a:pt x="2852070" y="2841498"/>
                    <a:pt x="2849308" y="2838736"/>
                    <a:pt x="2849308" y="2835307"/>
                  </a:cubicBezTo>
                  <a:cubicBezTo>
                    <a:pt x="2849308" y="2831878"/>
                    <a:pt x="2852070" y="2829116"/>
                    <a:pt x="2855499" y="2829116"/>
                  </a:cubicBezTo>
                  <a:close/>
                  <a:moveTo>
                    <a:pt x="2500979" y="2827687"/>
                  </a:moveTo>
                  <a:cubicBezTo>
                    <a:pt x="2504408" y="2827687"/>
                    <a:pt x="2507170" y="2830449"/>
                    <a:pt x="2507170" y="2833878"/>
                  </a:cubicBezTo>
                  <a:cubicBezTo>
                    <a:pt x="2507170" y="2837307"/>
                    <a:pt x="2504408" y="2840070"/>
                    <a:pt x="2500979" y="2840070"/>
                  </a:cubicBezTo>
                  <a:cubicBezTo>
                    <a:pt x="2497550" y="2840070"/>
                    <a:pt x="2494788" y="2837307"/>
                    <a:pt x="2494788" y="2833878"/>
                  </a:cubicBezTo>
                  <a:cubicBezTo>
                    <a:pt x="2494788" y="2830449"/>
                    <a:pt x="2497550" y="2827687"/>
                    <a:pt x="2500979" y="2827687"/>
                  </a:cubicBezTo>
                  <a:close/>
                  <a:moveTo>
                    <a:pt x="733138" y="2826544"/>
                  </a:moveTo>
                  <a:cubicBezTo>
                    <a:pt x="736567" y="2826544"/>
                    <a:pt x="739330" y="2829306"/>
                    <a:pt x="739330" y="2832735"/>
                  </a:cubicBezTo>
                  <a:cubicBezTo>
                    <a:pt x="739330" y="2836164"/>
                    <a:pt x="736567" y="2838927"/>
                    <a:pt x="733138" y="2838927"/>
                  </a:cubicBezTo>
                  <a:cubicBezTo>
                    <a:pt x="729709" y="2838927"/>
                    <a:pt x="726947" y="2836164"/>
                    <a:pt x="726947" y="2832735"/>
                  </a:cubicBezTo>
                  <a:cubicBezTo>
                    <a:pt x="726947" y="2829306"/>
                    <a:pt x="729709" y="2826544"/>
                    <a:pt x="733138" y="2826544"/>
                  </a:cubicBezTo>
                  <a:close/>
                  <a:moveTo>
                    <a:pt x="559974" y="2826354"/>
                  </a:moveTo>
                  <a:cubicBezTo>
                    <a:pt x="563403" y="2826354"/>
                    <a:pt x="566165" y="2829116"/>
                    <a:pt x="566165" y="2832545"/>
                  </a:cubicBezTo>
                  <a:cubicBezTo>
                    <a:pt x="566165" y="2835974"/>
                    <a:pt x="563403" y="2838736"/>
                    <a:pt x="559974" y="2838736"/>
                  </a:cubicBezTo>
                  <a:cubicBezTo>
                    <a:pt x="556545" y="2838736"/>
                    <a:pt x="553783" y="2835974"/>
                    <a:pt x="553783" y="2832545"/>
                  </a:cubicBezTo>
                  <a:cubicBezTo>
                    <a:pt x="553783" y="2829116"/>
                    <a:pt x="556545" y="2826354"/>
                    <a:pt x="559974" y="2826354"/>
                  </a:cubicBezTo>
                  <a:close/>
                  <a:moveTo>
                    <a:pt x="2870739" y="2825782"/>
                  </a:moveTo>
                  <a:cubicBezTo>
                    <a:pt x="2874168" y="2825782"/>
                    <a:pt x="2876931" y="2828544"/>
                    <a:pt x="2876931" y="2831973"/>
                  </a:cubicBezTo>
                  <a:cubicBezTo>
                    <a:pt x="2876931" y="2835402"/>
                    <a:pt x="2874168" y="2838164"/>
                    <a:pt x="2870739" y="2838164"/>
                  </a:cubicBezTo>
                  <a:cubicBezTo>
                    <a:pt x="2867310" y="2838164"/>
                    <a:pt x="2864548" y="2835402"/>
                    <a:pt x="2864548" y="2831973"/>
                  </a:cubicBezTo>
                  <a:cubicBezTo>
                    <a:pt x="2864548" y="2828544"/>
                    <a:pt x="2867310" y="2825782"/>
                    <a:pt x="2870739" y="2825782"/>
                  </a:cubicBezTo>
                  <a:close/>
                  <a:moveTo>
                    <a:pt x="2886836" y="2824544"/>
                  </a:moveTo>
                  <a:cubicBezTo>
                    <a:pt x="2890265" y="2824544"/>
                    <a:pt x="2893028" y="2827306"/>
                    <a:pt x="2893028" y="2830735"/>
                  </a:cubicBezTo>
                  <a:cubicBezTo>
                    <a:pt x="2893028" y="2834164"/>
                    <a:pt x="2890265" y="2836926"/>
                    <a:pt x="2886836" y="2836926"/>
                  </a:cubicBezTo>
                  <a:cubicBezTo>
                    <a:pt x="2883407" y="2836926"/>
                    <a:pt x="2880645" y="2834164"/>
                    <a:pt x="2880645" y="2830735"/>
                  </a:cubicBezTo>
                  <a:cubicBezTo>
                    <a:pt x="2880645" y="2827306"/>
                    <a:pt x="2883407" y="2824544"/>
                    <a:pt x="2886836" y="2824544"/>
                  </a:cubicBezTo>
                  <a:close/>
                  <a:moveTo>
                    <a:pt x="2805588" y="2824448"/>
                  </a:moveTo>
                  <a:cubicBezTo>
                    <a:pt x="2809017" y="2824448"/>
                    <a:pt x="2811780" y="2827210"/>
                    <a:pt x="2811780" y="2830639"/>
                  </a:cubicBezTo>
                  <a:cubicBezTo>
                    <a:pt x="2811780" y="2834068"/>
                    <a:pt x="2809017" y="2836831"/>
                    <a:pt x="2805588" y="2836831"/>
                  </a:cubicBezTo>
                  <a:cubicBezTo>
                    <a:pt x="2802159" y="2836831"/>
                    <a:pt x="2799397" y="2834068"/>
                    <a:pt x="2799397" y="2830639"/>
                  </a:cubicBezTo>
                  <a:cubicBezTo>
                    <a:pt x="2799397" y="2827210"/>
                    <a:pt x="2802159" y="2824448"/>
                    <a:pt x="2805588" y="2824448"/>
                  </a:cubicBezTo>
                  <a:close/>
                  <a:moveTo>
                    <a:pt x="2142077" y="2822924"/>
                  </a:moveTo>
                  <a:cubicBezTo>
                    <a:pt x="2145506" y="2822924"/>
                    <a:pt x="2148268" y="2825686"/>
                    <a:pt x="2148268" y="2829115"/>
                  </a:cubicBezTo>
                  <a:cubicBezTo>
                    <a:pt x="2148268" y="2832544"/>
                    <a:pt x="2145506" y="2835307"/>
                    <a:pt x="2142077" y="2835307"/>
                  </a:cubicBezTo>
                  <a:cubicBezTo>
                    <a:pt x="2138648" y="2835307"/>
                    <a:pt x="2135886" y="2832544"/>
                    <a:pt x="2135886" y="2829115"/>
                  </a:cubicBezTo>
                  <a:cubicBezTo>
                    <a:pt x="2135886" y="2825686"/>
                    <a:pt x="2138648" y="2822924"/>
                    <a:pt x="2142077" y="2822924"/>
                  </a:cubicBezTo>
                  <a:close/>
                  <a:moveTo>
                    <a:pt x="955738" y="2822544"/>
                  </a:moveTo>
                  <a:cubicBezTo>
                    <a:pt x="959167" y="2822544"/>
                    <a:pt x="961929" y="2825306"/>
                    <a:pt x="961929" y="2828735"/>
                  </a:cubicBezTo>
                  <a:cubicBezTo>
                    <a:pt x="961929" y="2832164"/>
                    <a:pt x="959167" y="2834926"/>
                    <a:pt x="955738" y="2834926"/>
                  </a:cubicBezTo>
                  <a:cubicBezTo>
                    <a:pt x="952309" y="2834926"/>
                    <a:pt x="949547" y="2832164"/>
                    <a:pt x="949547" y="2828735"/>
                  </a:cubicBezTo>
                  <a:cubicBezTo>
                    <a:pt x="949547" y="2825306"/>
                    <a:pt x="952309" y="2822544"/>
                    <a:pt x="955738" y="2822544"/>
                  </a:cubicBezTo>
                  <a:close/>
                  <a:moveTo>
                    <a:pt x="466438" y="2820734"/>
                  </a:moveTo>
                  <a:cubicBezTo>
                    <a:pt x="469867" y="2820734"/>
                    <a:pt x="472629" y="2823496"/>
                    <a:pt x="472629" y="2826925"/>
                  </a:cubicBezTo>
                  <a:cubicBezTo>
                    <a:pt x="472629" y="2830354"/>
                    <a:pt x="469867" y="2833116"/>
                    <a:pt x="466438" y="2833116"/>
                  </a:cubicBezTo>
                  <a:cubicBezTo>
                    <a:pt x="463009" y="2833116"/>
                    <a:pt x="460247" y="2830354"/>
                    <a:pt x="460247" y="2826925"/>
                  </a:cubicBezTo>
                  <a:cubicBezTo>
                    <a:pt x="460247" y="2823496"/>
                    <a:pt x="463009" y="2820734"/>
                    <a:pt x="466438" y="2820734"/>
                  </a:cubicBezTo>
                  <a:close/>
                  <a:moveTo>
                    <a:pt x="505205" y="2820543"/>
                  </a:moveTo>
                  <a:cubicBezTo>
                    <a:pt x="508634" y="2820543"/>
                    <a:pt x="511396" y="2823305"/>
                    <a:pt x="511396" y="2826734"/>
                  </a:cubicBezTo>
                  <a:lnTo>
                    <a:pt x="506015" y="2832116"/>
                  </a:lnTo>
                  <a:lnTo>
                    <a:pt x="506348" y="2832449"/>
                  </a:lnTo>
                  <a:lnTo>
                    <a:pt x="501109" y="2837689"/>
                  </a:lnTo>
                  <a:lnTo>
                    <a:pt x="501395" y="2837974"/>
                  </a:lnTo>
                  <a:cubicBezTo>
                    <a:pt x="501395" y="2841403"/>
                    <a:pt x="498633" y="2844165"/>
                    <a:pt x="495204" y="2844165"/>
                  </a:cubicBezTo>
                  <a:cubicBezTo>
                    <a:pt x="491775" y="2844165"/>
                    <a:pt x="489013" y="2841403"/>
                    <a:pt x="489013" y="2837974"/>
                  </a:cubicBezTo>
                  <a:lnTo>
                    <a:pt x="494252" y="2832735"/>
                  </a:lnTo>
                  <a:lnTo>
                    <a:pt x="493966" y="2832449"/>
                  </a:lnTo>
                  <a:lnTo>
                    <a:pt x="499348" y="2827068"/>
                  </a:lnTo>
                  <a:lnTo>
                    <a:pt x="499014" y="2826734"/>
                  </a:lnTo>
                  <a:cubicBezTo>
                    <a:pt x="499014" y="2823305"/>
                    <a:pt x="501776" y="2820543"/>
                    <a:pt x="505205" y="2820543"/>
                  </a:cubicBezTo>
                  <a:close/>
                  <a:moveTo>
                    <a:pt x="533876" y="2820067"/>
                  </a:moveTo>
                  <a:cubicBezTo>
                    <a:pt x="537305" y="2820067"/>
                    <a:pt x="540067" y="2822829"/>
                    <a:pt x="540067" y="2826258"/>
                  </a:cubicBezTo>
                  <a:cubicBezTo>
                    <a:pt x="540067" y="2829687"/>
                    <a:pt x="537305" y="2832449"/>
                    <a:pt x="533876" y="2832449"/>
                  </a:cubicBezTo>
                  <a:cubicBezTo>
                    <a:pt x="530447" y="2832449"/>
                    <a:pt x="527685" y="2829687"/>
                    <a:pt x="527685" y="2826258"/>
                  </a:cubicBezTo>
                  <a:cubicBezTo>
                    <a:pt x="527685" y="2822829"/>
                    <a:pt x="530447" y="2820067"/>
                    <a:pt x="533876" y="2820067"/>
                  </a:cubicBezTo>
                  <a:close/>
                  <a:moveTo>
                    <a:pt x="2726245" y="2818448"/>
                  </a:moveTo>
                  <a:cubicBezTo>
                    <a:pt x="2729674" y="2818448"/>
                    <a:pt x="2732436" y="2821210"/>
                    <a:pt x="2732436" y="2824639"/>
                  </a:cubicBezTo>
                  <a:cubicBezTo>
                    <a:pt x="2732436" y="2828068"/>
                    <a:pt x="2729674" y="2830830"/>
                    <a:pt x="2726245" y="2830830"/>
                  </a:cubicBezTo>
                  <a:cubicBezTo>
                    <a:pt x="2722816" y="2830830"/>
                    <a:pt x="2720054" y="2828068"/>
                    <a:pt x="2720054" y="2824639"/>
                  </a:cubicBezTo>
                  <a:cubicBezTo>
                    <a:pt x="2720054" y="2821210"/>
                    <a:pt x="2722816" y="2818448"/>
                    <a:pt x="2726245" y="2818448"/>
                  </a:cubicBezTo>
                  <a:close/>
                  <a:moveTo>
                    <a:pt x="2682525" y="2817400"/>
                  </a:moveTo>
                  <a:cubicBezTo>
                    <a:pt x="2685954" y="2817400"/>
                    <a:pt x="2688716" y="2820162"/>
                    <a:pt x="2688716" y="2823591"/>
                  </a:cubicBezTo>
                  <a:cubicBezTo>
                    <a:pt x="2688716" y="2827020"/>
                    <a:pt x="2685954" y="2829782"/>
                    <a:pt x="2682525" y="2829782"/>
                  </a:cubicBezTo>
                  <a:cubicBezTo>
                    <a:pt x="2679096" y="2829782"/>
                    <a:pt x="2676334" y="2827020"/>
                    <a:pt x="2676334" y="2823591"/>
                  </a:cubicBezTo>
                  <a:cubicBezTo>
                    <a:pt x="2676334" y="2820162"/>
                    <a:pt x="2679096" y="2817400"/>
                    <a:pt x="2682525" y="2817400"/>
                  </a:cubicBezTo>
                  <a:close/>
                  <a:moveTo>
                    <a:pt x="2762154" y="2816447"/>
                  </a:moveTo>
                  <a:cubicBezTo>
                    <a:pt x="2765583" y="2816447"/>
                    <a:pt x="2768346" y="2819209"/>
                    <a:pt x="2768346" y="2822638"/>
                  </a:cubicBezTo>
                  <a:cubicBezTo>
                    <a:pt x="2768346" y="2826067"/>
                    <a:pt x="2765583" y="2828830"/>
                    <a:pt x="2762154" y="2828830"/>
                  </a:cubicBezTo>
                  <a:cubicBezTo>
                    <a:pt x="2758725" y="2828830"/>
                    <a:pt x="2755963" y="2826067"/>
                    <a:pt x="2755963" y="2822638"/>
                  </a:cubicBezTo>
                  <a:cubicBezTo>
                    <a:pt x="2755963" y="2819209"/>
                    <a:pt x="2758725" y="2816447"/>
                    <a:pt x="2762154" y="2816447"/>
                  </a:cubicBezTo>
                  <a:close/>
                  <a:moveTo>
                    <a:pt x="2824829" y="2816162"/>
                  </a:moveTo>
                  <a:cubicBezTo>
                    <a:pt x="2828258" y="2816162"/>
                    <a:pt x="2831020" y="2818924"/>
                    <a:pt x="2831020" y="2822353"/>
                  </a:cubicBezTo>
                  <a:lnTo>
                    <a:pt x="2830591" y="2822782"/>
                  </a:lnTo>
                  <a:lnTo>
                    <a:pt x="2836735" y="2828925"/>
                  </a:lnTo>
                  <a:lnTo>
                    <a:pt x="2836354" y="2829306"/>
                  </a:lnTo>
                  <a:lnTo>
                    <a:pt x="2841402" y="2834354"/>
                  </a:lnTo>
                  <a:lnTo>
                    <a:pt x="2841069" y="2834688"/>
                  </a:lnTo>
                  <a:lnTo>
                    <a:pt x="2846927" y="2840545"/>
                  </a:lnTo>
                  <a:cubicBezTo>
                    <a:pt x="2846927" y="2843974"/>
                    <a:pt x="2844164" y="2846736"/>
                    <a:pt x="2840735" y="2846736"/>
                  </a:cubicBezTo>
                  <a:cubicBezTo>
                    <a:pt x="2837306" y="2846736"/>
                    <a:pt x="2834544" y="2843974"/>
                    <a:pt x="2834544" y="2840545"/>
                  </a:cubicBezTo>
                  <a:lnTo>
                    <a:pt x="2834877" y="2840212"/>
                  </a:lnTo>
                  <a:lnTo>
                    <a:pt x="2829020" y="2834354"/>
                  </a:lnTo>
                  <a:lnTo>
                    <a:pt x="2829400" y="2833974"/>
                  </a:lnTo>
                  <a:lnTo>
                    <a:pt x="2824352" y="2828925"/>
                  </a:lnTo>
                  <a:lnTo>
                    <a:pt x="2824780" y="2828497"/>
                  </a:lnTo>
                  <a:lnTo>
                    <a:pt x="2818638" y="2822353"/>
                  </a:lnTo>
                  <a:cubicBezTo>
                    <a:pt x="2818638" y="2818924"/>
                    <a:pt x="2821400" y="2816162"/>
                    <a:pt x="2824829" y="2816162"/>
                  </a:cubicBezTo>
                  <a:close/>
                  <a:moveTo>
                    <a:pt x="800290" y="2816067"/>
                  </a:moveTo>
                  <a:cubicBezTo>
                    <a:pt x="803719" y="2816067"/>
                    <a:pt x="806481" y="2818829"/>
                    <a:pt x="806481" y="2822258"/>
                  </a:cubicBezTo>
                  <a:cubicBezTo>
                    <a:pt x="806481" y="2825687"/>
                    <a:pt x="803719" y="2828449"/>
                    <a:pt x="800290" y="2828449"/>
                  </a:cubicBezTo>
                  <a:cubicBezTo>
                    <a:pt x="796861" y="2828449"/>
                    <a:pt x="794099" y="2825687"/>
                    <a:pt x="794099" y="2822258"/>
                  </a:cubicBezTo>
                  <a:cubicBezTo>
                    <a:pt x="794099" y="2818829"/>
                    <a:pt x="796861" y="2816067"/>
                    <a:pt x="800290" y="2816067"/>
                  </a:cubicBezTo>
                  <a:close/>
                  <a:moveTo>
                    <a:pt x="2863119" y="2815209"/>
                  </a:moveTo>
                  <a:cubicBezTo>
                    <a:pt x="2866548" y="2815209"/>
                    <a:pt x="2869310" y="2817971"/>
                    <a:pt x="2869310" y="2821400"/>
                  </a:cubicBezTo>
                  <a:cubicBezTo>
                    <a:pt x="2869310" y="2824829"/>
                    <a:pt x="2866548" y="2827592"/>
                    <a:pt x="2863119" y="2827592"/>
                  </a:cubicBezTo>
                  <a:cubicBezTo>
                    <a:pt x="2859690" y="2827592"/>
                    <a:pt x="2856928" y="2824829"/>
                    <a:pt x="2856928" y="2821400"/>
                  </a:cubicBezTo>
                  <a:cubicBezTo>
                    <a:pt x="2856928" y="2817971"/>
                    <a:pt x="2859690" y="2815209"/>
                    <a:pt x="2863119" y="2815209"/>
                  </a:cubicBezTo>
                  <a:close/>
                  <a:moveTo>
                    <a:pt x="1147286" y="2815019"/>
                  </a:moveTo>
                  <a:cubicBezTo>
                    <a:pt x="1150715" y="2815019"/>
                    <a:pt x="1153477" y="2817781"/>
                    <a:pt x="1153477" y="2821210"/>
                  </a:cubicBezTo>
                  <a:cubicBezTo>
                    <a:pt x="1153477" y="2824639"/>
                    <a:pt x="1150715" y="2827401"/>
                    <a:pt x="1147286" y="2827401"/>
                  </a:cubicBezTo>
                  <a:cubicBezTo>
                    <a:pt x="1143857" y="2827401"/>
                    <a:pt x="1141095" y="2824639"/>
                    <a:pt x="1141095" y="2821210"/>
                  </a:cubicBezTo>
                  <a:cubicBezTo>
                    <a:pt x="1141095" y="2817781"/>
                    <a:pt x="1143857" y="2815019"/>
                    <a:pt x="1147286" y="2815019"/>
                  </a:cubicBezTo>
                  <a:close/>
                  <a:moveTo>
                    <a:pt x="512349" y="2812637"/>
                  </a:moveTo>
                  <a:cubicBezTo>
                    <a:pt x="515778" y="2812637"/>
                    <a:pt x="518540" y="2815399"/>
                    <a:pt x="518540" y="2818828"/>
                  </a:cubicBezTo>
                  <a:cubicBezTo>
                    <a:pt x="518540" y="2822257"/>
                    <a:pt x="515778" y="2825019"/>
                    <a:pt x="512349" y="2825019"/>
                  </a:cubicBezTo>
                  <a:cubicBezTo>
                    <a:pt x="508920" y="2825019"/>
                    <a:pt x="506158" y="2822257"/>
                    <a:pt x="506158" y="2818828"/>
                  </a:cubicBezTo>
                  <a:cubicBezTo>
                    <a:pt x="506158" y="2815399"/>
                    <a:pt x="508920" y="2812637"/>
                    <a:pt x="512349" y="2812637"/>
                  </a:cubicBezTo>
                  <a:close/>
                  <a:moveTo>
                    <a:pt x="2629757" y="2812447"/>
                  </a:moveTo>
                  <a:cubicBezTo>
                    <a:pt x="2633186" y="2812447"/>
                    <a:pt x="2635948" y="2815209"/>
                    <a:pt x="2635948" y="2818638"/>
                  </a:cubicBezTo>
                  <a:cubicBezTo>
                    <a:pt x="2635948" y="2822067"/>
                    <a:pt x="2633186" y="2824829"/>
                    <a:pt x="2629757" y="2824829"/>
                  </a:cubicBezTo>
                  <a:cubicBezTo>
                    <a:pt x="2626328" y="2824829"/>
                    <a:pt x="2623566" y="2822067"/>
                    <a:pt x="2623566" y="2818638"/>
                  </a:cubicBezTo>
                  <a:cubicBezTo>
                    <a:pt x="2623566" y="2815209"/>
                    <a:pt x="2626328" y="2812447"/>
                    <a:pt x="2629757" y="2812447"/>
                  </a:cubicBezTo>
                  <a:close/>
                  <a:moveTo>
                    <a:pt x="2791586" y="2812066"/>
                  </a:moveTo>
                  <a:cubicBezTo>
                    <a:pt x="2795015" y="2812066"/>
                    <a:pt x="2797778" y="2814828"/>
                    <a:pt x="2797778" y="2818257"/>
                  </a:cubicBezTo>
                  <a:cubicBezTo>
                    <a:pt x="2797778" y="2821686"/>
                    <a:pt x="2795015" y="2824448"/>
                    <a:pt x="2791586" y="2824448"/>
                  </a:cubicBezTo>
                  <a:cubicBezTo>
                    <a:pt x="2788157" y="2824448"/>
                    <a:pt x="2785395" y="2821686"/>
                    <a:pt x="2785395" y="2818257"/>
                  </a:cubicBezTo>
                  <a:cubicBezTo>
                    <a:pt x="2785395" y="2814828"/>
                    <a:pt x="2788157" y="2812066"/>
                    <a:pt x="2791586" y="2812066"/>
                  </a:cubicBezTo>
                  <a:close/>
                  <a:moveTo>
                    <a:pt x="2877216" y="2811209"/>
                  </a:moveTo>
                  <a:cubicBezTo>
                    <a:pt x="2880645" y="2811209"/>
                    <a:pt x="2883407" y="2813971"/>
                    <a:pt x="2883407" y="2817400"/>
                  </a:cubicBezTo>
                  <a:cubicBezTo>
                    <a:pt x="2883407" y="2820829"/>
                    <a:pt x="2880645" y="2823591"/>
                    <a:pt x="2877216" y="2823591"/>
                  </a:cubicBezTo>
                  <a:cubicBezTo>
                    <a:pt x="2873787" y="2823591"/>
                    <a:pt x="2871025" y="2820829"/>
                    <a:pt x="2871025" y="2817400"/>
                  </a:cubicBezTo>
                  <a:cubicBezTo>
                    <a:pt x="2871025" y="2813971"/>
                    <a:pt x="2873787" y="2811209"/>
                    <a:pt x="2877216" y="2811209"/>
                  </a:cubicBezTo>
                  <a:close/>
                  <a:moveTo>
                    <a:pt x="2908173" y="2811113"/>
                  </a:moveTo>
                  <a:cubicBezTo>
                    <a:pt x="2910554" y="2811113"/>
                    <a:pt x="2912554" y="2813113"/>
                    <a:pt x="2912554" y="2815494"/>
                  </a:cubicBezTo>
                  <a:cubicBezTo>
                    <a:pt x="2912554" y="2817876"/>
                    <a:pt x="2910649" y="2819876"/>
                    <a:pt x="2908173" y="2819876"/>
                  </a:cubicBezTo>
                  <a:cubicBezTo>
                    <a:pt x="2905791" y="2819876"/>
                    <a:pt x="2903791" y="2817876"/>
                    <a:pt x="2903791" y="2815494"/>
                  </a:cubicBezTo>
                  <a:cubicBezTo>
                    <a:pt x="2903791" y="2813113"/>
                    <a:pt x="2905791" y="2811113"/>
                    <a:pt x="2908173" y="2811113"/>
                  </a:cubicBezTo>
                  <a:close/>
                  <a:moveTo>
                    <a:pt x="2417540" y="2810352"/>
                  </a:moveTo>
                  <a:cubicBezTo>
                    <a:pt x="2420969" y="2810352"/>
                    <a:pt x="2423732" y="2813114"/>
                    <a:pt x="2423732" y="2816543"/>
                  </a:cubicBezTo>
                  <a:cubicBezTo>
                    <a:pt x="2423732" y="2819972"/>
                    <a:pt x="2420969" y="2822734"/>
                    <a:pt x="2417540" y="2822734"/>
                  </a:cubicBezTo>
                  <a:cubicBezTo>
                    <a:pt x="2414111" y="2822734"/>
                    <a:pt x="2411349" y="2819972"/>
                    <a:pt x="2411349" y="2816543"/>
                  </a:cubicBezTo>
                  <a:cubicBezTo>
                    <a:pt x="2411349" y="2813114"/>
                    <a:pt x="2414111" y="2810352"/>
                    <a:pt x="2417540" y="2810352"/>
                  </a:cubicBezTo>
                  <a:close/>
                  <a:moveTo>
                    <a:pt x="2892170" y="2809209"/>
                  </a:moveTo>
                  <a:cubicBezTo>
                    <a:pt x="2895599" y="2809209"/>
                    <a:pt x="2898362" y="2811971"/>
                    <a:pt x="2898362" y="2815400"/>
                  </a:cubicBezTo>
                  <a:cubicBezTo>
                    <a:pt x="2898362" y="2818829"/>
                    <a:pt x="2895599" y="2821591"/>
                    <a:pt x="2892170" y="2821591"/>
                  </a:cubicBezTo>
                  <a:cubicBezTo>
                    <a:pt x="2888741" y="2821591"/>
                    <a:pt x="2885979" y="2818829"/>
                    <a:pt x="2885979" y="2815400"/>
                  </a:cubicBezTo>
                  <a:cubicBezTo>
                    <a:pt x="2885979" y="2811971"/>
                    <a:pt x="2888741" y="2809209"/>
                    <a:pt x="2892170" y="2809209"/>
                  </a:cubicBezTo>
                  <a:close/>
                  <a:moveTo>
                    <a:pt x="2841116" y="2807780"/>
                  </a:moveTo>
                  <a:cubicBezTo>
                    <a:pt x="2844545" y="2807780"/>
                    <a:pt x="2847307" y="2810542"/>
                    <a:pt x="2847307" y="2813971"/>
                  </a:cubicBezTo>
                  <a:lnTo>
                    <a:pt x="2845974" y="2815304"/>
                  </a:lnTo>
                  <a:lnTo>
                    <a:pt x="2851213" y="2820543"/>
                  </a:lnTo>
                  <a:lnTo>
                    <a:pt x="2850070" y="2821686"/>
                  </a:lnTo>
                  <a:lnTo>
                    <a:pt x="2855404" y="2827020"/>
                  </a:lnTo>
                  <a:cubicBezTo>
                    <a:pt x="2855404" y="2830449"/>
                    <a:pt x="2852642" y="2833211"/>
                    <a:pt x="2849213" y="2833211"/>
                  </a:cubicBezTo>
                  <a:cubicBezTo>
                    <a:pt x="2845784" y="2833211"/>
                    <a:pt x="2843022" y="2830449"/>
                    <a:pt x="2843022" y="2827020"/>
                  </a:cubicBezTo>
                  <a:lnTo>
                    <a:pt x="2844165" y="2825878"/>
                  </a:lnTo>
                  <a:lnTo>
                    <a:pt x="2838831" y="2820543"/>
                  </a:lnTo>
                  <a:lnTo>
                    <a:pt x="2840164" y="2819211"/>
                  </a:lnTo>
                  <a:lnTo>
                    <a:pt x="2834925" y="2813971"/>
                  </a:lnTo>
                  <a:cubicBezTo>
                    <a:pt x="2834925" y="2810542"/>
                    <a:pt x="2837687" y="2807780"/>
                    <a:pt x="2841116" y="2807780"/>
                  </a:cubicBezTo>
                  <a:close/>
                  <a:moveTo>
                    <a:pt x="459009" y="2806446"/>
                  </a:moveTo>
                  <a:cubicBezTo>
                    <a:pt x="462438" y="2806446"/>
                    <a:pt x="465200" y="2809208"/>
                    <a:pt x="465200" y="2812637"/>
                  </a:cubicBezTo>
                  <a:cubicBezTo>
                    <a:pt x="465200" y="2816066"/>
                    <a:pt x="462438" y="2818828"/>
                    <a:pt x="459009" y="2818828"/>
                  </a:cubicBezTo>
                  <a:cubicBezTo>
                    <a:pt x="455580" y="2818828"/>
                    <a:pt x="452818" y="2816066"/>
                    <a:pt x="452818" y="2812637"/>
                  </a:cubicBezTo>
                  <a:cubicBezTo>
                    <a:pt x="452818" y="2809208"/>
                    <a:pt x="455580" y="2806446"/>
                    <a:pt x="459009" y="2806446"/>
                  </a:cubicBezTo>
                  <a:close/>
                  <a:moveTo>
                    <a:pt x="2815684" y="2806065"/>
                  </a:moveTo>
                  <a:cubicBezTo>
                    <a:pt x="2819113" y="2806065"/>
                    <a:pt x="2821876" y="2808827"/>
                    <a:pt x="2821876" y="2812256"/>
                  </a:cubicBezTo>
                  <a:cubicBezTo>
                    <a:pt x="2821876" y="2815685"/>
                    <a:pt x="2819113" y="2818448"/>
                    <a:pt x="2815684" y="2818448"/>
                  </a:cubicBezTo>
                  <a:cubicBezTo>
                    <a:pt x="2812255" y="2818448"/>
                    <a:pt x="2809493" y="2815685"/>
                    <a:pt x="2809493" y="2812256"/>
                  </a:cubicBezTo>
                  <a:cubicBezTo>
                    <a:pt x="2809493" y="2808827"/>
                    <a:pt x="2812255" y="2806065"/>
                    <a:pt x="2815684" y="2806065"/>
                  </a:cubicBezTo>
                  <a:close/>
                  <a:moveTo>
                    <a:pt x="585692" y="2805875"/>
                  </a:moveTo>
                  <a:cubicBezTo>
                    <a:pt x="589121" y="2805875"/>
                    <a:pt x="591883" y="2808637"/>
                    <a:pt x="591883" y="2812066"/>
                  </a:cubicBezTo>
                  <a:cubicBezTo>
                    <a:pt x="591883" y="2815495"/>
                    <a:pt x="589121" y="2818257"/>
                    <a:pt x="585692" y="2818257"/>
                  </a:cubicBezTo>
                  <a:cubicBezTo>
                    <a:pt x="582263" y="2818257"/>
                    <a:pt x="579501" y="2815495"/>
                    <a:pt x="579501" y="2812066"/>
                  </a:cubicBezTo>
                  <a:cubicBezTo>
                    <a:pt x="579501" y="2808637"/>
                    <a:pt x="582263" y="2805875"/>
                    <a:pt x="585692" y="2805875"/>
                  </a:cubicBezTo>
                  <a:close/>
                  <a:moveTo>
                    <a:pt x="445103" y="2805779"/>
                  </a:moveTo>
                  <a:cubicBezTo>
                    <a:pt x="447008" y="2805779"/>
                    <a:pt x="448627" y="2807398"/>
                    <a:pt x="448627" y="2809303"/>
                  </a:cubicBezTo>
                  <a:cubicBezTo>
                    <a:pt x="448627" y="2811208"/>
                    <a:pt x="447103" y="2812827"/>
                    <a:pt x="445103" y="2812827"/>
                  </a:cubicBezTo>
                  <a:cubicBezTo>
                    <a:pt x="443198" y="2812827"/>
                    <a:pt x="441579" y="2811208"/>
                    <a:pt x="441579" y="2809303"/>
                  </a:cubicBezTo>
                  <a:cubicBezTo>
                    <a:pt x="441579" y="2807398"/>
                    <a:pt x="443198" y="2805779"/>
                    <a:pt x="445103" y="2805779"/>
                  </a:cubicBezTo>
                  <a:close/>
                  <a:moveTo>
                    <a:pt x="2233136" y="2805303"/>
                  </a:moveTo>
                  <a:cubicBezTo>
                    <a:pt x="2236565" y="2805303"/>
                    <a:pt x="2239328" y="2808065"/>
                    <a:pt x="2239328" y="2811494"/>
                  </a:cubicBezTo>
                  <a:cubicBezTo>
                    <a:pt x="2239328" y="2814923"/>
                    <a:pt x="2236565" y="2817685"/>
                    <a:pt x="2233136" y="2817685"/>
                  </a:cubicBezTo>
                  <a:cubicBezTo>
                    <a:pt x="2229707" y="2817685"/>
                    <a:pt x="2226945" y="2814923"/>
                    <a:pt x="2226945" y="2811494"/>
                  </a:cubicBezTo>
                  <a:cubicBezTo>
                    <a:pt x="2226945" y="2808065"/>
                    <a:pt x="2229707" y="2805303"/>
                    <a:pt x="2233136" y="2805303"/>
                  </a:cubicBezTo>
                  <a:close/>
                  <a:moveTo>
                    <a:pt x="626840" y="2804827"/>
                  </a:moveTo>
                  <a:cubicBezTo>
                    <a:pt x="630269" y="2804827"/>
                    <a:pt x="633031" y="2807589"/>
                    <a:pt x="633031" y="2811018"/>
                  </a:cubicBezTo>
                  <a:cubicBezTo>
                    <a:pt x="633031" y="2814447"/>
                    <a:pt x="630269" y="2817210"/>
                    <a:pt x="626840" y="2817210"/>
                  </a:cubicBezTo>
                  <a:cubicBezTo>
                    <a:pt x="623411" y="2817210"/>
                    <a:pt x="620649" y="2814447"/>
                    <a:pt x="620649" y="2811018"/>
                  </a:cubicBezTo>
                  <a:cubicBezTo>
                    <a:pt x="620649" y="2807589"/>
                    <a:pt x="623411" y="2804827"/>
                    <a:pt x="626840" y="2804827"/>
                  </a:cubicBezTo>
                  <a:close/>
                  <a:moveTo>
                    <a:pt x="494442" y="2804732"/>
                  </a:moveTo>
                  <a:cubicBezTo>
                    <a:pt x="497871" y="2804732"/>
                    <a:pt x="500634" y="2807494"/>
                    <a:pt x="500634" y="2810923"/>
                  </a:cubicBezTo>
                  <a:lnTo>
                    <a:pt x="494775" y="2816781"/>
                  </a:lnTo>
                  <a:lnTo>
                    <a:pt x="496156" y="2818162"/>
                  </a:lnTo>
                  <a:lnTo>
                    <a:pt x="491061" y="2823258"/>
                  </a:lnTo>
                  <a:lnTo>
                    <a:pt x="492251" y="2824448"/>
                  </a:lnTo>
                  <a:lnTo>
                    <a:pt x="486108" y="2830592"/>
                  </a:lnTo>
                  <a:lnTo>
                    <a:pt x="487108" y="2831592"/>
                  </a:lnTo>
                  <a:cubicBezTo>
                    <a:pt x="487108" y="2835021"/>
                    <a:pt x="484346" y="2837784"/>
                    <a:pt x="480917" y="2837784"/>
                  </a:cubicBezTo>
                  <a:cubicBezTo>
                    <a:pt x="477488" y="2837784"/>
                    <a:pt x="474726" y="2835021"/>
                    <a:pt x="474726" y="2831592"/>
                  </a:cubicBezTo>
                  <a:lnTo>
                    <a:pt x="480869" y="2825449"/>
                  </a:lnTo>
                  <a:lnTo>
                    <a:pt x="479869" y="2824448"/>
                  </a:lnTo>
                  <a:lnTo>
                    <a:pt x="484964" y="2819353"/>
                  </a:lnTo>
                  <a:lnTo>
                    <a:pt x="483774" y="2818162"/>
                  </a:lnTo>
                  <a:lnTo>
                    <a:pt x="489632" y="2812304"/>
                  </a:lnTo>
                  <a:lnTo>
                    <a:pt x="488251" y="2810923"/>
                  </a:lnTo>
                  <a:cubicBezTo>
                    <a:pt x="488251" y="2807494"/>
                    <a:pt x="491013" y="2804732"/>
                    <a:pt x="494442" y="2804732"/>
                  </a:cubicBezTo>
                  <a:close/>
                  <a:moveTo>
                    <a:pt x="551973" y="2803874"/>
                  </a:moveTo>
                  <a:cubicBezTo>
                    <a:pt x="555402" y="2803874"/>
                    <a:pt x="558164" y="2806636"/>
                    <a:pt x="558164" y="2810065"/>
                  </a:cubicBezTo>
                  <a:cubicBezTo>
                    <a:pt x="558164" y="2813494"/>
                    <a:pt x="555402" y="2816257"/>
                    <a:pt x="551973" y="2816257"/>
                  </a:cubicBezTo>
                  <a:cubicBezTo>
                    <a:pt x="548544" y="2816257"/>
                    <a:pt x="545782" y="2813494"/>
                    <a:pt x="545782" y="2810065"/>
                  </a:cubicBezTo>
                  <a:cubicBezTo>
                    <a:pt x="545782" y="2806636"/>
                    <a:pt x="548544" y="2803874"/>
                    <a:pt x="551973" y="2803874"/>
                  </a:cubicBezTo>
                  <a:close/>
                  <a:moveTo>
                    <a:pt x="2566415" y="2802446"/>
                  </a:moveTo>
                  <a:cubicBezTo>
                    <a:pt x="2569844" y="2802446"/>
                    <a:pt x="2572606" y="2805208"/>
                    <a:pt x="2572606" y="2808637"/>
                  </a:cubicBezTo>
                  <a:cubicBezTo>
                    <a:pt x="2572606" y="2812066"/>
                    <a:pt x="2569844" y="2814829"/>
                    <a:pt x="2566415" y="2814829"/>
                  </a:cubicBezTo>
                  <a:cubicBezTo>
                    <a:pt x="2562986" y="2814829"/>
                    <a:pt x="2560224" y="2812066"/>
                    <a:pt x="2560224" y="2808637"/>
                  </a:cubicBezTo>
                  <a:cubicBezTo>
                    <a:pt x="2560224" y="2805208"/>
                    <a:pt x="2562986" y="2802446"/>
                    <a:pt x="2566415" y="2802446"/>
                  </a:cubicBezTo>
                  <a:close/>
                  <a:moveTo>
                    <a:pt x="1694782" y="2802351"/>
                  </a:moveTo>
                  <a:cubicBezTo>
                    <a:pt x="1698211" y="2802351"/>
                    <a:pt x="1700974" y="2805113"/>
                    <a:pt x="1700974" y="2808542"/>
                  </a:cubicBezTo>
                  <a:cubicBezTo>
                    <a:pt x="1700974" y="2811971"/>
                    <a:pt x="1698211" y="2814733"/>
                    <a:pt x="1694782" y="2814733"/>
                  </a:cubicBezTo>
                  <a:cubicBezTo>
                    <a:pt x="1691353" y="2814733"/>
                    <a:pt x="1688591" y="2811971"/>
                    <a:pt x="1688591" y="2808542"/>
                  </a:cubicBezTo>
                  <a:cubicBezTo>
                    <a:pt x="1688591" y="2805113"/>
                    <a:pt x="1691353" y="2802351"/>
                    <a:pt x="1694782" y="2802351"/>
                  </a:cubicBezTo>
                  <a:close/>
                  <a:moveTo>
                    <a:pt x="1587531" y="2801398"/>
                  </a:moveTo>
                  <a:cubicBezTo>
                    <a:pt x="1590960" y="2801398"/>
                    <a:pt x="1593723" y="2804160"/>
                    <a:pt x="1593723" y="2807589"/>
                  </a:cubicBezTo>
                  <a:cubicBezTo>
                    <a:pt x="1593723" y="2811018"/>
                    <a:pt x="1590960" y="2813780"/>
                    <a:pt x="1587531" y="2813780"/>
                  </a:cubicBezTo>
                  <a:cubicBezTo>
                    <a:pt x="1584102" y="2813780"/>
                    <a:pt x="1581340" y="2811018"/>
                    <a:pt x="1581340" y="2807589"/>
                  </a:cubicBezTo>
                  <a:cubicBezTo>
                    <a:pt x="1581340" y="2804160"/>
                    <a:pt x="1584102" y="2801398"/>
                    <a:pt x="1587531" y="2801398"/>
                  </a:cubicBezTo>
                  <a:close/>
                  <a:moveTo>
                    <a:pt x="2929033" y="2800636"/>
                  </a:moveTo>
                  <a:cubicBezTo>
                    <a:pt x="2929138" y="2800636"/>
                    <a:pt x="2929223" y="2800721"/>
                    <a:pt x="2929223" y="2800827"/>
                  </a:cubicBezTo>
                  <a:cubicBezTo>
                    <a:pt x="2929223" y="2800932"/>
                    <a:pt x="2929138" y="2801017"/>
                    <a:pt x="2929033" y="2801017"/>
                  </a:cubicBezTo>
                  <a:cubicBezTo>
                    <a:pt x="2928927" y="2801017"/>
                    <a:pt x="2928842" y="2800932"/>
                    <a:pt x="2928842" y="2800827"/>
                  </a:cubicBezTo>
                  <a:cubicBezTo>
                    <a:pt x="2928842" y="2800721"/>
                    <a:pt x="2928927" y="2800636"/>
                    <a:pt x="2929033" y="2800636"/>
                  </a:cubicBezTo>
                  <a:close/>
                  <a:moveTo>
                    <a:pt x="676751" y="2800064"/>
                  </a:moveTo>
                  <a:cubicBezTo>
                    <a:pt x="680180" y="2800064"/>
                    <a:pt x="682942" y="2802826"/>
                    <a:pt x="682942" y="2806255"/>
                  </a:cubicBezTo>
                  <a:cubicBezTo>
                    <a:pt x="682942" y="2809684"/>
                    <a:pt x="680180" y="2812447"/>
                    <a:pt x="676751" y="2812447"/>
                  </a:cubicBezTo>
                  <a:cubicBezTo>
                    <a:pt x="673322" y="2812447"/>
                    <a:pt x="670560" y="2809684"/>
                    <a:pt x="670560" y="2806255"/>
                  </a:cubicBezTo>
                  <a:cubicBezTo>
                    <a:pt x="670560" y="2802826"/>
                    <a:pt x="673322" y="2800064"/>
                    <a:pt x="676751" y="2800064"/>
                  </a:cubicBezTo>
                  <a:close/>
                  <a:moveTo>
                    <a:pt x="524446" y="2799779"/>
                  </a:moveTo>
                  <a:cubicBezTo>
                    <a:pt x="527875" y="2799779"/>
                    <a:pt x="530637" y="2802541"/>
                    <a:pt x="530637" y="2805970"/>
                  </a:cubicBezTo>
                  <a:cubicBezTo>
                    <a:pt x="530637" y="2809399"/>
                    <a:pt x="527875" y="2812162"/>
                    <a:pt x="524446" y="2812162"/>
                  </a:cubicBezTo>
                  <a:cubicBezTo>
                    <a:pt x="521017" y="2812162"/>
                    <a:pt x="518255" y="2809399"/>
                    <a:pt x="518255" y="2805970"/>
                  </a:cubicBezTo>
                  <a:cubicBezTo>
                    <a:pt x="518255" y="2802541"/>
                    <a:pt x="521017" y="2799779"/>
                    <a:pt x="524446" y="2799779"/>
                  </a:cubicBezTo>
                  <a:close/>
                  <a:moveTo>
                    <a:pt x="879919" y="2799493"/>
                  </a:moveTo>
                  <a:cubicBezTo>
                    <a:pt x="883348" y="2799493"/>
                    <a:pt x="886110" y="2802255"/>
                    <a:pt x="886110" y="2805684"/>
                  </a:cubicBezTo>
                  <a:cubicBezTo>
                    <a:pt x="886110" y="2809113"/>
                    <a:pt x="883348" y="2811876"/>
                    <a:pt x="879919" y="2811876"/>
                  </a:cubicBezTo>
                  <a:cubicBezTo>
                    <a:pt x="876490" y="2811876"/>
                    <a:pt x="873728" y="2809113"/>
                    <a:pt x="873728" y="2805684"/>
                  </a:cubicBezTo>
                  <a:cubicBezTo>
                    <a:pt x="873728" y="2802255"/>
                    <a:pt x="876490" y="2799493"/>
                    <a:pt x="879919" y="2799493"/>
                  </a:cubicBezTo>
                  <a:close/>
                  <a:moveTo>
                    <a:pt x="1801748" y="2799303"/>
                  </a:moveTo>
                  <a:cubicBezTo>
                    <a:pt x="1805177" y="2799303"/>
                    <a:pt x="1807940" y="2802065"/>
                    <a:pt x="1807940" y="2805494"/>
                  </a:cubicBezTo>
                  <a:cubicBezTo>
                    <a:pt x="1807940" y="2808923"/>
                    <a:pt x="1805177" y="2811685"/>
                    <a:pt x="1801748" y="2811685"/>
                  </a:cubicBezTo>
                  <a:cubicBezTo>
                    <a:pt x="1798319" y="2811685"/>
                    <a:pt x="1795557" y="2808923"/>
                    <a:pt x="1795557" y="2805494"/>
                  </a:cubicBezTo>
                  <a:cubicBezTo>
                    <a:pt x="1795557" y="2802065"/>
                    <a:pt x="1798319" y="2799303"/>
                    <a:pt x="1801748" y="2799303"/>
                  </a:cubicBezTo>
                  <a:close/>
                  <a:moveTo>
                    <a:pt x="2835592" y="2799017"/>
                  </a:moveTo>
                  <a:cubicBezTo>
                    <a:pt x="2839021" y="2799017"/>
                    <a:pt x="2841784" y="2801779"/>
                    <a:pt x="2841784" y="2805208"/>
                  </a:cubicBezTo>
                  <a:cubicBezTo>
                    <a:pt x="2841784" y="2808637"/>
                    <a:pt x="2839021" y="2811399"/>
                    <a:pt x="2835592" y="2811399"/>
                  </a:cubicBezTo>
                  <a:cubicBezTo>
                    <a:pt x="2832163" y="2811399"/>
                    <a:pt x="2829401" y="2808637"/>
                    <a:pt x="2829401" y="2805208"/>
                  </a:cubicBezTo>
                  <a:cubicBezTo>
                    <a:pt x="2829401" y="2801779"/>
                    <a:pt x="2832163" y="2799017"/>
                    <a:pt x="2835592" y="2799017"/>
                  </a:cubicBezTo>
                  <a:close/>
                  <a:moveTo>
                    <a:pt x="479202" y="2796731"/>
                  </a:moveTo>
                  <a:cubicBezTo>
                    <a:pt x="482631" y="2796731"/>
                    <a:pt x="485393" y="2799493"/>
                    <a:pt x="485393" y="2802922"/>
                  </a:cubicBezTo>
                  <a:lnTo>
                    <a:pt x="480155" y="2808161"/>
                  </a:lnTo>
                  <a:lnTo>
                    <a:pt x="482345" y="2810351"/>
                  </a:lnTo>
                  <a:lnTo>
                    <a:pt x="476820" y="2815876"/>
                  </a:lnTo>
                  <a:lnTo>
                    <a:pt x="478725" y="2817781"/>
                  </a:lnTo>
                  <a:cubicBezTo>
                    <a:pt x="478725" y="2821210"/>
                    <a:pt x="475963" y="2823972"/>
                    <a:pt x="472534" y="2823972"/>
                  </a:cubicBezTo>
                  <a:cubicBezTo>
                    <a:pt x="469105" y="2823972"/>
                    <a:pt x="466343" y="2821210"/>
                    <a:pt x="466343" y="2817781"/>
                  </a:cubicBezTo>
                  <a:lnTo>
                    <a:pt x="471868" y="2812256"/>
                  </a:lnTo>
                  <a:lnTo>
                    <a:pt x="469963" y="2810351"/>
                  </a:lnTo>
                  <a:lnTo>
                    <a:pt x="475201" y="2805113"/>
                  </a:lnTo>
                  <a:lnTo>
                    <a:pt x="473011" y="2802922"/>
                  </a:lnTo>
                  <a:cubicBezTo>
                    <a:pt x="473011" y="2799493"/>
                    <a:pt x="475773" y="2796731"/>
                    <a:pt x="479202" y="2796731"/>
                  </a:cubicBezTo>
                  <a:close/>
                  <a:moveTo>
                    <a:pt x="2884550" y="2796540"/>
                  </a:moveTo>
                  <a:cubicBezTo>
                    <a:pt x="2887979" y="2796540"/>
                    <a:pt x="2890741" y="2799302"/>
                    <a:pt x="2890741" y="2802731"/>
                  </a:cubicBezTo>
                  <a:cubicBezTo>
                    <a:pt x="2890741" y="2806160"/>
                    <a:pt x="2887979" y="2808923"/>
                    <a:pt x="2884550" y="2808923"/>
                  </a:cubicBezTo>
                  <a:cubicBezTo>
                    <a:pt x="2881121" y="2808923"/>
                    <a:pt x="2878359" y="2806160"/>
                    <a:pt x="2878359" y="2802731"/>
                  </a:cubicBezTo>
                  <a:cubicBezTo>
                    <a:pt x="2878359" y="2799302"/>
                    <a:pt x="2881121" y="2796540"/>
                    <a:pt x="2884550" y="2796540"/>
                  </a:cubicBezTo>
                  <a:close/>
                  <a:moveTo>
                    <a:pt x="1481137" y="2796540"/>
                  </a:moveTo>
                  <a:cubicBezTo>
                    <a:pt x="1484566" y="2796540"/>
                    <a:pt x="1487328" y="2799302"/>
                    <a:pt x="1487328" y="2802731"/>
                  </a:cubicBezTo>
                  <a:cubicBezTo>
                    <a:pt x="1487328" y="2806160"/>
                    <a:pt x="1484566" y="2808923"/>
                    <a:pt x="1481137" y="2808923"/>
                  </a:cubicBezTo>
                  <a:cubicBezTo>
                    <a:pt x="1477708" y="2808923"/>
                    <a:pt x="1474946" y="2806160"/>
                    <a:pt x="1474946" y="2802731"/>
                  </a:cubicBezTo>
                  <a:cubicBezTo>
                    <a:pt x="1474946" y="2799302"/>
                    <a:pt x="1477708" y="2796540"/>
                    <a:pt x="1481137" y="2796540"/>
                  </a:cubicBezTo>
                  <a:close/>
                  <a:moveTo>
                    <a:pt x="1058227" y="2796254"/>
                  </a:moveTo>
                  <a:cubicBezTo>
                    <a:pt x="1061656" y="2796254"/>
                    <a:pt x="1064419" y="2799016"/>
                    <a:pt x="1064419" y="2802445"/>
                  </a:cubicBezTo>
                  <a:cubicBezTo>
                    <a:pt x="1064419" y="2805874"/>
                    <a:pt x="1061656" y="2808636"/>
                    <a:pt x="1058227" y="2808636"/>
                  </a:cubicBezTo>
                  <a:cubicBezTo>
                    <a:pt x="1054798" y="2808636"/>
                    <a:pt x="1052036" y="2805874"/>
                    <a:pt x="1052036" y="2802445"/>
                  </a:cubicBezTo>
                  <a:cubicBezTo>
                    <a:pt x="1052036" y="2799016"/>
                    <a:pt x="1054798" y="2796254"/>
                    <a:pt x="1058227" y="2796254"/>
                  </a:cubicBezTo>
                  <a:close/>
                  <a:moveTo>
                    <a:pt x="2898266" y="2793969"/>
                  </a:moveTo>
                  <a:cubicBezTo>
                    <a:pt x="2901695" y="2793969"/>
                    <a:pt x="2904457" y="2796731"/>
                    <a:pt x="2904457" y="2800160"/>
                  </a:cubicBezTo>
                  <a:cubicBezTo>
                    <a:pt x="2904457" y="2803589"/>
                    <a:pt x="2901695" y="2806351"/>
                    <a:pt x="2898266" y="2806351"/>
                  </a:cubicBezTo>
                  <a:cubicBezTo>
                    <a:pt x="2894837" y="2806351"/>
                    <a:pt x="2892075" y="2803589"/>
                    <a:pt x="2892075" y="2800160"/>
                  </a:cubicBezTo>
                  <a:cubicBezTo>
                    <a:pt x="2892075" y="2796731"/>
                    <a:pt x="2894837" y="2793969"/>
                    <a:pt x="2898266" y="2793969"/>
                  </a:cubicBezTo>
                  <a:close/>
                  <a:moveTo>
                    <a:pt x="501967" y="2793969"/>
                  </a:moveTo>
                  <a:cubicBezTo>
                    <a:pt x="505396" y="2793969"/>
                    <a:pt x="508158" y="2796731"/>
                    <a:pt x="508158" y="2800160"/>
                  </a:cubicBezTo>
                  <a:cubicBezTo>
                    <a:pt x="508158" y="2803589"/>
                    <a:pt x="505396" y="2806351"/>
                    <a:pt x="501967" y="2806351"/>
                  </a:cubicBezTo>
                  <a:cubicBezTo>
                    <a:pt x="498538" y="2806351"/>
                    <a:pt x="495776" y="2803589"/>
                    <a:pt x="495776" y="2800160"/>
                  </a:cubicBezTo>
                  <a:cubicBezTo>
                    <a:pt x="495776" y="2796731"/>
                    <a:pt x="498538" y="2793969"/>
                    <a:pt x="501967" y="2793969"/>
                  </a:cubicBezTo>
                  <a:close/>
                  <a:moveTo>
                    <a:pt x="2913030" y="2793302"/>
                  </a:moveTo>
                  <a:cubicBezTo>
                    <a:pt x="2916459" y="2793302"/>
                    <a:pt x="2919222" y="2796064"/>
                    <a:pt x="2919222" y="2799493"/>
                  </a:cubicBezTo>
                  <a:cubicBezTo>
                    <a:pt x="2919222" y="2802922"/>
                    <a:pt x="2916459" y="2805684"/>
                    <a:pt x="2913030" y="2805684"/>
                  </a:cubicBezTo>
                  <a:cubicBezTo>
                    <a:pt x="2909601" y="2805684"/>
                    <a:pt x="2906839" y="2802922"/>
                    <a:pt x="2906839" y="2799493"/>
                  </a:cubicBezTo>
                  <a:cubicBezTo>
                    <a:pt x="2906839" y="2796064"/>
                    <a:pt x="2909601" y="2793302"/>
                    <a:pt x="2913030" y="2793302"/>
                  </a:cubicBezTo>
                  <a:close/>
                  <a:moveTo>
                    <a:pt x="1907381" y="2792349"/>
                  </a:moveTo>
                  <a:cubicBezTo>
                    <a:pt x="1910810" y="2792349"/>
                    <a:pt x="1913572" y="2795111"/>
                    <a:pt x="1913572" y="2798540"/>
                  </a:cubicBezTo>
                  <a:cubicBezTo>
                    <a:pt x="1913572" y="2801969"/>
                    <a:pt x="1910810" y="2804732"/>
                    <a:pt x="1907381" y="2804732"/>
                  </a:cubicBezTo>
                  <a:cubicBezTo>
                    <a:pt x="1903952" y="2804732"/>
                    <a:pt x="1901190" y="2801969"/>
                    <a:pt x="1901190" y="2798540"/>
                  </a:cubicBezTo>
                  <a:cubicBezTo>
                    <a:pt x="1901190" y="2795111"/>
                    <a:pt x="1903952" y="2792349"/>
                    <a:pt x="1907381" y="2792349"/>
                  </a:cubicBezTo>
                  <a:close/>
                  <a:moveTo>
                    <a:pt x="2852165" y="2791587"/>
                  </a:moveTo>
                  <a:cubicBezTo>
                    <a:pt x="2855594" y="2791587"/>
                    <a:pt x="2858356" y="2794349"/>
                    <a:pt x="2858356" y="2797778"/>
                  </a:cubicBezTo>
                  <a:lnTo>
                    <a:pt x="2855880" y="2800255"/>
                  </a:lnTo>
                  <a:lnTo>
                    <a:pt x="2861595" y="2805970"/>
                  </a:lnTo>
                  <a:lnTo>
                    <a:pt x="2859500" y="2808066"/>
                  </a:lnTo>
                  <a:lnTo>
                    <a:pt x="2864643" y="2813209"/>
                  </a:lnTo>
                  <a:cubicBezTo>
                    <a:pt x="2864643" y="2816638"/>
                    <a:pt x="2861881" y="2819400"/>
                    <a:pt x="2858452" y="2819400"/>
                  </a:cubicBezTo>
                  <a:cubicBezTo>
                    <a:pt x="2855023" y="2819400"/>
                    <a:pt x="2852261" y="2816638"/>
                    <a:pt x="2852261" y="2813209"/>
                  </a:cubicBezTo>
                  <a:lnTo>
                    <a:pt x="2854356" y="2811114"/>
                  </a:lnTo>
                  <a:lnTo>
                    <a:pt x="2849213" y="2805970"/>
                  </a:lnTo>
                  <a:lnTo>
                    <a:pt x="2851689" y="2803494"/>
                  </a:lnTo>
                  <a:lnTo>
                    <a:pt x="2845974" y="2797778"/>
                  </a:lnTo>
                  <a:cubicBezTo>
                    <a:pt x="2845974" y="2794349"/>
                    <a:pt x="2848736" y="2791587"/>
                    <a:pt x="2852165" y="2791587"/>
                  </a:cubicBezTo>
                  <a:close/>
                  <a:moveTo>
                    <a:pt x="2769012" y="2791397"/>
                  </a:moveTo>
                  <a:cubicBezTo>
                    <a:pt x="2772441" y="2791397"/>
                    <a:pt x="2775203" y="2794159"/>
                    <a:pt x="2775203" y="2797588"/>
                  </a:cubicBezTo>
                  <a:cubicBezTo>
                    <a:pt x="2775203" y="2801017"/>
                    <a:pt x="2772441" y="2803780"/>
                    <a:pt x="2769012" y="2803780"/>
                  </a:cubicBezTo>
                  <a:cubicBezTo>
                    <a:pt x="2765583" y="2803780"/>
                    <a:pt x="2762821" y="2801017"/>
                    <a:pt x="2762821" y="2797588"/>
                  </a:cubicBezTo>
                  <a:cubicBezTo>
                    <a:pt x="2762821" y="2794159"/>
                    <a:pt x="2765583" y="2791397"/>
                    <a:pt x="2769012" y="2791397"/>
                  </a:cubicBezTo>
                  <a:close/>
                  <a:moveTo>
                    <a:pt x="736853" y="2790444"/>
                  </a:moveTo>
                  <a:cubicBezTo>
                    <a:pt x="740282" y="2790444"/>
                    <a:pt x="743045" y="2793206"/>
                    <a:pt x="743045" y="2796635"/>
                  </a:cubicBezTo>
                  <a:cubicBezTo>
                    <a:pt x="743045" y="2800064"/>
                    <a:pt x="740282" y="2802826"/>
                    <a:pt x="736853" y="2802826"/>
                  </a:cubicBezTo>
                  <a:cubicBezTo>
                    <a:pt x="733424" y="2802826"/>
                    <a:pt x="730662" y="2800064"/>
                    <a:pt x="730662" y="2796635"/>
                  </a:cubicBezTo>
                  <a:cubicBezTo>
                    <a:pt x="730662" y="2793206"/>
                    <a:pt x="733424" y="2790444"/>
                    <a:pt x="736853" y="2790444"/>
                  </a:cubicBezTo>
                  <a:close/>
                  <a:moveTo>
                    <a:pt x="2730722" y="2790349"/>
                  </a:moveTo>
                  <a:cubicBezTo>
                    <a:pt x="2734151" y="2790349"/>
                    <a:pt x="2736913" y="2793111"/>
                    <a:pt x="2736913" y="2796540"/>
                  </a:cubicBezTo>
                  <a:cubicBezTo>
                    <a:pt x="2736913" y="2799969"/>
                    <a:pt x="2734151" y="2802731"/>
                    <a:pt x="2730722" y="2802731"/>
                  </a:cubicBezTo>
                  <a:cubicBezTo>
                    <a:pt x="2727293" y="2802731"/>
                    <a:pt x="2724531" y="2799969"/>
                    <a:pt x="2724531" y="2796540"/>
                  </a:cubicBezTo>
                  <a:cubicBezTo>
                    <a:pt x="2724531" y="2793111"/>
                    <a:pt x="2727293" y="2790349"/>
                    <a:pt x="2730722" y="2790349"/>
                  </a:cubicBezTo>
                  <a:close/>
                  <a:moveTo>
                    <a:pt x="2800254" y="2789492"/>
                  </a:moveTo>
                  <a:cubicBezTo>
                    <a:pt x="2803683" y="2789492"/>
                    <a:pt x="2806446" y="2792254"/>
                    <a:pt x="2806446" y="2795683"/>
                  </a:cubicBezTo>
                  <a:cubicBezTo>
                    <a:pt x="2806446" y="2799112"/>
                    <a:pt x="2803683" y="2801874"/>
                    <a:pt x="2800254" y="2801874"/>
                  </a:cubicBezTo>
                  <a:cubicBezTo>
                    <a:pt x="2796825" y="2801874"/>
                    <a:pt x="2794063" y="2799112"/>
                    <a:pt x="2794063" y="2795683"/>
                  </a:cubicBezTo>
                  <a:cubicBezTo>
                    <a:pt x="2794063" y="2792254"/>
                    <a:pt x="2796825" y="2789492"/>
                    <a:pt x="2800254" y="2789492"/>
                  </a:cubicBezTo>
                  <a:close/>
                  <a:moveTo>
                    <a:pt x="437863" y="2788063"/>
                  </a:moveTo>
                  <a:cubicBezTo>
                    <a:pt x="441292" y="2788063"/>
                    <a:pt x="444054" y="2790825"/>
                    <a:pt x="444054" y="2794254"/>
                  </a:cubicBezTo>
                  <a:cubicBezTo>
                    <a:pt x="444054" y="2797683"/>
                    <a:pt x="441292" y="2800445"/>
                    <a:pt x="437863" y="2800445"/>
                  </a:cubicBezTo>
                  <a:cubicBezTo>
                    <a:pt x="434434" y="2800445"/>
                    <a:pt x="431672" y="2797683"/>
                    <a:pt x="431672" y="2794254"/>
                  </a:cubicBezTo>
                  <a:cubicBezTo>
                    <a:pt x="431672" y="2790825"/>
                    <a:pt x="434434" y="2788063"/>
                    <a:pt x="437863" y="2788063"/>
                  </a:cubicBezTo>
                  <a:close/>
                  <a:moveTo>
                    <a:pt x="1376552" y="2787872"/>
                  </a:moveTo>
                  <a:cubicBezTo>
                    <a:pt x="1379981" y="2787872"/>
                    <a:pt x="1382744" y="2790634"/>
                    <a:pt x="1382744" y="2794063"/>
                  </a:cubicBezTo>
                  <a:cubicBezTo>
                    <a:pt x="1382744" y="2797492"/>
                    <a:pt x="1379981" y="2800255"/>
                    <a:pt x="1376552" y="2800255"/>
                  </a:cubicBezTo>
                  <a:cubicBezTo>
                    <a:pt x="1373123" y="2800255"/>
                    <a:pt x="1370361" y="2797492"/>
                    <a:pt x="1370361" y="2794063"/>
                  </a:cubicBezTo>
                  <a:cubicBezTo>
                    <a:pt x="1370361" y="2790634"/>
                    <a:pt x="1373123" y="2787872"/>
                    <a:pt x="1376552" y="2787872"/>
                  </a:cubicBezTo>
                  <a:close/>
                  <a:moveTo>
                    <a:pt x="483393" y="2787396"/>
                  </a:moveTo>
                  <a:cubicBezTo>
                    <a:pt x="486822" y="2787396"/>
                    <a:pt x="489585" y="2790158"/>
                    <a:pt x="489585" y="2793587"/>
                  </a:cubicBezTo>
                  <a:cubicBezTo>
                    <a:pt x="489585" y="2797016"/>
                    <a:pt x="486822" y="2799778"/>
                    <a:pt x="483393" y="2799778"/>
                  </a:cubicBezTo>
                  <a:cubicBezTo>
                    <a:pt x="479964" y="2799778"/>
                    <a:pt x="477202" y="2797016"/>
                    <a:pt x="477202" y="2793587"/>
                  </a:cubicBezTo>
                  <a:cubicBezTo>
                    <a:pt x="477202" y="2790158"/>
                    <a:pt x="479964" y="2787396"/>
                    <a:pt x="483393" y="2787396"/>
                  </a:cubicBezTo>
                  <a:close/>
                  <a:moveTo>
                    <a:pt x="2490882" y="2786539"/>
                  </a:moveTo>
                  <a:cubicBezTo>
                    <a:pt x="2494311" y="2786539"/>
                    <a:pt x="2497074" y="2789301"/>
                    <a:pt x="2497074" y="2792730"/>
                  </a:cubicBezTo>
                  <a:cubicBezTo>
                    <a:pt x="2497074" y="2796159"/>
                    <a:pt x="2494311" y="2798921"/>
                    <a:pt x="2490882" y="2798921"/>
                  </a:cubicBezTo>
                  <a:cubicBezTo>
                    <a:pt x="2487453" y="2798921"/>
                    <a:pt x="2484691" y="2796159"/>
                    <a:pt x="2484691" y="2792730"/>
                  </a:cubicBezTo>
                  <a:cubicBezTo>
                    <a:pt x="2484691" y="2789301"/>
                    <a:pt x="2487453" y="2786539"/>
                    <a:pt x="2490882" y="2786539"/>
                  </a:cubicBezTo>
                  <a:close/>
                  <a:moveTo>
                    <a:pt x="2683954" y="2785682"/>
                  </a:moveTo>
                  <a:cubicBezTo>
                    <a:pt x="2687383" y="2785682"/>
                    <a:pt x="2690145" y="2788444"/>
                    <a:pt x="2690145" y="2791873"/>
                  </a:cubicBezTo>
                  <a:cubicBezTo>
                    <a:pt x="2690145" y="2795302"/>
                    <a:pt x="2687383" y="2798064"/>
                    <a:pt x="2683954" y="2798064"/>
                  </a:cubicBezTo>
                  <a:cubicBezTo>
                    <a:pt x="2680525" y="2798064"/>
                    <a:pt x="2677763" y="2795302"/>
                    <a:pt x="2677763" y="2791873"/>
                  </a:cubicBezTo>
                  <a:cubicBezTo>
                    <a:pt x="2677763" y="2788444"/>
                    <a:pt x="2680525" y="2785682"/>
                    <a:pt x="2683954" y="2785682"/>
                  </a:cubicBezTo>
                  <a:close/>
                  <a:moveTo>
                    <a:pt x="2825686" y="2785587"/>
                  </a:moveTo>
                  <a:cubicBezTo>
                    <a:pt x="2829115" y="2785587"/>
                    <a:pt x="2831877" y="2788349"/>
                    <a:pt x="2831877" y="2791778"/>
                  </a:cubicBezTo>
                  <a:cubicBezTo>
                    <a:pt x="2831877" y="2795207"/>
                    <a:pt x="2829115" y="2797969"/>
                    <a:pt x="2825686" y="2797969"/>
                  </a:cubicBezTo>
                  <a:cubicBezTo>
                    <a:pt x="2822257" y="2797969"/>
                    <a:pt x="2819495" y="2795207"/>
                    <a:pt x="2819495" y="2791778"/>
                  </a:cubicBezTo>
                  <a:cubicBezTo>
                    <a:pt x="2819495" y="2788349"/>
                    <a:pt x="2822257" y="2785587"/>
                    <a:pt x="2825686" y="2785587"/>
                  </a:cubicBezTo>
                  <a:close/>
                  <a:moveTo>
                    <a:pt x="2319718" y="2785301"/>
                  </a:moveTo>
                  <a:cubicBezTo>
                    <a:pt x="2323147" y="2785301"/>
                    <a:pt x="2325910" y="2788063"/>
                    <a:pt x="2325910" y="2791492"/>
                  </a:cubicBezTo>
                  <a:cubicBezTo>
                    <a:pt x="2325910" y="2794921"/>
                    <a:pt x="2323147" y="2797683"/>
                    <a:pt x="2319718" y="2797683"/>
                  </a:cubicBezTo>
                  <a:cubicBezTo>
                    <a:pt x="2316289" y="2797683"/>
                    <a:pt x="2313527" y="2794921"/>
                    <a:pt x="2313527" y="2791492"/>
                  </a:cubicBezTo>
                  <a:cubicBezTo>
                    <a:pt x="2313527" y="2788063"/>
                    <a:pt x="2316289" y="2785301"/>
                    <a:pt x="2319718" y="2785301"/>
                  </a:cubicBezTo>
                  <a:close/>
                  <a:moveTo>
                    <a:pt x="2866262" y="2784253"/>
                  </a:moveTo>
                  <a:cubicBezTo>
                    <a:pt x="2869691" y="2784253"/>
                    <a:pt x="2872454" y="2787015"/>
                    <a:pt x="2872454" y="2790444"/>
                  </a:cubicBezTo>
                  <a:lnTo>
                    <a:pt x="2869310" y="2793588"/>
                  </a:lnTo>
                  <a:lnTo>
                    <a:pt x="2874454" y="2798731"/>
                  </a:lnTo>
                  <a:lnTo>
                    <a:pt x="2871835" y="2801351"/>
                  </a:lnTo>
                  <a:lnTo>
                    <a:pt x="2877597" y="2807113"/>
                  </a:lnTo>
                  <a:cubicBezTo>
                    <a:pt x="2877597" y="2810542"/>
                    <a:pt x="2874835" y="2813305"/>
                    <a:pt x="2871406" y="2813305"/>
                  </a:cubicBezTo>
                  <a:cubicBezTo>
                    <a:pt x="2867977" y="2813305"/>
                    <a:pt x="2865215" y="2810542"/>
                    <a:pt x="2865215" y="2807113"/>
                  </a:cubicBezTo>
                  <a:lnTo>
                    <a:pt x="2867834" y="2804494"/>
                  </a:lnTo>
                  <a:lnTo>
                    <a:pt x="2862072" y="2798731"/>
                  </a:lnTo>
                  <a:lnTo>
                    <a:pt x="2865215" y="2795589"/>
                  </a:lnTo>
                  <a:lnTo>
                    <a:pt x="2860071" y="2790444"/>
                  </a:lnTo>
                  <a:cubicBezTo>
                    <a:pt x="2860071" y="2787015"/>
                    <a:pt x="2862833" y="2784253"/>
                    <a:pt x="2866262" y="2784253"/>
                  </a:cubicBezTo>
                  <a:close/>
                  <a:moveTo>
                    <a:pt x="2010441" y="2781681"/>
                  </a:moveTo>
                  <a:cubicBezTo>
                    <a:pt x="2013870" y="2781681"/>
                    <a:pt x="2016633" y="2784443"/>
                    <a:pt x="2016633" y="2787872"/>
                  </a:cubicBezTo>
                  <a:cubicBezTo>
                    <a:pt x="2016633" y="2791301"/>
                    <a:pt x="2013870" y="2794063"/>
                    <a:pt x="2010441" y="2794063"/>
                  </a:cubicBezTo>
                  <a:cubicBezTo>
                    <a:pt x="2007012" y="2794063"/>
                    <a:pt x="2004250" y="2791301"/>
                    <a:pt x="2004250" y="2787872"/>
                  </a:cubicBezTo>
                  <a:cubicBezTo>
                    <a:pt x="2004250" y="2784443"/>
                    <a:pt x="2007012" y="2781681"/>
                    <a:pt x="2010441" y="2781681"/>
                  </a:cubicBezTo>
                  <a:close/>
                  <a:moveTo>
                    <a:pt x="2892742" y="2781586"/>
                  </a:moveTo>
                  <a:cubicBezTo>
                    <a:pt x="2896171" y="2781586"/>
                    <a:pt x="2898934" y="2784348"/>
                    <a:pt x="2898934" y="2787777"/>
                  </a:cubicBezTo>
                  <a:cubicBezTo>
                    <a:pt x="2898934" y="2791206"/>
                    <a:pt x="2896171" y="2793969"/>
                    <a:pt x="2892742" y="2793969"/>
                  </a:cubicBezTo>
                  <a:cubicBezTo>
                    <a:pt x="2889313" y="2793969"/>
                    <a:pt x="2886551" y="2791206"/>
                    <a:pt x="2886551" y="2787777"/>
                  </a:cubicBezTo>
                  <a:cubicBezTo>
                    <a:pt x="2886551" y="2784348"/>
                    <a:pt x="2889313" y="2781586"/>
                    <a:pt x="2892742" y="2781586"/>
                  </a:cubicBezTo>
                  <a:close/>
                  <a:moveTo>
                    <a:pt x="467962" y="2780348"/>
                  </a:moveTo>
                  <a:cubicBezTo>
                    <a:pt x="471391" y="2780348"/>
                    <a:pt x="474153" y="2783110"/>
                    <a:pt x="474153" y="2786539"/>
                  </a:cubicBezTo>
                  <a:lnTo>
                    <a:pt x="468582" y="2792111"/>
                  </a:lnTo>
                  <a:lnTo>
                    <a:pt x="471963" y="2795492"/>
                  </a:lnTo>
                  <a:lnTo>
                    <a:pt x="466724" y="2800732"/>
                  </a:lnTo>
                  <a:lnTo>
                    <a:pt x="469486" y="2803493"/>
                  </a:lnTo>
                  <a:cubicBezTo>
                    <a:pt x="469486" y="2806922"/>
                    <a:pt x="466724" y="2809684"/>
                    <a:pt x="463295" y="2809684"/>
                  </a:cubicBezTo>
                  <a:cubicBezTo>
                    <a:pt x="459866" y="2809684"/>
                    <a:pt x="457104" y="2806922"/>
                    <a:pt x="457104" y="2803493"/>
                  </a:cubicBezTo>
                  <a:lnTo>
                    <a:pt x="462343" y="2798254"/>
                  </a:lnTo>
                  <a:lnTo>
                    <a:pt x="459581" y="2795492"/>
                  </a:lnTo>
                  <a:lnTo>
                    <a:pt x="465153" y="2789921"/>
                  </a:lnTo>
                  <a:lnTo>
                    <a:pt x="461771" y="2786539"/>
                  </a:lnTo>
                  <a:cubicBezTo>
                    <a:pt x="461771" y="2783110"/>
                    <a:pt x="464533" y="2780348"/>
                    <a:pt x="467962" y="2780348"/>
                  </a:cubicBezTo>
                  <a:close/>
                  <a:moveTo>
                    <a:pt x="2846450" y="2780253"/>
                  </a:moveTo>
                  <a:cubicBezTo>
                    <a:pt x="2849879" y="2780253"/>
                    <a:pt x="2852641" y="2783015"/>
                    <a:pt x="2852641" y="2786444"/>
                  </a:cubicBezTo>
                  <a:cubicBezTo>
                    <a:pt x="2852641" y="2789873"/>
                    <a:pt x="2849879" y="2792635"/>
                    <a:pt x="2846450" y="2792635"/>
                  </a:cubicBezTo>
                  <a:cubicBezTo>
                    <a:pt x="2843021" y="2792635"/>
                    <a:pt x="2840259" y="2789873"/>
                    <a:pt x="2840259" y="2786444"/>
                  </a:cubicBezTo>
                  <a:cubicBezTo>
                    <a:pt x="2840259" y="2783015"/>
                    <a:pt x="2843021" y="2780253"/>
                    <a:pt x="2846450" y="2780253"/>
                  </a:cubicBezTo>
                  <a:close/>
                  <a:moveTo>
                    <a:pt x="544353" y="2778729"/>
                  </a:moveTo>
                  <a:cubicBezTo>
                    <a:pt x="547782" y="2778729"/>
                    <a:pt x="550544" y="2781491"/>
                    <a:pt x="550544" y="2784920"/>
                  </a:cubicBezTo>
                  <a:cubicBezTo>
                    <a:pt x="550544" y="2788349"/>
                    <a:pt x="547782" y="2791111"/>
                    <a:pt x="544353" y="2791111"/>
                  </a:cubicBezTo>
                  <a:cubicBezTo>
                    <a:pt x="540924" y="2791111"/>
                    <a:pt x="538162" y="2788349"/>
                    <a:pt x="538162" y="2784920"/>
                  </a:cubicBezTo>
                  <a:cubicBezTo>
                    <a:pt x="538162" y="2781491"/>
                    <a:pt x="540924" y="2778729"/>
                    <a:pt x="544353" y="2778729"/>
                  </a:cubicBezTo>
                  <a:close/>
                  <a:moveTo>
                    <a:pt x="2905410" y="2778538"/>
                  </a:moveTo>
                  <a:cubicBezTo>
                    <a:pt x="2908839" y="2778538"/>
                    <a:pt x="2911601" y="2781300"/>
                    <a:pt x="2911601" y="2784729"/>
                  </a:cubicBezTo>
                  <a:cubicBezTo>
                    <a:pt x="2911601" y="2788158"/>
                    <a:pt x="2908839" y="2790920"/>
                    <a:pt x="2905410" y="2790920"/>
                  </a:cubicBezTo>
                  <a:cubicBezTo>
                    <a:pt x="2901981" y="2790920"/>
                    <a:pt x="2899219" y="2788158"/>
                    <a:pt x="2899219" y="2784729"/>
                  </a:cubicBezTo>
                  <a:cubicBezTo>
                    <a:pt x="2899219" y="2781300"/>
                    <a:pt x="2901981" y="2778538"/>
                    <a:pt x="2905410" y="2778538"/>
                  </a:cubicBezTo>
                  <a:close/>
                  <a:moveTo>
                    <a:pt x="2933509" y="2778062"/>
                  </a:moveTo>
                  <a:cubicBezTo>
                    <a:pt x="2936823" y="2778062"/>
                    <a:pt x="2939509" y="2780749"/>
                    <a:pt x="2939509" y="2784063"/>
                  </a:cubicBezTo>
                  <a:cubicBezTo>
                    <a:pt x="2939509" y="2787377"/>
                    <a:pt x="2936823" y="2790064"/>
                    <a:pt x="2933509" y="2790064"/>
                  </a:cubicBezTo>
                  <a:cubicBezTo>
                    <a:pt x="2930195" y="2790064"/>
                    <a:pt x="2927508" y="2787377"/>
                    <a:pt x="2927508" y="2784063"/>
                  </a:cubicBezTo>
                  <a:cubicBezTo>
                    <a:pt x="2927508" y="2780749"/>
                    <a:pt x="2930195" y="2778062"/>
                    <a:pt x="2933509" y="2778062"/>
                  </a:cubicBezTo>
                  <a:close/>
                  <a:moveTo>
                    <a:pt x="580357" y="2777681"/>
                  </a:moveTo>
                  <a:cubicBezTo>
                    <a:pt x="583786" y="2777681"/>
                    <a:pt x="586549" y="2780443"/>
                    <a:pt x="586549" y="2783872"/>
                  </a:cubicBezTo>
                  <a:cubicBezTo>
                    <a:pt x="586549" y="2787301"/>
                    <a:pt x="583786" y="2790064"/>
                    <a:pt x="580357" y="2790064"/>
                  </a:cubicBezTo>
                  <a:cubicBezTo>
                    <a:pt x="576928" y="2790064"/>
                    <a:pt x="574166" y="2787301"/>
                    <a:pt x="574166" y="2783872"/>
                  </a:cubicBezTo>
                  <a:cubicBezTo>
                    <a:pt x="574166" y="2780443"/>
                    <a:pt x="576928" y="2777681"/>
                    <a:pt x="580357" y="2777681"/>
                  </a:cubicBezTo>
                  <a:close/>
                  <a:moveTo>
                    <a:pt x="2918840" y="2777204"/>
                  </a:moveTo>
                  <a:cubicBezTo>
                    <a:pt x="2922269" y="2777204"/>
                    <a:pt x="2925031" y="2779966"/>
                    <a:pt x="2925031" y="2783395"/>
                  </a:cubicBezTo>
                  <a:cubicBezTo>
                    <a:pt x="2925031" y="2786824"/>
                    <a:pt x="2922269" y="2789586"/>
                    <a:pt x="2918840" y="2789586"/>
                  </a:cubicBezTo>
                  <a:cubicBezTo>
                    <a:pt x="2915411" y="2789586"/>
                    <a:pt x="2912649" y="2786824"/>
                    <a:pt x="2912649" y="2783395"/>
                  </a:cubicBezTo>
                  <a:cubicBezTo>
                    <a:pt x="2912649" y="2779966"/>
                    <a:pt x="2915411" y="2777204"/>
                    <a:pt x="2918840" y="2777204"/>
                  </a:cubicBezTo>
                  <a:close/>
                  <a:moveTo>
                    <a:pt x="515206" y="2777014"/>
                  </a:moveTo>
                  <a:cubicBezTo>
                    <a:pt x="518635" y="2777014"/>
                    <a:pt x="521398" y="2779776"/>
                    <a:pt x="521398" y="2783205"/>
                  </a:cubicBezTo>
                  <a:cubicBezTo>
                    <a:pt x="521398" y="2786634"/>
                    <a:pt x="518635" y="2789396"/>
                    <a:pt x="515206" y="2789396"/>
                  </a:cubicBezTo>
                  <a:cubicBezTo>
                    <a:pt x="511777" y="2789396"/>
                    <a:pt x="509015" y="2786634"/>
                    <a:pt x="509015" y="2783205"/>
                  </a:cubicBezTo>
                  <a:cubicBezTo>
                    <a:pt x="509015" y="2779776"/>
                    <a:pt x="511777" y="2777014"/>
                    <a:pt x="515206" y="2777014"/>
                  </a:cubicBezTo>
                  <a:close/>
                  <a:moveTo>
                    <a:pt x="2627375" y="2776443"/>
                  </a:moveTo>
                  <a:cubicBezTo>
                    <a:pt x="2630804" y="2776443"/>
                    <a:pt x="2633566" y="2779205"/>
                    <a:pt x="2633566" y="2782634"/>
                  </a:cubicBezTo>
                  <a:cubicBezTo>
                    <a:pt x="2633566" y="2786063"/>
                    <a:pt x="2630804" y="2788825"/>
                    <a:pt x="2627375" y="2788825"/>
                  </a:cubicBezTo>
                  <a:cubicBezTo>
                    <a:pt x="2623946" y="2788825"/>
                    <a:pt x="2621184" y="2786063"/>
                    <a:pt x="2621184" y="2782634"/>
                  </a:cubicBezTo>
                  <a:cubicBezTo>
                    <a:pt x="2621184" y="2779205"/>
                    <a:pt x="2623946" y="2776443"/>
                    <a:pt x="2627375" y="2776443"/>
                  </a:cubicBezTo>
                  <a:close/>
                  <a:moveTo>
                    <a:pt x="1274920" y="2775680"/>
                  </a:moveTo>
                  <a:cubicBezTo>
                    <a:pt x="1278349" y="2775680"/>
                    <a:pt x="1281112" y="2778442"/>
                    <a:pt x="1281112" y="2781871"/>
                  </a:cubicBezTo>
                  <a:cubicBezTo>
                    <a:pt x="1281112" y="2785300"/>
                    <a:pt x="1278349" y="2788063"/>
                    <a:pt x="1274920" y="2788063"/>
                  </a:cubicBezTo>
                  <a:cubicBezTo>
                    <a:pt x="1271491" y="2788063"/>
                    <a:pt x="1268729" y="2785300"/>
                    <a:pt x="1268729" y="2781871"/>
                  </a:cubicBezTo>
                  <a:cubicBezTo>
                    <a:pt x="1268729" y="2778442"/>
                    <a:pt x="1271491" y="2775680"/>
                    <a:pt x="1274920" y="2775680"/>
                  </a:cubicBezTo>
                  <a:close/>
                  <a:moveTo>
                    <a:pt x="973740" y="2775395"/>
                  </a:moveTo>
                  <a:cubicBezTo>
                    <a:pt x="977169" y="2775395"/>
                    <a:pt x="979931" y="2778157"/>
                    <a:pt x="979931" y="2781586"/>
                  </a:cubicBezTo>
                  <a:cubicBezTo>
                    <a:pt x="979931" y="2785015"/>
                    <a:pt x="977169" y="2787778"/>
                    <a:pt x="973740" y="2787778"/>
                  </a:cubicBezTo>
                  <a:cubicBezTo>
                    <a:pt x="970311" y="2787778"/>
                    <a:pt x="967549" y="2785015"/>
                    <a:pt x="967549" y="2781586"/>
                  </a:cubicBezTo>
                  <a:cubicBezTo>
                    <a:pt x="967549" y="2778157"/>
                    <a:pt x="970311" y="2775395"/>
                    <a:pt x="973740" y="2775395"/>
                  </a:cubicBezTo>
                  <a:close/>
                  <a:moveTo>
                    <a:pt x="808767" y="2775109"/>
                  </a:moveTo>
                  <a:cubicBezTo>
                    <a:pt x="812196" y="2775109"/>
                    <a:pt x="814958" y="2777871"/>
                    <a:pt x="814958" y="2781300"/>
                  </a:cubicBezTo>
                  <a:cubicBezTo>
                    <a:pt x="814958" y="2784729"/>
                    <a:pt x="812196" y="2787492"/>
                    <a:pt x="808767" y="2787492"/>
                  </a:cubicBezTo>
                  <a:cubicBezTo>
                    <a:pt x="805338" y="2787492"/>
                    <a:pt x="802576" y="2784729"/>
                    <a:pt x="802576" y="2781300"/>
                  </a:cubicBezTo>
                  <a:cubicBezTo>
                    <a:pt x="802576" y="2777871"/>
                    <a:pt x="805338" y="2775109"/>
                    <a:pt x="808767" y="2775109"/>
                  </a:cubicBezTo>
                  <a:close/>
                  <a:moveTo>
                    <a:pt x="2863405" y="2773966"/>
                  </a:moveTo>
                  <a:cubicBezTo>
                    <a:pt x="2866834" y="2773966"/>
                    <a:pt x="2869596" y="2776728"/>
                    <a:pt x="2869596" y="2780157"/>
                  </a:cubicBezTo>
                  <a:cubicBezTo>
                    <a:pt x="2869596" y="2783586"/>
                    <a:pt x="2866834" y="2786348"/>
                    <a:pt x="2863405" y="2786348"/>
                  </a:cubicBezTo>
                  <a:cubicBezTo>
                    <a:pt x="2859976" y="2786348"/>
                    <a:pt x="2857214" y="2783586"/>
                    <a:pt x="2857214" y="2780157"/>
                  </a:cubicBezTo>
                  <a:cubicBezTo>
                    <a:pt x="2857214" y="2776728"/>
                    <a:pt x="2859976" y="2773966"/>
                    <a:pt x="2863405" y="2773966"/>
                  </a:cubicBezTo>
                  <a:close/>
                  <a:moveTo>
                    <a:pt x="491489" y="2773395"/>
                  </a:moveTo>
                  <a:cubicBezTo>
                    <a:pt x="494918" y="2773395"/>
                    <a:pt x="497680" y="2776157"/>
                    <a:pt x="497680" y="2779586"/>
                  </a:cubicBezTo>
                  <a:cubicBezTo>
                    <a:pt x="497680" y="2783015"/>
                    <a:pt x="494918" y="2785777"/>
                    <a:pt x="491489" y="2785777"/>
                  </a:cubicBezTo>
                  <a:cubicBezTo>
                    <a:pt x="488060" y="2785777"/>
                    <a:pt x="485298" y="2783015"/>
                    <a:pt x="485298" y="2779586"/>
                  </a:cubicBezTo>
                  <a:cubicBezTo>
                    <a:pt x="485298" y="2776157"/>
                    <a:pt x="488060" y="2773395"/>
                    <a:pt x="491489" y="2773395"/>
                  </a:cubicBezTo>
                  <a:close/>
                  <a:moveTo>
                    <a:pt x="454723" y="2773395"/>
                  </a:moveTo>
                  <a:cubicBezTo>
                    <a:pt x="458152" y="2773395"/>
                    <a:pt x="460914" y="2776157"/>
                    <a:pt x="460914" y="2779586"/>
                  </a:cubicBezTo>
                  <a:lnTo>
                    <a:pt x="455723" y="2784777"/>
                  </a:lnTo>
                  <a:lnTo>
                    <a:pt x="459675" y="2788729"/>
                  </a:lnTo>
                  <a:lnTo>
                    <a:pt x="453627" y="2794778"/>
                  </a:lnTo>
                  <a:lnTo>
                    <a:pt x="456914" y="2798064"/>
                  </a:lnTo>
                  <a:cubicBezTo>
                    <a:pt x="456914" y="2801493"/>
                    <a:pt x="454151" y="2804255"/>
                    <a:pt x="450722" y="2804255"/>
                  </a:cubicBezTo>
                  <a:cubicBezTo>
                    <a:pt x="447293" y="2804255"/>
                    <a:pt x="444531" y="2801493"/>
                    <a:pt x="444531" y="2798064"/>
                  </a:cubicBezTo>
                  <a:lnTo>
                    <a:pt x="450579" y="2792016"/>
                  </a:lnTo>
                  <a:lnTo>
                    <a:pt x="447293" y="2788729"/>
                  </a:lnTo>
                  <a:lnTo>
                    <a:pt x="452484" y="2783538"/>
                  </a:lnTo>
                  <a:lnTo>
                    <a:pt x="448532" y="2779586"/>
                  </a:lnTo>
                  <a:cubicBezTo>
                    <a:pt x="448532" y="2776157"/>
                    <a:pt x="451294" y="2773395"/>
                    <a:pt x="454723" y="2773395"/>
                  </a:cubicBezTo>
                  <a:close/>
                  <a:moveTo>
                    <a:pt x="624363" y="2773109"/>
                  </a:moveTo>
                  <a:cubicBezTo>
                    <a:pt x="627792" y="2773109"/>
                    <a:pt x="630554" y="2775871"/>
                    <a:pt x="630554" y="2779300"/>
                  </a:cubicBezTo>
                  <a:cubicBezTo>
                    <a:pt x="630554" y="2782729"/>
                    <a:pt x="627792" y="2785491"/>
                    <a:pt x="624363" y="2785491"/>
                  </a:cubicBezTo>
                  <a:cubicBezTo>
                    <a:pt x="620934" y="2785491"/>
                    <a:pt x="618172" y="2782729"/>
                    <a:pt x="618172" y="2779300"/>
                  </a:cubicBezTo>
                  <a:cubicBezTo>
                    <a:pt x="618172" y="2775871"/>
                    <a:pt x="620934" y="2773109"/>
                    <a:pt x="624363" y="2773109"/>
                  </a:cubicBezTo>
                  <a:close/>
                  <a:moveTo>
                    <a:pt x="429767" y="2772823"/>
                  </a:moveTo>
                  <a:cubicBezTo>
                    <a:pt x="433196" y="2772823"/>
                    <a:pt x="435958" y="2775585"/>
                    <a:pt x="435958" y="2779014"/>
                  </a:cubicBezTo>
                  <a:cubicBezTo>
                    <a:pt x="435958" y="2782443"/>
                    <a:pt x="433196" y="2785205"/>
                    <a:pt x="429767" y="2785205"/>
                  </a:cubicBezTo>
                  <a:cubicBezTo>
                    <a:pt x="426338" y="2785205"/>
                    <a:pt x="423576" y="2782443"/>
                    <a:pt x="423576" y="2779014"/>
                  </a:cubicBezTo>
                  <a:cubicBezTo>
                    <a:pt x="423576" y="2775585"/>
                    <a:pt x="426338" y="2772823"/>
                    <a:pt x="429767" y="2772823"/>
                  </a:cubicBezTo>
                  <a:close/>
                  <a:moveTo>
                    <a:pt x="417385" y="2771394"/>
                  </a:moveTo>
                  <a:cubicBezTo>
                    <a:pt x="420242" y="2771394"/>
                    <a:pt x="422528" y="2773680"/>
                    <a:pt x="422528" y="2776537"/>
                  </a:cubicBezTo>
                  <a:cubicBezTo>
                    <a:pt x="422528" y="2779395"/>
                    <a:pt x="420242" y="2781681"/>
                    <a:pt x="417385" y="2781681"/>
                  </a:cubicBezTo>
                  <a:cubicBezTo>
                    <a:pt x="414527" y="2781681"/>
                    <a:pt x="412241" y="2779395"/>
                    <a:pt x="412241" y="2776537"/>
                  </a:cubicBezTo>
                  <a:cubicBezTo>
                    <a:pt x="412241" y="2773680"/>
                    <a:pt x="414527" y="2771394"/>
                    <a:pt x="417385" y="2771394"/>
                  </a:cubicBezTo>
                  <a:close/>
                  <a:moveTo>
                    <a:pt x="472249" y="2768346"/>
                  </a:moveTo>
                  <a:cubicBezTo>
                    <a:pt x="475678" y="2768346"/>
                    <a:pt x="478440" y="2771108"/>
                    <a:pt x="478440" y="2774537"/>
                  </a:cubicBezTo>
                  <a:cubicBezTo>
                    <a:pt x="478440" y="2777966"/>
                    <a:pt x="475678" y="2780728"/>
                    <a:pt x="472249" y="2780728"/>
                  </a:cubicBezTo>
                  <a:cubicBezTo>
                    <a:pt x="468820" y="2780728"/>
                    <a:pt x="466058" y="2777966"/>
                    <a:pt x="466058" y="2774537"/>
                  </a:cubicBezTo>
                  <a:cubicBezTo>
                    <a:pt x="466058" y="2771108"/>
                    <a:pt x="468820" y="2768346"/>
                    <a:pt x="472249" y="2768346"/>
                  </a:cubicBezTo>
                  <a:close/>
                  <a:moveTo>
                    <a:pt x="2110263" y="2767870"/>
                  </a:moveTo>
                  <a:cubicBezTo>
                    <a:pt x="2113692" y="2767870"/>
                    <a:pt x="2116455" y="2770632"/>
                    <a:pt x="2116455" y="2774061"/>
                  </a:cubicBezTo>
                  <a:cubicBezTo>
                    <a:pt x="2116455" y="2777490"/>
                    <a:pt x="2113692" y="2780253"/>
                    <a:pt x="2110263" y="2780253"/>
                  </a:cubicBezTo>
                  <a:cubicBezTo>
                    <a:pt x="2106834" y="2780253"/>
                    <a:pt x="2104072" y="2777490"/>
                    <a:pt x="2104072" y="2774061"/>
                  </a:cubicBezTo>
                  <a:cubicBezTo>
                    <a:pt x="2104072" y="2770632"/>
                    <a:pt x="2106834" y="2767870"/>
                    <a:pt x="2110263" y="2767870"/>
                  </a:cubicBezTo>
                  <a:close/>
                  <a:moveTo>
                    <a:pt x="2953702" y="2767679"/>
                  </a:moveTo>
                  <a:cubicBezTo>
                    <a:pt x="2954559" y="2767679"/>
                    <a:pt x="2955226" y="2768346"/>
                    <a:pt x="2955226" y="2769203"/>
                  </a:cubicBezTo>
                  <a:cubicBezTo>
                    <a:pt x="2955226" y="2770060"/>
                    <a:pt x="2954559" y="2770727"/>
                    <a:pt x="2953702" y="2770727"/>
                  </a:cubicBezTo>
                  <a:cubicBezTo>
                    <a:pt x="2952845" y="2770727"/>
                    <a:pt x="2952178" y="2770060"/>
                    <a:pt x="2952178" y="2769203"/>
                  </a:cubicBezTo>
                  <a:cubicBezTo>
                    <a:pt x="2952178" y="2768346"/>
                    <a:pt x="2952845" y="2767679"/>
                    <a:pt x="2953702" y="2767679"/>
                  </a:cubicBezTo>
                  <a:close/>
                  <a:moveTo>
                    <a:pt x="2877597" y="2767489"/>
                  </a:moveTo>
                  <a:cubicBezTo>
                    <a:pt x="2881026" y="2767489"/>
                    <a:pt x="2883789" y="2770251"/>
                    <a:pt x="2883789" y="2773680"/>
                  </a:cubicBezTo>
                  <a:lnTo>
                    <a:pt x="2879549" y="2777919"/>
                  </a:lnTo>
                  <a:lnTo>
                    <a:pt x="2885027" y="2783396"/>
                  </a:lnTo>
                  <a:lnTo>
                    <a:pt x="2881312" y="2787110"/>
                  </a:lnTo>
                  <a:lnTo>
                    <a:pt x="2886742" y="2792539"/>
                  </a:lnTo>
                  <a:cubicBezTo>
                    <a:pt x="2886742" y="2795968"/>
                    <a:pt x="2883979" y="2798731"/>
                    <a:pt x="2880550" y="2798731"/>
                  </a:cubicBezTo>
                  <a:cubicBezTo>
                    <a:pt x="2877121" y="2798731"/>
                    <a:pt x="2874359" y="2795968"/>
                    <a:pt x="2874359" y="2792539"/>
                  </a:cubicBezTo>
                  <a:lnTo>
                    <a:pt x="2878073" y="2788825"/>
                  </a:lnTo>
                  <a:lnTo>
                    <a:pt x="2872644" y="2783396"/>
                  </a:lnTo>
                  <a:lnTo>
                    <a:pt x="2876883" y="2779157"/>
                  </a:lnTo>
                  <a:lnTo>
                    <a:pt x="2871406" y="2773680"/>
                  </a:lnTo>
                  <a:cubicBezTo>
                    <a:pt x="2871406" y="2770251"/>
                    <a:pt x="2874168" y="2767489"/>
                    <a:pt x="2877597" y="2767489"/>
                  </a:cubicBezTo>
                  <a:close/>
                  <a:moveTo>
                    <a:pt x="2808541" y="2764251"/>
                  </a:moveTo>
                  <a:cubicBezTo>
                    <a:pt x="2811970" y="2764251"/>
                    <a:pt x="2814733" y="2767013"/>
                    <a:pt x="2814733" y="2770442"/>
                  </a:cubicBezTo>
                  <a:cubicBezTo>
                    <a:pt x="2814733" y="2773871"/>
                    <a:pt x="2811970" y="2776633"/>
                    <a:pt x="2808541" y="2776633"/>
                  </a:cubicBezTo>
                  <a:cubicBezTo>
                    <a:pt x="2805112" y="2776633"/>
                    <a:pt x="2802350" y="2773871"/>
                    <a:pt x="2802350" y="2770442"/>
                  </a:cubicBezTo>
                  <a:cubicBezTo>
                    <a:pt x="2802350" y="2767013"/>
                    <a:pt x="2805112" y="2764251"/>
                    <a:pt x="2808541" y="2764251"/>
                  </a:cubicBezTo>
                  <a:close/>
                  <a:moveTo>
                    <a:pt x="677893" y="2764155"/>
                  </a:moveTo>
                  <a:cubicBezTo>
                    <a:pt x="681322" y="2764155"/>
                    <a:pt x="684085" y="2766917"/>
                    <a:pt x="684085" y="2770346"/>
                  </a:cubicBezTo>
                  <a:cubicBezTo>
                    <a:pt x="684085" y="2773775"/>
                    <a:pt x="681322" y="2776537"/>
                    <a:pt x="677893" y="2776537"/>
                  </a:cubicBezTo>
                  <a:cubicBezTo>
                    <a:pt x="674464" y="2776537"/>
                    <a:pt x="671702" y="2773775"/>
                    <a:pt x="671702" y="2770346"/>
                  </a:cubicBezTo>
                  <a:cubicBezTo>
                    <a:pt x="671702" y="2766917"/>
                    <a:pt x="674464" y="2764155"/>
                    <a:pt x="677893" y="2764155"/>
                  </a:cubicBezTo>
                  <a:close/>
                  <a:moveTo>
                    <a:pt x="2401633" y="2763488"/>
                  </a:moveTo>
                  <a:cubicBezTo>
                    <a:pt x="2405062" y="2763488"/>
                    <a:pt x="2407824" y="2766250"/>
                    <a:pt x="2407824" y="2769679"/>
                  </a:cubicBezTo>
                  <a:cubicBezTo>
                    <a:pt x="2407824" y="2773108"/>
                    <a:pt x="2405062" y="2775871"/>
                    <a:pt x="2401633" y="2775871"/>
                  </a:cubicBezTo>
                  <a:cubicBezTo>
                    <a:pt x="2398204" y="2775871"/>
                    <a:pt x="2395442" y="2773108"/>
                    <a:pt x="2395442" y="2769679"/>
                  </a:cubicBezTo>
                  <a:cubicBezTo>
                    <a:pt x="2395442" y="2766250"/>
                    <a:pt x="2398204" y="2763488"/>
                    <a:pt x="2401633" y="2763488"/>
                  </a:cubicBezTo>
                  <a:close/>
                  <a:moveTo>
                    <a:pt x="2775203" y="2763107"/>
                  </a:moveTo>
                  <a:cubicBezTo>
                    <a:pt x="2778632" y="2763107"/>
                    <a:pt x="2781395" y="2765869"/>
                    <a:pt x="2781395" y="2769298"/>
                  </a:cubicBezTo>
                  <a:cubicBezTo>
                    <a:pt x="2781395" y="2772727"/>
                    <a:pt x="2778632" y="2775490"/>
                    <a:pt x="2775203" y="2775490"/>
                  </a:cubicBezTo>
                  <a:cubicBezTo>
                    <a:pt x="2771774" y="2775490"/>
                    <a:pt x="2769012" y="2772727"/>
                    <a:pt x="2769012" y="2769298"/>
                  </a:cubicBezTo>
                  <a:cubicBezTo>
                    <a:pt x="2769012" y="2765869"/>
                    <a:pt x="2771774" y="2763107"/>
                    <a:pt x="2775203" y="2763107"/>
                  </a:cubicBezTo>
                  <a:close/>
                  <a:moveTo>
                    <a:pt x="2913316" y="2762822"/>
                  </a:moveTo>
                  <a:cubicBezTo>
                    <a:pt x="2916745" y="2762822"/>
                    <a:pt x="2919508" y="2765584"/>
                    <a:pt x="2919508" y="2769013"/>
                  </a:cubicBezTo>
                  <a:cubicBezTo>
                    <a:pt x="2919508" y="2772442"/>
                    <a:pt x="2916745" y="2775205"/>
                    <a:pt x="2913316" y="2775205"/>
                  </a:cubicBezTo>
                  <a:cubicBezTo>
                    <a:pt x="2909887" y="2775205"/>
                    <a:pt x="2907125" y="2772442"/>
                    <a:pt x="2907125" y="2769013"/>
                  </a:cubicBezTo>
                  <a:cubicBezTo>
                    <a:pt x="2907125" y="2765584"/>
                    <a:pt x="2909887" y="2762822"/>
                    <a:pt x="2913316" y="2762822"/>
                  </a:cubicBezTo>
                  <a:close/>
                  <a:moveTo>
                    <a:pt x="2835497" y="2762727"/>
                  </a:moveTo>
                  <a:cubicBezTo>
                    <a:pt x="2838926" y="2762727"/>
                    <a:pt x="2841688" y="2765489"/>
                    <a:pt x="2841688" y="2768918"/>
                  </a:cubicBezTo>
                  <a:cubicBezTo>
                    <a:pt x="2841688" y="2772347"/>
                    <a:pt x="2838926" y="2775109"/>
                    <a:pt x="2835497" y="2775109"/>
                  </a:cubicBezTo>
                  <a:cubicBezTo>
                    <a:pt x="2832068" y="2775109"/>
                    <a:pt x="2829306" y="2772347"/>
                    <a:pt x="2829306" y="2768918"/>
                  </a:cubicBezTo>
                  <a:cubicBezTo>
                    <a:pt x="2829306" y="2765489"/>
                    <a:pt x="2832068" y="2762727"/>
                    <a:pt x="2835497" y="2762727"/>
                  </a:cubicBezTo>
                  <a:close/>
                  <a:moveTo>
                    <a:pt x="456437" y="2762536"/>
                  </a:moveTo>
                  <a:cubicBezTo>
                    <a:pt x="459866" y="2762536"/>
                    <a:pt x="462628" y="2765298"/>
                    <a:pt x="462628" y="2768727"/>
                  </a:cubicBezTo>
                  <a:cubicBezTo>
                    <a:pt x="462628" y="2772156"/>
                    <a:pt x="459866" y="2774919"/>
                    <a:pt x="456437" y="2774919"/>
                  </a:cubicBezTo>
                  <a:cubicBezTo>
                    <a:pt x="453008" y="2774919"/>
                    <a:pt x="450246" y="2772156"/>
                    <a:pt x="450246" y="2768727"/>
                  </a:cubicBezTo>
                  <a:cubicBezTo>
                    <a:pt x="450246" y="2765298"/>
                    <a:pt x="453008" y="2762536"/>
                    <a:pt x="456437" y="2762536"/>
                  </a:cubicBezTo>
                  <a:close/>
                  <a:moveTo>
                    <a:pt x="2559557" y="2761679"/>
                  </a:moveTo>
                  <a:cubicBezTo>
                    <a:pt x="2562986" y="2761679"/>
                    <a:pt x="2565748" y="2764441"/>
                    <a:pt x="2565748" y="2767870"/>
                  </a:cubicBezTo>
                  <a:cubicBezTo>
                    <a:pt x="2565748" y="2771299"/>
                    <a:pt x="2562986" y="2774062"/>
                    <a:pt x="2559557" y="2774062"/>
                  </a:cubicBezTo>
                  <a:cubicBezTo>
                    <a:pt x="2556128" y="2774062"/>
                    <a:pt x="2553366" y="2771299"/>
                    <a:pt x="2553366" y="2767870"/>
                  </a:cubicBezTo>
                  <a:cubicBezTo>
                    <a:pt x="2553366" y="2764441"/>
                    <a:pt x="2556128" y="2761679"/>
                    <a:pt x="2559557" y="2761679"/>
                  </a:cubicBezTo>
                  <a:close/>
                  <a:moveTo>
                    <a:pt x="2938938" y="2761107"/>
                  </a:moveTo>
                  <a:cubicBezTo>
                    <a:pt x="2942367" y="2761107"/>
                    <a:pt x="2945130" y="2763869"/>
                    <a:pt x="2945130" y="2767298"/>
                  </a:cubicBezTo>
                  <a:cubicBezTo>
                    <a:pt x="2945130" y="2770727"/>
                    <a:pt x="2942367" y="2773490"/>
                    <a:pt x="2938938" y="2773490"/>
                  </a:cubicBezTo>
                  <a:cubicBezTo>
                    <a:pt x="2935509" y="2773490"/>
                    <a:pt x="2932747" y="2770727"/>
                    <a:pt x="2932747" y="2767298"/>
                  </a:cubicBezTo>
                  <a:cubicBezTo>
                    <a:pt x="2932747" y="2763869"/>
                    <a:pt x="2935509" y="2761107"/>
                    <a:pt x="2938938" y="2761107"/>
                  </a:cubicBezTo>
                  <a:close/>
                  <a:moveTo>
                    <a:pt x="2925603" y="2761107"/>
                  </a:moveTo>
                  <a:cubicBezTo>
                    <a:pt x="2929032" y="2761107"/>
                    <a:pt x="2931794" y="2763869"/>
                    <a:pt x="2931794" y="2767298"/>
                  </a:cubicBezTo>
                  <a:cubicBezTo>
                    <a:pt x="2931794" y="2770727"/>
                    <a:pt x="2929032" y="2773490"/>
                    <a:pt x="2925603" y="2773490"/>
                  </a:cubicBezTo>
                  <a:cubicBezTo>
                    <a:pt x="2922174" y="2773490"/>
                    <a:pt x="2919412" y="2770727"/>
                    <a:pt x="2919412" y="2767298"/>
                  </a:cubicBezTo>
                  <a:cubicBezTo>
                    <a:pt x="2919412" y="2763869"/>
                    <a:pt x="2922174" y="2761107"/>
                    <a:pt x="2925603" y="2761107"/>
                  </a:cubicBezTo>
                  <a:close/>
                  <a:moveTo>
                    <a:pt x="1176908" y="2760440"/>
                  </a:moveTo>
                  <a:cubicBezTo>
                    <a:pt x="1180337" y="2760440"/>
                    <a:pt x="1183099" y="2763202"/>
                    <a:pt x="1183099" y="2766631"/>
                  </a:cubicBezTo>
                  <a:cubicBezTo>
                    <a:pt x="1183099" y="2770060"/>
                    <a:pt x="1180337" y="2772823"/>
                    <a:pt x="1176908" y="2772823"/>
                  </a:cubicBezTo>
                  <a:cubicBezTo>
                    <a:pt x="1173479" y="2772823"/>
                    <a:pt x="1170717" y="2770060"/>
                    <a:pt x="1170717" y="2766631"/>
                  </a:cubicBezTo>
                  <a:cubicBezTo>
                    <a:pt x="1170717" y="2763202"/>
                    <a:pt x="1173479" y="2760440"/>
                    <a:pt x="1176908" y="2760440"/>
                  </a:cubicBezTo>
                  <a:close/>
                  <a:moveTo>
                    <a:pt x="2857309" y="2759393"/>
                  </a:moveTo>
                  <a:cubicBezTo>
                    <a:pt x="2860738" y="2759393"/>
                    <a:pt x="2863501" y="2762155"/>
                    <a:pt x="2863501" y="2765584"/>
                  </a:cubicBezTo>
                  <a:cubicBezTo>
                    <a:pt x="2863501" y="2769013"/>
                    <a:pt x="2860738" y="2771775"/>
                    <a:pt x="2857309" y="2771775"/>
                  </a:cubicBezTo>
                  <a:cubicBezTo>
                    <a:pt x="2853880" y="2771775"/>
                    <a:pt x="2851118" y="2769013"/>
                    <a:pt x="2851118" y="2765584"/>
                  </a:cubicBezTo>
                  <a:cubicBezTo>
                    <a:pt x="2851118" y="2762155"/>
                    <a:pt x="2853880" y="2759393"/>
                    <a:pt x="2857309" y="2759393"/>
                  </a:cubicBezTo>
                  <a:close/>
                  <a:moveTo>
                    <a:pt x="397383" y="2758917"/>
                  </a:moveTo>
                  <a:cubicBezTo>
                    <a:pt x="397593" y="2758917"/>
                    <a:pt x="397764" y="2759087"/>
                    <a:pt x="397764" y="2759298"/>
                  </a:cubicBezTo>
                  <a:cubicBezTo>
                    <a:pt x="397764" y="2759508"/>
                    <a:pt x="397593" y="2759679"/>
                    <a:pt x="397383" y="2759679"/>
                  </a:cubicBezTo>
                  <a:cubicBezTo>
                    <a:pt x="397173" y="2759679"/>
                    <a:pt x="397002" y="2759508"/>
                    <a:pt x="397002" y="2759298"/>
                  </a:cubicBezTo>
                  <a:cubicBezTo>
                    <a:pt x="397002" y="2759087"/>
                    <a:pt x="397173" y="2758917"/>
                    <a:pt x="397383" y="2758917"/>
                  </a:cubicBezTo>
                  <a:close/>
                  <a:moveTo>
                    <a:pt x="2734150" y="2758631"/>
                  </a:moveTo>
                  <a:cubicBezTo>
                    <a:pt x="2737579" y="2758631"/>
                    <a:pt x="2740342" y="2761393"/>
                    <a:pt x="2740342" y="2764822"/>
                  </a:cubicBezTo>
                  <a:cubicBezTo>
                    <a:pt x="2740342" y="2768251"/>
                    <a:pt x="2737579" y="2771014"/>
                    <a:pt x="2734150" y="2771014"/>
                  </a:cubicBezTo>
                  <a:cubicBezTo>
                    <a:pt x="2730721" y="2771014"/>
                    <a:pt x="2727959" y="2768251"/>
                    <a:pt x="2727959" y="2764822"/>
                  </a:cubicBezTo>
                  <a:cubicBezTo>
                    <a:pt x="2727959" y="2761393"/>
                    <a:pt x="2730721" y="2758631"/>
                    <a:pt x="2734150" y="2758631"/>
                  </a:cubicBezTo>
                  <a:close/>
                  <a:moveTo>
                    <a:pt x="443293" y="2756440"/>
                  </a:moveTo>
                  <a:cubicBezTo>
                    <a:pt x="446722" y="2756440"/>
                    <a:pt x="449484" y="2759202"/>
                    <a:pt x="449484" y="2762631"/>
                  </a:cubicBezTo>
                  <a:lnTo>
                    <a:pt x="444007" y="2768108"/>
                  </a:lnTo>
                  <a:lnTo>
                    <a:pt x="449104" y="2773204"/>
                  </a:lnTo>
                  <a:lnTo>
                    <a:pt x="443484" y="2778824"/>
                  </a:lnTo>
                  <a:lnTo>
                    <a:pt x="447865" y="2783205"/>
                  </a:lnTo>
                  <a:cubicBezTo>
                    <a:pt x="447865" y="2786634"/>
                    <a:pt x="445103" y="2789396"/>
                    <a:pt x="441674" y="2789396"/>
                  </a:cubicBezTo>
                  <a:cubicBezTo>
                    <a:pt x="438245" y="2789396"/>
                    <a:pt x="435483" y="2786634"/>
                    <a:pt x="435483" y="2783205"/>
                  </a:cubicBezTo>
                  <a:lnTo>
                    <a:pt x="441102" y="2777586"/>
                  </a:lnTo>
                  <a:lnTo>
                    <a:pt x="436721" y="2773204"/>
                  </a:lnTo>
                  <a:lnTo>
                    <a:pt x="442198" y="2767727"/>
                  </a:lnTo>
                  <a:lnTo>
                    <a:pt x="437102" y="2762631"/>
                  </a:lnTo>
                  <a:cubicBezTo>
                    <a:pt x="437102" y="2759202"/>
                    <a:pt x="439864" y="2756440"/>
                    <a:pt x="443293" y="2756440"/>
                  </a:cubicBezTo>
                  <a:close/>
                  <a:moveTo>
                    <a:pt x="2874930" y="2754726"/>
                  </a:moveTo>
                  <a:cubicBezTo>
                    <a:pt x="2878359" y="2754726"/>
                    <a:pt x="2881122" y="2757488"/>
                    <a:pt x="2881122" y="2760917"/>
                  </a:cubicBezTo>
                  <a:cubicBezTo>
                    <a:pt x="2881122" y="2764346"/>
                    <a:pt x="2878359" y="2767108"/>
                    <a:pt x="2874930" y="2767108"/>
                  </a:cubicBezTo>
                  <a:cubicBezTo>
                    <a:pt x="2871501" y="2767108"/>
                    <a:pt x="2868739" y="2764346"/>
                    <a:pt x="2868739" y="2760917"/>
                  </a:cubicBezTo>
                  <a:cubicBezTo>
                    <a:pt x="2868739" y="2757488"/>
                    <a:pt x="2871501" y="2754726"/>
                    <a:pt x="2874930" y="2754726"/>
                  </a:cubicBezTo>
                  <a:close/>
                  <a:moveTo>
                    <a:pt x="409574" y="2754345"/>
                  </a:moveTo>
                  <a:cubicBezTo>
                    <a:pt x="413003" y="2754345"/>
                    <a:pt x="415766" y="2757107"/>
                    <a:pt x="415766" y="2760536"/>
                  </a:cubicBezTo>
                  <a:cubicBezTo>
                    <a:pt x="415766" y="2763965"/>
                    <a:pt x="413003" y="2766727"/>
                    <a:pt x="409574" y="2766727"/>
                  </a:cubicBezTo>
                  <a:cubicBezTo>
                    <a:pt x="406145" y="2766727"/>
                    <a:pt x="403383" y="2763965"/>
                    <a:pt x="403383" y="2760536"/>
                  </a:cubicBezTo>
                  <a:cubicBezTo>
                    <a:pt x="403383" y="2757107"/>
                    <a:pt x="406145" y="2754345"/>
                    <a:pt x="409574" y="2754345"/>
                  </a:cubicBezTo>
                  <a:close/>
                  <a:moveTo>
                    <a:pt x="894111" y="2752821"/>
                  </a:moveTo>
                  <a:cubicBezTo>
                    <a:pt x="897540" y="2752821"/>
                    <a:pt x="900302" y="2755583"/>
                    <a:pt x="900302" y="2759012"/>
                  </a:cubicBezTo>
                  <a:cubicBezTo>
                    <a:pt x="900302" y="2762441"/>
                    <a:pt x="897540" y="2765203"/>
                    <a:pt x="894111" y="2765203"/>
                  </a:cubicBezTo>
                  <a:cubicBezTo>
                    <a:pt x="890682" y="2765203"/>
                    <a:pt x="887920" y="2762441"/>
                    <a:pt x="887920" y="2759012"/>
                  </a:cubicBezTo>
                  <a:cubicBezTo>
                    <a:pt x="887920" y="2755583"/>
                    <a:pt x="890682" y="2752821"/>
                    <a:pt x="894111" y="2752821"/>
                  </a:cubicBezTo>
                  <a:close/>
                  <a:moveTo>
                    <a:pt x="506253" y="2751678"/>
                  </a:moveTo>
                  <a:cubicBezTo>
                    <a:pt x="509682" y="2751678"/>
                    <a:pt x="512444" y="2754440"/>
                    <a:pt x="512444" y="2757869"/>
                  </a:cubicBezTo>
                  <a:cubicBezTo>
                    <a:pt x="512444" y="2761298"/>
                    <a:pt x="509682" y="2764060"/>
                    <a:pt x="506253" y="2764060"/>
                  </a:cubicBezTo>
                  <a:cubicBezTo>
                    <a:pt x="502824" y="2764060"/>
                    <a:pt x="500062" y="2761298"/>
                    <a:pt x="500062" y="2757869"/>
                  </a:cubicBezTo>
                  <a:cubicBezTo>
                    <a:pt x="500062" y="2754440"/>
                    <a:pt x="502824" y="2751678"/>
                    <a:pt x="506253" y="2751678"/>
                  </a:cubicBezTo>
                  <a:close/>
                  <a:moveTo>
                    <a:pt x="2205989" y="2751106"/>
                  </a:moveTo>
                  <a:cubicBezTo>
                    <a:pt x="2209418" y="2751106"/>
                    <a:pt x="2212181" y="2753868"/>
                    <a:pt x="2212181" y="2757297"/>
                  </a:cubicBezTo>
                  <a:cubicBezTo>
                    <a:pt x="2212181" y="2760726"/>
                    <a:pt x="2209418" y="2763488"/>
                    <a:pt x="2205989" y="2763488"/>
                  </a:cubicBezTo>
                  <a:cubicBezTo>
                    <a:pt x="2202560" y="2763488"/>
                    <a:pt x="2199798" y="2760726"/>
                    <a:pt x="2199798" y="2757297"/>
                  </a:cubicBezTo>
                  <a:cubicBezTo>
                    <a:pt x="2199798" y="2753868"/>
                    <a:pt x="2202560" y="2751106"/>
                    <a:pt x="2205989" y="2751106"/>
                  </a:cubicBezTo>
                  <a:close/>
                  <a:moveTo>
                    <a:pt x="431768" y="2750630"/>
                  </a:moveTo>
                  <a:cubicBezTo>
                    <a:pt x="435197" y="2750630"/>
                    <a:pt x="437959" y="2753392"/>
                    <a:pt x="437959" y="2756821"/>
                  </a:cubicBezTo>
                  <a:lnTo>
                    <a:pt x="432530" y="2762251"/>
                  </a:lnTo>
                  <a:lnTo>
                    <a:pt x="437959" y="2767679"/>
                  </a:lnTo>
                  <a:cubicBezTo>
                    <a:pt x="437959" y="2771108"/>
                    <a:pt x="435197" y="2773870"/>
                    <a:pt x="431768" y="2773870"/>
                  </a:cubicBezTo>
                  <a:cubicBezTo>
                    <a:pt x="428339" y="2773870"/>
                    <a:pt x="425577" y="2771108"/>
                    <a:pt x="425577" y="2767679"/>
                  </a:cubicBezTo>
                  <a:lnTo>
                    <a:pt x="431006" y="2762251"/>
                  </a:lnTo>
                  <a:lnTo>
                    <a:pt x="425577" y="2756821"/>
                  </a:lnTo>
                  <a:cubicBezTo>
                    <a:pt x="425577" y="2753392"/>
                    <a:pt x="428339" y="2750630"/>
                    <a:pt x="431768" y="2750630"/>
                  </a:cubicBezTo>
                  <a:close/>
                  <a:moveTo>
                    <a:pt x="537400" y="2750535"/>
                  </a:moveTo>
                  <a:cubicBezTo>
                    <a:pt x="540829" y="2750535"/>
                    <a:pt x="543591" y="2753297"/>
                    <a:pt x="543591" y="2756726"/>
                  </a:cubicBezTo>
                  <a:cubicBezTo>
                    <a:pt x="543591" y="2760155"/>
                    <a:pt x="540829" y="2762917"/>
                    <a:pt x="537400" y="2762917"/>
                  </a:cubicBezTo>
                  <a:cubicBezTo>
                    <a:pt x="533971" y="2762917"/>
                    <a:pt x="531209" y="2760155"/>
                    <a:pt x="531209" y="2756726"/>
                  </a:cubicBezTo>
                  <a:cubicBezTo>
                    <a:pt x="531209" y="2753297"/>
                    <a:pt x="533971" y="2750535"/>
                    <a:pt x="537400" y="2750535"/>
                  </a:cubicBezTo>
                  <a:close/>
                  <a:moveTo>
                    <a:pt x="2911506" y="2750439"/>
                  </a:moveTo>
                  <a:cubicBezTo>
                    <a:pt x="2914926" y="2750439"/>
                    <a:pt x="2917698" y="2753211"/>
                    <a:pt x="2917698" y="2756630"/>
                  </a:cubicBezTo>
                  <a:cubicBezTo>
                    <a:pt x="2917698" y="2760049"/>
                    <a:pt x="2914926" y="2762821"/>
                    <a:pt x="2911506" y="2762821"/>
                  </a:cubicBezTo>
                  <a:cubicBezTo>
                    <a:pt x="2908087" y="2762821"/>
                    <a:pt x="2905315" y="2760049"/>
                    <a:pt x="2905315" y="2756630"/>
                  </a:cubicBezTo>
                  <a:cubicBezTo>
                    <a:pt x="2905315" y="2753211"/>
                    <a:pt x="2908087" y="2750439"/>
                    <a:pt x="2911506" y="2750439"/>
                  </a:cubicBezTo>
                  <a:close/>
                  <a:moveTo>
                    <a:pt x="481202" y="2750439"/>
                  </a:moveTo>
                  <a:cubicBezTo>
                    <a:pt x="484631" y="2750439"/>
                    <a:pt x="487393" y="2753201"/>
                    <a:pt x="487393" y="2756630"/>
                  </a:cubicBezTo>
                  <a:cubicBezTo>
                    <a:pt x="487393" y="2760059"/>
                    <a:pt x="484631" y="2762821"/>
                    <a:pt x="481202" y="2762821"/>
                  </a:cubicBezTo>
                  <a:cubicBezTo>
                    <a:pt x="477773" y="2762821"/>
                    <a:pt x="475011" y="2760059"/>
                    <a:pt x="475011" y="2756630"/>
                  </a:cubicBezTo>
                  <a:cubicBezTo>
                    <a:pt x="475011" y="2753201"/>
                    <a:pt x="477773" y="2750439"/>
                    <a:pt x="481202" y="2750439"/>
                  </a:cubicBezTo>
                  <a:close/>
                  <a:moveTo>
                    <a:pt x="2684144" y="2749868"/>
                  </a:moveTo>
                  <a:cubicBezTo>
                    <a:pt x="2687573" y="2749868"/>
                    <a:pt x="2690336" y="2752630"/>
                    <a:pt x="2690336" y="2756059"/>
                  </a:cubicBezTo>
                  <a:cubicBezTo>
                    <a:pt x="2690336" y="2759488"/>
                    <a:pt x="2687573" y="2762250"/>
                    <a:pt x="2684144" y="2762250"/>
                  </a:cubicBezTo>
                  <a:cubicBezTo>
                    <a:pt x="2680715" y="2762250"/>
                    <a:pt x="2677953" y="2759488"/>
                    <a:pt x="2677953" y="2756059"/>
                  </a:cubicBezTo>
                  <a:cubicBezTo>
                    <a:pt x="2677953" y="2752630"/>
                    <a:pt x="2680715" y="2749868"/>
                    <a:pt x="2684144" y="2749868"/>
                  </a:cubicBezTo>
                  <a:close/>
                  <a:moveTo>
                    <a:pt x="742378" y="2749772"/>
                  </a:moveTo>
                  <a:cubicBezTo>
                    <a:pt x="745807" y="2749772"/>
                    <a:pt x="748569" y="2752534"/>
                    <a:pt x="748569" y="2755963"/>
                  </a:cubicBezTo>
                  <a:cubicBezTo>
                    <a:pt x="748569" y="2759392"/>
                    <a:pt x="745807" y="2762155"/>
                    <a:pt x="742378" y="2762155"/>
                  </a:cubicBezTo>
                  <a:cubicBezTo>
                    <a:pt x="738949" y="2762155"/>
                    <a:pt x="736187" y="2759392"/>
                    <a:pt x="736187" y="2755963"/>
                  </a:cubicBezTo>
                  <a:cubicBezTo>
                    <a:pt x="736187" y="2752534"/>
                    <a:pt x="738949" y="2749772"/>
                    <a:pt x="742378" y="2749772"/>
                  </a:cubicBezTo>
                  <a:close/>
                  <a:moveTo>
                    <a:pt x="2889313" y="2749392"/>
                  </a:moveTo>
                  <a:cubicBezTo>
                    <a:pt x="2892742" y="2749392"/>
                    <a:pt x="2895504" y="2752154"/>
                    <a:pt x="2895504" y="2755583"/>
                  </a:cubicBezTo>
                  <a:lnTo>
                    <a:pt x="2889932" y="2761155"/>
                  </a:lnTo>
                  <a:lnTo>
                    <a:pt x="2896075" y="2767298"/>
                  </a:lnTo>
                  <a:lnTo>
                    <a:pt x="2891313" y="2772061"/>
                  </a:lnTo>
                  <a:lnTo>
                    <a:pt x="2896647" y="2777395"/>
                  </a:lnTo>
                  <a:cubicBezTo>
                    <a:pt x="2896647" y="2780824"/>
                    <a:pt x="2893885" y="2783587"/>
                    <a:pt x="2890456" y="2783587"/>
                  </a:cubicBezTo>
                  <a:cubicBezTo>
                    <a:pt x="2887027" y="2783587"/>
                    <a:pt x="2884265" y="2780824"/>
                    <a:pt x="2884265" y="2777395"/>
                  </a:cubicBezTo>
                  <a:lnTo>
                    <a:pt x="2889027" y="2772633"/>
                  </a:lnTo>
                  <a:lnTo>
                    <a:pt x="2883693" y="2767298"/>
                  </a:lnTo>
                  <a:lnTo>
                    <a:pt x="2889265" y="2761726"/>
                  </a:lnTo>
                  <a:lnTo>
                    <a:pt x="2883122" y="2755583"/>
                  </a:lnTo>
                  <a:cubicBezTo>
                    <a:pt x="2883122" y="2752154"/>
                    <a:pt x="2885884" y="2749392"/>
                    <a:pt x="2889313" y="2749392"/>
                  </a:cubicBezTo>
                  <a:close/>
                  <a:moveTo>
                    <a:pt x="461009" y="2747296"/>
                  </a:moveTo>
                  <a:cubicBezTo>
                    <a:pt x="464438" y="2747296"/>
                    <a:pt x="467200" y="2750058"/>
                    <a:pt x="467200" y="2753487"/>
                  </a:cubicBezTo>
                  <a:cubicBezTo>
                    <a:pt x="467200" y="2756916"/>
                    <a:pt x="464438" y="2759678"/>
                    <a:pt x="461009" y="2759678"/>
                  </a:cubicBezTo>
                  <a:cubicBezTo>
                    <a:pt x="457580" y="2759678"/>
                    <a:pt x="454818" y="2756916"/>
                    <a:pt x="454818" y="2753487"/>
                  </a:cubicBezTo>
                  <a:cubicBezTo>
                    <a:pt x="454818" y="2750058"/>
                    <a:pt x="457580" y="2747296"/>
                    <a:pt x="461009" y="2747296"/>
                  </a:cubicBezTo>
                  <a:close/>
                  <a:moveTo>
                    <a:pt x="2922079" y="2746915"/>
                  </a:moveTo>
                  <a:cubicBezTo>
                    <a:pt x="2925508" y="2746915"/>
                    <a:pt x="2928270" y="2749677"/>
                    <a:pt x="2928270" y="2753106"/>
                  </a:cubicBezTo>
                  <a:cubicBezTo>
                    <a:pt x="2928270" y="2756535"/>
                    <a:pt x="2925508" y="2759297"/>
                    <a:pt x="2922079" y="2759297"/>
                  </a:cubicBezTo>
                  <a:cubicBezTo>
                    <a:pt x="2918650" y="2759297"/>
                    <a:pt x="2915888" y="2756535"/>
                    <a:pt x="2915888" y="2753106"/>
                  </a:cubicBezTo>
                  <a:cubicBezTo>
                    <a:pt x="2915888" y="2749677"/>
                    <a:pt x="2918650" y="2746915"/>
                    <a:pt x="2922079" y="2746915"/>
                  </a:cubicBezTo>
                  <a:close/>
                  <a:moveTo>
                    <a:pt x="575976" y="2746058"/>
                  </a:moveTo>
                  <a:cubicBezTo>
                    <a:pt x="579405" y="2746058"/>
                    <a:pt x="582167" y="2748820"/>
                    <a:pt x="582167" y="2752249"/>
                  </a:cubicBezTo>
                  <a:cubicBezTo>
                    <a:pt x="582167" y="2755678"/>
                    <a:pt x="579405" y="2758440"/>
                    <a:pt x="575976" y="2758440"/>
                  </a:cubicBezTo>
                  <a:cubicBezTo>
                    <a:pt x="572547" y="2758440"/>
                    <a:pt x="569785" y="2755678"/>
                    <a:pt x="569785" y="2752249"/>
                  </a:cubicBezTo>
                  <a:cubicBezTo>
                    <a:pt x="569785" y="2748820"/>
                    <a:pt x="572547" y="2746058"/>
                    <a:pt x="575976" y="2746058"/>
                  </a:cubicBezTo>
                  <a:close/>
                  <a:moveTo>
                    <a:pt x="2958559" y="2745581"/>
                  </a:moveTo>
                  <a:cubicBezTo>
                    <a:pt x="2961988" y="2745581"/>
                    <a:pt x="2964751" y="2748343"/>
                    <a:pt x="2964751" y="2751772"/>
                  </a:cubicBezTo>
                  <a:cubicBezTo>
                    <a:pt x="2964751" y="2755201"/>
                    <a:pt x="2961988" y="2757964"/>
                    <a:pt x="2958559" y="2757964"/>
                  </a:cubicBezTo>
                  <a:cubicBezTo>
                    <a:pt x="2955130" y="2757964"/>
                    <a:pt x="2952368" y="2755201"/>
                    <a:pt x="2952368" y="2751772"/>
                  </a:cubicBezTo>
                  <a:cubicBezTo>
                    <a:pt x="2952368" y="2748343"/>
                    <a:pt x="2955130" y="2745581"/>
                    <a:pt x="2958559" y="2745581"/>
                  </a:cubicBezTo>
                  <a:close/>
                  <a:moveTo>
                    <a:pt x="421290" y="2745391"/>
                  </a:moveTo>
                  <a:cubicBezTo>
                    <a:pt x="424719" y="2745391"/>
                    <a:pt x="427481" y="2748153"/>
                    <a:pt x="427481" y="2751582"/>
                  </a:cubicBezTo>
                  <a:lnTo>
                    <a:pt x="421385" y="2757678"/>
                  </a:lnTo>
                  <a:lnTo>
                    <a:pt x="427100" y="2763393"/>
                  </a:lnTo>
                  <a:cubicBezTo>
                    <a:pt x="427100" y="2766822"/>
                    <a:pt x="424338" y="2769585"/>
                    <a:pt x="420909" y="2769585"/>
                  </a:cubicBezTo>
                  <a:cubicBezTo>
                    <a:pt x="417480" y="2769585"/>
                    <a:pt x="414718" y="2766822"/>
                    <a:pt x="414718" y="2763393"/>
                  </a:cubicBezTo>
                  <a:lnTo>
                    <a:pt x="420814" y="2757297"/>
                  </a:lnTo>
                  <a:lnTo>
                    <a:pt x="415099" y="2751582"/>
                  </a:lnTo>
                  <a:cubicBezTo>
                    <a:pt x="415099" y="2748153"/>
                    <a:pt x="417861" y="2745391"/>
                    <a:pt x="421290" y="2745391"/>
                  </a:cubicBezTo>
                  <a:close/>
                  <a:moveTo>
                    <a:pt x="2933128" y="2744724"/>
                  </a:moveTo>
                  <a:cubicBezTo>
                    <a:pt x="2936557" y="2744724"/>
                    <a:pt x="2939319" y="2747486"/>
                    <a:pt x="2939319" y="2750915"/>
                  </a:cubicBezTo>
                  <a:cubicBezTo>
                    <a:pt x="2939319" y="2754344"/>
                    <a:pt x="2936557" y="2757107"/>
                    <a:pt x="2933128" y="2757107"/>
                  </a:cubicBezTo>
                  <a:cubicBezTo>
                    <a:pt x="2929699" y="2757107"/>
                    <a:pt x="2926937" y="2754344"/>
                    <a:pt x="2926937" y="2750915"/>
                  </a:cubicBezTo>
                  <a:cubicBezTo>
                    <a:pt x="2926937" y="2747486"/>
                    <a:pt x="2929699" y="2744724"/>
                    <a:pt x="2933128" y="2744724"/>
                  </a:cubicBezTo>
                  <a:close/>
                  <a:moveTo>
                    <a:pt x="2945224" y="2744248"/>
                  </a:moveTo>
                  <a:cubicBezTo>
                    <a:pt x="2948653" y="2744248"/>
                    <a:pt x="2951415" y="2747010"/>
                    <a:pt x="2951415" y="2750439"/>
                  </a:cubicBezTo>
                  <a:cubicBezTo>
                    <a:pt x="2951415" y="2753868"/>
                    <a:pt x="2948653" y="2756630"/>
                    <a:pt x="2945224" y="2756630"/>
                  </a:cubicBezTo>
                  <a:cubicBezTo>
                    <a:pt x="2941795" y="2756630"/>
                    <a:pt x="2939033" y="2753868"/>
                    <a:pt x="2939033" y="2750439"/>
                  </a:cubicBezTo>
                  <a:cubicBezTo>
                    <a:pt x="2939033" y="2747010"/>
                    <a:pt x="2941795" y="2744248"/>
                    <a:pt x="2945224" y="2744248"/>
                  </a:cubicBezTo>
                  <a:close/>
                  <a:moveTo>
                    <a:pt x="2901505" y="2743867"/>
                  </a:moveTo>
                  <a:cubicBezTo>
                    <a:pt x="2904934" y="2743867"/>
                    <a:pt x="2907696" y="2746629"/>
                    <a:pt x="2907696" y="2750058"/>
                  </a:cubicBezTo>
                  <a:lnTo>
                    <a:pt x="2901695" y="2756059"/>
                  </a:lnTo>
                  <a:lnTo>
                    <a:pt x="2907220" y="2761583"/>
                  </a:lnTo>
                  <a:lnTo>
                    <a:pt x="2902124" y="2766680"/>
                  </a:lnTo>
                  <a:lnTo>
                    <a:pt x="2907982" y="2772537"/>
                  </a:lnTo>
                  <a:cubicBezTo>
                    <a:pt x="2907982" y="2775966"/>
                    <a:pt x="2905220" y="2778728"/>
                    <a:pt x="2901791" y="2778728"/>
                  </a:cubicBezTo>
                  <a:cubicBezTo>
                    <a:pt x="2898362" y="2778728"/>
                    <a:pt x="2895600" y="2775966"/>
                    <a:pt x="2895600" y="2772537"/>
                  </a:cubicBezTo>
                  <a:lnTo>
                    <a:pt x="2900696" y="2767442"/>
                  </a:lnTo>
                  <a:lnTo>
                    <a:pt x="2894838" y="2761583"/>
                  </a:lnTo>
                  <a:lnTo>
                    <a:pt x="2900838" y="2755583"/>
                  </a:lnTo>
                  <a:lnTo>
                    <a:pt x="2895314" y="2750058"/>
                  </a:lnTo>
                  <a:cubicBezTo>
                    <a:pt x="2895314" y="2746629"/>
                    <a:pt x="2898076" y="2743867"/>
                    <a:pt x="2901505" y="2743867"/>
                  </a:cubicBezTo>
                  <a:close/>
                  <a:moveTo>
                    <a:pt x="444722" y="2743010"/>
                  </a:moveTo>
                  <a:cubicBezTo>
                    <a:pt x="448151" y="2743010"/>
                    <a:pt x="450913" y="2745772"/>
                    <a:pt x="450913" y="2749201"/>
                  </a:cubicBezTo>
                  <a:cubicBezTo>
                    <a:pt x="450913" y="2752630"/>
                    <a:pt x="448151" y="2755392"/>
                    <a:pt x="444722" y="2755392"/>
                  </a:cubicBezTo>
                  <a:cubicBezTo>
                    <a:pt x="441293" y="2755392"/>
                    <a:pt x="438531" y="2752630"/>
                    <a:pt x="438531" y="2749201"/>
                  </a:cubicBezTo>
                  <a:cubicBezTo>
                    <a:pt x="438531" y="2745772"/>
                    <a:pt x="441293" y="2743010"/>
                    <a:pt x="444722" y="2743010"/>
                  </a:cubicBezTo>
                  <a:close/>
                  <a:moveTo>
                    <a:pt x="1083278" y="2742438"/>
                  </a:moveTo>
                  <a:cubicBezTo>
                    <a:pt x="1086698" y="2742438"/>
                    <a:pt x="1089469" y="2745210"/>
                    <a:pt x="1089469" y="2748629"/>
                  </a:cubicBezTo>
                  <a:cubicBezTo>
                    <a:pt x="1089469" y="2752048"/>
                    <a:pt x="1086698" y="2754820"/>
                    <a:pt x="1083278" y="2754820"/>
                  </a:cubicBezTo>
                  <a:cubicBezTo>
                    <a:pt x="1079859" y="2754820"/>
                    <a:pt x="1077087" y="2752048"/>
                    <a:pt x="1077087" y="2748629"/>
                  </a:cubicBezTo>
                  <a:cubicBezTo>
                    <a:pt x="1077087" y="2745210"/>
                    <a:pt x="1079859" y="2742438"/>
                    <a:pt x="1083278" y="2742438"/>
                  </a:cubicBezTo>
                  <a:close/>
                  <a:moveTo>
                    <a:pt x="411194" y="2741105"/>
                  </a:moveTo>
                  <a:cubicBezTo>
                    <a:pt x="414623" y="2741105"/>
                    <a:pt x="417385" y="2743867"/>
                    <a:pt x="417385" y="2747296"/>
                  </a:cubicBezTo>
                  <a:cubicBezTo>
                    <a:pt x="417385" y="2750725"/>
                    <a:pt x="414623" y="2753488"/>
                    <a:pt x="411194" y="2753488"/>
                  </a:cubicBezTo>
                  <a:cubicBezTo>
                    <a:pt x="407765" y="2753488"/>
                    <a:pt x="405003" y="2750725"/>
                    <a:pt x="405003" y="2747296"/>
                  </a:cubicBezTo>
                  <a:cubicBezTo>
                    <a:pt x="405003" y="2743867"/>
                    <a:pt x="407765" y="2741105"/>
                    <a:pt x="411194" y="2741105"/>
                  </a:cubicBezTo>
                  <a:close/>
                  <a:moveTo>
                    <a:pt x="2478690" y="2740152"/>
                  </a:moveTo>
                  <a:cubicBezTo>
                    <a:pt x="2482119" y="2740152"/>
                    <a:pt x="2484882" y="2742914"/>
                    <a:pt x="2484882" y="2746343"/>
                  </a:cubicBezTo>
                  <a:cubicBezTo>
                    <a:pt x="2484882" y="2749772"/>
                    <a:pt x="2482119" y="2752534"/>
                    <a:pt x="2478690" y="2752534"/>
                  </a:cubicBezTo>
                  <a:cubicBezTo>
                    <a:pt x="2475261" y="2752534"/>
                    <a:pt x="2472499" y="2749772"/>
                    <a:pt x="2472499" y="2746343"/>
                  </a:cubicBezTo>
                  <a:cubicBezTo>
                    <a:pt x="2472499" y="2742914"/>
                    <a:pt x="2475261" y="2740152"/>
                    <a:pt x="2478690" y="2740152"/>
                  </a:cubicBezTo>
                  <a:close/>
                  <a:moveTo>
                    <a:pt x="2912173" y="2738628"/>
                  </a:moveTo>
                  <a:cubicBezTo>
                    <a:pt x="2915602" y="2738628"/>
                    <a:pt x="2918365" y="2741390"/>
                    <a:pt x="2918365" y="2744819"/>
                  </a:cubicBezTo>
                  <a:cubicBezTo>
                    <a:pt x="2918365" y="2748248"/>
                    <a:pt x="2915602" y="2751010"/>
                    <a:pt x="2912173" y="2751010"/>
                  </a:cubicBezTo>
                  <a:cubicBezTo>
                    <a:pt x="2908744" y="2751010"/>
                    <a:pt x="2905982" y="2748248"/>
                    <a:pt x="2905982" y="2744819"/>
                  </a:cubicBezTo>
                  <a:cubicBezTo>
                    <a:pt x="2905982" y="2741390"/>
                    <a:pt x="2908744" y="2738628"/>
                    <a:pt x="2912173" y="2738628"/>
                  </a:cubicBezTo>
                  <a:close/>
                  <a:moveTo>
                    <a:pt x="431386" y="2738152"/>
                  </a:moveTo>
                  <a:cubicBezTo>
                    <a:pt x="434815" y="2738152"/>
                    <a:pt x="437577" y="2740914"/>
                    <a:pt x="437577" y="2744343"/>
                  </a:cubicBezTo>
                  <a:cubicBezTo>
                    <a:pt x="437577" y="2747772"/>
                    <a:pt x="434815" y="2750535"/>
                    <a:pt x="431386" y="2750535"/>
                  </a:cubicBezTo>
                  <a:cubicBezTo>
                    <a:pt x="427957" y="2750535"/>
                    <a:pt x="425195" y="2747772"/>
                    <a:pt x="425195" y="2744343"/>
                  </a:cubicBezTo>
                  <a:cubicBezTo>
                    <a:pt x="425195" y="2740914"/>
                    <a:pt x="427957" y="2738152"/>
                    <a:pt x="431386" y="2738152"/>
                  </a:cubicBezTo>
                  <a:close/>
                  <a:moveTo>
                    <a:pt x="400906" y="2738057"/>
                  </a:moveTo>
                  <a:cubicBezTo>
                    <a:pt x="404335" y="2738057"/>
                    <a:pt x="407098" y="2740819"/>
                    <a:pt x="407098" y="2744248"/>
                  </a:cubicBezTo>
                  <a:cubicBezTo>
                    <a:pt x="407098" y="2747677"/>
                    <a:pt x="404335" y="2750439"/>
                    <a:pt x="400906" y="2750439"/>
                  </a:cubicBezTo>
                  <a:cubicBezTo>
                    <a:pt x="397477" y="2750439"/>
                    <a:pt x="394715" y="2747677"/>
                    <a:pt x="394715" y="2744248"/>
                  </a:cubicBezTo>
                  <a:cubicBezTo>
                    <a:pt x="394715" y="2740819"/>
                    <a:pt x="397477" y="2738057"/>
                    <a:pt x="400906" y="2738057"/>
                  </a:cubicBezTo>
                  <a:close/>
                  <a:moveTo>
                    <a:pt x="623125" y="2737390"/>
                  </a:moveTo>
                  <a:cubicBezTo>
                    <a:pt x="626554" y="2737390"/>
                    <a:pt x="629317" y="2740152"/>
                    <a:pt x="629317" y="2743581"/>
                  </a:cubicBezTo>
                  <a:cubicBezTo>
                    <a:pt x="629317" y="2747010"/>
                    <a:pt x="626554" y="2749772"/>
                    <a:pt x="623125" y="2749772"/>
                  </a:cubicBezTo>
                  <a:cubicBezTo>
                    <a:pt x="619696" y="2749772"/>
                    <a:pt x="616934" y="2747010"/>
                    <a:pt x="616934" y="2743581"/>
                  </a:cubicBezTo>
                  <a:cubicBezTo>
                    <a:pt x="616934" y="2740152"/>
                    <a:pt x="619696" y="2737390"/>
                    <a:pt x="623125" y="2737390"/>
                  </a:cubicBezTo>
                  <a:close/>
                  <a:moveTo>
                    <a:pt x="2845022" y="2737295"/>
                  </a:moveTo>
                  <a:cubicBezTo>
                    <a:pt x="2848451" y="2737295"/>
                    <a:pt x="2851213" y="2740057"/>
                    <a:pt x="2851213" y="2743486"/>
                  </a:cubicBezTo>
                  <a:cubicBezTo>
                    <a:pt x="2851213" y="2746915"/>
                    <a:pt x="2848451" y="2749678"/>
                    <a:pt x="2845022" y="2749678"/>
                  </a:cubicBezTo>
                  <a:cubicBezTo>
                    <a:pt x="2841593" y="2749678"/>
                    <a:pt x="2838831" y="2746915"/>
                    <a:pt x="2838831" y="2743486"/>
                  </a:cubicBezTo>
                  <a:cubicBezTo>
                    <a:pt x="2838831" y="2740057"/>
                    <a:pt x="2841593" y="2737295"/>
                    <a:pt x="2845022" y="2737295"/>
                  </a:cubicBezTo>
                  <a:close/>
                  <a:moveTo>
                    <a:pt x="389953" y="2736723"/>
                  </a:moveTo>
                  <a:cubicBezTo>
                    <a:pt x="393286" y="2736723"/>
                    <a:pt x="395953" y="2739390"/>
                    <a:pt x="395953" y="2742724"/>
                  </a:cubicBezTo>
                  <a:cubicBezTo>
                    <a:pt x="395953" y="2746058"/>
                    <a:pt x="393286" y="2748725"/>
                    <a:pt x="389953" y="2748725"/>
                  </a:cubicBezTo>
                  <a:cubicBezTo>
                    <a:pt x="386619" y="2748725"/>
                    <a:pt x="383952" y="2746058"/>
                    <a:pt x="383952" y="2742724"/>
                  </a:cubicBezTo>
                  <a:cubicBezTo>
                    <a:pt x="383952" y="2739390"/>
                    <a:pt x="386619" y="2736723"/>
                    <a:pt x="389953" y="2736723"/>
                  </a:cubicBezTo>
                  <a:close/>
                  <a:moveTo>
                    <a:pt x="2868072" y="2736342"/>
                  </a:moveTo>
                  <a:cubicBezTo>
                    <a:pt x="2871501" y="2736342"/>
                    <a:pt x="2874264" y="2739104"/>
                    <a:pt x="2874264" y="2742533"/>
                  </a:cubicBezTo>
                  <a:cubicBezTo>
                    <a:pt x="2874264" y="2745962"/>
                    <a:pt x="2871501" y="2748725"/>
                    <a:pt x="2868072" y="2748725"/>
                  </a:cubicBezTo>
                  <a:cubicBezTo>
                    <a:pt x="2864643" y="2748725"/>
                    <a:pt x="2861881" y="2745962"/>
                    <a:pt x="2861881" y="2742533"/>
                  </a:cubicBezTo>
                  <a:cubicBezTo>
                    <a:pt x="2861881" y="2739104"/>
                    <a:pt x="2864643" y="2736342"/>
                    <a:pt x="2868072" y="2736342"/>
                  </a:cubicBezTo>
                  <a:close/>
                  <a:moveTo>
                    <a:pt x="2816256" y="2735961"/>
                  </a:moveTo>
                  <a:cubicBezTo>
                    <a:pt x="2819685" y="2735961"/>
                    <a:pt x="2822448" y="2738723"/>
                    <a:pt x="2822448" y="2742152"/>
                  </a:cubicBezTo>
                  <a:cubicBezTo>
                    <a:pt x="2822448" y="2745581"/>
                    <a:pt x="2819685" y="2748343"/>
                    <a:pt x="2816256" y="2748343"/>
                  </a:cubicBezTo>
                  <a:cubicBezTo>
                    <a:pt x="2812827" y="2748343"/>
                    <a:pt x="2810065" y="2745581"/>
                    <a:pt x="2810065" y="2742152"/>
                  </a:cubicBezTo>
                  <a:cubicBezTo>
                    <a:pt x="2810065" y="2738723"/>
                    <a:pt x="2812827" y="2735961"/>
                    <a:pt x="2816256" y="2735961"/>
                  </a:cubicBezTo>
                  <a:close/>
                  <a:moveTo>
                    <a:pt x="2623470" y="2735961"/>
                  </a:moveTo>
                  <a:cubicBezTo>
                    <a:pt x="2626899" y="2735961"/>
                    <a:pt x="2629661" y="2738723"/>
                    <a:pt x="2629661" y="2742152"/>
                  </a:cubicBezTo>
                  <a:cubicBezTo>
                    <a:pt x="2629661" y="2745581"/>
                    <a:pt x="2626899" y="2748343"/>
                    <a:pt x="2623470" y="2748343"/>
                  </a:cubicBezTo>
                  <a:cubicBezTo>
                    <a:pt x="2620041" y="2748343"/>
                    <a:pt x="2617279" y="2745581"/>
                    <a:pt x="2617279" y="2742152"/>
                  </a:cubicBezTo>
                  <a:cubicBezTo>
                    <a:pt x="2617279" y="2738723"/>
                    <a:pt x="2620041" y="2735961"/>
                    <a:pt x="2623470" y="2735961"/>
                  </a:cubicBezTo>
                  <a:close/>
                  <a:moveTo>
                    <a:pt x="1640204" y="2734152"/>
                  </a:moveTo>
                  <a:cubicBezTo>
                    <a:pt x="1643633" y="2734152"/>
                    <a:pt x="1646396" y="2736914"/>
                    <a:pt x="1646396" y="2740343"/>
                  </a:cubicBezTo>
                  <a:cubicBezTo>
                    <a:pt x="1646396" y="2743772"/>
                    <a:pt x="1643633" y="2746534"/>
                    <a:pt x="1640204" y="2746534"/>
                  </a:cubicBezTo>
                  <a:cubicBezTo>
                    <a:pt x="1636775" y="2746534"/>
                    <a:pt x="1634013" y="2743772"/>
                    <a:pt x="1634013" y="2740343"/>
                  </a:cubicBezTo>
                  <a:cubicBezTo>
                    <a:pt x="1634013" y="2736914"/>
                    <a:pt x="1636775" y="2734152"/>
                    <a:pt x="1640204" y="2734152"/>
                  </a:cubicBezTo>
                  <a:close/>
                  <a:moveTo>
                    <a:pt x="2921983" y="2734056"/>
                  </a:moveTo>
                  <a:cubicBezTo>
                    <a:pt x="2925412" y="2734056"/>
                    <a:pt x="2928175" y="2736818"/>
                    <a:pt x="2928175" y="2740247"/>
                  </a:cubicBezTo>
                  <a:cubicBezTo>
                    <a:pt x="2928175" y="2743676"/>
                    <a:pt x="2925412" y="2746438"/>
                    <a:pt x="2921983" y="2746438"/>
                  </a:cubicBezTo>
                  <a:cubicBezTo>
                    <a:pt x="2918554" y="2746438"/>
                    <a:pt x="2915792" y="2743676"/>
                    <a:pt x="2915792" y="2740247"/>
                  </a:cubicBezTo>
                  <a:cubicBezTo>
                    <a:pt x="2915792" y="2736818"/>
                    <a:pt x="2918554" y="2734056"/>
                    <a:pt x="2921983" y="2734056"/>
                  </a:cubicBezTo>
                  <a:close/>
                  <a:moveTo>
                    <a:pt x="2886455" y="2733580"/>
                  </a:moveTo>
                  <a:cubicBezTo>
                    <a:pt x="2889884" y="2733580"/>
                    <a:pt x="2892646" y="2736342"/>
                    <a:pt x="2892646" y="2739771"/>
                  </a:cubicBezTo>
                  <a:cubicBezTo>
                    <a:pt x="2892646" y="2743200"/>
                    <a:pt x="2889884" y="2745962"/>
                    <a:pt x="2886455" y="2745962"/>
                  </a:cubicBezTo>
                  <a:cubicBezTo>
                    <a:pt x="2883026" y="2745962"/>
                    <a:pt x="2880264" y="2743200"/>
                    <a:pt x="2880264" y="2739771"/>
                  </a:cubicBezTo>
                  <a:cubicBezTo>
                    <a:pt x="2880264" y="2736342"/>
                    <a:pt x="2883026" y="2733580"/>
                    <a:pt x="2886455" y="2733580"/>
                  </a:cubicBezTo>
                  <a:close/>
                  <a:moveTo>
                    <a:pt x="2977990" y="2733389"/>
                  </a:moveTo>
                  <a:cubicBezTo>
                    <a:pt x="2979895" y="2733389"/>
                    <a:pt x="2981514" y="2735008"/>
                    <a:pt x="2981514" y="2736913"/>
                  </a:cubicBezTo>
                  <a:cubicBezTo>
                    <a:pt x="2981514" y="2738818"/>
                    <a:pt x="2979990" y="2740438"/>
                    <a:pt x="2977990" y="2740438"/>
                  </a:cubicBezTo>
                  <a:cubicBezTo>
                    <a:pt x="2976085" y="2740438"/>
                    <a:pt x="2974466" y="2738818"/>
                    <a:pt x="2974466" y="2736913"/>
                  </a:cubicBezTo>
                  <a:cubicBezTo>
                    <a:pt x="2974466" y="2735008"/>
                    <a:pt x="2976085" y="2733389"/>
                    <a:pt x="2977990" y="2733389"/>
                  </a:cubicBezTo>
                  <a:close/>
                  <a:moveTo>
                    <a:pt x="420147" y="2733104"/>
                  </a:moveTo>
                  <a:cubicBezTo>
                    <a:pt x="423576" y="2733104"/>
                    <a:pt x="426338" y="2735866"/>
                    <a:pt x="426338" y="2739295"/>
                  </a:cubicBezTo>
                  <a:cubicBezTo>
                    <a:pt x="426338" y="2742724"/>
                    <a:pt x="423576" y="2745487"/>
                    <a:pt x="420147" y="2745487"/>
                  </a:cubicBezTo>
                  <a:cubicBezTo>
                    <a:pt x="416718" y="2745487"/>
                    <a:pt x="413956" y="2742724"/>
                    <a:pt x="413956" y="2739295"/>
                  </a:cubicBezTo>
                  <a:cubicBezTo>
                    <a:pt x="413956" y="2735866"/>
                    <a:pt x="416718" y="2733104"/>
                    <a:pt x="420147" y="2733104"/>
                  </a:cubicBezTo>
                  <a:close/>
                  <a:moveTo>
                    <a:pt x="1751552" y="2733009"/>
                  </a:moveTo>
                  <a:cubicBezTo>
                    <a:pt x="1754981" y="2733009"/>
                    <a:pt x="1757743" y="2735771"/>
                    <a:pt x="1757743" y="2739200"/>
                  </a:cubicBezTo>
                  <a:cubicBezTo>
                    <a:pt x="1757743" y="2742629"/>
                    <a:pt x="1754981" y="2745391"/>
                    <a:pt x="1751552" y="2745391"/>
                  </a:cubicBezTo>
                  <a:cubicBezTo>
                    <a:pt x="1748123" y="2745391"/>
                    <a:pt x="1745361" y="2742629"/>
                    <a:pt x="1745361" y="2739200"/>
                  </a:cubicBezTo>
                  <a:cubicBezTo>
                    <a:pt x="1745361" y="2735771"/>
                    <a:pt x="1748123" y="2733009"/>
                    <a:pt x="1751552" y="2733009"/>
                  </a:cubicBezTo>
                  <a:close/>
                  <a:moveTo>
                    <a:pt x="2297048" y="2731961"/>
                  </a:moveTo>
                  <a:cubicBezTo>
                    <a:pt x="2300477" y="2731961"/>
                    <a:pt x="2303240" y="2734723"/>
                    <a:pt x="2303240" y="2738152"/>
                  </a:cubicBezTo>
                  <a:cubicBezTo>
                    <a:pt x="2303240" y="2741581"/>
                    <a:pt x="2300477" y="2744343"/>
                    <a:pt x="2297048" y="2744343"/>
                  </a:cubicBezTo>
                  <a:cubicBezTo>
                    <a:pt x="2293619" y="2744343"/>
                    <a:pt x="2290857" y="2741581"/>
                    <a:pt x="2290857" y="2738152"/>
                  </a:cubicBezTo>
                  <a:cubicBezTo>
                    <a:pt x="2290857" y="2734723"/>
                    <a:pt x="2293619" y="2731961"/>
                    <a:pt x="2297048" y="2731961"/>
                  </a:cubicBezTo>
                  <a:close/>
                  <a:moveTo>
                    <a:pt x="2780632" y="2731485"/>
                  </a:moveTo>
                  <a:cubicBezTo>
                    <a:pt x="2784061" y="2731485"/>
                    <a:pt x="2786823" y="2734247"/>
                    <a:pt x="2786823" y="2737676"/>
                  </a:cubicBezTo>
                  <a:cubicBezTo>
                    <a:pt x="2786823" y="2741105"/>
                    <a:pt x="2784061" y="2743867"/>
                    <a:pt x="2780632" y="2743867"/>
                  </a:cubicBezTo>
                  <a:cubicBezTo>
                    <a:pt x="2777203" y="2743867"/>
                    <a:pt x="2774441" y="2741105"/>
                    <a:pt x="2774441" y="2737676"/>
                  </a:cubicBezTo>
                  <a:cubicBezTo>
                    <a:pt x="2774441" y="2734247"/>
                    <a:pt x="2777203" y="2731485"/>
                    <a:pt x="2780632" y="2731485"/>
                  </a:cubicBezTo>
                  <a:close/>
                  <a:moveTo>
                    <a:pt x="1529143" y="2731104"/>
                  </a:moveTo>
                  <a:cubicBezTo>
                    <a:pt x="1532572" y="2731104"/>
                    <a:pt x="1535335" y="2733866"/>
                    <a:pt x="1535335" y="2737295"/>
                  </a:cubicBezTo>
                  <a:cubicBezTo>
                    <a:pt x="1535335" y="2740724"/>
                    <a:pt x="1532572" y="2743486"/>
                    <a:pt x="1529143" y="2743486"/>
                  </a:cubicBezTo>
                  <a:cubicBezTo>
                    <a:pt x="1525714" y="2743486"/>
                    <a:pt x="1522952" y="2740724"/>
                    <a:pt x="1522952" y="2737295"/>
                  </a:cubicBezTo>
                  <a:cubicBezTo>
                    <a:pt x="1522952" y="2733866"/>
                    <a:pt x="1525714" y="2731104"/>
                    <a:pt x="1529143" y="2731104"/>
                  </a:cubicBezTo>
                  <a:close/>
                  <a:moveTo>
                    <a:pt x="2931604" y="2730437"/>
                  </a:moveTo>
                  <a:cubicBezTo>
                    <a:pt x="2935033" y="2730437"/>
                    <a:pt x="2937795" y="2733199"/>
                    <a:pt x="2937795" y="2736628"/>
                  </a:cubicBezTo>
                  <a:cubicBezTo>
                    <a:pt x="2937795" y="2740057"/>
                    <a:pt x="2935033" y="2742820"/>
                    <a:pt x="2931604" y="2742820"/>
                  </a:cubicBezTo>
                  <a:cubicBezTo>
                    <a:pt x="2928175" y="2742820"/>
                    <a:pt x="2925413" y="2740057"/>
                    <a:pt x="2925413" y="2736628"/>
                  </a:cubicBezTo>
                  <a:cubicBezTo>
                    <a:pt x="2925413" y="2733199"/>
                    <a:pt x="2928175" y="2730437"/>
                    <a:pt x="2931604" y="2730437"/>
                  </a:cubicBezTo>
                  <a:close/>
                  <a:moveTo>
                    <a:pt x="2901314" y="2729675"/>
                  </a:moveTo>
                  <a:cubicBezTo>
                    <a:pt x="2904743" y="2729675"/>
                    <a:pt x="2907505" y="2732437"/>
                    <a:pt x="2907505" y="2735866"/>
                  </a:cubicBezTo>
                  <a:cubicBezTo>
                    <a:pt x="2907505" y="2739295"/>
                    <a:pt x="2904743" y="2742057"/>
                    <a:pt x="2901314" y="2742057"/>
                  </a:cubicBezTo>
                  <a:cubicBezTo>
                    <a:pt x="2897885" y="2742057"/>
                    <a:pt x="2895123" y="2739295"/>
                    <a:pt x="2895123" y="2735866"/>
                  </a:cubicBezTo>
                  <a:cubicBezTo>
                    <a:pt x="2895123" y="2732437"/>
                    <a:pt x="2897885" y="2729675"/>
                    <a:pt x="2901314" y="2729675"/>
                  </a:cubicBezTo>
                  <a:close/>
                  <a:moveTo>
                    <a:pt x="819340" y="2728913"/>
                  </a:moveTo>
                  <a:cubicBezTo>
                    <a:pt x="822769" y="2728913"/>
                    <a:pt x="825531" y="2731675"/>
                    <a:pt x="825531" y="2735104"/>
                  </a:cubicBezTo>
                  <a:cubicBezTo>
                    <a:pt x="825531" y="2738533"/>
                    <a:pt x="822769" y="2741296"/>
                    <a:pt x="819340" y="2741296"/>
                  </a:cubicBezTo>
                  <a:cubicBezTo>
                    <a:pt x="815911" y="2741296"/>
                    <a:pt x="813149" y="2738533"/>
                    <a:pt x="813149" y="2735104"/>
                  </a:cubicBezTo>
                  <a:cubicBezTo>
                    <a:pt x="813149" y="2731675"/>
                    <a:pt x="815911" y="2728913"/>
                    <a:pt x="819340" y="2728913"/>
                  </a:cubicBezTo>
                  <a:close/>
                  <a:moveTo>
                    <a:pt x="410146" y="2728341"/>
                  </a:moveTo>
                  <a:cubicBezTo>
                    <a:pt x="413575" y="2728341"/>
                    <a:pt x="416337" y="2731103"/>
                    <a:pt x="416337" y="2734532"/>
                  </a:cubicBezTo>
                  <a:cubicBezTo>
                    <a:pt x="416337" y="2737961"/>
                    <a:pt x="413575" y="2740724"/>
                    <a:pt x="410146" y="2740724"/>
                  </a:cubicBezTo>
                  <a:cubicBezTo>
                    <a:pt x="406717" y="2740724"/>
                    <a:pt x="403955" y="2737961"/>
                    <a:pt x="403955" y="2734532"/>
                  </a:cubicBezTo>
                  <a:cubicBezTo>
                    <a:pt x="403955" y="2731103"/>
                    <a:pt x="406717" y="2728341"/>
                    <a:pt x="410146" y="2728341"/>
                  </a:cubicBezTo>
                  <a:close/>
                  <a:moveTo>
                    <a:pt x="2964465" y="2728055"/>
                  </a:moveTo>
                  <a:cubicBezTo>
                    <a:pt x="2967894" y="2728055"/>
                    <a:pt x="2970657" y="2730817"/>
                    <a:pt x="2970657" y="2734246"/>
                  </a:cubicBezTo>
                  <a:cubicBezTo>
                    <a:pt x="2970657" y="2737675"/>
                    <a:pt x="2967894" y="2740438"/>
                    <a:pt x="2964465" y="2740438"/>
                  </a:cubicBezTo>
                  <a:cubicBezTo>
                    <a:pt x="2961036" y="2740438"/>
                    <a:pt x="2958274" y="2737675"/>
                    <a:pt x="2958274" y="2734246"/>
                  </a:cubicBezTo>
                  <a:cubicBezTo>
                    <a:pt x="2958274" y="2730817"/>
                    <a:pt x="2961036" y="2728055"/>
                    <a:pt x="2964465" y="2728055"/>
                  </a:cubicBezTo>
                  <a:close/>
                  <a:moveTo>
                    <a:pt x="1861851" y="2727865"/>
                  </a:moveTo>
                  <a:cubicBezTo>
                    <a:pt x="1865280" y="2727865"/>
                    <a:pt x="1868042" y="2730627"/>
                    <a:pt x="1868042" y="2734056"/>
                  </a:cubicBezTo>
                  <a:cubicBezTo>
                    <a:pt x="1868042" y="2737485"/>
                    <a:pt x="1865280" y="2740247"/>
                    <a:pt x="1861851" y="2740247"/>
                  </a:cubicBezTo>
                  <a:cubicBezTo>
                    <a:pt x="1858422" y="2740247"/>
                    <a:pt x="1855660" y="2737485"/>
                    <a:pt x="1855660" y="2734056"/>
                  </a:cubicBezTo>
                  <a:cubicBezTo>
                    <a:pt x="1855660" y="2730627"/>
                    <a:pt x="1858422" y="2727865"/>
                    <a:pt x="1861851" y="2727865"/>
                  </a:cubicBezTo>
                  <a:close/>
                  <a:moveTo>
                    <a:pt x="2952464" y="2727198"/>
                  </a:moveTo>
                  <a:cubicBezTo>
                    <a:pt x="2955893" y="2727198"/>
                    <a:pt x="2958655" y="2729960"/>
                    <a:pt x="2958655" y="2733389"/>
                  </a:cubicBezTo>
                  <a:cubicBezTo>
                    <a:pt x="2958655" y="2736818"/>
                    <a:pt x="2955893" y="2739580"/>
                    <a:pt x="2952464" y="2739580"/>
                  </a:cubicBezTo>
                  <a:lnTo>
                    <a:pt x="2947464" y="2734580"/>
                  </a:lnTo>
                  <a:lnTo>
                    <a:pt x="2941605" y="2740438"/>
                  </a:lnTo>
                  <a:cubicBezTo>
                    <a:pt x="2938176" y="2740438"/>
                    <a:pt x="2935414" y="2737675"/>
                    <a:pt x="2935414" y="2734246"/>
                  </a:cubicBezTo>
                  <a:cubicBezTo>
                    <a:pt x="2935414" y="2730817"/>
                    <a:pt x="2938176" y="2728055"/>
                    <a:pt x="2941605" y="2728055"/>
                  </a:cubicBezTo>
                  <a:lnTo>
                    <a:pt x="2946606" y="2733056"/>
                  </a:lnTo>
                  <a:close/>
                  <a:moveTo>
                    <a:pt x="2913506" y="2725293"/>
                  </a:moveTo>
                  <a:cubicBezTo>
                    <a:pt x="2916935" y="2725293"/>
                    <a:pt x="2919697" y="2728055"/>
                    <a:pt x="2919697" y="2731484"/>
                  </a:cubicBezTo>
                  <a:cubicBezTo>
                    <a:pt x="2919697" y="2734913"/>
                    <a:pt x="2916935" y="2737676"/>
                    <a:pt x="2913506" y="2737676"/>
                  </a:cubicBezTo>
                  <a:cubicBezTo>
                    <a:pt x="2910077" y="2737676"/>
                    <a:pt x="2907315" y="2734913"/>
                    <a:pt x="2907315" y="2731484"/>
                  </a:cubicBezTo>
                  <a:cubicBezTo>
                    <a:pt x="2907315" y="2728055"/>
                    <a:pt x="2910077" y="2725293"/>
                    <a:pt x="2913506" y="2725293"/>
                  </a:cubicBezTo>
                  <a:close/>
                  <a:moveTo>
                    <a:pt x="471201" y="2724912"/>
                  </a:moveTo>
                  <a:cubicBezTo>
                    <a:pt x="474630" y="2724912"/>
                    <a:pt x="477392" y="2727674"/>
                    <a:pt x="477392" y="2731103"/>
                  </a:cubicBezTo>
                  <a:cubicBezTo>
                    <a:pt x="477392" y="2734532"/>
                    <a:pt x="474630" y="2737294"/>
                    <a:pt x="471201" y="2737294"/>
                  </a:cubicBezTo>
                  <a:cubicBezTo>
                    <a:pt x="467772" y="2737294"/>
                    <a:pt x="465010" y="2734532"/>
                    <a:pt x="465010" y="2731103"/>
                  </a:cubicBezTo>
                  <a:cubicBezTo>
                    <a:pt x="465010" y="2727674"/>
                    <a:pt x="467772" y="2724912"/>
                    <a:pt x="471201" y="2724912"/>
                  </a:cubicBezTo>
                  <a:close/>
                  <a:moveTo>
                    <a:pt x="449865" y="2724150"/>
                  </a:moveTo>
                  <a:cubicBezTo>
                    <a:pt x="453294" y="2724150"/>
                    <a:pt x="456056" y="2726912"/>
                    <a:pt x="456056" y="2730341"/>
                  </a:cubicBezTo>
                  <a:cubicBezTo>
                    <a:pt x="456056" y="2733770"/>
                    <a:pt x="453294" y="2736533"/>
                    <a:pt x="449865" y="2736533"/>
                  </a:cubicBezTo>
                  <a:cubicBezTo>
                    <a:pt x="446436" y="2736533"/>
                    <a:pt x="443674" y="2733770"/>
                    <a:pt x="443674" y="2730341"/>
                  </a:cubicBezTo>
                  <a:cubicBezTo>
                    <a:pt x="443674" y="2726912"/>
                    <a:pt x="446436" y="2724150"/>
                    <a:pt x="449865" y="2724150"/>
                  </a:cubicBezTo>
                  <a:close/>
                  <a:moveTo>
                    <a:pt x="1419700" y="2724055"/>
                  </a:moveTo>
                  <a:cubicBezTo>
                    <a:pt x="1423129" y="2724055"/>
                    <a:pt x="1425892" y="2726817"/>
                    <a:pt x="1425892" y="2730246"/>
                  </a:cubicBezTo>
                  <a:cubicBezTo>
                    <a:pt x="1425892" y="2733675"/>
                    <a:pt x="1423129" y="2736437"/>
                    <a:pt x="1419700" y="2736437"/>
                  </a:cubicBezTo>
                  <a:cubicBezTo>
                    <a:pt x="1416271" y="2736437"/>
                    <a:pt x="1413509" y="2733675"/>
                    <a:pt x="1413509" y="2730246"/>
                  </a:cubicBezTo>
                  <a:cubicBezTo>
                    <a:pt x="1413509" y="2726817"/>
                    <a:pt x="1416271" y="2724055"/>
                    <a:pt x="1419700" y="2724055"/>
                  </a:cubicBezTo>
                  <a:close/>
                  <a:moveTo>
                    <a:pt x="370902" y="2724055"/>
                  </a:moveTo>
                  <a:cubicBezTo>
                    <a:pt x="371665" y="2724055"/>
                    <a:pt x="372236" y="2724626"/>
                    <a:pt x="372236" y="2725388"/>
                  </a:cubicBezTo>
                  <a:cubicBezTo>
                    <a:pt x="372236" y="2726151"/>
                    <a:pt x="371569" y="2726722"/>
                    <a:pt x="370902" y="2726722"/>
                  </a:cubicBezTo>
                  <a:cubicBezTo>
                    <a:pt x="370141" y="2726722"/>
                    <a:pt x="369569" y="2726151"/>
                    <a:pt x="369569" y="2725388"/>
                  </a:cubicBezTo>
                  <a:cubicBezTo>
                    <a:pt x="369569" y="2724626"/>
                    <a:pt x="370141" y="2724055"/>
                    <a:pt x="370902" y="2724055"/>
                  </a:cubicBezTo>
                  <a:close/>
                  <a:moveTo>
                    <a:pt x="680561" y="2723769"/>
                  </a:moveTo>
                  <a:cubicBezTo>
                    <a:pt x="683990" y="2723769"/>
                    <a:pt x="686752" y="2726531"/>
                    <a:pt x="686752" y="2729960"/>
                  </a:cubicBezTo>
                  <a:cubicBezTo>
                    <a:pt x="686752" y="2733389"/>
                    <a:pt x="683990" y="2736151"/>
                    <a:pt x="680561" y="2736151"/>
                  </a:cubicBezTo>
                  <a:cubicBezTo>
                    <a:pt x="677132" y="2736151"/>
                    <a:pt x="674370" y="2733389"/>
                    <a:pt x="674370" y="2729960"/>
                  </a:cubicBezTo>
                  <a:cubicBezTo>
                    <a:pt x="674370" y="2726531"/>
                    <a:pt x="677132" y="2723769"/>
                    <a:pt x="680561" y="2723769"/>
                  </a:cubicBezTo>
                  <a:close/>
                  <a:moveTo>
                    <a:pt x="497871" y="2723388"/>
                  </a:moveTo>
                  <a:cubicBezTo>
                    <a:pt x="501300" y="2723388"/>
                    <a:pt x="504062" y="2726150"/>
                    <a:pt x="504062" y="2729579"/>
                  </a:cubicBezTo>
                  <a:cubicBezTo>
                    <a:pt x="504062" y="2733008"/>
                    <a:pt x="501300" y="2735770"/>
                    <a:pt x="497871" y="2735770"/>
                  </a:cubicBezTo>
                  <a:cubicBezTo>
                    <a:pt x="494442" y="2735770"/>
                    <a:pt x="491680" y="2733008"/>
                    <a:pt x="491680" y="2729579"/>
                  </a:cubicBezTo>
                  <a:cubicBezTo>
                    <a:pt x="491680" y="2726150"/>
                    <a:pt x="494442" y="2723388"/>
                    <a:pt x="497871" y="2723388"/>
                  </a:cubicBezTo>
                  <a:close/>
                  <a:moveTo>
                    <a:pt x="2736627" y="2723007"/>
                  </a:moveTo>
                  <a:cubicBezTo>
                    <a:pt x="2740056" y="2723007"/>
                    <a:pt x="2742818" y="2725769"/>
                    <a:pt x="2742818" y="2729198"/>
                  </a:cubicBezTo>
                  <a:cubicBezTo>
                    <a:pt x="2742818" y="2732627"/>
                    <a:pt x="2740056" y="2735390"/>
                    <a:pt x="2736627" y="2735390"/>
                  </a:cubicBezTo>
                  <a:cubicBezTo>
                    <a:pt x="2733198" y="2735390"/>
                    <a:pt x="2730436" y="2732627"/>
                    <a:pt x="2730436" y="2729198"/>
                  </a:cubicBezTo>
                  <a:cubicBezTo>
                    <a:pt x="2730436" y="2725769"/>
                    <a:pt x="2733198" y="2723007"/>
                    <a:pt x="2736627" y="2723007"/>
                  </a:cubicBezTo>
                  <a:close/>
                  <a:moveTo>
                    <a:pt x="994409" y="2722340"/>
                  </a:moveTo>
                  <a:cubicBezTo>
                    <a:pt x="997838" y="2722340"/>
                    <a:pt x="1000601" y="2725102"/>
                    <a:pt x="1000601" y="2728531"/>
                  </a:cubicBezTo>
                  <a:cubicBezTo>
                    <a:pt x="1000601" y="2731960"/>
                    <a:pt x="997838" y="2734723"/>
                    <a:pt x="994409" y="2734723"/>
                  </a:cubicBezTo>
                  <a:cubicBezTo>
                    <a:pt x="990980" y="2734723"/>
                    <a:pt x="988218" y="2731960"/>
                    <a:pt x="988218" y="2728531"/>
                  </a:cubicBezTo>
                  <a:cubicBezTo>
                    <a:pt x="988218" y="2725102"/>
                    <a:pt x="990980" y="2722340"/>
                    <a:pt x="994409" y="2722340"/>
                  </a:cubicBezTo>
                  <a:close/>
                  <a:moveTo>
                    <a:pt x="432910" y="2721674"/>
                  </a:moveTo>
                  <a:cubicBezTo>
                    <a:pt x="436339" y="2721674"/>
                    <a:pt x="439101" y="2724436"/>
                    <a:pt x="439101" y="2727865"/>
                  </a:cubicBezTo>
                  <a:cubicBezTo>
                    <a:pt x="439101" y="2731294"/>
                    <a:pt x="436339" y="2734056"/>
                    <a:pt x="432910" y="2734056"/>
                  </a:cubicBezTo>
                  <a:cubicBezTo>
                    <a:pt x="429481" y="2734056"/>
                    <a:pt x="426719" y="2731294"/>
                    <a:pt x="426719" y="2727865"/>
                  </a:cubicBezTo>
                  <a:cubicBezTo>
                    <a:pt x="426719" y="2724436"/>
                    <a:pt x="429481" y="2721674"/>
                    <a:pt x="432910" y="2721674"/>
                  </a:cubicBezTo>
                  <a:close/>
                  <a:moveTo>
                    <a:pt x="2923793" y="2720817"/>
                  </a:moveTo>
                  <a:cubicBezTo>
                    <a:pt x="2927222" y="2720817"/>
                    <a:pt x="2929984" y="2723579"/>
                    <a:pt x="2929984" y="2727008"/>
                  </a:cubicBezTo>
                  <a:cubicBezTo>
                    <a:pt x="2929984" y="2730437"/>
                    <a:pt x="2927222" y="2733199"/>
                    <a:pt x="2923793" y="2733199"/>
                  </a:cubicBezTo>
                  <a:cubicBezTo>
                    <a:pt x="2920364" y="2733199"/>
                    <a:pt x="2917602" y="2730437"/>
                    <a:pt x="2917602" y="2727008"/>
                  </a:cubicBezTo>
                  <a:cubicBezTo>
                    <a:pt x="2917602" y="2723579"/>
                    <a:pt x="2920364" y="2720817"/>
                    <a:pt x="2923793" y="2720817"/>
                  </a:cubicBezTo>
                  <a:close/>
                  <a:moveTo>
                    <a:pt x="381666" y="2719578"/>
                  </a:moveTo>
                  <a:lnTo>
                    <a:pt x="387430" y="2725341"/>
                  </a:lnTo>
                  <a:lnTo>
                    <a:pt x="391477" y="2721293"/>
                  </a:lnTo>
                  <a:lnTo>
                    <a:pt x="397668" y="2727484"/>
                  </a:lnTo>
                  <a:lnTo>
                    <a:pt x="400811" y="2724341"/>
                  </a:lnTo>
                  <a:cubicBezTo>
                    <a:pt x="404240" y="2724341"/>
                    <a:pt x="407002" y="2727103"/>
                    <a:pt x="407002" y="2730532"/>
                  </a:cubicBezTo>
                  <a:cubicBezTo>
                    <a:pt x="407002" y="2733961"/>
                    <a:pt x="404240" y="2736723"/>
                    <a:pt x="400811" y="2736723"/>
                  </a:cubicBezTo>
                  <a:lnTo>
                    <a:pt x="394620" y="2730532"/>
                  </a:lnTo>
                  <a:lnTo>
                    <a:pt x="391477" y="2733675"/>
                  </a:lnTo>
                  <a:lnTo>
                    <a:pt x="385714" y="2727913"/>
                  </a:lnTo>
                  <a:lnTo>
                    <a:pt x="381666" y="2731960"/>
                  </a:lnTo>
                  <a:cubicBezTo>
                    <a:pt x="378237" y="2731960"/>
                    <a:pt x="375475" y="2729198"/>
                    <a:pt x="375475" y="2725769"/>
                  </a:cubicBezTo>
                  <a:cubicBezTo>
                    <a:pt x="375475" y="2722340"/>
                    <a:pt x="378237" y="2719578"/>
                    <a:pt x="381666" y="2719578"/>
                  </a:cubicBezTo>
                  <a:close/>
                  <a:moveTo>
                    <a:pt x="531304" y="2718912"/>
                  </a:moveTo>
                  <a:cubicBezTo>
                    <a:pt x="534733" y="2718912"/>
                    <a:pt x="537495" y="2721674"/>
                    <a:pt x="537495" y="2725103"/>
                  </a:cubicBezTo>
                  <a:cubicBezTo>
                    <a:pt x="537495" y="2728532"/>
                    <a:pt x="534733" y="2731294"/>
                    <a:pt x="531304" y="2731294"/>
                  </a:cubicBezTo>
                  <a:cubicBezTo>
                    <a:pt x="527875" y="2731294"/>
                    <a:pt x="525113" y="2728532"/>
                    <a:pt x="525113" y="2725103"/>
                  </a:cubicBezTo>
                  <a:cubicBezTo>
                    <a:pt x="525113" y="2721674"/>
                    <a:pt x="527875" y="2718912"/>
                    <a:pt x="531304" y="2718912"/>
                  </a:cubicBezTo>
                  <a:close/>
                  <a:moveTo>
                    <a:pt x="1970055" y="2718721"/>
                  </a:moveTo>
                  <a:cubicBezTo>
                    <a:pt x="1973484" y="2718721"/>
                    <a:pt x="1976247" y="2721483"/>
                    <a:pt x="1976247" y="2724912"/>
                  </a:cubicBezTo>
                  <a:cubicBezTo>
                    <a:pt x="1976247" y="2728341"/>
                    <a:pt x="1973484" y="2731103"/>
                    <a:pt x="1970055" y="2731103"/>
                  </a:cubicBezTo>
                  <a:cubicBezTo>
                    <a:pt x="1966626" y="2731103"/>
                    <a:pt x="1963864" y="2728341"/>
                    <a:pt x="1963864" y="2724912"/>
                  </a:cubicBezTo>
                  <a:cubicBezTo>
                    <a:pt x="1963864" y="2721483"/>
                    <a:pt x="1966626" y="2718721"/>
                    <a:pt x="1970055" y="2718721"/>
                  </a:cubicBezTo>
                  <a:close/>
                  <a:moveTo>
                    <a:pt x="419290" y="2718245"/>
                  </a:moveTo>
                  <a:cubicBezTo>
                    <a:pt x="422719" y="2718245"/>
                    <a:pt x="425481" y="2721007"/>
                    <a:pt x="425481" y="2724436"/>
                  </a:cubicBezTo>
                  <a:cubicBezTo>
                    <a:pt x="425481" y="2727865"/>
                    <a:pt x="422719" y="2730628"/>
                    <a:pt x="419290" y="2730628"/>
                  </a:cubicBezTo>
                  <a:cubicBezTo>
                    <a:pt x="415861" y="2730628"/>
                    <a:pt x="413099" y="2727865"/>
                    <a:pt x="413099" y="2724436"/>
                  </a:cubicBezTo>
                  <a:cubicBezTo>
                    <a:pt x="413099" y="2721007"/>
                    <a:pt x="415861" y="2718245"/>
                    <a:pt x="419290" y="2718245"/>
                  </a:cubicBezTo>
                  <a:close/>
                  <a:moveTo>
                    <a:pt x="2550699" y="2715768"/>
                  </a:moveTo>
                  <a:cubicBezTo>
                    <a:pt x="2554128" y="2715768"/>
                    <a:pt x="2556890" y="2718530"/>
                    <a:pt x="2556890" y="2721959"/>
                  </a:cubicBezTo>
                  <a:cubicBezTo>
                    <a:pt x="2556890" y="2725388"/>
                    <a:pt x="2554128" y="2728151"/>
                    <a:pt x="2550699" y="2728151"/>
                  </a:cubicBezTo>
                  <a:cubicBezTo>
                    <a:pt x="2547270" y="2728151"/>
                    <a:pt x="2544508" y="2725388"/>
                    <a:pt x="2544508" y="2721959"/>
                  </a:cubicBezTo>
                  <a:cubicBezTo>
                    <a:pt x="2544508" y="2718530"/>
                    <a:pt x="2547270" y="2715768"/>
                    <a:pt x="2550699" y="2715768"/>
                  </a:cubicBezTo>
                  <a:close/>
                  <a:moveTo>
                    <a:pt x="408050" y="2714339"/>
                  </a:moveTo>
                  <a:cubicBezTo>
                    <a:pt x="411479" y="2714339"/>
                    <a:pt x="414242" y="2717101"/>
                    <a:pt x="414242" y="2720530"/>
                  </a:cubicBezTo>
                  <a:cubicBezTo>
                    <a:pt x="414242" y="2723959"/>
                    <a:pt x="411479" y="2726722"/>
                    <a:pt x="408050" y="2726722"/>
                  </a:cubicBezTo>
                  <a:cubicBezTo>
                    <a:pt x="404621" y="2726722"/>
                    <a:pt x="401859" y="2723959"/>
                    <a:pt x="401859" y="2720530"/>
                  </a:cubicBezTo>
                  <a:cubicBezTo>
                    <a:pt x="401859" y="2717101"/>
                    <a:pt x="404621" y="2714339"/>
                    <a:pt x="408050" y="2714339"/>
                  </a:cubicBezTo>
                  <a:close/>
                  <a:moveTo>
                    <a:pt x="1312925" y="2713292"/>
                  </a:moveTo>
                  <a:cubicBezTo>
                    <a:pt x="1316354" y="2713292"/>
                    <a:pt x="1319117" y="2716054"/>
                    <a:pt x="1319117" y="2719483"/>
                  </a:cubicBezTo>
                  <a:cubicBezTo>
                    <a:pt x="1319117" y="2722912"/>
                    <a:pt x="1316354" y="2725674"/>
                    <a:pt x="1312925" y="2725674"/>
                  </a:cubicBezTo>
                  <a:cubicBezTo>
                    <a:pt x="1309496" y="2725674"/>
                    <a:pt x="1306734" y="2722912"/>
                    <a:pt x="1306734" y="2719483"/>
                  </a:cubicBezTo>
                  <a:cubicBezTo>
                    <a:pt x="1306734" y="2716054"/>
                    <a:pt x="1309496" y="2713292"/>
                    <a:pt x="1312925" y="2713292"/>
                  </a:cubicBezTo>
                  <a:close/>
                  <a:moveTo>
                    <a:pt x="2983324" y="2712530"/>
                  </a:moveTo>
                  <a:cubicBezTo>
                    <a:pt x="2986753" y="2712530"/>
                    <a:pt x="2989515" y="2715292"/>
                    <a:pt x="2989515" y="2718721"/>
                  </a:cubicBezTo>
                  <a:cubicBezTo>
                    <a:pt x="2989515" y="2722150"/>
                    <a:pt x="2986753" y="2724913"/>
                    <a:pt x="2983324" y="2724913"/>
                  </a:cubicBezTo>
                  <a:cubicBezTo>
                    <a:pt x="2979895" y="2724913"/>
                    <a:pt x="2977133" y="2722150"/>
                    <a:pt x="2977133" y="2718721"/>
                  </a:cubicBezTo>
                  <a:cubicBezTo>
                    <a:pt x="2977133" y="2715292"/>
                    <a:pt x="2979895" y="2712530"/>
                    <a:pt x="2983324" y="2712530"/>
                  </a:cubicBezTo>
                  <a:close/>
                  <a:moveTo>
                    <a:pt x="2383249" y="2710815"/>
                  </a:moveTo>
                  <a:cubicBezTo>
                    <a:pt x="2386678" y="2710815"/>
                    <a:pt x="2389441" y="2713577"/>
                    <a:pt x="2389441" y="2717006"/>
                  </a:cubicBezTo>
                  <a:cubicBezTo>
                    <a:pt x="2389441" y="2720435"/>
                    <a:pt x="2386678" y="2723198"/>
                    <a:pt x="2383249" y="2723198"/>
                  </a:cubicBezTo>
                  <a:cubicBezTo>
                    <a:pt x="2379820" y="2723198"/>
                    <a:pt x="2377058" y="2720435"/>
                    <a:pt x="2377058" y="2717006"/>
                  </a:cubicBezTo>
                  <a:cubicBezTo>
                    <a:pt x="2377058" y="2713577"/>
                    <a:pt x="2379820" y="2710815"/>
                    <a:pt x="2383249" y="2710815"/>
                  </a:cubicBezTo>
                  <a:close/>
                  <a:moveTo>
                    <a:pt x="2878645" y="2710720"/>
                  </a:moveTo>
                  <a:cubicBezTo>
                    <a:pt x="2882074" y="2710720"/>
                    <a:pt x="2884836" y="2713482"/>
                    <a:pt x="2884836" y="2716911"/>
                  </a:cubicBezTo>
                  <a:cubicBezTo>
                    <a:pt x="2884836" y="2720340"/>
                    <a:pt x="2882074" y="2723103"/>
                    <a:pt x="2878645" y="2723103"/>
                  </a:cubicBezTo>
                  <a:cubicBezTo>
                    <a:pt x="2875216" y="2723103"/>
                    <a:pt x="2872454" y="2720340"/>
                    <a:pt x="2872454" y="2716911"/>
                  </a:cubicBezTo>
                  <a:cubicBezTo>
                    <a:pt x="2872454" y="2713482"/>
                    <a:pt x="2875216" y="2710720"/>
                    <a:pt x="2878645" y="2710720"/>
                  </a:cubicBezTo>
                  <a:close/>
                  <a:moveTo>
                    <a:pt x="572642" y="2710529"/>
                  </a:moveTo>
                  <a:cubicBezTo>
                    <a:pt x="576071" y="2710529"/>
                    <a:pt x="578833" y="2713291"/>
                    <a:pt x="578833" y="2716720"/>
                  </a:cubicBezTo>
                  <a:cubicBezTo>
                    <a:pt x="578833" y="2720149"/>
                    <a:pt x="576071" y="2722911"/>
                    <a:pt x="572642" y="2722911"/>
                  </a:cubicBezTo>
                  <a:cubicBezTo>
                    <a:pt x="569213" y="2722911"/>
                    <a:pt x="566451" y="2720149"/>
                    <a:pt x="566451" y="2716720"/>
                  </a:cubicBezTo>
                  <a:cubicBezTo>
                    <a:pt x="566451" y="2713291"/>
                    <a:pt x="569213" y="2710529"/>
                    <a:pt x="572642" y="2710529"/>
                  </a:cubicBezTo>
                  <a:close/>
                  <a:moveTo>
                    <a:pt x="2898076" y="2710244"/>
                  </a:moveTo>
                  <a:cubicBezTo>
                    <a:pt x="2901505" y="2710244"/>
                    <a:pt x="2904268" y="2713006"/>
                    <a:pt x="2904268" y="2716435"/>
                  </a:cubicBezTo>
                  <a:cubicBezTo>
                    <a:pt x="2904268" y="2719864"/>
                    <a:pt x="2901505" y="2722626"/>
                    <a:pt x="2898076" y="2722626"/>
                  </a:cubicBezTo>
                  <a:cubicBezTo>
                    <a:pt x="2894647" y="2722626"/>
                    <a:pt x="2891885" y="2719864"/>
                    <a:pt x="2891885" y="2716435"/>
                  </a:cubicBezTo>
                  <a:cubicBezTo>
                    <a:pt x="2891885" y="2713006"/>
                    <a:pt x="2894647" y="2710244"/>
                    <a:pt x="2898076" y="2710244"/>
                  </a:cubicBezTo>
                  <a:close/>
                  <a:moveTo>
                    <a:pt x="2960560" y="2709958"/>
                  </a:moveTo>
                  <a:lnTo>
                    <a:pt x="2966132" y="2715530"/>
                  </a:lnTo>
                  <a:lnTo>
                    <a:pt x="2971228" y="2710434"/>
                  </a:lnTo>
                  <a:cubicBezTo>
                    <a:pt x="2974657" y="2710434"/>
                    <a:pt x="2977419" y="2713196"/>
                    <a:pt x="2977419" y="2716625"/>
                  </a:cubicBezTo>
                  <a:cubicBezTo>
                    <a:pt x="2977419" y="2720054"/>
                    <a:pt x="2974657" y="2722817"/>
                    <a:pt x="2971228" y="2722817"/>
                  </a:cubicBezTo>
                  <a:lnTo>
                    <a:pt x="2965656" y="2717244"/>
                  </a:lnTo>
                  <a:lnTo>
                    <a:pt x="2960560" y="2722340"/>
                  </a:lnTo>
                  <a:lnTo>
                    <a:pt x="2956274" y="2718054"/>
                  </a:lnTo>
                  <a:lnTo>
                    <a:pt x="2950940" y="2723389"/>
                  </a:lnTo>
                  <a:lnTo>
                    <a:pt x="2947559" y="2720007"/>
                  </a:lnTo>
                  <a:lnTo>
                    <a:pt x="2941891" y="2725674"/>
                  </a:lnTo>
                  <a:lnTo>
                    <a:pt x="2939224" y="2723007"/>
                  </a:lnTo>
                  <a:lnTo>
                    <a:pt x="2933128" y="2729104"/>
                  </a:lnTo>
                  <a:cubicBezTo>
                    <a:pt x="2929699" y="2729104"/>
                    <a:pt x="2926937" y="2726341"/>
                    <a:pt x="2926937" y="2722912"/>
                  </a:cubicBezTo>
                  <a:cubicBezTo>
                    <a:pt x="2926937" y="2719483"/>
                    <a:pt x="2929699" y="2716721"/>
                    <a:pt x="2933128" y="2716721"/>
                  </a:cubicBezTo>
                  <a:lnTo>
                    <a:pt x="2935795" y="2719388"/>
                  </a:lnTo>
                  <a:lnTo>
                    <a:pt x="2941891" y="2713292"/>
                  </a:lnTo>
                  <a:lnTo>
                    <a:pt x="2945273" y="2716673"/>
                  </a:lnTo>
                  <a:lnTo>
                    <a:pt x="2950940" y="2711006"/>
                  </a:lnTo>
                  <a:lnTo>
                    <a:pt x="2955226" y="2715292"/>
                  </a:lnTo>
                  <a:close/>
                  <a:moveTo>
                    <a:pt x="2682811" y="2709672"/>
                  </a:moveTo>
                  <a:cubicBezTo>
                    <a:pt x="2686240" y="2709672"/>
                    <a:pt x="2689002" y="2712434"/>
                    <a:pt x="2689002" y="2715863"/>
                  </a:cubicBezTo>
                  <a:cubicBezTo>
                    <a:pt x="2689002" y="2719292"/>
                    <a:pt x="2686240" y="2722054"/>
                    <a:pt x="2682811" y="2722054"/>
                  </a:cubicBezTo>
                  <a:cubicBezTo>
                    <a:pt x="2679382" y="2722054"/>
                    <a:pt x="2676620" y="2719292"/>
                    <a:pt x="2676620" y="2715863"/>
                  </a:cubicBezTo>
                  <a:cubicBezTo>
                    <a:pt x="2676620" y="2712434"/>
                    <a:pt x="2679382" y="2709672"/>
                    <a:pt x="2682811" y="2709672"/>
                  </a:cubicBezTo>
                  <a:close/>
                  <a:moveTo>
                    <a:pt x="2854070" y="2709005"/>
                  </a:moveTo>
                  <a:cubicBezTo>
                    <a:pt x="2857499" y="2709005"/>
                    <a:pt x="2860262" y="2711767"/>
                    <a:pt x="2860262" y="2715196"/>
                  </a:cubicBezTo>
                  <a:cubicBezTo>
                    <a:pt x="2860262" y="2718625"/>
                    <a:pt x="2857499" y="2721388"/>
                    <a:pt x="2854070" y="2721388"/>
                  </a:cubicBezTo>
                  <a:cubicBezTo>
                    <a:pt x="2850641" y="2721388"/>
                    <a:pt x="2847879" y="2718625"/>
                    <a:pt x="2847879" y="2715196"/>
                  </a:cubicBezTo>
                  <a:cubicBezTo>
                    <a:pt x="2847879" y="2711767"/>
                    <a:pt x="2850641" y="2709005"/>
                    <a:pt x="2854070" y="2709005"/>
                  </a:cubicBezTo>
                  <a:close/>
                  <a:moveTo>
                    <a:pt x="2913411" y="2708148"/>
                  </a:moveTo>
                  <a:cubicBezTo>
                    <a:pt x="2916840" y="2708148"/>
                    <a:pt x="2919602" y="2710910"/>
                    <a:pt x="2919602" y="2714339"/>
                  </a:cubicBezTo>
                  <a:cubicBezTo>
                    <a:pt x="2919602" y="2717768"/>
                    <a:pt x="2916840" y="2720530"/>
                    <a:pt x="2913411" y="2720530"/>
                  </a:cubicBezTo>
                  <a:cubicBezTo>
                    <a:pt x="2909982" y="2720530"/>
                    <a:pt x="2907220" y="2717768"/>
                    <a:pt x="2907220" y="2714339"/>
                  </a:cubicBezTo>
                  <a:cubicBezTo>
                    <a:pt x="2907220" y="2710910"/>
                    <a:pt x="2909982" y="2708148"/>
                    <a:pt x="2913411" y="2708148"/>
                  </a:cubicBezTo>
                  <a:close/>
                  <a:moveTo>
                    <a:pt x="2074830" y="2706148"/>
                  </a:moveTo>
                  <a:cubicBezTo>
                    <a:pt x="2078259" y="2706148"/>
                    <a:pt x="2081022" y="2708910"/>
                    <a:pt x="2081022" y="2712339"/>
                  </a:cubicBezTo>
                  <a:cubicBezTo>
                    <a:pt x="2081022" y="2715768"/>
                    <a:pt x="2078259" y="2718530"/>
                    <a:pt x="2074830" y="2718530"/>
                  </a:cubicBezTo>
                  <a:cubicBezTo>
                    <a:pt x="2071401" y="2718530"/>
                    <a:pt x="2068639" y="2715768"/>
                    <a:pt x="2068639" y="2712339"/>
                  </a:cubicBezTo>
                  <a:cubicBezTo>
                    <a:pt x="2068639" y="2708910"/>
                    <a:pt x="2071401" y="2706148"/>
                    <a:pt x="2074830" y="2706148"/>
                  </a:cubicBezTo>
                  <a:close/>
                  <a:moveTo>
                    <a:pt x="2925793" y="2705196"/>
                  </a:moveTo>
                  <a:cubicBezTo>
                    <a:pt x="2929222" y="2705196"/>
                    <a:pt x="2931985" y="2707958"/>
                    <a:pt x="2931985" y="2711387"/>
                  </a:cubicBezTo>
                  <a:cubicBezTo>
                    <a:pt x="2931985" y="2714816"/>
                    <a:pt x="2929222" y="2717578"/>
                    <a:pt x="2925793" y="2717578"/>
                  </a:cubicBezTo>
                  <a:cubicBezTo>
                    <a:pt x="2922364" y="2717578"/>
                    <a:pt x="2919602" y="2714816"/>
                    <a:pt x="2919602" y="2711387"/>
                  </a:cubicBezTo>
                  <a:cubicBezTo>
                    <a:pt x="2919602" y="2707958"/>
                    <a:pt x="2922364" y="2705196"/>
                    <a:pt x="2925793" y="2705196"/>
                  </a:cubicBezTo>
                  <a:close/>
                  <a:moveTo>
                    <a:pt x="2823305" y="2704338"/>
                  </a:moveTo>
                  <a:cubicBezTo>
                    <a:pt x="2826734" y="2704338"/>
                    <a:pt x="2829496" y="2707100"/>
                    <a:pt x="2829496" y="2710529"/>
                  </a:cubicBezTo>
                  <a:cubicBezTo>
                    <a:pt x="2829496" y="2713958"/>
                    <a:pt x="2826734" y="2716720"/>
                    <a:pt x="2823305" y="2716720"/>
                  </a:cubicBezTo>
                  <a:cubicBezTo>
                    <a:pt x="2819876" y="2716720"/>
                    <a:pt x="2817114" y="2713958"/>
                    <a:pt x="2817114" y="2710529"/>
                  </a:cubicBezTo>
                  <a:cubicBezTo>
                    <a:pt x="2817114" y="2707100"/>
                    <a:pt x="2819876" y="2704338"/>
                    <a:pt x="2823305" y="2704338"/>
                  </a:cubicBezTo>
                  <a:close/>
                  <a:moveTo>
                    <a:pt x="749712" y="2704053"/>
                  </a:moveTo>
                  <a:cubicBezTo>
                    <a:pt x="753141" y="2704053"/>
                    <a:pt x="755904" y="2706815"/>
                    <a:pt x="755904" y="2710244"/>
                  </a:cubicBezTo>
                  <a:cubicBezTo>
                    <a:pt x="755904" y="2713673"/>
                    <a:pt x="753141" y="2716435"/>
                    <a:pt x="749712" y="2716435"/>
                  </a:cubicBezTo>
                  <a:cubicBezTo>
                    <a:pt x="746283" y="2716435"/>
                    <a:pt x="743521" y="2713673"/>
                    <a:pt x="743521" y="2710244"/>
                  </a:cubicBezTo>
                  <a:cubicBezTo>
                    <a:pt x="743521" y="2706815"/>
                    <a:pt x="746283" y="2704053"/>
                    <a:pt x="749712" y="2704053"/>
                  </a:cubicBezTo>
                  <a:close/>
                  <a:moveTo>
                    <a:pt x="363092" y="2701671"/>
                  </a:moveTo>
                  <a:lnTo>
                    <a:pt x="368045" y="2706624"/>
                  </a:lnTo>
                  <a:lnTo>
                    <a:pt x="372522" y="2702147"/>
                  </a:lnTo>
                  <a:lnTo>
                    <a:pt x="377809" y="2707434"/>
                  </a:lnTo>
                  <a:lnTo>
                    <a:pt x="381285" y="2703957"/>
                  </a:lnTo>
                  <a:lnTo>
                    <a:pt x="386905" y="2709577"/>
                  </a:lnTo>
                  <a:lnTo>
                    <a:pt x="389762" y="2706720"/>
                  </a:lnTo>
                  <a:lnTo>
                    <a:pt x="395906" y="2712864"/>
                  </a:lnTo>
                  <a:lnTo>
                    <a:pt x="398430" y="2710339"/>
                  </a:lnTo>
                  <a:cubicBezTo>
                    <a:pt x="401859" y="2710339"/>
                    <a:pt x="404621" y="2713101"/>
                    <a:pt x="404621" y="2716530"/>
                  </a:cubicBezTo>
                  <a:cubicBezTo>
                    <a:pt x="404621" y="2719959"/>
                    <a:pt x="401859" y="2722721"/>
                    <a:pt x="398430" y="2722721"/>
                  </a:cubicBezTo>
                  <a:lnTo>
                    <a:pt x="392287" y="2716578"/>
                  </a:lnTo>
                  <a:lnTo>
                    <a:pt x="389762" y="2719102"/>
                  </a:lnTo>
                  <a:lnTo>
                    <a:pt x="384142" y="2713483"/>
                  </a:lnTo>
                  <a:lnTo>
                    <a:pt x="381285" y="2716340"/>
                  </a:lnTo>
                  <a:lnTo>
                    <a:pt x="375999" y="2711053"/>
                  </a:lnTo>
                  <a:lnTo>
                    <a:pt x="372522" y="2714530"/>
                  </a:lnTo>
                  <a:lnTo>
                    <a:pt x="367569" y="2709576"/>
                  </a:lnTo>
                  <a:lnTo>
                    <a:pt x="363092" y="2714053"/>
                  </a:lnTo>
                  <a:cubicBezTo>
                    <a:pt x="359663" y="2714053"/>
                    <a:pt x="356901" y="2711291"/>
                    <a:pt x="356901" y="2707862"/>
                  </a:cubicBezTo>
                  <a:cubicBezTo>
                    <a:pt x="356901" y="2704433"/>
                    <a:pt x="359663" y="2701671"/>
                    <a:pt x="363092" y="2701671"/>
                  </a:cubicBezTo>
                  <a:close/>
                  <a:moveTo>
                    <a:pt x="910684" y="2700433"/>
                  </a:moveTo>
                  <a:cubicBezTo>
                    <a:pt x="914113" y="2700433"/>
                    <a:pt x="916876" y="2703195"/>
                    <a:pt x="916876" y="2706624"/>
                  </a:cubicBezTo>
                  <a:cubicBezTo>
                    <a:pt x="916876" y="2710053"/>
                    <a:pt x="914113" y="2712815"/>
                    <a:pt x="910684" y="2712815"/>
                  </a:cubicBezTo>
                  <a:cubicBezTo>
                    <a:pt x="907255" y="2712815"/>
                    <a:pt x="904493" y="2710053"/>
                    <a:pt x="904493" y="2706624"/>
                  </a:cubicBezTo>
                  <a:cubicBezTo>
                    <a:pt x="904493" y="2703195"/>
                    <a:pt x="907255" y="2700433"/>
                    <a:pt x="910684" y="2700433"/>
                  </a:cubicBezTo>
                  <a:close/>
                  <a:moveTo>
                    <a:pt x="1209960" y="2699195"/>
                  </a:moveTo>
                  <a:cubicBezTo>
                    <a:pt x="1213389" y="2699195"/>
                    <a:pt x="1216152" y="2701957"/>
                    <a:pt x="1216152" y="2705386"/>
                  </a:cubicBezTo>
                  <a:cubicBezTo>
                    <a:pt x="1216152" y="2708815"/>
                    <a:pt x="1213389" y="2711578"/>
                    <a:pt x="1209960" y="2711578"/>
                  </a:cubicBezTo>
                  <a:cubicBezTo>
                    <a:pt x="1206531" y="2711578"/>
                    <a:pt x="1203769" y="2708815"/>
                    <a:pt x="1203769" y="2705386"/>
                  </a:cubicBezTo>
                  <a:cubicBezTo>
                    <a:pt x="1203769" y="2701957"/>
                    <a:pt x="1206531" y="2699195"/>
                    <a:pt x="1209960" y="2699195"/>
                  </a:cubicBezTo>
                  <a:close/>
                  <a:moveTo>
                    <a:pt x="3001994" y="2698623"/>
                  </a:moveTo>
                  <a:cubicBezTo>
                    <a:pt x="3004887" y="2698623"/>
                    <a:pt x="3007233" y="2700968"/>
                    <a:pt x="3007233" y="2703862"/>
                  </a:cubicBezTo>
                  <a:cubicBezTo>
                    <a:pt x="3007233" y="2706755"/>
                    <a:pt x="3004887" y="2709100"/>
                    <a:pt x="3001994" y="2709100"/>
                  </a:cubicBezTo>
                  <a:cubicBezTo>
                    <a:pt x="2999101" y="2709100"/>
                    <a:pt x="2996755" y="2706755"/>
                    <a:pt x="2996755" y="2703862"/>
                  </a:cubicBezTo>
                  <a:cubicBezTo>
                    <a:pt x="2996755" y="2700968"/>
                    <a:pt x="2999101" y="2698623"/>
                    <a:pt x="3001994" y="2698623"/>
                  </a:cubicBezTo>
                  <a:close/>
                  <a:moveTo>
                    <a:pt x="438911" y="2698433"/>
                  </a:moveTo>
                  <a:cubicBezTo>
                    <a:pt x="442340" y="2698433"/>
                    <a:pt x="445102" y="2701195"/>
                    <a:pt x="445102" y="2704624"/>
                  </a:cubicBezTo>
                  <a:cubicBezTo>
                    <a:pt x="445102" y="2708053"/>
                    <a:pt x="442340" y="2710815"/>
                    <a:pt x="438911" y="2710815"/>
                  </a:cubicBezTo>
                  <a:cubicBezTo>
                    <a:pt x="435482" y="2710815"/>
                    <a:pt x="432720" y="2708053"/>
                    <a:pt x="432720" y="2704624"/>
                  </a:cubicBezTo>
                  <a:cubicBezTo>
                    <a:pt x="432720" y="2701195"/>
                    <a:pt x="435482" y="2698433"/>
                    <a:pt x="438911" y="2698433"/>
                  </a:cubicBezTo>
                  <a:close/>
                  <a:moveTo>
                    <a:pt x="421004" y="2698242"/>
                  </a:moveTo>
                  <a:cubicBezTo>
                    <a:pt x="424433" y="2698242"/>
                    <a:pt x="427195" y="2701004"/>
                    <a:pt x="427195" y="2704433"/>
                  </a:cubicBezTo>
                  <a:cubicBezTo>
                    <a:pt x="427195" y="2707862"/>
                    <a:pt x="424433" y="2710625"/>
                    <a:pt x="421004" y="2710625"/>
                  </a:cubicBezTo>
                  <a:cubicBezTo>
                    <a:pt x="417575" y="2710625"/>
                    <a:pt x="414813" y="2707862"/>
                    <a:pt x="414813" y="2704433"/>
                  </a:cubicBezTo>
                  <a:cubicBezTo>
                    <a:pt x="414813" y="2701004"/>
                    <a:pt x="417575" y="2698242"/>
                    <a:pt x="421004" y="2698242"/>
                  </a:cubicBezTo>
                  <a:close/>
                  <a:moveTo>
                    <a:pt x="623315" y="2697290"/>
                  </a:moveTo>
                  <a:cubicBezTo>
                    <a:pt x="626735" y="2697290"/>
                    <a:pt x="629506" y="2700062"/>
                    <a:pt x="629506" y="2703481"/>
                  </a:cubicBezTo>
                  <a:cubicBezTo>
                    <a:pt x="629506" y="2706901"/>
                    <a:pt x="626735" y="2709673"/>
                    <a:pt x="623315" y="2709673"/>
                  </a:cubicBezTo>
                  <a:cubicBezTo>
                    <a:pt x="619896" y="2709673"/>
                    <a:pt x="617124" y="2706901"/>
                    <a:pt x="617124" y="2703481"/>
                  </a:cubicBezTo>
                  <a:cubicBezTo>
                    <a:pt x="617124" y="2700062"/>
                    <a:pt x="619896" y="2697290"/>
                    <a:pt x="623315" y="2697290"/>
                  </a:cubicBezTo>
                  <a:close/>
                  <a:moveTo>
                    <a:pt x="461581" y="2696528"/>
                  </a:moveTo>
                  <a:cubicBezTo>
                    <a:pt x="465010" y="2696528"/>
                    <a:pt x="467772" y="2699290"/>
                    <a:pt x="467772" y="2702719"/>
                  </a:cubicBezTo>
                  <a:cubicBezTo>
                    <a:pt x="467772" y="2706148"/>
                    <a:pt x="465010" y="2708911"/>
                    <a:pt x="461581" y="2708911"/>
                  </a:cubicBezTo>
                  <a:cubicBezTo>
                    <a:pt x="458152" y="2708911"/>
                    <a:pt x="455390" y="2706148"/>
                    <a:pt x="455390" y="2702719"/>
                  </a:cubicBezTo>
                  <a:cubicBezTo>
                    <a:pt x="455390" y="2699290"/>
                    <a:pt x="458152" y="2696528"/>
                    <a:pt x="461581" y="2696528"/>
                  </a:cubicBezTo>
                  <a:close/>
                  <a:moveTo>
                    <a:pt x="406907" y="2696528"/>
                  </a:moveTo>
                  <a:cubicBezTo>
                    <a:pt x="410336" y="2696528"/>
                    <a:pt x="413098" y="2699290"/>
                    <a:pt x="413098" y="2702719"/>
                  </a:cubicBezTo>
                  <a:cubicBezTo>
                    <a:pt x="413098" y="2706148"/>
                    <a:pt x="410336" y="2708911"/>
                    <a:pt x="406907" y="2708911"/>
                  </a:cubicBezTo>
                  <a:cubicBezTo>
                    <a:pt x="403478" y="2708911"/>
                    <a:pt x="400716" y="2706148"/>
                    <a:pt x="400716" y="2702719"/>
                  </a:cubicBezTo>
                  <a:cubicBezTo>
                    <a:pt x="400716" y="2699290"/>
                    <a:pt x="403478" y="2696528"/>
                    <a:pt x="406907" y="2696528"/>
                  </a:cubicBezTo>
                  <a:close/>
                  <a:moveTo>
                    <a:pt x="2784919" y="2696052"/>
                  </a:moveTo>
                  <a:cubicBezTo>
                    <a:pt x="2788348" y="2696052"/>
                    <a:pt x="2791110" y="2698814"/>
                    <a:pt x="2791110" y="2702243"/>
                  </a:cubicBezTo>
                  <a:cubicBezTo>
                    <a:pt x="2791110" y="2705672"/>
                    <a:pt x="2788348" y="2708434"/>
                    <a:pt x="2784919" y="2708434"/>
                  </a:cubicBezTo>
                  <a:cubicBezTo>
                    <a:pt x="2781490" y="2708434"/>
                    <a:pt x="2778728" y="2705672"/>
                    <a:pt x="2778728" y="2702243"/>
                  </a:cubicBezTo>
                  <a:cubicBezTo>
                    <a:pt x="2778728" y="2698814"/>
                    <a:pt x="2781490" y="2696052"/>
                    <a:pt x="2784919" y="2696052"/>
                  </a:cubicBezTo>
                  <a:close/>
                  <a:moveTo>
                    <a:pt x="2989611" y="2694242"/>
                  </a:moveTo>
                  <a:cubicBezTo>
                    <a:pt x="2993040" y="2694242"/>
                    <a:pt x="2995802" y="2697004"/>
                    <a:pt x="2995802" y="2700433"/>
                  </a:cubicBezTo>
                  <a:cubicBezTo>
                    <a:pt x="2995802" y="2703862"/>
                    <a:pt x="2993040" y="2706624"/>
                    <a:pt x="2989611" y="2706624"/>
                  </a:cubicBezTo>
                  <a:cubicBezTo>
                    <a:pt x="2986182" y="2706624"/>
                    <a:pt x="2983420" y="2703862"/>
                    <a:pt x="2983420" y="2700433"/>
                  </a:cubicBezTo>
                  <a:cubicBezTo>
                    <a:pt x="2983420" y="2697004"/>
                    <a:pt x="2986182" y="2694242"/>
                    <a:pt x="2989611" y="2694242"/>
                  </a:cubicBezTo>
                  <a:close/>
                  <a:moveTo>
                    <a:pt x="2969418" y="2692146"/>
                  </a:moveTo>
                  <a:lnTo>
                    <a:pt x="2974276" y="2697004"/>
                  </a:lnTo>
                  <a:lnTo>
                    <a:pt x="2978848" y="2692432"/>
                  </a:lnTo>
                  <a:cubicBezTo>
                    <a:pt x="2982277" y="2692432"/>
                    <a:pt x="2985040" y="2695194"/>
                    <a:pt x="2985040" y="2698623"/>
                  </a:cubicBezTo>
                  <a:cubicBezTo>
                    <a:pt x="2985040" y="2702052"/>
                    <a:pt x="2982277" y="2704814"/>
                    <a:pt x="2978848" y="2704814"/>
                  </a:cubicBezTo>
                  <a:lnTo>
                    <a:pt x="2973990" y="2699956"/>
                  </a:lnTo>
                  <a:lnTo>
                    <a:pt x="2969418" y="2704528"/>
                  </a:lnTo>
                  <a:lnTo>
                    <a:pt x="2965751" y="2700862"/>
                  </a:lnTo>
                  <a:lnTo>
                    <a:pt x="2960941" y="2705671"/>
                  </a:lnTo>
                  <a:lnTo>
                    <a:pt x="2958036" y="2702767"/>
                  </a:lnTo>
                  <a:lnTo>
                    <a:pt x="2952940" y="2707862"/>
                  </a:lnTo>
                  <a:lnTo>
                    <a:pt x="2950321" y="2705243"/>
                  </a:lnTo>
                  <a:lnTo>
                    <a:pt x="2944748" y="2710815"/>
                  </a:lnTo>
                  <a:lnTo>
                    <a:pt x="2942034" y="2708101"/>
                  </a:lnTo>
                  <a:lnTo>
                    <a:pt x="2935985" y="2714149"/>
                  </a:lnTo>
                  <a:cubicBezTo>
                    <a:pt x="2932556" y="2714149"/>
                    <a:pt x="2929794" y="2711387"/>
                    <a:pt x="2929794" y="2707958"/>
                  </a:cubicBezTo>
                  <a:cubicBezTo>
                    <a:pt x="2929794" y="2704529"/>
                    <a:pt x="2932556" y="2701767"/>
                    <a:pt x="2935985" y="2701767"/>
                  </a:cubicBezTo>
                  <a:lnTo>
                    <a:pt x="2938700" y="2704482"/>
                  </a:lnTo>
                  <a:lnTo>
                    <a:pt x="2944748" y="2698433"/>
                  </a:lnTo>
                  <a:lnTo>
                    <a:pt x="2947367" y="2701053"/>
                  </a:lnTo>
                  <a:lnTo>
                    <a:pt x="2952940" y="2695480"/>
                  </a:lnTo>
                  <a:lnTo>
                    <a:pt x="2955845" y="2698385"/>
                  </a:lnTo>
                  <a:lnTo>
                    <a:pt x="2960941" y="2693289"/>
                  </a:lnTo>
                  <a:lnTo>
                    <a:pt x="2964608" y="2696956"/>
                  </a:lnTo>
                  <a:close/>
                  <a:moveTo>
                    <a:pt x="490251" y="2691861"/>
                  </a:moveTo>
                  <a:cubicBezTo>
                    <a:pt x="493680" y="2691861"/>
                    <a:pt x="496442" y="2694623"/>
                    <a:pt x="496442" y="2698052"/>
                  </a:cubicBezTo>
                  <a:cubicBezTo>
                    <a:pt x="496442" y="2701481"/>
                    <a:pt x="493680" y="2704243"/>
                    <a:pt x="490251" y="2704243"/>
                  </a:cubicBezTo>
                  <a:cubicBezTo>
                    <a:pt x="486822" y="2704243"/>
                    <a:pt x="484060" y="2701481"/>
                    <a:pt x="484060" y="2698052"/>
                  </a:cubicBezTo>
                  <a:cubicBezTo>
                    <a:pt x="484060" y="2694623"/>
                    <a:pt x="486822" y="2691861"/>
                    <a:pt x="490251" y="2691861"/>
                  </a:cubicBezTo>
                  <a:close/>
                  <a:moveTo>
                    <a:pt x="2617755" y="2690432"/>
                  </a:moveTo>
                  <a:cubicBezTo>
                    <a:pt x="2621184" y="2690432"/>
                    <a:pt x="2623947" y="2693194"/>
                    <a:pt x="2623947" y="2696623"/>
                  </a:cubicBezTo>
                  <a:cubicBezTo>
                    <a:pt x="2623947" y="2700052"/>
                    <a:pt x="2621184" y="2702814"/>
                    <a:pt x="2617755" y="2702814"/>
                  </a:cubicBezTo>
                  <a:cubicBezTo>
                    <a:pt x="2614326" y="2702814"/>
                    <a:pt x="2611564" y="2700052"/>
                    <a:pt x="2611564" y="2696623"/>
                  </a:cubicBezTo>
                  <a:cubicBezTo>
                    <a:pt x="2611564" y="2693194"/>
                    <a:pt x="2614326" y="2690432"/>
                    <a:pt x="2617755" y="2690432"/>
                  </a:cubicBezTo>
                  <a:close/>
                  <a:moveTo>
                    <a:pt x="2175509" y="2690432"/>
                  </a:moveTo>
                  <a:cubicBezTo>
                    <a:pt x="2178938" y="2690432"/>
                    <a:pt x="2181701" y="2693194"/>
                    <a:pt x="2181701" y="2696623"/>
                  </a:cubicBezTo>
                  <a:cubicBezTo>
                    <a:pt x="2181701" y="2700052"/>
                    <a:pt x="2178938" y="2702814"/>
                    <a:pt x="2175509" y="2702814"/>
                  </a:cubicBezTo>
                  <a:cubicBezTo>
                    <a:pt x="2172080" y="2702814"/>
                    <a:pt x="2169318" y="2700052"/>
                    <a:pt x="2169318" y="2696623"/>
                  </a:cubicBezTo>
                  <a:cubicBezTo>
                    <a:pt x="2169318" y="2693194"/>
                    <a:pt x="2172080" y="2690432"/>
                    <a:pt x="2175509" y="2690432"/>
                  </a:cubicBezTo>
                  <a:close/>
                  <a:moveTo>
                    <a:pt x="3020377" y="2689289"/>
                  </a:moveTo>
                  <a:cubicBezTo>
                    <a:pt x="3020588" y="2689289"/>
                    <a:pt x="3020758" y="2689460"/>
                    <a:pt x="3020758" y="2689670"/>
                  </a:cubicBezTo>
                  <a:cubicBezTo>
                    <a:pt x="3020758" y="2689880"/>
                    <a:pt x="3020588" y="2690051"/>
                    <a:pt x="3020377" y="2690051"/>
                  </a:cubicBezTo>
                  <a:cubicBezTo>
                    <a:pt x="3020167" y="2690051"/>
                    <a:pt x="3019996" y="2689880"/>
                    <a:pt x="3019996" y="2689670"/>
                  </a:cubicBezTo>
                  <a:cubicBezTo>
                    <a:pt x="3019996" y="2689460"/>
                    <a:pt x="3020167" y="2689289"/>
                    <a:pt x="3020377" y="2689289"/>
                  </a:cubicBezTo>
                  <a:close/>
                  <a:moveTo>
                    <a:pt x="344900" y="2688241"/>
                  </a:moveTo>
                  <a:cubicBezTo>
                    <a:pt x="346267" y="2688241"/>
                    <a:pt x="347376" y="2689350"/>
                    <a:pt x="347376" y="2690718"/>
                  </a:cubicBezTo>
                  <a:cubicBezTo>
                    <a:pt x="347376" y="2692085"/>
                    <a:pt x="346267" y="2693194"/>
                    <a:pt x="344900" y="2693194"/>
                  </a:cubicBezTo>
                  <a:cubicBezTo>
                    <a:pt x="343532" y="2693194"/>
                    <a:pt x="342423" y="2692086"/>
                    <a:pt x="342423" y="2690718"/>
                  </a:cubicBezTo>
                  <a:cubicBezTo>
                    <a:pt x="342423" y="2689350"/>
                    <a:pt x="343532" y="2688241"/>
                    <a:pt x="344900" y="2688241"/>
                  </a:cubicBezTo>
                  <a:close/>
                  <a:moveTo>
                    <a:pt x="2464117" y="2688146"/>
                  </a:moveTo>
                  <a:cubicBezTo>
                    <a:pt x="2467546" y="2688146"/>
                    <a:pt x="2470309" y="2690908"/>
                    <a:pt x="2470309" y="2694337"/>
                  </a:cubicBezTo>
                  <a:cubicBezTo>
                    <a:pt x="2470309" y="2697766"/>
                    <a:pt x="2467546" y="2700529"/>
                    <a:pt x="2464117" y="2700529"/>
                  </a:cubicBezTo>
                  <a:cubicBezTo>
                    <a:pt x="2460688" y="2700529"/>
                    <a:pt x="2457926" y="2697766"/>
                    <a:pt x="2457926" y="2694337"/>
                  </a:cubicBezTo>
                  <a:cubicBezTo>
                    <a:pt x="2457926" y="2690908"/>
                    <a:pt x="2460688" y="2688146"/>
                    <a:pt x="2464117" y="2688146"/>
                  </a:cubicBezTo>
                  <a:close/>
                  <a:moveTo>
                    <a:pt x="2925603" y="2684621"/>
                  </a:moveTo>
                  <a:cubicBezTo>
                    <a:pt x="2929032" y="2684621"/>
                    <a:pt x="2931794" y="2687383"/>
                    <a:pt x="2931794" y="2690812"/>
                  </a:cubicBezTo>
                  <a:cubicBezTo>
                    <a:pt x="2931794" y="2694241"/>
                    <a:pt x="2929032" y="2697004"/>
                    <a:pt x="2925603" y="2697004"/>
                  </a:cubicBezTo>
                  <a:cubicBezTo>
                    <a:pt x="2922174" y="2697004"/>
                    <a:pt x="2919412" y="2694241"/>
                    <a:pt x="2919412" y="2690812"/>
                  </a:cubicBezTo>
                  <a:cubicBezTo>
                    <a:pt x="2919412" y="2687383"/>
                    <a:pt x="2922174" y="2684621"/>
                    <a:pt x="2925603" y="2684621"/>
                  </a:cubicBezTo>
                  <a:close/>
                  <a:moveTo>
                    <a:pt x="2909410" y="2684431"/>
                  </a:moveTo>
                  <a:cubicBezTo>
                    <a:pt x="2912839" y="2684431"/>
                    <a:pt x="2915602" y="2687193"/>
                    <a:pt x="2915602" y="2690622"/>
                  </a:cubicBezTo>
                  <a:cubicBezTo>
                    <a:pt x="2915602" y="2694051"/>
                    <a:pt x="2912839" y="2696813"/>
                    <a:pt x="2909410" y="2696813"/>
                  </a:cubicBezTo>
                  <a:cubicBezTo>
                    <a:pt x="2905981" y="2696813"/>
                    <a:pt x="2903219" y="2694051"/>
                    <a:pt x="2903219" y="2690622"/>
                  </a:cubicBezTo>
                  <a:cubicBezTo>
                    <a:pt x="2903219" y="2687193"/>
                    <a:pt x="2905981" y="2684431"/>
                    <a:pt x="2909410" y="2684431"/>
                  </a:cubicBezTo>
                  <a:close/>
                  <a:moveTo>
                    <a:pt x="354329" y="2683669"/>
                  </a:moveTo>
                  <a:lnTo>
                    <a:pt x="358758" y="2688098"/>
                  </a:lnTo>
                  <a:lnTo>
                    <a:pt x="362616" y="2684240"/>
                  </a:lnTo>
                  <a:lnTo>
                    <a:pt x="367284" y="2688907"/>
                  </a:lnTo>
                  <a:lnTo>
                    <a:pt x="370427" y="2685764"/>
                  </a:lnTo>
                  <a:lnTo>
                    <a:pt x="375428" y="2690765"/>
                  </a:lnTo>
                  <a:lnTo>
                    <a:pt x="378047" y="2688146"/>
                  </a:lnTo>
                  <a:lnTo>
                    <a:pt x="383619" y="2693718"/>
                  </a:lnTo>
                  <a:lnTo>
                    <a:pt x="386238" y="2691098"/>
                  </a:lnTo>
                  <a:lnTo>
                    <a:pt x="392382" y="2697242"/>
                  </a:lnTo>
                  <a:lnTo>
                    <a:pt x="395573" y="2694051"/>
                  </a:lnTo>
                  <a:cubicBezTo>
                    <a:pt x="399002" y="2694051"/>
                    <a:pt x="401764" y="2696813"/>
                    <a:pt x="401764" y="2700242"/>
                  </a:cubicBezTo>
                  <a:cubicBezTo>
                    <a:pt x="401764" y="2703671"/>
                    <a:pt x="399002" y="2706434"/>
                    <a:pt x="395573" y="2706434"/>
                  </a:cubicBezTo>
                  <a:lnTo>
                    <a:pt x="389429" y="2700289"/>
                  </a:lnTo>
                  <a:lnTo>
                    <a:pt x="386238" y="2703481"/>
                  </a:lnTo>
                  <a:lnTo>
                    <a:pt x="380667" y="2697909"/>
                  </a:lnTo>
                  <a:lnTo>
                    <a:pt x="378047" y="2700529"/>
                  </a:lnTo>
                  <a:lnTo>
                    <a:pt x="373046" y="2695528"/>
                  </a:lnTo>
                  <a:lnTo>
                    <a:pt x="370427" y="2698147"/>
                  </a:lnTo>
                  <a:lnTo>
                    <a:pt x="365760" y="2693479"/>
                  </a:lnTo>
                  <a:lnTo>
                    <a:pt x="362616" y="2696623"/>
                  </a:lnTo>
                  <a:lnTo>
                    <a:pt x="358187" y="2692194"/>
                  </a:lnTo>
                  <a:lnTo>
                    <a:pt x="354329" y="2696052"/>
                  </a:lnTo>
                  <a:cubicBezTo>
                    <a:pt x="350900" y="2696052"/>
                    <a:pt x="348138" y="2693289"/>
                    <a:pt x="348138" y="2689860"/>
                  </a:cubicBezTo>
                  <a:cubicBezTo>
                    <a:pt x="348138" y="2686431"/>
                    <a:pt x="350900" y="2683669"/>
                    <a:pt x="354329" y="2683669"/>
                  </a:cubicBezTo>
                  <a:close/>
                  <a:moveTo>
                    <a:pt x="526065" y="2683479"/>
                  </a:moveTo>
                  <a:cubicBezTo>
                    <a:pt x="529494" y="2683479"/>
                    <a:pt x="532256" y="2686241"/>
                    <a:pt x="532256" y="2689670"/>
                  </a:cubicBezTo>
                  <a:cubicBezTo>
                    <a:pt x="532256" y="2693099"/>
                    <a:pt x="529494" y="2695861"/>
                    <a:pt x="526065" y="2695861"/>
                  </a:cubicBezTo>
                  <a:cubicBezTo>
                    <a:pt x="522636" y="2695861"/>
                    <a:pt x="519874" y="2693099"/>
                    <a:pt x="519874" y="2689670"/>
                  </a:cubicBezTo>
                  <a:cubicBezTo>
                    <a:pt x="519874" y="2686241"/>
                    <a:pt x="522636" y="2683479"/>
                    <a:pt x="526065" y="2683479"/>
                  </a:cubicBezTo>
                  <a:close/>
                  <a:moveTo>
                    <a:pt x="2737675" y="2683097"/>
                  </a:moveTo>
                  <a:cubicBezTo>
                    <a:pt x="2741104" y="2683097"/>
                    <a:pt x="2743867" y="2685859"/>
                    <a:pt x="2743867" y="2689288"/>
                  </a:cubicBezTo>
                  <a:cubicBezTo>
                    <a:pt x="2743867" y="2692717"/>
                    <a:pt x="2741104" y="2695480"/>
                    <a:pt x="2737675" y="2695480"/>
                  </a:cubicBezTo>
                  <a:cubicBezTo>
                    <a:pt x="2734246" y="2695480"/>
                    <a:pt x="2731484" y="2692717"/>
                    <a:pt x="2731484" y="2689288"/>
                  </a:cubicBezTo>
                  <a:cubicBezTo>
                    <a:pt x="2731484" y="2685859"/>
                    <a:pt x="2734246" y="2683097"/>
                    <a:pt x="2737675" y="2683097"/>
                  </a:cubicBezTo>
                  <a:close/>
                  <a:moveTo>
                    <a:pt x="2888741" y="2682336"/>
                  </a:moveTo>
                  <a:cubicBezTo>
                    <a:pt x="2892170" y="2682336"/>
                    <a:pt x="2894932" y="2685098"/>
                    <a:pt x="2894932" y="2688527"/>
                  </a:cubicBezTo>
                  <a:cubicBezTo>
                    <a:pt x="2894932" y="2691956"/>
                    <a:pt x="2892170" y="2694718"/>
                    <a:pt x="2888741" y="2694718"/>
                  </a:cubicBezTo>
                  <a:cubicBezTo>
                    <a:pt x="2885312" y="2694718"/>
                    <a:pt x="2882550" y="2691956"/>
                    <a:pt x="2882550" y="2688527"/>
                  </a:cubicBezTo>
                  <a:cubicBezTo>
                    <a:pt x="2882550" y="2685098"/>
                    <a:pt x="2885312" y="2682336"/>
                    <a:pt x="2888741" y="2682336"/>
                  </a:cubicBezTo>
                  <a:close/>
                  <a:moveTo>
                    <a:pt x="1111472" y="2682240"/>
                  </a:moveTo>
                  <a:cubicBezTo>
                    <a:pt x="1114901" y="2682240"/>
                    <a:pt x="1117663" y="2685002"/>
                    <a:pt x="1117663" y="2688431"/>
                  </a:cubicBezTo>
                  <a:cubicBezTo>
                    <a:pt x="1117663" y="2691860"/>
                    <a:pt x="1114901" y="2694623"/>
                    <a:pt x="1111472" y="2694623"/>
                  </a:cubicBezTo>
                  <a:cubicBezTo>
                    <a:pt x="1108043" y="2694623"/>
                    <a:pt x="1105281" y="2691860"/>
                    <a:pt x="1105281" y="2688431"/>
                  </a:cubicBezTo>
                  <a:cubicBezTo>
                    <a:pt x="1105281" y="2685002"/>
                    <a:pt x="1108043" y="2682240"/>
                    <a:pt x="1111472" y="2682240"/>
                  </a:cubicBezTo>
                  <a:close/>
                  <a:moveTo>
                    <a:pt x="3007708" y="2678716"/>
                  </a:moveTo>
                  <a:cubicBezTo>
                    <a:pt x="3011137" y="2678716"/>
                    <a:pt x="3013900" y="2681478"/>
                    <a:pt x="3013900" y="2684907"/>
                  </a:cubicBezTo>
                  <a:cubicBezTo>
                    <a:pt x="3013900" y="2688336"/>
                    <a:pt x="3011137" y="2691098"/>
                    <a:pt x="3007708" y="2691098"/>
                  </a:cubicBezTo>
                  <a:cubicBezTo>
                    <a:pt x="3004279" y="2691098"/>
                    <a:pt x="3001517" y="2688336"/>
                    <a:pt x="3001517" y="2684907"/>
                  </a:cubicBezTo>
                  <a:cubicBezTo>
                    <a:pt x="3001517" y="2681478"/>
                    <a:pt x="3004279" y="2678716"/>
                    <a:pt x="3007708" y="2678716"/>
                  </a:cubicBezTo>
                  <a:close/>
                  <a:moveTo>
                    <a:pt x="684942" y="2678526"/>
                  </a:moveTo>
                  <a:cubicBezTo>
                    <a:pt x="688371" y="2678526"/>
                    <a:pt x="691133" y="2681288"/>
                    <a:pt x="691133" y="2684717"/>
                  </a:cubicBezTo>
                  <a:cubicBezTo>
                    <a:pt x="691133" y="2688146"/>
                    <a:pt x="688371" y="2690908"/>
                    <a:pt x="684942" y="2690908"/>
                  </a:cubicBezTo>
                  <a:cubicBezTo>
                    <a:pt x="681513" y="2690908"/>
                    <a:pt x="678751" y="2688146"/>
                    <a:pt x="678751" y="2684717"/>
                  </a:cubicBezTo>
                  <a:cubicBezTo>
                    <a:pt x="678751" y="2681288"/>
                    <a:pt x="681513" y="2678526"/>
                    <a:pt x="684942" y="2678526"/>
                  </a:cubicBezTo>
                  <a:close/>
                  <a:moveTo>
                    <a:pt x="2862548" y="2677478"/>
                  </a:moveTo>
                  <a:cubicBezTo>
                    <a:pt x="2865977" y="2677478"/>
                    <a:pt x="2868739" y="2680240"/>
                    <a:pt x="2868739" y="2683669"/>
                  </a:cubicBezTo>
                  <a:cubicBezTo>
                    <a:pt x="2868739" y="2687098"/>
                    <a:pt x="2865977" y="2689861"/>
                    <a:pt x="2862548" y="2689861"/>
                  </a:cubicBezTo>
                  <a:cubicBezTo>
                    <a:pt x="2859119" y="2689861"/>
                    <a:pt x="2856357" y="2687098"/>
                    <a:pt x="2856357" y="2683669"/>
                  </a:cubicBezTo>
                  <a:cubicBezTo>
                    <a:pt x="2856357" y="2680240"/>
                    <a:pt x="2859119" y="2677478"/>
                    <a:pt x="2862548" y="2677478"/>
                  </a:cubicBezTo>
                  <a:close/>
                  <a:moveTo>
                    <a:pt x="832199" y="2677192"/>
                  </a:moveTo>
                  <a:cubicBezTo>
                    <a:pt x="835628" y="2677192"/>
                    <a:pt x="838390" y="2679954"/>
                    <a:pt x="838390" y="2683383"/>
                  </a:cubicBezTo>
                  <a:cubicBezTo>
                    <a:pt x="838390" y="2686812"/>
                    <a:pt x="835628" y="2689574"/>
                    <a:pt x="832199" y="2689574"/>
                  </a:cubicBezTo>
                  <a:cubicBezTo>
                    <a:pt x="828770" y="2689574"/>
                    <a:pt x="826008" y="2686812"/>
                    <a:pt x="826008" y="2683383"/>
                  </a:cubicBezTo>
                  <a:cubicBezTo>
                    <a:pt x="826008" y="2679954"/>
                    <a:pt x="828770" y="2677192"/>
                    <a:pt x="832199" y="2677192"/>
                  </a:cubicBezTo>
                  <a:close/>
                  <a:moveTo>
                    <a:pt x="2979133" y="2673954"/>
                  </a:moveTo>
                  <a:lnTo>
                    <a:pt x="2983372" y="2678192"/>
                  </a:lnTo>
                  <a:lnTo>
                    <a:pt x="2987420" y="2674144"/>
                  </a:lnTo>
                  <a:lnTo>
                    <a:pt x="2992850" y="2679573"/>
                  </a:lnTo>
                  <a:lnTo>
                    <a:pt x="2996755" y="2675668"/>
                  </a:lnTo>
                  <a:cubicBezTo>
                    <a:pt x="3000184" y="2675668"/>
                    <a:pt x="3002946" y="2678430"/>
                    <a:pt x="3002946" y="2681859"/>
                  </a:cubicBezTo>
                  <a:cubicBezTo>
                    <a:pt x="3002946" y="2685288"/>
                    <a:pt x="3000184" y="2688051"/>
                    <a:pt x="2996755" y="2688051"/>
                  </a:cubicBezTo>
                  <a:lnTo>
                    <a:pt x="2991326" y="2682621"/>
                  </a:lnTo>
                  <a:lnTo>
                    <a:pt x="2987420" y="2686527"/>
                  </a:lnTo>
                  <a:lnTo>
                    <a:pt x="2983182" y="2682288"/>
                  </a:lnTo>
                  <a:lnTo>
                    <a:pt x="2979133" y="2686336"/>
                  </a:lnTo>
                  <a:lnTo>
                    <a:pt x="2975847" y="2683051"/>
                  </a:lnTo>
                  <a:lnTo>
                    <a:pt x="2971704" y="2687193"/>
                  </a:lnTo>
                  <a:lnTo>
                    <a:pt x="2968990" y="2684479"/>
                  </a:lnTo>
                  <a:lnTo>
                    <a:pt x="2964465" y="2689003"/>
                  </a:lnTo>
                  <a:lnTo>
                    <a:pt x="2961893" y="2686431"/>
                  </a:lnTo>
                  <a:lnTo>
                    <a:pt x="2957035" y="2691289"/>
                  </a:lnTo>
                  <a:lnTo>
                    <a:pt x="2953940" y="2688194"/>
                  </a:lnTo>
                  <a:lnTo>
                    <a:pt x="2948463" y="2693671"/>
                  </a:lnTo>
                  <a:lnTo>
                    <a:pt x="2944462" y="2689670"/>
                  </a:lnTo>
                  <a:lnTo>
                    <a:pt x="2938366" y="2695766"/>
                  </a:lnTo>
                  <a:cubicBezTo>
                    <a:pt x="2934937" y="2695766"/>
                    <a:pt x="2932175" y="2693003"/>
                    <a:pt x="2932175" y="2689574"/>
                  </a:cubicBezTo>
                  <a:cubicBezTo>
                    <a:pt x="2932175" y="2686145"/>
                    <a:pt x="2934937" y="2683383"/>
                    <a:pt x="2938366" y="2683383"/>
                  </a:cubicBezTo>
                  <a:lnTo>
                    <a:pt x="2942367" y="2687384"/>
                  </a:lnTo>
                  <a:lnTo>
                    <a:pt x="2948463" y="2681288"/>
                  </a:lnTo>
                  <a:lnTo>
                    <a:pt x="2951558" y="2684383"/>
                  </a:lnTo>
                  <a:lnTo>
                    <a:pt x="2957035" y="2678906"/>
                  </a:lnTo>
                  <a:lnTo>
                    <a:pt x="2959608" y="2681479"/>
                  </a:lnTo>
                  <a:lnTo>
                    <a:pt x="2964465" y="2676621"/>
                  </a:lnTo>
                  <a:lnTo>
                    <a:pt x="2967180" y="2679336"/>
                  </a:lnTo>
                  <a:lnTo>
                    <a:pt x="2971704" y="2674811"/>
                  </a:lnTo>
                  <a:lnTo>
                    <a:pt x="2974990" y="2678097"/>
                  </a:lnTo>
                  <a:close/>
                  <a:moveTo>
                    <a:pt x="394525" y="2672906"/>
                  </a:moveTo>
                  <a:cubicBezTo>
                    <a:pt x="397954" y="2672906"/>
                    <a:pt x="400716" y="2675668"/>
                    <a:pt x="400716" y="2679097"/>
                  </a:cubicBezTo>
                  <a:cubicBezTo>
                    <a:pt x="400716" y="2682526"/>
                    <a:pt x="397954" y="2685289"/>
                    <a:pt x="394525" y="2685289"/>
                  </a:cubicBezTo>
                  <a:cubicBezTo>
                    <a:pt x="391096" y="2685289"/>
                    <a:pt x="388334" y="2682526"/>
                    <a:pt x="388334" y="2679097"/>
                  </a:cubicBezTo>
                  <a:cubicBezTo>
                    <a:pt x="388334" y="2675668"/>
                    <a:pt x="391096" y="2672906"/>
                    <a:pt x="394525" y="2672906"/>
                  </a:cubicBezTo>
                  <a:close/>
                  <a:moveTo>
                    <a:pt x="409288" y="2672429"/>
                  </a:moveTo>
                  <a:cubicBezTo>
                    <a:pt x="412717" y="2672429"/>
                    <a:pt x="415479" y="2675191"/>
                    <a:pt x="415479" y="2678620"/>
                  </a:cubicBezTo>
                  <a:cubicBezTo>
                    <a:pt x="415479" y="2682049"/>
                    <a:pt x="412717" y="2684811"/>
                    <a:pt x="409288" y="2684811"/>
                  </a:cubicBezTo>
                  <a:cubicBezTo>
                    <a:pt x="405859" y="2684811"/>
                    <a:pt x="403097" y="2682049"/>
                    <a:pt x="403097" y="2678620"/>
                  </a:cubicBezTo>
                  <a:cubicBezTo>
                    <a:pt x="403097" y="2675191"/>
                    <a:pt x="405859" y="2672429"/>
                    <a:pt x="409288" y="2672429"/>
                  </a:cubicBezTo>
                  <a:close/>
                  <a:moveTo>
                    <a:pt x="2271426" y="2672144"/>
                  </a:moveTo>
                  <a:cubicBezTo>
                    <a:pt x="2274855" y="2672144"/>
                    <a:pt x="2277617" y="2674906"/>
                    <a:pt x="2277617" y="2678335"/>
                  </a:cubicBezTo>
                  <a:cubicBezTo>
                    <a:pt x="2277617" y="2681764"/>
                    <a:pt x="2274855" y="2684526"/>
                    <a:pt x="2271426" y="2684526"/>
                  </a:cubicBezTo>
                  <a:cubicBezTo>
                    <a:pt x="2267997" y="2684526"/>
                    <a:pt x="2265235" y="2681764"/>
                    <a:pt x="2265235" y="2678335"/>
                  </a:cubicBezTo>
                  <a:cubicBezTo>
                    <a:pt x="2265235" y="2674906"/>
                    <a:pt x="2267997" y="2672144"/>
                    <a:pt x="2271426" y="2672144"/>
                  </a:cubicBezTo>
                  <a:close/>
                  <a:moveTo>
                    <a:pt x="570547" y="2670715"/>
                  </a:moveTo>
                  <a:cubicBezTo>
                    <a:pt x="573976" y="2670715"/>
                    <a:pt x="576738" y="2673477"/>
                    <a:pt x="576738" y="2676906"/>
                  </a:cubicBezTo>
                  <a:cubicBezTo>
                    <a:pt x="576738" y="2680335"/>
                    <a:pt x="573976" y="2683097"/>
                    <a:pt x="570547" y="2683097"/>
                  </a:cubicBezTo>
                  <a:cubicBezTo>
                    <a:pt x="567118" y="2683097"/>
                    <a:pt x="564356" y="2680335"/>
                    <a:pt x="564356" y="2676906"/>
                  </a:cubicBezTo>
                  <a:cubicBezTo>
                    <a:pt x="564356" y="2673477"/>
                    <a:pt x="567118" y="2670715"/>
                    <a:pt x="570547" y="2670715"/>
                  </a:cubicBezTo>
                  <a:close/>
                  <a:moveTo>
                    <a:pt x="428338" y="2670048"/>
                  </a:moveTo>
                  <a:cubicBezTo>
                    <a:pt x="431767" y="2670048"/>
                    <a:pt x="434529" y="2672810"/>
                    <a:pt x="434529" y="2676239"/>
                  </a:cubicBezTo>
                  <a:cubicBezTo>
                    <a:pt x="434529" y="2679668"/>
                    <a:pt x="431767" y="2682430"/>
                    <a:pt x="428338" y="2682430"/>
                  </a:cubicBezTo>
                  <a:cubicBezTo>
                    <a:pt x="424909" y="2682430"/>
                    <a:pt x="422147" y="2679668"/>
                    <a:pt x="422147" y="2676239"/>
                  </a:cubicBezTo>
                  <a:cubicBezTo>
                    <a:pt x="422147" y="2672810"/>
                    <a:pt x="424909" y="2670048"/>
                    <a:pt x="428338" y="2670048"/>
                  </a:cubicBezTo>
                  <a:close/>
                  <a:moveTo>
                    <a:pt x="2829401" y="2669001"/>
                  </a:moveTo>
                  <a:cubicBezTo>
                    <a:pt x="2832821" y="2669001"/>
                    <a:pt x="2835593" y="2671773"/>
                    <a:pt x="2835593" y="2675192"/>
                  </a:cubicBezTo>
                  <a:cubicBezTo>
                    <a:pt x="2835593" y="2678612"/>
                    <a:pt x="2832821" y="2681384"/>
                    <a:pt x="2829401" y="2681384"/>
                  </a:cubicBezTo>
                  <a:cubicBezTo>
                    <a:pt x="2825982" y="2681384"/>
                    <a:pt x="2823210" y="2678612"/>
                    <a:pt x="2823210" y="2675192"/>
                  </a:cubicBezTo>
                  <a:cubicBezTo>
                    <a:pt x="2823210" y="2671773"/>
                    <a:pt x="2825982" y="2669001"/>
                    <a:pt x="2829401" y="2669001"/>
                  </a:cubicBezTo>
                  <a:close/>
                  <a:moveTo>
                    <a:pt x="344804" y="2665190"/>
                  </a:moveTo>
                  <a:lnTo>
                    <a:pt x="348566" y="2668953"/>
                  </a:lnTo>
                  <a:lnTo>
                    <a:pt x="352043" y="2665476"/>
                  </a:lnTo>
                  <a:lnTo>
                    <a:pt x="356091" y="2669524"/>
                  </a:lnTo>
                  <a:lnTo>
                    <a:pt x="358901" y="2666714"/>
                  </a:lnTo>
                  <a:lnTo>
                    <a:pt x="363235" y="2671048"/>
                  </a:lnTo>
                  <a:lnTo>
                    <a:pt x="365854" y="2668429"/>
                  </a:lnTo>
                  <a:lnTo>
                    <a:pt x="370712" y="2673287"/>
                  </a:lnTo>
                  <a:lnTo>
                    <a:pt x="373665" y="2670334"/>
                  </a:lnTo>
                  <a:lnTo>
                    <a:pt x="379094" y="2675763"/>
                  </a:lnTo>
                  <a:lnTo>
                    <a:pt x="382904" y="2671953"/>
                  </a:lnTo>
                  <a:cubicBezTo>
                    <a:pt x="386333" y="2671953"/>
                    <a:pt x="389095" y="2674715"/>
                    <a:pt x="389095" y="2678144"/>
                  </a:cubicBezTo>
                  <a:cubicBezTo>
                    <a:pt x="389095" y="2681573"/>
                    <a:pt x="386333" y="2684335"/>
                    <a:pt x="382904" y="2684335"/>
                  </a:cubicBezTo>
                  <a:lnTo>
                    <a:pt x="377475" y="2678906"/>
                  </a:lnTo>
                  <a:lnTo>
                    <a:pt x="373665" y="2682717"/>
                  </a:lnTo>
                  <a:lnTo>
                    <a:pt x="368807" y="2677859"/>
                  </a:lnTo>
                  <a:lnTo>
                    <a:pt x="365854" y="2680811"/>
                  </a:lnTo>
                  <a:lnTo>
                    <a:pt x="361521" y="2676478"/>
                  </a:lnTo>
                  <a:lnTo>
                    <a:pt x="358901" y="2679097"/>
                  </a:lnTo>
                  <a:lnTo>
                    <a:pt x="354853" y="2675049"/>
                  </a:lnTo>
                  <a:lnTo>
                    <a:pt x="352043" y="2677859"/>
                  </a:lnTo>
                  <a:lnTo>
                    <a:pt x="348280" y="2674096"/>
                  </a:lnTo>
                  <a:lnTo>
                    <a:pt x="344804" y="2677573"/>
                  </a:lnTo>
                  <a:lnTo>
                    <a:pt x="341090" y="2673859"/>
                  </a:lnTo>
                  <a:lnTo>
                    <a:pt x="336613" y="2678335"/>
                  </a:lnTo>
                  <a:cubicBezTo>
                    <a:pt x="333184" y="2678335"/>
                    <a:pt x="330422" y="2675573"/>
                    <a:pt x="330422" y="2672144"/>
                  </a:cubicBezTo>
                  <a:cubicBezTo>
                    <a:pt x="330422" y="2668715"/>
                    <a:pt x="333184" y="2665953"/>
                    <a:pt x="336613" y="2665953"/>
                  </a:cubicBezTo>
                  <a:lnTo>
                    <a:pt x="340327" y="2669667"/>
                  </a:lnTo>
                  <a:close/>
                  <a:moveTo>
                    <a:pt x="452627" y="2665000"/>
                  </a:moveTo>
                  <a:cubicBezTo>
                    <a:pt x="456056" y="2665000"/>
                    <a:pt x="458818" y="2667762"/>
                    <a:pt x="458818" y="2671191"/>
                  </a:cubicBezTo>
                  <a:cubicBezTo>
                    <a:pt x="458818" y="2674620"/>
                    <a:pt x="456056" y="2677382"/>
                    <a:pt x="452627" y="2677382"/>
                  </a:cubicBezTo>
                  <a:cubicBezTo>
                    <a:pt x="449198" y="2677382"/>
                    <a:pt x="446436" y="2674620"/>
                    <a:pt x="446436" y="2671191"/>
                  </a:cubicBezTo>
                  <a:cubicBezTo>
                    <a:pt x="446436" y="2667762"/>
                    <a:pt x="449198" y="2665000"/>
                    <a:pt x="452627" y="2665000"/>
                  </a:cubicBezTo>
                  <a:close/>
                  <a:moveTo>
                    <a:pt x="2679858" y="2664619"/>
                  </a:moveTo>
                  <a:cubicBezTo>
                    <a:pt x="2683287" y="2664619"/>
                    <a:pt x="2686049" y="2667381"/>
                    <a:pt x="2686049" y="2670810"/>
                  </a:cubicBezTo>
                  <a:cubicBezTo>
                    <a:pt x="2686049" y="2674239"/>
                    <a:pt x="2683287" y="2677002"/>
                    <a:pt x="2679858" y="2677002"/>
                  </a:cubicBezTo>
                  <a:cubicBezTo>
                    <a:pt x="2676429" y="2677002"/>
                    <a:pt x="2673667" y="2674239"/>
                    <a:pt x="2673667" y="2670810"/>
                  </a:cubicBezTo>
                  <a:cubicBezTo>
                    <a:pt x="2673667" y="2667381"/>
                    <a:pt x="2676429" y="2664619"/>
                    <a:pt x="2679858" y="2664619"/>
                  </a:cubicBezTo>
                  <a:close/>
                  <a:moveTo>
                    <a:pt x="2539745" y="2664333"/>
                  </a:moveTo>
                  <a:cubicBezTo>
                    <a:pt x="2543174" y="2664333"/>
                    <a:pt x="2545937" y="2667095"/>
                    <a:pt x="2545937" y="2670524"/>
                  </a:cubicBezTo>
                  <a:cubicBezTo>
                    <a:pt x="2545937" y="2673953"/>
                    <a:pt x="2543174" y="2676716"/>
                    <a:pt x="2539745" y="2676716"/>
                  </a:cubicBezTo>
                  <a:cubicBezTo>
                    <a:pt x="2536316" y="2676716"/>
                    <a:pt x="2533554" y="2673953"/>
                    <a:pt x="2533554" y="2670524"/>
                  </a:cubicBezTo>
                  <a:cubicBezTo>
                    <a:pt x="2533554" y="2667095"/>
                    <a:pt x="2536316" y="2664333"/>
                    <a:pt x="2539745" y="2664333"/>
                  </a:cubicBezTo>
                  <a:close/>
                  <a:moveTo>
                    <a:pt x="3025521" y="2664048"/>
                  </a:moveTo>
                  <a:cubicBezTo>
                    <a:pt x="3028835" y="2664048"/>
                    <a:pt x="3031521" y="2666735"/>
                    <a:pt x="3031521" y="2670049"/>
                  </a:cubicBezTo>
                  <a:cubicBezTo>
                    <a:pt x="3031521" y="2673363"/>
                    <a:pt x="3028835" y="2676050"/>
                    <a:pt x="3025521" y="2676050"/>
                  </a:cubicBezTo>
                  <a:cubicBezTo>
                    <a:pt x="3022207" y="2676050"/>
                    <a:pt x="3019520" y="2673363"/>
                    <a:pt x="3019520" y="2670049"/>
                  </a:cubicBezTo>
                  <a:cubicBezTo>
                    <a:pt x="3019520" y="2666735"/>
                    <a:pt x="3022207" y="2664048"/>
                    <a:pt x="3025521" y="2664048"/>
                  </a:cubicBezTo>
                  <a:close/>
                  <a:moveTo>
                    <a:pt x="1018031" y="2663000"/>
                  </a:moveTo>
                  <a:cubicBezTo>
                    <a:pt x="1021460" y="2663000"/>
                    <a:pt x="1024222" y="2665762"/>
                    <a:pt x="1024222" y="2669191"/>
                  </a:cubicBezTo>
                  <a:cubicBezTo>
                    <a:pt x="1024222" y="2672620"/>
                    <a:pt x="1021460" y="2675382"/>
                    <a:pt x="1018031" y="2675382"/>
                  </a:cubicBezTo>
                  <a:cubicBezTo>
                    <a:pt x="1014602" y="2675382"/>
                    <a:pt x="1011840" y="2672620"/>
                    <a:pt x="1011840" y="2669191"/>
                  </a:cubicBezTo>
                  <a:cubicBezTo>
                    <a:pt x="1011840" y="2665762"/>
                    <a:pt x="1014602" y="2663000"/>
                    <a:pt x="1018031" y="2663000"/>
                  </a:cubicBezTo>
                  <a:close/>
                  <a:moveTo>
                    <a:pt x="3014281" y="2659571"/>
                  </a:moveTo>
                  <a:cubicBezTo>
                    <a:pt x="3017710" y="2659571"/>
                    <a:pt x="3020472" y="2662333"/>
                    <a:pt x="3020472" y="2665762"/>
                  </a:cubicBezTo>
                  <a:cubicBezTo>
                    <a:pt x="3020472" y="2669191"/>
                    <a:pt x="3017710" y="2671954"/>
                    <a:pt x="3014281" y="2671954"/>
                  </a:cubicBezTo>
                  <a:cubicBezTo>
                    <a:pt x="3010852" y="2671954"/>
                    <a:pt x="3008090" y="2669191"/>
                    <a:pt x="3008090" y="2665762"/>
                  </a:cubicBezTo>
                  <a:cubicBezTo>
                    <a:pt x="3008090" y="2662333"/>
                    <a:pt x="3010852" y="2659571"/>
                    <a:pt x="3014281" y="2659571"/>
                  </a:cubicBezTo>
                  <a:close/>
                  <a:moveTo>
                    <a:pt x="1697069" y="2659095"/>
                  </a:moveTo>
                  <a:cubicBezTo>
                    <a:pt x="1700489" y="2659095"/>
                    <a:pt x="1703261" y="2661867"/>
                    <a:pt x="1703261" y="2665286"/>
                  </a:cubicBezTo>
                  <a:cubicBezTo>
                    <a:pt x="1703261" y="2668705"/>
                    <a:pt x="1700489" y="2671477"/>
                    <a:pt x="1697069" y="2671477"/>
                  </a:cubicBezTo>
                  <a:cubicBezTo>
                    <a:pt x="1693650" y="2671477"/>
                    <a:pt x="1690878" y="2668705"/>
                    <a:pt x="1690878" y="2665286"/>
                  </a:cubicBezTo>
                  <a:cubicBezTo>
                    <a:pt x="1690878" y="2661867"/>
                    <a:pt x="1693650" y="2659095"/>
                    <a:pt x="1697069" y="2659095"/>
                  </a:cubicBezTo>
                  <a:close/>
                  <a:moveTo>
                    <a:pt x="2937700" y="2658713"/>
                  </a:moveTo>
                  <a:cubicBezTo>
                    <a:pt x="2941129" y="2658713"/>
                    <a:pt x="2943892" y="2661475"/>
                    <a:pt x="2943892" y="2664904"/>
                  </a:cubicBezTo>
                  <a:cubicBezTo>
                    <a:pt x="2943892" y="2668333"/>
                    <a:pt x="2941129" y="2671096"/>
                    <a:pt x="2937700" y="2671096"/>
                  </a:cubicBezTo>
                  <a:cubicBezTo>
                    <a:pt x="2934271" y="2671096"/>
                    <a:pt x="2931509" y="2668333"/>
                    <a:pt x="2931509" y="2664904"/>
                  </a:cubicBezTo>
                  <a:cubicBezTo>
                    <a:pt x="2931509" y="2661475"/>
                    <a:pt x="2934271" y="2658713"/>
                    <a:pt x="2937700" y="2658713"/>
                  </a:cubicBezTo>
                  <a:close/>
                  <a:moveTo>
                    <a:pt x="1581435" y="2658142"/>
                  </a:moveTo>
                  <a:cubicBezTo>
                    <a:pt x="1584864" y="2658142"/>
                    <a:pt x="1587626" y="2660904"/>
                    <a:pt x="1587626" y="2664333"/>
                  </a:cubicBezTo>
                  <a:cubicBezTo>
                    <a:pt x="1587626" y="2667762"/>
                    <a:pt x="1584864" y="2670524"/>
                    <a:pt x="1581435" y="2670524"/>
                  </a:cubicBezTo>
                  <a:cubicBezTo>
                    <a:pt x="1578006" y="2670524"/>
                    <a:pt x="1575244" y="2667762"/>
                    <a:pt x="1575244" y="2664333"/>
                  </a:cubicBezTo>
                  <a:cubicBezTo>
                    <a:pt x="1575244" y="2660904"/>
                    <a:pt x="1578006" y="2658142"/>
                    <a:pt x="1581435" y="2658142"/>
                  </a:cubicBezTo>
                  <a:close/>
                  <a:moveTo>
                    <a:pt x="483393" y="2656618"/>
                  </a:moveTo>
                  <a:cubicBezTo>
                    <a:pt x="486822" y="2656618"/>
                    <a:pt x="489585" y="2659380"/>
                    <a:pt x="489585" y="2662809"/>
                  </a:cubicBezTo>
                  <a:cubicBezTo>
                    <a:pt x="489585" y="2666238"/>
                    <a:pt x="486822" y="2669001"/>
                    <a:pt x="483393" y="2669001"/>
                  </a:cubicBezTo>
                  <a:cubicBezTo>
                    <a:pt x="479964" y="2669001"/>
                    <a:pt x="477202" y="2666238"/>
                    <a:pt x="477202" y="2662809"/>
                  </a:cubicBezTo>
                  <a:cubicBezTo>
                    <a:pt x="477202" y="2659380"/>
                    <a:pt x="479964" y="2656618"/>
                    <a:pt x="483393" y="2656618"/>
                  </a:cubicBezTo>
                  <a:close/>
                  <a:moveTo>
                    <a:pt x="2788157" y="2656428"/>
                  </a:moveTo>
                  <a:cubicBezTo>
                    <a:pt x="2791586" y="2656428"/>
                    <a:pt x="2794348" y="2659190"/>
                    <a:pt x="2794348" y="2662619"/>
                  </a:cubicBezTo>
                  <a:cubicBezTo>
                    <a:pt x="2794348" y="2666048"/>
                    <a:pt x="2791586" y="2668810"/>
                    <a:pt x="2788157" y="2668810"/>
                  </a:cubicBezTo>
                  <a:cubicBezTo>
                    <a:pt x="2784728" y="2668810"/>
                    <a:pt x="2781966" y="2666048"/>
                    <a:pt x="2781966" y="2662619"/>
                  </a:cubicBezTo>
                  <a:cubicBezTo>
                    <a:pt x="2781966" y="2659190"/>
                    <a:pt x="2784728" y="2656428"/>
                    <a:pt x="2788157" y="2656428"/>
                  </a:cubicBezTo>
                  <a:close/>
                  <a:moveTo>
                    <a:pt x="2920555" y="2655951"/>
                  </a:moveTo>
                  <a:cubicBezTo>
                    <a:pt x="2923984" y="2655951"/>
                    <a:pt x="2926746" y="2658713"/>
                    <a:pt x="2926746" y="2662142"/>
                  </a:cubicBezTo>
                  <a:cubicBezTo>
                    <a:pt x="2926746" y="2665571"/>
                    <a:pt x="2923984" y="2668334"/>
                    <a:pt x="2920555" y="2668334"/>
                  </a:cubicBezTo>
                  <a:cubicBezTo>
                    <a:pt x="2917126" y="2668334"/>
                    <a:pt x="2914364" y="2665571"/>
                    <a:pt x="2914364" y="2662142"/>
                  </a:cubicBezTo>
                  <a:cubicBezTo>
                    <a:pt x="2914364" y="2658713"/>
                    <a:pt x="2917126" y="2655951"/>
                    <a:pt x="2920555" y="2655951"/>
                  </a:cubicBezTo>
                  <a:close/>
                  <a:moveTo>
                    <a:pt x="1812226" y="2655856"/>
                  </a:moveTo>
                  <a:cubicBezTo>
                    <a:pt x="1815655" y="2655856"/>
                    <a:pt x="1818418" y="2658618"/>
                    <a:pt x="1818418" y="2662047"/>
                  </a:cubicBezTo>
                  <a:cubicBezTo>
                    <a:pt x="1818418" y="2665476"/>
                    <a:pt x="1815655" y="2668238"/>
                    <a:pt x="1812226" y="2668238"/>
                  </a:cubicBezTo>
                  <a:cubicBezTo>
                    <a:pt x="1808797" y="2668238"/>
                    <a:pt x="1806035" y="2665476"/>
                    <a:pt x="1806035" y="2662047"/>
                  </a:cubicBezTo>
                  <a:cubicBezTo>
                    <a:pt x="1806035" y="2658618"/>
                    <a:pt x="1808797" y="2655856"/>
                    <a:pt x="1812226" y="2655856"/>
                  </a:cubicBezTo>
                  <a:close/>
                  <a:moveTo>
                    <a:pt x="2989611" y="2654904"/>
                  </a:moveTo>
                  <a:lnTo>
                    <a:pt x="2993325" y="2658619"/>
                  </a:lnTo>
                  <a:lnTo>
                    <a:pt x="2996659" y="2655285"/>
                  </a:lnTo>
                  <a:lnTo>
                    <a:pt x="3001422" y="2660047"/>
                  </a:lnTo>
                  <a:lnTo>
                    <a:pt x="3004756" y="2656713"/>
                  </a:lnTo>
                  <a:cubicBezTo>
                    <a:pt x="3008185" y="2656713"/>
                    <a:pt x="3010947" y="2659475"/>
                    <a:pt x="3010947" y="2662904"/>
                  </a:cubicBezTo>
                  <a:cubicBezTo>
                    <a:pt x="3010947" y="2666333"/>
                    <a:pt x="3008185" y="2669095"/>
                    <a:pt x="3004756" y="2669095"/>
                  </a:cubicBezTo>
                  <a:lnTo>
                    <a:pt x="2999994" y="2664333"/>
                  </a:lnTo>
                  <a:lnTo>
                    <a:pt x="2996659" y="2667667"/>
                  </a:lnTo>
                  <a:lnTo>
                    <a:pt x="2992944" y="2663953"/>
                  </a:lnTo>
                  <a:lnTo>
                    <a:pt x="2989611" y="2667286"/>
                  </a:lnTo>
                  <a:lnTo>
                    <a:pt x="2986658" y="2664333"/>
                  </a:lnTo>
                  <a:lnTo>
                    <a:pt x="2983134" y="2667857"/>
                  </a:lnTo>
                  <a:lnTo>
                    <a:pt x="2980468" y="2665191"/>
                  </a:lnTo>
                  <a:lnTo>
                    <a:pt x="2976657" y="2669001"/>
                  </a:lnTo>
                  <a:lnTo>
                    <a:pt x="2973800" y="2666143"/>
                  </a:lnTo>
                  <a:lnTo>
                    <a:pt x="2969608" y="2670334"/>
                  </a:lnTo>
                  <a:lnTo>
                    <a:pt x="2966036" y="2666763"/>
                  </a:lnTo>
                  <a:lnTo>
                    <a:pt x="2961322" y="2671477"/>
                  </a:lnTo>
                  <a:lnTo>
                    <a:pt x="2956322" y="2666477"/>
                  </a:lnTo>
                  <a:lnTo>
                    <a:pt x="2950940" y="2671858"/>
                  </a:lnTo>
                  <a:cubicBezTo>
                    <a:pt x="2947511" y="2671858"/>
                    <a:pt x="2944749" y="2669096"/>
                    <a:pt x="2944749" y="2665667"/>
                  </a:cubicBezTo>
                  <a:cubicBezTo>
                    <a:pt x="2944749" y="2662238"/>
                    <a:pt x="2947511" y="2659476"/>
                    <a:pt x="2950940" y="2659476"/>
                  </a:cubicBezTo>
                  <a:lnTo>
                    <a:pt x="2955941" y="2664477"/>
                  </a:lnTo>
                  <a:lnTo>
                    <a:pt x="2961322" y="2659095"/>
                  </a:lnTo>
                  <a:lnTo>
                    <a:pt x="2964893" y="2662667"/>
                  </a:lnTo>
                  <a:lnTo>
                    <a:pt x="2969608" y="2657952"/>
                  </a:lnTo>
                  <a:lnTo>
                    <a:pt x="2972466" y="2660810"/>
                  </a:lnTo>
                  <a:lnTo>
                    <a:pt x="2976657" y="2656618"/>
                  </a:lnTo>
                  <a:lnTo>
                    <a:pt x="2979324" y="2659285"/>
                  </a:lnTo>
                  <a:lnTo>
                    <a:pt x="2983134" y="2655475"/>
                  </a:lnTo>
                  <a:lnTo>
                    <a:pt x="2986087" y="2658428"/>
                  </a:lnTo>
                  <a:close/>
                  <a:moveTo>
                    <a:pt x="3043237" y="2654713"/>
                  </a:moveTo>
                  <a:cubicBezTo>
                    <a:pt x="3043921" y="2654713"/>
                    <a:pt x="3044476" y="2655267"/>
                    <a:pt x="3044476" y="2655951"/>
                  </a:cubicBezTo>
                  <a:cubicBezTo>
                    <a:pt x="3044476" y="2656635"/>
                    <a:pt x="3043921" y="2657189"/>
                    <a:pt x="3043237" y="2657189"/>
                  </a:cubicBezTo>
                  <a:cubicBezTo>
                    <a:pt x="3042553" y="2657189"/>
                    <a:pt x="3041999" y="2656635"/>
                    <a:pt x="3041999" y="2655951"/>
                  </a:cubicBezTo>
                  <a:cubicBezTo>
                    <a:pt x="3041999" y="2655267"/>
                    <a:pt x="3042553" y="2654713"/>
                    <a:pt x="3043237" y="2654713"/>
                  </a:cubicBezTo>
                  <a:close/>
                  <a:moveTo>
                    <a:pt x="1466945" y="2652903"/>
                  </a:moveTo>
                  <a:cubicBezTo>
                    <a:pt x="1470374" y="2652903"/>
                    <a:pt x="1473137" y="2655665"/>
                    <a:pt x="1473137" y="2659094"/>
                  </a:cubicBezTo>
                  <a:cubicBezTo>
                    <a:pt x="1473137" y="2662523"/>
                    <a:pt x="1470374" y="2665285"/>
                    <a:pt x="1466945" y="2665285"/>
                  </a:cubicBezTo>
                  <a:cubicBezTo>
                    <a:pt x="1463516" y="2665285"/>
                    <a:pt x="1460754" y="2662523"/>
                    <a:pt x="1460754" y="2659094"/>
                  </a:cubicBezTo>
                  <a:cubicBezTo>
                    <a:pt x="1460754" y="2655665"/>
                    <a:pt x="1463516" y="2652903"/>
                    <a:pt x="1466945" y="2652903"/>
                  </a:cubicBezTo>
                  <a:close/>
                  <a:moveTo>
                    <a:pt x="759142" y="2652903"/>
                  </a:moveTo>
                  <a:cubicBezTo>
                    <a:pt x="762571" y="2652903"/>
                    <a:pt x="765333" y="2655665"/>
                    <a:pt x="765333" y="2659094"/>
                  </a:cubicBezTo>
                  <a:cubicBezTo>
                    <a:pt x="765333" y="2662523"/>
                    <a:pt x="762571" y="2665285"/>
                    <a:pt x="759142" y="2665285"/>
                  </a:cubicBezTo>
                  <a:cubicBezTo>
                    <a:pt x="755713" y="2665285"/>
                    <a:pt x="752951" y="2662523"/>
                    <a:pt x="752951" y="2659094"/>
                  </a:cubicBezTo>
                  <a:cubicBezTo>
                    <a:pt x="752951" y="2655665"/>
                    <a:pt x="755713" y="2652903"/>
                    <a:pt x="759142" y="2652903"/>
                  </a:cubicBezTo>
                  <a:close/>
                  <a:moveTo>
                    <a:pt x="625030" y="2652522"/>
                  </a:moveTo>
                  <a:cubicBezTo>
                    <a:pt x="628459" y="2652522"/>
                    <a:pt x="631221" y="2655284"/>
                    <a:pt x="631221" y="2658713"/>
                  </a:cubicBezTo>
                  <a:cubicBezTo>
                    <a:pt x="631221" y="2662142"/>
                    <a:pt x="628459" y="2664904"/>
                    <a:pt x="625030" y="2664904"/>
                  </a:cubicBezTo>
                  <a:cubicBezTo>
                    <a:pt x="621601" y="2664904"/>
                    <a:pt x="618839" y="2662142"/>
                    <a:pt x="618839" y="2658713"/>
                  </a:cubicBezTo>
                  <a:cubicBezTo>
                    <a:pt x="618839" y="2655284"/>
                    <a:pt x="621601" y="2652522"/>
                    <a:pt x="625030" y="2652522"/>
                  </a:cubicBezTo>
                  <a:close/>
                  <a:moveTo>
                    <a:pt x="2362009" y="2651855"/>
                  </a:moveTo>
                  <a:cubicBezTo>
                    <a:pt x="2365438" y="2651855"/>
                    <a:pt x="2368201" y="2654617"/>
                    <a:pt x="2368201" y="2658046"/>
                  </a:cubicBezTo>
                  <a:cubicBezTo>
                    <a:pt x="2368201" y="2661475"/>
                    <a:pt x="2365438" y="2664238"/>
                    <a:pt x="2362009" y="2664238"/>
                  </a:cubicBezTo>
                  <a:cubicBezTo>
                    <a:pt x="2358580" y="2664238"/>
                    <a:pt x="2355818" y="2661475"/>
                    <a:pt x="2355818" y="2658046"/>
                  </a:cubicBezTo>
                  <a:cubicBezTo>
                    <a:pt x="2355818" y="2654617"/>
                    <a:pt x="2358580" y="2651855"/>
                    <a:pt x="2362009" y="2651855"/>
                  </a:cubicBezTo>
                  <a:close/>
                  <a:moveTo>
                    <a:pt x="319468" y="2651284"/>
                  </a:moveTo>
                  <a:cubicBezTo>
                    <a:pt x="321519" y="2651284"/>
                    <a:pt x="323183" y="2652947"/>
                    <a:pt x="323183" y="2654999"/>
                  </a:cubicBezTo>
                  <a:cubicBezTo>
                    <a:pt x="323183" y="2657050"/>
                    <a:pt x="321519" y="2658714"/>
                    <a:pt x="319468" y="2658714"/>
                  </a:cubicBezTo>
                  <a:cubicBezTo>
                    <a:pt x="317416" y="2658714"/>
                    <a:pt x="315753" y="2657050"/>
                    <a:pt x="315753" y="2654999"/>
                  </a:cubicBezTo>
                  <a:cubicBezTo>
                    <a:pt x="315753" y="2652947"/>
                    <a:pt x="317416" y="2651284"/>
                    <a:pt x="319468" y="2651284"/>
                  </a:cubicBezTo>
                  <a:close/>
                  <a:moveTo>
                    <a:pt x="2898362" y="2650808"/>
                  </a:moveTo>
                  <a:cubicBezTo>
                    <a:pt x="2901791" y="2650808"/>
                    <a:pt x="2904553" y="2653570"/>
                    <a:pt x="2904553" y="2656999"/>
                  </a:cubicBezTo>
                  <a:cubicBezTo>
                    <a:pt x="2904553" y="2660428"/>
                    <a:pt x="2901791" y="2663190"/>
                    <a:pt x="2898362" y="2663190"/>
                  </a:cubicBezTo>
                  <a:cubicBezTo>
                    <a:pt x="2894933" y="2663190"/>
                    <a:pt x="2892171" y="2660428"/>
                    <a:pt x="2892171" y="2656999"/>
                  </a:cubicBezTo>
                  <a:cubicBezTo>
                    <a:pt x="2892171" y="2653570"/>
                    <a:pt x="2894933" y="2650808"/>
                    <a:pt x="2898362" y="2650808"/>
                  </a:cubicBezTo>
                  <a:close/>
                  <a:moveTo>
                    <a:pt x="1925573" y="2648427"/>
                  </a:moveTo>
                  <a:cubicBezTo>
                    <a:pt x="1929002" y="2648427"/>
                    <a:pt x="1931765" y="2651189"/>
                    <a:pt x="1931765" y="2654618"/>
                  </a:cubicBezTo>
                  <a:cubicBezTo>
                    <a:pt x="1931765" y="2658047"/>
                    <a:pt x="1929002" y="2660809"/>
                    <a:pt x="1925573" y="2660809"/>
                  </a:cubicBezTo>
                  <a:cubicBezTo>
                    <a:pt x="1922144" y="2660809"/>
                    <a:pt x="1919382" y="2658047"/>
                    <a:pt x="1919382" y="2654618"/>
                  </a:cubicBezTo>
                  <a:cubicBezTo>
                    <a:pt x="1919382" y="2651189"/>
                    <a:pt x="1922144" y="2648427"/>
                    <a:pt x="1925573" y="2648427"/>
                  </a:cubicBezTo>
                  <a:close/>
                  <a:moveTo>
                    <a:pt x="382142" y="2646903"/>
                  </a:moveTo>
                  <a:cubicBezTo>
                    <a:pt x="385571" y="2646903"/>
                    <a:pt x="388333" y="2649665"/>
                    <a:pt x="388333" y="2653094"/>
                  </a:cubicBezTo>
                  <a:cubicBezTo>
                    <a:pt x="388333" y="2656523"/>
                    <a:pt x="385571" y="2659285"/>
                    <a:pt x="382142" y="2659285"/>
                  </a:cubicBezTo>
                  <a:cubicBezTo>
                    <a:pt x="378713" y="2659285"/>
                    <a:pt x="375951" y="2656523"/>
                    <a:pt x="375951" y="2653094"/>
                  </a:cubicBezTo>
                  <a:cubicBezTo>
                    <a:pt x="375951" y="2649665"/>
                    <a:pt x="378713" y="2646903"/>
                    <a:pt x="382142" y="2646903"/>
                  </a:cubicBezTo>
                  <a:close/>
                  <a:moveTo>
                    <a:pt x="334517" y="2645950"/>
                  </a:moveTo>
                  <a:lnTo>
                    <a:pt x="337612" y="2649046"/>
                  </a:lnTo>
                  <a:lnTo>
                    <a:pt x="340708" y="2645950"/>
                  </a:lnTo>
                  <a:lnTo>
                    <a:pt x="344041" y="2649284"/>
                  </a:lnTo>
                  <a:lnTo>
                    <a:pt x="346804" y="2646521"/>
                  </a:lnTo>
                  <a:lnTo>
                    <a:pt x="350472" y="2650188"/>
                  </a:lnTo>
                  <a:lnTo>
                    <a:pt x="353281" y="2647379"/>
                  </a:lnTo>
                  <a:lnTo>
                    <a:pt x="357377" y="2651475"/>
                  </a:lnTo>
                  <a:lnTo>
                    <a:pt x="360806" y="2648046"/>
                  </a:lnTo>
                  <a:lnTo>
                    <a:pt x="365474" y="2652714"/>
                  </a:lnTo>
                  <a:lnTo>
                    <a:pt x="370141" y="2648046"/>
                  </a:lnTo>
                  <a:cubicBezTo>
                    <a:pt x="373570" y="2648046"/>
                    <a:pt x="376332" y="2650808"/>
                    <a:pt x="376332" y="2654237"/>
                  </a:cubicBezTo>
                  <a:cubicBezTo>
                    <a:pt x="376332" y="2657666"/>
                    <a:pt x="373570" y="2660428"/>
                    <a:pt x="370141" y="2660428"/>
                  </a:cubicBezTo>
                  <a:lnTo>
                    <a:pt x="365474" y="2655761"/>
                  </a:lnTo>
                  <a:lnTo>
                    <a:pt x="360806" y="2660428"/>
                  </a:lnTo>
                  <a:lnTo>
                    <a:pt x="356710" y="2656333"/>
                  </a:lnTo>
                  <a:lnTo>
                    <a:pt x="353281" y="2659762"/>
                  </a:lnTo>
                  <a:lnTo>
                    <a:pt x="349614" y="2656094"/>
                  </a:lnTo>
                  <a:lnTo>
                    <a:pt x="346804" y="2658904"/>
                  </a:lnTo>
                  <a:lnTo>
                    <a:pt x="343470" y="2655570"/>
                  </a:lnTo>
                  <a:lnTo>
                    <a:pt x="340708" y="2658332"/>
                  </a:lnTo>
                  <a:lnTo>
                    <a:pt x="337612" y="2655237"/>
                  </a:lnTo>
                  <a:lnTo>
                    <a:pt x="334517" y="2658332"/>
                  </a:lnTo>
                  <a:lnTo>
                    <a:pt x="331469" y="2655284"/>
                  </a:lnTo>
                  <a:lnTo>
                    <a:pt x="327564" y="2659190"/>
                  </a:lnTo>
                  <a:cubicBezTo>
                    <a:pt x="324135" y="2659190"/>
                    <a:pt x="321373" y="2656427"/>
                    <a:pt x="321373" y="2652998"/>
                  </a:cubicBezTo>
                  <a:cubicBezTo>
                    <a:pt x="321373" y="2649569"/>
                    <a:pt x="324135" y="2646807"/>
                    <a:pt x="327564" y="2646807"/>
                  </a:cubicBezTo>
                  <a:lnTo>
                    <a:pt x="330612" y="2649855"/>
                  </a:lnTo>
                  <a:close/>
                  <a:moveTo>
                    <a:pt x="3031521" y="2644140"/>
                  </a:moveTo>
                  <a:cubicBezTo>
                    <a:pt x="3034950" y="2644140"/>
                    <a:pt x="3037713" y="2646902"/>
                    <a:pt x="3037713" y="2650331"/>
                  </a:cubicBezTo>
                  <a:cubicBezTo>
                    <a:pt x="3037713" y="2653760"/>
                    <a:pt x="3034950" y="2656523"/>
                    <a:pt x="3031521" y="2656523"/>
                  </a:cubicBezTo>
                  <a:cubicBezTo>
                    <a:pt x="3028092" y="2656523"/>
                    <a:pt x="3025330" y="2653760"/>
                    <a:pt x="3025330" y="2650331"/>
                  </a:cubicBezTo>
                  <a:cubicBezTo>
                    <a:pt x="3025330" y="2646902"/>
                    <a:pt x="3028092" y="2644140"/>
                    <a:pt x="3031521" y="2644140"/>
                  </a:cubicBezTo>
                  <a:close/>
                  <a:moveTo>
                    <a:pt x="522064" y="2644045"/>
                  </a:moveTo>
                  <a:cubicBezTo>
                    <a:pt x="525493" y="2644045"/>
                    <a:pt x="528255" y="2646807"/>
                    <a:pt x="528255" y="2650236"/>
                  </a:cubicBezTo>
                  <a:cubicBezTo>
                    <a:pt x="528255" y="2653665"/>
                    <a:pt x="525493" y="2656428"/>
                    <a:pt x="522064" y="2656428"/>
                  </a:cubicBezTo>
                  <a:cubicBezTo>
                    <a:pt x="518635" y="2656428"/>
                    <a:pt x="515873" y="2653665"/>
                    <a:pt x="515873" y="2650236"/>
                  </a:cubicBezTo>
                  <a:cubicBezTo>
                    <a:pt x="515873" y="2646807"/>
                    <a:pt x="518635" y="2644045"/>
                    <a:pt x="522064" y="2644045"/>
                  </a:cubicBezTo>
                  <a:close/>
                  <a:moveTo>
                    <a:pt x="397858" y="2643950"/>
                  </a:moveTo>
                  <a:cubicBezTo>
                    <a:pt x="401287" y="2643950"/>
                    <a:pt x="404049" y="2646712"/>
                    <a:pt x="404049" y="2650141"/>
                  </a:cubicBezTo>
                  <a:cubicBezTo>
                    <a:pt x="404049" y="2653570"/>
                    <a:pt x="401287" y="2656332"/>
                    <a:pt x="397858" y="2656332"/>
                  </a:cubicBezTo>
                  <a:cubicBezTo>
                    <a:pt x="394429" y="2656332"/>
                    <a:pt x="391667" y="2653570"/>
                    <a:pt x="391667" y="2650141"/>
                  </a:cubicBezTo>
                  <a:cubicBezTo>
                    <a:pt x="391667" y="2646712"/>
                    <a:pt x="394429" y="2643950"/>
                    <a:pt x="397858" y="2643950"/>
                  </a:cubicBezTo>
                  <a:close/>
                  <a:moveTo>
                    <a:pt x="1354931" y="2643664"/>
                  </a:moveTo>
                  <a:cubicBezTo>
                    <a:pt x="1358360" y="2643664"/>
                    <a:pt x="1361122" y="2646426"/>
                    <a:pt x="1361122" y="2649855"/>
                  </a:cubicBezTo>
                  <a:cubicBezTo>
                    <a:pt x="1361122" y="2653284"/>
                    <a:pt x="1358360" y="2656046"/>
                    <a:pt x="1354931" y="2656046"/>
                  </a:cubicBezTo>
                  <a:cubicBezTo>
                    <a:pt x="1351502" y="2656046"/>
                    <a:pt x="1348740" y="2653284"/>
                    <a:pt x="1348740" y="2649855"/>
                  </a:cubicBezTo>
                  <a:cubicBezTo>
                    <a:pt x="1348740" y="2646426"/>
                    <a:pt x="1351502" y="2643664"/>
                    <a:pt x="1354931" y="2643664"/>
                  </a:cubicBezTo>
                  <a:close/>
                  <a:moveTo>
                    <a:pt x="2870167" y="2642330"/>
                  </a:moveTo>
                  <a:cubicBezTo>
                    <a:pt x="2873596" y="2642330"/>
                    <a:pt x="2876359" y="2645092"/>
                    <a:pt x="2876359" y="2648521"/>
                  </a:cubicBezTo>
                  <a:cubicBezTo>
                    <a:pt x="2876359" y="2651950"/>
                    <a:pt x="2873596" y="2654713"/>
                    <a:pt x="2870167" y="2654713"/>
                  </a:cubicBezTo>
                  <a:cubicBezTo>
                    <a:pt x="2866738" y="2654713"/>
                    <a:pt x="2863976" y="2651950"/>
                    <a:pt x="2863976" y="2648521"/>
                  </a:cubicBezTo>
                  <a:cubicBezTo>
                    <a:pt x="2863976" y="2645092"/>
                    <a:pt x="2866738" y="2642330"/>
                    <a:pt x="2870167" y="2642330"/>
                  </a:cubicBezTo>
                  <a:close/>
                  <a:moveTo>
                    <a:pt x="930020" y="2641854"/>
                  </a:moveTo>
                  <a:cubicBezTo>
                    <a:pt x="933449" y="2641854"/>
                    <a:pt x="936212" y="2644616"/>
                    <a:pt x="936212" y="2648045"/>
                  </a:cubicBezTo>
                  <a:cubicBezTo>
                    <a:pt x="936212" y="2651474"/>
                    <a:pt x="933449" y="2654236"/>
                    <a:pt x="930020" y="2654236"/>
                  </a:cubicBezTo>
                  <a:cubicBezTo>
                    <a:pt x="926591" y="2654236"/>
                    <a:pt x="923829" y="2651474"/>
                    <a:pt x="923829" y="2648045"/>
                  </a:cubicBezTo>
                  <a:cubicBezTo>
                    <a:pt x="923829" y="2644616"/>
                    <a:pt x="926591" y="2641854"/>
                    <a:pt x="930020" y="2641854"/>
                  </a:cubicBezTo>
                  <a:close/>
                  <a:moveTo>
                    <a:pt x="2610040" y="2639568"/>
                  </a:moveTo>
                  <a:cubicBezTo>
                    <a:pt x="2613469" y="2639568"/>
                    <a:pt x="2616232" y="2642330"/>
                    <a:pt x="2616232" y="2645759"/>
                  </a:cubicBezTo>
                  <a:cubicBezTo>
                    <a:pt x="2616232" y="2649188"/>
                    <a:pt x="2613469" y="2651951"/>
                    <a:pt x="2610040" y="2651951"/>
                  </a:cubicBezTo>
                  <a:cubicBezTo>
                    <a:pt x="2606611" y="2651951"/>
                    <a:pt x="2603849" y="2649188"/>
                    <a:pt x="2603849" y="2645759"/>
                  </a:cubicBezTo>
                  <a:cubicBezTo>
                    <a:pt x="2603849" y="2642330"/>
                    <a:pt x="2606611" y="2639568"/>
                    <a:pt x="2610040" y="2639568"/>
                  </a:cubicBezTo>
                  <a:close/>
                  <a:moveTo>
                    <a:pt x="2737199" y="2638521"/>
                  </a:moveTo>
                  <a:cubicBezTo>
                    <a:pt x="2740628" y="2638521"/>
                    <a:pt x="2743390" y="2641283"/>
                    <a:pt x="2743390" y="2644712"/>
                  </a:cubicBezTo>
                  <a:cubicBezTo>
                    <a:pt x="2743390" y="2648141"/>
                    <a:pt x="2740628" y="2650903"/>
                    <a:pt x="2737199" y="2650903"/>
                  </a:cubicBezTo>
                  <a:cubicBezTo>
                    <a:pt x="2733770" y="2650903"/>
                    <a:pt x="2731008" y="2648141"/>
                    <a:pt x="2731008" y="2644712"/>
                  </a:cubicBezTo>
                  <a:cubicBezTo>
                    <a:pt x="2731008" y="2641283"/>
                    <a:pt x="2733770" y="2638521"/>
                    <a:pt x="2737199" y="2638521"/>
                  </a:cubicBezTo>
                  <a:close/>
                  <a:moveTo>
                    <a:pt x="418147" y="2638521"/>
                  </a:moveTo>
                  <a:cubicBezTo>
                    <a:pt x="421576" y="2638521"/>
                    <a:pt x="424338" y="2641283"/>
                    <a:pt x="424338" y="2644712"/>
                  </a:cubicBezTo>
                  <a:cubicBezTo>
                    <a:pt x="424338" y="2648141"/>
                    <a:pt x="421576" y="2650903"/>
                    <a:pt x="418147" y="2650903"/>
                  </a:cubicBezTo>
                  <a:cubicBezTo>
                    <a:pt x="414718" y="2650903"/>
                    <a:pt x="411956" y="2648141"/>
                    <a:pt x="411956" y="2644712"/>
                  </a:cubicBezTo>
                  <a:cubicBezTo>
                    <a:pt x="411956" y="2641283"/>
                    <a:pt x="414718" y="2638521"/>
                    <a:pt x="418147" y="2638521"/>
                  </a:cubicBezTo>
                  <a:close/>
                  <a:moveTo>
                    <a:pt x="2035682" y="2637187"/>
                  </a:moveTo>
                  <a:cubicBezTo>
                    <a:pt x="2039111" y="2637187"/>
                    <a:pt x="2041873" y="2639949"/>
                    <a:pt x="2041873" y="2643378"/>
                  </a:cubicBezTo>
                  <a:cubicBezTo>
                    <a:pt x="2041873" y="2646807"/>
                    <a:pt x="2039111" y="2649570"/>
                    <a:pt x="2035682" y="2649570"/>
                  </a:cubicBezTo>
                  <a:cubicBezTo>
                    <a:pt x="2032253" y="2649570"/>
                    <a:pt x="2029491" y="2646807"/>
                    <a:pt x="2029491" y="2643378"/>
                  </a:cubicBezTo>
                  <a:cubicBezTo>
                    <a:pt x="2029491" y="2639949"/>
                    <a:pt x="2032253" y="2637187"/>
                    <a:pt x="2035682" y="2637187"/>
                  </a:cubicBezTo>
                  <a:close/>
                  <a:moveTo>
                    <a:pt x="2963608" y="2633472"/>
                  </a:moveTo>
                  <a:lnTo>
                    <a:pt x="2969704" y="2639568"/>
                  </a:lnTo>
                  <a:lnTo>
                    <a:pt x="2974276" y="2634996"/>
                  </a:lnTo>
                  <a:lnTo>
                    <a:pt x="2978658" y="2639377"/>
                  </a:lnTo>
                  <a:lnTo>
                    <a:pt x="2982563" y="2635472"/>
                  </a:lnTo>
                  <a:lnTo>
                    <a:pt x="2985849" y="2638758"/>
                  </a:lnTo>
                  <a:lnTo>
                    <a:pt x="2989230" y="2635377"/>
                  </a:lnTo>
                  <a:lnTo>
                    <a:pt x="2992040" y="2638187"/>
                  </a:lnTo>
                  <a:lnTo>
                    <a:pt x="2995135" y="2635092"/>
                  </a:lnTo>
                  <a:lnTo>
                    <a:pt x="2997945" y="2637902"/>
                  </a:lnTo>
                  <a:lnTo>
                    <a:pt x="3000755" y="2635092"/>
                  </a:lnTo>
                  <a:lnTo>
                    <a:pt x="3004088" y="2638426"/>
                  </a:lnTo>
                  <a:lnTo>
                    <a:pt x="3006756" y="2635758"/>
                  </a:lnTo>
                  <a:lnTo>
                    <a:pt x="3010947" y="2639949"/>
                  </a:lnTo>
                  <a:lnTo>
                    <a:pt x="3013614" y="2637282"/>
                  </a:lnTo>
                  <a:lnTo>
                    <a:pt x="3019092" y="2642759"/>
                  </a:lnTo>
                  <a:lnTo>
                    <a:pt x="3021806" y="2640045"/>
                  </a:lnTo>
                  <a:cubicBezTo>
                    <a:pt x="3025226" y="2640045"/>
                    <a:pt x="3027997" y="2642817"/>
                    <a:pt x="3027997" y="2646236"/>
                  </a:cubicBezTo>
                  <a:cubicBezTo>
                    <a:pt x="3027997" y="2649655"/>
                    <a:pt x="3025226" y="2652427"/>
                    <a:pt x="3021806" y="2652427"/>
                  </a:cubicBezTo>
                  <a:lnTo>
                    <a:pt x="3016329" y="2646950"/>
                  </a:lnTo>
                  <a:lnTo>
                    <a:pt x="3013614" y="2649665"/>
                  </a:lnTo>
                  <a:lnTo>
                    <a:pt x="3009423" y="2645474"/>
                  </a:lnTo>
                  <a:lnTo>
                    <a:pt x="3006756" y="2648141"/>
                  </a:lnTo>
                  <a:lnTo>
                    <a:pt x="3003422" y="2644807"/>
                  </a:lnTo>
                  <a:lnTo>
                    <a:pt x="3000755" y="2647474"/>
                  </a:lnTo>
                  <a:lnTo>
                    <a:pt x="2997945" y="2644664"/>
                  </a:lnTo>
                  <a:lnTo>
                    <a:pt x="2995135" y="2647474"/>
                  </a:lnTo>
                  <a:lnTo>
                    <a:pt x="2992325" y="2644664"/>
                  </a:lnTo>
                  <a:lnTo>
                    <a:pt x="2989230" y="2647759"/>
                  </a:lnTo>
                  <a:lnTo>
                    <a:pt x="2985944" y="2644473"/>
                  </a:lnTo>
                  <a:lnTo>
                    <a:pt x="2982563" y="2647855"/>
                  </a:lnTo>
                  <a:lnTo>
                    <a:pt x="2978182" y="2643473"/>
                  </a:lnTo>
                  <a:lnTo>
                    <a:pt x="2974276" y="2647378"/>
                  </a:lnTo>
                  <a:lnTo>
                    <a:pt x="2968180" y="2641283"/>
                  </a:lnTo>
                  <a:lnTo>
                    <a:pt x="2963608" y="2645854"/>
                  </a:lnTo>
                  <a:cubicBezTo>
                    <a:pt x="2960179" y="2645854"/>
                    <a:pt x="2957417" y="2643092"/>
                    <a:pt x="2957417" y="2639663"/>
                  </a:cubicBezTo>
                  <a:cubicBezTo>
                    <a:pt x="2957417" y="2636234"/>
                    <a:pt x="2960179" y="2633472"/>
                    <a:pt x="2963608" y="2633472"/>
                  </a:cubicBezTo>
                  <a:close/>
                  <a:moveTo>
                    <a:pt x="1246727" y="2630805"/>
                  </a:moveTo>
                  <a:cubicBezTo>
                    <a:pt x="1250156" y="2630805"/>
                    <a:pt x="1252918" y="2633567"/>
                    <a:pt x="1252918" y="2636996"/>
                  </a:cubicBezTo>
                  <a:cubicBezTo>
                    <a:pt x="1252918" y="2640425"/>
                    <a:pt x="1250156" y="2643187"/>
                    <a:pt x="1246727" y="2643187"/>
                  </a:cubicBezTo>
                  <a:cubicBezTo>
                    <a:pt x="1243298" y="2643187"/>
                    <a:pt x="1240536" y="2640425"/>
                    <a:pt x="1240536" y="2636996"/>
                  </a:cubicBezTo>
                  <a:cubicBezTo>
                    <a:pt x="1240536" y="2633567"/>
                    <a:pt x="1243298" y="2630805"/>
                    <a:pt x="1246727" y="2630805"/>
                  </a:cubicBezTo>
                  <a:close/>
                  <a:moveTo>
                    <a:pt x="2949511" y="2630138"/>
                  </a:moveTo>
                  <a:cubicBezTo>
                    <a:pt x="2952940" y="2630138"/>
                    <a:pt x="2955702" y="2632900"/>
                    <a:pt x="2955702" y="2636329"/>
                  </a:cubicBezTo>
                  <a:cubicBezTo>
                    <a:pt x="2955702" y="2639758"/>
                    <a:pt x="2952940" y="2642521"/>
                    <a:pt x="2949511" y="2642521"/>
                  </a:cubicBezTo>
                  <a:cubicBezTo>
                    <a:pt x="2946082" y="2642521"/>
                    <a:pt x="2943320" y="2639758"/>
                    <a:pt x="2943320" y="2636329"/>
                  </a:cubicBezTo>
                  <a:cubicBezTo>
                    <a:pt x="2943320" y="2632900"/>
                    <a:pt x="2946082" y="2630138"/>
                    <a:pt x="2949511" y="2630138"/>
                  </a:cubicBezTo>
                  <a:close/>
                  <a:moveTo>
                    <a:pt x="444341" y="2630043"/>
                  </a:moveTo>
                  <a:cubicBezTo>
                    <a:pt x="447770" y="2630043"/>
                    <a:pt x="450532" y="2632805"/>
                    <a:pt x="450532" y="2636234"/>
                  </a:cubicBezTo>
                  <a:cubicBezTo>
                    <a:pt x="450532" y="2639663"/>
                    <a:pt x="447770" y="2642426"/>
                    <a:pt x="444341" y="2642426"/>
                  </a:cubicBezTo>
                  <a:cubicBezTo>
                    <a:pt x="440912" y="2642426"/>
                    <a:pt x="438150" y="2639663"/>
                    <a:pt x="438150" y="2636234"/>
                  </a:cubicBezTo>
                  <a:cubicBezTo>
                    <a:pt x="438150" y="2632805"/>
                    <a:pt x="440912" y="2630043"/>
                    <a:pt x="444341" y="2630043"/>
                  </a:cubicBezTo>
                  <a:close/>
                  <a:moveTo>
                    <a:pt x="2446972" y="2629948"/>
                  </a:moveTo>
                  <a:cubicBezTo>
                    <a:pt x="2450401" y="2629948"/>
                    <a:pt x="2453163" y="2632710"/>
                    <a:pt x="2453163" y="2636139"/>
                  </a:cubicBezTo>
                  <a:cubicBezTo>
                    <a:pt x="2453163" y="2639568"/>
                    <a:pt x="2450401" y="2642330"/>
                    <a:pt x="2446972" y="2642330"/>
                  </a:cubicBezTo>
                  <a:cubicBezTo>
                    <a:pt x="2443543" y="2642330"/>
                    <a:pt x="2440781" y="2639568"/>
                    <a:pt x="2440781" y="2636139"/>
                  </a:cubicBezTo>
                  <a:cubicBezTo>
                    <a:pt x="2440781" y="2632710"/>
                    <a:pt x="2443543" y="2629948"/>
                    <a:pt x="2446972" y="2629948"/>
                  </a:cubicBezTo>
                  <a:close/>
                  <a:moveTo>
                    <a:pt x="2834449" y="2629757"/>
                  </a:moveTo>
                  <a:cubicBezTo>
                    <a:pt x="2837878" y="2629757"/>
                    <a:pt x="2840641" y="2632519"/>
                    <a:pt x="2840641" y="2635948"/>
                  </a:cubicBezTo>
                  <a:cubicBezTo>
                    <a:pt x="2840641" y="2639377"/>
                    <a:pt x="2837878" y="2642140"/>
                    <a:pt x="2834449" y="2642140"/>
                  </a:cubicBezTo>
                  <a:cubicBezTo>
                    <a:pt x="2831020" y="2642140"/>
                    <a:pt x="2828258" y="2639377"/>
                    <a:pt x="2828258" y="2635948"/>
                  </a:cubicBezTo>
                  <a:cubicBezTo>
                    <a:pt x="2828258" y="2632519"/>
                    <a:pt x="2831020" y="2629757"/>
                    <a:pt x="2834449" y="2629757"/>
                  </a:cubicBezTo>
                  <a:close/>
                  <a:moveTo>
                    <a:pt x="3048571" y="2629472"/>
                  </a:moveTo>
                  <a:cubicBezTo>
                    <a:pt x="3052000" y="2629472"/>
                    <a:pt x="3054762" y="2632234"/>
                    <a:pt x="3054762" y="2635663"/>
                  </a:cubicBezTo>
                  <a:cubicBezTo>
                    <a:pt x="3054762" y="2639092"/>
                    <a:pt x="3052000" y="2641855"/>
                    <a:pt x="3048571" y="2641855"/>
                  </a:cubicBezTo>
                  <a:cubicBezTo>
                    <a:pt x="3045142" y="2641855"/>
                    <a:pt x="3042380" y="2639092"/>
                    <a:pt x="3042380" y="2635663"/>
                  </a:cubicBezTo>
                  <a:cubicBezTo>
                    <a:pt x="3042380" y="2632234"/>
                    <a:pt x="3045142" y="2629472"/>
                    <a:pt x="3048571" y="2629472"/>
                  </a:cubicBezTo>
                  <a:close/>
                  <a:moveTo>
                    <a:pt x="691228" y="2627948"/>
                  </a:moveTo>
                  <a:cubicBezTo>
                    <a:pt x="694657" y="2627948"/>
                    <a:pt x="697420" y="2630710"/>
                    <a:pt x="697420" y="2634139"/>
                  </a:cubicBezTo>
                  <a:cubicBezTo>
                    <a:pt x="697420" y="2637568"/>
                    <a:pt x="694657" y="2640330"/>
                    <a:pt x="691228" y="2640330"/>
                  </a:cubicBezTo>
                  <a:cubicBezTo>
                    <a:pt x="687799" y="2640330"/>
                    <a:pt x="685037" y="2637568"/>
                    <a:pt x="685037" y="2634139"/>
                  </a:cubicBezTo>
                  <a:cubicBezTo>
                    <a:pt x="685037" y="2630710"/>
                    <a:pt x="687799" y="2627948"/>
                    <a:pt x="691228" y="2627948"/>
                  </a:cubicBezTo>
                  <a:close/>
                  <a:moveTo>
                    <a:pt x="569880" y="2626329"/>
                  </a:moveTo>
                  <a:cubicBezTo>
                    <a:pt x="573309" y="2626329"/>
                    <a:pt x="576071" y="2629091"/>
                    <a:pt x="576071" y="2632520"/>
                  </a:cubicBezTo>
                  <a:cubicBezTo>
                    <a:pt x="576071" y="2635949"/>
                    <a:pt x="573309" y="2638711"/>
                    <a:pt x="569880" y="2638711"/>
                  </a:cubicBezTo>
                  <a:cubicBezTo>
                    <a:pt x="566451" y="2638711"/>
                    <a:pt x="563689" y="2635949"/>
                    <a:pt x="563689" y="2632520"/>
                  </a:cubicBezTo>
                  <a:cubicBezTo>
                    <a:pt x="563689" y="2629091"/>
                    <a:pt x="566451" y="2626329"/>
                    <a:pt x="569880" y="2626329"/>
                  </a:cubicBezTo>
                  <a:close/>
                  <a:moveTo>
                    <a:pt x="2931127" y="2624614"/>
                  </a:moveTo>
                  <a:cubicBezTo>
                    <a:pt x="2934556" y="2624614"/>
                    <a:pt x="2937319" y="2627376"/>
                    <a:pt x="2937319" y="2630805"/>
                  </a:cubicBezTo>
                  <a:cubicBezTo>
                    <a:pt x="2937319" y="2634234"/>
                    <a:pt x="2934556" y="2636996"/>
                    <a:pt x="2931127" y="2636996"/>
                  </a:cubicBezTo>
                  <a:cubicBezTo>
                    <a:pt x="2927698" y="2636996"/>
                    <a:pt x="2924936" y="2634234"/>
                    <a:pt x="2924936" y="2630805"/>
                  </a:cubicBezTo>
                  <a:cubicBezTo>
                    <a:pt x="2924936" y="2627376"/>
                    <a:pt x="2927698" y="2624614"/>
                    <a:pt x="2931127" y="2624614"/>
                  </a:cubicBezTo>
                  <a:close/>
                  <a:moveTo>
                    <a:pt x="3038474" y="2624138"/>
                  </a:moveTo>
                  <a:cubicBezTo>
                    <a:pt x="3041903" y="2624138"/>
                    <a:pt x="3044665" y="2626900"/>
                    <a:pt x="3044665" y="2630329"/>
                  </a:cubicBezTo>
                  <a:cubicBezTo>
                    <a:pt x="3044665" y="2633758"/>
                    <a:pt x="3041903" y="2636521"/>
                    <a:pt x="3038474" y="2636521"/>
                  </a:cubicBezTo>
                  <a:cubicBezTo>
                    <a:pt x="3035045" y="2636521"/>
                    <a:pt x="3032283" y="2633758"/>
                    <a:pt x="3032283" y="2630329"/>
                  </a:cubicBezTo>
                  <a:cubicBezTo>
                    <a:pt x="3032283" y="2626900"/>
                    <a:pt x="3035045" y="2624138"/>
                    <a:pt x="3038474" y="2624138"/>
                  </a:cubicBezTo>
                  <a:close/>
                  <a:moveTo>
                    <a:pt x="2141600" y="2622709"/>
                  </a:moveTo>
                  <a:cubicBezTo>
                    <a:pt x="2145029" y="2622709"/>
                    <a:pt x="2147792" y="2625471"/>
                    <a:pt x="2147792" y="2628900"/>
                  </a:cubicBezTo>
                  <a:cubicBezTo>
                    <a:pt x="2147792" y="2632329"/>
                    <a:pt x="2145029" y="2635092"/>
                    <a:pt x="2141600" y="2635092"/>
                  </a:cubicBezTo>
                  <a:cubicBezTo>
                    <a:pt x="2138171" y="2635092"/>
                    <a:pt x="2135409" y="2632329"/>
                    <a:pt x="2135409" y="2628900"/>
                  </a:cubicBezTo>
                  <a:cubicBezTo>
                    <a:pt x="2135409" y="2625471"/>
                    <a:pt x="2138171" y="2622709"/>
                    <a:pt x="2141600" y="2622709"/>
                  </a:cubicBezTo>
                  <a:close/>
                  <a:moveTo>
                    <a:pt x="357377" y="2621947"/>
                  </a:moveTo>
                  <a:cubicBezTo>
                    <a:pt x="360806" y="2621947"/>
                    <a:pt x="363568" y="2624709"/>
                    <a:pt x="363568" y="2628138"/>
                  </a:cubicBezTo>
                  <a:cubicBezTo>
                    <a:pt x="363568" y="2631567"/>
                    <a:pt x="360806" y="2634329"/>
                    <a:pt x="357377" y="2634329"/>
                  </a:cubicBezTo>
                  <a:lnTo>
                    <a:pt x="353519" y="2630472"/>
                  </a:lnTo>
                  <a:lnTo>
                    <a:pt x="347757" y="2636235"/>
                  </a:lnTo>
                  <a:lnTo>
                    <a:pt x="344471" y="2632949"/>
                  </a:lnTo>
                  <a:lnTo>
                    <a:pt x="340328" y="2637092"/>
                  </a:lnTo>
                  <a:lnTo>
                    <a:pt x="337470" y="2634234"/>
                  </a:lnTo>
                  <a:lnTo>
                    <a:pt x="334231" y="2637473"/>
                  </a:lnTo>
                  <a:lnTo>
                    <a:pt x="331660" y="2634902"/>
                  </a:lnTo>
                  <a:lnTo>
                    <a:pt x="328898" y="2637664"/>
                  </a:lnTo>
                  <a:lnTo>
                    <a:pt x="326515" y="2635282"/>
                  </a:lnTo>
                  <a:lnTo>
                    <a:pt x="323563" y="2638234"/>
                  </a:lnTo>
                  <a:lnTo>
                    <a:pt x="321230" y="2635901"/>
                  </a:lnTo>
                  <a:lnTo>
                    <a:pt x="317658" y="2639473"/>
                  </a:lnTo>
                  <a:lnTo>
                    <a:pt x="315277" y="2637092"/>
                  </a:lnTo>
                  <a:lnTo>
                    <a:pt x="310800" y="2641569"/>
                  </a:lnTo>
                  <a:cubicBezTo>
                    <a:pt x="307371" y="2641569"/>
                    <a:pt x="304609" y="2638806"/>
                    <a:pt x="304609" y="2635377"/>
                  </a:cubicBezTo>
                  <a:cubicBezTo>
                    <a:pt x="304609" y="2631948"/>
                    <a:pt x="307371" y="2629186"/>
                    <a:pt x="310800" y="2629186"/>
                  </a:cubicBezTo>
                  <a:lnTo>
                    <a:pt x="313181" y="2631567"/>
                  </a:lnTo>
                  <a:lnTo>
                    <a:pt x="317658" y="2627090"/>
                  </a:lnTo>
                  <a:lnTo>
                    <a:pt x="319991" y="2629424"/>
                  </a:lnTo>
                  <a:lnTo>
                    <a:pt x="323563" y="2625852"/>
                  </a:lnTo>
                  <a:lnTo>
                    <a:pt x="325945" y="2628234"/>
                  </a:lnTo>
                  <a:lnTo>
                    <a:pt x="328898" y="2625281"/>
                  </a:lnTo>
                  <a:lnTo>
                    <a:pt x="331469" y="2627852"/>
                  </a:lnTo>
                  <a:lnTo>
                    <a:pt x="334231" y="2625090"/>
                  </a:lnTo>
                  <a:lnTo>
                    <a:pt x="337089" y="2627948"/>
                  </a:lnTo>
                  <a:lnTo>
                    <a:pt x="340328" y="2624709"/>
                  </a:lnTo>
                  <a:lnTo>
                    <a:pt x="343614" y="2627995"/>
                  </a:lnTo>
                  <a:lnTo>
                    <a:pt x="347757" y="2623852"/>
                  </a:lnTo>
                  <a:lnTo>
                    <a:pt x="351614" y="2627710"/>
                  </a:lnTo>
                  <a:close/>
                  <a:moveTo>
                    <a:pt x="847534" y="2619375"/>
                  </a:moveTo>
                  <a:cubicBezTo>
                    <a:pt x="850963" y="2619375"/>
                    <a:pt x="853725" y="2622137"/>
                    <a:pt x="853725" y="2625566"/>
                  </a:cubicBezTo>
                  <a:cubicBezTo>
                    <a:pt x="853725" y="2628995"/>
                    <a:pt x="850963" y="2631758"/>
                    <a:pt x="847534" y="2631758"/>
                  </a:cubicBezTo>
                  <a:cubicBezTo>
                    <a:pt x="844105" y="2631758"/>
                    <a:pt x="841343" y="2628995"/>
                    <a:pt x="841343" y="2625566"/>
                  </a:cubicBezTo>
                  <a:cubicBezTo>
                    <a:pt x="841343" y="2622137"/>
                    <a:pt x="844105" y="2619375"/>
                    <a:pt x="847534" y="2619375"/>
                  </a:cubicBezTo>
                  <a:close/>
                  <a:moveTo>
                    <a:pt x="3065525" y="2619185"/>
                  </a:moveTo>
                  <a:cubicBezTo>
                    <a:pt x="3066893" y="2619185"/>
                    <a:pt x="3068002" y="2620294"/>
                    <a:pt x="3068002" y="2621662"/>
                  </a:cubicBezTo>
                  <a:cubicBezTo>
                    <a:pt x="3068002" y="2623029"/>
                    <a:pt x="3066893" y="2624138"/>
                    <a:pt x="3065525" y="2624138"/>
                  </a:cubicBezTo>
                  <a:cubicBezTo>
                    <a:pt x="3064158" y="2624138"/>
                    <a:pt x="3063049" y="2623030"/>
                    <a:pt x="3063049" y="2621662"/>
                  </a:cubicBezTo>
                  <a:cubicBezTo>
                    <a:pt x="3063049" y="2620294"/>
                    <a:pt x="3064158" y="2619185"/>
                    <a:pt x="3065525" y="2619185"/>
                  </a:cubicBezTo>
                  <a:close/>
                  <a:moveTo>
                    <a:pt x="370046" y="2618328"/>
                  </a:moveTo>
                  <a:cubicBezTo>
                    <a:pt x="373475" y="2618328"/>
                    <a:pt x="376237" y="2621090"/>
                    <a:pt x="376237" y="2624519"/>
                  </a:cubicBezTo>
                  <a:cubicBezTo>
                    <a:pt x="376237" y="2627948"/>
                    <a:pt x="373475" y="2630710"/>
                    <a:pt x="370046" y="2630710"/>
                  </a:cubicBezTo>
                  <a:cubicBezTo>
                    <a:pt x="366617" y="2630710"/>
                    <a:pt x="363855" y="2627948"/>
                    <a:pt x="363855" y="2624519"/>
                  </a:cubicBezTo>
                  <a:cubicBezTo>
                    <a:pt x="363855" y="2621090"/>
                    <a:pt x="366617" y="2618328"/>
                    <a:pt x="370046" y="2618328"/>
                  </a:cubicBezTo>
                  <a:close/>
                  <a:moveTo>
                    <a:pt x="477583" y="2617470"/>
                  </a:moveTo>
                  <a:cubicBezTo>
                    <a:pt x="481012" y="2617470"/>
                    <a:pt x="483774" y="2620232"/>
                    <a:pt x="483774" y="2623661"/>
                  </a:cubicBezTo>
                  <a:cubicBezTo>
                    <a:pt x="483774" y="2627090"/>
                    <a:pt x="481012" y="2629852"/>
                    <a:pt x="477583" y="2629852"/>
                  </a:cubicBezTo>
                  <a:cubicBezTo>
                    <a:pt x="474154" y="2629852"/>
                    <a:pt x="471392" y="2627090"/>
                    <a:pt x="471392" y="2623661"/>
                  </a:cubicBezTo>
                  <a:cubicBezTo>
                    <a:pt x="471392" y="2620232"/>
                    <a:pt x="474154" y="2617470"/>
                    <a:pt x="477583" y="2617470"/>
                  </a:cubicBezTo>
                  <a:close/>
                  <a:moveTo>
                    <a:pt x="2907315" y="2615946"/>
                  </a:moveTo>
                  <a:cubicBezTo>
                    <a:pt x="2910744" y="2615946"/>
                    <a:pt x="2913507" y="2618708"/>
                    <a:pt x="2913507" y="2622137"/>
                  </a:cubicBezTo>
                  <a:cubicBezTo>
                    <a:pt x="2913507" y="2625566"/>
                    <a:pt x="2910744" y="2628328"/>
                    <a:pt x="2907315" y="2628328"/>
                  </a:cubicBezTo>
                  <a:cubicBezTo>
                    <a:pt x="2903886" y="2628328"/>
                    <a:pt x="2901124" y="2625566"/>
                    <a:pt x="2901124" y="2622137"/>
                  </a:cubicBezTo>
                  <a:cubicBezTo>
                    <a:pt x="2901124" y="2618708"/>
                    <a:pt x="2903886" y="2615946"/>
                    <a:pt x="2907315" y="2615946"/>
                  </a:cubicBezTo>
                  <a:close/>
                  <a:moveTo>
                    <a:pt x="1142999" y="2614994"/>
                  </a:moveTo>
                  <a:cubicBezTo>
                    <a:pt x="1146428" y="2614994"/>
                    <a:pt x="1149191" y="2617756"/>
                    <a:pt x="1149191" y="2621185"/>
                  </a:cubicBezTo>
                  <a:cubicBezTo>
                    <a:pt x="1149191" y="2624614"/>
                    <a:pt x="1146428" y="2627376"/>
                    <a:pt x="1142999" y="2627376"/>
                  </a:cubicBezTo>
                  <a:cubicBezTo>
                    <a:pt x="1139570" y="2627376"/>
                    <a:pt x="1136808" y="2624614"/>
                    <a:pt x="1136808" y="2621185"/>
                  </a:cubicBezTo>
                  <a:cubicBezTo>
                    <a:pt x="1136808" y="2617756"/>
                    <a:pt x="1139570" y="2614994"/>
                    <a:pt x="1142999" y="2614994"/>
                  </a:cubicBezTo>
                  <a:close/>
                  <a:moveTo>
                    <a:pt x="2675096" y="2614422"/>
                  </a:moveTo>
                  <a:cubicBezTo>
                    <a:pt x="2678525" y="2614422"/>
                    <a:pt x="2681287" y="2617184"/>
                    <a:pt x="2681287" y="2620613"/>
                  </a:cubicBezTo>
                  <a:cubicBezTo>
                    <a:pt x="2681287" y="2624042"/>
                    <a:pt x="2678525" y="2626804"/>
                    <a:pt x="2675096" y="2626804"/>
                  </a:cubicBezTo>
                  <a:cubicBezTo>
                    <a:pt x="2671667" y="2626804"/>
                    <a:pt x="2668905" y="2624042"/>
                    <a:pt x="2668905" y="2620613"/>
                  </a:cubicBezTo>
                  <a:cubicBezTo>
                    <a:pt x="2668905" y="2617184"/>
                    <a:pt x="2671667" y="2614422"/>
                    <a:pt x="2675096" y="2614422"/>
                  </a:cubicBezTo>
                  <a:close/>
                  <a:moveTo>
                    <a:pt x="386809" y="2612517"/>
                  </a:moveTo>
                  <a:cubicBezTo>
                    <a:pt x="390238" y="2612517"/>
                    <a:pt x="393000" y="2615279"/>
                    <a:pt x="393000" y="2618708"/>
                  </a:cubicBezTo>
                  <a:cubicBezTo>
                    <a:pt x="393000" y="2622137"/>
                    <a:pt x="390238" y="2624900"/>
                    <a:pt x="386809" y="2624900"/>
                  </a:cubicBezTo>
                  <a:cubicBezTo>
                    <a:pt x="383380" y="2624900"/>
                    <a:pt x="380618" y="2622137"/>
                    <a:pt x="380618" y="2618708"/>
                  </a:cubicBezTo>
                  <a:cubicBezTo>
                    <a:pt x="380618" y="2615279"/>
                    <a:pt x="383380" y="2612517"/>
                    <a:pt x="386809" y="2612517"/>
                  </a:cubicBezTo>
                  <a:close/>
                  <a:moveTo>
                    <a:pt x="2789872" y="2612327"/>
                  </a:moveTo>
                  <a:cubicBezTo>
                    <a:pt x="2793301" y="2612327"/>
                    <a:pt x="2796063" y="2615089"/>
                    <a:pt x="2796063" y="2618518"/>
                  </a:cubicBezTo>
                  <a:cubicBezTo>
                    <a:pt x="2796063" y="2621947"/>
                    <a:pt x="2793301" y="2624709"/>
                    <a:pt x="2789872" y="2624709"/>
                  </a:cubicBezTo>
                  <a:cubicBezTo>
                    <a:pt x="2786443" y="2624709"/>
                    <a:pt x="2783681" y="2621947"/>
                    <a:pt x="2783681" y="2618518"/>
                  </a:cubicBezTo>
                  <a:cubicBezTo>
                    <a:pt x="2783681" y="2615089"/>
                    <a:pt x="2786443" y="2612327"/>
                    <a:pt x="2789872" y="2612327"/>
                  </a:cubicBezTo>
                  <a:close/>
                  <a:moveTo>
                    <a:pt x="3054857" y="2608898"/>
                  </a:moveTo>
                  <a:cubicBezTo>
                    <a:pt x="3058286" y="2608898"/>
                    <a:pt x="3061048" y="2611660"/>
                    <a:pt x="3061048" y="2615089"/>
                  </a:cubicBezTo>
                  <a:cubicBezTo>
                    <a:pt x="3061048" y="2618518"/>
                    <a:pt x="3058286" y="2621280"/>
                    <a:pt x="3054857" y="2621280"/>
                  </a:cubicBezTo>
                  <a:cubicBezTo>
                    <a:pt x="3051428" y="2621280"/>
                    <a:pt x="3048666" y="2618518"/>
                    <a:pt x="3048666" y="2615089"/>
                  </a:cubicBezTo>
                  <a:cubicBezTo>
                    <a:pt x="3048666" y="2611660"/>
                    <a:pt x="3051428" y="2608898"/>
                    <a:pt x="3054857" y="2608898"/>
                  </a:cubicBezTo>
                  <a:close/>
                  <a:moveTo>
                    <a:pt x="2987230" y="2608803"/>
                  </a:moveTo>
                  <a:lnTo>
                    <a:pt x="2992659" y="2614232"/>
                  </a:lnTo>
                  <a:lnTo>
                    <a:pt x="2995707" y="2611184"/>
                  </a:lnTo>
                  <a:lnTo>
                    <a:pt x="2999612" y="2615089"/>
                  </a:lnTo>
                  <a:lnTo>
                    <a:pt x="3002184" y="2612517"/>
                  </a:lnTo>
                  <a:lnTo>
                    <a:pt x="3005375" y="2615708"/>
                  </a:lnTo>
                  <a:lnTo>
                    <a:pt x="3007613" y="2613470"/>
                  </a:lnTo>
                  <a:lnTo>
                    <a:pt x="3010423" y="2616280"/>
                  </a:lnTo>
                  <a:lnTo>
                    <a:pt x="3012471" y="2614232"/>
                  </a:lnTo>
                  <a:lnTo>
                    <a:pt x="3015614" y="2617375"/>
                  </a:lnTo>
                  <a:lnTo>
                    <a:pt x="3017519" y="2615470"/>
                  </a:lnTo>
                  <a:lnTo>
                    <a:pt x="3021282" y="2619232"/>
                  </a:lnTo>
                  <a:lnTo>
                    <a:pt x="3023234" y="2617280"/>
                  </a:lnTo>
                  <a:lnTo>
                    <a:pt x="3028092" y="2622138"/>
                  </a:lnTo>
                  <a:lnTo>
                    <a:pt x="3030092" y="2620137"/>
                  </a:lnTo>
                  <a:cubicBezTo>
                    <a:pt x="3033521" y="2620137"/>
                    <a:pt x="3036283" y="2622899"/>
                    <a:pt x="3036283" y="2626328"/>
                  </a:cubicBezTo>
                  <a:cubicBezTo>
                    <a:pt x="3036283" y="2629757"/>
                    <a:pt x="3033521" y="2632519"/>
                    <a:pt x="3030092" y="2632519"/>
                  </a:cubicBezTo>
                  <a:lnTo>
                    <a:pt x="3025235" y="2627662"/>
                  </a:lnTo>
                  <a:lnTo>
                    <a:pt x="3023234" y="2629663"/>
                  </a:lnTo>
                  <a:lnTo>
                    <a:pt x="3019472" y="2625900"/>
                  </a:lnTo>
                  <a:lnTo>
                    <a:pt x="3017519" y="2627853"/>
                  </a:lnTo>
                  <a:lnTo>
                    <a:pt x="3014376" y="2624710"/>
                  </a:lnTo>
                  <a:lnTo>
                    <a:pt x="3012471" y="2626614"/>
                  </a:lnTo>
                  <a:lnTo>
                    <a:pt x="3009662" y="2623805"/>
                  </a:lnTo>
                  <a:lnTo>
                    <a:pt x="3007613" y="2625853"/>
                  </a:lnTo>
                  <a:lnTo>
                    <a:pt x="3004422" y="2622662"/>
                  </a:lnTo>
                  <a:lnTo>
                    <a:pt x="3002184" y="2624900"/>
                  </a:lnTo>
                  <a:lnTo>
                    <a:pt x="2998279" y="2620995"/>
                  </a:lnTo>
                  <a:lnTo>
                    <a:pt x="2995707" y="2623566"/>
                  </a:lnTo>
                  <a:lnTo>
                    <a:pt x="2990278" y="2618137"/>
                  </a:lnTo>
                  <a:lnTo>
                    <a:pt x="2987230" y="2621185"/>
                  </a:lnTo>
                  <a:cubicBezTo>
                    <a:pt x="2983801" y="2621185"/>
                    <a:pt x="2981039" y="2618423"/>
                    <a:pt x="2981039" y="2614994"/>
                  </a:cubicBezTo>
                  <a:cubicBezTo>
                    <a:pt x="2981039" y="2611565"/>
                    <a:pt x="2983801" y="2608803"/>
                    <a:pt x="2987230" y="2608803"/>
                  </a:cubicBezTo>
                  <a:close/>
                  <a:moveTo>
                    <a:pt x="2526410" y="2606802"/>
                  </a:moveTo>
                  <a:cubicBezTo>
                    <a:pt x="2529839" y="2606802"/>
                    <a:pt x="2532602" y="2609564"/>
                    <a:pt x="2532602" y="2612993"/>
                  </a:cubicBezTo>
                  <a:cubicBezTo>
                    <a:pt x="2532602" y="2616422"/>
                    <a:pt x="2529839" y="2619184"/>
                    <a:pt x="2526410" y="2619184"/>
                  </a:cubicBezTo>
                  <a:cubicBezTo>
                    <a:pt x="2522981" y="2619184"/>
                    <a:pt x="2520219" y="2616422"/>
                    <a:pt x="2520219" y="2612993"/>
                  </a:cubicBezTo>
                  <a:cubicBezTo>
                    <a:pt x="2520219" y="2609564"/>
                    <a:pt x="2522981" y="2606802"/>
                    <a:pt x="2526410" y="2606802"/>
                  </a:cubicBezTo>
                  <a:close/>
                  <a:moveTo>
                    <a:pt x="2242470" y="2605469"/>
                  </a:moveTo>
                  <a:cubicBezTo>
                    <a:pt x="2245899" y="2605469"/>
                    <a:pt x="2248662" y="2608231"/>
                    <a:pt x="2248662" y="2611660"/>
                  </a:cubicBezTo>
                  <a:cubicBezTo>
                    <a:pt x="2248662" y="2615089"/>
                    <a:pt x="2245899" y="2617851"/>
                    <a:pt x="2242470" y="2617851"/>
                  </a:cubicBezTo>
                  <a:cubicBezTo>
                    <a:pt x="2239041" y="2617851"/>
                    <a:pt x="2236279" y="2615089"/>
                    <a:pt x="2236279" y="2611660"/>
                  </a:cubicBezTo>
                  <a:cubicBezTo>
                    <a:pt x="2236279" y="2608231"/>
                    <a:pt x="2239041" y="2605469"/>
                    <a:pt x="2242470" y="2605469"/>
                  </a:cubicBezTo>
                  <a:close/>
                  <a:moveTo>
                    <a:pt x="2975990" y="2604897"/>
                  </a:moveTo>
                  <a:cubicBezTo>
                    <a:pt x="2979419" y="2604897"/>
                    <a:pt x="2982181" y="2607659"/>
                    <a:pt x="2982181" y="2611088"/>
                  </a:cubicBezTo>
                  <a:cubicBezTo>
                    <a:pt x="2982181" y="2614517"/>
                    <a:pt x="2979419" y="2617279"/>
                    <a:pt x="2975990" y="2617279"/>
                  </a:cubicBezTo>
                  <a:cubicBezTo>
                    <a:pt x="2972561" y="2617279"/>
                    <a:pt x="2969799" y="2614517"/>
                    <a:pt x="2969799" y="2611088"/>
                  </a:cubicBezTo>
                  <a:cubicBezTo>
                    <a:pt x="2969799" y="2607659"/>
                    <a:pt x="2972561" y="2604897"/>
                    <a:pt x="2975990" y="2604897"/>
                  </a:cubicBezTo>
                  <a:close/>
                  <a:moveTo>
                    <a:pt x="408717" y="2603754"/>
                  </a:moveTo>
                  <a:cubicBezTo>
                    <a:pt x="412137" y="2603754"/>
                    <a:pt x="414909" y="2606526"/>
                    <a:pt x="414909" y="2609945"/>
                  </a:cubicBezTo>
                  <a:cubicBezTo>
                    <a:pt x="414909" y="2613365"/>
                    <a:pt x="412137" y="2616136"/>
                    <a:pt x="408717" y="2616136"/>
                  </a:cubicBezTo>
                  <a:cubicBezTo>
                    <a:pt x="405298" y="2616136"/>
                    <a:pt x="402526" y="2613365"/>
                    <a:pt x="402526" y="2609945"/>
                  </a:cubicBezTo>
                  <a:cubicBezTo>
                    <a:pt x="402526" y="2606526"/>
                    <a:pt x="405298" y="2603754"/>
                    <a:pt x="408717" y="2603754"/>
                  </a:cubicBezTo>
                  <a:close/>
                  <a:moveTo>
                    <a:pt x="2876740" y="2603373"/>
                  </a:moveTo>
                  <a:cubicBezTo>
                    <a:pt x="2880169" y="2603373"/>
                    <a:pt x="2882932" y="2606135"/>
                    <a:pt x="2882932" y="2609564"/>
                  </a:cubicBezTo>
                  <a:cubicBezTo>
                    <a:pt x="2882932" y="2612993"/>
                    <a:pt x="2880169" y="2615755"/>
                    <a:pt x="2876740" y="2615755"/>
                  </a:cubicBezTo>
                  <a:cubicBezTo>
                    <a:pt x="2873311" y="2615755"/>
                    <a:pt x="2870549" y="2612993"/>
                    <a:pt x="2870549" y="2609564"/>
                  </a:cubicBezTo>
                  <a:cubicBezTo>
                    <a:pt x="2870549" y="2606135"/>
                    <a:pt x="2873311" y="2603373"/>
                    <a:pt x="2876740" y="2603373"/>
                  </a:cubicBezTo>
                  <a:close/>
                  <a:moveTo>
                    <a:pt x="628649" y="2602516"/>
                  </a:moveTo>
                  <a:cubicBezTo>
                    <a:pt x="632078" y="2602516"/>
                    <a:pt x="634841" y="2605278"/>
                    <a:pt x="634841" y="2608707"/>
                  </a:cubicBezTo>
                  <a:cubicBezTo>
                    <a:pt x="634841" y="2612136"/>
                    <a:pt x="632078" y="2614898"/>
                    <a:pt x="628649" y="2614898"/>
                  </a:cubicBezTo>
                  <a:cubicBezTo>
                    <a:pt x="625220" y="2614898"/>
                    <a:pt x="622458" y="2612136"/>
                    <a:pt x="622458" y="2608707"/>
                  </a:cubicBezTo>
                  <a:cubicBezTo>
                    <a:pt x="622458" y="2605278"/>
                    <a:pt x="625220" y="2602516"/>
                    <a:pt x="628649" y="2602516"/>
                  </a:cubicBezTo>
                  <a:close/>
                  <a:moveTo>
                    <a:pt x="519302" y="2600135"/>
                  </a:moveTo>
                  <a:cubicBezTo>
                    <a:pt x="522731" y="2600135"/>
                    <a:pt x="525493" y="2602897"/>
                    <a:pt x="525493" y="2606326"/>
                  </a:cubicBezTo>
                  <a:cubicBezTo>
                    <a:pt x="525493" y="2609755"/>
                    <a:pt x="522731" y="2612517"/>
                    <a:pt x="519302" y="2612517"/>
                  </a:cubicBezTo>
                  <a:cubicBezTo>
                    <a:pt x="515873" y="2612517"/>
                    <a:pt x="513111" y="2609755"/>
                    <a:pt x="513111" y="2606326"/>
                  </a:cubicBezTo>
                  <a:cubicBezTo>
                    <a:pt x="513111" y="2602897"/>
                    <a:pt x="515873" y="2600135"/>
                    <a:pt x="519302" y="2600135"/>
                  </a:cubicBezTo>
                  <a:close/>
                  <a:moveTo>
                    <a:pt x="2961036" y="2598801"/>
                  </a:moveTo>
                  <a:cubicBezTo>
                    <a:pt x="2964465" y="2598801"/>
                    <a:pt x="2967227" y="2601563"/>
                    <a:pt x="2967227" y="2604992"/>
                  </a:cubicBezTo>
                  <a:cubicBezTo>
                    <a:pt x="2967227" y="2608421"/>
                    <a:pt x="2964465" y="2611184"/>
                    <a:pt x="2961036" y="2611184"/>
                  </a:cubicBezTo>
                  <a:cubicBezTo>
                    <a:pt x="2957607" y="2611184"/>
                    <a:pt x="2954845" y="2608421"/>
                    <a:pt x="2954845" y="2604992"/>
                  </a:cubicBezTo>
                  <a:cubicBezTo>
                    <a:pt x="2954845" y="2601563"/>
                    <a:pt x="2957607" y="2598801"/>
                    <a:pt x="2961036" y="2598801"/>
                  </a:cubicBezTo>
                  <a:close/>
                  <a:moveTo>
                    <a:pt x="334612" y="2597658"/>
                  </a:moveTo>
                  <a:cubicBezTo>
                    <a:pt x="338041" y="2597658"/>
                    <a:pt x="340803" y="2600420"/>
                    <a:pt x="340803" y="2603849"/>
                  </a:cubicBezTo>
                  <a:cubicBezTo>
                    <a:pt x="340803" y="2607278"/>
                    <a:pt x="338041" y="2610041"/>
                    <a:pt x="334612" y="2610041"/>
                  </a:cubicBezTo>
                  <a:lnTo>
                    <a:pt x="332183" y="2607613"/>
                  </a:lnTo>
                  <a:lnTo>
                    <a:pt x="327088" y="2612708"/>
                  </a:lnTo>
                  <a:lnTo>
                    <a:pt x="325088" y="2610708"/>
                  </a:lnTo>
                  <a:lnTo>
                    <a:pt x="321278" y="2614518"/>
                  </a:lnTo>
                  <a:lnTo>
                    <a:pt x="319563" y="2612803"/>
                  </a:lnTo>
                  <a:lnTo>
                    <a:pt x="316515" y="2615851"/>
                  </a:lnTo>
                  <a:lnTo>
                    <a:pt x="314896" y="2614232"/>
                  </a:lnTo>
                  <a:lnTo>
                    <a:pt x="311943" y="2617185"/>
                  </a:lnTo>
                  <a:lnTo>
                    <a:pt x="310371" y="2615613"/>
                  </a:lnTo>
                  <a:lnTo>
                    <a:pt x="307085" y="2618900"/>
                  </a:lnTo>
                  <a:lnTo>
                    <a:pt x="305513" y="2617328"/>
                  </a:lnTo>
                  <a:lnTo>
                    <a:pt x="301466" y="2621376"/>
                  </a:lnTo>
                  <a:lnTo>
                    <a:pt x="298846" y="2618756"/>
                  </a:lnTo>
                  <a:lnTo>
                    <a:pt x="294608" y="2622994"/>
                  </a:lnTo>
                  <a:cubicBezTo>
                    <a:pt x="292135" y="2622994"/>
                    <a:pt x="290131" y="2620990"/>
                    <a:pt x="290131" y="2618518"/>
                  </a:cubicBezTo>
                  <a:cubicBezTo>
                    <a:pt x="290131" y="2616045"/>
                    <a:pt x="292135" y="2614041"/>
                    <a:pt x="294608" y="2614041"/>
                  </a:cubicBezTo>
                  <a:lnTo>
                    <a:pt x="295513" y="2614946"/>
                  </a:lnTo>
                  <a:lnTo>
                    <a:pt x="301466" y="2608993"/>
                  </a:lnTo>
                  <a:lnTo>
                    <a:pt x="303037" y="2610565"/>
                  </a:lnTo>
                  <a:lnTo>
                    <a:pt x="307085" y="2606517"/>
                  </a:lnTo>
                  <a:lnTo>
                    <a:pt x="308656" y="2608089"/>
                  </a:lnTo>
                  <a:lnTo>
                    <a:pt x="311943" y="2604802"/>
                  </a:lnTo>
                  <a:lnTo>
                    <a:pt x="313562" y="2606422"/>
                  </a:lnTo>
                  <a:lnTo>
                    <a:pt x="316515" y="2603469"/>
                  </a:lnTo>
                  <a:lnTo>
                    <a:pt x="318229" y="2605184"/>
                  </a:lnTo>
                  <a:lnTo>
                    <a:pt x="321278" y="2602135"/>
                  </a:lnTo>
                  <a:lnTo>
                    <a:pt x="323278" y="2604135"/>
                  </a:lnTo>
                  <a:lnTo>
                    <a:pt x="327088" y="2600325"/>
                  </a:lnTo>
                  <a:lnTo>
                    <a:pt x="329516" y="2602754"/>
                  </a:lnTo>
                  <a:close/>
                  <a:moveTo>
                    <a:pt x="1044701" y="2596706"/>
                  </a:moveTo>
                  <a:cubicBezTo>
                    <a:pt x="1048130" y="2596706"/>
                    <a:pt x="1050893" y="2599468"/>
                    <a:pt x="1050893" y="2602897"/>
                  </a:cubicBezTo>
                  <a:cubicBezTo>
                    <a:pt x="1050893" y="2606326"/>
                    <a:pt x="1048130" y="2609089"/>
                    <a:pt x="1044701" y="2609089"/>
                  </a:cubicBezTo>
                  <a:cubicBezTo>
                    <a:pt x="1041272" y="2609089"/>
                    <a:pt x="1038510" y="2606326"/>
                    <a:pt x="1038510" y="2602897"/>
                  </a:cubicBezTo>
                  <a:cubicBezTo>
                    <a:pt x="1038510" y="2599468"/>
                    <a:pt x="1041272" y="2596706"/>
                    <a:pt x="1044701" y="2596706"/>
                  </a:cubicBezTo>
                  <a:close/>
                  <a:moveTo>
                    <a:pt x="770857" y="2595848"/>
                  </a:moveTo>
                  <a:cubicBezTo>
                    <a:pt x="774286" y="2595848"/>
                    <a:pt x="777049" y="2598610"/>
                    <a:pt x="777049" y="2602039"/>
                  </a:cubicBezTo>
                  <a:cubicBezTo>
                    <a:pt x="777049" y="2605468"/>
                    <a:pt x="774286" y="2608231"/>
                    <a:pt x="770857" y="2608231"/>
                  </a:cubicBezTo>
                  <a:cubicBezTo>
                    <a:pt x="767428" y="2608231"/>
                    <a:pt x="764666" y="2605468"/>
                    <a:pt x="764666" y="2602039"/>
                  </a:cubicBezTo>
                  <a:cubicBezTo>
                    <a:pt x="764666" y="2598610"/>
                    <a:pt x="767428" y="2595848"/>
                    <a:pt x="770857" y="2595848"/>
                  </a:cubicBezTo>
                  <a:close/>
                  <a:moveTo>
                    <a:pt x="3071145" y="2594324"/>
                  </a:moveTo>
                  <a:cubicBezTo>
                    <a:pt x="3074574" y="2594324"/>
                    <a:pt x="3077336" y="2597086"/>
                    <a:pt x="3077336" y="2600515"/>
                  </a:cubicBezTo>
                  <a:cubicBezTo>
                    <a:pt x="3077336" y="2603944"/>
                    <a:pt x="3074574" y="2606707"/>
                    <a:pt x="3071145" y="2606707"/>
                  </a:cubicBezTo>
                  <a:cubicBezTo>
                    <a:pt x="3067716" y="2606707"/>
                    <a:pt x="3064954" y="2603944"/>
                    <a:pt x="3064954" y="2600515"/>
                  </a:cubicBezTo>
                  <a:cubicBezTo>
                    <a:pt x="3064954" y="2597086"/>
                    <a:pt x="3067716" y="2594324"/>
                    <a:pt x="3071145" y="2594324"/>
                  </a:cubicBezTo>
                  <a:close/>
                  <a:moveTo>
                    <a:pt x="344614" y="2593372"/>
                  </a:moveTo>
                  <a:cubicBezTo>
                    <a:pt x="348043" y="2593372"/>
                    <a:pt x="350806" y="2596134"/>
                    <a:pt x="350806" y="2599563"/>
                  </a:cubicBezTo>
                  <a:cubicBezTo>
                    <a:pt x="350806" y="2602992"/>
                    <a:pt x="348043" y="2605754"/>
                    <a:pt x="344614" y="2605754"/>
                  </a:cubicBezTo>
                  <a:cubicBezTo>
                    <a:pt x="341185" y="2605754"/>
                    <a:pt x="338423" y="2602992"/>
                    <a:pt x="338423" y="2599563"/>
                  </a:cubicBezTo>
                  <a:cubicBezTo>
                    <a:pt x="338423" y="2596134"/>
                    <a:pt x="341185" y="2593372"/>
                    <a:pt x="344614" y="2593372"/>
                  </a:cubicBezTo>
                  <a:close/>
                  <a:moveTo>
                    <a:pt x="437006" y="2591181"/>
                  </a:moveTo>
                  <a:cubicBezTo>
                    <a:pt x="440435" y="2591181"/>
                    <a:pt x="443197" y="2593943"/>
                    <a:pt x="443197" y="2597372"/>
                  </a:cubicBezTo>
                  <a:cubicBezTo>
                    <a:pt x="443197" y="2600801"/>
                    <a:pt x="440435" y="2603563"/>
                    <a:pt x="437006" y="2603563"/>
                  </a:cubicBezTo>
                  <a:cubicBezTo>
                    <a:pt x="433577" y="2603563"/>
                    <a:pt x="430815" y="2600801"/>
                    <a:pt x="430815" y="2597372"/>
                  </a:cubicBezTo>
                  <a:cubicBezTo>
                    <a:pt x="430815" y="2593943"/>
                    <a:pt x="433577" y="2591181"/>
                    <a:pt x="437006" y="2591181"/>
                  </a:cubicBezTo>
                  <a:close/>
                  <a:moveTo>
                    <a:pt x="2941129" y="2589848"/>
                  </a:moveTo>
                  <a:cubicBezTo>
                    <a:pt x="2944558" y="2589848"/>
                    <a:pt x="2947320" y="2592610"/>
                    <a:pt x="2947320" y="2596039"/>
                  </a:cubicBezTo>
                  <a:cubicBezTo>
                    <a:pt x="2947320" y="2599468"/>
                    <a:pt x="2944558" y="2602230"/>
                    <a:pt x="2941129" y="2602230"/>
                  </a:cubicBezTo>
                  <a:cubicBezTo>
                    <a:pt x="2937700" y="2602230"/>
                    <a:pt x="2934938" y="2599468"/>
                    <a:pt x="2934938" y="2596039"/>
                  </a:cubicBezTo>
                  <a:cubicBezTo>
                    <a:pt x="2934938" y="2592610"/>
                    <a:pt x="2937700" y="2589848"/>
                    <a:pt x="2941129" y="2589848"/>
                  </a:cubicBezTo>
                  <a:close/>
                  <a:moveTo>
                    <a:pt x="2735008" y="2588895"/>
                  </a:moveTo>
                  <a:cubicBezTo>
                    <a:pt x="2738437" y="2588895"/>
                    <a:pt x="2741200" y="2591657"/>
                    <a:pt x="2741200" y="2595086"/>
                  </a:cubicBezTo>
                  <a:cubicBezTo>
                    <a:pt x="2741200" y="2598515"/>
                    <a:pt x="2738437" y="2601277"/>
                    <a:pt x="2735008" y="2601277"/>
                  </a:cubicBezTo>
                  <a:cubicBezTo>
                    <a:pt x="2731579" y="2601277"/>
                    <a:pt x="2728817" y="2598515"/>
                    <a:pt x="2728817" y="2595086"/>
                  </a:cubicBezTo>
                  <a:cubicBezTo>
                    <a:pt x="2728817" y="2591657"/>
                    <a:pt x="2731579" y="2588895"/>
                    <a:pt x="2735008" y="2588895"/>
                  </a:cubicBezTo>
                  <a:close/>
                  <a:moveTo>
                    <a:pt x="3062001" y="2587847"/>
                  </a:moveTo>
                  <a:cubicBezTo>
                    <a:pt x="3065430" y="2587847"/>
                    <a:pt x="3068192" y="2590609"/>
                    <a:pt x="3068192" y="2594038"/>
                  </a:cubicBezTo>
                  <a:cubicBezTo>
                    <a:pt x="3068192" y="2597467"/>
                    <a:pt x="3065430" y="2600230"/>
                    <a:pt x="3062001" y="2600230"/>
                  </a:cubicBezTo>
                  <a:cubicBezTo>
                    <a:pt x="3058572" y="2600230"/>
                    <a:pt x="3055810" y="2597467"/>
                    <a:pt x="3055810" y="2594038"/>
                  </a:cubicBezTo>
                  <a:cubicBezTo>
                    <a:pt x="3055810" y="2590609"/>
                    <a:pt x="3058572" y="2587847"/>
                    <a:pt x="3062001" y="2587847"/>
                  </a:cubicBezTo>
                  <a:close/>
                  <a:moveTo>
                    <a:pt x="358234" y="2587086"/>
                  </a:moveTo>
                  <a:cubicBezTo>
                    <a:pt x="361663" y="2587086"/>
                    <a:pt x="364425" y="2589848"/>
                    <a:pt x="364425" y="2593277"/>
                  </a:cubicBezTo>
                  <a:cubicBezTo>
                    <a:pt x="364425" y="2596706"/>
                    <a:pt x="361663" y="2599468"/>
                    <a:pt x="358234" y="2599468"/>
                  </a:cubicBezTo>
                  <a:cubicBezTo>
                    <a:pt x="354805" y="2599468"/>
                    <a:pt x="352043" y="2596706"/>
                    <a:pt x="352043" y="2593277"/>
                  </a:cubicBezTo>
                  <a:cubicBezTo>
                    <a:pt x="352043" y="2589848"/>
                    <a:pt x="354805" y="2587086"/>
                    <a:pt x="358234" y="2587086"/>
                  </a:cubicBezTo>
                  <a:close/>
                  <a:moveTo>
                    <a:pt x="2838164" y="2586133"/>
                  </a:moveTo>
                  <a:cubicBezTo>
                    <a:pt x="2841593" y="2586133"/>
                    <a:pt x="2844355" y="2588895"/>
                    <a:pt x="2844355" y="2592324"/>
                  </a:cubicBezTo>
                  <a:cubicBezTo>
                    <a:pt x="2844355" y="2595753"/>
                    <a:pt x="2841593" y="2598515"/>
                    <a:pt x="2838164" y="2598515"/>
                  </a:cubicBezTo>
                  <a:cubicBezTo>
                    <a:pt x="2834735" y="2598515"/>
                    <a:pt x="2831973" y="2595753"/>
                    <a:pt x="2831973" y="2592324"/>
                  </a:cubicBezTo>
                  <a:cubicBezTo>
                    <a:pt x="2831973" y="2588895"/>
                    <a:pt x="2834735" y="2586133"/>
                    <a:pt x="2838164" y="2586133"/>
                  </a:cubicBezTo>
                  <a:close/>
                  <a:moveTo>
                    <a:pt x="2337720" y="2586133"/>
                  </a:moveTo>
                  <a:cubicBezTo>
                    <a:pt x="2341149" y="2586133"/>
                    <a:pt x="2343912" y="2588895"/>
                    <a:pt x="2343912" y="2592324"/>
                  </a:cubicBezTo>
                  <a:cubicBezTo>
                    <a:pt x="2343912" y="2595753"/>
                    <a:pt x="2341149" y="2598515"/>
                    <a:pt x="2337720" y="2598515"/>
                  </a:cubicBezTo>
                  <a:cubicBezTo>
                    <a:pt x="2334291" y="2598515"/>
                    <a:pt x="2331529" y="2595753"/>
                    <a:pt x="2331529" y="2592324"/>
                  </a:cubicBezTo>
                  <a:cubicBezTo>
                    <a:pt x="2331529" y="2588895"/>
                    <a:pt x="2334291" y="2586133"/>
                    <a:pt x="2337720" y="2586133"/>
                  </a:cubicBezTo>
                  <a:close/>
                  <a:moveTo>
                    <a:pt x="3008947" y="2584895"/>
                  </a:moveTo>
                  <a:lnTo>
                    <a:pt x="3013757" y="2589705"/>
                  </a:lnTo>
                  <a:lnTo>
                    <a:pt x="3015424" y="2588038"/>
                  </a:lnTo>
                  <a:lnTo>
                    <a:pt x="3019091" y="2591705"/>
                  </a:lnTo>
                  <a:lnTo>
                    <a:pt x="3020472" y="2590324"/>
                  </a:lnTo>
                  <a:lnTo>
                    <a:pt x="3023568" y="2593419"/>
                  </a:lnTo>
                  <a:lnTo>
                    <a:pt x="3024758" y="2592229"/>
                  </a:lnTo>
                  <a:lnTo>
                    <a:pt x="3027854" y="2595325"/>
                  </a:lnTo>
                  <a:lnTo>
                    <a:pt x="3028949" y="2594229"/>
                  </a:lnTo>
                  <a:lnTo>
                    <a:pt x="3032426" y="2597706"/>
                  </a:lnTo>
                  <a:lnTo>
                    <a:pt x="3033616" y="2596515"/>
                  </a:lnTo>
                  <a:lnTo>
                    <a:pt x="3037950" y="2600849"/>
                  </a:lnTo>
                  <a:lnTo>
                    <a:pt x="3039236" y="2599563"/>
                  </a:lnTo>
                  <a:lnTo>
                    <a:pt x="3044761" y="2605088"/>
                  </a:lnTo>
                  <a:lnTo>
                    <a:pt x="3046190" y="2603659"/>
                  </a:lnTo>
                  <a:cubicBezTo>
                    <a:pt x="3049619" y="2603659"/>
                    <a:pt x="3052381" y="2606421"/>
                    <a:pt x="3052381" y="2609850"/>
                  </a:cubicBezTo>
                  <a:cubicBezTo>
                    <a:pt x="3052381" y="2613279"/>
                    <a:pt x="3049619" y="2616042"/>
                    <a:pt x="3046190" y="2616042"/>
                  </a:cubicBezTo>
                  <a:lnTo>
                    <a:pt x="3040665" y="2610516"/>
                  </a:lnTo>
                  <a:lnTo>
                    <a:pt x="3039236" y="2611945"/>
                  </a:lnTo>
                  <a:lnTo>
                    <a:pt x="3034903" y="2607612"/>
                  </a:lnTo>
                  <a:lnTo>
                    <a:pt x="3033616" y="2608898"/>
                  </a:lnTo>
                  <a:lnTo>
                    <a:pt x="3030139" y="2605421"/>
                  </a:lnTo>
                  <a:lnTo>
                    <a:pt x="3028949" y="2606611"/>
                  </a:lnTo>
                  <a:lnTo>
                    <a:pt x="3025853" y="2603516"/>
                  </a:lnTo>
                  <a:lnTo>
                    <a:pt x="3024758" y="2604611"/>
                  </a:lnTo>
                  <a:lnTo>
                    <a:pt x="3021663" y="2601516"/>
                  </a:lnTo>
                  <a:lnTo>
                    <a:pt x="3020472" y="2602706"/>
                  </a:lnTo>
                  <a:lnTo>
                    <a:pt x="3016805" y="2599040"/>
                  </a:lnTo>
                  <a:lnTo>
                    <a:pt x="3015424" y="2600421"/>
                  </a:lnTo>
                  <a:lnTo>
                    <a:pt x="3010614" y="2595611"/>
                  </a:lnTo>
                  <a:lnTo>
                    <a:pt x="3008947" y="2597278"/>
                  </a:lnTo>
                  <a:cubicBezTo>
                    <a:pt x="3005518" y="2597278"/>
                    <a:pt x="3002756" y="2594515"/>
                    <a:pt x="3002756" y="2591086"/>
                  </a:cubicBezTo>
                  <a:cubicBezTo>
                    <a:pt x="3002756" y="2587657"/>
                    <a:pt x="3005518" y="2584895"/>
                    <a:pt x="3008947" y="2584895"/>
                  </a:cubicBezTo>
                  <a:close/>
                  <a:moveTo>
                    <a:pt x="3087338" y="2582990"/>
                  </a:moveTo>
                  <a:cubicBezTo>
                    <a:pt x="3089433" y="2582990"/>
                    <a:pt x="3091052" y="2584609"/>
                    <a:pt x="3091052" y="2586705"/>
                  </a:cubicBezTo>
                  <a:cubicBezTo>
                    <a:pt x="3091052" y="2588800"/>
                    <a:pt x="3089338" y="2590419"/>
                    <a:pt x="3087338" y="2590419"/>
                  </a:cubicBezTo>
                  <a:cubicBezTo>
                    <a:pt x="3085242" y="2590419"/>
                    <a:pt x="3083623" y="2588800"/>
                    <a:pt x="3083623" y="2586705"/>
                  </a:cubicBezTo>
                  <a:cubicBezTo>
                    <a:pt x="3083623" y="2584609"/>
                    <a:pt x="3085242" y="2582990"/>
                    <a:pt x="3087338" y="2582990"/>
                  </a:cubicBezTo>
                  <a:close/>
                  <a:moveTo>
                    <a:pt x="2600039" y="2582895"/>
                  </a:moveTo>
                  <a:cubicBezTo>
                    <a:pt x="2603468" y="2582895"/>
                    <a:pt x="2606230" y="2585657"/>
                    <a:pt x="2606230" y="2589086"/>
                  </a:cubicBezTo>
                  <a:cubicBezTo>
                    <a:pt x="2606230" y="2592515"/>
                    <a:pt x="2603468" y="2595277"/>
                    <a:pt x="2600039" y="2595277"/>
                  </a:cubicBezTo>
                  <a:cubicBezTo>
                    <a:pt x="2596610" y="2595277"/>
                    <a:pt x="2593848" y="2592515"/>
                    <a:pt x="2593848" y="2589086"/>
                  </a:cubicBezTo>
                  <a:cubicBezTo>
                    <a:pt x="2593848" y="2585657"/>
                    <a:pt x="2596610" y="2582895"/>
                    <a:pt x="2600039" y="2582895"/>
                  </a:cubicBezTo>
                  <a:close/>
                  <a:moveTo>
                    <a:pt x="3000184" y="2580323"/>
                  </a:moveTo>
                  <a:cubicBezTo>
                    <a:pt x="3003613" y="2580323"/>
                    <a:pt x="3006376" y="2583085"/>
                    <a:pt x="3006376" y="2586514"/>
                  </a:cubicBezTo>
                  <a:cubicBezTo>
                    <a:pt x="3006376" y="2589943"/>
                    <a:pt x="3003613" y="2592705"/>
                    <a:pt x="3000184" y="2592705"/>
                  </a:cubicBezTo>
                  <a:cubicBezTo>
                    <a:pt x="2996755" y="2592705"/>
                    <a:pt x="2993993" y="2589943"/>
                    <a:pt x="2993993" y="2586514"/>
                  </a:cubicBezTo>
                  <a:cubicBezTo>
                    <a:pt x="2993993" y="2583085"/>
                    <a:pt x="2996755" y="2580323"/>
                    <a:pt x="3000184" y="2580323"/>
                  </a:cubicBezTo>
                  <a:close/>
                  <a:moveTo>
                    <a:pt x="376332" y="2577942"/>
                  </a:moveTo>
                  <a:cubicBezTo>
                    <a:pt x="379761" y="2577942"/>
                    <a:pt x="382523" y="2580704"/>
                    <a:pt x="382523" y="2584133"/>
                  </a:cubicBezTo>
                  <a:cubicBezTo>
                    <a:pt x="382523" y="2587562"/>
                    <a:pt x="379761" y="2590324"/>
                    <a:pt x="376332" y="2590324"/>
                  </a:cubicBezTo>
                  <a:cubicBezTo>
                    <a:pt x="372903" y="2590324"/>
                    <a:pt x="370141" y="2587562"/>
                    <a:pt x="370141" y="2584133"/>
                  </a:cubicBezTo>
                  <a:cubicBezTo>
                    <a:pt x="370141" y="2580704"/>
                    <a:pt x="372903" y="2577942"/>
                    <a:pt x="376332" y="2577942"/>
                  </a:cubicBezTo>
                  <a:close/>
                  <a:moveTo>
                    <a:pt x="2915316" y="2577275"/>
                  </a:moveTo>
                  <a:cubicBezTo>
                    <a:pt x="2918745" y="2577275"/>
                    <a:pt x="2921507" y="2580037"/>
                    <a:pt x="2921507" y="2583466"/>
                  </a:cubicBezTo>
                  <a:cubicBezTo>
                    <a:pt x="2921507" y="2586895"/>
                    <a:pt x="2918745" y="2589657"/>
                    <a:pt x="2915316" y="2589657"/>
                  </a:cubicBezTo>
                  <a:cubicBezTo>
                    <a:pt x="2911887" y="2589657"/>
                    <a:pt x="2909125" y="2586895"/>
                    <a:pt x="2909125" y="2583466"/>
                  </a:cubicBezTo>
                  <a:cubicBezTo>
                    <a:pt x="2909125" y="2580037"/>
                    <a:pt x="2911887" y="2577275"/>
                    <a:pt x="2915316" y="2577275"/>
                  </a:cubicBezTo>
                  <a:close/>
                  <a:moveTo>
                    <a:pt x="571023" y="2576989"/>
                  </a:moveTo>
                  <a:cubicBezTo>
                    <a:pt x="574452" y="2576989"/>
                    <a:pt x="577214" y="2579751"/>
                    <a:pt x="577214" y="2583180"/>
                  </a:cubicBezTo>
                  <a:cubicBezTo>
                    <a:pt x="577214" y="2586609"/>
                    <a:pt x="574452" y="2589371"/>
                    <a:pt x="571023" y="2589371"/>
                  </a:cubicBezTo>
                  <a:cubicBezTo>
                    <a:pt x="567594" y="2589371"/>
                    <a:pt x="564832" y="2586609"/>
                    <a:pt x="564832" y="2583180"/>
                  </a:cubicBezTo>
                  <a:cubicBezTo>
                    <a:pt x="564832" y="2579751"/>
                    <a:pt x="567594" y="2576989"/>
                    <a:pt x="571023" y="2576989"/>
                  </a:cubicBezTo>
                  <a:close/>
                  <a:moveTo>
                    <a:pt x="1638204" y="2576894"/>
                  </a:moveTo>
                  <a:cubicBezTo>
                    <a:pt x="1641633" y="2576894"/>
                    <a:pt x="1644396" y="2579656"/>
                    <a:pt x="1644396" y="2583085"/>
                  </a:cubicBezTo>
                  <a:cubicBezTo>
                    <a:pt x="1644396" y="2586514"/>
                    <a:pt x="1641633" y="2589276"/>
                    <a:pt x="1638204" y="2589276"/>
                  </a:cubicBezTo>
                  <a:cubicBezTo>
                    <a:pt x="1634775" y="2589276"/>
                    <a:pt x="1632013" y="2586514"/>
                    <a:pt x="1632013" y="2583085"/>
                  </a:cubicBezTo>
                  <a:cubicBezTo>
                    <a:pt x="1632013" y="2579656"/>
                    <a:pt x="1634775" y="2576894"/>
                    <a:pt x="1638204" y="2576894"/>
                  </a:cubicBezTo>
                  <a:close/>
                  <a:moveTo>
                    <a:pt x="952213" y="2576513"/>
                  </a:moveTo>
                  <a:cubicBezTo>
                    <a:pt x="955642" y="2576513"/>
                    <a:pt x="958405" y="2579275"/>
                    <a:pt x="958405" y="2582704"/>
                  </a:cubicBezTo>
                  <a:cubicBezTo>
                    <a:pt x="958405" y="2586133"/>
                    <a:pt x="955642" y="2588896"/>
                    <a:pt x="952213" y="2588896"/>
                  </a:cubicBezTo>
                  <a:cubicBezTo>
                    <a:pt x="948784" y="2588896"/>
                    <a:pt x="946022" y="2586133"/>
                    <a:pt x="946022" y="2582704"/>
                  </a:cubicBezTo>
                  <a:cubicBezTo>
                    <a:pt x="946022" y="2579275"/>
                    <a:pt x="948784" y="2576513"/>
                    <a:pt x="952213" y="2576513"/>
                  </a:cubicBezTo>
                  <a:close/>
                  <a:moveTo>
                    <a:pt x="1758124" y="2575751"/>
                  </a:moveTo>
                  <a:cubicBezTo>
                    <a:pt x="1761553" y="2575751"/>
                    <a:pt x="1764316" y="2578513"/>
                    <a:pt x="1764316" y="2581942"/>
                  </a:cubicBezTo>
                  <a:cubicBezTo>
                    <a:pt x="1764316" y="2585371"/>
                    <a:pt x="1761553" y="2588133"/>
                    <a:pt x="1758124" y="2588133"/>
                  </a:cubicBezTo>
                  <a:cubicBezTo>
                    <a:pt x="1754695" y="2588133"/>
                    <a:pt x="1751933" y="2585371"/>
                    <a:pt x="1751933" y="2581942"/>
                  </a:cubicBezTo>
                  <a:cubicBezTo>
                    <a:pt x="1751933" y="2578513"/>
                    <a:pt x="1754695" y="2575751"/>
                    <a:pt x="1758124" y="2575751"/>
                  </a:cubicBezTo>
                  <a:close/>
                  <a:moveTo>
                    <a:pt x="473011" y="2574036"/>
                  </a:moveTo>
                  <a:cubicBezTo>
                    <a:pt x="476440" y="2574036"/>
                    <a:pt x="479203" y="2576798"/>
                    <a:pt x="479203" y="2580227"/>
                  </a:cubicBezTo>
                  <a:cubicBezTo>
                    <a:pt x="479203" y="2583656"/>
                    <a:pt x="476440" y="2586418"/>
                    <a:pt x="473011" y="2586418"/>
                  </a:cubicBezTo>
                  <a:cubicBezTo>
                    <a:pt x="469582" y="2586418"/>
                    <a:pt x="466820" y="2583656"/>
                    <a:pt x="466820" y="2580227"/>
                  </a:cubicBezTo>
                  <a:cubicBezTo>
                    <a:pt x="466820" y="2576798"/>
                    <a:pt x="469582" y="2574036"/>
                    <a:pt x="473011" y="2574036"/>
                  </a:cubicBezTo>
                  <a:close/>
                  <a:moveTo>
                    <a:pt x="313753" y="2573941"/>
                  </a:moveTo>
                  <a:cubicBezTo>
                    <a:pt x="317182" y="2573941"/>
                    <a:pt x="319944" y="2576703"/>
                    <a:pt x="319944" y="2580132"/>
                  </a:cubicBezTo>
                  <a:cubicBezTo>
                    <a:pt x="319944" y="2583561"/>
                    <a:pt x="317182" y="2586323"/>
                    <a:pt x="313753" y="2586323"/>
                  </a:cubicBezTo>
                  <a:lnTo>
                    <a:pt x="312753" y="2585323"/>
                  </a:lnTo>
                  <a:lnTo>
                    <a:pt x="308133" y="2589943"/>
                  </a:lnTo>
                  <a:lnTo>
                    <a:pt x="307228" y="2589038"/>
                  </a:lnTo>
                  <a:lnTo>
                    <a:pt x="303656" y="2592610"/>
                  </a:lnTo>
                  <a:lnTo>
                    <a:pt x="302989" y="2591944"/>
                  </a:lnTo>
                  <a:lnTo>
                    <a:pt x="299846" y="2595086"/>
                  </a:lnTo>
                  <a:lnTo>
                    <a:pt x="299036" y="2594277"/>
                  </a:lnTo>
                  <a:lnTo>
                    <a:pt x="295846" y="2597467"/>
                  </a:lnTo>
                  <a:lnTo>
                    <a:pt x="295084" y="2596705"/>
                  </a:lnTo>
                  <a:lnTo>
                    <a:pt x="291369" y="2600420"/>
                  </a:lnTo>
                  <a:lnTo>
                    <a:pt x="290321" y="2599372"/>
                  </a:lnTo>
                  <a:lnTo>
                    <a:pt x="285749" y="2603944"/>
                  </a:lnTo>
                  <a:cubicBezTo>
                    <a:pt x="282320" y="2603944"/>
                    <a:pt x="279558" y="2601182"/>
                    <a:pt x="279558" y="2597753"/>
                  </a:cubicBezTo>
                  <a:cubicBezTo>
                    <a:pt x="279558" y="2594324"/>
                    <a:pt x="282320" y="2591562"/>
                    <a:pt x="285749" y="2591562"/>
                  </a:cubicBezTo>
                  <a:lnTo>
                    <a:pt x="286797" y="2592610"/>
                  </a:lnTo>
                  <a:lnTo>
                    <a:pt x="291369" y="2588038"/>
                  </a:lnTo>
                  <a:lnTo>
                    <a:pt x="292131" y="2588800"/>
                  </a:lnTo>
                  <a:lnTo>
                    <a:pt x="295846" y="2585085"/>
                  </a:lnTo>
                  <a:lnTo>
                    <a:pt x="296655" y="2585895"/>
                  </a:lnTo>
                  <a:lnTo>
                    <a:pt x="299846" y="2582704"/>
                  </a:lnTo>
                  <a:lnTo>
                    <a:pt x="300513" y="2583371"/>
                  </a:lnTo>
                  <a:lnTo>
                    <a:pt x="303656" y="2580228"/>
                  </a:lnTo>
                  <a:lnTo>
                    <a:pt x="304561" y="2581133"/>
                  </a:lnTo>
                  <a:lnTo>
                    <a:pt x="308133" y="2577561"/>
                  </a:lnTo>
                  <a:lnTo>
                    <a:pt x="309133" y="2578561"/>
                  </a:lnTo>
                  <a:close/>
                  <a:moveTo>
                    <a:pt x="2988182" y="2573655"/>
                  </a:moveTo>
                  <a:cubicBezTo>
                    <a:pt x="2991611" y="2573655"/>
                    <a:pt x="2994373" y="2576417"/>
                    <a:pt x="2994373" y="2579846"/>
                  </a:cubicBezTo>
                  <a:cubicBezTo>
                    <a:pt x="2994373" y="2583275"/>
                    <a:pt x="2991611" y="2586037"/>
                    <a:pt x="2988182" y="2586037"/>
                  </a:cubicBezTo>
                  <a:cubicBezTo>
                    <a:pt x="2984753" y="2586037"/>
                    <a:pt x="2981991" y="2583275"/>
                    <a:pt x="2981991" y="2579846"/>
                  </a:cubicBezTo>
                  <a:cubicBezTo>
                    <a:pt x="2981991" y="2576417"/>
                    <a:pt x="2984753" y="2573655"/>
                    <a:pt x="2988182" y="2573655"/>
                  </a:cubicBezTo>
                  <a:close/>
                  <a:moveTo>
                    <a:pt x="1518665" y="2573655"/>
                  </a:moveTo>
                  <a:cubicBezTo>
                    <a:pt x="1522094" y="2573655"/>
                    <a:pt x="1524857" y="2576417"/>
                    <a:pt x="1524857" y="2579846"/>
                  </a:cubicBezTo>
                  <a:cubicBezTo>
                    <a:pt x="1524857" y="2583275"/>
                    <a:pt x="1522094" y="2586037"/>
                    <a:pt x="1518665" y="2586037"/>
                  </a:cubicBezTo>
                  <a:cubicBezTo>
                    <a:pt x="1515236" y="2586037"/>
                    <a:pt x="1512474" y="2583275"/>
                    <a:pt x="1512474" y="2579846"/>
                  </a:cubicBezTo>
                  <a:cubicBezTo>
                    <a:pt x="1512474" y="2576417"/>
                    <a:pt x="1515236" y="2573655"/>
                    <a:pt x="1518665" y="2573655"/>
                  </a:cubicBezTo>
                  <a:close/>
                  <a:moveTo>
                    <a:pt x="3077622" y="2572893"/>
                  </a:moveTo>
                  <a:cubicBezTo>
                    <a:pt x="3081051" y="2572893"/>
                    <a:pt x="3083814" y="2575655"/>
                    <a:pt x="3083814" y="2579084"/>
                  </a:cubicBezTo>
                  <a:cubicBezTo>
                    <a:pt x="3083814" y="2582513"/>
                    <a:pt x="3081051" y="2585276"/>
                    <a:pt x="3077622" y="2585276"/>
                  </a:cubicBezTo>
                  <a:cubicBezTo>
                    <a:pt x="3074193" y="2585276"/>
                    <a:pt x="3071431" y="2582513"/>
                    <a:pt x="3071431" y="2579084"/>
                  </a:cubicBezTo>
                  <a:cubicBezTo>
                    <a:pt x="3071431" y="2575655"/>
                    <a:pt x="3074193" y="2572893"/>
                    <a:pt x="3077622" y="2572893"/>
                  </a:cubicBezTo>
                  <a:close/>
                  <a:moveTo>
                    <a:pt x="699801" y="2571560"/>
                  </a:moveTo>
                  <a:cubicBezTo>
                    <a:pt x="703230" y="2571560"/>
                    <a:pt x="705993" y="2574322"/>
                    <a:pt x="705993" y="2577751"/>
                  </a:cubicBezTo>
                  <a:cubicBezTo>
                    <a:pt x="705993" y="2581180"/>
                    <a:pt x="703230" y="2583942"/>
                    <a:pt x="699801" y="2583942"/>
                  </a:cubicBezTo>
                  <a:cubicBezTo>
                    <a:pt x="696372" y="2583942"/>
                    <a:pt x="693610" y="2581180"/>
                    <a:pt x="693610" y="2577751"/>
                  </a:cubicBezTo>
                  <a:cubicBezTo>
                    <a:pt x="693610" y="2574322"/>
                    <a:pt x="696372" y="2571560"/>
                    <a:pt x="699801" y="2571560"/>
                  </a:cubicBezTo>
                  <a:close/>
                  <a:moveTo>
                    <a:pt x="1876805" y="2570131"/>
                  </a:moveTo>
                  <a:cubicBezTo>
                    <a:pt x="1880234" y="2570131"/>
                    <a:pt x="1882997" y="2572893"/>
                    <a:pt x="1882997" y="2576322"/>
                  </a:cubicBezTo>
                  <a:cubicBezTo>
                    <a:pt x="1882997" y="2579751"/>
                    <a:pt x="1880234" y="2582513"/>
                    <a:pt x="1876805" y="2582513"/>
                  </a:cubicBezTo>
                  <a:cubicBezTo>
                    <a:pt x="1873376" y="2582513"/>
                    <a:pt x="1870614" y="2579751"/>
                    <a:pt x="1870614" y="2576322"/>
                  </a:cubicBezTo>
                  <a:cubicBezTo>
                    <a:pt x="1870614" y="2572893"/>
                    <a:pt x="1873376" y="2570131"/>
                    <a:pt x="1876805" y="2570131"/>
                  </a:cubicBezTo>
                  <a:close/>
                  <a:moveTo>
                    <a:pt x="321563" y="2569083"/>
                  </a:moveTo>
                  <a:cubicBezTo>
                    <a:pt x="324992" y="2569083"/>
                    <a:pt x="327754" y="2571845"/>
                    <a:pt x="327754" y="2575274"/>
                  </a:cubicBezTo>
                  <a:cubicBezTo>
                    <a:pt x="327754" y="2578703"/>
                    <a:pt x="324992" y="2581466"/>
                    <a:pt x="321563" y="2581466"/>
                  </a:cubicBezTo>
                  <a:cubicBezTo>
                    <a:pt x="318134" y="2581466"/>
                    <a:pt x="315372" y="2578703"/>
                    <a:pt x="315372" y="2575274"/>
                  </a:cubicBezTo>
                  <a:cubicBezTo>
                    <a:pt x="315372" y="2571845"/>
                    <a:pt x="318134" y="2569083"/>
                    <a:pt x="321563" y="2569083"/>
                  </a:cubicBezTo>
                  <a:close/>
                  <a:moveTo>
                    <a:pt x="1401222" y="2566130"/>
                  </a:moveTo>
                  <a:cubicBezTo>
                    <a:pt x="1404651" y="2566130"/>
                    <a:pt x="1407413" y="2568892"/>
                    <a:pt x="1407413" y="2572321"/>
                  </a:cubicBezTo>
                  <a:cubicBezTo>
                    <a:pt x="1407413" y="2575750"/>
                    <a:pt x="1404651" y="2578513"/>
                    <a:pt x="1401222" y="2578513"/>
                  </a:cubicBezTo>
                  <a:cubicBezTo>
                    <a:pt x="1397793" y="2578513"/>
                    <a:pt x="1395031" y="2575750"/>
                    <a:pt x="1395031" y="2572321"/>
                  </a:cubicBezTo>
                  <a:cubicBezTo>
                    <a:pt x="1395031" y="2568892"/>
                    <a:pt x="1397793" y="2566130"/>
                    <a:pt x="1401222" y="2566130"/>
                  </a:cubicBezTo>
                  <a:close/>
                  <a:moveTo>
                    <a:pt x="400145" y="2565273"/>
                  </a:moveTo>
                  <a:cubicBezTo>
                    <a:pt x="403574" y="2565273"/>
                    <a:pt x="406336" y="2568035"/>
                    <a:pt x="406336" y="2571464"/>
                  </a:cubicBezTo>
                  <a:cubicBezTo>
                    <a:pt x="406336" y="2574893"/>
                    <a:pt x="403574" y="2577655"/>
                    <a:pt x="400145" y="2577655"/>
                  </a:cubicBezTo>
                  <a:cubicBezTo>
                    <a:pt x="396716" y="2577655"/>
                    <a:pt x="393954" y="2574893"/>
                    <a:pt x="393954" y="2571464"/>
                  </a:cubicBezTo>
                  <a:cubicBezTo>
                    <a:pt x="393954" y="2568035"/>
                    <a:pt x="396716" y="2565273"/>
                    <a:pt x="400145" y="2565273"/>
                  </a:cubicBezTo>
                  <a:close/>
                  <a:moveTo>
                    <a:pt x="2427065" y="2565083"/>
                  </a:moveTo>
                  <a:cubicBezTo>
                    <a:pt x="2430494" y="2565083"/>
                    <a:pt x="2433257" y="2567845"/>
                    <a:pt x="2433257" y="2571274"/>
                  </a:cubicBezTo>
                  <a:cubicBezTo>
                    <a:pt x="2433257" y="2574703"/>
                    <a:pt x="2430494" y="2577465"/>
                    <a:pt x="2427065" y="2577465"/>
                  </a:cubicBezTo>
                  <a:cubicBezTo>
                    <a:pt x="2423636" y="2577465"/>
                    <a:pt x="2420874" y="2574703"/>
                    <a:pt x="2420874" y="2571274"/>
                  </a:cubicBezTo>
                  <a:cubicBezTo>
                    <a:pt x="2420874" y="2567845"/>
                    <a:pt x="2423636" y="2565083"/>
                    <a:pt x="2427065" y="2565083"/>
                  </a:cubicBezTo>
                  <a:close/>
                  <a:moveTo>
                    <a:pt x="255269" y="2565083"/>
                  </a:moveTo>
                  <a:cubicBezTo>
                    <a:pt x="255375" y="2565083"/>
                    <a:pt x="255460" y="2565168"/>
                    <a:pt x="255460" y="2565273"/>
                  </a:cubicBezTo>
                  <a:cubicBezTo>
                    <a:pt x="255460" y="2565379"/>
                    <a:pt x="255375" y="2565464"/>
                    <a:pt x="255269" y="2565464"/>
                  </a:cubicBezTo>
                  <a:cubicBezTo>
                    <a:pt x="255164" y="2565464"/>
                    <a:pt x="255079" y="2565379"/>
                    <a:pt x="255079" y="2565273"/>
                  </a:cubicBezTo>
                  <a:cubicBezTo>
                    <a:pt x="255079" y="2565168"/>
                    <a:pt x="255164" y="2565083"/>
                    <a:pt x="255269" y="2565083"/>
                  </a:cubicBezTo>
                  <a:close/>
                  <a:moveTo>
                    <a:pt x="2971894" y="2564321"/>
                  </a:moveTo>
                  <a:cubicBezTo>
                    <a:pt x="2975323" y="2564321"/>
                    <a:pt x="2978086" y="2567083"/>
                    <a:pt x="2978086" y="2570512"/>
                  </a:cubicBezTo>
                  <a:cubicBezTo>
                    <a:pt x="2978086" y="2573941"/>
                    <a:pt x="2975323" y="2576704"/>
                    <a:pt x="2971894" y="2576704"/>
                  </a:cubicBezTo>
                  <a:cubicBezTo>
                    <a:pt x="2968465" y="2576704"/>
                    <a:pt x="2965703" y="2573941"/>
                    <a:pt x="2965703" y="2570512"/>
                  </a:cubicBezTo>
                  <a:cubicBezTo>
                    <a:pt x="2965703" y="2567083"/>
                    <a:pt x="2968465" y="2564321"/>
                    <a:pt x="2971894" y="2564321"/>
                  </a:cubicBezTo>
                  <a:close/>
                  <a:moveTo>
                    <a:pt x="2790062" y="2563273"/>
                  </a:moveTo>
                  <a:cubicBezTo>
                    <a:pt x="2793491" y="2563273"/>
                    <a:pt x="2796254" y="2566035"/>
                    <a:pt x="2796254" y="2569464"/>
                  </a:cubicBezTo>
                  <a:cubicBezTo>
                    <a:pt x="2796254" y="2572893"/>
                    <a:pt x="2793491" y="2575655"/>
                    <a:pt x="2790062" y="2575655"/>
                  </a:cubicBezTo>
                  <a:cubicBezTo>
                    <a:pt x="2786633" y="2575655"/>
                    <a:pt x="2783871" y="2572893"/>
                    <a:pt x="2783871" y="2569464"/>
                  </a:cubicBezTo>
                  <a:cubicBezTo>
                    <a:pt x="2783871" y="2566035"/>
                    <a:pt x="2786633" y="2563273"/>
                    <a:pt x="2790062" y="2563273"/>
                  </a:cubicBezTo>
                  <a:close/>
                  <a:moveTo>
                    <a:pt x="332231" y="2562225"/>
                  </a:moveTo>
                  <a:cubicBezTo>
                    <a:pt x="335660" y="2562225"/>
                    <a:pt x="338422" y="2564987"/>
                    <a:pt x="338422" y="2568416"/>
                  </a:cubicBezTo>
                  <a:cubicBezTo>
                    <a:pt x="338422" y="2571845"/>
                    <a:pt x="335660" y="2574608"/>
                    <a:pt x="332231" y="2574608"/>
                  </a:cubicBezTo>
                  <a:cubicBezTo>
                    <a:pt x="328802" y="2574608"/>
                    <a:pt x="326040" y="2571845"/>
                    <a:pt x="326040" y="2568416"/>
                  </a:cubicBezTo>
                  <a:cubicBezTo>
                    <a:pt x="326040" y="2564987"/>
                    <a:pt x="328802" y="2562225"/>
                    <a:pt x="332231" y="2562225"/>
                  </a:cubicBezTo>
                  <a:close/>
                  <a:moveTo>
                    <a:pt x="1992439" y="2560511"/>
                  </a:moveTo>
                  <a:cubicBezTo>
                    <a:pt x="1995868" y="2560511"/>
                    <a:pt x="1998631" y="2563273"/>
                    <a:pt x="1998631" y="2566702"/>
                  </a:cubicBezTo>
                  <a:cubicBezTo>
                    <a:pt x="1998631" y="2570131"/>
                    <a:pt x="1995868" y="2572893"/>
                    <a:pt x="1992439" y="2572893"/>
                  </a:cubicBezTo>
                  <a:cubicBezTo>
                    <a:pt x="1989010" y="2572893"/>
                    <a:pt x="1986248" y="2570131"/>
                    <a:pt x="1986248" y="2566702"/>
                  </a:cubicBezTo>
                  <a:cubicBezTo>
                    <a:pt x="1986248" y="2563273"/>
                    <a:pt x="1989010" y="2560511"/>
                    <a:pt x="1992439" y="2560511"/>
                  </a:cubicBezTo>
                  <a:close/>
                  <a:moveTo>
                    <a:pt x="2882169" y="2560225"/>
                  </a:moveTo>
                  <a:cubicBezTo>
                    <a:pt x="2885598" y="2560225"/>
                    <a:pt x="2888360" y="2562987"/>
                    <a:pt x="2888360" y="2566416"/>
                  </a:cubicBezTo>
                  <a:cubicBezTo>
                    <a:pt x="2888360" y="2569845"/>
                    <a:pt x="2885598" y="2572607"/>
                    <a:pt x="2882169" y="2572607"/>
                  </a:cubicBezTo>
                  <a:cubicBezTo>
                    <a:pt x="2878740" y="2572607"/>
                    <a:pt x="2875978" y="2569845"/>
                    <a:pt x="2875978" y="2566416"/>
                  </a:cubicBezTo>
                  <a:cubicBezTo>
                    <a:pt x="2875978" y="2562987"/>
                    <a:pt x="2878740" y="2560225"/>
                    <a:pt x="2882169" y="2560225"/>
                  </a:cubicBezTo>
                  <a:close/>
                  <a:moveTo>
                    <a:pt x="3093148" y="2558606"/>
                  </a:moveTo>
                  <a:cubicBezTo>
                    <a:pt x="3096577" y="2558606"/>
                    <a:pt x="3099340" y="2561368"/>
                    <a:pt x="3099340" y="2564797"/>
                  </a:cubicBezTo>
                  <a:cubicBezTo>
                    <a:pt x="3099340" y="2568226"/>
                    <a:pt x="3096577" y="2570989"/>
                    <a:pt x="3093148" y="2570989"/>
                  </a:cubicBezTo>
                  <a:cubicBezTo>
                    <a:pt x="3089719" y="2570989"/>
                    <a:pt x="3086957" y="2568226"/>
                    <a:pt x="3086957" y="2564797"/>
                  </a:cubicBezTo>
                  <a:cubicBezTo>
                    <a:pt x="3086957" y="2561368"/>
                    <a:pt x="3089719" y="2558606"/>
                    <a:pt x="3093148" y="2558606"/>
                  </a:cubicBezTo>
                  <a:close/>
                  <a:moveTo>
                    <a:pt x="2668142" y="2558415"/>
                  </a:moveTo>
                  <a:cubicBezTo>
                    <a:pt x="2671571" y="2558415"/>
                    <a:pt x="2674333" y="2561177"/>
                    <a:pt x="2674333" y="2564606"/>
                  </a:cubicBezTo>
                  <a:cubicBezTo>
                    <a:pt x="2674333" y="2568035"/>
                    <a:pt x="2671571" y="2570798"/>
                    <a:pt x="2668142" y="2570798"/>
                  </a:cubicBezTo>
                  <a:cubicBezTo>
                    <a:pt x="2664713" y="2570798"/>
                    <a:pt x="2661951" y="2568035"/>
                    <a:pt x="2661951" y="2564606"/>
                  </a:cubicBezTo>
                  <a:cubicBezTo>
                    <a:pt x="2661951" y="2561177"/>
                    <a:pt x="2664713" y="2558415"/>
                    <a:pt x="2668142" y="2558415"/>
                  </a:cubicBezTo>
                  <a:close/>
                  <a:moveTo>
                    <a:pt x="3022187" y="2556320"/>
                  </a:moveTo>
                  <a:lnTo>
                    <a:pt x="3028140" y="2562273"/>
                  </a:lnTo>
                  <a:lnTo>
                    <a:pt x="3028759" y="2561654"/>
                  </a:lnTo>
                  <a:lnTo>
                    <a:pt x="3033188" y="2566082"/>
                  </a:lnTo>
                  <a:lnTo>
                    <a:pt x="3033616" y="2565654"/>
                  </a:lnTo>
                  <a:lnTo>
                    <a:pt x="3037141" y="2569178"/>
                  </a:lnTo>
                  <a:lnTo>
                    <a:pt x="3037426" y="2568893"/>
                  </a:lnTo>
                  <a:lnTo>
                    <a:pt x="3040618" y="2572084"/>
                  </a:lnTo>
                  <a:lnTo>
                    <a:pt x="3040856" y="2571846"/>
                  </a:lnTo>
                  <a:lnTo>
                    <a:pt x="3044237" y="2575227"/>
                  </a:lnTo>
                  <a:lnTo>
                    <a:pt x="3044570" y="2574894"/>
                  </a:lnTo>
                  <a:lnTo>
                    <a:pt x="3048523" y="2578846"/>
                  </a:lnTo>
                  <a:lnTo>
                    <a:pt x="3049047" y="2578322"/>
                  </a:lnTo>
                  <a:lnTo>
                    <a:pt x="3054048" y="2583323"/>
                  </a:lnTo>
                  <a:lnTo>
                    <a:pt x="3054762" y="2582609"/>
                  </a:lnTo>
                  <a:cubicBezTo>
                    <a:pt x="3058191" y="2582609"/>
                    <a:pt x="3060953" y="2585371"/>
                    <a:pt x="3060953" y="2588800"/>
                  </a:cubicBezTo>
                  <a:cubicBezTo>
                    <a:pt x="3060953" y="2592229"/>
                    <a:pt x="3058191" y="2594991"/>
                    <a:pt x="3054762" y="2594991"/>
                  </a:cubicBezTo>
                  <a:lnTo>
                    <a:pt x="3049761" y="2589991"/>
                  </a:lnTo>
                  <a:lnTo>
                    <a:pt x="3049047" y="2590705"/>
                  </a:lnTo>
                  <a:lnTo>
                    <a:pt x="3045094" y="2586752"/>
                  </a:lnTo>
                  <a:lnTo>
                    <a:pt x="3044570" y="2587276"/>
                  </a:lnTo>
                  <a:lnTo>
                    <a:pt x="3041189" y="2583895"/>
                  </a:lnTo>
                  <a:lnTo>
                    <a:pt x="3040856" y="2584228"/>
                  </a:lnTo>
                  <a:lnTo>
                    <a:pt x="3037665" y="2581037"/>
                  </a:lnTo>
                  <a:lnTo>
                    <a:pt x="3037426" y="2581275"/>
                  </a:lnTo>
                  <a:lnTo>
                    <a:pt x="3033902" y="2577751"/>
                  </a:lnTo>
                  <a:lnTo>
                    <a:pt x="3033616" y="2578036"/>
                  </a:lnTo>
                  <a:lnTo>
                    <a:pt x="3029188" y="2573608"/>
                  </a:lnTo>
                  <a:lnTo>
                    <a:pt x="3028759" y="2574037"/>
                  </a:lnTo>
                  <a:lnTo>
                    <a:pt x="3022806" y="2568084"/>
                  </a:lnTo>
                  <a:lnTo>
                    <a:pt x="3022187" y="2568703"/>
                  </a:lnTo>
                  <a:cubicBezTo>
                    <a:pt x="3018758" y="2568703"/>
                    <a:pt x="3015996" y="2565940"/>
                    <a:pt x="3015996" y="2562511"/>
                  </a:cubicBezTo>
                  <a:cubicBezTo>
                    <a:pt x="3015996" y="2559082"/>
                    <a:pt x="3018758" y="2556320"/>
                    <a:pt x="3022187" y="2556320"/>
                  </a:cubicBezTo>
                  <a:close/>
                  <a:moveTo>
                    <a:pt x="865726" y="2554891"/>
                  </a:moveTo>
                  <a:cubicBezTo>
                    <a:pt x="869155" y="2554891"/>
                    <a:pt x="871918" y="2557653"/>
                    <a:pt x="871918" y="2561082"/>
                  </a:cubicBezTo>
                  <a:cubicBezTo>
                    <a:pt x="871918" y="2564511"/>
                    <a:pt x="869155" y="2567273"/>
                    <a:pt x="865726" y="2567273"/>
                  </a:cubicBezTo>
                  <a:cubicBezTo>
                    <a:pt x="862297" y="2567273"/>
                    <a:pt x="859535" y="2564511"/>
                    <a:pt x="859535" y="2561082"/>
                  </a:cubicBezTo>
                  <a:cubicBezTo>
                    <a:pt x="859535" y="2557653"/>
                    <a:pt x="862297" y="2554891"/>
                    <a:pt x="865726" y="2554891"/>
                  </a:cubicBezTo>
                  <a:close/>
                  <a:moveTo>
                    <a:pt x="1287398" y="2554796"/>
                  </a:moveTo>
                  <a:cubicBezTo>
                    <a:pt x="1290827" y="2554796"/>
                    <a:pt x="1293590" y="2557558"/>
                    <a:pt x="1293590" y="2560987"/>
                  </a:cubicBezTo>
                  <a:cubicBezTo>
                    <a:pt x="1293590" y="2564416"/>
                    <a:pt x="1290827" y="2567179"/>
                    <a:pt x="1287398" y="2567179"/>
                  </a:cubicBezTo>
                  <a:cubicBezTo>
                    <a:pt x="1283969" y="2567179"/>
                    <a:pt x="1281207" y="2564416"/>
                    <a:pt x="1281207" y="2560987"/>
                  </a:cubicBezTo>
                  <a:cubicBezTo>
                    <a:pt x="1281207" y="2557558"/>
                    <a:pt x="1283969" y="2554796"/>
                    <a:pt x="1287398" y="2554796"/>
                  </a:cubicBezTo>
                  <a:close/>
                  <a:moveTo>
                    <a:pt x="346900" y="2552700"/>
                  </a:moveTo>
                  <a:cubicBezTo>
                    <a:pt x="350329" y="2552700"/>
                    <a:pt x="353091" y="2555462"/>
                    <a:pt x="353091" y="2558891"/>
                  </a:cubicBezTo>
                  <a:cubicBezTo>
                    <a:pt x="353091" y="2562320"/>
                    <a:pt x="350329" y="2565083"/>
                    <a:pt x="346900" y="2565083"/>
                  </a:cubicBezTo>
                  <a:cubicBezTo>
                    <a:pt x="343471" y="2565083"/>
                    <a:pt x="340709" y="2562320"/>
                    <a:pt x="340709" y="2558891"/>
                  </a:cubicBezTo>
                  <a:cubicBezTo>
                    <a:pt x="340709" y="2555462"/>
                    <a:pt x="343471" y="2552700"/>
                    <a:pt x="346900" y="2552700"/>
                  </a:cubicBezTo>
                  <a:close/>
                  <a:moveTo>
                    <a:pt x="2950368" y="2551653"/>
                  </a:moveTo>
                  <a:cubicBezTo>
                    <a:pt x="2953797" y="2551653"/>
                    <a:pt x="2956559" y="2554415"/>
                    <a:pt x="2956559" y="2557844"/>
                  </a:cubicBezTo>
                  <a:cubicBezTo>
                    <a:pt x="2956559" y="2561273"/>
                    <a:pt x="2953797" y="2564035"/>
                    <a:pt x="2950368" y="2564035"/>
                  </a:cubicBezTo>
                  <a:cubicBezTo>
                    <a:pt x="2946939" y="2564035"/>
                    <a:pt x="2944177" y="2561273"/>
                    <a:pt x="2944177" y="2557844"/>
                  </a:cubicBezTo>
                  <a:cubicBezTo>
                    <a:pt x="2944177" y="2554415"/>
                    <a:pt x="2946939" y="2551653"/>
                    <a:pt x="2950368" y="2551653"/>
                  </a:cubicBezTo>
                  <a:close/>
                  <a:moveTo>
                    <a:pt x="518159" y="2551462"/>
                  </a:moveTo>
                  <a:cubicBezTo>
                    <a:pt x="521588" y="2551462"/>
                    <a:pt x="524350" y="2554224"/>
                    <a:pt x="524350" y="2557653"/>
                  </a:cubicBezTo>
                  <a:cubicBezTo>
                    <a:pt x="524350" y="2561082"/>
                    <a:pt x="521588" y="2563845"/>
                    <a:pt x="518159" y="2563845"/>
                  </a:cubicBezTo>
                  <a:cubicBezTo>
                    <a:pt x="514730" y="2563845"/>
                    <a:pt x="511968" y="2561082"/>
                    <a:pt x="511968" y="2557653"/>
                  </a:cubicBezTo>
                  <a:cubicBezTo>
                    <a:pt x="511968" y="2554224"/>
                    <a:pt x="514730" y="2551462"/>
                    <a:pt x="518159" y="2551462"/>
                  </a:cubicBezTo>
                  <a:close/>
                  <a:moveTo>
                    <a:pt x="3084861" y="2550986"/>
                  </a:moveTo>
                  <a:cubicBezTo>
                    <a:pt x="3088290" y="2550986"/>
                    <a:pt x="3091052" y="2553748"/>
                    <a:pt x="3091052" y="2557177"/>
                  </a:cubicBezTo>
                  <a:cubicBezTo>
                    <a:pt x="3091052" y="2560606"/>
                    <a:pt x="3088290" y="2563368"/>
                    <a:pt x="3084861" y="2563368"/>
                  </a:cubicBezTo>
                  <a:cubicBezTo>
                    <a:pt x="3081432" y="2563368"/>
                    <a:pt x="3078670" y="2560606"/>
                    <a:pt x="3078670" y="2557177"/>
                  </a:cubicBezTo>
                  <a:cubicBezTo>
                    <a:pt x="3078670" y="2553748"/>
                    <a:pt x="3081432" y="2550986"/>
                    <a:pt x="3084861" y="2550986"/>
                  </a:cubicBezTo>
                  <a:close/>
                  <a:moveTo>
                    <a:pt x="3012852" y="2549081"/>
                  </a:moveTo>
                  <a:cubicBezTo>
                    <a:pt x="3016281" y="2549081"/>
                    <a:pt x="3019043" y="2551843"/>
                    <a:pt x="3019043" y="2555272"/>
                  </a:cubicBezTo>
                  <a:cubicBezTo>
                    <a:pt x="3019043" y="2558701"/>
                    <a:pt x="3016281" y="2561464"/>
                    <a:pt x="3012852" y="2561464"/>
                  </a:cubicBezTo>
                  <a:cubicBezTo>
                    <a:pt x="3009423" y="2561464"/>
                    <a:pt x="3006661" y="2558701"/>
                    <a:pt x="3006661" y="2555272"/>
                  </a:cubicBezTo>
                  <a:cubicBezTo>
                    <a:pt x="3006661" y="2551843"/>
                    <a:pt x="3009423" y="2549081"/>
                    <a:pt x="3012852" y="2549081"/>
                  </a:cubicBezTo>
                  <a:close/>
                  <a:moveTo>
                    <a:pt x="430910" y="2548319"/>
                  </a:moveTo>
                  <a:cubicBezTo>
                    <a:pt x="434339" y="2548319"/>
                    <a:pt x="437101" y="2551081"/>
                    <a:pt x="437101" y="2554510"/>
                  </a:cubicBezTo>
                  <a:cubicBezTo>
                    <a:pt x="437101" y="2557939"/>
                    <a:pt x="434339" y="2560701"/>
                    <a:pt x="430910" y="2560701"/>
                  </a:cubicBezTo>
                  <a:cubicBezTo>
                    <a:pt x="427481" y="2560701"/>
                    <a:pt x="424719" y="2557939"/>
                    <a:pt x="424719" y="2554510"/>
                  </a:cubicBezTo>
                  <a:cubicBezTo>
                    <a:pt x="424719" y="2551081"/>
                    <a:pt x="427481" y="2548319"/>
                    <a:pt x="430910" y="2548319"/>
                  </a:cubicBezTo>
                  <a:close/>
                  <a:moveTo>
                    <a:pt x="2103881" y="2547366"/>
                  </a:moveTo>
                  <a:cubicBezTo>
                    <a:pt x="2107310" y="2547366"/>
                    <a:pt x="2110073" y="2550128"/>
                    <a:pt x="2110073" y="2553557"/>
                  </a:cubicBezTo>
                  <a:cubicBezTo>
                    <a:pt x="2110073" y="2556986"/>
                    <a:pt x="2107310" y="2559749"/>
                    <a:pt x="2103881" y="2559749"/>
                  </a:cubicBezTo>
                  <a:cubicBezTo>
                    <a:pt x="2100452" y="2559749"/>
                    <a:pt x="2097690" y="2556986"/>
                    <a:pt x="2097690" y="2553557"/>
                  </a:cubicBezTo>
                  <a:cubicBezTo>
                    <a:pt x="2097690" y="2550128"/>
                    <a:pt x="2100452" y="2547366"/>
                    <a:pt x="2103881" y="2547366"/>
                  </a:cubicBezTo>
                  <a:close/>
                  <a:moveTo>
                    <a:pt x="634269" y="2546985"/>
                  </a:moveTo>
                  <a:cubicBezTo>
                    <a:pt x="637698" y="2546985"/>
                    <a:pt x="640460" y="2549747"/>
                    <a:pt x="640460" y="2553176"/>
                  </a:cubicBezTo>
                  <a:cubicBezTo>
                    <a:pt x="640460" y="2556605"/>
                    <a:pt x="637698" y="2559367"/>
                    <a:pt x="634269" y="2559367"/>
                  </a:cubicBezTo>
                  <a:cubicBezTo>
                    <a:pt x="630840" y="2559367"/>
                    <a:pt x="628078" y="2556605"/>
                    <a:pt x="628078" y="2553176"/>
                  </a:cubicBezTo>
                  <a:cubicBezTo>
                    <a:pt x="628078" y="2549747"/>
                    <a:pt x="630840" y="2546985"/>
                    <a:pt x="634269" y="2546985"/>
                  </a:cubicBezTo>
                  <a:close/>
                  <a:moveTo>
                    <a:pt x="3108578" y="2546795"/>
                  </a:moveTo>
                  <a:cubicBezTo>
                    <a:pt x="3111055" y="2546795"/>
                    <a:pt x="3113055" y="2548795"/>
                    <a:pt x="3113055" y="2551272"/>
                  </a:cubicBezTo>
                  <a:cubicBezTo>
                    <a:pt x="3113055" y="2553748"/>
                    <a:pt x="3111055" y="2555749"/>
                    <a:pt x="3108578" y="2555749"/>
                  </a:cubicBezTo>
                  <a:cubicBezTo>
                    <a:pt x="3106102" y="2555749"/>
                    <a:pt x="3104102" y="2553748"/>
                    <a:pt x="3104102" y="2551272"/>
                  </a:cubicBezTo>
                  <a:cubicBezTo>
                    <a:pt x="3104102" y="2548795"/>
                    <a:pt x="3106102" y="2546795"/>
                    <a:pt x="3108578" y="2546795"/>
                  </a:cubicBezTo>
                  <a:close/>
                  <a:moveTo>
                    <a:pt x="300513" y="2545366"/>
                  </a:moveTo>
                  <a:cubicBezTo>
                    <a:pt x="303942" y="2545366"/>
                    <a:pt x="306705" y="2548128"/>
                    <a:pt x="306705" y="2551557"/>
                  </a:cubicBezTo>
                  <a:cubicBezTo>
                    <a:pt x="306705" y="2554986"/>
                    <a:pt x="303942" y="2557748"/>
                    <a:pt x="300513" y="2557748"/>
                  </a:cubicBezTo>
                  <a:lnTo>
                    <a:pt x="300465" y="2557701"/>
                  </a:lnTo>
                  <a:lnTo>
                    <a:pt x="296608" y="2561558"/>
                  </a:lnTo>
                  <a:lnTo>
                    <a:pt x="296703" y="2561653"/>
                  </a:lnTo>
                  <a:lnTo>
                    <a:pt x="293226" y="2565130"/>
                  </a:lnTo>
                  <a:lnTo>
                    <a:pt x="293464" y="2565368"/>
                  </a:lnTo>
                  <a:lnTo>
                    <a:pt x="290178" y="2568654"/>
                  </a:lnTo>
                  <a:lnTo>
                    <a:pt x="290321" y="2568797"/>
                  </a:lnTo>
                  <a:lnTo>
                    <a:pt x="286797" y="2572321"/>
                  </a:lnTo>
                  <a:lnTo>
                    <a:pt x="286798" y="2572321"/>
                  </a:lnTo>
                  <a:cubicBezTo>
                    <a:pt x="286798" y="2575750"/>
                    <a:pt x="284035" y="2578513"/>
                    <a:pt x="280606" y="2578513"/>
                  </a:cubicBezTo>
                  <a:lnTo>
                    <a:pt x="280415" y="2578322"/>
                  </a:lnTo>
                  <a:lnTo>
                    <a:pt x="276129" y="2582609"/>
                  </a:lnTo>
                  <a:lnTo>
                    <a:pt x="275033" y="2581514"/>
                  </a:lnTo>
                  <a:lnTo>
                    <a:pt x="270319" y="2586228"/>
                  </a:lnTo>
                  <a:cubicBezTo>
                    <a:pt x="267557" y="2586228"/>
                    <a:pt x="265271" y="2583942"/>
                    <a:pt x="265271" y="2581180"/>
                  </a:cubicBezTo>
                  <a:lnTo>
                    <a:pt x="269986" y="2576465"/>
                  </a:lnTo>
                  <a:lnTo>
                    <a:pt x="269938" y="2576417"/>
                  </a:lnTo>
                  <a:cubicBezTo>
                    <a:pt x="269938" y="2572988"/>
                    <a:pt x="272700" y="2570226"/>
                    <a:pt x="276129" y="2570226"/>
                  </a:cubicBezTo>
                  <a:lnTo>
                    <a:pt x="276319" y="2570417"/>
                  </a:lnTo>
                  <a:lnTo>
                    <a:pt x="277939" y="2568797"/>
                  </a:lnTo>
                  <a:lnTo>
                    <a:pt x="281225" y="2565511"/>
                  </a:lnTo>
                  <a:lnTo>
                    <a:pt x="281082" y="2565368"/>
                  </a:lnTo>
                  <a:lnTo>
                    <a:pt x="284559" y="2561891"/>
                  </a:lnTo>
                  <a:lnTo>
                    <a:pt x="284321" y="2561653"/>
                  </a:lnTo>
                  <a:lnTo>
                    <a:pt x="288607" y="2557367"/>
                  </a:lnTo>
                  <a:lnTo>
                    <a:pt x="288512" y="2557272"/>
                  </a:lnTo>
                  <a:cubicBezTo>
                    <a:pt x="288512" y="2553843"/>
                    <a:pt x="291274" y="2551081"/>
                    <a:pt x="294703" y="2551081"/>
                  </a:cubicBezTo>
                  <a:lnTo>
                    <a:pt x="294750" y="2551129"/>
                  </a:lnTo>
                  <a:close/>
                  <a:moveTo>
                    <a:pt x="2510313" y="2542889"/>
                  </a:moveTo>
                  <a:cubicBezTo>
                    <a:pt x="2513742" y="2542889"/>
                    <a:pt x="2516505" y="2545651"/>
                    <a:pt x="2516505" y="2549080"/>
                  </a:cubicBezTo>
                  <a:cubicBezTo>
                    <a:pt x="2516505" y="2552509"/>
                    <a:pt x="2513742" y="2555272"/>
                    <a:pt x="2510313" y="2555272"/>
                  </a:cubicBezTo>
                  <a:cubicBezTo>
                    <a:pt x="2506884" y="2555272"/>
                    <a:pt x="2504122" y="2552509"/>
                    <a:pt x="2504122" y="2549080"/>
                  </a:cubicBezTo>
                  <a:cubicBezTo>
                    <a:pt x="2504122" y="2545651"/>
                    <a:pt x="2506884" y="2542889"/>
                    <a:pt x="2510313" y="2542889"/>
                  </a:cubicBezTo>
                  <a:close/>
                  <a:moveTo>
                    <a:pt x="1178337" y="2540222"/>
                  </a:moveTo>
                  <a:cubicBezTo>
                    <a:pt x="1181766" y="2540222"/>
                    <a:pt x="1184529" y="2542984"/>
                    <a:pt x="1184529" y="2546413"/>
                  </a:cubicBezTo>
                  <a:cubicBezTo>
                    <a:pt x="1184529" y="2549842"/>
                    <a:pt x="1181766" y="2552605"/>
                    <a:pt x="1178337" y="2552605"/>
                  </a:cubicBezTo>
                  <a:cubicBezTo>
                    <a:pt x="1174908" y="2552605"/>
                    <a:pt x="1172146" y="2549842"/>
                    <a:pt x="1172146" y="2546413"/>
                  </a:cubicBezTo>
                  <a:cubicBezTo>
                    <a:pt x="1172146" y="2542984"/>
                    <a:pt x="1174908" y="2540222"/>
                    <a:pt x="1178337" y="2540222"/>
                  </a:cubicBezTo>
                  <a:close/>
                  <a:moveTo>
                    <a:pt x="366617" y="2539937"/>
                  </a:moveTo>
                  <a:cubicBezTo>
                    <a:pt x="370046" y="2539937"/>
                    <a:pt x="372808" y="2542699"/>
                    <a:pt x="372808" y="2546128"/>
                  </a:cubicBezTo>
                  <a:cubicBezTo>
                    <a:pt x="372808" y="2549557"/>
                    <a:pt x="370046" y="2552320"/>
                    <a:pt x="366617" y="2552320"/>
                  </a:cubicBezTo>
                  <a:cubicBezTo>
                    <a:pt x="363188" y="2552320"/>
                    <a:pt x="360426" y="2549557"/>
                    <a:pt x="360426" y="2546128"/>
                  </a:cubicBezTo>
                  <a:cubicBezTo>
                    <a:pt x="360426" y="2542699"/>
                    <a:pt x="363188" y="2539937"/>
                    <a:pt x="366617" y="2539937"/>
                  </a:cubicBezTo>
                  <a:close/>
                  <a:moveTo>
                    <a:pt x="2999803" y="2539461"/>
                  </a:moveTo>
                  <a:cubicBezTo>
                    <a:pt x="3003232" y="2539461"/>
                    <a:pt x="3005994" y="2542223"/>
                    <a:pt x="3005994" y="2545652"/>
                  </a:cubicBezTo>
                  <a:cubicBezTo>
                    <a:pt x="3005994" y="2549081"/>
                    <a:pt x="3003232" y="2551843"/>
                    <a:pt x="2999803" y="2551843"/>
                  </a:cubicBezTo>
                  <a:cubicBezTo>
                    <a:pt x="2996374" y="2551843"/>
                    <a:pt x="2993612" y="2549081"/>
                    <a:pt x="2993612" y="2545652"/>
                  </a:cubicBezTo>
                  <a:cubicBezTo>
                    <a:pt x="2993612" y="2542223"/>
                    <a:pt x="2996374" y="2539461"/>
                    <a:pt x="2999803" y="2539461"/>
                  </a:cubicBezTo>
                  <a:close/>
                  <a:moveTo>
                    <a:pt x="3124104" y="2538318"/>
                  </a:moveTo>
                  <a:lnTo>
                    <a:pt x="3124199" y="2538318"/>
                  </a:lnTo>
                  <a:lnTo>
                    <a:pt x="3124199" y="2538413"/>
                  </a:lnTo>
                  <a:close/>
                  <a:moveTo>
                    <a:pt x="308705" y="2537937"/>
                  </a:moveTo>
                  <a:cubicBezTo>
                    <a:pt x="312134" y="2537937"/>
                    <a:pt x="314897" y="2540699"/>
                    <a:pt x="314897" y="2544128"/>
                  </a:cubicBezTo>
                  <a:cubicBezTo>
                    <a:pt x="314897" y="2547557"/>
                    <a:pt x="312134" y="2550319"/>
                    <a:pt x="308705" y="2550319"/>
                  </a:cubicBezTo>
                  <a:cubicBezTo>
                    <a:pt x="305276" y="2550319"/>
                    <a:pt x="302514" y="2547557"/>
                    <a:pt x="302514" y="2544128"/>
                  </a:cubicBezTo>
                  <a:cubicBezTo>
                    <a:pt x="302514" y="2540699"/>
                    <a:pt x="305276" y="2537937"/>
                    <a:pt x="308705" y="2537937"/>
                  </a:cubicBezTo>
                  <a:close/>
                  <a:moveTo>
                    <a:pt x="2840354" y="2537841"/>
                  </a:moveTo>
                  <a:cubicBezTo>
                    <a:pt x="2843783" y="2537841"/>
                    <a:pt x="2846546" y="2540603"/>
                    <a:pt x="2846546" y="2544032"/>
                  </a:cubicBezTo>
                  <a:cubicBezTo>
                    <a:pt x="2846546" y="2547461"/>
                    <a:pt x="2843783" y="2550224"/>
                    <a:pt x="2840354" y="2550224"/>
                  </a:cubicBezTo>
                  <a:cubicBezTo>
                    <a:pt x="2836925" y="2550224"/>
                    <a:pt x="2834163" y="2547461"/>
                    <a:pt x="2834163" y="2544032"/>
                  </a:cubicBezTo>
                  <a:cubicBezTo>
                    <a:pt x="2834163" y="2540603"/>
                    <a:pt x="2836925" y="2537841"/>
                    <a:pt x="2840354" y="2537841"/>
                  </a:cubicBezTo>
                  <a:close/>
                  <a:moveTo>
                    <a:pt x="3099720" y="2536222"/>
                  </a:moveTo>
                  <a:cubicBezTo>
                    <a:pt x="3103149" y="2536222"/>
                    <a:pt x="3105911" y="2538984"/>
                    <a:pt x="3105911" y="2542413"/>
                  </a:cubicBezTo>
                  <a:cubicBezTo>
                    <a:pt x="3105911" y="2545842"/>
                    <a:pt x="3103149" y="2548604"/>
                    <a:pt x="3099720" y="2548604"/>
                  </a:cubicBezTo>
                  <a:cubicBezTo>
                    <a:pt x="3096291" y="2548604"/>
                    <a:pt x="3093529" y="2545842"/>
                    <a:pt x="3093529" y="2542413"/>
                  </a:cubicBezTo>
                  <a:cubicBezTo>
                    <a:pt x="3093529" y="2538984"/>
                    <a:pt x="3096291" y="2536222"/>
                    <a:pt x="3099720" y="2536222"/>
                  </a:cubicBezTo>
                  <a:close/>
                  <a:moveTo>
                    <a:pt x="2922269" y="2534698"/>
                  </a:moveTo>
                  <a:cubicBezTo>
                    <a:pt x="2925698" y="2534698"/>
                    <a:pt x="2928461" y="2537460"/>
                    <a:pt x="2928461" y="2540889"/>
                  </a:cubicBezTo>
                  <a:cubicBezTo>
                    <a:pt x="2928461" y="2544318"/>
                    <a:pt x="2925698" y="2547080"/>
                    <a:pt x="2922269" y="2547080"/>
                  </a:cubicBezTo>
                  <a:cubicBezTo>
                    <a:pt x="2918840" y="2547080"/>
                    <a:pt x="2916078" y="2544318"/>
                    <a:pt x="2916078" y="2540889"/>
                  </a:cubicBezTo>
                  <a:cubicBezTo>
                    <a:pt x="2916078" y="2537460"/>
                    <a:pt x="2918840" y="2534698"/>
                    <a:pt x="2922269" y="2534698"/>
                  </a:cubicBezTo>
                  <a:close/>
                  <a:moveTo>
                    <a:pt x="2730817" y="2533746"/>
                  </a:moveTo>
                  <a:cubicBezTo>
                    <a:pt x="2734246" y="2533746"/>
                    <a:pt x="2737009" y="2536508"/>
                    <a:pt x="2737009" y="2539937"/>
                  </a:cubicBezTo>
                  <a:cubicBezTo>
                    <a:pt x="2737009" y="2543366"/>
                    <a:pt x="2734246" y="2546128"/>
                    <a:pt x="2730817" y="2546128"/>
                  </a:cubicBezTo>
                  <a:cubicBezTo>
                    <a:pt x="2727388" y="2546128"/>
                    <a:pt x="2724626" y="2543366"/>
                    <a:pt x="2724626" y="2539937"/>
                  </a:cubicBezTo>
                  <a:cubicBezTo>
                    <a:pt x="2724626" y="2536508"/>
                    <a:pt x="2727388" y="2533746"/>
                    <a:pt x="2730817" y="2533746"/>
                  </a:cubicBezTo>
                  <a:close/>
                  <a:moveTo>
                    <a:pt x="3042189" y="2532984"/>
                  </a:moveTo>
                  <a:cubicBezTo>
                    <a:pt x="3045609" y="2532984"/>
                    <a:pt x="3048381" y="2535756"/>
                    <a:pt x="3048381" y="2539175"/>
                  </a:cubicBezTo>
                  <a:lnTo>
                    <a:pt x="3047762" y="2539794"/>
                  </a:lnTo>
                  <a:lnTo>
                    <a:pt x="3053238" y="2545270"/>
                  </a:lnTo>
                  <a:lnTo>
                    <a:pt x="3052524" y="2545985"/>
                  </a:lnTo>
                  <a:lnTo>
                    <a:pt x="3056668" y="2550128"/>
                  </a:lnTo>
                  <a:lnTo>
                    <a:pt x="3056000" y="2550796"/>
                  </a:lnTo>
                  <a:lnTo>
                    <a:pt x="3059524" y="2554319"/>
                  </a:lnTo>
                  <a:lnTo>
                    <a:pt x="3058953" y="2554891"/>
                  </a:lnTo>
                  <a:lnTo>
                    <a:pt x="3062383" y="2558320"/>
                  </a:lnTo>
                  <a:lnTo>
                    <a:pt x="3061954" y="2558750"/>
                  </a:lnTo>
                  <a:lnTo>
                    <a:pt x="3065715" y="2562511"/>
                  </a:lnTo>
                  <a:lnTo>
                    <a:pt x="3065620" y="2562606"/>
                  </a:lnTo>
                  <a:lnTo>
                    <a:pt x="3069669" y="2566655"/>
                  </a:lnTo>
                  <a:lnTo>
                    <a:pt x="3069907" y="2566416"/>
                  </a:lnTo>
                  <a:cubicBezTo>
                    <a:pt x="3073336" y="2566416"/>
                    <a:pt x="3076099" y="2569178"/>
                    <a:pt x="3076099" y="2572607"/>
                  </a:cubicBezTo>
                  <a:cubicBezTo>
                    <a:pt x="3076099" y="2576036"/>
                    <a:pt x="3073336" y="2578799"/>
                    <a:pt x="3069907" y="2578799"/>
                  </a:cubicBezTo>
                  <a:lnTo>
                    <a:pt x="3064240" y="2573131"/>
                  </a:lnTo>
                  <a:lnTo>
                    <a:pt x="3064001" y="2573370"/>
                  </a:lnTo>
                  <a:cubicBezTo>
                    <a:pt x="3060572" y="2573370"/>
                    <a:pt x="3057810" y="2570607"/>
                    <a:pt x="3057810" y="2567178"/>
                  </a:cubicBezTo>
                  <a:lnTo>
                    <a:pt x="3057905" y="2567084"/>
                  </a:lnTo>
                  <a:lnTo>
                    <a:pt x="3053333" y="2562511"/>
                  </a:lnTo>
                  <a:lnTo>
                    <a:pt x="3053762" y="2562083"/>
                  </a:lnTo>
                  <a:lnTo>
                    <a:pt x="3050000" y="2558320"/>
                  </a:lnTo>
                  <a:lnTo>
                    <a:pt x="3050572" y="2557749"/>
                  </a:lnTo>
                  <a:lnTo>
                    <a:pt x="3047142" y="2554319"/>
                  </a:lnTo>
                  <a:lnTo>
                    <a:pt x="3047809" y="2553652"/>
                  </a:lnTo>
                  <a:lnTo>
                    <a:pt x="3044285" y="2550128"/>
                  </a:lnTo>
                  <a:lnTo>
                    <a:pt x="3044999" y="2549414"/>
                  </a:lnTo>
                  <a:lnTo>
                    <a:pt x="3040856" y="2545270"/>
                  </a:lnTo>
                  <a:lnTo>
                    <a:pt x="3041474" y="2544652"/>
                  </a:lnTo>
                  <a:lnTo>
                    <a:pt x="3035998" y="2539175"/>
                  </a:lnTo>
                  <a:cubicBezTo>
                    <a:pt x="3035998" y="2535756"/>
                    <a:pt x="3038770" y="2532984"/>
                    <a:pt x="3042189" y="2532984"/>
                  </a:cubicBezTo>
                  <a:close/>
                  <a:moveTo>
                    <a:pt x="785240" y="2532317"/>
                  </a:moveTo>
                  <a:cubicBezTo>
                    <a:pt x="788669" y="2532317"/>
                    <a:pt x="791431" y="2535079"/>
                    <a:pt x="791431" y="2538508"/>
                  </a:cubicBezTo>
                  <a:cubicBezTo>
                    <a:pt x="791431" y="2541937"/>
                    <a:pt x="788669" y="2544699"/>
                    <a:pt x="785240" y="2544699"/>
                  </a:cubicBezTo>
                  <a:cubicBezTo>
                    <a:pt x="781811" y="2544699"/>
                    <a:pt x="779049" y="2541937"/>
                    <a:pt x="779049" y="2538508"/>
                  </a:cubicBezTo>
                  <a:cubicBezTo>
                    <a:pt x="779049" y="2535079"/>
                    <a:pt x="781811" y="2532317"/>
                    <a:pt x="785240" y="2532317"/>
                  </a:cubicBezTo>
                  <a:close/>
                  <a:moveTo>
                    <a:pt x="2209990" y="2531269"/>
                  </a:moveTo>
                  <a:cubicBezTo>
                    <a:pt x="2213419" y="2531269"/>
                    <a:pt x="2216182" y="2534031"/>
                    <a:pt x="2216182" y="2537460"/>
                  </a:cubicBezTo>
                  <a:cubicBezTo>
                    <a:pt x="2216182" y="2540889"/>
                    <a:pt x="2213419" y="2543652"/>
                    <a:pt x="2209990" y="2543652"/>
                  </a:cubicBezTo>
                  <a:cubicBezTo>
                    <a:pt x="2206561" y="2543652"/>
                    <a:pt x="2203799" y="2540889"/>
                    <a:pt x="2203799" y="2537460"/>
                  </a:cubicBezTo>
                  <a:cubicBezTo>
                    <a:pt x="2203799" y="2534031"/>
                    <a:pt x="2206561" y="2531269"/>
                    <a:pt x="2209990" y="2531269"/>
                  </a:cubicBezTo>
                  <a:close/>
                  <a:moveTo>
                    <a:pt x="320325" y="2528030"/>
                  </a:moveTo>
                  <a:cubicBezTo>
                    <a:pt x="323754" y="2528030"/>
                    <a:pt x="326516" y="2530792"/>
                    <a:pt x="326516" y="2534221"/>
                  </a:cubicBezTo>
                  <a:cubicBezTo>
                    <a:pt x="326516" y="2537650"/>
                    <a:pt x="323754" y="2540413"/>
                    <a:pt x="320325" y="2540413"/>
                  </a:cubicBezTo>
                  <a:cubicBezTo>
                    <a:pt x="316896" y="2540413"/>
                    <a:pt x="314134" y="2537650"/>
                    <a:pt x="314134" y="2534221"/>
                  </a:cubicBezTo>
                  <a:cubicBezTo>
                    <a:pt x="314134" y="2530792"/>
                    <a:pt x="316896" y="2528030"/>
                    <a:pt x="320325" y="2528030"/>
                  </a:cubicBezTo>
                  <a:close/>
                  <a:moveTo>
                    <a:pt x="232696" y="2527364"/>
                  </a:moveTo>
                  <a:cubicBezTo>
                    <a:pt x="232791" y="2527364"/>
                    <a:pt x="232886" y="2527459"/>
                    <a:pt x="232886" y="2527555"/>
                  </a:cubicBezTo>
                  <a:cubicBezTo>
                    <a:pt x="232886" y="2527650"/>
                    <a:pt x="232696" y="2527745"/>
                    <a:pt x="232696" y="2527745"/>
                  </a:cubicBezTo>
                  <a:cubicBezTo>
                    <a:pt x="232600" y="2527745"/>
                    <a:pt x="232505" y="2527650"/>
                    <a:pt x="232505" y="2527555"/>
                  </a:cubicBezTo>
                  <a:cubicBezTo>
                    <a:pt x="232505" y="2527459"/>
                    <a:pt x="232600" y="2527364"/>
                    <a:pt x="232696" y="2527364"/>
                  </a:cubicBezTo>
                  <a:close/>
                  <a:moveTo>
                    <a:pt x="2982182" y="2526506"/>
                  </a:moveTo>
                  <a:cubicBezTo>
                    <a:pt x="2985611" y="2526506"/>
                    <a:pt x="2988373" y="2529268"/>
                    <a:pt x="2988373" y="2532697"/>
                  </a:cubicBezTo>
                  <a:cubicBezTo>
                    <a:pt x="2988373" y="2536126"/>
                    <a:pt x="2985611" y="2538889"/>
                    <a:pt x="2982182" y="2538889"/>
                  </a:cubicBezTo>
                  <a:cubicBezTo>
                    <a:pt x="2978753" y="2538889"/>
                    <a:pt x="2975991" y="2536126"/>
                    <a:pt x="2975991" y="2532697"/>
                  </a:cubicBezTo>
                  <a:cubicBezTo>
                    <a:pt x="2975991" y="2529268"/>
                    <a:pt x="2978753" y="2526506"/>
                    <a:pt x="2982182" y="2526506"/>
                  </a:cubicBezTo>
                  <a:close/>
                  <a:moveTo>
                    <a:pt x="469963" y="2526030"/>
                  </a:moveTo>
                  <a:cubicBezTo>
                    <a:pt x="473392" y="2526030"/>
                    <a:pt x="476155" y="2528792"/>
                    <a:pt x="476155" y="2532221"/>
                  </a:cubicBezTo>
                  <a:cubicBezTo>
                    <a:pt x="476155" y="2535650"/>
                    <a:pt x="473392" y="2538412"/>
                    <a:pt x="469963" y="2538412"/>
                  </a:cubicBezTo>
                  <a:cubicBezTo>
                    <a:pt x="466534" y="2538412"/>
                    <a:pt x="463772" y="2535650"/>
                    <a:pt x="463772" y="2532221"/>
                  </a:cubicBezTo>
                  <a:cubicBezTo>
                    <a:pt x="463772" y="2528792"/>
                    <a:pt x="466534" y="2526030"/>
                    <a:pt x="469963" y="2526030"/>
                  </a:cubicBezTo>
                  <a:close/>
                  <a:moveTo>
                    <a:pt x="3035141" y="2525268"/>
                  </a:moveTo>
                  <a:cubicBezTo>
                    <a:pt x="3038570" y="2525268"/>
                    <a:pt x="3041332" y="2528030"/>
                    <a:pt x="3041332" y="2531459"/>
                  </a:cubicBezTo>
                  <a:cubicBezTo>
                    <a:pt x="3041332" y="2534888"/>
                    <a:pt x="3038570" y="2537651"/>
                    <a:pt x="3035141" y="2537651"/>
                  </a:cubicBezTo>
                  <a:cubicBezTo>
                    <a:pt x="3031712" y="2537651"/>
                    <a:pt x="3028950" y="2534888"/>
                    <a:pt x="3028950" y="2531459"/>
                  </a:cubicBezTo>
                  <a:cubicBezTo>
                    <a:pt x="3028950" y="2528030"/>
                    <a:pt x="3031712" y="2525268"/>
                    <a:pt x="3035141" y="2525268"/>
                  </a:cubicBezTo>
                  <a:close/>
                  <a:moveTo>
                    <a:pt x="1074895" y="2523078"/>
                  </a:moveTo>
                  <a:cubicBezTo>
                    <a:pt x="1078324" y="2523078"/>
                    <a:pt x="1081087" y="2525840"/>
                    <a:pt x="1081087" y="2529269"/>
                  </a:cubicBezTo>
                  <a:cubicBezTo>
                    <a:pt x="1081087" y="2532698"/>
                    <a:pt x="1078324" y="2535460"/>
                    <a:pt x="1074895" y="2535460"/>
                  </a:cubicBezTo>
                  <a:cubicBezTo>
                    <a:pt x="1071466" y="2535460"/>
                    <a:pt x="1068704" y="2532698"/>
                    <a:pt x="1068704" y="2529269"/>
                  </a:cubicBezTo>
                  <a:cubicBezTo>
                    <a:pt x="1068704" y="2525840"/>
                    <a:pt x="1071466" y="2523078"/>
                    <a:pt x="1074895" y="2523078"/>
                  </a:cubicBezTo>
                  <a:close/>
                  <a:moveTo>
                    <a:pt x="392620" y="2522982"/>
                  </a:moveTo>
                  <a:cubicBezTo>
                    <a:pt x="396049" y="2522982"/>
                    <a:pt x="398811" y="2525744"/>
                    <a:pt x="398811" y="2529173"/>
                  </a:cubicBezTo>
                  <a:cubicBezTo>
                    <a:pt x="398811" y="2532602"/>
                    <a:pt x="396049" y="2535365"/>
                    <a:pt x="392620" y="2535365"/>
                  </a:cubicBezTo>
                  <a:cubicBezTo>
                    <a:pt x="389191" y="2535365"/>
                    <a:pt x="386429" y="2532602"/>
                    <a:pt x="386429" y="2529173"/>
                  </a:cubicBezTo>
                  <a:cubicBezTo>
                    <a:pt x="386429" y="2525744"/>
                    <a:pt x="389191" y="2522982"/>
                    <a:pt x="392620" y="2522982"/>
                  </a:cubicBezTo>
                  <a:close/>
                  <a:moveTo>
                    <a:pt x="281273" y="2522411"/>
                  </a:moveTo>
                  <a:cubicBezTo>
                    <a:pt x="284693" y="2522411"/>
                    <a:pt x="287465" y="2525183"/>
                    <a:pt x="287465" y="2528602"/>
                  </a:cubicBezTo>
                  <a:lnTo>
                    <a:pt x="282177" y="2533889"/>
                  </a:lnTo>
                  <a:lnTo>
                    <a:pt x="283368" y="2535079"/>
                  </a:lnTo>
                  <a:lnTo>
                    <a:pt x="279320" y="2539128"/>
                  </a:lnTo>
                  <a:lnTo>
                    <a:pt x="280511" y="2540318"/>
                  </a:lnTo>
                  <a:lnTo>
                    <a:pt x="276939" y="2543890"/>
                  </a:lnTo>
                  <a:lnTo>
                    <a:pt x="278035" y="2544985"/>
                  </a:lnTo>
                  <a:lnTo>
                    <a:pt x="274462" y="2548557"/>
                  </a:lnTo>
                  <a:lnTo>
                    <a:pt x="275367" y="2549462"/>
                  </a:lnTo>
                  <a:lnTo>
                    <a:pt x="271366" y="2553463"/>
                  </a:lnTo>
                  <a:lnTo>
                    <a:pt x="272033" y="2554129"/>
                  </a:lnTo>
                  <a:lnTo>
                    <a:pt x="267175" y="2558988"/>
                  </a:lnTo>
                  <a:lnTo>
                    <a:pt x="267556" y="2559368"/>
                  </a:lnTo>
                  <a:cubicBezTo>
                    <a:pt x="267556" y="2562797"/>
                    <a:pt x="264794" y="2565559"/>
                    <a:pt x="261365" y="2565559"/>
                  </a:cubicBezTo>
                  <a:cubicBezTo>
                    <a:pt x="257936" y="2565559"/>
                    <a:pt x="255174" y="2562797"/>
                    <a:pt x="255174" y="2559368"/>
                  </a:cubicBezTo>
                  <a:lnTo>
                    <a:pt x="260032" y="2554510"/>
                  </a:lnTo>
                  <a:lnTo>
                    <a:pt x="259651" y="2554129"/>
                  </a:lnTo>
                  <a:lnTo>
                    <a:pt x="263651" y="2550129"/>
                  </a:lnTo>
                  <a:lnTo>
                    <a:pt x="262985" y="2549462"/>
                  </a:lnTo>
                  <a:lnTo>
                    <a:pt x="266557" y="2545890"/>
                  </a:lnTo>
                  <a:lnTo>
                    <a:pt x="265652" y="2544985"/>
                  </a:lnTo>
                  <a:lnTo>
                    <a:pt x="269223" y="2541414"/>
                  </a:lnTo>
                  <a:lnTo>
                    <a:pt x="268128" y="2540318"/>
                  </a:lnTo>
                  <a:lnTo>
                    <a:pt x="272176" y="2536270"/>
                  </a:lnTo>
                  <a:lnTo>
                    <a:pt x="270986" y="2535079"/>
                  </a:lnTo>
                  <a:lnTo>
                    <a:pt x="276272" y="2529793"/>
                  </a:lnTo>
                  <a:lnTo>
                    <a:pt x="275082" y="2528602"/>
                  </a:lnTo>
                  <a:cubicBezTo>
                    <a:pt x="275082" y="2525183"/>
                    <a:pt x="277854" y="2522411"/>
                    <a:pt x="281273" y="2522411"/>
                  </a:cubicBezTo>
                  <a:close/>
                  <a:moveTo>
                    <a:pt x="3114484" y="2522220"/>
                  </a:moveTo>
                  <a:cubicBezTo>
                    <a:pt x="3117913" y="2522220"/>
                    <a:pt x="3120676" y="2524982"/>
                    <a:pt x="3120676" y="2528411"/>
                  </a:cubicBezTo>
                  <a:cubicBezTo>
                    <a:pt x="3120676" y="2531840"/>
                    <a:pt x="3117913" y="2534602"/>
                    <a:pt x="3114484" y="2534602"/>
                  </a:cubicBezTo>
                  <a:cubicBezTo>
                    <a:pt x="3111055" y="2534602"/>
                    <a:pt x="3108293" y="2531840"/>
                    <a:pt x="3108293" y="2528411"/>
                  </a:cubicBezTo>
                  <a:cubicBezTo>
                    <a:pt x="3108293" y="2524982"/>
                    <a:pt x="3111055" y="2522220"/>
                    <a:pt x="3114484" y="2522220"/>
                  </a:cubicBezTo>
                  <a:close/>
                  <a:moveTo>
                    <a:pt x="573976" y="2522220"/>
                  </a:moveTo>
                  <a:cubicBezTo>
                    <a:pt x="577405" y="2522220"/>
                    <a:pt x="580167" y="2524982"/>
                    <a:pt x="580167" y="2528411"/>
                  </a:cubicBezTo>
                  <a:cubicBezTo>
                    <a:pt x="580167" y="2531840"/>
                    <a:pt x="577405" y="2534602"/>
                    <a:pt x="573976" y="2534602"/>
                  </a:cubicBezTo>
                  <a:cubicBezTo>
                    <a:pt x="570547" y="2534602"/>
                    <a:pt x="567785" y="2531840"/>
                    <a:pt x="567785" y="2528411"/>
                  </a:cubicBezTo>
                  <a:cubicBezTo>
                    <a:pt x="567785" y="2524982"/>
                    <a:pt x="570547" y="2522220"/>
                    <a:pt x="573976" y="2522220"/>
                  </a:cubicBezTo>
                  <a:close/>
                  <a:moveTo>
                    <a:pt x="2587561" y="2519934"/>
                  </a:moveTo>
                  <a:cubicBezTo>
                    <a:pt x="2590990" y="2519934"/>
                    <a:pt x="2593752" y="2522696"/>
                    <a:pt x="2593752" y="2526125"/>
                  </a:cubicBezTo>
                  <a:cubicBezTo>
                    <a:pt x="2593752" y="2529554"/>
                    <a:pt x="2590990" y="2532317"/>
                    <a:pt x="2587561" y="2532317"/>
                  </a:cubicBezTo>
                  <a:cubicBezTo>
                    <a:pt x="2584132" y="2532317"/>
                    <a:pt x="2581370" y="2529554"/>
                    <a:pt x="2581370" y="2526125"/>
                  </a:cubicBezTo>
                  <a:cubicBezTo>
                    <a:pt x="2581370" y="2522696"/>
                    <a:pt x="2584132" y="2519934"/>
                    <a:pt x="2587561" y="2519934"/>
                  </a:cubicBezTo>
                  <a:close/>
                  <a:moveTo>
                    <a:pt x="3025044" y="2515172"/>
                  </a:moveTo>
                  <a:cubicBezTo>
                    <a:pt x="3028473" y="2515172"/>
                    <a:pt x="3031235" y="2517934"/>
                    <a:pt x="3031235" y="2521363"/>
                  </a:cubicBezTo>
                  <a:cubicBezTo>
                    <a:pt x="3031235" y="2524792"/>
                    <a:pt x="3028473" y="2527555"/>
                    <a:pt x="3025044" y="2527555"/>
                  </a:cubicBezTo>
                  <a:cubicBezTo>
                    <a:pt x="3021615" y="2527555"/>
                    <a:pt x="3018853" y="2524792"/>
                    <a:pt x="3018853" y="2521363"/>
                  </a:cubicBezTo>
                  <a:cubicBezTo>
                    <a:pt x="3018853" y="2517934"/>
                    <a:pt x="3021615" y="2515172"/>
                    <a:pt x="3025044" y="2515172"/>
                  </a:cubicBezTo>
                  <a:close/>
                  <a:moveTo>
                    <a:pt x="336327" y="2514981"/>
                  </a:moveTo>
                  <a:cubicBezTo>
                    <a:pt x="339756" y="2514981"/>
                    <a:pt x="342518" y="2517743"/>
                    <a:pt x="342518" y="2521172"/>
                  </a:cubicBezTo>
                  <a:cubicBezTo>
                    <a:pt x="342518" y="2524601"/>
                    <a:pt x="339756" y="2527363"/>
                    <a:pt x="336327" y="2527363"/>
                  </a:cubicBezTo>
                  <a:cubicBezTo>
                    <a:pt x="332898" y="2527363"/>
                    <a:pt x="330136" y="2524601"/>
                    <a:pt x="330136" y="2521172"/>
                  </a:cubicBezTo>
                  <a:cubicBezTo>
                    <a:pt x="330136" y="2517743"/>
                    <a:pt x="332898" y="2514981"/>
                    <a:pt x="336327" y="2514981"/>
                  </a:cubicBezTo>
                  <a:close/>
                  <a:moveTo>
                    <a:pt x="287369" y="2514410"/>
                  </a:moveTo>
                  <a:cubicBezTo>
                    <a:pt x="290798" y="2514410"/>
                    <a:pt x="293560" y="2517172"/>
                    <a:pt x="293560" y="2520601"/>
                  </a:cubicBezTo>
                  <a:cubicBezTo>
                    <a:pt x="293560" y="2524030"/>
                    <a:pt x="290798" y="2526792"/>
                    <a:pt x="287369" y="2526792"/>
                  </a:cubicBezTo>
                  <a:cubicBezTo>
                    <a:pt x="283940" y="2526792"/>
                    <a:pt x="281178" y="2524030"/>
                    <a:pt x="281178" y="2520601"/>
                  </a:cubicBezTo>
                  <a:cubicBezTo>
                    <a:pt x="281178" y="2517172"/>
                    <a:pt x="283940" y="2514410"/>
                    <a:pt x="287369" y="2514410"/>
                  </a:cubicBezTo>
                  <a:close/>
                  <a:moveTo>
                    <a:pt x="3107054" y="2513362"/>
                  </a:moveTo>
                  <a:cubicBezTo>
                    <a:pt x="3110483" y="2513362"/>
                    <a:pt x="3113246" y="2516124"/>
                    <a:pt x="3113246" y="2519553"/>
                  </a:cubicBezTo>
                  <a:cubicBezTo>
                    <a:pt x="3113246" y="2522982"/>
                    <a:pt x="3110483" y="2525745"/>
                    <a:pt x="3107054" y="2525745"/>
                  </a:cubicBezTo>
                  <a:cubicBezTo>
                    <a:pt x="3103625" y="2525745"/>
                    <a:pt x="3100863" y="2522982"/>
                    <a:pt x="3100863" y="2519553"/>
                  </a:cubicBezTo>
                  <a:cubicBezTo>
                    <a:pt x="3100863" y="2516124"/>
                    <a:pt x="3103625" y="2513362"/>
                    <a:pt x="3107054" y="2513362"/>
                  </a:cubicBezTo>
                  <a:close/>
                  <a:moveTo>
                    <a:pt x="2310098" y="2513076"/>
                  </a:moveTo>
                  <a:cubicBezTo>
                    <a:pt x="2313527" y="2513076"/>
                    <a:pt x="2316289" y="2515838"/>
                    <a:pt x="2316289" y="2519267"/>
                  </a:cubicBezTo>
                  <a:cubicBezTo>
                    <a:pt x="2316289" y="2522696"/>
                    <a:pt x="2313527" y="2525459"/>
                    <a:pt x="2310098" y="2525459"/>
                  </a:cubicBezTo>
                  <a:cubicBezTo>
                    <a:pt x="2306669" y="2525459"/>
                    <a:pt x="2303907" y="2522696"/>
                    <a:pt x="2303907" y="2519267"/>
                  </a:cubicBezTo>
                  <a:cubicBezTo>
                    <a:pt x="2303907" y="2515838"/>
                    <a:pt x="2306669" y="2513076"/>
                    <a:pt x="2310098" y="2513076"/>
                  </a:cubicBezTo>
                  <a:close/>
                  <a:moveTo>
                    <a:pt x="2886169" y="2512600"/>
                  </a:moveTo>
                  <a:cubicBezTo>
                    <a:pt x="2889598" y="2512600"/>
                    <a:pt x="2892361" y="2515362"/>
                    <a:pt x="2892361" y="2518791"/>
                  </a:cubicBezTo>
                  <a:cubicBezTo>
                    <a:pt x="2892361" y="2522220"/>
                    <a:pt x="2889598" y="2524982"/>
                    <a:pt x="2886169" y="2524982"/>
                  </a:cubicBezTo>
                  <a:cubicBezTo>
                    <a:pt x="2882740" y="2524982"/>
                    <a:pt x="2879978" y="2522220"/>
                    <a:pt x="2879978" y="2518791"/>
                  </a:cubicBezTo>
                  <a:cubicBezTo>
                    <a:pt x="2879978" y="2515362"/>
                    <a:pt x="2882740" y="2512600"/>
                    <a:pt x="2886169" y="2512600"/>
                  </a:cubicBezTo>
                  <a:close/>
                  <a:moveTo>
                    <a:pt x="3060477" y="2510504"/>
                  </a:moveTo>
                  <a:cubicBezTo>
                    <a:pt x="3063906" y="2510504"/>
                    <a:pt x="3066668" y="2513266"/>
                    <a:pt x="3066668" y="2516695"/>
                  </a:cubicBezTo>
                  <a:lnTo>
                    <a:pt x="3064906" y="2518457"/>
                  </a:lnTo>
                  <a:lnTo>
                    <a:pt x="3069907" y="2523458"/>
                  </a:lnTo>
                  <a:lnTo>
                    <a:pt x="3068192" y="2525173"/>
                  </a:lnTo>
                  <a:lnTo>
                    <a:pt x="3072288" y="2529269"/>
                  </a:lnTo>
                  <a:lnTo>
                    <a:pt x="3070764" y="2530793"/>
                  </a:lnTo>
                  <a:lnTo>
                    <a:pt x="3074383" y="2534412"/>
                  </a:lnTo>
                  <a:lnTo>
                    <a:pt x="3073097" y="2535698"/>
                  </a:lnTo>
                  <a:lnTo>
                    <a:pt x="3076860" y="2539460"/>
                  </a:lnTo>
                  <a:lnTo>
                    <a:pt x="3075907" y="2540413"/>
                  </a:lnTo>
                  <a:lnTo>
                    <a:pt x="3080194" y="2544699"/>
                  </a:lnTo>
                  <a:lnTo>
                    <a:pt x="3079574" y="2545319"/>
                  </a:lnTo>
                  <a:lnTo>
                    <a:pt x="3084765" y="2550509"/>
                  </a:lnTo>
                  <a:cubicBezTo>
                    <a:pt x="3084765" y="2553938"/>
                    <a:pt x="3082003" y="2556701"/>
                    <a:pt x="3078574" y="2556701"/>
                  </a:cubicBezTo>
                  <a:cubicBezTo>
                    <a:pt x="3075145" y="2556701"/>
                    <a:pt x="3072383" y="2553938"/>
                    <a:pt x="3072383" y="2550509"/>
                  </a:cubicBezTo>
                  <a:lnTo>
                    <a:pt x="3073002" y="2549890"/>
                  </a:lnTo>
                  <a:lnTo>
                    <a:pt x="3067811" y="2544699"/>
                  </a:lnTo>
                  <a:lnTo>
                    <a:pt x="3068764" y="2543746"/>
                  </a:lnTo>
                  <a:lnTo>
                    <a:pt x="3064478" y="2539460"/>
                  </a:lnTo>
                  <a:lnTo>
                    <a:pt x="3065764" y="2538175"/>
                  </a:lnTo>
                  <a:lnTo>
                    <a:pt x="3062001" y="2534412"/>
                  </a:lnTo>
                  <a:lnTo>
                    <a:pt x="3063525" y="2532888"/>
                  </a:lnTo>
                  <a:lnTo>
                    <a:pt x="3059906" y="2529269"/>
                  </a:lnTo>
                  <a:lnTo>
                    <a:pt x="3061621" y="2527555"/>
                  </a:lnTo>
                  <a:lnTo>
                    <a:pt x="3057525" y="2523458"/>
                  </a:lnTo>
                  <a:lnTo>
                    <a:pt x="3059287" y="2521696"/>
                  </a:lnTo>
                  <a:lnTo>
                    <a:pt x="3054286" y="2516695"/>
                  </a:lnTo>
                  <a:cubicBezTo>
                    <a:pt x="3054286" y="2513266"/>
                    <a:pt x="3057048" y="2510504"/>
                    <a:pt x="3060477" y="2510504"/>
                  </a:cubicBezTo>
                  <a:close/>
                  <a:moveTo>
                    <a:pt x="3129248" y="2510123"/>
                  </a:moveTo>
                  <a:cubicBezTo>
                    <a:pt x="3132011" y="2510123"/>
                    <a:pt x="3134296" y="2512409"/>
                    <a:pt x="3134296" y="2515171"/>
                  </a:cubicBezTo>
                  <a:cubicBezTo>
                    <a:pt x="3134296" y="2517934"/>
                    <a:pt x="3132011" y="2520219"/>
                    <a:pt x="3129248" y="2520219"/>
                  </a:cubicBezTo>
                  <a:cubicBezTo>
                    <a:pt x="3126486" y="2520219"/>
                    <a:pt x="3124200" y="2517934"/>
                    <a:pt x="3124200" y="2515171"/>
                  </a:cubicBezTo>
                  <a:cubicBezTo>
                    <a:pt x="3124200" y="2512409"/>
                    <a:pt x="3126486" y="2510123"/>
                    <a:pt x="3129248" y="2510123"/>
                  </a:cubicBezTo>
                  <a:close/>
                  <a:moveTo>
                    <a:pt x="2958559" y="2509552"/>
                  </a:moveTo>
                  <a:cubicBezTo>
                    <a:pt x="2961988" y="2509552"/>
                    <a:pt x="2964751" y="2512314"/>
                    <a:pt x="2964751" y="2515743"/>
                  </a:cubicBezTo>
                  <a:cubicBezTo>
                    <a:pt x="2964751" y="2519172"/>
                    <a:pt x="2961988" y="2521935"/>
                    <a:pt x="2958559" y="2521935"/>
                  </a:cubicBezTo>
                  <a:cubicBezTo>
                    <a:pt x="2955130" y="2521935"/>
                    <a:pt x="2952368" y="2519172"/>
                    <a:pt x="2952368" y="2515743"/>
                  </a:cubicBezTo>
                  <a:cubicBezTo>
                    <a:pt x="2952368" y="2512314"/>
                    <a:pt x="2955130" y="2509552"/>
                    <a:pt x="2958559" y="2509552"/>
                  </a:cubicBezTo>
                  <a:close/>
                  <a:moveTo>
                    <a:pt x="710755" y="2509076"/>
                  </a:moveTo>
                  <a:cubicBezTo>
                    <a:pt x="714184" y="2509076"/>
                    <a:pt x="716946" y="2511838"/>
                    <a:pt x="716946" y="2515267"/>
                  </a:cubicBezTo>
                  <a:cubicBezTo>
                    <a:pt x="716946" y="2518696"/>
                    <a:pt x="714184" y="2521458"/>
                    <a:pt x="710755" y="2521458"/>
                  </a:cubicBezTo>
                  <a:cubicBezTo>
                    <a:pt x="707326" y="2521458"/>
                    <a:pt x="704564" y="2518696"/>
                    <a:pt x="704564" y="2515267"/>
                  </a:cubicBezTo>
                  <a:cubicBezTo>
                    <a:pt x="704564" y="2511838"/>
                    <a:pt x="707326" y="2509076"/>
                    <a:pt x="710755" y="2509076"/>
                  </a:cubicBezTo>
                  <a:close/>
                  <a:moveTo>
                    <a:pt x="2788252" y="2508980"/>
                  </a:moveTo>
                  <a:cubicBezTo>
                    <a:pt x="2791681" y="2508980"/>
                    <a:pt x="2794444" y="2511742"/>
                    <a:pt x="2794444" y="2515171"/>
                  </a:cubicBezTo>
                  <a:cubicBezTo>
                    <a:pt x="2794444" y="2518600"/>
                    <a:pt x="2791681" y="2521363"/>
                    <a:pt x="2788252" y="2521363"/>
                  </a:cubicBezTo>
                  <a:cubicBezTo>
                    <a:pt x="2784823" y="2521363"/>
                    <a:pt x="2782061" y="2518600"/>
                    <a:pt x="2782061" y="2515171"/>
                  </a:cubicBezTo>
                  <a:cubicBezTo>
                    <a:pt x="2782061" y="2511742"/>
                    <a:pt x="2784823" y="2508980"/>
                    <a:pt x="2788252" y="2508980"/>
                  </a:cubicBezTo>
                  <a:close/>
                  <a:moveTo>
                    <a:pt x="296227" y="2504028"/>
                  </a:moveTo>
                  <a:cubicBezTo>
                    <a:pt x="299656" y="2504028"/>
                    <a:pt x="302418" y="2506790"/>
                    <a:pt x="302418" y="2510219"/>
                  </a:cubicBezTo>
                  <a:cubicBezTo>
                    <a:pt x="302418" y="2513648"/>
                    <a:pt x="299656" y="2516410"/>
                    <a:pt x="296227" y="2516410"/>
                  </a:cubicBezTo>
                  <a:cubicBezTo>
                    <a:pt x="292798" y="2516410"/>
                    <a:pt x="290036" y="2513648"/>
                    <a:pt x="290036" y="2510219"/>
                  </a:cubicBezTo>
                  <a:cubicBezTo>
                    <a:pt x="290036" y="2506790"/>
                    <a:pt x="292798" y="2504028"/>
                    <a:pt x="296227" y="2504028"/>
                  </a:cubicBezTo>
                  <a:close/>
                  <a:moveTo>
                    <a:pt x="977645" y="2503932"/>
                  </a:moveTo>
                  <a:cubicBezTo>
                    <a:pt x="981074" y="2503932"/>
                    <a:pt x="983837" y="2506694"/>
                    <a:pt x="983837" y="2510123"/>
                  </a:cubicBezTo>
                  <a:cubicBezTo>
                    <a:pt x="983837" y="2513552"/>
                    <a:pt x="981074" y="2516315"/>
                    <a:pt x="977645" y="2516315"/>
                  </a:cubicBezTo>
                  <a:cubicBezTo>
                    <a:pt x="974216" y="2516315"/>
                    <a:pt x="971454" y="2513552"/>
                    <a:pt x="971454" y="2510123"/>
                  </a:cubicBezTo>
                  <a:cubicBezTo>
                    <a:pt x="971454" y="2506694"/>
                    <a:pt x="974216" y="2503932"/>
                    <a:pt x="977645" y="2503932"/>
                  </a:cubicBezTo>
                  <a:close/>
                  <a:moveTo>
                    <a:pt x="3144106" y="2502408"/>
                  </a:moveTo>
                  <a:cubicBezTo>
                    <a:pt x="3144212" y="2502408"/>
                    <a:pt x="3144297" y="2502493"/>
                    <a:pt x="3144297" y="2502599"/>
                  </a:cubicBezTo>
                  <a:cubicBezTo>
                    <a:pt x="3144297" y="2502704"/>
                    <a:pt x="3144212" y="2502789"/>
                    <a:pt x="3144106" y="2502789"/>
                  </a:cubicBezTo>
                  <a:cubicBezTo>
                    <a:pt x="3144001" y="2502789"/>
                    <a:pt x="3143916" y="2502704"/>
                    <a:pt x="3143916" y="2502599"/>
                  </a:cubicBezTo>
                  <a:cubicBezTo>
                    <a:pt x="3143916" y="2502493"/>
                    <a:pt x="3144001" y="2502408"/>
                    <a:pt x="3144106" y="2502408"/>
                  </a:cubicBezTo>
                  <a:close/>
                  <a:moveTo>
                    <a:pt x="3055429" y="2502122"/>
                  </a:moveTo>
                  <a:cubicBezTo>
                    <a:pt x="3058858" y="2502122"/>
                    <a:pt x="3061620" y="2504884"/>
                    <a:pt x="3061620" y="2508313"/>
                  </a:cubicBezTo>
                  <a:cubicBezTo>
                    <a:pt x="3061620" y="2511742"/>
                    <a:pt x="3058858" y="2514505"/>
                    <a:pt x="3055429" y="2514505"/>
                  </a:cubicBezTo>
                  <a:cubicBezTo>
                    <a:pt x="3052000" y="2514505"/>
                    <a:pt x="3049238" y="2511742"/>
                    <a:pt x="3049238" y="2508313"/>
                  </a:cubicBezTo>
                  <a:cubicBezTo>
                    <a:pt x="3049238" y="2504884"/>
                    <a:pt x="3052000" y="2502122"/>
                    <a:pt x="3055429" y="2502122"/>
                  </a:cubicBezTo>
                  <a:close/>
                  <a:moveTo>
                    <a:pt x="3010852" y="2501932"/>
                  </a:moveTo>
                  <a:cubicBezTo>
                    <a:pt x="3014281" y="2501932"/>
                    <a:pt x="3017043" y="2504694"/>
                    <a:pt x="3017043" y="2508123"/>
                  </a:cubicBezTo>
                  <a:cubicBezTo>
                    <a:pt x="3017043" y="2511552"/>
                    <a:pt x="3014281" y="2514314"/>
                    <a:pt x="3010852" y="2514314"/>
                  </a:cubicBezTo>
                  <a:cubicBezTo>
                    <a:pt x="3007423" y="2514314"/>
                    <a:pt x="3004661" y="2511552"/>
                    <a:pt x="3004661" y="2508123"/>
                  </a:cubicBezTo>
                  <a:cubicBezTo>
                    <a:pt x="3004661" y="2504694"/>
                    <a:pt x="3007423" y="2501932"/>
                    <a:pt x="3010852" y="2501932"/>
                  </a:cubicBezTo>
                  <a:close/>
                  <a:moveTo>
                    <a:pt x="426148" y="2500979"/>
                  </a:moveTo>
                  <a:cubicBezTo>
                    <a:pt x="429577" y="2500979"/>
                    <a:pt x="432339" y="2503741"/>
                    <a:pt x="432339" y="2507170"/>
                  </a:cubicBezTo>
                  <a:cubicBezTo>
                    <a:pt x="432339" y="2510599"/>
                    <a:pt x="429577" y="2513361"/>
                    <a:pt x="426148" y="2513361"/>
                  </a:cubicBezTo>
                  <a:cubicBezTo>
                    <a:pt x="422719" y="2513361"/>
                    <a:pt x="419957" y="2510599"/>
                    <a:pt x="419957" y="2507170"/>
                  </a:cubicBezTo>
                  <a:cubicBezTo>
                    <a:pt x="419957" y="2503741"/>
                    <a:pt x="422719" y="2500979"/>
                    <a:pt x="426148" y="2500979"/>
                  </a:cubicBezTo>
                  <a:close/>
                  <a:moveTo>
                    <a:pt x="263747" y="2500313"/>
                  </a:moveTo>
                  <a:cubicBezTo>
                    <a:pt x="267176" y="2500313"/>
                    <a:pt x="269938" y="2503075"/>
                    <a:pt x="269938" y="2506504"/>
                  </a:cubicBezTo>
                  <a:lnTo>
                    <a:pt x="265033" y="2511410"/>
                  </a:lnTo>
                  <a:lnTo>
                    <a:pt x="267271" y="2513647"/>
                  </a:lnTo>
                  <a:lnTo>
                    <a:pt x="263222" y="2517696"/>
                  </a:lnTo>
                  <a:lnTo>
                    <a:pt x="265366" y="2519839"/>
                  </a:lnTo>
                  <a:lnTo>
                    <a:pt x="261603" y="2523601"/>
                  </a:lnTo>
                  <a:lnTo>
                    <a:pt x="263461" y="2525459"/>
                  </a:lnTo>
                  <a:lnTo>
                    <a:pt x="259556" y="2529364"/>
                  </a:lnTo>
                  <a:lnTo>
                    <a:pt x="261175" y="2530983"/>
                  </a:lnTo>
                  <a:lnTo>
                    <a:pt x="256650" y="2535508"/>
                  </a:lnTo>
                  <a:lnTo>
                    <a:pt x="257841" y="2536698"/>
                  </a:lnTo>
                  <a:lnTo>
                    <a:pt x="251935" y="2542604"/>
                  </a:lnTo>
                  <a:lnTo>
                    <a:pt x="252316" y="2542985"/>
                  </a:lnTo>
                  <a:cubicBezTo>
                    <a:pt x="252316" y="2545984"/>
                    <a:pt x="249886" y="2548415"/>
                    <a:pt x="246887" y="2548415"/>
                  </a:cubicBezTo>
                  <a:cubicBezTo>
                    <a:pt x="243889" y="2548415"/>
                    <a:pt x="241458" y="2545984"/>
                    <a:pt x="241458" y="2542985"/>
                  </a:cubicBezTo>
                  <a:lnTo>
                    <a:pt x="246602" y="2537841"/>
                  </a:lnTo>
                  <a:lnTo>
                    <a:pt x="245459" y="2536698"/>
                  </a:lnTo>
                  <a:lnTo>
                    <a:pt x="249983" y="2532174"/>
                  </a:lnTo>
                  <a:lnTo>
                    <a:pt x="248793" y="2530983"/>
                  </a:lnTo>
                  <a:lnTo>
                    <a:pt x="252698" y="2527078"/>
                  </a:lnTo>
                  <a:lnTo>
                    <a:pt x="251079" y="2525459"/>
                  </a:lnTo>
                  <a:lnTo>
                    <a:pt x="254841" y="2521697"/>
                  </a:lnTo>
                  <a:lnTo>
                    <a:pt x="252983" y="2519839"/>
                  </a:lnTo>
                  <a:lnTo>
                    <a:pt x="257032" y="2515790"/>
                  </a:lnTo>
                  <a:lnTo>
                    <a:pt x="254889" y="2513647"/>
                  </a:lnTo>
                  <a:lnTo>
                    <a:pt x="259794" y="2508742"/>
                  </a:lnTo>
                  <a:lnTo>
                    <a:pt x="257556" y="2506504"/>
                  </a:lnTo>
                  <a:cubicBezTo>
                    <a:pt x="257556" y="2503075"/>
                    <a:pt x="260318" y="2500313"/>
                    <a:pt x="263747" y="2500313"/>
                  </a:cubicBezTo>
                  <a:close/>
                  <a:moveTo>
                    <a:pt x="3121056" y="2498979"/>
                  </a:moveTo>
                  <a:cubicBezTo>
                    <a:pt x="3124485" y="2498979"/>
                    <a:pt x="3127248" y="2501741"/>
                    <a:pt x="3127248" y="2505170"/>
                  </a:cubicBezTo>
                  <a:cubicBezTo>
                    <a:pt x="3127248" y="2508599"/>
                    <a:pt x="3124485" y="2511361"/>
                    <a:pt x="3121056" y="2511361"/>
                  </a:cubicBezTo>
                  <a:cubicBezTo>
                    <a:pt x="3117627" y="2511361"/>
                    <a:pt x="3114865" y="2508599"/>
                    <a:pt x="3114865" y="2505170"/>
                  </a:cubicBezTo>
                  <a:cubicBezTo>
                    <a:pt x="3114865" y="2501741"/>
                    <a:pt x="3117627" y="2498979"/>
                    <a:pt x="3121056" y="2498979"/>
                  </a:cubicBezTo>
                  <a:close/>
                  <a:moveTo>
                    <a:pt x="357949" y="2498027"/>
                  </a:moveTo>
                  <a:cubicBezTo>
                    <a:pt x="361378" y="2498027"/>
                    <a:pt x="364140" y="2500789"/>
                    <a:pt x="364140" y="2504218"/>
                  </a:cubicBezTo>
                  <a:cubicBezTo>
                    <a:pt x="364140" y="2507647"/>
                    <a:pt x="361378" y="2510409"/>
                    <a:pt x="357949" y="2510409"/>
                  </a:cubicBezTo>
                  <a:cubicBezTo>
                    <a:pt x="354520" y="2510409"/>
                    <a:pt x="351758" y="2507647"/>
                    <a:pt x="351758" y="2504218"/>
                  </a:cubicBezTo>
                  <a:cubicBezTo>
                    <a:pt x="351758" y="2500789"/>
                    <a:pt x="354520" y="2498027"/>
                    <a:pt x="357949" y="2498027"/>
                  </a:cubicBezTo>
                  <a:close/>
                  <a:moveTo>
                    <a:pt x="518921" y="2497551"/>
                  </a:moveTo>
                  <a:cubicBezTo>
                    <a:pt x="522350" y="2497551"/>
                    <a:pt x="525112" y="2500313"/>
                    <a:pt x="525112" y="2503742"/>
                  </a:cubicBezTo>
                  <a:cubicBezTo>
                    <a:pt x="525112" y="2507171"/>
                    <a:pt x="522350" y="2509933"/>
                    <a:pt x="518921" y="2509933"/>
                  </a:cubicBezTo>
                  <a:cubicBezTo>
                    <a:pt x="515492" y="2509933"/>
                    <a:pt x="512730" y="2507171"/>
                    <a:pt x="512730" y="2503742"/>
                  </a:cubicBezTo>
                  <a:cubicBezTo>
                    <a:pt x="512730" y="2500313"/>
                    <a:pt x="515492" y="2497551"/>
                    <a:pt x="518921" y="2497551"/>
                  </a:cubicBezTo>
                  <a:close/>
                  <a:moveTo>
                    <a:pt x="2658903" y="2496503"/>
                  </a:moveTo>
                  <a:cubicBezTo>
                    <a:pt x="2662332" y="2496503"/>
                    <a:pt x="2665094" y="2499265"/>
                    <a:pt x="2665094" y="2502694"/>
                  </a:cubicBezTo>
                  <a:cubicBezTo>
                    <a:pt x="2665094" y="2506123"/>
                    <a:pt x="2662332" y="2508886"/>
                    <a:pt x="2658903" y="2508886"/>
                  </a:cubicBezTo>
                  <a:cubicBezTo>
                    <a:pt x="2655474" y="2508886"/>
                    <a:pt x="2652712" y="2506123"/>
                    <a:pt x="2652712" y="2502694"/>
                  </a:cubicBezTo>
                  <a:cubicBezTo>
                    <a:pt x="2652712" y="2499265"/>
                    <a:pt x="2655474" y="2496503"/>
                    <a:pt x="2658903" y="2496503"/>
                  </a:cubicBezTo>
                  <a:close/>
                  <a:moveTo>
                    <a:pt x="2403919" y="2493169"/>
                  </a:moveTo>
                  <a:cubicBezTo>
                    <a:pt x="2407348" y="2493169"/>
                    <a:pt x="2410111" y="2495931"/>
                    <a:pt x="2410111" y="2499360"/>
                  </a:cubicBezTo>
                  <a:cubicBezTo>
                    <a:pt x="2410111" y="2502789"/>
                    <a:pt x="2407348" y="2505552"/>
                    <a:pt x="2403919" y="2505552"/>
                  </a:cubicBezTo>
                  <a:cubicBezTo>
                    <a:pt x="2400490" y="2505552"/>
                    <a:pt x="2397728" y="2502789"/>
                    <a:pt x="2397728" y="2499360"/>
                  </a:cubicBezTo>
                  <a:cubicBezTo>
                    <a:pt x="2397728" y="2495931"/>
                    <a:pt x="2400490" y="2493169"/>
                    <a:pt x="2403919" y="2493169"/>
                  </a:cubicBezTo>
                  <a:close/>
                  <a:moveTo>
                    <a:pt x="267937" y="2491645"/>
                  </a:moveTo>
                  <a:cubicBezTo>
                    <a:pt x="271366" y="2491645"/>
                    <a:pt x="274129" y="2494407"/>
                    <a:pt x="274129" y="2497836"/>
                  </a:cubicBezTo>
                  <a:cubicBezTo>
                    <a:pt x="274129" y="2501265"/>
                    <a:pt x="271366" y="2504028"/>
                    <a:pt x="267937" y="2504028"/>
                  </a:cubicBezTo>
                  <a:cubicBezTo>
                    <a:pt x="264508" y="2504028"/>
                    <a:pt x="261746" y="2501265"/>
                    <a:pt x="261746" y="2497836"/>
                  </a:cubicBezTo>
                  <a:cubicBezTo>
                    <a:pt x="261746" y="2494407"/>
                    <a:pt x="264508" y="2491645"/>
                    <a:pt x="267937" y="2491645"/>
                  </a:cubicBezTo>
                  <a:close/>
                  <a:moveTo>
                    <a:pt x="3047809" y="2491550"/>
                  </a:moveTo>
                  <a:cubicBezTo>
                    <a:pt x="3051238" y="2491550"/>
                    <a:pt x="3054001" y="2494312"/>
                    <a:pt x="3054001" y="2497741"/>
                  </a:cubicBezTo>
                  <a:cubicBezTo>
                    <a:pt x="3054001" y="2501170"/>
                    <a:pt x="3051238" y="2503932"/>
                    <a:pt x="3047809" y="2503932"/>
                  </a:cubicBezTo>
                  <a:cubicBezTo>
                    <a:pt x="3044380" y="2503932"/>
                    <a:pt x="3041618" y="2501170"/>
                    <a:pt x="3041618" y="2497741"/>
                  </a:cubicBezTo>
                  <a:cubicBezTo>
                    <a:pt x="3041618" y="2494312"/>
                    <a:pt x="3044380" y="2491550"/>
                    <a:pt x="3047809" y="2491550"/>
                  </a:cubicBezTo>
                  <a:close/>
                  <a:moveTo>
                    <a:pt x="308990" y="2490788"/>
                  </a:moveTo>
                  <a:cubicBezTo>
                    <a:pt x="312419" y="2490788"/>
                    <a:pt x="315181" y="2493550"/>
                    <a:pt x="315181" y="2496979"/>
                  </a:cubicBezTo>
                  <a:cubicBezTo>
                    <a:pt x="315181" y="2500408"/>
                    <a:pt x="312419" y="2503171"/>
                    <a:pt x="308990" y="2503171"/>
                  </a:cubicBezTo>
                  <a:cubicBezTo>
                    <a:pt x="305561" y="2503171"/>
                    <a:pt x="302799" y="2500408"/>
                    <a:pt x="302799" y="2496979"/>
                  </a:cubicBezTo>
                  <a:cubicBezTo>
                    <a:pt x="302799" y="2493550"/>
                    <a:pt x="305561" y="2490788"/>
                    <a:pt x="308990" y="2490788"/>
                  </a:cubicBezTo>
                  <a:close/>
                  <a:moveTo>
                    <a:pt x="3115055" y="2489835"/>
                  </a:moveTo>
                  <a:cubicBezTo>
                    <a:pt x="3118484" y="2489835"/>
                    <a:pt x="3121246" y="2492597"/>
                    <a:pt x="3121246" y="2496026"/>
                  </a:cubicBezTo>
                  <a:cubicBezTo>
                    <a:pt x="3121246" y="2499455"/>
                    <a:pt x="3118484" y="2502217"/>
                    <a:pt x="3115055" y="2502217"/>
                  </a:cubicBezTo>
                  <a:cubicBezTo>
                    <a:pt x="3111626" y="2502217"/>
                    <a:pt x="3108864" y="2499455"/>
                    <a:pt x="3108864" y="2496026"/>
                  </a:cubicBezTo>
                  <a:cubicBezTo>
                    <a:pt x="3108864" y="2492597"/>
                    <a:pt x="3111626" y="2489835"/>
                    <a:pt x="3115055" y="2489835"/>
                  </a:cubicBezTo>
                  <a:close/>
                  <a:moveTo>
                    <a:pt x="210883" y="2488787"/>
                  </a:moveTo>
                  <a:cubicBezTo>
                    <a:pt x="210978" y="2488787"/>
                    <a:pt x="211168" y="2488977"/>
                    <a:pt x="211168" y="2489073"/>
                  </a:cubicBezTo>
                  <a:cubicBezTo>
                    <a:pt x="211168" y="2489168"/>
                    <a:pt x="210883" y="2489358"/>
                    <a:pt x="210883" y="2489358"/>
                  </a:cubicBezTo>
                  <a:cubicBezTo>
                    <a:pt x="210787" y="2489358"/>
                    <a:pt x="210597" y="2489168"/>
                    <a:pt x="210597" y="2489073"/>
                  </a:cubicBezTo>
                  <a:cubicBezTo>
                    <a:pt x="210597" y="2488977"/>
                    <a:pt x="210787" y="2488787"/>
                    <a:pt x="210883" y="2488787"/>
                  </a:cubicBezTo>
                  <a:close/>
                  <a:moveTo>
                    <a:pt x="2927794" y="2487740"/>
                  </a:moveTo>
                  <a:cubicBezTo>
                    <a:pt x="2931223" y="2487740"/>
                    <a:pt x="2933985" y="2490502"/>
                    <a:pt x="2933985" y="2493931"/>
                  </a:cubicBezTo>
                  <a:cubicBezTo>
                    <a:pt x="2933985" y="2497360"/>
                    <a:pt x="2931223" y="2500122"/>
                    <a:pt x="2927794" y="2500122"/>
                  </a:cubicBezTo>
                  <a:cubicBezTo>
                    <a:pt x="2924365" y="2500122"/>
                    <a:pt x="2921603" y="2497360"/>
                    <a:pt x="2921603" y="2493931"/>
                  </a:cubicBezTo>
                  <a:cubicBezTo>
                    <a:pt x="2921603" y="2490502"/>
                    <a:pt x="2924365" y="2487740"/>
                    <a:pt x="2927794" y="2487740"/>
                  </a:cubicBezTo>
                  <a:close/>
                  <a:moveTo>
                    <a:pt x="1699450" y="2486882"/>
                  </a:moveTo>
                  <a:cubicBezTo>
                    <a:pt x="1702879" y="2486882"/>
                    <a:pt x="1705642" y="2489644"/>
                    <a:pt x="1705642" y="2493073"/>
                  </a:cubicBezTo>
                  <a:cubicBezTo>
                    <a:pt x="1705642" y="2496502"/>
                    <a:pt x="1702879" y="2499265"/>
                    <a:pt x="1699450" y="2499265"/>
                  </a:cubicBezTo>
                  <a:cubicBezTo>
                    <a:pt x="1696021" y="2499265"/>
                    <a:pt x="1693259" y="2496502"/>
                    <a:pt x="1693259" y="2493073"/>
                  </a:cubicBezTo>
                  <a:cubicBezTo>
                    <a:pt x="1693259" y="2489644"/>
                    <a:pt x="1696021" y="2486882"/>
                    <a:pt x="1699450" y="2486882"/>
                  </a:cubicBezTo>
                  <a:close/>
                  <a:moveTo>
                    <a:pt x="1574863" y="2485835"/>
                  </a:moveTo>
                  <a:cubicBezTo>
                    <a:pt x="1578292" y="2485835"/>
                    <a:pt x="1581055" y="2488597"/>
                    <a:pt x="1581055" y="2492026"/>
                  </a:cubicBezTo>
                  <a:cubicBezTo>
                    <a:pt x="1581055" y="2495455"/>
                    <a:pt x="1578292" y="2498217"/>
                    <a:pt x="1574863" y="2498217"/>
                  </a:cubicBezTo>
                  <a:cubicBezTo>
                    <a:pt x="1571434" y="2498217"/>
                    <a:pt x="1568672" y="2495455"/>
                    <a:pt x="1568672" y="2492026"/>
                  </a:cubicBezTo>
                  <a:cubicBezTo>
                    <a:pt x="1568672" y="2488597"/>
                    <a:pt x="1571434" y="2485835"/>
                    <a:pt x="1574863" y="2485835"/>
                  </a:cubicBezTo>
                  <a:close/>
                  <a:moveTo>
                    <a:pt x="642175" y="2485454"/>
                  </a:moveTo>
                  <a:cubicBezTo>
                    <a:pt x="645604" y="2485454"/>
                    <a:pt x="648367" y="2488216"/>
                    <a:pt x="648367" y="2491645"/>
                  </a:cubicBezTo>
                  <a:cubicBezTo>
                    <a:pt x="648367" y="2495074"/>
                    <a:pt x="645604" y="2497837"/>
                    <a:pt x="642175" y="2497837"/>
                  </a:cubicBezTo>
                  <a:cubicBezTo>
                    <a:pt x="638746" y="2497837"/>
                    <a:pt x="635984" y="2495074"/>
                    <a:pt x="635984" y="2491645"/>
                  </a:cubicBezTo>
                  <a:cubicBezTo>
                    <a:pt x="635984" y="2488216"/>
                    <a:pt x="638746" y="2485454"/>
                    <a:pt x="642175" y="2485454"/>
                  </a:cubicBezTo>
                  <a:close/>
                  <a:moveTo>
                    <a:pt x="3135058" y="2485359"/>
                  </a:moveTo>
                  <a:cubicBezTo>
                    <a:pt x="3138487" y="2485359"/>
                    <a:pt x="3141250" y="2488121"/>
                    <a:pt x="3141250" y="2491550"/>
                  </a:cubicBezTo>
                  <a:cubicBezTo>
                    <a:pt x="3141250" y="2494979"/>
                    <a:pt x="3138487" y="2497741"/>
                    <a:pt x="3135058" y="2497741"/>
                  </a:cubicBezTo>
                  <a:cubicBezTo>
                    <a:pt x="3131629" y="2497741"/>
                    <a:pt x="3128867" y="2494979"/>
                    <a:pt x="3128867" y="2491550"/>
                  </a:cubicBezTo>
                  <a:cubicBezTo>
                    <a:pt x="3128867" y="2488121"/>
                    <a:pt x="3131629" y="2485359"/>
                    <a:pt x="3135058" y="2485359"/>
                  </a:cubicBezTo>
                  <a:close/>
                  <a:moveTo>
                    <a:pt x="2991421" y="2484978"/>
                  </a:moveTo>
                  <a:cubicBezTo>
                    <a:pt x="2994850" y="2484978"/>
                    <a:pt x="2997612" y="2487740"/>
                    <a:pt x="2997612" y="2491169"/>
                  </a:cubicBezTo>
                  <a:cubicBezTo>
                    <a:pt x="2997612" y="2494598"/>
                    <a:pt x="2994850" y="2497360"/>
                    <a:pt x="2991421" y="2497360"/>
                  </a:cubicBezTo>
                  <a:cubicBezTo>
                    <a:pt x="2987992" y="2497360"/>
                    <a:pt x="2985230" y="2494598"/>
                    <a:pt x="2985230" y="2491169"/>
                  </a:cubicBezTo>
                  <a:cubicBezTo>
                    <a:pt x="2985230" y="2487740"/>
                    <a:pt x="2987992" y="2484978"/>
                    <a:pt x="2991421" y="2484978"/>
                  </a:cubicBezTo>
                  <a:close/>
                  <a:moveTo>
                    <a:pt x="2840735" y="2484406"/>
                  </a:moveTo>
                  <a:cubicBezTo>
                    <a:pt x="2844164" y="2484406"/>
                    <a:pt x="2846927" y="2487168"/>
                    <a:pt x="2846927" y="2490597"/>
                  </a:cubicBezTo>
                  <a:cubicBezTo>
                    <a:pt x="2846927" y="2494026"/>
                    <a:pt x="2844164" y="2496788"/>
                    <a:pt x="2840735" y="2496788"/>
                  </a:cubicBezTo>
                  <a:cubicBezTo>
                    <a:pt x="2837306" y="2496788"/>
                    <a:pt x="2834544" y="2494026"/>
                    <a:pt x="2834544" y="2490597"/>
                  </a:cubicBezTo>
                  <a:cubicBezTo>
                    <a:pt x="2834544" y="2487168"/>
                    <a:pt x="2837306" y="2484406"/>
                    <a:pt x="2840735" y="2484406"/>
                  </a:cubicBezTo>
                  <a:close/>
                  <a:moveTo>
                    <a:pt x="886777" y="2483454"/>
                  </a:moveTo>
                  <a:cubicBezTo>
                    <a:pt x="890206" y="2483454"/>
                    <a:pt x="892969" y="2486216"/>
                    <a:pt x="892969" y="2489645"/>
                  </a:cubicBezTo>
                  <a:cubicBezTo>
                    <a:pt x="892969" y="2493074"/>
                    <a:pt x="890206" y="2495836"/>
                    <a:pt x="886777" y="2495836"/>
                  </a:cubicBezTo>
                  <a:cubicBezTo>
                    <a:pt x="883348" y="2495836"/>
                    <a:pt x="880586" y="2493074"/>
                    <a:pt x="880586" y="2489645"/>
                  </a:cubicBezTo>
                  <a:cubicBezTo>
                    <a:pt x="880586" y="2486216"/>
                    <a:pt x="883348" y="2483454"/>
                    <a:pt x="886777" y="2483454"/>
                  </a:cubicBezTo>
                  <a:close/>
                  <a:moveTo>
                    <a:pt x="1823465" y="2483358"/>
                  </a:moveTo>
                  <a:cubicBezTo>
                    <a:pt x="1826894" y="2483358"/>
                    <a:pt x="1829657" y="2486120"/>
                    <a:pt x="1829657" y="2489549"/>
                  </a:cubicBezTo>
                  <a:cubicBezTo>
                    <a:pt x="1829657" y="2492978"/>
                    <a:pt x="1826894" y="2495741"/>
                    <a:pt x="1823465" y="2495741"/>
                  </a:cubicBezTo>
                  <a:cubicBezTo>
                    <a:pt x="1820036" y="2495741"/>
                    <a:pt x="1817274" y="2492978"/>
                    <a:pt x="1817274" y="2489549"/>
                  </a:cubicBezTo>
                  <a:cubicBezTo>
                    <a:pt x="1817274" y="2486120"/>
                    <a:pt x="1820036" y="2483358"/>
                    <a:pt x="1823465" y="2483358"/>
                  </a:cubicBezTo>
                  <a:close/>
                  <a:moveTo>
                    <a:pt x="274510" y="2480787"/>
                  </a:moveTo>
                  <a:cubicBezTo>
                    <a:pt x="277939" y="2480787"/>
                    <a:pt x="280701" y="2483549"/>
                    <a:pt x="280701" y="2486978"/>
                  </a:cubicBezTo>
                  <a:cubicBezTo>
                    <a:pt x="280701" y="2490407"/>
                    <a:pt x="277939" y="2493169"/>
                    <a:pt x="274510" y="2493169"/>
                  </a:cubicBezTo>
                  <a:cubicBezTo>
                    <a:pt x="271081" y="2493169"/>
                    <a:pt x="268319" y="2490407"/>
                    <a:pt x="268319" y="2486978"/>
                  </a:cubicBezTo>
                  <a:cubicBezTo>
                    <a:pt x="268319" y="2483549"/>
                    <a:pt x="271081" y="2480787"/>
                    <a:pt x="274510" y="2480787"/>
                  </a:cubicBezTo>
                  <a:close/>
                  <a:moveTo>
                    <a:pt x="1451895" y="2480215"/>
                  </a:moveTo>
                  <a:cubicBezTo>
                    <a:pt x="1455324" y="2480215"/>
                    <a:pt x="1458087" y="2482977"/>
                    <a:pt x="1458087" y="2486406"/>
                  </a:cubicBezTo>
                  <a:cubicBezTo>
                    <a:pt x="1458087" y="2489835"/>
                    <a:pt x="1455324" y="2492597"/>
                    <a:pt x="1451895" y="2492597"/>
                  </a:cubicBezTo>
                  <a:cubicBezTo>
                    <a:pt x="1448466" y="2492597"/>
                    <a:pt x="1445704" y="2489835"/>
                    <a:pt x="1445704" y="2486406"/>
                  </a:cubicBezTo>
                  <a:cubicBezTo>
                    <a:pt x="1445704" y="2482977"/>
                    <a:pt x="1448466" y="2480215"/>
                    <a:pt x="1451895" y="2480215"/>
                  </a:cubicBezTo>
                  <a:close/>
                  <a:moveTo>
                    <a:pt x="3073812" y="2479739"/>
                  </a:moveTo>
                  <a:cubicBezTo>
                    <a:pt x="3077241" y="2479739"/>
                    <a:pt x="3080003" y="2482501"/>
                    <a:pt x="3080003" y="2485930"/>
                  </a:cubicBezTo>
                  <a:lnTo>
                    <a:pt x="3077146" y="2488787"/>
                  </a:lnTo>
                  <a:lnTo>
                    <a:pt x="3083337" y="2494978"/>
                  </a:lnTo>
                  <a:lnTo>
                    <a:pt x="3080575" y="2497741"/>
                  </a:lnTo>
                  <a:lnTo>
                    <a:pt x="3085338" y="2502503"/>
                  </a:lnTo>
                  <a:lnTo>
                    <a:pt x="3082765" y="2505076"/>
                  </a:lnTo>
                  <a:lnTo>
                    <a:pt x="3086861" y="2509171"/>
                  </a:lnTo>
                  <a:lnTo>
                    <a:pt x="3084623" y="2511410"/>
                  </a:lnTo>
                  <a:lnTo>
                    <a:pt x="3088480" y="2515267"/>
                  </a:lnTo>
                  <a:lnTo>
                    <a:pt x="3086575" y="2517172"/>
                  </a:lnTo>
                  <a:lnTo>
                    <a:pt x="3090766" y="2521363"/>
                  </a:lnTo>
                  <a:lnTo>
                    <a:pt x="3089290" y="2522840"/>
                  </a:lnTo>
                  <a:lnTo>
                    <a:pt x="3094196" y="2527745"/>
                  </a:lnTo>
                  <a:lnTo>
                    <a:pt x="3093195" y="2528746"/>
                  </a:lnTo>
                  <a:lnTo>
                    <a:pt x="3099053" y="2534603"/>
                  </a:lnTo>
                  <a:cubicBezTo>
                    <a:pt x="3099053" y="2538032"/>
                    <a:pt x="3096291" y="2540794"/>
                    <a:pt x="3092862" y="2540794"/>
                  </a:cubicBezTo>
                  <a:cubicBezTo>
                    <a:pt x="3089433" y="2540794"/>
                    <a:pt x="3086671" y="2538032"/>
                    <a:pt x="3086671" y="2534603"/>
                  </a:cubicBezTo>
                  <a:lnTo>
                    <a:pt x="3087671" y="2533603"/>
                  </a:lnTo>
                  <a:lnTo>
                    <a:pt x="3081813" y="2527745"/>
                  </a:lnTo>
                  <a:lnTo>
                    <a:pt x="3083289" y="2526269"/>
                  </a:lnTo>
                  <a:lnTo>
                    <a:pt x="3078384" y="2521363"/>
                  </a:lnTo>
                  <a:lnTo>
                    <a:pt x="3080289" y="2519458"/>
                  </a:lnTo>
                  <a:lnTo>
                    <a:pt x="3076098" y="2515267"/>
                  </a:lnTo>
                  <a:lnTo>
                    <a:pt x="3078336" y="2513029"/>
                  </a:lnTo>
                  <a:lnTo>
                    <a:pt x="3074479" y="2509171"/>
                  </a:lnTo>
                  <a:lnTo>
                    <a:pt x="3077051" y="2506599"/>
                  </a:lnTo>
                  <a:lnTo>
                    <a:pt x="3072955" y="2502503"/>
                  </a:lnTo>
                  <a:lnTo>
                    <a:pt x="3075718" y="2499741"/>
                  </a:lnTo>
                  <a:lnTo>
                    <a:pt x="3070955" y="2494978"/>
                  </a:lnTo>
                  <a:lnTo>
                    <a:pt x="3073812" y="2492122"/>
                  </a:lnTo>
                  <a:lnTo>
                    <a:pt x="3067621" y="2485930"/>
                  </a:lnTo>
                  <a:cubicBezTo>
                    <a:pt x="3067621" y="2482501"/>
                    <a:pt x="3070383" y="2479739"/>
                    <a:pt x="3073812" y="2479739"/>
                  </a:cubicBezTo>
                  <a:close/>
                  <a:moveTo>
                    <a:pt x="3036760" y="2478024"/>
                  </a:moveTo>
                  <a:cubicBezTo>
                    <a:pt x="3040189" y="2478024"/>
                    <a:pt x="3042951" y="2480786"/>
                    <a:pt x="3042951" y="2484215"/>
                  </a:cubicBezTo>
                  <a:cubicBezTo>
                    <a:pt x="3042951" y="2487644"/>
                    <a:pt x="3040189" y="2490407"/>
                    <a:pt x="3036760" y="2490407"/>
                  </a:cubicBezTo>
                  <a:cubicBezTo>
                    <a:pt x="3033331" y="2490407"/>
                    <a:pt x="3030569" y="2487644"/>
                    <a:pt x="3030569" y="2484215"/>
                  </a:cubicBezTo>
                  <a:cubicBezTo>
                    <a:pt x="3030569" y="2480786"/>
                    <a:pt x="3033331" y="2478024"/>
                    <a:pt x="3036760" y="2478024"/>
                  </a:cubicBezTo>
                  <a:close/>
                  <a:moveTo>
                    <a:pt x="386333" y="2476310"/>
                  </a:moveTo>
                  <a:cubicBezTo>
                    <a:pt x="389762" y="2476310"/>
                    <a:pt x="392524" y="2479072"/>
                    <a:pt x="392524" y="2482501"/>
                  </a:cubicBezTo>
                  <a:cubicBezTo>
                    <a:pt x="392524" y="2485930"/>
                    <a:pt x="389762" y="2488692"/>
                    <a:pt x="386333" y="2488692"/>
                  </a:cubicBezTo>
                  <a:cubicBezTo>
                    <a:pt x="382904" y="2488692"/>
                    <a:pt x="380142" y="2485930"/>
                    <a:pt x="380142" y="2482501"/>
                  </a:cubicBezTo>
                  <a:cubicBezTo>
                    <a:pt x="380142" y="2479072"/>
                    <a:pt x="382904" y="2476310"/>
                    <a:pt x="386333" y="2476310"/>
                  </a:cubicBezTo>
                  <a:close/>
                  <a:moveTo>
                    <a:pt x="1944909" y="2475453"/>
                  </a:moveTo>
                  <a:cubicBezTo>
                    <a:pt x="1948338" y="2475453"/>
                    <a:pt x="1951101" y="2478215"/>
                    <a:pt x="1951101" y="2481644"/>
                  </a:cubicBezTo>
                  <a:cubicBezTo>
                    <a:pt x="1951101" y="2485073"/>
                    <a:pt x="1948338" y="2487835"/>
                    <a:pt x="1944909" y="2487835"/>
                  </a:cubicBezTo>
                  <a:cubicBezTo>
                    <a:pt x="1941480" y="2487835"/>
                    <a:pt x="1938718" y="2485073"/>
                    <a:pt x="1938718" y="2481644"/>
                  </a:cubicBezTo>
                  <a:cubicBezTo>
                    <a:pt x="1938718" y="2478215"/>
                    <a:pt x="1941480" y="2475453"/>
                    <a:pt x="1944909" y="2475453"/>
                  </a:cubicBezTo>
                  <a:close/>
                  <a:moveTo>
                    <a:pt x="3128390" y="2475167"/>
                  </a:moveTo>
                  <a:cubicBezTo>
                    <a:pt x="3131819" y="2475167"/>
                    <a:pt x="3134581" y="2477929"/>
                    <a:pt x="3134581" y="2481358"/>
                  </a:cubicBezTo>
                  <a:cubicBezTo>
                    <a:pt x="3134581" y="2484787"/>
                    <a:pt x="3131819" y="2487549"/>
                    <a:pt x="3128390" y="2487549"/>
                  </a:cubicBezTo>
                  <a:cubicBezTo>
                    <a:pt x="3124961" y="2487549"/>
                    <a:pt x="3122199" y="2484787"/>
                    <a:pt x="3122199" y="2481358"/>
                  </a:cubicBezTo>
                  <a:cubicBezTo>
                    <a:pt x="3122199" y="2477929"/>
                    <a:pt x="3124961" y="2475167"/>
                    <a:pt x="3128390" y="2475167"/>
                  </a:cubicBezTo>
                  <a:close/>
                  <a:moveTo>
                    <a:pt x="326611" y="2473738"/>
                  </a:moveTo>
                  <a:cubicBezTo>
                    <a:pt x="330040" y="2473738"/>
                    <a:pt x="332802" y="2476500"/>
                    <a:pt x="332802" y="2479929"/>
                  </a:cubicBezTo>
                  <a:cubicBezTo>
                    <a:pt x="332802" y="2483358"/>
                    <a:pt x="330040" y="2486120"/>
                    <a:pt x="326611" y="2486120"/>
                  </a:cubicBezTo>
                  <a:cubicBezTo>
                    <a:pt x="323182" y="2486120"/>
                    <a:pt x="320420" y="2483358"/>
                    <a:pt x="320420" y="2479929"/>
                  </a:cubicBezTo>
                  <a:cubicBezTo>
                    <a:pt x="320420" y="2476500"/>
                    <a:pt x="323182" y="2473738"/>
                    <a:pt x="326611" y="2473738"/>
                  </a:cubicBezTo>
                  <a:close/>
                  <a:moveTo>
                    <a:pt x="3149250" y="2473167"/>
                  </a:moveTo>
                  <a:cubicBezTo>
                    <a:pt x="3152203" y="2473167"/>
                    <a:pt x="3154680" y="2475643"/>
                    <a:pt x="3154680" y="2478596"/>
                  </a:cubicBezTo>
                  <a:cubicBezTo>
                    <a:pt x="3154680" y="2481549"/>
                    <a:pt x="3152203" y="2484025"/>
                    <a:pt x="3149250" y="2484025"/>
                  </a:cubicBezTo>
                  <a:cubicBezTo>
                    <a:pt x="3146298" y="2484025"/>
                    <a:pt x="3143821" y="2481549"/>
                    <a:pt x="3143821" y="2478596"/>
                  </a:cubicBezTo>
                  <a:cubicBezTo>
                    <a:pt x="3143821" y="2475643"/>
                    <a:pt x="3146298" y="2473167"/>
                    <a:pt x="3149250" y="2473167"/>
                  </a:cubicBezTo>
                  <a:close/>
                  <a:moveTo>
                    <a:pt x="468629" y="2473071"/>
                  </a:moveTo>
                  <a:cubicBezTo>
                    <a:pt x="472058" y="2473071"/>
                    <a:pt x="474820" y="2475833"/>
                    <a:pt x="474820" y="2479262"/>
                  </a:cubicBezTo>
                  <a:cubicBezTo>
                    <a:pt x="474820" y="2482691"/>
                    <a:pt x="472058" y="2485453"/>
                    <a:pt x="468629" y="2485453"/>
                  </a:cubicBezTo>
                  <a:cubicBezTo>
                    <a:pt x="465200" y="2485453"/>
                    <a:pt x="462438" y="2482691"/>
                    <a:pt x="462438" y="2479262"/>
                  </a:cubicBezTo>
                  <a:cubicBezTo>
                    <a:pt x="462438" y="2475833"/>
                    <a:pt x="465200" y="2473071"/>
                    <a:pt x="468629" y="2473071"/>
                  </a:cubicBezTo>
                  <a:close/>
                  <a:moveTo>
                    <a:pt x="2724435" y="2472786"/>
                  </a:moveTo>
                  <a:cubicBezTo>
                    <a:pt x="2727864" y="2472786"/>
                    <a:pt x="2730626" y="2475548"/>
                    <a:pt x="2730626" y="2478977"/>
                  </a:cubicBezTo>
                  <a:cubicBezTo>
                    <a:pt x="2730626" y="2482406"/>
                    <a:pt x="2727864" y="2485168"/>
                    <a:pt x="2724435" y="2485168"/>
                  </a:cubicBezTo>
                  <a:cubicBezTo>
                    <a:pt x="2721006" y="2485168"/>
                    <a:pt x="2718244" y="2482406"/>
                    <a:pt x="2718244" y="2478977"/>
                  </a:cubicBezTo>
                  <a:cubicBezTo>
                    <a:pt x="2718244" y="2475548"/>
                    <a:pt x="2721006" y="2472786"/>
                    <a:pt x="2724435" y="2472786"/>
                  </a:cubicBezTo>
                  <a:close/>
                  <a:moveTo>
                    <a:pt x="2491358" y="2472023"/>
                  </a:moveTo>
                  <a:cubicBezTo>
                    <a:pt x="2494787" y="2472023"/>
                    <a:pt x="2497549" y="2474785"/>
                    <a:pt x="2497549" y="2478214"/>
                  </a:cubicBezTo>
                  <a:cubicBezTo>
                    <a:pt x="2497549" y="2481643"/>
                    <a:pt x="2494787" y="2484406"/>
                    <a:pt x="2491358" y="2484406"/>
                  </a:cubicBezTo>
                  <a:cubicBezTo>
                    <a:pt x="2487929" y="2484406"/>
                    <a:pt x="2485167" y="2481643"/>
                    <a:pt x="2485167" y="2478214"/>
                  </a:cubicBezTo>
                  <a:cubicBezTo>
                    <a:pt x="2485167" y="2474785"/>
                    <a:pt x="2487929" y="2472023"/>
                    <a:pt x="2491358" y="2472023"/>
                  </a:cubicBezTo>
                  <a:close/>
                  <a:moveTo>
                    <a:pt x="1332261" y="2470499"/>
                  </a:moveTo>
                  <a:cubicBezTo>
                    <a:pt x="1335690" y="2470499"/>
                    <a:pt x="1338453" y="2473261"/>
                    <a:pt x="1338453" y="2476690"/>
                  </a:cubicBezTo>
                  <a:cubicBezTo>
                    <a:pt x="1338453" y="2480119"/>
                    <a:pt x="1335690" y="2482882"/>
                    <a:pt x="1332261" y="2482882"/>
                  </a:cubicBezTo>
                  <a:cubicBezTo>
                    <a:pt x="1328832" y="2482882"/>
                    <a:pt x="1326070" y="2480119"/>
                    <a:pt x="1326070" y="2476690"/>
                  </a:cubicBezTo>
                  <a:cubicBezTo>
                    <a:pt x="1326070" y="2473261"/>
                    <a:pt x="1328832" y="2470499"/>
                    <a:pt x="1332261" y="2470499"/>
                  </a:cubicBezTo>
                  <a:close/>
                  <a:moveTo>
                    <a:pt x="250411" y="2469547"/>
                  </a:moveTo>
                  <a:cubicBezTo>
                    <a:pt x="253840" y="2469547"/>
                    <a:pt x="256603" y="2472309"/>
                    <a:pt x="256603" y="2475738"/>
                  </a:cubicBezTo>
                  <a:lnTo>
                    <a:pt x="250602" y="2481738"/>
                  </a:lnTo>
                  <a:lnTo>
                    <a:pt x="253936" y="2485072"/>
                  </a:lnTo>
                  <a:lnTo>
                    <a:pt x="249174" y="2489835"/>
                  </a:lnTo>
                  <a:lnTo>
                    <a:pt x="252412" y="2493073"/>
                  </a:lnTo>
                  <a:lnTo>
                    <a:pt x="248316" y="2497170"/>
                  </a:lnTo>
                  <a:lnTo>
                    <a:pt x="251174" y="2500027"/>
                  </a:lnTo>
                  <a:lnTo>
                    <a:pt x="247126" y="2504075"/>
                  </a:lnTo>
                  <a:lnTo>
                    <a:pt x="249745" y="2506694"/>
                  </a:lnTo>
                  <a:lnTo>
                    <a:pt x="245315" y="2511124"/>
                  </a:lnTo>
                  <a:lnTo>
                    <a:pt x="247459" y="2513267"/>
                  </a:lnTo>
                  <a:lnTo>
                    <a:pt x="242315" y="2518411"/>
                  </a:lnTo>
                  <a:lnTo>
                    <a:pt x="244030" y="2520125"/>
                  </a:lnTo>
                  <a:cubicBezTo>
                    <a:pt x="244030" y="2523554"/>
                    <a:pt x="241267" y="2526316"/>
                    <a:pt x="237838" y="2526316"/>
                  </a:cubicBezTo>
                  <a:cubicBezTo>
                    <a:pt x="234409" y="2526316"/>
                    <a:pt x="231647" y="2523554"/>
                    <a:pt x="231647" y="2520125"/>
                  </a:cubicBezTo>
                  <a:lnTo>
                    <a:pt x="236791" y="2514981"/>
                  </a:lnTo>
                  <a:lnTo>
                    <a:pt x="235077" y="2513267"/>
                  </a:lnTo>
                  <a:lnTo>
                    <a:pt x="239506" y="2508838"/>
                  </a:lnTo>
                  <a:lnTo>
                    <a:pt x="237363" y="2506694"/>
                  </a:lnTo>
                  <a:lnTo>
                    <a:pt x="241410" y="2502647"/>
                  </a:lnTo>
                  <a:lnTo>
                    <a:pt x="238791" y="2500027"/>
                  </a:lnTo>
                  <a:lnTo>
                    <a:pt x="242887" y="2495931"/>
                  </a:lnTo>
                  <a:lnTo>
                    <a:pt x="240030" y="2493073"/>
                  </a:lnTo>
                  <a:lnTo>
                    <a:pt x="244792" y="2488311"/>
                  </a:lnTo>
                  <a:lnTo>
                    <a:pt x="241554" y="2485072"/>
                  </a:lnTo>
                  <a:lnTo>
                    <a:pt x="247554" y="2479072"/>
                  </a:lnTo>
                  <a:lnTo>
                    <a:pt x="244220" y="2475738"/>
                  </a:lnTo>
                  <a:cubicBezTo>
                    <a:pt x="244220" y="2472309"/>
                    <a:pt x="246982" y="2469547"/>
                    <a:pt x="250411" y="2469547"/>
                  </a:cubicBezTo>
                  <a:close/>
                  <a:moveTo>
                    <a:pt x="3068383" y="2468595"/>
                  </a:moveTo>
                  <a:cubicBezTo>
                    <a:pt x="3071812" y="2468595"/>
                    <a:pt x="3074575" y="2471357"/>
                    <a:pt x="3074575" y="2474786"/>
                  </a:cubicBezTo>
                  <a:cubicBezTo>
                    <a:pt x="3074575" y="2478215"/>
                    <a:pt x="3071812" y="2480977"/>
                    <a:pt x="3068383" y="2480977"/>
                  </a:cubicBezTo>
                  <a:cubicBezTo>
                    <a:pt x="3064954" y="2480977"/>
                    <a:pt x="3062192" y="2478215"/>
                    <a:pt x="3062192" y="2474786"/>
                  </a:cubicBezTo>
                  <a:cubicBezTo>
                    <a:pt x="3062192" y="2471357"/>
                    <a:pt x="3064954" y="2468595"/>
                    <a:pt x="3068383" y="2468595"/>
                  </a:cubicBezTo>
                  <a:close/>
                  <a:moveTo>
                    <a:pt x="284321" y="2467166"/>
                  </a:moveTo>
                  <a:cubicBezTo>
                    <a:pt x="287750" y="2467166"/>
                    <a:pt x="290512" y="2469928"/>
                    <a:pt x="290512" y="2473357"/>
                  </a:cubicBezTo>
                  <a:cubicBezTo>
                    <a:pt x="290512" y="2476786"/>
                    <a:pt x="287750" y="2479548"/>
                    <a:pt x="284321" y="2479548"/>
                  </a:cubicBezTo>
                  <a:cubicBezTo>
                    <a:pt x="280892" y="2479548"/>
                    <a:pt x="278130" y="2476786"/>
                    <a:pt x="278130" y="2473357"/>
                  </a:cubicBezTo>
                  <a:cubicBezTo>
                    <a:pt x="278130" y="2469928"/>
                    <a:pt x="280892" y="2467166"/>
                    <a:pt x="284321" y="2467166"/>
                  </a:cubicBezTo>
                  <a:close/>
                  <a:moveTo>
                    <a:pt x="3163443" y="2466213"/>
                  </a:moveTo>
                  <a:cubicBezTo>
                    <a:pt x="3163548" y="2466213"/>
                    <a:pt x="3163633" y="2466298"/>
                    <a:pt x="3163633" y="2466403"/>
                  </a:cubicBezTo>
                  <a:cubicBezTo>
                    <a:pt x="3163633" y="2466509"/>
                    <a:pt x="3163548" y="2466594"/>
                    <a:pt x="3163443" y="2466594"/>
                  </a:cubicBezTo>
                  <a:cubicBezTo>
                    <a:pt x="3163338" y="2466594"/>
                    <a:pt x="3163252" y="2466509"/>
                    <a:pt x="3163252" y="2466403"/>
                  </a:cubicBezTo>
                  <a:cubicBezTo>
                    <a:pt x="3163252" y="2466298"/>
                    <a:pt x="3163338" y="2466213"/>
                    <a:pt x="3163443" y="2466213"/>
                  </a:cubicBezTo>
                  <a:close/>
                  <a:moveTo>
                    <a:pt x="2061971" y="2463832"/>
                  </a:moveTo>
                  <a:cubicBezTo>
                    <a:pt x="2065400" y="2463832"/>
                    <a:pt x="2068163" y="2466594"/>
                    <a:pt x="2068163" y="2470023"/>
                  </a:cubicBezTo>
                  <a:cubicBezTo>
                    <a:pt x="2068163" y="2473452"/>
                    <a:pt x="2065400" y="2476214"/>
                    <a:pt x="2061971" y="2476214"/>
                  </a:cubicBezTo>
                  <a:cubicBezTo>
                    <a:pt x="2058542" y="2476214"/>
                    <a:pt x="2055780" y="2473452"/>
                    <a:pt x="2055780" y="2470023"/>
                  </a:cubicBezTo>
                  <a:cubicBezTo>
                    <a:pt x="2055780" y="2466594"/>
                    <a:pt x="2058542" y="2463832"/>
                    <a:pt x="2061971" y="2463832"/>
                  </a:cubicBezTo>
                  <a:close/>
                  <a:moveTo>
                    <a:pt x="2965513" y="2463356"/>
                  </a:moveTo>
                  <a:cubicBezTo>
                    <a:pt x="2968942" y="2463356"/>
                    <a:pt x="2971704" y="2466118"/>
                    <a:pt x="2971704" y="2469547"/>
                  </a:cubicBezTo>
                  <a:cubicBezTo>
                    <a:pt x="2971704" y="2472976"/>
                    <a:pt x="2968942" y="2475739"/>
                    <a:pt x="2965513" y="2475739"/>
                  </a:cubicBezTo>
                  <a:cubicBezTo>
                    <a:pt x="2962084" y="2475739"/>
                    <a:pt x="2959322" y="2472976"/>
                    <a:pt x="2959322" y="2469547"/>
                  </a:cubicBezTo>
                  <a:cubicBezTo>
                    <a:pt x="2959322" y="2466118"/>
                    <a:pt x="2962084" y="2463356"/>
                    <a:pt x="2965513" y="2463356"/>
                  </a:cubicBezTo>
                  <a:close/>
                  <a:moveTo>
                    <a:pt x="802480" y="2462022"/>
                  </a:moveTo>
                  <a:cubicBezTo>
                    <a:pt x="805909" y="2462022"/>
                    <a:pt x="808672" y="2464784"/>
                    <a:pt x="808672" y="2468213"/>
                  </a:cubicBezTo>
                  <a:cubicBezTo>
                    <a:pt x="808672" y="2471642"/>
                    <a:pt x="805909" y="2474404"/>
                    <a:pt x="802480" y="2474404"/>
                  </a:cubicBezTo>
                  <a:cubicBezTo>
                    <a:pt x="799051" y="2474404"/>
                    <a:pt x="796289" y="2471642"/>
                    <a:pt x="796289" y="2468213"/>
                  </a:cubicBezTo>
                  <a:cubicBezTo>
                    <a:pt x="796289" y="2464784"/>
                    <a:pt x="799051" y="2462022"/>
                    <a:pt x="802480" y="2462022"/>
                  </a:cubicBezTo>
                  <a:close/>
                  <a:moveTo>
                    <a:pt x="579214" y="2461737"/>
                  </a:moveTo>
                  <a:cubicBezTo>
                    <a:pt x="582643" y="2461737"/>
                    <a:pt x="585405" y="2464499"/>
                    <a:pt x="585405" y="2467928"/>
                  </a:cubicBezTo>
                  <a:cubicBezTo>
                    <a:pt x="585405" y="2471357"/>
                    <a:pt x="582643" y="2474119"/>
                    <a:pt x="579214" y="2474119"/>
                  </a:cubicBezTo>
                  <a:cubicBezTo>
                    <a:pt x="575785" y="2474119"/>
                    <a:pt x="573023" y="2471357"/>
                    <a:pt x="573023" y="2467928"/>
                  </a:cubicBezTo>
                  <a:cubicBezTo>
                    <a:pt x="573023" y="2464499"/>
                    <a:pt x="575785" y="2461737"/>
                    <a:pt x="579214" y="2461737"/>
                  </a:cubicBezTo>
                  <a:close/>
                  <a:moveTo>
                    <a:pt x="3141630" y="2461165"/>
                  </a:moveTo>
                  <a:cubicBezTo>
                    <a:pt x="3145059" y="2461165"/>
                    <a:pt x="3147822" y="2463927"/>
                    <a:pt x="3147822" y="2467356"/>
                  </a:cubicBezTo>
                  <a:cubicBezTo>
                    <a:pt x="3147822" y="2470785"/>
                    <a:pt x="3145059" y="2473547"/>
                    <a:pt x="3141630" y="2473547"/>
                  </a:cubicBezTo>
                  <a:cubicBezTo>
                    <a:pt x="3138201" y="2473547"/>
                    <a:pt x="3135439" y="2470785"/>
                    <a:pt x="3135439" y="2467356"/>
                  </a:cubicBezTo>
                  <a:cubicBezTo>
                    <a:pt x="3135439" y="2463927"/>
                    <a:pt x="3138201" y="2461165"/>
                    <a:pt x="3141630" y="2461165"/>
                  </a:cubicBezTo>
                  <a:close/>
                  <a:moveTo>
                    <a:pt x="3020948" y="2460974"/>
                  </a:moveTo>
                  <a:cubicBezTo>
                    <a:pt x="3024377" y="2460974"/>
                    <a:pt x="3027139" y="2463736"/>
                    <a:pt x="3027139" y="2467165"/>
                  </a:cubicBezTo>
                  <a:cubicBezTo>
                    <a:pt x="3027139" y="2470594"/>
                    <a:pt x="3024377" y="2473357"/>
                    <a:pt x="3020948" y="2473357"/>
                  </a:cubicBezTo>
                  <a:cubicBezTo>
                    <a:pt x="3017519" y="2473357"/>
                    <a:pt x="3014757" y="2470594"/>
                    <a:pt x="3014757" y="2467165"/>
                  </a:cubicBezTo>
                  <a:cubicBezTo>
                    <a:pt x="3014757" y="2463736"/>
                    <a:pt x="3017519" y="2460974"/>
                    <a:pt x="3020948" y="2460974"/>
                  </a:cubicBezTo>
                  <a:close/>
                  <a:moveTo>
                    <a:pt x="2888551" y="2460022"/>
                  </a:moveTo>
                  <a:cubicBezTo>
                    <a:pt x="2891980" y="2460022"/>
                    <a:pt x="2894743" y="2462784"/>
                    <a:pt x="2894743" y="2466213"/>
                  </a:cubicBezTo>
                  <a:cubicBezTo>
                    <a:pt x="2894743" y="2469642"/>
                    <a:pt x="2891980" y="2472404"/>
                    <a:pt x="2888551" y="2472404"/>
                  </a:cubicBezTo>
                  <a:cubicBezTo>
                    <a:pt x="2885122" y="2472404"/>
                    <a:pt x="2882360" y="2469642"/>
                    <a:pt x="2882360" y="2466213"/>
                  </a:cubicBezTo>
                  <a:cubicBezTo>
                    <a:pt x="2882360" y="2462784"/>
                    <a:pt x="2885122" y="2460022"/>
                    <a:pt x="2888551" y="2460022"/>
                  </a:cubicBezTo>
                  <a:close/>
                  <a:moveTo>
                    <a:pt x="202501" y="2458974"/>
                  </a:moveTo>
                  <a:cubicBezTo>
                    <a:pt x="205657" y="2458974"/>
                    <a:pt x="208216" y="2461533"/>
                    <a:pt x="208216" y="2464689"/>
                  </a:cubicBezTo>
                  <a:cubicBezTo>
                    <a:pt x="208216" y="2467845"/>
                    <a:pt x="205657" y="2470404"/>
                    <a:pt x="202501" y="2470404"/>
                  </a:cubicBezTo>
                  <a:cubicBezTo>
                    <a:pt x="199345" y="2470404"/>
                    <a:pt x="196786" y="2467845"/>
                    <a:pt x="196786" y="2464689"/>
                  </a:cubicBezTo>
                  <a:cubicBezTo>
                    <a:pt x="196786" y="2461533"/>
                    <a:pt x="199345" y="2458974"/>
                    <a:pt x="202501" y="2458974"/>
                  </a:cubicBezTo>
                  <a:close/>
                  <a:moveTo>
                    <a:pt x="254888" y="2458212"/>
                  </a:moveTo>
                  <a:cubicBezTo>
                    <a:pt x="258317" y="2458212"/>
                    <a:pt x="261079" y="2460974"/>
                    <a:pt x="261079" y="2464403"/>
                  </a:cubicBezTo>
                  <a:cubicBezTo>
                    <a:pt x="261079" y="2467832"/>
                    <a:pt x="258317" y="2470594"/>
                    <a:pt x="254888" y="2470594"/>
                  </a:cubicBezTo>
                  <a:cubicBezTo>
                    <a:pt x="251459" y="2470594"/>
                    <a:pt x="248697" y="2467832"/>
                    <a:pt x="248697" y="2464403"/>
                  </a:cubicBezTo>
                  <a:cubicBezTo>
                    <a:pt x="248697" y="2460974"/>
                    <a:pt x="251459" y="2458212"/>
                    <a:pt x="254888" y="2458212"/>
                  </a:cubicBezTo>
                  <a:close/>
                  <a:moveTo>
                    <a:pt x="3090481" y="2458022"/>
                  </a:moveTo>
                  <a:cubicBezTo>
                    <a:pt x="3093910" y="2458022"/>
                    <a:pt x="3096672" y="2460784"/>
                    <a:pt x="3096672" y="2464213"/>
                  </a:cubicBezTo>
                  <a:lnTo>
                    <a:pt x="3092767" y="2468119"/>
                  </a:lnTo>
                  <a:lnTo>
                    <a:pt x="3098577" y="2473928"/>
                  </a:lnTo>
                  <a:lnTo>
                    <a:pt x="3094958" y="2477548"/>
                  </a:lnTo>
                  <a:lnTo>
                    <a:pt x="3099720" y="2482310"/>
                  </a:lnTo>
                  <a:lnTo>
                    <a:pt x="3096386" y="2485644"/>
                  </a:lnTo>
                  <a:lnTo>
                    <a:pt x="3100577" y="2489835"/>
                  </a:lnTo>
                  <a:lnTo>
                    <a:pt x="3097672" y="2492741"/>
                  </a:lnTo>
                  <a:lnTo>
                    <a:pt x="3101911" y="2496979"/>
                  </a:lnTo>
                  <a:lnTo>
                    <a:pt x="3099530" y="2499360"/>
                  </a:lnTo>
                  <a:lnTo>
                    <a:pt x="3104197" y="2504027"/>
                  </a:lnTo>
                  <a:lnTo>
                    <a:pt x="3102292" y="2505933"/>
                  </a:lnTo>
                  <a:lnTo>
                    <a:pt x="3107816" y="2511457"/>
                  </a:lnTo>
                  <a:cubicBezTo>
                    <a:pt x="3107816" y="2514886"/>
                    <a:pt x="3105054" y="2517648"/>
                    <a:pt x="3101625" y="2517648"/>
                  </a:cubicBezTo>
                  <a:cubicBezTo>
                    <a:pt x="3098196" y="2517648"/>
                    <a:pt x="3095434" y="2514886"/>
                    <a:pt x="3095434" y="2511457"/>
                  </a:cubicBezTo>
                  <a:lnTo>
                    <a:pt x="3097339" y="2509552"/>
                  </a:lnTo>
                  <a:lnTo>
                    <a:pt x="3091815" y="2504027"/>
                  </a:lnTo>
                  <a:lnTo>
                    <a:pt x="3094195" y="2501647"/>
                  </a:lnTo>
                  <a:lnTo>
                    <a:pt x="3089528" y="2496979"/>
                  </a:lnTo>
                  <a:lnTo>
                    <a:pt x="3092433" y="2494074"/>
                  </a:lnTo>
                  <a:lnTo>
                    <a:pt x="3088195" y="2489835"/>
                  </a:lnTo>
                  <a:lnTo>
                    <a:pt x="3091529" y="2486501"/>
                  </a:lnTo>
                  <a:lnTo>
                    <a:pt x="3087338" y="2482310"/>
                  </a:lnTo>
                  <a:lnTo>
                    <a:pt x="3090957" y="2478691"/>
                  </a:lnTo>
                  <a:lnTo>
                    <a:pt x="3086195" y="2473928"/>
                  </a:lnTo>
                  <a:lnTo>
                    <a:pt x="3090100" y="2470024"/>
                  </a:lnTo>
                  <a:lnTo>
                    <a:pt x="3084290" y="2464213"/>
                  </a:lnTo>
                  <a:cubicBezTo>
                    <a:pt x="3084290" y="2460784"/>
                    <a:pt x="3087052" y="2458022"/>
                    <a:pt x="3090481" y="2458022"/>
                  </a:cubicBezTo>
                  <a:close/>
                  <a:moveTo>
                    <a:pt x="1217580" y="2457355"/>
                  </a:moveTo>
                  <a:cubicBezTo>
                    <a:pt x="1221009" y="2457355"/>
                    <a:pt x="1223771" y="2460117"/>
                    <a:pt x="1223771" y="2463546"/>
                  </a:cubicBezTo>
                  <a:cubicBezTo>
                    <a:pt x="1223771" y="2466975"/>
                    <a:pt x="1221009" y="2469737"/>
                    <a:pt x="1217580" y="2469737"/>
                  </a:cubicBezTo>
                  <a:cubicBezTo>
                    <a:pt x="1214151" y="2469737"/>
                    <a:pt x="1211389" y="2466975"/>
                    <a:pt x="1211389" y="2463546"/>
                  </a:cubicBezTo>
                  <a:cubicBezTo>
                    <a:pt x="1211389" y="2460117"/>
                    <a:pt x="1214151" y="2457355"/>
                    <a:pt x="1217580" y="2457355"/>
                  </a:cubicBezTo>
                  <a:close/>
                  <a:moveTo>
                    <a:pt x="3060001" y="2454783"/>
                  </a:moveTo>
                  <a:cubicBezTo>
                    <a:pt x="3063430" y="2454783"/>
                    <a:pt x="3066193" y="2457545"/>
                    <a:pt x="3066193" y="2460974"/>
                  </a:cubicBezTo>
                  <a:cubicBezTo>
                    <a:pt x="3066193" y="2464403"/>
                    <a:pt x="3063430" y="2467166"/>
                    <a:pt x="3060001" y="2467166"/>
                  </a:cubicBezTo>
                  <a:cubicBezTo>
                    <a:pt x="3056572" y="2467166"/>
                    <a:pt x="3053810" y="2464403"/>
                    <a:pt x="3053810" y="2460974"/>
                  </a:cubicBezTo>
                  <a:cubicBezTo>
                    <a:pt x="3053810" y="2457545"/>
                    <a:pt x="3056572" y="2454783"/>
                    <a:pt x="3060001" y="2454783"/>
                  </a:cubicBezTo>
                  <a:close/>
                  <a:moveTo>
                    <a:pt x="350424" y="2452116"/>
                  </a:moveTo>
                  <a:cubicBezTo>
                    <a:pt x="353853" y="2452116"/>
                    <a:pt x="356615" y="2454878"/>
                    <a:pt x="356615" y="2458307"/>
                  </a:cubicBezTo>
                  <a:cubicBezTo>
                    <a:pt x="356615" y="2461736"/>
                    <a:pt x="353853" y="2464499"/>
                    <a:pt x="350424" y="2464499"/>
                  </a:cubicBezTo>
                  <a:cubicBezTo>
                    <a:pt x="346995" y="2464499"/>
                    <a:pt x="344233" y="2461736"/>
                    <a:pt x="344233" y="2458307"/>
                  </a:cubicBezTo>
                  <a:cubicBezTo>
                    <a:pt x="344233" y="2454878"/>
                    <a:pt x="346995" y="2452116"/>
                    <a:pt x="350424" y="2452116"/>
                  </a:cubicBezTo>
                  <a:close/>
                  <a:moveTo>
                    <a:pt x="3136391" y="2450592"/>
                  </a:moveTo>
                  <a:cubicBezTo>
                    <a:pt x="3139820" y="2450592"/>
                    <a:pt x="3142582" y="2453354"/>
                    <a:pt x="3142582" y="2456783"/>
                  </a:cubicBezTo>
                  <a:cubicBezTo>
                    <a:pt x="3142582" y="2460212"/>
                    <a:pt x="3139820" y="2462975"/>
                    <a:pt x="3136391" y="2462975"/>
                  </a:cubicBezTo>
                  <a:cubicBezTo>
                    <a:pt x="3132962" y="2462975"/>
                    <a:pt x="3130200" y="2460212"/>
                    <a:pt x="3130200" y="2456783"/>
                  </a:cubicBezTo>
                  <a:cubicBezTo>
                    <a:pt x="3130200" y="2453354"/>
                    <a:pt x="3132962" y="2450592"/>
                    <a:pt x="3136391" y="2450592"/>
                  </a:cubicBezTo>
                  <a:close/>
                  <a:moveTo>
                    <a:pt x="2572225" y="2450211"/>
                  </a:moveTo>
                  <a:cubicBezTo>
                    <a:pt x="2575654" y="2450211"/>
                    <a:pt x="2578417" y="2452973"/>
                    <a:pt x="2578417" y="2456402"/>
                  </a:cubicBezTo>
                  <a:cubicBezTo>
                    <a:pt x="2578417" y="2459831"/>
                    <a:pt x="2575654" y="2462593"/>
                    <a:pt x="2572225" y="2462593"/>
                  </a:cubicBezTo>
                  <a:cubicBezTo>
                    <a:pt x="2568796" y="2462593"/>
                    <a:pt x="2566034" y="2459831"/>
                    <a:pt x="2566034" y="2456402"/>
                  </a:cubicBezTo>
                  <a:cubicBezTo>
                    <a:pt x="2566034" y="2452973"/>
                    <a:pt x="2568796" y="2450211"/>
                    <a:pt x="2572225" y="2450211"/>
                  </a:cubicBezTo>
                  <a:close/>
                  <a:moveTo>
                    <a:pt x="298418" y="2450021"/>
                  </a:moveTo>
                  <a:cubicBezTo>
                    <a:pt x="301847" y="2450021"/>
                    <a:pt x="304609" y="2452783"/>
                    <a:pt x="304609" y="2456212"/>
                  </a:cubicBezTo>
                  <a:cubicBezTo>
                    <a:pt x="304609" y="2459641"/>
                    <a:pt x="301847" y="2462404"/>
                    <a:pt x="298418" y="2462404"/>
                  </a:cubicBezTo>
                  <a:cubicBezTo>
                    <a:pt x="294989" y="2462404"/>
                    <a:pt x="292227" y="2459641"/>
                    <a:pt x="292227" y="2456212"/>
                  </a:cubicBezTo>
                  <a:cubicBezTo>
                    <a:pt x="292227" y="2452783"/>
                    <a:pt x="294989" y="2450021"/>
                    <a:pt x="298418" y="2450021"/>
                  </a:cubicBezTo>
                  <a:close/>
                  <a:moveTo>
                    <a:pt x="189928" y="2449735"/>
                  </a:moveTo>
                  <a:cubicBezTo>
                    <a:pt x="190086" y="2449735"/>
                    <a:pt x="190213" y="2449863"/>
                    <a:pt x="190213" y="2450021"/>
                  </a:cubicBezTo>
                  <a:cubicBezTo>
                    <a:pt x="190213" y="2450179"/>
                    <a:pt x="190086" y="2450306"/>
                    <a:pt x="189928" y="2450306"/>
                  </a:cubicBezTo>
                  <a:cubicBezTo>
                    <a:pt x="189770" y="2450306"/>
                    <a:pt x="189642" y="2450179"/>
                    <a:pt x="189642" y="2450021"/>
                  </a:cubicBezTo>
                  <a:cubicBezTo>
                    <a:pt x="189642" y="2449863"/>
                    <a:pt x="189770" y="2449735"/>
                    <a:pt x="189928" y="2449735"/>
                  </a:cubicBezTo>
                  <a:close/>
                  <a:moveTo>
                    <a:pt x="2173604" y="2449163"/>
                  </a:moveTo>
                  <a:cubicBezTo>
                    <a:pt x="2177033" y="2449163"/>
                    <a:pt x="2179796" y="2451925"/>
                    <a:pt x="2179796" y="2455354"/>
                  </a:cubicBezTo>
                  <a:cubicBezTo>
                    <a:pt x="2179796" y="2458783"/>
                    <a:pt x="2177033" y="2461546"/>
                    <a:pt x="2173604" y="2461546"/>
                  </a:cubicBezTo>
                  <a:cubicBezTo>
                    <a:pt x="2170175" y="2461546"/>
                    <a:pt x="2167413" y="2458783"/>
                    <a:pt x="2167413" y="2455354"/>
                  </a:cubicBezTo>
                  <a:cubicBezTo>
                    <a:pt x="2167413" y="2451925"/>
                    <a:pt x="2170175" y="2449163"/>
                    <a:pt x="2173604" y="2449163"/>
                  </a:cubicBezTo>
                  <a:close/>
                  <a:moveTo>
                    <a:pt x="2784442" y="2449068"/>
                  </a:moveTo>
                  <a:cubicBezTo>
                    <a:pt x="2787871" y="2449068"/>
                    <a:pt x="2790634" y="2451830"/>
                    <a:pt x="2790634" y="2455259"/>
                  </a:cubicBezTo>
                  <a:cubicBezTo>
                    <a:pt x="2790634" y="2458688"/>
                    <a:pt x="2787871" y="2461451"/>
                    <a:pt x="2784442" y="2461451"/>
                  </a:cubicBezTo>
                  <a:cubicBezTo>
                    <a:pt x="2781013" y="2461451"/>
                    <a:pt x="2778251" y="2458688"/>
                    <a:pt x="2778251" y="2455259"/>
                  </a:cubicBezTo>
                  <a:cubicBezTo>
                    <a:pt x="2778251" y="2451830"/>
                    <a:pt x="2781013" y="2449068"/>
                    <a:pt x="2784442" y="2449068"/>
                  </a:cubicBezTo>
                  <a:close/>
                  <a:moveTo>
                    <a:pt x="423004" y="2448878"/>
                  </a:moveTo>
                  <a:cubicBezTo>
                    <a:pt x="426433" y="2448878"/>
                    <a:pt x="429196" y="2451640"/>
                    <a:pt x="429196" y="2455069"/>
                  </a:cubicBezTo>
                  <a:cubicBezTo>
                    <a:pt x="429196" y="2458498"/>
                    <a:pt x="426433" y="2461261"/>
                    <a:pt x="423004" y="2461261"/>
                  </a:cubicBezTo>
                  <a:cubicBezTo>
                    <a:pt x="419575" y="2461261"/>
                    <a:pt x="416813" y="2458498"/>
                    <a:pt x="416813" y="2455069"/>
                  </a:cubicBezTo>
                  <a:cubicBezTo>
                    <a:pt x="416813" y="2451640"/>
                    <a:pt x="419575" y="2448878"/>
                    <a:pt x="423004" y="2448878"/>
                  </a:cubicBezTo>
                  <a:close/>
                  <a:moveTo>
                    <a:pt x="234409" y="2448306"/>
                  </a:moveTo>
                  <a:cubicBezTo>
                    <a:pt x="237838" y="2448306"/>
                    <a:pt x="240601" y="2451068"/>
                    <a:pt x="240601" y="2454497"/>
                  </a:cubicBezTo>
                  <a:lnTo>
                    <a:pt x="234933" y="2460164"/>
                  </a:lnTo>
                  <a:lnTo>
                    <a:pt x="239268" y="2464498"/>
                  </a:lnTo>
                  <a:lnTo>
                    <a:pt x="234600" y="2469166"/>
                  </a:lnTo>
                  <a:lnTo>
                    <a:pt x="238600" y="2473166"/>
                  </a:lnTo>
                  <a:lnTo>
                    <a:pt x="234219" y="2477548"/>
                  </a:lnTo>
                  <a:lnTo>
                    <a:pt x="237838" y="2481167"/>
                  </a:lnTo>
                  <a:lnTo>
                    <a:pt x="233457" y="2485549"/>
                  </a:lnTo>
                  <a:lnTo>
                    <a:pt x="236600" y="2488692"/>
                  </a:lnTo>
                  <a:lnTo>
                    <a:pt x="231647" y="2493645"/>
                  </a:lnTo>
                  <a:lnTo>
                    <a:pt x="234315" y="2496312"/>
                  </a:lnTo>
                  <a:lnTo>
                    <a:pt x="228218" y="2502408"/>
                  </a:lnTo>
                  <a:lnTo>
                    <a:pt x="229933" y="2504123"/>
                  </a:lnTo>
                  <a:cubicBezTo>
                    <a:pt x="229933" y="2507266"/>
                    <a:pt x="227361" y="2509743"/>
                    <a:pt x="224313" y="2509743"/>
                  </a:cubicBezTo>
                  <a:cubicBezTo>
                    <a:pt x="221170" y="2509743"/>
                    <a:pt x="218693" y="2507266"/>
                    <a:pt x="218693" y="2504123"/>
                  </a:cubicBezTo>
                  <a:lnTo>
                    <a:pt x="224218" y="2498598"/>
                  </a:lnTo>
                  <a:lnTo>
                    <a:pt x="221932" y="2496312"/>
                  </a:lnTo>
                  <a:lnTo>
                    <a:pt x="226885" y="2491359"/>
                  </a:lnTo>
                  <a:lnTo>
                    <a:pt x="224218" y="2488692"/>
                  </a:lnTo>
                  <a:lnTo>
                    <a:pt x="228599" y="2484311"/>
                  </a:lnTo>
                  <a:lnTo>
                    <a:pt x="225456" y="2481167"/>
                  </a:lnTo>
                  <a:lnTo>
                    <a:pt x="229837" y="2476786"/>
                  </a:lnTo>
                  <a:lnTo>
                    <a:pt x="226218" y="2473166"/>
                  </a:lnTo>
                  <a:lnTo>
                    <a:pt x="230885" y="2468499"/>
                  </a:lnTo>
                  <a:lnTo>
                    <a:pt x="226885" y="2464498"/>
                  </a:lnTo>
                  <a:lnTo>
                    <a:pt x="232552" y="2458831"/>
                  </a:lnTo>
                  <a:lnTo>
                    <a:pt x="228218" y="2454497"/>
                  </a:lnTo>
                  <a:cubicBezTo>
                    <a:pt x="228218" y="2451068"/>
                    <a:pt x="230980" y="2448306"/>
                    <a:pt x="234409" y="2448306"/>
                  </a:cubicBezTo>
                  <a:close/>
                  <a:moveTo>
                    <a:pt x="3154965" y="2448021"/>
                  </a:moveTo>
                  <a:cubicBezTo>
                    <a:pt x="3158394" y="2448021"/>
                    <a:pt x="3161157" y="2450783"/>
                    <a:pt x="3161157" y="2454212"/>
                  </a:cubicBezTo>
                  <a:cubicBezTo>
                    <a:pt x="3161157" y="2457641"/>
                    <a:pt x="3158394" y="2460403"/>
                    <a:pt x="3154965" y="2460403"/>
                  </a:cubicBezTo>
                  <a:cubicBezTo>
                    <a:pt x="3151536" y="2460403"/>
                    <a:pt x="3148774" y="2457641"/>
                    <a:pt x="3148774" y="2454212"/>
                  </a:cubicBezTo>
                  <a:cubicBezTo>
                    <a:pt x="3148774" y="2450783"/>
                    <a:pt x="3151536" y="2448021"/>
                    <a:pt x="3154965" y="2448021"/>
                  </a:cubicBezTo>
                  <a:close/>
                  <a:moveTo>
                    <a:pt x="3086957" y="2446401"/>
                  </a:moveTo>
                  <a:cubicBezTo>
                    <a:pt x="3090386" y="2446401"/>
                    <a:pt x="3093148" y="2449163"/>
                    <a:pt x="3093148" y="2452592"/>
                  </a:cubicBezTo>
                  <a:cubicBezTo>
                    <a:pt x="3093148" y="2456021"/>
                    <a:pt x="3090386" y="2458784"/>
                    <a:pt x="3086957" y="2458784"/>
                  </a:cubicBezTo>
                  <a:cubicBezTo>
                    <a:pt x="3083528" y="2458784"/>
                    <a:pt x="3080766" y="2456021"/>
                    <a:pt x="3080766" y="2452592"/>
                  </a:cubicBezTo>
                  <a:cubicBezTo>
                    <a:pt x="3080766" y="2449163"/>
                    <a:pt x="3083528" y="2446401"/>
                    <a:pt x="3086957" y="2446401"/>
                  </a:cubicBezTo>
                  <a:close/>
                  <a:moveTo>
                    <a:pt x="262127" y="2444211"/>
                  </a:moveTo>
                  <a:cubicBezTo>
                    <a:pt x="265556" y="2444211"/>
                    <a:pt x="268318" y="2446973"/>
                    <a:pt x="268318" y="2450402"/>
                  </a:cubicBezTo>
                  <a:cubicBezTo>
                    <a:pt x="268318" y="2453831"/>
                    <a:pt x="265556" y="2456593"/>
                    <a:pt x="262127" y="2456593"/>
                  </a:cubicBezTo>
                  <a:cubicBezTo>
                    <a:pt x="258698" y="2456593"/>
                    <a:pt x="255936" y="2453831"/>
                    <a:pt x="255936" y="2450402"/>
                  </a:cubicBezTo>
                  <a:cubicBezTo>
                    <a:pt x="255936" y="2446973"/>
                    <a:pt x="258698" y="2444211"/>
                    <a:pt x="262127" y="2444211"/>
                  </a:cubicBezTo>
                  <a:close/>
                  <a:moveTo>
                    <a:pt x="1108805" y="2441448"/>
                  </a:moveTo>
                  <a:cubicBezTo>
                    <a:pt x="1112234" y="2441448"/>
                    <a:pt x="1114996" y="2444210"/>
                    <a:pt x="1114996" y="2447639"/>
                  </a:cubicBezTo>
                  <a:cubicBezTo>
                    <a:pt x="1114996" y="2451068"/>
                    <a:pt x="1112234" y="2453830"/>
                    <a:pt x="1108805" y="2453830"/>
                  </a:cubicBezTo>
                  <a:cubicBezTo>
                    <a:pt x="1105376" y="2453830"/>
                    <a:pt x="1102614" y="2451068"/>
                    <a:pt x="1102614" y="2447639"/>
                  </a:cubicBezTo>
                  <a:cubicBezTo>
                    <a:pt x="1102614" y="2444210"/>
                    <a:pt x="1105376" y="2441448"/>
                    <a:pt x="1108805" y="2441448"/>
                  </a:cubicBezTo>
                  <a:close/>
                  <a:moveTo>
                    <a:pt x="724471" y="2439924"/>
                  </a:moveTo>
                  <a:cubicBezTo>
                    <a:pt x="727900" y="2439924"/>
                    <a:pt x="730662" y="2442686"/>
                    <a:pt x="730662" y="2446115"/>
                  </a:cubicBezTo>
                  <a:cubicBezTo>
                    <a:pt x="730662" y="2449544"/>
                    <a:pt x="727900" y="2452307"/>
                    <a:pt x="724471" y="2452307"/>
                  </a:cubicBezTo>
                  <a:cubicBezTo>
                    <a:pt x="721042" y="2452307"/>
                    <a:pt x="718280" y="2449544"/>
                    <a:pt x="718280" y="2446115"/>
                  </a:cubicBezTo>
                  <a:cubicBezTo>
                    <a:pt x="718280" y="2442686"/>
                    <a:pt x="721042" y="2439924"/>
                    <a:pt x="724471" y="2439924"/>
                  </a:cubicBezTo>
                  <a:close/>
                  <a:moveTo>
                    <a:pt x="2999517" y="2439448"/>
                  </a:moveTo>
                  <a:cubicBezTo>
                    <a:pt x="3002946" y="2439448"/>
                    <a:pt x="3005708" y="2442210"/>
                    <a:pt x="3005708" y="2445639"/>
                  </a:cubicBezTo>
                  <a:cubicBezTo>
                    <a:pt x="3005708" y="2449068"/>
                    <a:pt x="3002946" y="2451830"/>
                    <a:pt x="2999517" y="2451830"/>
                  </a:cubicBezTo>
                  <a:cubicBezTo>
                    <a:pt x="2996088" y="2451830"/>
                    <a:pt x="2993326" y="2449068"/>
                    <a:pt x="2993326" y="2445639"/>
                  </a:cubicBezTo>
                  <a:cubicBezTo>
                    <a:pt x="2993326" y="2442210"/>
                    <a:pt x="2996088" y="2439448"/>
                    <a:pt x="2999517" y="2439448"/>
                  </a:cubicBezTo>
                  <a:close/>
                  <a:moveTo>
                    <a:pt x="521683" y="2438115"/>
                  </a:moveTo>
                  <a:cubicBezTo>
                    <a:pt x="525112" y="2438115"/>
                    <a:pt x="527874" y="2440877"/>
                    <a:pt x="527874" y="2444306"/>
                  </a:cubicBezTo>
                  <a:cubicBezTo>
                    <a:pt x="527874" y="2447735"/>
                    <a:pt x="525112" y="2450498"/>
                    <a:pt x="521683" y="2450498"/>
                  </a:cubicBezTo>
                  <a:cubicBezTo>
                    <a:pt x="518254" y="2450498"/>
                    <a:pt x="515492" y="2447735"/>
                    <a:pt x="515492" y="2444306"/>
                  </a:cubicBezTo>
                  <a:cubicBezTo>
                    <a:pt x="515492" y="2440877"/>
                    <a:pt x="518254" y="2438115"/>
                    <a:pt x="521683" y="2438115"/>
                  </a:cubicBezTo>
                  <a:close/>
                  <a:moveTo>
                    <a:pt x="3047618" y="2437638"/>
                  </a:moveTo>
                  <a:cubicBezTo>
                    <a:pt x="3051047" y="2437638"/>
                    <a:pt x="3053809" y="2440400"/>
                    <a:pt x="3053809" y="2443829"/>
                  </a:cubicBezTo>
                  <a:cubicBezTo>
                    <a:pt x="3053809" y="2447258"/>
                    <a:pt x="3051047" y="2450020"/>
                    <a:pt x="3047618" y="2450020"/>
                  </a:cubicBezTo>
                  <a:cubicBezTo>
                    <a:pt x="3044189" y="2450020"/>
                    <a:pt x="3041427" y="2447258"/>
                    <a:pt x="3041427" y="2443829"/>
                  </a:cubicBezTo>
                  <a:cubicBezTo>
                    <a:pt x="3041427" y="2440400"/>
                    <a:pt x="3044189" y="2437638"/>
                    <a:pt x="3047618" y="2437638"/>
                  </a:cubicBezTo>
                  <a:close/>
                  <a:moveTo>
                    <a:pt x="3105721" y="2437162"/>
                  </a:moveTo>
                  <a:cubicBezTo>
                    <a:pt x="3109150" y="2437162"/>
                    <a:pt x="3111912" y="2439924"/>
                    <a:pt x="3111912" y="2443353"/>
                  </a:cubicBezTo>
                  <a:lnTo>
                    <a:pt x="3107102" y="2448164"/>
                  </a:lnTo>
                  <a:lnTo>
                    <a:pt x="3112675" y="2453735"/>
                  </a:lnTo>
                  <a:lnTo>
                    <a:pt x="3108293" y="2458117"/>
                  </a:lnTo>
                  <a:lnTo>
                    <a:pt x="3113055" y="2462879"/>
                  </a:lnTo>
                  <a:lnTo>
                    <a:pt x="3109055" y="2466880"/>
                  </a:lnTo>
                  <a:lnTo>
                    <a:pt x="3113532" y="2471356"/>
                  </a:lnTo>
                  <a:lnTo>
                    <a:pt x="3110150" y="2474739"/>
                  </a:lnTo>
                  <a:lnTo>
                    <a:pt x="3114770" y="2479358"/>
                  </a:lnTo>
                  <a:lnTo>
                    <a:pt x="3111912" y="2482216"/>
                  </a:lnTo>
                  <a:lnTo>
                    <a:pt x="3117246" y="2487549"/>
                  </a:lnTo>
                  <a:cubicBezTo>
                    <a:pt x="3117246" y="2490978"/>
                    <a:pt x="3114484" y="2493740"/>
                    <a:pt x="3111055" y="2493740"/>
                  </a:cubicBezTo>
                  <a:cubicBezTo>
                    <a:pt x="3107626" y="2493740"/>
                    <a:pt x="3104864" y="2490978"/>
                    <a:pt x="3104864" y="2487549"/>
                  </a:cubicBezTo>
                  <a:lnTo>
                    <a:pt x="3107721" y="2484692"/>
                  </a:lnTo>
                  <a:lnTo>
                    <a:pt x="3102387" y="2479358"/>
                  </a:lnTo>
                  <a:lnTo>
                    <a:pt x="3105769" y="2475977"/>
                  </a:lnTo>
                  <a:lnTo>
                    <a:pt x="3101149" y="2471356"/>
                  </a:lnTo>
                  <a:lnTo>
                    <a:pt x="3105150" y="2467356"/>
                  </a:lnTo>
                  <a:lnTo>
                    <a:pt x="3100673" y="2462879"/>
                  </a:lnTo>
                  <a:lnTo>
                    <a:pt x="3105054" y="2458498"/>
                  </a:lnTo>
                  <a:lnTo>
                    <a:pt x="3100292" y="2453735"/>
                  </a:lnTo>
                  <a:lnTo>
                    <a:pt x="3105102" y="2448926"/>
                  </a:lnTo>
                  <a:lnTo>
                    <a:pt x="3099530" y="2443353"/>
                  </a:lnTo>
                  <a:cubicBezTo>
                    <a:pt x="3099530" y="2439924"/>
                    <a:pt x="3102292" y="2437162"/>
                    <a:pt x="3105721" y="2437162"/>
                  </a:cubicBezTo>
                  <a:close/>
                  <a:moveTo>
                    <a:pt x="3148964" y="2436400"/>
                  </a:moveTo>
                  <a:cubicBezTo>
                    <a:pt x="3152393" y="2436400"/>
                    <a:pt x="3155155" y="2439162"/>
                    <a:pt x="3155155" y="2442591"/>
                  </a:cubicBezTo>
                  <a:cubicBezTo>
                    <a:pt x="3155155" y="2446020"/>
                    <a:pt x="3152393" y="2448782"/>
                    <a:pt x="3148964" y="2448782"/>
                  </a:cubicBezTo>
                  <a:cubicBezTo>
                    <a:pt x="3145535" y="2448782"/>
                    <a:pt x="3142773" y="2446020"/>
                    <a:pt x="3142773" y="2442591"/>
                  </a:cubicBezTo>
                  <a:cubicBezTo>
                    <a:pt x="3142773" y="2439162"/>
                    <a:pt x="3145535" y="2436400"/>
                    <a:pt x="3148964" y="2436400"/>
                  </a:cubicBezTo>
                  <a:close/>
                  <a:moveTo>
                    <a:pt x="237267" y="2436400"/>
                  </a:moveTo>
                  <a:cubicBezTo>
                    <a:pt x="240696" y="2436400"/>
                    <a:pt x="243458" y="2439162"/>
                    <a:pt x="243458" y="2442591"/>
                  </a:cubicBezTo>
                  <a:cubicBezTo>
                    <a:pt x="243458" y="2446020"/>
                    <a:pt x="240696" y="2448782"/>
                    <a:pt x="237267" y="2448782"/>
                  </a:cubicBezTo>
                  <a:cubicBezTo>
                    <a:pt x="233838" y="2448782"/>
                    <a:pt x="231076" y="2446020"/>
                    <a:pt x="231076" y="2442591"/>
                  </a:cubicBezTo>
                  <a:cubicBezTo>
                    <a:pt x="231076" y="2439162"/>
                    <a:pt x="233838" y="2436400"/>
                    <a:pt x="237267" y="2436400"/>
                  </a:cubicBezTo>
                  <a:close/>
                  <a:moveTo>
                    <a:pt x="2931794" y="2436114"/>
                  </a:moveTo>
                  <a:cubicBezTo>
                    <a:pt x="2935223" y="2436114"/>
                    <a:pt x="2937986" y="2438876"/>
                    <a:pt x="2937986" y="2442305"/>
                  </a:cubicBezTo>
                  <a:cubicBezTo>
                    <a:pt x="2937986" y="2445734"/>
                    <a:pt x="2935223" y="2448496"/>
                    <a:pt x="2931794" y="2448496"/>
                  </a:cubicBezTo>
                  <a:cubicBezTo>
                    <a:pt x="2928365" y="2448496"/>
                    <a:pt x="2925603" y="2445734"/>
                    <a:pt x="2925603" y="2442305"/>
                  </a:cubicBezTo>
                  <a:cubicBezTo>
                    <a:pt x="2925603" y="2438876"/>
                    <a:pt x="2928365" y="2436114"/>
                    <a:pt x="2931794" y="2436114"/>
                  </a:cubicBezTo>
                  <a:close/>
                  <a:moveTo>
                    <a:pt x="3168491" y="2436019"/>
                  </a:moveTo>
                  <a:cubicBezTo>
                    <a:pt x="3171634" y="2436019"/>
                    <a:pt x="3174110" y="2438495"/>
                    <a:pt x="3174110" y="2441639"/>
                  </a:cubicBezTo>
                  <a:cubicBezTo>
                    <a:pt x="3174110" y="2444782"/>
                    <a:pt x="3171634" y="2447259"/>
                    <a:pt x="3168491" y="2447259"/>
                  </a:cubicBezTo>
                  <a:cubicBezTo>
                    <a:pt x="3165348" y="2447259"/>
                    <a:pt x="3162871" y="2444782"/>
                    <a:pt x="3162871" y="2441639"/>
                  </a:cubicBezTo>
                  <a:cubicBezTo>
                    <a:pt x="3162871" y="2438495"/>
                    <a:pt x="3165348" y="2436019"/>
                    <a:pt x="3168491" y="2436019"/>
                  </a:cubicBezTo>
                  <a:close/>
                  <a:moveTo>
                    <a:pt x="3080956" y="2432304"/>
                  </a:moveTo>
                  <a:cubicBezTo>
                    <a:pt x="3084385" y="2432304"/>
                    <a:pt x="3087147" y="2435066"/>
                    <a:pt x="3087147" y="2438495"/>
                  </a:cubicBezTo>
                  <a:cubicBezTo>
                    <a:pt x="3087147" y="2441924"/>
                    <a:pt x="3084385" y="2444686"/>
                    <a:pt x="3080956" y="2444686"/>
                  </a:cubicBezTo>
                  <a:cubicBezTo>
                    <a:pt x="3077527" y="2444686"/>
                    <a:pt x="3074765" y="2441924"/>
                    <a:pt x="3074765" y="2438495"/>
                  </a:cubicBezTo>
                  <a:cubicBezTo>
                    <a:pt x="3074765" y="2435066"/>
                    <a:pt x="3077527" y="2432304"/>
                    <a:pt x="3080956" y="2432304"/>
                  </a:cubicBezTo>
                  <a:close/>
                  <a:moveTo>
                    <a:pt x="2278951" y="2432114"/>
                  </a:moveTo>
                  <a:cubicBezTo>
                    <a:pt x="2282380" y="2432114"/>
                    <a:pt x="2285143" y="2434876"/>
                    <a:pt x="2285143" y="2438305"/>
                  </a:cubicBezTo>
                  <a:cubicBezTo>
                    <a:pt x="2285143" y="2441734"/>
                    <a:pt x="2282380" y="2444497"/>
                    <a:pt x="2278951" y="2444497"/>
                  </a:cubicBezTo>
                  <a:cubicBezTo>
                    <a:pt x="2275522" y="2444497"/>
                    <a:pt x="2272760" y="2441734"/>
                    <a:pt x="2272760" y="2438305"/>
                  </a:cubicBezTo>
                  <a:cubicBezTo>
                    <a:pt x="2272760" y="2434876"/>
                    <a:pt x="2275522" y="2432114"/>
                    <a:pt x="2278951" y="2432114"/>
                  </a:cubicBezTo>
                  <a:close/>
                  <a:moveTo>
                    <a:pt x="3182112" y="2429637"/>
                  </a:moveTo>
                  <a:cubicBezTo>
                    <a:pt x="3182207" y="2429637"/>
                    <a:pt x="3182397" y="2429827"/>
                    <a:pt x="3182397" y="2429923"/>
                  </a:cubicBezTo>
                  <a:cubicBezTo>
                    <a:pt x="3182397" y="2430018"/>
                    <a:pt x="3182112" y="2430208"/>
                    <a:pt x="3182112" y="2430208"/>
                  </a:cubicBezTo>
                  <a:cubicBezTo>
                    <a:pt x="3182017" y="2430208"/>
                    <a:pt x="3181826" y="2430018"/>
                    <a:pt x="3181826" y="2429923"/>
                  </a:cubicBezTo>
                  <a:cubicBezTo>
                    <a:pt x="3181826" y="2429827"/>
                    <a:pt x="3182017" y="2429637"/>
                    <a:pt x="3182112" y="2429637"/>
                  </a:cubicBezTo>
                  <a:close/>
                  <a:moveTo>
                    <a:pt x="318039" y="2428590"/>
                  </a:moveTo>
                  <a:cubicBezTo>
                    <a:pt x="321468" y="2428590"/>
                    <a:pt x="324230" y="2431352"/>
                    <a:pt x="324230" y="2434781"/>
                  </a:cubicBezTo>
                  <a:cubicBezTo>
                    <a:pt x="324230" y="2438210"/>
                    <a:pt x="321468" y="2440973"/>
                    <a:pt x="318039" y="2440973"/>
                  </a:cubicBezTo>
                  <a:cubicBezTo>
                    <a:pt x="314610" y="2440973"/>
                    <a:pt x="311848" y="2438210"/>
                    <a:pt x="311848" y="2434781"/>
                  </a:cubicBezTo>
                  <a:cubicBezTo>
                    <a:pt x="311848" y="2431352"/>
                    <a:pt x="314610" y="2428590"/>
                    <a:pt x="318039" y="2428590"/>
                  </a:cubicBezTo>
                  <a:close/>
                  <a:moveTo>
                    <a:pt x="2646901" y="2427923"/>
                  </a:moveTo>
                  <a:cubicBezTo>
                    <a:pt x="2650330" y="2427923"/>
                    <a:pt x="2653093" y="2430685"/>
                    <a:pt x="2653093" y="2434114"/>
                  </a:cubicBezTo>
                  <a:cubicBezTo>
                    <a:pt x="2653093" y="2437543"/>
                    <a:pt x="2650330" y="2440306"/>
                    <a:pt x="2646901" y="2440306"/>
                  </a:cubicBezTo>
                  <a:cubicBezTo>
                    <a:pt x="2643472" y="2440306"/>
                    <a:pt x="2640710" y="2437543"/>
                    <a:pt x="2640710" y="2434114"/>
                  </a:cubicBezTo>
                  <a:cubicBezTo>
                    <a:pt x="2640710" y="2430685"/>
                    <a:pt x="2643472" y="2427923"/>
                    <a:pt x="2646901" y="2427923"/>
                  </a:cubicBezTo>
                  <a:close/>
                  <a:moveTo>
                    <a:pt x="219932" y="2427732"/>
                  </a:moveTo>
                  <a:cubicBezTo>
                    <a:pt x="223361" y="2427732"/>
                    <a:pt x="226123" y="2430494"/>
                    <a:pt x="226123" y="2433923"/>
                  </a:cubicBezTo>
                  <a:lnTo>
                    <a:pt x="220550" y="2439497"/>
                  </a:lnTo>
                  <a:lnTo>
                    <a:pt x="225742" y="2444687"/>
                  </a:lnTo>
                  <a:lnTo>
                    <a:pt x="220931" y="2449497"/>
                  </a:lnTo>
                  <a:lnTo>
                    <a:pt x="225647" y="2454212"/>
                  </a:lnTo>
                  <a:lnTo>
                    <a:pt x="221074" y="2458784"/>
                  </a:lnTo>
                  <a:lnTo>
                    <a:pt x="225265" y="2462975"/>
                  </a:lnTo>
                  <a:lnTo>
                    <a:pt x="220313" y="2467928"/>
                  </a:lnTo>
                  <a:lnTo>
                    <a:pt x="223933" y="2471547"/>
                  </a:lnTo>
                  <a:lnTo>
                    <a:pt x="218359" y="2477120"/>
                  </a:lnTo>
                  <a:lnTo>
                    <a:pt x="221360" y="2480120"/>
                  </a:lnTo>
                  <a:cubicBezTo>
                    <a:pt x="221360" y="2483549"/>
                    <a:pt x="218598" y="2486311"/>
                    <a:pt x="215169" y="2486311"/>
                  </a:cubicBezTo>
                  <a:cubicBezTo>
                    <a:pt x="211740" y="2486311"/>
                    <a:pt x="208978" y="2483549"/>
                    <a:pt x="208978" y="2480120"/>
                  </a:cubicBezTo>
                  <a:lnTo>
                    <a:pt x="214550" y="2474548"/>
                  </a:lnTo>
                  <a:lnTo>
                    <a:pt x="211550" y="2471547"/>
                  </a:lnTo>
                  <a:lnTo>
                    <a:pt x="216502" y="2466595"/>
                  </a:lnTo>
                  <a:lnTo>
                    <a:pt x="212883" y="2462975"/>
                  </a:lnTo>
                  <a:lnTo>
                    <a:pt x="217455" y="2458403"/>
                  </a:lnTo>
                  <a:lnTo>
                    <a:pt x="213264" y="2454212"/>
                  </a:lnTo>
                  <a:lnTo>
                    <a:pt x="218074" y="2449402"/>
                  </a:lnTo>
                  <a:lnTo>
                    <a:pt x="213359" y="2444687"/>
                  </a:lnTo>
                  <a:lnTo>
                    <a:pt x="218931" y="2439115"/>
                  </a:lnTo>
                  <a:lnTo>
                    <a:pt x="213741" y="2433923"/>
                  </a:lnTo>
                  <a:cubicBezTo>
                    <a:pt x="213741" y="2430494"/>
                    <a:pt x="216503" y="2427732"/>
                    <a:pt x="219932" y="2427732"/>
                  </a:cubicBezTo>
                  <a:close/>
                  <a:moveTo>
                    <a:pt x="273176" y="2426970"/>
                  </a:moveTo>
                  <a:cubicBezTo>
                    <a:pt x="276605" y="2426970"/>
                    <a:pt x="279367" y="2429732"/>
                    <a:pt x="279367" y="2433161"/>
                  </a:cubicBezTo>
                  <a:cubicBezTo>
                    <a:pt x="279367" y="2436590"/>
                    <a:pt x="276605" y="2439353"/>
                    <a:pt x="273176" y="2439353"/>
                  </a:cubicBezTo>
                  <a:cubicBezTo>
                    <a:pt x="269747" y="2439353"/>
                    <a:pt x="266985" y="2436590"/>
                    <a:pt x="266985" y="2433161"/>
                  </a:cubicBezTo>
                  <a:cubicBezTo>
                    <a:pt x="266985" y="2429732"/>
                    <a:pt x="269747" y="2426970"/>
                    <a:pt x="273176" y="2426970"/>
                  </a:cubicBezTo>
                  <a:close/>
                  <a:moveTo>
                    <a:pt x="2839211" y="2425542"/>
                  </a:moveTo>
                  <a:cubicBezTo>
                    <a:pt x="2842631" y="2425542"/>
                    <a:pt x="2845403" y="2428314"/>
                    <a:pt x="2845403" y="2431733"/>
                  </a:cubicBezTo>
                  <a:cubicBezTo>
                    <a:pt x="2845403" y="2435152"/>
                    <a:pt x="2842631" y="2437924"/>
                    <a:pt x="2839211" y="2437924"/>
                  </a:cubicBezTo>
                  <a:cubicBezTo>
                    <a:pt x="2835792" y="2437924"/>
                    <a:pt x="2833020" y="2435152"/>
                    <a:pt x="2833020" y="2431733"/>
                  </a:cubicBezTo>
                  <a:cubicBezTo>
                    <a:pt x="2833020" y="2428314"/>
                    <a:pt x="2835792" y="2425542"/>
                    <a:pt x="2839211" y="2425542"/>
                  </a:cubicBezTo>
                  <a:close/>
                  <a:moveTo>
                    <a:pt x="3144964" y="2425256"/>
                  </a:moveTo>
                  <a:cubicBezTo>
                    <a:pt x="3148393" y="2425256"/>
                    <a:pt x="3151155" y="2428018"/>
                    <a:pt x="3151155" y="2431447"/>
                  </a:cubicBezTo>
                  <a:cubicBezTo>
                    <a:pt x="3151155" y="2434876"/>
                    <a:pt x="3148393" y="2437639"/>
                    <a:pt x="3144964" y="2437639"/>
                  </a:cubicBezTo>
                  <a:cubicBezTo>
                    <a:pt x="3141535" y="2437639"/>
                    <a:pt x="3138773" y="2434876"/>
                    <a:pt x="3138773" y="2431447"/>
                  </a:cubicBezTo>
                  <a:cubicBezTo>
                    <a:pt x="3138773" y="2428018"/>
                    <a:pt x="3141535" y="2425256"/>
                    <a:pt x="3144964" y="2425256"/>
                  </a:cubicBezTo>
                  <a:close/>
                  <a:moveTo>
                    <a:pt x="381666" y="2425161"/>
                  </a:moveTo>
                  <a:cubicBezTo>
                    <a:pt x="385095" y="2425161"/>
                    <a:pt x="387858" y="2427923"/>
                    <a:pt x="387858" y="2431352"/>
                  </a:cubicBezTo>
                  <a:cubicBezTo>
                    <a:pt x="387858" y="2434781"/>
                    <a:pt x="385095" y="2437543"/>
                    <a:pt x="381666" y="2437543"/>
                  </a:cubicBezTo>
                  <a:cubicBezTo>
                    <a:pt x="378237" y="2437543"/>
                    <a:pt x="375475" y="2434781"/>
                    <a:pt x="375475" y="2431352"/>
                  </a:cubicBezTo>
                  <a:cubicBezTo>
                    <a:pt x="375475" y="2427923"/>
                    <a:pt x="378237" y="2425161"/>
                    <a:pt x="381666" y="2425161"/>
                  </a:cubicBezTo>
                  <a:close/>
                  <a:moveTo>
                    <a:pt x="3103721" y="2425065"/>
                  </a:moveTo>
                  <a:cubicBezTo>
                    <a:pt x="3107150" y="2425065"/>
                    <a:pt x="3109912" y="2427827"/>
                    <a:pt x="3109912" y="2431256"/>
                  </a:cubicBezTo>
                  <a:cubicBezTo>
                    <a:pt x="3109912" y="2434685"/>
                    <a:pt x="3107150" y="2437448"/>
                    <a:pt x="3103721" y="2437448"/>
                  </a:cubicBezTo>
                  <a:cubicBezTo>
                    <a:pt x="3100292" y="2437448"/>
                    <a:pt x="3097530" y="2434685"/>
                    <a:pt x="3097530" y="2431256"/>
                  </a:cubicBezTo>
                  <a:cubicBezTo>
                    <a:pt x="3097530" y="2427827"/>
                    <a:pt x="3100292" y="2425065"/>
                    <a:pt x="3103721" y="2425065"/>
                  </a:cubicBezTo>
                  <a:close/>
                  <a:moveTo>
                    <a:pt x="1006601" y="2423637"/>
                  </a:moveTo>
                  <a:cubicBezTo>
                    <a:pt x="1010030" y="2423637"/>
                    <a:pt x="1012793" y="2426399"/>
                    <a:pt x="1012793" y="2429828"/>
                  </a:cubicBezTo>
                  <a:cubicBezTo>
                    <a:pt x="1012793" y="2433257"/>
                    <a:pt x="1010030" y="2436020"/>
                    <a:pt x="1006601" y="2436020"/>
                  </a:cubicBezTo>
                  <a:cubicBezTo>
                    <a:pt x="1003172" y="2436020"/>
                    <a:pt x="1000410" y="2433257"/>
                    <a:pt x="1000410" y="2429828"/>
                  </a:cubicBezTo>
                  <a:cubicBezTo>
                    <a:pt x="1000410" y="2426399"/>
                    <a:pt x="1003172" y="2423637"/>
                    <a:pt x="1006601" y="2423637"/>
                  </a:cubicBezTo>
                  <a:close/>
                  <a:moveTo>
                    <a:pt x="3161442" y="2422875"/>
                  </a:moveTo>
                  <a:cubicBezTo>
                    <a:pt x="3164871" y="2422875"/>
                    <a:pt x="3167633" y="2425637"/>
                    <a:pt x="3167633" y="2429066"/>
                  </a:cubicBezTo>
                  <a:cubicBezTo>
                    <a:pt x="3167633" y="2432495"/>
                    <a:pt x="3164871" y="2435258"/>
                    <a:pt x="3161442" y="2435258"/>
                  </a:cubicBezTo>
                  <a:cubicBezTo>
                    <a:pt x="3158013" y="2435258"/>
                    <a:pt x="3155251" y="2432495"/>
                    <a:pt x="3155251" y="2429066"/>
                  </a:cubicBezTo>
                  <a:cubicBezTo>
                    <a:pt x="3155251" y="2425637"/>
                    <a:pt x="3158013" y="2422875"/>
                    <a:pt x="3161442" y="2422875"/>
                  </a:cubicBezTo>
                  <a:close/>
                  <a:moveTo>
                    <a:pt x="242220" y="2422112"/>
                  </a:moveTo>
                  <a:cubicBezTo>
                    <a:pt x="245649" y="2422112"/>
                    <a:pt x="248411" y="2424874"/>
                    <a:pt x="248411" y="2428303"/>
                  </a:cubicBezTo>
                  <a:cubicBezTo>
                    <a:pt x="248411" y="2431732"/>
                    <a:pt x="245649" y="2434495"/>
                    <a:pt x="242220" y="2434495"/>
                  </a:cubicBezTo>
                  <a:cubicBezTo>
                    <a:pt x="238791" y="2434495"/>
                    <a:pt x="236029" y="2431732"/>
                    <a:pt x="236029" y="2428303"/>
                  </a:cubicBezTo>
                  <a:cubicBezTo>
                    <a:pt x="236029" y="2424874"/>
                    <a:pt x="238791" y="2422112"/>
                    <a:pt x="242220" y="2422112"/>
                  </a:cubicBezTo>
                  <a:close/>
                  <a:moveTo>
                    <a:pt x="181641" y="2419065"/>
                  </a:moveTo>
                  <a:cubicBezTo>
                    <a:pt x="184693" y="2419065"/>
                    <a:pt x="187166" y="2421538"/>
                    <a:pt x="187166" y="2424589"/>
                  </a:cubicBezTo>
                  <a:cubicBezTo>
                    <a:pt x="187166" y="2427641"/>
                    <a:pt x="184693" y="2430114"/>
                    <a:pt x="181641" y="2430114"/>
                  </a:cubicBezTo>
                  <a:cubicBezTo>
                    <a:pt x="178590" y="2430114"/>
                    <a:pt x="176117" y="2427641"/>
                    <a:pt x="176117" y="2424589"/>
                  </a:cubicBezTo>
                  <a:cubicBezTo>
                    <a:pt x="176117" y="2421538"/>
                    <a:pt x="178590" y="2419065"/>
                    <a:pt x="181641" y="2419065"/>
                  </a:cubicBezTo>
                  <a:close/>
                  <a:moveTo>
                    <a:pt x="652652" y="2417541"/>
                  </a:moveTo>
                  <a:cubicBezTo>
                    <a:pt x="656072" y="2417541"/>
                    <a:pt x="658843" y="2420313"/>
                    <a:pt x="658843" y="2423732"/>
                  </a:cubicBezTo>
                  <a:cubicBezTo>
                    <a:pt x="658843" y="2427151"/>
                    <a:pt x="656072" y="2429923"/>
                    <a:pt x="652652" y="2429923"/>
                  </a:cubicBezTo>
                  <a:cubicBezTo>
                    <a:pt x="649233" y="2429923"/>
                    <a:pt x="646461" y="2427151"/>
                    <a:pt x="646461" y="2423732"/>
                  </a:cubicBezTo>
                  <a:cubicBezTo>
                    <a:pt x="646461" y="2420313"/>
                    <a:pt x="649233" y="2417541"/>
                    <a:pt x="652652" y="2417541"/>
                  </a:cubicBezTo>
                  <a:close/>
                  <a:moveTo>
                    <a:pt x="3119532" y="2417159"/>
                  </a:moveTo>
                  <a:cubicBezTo>
                    <a:pt x="3122961" y="2417159"/>
                    <a:pt x="3125724" y="2419921"/>
                    <a:pt x="3125724" y="2423350"/>
                  </a:cubicBezTo>
                  <a:lnTo>
                    <a:pt x="3120151" y="2428923"/>
                  </a:lnTo>
                  <a:lnTo>
                    <a:pt x="3125628" y="2434399"/>
                  </a:lnTo>
                  <a:lnTo>
                    <a:pt x="3120627" y="2439401"/>
                  </a:lnTo>
                  <a:lnTo>
                    <a:pt x="3125533" y="2444306"/>
                  </a:lnTo>
                  <a:lnTo>
                    <a:pt x="3121056" y="2448783"/>
                  </a:lnTo>
                  <a:lnTo>
                    <a:pt x="3125819" y="2453545"/>
                  </a:lnTo>
                  <a:lnTo>
                    <a:pt x="3121961" y="2457403"/>
                  </a:lnTo>
                  <a:lnTo>
                    <a:pt x="3127152" y="2462594"/>
                  </a:lnTo>
                  <a:lnTo>
                    <a:pt x="3124009" y="2465737"/>
                  </a:lnTo>
                  <a:lnTo>
                    <a:pt x="3130009" y="2471737"/>
                  </a:lnTo>
                  <a:cubicBezTo>
                    <a:pt x="3130009" y="2475166"/>
                    <a:pt x="3127247" y="2477929"/>
                    <a:pt x="3123818" y="2477929"/>
                  </a:cubicBezTo>
                  <a:cubicBezTo>
                    <a:pt x="3120389" y="2477929"/>
                    <a:pt x="3117627" y="2475166"/>
                    <a:pt x="3117627" y="2471737"/>
                  </a:cubicBezTo>
                  <a:lnTo>
                    <a:pt x="3120770" y="2468594"/>
                  </a:lnTo>
                  <a:lnTo>
                    <a:pt x="3114770" y="2462594"/>
                  </a:lnTo>
                  <a:lnTo>
                    <a:pt x="3118627" y="2458737"/>
                  </a:lnTo>
                  <a:lnTo>
                    <a:pt x="3113436" y="2453545"/>
                  </a:lnTo>
                  <a:lnTo>
                    <a:pt x="3117912" y="2449069"/>
                  </a:lnTo>
                  <a:lnTo>
                    <a:pt x="3113150" y="2444306"/>
                  </a:lnTo>
                  <a:lnTo>
                    <a:pt x="3118151" y="2439305"/>
                  </a:lnTo>
                  <a:lnTo>
                    <a:pt x="3113246" y="2434399"/>
                  </a:lnTo>
                  <a:lnTo>
                    <a:pt x="3118818" y="2428828"/>
                  </a:lnTo>
                  <a:lnTo>
                    <a:pt x="3113341" y="2423350"/>
                  </a:lnTo>
                  <a:cubicBezTo>
                    <a:pt x="3113341" y="2419921"/>
                    <a:pt x="3116103" y="2417159"/>
                    <a:pt x="3119532" y="2417159"/>
                  </a:cubicBezTo>
                  <a:close/>
                  <a:moveTo>
                    <a:pt x="3030092" y="2416207"/>
                  </a:moveTo>
                  <a:cubicBezTo>
                    <a:pt x="3033521" y="2416207"/>
                    <a:pt x="3036283" y="2418969"/>
                    <a:pt x="3036283" y="2422398"/>
                  </a:cubicBezTo>
                  <a:cubicBezTo>
                    <a:pt x="3036283" y="2425827"/>
                    <a:pt x="3033521" y="2428590"/>
                    <a:pt x="3030092" y="2428590"/>
                  </a:cubicBezTo>
                  <a:cubicBezTo>
                    <a:pt x="3026663" y="2428590"/>
                    <a:pt x="3023901" y="2425827"/>
                    <a:pt x="3023901" y="2422398"/>
                  </a:cubicBezTo>
                  <a:cubicBezTo>
                    <a:pt x="3023901" y="2418969"/>
                    <a:pt x="3026663" y="2416207"/>
                    <a:pt x="3030092" y="2416207"/>
                  </a:cubicBezTo>
                  <a:close/>
                  <a:moveTo>
                    <a:pt x="221265" y="2415350"/>
                  </a:moveTo>
                  <a:cubicBezTo>
                    <a:pt x="224694" y="2415350"/>
                    <a:pt x="227456" y="2418112"/>
                    <a:pt x="227456" y="2421541"/>
                  </a:cubicBezTo>
                  <a:cubicBezTo>
                    <a:pt x="227456" y="2424970"/>
                    <a:pt x="224694" y="2427732"/>
                    <a:pt x="221265" y="2427732"/>
                  </a:cubicBezTo>
                  <a:cubicBezTo>
                    <a:pt x="217836" y="2427732"/>
                    <a:pt x="215074" y="2424970"/>
                    <a:pt x="215074" y="2421541"/>
                  </a:cubicBezTo>
                  <a:cubicBezTo>
                    <a:pt x="215074" y="2418112"/>
                    <a:pt x="217836" y="2415350"/>
                    <a:pt x="221265" y="2415350"/>
                  </a:cubicBezTo>
                  <a:close/>
                  <a:moveTo>
                    <a:pt x="3071431" y="2414969"/>
                  </a:moveTo>
                  <a:cubicBezTo>
                    <a:pt x="3074860" y="2414969"/>
                    <a:pt x="3077622" y="2417731"/>
                    <a:pt x="3077622" y="2421160"/>
                  </a:cubicBezTo>
                  <a:cubicBezTo>
                    <a:pt x="3077622" y="2424589"/>
                    <a:pt x="3074860" y="2427352"/>
                    <a:pt x="3071431" y="2427352"/>
                  </a:cubicBezTo>
                  <a:cubicBezTo>
                    <a:pt x="3068002" y="2427352"/>
                    <a:pt x="3065240" y="2424589"/>
                    <a:pt x="3065240" y="2421160"/>
                  </a:cubicBezTo>
                  <a:cubicBezTo>
                    <a:pt x="3065240" y="2417731"/>
                    <a:pt x="3068002" y="2414969"/>
                    <a:pt x="3071431" y="2414969"/>
                  </a:cubicBezTo>
                  <a:close/>
                  <a:moveTo>
                    <a:pt x="469296" y="2414778"/>
                  </a:moveTo>
                  <a:cubicBezTo>
                    <a:pt x="472725" y="2414778"/>
                    <a:pt x="475487" y="2417540"/>
                    <a:pt x="475487" y="2420969"/>
                  </a:cubicBezTo>
                  <a:cubicBezTo>
                    <a:pt x="475487" y="2424398"/>
                    <a:pt x="472725" y="2427161"/>
                    <a:pt x="469296" y="2427161"/>
                  </a:cubicBezTo>
                  <a:cubicBezTo>
                    <a:pt x="465867" y="2427161"/>
                    <a:pt x="463105" y="2424398"/>
                    <a:pt x="463105" y="2420969"/>
                  </a:cubicBezTo>
                  <a:cubicBezTo>
                    <a:pt x="463105" y="2417540"/>
                    <a:pt x="465867" y="2414778"/>
                    <a:pt x="469296" y="2414778"/>
                  </a:cubicBezTo>
                  <a:close/>
                  <a:moveTo>
                    <a:pt x="2377439" y="2413445"/>
                  </a:moveTo>
                  <a:cubicBezTo>
                    <a:pt x="2380868" y="2413445"/>
                    <a:pt x="2383631" y="2416207"/>
                    <a:pt x="2383631" y="2419636"/>
                  </a:cubicBezTo>
                  <a:cubicBezTo>
                    <a:pt x="2383631" y="2423065"/>
                    <a:pt x="2380868" y="2425828"/>
                    <a:pt x="2377439" y="2425828"/>
                  </a:cubicBezTo>
                  <a:cubicBezTo>
                    <a:pt x="2374010" y="2425828"/>
                    <a:pt x="2371248" y="2423065"/>
                    <a:pt x="2371248" y="2419636"/>
                  </a:cubicBezTo>
                  <a:cubicBezTo>
                    <a:pt x="2371248" y="2416207"/>
                    <a:pt x="2374010" y="2413445"/>
                    <a:pt x="2377439" y="2413445"/>
                  </a:cubicBezTo>
                  <a:close/>
                  <a:moveTo>
                    <a:pt x="2970942" y="2412683"/>
                  </a:moveTo>
                  <a:cubicBezTo>
                    <a:pt x="2974371" y="2412683"/>
                    <a:pt x="2977133" y="2415445"/>
                    <a:pt x="2977133" y="2418874"/>
                  </a:cubicBezTo>
                  <a:cubicBezTo>
                    <a:pt x="2977133" y="2422303"/>
                    <a:pt x="2974371" y="2425066"/>
                    <a:pt x="2970942" y="2425066"/>
                  </a:cubicBezTo>
                  <a:cubicBezTo>
                    <a:pt x="2967513" y="2425066"/>
                    <a:pt x="2964751" y="2422303"/>
                    <a:pt x="2964751" y="2418874"/>
                  </a:cubicBezTo>
                  <a:cubicBezTo>
                    <a:pt x="2964751" y="2415445"/>
                    <a:pt x="2967513" y="2412683"/>
                    <a:pt x="2970942" y="2412683"/>
                  </a:cubicBezTo>
                  <a:close/>
                  <a:moveTo>
                    <a:pt x="3156775" y="2410778"/>
                  </a:moveTo>
                  <a:cubicBezTo>
                    <a:pt x="3160204" y="2410778"/>
                    <a:pt x="3162967" y="2413540"/>
                    <a:pt x="3162967" y="2416969"/>
                  </a:cubicBezTo>
                  <a:cubicBezTo>
                    <a:pt x="3162967" y="2420398"/>
                    <a:pt x="3160204" y="2423161"/>
                    <a:pt x="3156775" y="2423161"/>
                  </a:cubicBezTo>
                  <a:cubicBezTo>
                    <a:pt x="3153346" y="2423161"/>
                    <a:pt x="3150584" y="2420398"/>
                    <a:pt x="3150584" y="2416969"/>
                  </a:cubicBezTo>
                  <a:cubicBezTo>
                    <a:pt x="3150584" y="2413540"/>
                    <a:pt x="3153346" y="2410778"/>
                    <a:pt x="3156775" y="2410778"/>
                  </a:cubicBezTo>
                  <a:close/>
                  <a:moveTo>
                    <a:pt x="3099720" y="2410492"/>
                  </a:moveTo>
                  <a:cubicBezTo>
                    <a:pt x="3103149" y="2410492"/>
                    <a:pt x="3105911" y="2413254"/>
                    <a:pt x="3105911" y="2416683"/>
                  </a:cubicBezTo>
                  <a:cubicBezTo>
                    <a:pt x="3105911" y="2420112"/>
                    <a:pt x="3103149" y="2422875"/>
                    <a:pt x="3099720" y="2422875"/>
                  </a:cubicBezTo>
                  <a:cubicBezTo>
                    <a:pt x="3096291" y="2422875"/>
                    <a:pt x="3093529" y="2420112"/>
                    <a:pt x="3093529" y="2416683"/>
                  </a:cubicBezTo>
                  <a:cubicBezTo>
                    <a:pt x="3093529" y="2413254"/>
                    <a:pt x="3096291" y="2410492"/>
                    <a:pt x="3099720" y="2410492"/>
                  </a:cubicBezTo>
                  <a:close/>
                  <a:moveTo>
                    <a:pt x="169926" y="2410302"/>
                  </a:moveTo>
                  <a:cubicBezTo>
                    <a:pt x="170031" y="2410302"/>
                    <a:pt x="170116" y="2410387"/>
                    <a:pt x="170116" y="2410492"/>
                  </a:cubicBezTo>
                  <a:cubicBezTo>
                    <a:pt x="170116" y="2410598"/>
                    <a:pt x="170031" y="2410683"/>
                    <a:pt x="169926" y="2410683"/>
                  </a:cubicBezTo>
                  <a:cubicBezTo>
                    <a:pt x="169820" y="2410683"/>
                    <a:pt x="169735" y="2410598"/>
                    <a:pt x="169735" y="2410492"/>
                  </a:cubicBezTo>
                  <a:cubicBezTo>
                    <a:pt x="169735" y="2410387"/>
                    <a:pt x="169820" y="2410302"/>
                    <a:pt x="169926" y="2410302"/>
                  </a:cubicBezTo>
                  <a:close/>
                  <a:moveTo>
                    <a:pt x="3174206" y="2410111"/>
                  </a:moveTo>
                  <a:cubicBezTo>
                    <a:pt x="3177635" y="2410111"/>
                    <a:pt x="3180397" y="2412873"/>
                    <a:pt x="3180397" y="2416302"/>
                  </a:cubicBezTo>
                  <a:cubicBezTo>
                    <a:pt x="3180397" y="2419731"/>
                    <a:pt x="3177635" y="2422494"/>
                    <a:pt x="3174206" y="2422494"/>
                  </a:cubicBezTo>
                  <a:cubicBezTo>
                    <a:pt x="3170777" y="2422494"/>
                    <a:pt x="3168015" y="2419731"/>
                    <a:pt x="3168015" y="2416302"/>
                  </a:cubicBezTo>
                  <a:cubicBezTo>
                    <a:pt x="3168015" y="2412873"/>
                    <a:pt x="3170777" y="2410111"/>
                    <a:pt x="3174206" y="2410111"/>
                  </a:cubicBezTo>
                  <a:close/>
                  <a:moveTo>
                    <a:pt x="3131533" y="2409635"/>
                  </a:moveTo>
                  <a:cubicBezTo>
                    <a:pt x="3134962" y="2409635"/>
                    <a:pt x="3137725" y="2412397"/>
                    <a:pt x="3137725" y="2415826"/>
                  </a:cubicBezTo>
                  <a:lnTo>
                    <a:pt x="3132200" y="2421351"/>
                  </a:lnTo>
                  <a:lnTo>
                    <a:pt x="3137344" y="2426494"/>
                  </a:lnTo>
                  <a:lnTo>
                    <a:pt x="3132391" y="2431448"/>
                  </a:lnTo>
                  <a:lnTo>
                    <a:pt x="3137630" y="2436686"/>
                  </a:lnTo>
                  <a:lnTo>
                    <a:pt x="3133438" y="2440877"/>
                  </a:lnTo>
                  <a:lnTo>
                    <a:pt x="3139248" y="2446687"/>
                  </a:lnTo>
                  <a:cubicBezTo>
                    <a:pt x="3139248" y="2450116"/>
                    <a:pt x="3136486" y="2452879"/>
                    <a:pt x="3133057" y="2452879"/>
                  </a:cubicBezTo>
                  <a:cubicBezTo>
                    <a:pt x="3129628" y="2452879"/>
                    <a:pt x="3126866" y="2450116"/>
                    <a:pt x="3126866" y="2446687"/>
                  </a:cubicBezTo>
                  <a:lnTo>
                    <a:pt x="3131057" y="2442496"/>
                  </a:lnTo>
                  <a:lnTo>
                    <a:pt x="3125247" y="2436686"/>
                  </a:lnTo>
                  <a:lnTo>
                    <a:pt x="3130200" y="2431734"/>
                  </a:lnTo>
                  <a:lnTo>
                    <a:pt x="3124961" y="2426494"/>
                  </a:lnTo>
                  <a:lnTo>
                    <a:pt x="3130485" y="2420970"/>
                  </a:lnTo>
                  <a:lnTo>
                    <a:pt x="3125342" y="2415826"/>
                  </a:lnTo>
                  <a:cubicBezTo>
                    <a:pt x="3125342" y="2412397"/>
                    <a:pt x="3128104" y="2409635"/>
                    <a:pt x="3131533" y="2409635"/>
                  </a:cubicBezTo>
                  <a:close/>
                  <a:moveTo>
                    <a:pt x="206597" y="2408111"/>
                  </a:moveTo>
                  <a:cubicBezTo>
                    <a:pt x="210026" y="2408111"/>
                    <a:pt x="212788" y="2410873"/>
                    <a:pt x="212788" y="2414302"/>
                  </a:cubicBezTo>
                  <a:lnTo>
                    <a:pt x="207311" y="2419780"/>
                  </a:lnTo>
                  <a:lnTo>
                    <a:pt x="213168" y="2425637"/>
                  </a:lnTo>
                  <a:lnTo>
                    <a:pt x="208168" y="2430638"/>
                  </a:lnTo>
                  <a:lnTo>
                    <a:pt x="213454" y="2435924"/>
                  </a:lnTo>
                  <a:lnTo>
                    <a:pt x="208454" y="2440925"/>
                  </a:lnTo>
                  <a:lnTo>
                    <a:pt x="213168" y="2445639"/>
                  </a:lnTo>
                  <a:lnTo>
                    <a:pt x="207739" y="2451068"/>
                  </a:lnTo>
                  <a:lnTo>
                    <a:pt x="211740" y="2455069"/>
                  </a:lnTo>
                  <a:cubicBezTo>
                    <a:pt x="211740" y="2458498"/>
                    <a:pt x="208978" y="2461261"/>
                    <a:pt x="205549" y="2461261"/>
                  </a:cubicBezTo>
                  <a:cubicBezTo>
                    <a:pt x="202120" y="2461261"/>
                    <a:pt x="199358" y="2458498"/>
                    <a:pt x="199358" y="2455069"/>
                  </a:cubicBezTo>
                  <a:lnTo>
                    <a:pt x="204787" y="2449640"/>
                  </a:lnTo>
                  <a:lnTo>
                    <a:pt x="200786" y="2445639"/>
                  </a:lnTo>
                  <a:lnTo>
                    <a:pt x="205786" y="2440639"/>
                  </a:lnTo>
                  <a:lnTo>
                    <a:pt x="201072" y="2435924"/>
                  </a:lnTo>
                  <a:lnTo>
                    <a:pt x="206072" y="2430924"/>
                  </a:lnTo>
                  <a:lnTo>
                    <a:pt x="200786" y="2425637"/>
                  </a:lnTo>
                  <a:lnTo>
                    <a:pt x="206263" y="2420160"/>
                  </a:lnTo>
                  <a:lnTo>
                    <a:pt x="200406" y="2414302"/>
                  </a:lnTo>
                  <a:cubicBezTo>
                    <a:pt x="200406" y="2410873"/>
                    <a:pt x="203168" y="2408111"/>
                    <a:pt x="206597" y="2408111"/>
                  </a:cubicBezTo>
                  <a:close/>
                  <a:moveTo>
                    <a:pt x="288988" y="2405634"/>
                  </a:moveTo>
                  <a:cubicBezTo>
                    <a:pt x="292417" y="2405634"/>
                    <a:pt x="295179" y="2408396"/>
                    <a:pt x="295179" y="2411825"/>
                  </a:cubicBezTo>
                  <a:cubicBezTo>
                    <a:pt x="295179" y="2415254"/>
                    <a:pt x="292417" y="2418017"/>
                    <a:pt x="288988" y="2418017"/>
                  </a:cubicBezTo>
                  <a:cubicBezTo>
                    <a:pt x="285559" y="2418017"/>
                    <a:pt x="282797" y="2415254"/>
                    <a:pt x="282797" y="2411825"/>
                  </a:cubicBezTo>
                  <a:cubicBezTo>
                    <a:pt x="282797" y="2408396"/>
                    <a:pt x="285559" y="2405634"/>
                    <a:pt x="288988" y="2405634"/>
                  </a:cubicBezTo>
                  <a:close/>
                  <a:moveTo>
                    <a:pt x="2715386" y="2405539"/>
                  </a:moveTo>
                  <a:cubicBezTo>
                    <a:pt x="2718815" y="2405539"/>
                    <a:pt x="2721578" y="2408301"/>
                    <a:pt x="2721578" y="2411730"/>
                  </a:cubicBezTo>
                  <a:cubicBezTo>
                    <a:pt x="2721578" y="2415159"/>
                    <a:pt x="2718815" y="2417922"/>
                    <a:pt x="2715386" y="2417922"/>
                  </a:cubicBezTo>
                  <a:cubicBezTo>
                    <a:pt x="2711957" y="2417922"/>
                    <a:pt x="2709195" y="2415159"/>
                    <a:pt x="2709195" y="2411730"/>
                  </a:cubicBezTo>
                  <a:cubicBezTo>
                    <a:pt x="2709195" y="2408301"/>
                    <a:pt x="2711957" y="2405539"/>
                    <a:pt x="2715386" y="2405539"/>
                  </a:cubicBezTo>
                  <a:close/>
                  <a:moveTo>
                    <a:pt x="250507" y="2404587"/>
                  </a:moveTo>
                  <a:cubicBezTo>
                    <a:pt x="253936" y="2404587"/>
                    <a:pt x="256699" y="2407349"/>
                    <a:pt x="256699" y="2410778"/>
                  </a:cubicBezTo>
                  <a:cubicBezTo>
                    <a:pt x="256699" y="2414207"/>
                    <a:pt x="253936" y="2416970"/>
                    <a:pt x="250507" y="2416970"/>
                  </a:cubicBezTo>
                  <a:cubicBezTo>
                    <a:pt x="247078" y="2416970"/>
                    <a:pt x="244316" y="2414207"/>
                    <a:pt x="244316" y="2410778"/>
                  </a:cubicBezTo>
                  <a:cubicBezTo>
                    <a:pt x="244316" y="2407349"/>
                    <a:pt x="247078" y="2404587"/>
                    <a:pt x="250507" y="2404587"/>
                  </a:cubicBezTo>
                  <a:close/>
                  <a:moveTo>
                    <a:pt x="3118770" y="2404396"/>
                  </a:moveTo>
                  <a:cubicBezTo>
                    <a:pt x="3122199" y="2404396"/>
                    <a:pt x="3124961" y="2407158"/>
                    <a:pt x="3124961" y="2410587"/>
                  </a:cubicBezTo>
                  <a:cubicBezTo>
                    <a:pt x="3124961" y="2414016"/>
                    <a:pt x="3122199" y="2416779"/>
                    <a:pt x="3118770" y="2416779"/>
                  </a:cubicBezTo>
                  <a:cubicBezTo>
                    <a:pt x="3115341" y="2416779"/>
                    <a:pt x="3112579" y="2414016"/>
                    <a:pt x="3112579" y="2410587"/>
                  </a:cubicBezTo>
                  <a:cubicBezTo>
                    <a:pt x="3112579" y="2407158"/>
                    <a:pt x="3115341" y="2404396"/>
                    <a:pt x="3118770" y="2404396"/>
                  </a:cubicBezTo>
                  <a:close/>
                  <a:moveTo>
                    <a:pt x="911256" y="2404396"/>
                  </a:moveTo>
                  <a:cubicBezTo>
                    <a:pt x="914685" y="2404396"/>
                    <a:pt x="917448" y="2407158"/>
                    <a:pt x="917448" y="2410587"/>
                  </a:cubicBezTo>
                  <a:cubicBezTo>
                    <a:pt x="917448" y="2414016"/>
                    <a:pt x="914685" y="2416779"/>
                    <a:pt x="911256" y="2416779"/>
                  </a:cubicBezTo>
                  <a:cubicBezTo>
                    <a:pt x="907827" y="2416779"/>
                    <a:pt x="905065" y="2414016"/>
                    <a:pt x="905065" y="2410587"/>
                  </a:cubicBezTo>
                  <a:cubicBezTo>
                    <a:pt x="905065" y="2407158"/>
                    <a:pt x="907827" y="2404396"/>
                    <a:pt x="911256" y="2404396"/>
                  </a:cubicBezTo>
                  <a:close/>
                  <a:moveTo>
                    <a:pt x="2888932" y="2402396"/>
                  </a:moveTo>
                  <a:cubicBezTo>
                    <a:pt x="2892361" y="2402396"/>
                    <a:pt x="2895124" y="2405158"/>
                    <a:pt x="2895124" y="2408587"/>
                  </a:cubicBezTo>
                  <a:cubicBezTo>
                    <a:pt x="2895124" y="2412016"/>
                    <a:pt x="2892361" y="2414778"/>
                    <a:pt x="2888932" y="2414778"/>
                  </a:cubicBezTo>
                  <a:cubicBezTo>
                    <a:pt x="2885503" y="2414778"/>
                    <a:pt x="2882741" y="2412016"/>
                    <a:pt x="2882741" y="2408587"/>
                  </a:cubicBezTo>
                  <a:cubicBezTo>
                    <a:pt x="2882741" y="2405158"/>
                    <a:pt x="2885503" y="2402396"/>
                    <a:pt x="2888932" y="2402396"/>
                  </a:cubicBezTo>
                  <a:close/>
                  <a:moveTo>
                    <a:pt x="344328" y="2401920"/>
                  </a:moveTo>
                  <a:cubicBezTo>
                    <a:pt x="347757" y="2401920"/>
                    <a:pt x="350519" y="2404682"/>
                    <a:pt x="350519" y="2408111"/>
                  </a:cubicBezTo>
                  <a:cubicBezTo>
                    <a:pt x="350519" y="2411540"/>
                    <a:pt x="347757" y="2414303"/>
                    <a:pt x="344328" y="2414303"/>
                  </a:cubicBezTo>
                  <a:cubicBezTo>
                    <a:pt x="340899" y="2414303"/>
                    <a:pt x="338137" y="2411540"/>
                    <a:pt x="338137" y="2408111"/>
                  </a:cubicBezTo>
                  <a:cubicBezTo>
                    <a:pt x="338137" y="2404682"/>
                    <a:pt x="340899" y="2401920"/>
                    <a:pt x="344328" y="2401920"/>
                  </a:cubicBezTo>
                  <a:close/>
                  <a:moveTo>
                    <a:pt x="195262" y="2401253"/>
                  </a:moveTo>
                  <a:cubicBezTo>
                    <a:pt x="198691" y="2401253"/>
                    <a:pt x="201453" y="2404015"/>
                    <a:pt x="201453" y="2407444"/>
                  </a:cubicBezTo>
                  <a:lnTo>
                    <a:pt x="196167" y="2412731"/>
                  </a:lnTo>
                  <a:lnTo>
                    <a:pt x="201930" y="2418493"/>
                  </a:lnTo>
                  <a:lnTo>
                    <a:pt x="196452" y="2423971"/>
                  </a:lnTo>
                  <a:lnTo>
                    <a:pt x="201548" y="2429066"/>
                  </a:lnTo>
                  <a:lnTo>
                    <a:pt x="195452" y="2435163"/>
                  </a:lnTo>
                  <a:lnTo>
                    <a:pt x="199738" y="2439448"/>
                  </a:lnTo>
                  <a:cubicBezTo>
                    <a:pt x="199738" y="2442877"/>
                    <a:pt x="196976" y="2445640"/>
                    <a:pt x="193547" y="2445640"/>
                  </a:cubicBezTo>
                  <a:cubicBezTo>
                    <a:pt x="190118" y="2445640"/>
                    <a:pt x="187356" y="2442877"/>
                    <a:pt x="187356" y="2439448"/>
                  </a:cubicBezTo>
                  <a:lnTo>
                    <a:pt x="193451" y="2433353"/>
                  </a:lnTo>
                  <a:lnTo>
                    <a:pt x="189166" y="2429066"/>
                  </a:lnTo>
                  <a:lnTo>
                    <a:pt x="194642" y="2423590"/>
                  </a:lnTo>
                  <a:lnTo>
                    <a:pt x="189547" y="2418493"/>
                  </a:lnTo>
                  <a:lnTo>
                    <a:pt x="194833" y="2413207"/>
                  </a:lnTo>
                  <a:lnTo>
                    <a:pt x="189071" y="2407444"/>
                  </a:lnTo>
                  <a:cubicBezTo>
                    <a:pt x="189071" y="2404015"/>
                    <a:pt x="191833" y="2401253"/>
                    <a:pt x="195262" y="2401253"/>
                  </a:cubicBezTo>
                  <a:close/>
                  <a:moveTo>
                    <a:pt x="224408" y="2400681"/>
                  </a:moveTo>
                  <a:cubicBezTo>
                    <a:pt x="227837" y="2400681"/>
                    <a:pt x="230599" y="2403443"/>
                    <a:pt x="230599" y="2406872"/>
                  </a:cubicBezTo>
                  <a:cubicBezTo>
                    <a:pt x="230599" y="2410301"/>
                    <a:pt x="227837" y="2413064"/>
                    <a:pt x="224408" y="2413064"/>
                  </a:cubicBezTo>
                  <a:cubicBezTo>
                    <a:pt x="220979" y="2413064"/>
                    <a:pt x="218217" y="2410301"/>
                    <a:pt x="218217" y="2406872"/>
                  </a:cubicBezTo>
                  <a:cubicBezTo>
                    <a:pt x="218217" y="2403443"/>
                    <a:pt x="220979" y="2400681"/>
                    <a:pt x="224408" y="2400681"/>
                  </a:cubicBezTo>
                  <a:close/>
                  <a:moveTo>
                    <a:pt x="3154203" y="2398967"/>
                  </a:moveTo>
                  <a:cubicBezTo>
                    <a:pt x="3157632" y="2398967"/>
                    <a:pt x="3160394" y="2401729"/>
                    <a:pt x="3160394" y="2405158"/>
                  </a:cubicBezTo>
                  <a:cubicBezTo>
                    <a:pt x="3160394" y="2408587"/>
                    <a:pt x="3157632" y="2411349"/>
                    <a:pt x="3154203" y="2411349"/>
                  </a:cubicBezTo>
                  <a:cubicBezTo>
                    <a:pt x="3150774" y="2411349"/>
                    <a:pt x="3148012" y="2408587"/>
                    <a:pt x="3148012" y="2405158"/>
                  </a:cubicBezTo>
                  <a:cubicBezTo>
                    <a:pt x="3148012" y="2401729"/>
                    <a:pt x="3150774" y="2398967"/>
                    <a:pt x="3154203" y="2398967"/>
                  </a:cubicBezTo>
                  <a:close/>
                  <a:moveTo>
                    <a:pt x="3187065" y="2398491"/>
                  </a:moveTo>
                  <a:cubicBezTo>
                    <a:pt x="3190208" y="2398491"/>
                    <a:pt x="3192780" y="2401063"/>
                    <a:pt x="3192780" y="2404206"/>
                  </a:cubicBezTo>
                  <a:cubicBezTo>
                    <a:pt x="3192780" y="2407349"/>
                    <a:pt x="3190208" y="2409921"/>
                    <a:pt x="3187065" y="2409921"/>
                  </a:cubicBezTo>
                  <a:cubicBezTo>
                    <a:pt x="3183922" y="2409921"/>
                    <a:pt x="3181350" y="2407349"/>
                    <a:pt x="3181350" y="2404206"/>
                  </a:cubicBezTo>
                  <a:cubicBezTo>
                    <a:pt x="3181350" y="2401063"/>
                    <a:pt x="3183922" y="2398491"/>
                    <a:pt x="3187065" y="2398491"/>
                  </a:cubicBezTo>
                  <a:close/>
                  <a:moveTo>
                    <a:pt x="3132200" y="2397824"/>
                  </a:moveTo>
                  <a:cubicBezTo>
                    <a:pt x="3135629" y="2397824"/>
                    <a:pt x="3138391" y="2400586"/>
                    <a:pt x="3138391" y="2404015"/>
                  </a:cubicBezTo>
                  <a:cubicBezTo>
                    <a:pt x="3138391" y="2407444"/>
                    <a:pt x="3135629" y="2410207"/>
                    <a:pt x="3132200" y="2410207"/>
                  </a:cubicBezTo>
                  <a:cubicBezTo>
                    <a:pt x="3128771" y="2410207"/>
                    <a:pt x="3126009" y="2407444"/>
                    <a:pt x="3126009" y="2404015"/>
                  </a:cubicBezTo>
                  <a:cubicBezTo>
                    <a:pt x="3126009" y="2400586"/>
                    <a:pt x="3128771" y="2397824"/>
                    <a:pt x="3132200" y="2397824"/>
                  </a:cubicBezTo>
                  <a:close/>
                  <a:moveTo>
                    <a:pt x="3168586" y="2397157"/>
                  </a:moveTo>
                  <a:cubicBezTo>
                    <a:pt x="3172015" y="2397157"/>
                    <a:pt x="3174777" y="2399919"/>
                    <a:pt x="3174777" y="2403348"/>
                  </a:cubicBezTo>
                  <a:cubicBezTo>
                    <a:pt x="3174777" y="2406777"/>
                    <a:pt x="3172015" y="2409540"/>
                    <a:pt x="3168586" y="2409540"/>
                  </a:cubicBezTo>
                  <a:cubicBezTo>
                    <a:pt x="3165157" y="2409540"/>
                    <a:pt x="3162395" y="2406777"/>
                    <a:pt x="3162395" y="2403348"/>
                  </a:cubicBezTo>
                  <a:cubicBezTo>
                    <a:pt x="3162395" y="2399919"/>
                    <a:pt x="3165157" y="2397157"/>
                    <a:pt x="3168586" y="2397157"/>
                  </a:cubicBezTo>
                  <a:close/>
                  <a:moveTo>
                    <a:pt x="586930" y="2395157"/>
                  </a:moveTo>
                  <a:cubicBezTo>
                    <a:pt x="590359" y="2395157"/>
                    <a:pt x="593121" y="2397919"/>
                    <a:pt x="593121" y="2401348"/>
                  </a:cubicBezTo>
                  <a:cubicBezTo>
                    <a:pt x="593121" y="2404777"/>
                    <a:pt x="590359" y="2407540"/>
                    <a:pt x="586930" y="2407540"/>
                  </a:cubicBezTo>
                  <a:cubicBezTo>
                    <a:pt x="583501" y="2407540"/>
                    <a:pt x="580739" y="2404777"/>
                    <a:pt x="580739" y="2401348"/>
                  </a:cubicBezTo>
                  <a:cubicBezTo>
                    <a:pt x="580739" y="2397919"/>
                    <a:pt x="583501" y="2395157"/>
                    <a:pt x="586930" y="2395157"/>
                  </a:cubicBezTo>
                  <a:close/>
                  <a:moveTo>
                    <a:pt x="206787" y="2395157"/>
                  </a:moveTo>
                  <a:cubicBezTo>
                    <a:pt x="210216" y="2395157"/>
                    <a:pt x="212979" y="2397919"/>
                    <a:pt x="212979" y="2401348"/>
                  </a:cubicBezTo>
                  <a:cubicBezTo>
                    <a:pt x="212979" y="2404777"/>
                    <a:pt x="210216" y="2407540"/>
                    <a:pt x="206787" y="2407540"/>
                  </a:cubicBezTo>
                  <a:cubicBezTo>
                    <a:pt x="203358" y="2407540"/>
                    <a:pt x="200596" y="2404777"/>
                    <a:pt x="200596" y="2401348"/>
                  </a:cubicBezTo>
                  <a:cubicBezTo>
                    <a:pt x="200596" y="2397919"/>
                    <a:pt x="203358" y="2395157"/>
                    <a:pt x="206787" y="2395157"/>
                  </a:cubicBezTo>
                  <a:close/>
                  <a:moveTo>
                    <a:pt x="2469070" y="2393728"/>
                  </a:moveTo>
                  <a:cubicBezTo>
                    <a:pt x="2472499" y="2393728"/>
                    <a:pt x="2475261" y="2396490"/>
                    <a:pt x="2475261" y="2399919"/>
                  </a:cubicBezTo>
                  <a:cubicBezTo>
                    <a:pt x="2475261" y="2403348"/>
                    <a:pt x="2472499" y="2406111"/>
                    <a:pt x="2469070" y="2406111"/>
                  </a:cubicBezTo>
                  <a:cubicBezTo>
                    <a:pt x="2465641" y="2406111"/>
                    <a:pt x="2462879" y="2403348"/>
                    <a:pt x="2462879" y="2399919"/>
                  </a:cubicBezTo>
                  <a:cubicBezTo>
                    <a:pt x="2462879" y="2396490"/>
                    <a:pt x="2465641" y="2393728"/>
                    <a:pt x="2469070" y="2393728"/>
                  </a:cubicBezTo>
                  <a:close/>
                  <a:moveTo>
                    <a:pt x="3057524" y="2393537"/>
                  </a:moveTo>
                  <a:cubicBezTo>
                    <a:pt x="3060953" y="2393537"/>
                    <a:pt x="3063715" y="2396299"/>
                    <a:pt x="3063715" y="2399728"/>
                  </a:cubicBezTo>
                  <a:cubicBezTo>
                    <a:pt x="3063715" y="2403157"/>
                    <a:pt x="3060953" y="2405920"/>
                    <a:pt x="3057524" y="2405920"/>
                  </a:cubicBezTo>
                  <a:cubicBezTo>
                    <a:pt x="3054095" y="2405920"/>
                    <a:pt x="3051333" y="2403157"/>
                    <a:pt x="3051333" y="2399728"/>
                  </a:cubicBezTo>
                  <a:cubicBezTo>
                    <a:pt x="3051333" y="2396299"/>
                    <a:pt x="3054095" y="2393537"/>
                    <a:pt x="3057524" y="2393537"/>
                  </a:cubicBezTo>
                  <a:close/>
                  <a:moveTo>
                    <a:pt x="3092767" y="2392966"/>
                  </a:moveTo>
                  <a:cubicBezTo>
                    <a:pt x="3096196" y="2392966"/>
                    <a:pt x="3098959" y="2395728"/>
                    <a:pt x="3098959" y="2399157"/>
                  </a:cubicBezTo>
                  <a:cubicBezTo>
                    <a:pt x="3098959" y="2402586"/>
                    <a:pt x="3096196" y="2405349"/>
                    <a:pt x="3092767" y="2405349"/>
                  </a:cubicBezTo>
                  <a:cubicBezTo>
                    <a:pt x="3089338" y="2405349"/>
                    <a:pt x="3086576" y="2402586"/>
                    <a:pt x="3086576" y="2399157"/>
                  </a:cubicBezTo>
                  <a:cubicBezTo>
                    <a:pt x="3086576" y="2395728"/>
                    <a:pt x="3089338" y="2392966"/>
                    <a:pt x="3092767" y="2392966"/>
                  </a:cubicBezTo>
                  <a:close/>
                  <a:moveTo>
                    <a:pt x="3200114" y="2392680"/>
                  </a:moveTo>
                  <a:cubicBezTo>
                    <a:pt x="3200209" y="2392680"/>
                    <a:pt x="3200399" y="2392871"/>
                    <a:pt x="3200399" y="2392966"/>
                  </a:cubicBezTo>
                  <a:cubicBezTo>
                    <a:pt x="3200399" y="2393061"/>
                    <a:pt x="3200114" y="2393251"/>
                    <a:pt x="3200114" y="2393251"/>
                  </a:cubicBezTo>
                  <a:cubicBezTo>
                    <a:pt x="3200018" y="2393251"/>
                    <a:pt x="3199828" y="2393061"/>
                    <a:pt x="3199828" y="2392966"/>
                  </a:cubicBezTo>
                  <a:cubicBezTo>
                    <a:pt x="3199828" y="2392871"/>
                    <a:pt x="3200018" y="2392680"/>
                    <a:pt x="3200114" y="2392680"/>
                  </a:cubicBezTo>
                  <a:close/>
                  <a:moveTo>
                    <a:pt x="172878" y="2392109"/>
                  </a:moveTo>
                  <a:cubicBezTo>
                    <a:pt x="176307" y="2392109"/>
                    <a:pt x="179069" y="2394871"/>
                    <a:pt x="179069" y="2398300"/>
                  </a:cubicBezTo>
                  <a:cubicBezTo>
                    <a:pt x="179069" y="2401729"/>
                    <a:pt x="176307" y="2404491"/>
                    <a:pt x="172878" y="2404491"/>
                  </a:cubicBezTo>
                  <a:cubicBezTo>
                    <a:pt x="169449" y="2404491"/>
                    <a:pt x="166687" y="2401729"/>
                    <a:pt x="166687" y="2398300"/>
                  </a:cubicBezTo>
                  <a:cubicBezTo>
                    <a:pt x="166687" y="2394871"/>
                    <a:pt x="169449" y="2392109"/>
                    <a:pt x="172878" y="2392109"/>
                  </a:cubicBezTo>
                  <a:close/>
                  <a:moveTo>
                    <a:pt x="3142868" y="2391823"/>
                  </a:moveTo>
                  <a:cubicBezTo>
                    <a:pt x="3146297" y="2391823"/>
                    <a:pt x="3149059" y="2394585"/>
                    <a:pt x="3149059" y="2398014"/>
                  </a:cubicBezTo>
                  <a:lnTo>
                    <a:pt x="3143059" y="2404015"/>
                  </a:lnTo>
                  <a:lnTo>
                    <a:pt x="3148583" y="2409539"/>
                  </a:lnTo>
                  <a:lnTo>
                    <a:pt x="3143392" y="2414731"/>
                  </a:lnTo>
                  <a:lnTo>
                    <a:pt x="3149155" y="2420493"/>
                  </a:lnTo>
                  <a:cubicBezTo>
                    <a:pt x="3149155" y="2423922"/>
                    <a:pt x="3146393" y="2426684"/>
                    <a:pt x="3142964" y="2426684"/>
                  </a:cubicBezTo>
                  <a:cubicBezTo>
                    <a:pt x="3139535" y="2426684"/>
                    <a:pt x="3136773" y="2423922"/>
                    <a:pt x="3136773" y="2420493"/>
                  </a:cubicBezTo>
                  <a:lnTo>
                    <a:pt x="3141964" y="2415303"/>
                  </a:lnTo>
                  <a:lnTo>
                    <a:pt x="3136201" y="2409539"/>
                  </a:lnTo>
                  <a:lnTo>
                    <a:pt x="3142201" y="2403539"/>
                  </a:lnTo>
                  <a:lnTo>
                    <a:pt x="3136677" y="2398014"/>
                  </a:lnTo>
                  <a:cubicBezTo>
                    <a:pt x="3136677" y="2394585"/>
                    <a:pt x="3139439" y="2391823"/>
                    <a:pt x="3142868" y="2391823"/>
                  </a:cubicBezTo>
                  <a:close/>
                  <a:moveTo>
                    <a:pt x="421766" y="2391728"/>
                  </a:moveTo>
                  <a:cubicBezTo>
                    <a:pt x="425195" y="2391728"/>
                    <a:pt x="427957" y="2394490"/>
                    <a:pt x="427957" y="2397919"/>
                  </a:cubicBezTo>
                  <a:cubicBezTo>
                    <a:pt x="427957" y="2401348"/>
                    <a:pt x="425195" y="2404111"/>
                    <a:pt x="421766" y="2404111"/>
                  </a:cubicBezTo>
                  <a:cubicBezTo>
                    <a:pt x="418337" y="2404111"/>
                    <a:pt x="415575" y="2401348"/>
                    <a:pt x="415575" y="2397919"/>
                  </a:cubicBezTo>
                  <a:cubicBezTo>
                    <a:pt x="415575" y="2394490"/>
                    <a:pt x="418337" y="2391728"/>
                    <a:pt x="421766" y="2391728"/>
                  </a:cubicBezTo>
                  <a:close/>
                  <a:moveTo>
                    <a:pt x="3006184" y="2389728"/>
                  </a:moveTo>
                  <a:cubicBezTo>
                    <a:pt x="3009613" y="2389728"/>
                    <a:pt x="3012376" y="2392490"/>
                    <a:pt x="3012376" y="2395919"/>
                  </a:cubicBezTo>
                  <a:cubicBezTo>
                    <a:pt x="3012376" y="2399348"/>
                    <a:pt x="3009613" y="2402110"/>
                    <a:pt x="3006184" y="2402110"/>
                  </a:cubicBezTo>
                  <a:cubicBezTo>
                    <a:pt x="3002755" y="2402110"/>
                    <a:pt x="2999993" y="2399348"/>
                    <a:pt x="2999993" y="2395919"/>
                  </a:cubicBezTo>
                  <a:cubicBezTo>
                    <a:pt x="2999993" y="2392490"/>
                    <a:pt x="3002755" y="2389728"/>
                    <a:pt x="3006184" y="2389728"/>
                  </a:cubicBezTo>
                  <a:close/>
                  <a:moveTo>
                    <a:pt x="3116579" y="2389537"/>
                  </a:moveTo>
                  <a:cubicBezTo>
                    <a:pt x="3120008" y="2389537"/>
                    <a:pt x="3122771" y="2392299"/>
                    <a:pt x="3122771" y="2395728"/>
                  </a:cubicBezTo>
                  <a:cubicBezTo>
                    <a:pt x="3122771" y="2399157"/>
                    <a:pt x="3120008" y="2401920"/>
                    <a:pt x="3116579" y="2401920"/>
                  </a:cubicBezTo>
                  <a:cubicBezTo>
                    <a:pt x="3113150" y="2401920"/>
                    <a:pt x="3110388" y="2399157"/>
                    <a:pt x="3110388" y="2395728"/>
                  </a:cubicBezTo>
                  <a:cubicBezTo>
                    <a:pt x="3110388" y="2392299"/>
                    <a:pt x="3113150" y="2389537"/>
                    <a:pt x="3116579" y="2389537"/>
                  </a:cubicBezTo>
                  <a:close/>
                  <a:moveTo>
                    <a:pt x="194405" y="2389156"/>
                  </a:moveTo>
                  <a:cubicBezTo>
                    <a:pt x="197834" y="2389156"/>
                    <a:pt x="200596" y="2391918"/>
                    <a:pt x="200596" y="2395347"/>
                  </a:cubicBezTo>
                  <a:cubicBezTo>
                    <a:pt x="200596" y="2398776"/>
                    <a:pt x="197834" y="2401538"/>
                    <a:pt x="194405" y="2401538"/>
                  </a:cubicBezTo>
                  <a:cubicBezTo>
                    <a:pt x="190976" y="2401538"/>
                    <a:pt x="188214" y="2398776"/>
                    <a:pt x="188214" y="2395347"/>
                  </a:cubicBezTo>
                  <a:cubicBezTo>
                    <a:pt x="188214" y="2391918"/>
                    <a:pt x="190976" y="2389156"/>
                    <a:pt x="194405" y="2389156"/>
                  </a:cubicBezTo>
                  <a:close/>
                  <a:moveTo>
                    <a:pt x="1636013" y="2388775"/>
                  </a:moveTo>
                  <a:cubicBezTo>
                    <a:pt x="1639442" y="2388775"/>
                    <a:pt x="1642205" y="2391537"/>
                    <a:pt x="1642205" y="2394966"/>
                  </a:cubicBezTo>
                  <a:cubicBezTo>
                    <a:pt x="1642205" y="2398395"/>
                    <a:pt x="1639442" y="2401158"/>
                    <a:pt x="1636013" y="2401158"/>
                  </a:cubicBezTo>
                  <a:cubicBezTo>
                    <a:pt x="1632584" y="2401158"/>
                    <a:pt x="1629822" y="2398395"/>
                    <a:pt x="1629822" y="2394966"/>
                  </a:cubicBezTo>
                  <a:cubicBezTo>
                    <a:pt x="1629822" y="2391537"/>
                    <a:pt x="1632584" y="2388775"/>
                    <a:pt x="1636013" y="2388775"/>
                  </a:cubicBezTo>
                  <a:close/>
                  <a:moveTo>
                    <a:pt x="1765267" y="2387441"/>
                  </a:moveTo>
                  <a:cubicBezTo>
                    <a:pt x="1768696" y="2387441"/>
                    <a:pt x="1771459" y="2390203"/>
                    <a:pt x="1771459" y="2393632"/>
                  </a:cubicBezTo>
                  <a:cubicBezTo>
                    <a:pt x="1771459" y="2397061"/>
                    <a:pt x="1768696" y="2399824"/>
                    <a:pt x="1765267" y="2399824"/>
                  </a:cubicBezTo>
                  <a:cubicBezTo>
                    <a:pt x="1761838" y="2399824"/>
                    <a:pt x="1759076" y="2397061"/>
                    <a:pt x="1759076" y="2393632"/>
                  </a:cubicBezTo>
                  <a:cubicBezTo>
                    <a:pt x="1759076" y="2390203"/>
                    <a:pt x="1761838" y="2387441"/>
                    <a:pt x="1765267" y="2387441"/>
                  </a:cubicBezTo>
                  <a:close/>
                  <a:moveTo>
                    <a:pt x="3153250" y="2387156"/>
                  </a:moveTo>
                  <a:cubicBezTo>
                    <a:pt x="3156679" y="2387156"/>
                    <a:pt x="3159442" y="2389918"/>
                    <a:pt x="3159442" y="2393347"/>
                  </a:cubicBezTo>
                  <a:cubicBezTo>
                    <a:pt x="3159442" y="2396776"/>
                    <a:pt x="3156679" y="2399539"/>
                    <a:pt x="3153250" y="2399539"/>
                  </a:cubicBezTo>
                  <a:cubicBezTo>
                    <a:pt x="3149821" y="2399539"/>
                    <a:pt x="3147059" y="2396776"/>
                    <a:pt x="3147059" y="2393347"/>
                  </a:cubicBezTo>
                  <a:cubicBezTo>
                    <a:pt x="3147059" y="2389918"/>
                    <a:pt x="3149821" y="2387156"/>
                    <a:pt x="3153250" y="2387156"/>
                  </a:cubicBezTo>
                  <a:close/>
                  <a:moveTo>
                    <a:pt x="1507331" y="2385156"/>
                  </a:moveTo>
                  <a:cubicBezTo>
                    <a:pt x="1510751" y="2385156"/>
                    <a:pt x="1513522" y="2387928"/>
                    <a:pt x="1513522" y="2391347"/>
                  </a:cubicBezTo>
                  <a:cubicBezTo>
                    <a:pt x="1513522" y="2394767"/>
                    <a:pt x="1510751" y="2397538"/>
                    <a:pt x="1507331" y="2397538"/>
                  </a:cubicBezTo>
                  <a:cubicBezTo>
                    <a:pt x="1503912" y="2397538"/>
                    <a:pt x="1501140" y="2394767"/>
                    <a:pt x="1501140" y="2391347"/>
                  </a:cubicBezTo>
                  <a:cubicBezTo>
                    <a:pt x="1501140" y="2387928"/>
                    <a:pt x="1503912" y="2385156"/>
                    <a:pt x="1507331" y="2385156"/>
                  </a:cubicBezTo>
                  <a:close/>
                  <a:moveTo>
                    <a:pt x="3132486" y="2384584"/>
                  </a:moveTo>
                  <a:cubicBezTo>
                    <a:pt x="3135915" y="2384584"/>
                    <a:pt x="3138677" y="2387346"/>
                    <a:pt x="3138677" y="2390775"/>
                  </a:cubicBezTo>
                  <a:cubicBezTo>
                    <a:pt x="3138677" y="2394204"/>
                    <a:pt x="3135915" y="2396967"/>
                    <a:pt x="3132486" y="2396967"/>
                  </a:cubicBezTo>
                  <a:cubicBezTo>
                    <a:pt x="3129057" y="2396967"/>
                    <a:pt x="3126295" y="2394204"/>
                    <a:pt x="3126295" y="2390775"/>
                  </a:cubicBezTo>
                  <a:cubicBezTo>
                    <a:pt x="3126295" y="2387346"/>
                    <a:pt x="3129057" y="2384584"/>
                    <a:pt x="3132486" y="2384584"/>
                  </a:cubicBezTo>
                  <a:close/>
                  <a:moveTo>
                    <a:pt x="3165252" y="2384394"/>
                  </a:moveTo>
                  <a:cubicBezTo>
                    <a:pt x="3168681" y="2384394"/>
                    <a:pt x="3171443" y="2387156"/>
                    <a:pt x="3171443" y="2390585"/>
                  </a:cubicBezTo>
                  <a:cubicBezTo>
                    <a:pt x="3171443" y="2394014"/>
                    <a:pt x="3168681" y="2396776"/>
                    <a:pt x="3165252" y="2396776"/>
                  </a:cubicBezTo>
                  <a:cubicBezTo>
                    <a:pt x="3161823" y="2396776"/>
                    <a:pt x="3159061" y="2394014"/>
                    <a:pt x="3159061" y="2390585"/>
                  </a:cubicBezTo>
                  <a:cubicBezTo>
                    <a:pt x="3159061" y="2387156"/>
                    <a:pt x="3161823" y="2384394"/>
                    <a:pt x="3165252" y="2384394"/>
                  </a:cubicBezTo>
                  <a:close/>
                  <a:moveTo>
                    <a:pt x="822864" y="2384298"/>
                  </a:moveTo>
                  <a:cubicBezTo>
                    <a:pt x="826293" y="2384298"/>
                    <a:pt x="829056" y="2387060"/>
                    <a:pt x="829056" y="2390489"/>
                  </a:cubicBezTo>
                  <a:cubicBezTo>
                    <a:pt x="829056" y="2393918"/>
                    <a:pt x="826293" y="2396681"/>
                    <a:pt x="822864" y="2396681"/>
                  </a:cubicBezTo>
                  <a:cubicBezTo>
                    <a:pt x="819435" y="2396681"/>
                    <a:pt x="816673" y="2393918"/>
                    <a:pt x="816673" y="2390489"/>
                  </a:cubicBezTo>
                  <a:cubicBezTo>
                    <a:pt x="816673" y="2387060"/>
                    <a:pt x="819435" y="2384298"/>
                    <a:pt x="822864" y="2384298"/>
                  </a:cubicBezTo>
                  <a:close/>
                  <a:moveTo>
                    <a:pt x="3180492" y="2384203"/>
                  </a:moveTo>
                  <a:cubicBezTo>
                    <a:pt x="3183921" y="2384203"/>
                    <a:pt x="3186683" y="2386965"/>
                    <a:pt x="3186683" y="2390394"/>
                  </a:cubicBezTo>
                  <a:cubicBezTo>
                    <a:pt x="3186683" y="2393823"/>
                    <a:pt x="3183921" y="2396586"/>
                    <a:pt x="3180492" y="2396586"/>
                  </a:cubicBezTo>
                  <a:cubicBezTo>
                    <a:pt x="3177063" y="2396586"/>
                    <a:pt x="3174301" y="2393823"/>
                    <a:pt x="3174301" y="2390394"/>
                  </a:cubicBezTo>
                  <a:cubicBezTo>
                    <a:pt x="3174301" y="2386965"/>
                    <a:pt x="3177063" y="2384203"/>
                    <a:pt x="3180492" y="2384203"/>
                  </a:cubicBezTo>
                  <a:close/>
                  <a:moveTo>
                    <a:pt x="184213" y="2383822"/>
                  </a:moveTo>
                  <a:cubicBezTo>
                    <a:pt x="187642" y="2383822"/>
                    <a:pt x="190404" y="2386584"/>
                    <a:pt x="190404" y="2390013"/>
                  </a:cubicBezTo>
                  <a:lnTo>
                    <a:pt x="184689" y="2395729"/>
                  </a:lnTo>
                  <a:lnTo>
                    <a:pt x="190881" y="2401919"/>
                  </a:lnTo>
                  <a:lnTo>
                    <a:pt x="184832" y="2407968"/>
                  </a:lnTo>
                  <a:lnTo>
                    <a:pt x="190213" y="2413349"/>
                  </a:lnTo>
                  <a:cubicBezTo>
                    <a:pt x="190213" y="2416778"/>
                    <a:pt x="187451" y="2419540"/>
                    <a:pt x="184022" y="2419540"/>
                  </a:cubicBezTo>
                  <a:cubicBezTo>
                    <a:pt x="180593" y="2419540"/>
                    <a:pt x="177831" y="2416778"/>
                    <a:pt x="177831" y="2413349"/>
                  </a:cubicBezTo>
                  <a:lnTo>
                    <a:pt x="183879" y="2407301"/>
                  </a:lnTo>
                  <a:lnTo>
                    <a:pt x="178498" y="2401919"/>
                  </a:lnTo>
                  <a:lnTo>
                    <a:pt x="184212" y="2396205"/>
                  </a:lnTo>
                  <a:lnTo>
                    <a:pt x="178022" y="2390013"/>
                  </a:lnTo>
                  <a:cubicBezTo>
                    <a:pt x="178022" y="2386584"/>
                    <a:pt x="180784" y="2383822"/>
                    <a:pt x="184213" y="2383822"/>
                  </a:cubicBezTo>
                  <a:close/>
                  <a:moveTo>
                    <a:pt x="262984" y="2383250"/>
                  </a:moveTo>
                  <a:cubicBezTo>
                    <a:pt x="266413" y="2383250"/>
                    <a:pt x="269176" y="2386012"/>
                    <a:pt x="269176" y="2389441"/>
                  </a:cubicBezTo>
                  <a:cubicBezTo>
                    <a:pt x="269176" y="2392870"/>
                    <a:pt x="266413" y="2395633"/>
                    <a:pt x="262984" y="2395633"/>
                  </a:cubicBezTo>
                  <a:cubicBezTo>
                    <a:pt x="259555" y="2395633"/>
                    <a:pt x="256793" y="2392870"/>
                    <a:pt x="256793" y="2389441"/>
                  </a:cubicBezTo>
                  <a:cubicBezTo>
                    <a:pt x="256793" y="2386012"/>
                    <a:pt x="259555" y="2383250"/>
                    <a:pt x="262984" y="2383250"/>
                  </a:cubicBezTo>
                  <a:close/>
                  <a:moveTo>
                    <a:pt x="2778061" y="2383155"/>
                  </a:moveTo>
                  <a:cubicBezTo>
                    <a:pt x="2781490" y="2383155"/>
                    <a:pt x="2784252" y="2385917"/>
                    <a:pt x="2784252" y="2389346"/>
                  </a:cubicBezTo>
                  <a:cubicBezTo>
                    <a:pt x="2784252" y="2392775"/>
                    <a:pt x="2781490" y="2395538"/>
                    <a:pt x="2778061" y="2395538"/>
                  </a:cubicBezTo>
                  <a:cubicBezTo>
                    <a:pt x="2774632" y="2395538"/>
                    <a:pt x="2771870" y="2392775"/>
                    <a:pt x="2771870" y="2389346"/>
                  </a:cubicBezTo>
                  <a:cubicBezTo>
                    <a:pt x="2771870" y="2385917"/>
                    <a:pt x="2774632" y="2383155"/>
                    <a:pt x="2778061" y="2383155"/>
                  </a:cubicBezTo>
                  <a:close/>
                  <a:moveTo>
                    <a:pt x="230219" y="2383060"/>
                  </a:moveTo>
                  <a:cubicBezTo>
                    <a:pt x="233648" y="2383060"/>
                    <a:pt x="236410" y="2385822"/>
                    <a:pt x="236410" y="2389251"/>
                  </a:cubicBezTo>
                  <a:cubicBezTo>
                    <a:pt x="236410" y="2392680"/>
                    <a:pt x="233648" y="2395443"/>
                    <a:pt x="230219" y="2395443"/>
                  </a:cubicBezTo>
                  <a:cubicBezTo>
                    <a:pt x="226790" y="2395443"/>
                    <a:pt x="224028" y="2392680"/>
                    <a:pt x="224028" y="2389251"/>
                  </a:cubicBezTo>
                  <a:cubicBezTo>
                    <a:pt x="224028" y="2385822"/>
                    <a:pt x="226790" y="2383060"/>
                    <a:pt x="230219" y="2383060"/>
                  </a:cubicBezTo>
                  <a:close/>
                  <a:moveTo>
                    <a:pt x="1892617" y="2381536"/>
                  </a:moveTo>
                  <a:cubicBezTo>
                    <a:pt x="1896046" y="2381536"/>
                    <a:pt x="1898809" y="2384298"/>
                    <a:pt x="1898809" y="2387727"/>
                  </a:cubicBezTo>
                  <a:cubicBezTo>
                    <a:pt x="1898809" y="2391156"/>
                    <a:pt x="1896046" y="2393919"/>
                    <a:pt x="1892617" y="2393919"/>
                  </a:cubicBezTo>
                  <a:cubicBezTo>
                    <a:pt x="1889188" y="2393919"/>
                    <a:pt x="1886426" y="2391156"/>
                    <a:pt x="1886426" y="2387727"/>
                  </a:cubicBezTo>
                  <a:cubicBezTo>
                    <a:pt x="1886426" y="2384298"/>
                    <a:pt x="1889188" y="2381536"/>
                    <a:pt x="1892617" y="2381536"/>
                  </a:cubicBezTo>
                  <a:close/>
                  <a:moveTo>
                    <a:pt x="208406" y="2380012"/>
                  </a:moveTo>
                  <a:cubicBezTo>
                    <a:pt x="211835" y="2380012"/>
                    <a:pt x="214598" y="2382774"/>
                    <a:pt x="214598" y="2386203"/>
                  </a:cubicBezTo>
                  <a:cubicBezTo>
                    <a:pt x="214598" y="2389632"/>
                    <a:pt x="211835" y="2392395"/>
                    <a:pt x="208406" y="2392395"/>
                  </a:cubicBezTo>
                  <a:cubicBezTo>
                    <a:pt x="204977" y="2392395"/>
                    <a:pt x="202215" y="2389632"/>
                    <a:pt x="202215" y="2386203"/>
                  </a:cubicBezTo>
                  <a:cubicBezTo>
                    <a:pt x="202215" y="2382774"/>
                    <a:pt x="204977" y="2380012"/>
                    <a:pt x="208406" y="2380012"/>
                  </a:cubicBezTo>
                  <a:close/>
                  <a:moveTo>
                    <a:pt x="174021" y="2379821"/>
                  </a:moveTo>
                  <a:cubicBezTo>
                    <a:pt x="177450" y="2379821"/>
                    <a:pt x="180212" y="2382583"/>
                    <a:pt x="180212" y="2386012"/>
                  </a:cubicBezTo>
                  <a:cubicBezTo>
                    <a:pt x="180212" y="2389441"/>
                    <a:pt x="177450" y="2392204"/>
                    <a:pt x="174021" y="2392204"/>
                  </a:cubicBezTo>
                  <a:cubicBezTo>
                    <a:pt x="170592" y="2392204"/>
                    <a:pt x="167830" y="2389441"/>
                    <a:pt x="167830" y="2386012"/>
                  </a:cubicBezTo>
                  <a:cubicBezTo>
                    <a:pt x="167830" y="2382583"/>
                    <a:pt x="170592" y="2379821"/>
                    <a:pt x="174021" y="2379821"/>
                  </a:cubicBezTo>
                  <a:close/>
                  <a:moveTo>
                    <a:pt x="2933985" y="2379536"/>
                  </a:moveTo>
                  <a:cubicBezTo>
                    <a:pt x="2937414" y="2379536"/>
                    <a:pt x="2940176" y="2382298"/>
                    <a:pt x="2940176" y="2385727"/>
                  </a:cubicBezTo>
                  <a:cubicBezTo>
                    <a:pt x="2940176" y="2389156"/>
                    <a:pt x="2937414" y="2391919"/>
                    <a:pt x="2933985" y="2391919"/>
                  </a:cubicBezTo>
                  <a:cubicBezTo>
                    <a:pt x="2930556" y="2391919"/>
                    <a:pt x="2927794" y="2389156"/>
                    <a:pt x="2927794" y="2385727"/>
                  </a:cubicBezTo>
                  <a:cubicBezTo>
                    <a:pt x="2927794" y="2382298"/>
                    <a:pt x="2930556" y="2379536"/>
                    <a:pt x="2933985" y="2379536"/>
                  </a:cubicBezTo>
                  <a:close/>
                  <a:moveTo>
                    <a:pt x="3143916" y="2379345"/>
                  </a:moveTo>
                  <a:cubicBezTo>
                    <a:pt x="3147345" y="2379345"/>
                    <a:pt x="3150107" y="2382107"/>
                    <a:pt x="3150107" y="2385536"/>
                  </a:cubicBezTo>
                  <a:cubicBezTo>
                    <a:pt x="3150107" y="2388965"/>
                    <a:pt x="3147345" y="2391728"/>
                    <a:pt x="3143916" y="2391728"/>
                  </a:cubicBezTo>
                  <a:cubicBezTo>
                    <a:pt x="3140487" y="2391728"/>
                    <a:pt x="3137725" y="2388965"/>
                    <a:pt x="3137725" y="2385536"/>
                  </a:cubicBezTo>
                  <a:cubicBezTo>
                    <a:pt x="3137725" y="2382107"/>
                    <a:pt x="3140487" y="2379345"/>
                    <a:pt x="3143916" y="2379345"/>
                  </a:cubicBezTo>
                  <a:close/>
                  <a:moveTo>
                    <a:pt x="310800" y="2379250"/>
                  </a:moveTo>
                  <a:cubicBezTo>
                    <a:pt x="314229" y="2379250"/>
                    <a:pt x="316991" y="2382012"/>
                    <a:pt x="316991" y="2385441"/>
                  </a:cubicBezTo>
                  <a:cubicBezTo>
                    <a:pt x="316991" y="2388870"/>
                    <a:pt x="314229" y="2391633"/>
                    <a:pt x="310800" y="2391633"/>
                  </a:cubicBezTo>
                  <a:cubicBezTo>
                    <a:pt x="307371" y="2391633"/>
                    <a:pt x="304609" y="2388870"/>
                    <a:pt x="304609" y="2385441"/>
                  </a:cubicBezTo>
                  <a:cubicBezTo>
                    <a:pt x="304609" y="2382012"/>
                    <a:pt x="307371" y="2379250"/>
                    <a:pt x="310800" y="2379250"/>
                  </a:cubicBezTo>
                  <a:close/>
                  <a:moveTo>
                    <a:pt x="161829" y="2378679"/>
                  </a:moveTo>
                  <a:cubicBezTo>
                    <a:pt x="164775" y="2378679"/>
                    <a:pt x="167163" y="2381067"/>
                    <a:pt x="167163" y="2384013"/>
                  </a:cubicBezTo>
                  <a:cubicBezTo>
                    <a:pt x="167163" y="2386959"/>
                    <a:pt x="164775" y="2389347"/>
                    <a:pt x="161829" y="2389347"/>
                  </a:cubicBezTo>
                  <a:cubicBezTo>
                    <a:pt x="158883" y="2389347"/>
                    <a:pt x="156495" y="2386959"/>
                    <a:pt x="156495" y="2384013"/>
                  </a:cubicBezTo>
                  <a:cubicBezTo>
                    <a:pt x="156495" y="2381067"/>
                    <a:pt x="158883" y="2378679"/>
                    <a:pt x="161829" y="2378679"/>
                  </a:cubicBezTo>
                  <a:close/>
                  <a:moveTo>
                    <a:pt x="1381696" y="2377345"/>
                  </a:moveTo>
                  <a:cubicBezTo>
                    <a:pt x="1385125" y="2377345"/>
                    <a:pt x="1387888" y="2380107"/>
                    <a:pt x="1387888" y="2383536"/>
                  </a:cubicBezTo>
                  <a:cubicBezTo>
                    <a:pt x="1387888" y="2386965"/>
                    <a:pt x="1385125" y="2389728"/>
                    <a:pt x="1381696" y="2389728"/>
                  </a:cubicBezTo>
                  <a:cubicBezTo>
                    <a:pt x="1378267" y="2389728"/>
                    <a:pt x="1375505" y="2386965"/>
                    <a:pt x="1375505" y="2383536"/>
                  </a:cubicBezTo>
                  <a:cubicBezTo>
                    <a:pt x="1375505" y="2380107"/>
                    <a:pt x="1378267" y="2377345"/>
                    <a:pt x="1381696" y="2377345"/>
                  </a:cubicBezTo>
                  <a:close/>
                  <a:moveTo>
                    <a:pt x="193738" y="2375630"/>
                  </a:moveTo>
                  <a:cubicBezTo>
                    <a:pt x="197167" y="2375630"/>
                    <a:pt x="199929" y="2378392"/>
                    <a:pt x="199929" y="2381821"/>
                  </a:cubicBezTo>
                  <a:cubicBezTo>
                    <a:pt x="199929" y="2385250"/>
                    <a:pt x="197167" y="2388013"/>
                    <a:pt x="193738" y="2388013"/>
                  </a:cubicBezTo>
                  <a:cubicBezTo>
                    <a:pt x="190309" y="2388013"/>
                    <a:pt x="187547" y="2385250"/>
                    <a:pt x="187547" y="2381821"/>
                  </a:cubicBezTo>
                  <a:cubicBezTo>
                    <a:pt x="187547" y="2378392"/>
                    <a:pt x="190309" y="2375630"/>
                    <a:pt x="193738" y="2375630"/>
                  </a:cubicBezTo>
                  <a:close/>
                  <a:moveTo>
                    <a:pt x="3153632" y="2374773"/>
                  </a:moveTo>
                  <a:cubicBezTo>
                    <a:pt x="3157061" y="2374773"/>
                    <a:pt x="3159823" y="2377535"/>
                    <a:pt x="3159823" y="2380964"/>
                  </a:cubicBezTo>
                  <a:cubicBezTo>
                    <a:pt x="3159823" y="2384393"/>
                    <a:pt x="3157061" y="2387156"/>
                    <a:pt x="3153632" y="2387156"/>
                  </a:cubicBezTo>
                  <a:cubicBezTo>
                    <a:pt x="3150203" y="2387156"/>
                    <a:pt x="3147441" y="2384393"/>
                    <a:pt x="3147441" y="2380964"/>
                  </a:cubicBezTo>
                  <a:cubicBezTo>
                    <a:pt x="3147441" y="2377535"/>
                    <a:pt x="3150203" y="2374773"/>
                    <a:pt x="3153632" y="2374773"/>
                  </a:cubicBezTo>
                  <a:close/>
                  <a:moveTo>
                    <a:pt x="2553842" y="2373345"/>
                  </a:moveTo>
                  <a:cubicBezTo>
                    <a:pt x="2557271" y="2373345"/>
                    <a:pt x="2560033" y="2376107"/>
                    <a:pt x="2560033" y="2379536"/>
                  </a:cubicBezTo>
                  <a:cubicBezTo>
                    <a:pt x="2560033" y="2382965"/>
                    <a:pt x="2557271" y="2385728"/>
                    <a:pt x="2553842" y="2385728"/>
                  </a:cubicBezTo>
                  <a:cubicBezTo>
                    <a:pt x="2550413" y="2385728"/>
                    <a:pt x="2547651" y="2382965"/>
                    <a:pt x="2547651" y="2379536"/>
                  </a:cubicBezTo>
                  <a:cubicBezTo>
                    <a:pt x="2547651" y="2376107"/>
                    <a:pt x="2550413" y="2373345"/>
                    <a:pt x="2553842" y="2373345"/>
                  </a:cubicBezTo>
                  <a:close/>
                  <a:moveTo>
                    <a:pt x="526827" y="2372868"/>
                  </a:moveTo>
                  <a:cubicBezTo>
                    <a:pt x="530256" y="2372868"/>
                    <a:pt x="533018" y="2375630"/>
                    <a:pt x="533018" y="2379059"/>
                  </a:cubicBezTo>
                  <a:cubicBezTo>
                    <a:pt x="533018" y="2382488"/>
                    <a:pt x="530256" y="2385251"/>
                    <a:pt x="526827" y="2385251"/>
                  </a:cubicBezTo>
                  <a:cubicBezTo>
                    <a:pt x="523398" y="2385251"/>
                    <a:pt x="520636" y="2382488"/>
                    <a:pt x="520636" y="2379059"/>
                  </a:cubicBezTo>
                  <a:cubicBezTo>
                    <a:pt x="520636" y="2375630"/>
                    <a:pt x="523398" y="2372868"/>
                    <a:pt x="526827" y="2372868"/>
                  </a:cubicBezTo>
                  <a:close/>
                  <a:moveTo>
                    <a:pt x="3192493" y="2371916"/>
                  </a:moveTo>
                  <a:cubicBezTo>
                    <a:pt x="3195922" y="2371916"/>
                    <a:pt x="3198685" y="2374678"/>
                    <a:pt x="3198685" y="2378107"/>
                  </a:cubicBezTo>
                  <a:cubicBezTo>
                    <a:pt x="3198685" y="2381536"/>
                    <a:pt x="3195922" y="2384299"/>
                    <a:pt x="3192493" y="2384299"/>
                  </a:cubicBezTo>
                  <a:cubicBezTo>
                    <a:pt x="3189064" y="2384299"/>
                    <a:pt x="3186302" y="2381536"/>
                    <a:pt x="3186302" y="2378107"/>
                  </a:cubicBezTo>
                  <a:cubicBezTo>
                    <a:pt x="3186302" y="2374678"/>
                    <a:pt x="3189064" y="2371916"/>
                    <a:pt x="3192493" y="2371916"/>
                  </a:cubicBezTo>
                  <a:close/>
                  <a:moveTo>
                    <a:pt x="3111912" y="2371725"/>
                  </a:moveTo>
                  <a:cubicBezTo>
                    <a:pt x="3115341" y="2371725"/>
                    <a:pt x="3118103" y="2374487"/>
                    <a:pt x="3118103" y="2377916"/>
                  </a:cubicBezTo>
                  <a:cubicBezTo>
                    <a:pt x="3118103" y="2381345"/>
                    <a:pt x="3115341" y="2384107"/>
                    <a:pt x="3111912" y="2384107"/>
                  </a:cubicBezTo>
                  <a:cubicBezTo>
                    <a:pt x="3108483" y="2384107"/>
                    <a:pt x="3105721" y="2381345"/>
                    <a:pt x="3105721" y="2377916"/>
                  </a:cubicBezTo>
                  <a:cubicBezTo>
                    <a:pt x="3105721" y="2374487"/>
                    <a:pt x="3108483" y="2371725"/>
                    <a:pt x="3111912" y="2371725"/>
                  </a:cubicBezTo>
                  <a:close/>
                  <a:moveTo>
                    <a:pt x="3163823" y="2371630"/>
                  </a:moveTo>
                  <a:cubicBezTo>
                    <a:pt x="3167252" y="2371630"/>
                    <a:pt x="3170014" y="2374392"/>
                    <a:pt x="3170014" y="2377821"/>
                  </a:cubicBezTo>
                  <a:cubicBezTo>
                    <a:pt x="3170014" y="2381250"/>
                    <a:pt x="3167252" y="2384013"/>
                    <a:pt x="3163823" y="2384013"/>
                  </a:cubicBezTo>
                  <a:cubicBezTo>
                    <a:pt x="3160394" y="2384013"/>
                    <a:pt x="3157632" y="2381250"/>
                    <a:pt x="3157632" y="2377821"/>
                  </a:cubicBezTo>
                  <a:cubicBezTo>
                    <a:pt x="3157632" y="2374392"/>
                    <a:pt x="3160394" y="2371630"/>
                    <a:pt x="3163823" y="2371630"/>
                  </a:cubicBezTo>
                  <a:close/>
                  <a:moveTo>
                    <a:pt x="3082004" y="2371630"/>
                  </a:moveTo>
                  <a:cubicBezTo>
                    <a:pt x="3085433" y="2371630"/>
                    <a:pt x="3088195" y="2374392"/>
                    <a:pt x="3088195" y="2377821"/>
                  </a:cubicBezTo>
                  <a:cubicBezTo>
                    <a:pt x="3088195" y="2381250"/>
                    <a:pt x="3085433" y="2384013"/>
                    <a:pt x="3082004" y="2384013"/>
                  </a:cubicBezTo>
                  <a:cubicBezTo>
                    <a:pt x="3078575" y="2384013"/>
                    <a:pt x="3075813" y="2381250"/>
                    <a:pt x="3075813" y="2377821"/>
                  </a:cubicBezTo>
                  <a:cubicBezTo>
                    <a:pt x="3075813" y="2374392"/>
                    <a:pt x="3078575" y="2371630"/>
                    <a:pt x="3082004" y="2371630"/>
                  </a:cubicBezTo>
                  <a:close/>
                  <a:moveTo>
                    <a:pt x="2015775" y="2371535"/>
                  </a:moveTo>
                  <a:cubicBezTo>
                    <a:pt x="2019204" y="2371535"/>
                    <a:pt x="2021967" y="2374297"/>
                    <a:pt x="2021967" y="2377726"/>
                  </a:cubicBezTo>
                  <a:cubicBezTo>
                    <a:pt x="2021967" y="2381155"/>
                    <a:pt x="2019204" y="2383918"/>
                    <a:pt x="2015775" y="2383918"/>
                  </a:cubicBezTo>
                  <a:cubicBezTo>
                    <a:pt x="2012346" y="2383918"/>
                    <a:pt x="2009584" y="2381155"/>
                    <a:pt x="2009584" y="2377726"/>
                  </a:cubicBezTo>
                  <a:cubicBezTo>
                    <a:pt x="2009584" y="2374297"/>
                    <a:pt x="2012346" y="2371535"/>
                    <a:pt x="2015775" y="2371535"/>
                  </a:cubicBezTo>
                  <a:close/>
                  <a:moveTo>
                    <a:pt x="183070" y="2371058"/>
                  </a:moveTo>
                  <a:cubicBezTo>
                    <a:pt x="186499" y="2371058"/>
                    <a:pt x="189262" y="2373820"/>
                    <a:pt x="189262" y="2377249"/>
                  </a:cubicBezTo>
                  <a:cubicBezTo>
                    <a:pt x="189262" y="2380678"/>
                    <a:pt x="186499" y="2383441"/>
                    <a:pt x="183070" y="2383441"/>
                  </a:cubicBezTo>
                  <a:cubicBezTo>
                    <a:pt x="179641" y="2383441"/>
                    <a:pt x="176879" y="2380678"/>
                    <a:pt x="176879" y="2377249"/>
                  </a:cubicBezTo>
                  <a:cubicBezTo>
                    <a:pt x="176879" y="2373820"/>
                    <a:pt x="179641" y="2371058"/>
                    <a:pt x="183070" y="2371058"/>
                  </a:cubicBezTo>
                  <a:close/>
                  <a:moveTo>
                    <a:pt x="3176301" y="2370582"/>
                  </a:moveTo>
                  <a:cubicBezTo>
                    <a:pt x="3179730" y="2370582"/>
                    <a:pt x="3182492" y="2373344"/>
                    <a:pt x="3182492" y="2376773"/>
                  </a:cubicBezTo>
                  <a:cubicBezTo>
                    <a:pt x="3182492" y="2380202"/>
                    <a:pt x="3179730" y="2382965"/>
                    <a:pt x="3176301" y="2382965"/>
                  </a:cubicBezTo>
                  <a:cubicBezTo>
                    <a:pt x="3172872" y="2382965"/>
                    <a:pt x="3170110" y="2380202"/>
                    <a:pt x="3170110" y="2376773"/>
                  </a:cubicBezTo>
                  <a:cubicBezTo>
                    <a:pt x="3170110" y="2373344"/>
                    <a:pt x="3172872" y="2370582"/>
                    <a:pt x="3176301" y="2370582"/>
                  </a:cubicBezTo>
                  <a:close/>
                  <a:moveTo>
                    <a:pt x="150780" y="2370487"/>
                  </a:moveTo>
                  <a:cubicBezTo>
                    <a:pt x="150833" y="2370487"/>
                    <a:pt x="150876" y="2370530"/>
                    <a:pt x="150876" y="2370582"/>
                  </a:cubicBezTo>
                  <a:cubicBezTo>
                    <a:pt x="150876" y="2370635"/>
                    <a:pt x="150833" y="2370677"/>
                    <a:pt x="150780" y="2370677"/>
                  </a:cubicBezTo>
                  <a:cubicBezTo>
                    <a:pt x="150728" y="2370677"/>
                    <a:pt x="150685" y="2370635"/>
                    <a:pt x="150685" y="2370582"/>
                  </a:cubicBezTo>
                  <a:cubicBezTo>
                    <a:pt x="150685" y="2370530"/>
                    <a:pt x="150728" y="2370487"/>
                    <a:pt x="150780" y="2370487"/>
                  </a:cubicBezTo>
                  <a:close/>
                  <a:moveTo>
                    <a:pt x="3131724" y="2369344"/>
                  </a:moveTo>
                  <a:cubicBezTo>
                    <a:pt x="3135153" y="2369344"/>
                    <a:pt x="3137915" y="2372106"/>
                    <a:pt x="3137915" y="2375535"/>
                  </a:cubicBezTo>
                  <a:cubicBezTo>
                    <a:pt x="3137915" y="2378964"/>
                    <a:pt x="3135153" y="2381726"/>
                    <a:pt x="3131724" y="2381726"/>
                  </a:cubicBezTo>
                  <a:cubicBezTo>
                    <a:pt x="3128295" y="2381726"/>
                    <a:pt x="3125533" y="2378964"/>
                    <a:pt x="3125533" y="2375535"/>
                  </a:cubicBezTo>
                  <a:cubicBezTo>
                    <a:pt x="3125533" y="2372106"/>
                    <a:pt x="3128295" y="2369344"/>
                    <a:pt x="3131724" y="2369344"/>
                  </a:cubicBezTo>
                  <a:close/>
                  <a:moveTo>
                    <a:pt x="378713" y="2369154"/>
                  </a:moveTo>
                  <a:cubicBezTo>
                    <a:pt x="382142" y="2369154"/>
                    <a:pt x="384904" y="2371916"/>
                    <a:pt x="384904" y="2375345"/>
                  </a:cubicBezTo>
                  <a:cubicBezTo>
                    <a:pt x="384904" y="2378774"/>
                    <a:pt x="382142" y="2381537"/>
                    <a:pt x="378713" y="2381537"/>
                  </a:cubicBezTo>
                  <a:cubicBezTo>
                    <a:pt x="375284" y="2381537"/>
                    <a:pt x="372522" y="2378774"/>
                    <a:pt x="372522" y="2375345"/>
                  </a:cubicBezTo>
                  <a:cubicBezTo>
                    <a:pt x="372522" y="2371916"/>
                    <a:pt x="375284" y="2369154"/>
                    <a:pt x="378713" y="2369154"/>
                  </a:cubicBezTo>
                  <a:close/>
                  <a:moveTo>
                    <a:pt x="3037807" y="2367439"/>
                  </a:moveTo>
                  <a:cubicBezTo>
                    <a:pt x="3041236" y="2367439"/>
                    <a:pt x="3043998" y="2370201"/>
                    <a:pt x="3043998" y="2373630"/>
                  </a:cubicBezTo>
                  <a:cubicBezTo>
                    <a:pt x="3043998" y="2377059"/>
                    <a:pt x="3041236" y="2379822"/>
                    <a:pt x="3037807" y="2379822"/>
                  </a:cubicBezTo>
                  <a:cubicBezTo>
                    <a:pt x="3034378" y="2379822"/>
                    <a:pt x="3031616" y="2377059"/>
                    <a:pt x="3031616" y="2373630"/>
                  </a:cubicBezTo>
                  <a:cubicBezTo>
                    <a:pt x="3031616" y="2370201"/>
                    <a:pt x="3034378" y="2367439"/>
                    <a:pt x="3037807" y="2367439"/>
                  </a:cubicBezTo>
                  <a:close/>
                  <a:moveTo>
                    <a:pt x="173735" y="2367153"/>
                  </a:moveTo>
                  <a:cubicBezTo>
                    <a:pt x="177164" y="2367153"/>
                    <a:pt x="179926" y="2369915"/>
                    <a:pt x="179926" y="2373344"/>
                  </a:cubicBezTo>
                  <a:cubicBezTo>
                    <a:pt x="179926" y="2376773"/>
                    <a:pt x="177164" y="2379536"/>
                    <a:pt x="173735" y="2379536"/>
                  </a:cubicBezTo>
                  <a:cubicBezTo>
                    <a:pt x="170306" y="2379536"/>
                    <a:pt x="167544" y="2376773"/>
                    <a:pt x="167544" y="2373344"/>
                  </a:cubicBezTo>
                  <a:cubicBezTo>
                    <a:pt x="167544" y="2369915"/>
                    <a:pt x="170306" y="2367153"/>
                    <a:pt x="173735" y="2367153"/>
                  </a:cubicBezTo>
                  <a:close/>
                  <a:moveTo>
                    <a:pt x="1261014" y="2365725"/>
                  </a:moveTo>
                  <a:cubicBezTo>
                    <a:pt x="1264443" y="2365725"/>
                    <a:pt x="1267205" y="2368487"/>
                    <a:pt x="1267205" y="2371916"/>
                  </a:cubicBezTo>
                  <a:cubicBezTo>
                    <a:pt x="1267205" y="2375345"/>
                    <a:pt x="1264443" y="2378108"/>
                    <a:pt x="1261014" y="2378108"/>
                  </a:cubicBezTo>
                  <a:cubicBezTo>
                    <a:pt x="1257585" y="2378108"/>
                    <a:pt x="1254823" y="2375345"/>
                    <a:pt x="1254823" y="2371916"/>
                  </a:cubicBezTo>
                  <a:cubicBezTo>
                    <a:pt x="1254823" y="2368487"/>
                    <a:pt x="1257585" y="2365725"/>
                    <a:pt x="1261014" y="2365725"/>
                  </a:cubicBezTo>
                  <a:close/>
                  <a:moveTo>
                    <a:pt x="3144964" y="2365629"/>
                  </a:moveTo>
                  <a:cubicBezTo>
                    <a:pt x="3148393" y="2365629"/>
                    <a:pt x="3151155" y="2368391"/>
                    <a:pt x="3151155" y="2371820"/>
                  </a:cubicBezTo>
                  <a:cubicBezTo>
                    <a:pt x="3151155" y="2375249"/>
                    <a:pt x="3148393" y="2378011"/>
                    <a:pt x="3144964" y="2378011"/>
                  </a:cubicBezTo>
                  <a:cubicBezTo>
                    <a:pt x="3141535" y="2378011"/>
                    <a:pt x="3138773" y="2375249"/>
                    <a:pt x="3138773" y="2371820"/>
                  </a:cubicBezTo>
                  <a:cubicBezTo>
                    <a:pt x="3138773" y="2368391"/>
                    <a:pt x="3141535" y="2365629"/>
                    <a:pt x="3144964" y="2365629"/>
                  </a:cubicBezTo>
                  <a:close/>
                  <a:moveTo>
                    <a:pt x="163544" y="2364772"/>
                  </a:moveTo>
                  <a:cubicBezTo>
                    <a:pt x="166973" y="2364772"/>
                    <a:pt x="169735" y="2367534"/>
                    <a:pt x="169735" y="2370963"/>
                  </a:cubicBezTo>
                  <a:cubicBezTo>
                    <a:pt x="169735" y="2374392"/>
                    <a:pt x="166973" y="2377155"/>
                    <a:pt x="163544" y="2377155"/>
                  </a:cubicBezTo>
                  <a:cubicBezTo>
                    <a:pt x="160115" y="2377155"/>
                    <a:pt x="157353" y="2374392"/>
                    <a:pt x="157353" y="2370963"/>
                  </a:cubicBezTo>
                  <a:cubicBezTo>
                    <a:pt x="157353" y="2367534"/>
                    <a:pt x="160115" y="2364772"/>
                    <a:pt x="163544" y="2364772"/>
                  </a:cubicBezTo>
                  <a:close/>
                  <a:moveTo>
                    <a:pt x="741235" y="2363724"/>
                  </a:moveTo>
                  <a:cubicBezTo>
                    <a:pt x="744664" y="2363724"/>
                    <a:pt x="747427" y="2366486"/>
                    <a:pt x="747427" y="2369915"/>
                  </a:cubicBezTo>
                  <a:cubicBezTo>
                    <a:pt x="747427" y="2373344"/>
                    <a:pt x="744664" y="2376107"/>
                    <a:pt x="741235" y="2376107"/>
                  </a:cubicBezTo>
                  <a:cubicBezTo>
                    <a:pt x="737806" y="2376107"/>
                    <a:pt x="735044" y="2373344"/>
                    <a:pt x="735044" y="2369915"/>
                  </a:cubicBezTo>
                  <a:cubicBezTo>
                    <a:pt x="735044" y="2366486"/>
                    <a:pt x="737806" y="2363724"/>
                    <a:pt x="741235" y="2363724"/>
                  </a:cubicBezTo>
                  <a:close/>
                  <a:moveTo>
                    <a:pt x="212121" y="2362200"/>
                  </a:moveTo>
                  <a:cubicBezTo>
                    <a:pt x="215550" y="2362200"/>
                    <a:pt x="218312" y="2364962"/>
                    <a:pt x="218312" y="2368391"/>
                  </a:cubicBezTo>
                  <a:cubicBezTo>
                    <a:pt x="218312" y="2371820"/>
                    <a:pt x="215550" y="2374582"/>
                    <a:pt x="212121" y="2374582"/>
                  </a:cubicBezTo>
                  <a:cubicBezTo>
                    <a:pt x="208692" y="2374582"/>
                    <a:pt x="205930" y="2371820"/>
                    <a:pt x="205930" y="2368391"/>
                  </a:cubicBezTo>
                  <a:cubicBezTo>
                    <a:pt x="205930" y="2364962"/>
                    <a:pt x="208692" y="2362200"/>
                    <a:pt x="212121" y="2362200"/>
                  </a:cubicBezTo>
                  <a:close/>
                  <a:moveTo>
                    <a:pt x="239744" y="2361724"/>
                  </a:moveTo>
                  <a:cubicBezTo>
                    <a:pt x="243173" y="2361724"/>
                    <a:pt x="245935" y="2364486"/>
                    <a:pt x="245935" y="2367915"/>
                  </a:cubicBezTo>
                  <a:cubicBezTo>
                    <a:pt x="245935" y="2371344"/>
                    <a:pt x="243173" y="2374107"/>
                    <a:pt x="239744" y="2374107"/>
                  </a:cubicBezTo>
                  <a:cubicBezTo>
                    <a:pt x="236315" y="2374107"/>
                    <a:pt x="233553" y="2371344"/>
                    <a:pt x="233553" y="2367915"/>
                  </a:cubicBezTo>
                  <a:cubicBezTo>
                    <a:pt x="233553" y="2364486"/>
                    <a:pt x="236315" y="2361724"/>
                    <a:pt x="239744" y="2361724"/>
                  </a:cubicBezTo>
                  <a:close/>
                  <a:moveTo>
                    <a:pt x="3204781" y="2361057"/>
                  </a:moveTo>
                  <a:cubicBezTo>
                    <a:pt x="3207829" y="2361057"/>
                    <a:pt x="3210306" y="2363534"/>
                    <a:pt x="3210306" y="2366582"/>
                  </a:cubicBezTo>
                  <a:cubicBezTo>
                    <a:pt x="3210306" y="2369630"/>
                    <a:pt x="3207829" y="2372106"/>
                    <a:pt x="3204781" y="2372106"/>
                  </a:cubicBezTo>
                  <a:cubicBezTo>
                    <a:pt x="3201734" y="2372106"/>
                    <a:pt x="3199257" y="2369630"/>
                    <a:pt x="3199257" y="2366582"/>
                  </a:cubicBezTo>
                  <a:cubicBezTo>
                    <a:pt x="3199257" y="2363534"/>
                    <a:pt x="3201734" y="2361057"/>
                    <a:pt x="3204781" y="2361057"/>
                  </a:cubicBezTo>
                  <a:close/>
                  <a:moveTo>
                    <a:pt x="2835211" y="2361057"/>
                  </a:moveTo>
                  <a:cubicBezTo>
                    <a:pt x="2838640" y="2361057"/>
                    <a:pt x="2841402" y="2363819"/>
                    <a:pt x="2841402" y="2367248"/>
                  </a:cubicBezTo>
                  <a:cubicBezTo>
                    <a:pt x="2841402" y="2370677"/>
                    <a:pt x="2838640" y="2373440"/>
                    <a:pt x="2835211" y="2373440"/>
                  </a:cubicBezTo>
                  <a:cubicBezTo>
                    <a:pt x="2831782" y="2373440"/>
                    <a:pt x="2829020" y="2370677"/>
                    <a:pt x="2829020" y="2367248"/>
                  </a:cubicBezTo>
                  <a:cubicBezTo>
                    <a:pt x="2829020" y="2363819"/>
                    <a:pt x="2831782" y="2361057"/>
                    <a:pt x="2835211" y="2361057"/>
                  </a:cubicBezTo>
                  <a:close/>
                  <a:moveTo>
                    <a:pt x="194023" y="2360200"/>
                  </a:moveTo>
                  <a:cubicBezTo>
                    <a:pt x="197452" y="2360200"/>
                    <a:pt x="200215" y="2362962"/>
                    <a:pt x="200215" y="2366391"/>
                  </a:cubicBezTo>
                  <a:cubicBezTo>
                    <a:pt x="200215" y="2369820"/>
                    <a:pt x="197452" y="2372583"/>
                    <a:pt x="194023" y="2372583"/>
                  </a:cubicBezTo>
                  <a:cubicBezTo>
                    <a:pt x="190594" y="2372583"/>
                    <a:pt x="187832" y="2369820"/>
                    <a:pt x="187832" y="2366391"/>
                  </a:cubicBezTo>
                  <a:cubicBezTo>
                    <a:pt x="187832" y="2362962"/>
                    <a:pt x="190594" y="2360200"/>
                    <a:pt x="194023" y="2360200"/>
                  </a:cubicBezTo>
                  <a:close/>
                  <a:moveTo>
                    <a:pt x="2133218" y="2358295"/>
                  </a:moveTo>
                  <a:cubicBezTo>
                    <a:pt x="2136647" y="2358295"/>
                    <a:pt x="2139410" y="2361057"/>
                    <a:pt x="2139410" y="2364486"/>
                  </a:cubicBezTo>
                  <a:cubicBezTo>
                    <a:pt x="2139410" y="2367915"/>
                    <a:pt x="2136647" y="2370678"/>
                    <a:pt x="2133218" y="2370678"/>
                  </a:cubicBezTo>
                  <a:cubicBezTo>
                    <a:pt x="2129789" y="2370678"/>
                    <a:pt x="2127027" y="2367915"/>
                    <a:pt x="2127027" y="2364486"/>
                  </a:cubicBezTo>
                  <a:cubicBezTo>
                    <a:pt x="2127027" y="2361057"/>
                    <a:pt x="2129789" y="2358295"/>
                    <a:pt x="2133218" y="2358295"/>
                  </a:cubicBezTo>
                  <a:close/>
                  <a:moveTo>
                    <a:pt x="3187350" y="2357438"/>
                  </a:moveTo>
                  <a:cubicBezTo>
                    <a:pt x="3190779" y="2357438"/>
                    <a:pt x="3193541" y="2360200"/>
                    <a:pt x="3193541" y="2363629"/>
                  </a:cubicBezTo>
                  <a:cubicBezTo>
                    <a:pt x="3193541" y="2367058"/>
                    <a:pt x="3190779" y="2369820"/>
                    <a:pt x="3187350" y="2369820"/>
                  </a:cubicBezTo>
                  <a:cubicBezTo>
                    <a:pt x="3183921" y="2369820"/>
                    <a:pt x="3181159" y="2367058"/>
                    <a:pt x="3181159" y="2363629"/>
                  </a:cubicBezTo>
                  <a:cubicBezTo>
                    <a:pt x="3181159" y="2360200"/>
                    <a:pt x="3183921" y="2357438"/>
                    <a:pt x="3187350" y="2357438"/>
                  </a:cubicBezTo>
                  <a:close/>
                  <a:moveTo>
                    <a:pt x="2974657" y="2357247"/>
                  </a:moveTo>
                  <a:cubicBezTo>
                    <a:pt x="2978086" y="2357247"/>
                    <a:pt x="2980849" y="2360009"/>
                    <a:pt x="2980849" y="2363438"/>
                  </a:cubicBezTo>
                  <a:cubicBezTo>
                    <a:pt x="2980849" y="2366867"/>
                    <a:pt x="2978086" y="2369630"/>
                    <a:pt x="2974657" y="2369630"/>
                  </a:cubicBezTo>
                  <a:cubicBezTo>
                    <a:pt x="2971228" y="2369630"/>
                    <a:pt x="2968466" y="2366867"/>
                    <a:pt x="2968466" y="2363438"/>
                  </a:cubicBezTo>
                  <a:cubicBezTo>
                    <a:pt x="2968466" y="2360009"/>
                    <a:pt x="2971228" y="2357247"/>
                    <a:pt x="2974657" y="2357247"/>
                  </a:cubicBezTo>
                  <a:close/>
                  <a:moveTo>
                    <a:pt x="280796" y="2357247"/>
                  </a:moveTo>
                  <a:cubicBezTo>
                    <a:pt x="284225" y="2357247"/>
                    <a:pt x="286987" y="2360009"/>
                    <a:pt x="286987" y="2363438"/>
                  </a:cubicBezTo>
                  <a:cubicBezTo>
                    <a:pt x="286987" y="2366867"/>
                    <a:pt x="284225" y="2369630"/>
                    <a:pt x="280796" y="2369630"/>
                  </a:cubicBezTo>
                  <a:cubicBezTo>
                    <a:pt x="277367" y="2369630"/>
                    <a:pt x="274605" y="2366867"/>
                    <a:pt x="274605" y="2363438"/>
                  </a:cubicBezTo>
                  <a:cubicBezTo>
                    <a:pt x="274605" y="2360009"/>
                    <a:pt x="277367" y="2357247"/>
                    <a:pt x="280796" y="2357247"/>
                  </a:cubicBezTo>
                  <a:close/>
                  <a:moveTo>
                    <a:pt x="3174110" y="2357057"/>
                  </a:moveTo>
                  <a:cubicBezTo>
                    <a:pt x="3177539" y="2357057"/>
                    <a:pt x="3180302" y="2359819"/>
                    <a:pt x="3180302" y="2363248"/>
                  </a:cubicBezTo>
                  <a:cubicBezTo>
                    <a:pt x="3180302" y="2366677"/>
                    <a:pt x="3177539" y="2369440"/>
                    <a:pt x="3174110" y="2369440"/>
                  </a:cubicBezTo>
                  <a:lnTo>
                    <a:pt x="3169776" y="2365106"/>
                  </a:lnTo>
                  <a:lnTo>
                    <a:pt x="3163918" y="2370964"/>
                  </a:lnTo>
                  <a:lnTo>
                    <a:pt x="3160965" y="2368011"/>
                  </a:lnTo>
                  <a:lnTo>
                    <a:pt x="3154870" y="2374107"/>
                  </a:lnTo>
                  <a:cubicBezTo>
                    <a:pt x="3151441" y="2374107"/>
                    <a:pt x="3148679" y="2371344"/>
                    <a:pt x="3148679" y="2367915"/>
                  </a:cubicBezTo>
                  <a:cubicBezTo>
                    <a:pt x="3148679" y="2364486"/>
                    <a:pt x="3151441" y="2361724"/>
                    <a:pt x="3154870" y="2361724"/>
                  </a:cubicBezTo>
                  <a:lnTo>
                    <a:pt x="3157823" y="2364677"/>
                  </a:lnTo>
                  <a:lnTo>
                    <a:pt x="3163918" y="2358581"/>
                  </a:lnTo>
                  <a:lnTo>
                    <a:pt x="3168252" y="2362915"/>
                  </a:lnTo>
                  <a:close/>
                  <a:moveTo>
                    <a:pt x="181736" y="2357057"/>
                  </a:moveTo>
                  <a:cubicBezTo>
                    <a:pt x="185165" y="2357057"/>
                    <a:pt x="187927" y="2359819"/>
                    <a:pt x="187927" y="2363248"/>
                  </a:cubicBezTo>
                  <a:cubicBezTo>
                    <a:pt x="187927" y="2366677"/>
                    <a:pt x="185165" y="2369440"/>
                    <a:pt x="181736" y="2369440"/>
                  </a:cubicBezTo>
                  <a:cubicBezTo>
                    <a:pt x="178307" y="2369440"/>
                    <a:pt x="175545" y="2366677"/>
                    <a:pt x="175545" y="2363248"/>
                  </a:cubicBezTo>
                  <a:cubicBezTo>
                    <a:pt x="175545" y="2359819"/>
                    <a:pt x="178307" y="2357057"/>
                    <a:pt x="181736" y="2357057"/>
                  </a:cubicBezTo>
                  <a:close/>
                  <a:moveTo>
                    <a:pt x="3217354" y="2355533"/>
                  </a:moveTo>
                  <a:cubicBezTo>
                    <a:pt x="3217460" y="2355533"/>
                    <a:pt x="3217545" y="2355618"/>
                    <a:pt x="3217545" y="2355723"/>
                  </a:cubicBezTo>
                  <a:cubicBezTo>
                    <a:pt x="3217545" y="2355829"/>
                    <a:pt x="3217460" y="2355914"/>
                    <a:pt x="3217354" y="2355914"/>
                  </a:cubicBezTo>
                  <a:cubicBezTo>
                    <a:pt x="3217249" y="2355914"/>
                    <a:pt x="3217164" y="2355829"/>
                    <a:pt x="3217164" y="2355723"/>
                  </a:cubicBezTo>
                  <a:cubicBezTo>
                    <a:pt x="3217164" y="2355618"/>
                    <a:pt x="3217249" y="2355533"/>
                    <a:pt x="3217354" y="2355533"/>
                  </a:cubicBezTo>
                  <a:close/>
                  <a:moveTo>
                    <a:pt x="2631947" y="2352485"/>
                  </a:moveTo>
                  <a:cubicBezTo>
                    <a:pt x="2635376" y="2352485"/>
                    <a:pt x="2638138" y="2355247"/>
                    <a:pt x="2638138" y="2358676"/>
                  </a:cubicBezTo>
                  <a:cubicBezTo>
                    <a:pt x="2638138" y="2362105"/>
                    <a:pt x="2635376" y="2364868"/>
                    <a:pt x="2631947" y="2364868"/>
                  </a:cubicBezTo>
                  <a:cubicBezTo>
                    <a:pt x="2628518" y="2364868"/>
                    <a:pt x="2625756" y="2362105"/>
                    <a:pt x="2625756" y="2358676"/>
                  </a:cubicBezTo>
                  <a:cubicBezTo>
                    <a:pt x="2625756" y="2355247"/>
                    <a:pt x="2628518" y="2352485"/>
                    <a:pt x="2631947" y="2352485"/>
                  </a:cubicBezTo>
                  <a:close/>
                  <a:moveTo>
                    <a:pt x="3128866" y="2351342"/>
                  </a:moveTo>
                  <a:cubicBezTo>
                    <a:pt x="3132295" y="2351342"/>
                    <a:pt x="3135058" y="2354104"/>
                    <a:pt x="3135058" y="2357533"/>
                  </a:cubicBezTo>
                  <a:cubicBezTo>
                    <a:pt x="3135058" y="2360962"/>
                    <a:pt x="3132295" y="2363724"/>
                    <a:pt x="3128866" y="2363724"/>
                  </a:cubicBezTo>
                  <a:cubicBezTo>
                    <a:pt x="3125437" y="2363724"/>
                    <a:pt x="3122675" y="2360962"/>
                    <a:pt x="3122675" y="2357533"/>
                  </a:cubicBezTo>
                  <a:cubicBezTo>
                    <a:pt x="3122675" y="2354104"/>
                    <a:pt x="3125437" y="2351342"/>
                    <a:pt x="3128866" y="2351342"/>
                  </a:cubicBezTo>
                  <a:close/>
                  <a:moveTo>
                    <a:pt x="1146714" y="2351342"/>
                  </a:moveTo>
                  <a:cubicBezTo>
                    <a:pt x="1150143" y="2351342"/>
                    <a:pt x="1152906" y="2354104"/>
                    <a:pt x="1152906" y="2357533"/>
                  </a:cubicBezTo>
                  <a:cubicBezTo>
                    <a:pt x="1152906" y="2360962"/>
                    <a:pt x="1150143" y="2363724"/>
                    <a:pt x="1146714" y="2363724"/>
                  </a:cubicBezTo>
                  <a:cubicBezTo>
                    <a:pt x="1143285" y="2363724"/>
                    <a:pt x="1140523" y="2360962"/>
                    <a:pt x="1140523" y="2357533"/>
                  </a:cubicBezTo>
                  <a:cubicBezTo>
                    <a:pt x="1140523" y="2354104"/>
                    <a:pt x="1143285" y="2351342"/>
                    <a:pt x="1146714" y="2351342"/>
                  </a:cubicBezTo>
                  <a:close/>
                  <a:moveTo>
                    <a:pt x="472249" y="2350866"/>
                  </a:moveTo>
                  <a:cubicBezTo>
                    <a:pt x="475678" y="2350866"/>
                    <a:pt x="478440" y="2353628"/>
                    <a:pt x="478440" y="2357057"/>
                  </a:cubicBezTo>
                  <a:cubicBezTo>
                    <a:pt x="478440" y="2360486"/>
                    <a:pt x="475678" y="2363249"/>
                    <a:pt x="472249" y="2363249"/>
                  </a:cubicBezTo>
                  <a:cubicBezTo>
                    <a:pt x="468820" y="2363249"/>
                    <a:pt x="466058" y="2360486"/>
                    <a:pt x="466058" y="2357057"/>
                  </a:cubicBezTo>
                  <a:cubicBezTo>
                    <a:pt x="466058" y="2353628"/>
                    <a:pt x="468820" y="2350866"/>
                    <a:pt x="472249" y="2350866"/>
                  </a:cubicBezTo>
                  <a:close/>
                  <a:moveTo>
                    <a:pt x="153256" y="2350484"/>
                  </a:moveTo>
                  <a:lnTo>
                    <a:pt x="158877" y="2356104"/>
                  </a:lnTo>
                  <a:lnTo>
                    <a:pt x="163639" y="2351342"/>
                  </a:lnTo>
                  <a:lnTo>
                    <a:pt x="169306" y="2357009"/>
                  </a:lnTo>
                  <a:lnTo>
                    <a:pt x="172497" y="2353818"/>
                  </a:lnTo>
                  <a:cubicBezTo>
                    <a:pt x="175926" y="2353818"/>
                    <a:pt x="178689" y="2356580"/>
                    <a:pt x="178689" y="2360009"/>
                  </a:cubicBezTo>
                  <a:cubicBezTo>
                    <a:pt x="178689" y="2363438"/>
                    <a:pt x="175926" y="2366201"/>
                    <a:pt x="172497" y="2366201"/>
                  </a:cubicBezTo>
                  <a:lnTo>
                    <a:pt x="166830" y="2360533"/>
                  </a:lnTo>
                  <a:lnTo>
                    <a:pt x="163639" y="2363724"/>
                  </a:lnTo>
                  <a:lnTo>
                    <a:pt x="158019" y="2358104"/>
                  </a:lnTo>
                  <a:lnTo>
                    <a:pt x="153256" y="2362867"/>
                  </a:lnTo>
                  <a:cubicBezTo>
                    <a:pt x="149827" y="2362867"/>
                    <a:pt x="147065" y="2360104"/>
                    <a:pt x="147065" y="2356675"/>
                  </a:cubicBezTo>
                  <a:cubicBezTo>
                    <a:pt x="147065" y="2353246"/>
                    <a:pt x="149827" y="2350484"/>
                    <a:pt x="153256" y="2350484"/>
                  </a:cubicBezTo>
                  <a:close/>
                  <a:moveTo>
                    <a:pt x="3103816" y="2350389"/>
                  </a:moveTo>
                  <a:cubicBezTo>
                    <a:pt x="3107245" y="2350389"/>
                    <a:pt x="3110008" y="2353151"/>
                    <a:pt x="3110008" y="2356580"/>
                  </a:cubicBezTo>
                  <a:cubicBezTo>
                    <a:pt x="3110008" y="2360009"/>
                    <a:pt x="3107245" y="2362772"/>
                    <a:pt x="3103816" y="2362772"/>
                  </a:cubicBezTo>
                  <a:cubicBezTo>
                    <a:pt x="3100387" y="2362772"/>
                    <a:pt x="3097625" y="2360009"/>
                    <a:pt x="3097625" y="2356580"/>
                  </a:cubicBezTo>
                  <a:cubicBezTo>
                    <a:pt x="3097625" y="2353151"/>
                    <a:pt x="3100387" y="2350389"/>
                    <a:pt x="3103816" y="2350389"/>
                  </a:cubicBezTo>
                  <a:close/>
                  <a:moveTo>
                    <a:pt x="3145249" y="2349818"/>
                  </a:moveTo>
                  <a:cubicBezTo>
                    <a:pt x="3148678" y="2349818"/>
                    <a:pt x="3151440" y="2352580"/>
                    <a:pt x="3151440" y="2356009"/>
                  </a:cubicBezTo>
                  <a:cubicBezTo>
                    <a:pt x="3151440" y="2359438"/>
                    <a:pt x="3148678" y="2362201"/>
                    <a:pt x="3145249" y="2362201"/>
                  </a:cubicBezTo>
                  <a:cubicBezTo>
                    <a:pt x="3141820" y="2362201"/>
                    <a:pt x="3139058" y="2359438"/>
                    <a:pt x="3139058" y="2356009"/>
                  </a:cubicBezTo>
                  <a:cubicBezTo>
                    <a:pt x="3139058" y="2352580"/>
                    <a:pt x="3141820" y="2349818"/>
                    <a:pt x="3145249" y="2349818"/>
                  </a:cubicBezTo>
                  <a:close/>
                  <a:moveTo>
                    <a:pt x="339947" y="2347055"/>
                  </a:moveTo>
                  <a:cubicBezTo>
                    <a:pt x="343376" y="2347055"/>
                    <a:pt x="346138" y="2349817"/>
                    <a:pt x="346138" y="2353246"/>
                  </a:cubicBezTo>
                  <a:cubicBezTo>
                    <a:pt x="346138" y="2356675"/>
                    <a:pt x="343376" y="2359438"/>
                    <a:pt x="339947" y="2359438"/>
                  </a:cubicBezTo>
                  <a:cubicBezTo>
                    <a:pt x="336518" y="2359438"/>
                    <a:pt x="333756" y="2356675"/>
                    <a:pt x="333756" y="2353246"/>
                  </a:cubicBezTo>
                  <a:cubicBezTo>
                    <a:pt x="333756" y="2349817"/>
                    <a:pt x="336518" y="2347055"/>
                    <a:pt x="339947" y="2347055"/>
                  </a:cubicBezTo>
                  <a:close/>
                  <a:moveTo>
                    <a:pt x="3066192" y="2345722"/>
                  </a:moveTo>
                  <a:cubicBezTo>
                    <a:pt x="3069621" y="2345722"/>
                    <a:pt x="3072383" y="2348484"/>
                    <a:pt x="3072383" y="2351913"/>
                  </a:cubicBezTo>
                  <a:cubicBezTo>
                    <a:pt x="3072383" y="2355342"/>
                    <a:pt x="3069621" y="2358105"/>
                    <a:pt x="3066192" y="2358105"/>
                  </a:cubicBezTo>
                  <a:cubicBezTo>
                    <a:pt x="3062763" y="2358105"/>
                    <a:pt x="3060001" y="2355342"/>
                    <a:pt x="3060001" y="2351913"/>
                  </a:cubicBezTo>
                  <a:cubicBezTo>
                    <a:pt x="3060001" y="2348484"/>
                    <a:pt x="3062763" y="2345722"/>
                    <a:pt x="3066192" y="2345722"/>
                  </a:cubicBezTo>
                  <a:close/>
                  <a:moveTo>
                    <a:pt x="3198590" y="2345150"/>
                  </a:moveTo>
                  <a:cubicBezTo>
                    <a:pt x="3202019" y="2345150"/>
                    <a:pt x="3204781" y="2347912"/>
                    <a:pt x="3204781" y="2351341"/>
                  </a:cubicBezTo>
                  <a:cubicBezTo>
                    <a:pt x="3204781" y="2354770"/>
                    <a:pt x="3202019" y="2357533"/>
                    <a:pt x="3198590" y="2357533"/>
                  </a:cubicBezTo>
                  <a:cubicBezTo>
                    <a:pt x="3195161" y="2357533"/>
                    <a:pt x="3192399" y="2354770"/>
                    <a:pt x="3192399" y="2351341"/>
                  </a:cubicBezTo>
                  <a:cubicBezTo>
                    <a:pt x="3192399" y="2347912"/>
                    <a:pt x="3195161" y="2345150"/>
                    <a:pt x="3198590" y="2345150"/>
                  </a:cubicBezTo>
                  <a:close/>
                  <a:moveTo>
                    <a:pt x="3173824" y="2343150"/>
                  </a:moveTo>
                  <a:lnTo>
                    <a:pt x="3179158" y="2348484"/>
                  </a:lnTo>
                  <a:lnTo>
                    <a:pt x="3184492" y="2343150"/>
                  </a:lnTo>
                  <a:cubicBezTo>
                    <a:pt x="3187921" y="2343150"/>
                    <a:pt x="3190684" y="2345912"/>
                    <a:pt x="3190684" y="2349341"/>
                  </a:cubicBezTo>
                  <a:cubicBezTo>
                    <a:pt x="3190684" y="2352770"/>
                    <a:pt x="3187921" y="2355532"/>
                    <a:pt x="3184492" y="2355532"/>
                  </a:cubicBezTo>
                  <a:lnTo>
                    <a:pt x="3179158" y="2350198"/>
                  </a:lnTo>
                  <a:lnTo>
                    <a:pt x="3173824" y="2355532"/>
                  </a:lnTo>
                  <a:lnTo>
                    <a:pt x="3170301" y="2352009"/>
                  </a:lnTo>
                  <a:lnTo>
                    <a:pt x="3165062" y="2357248"/>
                  </a:lnTo>
                  <a:lnTo>
                    <a:pt x="3161966" y="2354152"/>
                  </a:lnTo>
                  <a:lnTo>
                    <a:pt x="3156394" y="2359724"/>
                  </a:lnTo>
                  <a:cubicBezTo>
                    <a:pt x="3152965" y="2359724"/>
                    <a:pt x="3150203" y="2356961"/>
                    <a:pt x="3150203" y="2353532"/>
                  </a:cubicBezTo>
                  <a:cubicBezTo>
                    <a:pt x="3150203" y="2350103"/>
                    <a:pt x="3152965" y="2347341"/>
                    <a:pt x="3156394" y="2347341"/>
                  </a:cubicBezTo>
                  <a:lnTo>
                    <a:pt x="3159490" y="2350437"/>
                  </a:lnTo>
                  <a:lnTo>
                    <a:pt x="3165062" y="2344865"/>
                  </a:lnTo>
                  <a:lnTo>
                    <a:pt x="3168586" y="2348389"/>
                  </a:lnTo>
                  <a:close/>
                  <a:moveTo>
                    <a:pt x="666178" y="2342865"/>
                  </a:moveTo>
                  <a:cubicBezTo>
                    <a:pt x="669607" y="2342865"/>
                    <a:pt x="672369" y="2345627"/>
                    <a:pt x="672369" y="2349056"/>
                  </a:cubicBezTo>
                  <a:cubicBezTo>
                    <a:pt x="672369" y="2352485"/>
                    <a:pt x="669607" y="2355247"/>
                    <a:pt x="666178" y="2355247"/>
                  </a:cubicBezTo>
                  <a:cubicBezTo>
                    <a:pt x="662749" y="2355247"/>
                    <a:pt x="659987" y="2352485"/>
                    <a:pt x="659987" y="2349056"/>
                  </a:cubicBezTo>
                  <a:cubicBezTo>
                    <a:pt x="659987" y="2345627"/>
                    <a:pt x="662749" y="2342865"/>
                    <a:pt x="666178" y="2342865"/>
                  </a:cubicBezTo>
                  <a:close/>
                  <a:moveTo>
                    <a:pt x="2243899" y="2342769"/>
                  </a:moveTo>
                  <a:cubicBezTo>
                    <a:pt x="2247319" y="2342769"/>
                    <a:pt x="2250090" y="2345541"/>
                    <a:pt x="2250090" y="2348960"/>
                  </a:cubicBezTo>
                  <a:cubicBezTo>
                    <a:pt x="2250090" y="2352380"/>
                    <a:pt x="2247319" y="2355152"/>
                    <a:pt x="2243899" y="2355152"/>
                  </a:cubicBezTo>
                  <a:cubicBezTo>
                    <a:pt x="2240480" y="2355152"/>
                    <a:pt x="2237708" y="2352380"/>
                    <a:pt x="2237708" y="2348960"/>
                  </a:cubicBezTo>
                  <a:cubicBezTo>
                    <a:pt x="2237708" y="2345541"/>
                    <a:pt x="2240480" y="2342769"/>
                    <a:pt x="2243899" y="2342769"/>
                  </a:cubicBezTo>
                  <a:close/>
                  <a:moveTo>
                    <a:pt x="196024" y="2342007"/>
                  </a:moveTo>
                  <a:cubicBezTo>
                    <a:pt x="199453" y="2342007"/>
                    <a:pt x="202215" y="2344769"/>
                    <a:pt x="202215" y="2348198"/>
                  </a:cubicBezTo>
                  <a:cubicBezTo>
                    <a:pt x="202215" y="2351627"/>
                    <a:pt x="199453" y="2354390"/>
                    <a:pt x="196024" y="2354390"/>
                  </a:cubicBezTo>
                  <a:cubicBezTo>
                    <a:pt x="192595" y="2354390"/>
                    <a:pt x="189833" y="2351627"/>
                    <a:pt x="189833" y="2348198"/>
                  </a:cubicBezTo>
                  <a:cubicBezTo>
                    <a:pt x="189833" y="2344769"/>
                    <a:pt x="192595" y="2342007"/>
                    <a:pt x="196024" y="2342007"/>
                  </a:cubicBezTo>
                  <a:close/>
                  <a:moveTo>
                    <a:pt x="218979" y="2340769"/>
                  </a:moveTo>
                  <a:cubicBezTo>
                    <a:pt x="222408" y="2340769"/>
                    <a:pt x="225170" y="2343531"/>
                    <a:pt x="225170" y="2346960"/>
                  </a:cubicBezTo>
                  <a:cubicBezTo>
                    <a:pt x="225170" y="2350389"/>
                    <a:pt x="222408" y="2353151"/>
                    <a:pt x="218979" y="2353151"/>
                  </a:cubicBezTo>
                  <a:cubicBezTo>
                    <a:pt x="215550" y="2353151"/>
                    <a:pt x="212788" y="2350389"/>
                    <a:pt x="212788" y="2346960"/>
                  </a:cubicBezTo>
                  <a:cubicBezTo>
                    <a:pt x="212788" y="2343531"/>
                    <a:pt x="215550" y="2340769"/>
                    <a:pt x="218979" y="2340769"/>
                  </a:cubicBezTo>
                  <a:close/>
                  <a:moveTo>
                    <a:pt x="2887122" y="2339245"/>
                  </a:moveTo>
                  <a:cubicBezTo>
                    <a:pt x="2890551" y="2339245"/>
                    <a:pt x="2893314" y="2342007"/>
                    <a:pt x="2893314" y="2345436"/>
                  </a:cubicBezTo>
                  <a:cubicBezTo>
                    <a:pt x="2893314" y="2348865"/>
                    <a:pt x="2890551" y="2351628"/>
                    <a:pt x="2887122" y="2351628"/>
                  </a:cubicBezTo>
                  <a:cubicBezTo>
                    <a:pt x="2883693" y="2351628"/>
                    <a:pt x="2880931" y="2348865"/>
                    <a:pt x="2880931" y="2345436"/>
                  </a:cubicBezTo>
                  <a:cubicBezTo>
                    <a:pt x="2880931" y="2342007"/>
                    <a:pt x="2883693" y="2339245"/>
                    <a:pt x="2887122" y="2339245"/>
                  </a:cubicBezTo>
                  <a:close/>
                  <a:moveTo>
                    <a:pt x="142970" y="2338102"/>
                  </a:moveTo>
                  <a:cubicBezTo>
                    <a:pt x="145637" y="2338102"/>
                    <a:pt x="147828" y="2340293"/>
                    <a:pt x="147828" y="2342960"/>
                  </a:cubicBezTo>
                  <a:cubicBezTo>
                    <a:pt x="147828" y="2345627"/>
                    <a:pt x="145637" y="2347817"/>
                    <a:pt x="142970" y="2347817"/>
                  </a:cubicBezTo>
                  <a:cubicBezTo>
                    <a:pt x="140303" y="2347817"/>
                    <a:pt x="138112" y="2345627"/>
                    <a:pt x="138112" y="2342960"/>
                  </a:cubicBezTo>
                  <a:cubicBezTo>
                    <a:pt x="138112" y="2340293"/>
                    <a:pt x="140303" y="2338102"/>
                    <a:pt x="142970" y="2338102"/>
                  </a:cubicBezTo>
                  <a:close/>
                  <a:moveTo>
                    <a:pt x="153828" y="2336292"/>
                  </a:moveTo>
                  <a:lnTo>
                    <a:pt x="158638" y="2341103"/>
                  </a:lnTo>
                  <a:lnTo>
                    <a:pt x="162496" y="2337245"/>
                  </a:lnTo>
                  <a:lnTo>
                    <a:pt x="167592" y="2342341"/>
                  </a:lnTo>
                  <a:lnTo>
                    <a:pt x="170783" y="2339150"/>
                  </a:lnTo>
                  <a:lnTo>
                    <a:pt x="176879" y="2345246"/>
                  </a:lnTo>
                  <a:lnTo>
                    <a:pt x="181070" y="2341055"/>
                  </a:lnTo>
                  <a:cubicBezTo>
                    <a:pt x="184499" y="2341055"/>
                    <a:pt x="187261" y="2343817"/>
                    <a:pt x="187261" y="2347246"/>
                  </a:cubicBezTo>
                  <a:cubicBezTo>
                    <a:pt x="187261" y="2350675"/>
                    <a:pt x="184499" y="2353438"/>
                    <a:pt x="181070" y="2353438"/>
                  </a:cubicBezTo>
                  <a:lnTo>
                    <a:pt x="174974" y="2347341"/>
                  </a:lnTo>
                  <a:lnTo>
                    <a:pt x="170783" y="2351532"/>
                  </a:lnTo>
                  <a:lnTo>
                    <a:pt x="165687" y="2346436"/>
                  </a:lnTo>
                  <a:lnTo>
                    <a:pt x="162496" y="2349628"/>
                  </a:lnTo>
                  <a:lnTo>
                    <a:pt x="157685" y="2344817"/>
                  </a:lnTo>
                  <a:lnTo>
                    <a:pt x="153828" y="2348675"/>
                  </a:lnTo>
                  <a:cubicBezTo>
                    <a:pt x="150399" y="2348675"/>
                    <a:pt x="147637" y="2345912"/>
                    <a:pt x="147637" y="2342483"/>
                  </a:cubicBezTo>
                  <a:cubicBezTo>
                    <a:pt x="147637" y="2339054"/>
                    <a:pt x="150399" y="2336292"/>
                    <a:pt x="153828" y="2336292"/>
                  </a:cubicBezTo>
                  <a:close/>
                  <a:moveTo>
                    <a:pt x="253936" y="2335911"/>
                  </a:moveTo>
                  <a:cubicBezTo>
                    <a:pt x="257365" y="2335911"/>
                    <a:pt x="260127" y="2338673"/>
                    <a:pt x="260127" y="2342102"/>
                  </a:cubicBezTo>
                  <a:cubicBezTo>
                    <a:pt x="260127" y="2345531"/>
                    <a:pt x="257365" y="2348294"/>
                    <a:pt x="253936" y="2348294"/>
                  </a:cubicBezTo>
                  <a:cubicBezTo>
                    <a:pt x="250507" y="2348294"/>
                    <a:pt x="247745" y="2345531"/>
                    <a:pt x="247745" y="2342102"/>
                  </a:cubicBezTo>
                  <a:cubicBezTo>
                    <a:pt x="247745" y="2338673"/>
                    <a:pt x="250507" y="2335911"/>
                    <a:pt x="253936" y="2335911"/>
                  </a:cubicBezTo>
                  <a:close/>
                  <a:moveTo>
                    <a:pt x="3011233" y="2335530"/>
                  </a:moveTo>
                  <a:cubicBezTo>
                    <a:pt x="3014662" y="2335530"/>
                    <a:pt x="3017425" y="2338292"/>
                    <a:pt x="3017425" y="2341721"/>
                  </a:cubicBezTo>
                  <a:cubicBezTo>
                    <a:pt x="3017425" y="2345150"/>
                    <a:pt x="3014662" y="2347913"/>
                    <a:pt x="3011233" y="2347913"/>
                  </a:cubicBezTo>
                  <a:cubicBezTo>
                    <a:pt x="3007804" y="2347913"/>
                    <a:pt x="3005042" y="2345150"/>
                    <a:pt x="3005042" y="2341721"/>
                  </a:cubicBezTo>
                  <a:cubicBezTo>
                    <a:pt x="3005042" y="2338292"/>
                    <a:pt x="3007804" y="2335530"/>
                    <a:pt x="3011233" y="2335530"/>
                  </a:cubicBezTo>
                  <a:close/>
                  <a:moveTo>
                    <a:pt x="1039367" y="2334959"/>
                  </a:moveTo>
                  <a:cubicBezTo>
                    <a:pt x="1042796" y="2334959"/>
                    <a:pt x="1045558" y="2337721"/>
                    <a:pt x="1045558" y="2341150"/>
                  </a:cubicBezTo>
                  <a:cubicBezTo>
                    <a:pt x="1045558" y="2344579"/>
                    <a:pt x="1042796" y="2347341"/>
                    <a:pt x="1039367" y="2347341"/>
                  </a:cubicBezTo>
                  <a:cubicBezTo>
                    <a:pt x="1035938" y="2347341"/>
                    <a:pt x="1033176" y="2344579"/>
                    <a:pt x="1033176" y="2341150"/>
                  </a:cubicBezTo>
                  <a:cubicBezTo>
                    <a:pt x="1033176" y="2337721"/>
                    <a:pt x="1035938" y="2334959"/>
                    <a:pt x="1039367" y="2334959"/>
                  </a:cubicBezTo>
                  <a:close/>
                  <a:moveTo>
                    <a:pt x="3210019" y="2333435"/>
                  </a:moveTo>
                  <a:cubicBezTo>
                    <a:pt x="3213448" y="2333435"/>
                    <a:pt x="3216211" y="2336197"/>
                    <a:pt x="3216211" y="2339626"/>
                  </a:cubicBezTo>
                  <a:cubicBezTo>
                    <a:pt x="3216211" y="2343055"/>
                    <a:pt x="3213448" y="2345818"/>
                    <a:pt x="3210019" y="2345818"/>
                  </a:cubicBezTo>
                  <a:cubicBezTo>
                    <a:pt x="3206590" y="2345818"/>
                    <a:pt x="3203828" y="2343055"/>
                    <a:pt x="3203828" y="2339626"/>
                  </a:cubicBezTo>
                  <a:cubicBezTo>
                    <a:pt x="3203828" y="2336197"/>
                    <a:pt x="3206590" y="2333435"/>
                    <a:pt x="3210019" y="2333435"/>
                  </a:cubicBezTo>
                  <a:close/>
                  <a:moveTo>
                    <a:pt x="2703575" y="2331720"/>
                  </a:moveTo>
                  <a:cubicBezTo>
                    <a:pt x="2707004" y="2331720"/>
                    <a:pt x="2709766" y="2334482"/>
                    <a:pt x="2709766" y="2337911"/>
                  </a:cubicBezTo>
                  <a:cubicBezTo>
                    <a:pt x="2709766" y="2341340"/>
                    <a:pt x="2707004" y="2344103"/>
                    <a:pt x="2703575" y="2344103"/>
                  </a:cubicBezTo>
                  <a:cubicBezTo>
                    <a:pt x="2700146" y="2344103"/>
                    <a:pt x="2697384" y="2341340"/>
                    <a:pt x="2697384" y="2337911"/>
                  </a:cubicBezTo>
                  <a:cubicBezTo>
                    <a:pt x="2697384" y="2334482"/>
                    <a:pt x="2700146" y="2331720"/>
                    <a:pt x="2703575" y="2331720"/>
                  </a:cubicBezTo>
                  <a:close/>
                  <a:moveTo>
                    <a:pt x="3144107" y="2331625"/>
                  </a:moveTo>
                  <a:cubicBezTo>
                    <a:pt x="3147536" y="2331625"/>
                    <a:pt x="3150298" y="2334387"/>
                    <a:pt x="3150298" y="2337816"/>
                  </a:cubicBezTo>
                  <a:cubicBezTo>
                    <a:pt x="3150298" y="2341245"/>
                    <a:pt x="3147536" y="2344008"/>
                    <a:pt x="3144107" y="2344008"/>
                  </a:cubicBezTo>
                  <a:cubicBezTo>
                    <a:pt x="3140678" y="2344008"/>
                    <a:pt x="3137916" y="2341245"/>
                    <a:pt x="3137916" y="2337816"/>
                  </a:cubicBezTo>
                  <a:cubicBezTo>
                    <a:pt x="3137916" y="2334387"/>
                    <a:pt x="3140678" y="2331625"/>
                    <a:pt x="3144107" y="2331625"/>
                  </a:cubicBezTo>
                  <a:close/>
                  <a:moveTo>
                    <a:pt x="3194780" y="2329911"/>
                  </a:moveTo>
                  <a:cubicBezTo>
                    <a:pt x="3198209" y="2329911"/>
                    <a:pt x="3200971" y="2332673"/>
                    <a:pt x="3200971" y="2336102"/>
                  </a:cubicBezTo>
                  <a:cubicBezTo>
                    <a:pt x="3200971" y="2339531"/>
                    <a:pt x="3198209" y="2342293"/>
                    <a:pt x="3194780" y="2342293"/>
                  </a:cubicBezTo>
                  <a:cubicBezTo>
                    <a:pt x="3191351" y="2342293"/>
                    <a:pt x="3188589" y="2339531"/>
                    <a:pt x="3188589" y="2336102"/>
                  </a:cubicBezTo>
                  <a:cubicBezTo>
                    <a:pt x="3188589" y="2332673"/>
                    <a:pt x="3191351" y="2329911"/>
                    <a:pt x="3194780" y="2329911"/>
                  </a:cubicBezTo>
                  <a:close/>
                  <a:moveTo>
                    <a:pt x="3123342" y="2329911"/>
                  </a:moveTo>
                  <a:cubicBezTo>
                    <a:pt x="3126771" y="2329911"/>
                    <a:pt x="3129533" y="2332673"/>
                    <a:pt x="3129533" y="2336102"/>
                  </a:cubicBezTo>
                  <a:cubicBezTo>
                    <a:pt x="3129533" y="2339531"/>
                    <a:pt x="3126771" y="2342293"/>
                    <a:pt x="3123342" y="2342293"/>
                  </a:cubicBezTo>
                  <a:cubicBezTo>
                    <a:pt x="3119913" y="2342293"/>
                    <a:pt x="3117151" y="2339531"/>
                    <a:pt x="3117151" y="2336102"/>
                  </a:cubicBezTo>
                  <a:cubicBezTo>
                    <a:pt x="3117151" y="2332673"/>
                    <a:pt x="3119913" y="2329911"/>
                    <a:pt x="3123342" y="2329911"/>
                  </a:cubicBezTo>
                  <a:close/>
                  <a:moveTo>
                    <a:pt x="422719" y="2329244"/>
                  </a:moveTo>
                  <a:cubicBezTo>
                    <a:pt x="426148" y="2329244"/>
                    <a:pt x="428910" y="2332006"/>
                    <a:pt x="428910" y="2335435"/>
                  </a:cubicBezTo>
                  <a:cubicBezTo>
                    <a:pt x="428910" y="2338864"/>
                    <a:pt x="426148" y="2341627"/>
                    <a:pt x="422719" y="2341627"/>
                  </a:cubicBezTo>
                  <a:cubicBezTo>
                    <a:pt x="419290" y="2341627"/>
                    <a:pt x="416528" y="2338864"/>
                    <a:pt x="416528" y="2335435"/>
                  </a:cubicBezTo>
                  <a:cubicBezTo>
                    <a:pt x="416528" y="2332006"/>
                    <a:pt x="419290" y="2329244"/>
                    <a:pt x="422719" y="2329244"/>
                  </a:cubicBezTo>
                  <a:close/>
                  <a:moveTo>
                    <a:pt x="3183445" y="2328577"/>
                  </a:moveTo>
                  <a:cubicBezTo>
                    <a:pt x="3186874" y="2328577"/>
                    <a:pt x="3189636" y="2331339"/>
                    <a:pt x="3189636" y="2334768"/>
                  </a:cubicBezTo>
                  <a:cubicBezTo>
                    <a:pt x="3189636" y="2338197"/>
                    <a:pt x="3186874" y="2340959"/>
                    <a:pt x="3183445" y="2340959"/>
                  </a:cubicBezTo>
                  <a:lnTo>
                    <a:pt x="3179206" y="2336720"/>
                  </a:lnTo>
                  <a:lnTo>
                    <a:pt x="3174777" y="2341150"/>
                  </a:lnTo>
                  <a:lnTo>
                    <a:pt x="3171396" y="2337769"/>
                  </a:lnTo>
                  <a:lnTo>
                    <a:pt x="3166871" y="2342293"/>
                  </a:lnTo>
                  <a:lnTo>
                    <a:pt x="3162823" y="2338245"/>
                  </a:lnTo>
                  <a:lnTo>
                    <a:pt x="3157537" y="2343532"/>
                  </a:lnTo>
                  <a:cubicBezTo>
                    <a:pt x="3154108" y="2343532"/>
                    <a:pt x="3151346" y="2340769"/>
                    <a:pt x="3151346" y="2337340"/>
                  </a:cubicBezTo>
                  <a:cubicBezTo>
                    <a:pt x="3151346" y="2333911"/>
                    <a:pt x="3154108" y="2331149"/>
                    <a:pt x="3157537" y="2331149"/>
                  </a:cubicBezTo>
                  <a:lnTo>
                    <a:pt x="3161585" y="2335197"/>
                  </a:lnTo>
                  <a:lnTo>
                    <a:pt x="3166871" y="2329911"/>
                  </a:lnTo>
                  <a:lnTo>
                    <a:pt x="3170252" y="2333292"/>
                  </a:lnTo>
                  <a:lnTo>
                    <a:pt x="3174777" y="2328767"/>
                  </a:lnTo>
                  <a:lnTo>
                    <a:pt x="3179016" y="2333006"/>
                  </a:lnTo>
                  <a:close/>
                  <a:moveTo>
                    <a:pt x="2347340" y="2325624"/>
                  </a:moveTo>
                  <a:cubicBezTo>
                    <a:pt x="2350769" y="2325624"/>
                    <a:pt x="2353532" y="2328386"/>
                    <a:pt x="2353532" y="2331815"/>
                  </a:cubicBezTo>
                  <a:cubicBezTo>
                    <a:pt x="2353532" y="2335244"/>
                    <a:pt x="2350769" y="2338007"/>
                    <a:pt x="2347340" y="2338007"/>
                  </a:cubicBezTo>
                  <a:cubicBezTo>
                    <a:pt x="2343911" y="2338007"/>
                    <a:pt x="2341149" y="2335244"/>
                    <a:pt x="2341149" y="2331815"/>
                  </a:cubicBezTo>
                  <a:cubicBezTo>
                    <a:pt x="2341149" y="2328386"/>
                    <a:pt x="2343911" y="2325624"/>
                    <a:pt x="2347340" y="2325624"/>
                  </a:cubicBezTo>
                  <a:close/>
                  <a:moveTo>
                    <a:pt x="305180" y="2325624"/>
                  </a:moveTo>
                  <a:cubicBezTo>
                    <a:pt x="308609" y="2325624"/>
                    <a:pt x="311371" y="2328386"/>
                    <a:pt x="311371" y="2331815"/>
                  </a:cubicBezTo>
                  <a:cubicBezTo>
                    <a:pt x="311371" y="2335244"/>
                    <a:pt x="308609" y="2338007"/>
                    <a:pt x="305180" y="2338007"/>
                  </a:cubicBezTo>
                  <a:cubicBezTo>
                    <a:pt x="301751" y="2338007"/>
                    <a:pt x="298989" y="2335244"/>
                    <a:pt x="298989" y="2331815"/>
                  </a:cubicBezTo>
                  <a:cubicBezTo>
                    <a:pt x="298989" y="2328386"/>
                    <a:pt x="301751" y="2325624"/>
                    <a:pt x="305180" y="2325624"/>
                  </a:cubicBezTo>
                  <a:close/>
                  <a:moveTo>
                    <a:pt x="3091433" y="2324767"/>
                  </a:moveTo>
                  <a:cubicBezTo>
                    <a:pt x="3094862" y="2324767"/>
                    <a:pt x="3097624" y="2327529"/>
                    <a:pt x="3097624" y="2330958"/>
                  </a:cubicBezTo>
                  <a:cubicBezTo>
                    <a:pt x="3097624" y="2334387"/>
                    <a:pt x="3094862" y="2337150"/>
                    <a:pt x="3091433" y="2337150"/>
                  </a:cubicBezTo>
                  <a:cubicBezTo>
                    <a:pt x="3088004" y="2337150"/>
                    <a:pt x="3085242" y="2334387"/>
                    <a:pt x="3085242" y="2330958"/>
                  </a:cubicBezTo>
                  <a:cubicBezTo>
                    <a:pt x="3085242" y="2327529"/>
                    <a:pt x="3088004" y="2324767"/>
                    <a:pt x="3091433" y="2324767"/>
                  </a:cubicBezTo>
                  <a:close/>
                  <a:moveTo>
                    <a:pt x="3221831" y="2323243"/>
                  </a:moveTo>
                  <a:cubicBezTo>
                    <a:pt x="3224777" y="2323243"/>
                    <a:pt x="3227165" y="2325631"/>
                    <a:pt x="3227165" y="2328577"/>
                  </a:cubicBezTo>
                  <a:cubicBezTo>
                    <a:pt x="3227165" y="2331523"/>
                    <a:pt x="3224777" y="2333911"/>
                    <a:pt x="3221831" y="2333911"/>
                  </a:cubicBezTo>
                  <a:cubicBezTo>
                    <a:pt x="3218885" y="2333911"/>
                    <a:pt x="3216497" y="2331523"/>
                    <a:pt x="3216497" y="2328577"/>
                  </a:cubicBezTo>
                  <a:cubicBezTo>
                    <a:pt x="3216497" y="2325631"/>
                    <a:pt x="3218885" y="2323243"/>
                    <a:pt x="3221831" y="2323243"/>
                  </a:cubicBezTo>
                  <a:close/>
                  <a:moveTo>
                    <a:pt x="597407" y="2322005"/>
                  </a:moveTo>
                  <a:cubicBezTo>
                    <a:pt x="600836" y="2322005"/>
                    <a:pt x="603598" y="2324767"/>
                    <a:pt x="603598" y="2328196"/>
                  </a:cubicBezTo>
                  <a:cubicBezTo>
                    <a:pt x="603598" y="2331625"/>
                    <a:pt x="600836" y="2334388"/>
                    <a:pt x="597407" y="2334388"/>
                  </a:cubicBezTo>
                  <a:cubicBezTo>
                    <a:pt x="593978" y="2334388"/>
                    <a:pt x="591216" y="2331625"/>
                    <a:pt x="591216" y="2328196"/>
                  </a:cubicBezTo>
                  <a:cubicBezTo>
                    <a:pt x="591216" y="2324767"/>
                    <a:pt x="593978" y="2322005"/>
                    <a:pt x="597407" y="2322005"/>
                  </a:cubicBezTo>
                  <a:close/>
                  <a:moveTo>
                    <a:pt x="153066" y="2321529"/>
                  </a:moveTo>
                  <a:lnTo>
                    <a:pt x="157161" y="2325625"/>
                  </a:lnTo>
                  <a:lnTo>
                    <a:pt x="160686" y="2322100"/>
                  </a:lnTo>
                  <a:lnTo>
                    <a:pt x="165354" y="2326767"/>
                  </a:lnTo>
                  <a:lnTo>
                    <a:pt x="169354" y="2322767"/>
                  </a:lnTo>
                  <a:lnTo>
                    <a:pt x="175402" y="2328815"/>
                  </a:lnTo>
                  <a:lnTo>
                    <a:pt x="181546" y="2322671"/>
                  </a:lnTo>
                  <a:cubicBezTo>
                    <a:pt x="184975" y="2322671"/>
                    <a:pt x="187737" y="2325433"/>
                    <a:pt x="187737" y="2328862"/>
                  </a:cubicBezTo>
                  <a:cubicBezTo>
                    <a:pt x="187737" y="2332291"/>
                    <a:pt x="184975" y="2335054"/>
                    <a:pt x="181546" y="2335054"/>
                  </a:cubicBezTo>
                  <a:lnTo>
                    <a:pt x="175498" y="2329006"/>
                  </a:lnTo>
                  <a:lnTo>
                    <a:pt x="169354" y="2335149"/>
                  </a:lnTo>
                  <a:lnTo>
                    <a:pt x="164687" y="2330482"/>
                  </a:lnTo>
                  <a:lnTo>
                    <a:pt x="160686" y="2334483"/>
                  </a:lnTo>
                  <a:lnTo>
                    <a:pt x="156590" y="2330387"/>
                  </a:lnTo>
                  <a:lnTo>
                    <a:pt x="153066" y="2333912"/>
                  </a:lnTo>
                  <a:lnTo>
                    <a:pt x="148875" y="2329721"/>
                  </a:lnTo>
                  <a:lnTo>
                    <a:pt x="144208" y="2334388"/>
                  </a:lnTo>
                  <a:cubicBezTo>
                    <a:pt x="140779" y="2334388"/>
                    <a:pt x="138017" y="2331625"/>
                    <a:pt x="138017" y="2328196"/>
                  </a:cubicBezTo>
                  <a:cubicBezTo>
                    <a:pt x="138017" y="2324767"/>
                    <a:pt x="140779" y="2322005"/>
                    <a:pt x="144208" y="2322005"/>
                  </a:cubicBezTo>
                  <a:lnTo>
                    <a:pt x="148399" y="2326196"/>
                  </a:lnTo>
                  <a:close/>
                  <a:moveTo>
                    <a:pt x="200596" y="2320671"/>
                  </a:moveTo>
                  <a:cubicBezTo>
                    <a:pt x="204025" y="2320671"/>
                    <a:pt x="206787" y="2323433"/>
                    <a:pt x="206787" y="2326862"/>
                  </a:cubicBezTo>
                  <a:cubicBezTo>
                    <a:pt x="206787" y="2330291"/>
                    <a:pt x="204025" y="2333053"/>
                    <a:pt x="200596" y="2333053"/>
                  </a:cubicBezTo>
                  <a:cubicBezTo>
                    <a:pt x="197167" y="2333053"/>
                    <a:pt x="194405" y="2330291"/>
                    <a:pt x="194405" y="2326862"/>
                  </a:cubicBezTo>
                  <a:cubicBezTo>
                    <a:pt x="194405" y="2323433"/>
                    <a:pt x="197167" y="2320671"/>
                    <a:pt x="200596" y="2320671"/>
                  </a:cubicBezTo>
                  <a:close/>
                  <a:moveTo>
                    <a:pt x="2934080" y="2317814"/>
                  </a:moveTo>
                  <a:cubicBezTo>
                    <a:pt x="2937509" y="2317814"/>
                    <a:pt x="2940271" y="2320576"/>
                    <a:pt x="2940271" y="2324005"/>
                  </a:cubicBezTo>
                  <a:cubicBezTo>
                    <a:pt x="2940271" y="2327434"/>
                    <a:pt x="2937509" y="2330197"/>
                    <a:pt x="2934080" y="2330197"/>
                  </a:cubicBezTo>
                  <a:cubicBezTo>
                    <a:pt x="2930651" y="2330197"/>
                    <a:pt x="2927889" y="2327434"/>
                    <a:pt x="2927889" y="2324005"/>
                  </a:cubicBezTo>
                  <a:cubicBezTo>
                    <a:pt x="2927889" y="2320576"/>
                    <a:pt x="2930651" y="2317814"/>
                    <a:pt x="2934080" y="2317814"/>
                  </a:cubicBezTo>
                  <a:close/>
                  <a:moveTo>
                    <a:pt x="3205162" y="2317528"/>
                  </a:moveTo>
                  <a:cubicBezTo>
                    <a:pt x="3208591" y="2317528"/>
                    <a:pt x="3211353" y="2320290"/>
                    <a:pt x="3211353" y="2323719"/>
                  </a:cubicBezTo>
                  <a:cubicBezTo>
                    <a:pt x="3211353" y="2327148"/>
                    <a:pt x="3208591" y="2329911"/>
                    <a:pt x="3205162" y="2329911"/>
                  </a:cubicBezTo>
                  <a:cubicBezTo>
                    <a:pt x="3201733" y="2329911"/>
                    <a:pt x="3198971" y="2327148"/>
                    <a:pt x="3198971" y="2323719"/>
                  </a:cubicBezTo>
                  <a:cubicBezTo>
                    <a:pt x="3198971" y="2320290"/>
                    <a:pt x="3201733" y="2317528"/>
                    <a:pt x="3205162" y="2317528"/>
                  </a:cubicBezTo>
                  <a:close/>
                  <a:moveTo>
                    <a:pt x="939355" y="2317337"/>
                  </a:moveTo>
                  <a:cubicBezTo>
                    <a:pt x="942784" y="2317337"/>
                    <a:pt x="945546" y="2320099"/>
                    <a:pt x="945546" y="2323528"/>
                  </a:cubicBezTo>
                  <a:cubicBezTo>
                    <a:pt x="945546" y="2326957"/>
                    <a:pt x="942784" y="2329720"/>
                    <a:pt x="939355" y="2329720"/>
                  </a:cubicBezTo>
                  <a:cubicBezTo>
                    <a:pt x="935926" y="2329720"/>
                    <a:pt x="933164" y="2326957"/>
                    <a:pt x="933164" y="2323528"/>
                  </a:cubicBezTo>
                  <a:cubicBezTo>
                    <a:pt x="933164" y="2320099"/>
                    <a:pt x="935926" y="2317337"/>
                    <a:pt x="939355" y="2317337"/>
                  </a:cubicBezTo>
                  <a:close/>
                  <a:moveTo>
                    <a:pt x="230028" y="2315242"/>
                  </a:moveTo>
                  <a:cubicBezTo>
                    <a:pt x="233457" y="2315242"/>
                    <a:pt x="236219" y="2318004"/>
                    <a:pt x="236219" y="2321433"/>
                  </a:cubicBezTo>
                  <a:cubicBezTo>
                    <a:pt x="236219" y="2324862"/>
                    <a:pt x="233457" y="2327625"/>
                    <a:pt x="230028" y="2327625"/>
                  </a:cubicBezTo>
                  <a:cubicBezTo>
                    <a:pt x="226599" y="2327625"/>
                    <a:pt x="223837" y="2324862"/>
                    <a:pt x="223837" y="2321433"/>
                  </a:cubicBezTo>
                  <a:cubicBezTo>
                    <a:pt x="223837" y="2318004"/>
                    <a:pt x="226599" y="2315242"/>
                    <a:pt x="230028" y="2315242"/>
                  </a:cubicBezTo>
                  <a:close/>
                  <a:moveTo>
                    <a:pt x="3044094" y="2314385"/>
                  </a:moveTo>
                  <a:cubicBezTo>
                    <a:pt x="3047523" y="2314385"/>
                    <a:pt x="3050285" y="2317147"/>
                    <a:pt x="3050285" y="2320576"/>
                  </a:cubicBezTo>
                  <a:cubicBezTo>
                    <a:pt x="3050285" y="2324005"/>
                    <a:pt x="3047523" y="2326768"/>
                    <a:pt x="3044094" y="2326768"/>
                  </a:cubicBezTo>
                  <a:cubicBezTo>
                    <a:pt x="3040665" y="2326768"/>
                    <a:pt x="3037903" y="2324005"/>
                    <a:pt x="3037903" y="2320576"/>
                  </a:cubicBezTo>
                  <a:cubicBezTo>
                    <a:pt x="3037903" y="2317147"/>
                    <a:pt x="3040665" y="2314385"/>
                    <a:pt x="3044094" y="2314385"/>
                  </a:cubicBezTo>
                  <a:close/>
                  <a:moveTo>
                    <a:pt x="3157632" y="2312670"/>
                  </a:moveTo>
                  <a:lnTo>
                    <a:pt x="3163490" y="2318528"/>
                  </a:lnTo>
                  <a:lnTo>
                    <a:pt x="3168681" y="2313337"/>
                  </a:lnTo>
                  <a:lnTo>
                    <a:pt x="3172587" y="2317242"/>
                  </a:lnTo>
                  <a:lnTo>
                    <a:pt x="3176587" y="2313242"/>
                  </a:lnTo>
                  <a:lnTo>
                    <a:pt x="3180397" y="2317052"/>
                  </a:lnTo>
                  <a:lnTo>
                    <a:pt x="3184016" y="2313432"/>
                  </a:lnTo>
                  <a:lnTo>
                    <a:pt x="3189160" y="2318576"/>
                  </a:lnTo>
                  <a:lnTo>
                    <a:pt x="3193065" y="2314671"/>
                  </a:lnTo>
                  <a:cubicBezTo>
                    <a:pt x="3196494" y="2314671"/>
                    <a:pt x="3199257" y="2317433"/>
                    <a:pt x="3199257" y="2320862"/>
                  </a:cubicBezTo>
                  <a:cubicBezTo>
                    <a:pt x="3199257" y="2324291"/>
                    <a:pt x="3196494" y="2327054"/>
                    <a:pt x="3193065" y="2327054"/>
                  </a:cubicBezTo>
                  <a:lnTo>
                    <a:pt x="3187921" y="2321910"/>
                  </a:lnTo>
                  <a:lnTo>
                    <a:pt x="3184016" y="2325815"/>
                  </a:lnTo>
                  <a:lnTo>
                    <a:pt x="3180206" y="2322005"/>
                  </a:lnTo>
                  <a:lnTo>
                    <a:pt x="3176587" y="2325624"/>
                  </a:lnTo>
                  <a:lnTo>
                    <a:pt x="3172682" y="2321719"/>
                  </a:lnTo>
                  <a:lnTo>
                    <a:pt x="3168681" y="2325720"/>
                  </a:lnTo>
                  <a:lnTo>
                    <a:pt x="3162823" y="2319862"/>
                  </a:lnTo>
                  <a:lnTo>
                    <a:pt x="3157632" y="2325053"/>
                  </a:lnTo>
                  <a:cubicBezTo>
                    <a:pt x="3154203" y="2325053"/>
                    <a:pt x="3151441" y="2322290"/>
                    <a:pt x="3151441" y="2318861"/>
                  </a:cubicBezTo>
                  <a:cubicBezTo>
                    <a:pt x="3151441" y="2315432"/>
                    <a:pt x="3154203" y="2312670"/>
                    <a:pt x="3157632" y="2312670"/>
                  </a:cubicBezTo>
                  <a:close/>
                  <a:moveTo>
                    <a:pt x="2769012" y="2310956"/>
                  </a:moveTo>
                  <a:cubicBezTo>
                    <a:pt x="2772441" y="2310956"/>
                    <a:pt x="2775203" y="2313718"/>
                    <a:pt x="2775203" y="2317147"/>
                  </a:cubicBezTo>
                  <a:cubicBezTo>
                    <a:pt x="2775203" y="2320576"/>
                    <a:pt x="2772441" y="2323339"/>
                    <a:pt x="2769012" y="2323339"/>
                  </a:cubicBezTo>
                  <a:cubicBezTo>
                    <a:pt x="2765583" y="2323339"/>
                    <a:pt x="2762821" y="2320576"/>
                    <a:pt x="2762821" y="2317147"/>
                  </a:cubicBezTo>
                  <a:cubicBezTo>
                    <a:pt x="2762821" y="2313718"/>
                    <a:pt x="2765583" y="2310956"/>
                    <a:pt x="2769012" y="2310956"/>
                  </a:cubicBezTo>
                  <a:close/>
                  <a:moveTo>
                    <a:pt x="3140582" y="2310194"/>
                  </a:moveTo>
                  <a:cubicBezTo>
                    <a:pt x="3144011" y="2310194"/>
                    <a:pt x="3146773" y="2312956"/>
                    <a:pt x="3146773" y="2316385"/>
                  </a:cubicBezTo>
                  <a:cubicBezTo>
                    <a:pt x="3146773" y="2319814"/>
                    <a:pt x="3144011" y="2322577"/>
                    <a:pt x="3140582" y="2322577"/>
                  </a:cubicBezTo>
                  <a:cubicBezTo>
                    <a:pt x="3137153" y="2322577"/>
                    <a:pt x="3134391" y="2319814"/>
                    <a:pt x="3134391" y="2316385"/>
                  </a:cubicBezTo>
                  <a:cubicBezTo>
                    <a:pt x="3134391" y="2312956"/>
                    <a:pt x="3137153" y="2310194"/>
                    <a:pt x="3140582" y="2310194"/>
                  </a:cubicBezTo>
                  <a:close/>
                  <a:moveTo>
                    <a:pt x="377951" y="2308098"/>
                  </a:moveTo>
                  <a:cubicBezTo>
                    <a:pt x="381380" y="2308098"/>
                    <a:pt x="384143" y="2310860"/>
                    <a:pt x="384143" y="2314289"/>
                  </a:cubicBezTo>
                  <a:cubicBezTo>
                    <a:pt x="384143" y="2317718"/>
                    <a:pt x="381380" y="2320481"/>
                    <a:pt x="377951" y="2320481"/>
                  </a:cubicBezTo>
                  <a:cubicBezTo>
                    <a:pt x="374522" y="2320481"/>
                    <a:pt x="371760" y="2317718"/>
                    <a:pt x="371760" y="2314289"/>
                  </a:cubicBezTo>
                  <a:cubicBezTo>
                    <a:pt x="371760" y="2310860"/>
                    <a:pt x="374522" y="2308098"/>
                    <a:pt x="377951" y="2308098"/>
                  </a:cubicBezTo>
                  <a:close/>
                  <a:moveTo>
                    <a:pt x="2443352" y="2307527"/>
                  </a:moveTo>
                  <a:cubicBezTo>
                    <a:pt x="2446781" y="2307527"/>
                    <a:pt x="2449544" y="2310289"/>
                    <a:pt x="2449544" y="2313718"/>
                  </a:cubicBezTo>
                  <a:cubicBezTo>
                    <a:pt x="2449544" y="2317147"/>
                    <a:pt x="2446781" y="2319910"/>
                    <a:pt x="2443352" y="2319910"/>
                  </a:cubicBezTo>
                  <a:cubicBezTo>
                    <a:pt x="2439923" y="2319910"/>
                    <a:pt x="2437161" y="2317147"/>
                    <a:pt x="2437161" y="2313718"/>
                  </a:cubicBezTo>
                  <a:cubicBezTo>
                    <a:pt x="2437161" y="2310289"/>
                    <a:pt x="2439923" y="2307527"/>
                    <a:pt x="2443352" y="2307527"/>
                  </a:cubicBezTo>
                  <a:close/>
                  <a:moveTo>
                    <a:pt x="3215830" y="2305717"/>
                  </a:moveTo>
                  <a:cubicBezTo>
                    <a:pt x="3219259" y="2305717"/>
                    <a:pt x="3222021" y="2308479"/>
                    <a:pt x="3222021" y="2311908"/>
                  </a:cubicBezTo>
                  <a:cubicBezTo>
                    <a:pt x="3222021" y="2315337"/>
                    <a:pt x="3219259" y="2318100"/>
                    <a:pt x="3215830" y="2318100"/>
                  </a:cubicBezTo>
                  <a:cubicBezTo>
                    <a:pt x="3212401" y="2318100"/>
                    <a:pt x="3209639" y="2315337"/>
                    <a:pt x="3209639" y="2311908"/>
                  </a:cubicBezTo>
                  <a:cubicBezTo>
                    <a:pt x="3209639" y="2308479"/>
                    <a:pt x="3212401" y="2305717"/>
                    <a:pt x="3215830" y="2305717"/>
                  </a:cubicBezTo>
                  <a:close/>
                  <a:moveTo>
                    <a:pt x="274034" y="2304765"/>
                  </a:moveTo>
                  <a:cubicBezTo>
                    <a:pt x="277463" y="2304765"/>
                    <a:pt x="280225" y="2307527"/>
                    <a:pt x="280225" y="2310956"/>
                  </a:cubicBezTo>
                  <a:cubicBezTo>
                    <a:pt x="280225" y="2314385"/>
                    <a:pt x="277463" y="2317147"/>
                    <a:pt x="274034" y="2317147"/>
                  </a:cubicBezTo>
                  <a:cubicBezTo>
                    <a:pt x="270605" y="2317147"/>
                    <a:pt x="267843" y="2314385"/>
                    <a:pt x="267843" y="2310956"/>
                  </a:cubicBezTo>
                  <a:cubicBezTo>
                    <a:pt x="267843" y="2307527"/>
                    <a:pt x="270605" y="2304765"/>
                    <a:pt x="274034" y="2304765"/>
                  </a:cubicBezTo>
                  <a:close/>
                  <a:moveTo>
                    <a:pt x="3113817" y="2304383"/>
                  </a:moveTo>
                  <a:cubicBezTo>
                    <a:pt x="3117246" y="2304383"/>
                    <a:pt x="3120008" y="2307145"/>
                    <a:pt x="3120008" y="2310574"/>
                  </a:cubicBezTo>
                  <a:cubicBezTo>
                    <a:pt x="3120008" y="2314003"/>
                    <a:pt x="3117246" y="2316766"/>
                    <a:pt x="3113817" y="2316766"/>
                  </a:cubicBezTo>
                  <a:cubicBezTo>
                    <a:pt x="3110388" y="2316766"/>
                    <a:pt x="3107626" y="2314003"/>
                    <a:pt x="3107626" y="2310574"/>
                  </a:cubicBezTo>
                  <a:cubicBezTo>
                    <a:pt x="3107626" y="2307145"/>
                    <a:pt x="3110388" y="2304383"/>
                    <a:pt x="3113817" y="2304383"/>
                  </a:cubicBezTo>
                  <a:close/>
                  <a:moveTo>
                    <a:pt x="168687" y="2304193"/>
                  </a:moveTo>
                  <a:cubicBezTo>
                    <a:pt x="172116" y="2304193"/>
                    <a:pt x="174879" y="2306955"/>
                    <a:pt x="174879" y="2310384"/>
                  </a:cubicBezTo>
                  <a:cubicBezTo>
                    <a:pt x="174879" y="2313813"/>
                    <a:pt x="172116" y="2316576"/>
                    <a:pt x="168687" y="2316576"/>
                  </a:cubicBezTo>
                  <a:lnTo>
                    <a:pt x="164210" y="2312099"/>
                  </a:lnTo>
                  <a:lnTo>
                    <a:pt x="158686" y="2317624"/>
                  </a:lnTo>
                  <a:lnTo>
                    <a:pt x="155209" y="2314147"/>
                  </a:lnTo>
                  <a:lnTo>
                    <a:pt x="151256" y="2318100"/>
                  </a:lnTo>
                  <a:lnTo>
                    <a:pt x="148018" y="2314861"/>
                  </a:lnTo>
                  <a:lnTo>
                    <a:pt x="143922" y="2318957"/>
                  </a:lnTo>
                  <a:lnTo>
                    <a:pt x="140208" y="2315242"/>
                  </a:lnTo>
                  <a:lnTo>
                    <a:pt x="134683" y="2320766"/>
                  </a:lnTo>
                  <a:cubicBezTo>
                    <a:pt x="131264" y="2320766"/>
                    <a:pt x="128492" y="2317995"/>
                    <a:pt x="128492" y="2314575"/>
                  </a:cubicBezTo>
                  <a:cubicBezTo>
                    <a:pt x="128492" y="2311156"/>
                    <a:pt x="131264" y="2308384"/>
                    <a:pt x="134683" y="2308384"/>
                  </a:cubicBezTo>
                  <a:lnTo>
                    <a:pt x="138398" y="2312098"/>
                  </a:lnTo>
                  <a:lnTo>
                    <a:pt x="143922" y="2306574"/>
                  </a:lnTo>
                  <a:lnTo>
                    <a:pt x="147161" y="2309812"/>
                  </a:lnTo>
                  <a:lnTo>
                    <a:pt x="151256" y="2305717"/>
                  </a:lnTo>
                  <a:lnTo>
                    <a:pt x="154733" y="2309194"/>
                  </a:lnTo>
                  <a:lnTo>
                    <a:pt x="158686" y="2305241"/>
                  </a:lnTo>
                  <a:lnTo>
                    <a:pt x="163162" y="2309718"/>
                  </a:lnTo>
                  <a:close/>
                  <a:moveTo>
                    <a:pt x="534733" y="2301336"/>
                  </a:moveTo>
                  <a:cubicBezTo>
                    <a:pt x="538162" y="2301336"/>
                    <a:pt x="540924" y="2304098"/>
                    <a:pt x="540924" y="2307527"/>
                  </a:cubicBezTo>
                  <a:cubicBezTo>
                    <a:pt x="540924" y="2310956"/>
                    <a:pt x="538162" y="2313718"/>
                    <a:pt x="534733" y="2313718"/>
                  </a:cubicBezTo>
                  <a:cubicBezTo>
                    <a:pt x="531304" y="2313718"/>
                    <a:pt x="528542" y="2310956"/>
                    <a:pt x="528542" y="2307527"/>
                  </a:cubicBezTo>
                  <a:cubicBezTo>
                    <a:pt x="528542" y="2304098"/>
                    <a:pt x="531304" y="2301336"/>
                    <a:pt x="534733" y="2301336"/>
                  </a:cubicBezTo>
                  <a:close/>
                  <a:moveTo>
                    <a:pt x="184213" y="2301240"/>
                  </a:moveTo>
                  <a:cubicBezTo>
                    <a:pt x="187642" y="2301240"/>
                    <a:pt x="190404" y="2304002"/>
                    <a:pt x="190404" y="2307431"/>
                  </a:cubicBezTo>
                  <a:cubicBezTo>
                    <a:pt x="190404" y="2310860"/>
                    <a:pt x="187642" y="2313623"/>
                    <a:pt x="184213" y="2313623"/>
                  </a:cubicBezTo>
                  <a:cubicBezTo>
                    <a:pt x="180784" y="2313623"/>
                    <a:pt x="178022" y="2310860"/>
                    <a:pt x="178022" y="2307431"/>
                  </a:cubicBezTo>
                  <a:cubicBezTo>
                    <a:pt x="178022" y="2304002"/>
                    <a:pt x="180784" y="2301240"/>
                    <a:pt x="184213" y="2301240"/>
                  </a:cubicBezTo>
                  <a:close/>
                  <a:moveTo>
                    <a:pt x="846676" y="2298859"/>
                  </a:moveTo>
                  <a:cubicBezTo>
                    <a:pt x="850105" y="2298859"/>
                    <a:pt x="852868" y="2301621"/>
                    <a:pt x="852868" y="2305050"/>
                  </a:cubicBezTo>
                  <a:cubicBezTo>
                    <a:pt x="852868" y="2308479"/>
                    <a:pt x="850105" y="2311242"/>
                    <a:pt x="846676" y="2311242"/>
                  </a:cubicBezTo>
                  <a:cubicBezTo>
                    <a:pt x="843247" y="2311242"/>
                    <a:pt x="840485" y="2308479"/>
                    <a:pt x="840485" y="2305050"/>
                  </a:cubicBezTo>
                  <a:cubicBezTo>
                    <a:pt x="840485" y="2301621"/>
                    <a:pt x="843247" y="2298859"/>
                    <a:pt x="846676" y="2298859"/>
                  </a:cubicBezTo>
                  <a:close/>
                  <a:moveTo>
                    <a:pt x="125063" y="2297621"/>
                  </a:moveTo>
                  <a:cubicBezTo>
                    <a:pt x="127349" y="2297621"/>
                    <a:pt x="129159" y="2299431"/>
                    <a:pt x="129159" y="2301717"/>
                  </a:cubicBezTo>
                  <a:cubicBezTo>
                    <a:pt x="129159" y="2304003"/>
                    <a:pt x="127349" y="2305813"/>
                    <a:pt x="125063" y="2305813"/>
                  </a:cubicBezTo>
                  <a:cubicBezTo>
                    <a:pt x="122777" y="2305813"/>
                    <a:pt x="120967" y="2304003"/>
                    <a:pt x="120967" y="2301717"/>
                  </a:cubicBezTo>
                  <a:cubicBezTo>
                    <a:pt x="120967" y="2299431"/>
                    <a:pt x="122777" y="2297621"/>
                    <a:pt x="125063" y="2297621"/>
                  </a:cubicBezTo>
                  <a:close/>
                  <a:moveTo>
                    <a:pt x="2976371" y="2296954"/>
                  </a:moveTo>
                  <a:cubicBezTo>
                    <a:pt x="2979800" y="2296954"/>
                    <a:pt x="2982563" y="2299716"/>
                    <a:pt x="2982563" y="2303145"/>
                  </a:cubicBezTo>
                  <a:cubicBezTo>
                    <a:pt x="2982563" y="2306574"/>
                    <a:pt x="2979800" y="2309337"/>
                    <a:pt x="2976371" y="2309337"/>
                  </a:cubicBezTo>
                  <a:cubicBezTo>
                    <a:pt x="2972942" y="2309337"/>
                    <a:pt x="2970180" y="2306574"/>
                    <a:pt x="2970180" y="2303145"/>
                  </a:cubicBezTo>
                  <a:cubicBezTo>
                    <a:pt x="2970180" y="2299716"/>
                    <a:pt x="2972942" y="2296954"/>
                    <a:pt x="2976371" y="2296954"/>
                  </a:cubicBezTo>
                  <a:close/>
                  <a:moveTo>
                    <a:pt x="208787" y="2295240"/>
                  </a:moveTo>
                  <a:cubicBezTo>
                    <a:pt x="212216" y="2295240"/>
                    <a:pt x="214978" y="2298002"/>
                    <a:pt x="214978" y="2301431"/>
                  </a:cubicBezTo>
                  <a:cubicBezTo>
                    <a:pt x="214978" y="2304860"/>
                    <a:pt x="212216" y="2307622"/>
                    <a:pt x="208787" y="2307622"/>
                  </a:cubicBezTo>
                  <a:cubicBezTo>
                    <a:pt x="205358" y="2307622"/>
                    <a:pt x="202596" y="2304860"/>
                    <a:pt x="202596" y="2301431"/>
                  </a:cubicBezTo>
                  <a:cubicBezTo>
                    <a:pt x="202596" y="2298002"/>
                    <a:pt x="205358" y="2295240"/>
                    <a:pt x="208787" y="2295240"/>
                  </a:cubicBezTo>
                  <a:close/>
                  <a:moveTo>
                    <a:pt x="3226783" y="2294668"/>
                  </a:moveTo>
                  <a:cubicBezTo>
                    <a:pt x="3230212" y="2294668"/>
                    <a:pt x="3232975" y="2297430"/>
                    <a:pt x="3232975" y="2300859"/>
                  </a:cubicBezTo>
                  <a:cubicBezTo>
                    <a:pt x="3232975" y="2304288"/>
                    <a:pt x="3230212" y="2307051"/>
                    <a:pt x="3226783" y="2307051"/>
                  </a:cubicBezTo>
                  <a:cubicBezTo>
                    <a:pt x="3223354" y="2307051"/>
                    <a:pt x="3220592" y="2304288"/>
                    <a:pt x="3220592" y="2300859"/>
                  </a:cubicBezTo>
                  <a:cubicBezTo>
                    <a:pt x="3220592" y="2297430"/>
                    <a:pt x="3223354" y="2294668"/>
                    <a:pt x="3226783" y="2294668"/>
                  </a:cubicBezTo>
                  <a:close/>
                  <a:moveTo>
                    <a:pt x="3169824" y="2294478"/>
                  </a:moveTo>
                  <a:lnTo>
                    <a:pt x="3175157" y="2299812"/>
                  </a:lnTo>
                  <a:lnTo>
                    <a:pt x="3178777" y="2296192"/>
                  </a:lnTo>
                  <a:lnTo>
                    <a:pt x="3182873" y="2300288"/>
                  </a:lnTo>
                  <a:lnTo>
                    <a:pt x="3185826" y="2297335"/>
                  </a:lnTo>
                  <a:lnTo>
                    <a:pt x="3190160" y="2301669"/>
                  </a:lnTo>
                  <a:lnTo>
                    <a:pt x="3193065" y="2298764"/>
                  </a:lnTo>
                  <a:lnTo>
                    <a:pt x="3199161" y="2304860"/>
                  </a:lnTo>
                  <a:lnTo>
                    <a:pt x="3202590" y="2301431"/>
                  </a:lnTo>
                  <a:cubicBezTo>
                    <a:pt x="3206019" y="2301431"/>
                    <a:pt x="3208782" y="2304193"/>
                    <a:pt x="3208782" y="2307622"/>
                  </a:cubicBezTo>
                  <a:cubicBezTo>
                    <a:pt x="3208782" y="2311051"/>
                    <a:pt x="3206019" y="2313814"/>
                    <a:pt x="3202590" y="2313814"/>
                  </a:cubicBezTo>
                  <a:lnTo>
                    <a:pt x="3196494" y="2307718"/>
                  </a:lnTo>
                  <a:lnTo>
                    <a:pt x="3193065" y="2311146"/>
                  </a:lnTo>
                  <a:lnTo>
                    <a:pt x="3188731" y="2306813"/>
                  </a:lnTo>
                  <a:lnTo>
                    <a:pt x="3185826" y="2309718"/>
                  </a:lnTo>
                  <a:lnTo>
                    <a:pt x="3181730" y="2305622"/>
                  </a:lnTo>
                  <a:lnTo>
                    <a:pt x="3178777" y="2308575"/>
                  </a:lnTo>
                  <a:lnTo>
                    <a:pt x="3173443" y="2303241"/>
                  </a:lnTo>
                  <a:lnTo>
                    <a:pt x="3169824" y="2306860"/>
                  </a:lnTo>
                  <a:cubicBezTo>
                    <a:pt x="3166395" y="2306860"/>
                    <a:pt x="3163633" y="2304098"/>
                    <a:pt x="3163633" y="2300669"/>
                  </a:cubicBezTo>
                  <a:cubicBezTo>
                    <a:pt x="3163633" y="2297240"/>
                    <a:pt x="3166395" y="2294478"/>
                    <a:pt x="3169824" y="2294478"/>
                  </a:cubicBezTo>
                  <a:close/>
                  <a:moveTo>
                    <a:pt x="3073336" y="2293811"/>
                  </a:moveTo>
                  <a:cubicBezTo>
                    <a:pt x="3076765" y="2293811"/>
                    <a:pt x="3079527" y="2296573"/>
                    <a:pt x="3079527" y="2300002"/>
                  </a:cubicBezTo>
                  <a:cubicBezTo>
                    <a:pt x="3079527" y="2303431"/>
                    <a:pt x="3076765" y="2306194"/>
                    <a:pt x="3073336" y="2306194"/>
                  </a:cubicBezTo>
                  <a:cubicBezTo>
                    <a:pt x="3069907" y="2306194"/>
                    <a:pt x="3067145" y="2303431"/>
                    <a:pt x="3067145" y="2300002"/>
                  </a:cubicBezTo>
                  <a:cubicBezTo>
                    <a:pt x="3067145" y="2296573"/>
                    <a:pt x="3069907" y="2293811"/>
                    <a:pt x="3073336" y="2293811"/>
                  </a:cubicBezTo>
                  <a:close/>
                  <a:moveTo>
                    <a:pt x="3155917" y="2291144"/>
                  </a:moveTo>
                  <a:cubicBezTo>
                    <a:pt x="3159346" y="2291144"/>
                    <a:pt x="3162109" y="2293906"/>
                    <a:pt x="3162109" y="2297335"/>
                  </a:cubicBezTo>
                  <a:cubicBezTo>
                    <a:pt x="3162109" y="2300764"/>
                    <a:pt x="3159346" y="2303527"/>
                    <a:pt x="3155917" y="2303527"/>
                  </a:cubicBezTo>
                  <a:cubicBezTo>
                    <a:pt x="3152488" y="2303527"/>
                    <a:pt x="3149726" y="2300764"/>
                    <a:pt x="3149726" y="2297335"/>
                  </a:cubicBezTo>
                  <a:cubicBezTo>
                    <a:pt x="3149726" y="2293906"/>
                    <a:pt x="3152488" y="2291144"/>
                    <a:pt x="3155917" y="2291144"/>
                  </a:cubicBezTo>
                  <a:close/>
                  <a:moveTo>
                    <a:pt x="2828639" y="2290477"/>
                  </a:moveTo>
                  <a:cubicBezTo>
                    <a:pt x="2832068" y="2290477"/>
                    <a:pt x="2834830" y="2293239"/>
                    <a:pt x="2834830" y="2296668"/>
                  </a:cubicBezTo>
                  <a:cubicBezTo>
                    <a:pt x="2834830" y="2300097"/>
                    <a:pt x="2832068" y="2302859"/>
                    <a:pt x="2828639" y="2302859"/>
                  </a:cubicBezTo>
                  <a:cubicBezTo>
                    <a:pt x="2825210" y="2302859"/>
                    <a:pt x="2822448" y="2300097"/>
                    <a:pt x="2822448" y="2296668"/>
                  </a:cubicBezTo>
                  <a:cubicBezTo>
                    <a:pt x="2822448" y="2293239"/>
                    <a:pt x="2825210" y="2290477"/>
                    <a:pt x="2828639" y="2290477"/>
                  </a:cubicBezTo>
                  <a:close/>
                  <a:moveTo>
                    <a:pt x="3212210" y="2288953"/>
                  </a:moveTo>
                  <a:cubicBezTo>
                    <a:pt x="3215639" y="2288953"/>
                    <a:pt x="3218402" y="2291715"/>
                    <a:pt x="3218402" y="2295144"/>
                  </a:cubicBezTo>
                  <a:cubicBezTo>
                    <a:pt x="3218402" y="2298573"/>
                    <a:pt x="3215639" y="2301336"/>
                    <a:pt x="3212210" y="2301336"/>
                  </a:cubicBezTo>
                  <a:cubicBezTo>
                    <a:pt x="3208781" y="2301336"/>
                    <a:pt x="3206019" y="2298573"/>
                    <a:pt x="3206019" y="2295144"/>
                  </a:cubicBezTo>
                  <a:cubicBezTo>
                    <a:pt x="3206019" y="2291715"/>
                    <a:pt x="3208781" y="2288953"/>
                    <a:pt x="3212210" y="2288953"/>
                  </a:cubicBezTo>
                  <a:close/>
                  <a:moveTo>
                    <a:pt x="2532030" y="2288762"/>
                  </a:moveTo>
                  <a:cubicBezTo>
                    <a:pt x="2535459" y="2288762"/>
                    <a:pt x="2538222" y="2291524"/>
                    <a:pt x="2538222" y="2294953"/>
                  </a:cubicBezTo>
                  <a:cubicBezTo>
                    <a:pt x="2538222" y="2298382"/>
                    <a:pt x="2535459" y="2301145"/>
                    <a:pt x="2532030" y="2301145"/>
                  </a:cubicBezTo>
                  <a:cubicBezTo>
                    <a:pt x="2528601" y="2301145"/>
                    <a:pt x="2525839" y="2298382"/>
                    <a:pt x="2525839" y="2294953"/>
                  </a:cubicBezTo>
                  <a:cubicBezTo>
                    <a:pt x="2525839" y="2291524"/>
                    <a:pt x="2528601" y="2288762"/>
                    <a:pt x="2532030" y="2288762"/>
                  </a:cubicBezTo>
                  <a:close/>
                  <a:moveTo>
                    <a:pt x="337660" y="2287429"/>
                  </a:moveTo>
                  <a:cubicBezTo>
                    <a:pt x="341089" y="2287429"/>
                    <a:pt x="343851" y="2290191"/>
                    <a:pt x="343851" y="2293620"/>
                  </a:cubicBezTo>
                  <a:cubicBezTo>
                    <a:pt x="343851" y="2297049"/>
                    <a:pt x="341089" y="2299812"/>
                    <a:pt x="337660" y="2299812"/>
                  </a:cubicBezTo>
                  <a:cubicBezTo>
                    <a:pt x="334231" y="2299812"/>
                    <a:pt x="331469" y="2297049"/>
                    <a:pt x="331469" y="2293620"/>
                  </a:cubicBezTo>
                  <a:cubicBezTo>
                    <a:pt x="331469" y="2290191"/>
                    <a:pt x="334231" y="2287429"/>
                    <a:pt x="337660" y="2287429"/>
                  </a:cubicBezTo>
                  <a:close/>
                  <a:moveTo>
                    <a:pt x="157162" y="2286381"/>
                  </a:moveTo>
                  <a:cubicBezTo>
                    <a:pt x="160591" y="2286381"/>
                    <a:pt x="163353" y="2289143"/>
                    <a:pt x="163353" y="2292572"/>
                  </a:cubicBezTo>
                  <a:cubicBezTo>
                    <a:pt x="163353" y="2296001"/>
                    <a:pt x="160591" y="2298764"/>
                    <a:pt x="157162" y="2298764"/>
                  </a:cubicBezTo>
                  <a:lnTo>
                    <a:pt x="154162" y="2295763"/>
                  </a:lnTo>
                  <a:lnTo>
                    <a:pt x="148970" y="2300955"/>
                  </a:lnTo>
                  <a:lnTo>
                    <a:pt x="146446" y="2298431"/>
                  </a:lnTo>
                  <a:lnTo>
                    <a:pt x="142303" y="2302574"/>
                  </a:lnTo>
                  <a:lnTo>
                    <a:pt x="139684" y="2299955"/>
                  </a:lnTo>
                  <a:lnTo>
                    <a:pt x="134969" y="2304670"/>
                  </a:lnTo>
                  <a:cubicBezTo>
                    <a:pt x="131540" y="2304670"/>
                    <a:pt x="128778" y="2301907"/>
                    <a:pt x="128778" y="2298478"/>
                  </a:cubicBezTo>
                  <a:cubicBezTo>
                    <a:pt x="128778" y="2295049"/>
                    <a:pt x="131540" y="2292287"/>
                    <a:pt x="134969" y="2292287"/>
                  </a:cubicBezTo>
                  <a:lnTo>
                    <a:pt x="137588" y="2294906"/>
                  </a:lnTo>
                  <a:lnTo>
                    <a:pt x="142303" y="2290191"/>
                  </a:lnTo>
                  <a:lnTo>
                    <a:pt x="144827" y="2292715"/>
                  </a:lnTo>
                  <a:lnTo>
                    <a:pt x="148970" y="2288572"/>
                  </a:lnTo>
                  <a:lnTo>
                    <a:pt x="151971" y="2291573"/>
                  </a:lnTo>
                  <a:close/>
                  <a:moveTo>
                    <a:pt x="3238024" y="2285524"/>
                  </a:moveTo>
                  <a:cubicBezTo>
                    <a:pt x="3240707" y="2285524"/>
                    <a:pt x="3242881" y="2287699"/>
                    <a:pt x="3242881" y="2290382"/>
                  </a:cubicBezTo>
                  <a:cubicBezTo>
                    <a:pt x="3242881" y="2293065"/>
                    <a:pt x="3240707" y="2295239"/>
                    <a:pt x="3238024" y="2295239"/>
                  </a:cubicBezTo>
                  <a:cubicBezTo>
                    <a:pt x="3235341" y="2295239"/>
                    <a:pt x="3233166" y="2293065"/>
                    <a:pt x="3233166" y="2290382"/>
                  </a:cubicBezTo>
                  <a:cubicBezTo>
                    <a:pt x="3233166" y="2287699"/>
                    <a:pt x="3235341" y="2285524"/>
                    <a:pt x="3238024" y="2285524"/>
                  </a:cubicBezTo>
                  <a:close/>
                  <a:moveTo>
                    <a:pt x="3133724" y="2284857"/>
                  </a:moveTo>
                  <a:cubicBezTo>
                    <a:pt x="3137153" y="2284857"/>
                    <a:pt x="3139915" y="2287619"/>
                    <a:pt x="3139915" y="2291048"/>
                  </a:cubicBezTo>
                  <a:cubicBezTo>
                    <a:pt x="3139915" y="2294477"/>
                    <a:pt x="3137153" y="2297240"/>
                    <a:pt x="3133724" y="2297240"/>
                  </a:cubicBezTo>
                  <a:cubicBezTo>
                    <a:pt x="3130295" y="2297240"/>
                    <a:pt x="3127533" y="2294477"/>
                    <a:pt x="3127533" y="2291048"/>
                  </a:cubicBezTo>
                  <a:cubicBezTo>
                    <a:pt x="3127533" y="2287619"/>
                    <a:pt x="3130295" y="2284857"/>
                    <a:pt x="3133724" y="2284857"/>
                  </a:cubicBezTo>
                  <a:close/>
                  <a:moveTo>
                    <a:pt x="246316" y="2284571"/>
                  </a:moveTo>
                  <a:cubicBezTo>
                    <a:pt x="249745" y="2284571"/>
                    <a:pt x="252508" y="2287333"/>
                    <a:pt x="252508" y="2290762"/>
                  </a:cubicBezTo>
                  <a:cubicBezTo>
                    <a:pt x="252508" y="2294191"/>
                    <a:pt x="249745" y="2296954"/>
                    <a:pt x="246316" y="2296954"/>
                  </a:cubicBezTo>
                  <a:cubicBezTo>
                    <a:pt x="242887" y="2296954"/>
                    <a:pt x="240125" y="2294191"/>
                    <a:pt x="240125" y="2290762"/>
                  </a:cubicBezTo>
                  <a:cubicBezTo>
                    <a:pt x="240125" y="2287333"/>
                    <a:pt x="242887" y="2284571"/>
                    <a:pt x="246316" y="2284571"/>
                  </a:cubicBezTo>
                  <a:close/>
                  <a:moveTo>
                    <a:pt x="169735" y="2282571"/>
                  </a:moveTo>
                  <a:cubicBezTo>
                    <a:pt x="173164" y="2282571"/>
                    <a:pt x="175926" y="2285333"/>
                    <a:pt x="175926" y="2288762"/>
                  </a:cubicBezTo>
                  <a:cubicBezTo>
                    <a:pt x="175926" y="2292191"/>
                    <a:pt x="173164" y="2294953"/>
                    <a:pt x="169735" y="2294953"/>
                  </a:cubicBezTo>
                  <a:cubicBezTo>
                    <a:pt x="166306" y="2294953"/>
                    <a:pt x="163544" y="2292191"/>
                    <a:pt x="163544" y="2288762"/>
                  </a:cubicBezTo>
                  <a:cubicBezTo>
                    <a:pt x="163544" y="2285333"/>
                    <a:pt x="166306" y="2282571"/>
                    <a:pt x="169735" y="2282571"/>
                  </a:cubicBezTo>
                  <a:close/>
                  <a:moveTo>
                    <a:pt x="1702021" y="2281809"/>
                  </a:moveTo>
                  <a:cubicBezTo>
                    <a:pt x="1705450" y="2281809"/>
                    <a:pt x="1708213" y="2284571"/>
                    <a:pt x="1708213" y="2288000"/>
                  </a:cubicBezTo>
                  <a:cubicBezTo>
                    <a:pt x="1708213" y="2291429"/>
                    <a:pt x="1705450" y="2294192"/>
                    <a:pt x="1702021" y="2294192"/>
                  </a:cubicBezTo>
                  <a:cubicBezTo>
                    <a:pt x="1698592" y="2294192"/>
                    <a:pt x="1695830" y="2291429"/>
                    <a:pt x="1695830" y="2288000"/>
                  </a:cubicBezTo>
                  <a:cubicBezTo>
                    <a:pt x="1695830" y="2284571"/>
                    <a:pt x="1698592" y="2281809"/>
                    <a:pt x="1702021" y="2281809"/>
                  </a:cubicBezTo>
                  <a:close/>
                  <a:moveTo>
                    <a:pt x="477773" y="2281047"/>
                  </a:moveTo>
                  <a:cubicBezTo>
                    <a:pt x="481202" y="2281047"/>
                    <a:pt x="483965" y="2283809"/>
                    <a:pt x="483965" y="2287238"/>
                  </a:cubicBezTo>
                  <a:cubicBezTo>
                    <a:pt x="483965" y="2290667"/>
                    <a:pt x="481202" y="2293430"/>
                    <a:pt x="477773" y="2293430"/>
                  </a:cubicBezTo>
                  <a:cubicBezTo>
                    <a:pt x="474344" y="2293430"/>
                    <a:pt x="471582" y="2290667"/>
                    <a:pt x="471582" y="2287238"/>
                  </a:cubicBezTo>
                  <a:cubicBezTo>
                    <a:pt x="471582" y="2283809"/>
                    <a:pt x="474344" y="2281047"/>
                    <a:pt x="477773" y="2281047"/>
                  </a:cubicBezTo>
                  <a:close/>
                  <a:moveTo>
                    <a:pt x="1567910" y="2280666"/>
                  </a:moveTo>
                  <a:cubicBezTo>
                    <a:pt x="1571339" y="2280666"/>
                    <a:pt x="1574101" y="2283428"/>
                    <a:pt x="1574101" y="2286857"/>
                  </a:cubicBezTo>
                  <a:cubicBezTo>
                    <a:pt x="1574101" y="2290286"/>
                    <a:pt x="1571339" y="2293049"/>
                    <a:pt x="1567910" y="2293049"/>
                  </a:cubicBezTo>
                  <a:cubicBezTo>
                    <a:pt x="1564481" y="2293049"/>
                    <a:pt x="1561719" y="2290286"/>
                    <a:pt x="1561719" y="2286857"/>
                  </a:cubicBezTo>
                  <a:cubicBezTo>
                    <a:pt x="1561719" y="2283428"/>
                    <a:pt x="1564481" y="2280666"/>
                    <a:pt x="1567910" y="2280666"/>
                  </a:cubicBezTo>
                  <a:close/>
                  <a:moveTo>
                    <a:pt x="761332" y="2280000"/>
                  </a:moveTo>
                  <a:cubicBezTo>
                    <a:pt x="764761" y="2280000"/>
                    <a:pt x="767524" y="2282762"/>
                    <a:pt x="767524" y="2286191"/>
                  </a:cubicBezTo>
                  <a:cubicBezTo>
                    <a:pt x="767524" y="2289620"/>
                    <a:pt x="764761" y="2292383"/>
                    <a:pt x="761332" y="2292383"/>
                  </a:cubicBezTo>
                  <a:cubicBezTo>
                    <a:pt x="757903" y="2292383"/>
                    <a:pt x="755141" y="2289620"/>
                    <a:pt x="755141" y="2286191"/>
                  </a:cubicBezTo>
                  <a:cubicBezTo>
                    <a:pt x="755141" y="2282762"/>
                    <a:pt x="757903" y="2280000"/>
                    <a:pt x="761332" y="2280000"/>
                  </a:cubicBezTo>
                  <a:close/>
                  <a:moveTo>
                    <a:pt x="1835371" y="2277999"/>
                  </a:moveTo>
                  <a:cubicBezTo>
                    <a:pt x="1838800" y="2277999"/>
                    <a:pt x="1841563" y="2280761"/>
                    <a:pt x="1841563" y="2284190"/>
                  </a:cubicBezTo>
                  <a:cubicBezTo>
                    <a:pt x="1841563" y="2287619"/>
                    <a:pt x="1838800" y="2290382"/>
                    <a:pt x="1835371" y="2290382"/>
                  </a:cubicBezTo>
                  <a:cubicBezTo>
                    <a:pt x="1831942" y="2290382"/>
                    <a:pt x="1829180" y="2287619"/>
                    <a:pt x="1829180" y="2284190"/>
                  </a:cubicBezTo>
                  <a:cubicBezTo>
                    <a:pt x="1829180" y="2280761"/>
                    <a:pt x="1831942" y="2277999"/>
                    <a:pt x="1835371" y="2277999"/>
                  </a:cubicBezTo>
                  <a:close/>
                  <a:moveTo>
                    <a:pt x="3222116" y="2277142"/>
                  </a:moveTo>
                  <a:cubicBezTo>
                    <a:pt x="3225536" y="2277142"/>
                    <a:pt x="3228307" y="2279914"/>
                    <a:pt x="3228307" y="2283333"/>
                  </a:cubicBezTo>
                  <a:cubicBezTo>
                    <a:pt x="3228307" y="2286753"/>
                    <a:pt x="3225536" y="2289525"/>
                    <a:pt x="3222116" y="2289525"/>
                  </a:cubicBezTo>
                  <a:cubicBezTo>
                    <a:pt x="3218697" y="2289525"/>
                    <a:pt x="3215925" y="2286753"/>
                    <a:pt x="3215925" y="2283333"/>
                  </a:cubicBezTo>
                  <a:cubicBezTo>
                    <a:pt x="3215925" y="2279914"/>
                    <a:pt x="3218697" y="2277142"/>
                    <a:pt x="3222116" y="2277142"/>
                  </a:cubicBezTo>
                  <a:close/>
                  <a:moveTo>
                    <a:pt x="3180682" y="2277142"/>
                  </a:moveTo>
                  <a:lnTo>
                    <a:pt x="3185778" y="2282238"/>
                  </a:lnTo>
                  <a:lnTo>
                    <a:pt x="3188112" y="2279904"/>
                  </a:lnTo>
                  <a:lnTo>
                    <a:pt x="3192446" y="2284238"/>
                  </a:lnTo>
                  <a:lnTo>
                    <a:pt x="3194494" y="2282190"/>
                  </a:lnTo>
                  <a:lnTo>
                    <a:pt x="3199637" y="2287334"/>
                  </a:lnTo>
                  <a:lnTo>
                    <a:pt x="3201923" y="2285048"/>
                  </a:lnTo>
                  <a:cubicBezTo>
                    <a:pt x="3205352" y="2285048"/>
                    <a:pt x="3208114" y="2287810"/>
                    <a:pt x="3208114" y="2291239"/>
                  </a:cubicBezTo>
                  <a:cubicBezTo>
                    <a:pt x="3208114" y="2294668"/>
                    <a:pt x="3205352" y="2297431"/>
                    <a:pt x="3201923" y="2297431"/>
                  </a:cubicBezTo>
                  <a:lnTo>
                    <a:pt x="3196780" y="2292287"/>
                  </a:lnTo>
                  <a:lnTo>
                    <a:pt x="3194494" y="2294573"/>
                  </a:lnTo>
                  <a:lnTo>
                    <a:pt x="3190160" y="2290238"/>
                  </a:lnTo>
                  <a:lnTo>
                    <a:pt x="3188112" y="2292286"/>
                  </a:lnTo>
                  <a:lnTo>
                    <a:pt x="3183016" y="2287191"/>
                  </a:lnTo>
                  <a:lnTo>
                    <a:pt x="3180682" y="2289525"/>
                  </a:lnTo>
                  <a:cubicBezTo>
                    <a:pt x="3177253" y="2289525"/>
                    <a:pt x="3174491" y="2286762"/>
                    <a:pt x="3174491" y="2283333"/>
                  </a:cubicBezTo>
                  <a:cubicBezTo>
                    <a:pt x="3174491" y="2279904"/>
                    <a:pt x="3177253" y="2277142"/>
                    <a:pt x="3180682" y="2277142"/>
                  </a:cubicBezTo>
                  <a:close/>
                  <a:moveTo>
                    <a:pt x="3014376" y="2276571"/>
                  </a:moveTo>
                  <a:cubicBezTo>
                    <a:pt x="3017805" y="2276571"/>
                    <a:pt x="3020567" y="2279333"/>
                    <a:pt x="3020567" y="2282762"/>
                  </a:cubicBezTo>
                  <a:cubicBezTo>
                    <a:pt x="3020567" y="2286191"/>
                    <a:pt x="3017805" y="2288954"/>
                    <a:pt x="3014376" y="2288954"/>
                  </a:cubicBezTo>
                  <a:cubicBezTo>
                    <a:pt x="3010947" y="2288954"/>
                    <a:pt x="3008185" y="2286191"/>
                    <a:pt x="3008185" y="2282762"/>
                  </a:cubicBezTo>
                  <a:cubicBezTo>
                    <a:pt x="3008185" y="2279333"/>
                    <a:pt x="3010947" y="2276571"/>
                    <a:pt x="3014376" y="2276571"/>
                  </a:cubicBezTo>
                  <a:close/>
                  <a:moveTo>
                    <a:pt x="190023" y="2275999"/>
                  </a:moveTo>
                  <a:cubicBezTo>
                    <a:pt x="193452" y="2275999"/>
                    <a:pt x="196215" y="2278761"/>
                    <a:pt x="196215" y="2282190"/>
                  </a:cubicBezTo>
                  <a:cubicBezTo>
                    <a:pt x="196215" y="2285619"/>
                    <a:pt x="193452" y="2288382"/>
                    <a:pt x="190023" y="2288382"/>
                  </a:cubicBezTo>
                  <a:cubicBezTo>
                    <a:pt x="186594" y="2288382"/>
                    <a:pt x="183832" y="2285619"/>
                    <a:pt x="183832" y="2282190"/>
                  </a:cubicBezTo>
                  <a:cubicBezTo>
                    <a:pt x="183832" y="2278761"/>
                    <a:pt x="186594" y="2275999"/>
                    <a:pt x="190023" y="2275999"/>
                  </a:cubicBezTo>
                  <a:close/>
                  <a:moveTo>
                    <a:pt x="1435988" y="2274666"/>
                  </a:moveTo>
                  <a:cubicBezTo>
                    <a:pt x="1439417" y="2274666"/>
                    <a:pt x="1442180" y="2277428"/>
                    <a:pt x="1442180" y="2280857"/>
                  </a:cubicBezTo>
                  <a:cubicBezTo>
                    <a:pt x="1442180" y="2284286"/>
                    <a:pt x="1439417" y="2287049"/>
                    <a:pt x="1435988" y="2287049"/>
                  </a:cubicBezTo>
                  <a:cubicBezTo>
                    <a:pt x="1432559" y="2287049"/>
                    <a:pt x="1429797" y="2284286"/>
                    <a:pt x="1429797" y="2280857"/>
                  </a:cubicBezTo>
                  <a:cubicBezTo>
                    <a:pt x="1429797" y="2277428"/>
                    <a:pt x="1432559" y="2274666"/>
                    <a:pt x="1435988" y="2274666"/>
                  </a:cubicBezTo>
                  <a:close/>
                  <a:moveTo>
                    <a:pt x="3099434" y="2273999"/>
                  </a:moveTo>
                  <a:cubicBezTo>
                    <a:pt x="3102863" y="2273999"/>
                    <a:pt x="3105625" y="2276761"/>
                    <a:pt x="3105625" y="2280190"/>
                  </a:cubicBezTo>
                  <a:cubicBezTo>
                    <a:pt x="3105625" y="2283619"/>
                    <a:pt x="3102863" y="2286382"/>
                    <a:pt x="3099434" y="2286382"/>
                  </a:cubicBezTo>
                  <a:cubicBezTo>
                    <a:pt x="3096005" y="2286382"/>
                    <a:pt x="3093243" y="2283619"/>
                    <a:pt x="3093243" y="2280190"/>
                  </a:cubicBezTo>
                  <a:cubicBezTo>
                    <a:pt x="3093243" y="2276761"/>
                    <a:pt x="3096005" y="2273999"/>
                    <a:pt x="3099434" y="2273999"/>
                  </a:cubicBezTo>
                  <a:close/>
                  <a:moveTo>
                    <a:pt x="3169443" y="2272951"/>
                  </a:moveTo>
                  <a:cubicBezTo>
                    <a:pt x="3172872" y="2272951"/>
                    <a:pt x="3175634" y="2275713"/>
                    <a:pt x="3175634" y="2279142"/>
                  </a:cubicBezTo>
                  <a:cubicBezTo>
                    <a:pt x="3175634" y="2282571"/>
                    <a:pt x="3172872" y="2285334"/>
                    <a:pt x="3169443" y="2285334"/>
                  </a:cubicBezTo>
                  <a:cubicBezTo>
                    <a:pt x="3166014" y="2285334"/>
                    <a:pt x="3163252" y="2282571"/>
                    <a:pt x="3163252" y="2279142"/>
                  </a:cubicBezTo>
                  <a:cubicBezTo>
                    <a:pt x="3163252" y="2275713"/>
                    <a:pt x="3166014" y="2272951"/>
                    <a:pt x="3169443" y="2272951"/>
                  </a:cubicBezTo>
                  <a:close/>
                  <a:moveTo>
                    <a:pt x="2882741" y="2270284"/>
                  </a:moveTo>
                  <a:cubicBezTo>
                    <a:pt x="2886170" y="2270284"/>
                    <a:pt x="2888932" y="2273046"/>
                    <a:pt x="2888932" y="2276475"/>
                  </a:cubicBezTo>
                  <a:cubicBezTo>
                    <a:pt x="2888932" y="2279904"/>
                    <a:pt x="2886170" y="2282667"/>
                    <a:pt x="2882741" y="2282667"/>
                  </a:cubicBezTo>
                  <a:cubicBezTo>
                    <a:pt x="2879312" y="2282667"/>
                    <a:pt x="2876550" y="2279904"/>
                    <a:pt x="2876550" y="2276475"/>
                  </a:cubicBezTo>
                  <a:cubicBezTo>
                    <a:pt x="2876550" y="2273046"/>
                    <a:pt x="2879312" y="2270284"/>
                    <a:pt x="2882741" y="2270284"/>
                  </a:cubicBezTo>
                  <a:close/>
                  <a:moveTo>
                    <a:pt x="2613659" y="2269808"/>
                  </a:moveTo>
                  <a:cubicBezTo>
                    <a:pt x="2617088" y="2269808"/>
                    <a:pt x="2619850" y="2272570"/>
                    <a:pt x="2619850" y="2275999"/>
                  </a:cubicBezTo>
                  <a:cubicBezTo>
                    <a:pt x="2619850" y="2279428"/>
                    <a:pt x="2617088" y="2282191"/>
                    <a:pt x="2613659" y="2282191"/>
                  </a:cubicBezTo>
                  <a:cubicBezTo>
                    <a:pt x="2610230" y="2282191"/>
                    <a:pt x="2607468" y="2279428"/>
                    <a:pt x="2607468" y="2275999"/>
                  </a:cubicBezTo>
                  <a:cubicBezTo>
                    <a:pt x="2607468" y="2272570"/>
                    <a:pt x="2610230" y="2269808"/>
                    <a:pt x="2613659" y="2269808"/>
                  </a:cubicBezTo>
                  <a:close/>
                  <a:moveTo>
                    <a:pt x="1964911" y="2269808"/>
                  </a:moveTo>
                  <a:cubicBezTo>
                    <a:pt x="1968340" y="2269808"/>
                    <a:pt x="1971103" y="2272570"/>
                    <a:pt x="1971103" y="2275999"/>
                  </a:cubicBezTo>
                  <a:cubicBezTo>
                    <a:pt x="1971103" y="2279428"/>
                    <a:pt x="1968340" y="2282191"/>
                    <a:pt x="1964911" y="2282191"/>
                  </a:cubicBezTo>
                  <a:cubicBezTo>
                    <a:pt x="1961482" y="2282191"/>
                    <a:pt x="1958720" y="2279428"/>
                    <a:pt x="1958720" y="2275999"/>
                  </a:cubicBezTo>
                  <a:cubicBezTo>
                    <a:pt x="1958720" y="2272570"/>
                    <a:pt x="1961482" y="2269808"/>
                    <a:pt x="1964911" y="2269808"/>
                  </a:cubicBezTo>
                  <a:close/>
                  <a:moveTo>
                    <a:pt x="146780" y="2269332"/>
                  </a:moveTo>
                  <a:cubicBezTo>
                    <a:pt x="150209" y="2269332"/>
                    <a:pt x="152971" y="2272094"/>
                    <a:pt x="152971" y="2275523"/>
                  </a:cubicBezTo>
                  <a:cubicBezTo>
                    <a:pt x="152971" y="2278952"/>
                    <a:pt x="150209" y="2281714"/>
                    <a:pt x="146780" y="2281714"/>
                  </a:cubicBezTo>
                  <a:lnTo>
                    <a:pt x="144970" y="2279904"/>
                  </a:lnTo>
                  <a:lnTo>
                    <a:pt x="139921" y="2284953"/>
                  </a:lnTo>
                  <a:lnTo>
                    <a:pt x="138254" y="2283286"/>
                  </a:lnTo>
                  <a:lnTo>
                    <a:pt x="133730" y="2287810"/>
                  </a:lnTo>
                  <a:lnTo>
                    <a:pt x="131635" y="2285715"/>
                  </a:lnTo>
                  <a:lnTo>
                    <a:pt x="126110" y="2291239"/>
                  </a:lnTo>
                  <a:cubicBezTo>
                    <a:pt x="122681" y="2291239"/>
                    <a:pt x="119919" y="2288477"/>
                    <a:pt x="119919" y="2285048"/>
                  </a:cubicBezTo>
                  <a:cubicBezTo>
                    <a:pt x="119919" y="2281619"/>
                    <a:pt x="122681" y="2278857"/>
                    <a:pt x="126110" y="2278857"/>
                  </a:cubicBezTo>
                  <a:lnTo>
                    <a:pt x="128205" y="2280953"/>
                  </a:lnTo>
                  <a:lnTo>
                    <a:pt x="133730" y="2275428"/>
                  </a:lnTo>
                  <a:lnTo>
                    <a:pt x="135396" y="2277095"/>
                  </a:lnTo>
                  <a:lnTo>
                    <a:pt x="139921" y="2272570"/>
                  </a:lnTo>
                  <a:lnTo>
                    <a:pt x="141731" y="2274381"/>
                  </a:lnTo>
                  <a:close/>
                  <a:moveTo>
                    <a:pt x="301466" y="2267331"/>
                  </a:moveTo>
                  <a:cubicBezTo>
                    <a:pt x="304895" y="2267331"/>
                    <a:pt x="307657" y="2270093"/>
                    <a:pt x="307657" y="2273522"/>
                  </a:cubicBezTo>
                  <a:cubicBezTo>
                    <a:pt x="307657" y="2276951"/>
                    <a:pt x="304895" y="2279714"/>
                    <a:pt x="301466" y="2279714"/>
                  </a:cubicBezTo>
                  <a:cubicBezTo>
                    <a:pt x="298037" y="2279714"/>
                    <a:pt x="295275" y="2276951"/>
                    <a:pt x="295275" y="2273522"/>
                  </a:cubicBezTo>
                  <a:cubicBezTo>
                    <a:pt x="295275" y="2270093"/>
                    <a:pt x="298037" y="2267331"/>
                    <a:pt x="301466" y="2267331"/>
                  </a:cubicBezTo>
                  <a:close/>
                  <a:moveTo>
                    <a:pt x="3232213" y="2266093"/>
                  </a:moveTo>
                  <a:cubicBezTo>
                    <a:pt x="3235642" y="2266093"/>
                    <a:pt x="3238404" y="2268855"/>
                    <a:pt x="3238404" y="2272284"/>
                  </a:cubicBezTo>
                  <a:cubicBezTo>
                    <a:pt x="3238404" y="2275713"/>
                    <a:pt x="3235642" y="2278476"/>
                    <a:pt x="3232213" y="2278476"/>
                  </a:cubicBezTo>
                  <a:cubicBezTo>
                    <a:pt x="3228784" y="2278476"/>
                    <a:pt x="3226022" y="2275713"/>
                    <a:pt x="3226022" y="2272284"/>
                  </a:cubicBezTo>
                  <a:cubicBezTo>
                    <a:pt x="3226022" y="2268855"/>
                    <a:pt x="3228784" y="2266093"/>
                    <a:pt x="3232213" y="2266093"/>
                  </a:cubicBezTo>
                  <a:close/>
                  <a:moveTo>
                    <a:pt x="117252" y="2266093"/>
                  </a:moveTo>
                  <a:cubicBezTo>
                    <a:pt x="120681" y="2266093"/>
                    <a:pt x="123444" y="2268855"/>
                    <a:pt x="123444" y="2272284"/>
                  </a:cubicBezTo>
                  <a:cubicBezTo>
                    <a:pt x="123444" y="2275713"/>
                    <a:pt x="120681" y="2278476"/>
                    <a:pt x="117252" y="2278476"/>
                  </a:cubicBezTo>
                  <a:cubicBezTo>
                    <a:pt x="113823" y="2278476"/>
                    <a:pt x="111061" y="2275713"/>
                    <a:pt x="111061" y="2272284"/>
                  </a:cubicBezTo>
                  <a:cubicBezTo>
                    <a:pt x="111061" y="2268855"/>
                    <a:pt x="113823" y="2266093"/>
                    <a:pt x="117252" y="2266093"/>
                  </a:cubicBezTo>
                  <a:close/>
                  <a:moveTo>
                    <a:pt x="3151346" y="2265998"/>
                  </a:moveTo>
                  <a:cubicBezTo>
                    <a:pt x="3154775" y="2265998"/>
                    <a:pt x="3157537" y="2268760"/>
                    <a:pt x="3157537" y="2272189"/>
                  </a:cubicBezTo>
                  <a:cubicBezTo>
                    <a:pt x="3157537" y="2275618"/>
                    <a:pt x="3154775" y="2278381"/>
                    <a:pt x="3151346" y="2278381"/>
                  </a:cubicBezTo>
                  <a:cubicBezTo>
                    <a:pt x="3147917" y="2278381"/>
                    <a:pt x="3145155" y="2275618"/>
                    <a:pt x="3145155" y="2272189"/>
                  </a:cubicBezTo>
                  <a:cubicBezTo>
                    <a:pt x="3145155" y="2268760"/>
                    <a:pt x="3147917" y="2265998"/>
                    <a:pt x="3151346" y="2265998"/>
                  </a:cubicBezTo>
                  <a:close/>
                  <a:moveTo>
                    <a:pt x="221646" y="2264950"/>
                  </a:moveTo>
                  <a:cubicBezTo>
                    <a:pt x="225075" y="2264950"/>
                    <a:pt x="227837" y="2267712"/>
                    <a:pt x="227837" y="2271141"/>
                  </a:cubicBezTo>
                  <a:cubicBezTo>
                    <a:pt x="227837" y="2274570"/>
                    <a:pt x="225075" y="2277333"/>
                    <a:pt x="221646" y="2277333"/>
                  </a:cubicBezTo>
                  <a:cubicBezTo>
                    <a:pt x="218217" y="2277333"/>
                    <a:pt x="215455" y="2274570"/>
                    <a:pt x="215455" y="2271141"/>
                  </a:cubicBezTo>
                  <a:cubicBezTo>
                    <a:pt x="215455" y="2267712"/>
                    <a:pt x="218217" y="2264950"/>
                    <a:pt x="221646" y="2264950"/>
                  </a:cubicBezTo>
                  <a:close/>
                  <a:moveTo>
                    <a:pt x="1309115" y="2264855"/>
                  </a:moveTo>
                  <a:cubicBezTo>
                    <a:pt x="1312544" y="2264855"/>
                    <a:pt x="1315307" y="2267617"/>
                    <a:pt x="1315307" y="2271046"/>
                  </a:cubicBezTo>
                  <a:cubicBezTo>
                    <a:pt x="1315307" y="2274475"/>
                    <a:pt x="1312544" y="2277238"/>
                    <a:pt x="1309115" y="2277238"/>
                  </a:cubicBezTo>
                  <a:cubicBezTo>
                    <a:pt x="1305686" y="2277238"/>
                    <a:pt x="1302924" y="2274475"/>
                    <a:pt x="1302924" y="2271046"/>
                  </a:cubicBezTo>
                  <a:cubicBezTo>
                    <a:pt x="1302924" y="2267617"/>
                    <a:pt x="1305686" y="2264855"/>
                    <a:pt x="1309115" y="2264855"/>
                  </a:cubicBezTo>
                  <a:close/>
                  <a:moveTo>
                    <a:pt x="156876" y="2264664"/>
                  </a:moveTo>
                  <a:cubicBezTo>
                    <a:pt x="160305" y="2264664"/>
                    <a:pt x="163068" y="2267426"/>
                    <a:pt x="163068" y="2270855"/>
                  </a:cubicBezTo>
                  <a:cubicBezTo>
                    <a:pt x="163068" y="2274284"/>
                    <a:pt x="160305" y="2277047"/>
                    <a:pt x="156876" y="2277047"/>
                  </a:cubicBezTo>
                  <a:cubicBezTo>
                    <a:pt x="153447" y="2277047"/>
                    <a:pt x="150685" y="2274284"/>
                    <a:pt x="150685" y="2270855"/>
                  </a:cubicBezTo>
                  <a:cubicBezTo>
                    <a:pt x="150685" y="2267426"/>
                    <a:pt x="153447" y="2264664"/>
                    <a:pt x="156876" y="2264664"/>
                  </a:cubicBezTo>
                  <a:close/>
                  <a:moveTo>
                    <a:pt x="426148" y="2261140"/>
                  </a:moveTo>
                  <a:cubicBezTo>
                    <a:pt x="429577" y="2261140"/>
                    <a:pt x="432339" y="2263902"/>
                    <a:pt x="432339" y="2267331"/>
                  </a:cubicBezTo>
                  <a:cubicBezTo>
                    <a:pt x="432339" y="2270760"/>
                    <a:pt x="429577" y="2273522"/>
                    <a:pt x="426148" y="2273522"/>
                  </a:cubicBezTo>
                  <a:cubicBezTo>
                    <a:pt x="422719" y="2273522"/>
                    <a:pt x="419957" y="2270760"/>
                    <a:pt x="419957" y="2267331"/>
                  </a:cubicBezTo>
                  <a:cubicBezTo>
                    <a:pt x="419957" y="2263902"/>
                    <a:pt x="422719" y="2261140"/>
                    <a:pt x="426148" y="2261140"/>
                  </a:cubicBezTo>
                  <a:close/>
                  <a:moveTo>
                    <a:pt x="682942" y="2260950"/>
                  </a:moveTo>
                  <a:cubicBezTo>
                    <a:pt x="686371" y="2260950"/>
                    <a:pt x="689133" y="2263712"/>
                    <a:pt x="689133" y="2267141"/>
                  </a:cubicBezTo>
                  <a:cubicBezTo>
                    <a:pt x="689133" y="2270570"/>
                    <a:pt x="686371" y="2273333"/>
                    <a:pt x="682942" y="2273333"/>
                  </a:cubicBezTo>
                  <a:cubicBezTo>
                    <a:pt x="679513" y="2273333"/>
                    <a:pt x="676751" y="2270570"/>
                    <a:pt x="676751" y="2267141"/>
                  </a:cubicBezTo>
                  <a:cubicBezTo>
                    <a:pt x="676751" y="2263712"/>
                    <a:pt x="679513" y="2260950"/>
                    <a:pt x="682942" y="2260950"/>
                  </a:cubicBezTo>
                  <a:close/>
                  <a:moveTo>
                    <a:pt x="3190589" y="2260473"/>
                  </a:moveTo>
                  <a:lnTo>
                    <a:pt x="3195637" y="2265521"/>
                  </a:lnTo>
                  <a:lnTo>
                    <a:pt x="3196875" y="2264283"/>
                  </a:lnTo>
                  <a:lnTo>
                    <a:pt x="3201638" y="2269046"/>
                  </a:lnTo>
                  <a:lnTo>
                    <a:pt x="3202876" y="2267808"/>
                  </a:lnTo>
                  <a:lnTo>
                    <a:pt x="3208877" y="2273808"/>
                  </a:lnTo>
                  <a:lnTo>
                    <a:pt x="3210782" y="2271903"/>
                  </a:lnTo>
                  <a:cubicBezTo>
                    <a:pt x="3214211" y="2271903"/>
                    <a:pt x="3216973" y="2274665"/>
                    <a:pt x="3216973" y="2278094"/>
                  </a:cubicBezTo>
                  <a:cubicBezTo>
                    <a:pt x="3216973" y="2281523"/>
                    <a:pt x="3214211" y="2284286"/>
                    <a:pt x="3210782" y="2284286"/>
                  </a:cubicBezTo>
                  <a:lnTo>
                    <a:pt x="3204782" y="2278285"/>
                  </a:lnTo>
                  <a:lnTo>
                    <a:pt x="3202876" y="2280191"/>
                  </a:lnTo>
                  <a:lnTo>
                    <a:pt x="3198113" y="2275427"/>
                  </a:lnTo>
                  <a:lnTo>
                    <a:pt x="3196875" y="2276665"/>
                  </a:lnTo>
                  <a:lnTo>
                    <a:pt x="3191827" y="2271618"/>
                  </a:lnTo>
                  <a:lnTo>
                    <a:pt x="3190589" y="2272856"/>
                  </a:lnTo>
                  <a:cubicBezTo>
                    <a:pt x="3187160" y="2272856"/>
                    <a:pt x="3184398" y="2270093"/>
                    <a:pt x="3184398" y="2266664"/>
                  </a:cubicBezTo>
                  <a:cubicBezTo>
                    <a:pt x="3184398" y="2263235"/>
                    <a:pt x="3187160" y="2260473"/>
                    <a:pt x="3190589" y="2260473"/>
                  </a:cubicBezTo>
                  <a:close/>
                  <a:moveTo>
                    <a:pt x="3219640" y="2259521"/>
                  </a:moveTo>
                  <a:cubicBezTo>
                    <a:pt x="3223069" y="2259521"/>
                    <a:pt x="3225832" y="2262283"/>
                    <a:pt x="3225832" y="2265712"/>
                  </a:cubicBezTo>
                  <a:cubicBezTo>
                    <a:pt x="3225832" y="2269141"/>
                    <a:pt x="3223069" y="2271903"/>
                    <a:pt x="3219640" y="2271903"/>
                  </a:cubicBezTo>
                  <a:cubicBezTo>
                    <a:pt x="3216211" y="2271903"/>
                    <a:pt x="3213449" y="2269141"/>
                    <a:pt x="3213449" y="2265712"/>
                  </a:cubicBezTo>
                  <a:cubicBezTo>
                    <a:pt x="3213449" y="2262283"/>
                    <a:pt x="3216211" y="2259521"/>
                    <a:pt x="3219640" y="2259521"/>
                  </a:cubicBezTo>
                  <a:close/>
                  <a:moveTo>
                    <a:pt x="2088356" y="2258283"/>
                  </a:moveTo>
                  <a:cubicBezTo>
                    <a:pt x="2091785" y="2258283"/>
                    <a:pt x="2094547" y="2261045"/>
                    <a:pt x="2094547" y="2264474"/>
                  </a:cubicBezTo>
                  <a:cubicBezTo>
                    <a:pt x="2094547" y="2267903"/>
                    <a:pt x="2091785" y="2270666"/>
                    <a:pt x="2088356" y="2270666"/>
                  </a:cubicBezTo>
                  <a:cubicBezTo>
                    <a:pt x="2084927" y="2270666"/>
                    <a:pt x="2082165" y="2267903"/>
                    <a:pt x="2082165" y="2264474"/>
                  </a:cubicBezTo>
                  <a:cubicBezTo>
                    <a:pt x="2082165" y="2261045"/>
                    <a:pt x="2084927" y="2258283"/>
                    <a:pt x="2088356" y="2258283"/>
                  </a:cubicBezTo>
                  <a:close/>
                  <a:moveTo>
                    <a:pt x="173354" y="2257425"/>
                  </a:moveTo>
                  <a:cubicBezTo>
                    <a:pt x="176783" y="2257425"/>
                    <a:pt x="179546" y="2260187"/>
                    <a:pt x="179546" y="2263616"/>
                  </a:cubicBezTo>
                  <a:cubicBezTo>
                    <a:pt x="179546" y="2267045"/>
                    <a:pt x="176783" y="2269807"/>
                    <a:pt x="173354" y="2269807"/>
                  </a:cubicBezTo>
                  <a:cubicBezTo>
                    <a:pt x="169925" y="2269807"/>
                    <a:pt x="167163" y="2267045"/>
                    <a:pt x="167163" y="2263616"/>
                  </a:cubicBezTo>
                  <a:cubicBezTo>
                    <a:pt x="167163" y="2260187"/>
                    <a:pt x="169925" y="2257425"/>
                    <a:pt x="173354" y="2257425"/>
                  </a:cubicBezTo>
                  <a:close/>
                  <a:moveTo>
                    <a:pt x="3048476" y="2256854"/>
                  </a:moveTo>
                  <a:cubicBezTo>
                    <a:pt x="3051896" y="2256854"/>
                    <a:pt x="3054668" y="2259626"/>
                    <a:pt x="3054668" y="2263045"/>
                  </a:cubicBezTo>
                  <a:cubicBezTo>
                    <a:pt x="3054668" y="2266465"/>
                    <a:pt x="3051896" y="2269236"/>
                    <a:pt x="3048476" y="2269236"/>
                  </a:cubicBezTo>
                  <a:cubicBezTo>
                    <a:pt x="3045057" y="2269236"/>
                    <a:pt x="3042285" y="2266465"/>
                    <a:pt x="3042285" y="2263045"/>
                  </a:cubicBezTo>
                  <a:cubicBezTo>
                    <a:pt x="3042285" y="2259626"/>
                    <a:pt x="3045057" y="2256854"/>
                    <a:pt x="3048476" y="2256854"/>
                  </a:cubicBezTo>
                  <a:close/>
                  <a:moveTo>
                    <a:pt x="108299" y="2256854"/>
                  </a:moveTo>
                  <a:cubicBezTo>
                    <a:pt x="110108" y="2256854"/>
                    <a:pt x="111537" y="2258283"/>
                    <a:pt x="111537" y="2260093"/>
                  </a:cubicBezTo>
                  <a:cubicBezTo>
                    <a:pt x="111537" y="2261902"/>
                    <a:pt x="110108" y="2263331"/>
                    <a:pt x="108299" y="2263331"/>
                  </a:cubicBezTo>
                  <a:cubicBezTo>
                    <a:pt x="106489" y="2263331"/>
                    <a:pt x="105060" y="2261902"/>
                    <a:pt x="105060" y="2260093"/>
                  </a:cubicBezTo>
                  <a:cubicBezTo>
                    <a:pt x="105060" y="2258283"/>
                    <a:pt x="106489" y="2256854"/>
                    <a:pt x="108299" y="2256854"/>
                  </a:cubicBezTo>
                  <a:close/>
                  <a:moveTo>
                    <a:pt x="3242595" y="2255711"/>
                  </a:moveTo>
                  <a:cubicBezTo>
                    <a:pt x="3246024" y="2255711"/>
                    <a:pt x="3248786" y="2258473"/>
                    <a:pt x="3248786" y="2261902"/>
                  </a:cubicBezTo>
                  <a:cubicBezTo>
                    <a:pt x="3248786" y="2265331"/>
                    <a:pt x="3246024" y="2268094"/>
                    <a:pt x="3242595" y="2268094"/>
                  </a:cubicBezTo>
                  <a:cubicBezTo>
                    <a:pt x="3239166" y="2268094"/>
                    <a:pt x="3236404" y="2265331"/>
                    <a:pt x="3236404" y="2261902"/>
                  </a:cubicBezTo>
                  <a:cubicBezTo>
                    <a:pt x="3236404" y="2258473"/>
                    <a:pt x="3239166" y="2255711"/>
                    <a:pt x="3242595" y="2255711"/>
                  </a:cubicBezTo>
                  <a:close/>
                  <a:moveTo>
                    <a:pt x="3181540" y="2255425"/>
                  </a:moveTo>
                  <a:cubicBezTo>
                    <a:pt x="3184969" y="2255425"/>
                    <a:pt x="3187732" y="2258187"/>
                    <a:pt x="3187732" y="2261616"/>
                  </a:cubicBezTo>
                  <a:cubicBezTo>
                    <a:pt x="3187732" y="2265045"/>
                    <a:pt x="3184969" y="2267808"/>
                    <a:pt x="3181540" y="2267808"/>
                  </a:cubicBezTo>
                  <a:cubicBezTo>
                    <a:pt x="3178111" y="2267808"/>
                    <a:pt x="3175349" y="2265045"/>
                    <a:pt x="3175349" y="2261616"/>
                  </a:cubicBezTo>
                  <a:cubicBezTo>
                    <a:pt x="3175349" y="2258187"/>
                    <a:pt x="3178111" y="2255425"/>
                    <a:pt x="3181540" y="2255425"/>
                  </a:cubicBezTo>
                  <a:close/>
                  <a:moveTo>
                    <a:pt x="3122580" y="2254854"/>
                  </a:moveTo>
                  <a:cubicBezTo>
                    <a:pt x="3126009" y="2254854"/>
                    <a:pt x="3128772" y="2257616"/>
                    <a:pt x="3128772" y="2261045"/>
                  </a:cubicBezTo>
                  <a:cubicBezTo>
                    <a:pt x="3128772" y="2264474"/>
                    <a:pt x="3126009" y="2267237"/>
                    <a:pt x="3122580" y="2267237"/>
                  </a:cubicBezTo>
                  <a:cubicBezTo>
                    <a:pt x="3119151" y="2267237"/>
                    <a:pt x="3116389" y="2264474"/>
                    <a:pt x="3116389" y="2261045"/>
                  </a:cubicBezTo>
                  <a:cubicBezTo>
                    <a:pt x="3116389" y="2257616"/>
                    <a:pt x="3119151" y="2254854"/>
                    <a:pt x="3122580" y="2254854"/>
                  </a:cubicBezTo>
                  <a:close/>
                  <a:moveTo>
                    <a:pt x="137350" y="2253044"/>
                  </a:moveTo>
                  <a:cubicBezTo>
                    <a:pt x="140779" y="2253044"/>
                    <a:pt x="143541" y="2255806"/>
                    <a:pt x="143541" y="2259235"/>
                  </a:cubicBezTo>
                  <a:cubicBezTo>
                    <a:pt x="143541" y="2262664"/>
                    <a:pt x="140779" y="2265427"/>
                    <a:pt x="137350" y="2265427"/>
                  </a:cubicBezTo>
                  <a:lnTo>
                    <a:pt x="136540" y="2264617"/>
                  </a:lnTo>
                  <a:lnTo>
                    <a:pt x="131444" y="2269713"/>
                  </a:lnTo>
                  <a:lnTo>
                    <a:pt x="130491" y="2268761"/>
                  </a:lnTo>
                  <a:lnTo>
                    <a:pt x="125444" y="2273809"/>
                  </a:lnTo>
                  <a:cubicBezTo>
                    <a:pt x="122015" y="2273809"/>
                    <a:pt x="119253" y="2271046"/>
                    <a:pt x="119253" y="2267617"/>
                  </a:cubicBezTo>
                  <a:cubicBezTo>
                    <a:pt x="119253" y="2264188"/>
                    <a:pt x="122015" y="2261426"/>
                    <a:pt x="125444" y="2261426"/>
                  </a:cubicBezTo>
                  <a:lnTo>
                    <a:pt x="126396" y="2262378"/>
                  </a:lnTo>
                  <a:lnTo>
                    <a:pt x="131444" y="2257330"/>
                  </a:lnTo>
                  <a:lnTo>
                    <a:pt x="132254" y="2258140"/>
                  </a:lnTo>
                  <a:close/>
                  <a:moveTo>
                    <a:pt x="1188815" y="2252091"/>
                  </a:moveTo>
                  <a:cubicBezTo>
                    <a:pt x="1192244" y="2252091"/>
                    <a:pt x="1195006" y="2254853"/>
                    <a:pt x="1195006" y="2258282"/>
                  </a:cubicBezTo>
                  <a:cubicBezTo>
                    <a:pt x="1195006" y="2261711"/>
                    <a:pt x="1192244" y="2264474"/>
                    <a:pt x="1188815" y="2264474"/>
                  </a:cubicBezTo>
                  <a:cubicBezTo>
                    <a:pt x="1185386" y="2264474"/>
                    <a:pt x="1182624" y="2261711"/>
                    <a:pt x="1182624" y="2258282"/>
                  </a:cubicBezTo>
                  <a:cubicBezTo>
                    <a:pt x="1182624" y="2254853"/>
                    <a:pt x="1185386" y="2252091"/>
                    <a:pt x="1188815" y="2252091"/>
                  </a:cubicBezTo>
                  <a:close/>
                  <a:moveTo>
                    <a:pt x="2688431" y="2250853"/>
                  </a:moveTo>
                  <a:cubicBezTo>
                    <a:pt x="2691860" y="2250853"/>
                    <a:pt x="2694622" y="2253615"/>
                    <a:pt x="2694622" y="2257044"/>
                  </a:cubicBezTo>
                  <a:cubicBezTo>
                    <a:pt x="2694622" y="2260473"/>
                    <a:pt x="2691860" y="2263236"/>
                    <a:pt x="2688431" y="2263236"/>
                  </a:cubicBezTo>
                  <a:cubicBezTo>
                    <a:pt x="2685002" y="2263236"/>
                    <a:pt x="2682240" y="2260473"/>
                    <a:pt x="2682240" y="2257044"/>
                  </a:cubicBezTo>
                  <a:cubicBezTo>
                    <a:pt x="2682240" y="2253615"/>
                    <a:pt x="2685002" y="2250853"/>
                    <a:pt x="2688431" y="2250853"/>
                  </a:cubicBezTo>
                  <a:close/>
                  <a:moveTo>
                    <a:pt x="2931604" y="2250567"/>
                  </a:moveTo>
                  <a:cubicBezTo>
                    <a:pt x="2935033" y="2250567"/>
                    <a:pt x="2937795" y="2253329"/>
                    <a:pt x="2937795" y="2256758"/>
                  </a:cubicBezTo>
                  <a:cubicBezTo>
                    <a:pt x="2937795" y="2260187"/>
                    <a:pt x="2935033" y="2262950"/>
                    <a:pt x="2931604" y="2262950"/>
                  </a:cubicBezTo>
                  <a:cubicBezTo>
                    <a:pt x="2928175" y="2262950"/>
                    <a:pt x="2925413" y="2260187"/>
                    <a:pt x="2925413" y="2256758"/>
                  </a:cubicBezTo>
                  <a:cubicBezTo>
                    <a:pt x="2925413" y="2253329"/>
                    <a:pt x="2928175" y="2250567"/>
                    <a:pt x="2931604" y="2250567"/>
                  </a:cubicBezTo>
                  <a:close/>
                  <a:moveTo>
                    <a:pt x="3253454" y="2247996"/>
                  </a:moveTo>
                  <a:cubicBezTo>
                    <a:pt x="3255740" y="2247996"/>
                    <a:pt x="3257549" y="2249806"/>
                    <a:pt x="3257549" y="2252092"/>
                  </a:cubicBezTo>
                  <a:cubicBezTo>
                    <a:pt x="3257549" y="2254378"/>
                    <a:pt x="3255740" y="2256188"/>
                    <a:pt x="3253454" y="2256188"/>
                  </a:cubicBezTo>
                  <a:cubicBezTo>
                    <a:pt x="3251167" y="2256188"/>
                    <a:pt x="3249358" y="2254378"/>
                    <a:pt x="3249358" y="2252092"/>
                  </a:cubicBezTo>
                  <a:cubicBezTo>
                    <a:pt x="3249358" y="2249806"/>
                    <a:pt x="3251167" y="2247996"/>
                    <a:pt x="3253454" y="2247996"/>
                  </a:cubicBezTo>
                  <a:close/>
                  <a:moveTo>
                    <a:pt x="269176" y="2247900"/>
                  </a:moveTo>
                  <a:cubicBezTo>
                    <a:pt x="272605" y="2247900"/>
                    <a:pt x="275367" y="2250662"/>
                    <a:pt x="275367" y="2254091"/>
                  </a:cubicBezTo>
                  <a:cubicBezTo>
                    <a:pt x="275367" y="2257520"/>
                    <a:pt x="272605" y="2260282"/>
                    <a:pt x="269176" y="2260282"/>
                  </a:cubicBezTo>
                  <a:cubicBezTo>
                    <a:pt x="265747" y="2260282"/>
                    <a:pt x="262985" y="2257520"/>
                    <a:pt x="262985" y="2254091"/>
                  </a:cubicBezTo>
                  <a:cubicBezTo>
                    <a:pt x="262985" y="2250662"/>
                    <a:pt x="265747" y="2247900"/>
                    <a:pt x="269176" y="2247900"/>
                  </a:cubicBezTo>
                  <a:close/>
                  <a:moveTo>
                    <a:pt x="3228689" y="2247805"/>
                  </a:moveTo>
                  <a:cubicBezTo>
                    <a:pt x="3232118" y="2247805"/>
                    <a:pt x="3234880" y="2250567"/>
                    <a:pt x="3234880" y="2253996"/>
                  </a:cubicBezTo>
                  <a:cubicBezTo>
                    <a:pt x="3234880" y="2257425"/>
                    <a:pt x="3232118" y="2260188"/>
                    <a:pt x="3228689" y="2260188"/>
                  </a:cubicBezTo>
                  <a:cubicBezTo>
                    <a:pt x="3225260" y="2260188"/>
                    <a:pt x="3222498" y="2257425"/>
                    <a:pt x="3222498" y="2253996"/>
                  </a:cubicBezTo>
                  <a:cubicBezTo>
                    <a:pt x="3222498" y="2250567"/>
                    <a:pt x="3225260" y="2247805"/>
                    <a:pt x="3228689" y="2247805"/>
                  </a:cubicBezTo>
                  <a:close/>
                  <a:moveTo>
                    <a:pt x="3166871" y="2247805"/>
                  </a:moveTo>
                  <a:cubicBezTo>
                    <a:pt x="3170300" y="2247805"/>
                    <a:pt x="3173063" y="2250567"/>
                    <a:pt x="3173063" y="2253996"/>
                  </a:cubicBezTo>
                  <a:cubicBezTo>
                    <a:pt x="3173063" y="2257425"/>
                    <a:pt x="3170300" y="2260188"/>
                    <a:pt x="3166871" y="2260188"/>
                  </a:cubicBezTo>
                  <a:cubicBezTo>
                    <a:pt x="3163442" y="2260188"/>
                    <a:pt x="3160680" y="2257425"/>
                    <a:pt x="3160680" y="2253996"/>
                  </a:cubicBezTo>
                  <a:cubicBezTo>
                    <a:pt x="3160680" y="2250567"/>
                    <a:pt x="3163442" y="2247805"/>
                    <a:pt x="3166871" y="2247805"/>
                  </a:cubicBezTo>
                  <a:close/>
                  <a:moveTo>
                    <a:pt x="145446" y="2247519"/>
                  </a:moveTo>
                  <a:cubicBezTo>
                    <a:pt x="148866" y="2247519"/>
                    <a:pt x="151638" y="2250291"/>
                    <a:pt x="151638" y="2253710"/>
                  </a:cubicBezTo>
                  <a:cubicBezTo>
                    <a:pt x="151638" y="2257130"/>
                    <a:pt x="148866" y="2259902"/>
                    <a:pt x="145446" y="2259902"/>
                  </a:cubicBezTo>
                  <a:cubicBezTo>
                    <a:pt x="142027" y="2259902"/>
                    <a:pt x="139255" y="2257130"/>
                    <a:pt x="139255" y="2253710"/>
                  </a:cubicBezTo>
                  <a:cubicBezTo>
                    <a:pt x="139255" y="2250291"/>
                    <a:pt x="142027" y="2247519"/>
                    <a:pt x="145446" y="2247519"/>
                  </a:cubicBezTo>
                  <a:close/>
                  <a:moveTo>
                    <a:pt x="199834" y="2246186"/>
                  </a:moveTo>
                  <a:cubicBezTo>
                    <a:pt x="203263" y="2246186"/>
                    <a:pt x="206025" y="2248948"/>
                    <a:pt x="206025" y="2252377"/>
                  </a:cubicBezTo>
                  <a:cubicBezTo>
                    <a:pt x="206025" y="2255806"/>
                    <a:pt x="203263" y="2258569"/>
                    <a:pt x="199834" y="2258569"/>
                  </a:cubicBezTo>
                  <a:cubicBezTo>
                    <a:pt x="196405" y="2258569"/>
                    <a:pt x="193643" y="2255806"/>
                    <a:pt x="193643" y="2252377"/>
                  </a:cubicBezTo>
                  <a:cubicBezTo>
                    <a:pt x="193643" y="2248948"/>
                    <a:pt x="196405" y="2246186"/>
                    <a:pt x="199834" y="2246186"/>
                  </a:cubicBezTo>
                  <a:close/>
                  <a:moveTo>
                    <a:pt x="3199542" y="2244662"/>
                  </a:moveTo>
                  <a:lnTo>
                    <a:pt x="3204638" y="2249758"/>
                  </a:lnTo>
                  <a:lnTo>
                    <a:pt x="3204971" y="2249424"/>
                  </a:lnTo>
                  <a:lnTo>
                    <a:pt x="3210401" y="2254853"/>
                  </a:lnTo>
                  <a:lnTo>
                    <a:pt x="3211067" y="2254187"/>
                  </a:lnTo>
                  <a:cubicBezTo>
                    <a:pt x="3214496" y="2254187"/>
                    <a:pt x="3217258" y="2256949"/>
                    <a:pt x="3217258" y="2260378"/>
                  </a:cubicBezTo>
                  <a:cubicBezTo>
                    <a:pt x="3217258" y="2263807"/>
                    <a:pt x="3214496" y="2266570"/>
                    <a:pt x="3211067" y="2266570"/>
                  </a:cubicBezTo>
                  <a:lnTo>
                    <a:pt x="3205638" y="2261140"/>
                  </a:lnTo>
                  <a:lnTo>
                    <a:pt x="3204971" y="2261807"/>
                  </a:lnTo>
                  <a:lnTo>
                    <a:pt x="3199876" y="2256711"/>
                  </a:lnTo>
                  <a:lnTo>
                    <a:pt x="3199542" y="2257045"/>
                  </a:lnTo>
                  <a:cubicBezTo>
                    <a:pt x="3196113" y="2257045"/>
                    <a:pt x="3193351" y="2254282"/>
                    <a:pt x="3193351" y="2250853"/>
                  </a:cubicBezTo>
                  <a:cubicBezTo>
                    <a:pt x="3193351" y="2247424"/>
                    <a:pt x="3196113" y="2244662"/>
                    <a:pt x="3199542" y="2244662"/>
                  </a:cubicBezTo>
                  <a:close/>
                  <a:moveTo>
                    <a:pt x="2204656" y="2244471"/>
                  </a:moveTo>
                  <a:cubicBezTo>
                    <a:pt x="2208085" y="2244471"/>
                    <a:pt x="2210848" y="2247233"/>
                    <a:pt x="2210848" y="2250662"/>
                  </a:cubicBezTo>
                  <a:cubicBezTo>
                    <a:pt x="2210848" y="2254091"/>
                    <a:pt x="2208085" y="2256853"/>
                    <a:pt x="2204656" y="2256853"/>
                  </a:cubicBezTo>
                  <a:cubicBezTo>
                    <a:pt x="2201227" y="2256853"/>
                    <a:pt x="2198465" y="2254091"/>
                    <a:pt x="2198465" y="2250662"/>
                  </a:cubicBezTo>
                  <a:cubicBezTo>
                    <a:pt x="2198465" y="2247233"/>
                    <a:pt x="2201227" y="2244471"/>
                    <a:pt x="2204656" y="2244471"/>
                  </a:cubicBezTo>
                  <a:close/>
                  <a:moveTo>
                    <a:pt x="611219" y="2242090"/>
                  </a:moveTo>
                  <a:cubicBezTo>
                    <a:pt x="614648" y="2242090"/>
                    <a:pt x="617410" y="2244852"/>
                    <a:pt x="617410" y="2248281"/>
                  </a:cubicBezTo>
                  <a:cubicBezTo>
                    <a:pt x="617410" y="2251710"/>
                    <a:pt x="614648" y="2254472"/>
                    <a:pt x="611219" y="2254472"/>
                  </a:cubicBezTo>
                  <a:cubicBezTo>
                    <a:pt x="607790" y="2254472"/>
                    <a:pt x="605028" y="2251710"/>
                    <a:pt x="605028" y="2248281"/>
                  </a:cubicBezTo>
                  <a:cubicBezTo>
                    <a:pt x="605028" y="2244852"/>
                    <a:pt x="607790" y="2242090"/>
                    <a:pt x="611219" y="2242090"/>
                  </a:cubicBezTo>
                  <a:close/>
                  <a:moveTo>
                    <a:pt x="379475" y="2241614"/>
                  </a:moveTo>
                  <a:cubicBezTo>
                    <a:pt x="382904" y="2241614"/>
                    <a:pt x="385667" y="2244376"/>
                    <a:pt x="385667" y="2247805"/>
                  </a:cubicBezTo>
                  <a:cubicBezTo>
                    <a:pt x="385667" y="2251234"/>
                    <a:pt x="382904" y="2253997"/>
                    <a:pt x="379475" y="2253997"/>
                  </a:cubicBezTo>
                  <a:cubicBezTo>
                    <a:pt x="376046" y="2253997"/>
                    <a:pt x="373284" y="2251234"/>
                    <a:pt x="373284" y="2247805"/>
                  </a:cubicBezTo>
                  <a:cubicBezTo>
                    <a:pt x="373284" y="2244376"/>
                    <a:pt x="376046" y="2241614"/>
                    <a:pt x="379475" y="2241614"/>
                  </a:cubicBezTo>
                  <a:close/>
                  <a:moveTo>
                    <a:pt x="158686" y="2239613"/>
                  </a:moveTo>
                  <a:cubicBezTo>
                    <a:pt x="162115" y="2239613"/>
                    <a:pt x="164877" y="2242375"/>
                    <a:pt x="164877" y="2245804"/>
                  </a:cubicBezTo>
                  <a:cubicBezTo>
                    <a:pt x="164877" y="2249233"/>
                    <a:pt x="162115" y="2251996"/>
                    <a:pt x="158686" y="2251996"/>
                  </a:cubicBezTo>
                  <a:cubicBezTo>
                    <a:pt x="155257" y="2251996"/>
                    <a:pt x="152495" y="2249233"/>
                    <a:pt x="152495" y="2245804"/>
                  </a:cubicBezTo>
                  <a:cubicBezTo>
                    <a:pt x="152495" y="2242375"/>
                    <a:pt x="155257" y="2239613"/>
                    <a:pt x="158686" y="2239613"/>
                  </a:cubicBezTo>
                  <a:close/>
                  <a:moveTo>
                    <a:pt x="3192303" y="2238661"/>
                  </a:moveTo>
                  <a:cubicBezTo>
                    <a:pt x="3195732" y="2238661"/>
                    <a:pt x="3198494" y="2241423"/>
                    <a:pt x="3198494" y="2244852"/>
                  </a:cubicBezTo>
                  <a:cubicBezTo>
                    <a:pt x="3198494" y="2248281"/>
                    <a:pt x="3195732" y="2251044"/>
                    <a:pt x="3192303" y="2251044"/>
                  </a:cubicBezTo>
                  <a:cubicBezTo>
                    <a:pt x="3188874" y="2251044"/>
                    <a:pt x="3186112" y="2248281"/>
                    <a:pt x="3186112" y="2244852"/>
                  </a:cubicBezTo>
                  <a:cubicBezTo>
                    <a:pt x="3186112" y="2241423"/>
                    <a:pt x="3188874" y="2238661"/>
                    <a:pt x="3192303" y="2238661"/>
                  </a:cubicBezTo>
                  <a:close/>
                  <a:moveTo>
                    <a:pt x="3078860" y="2237708"/>
                  </a:moveTo>
                  <a:cubicBezTo>
                    <a:pt x="3082289" y="2237708"/>
                    <a:pt x="3085052" y="2240470"/>
                    <a:pt x="3085052" y="2243899"/>
                  </a:cubicBezTo>
                  <a:cubicBezTo>
                    <a:pt x="3085052" y="2247328"/>
                    <a:pt x="3082289" y="2250091"/>
                    <a:pt x="3078860" y="2250091"/>
                  </a:cubicBezTo>
                  <a:cubicBezTo>
                    <a:pt x="3075431" y="2250091"/>
                    <a:pt x="3072669" y="2247328"/>
                    <a:pt x="3072669" y="2243899"/>
                  </a:cubicBezTo>
                  <a:cubicBezTo>
                    <a:pt x="3072669" y="2240470"/>
                    <a:pt x="3075431" y="2237708"/>
                    <a:pt x="3078860" y="2237708"/>
                  </a:cubicBezTo>
                  <a:close/>
                  <a:moveTo>
                    <a:pt x="128777" y="2237518"/>
                  </a:moveTo>
                  <a:cubicBezTo>
                    <a:pt x="132206" y="2237518"/>
                    <a:pt x="134969" y="2240280"/>
                    <a:pt x="134969" y="2243709"/>
                  </a:cubicBezTo>
                  <a:lnTo>
                    <a:pt x="129682" y="2248996"/>
                  </a:lnTo>
                  <a:lnTo>
                    <a:pt x="129730" y="2249043"/>
                  </a:lnTo>
                  <a:cubicBezTo>
                    <a:pt x="129730" y="2252472"/>
                    <a:pt x="126967" y="2255234"/>
                    <a:pt x="123538" y="2255234"/>
                  </a:cubicBezTo>
                  <a:lnTo>
                    <a:pt x="123015" y="2254711"/>
                  </a:lnTo>
                  <a:lnTo>
                    <a:pt x="117252" y="2260474"/>
                  </a:lnTo>
                  <a:cubicBezTo>
                    <a:pt x="113823" y="2260474"/>
                    <a:pt x="111061" y="2257711"/>
                    <a:pt x="111061" y="2254282"/>
                  </a:cubicBezTo>
                  <a:cubicBezTo>
                    <a:pt x="111061" y="2250853"/>
                    <a:pt x="113823" y="2248091"/>
                    <a:pt x="117252" y="2248091"/>
                  </a:cubicBezTo>
                  <a:lnTo>
                    <a:pt x="117775" y="2248615"/>
                  </a:lnTo>
                  <a:lnTo>
                    <a:pt x="122633" y="2243757"/>
                  </a:lnTo>
                  <a:lnTo>
                    <a:pt x="122586" y="2243709"/>
                  </a:lnTo>
                  <a:cubicBezTo>
                    <a:pt x="122586" y="2240280"/>
                    <a:pt x="125348" y="2237518"/>
                    <a:pt x="128777" y="2237518"/>
                  </a:cubicBezTo>
                  <a:close/>
                  <a:moveTo>
                    <a:pt x="1076134" y="2237423"/>
                  </a:moveTo>
                  <a:cubicBezTo>
                    <a:pt x="1079563" y="2237423"/>
                    <a:pt x="1082325" y="2240185"/>
                    <a:pt x="1082325" y="2243614"/>
                  </a:cubicBezTo>
                  <a:cubicBezTo>
                    <a:pt x="1082325" y="2247043"/>
                    <a:pt x="1079563" y="2249806"/>
                    <a:pt x="1076134" y="2249806"/>
                  </a:cubicBezTo>
                  <a:cubicBezTo>
                    <a:pt x="1072705" y="2249806"/>
                    <a:pt x="1069943" y="2247043"/>
                    <a:pt x="1069943" y="2243614"/>
                  </a:cubicBezTo>
                  <a:cubicBezTo>
                    <a:pt x="1069943" y="2240185"/>
                    <a:pt x="1072705" y="2237423"/>
                    <a:pt x="1076134" y="2237423"/>
                  </a:cubicBezTo>
                  <a:close/>
                  <a:moveTo>
                    <a:pt x="3238023" y="2236756"/>
                  </a:moveTo>
                  <a:cubicBezTo>
                    <a:pt x="3241452" y="2236756"/>
                    <a:pt x="3244215" y="2239518"/>
                    <a:pt x="3244215" y="2242947"/>
                  </a:cubicBezTo>
                  <a:cubicBezTo>
                    <a:pt x="3244215" y="2246376"/>
                    <a:pt x="3241452" y="2249138"/>
                    <a:pt x="3238023" y="2249138"/>
                  </a:cubicBezTo>
                  <a:cubicBezTo>
                    <a:pt x="3234594" y="2249138"/>
                    <a:pt x="3231832" y="2246376"/>
                    <a:pt x="3231832" y="2242947"/>
                  </a:cubicBezTo>
                  <a:cubicBezTo>
                    <a:pt x="3231832" y="2239518"/>
                    <a:pt x="3234594" y="2236756"/>
                    <a:pt x="3238023" y="2236756"/>
                  </a:cubicBezTo>
                  <a:close/>
                  <a:moveTo>
                    <a:pt x="3142964" y="2236375"/>
                  </a:moveTo>
                  <a:cubicBezTo>
                    <a:pt x="3146393" y="2236375"/>
                    <a:pt x="3149155" y="2239137"/>
                    <a:pt x="3149155" y="2242566"/>
                  </a:cubicBezTo>
                  <a:cubicBezTo>
                    <a:pt x="3149155" y="2245995"/>
                    <a:pt x="3146393" y="2248758"/>
                    <a:pt x="3142964" y="2248758"/>
                  </a:cubicBezTo>
                  <a:cubicBezTo>
                    <a:pt x="3139535" y="2248758"/>
                    <a:pt x="3136773" y="2245995"/>
                    <a:pt x="3136773" y="2242566"/>
                  </a:cubicBezTo>
                  <a:cubicBezTo>
                    <a:pt x="3136773" y="2239137"/>
                    <a:pt x="3139535" y="2236375"/>
                    <a:pt x="3142964" y="2236375"/>
                  </a:cubicBezTo>
                  <a:close/>
                  <a:moveTo>
                    <a:pt x="109156" y="2235422"/>
                  </a:moveTo>
                  <a:cubicBezTo>
                    <a:pt x="112585" y="2235422"/>
                    <a:pt x="115347" y="2238184"/>
                    <a:pt x="115347" y="2241613"/>
                  </a:cubicBezTo>
                  <a:cubicBezTo>
                    <a:pt x="115347" y="2245042"/>
                    <a:pt x="112585" y="2247805"/>
                    <a:pt x="109156" y="2247805"/>
                  </a:cubicBezTo>
                  <a:cubicBezTo>
                    <a:pt x="105727" y="2247805"/>
                    <a:pt x="102965" y="2245042"/>
                    <a:pt x="102965" y="2241613"/>
                  </a:cubicBezTo>
                  <a:cubicBezTo>
                    <a:pt x="102965" y="2238184"/>
                    <a:pt x="105727" y="2235422"/>
                    <a:pt x="109156" y="2235422"/>
                  </a:cubicBezTo>
                  <a:close/>
                  <a:moveTo>
                    <a:pt x="2756820" y="2231994"/>
                  </a:moveTo>
                  <a:cubicBezTo>
                    <a:pt x="2760249" y="2231994"/>
                    <a:pt x="2763011" y="2234756"/>
                    <a:pt x="2763011" y="2238185"/>
                  </a:cubicBezTo>
                  <a:cubicBezTo>
                    <a:pt x="2763011" y="2241614"/>
                    <a:pt x="2760249" y="2244376"/>
                    <a:pt x="2756820" y="2244376"/>
                  </a:cubicBezTo>
                  <a:cubicBezTo>
                    <a:pt x="2753391" y="2244376"/>
                    <a:pt x="2750629" y="2241614"/>
                    <a:pt x="2750629" y="2238185"/>
                  </a:cubicBezTo>
                  <a:cubicBezTo>
                    <a:pt x="2750629" y="2234756"/>
                    <a:pt x="2753391" y="2231994"/>
                    <a:pt x="2756820" y="2231994"/>
                  </a:cubicBezTo>
                  <a:close/>
                  <a:moveTo>
                    <a:pt x="2975705" y="2231422"/>
                  </a:moveTo>
                  <a:cubicBezTo>
                    <a:pt x="2979134" y="2231422"/>
                    <a:pt x="2981896" y="2234184"/>
                    <a:pt x="2981896" y="2237613"/>
                  </a:cubicBezTo>
                  <a:cubicBezTo>
                    <a:pt x="2981896" y="2241042"/>
                    <a:pt x="2979134" y="2243805"/>
                    <a:pt x="2975705" y="2243805"/>
                  </a:cubicBezTo>
                  <a:cubicBezTo>
                    <a:pt x="2972276" y="2243805"/>
                    <a:pt x="2969514" y="2241042"/>
                    <a:pt x="2969514" y="2237613"/>
                  </a:cubicBezTo>
                  <a:cubicBezTo>
                    <a:pt x="2969514" y="2234184"/>
                    <a:pt x="2972276" y="2231422"/>
                    <a:pt x="2975705" y="2231422"/>
                  </a:cubicBezTo>
                  <a:close/>
                  <a:moveTo>
                    <a:pt x="135254" y="2231136"/>
                  </a:moveTo>
                  <a:cubicBezTo>
                    <a:pt x="138683" y="2231136"/>
                    <a:pt x="141446" y="2233898"/>
                    <a:pt x="141446" y="2237327"/>
                  </a:cubicBezTo>
                  <a:cubicBezTo>
                    <a:pt x="141446" y="2240756"/>
                    <a:pt x="138683" y="2243519"/>
                    <a:pt x="135254" y="2243519"/>
                  </a:cubicBezTo>
                  <a:cubicBezTo>
                    <a:pt x="131825" y="2243519"/>
                    <a:pt x="129063" y="2240756"/>
                    <a:pt x="129063" y="2237327"/>
                  </a:cubicBezTo>
                  <a:cubicBezTo>
                    <a:pt x="129063" y="2233898"/>
                    <a:pt x="131825" y="2231136"/>
                    <a:pt x="135254" y="2231136"/>
                  </a:cubicBezTo>
                  <a:close/>
                  <a:moveTo>
                    <a:pt x="3180587" y="2230374"/>
                  </a:moveTo>
                  <a:cubicBezTo>
                    <a:pt x="3184016" y="2230374"/>
                    <a:pt x="3186779" y="2233136"/>
                    <a:pt x="3186779" y="2236565"/>
                  </a:cubicBezTo>
                  <a:cubicBezTo>
                    <a:pt x="3186779" y="2239994"/>
                    <a:pt x="3184016" y="2242757"/>
                    <a:pt x="3180587" y="2242757"/>
                  </a:cubicBezTo>
                  <a:cubicBezTo>
                    <a:pt x="3177158" y="2242757"/>
                    <a:pt x="3174396" y="2239994"/>
                    <a:pt x="3174396" y="2236565"/>
                  </a:cubicBezTo>
                  <a:cubicBezTo>
                    <a:pt x="3174396" y="2233136"/>
                    <a:pt x="3177158" y="2230374"/>
                    <a:pt x="3180587" y="2230374"/>
                  </a:cubicBezTo>
                  <a:close/>
                  <a:moveTo>
                    <a:pt x="3207733" y="2229517"/>
                  </a:moveTo>
                  <a:cubicBezTo>
                    <a:pt x="3211162" y="2229517"/>
                    <a:pt x="3213925" y="2232279"/>
                    <a:pt x="3213925" y="2235708"/>
                  </a:cubicBezTo>
                  <a:lnTo>
                    <a:pt x="3213544" y="2236089"/>
                  </a:lnTo>
                  <a:lnTo>
                    <a:pt x="3218974" y="2241518"/>
                  </a:lnTo>
                  <a:lnTo>
                    <a:pt x="3219259" y="2241233"/>
                  </a:lnTo>
                  <a:cubicBezTo>
                    <a:pt x="3222688" y="2241233"/>
                    <a:pt x="3225451" y="2243995"/>
                    <a:pt x="3225451" y="2247424"/>
                  </a:cubicBezTo>
                  <a:cubicBezTo>
                    <a:pt x="3225451" y="2250853"/>
                    <a:pt x="3222688" y="2253616"/>
                    <a:pt x="3219259" y="2253616"/>
                  </a:cubicBezTo>
                  <a:lnTo>
                    <a:pt x="3213068" y="2247424"/>
                  </a:lnTo>
                  <a:lnTo>
                    <a:pt x="3212782" y="2247710"/>
                  </a:lnTo>
                  <a:cubicBezTo>
                    <a:pt x="3209353" y="2247710"/>
                    <a:pt x="3206591" y="2244947"/>
                    <a:pt x="3206591" y="2241518"/>
                  </a:cubicBezTo>
                  <a:lnTo>
                    <a:pt x="3206971" y="2241138"/>
                  </a:lnTo>
                  <a:lnTo>
                    <a:pt x="3201542" y="2235708"/>
                  </a:lnTo>
                  <a:cubicBezTo>
                    <a:pt x="3201542" y="2232279"/>
                    <a:pt x="3204304" y="2229517"/>
                    <a:pt x="3207733" y="2229517"/>
                  </a:cubicBezTo>
                  <a:close/>
                  <a:moveTo>
                    <a:pt x="2313050" y="2229041"/>
                  </a:moveTo>
                  <a:cubicBezTo>
                    <a:pt x="2316479" y="2229041"/>
                    <a:pt x="2319242" y="2231803"/>
                    <a:pt x="2319242" y="2235232"/>
                  </a:cubicBezTo>
                  <a:cubicBezTo>
                    <a:pt x="2319242" y="2238661"/>
                    <a:pt x="2316479" y="2241424"/>
                    <a:pt x="2313050" y="2241424"/>
                  </a:cubicBezTo>
                  <a:cubicBezTo>
                    <a:pt x="2309621" y="2241424"/>
                    <a:pt x="2306859" y="2238661"/>
                    <a:pt x="2306859" y="2235232"/>
                  </a:cubicBezTo>
                  <a:cubicBezTo>
                    <a:pt x="2306859" y="2231803"/>
                    <a:pt x="2309621" y="2229041"/>
                    <a:pt x="2313050" y="2229041"/>
                  </a:cubicBezTo>
                  <a:close/>
                  <a:moveTo>
                    <a:pt x="240410" y="2229041"/>
                  </a:moveTo>
                  <a:cubicBezTo>
                    <a:pt x="243839" y="2229041"/>
                    <a:pt x="246601" y="2231803"/>
                    <a:pt x="246601" y="2235232"/>
                  </a:cubicBezTo>
                  <a:cubicBezTo>
                    <a:pt x="246601" y="2238661"/>
                    <a:pt x="243839" y="2241424"/>
                    <a:pt x="240410" y="2241424"/>
                  </a:cubicBezTo>
                  <a:cubicBezTo>
                    <a:pt x="236981" y="2241424"/>
                    <a:pt x="234219" y="2238661"/>
                    <a:pt x="234219" y="2235232"/>
                  </a:cubicBezTo>
                  <a:cubicBezTo>
                    <a:pt x="234219" y="2231803"/>
                    <a:pt x="236981" y="2229041"/>
                    <a:pt x="240410" y="2229041"/>
                  </a:cubicBezTo>
                  <a:close/>
                  <a:moveTo>
                    <a:pt x="3227355" y="2228946"/>
                  </a:moveTo>
                  <a:cubicBezTo>
                    <a:pt x="3230784" y="2228946"/>
                    <a:pt x="3233547" y="2231708"/>
                    <a:pt x="3233547" y="2235137"/>
                  </a:cubicBezTo>
                  <a:cubicBezTo>
                    <a:pt x="3233547" y="2238566"/>
                    <a:pt x="3230784" y="2241329"/>
                    <a:pt x="3227355" y="2241329"/>
                  </a:cubicBezTo>
                  <a:cubicBezTo>
                    <a:pt x="3223926" y="2241329"/>
                    <a:pt x="3221164" y="2238566"/>
                    <a:pt x="3221164" y="2235137"/>
                  </a:cubicBezTo>
                  <a:cubicBezTo>
                    <a:pt x="3221164" y="2231708"/>
                    <a:pt x="3223926" y="2228946"/>
                    <a:pt x="3227355" y="2228946"/>
                  </a:cubicBezTo>
                  <a:close/>
                  <a:moveTo>
                    <a:pt x="180593" y="2227993"/>
                  </a:moveTo>
                  <a:cubicBezTo>
                    <a:pt x="184022" y="2227993"/>
                    <a:pt x="186785" y="2230755"/>
                    <a:pt x="186785" y="2234184"/>
                  </a:cubicBezTo>
                  <a:cubicBezTo>
                    <a:pt x="186785" y="2237613"/>
                    <a:pt x="184022" y="2240376"/>
                    <a:pt x="180593" y="2240376"/>
                  </a:cubicBezTo>
                  <a:cubicBezTo>
                    <a:pt x="177164" y="2240376"/>
                    <a:pt x="174402" y="2237613"/>
                    <a:pt x="174402" y="2234184"/>
                  </a:cubicBezTo>
                  <a:cubicBezTo>
                    <a:pt x="174402" y="2230755"/>
                    <a:pt x="177164" y="2227993"/>
                    <a:pt x="180593" y="2227993"/>
                  </a:cubicBezTo>
                  <a:close/>
                  <a:moveTo>
                    <a:pt x="3247548" y="2226374"/>
                  </a:moveTo>
                  <a:cubicBezTo>
                    <a:pt x="3250977" y="2226374"/>
                    <a:pt x="3253740" y="2229136"/>
                    <a:pt x="3253740" y="2232565"/>
                  </a:cubicBezTo>
                  <a:cubicBezTo>
                    <a:pt x="3253740" y="2235994"/>
                    <a:pt x="3250977" y="2238757"/>
                    <a:pt x="3247548" y="2238757"/>
                  </a:cubicBezTo>
                  <a:cubicBezTo>
                    <a:pt x="3244119" y="2238757"/>
                    <a:pt x="3241357" y="2235994"/>
                    <a:pt x="3241357" y="2232565"/>
                  </a:cubicBezTo>
                  <a:cubicBezTo>
                    <a:pt x="3241357" y="2229136"/>
                    <a:pt x="3244119" y="2226374"/>
                    <a:pt x="3247548" y="2226374"/>
                  </a:cubicBezTo>
                  <a:close/>
                  <a:moveTo>
                    <a:pt x="100964" y="2223516"/>
                  </a:moveTo>
                  <a:cubicBezTo>
                    <a:pt x="104393" y="2223516"/>
                    <a:pt x="107156" y="2226278"/>
                    <a:pt x="107156" y="2229707"/>
                  </a:cubicBezTo>
                  <a:cubicBezTo>
                    <a:pt x="107156" y="2233136"/>
                    <a:pt x="104393" y="2235899"/>
                    <a:pt x="100964" y="2235899"/>
                  </a:cubicBezTo>
                  <a:cubicBezTo>
                    <a:pt x="97535" y="2235899"/>
                    <a:pt x="94773" y="2233136"/>
                    <a:pt x="94773" y="2229707"/>
                  </a:cubicBezTo>
                  <a:cubicBezTo>
                    <a:pt x="94773" y="2226278"/>
                    <a:pt x="97535" y="2223516"/>
                    <a:pt x="100964" y="2223516"/>
                  </a:cubicBezTo>
                  <a:close/>
                  <a:moveTo>
                    <a:pt x="545782" y="2223421"/>
                  </a:moveTo>
                  <a:cubicBezTo>
                    <a:pt x="549211" y="2223421"/>
                    <a:pt x="551973" y="2226183"/>
                    <a:pt x="551973" y="2229612"/>
                  </a:cubicBezTo>
                  <a:cubicBezTo>
                    <a:pt x="551973" y="2233041"/>
                    <a:pt x="549211" y="2235804"/>
                    <a:pt x="545782" y="2235804"/>
                  </a:cubicBezTo>
                  <a:cubicBezTo>
                    <a:pt x="542353" y="2235804"/>
                    <a:pt x="539591" y="2233041"/>
                    <a:pt x="539591" y="2229612"/>
                  </a:cubicBezTo>
                  <a:cubicBezTo>
                    <a:pt x="539591" y="2226183"/>
                    <a:pt x="542353" y="2223421"/>
                    <a:pt x="545782" y="2223421"/>
                  </a:cubicBezTo>
                  <a:close/>
                  <a:moveTo>
                    <a:pt x="3201923" y="2222659"/>
                  </a:moveTo>
                  <a:cubicBezTo>
                    <a:pt x="3205352" y="2222659"/>
                    <a:pt x="3208114" y="2225421"/>
                    <a:pt x="3208114" y="2228850"/>
                  </a:cubicBezTo>
                  <a:cubicBezTo>
                    <a:pt x="3208114" y="2232279"/>
                    <a:pt x="3205352" y="2235042"/>
                    <a:pt x="3201923" y="2235042"/>
                  </a:cubicBezTo>
                  <a:cubicBezTo>
                    <a:pt x="3198494" y="2235042"/>
                    <a:pt x="3195732" y="2232279"/>
                    <a:pt x="3195732" y="2228850"/>
                  </a:cubicBezTo>
                  <a:cubicBezTo>
                    <a:pt x="3195732" y="2225421"/>
                    <a:pt x="3198494" y="2222659"/>
                    <a:pt x="3201923" y="2222659"/>
                  </a:cubicBezTo>
                  <a:close/>
                  <a:moveTo>
                    <a:pt x="337565" y="2222659"/>
                  </a:moveTo>
                  <a:cubicBezTo>
                    <a:pt x="340994" y="2222659"/>
                    <a:pt x="343756" y="2225421"/>
                    <a:pt x="343756" y="2228850"/>
                  </a:cubicBezTo>
                  <a:cubicBezTo>
                    <a:pt x="343756" y="2232279"/>
                    <a:pt x="340994" y="2235042"/>
                    <a:pt x="337565" y="2235042"/>
                  </a:cubicBezTo>
                  <a:cubicBezTo>
                    <a:pt x="334136" y="2235042"/>
                    <a:pt x="331374" y="2232279"/>
                    <a:pt x="331374" y="2228850"/>
                  </a:cubicBezTo>
                  <a:cubicBezTo>
                    <a:pt x="331374" y="2225421"/>
                    <a:pt x="334136" y="2222659"/>
                    <a:pt x="337565" y="2222659"/>
                  </a:cubicBezTo>
                  <a:close/>
                  <a:moveTo>
                    <a:pt x="120776" y="2222659"/>
                  </a:moveTo>
                  <a:cubicBezTo>
                    <a:pt x="124205" y="2222659"/>
                    <a:pt x="126968" y="2225421"/>
                    <a:pt x="126968" y="2228850"/>
                  </a:cubicBezTo>
                  <a:lnTo>
                    <a:pt x="121300" y="2234518"/>
                  </a:lnTo>
                  <a:lnTo>
                    <a:pt x="122015" y="2235232"/>
                  </a:lnTo>
                  <a:cubicBezTo>
                    <a:pt x="122015" y="2238661"/>
                    <a:pt x="119252" y="2241424"/>
                    <a:pt x="115823" y="2241424"/>
                  </a:cubicBezTo>
                  <a:cubicBezTo>
                    <a:pt x="112394" y="2241424"/>
                    <a:pt x="109632" y="2238661"/>
                    <a:pt x="109632" y="2235232"/>
                  </a:cubicBezTo>
                  <a:lnTo>
                    <a:pt x="115299" y="2229565"/>
                  </a:lnTo>
                  <a:lnTo>
                    <a:pt x="114585" y="2228850"/>
                  </a:lnTo>
                  <a:cubicBezTo>
                    <a:pt x="114585" y="2225421"/>
                    <a:pt x="117347" y="2222659"/>
                    <a:pt x="120776" y="2222659"/>
                  </a:cubicBezTo>
                  <a:close/>
                  <a:moveTo>
                    <a:pt x="145827" y="2222564"/>
                  </a:moveTo>
                  <a:cubicBezTo>
                    <a:pt x="149256" y="2222564"/>
                    <a:pt x="152019" y="2225326"/>
                    <a:pt x="152019" y="2228755"/>
                  </a:cubicBezTo>
                  <a:cubicBezTo>
                    <a:pt x="152019" y="2232184"/>
                    <a:pt x="149256" y="2234947"/>
                    <a:pt x="145827" y="2234947"/>
                  </a:cubicBezTo>
                  <a:cubicBezTo>
                    <a:pt x="142398" y="2234947"/>
                    <a:pt x="139636" y="2232184"/>
                    <a:pt x="139636" y="2228755"/>
                  </a:cubicBezTo>
                  <a:cubicBezTo>
                    <a:pt x="139636" y="2225326"/>
                    <a:pt x="142398" y="2222564"/>
                    <a:pt x="145827" y="2222564"/>
                  </a:cubicBezTo>
                  <a:close/>
                  <a:moveTo>
                    <a:pt x="971359" y="2221611"/>
                  </a:moveTo>
                  <a:cubicBezTo>
                    <a:pt x="974788" y="2221611"/>
                    <a:pt x="977550" y="2224373"/>
                    <a:pt x="977550" y="2227802"/>
                  </a:cubicBezTo>
                  <a:cubicBezTo>
                    <a:pt x="977550" y="2231231"/>
                    <a:pt x="974788" y="2233994"/>
                    <a:pt x="971359" y="2233994"/>
                  </a:cubicBezTo>
                  <a:cubicBezTo>
                    <a:pt x="967930" y="2233994"/>
                    <a:pt x="965168" y="2231231"/>
                    <a:pt x="965168" y="2227802"/>
                  </a:cubicBezTo>
                  <a:cubicBezTo>
                    <a:pt x="965168" y="2224373"/>
                    <a:pt x="967930" y="2221611"/>
                    <a:pt x="971359" y="2221611"/>
                  </a:cubicBezTo>
                  <a:close/>
                  <a:moveTo>
                    <a:pt x="3105816" y="2219230"/>
                  </a:moveTo>
                  <a:cubicBezTo>
                    <a:pt x="3109245" y="2219230"/>
                    <a:pt x="3112007" y="2221992"/>
                    <a:pt x="3112007" y="2225421"/>
                  </a:cubicBezTo>
                  <a:cubicBezTo>
                    <a:pt x="3112007" y="2228850"/>
                    <a:pt x="3109245" y="2231613"/>
                    <a:pt x="3105816" y="2231613"/>
                  </a:cubicBezTo>
                  <a:cubicBezTo>
                    <a:pt x="3102387" y="2231613"/>
                    <a:pt x="3099625" y="2228850"/>
                    <a:pt x="3099625" y="2225421"/>
                  </a:cubicBezTo>
                  <a:cubicBezTo>
                    <a:pt x="3099625" y="2221992"/>
                    <a:pt x="3102387" y="2219230"/>
                    <a:pt x="3105816" y="2219230"/>
                  </a:cubicBezTo>
                  <a:close/>
                  <a:moveTo>
                    <a:pt x="3160966" y="2218563"/>
                  </a:moveTo>
                  <a:cubicBezTo>
                    <a:pt x="3164395" y="2218563"/>
                    <a:pt x="3167158" y="2221325"/>
                    <a:pt x="3167158" y="2224754"/>
                  </a:cubicBezTo>
                  <a:cubicBezTo>
                    <a:pt x="3167158" y="2228183"/>
                    <a:pt x="3164395" y="2230946"/>
                    <a:pt x="3160966" y="2230946"/>
                  </a:cubicBezTo>
                  <a:cubicBezTo>
                    <a:pt x="3157537" y="2230946"/>
                    <a:pt x="3154775" y="2228183"/>
                    <a:pt x="3154775" y="2224754"/>
                  </a:cubicBezTo>
                  <a:cubicBezTo>
                    <a:pt x="3154775" y="2221325"/>
                    <a:pt x="3157537" y="2218563"/>
                    <a:pt x="3160966" y="2218563"/>
                  </a:cubicBezTo>
                  <a:close/>
                  <a:moveTo>
                    <a:pt x="3235642" y="2217420"/>
                  </a:moveTo>
                  <a:cubicBezTo>
                    <a:pt x="3239071" y="2217420"/>
                    <a:pt x="3241834" y="2220182"/>
                    <a:pt x="3241834" y="2223611"/>
                  </a:cubicBezTo>
                  <a:cubicBezTo>
                    <a:pt x="3241834" y="2227040"/>
                    <a:pt x="3239071" y="2229803"/>
                    <a:pt x="3235642" y="2229803"/>
                  </a:cubicBezTo>
                  <a:cubicBezTo>
                    <a:pt x="3232213" y="2229803"/>
                    <a:pt x="3229451" y="2227040"/>
                    <a:pt x="3229451" y="2223611"/>
                  </a:cubicBezTo>
                  <a:cubicBezTo>
                    <a:pt x="3229451" y="2220182"/>
                    <a:pt x="3232213" y="2217420"/>
                    <a:pt x="3235642" y="2217420"/>
                  </a:cubicBezTo>
                  <a:close/>
                  <a:moveTo>
                    <a:pt x="3257549" y="2216658"/>
                  </a:moveTo>
                  <a:cubicBezTo>
                    <a:pt x="3260978" y="2216658"/>
                    <a:pt x="3263740" y="2219420"/>
                    <a:pt x="3263740" y="2222849"/>
                  </a:cubicBezTo>
                  <a:cubicBezTo>
                    <a:pt x="3263740" y="2226278"/>
                    <a:pt x="3260978" y="2229040"/>
                    <a:pt x="3257549" y="2229040"/>
                  </a:cubicBezTo>
                  <a:cubicBezTo>
                    <a:pt x="3254120" y="2229040"/>
                    <a:pt x="3251358" y="2226278"/>
                    <a:pt x="3251358" y="2222849"/>
                  </a:cubicBezTo>
                  <a:cubicBezTo>
                    <a:pt x="3251358" y="2219420"/>
                    <a:pt x="3254120" y="2216658"/>
                    <a:pt x="3257549" y="2216658"/>
                  </a:cubicBezTo>
                  <a:close/>
                  <a:moveTo>
                    <a:pt x="92583" y="2216277"/>
                  </a:moveTo>
                  <a:cubicBezTo>
                    <a:pt x="93726" y="2216277"/>
                    <a:pt x="94678" y="2217230"/>
                    <a:pt x="94678" y="2218373"/>
                  </a:cubicBezTo>
                  <a:cubicBezTo>
                    <a:pt x="94678" y="2219515"/>
                    <a:pt x="93726" y="2220468"/>
                    <a:pt x="92583" y="2220468"/>
                  </a:cubicBezTo>
                  <a:cubicBezTo>
                    <a:pt x="91440" y="2220468"/>
                    <a:pt x="90487" y="2219515"/>
                    <a:pt x="90487" y="2218373"/>
                  </a:cubicBezTo>
                  <a:cubicBezTo>
                    <a:pt x="90487" y="2217230"/>
                    <a:pt x="91440" y="2216277"/>
                    <a:pt x="92583" y="2216277"/>
                  </a:cubicBezTo>
                  <a:close/>
                  <a:moveTo>
                    <a:pt x="108299" y="2215991"/>
                  </a:moveTo>
                  <a:cubicBezTo>
                    <a:pt x="111728" y="2215991"/>
                    <a:pt x="114491" y="2218753"/>
                    <a:pt x="114491" y="2222182"/>
                  </a:cubicBezTo>
                  <a:cubicBezTo>
                    <a:pt x="114491" y="2225611"/>
                    <a:pt x="111728" y="2228374"/>
                    <a:pt x="108299" y="2228374"/>
                  </a:cubicBezTo>
                  <a:cubicBezTo>
                    <a:pt x="104870" y="2228374"/>
                    <a:pt x="102108" y="2225611"/>
                    <a:pt x="102108" y="2222182"/>
                  </a:cubicBezTo>
                  <a:cubicBezTo>
                    <a:pt x="102108" y="2218753"/>
                    <a:pt x="104870" y="2215991"/>
                    <a:pt x="108299" y="2215991"/>
                  </a:cubicBezTo>
                  <a:close/>
                  <a:moveTo>
                    <a:pt x="126110" y="2215420"/>
                  </a:moveTo>
                  <a:cubicBezTo>
                    <a:pt x="129539" y="2215420"/>
                    <a:pt x="132302" y="2218182"/>
                    <a:pt x="132302" y="2221611"/>
                  </a:cubicBezTo>
                  <a:cubicBezTo>
                    <a:pt x="132302" y="2225040"/>
                    <a:pt x="129539" y="2227803"/>
                    <a:pt x="126110" y="2227803"/>
                  </a:cubicBezTo>
                  <a:cubicBezTo>
                    <a:pt x="122681" y="2227803"/>
                    <a:pt x="119919" y="2225040"/>
                    <a:pt x="119919" y="2221611"/>
                  </a:cubicBezTo>
                  <a:cubicBezTo>
                    <a:pt x="119919" y="2218182"/>
                    <a:pt x="122681" y="2215420"/>
                    <a:pt x="126110" y="2215420"/>
                  </a:cubicBezTo>
                  <a:close/>
                  <a:moveTo>
                    <a:pt x="3215449" y="2215039"/>
                  </a:moveTo>
                  <a:cubicBezTo>
                    <a:pt x="3218878" y="2215039"/>
                    <a:pt x="3221641" y="2217801"/>
                    <a:pt x="3221641" y="2221230"/>
                  </a:cubicBezTo>
                  <a:lnTo>
                    <a:pt x="3220640" y="2222231"/>
                  </a:lnTo>
                  <a:lnTo>
                    <a:pt x="3226593" y="2228183"/>
                  </a:lnTo>
                  <a:cubicBezTo>
                    <a:pt x="3226593" y="2231612"/>
                    <a:pt x="3223831" y="2234375"/>
                    <a:pt x="3220402" y="2234375"/>
                  </a:cubicBezTo>
                  <a:cubicBezTo>
                    <a:pt x="3216973" y="2234375"/>
                    <a:pt x="3214211" y="2231612"/>
                    <a:pt x="3214211" y="2228183"/>
                  </a:cubicBezTo>
                  <a:lnTo>
                    <a:pt x="3215211" y="2227184"/>
                  </a:lnTo>
                  <a:lnTo>
                    <a:pt x="3209258" y="2221230"/>
                  </a:lnTo>
                  <a:cubicBezTo>
                    <a:pt x="3209258" y="2217801"/>
                    <a:pt x="3212020" y="2215039"/>
                    <a:pt x="3215449" y="2215039"/>
                  </a:cubicBezTo>
                  <a:close/>
                  <a:moveTo>
                    <a:pt x="3192589" y="2213706"/>
                  </a:moveTo>
                  <a:cubicBezTo>
                    <a:pt x="3196008" y="2213706"/>
                    <a:pt x="3198780" y="2216478"/>
                    <a:pt x="3198780" y="2219897"/>
                  </a:cubicBezTo>
                  <a:cubicBezTo>
                    <a:pt x="3198780" y="2223317"/>
                    <a:pt x="3196008" y="2226088"/>
                    <a:pt x="3192589" y="2226088"/>
                  </a:cubicBezTo>
                  <a:cubicBezTo>
                    <a:pt x="3189170" y="2226088"/>
                    <a:pt x="3186398" y="2223317"/>
                    <a:pt x="3186398" y="2219897"/>
                  </a:cubicBezTo>
                  <a:cubicBezTo>
                    <a:pt x="3186398" y="2216478"/>
                    <a:pt x="3189170" y="2213706"/>
                    <a:pt x="3192589" y="2213706"/>
                  </a:cubicBezTo>
                  <a:close/>
                  <a:moveTo>
                    <a:pt x="2818923" y="2213515"/>
                  </a:moveTo>
                  <a:cubicBezTo>
                    <a:pt x="2822352" y="2213515"/>
                    <a:pt x="2825115" y="2216277"/>
                    <a:pt x="2825115" y="2219706"/>
                  </a:cubicBezTo>
                  <a:cubicBezTo>
                    <a:pt x="2825115" y="2223135"/>
                    <a:pt x="2822352" y="2225897"/>
                    <a:pt x="2818923" y="2225897"/>
                  </a:cubicBezTo>
                  <a:cubicBezTo>
                    <a:pt x="2815494" y="2225897"/>
                    <a:pt x="2812732" y="2223135"/>
                    <a:pt x="2812732" y="2219706"/>
                  </a:cubicBezTo>
                  <a:cubicBezTo>
                    <a:pt x="2812732" y="2216277"/>
                    <a:pt x="2815494" y="2213515"/>
                    <a:pt x="2818923" y="2213515"/>
                  </a:cubicBezTo>
                  <a:close/>
                  <a:moveTo>
                    <a:pt x="2413634" y="2212848"/>
                  </a:moveTo>
                  <a:cubicBezTo>
                    <a:pt x="2417063" y="2212848"/>
                    <a:pt x="2419826" y="2215610"/>
                    <a:pt x="2419826" y="2219039"/>
                  </a:cubicBezTo>
                  <a:cubicBezTo>
                    <a:pt x="2419826" y="2222468"/>
                    <a:pt x="2417063" y="2225231"/>
                    <a:pt x="2413634" y="2225231"/>
                  </a:cubicBezTo>
                  <a:cubicBezTo>
                    <a:pt x="2410205" y="2225231"/>
                    <a:pt x="2407443" y="2222468"/>
                    <a:pt x="2407443" y="2219039"/>
                  </a:cubicBezTo>
                  <a:cubicBezTo>
                    <a:pt x="2407443" y="2215610"/>
                    <a:pt x="2410205" y="2212848"/>
                    <a:pt x="2413634" y="2212848"/>
                  </a:cubicBezTo>
                  <a:close/>
                  <a:moveTo>
                    <a:pt x="3015233" y="2212753"/>
                  </a:moveTo>
                  <a:cubicBezTo>
                    <a:pt x="3018662" y="2212753"/>
                    <a:pt x="3021424" y="2215515"/>
                    <a:pt x="3021424" y="2218944"/>
                  </a:cubicBezTo>
                  <a:cubicBezTo>
                    <a:pt x="3021424" y="2222373"/>
                    <a:pt x="3018662" y="2225136"/>
                    <a:pt x="3015233" y="2225136"/>
                  </a:cubicBezTo>
                  <a:cubicBezTo>
                    <a:pt x="3011804" y="2225136"/>
                    <a:pt x="3009042" y="2222373"/>
                    <a:pt x="3009042" y="2218944"/>
                  </a:cubicBezTo>
                  <a:cubicBezTo>
                    <a:pt x="3009042" y="2215515"/>
                    <a:pt x="3011804" y="2212753"/>
                    <a:pt x="3015233" y="2212753"/>
                  </a:cubicBezTo>
                  <a:close/>
                  <a:moveTo>
                    <a:pt x="214883" y="2210848"/>
                  </a:moveTo>
                  <a:cubicBezTo>
                    <a:pt x="218312" y="2210848"/>
                    <a:pt x="221074" y="2213610"/>
                    <a:pt x="221074" y="2217039"/>
                  </a:cubicBezTo>
                  <a:cubicBezTo>
                    <a:pt x="221074" y="2220468"/>
                    <a:pt x="218312" y="2223230"/>
                    <a:pt x="214883" y="2223230"/>
                  </a:cubicBezTo>
                  <a:cubicBezTo>
                    <a:pt x="211454" y="2223230"/>
                    <a:pt x="208692" y="2220468"/>
                    <a:pt x="208692" y="2217039"/>
                  </a:cubicBezTo>
                  <a:cubicBezTo>
                    <a:pt x="208692" y="2213610"/>
                    <a:pt x="211454" y="2210848"/>
                    <a:pt x="214883" y="2210848"/>
                  </a:cubicBezTo>
                  <a:close/>
                  <a:moveTo>
                    <a:pt x="3268027" y="2210467"/>
                  </a:moveTo>
                  <a:cubicBezTo>
                    <a:pt x="3269763" y="2210467"/>
                    <a:pt x="3271170" y="2211874"/>
                    <a:pt x="3271170" y="2213610"/>
                  </a:cubicBezTo>
                  <a:cubicBezTo>
                    <a:pt x="3271170" y="2215346"/>
                    <a:pt x="3269763" y="2216754"/>
                    <a:pt x="3268027" y="2216754"/>
                  </a:cubicBezTo>
                  <a:cubicBezTo>
                    <a:pt x="3266291" y="2216754"/>
                    <a:pt x="3264884" y="2215346"/>
                    <a:pt x="3264884" y="2213610"/>
                  </a:cubicBezTo>
                  <a:cubicBezTo>
                    <a:pt x="3264884" y="2211874"/>
                    <a:pt x="3266291" y="2210467"/>
                    <a:pt x="3268027" y="2210467"/>
                  </a:cubicBezTo>
                  <a:close/>
                  <a:moveTo>
                    <a:pt x="163544" y="2210467"/>
                  </a:moveTo>
                  <a:cubicBezTo>
                    <a:pt x="166973" y="2210467"/>
                    <a:pt x="169735" y="2213229"/>
                    <a:pt x="169735" y="2216658"/>
                  </a:cubicBezTo>
                  <a:cubicBezTo>
                    <a:pt x="169735" y="2220087"/>
                    <a:pt x="166973" y="2222850"/>
                    <a:pt x="163544" y="2222850"/>
                  </a:cubicBezTo>
                  <a:cubicBezTo>
                    <a:pt x="160115" y="2222850"/>
                    <a:pt x="157353" y="2220087"/>
                    <a:pt x="157353" y="2216658"/>
                  </a:cubicBezTo>
                  <a:cubicBezTo>
                    <a:pt x="157353" y="2213229"/>
                    <a:pt x="160115" y="2210467"/>
                    <a:pt x="163544" y="2210467"/>
                  </a:cubicBezTo>
                  <a:close/>
                  <a:moveTo>
                    <a:pt x="3227831" y="2209324"/>
                  </a:moveTo>
                  <a:cubicBezTo>
                    <a:pt x="3231260" y="2209324"/>
                    <a:pt x="3234022" y="2212086"/>
                    <a:pt x="3234022" y="2215515"/>
                  </a:cubicBezTo>
                  <a:cubicBezTo>
                    <a:pt x="3234022" y="2218944"/>
                    <a:pt x="3231260" y="2221707"/>
                    <a:pt x="3227831" y="2221707"/>
                  </a:cubicBezTo>
                  <a:cubicBezTo>
                    <a:pt x="3224402" y="2221707"/>
                    <a:pt x="3221640" y="2218944"/>
                    <a:pt x="3221640" y="2215515"/>
                  </a:cubicBezTo>
                  <a:cubicBezTo>
                    <a:pt x="3221640" y="2212086"/>
                    <a:pt x="3224402" y="2209324"/>
                    <a:pt x="3227831" y="2209324"/>
                  </a:cubicBezTo>
                  <a:close/>
                  <a:moveTo>
                    <a:pt x="113347" y="2208562"/>
                  </a:moveTo>
                  <a:cubicBezTo>
                    <a:pt x="116776" y="2208562"/>
                    <a:pt x="119539" y="2211324"/>
                    <a:pt x="119539" y="2214753"/>
                  </a:cubicBezTo>
                  <a:cubicBezTo>
                    <a:pt x="119539" y="2218182"/>
                    <a:pt x="116776" y="2220945"/>
                    <a:pt x="113347" y="2220945"/>
                  </a:cubicBezTo>
                  <a:cubicBezTo>
                    <a:pt x="109918" y="2220945"/>
                    <a:pt x="107156" y="2218182"/>
                    <a:pt x="107156" y="2214753"/>
                  </a:cubicBezTo>
                  <a:cubicBezTo>
                    <a:pt x="107156" y="2211324"/>
                    <a:pt x="109918" y="2208562"/>
                    <a:pt x="113347" y="2208562"/>
                  </a:cubicBezTo>
                  <a:close/>
                  <a:moveTo>
                    <a:pt x="3210591" y="2207324"/>
                  </a:moveTo>
                  <a:cubicBezTo>
                    <a:pt x="3214020" y="2207324"/>
                    <a:pt x="3216782" y="2210086"/>
                    <a:pt x="3216782" y="2213515"/>
                  </a:cubicBezTo>
                  <a:cubicBezTo>
                    <a:pt x="3216782" y="2216944"/>
                    <a:pt x="3214020" y="2219707"/>
                    <a:pt x="3210591" y="2219707"/>
                  </a:cubicBezTo>
                  <a:cubicBezTo>
                    <a:pt x="3207162" y="2219707"/>
                    <a:pt x="3204400" y="2216944"/>
                    <a:pt x="3204400" y="2213515"/>
                  </a:cubicBezTo>
                  <a:cubicBezTo>
                    <a:pt x="3204400" y="2210086"/>
                    <a:pt x="3207162" y="2207324"/>
                    <a:pt x="3210591" y="2207324"/>
                  </a:cubicBezTo>
                  <a:close/>
                  <a:moveTo>
                    <a:pt x="3244119" y="2206466"/>
                  </a:moveTo>
                  <a:cubicBezTo>
                    <a:pt x="3247548" y="2206466"/>
                    <a:pt x="3250310" y="2209228"/>
                    <a:pt x="3250310" y="2212657"/>
                  </a:cubicBezTo>
                  <a:cubicBezTo>
                    <a:pt x="3250310" y="2216086"/>
                    <a:pt x="3247548" y="2218849"/>
                    <a:pt x="3244119" y="2218849"/>
                  </a:cubicBezTo>
                  <a:cubicBezTo>
                    <a:pt x="3240690" y="2218849"/>
                    <a:pt x="3237928" y="2216086"/>
                    <a:pt x="3237928" y="2212657"/>
                  </a:cubicBezTo>
                  <a:cubicBezTo>
                    <a:pt x="3237928" y="2209228"/>
                    <a:pt x="3240690" y="2206466"/>
                    <a:pt x="3244119" y="2206466"/>
                  </a:cubicBezTo>
                  <a:close/>
                  <a:moveTo>
                    <a:pt x="134397" y="2206181"/>
                  </a:moveTo>
                  <a:cubicBezTo>
                    <a:pt x="137826" y="2206181"/>
                    <a:pt x="140589" y="2208943"/>
                    <a:pt x="140589" y="2212372"/>
                  </a:cubicBezTo>
                  <a:cubicBezTo>
                    <a:pt x="140589" y="2215801"/>
                    <a:pt x="137826" y="2218564"/>
                    <a:pt x="134397" y="2218564"/>
                  </a:cubicBezTo>
                  <a:cubicBezTo>
                    <a:pt x="130968" y="2218564"/>
                    <a:pt x="128206" y="2215801"/>
                    <a:pt x="128206" y="2212372"/>
                  </a:cubicBezTo>
                  <a:cubicBezTo>
                    <a:pt x="128206" y="2208943"/>
                    <a:pt x="130968" y="2206181"/>
                    <a:pt x="134397" y="2206181"/>
                  </a:cubicBezTo>
                  <a:close/>
                  <a:moveTo>
                    <a:pt x="874490" y="2205133"/>
                  </a:moveTo>
                  <a:cubicBezTo>
                    <a:pt x="877919" y="2205133"/>
                    <a:pt x="880681" y="2207895"/>
                    <a:pt x="880681" y="2211324"/>
                  </a:cubicBezTo>
                  <a:cubicBezTo>
                    <a:pt x="880681" y="2214753"/>
                    <a:pt x="877919" y="2217516"/>
                    <a:pt x="874490" y="2217516"/>
                  </a:cubicBezTo>
                  <a:cubicBezTo>
                    <a:pt x="871061" y="2217516"/>
                    <a:pt x="868299" y="2214753"/>
                    <a:pt x="868299" y="2211324"/>
                  </a:cubicBezTo>
                  <a:cubicBezTo>
                    <a:pt x="868299" y="2207895"/>
                    <a:pt x="871061" y="2205133"/>
                    <a:pt x="874490" y="2205133"/>
                  </a:cubicBezTo>
                  <a:close/>
                  <a:moveTo>
                    <a:pt x="486346" y="2205038"/>
                  </a:moveTo>
                  <a:cubicBezTo>
                    <a:pt x="489775" y="2205038"/>
                    <a:pt x="492537" y="2207800"/>
                    <a:pt x="492537" y="2211229"/>
                  </a:cubicBezTo>
                  <a:cubicBezTo>
                    <a:pt x="492537" y="2214658"/>
                    <a:pt x="489775" y="2217420"/>
                    <a:pt x="486346" y="2217420"/>
                  </a:cubicBezTo>
                  <a:cubicBezTo>
                    <a:pt x="482917" y="2217420"/>
                    <a:pt x="480155" y="2214658"/>
                    <a:pt x="480155" y="2211229"/>
                  </a:cubicBezTo>
                  <a:cubicBezTo>
                    <a:pt x="480155" y="2207800"/>
                    <a:pt x="482917" y="2205038"/>
                    <a:pt x="486346" y="2205038"/>
                  </a:cubicBezTo>
                  <a:close/>
                  <a:moveTo>
                    <a:pt x="299942" y="2204276"/>
                  </a:moveTo>
                  <a:cubicBezTo>
                    <a:pt x="303371" y="2204276"/>
                    <a:pt x="306133" y="2207038"/>
                    <a:pt x="306133" y="2210467"/>
                  </a:cubicBezTo>
                  <a:cubicBezTo>
                    <a:pt x="306133" y="2213896"/>
                    <a:pt x="303371" y="2216659"/>
                    <a:pt x="299942" y="2216659"/>
                  </a:cubicBezTo>
                  <a:cubicBezTo>
                    <a:pt x="296513" y="2216659"/>
                    <a:pt x="293751" y="2213896"/>
                    <a:pt x="293751" y="2210467"/>
                  </a:cubicBezTo>
                  <a:cubicBezTo>
                    <a:pt x="293751" y="2207038"/>
                    <a:pt x="296513" y="2204276"/>
                    <a:pt x="299942" y="2204276"/>
                  </a:cubicBezTo>
                  <a:close/>
                  <a:moveTo>
                    <a:pt x="100869" y="2203609"/>
                  </a:moveTo>
                  <a:cubicBezTo>
                    <a:pt x="104298" y="2203609"/>
                    <a:pt x="107061" y="2206371"/>
                    <a:pt x="107061" y="2209800"/>
                  </a:cubicBezTo>
                  <a:cubicBezTo>
                    <a:pt x="107061" y="2213229"/>
                    <a:pt x="104298" y="2215992"/>
                    <a:pt x="100869" y="2215992"/>
                  </a:cubicBezTo>
                  <a:cubicBezTo>
                    <a:pt x="97440" y="2215992"/>
                    <a:pt x="94678" y="2213229"/>
                    <a:pt x="94678" y="2209800"/>
                  </a:cubicBezTo>
                  <a:cubicBezTo>
                    <a:pt x="94678" y="2206371"/>
                    <a:pt x="97440" y="2203609"/>
                    <a:pt x="100869" y="2203609"/>
                  </a:cubicBezTo>
                  <a:close/>
                  <a:moveTo>
                    <a:pt x="3176777" y="2201418"/>
                  </a:moveTo>
                  <a:cubicBezTo>
                    <a:pt x="3180206" y="2201418"/>
                    <a:pt x="3182969" y="2204180"/>
                    <a:pt x="3182969" y="2207609"/>
                  </a:cubicBezTo>
                  <a:cubicBezTo>
                    <a:pt x="3182969" y="2211038"/>
                    <a:pt x="3180206" y="2213801"/>
                    <a:pt x="3176777" y="2213801"/>
                  </a:cubicBezTo>
                  <a:cubicBezTo>
                    <a:pt x="3173348" y="2213801"/>
                    <a:pt x="3170586" y="2211038"/>
                    <a:pt x="3170586" y="2207609"/>
                  </a:cubicBezTo>
                  <a:cubicBezTo>
                    <a:pt x="3170586" y="2204180"/>
                    <a:pt x="3173348" y="2201418"/>
                    <a:pt x="3176777" y="2201418"/>
                  </a:cubicBezTo>
                  <a:close/>
                  <a:moveTo>
                    <a:pt x="3129724" y="2201418"/>
                  </a:moveTo>
                  <a:cubicBezTo>
                    <a:pt x="3133153" y="2201418"/>
                    <a:pt x="3135916" y="2204180"/>
                    <a:pt x="3135916" y="2207609"/>
                  </a:cubicBezTo>
                  <a:cubicBezTo>
                    <a:pt x="3135916" y="2211038"/>
                    <a:pt x="3133153" y="2213801"/>
                    <a:pt x="3129724" y="2213801"/>
                  </a:cubicBezTo>
                  <a:cubicBezTo>
                    <a:pt x="3126295" y="2213801"/>
                    <a:pt x="3123533" y="2211038"/>
                    <a:pt x="3123533" y="2207609"/>
                  </a:cubicBezTo>
                  <a:cubicBezTo>
                    <a:pt x="3123533" y="2204180"/>
                    <a:pt x="3126295" y="2201418"/>
                    <a:pt x="3129724" y="2201418"/>
                  </a:cubicBezTo>
                  <a:close/>
                  <a:moveTo>
                    <a:pt x="3222688" y="2201323"/>
                  </a:moveTo>
                  <a:cubicBezTo>
                    <a:pt x="3226117" y="2201323"/>
                    <a:pt x="3228879" y="2204085"/>
                    <a:pt x="3228879" y="2207514"/>
                  </a:cubicBezTo>
                  <a:cubicBezTo>
                    <a:pt x="3228879" y="2210943"/>
                    <a:pt x="3226117" y="2213705"/>
                    <a:pt x="3222688" y="2213705"/>
                  </a:cubicBezTo>
                  <a:cubicBezTo>
                    <a:pt x="3219259" y="2213705"/>
                    <a:pt x="3216497" y="2210943"/>
                    <a:pt x="3216497" y="2207514"/>
                  </a:cubicBezTo>
                  <a:cubicBezTo>
                    <a:pt x="3216497" y="2204085"/>
                    <a:pt x="3219259" y="2201323"/>
                    <a:pt x="3222688" y="2201323"/>
                  </a:cubicBezTo>
                  <a:close/>
                  <a:moveTo>
                    <a:pt x="117919" y="2200466"/>
                  </a:moveTo>
                  <a:cubicBezTo>
                    <a:pt x="121348" y="2200466"/>
                    <a:pt x="124111" y="2203228"/>
                    <a:pt x="124111" y="2206657"/>
                  </a:cubicBezTo>
                  <a:cubicBezTo>
                    <a:pt x="124111" y="2210086"/>
                    <a:pt x="121348" y="2212849"/>
                    <a:pt x="117919" y="2212849"/>
                  </a:cubicBezTo>
                  <a:cubicBezTo>
                    <a:pt x="114490" y="2212849"/>
                    <a:pt x="111728" y="2210086"/>
                    <a:pt x="111728" y="2206657"/>
                  </a:cubicBezTo>
                  <a:cubicBezTo>
                    <a:pt x="111728" y="2203228"/>
                    <a:pt x="114490" y="2200466"/>
                    <a:pt x="117919" y="2200466"/>
                  </a:cubicBezTo>
                  <a:close/>
                  <a:moveTo>
                    <a:pt x="3203257" y="2197704"/>
                  </a:moveTo>
                  <a:cubicBezTo>
                    <a:pt x="3206686" y="2197704"/>
                    <a:pt x="3209449" y="2200466"/>
                    <a:pt x="3209449" y="2203895"/>
                  </a:cubicBezTo>
                  <a:cubicBezTo>
                    <a:pt x="3209449" y="2207324"/>
                    <a:pt x="3206686" y="2210087"/>
                    <a:pt x="3203257" y="2210087"/>
                  </a:cubicBezTo>
                  <a:cubicBezTo>
                    <a:pt x="3199828" y="2210087"/>
                    <a:pt x="3197066" y="2207324"/>
                    <a:pt x="3197066" y="2203895"/>
                  </a:cubicBezTo>
                  <a:cubicBezTo>
                    <a:pt x="3197066" y="2200466"/>
                    <a:pt x="3199828" y="2197704"/>
                    <a:pt x="3203257" y="2197704"/>
                  </a:cubicBezTo>
                  <a:close/>
                  <a:moveTo>
                    <a:pt x="3235261" y="2197227"/>
                  </a:moveTo>
                  <a:cubicBezTo>
                    <a:pt x="3238690" y="2197227"/>
                    <a:pt x="3241452" y="2199989"/>
                    <a:pt x="3241452" y="2203418"/>
                  </a:cubicBezTo>
                  <a:cubicBezTo>
                    <a:pt x="3241452" y="2206847"/>
                    <a:pt x="3238690" y="2209610"/>
                    <a:pt x="3235261" y="2209610"/>
                  </a:cubicBezTo>
                  <a:cubicBezTo>
                    <a:pt x="3231832" y="2209610"/>
                    <a:pt x="3229070" y="2206847"/>
                    <a:pt x="3229070" y="2203418"/>
                  </a:cubicBezTo>
                  <a:cubicBezTo>
                    <a:pt x="3229070" y="2199989"/>
                    <a:pt x="3231832" y="2197227"/>
                    <a:pt x="3235261" y="2197227"/>
                  </a:cubicBezTo>
                  <a:close/>
                  <a:moveTo>
                    <a:pt x="3252882" y="2196179"/>
                  </a:moveTo>
                  <a:cubicBezTo>
                    <a:pt x="3256311" y="2196179"/>
                    <a:pt x="3259074" y="2198941"/>
                    <a:pt x="3259074" y="2202370"/>
                  </a:cubicBezTo>
                  <a:cubicBezTo>
                    <a:pt x="3259074" y="2205799"/>
                    <a:pt x="3256311" y="2208562"/>
                    <a:pt x="3252882" y="2208562"/>
                  </a:cubicBezTo>
                  <a:cubicBezTo>
                    <a:pt x="3249453" y="2208562"/>
                    <a:pt x="3246691" y="2205799"/>
                    <a:pt x="3246691" y="2202370"/>
                  </a:cubicBezTo>
                  <a:cubicBezTo>
                    <a:pt x="3246691" y="2198941"/>
                    <a:pt x="3249453" y="2196179"/>
                    <a:pt x="3252882" y="2196179"/>
                  </a:cubicBezTo>
                  <a:close/>
                  <a:moveTo>
                    <a:pt x="2506408" y="2196179"/>
                  </a:moveTo>
                  <a:cubicBezTo>
                    <a:pt x="2509837" y="2196179"/>
                    <a:pt x="2512600" y="2198941"/>
                    <a:pt x="2512600" y="2202370"/>
                  </a:cubicBezTo>
                  <a:cubicBezTo>
                    <a:pt x="2512600" y="2205799"/>
                    <a:pt x="2509837" y="2208562"/>
                    <a:pt x="2506408" y="2208562"/>
                  </a:cubicBezTo>
                  <a:cubicBezTo>
                    <a:pt x="2502979" y="2208562"/>
                    <a:pt x="2500217" y="2205799"/>
                    <a:pt x="2500217" y="2202370"/>
                  </a:cubicBezTo>
                  <a:cubicBezTo>
                    <a:pt x="2500217" y="2198941"/>
                    <a:pt x="2502979" y="2196179"/>
                    <a:pt x="2506408" y="2196179"/>
                  </a:cubicBezTo>
                  <a:close/>
                  <a:moveTo>
                    <a:pt x="2875406" y="2195417"/>
                  </a:moveTo>
                  <a:cubicBezTo>
                    <a:pt x="2878835" y="2195417"/>
                    <a:pt x="2881597" y="2198179"/>
                    <a:pt x="2881597" y="2201608"/>
                  </a:cubicBezTo>
                  <a:cubicBezTo>
                    <a:pt x="2881597" y="2205037"/>
                    <a:pt x="2878835" y="2207800"/>
                    <a:pt x="2875406" y="2207800"/>
                  </a:cubicBezTo>
                  <a:cubicBezTo>
                    <a:pt x="2871977" y="2207800"/>
                    <a:pt x="2869215" y="2205037"/>
                    <a:pt x="2869215" y="2201608"/>
                  </a:cubicBezTo>
                  <a:cubicBezTo>
                    <a:pt x="2869215" y="2198179"/>
                    <a:pt x="2871977" y="2195417"/>
                    <a:pt x="2875406" y="2195417"/>
                  </a:cubicBezTo>
                  <a:close/>
                  <a:moveTo>
                    <a:pt x="106203" y="2195227"/>
                  </a:moveTo>
                  <a:cubicBezTo>
                    <a:pt x="109632" y="2195227"/>
                    <a:pt x="112395" y="2197989"/>
                    <a:pt x="112395" y="2201418"/>
                  </a:cubicBezTo>
                  <a:cubicBezTo>
                    <a:pt x="112395" y="2204847"/>
                    <a:pt x="109632" y="2207609"/>
                    <a:pt x="106203" y="2207609"/>
                  </a:cubicBezTo>
                  <a:cubicBezTo>
                    <a:pt x="102774" y="2207609"/>
                    <a:pt x="100012" y="2204847"/>
                    <a:pt x="100012" y="2201418"/>
                  </a:cubicBezTo>
                  <a:cubicBezTo>
                    <a:pt x="100012" y="2197989"/>
                    <a:pt x="102774" y="2195227"/>
                    <a:pt x="106203" y="2195227"/>
                  </a:cubicBezTo>
                  <a:close/>
                  <a:moveTo>
                    <a:pt x="3050666" y="2194655"/>
                  </a:moveTo>
                  <a:cubicBezTo>
                    <a:pt x="3054095" y="2194655"/>
                    <a:pt x="3056857" y="2197417"/>
                    <a:pt x="3056857" y="2200846"/>
                  </a:cubicBezTo>
                  <a:cubicBezTo>
                    <a:pt x="3056857" y="2204275"/>
                    <a:pt x="3054095" y="2207038"/>
                    <a:pt x="3050666" y="2207038"/>
                  </a:cubicBezTo>
                  <a:cubicBezTo>
                    <a:pt x="3047237" y="2207038"/>
                    <a:pt x="3044475" y="2204275"/>
                    <a:pt x="3044475" y="2200846"/>
                  </a:cubicBezTo>
                  <a:cubicBezTo>
                    <a:pt x="3044475" y="2197417"/>
                    <a:pt x="3047237" y="2194655"/>
                    <a:pt x="3050666" y="2194655"/>
                  </a:cubicBezTo>
                  <a:close/>
                  <a:moveTo>
                    <a:pt x="148685" y="2193703"/>
                  </a:moveTo>
                  <a:cubicBezTo>
                    <a:pt x="152114" y="2193703"/>
                    <a:pt x="154877" y="2196465"/>
                    <a:pt x="154877" y="2199894"/>
                  </a:cubicBezTo>
                  <a:cubicBezTo>
                    <a:pt x="154877" y="2203323"/>
                    <a:pt x="152114" y="2206086"/>
                    <a:pt x="148685" y="2206086"/>
                  </a:cubicBezTo>
                  <a:cubicBezTo>
                    <a:pt x="145256" y="2206086"/>
                    <a:pt x="142494" y="2203323"/>
                    <a:pt x="142494" y="2199894"/>
                  </a:cubicBezTo>
                  <a:cubicBezTo>
                    <a:pt x="142494" y="2196465"/>
                    <a:pt x="145256" y="2193703"/>
                    <a:pt x="148685" y="2193703"/>
                  </a:cubicBezTo>
                  <a:close/>
                  <a:moveTo>
                    <a:pt x="192404" y="2193322"/>
                  </a:moveTo>
                  <a:cubicBezTo>
                    <a:pt x="195833" y="2193322"/>
                    <a:pt x="198596" y="2196084"/>
                    <a:pt x="198596" y="2199513"/>
                  </a:cubicBezTo>
                  <a:cubicBezTo>
                    <a:pt x="198596" y="2202942"/>
                    <a:pt x="195833" y="2205705"/>
                    <a:pt x="192404" y="2205705"/>
                  </a:cubicBezTo>
                  <a:cubicBezTo>
                    <a:pt x="188975" y="2205705"/>
                    <a:pt x="186213" y="2202942"/>
                    <a:pt x="186213" y="2199513"/>
                  </a:cubicBezTo>
                  <a:cubicBezTo>
                    <a:pt x="186213" y="2196084"/>
                    <a:pt x="188975" y="2193322"/>
                    <a:pt x="192404" y="2193322"/>
                  </a:cubicBezTo>
                  <a:close/>
                  <a:moveTo>
                    <a:pt x="3218401" y="2192750"/>
                  </a:moveTo>
                  <a:cubicBezTo>
                    <a:pt x="3221830" y="2192750"/>
                    <a:pt x="3224593" y="2195512"/>
                    <a:pt x="3224593" y="2198941"/>
                  </a:cubicBezTo>
                  <a:cubicBezTo>
                    <a:pt x="3224593" y="2202370"/>
                    <a:pt x="3221830" y="2205133"/>
                    <a:pt x="3218401" y="2205133"/>
                  </a:cubicBezTo>
                  <a:cubicBezTo>
                    <a:pt x="3214972" y="2205133"/>
                    <a:pt x="3212210" y="2202370"/>
                    <a:pt x="3212210" y="2198941"/>
                  </a:cubicBezTo>
                  <a:cubicBezTo>
                    <a:pt x="3212210" y="2195512"/>
                    <a:pt x="3214972" y="2192750"/>
                    <a:pt x="3218401" y="2192750"/>
                  </a:cubicBezTo>
                  <a:close/>
                  <a:moveTo>
                    <a:pt x="93439" y="2191893"/>
                  </a:moveTo>
                  <a:cubicBezTo>
                    <a:pt x="96868" y="2191893"/>
                    <a:pt x="99631" y="2194655"/>
                    <a:pt x="99631" y="2198084"/>
                  </a:cubicBezTo>
                  <a:cubicBezTo>
                    <a:pt x="99631" y="2201513"/>
                    <a:pt x="96868" y="2204276"/>
                    <a:pt x="93439" y="2204276"/>
                  </a:cubicBezTo>
                  <a:cubicBezTo>
                    <a:pt x="90010" y="2204276"/>
                    <a:pt x="87248" y="2201513"/>
                    <a:pt x="87248" y="2198084"/>
                  </a:cubicBezTo>
                  <a:cubicBezTo>
                    <a:pt x="87248" y="2194655"/>
                    <a:pt x="90010" y="2191893"/>
                    <a:pt x="93439" y="2191893"/>
                  </a:cubicBezTo>
                  <a:close/>
                  <a:moveTo>
                    <a:pt x="124396" y="2190560"/>
                  </a:moveTo>
                  <a:cubicBezTo>
                    <a:pt x="127825" y="2190560"/>
                    <a:pt x="130588" y="2193322"/>
                    <a:pt x="130588" y="2196751"/>
                  </a:cubicBezTo>
                  <a:cubicBezTo>
                    <a:pt x="130588" y="2200180"/>
                    <a:pt x="127825" y="2202943"/>
                    <a:pt x="124396" y="2202943"/>
                  </a:cubicBezTo>
                  <a:cubicBezTo>
                    <a:pt x="120967" y="2202943"/>
                    <a:pt x="118205" y="2200180"/>
                    <a:pt x="118205" y="2196751"/>
                  </a:cubicBezTo>
                  <a:cubicBezTo>
                    <a:pt x="118205" y="2193322"/>
                    <a:pt x="120967" y="2190560"/>
                    <a:pt x="124396" y="2190560"/>
                  </a:cubicBezTo>
                  <a:close/>
                  <a:moveTo>
                    <a:pt x="785240" y="2188369"/>
                  </a:moveTo>
                  <a:cubicBezTo>
                    <a:pt x="788669" y="2188369"/>
                    <a:pt x="791431" y="2191131"/>
                    <a:pt x="791431" y="2194560"/>
                  </a:cubicBezTo>
                  <a:cubicBezTo>
                    <a:pt x="791431" y="2197989"/>
                    <a:pt x="788669" y="2200751"/>
                    <a:pt x="785240" y="2200751"/>
                  </a:cubicBezTo>
                  <a:cubicBezTo>
                    <a:pt x="781811" y="2200751"/>
                    <a:pt x="779049" y="2197989"/>
                    <a:pt x="779049" y="2194560"/>
                  </a:cubicBezTo>
                  <a:cubicBezTo>
                    <a:pt x="779049" y="2191131"/>
                    <a:pt x="781811" y="2188369"/>
                    <a:pt x="785240" y="2188369"/>
                  </a:cubicBezTo>
                  <a:close/>
                  <a:moveTo>
                    <a:pt x="3229641" y="2188274"/>
                  </a:moveTo>
                  <a:cubicBezTo>
                    <a:pt x="3233070" y="2188274"/>
                    <a:pt x="3235832" y="2191036"/>
                    <a:pt x="3235832" y="2194465"/>
                  </a:cubicBezTo>
                  <a:cubicBezTo>
                    <a:pt x="3235832" y="2197894"/>
                    <a:pt x="3233070" y="2200657"/>
                    <a:pt x="3229641" y="2200657"/>
                  </a:cubicBezTo>
                  <a:cubicBezTo>
                    <a:pt x="3226212" y="2200657"/>
                    <a:pt x="3223450" y="2197894"/>
                    <a:pt x="3223450" y="2194465"/>
                  </a:cubicBezTo>
                  <a:cubicBezTo>
                    <a:pt x="3223450" y="2191036"/>
                    <a:pt x="3226212" y="2188274"/>
                    <a:pt x="3229641" y="2188274"/>
                  </a:cubicBezTo>
                  <a:close/>
                  <a:moveTo>
                    <a:pt x="432434" y="2187131"/>
                  </a:moveTo>
                  <a:cubicBezTo>
                    <a:pt x="435863" y="2187131"/>
                    <a:pt x="438625" y="2189893"/>
                    <a:pt x="438625" y="2193322"/>
                  </a:cubicBezTo>
                  <a:cubicBezTo>
                    <a:pt x="438625" y="2196751"/>
                    <a:pt x="435863" y="2199514"/>
                    <a:pt x="432434" y="2199514"/>
                  </a:cubicBezTo>
                  <a:cubicBezTo>
                    <a:pt x="429005" y="2199514"/>
                    <a:pt x="426243" y="2196751"/>
                    <a:pt x="426243" y="2193322"/>
                  </a:cubicBezTo>
                  <a:cubicBezTo>
                    <a:pt x="426243" y="2189893"/>
                    <a:pt x="429005" y="2187131"/>
                    <a:pt x="432434" y="2187131"/>
                  </a:cubicBezTo>
                  <a:close/>
                  <a:moveTo>
                    <a:pt x="3262121" y="2186559"/>
                  </a:moveTo>
                  <a:cubicBezTo>
                    <a:pt x="3265550" y="2186559"/>
                    <a:pt x="3268313" y="2189321"/>
                    <a:pt x="3268313" y="2192750"/>
                  </a:cubicBezTo>
                  <a:cubicBezTo>
                    <a:pt x="3268313" y="2196179"/>
                    <a:pt x="3265550" y="2198942"/>
                    <a:pt x="3262121" y="2198942"/>
                  </a:cubicBezTo>
                  <a:cubicBezTo>
                    <a:pt x="3258692" y="2198942"/>
                    <a:pt x="3255930" y="2196179"/>
                    <a:pt x="3255930" y="2192750"/>
                  </a:cubicBezTo>
                  <a:cubicBezTo>
                    <a:pt x="3255930" y="2189321"/>
                    <a:pt x="3258692" y="2186559"/>
                    <a:pt x="3262121" y="2186559"/>
                  </a:cubicBezTo>
                  <a:close/>
                  <a:moveTo>
                    <a:pt x="266318" y="2186464"/>
                  </a:moveTo>
                  <a:cubicBezTo>
                    <a:pt x="269747" y="2186464"/>
                    <a:pt x="272510" y="2189226"/>
                    <a:pt x="272510" y="2192655"/>
                  </a:cubicBezTo>
                  <a:cubicBezTo>
                    <a:pt x="272510" y="2196084"/>
                    <a:pt x="269747" y="2198847"/>
                    <a:pt x="266318" y="2198847"/>
                  </a:cubicBezTo>
                  <a:cubicBezTo>
                    <a:pt x="262889" y="2198847"/>
                    <a:pt x="260127" y="2196084"/>
                    <a:pt x="260127" y="2192655"/>
                  </a:cubicBezTo>
                  <a:cubicBezTo>
                    <a:pt x="260127" y="2189226"/>
                    <a:pt x="262889" y="2186464"/>
                    <a:pt x="266318" y="2186464"/>
                  </a:cubicBezTo>
                  <a:close/>
                  <a:moveTo>
                    <a:pt x="110299" y="2186178"/>
                  </a:moveTo>
                  <a:cubicBezTo>
                    <a:pt x="113728" y="2186178"/>
                    <a:pt x="116490" y="2188940"/>
                    <a:pt x="116490" y="2192369"/>
                  </a:cubicBezTo>
                  <a:cubicBezTo>
                    <a:pt x="116490" y="2195798"/>
                    <a:pt x="113728" y="2198561"/>
                    <a:pt x="110299" y="2198561"/>
                  </a:cubicBezTo>
                  <a:cubicBezTo>
                    <a:pt x="106870" y="2198561"/>
                    <a:pt x="104108" y="2195798"/>
                    <a:pt x="104108" y="2192369"/>
                  </a:cubicBezTo>
                  <a:cubicBezTo>
                    <a:pt x="104108" y="2188940"/>
                    <a:pt x="106870" y="2186178"/>
                    <a:pt x="110299" y="2186178"/>
                  </a:cubicBezTo>
                  <a:close/>
                  <a:moveTo>
                    <a:pt x="3242785" y="2185892"/>
                  </a:moveTo>
                  <a:cubicBezTo>
                    <a:pt x="3246214" y="2185892"/>
                    <a:pt x="3248977" y="2188654"/>
                    <a:pt x="3248977" y="2192083"/>
                  </a:cubicBezTo>
                  <a:cubicBezTo>
                    <a:pt x="3248977" y="2195512"/>
                    <a:pt x="3246214" y="2198275"/>
                    <a:pt x="3242785" y="2198275"/>
                  </a:cubicBezTo>
                  <a:cubicBezTo>
                    <a:pt x="3239356" y="2198275"/>
                    <a:pt x="3236594" y="2195512"/>
                    <a:pt x="3236594" y="2192083"/>
                  </a:cubicBezTo>
                  <a:cubicBezTo>
                    <a:pt x="3236594" y="2188654"/>
                    <a:pt x="3239356" y="2185892"/>
                    <a:pt x="3242785" y="2185892"/>
                  </a:cubicBezTo>
                  <a:close/>
                  <a:moveTo>
                    <a:pt x="3190684" y="2185035"/>
                  </a:moveTo>
                  <a:cubicBezTo>
                    <a:pt x="3194113" y="2185035"/>
                    <a:pt x="3196876" y="2187797"/>
                    <a:pt x="3196876" y="2191226"/>
                  </a:cubicBezTo>
                  <a:cubicBezTo>
                    <a:pt x="3196876" y="2194655"/>
                    <a:pt x="3194113" y="2197418"/>
                    <a:pt x="3190684" y="2197418"/>
                  </a:cubicBezTo>
                  <a:cubicBezTo>
                    <a:pt x="3187255" y="2197418"/>
                    <a:pt x="3184493" y="2194655"/>
                    <a:pt x="3184493" y="2191226"/>
                  </a:cubicBezTo>
                  <a:cubicBezTo>
                    <a:pt x="3184493" y="2187797"/>
                    <a:pt x="3187255" y="2185035"/>
                    <a:pt x="3190684" y="2185035"/>
                  </a:cubicBezTo>
                  <a:close/>
                  <a:moveTo>
                    <a:pt x="3150774" y="2184273"/>
                  </a:moveTo>
                  <a:cubicBezTo>
                    <a:pt x="3154203" y="2184273"/>
                    <a:pt x="3156965" y="2187035"/>
                    <a:pt x="3156965" y="2190464"/>
                  </a:cubicBezTo>
                  <a:cubicBezTo>
                    <a:pt x="3156965" y="2193893"/>
                    <a:pt x="3154203" y="2196656"/>
                    <a:pt x="3150774" y="2196656"/>
                  </a:cubicBezTo>
                  <a:cubicBezTo>
                    <a:pt x="3147345" y="2196656"/>
                    <a:pt x="3144583" y="2193893"/>
                    <a:pt x="3144583" y="2190464"/>
                  </a:cubicBezTo>
                  <a:cubicBezTo>
                    <a:pt x="3144583" y="2187035"/>
                    <a:pt x="3147345" y="2184273"/>
                    <a:pt x="3150774" y="2184273"/>
                  </a:cubicBezTo>
                  <a:close/>
                  <a:moveTo>
                    <a:pt x="3212687" y="2182463"/>
                  </a:moveTo>
                  <a:cubicBezTo>
                    <a:pt x="3216116" y="2182463"/>
                    <a:pt x="3218878" y="2185225"/>
                    <a:pt x="3218878" y="2188654"/>
                  </a:cubicBezTo>
                  <a:cubicBezTo>
                    <a:pt x="3218878" y="2192083"/>
                    <a:pt x="3216116" y="2194846"/>
                    <a:pt x="3212687" y="2194846"/>
                  </a:cubicBezTo>
                  <a:cubicBezTo>
                    <a:pt x="3209258" y="2194846"/>
                    <a:pt x="3206496" y="2192083"/>
                    <a:pt x="3206496" y="2188654"/>
                  </a:cubicBezTo>
                  <a:cubicBezTo>
                    <a:pt x="3206496" y="2185225"/>
                    <a:pt x="3209258" y="2182463"/>
                    <a:pt x="3212687" y="2182463"/>
                  </a:cubicBezTo>
                  <a:close/>
                  <a:moveTo>
                    <a:pt x="99345" y="2182463"/>
                  </a:moveTo>
                  <a:cubicBezTo>
                    <a:pt x="102774" y="2182463"/>
                    <a:pt x="105537" y="2185225"/>
                    <a:pt x="105537" y="2188654"/>
                  </a:cubicBezTo>
                  <a:cubicBezTo>
                    <a:pt x="105537" y="2192083"/>
                    <a:pt x="102774" y="2194846"/>
                    <a:pt x="99345" y="2194846"/>
                  </a:cubicBezTo>
                  <a:cubicBezTo>
                    <a:pt x="95916" y="2194846"/>
                    <a:pt x="93154" y="2192083"/>
                    <a:pt x="93154" y="2188654"/>
                  </a:cubicBezTo>
                  <a:cubicBezTo>
                    <a:pt x="93154" y="2185225"/>
                    <a:pt x="95916" y="2182463"/>
                    <a:pt x="99345" y="2182463"/>
                  </a:cubicBezTo>
                  <a:close/>
                  <a:moveTo>
                    <a:pt x="85819" y="2180844"/>
                  </a:moveTo>
                  <a:cubicBezTo>
                    <a:pt x="89248" y="2180844"/>
                    <a:pt x="92011" y="2183606"/>
                    <a:pt x="92011" y="2187035"/>
                  </a:cubicBezTo>
                  <a:cubicBezTo>
                    <a:pt x="92011" y="2190464"/>
                    <a:pt x="89248" y="2193227"/>
                    <a:pt x="85819" y="2193227"/>
                  </a:cubicBezTo>
                  <a:cubicBezTo>
                    <a:pt x="82390" y="2193227"/>
                    <a:pt x="79628" y="2190464"/>
                    <a:pt x="79628" y="2187035"/>
                  </a:cubicBezTo>
                  <a:cubicBezTo>
                    <a:pt x="79628" y="2183606"/>
                    <a:pt x="82390" y="2180844"/>
                    <a:pt x="85819" y="2180844"/>
                  </a:cubicBezTo>
                  <a:close/>
                  <a:moveTo>
                    <a:pt x="2591657" y="2179416"/>
                  </a:moveTo>
                  <a:cubicBezTo>
                    <a:pt x="2595086" y="2179416"/>
                    <a:pt x="2597848" y="2182178"/>
                    <a:pt x="2597848" y="2185607"/>
                  </a:cubicBezTo>
                  <a:cubicBezTo>
                    <a:pt x="2597848" y="2189036"/>
                    <a:pt x="2595086" y="2191799"/>
                    <a:pt x="2591657" y="2191799"/>
                  </a:cubicBezTo>
                  <a:cubicBezTo>
                    <a:pt x="2588228" y="2191799"/>
                    <a:pt x="2585466" y="2189036"/>
                    <a:pt x="2585466" y="2185607"/>
                  </a:cubicBezTo>
                  <a:cubicBezTo>
                    <a:pt x="2585466" y="2182178"/>
                    <a:pt x="2588228" y="2179416"/>
                    <a:pt x="2591657" y="2179416"/>
                  </a:cubicBezTo>
                  <a:close/>
                  <a:moveTo>
                    <a:pt x="3225641" y="2178844"/>
                  </a:moveTo>
                  <a:cubicBezTo>
                    <a:pt x="3229070" y="2178844"/>
                    <a:pt x="3231832" y="2181606"/>
                    <a:pt x="3231832" y="2185035"/>
                  </a:cubicBezTo>
                  <a:cubicBezTo>
                    <a:pt x="3231832" y="2188464"/>
                    <a:pt x="3229070" y="2191226"/>
                    <a:pt x="3225641" y="2191226"/>
                  </a:cubicBezTo>
                  <a:cubicBezTo>
                    <a:pt x="3222212" y="2191226"/>
                    <a:pt x="3219450" y="2188464"/>
                    <a:pt x="3219450" y="2185035"/>
                  </a:cubicBezTo>
                  <a:cubicBezTo>
                    <a:pt x="3219450" y="2181606"/>
                    <a:pt x="3222212" y="2178844"/>
                    <a:pt x="3225641" y="2178844"/>
                  </a:cubicBezTo>
                  <a:close/>
                  <a:moveTo>
                    <a:pt x="2926365" y="2177701"/>
                  </a:moveTo>
                  <a:cubicBezTo>
                    <a:pt x="2929794" y="2177701"/>
                    <a:pt x="2932557" y="2180463"/>
                    <a:pt x="2932557" y="2183892"/>
                  </a:cubicBezTo>
                  <a:cubicBezTo>
                    <a:pt x="2932557" y="2187321"/>
                    <a:pt x="2929794" y="2190084"/>
                    <a:pt x="2926365" y="2190084"/>
                  </a:cubicBezTo>
                  <a:cubicBezTo>
                    <a:pt x="2922936" y="2190084"/>
                    <a:pt x="2920174" y="2187321"/>
                    <a:pt x="2920174" y="2183892"/>
                  </a:cubicBezTo>
                  <a:cubicBezTo>
                    <a:pt x="2920174" y="2180463"/>
                    <a:pt x="2922936" y="2177701"/>
                    <a:pt x="2926365" y="2177701"/>
                  </a:cubicBezTo>
                  <a:close/>
                  <a:moveTo>
                    <a:pt x="135635" y="2177701"/>
                  </a:moveTo>
                  <a:cubicBezTo>
                    <a:pt x="139064" y="2177701"/>
                    <a:pt x="141827" y="2180463"/>
                    <a:pt x="141827" y="2183892"/>
                  </a:cubicBezTo>
                  <a:cubicBezTo>
                    <a:pt x="141827" y="2187321"/>
                    <a:pt x="139064" y="2190084"/>
                    <a:pt x="135635" y="2190084"/>
                  </a:cubicBezTo>
                  <a:cubicBezTo>
                    <a:pt x="132206" y="2190084"/>
                    <a:pt x="129444" y="2187321"/>
                    <a:pt x="129444" y="2183892"/>
                  </a:cubicBezTo>
                  <a:cubicBezTo>
                    <a:pt x="129444" y="2180463"/>
                    <a:pt x="132206" y="2177701"/>
                    <a:pt x="135635" y="2177701"/>
                  </a:cubicBezTo>
                  <a:close/>
                  <a:moveTo>
                    <a:pt x="3271741" y="2177511"/>
                  </a:moveTo>
                  <a:cubicBezTo>
                    <a:pt x="3275170" y="2177511"/>
                    <a:pt x="3277933" y="2180273"/>
                    <a:pt x="3277933" y="2183702"/>
                  </a:cubicBezTo>
                  <a:cubicBezTo>
                    <a:pt x="3277933" y="2187131"/>
                    <a:pt x="3275170" y="2189893"/>
                    <a:pt x="3271741" y="2189893"/>
                  </a:cubicBezTo>
                  <a:cubicBezTo>
                    <a:pt x="3268312" y="2189893"/>
                    <a:pt x="3265550" y="2187131"/>
                    <a:pt x="3265550" y="2183702"/>
                  </a:cubicBezTo>
                  <a:cubicBezTo>
                    <a:pt x="3265550" y="2180273"/>
                    <a:pt x="3268312" y="2177511"/>
                    <a:pt x="3271741" y="2177511"/>
                  </a:cubicBezTo>
                  <a:close/>
                  <a:moveTo>
                    <a:pt x="3082289" y="2177225"/>
                  </a:moveTo>
                  <a:cubicBezTo>
                    <a:pt x="3085718" y="2177225"/>
                    <a:pt x="3088480" y="2179987"/>
                    <a:pt x="3088480" y="2183416"/>
                  </a:cubicBezTo>
                  <a:cubicBezTo>
                    <a:pt x="3088480" y="2186845"/>
                    <a:pt x="3085718" y="2189607"/>
                    <a:pt x="3082289" y="2189607"/>
                  </a:cubicBezTo>
                  <a:cubicBezTo>
                    <a:pt x="3078860" y="2189607"/>
                    <a:pt x="3076098" y="2186845"/>
                    <a:pt x="3076098" y="2183416"/>
                  </a:cubicBezTo>
                  <a:cubicBezTo>
                    <a:pt x="3076098" y="2179987"/>
                    <a:pt x="3078860" y="2177225"/>
                    <a:pt x="3082289" y="2177225"/>
                  </a:cubicBezTo>
                  <a:close/>
                  <a:moveTo>
                    <a:pt x="172497" y="2176463"/>
                  </a:moveTo>
                  <a:cubicBezTo>
                    <a:pt x="175926" y="2176463"/>
                    <a:pt x="178689" y="2179225"/>
                    <a:pt x="178689" y="2182654"/>
                  </a:cubicBezTo>
                  <a:cubicBezTo>
                    <a:pt x="178689" y="2186083"/>
                    <a:pt x="175926" y="2188845"/>
                    <a:pt x="172497" y="2188845"/>
                  </a:cubicBezTo>
                  <a:cubicBezTo>
                    <a:pt x="169068" y="2188845"/>
                    <a:pt x="166306" y="2186083"/>
                    <a:pt x="166306" y="2182654"/>
                  </a:cubicBezTo>
                  <a:cubicBezTo>
                    <a:pt x="166306" y="2179225"/>
                    <a:pt x="169068" y="2176463"/>
                    <a:pt x="172497" y="2176463"/>
                  </a:cubicBezTo>
                  <a:close/>
                  <a:moveTo>
                    <a:pt x="3236499" y="2175987"/>
                  </a:moveTo>
                  <a:cubicBezTo>
                    <a:pt x="3239928" y="2175987"/>
                    <a:pt x="3242690" y="2178749"/>
                    <a:pt x="3242690" y="2182178"/>
                  </a:cubicBezTo>
                  <a:cubicBezTo>
                    <a:pt x="3242690" y="2185607"/>
                    <a:pt x="3239928" y="2188370"/>
                    <a:pt x="3236499" y="2188370"/>
                  </a:cubicBezTo>
                  <a:cubicBezTo>
                    <a:pt x="3233070" y="2188370"/>
                    <a:pt x="3230308" y="2185607"/>
                    <a:pt x="3230308" y="2182178"/>
                  </a:cubicBezTo>
                  <a:cubicBezTo>
                    <a:pt x="3230308" y="2178749"/>
                    <a:pt x="3233070" y="2175987"/>
                    <a:pt x="3236499" y="2175987"/>
                  </a:cubicBezTo>
                  <a:close/>
                  <a:moveTo>
                    <a:pt x="78009" y="2175701"/>
                  </a:moveTo>
                  <a:cubicBezTo>
                    <a:pt x="78483" y="2175701"/>
                    <a:pt x="78866" y="2176085"/>
                    <a:pt x="78866" y="2176558"/>
                  </a:cubicBezTo>
                  <a:cubicBezTo>
                    <a:pt x="78866" y="2177032"/>
                    <a:pt x="78483" y="2177415"/>
                    <a:pt x="78009" y="2177415"/>
                  </a:cubicBezTo>
                  <a:cubicBezTo>
                    <a:pt x="77536" y="2177415"/>
                    <a:pt x="77152" y="2177032"/>
                    <a:pt x="77152" y="2176558"/>
                  </a:cubicBezTo>
                  <a:cubicBezTo>
                    <a:pt x="77152" y="2176085"/>
                    <a:pt x="77536" y="2175701"/>
                    <a:pt x="78009" y="2175701"/>
                  </a:cubicBezTo>
                  <a:close/>
                  <a:moveTo>
                    <a:pt x="115442" y="2175605"/>
                  </a:moveTo>
                  <a:cubicBezTo>
                    <a:pt x="118871" y="2175605"/>
                    <a:pt x="121634" y="2178367"/>
                    <a:pt x="121634" y="2181796"/>
                  </a:cubicBezTo>
                  <a:cubicBezTo>
                    <a:pt x="121634" y="2185225"/>
                    <a:pt x="118871" y="2187988"/>
                    <a:pt x="115442" y="2187988"/>
                  </a:cubicBezTo>
                  <a:cubicBezTo>
                    <a:pt x="112013" y="2187988"/>
                    <a:pt x="109251" y="2185225"/>
                    <a:pt x="109251" y="2181796"/>
                  </a:cubicBezTo>
                  <a:cubicBezTo>
                    <a:pt x="109251" y="2178367"/>
                    <a:pt x="112013" y="2175605"/>
                    <a:pt x="115442" y="2175605"/>
                  </a:cubicBezTo>
                  <a:close/>
                  <a:moveTo>
                    <a:pt x="3250501" y="2175225"/>
                  </a:moveTo>
                  <a:cubicBezTo>
                    <a:pt x="3253930" y="2175225"/>
                    <a:pt x="3256693" y="2177987"/>
                    <a:pt x="3256693" y="2181416"/>
                  </a:cubicBezTo>
                  <a:cubicBezTo>
                    <a:pt x="3256693" y="2184845"/>
                    <a:pt x="3253930" y="2187608"/>
                    <a:pt x="3250501" y="2187608"/>
                  </a:cubicBezTo>
                  <a:cubicBezTo>
                    <a:pt x="3247072" y="2187608"/>
                    <a:pt x="3244310" y="2184845"/>
                    <a:pt x="3244310" y="2181416"/>
                  </a:cubicBezTo>
                  <a:cubicBezTo>
                    <a:pt x="3244310" y="2177987"/>
                    <a:pt x="3247072" y="2175225"/>
                    <a:pt x="3250501" y="2175225"/>
                  </a:cubicBezTo>
                  <a:close/>
                  <a:moveTo>
                    <a:pt x="3281838" y="2173034"/>
                  </a:moveTo>
                  <a:cubicBezTo>
                    <a:pt x="3282996" y="2173034"/>
                    <a:pt x="3283934" y="2173972"/>
                    <a:pt x="3283934" y="2175130"/>
                  </a:cubicBezTo>
                  <a:cubicBezTo>
                    <a:pt x="3283934" y="2176287"/>
                    <a:pt x="3282996" y="2177225"/>
                    <a:pt x="3281838" y="2177225"/>
                  </a:cubicBezTo>
                  <a:cubicBezTo>
                    <a:pt x="3280681" y="2177225"/>
                    <a:pt x="3279743" y="2176287"/>
                    <a:pt x="3279743" y="2175130"/>
                  </a:cubicBezTo>
                  <a:cubicBezTo>
                    <a:pt x="3279743" y="2173972"/>
                    <a:pt x="3280681" y="2173034"/>
                    <a:pt x="3281838" y="2173034"/>
                  </a:cubicBezTo>
                  <a:close/>
                  <a:moveTo>
                    <a:pt x="103345" y="2172653"/>
                  </a:moveTo>
                  <a:cubicBezTo>
                    <a:pt x="106774" y="2172653"/>
                    <a:pt x="109537" y="2175415"/>
                    <a:pt x="109537" y="2178844"/>
                  </a:cubicBezTo>
                  <a:cubicBezTo>
                    <a:pt x="109537" y="2182273"/>
                    <a:pt x="106774" y="2185036"/>
                    <a:pt x="103345" y="2185036"/>
                  </a:cubicBezTo>
                  <a:cubicBezTo>
                    <a:pt x="99916" y="2185036"/>
                    <a:pt x="97154" y="2182273"/>
                    <a:pt x="97154" y="2178844"/>
                  </a:cubicBezTo>
                  <a:cubicBezTo>
                    <a:pt x="97154" y="2175415"/>
                    <a:pt x="99916" y="2172653"/>
                    <a:pt x="103345" y="2172653"/>
                  </a:cubicBezTo>
                  <a:close/>
                  <a:moveTo>
                    <a:pt x="703325" y="2171605"/>
                  </a:moveTo>
                  <a:cubicBezTo>
                    <a:pt x="706754" y="2171605"/>
                    <a:pt x="709516" y="2174367"/>
                    <a:pt x="709516" y="2177796"/>
                  </a:cubicBezTo>
                  <a:cubicBezTo>
                    <a:pt x="709516" y="2181225"/>
                    <a:pt x="706754" y="2183988"/>
                    <a:pt x="703325" y="2183988"/>
                  </a:cubicBezTo>
                  <a:cubicBezTo>
                    <a:pt x="699896" y="2183988"/>
                    <a:pt x="697134" y="2181225"/>
                    <a:pt x="697134" y="2177796"/>
                  </a:cubicBezTo>
                  <a:cubicBezTo>
                    <a:pt x="697134" y="2174367"/>
                    <a:pt x="699896" y="2171605"/>
                    <a:pt x="703325" y="2171605"/>
                  </a:cubicBezTo>
                  <a:close/>
                  <a:moveTo>
                    <a:pt x="92582" y="2170462"/>
                  </a:moveTo>
                  <a:cubicBezTo>
                    <a:pt x="96011" y="2170462"/>
                    <a:pt x="98774" y="2173224"/>
                    <a:pt x="98774" y="2176653"/>
                  </a:cubicBezTo>
                  <a:cubicBezTo>
                    <a:pt x="98774" y="2180082"/>
                    <a:pt x="96011" y="2182845"/>
                    <a:pt x="92582" y="2182845"/>
                  </a:cubicBezTo>
                  <a:cubicBezTo>
                    <a:pt x="89153" y="2182845"/>
                    <a:pt x="86391" y="2180082"/>
                    <a:pt x="86391" y="2176653"/>
                  </a:cubicBezTo>
                  <a:cubicBezTo>
                    <a:pt x="86391" y="2173224"/>
                    <a:pt x="89153" y="2170462"/>
                    <a:pt x="92582" y="2170462"/>
                  </a:cubicBezTo>
                  <a:close/>
                  <a:moveTo>
                    <a:pt x="383857" y="2169700"/>
                  </a:moveTo>
                  <a:cubicBezTo>
                    <a:pt x="387286" y="2169700"/>
                    <a:pt x="390048" y="2172462"/>
                    <a:pt x="390048" y="2175891"/>
                  </a:cubicBezTo>
                  <a:cubicBezTo>
                    <a:pt x="390048" y="2179320"/>
                    <a:pt x="387286" y="2182083"/>
                    <a:pt x="383857" y="2182083"/>
                  </a:cubicBezTo>
                  <a:cubicBezTo>
                    <a:pt x="380428" y="2182083"/>
                    <a:pt x="377666" y="2179320"/>
                    <a:pt x="377666" y="2175891"/>
                  </a:cubicBezTo>
                  <a:cubicBezTo>
                    <a:pt x="377666" y="2172462"/>
                    <a:pt x="380428" y="2169700"/>
                    <a:pt x="383857" y="2169700"/>
                  </a:cubicBezTo>
                  <a:close/>
                  <a:moveTo>
                    <a:pt x="3202781" y="2169319"/>
                  </a:moveTo>
                  <a:cubicBezTo>
                    <a:pt x="3206210" y="2169319"/>
                    <a:pt x="3208972" y="2172081"/>
                    <a:pt x="3208972" y="2175510"/>
                  </a:cubicBezTo>
                  <a:cubicBezTo>
                    <a:pt x="3208972" y="2178939"/>
                    <a:pt x="3206210" y="2181701"/>
                    <a:pt x="3202781" y="2181701"/>
                  </a:cubicBezTo>
                  <a:cubicBezTo>
                    <a:pt x="3199352" y="2181701"/>
                    <a:pt x="3196590" y="2178939"/>
                    <a:pt x="3196590" y="2175510"/>
                  </a:cubicBezTo>
                  <a:cubicBezTo>
                    <a:pt x="3196590" y="2172081"/>
                    <a:pt x="3199352" y="2169319"/>
                    <a:pt x="3202781" y="2169319"/>
                  </a:cubicBezTo>
                  <a:close/>
                  <a:moveTo>
                    <a:pt x="236505" y="2169319"/>
                  </a:moveTo>
                  <a:cubicBezTo>
                    <a:pt x="239934" y="2169319"/>
                    <a:pt x="242696" y="2172081"/>
                    <a:pt x="242696" y="2175510"/>
                  </a:cubicBezTo>
                  <a:cubicBezTo>
                    <a:pt x="242696" y="2178939"/>
                    <a:pt x="239934" y="2181701"/>
                    <a:pt x="236505" y="2181701"/>
                  </a:cubicBezTo>
                  <a:cubicBezTo>
                    <a:pt x="233076" y="2181701"/>
                    <a:pt x="230314" y="2178939"/>
                    <a:pt x="230314" y="2175510"/>
                  </a:cubicBezTo>
                  <a:cubicBezTo>
                    <a:pt x="230314" y="2172081"/>
                    <a:pt x="233076" y="2169319"/>
                    <a:pt x="236505" y="2169319"/>
                  </a:cubicBezTo>
                  <a:close/>
                  <a:moveTo>
                    <a:pt x="3221068" y="2167890"/>
                  </a:moveTo>
                  <a:cubicBezTo>
                    <a:pt x="3224497" y="2167890"/>
                    <a:pt x="3227260" y="2170652"/>
                    <a:pt x="3227260" y="2174081"/>
                  </a:cubicBezTo>
                  <a:cubicBezTo>
                    <a:pt x="3227260" y="2177510"/>
                    <a:pt x="3224497" y="2180273"/>
                    <a:pt x="3221068" y="2180273"/>
                  </a:cubicBezTo>
                  <a:cubicBezTo>
                    <a:pt x="3217639" y="2180273"/>
                    <a:pt x="3214877" y="2177510"/>
                    <a:pt x="3214877" y="2174081"/>
                  </a:cubicBezTo>
                  <a:cubicBezTo>
                    <a:pt x="3214877" y="2170652"/>
                    <a:pt x="3217639" y="2167890"/>
                    <a:pt x="3221068" y="2167890"/>
                  </a:cubicBezTo>
                  <a:close/>
                  <a:moveTo>
                    <a:pt x="3169253" y="2167700"/>
                  </a:moveTo>
                  <a:cubicBezTo>
                    <a:pt x="3172673" y="2167700"/>
                    <a:pt x="3175445" y="2170472"/>
                    <a:pt x="3175445" y="2173891"/>
                  </a:cubicBezTo>
                  <a:cubicBezTo>
                    <a:pt x="3175445" y="2177311"/>
                    <a:pt x="3172673" y="2180082"/>
                    <a:pt x="3169253" y="2180082"/>
                  </a:cubicBezTo>
                  <a:cubicBezTo>
                    <a:pt x="3165834" y="2180082"/>
                    <a:pt x="3163062" y="2177311"/>
                    <a:pt x="3163062" y="2173891"/>
                  </a:cubicBezTo>
                  <a:cubicBezTo>
                    <a:pt x="3163062" y="2170472"/>
                    <a:pt x="3165834" y="2167700"/>
                    <a:pt x="3169253" y="2167700"/>
                  </a:cubicBezTo>
                  <a:close/>
                  <a:moveTo>
                    <a:pt x="1633727" y="2165700"/>
                  </a:moveTo>
                  <a:cubicBezTo>
                    <a:pt x="1637156" y="2165700"/>
                    <a:pt x="1639919" y="2168462"/>
                    <a:pt x="1639919" y="2171891"/>
                  </a:cubicBezTo>
                  <a:cubicBezTo>
                    <a:pt x="1639919" y="2175320"/>
                    <a:pt x="1637156" y="2178083"/>
                    <a:pt x="1633727" y="2178083"/>
                  </a:cubicBezTo>
                  <a:cubicBezTo>
                    <a:pt x="1630298" y="2178083"/>
                    <a:pt x="1627536" y="2175320"/>
                    <a:pt x="1627536" y="2171891"/>
                  </a:cubicBezTo>
                  <a:cubicBezTo>
                    <a:pt x="1627536" y="2168462"/>
                    <a:pt x="1630298" y="2165700"/>
                    <a:pt x="1633727" y="2165700"/>
                  </a:cubicBezTo>
                  <a:close/>
                  <a:moveTo>
                    <a:pt x="3258502" y="2165128"/>
                  </a:moveTo>
                  <a:cubicBezTo>
                    <a:pt x="3261931" y="2165128"/>
                    <a:pt x="3264693" y="2167890"/>
                    <a:pt x="3264693" y="2171319"/>
                  </a:cubicBezTo>
                  <a:cubicBezTo>
                    <a:pt x="3264693" y="2174748"/>
                    <a:pt x="3261931" y="2177511"/>
                    <a:pt x="3258502" y="2177511"/>
                  </a:cubicBezTo>
                  <a:cubicBezTo>
                    <a:pt x="3255073" y="2177511"/>
                    <a:pt x="3252311" y="2174748"/>
                    <a:pt x="3252311" y="2171319"/>
                  </a:cubicBezTo>
                  <a:cubicBezTo>
                    <a:pt x="3252311" y="2167890"/>
                    <a:pt x="3255073" y="2165128"/>
                    <a:pt x="3258502" y="2165128"/>
                  </a:cubicBezTo>
                  <a:close/>
                  <a:moveTo>
                    <a:pt x="3243262" y="2164271"/>
                  </a:moveTo>
                  <a:cubicBezTo>
                    <a:pt x="3246691" y="2164271"/>
                    <a:pt x="3249453" y="2167033"/>
                    <a:pt x="3249453" y="2170462"/>
                  </a:cubicBezTo>
                  <a:cubicBezTo>
                    <a:pt x="3249453" y="2173891"/>
                    <a:pt x="3246691" y="2176653"/>
                    <a:pt x="3243262" y="2176653"/>
                  </a:cubicBezTo>
                  <a:lnTo>
                    <a:pt x="3238500" y="2171891"/>
                  </a:lnTo>
                  <a:lnTo>
                    <a:pt x="3232403" y="2177986"/>
                  </a:lnTo>
                  <a:cubicBezTo>
                    <a:pt x="3228974" y="2177986"/>
                    <a:pt x="3226212" y="2175224"/>
                    <a:pt x="3226212" y="2171795"/>
                  </a:cubicBezTo>
                  <a:cubicBezTo>
                    <a:pt x="3226212" y="2168366"/>
                    <a:pt x="3228974" y="2165604"/>
                    <a:pt x="3232403" y="2165604"/>
                  </a:cubicBezTo>
                  <a:lnTo>
                    <a:pt x="3237166" y="2170367"/>
                  </a:lnTo>
                  <a:close/>
                  <a:moveTo>
                    <a:pt x="1772887" y="2164271"/>
                  </a:moveTo>
                  <a:cubicBezTo>
                    <a:pt x="1776316" y="2164271"/>
                    <a:pt x="1779079" y="2167033"/>
                    <a:pt x="1779079" y="2170462"/>
                  </a:cubicBezTo>
                  <a:cubicBezTo>
                    <a:pt x="1779079" y="2173891"/>
                    <a:pt x="1776316" y="2176653"/>
                    <a:pt x="1772887" y="2176653"/>
                  </a:cubicBezTo>
                  <a:cubicBezTo>
                    <a:pt x="1769458" y="2176653"/>
                    <a:pt x="1766696" y="2173891"/>
                    <a:pt x="1766696" y="2170462"/>
                  </a:cubicBezTo>
                  <a:cubicBezTo>
                    <a:pt x="1766696" y="2167033"/>
                    <a:pt x="1769458" y="2164271"/>
                    <a:pt x="1772887" y="2164271"/>
                  </a:cubicBezTo>
                  <a:close/>
                  <a:moveTo>
                    <a:pt x="2669762" y="2162747"/>
                  </a:moveTo>
                  <a:cubicBezTo>
                    <a:pt x="2673191" y="2162747"/>
                    <a:pt x="2675953" y="2165509"/>
                    <a:pt x="2675953" y="2168938"/>
                  </a:cubicBezTo>
                  <a:cubicBezTo>
                    <a:pt x="2675953" y="2172367"/>
                    <a:pt x="2673191" y="2175130"/>
                    <a:pt x="2669762" y="2175130"/>
                  </a:cubicBezTo>
                  <a:cubicBezTo>
                    <a:pt x="2666333" y="2175130"/>
                    <a:pt x="2663571" y="2172367"/>
                    <a:pt x="2663571" y="2168938"/>
                  </a:cubicBezTo>
                  <a:cubicBezTo>
                    <a:pt x="2663571" y="2165509"/>
                    <a:pt x="2666333" y="2162747"/>
                    <a:pt x="2669762" y="2162747"/>
                  </a:cubicBezTo>
                  <a:close/>
                  <a:moveTo>
                    <a:pt x="124205" y="2162271"/>
                  </a:moveTo>
                  <a:cubicBezTo>
                    <a:pt x="127634" y="2162271"/>
                    <a:pt x="130396" y="2165033"/>
                    <a:pt x="130396" y="2168462"/>
                  </a:cubicBezTo>
                  <a:cubicBezTo>
                    <a:pt x="130396" y="2171891"/>
                    <a:pt x="127634" y="2174654"/>
                    <a:pt x="124205" y="2174654"/>
                  </a:cubicBezTo>
                  <a:cubicBezTo>
                    <a:pt x="120776" y="2174654"/>
                    <a:pt x="118014" y="2171891"/>
                    <a:pt x="118014" y="2168462"/>
                  </a:cubicBezTo>
                  <a:cubicBezTo>
                    <a:pt x="118014" y="2165033"/>
                    <a:pt x="120776" y="2162271"/>
                    <a:pt x="124205" y="2162271"/>
                  </a:cubicBezTo>
                  <a:close/>
                  <a:moveTo>
                    <a:pt x="1495424" y="2161985"/>
                  </a:moveTo>
                  <a:cubicBezTo>
                    <a:pt x="1498853" y="2161985"/>
                    <a:pt x="1501615" y="2164747"/>
                    <a:pt x="1501615" y="2168176"/>
                  </a:cubicBezTo>
                  <a:cubicBezTo>
                    <a:pt x="1501615" y="2171605"/>
                    <a:pt x="1498853" y="2174368"/>
                    <a:pt x="1495424" y="2174368"/>
                  </a:cubicBezTo>
                  <a:cubicBezTo>
                    <a:pt x="1491995" y="2174368"/>
                    <a:pt x="1489233" y="2171605"/>
                    <a:pt x="1489233" y="2168176"/>
                  </a:cubicBezTo>
                  <a:cubicBezTo>
                    <a:pt x="1489233" y="2164747"/>
                    <a:pt x="1491995" y="2161985"/>
                    <a:pt x="1495424" y="2161985"/>
                  </a:cubicBezTo>
                  <a:close/>
                  <a:moveTo>
                    <a:pt x="2972275" y="2160556"/>
                  </a:moveTo>
                  <a:cubicBezTo>
                    <a:pt x="2975704" y="2160556"/>
                    <a:pt x="2978467" y="2163318"/>
                    <a:pt x="2978467" y="2166747"/>
                  </a:cubicBezTo>
                  <a:cubicBezTo>
                    <a:pt x="2978467" y="2170176"/>
                    <a:pt x="2975704" y="2172938"/>
                    <a:pt x="2972275" y="2172938"/>
                  </a:cubicBezTo>
                  <a:cubicBezTo>
                    <a:pt x="2968846" y="2172938"/>
                    <a:pt x="2966084" y="2170176"/>
                    <a:pt x="2966084" y="2166747"/>
                  </a:cubicBezTo>
                  <a:cubicBezTo>
                    <a:pt x="2966084" y="2163318"/>
                    <a:pt x="2968846" y="2160556"/>
                    <a:pt x="2972275" y="2160556"/>
                  </a:cubicBezTo>
                  <a:close/>
                  <a:moveTo>
                    <a:pt x="3110293" y="2160366"/>
                  </a:moveTo>
                  <a:cubicBezTo>
                    <a:pt x="3113722" y="2160366"/>
                    <a:pt x="3116484" y="2163128"/>
                    <a:pt x="3116484" y="2166557"/>
                  </a:cubicBezTo>
                  <a:cubicBezTo>
                    <a:pt x="3116484" y="2169986"/>
                    <a:pt x="3113722" y="2172749"/>
                    <a:pt x="3110293" y="2172749"/>
                  </a:cubicBezTo>
                  <a:cubicBezTo>
                    <a:pt x="3106864" y="2172749"/>
                    <a:pt x="3104102" y="2169986"/>
                    <a:pt x="3104102" y="2166557"/>
                  </a:cubicBezTo>
                  <a:cubicBezTo>
                    <a:pt x="3104102" y="2163128"/>
                    <a:pt x="3106864" y="2160366"/>
                    <a:pt x="3110293" y="2160366"/>
                  </a:cubicBezTo>
                  <a:close/>
                  <a:moveTo>
                    <a:pt x="155066" y="2160270"/>
                  </a:moveTo>
                  <a:cubicBezTo>
                    <a:pt x="158495" y="2160270"/>
                    <a:pt x="161258" y="2163032"/>
                    <a:pt x="161258" y="2166461"/>
                  </a:cubicBezTo>
                  <a:cubicBezTo>
                    <a:pt x="161258" y="2169890"/>
                    <a:pt x="158495" y="2172653"/>
                    <a:pt x="155066" y="2172653"/>
                  </a:cubicBezTo>
                  <a:cubicBezTo>
                    <a:pt x="151637" y="2172653"/>
                    <a:pt x="148875" y="2169890"/>
                    <a:pt x="148875" y="2166461"/>
                  </a:cubicBezTo>
                  <a:cubicBezTo>
                    <a:pt x="148875" y="2163032"/>
                    <a:pt x="151637" y="2160270"/>
                    <a:pt x="155066" y="2160270"/>
                  </a:cubicBezTo>
                  <a:close/>
                  <a:moveTo>
                    <a:pt x="85819" y="2159127"/>
                  </a:moveTo>
                  <a:lnTo>
                    <a:pt x="91582" y="2164890"/>
                  </a:lnTo>
                  <a:lnTo>
                    <a:pt x="96773" y="2159699"/>
                  </a:lnTo>
                  <a:lnTo>
                    <a:pt x="102917" y="2165842"/>
                  </a:lnTo>
                  <a:lnTo>
                    <a:pt x="107441" y="2161318"/>
                  </a:lnTo>
                  <a:cubicBezTo>
                    <a:pt x="110870" y="2161318"/>
                    <a:pt x="113633" y="2164080"/>
                    <a:pt x="113633" y="2167509"/>
                  </a:cubicBezTo>
                  <a:cubicBezTo>
                    <a:pt x="113633" y="2170938"/>
                    <a:pt x="110870" y="2173701"/>
                    <a:pt x="107441" y="2173701"/>
                  </a:cubicBezTo>
                  <a:lnTo>
                    <a:pt x="101298" y="2167557"/>
                  </a:lnTo>
                  <a:lnTo>
                    <a:pt x="96773" y="2172082"/>
                  </a:lnTo>
                  <a:lnTo>
                    <a:pt x="91010" y="2166319"/>
                  </a:lnTo>
                  <a:lnTo>
                    <a:pt x="85819" y="2171510"/>
                  </a:lnTo>
                  <a:cubicBezTo>
                    <a:pt x="82390" y="2171510"/>
                    <a:pt x="79628" y="2168747"/>
                    <a:pt x="79628" y="2165318"/>
                  </a:cubicBezTo>
                  <a:cubicBezTo>
                    <a:pt x="79628" y="2161889"/>
                    <a:pt x="82390" y="2159127"/>
                    <a:pt x="85819" y="2159127"/>
                  </a:cubicBezTo>
                  <a:close/>
                  <a:moveTo>
                    <a:pt x="1908904" y="2158175"/>
                  </a:moveTo>
                  <a:cubicBezTo>
                    <a:pt x="1912333" y="2158175"/>
                    <a:pt x="1915096" y="2160937"/>
                    <a:pt x="1915096" y="2164366"/>
                  </a:cubicBezTo>
                  <a:cubicBezTo>
                    <a:pt x="1915096" y="2167795"/>
                    <a:pt x="1912333" y="2170557"/>
                    <a:pt x="1908904" y="2170557"/>
                  </a:cubicBezTo>
                  <a:cubicBezTo>
                    <a:pt x="1905475" y="2170557"/>
                    <a:pt x="1902713" y="2167795"/>
                    <a:pt x="1902713" y="2164366"/>
                  </a:cubicBezTo>
                  <a:cubicBezTo>
                    <a:pt x="1902713" y="2160937"/>
                    <a:pt x="1905475" y="2158175"/>
                    <a:pt x="1908904" y="2158175"/>
                  </a:cubicBezTo>
                  <a:close/>
                  <a:moveTo>
                    <a:pt x="3266884" y="2155603"/>
                  </a:moveTo>
                  <a:cubicBezTo>
                    <a:pt x="3270313" y="2155603"/>
                    <a:pt x="3273076" y="2158365"/>
                    <a:pt x="3273076" y="2161794"/>
                  </a:cubicBezTo>
                  <a:cubicBezTo>
                    <a:pt x="3273076" y="2165223"/>
                    <a:pt x="3270313" y="2167986"/>
                    <a:pt x="3266884" y="2167986"/>
                  </a:cubicBezTo>
                  <a:cubicBezTo>
                    <a:pt x="3263455" y="2167986"/>
                    <a:pt x="3260693" y="2165223"/>
                    <a:pt x="3260693" y="2161794"/>
                  </a:cubicBezTo>
                  <a:cubicBezTo>
                    <a:pt x="3260693" y="2158365"/>
                    <a:pt x="3263455" y="2155603"/>
                    <a:pt x="3266884" y="2155603"/>
                  </a:cubicBezTo>
                  <a:close/>
                  <a:moveTo>
                    <a:pt x="628459" y="2155032"/>
                  </a:moveTo>
                  <a:cubicBezTo>
                    <a:pt x="631888" y="2155032"/>
                    <a:pt x="634650" y="2157794"/>
                    <a:pt x="634650" y="2161223"/>
                  </a:cubicBezTo>
                  <a:cubicBezTo>
                    <a:pt x="634650" y="2164652"/>
                    <a:pt x="631888" y="2167414"/>
                    <a:pt x="628459" y="2167414"/>
                  </a:cubicBezTo>
                  <a:cubicBezTo>
                    <a:pt x="625030" y="2167414"/>
                    <a:pt x="622268" y="2164652"/>
                    <a:pt x="622268" y="2161223"/>
                  </a:cubicBezTo>
                  <a:cubicBezTo>
                    <a:pt x="622268" y="2157794"/>
                    <a:pt x="625030" y="2155032"/>
                    <a:pt x="628459" y="2155032"/>
                  </a:cubicBezTo>
                  <a:close/>
                  <a:moveTo>
                    <a:pt x="3213449" y="2154270"/>
                  </a:moveTo>
                  <a:cubicBezTo>
                    <a:pt x="3216878" y="2154270"/>
                    <a:pt x="3219640" y="2157032"/>
                    <a:pt x="3219640" y="2160461"/>
                  </a:cubicBezTo>
                  <a:cubicBezTo>
                    <a:pt x="3219640" y="2163890"/>
                    <a:pt x="3216878" y="2166653"/>
                    <a:pt x="3213449" y="2166653"/>
                  </a:cubicBezTo>
                  <a:cubicBezTo>
                    <a:pt x="3210020" y="2166653"/>
                    <a:pt x="3207258" y="2163890"/>
                    <a:pt x="3207258" y="2160461"/>
                  </a:cubicBezTo>
                  <a:cubicBezTo>
                    <a:pt x="3207258" y="2157032"/>
                    <a:pt x="3210020" y="2154270"/>
                    <a:pt x="3213449" y="2154270"/>
                  </a:cubicBezTo>
                  <a:close/>
                  <a:moveTo>
                    <a:pt x="1361979" y="2154079"/>
                  </a:moveTo>
                  <a:cubicBezTo>
                    <a:pt x="1365408" y="2154079"/>
                    <a:pt x="1368171" y="2156841"/>
                    <a:pt x="1368171" y="2160270"/>
                  </a:cubicBezTo>
                  <a:cubicBezTo>
                    <a:pt x="1368171" y="2163699"/>
                    <a:pt x="1365408" y="2166462"/>
                    <a:pt x="1361979" y="2166462"/>
                  </a:cubicBezTo>
                  <a:cubicBezTo>
                    <a:pt x="1358550" y="2166462"/>
                    <a:pt x="1355788" y="2163699"/>
                    <a:pt x="1355788" y="2160270"/>
                  </a:cubicBezTo>
                  <a:cubicBezTo>
                    <a:pt x="1355788" y="2156841"/>
                    <a:pt x="1358550" y="2154079"/>
                    <a:pt x="1361979" y="2154079"/>
                  </a:cubicBezTo>
                  <a:close/>
                  <a:moveTo>
                    <a:pt x="3238785" y="2153126"/>
                  </a:moveTo>
                  <a:lnTo>
                    <a:pt x="3244452" y="2158794"/>
                  </a:lnTo>
                  <a:lnTo>
                    <a:pt x="3250024" y="2153222"/>
                  </a:lnTo>
                  <a:cubicBezTo>
                    <a:pt x="3253453" y="2153222"/>
                    <a:pt x="3256215" y="2155984"/>
                    <a:pt x="3256215" y="2159413"/>
                  </a:cubicBezTo>
                  <a:cubicBezTo>
                    <a:pt x="3256215" y="2162842"/>
                    <a:pt x="3253453" y="2165605"/>
                    <a:pt x="3250024" y="2165605"/>
                  </a:cubicBezTo>
                  <a:lnTo>
                    <a:pt x="3244357" y="2159937"/>
                  </a:lnTo>
                  <a:lnTo>
                    <a:pt x="3238785" y="2165509"/>
                  </a:lnTo>
                  <a:lnTo>
                    <a:pt x="3234166" y="2160889"/>
                  </a:lnTo>
                  <a:lnTo>
                    <a:pt x="3228689" y="2166366"/>
                  </a:lnTo>
                  <a:cubicBezTo>
                    <a:pt x="3225260" y="2166366"/>
                    <a:pt x="3222498" y="2163604"/>
                    <a:pt x="3222498" y="2160175"/>
                  </a:cubicBezTo>
                  <a:cubicBezTo>
                    <a:pt x="3222498" y="2156746"/>
                    <a:pt x="3225260" y="2153984"/>
                    <a:pt x="3228689" y="2153984"/>
                  </a:cubicBezTo>
                  <a:lnTo>
                    <a:pt x="3233308" y="2158603"/>
                  </a:lnTo>
                  <a:close/>
                  <a:moveTo>
                    <a:pt x="340137" y="2152746"/>
                  </a:moveTo>
                  <a:cubicBezTo>
                    <a:pt x="343566" y="2152746"/>
                    <a:pt x="346328" y="2155508"/>
                    <a:pt x="346328" y="2158937"/>
                  </a:cubicBezTo>
                  <a:cubicBezTo>
                    <a:pt x="346328" y="2162366"/>
                    <a:pt x="343566" y="2165129"/>
                    <a:pt x="340137" y="2165129"/>
                  </a:cubicBezTo>
                  <a:cubicBezTo>
                    <a:pt x="336708" y="2165129"/>
                    <a:pt x="333946" y="2162366"/>
                    <a:pt x="333946" y="2158937"/>
                  </a:cubicBezTo>
                  <a:cubicBezTo>
                    <a:pt x="333946" y="2155508"/>
                    <a:pt x="336708" y="2152746"/>
                    <a:pt x="340137" y="2152746"/>
                  </a:cubicBezTo>
                  <a:close/>
                  <a:moveTo>
                    <a:pt x="210025" y="2152746"/>
                  </a:moveTo>
                  <a:cubicBezTo>
                    <a:pt x="213454" y="2152746"/>
                    <a:pt x="216217" y="2155508"/>
                    <a:pt x="216217" y="2158937"/>
                  </a:cubicBezTo>
                  <a:cubicBezTo>
                    <a:pt x="216217" y="2162366"/>
                    <a:pt x="213454" y="2165129"/>
                    <a:pt x="210025" y="2165129"/>
                  </a:cubicBezTo>
                  <a:cubicBezTo>
                    <a:pt x="206596" y="2165129"/>
                    <a:pt x="203834" y="2162366"/>
                    <a:pt x="203834" y="2158937"/>
                  </a:cubicBezTo>
                  <a:cubicBezTo>
                    <a:pt x="203834" y="2155508"/>
                    <a:pt x="206596" y="2152746"/>
                    <a:pt x="210025" y="2152746"/>
                  </a:cubicBezTo>
                  <a:close/>
                  <a:moveTo>
                    <a:pt x="3185445" y="2151888"/>
                  </a:moveTo>
                  <a:cubicBezTo>
                    <a:pt x="3188874" y="2151888"/>
                    <a:pt x="3191636" y="2154650"/>
                    <a:pt x="3191636" y="2158079"/>
                  </a:cubicBezTo>
                  <a:cubicBezTo>
                    <a:pt x="3191636" y="2161508"/>
                    <a:pt x="3188874" y="2164271"/>
                    <a:pt x="3185445" y="2164271"/>
                  </a:cubicBezTo>
                  <a:cubicBezTo>
                    <a:pt x="3182016" y="2164271"/>
                    <a:pt x="3179254" y="2161508"/>
                    <a:pt x="3179254" y="2158079"/>
                  </a:cubicBezTo>
                  <a:cubicBezTo>
                    <a:pt x="3179254" y="2154650"/>
                    <a:pt x="3182016" y="2151888"/>
                    <a:pt x="3185445" y="2151888"/>
                  </a:cubicBezTo>
                  <a:close/>
                  <a:moveTo>
                    <a:pt x="2038825" y="2148459"/>
                  </a:moveTo>
                  <a:cubicBezTo>
                    <a:pt x="2042254" y="2148459"/>
                    <a:pt x="2045017" y="2151221"/>
                    <a:pt x="2045017" y="2154650"/>
                  </a:cubicBezTo>
                  <a:cubicBezTo>
                    <a:pt x="2045017" y="2158079"/>
                    <a:pt x="2042254" y="2160842"/>
                    <a:pt x="2038825" y="2160842"/>
                  </a:cubicBezTo>
                  <a:cubicBezTo>
                    <a:pt x="2035396" y="2160842"/>
                    <a:pt x="2032634" y="2158079"/>
                    <a:pt x="2032634" y="2154650"/>
                  </a:cubicBezTo>
                  <a:cubicBezTo>
                    <a:pt x="2032634" y="2151221"/>
                    <a:pt x="2035396" y="2148459"/>
                    <a:pt x="2038825" y="2148459"/>
                  </a:cubicBezTo>
                  <a:close/>
                  <a:moveTo>
                    <a:pt x="78866" y="2148364"/>
                  </a:moveTo>
                  <a:cubicBezTo>
                    <a:pt x="82295" y="2148364"/>
                    <a:pt x="85058" y="2151126"/>
                    <a:pt x="85058" y="2154555"/>
                  </a:cubicBezTo>
                  <a:cubicBezTo>
                    <a:pt x="85058" y="2157984"/>
                    <a:pt x="82295" y="2160747"/>
                    <a:pt x="78866" y="2160747"/>
                  </a:cubicBezTo>
                  <a:cubicBezTo>
                    <a:pt x="75437" y="2160747"/>
                    <a:pt x="72675" y="2157984"/>
                    <a:pt x="72675" y="2154555"/>
                  </a:cubicBezTo>
                  <a:cubicBezTo>
                    <a:pt x="72675" y="2151126"/>
                    <a:pt x="75437" y="2148364"/>
                    <a:pt x="78866" y="2148364"/>
                  </a:cubicBezTo>
                  <a:close/>
                  <a:moveTo>
                    <a:pt x="114204" y="2147507"/>
                  </a:moveTo>
                  <a:cubicBezTo>
                    <a:pt x="117633" y="2147507"/>
                    <a:pt x="120396" y="2150269"/>
                    <a:pt x="120396" y="2153698"/>
                  </a:cubicBezTo>
                  <a:cubicBezTo>
                    <a:pt x="120396" y="2157127"/>
                    <a:pt x="117633" y="2159890"/>
                    <a:pt x="114204" y="2159890"/>
                  </a:cubicBezTo>
                  <a:cubicBezTo>
                    <a:pt x="110775" y="2159890"/>
                    <a:pt x="108013" y="2157127"/>
                    <a:pt x="108013" y="2153698"/>
                  </a:cubicBezTo>
                  <a:cubicBezTo>
                    <a:pt x="108013" y="2150269"/>
                    <a:pt x="110775" y="2147507"/>
                    <a:pt x="114204" y="2147507"/>
                  </a:cubicBezTo>
                  <a:close/>
                  <a:moveTo>
                    <a:pt x="90487" y="2147507"/>
                  </a:moveTo>
                  <a:lnTo>
                    <a:pt x="95535" y="2152555"/>
                  </a:lnTo>
                  <a:lnTo>
                    <a:pt x="100298" y="2147792"/>
                  </a:lnTo>
                  <a:cubicBezTo>
                    <a:pt x="103727" y="2147792"/>
                    <a:pt x="106490" y="2150554"/>
                    <a:pt x="106490" y="2153983"/>
                  </a:cubicBezTo>
                  <a:cubicBezTo>
                    <a:pt x="106490" y="2157412"/>
                    <a:pt x="103727" y="2160175"/>
                    <a:pt x="100298" y="2160175"/>
                  </a:cubicBezTo>
                  <a:lnTo>
                    <a:pt x="95250" y="2155126"/>
                  </a:lnTo>
                  <a:lnTo>
                    <a:pt x="90487" y="2159890"/>
                  </a:lnTo>
                  <a:cubicBezTo>
                    <a:pt x="87058" y="2159890"/>
                    <a:pt x="84296" y="2157127"/>
                    <a:pt x="84296" y="2153698"/>
                  </a:cubicBezTo>
                  <a:cubicBezTo>
                    <a:pt x="84296" y="2150269"/>
                    <a:pt x="87058" y="2147507"/>
                    <a:pt x="90487" y="2147507"/>
                  </a:cubicBezTo>
                  <a:close/>
                  <a:moveTo>
                    <a:pt x="3275742" y="2146745"/>
                  </a:moveTo>
                  <a:cubicBezTo>
                    <a:pt x="3279171" y="2146745"/>
                    <a:pt x="3281933" y="2149507"/>
                    <a:pt x="3281933" y="2152936"/>
                  </a:cubicBezTo>
                  <a:cubicBezTo>
                    <a:pt x="3281933" y="2156365"/>
                    <a:pt x="3279171" y="2159128"/>
                    <a:pt x="3275742" y="2159128"/>
                  </a:cubicBezTo>
                  <a:cubicBezTo>
                    <a:pt x="3272313" y="2159128"/>
                    <a:pt x="3269551" y="2156365"/>
                    <a:pt x="3269551" y="2152936"/>
                  </a:cubicBezTo>
                  <a:cubicBezTo>
                    <a:pt x="3269551" y="2149507"/>
                    <a:pt x="3272313" y="2146745"/>
                    <a:pt x="3275742" y="2146745"/>
                  </a:cubicBezTo>
                  <a:close/>
                  <a:moveTo>
                    <a:pt x="2741008" y="2146269"/>
                  </a:moveTo>
                  <a:cubicBezTo>
                    <a:pt x="2744437" y="2146269"/>
                    <a:pt x="2747200" y="2149031"/>
                    <a:pt x="2747200" y="2152460"/>
                  </a:cubicBezTo>
                  <a:cubicBezTo>
                    <a:pt x="2747200" y="2155889"/>
                    <a:pt x="2744437" y="2158651"/>
                    <a:pt x="2741008" y="2158651"/>
                  </a:cubicBezTo>
                  <a:cubicBezTo>
                    <a:pt x="2737579" y="2158651"/>
                    <a:pt x="2734817" y="2155889"/>
                    <a:pt x="2734817" y="2152460"/>
                  </a:cubicBezTo>
                  <a:cubicBezTo>
                    <a:pt x="2734817" y="2149031"/>
                    <a:pt x="2737579" y="2146269"/>
                    <a:pt x="2741008" y="2146269"/>
                  </a:cubicBezTo>
                  <a:close/>
                  <a:moveTo>
                    <a:pt x="139921" y="2144745"/>
                  </a:moveTo>
                  <a:cubicBezTo>
                    <a:pt x="143350" y="2144745"/>
                    <a:pt x="146113" y="2147507"/>
                    <a:pt x="146113" y="2150936"/>
                  </a:cubicBezTo>
                  <a:cubicBezTo>
                    <a:pt x="146113" y="2154365"/>
                    <a:pt x="143350" y="2157128"/>
                    <a:pt x="139921" y="2157128"/>
                  </a:cubicBezTo>
                  <a:cubicBezTo>
                    <a:pt x="136492" y="2157128"/>
                    <a:pt x="133730" y="2154365"/>
                    <a:pt x="133730" y="2150936"/>
                  </a:cubicBezTo>
                  <a:cubicBezTo>
                    <a:pt x="133730" y="2147507"/>
                    <a:pt x="136492" y="2144745"/>
                    <a:pt x="139921" y="2144745"/>
                  </a:cubicBezTo>
                  <a:close/>
                  <a:moveTo>
                    <a:pt x="3135058" y="2144078"/>
                  </a:moveTo>
                  <a:cubicBezTo>
                    <a:pt x="3138487" y="2144078"/>
                    <a:pt x="3141250" y="2146840"/>
                    <a:pt x="3141250" y="2150269"/>
                  </a:cubicBezTo>
                  <a:cubicBezTo>
                    <a:pt x="3141250" y="2153698"/>
                    <a:pt x="3138487" y="2156461"/>
                    <a:pt x="3135058" y="2156461"/>
                  </a:cubicBezTo>
                  <a:cubicBezTo>
                    <a:pt x="3131629" y="2156461"/>
                    <a:pt x="3128867" y="2153698"/>
                    <a:pt x="3128867" y="2150269"/>
                  </a:cubicBezTo>
                  <a:cubicBezTo>
                    <a:pt x="3128867" y="2146840"/>
                    <a:pt x="3131629" y="2144078"/>
                    <a:pt x="3135058" y="2144078"/>
                  </a:cubicBezTo>
                  <a:close/>
                  <a:moveTo>
                    <a:pt x="3013614" y="2143887"/>
                  </a:moveTo>
                  <a:cubicBezTo>
                    <a:pt x="3017043" y="2143887"/>
                    <a:pt x="3019806" y="2146649"/>
                    <a:pt x="3019806" y="2150078"/>
                  </a:cubicBezTo>
                  <a:cubicBezTo>
                    <a:pt x="3019806" y="2153507"/>
                    <a:pt x="3017043" y="2156269"/>
                    <a:pt x="3013614" y="2156269"/>
                  </a:cubicBezTo>
                  <a:cubicBezTo>
                    <a:pt x="3010185" y="2156269"/>
                    <a:pt x="3007423" y="2153507"/>
                    <a:pt x="3007423" y="2150078"/>
                  </a:cubicBezTo>
                  <a:cubicBezTo>
                    <a:pt x="3007423" y="2146649"/>
                    <a:pt x="3010185" y="2143887"/>
                    <a:pt x="3013614" y="2143887"/>
                  </a:cubicBezTo>
                  <a:close/>
                  <a:moveTo>
                    <a:pt x="1235678" y="2143125"/>
                  </a:moveTo>
                  <a:cubicBezTo>
                    <a:pt x="1239107" y="2143125"/>
                    <a:pt x="1241870" y="2145887"/>
                    <a:pt x="1241870" y="2149316"/>
                  </a:cubicBezTo>
                  <a:cubicBezTo>
                    <a:pt x="1241870" y="2152745"/>
                    <a:pt x="1239107" y="2155507"/>
                    <a:pt x="1235678" y="2155507"/>
                  </a:cubicBezTo>
                  <a:cubicBezTo>
                    <a:pt x="1232249" y="2155507"/>
                    <a:pt x="1229487" y="2152745"/>
                    <a:pt x="1229487" y="2149316"/>
                  </a:cubicBezTo>
                  <a:cubicBezTo>
                    <a:pt x="1229487" y="2145887"/>
                    <a:pt x="1232249" y="2143125"/>
                    <a:pt x="1235678" y="2143125"/>
                  </a:cubicBezTo>
                  <a:close/>
                  <a:moveTo>
                    <a:pt x="3257073" y="2142840"/>
                  </a:moveTo>
                  <a:cubicBezTo>
                    <a:pt x="3260502" y="2142840"/>
                    <a:pt x="3263265" y="2145602"/>
                    <a:pt x="3263265" y="2149031"/>
                  </a:cubicBezTo>
                  <a:cubicBezTo>
                    <a:pt x="3263265" y="2152460"/>
                    <a:pt x="3260502" y="2155222"/>
                    <a:pt x="3257073" y="2155222"/>
                  </a:cubicBezTo>
                  <a:cubicBezTo>
                    <a:pt x="3253644" y="2155222"/>
                    <a:pt x="3250882" y="2152460"/>
                    <a:pt x="3250882" y="2149031"/>
                  </a:cubicBezTo>
                  <a:cubicBezTo>
                    <a:pt x="3250882" y="2145602"/>
                    <a:pt x="3253644" y="2142840"/>
                    <a:pt x="3257073" y="2142840"/>
                  </a:cubicBezTo>
                  <a:close/>
                  <a:moveTo>
                    <a:pt x="3235451" y="2140744"/>
                  </a:moveTo>
                  <a:lnTo>
                    <a:pt x="3240500" y="2145793"/>
                  </a:lnTo>
                  <a:lnTo>
                    <a:pt x="3245072" y="2141220"/>
                  </a:lnTo>
                  <a:cubicBezTo>
                    <a:pt x="3248501" y="2141220"/>
                    <a:pt x="3251263" y="2143982"/>
                    <a:pt x="3251263" y="2147411"/>
                  </a:cubicBezTo>
                  <a:cubicBezTo>
                    <a:pt x="3251263" y="2150840"/>
                    <a:pt x="3248501" y="2153603"/>
                    <a:pt x="3245072" y="2153603"/>
                  </a:cubicBezTo>
                  <a:lnTo>
                    <a:pt x="3240023" y="2148554"/>
                  </a:lnTo>
                  <a:lnTo>
                    <a:pt x="3235451" y="2153126"/>
                  </a:lnTo>
                  <a:cubicBezTo>
                    <a:pt x="3232022" y="2153126"/>
                    <a:pt x="3229260" y="2150364"/>
                    <a:pt x="3229260" y="2146935"/>
                  </a:cubicBezTo>
                  <a:cubicBezTo>
                    <a:pt x="3229260" y="2143506"/>
                    <a:pt x="3232022" y="2140744"/>
                    <a:pt x="3235451" y="2140744"/>
                  </a:cubicBezTo>
                  <a:close/>
                  <a:moveTo>
                    <a:pt x="3222783" y="2139887"/>
                  </a:moveTo>
                  <a:cubicBezTo>
                    <a:pt x="3226212" y="2139887"/>
                    <a:pt x="3228974" y="2142649"/>
                    <a:pt x="3228974" y="2146078"/>
                  </a:cubicBezTo>
                  <a:cubicBezTo>
                    <a:pt x="3228974" y="2149507"/>
                    <a:pt x="3226212" y="2152270"/>
                    <a:pt x="3222783" y="2152270"/>
                  </a:cubicBezTo>
                  <a:cubicBezTo>
                    <a:pt x="3219354" y="2152270"/>
                    <a:pt x="3216592" y="2149507"/>
                    <a:pt x="3216592" y="2146078"/>
                  </a:cubicBezTo>
                  <a:cubicBezTo>
                    <a:pt x="3216592" y="2142649"/>
                    <a:pt x="3219354" y="2139887"/>
                    <a:pt x="3222783" y="2139887"/>
                  </a:cubicBezTo>
                  <a:close/>
                  <a:moveTo>
                    <a:pt x="560260" y="2138744"/>
                  </a:moveTo>
                  <a:cubicBezTo>
                    <a:pt x="563689" y="2138744"/>
                    <a:pt x="566452" y="2141506"/>
                    <a:pt x="566452" y="2144935"/>
                  </a:cubicBezTo>
                  <a:cubicBezTo>
                    <a:pt x="566452" y="2148364"/>
                    <a:pt x="563689" y="2151127"/>
                    <a:pt x="560260" y="2151127"/>
                  </a:cubicBezTo>
                  <a:cubicBezTo>
                    <a:pt x="556831" y="2151127"/>
                    <a:pt x="554069" y="2148364"/>
                    <a:pt x="554069" y="2144935"/>
                  </a:cubicBezTo>
                  <a:cubicBezTo>
                    <a:pt x="554069" y="2141506"/>
                    <a:pt x="556831" y="2138744"/>
                    <a:pt x="560260" y="2138744"/>
                  </a:cubicBezTo>
                  <a:close/>
                  <a:moveTo>
                    <a:pt x="71818" y="2138744"/>
                  </a:moveTo>
                  <a:cubicBezTo>
                    <a:pt x="74921" y="2138744"/>
                    <a:pt x="77438" y="2141260"/>
                    <a:pt x="77438" y="2144364"/>
                  </a:cubicBezTo>
                  <a:cubicBezTo>
                    <a:pt x="77438" y="2147467"/>
                    <a:pt x="74921" y="2149983"/>
                    <a:pt x="71818" y="2149983"/>
                  </a:cubicBezTo>
                  <a:cubicBezTo>
                    <a:pt x="68714" y="2149983"/>
                    <a:pt x="66198" y="2147467"/>
                    <a:pt x="66198" y="2144364"/>
                  </a:cubicBezTo>
                  <a:cubicBezTo>
                    <a:pt x="66198" y="2141260"/>
                    <a:pt x="68714" y="2138744"/>
                    <a:pt x="71818" y="2138744"/>
                  </a:cubicBezTo>
                  <a:close/>
                  <a:moveTo>
                    <a:pt x="3284981" y="2138267"/>
                  </a:moveTo>
                  <a:cubicBezTo>
                    <a:pt x="3288410" y="2138267"/>
                    <a:pt x="3291172" y="2141029"/>
                    <a:pt x="3291172" y="2144458"/>
                  </a:cubicBezTo>
                  <a:cubicBezTo>
                    <a:pt x="3291172" y="2147887"/>
                    <a:pt x="3288410" y="2150650"/>
                    <a:pt x="3284981" y="2150650"/>
                  </a:cubicBezTo>
                  <a:cubicBezTo>
                    <a:pt x="3281552" y="2150650"/>
                    <a:pt x="3278790" y="2147887"/>
                    <a:pt x="3278790" y="2144458"/>
                  </a:cubicBezTo>
                  <a:cubicBezTo>
                    <a:pt x="3278790" y="2141029"/>
                    <a:pt x="3281552" y="2138267"/>
                    <a:pt x="3284981" y="2138267"/>
                  </a:cubicBezTo>
                  <a:close/>
                  <a:moveTo>
                    <a:pt x="186689" y="2136744"/>
                  </a:moveTo>
                  <a:cubicBezTo>
                    <a:pt x="190118" y="2136744"/>
                    <a:pt x="192880" y="2139506"/>
                    <a:pt x="192880" y="2142935"/>
                  </a:cubicBezTo>
                  <a:cubicBezTo>
                    <a:pt x="192880" y="2146364"/>
                    <a:pt x="190118" y="2149126"/>
                    <a:pt x="186689" y="2149126"/>
                  </a:cubicBezTo>
                  <a:cubicBezTo>
                    <a:pt x="183260" y="2149126"/>
                    <a:pt x="180498" y="2146364"/>
                    <a:pt x="180498" y="2142935"/>
                  </a:cubicBezTo>
                  <a:cubicBezTo>
                    <a:pt x="180498" y="2139506"/>
                    <a:pt x="183260" y="2136744"/>
                    <a:pt x="186689" y="2136744"/>
                  </a:cubicBezTo>
                  <a:close/>
                  <a:moveTo>
                    <a:pt x="3199637" y="2136648"/>
                  </a:moveTo>
                  <a:cubicBezTo>
                    <a:pt x="3203066" y="2136648"/>
                    <a:pt x="3205829" y="2139410"/>
                    <a:pt x="3205829" y="2142839"/>
                  </a:cubicBezTo>
                  <a:cubicBezTo>
                    <a:pt x="3205829" y="2146268"/>
                    <a:pt x="3203066" y="2149031"/>
                    <a:pt x="3199637" y="2149031"/>
                  </a:cubicBezTo>
                  <a:cubicBezTo>
                    <a:pt x="3196208" y="2149031"/>
                    <a:pt x="3193446" y="2146268"/>
                    <a:pt x="3193446" y="2142839"/>
                  </a:cubicBezTo>
                  <a:cubicBezTo>
                    <a:pt x="3193446" y="2139410"/>
                    <a:pt x="3196208" y="2136648"/>
                    <a:pt x="3199637" y="2136648"/>
                  </a:cubicBezTo>
                  <a:close/>
                  <a:moveTo>
                    <a:pt x="2160841" y="2136553"/>
                  </a:moveTo>
                  <a:cubicBezTo>
                    <a:pt x="2164270" y="2136553"/>
                    <a:pt x="2167032" y="2139315"/>
                    <a:pt x="2167032" y="2142744"/>
                  </a:cubicBezTo>
                  <a:cubicBezTo>
                    <a:pt x="2167032" y="2146173"/>
                    <a:pt x="2164270" y="2148936"/>
                    <a:pt x="2160841" y="2148936"/>
                  </a:cubicBezTo>
                  <a:cubicBezTo>
                    <a:pt x="2157412" y="2148936"/>
                    <a:pt x="2154650" y="2146173"/>
                    <a:pt x="2154650" y="2142744"/>
                  </a:cubicBezTo>
                  <a:cubicBezTo>
                    <a:pt x="2154650" y="2139315"/>
                    <a:pt x="2157412" y="2136553"/>
                    <a:pt x="2160841" y="2136553"/>
                  </a:cubicBezTo>
                  <a:close/>
                  <a:moveTo>
                    <a:pt x="300894" y="2136362"/>
                  </a:moveTo>
                  <a:cubicBezTo>
                    <a:pt x="304323" y="2136362"/>
                    <a:pt x="307086" y="2139124"/>
                    <a:pt x="307086" y="2142553"/>
                  </a:cubicBezTo>
                  <a:cubicBezTo>
                    <a:pt x="307086" y="2145982"/>
                    <a:pt x="304323" y="2148745"/>
                    <a:pt x="300894" y="2148745"/>
                  </a:cubicBezTo>
                  <a:cubicBezTo>
                    <a:pt x="297465" y="2148745"/>
                    <a:pt x="294703" y="2145982"/>
                    <a:pt x="294703" y="2142553"/>
                  </a:cubicBezTo>
                  <a:cubicBezTo>
                    <a:pt x="294703" y="2139124"/>
                    <a:pt x="297465" y="2136362"/>
                    <a:pt x="300894" y="2136362"/>
                  </a:cubicBezTo>
                  <a:close/>
                  <a:moveTo>
                    <a:pt x="3294888" y="2135791"/>
                  </a:moveTo>
                  <a:cubicBezTo>
                    <a:pt x="3295364" y="2135791"/>
                    <a:pt x="3295840" y="2136267"/>
                    <a:pt x="3295840" y="2136744"/>
                  </a:cubicBezTo>
                  <a:cubicBezTo>
                    <a:pt x="3295840" y="2137220"/>
                    <a:pt x="3295459" y="2137696"/>
                    <a:pt x="3294888" y="2137696"/>
                  </a:cubicBezTo>
                  <a:cubicBezTo>
                    <a:pt x="3294411" y="2137696"/>
                    <a:pt x="3293935" y="2137220"/>
                    <a:pt x="3293935" y="2136744"/>
                  </a:cubicBezTo>
                  <a:cubicBezTo>
                    <a:pt x="3293935" y="2136267"/>
                    <a:pt x="3294411" y="2135791"/>
                    <a:pt x="3294888" y="2135791"/>
                  </a:cubicBezTo>
                  <a:close/>
                  <a:moveTo>
                    <a:pt x="93725" y="2134838"/>
                  </a:moveTo>
                  <a:cubicBezTo>
                    <a:pt x="97154" y="2134838"/>
                    <a:pt x="99917" y="2137600"/>
                    <a:pt x="99917" y="2141029"/>
                  </a:cubicBezTo>
                  <a:cubicBezTo>
                    <a:pt x="99917" y="2144458"/>
                    <a:pt x="97154" y="2147221"/>
                    <a:pt x="93725" y="2147221"/>
                  </a:cubicBezTo>
                  <a:lnTo>
                    <a:pt x="89534" y="2143030"/>
                  </a:lnTo>
                  <a:lnTo>
                    <a:pt x="84295" y="2148269"/>
                  </a:lnTo>
                  <a:cubicBezTo>
                    <a:pt x="80866" y="2148269"/>
                    <a:pt x="78104" y="2145506"/>
                    <a:pt x="78104" y="2142077"/>
                  </a:cubicBezTo>
                  <a:cubicBezTo>
                    <a:pt x="78104" y="2138648"/>
                    <a:pt x="80866" y="2135886"/>
                    <a:pt x="84295" y="2135886"/>
                  </a:cubicBezTo>
                  <a:lnTo>
                    <a:pt x="88486" y="2140077"/>
                  </a:lnTo>
                  <a:close/>
                  <a:moveTo>
                    <a:pt x="105441" y="2133505"/>
                  </a:moveTo>
                  <a:cubicBezTo>
                    <a:pt x="108870" y="2133505"/>
                    <a:pt x="111633" y="2136267"/>
                    <a:pt x="111633" y="2139696"/>
                  </a:cubicBezTo>
                  <a:cubicBezTo>
                    <a:pt x="111633" y="2143125"/>
                    <a:pt x="108870" y="2145888"/>
                    <a:pt x="105441" y="2145888"/>
                  </a:cubicBezTo>
                  <a:cubicBezTo>
                    <a:pt x="102012" y="2145888"/>
                    <a:pt x="99250" y="2143125"/>
                    <a:pt x="99250" y="2139696"/>
                  </a:cubicBezTo>
                  <a:cubicBezTo>
                    <a:pt x="99250" y="2136267"/>
                    <a:pt x="102012" y="2133505"/>
                    <a:pt x="105441" y="2133505"/>
                  </a:cubicBezTo>
                  <a:close/>
                  <a:moveTo>
                    <a:pt x="3264312" y="2133029"/>
                  </a:moveTo>
                  <a:cubicBezTo>
                    <a:pt x="3267741" y="2133029"/>
                    <a:pt x="3270503" y="2135791"/>
                    <a:pt x="3270503" y="2139220"/>
                  </a:cubicBezTo>
                  <a:cubicBezTo>
                    <a:pt x="3270503" y="2142649"/>
                    <a:pt x="3267741" y="2145412"/>
                    <a:pt x="3264312" y="2145412"/>
                  </a:cubicBezTo>
                  <a:cubicBezTo>
                    <a:pt x="3260883" y="2145412"/>
                    <a:pt x="3258121" y="2142649"/>
                    <a:pt x="3258121" y="2139220"/>
                  </a:cubicBezTo>
                  <a:cubicBezTo>
                    <a:pt x="3258121" y="2135791"/>
                    <a:pt x="3260883" y="2133029"/>
                    <a:pt x="3264312" y="2133029"/>
                  </a:cubicBezTo>
                  <a:close/>
                  <a:moveTo>
                    <a:pt x="1117472" y="2130457"/>
                  </a:moveTo>
                  <a:cubicBezTo>
                    <a:pt x="1120901" y="2130457"/>
                    <a:pt x="1123664" y="2133219"/>
                    <a:pt x="1123664" y="2136648"/>
                  </a:cubicBezTo>
                  <a:cubicBezTo>
                    <a:pt x="1123664" y="2140077"/>
                    <a:pt x="1120901" y="2142840"/>
                    <a:pt x="1117472" y="2142840"/>
                  </a:cubicBezTo>
                  <a:cubicBezTo>
                    <a:pt x="1114043" y="2142840"/>
                    <a:pt x="1111281" y="2140077"/>
                    <a:pt x="1111281" y="2136648"/>
                  </a:cubicBezTo>
                  <a:cubicBezTo>
                    <a:pt x="1111281" y="2133219"/>
                    <a:pt x="1114043" y="2130457"/>
                    <a:pt x="1117472" y="2130457"/>
                  </a:cubicBezTo>
                  <a:close/>
                  <a:moveTo>
                    <a:pt x="2805874" y="2130076"/>
                  </a:moveTo>
                  <a:cubicBezTo>
                    <a:pt x="2809303" y="2130076"/>
                    <a:pt x="2812066" y="2132838"/>
                    <a:pt x="2812066" y="2136267"/>
                  </a:cubicBezTo>
                  <a:cubicBezTo>
                    <a:pt x="2812066" y="2139696"/>
                    <a:pt x="2809303" y="2142459"/>
                    <a:pt x="2805874" y="2142459"/>
                  </a:cubicBezTo>
                  <a:cubicBezTo>
                    <a:pt x="2802445" y="2142459"/>
                    <a:pt x="2799683" y="2139696"/>
                    <a:pt x="2799683" y="2136267"/>
                  </a:cubicBezTo>
                  <a:cubicBezTo>
                    <a:pt x="2799683" y="2132838"/>
                    <a:pt x="2802445" y="2130076"/>
                    <a:pt x="2805874" y="2130076"/>
                  </a:cubicBezTo>
                  <a:close/>
                  <a:moveTo>
                    <a:pt x="126587" y="2129790"/>
                  </a:moveTo>
                  <a:cubicBezTo>
                    <a:pt x="130016" y="2129790"/>
                    <a:pt x="132778" y="2132552"/>
                    <a:pt x="132778" y="2135981"/>
                  </a:cubicBezTo>
                  <a:cubicBezTo>
                    <a:pt x="132778" y="2139410"/>
                    <a:pt x="130016" y="2142173"/>
                    <a:pt x="126587" y="2142173"/>
                  </a:cubicBezTo>
                  <a:cubicBezTo>
                    <a:pt x="123158" y="2142173"/>
                    <a:pt x="120396" y="2139410"/>
                    <a:pt x="120396" y="2135981"/>
                  </a:cubicBezTo>
                  <a:cubicBezTo>
                    <a:pt x="120396" y="2132552"/>
                    <a:pt x="123158" y="2129790"/>
                    <a:pt x="126587" y="2129790"/>
                  </a:cubicBezTo>
                  <a:close/>
                  <a:moveTo>
                    <a:pt x="3156870" y="2128457"/>
                  </a:moveTo>
                  <a:cubicBezTo>
                    <a:pt x="3160299" y="2128457"/>
                    <a:pt x="3163061" y="2131219"/>
                    <a:pt x="3163061" y="2134648"/>
                  </a:cubicBezTo>
                  <a:cubicBezTo>
                    <a:pt x="3163061" y="2138077"/>
                    <a:pt x="3160299" y="2140840"/>
                    <a:pt x="3156870" y="2140840"/>
                  </a:cubicBezTo>
                  <a:cubicBezTo>
                    <a:pt x="3153441" y="2140840"/>
                    <a:pt x="3150679" y="2138077"/>
                    <a:pt x="3150679" y="2134648"/>
                  </a:cubicBezTo>
                  <a:cubicBezTo>
                    <a:pt x="3150679" y="2131219"/>
                    <a:pt x="3153441" y="2128457"/>
                    <a:pt x="3156870" y="2128457"/>
                  </a:cubicBezTo>
                  <a:close/>
                  <a:moveTo>
                    <a:pt x="3241833" y="2128171"/>
                  </a:moveTo>
                  <a:lnTo>
                    <a:pt x="3247405" y="2133743"/>
                  </a:lnTo>
                  <a:lnTo>
                    <a:pt x="3251167" y="2129981"/>
                  </a:lnTo>
                  <a:cubicBezTo>
                    <a:pt x="3254596" y="2129981"/>
                    <a:pt x="3257359" y="2132743"/>
                    <a:pt x="3257359" y="2136172"/>
                  </a:cubicBezTo>
                  <a:cubicBezTo>
                    <a:pt x="3257359" y="2139601"/>
                    <a:pt x="3254596" y="2142364"/>
                    <a:pt x="3251167" y="2142364"/>
                  </a:cubicBezTo>
                  <a:lnTo>
                    <a:pt x="3245595" y="2136792"/>
                  </a:lnTo>
                  <a:lnTo>
                    <a:pt x="3241833" y="2140554"/>
                  </a:lnTo>
                  <a:cubicBezTo>
                    <a:pt x="3238404" y="2140554"/>
                    <a:pt x="3235642" y="2137791"/>
                    <a:pt x="3235642" y="2134362"/>
                  </a:cubicBezTo>
                  <a:cubicBezTo>
                    <a:pt x="3235642" y="2130933"/>
                    <a:pt x="3238404" y="2128171"/>
                    <a:pt x="3241833" y="2128171"/>
                  </a:cubicBezTo>
                  <a:close/>
                  <a:moveTo>
                    <a:pt x="3050476" y="2127790"/>
                  </a:moveTo>
                  <a:cubicBezTo>
                    <a:pt x="3053905" y="2127790"/>
                    <a:pt x="3056668" y="2130552"/>
                    <a:pt x="3056668" y="2133981"/>
                  </a:cubicBezTo>
                  <a:cubicBezTo>
                    <a:pt x="3056668" y="2137410"/>
                    <a:pt x="3053905" y="2140172"/>
                    <a:pt x="3050476" y="2140172"/>
                  </a:cubicBezTo>
                  <a:cubicBezTo>
                    <a:pt x="3047047" y="2140172"/>
                    <a:pt x="3044285" y="2137410"/>
                    <a:pt x="3044285" y="2133981"/>
                  </a:cubicBezTo>
                  <a:cubicBezTo>
                    <a:pt x="3044285" y="2130552"/>
                    <a:pt x="3047047" y="2127790"/>
                    <a:pt x="3050476" y="2127790"/>
                  </a:cubicBezTo>
                  <a:close/>
                  <a:moveTo>
                    <a:pt x="3230974" y="2126171"/>
                  </a:moveTo>
                  <a:cubicBezTo>
                    <a:pt x="3234403" y="2126171"/>
                    <a:pt x="3237165" y="2128933"/>
                    <a:pt x="3237165" y="2132362"/>
                  </a:cubicBezTo>
                  <a:cubicBezTo>
                    <a:pt x="3237165" y="2135791"/>
                    <a:pt x="3234403" y="2138553"/>
                    <a:pt x="3230974" y="2138553"/>
                  </a:cubicBezTo>
                  <a:cubicBezTo>
                    <a:pt x="3227545" y="2138553"/>
                    <a:pt x="3224783" y="2135791"/>
                    <a:pt x="3224783" y="2132362"/>
                  </a:cubicBezTo>
                  <a:cubicBezTo>
                    <a:pt x="3224783" y="2128933"/>
                    <a:pt x="3227545" y="2126171"/>
                    <a:pt x="3230974" y="2126171"/>
                  </a:cubicBezTo>
                  <a:close/>
                  <a:moveTo>
                    <a:pt x="3271932" y="2123790"/>
                  </a:moveTo>
                  <a:cubicBezTo>
                    <a:pt x="3275361" y="2123790"/>
                    <a:pt x="3278124" y="2126552"/>
                    <a:pt x="3278124" y="2129981"/>
                  </a:cubicBezTo>
                  <a:cubicBezTo>
                    <a:pt x="3278124" y="2133410"/>
                    <a:pt x="3275361" y="2136172"/>
                    <a:pt x="3271932" y="2136172"/>
                  </a:cubicBezTo>
                  <a:cubicBezTo>
                    <a:pt x="3268503" y="2136172"/>
                    <a:pt x="3265741" y="2133410"/>
                    <a:pt x="3265741" y="2129981"/>
                  </a:cubicBezTo>
                  <a:cubicBezTo>
                    <a:pt x="3265741" y="2126552"/>
                    <a:pt x="3268503" y="2123790"/>
                    <a:pt x="3271932" y="2123790"/>
                  </a:cubicBezTo>
                  <a:close/>
                  <a:moveTo>
                    <a:pt x="2274474" y="2123313"/>
                  </a:moveTo>
                  <a:cubicBezTo>
                    <a:pt x="2277903" y="2123313"/>
                    <a:pt x="2280666" y="2126075"/>
                    <a:pt x="2280666" y="2129504"/>
                  </a:cubicBezTo>
                  <a:cubicBezTo>
                    <a:pt x="2280666" y="2132933"/>
                    <a:pt x="2277903" y="2135696"/>
                    <a:pt x="2274474" y="2135696"/>
                  </a:cubicBezTo>
                  <a:cubicBezTo>
                    <a:pt x="2271045" y="2135696"/>
                    <a:pt x="2268283" y="2132933"/>
                    <a:pt x="2268283" y="2129504"/>
                  </a:cubicBezTo>
                  <a:cubicBezTo>
                    <a:pt x="2268283" y="2126075"/>
                    <a:pt x="2271045" y="2123313"/>
                    <a:pt x="2274474" y="2123313"/>
                  </a:cubicBezTo>
                  <a:close/>
                  <a:moveTo>
                    <a:pt x="498252" y="2122742"/>
                  </a:moveTo>
                  <a:cubicBezTo>
                    <a:pt x="501681" y="2122742"/>
                    <a:pt x="504443" y="2125504"/>
                    <a:pt x="504443" y="2128933"/>
                  </a:cubicBezTo>
                  <a:cubicBezTo>
                    <a:pt x="504443" y="2132362"/>
                    <a:pt x="501681" y="2135124"/>
                    <a:pt x="498252" y="2135124"/>
                  </a:cubicBezTo>
                  <a:cubicBezTo>
                    <a:pt x="494823" y="2135124"/>
                    <a:pt x="492061" y="2132362"/>
                    <a:pt x="492061" y="2128933"/>
                  </a:cubicBezTo>
                  <a:cubicBezTo>
                    <a:pt x="492061" y="2125504"/>
                    <a:pt x="494823" y="2122742"/>
                    <a:pt x="498252" y="2122742"/>
                  </a:cubicBezTo>
                  <a:close/>
                  <a:moveTo>
                    <a:pt x="87534" y="2122551"/>
                  </a:moveTo>
                  <a:cubicBezTo>
                    <a:pt x="90963" y="2122551"/>
                    <a:pt x="93726" y="2125313"/>
                    <a:pt x="93726" y="2128742"/>
                  </a:cubicBezTo>
                  <a:cubicBezTo>
                    <a:pt x="93726" y="2132171"/>
                    <a:pt x="90963" y="2134934"/>
                    <a:pt x="87534" y="2134934"/>
                  </a:cubicBezTo>
                  <a:lnTo>
                    <a:pt x="84057" y="2131457"/>
                  </a:lnTo>
                  <a:lnTo>
                    <a:pt x="78199" y="2137316"/>
                  </a:lnTo>
                  <a:cubicBezTo>
                    <a:pt x="74770" y="2137316"/>
                    <a:pt x="72008" y="2134553"/>
                    <a:pt x="72008" y="2131124"/>
                  </a:cubicBezTo>
                  <a:cubicBezTo>
                    <a:pt x="72008" y="2127695"/>
                    <a:pt x="74770" y="2124933"/>
                    <a:pt x="78199" y="2124933"/>
                  </a:cubicBezTo>
                  <a:lnTo>
                    <a:pt x="81675" y="2128410"/>
                  </a:lnTo>
                  <a:close/>
                  <a:moveTo>
                    <a:pt x="3211924" y="2122075"/>
                  </a:moveTo>
                  <a:cubicBezTo>
                    <a:pt x="3215353" y="2122075"/>
                    <a:pt x="3218115" y="2124837"/>
                    <a:pt x="3218115" y="2128266"/>
                  </a:cubicBezTo>
                  <a:cubicBezTo>
                    <a:pt x="3218115" y="2131695"/>
                    <a:pt x="3215353" y="2134458"/>
                    <a:pt x="3211924" y="2134458"/>
                  </a:cubicBezTo>
                  <a:cubicBezTo>
                    <a:pt x="3208495" y="2134458"/>
                    <a:pt x="3205733" y="2131695"/>
                    <a:pt x="3205733" y="2128266"/>
                  </a:cubicBezTo>
                  <a:cubicBezTo>
                    <a:pt x="3205733" y="2124837"/>
                    <a:pt x="3208495" y="2122075"/>
                    <a:pt x="3211924" y="2122075"/>
                  </a:cubicBezTo>
                  <a:close/>
                  <a:moveTo>
                    <a:pt x="166115" y="2121408"/>
                  </a:moveTo>
                  <a:cubicBezTo>
                    <a:pt x="169544" y="2121408"/>
                    <a:pt x="172306" y="2124170"/>
                    <a:pt x="172306" y="2127599"/>
                  </a:cubicBezTo>
                  <a:cubicBezTo>
                    <a:pt x="172306" y="2131028"/>
                    <a:pt x="169544" y="2133790"/>
                    <a:pt x="166115" y="2133790"/>
                  </a:cubicBezTo>
                  <a:cubicBezTo>
                    <a:pt x="162686" y="2133790"/>
                    <a:pt x="159924" y="2131028"/>
                    <a:pt x="159924" y="2127599"/>
                  </a:cubicBezTo>
                  <a:cubicBezTo>
                    <a:pt x="159924" y="2124170"/>
                    <a:pt x="162686" y="2121408"/>
                    <a:pt x="166115" y="2121408"/>
                  </a:cubicBezTo>
                  <a:close/>
                  <a:moveTo>
                    <a:pt x="265937" y="2120456"/>
                  </a:moveTo>
                  <a:cubicBezTo>
                    <a:pt x="269366" y="2120456"/>
                    <a:pt x="272128" y="2123218"/>
                    <a:pt x="272128" y="2126647"/>
                  </a:cubicBezTo>
                  <a:cubicBezTo>
                    <a:pt x="272128" y="2130076"/>
                    <a:pt x="269366" y="2132839"/>
                    <a:pt x="265937" y="2132839"/>
                  </a:cubicBezTo>
                  <a:cubicBezTo>
                    <a:pt x="262508" y="2132839"/>
                    <a:pt x="259746" y="2130076"/>
                    <a:pt x="259746" y="2126647"/>
                  </a:cubicBezTo>
                  <a:cubicBezTo>
                    <a:pt x="259746" y="2123218"/>
                    <a:pt x="262508" y="2120456"/>
                    <a:pt x="265937" y="2120456"/>
                  </a:cubicBezTo>
                  <a:close/>
                  <a:moveTo>
                    <a:pt x="97631" y="2120075"/>
                  </a:moveTo>
                  <a:cubicBezTo>
                    <a:pt x="101060" y="2120075"/>
                    <a:pt x="103822" y="2122837"/>
                    <a:pt x="103822" y="2126266"/>
                  </a:cubicBezTo>
                  <a:cubicBezTo>
                    <a:pt x="103822" y="2129695"/>
                    <a:pt x="101060" y="2132457"/>
                    <a:pt x="97631" y="2132457"/>
                  </a:cubicBezTo>
                  <a:cubicBezTo>
                    <a:pt x="94202" y="2132457"/>
                    <a:pt x="91440" y="2129695"/>
                    <a:pt x="91440" y="2126266"/>
                  </a:cubicBezTo>
                  <a:cubicBezTo>
                    <a:pt x="91440" y="2122837"/>
                    <a:pt x="94202" y="2120075"/>
                    <a:pt x="97631" y="2120075"/>
                  </a:cubicBezTo>
                  <a:close/>
                  <a:moveTo>
                    <a:pt x="3257359" y="2119313"/>
                  </a:moveTo>
                  <a:cubicBezTo>
                    <a:pt x="3260788" y="2119313"/>
                    <a:pt x="3263551" y="2122075"/>
                    <a:pt x="3263551" y="2125504"/>
                  </a:cubicBezTo>
                  <a:cubicBezTo>
                    <a:pt x="3263551" y="2128933"/>
                    <a:pt x="3260788" y="2131695"/>
                    <a:pt x="3257359" y="2131695"/>
                  </a:cubicBezTo>
                  <a:cubicBezTo>
                    <a:pt x="3253930" y="2131695"/>
                    <a:pt x="3251168" y="2128933"/>
                    <a:pt x="3251168" y="2125504"/>
                  </a:cubicBezTo>
                  <a:cubicBezTo>
                    <a:pt x="3251168" y="2122075"/>
                    <a:pt x="3253930" y="2119313"/>
                    <a:pt x="3257359" y="2119313"/>
                  </a:cubicBezTo>
                  <a:close/>
                  <a:moveTo>
                    <a:pt x="1007840" y="2116836"/>
                  </a:moveTo>
                  <a:cubicBezTo>
                    <a:pt x="1011269" y="2116836"/>
                    <a:pt x="1014031" y="2119598"/>
                    <a:pt x="1014031" y="2123027"/>
                  </a:cubicBezTo>
                  <a:cubicBezTo>
                    <a:pt x="1014031" y="2126456"/>
                    <a:pt x="1011269" y="2129219"/>
                    <a:pt x="1007840" y="2129219"/>
                  </a:cubicBezTo>
                  <a:cubicBezTo>
                    <a:pt x="1004411" y="2129219"/>
                    <a:pt x="1001649" y="2126456"/>
                    <a:pt x="1001649" y="2123027"/>
                  </a:cubicBezTo>
                  <a:cubicBezTo>
                    <a:pt x="1001649" y="2119598"/>
                    <a:pt x="1004411" y="2116836"/>
                    <a:pt x="1007840" y="2116836"/>
                  </a:cubicBezTo>
                  <a:close/>
                  <a:moveTo>
                    <a:pt x="3247739" y="2116265"/>
                  </a:moveTo>
                  <a:cubicBezTo>
                    <a:pt x="3251168" y="2116265"/>
                    <a:pt x="3253930" y="2119027"/>
                    <a:pt x="3253930" y="2122456"/>
                  </a:cubicBezTo>
                  <a:cubicBezTo>
                    <a:pt x="3253930" y="2125885"/>
                    <a:pt x="3251168" y="2128648"/>
                    <a:pt x="3247739" y="2128648"/>
                  </a:cubicBezTo>
                  <a:cubicBezTo>
                    <a:pt x="3244310" y="2128648"/>
                    <a:pt x="3241548" y="2125885"/>
                    <a:pt x="3241548" y="2122456"/>
                  </a:cubicBezTo>
                  <a:cubicBezTo>
                    <a:pt x="3241548" y="2119027"/>
                    <a:pt x="3244310" y="2116265"/>
                    <a:pt x="3247739" y="2116265"/>
                  </a:cubicBezTo>
                  <a:close/>
                  <a:moveTo>
                    <a:pt x="115061" y="2115503"/>
                  </a:moveTo>
                  <a:cubicBezTo>
                    <a:pt x="118490" y="2115503"/>
                    <a:pt x="121252" y="2118265"/>
                    <a:pt x="121252" y="2121694"/>
                  </a:cubicBezTo>
                  <a:cubicBezTo>
                    <a:pt x="121252" y="2125123"/>
                    <a:pt x="118490" y="2127886"/>
                    <a:pt x="115061" y="2127886"/>
                  </a:cubicBezTo>
                  <a:cubicBezTo>
                    <a:pt x="111632" y="2127886"/>
                    <a:pt x="108870" y="2125123"/>
                    <a:pt x="108870" y="2121694"/>
                  </a:cubicBezTo>
                  <a:cubicBezTo>
                    <a:pt x="108870" y="2118265"/>
                    <a:pt x="111632" y="2115503"/>
                    <a:pt x="115061" y="2115503"/>
                  </a:cubicBezTo>
                  <a:close/>
                  <a:moveTo>
                    <a:pt x="3279933" y="2115026"/>
                  </a:moveTo>
                  <a:cubicBezTo>
                    <a:pt x="3283362" y="2115026"/>
                    <a:pt x="3286124" y="2117788"/>
                    <a:pt x="3286124" y="2121217"/>
                  </a:cubicBezTo>
                  <a:cubicBezTo>
                    <a:pt x="3286124" y="2124646"/>
                    <a:pt x="3283362" y="2127409"/>
                    <a:pt x="3279933" y="2127409"/>
                  </a:cubicBezTo>
                  <a:cubicBezTo>
                    <a:pt x="3276504" y="2127409"/>
                    <a:pt x="3273742" y="2124646"/>
                    <a:pt x="3273742" y="2121217"/>
                  </a:cubicBezTo>
                  <a:cubicBezTo>
                    <a:pt x="3273742" y="2117788"/>
                    <a:pt x="3276504" y="2115026"/>
                    <a:pt x="3279933" y="2115026"/>
                  </a:cubicBezTo>
                  <a:close/>
                  <a:moveTo>
                    <a:pt x="71913" y="2114550"/>
                  </a:moveTo>
                  <a:cubicBezTo>
                    <a:pt x="75342" y="2114550"/>
                    <a:pt x="78104" y="2117312"/>
                    <a:pt x="78104" y="2120741"/>
                  </a:cubicBezTo>
                  <a:cubicBezTo>
                    <a:pt x="78104" y="2124170"/>
                    <a:pt x="75342" y="2126932"/>
                    <a:pt x="71913" y="2126932"/>
                  </a:cubicBezTo>
                  <a:cubicBezTo>
                    <a:pt x="68484" y="2126932"/>
                    <a:pt x="65722" y="2124170"/>
                    <a:pt x="65722" y="2120741"/>
                  </a:cubicBezTo>
                  <a:cubicBezTo>
                    <a:pt x="65722" y="2117312"/>
                    <a:pt x="68484" y="2114550"/>
                    <a:pt x="71913" y="2114550"/>
                  </a:cubicBezTo>
                  <a:close/>
                  <a:moveTo>
                    <a:pt x="2864738" y="2114360"/>
                  </a:moveTo>
                  <a:cubicBezTo>
                    <a:pt x="2868167" y="2114360"/>
                    <a:pt x="2870930" y="2117122"/>
                    <a:pt x="2870930" y="2120551"/>
                  </a:cubicBezTo>
                  <a:cubicBezTo>
                    <a:pt x="2870930" y="2123980"/>
                    <a:pt x="2868167" y="2126743"/>
                    <a:pt x="2864738" y="2126743"/>
                  </a:cubicBezTo>
                  <a:cubicBezTo>
                    <a:pt x="2861309" y="2126743"/>
                    <a:pt x="2858547" y="2123980"/>
                    <a:pt x="2858547" y="2120551"/>
                  </a:cubicBezTo>
                  <a:cubicBezTo>
                    <a:pt x="2858547" y="2117122"/>
                    <a:pt x="2861309" y="2114360"/>
                    <a:pt x="2864738" y="2114360"/>
                  </a:cubicBezTo>
                  <a:close/>
                  <a:moveTo>
                    <a:pt x="3175920" y="2113407"/>
                  </a:moveTo>
                  <a:cubicBezTo>
                    <a:pt x="3179349" y="2113407"/>
                    <a:pt x="3182111" y="2116169"/>
                    <a:pt x="3182111" y="2119598"/>
                  </a:cubicBezTo>
                  <a:cubicBezTo>
                    <a:pt x="3182111" y="2123027"/>
                    <a:pt x="3179349" y="2125790"/>
                    <a:pt x="3175920" y="2125790"/>
                  </a:cubicBezTo>
                  <a:cubicBezTo>
                    <a:pt x="3172491" y="2125790"/>
                    <a:pt x="3169729" y="2123027"/>
                    <a:pt x="3169729" y="2119598"/>
                  </a:cubicBezTo>
                  <a:cubicBezTo>
                    <a:pt x="3169729" y="2116169"/>
                    <a:pt x="3172491" y="2113407"/>
                    <a:pt x="3175920" y="2113407"/>
                  </a:cubicBezTo>
                  <a:close/>
                  <a:moveTo>
                    <a:pt x="3238309" y="2113121"/>
                  </a:moveTo>
                  <a:cubicBezTo>
                    <a:pt x="3241738" y="2113121"/>
                    <a:pt x="3244501" y="2115883"/>
                    <a:pt x="3244501" y="2119312"/>
                  </a:cubicBezTo>
                  <a:cubicBezTo>
                    <a:pt x="3244501" y="2122741"/>
                    <a:pt x="3241738" y="2125504"/>
                    <a:pt x="3238309" y="2125504"/>
                  </a:cubicBezTo>
                  <a:cubicBezTo>
                    <a:pt x="3234880" y="2125504"/>
                    <a:pt x="3232118" y="2122741"/>
                    <a:pt x="3232118" y="2119312"/>
                  </a:cubicBezTo>
                  <a:cubicBezTo>
                    <a:pt x="3232118" y="2115883"/>
                    <a:pt x="3234880" y="2113121"/>
                    <a:pt x="3238309" y="2113121"/>
                  </a:cubicBezTo>
                  <a:close/>
                  <a:moveTo>
                    <a:pt x="3083337" y="2112169"/>
                  </a:moveTo>
                  <a:cubicBezTo>
                    <a:pt x="3086766" y="2112169"/>
                    <a:pt x="3089528" y="2114931"/>
                    <a:pt x="3089528" y="2118360"/>
                  </a:cubicBezTo>
                  <a:cubicBezTo>
                    <a:pt x="3089528" y="2121789"/>
                    <a:pt x="3086766" y="2124551"/>
                    <a:pt x="3083337" y="2124551"/>
                  </a:cubicBezTo>
                  <a:cubicBezTo>
                    <a:pt x="3079908" y="2124551"/>
                    <a:pt x="3077146" y="2121789"/>
                    <a:pt x="3077146" y="2118360"/>
                  </a:cubicBezTo>
                  <a:cubicBezTo>
                    <a:pt x="3077146" y="2114931"/>
                    <a:pt x="3079908" y="2112169"/>
                    <a:pt x="3083337" y="2112169"/>
                  </a:cubicBezTo>
                  <a:close/>
                  <a:moveTo>
                    <a:pt x="81819" y="2110931"/>
                  </a:moveTo>
                  <a:cubicBezTo>
                    <a:pt x="85248" y="2110931"/>
                    <a:pt x="88010" y="2113693"/>
                    <a:pt x="88010" y="2117122"/>
                  </a:cubicBezTo>
                  <a:cubicBezTo>
                    <a:pt x="88010" y="2120551"/>
                    <a:pt x="85248" y="2123314"/>
                    <a:pt x="81819" y="2123314"/>
                  </a:cubicBezTo>
                  <a:cubicBezTo>
                    <a:pt x="78390" y="2123314"/>
                    <a:pt x="75628" y="2120551"/>
                    <a:pt x="75628" y="2117122"/>
                  </a:cubicBezTo>
                  <a:cubicBezTo>
                    <a:pt x="75628" y="2113693"/>
                    <a:pt x="78390" y="2110931"/>
                    <a:pt x="81819" y="2110931"/>
                  </a:cubicBezTo>
                  <a:close/>
                  <a:moveTo>
                    <a:pt x="2379535" y="2109407"/>
                  </a:moveTo>
                  <a:cubicBezTo>
                    <a:pt x="2382964" y="2109407"/>
                    <a:pt x="2385727" y="2112169"/>
                    <a:pt x="2385727" y="2115598"/>
                  </a:cubicBezTo>
                  <a:cubicBezTo>
                    <a:pt x="2385727" y="2119027"/>
                    <a:pt x="2382964" y="2121790"/>
                    <a:pt x="2379535" y="2121790"/>
                  </a:cubicBezTo>
                  <a:cubicBezTo>
                    <a:pt x="2376106" y="2121790"/>
                    <a:pt x="2373344" y="2119027"/>
                    <a:pt x="2373344" y="2115598"/>
                  </a:cubicBezTo>
                  <a:cubicBezTo>
                    <a:pt x="2373344" y="2112169"/>
                    <a:pt x="2376106" y="2109407"/>
                    <a:pt x="2379535" y="2109407"/>
                  </a:cubicBezTo>
                  <a:close/>
                  <a:moveTo>
                    <a:pt x="3263645" y="2109216"/>
                  </a:moveTo>
                  <a:cubicBezTo>
                    <a:pt x="3267074" y="2109216"/>
                    <a:pt x="3269837" y="2111978"/>
                    <a:pt x="3269837" y="2115407"/>
                  </a:cubicBezTo>
                  <a:cubicBezTo>
                    <a:pt x="3269837" y="2118836"/>
                    <a:pt x="3267074" y="2121599"/>
                    <a:pt x="3263645" y="2121599"/>
                  </a:cubicBezTo>
                  <a:cubicBezTo>
                    <a:pt x="3260216" y="2121599"/>
                    <a:pt x="3257454" y="2118836"/>
                    <a:pt x="3257454" y="2115407"/>
                  </a:cubicBezTo>
                  <a:cubicBezTo>
                    <a:pt x="3257454" y="2111978"/>
                    <a:pt x="3260216" y="2109216"/>
                    <a:pt x="3263645" y="2109216"/>
                  </a:cubicBezTo>
                  <a:close/>
                  <a:moveTo>
                    <a:pt x="3222688" y="2108169"/>
                  </a:moveTo>
                  <a:cubicBezTo>
                    <a:pt x="3226117" y="2108169"/>
                    <a:pt x="3228879" y="2110931"/>
                    <a:pt x="3228879" y="2114360"/>
                  </a:cubicBezTo>
                  <a:cubicBezTo>
                    <a:pt x="3228879" y="2117789"/>
                    <a:pt x="3226117" y="2120551"/>
                    <a:pt x="3222688" y="2120551"/>
                  </a:cubicBezTo>
                  <a:cubicBezTo>
                    <a:pt x="3219259" y="2120551"/>
                    <a:pt x="3216497" y="2117789"/>
                    <a:pt x="3216497" y="2114360"/>
                  </a:cubicBezTo>
                  <a:cubicBezTo>
                    <a:pt x="3216497" y="2110931"/>
                    <a:pt x="3219259" y="2108169"/>
                    <a:pt x="3222688" y="2108169"/>
                  </a:cubicBezTo>
                  <a:close/>
                  <a:moveTo>
                    <a:pt x="90773" y="2107311"/>
                  </a:moveTo>
                  <a:cubicBezTo>
                    <a:pt x="94202" y="2107311"/>
                    <a:pt x="96965" y="2110073"/>
                    <a:pt x="96965" y="2113502"/>
                  </a:cubicBezTo>
                  <a:cubicBezTo>
                    <a:pt x="96965" y="2116931"/>
                    <a:pt x="94202" y="2119694"/>
                    <a:pt x="90773" y="2119694"/>
                  </a:cubicBezTo>
                  <a:cubicBezTo>
                    <a:pt x="87344" y="2119694"/>
                    <a:pt x="84582" y="2116931"/>
                    <a:pt x="84582" y="2113502"/>
                  </a:cubicBezTo>
                  <a:cubicBezTo>
                    <a:pt x="84582" y="2110073"/>
                    <a:pt x="87344" y="2107311"/>
                    <a:pt x="90773" y="2107311"/>
                  </a:cubicBezTo>
                  <a:close/>
                  <a:moveTo>
                    <a:pt x="442054" y="2107216"/>
                  </a:moveTo>
                  <a:cubicBezTo>
                    <a:pt x="445483" y="2107216"/>
                    <a:pt x="448246" y="2109978"/>
                    <a:pt x="448246" y="2113407"/>
                  </a:cubicBezTo>
                  <a:cubicBezTo>
                    <a:pt x="448246" y="2116836"/>
                    <a:pt x="445483" y="2119599"/>
                    <a:pt x="442054" y="2119599"/>
                  </a:cubicBezTo>
                  <a:cubicBezTo>
                    <a:pt x="438625" y="2119599"/>
                    <a:pt x="435863" y="2116836"/>
                    <a:pt x="435863" y="2113407"/>
                  </a:cubicBezTo>
                  <a:cubicBezTo>
                    <a:pt x="435863" y="2109978"/>
                    <a:pt x="438625" y="2107216"/>
                    <a:pt x="442054" y="2107216"/>
                  </a:cubicBezTo>
                  <a:close/>
                  <a:moveTo>
                    <a:pt x="3288410" y="2106930"/>
                  </a:moveTo>
                  <a:cubicBezTo>
                    <a:pt x="3291839" y="2106930"/>
                    <a:pt x="3294602" y="2109692"/>
                    <a:pt x="3294602" y="2113121"/>
                  </a:cubicBezTo>
                  <a:cubicBezTo>
                    <a:pt x="3294602" y="2116550"/>
                    <a:pt x="3291839" y="2119313"/>
                    <a:pt x="3288410" y="2119313"/>
                  </a:cubicBezTo>
                  <a:cubicBezTo>
                    <a:pt x="3284981" y="2119313"/>
                    <a:pt x="3282219" y="2116550"/>
                    <a:pt x="3282219" y="2113121"/>
                  </a:cubicBezTo>
                  <a:cubicBezTo>
                    <a:pt x="3282219" y="2109692"/>
                    <a:pt x="3284981" y="2106930"/>
                    <a:pt x="3288410" y="2106930"/>
                  </a:cubicBezTo>
                  <a:close/>
                  <a:moveTo>
                    <a:pt x="148208" y="2106645"/>
                  </a:moveTo>
                  <a:cubicBezTo>
                    <a:pt x="151637" y="2106645"/>
                    <a:pt x="154399" y="2109407"/>
                    <a:pt x="154399" y="2112836"/>
                  </a:cubicBezTo>
                  <a:cubicBezTo>
                    <a:pt x="154399" y="2116265"/>
                    <a:pt x="151637" y="2119028"/>
                    <a:pt x="148208" y="2119028"/>
                  </a:cubicBezTo>
                  <a:cubicBezTo>
                    <a:pt x="144779" y="2119028"/>
                    <a:pt x="142017" y="2116265"/>
                    <a:pt x="142017" y="2112836"/>
                  </a:cubicBezTo>
                  <a:cubicBezTo>
                    <a:pt x="142017" y="2109407"/>
                    <a:pt x="144779" y="2106645"/>
                    <a:pt x="148208" y="2106645"/>
                  </a:cubicBezTo>
                  <a:close/>
                  <a:moveTo>
                    <a:pt x="234886" y="2105121"/>
                  </a:moveTo>
                  <a:cubicBezTo>
                    <a:pt x="238315" y="2105121"/>
                    <a:pt x="241077" y="2107883"/>
                    <a:pt x="241077" y="2111312"/>
                  </a:cubicBezTo>
                  <a:cubicBezTo>
                    <a:pt x="241077" y="2114741"/>
                    <a:pt x="238315" y="2117504"/>
                    <a:pt x="234886" y="2117504"/>
                  </a:cubicBezTo>
                  <a:cubicBezTo>
                    <a:pt x="231457" y="2117504"/>
                    <a:pt x="228695" y="2114741"/>
                    <a:pt x="228695" y="2111312"/>
                  </a:cubicBezTo>
                  <a:cubicBezTo>
                    <a:pt x="228695" y="2107883"/>
                    <a:pt x="231457" y="2105121"/>
                    <a:pt x="234886" y="2105121"/>
                  </a:cubicBezTo>
                  <a:close/>
                  <a:moveTo>
                    <a:pt x="3253358" y="2104930"/>
                  </a:moveTo>
                  <a:cubicBezTo>
                    <a:pt x="3256787" y="2104930"/>
                    <a:pt x="3259549" y="2107692"/>
                    <a:pt x="3259549" y="2111121"/>
                  </a:cubicBezTo>
                  <a:cubicBezTo>
                    <a:pt x="3259549" y="2114550"/>
                    <a:pt x="3256787" y="2117313"/>
                    <a:pt x="3253358" y="2117313"/>
                  </a:cubicBezTo>
                  <a:cubicBezTo>
                    <a:pt x="3249929" y="2117313"/>
                    <a:pt x="3247167" y="2114550"/>
                    <a:pt x="3247167" y="2111121"/>
                  </a:cubicBezTo>
                  <a:cubicBezTo>
                    <a:pt x="3247167" y="2107692"/>
                    <a:pt x="3249929" y="2104930"/>
                    <a:pt x="3253358" y="2104930"/>
                  </a:cubicBezTo>
                  <a:close/>
                  <a:moveTo>
                    <a:pt x="65531" y="2104835"/>
                  </a:moveTo>
                  <a:cubicBezTo>
                    <a:pt x="68960" y="2104835"/>
                    <a:pt x="71723" y="2107597"/>
                    <a:pt x="71723" y="2111026"/>
                  </a:cubicBezTo>
                  <a:cubicBezTo>
                    <a:pt x="71723" y="2114455"/>
                    <a:pt x="68960" y="2117218"/>
                    <a:pt x="65531" y="2117218"/>
                  </a:cubicBezTo>
                  <a:cubicBezTo>
                    <a:pt x="62102" y="2117218"/>
                    <a:pt x="59340" y="2114455"/>
                    <a:pt x="59340" y="2111026"/>
                  </a:cubicBezTo>
                  <a:cubicBezTo>
                    <a:pt x="59340" y="2107597"/>
                    <a:pt x="62102" y="2104835"/>
                    <a:pt x="65531" y="2104835"/>
                  </a:cubicBezTo>
                  <a:close/>
                  <a:moveTo>
                    <a:pt x="906589" y="2102834"/>
                  </a:moveTo>
                  <a:cubicBezTo>
                    <a:pt x="910018" y="2102834"/>
                    <a:pt x="912781" y="2105596"/>
                    <a:pt x="912781" y="2109025"/>
                  </a:cubicBezTo>
                  <a:cubicBezTo>
                    <a:pt x="912781" y="2112454"/>
                    <a:pt x="910018" y="2115217"/>
                    <a:pt x="906589" y="2115217"/>
                  </a:cubicBezTo>
                  <a:cubicBezTo>
                    <a:pt x="903160" y="2115217"/>
                    <a:pt x="900398" y="2112454"/>
                    <a:pt x="900398" y="2109025"/>
                  </a:cubicBezTo>
                  <a:cubicBezTo>
                    <a:pt x="900398" y="2105596"/>
                    <a:pt x="903160" y="2102834"/>
                    <a:pt x="906589" y="2102834"/>
                  </a:cubicBezTo>
                  <a:close/>
                  <a:moveTo>
                    <a:pt x="105060" y="2101882"/>
                  </a:moveTo>
                  <a:cubicBezTo>
                    <a:pt x="108489" y="2101882"/>
                    <a:pt x="111252" y="2104644"/>
                    <a:pt x="111252" y="2108073"/>
                  </a:cubicBezTo>
                  <a:cubicBezTo>
                    <a:pt x="111252" y="2111502"/>
                    <a:pt x="108489" y="2114265"/>
                    <a:pt x="105060" y="2114265"/>
                  </a:cubicBezTo>
                  <a:cubicBezTo>
                    <a:pt x="101631" y="2114265"/>
                    <a:pt x="98869" y="2111502"/>
                    <a:pt x="98869" y="2108073"/>
                  </a:cubicBezTo>
                  <a:cubicBezTo>
                    <a:pt x="98869" y="2104644"/>
                    <a:pt x="101631" y="2101882"/>
                    <a:pt x="105060" y="2101882"/>
                  </a:cubicBezTo>
                  <a:close/>
                  <a:moveTo>
                    <a:pt x="3244881" y="2100739"/>
                  </a:moveTo>
                  <a:cubicBezTo>
                    <a:pt x="3248310" y="2100739"/>
                    <a:pt x="3251073" y="2103501"/>
                    <a:pt x="3251073" y="2106930"/>
                  </a:cubicBezTo>
                  <a:cubicBezTo>
                    <a:pt x="3251073" y="2110359"/>
                    <a:pt x="3248310" y="2113122"/>
                    <a:pt x="3244881" y="2113122"/>
                  </a:cubicBezTo>
                  <a:cubicBezTo>
                    <a:pt x="3241452" y="2113122"/>
                    <a:pt x="3238690" y="2110359"/>
                    <a:pt x="3238690" y="2106930"/>
                  </a:cubicBezTo>
                  <a:cubicBezTo>
                    <a:pt x="3238690" y="2103501"/>
                    <a:pt x="3241452" y="2100739"/>
                    <a:pt x="3244881" y="2100739"/>
                  </a:cubicBezTo>
                  <a:close/>
                  <a:moveTo>
                    <a:pt x="76199" y="2099882"/>
                  </a:moveTo>
                  <a:cubicBezTo>
                    <a:pt x="79628" y="2099882"/>
                    <a:pt x="82390" y="2102644"/>
                    <a:pt x="82390" y="2106073"/>
                  </a:cubicBezTo>
                  <a:cubicBezTo>
                    <a:pt x="82390" y="2109502"/>
                    <a:pt x="79628" y="2112265"/>
                    <a:pt x="76199" y="2112265"/>
                  </a:cubicBezTo>
                  <a:cubicBezTo>
                    <a:pt x="72770" y="2112265"/>
                    <a:pt x="70008" y="2109502"/>
                    <a:pt x="70008" y="2106073"/>
                  </a:cubicBezTo>
                  <a:cubicBezTo>
                    <a:pt x="70008" y="2102644"/>
                    <a:pt x="72770" y="2099882"/>
                    <a:pt x="76199" y="2099882"/>
                  </a:cubicBezTo>
                  <a:close/>
                  <a:moveTo>
                    <a:pt x="3297460" y="2099787"/>
                  </a:moveTo>
                  <a:cubicBezTo>
                    <a:pt x="3300563" y="2099787"/>
                    <a:pt x="3303079" y="2102303"/>
                    <a:pt x="3303079" y="2105407"/>
                  </a:cubicBezTo>
                  <a:cubicBezTo>
                    <a:pt x="3303079" y="2108510"/>
                    <a:pt x="3300563" y="2111026"/>
                    <a:pt x="3297460" y="2111026"/>
                  </a:cubicBezTo>
                  <a:cubicBezTo>
                    <a:pt x="3294356" y="2111026"/>
                    <a:pt x="3291840" y="2108510"/>
                    <a:pt x="3291840" y="2105407"/>
                  </a:cubicBezTo>
                  <a:cubicBezTo>
                    <a:pt x="3291840" y="2102303"/>
                    <a:pt x="3294356" y="2099787"/>
                    <a:pt x="3297460" y="2099787"/>
                  </a:cubicBezTo>
                  <a:close/>
                  <a:moveTo>
                    <a:pt x="3270122" y="2099787"/>
                  </a:moveTo>
                  <a:cubicBezTo>
                    <a:pt x="3273551" y="2099787"/>
                    <a:pt x="3276313" y="2102549"/>
                    <a:pt x="3276313" y="2105978"/>
                  </a:cubicBezTo>
                  <a:cubicBezTo>
                    <a:pt x="3276313" y="2109407"/>
                    <a:pt x="3273551" y="2112170"/>
                    <a:pt x="3270122" y="2112170"/>
                  </a:cubicBezTo>
                  <a:cubicBezTo>
                    <a:pt x="3266693" y="2112170"/>
                    <a:pt x="3263931" y="2109407"/>
                    <a:pt x="3263931" y="2105978"/>
                  </a:cubicBezTo>
                  <a:cubicBezTo>
                    <a:pt x="3263931" y="2102549"/>
                    <a:pt x="3266693" y="2099787"/>
                    <a:pt x="3270122" y="2099787"/>
                  </a:cubicBezTo>
                  <a:close/>
                  <a:moveTo>
                    <a:pt x="3192684" y="2099025"/>
                  </a:moveTo>
                  <a:cubicBezTo>
                    <a:pt x="3196113" y="2099025"/>
                    <a:pt x="3198875" y="2101787"/>
                    <a:pt x="3198875" y="2105216"/>
                  </a:cubicBezTo>
                  <a:cubicBezTo>
                    <a:pt x="3198875" y="2108645"/>
                    <a:pt x="3196113" y="2111408"/>
                    <a:pt x="3192684" y="2111408"/>
                  </a:cubicBezTo>
                  <a:cubicBezTo>
                    <a:pt x="3189255" y="2111408"/>
                    <a:pt x="3186493" y="2108645"/>
                    <a:pt x="3186493" y="2105216"/>
                  </a:cubicBezTo>
                  <a:cubicBezTo>
                    <a:pt x="3186493" y="2101787"/>
                    <a:pt x="3189255" y="2099025"/>
                    <a:pt x="3192684" y="2099025"/>
                  </a:cubicBezTo>
                  <a:close/>
                  <a:moveTo>
                    <a:pt x="2917983" y="2099025"/>
                  </a:moveTo>
                  <a:cubicBezTo>
                    <a:pt x="2921412" y="2099025"/>
                    <a:pt x="2924174" y="2101787"/>
                    <a:pt x="2924174" y="2105216"/>
                  </a:cubicBezTo>
                  <a:cubicBezTo>
                    <a:pt x="2924174" y="2108645"/>
                    <a:pt x="2921412" y="2111408"/>
                    <a:pt x="2917983" y="2111408"/>
                  </a:cubicBezTo>
                  <a:cubicBezTo>
                    <a:pt x="2914554" y="2111408"/>
                    <a:pt x="2911792" y="2108645"/>
                    <a:pt x="2911792" y="2105216"/>
                  </a:cubicBezTo>
                  <a:cubicBezTo>
                    <a:pt x="2911792" y="2101787"/>
                    <a:pt x="2914554" y="2099025"/>
                    <a:pt x="2917983" y="2099025"/>
                  </a:cubicBezTo>
                  <a:close/>
                  <a:moveTo>
                    <a:pt x="58864" y="2097596"/>
                  </a:moveTo>
                  <a:cubicBezTo>
                    <a:pt x="61126" y="2097596"/>
                    <a:pt x="62960" y="2099430"/>
                    <a:pt x="62960" y="2101692"/>
                  </a:cubicBezTo>
                  <a:cubicBezTo>
                    <a:pt x="62960" y="2103954"/>
                    <a:pt x="61126" y="2105787"/>
                    <a:pt x="58864" y="2105787"/>
                  </a:cubicBezTo>
                  <a:cubicBezTo>
                    <a:pt x="56602" y="2105787"/>
                    <a:pt x="54768" y="2103954"/>
                    <a:pt x="54768" y="2101692"/>
                  </a:cubicBezTo>
                  <a:cubicBezTo>
                    <a:pt x="54768" y="2099430"/>
                    <a:pt x="56602" y="2097596"/>
                    <a:pt x="58864" y="2097596"/>
                  </a:cubicBezTo>
                  <a:close/>
                  <a:moveTo>
                    <a:pt x="3112483" y="2097215"/>
                  </a:moveTo>
                  <a:cubicBezTo>
                    <a:pt x="3115912" y="2097215"/>
                    <a:pt x="3118675" y="2099977"/>
                    <a:pt x="3118675" y="2103406"/>
                  </a:cubicBezTo>
                  <a:cubicBezTo>
                    <a:pt x="3118675" y="2106835"/>
                    <a:pt x="3115912" y="2109598"/>
                    <a:pt x="3112483" y="2109598"/>
                  </a:cubicBezTo>
                  <a:cubicBezTo>
                    <a:pt x="3109054" y="2109598"/>
                    <a:pt x="3106292" y="2106835"/>
                    <a:pt x="3106292" y="2103406"/>
                  </a:cubicBezTo>
                  <a:cubicBezTo>
                    <a:pt x="3106292" y="2099977"/>
                    <a:pt x="3109054" y="2097215"/>
                    <a:pt x="3112483" y="2097215"/>
                  </a:cubicBezTo>
                  <a:close/>
                  <a:moveTo>
                    <a:pt x="2476499" y="2095215"/>
                  </a:moveTo>
                  <a:cubicBezTo>
                    <a:pt x="2479928" y="2095215"/>
                    <a:pt x="2482690" y="2097977"/>
                    <a:pt x="2482690" y="2101406"/>
                  </a:cubicBezTo>
                  <a:cubicBezTo>
                    <a:pt x="2482690" y="2104835"/>
                    <a:pt x="2479928" y="2107597"/>
                    <a:pt x="2476499" y="2107597"/>
                  </a:cubicBezTo>
                  <a:cubicBezTo>
                    <a:pt x="2473070" y="2107597"/>
                    <a:pt x="2470308" y="2104835"/>
                    <a:pt x="2470308" y="2101406"/>
                  </a:cubicBezTo>
                  <a:cubicBezTo>
                    <a:pt x="2470308" y="2097977"/>
                    <a:pt x="2473070" y="2095215"/>
                    <a:pt x="2476499" y="2095215"/>
                  </a:cubicBezTo>
                  <a:close/>
                  <a:moveTo>
                    <a:pt x="84486" y="2095119"/>
                  </a:moveTo>
                  <a:cubicBezTo>
                    <a:pt x="87915" y="2095119"/>
                    <a:pt x="90678" y="2097881"/>
                    <a:pt x="90678" y="2101310"/>
                  </a:cubicBezTo>
                  <a:cubicBezTo>
                    <a:pt x="90678" y="2104739"/>
                    <a:pt x="87915" y="2107502"/>
                    <a:pt x="84486" y="2107502"/>
                  </a:cubicBezTo>
                  <a:cubicBezTo>
                    <a:pt x="81057" y="2107502"/>
                    <a:pt x="78295" y="2104739"/>
                    <a:pt x="78295" y="2101310"/>
                  </a:cubicBezTo>
                  <a:cubicBezTo>
                    <a:pt x="78295" y="2097881"/>
                    <a:pt x="81057" y="2095119"/>
                    <a:pt x="84486" y="2095119"/>
                  </a:cubicBezTo>
                  <a:close/>
                  <a:moveTo>
                    <a:pt x="3232022" y="2094833"/>
                  </a:moveTo>
                  <a:cubicBezTo>
                    <a:pt x="3235451" y="2094833"/>
                    <a:pt x="3238213" y="2097595"/>
                    <a:pt x="3238213" y="2101024"/>
                  </a:cubicBezTo>
                  <a:cubicBezTo>
                    <a:pt x="3238213" y="2104453"/>
                    <a:pt x="3235451" y="2107216"/>
                    <a:pt x="3232022" y="2107216"/>
                  </a:cubicBezTo>
                  <a:cubicBezTo>
                    <a:pt x="3228593" y="2107216"/>
                    <a:pt x="3225831" y="2104453"/>
                    <a:pt x="3225831" y="2101024"/>
                  </a:cubicBezTo>
                  <a:cubicBezTo>
                    <a:pt x="3225831" y="2097595"/>
                    <a:pt x="3228593" y="2094833"/>
                    <a:pt x="3232022" y="2094833"/>
                  </a:cubicBezTo>
                  <a:close/>
                  <a:moveTo>
                    <a:pt x="3258978" y="2094167"/>
                  </a:moveTo>
                  <a:cubicBezTo>
                    <a:pt x="3262407" y="2094167"/>
                    <a:pt x="3265169" y="2096929"/>
                    <a:pt x="3265169" y="2100358"/>
                  </a:cubicBezTo>
                  <a:cubicBezTo>
                    <a:pt x="3265169" y="2103787"/>
                    <a:pt x="3262407" y="2106549"/>
                    <a:pt x="3258978" y="2106549"/>
                  </a:cubicBezTo>
                  <a:cubicBezTo>
                    <a:pt x="3255549" y="2106549"/>
                    <a:pt x="3252787" y="2103787"/>
                    <a:pt x="3252787" y="2100358"/>
                  </a:cubicBezTo>
                  <a:cubicBezTo>
                    <a:pt x="3252787" y="2096929"/>
                    <a:pt x="3255549" y="2094167"/>
                    <a:pt x="3258978" y="2094167"/>
                  </a:cubicBezTo>
                  <a:close/>
                  <a:moveTo>
                    <a:pt x="132492" y="2092452"/>
                  </a:moveTo>
                  <a:cubicBezTo>
                    <a:pt x="135921" y="2092452"/>
                    <a:pt x="138684" y="2095214"/>
                    <a:pt x="138684" y="2098643"/>
                  </a:cubicBezTo>
                  <a:cubicBezTo>
                    <a:pt x="138684" y="2102072"/>
                    <a:pt x="135921" y="2104835"/>
                    <a:pt x="132492" y="2104835"/>
                  </a:cubicBezTo>
                  <a:cubicBezTo>
                    <a:pt x="129063" y="2104835"/>
                    <a:pt x="126301" y="2102072"/>
                    <a:pt x="126301" y="2098643"/>
                  </a:cubicBezTo>
                  <a:cubicBezTo>
                    <a:pt x="126301" y="2095214"/>
                    <a:pt x="129063" y="2092452"/>
                    <a:pt x="132492" y="2092452"/>
                  </a:cubicBezTo>
                  <a:close/>
                  <a:moveTo>
                    <a:pt x="391286" y="2092071"/>
                  </a:moveTo>
                  <a:cubicBezTo>
                    <a:pt x="394715" y="2092071"/>
                    <a:pt x="397477" y="2094833"/>
                    <a:pt x="397477" y="2098262"/>
                  </a:cubicBezTo>
                  <a:cubicBezTo>
                    <a:pt x="397477" y="2101691"/>
                    <a:pt x="394715" y="2104453"/>
                    <a:pt x="391286" y="2104453"/>
                  </a:cubicBezTo>
                  <a:cubicBezTo>
                    <a:pt x="387857" y="2104453"/>
                    <a:pt x="385095" y="2101691"/>
                    <a:pt x="385095" y="2098262"/>
                  </a:cubicBezTo>
                  <a:cubicBezTo>
                    <a:pt x="385095" y="2094833"/>
                    <a:pt x="387857" y="2092071"/>
                    <a:pt x="391286" y="2092071"/>
                  </a:cubicBezTo>
                  <a:close/>
                  <a:moveTo>
                    <a:pt x="3276980" y="2090833"/>
                  </a:moveTo>
                  <a:cubicBezTo>
                    <a:pt x="3280409" y="2090833"/>
                    <a:pt x="3283171" y="2093595"/>
                    <a:pt x="3283171" y="2097024"/>
                  </a:cubicBezTo>
                  <a:cubicBezTo>
                    <a:pt x="3283171" y="2100453"/>
                    <a:pt x="3280409" y="2103216"/>
                    <a:pt x="3276980" y="2103216"/>
                  </a:cubicBezTo>
                  <a:cubicBezTo>
                    <a:pt x="3273551" y="2103216"/>
                    <a:pt x="3270789" y="2100453"/>
                    <a:pt x="3270789" y="2097024"/>
                  </a:cubicBezTo>
                  <a:cubicBezTo>
                    <a:pt x="3270789" y="2093595"/>
                    <a:pt x="3273551" y="2090833"/>
                    <a:pt x="3276980" y="2090833"/>
                  </a:cubicBezTo>
                  <a:close/>
                  <a:moveTo>
                    <a:pt x="207263" y="2090357"/>
                  </a:moveTo>
                  <a:cubicBezTo>
                    <a:pt x="210692" y="2090357"/>
                    <a:pt x="213454" y="2093119"/>
                    <a:pt x="213454" y="2096548"/>
                  </a:cubicBezTo>
                  <a:cubicBezTo>
                    <a:pt x="213454" y="2099977"/>
                    <a:pt x="210692" y="2102740"/>
                    <a:pt x="207263" y="2102740"/>
                  </a:cubicBezTo>
                  <a:cubicBezTo>
                    <a:pt x="203834" y="2102740"/>
                    <a:pt x="201072" y="2099977"/>
                    <a:pt x="201072" y="2096548"/>
                  </a:cubicBezTo>
                  <a:cubicBezTo>
                    <a:pt x="201072" y="2093119"/>
                    <a:pt x="203834" y="2090357"/>
                    <a:pt x="207263" y="2090357"/>
                  </a:cubicBezTo>
                  <a:close/>
                  <a:moveTo>
                    <a:pt x="70675" y="2089404"/>
                  </a:moveTo>
                  <a:cubicBezTo>
                    <a:pt x="74104" y="2089404"/>
                    <a:pt x="76866" y="2092166"/>
                    <a:pt x="76866" y="2095595"/>
                  </a:cubicBezTo>
                  <a:cubicBezTo>
                    <a:pt x="76866" y="2099024"/>
                    <a:pt x="74104" y="2101786"/>
                    <a:pt x="70675" y="2101786"/>
                  </a:cubicBezTo>
                  <a:cubicBezTo>
                    <a:pt x="67246" y="2101786"/>
                    <a:pt x="64484" y="2099024"/>
                    <a:pt x="64484" y="2095595"/>
                  </a:cubicBezTo>
                  <a:cubicBezTo>
                    <a:pt x="64484" y="2092166"/>
                    <a:pt x="67246" y="2089404"/>
                    <a:pt x="70675" y="2089404"/>
                  </a:cubicBezTo>
                  <a:close/>
                  <a:moveTo>
                    <a:pt x="3250787" y="2088833"/>
                  </a:moveTo>
                  <a:cubicBezTo>
                    <a:pt x="3254216" y="2088833"/>
                    <a:pt x="3256978" y="2091595"/>
                    <a:pt x="3256978" y="2095024"/>
                  </a:cubicBezTo>
                  <a:cubicBezTo>
                    <a:pt x="3256978" y="2098453"/>
                    <a:pt x="3254216" y="2101216"/>
                    <a:pt x="3250787" y="2101216"/>
                  </a:cubicBezTo>
                  <a:cubicBezTo>
                    <a:pt x="3247358" y="2101216"/>
                    <a:pt x="3244596" y="2098453"/>
                    <a:pt x="3244596" y="2095024"/>
                  </a:cubicBezTo>
                  <a:cubicBezTo>
                    <a:pt x="3244596" y="2091595"/>
                    <a:pt x="3247358" y="2088833"/>
                    <a:pt x="3250787" y="2088833"/>
                  </a:cubicBezTo>
                  <a:close/>
                  <a:moveTo>
                    <a:pt x="96297" y="2088833"/>
                  </a:moveTo>
                  <a:cubicBezTo>
                    <a:pt x="99726" y="2088833"/>
                    <a:pt x="102489" y="2091595"/>
                    <a:pt x="102489" y="2095024"/>
                  </a:cubicBezTo>
                  <a:cubicBezTo>
                    <a:pt x="102489" y="2098453"/>
                    <a:pt x="99726" y="2101216"/>
                    <a:pt x="96297" y="2101216"/>
                  </a:cubicBezTo>
                  <a:cubicBezTo>
                    <a:pt x="92868" y="2101216"/>
                    <a:pt x="90106" y="2098453"/>
                    <a:pt x="90106" y="2095024"/>
                  </a:cubicBezTo>
                  <a:cubicBezTo>
                    <a:pt x="90106" y="2091595"/>
                    <a:pt x="92868" y="2088833"/>
                    <a:pt x="96297" y="2088833"/>
                  </a:cubicBezTo>
                  <a:close/>
                  <a:moveTo>
                    <a:pt x="813434" y="2088642"/>
                  </a:moveTo>
                  <a:cubicBezTo>
                    <a:pt x="816863" y="2088642"/>
                    <a:pt x="819626" y="2091404"/>
                    <a:pt x="819626" y="2094833"/>
                  </a:cubicBezTo>
                  <a:cubicBezTo>
                    <a:pt x="819626" y="2098262"/>
                    <a:pt x="816863" y="2101025"/>
                    <a:pt x="813434" y="2101025"/>
                  </a:cubicBezTo>
                  <a:cubicBezTo>
                    <a:pt x="810005" y="2101025"/>
                    <a:pt x="807243" y="2098262"/>
                    <a:pt x="807243" y="2094833"/>
                  </a:cubicBezTo>
                  <a:cubicBezTo>
                    <a:pt x="807243" y="2091404"/>
                    <a:pt x="810005" y="2088642"/>
                    <a:pt x="813434" y="2088642"/>
                  </a:cubicBezTo>
                  <a:close/>
                  <a:moveTo>
                    <a:pt x="3207162" y="2085118"/>
                  </a:moveTo>
                  <a:cubicBezTo>
                    <a:pt x="3210591" y="2085118"/>
                    <a:pt x="3213353" y="2087880"/>
                    <a:pt x="3213353" y="2091309"/>
                  </a:cubicBezTo>
                  <a:cubicBezTo>
                    <a:pt x="3213353" y="2094738"/>
                    <a:pt x="3210591" y="2097501"/>
                    <a:pt x="3207162" y="2097501"/>
                  </a:cubicBezTo>
                  <a:cubicBezTo>
                    <a:pt x="3203733" y="2097501"/>
                    <a:pt x="3200971" y="2094738"/>
                    <a:pt x="3200971" y="2091309"/>
                  </a:cubicBezTo>
                  <a:cubicBezTo>
                    <a:pt x="3200971" y="2087880"/>
                    <a:pt x="3203733" y="2085118"/>
                    <a:pt x="3207162" y="2085118"/>
                  </a:cubicBezTo>
                  <a:close/>
                  <a:moveTo>
                    <a:pt x="2965894" y="2084166"/>
                  </a:moveTo>
                  <a:cubicBezTo>
                    <a:pt x="2969323" y="2084166"/>
                    <a:pt x="2972085" y="2086928"/>
                    <a:pt x="2972085" y="2090357"/>
                  </a:cubicBezTo>
                  <a:cubicBezTo>
                    <a:pt x="2972085" y="2093786"/>
                    <a:pt x="2969323" y="2096549"/>
                    <a:pt x="2965894" y="2096549"/>
                  </a:cubicBezTo>
                  <a:cubicBezTo>
                    <a:pt x="2962465" y="2096549"/>
                    <a:pt x="2959703" y="2093786"/>
                    <a:pt x="2959703" y="2090357"/>
                  </a:cubicBezTo>
                  <a:cubicBezTo>
                    <a:pt x="2959703" y="2086928"/>
                    <a:pt x="2962465" y="2084166"/>
                    <a:pt x="2965894" y="2084166"/>
                  </a:cubicBezTo>
                  <a:close/>
                  <a:moveTo>
                    <a:pt x="3264502" y="2084070"/>
                  </a:moveTo>
                  <a:cubicBezTo>
                    <a:pt x="3267931" y="2084070"/>
                    <a:pt x="3270694" y="2086832"/>
                    <a:pt x="3270694" y="2090261"/>
                  </a:cubicBezTo>
                  <a:cubicBezTo>
                    <a:pt x="3270694" y="2093690"/>
                    <a:pt x="3267931" y="2096453"/>
                    <a:pt x="3264502" y="2096453"/>
                  </a:cubicBezTo>
                  <a:cubicBezTo>
                    <a:pt x="3261073" y="2096453"/>
                    <a:pt x="3258311" y="2093690"/>
                    <a:pt x="3258311" y="2090261"/>
                  </a:cubicBezTo>
                  <a:cubicBezTo>
                    <a:pt x="3258311" y="2086832"/>
                    <a:pt x="3261073" y="2084070"/>
                    <a:pt x="3264502" y="2084070"/>
                  </a:cubicBezTo>
                  <a:close/>
                  <a:moveTo>
                    <a:pt x="78771" y="2083594"/>
                  </a:moveTo>
                  <a:cubicBezTo>
                    <a:pt x="82200" y="2083594"/>
                    <a:pt x="84963" y="2086356"/>
                    <a:pt x="84963" y="2089785"/>
                  </a:cubicBezTo>
                  <a:cubicBezTo>
                    <a:pt x="84963" y="2093214"/>
                    <a:pt x="82200" y="2095976"/>
                    <a:pt x="78771" y="2095976"/>
                  </a:cubicBezTo>
                  <a:cubicBezTo>
                    <a:pt x="75342" y="2095976"/>
                    <a:pt x="72580" y="2093214"/>
                    <a:pt x="72580" y="2089785"/>
                  </a:cubicBezTo>
                  <a:cubicBezTo>
                    <a:pt x="72580" y="2086356"/>
                    <a:pt x="75342" y="2083594"/>
                    <a:pt x="78771" y="2083594"/>
                  </a:cubicBezTo>
                  <a:close/>
                  <a:moveTo>
                    <a:pt x="3138296" y="2082737"/>
                  </a:moveTo>
                  <a:cubicBezTo>
                    <a:pt x="3141725" y="2082737"/>
                    <a:pt x="3144488" y="2085499"/>
                    <a:pt x="3144488" y="2088928"/>
                  </a:cubicBezTo>
                  <a:cubicBezTo>
                    <a:pt x="3144488" y="2092357"/>
                    <a:pt x="3141725" y="2095120"/>
                    <a:pt x="3138296" y="2095120"/>
                  </a:cubicBezTo>
                  <a:cubicBezTo>
                    <a:pt x="3134867" y="2095120"/>
                    <a:pt x="3132105" y="2092357"/>
                    <a:pt x="3132105" y="2088928"/>
                  </a:cubicBezTo>
                  <a:cubicBezTo>
                    <a:pt x="3132105" y="2085499"/>
                    <a:pt x="3134867" y="2082737"/>
                    <a:pt x="3138296" y="2082737"/>
                  </a:cubicBezTo>
                  <a:close/>
                  <a:moveTo>
                    <a:pt x="3284219" y="2082451"/>
                  </a:moveTo>
                  <a:cubicBezTo>
                    <a:pt x="3287648" y="2082451"/>
                    <a:pt x="3290411" y="2085213"/>
                    <a:pt x="3290411" y="2088642"/>
                  </a:cubicBezTo>
                  <a:cubicBezTo>
                    <a:pt x="3290411" y="2092071"/>
                    <a:pt x="3287648" y="2094834"/>
                    <a:pt x="3284219" y="2094834"/>
                  </a:cubicBezTo>
                  <a:cubicBezTo>
                    <a:pt x="3280790" y="2094834"/>
                    <a:pt x="3278028" y="2092071"/>
                    <a:pt x="3278028" y="2088642"/>
                  </a:cubicBezTo>
                  <a:cubicBezTo>
                    <a:pt x="3278028" y="2085213"/>
                    <a:pt x="3280790" y="2082451"/>
                    <a:pt x="3284219" y="2082451"/>
                  </a:cubicBezTo>
                  <a:close/>
                  <a:moveTo>
                    <a:pt x="3240118" y="2082165"/>
                  </a:moveTo>
                  <a:cubicBezTo>
                    <a:pt x="3243547" y="2082165"/>
                    <a:pt x="3246310" y="2084927"/>
                    <a:pt x="3246310" y="2088356"/>
                  </a:cubicBezTo>
                  <a:cubicBezTo>
                    <a:pt x="3246310" y="2091785"/>
                    <a:pt x="3243547" y="2094548"/>
                    <a:pt x="3240118" y="2094548"/>
                  </a:cubicBezTo>
                  <a:cubicBezTo>
                    <a:pt x="3236689" y="2094548"/>
                    <a:pt x="3233927" y="2091785"/>
                    <a:pt x="3233927" y="2088356"/>
                  </a:cubicBezTo>
                  <a:cubicBezTo>
                    <a:pt x="3233927" y="2084927"/>
                    <a:pt x="3236689" y="2082165"/>
                    <a:pt x="3240118" y="2082165"/>
                  </a:cubicBezTo>
                  <a:close/>
                  <a:moveTo>
                    <a:pt x="2565463" y="2081117"/>
                  </a:moveTo>
                  <a:cubicBezTo>
                    <a:pt x="2568892" y="2081117"/>
                    <a:pt x="2571654" y="2083879"/>
                    <a:pt x="2571654" y="2087308"/>
                  </a:cubicBezTo>
                  <a:cubicBezTo>
                    <a:pt x="2571654" y="2090737"/>
                    <a:pt x="2568892" y="2093500"/>
                    <a:pt x="2565463" y="2093500"/>
                  </a:cubicBezTo>
                  <a:cubicBezTo>
                    <a:pt x="2562034" y="2093500"/>
                    <a:pt x="2559272" y="2090737"/>
                    <a:pt x="2559272" y="2087308"/>
                  </a:cubicBezTo>
                  <a:cubicBezTo>
                    <a:pt x="2559272" y="2083879"/>
                    <a:pt x="2562034" y="2081117"/>
                    <a:pt x="2565463" y="2081117"/>
                  </a:cubicBezTo>
                  <a:close/>
                  <a:moveTo>
                    <a:pt x="65055" y="2079498"/>
                  </a:moveTo>
                  <a:cubicBezTo>
                    <a:pt x="68484" y="2079498"/>
                    <a:pt x="71247" y="2082260"/>
                    <a:pt x="71247" y="2085689"/>
                  </a:cubicBezTo>
                  <a:cubicBezTo>
                    <a:pt x="71247" y="2089118"/>
                    <a:pt x="68484" y="2091881"/>
                    <a:pt x="65055" y="2091881"/>
                  </a:cubicBezTo>
                  <a:cubicBezTo>
                    <a:pt x="61626" y="2091881"/>
                    <a:pt x="58864" y="2089118"/>
                    <a:pt x="58864" y="2085689"/>
                  </a:cubicBezTo>
                  <a:cubicBezTo>
                    <a:pt x="58864" y="2082260"/>
                    <a:pt x="61626" y="2079498"/>
                    <a:pt x="65055" y="2079498"/>
                  </a:cubicBezTo>
                  <a:close/>
                  <a:moveTo>
                    <a:pt x="118967" y="2078927"/>
                  </a:moveTo>
                  <a:cubicBezTo>
                    <a:pt x="122396" y="2078927"/>
                    <a:pt x="125159" y="2081689"/>
                    <a:pt x="125159" y="2085118"/>
                  </a:cubicBezTo>
                  <a:cubicBezTo>
                    <a:pt x="125159" y="2088547"/>
                    <a:pt x="122396" y="2091310"/>
                    <a:pt x="118967" y="2091310"/>
                  </a:cubicBezTo>
                  <a:cubicBezTo>
                    <a:pt x="115538" y="2091310"/>
                    <a:pt x="112776" y="2088547"/>
                    <a:pt x="112776" y="2085118"/>
                  </a:cubicBezTo>
                  <a:cubicBezTo>
                    <a:pt x="112776" y="2081689"/>
                    <a:pt x="115538" y="2078927"/>
                    <a:pt x="118967" y="2078927"/>
                  </a:cubicBezTo>
                  <a:close/>
                  <a:moveTo>
                    <a:pt x="3256216" y="2077593"/>
                  </a:moveTo>
                  <a:cubicBezTo>
                    <a:pt x="3259645" y="2077593"/>
                    <a:pt x="3262408" y="2080355"/>
                    <a:pt x="3262408" y="2083784"/>
                  </a:cubicBezTo>
                  <a:cubicBezTo>
                    <a:pt x="3262408" y="2087213"/>
                    <a:pt x="3259645" y="2089976"/>
                    <a:pt x="3256216" y="2089976"/>
                  </a:cubicBezTo>
                  <a:cubicBezTo>
                    <a:pt x="3252787" y="2089976"/>
                    <a:pt x="3250025" y="2087213"/>
                    <a:pt x="3250025" y="2083784"/>
                  </a:cubicBezTo>
                  <a:cubicBezTo>
                    <a:pt x="3250025" y="2080355"/>
                    <a:pt x="3252787" y="2077593"/>
                    <a:pt x="3256216" y="2077593"/>
                  </a:cubicBezTo>
                  <a:close/>
                  <a:moveTo>
                    <a:pt x="345661" y="2077403"/>
                  </a:moveTo>
                  <a:cubicBezTo>
                    <a:pt x="349090" y="2077403"/>
                    <a:pt x="351852" y="2080165"/>
                    <a:pt x="351852" y="2083594"/>
                  </a:cubicBezTo>
                  <a:cubicBezTo>
                    <a:pt x="351852" y="2087023"/>
                    <a:pt x="349090" y="2089786"/>
                    <a:pt x="345661" y="2089786"/>
                  </a:cubicBezTo>
                  <a:cubicBezTo>
                    <a:pt x="342232" y="2089786"/>
                    <a:pt x="339470" y="2087023"/>
                    <a:pt x="339470" y="2083594"/>
                  </a:cubicBezTo>
                  <a:cubicBezTo>
                    <a:pt x="339470" y="2080165"/>
                    <a:pt x="342232" y="2077403"/>
                    <a:pt x="345661" y="2077403"/>
                  </a:cubicBezTo>
                  <a:close/>
                  <a:moveTo>
                    <a:pt x="88677" y="2076450"/>
                  </a:moveTo>
                  <a:cubicBezTo>
                    <a:pt x="92106" y="2076450"/>
                    <a:pt x="94869" y="2079212"/>
                    <a:pt x="94869" y="2082641"/>
                  </a:cubicBezTo>
                  <a:cubicBezTo>
                    <a:pt x="94869" y="2086070"/>
                    <a:pt x="92106" y="2088832"/>
                    <a:pt x="88677" y="2088832"/>
                  </a:cubicBezTo>
                  <a:cubicBezTo>
                    <a:pt x="85248" y="2088832"/>
                    <a:pt x="82486" y="2086070"/>
                    <a:pt x="82486" y="2082641"/>
                  </a:cubicBezTo>
                  <a:cubicBezTo>
                    <a:pt x="82486" y="2079212"/>
                    <a:pt x="85248" y="2076450"/>
                    <a:pt x="88677" y="2076450"/>
                  </a:cubicBezTo>
                  <a:close/>
                  <a:moveTo>
                    <a:pt x="182974" y="2076165"/>
                  </a:moveTo>
                  <a:cubicBezTo>
                    <a:pt x="186403" y="2076165"/>
                    <a:pt x="189166" y="2078927"/>
                    <a:pt x="189166" y="2082356"/>
                  </a:cubicBezTo>
                  <a:cubicBezTo>
                    <a:pt x="189166" y="2085785"/>
                    <a:pt x="186403" y="2088547"/>
                    <a:pt x="182974" y="2088547"/>
                  </a:cubicBezTo>
                  <a:cubicBezTo>
                    <a:pt x="179545" y="2088547"/>
                    <a:pt x="176783" y="2085785"/>
                    <a:pt x="176783" y="2082356"/>
                  </a:cubicBezTo>
                  <a:cubicBezTo>
                    <a:pt x="176783" y="2078927"/>
                    <a:pt x="179545" y="2076165"/>
                    <a:pt x="182974" y="2076165"/>
                  </a:cubicBezTo>
                  <a:close/>
                  <a:moveTo>
                    <a:pt x="3292030" y="2074641"/>
                  </a:moveTo>
                  <a:cubicBezTo>
                    <a:pt x="3295459" y="2074641"/>
                    <a:pt x="3298221" y="2077403"/>
                    <a:pt x="3298221" y="2080832"/>
                  </a:cubicBezTo>
                  <a:cubicBezTo>
                    <a:pt x="3298221" y="2084261"/>
                    <a:pt x="3295459" y="2087024"/>
                    <a:pt x="3292030" y="2087024"/>
                  </a:cubicBezTo>
                  <a:cubicBezTo>
                    <a:pt x="3288601" y="2087024"/>
                    <a:pt x="3285839" y="2084261"/>
                    <a:pt x="3285839" y="2080832"/>
                  </a:cubicBezTo>
                  <a:cubicBezTo>
                    <a:pt x="3285839" y="2077403"/>
                    <a:pt x="3288601" y="2074641"/>
                    <a:pt x="3292030" y="2074641"/>
                  </a:cubicBezTo>
                  <a:close/>
                  <a:moveTo>
                    <a:pt x="727995" y="2074641"/>
                  </a:moveTo>
                  <a:cubicBezTo>
                    <a:pt x="731424" y="2074641"/>
                    <a:pt x="734187" y="2077403"/>
                    <a:pt x="734187" y="2080832"/>
                  </a:cubicBezTo>
                  <a:cubicBezTo>
                    <a:pt x="734187" y="2084261"/>
                    <a:pt x="731424" y="2087024"/>
                    <a:pt x="727995" y="2087024"/>
                  </a:cubicBezTo>
                  <a:cubicBezTo>
                    <a:pt x="724566" y="2087024"/>
                    <a:pt x="721804" y="2084261"/>
                    <a:pt x="721804" y="2080832"/>
                  </a:cubicBezTo>
                  <a:cubicBezTo>
                    <a:pt x="721804" y="2077403"/>
                    <a:pt x="724566" y="2074641"/>
                    <a:pt x="727995" y="2074641"/>
                  </a:cubicBezTo>
                  <a:close/>
                  <a:moveTo>
                    <a:pt x="3270122" y="2074450"/>
                  </a:moveTo>
                  <a:cubicBezTo>
                    <a:pt x="3273551" y="2074450"/>
                    <a:pt x="3276313" y="2077212"/>
                    <a:pt x="3276313" y="2080641"/>
                  </a:cubicBezTo>
                  <a:cubicBezTo>
                    <a:pt x="3276313" y="2084070"/>
                    <a:pt x="3273551" y="2086833"/>
                    <a:pt x="3270122" y="2086833"/>
                  </a:cubicBezTo>
                  <a:cubicBezTo>
                    <a:pt x="3266693" y="2086833"/>
                    <a:pt x="3263931" y="2084070"/>
                    <a:pt x="3263931" y="2080641"/>
                  </a:cubicBezTo>
                  <a:cubicBezTo>
                    <a:pt x="3263931" y="2077212"/>
                    <a:pt x="3266693" y="2074450"/>
                    <a:pt x="3270122" y="2074450"/>
                  </a:cubicBezTo>
                  <a:close/>
                  <a:moveTo>
                    <a:pt x="73437" y="2072640"/>
                  </a:moveTo>
                  <a:cubicBezTo>
                    <a:pt x="76866" y="2072640"/>
                    <a:pt x="79628" y="2075402"/>
                    <a:pt x="79628" y="2078831"/>
                  </a:cubicBezTo>
                  <a:cubicBezTo>
                    <a:pt x="79628" y="2082260"/>
                    <a:pt x="76866" y="2085023"/>
                    <a:pt x="73437" y="2085023"/>
                  </a:cubicBezTo>
                  <a:cubicBezTo>
                    <a:pt x="70008" y="2085023"/>
                    <a:pt x="67246" y="2082260"/>
                    <a:pt x="67246" y="2078831"/>
                  </a:cubicBezTo>
                  <a:cubicBezTo>
                    <a:pt x="67246" y="2075402"/>
                    <a:pt x="70008" y="2072640"/>
                    <a:pt x="73437" y="2072640"/>
                  </a:cubicBezTo>
                  <a:close/>
                  <a:moveTo>
                    <a:pt x="3219735" y="2071878"/>
                  </a:moveTo>
                  <a:cubicBezTo>
                    <a:pt x="3223164" y="2071878"/>
                    <a:pt x="3225926" y="2074640"/>
                    <a:pt x="3225926" y="2078069"/>
                  </a:cubicBezTo>
                  <a:cubicBezTo>
                    <a:pt x="3225926" y="2081498"/>
                    <a:pt x="3223164" y="2084261"/>
                    <a:pt x="3219735" y="2084261"/>
                  </a:cubicBezTo>
                  <a:cubicBezTo>
                    <a:pt x="3216306" y="2084261"/>
                    <a:pt x="3213544" y="2081498"/>
                    <a:pt x="3213544" y="2078069"/>
                  </a:cubicBezTo>
                  <a:cubicBezTo>
                    <a:pt x="3213544" y="2074640"/>
                    <a:pt x="3216306" y="2071878"/>
                    <a:pt x="3219735" y="2071878"/>
                  </a:cubicBezTo>
                  <a:close/>
                  <a:moveTo>
                    <a:pt x="59340" y="2070164"/>
                  </a:moveTo>
                  <a:cubicBezTo>
                    <a:pt x="62769" y="2070164"/>
                    <a:pt x="65532" y="2072926"/>
                    <a:pt x="65532" y="2076355"/>
                  </a:cubicBezTo>
                  <a:cubicBezTo>
                    <a:pt x="65532" y="2079784"/>
                    <a:pt x="62769" y="2082547"/>
                    <a:pt x="59340" y="2082547"/>
                  </a:cubicBezTo>
                  <a:cubicBezTo>
                    <a:pt x="55911" y="2082547"/>
                    <a:pt x="53149" y="2079784"/>
                    <a:pt x="53149" y="2076355"/>
                  </a:cubicBezTo>
                  <a:cubicBezTo>
                    <a:pt x="53149" y="2072926"/>
                    <a:pt x="55911" y="2070164"/>
                    <a:pt x="59340" y="2070164"/>
                  </a:cubicBezTo>
                  <a:close/>
                  <a:moveTo>
                    <a:pt x="3247262" y="2070069"/>
                  </a:moveTo>
                  <a:cubicBezTo>
                    <a:pt x="3250691" y="2070069"/>
                    <a:pt x="3253454" y="2072831"/>
                    <a:pt x="3253454" y="2076260"/>
                  </a:cubicBezTo>
                  <a:cubicBezTo>
                    <a:pt x="3253454" y="2079689"/>
                    <a:pt x="3250691" y="2082451"/>
                    <a:pt x="3247262" y="2082451"/>
                  </a:cubicBezTo>
                  <a:cubicBezTo>
                    <a:pt x="3243833" y="2082451"/>
                    <a:pt x="3241071" y="2079689"/>
                    <a:pt x="3241071" y="2076260"/>
                  </a:cubicBezTo>
                  <a:cubicBezTo>
                    <a:pt x="3241071" y="2072831"/>
                    <a:pt x="3243833" y="2070069"/>
                    <a:pt x="3247262" y="2070069"/>
                  </a:cubicBezTo>
                  <a:close/>
                  <a:moveTo>
                    <a:pt x="3008947" y="2069783"/>
                  </a:moveTo>
                  <a:cubicBezTo>
                    <a:pt x="3012376" y="2069783"/>
                    <a:pt x="3015138" y="2072545"/>
                    <a:pt x="3015138" y="2075974"/>
                  </a:cubicBezTo>
                  <a:cubicBezTo>
                    <a:pt x="3015138" y="2079403"/>
                    <a:pt x="3012376" y="2082166"/>
                    <a:pt x="3008947" y="2082166"/>
                  </a:cubicBezTo>
                  <a:cubicBezTo>
                    <a:pt x="3005518" y="2082166"/>
                    <a:pt x="3002756" y="2079403"/>
                    <a:pt x="3002756" y="2075974"/>
                  </a:cubicBezTo>
                  <a:cubicBezTo>
                    <a:pt x="3002756" y="2072545"/>
                    <a:pt x="3005518" y="2069783"/>
                    <a:pt x="3008947" y="2069783"/>
                  </a:cubicBezTo>
                  <a:close/>
                  <a:moveTo>
                    <a:pt x="3160966" y="2068830"/>
                  </a:moveTo>
                  <a:cubicBezTo>
                    <a:pt x="3164395" y="2068830"/>
                    <a:pt x="3167158" y="2071592"/>
                    <a:pt x="3167158" y="2075021"/>
                  </a:cubicBezTo>
                  <a:cubicBezTo>
                    <a:pt x="3167158" y="2078450"/>
                    <a:pt x="3164395" y="2081213"/>
                    <a:pt x="3160966" y="2081213"/>
                  </a:cubicBezTo>
                  <a:cubicBezTo>
                    <a:pt x="3157537" y="2081213"/>
                    <a:pt x="3154775" y="2078450"/>
                    <a:pt x="3154775" y="2075021"/>
                  </a:cubicBezTo>
                  <a:cubicBezTo>
                    <a:pt x="3154775" y="2071592"/>
                    <a:pt x="3157537" y="2068830"/>
                    <a:pt x="3160966" y="2068830"/>
                  </a:cubicBezTo>
                  <a:close/>
                  <a:moveTo>
                    <a:pt x="3300221" y="2067211"/>
                  </a:moveTo>
                  <a:cubicBezTo>
                    <a:pt x="3303650" y="2067211"/>
                    <a:pt x="3306413" y="2069973"/>
                    <a:pt x="3306413" y="2073402"/>
                  </a:cubicBezTo>
                  <a:cubicBezTo>
                    <a:pt x="3306413" y="2076831"/>
                    <a:pt x="3303650" y="2079594"/>
                    <a:pt x="3300221" y="2079594"/>
                  </a:cubicBezTo>
                  <a:cubicBezTo>
                    <a:pt x="3296792" y="2079594"/>
                    <a:pt x="3294030" y="2076831"/>
                    <a:pt x="3294030" y="2073402"/>
                  </a:cubicBezTo>
                  <a:cubicBezTo>
                    <a:pt x="3294030" y="2069973"/>
                    <a:pt x="3296792" y="2067211"/>
                    <a:pt x="3300221" y="2067211"/>
                  </a:cubicBezTo>
                  <a:close/>
                  <a:moveTo>
                    <a:pt x="2646902" y="2067116"/>
                  </a:moveTo>
                  <a:cubicBezTo>
                    <a:pt x="2650322" y="2067116"/>
                    <a:pt x="2653094" y="2069888"/>
                    <a:pt x="2653094" y="2073307"/>
                  </a:cubicBezTo>
                  <a:cubicBezTo>
                    <a:pt x="2653094" y="2076727"/>
                    <a:pt x="2650322" y="2079498"/>
                    <a:pt x="2646902" y="2079498"/>
                  </a:cubicBezTo>
                  <a:cubicBezTo>
                    <a:pt x="2643483" y="2079498"/>
                    <a:pt x="2640711" y="2076727"/>
                    <a:pt x="2640711" y="2073307"/>
                  </a:cubicBezTo>
                  <a:cubicBezTo>
                    <a:pt x="2640711" y="2069888"/>
                    <a:pt x="2643483" y="2067116"/>
                    <a:pt x="2646902" y="2067116"/>
                  </a:cubicBezTo>
                  <a:close/>
                  <a:moveTo>
                    <a:pt x="3261455" y="2067021"/>
                  </a:moveTo>
                  <a:cubicBezTo>
                    <a:pt x="3264884" y="2067021"/>
                    <a:pt x="3267646" y="2069783"/>
                    <a:pt x="3267646" y="2073212"/>
                  </a:cubicBezTo>
                  <a:cubicBezTo>
                    <a:pt x="3267646" y="2076641"/>
                    <a:pt x="3264884" y="2079404"/>
                    <a:pt x="3261455" y="2079404"/>
                  </a:cubicBezTo>
                  <a:cubicBezTo>
                    <a:pt x="3258026" y="2079404"/>
                    <a:pt x="3255264" y="2076641"/>
                    <a:pt x="3255264" y="2073212"/>
                  </a:cubicBezTo>
                  <a:cubicBezTo>
                    <a:pt x="3255264" y="2069783"/>
                    <a:pt x="3258026" y="2067021"/>
                    <a:pt x="3261455" y="2067021"/>
                  </a:cubicBezTo>
                  <a:close/>
                  <a:moveTo>
                    <a:pt x="107156" y="2065973"/>
                  </a:moveTo>
                  <a:cubicBezTo>
                    <a:pt x="110585" y="2065973"/>
                    <a:pt x="113347" y="2068735"/>
                    <a:pt x="113347" y="2072164"/>
                  </a:cubicBezTo>
                  <a:cubicBezTo>
                    <a:pt x="113347" y="2075593"/>
                    <a:pt x="110585" y="2078356"/>
                    <a:pt x="107156" y="2078356"/>
                  </a:cubicBezTo>
                  <a:cubicBezTo>
                    <a:pt x="103727" y="2078356"/>
                    <a:pt x="100965" y="2075593"/>
                    <a:pt x="100965" y="2072164"/>
                  </a:cubicBezTo>
                  <a:cubicBezTo>
                    <a:pt x="100965" y="2068735"/>
                    <a:pt x="103727" y="2065973"/>
                    <a:pt x="107156" y="2065973"/>
                  </a:cubicBezTo>
                  <a:close/>
                  <a:moveTo>
                    <a:pt x="3275932" y="2065401"/>
                  </a:moveTo>
                  <a:cubicBezTo>
                    <a:pt x="3279361" y="2065401"/>
                    <a:pt x="3282123" y="2068163"/>
                    <a:pt x="3282123" y="2071592"/>
                  </a:cubicBezTo>
                  <a:cubicBezTo>
                    <a:pt x="3282123" y="2075021"/>
                    <a:pt x="3279361" y="2077784"/>
                    <a:pt x="3275932" y="2077784"/>
                  </a:cubicBezTo>
                  <a:cubicBezTo>
                    <a:pt x="3272503" y="2077784"/>
                    <a:pt x="3269741" y="2075021"/>
                    <a:pt x="3269741" y="2071592"/>
                  </a:cubicBezTo>
                  <a:cubicBezTo>
                    <a:pt x="3269741" y="2068163"/>
                    <a:pt x="3272503" y="2065401"/>
                    <a:pt x="3275932" y="2065401"/>
                  </a:cubicBezTo>
                  <a:close/>
                  <a:moveTo>
                    <a:pt x="81914" y="2064639"/>
                  </a:moveTo>
                  <a:cubicBezTo>
                    <a:pt x="85343" y="2064639"/>
                    <a:pt x="88106" y="2067401"/>
                    <a:pt x="88106" y="2070830"/>
                  </a:cubicBezTo>
                  <a:cubicBezTo>
                    <a:pt x="88106" y="2074259"/>
                    <a:pt x="85343" y="2077022"/>
                    <a:pt x="81914" y="2077022"/>
                  </a:cubicBezTo>
                  <a:cubicBezTo>
                    <a:pt x="78485" y="2077022"/>
                    <a:pt x="75723" y="2074259"/>
                    <a:pt x="75723" y="2070830"/>
                  </a:cubicBezTo>
                  <a:cubicBezTo>
                    <a:pt x="75723" y="2067401"/>
                    <a:pt x="78485" y="2064639"/>
                    <a:pt x="81914" y="2064639"/>
                  </a:cubicBezTo>
                  <a:close/>
                  <a:moveTo>
                    <a:pt x="304799" y="2063306"/>
                  </a:moveTo>
                  <a:cubicBezTo>
                    <a:pt x="308228" y="2063306"/>
                    <a:pt x="310991" y="2066068"/>
                    <a:pt x="310991" y="2069497"/>
                  </a:cubicBezTo>
                  <a:cubicBezTo>
                    <a:pt x="310991" y="2072926"/>
                    <a:pt x="308228" y="2075689"/>
                    <a:pt x="304799" y="2075689"/>
                  </a:cubicBezTo>
                  <a:cubicBezTo>
                    <a:pt x="301370" y="2075689"/>
                    <a:pt x="298608" y="2072926"/>
                    <a:pt x="298608" y="2069497"/>
                  </a:cubicBezTo>
                  <a:cubicBezTo>
                    <a:pt x="298608" y="2066068"/>
                    <a:pt x="301370" y="2063306"/>
                    <a:pt x="304799" y="2063306"/>
                  </a:cubicBezTo>
                  <a:close/>
                  <a:moveTo>
                    <a:pt x="161734" y="2062544"/>
                  </a:moveTo>
                  <a:cubicBezTo>
                    <a:pt x="165163" y="2062544"/>
                    <a:pt x="167925" y="2065306"/>
                    <a:pt x="167925" y="2068735"/>
                  </a:cubicBezTo>
                  <a:cubicBezTo>
                    <a:pt x="167925" y="2072164"/>
                    <a:pt x="165163" y="2074927"/>
                    <a:pt x="161734" y="2074927"/>
                  </a:cubicBezTo>
                  <a:cubicBezTo>
                    <a:pt x="158305" y="2074927"/>
                    <a:pt x="155543" y="2072164"/>
                    <a:pt x="155543" y="2068735"/>
                  </a:cubicBezTo>
                  <a:cubicBezTo>
                    <a:pt x="155543" y="2065306"/>
                    <a:pt x="158305" y="2062544"/>
                    <a:pt x="161734" y="2062544"/>
                  </a:cubicBezTo>
                  <a:close/>
                  <a:moveTo>
                    <a:pt x="3309175" y="2062353"/>
                  </a:moveTo>
                  <a:cubicBezTo>
                    <a:pt x="3311437" y="2062353"/>
                    <a:pt x="3313271" y="2064187"/>
                    <a:pt x="3313271" y="2066449"/>
                  </a:cubicBezTo>
                  <a:cubicBezTo>
                    <a:pt x="3313271" y="2068711"/>
                    <a:pt x="3311437" y="2070544"/>
                    <a:pt x="3309175" y="2070544"/>
                  </a:cubicBezTo>
                  <a:cubicBezTo>
                    <a:pt x="3306913" y="2070544"/>
                    <a:pt x="3305079" y="2068711"/>
                    <a:pt x="3305079" y="2066449"/>
                  </a:cubicBezTo>
                  <a:cubicBezTo>
                    <a:pt x="3305079" y="2064187"/>
                    <a:pt x="3306913" y="2062353"/>
                    <a:pt x="3309175" y="2062353"/>
                  </a:cubicBezTo>
                  <a:close/>
                  <a:moveTo>
                    <a:pt x="68389" y="2062258"/>
                  </a:moveTo>
                  <a:cubicBezTo>
                    <a:pt x="71818" y="2062258"/>
                    <a:pt x="74580" y="2065020"/>
                    <a:pt x="74580" y="2068449"/>
                  </a:cubicBezTo>
                  <a:cubicBezTo>
                    <a:pt x="74580" y="2071878"/>
                    <a:pt x="71818" y="2074641"/>
                    <a:pt x="68389" y="2074641"/>
                  </a:cubicBezTo>
                  <a:cubicBezTo>
                    <a:pt x="64960" y="2074641"/>
                    <a:pt x="62198" y="2071878"/>
                    <a:pt x="62198" y="2068449"/>
                  </a:cubicBezTo>
                  <a:cubicBezTo>
                    <a:pt x="62198" y="2065020"/>
                    <a:pt x="64960" y="2062258"/>
                    <a:pt x="68389" y="2062258"/>
                  </a:cubicBezTo>
                  <a:close/>
                  <a:moveTo>
                    <a:pt x="53339" y="2061401"/>
                  </a:moveTo>
                  <a:cubicBezTo>
                    <a:pt x="56768" y="2061401"/>
                    <a:pt x="59531" y="2064163"/>
                    <a:pt x="59531" y="2067592"/>
                  </a:cubicBezTo>
                  <a:cubicBezTo>
                    <a:pt x="59531" y="2071021"/>
                    <a:pt x="56768" y="2073784"/>
                    <a:pt x="53339" y="2073784"/>
                  </a:cubicBezTo>
                  <a:cubicBezTo>
                    <a:pt x="49910" y="2073784"/>
                    <a:pt x="47148" y="2071021"/>
                    <a:pt x="47148" y="2067592"/>
                  </a:cubicBezTo>
                  <a:cubicBezTo>
                    <a:pt x="47148" y="2064163"/>
                    <a:pt x="49910" y="2061401"/>
                    <a:pt x="53339" y="2061401"/>
                  </a:cubicBezTo>
                  <a:close/>
                  <a:moveTo>
                    <a:pt x="649890" y="2060734"/>
                  </a:moveTo>
                  <a:cubicBezTo>
                    <a:pt x="653319" y="2060734"/>
                    <a:pt x="656081" y="2063496"/>
                    <a:pt x="656081" y="2066925"/>
                  </a:cubicBezTo>
                  <a:cubicBezTo>
                    <a:pt x="656081" y="2070354"/>
                    <a:pt x="653319" y="2073117"/>
                    <a:pt x="649890" y="2073117"/>
                  </a:cubicBezTo>
                  <a:cubicBezTo>
                    <a:pt x="646461" y="2073117"/>
                    <a:pt x="643699" y="2070354"/>
                    <a:pt x="643699" y="2066925"/>
                  </a:cubicBezTo>
                  <a:cubicBezTo>
                    <a:pt x="643699" y="2063496"/>
                    <a:pt x="646461" y="2060734"/>
                    <a:pt x="649890" y="2060734"/>
                  </a:cubicBezTo>
                  <a:close/>
                  <a:moveTo>
                    <a:pt x="3230593" y="2059305"/>
                  </a:moveTo>
                  <a:cubicBezTo>
                    <a:pt x="3234022" y="2059305"/>
                    <a:pt x="3236785" y="2062067"/>
                    <a:pt x="3236785" y="2065496"/>
                  </a:cubicBezTo>
                  <a:cubicBezTo>
                    <a:pt x="3236785" y="2068925"/>
                    <a:pt x="3234022" y="2071688"/>
                    <a:pt x="3230593" y="2071688"/>
                  </a:cubicBezTo>
                  <a:cubicBezTo>
                    <a:pt x="3227164" y="2071688"/>
                    <a:pt x="3224402" y="2068925"/>
                    <a:pt x="3224402" y="2065496"/>
                  </a:cubicBezTo>
                  <a:cubicBezTo>
                    <a:pt x="3224402" y="2062067"/>
                    <a:pt x="3227164" y="2059305"/>
                    <a:pt x="3230593" y="2059305"/>
                  </a:cubicBezTo>
                  <a:close/>
                  <a:moveTo>
                    <a:pt x="3253549" y="2058543"/>
                  </a:moveTo>
                  <a:cubicBezTo>
                    <a:pt x="3256978" y="2058543"/>
                    <a:pt x="3259741" y="2061305"/>
                    <a:pt x="3259741" y="2064734"/>
                  </a:cubicBezTo>
                  <a:cubicBezTo>
                    <a:pt x="3259741" y="2068163"/>
                    <a:pt x="3256978" y="2070926"/>
                    <a:pt x="3253549" y="2070926"/>
                  </a:cubicBezTo>
                  <a:cubicBezTo>
                    <a:pt x="3250120" y="2070926"/>
                    <a:pt x="3247358" y="2068163"/>
                    <a:pt x="3247358" y="2064734"/>
                  </a:cubicBezTo>
                  <a:cubicBezTo>
                    <a:pt x="3247358" y="2061305"/>
                    <a:pt x="3250120" y="2058543"/>
                    <a:pt x="3253549" y="2058543"/>
                  </a:cubicBezTo>
                  <a:close/>
                  <a:moveTo>
                    <a:pt x="3282124" y="2056924"/>
                  </a:moveTo>
                  <a:cubicBezTo>
                    <a:pt x="3285553" y="2056924"/>
                    <a:pt x="3288316" y="2059686"/>
                    <a:pt x="3288316" y="2063115"/>
                  </a:cubicBezTo>
                  <a:cubicBezTo>
                    <a:pt x="3288316" y="2066544"/>
                    <a:pt x="3285553" y="2069307"/>
                    <a:pt x="3282124" y="2069307"/>
                  </a:cubicBezTo>
                  <a:cubicBezTo>
                    <a:pt x="3278695" y="2069307"/>
                    <a:pt x="3275933" y="2066544"/>
                    <a:pt x="3275933" y="2063115"/>
                  </a:cubicBezTo>
                  <a:cubicBezTo>
                    <a:pt x="3275933" y="2059686"/>
                    <a:pt x="3278695" y="2056924"/>
                    <a:pt x="3282124" y="2056924"/>
                  </a:cubicBezTo>
                  <a:close/>
                  <a:moveTo>
                    <a:pt x="3266503" y="2056924"/>
                  </a:moveTo>
                  <a:cubicBezTo>
                    <a:pt x="3269932" y="2056924"/>
                    <a:pt x="3272694" y="2059686"/>
                    <a:pt x="3272694" y="2063115"/>
                  </a:cubicBezTo>
                  <a:cubicBezTo>
                    <a:pt x="3272694" y="2066544"/>
                    <a:pt x="3269932" y="2069307"/>
                    <a:pt x="3266503" y="2069307"/>
                  </a:cubicBezTo>
                  <a:cubicBezTo>
                    <a:pt x="3263074" y="2069307"/>
                    <a:pt x="3260312" y="2066544"/>
                    <a:pt x="3260312" y="2063115"/>
                  </a:cubicBezTo>
                  <a:cubicBezTo>
                    <a:pt x="3260312" y="2059686"/>
                    <a:pt x="3263074" y="2056924"/>
                    <a:pt x="3266503" y="2056924"/>
                  </a:cubicBezTo>
                  <a:close/>
                  <a:moveTo>
                    <a:pt x="47053" y="2056924"/>
                  </a:moveTo>
                  <a:cubicBezTo>
                    <a:pt x="48387" y="2056924"/>
                    <a:pt x="49435" y="2057972"/>
                    <a:pt x="49435" y="2059305"/>
                  </a:cubicBezTo>
                  <a:cubicBezTo>
                    <a:pt x="49435" y="2060639"/>
                    <a:pt x="48387" y="2061687"/>
                    <a:pt x="47053" y="2061687"/>
                  </a:cubicBezTo>
                  <a:cubicBezTo>
                    <a:pt x="45720" y="2061687"/>
                    <a:pt x="44672" y="2060639"/>
                    <a:pt x="44672" y="2059305"/>
                  </a:cubicBezTo>
                  <a:cubicBezTo>
                    <a:pt x="44672" y="2057972"/>
                    <a:pt x="45720" y="2056924"/>
                    <a:pt x="47053" y="2056924"/>
                  </a:cubicBezTo>
                  <a:close/>
                  <a:moveTo>
                    <a:pt x="3047428" y="2055971"/>
                  </a:moveTo>
                  <a:cubicBezTo>
                    <a:pt x="3050857" y="2055971"/>
                    <a:pt x="3053619" y="2058733"/>
                    <a:pt x="3053619" y="2062162"/>
                  </a:cubicBezTo>
                  <a:cubicBezTo>
                    <a:pt x="3053619" y="2065591"/>
                    <a:pt x="3050857" y="2068354"/>
                    <a:pt x="3047428" y="2068354"/>
                  </a:cubicBezTo>
                  <a:cubicBezTo>
                    <a:pt x="3043999" y="2068354"/>
                    <a:pt x="3041237" y="2065591"/>
                    <a:pt x="3041237" y="2062162"/>
                  </a:cubicBezTo>
                  <a:cubicBezTo>
                    <a:pt x="3041237" y="2058733"/>
                    <a:pt x="3043999" y="2055971"/>
                    <a:pt x="3047428" y="2055971"/>
                  </a:cubicBezTo>
                  <a:close/>
                  <a:moveTo>
                    <a:pt x="3180778" y="2055495"/>
                  </a:moveTo>
                  <a:cubicBezTo>
                    <a:pt x="3184207" y="2055495"/>
                    <a:pt x="3186969" y="2058257"/>
                    <a:pt x="3186969" y="2061686"/>
                  </a:cubicBezTo>
                  <a:cubicBezTo>
                    <a:pt x="3186969" y="2065115"/>
                    <a:pt x="3184207" y="2067878"/>
                    <a:pt x="3180778" y="2067878"/>
                  </a:cubicBezTo>
                  <a:cubicBezTo>
                    <a:pt x="3177349" y="2067878"/>
                    <a:pt x="3174587" y="2065115"/>
                    <a:pt x="3174587" y="2061686"/>
                  </a:cubicBezTo>
                  <a:cubicBezTo>
                    <a:pt x="3174587" y="2058257"/>
                    <a:pt x="3177349" y="2055495"/>
                    <a:pt x="3180778" y="2055495"/>
                  </a:cubicBezTo>
                  <a:close/>
                  <a:moveTo>
                    <a:pt x="96964" y="2053590"/>
                  </a:moveTo>
                  <a:cubicBezTo>
                    <a:pt x="100393" y="2053590"/>
                    <a:pt x="103156" y="2056352"/>
                    <a:pt x="103156" y="2059781"/>
                  </a:cubicBezTo>
                  <a:cubicBezTo>
                    <a:pt x="103156" y="2063210"/>
                    <a:pt x="100393" y="2065973"/>
                    <a:pt x="96964" y="2065973"/>
                  </a:cubicBezTo>
                  <a:cubicBezTo>
                    <a:pt x="93535" y="2065973"/>
                    <a:pt x="90773" y="2063210"/>
                    <a:pt x="90773" y="2059781"/>
                  </a:cubicBezTo>
                  <a:cubicBezTo>
                    <a:pt x="90773" y="2056352"/>
                    <a:pt x="93535" y="2053590"/>
                    <a:pt x="96964" y="2053590"/>
                  </a:cubicBezTo>
                  <a:close/>
                  <a:moveTo>
                    <a:pt x="2721197" y="2053495"/>
                  </a:moveTo>
                  <a:cubicBezTo>
                    <a:pt x="2724626" y="2053495"/>
                    <a:pt x="2727388" y="2056257"/>
                    <a:pt x="2727388" y="2059686"/>
                  </a:cubicBezTo>
                  <a:cubicBezTo>
                    <a:pt x="2727388" y="2063115"/>
                    <a:pt x="2724626" y="2065878"/>
                    <a:pt x="2721197" y="2065878"/>
                  </a:cubicBezTo>
                  <a:cubicBezTo>
                    <a:pt x="2717768" y="2065878"/>
                    <a:pt x="2715006" y="2063115"/>
                    <a:pt x="2715006" y="2059686"/>
                  </a:cubicBezTo>
                  <a:cubicBezTo>
                    <a:pt x="2715006" y="2056257"/>
                    <a:pt x="2717768" y="2053495"/>
                    <a:pt x="2721197" y="2053495"/>
                  </a:cubicBezTo>
                  <a:close/>
                  <a:moveTo>
                    <a:pt x="76009" y="2053400"/>
                  </a:moveTo>
                  <a:cubicBezTo>
                    <a:pt x="79438" y="2053400"/>
                    <a:pt x="82201" y="2056162"/>
                    <a:pt x="82201" y="2059591"/>
                  </a:cubicBezTo>
                  <a:cubicBezTo>
                    <a:pt x="82201" y="2063020"/>
                    <a:pt x="79438" y="2065782"/>
                    <a:pt x="76009" y="2065782"/>
                  </a:cubicBezTo>
                  <a:cubicBezTo>
                    <a:pt x="72580" y="2065782"/>
                    <a:pt x="69818" y="2063020"/>
                    <a:pt x="69818" y="2059591"/>
                  </a:cubicBezTo>
                  <a:cubicBezTo>
                    <a:pt x="69818" y="2056162"/>
                    <a:pt x="72580" y="2053400"/>
                    <a:pt x="76009" y="2053400"/>
                  </a:cubicBezTo>
                  <a:close/>
                  <a:moveTo>
                    <a:pt x="63436" y="2052352"/>
                  </a:moveTo>
                  <a:cubicBezTo>
                    <a:pt x="66865" y="2052352"/>
                    <a:pt x="69627" y="2055114"/>
                    <a:pt x="69627" y="2058543"/>
                  </a:cubicBezTo>
                  <a:cubicBezTo>
                    <a:pt x="69627" y="2061972"/>
                    <a:pt x="66865" y="2064734"/>
                    <a:pt x="63436" y="2064734"/>
                  </a:cubicBezTo>
                  <a:cubicBezTo>
                    <a:pt x="60007" y="2064734"/>
                    <a:pt x="57245" y="2061972"/>
                    <a:pt x="57245" y="2058543"/>
                  </a:cubicBezTo>
                  <a:cubicBezTo>
                    <a:pt x="57245" y="2055114"/>
                    <a:pt x="60007" y="2052352"/>
                    <a:pt x="63436" y="2052352"/>
                  </a:cubicBezTo>
                  <a:close/>
                  <a:moveTo>
                    <a:pt x="268319" y="2049685"/>
                  </a:moveTo>
                  <a:cubicBezTo>
                    <a:pt x="271748" y="2049685"/>
                    <a:pt x="274510" y="2052447"/>
                    <a:pt x="274510" y="2055876"/>
                  </a:cubicBezTo>
                  <a:cubicBezTo>
                    <a:pt x="274510" y="2059305"/>
                    <a:pt x="271748" y="2062068"/>
                    <a:pt x="268319" y="2062068"/>
                  </a:cubicBezTo>
                  <a:cubicBezTo>
                    <a:pt x="264890" y="2062068"/>
                    <a:pt x="262128" y="2059305"/>
                    <a:pt x="262128" y="2055876"/>
                  </a:cubicBezTo>
                  <a:cubicBezTo>
                    <a:pt x="262128" y="2052447"/>
                    <a:pt x="264890" y="2049685"/>
                    <a:pt x="268319" y="2049685"/>
                  </a:cubicBezTo>
                  <a:close/>
                  <a:moveTo>
                    <a:pt x="143065" y="2049495"/>
                  </a:moveTo>
                  <a:cubicBezTo>
                    <a:pt x="146494" y="2049495"/>
                    <a:pt x="149257" y="2052257"/>
                    <a:pt x="149257" y="2055686"/>
                  </a:cubicBezTo>
                  <a:cubicBezTo>
                    <a:pt x="149257" y="2059115"/>
                    <a:pt x="146494" y="2061878"/>
                    <a:pt x="143065" y="2061878"/>
                  </a:cubicBezTo>
                  <a:cubicBezTo>
                    <a:pt x="139636" y="2061878"/>
                    <a:pt x="136874" y="2059115"/>
                    <a:pt x="136874" y="2055686"/>
                  </a:cubicBezTo>
                  <a:cubicBezTo>
                    <a:pt x="136874" y="2052257"/>
                    <a:pt x="139636" y="2049495"/>
                    <a:pt x="143065" y="2049495"/>
                  </a:cubicBezTo>
                  <a:close/>
                  <a:moveTo>
                    <a:pt x="3288601" y="2048923"/>
                  </a:moveTo>
                  <a:cubicBezTo>
                    <a:pt x="3292030" y="2048923"/>
                    <a:pt x="3294793" y="2051685"/>
                    <a:pt x="3294793" y="2055114"/>
                  </a:cubicBezTo>
                  <a:cubicBezTo>
                    <a:pt x="3294793" y="2058543"/>
                    <a:pt x="3292030" y="2061305"/>
                    <a:pt x="3288601" y="2061305"/>
                  </a:cubicBezTo>
                  <a:cubicBezTo>
                    <a:pt x="3285172" y="2061305"/>
                    <a:pt x="3282410" y="2058543"/>
                    <a:pt x="3282410" y="2055114"/>
                  </a:cubicBezTo>
                  <a:cubicBezTo>
                    <a:pt x="3282410" y="2051685"/>
                    <a:pt x="3285172" y="2048923"/>
                    <a:pt x="3288601" y="2048923"/>
                  </a:cubicBezTo>
                  <a:close/>
                  <a:moveTo>
                    <a:pt x="3259169" y="2047590"/>
                  </a:moveTo>
                  <a:cubicBezTo>
                    <a:pt x="3262589" y="2047590"/>
                    <a:pt x="3265361" y="2050362"/>
                    <a:pt x="3265361" y="2053781"/>
                  </a:cubicBezTo>
                  <a:cubicBezTo>
                    <a:pt x="3265361" y="2057201"/>
                    <a:pt x="3262589" y="2059972"/>
                    <a:pt x="3259169" y="2059972"/>
                  </a:cubicBezTo>
                  <a:cubicBezTo>
                    <a:pt x="3255750" y="2059972"/>
                    <a:pt x="3252978" y="2057201"/>
                    <a:pt x="3252978" y="2053781"/>
                  </a:cubicBezTo>
                  <a:cubicBezTo>
                    <a:pt x="3252978" y="2050362"/>
                    <a:pt x="3255750" y="2047590"/>
                    <a:pt x="3259169" y="2047590"/>
                  </a:cubicBezTo>
                  <a:close/>
                  <a:moveTo>
                    <a:pt x="3271456" y="2047304"/>
                  </a:moveTo>
                  <a:cubicBezTo>
                    <a:pt x="3274885" y="2047304"/>
                    <a:pt x="3277647" y="2050066"/>
                    <a:pt x="3277647" y="2053495"/>
                  </a:cubicBezTo>
                  <a:cubicBezTo>
                    <a:pt x="3277647" y="2056924"/>
                    <a:pt x="3274885" y="2059687"/>
                    <a:pt x="3271456" y="2059687"/>
                  </a:cubicBezTo>
                  <a:cubicBezTo>
                    <a:pt x="3268027" y="2059687"/>
                    <a:pt x="3265265" y="2056924"/>
                    <a:pt x="3265265" y="2053495"/>
                  </a:cubicBezTo>
                  <a:cubicBezTo>
                    <a:pt x="3265265" y="2050066"/>
                    <a:pt x="3268027" y="2047304"/>
                    <a:pt x="3271456" y="2047304"/>
                  </a:cubicBezTo>
                  <a:close/>
                  <a:moveTo>
                    <a:pt x="3240023" y="2047208"/>
                  </a:moveTo>
                  <a:cubicBezTo>
                    <a:pt x="3243452" y="2047208"/>
                    <a:pt x="3246214" y="2049970"/>
                    <a:pt x="3246214" y="2053399"/>
                  </a:cubicBezTo>
                  <a:cubicBezTo>
                    <a:pt x="3246214" y="2056828"/>
                    <a:pt x="3243452" y="2059591"/>
                    <a:pt x="3240023" y="2059591"/>
                  </a:cubicBezTo>
                  <a:cubicBezTo>
                    <a:pt x="3236594" y="2059591"/>
                    <a:pt x="3233832" y="2056828"/>
                    <a:pt x="3233832" y="2053399"/>
                  </a:cubicBezTo>
                  <a:cubicBezTo>
                    <a:pt x="3233832" y="2049970"/>
                    <a:pt x="3236594" y="2047208"/>
                    <a:pt x="3240023" y="2047208"/>
                  </a:cubicBezTo>
                  <a:close/>
                  <a:moveTo>
                    <a:pt x="578643" y="2047208"/>
                  </a:moveTo>
                  <a:cubicBezTo>
                    <a:pt x="582072" y="2047208"/>
                    <a:pt x="584835" y="2049970"/>
                    <a:pt x="584835" y="2053399"/>
                  </a:cubicBezTo>
                  <a:cubicBezTo>
                    <a:pt x="584835" y="2056828"/>
                    <a:pt x="582072" y="2059591"/>
                    <a:pt x="578643" y="2059591"/>
                  </a:cubicBezTo>
                  <a:cubicBezTo>
                    <a:pt x="575214" y="2059591"/>
                    <a:pt x="572452" y="2056828"/>
                    <a:pt x="572452" y="2053399"/>
                  </a:cubicBezTo>
                  <a:cubicBezTo>
                    <a:pt x="572452" y="2049970"/>
                    <a:pt x="575214" y="2047208"/>
                    <a:pt x="578643" y="2047208"/>
                  </a:cubicBezTo>
                  <a:close/>
                  <a:moveTo>
                    <a:pt x="58388" y="2043113"/>
                  </a:moveTo>
                  <a:cubicBezTo>
                    <a:pt x="61817" y="2043113"/>
                    <a:pt x="64580" y="2045875"/>
                    <a:pt x="64580" y="2049304"/>
                  </a:cubicBezTo>
                  <a:cubicBezTo>
                    <a:pt x="64580" y="2052733"/>
                    <a:pt x="61817" y="2055495"/>
                    <a:pt x="58388" y="2055495"/>
                  </a:cubicBezTo>
                  <a:cubicBezTo>
                    <a:pt x="54959" y="2055495"/>
                    <a:pt x="52197" y="2052733"/>
                    <a:pt x="52197" y="2049304"/>
                  </a:cubicBezTo>
                  <a:cubicBezTo>
                    <a:pt x="52197" y="2045875"/>
                    <a:pt x="54959" y="2043113"/>
                    <a:pt x="58388" y="2043113"/>
                  </a:cubicBezTo>
                  <a:close/>
                  <a:moveTo>
                    <a:pt x="3198018" y="2042732"/>
                  </a:moveTo>
                  <a:cubicBezTo>
                    <a:pt x="3201447" y="2042732"/>
                    <a:pt x="3204209" y="2045494"/>
                    <a:pt x="3204209" y="2048923"/>
                  </a:cubicBezTo>
                  <a:cubicBezTo>
                    <a:pt x="3204209" y="2052352"/>
                    <a:pt x="3201447" y="2055115"/>
                    <a:pt x="3198018" y="2055115"/>
                  </a:cubicBezTo>
                  <a:cubicBezTo>
                    <a:pt x="3194589" y="2055115"/>
                    <a:pt x="3191827" y="2052352"/>
                    <a:pt x="3191827" y="2048923"/>
                  </a:cubicBezTo>
                  <a:cubicBezTo>
                    <a:pt x="3191827" y="2045494"/>
                    <a:pt x="3194589" y="2042732"/>
                    <a:pt x="3198018" y="2042732"/>
                  </a:cubicBezTo>
                  <a:close/>
                  <a:moveTo>
                    <a:pt x="70580" y="2042732"/>
                  </a:moveTo>
                  <a:cubicBezTo>
                    <a:pt x="74009" y="2042732"/>
                    <a:pt x="76772" y="2045494"/>
                    <a:pt x="76772" y="2048923"/>
                  </a:cubicBezTo>
                  <a:cubicBezTo>
                    <a:pt x="76772" y="2052352"/>
                    <a:pt x="74009" y="2055115"/>
                    <a:pt x="70580" y="2055115"/>
                  </a:cubicBezTo>
                  <a:cubicBezTo>
                    <a:pt x="67151" y="2055115"/>
                    <a:pt x="64389" y="2052352"/>
                    <a:pt x="64389" y="2048923"/>
                  </a:cubicBezTo>
                  <a:cubicBezTo>
                    <a:pt x="64389" y="2045494"/>
                    <a:pt x="67151" y="2042732"/>
                    <a:pt x="70580" y="2042732"/>
                  </a:cubicBezTo>
                  <a:close/>
                  <a:moveTo>
                    <a:pt x="3081718" y="2042541"/>
                  </a:moveTo>
                  <a:cubicBezTo>
                    <a:pt x="3085147" y="2042541"/>
                    <a:pt x="3087909" y="2045303"/>
                    <a:pt x="3087909" y="2048732"/>
                  </a:cubicBezTo>
                  <a:cubicBezTo>
                    <a:pt x="3087909" y="2052161"/>
                    <a:pt x="3085147" y="2054924"/>
                    <a:pt x="3081718" y="2054924"/>
                  </a:cubicBezTo>
                  <a:cubicBezTo>
                    <a:pt x="3078289" y="2054924"/>
                    <a:pt x="3075527" y="2052161"/>
                    <a:pt x="3075527" y="2048732"/>
                  </a:cubicBezTo>
                  <a:cubicBezTo>
                    <a:pt x="3075527" y="2045303"/>
                    <a:pt x="3078289" y="2042541"/>
                    <a:pt x="3081718" y="2042541"/>
                  </a:cubicBezTo>
                  <a:close/>
                  <a:moveTo>
                    <a:pt x="88201" y="2041779"/>
                  </a:moveTo>
                  <a:cubicBezTo>
                    <a:pt x="91630" y="2041779"/>
                    <a:pt x="94393" y="2044541"/>
                    <a:pt x="94393" y="2047970"/>
                  </a:cubicBezTo>
                  <a:cubicBezTo>
                    <a:pt x="94393" y="2051399"/>
                    <a:pt x="91630" y="2054161"/>
                    <a:pt x="88201" y="2054161"/>
                  </a:cubicBezTo>
                  <a:cubicBezTo>
                    <a:pt x="84772" y="2054161"/>
                    <a:pt x="82010" y="2051399"/>
                    <a:pt x="82010" y="2047970"/>
                  </a:cubicBezTo>
                  <a:cubicBezTo>
                    <a:pt x="82010" y="2044541"/>
                    <a:pt x="84772" y="2041779"/>
                    <a:pt x="88201" y="2041779"/>
                  </a:cubicBezTo>
                  <a:close/>
                  <a:moveTo>
                    <a:pt x="3295649" y="2041398"/>
                  </a:moveTo>
                  <a:cubicBezTo>
                    <a:pt x="3299078" y="2041398"/>
                    <a:pt x="3301840" y="2044160"/>
                    <a:pt x="3301840" y="2047589"/>
                  </a:cubicBezTo>
                  <a:cubicBezTo>
                    <a:pt x="3301840" y="2051018"/>
                    <a:pt x="3299078" y="2053781"/>
                    <a:pt x="3295649" y="2053781"/>
                  </a:cubicBezTo>
                  <a:cubicBezTo>
                    <a:pt x="3292220" y="2053781"/>
                    <a:pt x="3289458" y="2051018"/>
                    <a:pt x="3289458" y="2047589"/>
                  </a:cubicBezTo>
                  <a:cubicBezTo>
                    <a:pt x="3289458" y="2044160"/>
                    <a:pt x="3292220" y="2041398"/>
                    <a:pt x="3295649" y="2041398"/>
                  </a:cubicBezTo>
                  <a:close/>
                  <a:moveTo>
                    <a:pt x="2788919" y="2040065"/>
                  </a:moveTo>
                  <a:cubicBezTo>
                    <a:pt x="2792348" y="2040065"/>
                    <a:pt x="2795111" y="2042827"/>
                    <a:pt x="2795111" y="2046256"/>
                  </a:cubicBezTo>
                  <a:cubicBezTo>
                    <a:pt x="2795111" y="2049685"/>
                    <a:pt x="2792348" y="2052448"/>
                    <a:pt x="2788919" y="2052448"/>
                  </a:cubicBezTo>
                  <a:cubicBezTo>
                    <a:pt x="2785490" y="2052448"/>
                    <a:pt x="2782728" y="2049685"/>
                    <a:pt x="2782728" y="2046256"/>
                  </a:cubicBezTo>
                  <a:cubicBezTo>
                    <a:pt x="2782728" y="2042827"/>
                    <a:pt x="2785490" y="2040065"/>
                    <a:pt x="2788919" y="2040065"/>
                  </a:cubicBezTo>
                  <a:close/>
                  <a:moveTo>
                    <a:pt x="1704879" y="2039779"/>
                  </a:moveTo>
                  <a:cubicBezTo>
                    <a:pt x="1708308" y="2039779"/>
                    <a:pt x="1711071" y="2042541"/>
                    <a:pt x="1711071" y="2045970"/>
                  </a:cubicBezTo>
                  <a:cubicBezTo>
                    <a:pt x="1711071" y="2049399"/>
                    <a:pt x="1708308" y="2052162"/>
                    <a:pt x="1704879" y="2052162"/>
                  </a:cubicBezTo>
                  <a:cubicBezTo>
                    <a:pt x="1701450" y="2052162"/>
                    <a:pt x="1698688" y="2049399"/>
                    <a:pt x="1698688" y="2045970"/>
                  </a:cubicBezTo>
                  <a:cubicBezTo>
                    <a:pt x="1698688" y="2042541"/>
                    <a:pt x="1701450" y="2039779"/>
                    <a:pt x="1704879" y="2039779"/>
                  </a:cubicBezTo>
                  <a:close/>
                  <a:moveTo>
                    <a:pt x="1560385" y="2038541"/>
                  </a:moveTo>
                  <a:cubicBezTo>
                    <a:pt x="1563814" y="2038541"/>
                    <a:pt x="1566577" y="2041303"/>
                    <a:pt x="1566577" y="2044732"/>
                  </a:cubicBezTo>
                  <a:cubicBezTo>
                    <a:pt x="1566577" y="2048161"/>
                    <a:pt x="1563814" y="2050924"/>
                    <a:pt x="1560385" y="2050924"/>
                  </a:cubicBezTo>
                  <a:cubicBezTo>
                    <a:pt x="1556956" y="2050924"/>
                    <a:pt x="1554194" y="2048161"/>
                    <a:pt x="1554194" y="2044732"/>
                  </a:cubicBezTo>
                  <a:cubicBezTo>
                    <a:pt x="1554194" y="2041303"/>
                    <a:pt x="1556956" y="2038541"/>
                    <a:pt x="1560385" y="2038541"/>
                  </a:cubicBezTo>
                  <a:close/>
                  <a:moveTo>
                    <a:pt x="3276504" y="2038350"/>
                  </a:moveTo>
                  <a:cubicBezTo>
                    <a:pt x="3279933" y="2038350"/>
                    <a:pt x="3282696" y="2041112"/>
                    <a:pt x="3282696" y="2044541"/>
                  </a:cubicBezTo>
                  <a:cubicBezTo>
                    <a:pt x="3282696" y="2047970"/>
                    <a:pt x="3279933" y="2050732"/>
                    <a:pt x="3276504" y="2050732"/>
                  </a:cubicBezTo>
                  <a:cubicBezTo>
                    <a:pt x="3273075" y="2050732"/>
                    <a:pt x="3270313" y="2047970"/>
                    <a:pt x="3270313" y="2044541"/>
                  </a:cubicBezTo>
                  <a:cubicBezTo>
                    <a:pt x="3270313" y="2041112"/>
                    <a:pt x="3273075" y="2038350"/>
                    <a:pt x="3276504" y="2038350"/>
                  </a:cubicBezTo>
                  <a:close/>
                  <a:moveTo>
                    <a:pt x="3264217" y="2037207"/>
                  </a:moveTo>
                  <a:cubicBezTo>
                    <a:pt x="3267646" y="2037207"/>
                    <a:pt x="3270409" y="2039969"/>
                    <a:pt x="3270409" y="2043398"/>
                  </a:cubicBezTo>
                  <a:cubicBezTo>
                    <a:pt x="3270409" y="2046827"/>
                    <a:pt x="3267646" y="2049590"/>
                    <a:pt x="3264217" y="2049590"/>
                  </a:cubicBezTo>
                  <a:cubicBezTo>
                    <a:pt x="3260788" y="2049590"/>
                    <a:pt x="3258026" y="2046827"/>
                    <a:pt x="3258026" y="2043398"/>
                  </a:cubicBezTo>
                  <a:cubicBezTo>
                    <a:pt x="3258026" y="2039969"/>
                    <a:pt x="3260788" y="2037207"/>
                    <a:pt x="3264217" y="2037207"/>
                  </a:cubicBezTo>
                  <a:close/>
                  <a:moveTo>
                    <a:pt x="126872" y="2036921"/>
                  </a:moveTo>
                  <a:cubicBezTo>
                    <a:pt x="130301" y="2036921"/>
                    <a:pt x="133064" y="2039683"/>
                    <a:pt x="133064" y="2043112"/>
                  </a:cubicBezTo>
                  <a:cubicBezTo>
                    <a:pt x="133064" y="2046541"/>
                    <a:pt x="130301" y="2049304"/>
                    <a:pt x="126872" y="2049304"/>
                  </a:cubicBezTo>
                  <a:cubicBezTo>
                    <a:pt x="123443" y="2049304"/>
                    <a:pt x="120681" y="2046541"/>
                    <a:pt x="120681" y="2043112"/>
                  </a:cubicBezTo>
                  <a:cubicBezTo>
                    <a:pt x="120681" y="2039683"/>
                    <a:pt x="123443" y="2036921"/>
                    <a:pt x="126872" y="2036921"/>
                  </a:cubicBezTo>
                  <a:close/>
                  <a:moveTo>
                    <a:pt x="235838" y="2036541"/>
                  </a:moveTo>
                  <a:cubicBezTo>
                    <a:pt x="239267" y="2036541"/>
                    <a:pt x="242029" y="2039303"/>
                    <a:pt x="242029" y="2042732"/>
                  </a:cubicBezTo>
                  <a:cubicBezTo>
                    <a:pt x="242029" y="2046161"/>
                    <a:pt x="239267" y="2048924"/>
                    <a:pt x="235838" y="2048924"/>
                  </a:cubicBezTo>
                  <a:cubicBezTo>
                    <a:pt x="232409" y="2048924"/>
                    <a:pt x="229647" y="2046161"/>
                    <a:pt x="229647" y="2042732"/>
                  </a:cubicBezTo>
                  <a:cubicBezTo>
                    <a:pt x="229647" y="2039303"/>
                    <a:pt x="232409" y="2036541"/>
                    <a:pt x="235838" y="2036541"/>
                  </a:cubicBezTo>
                  <a:close/>
                  <a:moveTo>
                    <a:pt x="1847659" y="2035874"/>
                  </a:moveTo>
                  <a:cubicBezTo>
                    <a:pt x="1851088" y="2035874"/>
                    <a:pt x="1853851" y="2038636"/>
                    <a:pt x="1853851" y="2042065"/>
                  </a:cubicBezTo>
                  <a:cubicBezTo>
                    <a:pt x="1853851" y="2045494"/>
                    <a:pt x="1851088" y="2048257"/>
                    <a:pt x="1847659" y="2048257"/>
                  </a:cubicBezTo>
                  <a:cubicBezTo>
                    <a:pt x="1844230" y="2048257"/>
                    <a:pt x="1841468" y="2045494"/>
                    <a:pt x="1841468" y="2042065"/>
                  </a:cubicBezTo>
                  <a:cubicBezTo>
                    <a:pt x="1841468" y="2038636"/>
                    <a:pt x="1844230" y="2035874"/>
                    <a:pt x="1847659" y="2035874"/>
                  </a:cubicBezTo>
                  <a:close/>
                  <a:moveTo>
                    <a:pt x="3248119" y="2035683"/>
                  </a:moveTo>
                  <a:cubicBezTo>
                    <a:pt x="3251548" y="2035683"/>
                    <a:pt x="3254311" y="2038445"/>
                    <a:pt x="3254311" y="2041874"/>
                  </a:cubicBezTo>
                  <a:cubicBezTo>
                    <a:pt x="3254311" y="2045303"/>
                    <a:pt x="3251548" y="2048065"/>
                    <a:pt x="3248119" y="2048065"/>
                  </a:cubicBezTo>
                  <a:cubicBezTo>
                    <a:pt x="3244690" y="2048065"/>
                    <a:pt x="3241928" y="2045303"/>
                    <a:pt x="3241928" y="2041874"/>
                  </a:cubicBezTo>
                  <a:cubicBezTo>
                    <a:pt x="3241928" y="2038445"/>
                    <a:pt x="3244690" y="2035683"/>
                    <a:pt x="3248119" y="2035683"/>
                  </a:cubicBezTo>
                  <a:close/>
                  <a:moveTo>
                    <a:pt x="3303174" y="2034350"/>
                  </a:moveTo>
                  <a:cubicBezTo>
                    <a:pt x="3306603" y="2034350"/>
                    <a:pt x="3309365" y="2037112"/>
                    <a:pt x="3309365" y="2040541"/>
                  </a:cubicBezTo>
                  <a:cubicBezTo>
                    <a:pt x="3309365" y="2043970"/>
                    <a:pt x="3306603" y="2046732"/>
                    <a:pt x="3303174" y="2046732"/>
                  </a:cubicBezTo>
                  <a:cubicBezTo>
                    <a:pt x="3299745" y="2046732"/>
                    <a:pt x="3296983" y="2043970"/>
                    <a:pt x="3296983" y="2040541"/>
                  </a:cubicBezTo>
                  <a:cubicBezTo>
                    <a:pt x="3296983" y="2037112"/>
                    <a:pt x="3299745" y="2034350"/>
                    <a:pt x="3303174" y="2034350"/>
                  </a:cubicBezTo>
                  <a:close/>
                  <a:moveTo>
                    <a:pt x="53339" y="2034350"/>
                  </a:moveTo>
                  <a:cubicBezTo>
                    <a:pt x="56768" y="2034350"/>
                    <a:pt x="59531" y="2037112"/>
                    <a:pt x="59531" y="2040541"/>
                  </a:cubicBezTo>
                  <a:cubicBezTo>
                    <a:pt x="59531" y="2043970"/>
                    <a:pt x="56768" y="2046732"/>
                    <a:pt x="53339" y="2046732"/>
                  </a:cubicBezTo>
                  <a:cubicBezTo>
                    <a:pt x="49910" y="2046732"/>
                    <a:pt x="47148" y="2043970"/>
                    <a:pt x="47148" y="2040541"/>
                  </a:cubicBezTo>
                  <a:cubicBezTo>
                    <a:pt x="47148" y="2037112"/>
                    <a:pt x="49910" y="2034350"/>
                    <a:pt x="53339" y="2034350"/>
                  </a:cubicBezTo>
                  <a:close/>
                  <a:moveTo>
                    <a:pt x="513968" y="2033969"/>
                  </a:moveTo>
                  <a:cubicBezTo>
                    <a:pt x="517397" y="2033969"/>
                    <a:pt x="520159" y="2036731"/>
                    <a:pt x="520159" y="2040160"/>
                  </a:cubicBezTo>
                  <a:cubicBezTo>
                    <a:pt x="520159" y="2043589"/>
                    <a:pt x="517397" y="2046352"/>
                    <a:pt x="513968" y="2046352"/>
                  </a:cubicBezTo>
                  <a:cubicBezTo>
                    <a:pt x="510539" y="2046352"/>
                    <a:pt x="507777" y="2043589"/>
                    <a:pt x="507777" y="2040160"/>
                  </a:cubicBezTo>
                  <a:cubicBezTo>
                    <a:pt x="507777" y="2036731"/>
                    <a:pt x="510539" y="2033969"/>
                    <a:pt x="513968" y="2033969"/>
                  </a:cubicBezTo>
                  <a:close/>
                  <a:moveTo>
                    <a:pt x="1420082" y="2032635"/>
                  </a:moveTo>
                  <a:cubicBezTo>
                    <a:pt x="1423511" y="2032635"/>
                    <a:pt x="1426274" y="2035397"/>
                    <a:pt x="1426274" y="2038826"/>
                  </a:cubicBezTo>
                  <a:cubicBezTo>
                    <a:pt x="1426274" y="2042255"/>
                    <a:pt x="1423511" y="2045018"/>
                    <a:pt x="1420082" y="2045018"/>
                  </a:cubicBezTo>
                  <a:cubicBezTo>
                    <a:pt x="1416653" y="2045018"/>
                    <a:pt x="1413891" y="2042255"/>
                    <a:pt x="1413891" y="2038826"/>
                  </a:cubicBezTo>
                  <a:cubicBezTo>
                    <a:pt x="1413891" y="2035397"/>
                    <a:pt x="1416653" y="2032635"/>
                    <a:pt x="1420082" y="2032635"/>
                  </a:cubicBezTo>
                  <a:close/>
                  <a:moveTo>
                    <a:pt x="65626" y="2032540"/>
                  </a:moveTo>
                  <a:cubicBezTo>
                    <a:pt x="69055" y="2032540"/>
                    <a:pt x="71818" y="2035302"/>
                    <a:pt x="71818" y="2038731"/>
                  </a:cubicBezTo>
                  <a:cubicBezTo>
                    <a:pt x="71818" y="2042160"/>
                    <a:pt x="69055" y="2044922"/>
                    <a:pt x="65626" y="2044922"/>
                  </a:cubicBezTo>
                  <a:cubicBezTo>
                    <a:pt x="62197" y="2044922"/>
                    <a:pt x="59435" y="2042160"/>
                    <a:pt x="59435" y="2038731"/>
                  </a:cubicBezTo>
                  <a:cubicBezTo>
                    <a:pt x="59435" y="2035302"/>
                    <a:pt x="62197" y="2032540"/>
                    <a:pt x="65626" y="2032540"/>
                  </a:cubicBezTo>
                  <a:close/>
                  <a:moveTo>
                    <a:pt x="80581" y="2030540"/>
                  </a:moveTo>
                  <a:cubicBezTo>
                    <a:pt x="84010" y="2030540"/>
                    <a:pt x="86772" y="2033302"/>
                    <a:pt x="86772" y="2036731"/>
                  </a:cubicBezTo>
                  <a:cubicBezTo>
                    <a:pt x="86772" y="2040160"/>
                    <a:pt x="84010" y="2042923"/>
                    <a:pt x="80581" y="2042923"/>
                  </a:cubicBezTo>
                  <a:cubicBezTo>
                    <a:pt x="77152" y="2042923"/>
                    <a:pt x="74390" y="2040160"/>
                    <a:pt x="74390" y="2036731"/>
                  </a:cubicBezTo>
                  <a:cubicBezTo>
                    <a:pt x="74390" y="2033302"/>
                    <a:pt x="77152" y="2030540"/>
                    <a:pt x="80581" y="2030540"/>
                  </a:cubicBezTo>
                  <a:close/>
                  <a:moveTo>
                    <a:pt x="3213067" y="2030445"/>
                  </a:moveTo>
                  <a:cubicBezTo>
                    <a:pt x="3216496" y="2030445"/>
                    <a:pt x="3219259" y="2033207"/>
                    <a:pt x="3219259" y="2036636"/>
                  </a:cubicBezTo>
                  <a:cubicBezTo>
                    <a:pt x="3219259" y="2040065"/>
                    <a:pt x="3216496" y="2042828"/>
                    <a:pt x="3213067" y="2042828"/>
                  </a:cubicBezTo>
                  <a:cubicBezTo>
                    <a:pt x="3209638" y="2042828"/>
                    <a:pt x="3206876" y="2040065"/>
                    <a:pt x="3206876" y="2036636"/>
                  </a:cubicBezTo>
                  <a:cubicBezTo>
                    <a:pt x="3206876" y="2033207"/>
                    <a:pt x="3209638" y="2030445"/>
                    <a:pt x="3213067" y="2030445"/>
                  </a:cubicBezTo>
                  <a:close/>
                  <a:moveTo>
                    <a:pt x="3281648" y="2029778"/>
                  </a:moveTo>
                  <a:cubicBezTo>
                    <a:pt x="3285077" y="2029778"/>
                    <a:pt x="3287839" y="2032540"/>
                    <a:pt x="3287839" y="2035969"/>
                  </a:cubicBezTo>
                  <a:cubicBezTo>
                    <a:pt x="3287839" y="2039398"/>
                    <a:pt x="3285077" y="2042161"/>
                    <a:pt x="3281648" y="2042161"/>
                  </a:cubicBezTo>
                  <a:cubicBezTo>
                    <a:pt x="3278219" y="2042161"/>
                    <a:pt x="3275457" y="2039398"/>
                    <a:pt x="3275457" y="2035969"/>
                  </a:cubicBezTo>
                  <a:cubicBezTo>
                    <a:pt x="3275457" y="2032540"/>
                    <a:pt x="3278219" y="2029778"/>
                    <a:pt x="3281648" y="2029778"/>
                  </a:cubicBezTo>
                  <a:close/>
                  <a:moveTo>
                    <a:pt x="3112198" y="2029683"/>
                  </a:moveTo>
                  <a:cubicBezTo>
                    <a:pt x="3115627" y="2029683"/>
                    <a:pt x="3118390" y="2032445"/>
                    <a:pt x="3118390" y="2035874"/>
                  </a:cubicBezTo>
                  <a:cubicBezTo>
                    <a:pt x="3118390" y="2039303"/>
                    <a:pt x="3115627" y="2042066"/>
                    <a:pt x="3112198" y="2042066"/>
                  </a:cubicBezTo>
                  <a:cubicBezTo>
                    <a:pt x="3108769" y="2042066"/>
                    <a:pt x="3106007" y="2039303"/>
                    <a:pt x="3106007" y="2035874"/>
                  </a:cubicBezTo>
                  <a:cubicBezTo>
                    <a:pt x="3106007" y="2032445"/>
                    <a:pt x="3108769" y="2029683"/>
                    <a:pt x="3112198" y="2029683"/>
                  </a:cubicBezTo>
                  <a:close/>
                  <a:moveTo>
                    <a:pt x="1984152" y="2028158"/>
                  </a:moveTo>
                  <a:cubicBezTo>
                    <a:pt x="1987581" y="2028158"/>
                    <a:pt x="1990344" y="2030920"/>
                    <a:pt x="1990344" y="2034349"/>
                  </a:cubicBezTo>
                  <a:cubicBezTo>
                    <a:pt x="1990344" y="2037778"/>
                    <a:pt x="1987581" y="2040541"/>
                    <a:pt x="1984152" y="2040541"/>
                  </a:cubicBezTo>
                  <a:cubicBezTo>
                    <a:pt x="1980723" y="2040541"/>
                    <a:pt x="1977961" y="2037778"/>
                    <a:pt x="1977961" y="2034349"/>
                  </a:cubicBezTo>
                  <a:cubicBezTo>
                    <a:pt x="1977961" y="2030920"/>
                    <a:pt x="1980723" y="2028158"/>
                    <a:pt x="1984152" y="2028158"/>
                  </a:cubicBezTo>
                  <a:close/>
                  <a:moveTo>
                    <a:pt x="3311270" y="2027778"/>
                  </a:moveTo>
                  <a:cubicBezTo>
                    <a:pt x="3314699" y="2027778"/>
                    <a:pt x="3317462" y="2030540"/>
                    <a:pt x="3317462" y="2033969"/>
                  </a:cubicBezTo>
                  <a:cubicBezTo>
                    <a:pt x="3317462" y="2037398"/>
                    <a:pt x="3314699" y="2040160"/>
                    <a:pt x="3311270" y="2040160"/>
                  </a:cubicBezTo>
                  <a:cubicBezTo>
                    <a:pt x="3307841" y="2040160"/>
                    <a:pt x="3305079" y="2037398"/>
                    <a:pt x="3305079" y="2033969"/>
                  </a:cubicBezTo>
                  <a:cubicBezTo>
                    <a:pt x="3305079" y="2030540"/>
                    <a:pt x="3307841" y="2027778"/>
                    <a:pt x="3311270" y="2027778"/>
                  </a:cubicBezTo>
                  <a:close/>
                  <a:moveTo>
                    <a:pt x="3268979" y="2027301"/>
                  </a:moveTo>
                  <a:cubicBezTo>
                    <a:pt x="3272408" y="2027301"/>
                    <a:pt x="3275171" y="2030063"/>
                    <a:pt x="3275171" y="2033492"/>
                  </a:cubicBezTo>
                  <a:cubicBezTo>
                    <a:pt x="3275171" y="2036921"/>
                    <a:pt x="3272408" y="2039684"/>
                    <a:pt x="3268979" y="2039684"/>
                  </a:cubicBezTo>
                  <a:cubicBezTo>
                    <a:pt x="3265550" y="2039684"/>
                    <a:pt x="3262788" y="2036921"/>
                    <a:pt x="3262788" y="2033492"/>
                  </a:cubicBezTo>
                  <a:cubicBezTo>
                    <a:pt x="3262788" y="2030063"/>
                    <a:pt x="3265550" y="2027301"/>
                    <a:pt x="3268979" y="2027301"/>
                  </a:cubicBezTo>
                  <a:close/>
                  <a:moveTo>
                    <a:pt x="2850356" y="2027111"/>
                  </a:moveTo>
                  <a:cubicBezTo>
                    <a:pt x="2853785" y="2027111"/>
                    <a:pt x="2856547" y="2029873"/>
                    <a:pt x="2856547" y="2033302"/>
                  </a:cubicBezTo>
                  <a:cubicBezTo>
                    <a:pt x="2856547" y="2036731"/>
                    <a:pt x="2853785" y="2039494"/>
                    <a:pt x="2850356" y="2039494"/>
                  </a:cubicBezTo>
                  <a:cubicBezTo>
                    <a:pt x="2846927" y="2039494"/>
                    <a:pt x="2844165" y="2036731"/>
                    <a:pt x="2844165" y="2033302"/>
                  </a:cubicBezTo>
                  <a:cubicBezTo>
                    <a:pt x="2844165" y="2029873"/>
                    <a:pt x="2846927" y="2027111"/>
                    <a:pt x="2850356" y="2027111"/>
                  </a:cubicBezTo>
                  <a:close/>
                  <a:moveTo>
                    <a:pt x="48005" y="2026063"/>
                  </a:moveTo>
                  <a:cubicBezTo>
                    <a:pt x="51434" y="2026063"/>
                    <a:pt x="54197" y="2028825"/>
                    <a:pt x="54197" y="2032254"/>
                  </a:cubicBezTo>
                  <a:cubicBezTo>
                    <a:pt x="54197" y="2035683"/>
                    <a:pt x="51434" y="2038446"/>
                    <a:pt x="48005" y="2038446"/>
                  </a:cubicBezTo>
                  <a:cubicBezTo>
                    <a:pt x="44576" y="2038446"/>
                    <a:pt x="41814" y="2035683"/>
                    <a:pt x="41814" y="2032254"/>
                  </a:cubicBezTo>
                  <a:cubicBezTo>
                    <a:pt x="41814" y="2028825"/>
                    <a:pt x="44576" y="2026063"/>
                    <a:pt x="48005" y="2026063"/>
                  </a:cubicBezTo>
                  <a:close/>
                  <a:moveTo>
                    <a:pt x="3320034" y="2025206"/>
                  </a:moveTo>
                  <a:cubicBezTo>
                    <a:pt x="3321367" y="2025206"/>
                    <a:pt x="3322510" y="2026349"/>
                    <a:pt x="3322510" y="2027682"/>
                  </a:cubicBezTo>
                  <a:cubicBezTo>
                    <a:pt x="3322510" y="2029016"/>
                    <a:pt x="3321367" y="2030159"/>
                    <a:pt x="3320034" y="2030159"/>
                  </a:cubicBezTo>
                  <a:cubicBezTo>
                    <a:pt x="3318700" y="2030159"/>
                    <a:pt x="3317557" y="2029016"/>
                    <a:pt x="3317557" y="2027682"/>
                  </a:cubicBezTo>
                  <a:cubicBezTo>
                    <a:pt x="3317557" y="2026349"/>
                    <a:pt x="3318700" y="2025206"/>
                    <a:pt x="3320034" y="2025206"/>
                  </a:cubicBezTo>
                  <a:close/>
                  <a:moveTo>
                    <a:pt x="112870" y="2024920"/>
                  </a:moveTo>
                  <a:cubicBezTo>
                    <a:pt x="116299" y="2024920"/>
                    <a:pt x="119062" y="2027682"/>
                    <a:pt x="119062" y="2031111"/>
                  </a:cubicBezTo>
                  <a:cubicBezTo>
                    <a:pt x="119062" y="2034540"/>
                    <a:pt x="116299" y="2037303"/>
                    <a:pt x="112870" y="2037303"/>
                  </a:cubicBezTo>
                  <a:cubicBezTo>
                    <a:pt x="109441" y="2037303"/>
                    <a:pt x="106679" y="2034540"/>
                    <a:pt x="106679" y="2031111"/>
                  </a:cubicBezTo>
                  <a:cubicBezTo>
                    <a:pt x="106679" y="2027682"/>
                    <a:pt x="109441" y="2024920"/>
                    <a:pt x="112870" y="2024920"/>
                  </a:cubicBezTo>
                  <a:close/>
                  <a:moveTo>
                    <a:pt x="3255168" y="2024729"/>
                  </a:moveTo>
                  <a:cubicBezTo>
                    <a:pt x="3258597" y="2024729"/>
                    <a:pt x="3261359" y="2027491"/>
                    <a:pt x="3261359" y="2030920"/>
                  </a:cubicBezTo>
                  <a:cubicBezTo>
                    <a:pt x="3261359" y="2034349"/>
                    <a:pt x="3258597" y="2037112"/>
                    <a:pt x="3255168" y="2037112"/>
                  </a:cubicBezTo>
                  <a:cubicBezTo>
                    <a:pt x="3251739" y="2037112"/>
                    <a:pt x="3248977" y="2034349"/>
                    <a:pt x="3248977" y="2030920"/>
                  </a:cubicBezTo>
                  <a:cubicBezTo>
                    <a:pt x="3248977" y="2027491"/>
                    <a:pt x="3251739" y="2024729"/>
                    <a:pt x="3255168" y="2024729"/>
                  </a:cubicBezTo>
                  <a:close/>
                  <a:moveTo>
                    <a:pt x="1287398" y="2023872"/>
                  </a:moveTo>
                  <a:cubicBezTo>
                    <a:pt x="1290827" y="2023872"/>
                    <a:pt x="1293590" y="2026634"/>
                    <a:pt x="1293590" y="2030063"/>
                  </a:cubicBezTo>
                  <a:cubicBezTo>
                    <a:pt x="1293590" y="2033492"/>
                    <a:pt x="1290827" y="2036255"/>
                    <a:pt x="1287398" y="2036255"/>
                  </a:cubicBezTo>
                  <a:cubicBezTo>
                    <a:pt x="1283969" y="2036255"/>
                    <a:pt x="1281207" y="2033492"/>
                    <a:pt x="1281207" y="2030063"/>
                  </a:cubicBezTo>
                  <a:cubicBezTo>
                    <a:pt x="1281207" y="2026634"/>
                    <a:pt x="1283969" y="2023872"/>
                    <a:pt x="1287398" y="2023872"/>
                  </a:cubicBezTo>
                  <a:close/>
                  <a:moveTo>
                    <a:pt x="207073" y="2023872"/>
                  </a:moveTo>
                  <a:cubicBezTo>
                    <a:pt x="210502" y="2023872"/>
                    <a:pt x="213264" y="2026634"/>
                    <a:pt x="213264" y="2030063"/>
                  </a:cubicBezTo>
                  <a:cubicBezTo>
                    <a:pt x="213264" y="2033492"/>
                    <a:pt x="210502" y="2036255"/>
                    <a:pt x="207073" y="2036255"/>
                  </a:cubicBezTo>
                  <a:cubicBezTo>
                    <a:pt x="203644" y="2036255"/>
                    <a:pt x="200882" y="2033492"/>
                    <a:pt x="200882" y="2030063"/>
                  </a:cubicBezTo>
                  <a:cubicBezTo>
                    <a:pt x="200882" y="2026634"/>
                    <a:pt x="203644" y="2023872"/>
                    <a:pt x="207073" y="2023872"/>
                  </a:cubicBezTo>
                  <a:close/>
                  <a:moveTo>
                    <a:pt x="61055" y="2022920"/>
                  </a:moveTo>
                  <a:cubicBezTo>
                    <a:pt x="64484" y="2022920"/>
                    <a:pt x="67246" y="2025682"/>
                    <a:pt x="67246" y="2029111"/>
                  </a:cubicBezTo>
                  <a:cubicBezTo>
                    <a:pt x="67246" y="2032540"/>
                    <a:pt x="64484" y="2035303"/>
                    <a:pt x="61055" y="2035303"/>
                  </a:cubicBezTo>
                  <a:cubicBezTo>
                    <a:pt x="57626" y="2035303"/>
                    <a:pt x="54864" y="2032540"/>
                    <a:pt x="54864" y="2029111"/>
                  </a:cubicBezTo>
                  <a:cubicBezTo>
                    <a:pt x="54864" y="2025682"/>
                    <a:pt x="57626" y="2022920"/>
                    <a:pt x="61055" y="2022920"/>
                  </a:cubicBezTo>
                  <a:close/>
                  <a:moveTo>
                    <a:pt x="3287172" y="2021777"/>
                  </a:moveTo>
                  <a:cubicBezTo>
                    <a:pt x="3290601" y="2021777"/>
                    <a:pt x="3293364" y="2024539"/>
                    <a:pt x="3293364" y="2027968"/>
                  </a:cubicBezTo>
                  <a:cubicBezTo>
                    <a:pt x="3293364" y="2031397"/>
                    <a:pt x="3290601" y="2034160"/>
                    <a:pt x="3287172" y="2034160"/>
                  </a:cubicBezTo>
                  <a:cubicBezTo>
                    <a:pt x="3283743" y="2034160"/>
                    <a:pt x="3280981" y="2031397"/>
                    <a:pt x="3280981" y="2027968"/>
                  </a:cubicBezTo>
                  <a:cubicBezTo>
                    <a:pt x="3280981" y="2024539"/>
                    <a:pt x="3283743" y="2021777"/>
                    <a:pt x="3287172" y="2021777"/>
                  </a:cubicBezTo>
                  <a:close/>
                  <a:moveTo>
                    <a:pt x="455294" y="2021205"/>
                  </a:moveTo>
                  <a:cubicBezTo>
                    <a:pt x="458723" y="2021205"/>
                    <a:pt x="461485" y="2023967"/>
                    <a:pt x="461485" y="2027396"/>
                  </a:cubicBezTo>
                  <a:cubicBezTo>
                    <a:pt x="461485" y="2030825"/>
                    <a:pt x="458723" y="2033588"/>
                    <a:pt x="455294" y="2033588"/>
                  </a:cubicBezTo>
                  <a:cubicBezTo>
                    <a:pt x="451865" y="2033588"/>
                    <a:pt x="449103" y="2030825"/>
                    <a:pt x="449103" y="2027396"/>
                  </a:cubicBezTo>
                  <a:cubicBezTo>
                    <a:pt x="449103" y="2023967"/>
                    <a:pt x="451865" y="2021205"/>
                    <a:pt x="455294" y="2021205"/>
                  </a:cubicBezTo>
                  <a:close/>
                  <a:moveTo>
                    <a:pt x="74008" y="2019776"/>
                  </a:moveTo>
                  <a:cubicBezTo>
                    <a:pt x="77437" y="2019776"/>
                    <a:pt x="80200" y="2022538"/>
                    <a:pt x="80200" y="2025967"/>
                  </a:cubicBezTo>
                  <a:cubicBezTo>
                    <a:pt x="80200" y="2029396"/>
                    <a:pt x="77437" y="2032159"/>
                    <a:pt x="74008" y="2032159"/>
                  </a:cubicBezTo>
                  <a:cubicBezTo>
                    <a:pt x="70579" y="2032159"/>
                    <a:pt x="67817" y="2029396"/>
                    <a:pt x="67817" y="2025967"/>
                  </a:cubicBezTo>
                  <a:cubicBezTo>
                    <a:pt x="67817" y="2022538"/>
                    <a:pt x="70579" y="2019776"/>
                    <a:pt x="74008" y="2019776"/>
                  </a:cubicBezTo>
                  <a:close/>
                  <a:moveTo>
                    <a:pt x="3226022" y="2018729"/>
                  </a:moveTo>
                  <a:cubicBezTo>
                    <a:pt x="3229451" y="2018729"/>
                    <a:pt x="3232213" y="2021491"/>
                    <a:pt x="3232213" y="2024920"/>
                  </a:cubicBezTo>
                  <a:cubicBezTo>
                    <a:pt x="3232213" y="2028349"/>
                    <a:pt x="3229451" y="2031112"/>
                    <a:pt x="3226022" y="2031112"/>
                  </a:cubicBezTo>
                  <a:cubicBezTo>
                    <a:pt x="3222593" y="2031112"/>
                    <a:pt x="3219831" y="2028349"/>
                    <a:pt x="3219831" y="2024920"/>
                  </a:cubicBezTo>
                  <a:cubicBezTo>
                    <a:pt x="3219831" y="2021491"/>
                    <a:pt x="3222593" y="2018729"/>
                    <a:pt x="3226022" y="2018729"/>
                  </a:cubicBezTo>
                  <a:close/>
                  <a:moveTo>
                    <a:pt x="2112073" y="2018538"/>
                  </a:moveTo>
                  <a:cubicBezTo>
                    <a:pt x="2115502" y="2018538"/>
                    <a:pt x="2118265" y="2021300"/>
                    <a:pt x="2118265" y="2024729"/>
                  </a:cubicBezTo>
                  <a:cubicBezTo>
                    <a:pt x="2118265" y="2028158"/>
                    <a:pt x="2115502" y="2030921"/>
                    <a:pt x="2112073" y="2030921"/>
                  </a:cubicBezTo>
                  <a:cubicBezTo>
                    <a:pt x="2108644" y="2030921"/>
                    <a:pt x="2105882" y="2028158"/>
                    <a:pt x="2105882" y="2024729"/>
                  </a:cubicBezTo>
                  <a:cubicBezTo>
                    <a:pt x="2105882" y="2021300"/>
                    <a:pt x="2108644" y="2018538"/>
                    <a:pt x="2112073" y="2018538"/>
                  </a:cubicBezTo>
                  <a:close/>
                  <a:moveTo>
                    <a:pt x="42385" y="2018253"/>
                  </a:moveTo>
                  <a:cubicBezTo>
                    <a:pt x="45814" y="2018253"/>
                    <a:pt x="48577" y="2021015"/>
                    <a:pt x="48577" y="2024444"/>
                  </a:cubicBezTo>
                  <a:cubicBezTo>
                    <a:pt x="48577" y="2027873"/>
                    <a:pt x="45814" y="2030635"/>
                    <a:pt x="42385" y="2030635"/>
                  </a:cubicBezTo>
                  <a:cubicBezTo>
                    <a:pt x="38956" y="2030635"/>
                    <a:pt x="36194" y="2027873"/>
                    <a:pt x="36194" y="2024444"/>
                  </a:cubicBezTo>
                  <a:cubicBezTo>
                    <a:pt x="36194" y="2021015"/>
                    <a:pt x="38956" y="2018253"/>
                    <a:pt x="42385" y="2018253"/>
                  </a:cubicBezTo>
                  <a:close/>
                  <a:moveTo>
                    <a:pt x="3273551" y="2017967"/>
                  </a:moveTo>
                  <a:cubicBezTo>
                    <a:pt x="3276980" y="2017967"/>
                    <a:pt x="3279742" y="2020729"/>
                    <a:pt x="3279742" y="2024158"/>
                  </a:cubicBezTo>
                  <a:cubicBezTo>
                    <a:pt x="3279742" y="2027587"/>
                    <a:pt x="3276980" y="2030349"/>
                    <a:pt x="3273551" y="2030349"/>
                  </a:cubicBezTo>
                  <a:cubicBezTo>
                    <a:pt x="3270122" y="2030349"/>
                    <a:pt x="3267360" y="2027587"/>
                    <a:pt x="3267360" y="2024158"/>
                  </a:cubicBezTo>
                  <a:cubicBezTo>
                    <a:pt x="3267360" y="2020729"/>
                    <a:pt x="3270122" y="2017967"/>
                    <a:pt x="3273551" y="2017967"/>
                  </a:cubicBezTo>
                  <a:close/>
                  <a:moveTo>
                    <a:pt x="3139058" y="2017300"/>
                  </a:moveTo>
                  <a:cubicBezTo>
                    <a:pt x="3142487" y="2017300"/>
                    <a:pt x="3145249" y="2020062"/>
                    <a:pt x="3145249" y="2023491"/>
                  </a:cubicBezTo>
                  <a:cubicBezTo>
                    <a:pt x="3145249" y="2026920"/>
                    <a:pt x="3142487" y="2029683"/>
                    <a:pt x="3139058" y="2029683"/>
                  </a:cubicBezTo>
                  <a:cubicBezTo>
                    <a:pt x="3135629" y="2029683"/>
                    <a:pt x="3132867" y="2026920"/>
                    <a:pt x="3132867" y="2023491"/>
                  </a:cubicBezTo>
                  <a:cubicBezTo>
                    <a:pt x="3132867" y="2020062"/>
                    <a:pt x="3135629" y="2017300"/>
                    <a:pt x="3139058" y="2017300"/>
                  </a:cubicBezTo>
                  <a:close/>
                  <a:moveTo>
                    <a:pt x="36289" y="2016443"/>
                  </a:moveTo>
                  <a:cubicBezTo>
                    <a:pt x="36605" y="2016443"/>
                    <a:pt x="36861" y="2016699"/>
                    <a:pt x="36861" y="2017015"/>
                  </a:cubicBezTo>
                  <a:cubicBezTo>
                    <a:pt x="36861" y="2017330"/>
                    <a:pt x="36605" y="2017586"/>
                    <a:pt x="36289" y="2017586"/>
                  </a:cubicBezTo>
                  <a:cubicBezTo>
                    <a:pt x="35974" y="2017586"/>
                    <a:pt x="35718" y="2017330"/>
                    <a:pt x="35718" y="2017015"/>
                  </a:cubicBezTo>
                  <a:cubicBezTo>
                    <a:pt x="35718" y="2016699"/>
                    <a:pt x="35974" y="2016443"/>
                    <a:pt x="36289" y="2016443"/>
                  </a:cubicBezTo>
                  <a:close/>
                  <a:moveTo>
                    <a:pt x="2905886" y="2014538"/>
                  </a:moveTo>
                  <a:cubicBezTo>
                    <a:pt x="2909315" y="2014538"/>
                    <a:pt x="2912078" y="2017300"/>
                    <a:pt x="2912078" y="2020729"/>
                  </a:cubicBezTo>
                  <a:cubicBezTo>
                    <a:pt x="2912078" y="2024158"/>
                    <a:pt x="2909315" y="2026920"/>
                    <a:pt x="2905886" y="2026920"/>
                  </a:cubicBezTo>
                  <a:cubicBezTo>
                    <a:pt x="2902457" y="2026920"/>
                    <a:pt x="2899695" y="2024158"/>
                    <a:pt x="2899695" y="2020729"/>
                  </a:cubicBezTo>
                  <a:cubicBezTo>
                    <a:pt x="2899695" y="2017300"/>
                    <a:pt x="2902457" y="2014538"/>
                    <a:pt x="2905886" y="2014538"/>
                  </a:cubicBezTo>
                  <a:close/>
                  <a:moveTo>
                    <a:pt x="3292982" y="2014252"/>
                  </a:moveTo>
                  <a:cubicBezTo>
                    <a:pt x="3296411" y="2014252"/>
                    <a:pt x="3299173" y="2017014"/>
                    <a:pt x="3299173" y="2020443"/>
                  </a:cubicBezTo>
                  <a:cubicBezTo>
                    <a:pt x="3299173" y="2023872"/>
                    <a:pt x="3296411" y="2026634"/>
                    <a:pt x="3292982" y="2026634"/>
                  </a:cubicBezTo>
                  <a:cubicBezTo>
                    <a:pt x="3289553" y="2026634"/>
                    <a:pt x="3286791" y="2023872"/>
                    <a:pt x="3286791" y="2020443"/>
                  </a:cubicBezTo>
                  <a:cubicBezTo>
                    <a:pt x="3286791" y="2017014"/>
                    <a:pt x="3289553" y="2014252"/>
                    <a:pt x="3292982" y="2014252"/>
                  </a:cubicBezTo>
                  <a:close/>
                  <a:moveTo>
                    <a:pt x="3261359" y="2014252"/>
                  </a:moveTo>
                  <a:cubicBezTo>
                    <a:pt x="3264788" y="2014252"/>
                    <a:pt x="3267550" y="2017014"/>
                    <a:pt x="3267550" y="2020443"/>
                  </a:cubicBezTo>
                  <a:cubicBezTo>
                    <a:pt x="3267550" y="2023872"/>
                    <a:pt x="3264788" y="2026634"/>
                    <a:pt x="3261359" y="2026634"/>
                  </a:cubicBezTo>
                  <a:cubicBezTo>
                    <a:pt x="3257930" y="2026634"/>
                    <a:pt x="3255168" y="2023872"/>
                    <a:pt x="3255168" y="2020443"/>
                  </a:cubicBezTo>
                  <a:cubicBezTo>
                    <a:pt x="3255168" y="2017014"/>
                    <a:pt x="3257930" y="2014252"/>
                    <a:pt x="3261359" y="2014252"/>
                  </a:cubicBezTo>
                  <a:close/>
                  <a:moveTo>
                    <a:pt x="56578" y="2013776"/>
                  </a:moveTo>
                  <a:cubicBezTo>
                    <a:pt x="60007" y="2013776"/>
                    <a:pt x="62770" y="2016538"/>
                    <a:pt x="62770" y="2019967"/>
                  </a:cubicBezTo>
                  <a:cubicBezTo>
                    <a:pt x="62770" y="2023396"/>
                    <a:pt x="60007" y="2026159"/>
                    <a:pt x="56578" y="2026159"/>
                  </a:cubicBezTo>
                  <a:cubicBezTo>
                    <a:pt x="53149" y="2026159"/>
                    <a:pt x="50387" y="2023396"/>
                    <a:pt x="50387" y="2019967"/>
                  </a:cubicBezTo>
                  <a:cubicBezTo>
                    <a:pt x="50387" y="2016538"/>
                    <a:pt x="53149" y="2013776"/>
                    <a:pt x="56578" y="2013776"/>
                  </a:cubicBezTo>
                  <a:close/>
                  <a:moveTo>
                    <a:pt x="1163764" y="2013585"/>
                  </a:moveTo>
                  <a:cubicBezTo>
                    <a:pt x="1167193" y="2013585"/>
                    <a:pt x="1169956" y="2016347"/>
                    <a:pt x="1169956" y="2019776"/>
                  </a:cubicBezTo>
                  <a:cubicBezTo>
                    <a:pt x="1169956" y="2023205"/>
                    <a:pt x="1167193" y="2025968"/>
                    <a:pt x="1163764" y="2025968"/>
                  </a:cubicBezTo>
                  <a:cubicBezTo>
                    <a:pt x="1160335" y="2025968"/>
                    <a:pt x="1157573" y="2023205"/>
                    <a:pt x="1157573" y="2019776"/>
                  </a:cubicBezTo>
                  <a:cubicBezTo>
                    <a:pt x="1157573" y="2016347"/>
                    <a:pt x="1160335" y="2013585"/>
                    <a:pt x="1163764" y="2013585"/>
                  </a:cubicBezTo>
                  <a:close/>
                  <a:moveTo>
                    <a:pt x="100774" y="2013490"/>
                  </a:moveTo>
                  <a:cubicBezTo>
                    <a:pt x="104203" y="2013490"/>
                    <a:pt x="106965" y="2016252"/>
                    <a:pt x="106965" y="2019681"/>
                  </a:cubicBezTo>
                  <a:cubicBezTo>
                    <a:pt x="106965" y="2023110"/>
                    <a:pt x="104203" y="2025872"/>
                    <a:pt x="100774" y="2025872"/>
                  </a:cubicBezTo>
                  <a:cubicBezTo>
                    <a:pt x="97345" y="2025872"/>
                    <a:pt x="94583" y="2023110"/>
                    <a:pt x="94583" y="2019681"/>
                  </a:cubicBezTo>
                  <a:cubicBezTo>
                    <a:pt x="94583" y="2016252"/>
                    <a:pt x="97345" y="2013490"/>
                    <a:pt x="100774" y="2013490"/>
                  </a:cubicBezTo>
                  <a:close/>
                  <a:moveTo>
                    <a:pt x="181736" y="2011680"/>
                  </a:moveTo>
                  <a:cubicBezTo>
                    <a:pt x="185165" y="2011680"/>
                    <a:pt x="187927" y="2014442"/>
                    <a:pt x="187927" y="2017871"/>
                  </a:cubicBezTo>
                  <a:cubicBezTo>
                    <a:pt x="187927" y="2021300"/>
                    <a:pt x="185165" y="2024063"/>
                    <a:pt x="181736" y="2024063"/>
                  </a:cubicBezTo>
                  <a:cubicBezTo>
                    <a:pt x="178307" y="2024063"/>
                    <a:pt x="175545" y="2021300"/>
                    <a:pt x="175545" y="2017871"/>
                  </a:cubicBezTo>
                  <a:cubicBezTo>
                    <a:pt x="175545" y="2014442"/>
                    <a:pt x="178307" y="2011680"/>
                    <a:pt x="181736" y="2011680"/>
                  </a:cubicBezTo>
                  <a:close/>
                  <a:moveTo>
                    <a:pt x="68293" y="2009585"/>
                  </a:moveTo>
                  <a:cubicBezTo>
                    <a:pt x="71722" y="2009585"/>
                    <a:pt x="74485" y="2012347"/>
                    <a:pt x="74485" y="2015776"/>
                  </a:cubicBezTo>
                  <a:cubicBezTo>
                    <a:pt x="74485" y="2019205"/>
                    <a:pt x="71722" y="2021968"/>
                    <a:pt x="68293" y="2021968"/>
                  </a:cubicBezTo>
                  <a:cubicBezTo>
                    <a:pt x="64864" y="2021968"/>
                    <a:pt x="62102" y="2019205"/>
                    <a:pt x="62102" y="2015776"/>
                  </a:cubicBezTo>
                  <a:cubicBezTo>
                    <a:pt x="62102" y="2012347"/>
                    <a:pt x="64864" y="2009585"/>
                    <a:pt x="68293" y="2009585"/>
                  </a:cubicBezTo>
                  <a:close/>
                  <a:moveTo>
                    <a:pt x="3278028" y="2009108"/>
                  </a:moveTo>
                  <a:cubicBezTo>
                    <a:pt x="3281457" y="2009108"/>
                    <a:pt x="3284219" y="2011870"/>
                    <a:pt x="3284219" y="2015299"/>
                  </a:cubicBezTo>
                  <a:cubicBezTo>
                    <a:pt x="3284219" y="2018728"/>
                    <a:pt x="3281457" y="2021491"/>
                    <a:pt x="3278028" y="2021491"/>
                  </a:cubicBezTo>
                  <a:cubicBezTo>
                    <a:pt x="3274599" y="2021491"/>
                    <a:pt x="3271837" y="2018728"/>
                    <a:pt x="3271837" y="2015299"/>
                  </a:cubicBezTo>
                  <a:cubicBezTo>
                    <a:pt x="3271837" y="2011870"/>
                    <a:pt x="3274599" y="2009108"/>
                    <a:pt x="3278028" y="2009108"/>
                  </a:cubicBezTo>
                  <a:close/>
                  <a:moveTo>
                    <a:pt x="402335" y="2008823"/>
                  </a:moveTo>
                  <a:cubicBezTo>
                    <a:pt x="405764" y="2008823"/>
                    <a:pt x="408526" y="2011585"/>
                    <a:pt x="408526" y="2015014"/>
                  </a:cubicBezTo>
                  <a:cubicBezTo>
                    <a:pt x="408526" y="2018443"/>
                    <a:pt x="405764" y="2021206"/>
                    <a:pt x="402335" y="2021206"/>
                  </a:cubicBezTo>
                  <a:cubicBezTo>
                    <a:pt x="398906" y="2021206"/>
                    <a:pt x="396144" y="2018443"/>
                    <a:pt x="396144" y="2015014"/>
                  </a:cubicBezTo>
                  <a:cubicBezTo>
                    <a:pt x="396144" y="2011585"/>
                    <a:pt x="398906" y="2008823"/>
                    <a:pt x="402335" y="2008823"/>
                  </a:cubicBezTo>
                  <a:close/>
                  <a:moveTo>
                    <a:pt x="2230849" y="2007870"/>
                  </a:moveTo>
                  <a:cubicBezTo>
                    <a:pt x="2234278" y="2007870"/>
                    <a:pt x="2237041" y="2010632"/>
                    <a:pt x="2237041" y="2014061"/>
                  </a:cubicBezTo>
                  <a:cubicBezTo>
                    <a:pt x="2237041" y="2017490"/>
                    <a:pt x="2234278" y="2020253"/>
                    <a:pt x="2230849" y="2020253"/>
                  </a:cubicBezTo>
                  <a:cubicBezTo>
                    <a:pt x="2227420" y="2020253"/>
                    <a:pt x="2224658" y="2017490"/>
                    <a:pt x="2224658" y="2014061"/>
                  </a:cubicBezTo>
                  <a:cubicBezTo>
                    <a:pt x="2224658" y="2010632"/>
                    <a:pt x="2227420" y="2007870"/>
                    <a:pt x="2230849" y="2007870"/>
                  </a:cubicBezTo>
                  <a:close/>
                  <a:moveTo>
                    <a:pt x="3237166" y="2007584"/>
                  </a:moveTo>
                  <a:cubicBezTo>
                    <a:pt x="3240595" y="2007584"/>
                    <a:pt x="3243358" y="2010346"/>
                    <a:pt x="3243358" y="2013775"/>
                  </a:cubicBezTo>
                  <a:cubicBezTo>
                    <a:pt x="3243358" y="2017204"/>
                    <a:pt x="3240595" y="2019967"/>
                    <a:pt x="3237166" y="2019967"/>
                  </a:cubicBezTo>
                  <a:cubicBezTo>
                    <a:pt x="3233737" y="2019967"/>
                    <a:pt x="3230975" y="2017204"/>
                    <a:pt x="3230975" y="2013775"/>
                  </a:cubicBezTo>
                  <a:cubicBezTo>
                    <a:pt x="3230975" y="2010346"/>
                    <a:pt x="3233737" y="2007584"/>
                    <a:pt x="3237166" y="2007584"/>
                  </a:cubicBezTo>
                  <a:close/>
                  <a:moveTo>
                    <a:pt x="3299269" y="2007204"/>
                  </a:moveTo>
                  <a:cubicBezTo>
                    <a:pt x="3302698" y="2007204"/>
                    <a:pt x="3305460" y="2009966"/>
                    <a:pt x="3305460" y="2013395"/>
                  </a:cubicBezTo>
                  <a:cubicBezTo>
                    <a:pt x="3305460" y="2016824"/>
                    <a:pt x="3302698" y="2019587"/>
                    <a:pt x="3299269" y="2019587"/>
                  </a:cubicBezTo>
                  <a:cubicBezTo>
                    <a:pt x="3295840" y="2019587"/>
                    <a:pt x="3293078" y="2016824"/>
                    <a:pt x="3293078" y="2013395"/>
                  </a:cubicBezTo>
                  <a:cubicBezTo>
                    <a:pt x="3293078" y="2009966"/>
                    <a:pt x="3295840" y="2007204"/>
                    <a:pt x="3299269" y="2007204"/>
                  </a:cubicBezTo>
                  <a:close/>
                  <a:moveTo>
                    <a:pt x="3162775" y="2005394"/>
                  </a:moveTo>
                  <a:cubicBezTo>
                    <a:pt x="3166204" y="2005394"/>
                    <a:pt x="3168967" y="2008156"/>
                    <a:pt x="3168967" y="2011585"/>
                  </a:cubicBezTo>
                  <a:cubicBezTo>
                    <a:pt x="3168967" y="2015014"/>
                    <a:pt x="3166204" y="2017777"/>
                    <a:pt x="3162775" y="2017777"/>
                  </a:cubicBezTo>
                  <a:cubicBezTo>
                    <a:pt x="3159346" y="2017777"/>
                    <a:pt x="3156584" y="2015014"/>
                    <a:pt x="3156584" y="2011585"/>
                  </a:cubicBezTo>
                  <a:cubicBezTo>
                    <a:pt x="3156584" y="2008156"/>
                    <a:pt x="3159346" y="2005394"/>
                    <a:pt x="3162775" y="2005394"/>
                  </a:cubicBezTo>
                  <a:close/>
                  <a:moveTo>
                    <a:pt x="52101" y="2005203"/>
                  </a:moveTo>
                  <a:cubicBezTo>
                    <a:pt x="55530" y="2005203"/>
                    <a:pt x="58292" y="2007965"/>
                    <a:pt x="58292" y="2011394"/>
                  </a:cubicBezTo>
                  <a:cubicBezTo>
                    <a:pt x="58292" y="2014823"/>
                    <a:pt x="55530" y="2017586"/>
                    <a:pt x="52101" y="2017586"/>
                  </a:cubicBezTo>
                  <a:cubicBezTo>
                    <a:pt x="48672" y="2017586"/>
                    <a:pt x="45910" y="2014823"/>
                    <a:pt x="45910" y="2011394"/>
                  </a:cubicBezTo>
                  <a:cubicBezTo>
                    <a:pt x="45910" y="2007965"/>
                    <a:pt x="48672" y="2005203"/>
                    <a:pt x="52101" y="2005203"/>
                  </a:cubicBezTo>
                  <a:close/>
                  <a:moveTo>
                    <a:pt x="3266693" y="2004346"/>
                  </a:moveTo>
                  <a:cubicBezTo>
                    <a:pt x="3270122" y="2004346"/>
                    <a:pt x="3272884" y="2007108"/>
                    <a:pt x="3272884" y="2010537"/>
                  </a:cubicBezTo>
                  <a:cubicBezTo>
                    <a:pt x="3272884" y="2013966"/>
                    <a:pt x="3270122" y="2016729"/>
                    <a:pt x="3266693" y="2016729"/>
                  </a:cubicBezTo>
                  <a:cubicBezTo>
                    <a:pt x="3263264" y="2016729"/>
                    <a:pt x="3260502" y="2013966"/>
                    <a:pt x="3260502" y="2010537"/>
                  </a:cubicBezTo>
                  <a:cubicBezTo>
                    <a:pt x="3260502" y="2007108"/>
                    <a:pt x="3263264" y="2004346"/>
                    <a:pt x="3266693" y="2004346"/>
                  </a:cubicBezTo>
                  <a:close/>
                  <a:moveTo>
                    <a:pt x="1049178" y="2002727"/>
                  </a:moveTo>
                  <a:cubicBezTo>
                    <a:pt x="1052607" y="2002727"/>
                    <a:pt x="1055370" y="2005489"/>
                    <a:pt x="1055370" y="2008918"/>
                  </a:cubicBezTo>
                  <a:cubicBezTo>
                    <a:pt x="1055370" y="2012347"/>
                    <a:pt x="1052607" y="2015110"/>
                    <a:pt x="1049178" y="2015110"/>
                  </a:cubicBezTo>
                  <a:cubicBezTo>
                    <a:pt x="1045749" y="2015110"/>
                    <a:pt x="1042987" y="2012347"/>
                    <a:pt x="1042987" y="2008918"/>
                  </a:cubicBezTo>
                  <a:cubicBezTo>
                    <a:pt x="1042987" y="2005489"/>
                    <a:pt x="1045749" y="2002727"/>
                    <a:pt x="1049178" y="2002727"/>
                  </a:cubicBezTo>
                  <a:close/>
                  <a:moveTo>
                    <a:pt x="90296" y="2002536"/>
                  </a:moveTo>
                  <a:cubicBezTo>
                    <a:pt x="93725" y="2002536"/>
                    <a:pt x="96488" y="2005298"/>
                    <a:pt x="96488" y="2008727"/>
                  </a:cubicBezTo>
                  <a:cubicBezTo>
                    <a:pt x="96488" y="2012156"/>
                    <a:pt x="93725" y="2014919"/>
                    <a:pt x="90296" y="2014919"/>
                  </a:cubicBezTo>
                  <a:cubicBezTo>
                    <a:pt x="86867" y="2014919"/>
                    <a:pt x="84105" y="2012156"/>
                    <a:pt x="84105" y="2008727"/>
                  </a:cubicBezTo>
                  <a:cubicBezTo>
                    <a:pt x="84105" y="2005298"/>
                    <a:pt x="86867" y="2002536"/>
                    <a:pt x="90296" y="2002536"/>
                  </a:cubicBezTo>
                  <a:close/>
                  <a:moveTo>
                    <a:pt x="2955988" y="2002346"/>
                  </a:moveTo>
                  <a:cubicBezTo>
                    <a:pt x="2959417" y="2002346"/>
                    <a:pt x="2962179" y="2005108"/>
                    <a:pt x="2962179" y="2008537"/>
                  </a:cubicBezTo>
                  <a:cubicBezTo>
                    <a:pt x="2962179" y="2011966"/>
                    <a:pt x="2959417" y="2014728"/>
                    <a:pt x="2955988" y="2014728"/>
                  </a:cubicBezTo>
                  <a:cubicBezTo>
                    <a:pt x="2952559" y="2014728"/>
                    <a:pt x="2949797" y="2011966"/>
                    <a:pt x="2949797" y="2008537"/>
                  </a:cubicBezTo>
                  <a:cubicBezTo>
                    <a:pt x="2949797" y="2005108"/>
                    <a:pt x="2952559" y="2002346"/>
                    <a:pt x="2955988" y="2002346"/>
                  </a:cubicBezTo>
                  <a:close/>
                  <a:moveTo>
                    <a:pt x="3282505" y="2000822"/>
                  </a:moveTo>
                  <a:cubicBezTo>
                    <a:pt x="3285934" y="2000822"/>
                    <a:pt x="3288696" y="2003584"/>
                    <a:pt x="3288696" y="2007013"/>
                  </a:cubicBezTo>
                  <a:cubicBezTo>
                    <a:pt x="3288696" y="2010442"/>
                    <a:pt x="3285934" y="2013205"/>
                    <a:pt x="3282505" y="2013205"/>
                  </a:cubicBezTo>
                  <a:cubicBezTo>
                    <a:pt x="3279076" y="2013205"/>
                    <a:pt x="3276314" y="2010442"/>
                    <a:pt x="3276314" y="2007013"/>
                  </a:cubicBezTo>
                  <a:cubicBezTo>
                    <a:pt x="3276314" y="2003584"/>
                    <a:pt x="3279076" y="2000822"/>
                    <a:pt x="3282505" y="2000822"/>
                  </a:cubicBezTo>
                  <a:close/>
                  <a:moveTo>
                    <a:pt x="3306032" y="2000536"/>
                  </a:moveTo>
                  <a:cubicBezTo>
                    <a:pt x="3309461" y="2000536"/>
                    <a:pt x="3312223" y="2003298"/>
                    <a:pt x="3312223" y="2006727"/>
                  </a:cubicBezTo>
                  <a:cubicBezTo>
                    <a:pt x="3312223" y="2010156"/>
                    <a:pt x="3309461" y="2012919"/>
                    <a:pt x="3306032" y="2012919"/>
                  </a:cubicBezTo>
                  <a:cubicBezTo>
                    <a:pt x="3302603" y="2012919"/>
                    <a:pt x="3299841" y="2010156"/>
                    <a:pt x="3299841" y="2006727"/>
                  </a:cubicBezTo>
                  <a:cubicBezTo>
                    <a:pt x="3299841" y="2003298"/>
                    <a:pt x="3302603" y="2000536"/>
                    <a:pt x="3306032" y="2000536"/>
                  </a:cubicBezTo>
                  <a:close/>
                  <a:moveTo>
                    <a:pt x="159448" y="2000060"/>
                  </a:moveTo>
                  <a:cubicBezTo>
                    <a:pt x="162877" y="2000060"/>
                    <a:pt x="165639" y="2002822"/>
                    <a:pt x="165639" y="2006251"/>
                  </a:cubicBezTo>
                  <a:cubicBezTo>
                    <a:pt x="165639" y="2009680"/>
                    <a:pt x="162877" y="2012443"/>
                    <a:pt x="159448" y="2012443"/>
                  </a:cubicBezTo>
                  <a:cubicBezTo>
                    <a:pt x="156019" y="2012443"/>
                    <a:pt x="153257" y="2009680"/>
                    <a:pt x="153257" y="2006251"/>
                  </a:cubicBezTo>
                  <a:cubicBezTo>
                    <a:pt x="153257" y="2002822"/>
                    <a:pt x="156019" y="2000060"/>
                    <a:pt x="159448" y="2000060"/>
                  </a:cubicBezTo>
                  <a:close/>
                  <a:moveTo>
                    <a:pt x="63150" y="1999869"/>
                  </a:moveTo>
                  <a:cubicBezTo>
                    <a:pt x="66579" y="1999869"/>
                    <a:pt x="69342" y="2002631"/>
                    <a:pt x="69342" y="2006060"/>
                  </a:cubicBezTo>
                  <a:cubicBezTo>
                    <a:pt x="69342" y="2009489"/>
                    <a:pt x="66579" y="2012252"/>
                    <a:pt x="63150" y="2012252"/>
                  </a:cubicBezTo>
                  <a:cubicBezTo>
                    <a:pt x="59721" y="2012252"/>
                    <a:pt x="56959" y="2009489"/>
                    <a:pt x="56959" y="2006060"/>
                  </a:cubicBezTo>
                  <a:cubicBezTo>
                    <a:pt x="56959" y="2002631"/>
                    <a:pt x="59721" y="1999869"/>
                    <a:pt x="63150" y="1999869"/>
                  </a:cubicBezTo>
                  <a:close/>
                  <a:moveTo>
                    <a:pt x="3246786" y="1996916"/>
                  </a:moveTo>
                  <a:cubicBezTo>
                    <a:pt x="3250215" y="1996916"/>
                    <a:pt x="3252977" y="1999678"/>
                    <a:pt x="3252977" y="2003107"/>
                  </a:cubicBezTo>
                  <a:cubicBezTo>
                    <a:pt x="3252977" y="2006536"/>
                    <a:pt x="3250215" y="2009299"/>
                    <a:pt x="3246786" y="2009299"/>
                  </a:cubicBezTo>
                  <a:cubicBezTo>
                    <a:pt x="3243357" y="2009299"/>
                    <a:pt x="3240595" y="2006536"/>
                    <a:pt x="3240595" y="2003107"/>
                  </a:cubicBezTo>
                  <a:cubicBezTo>
                    <a:pt x="3240595" y="1999678"/>
                    <a:pt x="3243357" y="1996916"/>
                    <a:pt x="3246786" y="1996916"/>
                  </a:cubicBezTo>
                  <a:close/>
                  <a:moveTo>
                    <a:pt x="2340673" y="1996821"/>
                  </a:moveTo>
                  <a:cubicBezTo>
                    <a:pt x="2344102" y="1996821"/>
                    <a:pt x="2346865" y="1999583"/>
                    <a:pt x="2346865" y="2003012"/>
                  </a:cubicBezTo>
                  <a:cubicBezTo>
                    <a:pt x="2346865" y="2006441"/>
                    <a:pt x="2344102" y="2009203"/>
                    <a:pt x="2340673" y="2009203"/>
                  </a:cubicBezTo>
                  <a:cubicBezTo>
                    <a:pt x="2337244" y="2009203"/>
                    <a:pt x="2334482" y="2006441"/>
                    <a:pt x="2334482" y="2003012"/>
                  </a:cubicBezTo>
                  <a:cubicBezTo>
                    <a:pt x="2334482" y="1999583"/>
                    <a:pt x="2337244" y="1996821"/>
                    <a:pt x="2340673" y="1996821"/>
                  </a:cubicBezTo>
                  <a:close/>
                  <a:moveTo>
                    <a:pt x="354710" y="1996821"/>
                  </a:moveTo>
                  <a:cubicBezTo>
                    <a:pt x="358139" y="1996821"/>
                    <a:pt x="360901" y="1999583"/>
                    <a:pt x="360901" y="2003012"/>
                  </a:cubicBezTo>
                  <a:cubicBezTo>
                    <a:pt x="360901" y="2006441"/>
                    <a:pt x="358139" y="2009203"/>
                    <a:pt x="354710" y="2009203"/>
                  </a:cubicBezTo>
                  <a:cubicBezTo>
                    <a:pt x="351281" y="2009203"/>
                    <a:pt x="348519" y="2006441"/>
                    <a:pt x="348519" y="2003012"/>
                  </a:cubicBezTo>
                  <a:cubicBezTo>
                    <a:pt x="348519" y="1999583"/>
                    <a:pt x="351281" y="1996821"/>
                    <a:pt x="354710" y="1996821"/>
                  </a:cubicBezTo>
                  <a:close/>
                  <a:moveTo>
                    <a:pt x="3271551" y="1994821"/>
                  </a:moveTo>
                  <a:cubicBezTo>
                    <a:pt x="3274980" y="1994821"/>
                    <a:pt x="3277742" y="1997583"/>
                    <a:pt x="3277742" y="2001012"/>
                  </a:cubicBezTo>
                  <a:cubicBezTo>
                    <a:pt x="3277742" y="2004441"/>
                    <a:pt x="3274980" y="2007204"/>
                    <a:pt x="3271551" y="2007204"/>
                  </a:cubicBezTo>
                  <a:cubicBezTo>
                    <a:pt x="3268122" y="2007204"/>
                    <a:pt x="3265360" y="2004441"/>
                    <a:pt x="3265360" y="2001012"/>
                  </a:cubicBezTo>
                  <a:cubicBezTo>
                    <a:pt x="3265360" y="1997583"/>
                    <a:pt x="3268122" y="1994821"/>
                    <a:pt x="3271551" y="1994821"/>
                  </a:cubicBezTo>
                  <a:close/>
                  <a:moveTo>
                    <a:pt x="3313461" y="1994345"/>
                  </a:moveTo>
                  <a:cubicBezTo>
                    <a:pt x="3316890" y="1994345"/>
                    <a:pt x="3319652" y="1997107"/>
                    <a:pt x="3319652" y="2000536"/>
                  </a:cubicBezTo>
                  <a:cubicBezTo>
                    <a:pt x="3319652" y="2003965"/>
                    <a:pt x="3316890" y="2006728"/>
                    <a:pt x="3313461" y="2006728"/>
                  </a:cubicBezTo>
                  <a:cubicBezTo>
                    <a:pt x="3310032" y="2006728"/>
                    <a:pt x="3307270" y="2003965"/>
                    <a:pt x="3307270" y="2000536"/>
                  </a:cubicBezTo>
                  <a:cubicBezTo>
                    <a:pt x="3307270" y="1997107"/>
                    <a:pt x="3310032" y="1994345"/>
                    <a:pt x="3313461" y="1994345"/>
                  </a:cubicBezTo>
                  <a:close/>
                  <a:moveTo>
                    <a:pt x="3183445" y="1993964"/>
                  </a:moveTo>
                  <a:cubicBezTo>
                    <a:pt x="3186874" y="1993964"/>
                    <a:pt x="3189636" y="1996726"/>
                    <a:pt x="3189636" y="2000155"/>
                  </a:cubicBezTo>
                  <a:cubicBezTo>
                    <a:pt x="3189636" y="2003584"/>
                    <a:pt x="3186874" y="2006347"/>
                    <a:pt x="3183445" y="2006347"/>
                  </a:cubicBezTo>
                  <a:cubicBezTo>
                    <a:pt x="3180016" y="2006347"/>
                    <a:pt x="3177254" y="2003584"/>
                    <a:pt x="3177254" y="2000155"/>
                  </a:cubicBezTo>
                  <a:cubicBezTo>
                    <a:pt x="3177254" y="1996726"/>
                    <a:pt x="3180016" y="1993964"/>
                    <a:pt x="3183445" y="1993964"/>
                  </a:cubicBezTo>
                  <a:close/>
                  <a:moveTo>
                    <a:pt x="81438" y="1992059"/>
                  </a:moveTo>
                  <a:cubicBezTo>
                    <a:pt x="84867" y="1992059"/>
                    <a:pt x="87629" y="1994821"/>
                    <a:pt x="87629" y="1998250"/>
                  </a:cubicBezTo>
                  <a:cubicBezTo>
                    <a:pt x="87629" y="2001679"/>
                    <a:pt x="84867" y="2004441"/>
                    <a:pt x="81438" y="2004441"/>
                  </a:cubicBezTo>
                  <a:cubicBezTo>
                    <a:pt x="78009" y="2004441"/>
                    <a:pt x="75247" y="2001679"/>
                    <a:pt x="75247" y="1998250"/>
                  </a:cubicBezTo>
                  <a:cubicBezTo>
                    <a:pt x="75247" y="1994821"/>
                    <a:pt x="78009" y="1992059"/>
                    <a:pt x="81438" y="1992059"/>
                  </a:cubicBezTo>
                  <a:close/>
                  <a:moveTo>
                    <a:pt x="943546" y="1991678"/>
                  </a:moveTo>
                  <a:cubicBezTo>
                    <a:pt x="946975" y="1991678"/>
                    <a:pt x="949737" y="1994440"/>
                    <a:pt x="949737" y="1997869"/>
                  </a:cubicBezTo>
                  <a:cubicBezTo>
                    <a:pt x="949737" y="2001298"/>
                    <a:pt x="946975" y="2004061"/>
                    <a:pt x="943546" y="2004061"/>
                  </a:cubicBezTo>
                  <a:cubicBezTo>
                    <a:pt x="940117" y="2004061"/>
                    <a:pt x="937355" y="2001298"/>
                    <a:pt x="937355" y="1997869"/>
                  </a:cubicBezTo>
                  <a:cubicBezTo>
                    <a:pt x="937355" y="1994440"/>
                    <a:pt x="940117" y="1991678"/>
                    <a:pt x="943546" y="1991678"/>
                  </a:cubicBezTo>
                  <a:close/>
                  <a:moveTo>
                    <a:pt x="58578" y="1990630"/>
                  </a:moveTo>
                  <a:cubicBezTo>
                    <a:pt x="62007" y="1990630"/>
                    <a:pt x="64770" y="1993392"/>
                    <a:pt x="64770" y="1996821"/>
                  </a:cubicBezTo>
                  <a:cubicBezTo>
                    <a:pt x="64770" y="2000250"/>
                    <a:pt x="62007" y="2003013"/>
                    <a:pt x="58578" y="2003013"/>
                  </a:cubicBezTo>
                  <a:cubicBezTo>
                    <a:pt x="55149" y="2003013"/>
                    <a:pt x="52387" y="2000250"/>
                    <a:pt x="52387" y="1996821"/>
                  </a:cubicBezTo>
                  <a:cubicBezTo>
                    <a:pt x="52387" y="1993392"/>
                    <a:pt x="55149" y="1990630"/>
                    <a:pt x="58578" y="1990630"/>
                  </a:cubicBezTo>
                  <a:close/>
                  <a:moveTo>
                    <a:pt x="3000946" y="1990535"/>
                  </a:moveTo>
                  <a:cubicBezTo>
                    <a:pt x="3004375" y="1990535"/>
                    <a:pt x="3007137" y="1993297"/>
                    <a:pt x="3007137" y="1996726"/>
                  </a:cubicBezTo>
                  <a:cubicBezTo>
                    <a:pt x="3007137" y="2000155"/>
                    <a:pt x="3004375" y="2002918"/>
                    <a:pt x="3000946" y="2002918"/>
                  </a:cubicBezTo>
                  <a:cubicBezTo>
                    <a:pt x="2997517" y="2002918"/>
                    <a:pt x="2994755" y="2000155"/>
                    <a:pt x="2994755" y="1996726"/>
                  </a:cubicBezTo>
                  <a:cubicBezTo>
                    <a:pt x="2994755" y="1993297"/>
                    <a:pt x="2997517" y="1990535"/>
                    <a:pt x="3000946" y="1990535"/>
                  </a:cubicBezTo>
                  <a:close/>
                  <a:moveTo>
                    <a:pt x="140017" y="1988820"/>
                  </a:moveTo>
                  <a:cubicBezTo>
                    <a:pt x="143446" y="1988820"/>
                    <a:pt x="146209" y="1991582"/>
                    <a:pt x="146209" y="1995011"/>
                  </a:cubicBezTo>
                  <a:cubicBezTo>
                    <a:pt x="146209" y="1998440"/>
                    <a:pt x="143446" y="2001203"/>
                    <a:pt x="140017" y="2001203"/>
                  </a:cubicBezTo>
                  <a:cubicBezTo>
                    <a:pt x="136588" y="2001203"/>
                    <a:pt x="133826" y="1998440"/>
                    <a:pt x="133826" y="1995011"/>
                  </a:cubicBezTo>
                  <a:cubicBezTo>
                    <a:pt x="133826" y="1991582"/>
                    <a:pt x="136588" y="1988820"/>
                    <a:pt x="140017" y="1988820"/>
                  </a:cubicBezTo>
                  <a:close/>
                  <a:moveTo>
                    <a:pt x="3330130" y="1988630"/>
                  </a:moveTo>
                  <a:cubicBezTo>
                    <a:pt x="3330446" y="1988630"/>
                    <a:pt x="3330702" y="1988886"/>
                    <a:pt x="3330702" y="1989202"/>
                  </a:cubicBezTo>
                  <a:cubicBezTo>
                    <a:pt x="3330702" y="1989517"/>
                    <a:pt x="3330446" y="1989773"/>
                    <a:pt x="3330130" y="1989773"/>
                  </a:cubicBezTo>
                  <a:cubicBezTo>
                    <a:pt x="3329815" y="1989773"/>
                    <a:pt x="3329559" y="1989517"/>
                    <a:pt x="3329559" y="1989202"/>
                  </a:cubicBezTo>
                  <a:cubicBezTo>
                    <a:pt x="3329559" y="1988886"/>
                    <a:pt x="3329815" y="1988630"/>
                    <a:pt x="3330130" y="1988630"/>
                  </a:cubicBezTo>
                  <a:close/>
                  <a:moveTo>
                    <a:pt x="3321462" y="1988534"/>
                  </a:moveTo>
                  <a:cubicBezTo>
                    <a:pt x="3324796" y="1988534"/>
                    <a:pt x="3327558" y="1991296"/>
                    <a:pt x="3327558" y="1994630"/>
                  </a:cubicBezTo>
                  <a:cubicBezTo>
                    <a:pt x="3327558" y="1997964"/>
                    <a:pt x="3324891" y="2000726"/>
                    <a:pt x="3321462" y="2000726"/>
                  </a:cubicBezTo>
                  <a:cubicBezTo>
                    <a:pt x="3318128" y="2000726"/>
                    <a:pt x="3315366" y="1997964"/>
                    <a:pt x="3315366" y="1994630"/>
                  </a:cubicBezTo>
                  <a:cubicBezTo>
                    <a:pt x="3315366" y="1991296"/>
                    <a:pt x="3318128" y="1988534"/>
                    <a:pt x="3321462" y="1988534"/>
                  </a:cubicBezTo>
                  <a:close/>
                  <a:moveTo>
                    <a:pt x="3254977" y="1986725"/>
                  </a:moveTo>
                  <a:cubicBezTo>
                    <a:pt x="3258406" y="1986725"/>
                    <a:pt x="3261169" y="1989487"/>
                    <a:pt x="3261169" y="1992916"/>
                  </a:cubicBezTo>
                  <a:cubicBezTo>
                    <a:pt x="3261169" y="1996345"/>
                    <a:pt x="3258406" y="1999107"/>
                    <a:pt x="3254977" y="1999107"/>
                  </a:cubicBezTo>
                  <a:cubicBezTo>
                    <a:pt x="3251548" y="1999107"/>
                    <a:pt x="3248786" y="1996345"/>
                    <a:pt x="3248786" y="1992916"/>
                  </a:cubicBezTo>
                  <a:cubicBezTo>
                    <a:pt x="3248786" y="1989487"/>
                    <a:pt x="3251548" y="1986725"/>
                    <a:pt x="3254977" y="1986725"/>
                  </a:cubicBezTo>
                  <a:close/>
                  <a:moveTo>
                    <a:pt x="3275932" y="1985963"/>
                  </a:moveTo>
                  <a:cubicBezTo>
                    <a:pt x="3279361" y="1985963"/>
                    <a:pt x="3282123" y="1988725"/>
                    <a:pt x="3282123" y="1992154"/>
                  </a:cubicBezTo>
                  <a:cubicBezTo>
                    <a:pt x="3282123" y="1995583"/>
                    <a:pt x="3279361" y="1998345"/>
                    <a:pt x="3275932" y="1998345"/>
                  </a:cubicBezTo>
                  <a:cubicBezTo>
                    <a:pt x="3272503" y="1998345"/>
                    <a:pt x="3269741" y="1995583"/>
                    <a:pt x="3269741" y="1992154"/>
                  </a:cubicBezTo>
                  <a:cubicBezTo>
                    <a:pt x="3269741" y="1988725"/>
                    <a:pt x="3272503" y="1985963"/>
                    <a:pt x="3275932" y="1985963"/>
                  </a:cubicBezTo>
                  <a:close/>
                  <a:moveTo>
                    <a:pt x="2441638" y="1985772"/>
                  </a:moveTo>
                  <a:cubicBezTo>
                    <a:pt x="2445067" y="1985772"/>
                    <a:pt x="2447829" y="1988534"/>
                    <a:pt x="2447829" y="1991963"/>
                  </a:cubicBezTo>
                  <a:cubicBezTo>
                    <a:pt x="2447829" y="1995392"/>
                    <a:pt x="2445067" y="1998155"/>
                    <a:pt x="2441638" y="1998155"/>
                  </a:cubicBezTo>
                  <a:cubicBezTo>
                    <a:pt x="2438209" y="1998155"/>
                    <a:pt x="2435447" y="1995392"/>
                    <a:pt x="2435447" y="1991963"/>
                  </a:cubicBezTo>
                  <a:cubicBezTo>
                    <a:pt x="2435447" y="1988534"/>
                    <a:pt x="2438209" y="1985772"/>
                    <a:pt x="2441638" y="1985772"/>
                  </a:cubicBezTo>
                  <a:close/>
                  <a:moveTo>
                    <a:pt x="311943" y="1985201"/>
                  </a:moveTo>
                  <a:cubicBezTo>
                    <a:pt x="315363" y="1985201"/>
                    <a:pt x="318135" y="1987973"/>
                    <a:pt x="318135" y="1991392"/>
                  </a:cubicBezTo>
                  <a:cubicBezTo>
                    <a:pt x="318135" y="1994811"/>
                    <a:pt x="315363" y="1997583"/>
                    <a:pt x="311943" y="1997583"/>
                  </a:cubicBezTo>
                  <a:cubicBezTo>
                    <a:pt x="308524" y="1997583"/>
                    <a:pt x="305752" y="1994811"/>
                    <a:pt x="305752" y="1991392"/>
                  </a:cubicBezTo>
                  <a:cubicBezTo>
                    <a:pt x="305752" y="1987973"/>
                    <a:pt x="308524" y="1985201"/>
                    <a:pt x="311943" y="1985201"/>
                  </a:cubicBezTo>
                  <a:close/>
                  <a:moveTo>
                    <a:pt x="3201447" y="1983010"/>
                  </a:moveTo>
                  <a:cubicBezTo>
                    <a:pt x="3204876" y="1983010"/>
                    <a:pt x="3207639" y="1985772"/>
                    <a:pt x="3207639" y="1989201"/>
                  </a:cubicBezTo>
                  <a:cubicBezTo>
                    <a:pt x="3207639" y="1992630"/>
                    <a:pt x="3204876" y="1995393"/>
                    <a:pt x="3201447" y="1995393"/>
                  </a:cubicBezTo>
                  <a:cubicBezTo>
                    <a:pt x="3198018" y="1995393"/>
                    <a:pt x="3195256" y="1992630"/>
                    <a:pt x="3195256" y="1989201"/>
                  </a:cubicBezTo>
                  <a:cubicBezTo>
                    <a:pt x="3195256" y="1985772"/>
                    <a:pt x="3198018" y="1983010"/>
                    <a:pt x="3201447" y="1983010"/>
                  </a:cubicBezTo>
                  <a:close/>
                  <a:moveTo>
                    <a:pt x="73818" y="1982153"/>
                  </a:moveTo>
                  <a:cubicBezTo>
                    <a:pt x="77247" y="1982153"/>
                    <a:pt x="80009" y="1984915"/>
                    <a:pt x="80009" y="1988344"/>
                  </a:cubicBezTo>
                  <a:cubicBezTo>
                    <a:pt x="80009" y="1991773"/>
                    <a:pt x="77247" y="1994536"/>
                    <a:pt x="73818" y="1994536"/>
                  </a:cubicBezTo>
                  <a:cubicBezTo>
                    <a:pt x="70389" y="1994536"/>
                    <a:pt x="67627" y="1991773"/>
                    <a:pt x="67627" y="1988344"/>
                  </a:cubicBezTo>
                  <a:cubicBezTo>
                    <a:pt x="67627" y="1984915"/>
                    <a:pt x="70389" y="1982153"/>
                    <a:pt x="73818" y="1982153"/>
                  </a:cubicBezTo>
                  <a:close/>
                  <a:moveTo>
                    <a:pt x="37813" y="1982153"/>
                  </a:moveTo>
                  <a:cubicBezTo>
                    <a:pt x="41242" y="1982153"/>
                    <a:pt x="44005" y="1984915"/>
                    <a:pt x="44005" y="1988344"/>
                  </a:cubicBezTo>
                  <a:lnTo>
                    <a:pt x="42909" y="1989440"/>
                  </a:lnTo>
                  <a:lnTo>
                    <a:pt x="49054" y="1995583"/>
                  </a:lnTo>
                  <a:lnTo>
                    <a:pt x="47529" y="1997108"/>
                  </a:lnTo>
                  <a:lnTo>
                    <a:pt x="53720" y="2003298"/>
                  </a:lnTo>
                  <a:cubicBezTo>
                    <a:pt x="53720" y="2006727"/>
                    <a:pt x="50958" y="2009490"/>
                    <a:pt x="47529" y="2009490"/>
                  </a:cubicBezTo>
                  <a:cubicBezTo>
                    <a:pt x="44100" y="2009490"/>
                    <a:pt x="41338" y="2006727"/>
                    <a:pt x="41338" y="2003298"/>
                  </a:cubicBezTo>
                  <a:lnTo>
                    <a:pt x="42862" y="2001774"/>
                  </a:lnTo>
                  <a:lnTo>
                    <a:pt x="36671" y="1995583"/>
                  </a:lnTo>
                  <a:lnTo>
                    <a:pt x="37765" y="1994489"/>
                  </a:lnTo>
                  <a:lnTo>
                    <a:pt x="31622" y="1988344"/>
                  </a:lnTo>
                  <a:cubicBezTo>
                    <a:pt x="31622" y="1984915"/>
                    <a:pt x="34384" y="1982153"/>
                    <a:pt x="37813" y="1982153"/>
                  </a:cubicBezTo>
                  <a:close/>
                  <a:moveTo>
                    <a:pt x="846391" y="1980629"/>
                  </a:moveTo>
                  <a:cubicBezTo>
                    <a:pt x="849820" y="1980629"/>
                    <a:pt x="852583" y="1983391"/>
                    <a:pt x="852583" y="1986820"/>
                  </a:cubicBezTo>
                  <a:cubicBezTo>
                    <a:pt x="852583" y="1990249"/>
                    <a:pt x="849820" y="1993012"/>
                    <a:pt x="846391" y="1993012"/>
                  </a:cubicBezTo>
                  <a:cubicBezTo>
                    <a:pt x="842962" y="1993012"/>
                    <a:pt x="840200" y="1990249"/>
                    <a:pt x="840200" y="1986820"/>
                  </a:cubicBezTo>
                  <a:cubicBezTo>
                    <a:pt x="840200" y="1983391"/>
                    <a:pt x="842962" y="1980629"/>
                    <a:pt x="846391" y="1980629"/>
                  </a:cubicBezTo>
                  <a:close/>
                  <a:moveTo>
                    <a:pt x="3041237" y="1979200"/>
                  </a:moveTo>
                  <a:cubicBezTo>
                    <a:pt x="3044666" y="1979200"/>
                    <a:pt x="3047428" y="1981962"/>
                    <a:pt x="3047428" y="1985391"/>
                  </a:cubicBezTo>
                  <a:cubicBezTo>
                    <a:pt x="3047428" y="1988820"/>
                    <a:pt x="3044666" y="1991583"/>
                    <a:pt x="3041237" y="1991583"/>
                  </a:cubicBezTo>
                  <a:cubicBezTo>
                    <a:pt x="3037808" y="1991583"/>
                    <a:pt x="3035046" y="1988820"/>
                    <a:pt x="3035046" y="1985391"/>
                  </a:cubicBezTo>
                  <a:cubicBezTo>
                    <a:pt x="3035046" y="1981962"/>
                    <a:pt x="3037808" y="1979200"/>
                    <a:pt x="3041237" y="1979200"/>
                  </a:cubicBezTo>
                  <a:close/>
                  <a:moveTo>
                    <a:pt x="123157" y="1978152"/>
                  </a:moveTo>
                  <a:cubicBezTo>
                    <a:pt x="126586" y="1978152"/>
                    <a:pt x="129349" y="1980914"/>
                    <a:pt x="129349" y="1984343"/>
                  </a:cubicBezTo>
                  <a:cubicBezTo>
                    <a:pt x="129349" y="1987772"/>
                    <a:pt x="126586" y="1990535"/>
                    <a:pt x="123157" y="1990535"/>
                  </a:cubicBezTo>
                  <a:cubicBezTo>
                    <a:pt x="119728" y="1990535"/>
                    <a:pt x="116966" y="1987772"/>
                    <a:pt x="116966" y="1984343"/>
                  </a:cubicBezTo>
                  <a:cubicBezTo>
                    <a:pt x="116966" y="1980914"/>
                    <a:pt x="119728" y="1978152"/>
                    <a:pt x="123157" y="1978152"/>
                  </a:cubicBezTo>
                  <a:close/>
                  <a:moveTo>
                    <a:pt x="3262026" y="1977009"/>
                  </a:moveTo>
                  <a:cubicBezTo>
                    <a:pt x="3265455" y="1977009"/>
                    <a:pt x="3268217" y="1979771"/>
                    <a:pt x="3268217" y="1983200"/>
                  </a:cubicBezTo>
                  <a:cubicBezTo>
                    <a:pt x="3268217" y="1986629"/>
                    <a:pt x="3265455" y="1989392"/>
                    <a:pt x="3262026" y="1989392"/>
                  </a:cubicBezTo>
                  <a:cubicBezTo>
                    <a:pt x="3258597" y="1989392"/>
                    <a:pt x="3255835" y="1986629"/>
                    <a:pt x="3255835" y="1983200"/>
                  </a:cubicBezTo>
                  <a:cubicBezTo>
                    <a:pt x="3255835" y="1979771"/>
                    <a:pt x="3258597" y="1977009"/>
                    <a:pt x="3262026" y="1977009"/>
                  </a:cubicBezTo>
                  <a:close/>
                  <a:moveTo>
                    <a:pt x="32480" y="1976724"/>
                  </a:moveTo>
                  <a:cubicBezTo>
                    <a:pt x="35146" y="1976724"/>
                    <a:pt x="37242" y="1978820"/>
                    <a:pt x="37242" y="1981487"/>
                  </a:cubicBezTo>
                  <a:cubicBezTo>
                    <a:pt x="37242" y="1984153"/>
                    <a:pt x="35051" y="1986249"/>
                    <a:pt x="32480" y="1986249"/>
                  </a:cubicBezTo>
                  <a:cubicBezTo>
                    <a:pt x="29813" y="1986249"/>
                    <a:pt x="27717" y="1984153"/>
                    <a:pt x="27717" y="1981487"/>
                  </a:cubicBezTo>
                  <a:cubicBezTo>
                    <a:pt x="27717" y="1978820"/>
                    <a:pt x="29813" y="1976724"/>
                    <a:pt x="32480" y="1976724"/>
                  </a:cubicBezTo>
                  <a:close/>
                  <a:moveTo>
                    <a:pt x="2534411" y="1974819"/>
                  </a:moveTo>
                  <a:cubicBezTo>
                    <a:pt x="2537840" y="1974819"/>
                    <a:pt x="2540603" y="1977581"/>
                    <a:pt x="2540603" y="1981010"/>
                  </a:cubicBezTo>
                  <a:cubicBezTo>
                    <a:pt x="2540603" y="1984439"/>
                    <a:pt x="2537840" y="1987201"/>
                    <a:pt x="2534411" y="1987201"/>
                  </a:cubicBezTo>
                  <a:cubicBezTo>
                    <a:pt x="2530982" y="1987201"/>
                    <a:pt x="2528220" y="1984439"/>
                    <a:pt x="2528220" y="1981010"/>
                  </a:cubicBezTo>
                  <a:cubicBezTo>
                    <a:pt x="2528220" y="1977581"/>
                    <a:pt x="2530982" y="1974819"/>
                    <a:pt x="2534411" y="1974819"/>
                  </a:cubicBezTo>
                  <a:close/>
                  <a:moveTo>
                    <a:pt x="273748" y="1974057"/>
                  </a:moveTo>
                  <a:cubicBezTo>
                    <a:pt x="277177" y="1974057"/>
                    <a:pt x="279939" y="1976819"/>
                    <a:pt x="279939" y="1980248"/>
                  </a:cubicBezTo>
                  <a:cubicBezTo>
                    <a:pt x="279939" y="1983677"/>
                    <a:pt x="277177" y="1986439"/>
                    <a:pt x="273748" y="1986439"/>
                  </a:cubicBezTo>
                  <a:cubicBezTo>
                    <a:pt x="270319" y="1986439"/>
                    <a:pt x="267557" y="1983677"/>
                    <a:pt x="267557" y="1980248"/>
                  </a:cubicBezTo>
                  <a:cubicBezTo>
                    <a:pt x="267557" y="1976819"/>
                    <a:pt x="270319" y="1974057"/>
                    <a:pt x="273748" y="1974057"/>
                  </a:cubicBezTo>
                  <a:close/>
                  <a:moveTo>
                    <a:pt x="67246" y="1972628"/>
                  </a:moveTo>
                  <a:cubicBezTo>
                    <a:pt x="70675" y="1972628"/>
                    <a:pt x="73438" y="1975390"/>
                    <a:pt x="73438" y="1978819"/>
                  </a:cubicBezTo>
                  <a:cubicBezTo>
                    <a:pt x="73438" y="1982248"/>
                    <a:pt x="70675" y="1985011"/>
                    <a:pt x="67246" y="1985011"/>
                  </a:cubicBezTo>
                  <a:cubicBezTo>
                    <a:pt x="63817" y="1985011"/>
                    <a:pt x="61055" y="1982248"/>
                    <a:pt x="61055" y="1978819"/>
                  </a:cubicBezTo>
                  <a:cubicBezTo>
                    <a:pt x="61055" y="1975390"/>
                    <a:pt x="63817" y="1972628"/>
                    <a:pt x="67246" y="1972628"/>
                  </a:cubicBezTo>
                  <a:close/>
                  <a:moveTo>
                    <a:pt x="3217068" y="1972533"/>
                  </a:moveTo>
                  <a:cubicBezTo>
                    <a:pt x="3220497" y="1972533"/>
                    <a:pt x="3223259" y="1975295"/>
                    <a:pt x="3223259" y="1978724"/>
                  </a:cubicBezTo>
                  <a:cubicBezTo>
                    <a:pt x="3223259" y="1982153"/>
                    <a:pt x="3220497" y="1984916"/>
                    <a:pt x="3217068" y="1984916"/>
                  </a:cubicBezTo>
                  <a:cubicBezTo>
                    <a:pt x="3213639" y="1984916"/>
                    <a:pt x="3210877" y="1982153"/>
                    <a:pt x="3210877" y="1978724"/>
                  </a:cubicBezTo>
                  <a:cubicBezTo>
                    <a:pt x="3210877" y="1975295"/>
                    <a:pt x="3213639" y="1972533"/>
                    <a:pt x="3217068" y="1972533"/>
                  </a:cubicBezTo>
                  <a:close/>
                  <a:moveTo>
                    <a:pt x="757332" y="1969866"/>
                  </a:moveTo>
                  <a:cubicBezTo>
                    <a:pt x="760761" y="1969866"/>
                    <a:pt x="763524" y="1972628"/>
                    <a:pt x="763524" y="1976057"/>
                  </a:cubicBezTo>
                  <a:cubicBezTo>
                    <a:pt x="763524" y="1979486"/>
                    <a:pt x="760761" y="1982249"/>
                    <a:pt x="757332" y="1982249"/>
                  </a:cubicBezTo>
                  <a:cubicBezTo>
                    <a:pt x="753903" y="1982249"/>
                    <a:pt x="751141" y="1979486"/>
                    <a:pt x="751141" y="1976057"/>
                  </a:cubicBezTo>
                  <a:cubicBezTo>
                    <a:pt x="751141" y="1972628"/>
                    <a:pt x="753903" y="1969866"/>
                    <a:pt x="757332" y="1969866"/>
                  </a:cubicBezTo>
                  <a:close/>
                  <a:moveTo>
                    <a:pt x="3077146" y="1968341"/>
                  </a:moveTo>
                  <a:cubicBezTo>
                    <a:pt x="3080575" y="1968341"/>
                    <a:pt x="3083337" y="1971103"/>
                    <a:pt x="3083337" y="1974532"/>
                  </a:cubicBezTo>
                  <a:cubicBezTo>
                    <a:pt x="3083337" y="1977961"/>
                    <a:pt x="3080575" y="1980724"/>
                    <a:pt x="3077146" y="1980724"/>
                  </a:cubicBezTo>
                  <a:cubicBezTo>
                    <a:pt x="3073717" y="1980724"/>
                    <a:pt x="3070955" y="1977961"/>
                    <a:pt x="3070955" y="1974532"/>
                  </a:cubicBezTo>
                  <a:cubicBezTo>
                    <a:pt x="3070955" y="1971103"/>
                    <a:pt x="3073717" y="1968341"/>
                    <a:pt x="3077146" y="1968341"/>
                  </a:cubicBezTo>
                  <a:close/>
                  <a:moveTo>
                    <a:pt x="108584" y="1967865"/>
                  </a:moveTo>
                  <a:cubicBezTo>
                    <a:pt x="112013" y="1967865"/>
                    <a:pt x="114776" y="1970627"/>
                    <a:pt x="114776" y="1974056"/>
                  </a:cubicBezTo>
                  <a:cubicBezTo>
                    <a:pt x="114776" y="1977485"/>
                    <a:pt x="112013" y="1980248"/>
                    <a:pt x="108584" y="1980248"/>
                  </a:cubicBezTo>
                  <a:cubicBezTo>
                    <a:pt x="105155" y="1980248"/>
                    <a:pt x="102393" y="1977485"/>
                    <a:pt x="102393" y="1974056"/>
                  </a:cubicBezTo>
                  <a:cubicBezTo>
                    <a:pt x="102393" y="1970627"/>
                    <a:pt x="105155" y="1967865"/>
                    <a:pt x="108584" y="1967865"/>
                  </a:cubicBezTo>
                  <a:close/>
                  <a:moveTo>
                    <a:pt x="3268122" y="1967770"/>
                  </a:moveTo>
                  <a:cubicBezTo>
                    <a:pt x="3271551" y="1967770"/>
                    <a:pt x="3274314" y="1970532"/>
                    <a:pt x="3274314" y="1973961"/>
                  </a:cubicBezTo>
                  <a:cubicBezTo>
                    <a:pt x="3274314" y="1977390"/>
                    <a:pt x="3271551" y="1980153"/>
                    <a:pt x="3268122" y="1980153"/>
                  </a:cubicBezTo>
                  <a:cubicBezTo>
                    <a:pt x="3264693" y="1980153"/>
                    <a:pt x="3261931" y="1977390"/>
                    <a:pt x="3261931" y="1973961"/>
                  </a:cubicBezTo>
                  <a:cubicBezTo>
                    <a:pt x="3261931" y="1970532"/>
                    <a:pt x="3264693" y="1967770"/>
                    <a:pt x="3268122" y="1967770"/>
                  </a:cubicBezTo>
                  <a:close/>
                  <a:moveTo>
                    <a:pt x="3308889" y="1965770"/>
                  </a:moveTo>
                  <a:cubicBezTo>
                    <a:pt x="3312318" y="1965770"/>
                    <a:pt x="3315081" y="1968532"/>
                    <a:pt x="3315081" y="1971961"/>
                  </a:cubicBezTo>
                  <a:lnTo>
                    <a:pt x="3308937" y="1978105"/>
                  </a:lnTo>
                  <a:lnTo>
                    <a:pt x="3308984" y="1978152"/>
                  </a:lnTo>
                  <a:lnTo>
                    <a:pt x="3302888" y="1984249"/>
                  </a:lnTo>
                  <a:lnTo>
                    <a:pt x="3303364" y="1984724"/>
                  </a:lnTo>
                  <a:lnTo>
                    <a:pt x="3297316" y="1990773"/>
                  </a:lnTo>
                  <a:lnTo>
                    <a:pt x="3298221" y="1991678"/>
                  </a:lnTo>
                  <a:lnTo>
                    <a:pt x="3292030" y="1997870"/>
                  </a:lnTo>
                  <a:lnTo>
                    <a:pt x="3293268" y="1999107"/>
                  </a:lnTo>
                  <a:cubicBezTo>
                    <a:pt x="3293268" y="2002536"/>
                    <a:pt x="3290506" y="2005299"/>
                    <a:pt x="3287077" y="2005299"/>
                  </a:cubicBezTo>
                  <a:cubicBezTo>
                    <a:pt x="3283648" y="2005299"/>
                    <a:pt x="3280886" y="2002536"/>
                    <a:pt x="3280886" y="1999107"/>
                  </a:cubicBezTo>
                  <a:lnTo>
                    <a:pt x="3287077" y="1992916"/>
                  </a:lnTo>
                  <a:lnTo>
                    <a:pt x="3285839" y="1991678"/>
                  </a:lnTo>
                  <a:lnTo>
                    <a:pt x="3291888" y="1985630"/>
                  </a:lnTo>
                  <a:lnTo>
                    <a:pt x="3290982" y="1984724"/>
                  </a:lnTo>
                  <a:lnTo>
                    <a:pt x="3297078" y="1978628"/>
                  </a:lnTo>
                  <a:lnTo>
                    <a:pt x="3296602" y="1978152"/>
                  </a:lnTo>
                  <a:lnTo>
                    <a:pt x="3302745" y="1972009"/>
                  </a:lnTo>
                  <a:lnTo>
                    <a:pt x="3302698" y="1971961"/>
                  </a:lnTo>
                  <a:cubicBezTo>
                    <a:pt x="3302698" y="1968532"/>
                    <a:pt x="3305460" y="1965770"/>
                    <a:pt x="3308889" y="1965770"/>
                  </a:cubicBezTo>
                  <a:close/>
                  <a:moveTo>
                    <a:pt x="2619374" y="1964150"/>
                  </a:moveTo>
                  <a:cubicBezTo>
                    <a:pt x="2622803" y="1964150"/>
                    <a:pt x="2625565" y="1966912"/>
                    <a:pt x="2625565" y="1970341"/>
                  </a:cubicBezTo>
                  <a:cubicBezTo>
                    <a:pt x="2625565" y="1973770"/>
                    <a:pt x="2622803" y="1976533"/>
                    <a:pt x="2619374" y="1976533"/>
                  </a:cubicBezTo>
                  <a:cubicBezTo>
                    <a:pt x="2615945" y="1976533"/>
                    <a:pt x="2613183" y="1973770"/>
                    <a:pt x="2613183" y="1970341"/>
                  </a:cubicBezTo>
                  <a:cubicBezTo>
                    <a:pt x="2613183" y="1966912"/>
                    <a:pt x="2615945" y="1964150"/>
                    <a:pt x="2619374" y="1964150"/>
                  </a:cubicBezTo>
                  <a:close/>
                  <a:moveTo>
                    <a:pt x="61531" y="1963579"/>
                  </a:moveTo>
                  <a:cubicBezTo>
                    <a:pt x="64951" y="1963579"/>
                    <a:pt x="67723" y="1966351"/>
                    <a:pt x="67723" y="1969770"/>
                  </a:cubicBezTo>
                  <a:cubicBezTo>
                    <a:pt x="67723" y="1973189"/>
                    <a:pt x="64951" y="1975961"/>
                    <a:pt x="61531" y="1975961"/>
                  </a:cubicBezTo>
                  <a:cubicBezTo>
                    <a:pt x="58112" y="1975961"/>
                    <a:pt x="55340" y="1973189"/>
                    <a:pt x="55340" y="1969770"/>
                  </a:cubicBezTo>
                  <a:cubicBezTo>
                    <a:pt x="55340" y="1966351"/>
                    <a:pt x="58112" y="1963579"/>
                    <a:pt x="61531" y="1963579"/>
                  </a:cubicBezTo>
                  <a:close/>
                  <a:moveTo>
                    <a:pt x="239744" y="1963388"/>
                  </a:moveTo>
                  <a:cubicBezTo>
                    <a:pt x="243173" y="1963388"/>
                    <a:pt x="245935" y="1966150"/>
                    <a:pt x="245935" y="1969579"/>
                  </a:cubicBezTo>
                  <a:cubicBezTo>
                    <a:pt x="245935" y="1973008"/>
                    <a:pt x="243173" y="1975771"/>
                    <a:pt x="239744" y="1975771"/>
                  </a:cubicBezTo>
                  <a:cubicBezTo>
                    <a:pt x="236315" y="1975771"/>
                    <a:pt x="233553" y="1973008"/>
                    <a:pt x="233553" y="1969579"/>
                  </a:cubicBezTo>
                  <a:cubicBezTo>
                    <a:pt x="233553" y="1966150"/>
                    <a:pt x="236315" y="1963388"/>
                    <a:pt x="239744" y="1963388"/>
                  </a:cubicBezTo>
                  <a:close/>
                  <a:moveTo>
                    <a:pt x="3230593" y="1962531"/>
                  </a:moveTo>
                  <a:cubicBezTo>
                    <a:pt x="3234022" y="1962531"/>
                    <a:pt x="3236785" y="1965293"/>
                    <a:pt x="3236785" y="1968722"/>
                  </a:cubicBezTo>
                  <a:cubicBezTo>
                    <a:pt x="3236785" y="1972151"/>
                    <a:pt x="3234022" y="1974914"/>
                    <a:pt x="3230593" y="1974914"/>
                  </a:cubicBezTo>
                  <a:cubicBezTo>
                    <a:pt x="3227164" y="1974914"/>
                    <a:pt x="3224402" y="1972151"/>
                    <a:pt x="3224402" y="1968722"/>
                  </a:cubicBezTo>
                  <a:cubicBezTo>
                    <a:pt x="3224402" y="1965293"/>
                    <a:pt x="3227164" y="1962531"/>
                    <a:pt x="3230593" y="1962531"/>
                  </a:cubicBezTo>
                  <a:close/>
                  <a:moveTo>
                    <a:pt x="3315557" y="1959959"/>
                  </a:moveTo>
                  <a:cubicBezTo>
                    <a:pt x="3318986" y="1959959"/>
                    <a:pt x="3321748" y="1962721"/>
                    <a:pt x="3321748" y="1966150"/>
                  </a:cubicBezTo>
                  <a:cubicBezTo>
                    <a:pt x="3321748" y="1969579"/>
                    <a:pt x="3318986" y="1972342"/>
                    <a:pt x="3315557" y="1972342"/>
                  </a:cubicBezTo>
                  <a:cubicBezTo>
                    <a:pt x="3312128" y="1972342"/>
                    <a:pt x="3309366" y="1969579"/>
                    <a:pt x="3309366" y="1966150"/>
                  </a:cubicBezTo>
                  <a:cubicBezTo>
                    <a:pt x="3309366" y="1962721"/>
                    <a:pt x="3312128" y="1959959"/>
                    <a:pt x="3315557" y="1959959"/>
                  </a:cubicBezTo>
                  <a:close/>
                  <a:moveTo>
                    <a:pt x="675893" y="1959197"/>
                  </a:moveTo>
                  <a:cubicBezTo>
                    <a:pt x="679322" y="1959197"/>
                    <a:pt x="682085" y="1961959"/>
                    <a:pt x="682085" y="1965388"/>
                  </a:cubicBezTo>
                  <a:cubicBezTo>
                    <a:pt x="682085" y="1968817"/>
                    <a:pt x="679322" y="1971580"/>
                    <a:pt x="675893" y="1971580"/>
                  </a:cubicBezTo>
                  <a:cubicBezTo>
                    <a:pt x="672464" y="1971580"/>
                    <a:pt x="669702" y="1968817"/>
                    <a:pt x="669702" y="1965388"/>
                  </a:cubicBezTo>
                  <a:cubicBezTo>
                    <a:pt x="669702" y="1961959"/>
                    <a:pt x="672464" y="1959197"/>
                    <a:pt x="675893" y="1959197"/>
                  </a:cubicBezTo>
                  <a:close/>
                  <a:moveTo>
                    <a:pt x="3273361" y="1958912"/>
                  </a:moveTo>
                  <a:cubicBezTo>
                    <a:pt x="3276790" y="1958912"/>
                    <a:pt x="3279552" y="1961674"/>
                    <a:pt x="3279552" y="1965103"/>
                  </a:cubicBezTo>
                  <a:cubicBezTo>
                    <a:pt x="3279552" y="1968532"/>
                    <a:pt x="3276790" y="1971295"/>
                    <a:pt x="3273361" y="1971295"/>
                  </a:cubicBezTo>
                  <a:cubicBezTo>
                    <a:pt x="3269932" y="1971295"/>
                    <a:pt x="3267170" y="1968532"/>
                    <a:pt x="3267170" y="1965103"/>
                  </a:cubicBezTo>
                  <a:cubicBezTo>
                    <a:pt x="3267170" y="1961674"/>
                    <a:pt x="3269932" y="1958912"/>
                    <a:pt x="3273361" y="1958912"/>
                  </a:cubicBezTo>
                  <a:close/>
                  <a:moveTo>
                    <a:pt x="96011" y="1958054"/>
                  </a:moveTo>
                  <a:cubicBezTo>
                    <a:pt x="99440" y="1958054"/>
                    <a:pt x="102202" y="1960816"/>
                    <a:pt x="102202" y="1964245"/>
                  </a:cubicBezTo>
                  <a:cubicBezTo>
                    <a:pt x="102202" y="1967674"/>
                    <a:pt x="99440" y="1970437"/>
                    <a:pt x="96011" y="1970437"/>
                  </a:cubicBezTo>
                  <a:cubicBezTo>
                    <a:pt x="92582" y="1970437"/>
                    <a:pt x="89820" y="1967674"/>
                    <a:pt x="89820" y="1964245"/>
                  </a:cubicBezTo>
                  <a:cubicBezTo>
                    <a:pt x="89820" y="1960816"/>
                    <a:pt x="92582" y="1958054"/>
                    <a:pt x="96011" y="1958054"/>
                  </a:cubicBezTo>
                  <a:close/>
                  <a:moveTo>
                    <a:pt x="3109055" y="1957769"/>
                  </a:moveTo>
                  <a:cubicBezTo>
                    <a:pt x="3112484" y="1957769"/>
                    <a:pt x="3115246" y="1960531"/>
                    <a:pt x="3115246" y="1963960"/>
                  </a:cubicBezTo>
                  <a:cubicBezTo>
                    <a:pt x="3115246" y="1967389"/>
                    <a:pt x="3112484" y="1970152"/>
                    <a:pt x="3109055" y="1970152"/>
                  </a:cubicBezTo>
                  <a:cubicBezTo>
                    <a:pt x="3105626" y="1970152"/>
                    <a:pt x="3102864" y="1967389"/>
                    <a:pt x="3102864" y="1963960"/>
                  </a:cubicBezTo>
                  <a:cubicBezTo>
                    <a:pt x="3102864" y="1960531"/>
                    <a:pt x="3105626" y="1957769"/>
                    <a:pt x="3109055" y="1957769"/>
                  </a:cubicBezTo>
                  <a:close/>
                  <a:moveTo>
                    <a:pt x="56578" y="1955007"/>
                  </a:moveTo>
                  <a:cubicBezTo>
                    <a:pt x="60007" y="1955007"/>
                    <a:pt x="62770" y="1957769"/>
                    <a:pt x="62770" y="1961198"/>
                  </a:cubicBezTo>
                  <a:cubicBezTo>
                    <a:pt x="62770" y="1964627"/>
                    <a:pt x="60007" y="1967389"/>
                    <a:pt x="56578" y="1967389"/>
                  </a:cubicBezTo>
                  <a:cubicBezTo>
                    <a:pt x="53149" y="1967389"/>
                    <a:pt x="50387" y="1964627"/>
                    <a:pt x="50387" y="1961198"/>
                  </a:cubicBezTo>
                  <a:cubicBezTo>
                    <a:pt x="50387" y="1957769"/>
                    <a:pt x="53149" y="1955007"/>
                    <a:pt x="56578" y="1955007"/>
                  </a:cubicBezTo>
                  <a:close/>
                  <a:moveTo>
                    <a:pt x="3322891" y="1954530"/>
                  </a:moveTo>
                  <a:cubicBezTo>
                    <a:pt x="3326320" y="1954530"/>
                    <a:pt x="3329083" y="1957292"/>
                    <a:pt x="3329083" y="1960721"/>
                  </a:cubicBezTo>
                  <a:cubicBezTo>
                    <a:pt x="3329083" y="1964150"/>
                    <a:pt x="3326320" y="1966913"/>
                    <a:pt x="3322891" y="1966913"/>
                  </a:cubicBezTo>
                  <a:cubicBezTo>
                    <a:pt x="3319462" y="1966913"/>
                    <a:pt x="3316700" y="1964150"/>
                    <a:pt x="3316700" y="1960721"/>
                  </a:cubicBezTo>
                  <a:cubicBezTo>
                    <a:pt x="3316700" y="1957292"/>
                    <a:pt x="3319462" y="1954530"/>
                    <a:pt x="3322891" y="1954530"/>
                  </a:cubicBezTo>
                  <a:close/>
                  <a:moveTo>
                    <a:pt x="2697003" y="1953673"/>
                  </a:moveTo>
                  <a:cubicBezTo>
                    <a:pt x="2700432" y="1953673"/>
                    <a:pt x="2703194" y="1956435"/>
                    <a:pt x="2703194" y="1959864"/>
                  </a:cubicBezTo>
                  <a:cubicBezTo>
                    <a:pt x="2703194" y="1963293"/>
                    <a:pt x="2700432" y="1966055"/>
                    <a:pt x="2697003" y="1966055"/>
                  </a:cubicBezTo>
                  <a:cubicBezTo>
                    <a:pt x="2693574" y="1966055"/>
                    <a:pt x="2690812" y="1963293"/>
                    <a:pt x="2690812" y="1959864"/>
                  </a:cubicBezTo>
                  <a:cubicBezTo>
                    <a:pt x="2690812" y="1956435"/>
                    <a:pt x="2693574" y="1953673"/>
                    <a:pt x="2697003" y="1953673"/>
                  </a:cubicBezTo>
                  <a:close/>
                  <a:moveTo>
                    <a:pt x="209645" y="1953101"/>
                  </a:moveTo>
                  <a:cubicBezTo>
                    <a:pt x="213074" y="1953101"/>
                    <a:pt x="215836" y="1955863"/>
                    <a:pt x="215836" y="1959292"/>
                  </a:cubicBezTo>
                  <a:cubicBezTo>
                    <a:pt x="215836" y="1962721"/>
                    <a:pt x="213074" y="1965484"/>
                    <a:pt x="209645" y="1965484"/>
                  </a:cubicBezTo>
                  <a:cubicBezTo>
                    <a:pt x="206216" y="1965484"/>
                    <a:pt x="203454" y="1962721"/>
                    <a:pt x="203454" y="1959292"/>
                  </a:cubicBezTo>
                  <a:cubicBezTo>
                    <a:pt x="203454" y="1955863"/>
                    <a:pt x="206216" y="1953101"/>
                    <a:pt x="209645" y="1953101"/>
                  </a:cubicBezTo>
                  <a:close/>
                  <a:moveTo>
                    <a:pt x="3242119" y="1953006"/>
                  </a:moveTo>
                  <a:cubicBezTo>
                    <a:pt x="3245548" y="1953006"/>
                    <a:pt x="3248310" y="1955768"/>
                    <a:pt x="3248310" y="1959197"/>
                  </a:cubicBezTo>
                  <a:cubicBezTo>
                    <a:pt x="3248310" y="1962626"/>
                    <a:pt x="3245548" y="1965389"/>
                    <a:pt x="3242119" y="1965389"/>
                  </a:cubicBezTo>
                  <a:cubicBezTo>
                    <a:pt x="3238690" y="1965389"/>
                    <a:pt x="3235928" y="1962626"/>
                    <a:pt x="3235928" y="1959197"/>
                  </a:cubicBezTo>
                  <a:cubicBezTo>
                    <a:pt x="3235928" y="1955768"/>
                    <a:pt x="3238690" y="1953006"/>
                    <a:pt x="3242119" y="1953006"/>
                  </a:cubicBezTo>
                  <a:close/>
                  <a:moveTo>
                    <a:pt x="3330893" y="1950911"/>
                  </a:moveTo>
                  <a:cubicBezTo>
                    <a:pt x="3333523" y="1950911"/>
                    <a:pt x="3335655" y="1953043"/>
                    <a:pt x="3335655" y="1955673"/>
                  </a:cubicBezTo>
                  <a:cubicBezTo>
                    <a:pt x="3335655" y="1958304"/>
                    <a:pt x="3333523" y="1960436"/>
                    <a:pt x="3330893" y="1960436"/>
                  </a:cubicBezTo>
                  <a:cubicBezTo>
                    <a:pt x="3328262" y="1960436"/>
                    <a:pt x="3326130" y="1958304"/>
                    <a:pt x="3326130" y="1955673"/>
                  </a:cubicBezTo>
                  <a:cubicBezTo>
                    <a:pt x="3326130" y="1953043"/>
                    <a:pt x="3328262" y="1950911"/>
                    <a:pt x="3330893" y="1950911"/>
                  </a:cubicBezTo>
                  <a:close/>
                  <a:moveTo>
                    <a:pt x="601598" y="1948911"/>
                  </a:moveTo>
                  <a:cubicBezTo>
                    <a:pt x="605027" y="1948911"/>
                    <a:pt x="607790" y="1951673"/>
                    <a:pt x="607790" y="1955102"/>
                  </a:cubicBezTo>
                  <a:cubicBezTo>
                    <a:pt x="607790" y="1958531"/>
                    <a:pt x="605027" y="1961293"/>
                    <a:pt x="601598" y="1961293"/>
                  </a:cubicBezTo>
                  <a:cubicBezTo>
                    <a:pt x="598169" y="1961293"/>
                    <a:pt x="595407" y="1958531"/>
                    <a:pt x="595407" y="1955102"/>
                  </a:cubicBezTo>
                  <a:cubicBezTo>
                    <a:pt x="595407" y="1951673"/>
                    <a:pt x="598169" y="1948911"/>
                    <a:pt x="601598" y="1948911"/>
                  </a:cubicBezTo>
                  <a:close/>
                  <a:moveTo>
                    <a:pt x="85248" y="1948720"/>
                  </a:moveTo>
                  <a:cubicBezTo>
                    <a:pt x="88677" y="1948720"/>
                    <a:pt x="91440" y="1951482"/>
                    <a:pt x="91440" y="1954911"/>
                  </a:cubicBezTo>
                  <a:cubicBezTo>
                    <a:pt x="91440" y="1958340"/>
                    <a:pt x="88677" y="1961103"/>
                    <a:pt x="85248" y="1961103"/>
                  </a:cubicBezTo>
                  <a:cubicBezTo>
                    <a:pt x="81819" y="1961103"/>
                    <a:pt x="79057" y="1958340"/>
                    <a:pt x="79057" y="1954911"/>
                  </a:cubicBezTo>
                  <a:cubicBezTo>
                    <a:pt x="79057" y="1951482"/>
                    <a:pt x="81819" y="1948720"/>
                    <a:pt x="85248" y="1948720"/>
                  </a:cubicBezTo>
                  <a:close/>
                  <a:moveTo>
                    <a:pt x="3137249" y="1947767"/>
                  </a:moveTo>
                  <a:cubicBezTo>
                    <a:pt x="3140678" y="1947767"/>
                    <a:pt x="3143440" y="1950529"/>
                    <a:pt x="3143440" y="1953958"/>
                  </a:cubicBezTo>
                  <a:cubicBezTo>
                    <a:pt x="3143440" y="1957387"/>
                    <a:pt x="3140678" y="1960150"/>
                    <a:pt x="3137249" y="1960150"/>
                  </a:cubicBezTo>
                  <a:cubicBezTo>
                    <a:pt x="3133820" y="1960150"/>
                    <a:pt x="3131058" y="1957387"/>
                    <a:pt x="3131058" y="1953958"/>
                  </a:cubicBezTo>
                  <a:cubicBezTo>
                    <a:pt x="3131058" y="1950529"/>
                    <a:pt x="3133820" y="1947767"/>
                    <a:pt x="3137249" y="1947767"/>
                  </a:cubicBezTo>
                  <a:close/>
                  <a:moveTo>
                    <a:pt x="3252025" y="1943862"/>
                  </a:moveTo>
                  <a:cubicBezTo>
                    <a:pt x="3255454" y="1943862"/>
                    <a:pt x="3258217" y="1946624"/>
                    <a:pt x="3258217" y="1950053"/>
                  </a:cubicBezTo>
                  <a:cubicBezTo>
                    <a:pt x="3258217" y="1953482"/>
                    <a:pt x="3255454" y="1956244"/>
                    <a:pt x="3252025" y="1956244"/>
                  </a:cubicBezTo>
                  <a:cubicBezTo>
                    <a:pt x="3248596" y="1956244"/>
                    <a:pt x="3245834" y="1953482"/>
                    <a:pt x="3245834" y="1950053"/>
                  </a:cubicBezTo>
                  <a:cubicBezTo>
                    <a:pt x="3245834" y="1946624"/>
                    <a:pt x="3248596" y="1943862"/>
                    <a:pt x="3252025" y="1943862"/>
                  </a:cubicBezTo>
                  <a:close/>
                  <a:moveTo>
                    <a:pt x="2767583" y="1943481"/>
                  </a:moveTo>
                  <a:cubicBezTo>
                    <a:pt x="2771012" y="1943481"/>
                    <a:pt x="2773774" y="1946243"/>
                    <a:pt x="2773774" y="1949672"/>
                  </a:cubicBezTo>
                  <a:cubicBezTo>
                    <a:pt x="2773774" y="1953101"/>
                    <a:pt x="2771012" y="1955864"/>
                    <a:pt x="2767583" y="1955864"/>
                  </a:cubicBezTo>
                  <a:cubicBezTo>
                    <a:pt x="2764154" y="1955864"/>
                    <a:pt x="2761392" y="1953101"/>
                    <a:pt x="2761392" y="1949672"/>
                  </a:cubicBezTo>
                  <a:cubicBezTo>
                    <a:pt x="2761392" y="1946243"/>
                    <a:pt x="2764154" y="1943481"/>
                    <a:pt x="2767583" y="1943481"/>
                  </a:cubicBezTo>
                  <a:close/>
                  <a:moveTo>
                    <a:pt x="183070" y="1943196"/>
                  </a:moveTo>
                  <a:cubicBezTo>
                    <a:pt x="186499" y="1943196"/>
                    <a:pt x="189262" y="1945958"/>
                    <a:pt x="189262" y="1949387"/>
                  </a:cubicBezTo>
                  <a:cubicBezTo>
                    <a:pt x="189262" y="1952816"/>
                    <a:pt x="186499" y="1955579"/>
                    <a:pt x="183070" y="1955579"/>
                  </a:cubicBezTo>
                  <a:cubicBezTo>
                    <a:pt x="179641" y="1955579"/>
                    <a:pt x="176879" y="1952816"/>
                    <a:pt x="176879" y="1949387"/>
                  </a:cubicBezTo>
                  <a:cubicBezTo>
                    <a:pt x="176879" y="1945958"/>
                    <a:pt x="179641" y="1943196"/>
                    <a:pt x="183070" y="1943196"/>
                  </a:cubicBezTo>
                  <a:close/>
                  <a:moveTo>
                    <a:pt x="76104" y="1939766"/>
                  </a:moveTo>
                  <a:cubicBezTo>
                    <a:pt x="79533" y="1939766"/>
                    <a:pt x="82296" y="1942528"/>
                    <a:pt x="82296" y="1945957"/>
                  </a:cubicBezTo>
                  <a:cubicBezTo>
                    <a:pt x="82296" y="1949386"/>
                    <a:pt x="79533" y="1952149"/>
                    <a:pt x="76104" y="1952149"/>
                  </a:cubicBezTo>
                  <a:cubicBezTo>
                    <a:pt x="72675" y="1952149"/>
                    <a:pt x="69913" y="1949386"/>
                    <a:pt x="69913" y="1945957"/>
                  </a:cubicBezTo>
                  <a:cubicBezTo>
                    <a:pt x="69913" y="1942528"/>
                    <a:pt x="72675" y="1939766"/>
                    <a:pt x="76104" y="1939766"/>
                  </a:cubicBezTo>
                  <a:close/>
                  <a:moveTo>
                    <a:pt x="533971" y="1938909"/>
                  </a:moveTo>
                  <a:cubicBezTo>
                    <a:pt x="537400" y="1938909"/>
                    <a:pt x="540162" y="1941671"/>
                    <a:pt x="540162" y="1945100"/>
                  </a:cubicBezTo>
                  <a:cubicBezTo>
                    <a:pt x="540162" y="1948529"/>
                    <a:pt x="537400" y="1951292"/>
                    <a:pt x="533971" y="1951292"/>
                  </a:cubicBezTo>
                  <a:cubicBezTo>
                    <a:pt x="530542" y="1951292"/>
                    <a:pt x="527780" y="1948529"/>
                    <a:pt x="527780" y="1945100"/>
                  </a:cubicBezTo>
                  <a:cubicBezTo>
                    <a:pt x="527780" y="1941671"/>
                    <a:pt x="530542" y="1938909"/>
                    <a:pt x="533971" y="1938909"/>
                  </a:cubicBezTo>
                  <a:close/>
                  <a:moveTo>
                    <a:pt x="28765" y="1938719"/>
                  </a:moveTo>
                  <a:cubicBezTo>
                    <a:pt x="32194" y="1938719"/>
                    <a:pt x="34957" y="1941481"/>
                    <a:pt x="34957" y="1944910"/>
                  </a:cubicBezTo>
                  <a:lnTo>
                    <a:pt x="34242" y="1945625"/>
                  </a:lnTo>
                  <a:lnTo>
                    <a:pt x="39719" y="1951101"/>
                  </a:lnTo>
                  <a:lnTo>
                    <a:pt x="38671" y="1952149"/>
                  </a:lnTo>
                  <a:lnTo>
                    <a:pt x="44196" y="1957673"/>
                  </a:lnTo>
                  <a:lnTo>
                    <a:pt x="42814" y="1959055"/>
                  </a:lnTo>
                  <a:lnTo>
                    <a:pt x="48387" y="1964627"/>
                  </a:lnTo>
                  <a:lnTo>
                    <a:pt x="46672" y="1966342"/>
                  </a:lnTo>
                  <a:lnTo>
                    <a:pt x="52387" y="1972056"/>
                  </a:lnTo>
                  <a:lnTo>
                    <a:pt x="50482" y="1973961"/>
                  </a:lnTo>
                  <a:lnTo>
                    <a:pt x="56388" y="1979866"/>
                  </a:lnTo>
                  <a:lnTo>
                    <a:pt x="54292" y="1981962"/>
                  </a:lnTo>
                  <a:lnTo>
                    <a:pt x="60483" y="1988153"/>
                  </a:lnTo>
                  <a:cubicBezTo>
                    <a:pt x="60483" y="1991582"/>
                    <a:pt x="57721" y="1994344"/>
                    <a:pt x="54292" y="1994344"/>
                  </a:cubicBezTo>
                  <a:cubicBezTo>
                    <a:pt x="50863" y="1994344"/>
                    <a:pt x="48101" y="1991582"/>
                    <a:pt x="48101" y="1988153"/>
                  </a:cubicBezTo>
                  <a:lnTo>
                    <a:pt x="50196" y="1986058"/>
                  </a:lnTo>
                  <a:lnTo>
                    <a:pt x="44005" y="1979866"/>
                  </a:lnTo>
                  <a:lnTo>
                    <a:pt x="45909" y="1977962"/>
                  </a:lnTo>
                  <a:lnTo>
                    <a:pt x="40004" y="1972056"/>
                  </a:lnTo>
                  <a:lnTo>
                    <a:pt x="41718" y="1970342"/>
                  </a:lnTo>
                  <a:lnTo>
                    <a:pt x="36004" y="1964627"/>
                  </a:lnTo>
                  <a:lnTo>
                    <a:pt x="37385" y="1963246"/>
                  </a:lnTo>
                  <a:lnTo>
                    <a:pt x="31813" y="1957673"/>
                  </a:lnTo>
                  <a:lnTo>
                    <a:pt x="32860" y="1956626"/>
                  </a:lnTo>
                  <a:lnTo>
                    <a:pt x="27336" y="1951101"/>
                  </a:lnTo>
                  <a:lnTo>
                    <a:pt x="28050" y="1950387"/>
                  </a:lnTo>
                  <a:lnTo>
                    <a:pt x="22574" y="1944910"/>
                  </a:lnTo>
                  <a:cubicBezTo>
                    <a:pt x="22574" y="1941481"/>
                    <a:pt x="25336" y="1938719"/>
                    <a:pt x="28765" y="1938719"/>
                  </a:cubicBezTo>
                  <a:close/>
                  <a:moveTo>
                    <a:pt x="3162014" y="1938052"/>
                  </a:moveTo>
                  <a:cubicBezTo>
                    <a:pt x="3165434" y="1938052"/>
                    <a:pt x="3168205" y="1940824"/>
                    <a:pt x="3168205" y="1944243"/>
                  </a:cubicBezTo>
                  <a:cubicBezTo>
                    <a:pt x="3168205" y="1947663"/>
                    <a:pt x="3165434" y="1950434"/>
                    <a:pt x="3162014" y="1950434"/>
                  </a:cubicBezTo>
                  <a:cubicBezTo>
                    <a:pt x="3158595" y="1950434"/>
                    <a:pt x="3155823" y="1947663"/>
                    <a:pt x="3155823" y="1944243"/>
                  </a:cubicBezTo>
                  <a:cubicBezTo>
                    <a:pt x="3155823" y="1940824"/>
                    <a:pt x="3158595" y="1938052"/>
                    <a:pt x="3162014" y="1938052"/>
                  </a:cubicBezTo>
                  <a:close/>
                  <a:moveTo>
                    <a:pt x="23622" y="1936528"/>
                  </a:moveTo>
                  <a:cubicBezTo>
                    <a:pt x="25042" y="1936528"/>
                    <a:pt x="26194" y="1937679"/>
                    <a:pt x="26194" y="1939100"/>
                  </a:cubicBezTo>
                  <a:cubicBezTo>
                    <a:pt x="26194" y="1940520"/>
                    <a:pt x="25042" y="1941672"/>
                    <a:pt x="23622" y="1941672"/>
                  </a:cubicBezTo>
                  <a:cubicBezTo>
                    <a:pt x="22201" y="1941672"/>
                    <a:pt x="21050" y="1940520"/>
                    <a:pt x="21050" y="1939100"/>
                  </a:cubicBezTo>
                  <a:cubicBezTo>
                    <a:pt x="21050" y="1937679"/>
                    <a:pt x="22201" y="1936528"/>
                    <a:pt x="23622" y="1936528"/>
                  </a:cubicBezTo>
                  <a:close/>
                  <a:moveTo>
                    <a:pt x="3260407" y="1935195"/>
                  </a:moveTo>
                  <a:cubicBezTo>
                    <a:pt x="3263836" y="1935195"/>
                    <a:pt x="3266599" y="1937957"/>
                    <a:pt x="3266599" y="1941386"/>
                  </a:cubicBezTo>
                  <a:cubicBezTo>
                    <a:pt x="3266599" y="1944815"/>
                    <a:pt x="3263836" y="1947578"/>
                    <a:pt x="3260407" y="1947578"/>
                  </a:cubicBezTo>
                  <a:cubicBezTo>
                    <a:pt x="3256978" y="1947578"/>
                    <a:pt x="3254216" y="1944815"/>
                    <a:pt x="3254216" y="1941386"/>
                  </a:cubicBezTo>
                  <a:cubicBezTo>
                    <a:pt x="3254216" y="1937957"/>
                    <a:pt x="3256978" y="1935195"/>
                    <a:pt x="3260407" y="1935195"/>
                  </a:cubicBezTo>
                  <a:close/>
                  <a:moveTo>
                    <a:pt x="2831782" y="1933671"/>
                  </a:moveTo>
                  <a:cubicBezTo>
                    <a:pt x="2835211" y="1933671"/>
                    <a:pt x="2837974" y="1936433"/>
                    <a:pt x="2837974" y="1939862"/>
                  </a:cubicBezTo>
                  <a:cubicBezTo>
                    <a:pt x="2837974" y="1943291"/>
                    <a:pt x="2835211" y="1946054"/>
                    <a:pt x="2831782" y="1946054"/>
                  </a:cubicBezTo>
                  <a:cubicBezTo>
                    <a:pt x="2828353" y="1946054"/>
                    <a:pt x="2825591" y="1943291"/>
                    <a:pt x="2825591" y="1939862"/>
                  </a:cubicBezTo>
                  <a:cubicBezTo>
                    <a:pt x="2825591" y="1936433"/>
                    <a:pt x="2828353" y="1933671"/>
                    <a:pt x="2831782" y="1933671"/>
                  </a:cubicBezTo>
                  <a:close/>
                  <a:moveTo>
                    <a:pt x="159734" y="1933671"/>
                  </a:moveTo>
                  <a:cubicBezTo>
                    <a:pt x="163163" y="1933671"/>
                    <a:pt x="165925" y="1936433"/>
                    <a:pt x="165925" y="1939862"/>
                  </a:cubicBezTo>
                  <a:cubicBezTo>
                    <a:pt x="165925" y="1943291"/>
                    <a:pt x="163163" y="1946054"/>
                    <a:pt x="159734" y="1946054"/>
                  </a:cubicBezTo>
                  <a:cubicBezTo>
                    <a:pt x="156305" y="1946054"/>
                    <a:pt x="153543" y="1943291"/>
                    <a:pt x="153543" y="1939862"/>
                  </a:cubicBezTo>
                  <a:cubicBezTo>
                    <a:pt x="153543" y="1936433"/>
                    <a:pt x="156305" y="1933671"/>
                    <a:pt x="159734" y="1933671"/>
                  </a:cubicBezTo>
                  <a:close/>
                  <a:moveTo>
                    <a:pt x="68293" y="1931289"/>
                  </a:moveTo>
                  <a:cubicBezTo>
                    <a:pt x="71722" y="1931289"/>
                    <a:pt x="74485" y="1934051"/>
                    <a:pt x="74485" y="1937480"/>
                  </a:cubicBezTo>
                  <a:cubicBezTo>
                    <a:pt x="74485" y="1940909"/>
                    <a:pt x="71722" y="1943672"/>
                    <a:pt x="68293" y="1943672"/>
                  </a:cubicBezTo>
                  <a:cubicBezTo>
                    <a:pt x="64864" y="1943672"/>
                    <a:pt x="62102" y="1940909"/>
                    <a:pt x="62102" y="1937480"/>
                  </a:cubicBezTo>
                  <a:cubicBezTo>
                    <a:pt x="62102" y="1934051"/>
                    <a:pt x="64864" y="1931289"/>
                    <a:pt x="68293" y="1931289"/>
                  </a:cubicBezTo>
                  <a:close/>
                  <a:moveTo>
                    <a:pt x="472725" y="1929194"/>
                  </a:moveTo>
                  <a:cubicBezTo>
                    <a:pt x="476154" y="1929194"/>
                    <a:pt x="478916" y="1931956"/>
                    <a:pt x="478916" y="1935385"/>
                  </a:cubicBezTo>
                  <a:cubicBezTo>
                    <a:pt x="478916" y="1938814"/>
                    <a:pt x="476154" y="1941577"/>
                    <a:pt x="472725" y="1941577"/>
                  </a:cubicBezTo>
                  <a:cubicBezTo>
                    <a:pt x="469296" y="1941577"/>
                    <a:pt x="466534" y="1938814"/>
                    <a:pt x="466534" y="1935385"/>
                  </a:cubicBezTo>
                  <a:cubicBezTo>
                    <a:pt x="466534" y="1931956"/>
                    <a:pt x="469296" y="1929194"/>
                    <a:pt x="472725" y="1929194"/>
                  </a:cubicBezTo>
                  <a:close/>
                  <a:moveTo>
                    <a:pt x="3183731" y="1928813"/>
                  </a:moveTo>
                  <a:cubicBezTo>
                    <a:pt x="3187160" y="1928813"/>
                    <a:pt x="3189922" y="1931575"/>
                    <a:pt x="3189922" y="1935004"/>
                  </a:cubicBezTo>
                  <a:cubicBezTo>
                    <a:pt x="3189922" y="1938433"/>
                    <a:pt x="3187160" y="1941195"/>
                    <a:pt x="3183731" y="1941195"/>
                  </a:cubicBezTo>
                  <a:cubicBezTo>
                    <a:pt x="3180302" y="1941195"/>
                    <a:pt x="3177540" y="1938433"/>
                    <a:pt x="3177540" y="1935004"/>
                  </a:cubicBezTo>
                  <a:cubicBezTo>
                    <a:pt x="3177540" y="1931575"/>
                    <a:pt x="3180302" y="1928813"/>
                    <a:pt x="3183731" y="1928813"/>
                  </a:cubicBezTo>
                  <a:close/>
                  <a:moveTo>
                    <a:pt x="3267550" y="1926908"/>
                  </a:moveTo>
                  <a:cubicBezTo>
                    <a:pt x="3270979" y="1926908"/>
                    <a:pt x="3273742" y="1929670"/>
                    <a:pt x="3273742" y="1933099"/>
                  </a:cubicBezTo>
                  <a:cubicBezTo>
                    <a:pt x="3273742" y="1936528"/>
                    <a:pt x="3270979" y="1939291"/>
                    <a:pt x="3267550" y="1939291"/>
                  </a:cubicBezTo>
                  <a:cubicBezTo>
                    <a:pt x="3264121" y="1939291"/>
                    <a:pt x="3261359" y="1936528"/>
                    <a:pt x="3261359" y="1933099"/>
                  </a:cubicBezTo>
                  <a:cubicBezTo>
                    <a:pt x="3261359" y="1929670"/>
                    <a:pt x="3264121" y="1926908"/>
                    <a:pt x="3267550" y="1926908"/>
                  </a:cubicBezTo>
                  <a:close/>
                  <a:moveTo>
                    <a:pt x="139350" y="1924622"/>
                  </a:moveTo>
                  <a:cubicBezTo>
                    <a:pt x="142779" y="1924622"/>
                    <a:pt x="145542" y="1927384"/>
                    <a:pt x="145542" y="1930813"/>
                  </a:cubicBezTo>
                  <a:cubicBezTo>
                    <a:pt x="145542" y="1934242"/>
                    <a:pt x="142779" y="1937005"/>
                    <a:pt x="139350" y="1937005"/>
                  </a:cubicBezTo>
                  <a:cubicBezTo>
                    <a:pt x="135921" y="1937005"/>
                    <a:pt x="133159" y="1934242"/>
                    <a:pt x="133159" y="1930813"/>
                  </a:cubicBezTo>
                  <a:cubicBezTo>
                    <a:pt x="133159" y="1927384"/>
                    <a:pt x="135921" y="1924622"/>
                    <a:pt x="139350" y="1924622"/>
                  </a:cubicBezTo>
                  <a:close/>
                  <a:moveTo>
                    <a:pt x="2889789" y="1924146"/>
                  </a:moveTo>
                  <a:cubicBezTo>
                    <a:pt x="2893218" y="1924146"/>
                    <a:pt x="2895981" y="1926908"/>
                    <a:pt x="2895981" y="1930337"/>
                  </a:cubicBezTo>
                  <a:cubicBezTo>
                    <a:pt x="2895981" y="1933766"/>
                    <a:pt x="2893218" y="1936529"/>
                    <a:pt x="2889789" y="1936529"/>
                  </a:cubicBezTo>
                  <a:cubicBezTo>
                    <a:pt x="2886360" y="1936529"/>
                    <a:pt x="2883598" y="1933766"/>
                    <a:pt x="2883598" y="1930337"/>
                  </a:cubicBezTo>
                  <a:cubicBezTo>
                    <a:pt x="2883598" y="1926908"/>
                    <a:pt x="2886360" y="1924146"/>
                    <a:pt x="2889789" y="1924146"/>
                  </a:cubicBezTo>
                  <a:close/>
                  <a:moveTo>
                    <a:pt x="61626" y="1923193"/>
                  </a:moveTo>
                  <a:cubicBezTo>
                    <a:pt x="65055" y="1923193"/>
                    <a:pt x="67817" y="1925955"/>
                    <a:pt x="67817" y="1929384"/>
                  </a:cubicBezTo>
                  <a:cubicBezTo>
                    <a:pt x="67817" y="1932813"/>
                    <a:pt x="65055" y="1935576"/>
                    <a:pt x="61626" y="1935576"/>
                  </a:cubicBezTo>
                  <a:cubicBezTo>
                    <a:pt x="58197" y="1935576"/>
                    <a:pt x="55435" y="1932813"/>
                    <a:pt x="55435" y="1929384"/>
                  </a:cubicBezTo>
                  <a:cubicBezTo>
                    <a:pt x="55435" y="1925955"/>
                    <a:pt x="58197" y="1923193"/>
                    <a:pt x="61626" y="1923193"/>
                  </a:cubicBezTo>
                  <a:close/>
                  <a:moveTo>
                    <a:pt x="3202590" y="1919859"/>
                  </a:moveTo>
                  <a:cubicBezTo>
                    <a:pt x="3206010" y="1919859"/>
                    <a:pt x="3208782" y="1922631"/>
                    <a:pt x="3208782" y="1926050"/>
                  </a:cubicBezTo>
                  <a:cubicBezTo>
                    <a:pt x="3208782" y="1929469"/>
                    <a:pt x="3206010" y="1932241"/>
                    <a:pt x="3202590" y="1932241"/>
                  </a:cubicBezTo>
                  <a:cubicBezTo>
                    <a:pt x="3199171" y="1932241"/>
                    <a:pt x="3196399" y="1929469"/>
                    <a:pt x="3196399" y="1926050"/>
                  </a:cubicBezTo>
                  <a:cubicBezTo>
                    <a:pt x="3196399" y="1922631"/>
                    <a:pt x="3199171" y="1919859"/>
                    <a:pt x="3202590" y="1919859"/>
                  </a:cubicBezTo>
                  <a:close/>
                  <a:moveTo>
                    <a:pt x="417289" y="1919859"/>
                  </a:moveTo>
                  <a:cubicBezTo>
                    <a:pt x="420718" y="1919859"/>
                    <a:pt x="423480" y="1922621"/>
                    <a:pt x="423480" y="1926050"/>
                  </a:cubicBezTo>
                  <a:cubicBezTo>
                    <a:pt x="423480" y="1929479"/>
                    <a:pt x="420718" y="1932242"/>
                    <a:pt x="417289" y="1932242"/>
                  </a:cubicBezTo>
                  <a:cubicBezTo>
                    <a:pt x="413860" y="1932242"/>
                    <a:pt x="411098" y="1929479"/>
                    <a:pt x="411098" y="1926050"/>
                  </a:cubicBezTo>
                  <a:cubicBezTo>
                    <a:pt x="411098" y="1922621"/>
                    <a:pt x="413860" y="1919859"/>
                    <a:pt x="417289" y="1919859"/>
                  </a:cubicBezTo>
                  <a:close/>
                  <a:moveTo>
                    <a:pt x="3273647" y="1919002"/>
                  </a:moveTo>
                  <a:cubicBezTo>
                    <a:pt x="3277076" y="1919002"/>
                    <a:pt x="3279838" y="1921764"/>
                    <a:pt x="3279838" y="1925193"/>
                  </a:cubicBezTo>
                  <a:cubicBezTo>
                    <a:pt x="3279838" y="1928622"/>
                    <a:pt x="3277076" y="1931384"/>
                    <a:pt x="3273647" y="1931384"/>
                  </a:cubicBezTo>
                  <a:cubicBezTo>
                    <a:pt x="3270218" y="1931384"/>
                    <a:pt x="3267456" y="1928622"/>
                    <a:pt x="3267456" y="1925193"/>
                  </a:cubicBezTo>
                  <a:cubicBezTo>
                    <a:pt x="3267456" y="1921764"/>
                    <a:pt x="3270218" y="1919002"/>
                    <a:pt x="3273647" y="1919002"/>
                  </a:cubicBezTo>
                  <a:close/>
                  <a:moveTo>
                    <a:pt x="121633" y="1915954"/>
                  </a:moveTo>
                  <a:cubicBezTo>
                    <a:pt x="125062" y="1915954"/>
                    <a:pt x="127825" y="1918716"/>
                    <a:pt x="127825" y="1922145"/>
                  </a:cubicBezTo>
                  <a:cubicBezTo>
                    <a:pt x="127825" y="1925574"/>
                    <a:pt x="125062" y="1928337"/>
                    <a:pt x="121633" y="1928337"/>
                  </a:cubicBezTo>
                  <a:cubicBezTo>
                    <a:pt x="118204" y="1928337"/>
                    <a:pt x="115442" y="1925574"/>
                    <a:pt x="115442" y="1922145"/>
                  </a:cubicBezTo>
                  <a:cubicBezTo>
                    <a:pt x="115442" y="1918716"/>
                    <a:pt x="118204" y="1915954"/>
                    <a:pt x="121633" y="1915954"/>
                  </a:cubicBezTo>
                  <a:close/>
                  <a:moveTo>
                    <a:pt x="3331558" y="1915192"/>
                  </a:moveTo>
                  <a:cubicBezTo>
                    <a:pt x="3334987" y="1915192"/>
                    <a:pt x="3337750" y="1917954"/>
                    <a:pt x="3337750" y="1921383"/>
                  </a:cubicBezTo>
                  <a:cubicBezTo>
                    <a:pt x="3337750" y="1924812"/>
                    <a:pt x="3334987" y="1927575"/>
                    <a:pt x="3331558" y="1927575"/>
                  </a:cubicBezTo>
                  <a:lnTo>
                    <a:pt x="3330177" y="1926194"/>
                  </a:lnTo>
                  <a:lnTo>
                    <a:pt x="3324224" y="1932147"/>
                  </a:lnTo>
                  <a:lnTo>
                    <a:pt x="3323414" y="1931337"/>
                  </a:lnTo>
                  <a:lnTo>
                    <a:pt x="3317652" y="1937100"/>
                  </a:lnTo>
                  <a:lnTo>
                    <a:pt x="3317224" y="1936672"/>
                  </a:lnTo>
                  <a:lnTo>
                    <a:pt x="3312223" y="1941672"/>
                  </a:lnTo>
                  <a:lnTo>
                    <a:pt x="3312318" y="1941766"/>
                  </a:lnTo>
                  <a:lnTo>
                    <a:pt x="3306794" y="1947291"/>
                  </a:lnTo>
                  <a:lnTo>
                    <a:pt x="3307270" y="1947767"/>
                  </a:lnTo>
                  <a:lnTo>
                    <a:pt x="3301793" y="1953245"/>
                  </a:lnTo>
                  <a:lnTo>
                    <a:pt x="3302698" y="1954149"/>
                  </a:lnTo>
                  <a:lnTo>
                    <a:pt x="3297174" y="1959674"/>
                  </a:lnTo>
                  <a:lnTo>
                    <a:pt x="3298412" y="1960912"/>
                  </a:lnTo>
                  <a:lnTo>
                    <a:pt x="3292791" y="1966532"/>
                  </a:lnTo>
                  <a:lnTo>
                    <a:pt x="3294315" y="1968056"/>
                  </a:lnTo>
                  <a:lnTo>
                    <a:pt x="3288553" y="1973818"/>
                  </a:lnTo>
                  <a:lnTo>
                    <a:pt x="3290315" y="1975580"/>
                  </a:lnTo>
                  <a:lnTo>
                    <a:pt x="3284267" y="1981629"/>
                  </a:lnTo>
                  <a:lnTo>
                    <a:pt x="3286315" y="1983677"/>
                  </a:lnTo>
                  <a:cubicBezTo>
                    <a:pt x="3286315" y="1987106"/>
                    <a:pt x="3283553" y="1989868"/>
                    <a:pt x="3280124" y="1989868"/>
                  </a:cubicBezTo>
                  <a:cubicBezTo>
                    <a:pt x="3276695" y="1989868"/>
                    <a:pt x="3273933" y="1987106"/>
                    <a:pt x="3273933" y="1983677"/>
                  </a:cubicBezTo>
                  <a:lnTo>
                    <a:pt x="3279981" y="1977629"/>
                  </a:lnTo>
                  <a:lnTo>
                    <a:pt x="3277933" y="1975580"/>
                  </a:lnTo>
                  <a:lnTo>
                    <a:pt x="3283695" y="1969818"/>
                  </a:lnTo>
                  <a:lnTo>
                    <a:pt x="3281933" y="1968056"/>
                  </a:lnTo>
                  <a:lnTo>
                    <a:pt x="3287553" y="1962436"/>
                  </a:lnTo>
                  <a:lnTo>
                    <a:pt x="3286029" y="1960912"/>
                  </a:lnTo>
                  <a:lnTo>
                    <a:pt x="3291554" y="1955387"/>
                  </a:lnTo>
                  <a:lnTo>
                    <a:pt x="3290316" y="1954149"/>
                  </a:lnTo>
                  <a:lnTo>
                    <a:pt x="3295793" y="1948672"/>
                  </a:lnTo>
                  <a:lnTo>
                    <a:pt x="3294888" y="1947767"/>
                  </a:lnTo>
                  <a:lnTo>
                    <a:pt x="3300412" y="1942243"/>
                  </a:lnTo>
                  <a:lnTo>
                    <a:pt x="3299936" y="1941766"/>
                  </a:lnTo>
                  <a:lnTo>
                    <a:pt x="3305460" y="1936242"/>
                  </a:lnTo>
                  <a:lnTo>
                    <a:pt x="3305365" y="1936147"/>
                  </a:lnTo>
                  <a:cubicBezTo>
                    <a:pt x="3305365" y="1932718"/>
                    <a:pt x="3308127" y="1929956"/>
                    <a:pt x="3311556" y="1929956"/>
                  </a:cubicBezTo>
                  <a:lnTo>
                    <a:pt x="3311985" y="1930385"/>
                  </a:lnTo>
                  <a:lnTo>
                    <a:pt x="3317652" y="1924717"/>
                  </a:lnTo>
                  <a:lnTo>
                    <a:pt x="3318462" y="1925527"/>
                  </a:lnTo>
                  <a:lnTo>
                    <a:pt x="3324224" y="1919764"/>
                  </a:lnTo>
                  <a:lnTo>
                    <a:pt x="3325605" y="1921145"/>
                  </a:lnTo>
                  <a:close/>
                  <a:moveTo>
                    <a:pt x="2942176" y="1915001"/>
                  </a:moveTo>
                  <a:cubicBezTo>
                    <a:pt x="2945605" y="1915001"/>
                    <a:pt x="2948368" y="1917763"/>
                    <a:pt x="2948368" y="1921192"/>
                  </a:cubicBezTo>
                  <a:cubicBezTo>
                    <a:pt x="2948368" y="1924621"/>
                    <a:pt x="2945605" y="1927384"/>
                    <a:pt x="2942176" y="1927384"/>
                  </a:cubicBezTo>
                  <a:cubicBezTo>
                    <a:pt x="2938747" y="1927384"/>
                    <a:pt x="2935985" y="1924621"/>
                    <a:pt x="2935985" y="1921192"/>
                  </a:cubicBezTo>
                  <a:cubicBezTo>
                    <a:pt x="2935985" y="1917763"/>
                    <a:pt x="2938747" y="1915001"/>
                    <a:pt x="2942176" y="1915001"/>
                  </a:cubicBezTo>
                  <a:close/>
                  <a:moveTo>
                    <a:pt x="3339560" y="1914430"/>
                  </a:moveTo>
                  <a:cubicBezTo>
                    <a:pt x="3340989" y="1914430"/>
                    <a:pt x="3342132" y="1915573"/>
                    <a:pt x="3342132" y="1917002"/>
                  </a:cubicBezTo>
                  <a:cubicBezTo>
                    <a:pt x="3342132" y="1918430"/>
                    <a:pt x="3340989" y="1919574"/>
                    <a:pt x="3339560" y="1919574"/>
                  </a:cubicBezTo>
                  <a:cubicBezTo>
                    <a:pt x="3338131" y="1919574"/>
                    <a:pt x="3336988" y="1918430"/>
                    <a:pt x="3336988" y="1917002"/>
                  </a:cubicBezTo>
                  <a:cubicBezTo>
                    <a:pt x="3336988" y="1915573"/>
                    <a:pt x="3338131" y="1914430"/>
                    <a:pt x="3339560" y="1914430"/>
                  </a:cubicBezTo>
                  <a:close/>
                  <a:moveTo>
                    <a:pt x="3218973" y="1911382"/>
                  </a:moveTo>
                  <a:cubicBezTo>
                    <a:pt x="3222402" y="1911382"/>
                    <a:pt x="3225165" y="1914144"/>
                    <a:pt x="3225165" y="1917573"/>
                  </a:cubicBezTo>
                  <a:cubicBezTo>
                    <a:pt x="3225165" y="1921002"/>
                    <a:pt x="3222402" y="1923765"/>
                    <a:pt x="3218973" y="1923765"/>
                  </a:cubicBezTo>
                  <a:cubicBezTo>
                    <a:pt x="3215544" y="1923765"/>
                    <a:pt x="3212782" y="1921002"/>
                    <a:pt x="3212782" y="1917573"/>
                  </a:cubicBezTo>
                  <a:cubicBezTo>
                    <a:pt x="3212782" y="1914144"/>
                    <a:pt x="3215544" y="1911382"/>
                    <a:pt x="3218973" y="1911382"/>
                  </a:cubicBezTo>
                  <a:close/>
                  <a:moveTo>
                    <a:pt x="367474" y="1910906"/>
                  </a:moveTo>
                  <a:cubicBezTo>
                    <a:pt x="370903" y="1910906"/>
                    <a:pt x="373665" y="1913668"/>
                    <a:pt x="373665" y="1917097"/>
                  </a:cubicBezTo>
                  <a:cubicBezTo>
                    <a:pt x="373665" y="1920526"/>
                    <a:pt x="370903" y="1923289"/>
                    <a:pt x="367474" y="1923289"/>
                  </a:cubicBezTo>
                  <a:cubicBezTo>
                    <a:pt x="364045" y="1923289"/>
                    <a:pt x="361283" y="1920526"/>
                    <a:pt x="361283" y="1917097"/>
                  </a:cubicBezTo>
                  <a:cubicBezTo>
                    <a:pt x="361283" y="1913668"/>
                    <a:pt x="364045" y="1910906"/>
                    <a:pt x="367474" y="1910906"/>
                  </a:cubicBezTo>
                  <a:close/>
                  <a:moveTo>
                    <a:pt x="106394" y="1907572"/>
                  </a:moveTo>
                  <a:cubicBezTo>
                    <a:pt x="109823" y="1907572"/>
                    <a:pt x="112585" y="1910334"/>
                    <a:pt x="112585" y="1913763"/>
                  </a:cubicBezTo>
                  <a:cubicBezTo>
                    <a:pt x="112585" y="1917192"/>
                    <a:pt x="109823" y="1919955"/>
                    <a:pt x="106394" y="1919955"/>
                  </a:cubicBezTo>
                  <a:cubicBezTo>
                    <a:pt x="102965" y="1919955"/>
                    <a:pt x="100203" y="1917192"/>
                    <a:pt x="100203" y="1913763"/>
                  </a:cubicBezTo>
                  <a:cubicBezTo>
                    <a:pt x="100203" y="1910334"/>
                    <a:pt x="102965" y="1907572"/>
                    <a:pt x="106394" y="1907572"/>
                  </a:cubicBezTo>
                  <a:close/>
                  <a:moveTo>
                    <a:pt x="2989325" y="1906238"/>
                  </a:moveTo>
                  <a:cubicBezTo>
                    <a:pt x="2992754" y="1906238"/>
                    <a:pt x="2995516" y="1909000"/>
                    <a:pt x="2995516" y="1912429"/>
                  </a:cubicBezTo>
                  <a:cubicBezTo>
                    <a:pt x="2995516" y="1915858"/>
                    <a:pt x="2992754" y="1918621"/>
                    <a:pt x="2989325" y="1918621"/>
                  </a:cubicBezTo>
                  <a:cubicBezTo>
                    <a:pt x="2985896" y="1918621"/>
                    <a:pt x="2983134" y="1915858"/>
                    <a:pt x="2983134" y="1912429"/>
                  </a:cubicBezTo>
                  <a:cubicBezTo>
                    <a:pt x="2983134" y="1909000"/>
                    <a:pt x="2985896" y="1906238"/>
                    <a:pt x="2989325" y="1906238"/>
                  </a:cubicBezTo>
                  <a:close/>
                  <a:moveTo>
                    <a:pt x="1631156" y="1903571"/>
                  </a:moveTo>
                  <a:cubicBezTo>
                    <a:pt x="1634585" y="1903571"/>
                    <a:pt x="1637347" y="1906333"/>
                    <a:pt x="1637347" y="1909762"/>
                  </a:cubicBezTo>
                  <a:cubicBezTo>
                    <a:pt x="1637347" y="1913191"/>
                    <a:pt x="1634585" y="1915954"/>
                    <a:pt x="1631156" y="1915954"/>
                  </a:cubicBezTo>
                  <a:cubicBezTo>
                    <a:pt x="1627727" y="1915954"/>
                    <a:pt x="1624965" y="1913191"/>
                    <a:pt x="1624965" y="1909762"/>
                  </a:cubicBezTo>
                  <a:cubicBezTo>
                    <a:pt x="1624965" y="1906333"/>
                    <a:pt x="1627727" y="1903571"/>
                    <a:pt x="1631156" y="1903571"/>
                  </a:cubicBezTo>
                  <a:close/>
                  <a:moveTo>
                    <a:pt x="3233070" y="1903286"/>
                  </a:moveTo>
                  <a:cubicBezTo>
                    <a:pt x="3236499" y="1903286"/>
                    <a:pt x="3239261" y="1906048"/>
                    <a:pt x="3239261" y="1909477"/>
                  </a:cubicBezTo>
                  <a:cubicBezTo>
                    <a:pt x="3239261" y="1912906"/>
                    <a:pt x="3236499" y="1915669"/>
                    <a:pt x="3233070" y="1915669"/>
                  </a:cubicBezTo>
                  <a:cubicBezTo>
                    <a:pt x="3229641" y="1915669"/>
                    <a:pt x="3226879" y="1912906"/>
                    <a:pt x="3226879" y="1909477"/>
                  </a:cubicBezTo>
                  <a:cubicBezTo>
                    <a:pt x="3226879" y="1906048"/>
                    <a:pt x="3229641" y="1903286"/>
                    <a:pt x="3233070" y="1903286"/>
                  </a:cubicBezTo>
                  <a:close/>
                  <a:moveTo>
                    <a:pt x="322611" y="1902238"/>
                  </a:moveTo>
                  <a:cubicBezTo>
                    <a:pt x="326040" y="1902238"/>
                    <a:pt x="328802" y="1905000"/>
                    <a:pt x="328802" y="1908429"/>
                  </a:cubicBezTo>
                  <a:cubicBezTo>
                    <a:pt x="328802" y="1911858"/>
                    <a:pt x="326040" y="1914621"/>
                    <a:pt x="322611" y="1914621"/>
                  </a:cubicBezTo>
                  <a:cubicBezTo>
                    <a:pt x="319182" y="1914621"/>
                    <a:pt x="316420" y="1911858"/>
                    <a:pt x="316420" y="1908429"/>
                  </a:cubicBezTo>
                  <a:cubicBezTo>
                    <a:pt x="316420" y="1905000"/>
                    <a:pt x="319182" y="1902238"/>
                    <a:pt x="322611" y="1902238"/>
                  </a:cubicBezTo>
                  <a:close/>
                  <a:moveTo>
                    <a:pt x="1780698" y="1902143"/>
                  </a:moveTo>
                  <a:cubicBezTo>
                    <a:pt x="1784127" y="1902143"/>
                    <a:pt x="1786890" y="1904905"/>
                    <a:pt x="1786890" y="1908334"/>
                  </a:cubicBezTo>
                  <a:cubicBezTo>
                    <a:pt x="1786890" y="1911763"/>
                    <a:pt x="1784127" y="1914526"/>
                    <a:pt x="1780698" y="1914526"/>
                  </a:cubicBezTo>
                  <a:cubicBezTo>
                    <a:pt x="1777269" y="1914526"/>
                    <a:pt x="1774507" y="1911763"/>
                    <a:pt x="1774507" y="1908334"/>
                  </a:cubicBezTo>
                  <a:cubicBezTo>
                    <a:pt x="1774507" y="1904905"/>
                    <a:pt x="1777269" y="1902143"/>
                    <a:pt x="1780698" y="1902143"/>
                  </a:cubicBezTo>
                  <a:close/>
                  <a:moveTo>
                    <a:pt x="1483708" y="1899952"/>
                  </a:moveTo>
                  <a:cubicBezTo>
                    <a:pt x="1487137" y="1899952"/>
                    <a:pt x="1489900" y="1902714"/>
                    <a:pt x="1489900" y="1906143"/>
                  </a:cubicBezTo>
                  <a:cubicBezTo>
                    <a:pt x="1489900" y="1909572"/>
                    <a:pt x="1487137" y="1912334"/>
                    <a:pt x="1483708" y="1912334"/>
                  </a:cubicBezTo>
                  <a:cubicBezTo>
                    <a:pt x="1480279" y="1912334"/>
                    <a:pt x="1477517" y="1909572"/>
                    <a:pt x="1477517" y="1906143"/>
                  </a:cubicBezTo>
                  <a:cubicBezTo>
                    <a:pt x="1477517" y="1902714"/>
                    <a:pt x="1480279" y="1899952"/>
                    <a:pt x="1483708" y="1899952"/>
                  </a:cubicBezTo>
                  <a:close/>
                  <a:moveTo>
                    <a:pt x="93249" y="1899666"/>
                  </a:moveTo>
                  <a:cubicBezTo>
                    <a:pt x="96678" y="1899666"/>
                    <a:pt x="99440" y="1902428"/>
                    <a:pt x="99440" y="1905857"/>
                  </a:cubicBezTo>
                  <a:cubicBezTo>
                    <a:pt x="99440" y="1909286"/>
                    <a:pt x="96678" y="1912049"/>
                    <a:pt x="93249" y="1912049"/>
                  </a:cubicBezTo>
                  <a:cubicBezTo>
                    <a:pt x="89820" y="1912049"/>
                    <a:pt x="87058" y="1909286"/>
                    <a:pt x="87058" y="1905857"/>
                  </a:cubicBezTo>
                  <a:cubicBezTo>
                    <a:pt x="87058" y="1902428"/>
                    <a:pt x="89820" y="1899666"/>
                    <a:pt x="93249" y="1899666"/>
                  </a:cubicBezTo>
                  <a:close/>
                  <a:moveTo>
                    <a:pt x="3031521" y="1897666"/>
                  </a:moveTo>
                  <a:cubicBezTo>
                    <a:pt x="3034950" y="1897666"/>
                    <a:pt x="3037713" y="1900428"/>
                    <a:pt x="3037713" y="1903857"/>
                  </a:cubicBezTo>
                  <a:cubicBezTo>
                    <a:pt x="3037713" y="1907286"/>
                    <a:pt x="3034950" y="1910049"/>
                    <a:pt x="3031521" y="1910049"/>
                  </a:cubicBezTo>
                  <a:cubicBezTo>
                    <a:pt x="3028092" y="1910049"/>
                    <a:pt x="3025330" y="1907286"/>
                    <a:pt x="3025330" y="1903857"/>
                  </a:cubicBezTo>
                  <a:cubicBezTo>
                    <a:pt x="3025330" y="1900428"/>
                    <a:pt x="3028092" y="1897666"/>
                    <a:pt x="3031521" y="1897666"/>
                  </a:cubicBezTo>
                  <a:close/>
                  <a:moveTo>
                    <a:pt x="1924049" y="1896809"/>
                  </a:moveTo>
                  <a:cubicBezTo>
                    <a:pt x="1927478" y="1896809"/>
                    <a:pt x="1930240" y="1899571"/>
                    <a:pt x="1930240" y="1903000"/>
                  </a:cubicBezTo>
                  <a:cubicBezTo>
                    <a:pt x="1930240" y="1906429"/>
                    <a:pt x="1927478" y="1909191"/>
                    <a:pt x="1924049" y="1909191"/>
                  </a:cubicBezTo>
                  <a:cubicBezTo>
                    <a:pt x="1920620" y="1909191"/>
                    <a:pt x="1917858" y="1906429"/>
                    <a:pt x="1917858" y="1903000"/>
                  </a:cubicBezTo>
                  <a:cubicBezTo>
                    <a:pt x="1917858" y="1899571"/>
                    <a:pt x="1920620" y="1896809"/>
                    <a:pt x="1924049" y="1896809"/>
                  </a:cubicBezTo>
                  <a:close/>
                  <a:moveTo>
                    <a:pt x="15716" y="1896809"/>
                  </a:moveTo>
                  <a:cubicBezTo>
                    <a:pt x="15906" y="1896809"/>
                    <a:pt x="16001" y="1896904"/>
                    <a:pt x="16001" y="1897095"/>
                  </a:cubicBezTo>
                  <a:cubicBezTo>
                    <a:pt x="16001" y="1897285"/>
                    <a:pt x="15716" y="1897380"/>
                    <a:pt x="15716" y="1897380"/>
                  </a:cubicBezTo>
                  <a:cubicBezTo>
                    <a:pt x="15525" y="1897380"/>
                    <a:pt x="15430" y="1897285"/>
                    <a:pt x="15430" y="1897095"/>
                  </a:cubicBezTo>
                  <a:cubicBezTo>
                    <a:pt x="15430" y="1896904"/>
                    <a:pt x="15525" y="1896809"/>
                    <a:pt x="15716" y="1896809"/>
                  </a:cubicBezTo>
                  <a:close/>
                  <a:moveTo>
                    <a:pt x="20859" y="1895761"/>
                  </a:moveTo>
                  <a:cubicBezTo>
                    <a:pt x="24288" y="1895761"/>
                    <a:pt x="27051" y="1898523"/>
                    <a:pt x="27051" y="1901952"/>
                  </a:cubicBezTo>
                  <a:lnTo>
                    <a:pt x="26812" y="1902191"/>
                  </a:lnTo>
                  <a:lnTo>
                    <a:pt x="31718" y="1907095"/>
                  </a:lnTo>
                  <a:lnTo>
                    <a:pt x="31050" y="1907763"/>
                  </a:lnTo>
                  <a:lnTo>
                    <a:pt x="35909" y="1912620"/>
                  </a:lnTo>
                  <a:lnTo>
                    <a:pt x="34956" y="1913573"/>
                  </a:lnTo>
                  <a:lnTo>
                    <a:pt x="39814" y="1918430"/>
                  </a:lnTo>
                  <a:lnTo>
                    <a:pt x="38576" y="1919669"/>
                  </a:lnTo>
                  <a:lnTo>
                    <a:pt x="43529" y="1924621"/>
                  </a:lnTo>
                  <a:lnTo>
                    <a:pt x="42099" y="1926051"/>
                  </a:lnTo>
                  <a:lnTo>
                    <a:pt x="47148" y="1931099"/>
                  </a:lnTo>
                  <a:lnTo>
                    <a:pt x="45434" y="1932814"/>
                  </a:lnTo>
                  <a:lnTo>
                    <a:pt x="50673" y="1938052"/>
                  </a:lnTo>
                  <a:lnTo>
                    <a:pt x="48863" y="1939862"/>
                  </a:lnTo>
                  <a:lnTo>
                    <a:pt x="54388" y="1945386"/>
                  </a:lnTo>
                  <a:lnTo>
                    <a:pt x="52530" y="1947244"/>
                  </a:lnTo>
                  <a:lnTo>
                    <a:pt x="58388" y="1953101"/>
                  </a:lnTo>
                  <a:cubicBezTo>
                    <a:pt x="58388" y="1956530"/>
                    <a:pt x="55625" y="1959293"/>
                    <a:pt x="52196" y="1959293"/>
                  </a:cubicBezTo>
                  <a:cubicBezTo>
                    <a:pt x="48767" y="1959293"/>
                    <a:pt x="46005" y="1956530"/>
                    <a:pt x="46005" y="1953101"/>
                  </a:cubicBezTo>
                  <a:lnTo>
                    <a:pt x="47862" y="1951244"/>
                  </a:lnTo>
                  <a:lnTo>
                    <a:pt x="42005" y="1945386"/>
                  </a:lnTo>
                  <a:lnTo>
                    <a:pt x="43814" y="1943577"/>
                  </a:lnTo>
                  <a:lnTo>
                    <a:pt x="38290" y="1938052"/>
                  </a:lnTo>
                  <a:lnTo>
                    <a:pt x="40004" y="1936338"/>
                  </a:lnTo>
                  <a:lnTo>
                    <a:pt x="34766" y="1931099"/>
                  </a:lnTo>
                  <a:lnTo>
                    <a:pt x="36194" y="1929671"/>
                  </a:lnTo>
                  <a:lnTo>
                    <a:pt x="31146" y="1924621"/>
                  </a:lnTo>
                  <a:lnTo>
                    <a:pt x="32384" y="1923383"/>
                  </a:lnTo>
                  <a:lnTo>
                    <a:pt x="27432" y="1918430"/>
                  </a:lnTo>
                  <a:lnTo>
                    <a:pt x="28383" y="1917479"/>
                  </a:lnTo>
                  <a:lnTo>
                    <a:pt x="23526" y="1912620"/>
                  </a:lnTo>
                  <a:lnTo>
                    <a:pt x="24192" y="1911954"/>
                  </a:lnTo>
                  <a:lnTo>
                    <a:pt x="19335" y="1907095"/>
                  </a:lnTo>
                  <a:lnTo>
                    <a:pt x="19572" y="1906858"/>
                  </a:lnTo>
                  <a:lnTo>
                    <a:pt x="14668" y="1901952"/>
                  </a:lnTo>
                  <a:cubicBezTo>
                    <a:pt x="14668" y="1898523"/>
                    <a:pt x="17430" y="1895761"/>
                    <a:pt x="20859" y="1895761"/>
                  </a:cubicBezTo>
                  <a:close/>
                  <a:moveTo>
                    <a:pt x="3245167" y="1895571"/>
                  </a:moveTo>
                  <a:cubicBezTo>
                    <a:pt x="3248596" y="1895571"/>
                    <a:pt x="3251359" y="1898333"/>
                    <a:pt x="3251359" y="1901762"/>
                  </a:cubicBezTo>
                  <a:cubicBezTo>
                    <a:pt x="3251359" y="1905191"/>
                    <a:pt x="3248596" y="1907954"/>
                    <a:pt x="3245167" y="1907954"/>
                  </a:cubicBezTo>
                  <a:cubicBezTo>
                    <a:pt x="3241738" y="1907954"/>
                    <a:pt x="3238976" y="1905191"/>
                    <a:pt x="3238976" y="1901762"/>
                  </a:cubicBezTo>
                  <a:cubicBezTo>
                    <a:pt x="3238976" y="1898333"/>
                    <a:pt x="3241738" y="1895571"/>
                    <a:pt x="3245167" y="1895571"/>
                  </a:cubicBezTo>
                  <a:close/>
                  <a:moveTo>
                    <a:pt x="282606" y="1893856"/>
                  </a:moveTo>
                  <a:cubicBezTo>
                    <a:pt x="286026" y="1893856"/>
                    <a:pt x="288797" y="1896628"/>
                    <a:pt x="288797" y="1900047"/>
                  </a:cubicBezTo>
                  <a:cubicBezTo>
                    <a:pt x="288797" y="1903467"/>
                    <a:pt x="286026" y="1906238"/>
                    <a:pt x="282606" y="1906238"/>
                  </a:cubicBezTo>
                  <a:cubicBezTo>
                    <a:pt x="279187" y="1906238"/>
                    <a:pt x="276415" y="1903467"/>
                    <a:pt x="276415" y="1900047"/>
                  </a:cubicBezTo>
                  <a:cubicBezTo>
                    <a:pt x="276415" y="1896628"/>
                    <a:pt x="279187" y="1893856"/>
                    <a:pt x="282606" y="1893856"/>
                  </a:cubicBezTo>
                  <a:close/>
                  <a:moveTo>
                    <a:pt x="1344739" y="1893761"/>
                  </a:moveTo>
                  <a:cubicBezTo>
                    <a:pt x="1348168" y="1893761"/>
                    <a:pt x="1350931" y="1896523"/>
                    <a:pt x="1350931" y="1899952"/>
                  </a:cubicBezTo>
                  <a:cubicBezTo>
                    <a:pt x="1350931" y="1903381"/>
                    <a:pt x="1348168" y="1906144"/>
                    <a:pt x="1344739" y="1906144"/>
                  </a:cubicBezTo>
                  <a:cubicBezTo>
                    <a:pt x="1341310" y="1906144"/>
                    <a:pt x="1338548" y="1903381"/>
                    <a:pt x="1338548" y="1899952"/>
                  </a:cubicBezTo>
                  <a:cubicBezTo>
                    <a:pt x="1338548" y="1896523"/>
                    <a:pt x="1341310" y="1893761"/>
                    <a:pt x="1344739" y="1893761"/>
                  </a:cubicBezTo>
                  <a:close/>
                  <a:moveTo>
                    <a:pt x="82010" y="1892046"/>
                  </a:moveTo>
                  <a:cubicBezTo>
                    <a:pt x="85439" y="1892046"/>
                    <a:pt x="88202" y="1894808"/>
                    <a:pt x="88202" y="1898237"/>
                  </a:cubicBezTo>
                  <a:cubicBezTo>
                    <a:pt x="88202" y="1901666"/>
                    <a:pt x="85439" y="1904428"/>
                    <a:pt x="82010" y="1904428"/>
                  </a:cubicBezTo>
                  <a:cubicBezTo>
                    <a:pt x="78581" y="1904428"/>
                    <a:pt x="75819" y="1901666"/>
                    <a:pt x="75819" y="1898237"/>
                  </a:cubicBezTo>
                  <a:cubicBezTo>
                    <a:pt x="75819" y="1894808"/>
                    <a:pt x="78581" y="1892046"/>
                    <a:pt x="82010" y="1892046"/>
                  </a:cubicBezTo>
                  <a:close/>
                  <a:moveTo>
                    <a:pt x="2057875" y="1889951"/>
                  </a:moveTo>
                  <a:cubicBezTo>
                    <a:pt x="2061304" y="1889951"/>
                    <a:pt x="2064067" y="1892713"/>
                    <a:pt x="2064067" y="1896142"/>
                  </a:cubicBezTo>
                  <a:cubicBezTo>
                    <a:pt x="2064067" y="1899571"/>
                    <a:pt x="2061304" y="1902334"/>
                    <a:pt x="2057875" y="1902334"/>
                  </a:cubicBezTo>
                  <a:cubicBezTo>
                    <a:pt x="2054446" y="1902334"/>
                    <a:pt x="2051684" y="1899571"/>
                    <a:pt x="2051684" y="1896142"/>
                  </a:cubicBezTo>
                  <a:cubicBezTo>
                    <a:pt x="2051684" y="1892713"/>
                    <a:pt x="2054446" y="1889951"/>
                    <a:pt x="2057875" y="1889951"/>
                  </a:cubicBezTo>
                  <a:close/>
                  <a:moveTo>
                    <a:pt x="3069240" y="1889570"/>
                  </a:moveTo>
                  <a:cubicBezTo>
                    <a:pt x="3072669" y="1889570"/>
                    <a:pt x="3075432" y="1892332"/>
                    <a:pt x="3075432" y="1895761"/>
                  </a:cubicBezTo>
                  <a:cubicBezTo>
                    <a:pt x="3075432" y="1899190"/>
                    <a:pt x="3072669" y="1901953"/>
                    <a:pt x="3069240" y="1901953"/>
                  </a:cubicBezTo>
                  <a:cubicBezTo>
                    <a:pt x="3065811" y="1901953"/>
                    <a:pt x="3063049" y="1899190"/>
                    <a:pt x="3063049" y="1895761"/>
                  </a:cubicBezTo>
                  <a:cubicBezTo>
                    <a:pt x="3063049" y="1892332"/>
                    <a:pt x="3065811" y="1889570"/>
                    <a:pt x="3069240" y="1889570"/>
                  </a:cubicBezTo>
                  <a:close/>
                  <a:moveTo>
                    <a:pt x="3255454" y="1888141"/>
                  </a:moveTo>
                  <a:cubicBezTo>
                    <a:pt x="3258883" y="1888141"/>
                    <a:pt x="3261645" y="1890903"/>
                    <a:pt x="3261645" y="1894332"/>
                  </a:cubicBezTo>
                  <a:cubicBezTo>
                    <a:pt x="3261645" y="1897761"/>
                    <a:pt x="3258883" y="1900524"/>
                    <a:pt x="3255454" y="1900524"/>
                  </a:cubicBezTo>
                  <a:cubicBezTo>
                    <a:pt x="3252025" y="1900524"/>
                    <a:pt x="3249263" y="1897761"/>
                    <a:pt x="3249263" y="1894332"/>
                  </a:cubicBezTo>
                  <a:cubicBezTo>
                    <a:pt x="3249263" y="1890903"/>
                    <a:pt x="3252025" y="1888141"/>
                    <a:pt x="3255454" y="1888141"/>
                  </a:cubicBezTo>
                  <a:close/>
                  <a:moveTo>
                    <a:pt x="1215484" y="1886522"/>
                  </a:moveTo>
                  <a:cubicBezTo>
                    <a:pt x="1218913" y="1886522"/>
                    <a:pt x="1221675" y="1889284"/>
                    <a:pt x="1221675" y="1892713"/>
                  </a:cubicBezTo>
                  <a:cubicBezTo>
                    <a:pt x="1221675" y="1896142"/>
                    <a:pt x="1218913" y="1898905"/>
                    <a:pt x="1215484" y="1898905"/>
                  </a:cubicBezTo>
                  <a:cubicBezTo>
                    <a:pt x="1212055" y="1898905"/>
                    <a:pt x="1209293" y="1896142"/>
                    <a:pt x="1209293" y="1892713"/>
                  </a:cubicBezTo>
                  <a:cubicBezTo>
                    <a:pt x="1209293" y="1889284"/>
                    <a:pt x="1212055" y="1886522"/>
                    <a:pt x="1215484" y="1886522"/>
                  </a:cubicBezTo>
                  <a:close/>
                  <a:moveTo>
                    <a:pt x="246887" y="1885855"/>
                  </a:moveTo>
                  <a:cubicBezTo>
                    <a:pt x="250316" y="1885855"/>
                    <a:pt x="253078" y="1888617"/>
                    <a:pt x="253078" y="1892046"/>
                  </a:cubicBezTo>
                  <a:cubicBezTo>
                    <a:pt x="253078" y="1895475"/>
                    <a:pt x="250316" y="1898238"/>
                    <a:pt x="246887" y="1898238"/>
                  </a:cubicBezTo>
                  <a:cubicBezTo>
                    <a:pt x="243458" y="1898238"/>
                    <a:pt x="240696" y="1895475"/>
                    <a:pt x="240696" y="1892046"/>
                  </a:cubicBezTo>
                  <a:cubicBezTo>
                    <a:pt x="240696" y="1888617"/>
                    <a:pt x="243458" y="1885855"/>
                    <a:pt x="246887" y="1885855"/>
                  </a:cubicBezTo>
                  <a:close/>
                  <a:moveTo>
                    <a:pt x="72485" y="1884807"/>
                  </a:moveTo>
                  <a:cubicBezTo>
                    <a:pt x="75914" y="1884807"/>
                    <a:pt x="78677" y="1887569"/>
                    <a:pt x="78677" y="1890998"/>
                  </a:cubicBezTo>
                  <a:cubicBezTo>
                    <a:pt x="78677" y="1894427"/>
                    <a:pt x="75914" y="1897190"/>
                    <a:pt x="72485" y="1897190"/>
                  </a:cubicBezTo>
                  <a:cubicBezTo>
                    <a:pt x="69056" y="1897190"/>
                    <a:pt x="66294" y="1894427"/>
                    <a:pt x="66294" y="1890998"/>
                  </a:cubicBezTo>
                  <a:cubicBezTo>
                    <a:pt x="66294" y="1887569"/>
                    <a:pt x="69056" y="1884807"/>
                    <a:pt x="72485" y="1884807"/>
                  </a:cubicBezTo>
                  <a:close/>
                  <a:moveTo>
                    <a:pt x="2181796" y="1882616"/>
                  </a:moveTo>
                  <a:cubicBezTo>
                    <a:pt x="2185225" y="1882616"/>
                    <a:pt x="2187988" y="1885378"/>
                    <a:pt x="2187988" y="1888807"/>
                  </a:cubicBezTo>
                  <a:cubicBezTo>
                    <a:pt x="2187988" y="1892236"/>
                    <a:pt x="2185225" y="1894999"/>
                    <a:pt x="2181796" y="1894999"/>
                  </a:cubicBezTo>
                  <a:cubicBezTo>
                    <a:pt x="2178367" y="1894999"/>
                    <a:pt x="2175605" y="1892236"/>
                    <a:pt x="2175605" y="1888807"/>
                  </a:cubicBezTo>
                  <a:cubicBezTo>
                    <a:pt x="2175605" y="1885378"/>
                    <a:pt x="2178367" y="1882616"/>
                    <a:pt x="2181796" y="1882616"/>
                  </a:cubicBezTo>
                  <a:close/>
                  <a:moveTo>
                    <a:pt x="3102673" y="1881664"/>
                  </a:moveTo>
                  <a:cubicBezTo>
                    <a:pt x="3106102" y="1881664"/>
                    <a:pt x="3108865" y="1884426"/>
                    <a:pt x="3108865" y="1887855"/>
                  </a:cubicBezTo>
                  <a:cubicBezTo>
                    <a:pt x="3108865" y="1891284"/>
                    <a:pt x="3106102" y="1894047"/>
                    <a:pt x="3102673" y="1894047"/>
                  </a:cubicBezTo>
                  <a:cubicBezTo>
                    <a:pt x="3099244" y="1894047"/>
                    <a:pt x="3096482" y="1891284"/>
                    <a:pt x="3096482" y="1887855"/>
                  </a:cubicBezTo>
                  <a:cubicBezTo>
                    <a:pt x="3096482" y="1884426"/>
                    <a:pt x="3099244" y="1881664"/>
                    <a:pt x="3102673" y="1881664"/>
                  </a:cubicBezTo>
                  <a:close/>
                  <a:moveTo>
                    <a:pt x="3264122" y="1881092"/>
                  </a:moveTo>
                  <a:cubicBezTo>
                    <a:pt x="3267551" y="1881092"/>
                    <a:pt x="3270313" y="1883854"/>
                    <a:pt x="3270313" y="1887283"/>
                  </a:cubicBezTo>
                  <a:cubicBezTo>
                    <a:pt x="3270313" y="1890712"/>
                    <a:pt x="3267551" y="1893475"/>
                    <a:pt x="3264122" y="1893475"/>
                  </a:cubicBezTo>
                  <a:cubicBezTo>
                    <a:pt x="3260693" y="1893475"/>
                    <a:pt x="3257931" y="1890712"/>
                    <a:pt x="3257931" y="1887283"/>
                  </a:cubicBezTo>
                  <a:cubicBezTo>
                    <a:pt x="3257931" y="1883854"/>
                    <a:pt x="3260693" y="1881092"/>
                    <a:pt x="3264122" y="1881092"/>
                  </a:cubicBezTo>
                  <a:close/>
                  <a:moveTo>
                    <a:pt x="1096136" y="1879187"/>
                  </a:moveTo>
                  <a:cubicBezTo>
                    <a:pt x="1099565" y="1879187"/>
                    <a:pt x="1102328" y="1881949"/>
                    <a:pt x="1102328" y="1885378"/>
                  </a:cubicBezTo>
                  <a:cubicBezTo>
                    <a:pt x="1102328" y="1888807"/>
                    <a:pt x="1099565" y="1891570"/>
                    <a:pt x="1096136" y="1891570"/>
                  </a:cubicBezTo>
                  <a:cubicBezTo>
                    <a:pt x="1092707" y="1891570"/>
                    <a:pt x="1089945" y="1888807"/>
                    <a:pt x="1089945" y="1885378"/>
                  </a:cubicBezTo>
                  <a:cubicBezTo>
                    <a:pt x="1089945" y="1881949"/>
                    <a:pt x="1092707" y="1879187"/>
                    <a:pt x="1096136" y="1879187"/>
                  </a:cubicBezTo>
                  <a:close/>
                  <a:moveTo>
                    <a:pt x="3347561" y="1878521"/>
                  </a:moveTo>
                  <a:cubicBezTo>
                    <a:pt x="3347719" y="1878521"/>
                    <a:pt x="3347847" y="1878649"/>
                    <a:pt x="3347847" y="1878807"/>
                  </a:cubicBezTo>
                  <a:cubicBezTo>
                    <a:pt x="3347847" y="1878965"/>
                    <a:pt x="3347719" y="1879093"/>
                    <a:pt x="3347561" y="1879093"/>
                  </a:cubicBezTo>
                  <a:cubicBezTo>
                    <a:pt x="3347403" y="1879093"/>
                    <a:pt x="3347275" y="1878965"/>
                    <a:pt x="3347275" y="1878807"/>
                  </a:cubicBezTo>
                  <a:cubicBezTo>
                    <a:pt x="3347275" y="1878649"/>
                    <a:pt x="3347403" y="1878521"/>
                    <a:pt x="3347561" y="1878521"/>
                  </a:cubicBezTo>
                  <a:close/>
                  <a:moveTo>
                    <a:pt x="215264" y="1878140"/>
                  </a:moveTo>
                  <a:cubicBezTo>
                    <a:pt x="218693" y="1878140"/>
                    <a:pt x="221455" y="1880902"/>
                    <a:pt x="221455" y="1884331"/>
                  </a:cubicBezTo>
                  <a:cubicBezTo>
                    <a:pt x="221455" y="1887760"/>
                    <a:pt x="218693" y="1890523"/>
                    <a:pt x="215264" y="1890523"/>
                  </a:cubicBezTo>
                  <a:cubicBezTo>
                    <a:pt x="211835" y="1890523"/>
                    <a:pt x="209073" y="1887760"/>
                    <a:pt x="209073" y="1884331"/>
                  </a:cubicBezTo>
                  <a:cubicBezTo>
                    <a:pt x="209073" y="1880902"/>
                    <a:pt x="211835" y="1878140"/>
                    <a:pt x="215264" y="1878140"/>
                  </a:cubicBezTo>
                  <a:close/>
                  <a:moveTo>
                    <a:pt x="64388" y="1877949"/>
                  </a:moveTo>
                  <a:cubicBezTo>
                    <a:pt x="67817" y="1877949"/>
                    <a:pt x="70579" y="1880711"/>
                    <a:pt x="70579" y="1884140"/>
                  </a:cubicBezTo>
                  <a:cubicBezTo>
                    <a:pt x="70579" y="1887569"/>
                    <a:pt x="67817" y="1890332"/>
                    <a:pt x="64388" y="1890332"/>
                  </a:cubicBezTo>
                  <a:cubicBezTo>
                    <a:pt x="60959" y="1890332"/>
                    <a:pt x="58197" y="1887569"/>
                    <a:pt x="58197" y="1884140"/>
                  </a:cubicBezTo>
                  <a:cubicBezTo>
                    <a:pt x="58197" y="1880711"/>
                    <a:pt x="60959" y="1877949"/>
                    <a:pt x="64388" y="1877949"/>
                  </a:cubicBezTo>
                  <a:close/>
                  <a:moveTo>
                    <a:pt x="3339465" y="1876235"/>
                  </a:moveTo>
                  <a:cubicBezTo>
                    <a:pt x="3342831" y="1876235"/>
                    <a:pt x="3345561" y="1878964"/>
                    <a:pt x="3345561" y="1882331"/>
                  </a:cubicBezTo>
                  <a:cubicBezTo>
                    <a:pt x="3345561" y="1885698"/>
                    <a:pt x="3342832" y="1888427"/>
                    <a:pt x="3339465" y="1888427"/>
                  </a:cubicBezTo>
                  <a:lnTo>
                    <a:pt x="3337750" y="1886712"/>
                  </a:lnTo>
                  <a:lnTo>
                    <a:pt x="3332035" y="1892428"/>
                  </a:lnTo>
                  <a:lnTo>
                    <a:pt x="3330797" y="1891190"/>
                  </a:lnTo>
                  <a:lnTo>
                    <a:pt x="3325463" y="1896524"/>
                  </a:lnTo>
                  <a:lnTo>
                    <a:pt x="3324653" y="1895714"/>
                  </a:lnTo>
                  <a:lnTo>
                    <a:pt x="3319462" y="1900905"/>
                  </a:lnTo>
                  <a:lnTo>
                    <a:pt x="3319080" y="1900523"/>
                  </a:lnTo>
                  <a:lnTo>
                    <a:pt x="3315271" y="1904333"/>
                  </a:lnTo>
                  <a:lnTo>
                    <a:pt x="3310414" y="1909191"/>
                  </a:lnTo>
                  <a:lnTo>
                    <a:pt x="3310890" y="1909667"/>
                  </a:lnTo>
                  <a:lnTo>
                    <a:pt x="3306032" y="1914525"/>
                  </a:lnTo>
                  <a:lnTo>
                    <a:pt x="3306794" y="1915287"/>
                  </a:lnTo>
                  <a:lnTo>
                    <a:pt x="3301936" y="1920145"/>
                  </a:lnTo>
                  <a:lnTo>
                    <a:pt x="3302983" y="1921192"/>
                  </a:lnTo>
                  <a:lnTo>
                    <a:pt x="3297983" y="1926193"/>
                  </a:lnTo>
                  <a:lnTo>
                    <a:pt x="3299365" y="1927574"/>
                  </a:lnTo>
                  <a:lnTo>
                    <a:pt x="3294220" y="1932718"/>
                  </a:lnTo>
                  <a:lnTo>
                    <a:pt x="3295745" y="1934242"/>
                  </a:lnTo>
                  <a:lnTo>
                    <a:pt x="3290363" y="1939624"/>
                  </a:lnTo>
                  <a:lnTo>
                    <a:pt x="3292126" y="1941386"/>
                  </a:lnTo>
                  <a:lnTo>
                    <a:pt x="3286459" y="1947053"/>
                  </a:lnTo>
                  <a:lnTo>
                    <a:pt x="3288316" y="1948910"/>
                  </a:lnTo>
                  <a:lnTo>
                    <a:pt x="3282267" y="1954959"/>
                  </a:lnTo>
                  <a:lnTo>
                    <a:pt x="3284125" y="1956816"/>
                  </a:lnTo>
                  <a:cubicBezTo>
                    <a:pt x="3284125" y="1960245"/>
                    <a:pt x="3281362" y="1963008"/>
                    <a:pt x="3277933" y="1963008"/>
                  </a:cubicBezTo>
                  <a:cubicBezTo>
                    <a:pt x="3274504" y="1963008"/>
                    <a:pt x="3271742" y="1960245"/>
                    <a:pt x="3271742" y="1956816"/>
                  </a:cubicBezTo>
                  <a:lnTo>
                    <a:pt x="3277790" y="1950768"/>
                  </a:lnTo>
                  <a:lnTo>
                    <a:pt x="3275933" y="1948910"/>
                  </a:lnTo>
                  <a:lnTo>
                    <a:pt x="3281600" y="1943243"/>
                  </a:lnTo>
                  <a:lnTo>
                    <a:pt x="3279743" y="1941386"/>
                  </a:lnTo>
                  <a:lnTo>
                    <a:pt x="3285124" y="1936005"/>
                  </a:lnTo>
                  <a:lnTo>
                    <a:pt x="3283362" y="1934242"/>
                  </a:lnTo>
                  <a:lnTo>
                    <a:pt x="3288506" y="1929098"/>
                  </a:lnTo>
                  <a:lnTo>
                    <a:pt x="3286982" y="1927574"/>
                  </a:lnTo>
                  <a:lnTo>
                    <a:pt x="3291982" y="1922574"/>
                  </a:lnTo>
                  <a:lnTo>
                    <a:pt x="3290601" y="1921192"/>
                  </a:lnTo>
                  <a:lnTo>
                    <a:pt x="3295458" y="1916335"/>
                  </a:lnTo>
                  <a:lnTo>
                    <a:pt x="3294411" y="1915287"/>
                  </a:lnTo>
                  <a:lnTo>
                    <a:pt x="3299269" y="1910429"/>
                  </a:lnTo>
                  <a:lnTo>
                    <a:pt x="3298507" y="1909667"/>
                  </a:lnTo>
                  <a:lnTo>
                    <a:pt x="3303365" y="1904809"/>
                  </a:lnTo>
                  <a:lnTo>
                    <a:pt x="3302889" y="1904333"/>
                  </a:lnTo>
                  <a:lnTo>
                    <a:pt x="3307842" y="1899381"/>
                  </a:lnTo>
                  <a:lnTo>
                    <a:pt x="3307841" y="1899380"/>
                  </a:lnTo>
                  <a:cubicBezTo>
                    <a:pt x="3307841" y="1895951"/>
                    <a:pt x="3310603" y="1893189"/>
                    <a:pt x="3314032" y="1893189"/>
                  </a:cubicBezTo>
                  <a:lnTo>
                    <a:pt x="3314414" y="1893571"/>
                  </a:lnTo>
                  <a:lnTo>
                    <a:pt x="3319462" y="1888522"/>
                  </a:lnTo>
                  <a:lnTo>
                    <a:pt x="3320272" y="1889332"/>
                  </a:lnTo>
                  <a:lnTo>
                    <a:pt x="3325463" y="1884141"/>
                  </a:lnTo>
                  <a:lnTo>
                    <a:pt x="3326701" y="1885379"/>
                  </a:lnTo>
                  <a:lnTo>
                    <a:pt x="3332035" y="1880045"/>
                  </a:lnTo>
                  <a:lnTo>
                    <a:pt x="3333845" y="1881855"/>
                  </a:lnTo>
                  <a:close/>
                  <a:moveTo>
                    <a:pt x="2296191" y="1875187"/>
                  </a:moveTo>
                  <a:cubicBezTo>
                    <a:pt x="2299620" y="1875187"/>
                    <a:pt x="2302383" y="1877949"/>
                    <a:pt x="2302383" y="1881378"/>
                  </a:cubicBezTo>
                  <a:cubicBezTo>
                    <a:pt x="2302383" y="1884807"/>
                    <a:pt x="2299620" y="1887570"/>
                    <a:pt x="2296191" y="1887570"/>
                  </a:cubicBezTo>
                  <a:cubicBezTo>
                    <a:pt x="2292762" y="1887570"/>
                    <a:pt x="2290000" y="1884807"/>
                    <a:pt x="2290000" y="1881378"/>
                  </a:cubicBezTo>
                  <a:cubicBezTo>
                    <a:pt x="2290000" y="1877949"/>
                    <a:pt x="2292762" y="1875187"/>
                    <a:pt x="2296191" y="1875187"/>
                  </a:cubicBezTo>
                  <a:close/>
                  <a:moveTo>
                    <a:pt x="3271551" y="1874330"/>
                  </a:moveTo>
                  <a:cubicBezTo>
                    <a:pt x="3274980" y="1874330"/>
                    <a:pt x="3277742" y="1877092"/>
                    <a:pt x="3277742" y="1880521"/>
                  </a:cubicBezTo>
                  <a:cubicBezTo>
                    <a:pt x="3277742" y="1883950"/>
                    <a:pt x="3274980" y="1886713"/>
                    <a:pt x="3271551" y="1886713"/>
                  </a:cubicBezTo>
                  <a:cubicBezTo>
                    <a:pt x="3268122" y="1886713"/>
                    <a:pt x="3265360" y="1883950"/>
                    <a:pt x="3265360" y="1880521"/>
                  </a:cubicBezTo>
                  <a:cubicBezTo>
                    <a:pt x="3265360" y="1877092"/>
                    <a:pt x="3268122" y="1874330"/>
                    <a:pt x="3271551" y="1874330"/>
                  </a:cubicBezTo>
                  <a:close/>
                  <a:moveTo>
                    <a:pt x="3132296" y="1874139"/>
                  </a:moveTo>
                  <a:cubicBezTo>
                    <a:pt x="3135725" y="1874139"/>
                    <a:pt x="3138487" y="1876901"/>
                    <a:pt x="3138487" y="1880330"/>
                  </a:cubicBezTo>
                  <a:cubicBezTo>
                    <a:pt x="3138487" y="1883759"/>
                    <a:pt x="3135725" y="1886522"/>
                    <a:pt x="3132296" y="1886522"/>
                  </a:cubicBezTo>
                  <a:cubicBezTo>
                    <a:pt x="3128867" y="1886522"/>
                    <a:pt x="3126105" y="1883759"/>
                    <a:pt x="3126105" y="1880330"/>
                  </a:cubicBezTo>
                  <a:cubicBezTo>
                    <a:pt x="3126105" y="1876901"/>
                    <a:pt x="3128867" y="1874139"/>
                    <a:pt x="3132296" y="1874139"/>
                  </a:cubicBezTo>
                  <a:close/>
                  <a:moveTo>
                    <a:pt x="986027" y="1871758"/>
                  </a:moveTo>
                  <a:cubicBezTo>
                    <a:pt x="989456" y="1871758"/>
                    <a:pt x="992218" y="1874520"/>
                    <a:pt x="992218" y="1877949"/>
                  </a:cubicBezTo>
                  <a:cubicBezTo>
                    <a:pt x="992218" y="1881378"/>
                    <a:pt x="989456" y="1884141"/>
                    <a:pt x="986027" y="1884141"/>
                  </a:cubicBezTo>
                  <a:cubicBezTo>
                    <a:pt x="982598" y="1884141"/>
                    <a:pt x="979836" y="1881378"/>
                    <a:pt x="979836" y="1877949"/>
                  </a:cubicBezTo>
                  <a:cubicBezTo>
                    <a:pt x="979836" y="1874520"/>
                    <a:pt x="982598" y="1871758"/>
                    <a:pt x="986027" y="1871758"/>
                  </a:cubicBezTo>
                  <a:close/>
                  <a:moveTo>
                    <a:pt x="187356" y="1870805"/>
                  </a:moveTo>
                  <a:cubicBezTo>
                    <a:pt x="190785" y="1870805"/>
                    <a:pt x="193547" y="1873567"/>
                    <a:pt x="193547" y="1876996"/>
                  </a:cubicBezTo>
                  <a:cubicBezTo>
                    <a:pt x="193547" y="1880425"/>
                    <a:pt x="190785" y="1883188"/>
                    <a:pt x="187356" y="1883188"/>
                  </a:cubicBezTo>
                  <a:cubicBezTo>
                    <a:pt x="183927" y="1883188"/>
                    <a:pt x="181165" y="1880425"/>
                    <a:pt x="181165" y="1876996"/>
                  </a:cubicBezTo>
                  <a:cubicBezTo>
                    <a:pt x="181165" y="1873567"/>
                    <a:pt x="183927" y="1870805"/>
                    <a:pt x="187356" y="1870805"/>
                  </a:cubicBezTo>
                  <a:close/>
                  <a:moveTo>
                    <a:pt x="2401442" y="1867948"/>
                  </a:moveTo>
                  <a:cubicBezTo>
                    <a:pt x="2404871" y="1867948"/>
                    <a:pt x="2407634" y="1870710"/>
                    <a:pt x="2407634" y="1874139"/>
                  </a:cubicBezTo>
                  <a:cubicBezTo>
                    <a:pt x="2407634" y="1877568"/>
                    <a:pt x="2404871" y="1880330"/>
                    <a:pt x="2401442" y="1880330"/>
                  </a:cubicBezTo>
                  <a:cubicBezTo>
                    <a:pt x="2398013" y="1880330"/>
                    <a:pt x="2395251" y="1877568"/>
                    <a:pt x="2395251" y="1874139"/>
                  </a:cubicBezTo>
                  <a:cubicBezTo>
                    <a:pt x="2395251" y="1870710"/>
                    <a:pt x="2398013" y="1867948"/>
                    <a:pt x="2401442" y="1867948"/>
                  </a:cubicBezTo>
                  <a:close/>
                  <a:moveTo>
                    <a:pt x="3158394" y="1866900"/>
                  </a:moveTo>
                  <a:cubicBezTo>
                    <a:pt x="3161823" y="1866900"/>
                    <a:pt x="3164585" y="1869662"/>
                    <a:pt x="3164585" y="1873091"/>
                  </a:cubicBezTo>
                  <a:cubicBezTo>
                    <a:pt x="3164585" y="1876520"/>
                    <a:pt x="3161823" y="1879282"/>
                    <a:pt x="3158394" y="1879282"/>
                  </a:cubicBezTo>
                  <a:cubicBezTo>
                    <a:pt x="3154965" y="1879282"/>
                    <a:pt x="3152203" y="1876520"/>
                    <a:pt x="3152203" y="1873091"/>
                  </a:cubicBezTo>
                  <a:cubicBezTo>
                    <a:pt x="3152203" y="1869662"/>
                    <a:pt x="3154965" y="1866900"/>
                    <a:pt x="3158394" y="1866900"/>
                  </a:cubicBezTo>
                  <a:close/>
                  <a:moveTo>
                    <a:pt x="884776" y="1864614"/>
                  </a:moveTo>
                  <a:cubicBezTo>
                    <a:pt x="888205" y="1864614"/>
                    <a:pt x="890968" y="1867376"/>
                    <a:pt x="890968" y="1870805"/>
                  </a:cubicBezTo>
                  <a:cubicBezTo>
                    <a:pt x="890968" y="1874234"/>
                    <a:pt x="888205" y="1876997"/>
                    <a:pt x="884776" y="1876997"/>
                  </a:cubicBezTo>
                  <a:cubicBezTo>
                    <a:pt x="881347" y="1876997"/>
                    <a:pt x="878585" y="1874234"/>
                    <a:pt x="878585" y="1870805"/>
                  </a:cubicBezTo>
                  <a:cubicBezTo>
                    <a:pt x="878585" y="1867376"/>
                    <a:pt x="881347" y="1864614"/>
                    <a:pt x="884776" y="1864614"/>
                  </a:cubicBezTo>
                  <a:close/>
                  <a:moveTo>
                    <a:pt x="162782" y="1863662"/>
                  </a:moveTo>
                  <a:cubicBezTo>
                    <a:pt x="166211" y="1863662"/>
                    <a:pt x="168973" y="1866424"/>
                    <a:pt x="168973" y="1869853"/>
                  </a:cubicBezTo>
                  <a:cubicBezTo>
                    <a:pt x="168973" y="1873282"/>
                    <a:pt x="166211" y="1876045"/>
                    <a:pt x="162782" y="1876045"/>
                  </a:cubicBezTo>
                  <a:cubicBezTo>
                    <a:pt x="159353" y="1876045"/>
                    <a:pt x="156591" y="1873282"/>
                    <a:pt x="156591" y="1869853"/>
                  </a:cubicBezTo>
                  <a:cubicBezTo>
                    <a:pt x="156591" y="1866424"/>
                    <a:pt x="159353" y="1863662"/>
                    <a:pt x="162782" y="1863662"/>
                  </a:cubicBezTo>
                  <a:close/>
                  <a:moveTo>
                    <a:pt x="2498121" y="1860804"/>
                  </a:moveTo>
                  <a:cubicBezTo>
                    <a:pt x="2501550" y="1860804"/>
                    <a:pt x="2504313" y="1863566"/>
                    <a:pt x="2504313" y="1866995"/>
                  </a:cubicBezTo>
                  <a:cubicBezTo>
                    <a:pt x="2504313" y="1870424"/>
                    <a:pt x="2501550" y="1873186"/>
                    <a:pt x="2498121" y="1873186"/>
                  </a:cubicBezTo>
                  <a:cubicBezTo>
                    <a:pt x="2494692" y="1873186"/>
                    <a:pt x="2491930" y="1870424"/>
                    <a:pt x="2491930" y="1866995"/>
                  </a:cubicBezTo>
                  <a:cubicBezTo>
                    <a:pt x="2491930" y="1863566"/>
                    <a:pt x="2494692" y="1860804"/>
                    <a:pt x="2498121" y="1860804"/>
                  </a:cubicBezTo>
                  <a:close/>
                  <a:moveTo>
                    <a:pt x="3181254" y="1860042"/>
                  </a:moveTo>
                  <a:cubicBezTo>
                    <a:pt x="3184683" y="1860042"/>
                    <a:pt x="3187446" y="1862804"/>
                    <a:pt x="3187446" y="1866233"/>
                  </a:cubicBezTo>
                  <a:cubicBezTo>
                    <a:pt x="3187446" y="1869662"/>
                    <a:pt x="3184683" y="1872425"/>
                    <a:pt x="3181254" y="1872425"/>
                  </a:cubicBezTo>
                  <a:cubicBezTo>
                    <a:pt x="3177825" y="1872425"/>
                    <a:pt x="3175063" y="1869662"/>
                    <a:pt x="3175063" y="1866233"/>
                  </a:cubicBezTo>
                  <a:cubicBezTo>
                    <a:pt x="3175063" y="1862804"/>
                    <a:pt x="3177825" y="1860042"/>
                    <a:pt x="3181254" y="1860042"/>
                  </a:cubicBezTo>
                  <a:close/>
                  <a:moveTo>
                    <a:pt x="791908" y="1857566"/>
                  </a:moveTo>
                  <a:cubicBezTo>
                    <a:pt x="795337" y="1857566"/>
                    <a:pt x="798100" y="1860328"/>
                    <a:pt x="798100" y="1863757"/>
                  </a:cubicBezTo>
                  <a:cubicBezTo>
                    <a:pt x="798100" y="1867186"/>
                    <a:pt x="795337" y="1869949"/>
                    <a:pt x="791908" y="1869949"/>
                  </a:cubicBezTo>
                  <a:cubicBezTo>
                    <a:pt x="788479" y="1869949"/>
                    <a:pt x="785717" y="1867186"/>
                    <a:pt x="785717" y="1863757"/>
                  </a:cubicBezTo>
                  <a:cubicBezTo>
                    <a:pt x="785717" y="1860328"/>
                    <a:pt x="788479" y="1857566"/>
                    <a:pt x="791908" y="1857566"/>
                  </a:cubicBezTo>
                  <a:close/>
                  <a:moveTo>
                    <a:pt x="141350" y="1856899"/>
                  </a:moveTo>
                  <a:cubicBezTo>
                    <a:pt x="144779" y="1856899"/>
                    <a:pt x="147542" y="1859661"/>
                    <a:pt x="147542" y="1863090"/>
                  </a:cubicBezTo>
                  <a:cubicBezTo>
                    <a:pt x="147542" y="1866519"/>
                    <a:pt x="144779" y="1869282"/>
                    <a:pt x="141350" y="1869282"/>
                  </a:cubicBezTo>
                  <a:cubicBezTo>
                    <a:pt x="137921" y="1869282"/>
                    <a:pt x="135159" y="1866519"/>
                    <a:pt x="135159" y="1863090"/>
                  </a:cubicBezTo>
                  <a:cubicBezTo>
                    <a:pt x="135159" y="1859661"/>
                    <a:pt x="137921" y="1856899"/>
                    <a:pt x="141350" y="1856899"/>
                  </a:cubicBezTo>
                  <a:close/>
                  <a:moveTo>
                    <a:pt x="13907" y="1855566"/>
                  </a:moveTo>
                  <a:lnTo>
                    <a:pt x="17144" y="1858805"/>
                  </a:lnTo>
                  <a:lnTo>
                    <a:pt x="18478" y="1857471"/>
                  </a:lnTo>
                  <a:cubicBezTo>
                    <a:pt x="21907" y="1857471"/>
                    <a:pt x="24670" y="1860233"/>
                    <a:pt x="24670" y="1863662"/>
                  </a:cubicBezTo>
                  <a:lnTo>
                    <a:pt x="24527" y="1863805"/>
                  </a:lnTo>
                  <a:lnTo>
                    <a:pt x="28861" y="1868138"/>
                  </a:lnTo>
                  <a:lnTo>
                    <a:pt x="28383" y="1868616"/>
                  </a:lnTo>
                  <a:lnTo>
                    <a:pt x="32575" y="1872806"/>
                  </a:lnTo>
                  <a:lnTo>
                    <a:pt x="31813" y="1873568"/>
                  </a:lnTo>
                  <a:lnTo>
                    <a:pt x="36005" y="1877758"/>
                  </a:lnTo>
                  <a:lnTo>
                    <a:pt x="35051" y="1878712"/>
                  </a:lnTo>
                  <a:lnTo>
                    <a:pt x="39338" y="1882997"/>
                  </a:lnTo>
                  <a:lnTo>
                    <a:pt x="38147" y="1884188"/>
                  </a:lnTo>
                  <a:lnTo>
                    <a:pt x="42576" y="1888617"/>
                  </a:lnTo>
                  <a:lnTo>
                    <a:pt x="41242" y="1889951"/>
                  </a:lnTo>
                  <a:lnTo>
                    <a:pt x="45815" y="1894523"/>
                  </a:lnTo>
                  <a:lnTo>
                    <a:pt x="44434" y="1895904"/>
                  </a:lnTo>
                  <a:lnTo>
                    <a:pt x="49339" y="1900809"/>
                  </a:lnTo>
                  <a:lnTo>
                    <a:pt x="47910" y="1902238"/>
                  </a:lnTo>
                  <a:lnTo>
                    <a:pt x="53054" y="1907381"/>
                  </a:lnTo>
                  <a:lnTo>
                    <a:pt x="51719" y="1908716"/>
                  </a:lnTo>
                  <a:lnTo>
                    <a:pt x="57340" y="1914335"/>
                  </a:lnTo>
                  <a:lnTo>
                    <a:pt x="56101" y="1915574"/>
                  </a:lnTo>
                  <a:lnTo>
                    <a:pt x="62198" y="1921669"/>
                  </a:lnTo>
                  <a:cubicBezTo>
                    <a:pt x="62198" y="1925098"/>
                    <a:pt x="59435" y="1927861"/>
                    <a:pt x="56006" y="1927861"/>
                  </a:cubicBezTo>
                  <a:cubicBezTo>
                    <a:pt x="52577" y="1927861"/>
                    <a:pt x="49815" y="1925098"/>
                    <a:pt x="49815" y="1921669"/>
                  </a:cubicBezTo>
                  <a:lnTo>
                    <a:pt x="51053" y="1920431"/>
                  </a:lnTo>
                  <a:lnTo>
                    <a:pt x="44957" y="1914335"/>
                  </a:lnTo>
                  <a:lnTo>
                    <a:pt x="46290" y="1913002"/>
                  </a:lnTo>
                  <a:lnTo>
                    <a:pt x="40671" y="1907381"/>
                  </a:lnTo>
                  <a:lnTo>
                    <a:pt x="42099" y="1905953"/>
                  </a:lnTo>
                  <a:lnTo>
                    <a:pt x="36957" y="1900809"/>
                  </a:lnTo>
                  <a:lnTo>
                    <a:pt x="38337" y="1899429"/>
                  </a:lnTo>
                  <a:lnTo>
                    <a:pt x="33432" y="1894523"/>
                  </a:lnTo>
                  <a:lnTo>
                    <a:pt x="34765" y="1893190"/>
                  </a:lnTo>
                  <a:lnTo>
                    <a:pt x="30194" y="1888617"/>
                  </a:lnTo>
                  <a:lnTo>
                    <a:pt x="31384" y="1887427"/>
                  </a:lnTo>
                  <a:lnTo>
                    <a:pt x="26955" y="1882997"/>
                  </a:lnTo>
                  <a:lnTo>
                    <a:pt x="27907" y="1882045"/>
                  </a:lnTo>
                  <a:lnTo>
                    <a:pt x="23622" y="1877758"/>
                  </a:lnTo>
                  <a:lnTo>
                    <a:pt x="24383" y="1876997"/>
                  </a:lnTo>
                  <a:lnTo>
                    <a:pt x="20192" y="1872806"/>
                  </a:lnTo>
                  <a:lnTo>
                    <a:pt x="20668" y="1872330"/>
                  </a:lnTo>
                  <a:lnTo>
                    <a:pt x="16478" y="1868138"/>
                  </a:lnTo>
                  <a:lnTo>
                    <a:pt x="16620" y="1867996"/>
                  </a:lnTo>
                  <a:lnTo>
                    <a:pt x="12287" y="1863662"/>
                  </a:lnTo>
                  <a:lnTo>
                    <a:pt x="13144" y="1862805"/>
                  </a:lnTo>
                  <a:lnTo>
                    <a:pt x="9906" y="1859567"/>
                  </a:lnTo>
                  <a:cubicBezTo>
                    <a:pt x="9906" y="1857357"/>
                    <a:pt x="11697" y="1855566"/>
                    <a:pt x="13907" y="1855566"/>
                  </a:cubicBezTo>
                  <a:close/>
                  <a:moveTo>
                    <a:pt x="2586704" y="1853851"/>
                  </a:moveTo>
                  <a:cubicBezTo>
                    <a:pt x="2590133" y="1853851"/>
                    <a:pt x="2592895" y="1856613"/>
                    <a:pt x="2592895" y="1860042"/>
                  </a:cubicBezTo>
                  <a:cubicBezTo>
                    <a:pt x="2592895" y="1863471"/>
                    <a:pt x="2590133" y="1866234"/>
                    <a:pt x="2586704" y="1866234"/>
                  </a:cubicBezTo>
                  <a:cubicBezTo>
                    <a:pt x="2583275" y="1866234"/>
                    <a:pt x="2580513" y="1863471"/>
                    <a:pt x="2580513" y="1860042"/>
                  </a:cubicBezTo>
                  <a:cubicBezTo>
                    <a:pt x="2580513" y="1856613"/>
                    <a:pt x="2583275" y="1853851"/>
                    <a:pt x="2586704" y="1853851"/>
                  </a:cubicBezTo>
                  <a:close/>
                  <a:moveTo>
                    <a:pt x="3201161" y="1853375"/>
                  </a:moveTo>
                  <a:cubicBezTo>
                    <a:pt x="3204590" y="1853375"/>
                    <a:pt x="3207353" y="1856137"/>
                    <a:pt x="3207353" y="1859566"/>
                  </a:cubicBezTo>
                  <a:cubicBezTo>
                    <a:pt x="3207353" y="1862995"/>
                    <a:pt x="3204590" y="1865757"/>
                    <a:pt x="3201161" y="1865757"/>
                  </a:cubicBezTo>
                  <a:cubicBezTo>
                    <a:pt x="3197732" y="1865757"/>
                    <a:pt x="3194970" y="1862995"/>
                    <a:pt x="3194970" y="1859566"/>
                  </a:cubicBezTo>
                  <a:cubicBezTo>
                    <a:pt x="3194970" y="1856137"/>
                    <a:pt x="3197732" y="1853375"/>
                    <a:pt x="3201161" y="1853375"/>
                  </a:cubicBezTo>
                  <a:close/>
                  <a:moveTo>
                    <a:pt x="706945" y="1850708"/>
                  </a:moveTo>
                  <a:cubicBezTo>
                    <a:pt x="710374" y="1850708"/>
                    <a:pt x="713137" y="1853470"/>
                    <a:pt x="713137" y="1856899"/>
                  </a:cubicBezTo>
                  <a:cubicBezTo>
                    <a:pt x="713137" y="1860328"/>
                    <a:pt x="710374" y="1863091"/>
                    <a:pt x="706945" y="1863091"/>
                  </a:cubicBezTo>
                  <a:cubicBezTo>
                    <a:pt x="703516" y="1863091"/>
                    <a:pt x="700754" y="1860328"/>
                    <a:pt x="700754" y="1856899"/>
                  </a:cubicBezTo>
                  <a:cubicBezTo>
                    <a:pt x="700754" y="1853470"/>
                    <a:pt x="703516" y="1850708"/>
                    <a:pt x="706945" y="1850708"/>
                  </a:cubicBezTo>
                  <a:close/>
                  <a:moveTo>
                    <a:pt x="122681" y="1850422"/>
                  </a:moveTo>
                  <a:cubicBezTo>
                    <a:pt x="126110" y="1850422"/>
                    <a:pt x="128873" y="1853184"/>
                    <a:pt x="128873" y="1856613"/>
                  </a:cubicBezTo>
                  <a:cubicBezTo>
                    <a:pt x="128873" y="1860042"/>
                    <a:pt x="126110" y="1862805"/>
                    <a:pt x="122681" y="1862805"/>
                  </a:cubicBezTo>
                  <a:cubicBezTo>
                    <a:pt x="119252" y="1862805"/>
                    <a:pt x="116490" y="1860042"/>
                    <a:pt x="116490" y="1856613"/>
                  </a:cubicBezTo>
                  <a:cubicBezTo>
                    <a:pt x="116490" y="1853184"/>
                    <a:pt x="119252" y="1850422"/>
                    <a:pt x="122681" y="1850422"/>
                  </a:cubicBezTo>
                  <a:close/>
                  <a:moveTo>
                    <a:pt x="3218401" y="1847088"/>
                  </a:moveTo>
                  <a:cubicBezTo>
                    <a:pt x="3221830" y="1847088"/>
                    <a:pt x="3224593" y="1849850"/>
                    <a:pt x="3224593" y="1853279"/>
                  </a:cubicBezTo>
                  <a:cubicBezTo>
                    <a:pt x="3224593" y="1856708"/>
                    <a:pt x="3221830" y="1859471"/>
                    <a:pt x="3218401" y="1859471"/>
                  </a:cubicBezTo>
                  <a:cubicBezTo>
                    <a:pt x="3214972" y="1859471"/>
                    <a:pt x="3212210" y="1856708"/>
                    <a:pt x="3212210" y="1853279"/>
                  </a:cubicBezTo>
                  <a:cubicBezTo>
                    <a:pt x="3212210" y="1849850"/>
                    <a:pt x="3214972" y="1847088"/>
                    <a:pt x="3218401" y="1847088"/>
                  </a:cubicBezTo>
                  <a:close/>
                  <a:moveTo>
                    <a:pt x="2667666" y="1847088"/>
                  </a:moveTo>
                  <a:cubicBezTo>
                    <a:pt x="2671095" y="1847088"/>
                    <a:pt x="2673857" y="1849850"/>
                    <a:pt x="2673857" y="1853279"/>
                  </a:cubicBezTo>
                  <a:cubicBezTo>
                    <a:pt x="2673857" y="1856708"/>
                    <a:pt x="2671095" y="1859471"/>
                    <a:pt x="2667666" y="1859471"/>
                  </a:cubicBezTo>
                  <a:cubicBezTo>
                    <a:pt x="2664237" y="1859471"/>
                    <a:pt x="2661475" y="1856708"/>
                    <a:pt x="2661475" y="1853279"/>
                  </a:cubicBezTo>
                  <a:cubicBezTo>
                    <a:pt x="2661475" y="1849850"/>
                    <a:pt x="2664237" y="1847088"/>
                    <a:pt x="2667666" y="1847088"/>
                  </a:cubicBezTo>
                  <a:close/>
                  <a:moveTo>
                    <a:pt x="106584" y="1844231"/>
                  </a:moveTo>
                  <a:cubicBezTo>
                    <a:pt x="110013" y="1844231"/>
                    <a:pt x="112776" y="1846993"/>
                    <a:pt x="112776" y="1850422"/>
                  </a:cubicBezTo>
                  <a:cubicBezTo>
                    <a:pt x="112776" y="1853851"/>
                    <a:pt x="110013" y="1856614"/>
                    <a:pt x="106584" y="1856614"/>
                  </a:cubicBezTo>
                  <a:cubicBezTo>
                    <a:pt x="103155" y="1856614"/>
                    <a:pt x="100393" y="1853851"/>
                    <a:pt x="100393" y="1850422"/>
                  </a:cubicBezTo>
                  <a:cubicBezTo>
                    <a:pt x="100393" y="1846993"/>
                    <a:pt x="103155" y="1844231"/>
                    <a:pt x="106584" y="1844231"/>
                  </a:cubicBezTo>
                  <a:close/>
                  <a:moveTo>
                    <a:pt x="629411" y="1844040"/>
                  </a:moveTo>
                  <a:cubicBezTo>
                    <a:pt x="632840" y="1844040"/>
                    <a:pt x="635603" y="1846802"/>
                    <a:pt x="635603" y="1850231"/>
                  </a:cubicBezTo>
                  <a:cubicBezTo>
                    <a:pt x="635603" y="1853660"/>
                    <a:pt x="632840" y="1856423"/>
                    <a:pt x="629411" y="1856423"/>
                  </a:cubicBezTo>
                  <a:cubicBezTo>
                    <a:pt x="625982" y="1856423"/>
                    <a:pt x="623220" y="1853660"/>
                    <a:pt x="623220" y="1850231"/>
                  </a:cubicBezTo>
                  <a:cubicBezTo>
                    <a:pt x="623220" y="1846802"/>
                    <a:pt x="625982" y="1844040"/>
                    <a:pt x="629411" y="1844040"/>
                  </a:cubicBezTo>
                  <a:close/>
                  <a:moveTo>
                    <a:pt x="3233260" y="1840992"/>
                  </a:moveTo>
                  <a:cubicBezTo>
                    <a:pt x="3236689" y="1840992"/>
                    <a:pt x="3239452" y="1843754"/>
                    <a:pt x="3239452" y="1847183"/>
                  </a:cubicBezTo>
                  <a:cubicBezTo>
                    <a:pt x="3239452" y="1850612"/>
                    <a:pt x="3236689" y="1853375"/>
                    <a:pt x="3233260" y="1853375"/>
                  </a:cubicBezTo>
                  <a:cubicBezTo>
                    <a:pt x="3229831" y="1853375"/>
                    <a:pt x="3227069" y="1850612"/>
                    <a:pt x="3227069" y="1847183"/>
                  </a:cubicBezTo>
                  <a:cubicBezTo>
                    <a:pt x="3227069" y="1843754"/>
                    <a:pt x="3229831" y="1840992"/>
                    <a:pt x="3233260" y="1840992"/>
                  </a:cubicBezTo>
                  <a:close/>
                  <a:moveTo>
                    <a:pt x="3339179" y="1840707"/>
                  </a:moveTo>
                  <a:cubicBezTo>
                    <a:pt x="3342608" y="1840707"/>
                    <a:pt x="3345370" y="1843469"/>
                    <a:pt x="3345370" y="1846898"/>
                  </a:cubicBezTo>
                  <a:cubicBezTo>
                    <a:pt x="3345370" y="1850327"/>
                    <a:pt x="3342608" y="1853089"/>
                    <a:pt x="3339179" y="1853089"/>
                  </a:cubicBezTo>
                  <a:lnTo>
                    <a:pt x="3337465" y="1851375"/>
                  </a:lnTo>
                  <a:lnTo>
                    <a:pt x="3332416" y="1856423"/>
                  </a:lnTo>
                  <a:lnTo>
                    <a:pt x="3331130" y="1855137"/>
                  </a:lnTo>
                  <a:lnTo>
                    <a:pt x="3326320" y="1859947"/>
                  </a:lnTo>
                  <a:lnTo>
                    <a:pt x="3325463" y="1859090"/>
                  </a:lnTo>
                  <a:lnTo>
                    <a:pt x="3320891" y="1863661"/>
                  </a:lnTo>
                  <a:lnTo>
                    <a:pt x="3320463" y="1863233"/>
                  </a:lnTo>
                  <a:lnTo>
                    <a:pt x="3316033" y="1867663"/>
                  </a:lnTo>
                  <a:lnTo>
                    <a:pt x="3315985" y="1867615"/>
                  </a:lnTo>
                  <a:lnTo>
                    <a:pt x="3313652" y="1869948"/>
                  </a:lnTo>
                  <a:lnTo>
                    <a:pt x="3313938" y="1870234"/>
                  </a:lnTo>
                  <a:lnTo>
                    <a:pt x="3309699" y="1874473"/>
                  </a:lnTo>
                  <a:lnTo>
                    <a:pt x="3310318" y="1875091"/>
                  </a:lnTo>
                  <a:lnTo>
                    <a:pt x="3306126" y="1879283"/>
                  </a:lnTo>
                  <a:lnTo>
                    <a:pt x="3306984" y="1880140"/>
                  </a:lnTo>
                  <a:lnTo>
                    <a:pt x="3302651" y="1884474"/>
                  </a:lnTo>
                  <a:lnTo>
                    <a:pt x="3303746" y="1885569"/>
                  </a:lnTo>
                  <a:lnTo>
                    <a:pt x="3299269" y="1890046"/>
                  </a:lnTo>
                  <a:lnTo>
                    <a:pt x="3300508" y="1891284"/>
                  </a:lnTo>
                  <a:lnTo>
                    <a:pt x="3295793" y="1895999"/>
                  </a:lnTo>
                  <a:lnTo>
                    <a:pt x="3297174" y="1897380"/>
                  </a:lnTo>
                  <a:lnTo>
                    <a:pt x="3292173" y="1902381"/>
                  </a:lnTo>
                  <a:lnTo>
                    <a:pt x="3293554" y="1903762"/>
                  </a:lnTo>
                  <a:lnTo>
                    <a:pt x="3288173" y="1909144"/>
                  </a:lnTo>
                  <a:lnTo>
                    <a:pt x="3289553" y="1910524"/>
                  </a:lnTo>
                  <a:lnTo>
                    <a:pt x="3283743" y="1916335"/>
                  </a:lnTo>
                  <a:lnTo>
                    <a:pt x="3285077" y="1917668"/>
                  </a:lnTo>
                  <a:cubicBezTo>
                    <a:pt x="3285077" y="1921097"/>
                    <a:pt x="3282314" y="1923860"/>
                    <a:pt x="3278885" y="1923860"/>
                  </a:cubicBezTo>
                  <a:cubicBezTo>
                    <a:pt x="3275456" y="1923860"/>
                    <a:pt x="3272694" y="1921097"/>
                    <a:pt x="3272694" y="1917668"/>
                  </a:cubicBezTo>
                  <a:lnTo>
                    <a:pt x="3278504" y="1911858"/>
                  </a:lnTo>
                  <a:lnTo>
                    <a:pt x="3277171" y="1910524"/>
                  </a:lnTo>
                  <a:lnTo>
                    <a:pt x="3282552" y="1905143"/>
                  </a:lnTo>
                  <a:lnTo>
                    <a:pt x="3281172" y="1903762"/>
                  </a:lnTo>
                  <a:lnTo>
                    <a:pt x="3286172" y="1898762"/>
                  </a:lnTo>
                  <a:lnTo>
                    <a:pt x="3284791" y="1897380"/>
                  </a:lnTo>
                  <a:lnTo>
                    <a:pt x="3289506" y="1892665"/>
                  </a:lnTo>
                  <a:lnTo>
                    <a:pt x="3288125" y="1891284"/>
                  </a:lnTo>
                  <a:lnTo>
                    <a:pt x="3292601" y="1886808"/>
                  </a:lnTo>
                  <a:lnTo>
                    <a:pt x="3291363" y="1885569"/>
                  </a:lnTo>
                  <a:lnTo>
                    <a:pt x="3295697" y="1881235"/>
                  </a:lnTo>
                  <a:lnTo>
                    <a:pt x="3294602" y="1880140"/>
                  </a:lnTo>
                  <a:lnTo>
                    <a:pt x="3298793" y="1875949"/>
                  </a:lnTo>
                  <a:lnTo>
                    <a:pt x="3297935" y="1875091"/>
                  </a:lnTo>
                  <a:lnTo>
                    <a:pt x="3302173" y="1870853"/>
                  </a:lnTo>
                  <a:lnTo>
                    <a:pt x="3301555" y="1870234"/>
                  </a:lnTo>
                  <a:lnTo>
                    <a:pt x="3305746" y="1866043"/>
                  </a:lnTo>
                  <a:lnTo>
                    <a:pt x="3305460" y="1865757"/>
                  </a:lnTo>
                  <a:cubicBezTo>
                    <a:pt x="3305460" y="1862328"/>
                    <a:pt x="3308222" y="1859566"/>
                    <a:pt x="3311651" y="1859566"/>
                  </a:cubicBezTo>
                  <a:lnTo>
                    <a:pt x="3311699" y="1859614"/>
                  </a:lnTo>
                  <a:lnTo>
                    <a:pt x="3316033" y="1855280"/>
                  </a:lnTo>
                  <a:lnTo>
                    <a:pt x="3316462" y="1855709"/>
                  </a:lnTo>
                  <a:lnTo>
                    <a:pt x="3320891" y="1851279"/>
                  </a:lnTo>
                  <a:lnTo>
                    <a:pt x="3321749" y="1852137"/>
                  </a:lnTo>
                  <a:lnTo>
                    <a:pt x="3326320" y="1847565"/>
                  </a:lnTo>
                  <a:lnTo>
                    <a:pt x="3327605" y="1848851"/>
                  </a:lnTo>
                  <a:lnTo>
                    <a:pt x="3332416" y="1844040"/>
                  </a:lnTo>
                  <a:lnTo>
                    <a:pt x="3334131" y="1845755"/>
                  </a:lnTo>
                  <a:close/>
                  <a:moveTo>
                    <a:pt x="2741390" y="1840611"/>
                  </a:moveTo>
                  <a:cubicBezTo>
                    <a:pt x="2744819" y="1840611"/>
                    <a:pt x="2747581" y="1843373"/>
                    <a:pt x="2747581" y="1846802"/>
                  </a:cubicBezTo>
                  <a:cubicBezTo>
                    <a:pt x="2747581" y="1850231"/>
                    <a:pt x="2744819" y="1852994"/>
                    <a:pt x="2741390" y="1852994"/>
                  </a:cubicBezTo>
                  <a:cubicBezTo>
                    <a:pt x="2737961" y="1852994"/>
                    <a:pt x="2735199" y="1850231"/>
                    <a:pt x="2735199" y="1846802"/>
                  </a:cubicBezTo>
                  <a:cubicBezTo>
                    <a:pt x="2735199" y="1843373"/>
                    <a:pt x="2737961" y="1840611"/>
                    <a:pt x="2741390" y="1840611"/>
                  </a:cubicBezTo>
                  <a:close/>
                  <a:moveTo>
                    <a:pt x="3346703" y="1839945"/>
                  </a:moveTo>
                  <a:cubicBezTo>
                    <a:pt x="3348860" y="1839945"/>
                    <a:pt x="3350608" y="1841693"/>
                    <a:pt x="3350608" y="1843850"/>
                  </a:cubicBezTo>
                  <a:cubicBezTo>
                    <a:pt x="3350608" y="1846007"/>
                    <a:pt x="3348860" y="1847756"/>
                    <a:pt x="3346703" y="1847756"/>
                  </a:cubicBezTo>
                  <a:cubicBezTo>
                    <a:pt x="3344546" y="1847756"/>
                    <a:pt x="3342798" y="1846007"/>
                    <a:pt x="3342798" y="1843850"/>
                  </a:cubicBezTo>
                  <a:cubicBezTo>
                    <a:pt x="3342798" y="1841693"/>
                    <a:pt x="3344546" y="1839945"/>
                    <a:pt x="3346703" y="1839945"/>
                  </a:cubicBezTo>
                  <a:close/>
                  <a:moveTo>
                    <a:pt x="92677" y="1838325"/>
                  </a:moveTo>
                  <a:cubicBezTo>
                    <a:pt x="96106" y="1838325"/>
                    <a:pt x="98869" y="1841087"/>
                    <a:pt x="98869" y="1844516"/>
                  </a:cubicBezTo>
                  <a:cubicBezTo>
                    <a:pt x="98869" y="1847945"/>
                    <a:pt x="96106" y="1850707"/>
                    <a:pt x="92677" y="1850707"/>
                  </a:cubicBezTo>
                  <a:cubicBezTo>
                    <a:pt x="89248" y="1850707"/>
                    <a:pt x="86486" y="1847945"/>
                    <a:pt x="86486" y="1844516"/>
                  </a:cubicBezTo>
                  <a:cubicBezTo>
                    <a:pt x="86486" y="1841087"/>
                    <a:pt x="89248" y="1838325"/>
                    <a:pt x="92677" y="1838325"/>
                  </a:cubicBezTo>
                  <a:close/>
                  <a:moveTo>
                    <a:pt x="558831" y="1837658"/>
                  </a:moveTo>
                  <a:cubicBezTo>
                    <a:pt x="562260" y="1837658"/>
                    <a:pt x="565022" y="1840420"/>
                    <a:pt x="565022" y="1843849"/>
                  </a:cubicBezTo>
                  <a:cubicBezTo>
                    <a:pt x="565022" y="1847278"/>
                    <a:pt x="562260" y="1850041"/>
                    <a:pt x="558831" y="1850041"/>
                  </a:cubicBezTo>
                  <a:cubicBezTo>
                    <a:pt x="555402" y="1850041"/>
                    <a:pt x="552640" y="1847278"/>
                    <a:pt x="552640" y="1843849"/>
                  </a:cubicBezTo>
                  <a:cubicBezTo>
                    <a:pt x="552640" y="1840420"/>
                    <a:pt x="555402" y="1837658"/>
                    <a:pt x="558831" y="1837658"/>
                  </a:cubicBezTo>
                  <a:close/>
                  <a:moveTo>
                    <a:pt x="3246024" y="1835277"/>
                  </a:moveTo>
                  <a:cubicBezTo>
                    <a:pt x="3249453" y="1835277"/>
                    <a:pt x="3252215" y="1838039"/>
                    <a:pt x="3252215" y="1841468"/>
                  </a:cubicBezTo>
                  <a:cubicBezTo>
                    <a:pt x="3252215" y="1844897"/>
                    <a:pt x="3249453" y="1847660"/>
                    <a:pt x="3246024" y="1847660"/>
                  </a:cubicBezTo>
                  <a:cubicBezTo>
                    <a:pt x="3242595" y="1847660"/>
                    <a:pt x="3239833" y="1844897"/>
                    <a:pt x="3239833" y="1841468"/>
                  </a:cubicBezTo>
                  <a:cubicBezTo>
                    <a:pt x="3239833" y="1838039"/>
                    <a:pt x="3242595" y="1835277"/>
                    <a:pt x="3246024" y="1835277"/>
                  </a:cubicBezTo>
                  <a:close/>
                  <a:moveTo>
                    <a:pt x="2808446" y="1834420"/>
                  </a:moveTo>
                  <a:cubicBezTo>
                    <a:pt x="2811875" y="1834420"/>
                    <a:pt x="2814637" y="1837182"/>
                    <a:pt x="2814637" y="1840611"/>
                  </a:cubicBezTo>
                  <a:cubicBezTo>
                    <a:pt x="2814637" y="1844040"/>
                    <a:pt x="2811875" y="1846803"/>
                    <a:pt x="2808446" y="1846803"/>
                  </a:cubicBezTo>
                  <a:cubicBezTo>
                    <a:pt x="2805017" y="1846803"/>
                    <a:pt x="2802255" y="1844040"/>
                    <a:pt x="2802255" y="1840611"/>
                  </a:cubicBezTo>
                  <a:cubicBezTo>
                    <a:pt x="2802255" y="1837182"/>
                    <a:pt x="2805017" y="1834420"/>
                    <a:pt x="2808446" y="1834420"/>
                  </a:cubicBezTo>
                  <a:close/>
                  <a:moveTo>
                    <a:pt x="80867" y="1832705"/>
                  </a:moveTo>
                  <a:cubicBezTo>
                    <a:pt x="84296" y="1832705"/>
                    <a:pt x="87059" y="1835467"/>
                    <a:pt x="87059" y="1838896"/>
                  </a:cubicBezTo>
                  <a:cubicBezTo>
                    <a:pt x="87059" y="1842325"/>
                    <a:pt x="84296" y="1845088"/>
                    <a:pt x="80867" y="1845088"/>
                  </a:cubicBezTo>
                  <a:cubicBezTo>
                    <a:pt x="77438" y="1845088"/>
                    <a:pt x="74676" y="1842325"/>
                    <a:pt x="74676" y="1838896"/>
                  </a:cubicBezTo>
                  <a:cubicBezTo>
                    <a:pt x="74676" y="1835467"/>
                    <a:pt x="77438" y="1832705"/>
                    <a:pt x="80867" y="1832705"/>
                  </a:cubicBezTo>
                  <a:close/>
                  <a:moveTo>
                    <a:pt x="494728" y="1831562"/>
                  </a:moveTo>
                  <a:cubicBezTo>
                    <a:pt x="498157" y="1831562"/>
                    <a:pt x="500919" y="1834324"/>
                    <a:pt x="500919" y="1837753"/>
                  </a:cubicBezTo>
                  <a:cubicBezTo>
                    <a:pt x="500919" y="1841182"/>
                    <a:pt x="498157" y="1843945"/>
                    <a:pt x="494728" y="1843945"/>
                  </a:cubicBezTo>
                  <a:cubicBezTo>
                    <a:pt x="491299" y="1843945"/>
                    <a:pt x="488537" y="1841182"/>
                    <a:pt x="488537" y="1837753"/>
                  </a:cubicBezTo>
                  <a:cubicBezTo>
                    <a:pt x="488537" y="1834324"/>
                    <a:pt x="491299" y="1831562"/>
                    <a:pt x="494728" y="1831562"/>
                  </a:cubicBezTo>
                  <a:close/>
                  <a:moveTo>
                    <a:pt x="3256882" y="1829753"/>
                  </a:moveTo>
                  <a:cubicBezTo>
                    <a:pt x="3260311" y="1829753"/>
                    <a:pt x="3263073" y="1832515"/>
                    <a:pt x="3263073" y="1835944"/>
                  </a:cubicBezTo>
                  <a:cubicBezTo>
                    <a:pt x="3263073" y="1839373"/>
                    <a:pt x="3260311" y="1842136"/>
                    <a:pt x="3256882" y="1842136"/>
                  </a:cubicBezTo>
                  <a:cubicBezTo>
                    <a:pt x="3253453" y="1842136"/>
                    <a:pt x="3250691" y="1839373"/>
                    <a:pt x="3250691" y="1835944"/>
                  </a:cubicBezTo>
                  <a:cubicBezTo>
                    <a:pt x="3250691" y="1832515"/>
                    <a:pt x="3253453" y="1829753"/>
                    <a:pt x="3256882" y="1829753"/>
                  </a:cubicBezTo>
                  <a:close/>
                  <a:moveTo>
                    <a:pt x="2869215" y="1828324"/>
                  </a:moveTo>
                  <a:cubicBezTo>
                    <a:pt x="2872644" y="1828324"/>
                    <a:pt x="2875407" y="1831086"/>
                    <a:pt x="2875407" y="1834515"/>
                  </a:cubicBezTo>
                  <a:cubicBezTo>
                    <a:pt x="2875407" y="1837944"/>
                    <a:pt x="2872644" y="1840707"/>
                    <a:pt x="2869215" y="1840707"/>
                  </a:cubicBezTo>
                  <a:cubicBezTo>
                    <a:pt x="2865786" y="1840707"/>
                    <a:pt x="2863024" y="1837944"/>
                    <a:pt x="2863024" y="1834515"/>
                  </a:cubicBezTo>
                  <a:cubicBezTo>
                    <a:pt x="2863024" y="1831086"/>
                    <a:pt x="2865786" y="1828324"/>
                    <a:pt x="2869215" y="1828324"/>
                  </a:cubicBezTo>
                  <a:close/>
                  <a:moveTo>
                    <a:pt x="70865" y="1827276"/>
                  </a:moveTo>
                  <a:cubicBezTo>
                    <a:pt x="74294" y="1827276"/>
                    <a:pt x="77057" y="1830038"/>
                    <a:pt x="77057" y="1833467"/>
                  </a:cubicBezTo>
                  <a:cubicBezTo>
                    <a:pt x="77057" y="1836896"/>
                    <a:pt x="74294" y="1839659"/>
                    <a:pt x="70865" y="1839659"/>
                  </a:cubicBezTo>
                  <a:cubicBezTo>
                    <a:pt x="67436" y="1839659"/>
                    <a:pt x="64674" y="1836896"/>
                    <a:pt x="64674" y="1833467"/>
                  </a:cubicBezTo>
                  <a:cubicBezTo>
                    <a:pt x="64674" y="1830038"/>
                    <a:pt x="67436" y="1827276"/>
                    <a:pt x="70865" y="1827276"/>
                  </a:cubicBezTo>
                  <a:close/>
                  <a:moveTo>
                    <a:pt x="436721" y="1825657"/>
                  </a:moveTo>
                  <a:cubicBezTo>
                    <a:pt x="440150" y="1825657"/>
                    <a:pt x="442912" y="1828419"/>
                    <a:pt x="442912" y="1831848"/>
                  </a:cubicBezTo>
                  <a:cubicBezTo>
                    <a:pt x="442912" y="1835277"/>
                    <a:pt x="440150" y="1838040"/>
                    <a:pt x="436721" y="1838040"/>
                  </a:cubicBezTo>
                  <a:cubicBezTo>
                    <a:pt x="433292" y="1838040"/>
                    <a:pt x="430530" y="1835277"/>
                    <a:pt x="430530" y="1831848"/>
                  </a:cubicBezTo>
                  <a:cubicBezTo>
                    <a:pt x="430530" y="1828419"/>
                    <a:pt x="433292" y="1825657"/>
                    <a:pt x="436721" y="1825657"/>
                  </a:cubicBezTo>
                  <a:close/>
                  <a:moveTo>
                    <a:pt x="3266026" y="1824514"/>
                  </a:moveTo>
                  <a:cubicBezTo>
                    <a:pt x="3269455" y="1824514"/>
                    <a:pt x="3272218" y="1827276"/>
                    <a:pt x="3272218" y="1830705"/>
                  </a:cubicBezTo>
                  <a:cubicBezTo>
                    <a:pt x="3272218" y="1834134"/>
                    <a:pt x="3269455" y="1836897"/>
                    <a:pt x="3266026" y="1836897"/>
                  </a:cubicBezTo>
                  <a:cubicBezTo>
                    <a:pt x="3262597" y="1836897"/>
                    <a:pt x="3259835" y="1834134"/>
                    <a:pt x="3259835" y="1830705"/>
                  </a:cubicBezTo>
                  <a:cubicBezTo>
                    <a:pt x="3259835" y="1827276"/>
                    <a:pt x="3262597" y="1824514"/>
                    <a:pt x="3266026" y="1824514"/>
                  </a:cubicBezTo>
                  <a:close/>
                  <a:moveTo>
                    <a:pt x="2924174" y="1822514"/>
                  </a:moveTo>
                  <a:cubicBezTo>
                    <a:pt x="2927603" y="1822514"/>
                    <a:pt x="2930365" y="1825276"/>
                    <a:pt x="2930365" y="1828705"/>
                  </a:cubicBezTo>
                  <a:cubicBezTo>
                    <a:pt x="2930365" y="1832134"/>
                    <a:pt x="2927603" y="1834897"/>
                    <a:pt x="2924174" y="1834897"/>
                  </a:cubicBezTo>
                  <a:cubicBezTo>
                    <a:pt x="2920745" y="1834897"/>
                    <a:pt x="2917983" y="1832134"/>
                    <a:pt x="2917983" y="1828705"/>
                  </a:cubicBezTo>
                  <a:cubicBezTo>
                    <a:pt x="2917983" y="1825276"/>
                    <a:pt x="2920745" y="1822514"/>
                    <a:pt x="2924174" y="1822514"/>
                  </a:cubicBezTo>
                  <a:close/>
                  <a:moveTo>
                    <a:pt x="384428" y="1819942"/>
                  </a:moveTo>
                  <a:cubicBezTo>
                    <a:pt x="387857" y="1819942"/>
                    <a:pt x="390619" y="1822704"/>
                    <a:pt x="390619" y="1826133"/>
                  </a:cubicBezTo>
                  <a:cubicBezTo>
                    <a:pt x="390619" y="1829562"/>
                    <a:pt x="387857" y="1832325"/>
                    <a:pt x="384428" y="1832325"/>
                  </a:cubicBezTo>
                  <a:cubicBezTo>
                    <a:pt x="380999" y="1832325"/>
                    <a:pt x="378237" y="1829562"/>
                    <a:pt x="378237" y="1826133"/>
                  </a:cubicBezTo>
                  <a:cubicBezTo>
                    <a:pt x="378237" y="1822704"/>
                    <a:pt x="380999" y="1819942"/>
                    <a:pt x="384428" y="1819942"/>
                  </a:cubicBezTo>
                  <a:close/>
                  <a:moveTo>
                    <a:pt x="2973609" y="1816989"/>
                  </a:moveTo>
                  <a:cubicBezTo>
                    <a:pt x="2977038" y="1816989"/>
                    <a:pt x="2979800" y="1819751"/>
                    <a:pt x="2979800" y="1823180"/>
                  </a:cubicBezTo>
                  <a:cubicBezTo>
                    <a:pt x="2979800" y="1826609"/>
                    <a:pt x="2977038" y="1829372"/>
                    <a:pt x="2973609" y="1829372"/>
                  </a:cubicBezTo>
                  <a:cubicBezTo>
                    <a:pt x="2970180" y="1829372"/>
                    <a:pt x="2967418" y="1826609"/>
                    <a:pt x="2967418" y="1823180"/>
                  </a:cubicBezTo>
                  <a:cubicBezTo>
                    <a:pt x="2967418" y="1819751"/>
                    <a:pt x="2970180" y="1816989"/>
                    <a:pt x="2973609" y="1816989"/>
                  </a:cubicBezTo>
                  <a:close/>
                  <a:moveTo>
                    <a:pt x="8001" y="1816418"/>
                  </a:moveTo>
                  <a:cubicBezTo>
                    <a:pt x="8737" y="1816418"/>
                    <a:pt x="9334" y="1817015"/>
                    <a:pt x="9334" y="1817752"/>
                  </a:cubicBezTo>
                  <a:cubicBezTo>
                    <a:pt x="9334" y="1818488"/>
                    <a:pt x="8737" y="1819085"/>
                    <a:pt x="8001" y="1819085"/>
                  </a:cubicBezTo>
                  <a:cubicBezTo>
                    <a:pt x="7264" y="1819085"/>
                    <a:pt x="6667" y="1818488"/>
                    <a:pt x="6667" y="1817752"/>
                  </a:cubicBezTo>
                  <a:cubicBezTo>
                    <a:pt x="6667" y="1817015"/>
                    <a:pt x="7264" y="1816418"/>
                    <a:pt x="8001" y="1816418"/>
                  </a:cubicBezTo>
                  <a:close/>
                  <a:moveTo>
                    <a:pt x="12572" y="1814703"/>
                  </a:moveTo>
                  <a:lnTo>
                    <a:pt x="16335" y="1818465"/>
                  </a:lnTo>
                  <a:lnTo>
                    <a:pt x="16668" y="1818132"/>
                  </a:lnTo>
                  <a:lnTo>
                    <a:pt x="20288" y="1821752"/>
                  </a:lnTo>
                  <a:lnTo>
                    <a:pt x="20383" y="1821657"/>
                  </a:lnTo>
                  <a:cubicBezTo>
                    <a:pt x="23812" y="1821657"/>
                    <a:pt x="26575" y="1824419"/>
                    <a:pt x="26575" y="1827848"/>
                  </a:cubicBezTo>
                  <a:lnTo>
                    <a:pt x="26337" y="1828086"/>
                  </a:lnTo>
                  <a:lnTo>
                    <a:pt x="29909" y="1831657"/>
                  </a:lnTo>
                  <a:lnTo>
                    <a:pt x="29385" y="1832182"/>
                  </a:lnTo>
                  <a:lnTo>
                    <a:pt x="32957" y="1835753"/>
                  </a:lnTo>
                  <a:lnTo>
                    <a:pt x="32385" y="1836325"/>
                  </a:lnTo>
                  <a:lnTo>
                    <a:pt x="36005" y="1839944"/>
                  </a:lnTo>
                  <a:lnTo>
                    <a:pt x="35147" y="1840802"/>
                  </a:lnTo>
                  <a:lnTo>
                    <a:pt x="38862" y="1844516"/>
                  </a:lnTo>
                  <a:lnTo>
                    <a:pt x="38004" y="1845374"/>
                  </a:lnTo>
                  <a:lnTo>
                    <a:pt x="41910" y="1849279"/>
                  </a:lnTo>
                  <a:lnTo>
                    <a:pt x="41005" y="1850184"/>
                  </a:lnTo>
                  <a:lnTo>
                    <a:pt x="45244" y="1854422"/>
                  </a:lnTo>
                  <a:lnTo>
                    <a:pt x="44433" y="1855233"/>
                  </a:lnTo>
                  <a:lnTo>
                    <a:pt x="48958" y="1859756"/>
                  </a:lnTo>
                  <a:lnTo>
                    <a:pt x="48243" y="1860471"/>
                  </a:lnTo>
                  <a:lnTo>
                    <a:pt x="53149" y="1865376"/>
                  </a:lnTo>
                  <a:lnTo>
                    <a:pt x="52624" y="1865901"/>
                  </a:lnTo>
                  <a:lnTo>
                    <a:pt x="58007" y="1871282"/>
                  </a:lnTo>
                  <a:lnTo>
                    <a:pt x="57769" y="1871520"/>
                  </a:lnTo>
                  <a:lnTo>
                    <a:pt x="63817" y="1877568"/>
                  </a:lnTo>
                  <a:cubicBezTo>
                    <a:pt x="63817" y="1880997"/>
                    <a:pt x="61055" y="1883759"/>
                    <a:pt x="57626" y="1883759"/>
                  </a:cubicBezTo>
                  <a:cubicBezTo>
                    <a:pt x="54197" y="1883759"/>
                    <a:pt x="51435" y="1880997"/>
                    <a:pt x="51435" y="1877568"/>
                  </a:cubicBezTo>
                  <a:lnTo>
                    <a:pt x="51672" y="1877331"/>
                  </a:lnTo>
                  <a:lnTo>
                    <a:pt x="45624" y="1871282"/>
                  </a:lnTo>
                  <a:lnTo>
                    <a:pt x="46148" y="1870758"/>
                  </a:lnTo>
                  <a:lnTo>
                    <a:pt x="40767" y="1865376"/>
                  </a:lnTo>
                  <a:lnTo>
                    <a:pt x="41480" y="1864663"/>
                  </a:lnTo>
                  <a:lnTo>
                    <a:pt x="36575" y="1859756"/>
                  </a:lnTo>
                  <a:lnTo>
                    <a:pt x="37384" y="1858947"/>
                  </a:lnTo>
                  <a:lnTo>
                    <a:pt x="32861" y="1854422"/>
                  </a:lnTo>
                  <a:lnTo>
                    <a:pt x="33765" y="1853518"/>
                  </a:lnTo>
                  <a:lnTo>
                    <a:pt x="29527" y="1849279"/>
                  </a:lnTo>
                  <a:lnTo>
                    <a:pt x="30384" y="1848422"/>
                  </a:lnTo>
                  <a:lnTo>
                    <a:pt x="26479" y="1844516"/>
                  </a:lnTo>
                  <a:lnTo>
                    <a:pt x="27336" y="1843659"/>
                  </a:lnTo>
                  <a:lnTo>
                    <a:pt x="23622" y="1839944"/>
                  </a:lnTo>
                  <a:lnTo>
                    <a:pt x="24193" y="1839373"/>
                  </a:lnTo>
                  <a:lnTo>
                    <a:pt x="20574" y="1835753"/>
                  </a:lnTo>
                  <a:lnTo>
                    <a:pt x="21098" y="1835230"/>
                  </a:lnTo>
                  <a:lnTo>
                    <a:pt x="17526" y="1831657"/>
                  </a:lnTo>
                  <a:lnTo>
                    <a:pt x="17763" y="1831420"/>
                  </a:lnTo>
                  <a:lnTo>
                    <a:pt x="16763" y="1830420"/>
                  </a:lnTo>
                  <a:lnTo>
                    <a:pt x="16668" y="1830515"/>
                  </a:lnTo>
                  <a:lnTo>
                    <a:pt x="12906" y="1826752"/>
                  </a:lnTo>
                  <a:lnTo>
                    <a:pt x="12572" y="1827086"/>
                  </a:lnTo>
                  <a:cubicBezTo>
                    <a:pt x="9143" y="1827086"/>
                    <a:pt x="6381" y="1824323"/>
                    <a:pt x="6381" y="1820894"/>
                  </a:cubicBezTo>
                  <a:cubicBezTo>
                    <a:pt x="6381" y="1817465"/>
                    <a:pt x="9143" y="1814703"/>
                    <a:pt x="12572" y="1814703"/>
                  </a:cubicBezTo>
                  <a:close/>
                  <a:moveTo>
                    <a:pt x="337375" y="1814417"/>
                  </a:moveTo>
                  <a:cubicBezTo>
                    <a:pt x="340804" y="1814417"/>
                    <a:pt x="343566" y="1817179"/>
                    <a:pt x="343566" y="1820608"/>
                  </a:cubicBezTo>
                  <a:cubicBezTo>
                    <a:pt x="343566" y="1824037"/>
                    <a:pt x="340804" y="1826800"/>
                    <a:pt x="337375" y="1826800"/>
                  </a:cubicBezTo>
                  <a:cubicBezTo>
                    <a:pt x="333946" y="1826800"/>
                    <a:pt x="331184" y="1824037"/>
                    <a:pt x="331184" y="1820608"/>
                  </a:cubicBezTo>
                  <a:cubicBezTo>
                    <a:pt x="331184" y="1817179"/>
                    <a:pt x="333946" y="1814417"/>
                    <a:pt x="337375" y="1814417"/>
                  </a:cubicBezTo>
                  <a:close/>
                  <a:moveTo>
                    <a:pt x="3017900" y="1811560"/>
                  </a:moveTo>
                  <a:cubicBezTo>
                    <a:pt x="3021329" y="1811560"/>
                    <a:pt x="3024091" y="1814322"/>
                    <a:pt x="3024091" y="1817751"/>
                  </a:cubicBezTo>
                  <a:cubicBezTo>
                    <a:pt x="3024091" y="1821180"/>
                    <a:pt x="3021329" y="1823943"/>
                    <a:pt x="3017900" y="1823943"/>
                  </a:cubicBezTo>
                  <a:cubicBezTo>
                    <a:pt x="3014471" y="1823943"/>
                    <a:pt x="3011709" y="1821180"/>
                    <a:pt x="3011709" y="1817751"/>
                  </a:cubicBezTo>
                  <a:cubicBezTo>
                    <a:pt x="3011709" y="1814322"/>
                    <a:pt x="3014471" y="1811560"/>
                    <a:pt x="3017900" y="1811560"/>
                  </a:cubicBezTo>
                  <a:close/>
                  <a:moveTo>
                    <a:pt x="295274" y="1809179"/>
                  </a:moveTo>
                  <a:cubicBezTo>
                    <a:pt x="298703" y="1809179"/>
                    <a:pt x="301465" y="1811941"/>
                    <a:pt x="301465" y="1815370"/>
                  </a:cubicBezTo>
                  <a:cubicBezTo>
                    <a:pt x="301465" y="1818799"/>
                    <a:pt x="298703" y="1821562"/>
                    <a:pt x="295274" y="1821562"/>
                  </a:cubicBezTo>
                  <a:cubicBezTo>
                    <a:pt x="291845" y="1821562"/>
                    <a:pt x="289083" y="1818799"/>
                    <a:pt x="289083" y="1815370"/>
                  </a:cubicBezTo>
                  <a:cubicBezTo>
                    <a:pt x="289083" y="1811941"/>
                    <a:pt x="291845" y="1809179"/>
                    <a:pt x="295274" y="1809179"/>
                  </a:cubicBezTo>
                  <a:close/>
                  <a:moveTo>
                    <a:pt x="3057524" y="1806416"/>
                  </a:moveTo>
                  <a:cubicBezTo>
                    <a:pt x="3060953" y="1806416"/>
                    <a:pt x="3063715" y="1809178"/>
                    <a:pt x="3063715" y="1812607"/>
                  </a:cubicBezTo>
                  <a:cubicBezTo>
                    <a:pt x="3063715" y="1816036"/>
                    <a:pt x="3060953" y="1818799"/>
                    <a:pt x="3057524" y="1818799"/>
                  </a:cubicBezTo>
                  <a:cubicBezTo>
                    <a:pt x="3054095" y="1818799"/>
                    <a:pt x="3051333" y="1816036"/>
                    <a:pt x="3051333" y="1812607"/>
                  </a:cubicBezTo>
                  <a:cubicBezTo>
                    <a:pt x="3051333" y="1809178"/>
                    <a:pt x="3054095" y="1806416"/>
                    <a:pt x="3057524" y="1806416"/>
                  </a:cubicBezTo>
                  <a:close/>
                  <a:moveTo>
                    <a:pt x="3353276" y="1804321"/>
                  </a:moveTo>
                  <a:cubicBezTo>
                    <a:pt x="3354038" y="1804321"/>
                    <a:pt x="3354705" y="1804988"/>
                    <a:pt x="3354705" y="1805750"/>
                  </a:cubicBezTo>
                  <a:cubicBezTo>
                    <a:pt x="3354705" y="1806512"/>
                    <a:pt x="3354038" y="1807179"/>
                    <a:pt x="3353276" y="1807179"/>
                  </a:cubicBezTo>
                  <a:cubicBezTo>
                    <a:pt x="3352514" y="1807179"/>
                    <a:pt x="3351847" y="1806512"/>
                    <a:pt x="3351847" y="1805750"/>
                  </a:cubicBezTo>
                  <a:cubicBezTo>
                    <a:pt x="3351847" y="1804988"/>
                    <a:pt x="3352514" y="1804321"/>
                    <a:pt x="3353276" y="1804321"/>
                  </a:cubicBezTo>
                  <a:close/>
                  <a:moveTo>
                    <a:pt x="257746" y="1804130"/>
                  </a:moveTo>
                  <a:cubicBezTo>
                    <a:pt x="261175" y="1804130"/>
                    <a:pt x="263937" y="1806892"/>
                    <a:pt x="263937" y="1810321"/>
                  </a:cubicBezTo>
                  <a:cubicBezTo>
                    <a:pt x="263937" y="1813750"/>
                    <a:pt x="261175" y="1816513"/>
                    <a:pt x="257746" y="1816513"/>
                  </a:cubicBezTo>
                  <a:cubicBezTo>
                    <a:pt x="254317" y="1816513"/>
                    <a:pt x="251555" y="1813750"/>
                    <a:pt x="251555" y="1810321"/>
                  </a:cubicBezTo>
                  <a:cubicBezTo>
                    <a:pt x="251555" y="1806892"/>
                    <a:pt x="254317" y="1804130"/>
                    <a:pt x="257746" y="1804130"/>
                  </a:cubicBezTo>
                  <a:close/>
                  <a:moveTo>
                    <a:pt x="3345560" y="1801940"/>
                  </a:moveTo>
                  <a:cubicBezTo>
                    <a:pt x="3348989" y="1801940"/>
                    <a:pt x="3351752" y="1804702"/>
                    <a:pt x="3351752" y="1808131"/>
                  </a:cubicBezTo>
                  <a:cubicBezTo>
                    <a:pt x="3351752" y="1811560"/>
                    <a:pt x="3348989" y="1814323"/>
                    <a:pt x="3345560" y="1814323"/>
                  </a:cubicBezTo>
                  <a:lnTo>
                    <a:pt x="3343322" y="1812085"/>
                  </a:lnTo>
                  <a:lnTo>
                    <a:pt x="3338607" y="1816799"/>
                  </a:lnTo>
                  <a:lnTo>
                    <a:pt x="3336845" y="1815037"/>
                  </a:lnTo>
                  <a:lnTo>
                    <a:pt x="3332416" y="1819465"/>
                  </a:lnTo>
                  <a:lnTo>
                    <a:pt x="3331083" y="1818132"/>
                  </a:lnTo>
                  <a:lnTo>
                    <a:pt x="3326891" y="1822324"/>
                  </a:lnTo>
                  <a:lnTo>
                    <a:pt x="3325986" y="1821419"/>
                  </a:lnTo>
                  <a:lnTo>
                    <a:pt x="3322033" y="1825372"/>
                  </a:lnTo>
                  <a:lnTo>
                    <a:pt x="3321461" y="1824800"/>
                  </a:lnTo>
                  <a:lnTo>
                    <a:pt x="3317652" y="1828610"/>
                  </a:lnTo>
                  <a:lnTo>
                    <a:pt x="3317461" y="1828419"/>
                  </a:lnTo>
                  <a:lnTo>
                    <a:pt x="3316366" y="1829515"/>
                  </a:lnTo>
                  <a:lnTo>
                    <a:pt x="3316414" y="1829562"/>
                  </a:lnTo>
                  <a:lnTo>
                    <a:pt x="3312795" y="1833182"/>
                  </a:lnTo>
                  <a:lnTo>
                    <a:pt x="3313175" y="1833562"/>
                  </a:lnTo>
                  <a:lnTo>
                    <a:pt x="3309603" y="1837135"/>
                  </a:lnTo>
                  <a:lnTo>
                    <a:pt x="3310127" y="1837658"/>
                  </a:lnTo>
                  <a:lnTo>
                    <a:pt x="3306508" y="1841278"/>
                  </a:lnTo>
                  <a:lnTo>
                    <a:pt x="3307270" y="1842040"/>
                  </a:lnTo>
                  <a:lnTo>
                    <a:pt x="3303413" y="1845898"/>
                  </a:lnTo>
                  <a:lnTo>
                    <a:pt x="3304222" y="1846707"/>
                  </a:lnTo>
                  <a:lnTo>
                    <a:pt x="3300174" y="1850756"/>
                  </a:lnTo>
                  <a:lnTo>
                    <a:pt x="3301079" y="1851660"/>
                  </a:lnTo>
                  <a:lnTo>
                    <a:pt x="3296792" y="1855946"/>
                  </a:lnTo>
                  <a:lnTo>
                    <a:pt x="3297649" y="1856803"/>
                  </a:lnTo>
                  <a:lnTo>
                    <a:pt x="3292934" y="1861519"/>
                  </a:lnTo>
                  <a:lnTo>
                    <a:pt x="3293744" y="1862328"/>
                  </a:lnTo>
                  <a:lnTo>
                    <a:pt x="3288648" y="1867425"/>
                  </a:lnTo>
                  <a:lnTo>
                    <a:pt x="3289267" y="1868043"/>
                  </a:lnTo>
                  <a:lnTo>
                    <a:pt x="3283552" y="1873758"/>
                  </a:lnTo>
                  <a:lnTo>
                    <a:pt x="3283933" y="1874139"/>
                  </a:lnTo>
                  <a:cubicBezTo>
                    <a:pt x="3283933" y="1877568"/>
                    <a:pt x="3281171" y="1880330"/>
                    <a:pt x="3277742" y="1880330"/>
                  </a:cubicBezTo>
                  <a:cubicBezTo>
                    <a:pt x="3274313" y="1880330"/>
                    <a:pt x="3271551" y="1877568"/>
                    <a:pt x="3271551" y="1874139"/>
                  </a:cubicBezTo>
                  <a:lnTo>
                    <a:pt x="3277266" y="1868424"/>
                  </a:lnTo>
                  <a:lnTo>
                    <a:pt x="3276885" y="1868043"/>
                  </a:lnTo>
                  <a:lnTo>
                    <a:pt x="3281981" y="1862947"/>
                  </a:lnTo>
                  <a:lnTo>
                    <a:pt x="3281362" y="1862328"/>
                  </a:lnTo>
                  <a:lnTo>
                    <a:pt x="3286077" y="1857613"/>
                  </a:lnTo>
                  <a:lnTo>
                    <a:pt x="3285267" y="1856803"/>
                  </a:lnTo>
                  <a:lnTo>
                    <a:pt x="3289553" y="1852517"/>
                  </a:lnTo>
                  <a:lnTo>
                    <a:pt x="3288696" y="1851660"/>
                  </a:lnTo>
                  <a:lnTo>
                    <a:pt x="3292744" y="1847612"/>
                  </a:lnTo>
                  <a:lnTo>
                    <a:pt x="3291840" y="1846707"/>
                  </a:lnTo>
                  <a:lnTo>
                    <a:pt x="3295697" y="1842850"/>
                  </a:lnTo>
                  <a:lnTo>
                    <a:pt x="3294888" y="1842040"/>
                  </a:lnTo>
                  <a:lnTo>
                    <a:pt x="3298507" y="1838421"/>
                  </a:lnTo>
                  <a:lnTo>
                    <a:pt x="3297745" y="1837658"/>
                  </a:lnTo>
                  <a:lnTo>
                    <a:pt x="3301317" y="1834086"/>
                  </a:lnTo>
                  <a:lnTo>
                    <a:pt x="3300793" y="1833562"/>
                  </a:lnTo>
                  <a:lnTo>
                    <a:pt x="3304412" y="1829943"/>
                  </a:lnTo>
                  <a:lnTo>
                    <a:pt x="3304032" y="1829562"/>
                  </a:lnTo>
                  <a:lnTo>
                    <a:pt x="3307604" y="1825990"/>
                  </a:lnTo>
                  <a:lnTo>
                    <a:pt x="3307556" y="1825942"/>
                  </a:lnTo>
                  <a:cubicBezTo>
                    <a:pt x="3307556" y="1822513"/>
                    <a:pt x="3310318" y="1819751"/>
                    <a:pt x="3313747" y="1819751"/>
                  </a:cubicBezTo>
                  <a:lnTo>
                    <a:pt x="3313937" y="1819942"/>
                  </a:lnTo>
                  <a:lnTo>
                    <a:pt x="3317652" y="1816227"/>
                  </a:lnTo>
                  <a:lnTo>
                    <a:pt x="3318223" y="1816799"/>
                  </a:lnTo>
                  <a:lnTo>
                    <a:pt x="3322033" y="1812989"/>
                  </a:lnTo>
                  <a:lnTo>
                    <a:pt x="3322938" y="1813894"/>
                  </a:lnTo>
                  <a:lnTo>
                    <a:pt x="3326891" y="1809941"/>
                  </a:lnTo>
                  <a:lnTo>
                    <a:pt x="3328225" y="1811275"/>
                  </a:lnTo>
                  <a:lnTo>
                    <a:pt x="3332416" y="1807083"/>
                  </a:lnTo>
                  <a:lnTo>
                    <a:pt x="3334178" y="1808845"/>
                  </a:lnTo>
                  <a:lnTo>
                    <a:pt x="3338607" y="1804416"/>
                  </a:lnTo>
                  <a:lnTo>
                    <a:pt x="3340846" y="1806655"/>
                  </a:lnTo>
                  <a:close/>
                  <a:moveTo>
                    <a:pt x="3092767" y="1801463"/>
                  </a:moveTo>
                  <a:cubicBezTo>
                    <a:pt x="3096196" y="1801463"/>
                    <a:pt x="3098959" y="1804225"/>
                    <a:pt x="3098959" y="1807654"/>
                  </a:cubicBezTo>
                  <a:cubicBezTo>
                    <a:pt x="3098959" y="1811083"/>
                    <a:pt x="3096196" y="1813846"/>
                    <a:pt x="3092767" y="1813846"/>
                  </a:cubicBezTo>
                  <a:cubicBezTo>
                    <a:pt x="3089338" y="1813846"/>
                    <a:pt x="3086576" y="1811083"/>
                    <a:pt x="3086576" y="1807654"/>
                  </a:cubicBezTo>
                  <a:cubicBezTo>
                    <a:pt x="3086576" y="1804225"/>
                    <a:pt x="3089338" y="1801463"/>
                    <a:pt x="3092767" y="1801463"/>
                  </a:cubicBezTo>
                  <a:close/>
                  <a:moveTo>
                    <a:pt x="224408" y="1799273"/>
                  </a:moveTo>
                  <a:cubicBezTo>
                    <a:pt x="227837" y="1799273"/>
                    <a:pt x="230599" y="1802035"/>
                    <a:pt x="230599" y="1805464"/>
                  </a:cubicBezTo>
                  <a:cubicBezTo>
                    <a:pt x="230599" y="1808893"/>
                    <a:pt x="227837" y="1811656"/>
                    <a:pt x="224408" y="1811656"/>
                  </a:cubicBezTo>
                  <a:cubicBezTo>
                    <a:pt x="220979" y="1811656"/>
                    <a:pt x="218217" y="1808893"/>
                    <a:pt x="218217" y="1805464"/>
                  </a:cubicBezTo>
                  <a:cubicBezTo>
                    <a:pt x="218217" y="1802035"/>
                    <a:pt x="220979" y="1799273"/>
                    <a:pt x="224408" y="1799273"/>
                  </a:cubicBezTo>
                  <a:close/>
                  <a:moveTo>
                    <a:pt x="3124009" y="1796701"/>
                  </a:moveTo>
                  <a:cubicBezTo>
                    <a:pt x="3127438" y="1796701"/>
                    <a:pt x="3130201" y="1799463"/>
                    <a:pt x="3130201" y="1802892"/>
                  </a:cubicBezTo>
                  <a:cubicBezTo>
                    <a:pt x="3130201" y="1806321"/>
                    <a:pt x="3127438" y="1809084"/>
                    <a:pt x="3124009" y="1809084"/>
                  </a:cubicBezTo>
                  <a:cubicBezTo>
                    <a:pt x="3120580" y="1809084"/>
                    <a:pt x="3117818" y="1806321"/>
                    <a:pt x="3117818" y="1802892"/>
                  </a:cubicBezTo>
                  <a:cubicBezTo>
                    <a:pt x="3117818" y="1799463"/>
                    <a:pt x="3120580" y="1796701"/>
                    <a:pt x="3124009" y="1796701"/>
                  </a:cubicBezTo>
                  <a:close/>
                  <a:moveTo>
                    <a:pt x="194881" y="1794605"/>
                  </a:moveTo>
                  <a:cubicBezTo>
                    <a:pt x="198310" y="1794605"/>
                    <a:pt x="201073" y="1797367"/>
                    <a:pt x="201073" y="1800796"/>
                  </a:cubicBezTo>
                  <a:cubicBezTo>
                    <a:pt x="201073" y="1804225"/>
                    <a:pt x="198310" y="1806988"/>
                    <a:pt x="194881" y="1806988"/>
                  </a:cubicBezTo>
                  <a:cubicBezTo>
                    <a:pt x="191452" y="1806988"/>
                    <a:pt x="188690" y="1804225"/>
                    <a:pt x="188690" y="1800796"/>
                  </a:cubicBezTo>
                  <a:cubicBezTo>
                    <a:pt x="188690" y="1797367"/>
                    <a:pt x="191452" y="1794605"/>
                    <a:pt x="194881" y="1794605"/>
                  </a:cubicBezTo>
                  <a:close/>
                  <a:moveTo>
                    <a:pt x="3151631" y="1792129"/>
                  </a:moveTo>
                  <a:cubicBezTo>
                    <a:pt x="3155060" y="1792129"/>
                    <a:pt x="3157822" y="1794891"/>
                    <a:pt x="3157822" y="1798320"/>
                  </a:cubicBezTo>
                  <a:cubicBezTo>
                    <a:pt x="3157822" y="1801749"/>
                    <a:pt x="3155060" y="1804512"/>
                    <a:pt x="3151631" y="1804512"/>
                  </a:cubicBezTo>
                  <a:cubicBezTo>
                    <a:pt x="3148202" y="1804512"/>
                    <a:pt x="3145440" y="1801749"/>
                    <a:pt x="3145440" y="1798320"/>
                  </a:cubicBezTo>
                  <a:cubicBezTo>
                    <a:pt x="3145440" y="1794891"/>
                    <a:pt x="3148202" y="1792129"/>
                    <a:pt x="3151631" y="1792129"/>
                  </a:cubicBezTo>
                  <a:close/>
                  <a:moveTo>
                    <a:pt x="168877" y="1790129"/>
                  </a:moveTo>
                  <a:cubicBezTo>
                    <a:pt x="172306" y="1790129"/>
                    <a:pt x="175068" y="1792891"/>
                    <a:pt x="175068" y="1796320"/>
                  </a:cubicBezTo>
                  <a:cubicBezTo>
                    <a:pt x="175068" y="1799749"/>
                    <a:pt x="172306" y="1802512"/>
                    <a:pt x="168877" y="1802512"/>
                  </a:cubicBezTo>
                  <a:cubicBezTo>
                    <a:pt x="165448" y="1802512"/>
                    <a:pt x="162686" y="1799749"/>
                    <a:pt x="162686" y="1796320"/>
                  </a:cubicBezTo>
                  <a:cubicBezTo>
                    <a:pt x="162686" y="1792891"/>
                    <a:pt x="165448" y="1790129"/>
                    <a:pt x="168877" y="1790129"/>
                  </a:cubicBezTo>
                  <a:close/>
                  <a:moveTo>
                    <a:pt x="3175825" y="1787843"/>
                  </a:moveTo>
                  <a:cubicBezTo>
                    <a:pt x="3179254" y="1787843"/>
                    <a:pt x="3182017" y="1790605"/>
                    <a:pt x="3182017" y="1794034"/>
                  </a:cubicBezTo>
                  <a:cubicBezTo>
                    <a:pt x="3182017" y="1797463"/>
                    <a:pt x="3179254" y="1800226"/>
                    <a:pt x="3175825" y="1800226"/>
                  </a:cubicBezTo>
                  <a:cubicBezTo>
                    <a:pt x="3172396" y="1800226"/>
                    <a:pt x="3169634" y="1797463"/>
                    <a:pt x="3169634" y="1794034"/>
                  </a:cubicBezTo>
                  <a:cubicBezTo>
                    <a:pt x="3169634" y="1790605"/>
                    <a:pt x="3172396" y="1787843"/>
                    <a:pt x="3175825" y="1787843"/>
                  </a:cubicBezTo>
                  <a:close/>
                  <a:moveTo>
                    <a:pt x="146208" y="1785842"/>
                  </a:moveTo>
                  <a:cubicBezTo>
                    <a:pt x="149637" y="1785842"/>
                    <a:pt x="152400" y="1788604"/>
                    <a:pt x="152400" y="1792033"/>
                  </a:cubicBezTo>
                  <a:cubicBezTo>
                    <a:pt x="152400" y="1795462"/>
                    <a:pt x="149637" y="1798225"/>
                    <a:pt x="146208" y="1798225"/>
                  </a:cubicBezTo>
                  <a:cubicBezTo>
                    <a:pt x="142779" y="1798225"/>
                    <a:pt x="140017" y="1795462"/>
                    <a:pt x="140017" y="1792033"/>
                  </a:cubicBezTo>
                  <a:cubicBezTo>
                    <a:pt x="140017" y="1788604"/>
                    <a:pt x="142779" y="1785842"/>
                    <a:pt x="146208" y="1785842"/>
                  </a:cubicBezTo>
                  <a:close/>
                  <a:moveTo>
                    <a:pt x="3196875" y="1783652"/>
                  </a:moveTo>
                  <a:cubicBezTo>
                    <a:pt x="3200304" y="1783652"/>
                    <a:pt x="3203066" y="1786414"/>
                    <a:pt x="3203066" y="1789843"/>
                  </a:cubicBezTo>
                  <a:cubicBezTo>
                    <a:pt x="3203066" y="1793272"/>
                    <a:pt x="3200304" y="1796035"/>
                    <a:pt x="3196875" y="1796035"/>
                  </a:cubicBezTo>
                  <a:cubicBezTo>
                    <a:pt x="3193446" y="1796035"/>
                    <a:pt x="3190684" y="1793272"/>
                    <a:pt x="3190684" y="1789843"/>
                  </a:cubicBezTo>
                  <a:cubicBezTo>
                    <a:pt x="3190684" y="1786414"/>
                    <a:pt x="3193446" y="1783652"/>
                    <a:pt x="3196875" y="1783652"/>
                  </a:cubicBezTo>
                  <a:close/>
                  <a:moveTo>
                    <a:pt x="126396" y="1781747"/>
                  </a:moveTo>
                  <a:cubicBezTo>
                    <a:pt x="129825" y="1781747"/>
                    <a:pt x="132588" y="1784509"/>
                    <a:pt x="132588" y="1787938"/>
                  </a:cubicBezTo>
                  <a:cubicBezTo>
                    <a:pt x="132588" y="1791367"/>
                    <a:pt x="129825" y="1794130"/>
                    <a:pt x="126396" y="1794130"/>
                  </a:cubicBezTo>
                  <a:cubicBezTo>
                    <a:pt x="122967" y="1794130"/>
                    <a:pt x="120205" y="1791367"/>
                    <a:pt x="120205" y="1787938"/>
                  </a:cubicBezTo>
                  <a:cubicBezTo>
                    <a:pt x="120205" y="1784509"/>
                    <a:pt x="122967" y="1781747"/>
                    <a:pt x="126396" y="1781747"/>
                  </a:cubicBezTo>
                  <a:close/>
                  <a:moveTo>
                    <a:pt x="3215258" y="1779651"/>
                  </a:moveTo>
                  <a:cubicBezTo>
                    <a:pt x="3218687" y="1779651"/>
                    <a:pt x="3221449" y="1782413"/>
                    <a:pt x="3221449" y="1785842"/>
                  </a:cubicBezTo>
                  <a:cubicBezTo>
                    <a:pt x="3221449" y="1789271"/>
                    <a:pt x="3218687" y="1792034"/>
                    <a:pt x="3215258" y="1792034"/>
                  </a:cubicBezTo>
                  <a:cubicBezTo>
                    <a:pt x="3211829" y="1792034"/>
                    <a:pt x="3209067" y="1789271"/>
                    <a:pt x="3209067" y="1785842"/>
                  </a:cubicBezTo>
                  <a:cubicBezTo>
                    <a:pt x="3209067" y="1782413"/>
                    <a:pt x="3211829" y="1779651"/>
                    <a:pt x="3215258" y="1779651"/>
                  </a:cubicBezTo>
                  <a:close/>
                  <a:moveTo>
                    <a:pt x="109346" y="1777841"/>
                  </a:moveTo>
                  <a:cubicBezTo>
                    <a:pt x="112775" y="1777841"/>
                    <a:pt x="115538" y="1780603"/>
                    <a:pt x="115538" y="1784032"/>
                  </a:cubicBezTo>
                  <a:cubicBezTo>
                    <a:pt x="115538" y="1787461"/>
                    <a:pt x="112775" y="1790224"/>
                    <a:pt x="109346" y="1790224"/>
                  </a:cubicBezTo>
                  <a:cubicBezTo>
                    <a:pt x="105917" y="1790224"/>
                    <a:pt x="103155" y="1787461"/>
                    <a:pt x="103155" y="1784032"/>
                  </a:cubicBezTo>
                  <a:cubicBezTo>
                    <a:pt x="103155" y="1780603"/>
                    <a:pt x="105917" y="1777841"/>
                    <a:pt x="109346" y="1777841"/>
                  </a:cubicBezTo>
                  <a:close/>
                  <a:moveTo>
                    <a:pt x="3231070" y="1775841"/>
                  </a:moveTo>
                  <a:cubicBezTo>
                    <a:pt x="3234499" y="1775841"/>
                    <a:pt x="3237261" y="1778603"/>
                    <a:pt x="3237261" y="1782032"/>
                  </a:cubicBezTo>
                  <a:cubicBezTo>
                    <a:pt x="3237261" y="1785461"/>
                    <a:pt x="3234499" y="1788224"/>
                    <a:pt x="3231070" y="1788224"/>
                  </a:cubicBezTo>
                  <a:cubicBezTo>
                    <a:pt x="3227641" y="1788224"/>
                    <a:pt x="3224879" y="1785461"/>
                    <a:pt x="3224879" y="1782032"/>
                  </a:cubicBezTo>
                  <a:cubicBezTo>
                    <a:pt x="3224879" y="1778603"/>
                    <a:pt x="3227641" y="1775841"/>
                    <a:pt x="3231070" y="1775841"/>
                  </a:cubicBezTo>
                  <a:close/>
                  <a:moveTo>
                    <a:pt x="94582" y="1774127"/>
                  </a:moveTo>
                  <a:cubicBezTo>
                    <a:pt x="98011" y="1774127"/>
                    <a:pt x="100774" y="1776889"/>
                    <a:pt x="100774" y="1780318"/>
                  </a:cubicBezTo>
                  <a:cubicBezTo>
                    <a:pt x="100774" y="1783747"/>
                    <a:pt x="98011" y="1786510"/>
                    <a:pt x="94582" y="1786510"/>
                  </a:cubicBezTo>
                  <a:cubicBezTo>
                    <a:pt x="91153" y="1786510"/>
                    <a:pt x="88391" y="1783747"/>
                    <a:pt x="88391" y="1780318"/>
                  </a:cubicBezTo>
                  <a:cubicBezTo>
                    <a:pt x="88391" y="1776889"/>
                    <a:pt x="91153" y="1774127"/>
                    <a:pt x="94582" y="1774127"/>
                  </a:cubicBezTo>
                  <a:close/>
                  <a:moveTo>
                    <a:pt x="7620" y="1773936"/>
                  </a:moveTo>
                  <a:lnTo>
                    <a:pt x="10239" y="1776555"/>
                  </a:lnTo>
                  <a:lnTo>
                    <a:pt x="11810" y="1774984"/>
                  </a:lnTo>
                  <a:lnTo>
                    <a:pt x="14954" y="1778128"/>
                  </a:lnTo>
                  <a:lnTo>
                    <a:pt x="15525" y="1777556"/>
                  </a:lnTo>
                  <a:lnTo>
                    <a:pt x="18478" y="1780509"/>
                  </a:lnTo>
                  <a:lnTo>
                    <a:pt x="18764" y="1780223"/>
                  </a:lnTo>
                  <a:lnTo>
                    <a:pt x="21716" y="1783175"/>
                  </a:lnTo>
                  <a:lnTo>
                    <a:pt x="21811" y="1783080"/>
                  </a:lnTo>
                  <a:cubicBezTo>
                    <a:pt x="25240" y="1783080"/>
                    <a:pt x="28003" y="1785842"/>
                    <a:pt x="28003" y="1789271"/>
                  </a:cubicBezTo>
                  <a:lnTo>
                    <a:pt x="27908" y="1789366"/>
                  </a:lnTo>
                  <a:lnTo>
                    <a:pt x="30766" y="1792224"/>
                  </a:lnTo>
                  <a:lnTo>
                    <a:pt x="30528" y="1792462"/>
                  </a:lnTo>
                  <a:lnTo>
                    <a:pt x="33528" y="1795462"/>
                  </a:lnTo>
                  <a:lnTo>
                    <a:pt x="33242" y="1795748"/>
                  </a:lnTo>
                  <a:lnTo>
                    <a:pt x="36290" y="1798796"/>
                  </a:lnTo>
                  <a:lnTo>
                    <a:pt x="35909" y="1799178"/>
                  </a:lnTo>
                  <a:lnTo>
                    <a:pt x="39148" y="1802416"/>
                  </a:lnTo>
                  <a:lnTo>
                    <a:pt x="38909" y="1802655"/>
                  </a:lnTo>
                  <a:lnTo>
                    <a:pt x="42385" y="1806131"/>
                  </a:lnTo>
                  <a:lnTo>
                    <a:pt x="42242" y="1806274"/>
                  </a:lnTo>
                  <a:lnTo>
                    <a:pt x="44148" y="1808178"/>
                  </a:lnTo>
                  <a:lnTo>
                    <a:pt x="44195" y="1808131"/>
                  </a:lnTo>
                  <a:lnTo>
                    <a:pt x="48910" y="1812846"/>
                  </a:lnTo>
                  <a:lnTo>
                    <a:pt x="49148" y="1812608"/>
                  </a:lnTo>
                  <a:lnTo>
                    <a:pt x="54482" y="1817942"/>
                  </a:lnTo>
                  <a:lnTo>
                    <a:pt x="55149" y="1817275"/>
                  </a:lnTo>
                  <a:lnTo>
                    <a:pt x="61150" y="1823276"/>
                  </a:lnTo>
                  <a:lnTo>
                    <a:pt x="62293" y="1822133"/>
                  </a:lnTo>
                  <a:cubicBezTo>
                    <a:pt x="65722" y="1822133"/>
                    <a:pt x="68485" y="1824895"/>
                    <a:pt x="68485" y="1828324"/>
                  </a:cubicBezTo>
                  <a:cubicBezTo>
                    <a:pt x="68485" y="1831753"/>
                    <a:pt x="65722" y="1834516"/>
                    <a:pt x="62293" y="1834516"/>
                  </a:cubicBezTo>
                  <a:lnTo>
                    <a:pt x="56292" y="1828515"/>
                  </a:lnTo>
                  <a:lnTo>
                    <a:pt x="55149" y="1829658"/>
                  </a:lnTo>
                  <a:lnTo>
                    <a:pt x="49815" y="1824324"/>
                  </a:lnTo>
                  <a:lnTo>
                    <a:pt x="49148" y="1824991"/>
                  </a:lnTo>
                  <a:lnTo>
                    <a:pt x="44433" y="1820275"/>
                  </a:lnTo>
                  <a:lnTo>
                    <a:pt x="44195" y="1820513"/>
                  </a:lnTo>
                  <a:lnTo>
                    <a:pt x="39956" y="1816275"/>
                  </a:lnTo>
                  <a:lnTo>
                    <a:pt x="39909" y="1816322"/>
                  </a:lnTo>
                  <a:cubicBezTo>
                    <a:pt x="36480" y="1816322"/>
                    <a:pt x="33718" y="1813560"/>
                    <a:pt x="33718" y="1810131"/>
                  </a:cubicBezTo>
                  <a:lnTo>
                    <a:pt x="33860" y="1809989"/>
                  </a:lnTo>
                  <a:lnTo>
                    <a:pt x="30003" y="1806131"/>
                  </a:lnTo>
                  <a:lnTo>
                    <a:pt x="30241" y="1805893"/>
                  </a:lnTo>
                  <a:lnTo>
                    <a:pt x="26765" y="1802416"/>
                  </a:lnTo>
                  <a:lnTo>
                    <a:pt x="27146" y="1802036"/>
                  </a:lnTo>
                  <a:lnTo>
                    <a:pt x="23907" y="1798796"/>
                  </a:lnTo>
                  <a:lnTo>
                    <a:pt x="24193" y="1798510"/>
                  </a:lnTo>
                  <a:lnTo>
                    <a:pt x="21145" y="1795462"/>
                  </a:lnTo>
                  <a:lnTo>
                    <a:pt x="21383" y="1795224"/>
                  </a:lnTo>
                  <a:lnTo>
                    <a:pt x="18764" y="1792606"/>
                  </a:lnTo>
                  <a:lnTo>
                    <a:pt x="18764" y="1792606"/>
                  </a:lnTo>
                  <a:lnTo>
                    <a:pt x="15811" y="1789653"/>
                  </a:lnTo>
                  <a:lnTo>
                    <a:pt x="15525" y="1789939"/>
                  </a:lnTo>
                  <a:lnTo>
                    <a:pt x="12382" y="1786795"/>
                  </a:lnTo>
                  <a:lnTo>
                    <a:pt x="11810" y="1787367"/>
                  </a:lnTo>
                  <a:lnTo>
                    <a:pt x="7858" y="1783414"/>
                  </a:lnTo>
                  <a:lnTo>
                    <a:pt x="7620" y="1783652"/>
                  </a:lnTo>
                  <a:cubicBezTo>
                    <a:pt x="4953" y="1783652"/>
                    <a:pt x="2762" y="1781461"/>
                    <a:pt x="2762" y="1778794"/>
                  </a:cubicBezTo>
                  <a:cubicBezTo>
                    <a:pt x="2762" y="1776127"/>
                    <a:pt x="4953" y="1773936"/>
                    <a:pt x="7620" y="1773936"/>
                  </a:cubicBezTo>
                  <a:close/>
                  <a:moveTo>
                    <a:pt x="3244595" y="1772222"/>
                  </a:moveTo>
                  <a:cubicBezTo>
                    <a:pt x="3248024" y="1772222"/>
                    <a:pt x="3250787" y="1774984"/>
                    <a:pt x="3250787" y="1778413"/>
                  </a:cubicBezTo>
                  <a:cubicBezTo>
                    <a:pt x="3250787" y="1781842"/>
                    <a:pt x="3248024" y="1784605"/>
                    <a:pt x="3244595" y="1784605"/>
                  </a:cubicBezTo>
                  <a:cubicBezTo>
                    <a:pt x="3241166" y="1784605"/>
                    <a:pt x="3238404" y="1781842"/>
                    <a:pt x="3238404" y="1778413"/>
                  </a:cubicBezTo>
                  <a:cubicBezTo>
                    <a:pt x="3238404" y="1774984"/>
                    <a:pt x="3241166" y="1772222"/>
                    <a:pt x="3244595" y="1772222"/>
                  </a:cubicBezTo>
                  <a:close/>
                  <a:moveTo>
                    <a:pt x="82010" y="1770603"/>
                  </a:moveTo>
                  <a:cubicBezTo>
                    <a:pt x="85439" y="1770603"/>
                    <a:pt x="88202" y="1773365"/>
                    <a:pt x="88202" y="1776794"/>
                  </a:cubicBezTo>
                  <a:cubicBezTo>
                    <a:pt x="88202" y="1780223"/>
                    <a:pt x="85439" y="1782985"/>
                    <a:pt x="82010" y="1782985"/>
                  </a:cubicBezTo>
                  <a:cubicBezTo>
                    <a:pt x="78581" y="1782985"/>
                    <a:pt x="75819" y="1780223"/>
                    <a:pt x="75819" y="1776794"/>
                  </a:cubicBezTo>
                  <a:cubicBezTo>
                    <a:pt x="75819" y="1773365"/>
                    <a:pt x="78581" y="1770603"/>
                    <a:pt x="82010" y="1770603"/>
                  </a:cubicBezTo>
                  <a:close/>
                  <a:moveTo>
                    <a:pt x="3256121" y="1768697"/>
                  </a:moveTo>
                  <a:cubicBezTo>
                    <a:pt x="3259550" y="1768697"/>
                    <a:pt x="3262312" y="1771459"/>
                    <a:pt x="3262312" y="1774888"/>
                  </a:cubicBezTo>
                  <a:cubicBezTo>
                    <a:pt x="3262312" y="1778317"/>
                    <a:pt x="3259550" y="1781080"/>
                    <a:pt x="3256121" y="1781080"/>
                  </a:cubicBezTo>
                  <a:cubicBezTo>
                    <a:pt x="3252692" y="1781080"/>
                    <a:pt x="3249930" y="1778317"/>
                    <a:pt x="3249930" y="1774888"/>
                  </a:cubicBezTo>
                  <a:cubicBezTo>
                    <a:pt x="3249930" y="1771459"/>
                    <a:pt x="3252692" y="1768697"/>
                    <a:pt x="3256121" y="1768697"/>
                  </a:cubicBezTo>
                  <a:close/>
                  <a:moveTo>
                    <a:pt x="3351276" y="1764983"/>
                  </a:moveTo>
                  <a:cubicBezTo>
                    <a:pt x="3353959" y="1764983"/>
                    <a:pt x="3356134" y="1767158"/>
                    <a:pt x="3356134" y="1769841"/>
                  </a:cubicBezTo>
                  <a:cubicBezTo>
                    <a:pt x="3356134" y="1772524"/>
                    <a:pt x="3353959" y="1774698"/>
                    <a:pt x="3351276" y="1774698"/>
                  </a:cubicBezTo>
                  <a:lnTo>
                    <a:pt x="3349275" y="1772698"/>
                  </a:lnTo>
                  <a:lnTo>
                    <a:pt x="3344132" y="1777842"/>
                  </a:lnTo>
                  <a:lnTo>
                    <a:pt x="3341846" y="1775556"/>
                  </a:lnTo>
                  <a:lnTo>
                    <a:pt x="3337750" y="1779652"/>
                  </a:lnTo>
                  <a:lnTo>
                    <a:pt x="3335892" y="1777794"/>
                  </a:lnTo>
                  <a:lnTo>
                    <a:pt x="3332035" y="1781651"/>
                  </a:lnTo>
                  <a:lnTo>
                    <a:pt x="3330607" y="1780223"/>
                  </a:lnTo>
                  <a:lnTo>
                    <a:pt x="3326987" y="1783843"/>
                  </a:lnTo>
                  <a:lnTo>
                    <a:pt x="3325891" y="1782747"/>
                  </a:lnTo>
                  <a:lnTo>
                    <a:pt x="3322510" y="1786128"/>
                  </a:lnTo>
                  <a:lnTo>
                    <a:pt x="3321748" y="1785366"/>
                  </a:lnTo>
                  <a:lnTo>
                    <a:pt x="3318605" y="1788509"/>
                  </a:lnTo>
                  <a:lnTo>
                    <a:pt x="3318176" y="1788080"/>
                  </a:lnTo>
                  <a:lnTo>
                    <a:pt x="3315080" y="1791176"/>
                  </a:lnTo>
                  <a:lnTo>
                    <a:pt x="3314890" y="1790986"/>
                  </a:lnTo>
                  <a:lnTo>
                    <a:pt x="3312318" y="1793558"/>
                  </a:lnTo>
                  <a:lnTo>
                    <a:pt x="3312508" y="1793748"/>
                  </a:lnTo>
                  <a:lnTo>
                    <a:pt x="3309508" y="1796749"/>
                  </a:lnTo>
                  <a:lnTo>
                    <a:pt x="3309747" y="1796987"/>
                  </a:lnTo>
                  <a:lnTo>
                    <a:pt x="3306651" y="1800083"/>
                  </a:lnTo>
                  <a:lnTo>
                    <a:pt x="3306984" y="1800416"/>
                  </a:lnTo>
                  <a:lnTo>
                    <a:pt x="3303603" y="1803798"/>
                  </a:lnTo>
                  <a:lnTo>
                    <a:pt x="3303936" y="1804130"/>
                  </a:lnTo>
                  <a:lnTo>
                    <a:pt x="3300269" y="1807798"/>
                  </a:lnTo>
                  <a:lnTo>
                    <a:pt x="3300508" y="1808036"/>
                  </a:lnTo>
                  <a:lnTo>
                    <a:pt x="3296555" y="1811989"/>
                  </a:lnTo>
                  <a:lnTo>
                    <a:pt x="3296602" y="1812036"/>
                  </a:lnTo>
                  <a:cubicBezTo>
                    <a:pt x="3296602" y="1815465"/>
                    <a:pt x="3293839" y="1818228"/>
                    <a:pt x="3290410" y="1818228"/>
                  </a:cubicBezTo>
                  <a:lnTo>
                    <a:pt x="3290267" y="1818085"/>
                  </a:lnTo>
                  <a:lnTo>
                    <a:pt x="3285743" y="1822609"/>
                  </a:lnTo>
                  <a:lnTo>
                    <a:pt x="3285267" y="1822133"/>
                  </a:lnTo>
                  <a:lnTo>
                    <a:pt x="3280314" y="1827086"/>
                  </a:lnTo>
                  <a:lnTo>
                    <a:pt x="3279457" y="1826229"/>
                  </a:lnTo>
                  <a:lnTo>
                    <a:pt x="3273837" y="1831849"/>
                  </a:lnTo>
                  <a:cubicBezTo>
                    <a:pt x="3270408" y="1831849"/>
                    <a:pt x="3267646" y="1829086"/>
                    <a:pt x="3267646" y="1825657"/>
                  </a:cubicBezTo>
                  <a:cubicBezTo>
                    <a:pt x="3267646" y="1822228"/>
                    <a:pt x="3270408" y="1819466"/>
                    <a:pt x="3273837" y="1819466"/>
                  </a:cubicBezTo>
                  <a:lnTo>
                    <a:pt x="3274694" y="1820323"/>
                  </a:lnTo>
                  <a:lnTo>
                    <a:pt x="3280314" y="1814703"/>
                  </a:lnTo>
                  <a:lnTo>
                    <a:pt x="3280790" y="1815179"/>
                  </a:lnTo>
                  <a:lnTo>
                    <a:pt x="3285743" y="1810226"/>
                  </a:lnTo>
                  <a:lnTo>
                    <a:pt x="3285886" y="1810369"/>
                  </a:lnTo>
                  <a:lnTo>
                    <a:pt x="3288172" y="1808083"/>
                  </a:lnTo>
                  <a:lnTo>
                    <a:pt x="3288125" y="1808036"/>
                  </a:lnTo>
                  <a:lnTo>
                    <a:pt x="3291792" y="1804369"/>
                  </a:lnTo>
                  <a:lnTo>
                    <a:pt x="3291554" y="1804130"/>
                  </a:lnTo>
                  <a:lnTo>
                    <a:pt x="3294935" y="1800749"/>
                  </a:lnTo>
                  <a:lnTo>
                    <a:pt x="3294602" y="1800416"/>
                  </a:lnTo>
                  <a:lnTo>
                    <a:pt x="3297697" y="1797321"/>
                  </a:lnTo>
                  <a:lnTo>
                    <a:pt x="3297364" y="1796987"/>
                  </a:lnTo>
                  <a:lnTo>
                    <a:pt x="3300364" y="1793987"/>
                  </a:lnTo>
                  <a:lnTo>
                    <a:pt x="3300126" y="1793748"/>
                  </a:lnTo>
                  <a:lnTo>
                    <a:pt x="3303079" y="1790795"/>
                  </a:lnTo>
                  <a:lnTo>
                    <a:pt x="3302889" y="1790605"/>
                  </a:lnTo>
                  <a:lnTo>
                    <a:pt x="3305794" y="1787700"/>
                  </a:lnTo>
                  <a:lnTo>
                    <a:pt x="3305746" y="1787652"/>
                  </a:lnTo>
                  <a:cubicBezTo>
                    <a:pt x="3305746" y="1784223"/>
                    <a:pt x="3308508" y="1781461"/>
                    <a:pt x="3311937" y="1781461"/>
                  </a:cubicBezTo>
                  <a:lnTo>
                    <a:pt x="3312175" y="1781699"/>
                  </a:lnTo>
                  <a:lnTo>
                    <a:pt x="3315080" y="1778794"/>
                  </a:lnTo>
                  <a:lnTo>
                    <a:pt x="3315509" y="1779223"/>
                  </a:lnTo>
                  <a:lnTo>
                    <a:pt x="3318605" y="1776127"/>
                  </a:lnTo>
                  <a:lnTo>
                    <a:pt x="3319367" y="1776889"/>
                  </a:lnTo>
                  <a:lnTo>
                    <a:pt x="3322510" y="1773746"/>
                  </a:lnTo>
                  <a:lnTo>
                    <a:pt x="3323606" y="1774842"/>
                  </a:lnTo>
                  <a:lnTo>
                    <a:pt x="3326987" y="1771460"/>
                  </a:lnTo>
                  <a:lnTo>
                    <a:pt x="3328416" y="1772889"/>
                  </a:lnTo>
                  <a:lnTo>
                    <a:pt x="3332035" y="1769269"/>
                  </a:lnTo>
                  <a:lnTo>
                    <a:pt x="3333892" y="1771127"/>
                  </a:lnTo>
                  <a:lnTo>
                    <a:pt x="3337750" y="1767269"/>
                  </a:lnTo>
                  <a:lnTo>
                    <a:pt x="3340036" y="1769555"/>
                  </a:lnTo>
                  <a:lnTo>
                    <a:pt x="3344132" y="1765459"/>
                  </a:lnTo>
                  <a:lnTo>
                    <a:pt x="3347466" y="1768793"/>
                  </a:lnTo>
                  <a:close/>
                  <a:moveTo>
                    <a:pt x="1707736" y="1756410"/>
                  </a:moveTo>
                  <a:cubicBezTo>
                    <a:pt x="1711165" y="1756410"/>
                    <a:pt x="1713928" y="1759172"/>
                    <a:pt x="1713928" y="1762601"/>
                  </a:cubicBezTo>
                  <a:cubicBezTo>
                    <a:pt x="1713928" y="1766030"/>
                    <a:pt x="1711165" y="1768793"/>
                    <a:pt x="1707736" y="1768793"/>
                  </a:cubicBezTo>
                  <a:cubicBezTo>
                    <a:pt x="1704307" y="1768793"/>
                    <a:pt x="1701545" y="1766030"/>
                    <a:pt x="1701545" y="1762601"/>
                  </a:cubicBezTo>
                  <a:cubicBezTo>
                    <a:pt x="1701545" y="1759172"/>
                    <a:pt x="1704307" y="1756410"/>
                    <a:pt x="1707736" y="1756410"/>
                  </a:cubicBezTo>
                  <a:close/>
                  <a:moveTo>
                    <a:pt x="1553336" y="1755458"/>
                  </a:moveTo>
                  <a:cubicBezTo>
                    <a:pt x="1556765" y="1755458"/>
                    <a:pt x="1559528" y="1758220"/>
                    <a:pt x="1559528" y="1761649"/>
                  </a:cubicBezTo>
                  <a:cubicBezTo>
                    <a:pt x="1559528" y="1765078"/>
                    <a:pt x="1556765" y="1767841"/>
                    <a:pt x="1553336" y="1767841"/>
                  </a:cubicBezTo>
                  <a:cubicBezTo>
                    <a:pt x="1549907" y="1767841"/>
                    <a:pt x="1547145" y="1765078"/>
                    <a:pt x="1547145" y="1761649"/>
                  </a:cubicBezTo>
                  <a:cubicBezTo>
                    <a:pt x="1547145" y="1758220"/>
                    <a:pt x="1549907" y="1755458"/>
                    <a:pt x="1553336" y="1755458"/>
                  </a:cubicBezTo>
                  <a:close/>
                  <a:moveTo>
                    <a:pt x="1857946" y="1753934"/>
                  </a:moveTo>
                  <a:cubicBezTo>
                    <a:pt x="1861375" y="1753934"/>
                    <a:pt x="1864138" y="1756696"/>
                    <a:pt x="1864138" y="1760125"/>
                  </a:cubicBezTo>
                  <a:cubicBezTo>
                    <a:pt x="1864138" y="1763554"/>
                    <a:pt x="1861375" y="1766316"/>
                    <a:pt x="1857946" y="1766316"/>
                  </a:cubicBezTo>
                  <a:cubicBezTo>
                    <a:pt x="1854517" y="1766316"/>
                    <a:pt x="1851755" y="1763554"/>
                    <a:pt x="1851755" y="1760125"/>
                  </a:cubicBezTo>
                  <a:cubicBezTo>
                    <a:pt x="1851755" y="1756696"/>
                    <a:pt x="1854517" y="1753934"/>
                    <a:pt x="1857946" y="1753934"/>
                  </a:cubicBezTo>
                  <a:close/>
                  <a:moveTo>
                    <a:pt x="1408080" y="1752600"/>
                  </a:moveTo>
                  <a:cubicBezTo>
                    <a:pt x="1411509" y="1752600"/>
                    <a:pt x="1414272" y="1755362"/>
                    <a:pt x="1414272" y="1758791"/>
                  </a:cubicBezTo>
                  <a:cubicBezTo>
                    <a:pt x="1414272" y="1762220"/>
                    <a:pt x="1411509" y="1764982"/>
                    <a:pt x="1408080" y="1764982"/>
                  </a:cubicBezTo>
                  <a:cubicBezTo>
                    <a:pt x="1404651" y="1764982"/>
                    <a:pt x="1401889" y="1762220"/>
                    <a:pt x="1401889" y="1758791"/>
                  </a:cubicBezTo>
                  <a:cubicBezTo>
                    <a:pt x="1401889" y="1755362"/>
                    <a:pt x="1404651" y="1752600"/>
                    <a:pt x="1408080" y="1752600"/>
                  </a:cubicBezTo>
                  <a:close/>
                  <a:moveTo>
                    <a:pt x="1997392" y="1750981"/>
                  </a:moveTo>
                  <a:cubicBezTo>
                    <a:pt x="2000821" y="1750981"/>
                    <a:pt x="2003584" y="1753743"/>
                    <a:pt x="2003584" y="1757172"/>
                  </a:cubicBezTo>
                  <a:cubicBezTo>
                    <a:pt x="2003584" y="1760601"/>
                    <a:pt x="2000821" y="1763363"/>
                    <a:pt x="1997392" y="1763363"/>
                  </a:cubicBezTo>
                  <a:cubicBezTo>
                    <a:pt x="1993963" y="1763363"/>
                    <a:pt x="1991201" y="1760601"/>
                    <a:pt x="1991201" y="1757172"/>
                  </a:cubicBezTo>
                  <a:cubicBezTo>
                    <a:pt x="1991201" y="1753743"/>
                    <a:pt x="1993963" y="1750981"/>
                    <a:pt x="1997392" y="1750981"/>
                  </a:cubicBezTo>
                  <a:close/>
                  <a:moveTo>
                    <a:pt x="1273587" y="1749552"/>
                  </a:moveTo>
                  <a:cubicBezTo>
                    <a:pt x="1277016" y="1749552"/>
                    <a:pt x="1279779" y="1752314"/>
                    <a:pt x="1279779" y="1755743"/>
                  </a:cubicBezTo>
                  <a:cubicBezTo>
                    <a:pt x="1279779" y="1759172"/>
                    <a:pt x="1277016" y="1761935"/>
                    <a:pt x="1273587" y="1761935"/>
                  </a:cubicBezTo>
                  <a:cubicBezTo>
                    <a:pt x="1270158" y="1761935"/>
                    <a:pt x="1267396" y="1759172"/>
                    <a:pt x="1267396" y="1755743"/>
                  </a:cubicBezTo>
                  <a:cubicBezTo>
                    <a:pt x="1267396" y="1752314"/>
                    <a:pt x="1270158" y="1749552"/>
                    <a:pt x="1273587" y="1749552"/>
                  </a:cubicBezTo>
                  <a:close/>
                  <a:moveTo>
                    <a:pt x="2126360" y="1747933"/>
                  </a:moveTo>
                  <a:cubicBezTo>
                    <a:pt x="2129780" y="1747933"/>
                    <a:pt x="2132551" y="1750705"/>
                    <a:pt x="2132551" y="1754124"/>
                  </a:cubicBezTo>
                  <a:cubicBezTo>
                    <a:pt x="2132551" y="1757543"/>
                    <a:pt x="2129780" y="1760315"/>
                    <a:pt x="2126360" y="1760315"/>
                  </a:cubicBezTo>
                  <a:cubicBezTo>
                    <a:pt x="2122941" y="1760315"/>
                    <a:pt x="2120169" y="1757543"/>
                    <a:pt x="2120169" y="1754124"/>
                  </a:cubicBezTo>
                  <a:cubicBezTo>
                    <a:pt x="2120169" y="1750705"/>
                    <a:pt x="2122941" y="1747933"/>
                    <a:pt x="2126360" y="1747933"/>
                  </a:cubicBezTo>
                  <a:close/>
                  <a:moveTo>
                    <a:pt x="1149381" y="1746600"/>
                  </a:moveTo>
                  <a:cubicBezTo>
                    <a:pt x="1152810" y="1746600"/>
                    <a:pt x="1155573" y="1749362"/>
                    <a:pt x="1155573" y="1752791"/>
                  </a:cubicBezTo>
                  <a:cubicBezTo>
                    <a:pt x="1155573" y="1756220"/>
                    <a:pt x="1152810" y="1758983"/>
                    <a:pt x="1149381" y="1758983"/>
                  </a:cubicBezTo>
                  <a:cubicBezTo>
                    <a:pt x="1145952" y="1758983"/>
                    <a:pt x="1143190" y="1756220"/>
                    <a:pt x="1143190" y="1752791"/>
                  </a:cubicBezTo>
                  <a:cubicBezTo>
                    <a:pt x="1143190" y="1749362"/>
                    <a:pt x="1145952" y="1746600"/>
                    <a:pt x="1149381" y="1746600"/>
                  </a:cubicBezTo>
                  <a:close/>
                  <a:moveTo>
                    <a:pt x="2245328" y="1745075"/>
                  </a:moveTo>
                  <a:cubicBezTo>
                    <a:pt x="2248757" y="1745075"/>
                    <a:pt x="2251520" y="1747837"/>
                    <a:pt x="2251520" y="1751266"/>
                  </a:cubicBezTo>
                  <a:cubicBezTo>
                    <a:pt x="2251520" y="1754695"/>
                    <a:pt x="2248757" y="1757458"/>
                    <a:pt x="2245328" y="1757458"/>
                  </a:cubicBezTo>
                  <a:cubicBezTo>
                    <a:pt x="2241899" y="1757458"/>
                    <a:pt x="2239137" y="1754695"/>
                    <a:pt x="2239137" y="1751266"/>
                  </a:cubicBezTo>
                  <a:cubicBezTo>
                    <a:pt x="2239137" y="1747837"/>
                    <a:pt x="2241899" y="1745075"/>
                    <a:pt x="2245328" y="1745075"/>
                  </a:cubicBezTo>
                  <a:close/>
                  <a:moveTo>
                    <a:pt x="1034795" y="1743742"/>
                  </a:moveTo>
                  <a:cubicBezTo>
                    <a:pt x="1038224" y="1743742"/>
                    <a:pt x="1040987" y="1746504"/>
                    <a:pt x="1040987" y="1749933"/>
                  </a:cubicBezTo>
                  <a:cubicBezTo>
                    <a:pt x="1040987" y="1753362"/>
                    <a:pt x="1038224" y="1756125"/>
                    <a:pt x="1034795" y="1756125"/>
                  </a:cubicBezTo>
                  <a:cubicBezTo>
                    <a:pt x="1031366" y="1756125"/>
                    <a:pt x="1028604" y="1753362"/>
                    <a:pt x="1028604" y="1749933"/>
                  </a:cubicBezTo>
                  <a:cubicBezTo>
                    <a:pt x="1028604" y="1746504"/>
                    <a:pt x="1031366" y="1743742"/>
                    <a:pt x="1034795" y="1743742"/>
                  </a:cubicBezTo>
                  <a:close/>
                  <a:moveTo>
                    <a:pt x="2354960" y="1742313"/>
                  </a:moveTo>
                  <a:cubicBezTo>
                    <a:pt x="2358389" y="1742313"/>
                    <a:pt x="2361152" y="1745075"/>
                    <a:pt x="2361152" y="1748504"/>
                  </a:cubicBezTo>
                  <a:cubicBezTo>
                    <a:pt x="2361152" y="1751933"/>
                    <a:pt x="2358389" y="1754696"/>
                    <a:pt x="2354960" y="1754696"/>
                  </a:cubicBezTo>
                  <a:cubicBezTo>
                    <a:pt x="2351531" y="1754696"/>
                    <a:pt x="2348769" y="1751933"/>
                    <a:pt x="2348769" y="1748504"/>
                  </a:cubicBezTo>
                  <a:cubicBezTo>
                    <a:pt x="2348769" y="1745075"/>
                    <a:pt x="2351531" y="1742313"/>
                    <a:pt x="2354960" y="1742313"/>
                  </a:cubicBezTo>
                  <a:close/>
                  <a:moveTo>
                    <a:pt x="929353" y="1740980"/>
                  </a:moveTo>
                  <a:cubicBezTo>
                    <a:pt x="932782" y="1740980"/>
                    <a:pt x="935545" y="1743742"/>
                    <a:pt x="935545" y="1747171"/>
                  </a:cubicBezTo>
                  <a:cubicBezTo>
                    <a:pt x="935545" y="1750600"/>
                    <a:pt x="932782" y="1753363"/>
                    <a:pt x="929353" y="1753363"/>
                  </a:cubicBezTo>
                  <a:cubicBezTo>
                    <a:pt x="925924" y="1753363"/>
                    <a:pt x="923162" y="1750600"/>
                    <a:pt x="923162" y="1747171"/>
                  </a:cubicBezTo>
                  <a:cubicBezTo>
                    <a:pt x="923162" y="1743742"/>
                    <a:pt x="925924" y="1740980"/>
                    <a:pt x="929353" y="1740980"/>
                  </a:cubicBezTo>
                  <a:close/>
                  <a:moveTo>
                    <a:pt x="2455735" y="1739551"/>
                  </a:moveTo>
                  <a:cubicBezTo>
                    <a:pt x="2459164" y="1739551"/>
                    <a:pt x="2461926" y="1742313"/>
                    <a:pt x="2461926" y="1745742"/>
                  </a:cubicBezTo>
                  <a:cubicBezTo>
                    <a:pt x="2461926" y="1749171"/>
                    <a:pt x="2459164" y="1751934"/>
                    <a:pt x="2455735" y="1751934"/>
                  </a:cubicBezTo>
                  <a:cubicBezTo>
                    <a:pt x="2452306" y="1751934"/>
                    <a:pt x="2449544" y="1749171"/>
                    <a:pt x="2449544" y="1745742"/>
                  </a:cubicBezTo>
                  <a:cubicBezTo>
                    <a:pt x="2449544" y="1742313"/>
                    <a:pt x="2452306" y="1739551"/>
                    <a:pt x="2455735" y="1739551"/>
                  </a:cubicBezTo>
                  <a:close/>
                  <a:moveTo>
                    <a:pt x="832484" y="1738313"/>
                  </a:moveTo>
                  <a:cubicBezTo>
                    <a:pt x="835913" y="1738313"/>
                    <a:pt x="838676" y="1741075"/>
                    <a:pt x="838676" y="1744504"/>
                  </a:cubicBezTo>
                  <a:cubicBezTo>
                    <a:pt x="838676" y="1747933"/>
                    <a:pt x="835913" y="1750695"/>
                    <a:pt x="832484" y="1750695"/>
                  </a:cubicBezTo>
                  <a:cubicBezTo>
                    <a:pt x="829055" y="1750695"/>
                    <a:pt x="826293" y="1747933"/>
                    <a:pt x="826293" y="1744504"/>
                  </a:cubicBezTo>
                  <a:cubicBezTo>
                    <a:pt x="826293" y="1741075"/>
                    <a:pt x="829055" y="1738313"/>
                    <a:pt x="832484" y="1738313"/>
                  </a:cubicBezTo>
                  <a:close/>
                  <a:moveTo>
                    <a:pt x="2548127" y="1736979"/>
                  </a:moveTo>
                  <a:cubicBezTo>
                    <a:pt x="2551556" y="1736979"/>
                    <a:pt x="2554319" y="1739741"/>
                    <a:pt x="2554319" y="1743170"/>
                  </a:cubicBezTo>
                  <a:cubicBezTo>
                    <a:pt x="2554319" y="1746599"/>
                    <a:pt x="2551556" y="1749361"/>
                    <a:pt x="2548127" y="1749361"/>
                  </a:cubicBezTo>
                  <a:cubicBezTo>
                    <a:pt x="2544698" y="1749361"/>
                    <a:pt x="2541936" y="1746599"/>
                    <a:pt x="2541936" y="1743170"/>
                  </a:cubicBezTo>
                  <a:cubicBezTo>
                    <a:pt x="2541936" y="1739741"/>
                    <a:pt x="2544698" y="1736979"/>
                    <a:pt x="2548127" y="1736979"/>
                  </a:cubicBezTo>
                  <a:close/>
                  <a:moveTo>
                    <a:pt x="743807" y="1735741"/>
                  </a:moveTo>
                  <a:cubicBezTo>
                    <a:pt x="747236" y="1735741"/>
                    <a:pt x="749998" y="1738503"/>
                    <a:pt x="749998" y="1741932"/>
                  </a:cubicBezTo>
                  <a:cubicBezTo>
                    <a:pt x="749998" y="1745361"/>
                    <a:pt x="747236" y="1748124"/>
                    <a:pt x="743807" y="1748124"/>
                  </a:cubicBezTo>
                  <a:cubicBezTo>
                    <a:pt x="740378" y="1748124"/>
                    <a:pt x="737616" y="1745361"/>
                    <a:pt x="737616" y="1741932"/>
                  </a:cubicBezTo>
                  <a:cubicBezTo>
                    <a:pt x="737616" y="1738503"/>
                    <a:pt x="740378" y="1735741"/>
                    <a:pt x="743807" y="1735741"/>
                  </a:cubicBezTo>
                  <a:close/>
                  <a:moveTo>
                    <a:pt x="2632709" y="1734408"/>
                  </a:moveTo>
                  <a:cubicBezTo>
                    <a:pt x="2636138" y="1734408"/>
                    <a:pt x="2638900" y="1737170"/>
                    <a:pt x="2638900" y="1740599"/>
                  </a:cubicBezTo>
                  <a:cubicBezTo>
                    <a:pt x="2638900" y="1744028"/>
                    <a:pt x="2636138" y="1746791"/>
                    <a:pt x="2632709" y="1746791"/>
                  </a:cubicBezTo>
                  <a:cubicBezTo>
                    <a:pt x="2629280" y="1746791"/>
                    <a:pt x="2626518" y="1744028"/>
                    <a:pt x="2626518" y="1740599"/>
                  </a:cubicBezTo>
                  <a:cubicBezTo>
                    <a:pt x="2626518" y="1737170"/>
                    <a:pt x="2629280" y="1734408"/>
                    <a:pt x="2632709" y="1734408"/>
                  </a:cubicBezTo>
                  <a:close/>
                  <a:moveTo>
                    <a:pt x="662749" y="1733265"/>
                  </a:moveTo>
                  <a:cubicBezTo>
                    <a:pt x="666178" y="1733265"/>
                    <a:pt x="668941" y="1736027"/>
                    <a:pt x="668941" y="1739456"/>
                  </a:cubicBezTo>
                  <a:cubicBezTo>
                    <a:pt x="668941" y="1742885"/>
                    <a:pt x="666178" y="1745647"/>
                    <a:pt x="662749" y="1745647"/>
                  </a:cubicBezTo>
                  <a:cubicBezTo>
                    <a:pt x="659320" y="1745647"/>
                    <a:pt x="656558" y="1742885"/>
                    <a:pt x="656558" y="1739456"/>
                  </a:cubicBezTo>
                  <a:cubicBezTo>
                    <a:pt x="656558" y="1736027"/>
                    <a:pt x="659320" y="1733265"/>
                    <a:pt x="662749" y="1733265"/>
                  </a:cubicBezTo>
                  <a:close/>
                  <a:moveTo>
                    <a:pt x="7905" y="1732693"/>
                  </a:moveTo>
                  <a:lnTo>
                    <a:pt x="10525" y="1735313"/>
                  </a:lnTo>
                  <a:lnTo>
                    <a:pt x="11620" y="1734217"/>
                  </a:lnTo>
                  <a:lnTo>
                    <a:pt x="14144" y="1736741"/>
                  </a:lnTo>
                  <a:lnTo>
                    <a:pt x="15049" y="1735836"/>
                  </a:lnTo>
                  <a:lnTo>
                    <a:pt x="17335" y="1738122"/>
                  </a:lnTo>
                  <a:lnTo>
                    <a:pt x="18002" y="1737455"/>
                  </a:lnTo>
                  <a:lnTo>
                    <a:pt x="20288" y="1739741"/>
                  </a:lnTo>
                  <a:lnTo>
                    <a:pt x="20764" y="1739265"/>
                  </a:lnTo>
                  <a:lnTo>
                    <a:pt x="23050" y="1741551"/>
                  </a:lnTo>
                  <a:lnTo>
                    <a:pt x="23431" y="1741170"/>
                  </a:lnTo>
                  <a:lnTo>
                    <a:pt x="25717" y="1743456"/>
                  </a:lnTo>
                  <a:lnTo>
                    <a:pt x="26002" y="1743171"/>
                  </a:lnTo>
                  <a:lnTo>
                    <a:pt x="28430" y="1745600"/>
                  </a:lnTo>
                  <a:lnTo>
                    <a:pt x="28669" y="1745361"/>
                  </a:lnTo>
                  <a:lnTo>
                    <a:pt x="31194" y="1747886"/>
                  </a:lnTo>
                  <a:lnTo>
                    <a:pt x="31527" y="1747552"/>
                  </a:lnTo>
                  <a:lnTo>
                    <a:pt x="34337" y="1750362"/>
                  </a:lnTo>
                  <a:lnTo>
                    <a:pt x="34766" y="1749933"/>
                  </a:lnTo>
                  <a:lnTo>
                    <a:pt x="37957" y="1753124"/>
                  </a:lnTo>
                  <a:lnTo>
                    <a:pt x="38576" y="1752505"/>
                  </a:lnTo>
                  <a:lnTo>
                    <a:pt x="42100" y="1756029"/>
                  </a:lnTo>
                  <a:lnTo>
                    <a:pt x="42957" y="1755172"/>
                  </a:lnTo>
                  <a:lnTo>
                    <a:pt x="47005" y="1759220"/>
                  </a:lnTo>
                  <a:lnTo>
                    <a:pt x="48291" y="1757934"/>
                  </a:lnTo>
                  <a:lnTo>
                    <a:pt x="52958" y="1762602"/>
                  </a:lnTo>
                  <a:lnTo>
                    <a:pt x="54673" y="1760887"/>
                  </a:lnTo>
                  <a:lnTo>
                    <a:pt x="60007" y="1766221"/>
                  </a:lnTo>
                  <a:lnTo>
                    <a:pt x="62293" y="1763935"/>
                  </a:lnTo>
                  <a:lnTo>
                    <a:pt x="68389" y="1770031"/>
                  </a:lnTo>
                  <a:lnTo>
                    <a:pt x="71246" y="1767174"/>
                  </a:lnTo>
                  <a:cubicBezTo>
                    <a:pt x="74675" y="1767174"/>
                    <a:pt x="77438" y="1769936"/>
                    <a:pt x="77438" y="1773365"/>
                  </a:cubicBezTo>
                  <a:cubicBezTo>
                    <a:pt x="77438" y="1776794"/>
                    <a:pt x="74675" y="1779557"/>
                    <a:pt x="71246" y="1779557"/>
                  </a:cubicBezTo>
                  <a:lnTo>
                    <a:pt x="65150" y="1773461"/>
                  </a:lnTo>
                  <a:lnTo>
                    <a:pt x="62293" y="1776318"/>
                  </a:lnTo>
                  <a:lnTo>
                    <a:pt x="56959" y="1770984"/>
                  </a:lnTo>
                  <a:lnTo>
                    <a:pt x="54673" y="1773270"/>
                  </a:lnTo>
                  <a:lnTo>
                    <a:pt x="50006" y="1768602"/>
                  </a:lnTo>
                  <a:lnTo>
                    <a:pt x="48291" y="1770317"/>
                  </a:lnTo>
                  <a:lnTo>
                    <a:pt x="44243" y="1766269"/>
                  </a:lnTo>
                  <a:lnTo>
                    <a:pt x="42957" y="1767555"/>
                  </a:lnTo>
                  <a:lnTo>
                    <a:pt x="39433" y="1764031"/>
                  </a:lnTo>
                  <a:lnTo>
                    <a:pt x="38576" y="1764888"/>
                  </a:lnTo>
                  <a:lnTo>
                    <a:pt x="35385" y="1761697"/>
                  </a:lnTo>
                  <a:lnTo>
                    <a:pt x="34766" y="1762315"/>
                  </a:lnTo>
                  <a:lnTo>
                    <a:pt x="31956" y="1759505"/>
                  </a:lnTo>
                  <a:lnTo>
                    <a:pt x="31527" y="1759934"/>
                  </a:lnTo>
                  <a:lnTo>
                    <a:pt x="29003" y="1757410"/>
                  </a:lnTo>
                  <a:lnTo>
                    <a:pt x="28669" y="1757744"/>
                  </a:lnTo>
                  <a:lnTo>
                    <a:pt x="26240" y="1755316"/>
                  </a:lnTo>
                  <a:lnTo>
                    <a:pt x="26002" y="1755554"/>
                  </a:lnTo>
                  <a:lnTo>
                    <a:pt x="23716" y="1753268"/>
                  </a:lnTo>
                  <a:lnTo>
                    <a:pt x="23431" y="1753553"/>
                  </a:lnTo>
                  <a:lnTo>
                    <a:pt x="21145" y="1751267"/>
                  </a:lnTo>
                  <a:lnTo>
                    <a:pt x="20764" y="1751648"/>
                  </a:lnTo>
                  <a:lnTo>
                    <a:pt x="18478" y="1749362"/>
                  </a:lnTo>
                  <a:lnTo>
                    <a:pt x="18002" y="1749838"/>
                  </a:lnTo>
                  <a:lnTo>
                    <a:pt x="15716" y="1747552"/>
                  </a:lnTo>
                  <a:lnTo>
                    <a:pt x="15049" y="1748219"/>
                  </a:lnTo>
                  <a:lnTo>
                    <a:pt x="12525" y="1745695"/>
                  </a:lnTo>
                  <a:lnTo>
                    <a:pt x="11620" y="1746600"/>
                  </a:lnTo>
                  <a:lnTo>
                    <a:pt x="9001" y="1743981"/>
                  </a:lnTo>
                  <a:lnTo>
                    <a:pt x="7905" y="1745076"/>
                  </a:lnTo>
                  <a:cubicBezTo>
                    <a:pt x="4476" y="1745076"/>
                    <a:pt x="1714" y="1742313"/>
                    <a:pt x="1714" y="1738884"/>
                  </a:cubicBezTo>
                  <a:lnTo>
                    <a:pt x="2476" y="1738122"/>
                  </a:lnTo>
                  <a:lnTo>
                    <a:pt x="1809" y="1737455"/>
                  </a:lnTo>
                  <a:cubicBezTo>
                    <a:pt x="1809" y="1736509"/>
                    <a:pt x="2577" y="1735741"/>
                    <a:pt x="3524" y="1735741"/>
                  </a:cubicBezTo>
                  <a:lnTo>
                    <a:pt x="4190" y="1736408"/>
                  </a:lnTo>
                  <a:close/>
                  <a:moveTo>
                    <a:pt x="2709862" y="1732026"/>
                  </a:moveTo>
                  <a:cubicBezTo>
                    <a:pt x="2713291" y="1732026"/>
                    <a:pt x="2716053" y="1734788"/>
                    <a:pt x="2716053" y="1738217"/>
                  </a:cubicBezTo>
                  <a:cubicBezTo>
                    <a:pt x="2716053" y="1741646"/>
                    <a:pt x="2713291" y="1744409"/>
                    <a:pt x="2709862" y="1744409"/>
                  </a:cubicBezTo>
                  <a:cubicBezTo>
                    <a:pt x="2706433" y="1744409"/>
                    <a:pt x="2703671" y="1741646"/>
                    <a:pt x="2703671" y="1738217"/>
                  </a:cubicBezTo>
                  <a:cubicBezTo>
                    <a:pt x="2703671" y="1734788"/>
                    <a:pt x="2706433" y="1732026"/>
                    <a:pt x="2709862" y="1732026"/>
                  </a:cubicBezTo>
                  <a:close/>
                  <a:moveTo>
                    <a:pt x="588835" y="1730883"/>
                  </a:moveTo>
                  <a:cubicBezTo>
                    <a:pt x="592264" y="1730883"/>
                    <a:pt x="595027" y="1733645"/>
                    <a:pt x="595027" y="1737074"/>
                  </a:cubicBezTo>
                  <a:cubicBezTo>
                    <a:pt x="595027" y="1740503"/>
                    <a:pt x="592264" y="1743265"/>
                    <a:pt x="588835" y="1743265"/>
                  </a:cubicBezTo>
                  <a:cubicBezTo>
                    <a:pt x="585406" y="1743265"/>
                    <a:pt x="582644" y="1740503"/>
                    <a:pt x="582644" y="1737074"/>
                  </a:cubicBezTo>
                  <a:cubicBezTo>
                    <a:pt x="582644" y="1733645"/>
                    <a:pt x="585406" y="1730883"/>
                    <a:pt x="588835" y="1730883"/>
                  </a:cubicBezTo>
                  <a:close/>
                  <a:moveTo>
                    <a:pt x="3356514" y="1730217"/>
                  </a:moveTo>
                  <a:cubicBezTo>
                    <a:pt x="3357566" y="1730217"/>
                    <a:pt x="3358419" y="1731070"/>
                    <a:pt x="3358419" y="1732122"/>
                  </a:cubicBezTo>
                  <a:cubicBezTo>
                    <a:pt x="3358419" y="1733174"/>
                    <a:pt x="3357566" y="1734027"/>
                    <a:pt x="3356514" y="1734027"/>
                  </a:cubicBezTo>
                  <a:cubicBezTo>
                    <a:pt x="3355462" y="1734027"/>
                    <a:pt x="3354609" y="1733174"/>
                    <a:pt x="3354609" y="1732122"/>
                  </a:cubicBezTo>
                  <a:cubicBezTo>
                    <a:pt x="3354609" y="1731070"/>
                    <a:pt x="3355462" y="1730217"/>
                    <a:pt x="3356514" y="1730217"/>
                  </a:cubicBezTo>
                  <a:close/>
                  <a:moveTo>
                    <a:pt x="2780061" y="1729645"/>
                  </a:moveTo>
                  <a:cubicBezTo>
                    <a:pt x="2783490" y="1729645"/>
                    <a:pt x="2786252" y="1732407"/>
                    <a:pt x="2786252" y="1735836"/>
                  </a:cubicBezTo>
                  <a:cubicBezTo>
                    <a:pt x="2786252" y="1739265"/>
                    <a:pt x="2783490" y="1742028"/>
                    <a:pt x="2780061" y="1742028"/>
                  </a:cubicBezTo>
                  <a:cubicBezTo>
                    <a:pt x="2776632" y="1742028"/>
                    <a:pt x="2773870" y="1739265"/>
                    <a:pt x="2773870" y="1735836"/>
                  </a:cubicBezTo>
                  <a:cubicBezTo>
                    <a:pt x="2773870" y="1732407"/>
                    <a:pt x="2776632" y="1729645"/>
                    <a:pt x="2780061" y="1729645"/>
                  </a:cubicBezTo>
                  <a:close/>
                  <a:moveTo>
                    <a:pt x="521779" y="1728597"/>
                  </a:moveTo>
                  <a:cubicBezTo>
                    <a:pt x="525208" y="1728597"/>
                    <a:pt x="527970" y="1731359"/>
                    <a:pt x="527970" y="1734788"/>
                  </a:cubicBezTo>
                  <a:cubicBezTo>
                    <a:pt x="527970" y="1738217"/>
                    <a:pt x="525208" y="1740980"/>
                    <a:pt x="521779" y="1740980"/>
                  </a:cubicBezTo>
                  <a:cubicBezTo>
                    <a:pt x="518350" y="1740980"/>
                    <a:pt x="515588" y="1738217"/>
                    <a:pt x="515588" y="1734788"/>
                  </a:cubicBezTo>
                  <a:cubicBezTo>
                    <a:pt x="515588" y="1731359"/>
                    <a:pt x="518350" y="1728597"/>
                    <a:pt x="521779" y="1728597"/>
                  </a:cubicBezTo>
                  <a:close/>
                  <a:moveTo>
                    <a:pt x="2843783" y="1727359"/>
                  </a:moveTo>
                  <a:cubicBezTo>
                    <a:pt x="2847212" y="1727359"/>
                    <a:pt x="2849974" y="1730121"/>
                    <a:pt x="2849974" y="1733550"/>
                  </a:cubicBezTo>
                  <a:cubicBezTo>
                    <a:pt x="2849974" y="1736979"/>
                    <a:pt x="2847212" y="1739742"/>
                    <a:pt x="2843783" y="1739742"/>
                  </a:cubicBezTo>
                  <a:cubicBezTo>
                    <a:pt x="2840354" y="1739742"/>
                    <a:pt x="2837592" y="1736979"/>
                    <a:pt x="2837592" y="1733550"/>
                  </a:cubicBezTo>
                  <a:cubicBezTo>
                    <a:pt x="2837592" y="1730121"/>
                    <a:pt x="2840354" y="1727359"/>
                    <a:pt x="2843783" y="1727359"/>
                  </a:cubicBezTo>
                  <a:close/>
                  <a:moveTo>
                    <a:pt x="3349084" y="1727073"/>
                  </a:moveTo>
                  <a:cubicBezTo>
                    <a:pt x="3352513" y="1727073"/>
                    <a:pt x="3355276" y="1729835"/>
                    <a:pt x="3355276" y="1733264"/>
                  </a:cubicBezTo>
                  <a:cubicBezTo>
                    <a:pt x="3355276" y="1736693"/>
                    <a:pt x="3352513" y="1739456"/>
                    <a:pt x="3349084" y="1739456"/>
                  </a:cubicBezTo>
                  <a:lnTo>
                    <a:pt x="3346227" y="1736599"/>
                  </a:lnTo>
                  <a:lnTo>
                    <a:pt x="3342322" y="1740504"/>
                  </a:lnTo>
                  <a:lnTo>
                    <a:pt x="3339988" y="1738170"/>
                  </a:lnTo>
                  <a:lnTo>
                    <a:pt x="3336416" y="1741742"/>
                  </a:lnTo>
                  <a:lnTo>
                    <a:pt x="3334416" y="1739742"/>
                  </a:lnTo>
                  <a:lnTo>
                    <a:pt x="3331177" y="1742980"/>
                  </a:lnTo>
                  <a:lnTo>
                    <a:pt x="3329510" y="1741313"/>
                  </a:lnTo>
                  <a:lnTo>
                    <a:pt x="3326510" y="1744313"/>
                  </a:lnTo>
                  <a:lnTo>
                    <a:pt x="3325225" y="1743028"/>
                  </a:lnTo>
                  <a:lnTo>
                    <a:pt x="3322510" y="1745743"/>
                  </a:lnTo>
                  <a:lnTo>
                    <a:pt x="3321509" y="1744742"/>
                  </a:lnTo>
                  <a:lnTo>
                    <a:pt x="3318890" y="1747362"/>
                  </a:lnTo>
                  <a:lnTo>
                    <a:pt x="3318128" y="1746600"/>
                  </a:lnTo>
                  <a:lnTo>
                    <a:pt x="3315747" y="1748981"/>
                  </a:lnTo>
                  <a:lnTo>
                    <a:pt x="3315128" y="1748362"/>
                  </a:lnTo>
                  <a:lnTo>
                    <a:pt x="3312794" y="1750695"/>
                  </a:lnTo>
                  <a:lnTo>
                    <a:pt x="3312365" y="1750267"/>
                  </a:lnTo>
                  <a:lnTo>
                    <a:pt x="3310127" y="1752505"/>
                  </a:lnTo>
                  <a:lnTo>
                    <a:pt x="3309842" y="1752220"/>
                  </a:lnTo>
                  <a:lnTo>
                    <a:pt x="3307556" y="1754506"/>
                  </a:lnTo>
                  <a:lnTo>
                    <a:pt x="3307318" y="1754268"/>
                  </a:lnTo>
                  <a:lnTo>
                    <a:pt x="3304984" y="1756601"/>
                  </a:lnTo>
                  <a:lnTo>
                    <a:pt x="3304698" y="1756316"/>
                  </a:lnTo>
                  <a:lnTo>
                    <a:pt x="3302222" y="1758792"/>
                  </a:lnTo>
                  <a:lnTo>
                    <a:pt x="3301841" y="1758411"/>
                  </a:lnTo>
                  <a:lnTo>
                    <a:pt x="3299174" y="1761078"/>
                  </a:lnTo>
                  <a:lnTo>
                    <a:pt x="3298697" y="1760601"/>
                  </a:lnTo>
                  <a:lnTo>
                    <a:pt x="3295744" y="1763554"/>
                  </a:lnTo>
                  <a:lnTo>
                    <a:pt x="3294983" y="1762793"/>
                  </a:lnTo>
                  <a:lnTo>
                    <a:pt x="3291649" y="1766126"/>
                  </a:lnTo>
                  <a:lnTo>
                    <a:pt x="3290553" y="1765030"/>
                  </a:lnTo>
                  <a:lnTo>
                    <a:pt x="3286791" y="1768793"/>
                  </a:lnTo>
                  <a:lnTo>
                    <a:pt x="3285362" y="1767364"/>
                  </a:lnTo>
                  <a:lnTo>
                    <a:pt x="3281076" y="1771651"/>
                  </a:lnTo>
                  <a:lnTo>
                    <a:pt x="3279124" y="1769699"/>
                  </a:lnTo>
                  <a:lnTo>
                    <a:pt x="3274123" y="1774699"/>
                  </a:lnTo>
                  <a:lnTo>
                    <a:pt x="3271598" y="1772174"/>
                  </a:lnTo>
                  <a:lnTo>
                    <a:pt x="3265931" y="1777842"/>
                  </a:lnTo>
                  <a:cubicBezTo>
                    <a:pt x="3262502" y="1777842"/>
                    <a:pt x="3259740" y="1775079"/>
                    <a:pt x="3259740" y="1771650"/>
                  </a:cubicBezTo>
                  <a:cubicBezTo>
                    <a:pt x="3259740" y="1768221"/>
                    <a:pt x="3262502" y="1765459"/>
                    <a:pt x="3265931" y="1765459"/>
                  </a:cubicBezTo>
                  <a:lnTo>
                    <a:pt x="3268456" y="1767984"/>
                  </a:lnTo>
                  <a:lnTo>
                    <a:pt x="3274123" y="1762316"/>
                  </a:lnTo>
                  <a:lnTo>
                    <a:pt x="3276076" y="1764269"/>
                  </a:lnTo>
                  <a:lnTo>
                    <a:pt x="3281076" y="1759268"/>
                  </a:lnTo>
                  <a:lnTo>
                    <a:pt x="3282504" y="1760697"/>
                  </a:lnTo>
                  <a:lnTo>
                    <a:pt x="3286791" y="1756410"/>
                  </a:lnTo>
                  <a:lnTo>
                    <a:pt x="3287886" y="1757506"/>
                  </a:lnTo>
                  <a:lnTo>
                    <a:pt x="3291649" y="1753743"/>
                  </a:lnTo>
                  <a:lnTo>
                    <a:pt x="3292411" y="1754505"/>
                  </a:lnTo>
                  <a:lnTo>
                    <a:pt x="3295744" y="1751171"/>
                  </a:lnTo>
                  <a:lnTo>
                    <a:pt x="3296221" y="1751648"/>
                  </a:lnTo>
                  <a:lnTo>
                    <a:pt x="3299174" y="1748695"/>
                  </a:lnTo>
                  <a:lnTo>
                    <a:pt x="3299555" y="1749076"/>
                  </a:lnTo>
                  <a:lnTo>
                    <a:pt x="3302222" y="1746409"/>
                  </a:lnTo>
                  <a:lnTo>
                    <a:pt x="3302508" y="1746695"/>
                  </a:lnTo>
                  <a:lnTo>
                    <a:pt x="3304984" y="1744218"/>
                  </a:lnTo>
                  <a:lnTo>
                    <a:pt x="3305223" y="1744457"/>
                  </a:lnTo>
                  <a:lnTo>
                    <a:pt x="3307556" y="1742123"/>
                  </a:lnTo>
                  <a:lnTo>
                    <a:pt x="3307841" y="1742408"/>
                  </a:lnTo>
                  <a:lnTo>
                    <a:pt x="3310127" y="1740122"/>
                  </a:lnTo>
                  <a:lnTo>
                    <a:pt x="3310556" y="1740551"/>
                  </a:lnTo>
                  <a:lnTo>
                    <a:pt x="3312794" y="1738313"/>
                  </a:lnTo>
                  <a:lnTo>
                    <a:pt x="3313413" y="1738932"/>
                  </a:lnTo>
                  <a:lnTo>
                    <a:pt x="3315747" y="1736598"/>
                  </a:lnTo>
                  <a:lnTo>
                    <a:pt x="3316509" y="1737360"/>
                  </a:lnTo>
                  <a:lnTo>
                    <a:pt x="3318890" y="1734979"/>
                  </a:lnTo>
                  <a:lnTo>
                    <a:pt x="3319891" y="1735980"/>
                  </a:lnTo>
                  <a:lnTo>
                    <a:pt x="3322510" y="1733360"/>
                  </a:lnTo>
                  <a:lnTo>
                    <a:pt x="3323795" y="1734646"/>
                  </a:lnTo>
                  <a:lnTo>
                    <a:pt x="3326510" y="1731931"/>
                  </a:lnTo>
                  <a:lnTo>
                    <a:pt x="3328177" y="1733598"/>
                  </a:lnTo>
                  <a:lnTo>
                    <a:pt x="3331177" y="1730597"/>
                  </a:lnTo>
                  <a:lnTo>
                    <a:pt x="3333178" y="1732598"/>
                  </a:lnTo>
                  <a:lnTo>
                    <a:pt x="3336416" y="1729359"/>
                  </a:lnTo>
                  <a:lnTo>
                    <a:pt x="3338750" y="1731693"/>
                  </a:lnTo>
                  <a:lnTo>
                    <a:pt x="3342322" y="1728121"/>
                  </a:lnTo>
                  <a:lnTo>
                    <a:pt x="3345179" y="1730978"/>
                  </a:lnTo>
                  <a:close/>
                  <a:moveTo>
                    <a:pt x="460914" y="1726407"/>
                  </a:moveTo>
                  <a:cubicBezTo>
                    <a:pt x="464343" y="1726407"/>
                    <a:pt x="467105" y="1729169"/>
                    <a:pt x="467105" y="1732598"/>
                  </a:cubicBezTo>
                  <a:cubicBezTo>
                    <a:pt x="467105" y="1736027"/>
                    <a:pt x="464343" y="1738789"/>
                    <a:pt x="460914" y="1738789"/>
                  </a:cubicBezTo>
                  <a:cubicBezTo>
                    <a:pt x="457485" y="1738789"/>
                    <a:pt x="454723" y="1736027"/>
                    <a:pt x="454723" y="1732598"/>
                  </a:cubicBezTo>
                  <a:cubicBezTo>
                    <a:pt x="454723" y="1729169"/>
                    <a:pt x="457485" y="1726407"/>
                    <a:pt x="460914" y="1726407"/>
                  </a:cubicBezTo>
                  <a:close/>
                  <a:moveTo>
                    <a:pt x="2901409" y="1725263"/>
                  </a:moveTo>
                  <a:cubicBezTo>
                    <a:pt x="2904838" y="1725263"/>
                    <a:pt x="2907601" y="1728025"/>
                    <a:pt x="2907601" y="1731454"/>
                  </a:cubicBezTo>
                  <a:cubicBezTo>
                    <a:pt x="2907601" y="1734883"/>
                    <a:pt x="2904838" y="1737646"/>
                    <a:pt x="2901409" y="1737646"/>
                  </a:cubicBezTo>
                  <a:cubicBezTo>
                    <a:pt x="2897980" y="1737646"/>
                    <a:pt x="2895218" y="1734883"/>
                    <a:pt x="2895218" y="1731454"/>
                  </a:cubicBezTo>
                  <a:cubicBezTo>
                    <a:pt x="2895218" y="1728025"/>
                    <a:pt x="2897980" y="1725263"/>
                    <a:pt x="2901409" y="1725263"/>
                  </a:cubicBezTo>
                  <a:close/>
                  <a:moveTo>
                    <a:pt x="405955" y="1724216"/>
                  </a:moveTo>
                  <a:cubicBezTo>
                    <a:pt x="409384" y="1724216"/>
                    <a:pt x="412146" y="1726978"/>
                    <a:pt x="412146" y="1730407"/>
                  </a:cubicBezTo>
                  <a:cubicBezTo>
                    <a:pt x="412146" y="1733836"/>
                    <a:pt x="409384" y="1736599"/>
                    <a:pt x="405955" y="1736599"/>
                  </a:cubicBezTo>
                  <a:cubicBezTo>
                    <a:pt x="402526" y="1736599"/>
                    <a:pt x="399764" y="1733836"/>
                    <a:pt x="399764" y="1730407"/>
                  </a:cubicBezTo>
                  <a:cubicBezTo>
                    <a:pt x="399764" y="1726978"/>
                    <a:pt x="402526" y="1724216"/>
                    <a:pt x="405955" y="1724216"/>
                  </a:cubicBezTo>
                  <a:close/>
                  <a:moveTo>
                    <a:pt x="2953321" y="1723168"/>
                  </a:moveTo>
                  <a:cubicBezTo>
                    <a:pt x="2956750" y="1723168"/>
                    <a:pt x="2959512" y="1725930"/>
                    <a:pt x="2959512" y="1729359"/>
                  </a:cubicBezTo>
                  <a:cubicBezTo>
                    <a:pt x="2959512" y="1732788"/>
                    <a:pt x="2956750" y="1735551"/>
                    <a:pt x="2953321" y="1735551"/>
                  </a:cubicBezTo>
                  <a:cubicBezTo>
                    <a:pt x="2949892" y="1735551"/>
                    <a:pt x="2947130" y="1732788"/>
                    <a:pt x="2947130" y="1729359"/>
                  </a:cubicBezTo>
                  <a:cubicBezTo>
                    <a:pt x="2947130" y="1725930"/>
                    <a:pt x="2949892" y="1723168"/>
                    <a:pt x="2953321" y="1723168"/>
                  </a:cubicBezTo>
                  <a:close/>
                  <a:moveTo>
                    <a:pt x="356520" y="1722216"/>
                  </a:moveTo>
                  <a:cubicBezTo>
                    <a:pt x="359949" y="1722216"/>
                    <a:pt x="362712" y="1724978"/>
                    <a:pt x="362712" y="1728407"/>
                  </a:cubicBezTo>
                  <a:cubicBezTo>
                    <a:pt x="362712" y="1731836"/>
                    <a:pt x="359949" y="1734599"/>
                    <a:pt x="356520" y="1734599"/>
                  </a:cubicBezTo>
                  <a:cubicBezTo>
                    <a:pt x="353091" y="1734599"/>
                    <a:pt x="350329" y="1731836"/>
                    <a:pt x="350329" y="1728407"/>
                  </a:cubicBezTo>
                  <a:cubicBezTo>
                    <a:pt x="350329" y="1724978"/>
                    <a:pt x="353091" y="1722216"/>
                    <a:pt x="356520" y="1722216"/>
                  </a:cubicBezTo>
                  <a:close/>
                  <a:moveTo>
                    <a:pt x="2999993" y="1721168"/>
                  </a:moveTo>
                  <a:cubicBezTo>
                    <a:pt x="3003422" y="1721168"/>
                    <a:pt x="3006184" y="1723930"/>
                    <a:pt x="3006184" y="1727359"/>
                  </a:cubicBezTo>
                  <a:cubicBezTo>
                    <a:pt x="3006184" y="1730788"/>
                    <a:pt x="3003422" y="1733551"/>
                    <a:pt x="2999993" y="1733551"/>
                  </a:cubicBezTo>
                  <a:cubicBezTo>
                    <a:pt x="2996564" y="1733551"/>
                    <a:pt x="2993802" y="1730788"/>
                    <a:pt x="2993802" y="1727359"/>
                  </a:cubicBezTo>
                  <a:cubicBezTo>
                    <a:pt x="2993802" y="1723930"/>
                    <a:pt x="2996564" y="1721168"/>
                    <a:pt x="2999993" y="1721168"/>
                  </a:cubicBezTo>
                  <a:close/>
                  <a:moveTo>
                    <a:pt x="312133" y="1720215"/>
                  </a:moveTo>
                  <a:cubicBezTo>
                    <a:pt x="315562" y="1720215"/>
                    <a:pt x="318324" y="1722977"/>
                    <a:pt x="318324" y="1726406"/>
                  </a:cubicBezTo>
                  <a:cubicBezTo>
                    <a:pt x="318324" y="1729835"/>
                    <a:pt x="315562" y="1732598"/>
                    <a:pt x="312133" y="1732598"/>
                  </a:cubicBezTo>
                  <a:cubicBezTo>
                    <a:pt x="308704" y="1732598"/>
                    <a:pt x="305942" y="1729835"/>
                    <a:pt x="305942" y="1726406"/>
                  </a:cubicBezTo>
                  <a:cubicBezTo>
                    <a:pt x="305942" y="1722977"/>
                    <a:pt x="308704" y="1720215"/>
                    <a:pt x="312133" y="1720215"/>
                  </a:cubicBezTo>
                  <a:close/>
                  <a:moveTo>
                    <a:pt x="3041808" y="1719263"/>
                  </a:moveTo>
                  <a:cubicBezTo>
                    <a:pt x="3045237" y="1719263"/>
                    <a:pt x="3047999" y="1722025"/>
                    <a:pt x="3047999" y="1725454"/>
                  </a:cubicBezTo>
                  <a:cubicBezTo>
                    <a:pt x="3047999" y="1728883"/>
                    <a:pt x="3045237" y="1731645"/>
                    <a:pt x="3041808" y="1731645"/>
                  </a:cubicBezTo>
                  <a:cubicBezTo>
                    <a:pt x="3038379" y="1731645"/>
                    <a:pt x="3035617" y="1728883"/>
                    <a:pt x="3035617" y="1725454"/>
                  </a:cubicBezTo>
                  <a:cubicBezTo>
                    <a:pt x="3035617" y="1722025"/>
                    <a:pt x="3038379" y="1719263"/>
                    <a:pt x="3041808" y="1719263"/>
                  </a:cubicBezTo>
                  <a:close/>
                  <a:moveTo>
                    <a:pt x="272509" y="1718310"/>
                  </a:moveTo>
                  <a:cubicBezTo>
                    <a:pt x="275938" y="1718310"/>
                    <a:pt x="278701" y="1721072"/>
                    <a:pt x="278701" y="1724501"/>
                  </a:cubicBezTo>
                  <a:cubicBezTo>
                    <a:pt x="278701" y="1727930"/>
                    <a:pt x="275938" y="1730693"/>
                    <a:pt x="272509" y="1730693"/>
                  </a:cubicBezTo>
                  <a:cubicBezTo>
                    <a:pt x="269080" y="1730693"/>
                    <a:pt x="266318" y="1727930"/>
                    <a:pt x="266318" y="1724501"/>
                  </a:cubicBezTo>
                  <a:cubicBezTo>
                    <a:pt x="266318" y="1721072"/>
                    <a:pt x="269080" y="1718310"/>
                    <a:pt x="272509" y="1718310"/>
                  </a:cubicBezTo>
                  <a:close/>
                  <a:moveTo>
                    <a:pt x="3079051" y="1717358"/>
                  </a:moveTo>
                  <a:cubicBezTo>
                    <a:pt x="3082480" y="1717358"/>
                    <a:pt x="3085243" y="1720120"/>
                    <a:pt x="3085243" y="1723549"/>
                  </a:cubicBezTo>
                  <a:cubicBezTo>
                    <a:pt x="3085243" y="1726978"/>
                    <a:pt x="3082480" y="1729741"/>
                    <a:pt x="3079051" y="1729741"/>
                  </a:cubicBezTo>
                  <a:cubicBezTo>
                    <a:pt x="3075622" y="1729741"/>
                    <a:pt x="3072860" y="1726978"/>
                    <a:pt x="3072860" y="1723549"/>
                  </a:cubicBezTo>
                  <a:cubicBezTo>
                    <a:pt x="3072860" y="1720120"/>
                    <a:pt x="3075622" y="1717358"/>
                    <a:pt x="3079051" y="1717358"/>
                  </a:cubicBezTo>
                  <a:close/>
                  <a:moveTo>
                    <a:pt x="237267" y="1716596"/>
                  </a:moveTo>
                  <a:cubicBezTo>
                    <a:pt x="240696" y="1716596"/>
                    <a:pt x="243458" y="1719358"/>
                    <a:pt x="243458" y="1722787"/>
                  </a:cubicBezTo>
                  <a:cubicBezTo>
                    <a:pt x="243458" y="1726216"/>
                    <a:pt x="240696" y="1728978"/>
                    <a:pt x="237267" y="1728978"/>
                  </a:cubicBezTo>
                  <a:cubicBezTo>
                    <a:pt x="233838" y="1728978"/>
                    <a:pt x="231076" y="1726216"/>
                    <a:pt x="231076" y="1722787"/>
                  </a:cubicBezTo>
                  <a:cubicBezTo>
                    <a:pt x="231076" y="1719358"/>
                    <a:pt x="233838" y="1716596"/>
                    <a:pt x="237267" y="1716596"/>
                  </a:cubicBezTo>
                  <a:close/>
                  <a:moveTo>
                    <a:pt x="3112198" y="1715643"/>
                  </a:moveTo>
                  <a:cubicBezTo>
                    <a:pt x="3115627" y="1715643"/>
                    <a:pt x="3118390" y="1718405"/>
                    <a:pt x="3118390" y="1721834"/>
                  </a:cubicBezTo>
                  <a:cubicBezTo>
                    <a:pt x="3118390" y="1725263"/>
                    <a:pt x="3115627" y="1728026"/>
                    <a:pt x="3112198" y="1728026"/>
                  </a:cubicBezTo>
                  <a:cubicBezTo>
                    <a:pt x="3108769" y="1728026"/>
                    <a:pt x="3106007" y="1725263"/>
                    <a:pt x="3106007" y="1721834"/>
                  </a:cubicBezTo>
                  <a:cubicBezTo>
                    <a:pt x="3106007" y="1718405"/>
                    <a:pt x="3108769" y="1715643"/>
                    <a:pt x="3112198" y="1715643"/>
                  </a:cubicBezTo>
                  <a:close/>
                  <a:moveTo>
                    <a:pt x="206025" y="1714786"/>
                  </a:moveTo>
                  <a:cubicBezTo>
                    <a:pt x="209454" y="1714786"/>
                    <a:pt x="212217" y="1717548"/>
                    <a:pt x="212217" y="1720977"/>
                  </a:cubicBezTo>
                  <a:cubicBezTo>
                    <a:pt x="212217" y="1724406"/>
                    <a:pt x="209454" y="1727169"/>
                    <a:pt x="206025" y="1727169"/>
                  </a:cubicBezTo>
                  <a:cubicBezTo>
                    <a:pt x="202596" y="1727169"/>
                    <a:pt x="199834" y="1724406"/>
                    <a:pt x="199834" y="1720977"/>
                  </a:cubicBezTo>
                  <a:cubicBezTo>
                    <a:pt x="199834" y="1717548"/>
                    <a:pt x="202596" y="1714786"/>
                    <a:pt x="206025" y="1714786"/>
                  </a:cubicBezTo>
                  <a:close/>
                  <a:moveTo>
                    <a:pt x="3141344" y="1713929"/>
                  </a:moveTo>
                  <a:cubicBezTo>
                    <a:pt x="3144773" y="1713929"/>
                    <a:pt x="3147536" y="1716691"/>
                    <a:pt x="3147536" y="1720120"/>
                  </a:cubicBezTo>
                  <a:cubicBezTo>
                    <a:pt x="3147536" y="1723549"/>
                    <a:pt x="3144773" y="1726312"/>
                    <a:pt x="3141344" y="1726312"/>
                  </a:cubicBezTo>
                  <a:cubicBezTo>
                    <a:pt x="3137915" y="1726312"/>
                    <a:pt x="3135153" y="1723549"/>
                    <a:pt x="3135153" y="1720120"/>
                  </a:cubicBezTo>
                  <a:cubicBezTo>
                    <a:pt x="3135153" y="1716691"/>
                    <a:pt x="3137915" y="1713929"/>
                    <a:pt x="3141344" y="1713929"/>
                  </a:cubicBezTo>
                  <a:close/>
                  <a:moveTo>
                    <a:pt x="178402" y="1713167"/>
                  </a:moveTo>
                  <a:cubicBezTo>
                    <a:pt x="181831" y="1713167"/>
                    <a:pt x="184593" y="1715929"/>
                    <a:pt x="184593" y="1719358"/>
                  </a:cubicBezTo>
                  <a:cubicBezTo>
                    <a:pt x="184593" y="1722787"/>
                    <a:pt x="181831" y="1725549"/>
                    <a:pt x="178402" y="1725549"/>
                  </a:cubicBezTo>
                  <a:cubicBezTo>
                    <a:pt x="174973" y="1725549"/>
                    <a:pt x="172211" y="1722787"/>
                    <a:pt x="172211" y="1719358"/>
                  </a:cubicBezTo>
                  <a:cubicBezTo>
                    <a:pt x="172211" y="1715929"/>
                    <a:pt x="174973" y="1713167"/>
                    <a:pt x="178402" y="1713167"/>
                  </a:cubicBezTo>
                  <a:close/>
                  <a:moveTo>
                    <a:pt x="3167062" y="1712309"/>
                  </a:moveTo>
                  <a:cubicBezTo>
                    <a:pt x="3170491" y="1712309"/>
                    <a:pt x="3173253" y="1715071"/>
                    <a:pt x="3173253" y="1718500"/>
                  </a:cubicBezTo>
                  <a:cubicBezTo>
                    <a:pt x="3173253" y="1721929"/>
                    <a:pt x="3170491" y="1724692"/>
                    <a:pt x="3167062" y="1724692"/>
                  </a:cubicBezTo>
                  <a:cubicBezTo>
                    <a:pt x="3163633" y="1724692"/>
                    <a:pt x="3160871" y="1721929"/>
                    <a:pt x="3160871" y="1718500"/>
                  </a:cubicBezTo>
                  <a:cubicBezTo>
                    <a:pt x="3160871" y="1715071"/>
                    <a:pt x="3163633" y="1712309"/>
                    <a:pt x="3167062" y="1712309"/>
                  </a:cubicBezTo>
                  <a:close/>
                  <a:moveTo>
                    <a:pt x="154304" y="1711547"/>
                  </a:moveTo>
                  <a:cubicBezTo>
                    <a:pt x="157733" y="1711547"/>
                    <a:pt x="160496" y="1714309"/>
                    <a:pt x="160496" y="1717738"/>
                  </a:cubicBezTo>
                  <a:cubicBezTo>
                    <a:pt x="160496" y="1721167"/>
                    <a:pt x="157733" y="1723930"/>
                    <a:pt x="154304" y="1723930"/>
                  </a:cubicBezTo>
                  <a:cubicBezTo>
                    <a:pt x="150875" y="1723930"/>
                    <a:pt x="148113" y="1721167"/>
                    <a:pt x="148113" y="1717738"/>
                  </a:cubicBezTo>
                  <a:cubicBezTo>
                    <a:pt x="148113" y="1714309"/>
                    <a:pt x="150875" y="1711547"/>
                    <a:pt x="154304" y="1711547"/>
                  </a:cubicBezTo>
                  <a:close/>
                  <a:moveTo>
                    <a:pt x="3189541" y="1710786"/>
                  </a:moveTo>
                  <a:cubicBezTo>
                    <a:pt x="3192970" y="1710786"/>
                    <a:pt x="3195733" y="1713548"/>
                    <a:pt x="3195733" y="1716977"/>
                  </a:cubicBezTo>
                  <a:cubicBezTo>
                    <a:pt x="3195733" y="1720406"/>
                    <a:pt x="3192970" y="1723168"/>
                    <a:pt x="3189541" y="1723168"/>
                  </a:cubicBezTo>
                  <a:cubicBezTo>
                    <a:pt x="3186112" y="1723168"/>
                    <a:pt x="3183350" y="1720406"/>
                    <a:pt x="3183350" y="1716977"/>
                  </a:cubicBezTo>
                  <a:cubicBezTo>
                    <a:pt x="3183350" y="1713548"/>
                    <a:pt x="3186112" y="1710786"/>
                    <a:pt x="3189541" y="1710786"/>
                  </a:cubicBezTo>
                  <a:close/>
                  <a:moveTo>
                    <a:pt x="133159" y="1710024"/>
                  </a:moveTo>
                  <a:cubicBezTo>
                    <a:pt x="136588" y="1710024"/>
                    <a:pt x="139351" y="1712786"/>
                    <a:pt x="139351" y="1716215"/>
                  </a:cubicBezTo>
                  <a:cubicBezTo>
                    <a:pt x="139351" y="1719644"/>
                    <a:pt x="136588" y="1722407"/>
                    <a:pt x="133159" y="1722407"/>
                  </a:cubicBezTo>
                  <a:cubicBezTo>
                    <a:pt x="129730" y="1722407"/>
                    <a:pt x="126968" y="1719644"/>
                    <a:pt x="126968" y="1716215"/>
                  </a:cubicBezTo>
                  <a:cubicBezTo>
                    <a:pt x="126968" y="1712786"/>
                    <a:pt x="129730" y="1710024"/>
                    <a:pt x="133159" y="1710024"/>
                  </a:cubicBezTo>
                  <a:close/>
                  <a:moveTo>
                    <a:pt x="3209162" y="1709262"/>
                  </a:moveTo>
                  <a:cubicBezTo>
                    <a:pt x="3212591" y="1709262"/>
                    <a:pt x="3215354" y="1712024"/>
                    <a:pt x="3215354" y="1715453"/>
                  </a:cubicBezTo>
                  <a:cubicBezTo>
                    <a:pt x="3215354" y="1718882"/>
                    <a:pt x="3212591" y="1721645"/>
                    <a:pt x="3209162" y="1721645"/>
                  </a:cubicBezTo>
                  <a:cubicBezTo>
                    <a:pt x="3205733" y="1721645"/>
                    <a:pt x="3202971" y="1718882"/>
                    <a:pt x="3202971" y="1715453"/>
                  </a:cubicBezTo>
                  <a:cubicBezTo>
                    <a:pt x="3202971" y="1712024"/>
                    <a:pt x="3205733" y="1709262"/>
                    <a:pt x="3209162" y="1709262"/>
                  </a:cubicBezTo>
                  <a:close/>
                  <a:moveTo>
                    <a:pt x="114871" y="1708595"/>
                  </a:moveTo>
                  <a:cubicBezTo>
                    <a:pt x="118300" y="1708595"/>
                    <a:pt x="121063" y="1711357"/>
                    <a:pt x="121063" y="1714786"/>
                  </a:cubicBezTo>
                  <a:cubicBezTo>
                    <a:pt x="121063" y="1718215"/>
                    <a:pt x="118300" y="1720978"/>
                    <a:pt x="114871" y="1720978"/>
                  </a:cubicBezTo>
                  <a:cubicBezTo>
                    <a:pt x="111442" y="1720978"/>
                    <a:pt x="108680" y="1718215"/>
                    <a:pt x="108680" y="1714786"/>
                  </a:cubicBezTo>
                  <a:cubicBezTo>
                    <a:pt x="108680" y="1711357"/>
                    <a:pt x="111442" y="1708595"/>
                    <a:pt x="114871" y="1708595"/>
                  </a:cubicBezTo>
                  <a:close/>
                  <a:moveTo>
                    <a:pt x="3226022" y="1707833"/>
                  </a:moveTo>
                  <a:cubicBezTo>
                    <a:pt x="3229451" y="1707833"/>
                    <a:pt x="3232213" y="1710595"/>
                    <a:pt x="3232213" y="1714024"/>
                  </a:cubicBezTo>
                  <a:cubicBezTo>
                    <a:pt x="3232213" y="1717453"/>
                    <a:pt x="3229451" y="1720216"/>
                    <a:pt x="3226022" y="1720216"/>
                  </a:cubicBezTo>
                  <a:cubicBezTo>
                    <a:pt x="3222593" y="1720216"/>
                    <a:pt x="3219831" y="1717453"/>
                    <a:pt x="3219831" y="1714024"/>
                  </a:cubicBezTo>
                  <a:cubicBezTo>
                    <a:pt x="3219831" y="1710595"/>
                    <a:pt x="3222593" y="1707833"/>
                    <a:pt x="3226022" y="1707833"/>
                  </a:cubicBezTo>
                  <a:close/>
                  <a:moveTo>
                    <a:pt x="99155" y="1707261"/>
                  </a:moveTo>
                  <a:cubicBezTo>
                    <a:pt x="102584" y="1707261"/>
                    <a:pt x="105347" y="1710023"/>
                    <a:pt x="105347" y="1713452"/>
                  </a:cubicBezTo>
                  <a:cubicBezTo>
                    <a:pt x="105347" y="1716881"/>
                    <a:pt x="102584" y="1719644"/>
                    <a:pt x="99155" y="1719644"/>
                  </a:cubicBezTo>
                  <a:cubicBezTo>
                    <a:pt x="95726" y="1719644"/>
                    <a:pt x="92964" y="1716881"/>
                    <a:pt x="92964" y="1713452"/>
                  </a:cubicBezTo>
                  <a:cubicBezTo>
                    <a:pt x="92964" y="1710023"/>
                    <a:pt x="95726" y="1707261"/>
                    <a:pt x="99155" y="1707261"/>
                  </a:cubicBezTo>
                  <a:close/>
                  <a:moveTo>
                    <a:pt x="3240595" y="1706499"/>
                  </a:moveTo>
                  <a:cubicBezTo>
                    <a:pt x="3244024" y="1706499"/>
                    <a:pt x="3246786" y="1709261"/>
                    <a:pt x="3246786" y="1712690"/>
                  </a:cubicBezTo>
                  <a:cubicBezTo>
                    <a:pt x="3246786" y="1716119"/>
                    <a:pt x="3244024" y="1718882"/>
                    <a:pt x="3240595" y="1718882"/>
                  </a:cubicBezTo>
                  <a:cubicBezTo>
                    <a:pt x="3237166" y="1718882"/>
                    <a:pt x="3234404" y="1716119"/>
                    <a:pt x="3234404" y="1712690"/>
                  </a:cubicBezTo>
                  <a:cubicBezTo>
                    <a:pt x="3234404" y="1709261"/>
                    <a:pt x="3237166" y="1706499"/>
                    <a:pt x="3240595" y="1706499"/>
                  </a:cubicBezTo>
                  <a:close/>
                  <a:moveTo>
                    <a:pt x="85629" y="1705928"/>
                  </a:moveTo>
                  <a:cubicBezTo>
                    <a:pt x="89058" y="1705928"/>
                    <a:pt x="91821" y="1708690"/>
                    <a:pt x="91821" y="1712119"/>
                  </a:cubicBezTo>
                  <a:cubicBezTo>
                    <a:pt x="91821" y="1715548"/>
                    <a:pt x="89058" y="1718311"/>
                    <a:pt x="85629" y="1718311"/>
                  </a:cubicBezTo>
                  <a:cubicBezTo>
                    <a:pt x="82200" y="1718311"/>
                    <a:pt x="79438" y="1715548"/>
                    <a:pt x="79438" y="1712119"/>
                  </a:cubicBezTo>
                  <a:cubicBezTo>
                    <a:pt x="79438" y="1708690"/>
                    <a:pt x="82200" y="1705928"/>
                    <a:pt x="85629" y="1705928"/>
                  </a:cubicBezTo>
                  <a:close/>
                  <a:moveTo>
                    <a:pt x="8762" y="1691736"/>
                  </a:moveTo>
                  <a:lnTo>
                    <a:pt x="10809" y="1693784"/>
                  </a:lnTo>
                  <a:lnTo>
                    <a:pt x="12286" y="1692307"/>
                  </a:lnTo>
                  <a:lnTo>
                    <a:pt x="14191" y="1694213"/>
                  </a:lnTo>
                  <a:lnTo>
                    <a:pt x="15430" y="1692974"/>
                  </a:lnTo>
                  <a:lnTo>
                    <a:pt x="17096" y="1694641"/>
                  </a:lnTo>
                  <a:lnTo>
                    <a:pt x="18192" y="1693545"/>
                  </a:lnTo>
                  <a:lnTo>
                    <a:pt x="19811" y="1695165"/>
                  </a:lnTo>
                  <a:lnTo>
                    <a:pt x="20764" y="1694212"/>
                  </a:lnTo>
                  <a:lnTo>
                    <a:pt x="22430" y="1695879"/>
                  </a:lnTo>
                  <a:lnTo>
                    <a:pt x="23335" y="1694974"/>
                  </a:lnTo>
                  <a:lnTo>
                    <a:pt x="24954" y="1696594"/>
                  </a:lnTo>
                  <a:lnTo>
                    <a:pt x="25812" y="1695736"/>
                  </a:lnTo>
                  <a:lnTo>
                    <a:pt x="27526" y="1697451"/>
                  </a:lnTo>
                  <a:lnTo>
                    <a:pt x="28479" y="1696498"/>
                  </a:lnTo>
                  <a:lnTo>
                    <a:pt x="30384" y="1698403"/>
                  </a:lnTo>
                  <a:lnTo>
                    <a:pt x="31432" y="1697355"/>
                  </a:lnTo>
                  <a:lnTo>
                    <a:pt x="33575" y="1699498"/>
                  </a:lnTo>
                  <a:lnTo>
                    <a:pt x="34861" y="1698212"/>
                  </a:lnTo>
                  <a:lnTo>
                    <a:pt x="37338" y="1700689"/>
                  </a:lnTo>
                  <a:lnTo>
                    <a:pt x="38861" y="1699165"/>
                  </a:lnTo>
                  <a:lnTo>
                    <a:pt x="41719" y="1702023"/>
                  </a:lnTo>
                  <a:lnTo>
                    <a:pt x="43624" y="1700117"/>
                  </a:lnTo>
                  <a:lnTo>
                    <a:pt x="47006" y="1703498"/>
                  </a:lnTo>
                  <a:lnTo>
                    <a:pt x="49339" y="1701165"/>
                  </a:lnTo>
                  <a:lnTo>
                    <a:pt x="53339" y="1705166"/>
                  </a:lnTo>
                  <a:lnTo>
                    <a:pt x="56197" y="1702308"/>
                  </a:lnTo>
                  <a:lnTo>
                    <a:pt x="60864" y="1706975"/>
                  </a:lnTo>
                  <a:lnTo>
                    <a:pt x="64388" y="1703451"/>
                  </a:lnTo>
                  <a:lnTo>
                    <a:pt x="69817" y="1708881"/>
                  </a:lnTo>
                  <a:lnTo>
                    <a:pt x="74104" y="1704594"/>
                  </a:lnTo>
                  <a:cubicBezTo>
                    <a:pt x="77533" y="1704594"/>
                    <a:pt x="80296" y="1707356"/>
                    <a:pt x="80296" y="1710785"/>
                  </a:cubicBezTo>
                  <a:cubicBezTo>
                    <a:pt x="80296" y="1714214"/>
                    <a:pt x="77533" y="1716977"/>
                    <a:pt x="74104" y="1716977"/>
                  </a:cubicBezTo>
                  <a:lnTo>
                    <a:pt x="68674" y="1711547"/>
                  </a:lnTo>
                  <a:lnTo>
                    <a:pt x="64388" y="1715834"/>
                  </a:lnTo>
                  <a:lnTo>
                    <a:pt x="59721" y="1711167"/>
                  </a:lnTo>
                  <a:lnTo>
                    <a:pt x="56197" y="1714690"/>
                  </a:lnTo>
                  <a:lnTo>
                    <a:pt x="52197" y="1710690"/>
                  </a:lnTo>
                  <a:lnTo>
                    <a:pt x="49339" y="1713548"/>
                  </a:lnTo>
                  <a:lnTo>
                    <a:pt x="45958" y="1710166"/>
                  </a:lnTo>
                  <a:lnTo>
                    <a:pt x="43624" y="1712500"/>
                  </a:lnTo>
                  <a:lnTo>
                    <a:pt x="40766" y="1709642"/>
                  </a:lnTo>
                  <a:lnTo>
                    <a:pt x="38861" y="1711547"/>
                  </a:lnTo>
                  <a:lnTo>
                    <a:pt x="36385" y="1709071"/>
                  </a:lnTo>
                  <a:lnTo>
                    <a:pt x="34861" y="1710595"/>
                  </a:lnTo>
                  <a:lnTo>
                    <a:pt x="32718" y="1708452"/>
                  </a:lnTo>
                  <a:lnTo>
                    <a:pt x="31432" y="1709738"/>
                  </a:lnTo>
                  <a:lnTo>
                    <a:pt x="29527" y="1707833"/>
                  </a:lnTo>
                  <a:lnTo>
                    <a:pt x="28479" y="1708880"/>
                  </a:lnTo>
                  <a:lnTo>
                    <a:pt x="26765" y="1707166"/>
                  </a:lnTo>
                  <a:lnTo>
                    <a:pt x="25812" y="1708119"/>
                  </a:lnTo>
                  <a:lnTo>
                    <a:pt x="24192" y="1706500"/>
                  </a:lnTo>
                  <a:lnTo>
                    <a:pt x="23335" y="1707357"/>
                  </a:lnTo>
                  <a:lnTo>
                    <a:pt x="21668" y="1705691"/>
                  </a:lnTo>
                  <a:lnTo>
                    <a:pt x="20764" y="1706595"/>
                  </a:lnTo>
                  <a:lnTo>
                    <a:pt x="19144" y="1704976"/>
                  </a:lnTo>
                  <a:lnTo>
                    <a:pt x="18192" y="1705928"/>
                  </a:lnTo>
                  <a:lnTo>
                    <a:pt x="16525" y="1704262"/>
                  </a:lnTo>
                  <a:lnTo>
                    <a:pt x="15430" y="1705357"/>
                  </a:lnTo>
                  <a:lnTo>
                    <a:pt x="13524" y="1703452"/>
                  </a:lnTo>
                  <a:lnTo>
                    <a:pt x="12286" y="1704690"/>
                  </a:lnTo>
                  <a:lnTo>
                    <a:pt x="10238" y="1702642"/>
                  </a:lnTo>
                  <a:lnTo>
                    <a:pt x="8762" y="1704118"/>
                  </a:lnTo>
                  <a:lnTo>
                    <a:pt x="5857" y="1701214"/>
                  </a:lnTo>
                  <a:lnTo>
                    <a:pt x="4858" y="1702213"/>
                  </a:lnTo>
                  <a:cubicBezTo>
                    <a:pt x="2191" y="1702213"/>
                    <a:pt x="0" y="1700022"/>
                    <a:pt x="0" y="1697355"/>
                  </a:cubicBezTo>
                  <a:cubicBezTo>
                    <a:pt x="0" y="1694688"/>
                    <a:pt x="2191" y="1692497"/>
                    <a:pt x="4858" y="1692497"/>
                  </a:cubicBezTo>
                  <a:lnTo>
                    <a:pt x="6429" y="1694069"/>
                  </a:lnTo>
                  <a:close/>
                  <a:moveTo>
                    <a:pt x="3346322" y="1689640"/>
                  </a:moveTo>
                  <a:lnTo>
                    <a:pt x="3350227" y="1693546"/>
                  </a:lnTo>
                  <a:lnTo>
                    <a:pt x="3353371" y="1690402"/>
                  </a:lnTo>
                  <a:cubicBezTo>
                    <a:pt x="3356159" y="1690402"/>
                    <a:pt x="3358419" y="1692662"/>
                    <a:pt x="3358419" y="1695450"/>
                  </a:cubicBezTo>
                  <a:cubicBezTo>
                    <a:pt x="3358419" y="1698238"/>
                    <a:pt x="3356159" y="1700499"/>
                    <a:pt x="3353371" y="1700499"/>
                  </a:cubicBezTo>
                  <a:lnTo>
                    <a:pt x="3350608" y="1697736"/>
                  </a:lnTo>
                  <a:lnTo>
                    <a:pt x="3346322" y="1702022"/>
                  </a:lnTo>
                  <a:lnTo>
                    <a:pt x="3343465" y="1699165"/>
                  </a:lnTo>
                  <a:lnTo>
                    <a:pt x="3340131" y="1702499"/>
                  </a:lnTo>
                  <a:lnTo>
                    <a:pt x="3337559" y="1699927"/>
                  </a:lnTo>
                  <a:lnTo>
                    <a:pt x="3334607" y="1702879"/>
                  </a:lnTo>
                  <a:lnTo>
                    <a:pt x="3332417" y="1700689"/>
                  </a:lnTo>
                  <a:lnTo>
                    <a:pt x="3329749" y="1703357"/>
                  </a:lnTo>
                  <a:lnTo>
                    <a:pt x="3327844" y="1701452"/>
                  </a:lnTo>
                  <a:lnTo>
                    <a:pt x="3325463" y="1703832"/>
                  </a:lnTo>
                  <a:lnTo>
                    <a:pt x="3323843" y="1702212"/>
                  </a:lnTo>
                  <a:lnTo>
                    <a:pt x="3321652" y="1704403"/>
                  </a:lnTo>
                  <a:lnTo>
                    <a:pt x="3320320" y="1703071"/>
                  </a:lnTo>
                  <a:lnTo>
                    <a:pt x="3318414" y="1704976"/>
                  </a:lnTo>
                  <a:lnTo>
                    <a:pt x="3317271" y="1703833"/>
                  </a:lnTo>
                  <a:lnTo>
                    <a:pt x="3315461" y="1705642"/>
                  </a:lnTo>
                  <a:lnTo>
                    <a:pt x="3314366" y="1704547"/>
                  </a:lnTo>
                  <a:lnTo>
                    <a:pt x="3312699" y="1706213"/>
                  </a:lnTo>
                  <a:lnTo>
                    <a:pt x="3311842" y="1705357"/>
                  </a:lnTo>
                  <a:lnTo>
                    <a:pt x="3310223" y="1706976"/>
                  </a:lnTo>
                  <a:lnTo>
                    <a:pt x="3309318" y="1706071"/>
                  </a:lnTo>
                  <a:lnTo>
                    <a:pt x="3307746" y="1707643"/>
                  </a:lnTo>
                  <a:lnTo>
                    <a:pt x="3306841" y="1706738"/>
                  </a:lnTo>
                  <a:lnTo>
                    <a:pt x="3305174" y="1708405"/>
                  </a:lnTo>
                  <a:lnTo>
                    <a:pt x="3304174" y="1707405"/>
                  </a:lnTo>
                  <a:lnTo>
                    <a:pt x="3302317" y="1709262"/>
                  </a:lnTo>
                  <a:lnTo>
                    <a:pt x="3301174" y="1708119"/>
                  </a:lnTo>
                  <a:lnTo>
                    <a:pt x="3299174" y="1710119"/>
                  </a:lnTo>
                  <a:lnTo>
                    <a:pt x="3297841" y="1708786"/>
                  </a:lnTo>
                  <a:lnTo>
                    <a:pt x="3295554" y="1711072"/>
                  </a:lnTo>
                  <a:lnTo>
                    <a:pt x="3293839" y="1709357"/>
                  </a:lnTo>
                  <a:lnTo>
                    <a:pt x="3291173" y="1712024"/>
                  </a:lnTo>
                  <a:lnTo>
                    <a:pt x="3289078" y="1709929"/>
                  </a:lnTo>
                  <a:lnTo>
                    <a:pt x="3286029" y="1712977"/>
                  </a:lnTo>
                  <a:lnTo>
                    <a:pt x="3283457" y="1710405"/>
                  </a:lnTo>
                  <a:lnTo>
                    <a:pt x="3279838" y="1714024"/>
                  </a:lnTo>
                  <a:lnTo>
                    <a:pt x="3276694" y="1710880"/>
                  </a:lnTo>
                  <a:lnTo>
                    <a:pt x="3272408" y="1715167"/>
                  </a:lnTo>
                  <a:lnTo>
                    <a:pt x="3268551" y="1711310"/>
                  </a:lnTo>
                  <a:lnTo>
                    <a:pt x="3263455" y="1716406"/>
                  </a:lnTo>
                  <a:lnTo>
                    <a:pt x="3258788" y="1711738"/>
                  </a:lnTo>
                  <a:lnTo>
                    <a:pt x="3252977" y="1717549"/>
                  </a:lnTo>
                  <a:cubicBezTo>
                    <a:pt x="3249548" y="1717549"/>
                    <a:pt x="3246786" y="1714786"/>
                    <a:pt x="3246786" y="1711357"/>
                  </a:cubicBezTo>
                  <a:cubicBezTo>
                    <a:pt x="3246786" y="1707928"/>
                    <a:pt x="3249548" y="1705166"/>
                    <a:pt x="3252977" y="1705166"/>
                  </a:cubicBezTo>
                  <a:lnTo>
                    <a:pt x="3257645" y="1709833"/>
                  </a:lnTo>
                  <a:lnTo>
                    <a:pt x="3263455" y="1704023"/>
                  </a:lnTo>
                  <a:lnTo>
                    <a:pt x="3267312" y="1707880"/>
                  </a:lnTo>
                  <a:lnTo>
                    <a:pt x="3272408" y="1702784"/>
                  </a:lnTo>
                  <a:lnTo>
                    <a:pt x="3275551" y="1705928"/>
                  </a:lnTo>
                  <a:lnTo>
                    <a:pt x="3279838" y="1701641"/>
                  </a:lnTo>
                  <a:lnTo>
                    <a:pt x="3282410" y="1704213"/>
                  </a:lnTo>
                  <a:lnTo>
                    <a:pt x="3286029" y="1700594"/>
                  </a:lnTo>
                  <a:lnTo>
                    <a:pt x="3288125" y="1702690"/>
                  </a:lnTo>
                  <a:lnTo>
                    <a:pt x="3291173" y="1699641"/>
                  </a:lnTo>
                  <a:lnTo>
                    <a:pt x="3292887" y="1701356"/>
                  </a:lnTo>
                  <a:lnTo>
                    <a:pt x="3295554" y="1698689"/>
                  </a:lnTo>
                  <a:lnTo>
                    <a:pt x="3296888" y="1700023"/>
                  </a:lnTo>
                  <a:lnTo>
                    <a:pt x="3299174" y="1697736"/>
                  </a:lnTo>
                  <a:lnTo>
                    <a:pt x="3300317" y="1698879"/>
                  </a:lnTo>
                  <a:lnTo>
                    <a:pt x="3302317" y="1696879"/>
                  </a:lnTo>
                  <a:lnTo>
                    <a:pt x="3303317" y="1697879"/>
                  </a:lnTo>
                  <a:lnTo>
                    <a:pt x="3305174" y="1696022"/>
                  </a:lnTo>
                  <a:lnTo>
                    <a:pt x="3306079" y="1696927"/>
                  </a:lnTo>
                  <a:lnTo>
                    <a:pt x="3307746" y="1695260"/>
                  </a:lnTo>
                  <a:lnTo>
                    <a:pt x="3308651" y="1696165"/>
                  </a:lnTo>
                  <a:lnTo>
                    <a:pt x="3310223" y="1694593"/>
                  </a:lnTo>
                  <a:lnTo>
                    <a:pt x="3311080" y="1695450"/>
                  </a:lnTo>
                  <a:lnTo>
                    <a:pt x="3312699" y="1693831"/>
                  </a:lnTo>
                  <a:lnTo>
                    <a:pt x="3313794" y="1694926"/>
                  </a:lnTo>
                  <a:lnTo>
                    <a:pt x="3315461" y="1693259"/>
                  </a:lnTo>
                  <a:lnTo>
                    <a:pt x="3316605" y="1694403"/>
                  </a:lnTo>
                  <a:lnTo>
                    <a:pt x="3318414" y="1692593"/>
                  </a:lnTo>
                  <a:lnTo>
                    <a:pt x="3319747" y="1693926"/>
                  </a:lnTo>
                  <a:lnTo>
                    <a:pt x="3321652" y="1692021"/>
                  </a:lnTo>
                  <a:lnTo>
                    <a:pt x="3323272" y="1693641"/>
                  </a:lnTo>
                  <a:lnTo>
                    <a:pt x="3325463" y="1691450"/>
                  </a:lnTo>
                  <a:lnTo>
                    <a:pt x="3327368" y="1693355"/>
                  </a:lnTo>
                  <a:lnTo>
                    <a:pt x="3329749" y="1690974"/>
                  </a:lnTo>
                  <a:lnTo>
                    <a:pt x="3331940" y="1693165"/>
                  </a:lnTo>
                  <a:lnTo>
                    <a:pt x="3334607" y="1690497"/>
                  </a:lnTo>
                  <a:lnTo>
                    <a:pt x="3337178" y="1693069"/>
                  </a:lnTo>
                  <a:lnTo>
                    <a:pt x="3340131" y="1690116"/>
                  </a:lnTo>
                  <a:lnTo>
                    <a:pt x="3342989" y="1692974"/>
                  </a:lnTo>
                  <a:close/>
                  <a:moveTo>
                    <a:pt x="79438" y="1639824"/>
                  </a:moveTo>
                  <a:cubicBezTo>
                    <a:pt x="82867" y="1639824"/>
                    <a:pt x="85629" y="1642586"/>
                    <a:pt x="85629" y="1646015"/>
                  </a:cubicBezTo>
                  <a:cubicBezTo>
                    <a:pt x="85629" y="1649444"/>
                    <a:pt x="82867" y="1652207"/>
                    <a:pt x="79438" y="1652207"/>
                  </a:cubicBezTo>
                  <a:lnTo>
                    <a:pt x="74581" y="1647349"/>
                  </a:lnTo>
                  <a:lnTo>
                    <a:pt x="68865" y="1653064"/>
                  </a:lnTo>
                  <a:lnTo>
                    <a:pt x="64864" y="1649064"/>
                  </a:lnTo>
                  <a:lnTo>
                    <a:pt x="59911" y="1654017"/>
                  </a:lnTo>
                  <a:lnTo>
                    <a:pt x="56625" y="1650731"/>
                  </a:lnTo>
                  <a:lnTo>
                    <a:pt x="52482" y="1654874"/>
                  </a:lnTo>
                  <a:lnTo>
                    <a:pt x="49720" y="1652112"/>
                  </a:lnTo>
                  <a:lnTo>
                    <a:pt x="46195" y="1655636"/>
                  </a:lnTo>
                  <a:lnTo>
                    <a:pt x="44004" y="1653446"/>
                  </a:lnTo>
                  <a:lnTo>
                    <a:pt x="41052" y="1656398"/>
                  </a:lnTo>
                  <a:lnTo>
                    <a:pt x="39242" y="1654589"/>
                  </a:lnTo>
                  <a:lnTo>
                    <a:pt x="36671" y="1657160"/>
                  </a:lnTo>
                  <a:lnTo>
                    <a:pt x="35147" y="1655636"/>
                  </a:lnTo>
                  <a:lnTo>
                    <a:pt x="32956" y="1657826"/>
                  </a:lnTo>
                  <a:lnTo>
                    <a:pt x="31718" y="1656589"/>
                  </a:lnTo>
                  <a:lnTo>
                    <a:pt x="29813" y="1658494"/>
                  </a:lnTo>
                  <a:lnTo>
                    <a:pt x="28765" y="1657446"/>
                  </a:lnTo>
                  <a:lnTo>
                    <a:pt x="27050" y="1659160"/>
                  </a:lnTo>
                  <a:lnTo>
                    <a:pt x="26050" y="1658160"/>
                  </a:lnTo>
                  <a:lnTo>
                    <a:pt x="24478" y="1659732"/>
                  </a:lnTo>
                  <a:lnTo>
                    <a:pt x="23526" y="1658780"/>
                  </a:lnTo>
                  <a:lnTo>
                    <a:pt x="22002" y="1660304"/>
                  </a:lnTo>
                  <a:lnTo>
                    <a:pt x="21001" y="1659304"/>
                  </a:lnTo>
                  <a:lnTo>
                    <a:pt x="19430" y="1660875"/>
                  </a:lnTo>
                  <a:lnTo>
                    <a:pt x="18334" y="1659780"/>
                  </a:lnTo>
                  <a:lnTo>
                    <a:pt x="16763" y="1661351"/>
                  </a:lnTo>
                  <a:lnTo>
                    <a:pt x="15525" y="1660114"/>
                  </a:lnTo>
                  <a:lnTo>
                    <a:pt x="13811" y="1661828"/>
                  </a:lnTo>
                  <a:lnTo>
                    <a:pt x="12381" y="1660399"/>
                  </a:lnTo>
                  <a:lnTo>
                    <a:pt x="10572" y="1662208"/>
                  </a:lnTo>
                  <a:lnTo>
                    <a:pt x="8953" y="1660589"/>
                  </a:lnTo>
                  <a:lnTo>
                    <a:pt x="6857" y="1662685"/>
                  </a:lnTo>
                  <a:lnTo>
                    <a:pt x="2618" y="1658446"/>
                  </a:lnTo>
                  <a:lnTo>
                    <a:pt x="2571" y="1658493"/>
                  </a:lnTo>
                  <a:cubicBezTo>
                    <a:pt x="1625" y="1658493"/>
                    <a:pt x="857" y="1657725"/>
                    <a:pt x="857" y="1656778"/>
                  </a:cubicBezTo>
                  <a:lnTo>
                    <a:pt x="904" y="1656731"/>
                  </a:lnTo>
                  <a:lnTo>
                    <a:pt x="666" y="1656493"/>
                  </a:lnTo>
                  <a:cubicBezTo>
                    <a:pt x="666" y="1653064"/>
                    <a:pt x="3428" y="1650302"/>
                    <a:pt x="6857" y="1650302"/>
                  </a:cubicBezTo>
                  <a:lnTo>
                    <a:pt x="8476" y="1651921"/>
                  </a:lnTo>
                  <a:lnTo>
                    <a:pt x="10572" y="1649825"/>
                  </a:lnTo>
                  <a:lnTo>
                    <a:pt x="12001" y="1651255"/>
                  </a:lnTo>
                  <a:lnTo>
                    <a:pt x="13811" y="1649445"/>
                  </a:lnTo>
                  <a:lnTo>
                    <a:pt x="15048" y="1650683"/>
                  </a:lnTo>
                  <a:lnTo>
                    <a:pt x="16763" y="1648968"/>
                  </a:lnTo>
                  <a:lnTo>
                    <a:pt x="17858" y="1650064"/>
                  </a:lnTo>
                  <a:lnTo>
                    <a:pt x="19430" y="1648492"/>
                  </a:lnTo>
                  <a:lnTo>
                    <a:pt x="20430" y="1649493"/>
                  </a:lnTo>
                  <a:lnTo>
                    <a:pt x="22002" y="1647921"/>
                  </a:lnTo>
                  <a:lnTo>
                    <a:pt x="22954" y="1648873"/>
                  </a:lnTo>
                  <a:lnTo>
                    <a:pt x="24478" y="1647349"/>
                  </a:lnTo>
                  <a:lnTo>
                    <a:pt x="25478" y="1648350"/>
                  </a:lnTo>
                  <a:lnTo>
                    <a:pt x="27050" y="1646778"/>
                  </a:lnTo>
                  <a:lnTo>
                    <a:pt x="28098" y="1647826"/>
                  </a:lnTo>
                  <a:lnTo>
                    <a:pt x="29813" y="1646111"/>
                  </a:lnTo>
                  <a:lnTo>
                    <a:pt x="31051" y="1647349"/>
                  </a:lnTo>
                  <a:lnTo>
                    <a:pt x="32956" y="1645444"/>
                  </a:lnTo>
                  <a:lnTo>
                    <a:pt x="34480" y="1646968"/>
                  </a:lnTo>
                  <a:lnTo>
                    <a:pt x="36671" y="1644777"/>
                  </a:lnTo>
                  <a:lnTo>
                    <a:pt x="38480" y="1646587"/>
                  </a:lnTo>
                  <a:lnTo>
                    <a:pt x="41052" y="1644015"/>
                  </a:lnTo>
                  <a:lnTo>
                    <a:pt x="43242" y="1646206"/>
                  </a:lnTo>
                  <a:lnTo>
                    <a:pt x="46195" y="1643253"/>
                  </a:lnTo>
                  <a:lnTo>
                    <a:pt x="48958" y="1646016"/>
                  </a:lnTo>
                  <a:lnTo>
                    <a:pt x="52482" y="1642491"/>
                  </a:lnTo>
                  <a:lnTo>
                    <a:pt x="55768" y="1645777"/>
                  </a:lnTo>
                  <a:lnTo>
                    <a:pt x="59911" y="1641634"/>
                  </a:lnTo>
                  <a:lnTo>
                    <a:pt x="63912" y="1645635"/>
                  </a:lnTo>
                  <a:lnTo>
                    <a:pt x="68865" y="1640682"/>
                  </a:lnTo>
                  <a:lnTo>
                    <a:pt x="73723" y="1645539"/>
                  </a:lnTo>
                  <a:close/>
                  <a:moveTo>
                    <a:pt x="3247167" y="1639348"/>
                  </a:moveTo>
                  <a:lnTo>
                    <a:pt x="3253358" y="1645539"/>
                  </a:lnTo>
                  <a:lnTo>
                    <a:pt x="3258597" y="1640300"/>
                  </a:lnTo>
                  <a:lnTo>
                    <a:pt x="3263884" y="1645586"/>
                  </a:lnTo>
                  <a:lnTo>
                    <a:pt x="3268217" y="1641253"/>
                  </a:lnTo>
                  <a:lnTo>
                    <a:pt x="3272742" y="1645778"/>
                  </a:lnTo>
                  <a:lnTo>
                    <a:pt x="3276409" y="1642110"/>
                  </a:lnTo>
                  <a:lnTo>
                    <a:pt x="3280172" y="1645872"/>
                  </a:lnTo>
                  <a:lnTo>
                    <a:pt x="3283172" y="1642872"/>
                  </a:lnTo>
                  <a:lnTo>
                    <a:pt x="3286458" y="1646158"/>
                  </a:lnTo>
                  <a:lnTo>
                    <a:pt x="3288887" y="1643729"/>
                  </a:lnTo>
                  <a:lnTo>
                    <a:pt x="3291601" y="1646444"/>
                  </a:lnTo>
                  <a:lnTo>
                    <a:pt x="3293554" y="1644491"/>
                  </a:lnTo>
                  <a:lnTo>
                    <a:pt x="3295887" y="1646825"/>
                  </a:lnTo>
                  <a:lnTo>
                    <a:pt x="3297554" y="1645158"/>
                  </a:lnTo>
                  <a:lnTo>
                    <a:pt x="3299555" y="1647159"/>
                  </a:lnTo>
                  <a:lnTo>
                    <a:pt x="3300888" y="1645825"/>
                  </a:lnTo>
                  <a:lnTo>
                    <a:pt x="3302698" y="1647635"/>
                  </a:lnTo>
                  <a:lnTo>
                    <a:pt x="3303841" y="1646492"/>
                  </a:lnTo>
                  <a:lnTo>
                    <a:pt x="3305460" y="1648111"/>
                  </a:lnTo>
                  <a:lnTo>
                    <a:pt x="3306508" y="1647063"/>
                  </a:lnTo>
                  <a:lnTo>
                    <a:pt x="3308080" y="1648635"/>
                  </a:lnTo>
                  <a:lnTo>
                    <a:pt x="3309080" y="1647635"/>
                  </a:lnTo>
                  <a:lnTo>
                    <a:pt x="3310603" y="1649159"/>
                  </a:lnTo>
                  <a:lnTo>
                    <a:pt x="3311556" y="1648206"/>
                  </a:lnTo>
                  <a:lnTo>
                    <a:pt x="3313081" y="1649731"/>
                  </a:lnTo>
                  <a:lnTo>
                    <a:pt x="3314128" y="1648683"/>
                  </a:lnTo>
                  <a:lnTo>
                    <a:pt x="3315794" y="1650350"/>
                  </a:lnTo>
                  <a:lnTo>
                    <a:pt x="3316985" y="1649159"/>
                  </a:lnTo>
                  <a:lnTo>
                    <a:pt x="3318747" y="1650921"/>
                  </a:lnTo>
                  <a:lnTo>
                    <a:pt x="3320033" y="1649635"/>
                  </a:lnTo>
                  <a:lnTo>
                    <a:pt x="3322033" y="1651635"/>
                  </a:lnTo>
                  <a:lnTo>
                    <a:pt x="3323557" y="1650111"/>
                  </a:lnTo>
                  <a:lnTo>
                    <a:pt x="3325748" y="1652302"/>
                  </a:lnTo>
                  <a:lnTo>
                    <a:pt x="3327558" y="1650492"/>
                  </a:lnTo>
                  <a:lnTo>
                    <a:pt x="3330034" y="1652969"/>
                  </a:lnTo>
                  <a:lnTo>
                    <a:pt x="3332130" y="1650873"/>
                  </a:lnTo>
                  <a:lnTo>
                    <a:pt x="3334893" y="1653636"/>
                  </a:lnTo>
                  <a:lnTo>
                    <a:pt x="3337274" y="1651254"/>
                  </a:lnTo>
                  <a:lnTo>
                    <a:pt x="3340370" y="1654350"/>
                  </a:lnTo>
                  <a:lnTo>
                    <a:pt x="3343179" y="1651540"/>
                  </a:lnTo>
                  <a:lnTo>
                    <a:pt x="3346656" y="1655017"/>
                  </a:lnTo>
                  <a:lnTo>
                    <a:pt x="3349847" y="1651826"/>
                  </a:lnTo>
                  <a:lnTo>
                    <a:pt x="3355800" y="1657779"/>
                  </a:lnTo>
                  <a:lnTo>
                    <a:pt x="3357181" y="1656398"/>
                  </a:lnTo>
                  <a:cubicBezTo>
                    <a:pt x="3358233" y="1656398"/>
                    <a:pt x="3359086" y="1657251"/>
                    <a:pt x="3359086" y="1658303"/>
                  </a:cubicBezTo>
                  <a:cubicBezTo>
                    <a:pt x="3359086" y="1659355"/>
                    <a:pt x="3358233" y="1660208"/>
                    <a:pt x="3357181" y="1660208"/>
                  </a:cubicBezTo>
                  <a:lnTo>
                    <a:pt x="3355514" y="1658541"/>
                  </a:lnTo>
                  <a:lnTo>
                    <a:pt x="3349847" y="1664209"/>
                  </a:lnTo>
                  <a:lnTo>
                    <a:pt x="3346370" y="1660732"/>
                  </a:lnTo>
                  <a:lnTo>
                    <a:pt x="3343179" y="1663922"/>
                  </a:lnTo>
                  <a:lnTo>
                    <a:pt x="3340084" y="1660827"/>
                  </a:lnTo>
                  <a:lnTo>
                    <a:pt x="3337274" y="1663636"/>
                  </a:lnTo>
                  <a:lnTo>
                    <a:pt x="3334512" y="1660874"/>
                  </a:lnTo>
                  <a:lnTo>
                    <a:pt x="3332130" y="1663256"/>
                  </a:lnTo>
                  <a:lnTo>
                    <a:pt x="3329654" y="1660779"/>
                  </a:lnTo>
                  <a:lnTo>
                    <a:pt x="3327558" y="1662875"/>
                  </a:lnTo>
                  <a:lnTo>
                    <a:pt x="3325367" y="1660684"/>
                  </a:lnTo>
                  <a:lnTo>
                    <a:pt x="3323557" y="1662494"/>
                  </a:lnTo>
                  <a:lnTo>
                    <a:pt x="3321557" y="1660494"/>
                  </a:lnTo>
                  <a:lnTo>
                    <a:pt x="3320033" y="1662018"/>
                  </a:lnTo>
                  <a:lnTo>
                    <a:pt x="3318271" y="1660256"/>
                  </a:lnTo>
                  <a:lnTo>
                    <a:pt x="3316985" y="1661541"/>
                  </a:lnTo>
                  <a:lnTo>
                    <a:pt x="3315319" y="1659875"/>
                  </a:lnTo>
                  <a:lnTo>
                    <a:pt x="3314128" y="1661066"/>
                  </a:lnTo>
                  <a:lnTo>
                    <a:pt x="3312604" y="1659542"/>
                  </a:lnTo>
                  <a:lnTo>
                    <a:pt x="3311556" y="1660589"/>
                  </a:lnTo>
                  <a:lnTo>
                    <a:pt x="3310033" y="1659066"/>
                  </a:lnTo>
                  <a:lnTo>
                    <a:pt x="3309080" y="1660018"/>
                  </a:lnTo>
                  <a:lnTo>
                    <a:pt x="3307508" y="1658446"/>
                  </a:lnTo>
                  <a:lnTo>
                    <a:pt x="3306508" y="1659446"/>
                  </a:lnTo>
                  <a:lnTo>
                    <a:pt x="3304889" y="1657827"/>
                  </a:lnTo>
                  <a:lnTo>
                    <a:pt x="3303841" y="1658874"/>
                  </a:lnTo>
                  <a:lnTo>
                    <a:pt x="3302031" y="1657065"/>
                  </a:lnTo>
                  <a:lnTo>
                    <a:pt x="3300888" y="1658208"/>
                  </a:lnTo>
                  <a:lnTo>
                    <a:pt x="3298887" y="1656207"/>
                  </a:lnTo>
                  <a:lnTo>
                    <a:pt x="3297554" y="1657540"/>
                  </a:lnTo>
                  <a:lnTo>
                    <a:pt x="3295221" y="1655207"/>
                  </a:lnTo>
                  <a:lnTo>
                    <a:pt x="3293554" y="1656874"/>
                  </a:lnTo>
                  <a:lnTo>
                    <a:pt x="3290840" y="1654159"/>
                  </a:lnTo>
                  <a:lnTo>
                    <a:pt x="3288887" y="1656112"/>
                  </a:lnTo>
                  <a:lnTo>
                    <a:pt x="3285601" y="1652826"/>
                  </a:lnTo>
                  <a:lnTo>
                    <a:pt x="3283172" y="1655255"/>
                  </a:lnTo>
                  <a:lnTo>
                    <a:pt x="3279410" y="1651492"/>
                  </a:lnTo>
                  <a:lnTo>
                    <a:pt x="3276409" y="1654493"/>
                  </a:lnTo>
                  <a:lnTo>
                    <a:pt x="3271885" y="1649968"/>
                  </a:lnTo>
                  <a:lnTo>
                    <a:pt x="3268217" y="1653636"/>
                  </a:lnTo>
                  <a:lnTo>
                    <a:pt x="3262931" y="1648349"/>
                  </a:lnTo>
                  <a:lnTo>
                    <a:pt x="3258597" y="1652683"/>
                  </a:lnTo>
                  <a:cubicBezTo>
                    <a:pt x="3255168" y="1652683"/>
                    <a:pt x="3252406" y="1649920"/>
                    <a:pt x="3252406" y="1646491"/>
                  </a:cubicBezTo>
                  <a:lnTo>
                    <a:pt x="3252968" y="1645929"/>
                  </a:lnTo>
                  <a:lnTo>
                    <a:pt x="3247167" y="1651730"/>
                  </a:lnTo>
                  <a:cubicBezTo>
                    <a:pt x="3243738" y="1651730"/>
                    <a:pt x="3240976" y="1648968"/>
                    <a:pt x="3240976" y="1645539"/>
                  </a:cubicBezTo>
                  <a:cubicBezTo>
                    <a:pt x="3240976" y="1642110"/>
                    <a:pt x="3243738" y="1639348"/>
                    <a:pt x="3247167" y="1639348"/>
                  </a:cubicBezTo>
                  <a:close/>
                  <a:moveTo>
                    <a:pt x="91916" y="1638776"/>
                  </a:moveTo>
                  <a:cubicBezTo>
                    <a:pt x="95345" y="1638776"/>
                    <a:pt x="98108" y="1641538"/>
                    <a:pt x="98108" y="1644967"/>
                  </a:cubicBezTo>
                  <a:cubicBezTo>
                    <a:pt x="98108" y="1648396"/>
                    <a:pt x="95345" y="1651159"/>
                    <a:pt x="91916" y="1651159"/>
                  </a:cubicBezTo>
                  <a:cubicBezTo>
                    <a:pt x="88487" y="1651159"/>
                    <a:pt x="85725" y="1648396"/>
                    <a:pt x="85725" y="1644967"/>
                  </a:cubicBezTo>
                  <a:cubicBezTo>
                    <a:pt x="85725" y="1641538"/>
                    <a:pt x="88487" y="1638776"/>
                    <a:pt x="91916" y="1638776"/>
                  </a:cubicBezTo>
                  <a:close/>
                  <a:moveTo>
                    <a:pt x="3233737" y="1638300"/>
                  </a:moveTo>
                  <a:cubicBezTo>
                    <a:pt x="3237166" y="1638300"/>
                    <a:pt x="3239928" y="1641062"/>
                    <a:pt x="3239928" y="1644491"/>
                  </a:cubicBezTo>
                  <a:cubicBezTo>
                    <a:pt x="3239928" y="1647920"/>
                    <a:pt x="3237166" y="1650682"/>
                    <a:pt x="3233737" y="1650682"/>
                  </a:cubicBezTo>
                  <a:cubicBezTo>
                    <a:pt x="3230308" y="1650682"/>
                    <a:pt x="3227546" y="1647920"/>
                    <a:pt x="3227546" y="1644491"/>
                  </a:cubicBezTo>
                  <a:cubicBezTo>
                    <a:pt x="3227546" y="1641062"/>
                    <a:pt x="3230308" y="1638300"/>
                    <a:pt x="3233737" y="1638300"/>
                  </a:cubicBezTo>
                  <a:close/>
                  <a:moveTo>
                    <a:pt x="106489" y="1637729"/>
                  </a:moveTo>
                  <a:cubicBezTo>
                    <a:pt x="109918" y="1637729"/>
                    <a:pt x="112681" y="1640491"/>
                    <a:pt x="112681" y="1643920"/>
                  </a:cubicBezTo>
                  <a:cubicBezTo>
                    <a:pt x="112681" y="1647349"/>
                    <a:pt x="109918" y="1650112"/>
                    <a:pt x="106489" y="1650112"/>
                  </a:cubicBezTo>
                  <a:cubicBezTo>
                    <a:pt x="103060" y="1650112"/>
                    <a:pt x="100298" y="1647349"/>
                    <a:pt x="100298" y="1643920"/>
                  </a:cubicBezTo>
                  <a:cubicBezTo>
                    <a:pt x="100298" y="1640491"/>
                    <a:pt x="103060" y="1637729"/>
                    <a:pt x="106489" y="1637729"/>
                  </a:cubicBezTo>
                  <a:close/>
                  <a:moveTo>
                    <a:pt x="3218021" y="1637253"/>
                  </a:moveTo>
                  <a:cubicBezTo>
                    <a:pt x="3221450" y="1637253"/>
                    <a:pt x="3224212" y="1640015"/>
                    <a:pt x="3224212" y="1643444"/>
                  </a:cubicBezTo>
                  <a:cubicBezTo>
                    <a:pt x="3224212" y="1646873"/>
                    <a:pt x="3221450" y="1649635"/>
                    <a:pt x="3218021" y="1649635"/>
                  </a:cubicBezTo>
                  <a:cubicBezTo>
                    <a:pt x="3214592" y="1649635"/>
                    <a:pt x="3211830" y="1646873"/>
                    <a:pt x="3211830" y="1643444"/>
                  </a:cubicBezTo>
                  <a:cubicBezTo>
                    <a:pt x="3211830" y="1640015"/>
                    <a:pt x="3214592" y="1637253"/>
                    <a:pt x="3218021" y="1637253"/>
                  </a:cubicBezTo>
                  <a:close/>
                  <a:moveTo>
                    <a:pt x="123538" y="1636681"/>
                  </a:moveTo>
                  <a:cubicBezTo>
                    <a:pt x="126967" y="1636681"/>
                    <a:pt x="129730" y="1639443"/>
                    <a:pt x="129730" y="1642872"/>
                  </a:cubicBezTo>
                  <a:cubicBezTo>
                    <a:pt x="129730" y="1646301"/>
                    <a:pt x="126967" y="1649063"/>
                    <a:pt x="123538" y="1649063"/>
                  </a:cubicBezTo>
                  <a:cubicBezTo>
                    <a:pt x="120109" y="1649063"/>
                    <a:pt x="117347" y="1646301"/>
                    <a:pt x="117347" y="1642872"/>
                  </a:cubicBezTo>
                  <a:cubicBezTo>
                    <a:pt x="117347" y="1639443"/>
                    <a:pt x="120109" y="1636681"/>
                    <a:pt x="123538" y="1636681"/>
                  </a:cubicBezTo>
                  <a:close/>
                  <a:moveTo>
                    <a:pt x="3199828" y="1636109"/>
                  </a:moveTo>
                  <a:cubicBezTo>
                    <a:pt x="3203257" y="1636109"/>
                    <a:pt x="3206019" y="1638871"/>
                    <a:pt x="3206019" y="1642300"/>
                  </a:cubicBezTo>
                  <a:cubicBezTo>
                    <a:pt x="3206019" y="1645729"/>
                    <a:pt x="3203257" y="1648492"/>
                    <a:pt x="3199828" y="1648492"/>
                  </a:cubicBezTo>
                  <a:cubicBezTo>
                    <a:pt x="3196399" y="1648492"/>
                    <a:pt x="3193637" y="1645729"/>
                    <a:pt x="3193637" y="1642300"/>
                  </a:cubicBezTo>
                  <a:cubicBezTo>
                    <a:pt x="3193637" y="1638871"/>
                    <a:pt x="3196399" y="1636109"/>
                    <a:pt x="3199828" y="1636109"/>
                  </a:cubicBezTo>
                  <a:close/>
                  <a:moveTo>
                    <a:pt x="143160" y="1635538"/>
                  </a:moveTo>
                  <a:cubicBezTo>
                    <a:pt x="146589" y="1635538"/>
                    <a:pt x="149352" y="1638300"/>
                    <a:pt x="149352" y="1641729"/>
                  </a:cubicBezTo>
                  <a:cubicBezTo>
                    <a:pt x="149352" y="1645158"/>
                    <a:pt x="146589" y="1647921"/>
                    <a:pt x="143160" y="1647921"/>
                  </a:cubicBezTo>
                  <a:cubicBezTo>
                    <a:pt x="139731" y="1647921"/>
                    <a:pt x="136969" y="1645158"/>
                    <a:pt x="136969" y="1641729"/>
                  </a:cubicBezTo>
                  <a:cubicBezTo>
                    <a:pt x="136969" y="1638300"/>
                    <a:pt x="139731" y="1635538"/>
                    <a:pt x="143160" y="1635538"/>
                  </a:cubicBezTo>
                  <a:close/>
                  <a:moveTo>
                    <a:pt x="3178873" y="1634966"/>
                  </a:moveTo>
                  <a:cubicBezTo>
                    <a:pt x="3182302" y="1634966"/>
                    <a:pt x="3185065" y="1637728"/>
                    <a:pt x="3185065" y="1641157"/>
                  </a:cubicBezTo>
                  <a:cubicBezTo>
                    <a:pt x="3185065" y="1644586"/>
                    <a:pt x="3182302" y="1647349"/>
                    <a:pt x="3178873" y="1647349"/>
                  </a:cubicBezTo>
                  <a:cubicBezTo>
                    <a:pt x="3175444" y="1647349"/>
                    <a:pt x="3172682" y="1644586"/>
                    <a:pt x="3172682" y="1641157"/>
                  </a:cubicBezTo>
                  <a:cubicBezTo>
                    <a:pt x="3172682" y="1637728"/>
                    <a:pt x="3175444" y="1634966"/>
                    <a:pt x="3178873" y="1634966"/>
                  </a:cubicBezTo>
                  <a:close/>
                  <a:moveTo>
                    <a:pt x="165734" y="1634395"/>
                  </a:moveTo>
                  <a:cubicBezTo>
                    <a:pt x="169163" y="1634395"/>
                    <a:pt x="171925" y="1637157"/>
                    <a:pt x="171925" y="1640586"/>
                  </a:cubicBezTo>
                  <a:cubicBezTo>
                    <a:pt x="171925" y="1644015"/>
                    <a:pt x="169163" y="1646778"/>
                    <a:pt x="165734" y="1646778"/>
                  </a:cubicBezTo>
                  <a:cubicBezTo>
                    <a:pt x="162305" y="1646778"/>
                    <a:pt x="159543" y="1644015"/>
                    <a:pt x="159543" y="1640586"/>
                  </a:cubicBezTo>
                  <a:cubicBezTo>
                    <a:pt x="159543" y="1637157"/>
                    <a:pt x="162305" y="1634395"/>
                    <a:pt x="165734" y="1634395"/>
                  </a:cubicBezTo>
                  <a:close/>
                  <a:moveTo>
                    <a:pt x="3154870" y="1633824"/>
                  </a:moveTo>
                  <a:cubicBezTo>
                    <a:pt x="3158299" y="1633824"/>
                    <a:pt x="3161061" y="1636586"/>
                    <a:pt x="3161061" y="1640015"/>
                  </a:cubicBezTo>
                  <a:cubicBezTo>
                    <a:pt x="3161061" y="1643444"/>
                    <a:pt x="3158299" y="1646207"/>
                    <a:pt x="3154870" y="1646207"/>
                  </a:cubicBezTo>
                  <a:cubicBezTo>
                    <a:pt x="3151441" y="1646207"/>
                    <a:pt x="3148679" y="1643444"/>
                    <a:pt x="3148679" y="1640015"/>
                  </a:cubicBezTo>
                  <a:cubicBezTo>
                    <a:pt x="3148679" y="1636586"/>
                    <a:pt x="3151441" y="1633824"/>
                    <a:pt x="3154870" y="1633824"/>
                  </a:cubicBezTo>
                  <a:close/>
                  <a:moveTo>
                    <a:pt x="191547" y="1633157"/>
                  </a:moveTo>
                  <a:cubicBezTo>
                    <a:pt x="194976" y="1633157"/>
                    <a:pt x="197739" y="1635919"/>
                    <a:pt x="197739" y="1639348"/>
                  </a:cubicBezTo>
                  <a:cubicBezTo>
                    <a:pt x="197739" y="1642777"/>
                    <a:pt x="194976" y="1645540"/>
                    <a:pt x="191547" y="1645540"/>
                  </a:cubicBezTo>
                  <a:cubicBezTo>
                    <a:pt x="188118" y="1645540"/>
                    <a:pt x="185356" y="1642777"/>
                    <a:pt x="185356" y="1639348"/>
                  </a:cubicBezTo>
                  <a:cubicBezTo>
                    <a:pt x="185356" y="1635919"/>
                    <a:pt x="188118" y="1633157"/>
                    <a:pt x="191547" y="1633157"/>
                  </a:cubicBezTo>
                  <a:close/>
                  <a:moveTo>
                    <a:pt x="3127438" y="1632490"/>
                  </a:moveTo>
                  <a:cubicBezTo>
                    <a:pt x="3130867" y="1632490"/>
                    <a:pt x="3133629" y="1635252"/>
                    <a:pt x="3133629" y="1638681"/>
                  </a:cubicBezTo>
                  <a:cubicBezTo>
                    <a:pt x="3133629" y="1642110"/>
                    <a:pt x="3130867" y="1644872"/>
                    <a:pt x="3127438" y="1644872"/>
                  </a:cubicBezTo>
                  <a:cubicBezTo>
                    <a:pt x="3124009" y="1644872"/>
                    <a:pt x="3121247" y="1642110"/>
                    <a:pt x="3121247" y="1638681"/>
                  </a:cubicBezTo>
                  <a:cubicBezTo>
                    <a:pt x="3121247" y="1635252"/>
                    <a:pt x="3124009" y="1632490"/>
                    <a:pt x="3127438" y="1632490"/>
                  </a:cubicBezTo>
                  <a:close/>
                  <a:moveTo>
                    <a:pt x="220884" y="1631823"/>
                  </a:moveTo>
                  <a:cubicBezTo>
                    <a:pt x="224313" y="1631823"/>
                    <a:pt x="227075" y="1634585"/>
                    <a:pt x="227075" y="1638014"/>
                  </a:cubicBezTo>
                  <a:cubicBezTo>
                    <a:pt x="227075" y="1641443"/>
                    <a:pt x="224313" y="1644206"/>
                    <a:pt x="220884" y="1644206"/>
                  </a:cubicBezTo>
                  <a:cubicBezTo>
                    <a:pt x="217455" y="1644206"/>
                    <a:pt x="214693" y="1641443"/>
                    <a:pt x="214693" y="1638014"/>
                  </a:cubicBezTo>
                  <a:cubicBezTo>
                    <a:pt x="214693" y="1634585"/>
                    <a:pt x="217455" y="1631823"/>
                    <a:pt x="220884" y="1631823"/>
                  </a:cubicBezTo>
                  <a:close/>
                  <a:moveTo>
                    <a:pt x="3096291" y="1631157"/>
                  </a:moveTo>
                  <a:cubicBezTo>
                    <a:pt x="3099720" y="1631157"/>
                    <a:pt x="3102482" y="1633919"/>
                    <a:pt x="3102482" y="1637348"/>
                  </a:cubicBezTo>
                  <a:cubicBezTo>
                    <a:pt x="3102482" y="1640777"/>
                    <a:pt x="3099720" y="1643539"/>
                    <a:pt x="3096291" y="1643539"/>
                  </a:cubicBezTo>
                  <a:cubicBezTo>
                    <a:pt x="3092862" y="1643539"/>
                    <a:pt x="3090100" y="1640777"/>
                    <a:pt x="3090100" y="1637348"/>
                  </a:cubicBezTo>
                  <a:cubicBezTo>
                    <a:pt x="3090100" y="1633919"/>
                    <a:pt x="3092862" y="1631157"/>
                    <a:pt x="3096291" y="1631157"/>
                  </a:cubicBezTo>
                  <a:close/>
                  <a:moveTo>
                    <a:pt x="254126" y="1630490"/>
                  </a:moveTo>
                  <a:cubicBezTo>
                    <a:pt x="257555" y="1630490"/>
                    <a:pt x="260317" y="1633252"/>
                    <a:pt x="260317" y="1636681"/>
                  </a:cubicBezTo>
                  <a:cubicBezTo>
                    <a:pt x="260317" y="1640110"/>
                    <a:pt x="257555" y="1642873"/>
                    <a:pt x="254126" y="1642873"/>
                  </a:cubicBezTo>
                  <a:cubicBezTo>
                    <a:pt x="250697" y="1642873"/>
                    <a:pt x="247935" y="1640110"/>
                    <a:pt x="247935" y="1636681"/>
                  </a:cubicBezTo>
                  <a:cubicBezTo>
                    <a:pt x="247935" y="1633252"/>
                    <a:pt x="250697" y="1630490"/>
                    <a:pt x="254126" y="1630490"/>
                  </a:cubicBezTo>
                  <a:close/>
                  <a:moveTo>
                    <a:pt x="3061239" y="1629823"/>
                  </a:moveTo>
                  <a:cubicBezTo>
                    <a:pt x="3064668" y="1629823"/>
                    <a:pt x="3067431" y="1632585"/>
                    <a:pt x="3067431" y="1636014"/>
                  </a:cubicBezTo>
                  <a:cubicBezTo>
                    <a:pt x="3067431" y="1639443"/>
                    <a:pt x="3064668" y="1642205"/>
                    <a:pt x="3061239" y="1642205"/>
                  </a:cubicBezTo>
                  <a:cubicBezTo>
                    <a:pt x="3057810" y="1642205"/>
                    <a:pt x="3055048" y="1639443"/>
                    <a:pt x="3055048" y="1636014"/>
                  </a:cubicBezTo>
                  <a:cubicBezTo>
                    <a:pt x="3055048" y="1632585"/>
                    <a:pt x="3057810" y="1629823"/>
                    <a:pt x="3061239" y="1629823"/>
                  </a:cubicBezTo>
                  <a:close/>
                  <a:moveTo>
                    <a:pt x="291559" y="1629061"/>
                  </a:moveTo>
                  <a:cubicBezTo>
                    <a:pt x="294988" y="1629061"/>
                    <a:pt x="297751" y="1631823"/>
                    <a:pt x="297751" y="1635252"/>
                  </a:cubicBezTo>
                  <a:cubicBezTo>
                    <a:pt x="297751" y="1638681"/>
                    <a:pt x="294988" y="1641444"/>
                    <a:pt x="291559" y="1641444"/>
                  </a:cubicBezTo>
                  <a:cubicBezTo>
                    <a:pt x="288130" y="1641444"/>
                    <a:pt x="285368" y="1638681"/>
                    <a:pt x="285368" y="1635252"/>
                  </a:cubicBezTo>
                  <a:cubicBezTo>
                    <a:pt x="285368" y="1631823"/>
                    <a:pt x="288130" y="1629061"/>
                    <a:pt x="291559" y="1629061"/>
                  </a:cubicBezTo>
                  <a:close/>
                  <a:moveTo>
                    <a:pt x="3021710" y="1628394"/>
                  </a:moveTo>
                  <a:cubicBezTo>
                    <a:pt x="3025139" y="1628394"/>
                    <a:pt x="3027902" y="1631156"/>
                    <a:pt x="3027902" y="1634585"/>
                  </a:cubicBezTo>
                  <a:cubicBezTo>
                    <a:pt x="3027902" y="1638014"/>
                    <a:pt x="3025139" y="1640777"/>
                    <a:pt x="3021710" y="1640777"/>
                  </a:cubicBezTo>
                  <a:cubicBezTo>
                    <a:pt x="3018281" y="1640777"/>
                    <a:pt x="3015519" y="1638014"/>
                    <a:pt x="3015519" y="1634585"/>
                  </a:cubicBezTo>
                  <a:cubicBezTo>
                    <a:pt x="3015519" y="1631156"/>
                    <a:pt x="3018281" y="1628394"/>
                    <a:pt x="3021710" y="1628394"/>
                  </a:cubicBezTo>
                  <a:close/>
                  <a:moveTo>
                    <a:pt x="333470" y="1627632"/>
                  </a:moveTo>
                  <a:cubicBezTo>
                    <a:pt x="336899" y="1627632"/>
                    <a:pt x="339661" y="1630394"/>
                    <a:pt x="339661" y="1633823"/>
                  </a:cubicBezTo>
                  <a:cubicBezTo>
                    <a:pt x="339661" y="1637252"/>
                    <a:pt x="336899" y="1640015"/>
                    <a:pt x="333470" y="1640015"/>
                  </a:cubicBezTo>
                  <a:cubicBezTo>
                    <a:pt x="330041" y="1640015"/>
                    <a:pt x="327279" y="1637252"/>
                    <a:pt x="327279" y="1633823"/>
                  </a:cubicBezTo>
                  <a:cubicBezTo>
                    <a:pt x="327279" y="1630394"/>
                    <a:pt x="330041" y="1627632"/>
                    <a:pt x="333470" y="1627632"/>
                  </a:cubicBezTo>
                  <a:close/>
                  <a:moveTo>
                    <a:pt x="2977514" y="1626870"/>
                  </a:moveTo>
                  <a:cubicBezTo>
                    <a:pt x="2980943" y="1626870"/>
                    <a:pt x="2983705" y="1629632"/>
                    <a:pt x="2983705" y="1633061"/>
                  </a:cubicBezTo>
                  <a:cubicBezTo>
                    <a:pt x="2983705" y="1636490"/>
                    <a:pt x="2980943" y="1639253"/>
                    <a:pt x="2977514" y="1639253"/>
                  </a:cubicBezTo>
                  <a:cubicBezTo>
                    <a:pt x="2974085" y="1639253"/>
                    <a:pt x="2971323" y="1636490"/>
                    <a:pt x="2971323" y="1633061"/>
                  </a:cubicBezTo>
                  <a:cubicBezTo>
                    <a:pt x="2971323" y="1629632"/>
                    <a:pt x="2974085" y="1626870"/>
                    <a:pt x="2977514" y="1626870"/>
                  </a:cubicBezTo>
                  <a:close/>
                  <a:moveTo>
                    <a:pt x="380332" y="1626013"/>
                  </a:moveTo>
                  <a:cubicBezTo>
                    <a:pt x="383761" y="1626013"/>
                    <a:pt x="386524" y="1628775"/>
                    <a:pt x="386524" y="1632204"/>
                  </a:cubicBezTo>
                  <a:cubicBezTo>
                    <a:pt x="386524" y="1635633"/>
                    <a:pt x="383761" y="1638396"/>
                    <a:pt x="380332" y="1638396"/>
                  </a:cubicBezTo>
                  <a:cubicBezTo>
                    <a:pt x="376903" y="1638396"/>
                    <a:pt x="374141" y="1635633"/>
                    <a:pt x="374141" y="1632204"/>
                  </a:cubicBezTo>
                  <a:cubicBezTo>
                    <a:pt x="374141" y="1628775"/>
                    <a:pt x="376903" y="1626013"/>
                    <a:pt x="380332" y="1626013"/>
                  </a:cubicBezTo>
                  <a:close/>
                  <a:moveTo>
                    <a:pt x="2928270" y="1625346"/>
                  </a:moveTo>
                  <a:cubicBezTo>
                    <a:pt x="2931699" y="1625346"/>
                    <a:pt x="2934461" y="1628108"/>
                    <a:pt x="2934461" y="1631537"/>
                  </a:cubicBezTo>
                  <a:cubicBezTo>
                    <a:pt x="2934461" y="1634966"/>
                    <a:pt x="2931699" y="1637728"/>
                    <a:pt x="2928270" y="1637728"/>
                  </a:cubicBezTo>
                  <a:cubicBezTo>
                    <a:pt x="2924841" y="1637728"/>
                    <a:pt x="2922079" y="1634966"/>
                    <a:pt x="2922079" y="1631537"/>
                  </a:cubicBezTo>
                  <a:cubicBezTo>
                    <a:pt x="2922079" y="1628108"/>
                    <a:pt x="2924841" y="1625346"/>
                    <a:pt x="2928270" y="1625346"/>
                  </a:cubicBezTo>
                  <a:close/>
                  <a:moveTo>
                    <a:pt x="432529" y="1624489"/>
                  </a:moveTo>
                  <a:cubicBezTo>
                    <a:pt x="435958" y="1624489"/>
                    <a:pt x="438721" y="1627251"/>
                    <a:pt x="438721" y="1630680"/>
                  </a:cubicBezTo>
                  <a:cubicBezTo>
                    <a:pt x="438721" y="1634109"/>
                    <a:pt x="435958" y="1636872"/>
                    <a:pt x="432529" y="1636872"/>
                  </a:cubicBezTo>
                  <a:cubicBezTo>
                    <a:pt x="429100" y="1636872"/>
                    <a:pt x="426338" y="1634109"/>
                    <a:pt x="426338" y="1630680"/>
                  </a:cubicBezTo>
                  <a:cubicBezTo>
                    <a:pt x="426338" y="1627251"/>
                    <a:pt x="429100" y="1624489"/>
                    <a:pt x="432529" y="1624489"/>
                  </a:cubicBezTo>
                  <a:close/>
                  <a:moveTo>
                    <a:pt x="2873597" y="1623632"/>
                  </a:moveTo>
                  <a:cubicBezTo>
                    <a:pt x="2877017" y="1623632"/>
                    <a:pt x="2879788" y="1626404"/>
                    <a:pt x="2879788" y="1629823"/>
                  </a:cubicBezTo>
                  <a:cubicBezTo>
                    <a:pt x="2879788" y="1633243"/>
                    <a:pt x="2877017" y="1636015"/>
                    <a:pt x="2873597" y="1636015"/>
                  </a:cubicBezTo>
                  <a:cubicBezTo>
                    <a:pt x="2870178" y="1636015"/>
                    <a:pt x="2867406" y="1633243"/>
                    <a:pt x="2867406" y="1629823"/>
                  </a:cubicBezTo>
                  <a:cubicBezTo>
                    <a:pt x="2867406" y="1626404"/>
                    <a:pt x="2870178" y="1623632"/>
                    <a:pt x="2873597" y="1623632"/>
                  </a:cubicBezTo>
                  <a:close/>
                  <a:moveTo>
                    <a:pt x="490346" y="1622775"/>
                  </a:moveTo>
                  <a:cubicBezTo>
                    <a:pt x="493775" y="1622775"/>
                    <a:pt x="496537" y="1625537"/>
                    <a:pt x="496537" y="1628966"/>
                  </a:cubicBezTo>
                  <a:cubicBezTo>
                    <a:pt x="496537" y="1632395"/>
                    <a:pt x="493775" y="1635158"/>
                    <a:pt x="490346" y="1635158"/>
                  </a:cubicBezTo>
                  <a:cubicBezTo>
                    <a:pt x="486917" y="1635158"/>
                    <a:pt x="484155" y="1632395"/>
                    <a:pt x="484155" y="1628966"/>
                  </a:cubicBezTo>
                  <a:cubicBezTo>
                    <a:pt x="484155" y="1625537"/>
                    <a:pt x="486917" y="1622775"/>
                    <a:pt x="490346" y="1622775"/>
                  </a:cubicBezTo>
                  <a:close/>
                  <a:moveTo>
                    <a:pt x="2812922" y="1622012"/>
                  </a:moveTo>
                  <a:cubicBezTo>
                    <a:pt x="2816351" y="1622012"/>
                    <a:pt x="2819113" y="1624774"/>
                    <a:pt x="2819113" y="1628203"/>
                  </a:cubicBezTo>
                  <a:cubicBezTo>
                    <a:pt x="2819113" y="1631632"/>
                    <a:pt x="2816351" y="1634395"/>
                    <a:pt x="2812922" y="1634395"/>
                  </a:cubicBezTo>
                  <a:cubicBezTo>
                    <a:pt x="2809493" y="1634395"/>
                    <a:pt x="2806731" y="1631632"/>
                    <a:pt x="2806731" y="1628203"/>
                  </a:cubicBezTo>
                  <a:cubicBezTo>
                    <a:pt x="2806731" y="1624774"/>
                    <a:pt x="2809493" y="1622012"/>
                    <a:pt x="2812922" y="1622012"/>
                  </a:cubicBezTo>
                  <a:close/>
                  <a:moveTo>
                    <a:pt x="554259" y="1621060"/>
                  </a:moveTo>
                  <a:cubicBezTo>
                    <a:pt x="557688" y="1621060"/>
                    <a:pt x="560450" y="1623822"/>
                    <a:pt x="560450" y="1627251"/>
                  </a:cubicBezTo>
                  <a:cubicBezTo>
                    <a:pt x="560450" y="1630680"/>
                    <a:pt x="557688" y="1633443"/>
                    <a:pt x="554259" y="1633443"/>
                  </a:cubicBezTo>
                  <a:cubicBezTo>
                    <a:pt x="550830" y="1633443"/>
                    <a:pt x="548068" y="1630680"/>
                    <a:pt x="548068" y="1627251"/>
                  </a:cubicBezTo>
                  <a:cubicBezTo>
                    <a:pt x="548068" y="1623822"/>
                    <a:pt x="550830" y="1621060"/>
                    <a:pt x="554259" y="1621060"/>
                  </a:cubicBezTo>
                  <a:close/>
                  <a:moveTo>
                    <a:pt x="2746057" y="1620298"/>
                  </a:moveTo>
                  <a:cubicBezTo>
                    <a:pt x="2749486" y="1620298"/>
                    <a:pt x="2752249" y="1623060"/>
                    <a:pt x="2752249" y="1626489"/>
                  </a:cubicBezTo>
                  <a:cubicBezTo>
                    <a:pt x="2752249" y="1629918"/>
                    <a:pt x="2749486" y="1632680"/>
                    <a:pt x="2746057" y="1632680"/>
                  </a:cubicBezTo>
                  <a:cubicBezTo>
                    <a:pt x="2742628" y="1632680"/>
                    <a:pt x="2739866" y="1629918"/>
                    <a:pt x="2739866" y="1626489"/>
                  </a:cubicBezTo>
                  <a:cubicBezTo>
                    <a:pt x="2739866" y="1623060"/>
                    <a:pt x="2742628" y="1620298"/>
                    <a:pt x="2746057" y="1620298"/>
                  </a:cubicBezTo>
                  <a:close/>
                  <a:moveTo>
                    <a:pt x="624649" y="1619250"/>
                  </a:moveTo>
                  <a:cubicBezTo>
                    <a:pt x="628078" y="1619250"/>
                    <a:pt x="630841" y="1622012"/>
                    <a:pt x="630841" y="1625441"/>
                  </a:cubicBezTo>
                  <a:cubicBezTo>
                    <a:pt x="630841" y="1628870"/>
                    <a:pt x="628078" y="1631632"/>
                    <a:pt x="624649" y="1631632"/>
                  </a:cubicBezTo>
                  <a:cubicBezTo>
                    <a:pt x="621220" y="1631632"/>
                    <a:pt x="618458" y="1628870"/>
                    <a:pt x="618458" y="1625441"/>
                  </a:cubicBezTo>
                  <a:cubicBezTo>
                    <a:pt x="618458" y="1622012"/>
                    <a:pt x="621220" y="1619250"/>
                    <a:pt x="624649" y="1619250"/>
                  </a:cubicBezTo>
                  <a:close/>
                  <a:moveTo>
                    <a:pt x="2672429" y="1618393"/>
                  </a:moveTo>
                  <a:cubicBezTo>
                    <a:pt x="2675858" y="1618393"/>
                    <a:pt x="2678620" y="1621155"/>
                    <a:pt x="2678620" y="1624584"/>
                  </a:cubicBezTo>
                  <a:cubicBezTo>
                    <a:pt x="2678620" y="1628013"/>
                    <a:pt x="2675858" y="1630776"/>
                    <a:pt x="2672429" y="1630776"/>
                  </a:cubicBezTo>
                  <a:cubicBezTo>
                    <a:pt x="2669000" y="1630776"/>
                    <a:pt x="2666238" y="1628013"/>
                    <a:pt x="2666238" y="1624584"/>
                  </a:cubicBezTo>
                  <a:cubicBezTo>
                    <a:pt x="2666238" y="1621155"/>
                    <a:pt x="2669000" y="1618393"/>
                    <a:pt x="2672429" y="1618393"/>
                  </a:cubicBezTo>
                  <a:close/>
                  <a:moveTo>
                    <a:pt x="702087" y="1617441"/>
                  </a:moveTo>
                  <a:cubicBezTo>
                    <a:pt x="705516" y="1617441"/>
                    <a:pt x="708279" y="1620203"/>
                    <a:pt x="708279" y="1623632"/>
                  </a:cubicBezTo>
                  <a:cubicBezTo>
                    <a:pt x="708279" y="1627061"/>
                    <a:pt x="705516" y="1629824"/>
                    <a:pt x="702087" y="1629824"/>
                  </a:cubicBezTo>
                  <a:cubicBezTo>
                    <a:pt x="698658" y="1629824"/>
                    <a:pt x="695896" y="1627061"/>
                    <a:pt x="695896" y="1623632"/>
                  </a:cubicBezTo>
                  <a:cubicBezTo>
                    <a:pt x="695896" y="1620203"/>
                    <a:pt x="698658" y="1617441"/>
                    <a:pt x="702087" y="1617441"/>
                  </a:cubicBezTo>
                  <a:close/>
                  <a:moveTo>
                    <a:pt x="2591657" y="1616488"/>
                  </a:moveTo>
                  <a:cubicBezTo>
                    <a:pt x="2595086" y="1616488"/>
                    <a:pt x="2597848" y="1619250"/>
                    <a:pt x="2597848" y="1622679"/>
                  </a:cubicBezTo>
                  <a:cubicBezTo>
                    <a:pt x="2597848" y="1626108"/>
                    <a:pt x="2595086" y="1628871"/>
                    <a:pt x="2591657" y="1628871"/>
                  </a:cubicBezTo>
                  <a:cubicBezTo>
                    <a:pt x="2588228" y="1628871"/>
                    <a:pt x="2585466" y="1626108"/>
                    <a:pt x="2585466" y="1622679"/>
                  </a:cubicBezTo>
                  <a:cubicBezTo>
                    <a:pt x="2585466" y="1619250"/>
                    <a:pt x="2588228" y="1616488"/>
                    <a:pt x="2591657" y="1616488"/>
                  </a:cubicBezTo>
                  <a:close/>
                  <a:moveTo>
                    <a:pt x="786859" y="1615440"/>
                  </a:moveTo>
                  <a:cubicBezTo>
                    <a:pt x="790288" y="1615440"/>
                    <a:pt x="793051" y="1618202"/>
                    <a:pt x="793051" y="1621631"/>
                  </a:cubicBezTo>
                  <a:cubicBezTo>
                    <a:pt x="793051" y="1625060"/>
                    <a:pt x="790288" y="1627823"/>
                    <a:pt x="786859" y="1627823"/>
                  </a:cubicBezTo>
                  <a:cubicBezTo>
                    <a:pt x="783430" y="1627823"/>
                    <a:pt x="780668" y="1625060"/>
                    <a:pt x="780668" y="1621631"/>
                  </a:cubicBezTo>
                  <a:cubicBezTo>
                    <a:pt x="780668" y="1618202"/>
                    <a:pt x="783430" y="1615440"/>
                    <a:pt x="786859" y="1615440"/>
                  </a:cubicBezTo>
                  <a:close/>
                  <a:moveTo>
                    <a:pt x="2503265" y="1614583"/>
                  </a:moveTo>
                  <a:cubicBezTo>
                    <a:pt x="2506694" y="1614583"/>
                    <a:pt x="2509456" y="1617345"/>
                    <a:pt x="2509456" y="1620774"/>
                  </a:cubicBezTo>
                  <a:cubicBezTo>
                    <a:pt x="2509456" y="1624203"/>
                    <a:pt x="2506694" y="1626966"/>
                    <a:pt x="2503265" y="1626966"/>
                  </a:cubicBezTo>
                  <a:cubicBezTo>
                    <a:pt x="2499836" y="1626966"/>
                    <a:pt x="2497074" y="1624203"/>
                    <a:pt x="2497074" y="1620774"/>
                  </a:cubicBezTo>
                  <a:cubicBezTo>
                    <a:pt x="2497074" y="1617345"/>
                    <a:pt x="2499836" y="1614583"/>
                    <a:pt x="2503265" y="1614583"/>
                  </a:cubicBezTo>
                  <a:close/>
                  <a:moveTo>
                    <a:pt x="879538" y="1613440"/>
                  </a:moveTo>
                  <a:cubicBezTo>
                    <a:pt x="882967" y="1613440"/>
                    <a:pt x="885729" y="1616202"/>
                    <a:pt x="885729" y="1619631"/>
                  </a:cubicBezTo>
                  <a:cubicBezTo>
                    <a:pt x="885729" y="1623060"/>
                    <a:pt x="882967" y="1625822"/>
                    <a:pt x="879538" y="1625822"/>
                  </a:cubicBezTo>
                  <a:cubicBezTo>
                    <a:pt x="876109" y="1625822"/>
                    <a:pt x="873347" y="1623060"/>
                    <a:pt x="873347" y="1619631"/>
                  </a:cubicBezTo>
                  <a:cubicBezTo>
                    <a:pt x="873347" y="1616202"/>
                    <a:pt x="876109" y="1613440"/>
                    <a:pt x="879538" y="1613440"/>
                  </a:cubicBezTo>
                  <a:close/>
                  <a:moveTo>
                    <a:pt x="2406776" y="1612487"/>
                  </a:moveTo>
                  <a:cubicBezTo>
                    <a:pt x="2410205" y="1612487"/>
                    <a:pt x="2412968" y="1615249"/>
                    <a:pt x="2412968" y="1618678"/>
                  </a:cubicBezTo>
                  <a:cubicBezTo>
                    <a:pt x="2412968" y="1622107"/>
                    <a:pt x="2410205" y="1624870"/>
                    <a:pt x="2406776" y="1624870"/>
                  </a:cubicBezTo>
                  <a:cubicBezTo>
                    <a:pt x="2403347" y="1624870"/>
                    <a:pt x="2400585" y="1622107"/>
                    <a:pt x="2400585" y="1618678"/>
                  </a:cubicBezTo>
                  <a:cubicBezTo>
                    <a:pt x="2400585" y="1615249"/>
                    <a:pt x="2403347" y="1612487"/>
                    <a:pt x="2406776" y="1612487"/>
                  </a:cubicBezTo>
                  <a:close/>
                  <a:moveTo>
                    <a:pt x="980598" y="1611440"/>
                  </a:moveTo>
                  <a:cubicBezTo>
                    <a:pt x="984027" y="1611440"/>
                    <a:pt x="986789" y="1614202"/>
                    <a:pt x="986789" y="1617631"/>
                  </a:cubicBezTo>
                  <a:cubicBezTo>
                    <a:pt x="986789" y="1621060"/>
                    <a:pt x="984027" y="1623823"/>
                    <a:pt x="980598" y="1623823"/>
                  </a:cubicBezTo>
                  <a:cubicBezTo>
                    <a:pt x="977169" y="1623823"/>
                    <a:pt x="974407" y="1621060"/>
                    <a:pt x="974407" y="1617631"/>
                  </a:cubicBezTo>
                  <a:cubicBezTo>
                    <a:pt x="974407" y="1614202"/>
                    <a:pt x="977169" y="1611440"/>
                    <a:pt x="980598" y="1611440"/>
                  </a:cubicBezTo>
                  <a:close/>
                  <a:moveTo>
                    <a:pt x="2301620" y="1610392"/>
                  </a:moveTo>
                  <a:cubicBezTo>
                    <a:pt x="2305049" y="1610392"/>
                    <a:pt x="2307811" y="1613154"/>
                    <a:pt x="2307811" y="1616583"/>
                  </a:cubicBezTo>
                  <a:cubicBezTo>
                    <a:pt x="2307811" y="1620012"/>
                    <a:pt x="2305049" y="1622775"/>
                    <a:pt x="2301620" y="1622775"/>
                  </a:cubicBezTo>
                  <a:cubicBezTo>
                    <a:pt x="2298191" y="1622775"/>
                    <a:pt x="2295429" y="1620012"/>
                    <a:pt x="2295429" y="1616583"/>
                  </a:cubicBezTo>
                  <a:cubicBezTo>
                    <a:pt x="2295429" y="1613154"/>
                    <a:pt x="2298191" y="1610392"/>
                    <a:pt x="2301620" y="1610392"/>
                  </a:cubicBezTo>
                  <a:close/>
                  <a:moveTo>
                    <a:pt x="1090516" y="1609249"/>
                  </a:moveTo>
                  <a:cubicBezTo>
                    <a:pt x="1093945" y="1609249"/>
                    <a:pt x="1096708" y="1612011"/>
                    <a:pt x="1096708" y="1615440"/>
                  </a:cubicBezTo>
                  <a:cubicBezTo>
                    <a:pt x="1096708" y="1618869"/>
                    <a:pt x="1093945" y="1621632"/>
                    <a:pt x="1090516" y="1621632"/>
                  </a:cubicBezTo>
                  <a:cubicBezTo>
                    <a:pt x="1087087" y="1621632"/>
                    <a:pt x="1084325" y="1618869"/>
                    <a:pt x="1084325" y="1615440"/>
                  </a:cubicBezTo>
                  <a:cubicBezTo>
                    <a:pt x="1084325" y="1612011"/>
                    <a:pt x="1087087" y="1609249"/>
                    <a:pt x="1090516" y="1609249"/>
                  </a:cubicBezTo>
                  <a:close/>
                  <a:moveTo>
                    <a:pt x="2187416" y="1608201"/>
                  </a:moveTo>
                  <a:cubicBezTo>
                    <a:pt x="2190845" y="1608201"/>
                    <a:pt x="2193608" y="1610963"/>
                    <a:pt x="2193608" y="1614392"/>
                  </a:cubicBezTo>
                  <a:cubicBezTo>
                    <a:pt x="2193608" y="1617821"/>
                    <a:pt x="2190845" y="1620584"/>
                    <a:pt x="2187416" y="1620584"/>
                  </a:cubicBezTo>
                  <a:cubicBezTo>
                    <a:pt x="2183987" y="1620584"/>
                    <a:pt x="2181225" y="1617821"/>
                    <a:pt x="2181225" y="1614392"/>
                  </a:cubicBezTo>
                  <a:cubicBezTo>
                    <a:pt x="2181225" y="1610963"/>
                    <a:pt x="2183987" y="1608201"/>
                    <a:pt x="2187416" y="1608201"/>
                  </a:cubicBezTo>
                  <a:close/>
                  <a:moveTo>
                    <a:pt x="1209865" y="1607058"/>
                  </a:moveTo>
                  <a:cubicBezTo>
                    <a:pt x="1213294" y="1607058"/>
                    <a:pt x="1216056" y="1609820"/>
                    <a:pt x="1216056" y="1613249"/>
                  </a:cubicBezTo>
                  <a:cubicBezTo>
                    <a:pt x="1216056" y="1616678"/>
                    <a:pt x="1213294" y="1619440"/>
                    <a:pt x="1209865" y="1619440"/>
                  </a:cubicBezTo>
                  <a:cubicBezTo>
                    <a:pt x="1206436" y="1619440"/>
                    <a:pt x="1203674" y="1616678"/>
                    <a:pt x="1203674" y="1613249"/>
                  </a:cubicBezTo>
                  <a:cubicBezTo>
                    <a:pt x="1203674" y="1609820"/>
                    <a:pt x="1206436" y="1607058"/>
                    <a:pt x="1209865" y="1607058"/>
                  </a:cubicBezTo>
                  <a:close/>
                  <a:moveTo>
                    <a:pt x="2063495" y="1605915"/>
                  </a:moveTo>
                  <a:cubicBezTo>
                    <a:pt x="2066924" y="1605915"/>
                    <a:pt x="2069686" y="1608677"/>
                    <a:pt x="2069686" y="1612106"/>
                  </a:cubicBezTo>
                  <a:cubicBezTo>
                    <a:pt x="2069686" y="1615535"/>
                    <a:pt x="2066924" y="1618298"/>
                    <a:pt x="2063495" y="1618298"/>
                  </a:cubicBezTo>
                  <a:cubicBezTo>
                    <a:pt x="2060066" y="1618298"/>
                    <a:pt x="2057304" y="1615535"/>
                    <a:pt x="2057304" y="1612106"/>
                  </a:cubicBezTo>
                  <a:cubicBezTo>
                    <a:pt x="2057304" y="1608677"/>
                    <a:pt x="2060066" y="1605915"/>
                    <a:pt x="2063495" y="1605915"/>
                  </a:cubicBezTo>
                  <a:close/>
                  <a:moveTo>
                    <a:pt x="1339214" y="1604677"/>
                  </a:moveTo>
                  <a:cubicBezTo>
                    <a:pt x="1342643" y="1604677"/>
                    <a:pt x="1345406" y="1607439"/>
                    <a:pt x="1345406" y="1610868"/>
                  </a:cubicBezTo>
                  <a:cubicBezTo>
                    <a:pt x="1345406" y="1614297"/>
                    <a:pt x="1342643" y="1617059"/>
                    <a:pt x="1339214" y="1617059"/>
                  </a:cubicBezTo>
                  <a:cubicBezTo>
                    <a:pt x="1335785" y="1617059"/>
                    <a:pt x="1333023" y="1614297"/>
                    <a:pt x="1333023" y="1610868"/>
                  </a:cubicBezTo>
                  <a:cubicBezTo>
                    <a:pt x="1333023" y="1607439"/>
                    <a:pt x="1335785" y="1604677"/>
                    <a:pt x="1339214" y="1604677"/>
                  </a:cubicBezTo>
                  <a:close/>
                  <a:moveTo>
                    <a:pt x="1929383" y="1603629"/>
                  </a:moveTo>
                  <a:cubicBezTo>
                    <a:pt x="1932812" y="1603629"/>
                    <a:pt x="1935575" y="1606391"/>
                    <a:pt x="1935575" y="1609820"/>
                  </a:cubicBezTo>
                  <a:cubicBezTo>
                    <a:pt x="1935575" y="1613249"/>
                    <a:pt x="1932812" y="1616011"/>
                    <a:pt x="1929383" y="1616011"/>
                  </a:cubicBezTo>
                  <a:cubicBezTo>
                    <a:pt x="1925954" y="1616011"/>
                    <a:pt x="1923192" y="1613249"/>
                    <a:pt x="1923192" y="1609820"/>
                  </a:cubicBezTo>
                  <a:cubicBezTo>
                    <a:pt x="1923192" y="1606391"/>
                    <a:pt x="1925954" y="1603629"/>
                    <a:pt x="1929383" y="1603629"/>
                  </a:cubicBezTo>
                  <a:close/>
                  <a:moveTo>
                    <a:pt x="1479041" y="1602391"/>
                  </a:moveTo>
                  <a:cubicBezTo>
                    <a:pt x="1482470" y="1602391"/>
                    <a:pt x="1485232" y="1605153"/>
                    <a:pt x="1485232" y="1608582"/>
                  </a:cubicBezTo>
                  <a:cubicBezTo>
                    <a:pt x="1485232" y="1612011"/>
                    <a:pt x="1482470" y="1614774"/>
                    <a:pt x="1479041" y="1614774"/>
                  </a:cubicBezTo>
                  <a:cubicBezTo>
                    <a:pt x="1475612" y="1614774"/>
                    <a:pt x="1472850" y="1612011"/>
                    <a:pt x="1472850" y="1608582"/>
                  </a:cubicBezTo>
                  <a:cubicBezTo>
                    <a:pt x="1472850" y="1605153"/>
                    <a:pt x="1475612" y="1602391"/>
                    <a:pt x="1479041" y="1602391"/>
                  </a:cubicBezTo>
                  <a:close/>
                  <a:moveTo>
                    <a:pt x="1784508" y="1601343"/>
                  </a:moveTo>
                  <a:cubicBezTo>
                    <a:pt x="1787937" y="1601343"/>
                    <a:pt x="1790700" y="1604105"/>
                    <a:pt x="1790700" y="1607534"/>
                  </a:cubicBezTo>
                  <a:cubicBezTo>
                    <a:pt x="1790700" y="1610963"/>
                    <a:pt x="1787937" y="1613726"/>
                    <a:pt x="1784508" y="1613726"/>
                  </a:cubicBezTo>
                  <a:cubicBezTo>
                    <a:pt x="1781079" y="1613726"/>
                    <a:pt x="1778317" y="1610963"/>
                    <a:pt x="1778317" y="1607534"/>
                  </a:cubicBezTo>
                  <a:cubicBezTo>
                    <a:pt x="1778317" y="1604105"/>
                    <a:pt x="1781079" y="1601343"/>
                    <a:pt x="1784508" y="1601343"/>
                  </a:cubicBezTo>
                  <a:close/>
                  <a:moveTo>
                    <a:pt x="1629727" y="1600391"/>
                  </a:moveTo>
                  <a:cubicBezTo>
                    <a:pt x="1633156" y="1600391"/>
                    <a:pt x="1635919" y="1603153"/>
                    <a:pt x="1635919" y="1606582"/>
                  </a:cubicBezTo>
                  <a:cubicBezTo>
                    <a:pt x="1635919" y="1610011"/>
                    <a:pt x="1633156" y="1612774"/>
                    <a:pt x="1629727" y="1612774"/>
                  </a:cubicBezTo>
                  <a:cubicBezTo>
                    <a:pt x="1626298" y="1612774"/>
                    <a:pt x="1623536" y="1610011"/>
                    <a:pt x="1623536" y="1606582"/>
                  </a:cubicBezTo>
                  <a:cubicBezTo>
                    <a:pt x="1623536" y="1603153"/>
                    <a:pt x="1626298" y="1600391"/>
                    <a:pt x="1629727" y="1600391"/>
                  </a:cubicBezTo>
                  <a:close/>
                  <a:moveTo>
                    <a:pt x="3355371" y="1583151"/>
                  </a:moveTo>
                  <a:cubicBezTo>
                    <a:pt x="3356108" y="1583151"/>
                    <a:pt x="3356705" y="1583748"/>
                    <a:pt x="3356705" y="1584484"/>
                  </a:cubicBezTo>
                  <a:cubicBezTo>
                    <a:pt x="3356705" y="1585221"/>
                    <a:pt x="3356108" y="1585818"/>
                    <a:pt x="3355371" y="1585818"/>
                  </a:cubicBezTo>
                  <a:cubicBezTo>
                    <a:pt x="3354635" y="1585818"/>
                    <a:pt x="3354038" y="1585221"/>
                    <a:pt x="3354038" y="1584484"/>
                  </a:cubicBezTo>
                  <a:cubicBezTo>
                    <a:pt x="3354038" y="1583748"/>
                    <a:pt x="3354635" y="1583151"/>
                    <a:pt x="3355371" y="1583151"/>
                  </a:cubicBezTo>
                  <a:close/>
                  <a:moveTo>
                    <a:pt x="66198" y="1579055"/>
                  </a:moveTo>
                  <a:cubicBezTo>
                    <a:pt x="69627" y="1579055"/>
                    <a:pt x="72389" y="1581817"/>
                    <a:pt x="72389" y="1585246"/>
                  </a:cubicBezTo>
                  <a:cubicBezTo>
                    <a:pt x="72389" y="1588675"/>
                    <a:pt x="69627" y="1591438"/>
                    <a:pt x="66198" y="1591438"/>
                  </a:cubicBezTo>
                  <a:lnTo>
                    <a:pt x="63483" y="1588723"/>
                  </a:lnTo>
                  <a:lnTo>
                    <a:pt x="57911" y="1594294"/>
                  </a:lnTo>
                  <a:lnTo>
                    <a:pt x="55816" y="1592200"/>
                  </a:lnTo>
                  <a:lnTo>
                    <a:pt x="50958" y="1597058"/>
                  </a:lnTo>
                  <a:lnTo>
                    <a:pt x="49338" y="1595438"/>
                  </a:lnTo>
                  <a:lnTo>
                    <a:pt x="45148" y="1599628"/>
                  </a:lnTo>
                  <a:lnTo>
                    <a:pt x="44005" y="1598486"/>
                  </a:lnTo>
                  <a:lnTo>
                    <a:pt x="40290" y="1602201"/>
                  </a:lnTo>
                  <a:lnTo>
                    <a:pt x="39433" y="1601344"/>
                  </a:lnTo>
                  <a:lnTo>
                    <a:pt x="36290" y="1604487"/>
                  </a:lnTo>
                  <a:lnTo>
                    <a:pt x="35670" y="1603867"/>
                  </a:lnTo>
                  <a:lnTo>
                    <a:pt x="32765" y="1606772"/>
                  </a:lnTo>
                  <a:lnTo>
                    <a:pt x="32289" y="1606296"/>
                  </a:lnTo>
                  <a:lnTo>
                    <a:pt x="29717" y="1608868"/>
                  </a:lnTo>
                  <a:lnTo>
                    <a:pt x="29336" y="1608488"/>
                  </a:lnTo>
                  <a:lnTo>
                    <a:pt x="26955" y="1610869"/>
                  </a:lnTo>
                  <a:lnTo>
                    <a:pt x="26621" y="1610536"/>
                  </a:lnTo>
                  <a:lnTo>
                    <a:pt x="24383" y="1612774"/>
                  </a:lnTo>
                  <a:lnTo>
                    <a:pt x="24001" y="1612393"/>
                  </a:lnTo>
                  <a:lnTo>
                    <a:pt x="21811" y="1614583"/>
                  </a:lnTo>
                  <a:lnTo>
                    <a:pt x="21383" y="1614155"/>
                  </a:lnTo>
                  <a:lnTo>
                    <a:pt x="19240" y="1616297"/>
                  </a:lnTo>
                  <a:lnTo>
                    <a:pt x="18573" y="1615631"/>
                  </a:lnTo>
                  <a:lnTo>
                    <a:pt x="16382" y="1617822"/>
                  </a:lnTo>
                  <a:lnTo>
                    <a:pt x="15525" y="1616965"/>
                  </a:lnTo>
                  <a:lnTo>
                    <a:pt x="13144" y="1619346"/>
                  </a:lnTo>
                  <a:lnTo>
                    <a:pt x="12096" y="1618298"/>
                  </a:lnTo>
                  <a:lnTo>
                    <a:pt x="9620" y="1620774"/>
                  </a:lnTo>
                  <a:lnTo>
                    <a:pt x="7572" y="1618726"/>
                  </a:lnTo>
                  <a:lnTo>
                    <a:pt x="5619" y="1620679"/>
                  </a:lnTo>
                  <a:cubicBezTo>
                    <a:pt x="2952" y="1620679"/>
                    <a:pt x="761" y="1618488"/>
                    <a:pt x="761" y="1615821"/>
                  </a:cubicBezTo>
                  <a:cubicBezTo>
                    <a:pt x="761" y="1613154"/>
                    <a:pt x="2952" y="1610963"/>
                    <a:pt x="5619" y="1610963"/>
                  </a:cubicBezTo>
                  <a:lnTo>
                    <a:pt x="6334" y="1611678"/>
                  </a:lnTo>
                  <a:lnTo>
                    <a:pt x="9620" y="1608392"/>
                  </a:lnTo>
                  <a:lnTo>
                    <a:pt x="10667" y="1609440"/>
                  </a:lnTo>
                  <a:lnTo>
                    <a:pt x="13144" y="1606963"/>
                  </a:lnTo>
                  <a:lnTo>
                    <a:pt x="14001" y="1607820"/>
                  </a:lnTo>
                  <a:lnTo>
                    <a:pt x="16382" y="1605439"/>
                  </a:lnTo>
                  <a:lnTo>
                    <a:pt x="17049" y="1606106"/>
                  </a:lnTo>
                  <a:lnTo>
                    <a:pt x="19240" y="1603915"/>
                  </a:lnTo>
                  <a:lnTo>
                    <a:pt x="19668" y="1604343"/>
                  </a:lnTo>
                  <a:lnTo>
                    <a:pt x="21811" y="1602200"/>
                  </a:lnTo>
                  <a:lnTo>
                    <a:pt x="22192" y="1602582"/>
                  </a:lnTo>
                  <a:lnTo>
                    <a:pt x="24383" y="1600391"/>
                  </a:lnTo>
                  <a:lnTo>
                    <a:pt x="24716" y="1600725"/>
                  </a:lnTo>
                  <a:lnTo>
                    <a:pt x="26955" y="1598486"/>
                  </a:lnTo>
                  <a:lnTo>
                    <a:pt x="27336" y="1598867"/>
                  </a:lnTo>
                  <a:lnTo>
                    <a:pt x="29717" y="1596486"/>
                  </a:lnTo>
                  <a:lnTo>
                    <a:pt x="30193" y="1596962"/>
                  </a:lnTo>
                  <a:lnTo>
                    <a:pt x="32765" y="1594390"/>
                  </a:lnTo>
                  <a:lnTo>
                    <a:pt x="33384" y="1595010"/>
                  </a:lnTo>
                  <a:lnTo>
                    <a:pt x="36290" y="1592104"/>
                  </a:lnTo>
                  <a:lnTo>
                    <a:pt x="37147" y="1592961"/>
                  </a:lnTo>
                  <a:lnTo>
                    <a:pt x="40290" y="1589818"/>
                  </a:lnTo>
                  <a:lnTo>
                    <a:pt x="41433" y="1590961"/>
                  </a:lnTo>
                  <a:lnTo>
                    <a:pt x="45148" y="1587246"/>
                  </a:lnTo>
                  <a:lnTo>
                    <a:pt x="46767" y="1588866"/>
                  </a:lnTo>
                  <a:lnTo>
                    <a:pt x="50958" y="1584675"/>
                  </a:lnTo>
                  <a:lnTo>
                    <a:pt x="53053" y="1586770"/>
                  </a:lnTo>
                  <a:lnTo>
                    <a:pt x="57911" y="1581912"/>
                  </a:lnTo>
                  <a:lnTo>
                    <a:pt x="60626" y="1584627"/>
                  </a:lnTo>
                  <a:close/>
                  <a:moveTo>
                    <a:pt x="3261645" y="1577626"/>
                  </a:moveTo>
                  <a:lnTo>
                    <a:pt x="3267598" y="1583580"/>
                  </a:lnTo>
                  <a:lnTo>
                    <a:pt x="3270599" y="1580579"/>
                  </a:lnTo>
                  <a:lnTo>
                    <a:pt x="3275790" y="1585770"/>
                  </a:lnTo>
                  <a:lnTo>
                    <a:pt x="3278123" y="1583436"/>
                  </a:lnTo>
                  <a:lnTo>
                    <a:pt x="3282600" y="1587913"/>
                  </a:lnTo>
                  <a:lnTo>
                    <a:pt x="3284410" y="1586103"/>
                  </a:lnTo>
                  <a:lnTo>
                    <a:pt x="3288363" y="1590056"/>
                  </a:lnTo>
                  <a:lnTo>
                    <a:pt x="3289744" y="1588675"/>
                  </a:lnTo>
                  <a:lnTo>
                    <a:pt x="3293125" y="1592056"/>
                  </a:lnTo>
                  <a:lnTo>
                    <a:pt x="3294125" y="1591056"/>
                  </a:lnTo>
                  <a:lnTo>
                    <a:pt x="3297125" y="1594057"/>
                  </a:lnTo>
                  <a:lnTo>
                    <a:pt x="3297840" y="1593342"/>
                  </a:lnTo>
                  <a:lnTo>
                    <a:pt x="3300555" y="1596057"/>
                  </a:lnTo>
                  <a:lnTo>
                    <a:pt x="3301079" y="1595533"/>
                  </a:lnTo>
                  <a:lnTo>
                    <a:pt x="3303556" y="1598010"/>
                  </a:lnTo>
                  <a:lnTo>
                    <a:pt x="3303936" y="1597629"/>
                  </a:lnTo>
                  <a:lnTo>
                    <a:pt x="3306222" y="1599915"/>
                  </a:lnTo>
                  <a:lnTo>
                    <a:pt x="3306603" y="1599533"/>
                  </a:lnTo>
                  <a:lnTo>
                    <a:pt x="3308746" y="1601677"/>
                  </a:lnTo>
                  <a:lnTo>
                    <a:pt x="3309080" y="1601343"/>
                  </a:lnTo>
                  <a:lnTo>
                    <a:pt x="3311318" y="1603582"/>
                  </a:lnTo>
                  <a:lnTo>
                    <a:pt x="3311747" y="1603153"/>
                  </a:lnTo>
                  <a:lnTo>
                    <a:pt x="3313938" y="1605344"/>
                  </a:lnTo>
                  <a:lnTo>
                    <a:pt x="3314509" y="1604772"/>
                  </a:lnTo>
                  <a:lnTo>
                    <a:pt x="3316748" y="1607011"/>
                  </a:lnTo>
                  <a:lnTo>
                    <a:pt x="3317462" y="1606296"/>
                  </a:lnTo>
                  <a:lnTo>
                    <a:pt x="3319843" y="1608677"/>
                  </a:lnTo>
                  <a:lnTo>
                    <a:pt x="3320795" y="1607725"/>
                  </a:lnTo>
                  <a:lnTo>
                    <a:pt x="3323415" y="1610345"/>
                  </a:lnTo>
                  <a:lnTo>
                    <a:pt x="3324605" y="1609154"/>
                  </a:lnTo>
                  <a:lnTo>
                    <a:pt x="3327415" y="1611964"/>
                  </a:lnTo>
                  <a:lnTo>
                    <a:pt x="3328987" y="1610392"/>
                  </a:lnTo>
                  <a:lnTo>
                    <a:pt x="3332034" y="1613440"/>
                  </a:lnTo>
                  <a:lnTo>
                    <a:pt x="3333844" y="1611630"/>
                  </a:lnTo>
                  <a:lnTo>
                    <a:pt x="3337178" y="1614964"/>
                  </a:lnTo>
                  <a:lnTo>
                    <a:pt x="3339464" y="1612678"/>
                  </a:lnTo>
                  <a:lnTo>
                    <a:pt x="3343132" y="1616346"/>
                  </a:lnTo>
                  <a:lnTo>
                    <a:pt x="3345751" y="1613726"/>
                  </a:lnTo>
                  <a:lnTo>
                    <a:pt x="3350419" y="1618393"/>
                  </a:lnTo>
                  <a:lnTo>
                    <a:pt x="3352800" y="1616012"/>
                  </a:lnTo>
                  <a:cubicBezTo>
                    <a:pt x="3355467" y="1616012"/>
                    <a:pt x="3357658" y="1618203"/>
                    <a:pt x="3357658" y="1620870"/>
                  </a:cubicBezTo>
                  <a:cubicBezTo>
                    <a:pt x="3357658" y="1623537"/>
                    <a:pt x="3355467" y="1625728"/>
                    <a:pt x="3352800" y="1625728"/>
                  </a:cubicBezTo>
                  <a:lnTo>
                    <a:pt x="3349466" y="1622394"/>
                  </a:lnTo>
                  <a:lnTo>
                    <a:pt x="3345751" y="1626109"/>
                  </a:lnTo>
                  <a:lnTo>
                    <a:pt x="3342084" y="1622441"/>
                  </a:lnTo>
                  <a:lnTo>
                    <a:pt x="3339464" y="1625061"/>
                  </a:lnTo>
                  <a:lnTo>
                    <a:pt x="3336130" y="1621727"/>
                  </a:lnTo>
                  <a:lnTo>
                    <a:pt x="3333844" y="1624013"/>
                  </a:lnTo>
                  <a:lnTo>
                    <a:pt x="3330797" y="1620965"/>
                  </a:lnTo>
                  <a:lnTo>
                    <a:pt x="3328987" y="1622775"/>
                  </a:lnTo>
                  <a:lnTo>
                    <a:pt x="3326177" y="1619965"/>
                  </a:lnTo>
                  <a:lnTo>
                    <a:pt x="3324605" y="1621537"/>
                  </a:lnTo>
                  <a:lnTo>
                    <a:pt x="3321986" y="1618918"/>
                  </a:lnTo>
                  <a:lnTo>
                    <a:pt x="3320795" y="1620108"/>
                  </a:lnTo>
                  <a:lnTo>
                    <a:pt x="3318414" y="1617727"/>
                  </a:lnTo>
                  <a:lnTo>
                    <a:pt x="3317462" y="1618678"/>
                  </a:lnTo>
                  <a:lnTo>
                    <a:pt x="3315224" y="1616440"/>
                  </a:lnTo>
                  <a:lnTo>
                    <a:pt x="3314509" y="1617155"/>
                  </a:lnTo>
                  <a:lnTo>
                    <a:pt x="3312319" y="1614965"/>
                  </a:lnTo>
                  <a:lnTo>
                    <a:pt x="3311747" y="1615536"/>
                  </a:lnTo>
                  <a:lnTo>
                    <a:pt x="3309509" y="1613298"/>
                  </a:lnTo>
                  <a:lnTo>
                    <a:pt x="3309080" y="1613726"/>
                  </a:lnTo>
                  <a:lnTo>
                    <a:pt x="3306937" y="1611583"/>
                  </a:lnTo>
                  <a:lnTo>
                    <a:pt x="3306603" y="1611916"/>
                  </a:lnTo>
                  <a:lnTo>
                    <a:pt x="3304318" y="1609631"/>
                  </a:lnTo>
                  <a:lnTo>
                    <a:pt x="3303936" y="1610012"/>
                  </a:lnTo>
                  <a:lnTo>
                    <a:pt x="3301460" y="1607536"/>
                  </a:lnTo>
                  <a:lnTo>
                    <a:pt x="3301079" y="1607916"/>
                  </a:lnTo>
                  <a:lnTo>
                    <a:pt x="3298364" y="1605201"/>
                  </a:lnTo>
                  <a:lnTo>
                    <a:pt x="3297840" y="1605725"/>
                  </a:lnTo>
                  <a:lnTo>
                    <a:pt x="3294840" y="1602724"/>
                  </a:lnTo>
                  <a:lnTo>
                    <a:pt x="3294125" y="1603439"/>
                  </a:lnTo>
                  <a:lnTo>
                    <a:pt x="3290744" y="1600058"/>
                  </a:lnTo>
                  <a:lnTo>
                    <a:pt x="3289744" y="1601058"/>
                  </a:lnTo>
                  <a:lnTo>
                    <a:pt x="3285791" y="1597105"/>
                  </a:lnTo>
                  <a:lnTo>
                    <a:pt x="3284410" y="1598486"/>
                  </a:lnTo>
                  <a:lnTo>
                    <a:pt x="3279933" y="1594009"/>
                  </a:lnTo>
                  <a:lnTo>
                    <a:pt x="3278123" y="1595819"/>
                  </a:lnTo>
                  <a:lnTo>
                    <a:pt x="3272933" y="1590628"/>
                  </a:lnTo>
                  <a:lnTo>
                    <a:pt x="3270599" y="1592962"/>
                  </a:lnTo>
                  <a:lnTo>
                    <a:pt x="3264646" y="1587008"/>
                  </a:lnTo>
                  <a:lnTo>
                    <a:pt x="3261645" y="1590009"/>
                  </a:lnTo>
                  <a:cubicBezTo>
                    <a:pt x="3258216" y="1590009"/>
                    <a:pt x="3255454" y="1587246"/>
                    <a:pt x="3255454" y="1583817"/>
                  </a:cubicBezTo>
                  <a:cubicBezTo>
                    <a:pt x="3255454" y="1580388"/>
                    <a:pt x="3258216" y="1577626"/>
                    <a:pt x="3261645" y="1577626"/>
                  </a:cubicBezTo>
                  <a:close/>
                  <a:moveTo>
                    <a:pt x="76009" y="1576007"/>
                  </a:moveTo>
                  <a:cubicBezTo>
                    <a:pt x="79438" y="1576007"/>
                    <a:pt x="82201" y="1578769"/>
                    <a:pt x="82201" y="1582198"/>
                  </a:cubicBezTo>
                  <a:cubicBezTo>
                    <a:pt x="82201" y="1585627"/>
                    <a:pt x="79438" y="1588390"/>
                    <a:pt x="76009" y="1588390"/>
                  </a:cubicBezTo>
                  <a:cubicBezTo>
                    <a:pt x="72580" y="1588390"/>
                    <a:pt x="69818" y="1585627"/>
                    <a:pt x="69818" y="1582198"/>
                  </a:cubicBezTo>
                  <a:cubicBezTo>
                    <a:pt x="69818" y="1578769"/>
                    <a:pt x="72580" y="1576007"/>
                    <a:pt x="76009" y="1576007"/>
                  </a:cubicBezTo>
                  <a:close/>
                  <a:moveTo>
                    <a:pt x="3251072" y="1574578"/>
                  </a:moveTo>
                  <a:cubicBezTo>
                    <a:pt x="3254501" y="1574578"/>
                    <a:pt x="3257263" y="1577340"/>
                    <a:pt x="3257263" y="1580769"/>
                  </a:cubicBezTo>
                  <a:cubicBezTo>
                    <a:pt x="3257263" y="1584198"/>
                    <a:pt x="3254501" y="1586961"/>
                    <a:pt x="3251072" y="1586961"/>
                  </a:cubicBezTo>
                  <a:cubicBezTo>
                    <a:pt x="3247643" y="1586961"/>
                    <a:pt x="3244881" y="1584198"/>
                    <a:pt x="3244881" y="1580769"/>
                  </a:cubicBezTo>
                  <a:cubicBezTo>
                    <a:pt x="3244881" y="1577340"/>
                    <a:pt x="3247643" y="1574578"/>
                    <a:pt x="3251072" y="1574578"/>
                  </a:cubicBezTo>
                  <a:close/>
                  <a:moveTo>
                    <a:pt x="87534" y="1572863"/>
                  </a:moveTo>
                  <a:cubicBezTo>
                    <a:pt x="90963" y="1572863"/>
                    <a:pt x="93726" y="1575625"/>
                    <a:pt x="93726" y="1579054"/>
                  </a:cubicBezTo>
                  <a:cubicBezTo>
                    <a:pt x="93726" y="1582483"/>
                    <a:pt x="90963" y="1585246"/>
                    <a:pt x="87534" y="1585246"/>
                  </a:cubicBezTo>
                  <a:cubicBezTo>
                    <a:pt x="84105" y="1585246"/>
                    <a:pt x="81343" y="1582483"/>
                    <a:pt x="81343" y="1579054"/>
                  </a:cubicBezTo>
                  <a:cubicBezTo>
                    <a:pt x="81343" y="1575625"/>
                    <a:pt x="84105" y="1572863"/>
                    <a:pt x="87534" y="1572863"/>
                  </a:cubicBezTo>
                  <a:close/>
                  <a:moveTo>
                    <a:pt x="3238499" y="1571244"/>
                  </a:moveTo>
                  <a:cubicBezTo>
                    <a:pt x="3241928" y="1571244"/>
                    <a:pt x="3244690" y="1574006"/>
                    <a:pt x="3244690" y="1577435"/>
                  </a:cubicBezTo>
                  <a:cubicBezTo>
                    <a:pt x="3244690" y="1580864"/>
                    <a:pt x="3241928" y="1583627"/>
                    <a:pt x="3238499" y="1583627"/>
                  </a:cubicBezTo>
                  <a:cubicBezTo>
                    <a:pt x="3235070" y="1583627"/>
                    <a:pt x="3232308" y="1580864"/>
                    <a:pt x="3232308" y="1577435"/>
                  </a:cubicBezTo>
                  <a:cubicBezTo>
                    <a:pt x="3232308" y="1574006"/>
                    <a:pt x="3235070" y="1571244"/>
                    <a:pt x="3238499" y="1571244"/>
                  </a:cubicBezTo>
                  <a:close/>
                  <a:moveTo>
                    <a:pt x="101155" y="1569434"/>
                  </a:moveTo>
                  <a:cubicBezTo>
                    <a:pt x="104584" y="1569434"/>
                    <a:pt x="107347" y="1572196"/>
                    <a:pt x="107347" y="1575625"/>
                  </a:cubicBezTo>
                  <a:cubicBezTo>
                    <a:pt x="107347" y="1579054"/>
                    <a:pt x="104584" y="1581817"/>
                    <a:pt x="101155" y="1581817"/>
                  </a:cubicBezTo>
                  <a:cubicBezTo>
                    <a:pt x="97726" y="1581817"/>
                    <a:pt x="94964" y="1579054"/>
                    <a:pt x="94964" y="1575625"/>
                  </a:cubicBezTo>
                  <a:cubicBezTo>
                    <a:pt x="94964" y="1572196"/>
                    <a:pt x="97726" y="1569434"/>
                    <a:pt x="101155" y="1569434"/>
                  </a:cubicBezTo>
                  <a:close/>
                  <a:moveTo>
                    <a:pt x="3223926" y="1567911"/>
                  </a:moveTo>
                  <a:cubicBezTo>
                    <a:pt x="3227355" y="1567911"/>
                    <a:pt x="3230117" y="1570673"/>
                    <a:pt x="3230117" y="1574102"/>
                  </a:cubicBezTo>
                  <a:cubicBezTo>
                    <a:pt x="3230117" y="1577531"/>
                    <a:pt x="3227355" y="1580293"/>
                    <a:pt x="3223926" y="1580293"/>
                  </a:cubicBezTo>
                  <a:cubicBezTo>
                    <a:pt x="3220497" y="1580293"/>
                    <a:pt x="3217735" y="1577531"/>
                    <a:pt x="3217735" y="1574102"/>
                  </a:cubicBezTo>
                  <a:cubicBezTo>
                    <a:pt x="3217735" y="1570673"/>
                    <a:pt x="3220497" y="1567911"/>
                    <a:pt x="3223926" y="1567911"/>
                  </a:cubicBezTo>
                  <a:close/>
                  <a:moveTo>
                    <a:pt x="117062" y="1566005"/>
                  </a:moveTo>
                  <a:cubicBezTo>
                    <a:pt x="120491" y="1566005"/>
                    <a:pt x="123253" y="1568767"/>
                    <a:pt x="123253" y="1572196"/>
                  </a:cubicBezTo>
                  <a:cubicBezTo>
                    <a:pt x="123253" y="1575625"/>
                    <a:pt x="120491" y="1578388"/>
                    <a:pt x="117062" y="1578388"/>
                  </a:cubicBezTo>
                  <a:cubicBezTo>
                    <a:pt x="113633" y="1578388"/>
                    <a:pt x="110871" y="1575625"/>
                    <a:pt x="110871" y="1572196"/>
                  </a:cubicBezTo>
                  <a:cubicBezTo>
                    <a:pt x="110871" y="1568767"/>
                    <a:pt x="113633" y="1566005"/>
                    <a:pt x="117062" y="1566005"/>
                  </a:cubicBezTo>
                  <a:close/>
                  <a:moveTo>
                    <a:pt x="3206876" y="1564291"/>
                  </a:moveTo>
                  <a:cubicBezTo>
                    <a:pt x="3210305" y="1564291"/>
                    <a:pt x="3213067" y="1567053"/>
                    <a:pt x="3213067" y="1570482"/>
                  </a:cubicBezTo>
                  <a:cubicBezTo>
                    <a:pt x="3213067" y="1573911"/>
                    <a:pt x="3210305" y="1576674"/>
                    <a:pt x="3206876" y="1576674"/>
                  </a:cubicBezTo>
                  <a:cubicBezTo>
                    <a:pt x="3203447" y="1576674"/>
                    <a:pt x="3200685" y="1573911"/>
                    <a:pt x="3200685" y="1570482"/>
                  </a:cubicBezTo>
                  <a:cubicBezTo>
                    <a:pt x="3200685" y="1567053"/>
                    <a:pt x="3203447" y="1564291"/>
                    <a:pt x="3206876" y="1564291"/>
                  </a:cubicBezTo>
                  <a:close/>
                  <a:moveTo>
                    <a:pt x="135445" y="1562291"/>
                  </a:moveTo>
                  <a:cubicBezTo>
                    <a:pt x="138874" y="1562291"/>
                    <a:pt x="141637" y="1565053"/>
                    <a:pt x="141637" y="1568482"/>
                  </a:cubicBezTo>
                  <a:cubicBezTo>
                    <a:pt x="141637" y="1571911"/>
                    <a:pt x="138874" y="1574674"/>
                    <a:pt x="135445" y="1574674"/>
                  </a:cubicBezTo>
                  <a:cubicBezTo>
                    <a:pt x="132016" y="1574674"/>
                    <a:pt x="129254" y="1571911"/>
                    <a:pt x="129254" y="1568482"/>
                  </a:cubicBezTo>
                  <a:cubicBezTo>
                    <a:pt x="129254" y="1565053"/>
                    <a:pt x="132016" y="1562291"/>
                    <a:pt x="135445" y="1562291"/>
                  </a:cubicBezTo>
                  <a:close/>
                  <a:moveTo>
                    <a:pt x="3187255" y="1560576"/>
                  </a:moveTo>
                  <a:cubicBezTo>
                    <a:pt x="3190684" y="1560576"/>
                    <a:pt x="3193446" y="1563338"/>
                    <a:pt x="3193446" y="1566767"/>
                  </a:cubicBezTo>
                  <a:cubicBezTo>
                    <a:pt x="3193446" y="1570196"/>
                    <a:pt x="3190684" y="1572959"/>
                    <a:pt x="3187255" y="1572959"/>
                  </a:cubicBezTo>
                  <a:cubicBezTo>
                    <a:pt x="3183826" y="1572959"/>
                    <a:pt x="3181064" y="1570196"/>
                    <a:pt x="3181064" y="1566767"/>
                  </a:cubicBezTo>
                  <a:cubicBezTo>
                    <a:pt x="3181064" y="1563338"/>
                    <a:pt x="3183826" y="1560576"/>
                    <a:pt x="3187255" y="1560576"/>
                  </a:cubicBezTo>
                  <a:close/>
                  <a:moveTo>
                    <a:pt x="156590" y="1558481"/>
                  </a:moveTo>
                  <a:cubicBezTo>
                    <a:pt x="160019" y="1558481"/>
                    <a:pt x="162782" y="1561243"/>
                    <a:pt x="162782" y="1564672"/>
                  </a:cubicBezTo>
                  <a:cubicBezTo>
                    <a:pt x="162782" y="1568101"/>
                    <a:pt x="160019" y="1570864"/>
                    <a:pt x="156590" y="1570864"/>
                  </a:cubicBezTo>
                  <a:cubicBezTo>
                    <a:pt x="153161" y="1570864"/>
                    <a:pt x="150399" y="1568101"/>
                    <a:pt x="150399" y="1564672"/>
                  </a:cubicBezTo>
                  <a:cubicBezTo>
                    <a:pt x="150399" y="1561243"/>
                    <a:pt x="153161" y="1558481"/>
                    <a:pt x="156590" y="1558481"/>
                  </a:cubicBezTo>
                  <a:close/>
                  <a:moveTo>
                    <a:pt x="3164681" y="1556671"/>
                  </a:moveTo>
                  <a:cubicBezTo>
                    <a:pt x="3168110" y="1556671"/>
                    <a:pt x="3170872" y="1559433"/>
                    <a:pt x="3170872" y="1562862"/>
                  </a:cubicBezTo>
                  <a:cubicBezTo>
                    <a:pt x="3170872" y="1566291"/>
                    <a:pt x="3168110" y="1569054"/>
                    <a:pt x="3164681" y="1569054"/>
                  </a:cubicBezTo>
                  <a:cubicBezTo>
                    <a:pt x="3161252" y="1569054"/>
                    <a:pt x="3158490" y="1566291"/>
                    <a:pt x="3158490" y="1562862"/>
                  </a:cubicBezTo>
                  <a:cubicBezTo>
                    <a:pt x="3158490" y="1559433"/>
                    <a:pt x="3161252" y="1556671"/>
                    <a:pt x="3164681" y="1556671"/>
                  </a:cubicBezTo>
                  <a:close/>
                  <a:moveTo>
                    <a:pt x="180879" y="1554480"/>
                  </a:moveTo>
                  <a:cubicBezTo>
                    <a:pt x="184308" y="1554480"/>
                    <a:pt x="187070" y="1557242"/>
                    <a:pt x="187070" y="1560671"/>
                  </a:cubicBezTo>
                  <a:cubicBezTo>
                    <a:pt x="187070" y="1564100"/>
                    <a:pt x="184308" y="1566863"/>
                    <a:pt x="180879" y="1566863"/>
                  </a:cubicBezTo>
                  <a:cubicBezTo>
                    <a:pt x="177450" y="1566863"/>
                    <a:pt x="174688" y="1564100"/>
                    <a:pt x="174688" y="1560671"/>
                  </a:cubicBezTo>
                  <a:cubicBezTo>
                    <a:pt x="174688" y="1557242"/>
                    <a:pt x="177450" y="1554480"/>
                    <a:pt x="180879" y="1554480"/>
                  </a:cubicBezTo>
                  <a:close/>
                  <a:moveTo>
                    <a:pt x="3138868" y="1552575"/>
                  </a:moveTo>
                  <a:cubicBezTo>
                    <a:pt x="3142297" y="1552575"/>
                    <a:pt x="3145059" y="1555337"/>
                    <a:pt x="3145059" y="1558766"/>
                  </a:cubicBezTo>
                  <a:cubicBezTo>
                    <a:pt x="3145059" y="1562195"/>
                    <a:pt x="3142297" y="1564957"/>
                    <a:pt x="3138868" y="1564957"/>
                  </a:cubicBezTo>
                  <a:cubicBezTo>
                    <a:pt x="3135439" y="1564957"/>
                    <a:pt x="3132677" y="1562195"/>
                    <a:pt x="3132677" y="1558766"/>
                  </a:cubicBezTo>
                  <a:cubicBezTo>
                    <a:pt x="3132677" y="1555337"/>
                    <a:pt x="3135439" y="1552575"/>
                    <a:pt x="3138868" y="1552575"/>
                  </a:cubicBezTo>
                  <a:close/>
                  <a:moveTo>
                    <a:pt x="208597" y="1550384"/>
                  </a:moveTo>
                  <a:cubicBezTo>
                    <a:pt x="212026" y="1550384"/>
                    <a:pt x="214788" y="1553146"/>
                    <a:pt x="214788" y="1556575"/>
                  </a:cubicBezTo>
                  <a:cubicBezTo>
                    <a:pt x="214788" y="1560004"/>
                    <a:pt x="212026" y="1562767"/>
                    <a:pt x="208597" y="1562767"/>
                  </a:cubicBezTo>
                  <a:cubicBezTo>
                    <a:pt x="205168" y="1562767"/>
                    <a:pt x="202406" y="1560004"/>
                    <a:pt x="202406" y="1556575"/>
                  </a:cubicBezTo>
                  <a:cubicBezTo>
                    <a:pt x="202406" y="1553146"/>
                    <a:pt x="205168" y="1550384"/>
                    <a:pt x="208597" y="1550384"/>
                  </a:cubicBezTo>
                  <a:close/>
                  <a:moveTo>
                    <a:pt x="3109531" y="1548384"/>
                  </a:moveTo>
                  <a:cubicBezTo>
                    <a:pt x="3112960" y="1548384"/>
                    <a:pt x="3115722" y="1551146"/>
                    <a:pt x="3115722" y="1554575"/>
                  </a:cubicBezTo>
                  <a:cubicBezTo>
                    <a:pt x="3115722" y="1558004"/>
                    <a:pt x="3112960" y="1560767"/>
                    <a:pt x="3109531" y="1560767"/>
                  </a:cubicBezTo>
                  <a:cubicBezTo>
                    <a:pt x="3106102" y="1560767"/>
                    <a:pt x="3103340" y="1558004"/>
                    <a:pt x="3103340" y="1554575"/>
                  </a:cubicBezTo>
                  <a:cubicBezTo>
                    <a:pt x="3103340" y="1551146"/>
                    <a:pt x="3106102" y="1548384"/>
                    <a:pt x="3109531" y="1548384"/>
                  </a:cubicBezTo>
                  <a:close/>
                  <a:moveTo>
                    <a:pt x="239934" y="1546003"/>
                  </a:moveTo>
                  <a:cubicBezTo>
                    <a:pt x="243363" y="1546003"/>
                    <a:pt x="246125" y="1548765"/>
                    <a:pt x="246125" y="1552194"/>
                  </a:cubicBezTo>
                  <a:cubicBezTo>
                    <a:pt x="246125" y="1555623"/>
                    <a:pt x="243363" y="1558386"/>
                    <a:pt x="239934" y="1558386"/>
                  </a:cubicBezTo>
                  <a:cubicBezTo>
                    <a:pt x="236505" y="1558386"/>
                    <a:pt x="233743" y="1555623"/>
                    <a:pt x="233743" y="1552194"/>
                  </a:cubicBezTo>
                  <a:cubicBezTo>
                    <a:pt x="233743" y="1548765"/>
                    <a:pt x="236505" y="1546003"/>
                    <a:pt x="239934" y="1546003"/>
                  </a:cubicBezTo>
                  <a:close/>
                  <a:moveTo>
                    <a:pt x="3076289" y="1543812"/>
                  </a:moveTo>
                  <a:cubicBezTo>
                    <a:pt x="3079709" y="1543812"/>
                    <a:pt x="3082480" y="1546584"/>
                    <a:pt x="3082480" y="1550003"/>
                  </a:cubicBezTo>
                  <a:cubicBezTo>
                    <a:pt x="3082480" y="1553423"/>
                    <a:pt x="3079709" y="1556194"/>
                    <a:pt x="3076289" y="1556194"/>
                  </a:cubicBezTo>
                  <a:cubicBezTo>
                    <a:pt x="3072870" y="1556194"/>
                    <a:pt x="3070098" y="1553423"/>
                    <a:pt x="3070098" y="1550003"/>
                  </a:cubicBezTo>
                  <a:cubicBezTo>
                    <a:pt x="3070098" y="1546584"/>
                    <a:pt x="3072870" y="1543812"/>
                    <a:pt x="3076289" y="1543812"/>
                  </a:cubicBezTo>
                  <a:close/>
                  <a:moveTo>
                    <a:pt x="275272" y="1541431"/>
                  </a:moveTo>
                  <a:cubicBezTo>
                    <a:pt x="278701" y="1541431"/>
                    <a:pt x="281463" y="1544193"/>
                    <a:pt x="281463" y="1547622"/>
                  </a:cubicBezTo>
                  <a:cubicBezTo>
                    <a:pt x="281463" y="1551051"/>
                    <a:pt x="278701" y="1553813"/>
                    <a:pt x="275272" y="1553813"/>
                  </a:cubicBezTo>
                  <a:cubicBezTo>
                    <a:pt x="271843" y="1553813"/>
                    <a:pt x="269081" y="1551051"/>
                    <a:pt x="269081" y="1547622"/>
                  </a:cubicBezTo>
                  <a:cubicBezTo>
                    <a:pt x="269081" y="1544193"/>
                    <a:pt x="271843" y="1541431"/>
                    <a:pt x="275272" y="1541431"/>
                  </a:cubicBezTo>
                  <a:close/>
                  <a:moveTo>
                    <a:pt x="3038950" y="1539240"/>
                  </a:moveTo>
                  <a:cubicBezTo>
                    <a:pt x="3042379" y="1539240"/>
                    <a:pt x="3045142" y="1542002"/>
                    <a:pt x="3045142" y="1545431"/>
                  </a:cubicBezTo>
                  <a:cubicBezTo>
                    <a:pt x="3045142" y="1548860"/>
                    <a:pt x="3042379" y="1551623"/>
                    <a:pt x="3038950" y="1551623"/>
                  </a:cubicBezTo>
                  <a:cubicBezTo>
                    <a:pt x="3035521" y="1551623"/>
                    <a:pt x="3032759" y="1548860"/>
                    <a:pt x="3032759" y="1545431"/>
                  </a:cubicBezTo>
                  <a:cubicBezTo>
                    <a:pt x="3032759" y="1542002"/>
                    <a:pt x="3035521" y="1539240"/>
                    <a:pt x="3038950" y="1539240"/>
                  </a:cubicBezTo>
                  <a:close/>
                  <a:moveTo>
                    <a:pt x="315086" y="1536669"/>
                  </a:moveTo>
                  <a:cubicBezTo>
                    <a:pt x="318515" y="1536669"/>
                    <a:pt x="321277" y="1539431"/>
                    <a:pt x="321277" y="1542860"/>
                  </a:cubicBezTo>
                  <a:cubicBezTo>
                    <a:pt x="321277" y="1546289"/>
                    <a:pt x="318515" y="1549051"/>
                    <a:pt x="315086" y="1549051"/>
                  </a:cubicBezTo>
                  <a:cubicBezTo>
                    <a:pt x="311657" y="1549051"/>
                    <a:pt x="308895" y="1546289"/>
                    <a:pt x="308895" y="1542860"/>
                  </a:cubicBezTo>
                  <a:cubicBezTo>
                    <a:pt x="308895" y="1539431"/>
                    <a:pt x="311657" y="1536669"/>
                    <a:pt x="315086" y="1536669"/>
                  </a:cubicBezTo>
                  <a:close/>
                  <a:moveTo>
                    <a:pt x="2997041" y="1534478"/>
                  </a:moveTo>
                  <a:cubicBezTo>
                    <a:pt x="3000470" y="1534478"/>
                    <a:pt x="3003232" y="1537240"/>
                    <a:pt x="3003232" y="1540669"/>
                  </a:cubicBezTo>
                  <a:cubicBezTo>
                    <a:pt x="3003232" y="1544098"/>
                    <a:pt x="3000470" y="1546861"/>
                    <a:pt x="2997041" y="1546861"/>
                  </a:cubicBezTo>
                  <a:cubicBezTo>
                    <a:pt x="2993612" y="1546861"/>
                    <a:pt x="2990850" y="1544098"/>
                    <a:pt x="2990850" y="1540669"/>
                  </a:cubicBezTo>
                  <a:cubicBezTo>
                    <a:pt x="2990850" y="1537240"/>
                    <a:pt x="2993612" y="1534478"/>
                    <a:pt x="2997041" y="1534478"/>
                  </a:cubicBezTo>
                  <a:close/>
                  <a:moveTo>
                    <a:pt x="359568" y="1531811"/>
                  </a:moveTo>
                  <a:cubicBezTo>
                    <a:pt x="362997" y="1531811"/>
                    <a:pt x="365760" y="1534573"/>
                    <a:pt x="365760" y="1538002"/>
                  </a:cubicBezTo>
                  <a:cubicBezTo>
                    <a:pt x="365760" y="1541431"/>
                    <a:pt x="362997" y="1544194"/>
                    <a:pt x="359568" y="1544194"/>
                  </a:cubicBezTo>
                  <a:cubicBezTo>
                    <a:pt x="356139" y="1544194"/>
                    <a:pt x="353377" y="1541431"/>
                    <a:pt x="353377" y="1538002"/>
                  </a:cubicBezTo>
                  <a:cubicBezTo>
                    <a:pt x="353377" y="1534573"/>
                    <a:pt x="356139" y="1531811"/>
                    <a:pt x="359568" y="1531811"/>
                  </a:cubicBezTo>
                  <a:close/>
                  <a:moveTo>
                    <a:pt x="2950273" y="1529429"/>
                  </a:moveTo>
                  <a:cubicBezTo>
                    <a:pt x="2953702" y="1529429"/>
                    <a:pt x="2956465" y="1532191"/>
                    <a:pt x="2956465" y="1535620"/>
                  </a:cubicBezTo>
                  <a:cubicBezTo>
                    <a:pt x="2956465" y="1539049"/>
                    <a:pt x="2953702" y="1541812"/>
                    <a:pt x="2950273" y="1541812"/>
                  </a:cubicBezTo>
                  <a:cubicBezTo>
                    <a:pt x="2946844" y="1541812"/>
                    <a:pt x="2944082" y="1539049"/>
                    <a:pt x="2944082" y="1535620"/>
                  </a:cubicBezTo>
                  <a:cubicBezTo>
                    <a:pt x="2944082" y="1532191"/>
                    <a:pt x="2946844" y="1529429"/>
                    <a:pt x="2950273" y="1529429"/>
                  </a:cubicBezTo>
                  <a:close/>
                  <a:moveTo>
                    <a:pt x="409098" y="1526667"/>
                  </a:moveTo>
                  <a:cubicBezTo>
                    <a:pt x="412527" y="1526667"/>
                    <a:pt x="415289" y="1529429"/>
                    <a:pt x="415289" y="1532858"/>
                  </a:cubicBezTo>
                  <a:cubicBezTo>
                    <a:pt x="415289" y="1536287"/>
                    <a:pt x="412527" y="1539050"/>
                    <a:pt x="409098" y="1539050"/>
                  </a:cubicBezTo>
                  <a:cubicBezTo>
                    <a:pt x="405669" y="1539050"/>
                    <a:pt x="402907" y="1536287"/>
                    <a:pt x="402907" y="1532858"/>
                  </a:cubicBezTo>
                  <a:cubicBezTo>
                    <a:pt x="402907" y="1529429"/>
                    <a:pt x="405669" y="1526667"/>
                    <a:pt x="409098" y="1526667"/>
                  </a:cubicBezTo>
                  <a:close/>
                  <a:moveTo>
                    <a:pt x="58007" y="1524476"/>
                  </a:moveTo>
                  <a:cubicBezTo>
                    <a:pt x="61436" y="1524476"/>
                    <a:pt x="64198" y="1527238"/>
                    <a:pt x="64198" y="1530667"/>
                  </a:cubicBezTo>
                  <a:cubicBezTo>
                    <a:pt x="64198" y="1534096"/>
                    <a:pt x="61436" y="1536859"/>
                    <a:pt x="58007" y="1536859"/>
                  </a:cubicBezTo>
                  <a:lnTo>
                    <a:pt x="56959" y="1535811"/>
                  </a:lnTo>
                  <a:lnTo>
                    <a:pt x="51434" y="1541336"/>
                  </a:lnTo>
                  <a:lnTo>
                    <a:pt x="50910" y="1540813"/>
                  </a:lnTo>
                  <a:lnTo>
                    <a:pt x="46005" y="1545718"/>
                  </a:lnTo>
                  <a:lnTo>
                    <a:pt x="45671" y="1545384"/>
                  </a:lnTo>
                  <a:lnTo>
                    <a:pt x="43624" y="1547432"/>
                  </a:lnTo>
                  <a:lnTo>
                    <a:pt x="40100" y="1550956"/>
                  </a:lnTo>
                  <a:lnTo>
                    <a:pt x="40291" y="1551146"/>
                  </a:lnTo>
                  <a:lnTo>
                    <a:pt x="37052" y="1554385"/>
                  </a:lnTo>
                  <a:lnTo>
                    <a:pt x="37243" y="1554575"/>
                  </a:lnTo>
                  <a:lnTo>
                    <a:pt x="34194" y="1557624"/>
                  </a:lnTo>
                  <a:lnTo>
                    <a:pt x="34480" y="1557909"/>
                  </a:lnTo>
                  <a:lnTo>
                    <a:pt x="31527" y="1560862"/>
                  </a:lnTo>
                  <a:lnTo>
                    <a:pt x="31718" y="1561052"/>
                  </a:lnTo>
                  <a:lnTo>
                    <a:pt x="28908" y="1563862"/>
                  </a:lnTo>
                  <a:lnTo>
                    <a:pt x="29051" y="1564005"/>
                  </a:lnTo>
                  <a:cubicBezTo>
                    <a:pt x="29051" y="1567434"/>
                    <a:pt x="26288" y="1570197"/>
                    <a:pt x="22859" y="1570197"/>
                  </a:cubicBezTo>
                  <a:lnTo>
                    <a:pt x="22764" y="1570102"/>
                  </a:lnTo>
                  <a:lnTo>
                    <a:pt x="19907" y="1572959"/>
                  </a:lnTo>
                  <a:lnTo>
                    <a:pt x="19669" y="1572721"/>
                  </a:lnTo>
                  <a:lnTo>
                    <a:pt x="16859" y="1575530"/>
                  </a:lnTo>
                  <a:lnTo>
                    <a:pt x="16335" y="1575007"/>
                  </a:lnTo>
                  <a:lnTo>
                    <a:pt x="13334" y="1578008"/>
                  </a:lnTo>
                  <a:lnTo>
                    <a:pt x="12524" y="1577198"/>
                  </a:lnTo>
                  <a:lnTo>
                    <a:pt x="9429" y="1580293"/>
                  </a:lnTo>
                  <a:lnTo>
                    <a:pt x="5904" y="1576769"/>
                  </a:lnTo>
                  <a:lnTo>
                    <a:pt x="5047" y="1577626"/>
                  </a:lnTo>
                  <a:cubicBezTo>
                    <a:pt x="4286" y="1577626"/>
                    <a:pt x="3714" y="1577055"/>
                    <a:pt x="3714" y="1576292"/>
                  </a:cubicBezTo>
                  <a:lnTo>
                    <a:pt x="4571" y="1575435"/>
                  </a:lnTo>
                  <a:lnTo>
                    <a:pt x="3238" y="1574102"/>
                  </a:lnTo>
                  <a:cubicBezTo>
                    <a:pt x="3238" y="1570673"/>
                    <a:pt x="6000" y="1567911"/>
                    <a:pt x="9429" y="1567911"/>
                  </a:cubicBezTo>
                  <a:lnTo>
                    <a:pt x="10238" y="1568721"/>
                  </a:lnTo>
                  <a:lnTo>
                    <a:pt x="13334" y="1565625"/>
                  </a:lnTo>
                  <a:lnTo>
                    <a:pt x="13858" y="1566149"/>
                  </a:lnTo>
                  <a:lnTo>
                    <a:pt x="16859" y="1563148"/>
                  </a:lnTo>
                  <a:lnTo>
                    <a:pt x="17097" y="1563386"/>
                  </a:lnTo>
                  <a:lnTo>
                    <a:pt x="19383" y="1561100"/>
                  </a:lnTo>
                  <a:lnTo>
                    <a:pt x="19335" y="1561052"/>
                  </a:lnTo>
                  <a:lnTo>
                    <a:pt x="22287" y="1558100"/>
                  </a:lnTo>
                  <a:lnTo>
                    <a:pt x="22097" y="1557909"/>
                  </a:lnTo>
                  <a:lnTo>
                    <a:pt x="25145" y="1554861"/>
                  </a:lnTo>
                  <a:lnTo>
                    <a:pt x="24860" y="1554575"/>
                  </a:lnTo>
                  <a:lnTo>
                    <a:pt x="28098" y="1551337"/>
                  </a:lnTo>
                  <a:lnTo>
                    <a:pt x="27908" y="1551146"/>
                  </a:lnTo>
                  <a:lnTo>
                    <a:pt x="31431" y="1547623"/>
                  </a:lnTo>
                  <a:lnTo>
                    <a:pt x="31241" y="1547432"/>
                  </a:lnTo>
                  <a:lnTo>
                    <a:pt x="35147" y="1543526"/>
                  </a:lnTo>
                  <a:cubicBezTo>
                    <a:pt x="35147" y="1540097"/>
                    <a:pt x="37909" y="1537335"/>
                    <a:pt x="41338" y="1537335"/>
                  </a:cubicBezTo>
                  <a:lnTo>
                    <a:pt x="41671" y="1537669"/>
                  </a:lnTo>
                  <a:lnTo>
                    <a:pt x="46005" y="1533335"/>
                  </a:lnTo>
                  <a:lnTo>
                    <a:pt x="46528" y="1533859"/>
                  </a:lnTo>
                  <a:lnTo>
                    <a:pt x="51434" y="1528953"/>
                  </a:lnTo>
                  <a:lnTo>
                    <a:pt x="52482" y="1530001"/>
                  </a:lnTo>
                  <a:close/>
                  <a:moveTo>
                    <a:pt x="2898171" y="1524191"/>
                  </a:moveTo>
                  <a:cubicBezTo>
                    <a:pt x="2901600" y="1524191"/>
                    <a:pt x="2904363" y="1526953"/>
                    <a:pt x="2904363" y="1530382"/>
                  </a:cubicBezTo>
                  <a:cubicBezTo>
                    <a:pt x="2904363" y="1533811"/>
                    <a:pt x="2901600" y="1536574"/>
                    <a:pt x="2898171" y="1536574"/>
                  </a:cubicBezTo>
                  <a:cubicBezTo>
                    <a:pt x="2894742" y="1536574"/>
                    <a:pt x="2891980" y="1533811"/>
                    <a:pt x="2891980" y="1530382"/>
                  </a:cubicBezTo>
                  <a:cubicBezTo>
                    <a:pt x="2891980" y="1526953"/>
                    <a:pt x="2894742" y="1524191"/>
                    <a:pt x="2898171" y="1524191"/>
                  </a:cubicBezTo>
                  <a:close/>
                  <a:moveTo>
                    <a:pt x="3270789" y="1522286"/>
                  </a:moveTo>
                  <a:lnTo>
                    <a:pt x="3276647" y="1528144"/>
                  </a:lnTo>
                  <a:lnTo>
                    <a:pt x="3277838" y="1526953"/>
                  </a:lnTo>
                  <a:lnTo>
                    <a:pt x="3282981" y="1532096"/>
                  </a:lnTo>
                  <a:lnTo>
                    <a:pt x="3283743" y="1531334"/>
                  </a:lnTo>
                  <a:lnTo>
                    <a:pt x="3288362" y="1535954"/>
                  </a:lnTo>
                  <a:lnTo>
                    <a:pt x="3288791" y="1535525"/>
                  </a:lnTo>
                  <a:lnTo>
                    <a:pt x="3292887" y="1539621"/>
                  </a:lnTo>
                  <a:lnTo>
                    <a:pt x="3292982" y="1539526"/>
                  </a:lnTo>
                  <a:cubicBezTo>
                    <a:pt x="3296411" y="1539526"/>
                    <a:pt x="3299173" y="1542288"/>
                    <a:pt x="3299173" y="1545717"/>
                  </a:cubicBezTo>
                  <a:lnTo>
                    <a:pt x="3299125" y="1545765"/>
                  </a:lnTo>
                  <a:lnTo>
                    <a:pt x="3302793" y="1549432"/>
                  </a:lnTo>
                  <a:lnTo>
                    <a:pt x="3302555" y="1549670"/>
                  </a:lnTo>
                  <a:lnTo>
                    <a:pt x="3305936" y="1553051"/>
                  </a:lnTo>
                  <a:lnTo>
                    <a:pt x="3305698" y="1553290"/>
                  </a:lnTo>
                  <a:lnTo>
                    <a:pt x="3308794" y="1556385"/>
                  </a:lnTo>
                  <a:lnTo>
                    <a:pt x="3308556" y="1556623"/>
                  </a:lnTo>
                  <a:lnTo>
                    <a:pt x="3311557" y="1559624"/>
                  </a:lnTo>
                  <a:lnTo>
                    <a:pt x="3311367" y="1559814"/>
                  </a:lnTo>
                  <a:lnTo>
                    <a:pt x="3313700" y="1562147"/>
                  </a:lnTo>
                  <a:lnTo>
                    <a:pt x="3313842" y="1562005"/>
                  </a:lnTo>
                  <a:lnTo>
                    <a:pt x="3316747" y="1564911"/>
                  </a:lnTo>
                  <a:lnTo>
                    <a:pt x="3317176" y="1564482"/>
                  </a:lnTo>
                  <a:lnTo>
                    <a:pt x="3320176" y="1567482"/>
                  </a:lnTo>
                  <a:lnTo>
                    <a:pt x="3320795" y="1566863"/>
                  </a:lnTo>
                  <a:lnTo>
                    <a:pt x="3324034" y="1570101"/>
                  </a:lnTo>
                  <a:lnTo>
                    <a:pt x="3324986" y="1569149"/>
                  </a:lnTo>
                  <a:lnTo>
                    <a:pt x="3328415" y="1572578"/>
                  </a:lnTo>
                  <a:lnTo>
                    <a:pt x="3329749" y="1571244"/>
                  </a:lnTo>
                  <a:lnTo>
                    <a:pt x="3333369" y="1574863"/>
                  </a:lnTo>
                  <a:lnTo>
                    <a:pt x="3335083" y="1573149"/>
                  </a:lnTo>
                  <a:lnTo>
                    <a:pt x="3339036" y="1577101"/>
                  </a:lnTo>
                  <a:lnTo>
                    <a:pt x="3341083" y="1575054"/>
                  </a:lnTo>
                  <a:lnTo>
                    <a:pt x="3345322" y="1579293"/>
                  </a:lnTo>
                  <a:lnTo>
                    <a:pt x="3347846" y="1576769"/>
                  </a:lnTo>
                  <a:cubicBezTo>
                    <a:pt x="3351275" y="1576769"/>
                    <a:pt x="3354038" y="1579531"/>
                    <a:pt x="3354038" y="1582960"/>
                  </a:cubicBezTo>
                  <a:cubicBezTo>
                    <a:pt x="3354038" y="1586389"/>
                    <a:pt x="3351275" y="1589152"/>
                    <a:pt x="3347846" y="1589152"/>
                  </a:cubicBezTo>
                  <a:lnTo>
                    <a:pt x="3343607" y="1584913"/>
                  </a:lnTo>
                  <a:lnTo>
                    <a:pt x="3341083" y="1587436"/>
                  </a:lnTo>
                  <a:lnTo>
                    <a:pt x="3337131" y="1583484"/>
                  </a:lnTo>
                  <a:lnTo>
                    <a:pt x="3335083" y="1585532"/>
                  </a:lnTo>
                  <a:lnTo>
                    <a:pt x="3331464" y="1581912"/>
                  </a:lnTo>
                  <a:lnTo>
                    <a:pt x="3329749" y="1583627"/>
                  </a:lnTo>
                  <a:lnTo>
                    <a:pt x="3326320" y="1580198"/>
                  </a:lnTo>
                  <a:lnTo>
                    <a:pt x="3324986" y="1581532"/>
                  </a:lnTo>
                  <a:lnTo>
                    <a:pt x="3321747" y="1578293"/>
                  </a:lnTo>
                  <a:lnTo>
                    <a:pt x="3320795" y="1579245"/>
                  </a:lnTo>
                  <a:lnTo>
                    <a:pt x="3317795" y="1576245"/>
                  </a:lnTo>
                  <a:lnTo>
                    <a:pt x="3317176" y="1576864"/>
                  </a:lnTo>
                  <a:lnTo>
                    <a:pt x="3314271" y="1573959"/>
                  </a:lnTo>
                  <a:lnTo>
                    <a:pt x="3313842" y="1574388"/>
                  </a:lnTo>
                  <a:lnTo>
                    <a:pt x="3311032" y="1571578"/>
                  </a:lnTo>
                  <a:lnTo>
                    <a:pt x="3310889" y="1571721"/>
                  </a:lnTo>
                  <a:cubicBezTo>
                    <a:pt x="3307460" y="1571721"/>
                    <a:pt x="3304698" y="1568958"/>
                    <a:pt x="3304698" y="1565529"/>
                  </a:cubicBezTo>
                  <a:lnTo>
                    <a:pt x="3304698" y="1565529"/>
                  </a:lnTo>
                  <a:lnTo>
                    <a:pt x="3301841" y="1562671"/>
                  </a:lnTo>
                  <a:lnTo>
                    <a:pt x="3302031" y="1562481"/>
                  </a:lnTo>
                  <a:lnTo>
                    <a:pt x="3299174" y="1559624"/>
                  </a:lnTo>
                  <a:lnTo>
                    <a:pt x="3299412" y="1559386"/>
                  </a:lnTo>
                  <a:lnTo>
                    <a:pt x="3296411" y="1556385"/>
                  </a:lnTo>
                  <a:lnTo>
                    <a:pt x="3296649" y="1556147"/>
                  </a:lnTo>
                  <a:lnTo>
                    <a:pt x="3293554" y="1553051"/>
                  </a:lnTo>
                  <a:lnTo>
                    <a:pt x="3293792" y="1552814"/>
                  </a:lnTo>
                  <a:lnTo>
                    <a:pt x="3290411" y="1549432"/>
                  </a:lnTo>
                  <a:lnTo>
                    <a:pt x="3290458" y="1549385"/>
                  </a:lnTo>
                  <a:lnTo>
                    <a:pt x="3288886" y="1547813"/>
                  </a:lnTo>
                  <a:lnTo>
                    <a:pt x="3288791" y="1547908"/>
                  </a:lnTo>
                  <a:lnTo>
                    <a:pt x="3284172" y="1543288"/>
                  </a:lnTo>
                  <a:lnTo>
                    <a:pt x="3283743" y="1543717"/>
                  </a:lnTo>
                  <a:lnTo>
                    <a:pt x="3278600" y="1538574"/>
                  </a:lnTo>
                  <a:lnTo>
                    <a:pt x="3277838" y="1539336"/>
                  </a:lnTo>
                  <a:lnTo>
                    <a:pt x="3271980" y="1533478"/>
                  </a:lnTo>
                  <a:lnTo>
                    <a:pt x="3270789" y="1534669"/>
                  </a:lnTo>
                  <a:cubicBezTo>
                    <a:pt x="3267360" y="1534669"/>
                    <a:pt x="3264598" y="1531906"/>
                    <a:pt x="3264598" y="1528477"/>
                  </a:cubicBezTo>
                  <a:cubicBezTo>
                    <a:pt x="3264598" y="1525048"/>
                    <a:pt x="3267360" y="1522286"/>
                    <a:pt x="3270789" y="1522286"/>
                  </a:cubicBezTo>
                  <a:close/>
                  <a:moveTo>
                    <a:pt x="464248" y="1521333"/>
                  </a:moveTo>
                  <a:cubicBezTo>
                    <a:pt x="467677" y="1521333"/>
                    <a:pt x="470439" y="1524095"/>
                    <a:pt x="470439" y="1527524"/>
                  </a:cubicBezTo>
                  <a:cubicBezTo>
                    <a:pt x="470439" y="1530953"/>
                    <a:pt x="467677" y="1533715"/>
                    <a:pt x="464248" y="1533715"/>
                  </a:cubicBezTo>
                  <a:cubicBezTo>
                    <a:pt x="460819" y="1533715"/>
                    <a:pt x="458057" y="1530953"/>
                    <a:pt x="458057" y="1527524"/>
                  </a:cubicBezTo>
                  <a:cubicBezTo>
                    <a:pt x="458057" y="1524095"/>
                    <a:pt x="460819" y="1521333"/>
                    <a:pt x="464248" y="1521333"/>
                  </a:cubicBezTo>
                  <a:close/>
                  <a:moveTo>
                    <a:pt x="65722" y="1519714"/>
                  </a:moveTo>
                  <a:cubicBezTo>
                    <a:pt x="69151" y="1519714"/>
                    <a:pt x="71914" y="1522476"/>
                    <a:pt x="71914" y="1525905"/>
                  </a:cubicBezTo>
                  <a:cubicBezTo>
                    <a:pt x="71914" y="1529334"/>
                    <a:pt x="69151" y="1532097"/>
                    <a:pt x="65722" y="1532097"/>
                  </a:cubicBezTo>
                  <a:cubicBezTo>
                    <a:pt x="62293" y="1532097"/>
                    <a:pt x="59531" y="1529334"/>
                    <a:pt x="59531" y="1525905"/>
                  </a:cubicBezTo>
                  <a:cubicBezTo>
                    <a:pt x="59531" y="1522476"/>
                    <a:pt x="62293" y="1519714"/>
                    <a:pt x="65722" y="1519714"/>
                  </a:cubicBezTo>
                  <a:close/>
                  <a:moveTo>
                    <a:pt x="2840354" y="1518762"/>
                  </a:moveTo>
                  <a:cubicBezTo>
                    <a:pt x="2843783" y="1518762"/>
                    <a:pt x="2846546" y="1521524"/>
                    <a:pt x="2846546" y="1524953"/>
                  </a:cubicBezTo>
                  <a:cubicBezTo>
                    <a:pt x="2846546" y="1528382"/>
                    <a:pt x="2843783" y="1531145"/>
                    <a:pt x="2840354" y="1531145"/>
                  </a:cubicBezTo>
                  <a:cubicBezTo>
                    <a:pt x="2836925" y="1531145"/>
                    <a:pt x="2834163" y="1528382"/>
                    <a:pt x="2834163" y="1524953"/>
                  </a:cubicBezTo>
                  <a:cubicBezTo>
                    <a:pt x="2834163" y="1521524"/>
                    <a:pt x="2836925" y="1518762"/>
                    <a:pt x="2840354" y="1518762"/>
                  </a:cubicBezTo>
                  <a:close/>
                  <a:moveTo>
                    <a:pt x="3262312" y="1517428"/>
                  </a:moveTo>
                  <a:cubicBezTo>
                    <a:pt x="3265741" y="1517428"/>
                    <a:pt x="3268503" y="1520190"/>
                    <a:pt x="3268503" y="1523619"/>
                  </a:cubicBezTo>
                  <a:cubicBezTo>
                    <a:pt x="3268503" y="1527048"/>
                    <a:pt x="3265741" y="1529811"/>
                    <a:pt x="3262312" y="1529811"/>
                  </a:cubicBezTo>
                  <a:cubicBezTo>
                    <a:pt x="3258883" y="1529811"/>
                    <a:pt x="3256121" y="1527048"/>
                    <a:pt x="3256121" y="1523619"/>
                  </a:cubicBezTo>
                  <a:cubicBezTo>
                    <a:pt x="3256121" y="1520190"/>
                    <a:pt x="3258883" y="1517428"/>
                    <a:pt x="3262312" y="1517428"/>
                  </a:cubicBezTo>
                  <a:close/>
                  <a:moveTo>
                    <a:pt x="525208" y="1515809"/>
                  </a:moveTo>
                  <a:cubicBezTo>
                    <a:pt x="528637" y="1515809"/>
                    <a:pt x="531399" y="1518571"/>
                    <a:pt x="531399" y="1522000"/>
                  </a:cubicBezTo>
                  <a:cubicBezTo>
                    <a:pt x="531399" y="1525429"/>
                    <a:pt x="528637" y="1528191"/>
                    <a:pt x="525208" y="1528191"/>
                  </a:cubicBezTo>
                  <a:cubicBezTo>
                    <a:pt x="521779" y="1528191"/>
                    <a:pt x="519017" y="1525429"/>
                    <a:pt x="519017" y="1522000"/>
                  </a:cubicBezTo>
                  <a:cubicBezTo>
                    <a:pt x="519017" y="1518571"/>
                    <a:pt x="521779" y="1515809"/>
                    <a:pt x="525208" y="1515809"/>
                  </a:cubicBezTo>
                  <a:close/>
                  <a:moveTo>
                    <a:pt x="74961" y="1514666"/>
                  </a:moveTo>
                  <a:cubicBezTo>
                    <a:pt x="78381" y="1514666"/>
                    <a:pt x="81153" y="1517438"/>
                    <a:pt x="81153" y="1520857"/>
                  </a:cubicBezTo>
                  <a:cubicBezTo>
                    <a:pt x="81153" y="1524277"/>
                    <a:pt x="78381" y="1527048"/>
                    <a:pt x="74961" y="1527048"/>
                  </a:cubicBezTo>
                  <a:cubicBezTo>
                    <a:pt x="71542" y="1527048"/>
                    <a:pt x="68770" y="1524277"/>
                    <a:pt x="68770" y="1520857"/>
                  </a:cubicBezTo>
                  <a:cubicBezTo>
                    <a:pt x="68770" y="1517438"/>
                    <a:pt x="71542" y="1514666"/>
                    <a:pt x="74961" y="1514666"/>
                  </a:cubicBezTo>
                  <a:close/>
                  <a:moveTo>
                    <a:pt x="2776537" y="1513142"/>
                  </a:moveTo>
                  <a:cubicBezTo>
                    <a:pt x="2779966" y="1513142"/>
                    <a:pt x="2782728" y="1515904"/>
                    <a:pt x="2782728" y="1519333"/>
                  </a:cubicBezTo>
                  <a:cubicBezTo>
                    <a:pt x="2782728" y="1522762"/>
                    <a:pt x="2779966" y="1525524"/>
                    <a:pt x="2776537" y="1525524"/>
                  </a:cubicBezTo>
                  <a:cubicBezTo>
                    <a:pt x="2773108" y="1525524"/>
                    <a:pt x="2770346" y="1522762"/>
                    <a:pt x="2770346" y="1519333"/>
                  </a:cubicBezTo>
                  <a:cubicBezTo>
                    <a:pt x="2770346" y="1515904"/>
                    <a:pt x="2773108" y="1513142"/>
                    <a:pt x="2776537" y="1513142"/>
                  </a:cubicBezTo>
                  <a:close/>
                  <a:moveTo>
                    <a:pt x="3252406" y="1512284"/>
                  </a:moveTo>
                  <a:cubicBezTo>
                    <a:pt x="3255835" y="1512284"/>
                    <a:pt x="3258597" y="1515046"/>
                    <a:pt x="3258597" y="1518475"/>
                  </a:cubicBezTo>
                  <a:cubicBezTo>
                    <a:pt x="3258597" y="1521904"/>
                    <a:pt x="3255835" y="1524667"/>
                    <a:pt x="3252406" y="1524667"/>
                  </a:cubicBezTo>
                  <a:cubicBezTo>
                    <a:pt x="3248977" y="1524667"/>
                    <a:pt x="3246215" y="1521904"/>
                    <a:pt x="3246215" y="1518475"/>
                  </a:cubicBezTo>
                  <a:cubicBezTo>
                    <a:pt x="3246215" y="1515046"/>
                    <a:pt x="3248977" y="1512284"/>
                    <a:pt x="3252406" y="1512284"/>
                  </a:cubicBezTo>
                  <a:close/>
                  <a:moveTo>
                    <a:pt x="3351085" y="1510856"/>
                  </a:moveTo>
                  <a:cubicBezTo>
                    <a:pt x="3351180" y="1510856"/>
                    <a:pt x="3351370" y="1511047"/>
                    <a:pt x="3351370" y="1511142"/>
                  </a:cubicBezTo>
                  <a:cubicBezTo>
                    <a:pt x="3351370" y="1511237"/>
                    <a:pt x="3351085" y="1511427"/>
                    <a:pt x="3351085" y="1511427"/>
                  </a:cubicBezTo>
                  <a:cubicBezTo>
                    <a:pt x="3350989" y="1511427"/>
                    <a:pt x="3350799" y="1511237"/>
                    <a:pt x="3350799" y="1511142"/>
                  </a:cubicBezTo>
                  <a:cubicBezTo>
                    <a:pt x="3350799" y="1511047"/>
                    <a:pt x="3350989" y="1510856"/>
                    <a:pt x="3351085" y="1510856"/>
                  </a:cubicBezTo>
                  <a:close/>
                  <a:moveTo>
                    <a:pt x="592454" y="1509999"/>
                  </a:moveTo>
                  <a:cubicBezTo>
                    <a:pt x="595883" y="1509999"/>
                    <a:pt x="598645" y="1512761"/>
                    <a:pt x="598645" y="1516190"/>
                  </a:cubicBezTo>
                  <a:cubicBezTo>
                    <a:pt x="598645" y="1519619"/>
                    <a:pt x="595883" y="1522382"/>
                    <a:pt x="592454" y="1522382"/>
                  </a:cubicBezTo>
                  <a:cubicBezTo>
                    <a:pt x="589025" y="1522382"/>
                    <a:pt x="586263" y="1519619"/>
                    <a:pt x="586263" y="1516190"/>
                  </a:cubicBezTo>
                  <a:cubicBezTo>
                    <a:pt x="586263" y="1512761"/>
                    <a:pt x="589025" y="1509999"/>
                    <a:pt x="592454" y="1509999"/>
                  </a:cubicBezTo>
                  <a:close/>
                  <a:moveTo>
                    <a:pt x="85819" y="1509427"/>
                  </a:moveTo>
                  <a:cubicBezTo>
                    <a:pt x="89248" y="1509427"/>
                    <a:pt x="92011" y="1512189"/>
                    <a:pt x="92011" y="1515618"/>
                  </a:cubicBezTo>
                  <a:cubicBezTo>
                    <a:pt x="92011" y="1519047"/>
                    <a:pt x="89248" y="1521809"/>
                    <a:pt x="85819" y="1521809"/>
                  </a:cubicBezTo>
                  <a:cubicBezTo>
                    <a:pt x="82390" y="1521809"/>
                    <a:pt x="79628" y="1519047"/>
                    <a:pt x="79628" y="1515618"/>
                  </a:cubicBezTo>
                  <a:cubicBezTo>
                    <a:pt x="79628" y="1512189"/>
                    <a:pt x="82390" y="1509427"/>
                    <a:pt x="85819" y="1509427"/>
                  </a:cubicBezTo>
                  <a:close/>
                  <a:moveTo>
                    <a:pt x="2706242" y="1507332"/>
                  </a:moveTo>
                  <a:cubicBezTo>
                    <a:pt x="2709671" y="1507332"/>
                    <a:pt x="2712433" y="1510094"/>
                    <a:pt x="2712433" y="1513523"/>
                  </a:cubicBezTo>
                  <a:cubicBezTo>
                    <a:pt x="2712433" y="1516952"/>
                    <a:pt x="2709671" y="1519714"/>
                    <a:pt x="2706242" y="1519714"/>
                  </a:cubicBezTo>
                  <a:cubicBezTo>
                    <a:pt x="2702813" y="1519714"/>
                    <a:pt x="2700051" y="1516952"/>
                    <a:pt x="2700051" y="1513523"/>
                  </a:cubicBezTo>
                  <a:cubicBezTo>
                    <a:pt x="2700051" y="1510094"/>
                    <a:pt x="2702813" y="1507332"/>
                    <a:pt x="2706242" y="1507332"/>
                  </a:cubicBezTo>
                  <a:close/>
                  <a:moveTo>
                    <a:pt x="3240690" y="1506950"/>
                  </a:moveTo>
                  <a:cubicBezTo>
                    <a:pt x="3244119" y="1506950"/>
                    <a:pt x="3246882" y="1509712"/>
                    <a:pt x="3246882" y="1513141"/>
                  </a:cubicBezTo>
                  <a:cubicBezTo>
                    <a:pt x="3246882" y="1516570"/>
                    <a:pt x="3244119" y="1519333"/>
                    <a:pt x="3240690" y="1519333"/>
                  </a:cubicBezTo>
                  <a:cubicBezTo>
                    <a:pt x="3237261" y="1519333"/>
                    <a:pt x="3234499" y="1516570"/>
                    <a:pt x="3234499" y="1513141"/>
                  </a:cubicBezTo>
                  <a:cubicBezTo>
                    <a:pt x="3234499" y="1509712"/>
                    <a:pt x="3237261" y="1506950"/>
                    <a:pt x="3240690" y="1506950"/>
                  </a:cubicBezTo>
                  <a:close/>
                  <a:moveTo>
                    <a:pt x="666463" y="1504093"/>
                  </a:moveTo>
                  <a:cubicBezTo>
                    <a:pt x="669892" y="1504093"/>
                    <a:pt x="672655" y="1506855"/>
                    <a:pt x="672655" y="1510284"/>
                  </a:cubicBezTo>
                  <a:cubicBezTo>
                    <a:pt x="672655" y="1513713"/>
                    <a:pt x="669892" y="1516476"/>
                    <a:pt x="666463" y="1516476"/>
                  </a:cubicBezTo>
                  <a:cubicBezTo>
                    <a:pt x="663034" y="1516476"/>
                    <a:pt x="660272" y="1513713"/>
                    <a:pt x="660272" y="1510284"/>
                  </a:cubicBezTo>
                  <a:cubicBezTo>
                    <a:pt x="660272" y="1506855"/>
                    <a:pt x="663034" y="1504093"/>
                    <a:pt x="666463" y="1504093"/>
                  </a:cubicBezTo>
                  <a:close/>
                  <a:moveTo>
                    <a:pt x="98583" y="1503998"/>
                  </a:moveTo>
                  <a:cubicBezTo>
                    <a:pt x="102012" y="1503998"/>
                    <a:pt x="104775" y="1506760"/>
                    <a:pt x="104775" y="1510189"/>
                  </a:cubicBezTo>
                  <a:cubicBezTo>
                    <a:pt x="104775" y="1513618"/>
                    <a:pt x="102012" y="1516381"/>
                    <a:pt x="98583" y="1516381"/>
                  </a:cubicBezTo>
                  <a:cubicBezTo>
                    <a:pt x="95154" y="1516381"/>
                    <a:pt x="92392" y="1513618"/>
                    <a:pt x="92392" y="1510189"/>
                  </a:cubicBezTo>
                  <a:cubicBezTo>
                    <a:pt x="92392" y="1506760"/>
                    <a:pt x="95154" y="1503998"/>
                    <a:pt x="98583" y="1503998"/>
                  </a:cubicBezTo>
                  <a:close/>
                  <a:moveTo>
                    <a:pt x="3226974" y="1501331"/>
                  </a:moveTo>
                  <a:cubicBezTo>
                    <a:pt x="3230403" y="1501331"/>
                    <a:pt x="3233165" y="1504093"/>
                    <a:pt x="3233165" y="1507522"/>
                  </a:cubicBezTo>
                  <a:cubicBezTo>
                    <a:pt x="3233165" y="1510951"/>
                    <a:pt x="3230403" y="1513714"/>
                    <a:pt x="3226974" y="1513714"/>
                  </a:cubicBezTo>
                  <a:cubicBezTo>
                    <a:pt x="3223545" y="1513714"/>
                    <a:pt x="3220783" y="1510951"/>
                    <a:pt x="3220783" y="1507522"/>
                  </a:cubicBezTo>
                  <a:cubicBezTo>
                    <a:pt x="3220783" y="1504093"/>
                    <a:pt x="3223545" y="1501331"/>
                    <a:pt x="3226974" y="1501331"/>
                  </a:cubicBezTo>
                  <a:close/>
                  <a:moveTo>
                    <a:pt x="2628899" y="1501236"/>
                  </a:moveTo>
                  <a:cubicBezTo>
                    <a:pt x="2632328" y="1501236"/>
                    <a:pt x="2635090" y="1503998"/>
                    <a:pt x="2635090" y="1507427"/>
                  </a:cubicBezTo>
                  <a:cubicBezTo>
                    <a:pt x="2635090" y="1510856"/>
                    <a:pt x="2632328" y="1513618"/>
                    <a:pt x="2628899" y="1513618"/>
                  </a:cubicBezTo>
                  <a:cubicBezTo>
                    <a:pt x="2625470" y="1513618"/>
                    <a:pt x="2622708" y="1510856"/>
                    <a:pt x="2622708" y="1507427"/>
                  </a:cubicBezTo>
                  <a:cubicBezTo>
                    <a:pt x="2622708" y="1503998"/>
                    <a:pt x="2625470" y="1501236"/>
                    <a:pt x="2628899" y="1501236"/>
                  </a:cubicBezTo>
                  <a:close/>
                  <a:moveTo>
                    <a:pt x="113537" y="1498187"/>
                  </a:moveTo>
                  <a:cubicBezTo>
                    <a:pt x="116966" y="1498187"/>
                    <a:pt x="119728" y="1500949"/>
                    <a:pt x="119728" y="1504378"/>
                  </a:cubicBezTo>
                  <a:cubicBezTo>
                    <a:pt x="119728" y="1507807"/>
                    <a:pt x="116966" y="1510570"/>
                    <a:pt x="113537" y="1510570"/>
                  </a:cubicBezTo>
                  <a:cubicBezTo>
                    <a:pt x="110108" y="1510570"/>
                    <a:pt x="107346" y="1507807"/>
                    <a:pt x="107346" y="1504378"/>
                  </a:cubicBezTo>
                  <a:cubicBezTo>
                    <a:pt x="107346" y="1500949"/>
                    <a:pt x="110108" y="1498187"/>
                    <a:pt x="113537" y="1498187"/>
                  </a:cubicBezTo>
                  <a:close/>
                  <a:moveTo>
                    <a:pt x="747616" y="1497902"/>
                  </a:moveTo>
                  <a:cubicBezTo>
                    <a:pt x="751045" y="1497902"/>
                    <a:pt x="753808" y="1500664"/>
                    <a:pt x="753808" y="1504093"/>
                  </a:cubicBezTo>
                  <a:cubicBezTo>
                    <a:pt x="753808" y="1507522"/>
                    <a:pt x="751045" y="1510285"/>
                    <a:pt x="747616" y="1510285"/>
                  </a:cubicBezTo>
                  <a:cubicBezTo>
                    <a:pt x="744187" y="1510285"/>
                    <a:pt x="741425" y="1507522"/>
                    <a:pt x="741425" y="1504093"/>
                  </a:cubicBezTo>
                  <a:cubicBezTo>
                    <a:pt x="741425" y="1500664"/>
                    <a:pt x="744187" y="1497902"/>
                    <a:pt x="747616" y="1497902"/>
                  </a:cubicBezTo>
                  <a:close/>
                  <a:moveTo>
                    <a:pt x="10954" y="1495997"/>
                  </a:moveTo>
                  <a:cubicBezTo>
                    <a:pt x="11112" y="1495997"/>
                    <a:pt x="11239" y="1496125"/>
                    <a:pt x="11239" y="1496283"/>
                  </a:cubicBezTo>
                  <a:cubicBezTo>
                    <a:pt x="11239" y="1496441"/>
                    <a:pt x="11112" y="1496569"/>
                    <a:pt x="10954" y="1496569"/>
                  </a:cubicBezTo>
                  <a:cubicBezTo>
                    <a:pt x="10796" y="1496569"/>
                    <a:pt x="10668" y="1496441"/>
                    <a:pt x="10668" y="1496283"/>
                  </a:cubicBezTo>
                  <a:cubicBezTo>
                    <a:pt x="10668" y="1496125"/>
                    <a:pt x="10796" y="1495997"/>
                    <a:pt x="10954" y="1495997"/>
                  </a:cubicBezTo>
                  <a:close/>
                  <a:moveTo>
                    <a:pt x="3210972" y="1495425"/>
                  </a:moveTo>
                  <a:cubicBezTo>
                    <a:pt x="3214401" y="1495425"/>
                    <a:pt x="3217164" y="1498187"/>
                    <a:pt x="3217164" y="1501616"/>
                  </a:cubicBezTo>
                  <a:cubicBezTo>
                    <a:pt x="3217164" y="1505045"/>
                    <a:pt x="3214401" y="1507807"/>
                    <a:pt x="3210972" y="1507807"/>
                  </a:cubicBezTo>
                  <a:cubicBezTo>
                    <a:pt x="3207543" y="1507807"/>
                    <a:pt x="3204781" y="1505045"/>
                    <a:pt x="3204781" y="1501616"/>
                  </a:cubicBezTo>
                  <a:cubicBezTo>
                    <a:pt x="3204781" y="1498187"/>
                    <a:pt x="3207543" y="1495425"/>
                    <a:pt x="3210972" y="1495425"/>
                  </a:cubicBezTo>
                  <a:close/>
                  <a:moveTo>
                    <a:pt x="2544222" y="1494949"/>
                  </a:moveTo>
                  <a:cubicBezTo>
                    <a:pt x="2547651" y="1494949"/>
                    <a:pt x="2550414" y="1497711"/>
                    <a:pt x="2550414" y="1501140"/>
                  </a:cubicBezTo>
                  <a:cubicBezTo>
                    <a:pt x="2550414" y="1504569"/>
                    <a:pt x="2547651" y="1507332"/>
                    <a:pt x="2544222" y="1507332"/>
                  </a:cubicBezTo>
                  <a:cubicBezTo>
                    <a:pt x="2540793" y="1507332"/>
                    <a:pt x="2538031" y="1504569"/>
                    <a:pt x="2538031" y="1501140"/>
                  </a:cubicBezTo>
                  <a:cubicBezTo>
                    <a:pt x="2538031" y="1497711"/>
                    <a:pt x="2540793" y="1494949"/>
                    <a:pt x="2544222" y="1494949"/>
                  </a:cubicBezTo>
                  <a:close/>
                  <a:moveTo>
                    <a:pt x="130777" y="1492187"/>
                  </a:moveTo>
                  <a:cubicBezTo>
                    <a:pt x="134206" y="1492187"/>
                    <a:pt x="136969" y="1494949"/>
                    <a:pt x="136969" y="1498378"/>
                  </a:cubicBezTo>
                  <a:cubicBezTo>
                    <a:pt x="136969" y="1501807"/>
                    <a:pt x="134206" y="1504570"/>
                    <a:pt x="130777" y="1504570"/>
                  </a:cubicBezTo>
                  <a:cubicBezTo>
                    <a:pt x="127348" y="1504570"/>
                    <a:pt x="124586" y="1501807"/>
                    <a:pt x="124586" y="1498378"/>
                  </a:cubicBezTo>
                  <a:cubicBezTo>
                    <a:pt x="124586" y="1494949"/>
                    <a:pt x="127348" y="1492187"/>
                    <a:pt x="130777" y="1492187"/>
                  </a:cubicBezTo>
                  <a:close/>
                  <a:moveTo>
                    <a:pt x="836485" y="1491520"/>
                  </a:moveTo>
                  <a:cubicBezTo>
                    <a:pt x="839914" y="1491520"/>
                    <a:pt x="842677" y="1494282"/>
                    <a:pt x="842677" y="1497711"/>
                  </a:cubicBezTo>
                  <a:cubicBezTo>
                    <a:pt x="842677" y="1501140"/>
                    <a:pt x="839914" y="1503903"/>
                    <a:pt x="836485" y="1503903"/>
                  </a:cubicBezTo>
                  <a:cubicBezTo>
                    <a:pt x="833056" y="1503903"/>
                    <a:pt x="830294" y="1501140"/>
                    <a:pt x="830294" y="1497711"/>
                  </a:cubicBezTo>
                  <a:cubicBezTo>
                    <a:pt x="830294" y="1494282"/>
                    <a:pt x="833056" y="1491520"/>
                    <a:pt x="836485" y="1491520"/>
                  </a:cubicBezTo>
                  <a:close/>
                  <a:moveTo>
                    <a:pt x="3192398" y="1489329"/>
                  </a:moveTo>
                  <a:cubicBezTo>
                    <a:pt x="3195827" y="1489329"/>
                    <a:pt x="3198589" y="1492091"/>
                    <a:pt x="3198589" y="1495520"/>
                  </a:cubicBezTo>
                  <a:cubicBezTo>
                    <a:pt x="3198589" y="1498949"/>
                    <a:pt x="3195827" y="1501711"/>
                    <a:pt x="3192398" y="1501711"/>
                  </a:cubicBezTo>
                  <a:cubicBezTo>
                    <a:pt x="3188969" y="1501711"/>
                    <a:pt x="3186207" y="1498949"/>
                    <a:pt x="3186207" y="1495520"/>
                  </a:cubicBezTo>
                  <a:cubicBezTo>
                    <a:pt x="3186207" y="1492091"/>
                    <a:pt x="3188969" y="1489329"/>
                    <a:pt x="3192398" y="1489329"/>
                  </a:cubicBezTo>
                  <a:close/>
                  <a:moveTo>
                    <a:pt x="2451734" y="1488472"/>
                  </a:moveTo>
                  <a:cubicBezTo>
                    <a:pt x="2455163" y="1488472"/>
                    <a:pt x="2457925" y="1491234"/>
                    <a:pt x="2457925" y="1494663"/>
                  </a:cubicBezTo>
                  <a:cubicBezTo>
                    <a:pt x="2457925" y="1498092"/>
                    <a:pt x="2455163" y="1500855"/>
                    <a:pt x="2451734" y="1500855"/>
                  </a:cubicBezTo>
                  <a:cubicBezTo>
                    <a:pt x="2448305" y="1500855"/>
                    <a:pt x="2445543" y="1498092"/>
                    <a:pt x="2445543" y="1494663"/>
                  </a:cubicBezTo>
                  <a:cubicBezTo>
                    <a:pt x="2445543" y="1491234"/>
                    <a:pt x="2448305" y="1488472"/>
                    <a:pt x="2451734" y="1488472"/>
                  </a:cubicBezTo>
                  <a:close/>
                  <a:moveTo>
                    <a:pt x="150780" y="1485900"/>
                  </a:moveTo>
                  <a:cubicBezTo>
                    <a:pt x="154209" y="1485900"/>
                    <a:pt x="156971" y="1488662"/>
                    <a:pt x="156971" y="1492091"/>
                  </a:cubicBezTo>
                  <a:cubicBezTo>
                    <a:pt x="156971" y="1495520"/>
                    <a:pt x="154209" y="1498282"/>
                    <a:pt x="150780" y="1498282"/>
                  </a:cubicBezTo>
                  <a:cubicBezTo>
                    <a:pt x="147351" y="1498282"/>
                    <a:pt x="144589" y="1495520"/>
                    <a:pt x="144589" y="1492091"/>
                  </a:cubicBezTo>
                  <a:cubicBezTo>
                    <a:pt x="144589" y="1488662"/>
                    <a:pt x="147351" y="1485900"/>
                    <a:pt x="150780" y="1485900"/>
                  </a:cubicBezTo>
                  <a:close/>
                  <a:moveTo>
                    <a:pt x="933354" y="1484948"/>
                  </a:moveTo>
                  <a:cubicBezTo>
                    <a:pt x="936783" y="1484948"/>
                    <a:pt x="939546" y="1487710"/>
                    <a:pt x="939546" y="1491139"/>
                  </a:cubicBezTo>
                  <a:cubicBezTo>
                    <a:pt x="939546" y="1494568"/>
                    <a:pt x="936783" y="1497331"/>
                    <a:pt x="933354" y="1497331"/>
                  </a:cubicBezTo>
                  <a:cubicBezTo>
                    <a:pt x="929925" y="1497331"/>
                    <a:pt x="927163" y="1494568"/>
                    <a:pt x="927163" y="1491139"/>
                  </a:cubicBezTo>
                  <a:cubicBezTo>
                    <a:pt x="927163" y="1487710"/>
                    <a:pt x="929925" y="1484948"/>
                    <a:pt x="933354" y="1484948"/>
                  </a:cubicBezTo>
                  <a:close/>
                  <a:moveTo>
                    <a:pt x="3171062" y="1482852"/>
                  </a:moveTo>
                  <a:cubicBezTo>
                    <a:pt x="3174491" y="1482852"/>
                    <a:pt x="3177254" y="1485614"/>
                    <a:pt x="3177254" y="1489043"/>
                  </a:cubicBezTo>
                  <a:cubicBezTo>
                    <a:pt x="3177254" y="1492472"/>
                    <a:pt x="3174491" y="1495235"/>
                    <a:pt x="3171062" y="1495235"/>
                  </a:cubicBezTo>
                  <a:cubicBezTo>
                    <a:pt x="3167633" y="1495235"/>
                    <a:pt x="3164871" y="1492472"/>
                    <a:pt x="3164871" y="1489043"/>
                  </a:cubicBezTo>
                  <a:cubicBezTo>
                    <a:pt x="3164871" y="1485614"/>
                    <a:pt x="3167633" y="1482852"/>
                    <a:pt x="3171062" y="1482852"/>
                  </a:cubicBezTo>
                  <a:close/>
                  <a:moveTo>
                    <a:pt x="2350865" y="1481804"/>
                  </a:moveTo>
                  <a:cubicBezTo>
                    <a:pt x="2354294" y="1481804"/>
                    <a:pt x="2357057" y="1484566"/>
                    <a:pt x="2357057" y="1487995"/>
                  </a:cubicBezTo>
                  <a:cubicBezTo>
                    <a:pt x="2357057" y="1491424"/>
                    <a:pt x="2354294" y="1494187"/>
                    <a:pt x="2350865" y="1494187"/>
                  </a:cubicBezTo>
                  <a:cubicBezTo>
                    <a:pt x="2347436" y="1494187"/>
                    <a:pt x="2344674" y="1491424"/>
                    <a:pt x="2344674" y="1487995"/>
                  </a:cubicBezTo>
                  <a:cubicBezTo>
                    <a:pt x="2344674" y="1484566"/>
                    <a:pt x="2347436" y="1481804"/>
                    <a:pt x="2350865" y="1481804"/>
                  </a:cubicBezTo>
                  <a:close/>
                  <a:moveTo>
                    <a:pt x="173735" y="1479328"/>
                  </a:moveTo>
                  <a:cubicBezTo>
                    <a:pt x="177164" y="1479328"/>
                    <a:pt x="179926" y="1482090"/>
                    <a:pt x="179926" y="1485519"/>
                  </a:cubicBezTo>
                  <a:cubicBezTo>
                    <a:pt x="179926" y="1488948"/>
                    <a:pt x="177164" y="1491711"/>
                    <a:pt x="173735" y="1491711"/>
                  </a:cubicBezTo>
                  <a:cubicBezTo>
                    <a:pt x="170306" y="1491711"/>
                    <a:pt x="167544" y="1488948"/>
                    <a:pt x="167544" y="1485519"/>
                  </a:cubicBezTo>
                  <a:cubicBezTo>
                    <a:pt x="167544" y="1482090"/>
                    <a:pt x="170306" y="1479328"/>
                    <a:pt x="173735" y="1479328"/>
                  </a:cubicBezTo>
                  <a:close/>
                  <a:moveTo>
                    <a:pt x="1038986" y="1478185"/>
                  </a:moveTo>
                  <a:cubicBezTo>
                    <a:pt x="1042415" y="1478185"/>
                    <a:pt x="1045178" y="1480947"/>
                    <a:pt x="1045178" y="1484376"/>
                  </a:cubicBezTo>
                  <a:cubicBezTo>
                    <a:pt x="1045178" y="1487805"/>
                    <a:pt x="1042415" y="1490568"/>
                    <a:pt x="1038986" y="1490568"/>
                  </a:cubicBezTo>
                  <a:cubicBezTo>
                    <a:pt x="1035557" y="1490568"/>
                    <a:pt x="1032795" y="1487805"/>
                    <a:pt x="1032795" y="1484376"/>
                  </a:cubicBezTo>
                  <a:cubicBezTo>
                    <a:pt x="1032795" y="1480947"/>
                    <a:pt x="1035557" y="1478185"/>
                    <a:pt x="1038986" y="1478185"/>
                  </a:cubicBezTo>
                  <a:close/>
                  <a:moveTo>
                    <a:pt x="3146678" y="1476185"/>
                  </a:moveTo>
                  <a:cubicBezTo>
                    <a:pt x="3150107" y="1476185"/>
                    <a:pt x="3152870" y="1478947"/>
                    <a:pt x="3152870" y="1482376"/>
                  </a:cubicBezTo>
                  <a:cubicBezTo>
                    <a:pt x="3152870" y="1485805"/>
                    <a:pt x="3150107" y="1488568"/>
                    <a:pt x="3146678" y="1488568"/>
                  </a:cubicBezTo>
                  <a:cubicBezTo>
                    <a:pt x="3143249" y="1488568"/>
                    <a:pt x="3140487" y="1485805"/>
                    <a:pt x="3140487" y="1482376"/>
                  </a:cubicBezTo>
                  <a:cubicBezTo>
                    <a:pt x="3140487" y="1478947"/>
                    <a:pt x="3143249" y="1476185"/>
                    <a:pt x="3146678" y="1476185"/>
                  </a:cubicBezTo>
                  <a:close/>
                  <a:moveTo>
                    <a:pt x="2241136" y="1475042"/>
                  </a:moveTo>
                  <a:cubicBezTo>
                    <a:pt x="2244565" y="1475042"/>
                    <a:pt x="2247328" y="1477804"/>
                    <a:pt x="2247328" y="1481233"/>
                  </a:cubicBezTo>
                  <a:cubicBezTo>
                    <a:pt x="2247328" y="1484662"/>
                    <a:pt x="2244565" y="1487424"/>
                    <a:pt x="2241136" y="1487424"/>
                  </a:cubicBezTo>
                  <a:cubicBezTo>
                    <a:pt x="2237707" y="1487424"/>
                    <a:pt x="2234945" y="1484662"/>
                    <a:pt x="2234945" y="1481233"/>
                  </a:cubicBezTo>
                  <a:cubicBezTo>
                    <a:pt x="2234945" y="1477804"/>
                    <a:pt x="2237707" y="1475042"/>
                    <a:pt x="2241136" y="1475042"/>
                  </a:cubicBezTo>
                  <a:close/>
                  <a:moveTo>
                    <a:pt x="3275647" y="1472661"/>
                  </a:moveTo>
                  <a:cubicBezTo>
                    <a:pt x="3279076" y="1472661"/>
                    <a:pt x="3281838" y="1475423"/>
                    <a:pt x="3281838" y="1478852"/>
                  </a:cubicBezTo>
                  <a:lnTo>
                    <a:pt x="3281695" y="1478995"/>
                  </a:lnTo>
                  <a:lnTo>
                    <a:pt x="3287553" y="1484852"/>
                  </a:lnTo>
                  <a:lnTo>
                    <a:pt x="3287077" y="1485329"/>
                  </a:lnTo>
                  <a:lnTo>
                    <a:pt x="3292315" y="1490567"/>
                  </a:lnTo>
                  <a:lnTo>
                    <a:pt x="3291696" y="1491186"/>
                  </a:lnTo>
                  <a:lnTo>
                    <a:pt x="3296506" y="1495996"/>
                  </a:lnTo>
                  <a:lnTo>
                    <a:pt x="3295744" y="1496758"/>
                  </a:lnTo>
                  <a:lnTo>
                    <a:pt x="3300126" y="1501140"/>
                  </a:lnTo>
                  <a:lnTo>
                    <a:pt x="3299316" y="1501950"/>
                  </a:lnTo>
                  <a:lnTo>
                    <a:pt x="3303364" y="1505998"/>
                  </a:lnTo>
                  <a:lnTo>
                    <a:pt x="3302602" y="1506760"/>
                  </a:lnTo>
                  <a:lnTo>
                    <a:pt x="3306413" y="1510570"/>
                  </a:lnTo>
                  <a:lnTo>
                    <a:pt x="3305651" y="1511332"/>
                  </a:lnTo>
                  <a:lnTo>
                    <a:pt x="3309270" y="1514951"/>
                  </a:lnTo>
                  <a:lnTo>
                    <a:pt x="3308699" y="1515523"/>
                  </a:lnTo>
                  <a:lnTo>
                    <a:pt x="3312223" y="1519047"/>
                  </a:lnTo>
                  <a:lnTo>
                    <a:pt x="3311794" y="1519476"/>
                  </a:lnTo>
                  <a:lnTo>
                    <a:pt x="3315271" y="1522952"/>
                  </a:lnTo>
                  <a:lnTo>
                    <a:pt x="3315080" y="1523143"/>
                  </a:lnTo>
                  <a:lnTo>
                    <a:pt x="3315938" y="1524001"/>
                  </a:lnTo>
                  <a:lnTo>
                    <a:pt x="3316033" y="1523905"/>
                  </a:lnTo>
                  <a:lnTo>
                    <a:pt x="3319701" y="1527572"/>
                  </a:lnTo>
                  <a:lnTo>
                    <a:pt x="3320129" y="1527144"/>
                  </a:lnTo>
                  <a:lnTo>
                    <a:pt x="3323986" y="1531001"/>
                  </a:lnTo>
                  <a:lnTo>
                    <a:pt x="3324796" y="1530191"/>
                  </a:lnTo>
                  <a:lnTo>
                    <a:pt x="3328749" y="1534144"/>
                  </a:lnTo>
                  <a:lnTo>
                    <a:pt x="3329939" y="1532954"/>
                  </a:lnTo>
                  <a:lnTo>
                    <a:pt x="3334178" y="1537193"/>
                  </a:lnTo>
                  <a:lnTo>
                    <a:pt x="3335749" y="1535621"/>
                  </a:lnTo>
                  <a:lnTo>
                    <a:pt x="3340274" y="1540146"/>
                  </a:lnTo>
                  <a:lnTo>
                    <a:pt x="3342322" y="1538097"/>
                  </a:lnTo>
                  <a:lnTo>
                    <a:pt x="3348228" y="1544003"/>
                  </a:lnTo>
                  <a:lnTo>
                    <a:pt x="3349657" y="1542574"/>
                  </a:lnTo>
                  <a:cubicBezTo>
                    <a:pt x="3351847" y="1542574"/>
                    <a:pt x="3353657" y="1544384"/>
                    <a:pt x="3353657" y="1546574"/>
                  </a:cubicBezTo>
                  <a:cubicBezTo>
                    <a:pt x="3353657" y="1548765"/>
                    <a:pt x="3351847" y="1550575"/>
                    <a:pt x="3349657" y="1550575"/>
                  </a:cubicBezTo>
                  <a:lnTo>
                    <a:pt x="3345942" y="1546860"/>
                  </a:lnTo>
                  <a:lnTo>
                    <a:pt x="3342322" y="1550480"/>
                  </a:lnTo>
                  <a:lnTo>
                    <a:pt x="3337797" y="1545955"/>
                  </a:lnTo>
                  <a:lnTo>
                    <a:pt x="3335749" y="1548003"/>
                  </a:lnTo>
                  <a:lnTo>
                    <a:pt x="3331511" y="1543765"/>
                  </a:lnTo>
                  <a:lnTo>
                    <a:pt x="3329939" y="1545337"/>
                  </a:lnTo>
                  <a:lnTo>
                    <a:pt x="3325986" y="1541384"/>
                  </a:lnTo>
                  <a:lnTo>
                    <a:pt x="3324796" y="1542574"/>
                  </a:lnTo>
                  <a:lnTo>
                    <a:pt x="3320939" y="1538716"/>
                  </a:lnTo>
                  <a:lnTo>
                    <a:pt x="3320129" y="1539526"/>
                  </a:lnTo>
                  <a:lnTo>
                    <a:pt x="3316462" y="1535859"/>
                  </a:lnTo>
                  <a:lnTo>
                    <a:pt x="3316033" y="1536288"/>
                  </a:lnTo>
                  <a:lnTo>
                    <a:pt x="3312509" y="1532763"/>
                  </a:lnTo>
                  <a:lnTo>
                    <a:pt x="3312413" y="1532859"/>
                  </a:lnTo>
                  <a:cubicBezTo>
                    <a:pt x="3308984" y="1532859"/>
                    <a:pt x="3306222" y="1530096"/>
                    <a:pt x="3306222" y="1526667"/>
                  </a:cubicBezTo>
                  <a:lnTo>
                    <a:pt x="3306413" y="1526477"/>
                  </a:lnTo>
                  <a:lnTo>
                    <a:pt x="3302889" y="1522952"/>
                  </a:lnTo>
                  <a:lnTo>
                    <a:pt x="3303318" y="1522524"/>
                  </a:lnTo>
                  <a:lnTo>
                    <a:pt x="3299841" y="1519047"/>
                  </a:lnTo>
                  <a:lnTo>
                    <a:pt x="3300412" y="1518476"/>
                  </a:lnTo>
                  <a:lnTo>
                    <a:pt x="3296888" y="1514951"/>
                  </a:lnTo>
                  <a:lnTo>
                    <a:pt x="3297649" y="1514190"/>
                  </a:lnTo>
                  <a:lnTo>
                    <a:pt x="3294030" y="1510570"/>
                  </a:lnTo>
                  <a:lnTo>
                    <a:pt x="3294792" y="1509809"/>
                  </a:lnTo>
                  <a:lnTo>
                    <a:pt x="3290982" y="1505998"/>
                  </a:lnTo>
                  <a:lnTo>
                    <a:pt x="3291792" y="1505189"/>
                  </a:lnTo>
                  <a:lnTo>
                    <a:pt x="3287744" y="1501140"/>
                  </a:lnTo>
                  <a:lnTo>
                    <a:pt x="3288506" y="1500379"/>
                  </a:lnTo>
                  <a:lnTo>
                    <a:pt x="3284124" y="1495996"/>
                  </a:lnTo>
                  <a:lnTo>
                    <a:pt x="3284743" y="1495378"/>
                  </a:lnTo>
                  <a:lnTo>
                    <a:pt x="3279933" y="1490567"/>
                  </a:lnTo>
                  <a:lnTo>
                    <a:pt x="3280409" y="1490091"/>
                  </a:lnTo>
                  <a:lnTo>
                    <a:pt x="3275171" y="1484852"/>
                  </a:lnTo>
                  <a:lnTo>
                    <a:pt x="3275314" y="1484710"/>
                  </a:lnTo>
                  <a:lnTo>
                    <a:pt x="3269456" y="1478852"/>
                  </a:lnTo>
                  <a:cubicBezTo>
                    <a:pt x="3269456" y="1475423"/>
                    <a:pt x="3272218" y="1472661"/>
                    <a:pt x="3275647" y="1472661"/>
                  </a:cubicBezTo>
                  <a:close/>
                  <a:moveTo>
                    <a:pt x="199929" y="1472470"/>
                  </a:moveTo>
                  <a:cubicBezTo>
                    <a:pt x="203358" y="1472470"/>
                    <a:pt x="206120" y="1475232"/>
                    <a:pt x="206120" y="1478661"/>
                  </a:cubicBezTo>
                  <a:cubicBezTo>
                    <a:pt x="206120" y="1482090"/>
                    <a:pt x="203358" y="1484853"/>
                    <a:pt x="199929" y="1484853"/>
                  </a:cubicBezTo>
                  <a:cubicBezTo>
                    <a:pt x="196500" y="1484853"/>
                    <a:pt x="193738" y="1482090"/>
                    <a:pt x="193738" y="1478661"/>
                  </a:cubicBezTo>
                  <a:cubicBezTo>
                    <a:pt x="193738" y="1475232"/>
                    <a:pt x="196500" y="1472470"/>
                    <a:pt x="199929" y="1472470"/>
                  </a:cubicBezTo>
                  <a:close/>
                  <a:moveTo>
                    <a:pt x="1153667" y="1471422"/>
                  </a:moveTo>
                  <a:cubicBezTo>
                    <a:pt x="1157096" y="1471422"/>
                    <a:pt x="1159858" y="1474184"/>
                    <a:pt x="1159858" y="1477613"/>
                  </a:cubicBezTo>
                  <a:cubicBezTo>
                    <a:pt x="1159858" y="1481042"/>
                    <a:pt x="1157096" y="1483805"/>
                    <a:pt x="1153667" y="1483805"/>
                  </a:cubicBezTo>
                  <a:cubicBezTo>
                    <a:pt x="1150238" y="1483805"/>
                    <a:pt x="1147476" y="1481042"/>
                    <a:pt x="1147476" y="1477613"/>
                  </a:cubicBezTo>
                  <a:cubicBezTo>
                    <a:pt x="1147476" y="1474184"/>
                    <a:pt x="1150238" y="1471422"/>
                    <a:pt x="1153667" y="1471422"/>
                  </a:cubicBezTo>
                  <a:close/>
                  <a:moveTo>
                    <a:pt x="3343846" y="1470375"/>
                  </a:moveTo>
                  <a:cubicBezTo>
                    <a:pt x="3345274" y="1470375"/>
                    <a:pt x="3346417" y="1471518"/>
                    <a:pt x="3346417" y="1472947"/>
                  </a:cubicBezTo>
                  <a:cubicBezTo>
                    <a:pt x="3346417" y="1474375"/>
                    <a:pt x="3345274" y="1475518"/>
                    <a:pt x="3343846" y="1475518"/>
                  </a:cubicBezTo>
                  <a:cubicBezTo>
                    <a:pt x="3342417" y="1475518"/>
                    <a:pt x="3341274" y="1474375"/>
                    <a:pt x="3341274" y="1472947"/>
                  </a:cubicBezTo>
                  <a:cubicBezTo>
                    <a:pt x="3341274" y="1471518"/>
                    <a:pt x="3342417" y="1470375"/>
                    <a:pt x="3343846" y="1470375"/>
                  </a:cubicBezTo>
                  <a:close/>
                  <a:moveTo>
                    <a:pt x="60007" y="1469327"/>
                  </a:moveTo>
                  <a:cubicBezTo>
                    <a:pt x="63436" y="1469327"/>
                    <a:pt x="66198" y="1472089"/>
                    <a:pt x="66198" y="1475518"/>
                  </a:cubicBezTo>
                  <a:cubicBezTo>
                    <a:pt x="66198" y="1478947"/>
                    <a:pt x="63436" y="1481710"/>
                    <a:pt x="60007" y="1481710"/>
                  </a:cubicBezTo>
                  <a:lnTo>
                    <a:pt x="54435" y="1487282"/>
                  </a:lnTo>
                  <a:lnTo>
                    <a:pt x="54673" y="1487519"/>
                  </a:lnTo>
                  <a:lnTo>
                    <a:pt x="49625" y="1492568"/>
                  </a:lnTo>
                  <a:lnTo>
                    <a:pt x="50197" y="1493139"/>
                  </a:lnTo>
                  <a:lnTo>
                    <a:pt x="45624" y="1497711"/>
                  </a:lnTo>
                  <a:lnTo>
                    <a:pt x="46291" y="1498378"/>
                  </a:lnTo>
                  <a:lnTo>
                    <a:pt x="42053" y="1502616"/>
                  </a:lnTo>
                  <a:lnTo>
                    <a:pt x="42863" y="1503426"/>
                  </a:lnTo>
                  <a:lnTo>
                    <a:pt x="38957" y="1507332"/>
                  </a:lnTo>
                  <a:lnTo>
                    <a:pt x="39814" y="1508188"/>
                  </a:lnTo>
                  <a:lnTo>
                    <a:pt x="36100" y="1511903"/>
                  </a:lnTo>
                  <a:lnTo>
                    <a:pt x="36862" y="1512665"/>
                  </a:lnTo>
                  <a:lnTo>
                    <a:pt x="33242" y="1516285"/>
                  </a:lnTo>
                  <a:lnTo>
                    <a:pt x="33909" y="1516952"/>
                  </a:lnTo>
                  <a:lnTo>
                    <a:pt x="30432" y="1520429"/>
                  </a:lnTo>
                  <a:lnTo>
                    <a:pt x="30956" y="1520952"/>
                  </a:lnTo>
                  <a:lnTo>
                    <a:pt x="27479" y="1524429"/>
                  </a:lnTo>
                  <a:lnTo>
                    <a:pt x="27718" y="1524667"/>
                  </a:lnTo>
                  <a:lnTo>
                    <a:pt x="24194" y="1528191"/>
                  </a:lnTo>
                  <a:lnTo>
                    <a:pt x="24289" y="1528286"/>
                  </a:lnTo>
                  <a:cubicBezTo>
                    <a:pt x="24289" y="1531715"/>
                    <a:pt x="21526" y="1534478"/>
                    <a:pt x="18097" y="1534478"/>
                  </a:cubicBezTo>
                  <a:lnTo>
                    <a:pt x="17859" y="1534240"/>
                  </a:lnTo>
                  <a:lnTo>
                    <a:pt x="14287" y="1537812"/>
                  </a:lnTo>
                  <a:lnTo>
                    <a:pt x="12525" y="1536050"/>
                  </a:lnTo>
                  <a:lnTo>
                    <a:pt x="9906" y="1538669"/>
                  </a:lnTo>
                  <a:cubicBezTo>
                    <a:pt x="7696" y="1538669"/>
                    <a:pt x="5905" y="1536878"/>
                    <a:pt x="5905" y="1534669"/>
                  </a:cubicBezTo>
                  <a:lnTo>
                    <a:pt x="8525" y="1532049"/>
                  </a:lnTo>
                  <a:lnTo>
                    <a:pt x="8096" y="1531620"/>
                  </a:lnTo>
                  <a:cubicBezTo>
                    <a:pt x="8096" y="1528191"/>
                    <a:pt x="10858" y="1525429"/>
                    <a:pt x="14287" y="1525429"/>
                  </a:cubicBezTo>
                  <a:lnTo>
                    <a:pt x="14525" y="1525667"/>
                  </a:lnTo>
                  <a:lnTo>
                    <a:pt x="15430" y="1524762"/>
                  </a:lnTo>
                  <a:lnTo>
                    <a:pt x="15335" y="1524667"/>
                  </a:lnTo>
                  <a:lnTo>
                    <a:pt x="18811" y="1521191"/>
                  </a:lnTo>
                  <a:lnTo>
                    <a:pt x="18573" y="1520952"/>
                  </a:lnTo>
                  <a:lnTo>
                    <a:pt x="22049" y="1517476"/>
                  </a:lnTo>
                  <a:lnTo>
                    <a:pt x="21526" y="1516952"/>
                  </a:lnTo>
                  <a:lnTo>
                    <a:pt x="25146" y="1513332"/>
                  </a:lnTo>
                  <a:lnTo>
                    <a:pt x="24479" y="1512665"/>
                  </a:lnTo>
                  <a:lnTo>
                    <a:pt x="28194" y="1508950"/>
                  </a:lnTo>
                  <a:lnTo>
                    <a:pt x="27432" y="1508188"/>
                  </a:lnTo>
                  <a:lnTo>
                    <a:pt x="31337" y="1504283"/>
                  </a:lnTo>
                  <a:lnTo>
                    <a:pt x="30480" y="1503426"/>
                  </a:lnTo>
                  <a:lnTo>
                    <a:pt x="34718" y="1499188"/>
                  </a:lnTo>
                  <a:lnTo>
                    <a:pt x="33908" y="1498378"/>
                  </a:lnTo>
                  <a:lnTo>
                    <a:pt x="38480" y="1493806"/>
                  </a:lnTo>
                  <a:lnTo>
                    <a:pt x="37814" y="1493139"/>
                  </a:lnTo>
                  <a:lnTo>
                    <a:pt x="42862" y="1488091"/>
                  </a:lnTo>
                  <a:lnTo>
                    <a:pt x="42291" y="1487519"/>
                  </a:lnTo>
                  <a:lnTo>
                    <a:pt x="47863" y="1481947"/>
                  </a:lnTo>
                  <a:lnTo>
                    <a:pt x="47625" y="1481709"/>
                  </a:lnTo>
                  <a:cubicBezTo>
                    <a:pt x="47625" y="1478280"/>
                    <a:pt x="50387" y="1475518"/>
                    <a:pt x="53816" y="1475518"/>
                  </a:cubicBezTo>
                  <a:cubicBezTo>
                    <a:pt x="53816" y="1472089"/>
                    <a:pt x="56578" y="1469327"/>
                    <a:pt x="60007" y="1469327"/>
                  </a:cubicBezTo>
                  <a:close/>
                  <a:moveTo>
                    <a:pt x="3118960" y="1469136"/>
                  </a:moveTo>
                  <a:cubicBezTo>
                    <a:pt x="3122389" y="1469136"/>
                    <a:pt x="3125152" y="1471898"/>
                    <a:pt x="3125152" y="1475327"/>
                  </a:cubicBezTo>
                  <a:cubicBezTo>
                    <a:pt x="3125152" y="1478756"/>
                    <a:pt x="3122389" y="1481519"/>
                    <a:pt x="3118960" y="1481519"/>
                  </a:cubicBezTo>
                  <a:cubicBezTo>
                    <a:pt x="3115531" y="1481519"/>
                    <a:pt x="3112769" y="1478756"/>
                    <a:pt x="3112769" y="1475327"/>
                  </a:cubicBezTo>
                  <a:cubicBezTo>
                    <a:pt x="3112769" y="1471898"/>
                    <a:pt x="3115531" y="1469136"/>
                    <a:pt x="3118960" y="1469136"/>
                  </a:cubicBezTo>
                  <a:close/>
                  <a:moveTo>
                    <a:pt x="2121979" y="1468184"/>
                  </a:moveTo>
                  <a:cubicBezTo>
                    <a:pt x="2125408" y="1468184"/>
                    <a:pt x="2128170" y="1470946"/>
                    <a:pt x="2128170" y="1474375"/>
                  </a:cubicBezTo>
                  <a:cubicBezTo>
                    <a:pt x="2128170" y="1477804"/>
                    <a:pt x="2125408" y="1480566"/>
                    <a:pt x="2121979" y="1480566"/>
                  </a:cubicBezTo>
                  <a:cubicBezTo>
                    <a:pt x="2118550" y="1480566"/>
                    <a:pt x="2115788" y="1477804"/>
                    <a:pt x="2115788" y="1474375"/>
                  </a:cubicBezTo>
                  <a:cubicBezTo>
                    <a:pt x="2115788" y="1470946"/>
                    <a:pt x="2118550" y="1468184"/>
                    <a:pt x="2121979" y="1468184"/>
                  </a:cubicBezTo>
                  <a:close/>
                  <a:moveTo>
                    <a:pt x="3268884" y="1466374"/>
                  </a:moveTo>
                  <a:cubicBezTo>
                    <a:pt x="3272313" y="1466374"/>
                    <a:pt x="3275075" y="1469136"/>
                    <a:pt x="3275075" y="1472565"/>
                  </a:cubicBezTo>
                  <a:cubicBezTo>
                    <a:pt x="3275075" y="1475994"/>
                    <a:pt x="3272313" y="1478757"/>
                    <a:pt x="3268884" y="1478757"/>
                  </a:cubicBezTo>
                  <a:cubicBezTo>
                    <a:pt x="3265455" y="1478757"/>
                    <a:pt x="3262693" y="1475994"/>
                    <a:pt x="3262693" y="1472565"/>
                  </a:cubicBezTo>
                  <a:cubicBezTo>
                    <a:pt x="3262693" y="1469136"/>
                    <a:pt x="3265455" y="1466374"/>
                    <a:pt x="3268884" y="1466374"/>
                  </a:cubicBezTo>
                  <a:close/>
                  <a:moveTo>
                    <a:pt x="229552" y="1465326"/>
                  </a:moveTo>
                  <a:cubicBezTo>
                    <a:pt x="232981" y="1465326"/>
                    <a:pt x="235743" y="1468088"/>
                    <a:pt x="235743" y="1471517"/>
                  </a:cubicBezTo>
                  <a:cubicBezTo>
                    <a:pt x="235743" y="1474946"/>
                    <a:pt x="232981" y="1477709"/>
                    <a:pt x="229552" y="1477709"/>
                  </a:cubicBezTo>
                  <a:cubicBezTo>
                    <a:pt x="226123" y="1477709"/>
                    <a:pt x="223361" y="1474946"/>
                    <a:pt x="223361" y="1471517"/>
                  </a:cubicBezTo>
                  <a:cubicBezTo>
                    <a:pt x="223361" y="1468088"/>
                    <a:pt x="226123" y="1465326"/>
                    <a:pt x="229552" y="1465326"/>
                  </a:cubicBezTo>
                  <a:close/>
                  <a:moveTo>
                    <a:pt x="1277969" y="1464564"/>
                  </a:moveTo>
                  <a:cubicBezTo>
                    <a:pt x="1281398" y="1464564"/>
                    <a:pt x="1284161" y="1467326"/>
                    <a:pt x="1284161" y="1470755"/>
                  </a:cubicBezTo>
                  <a:cubicBezTo>
                    <a:pt x="1284161" y="1474184"/>
                    <a:pt x="1281398" y="1476947"/>
                    <a:pt x="1277969" y="1476947"/>
                  </a:cubicBezTo>
                  <a:cubicBezTo>
                    <a:pt x="1274540" y="1476947"/>
                    <a:pt x="1271778" y="1474184"/>
                    <a:pt x="1271778" y="1470755"/>
                  </a:cubicBezTo>
                  <a:cubicBezTo>
                    <a:pt x="1271778" y="1467326"/>
                    <a:pt x="1274540" y="1464564"/>
                    <a:pt x="1277969" y="1464564"/>
                  </a:cubicBezTo>
                  <a:close/>
                  <a:moveTo>
                    <a:pt x="67436" y="1462850"/>
                  </a:moveTo>
                  <a:cubicBezTo>
                    <a:pt x="70865" y="1462850"/>
                    <a:pt x="73628" y="1465612"/>
                    <a:pt x="73628" y="1469041"/>
                  </a:cubicBezTo>
                  <a:cubicBezTo>
                    <a:pt x="73628" y="1472470"/>
                    <a:pt x="70865" y="1475232"/>
                    <a:pt x="67436" y="1475232"/>
                  </a:cubicBezTo>
                  <a:cubicBezTo>
                    <a:pt x="64007" y="1475232"/>
                    <a:pt x="61245" y="1472470"/>
                    <a:pt x="61245" y="1469041"/>
                  </a:cubicBezTo>
                  <a:cubicBezTo>
                    <a:pt x="61245" y="1465612"/>
                    <a:pt x="64007" y="1462850"/>
                    <a:pt x="67436" y="1462850"/>
                  </a:cubicBezTo>
                  <a:close/>
                  <a:moveTo>
                    <a:pt x="3087433" y="1461897"/>
                  </a:moveTo>
                  <a:cubicBezTo>
                    <a:pt x="3090862" y="1461897"/>
                    <a:pt x="3093625" y="1464659"/>
                    <a:pt x="3093625" y="1468088"/>
                  </a:cubicBezTo>
                  <a:cubicBezTo>
                    <a:pt x="3093625" y="1471517"/>
                    <a:pt x="3090862" y="1474280"/>
                    <a:pt x="3087433" y="1474280"/>
                  </a:cubicBezTo>
                  <a:cubicBezTo>
                    <a:pt x="3084004" y="1474280"/>
                    <a:pt x="3081242" y="1471517"/>
                    <a:pt x="3081242" y="1468088"/>
                  </a:cubicBezTo>
                  <a:cubicBezTo>
                    <a:pt x="3081242" y="1464659"/>
                    <a:pt x="3084004" y="1461897"/>
                    <a:pt x="3087433" y="1461897"/>
                  </a:cubicBezTo>
                  <a:close/>
                  <a:moveTo>
                    <a:pt x="1993106" y="1461421"/>
                  </a:moveTo>
                  <a:cubicBezTo>
                    <a:pt x="1996535" y="1461421"/>
                    <a:pt x="1999297" y="1464183"/>
                    <a:pt x="1999297" y="1467612"/>
                  </a:cubicBezTo>
                  <a:cubicBezTo>
                    <a:pt x="1999297" y="1471041"/>
                    <a:pt x="1996535" y="1473804"/>
                    <a:pt x="1993106" y="1473804"/>
                  </a:cubicBezTo>
                  <a:cubicBezTo>
                    <a:pt x="1989677" y="1473804"/>
                    <a:pt x="1986915" y="1471041"/>
                    <a:pt x="1986915" y="1467612"/>
                  </a:cubicBezTo>
                  <a:cubicBezTo>
                    <a:pt x="1986915" y="1464183"/>
                    <a:pt x="1989677" y="1461421"/>
                    <a:pt x="1993106" y="1461421"/>
                  </a:cubicBezTo>
                  <a:close/>
                  <a:moveTo>
                    <a:pt x="3260883" y="1459707"/>
                  </a:moveTo>
                  <a:cubicBezTo>
                    <a:pt x="3264312" y="1459707"/>
                    <a:pt x="3267074" y="1462469"/>
                    <a:pt x="3267074" y="1465898"/>
                  </a:cubicBezTo>
                  <a:cubicBezTo>
                    <a:pt x="3267074" y="1469327"/>
                    <a:pt x="3264312" y="1472089"/>
                    <a:pt x="3260883" y="1472089"/>
                  </a:cubicBezTo>
                  <a:cubicBezTo>
                    <a:pt x="3257454" y="1472089"/>
                    <a:pt x="3254692" y="1469327"/>
                    <a:pt x="3254692" y="1465898"/>
                  </a:cubicBezTo>
                  <a:cubicBezTo>
                    <a:pt x="3254692" y="1462469"/>
                    <a:pt x="3257454" y="1459707"/>
                    <a:pt x="3260883" y="1459707"/>
                  </a:cubicBezTo>
                  <a:close/>
                  <a:moveTo>
                    <a:pt x="1412176" y="1458087"/>
                  </a:moveTo>
                  <a:cubicBezTo>
                    <a:pt x="1415605" y="1458087"/>
                    <a:pt x="1418368" y="1460849"/>
                    <a:pt x="1418368" y="1464278"/>
                  </a:cubicBezTo>
                  <a:cubicBezTo>
                    <a:pt x="1418368" y="1467707"/>
                    <a:pt x="1415605" y="1470469"/>
                    <a:pt x="1412176" y="1470469"/>
                  </a:cubicBezTo>
                  <a:cubicBezTo>
                    <a:pt x="1408747" y="1470469"/>
                    <a:pt x="1405985" y="1467707"/>
                    <a:pt x="1405985" y="1464278"/>
                  </a:cubicBezTo>
                  <a:cubicBezTo>
                    <a:pt x="1405985" y="1460849"/>
                    <a:pt x="1408747" y="1458087"/>
                    <a:pt x="1412176" y="1458087"/>
                  </a:cubicBezTo>
                  <a:close/>
                  <a:moveTo>
                    <a:pt x="263175" y="1457897"/>
                  </a:moveTo>
                  <a:cubicBezTo>
                    <a:pt x="266604" y="1457897"/>
                    <a:pt x="269367" y="1460659"/>
                    <a:pt x="269367" y="1464088"/>
                  </a:cubicBezTo>
                  <a:cubicBezTo>
                    <a:pt x="269367" y="1467517"/>
                    <a:pt x="266604" y="1470280"/>
                    <a:pt x="263175" y="1470280"/>
                  </a:cubicBezTo>
                  <a:cubicBezTo>
                    <a:pt x="259746" y="1470280"/>
                    <a:pt x="256984" y="1467517"/>
                    <a:pt x="256984" y="1464088"/>
                  </a:cubicBezTo>
                  <a:cubicBezTo>
                    <a:pt x="256984" y="1460659"/>
                    <a:pt x="259746" y="1457897"/>
                    <a:pt x="263175" y="1457897"/>
                  </a:cubicBezTo>
                  <a:close/>
                  <a:moveTo>
                    <a:pt x="76104" y="1455992"/>
                  </a:moveTo>
                  <a:cubicBezTo>
                    <a:pt x="79533" y="1455992"/>
                    <a:pt x="82296" y="1458754"/>
                    <a:pt x="82296" y="1462183"/>
                  </a:cubicBezTo>
                  <a:cubicBezTo>
                    <a:pt x="82296" y="1465612"/>
                    <a:pt x="79533" y="1468374"/>
                    <a:pt x="76104" y="1468374"/>
                  </a:cubicBezTo>
                  <a:cubicBezTo>
                    <a:pt x="72675" y="1468374"/>
                    <a:pt x="69913" y="1465612"/>
                    <a:pt x="69913" y="1462183"/>
                  </a:cubicBezTo>
                  <a:cubicBezTo>
                    <a:pt x="69913" y="1458754"/>
                    <a:pt x="72675" y="1455992"/>
                    <a:pt x="76104" y="1455992"/>
                  </a:cubicBezTo>
                  <a:close/>
                  <a:moveTo>
                    <a:pt x="1854231" y="1455420"/>
                  </a:moveTo>
                  <a:cubicBezTo>
                    <a:pt x="1857660" y="1455420"/>
                    <a:pt x="1860423" y="1458182"/>
                    <a:pt x="1860423" y="1461611"/>
                  </a:cubicBezTo>
                  <a:cubicBezTo>
                    <a:pt x="1860423" y="1465040"/>
                    <a:pt x="1857660" y="1467803"/>
                    <a:pt x="1854231" y="1467803"/>
                  </a:cubicBezTo>
                  <a:cubicBezTo>
                    <a:pt x="1850802" y="1467803"/>
                    <a:pt x="1848040" y="1465040"/>
                    <a:pt x="1848040" y="1461611"/>
                  </a:cubicBezTo>
                  <a:cubicBezTo>
                    <a:pt x="1848040" y="1458182"/>
                    <a:pt x="1850802" y="1455420"/>
                    <a:pt x="1854231" y="1455420"/>
                  </a:cubicBezTo>
                  <a:close/>
                  <a:moveTo>
                    <a:pt x="3052000" y="1454277"/>
                  </a:moveTo>
                  <a:cubicBezTo>
                    <a:pt x="3055429" y="1454277"/>
                    <a:pt x="3058192" y="1457039"/>
                    <a:pt x="3058192" y="1460468"/>
                  </a:cubicBezTo>
                  <a:cubicBezTo>
                    <a:pt x="3058192" y="1463897"/>
                    <a:pt x="3055429" y="1466660"/>
                    <a:pt x="3052000" y="1466660"/>
                  </a:cubicBezTo>
                  <a:cubicBezTo>
                    <a:pt x="3048571" y="1466660"/>
                    <a:pt x="3045809" y="1463897"/>
                    <a:pt x="3045809" y="1460468"/>
                  </a:cubicBezTo>
                  <a:cubicBezTo>
                    <a:pt x="3045809" y="1457039"/>
                    <a:pt x="3048571" y="1454277"/>
                    <a:pt x="3052000" y="1454277"/>
                  </a:cubicBezTo>
                  <a:close/>
                  <a:moveTo>
                    <a:pt x="1556194" y="1453039"/>
                  </a:moveTo>
                  <a:cubicBezTo>
                    <a:pt x="1559623" y="1453039"/>
                    <a:pt x="1562386" y="1455801"/>
                    <a:pt x="1562386" y="1459230"/>
                  </a:cubicBezTo>
                  <a:cubicBezTo>
                    <a:pt x="1562386" y="1462659"/>
                    <a:pt x="1559623" y="1465422"/>
                    <a:pt x="1556194" y="1465422"/>
                  </a:cubicBezTo>
                  <a:cubicBezTo>
                    <a:pt x="1552765" y="1465422"/>
                    <a:pt x="1550003" y="1462659"/>
                    <a:pt x="1550003" y="1459230"/>
                  </a:cubicBezTo>
                  <a:cubicBezTo>
                    <a:pt x="1550003" y="1455801"/>
                    <a:pt x="1552765" y="1453039"/>
                    <a:pt x="1556194" y="1453039"/>
                  </a:cubicBezTo>
                  <a:close/>
                  <a:moveTo>
                    <a:pt x="3251453" y="1452753"/>
                  </a:moveTo>
                  <a:cubicBezTo>
                    <a:pt x="3254882" y="1452753"/>
                    <a:pt x="3257645" y="1455515"/>
                    <a:pt x="3257645" y="1458944"/>
                  </a:cubicBezTo>
                  <a:cubicBezTo>
                    <a:pt x="3257645" y="1462373"/>
                    <a:pt x="3254882" y="1465136"/>
                    <a:pt x="3251453" y="1465136"/>
                  </a:cubicBezTo>
                  <a:cubicBezTo>
                    <a:pt x="3248024" y="1465136"/>
                    <a:pt x="3245262" y="1462373"/>
                    <a:pt x="3245262" y="1458944"/>
                  </a:cubicBezTo>
                  <a:cubicBezTo>
                    <a:pt x="3245262" y="1455515"/>
                    <a:pt x="3248024" y="1452753"/>
                    <a:pt x="3251453" y="1452753"/>
                  </a:cubicBezTo>
                  <a:close/>
                  <a:moveTo>
                    <a:pt x="1706498" y="1451801"/>
                  </a:moveTo>
                  <a:cubicBezTo>
                    <a:pt x="1709927" y="1451801"/>
                    <a:pt x="1712690" y="1454563"/>
                    <a:pt x="1712690" y="1457992"/>
                  </a:cubicBezTo>
                  <a:cubicBezTo>
                    <a:pt x="1712690" y="1461421"/>
                    <a:pt x="1709927" y="1464184"/>
                    <a:pt x="1706498" y="1464184"/>
                  </a:cubicBezTo>
                  <a:cubicBezTo>
                    <a:pt x="1703069" y="1464184"/>
                    <a:pt x="1700307" y="1461421"/>
                    <a:pt x="1700307" y="1457992"/>
                  </a:cubicBezTo>
                  <a:cubicBezTo>
                    <a:pt x="1700307" y="1454563"/>
                    <a:pt x="1703069" y="1451801"/>
                    <a:pt x="1706498" y="1451801"/>
                  </a:cubicBezTo>
                  <a:close/>
                  <a:moveTo>
                    <a:pt x="17716" y="1451801"/>
                  </a:moveTo>
                  <a:cubicBezTo>
                    <a:pt x="19144" y="1451801"/>
                    <a:pt x="20288" y="1452944"/>
                    <a:pt x="20288" y="1454373"/>
                  </a:cubicBezTo>
                  <a:cubicBezTo>
                    <a:pt x="20288" y="1455801"/>
                    <a:pt x="19144" y="1456944"/>
                    <a:pt x="17716" y="1456944"/>
                  </a:cubicBezTo>
                  <a:cubicBezTo>
                    <a:pt x="16287" y="1456944"/>
                    <a:pt x="15144" y="1455801"/>
                    <a:pt x="15144" y="1454373"/>
                  </a:cubicBezTo>
                  <a:cubicBezTo>
                    <a:pt x="15144" y="1452944"/>
                    <a:pt x="16287" y="1451801"/>
                    <a:pt x="17716" y="1451801"/>
                  </a:cubicBezTo>
                  <a:close/>
                  <a:moveTo>
                    <a:pt x="300989" y="1450086"/>
                  </a:moveTo>
                  <a:cubicBezTo>
                    <a:pt x="304418" y="1450086"/>
                    <a:pt x="307180" y="1452848"/>
                    <a:pt x="307180" y="1456277"/>
                  </a:cubicBezTo>
                  <a:cubicBezTo>
                    <a:pt x="307180" y="1459706"/>
                    <a:pt x="304418" y="1462469"/>
                    <a:pt x="300989" y="1462469"/>
                  </a:cubicBezTo>
                  <a:cubicBezTo>
                    <a:pt x="297560" y="1462469"/>
                    <a:pt x="294798" y="1459706"/>
                    <a:pt x="294798" y="1456277"/>
                  </a:cubicBezTo>
                  <a:cubicBezTo>
                    <a:pt x="294798" y="1452848"/>
                    <a:pt x="297560" y="1450086"/>
                    <a:pt x="300989" y="1450086"/>
                  </a:cubicBezTo>
                  <a:close/>
                  <a:moveTo>
                    <a:pt x="86391" y="1448848"/>
                  </a:moveTo>
                  <a:cubicBezTo>
                    <a:pt x="89811" y="1448848"/>
                    <a:pt x="92583" y="1451620"/>
                    <a:pt x="92583" y="1455039"/>
                  </a:cubicBezTo>
                  <a:cubicBezTo>
                    <a:pt x="92583" y="1458459"/>
                    <a:pt x="89811" y="1461230"/>
                    <a:pt x="86391" y="1461230"/>
                  </a:cubicBezTo>
                  <a:cubicBezTo>
                    <a:pt x="82972" y="1461230"/>
                    <a:pt x="80200" y="1458459"/>
                    <a:pt x="80200" y="1455039"/>
                  </a:cubicBezTo>
                  <a:cubicBezTo>
                    <a:pt x="80200" y="1451620"/>
                    <a:pt x="82972" y="1448848"/>
                    <a:pt x="86391" y="1448848"/>
                  </a:cubicBezTo>
                  <a:close/>
                  <a:moveTo>
                    <a:pt x="3012090" y="1446371"/>
                  </a:moveTo>
                  <a:cubicBezTo>
                    <a:pt x="3015519" y="1446371"/>
                    <a:pt x="3018282" y="1449133"/>
                    <a:pt x="3018282" y="1452562"/>
                  </a:cubicBezTo>
                  <a:cubicBezTo>
                    <a:pt x="3018282" y="1455991"/>
                    <a:pt x="3015519" y="1458754"/>
                    <a:pt x="3012090" y="1458754"/>
                  </a:cubicBezTo>
                  <a:cubicBezTo>
                    <a:pt x="3008661" y="1458754"/>
                    <a:pt x="3005899" y="1455991"/>
                    <a:pt x="3005899" y="1452562"/>
                  </a:cubicBezTo>
                  <a:cubicBezTo>
                    <a:pt x="3005899" y="1449133"/>
                    <a:pt x="3008661" y="1446371"/>
                    <a:pt x="3012090" y="1446371"/>
                  </a:cubicBezTo>
                  <a:close/>
                  <a:moveTo>
                    <a:pt x="3240309" y="1445419"/>
                  </a:moveTo>
                  <a:cubicBezTo>
                    <a:pt x="3243738" y="1445419"/>
                    <a:pt x="3246500" y="1448181"/>
                    <a:pt x="3246500" y="1451610"/>
                  </a:cubicBezTo>
                  <a:cubicBezTo>
                    <a:pt x="3246500" y="1455039"/>
                    <a:pt x="3243738" y="1457801"/>
                    <a:pt x="3240309" y="1457801"/>
                  </a:cubicBezTo>
                  <a:cubicBezTo>
                    <a:pt x="3236880" y="1457801"/>
                    <a:pt x="3234118" y="1455039"/>
                    <a:pt x="3234118" y="1451610"/>
                  </a:cubicBezTo>
                  <a:cubicBezTo>
                    <a:pt x="3234118" y="1448181"/>
                    <a:pt x="3236880" y="1445419"/>
                    <a:pt x="3240309" y="1445419"/>
                  </a:cubicBezTo>
                  <a:close/>
                  <a:moveTo>
                    <a:pt x="343280" y="1441990"/>
                  </a:moveTo>
                  <a:cubicBezTo>
                    <a:pt x="346709" y="1441990"/>
                    <a:pt x="349471" y="1444752"/>
                    <a:pt x="349471" y="1448181"/>
                  </a:cubicBezTo>
                  <a:cubicBezTo>
                    <a:pt x="349471" y="1451610"/>
                    <a:pt x="346709" y="1454372"/>
                    <a:pt x="343280" y="1454372"/>
                  </a:cubicBezTo>
                  <a:cubicBezTo>
                    <a:pt x="339851" y="1454372"/>
                    <a:pt x="337089" y="1451610"/>
                    <a:pt x="337089" y="1448181"/>
                  </a:cubicBezTo>
                  <a:cubicBezTo>
                    <a:pt x="337089" y="1444752"/>
                    <a:pt x="339851" y="1441990"/>
                    <a:pt x="343280" y="1441990"/>
                  </a:cubicBezTo>
                  <a:close/>
                  <a:moveTo>
                    <a:pt x="98488" y="1441419"/>
                  </a:moveTo>
                  <a:cubicBezTo>
                    <a:pt x="101917" y="1441419"/>
                    <a:pt x="104680" y="1444181"/>
                    <a:pt x="104680" y="1447610"/>
                  </a:cubicBezTo>
                  <a:cubicBezTo>
                    <a:pt x="104680" y="1451039"/>
                    <a:pt x="101917" y="1453801"/>
                    <a:pt x="98488" y="1453801"/>
                  </a:cubicBezTo>
                  <a:cubicBezTo>
                    <a:pt x="95059" y="1453801"/>
                    <a:pt x="92297" y="1451039"/>
                    <a:pt x="92297" y="1447610"/>
                  </a:cubicBezTo>
                  <a:cubicBezTo>
                    <a:pt x="92297" y="1444181"/>
                    <a:pt x="95059" y="1441419"/>
                    <a:pt x="98488" y="1441419"/>
                  </a:cubicBezTo>
                  <a:close/>
                  <a:moveTo>
                    <a:pt x="2967513" y="1438180"/>
                  </a:moveTo>
                  <a:cubicBezTo>
                    <a:pt x="2970942" y="1438180"/>
                    <a:pt x="2973705" y="1440942"/>
                    <a:pt x="2973705" y="1444371"/>
                  </a:cubicBezTo>
                  <a:cubicBezTo>
                    <a:pt x="2973705" y="1447800"/>
                    <a:pt x="2970942" y="1450563"/>
                    <a:pt x="2967513" y="1450563"/>
                  </a:cubicBezTo>
                  <a:cubicBezTo>
                    <a:pt x="2964084" y="1450563"/>
                    <a:pt x="2961322" y="1447800"/>
                    <a:pt x="2961322" y="1444371"/>
                  </a:cubicBezTo>
                  <a:cubicBezTo>
                    <a:pt x="2961322" y="1440942"/>
                    <a:pt x="2964084" y="1438180"/>
                    <a:pt x="2967513" y="1438180"/>
                  </a:cubicBezTo>
                  <a:close/>
                  <a:moveTo>
                    <a:pt x="3227355" y="1437799"/>
                  </a:moveTo>
                  <a:cubicBezTo>
                    <a:pt x="3230784" y="1437799"/>
                    <a:pt x="3233547" y="1440561"/>
                    <a:pt x="3233547" y="1443990"/>
                  </a:cubicBezTo>
                  <a:cubicBezTo>
                    <a:pt x="3233547" y="1447419"/>
                    <a:pt x="3230784" y="1450182"/>
                    <a:pt x="3227355" y="1450182"/>
                  </a:cubicBezTo>
                  <a:cubicBezTo>
                    <a:pt x="3223926" y="1450182"/>
                    <a:pt x="3221164" y="1447419"/>
                    <a:pt x="3221164" y="1443990"/>
                  </a:cubicBezTo>
                  <a:cubicBezTo>
                    <a:pt x="3221164" y="1440561"/>
                    <a:pt x="3223926" y="1437799"/>
                    <a:pt x="3227355" y="1437799"/>
                  </a:cubicBezTo>
                  <a:close/>
                  <a:moveTo>
                    <a:pt x="390524" y="1433608"/>
                  </a:moveTo>
                  <a:cubicBezTo>
                    <a:pt x="393953" y="1433608"/>
                    <a:pt x="396716" y="1436370"/>
                    <a:pt x="396716" y="1439799"/>
                  </a:cubicBezTo>
                  <a:cubicBezTo>
                    <a:pt x="396716" y="1443228"/>
                    <a:pt x="393953" y="1445991"/>
                    <a:pt x="390524" y="1445991"/>
                  </a:cubicBezTo>
                  <a:cubicBezTo>
                    <a:pt x="387095" y="1445991"/>
                    <a:pt x="384333" y="1443228"/>
                    <a:pt x="384333" y="1439799"/>
                  </a:cubicBezTo>
                  <a:cubicBezTo>
                    <a:pt x="384333" y="1436370"/>
                    <a:pt x="387095" y="1433608"/>
                    <a:pt x="390524" y="1433608"/>
                  </a:cubicBezTo>
                  <a:close/>
                  <a:moveTo>
                    <a:pt x="112680" y="1433513"/>
                  </a:moveTo>
                  <a:cubicBezTo>
                    <a:pt x="116109" y="1433513"/>
                    <a:pt x="118871" y="1436275"/>
                    <a:pt x="118871" y="1439704"/>
                  </a:cubicBezTo>
                  <a:cubicBezTo>
                    <a:pt x="118871" y="1443133"/>
                    <a:pt x="116109" y="1445895"/>
                    <a:pt x="112680" y="1445895"/>
                  </a:cubicBezTo>
                  <a:cubicBezTo>
                    <a:pt x="109251" y="1445895"/>
                    <a:pt x="106489" y="1443133"/>
                    <a:pt x="106489" y="1439704"/>
                  </a:cubicBezTo>
                  <a:cubicBezTo>
                    <a:pt x="106489" y="1436275"/>
                    <a:pt x="109251" y="1433513"/>
                    <a:pt x="112680" y="1433513"/>
                  </a:cubicBezTo>
                  <a:close/>
                  <a:moveTo>
                    <a:pt x="52482" y="1431512"/>
                  </a:moveTo>
                  <a:cubicBezTo>
                    <a:pt x="55911" y="1431512"/>
                    <a:pt x="58673" y="1434274"/>
                    <a:pt x="58673" y="1437703"/>
                  </a:cubicBezTo>
                  <a:lnTo>
                    <a:pt x="52958" y="1443419"/>
                  </a:lnTo>
                  <a:lnTo>
                    <a:pt x="54197" y="1444657"/>
                  </a:lnTo>
                  <a:lnTo>
                    <a:pt x="48958" y="1449896"/>
                  </a:lnTo>
                  <a:lnTo>
                    <a:pt x="50292" y="1451229"/>
                  </a:lnTo>
                  <a:lnTo>
                    <a:pt x="45338" y="1456183"/>
                  </a:lnTo>
                  <a:lnTo>
                    <a:pt x="46672" y="1457516"/>
                  </a:lnTo>
                  <a:lnTo>
                    <a:pt x="42100" y="1462088"/>
                  </a:lnTo>
                  <a:lnTo>
                    <a:pt x="43434" y="1463421"/>
                  </a:lnTo>
                  <a:lnTo>
                    <a:pt x="39052" y="1467803"/>
                  </a:lnTo>
                  <a:lnTo>
                    <a:pt x="40195" y="1468945"/>
                  </a:lnTo>
                  <a:lnTo>
                    <a:pt x="35957" y="1473184"/>
                  </a:lnTo>
                  <a:lnTo>
                    <a:pt x="37052" y="1474279"/>
                  </a:lnTo>
                  <a:lnTo>
                    <a:pt x="32909" y="1478422"/>
                  </a:lnTo>
                  <a:lnTo>
                    <a:pt x="33719" y="1479232"/>
                  </a:lnTo>
                  <a:lnTo>
                    <a:pt x="29575" y="1483376"/>
                  </a:lnTo>
                  <a:lnTo>
                    <a:pt x="30099" y="1483900"/>
                  </a:lnTo>
                  <a:lnTo>
                    <a:pt x="25907" y="1488091"/>
                  </a:lnTo>
                  <a:lnTo>
                    <a:pt x="26194" y="1488377"/>
                  </a:lnTo>
                  <a:cubicBezTo>
                    <a:pt x="26194" y="1491806"/>
                    <a:pt x="23431" y="1494568"/>
                    <a:pt x="20002" y="1494568"/>
                  </a:cubicBezTo>
                  <a:lnTo>
                    <a:pt x="19907" y="1494473"/>
                  </a:lnTo>
                  <a:lnTo>
                    <a:pt x="15716" y="1498663"/>
                  </a:lnTo>
                  <a:cubicBezTo>
                    <a:pt x="12297" y="1498663"/>
                    <a:pt x="9525" y="1495891"/>
                    <a:pt x="9525" y="1492472"/>
                  </a:cubicBezTo>
                  <a:cubicBezTo>
                    <a:pt x="9525" y="1489053"/>
                    <a:pt x="12297" y="1486281"/>
                    <a:pt x="15716" y="1486281"/>
                  </a:cubicBezTo>
                  <a:lnTo>
                    <a:pt x="15811" y="1486377"/>
                  </a:lnTo>
                  <a:lnTo>
                    <a:pt x="18002" y="1484186"/>
                  </a:lnTo>
                  <a:lnTo>
                    <a:pt x="17716" y="1483900"/>
                  </a:lnTo>
                  <a:lnTo>
                    <a:pt x="21860" y="1479756"/>
                  </a:lnTo>
                  <a:lnTo>
                    <a:pt x="21336" y="1479232"/>
                  </a:lnTo>
                  <a:lnTo>
                    <a:pt x="25479" y="1475089"/>
                  </a:lnTo>
                  <a:lnTo>
                    <a:pt x="24669" y="1474279"/>
                  </a:lnTo>
                  <a:lnTo>
                    <a:pt x="28908" y="1470040"/>
                  </a:lnTo>
                  <a:lnTo>
                    <a:pt x="27813" y="1468945"/>
                  </a:lnTo>
                  <a:lnTo>
                    <a:pt x="32194" y="1464564"/>
                  </a:lnTo>
                  <a:lnTo>
                    <a:pt x="31051" y="1463421"/>
                  </a:lnTo>
                  <a:lnTo>
                    <a:pt x="35622" y="1458850"/>
                  </a:lnTo>
                  <a:lnTo>
                    <a:pt x="34289" y="1457516"/>
                  </a:lnTo>
                  <a:lnTo>
                    <a:pt x="39242" y="1452563"/>
                  </a:lnTo>
                  <a:lnTo>
                    <a:pt x="37909" y="1451229"/>
                  </a:lnTo>
                  <a:lnTo>
                    <a:pt x="43147" y="1445991"/>
                  </a:lnTo>
                  <a:lnTo>
                    <a:pt x="41814" y="1444657"/>
                  </a:lnTo>
                  <a:lnTo>
                    <a:pt x="47529" y="1438942"/>
                  </a:lnTo>
                  <a:lnTo>
                    <a:pt x="46291" y="1437703"/>
                  </a:lnTo>
                  <a:cubicBezTo>
                    <a:pt x="46291" y="1434274"/>
                    <a:pt x="49053" y="1431512"/>
                    <a:pt x="52482" y="1431512"/>
                  </a:cubicBezTo>
                  <a:close/>
                  <a:moveTo>
                    <a:pt x="3212210" y="1429798"/>
                  </a:moveTo>
                  <a:cubicBezTo>
                    <a:pt x="3215639" y="1429798"/>
                    <a:pt x="3218402" y="1432560"/>
                    <a:pt x="3218402" y="1435989"/>
                  </a:cubicBezTo>
                  <a:cubicBezTo>
                    <a:pt x="3218402" y="1439418"/>
                    <a:pt x="3215639" y="1442180"/>
                    <a:pt x="3212210" y="1442180"/>
                  </a:cubicBezTo>
                  <a:cubicBezTo>
                    <a:pt x="3208781" y="1442180"/>
                    <a:pt x="3206019" y="1439418"/>
                    <a:pt x="3206019" y="1435989"/>
                  </a:cubicBezTo>
                  <a:cubicBezTo>
                    <a:pt x="3206019" y="1432560"/>
                    <a:pt x="3208781" y="1429798"/>
                    <a:pt x="3212210" y="1429798"/>
                  </a:cubicBezTo>
                  <a:close/>
                  <a:moveTo>
                    <a:pt x="2917888" y="1429608"/>
                  </a:moveTo>
                  <a:cubicBezTo>
                    <a:pt x="2921317" y="1429608"/>
                    <a:pt x="2924079" y="1432370"/>
                    <a:pt x="2924079" y="1435799"/>
                  </a:cubicBezTo>
                  <a:cubicBezTo>
                    <a:pt x="2924079" y="1439228"/>
                    <a:pt x="2921317" y="1441991"/>
                    <a:pt x="2917888" y="1441991"/>
                  </a:cubicBezTo>
                  <a:cubicBezTo>
                    <a:pt x="2914459" y="1441991"/>
                    <a:pt x="2911697" y="1439228"/>
                    <a:pt x="2911697" y="1435799"/>
                  </a:cubicBezTo>
                  <a:cubicBezTo>
                    <a:pt x="2911697" y="1432370"/>
                    <a:pt x="2914459" y="1429608"/>
                    <a:pt x="2917888" y="1429608"/>
                  </a:cubicBezTo>
                  <a:close/>
                  <a:moveTo>
                    <a:pt x="3336036" y="1429512"/>
                  </a:moveTo>
                  <a:cubicBezTo>
                    <a:pt x="3338702" y="1429512"/>
                    <a:pt x="3340798" y="1431607"/>
                    <a:pt x="3340798" y="1434275"/>
                  </a:cubicBezTo>
                  <a:cubicBezTo>
                    <a:pt x="3340798" y="1436941"/>
                    <a:pt x="3338607" y="1439037"/>
                    <a:pt x="3336036" y="1439037"/>
                  </a:cubicBezTo>
                  <a:cubicBezTo>
                    <a:pt x="3333369" y="1439037"/>
                    <a:pt x="3331273" y="1436941"/>
                    <a:pt x="3331273" y="1434275"/>
                  </a:cubicBezTo>
                  <a:cubicBezTo>
                    <a:pt x="3331273" y="1431607"/>
                    <a:pt x="3333369" y="1429512"/>
                    <a:pt x="3336036" y="1429512"/>
                  </a:cubicBezTo>
                  <a:close/>
                  <a:moveTo>
                    <a:pt x="3277361" y="1428179"/>
                  </a:moveTo>
                  <a:cubicBezTo>
                    <a:pt x="3280790" y="1428179"/>
                    <a:pt x="3283553" y="1430941"/>
                    <a:pt x="3283553" y="1434370"/>
                  </a:cubicBezTo>
                  <a:lnTo>
                    <a:pt x="3282363" y="1435561"/>
                  </a:lnTo>
                  <a:lnTo>
                    <a:pt x="3288316" y="1441513"/>
                  </a:lnTo>
                  <a:lnTo>
                    <a:pt x="3287030" y="1442800"/>
                  </a:lnTo>
                  <a:lnTo>
                    <a:pt x="3292507" y="1448276"/>
                  </a:lnTo>
                  <a:lnTo>
                    <a:pt x="3291173" y="1449610"/>
                  </a:lnTo>
                  <a:lnTo>
                    <a:pt x="3296221" y="1454658"/>
                  </a:lnTo>
                  <a:lnTo>
                    <a:pt x="3294935" y="1455945"/>
                  </a:lnTo>
                  <a:lnTo>
                    <a:pt x="3299650" y="1460659"/>
                  </a:lnTo>
                  <a:lnTo>
                    <a:pt x="3298412" y="1461898"/>
                  </a:lnTo>
                  <a:lnTo>
                    <a:pt x="3302889" y="1466374"/>
                  </a:lnTo>
                  <a:lnTo>
                    <a:pt x="3301746" y="1467518"/>
                  </a:lnTo>
                  <a:lnTo>
                    <a:pt x="3306031" y="1471803"/>
                  </a:lnTo>
                  <a:lnTo>
                    <a:pt x="3305079" y="1472755"/>
                  </a:lnTo>
                  <a:lnTo>
                    <a:pt x="3309270" y="1476946"/>
                  </a:lnTo>
                  <a:lnTo>
                    <a:pt x="3308556" y="1477661"/>
                  </a:lnTo>
                  <a:lnTo>
                    <a:pt x="3312700" y="1481804"/>
                  </a:lnTo>
                  <a:lnTo>
                    <a:pt x="3312366" y="1482138"/>
                  </a:lnTo>
                  <a:lnTo>
                    <a:pt x="3316509" y="1486281"/>
                  </a:lnTo>
                  <a:lnTo>
                    <a:pt x="3316414" y="1486376"/>
                  </a:lnTo>
                  <a:lnTo>
                    <a:pt x="3318700" y="1488662"/>
                  </a:lnTo>
                  <a:lnTo>
                    <a:pt x="3318985" y="1488377"/>
                  </a:lnTo>
                  <a:lnTo>
                    <a:pt x="3323415" y="1492806"/>
                  </a:lnTo>
                  <a:lnTo>
                    <a:pt x="3324034" y="1492187"/>
                  </a:lnTo>
                  <a:lnTo>
                    <a:pt x="3328654" y="1496806"/>
                  </a:lnTo>
                  <a:lnTo>
                    <a:pt x="3329749" y="1495711"/>
                  </a:lnTo>
                  <a:lnTo>
                    <a:pt x="3334560" y="1500521"/>
                  </a:lnTo>
                  <a:lnTo>
                    <a:pt x="3336131" y="1498950"/>
                  </a:lnTo>
                  <a:lnTo>
                    <a:pt x="3341275" y="1504094"/>
                  </a:lnTo>
                  <a:lnTo>
                    <a:pt x="3343275" y="1502093"/>
                  </a:lnTo>
                  <a:cubicBezTo>
                    <a:pt x="3346642" y="1502093"/>
                    <a:pt x="3349371" y="1504822"/>
                    <a:pt x="3349371" y="1508189"/>
                  </a:cubicBezTo>
                  <a:cubicBezTo>
                    <a:pt x="3349371" y="1511556"/>
                    <a:pt x="3346642" y="1514285"/>
                    <a:pt x="3343275" y="1514285"/>
                  </a:cubicBezTo>
                  <a:lnTo>
                    <a:pt x="3338227" y="1509237"/>
                  </a:lnTo>
                  <a:lnTo>
                    <a:pt x="3336131" y="1511333"/>
                  </a:lnTo>
                  <a:lnTo>
                    <a:pt x="3331321" y="1506522"/>
                  </a:lnTo>
                  <a:lnTo>
                    <a:pt x="3329749" y="1508094"/>
                  </a:lnTo>
                  <a:lnTo>
                    <a:pt x="3325130" y="1503474"/>
                  </a:lnTo>
                  <a:lnTo>
                    <a:pt x="3324034" y="1504570"/>
                  </a:lnTo>
                  <a:lnTo>
                    <a:pt x="3319605" y="1500140"/>
                  </a:lnTo>
                  <a:lnTo>
                    <a:pt x="3318985" y="1500760"/>
                  </a:lnTo>
                  <a:lnTo>
                    <a:pt x="3314699" y="1496474"/>
                  </a:lnTo>
                  <a:lnTo>
                    <a:pt x="3314414" y="1496759"/>
                  </a:lnTo>
                  <a:cubicBezTo>
                    <a:pt x="3310985" y="1496759"/>
                    <a:pt x="3308223" y="1493996"/>
                    <a:pt x="3308223" y="1490567"/>
                  </a:cubicBezTo>
                  <a:lnTo>
                    <a:pt x="3308318" y="1490472"/>
                  </a:lnTo>
                  <a:lnTo>
                    <a:pt x="3304127" y="1486281"/>
                  </a:lnTo>
                  <a:lnTo>
                    <a:pt x="3304460" y="1485948"/>
                  </a:lnTo>
                  <a:lnTo>
                    <a:pt x="3300317" y="1481804"/>
                  </a:lnTo>
                  <a:lnTo>
                    <a:pt x="3301031" y="1481090"/>
                  </a:lnTo>
                  <a:lnTo>
                    <a:pt x="3296888" y="1476946"/>
                  </a:lnTo>
                  <a:lnTo>
                    <a:pt x="3297840" y="1475995"/>
                  </a:lnTo>
                  <a:lnTo>
                    <a:pt x="3293649" y="1471803"/>
                  </a:lnTo>
                  <a:lnTo>
                    <a:pt x="3294792" y="1470661"/>
                  </a:lnTo>
                  <a:lnTo>
                    <a:pt x="3290506" y="1466374"/>
                  </a:lnTo>
                  <a:lnTo>
                    <a:pt x="3291744" y="1465137"/>
                  </a:lnTo>
                  <a:lnTo>
                    <a:pt x="3287267" y="1460659"/>
                  </a:lnTo>
                  <a:lnTo>
                    <a:pt x="3288553" y="1459373"/>
                  </a:lnTo>
                  <a:lnTo>
                    <a:pt x="3283839" y="1454658"/>
                  </a:lnTo>
                  <a:lnTo>
                    <a:pt x="3285172" y="1453325"/>
                  </a:lnTo>
                  <a:lnTo>
                    <a:pt x="3280124" y="1448276"/>
                  </a:lnTo>
                  <a:lnTo>
                    <a:pt x="3281410" y="1446991"/>
                  </a:lnTo>
                  <a:lnTo>
                    <a:pt x="3275933" y="1441513"/>
                  </a:lnTo>
                  <a:lnTo>
                    <a:pt x="3277123" y="1440324"/>
                  </a:lnTo>
                  <a:lnTo>
                    <a:pt x="3271170" y="1434370"/>
                  </a:lnTo>
                  <a:cubicBezTo>
                    <a:pt x="3271170" y="1430941"/>
                    <a:pt x="3273932" y="1428179"/>
                    <a:pt x="3277361" y="1428179"/>
                  </a:cubicBezTo>
                  <a:close/>
                  <a:moveTo>
                    <a:pt x="129063" y="1425321"/>
                  </a:moveTo>
                  <a:cubicBezTo>
                    <a:pt x="132492" y="1425321"/>
                    <a:pt x="135255" y="1428083"/>
                    <a:pt x="135255" y="1431512"/>
                  </a:cubicBezTo>
                  <a:cubicBezTo>
                    <a:pt x="135255" y="1434941"/>
                    <a:pt x="132492" y="1437703"/>
                    <a:pt x="129063" y="1437703"/>
                  </a:cubicBezTo>
                  <a:cubicBezTo>
                    <a:pt x="125634" y="1437703"/>
                    <a:pt x="122872" y="1434941"/>
                    <a:pt x="122872" y="1431512"/>
                  </a:cubicBezTo>
                  <a:cubicBezTo>
                    <a:pt x="122872" y="1428083"/>
                    <a:pt x="125634" y="1425321"/>
                    <a:pt x="129063" y="1425321"/>
                  </a:cubicBezTo>
                  <a:close/>
                  <a:moveTo>
                    <a:pt x="443102" y="1424845"/>
                  </a:moveTo>
                  <a:cubicBezTo>
                    <a:pt x="446531" y="1424845"/>
                    <a:pt x="449293" y="1427607"/>
                    <a:pt x="449293" y="1431036"/>
                  </a:cubicBezTo>
                  <a:cubicBezTo>
                    <a:pt x="449293" y="1434465"/>
                    <a:pt x="446531" y="1437228"/>
                    <a:pt x="443102" y="1437228"/>
                  </a:cubicBezTo>
                  <a:cubicBezTo>
                    <a:pt x="439673" y="1437228"/>
                    <a:pt x="436911" y="1434465"/>
                    <a:pt x="436911" y="1431036"/>
                  </a:cubicBezTo>
                  <a:cubicBezTo>
                    <a:pt x="436911" y="1427607"/>
                    <a:pt x="439673" y="1424845"/>
                    <a:pt x="443102" y="1424845"/>
                  </a:cubicBezTo>
                  <a:close/>
                  <a:moveTo>
                    <a:pt x="57721" y="1424178"/>
                  </a:moveTo>
                  <a:cubicBezTo>
                    <a:pt x="61150" y="1424178"/>
                    <a:pt x="63913" y="1426940"/>
                    <a:pt x="63913" y="1430369"/>
                  </a:cubicBezTo>
                  <a:cubicBezTo>
                    <a:pt x="63913" y="1433798"/>
                    <a:pt x="61150" y="1436561"/>
                    <a:pt x="57721" y="1436561"/>
                  </a:cubicBezTo>
                  <a:cubicBezTo>
                    <a:pt x="54292" y="1436561"/>
                    <a:pt x="51530" y="1433798"/>
                    <a:pt x="51530" y="1430369"/>
                  </a:cubicBezTo>
                  <a:cubicBezTo>
                    <a:pt x="51530" y="1426940"/>
                    <a:pt x="54292" y="1424178"/>
                    <a:pt x="57721" y="1424178"/>
                  </a:cubicBezTo>
                  <a:close/>
                  <a:moveTo>
                    <a:pt x="3194684" y="1421416"/>
                  </a:moveTo>
                  <a:cubicBezTo>
                    <a:pt x="3198113" y="1421416"/>
                    <a:pt x="3200875" y="1424178"/>
                    <a:pt x="3200875" y="1427607"/>
                  </a:cubicBezTo>
                  <a:cubicBezTo>
                    <a:pt x="3200875" y="1431036"/>
                    <a:pt x="3198113" y="1433799"/>
                    <a:pt x="3194684" y="1433799"/>
                  </a:cubicBezTo>
                  <a:cubicBezTo>
                    <a:pt x="3191255" y="1433799"/>
                    <a:pt x="3188493" y="1431036"/>
                    <a:pt x="3188493" y="1427607"/>
                  </a:cubicBezTo>
                  <a:cubicBezTo>
                    <a:pt x="3188493" y="1424178"/>
                    <a:pt x="3191255" y="1421416"/>
                    <a:pt x="3194684" y="1421416"/>
                  </a:cubicBezTo>
                  <a:close/>
                  <a:moveTo>
                    <a:pt x="3271741" y="1420749"/>
                  </a:moveTo>
                  <a:cubicBezTo>
                    <a:pt x="3275170" y="1420749"/>
                    <a:pt x="3277933" y="1423511"/>
                    <a:pt x="3277933" y="1426940"/>
                  </a:cubicBezTo>
                  <a:cubicBezTo>
                    <a:pt x="3277933" y="1430369"/>
                    <a:pt x="3275170" y="1433132"/>
                    <a:pt x="3271741" y="1433132"/>
                  </a:cubicBezTo>
                  <a:cubicBezTo>
                    <a:pt x="3268312" y="1433132"/>
                    <a:pt x="3265550" y="1430369"/>
                    <a:pt x="3265550" y="1426940"/>
                  </a:cubicBezTo>
                  <a:cubicBezTo>
                    <a:pt x="3265550" y="1423511"/>
                    <a:pt x="3268312" y="1420749"/>
                    <a:pt x="3271741" y="1420749"/>
                  </a:cubicBezTo>
                  <a:close/>
                  <a:moveTo>
                    <a:pt x="2862738" y="1420749"/>
                  </a:moveTo>
                  <a:cubicBezTo>
                    <a:pt x="2866167" y="1420749"/>
                    <a:pt x="2868930" y="1423511"/>
                    <a:pt x="2868930" y="1426940"/>
                  </a:cubicBezTo>
                  <a:cubicBezTo>
                    <a:pt x="2868930" y="1430369"/>
                    <a:pt x="2866167" y="1433132"/>
                    <a:pt x="2862738" y="1433132"/>
                  </a:cubicBezTo>
                  <a:cubicBezTo>
                    <a:pt x="2859309" y="1433132"/>
                    <a:pt x="2856547" y="1430369"/>
                    <a:pt x="2856547" y="1426940"/>
                  </a:cubicBezTo>
                  <a:cubicBezTo>
                    <a:pt x="2856547" y="1423511"/>
                    <a:pt x="2859309" y="1420749"/>
                    <a:pt x="2862738" y="1420749"/>
                  </a:cubicBezTo>
                  <a:close/>
                  <a:moveTo>
                    <a:pt x="148018" y="1416749"/>
                  </a:moveTo>
                  <a:cubicBezTo>
                    <a:pt x="151447" y="1416749"/>
                    <a:pt x="154210" y="1419511"/>
                    <a:pt x="154210" y="1422940"/>
                  </a:cubicBezTo>
                  <a:cubicBezTo>
                    <a:pt x="154210" y="1426369"/>
                    <a:pt x="151447" y="1429132"/>
                    <a:pt x="148018" y="1429132"/>
                  </a:cubicBezTo>
                  <a:cubicBezTo>
                    <a:pt x="144589" y="1429132"/>
                    <a:pt x="141827" y="1426369"/>
                    <a:pt x="141827" y="1422940"/>
                  </a:cubicBezTo>
                  <a:cubicBezTo>
                    <a:pt x="141827" y="1419511"/>
                    <a:pt x="144589" y="1416749"/>
                    <a:pt x="148018" y="1416749"/>
                  </a:cubicBezTo>
                  <a:close/>
                  <a:moveTo>
                    <a:pt x="63817" y="1416558"/>
                  </a:moveTo>
                  <a:cubicBezTo>
                    <a:pt x="67246" y="1416558"/>
                    <a:pt x="70008" y="1419320"/>
                    <a:pt x="70008" y="1422749"/>
                  </a:cubicBezTo>
                  <a:cubicBezTo>
                    <a:pt x="70008" y="1426178"/>
                    <a:pt x="67246" y="1428940"/>
                    <a:pt x="63817" y="1428940"/>
                  </a:cubicBezTo>
                  <a:cubicBezTo>
                    <a:pt x="60388" y="1428940"/>
                    <a:pt x="57626" y="1426178"/>
                    <a:pt x="57626" y="1422749"/>
                  </a:cubicBezTo>
                  <a:cubicBezTo>
                    <a:pt x="57626" y="1419320"/>
                    <a:pt x="60388" y="1416558"/>
                    <a:pt x="63817" y="1416558"/>
                  </a:cubicBezTo>
                  <a:close/>
                  <a:moveTo>
                    <a:pt x="501300" y="1415796"/>
                  </a:moveTo>
                  <a:cubicBezTo>
                    <a:pt x="504729" y="1415796"/>
                    <a:pt x="507491" y="1418558"/>
                    <a:pt x="507491" y="1421987"/>
                  </a:cubicBezTo>
                  <a:cubicBezTo>
                    <a:pt x="507491" y="1425416"/>
                    <a:pt x="504729" y="1428178"/>
                    <a:pt x="501300" y="1428178"/>
                  </a:cubicBezTo>
                  <a:cubicBezTo>
                    <a:pt x="497871" y="1428178"/>
                    <a:pt x="495109" y="1425416"/>
                    <a:pt x="495109" y="1421987"/>
                  </a:cubicBezTo>
                  <a:cubicBezTo>
                    <a:pt x="495109" y="1418558"/>
                    <a:pt x="497871" y="1415796"/>
                    <a:pt x="501300" y="1415796"/>
                  </a:cubicBezTo>
                  <a:close/>
                  <a:moveTo>
                    <a:pt x="3265169" y="1412844"/>
                  </a:moveTo>
                  <a:cubicBezTo>
                    <a:pt x="3268598" y="1412844"/>
                    <a:pt x="3271361" y="1415606"/>
                    <a:pt x="3271361" y="1419035"/>
                  </a:cubicBezTo>
                  <a:cubicBezTo>
                    <a:pt x="3271361" y="1422464"/>
                    <a:pt x="3268598" y="1425226"/>
                    <a:pt x="3265169" y="1425226"/>
                  </a:cubicBezTo>
                  <a:cubicBezTo>
                    <a:pt x="3261740" y="1425226"/>
                    <a:pt x="3258978" y="1422464"/>
                    <a:pt x="3258978" y="1419035"/>
                  </a:cubicBezTo>
                  <a:cubicBezTo>
                    <a:pt x="3258978" y="1415606"/>
                    <a:pt x="3261740" y="1412844"/>
                    <a:pt x="3265169" y="1412844"/>
                  </a:cubicBezTo>
                  <a:close/>
                  <a:moveTo>
                    <a:pt x="3174396" y="1412653"/>
                  </a:moveTo>
                  <a:cubicBezTo>
                    <a:pt x="3177825" y="1412653"/>
                    <a:pt x="3180588" y="1415415"/>
                    <a:pt x="3180588" y="1418844"/>
                  </a:cubicBezTo>
                  <a:cubicBezTo>
                    <a:pt x="3180588" y="1422273"/>
                    <a:pt x="3177825" y="1425036"/>
                    <a:pt x="3174396" y="1425036"/>
                  </a:cubicBezTo>
                  <a:cubicBezTo>
                    <a:pt x="3170967" y="1425036"/>
                    <a:pt x="3168205" y="1422273"/>
                    <a:pt x="3168205" y="1418844"/>
                  </a:cubicBezTo>
                  <a:cubicBezTo>
                    <a:pt x="3168205" y="1415415"/>
                    <a:pt x="3170967" y="1412653"/>
                    <a:pt x="3174396" y="1412653"/>
                  </a:cubicBezTo>
                  <a:close/>
                  <a:moveTo>
                    <a:pt x="2801778" y="1411510"/>
                  </a:moveTo>
                  <a:cubicBezTo>
                    <a:pt x="2805207" y="1411510"/>
                    <a:pt x="2807969" y="1414272"/>
                    <a:pt x="2807969" y="1417701"/>
                  </a:cubicBezTo>
                  <a:cubicBezTo>
                    <a:pt x="2807969" y="1421130"/>
                    <a:pt x="2805207" y="1423893"/>
                    <a:pt x="2801778" y="1423893"/>
                  </a:cubicBezTo>
                  <a:cubicBezTo>
                    <a:pt x="2798349" y="1423893"/>
                    <a:pt x="2795587" y="1421130"/>
                    <a:pt x="2795587" y="1417701"/>
                  </a:cubicBezTo>
                  <a:cubicBezTo>
                    <a:pt x="2795587" y="1414272"/>
                    <a:pt x="2798349" y="1411510"/>
                    <a:pt x="2801778" y="1411510"/>
                  </a:cubicBezTo>
                  <a:close/>
                  <a:moveTo>
                    <a:pt x="70961" y="1408462"/>
                  </a:moveTo>
                  <a:cubicBezTo>
                    <a:pt x="74390" y="1408462"/>
                    <a:pt x="77153" y="1411224"/>
                    <a:pt x="77153" y="1414653"/>
                  </a:cubicBezTo>
                  <a:cubicBezTo>
                    <a:pt x="77153" y="1418082"/>
                    <a:pt x="74390" y="1420845"/>
                    <a:pt x="70961" y="1420845"/>
                  </a:cubicBezTo>
                  <a:cubicBezTo>
                    <a:pt x="67532" y="1420845"/>
                    <a:pt x="64770" y="1418082"/>
                    <a:pt x="64770" y="1414653"/>
                  </a:cubicBezTo>
                  <a:cubicBezTo>
                    <a:pt x="64770" y="1411224"/>
                    <a:pt x="67532" y="1408462"/>
                    <a:pt x="70961" y="1408462"/>
                  </a:cubicBezTo>
                  <a:close/>
                  <a:moveTo>
                    <a:pt x="169735" y="1407795"/>
                  </a:moveTo>
                  <a:cubicBezTo>
                    <a:pt x="173164" y="1407795"/>
                    <a:pt x="175926" y="1410557"/>
                    <a:pt x="175926" y="1413986"/>
                  </a:cubicBezTo>
                  <a:cubicBezTo>
                    <a:pt x="175926" y="1417415"/>
                    <a:pt x="173164" y="1420178"/>
                    <a:pt x="169735" y="1420178"/>
                  </a:cubicBezTo>
                  <a:cubicBezTo>
                    <a:pt x="166306" y="1420178"/>
                    <a:pt x="163544" y="1417415"/>
                    <a:pt x="163544" y="1413986"/>
                  </a:cubicBezTo>
                  <a:cubicBezTo>
                    <a:pt x="163544" y="1410557"/>
                    <a:pt x="166306" y="1407795"/>
                    <a:pt x="169735" y="1407795"/>
                  </a:cubicBezTo>
                  <a:close/>
                  <a:moveTo>
                    <a:pt x="565689" y="1406462"/>
                  </a:moveTo>
                  <a:cubicBezTo>
                    <a:pt x="569118" y="1406462"/>
                    <a:pt x="571880" y="1409224"/>
                    <a:pt x="571880" y="1412653"/>
                  </a:cubicBezTo>
                  <a:cubicBezTo>
                    <a:pt x="571880" y="1416082"/>
                    <a:pt x="569118" y="1418845"/>
                    <a:pt x="565689" y="1418845"/>
                  </a:cubicBezTo>
                  <a:cubicBezTo>
                    <a:pt x="562260" y="1418845"/>
                    <a:pt x="559498" y="1416082"/>
                    <a:pt x="559498" y="1412653"/>
                  </a:cubicBezTo>
                  <a:cubicBezTo>
                    <a:pt x="559498" y="1409224"/>
                    <a:pt x="562260" y="1406462"/>
                    <a:pt x="565689" y="1406462"/>
                  </a:cubicBezTo>
                  <a:close/>
                  <a:moveTo>
                    <a:pt x="3257549" y="1404557"/>
                  </a:moveTo>
                  <a:cubicBezTo>
                    <a:pt x="3260978" y="1404557"/>
                    <a:pt x="3263740" y="1407319"/>
                    <a:pt x="3263740" y="1410748"/>
                  </a:cubicBezTo>
                  <a:cubicBezTo>
                    <a:pt x="3263740" y="1414177"/>
                    <a:pt x="3260978" y="1416940"/>
                    <a:pt x="3257549" y="1416940"/>
                  </a:cubicBezTo>
                  <a:cubicBezTo>
                    <a:pt x="3254120" y="1416940"/>
                    <a:pt x="3251358" y="1414177"/>
                    <a:pt x="3251358" y="1410748"/>
                  </a:cubicBezTo>
                  <a:cubicBezTo>
                    <a:pt x="3251358" y="1407319"/>
                    <a:pt x="3254120" y="1404557"/>
                    <a:pt x="3257549" y="1404557"/>
                  </a:cubicBezTo>
                  <a:close/>
                  <a:moveTo>
                    <a:pt x="3151250" y="1403509"/>
                  </a:moveTo>
                  <a:cubicBezTo>
                    <a:pt x="3154679" y="1403509"/>
                    <a:pt x="3157441" y="1406271"/>
                    <a:pt x="3157441" y="1409700"/>
                  </a:cubicBezTo>
                  <a:cubicBezTo>
                    <a:pt x="3157441" y="1413129"/>
                    <a:pt x="3154679" y="1415892"/>
                    <a:pt x="3151250" y="1415892"/>
                  </a:cubicBezTo>
                  <a:cubicBezTo>
                    <a:pt x="3147821" y="1415892"/>
                    <a:pt x="3145059" y="1413129"/>
                    <a:pt x="3145059" y="1409700"/>
                  </a:cubicBezTo>
                  <a:cubicBezTo>
                    <a:pt x="3145059" y="1406271"/>
                    <a:pt x="3147821" y="1403509"/>
                    <a:pt x="3151250" y="1403509"/>
                  </a:cubicBezTo>
                  <a:close/>
                  <a:moveTo>
                    <a:pt x="2734436" y="1401985"/>
                  </a:moveTo>
                  <a:cubicBezTo>
                    <a:pt x="2737865" y="1401985"/>
                    <a:pt x="2740628" y="1404747"/>
                    <a:pt x="2740628" y="1408176"/>
                  </a:cubicBezTo>
                  <a:cubicBezTo>
                    <a:pt x="2740628" y="1411605"/>
                    <a:pt x="2737865" y="1414368"/>
                    <a:pt x="2734436" y="1414368"/>
                  </a:cubicBezTo>
                  <a:cubicBezTo>
                    <a:pt x="2731007" y="1414368"/>
                    <a:pt x="2728245" y="1411605"/>
                    <a:pt x="2728245" y="1408176"/>
                  </a:cubicBezTo>
                  <a:cubicBezTo>
                    <a:pt x="2728245" y="1404747"/>
                    <a:pt x="2731007" y="1401985"/>
                    <a:pt x="2734436" y="1401985"/>
                  </a:cubicBezTo>
                  <a:close/>
                  <a:moveTo>
                    <a:pt x="79342" y="1399985"/>
                  </a:moveTo>
                  <a:cubicBezTo>
                    <a:pt x="82771" y="1399985"/>
                    <a:pt x="85533" y="1402747"/>
                    <a:pt x="85533" y="1406176"/>
                  </a:cubicBezTo>
                  <a:cubicBezTo>
                    <a:pt x="85533" y="1409605"/>
                    <a:pt x="82771" y="1412368"/>
                    <a:pt x="79342" y="1412368"/>
                  </a:cubicBezTo>
                  <a:cubicBezTo>
                    <a:pt x="75913" y="1412368"/>
                    <a:pt x="73151" y="1409605"/>
                    <a:pt x="73151" y="1406176"/>
                  </a:cubicBezTo>
                  <a:cubicBezTo>
                    <a:pt x="73151" y="1402747"/>
                    <a:pt x="75913" y="1399985"/>
                    <a:pt x="79342" y="1399985"/>
                  </a:cubicBezTo>
                  <a:close/>
                  <a:moveTo>
                    <a:pt x="3335749" y="1399509"/>
                  </a:moveTo>
                  <a:cubicBezTo>
                    <a:pt x="3336065" y="1399509"/>
                    <a:pt x="3336321" y="1399765"/>
                    <a:pt x="3336321" y="1400080"/>
                  </a:cubicBezTo>
                  <a:cubicBezTo>
                    <a:pt x="3336321" y="1400396"/>
                    <a:pt x="3336065" y="1400652"/>
                    <a:pt x="3335749" y="1400652"/>
                  </a:cubicBezTo>
                  <a:cubicBezTo>
                    <a:pt x="3335434" y="1400652"/>
                    <a:pt x="3335178" y="1400396"/>
                    <a:pt x="3335178" y="1400080"/>
                  </a:cubicBezTo>
                  <a:cubicBezTo>
                    <a:pt x="3335178" y="1399765"/>
                    <a:pt x="3335434" y="1399509"/>
                    <a:pt x="3335749" y="1399509"/>
                  </a:cubicBezTo>
                  <a:close/>
                  <a:moveTo>
                    <a:pt x="194595" y="1398461"/>
                  </a:moveTo>
                  <a:cubicBezTo>
                    <a:pt x="198024" y="1398461"/>
                    <a:pt x="200786" y="1401223"/>
                    <a:pt x="200786" y="1404652"/>
                  </a:cubicBezTo>
                  <a:cubicBezTo>
                    <a:pt x="200786" y="1408081"/>
                    <a:pt x="198024" y="1410844"/>
                    <a:pt x="194595" y="1410844"/>
                  </a:cubicBezTo>
                  <a:cubicBezTo>
                    <a:pt x="191166" y="1410844"/>
                    <a:pt x="188404" y="1408081"/>
                    <a:pt x="188404" y="1404652"/>
                  </a:cubicBezTo>
                  <a:cubicBezTo>
                    <a:pt x="188404" y="1401223"/>
                    <a:pt x="191166" y="1398461"/>
                    <a:pt x="194595" y="1398461"/>
                  </a:cubicBezTo>
                  <a:close/>
                  <a:moveTo>
                    <a:pt x="636460" y="1396841"/>
                  </a:moveTo>
                  <a:cubicBezTo>
                    <a:pt x="639889" y="1396841"/>
                    <a:pt x="642652" y="1399603"/>
                    <a:pt x="642652" y="1403032"/>
                  </a:cubicBezTo>
                  <a:cubicBezTo>
                    <a:pt x="642652" y="1406461"/>
                    <a:pt x="639889" y="1409224"/>
                    <a:pt x="636460" y="1409224"/>
                  </a:cubicBezTo>
                  <a:cubicBezTo>
                    <a:pt x="633031" y="1409224"/>
                    <a:pt x="630269" y="1406461"/>
                    <a:pt x="630269" y="1403032"/>
                  </a:cubicBezTo>
                  <a:cubicBezTo>
                    <a:pt x="630269" y="1399603"/>
                    <a:pt x="633031" y="1396841"/>
                    <a:pt x="636460" y="1396841"/>
                  </a:cubicBezTo>
                  <a:close/>
                  <a:moveTo>
                    <a:pt x="3248405" y="1395889"/>
                  </a:moveTo>
                  <a:cubicBezTo>
                    <a:pt x="3251834" y="1395889"/>
                    <a:pt x="3254596" y="1398651"/>
                    <a:pt x="3254596" y="1402080"/>
                  </a:cubicBezTo>
                  <a:cubicBezTo>
                    <a:pt x="3254596" y="1405509"/>
                    <a:pt x="3251834" y="1408272"/>
                    <a:pt x="3248405" y="1408272"/>
                  </a:cubicBezTo>
                  <a:cubicBezTo>
                    <a:pt x="3244976" y="1408272"/>
                    <a:pt x="3242214" y="1405509"/>
                    <a:pt x="3242214" y="1402080"/>
                  </a:cubicBezTo>
                  <a:cubicBezTo>
                    <a:pt x="3242214" y="1398651"/>
                    <a:pt x="3244976" y="1395889"/>
                    <a:pt x="3248405" y="1395889"/>
                  </a:cubicBezTo>
                  <a:close/>
                  <a:moveTo>
                    <a:pt x="3124866" y="1393984"/>
                  </a:moveTo>
                  <a:cubicBezTo>
                    <a:pt x="3128295" y="1393984"/>
                    <a:pt x="3131057" y="1396746"/>
                    <a:pt x="3131057" y="1400175"/>
                  </a:cubicBezTo>
                  <a:cubicBezTo>
                    <a:pt x="3131057" y="1403604"/>
                    <a:pt x="3128295" y="1406367"/>
                    <a:pt x="3124866" y="1406367"/>
                  </a:cubicBezTo>
                  <a:cubicBezTo>
                    <a:pt x="3121437" y="1406367"/>
                    <a:pt x="3118675" y="1403604"/>
                    <a:pt x="3118675" y="1400175"/>
                  </a:cubicBezTo>
                  <a:cubicBezTo>
                    <a:pt x="3118675" y="1396746"/>
                    <a:pt x="3121437" y="1393984"/>
                    <a:pt x="3124866" y="1393984"/>
                  </a:cubicBezTo>
                  <a:close/>
                  <a:moveTo>
                    <a:pt x="2660427" y="1392174"/>
                  </a:moveTo>
                  <a:cubicBezTo>
                    <a:pt x="2663846" y="1392174"/>
                    <a:pt x="2666618" y="1394946"/>
                    <a:pt x="2666618" y="1398365"/>
                  </a:cubicBezTo>
                  <a:cubicBezTo>
                    <a:pt x="2666618" y="1401785"/>
                    <a:pt x="2663846" y="1404556"/>
                    <a:pt x="2660427" y="1404556"/>
                  </a:cubicBezTo>
                  <a:cubicBezTo>
                    <a:pt x="2657008" y="1404556"/>
                    <a:pt x="2654236" y="1401785"/>
                    <a:pt x="2654236" y="1398365"/>
                  </a:cubicBezTo>
                  <a:cubicBezTo>
                    <a:pt x="2654236" y="1394946"/>
                    <a:pt x="2657008" y="1392174"/>
                    <a:pt x="2660427" y="1392174"/>
                  </a:cubicBezTo>
                  <a:close/>
                  <a:moveTo>
                    <a:pt x="53244" y="1391984"/>
                  </a:moveTo>
                  <a:cubicBezTo>
                    <a:pt x="56673" y="1391984"/>
                    <a:pt x="59435" y="1394746"/>
                    <a:pt x="59435" y="1398175"/>
                  </a:cubicBezTo>
                  <a:lnTo>
                    <a:pt x="53482" y="1404128"/>
                  </a:lnTo>
                  <a:lnTo>
                    <a:pt x="55339" y="1405985"/>
                  </a:lnTo>
                  <a:lnTo>
                    <a:pt x="49767" y="1411558"/>
                  </a:lnTo>
                  <a:lnTo>
                    <a:pt x="51529" y="1413320"/>
                  </a:lnTo>
                  <a:lnTo>
                    <a:pt x="46291" y="1418559"/>
                  </a:lnTo>
                  <a:lnTo>
                    <a:pt x="48006" y="1420273"/>
                  </a:lnTo>
                  <a:lnTo>
                    <a:pt x="42958" y="1425321"/>
                  </a:lnTo>
                  <a:lnTo>
                    <a:pt x="44482" y="1426845"/>
                  </a:lnTo>
                  <a:lnTo>
                    <a:pt x="39576" y="1431751"/>
                  </a:lnTo>
                  <a:lnTo>
                    <a:pt x="40862" y="1433036"/>
                  </a:lnTo>
                  <a:lnTo>
                    <a:pt x="36099" y="1437799"/>
                  </a:lnTo>
                  <a:lnTo>
                    <a:pt x="37147" y="1438846"/>
                  </a:lnTo>
                  <a:lnTo>
                    <a:pt x="32384" y="1443609"/>
                  </a:lnTo>
                  <a:lnTo>
                    <a:pt x="33147" y="1444371"/>
                  </a:lnTo>
                  <a:lnTo>
                    <a:pt x="28337" y="1449181"/>
                  </a:lnTo>
                  <a:lnTo>
                    <a:pt x="28766" y="1449610"/>
                  </a:lnTo>
                  <a:cubicBezTo>
                    <a:pt x="28766" y="1453039"/>
                    <a:pt x="26003" y="1455802"/>
                    <a:pt x="22574" y="1455802"/>
                  </a:cubicBezTo>
                  <a:cubicBezTo>
                    <a:pt x="19145" y="1455802"/>
                    <a:pt x="16383" y="1453039"/>
                    <a:pt x="16383" y="1449610"/>
                  </a:cubicBezTo>
                  <a:lnTo>
                    <a:pt x="21193" y="1444800"/>
                  </a:lnTo>
                  <a:lnTo>
                    <a:pt x="20764" y="1444371"/>
                  </a:lnTo>
                  <a:lnTo>
                    <a:pt x="25526" y="1439609"/>
                  </a:lnTo>
                  <a:lnTo>
                    <a:pt x="24764" y="1438846"/>
                  </a:lnTo>
                  <a:lnTo>
                    <a:pt x="29526" y="1434084"/>
                  </a:lnTo>
                  <a:lnTo>
                    <a:pt x="28479" y="1433036"/>
                  </a:lnTo>
                  <a:lnTo>
                    <a:pt x="33384" y="1428131"/>
                  </a:lnTo>
                  <a:lnTo>
                    <a:pt x="32099" y="1426845"/>
                  </a:lnTo>
                  <a:lnTo>
                    <a:pt x="37147" y="1421797"/>
                  </a:lnTo>
                  <a:lnTo>
                    <a:pt x="35623" y="1420273"/>
                  </a:lnTo>
                  <a:lnTo>
                    <a:pt x="40861" y="1415035"/>
                  </a:lnTo>
                  <a:lnTo>
                    <a:pt x="39147" y="1413320"/>
                  </a:lnTo>
                  <a:lnTo>
                    <a:pt x="44719" y="1407748"/>
                  </a:lnTo>
                  <a:lnTo>
                    <a:pt x="42957" y="1405985"/>
                  </a:lnTo>
                  <a:lnTo>
                    <a:pt x="48910" y="1400032"/>
                  </a:lnTo>
                  <a:lnTo>
                    <a:pt x="47053" y="1398175"/>
                  </a:lnTo>
                  <a:cubicBezTo>
                    <a:pt x="47053" y="1394746"/>
                    <a:pt x="49815" y="1391984"/>
                    <a:pt x="53244" y="1391984"/>
                  </a:cubicBezTo>
                  <a:close/>
                  <a:moveTo>
                    <a:pt x="89249" y="1391126"/>
                  </a:moveTo>
                  <a:cubicBezTo>
                    <a:pt x="92678" y="1391126"/>
                    <a:pt x="95441" y="1393888"/>
                    <a:pt x="95441" y="1397317"/>
                  </a:cubicBezTo>
                  <a:cubicBezTo>
                    <a:pt x="95441" y="1400746"/>
                    <a:pt x="92678" y="1403509"/>
                    <a:pt x="89249" y="1403509"/>
                  </a:cubicBezTo>
                  <a:cubicBezTo>
                    <a:pt x="85820" y="1403509"/>
                    <a:pt x="83058" y="1400746"/>
                    <a:pt x="83058" y="1397317"/>
                  </a:cubicBezTo>
                  <a:cubicBezTo>
                    <a:pt x="83058" y="1393888"/>
                    <a:pt x="85820" y="1391126"/>
                    <a:pt x="89249" y="1391126"/>
                  </a:cubicBezTo>
                  <a:close/>
                  <a:moveTo>
                    <a:pt x="3327463" y="1389126"/>
                  </a:moveTo>
                  <a:cubicBezTo>
                    <a:pt x="3330882" y="1389126"/>
                    <a:pt x="3333654" y="1391898"/>
                    <a:pt x="3333654" y="1395317"/>
                  </a:cubicBezTo>
                  <a:cubicBezTo>
                    <a:pt x="3333654" y="1398736"/>
                    <a:pt x="3330882" y="1401508"/>
                    <a:pt x="3327463" y="1401508"/>
                  </a:cubicBezTo>
                  <a:cubicBezTo>
                    <a:pt x="3324044" y="1401508"/>
                    <a:pt x="3321272" y="1398736"/>
                    <a:pt x="3321272" y="1395317"/>
                  </a:cubicBezTo>
                  <a:cubicBezTo>
                    <a:pt x="3321272" y="1391898"/>
                    <a:pt x="3324044" y="1389126"/>
                    <a:pt x="3327463" y="1389126"/>
                  </a:cubicBezTo>
                  <a:close/>
                  <a:moveTo>
                    <a:pt x="222884" y="1388745"/>
                  </a:moveTo>
                  <a:cubicBezTo>
                    <a:pt x="226313" y="1388745"/>
                    <a:pt x="229075" y="1391507"/>
                    <a:pt x="229075" y="1394936"/>
                  </a:cubicBezTo>
                  <a:cubicBezTo>
                    <a:pt x="229075" y="1398365"/>
                    <a:pt x="226313" y="1401128"/>
                    <a:pt x="222884" y="1401128"/>
                  </a:cubicBezTo>
                  <a:cubicBezTo>
                    <a:pt x="219455" y="1401128"/>
                    <a:pt x="216693" y="1398365"/>
                    <a:pt x="216693" y="1394936"/>
                  </a:cubicBezTo>
                  <a:cubicBezTo>
                    <a:pt x="216693" y="1391507"/>
                    <a:pt x="219455" y="1388745"/>
                    <a:pt x="222884" y="1388745"/>
                  </a:cubicBezTo>
                  <a:close/>
                  <a:moveTo>
                    <a:pt x="3276790" y="1388269"/>
                  </a:moveTo>
                  <a:cubicBezTo>
                    <a:pt x="3280219" y="1388269"/>
                    <a:pt x="3282982" y="1391031"/>
                    <a:pt x="3282982" y="1394460"/>
                  </a:cubicBezTo>
                  <a:lnTo>
                    <a:pt x="3281219" y="1396223"/>
                  </a:lnTo>
                  <a:lnTo>
                    <a:pt x="3287363" y="1402366"/>
                  </a:lnTo>
                  <a:lnTo>
                    <a:pt x="3285552" y="1404177"/>
                  </a:lnTo>
                  <a:lnTo>
                    <a:pt x="3291268" y="1409891"/>
                  </a:lnTo>
                  <a:lnTo>
                    <a:pt x="3289506" y="1411653"/>
                  </a:lnTo>
                  <a:lnTo>
                    <a:pt x="3294888" y="1417034"/>
                  </a:lnTo>
                  <a:lnTo>
                    <a:pt x="3293268" y="1418654"/>
                  </a:lnTo>
                  <a:lnTo>
                    <a:pt x="3298412" y="1423797"/>
                  </a:lnTo>
                  <a:lnTo>
                    <a:pt x="3297030" y="1425179"/>
                  </a:lnTo>
                  <a:lnTo>
                    <a:pt x="3302032" y="1430179"/>
                  </a:lnTo>
                  <a:lnTo>
                    <a:pt x="3300841" y="1431370"/>
                  </a:lnTo>
                  <a:lnTo>
                    <a:pt x="3305650" y="1436179"/>
                  </a:lnTo>
                  <a:lnTo>
                    <a:pt x="3304745" y="1437084"/>
                  </a:lnTo>
                  <a:lnTo>
                    <a:pt x="3309556" y="1441895"/>
                  </a:lnTo>
                  <a:lnTo>
                    <a:pt x="3308985" y="1442466"/>
                  </a:lnTo>
                  <a:lnTo>
                    <a:pt x="3313747" y="1447228"/>
                  </a:lnTo>
                  <a:lnTo>
                    <a:pt x="3313508" y="1447467"/>
                  </a:lnTo>
                  <a:lnTo>
                    <a:pt x="3317033" y="1450991"/>
                  </a:lnTo>
                  <a:lnTo>
                    <a:pt x="3317271" y="1450753"/>
                  </a:lnTo>
                  <a:lnTo>
                    <a:pt x="3322272" y="1455753"/>
                  </a:lnTo>
                  <a:lnTo>
                    <a:pt x="3322891" y="1455134"/>
                  </a:lnTo>
                  <a:lnTo>
                    <a:pt x="3328130" y="1460372"/>
                  </a:lnTo>
                  <a:lnTo>
                    <a:pt x="3329177" y="1459325"/>
                  </a:lnTo>
                  <a:lnTo>
                    <a:pt x="3334607" y="1464755"/>
                  </a:lnTo>
                  <a:lnTo>
                    <a:pt x="3336226" y="1463136"/>
                  </a:lnTo>
                  <a:cubicBezTo>
                    <a:pt x="3339655" y="1463136"/>
                    <a:pt x="3342418" y="1465898"/>
                    <a:pt x="3342418" y="1469327"/>
                  </a:cubicBezTo>
                  <a:cubicBezTo>
                    <a:pt x="3342418" y="1472756"/>
                    <a:pt x="3339655" y="1475518"/>
                    <a:pt x="3336226" y="1475518"/>
                  </a:cubicBezTo>
                  <a:lnTo>
                    <a:pt x="3330797" y="1470089"/>
                  </a:lnTo>
                  <a:lnTo>
                    <a:pt x="3329177" y="1471708"/>
                  </a:lnTo>
                  <a:lnTo>
                    <a:pt x="3323939" y="1466469"/>
                  </a:lnTo>
                  <a:lnTo>
                    <a:pt x="3322891" y="1467517"/>
                  </a:lnTo>
                  <a:lnTo>
                    <a:pt x="3317891" y="1462516"/>
                  </a:lnTo>
                  <a:lnTo>
                    <a:pt x="3317271" y="1463136"/>
                  </a:lnTo>
                  <a:lnTo>
                    <a:pt x="3312366" y="1458230"/>
                  </a:lnTo>
                  <a:lnTo>
                    <a:pt x="3312127" y="1458469"/>
                  </a:lnTo>
                  <a:cubicBezTo>
                    <a:pt x="3308698" y="1458469"/>
                    <a:pt x="3305936" y="1455706"/>
                    <a:pt x="3305936" y="1452277"/>
                  </a:cubicBezTo>
                  <a:lnTo>
                    <a:pt x="3306175" y="1452039"/>
                  </a:lnTo>
                  <a:lnTo>
                    <a:pt x="3301365" y="1447228"/>
                  </a:lnTo>
                  <a:lnTo>
                    <a:pt x="3301936" y="1446658"/>
                  </a:lnTo>
                  <a:lnTo>
                    <a:pt x="3297174" y="1441895"/>
                  </a:lnTo>
                  <a:lnTo>
                    <a:pt x="3298079" y="1440991"/>
                  </a:lnTo>
                  <a:lnTo>
                    <a:pt x="3293268" y="1436179"/>
                  </a:lnTo>
                  <a:lnTo>
                    <a:pt x="3294459" y="1434989"/>
                  </a:lnTo>
                  <a:lnTo>
                    <a:pt x="3289649" y="1430179"/>
                  </a:lnTo>
                  <a:lnTo>
                    <a:pt x="3291030" y="1428798"/>
                  </a:lnTo>
                  <a:lnTo>
                    <a:pt x="3286029" y="1423797"/>
                  </a:lnTo>
                  <a:lnTo>
                    <a:pt x="3287648" y="1422178"/>
                  </a:lnTo>
                  <a:lnTo>
                    <a:pt x="3282505" y="1417034"/>
                  </a:lnTo>
                  <a:lnTo>
                    <a:pt x="3284266" y="1415273"/>
                  </a:lnTo>
                  <a:lnTo>
                    <a:pt x="3278885" y="1409891"/>
                  </a:lnTo>
                  <a:lnTo>
                    <a:pt x="3280695" y="1408081"/>
                  </a:lnTo>
                  <a:lnTo>
                    <a:pt x="3274980" y="1402366"/>
                  </a:lnTo>
                  <a:lnTo>
                    <a:pt x="3276743" y="1400604"/>
                  </a:lnTo>
                  <a:lnTo>
                    <a:pt x="3270599" y="1394460"/>
                  </a:lnTo>
                  <a:cubicBezTo>
                    <a:pt x="3270599" y="1391031"/>
                    <a:pt x="3273361" y="1388269"/>
                    <a:pt x="3276790" y="1388269"/>
                  </a:cubicBezTo>
                  <a:close/>
                  <a:moveTo>
                    <a:pt x="3237832" y="1386840"/>
                  </a:moveTo>
                  <a:cubicBezTo>
                    <a:pt x="3241261" y="1386840"/>
                    <a:pt x="3244023" y="1389602"/>
                    <a:pt x="3244023" y="1393031"/>
                  </a:cubicBezTo>
                  <a:cubicBezTo>
                    <a:pt x="3244023" y="1396460"/>
                    <a:pt x="3241261" y="1399223"/>
                    <a:pt x="3237832" y="1399223"/>
                  </a:cubicBezTo>
                  <a:cubicBezTo>
                    <a:pt x="3234403" y="1399223"/>
                    <a:pt x="3231641" y="1396460"/>
                    <a:pt x="3231641" y="1393031"/>
                  </a:cubicBezTo>
                  <a:cubicBezTo>
                    <a:pt x="3231641" y="1389602"/>
                    <a:pt x="3234403" y="1386840"/>
                    <a:pt x="3237832" y="1386840"/>
                  </a:cubicBezTo>
                  <a:close/>
                  <a:moveTo>
                    <a:pt x="714279" y="1386840"/>
                  </a:moveTo>
                  <a:cubicBezTo>
                    <a:pt x="717708" y="1386840"/>
                    <a:pt x="720471" y="1389602"/>
                    <a:pt x="720471" y="1393031"/>
                  </a:cubicBezTo>
                  <a:cubicBezTo>
                    <a:pt x="720471" y="1396460"/>
                    <a:pt x="717708" y="1399223"/>
                    <a:pt x="714279" y="1399223"/>
                  </a:cubicBezTo>
                  <a:cubicBezTo>
                    <a:pt x="710850" y="1399223"/>
                    <a:pt x="708088" y="1396460"/>
                    <a:pt x="708088" y="1393031"/>
                  </a:cubicBezTo>
                  <a:cubicBezTo>
                    <a:pt x="708088" y="1389602"/>
                    <a:pt x="710850" y="1386840"/>
                    <a:pt x="714279" y="1386840"/>
                  </a:cubicBezTo>
                  <a:close/>
                  <a:moveTo>
                    <a:pt x="3094957" y="1384078"/>
                  </a:moveTo>
                  <a:cubicBezTo>
                    <a:pt x="3098386" y="1384078"/>
                    <a:pt x="3101148" y="1386840"/>
                    <a:pt x="3101148" y="1390269"/>
                  </a:cubicBezTo>
                  <a:cubicBezTo>
                    <a:pt x="3101148" y="1393698"/>
                    <a:pt x="3098386" y="1396461"/>
                    <a:pt x="3094957" y="1396461"/>
                  </a:cubicBezTo>
                  <a:cubicBezTo>
                    <a:pt x="3091528" y="1396461"/>
                    <a:pt x="3088766" y="1393698"/>
                    <a:pt x="3088766" y="1390269"/>
                  </a:cubicBezTo>
                  <a:cubicBezTo>
                    <a:pt x="3088766" y="1386840"/>
                    <a:pt x="3091528" y="1384078"/>
                    <a:pt x="3094957" y="1384078"/>
                  </a:cubicBezTo>
                  <a:close/>
                  <a:moveTo>
                    <a:pt x="57816" y="1383792"/>
                  </a:moveTo>
                  <a:cubicBezTo>
                    <a:pt x="61245" y="1383792"/>
                    <a:pt x="64007" y="1386554"/>
                    <a:pt x="64007" y="1389983"/>
                  </a:cubicBezTo>
                  <a:cubicBezTo>
                    <a:pt x="64007" y="1393412"/>
                    <a:pt x="61245" y="1396175"/>
                    <a:pt x="57816" y="1396175"/>
                  </a:cubicBezTo>
                  <a:cubicBezTo>
                    <a:pt x="54387" y="1396175"/>
                    <a:pt x="51625" y="1393412"/>
                    <a:pt x="51625" y="1389983"/>
                  </a:cubicBezTo>
                  <a:cubicBezTo>
                    <a:pt x="51625" y="1386554"/>
                    <a:pt x="54387" y="1383792"/>
                    <a:pt x="57816" y="1383792"/>
                  </a:cubicBezTo>
                  <a:close/>
                  <a:moveTo>
                    <a:pt x="2579274" y="1382078"/>
                  </a:moveTo>
                  <a:cubicBezTo>
                    <a:pt x="2582703" y="1382078"/>
                    <a:pt x="2585465" y="1384840"/>
                    <a:pt x="2585465" y="1388269"/>
                  </a:cubicBezTo>
                  <a:cubicBezTo>
                    <a:pt x="2585465" y="1391698"/>
                    <a:pt x="2582703" y="1394461"/>
                    <a:pt x="2579274" y="1394461"/>
                  </a:cubicBezTo>
                  <a:cubicBezTo>
                    <a:pt x="2575845" y="1394461"/>
                    <a:pt x="2573083" y="1391698"/>
                    <a:pt x="2573083" y="1388269"/>
                  </a:cubicBezTo>
                  <a:cubicBezTo>
                    <a:pt x="2573083" y="1384840"/>
                    <a:pt x="2575845" y="1382078"/>
                    <a:pt x="2579274" y="1382078"/>
                  </a:cubicBezTo>
                  <a:close/>
                  <a:moveTo>
                    <a:pt x="100774" y="1381792"/>
                  </a:moveTo>
                  <a:cubicBezTo>
                    <a:pt x="104203" y="1381792"/>
                    <a:pt x="106965" y="1384554"/>
                    <a:pt x="106965" y="1387983"/>
                  </a:cubicBezTo>
                  <a:cubicBezTo>
                    <a:pt x="106965" y="1391412"/>
                    <a:pt x="104203" y="1394175"/>
                    <a:pt x="100774" y="1394175"/>
                  </a:cubicBezTo>
                  <a:cubicBezTo>
                    <a:pt x="97345" y="1394175"/>
                    <a:pt x="94583" y="1391412"/>
                    <a:pt x="94583" y="1387983"/>
                  </a:cubicBezTo>
                  <a:cubicBezTo>
                    <a:pt x="94583" y="1384554"/>
                    <a:pt x="97345" y="1381792"/>
                    <a:pt x="100774" y="1381792"/>
                  </a:cubicBezTo>
                  <a:close/>
                  <a:moveTo>
                    <a:pt x="3271932" y="1379887"/>
                  </a:moveTo>
                  <a:cubicBezTo>
                    <a:pt x="3275361" y="1379887"/>
                    <a:pt x="3278124" y="1382649"/>
                    <a:pt x="3278124" y="1386078"/>
                  </a:cubicBezTo>
                  <a:cubicBezTo>
                    <a:pt x="3278124" y="1389507"/>
                    <a:pt x="3275361" y="1392270"/>
                    <a:pt x="3271932" y="1392270"/>
                  </a:cubicBezTo>
                  <a:cubicBezTo>
                    <a:pt x="3268503" y="1392270"/>
                    <a:pt x="3265741" y="1389507"/>
                    <a:pt x="3265741" y="1386078"/>
                  </a:cubicBezTo>
                  <a:cubicBezTo>
                    <a:pt x="3265741" y="1382649"/>
                    <a:pt x="3268503" y="1379887"/>
                    <a:pt x="3271932" y="1379887"/>
                  </a:cubicBezTo>
                  <a:close/>
                  <a:moveTo>
                    <a:pt x="254793" y="1378554"/>
                  </a:moveTo>
                  <a:cubicBezTo>
                    <a:pt x="258222" y="1378554"/>
                    <a:pt x="260984" y="1381316"/>
                    <a:pt x="260984" y="1384745"/>
                  </a:cubicBezTo>
                  <a:cubicBezTo>
                    <a:pt x="260984" y="1388174"/>
                    <a:pt x="258222" y="1390937"/>
                    <a:pt x="254793" y="1390937"/>
                  </a:cubicBezTo>
                  <a:cubicBezTo>
                    <a:pt x="251364" y="1390937"/>
                    <a:pt x="248602" y="1388174"/>
                    <a:pt x="248602" y="1384745"/>
                  </a:cubicBezTo>
                  <a:cubicBezTo>
                    <a:pt x="248602" y="1381316"/>
                    <a:pt x="251364" y="1378554"/>
                    <a:pt x="254793" y="1378554"/>
                  </a:cubicBezTo>
                  <a:close/>
                  <a:moveTo>
                    <a:pt x="3225355" y="1377315"/>
                  </a:moveTo>
                  <a:cubicBezTo>
                    <a:pt x="3228784" y="1377315"/>
                    <a:pt x="3231546" y="1380077"/>
                    <a:pt x="3231546" y="1383506"/>
                  </a:cubicBezTo>
                  <a:cubicBezTo>
                    <a:pt x="3231546" y="1386935"/>
                    <a:pt x="3228784" y="1389698"/>
                    <a:pt x="3225355" y="1389698"/>
                  </a:cubicBezTo>
                  <a:cubicBezTo>
                    <a:pt x="3221926" y="1389698"/>
                    <a:pt x="3219164" y="1386935"/>
                    <a:pt x="3219164" y="1383506"/>
                  </a:cubicBezTo>
                  <a:cubicBezTo>
                    <a:pt x="3219164" y="1380077"/>
                    <a:pt x="3221926" y="1377315"/>
                    <a:pt x="3225355" y="1377315"/>
                  </a:cubicBezTo>
                  <a:close/>
                  <a:moveTo>
                    <a:pt x="799432" y="1376553"/>
                  </a:moveTo>
                  <a:cubicBezTo>
                    <a:pt x="802861" y="1376553"/>
                    <a:pt x="805624" y="1379315"/>
                    <a:pt x="805624" y="1382744"/>
                  </a:cubicBezTo>
                  <a:cubicBezTo>
                    <a:pt x="805624" y="1386173"/>
                    <a:pt x="802861" y="1388936"/>
                    <a:pt x="799432" y="1388936"/>
                  </a:cubicBezTo>
                  <a:cubicBezTo>
                    <a:pt x="796003" y="1388936"/>
                    <a:pt x="793241" y="1386173"/>
                    <a:pt x="793241" y="1382744"/>
                  </a:cubicBezTo>
                  <a:cubicBezTo>
                    <a:pt x="793241" y="1379315"/>
                    <a:pt x="796003" y="1376553"/>
                    <a:pt x="799432" y="1376553"/>
                  </a:cubicBezTo>
                  <a:close/>
                  <a:moveTo>
                    <a:pt x="63055" y="1375220"/>
                  </a:moveTo>
                  <a:cubicBezTo>
                    <a:pt x="66484" y="1375220"/>
                    <a:pt x="69247" y="1377982"/>
                    <a:pt x="69247" y="1381411"/>
                  </a:cubicBezTo>
                  <a:cubicBezTo>
                    <a:pt x="69247" y="1384840"/>
                    <a:pt x="66484" y="1387603"/>
                    <a:pt x="63055" y="1387603"/>
                  </a:cubicBezTo>
                  <a:cubicBezTo>
                    <a:pt x="59626" y="1387603"/>
                    <a:pt x="56864" y="1384840"/>
                    <a:pt x="56864" y="1381411"/>
                  </a:cubicBezTo>
                  <a:cubicBezTo>
                    <a:pt x="56864" y="1377982"/>
                    <a:pt x="59626" y="1375220"/>
                    <a:pt x="63055" y="1375220"/>
                  </a:cubicBezTo>
                  <a:close/>
                  <a:moveTo>
                    <a:pt x="28765" y="1374934"/>
                  </a:moveTo>
                  <a:cubicBezTo>
                    <a:pt x="29051" y="1374934"/>
                    <a:pt x="29337" y="1375220"/>
                    <a:pt x="29337" y="1375505"/>
                  </a:cubicBezTo>
                  <a:cubicBezTo>
                    <a:pt x="29337" y="1375791"/>
                    <a:pt x="28765" y="1376077"/>
                    <a:pt x="28765" y="1376077"/>
                  </a:cubicBezTo>
                  <a:cubicBezTo>
                    <a:pt x="28480" y="1376077"/>
                    <a:pt x="28194" y="1375791"/>
                    <a:pt x="28194" y="1375505"/>
                  </a:cubicBezTo>
                  <a:cubicBezTo>
                    <a:pt x="28194" y="1375220"/>
                    <a:pt x="28480" y="1374934"/>
                    <a:pt x="28765" y="1374934"/>
                  </a:cubicBezTo>
                  <a:close/>
                  <a:moveTo>
                    <a:pt x="3061144" y="1373696"/>
                  </a:moveTo>
                  <a:cubicBezTo>
                    <a:pt x="3064573" y="1373696"/>
                    <a:pt x="3067335" y="1376458"/>
                    <a:pt x="3067335" y="1379887"/>
                  </a:cubicBezTo>
                  <a:cubicBezTo>
                    <a:pt x="3067335" y="1383316"/>
                    <a:pt x="3064573" y="1386078"/>
                    <a:pt x="3061144" y="1386078"/>
                  </a:cubicBezTo>
                  <a:cubicBezTo>
                    <a:pt x="3057715" y="1386078"/>
                    <a:pt x="3054953" y="1383316"/>
                    <a:pt x="3054953" y="1379887"/>
                  </a:cubicBezTo>
                  <a:cubicBezTo>
                    <a:pt x="3054953" y="1376458"/>
                    <a:pt x="3057715" y="1373696"/>
                    <a:pt x="3061144" y="1373696"/>
                  </a:cubicBezTo>
                  <a:close/>
                  <a:moveTo>
                    <a:pt x="114204" y="1371981"/>
                  </a:moveTo>
                  <a:cubicBezTo>
                    <a:pt x="117633" y="1371981"/>
                    <a:pt x="120396" y="1374743"/>
                    <a:pt x="120396" y="1378172"/>
                  </a:cubicBezTo>
                  <a:cubicBezTo>
                    <a:pt x="120396" y="1381601"/>
                    <a:pt x="117633" y="1384364"/>
                    <a:pt x="114204" y="1384364"/>
                  </a:cubicBezTo>
                  <a:cubicBezTo>
                    <a:pt x="110775" y="1384364"/>
                    <a:pt x="108013" y="1381601"/>
                    <a:pt x="108013" y="1378172"/>
                  </a:cubicBezTo>
                  <a:cubicBezTo>
                    <a:pt x="108013" y="1374743"/>
                    <a:pt x="110775" y="1371981"/>
                    <a:pt x="114204" y="1371981"/>
                  </a:cubicBezTo>
                  <a:close/>
                  <a:moveTo>
                    <a:pt x="2490501" y="1371791"/>
                  </a:moveTo>
                  <a:cubicBezTo>
                    <a:pt x="2493930" y="1371791"/>
                    <a:pt x="2496692" y="1374553"/>
                    <a:pt x="2496692" y="1377982"/>
                  </a:cubicBezTo>
                  <a:cubicBezTo>
                    <a:pt x="2496692" y="1381411"/>
                    <a:pt x="2493930" y="1384174"/>
                    <a:pt x="2490501" y="1384174"/>
                  </a:cubicBezTo>
                  <a:cubicBezTo>
                    <a:pt x="2487072" y="1384174"/>
                    <a:pt x="2484310" y="1381411"/>
                    <a:pt x="2484310" y="1377982"/>
                  </a:cubicBezTo>
                  <a:cubicBezTo>
                    <a:pt x="2484310" y="1374553"/>
                    <a:pt x="2487072" y="1371791"/>
                    <a:pt x="2490501" y="1371791"/>
                  </a:cubicBezTo>
                  <a:close/>
                  <a:moveTo>
                    <a:pt x="3266407" y="1371029"/>
                  </a:moveTo>
                  <a:cubicBezTo>
                    <a:pt x="3269836" y="1371029"/>
                    <a:pt x="3272598" y="1373791"/>
                    <a:pt x="3272598" y="1377220"/>
                  </a:cubicBezTo>
                  <a:cubicBezTo>
                    <a:pt x="3272598" y="1380649"/>
                    <a:pt x="3269836" y="1383412"/>
                    <a:pt x="3266407" y="1383412"/>
                  </a:cubicBezTo>
                  <a:cubicBezTo>
                    <a:pt x="3262978" y="1383412"/>
                    <a:pt x="3260216" y="1380649"/>
                    <a:pt x="3260216" y="1377220"/>
                  </a:cubicBezTo>
                  <a:cubicBezTo>
                    <a:pt x="3260216" y="1373791"/>
                    <a:pt x="3262978" y="1371029"/>
                    <a:pt x="3266407" y="1371029"/>
                  </a:cubicBezTo>
                  <a:close/>
                  <a:moveTo>
                    <a:pt x="290797" y="1367981"/>
                  </a:moveTo>
                  <a:cubicBezTo>
                    <a:pt x="294226" y="1367981"/>
                    <a:pt x="296989" y="1370743"/>
                    <a:pt x="296989" y="1374172"/>
                  </a:cubicBezTo>
                  <a:cubicBezTo>
                    <a:pt x="296989" y="1377601"/>
                    <a:pt x="294226" y="1380364"/>
                    <a:pt x="290797" y="1380364"/>
                  </a:cubicBezTo>
                  <a:cubicBezTo>
                    <a:pt x="287368" y="1380364"/>
                    <a:pt x="284606" y="1377601"/>
                    <a:pt x="284606" y="1374172"/>
                  </a:cubicBezTo>
                  <a:cubicBezTo>
                    <a:pt x="284606" y="1370743"/>
                    <a:pt x="287368" y="1367981"/>
                    <a:pt x="290797" y="1367981"/>
                  </a:cubicBezTo>
                  <a:close/>
                  <a:moveTo>
                    <a:pt x="3210972" y="1367314"/>
                  </a:moveTo>
                  <a:cubicBezTo>
                    <a:pt x="3214401" y="1367314"/>
                    <a:pt x="3217164" y="1370076"/>
                    <a:pt x="3217164" y="1373505"/>
                  </a:cubicBezTo>
                  <a:cubicBezTo>
                    <a:pt x="3217164" y="1376934"/>
                    <a:pt x="3214401" y="1379697"/>
                    <a:pt x="3210972" y="1379697"/>
                  </a:cubicBezTo>
                  <a:cubicBezTo>
                    <a:pt x="3207543" y="1379697"/>
                    <a:pt x="3204781" y="1376934"/>
                    <a:pt x="3204781" y="1373505"/>
                  </a:cubicBezTo>
                  <a:cubicBezTo>
                    <a:pt x="3204781" y="1370076"/>
                    <a:pt x="3207543" y="1367314"/>
                    <a:pt x="3210972" y="1367314"/>
                  </a:cubicBezTo>
                  <a:close/>
                  <a:moveTo>
                    <a:pt x="892492" y="1366171"/>
                  </a:moveTo>
                  <a:cubicBezTo>
                    <a:pt x="895921" y="1366171"/>
                    <a:pt x="898683" y="1368933"/>
                    <a:pt x="898683" y="1372362"/>
                  </a:cubicBezTo>
                  <a:cubicBezTo>
                    <a:pt x="898683" y="1375791"/>
                    <a:pt x="895921" y="1378554"/>
                    <a:pt x="892492" y="1378554"/>
                  </a:cubicBezTo>
                  <a:cubicBezTo>
                    <a:pt x="889063" y="1378554"/>
                    <a:pt x="886301" y="1375791"/>
                    <a:pt x="886301" y="1372362"/>
                  </a:cubicBezTo>
                  <a:cubicBezTo>
                    <a:pt x="886301" y="1368933"/>
                    <a:pt x="889063" y="1366171"/>
                    <a:pt x="892492" y="1366171"/>
                  </a:cubicBezTo>
                  <a:close/>
                  <a:moveTo>
                    <a:pt x="69151" y="1366171"/>
                  </a:moveTo>
                  <a:cubicBezTo>
                    <a:pt x="72580" y="1366171"/>
                    <a:pt x="75342" y="1368933"/>
                    <a:pt x="75342" y="1372362"/>
                  </a:cubicBezTo>
                  <a:cubicBezTo>
                    <a:pt x="75342" y="1375791"/>
                    <a:pt x="72580" y="1378554"/>
                    <a:pt x="69151" y="1378554"/>
                  </a:cubicBezTo>
                  <a:cubicBezTo>
                    <a:pt x="65722" y="1378554"/>
                    <a:pt x="62960" y="1375791"/>
                    <a:pt x="62960" y="1372362"/>
                  </a:cubicBezTo>
                  <a:cubicBezTo>
                    <a:pt x="62960" y="1368933"/>
                    <a:pt x="65722" y="1366171"/>
                    <a:pt x="69151" y="1366171"/>
                  </a:cubicBezTo>
                  <a:close/>
                  <a:moveTo>
                    <a:pt x="51148" y="1364647"/>
                  </a:moveTo>
                  <a:cubicBezTo>
                    <a:pt x="54577" y="1364647"/>
                    <a:pt x="57340" y="1367409"/>
                    <a:pt x="57340" y="1370838"/>
                  </a:cubicBezTo>
                  <a:lnTo>
                    <a:pt x="51386" y="1376792"/>
                  </a:lnTo>
                  <a:lnTo>
                    <a:pt x="53339" y="1378744"/>
                  </a:lnTo>
                  <a:lnTo>
                    <a:pt x="47673" y="1384411"/>
                  </a:lnTo>
                  <a:lnTo>
                    <a:pt x="49435" y="1386173"/>
                  </a:lnTo>
                  <a:lnTo>
                    <a:pt x="43862" y="1391746"/>
                  </a:lnTo>
                  <a:lnTo>
                    <a:pt x="45339" y="1393222"/>
                  </a:lnTo>
                  <a:lnTo>
                    <a:pt x="39910" y="1398651"/>
                  </a:lnTo>
                  <a:lnTo>
                    <a:pt x="41148" y="1399889"/>
                  </a:lnTo>
                  <a:lnTo>
                    <a:pt x="35766" y="1405271"/>
                  </a:lnTo>
                  <a:lnTo>
                    <a:pt x="36576" y="1406081"/>
                  </a:lnTo>
                  <a:cubicBezTo>
                    <a:pt x="36576" y="1409510"/>
                    <a:pt x="33813" y="1412272"/>
                    <a:pt x="30384" y="1412272"/>
                  </a:cubicBezTo>
                  <a:lnTo>
                    <a:pt x="30099" y="1411987"/>
                  </a:lnTo>
                  <a:lnTo>
                    <a:pt x="25432" y="1416654"/>
                  </a:lnTo>
                  <a:cubicBezTo>
                    <a:pt x="22765" y="1416654"/>
                    <a:pt x="20669" y="1414558"/>
                    <a:pt x="20669" y="1411892"/>
                  </a:cubicBezTo>
                  <a:lnTo>
                    <a:pt x="25336" y="1407225"/>
                  </a:lnTo>
                  <a:lnTo>
                    <a:pt x="24193" y="1406081"/>
                  </a:lnTo>
                  <a:lnTo>
                    <a:pt x="29575" y="1400699"/>
                  </a:lnTo>
                  <a:lnTo>
                    <a:pt x="28765" y="1399889"/>
                  </a:lnTo>
                  <a:lnTo>
                    <a:pt x="34194" y="1394460"/>
                  </a:lnTo>
                  <a:lnTo>
                    <a:pt x="32956" y="1393222"/>
                  </a:lnTo>
                  <a:lnTo>
                    <a:pt x="38528" y="1387650"/>
                  </a:lnTo>
                  <a:lnTo>
                    <a:pt x="37052" y="1386173"/>
                  </a:lnTo>
                  <a:lnTo>
                    <a:pt x="42719" y="1380506"/>
                  </a:lnTo>
                  <a:lnTo>
                    <a:pt x="40957" y="1378744"/>
                  </a:lnTo>
                  <a:lnTo>
                    <a:pt x="46910" y="1372791"/>
                  </a:lnTo>
                  <a:lnTo>
                    <a:pt x="44957" y="1370838"/>
                  </a:lnTo>
                  <a:cubicBezTo>
                    <a:pt x="44957" y="1367409"/>
                    <a:pt x="47719" y="1364647"/>
                    <a:pt x="51148" y="1364647"/>
                  </a:cubicBezTo>
                  <a:close/>
                  <a:moveTo>
                    <a:pt x="3023139" y="1363028"/>
                  </a:moveTo>
                  <a:cubicBezTo>
                    <a:pt x="3026568" y="1363028"/>
                    <a:pt x="3029331" y="1365790"/>
                    <a:pt x="3029331" y="1369219"/>
                  </a:cubicBezTo>
                  <a:cubicBezTo>
                    <a:pt x="3029331" y="1372648"/>
                    <a:pt x="3026568" y="1375411"/>
                    <a:pt x="3023139" y="1375411"/>
                  </a:cubicBezTo>
                  <a:cubicBezTo>
                    <a:pt x="3019710" y="1375411"/>
                    <a:pt x="3016948" y="1372648"/>
                    <a:pt x="3016948" y="1369219"/>
                  </a:cubicBezTo>
                  <a:cubicBezTo>
                    <a:pt x="3016948" y="1365790"/>
                    <a:pt x="3019710" y="1363028"/>
                    <a:pt x="3023139" y="1363028"/>
                  </a:cubicBezTo>
                  <a:close/>
                  <a:moveTo>
                    <a:pt x="3259931" y="1361790"/>
                  </a:moveTo>
                  <a:cubicBezTo>
                    <a:pt x="3263360" y="1361790"/>
                    <a:pt x="3266122" y="1364552"/>
                    <a:pt x="3266122" y="1367981"/>
                  </a:cubicBezTo>
                  <a:cubicBezTo>
                    <a:pt x="3266122" y="1371410"/>
                    <a:pt x="3263360" y="1374172"/>
                    <a:pt x="3259931" y="1374172"/>
                  </a:cubicBezTo>
                  <a:cubicBezTo>
                    <a:pt x="3256502" y="1374172"/>
                    <a:pt x="3253740" y="1371410"/>
                    <a:pt x="3253740" y="1367981"/>
                  </a:cubicBezTo>
                  <a:cubicBezTo>
                    <a:pt x="3253740" y="1364552"/>
                    <a:pt x="3256502" y="1361790"/>
                    <a:pt x="3259931" y="1361790"/>
                  </a:cubicBezTo>
                  <a:close/>
                  <a:moveTo>
                    <a:pt x="129920" y="1361790"/>
                  </a:moveTo>
                  <a:cubicBezTo>
                    <a:pt x="133349" y="1361790"/>
                    <a:pt x="136112" y="1364552"/>
                    <a:pt x="136112" y="1367981"/>
                  </a:cubicBezTo>
                  <a:cubicBezTo>
                    <a:pt x="136112" y="1371410"/>
                    <a:pt x="133349" y="1374172"/>
                    <a:pt x="129920" y="1374172"/>
                  </a:cubicBezTo>
                  <a:cubicBezTo>
                    <a:pt x="126491" y="1374172"/>
                    <a:pt x="123729" y="1371410"/>
                    <a:pt x="123729" y="1367981"/>
                  </a:cubicBezTo>
                  <a:cubicBezTo>
                    <a:pt x="123729" y="1364552"/>
                    <a:pt x="126491" y="1361790"/>
                    <a:pt x="129920" y="1361790"/>
                  </a:cubicBezTo>
                  <a:close/>
                  <a:moveTo>
                    <a:pt x="2393632" y="1361218"/>
                  </a:moveTo>
                  <a:cubicBezTo>
                    <a:pt x="2397061" y="1361218"/>
                    <a:pt x="2399824" y="1363980"/>
                    <a:pt x="2399824" y="1367409"/>
                  </a:cubicBezTo>
                  <a:cubicBezTo>
                    <a:pt x="2399824" y="1370838"/>
                    <a:pt x="2397061" y="1373601"/>
                    <a:pt x="2393632" y="1373601"/>
                  </a:cubicBezTo>
                  <a:cubicBezTo>
                    <a:pt x="2390203" y="1373601"/>
                    <a:pt x="2387441" y="1370838"/>
                    <a:pt x="2387441" y="1367409"/>
                  </a:cubicBezTo>
                  <a:cubicBezTo>
                    <a:pt x="2387441" y="1363980"/>
                    <a:pt x="2390203" y="1361218"/>
                    <a:pt x="2393632" y="1361218"/>
                  </a:cubicBezTo>
                  <a:close/>
                  <a:moveTo>
                    <a:pt x="3279171" y="1360837"/>
                  </a:moveTo>
                  <a:cubicBezTo>
                    <a:pt x="3282600" y="1360837"/>
                    <a:pt x="3285363" y="1363599"/>
                    <a:pt x="3285363" y="1367028"/>
                  </a:cubicBezTo>
                  <a:lnTo>
                    <a:pt x="3283315" y="1369076"/>
                  </a:lnTo>
                  <a:lnTo>
                    <a:pt x="3289363" y="1375124"/>
                  </a:lnTo>
                  <a:lnTo>
                    <a:pt x="3287505" y="1376982"/>
                  </a:lnTo>
                  <a:lnTo>
                    <a:pt x="3293268" y="1382744"/>
                  </a:lnTo>
                  <a:lnTo>
                    <a:pt x="3291649" y="1384364"/>
                  </a:lnTo>
                  <a:lnTo>
                    <a:pt x="3297269" y="1389983"/>
                  </a:lnTo>
                  <a:lnTo>
                    <a:pt x="3295888" y="1391365"/>
                  </a:lnTo>
                  <a:lnTo>
                    <a:pt x="3301365" y="1396841"/>
                  </a:lnTo>
                  <a:lnTo>
                    <a:pt x="3300412" y="1397794"/>
                  </a:lnTo>
                  <a:lnTo>
                    <a:pt x="3305842" y="1403223"/>
                  </a:lnTo>
                  <a:lnTo>
                    <a:pt x="3305127" y="1403938"/>
                  </a:lnTo>
                  <a:lnTo>
                    <a:pt x="3310508" y="1409319"/>
                  </a:lnTo>
                  <a:lnTo>
                    <a:pt x="3310270" y="1409557"/>
                  </a:lnTo>
                  <a:lnTo>
                    <a:pt x="3315033" y="1414320"/>
                  </a:lnTo>
                  <a:lnTo>
                    <a:pt x="3315175" y="1414177"/>
                  </a:lnTo>
                  <a:lnTo>
                    <a:pt x="3320795" y="1419797"/>
                  </a:lnTo>
                  <a:lnTo>
                    <a:pt x="3321462" y="1419130"/>
                  </a:lnTo>
                  <a:lnTo>
                    <a:pt x="3327272" y="1424940"/>
                  </a:lnTo>
                  <a:lnTo>
                    <a:pt x="3328415" y="1423797"/>
                  </a:lnTo>
                  <a:cubicBezTo>
                    <a:pt x="3331844" y="1423797"/>
                    <a:pt x="3334606" y="1426559"/>
                    <a:pt x="3334606" y="1429988"/>
                  </a:cubicBezTo>
                  <a:cubicBezTo>
                    <a:pt x="3334606" y="1433417"/>
                    <a:pt x="3331844" y="1436180"/>
                    <a:pt x="3328415" y="1436180"/>
                  </a:cubicBezTo>
                  <a:lnTo>
                    <a:pt x="3322605" y="1430370"/>
                  </a:lnTo>
                  <a:lnTo>
                    <a:pt x="3321462" y="1431513"/>
                  </a:lnTo>
                  <a:lnTo>
                    <a:pt x="3315842" y="1425892"/>
                  </a:lnTo>
                  <a:lnTo>
                    <a:pt x="3315175" y="1426559"/>
                  </a:lnTo>
                  <a:lnTo>
                    <a:pt x="3309699" y="1421083"/>
                  </a:lnTo>
                  <a:lnTo>
                    <a:pt x="3309556" y="1421226"/>
                  </a:lnTo>
                  <a:cubicBezTo>
                    <a:pt x="3306127" y="1421226"/>
                    <a:pt x="3303365" y="1418463"/>
                    <a:pt x="3303365" y="1415034"/>
                  </a:cubicBezTo>
                  <a:lnTo>
                    <a:pt x="3303603" y="1414797"/>
                  </a:lnTo>
                  <a:lnTo>
                    <a:pt x="3298126" y="1409319"/>
                  </a:lnTo>
                  <a:lnTo>
                    <a:pt x="3298840" y="1408605"/>
                  </a:lnTo>
                  <a:lnTo>
                    <a:pt x="3293459" y="1403223"/>
                  </a:lnTo>
                  <a:lnTo>
                    <a:pt x="3294412" y="1402271"/>
                  </a:lnTo>
                  <a:lnTo>
                    <a:pt x="3288982" y="1396841"/>
                  </a:lnTo>
                  <a:lnTo>
                    <a:pt x="3290363" y="1395461"/>
                  </a:lnTo>
                  <a:lnTo>
                    <a:pt x="3284886" y="1389983"/>
                  </a:lnTo>
                  <a:lnTo>
                    <a:pt x="3286505" y="1388364"/>
                  </a:lnTo>
                  <a:lnTo>
                    <a:pt x="3280886" y="1382744"/>
                  </a:lnTo>
                  <a:lnTo>
                    <a:pt x="3282744" y="1380887"/>
                  </a:lnTo>
                  <a:lnTo>
                    <a:pt x="3276981" y="1375124"/>
                  </a:lnTo>
                  <a:lnTo>
                    <a:pt x="3279028" y="1373077"/>
                  </a:lnTo>
                  <a:lnTo>
                    <a:pt x="3272980" y="1367028"/>
                  </a:lnTo>
                  <a:cubicBezTo>
                    <a:pt x="3272980" y="1363599"/>
                    <a:pt x="3275742" y="1360837"/>
                    <a:pt x="3279171" y="1360837"/>
                  </a:cubicBezTo>
                  <a:close/>
                  <a:moveTo>
                    <a:pt x="3326415" y="1359123"/>
                  </a:moveTo>
                  <a:cubicBezTo>
                    <a:pt x="3327730" y="1359123"/>
                    <a:pt x="3328797" y="1360189"/>
                    <a:pt x="3328797" y="1361504"/>
                  </a:cubicBezTo>
                  <a:cubicBezTo>
                    <a:pt x="3328797" y="1362819"/>
                    <a:pt x="3327730" y="1363885"/>
                    <a:pt x="3326415" y="1363885"/>
                  </a:cubicBezTo>
                  <a:cubicBezTo>
                    <a:pt x="3325100" y="1363885"/>
                    <a:pt x="3324034" y="1362819"/>
                    <a:pt x="3324034" y="1361504"/>
                  </a:cubicBezTo>
                  <a:cubicBezTo>
                    <a:pt x="3324034" y="1360189"/>
                    <a:pt x="3325100" y="1359123"/>
                    <a:pt x="3326415" y="1359123"/>
                  </a:cubicBezTo>
                  <a:close/>
                  <a:moveTo>
                    <a:pt x="331183" y="1357027"/>
                  </a:moveTo>
                  <a:cubicBezTo>
                    <a:pt x="334612" y="1357027"/>
                    <a:pt x="337374" y="1359789"/>
                    <a:pt x="337374" y="1363218"/>
                  </a:cubicBezTo>
                  <a:cubicBezTo>
                    <a:pt x="337374" y="1366647"/>
                    <a:pt x="334612" y="1369409"/>
                    <a:pt x="331183" y="1369409"/>
                  </a:cubicBezTo>
                  <a:cubicBezTo>
                    <a:pt x="327754" y="1369409"/>
                    <a:pt x="324992" y="1366647"/>
                    <a:pt x="324992" y="1363218"/>
                  </a:cubicBezTo>
                  <a:cubicBezTo>
                    <a:pt x="324992" y="1359789"/>
                    <a:pt x="327754" y="1357027"/>
                    <a:pt x="331183" y="1357027"/>
                  </a:cubicBezTo>
                  <a:close/>
                  <a:moveTo>
                    <a:pt x="3194208" y="1356932"/>
                  </a:moveTo>
                  <a:cubicBezTo>
                    <a:pt x="3197637" y="1356932"/>
                    <a:pt x="3200399" y="1359694"/>
                    <a:pt x="3200399" y="1363123"/>
                  </a:cubicBezTo>
                  <a:cubicBezTo>
                    <a:pt x="3200399" y="1366552"/>
                    <a:pt x="3197637" y="1369315"/>
                    <a:pt x="3194208" y="1369315"/>
                  </a:cubicBezTo>
                  <a:cubicBezTo>
                    <a:pt x="3190779" y="1369315"/>
                    <a:pt x="3188017" y="1366552"/>
                    <a:pt x="3188017" y="1363123"/>
                  </a:cubicBezTo>
                  <a:cubicBezTo>
                    <a:pt x="3188017" y="1359694"/>
                    <a:pt x="3190779" y="1356932"/>
                    <a:pt x="3194208" y="1356932"/>
                  </a:cubicBezTo>
                  <a:close/>
                  <a:moveTo>
                    <a:pt x="76104" y="1356646"/>
                  </a:moveTo>
                  <a:cubicBezTo>
                    <a:pt x="79533" y="1356646"/>
                    <a:pt x="82296" y="1359408"/>
                    <a:pt x="82296" y="1362837"/>
                  </a:cubicBezTo>
                  <a:cubicBezTo>
                    <a:pt x="82296" y="1366266"/>
                    <a:pt x="79533" y="1369029"/>
                    <a:pt x="76104" y="1369029"/>
                  </a:cubicBezTo>
                  <a:cubicBezTo>
                    <a:pt x="72675" y="1369029"/>
                    <a:pt x="69913" y="1366266"/>
                    <a:pt x="69913" y="1362837"/>
                  </a:cubicBezTo>
                  <a:cubicBezTo>
                    <a:pt x="69913" y="1359408"/>
                    <a:pt x="72675" y="1356646"/>
                    <a:pt x="76104" y="1356646"/>
                  </a:cubicBezTo>
                  <a:close/>
                  <a:moveTo>
                    <a:pt x="55244" y="1356265"/>
                  </a:moveTo>
                  <a:cubicBezTo>
                    <a:pt x="58673" y="1356265"/>
                    <a:pt x="61435" y="1359027"/>
                    <a:pt x="61435" y="1362456"/>
                  </a:cubicBezTo>
                  <a:cubicBezTo>
                    <a:pt x="61435" y="1365885"/>
                    <a:pt x="58673" y="1368647"/>
                    <a:pt x="55244" y="1368647"/>
                  </a:cubicBezTo>
                  <a:cubicBezTo>
                    <a:pt x="51815" y="1368647"/>
                    <a:pt x="49053" y="1365885"/>
                    <a:pt x="49053" y="1362456"/>
                  </a:cubicBezTo>
                  <a:cubicBezTo>
                    <a:pt x="49053" y="1359027"/>
                    <a:pt x="51815" y="1356265"/>
                    <a:pt x="55244" y="1356265"/>
                  </a:cubicBezTo>
                  <a:close/>
                  <a:moveTo>
                    <a:pt x="993838" y="1355503"/>
                  </a:moveTo>
                  <a:cubicBezTo>
                    <a:pt x="997267" y="1355503"/>
                    <a:pt x="1000029" y="1358265"/>
                    <a:pt x="1000029" y="1361694"/>
                  </a:cubicBezTo>
                  <a:cubicBezTo>
                    <a:pt x="1000029" y="1365123"/>
                    <a:pt x="997267" y="1367886"/>
                    <a:pt x="993838" y="1367886"/>
                  </a:cubicBezTo>
                  <a:cubicBezTo>
                    <a:pt x="990409" y="1367886"/>
                    <a:pt x="987647" y="1365123"/>
                    <a:pt x="987647" y="1361694"/>
                  </a:cubicBezTo>
                  <a:cubicBezTo>
                    <a:pt x="987647" y="1358265"/>
                    <a:pt x="990409" y="1355503"/>
                    <a:pt x="993838" y="1355503"/>
                  </a:cubicBezTo>
                  <a:close/>
                  <a:moveTo>
                    <a:pt x="3274980" y="1352265"/>
                  </a:moveTo>
                  <a:cubicBezTo>
                    <a:pt x="3278409" y="1352265"/>
                    <a:pt x="3281172" y="1355027"/>
                    <a:pt x="3281172" y="1358456"/>
                  </a:cubicBezTo>
                  <a:cubicBezTo>
                    <a:pt x="3281172" y="1361885"/>
                    <a:pt x="3278409" y="1364647"/>
                    <a:pt x="3274980" y="1364647"/>
                  </a:cubicBezTo>
                  <a:cubicBezTo>
                    <a:pt x="3271551" y="1364647"/>
                    <a:pt x="3268789" y="1361885"/>
                    <a:pt x="3268789" y="1358456"/>
                  </a:cubicBezTo>
                  <a:cubicBezTo>
                    <a:pt x="3268789" y="1355027"/>
                    <a:pt x="3271551" y="1352265"/>
                    <a:pt x="3274980" y="1352265"/>
                  </a:cubicBezTo>
                  <a:close/>
                  <a:moveTo>
                    <a:pt x="3252406" y="1352074"/>
                  </a:moveTo>
                  <a:cubicBezTo>
                    <a:pt x="3255835" y="1352074"/>
                    <a:pt x="3258597" y="1354836"/>
                    <a:pt x="3258597" y="1358265"/>
                  </a:cubicBezTo>
                  <a:cubicBezTo>
                    <a:pt x="3258597" y="1361694"/>
                    <a:pt x="3255835" y="1364457"/>
                    <a:pt x="3252406" y="1364457"/>
                  </a:cubicBezTo>
                  <a:cubicBezTo>
                    <a:pt x="3248977" y="1364457"/>
                    <a:pt x="3246215" y="1361694"/>
                    <a:pt x="3246215" y="1358265"/>
                  </a:cubicBezTo>
                  <a:cubicBezTo>
                    <a:pt x="3246215" y="1354836"/>
                    <a:pt x="3248977" y="1352074"/>
                    <a:pt x="3252406" y="1352074"/>
                  </a:cubicBezTo>
                  <a:close/>
                  <a:moveTo>
                    <a:pt x="2980657" y="1351788"/>
                  </a:moveTo>
                  <a:cubicBezTo>
                    <a:pt x="2984086" y="1351788"/>
                    <a:pt x="2986848" y="1354550"/>
                    <a:pt x="2986848" y="1357979"/>
                  </a:cubicBezTo>
                  <a:cubicBezTo>
                    <a:pt x="2986848" y="1361408"/>
                    <a:pt x="2984086" y="1364171"/>
                    <a:pt x="2980657" y="1364171"/>
                  </a:cubicBezTo>
                  <a:cubicBezTo>
                    <a:pt x="2977228" y="1364171"/>
                    <a:pt x="2974466" y="1361408"/>
                    <a:pt x="2974466" y="1357979"/>
                  </a:cubicBezTo>
                  <a:cubicBezTo>
                    <a:pt x="2974466" y="1354550"/>
                    <a:pt x="2977228" y="1351788"/>
                    <a:pt x="2980657" y="1351788"/>
                  </a:cubicBezTo>
                  <a:close/>
                  <a:moveTo>
                    <a:pt x="147923" y="1351121"/>
                  </a:moveTo>
                  <a:cubicBezTo>
                    <a:pt x="151352" y="1351121"/>
                    <a:pt x="154115" y="1353883"/>
                    <a:pt x="154115" y="1357312"/>
                  </a:cubicBezTo>
                  <a:cubicBezTo>
                    <a:pt x="154115" y="1360741"/>
                    <a:pt x="151352" y="1363504"/>
                    <a:pt x="147923" y="1363504"/>
                  </a:cubicBezTo>
                  <a:cubicBezTo>
                    <a:pt x="144494" y="1363504"/>
                    <a:pt x="141732" y="1360741"/>
                    <a:pt x="141732" y="1357312"/>
                  </a:cubicBezTo>
                  <a:cubicBezTo>
                    <a:pt x="141732" y="1353883"/>
                    <a:pt x="144494" y="1351121"/>
                    <a:pt x="147923" y="1351121"/>
                  </a:cubicBezTo>
                  <a:close/>
                  <a:moveTo>
                    <a:pt x="2288285" y="1350550"/>
                  </a:moveTo>
                  <a:cubicBezTo>
                    <a:pt x="2291714" y="1350550"/>
                    <a:pt x="2294477" y="1353312"/>
                    <a:pt x="2294477" y="1356741"/>
                  </a:cubicBezTo>
                  <a:cubicBezTo>
                    <a:pt x="2294477" y="1360170"/>
                    <a:pt x="2291714" y="1362933"/>
                    <a:pt x="2288285" y="1362933"/>
                  </a:cubicBezTo>
                  <a:cubicBezTo>
                    <a:pt x="2284856" y="1362933"/>
                    <a:pt x="2282094" y="1360170"/>
                    <a:pt x="2282094" y="1356741"/>
                  </a:cubicBezTo>
                  <a:cubicBezTo>
                    <a:pt x="2282094" y="1353312"/>
                    <a:pt x="2284856" y="1350550"/>
                    <a:pt x="2288285" y="1350550"/>
                  </a:cubicBezTo>
                  <a:close/>
                  <a:moveTo>
                    <a:pt x="3318128" y="1349788"/>
                  </a:moveTo>
                  <a:cubicBezTo>
                    <a:pt x="3321557" y="1349788"/>
                    <a:pt x="3324320" y="1352550"/>
                    <a:pt x="3324320" y="1355979"/>
                  </a:cubicBezTo>
                  <a:cubicBezTo>
                    <a:pt x="3324320" y="1359408"/>
                    <a:pt x="3321557" y="1362171"/>
                    <a:pt x="3318128" y="1362171"/>
                  </a:cubicBezTo>
                  <a:cubicBezTo>
                    <a:pt x="3314699" y="1362171"/>
                    <a:pt x="3311937" y="1359408"/>
                    <a:pt x="3311937" y="1355979"/>
                  </a:cubicBezTo>
                  <a:cubicBezTo>
                    <a:pt x="3311937" y="1352550"/>
                    <a:pt x="3314699" y="1349788"/>
                    <a:pt x="3318128" y="1349788"/>
                  </a:cubicBezTo>
                  <a:close/>
                  <a:moveTo>
                    <a:pt x="59531" y="1347502"/>
                  </a:moveTo>
                  <a:cubicBezTo>
                    <a:pt x="62951" y="1347502"/>
                    <a:pt x="65723" y="1350274"/>
                    <a:pt x="65723" y="1353693"/>
                  </a:cubicBezTo>
                  <a:cubicBezTo>
                    <a:pt x="65723" y="1357113"/>
                    <a:pt x="62951" y="1359884"/>
                    <a:pt x="59531" y="1359884"/>
                  </a:cubicBezTo>
                  <a:cubicBezTo>
                    <a:pt x="56112" y="1359884"/>
                    <a:pt x="53340" y="1357113"/>
                    <a:pt x="53340" y="1353693"/>
                  </a:cubicBezTo>
                  <a:cubicBezTo>
                    <a:pt x="53340" y="1350274"/>
                    <a:pt x="56112" y="1347502"/>
                    <a:pt x="59531" y="1347502"/>
                  </a:cubicBezTo>
                  <a:close/>
                  <a:moveTo>
                    <a:pt x="84296" y="1346645"/>
                  </a:moveTo>
                  <a:cubicBezTo>
                    <a:pt x="87716" y="1346645"/>
                    <a:pt x="90488" y="1349417"/>
                    <a:pt x="90488" y="1352836"/>
                  </a:cubicBezTo>
                  <a:cubicBezTo>
                    <a:pt x="90488" y="1356256"/>
                    <a:pt x="87716" y="1359027"/>
                    <a:pt x="84296" y="1359027"/>
                  </a:cubicBezTo>
                  <a:cubicBezTo>
                    <a:pt x="80877" y="1359027"/>
                    <a:pt x="78105" y="1356256"/>
                    <a:pt x="78105" y="1352836"/>
                  </a:cubicBezTo>
                  <a:cubicBezTo>
                    <a:pt x="78105" y="1349417"/>
                    <a:pt x="80877" y="1346645"/>
                    <a:pt x="84296" y="1346645"/>
                  </a:cubicBezTo>
                  <a:close/>
                  <a:moveTo>
                    <a:pt x="3174967" y="1346073"/>
                  </a:moveTo>
                  <a:cubicBezTo>
                    <a:pt x="3178396" y="1346073"/>
                    <a:pt x="3181159" y="1348835"/>
                    <a:pt x="3181159" y="1352264"/>
                  </a:cubicBezTo>
                  <a:cubicBezTo>
                    <a:pt x="3181159" y="1355693"/>
                    <a:pt x="3178396" y="1358456"/>
                    <a:pt x="3174967" y="1358456"/>
                  </a:cubicBezTo>
                  <a:cubicBezTo>
                    <a:pt x="3171538" y="1358456"/>
                    <a:pt x="3168776" y="1355693"/>
                    <a:pt x="3168776" y="1352264"/>
                  </a:cubicBezTo>
                  <a:cubicBezTo>
                    <a:pt x="3168776" y="1348835"/>
                    <a:pt x="3171538" y="1346073"/>
                    <a:pt x="3174967" y="1346073"/>
                  </a:cubicBezTo>
                  <a:close/>
                  <a:moveTo>
                    <a:pt x="376332" y="1345692"/>
                  </a:moveTo>
                  <a:cubicBezTo>
                    <a:pt x="379761" y="1345692"/>
                    <a:pt x="382523" y="1348454"/>
                    <a:pt x="382523" y="1351883"/>
                  </a:cubicBezTo>
                  <a:cubicBezTo>
                    <a:pt x="382523" y="1355312"/>
                    <a:pt x="379761" y="1358075"/>
                    <a:pt x="376332" y="1358075"/>
                  </a:cubicBezTo>
                  <a:cubicBezTo>
                    <a:pt x="372903" y="1358075"/>
                    <a:pt x="370141" y="1355312"/>
                    <a:pt x="370141" y="1351883"/>
                  </a:cubicBezTo>
                  <a:cubicBezTo>
                    <a:pt x="370141" y="1348454"/>
                    <a:pt x="372903" y="1345692"/>
                    <a:pt x="376332" y="1345692"/>
                  </a:cubicBezTo>
                  <a:close/>
                  <a:moveTo>
                    <a:pt x="3285839" y="1345121"/>
                  </a:moveTo>
                  <a:cubicBezTo>
                    <a:pt x="3289268" y="1345121"/>
                    <a:pt x="3292030" y="1347883"/>
                    <a:pt x="3292030" y="1351312"/>
                  </a:cubicBezTo>
                  <a:lnTo>
                    <a:pt x="3290601" y="1352741"/>
                  </a:lnTo>
                  <a:lnTo>
                    <a:pt x="3296697" y="1358837"/>
                  </a:lnTo>
                  <a:lnTo>
                    <a:pt x="3295650" y="1359885"/>
                  </a:lnTo>
                  <a:lnTo>
                    <a:pt x="3301651" y="1365885"/>
                  </a:lnTo>
                  <a:lnTo>
                    <a:pt x="3300983" y="1366553"/>
                  </a:lnTo>
                  <a:lnTo>
                    <a:pt x="3306984" y="1372553"/>
                  </a:lnTo>
                  <a:lnTo>
                    <a:pt x="3306746" y="1372791"/>
                  </a:lnTo>
                  <a:lnTo>
                    <a:pt x="3312747" y="1378792"/>
                  </a:lnTo>
                  <a:lnTo>
                    <a:pt x="3312985" y="1378554"/>
                  </a:lnTo>
                  <a:lnTo>
                    <a:pt x="3319129" y="1384698"/>
                  </a:lnTo>
                  <a:lnTo>
                    <a:pt x="3319843" y="1383983"/>
                  </a:lnTo>
                  <a:cubicBezTo>
                    <a:pt x="3323272" y="1383983"/>
                    <a:pt x="3326034" y="1386745"/>
                    <a:pt x="3326034" y="1390174"/>
                  </a:cubicBezTo>
                  <a:cubicBezTo>
                    <a:pt x="3326034" y="1393603"/>
                    <a:pt x="3323272" y="1396366"/>
                    <a:pt x="3319843" y="1396366"/>
                  </a:cubicBezTo>
                  <a:lnTo>
                    <a:pt x="3313700" y="1390222"/>
                  </a:lnTo>
                  <a:lnTo>
                    <a:pt x="3312985" y="1390937"/>
                  </a:lnTo>
                  <a:lnTo>
                    <a:pt x="3306841" y="1384792"/>
                  </a:lnTo>
                  <a:lnTo>
                    <a:pt x="3306603" y="1385030"/>
                  </a:lnTo>
                  <a:cubicBezTo>
                    <a:pt x="3303174" y="1385030"/>
                    <a:pt x="3300412" y="1382268"/>
                    <a:pt x="3300412" y="1378839"/>
                  </a:cubicBezTo>
                  <a:lnTo>
                    <a:pt x="3300650" y="1378602"/>
                  </a:lnTo>
                  <a:lnTo>
                    <a:pt x="3294602" y="1372553"/>
                  </a:lnTo>
                  <a:lnTo>
                    <a:pt x="3295269" y="1371886"/>
                  </a:lnTo>
                  <a:lnTo>
                    <a:pt x="3289268" y="1365885"/>
                  </a:lnTo>
                  <a:lnTo>
                    <a:pt x="3290315" y="1364838"/>
                  </a:lnTo>
                  <a:lnTo>
                    <a:pt x="3284315" y="1358837"/>
                  </a:lnTo>
                  <a:lnTo>
                    <a:pt x="3285744" y="1357408"/>
                  </a:lnTo>
                  <a:lnTo>
                    <a:pt x="3279648" y="1351312"/>
                  </a:lnTo>
                  <a:cubicBezTo>
                    <a:pt x="3279648" y="1347883"/>
                    <a:pt x="3282410" y="1345121"/>
                    <a:pt x="3285839" y="1345121"/>
                  </a:cubicBezTo>
                  <a:close/>
                  <a:moveTo>
                    <a:pt x="1103947" y="1344930"/>
                  </a:moveTo>
                  <a:cubicBezTo>
                    <a:pt x="1107376" y="1344930"/>
                    <a:pt x="1110139" y="1347692"/>
                    <a:pt x="1110139" y="1351121"/>
                  </a:cubicBezTo>
                  <a:cubicBezTo>
                    <a:pt x="1110139" y="1354550"/>
                    <a:pt x="1107376" y="1357313"/>
                    <a:pt x="1103947" y="1357313"/>
                  </a:cubicBezTo>
                  <a:cubicBezTo>
                    <a:pt x="1100518" y="1357313"/>
                    <a:pt x="1097756" y="1354550"/>
                    <a:pt x="1097756" y="1351121"/>
                  </a:cubicBezTo>
                  <a:cubicBezTo>
                    <a:pt x="1097756" y="1347692"/>
                    <a:pt x="1100518" y="1344930"/>
                    <a:pt x="1103947" y="1344930"/>
                  </a:cubicBezTo>
                  <a:close/>
                  <a:moveTo>
                    <a:pt x="3310508" y="1343883"/>
                  </a:moveTo>
                  <a:cubicBezTo>
                    <a:pt x="3313937" y="1343883"/>
                    <a:pt x="3316699" y="1346645"/>
                    <a:pt x="3316699" y="1350074"/>
                  </a:cubicBezTo>
                  <a:cubicBezTo>
                    <a:pt x="3316699" y="1353503"/>
                    <a:pt x="3313937" y="1356266"/>
                    <a:pt x="3310508" y="1356266"/>
                  </a:cubicBezTo>
                  <a:cubicBezTo>
                    <a:pt x="3307079" y="1356266"/>
                    <a:pt x="3304317" y="1353503"/>
                    <a:pt x="3304317" y="1350074"/>
                  </a:cubicBezTo>
                  <a:cubicBezTo>
                    <a:pt x="3304317" y="1346645"/>
                    <a:pt x="3307079" y="1343883"/>
                    <a:pt x="3310508" y="1343883"/>
                  </a:cubicBezTo>
                  <a:close/>
                  <a:moveTo>
                    <a:pt x="3270408" y="1343216"/>
                  </a:moveTo>
                  <a:cubicBezTo>
                    <a:pt x="3273837" y="1343216"/>
                    <a:pt x="3276599" y="1345978"/>
                    <a:pt x="3276599" y="1349407"/>
                  </a:cubicBezTo>
                  <a:cubicBezTo>
                    <a:pt x="3276599" y="1352836"/>
                    <a:pt x="3273837" y="1355599"/>
                    <a:pt x="3270408" y="1355599"/>
                  </a:cubicBezTo>
                  <a:cubicBezTo>
                    <a:pt x="3266979" y="1355599"/>
                    <a:pt x="3264217" y="1352836"/>
                    <a:pt x="3264217" y="1349407"/>
                  </a:cubicBezTo>
                  <a:cubicBezTo>
                    <a:pt x="3264217" y="1345978"/>
                    <a:pt x="3266979" y="1343216"/>
                    <a:pt x="3270408" y="1343216"/>
                  </a:cubicBezTo>
                  <a:close/>
                  <a:moveTo>
                    <a:pt x="3243548" y="1341882"/>
                  </a:moveTo>
                  <a:cubicBezTo>
                    <a:pt x="3246977" y="1341882"/>
                    <a:pt x="3249739" y="1344644"/>
                    <a:pt x="3249739" y="1348073"/>
                  </a:cubicBezTo>
                  <a:cubicBezTo>
                    <a:pt x="3249739" y="1351502"/>
                    <a:pt x="3246977" y="1354265"/>
                    <a:pt x="3243548" y="1354265"/>
                  </a:cubicBezTo>
                  <a:cubicBezTo>
                    <a:pt x="3240119" y="1354265"/>
                    <a:pt x="3237357" y="1351502"/>
                    <a:pt x="3237357" y="1348073"/>
                  </a:cubicBezTo>
                  <a:cubicBezTo>
                    <a:pt x="3237357" y="1344644"/>
                    <a:pt x="3240119" y="1341882"/>
                    <a:pt x="3243548" y="1341882"/>
                  </a:cubicBezTo>
                  <a:close/>
                  <a:moveTo>
                    <a:pt x="48767" y="1340834"/>
                  </a:moveTo>
                  <a:cubicBezTo>
                    <a:pt x="52196" y="1340834"/>
                    <a:pt x="54959" y="1343596"/>
                    <a:pt x="54959" y="1347025"/>
                  </a:cubicBezTo>
                  <a:lnTo>
                    <a:pt x="48815" y="1353169"/>
                  </a:lnTo>
                  <a:lnTo>
                    <a:pt x="50387" y="1354741"/>
                  </a:lnTo>
                  <a:lnTo>
                    <a:pt x="44291" y="1360836"/>
                  </a:lnTo>
                  <a:lnTo>
                    <a:pt x="45625" y="1362170"/>
                  </a:lnTo>
                  <a:lnTo>
                    <a:pt x="39623" y="1368171"/>
                  </a:lnTo>
                  <a:lnTo>
                    <a:pt x="40481" y="1369028"/>
                  </a:lnTo>
                  <a:cubicBezTo>
                    <a:pt x="40481" y="1372457"/>
                    <a:pt x="37718" y="1375219"/>
                    <a:pt x="34289" y="1375219"/>
                  </a:cubicBezTo>
                  <a:cubicBezTo>
                    <a:pt x="30860" y="1375219"/>
                    <a:pt x="28098" y="1372457"/>
                    <a:pt x="28098" y="1369028"/>
                  </a:cubicBezTo>
                  <a:lnTo>
                    <a:pt x="34099" y="1363027"/>
                  </a:lnTo>
                  <a:lnTo>
                    <a:pt x="33242" y="1362170"/>
                  </a:lnTo>
                  <a:lnTo>
                    <a:pt x="39337" y="1356075"/>
                  </a:lnTo>
                  <a:lnTo>
                    <a:pt x="38004" y="1354741"/>
                  </a:lnTo>
                  <a:lnTo>
                    <a:pt x="44148" y="1348597"/>
                  </a:lnTo>
                  <a:lnTo>
                    <a:pt x="42576" y="1347025"/>
                  </a:lnTo>
                  <a:cubicBezTo>
                    <a:pt x="42576" y="1343596"/>
                    <a:pt x="45338" y="1340834"/>
                    <a:pt x="48767" y="1340834"/>
                  </a:cubicBezTo>
                  <a:close/>
                  <a:moveTo>
                    <a:pt x="2933223" y="1340263"/>
                  </a:moveTo>
                  <a:cubicBezTo>
                    <a:pt x="2936652" y="1340263"/>
                    <a:pt x="2939415" y="1343025"/>
                    <a:pt x="2939415" y="1346454"/>
                  </a:cubicBezTo>
                  <a:cubicBezTo>
                    <a:pt x="2939415" y="1349883"/>
                    <a:pt x="2936652" y="1352646"/>
                    <a:pt x="2933223" y="1352646"/>
                  </a:cubicBezTo>
                  <a:cubicBezTo>
                    <a:pt x="2929794" y="1352646"/>
                    <a:pt x="2927032" y="1349883"/>
                    <a:pt x="2927032" y="1346454"/>
                  </a:cubicBezTo>
                  <a:cubicBezTo>
                    <a:pt x="2927032" y="1343025"/>
                    <a:pt x="2929794" y="1340263"/>
                    <a:pt x="2933223" y="1340263"/>
                  </a:cubicBezTo>
                  <a:close/>
                  <a:moveTo>
                    <a:pt x="2174081" y="1340072"/>
                  </a:moveTo>
                  <a:cubicBezTo>
                    <a:pt x="2177510" y="1340072"/>
                    <a:pt x="2180272" y="1342834"/>
                    <a:pt x="2180272" y="1346263"/>
                  </a:cubicBezTo>
                  <a:cubicBezTo>
                    <a:pt x="2180272" y="1349692"/>
                    <a:pt x="2177510" y="1352455"/>
                    <a:pt x="2174081" y="1352455"/>
                  </a:cubicBezTo>
                  <a:cubicBezTo>
                    <a:pt x="2170652" y="1352455"/>
                    <a:pt x="2167890" y="1349692"/>
                    <a:pt x="2167890" y="1346263"/>
                  </a:cubicBezTo>
                  <a:cubicBezTo>
                    <a:pt x="2167890" y="1342834"/>
                    <a:pt x="2170652" y="1340072"/>
                    <a:pt x="2174081" y="1340072"/>
                  </a:cubicBezTo>
                  <a:close/>
                  <a:moveTo>
                    <a:pt x="168687" y="1340072"/>
                  </a:moveTo>
                  <a:cubicBezTo>
                    <a:pt x="172116" y="1340072"/>
                    <a:pt x="174879" y="1342834"/>
                    <a:pt x="174879" y="1346263"/>
                  </a:cubicBezTo>
                  <a:cubicBezTo>
                    <a:pt x="174879" y="1349692"/>
                    <a:pt x="172116" y="1352455"/>
                    <a:pt x="168687" y="1352455"/>
                  </a:cubicBezTo>
                  <a:cubicBezTo>
                    <a:pt x="165258" y="1352455"/>
                    <a:pt x="162496" y="1349692"/>
                    <a:pt x="162496" y="1346263"/>
                  </a:cubicBezTo>
                  <a:cubicBezTo>
                    <a:pt x="162496" y="1342834"/>
                    <a:pt x="165258" y="1340072"/>
                    <a:pt x="168687" y="1340072"/>
                  </a:cubicBezTo>
                  <a:close/>
                  <a:moveTo>
                    <a:pt x="64388" y="1338263"/>
                  </a:moveTo>
                  <a:cubicBezTo>
                    <a:pt x="67817" y="1338263"/>
                    <a:pt x="70579" y="1341025"/>
                    <a:pt x="70579" y="1344454"/>
                  </a:cubicBezTo>
                  <a:cubicBezTo>
                    <a:pt x="70579" y="1347883"/>
                    <a:pt x="67817" y="1350645"/>
                    <a:pt x="64388" y="1350645"/>
                  </a:cubicBezTo>
                  <a:cubicBezTo>
                    <a:pt x="60959" y="1350645"/>
                    <a:pt x="58197" y="1347883"/>
                    <a:pt x="58197" y="1344454"/>
                  </a:cubicBezTo>
                  <a:cubicBezTo>
                    <a:pt x="58197" y="1341025"/>
                    <a:pt x="60959" y="1338263"/>
                    <a:pt x="64388" y="1338263"/>
                  </a:cubicBezTo>
                  <a:close/>
                  <a:moveTo>
                    <a:pt x="3303460" y="1337501"/>
                  </a:moveTo>
                  <a:cubicBezTo>
                    <a:pt x="3306889" y="1337501"/>
                    <a:pt x="3309651" y="1340263"/>
                    <a:pt x="3309651" y="1343692"/>
                  </a:cubicBezTo>
                  <a:cubicBezTo>
                    <a:pt x="3309651" y="1347121"/>
                    <a:pt x="3306889" y="1349884"/>
                    <a:pt x="3303460" y="1349884"/>
                  </a:cubicBezTo>
                  <a:cubicBezTo>
                    <a:pt x="3300031" y="1349884"/>
                    <a:pt x="3297269" y="1347121"/>
                    <a:pt x="3297269" y="1343692"/>
                  </a:cubicBezTo>
                  <a:cubicBezTo>
                    <a:pt x="3297269" y="1340263"/>
                    <a:pt x="3300031" y="1337501"/>
                    <a:pt x="3303460" y="1337501"/>
                  </a:cubicBezTo>
                  <a:close/>
                  <a:moveTo>
                    <a:pt x="3281362" y="1337120"/>
                  </a:moveTo>
                  <a:cubicBezTo>
                    <a:pt x="3284791" y="1337120"/>
                    <a:pt x="3287553" y="1339882"/>
                    <a:pt x="3287553" y="1343311"/>
                  </a:cubicBezTo>
                  <a:cubicBezTo>
                    <a:pt x="3287553" y="1346740"/>
                    <a:pt x="3284791" y="1349503"/>
                    <a:pt x="3281362" y="1349503"/>
                  </a:cubicBezTo>
                  <a:cubicBezTo>
                    <a:pt x="3277933" y="1349503"/>
                    <a:pt x="3275171" y="1346740"/>
                    <a:pt x="3275171" y="1343311"/>
                  </a:cubicBezTo>
                  <a:cubicBezTo>
                    <a:pt x="3275171" y="1339882"/>
                    <a:pt x="3277933" y="1337120"/>
                    <a:pt x="3281362" y="1337120"/>
                  </a:cubicBezTo>
                  <a:close/>
                  <a:moveTo>
                    <a:pt x="93916" y="1336167"/>
                  </a:moveTo>
                  <a:cubicBezTo>
                    <a:pt x="97345" y="1336167"/>
                    <a:pt x="100108" y="1338929"/>
                    <a:pt x="100108" y="1342358"/>
                  </a:cubicBezTo>
                  <a:cubicBezTo>
                    <a:pt x="100108" y="1345787"/>
                    <a:pt x="97345" y="1348550"/>
                    <a:pt x="93916" y="1348550"/>
                  </a:cubicBezTo>
                  <a:cubicBezTo>
                    <a:pt x="90487" y="1348550"/>
                    <a:pt x="87725" y="1345787"/>
                    <a:pt x="87725" y="1342358"/>
                  </a:cubicBezTo>
                  <a:cubicBezTo>
                    <a:pt x="87725" y="1338929"/>
                    <a:pt x="90487" y="1336167"/>
                    <a:pt x="93916" y="1336167"/>
                  </a:cubicBezTo>
                  <a:close/>
                  <a:moveTo>
                    <a:pt x="3152869" y="1334738"/>
                  </a:moveTo>
                  <a:cubicBezTo>
                    <a:pt x="3156298" y="1334738"/>
                    <a:pt x="3159061" y="1337500"/>
                    <a:pt x="3159061" y="1340929"/>
                  </a:cubicBezTo>
                  <a:cubicBezTo>
                    <a:pt x="3159061" y="1344358"/>
                    <a:pt x="3156298" y="1347121"/>
                    <a:pt x="3152869" y="1347121"/>
                  </a:cubicBezTo>
                  <a:cubicBezTo>
                    <a:pt x="3149440" y="1347121"/>
                    <a:pt x="3146678" y="1344358"/>
                    <a:pt x="3146678" y="1340929"/>
                  </a:cubicBezTo>
                  <a:cubicBezTo>
                    <a:pt x="3146678" y="1337500"/>
                    <a:pt x="3149440" y="1334738"/>
                    <a:pt x="3152869" y="1334738"/>
                  </a:cubicBezTo>
                  <a:close/>
                  <a:moveTo>
                    <a:pt x="1223105" y="1334643"/>
                  </a:moveTo>
                  <a:cubicBezTo>
                    <a:pt x="1226534" y="1334643"/>
                    <a:pt x="1229296" y="1337405"/>
                    <a:pt x="1229296" y="1340834"/>
                  </a:cubicBezTo>
                  <a:cubicBezTo>
                    <a:pt x="1229296" y="1344263"/>
                    <a:pt x="1226534" y="1347026"/>
                    <a:pt x="1223105" y="1347026"/>
                  </a:cubicBezTo>
                  <a:cubicBezTo>
                    <a:pt x="1219676" y="1347026"/>
                    <a:pt x="1216914" y="1344263"/>
                    <a:pt x="1216914" y="1340834"/>
                  </a:cubicBezTo>
                  <a:cubicBezTo>
                    <a:pt x="1216914" y="1337405"/>
                    <a:pt x="1219676" y="1334643"/>
                    <a:pt x="1223105" y="1334643"/>
                  </a:cubicBezTo>
                  <a:close/>
                  <a:moveTo>
                    <a:pt x="426529" y="1333881"/>
                  </a:moveTo>
                  <a:cubicBezTo>
                    <a:pt x="429958" y="1333881"/>
                    <a:pt x="432720" y="1336643"/>
                    <a:pt x="432720" y="1340072"/>
                  </a:cubicBezTo>
                  <a:cubicBezTo>
                    <a:pt x="432720" y="1343501"/>
                    <a:pt x="429958" y="1346264"/>
                    <a:pt x="426529" y="1346264"/>
                  </a:cubicBezTo>
                  <a:cubicBezTo>
                    <a:pt x="423100" y="1346264"/>
                    <a:pt x="420338" y="1343501"/>
                    <a:pt x="420338" y="1340072"/>
                  </a:cubicBezTo>
                  <a:cubicBezTo>
                    <a:pt x="420338" y="1336643"/>
                    <a:pt x="423100" y="1333881"/>
                    <a:pt x="426529" y="1333881"/>
                  </a:cubicBezTo>
                  <a:close/>
                  <a:moveTo>
                    <a:pt x="3265455" y="1333786"/>
                  </a:moveTo>
                  <a:cubicBezTo>
                    <a:pt x="3268884" y="1333786"/>
                    <a:pt x="3271647" y="1336548"/>
                    <a:pt x="3271647" y="1339977"/>
                  </a:cubicBezTo>
                  <a:cubicBezTo>
                    <a:pt x="3271647" y="1343406"/>
                    <a:pt x="3268884" y="1346169"/>
                    <a:pt x="3265455" y="1346169"/>
                  </a:cubicBezTo>
                  <a:cubicBezTo>
                    <a:pt x="3262026" y="1346169"/>
                    <a:pt x="3259264" y="1343406"/>
                    <a:pt x="3259264" y="1339977"/>
                  </a:cubicBezTo>
                  <a:cubicBezTo>
                    <a:pt x="3259264" y="1336548"/>
                    <a:pt x="3262026" y="1333786"/>
                    <a:pt x="3265455" y="1333786"/>
                  </a:cubicBezTo>
                  <a:close/>
                  <a:moveTo>
                    <a:pt x="53149" y="1332643"/>
                  </a:moveTo>
                  <a:cubicBezTo>
                    <a:pt x="56578" y="1332643"/>
                    <a:pt x="59341" y="1335405"/>
                    <a:pt x="59341" y="1338834"/>
                  </a:cubicBezTo>
                  <a:cubicBezTo>
                    <a:pt x="59341" y="1342263"/>
                    <a:pt x="56578" y="1345026"/>
                    <a:pt x="53149" y="1345026"/>
                  </a:cubicBezTo>
                  <a:cubicBezTo>
                    <a:pt x="49720" y="1345026"/>
                    <a:pt x="46958" y="1342263"/>
                    <a:pt x="46958" y="1338834"/>
                  </a:cubicBezTo>
                  <a:cubicBezTo>
                    <a:pt x="46958" y="1335405"/>
                    <a:pt x="49720" y="1332643"/>
                    <a:pt x="53149" y="1332643"/>
                  </a:cubicBezTo>
                  <a:close/>
                  <a:moveTo>
                    <a:pt x="3233356" y="1331119"/>
                  </a:moveTo>
                  <a:cubicBezTo>
                    <a:pt x="3236785" y="1331119"/>
                    <a:pt x="3239547" y="1333881"/>
                    <a:pt x="3239547" y="1337310"/>
                  </a:cubicBezTo>
                  <a:cubicBezTo>
                    <a:pt x="3239547" y="1340739"/>
                    <a:pt x="3236785" y="1343501"/>
                    <a:pt x="3233356" y="1343501"/>
                  </a:cubicBezTo>
                  <a:cubicBezTo>
                    <a:pt x="3229927" y="1343501"/>
                    <a:pt x="3227165" y="1340739"/>
                    <a:pt x="3227165" y="1337310"/>
                  </a:cubicBezTo>
                  <a:cubicBezTo>
                    <a:pt x="3227165" y="1333881"/>
                    <a:pt x="3229927" y="1331119"/>
                    <a:pt x="3233356" y="1331119"/>
                  </a:cubicBezTo>
                  <a:close/>
                  <a:moveTo>
                    <a:pt x="3296983" y="1330738"/>
                  </a:moveTo>
                  <a:cubicBezTo>
                    <a:pt x="3300412" y="1330738"/>
                    <a:pt x="3303175" y="1333500"/>
                    <a:pt x="3303175" y="1336929"/>
                  </a:cubicBezTo>
                  <a:cubicBezTo>
                    <a:pt x="3303175" y="1340358"/>
                    <a:pt x="3300412" y="1343121"/>
                    <a:pt x="3296983" y="1343121"/>
                  </a:cubicBezTo>
                  <a:cubicBezTo>
                    <a:pt x="3293554" y="1343121"/>
                    <a:pt x="3290792" y="1340358"/>
                    <a:pt x="3290792" y="1336929"/>
                  </a:cubicBezTo>
                  <a:cubicBezTo>
                    <a:pt x="3290792" y="1333500"/>
                    <a:pt x="3293554" y="1330738"/>
                    <a:pt x="3296983" y="1330738"/>
                  </a:cubicBezTo>
                  <a:close/>
                  <a:moveTo>
                    <a:pt x="38385" y="1330738"/>
                  </a:moveTo>
                  <a:cubicBezTo>
                    <a:pt x="39719" y="1330738"/>
                    <a:pt x="40767" y="1331786"/>
                    <a:pt x="40767" y="1333119"/>
                  </a:cubicBezTo>
                  <a:cubicBezTo>
                    <a:pt x="40767" y="1334453"/>
                    <a:pt x="39719" y="1335501"/>
                    <a:pt x="38385" y="1335501"/>
                  </a:cubicBezTo>
                  <a:cubicBezTo>
                    <a:pt x="37052" y="1335501"/>
                    <a:pt x="36004" y="1334453"/>
                    <a:pt x="36004" y="1333119"/>
                  </a:cubicBezTo>
                  <a:cubicBezTo>
                    <a:pt x="36004" y="1331786"/>
                    <a:pt x="37052" y="1330738"/>
                    <a:pt x="38385" y="1330738"/>
                  </a:cubicBezTo>
                  <a:close/>
                  <a:moveTo>
                    <a:pt x="2050541" y="1330166"/>
                  </a:moveTo>
                  <a:cubicBezTo>
                    <a:pt x="2053970" y="1330166"/>
                    <a:pt x="2056732" y="1332928"/>
                    <a:pt x="2056732" y="1336357"/>
                  </a:cubicBezTo>
                  <a:cubicBezTo>
                    <a:pt x="2056732" y="1339786"/>
                    <a:pt x="2053970" y="1342549"/>
                    <a:pt x="2050541" y="1342549"/>
                  </a:cubicBezTo>
                  <a:cubicBezTo>
                    <a:pt x="2047112" y="1342549"/>
                    <a:pt x="2044350" y="1339786"/>
                    <a:pt x="2044350" y="1336357"/>
                  </a:cubicBezTo>
                  <a:cubicBezTo>
                    <a:pt x="2044350" y="1332928"/>
                    <a:pt x="2047112" y="1330166"/>
                    <a:pt x="2050541" y="1330166"/>
                  </a:cubicBezTo>
                  <a:close/>
                  <a:moveTo>
                    <a:pt x="3276980" y="1328642"/>
                  </a:moveTo>
                  <a:cubicBezTo>
                    <a:pt x="3280409" y="1328642"/>
                    <a:pt x="3283171" y="1331404"/>
                    <a:pt x="3283171" y="1334833"/>
                  </a:cubicBezTo>
                  <a:cubicBezTo>
                    <a:pt x="3283171" y="1338262"/>
                    <a:pt x="3280409" y="1341025"/>
                    <a:pt x="3276980" y="1341025"/>
                  </a:cubicBezTo>
                  <a:cubicBezTo>
                    <a:pt x="3273551" y="1341025"/>
                    <a:pt x="3270789" y="1338262"/>
                    <a:pt x="3270789" y="1334833"/>
                  </a:cubicBezTo>
                  <a:cubicBezTo>
                    <a:pt x="3270789" y="1331404"/>
                    <a:pt x="3273551" y="1328642"/>
                    <a:pt x="3276980" y="1328642"/>
                  </a:cubicBezTo>
                  <a:close/>
                  <a:moveTo>
                    <a:pt x="192404" y="1328452"/>
                  </a:moveTo>
                  <a:cubicBezTo>
                    <a:pt x="195833" y="1328452"/>
                    <a:pt x="198596" y="1331214"/>
                    <a:pt x="198596" y="1334643"/>
                  </a:cubicBezTo>
                  <a:cubicBezTo>
                    <a:pt x="198596" y="1338072"/>
                    <a:pt x="195833" y="1340834"/>
                    <a:pt x="192404" y="1340834"/>
                  </a:cubicBezTo>
                  <a:cubicBezTo>
                    <a:pt x="188975" y="1340834"/>
                    <a:pt x="186213" y="1338072"/>
                    <a:pt x="186213" y="1334643"/>
                  </a:cubicBezTo>
                  <a:cubicBezTo>
                    <a:pt x="186213" y="1331214"/>
                    <a:pt x="188975" y="1328452"/>
                    <a:pt x="192404" y="1328452"/>
                  </a:cubicBezTo>
                  <a:close/>
                  <a:moveTo>
                    <a:pt x="69722" y="1328452"/>
                  </a:moveTo>
                  <a:cubicBezTo>
                    <a:pt x="73151" y="1328452"/>
                    <a:pt x="75913" y="1331214"/>
                    <a:pt x="75913" y="1334643"/>
                  </a:cubicBezTo>
                  <a:cubicBezTo>
                    <a:pt x="75913" y="1338072"/>
                    <a:pt x="73151" y="1340834"/>
                    <a:pt x="69722" y="1340834"/>
                  </a:cubicBezTo>
                  <a:cubicBezTo>
                    <a:pt x="66293" y="1340834"/>
                    <a:pt x="63531" y="1338072"/>
                    <a:pt x="63531" y="1334643"/>
                  </a:cubicBezTo>
                  <a:cubicBezTo>
                    <a:pt x="63531" y="1331214"/>
                    <a:pt x="66293" y="1328452"/>
                    <a:pt x="69722" y="1328452"/>
                  </a:cubicBezTo>
                  <a:close/>
                  <a:moveTo>
                    <a:pt x="2880455" y="1328262"/>
                  </a:moveTo>
                  <a:cubicBezTo>
                    <a:pt x="2883884" y="1328262"/>
                    <a:pt x="2886646" y="1331024"/>
                    <a:pt x="2886646" y="1334453"/>
                  </a:cubicBezTo>
                  <a:cubicBezTo>
                    <a:pt x="2886646" y="1337882"/>
                    <a:pt x="2883884" y="1340645"/>
                    <a:pt x="2880455" y="1340645"/>
                  </a:cubicBezTo>
                  <a:cubicBezTo>
                    <a:pt x="2877026" y="1340645"/>
                    <a:pt x="2874264" y="1337882"/>
                    <a:pt x="2874264" y="1334453"/>
                  </a:cubicBezTo>
                  <a:cubicBezTo>
                    <a:pt x="2874264" y="1331024"/>
                    <a:pt x="2877026" y="1328262"/>
                    <a:pt x="2880455" y="1328262"/>
                  </a:cubicBezTo>
                  <a:close/>
                  <a:moveTo>
                    <a:pt x="1351502" y="1325309"/>
                  </a:moveTo>
                  <a:cubicBezTo>
                    <a:pt x="1354931" y="1325309"/>
                    <a:pt x="1357693" y="1328071"/>
                    <a:pt x="1357693" y="1331500"/>
                  </a:cubicBezTo>
                  <a:cubicBezTo>
                    <a:pt x="1357693" y="1334929"/>
                    <a:pt x="1354931" y="1337691"/>
                    <a:pt x="1351502" y="1337691"/>
                  </a:cubicBezTo>
                  <a:cubicBezTo>
                    <a:pt x="1348073" y="1337691"/>
                    <a:pt x="1345311" y="1334929"/>
                    <a:pt x="1345311" y="1331500"/>
                  </a:cubicBezTo>
                  <a:cubicBezTo>
                    <a:pt x="1345311" y="1328071"/>
                    <a:pt x="1348073" y="1325309"/>
                    <a:pt x="1351502" y="1325309"/>
                  </a:cubicBezTo>
                  <a:close/>
                  <a:moveTo>
                    <a:pt x="105060" y="1325213"/>
                  </a:moveTo>
                  <a:cubicBezTo>
                    <a:pt x="108489" y="1325213"/>
                    <a:pt x="111252" y="1327975"/>
                    <a:pt x="111252" y="1331404"/>
                  </a:cubicBezTo>
                  <a:cubicBezTo>
                    <a:pt x="111252" y="1334833"/>
                    <a:pt x="108489" y="1337596"/>
                    <a:pt x="105060" y="1337596"/>
                  </a:cubicBezTo>
                  <a:cubicBezTo>
                    <a:pt x="101631" y="1337596"/>
                    <a:pt x="98869" y="1334833"/>
                    <a:pt x="98869" y="1331404"/>
                  </a:cubicBezTo>
                  <a:cubicBezTo>
                    <a:pt x="98869" y="1327975"/>
                    <a:pt x="101631" y="1325213"/>
                    <a:pt x="105060" y="1325213"/>
                  </a:cubicBezTo>
                  <a:close/>
                  <a:moveTo>
                    <a:pt x="57530" y="1323880"/>
                  </a:moveTo>
                  <a:cubicBezTo>
                    <a:pt x="60959" y="1323880"/>
                    <a:pt x="63722" y="1326642"/>
                    <a:pt x="63722" y="1330071"/>
                  </a:cubicBezTo>
                  <a:cubicBezTo>
                    <a:pt x="63722" y="1333500"/>
                    <a:pt x="60959" y="1336263"/>
                    <a:pt x="57530" y="1336263"/>
                  </a:cubicBezTo>
                  <a:cubicBezTo>
                    <a:pt x="54101" y="1336263"/>
                    <a:pt x="51339" y="1333500"/>
                    <a:pt x="51339" y="1330071"/>
                  </a:cubicBezTo>
                  <a:cubicBezTo>
                    <a:pt x="51339" y="1326642"/>
                    <a:pt x="54101" y="1323880"/>
                    <a:pt x="57530" y="1323880"/>
                  </a:cubicBezTo>
                  <a:close/>
                  <a:moveTo>
                    <a:pt x="3259740" y="1323690"/>
                  </a:moveTo>
                  <a:cubicBezTo>
                    <a:pt x="3263169" y="1323690"/>
                    <a:pt x="3265932" y="1326452"/>
                    <a:pt x="3265932" y="1329881"/>
                  </a:cubicBezTo>
                  <a:cubicBezTo>
                    <a:pt x="3265932" y="1333310"/>
                    <a:pt x="3263169" y="1336072"/>
                    <a:pt x="3259740" y="1336072"/>
                  </a:cubicBezTo>
                  <a:cubicBezTo>
                    <a:pt x="3256311" y="1336072"/>
                    <a:pt x="3253549" y="1333310"/>
                    <a:pt x="3253549" y="1329881"/>
                  </a:cubicBezTo>
                  <a:cubicBezTo>
                    <a:pt x="3253549" y="1326452"/>
                    <a:pt x="3256311" y="1323690"/>
                    <a:pt x="3259740" y="1323690"/>
                  </a:cubicBezTo>
                  <a:close/>
                  <a:moveTo>
                    <a:pt x="3290982" y="1323594"/>
                  </a:moveTo>
                  <a:cubicBezTo>
                    <a:pt x="3294411" y="1323594"/>
                    <a:pt x="3297174" y="1326356"/>
                    <a:pt x="3297174" y="1329785"/>
                  </a:cubicBezTo>
                  <a:cubicBezTo>
                    <a:pt x="3297174" y="1333214"/>
                    <a:pt x="3294411" y="1335977"/>
                    <a:pt x="3290982" y="1335977"/>
                  </a:cubicBezTo>
                  <a:cubicBezTo>
                    <a:pt x="3287553" y="1335977"/>
                    <a:pt x="3284791" y="1333214"/>
                    <a:pt x="3284791" y="1329785"/>
                  </a:cubicBezTo>
                  <a:cubicBezTo>
                    <a:pt x="3284791" y="1326356"/>
                    <a:pt x="3287553" y="1323594"/>
                    <a:pt x="3290982" y="1323594"/>
                  </a:cubicBezTo>
                  <a:close/>
                  <a:moveTo>
                    <a:pt x="3127724" y="1322928"/>
                  </a:moveTo>
                  <a:cubicBezTo>
                    <a:pt x="3131153" y="1322928"/>
                    <a:pt x="3133915" y="1325690"/>
                    <a:pt x="3133915" y="1329119"/>
                  </a:cubicBezTo>
                  <a:cubicBezTo>
                    <a:pt x="3133915" y="1332548"/>
                    <a:pt x="3131153" y="1335310"/>
                    <a:pt x="3127724" y="1335310"/>
                  </a:cubicBezTo>
                  <a:cubicBezTo>
                    <a:pt x="3124295" y="1335310"/>
                    <a:pt x="3121533" y="1332548"/>
                    <a:pt x="3121533" y="1329119"/>
                  </a:cubicBezTo>
                  <a:cubicBezTo>
                    <a:pt x="3121533" y="1325690"/>
                    <a:pt x="3124295" y="1322928"/>
                    <a:pt x="3127724" y="1322928"/>
                  </a:cubicBezTo>
                  <a:close/>
                  <a:moveTo>
                    <a:pt x="482250" y="1321689"/>
                  </a:moveTo>
                  <a:cubicBezTo>
                    <a:pt x="485679" y="1321689"/>
                    <a:pt x="488441" y="1324451"/>
                    <a:pt x="488441" y="1327880"/>
                  </a:cubicBezTo>
                  <a:cubicBezTo>
                    <a:pt x="488441" y="1331309"/>
                    <a:pt x="485679" y="1334072"/>
                    <a:pt x="482250" y="1334072"/>
                  </a:cubicBezTo>
                  <a:cubicBezTo>
                    <a:pt x="478821" y="1334072"/>
                    <a:pt x="476059" y="1331309"/>
                    <a:pt x="476059" y="1327880"/>
                  </a:cubicBezTo>
                  <a:cubicBezTo>
                    <a:pt x="476059" y="1324451"/>
                    <a:pt x="478821" y="1321689"/>
                    <a:pt x="482250" y="1321689"/>
                  </a:cubicBezTo>
                  <a:close/>
                  <a:moveTo>
                    <a:pt x="1917953" y="1321499"/>
                  </a:moveTo>
                  <a:cubicBezTo>
                    <a:pt x="1921382" y="1321499"/>
                    <a:pt x="1924144" y="1324261"/>
                    <a:pt x="1924144" y="1327690"/>
                  </a:cubicBezTo>
                  <a:cubicBezTo>
                    <a:pt x="1924144" y="1331119"/>
                    <a:pt x="1921382" y="1333882"/>
                    <a:pt x="1917953" y="1333882"/>
                  </a:cubicBezTo>
                  <a:cubicBezTo>
                    <a:pt x="1914524" y="1333882"/>
                    <a:pt x="1911762" y="1331119"/>
                    <a:pt x="1911762" y="1327690"/>
                  </a:cubicBezTo>
                  <a:cubicBezTo>
                    <a:pt x="1911762" y="1324261"/>
                    <a:pt x="1914524" y="1321499"/>
                    <a:pt x="1917953" y="1321499"/>
                  </a:cubicBezTo>
                  <a:close/>
                  <a:moveTo>
                    <a:pt x="3221354" y="1319975"/>
                  </a:moveTo>
                  <a:cubicBezTo>
                    <a:pt x="3224783" y="1319975"/>
                    <a:pt x="3227546" y="1322737"/>
                    <a:pt x="3227546" y="1326166"/>
                  </a:cubicBezTo>
                  <a:cubicBezTo>
                    <a:pt x="3227546" y="1329595"/>
                    <a:pt x="3224783" y="1332357"/>
                    <a:pt x="3221354" y="1332357"/>
                  </a:cubicBezTo>
                  <a:cubicBezTo>
                    <a:pt x="3217925" y="1332357"/>
                    <a:pt x="3215163" y="1329595"/>
                    <a:pt x="3215163" y="1326166"/>
                  </a:cubicBezTo>
                  <a:cubicBezTo>
                    <a:pt x="3215163" y="1322737"/>
                    <a:pt x="3217925" y="1319975"/>
                    <a:pt x="3221354" y="1319975"/>
                  </a:cubicBezTo>
                  <a:close/>
                  <a:moveTo>
                    <a:pt x="3272504" y="1319689"/>
                  </a:moveTo>
                  <a:cubicBezTo>
                    <a:pt x="3275933" y="1319689"/>
                    <a:pt x="3278695" y="1322451"/>
                    <a:pt x="3278695" y="1325880"/>
                  </a:cubicBezTo>
                  <a:cubicBezTo>
                    <a:pt x="3278695" y="1329309"/>
                    <a:pt x="3275933" y="1332072"/>
                    <a:pt x="3272504" y="1332072"/>
                  </a:cubicBezTo>
                  <a:cubicBezTo>
                    <a:pt x="3269075" y="1332072"/>
                    <a:pt x="3266313" y="1329309"/>
                    <a:pt x="3266313" y="1325880"/>
                  </a:cubicBezTo>
                  <a:cubicBezTo>
                    <a:pt x="3266313" y="1322451"/>
                    <a:pt x="3269075" y="1319689"/>
                    <a:pt x="3272504" y="1319689"/>
                  </a:cubicBezTo>
                  <a:close/>
                  <a:moveTo>
                    <a:pt x="44195" y="1319499"/>
                  </a:moveTo>
                  <a:cubicBezTo>
                    <a:pt x="47624" y="1319499"/>
                    <a:pt x="50387" y="1322261"/>
                    <a:pt x="50387" y="1325690"/>
                  </a:cubicBezTo>
                  <a:cubicBezTo>
                    <a:pt x="50387" y="1329119"/>
                    <a:pt x="47624" y="1331882"/>
                    <a:pt x="44195" y="1331882"/>
                  </a:cubicBezTo>
                  <a:cubicBezTo>
                    <a:pt x="40766" y="1331882"/>
                    <a:pt x="38004" y="1329119"/>
                    <a:pt x="38004" y="1325690"/>
                  </a:cubicBezTo>
                  <a:cubicBezTo>
                    <a:pt x="38004" y="1322261"/>
                    <a:pt x="40766" y="1319499"/>
                    <a:pt x="44195" y="1319499"/>
                  </a:cubicBezTo>
                  <a:close/>
                  <a:moveTo>
                    <a:pt x="3316414" y="1318546"/>
                  </a:moveTo>
                  <a:cubicBezTo>
                    <a:pt x="3318700" y="1318546"/>
                    <a:pt x="3320509" y="1320356"/>
                    <a:pt x="3320509" y="1322642"/>
                  </a:cubicBezTo>
                  <a:cubicBezTo>
                    <a:pt x="3320509" y="1324928"/>
                    <a:pt x="3318700" y="1326738"/>
                    <a:pt x="3316414" y="1326738"/>
                  </a:cubicBezTo>
                  <a:cubicBezTo>
                    <a:pt x="3314128" y="1326738"/>
                    <a:pt x="3312318" y="1324928"/>
                    <a:pt x="3312318" y="1322642"/>
                  </a:cubicBezTo>
                  <a:cubicBezTo>
                    <a:pt x="3312318" y="1320356"/>
                    <a:pt x="3314128" y="1318546"/>
                    <a:pt x="3316414" y="1318546"/>
                  </a:cubicBezTo>
                  <a:close/>
                  <a:moveTo>
                    <a:pt x="75818" y="1318165"/>
                  </a:moveTo>
                  <a:cubicBezTo>
                    <a:pt x="79247" y="1318165"/>
                    <a:pt x="82009" y="1320927"/>
                    <a:pt x="82009" y="1324356"/>
                  </a:cubicBezTo>
                  <a:cubicBezTo>
                    <a:pt x="82009" y="1327785"/>
                    <a:pt x="79247" y="1330547"/>
                    <a:pt x="75818" y="1330547"/>
                  </a:cubicBezTo>
                  <a:cubicBezTo>
                    <a:pt x="72389" y="1330547"/>
                    <a:pt x="69627" y="1327785"/>
                    <a:pt x="69627" y="1324356"/>
                  </a:cubicBezTo>
                  <a:cubicBezTo>
                    <a:pt x="69627" y="1320927"/>
                    <a:pt x="72389" y="1318165"/>
                    <a:pt x="75818" y="1318165"/>
                  </a:cubicBezTo>
                  <a:close/>
                  <a:moveTo>
                    <a:pt x="1488661" y="1317879"/>
                  </a:moveTo>
                  <a:cubicBezTo>
                    <a:pt x="1492090" y="1317879"/>
                    <a:pt x="1494853" y="1320641"/>
                    <a:pt x="1494853" y="1324070"/>
                  </a:cubicBezTo>
                  <a:cubicBezTo>
                    <a:pt x="1494853" y="1327499"/>
                    <a:pt x="1492090" y="1330261"/>
                    <a:pt x="1488661" y="1330261"/>
                  </a:cubicBezTo>
                  <a:cubicBezTo>
                    <a:pt x="1485232" y="1330261"/>
                    <a:pt x="1482470" y="1327499"/>
                    <a:pt x="1482470" y="1324070"/>
                  </a:cubicBezTo>
                  <a:cubicBezTo>
                    <a:pt x="1482470" y="1320641"/>
                    <a:pt x="1485232" y="1317879"/>
                    <a:pt x="1488661" y="1317879"/>
                  </a:cubicBezTo>
                  <a:close/>
                  <a:moveTo>
                    <a:pt x="219360" y="1316355"/>
                  </a:moveTo>
                  <a:cubicBezTo>
                    <a:pt x="222789" y="1316355"/>
                    <a:pt x="225552" y="1319117"/>
                    <a:pt x="225552" y="1322546"/>
                  </a:cubicBezTo>
                  <a:cubicBezTo>
                    <a:pt x="225552" y="1325975"/>
                    <a:pt x="222789" y="1328738"/>
                    <a:pt x="219360" y="1328738"/>
                  </a:cubicBezTo>
                  <a:cubicBezTo>
                    <a:pt x="215931" y="1328738"/>
                    <a:pt x="213169" y="1325975"/>
                    <a:pt x="213169" y="1322546"/>
                  </a:cubicBezTo>
                  <a:cubicBezTo>
                    <a:pt x="213169" y="1319117"/>
                    <a:pt x="215931" y="1316355"/>
                    <a:pt x="219360" y="1316355"/>
                  </a:cubicBezTo>
                  <a:close/>
                  <a:moveTo>
                    <a:pt x="3285457" y="1315879"/>
                  </a:moveTo>
                  <a:cubicBezTo>
                    <a:pt x="3288886" y="1315879"/>
                    <a:pt x="3291648" y="1318641"/>
                    <a:pt x="3291648" y="1322070"/>
                  </a:cubicBezTo>
                  <a:cubicBezTo>
                    <a:pt x="3291648" y="1325499"/>
                    <a:pt x="3288886" y="1328262"/>
                    <a:pt x="3285457" y="1328262"/>
                  </a:cubicBezTo>
                  <a:cubicBezTo>
                    <a:pt x="3282028" y="1328262"/>
                    <a:pt x="3279266" y="1325499"/>
                    <a:pt x="3279266" y="1322070"/>
                  </a:cubicBezTo>
                  <a:cubicBezTo>
                    <a:pt x="3279266" y="1318641"/>
                    <a:pt x="3282028" y="1315879"/>
                    <a:pt x="3285457" y="1315879"/>
                  </a:cubicBezTo>
                  <a:close/>
                  <a:moveTo>
                    <a:pt x="2822066" y="1315879"/>
                  </a:moveTo>
                  <a:cubicBezTo>
                    <a:pt x="2825495" y="1315879"/>
                    <a:pt x="2828257" y="1318641"/>
                    <a:pt x="2828257" y="1322070"/>
                  </a:cubicBezTo>
                  <a:cubicBezTo>
                    <a:pt x="2828257" y="1325499"/>
                    <a:pt x="2825495" y="1328262"/>
                    <a:pt x="2822066" y="1328262"/>
                  </a:cubicBezTo>
                  <a:cubicBezTo>
                    <a:pt x="2818637" y="1328262"/>
                    <a:pt x="2815875" y="1325499"/>
                    <a:pt x="2815875" y="1322070"/>
                  </a:cubicBezTo>
                  <a:cubicBezTo>
                    <a:pt x="2815875" y="1318641"/>
                    <a:pt x="2818637" y="1315879"/>
                    <a:pt x="2822066" y="1315879"/>
                  </a:cubicBezTo>
                  <a:close/>
                  <a:moveTo>
                    <a:pt x="1777364" y="1315498"/>
                  </a:moveTo>
                  <a:cubicBezTo>
                    <a:pt x="1780793" y="1315498"/>
                    <a:pt x="1783556" y="1318260"/>
                    <a:pt x="1783556" y="1321689"/>
                  </a:cubicBezTo>
                  <a:cubicBezTo>
                    <a:pt x="1783556" y="1325118"/>
                    <a:pt x="1780793" y="1327880"/>
                    <a:pt x="1777364" y="1327880"/>
                  </a:cubicBezTo>
                  <a:cubicBezTo>
                    <a:pt x="1773935" y="1327880"/>
                    <a:pt x="1771173" y="1325118"/>
                    <a:pt x="1771173" y="1321689"/>
                  </a:cubicBezTo>
                  <a:cubicBezTo>
                    <a:pt x="1771173" y="1318260"/>
                    <a:pt x="1773935" y="1315498"/>
                    <a:pt x="1777364" y="1315498"/>
                  </a:cubicBezTo>
                  <a:close/>
                  <a:moveTo>
                    <a:pt x="62007" y="1314641"/>
                  </a:moveTo>
                  <a:cubicBezTo>
                    <a:pt x="65436" y="1314641"/>
                    <a:pt x="68198" y="1317403"/>
                    <a:pt x="68198" y="1320832"/>
                  </a:cubicBezTo>
                  <a:cubicBezTo>
                    <a:pt x="68198" y="1324261"/>
                    <a:pt x="65436" y="1327024"/>
                    <a:pt x="62007" y="1327024"/>
                  </a:cubicBezTo>
                  <a:cubicBezTo>
                    <a:pt x="58578" y="1327024"/>
                    <a:pt x="55816" y="1324261"/>
                    <a:pt x="55816" y="1320832"/>
                  </a:cubicBezTo>
                  <a:cubicBezTo>
                    <a:pt x="55816" y="1317403"/>
                    <a:pt x="58578" y="1314641"/>
                    <a:pt x="62007" y="1314641"/>
                  </a:cubicBezTo>
                  <a:close/>
                  <a:moveTo>
                    <a:pt x="1632299" y="1314069"/>
                  </a:moveTo>
                  <a:cubicBezTo>
                    <a:pt x="1635728" y="1314069"/>
                    <a:pt x="1638491" y="1316831"/>
                    <a:pt x="1638491" y="1320260"/>
                  </a:cubicBezTo>
                  <a:cubicBezTo>
                    <a:pt x="1638491" y="1323689"/>
                    <a:pt x="1635728" y="1326452"/>
                    <a:pt x="1632299" y="1326452"/>
                  </a:cubicBezTo>
                  <a:cubicBezTo>
                    <a:pt x="1628870" y="1326452"/>
                    <a:pt x="1626108" y="1323689"/>
                    <a:pt x="1626108" y="1320260"/>
                  </a:cubicBezTo>
                  <a:cubicBezTo>
                    <a:pt x="1626108" y="1316831"/>
                    <a:pt x="1628870" y="1314069"/>
                    <a:pt x="1632299" y="1314069"/>
                  </a:cubicBezTo>
                  <a:close/>
                  <a:moveTo>
                    <a:pt x="118014" y="1313688"/>
                  </a:moveTo>
                  <a:cubicBezTo>
                    <a:pt x="121443" y="1313688"/>
                    <a:pt x="124206" y="1316450"/>
                    <a:pt x="124206" y="1319879"/>
                  </a:cubicBezTo>
                  <a:cubicBezTo>
                    <a:pt x="124206" y="1323308"/>
                    <a:pt x="121443" y="1326071"/>
                    <a:pt x="118014" y="1326071"/>
                  </a:cubicBezTo>
                  <a:cubicBezTo>
                    <a:pt x="114585" y="1326071"/>
                    <a:pt x="111823" y="1323308"/>
                    <a:pt x="111823" y="1319879"/>
                  </a:cubicBezTo>
                  <a:cubicBezTo>
                    <a:pt x="111823" y="1316450"/>
                    <a:pt x="114585" y="1313688"/>
                    <a:pt x="118014" y="1313688"/>
                  </a:cubicBezTo>
                  <a:close/>
                  <a:moveTo>
                    <a:pt x="3253263" y="1313212"/>
                  </a:moveTo>
                  <a:cubicBezTo>
                    <a:pt x="3256692" y="1313212"/>
                    <a:pt x="3259455" y="1315974"/>
                    <a:pt x="3259455" y="1319403"/>
                  </a:cubicBezTo>
                  <a:cubicBezTo>
                    <a:pt x="3259455" y="1322832"/>
                    <a:pt x="3256692" y="1325595"/>
                    <a:pt x="3253263" y="1325595"/>
                  </a:cubicBezTo>
                  <a:cubicBezTo>
                    <a:pt x="3249834" y="1325595"/>
                    <a:pt x="3247072" y="1322832"/>
                    <a:pt x="3247072" y="1319403"/>
                  </a:cubicBezTo>
                  <a:cubicBezTo>
                    <a:pt x="3247072" y="1315974"/>
                    <a:pt x="3249834" y="1313212"/>
                    <a:pt x="3253263" y="1313212"/>
                  </a:cubicBezTo>
                  <a:close/>
                  <a:moveTo>
                    <a:pt x="49624" y="1311593"/>
                  </a:moveTo>
                  <a:cubicBezTo>
                    <a:pt x="53053" y="1311593"/>
                    <a:pt x="55816" y="1314355"/>
                    <a:pt x="55816" y="1317784"/>
                  </a:cubicBezTo>
                  <a:cubicBezTo>
                    <a:pt x="55816" y="1321213"/>
                    <a:pt x="53053" y="1323976"/>
                    <a:pt x="49624" y="1323976"/>
                  </a:cubicBezTo>
                  <a:cubicBezTo>
                    <a:pt x="46195" y="1323976"/>
                    <a:pt x="43433" y="1321213"/>
                    <a:pt x="43433" y="1317784"/>
                  </a:cubicBezTo>
                  <a:cubicBezTo>
                    <a:pt x="43433" y="1314355"/>
                    <a:pt x="46195" y="1311593"/>
                    <a:pt x="49624" y="1311593"/>
                  </a:cubicBezTo>
                  <a:close/>
                  <a:moveTo>
                    <a:pt x="3099149" y="1310545"/>
                  </a:moveTo>
                  <a:cubicBezTo>
                    <a:pt x="3102578" y="1310545"/>
                    <a:pt x="3105340" y="1313307"/>
                    <a:pt x="3105340" y="1316736"/>
                  </a:cubicBezTo>
                  <a:cubicBezTo>
                    <a:pt x="3105340" y="1320165"/>
                    <a:pt x="3102578" y="1322928"/>
                    <a:pt x="3099149" y="1322928"/>
                  </a:cubicBezTo>
                  <a:cubicBezTo>
                    <a:pt x="3095720" y="1322928"/>
                    <a:pt x="3092958" y="1320165"/>
                    <a:pt x="3092958" y="1316736"/>
                  </a:cubicBezTo>
                  <a:cubicBezTo>
                    <a:pt x="3092958" y="1313307"/>
                    <a:pt x="3095720" y="1310545"/>
                    <a:pt x="3099149" y="1310545"/>
                  </a:cubicBezTo>
                  <a:close/>
                  <a:moveTo>
                    <a:pt x="3267932" y="1310259"/>
                  </a:moveTo>
                  <a:cubicBezTo>
                    <a:pt x="3271361" y="1310259"/>
                    <a:pt x="3274123" y="1313021"/>
                    <a:pt x="3274123" y="1316450"/>
                  </a:cubicBezTo>
                  <a:cubicBezTo>
                    <a:pt x="3274123" y="1319879"/>
                    <a:pt x="3271361" y="1322642"/>
                    <a:pt x="3267932" y="1322642"/>
                  </a:cubicBezTo>
                  <a:cubicBezTo>
                    <a:pt x="3264503" y="1322642"/>
                    <a:pt x="3261741" y="1319879"/>
                    <a:pt x="3261741" y="1316450"/>
                  </a:cubicBezTo>
                  <a:cubicBezTo>
                    <a:pt x="3261741" y="1313021"/>
                    <a:pt x="3264503" y="1310259"/>
                    <a:pt x="3267932" y="1310259"/>
                  </a:cubicBezTo>
                  <a:close/>
                  <a:moveTo>
                    <a:pt x="3308032" y="1310164"/>
                  </a:moveTo>
                  <a:cubicBezTo>
                    <a:pt x="3311461" y="1310164"/>
                    <a:pt x="3314224" y="1312926"/>
                    <a:pt x="3314224" y="1316355"/>
                  </a:cubicBezTo>
                  <a:cubicBezTo>
                    <a:pt x="3314224" y="1319784"/>
                    <a:pt x="3311461" y="1322547"/>
                    <a:pt x="3308032" y="1322547"/>
                  </a:cubicBezTo>
                  <a:cubicBezTo>
                    <a:pt x="3304603" y="1322547"/>
                    <a:pt x="3301841" y="1319784"/>
                    <a:pt x="3301841" y="1316355"/>
                  </a:cubicBezTo>
                  <a:cubicBezTo>
                    <a:pt x="3301841" y="1312926"/>
                    <a:pt x="3304603" y="1310164"/>
                    <a:pt x="3308032" y="1310164"/>
                  </a:cubicBezTo>
                  <a:close/>
                  <a:moveTo>
                    <a:pt x="543781" y="1309116"/>
                  </a:moveTo>
                  <a:cubicBezTo>
                    <a:pt x="547210" y="1309116"/>
                    <a:pt x="549973" y="1311878"/>
                    <a:pt x="549973" y="1315307"/>
                  </a:cubicBezTo>
                  <a:cubicBezTo>
                    <a:pt x="549973" y="1318736"/>
                    <a:pt x="547210" y="1321499"/>
                    <a:pt x="543781" y="1321499"/>
                  </a:cubicBezTo>
                  <a:cubicBezTo>
                    <a:pt x="540352" y="1321499"/>
                    <a:pt x="537590" y="1318736"/>
                    <a:pt x="537590" y="1315307"/>
                  </a:cubicBezTo>
                  <a:cubicBezTo>
                    <a:pt x="537590" y="1311878"/>
                    <a:pt x="540352" y="1309116"/>
                    <a:pt x="543781" y="1309116"/>
                  </a:cubicBezTo>
                  <a:close/>
                  <a:moveTo>
                    <a:pt x="3207448" y="1308259"/>
                  </a:moveTo>
                  <a:cubicBezTo>
                    <a:pt x="3210877" y="1308259"/>
                    <a:pt x="3213640" y="1311021"/>
                    <a:pt x="3213640" y="1314450"/>
                  </a:cubicBezTo>
                  <a:cubicBezTo>
                    <a:pt x="3213640" y="1317879"/>
                    <a:pt x="3210877" y="1320642"/>
                    <a:pt x="3207448" y="1320642"/>
                  </a:cubicBezTo>
                  <a:cubicBezTo>
                    <a:pt x="3204019" y="1320642"/>
                    <a:pt x="3201257" y="1317879"/>
                    <a:pt x="3201257" y="1314450"/>
                  </a:cubicBezTo>
                  <a:cubicBezTo>
                    <a:pt x="3201257" y="1311021"/>
                    <a:pt x="3204019" y="1308259"/>
                    <a:pt x="3207448" y="1308259"/>
                  </a:cubicBezTo>
                  <a:close/>
                  <a:moveTo>
                    <a:pt x="3280124" y="1307687"/>
                  </a:moveTo>
                  <a:cubicBezTo>
                    <a:pt x="3283553" y="1307687"/>
                    <a:pt x="3286315" y="1310449"/>
                    <a:pt x="3286315" y="1313878"/>
                  </a:cubicBezTo>
                  <a:cubicBezTo>
                    <a:pt x="3286315" y="1317307"/>
                    <a:pt x="3283553" y="1320070"/>
                    <a:pt x="3280124" y="1320070"/>
                  </a:cubicBezTo>
                  <a:cubicBezTo>
                    <a:pt x="3276695" y="1320070"/>
                    <a:pt x="3273933" y="1317307"/>
                    <a:pt x="3273933" y="1313878"/>
                  </a:cubicBezTo>
                  <a:cubicBezTo>
                    <a:pt x="3273933" y="1310449"/>
                    <a:pt x="3276695" y="1307687"/>
                    <a:pt x="3280124" y="1307687"/>
                  </a:cubicBezTo>
                  <a:close/>
                  <a:moveTo>
                    <a:pt x="82771" y="1307402"/>
                  </a:moveTo>
                  <a:cubicBezTo>
                    <a:pt x="86200" y="1307402"/>
                    <a:pt x="88963" y="1310164"/>
                    <a:pt x="88963" y="1313593"/>
                  </a:cubicBezTo>
                  <a:cubicBezTo>
                    <a:pt x="88963" y="1317022"/>
                    <a:pt x="86200" y="1319785"/>
                    <a:pt x="82771" y="1319785"/>
                  </a:cubicBezTo>
                  <a:cubicBezTo>
                    <a:pt x="79342" y="1319785"/>
                    <a:pt x="76580" y="1317022"/>
                    <a:pt x="76580" y="1313593"/>
                  </a:cubicBezTo>
                  <a:cubicBezTo>
                    <a:pt x="76580" y="1310164"/>
                    <a:pt x="79342" y="1307402"/>
                    <a:pt x="82771" y="1307402"/>
                  </a:cubicBezTo>
                  <a:close/>
                  <a:moveTo>
                    <a:pt x="66770" y="1304925"/>
                  </a:moveTo>
                  <a:cubicBezTo>
                    <a:pt x="70199" y="1304925"/>
                    <a:pt x="72961" y="1307687"/>
                    <a:pt x="72961" y="1311116"/>
                  </a:cubicBezTo>
                  <a:cubicBezTo>
                    <a:pt x="72961" y="1314545"/>
                    <a:pt x="70199" y="1317307"/>
                    <a:pt x="66770" y="1317307"/>
                  </a:cubicBezTo>
                  <a:cubicBezTo>
                    <a:pt x="63341" y="1317307"/>
                    <a:pt x="60579" y="1314545"/>
                    <a:pt x="60579" y="1311116"/>
                  </a:cubicBezTo>
                  <a:cubicBezTo>
                    <a:pt x="60579" y="1307687"/>
                    <a:pt x="63341" y="1304925"/>
                    <a:pt x="66770" y="1304925"/>
                  </a:cubicBezTo>
                  <a:close/>
                  <a:moveTo>
                    <a:pt x="249840" y="1303782"/>
                  </a:moveTo>
                  <a:cubicBezTo>
                    <a:pt x="253269" y="1303782"/>
                    <a:pt x="256031" y="1306544"/>
                    <a:pt x="256031" y="1309973"/>
                  </a:cubicBezTo>
                  <a:cubicBezTo>
                    <a:pt x="256031" y="1313402"/>
                    <a:pt x="253269" y="1316165"/>
                    <a:pt x="249840" y="1316165"/>
                  </a:cubicBezTo>
                  <a:cubicBezTo>
                    <a:pt x="246411" y="1316165"/>
                    <a:pt x="243649" y="1313402"/>
                    <a:pt x="243649" y="1309973"/>
                  </a:cubicBezTo>
                  <a:cubicBezTo>
                    <a:pt x="243649" y="1306544"/>
                    <a:pt x="246411" y="1303782"/>
                    <a:pt x="249840" y="1303782"/>
                  </a:cubicBezTo>
                  <a:close/>
                  <a:moveTo>
                    <a:pt x="3300221" y="1303401"/>
                  </a:moveTo>
                  <a:cubicBezTo>
                    <a:pt x="3303650" y="1303401"/>
                    <a:pt x="3306413" y="1306163"/>
                    <a:pt x="3306413" y="1309592"/>
                  </a:cubicBezTo>
                  <a:cubicBezTo>
                    <a:pt x="3306413" y="1313021"/>
                    <a:pt x="3303650" y="1315784"/>
                    <a:pt x="3300221" y="1315784"/>
                  </a:cubicBezTo>
                  <a:cubicBezTo>
                    <a:pt x="3296792" y="1315784"/>
                    <a:pt x="3294030" y="1313021"/>
                    <a:pt x="3294030" y="1309592"/>
                  </a:cubicBezTo>
                  <a:cubicBezTo>
                    <a:pt x="3294030" y="1306163"/>
                    <a:pt x="3296792" y="1303401"/>
                    <a:pt x="3300221" y="1303401"/>
                  </a:cubicBezTo>
                  <a:close/>
                  <a:moveTo>
                    <a:pt x="54768" y="1303211"/>
                  </a:moveTo>
                  <a:cubicBezTo>
                    <a:pt x="58197" y="1303211"/>
                    <a:pt x="60960" y="1305973"/>
                    <a:pt x="60960" y="1309402"/>
                  </a:cubicBezTo>
                  <a:cubicBezTo>
                    <a:pt x="60960" y="1312831"/>
                    <a:pt x="58197" y="1315594"/>
                    <a:pt x="54768" y="1315594"/>
                  </a:cubicBezTo>
                  <a:cubicBezTo>
                    <a:pt x="51339" y="1315594"/>
                    <a:pt x="48577" y="1312831"/>
                    <a:pt x="48577" y="1309402"/>
                  </a:cubicBezTo>
                  <a:cubicBezTo>
                    <a:pt x="48577" y="1305973"/>
                    <a:pt x="51339" y="1303211"/>
                    <a:pt x="54768" y="1303211"/>
                  </a:cubicBezTo>
                  <a:close/>
                  <a:moveTo>
                    <a:pt x="2757677" y="1303116"/>
                  </a:moveTo>
                  <a:cubicBezTo>
                    <a:pt x="2761106" y="1303116"/>
                    <a:pt x="2763869" y="1305878"/>
                    <a:pt x="2763869" y="1309307"/>
                  </a:cubicBezTo>
                  <a:cubicBezTo>
                    <a:pt x="2763869" y="1312736"/>
                    <a:pt x="2761106" y="1315499"/>
                    <a:pt x="2757677" y="1315499"/>
                  </a:cubicBezTo>
                  <a:cubicBezTo>
                    <a:pt x="2754248" y="1315499"/>
                    <a:pt x="2751486" y="1312736"/>
                    <a:pt x="2751486" y="1309307"/>
                  </a:cubicBezTo>
                  <a:cubicBezTo>
                    <a:pt x="2751486" y="1305878"/>
                    <a:pt x="2754248" y="1303116"/>
                    <a:pt x="2757677" y="1303116"/>
                  </a:cubicBezTo>
                  <a:close/>
                  <a:moveTo>
                    <a:pt x="3245738" y="1302163"/>
                  </a:moveTo>
                  <a:cubicBezTo>
                    <a:pt x="3249167" y="1302163"/>
                    <a:pt x="3251930" y="1304925"/>
                    <a:pt x="3251930" y="1308354"/>
                  </a:cubicBezTo>
                  <a:cubicBezTo>
                    <a:pt x="3251930" y="1311783"/>
                    <a:pt x="3249167" y="1314546"/>
                    <a:pt x="3245738" y="1314546"/>
                  </a:cubicBezTo>
                  <a:cubicBezTo>
                    <a:pt x="3242309" y="1314546"/>
                    <a:pt x="3239547" y="1311783"/>
                    <a:pt x="3239547" y="1308354"/>
                  </a:cubicBezTo>
                  <a:cubicBezTo>
                    <a:pt x="3239547" y="1304925"/>
                    <a:pt x="3242309" y="1302163"/>
                    <a:pt x="3245738" y="1302163"/>
                  </a:cubicBezTo>
                  <a:close/>
                  <a:moveTo>
                    <a:pt x="133063" y="1301687"/>
                  </a:moveTo>
                  <a:cubicBezTo>
                    <a:pt x="136492" y="1301687"/>
                    <a:pt x="139255" y="1304449"/>
                    <a:pt x="139255" y="1307878"/>
                  </a:cubicBezTo>
                  <a:cubicBezTo>
                    <a:pt x="139255" y="1311307"/>
                    <a:pt x="136492" y="1314070"/>
                    <a:pt x="133063" y="1314070"/>
                  </a:cubicBezTo>
                  <a:cubicBezTo>
                    <a:pt x="129634" y="1314070"/>
                    <a:pt x="126872" y="1311307"/>
                    <a:pt x="126872" y="1307878"/>
                  </a:cubicBezTo>
                  <a:cubicBezTo>
                    <a:pt x="126872" y="1304449"/>
                    <a:pt x="129634" y="1301687"/>
                    <a:pt x="133063" y="1301687"/>
                  </a:cubicBezTo>
                  <a:close/>
                  <a:moveTo>
                    <a:pt x="3263169" y="1300258"/>
                  </a:moveTo>
                  <a:cubicBezTo>
                    <a:pt x="3266598" y="1300258"/>
                    <a:pt x="3269360" y="1303020"/>
                    <a:pt x="3269360" y="1306449"/>
                  </a:cubicBezTo>
                  <a:cubicBezTo>
                    <a:pt x="3269360" y="1309878"/>
                    <a:pt x="3266598" y="1312641"/>
                    <a:pt x="3263169" y="1312641"/>
                  </a:cubicBezTo>
                  <a:cubicBezTo>
                    <a:pt x="3259740" y="1312641"/>
                    <a:pt x="3256978" y="1309878"/>
                    <a:pt x="3256978" y="1306449"/>
                  </a:cubicBezTo>
                  <a:cubicBezTo>
                    <a:pt x="3256978" y="1303020"/>
                    <a:pt x="3259740" y="1300258"/>
                    <a:pt x="3263169" y="1300258"/>
                  </a:cubicBezTo>
                  <a:close/>
                  <a:moveTo>
                    <a:pt x="3275171" y="1299115"/>
                  </a:moveTo>
                  <a:cubicBezTo>
                    <a:pt x="3278600" y="1299115"/>
                    <a:pt x="3281362" y="1301877"/>
                    <a:pt x="3281362" y="1305306"/>
                  </a:cubicBezTo>
                  <a:cubicBezTo>
                    <a:pt x="3281362" y="1308735"/>
                    <a:pt x="3278600" y="1311497"/>
                    <a:pt x="3275171" y="1311497"/>
                  </a:cubicBezTo>
                  <a:cubicBezTo>
                    <a:pt x="3271742" y="1311497"/>
                    <a:pt x="3268980" y="1308735"/>
                    <a:pt x="3268980" y="1305306"/>
                  </a:cubicBezTo>
                  <a:cubicBezTo>
                    <a:pt x="3268980" y="1301877"/>
                    <a:pt x="3271742" y="1299115"/>
                    <a:pt x="3275171" y="1299115"/>
                  </a:cubicBezTo>
                  <a:close/>
                  <a:moveTo>
                    <a:pt x="3066859" y="1297782"/>
                  </a:moveTo>
                  <a:cubicBezTo>
                    <a:pt x="3070288" y="1297782"/>
                    <a:pt x="3073051" y="1300544"/>
                    <a:pt x="3073051" y="1303973"/>
                  </a:cubicBezTo>
                  <a:cubicBezTo>
                    <a:pt x="3073051" y="1307402"/>
                    <a:pt x="3070288" y="1310164"/>
                    <a:pt x="3066859" y="1310164"/>
                  </a:cubicBezTo>
                  <a:cubicBezTo>
                    <a:pt x="3063430" y="1310164"/>
                    <a:pt x="3060668" y="1307402"/>
                    <a:pt x="3060668" y="1303973"/>
                  </a:cubicBezTo>
                  <a:cubicBezTo>
                    <a:pt x="3060668" y="1300544"/>
                    <a:pt x="3063430" y="1297782"/>
                    <a:pt x="3066859" y="1297782"/>
                  </a:cubicBezTo>
                  <a:close/>
                  <a:moveTo>
                    <a:pt x="3293077" y="1296258"/>
                  </a:moveTo>
                  <a:cubicBezTo>
                    <a:pt x="3296506" y="1296258"/>
                    <a:pt x="3299269" y="1299020"/>
                    <a:pt x="3299269" y="1302449"/>
                  </a:cubicBezTo>
                  <a:cubicBezTo>
                    <a:pt x="3299269" y="1305878"/>
                    <a:pt x="3296506" y="1308641"/>
                    <a:pt x="3293077" y="1308641"/>
                  </a:cubicBezTo>
                  <a:cubicBezTo>
                    <a:pt x="3289648" y="1308641"/>
                    <a:pt x="3286886" y="1305878"/>
                    <a:pt x="3286886" y="1302449"/>
                  </a:cubicBezTo>
                  <a:cubicBezTo>
                    <a:pt x="3286886" y="1299020"/>
                    <a:pt x="3289648" y="1296258"/>
                    <a:pt x="3293077" y="1296258"/>
                  </a:cubicBezTo>
                  <a:close/>
                  <a:moveTo>
                    <a:pt x="611695" y="1296162"/>
                  </a:moveTo>
                  <a:cubicBezTo>
                    <a:pt x="615124" y="1296162"/>
                    <a:pt x="617887" y="1298924"/>
                    <a:pt x="617887" y="1302353"/>
                  </a:cubicBezTo>
                  <a:cubicBezTo>
                    <a:pt x="617887" y="1305782"/>
                    <a:pt x="615124" y="1308544"/>
                    <a:pt x="611695" y="1308544"/>
                  </a:cubicBezTo>
                  <a:cubicBezTo>
                    <a:pt x="608266" y="1308544"/>
                    <a:pt x="605504" y="1305782"/>
                    <a:pt x="605504" y="1302353"/>
                  </a:cubicBezTo>
                  <a:cubicBezTo>
                    <a:pt x="605504" y="1298924"/>
                    <a:pt x="608266" y="1296162"/>
                    <a:pt x="611695" y="1296162"/>
                  </a:cubicBezTo>
                  <a:close/>
                  <a:moveTo>
                    <a:pt x="90868" y="1296067"/>
                  </a:moveTo>
                  <a:cubicBezTo>
                    <a:pt x="94297" y="1296067"/>
                    <a:pt x="97059" y="1298829"/>
                    <a:pt x="97059" y="1302258"/>
                  </a:cubicBezTo>
                  <a:cubicBezTo>
                    <a:pt x="97059" y="1305687"/>
                    <a:pt x="94297" y="1308450"/>
                    <a:pt x="90868" y="1308450"/>
                  </a:cubicBezTo>
                  <a:cubicBezTo>
                    <a:pt x="87439" y="1308450"/>
                    <a:pt x="84677" y="1305687"/>
                    <a:pt x="84677" y="1302258"/>
                  </a:cubicBezTo>
                  <a:cubicBezTo>
                    <a:pt x="84677" y="1298829"/>
                    <a:pt x="87439" y="1296067"/>
                    <a:pt x="90868" y="1296067"/>
                  </a:cubicBezTo>
                  <a:close/>
                  <a:moveTo>
                    <a:pt x="3191446" y="1295972"/>
                  </a:moveTo>
                  <a:cubicBezTo>
                    <a:pt x="3194875" y="1295972"/>
                    <a:pt x="3197637" y="1298734"/>
                    <a:pt x="3197637" y="1302163"/>
                  </a:cubicBezTo>
                  <a:cubicBezTo>
                    <a:pt x="3197637" y="1305592"/>
                    <a:pt x="3194875" y="1308355"/>
                    <a:pt x="3191446" y="1308355"/>
                  </a:cubicBezTo>
                  <a:cubicBezTo>
                    <a:pt x="3188017" y="1308355"/>
                    <a:pt x="3185255" y="1305592"/>
                    <a:pt x="3185255" y="1302163"/>
                  </a:cubicBezTo>
                  <a:cubicBezTo>
                    <a:pt x="3185255" y="1298734"/>
                    <a:pt x="3188017" y="1295972"/>
                    <a:pt x="3191446" y="1295972"/>
                  </a:cubicBezTo>
                  <a:close/>
                  <a:moveTo>
                    <a:pt x="71818" y="1294733"/>
                  </a:moveTo>
                  <a:cubicBezTo>
                    <a:pt x="75247" y="1294733"/>
                    <a:pt x="78009" y="1297495"/>
                    <a:pt x="78009" y="1300924"/>
                  </a:cubicBezTo>
                  <a:cubicBezTo>
                    <a:pt x="78009" y="1304353"/>
                    <a:pt x="75247" y="1307116"/>
                    <a:pt x="71818" y="1307116"/>
                  </a:cubicBezTo>
                  <a:cubicBezTo>
                    <a:pt x="68389" y="1307116"/>
                    <a:pt x="65627" y="1304353"/>
                    <a:pt x="65627" y="1300924"/>
                  </a:cubicBezTo>
                  <a:cubicBezTo>
                    <a:pt x="65627" y="1297495"/>
                    <a:pt x="68389" y="1294733"/>
                    <a:pt x="71818" y="1294733"/>
                  </a:cubicBezTo>
                  <a:close/>
                  <a:moveTo>
                    <a:pt x="59721" y="1294257"/>
                  </a:moveTo>
                  <a:cubicBezTo>
                    <a:pt x="63150" y="1294257"/>
                    <a:pt x="65913" y="1297019"/>
                    <a:pt x="65913" y="1300448"/>
                  </a:cubicBezTo>
                  <a:cubicBezTo>
                    <a:pt x="65913" y="1303877"/>
                    <a:pt x="63150" y="1306640"/>
                    <a:pt x="59721" y="1306640"/>
                  </a:cubicBezTo>
                  <a:cubicBezTo>
                    <a:pt x="56292" y="1306640"/>
                    <a:pt x="53530" y="1303877"/>
                    <a:pt x="53530" y="1300448"/>
                  </a:cubicBezTo>
                  <a:cubicBezTo>
                    <a:pt x="53530" y="1297019"/>
                    <a:pt x="56292" y="1294257"/>
                    <a:pt x="59721" y="1294257"/>
                  </a:cubicBezTo>
                  <a:close/>
                  <a:moveTo>
                    <a:pt x="284225" y="1290733"/>
                  </a:moveTo>
                  <a:cubicBezTo>
                    <a:pt x="287654" y="1290733"/>
                    <a:pt x="290416" y="1293495"/>
                    <a:pt x="290416" y="1296924"/>
                  </a:cubicBezTo>
                  <a:cubicBezTo>
                    <a:pt x="290416" y="1300353"/>
                    <a:pt x="287654" y="1303116"/>
                    <a:pt x="284225" y="1303116"/>
                  </a:cubicBezTo>
                  <a:cubicBezTo>
                    <a:pt x="280796" y="1303116"/>
                    <a:pt x="278034" y="1300353"/>
                    <a:pt x="278034" y="1296924"/>
                  </a:cubicBezTo>
                  <a:cubicBezTo>
                    <a:pt x="278034" y="1293495"/>
                    <a:pt x="280796" y="1290733"/>
                    <a:pt x="284225" y="1290733"/>
                  </a:cubicBezTo>
                  <a:close/>
                  <a:moveTo>
                    <a:pt x="3237071" y="1290542"/>
                  </a:moveTo>
                  <a:cubicBezTo>
                    <a:pt x="3240500" y="1290542"/>
                    <a:pt x="3243262" y="1293304"/>
                    <a:pt x="3243262" y="1296733"/>
                  </a:cubicBezTo>
                  <a:cubicBezTo>
                    <a:pt x="3243262" y="1300162"/>
                    <a:pt x="3240500" y="1302925"/>
                    <a:pt x="3237071" y="1302925"/>
                  </a:cubicBezTo>
                  <a:cubicBezTo>
                    <a:pt x="3233642" y="1302925"/>
                    <a:pt x="3230880" y="1300162"/>
                    <a:pt x="3230880" y="1296733"/>
                  </a:cubicBezTo>
                  <a:cubicBezTo>
                    <a:pt x="3230880" y="1293304"/>
                    <a:pt x="3233642" y="1290542"/>
                    <a:pt x="3237071" y="1290542"/>
                  </a:cubicBezTo>
                  <a:close/>
                  <a:moveTo>
                    <a:pt x="2686716" y="1290066"/>
                  </a:moveTo>
                  <a:cubicBezTo>
                    <a:pt x="2690145" y="1290066"/>
                    <a:pt x="2692907" y="1292828"/>
                    <a:pt x="2692907" y="1296257"/>
                  </a:cubicBezTo>
                  <a:cubicBezTo>
                    <a:pt x="2692907" y="1299686"/>
                    <a:pt x="2690145" y="1302449"/>
                    <a:pt x="2686716" y="1302449"/>
                  </a:cubicBezTo>
                  <a:cubicBezTo>
                    <a:pt x="2683287" y="1302449"/>
                    <a:pt x="2680525" y="1299686"/>
                    <a:pt x="2680525" y="1296257"/>
                  </a:cubicBezTo>
                  <a:cubicBezTo>
                    <a:pt x="2680525" y="1292828"/>
                    <a:pt x="2683287" y="1290066"/>
                    <a:pt x="2686716" y="1290066"/>
                  </a:cubicBezTo>
                  <a:close/>
                  <a:moveTo>
                    <a:pt x="3270217" y="1289971"/>
                  </a:moveTo>
                  <a:cubicBezTo>
                    <a:pt x="3273646" y="1289971"/>
                    <a:pt x="3276409" y="1292733"/>
                    <a:pt x="3276409" y="1296162"/>
                  </a:cubicBezTo>
                  <a:cubicBezTo>
                    <a:pt x="3276409" y="1299591"/>
                    <a:pt x="3273646" y="1302354"/>
                    <a:pt x="3270217" y="1302354"/>
                  </a:cubicBezTo>
                  <a:cubicBezTo>
                    <a:pt x="3266788" y="1302354"/>
                    <a:pt x="3264026" y="1299591"/>
                    <a:pt x="3264026" y="1296162"/>
                  </a:cubicBezTo>
                  <a:cubicBezTo>
                    <a:pt x="3264026" y="1292733"/>
                    <a:pt x="3266788" y="1289971"/>
                    <a:pt x="3270217" y="1289971"/>
                  </a:cubicBezTo>
                  <a:close/>
                  <a:moveTo>
                    <a:pt x="3257835" y="1289780"/>
                  </a:moveTo>
                  <a:cubicBezTo>
                    <a:pt x="3261264" y="1289780"/>
                    <a:pt x="3264026" y="1292542"/>
                    <a:pt x="3264026" y="1295971"/>
                  </a:cubicBezTo>
                  <a:cubicBezTo>
                    <a:pt x="3264026" y="1299400"/>
                    <a:pt x="3261264" y="1302163"/>
                    <a:pt x="3257835" y="1302163"/>
                  </a:cubicBezTo>
                  <a:cubicBezTo>
                    <a:pt x="3254406" y="1302163"/>
                    <a:pt x="3251644" y="1299400"/>
                    <a:pt x="3251644" y="1295971"/>
                  </a:cubicBezTo>
                  <a:cubicBezTo>
                    <a:pt x="3251644" y="1292542"/>
                    <a:pt x="3254406" y="1289780"/>
                    <a:pt x="3257835" y="1289780"/>
                  </a:cubicBezTo>
                  <a:close/>
                  <a:moveTo>
                    <a:pt x="150304" y="1289209"/>
                  </a:moveTo>
                  <a:cubicBezTo>
                    <a:pt x="153733" y="1289209"/>
                    <a:pt x="156496" y="1291971"/>
                    <a:pt x="156496" y="1295400"/>
                  </a:cubicBezTo>
                  <a:cubicBezTo>
                    <a:pt x="156496" y="1298829"/>
                    <a:pt x="153733" y="1301592"/>
                    <a:pt x="150304" y="1301592"/>
                  </a:cubicBezTo>
                  <a:cubicBezTo>
                    <a:pt x="146875" y="1301592"/>
                    <a:pt x="144113" y="1298829"/>
                    <a:pt x="144113" y="1295400"/>
                  </a:cubicBezTo>
                  <a:cubicBezTo>
                    <a:pt x="144113" y="1291971"/>
                    <a:pt x="146875" y="1289209"/>
                    <a:pt x="150304" y="1289209"/>
                  </a:cubicBezTo>
                  <a:close/>
                  <a:moveTo>
                    <a:pt x="3286410" y="1288542"/>
                  </a:moveTo>
                  <a:cubicBezTo>
                    <a:pt x="3289839" y="1288542"/>
                    <a:pt x="3292601" y="1291304"/>
                    <a:pt x="3292601" y="1294733"/>
                  </a:cubicBezTo>
                  <a:cubicBezTo>
                    <a:pt x="3292601" y="1298162"/>
                    <a:pt x="3289839" y="1300925"/>
                    <a:pt x="3286410" y="1300925"/>
                  </a:cubicBezTo>
                  <a:cubicBezTo>
                    <a:pt x="3282981" y="1300925"/>
                    <a:pt x="3280219" y="1298162"/>
                    <a:pt x="3280219" y="1294733"/>
                  </a:cubicBezTo>
                  <a:cubicBezTo>
                    <a:pt x="3280219" y="1291304"/>
                    <a:pt x="3282981" y="1288542"/>
                    <a:pt x="3286410" y="1288542"/>
                  </a:cubicBezTo>
                  <a:close/>
                  <a:moveTo>
                    <a:pt x="49149" y="1286352"/>
                  </a:moveTo>
                  <a:cubicBezTo>
                    <a:pt x="51411" y="1286352"/>
                    <a:pt x="53245" y="1288186"/>
                    <a:pt x="53245" y="1290448"/>
                  </a:cubicBezTo>
                  <a:cubicBezTo>
                    <a:pt x="53245" y="1292710"/>
                    <a:pt x="51411" y="1294543"/>
                    <a:pt x="49149" y="1294543"/>
                  </a:cubicBezTo>
                  <a:cubicBezTo>
                    <a:pt x="46887" y="1294543"/>
                    <a:pt x="45053" y="1292710"/>
                    <a:pt x="45053" y="1290448"/>
                  </a:cubicBezTo>
                  <a:cubicBezTo>
                    <a:pt x="45053" y="1288186"/>
                    <a:pt x="46887" y="1286352"/>
                    <a:pt x="49149" y="1286352"/>
                  </a:cubicBezTo>
                  <a:close/>
                  <a:moveTo>
                    <a:pt x="64579" y="1284828"/>
                  </a:moveTo>
                  <a:cubicBezTo>
                    <a:pt x="68008" y="1284828"/>
                    <a:pt x="70770" y="1287590"/>
                    <a:pt x="70770" y="1291019"/>
                  </a:cubicBezTo>
                  <a:cubicBezTo>
                    <a:pt x="70770" y="1294448"/>
                    <a:pt x="68008" y="1297210"/>
                    <a:pt x="64579" y="1297210"/>
                  </a:cubicBezTo>
                  <a:cubicBezTo>
                    <a:pt x="61150" y="1297210"/>
                    <a:pt x="58388" y="1294448"/>
                    <a:pt x="58388" y="1291019"/>
                  </a:cubicBezTo>
                  <a:cubicBezTo>
                    <a:pt x="58388" y="1287590"/>
                    <a:pt x="61150" y="1284828"/>
                    <a:pt x="64579" y="1284828"/>
                  </a:cubicBezTo>
                  <a:close/>
                  <a:moveTo>
                    <a:pt x="3030568" y="1284542"/>
                  </a:moveTo>
                  <a:cubicBezTo>
                    <a:pt x="3033997" y="1284542"/>
                    <a:pt x="3036760" y="1287304"/>
                    <a:pt x="3036760" y="1290733"/>
                  </a:cubicBezTo>
                  <a:cubicBezTo>
                    <a:pt x="3036760" y="1294162"/>
                    <a:pt x="3033997" y="1296924"/>
                    <a:pt x="3030568" y="1296924"/>
                  </a:cubicBezTo>
                  <a:cubicBezTo>
                    <a:pt x="3027139" y="1296924"/>
                    <a:pt x="3024377" y="1294162"/>
                    <a:pt x="3024377" y="1290733"/>
                  </a:cubicBezTo>
                  <a:cubicBezTo>
                    <a:pt x="3024377" y="1287304"/>
                    <a:pt x="3027139" y="1284542"/>
                    <a:pt x="3030568" y="1284542"/>
                  </a:cubicBezTo>
                  <a:close/>
                  <a:moveTo>
                    <a:pt x="100202" y="1284161"/>
                  </a:moveTo>
                  <a:cubicBezTo>
                    <a:pt x="103631" y="1284161"/>
                    <a:pt x="106394" y="1286923"/>
                    <a:pt x="106394" y="1290352"/>
                  </a:cubicBezTo>
                  <a:cubicBezTo>
                    <a:pt x="106394" y="1293781"/>
                    <a:pt x="103631" y="1296544"/>
                    <a:pt x="100202" y="1296544"/>
                  </a:cubicBezTo>
                  <a:cubicBezTo>
                    <a:pt x="96773" y="1296544"/>
                    <a:pt x="94011" y="1293781"/>
                    <a:pt x="94011" y="1290352"/>
                  </a:cubicBezTo>
                  <a:cubicBezTo>
                    <a:pt x="94011" y="1286923"/>
                    <a:pt x="96773" y="1284161"/>
                    <a:pt x="100202" y="1284161"/>
                  </a:cubicBezTo>
                  <a:close/>
                  <a:moveTo>
                    <a:pt x="77342" y="1283875"/>
                  </a:moveTo>
                  <a:cubicBezTo>
                    <a:pt x="80771" y="1283875"/>
                    <a:pt x="83534" y="1286637"/>
                    <a:pt x="83534" y="1290066"/>
                  </a:cubicBezTo>
                  <a:cubicBezTo>
                    <a:pt x="83534" y="1293495"/>
                    <a:pt x="80771" y="1296258"/>
                    <a:pt x="77342" y="1296258"/>
                  </a:cubicBezTo>
                  <a:cubicBezTo>
                    <a:pt x="73913" y="1296258"/>
                    <a:pt x="71151" y="1293495"/>
                    <a:pt x="71151" y="1290066"/>
                  </a:cubicBezTo>
                  <a:cubicBezTo>
                    <a:pt x="71151" y="1286637"/>
                    <a:pt x="73913" y="1283875"/>
                    <a:pt x="77342" y="1283875"/>
                  </a:cubicBezTo>
                  <a:close/>
                  <a:moveTo>
                    <a:pt x="3172967" y="1283208"/>
                  </a:moveTo>
                  <a:cubicBezTo>
                    <a:pt x="3176396" y="1283208"/>
                    <a:pt x="3179158" y="1285970"/>
                    <a:pt x="3179158" y="1289399"/>
                  </a:cubicBezTo>
                  <a:cubicBezTo>
                    <a:pt x="3179158" y="1292828"/>
                    <a:pt x="3176396" y="1295590"/>
                    <a:pt x="3172967" y="1295590"/>
                  </a:cubicBezTo>
                  <a:cubicBezTo>
                    <a:pt x="3169538" y="1295590"/>
                    <a:pt x="3166776" y="1292828"/>
                    <a:pt x="3166776" y="1289399"/>
                  </a:cubicBezTo>
                  <a:cubicBezTo>
                    <a:pt x="3166776" y="1285970"/>
                    <a:pt x="3169538" y="1283208"/>
                    <a:pt x="3172967" y="1283208"/>
                  </a:cubicBezTo>
                  <a:close/>
                  <a:moveTo>
                    <a:pt x="686180" y="1282922"/>
                  </a:moveTo>
                  <a:cubicBezTo>
                    <a:pt x="689609" y="1282922"/>
                    <a:pt x="692372" y="1285684"/>
                    <a:pt x="692372" y="1289113"/>
                  </a:cubicBezTo>
                  <a:cubicBezTo>
                    <a:pt x="692372" y="1292542"/>
                    <a:pt x="689609" y="1295305"/>
                    <a:pt x="686180" y="1295305"/>
                  </a:cubicBezTo>
                  <a:cubicBezTo>
                    <a:pt x="682751" y="1295305"/>
                    <a:pt x="679989" y="1292542"/>
                    <a:pt x="679989" y="1289113"/>
                  </a:cubicBezTo>
                  <a:cubicBezTo>
                    <a:pt x="679989" y="1285684"/>
                    <a:pt x="682751" y="1282922"/>
                    <a:pt x="686180" y="1282922"/>
                  </a:cubicBezTo>
                  <a:close/>
                  <a:moveTo>
                    <a:pt x="3280124" y="1280446"/>
                  </a:moveTo>
                  <a:cubicBezTo>
                    <a:pt x="3283553" y="1280446"/>
                    <a:pt x="3286315" y="1283208"/>
                    <a:pt x="3286315" y="1286637"/>
                  </a:cubicBezTo>
                  <a:cubicBezTo>
                    <a:pt x="3286315" y="1290066"/>
                    <a:pt x="3283553" y="1292829"/>
                    <a:pt x="3280124" y="1292829"/>
                  </a:cubicBezTo>
                  <a:cubicBezTo>
                    <a:pt x="3276695" y="1292829"/>
                    <a:pt x="3273933" y="1290066"/>
                    <a:pt x="3273933" y="1286637"/>
                  </a:cubicBezTo>
                  <a:cubicBezTo>
                    <a:pt x="3273933" y="1283208"/>
                    <a:pt x="3276695" y="1280446"/>
                    <a:pt x="3280124" y="1280446"/>
                  </a:cubicBezTo>
                  <a:close/>
                  <a:moveTo>
                    <a:pt x="3265265" y="1280255"/>
                  </a:moveTo>
                  <a:cubicBezTo>
                    <a:pt x="3268694" y="1280255"/>
                    <a:pt x="3271456" y="1283017"/>
                    <a:pt x="3271456" y="1286446"/>
                  </a:cubicBezTo>
                  <a:cubicBezTo>
                    <a:pt x="3271456" y="1289875"/>
                    <a:pt x="3268694" y="1292638"/>
                    <a:pt x="3265265" y="1292638"/>
                  </a:cubicBezTo>
                  <a:cubicBezTo>
                    <a:pt x="3261836" y="1292638"/>
                    <a:pt x="3259074" y="1289875"/>
                    <a:pt x="3259074" y="1286446"/>
                  </a:cubicBezTo>
                  <a:cubicBezTo>
                    <a:pt x="3259074" y="1283017"/>
                    <a:pt x="3261836" y="1280255"/>
                    <a:pt x="3265265" y="1280255"/>
                  </a:cubicBezTo>
                  <a:close/>
                  <a:moveTo>
                    <a:pt x="3252025" y="1278636"/>
                  </a:moveTo>
                  <a:cubicBezTo>
                    <a:pt x="3255454" y="1278636"/>
                    <a:pt x="3258217" y="1281398"/>
                    <a:pt x="3258217" y="1284827"/>
                  </a:cubicBezTo>
                  <a:cubicBezTo>
                    <a:pt x="3258217" y="1288256"/>
                    <a:pt x="3255454" y="1291019"/>
                    <a:pt x="3252025" y="1291019"/>
                  </a:cubicBezTo>
                  <a:cubicBezTo>
                    <a:pt x="3248596" y="1291019"/>
                    <a:pt x="3245834" y="1288256"/>
                    <a:pt x="3245834" y="1284827"/>
                  </a:cubicBezTo>
                  <a:cubicBezTo>
                    <a:pt x="3245834" y="1281398"/>
                    <a:pt x="3248596" y="1278636"/>
                    <a:pt x="3252025" y="1278636"/>
                  </a:cubicBezTo>
                  <a:close/>
                  <a:moveTo>
                    <a:pt x="3227069" y="1278446"/>
                  </a:moveTo>
                  <a:cubicBezTo>
                    <a:pt x="3230498" y="1278446"/>
                    <a:pt x="3233261" y="1281208"/>
                    <a:pt x="3233261" y="1284637"/>
                  </a:cubicBezTo>
                  <a:cubicBezTo>
                    <a:pt x="3233261" y="1288066"/>
                    <a:pt x="3230498" y="1290828"/>
                    <a:pt x="3227069" y="1290828"/>
                  </a:cubicBezTo>
                  <a:cubicBezTo>
                    <a:pt x="3223640" y="1290828"/>
                    <a:pt x="3220878" y="1288066"/>
                    <a:pt x="3220878" y="1284637"/>
                  </a:cubicBezTo>
                  <a:cubicBezTo>
                    <a:pt x="3220878" y="1281208"/>
                    <a:pt x="3223640" y="1278446"/>
                    <a:pt x="3227069" y="1278446"/>
                  </a:cubicBezTo>
                  <a:close/>
                  <a:moveTo>
                    <a:pt x="3305556" y="1277684"/>
                  </a:moveTo>
                  <a:cubicBezTo>
                    <a:pt x="3308699" y="1277684"/>
                    <a:pt x="3311271" y="1280256"/>
                    <a:pt x="3311271" y="1283399"/>
                  </a:cubicBezTo>
                  <a:cubicBezTo>
                    <a:pt x="3311271" y="1286542"/>
                    <a:pt x="3308699" y="1289114"/>
                    <a:pt x="3305556" y="1289114"/>
                  </a:cubicBezTo>
                  <a:cubicBezTo>
                    <a:pt x="3302413" y="1289114"/>
                    <a:pt x="3299841" y="1286542"/>
                    <a:pt x="3299841" y="1283399"/>
                  </a:cubicBezTo>
                  <a:cubicBezTo>
                    <a:pt x="3299841" y="1280256"/>
                    <a:pt x="3302413" y="1277684"/>
                    <a:pt x="3305556" y="1277684"/>
                  </a:cubicBezTo>
                  <a:close/>
                  <a:moveTo>
                    <a:pt x="322802" y="1277208"/>
                  </a:moveTo>
                  <a:cubicBezTo>
                    <a:pt x="326231" y="1277208"/>
                    <a:pt x="328993" y="1279970"/>
                    <a:pt x="328993" y="1283399"/>
                  </a:cubicBezTo>
                  <a:cubicBezTo>
                    <a:pt x="328993" y="1286828"/>
                    <a:pt x="326231" y="1289591"/>
                    <a:pt x="322802" y="1289591"/>
                  </a:cubicBezTo>
                  <a:cubicBezTo>
                    <a:pt x="319373" y="1289591"/>
                    <a:pt x="316611" y="1286828"/>
                    <a:pt x="316611" y="1283399"/>
                  </a:cubicBezTo>
                  <a:cubicBezTo>
                    <a:pt x="316611" y="1279970"/>
                    <a:pt x="319373" y="1277208"/>
                    <a:pt x="322802" y="1277208"/>
                  </a:cubicBezTo>
                  <a:close/>
                  <a:moveTo>
                    <a:pt x="2608897" y="1276636"/>
                  </a:moveTo>
                  <a:cubicBezTo>
                    <a:pt x="2612326" y="1276636"/>
                    <a:pt x="2615088" y="1279398"/>
                    <a:pt x="2615088" y="1282827"/>
                  </a:cubicBezTo>
                  <a:cubicBezTo>
                    <a:pt x="2615088" y="1286256"/>
                    <a:pt x="2612326" y="1289019"/>
                    <a:pt x="2608897" y="1289019"/>
                  </a:cubicBezTo>
                  <a:cubicBezTo>
                    <a:pt x="2605468" y="1289019"/>
                    <a:pt x="2602706" y="1286256"/>
                    <a:pt x="2602706" y="1282827"/>
                  </a:cubicBezTo>
                  <a:cubicBezTo>
                    <a:pt x="2602706" y="1279398"/>
                    <a:pt x="2605468" y="1276636"/>
                    <a:pt x="2608897" y="1276636"/>
                  </a:cubicBezTo>
                  <a:close/>
                  <a:moveTo>
                    <a:pt x="170211" y="1276160"/>
                  </a:moveTo>
                  <a:cubicBezTo>
                    <a:pt x="173640" y="1276160"/>
                    <a:pt x="176403" y="1278922"/>
                    <a:pt x="176403" y="1282351"/>
                  </a:cubicBezTo>
                  <a:cubicBezTo>
                    <a:pt x="176403" y="1285780"/>
                    <a:pt x="173640" y="1288543"/>
                    <a:pt x="170211" y="1288543"/>
                  </a:cubicBezTo>
                  <a:cubicBezTo>
                    <a:pt x="166782" y="1288543"/>
                    <a:pt x="164020" y="1285780"/>
                    <a:pt x="164020" y="1282351"/>
                  </a:cubicBezTo>
                  <a:cubicBezTo>
                    <a:pt x="164020" y="1278922"/>
                    <a:pt x="166782" y="1276160"/>
                    <a:pt x="170211" y="1276160"/>
                  </a:cubicBezTo>
                  <a:close/>
                  <a:moveTo>
                    <a:pt x="55244" y="1275779"/>
                  </a:moveTo>
                  <a:cubicBezTo>
                    <a:pt x="58673" y="1275779"/>
                    <a:pt x="61435" y="1278541"/>
                    <a:pt x="61435" y="1281970"/>
                  </a:cubicBezTo>
                  <a:cubicBezTo>
                    <a:pt x="61435" y="1285399"/>
                    <a:pt x="58673" y="1288162"/>
                    <a:pt x="55244" y="1288162"/>
                  </a:cubicBezTo>
                  <a:cubicBezTo>
                    <a:pt x="51815" y="1288162"/>
                    <a:pt x="49053" y="1285399"/>
                    <a:pt x="49053" y="1281970"/>
                  </a:cubicBezTo>
                  <a:cubicBezTo>
                    <a:pt x="49053" y="1278541"/>
                    <a:pt x="51815" y="1275779"/>
                    <a:pt x="55244" y="1275779"/>
                  </a:cubicBezTo>
                  <a:close/>
                  <a:moveTo>
                    <a:pt x="69532" y="1274826"/>
                  </a:moveTo>
                  <a:cubicBezTo>
                    <a:pt x="72961" y="1274826"/>
                    <a:pt x="75723" y="1277588"/>
                    <a:pt x="75723" y="1281017"/>
                  </a:cubicBezTo>
                  <a:cubicBezTo>
                    <a:pt x="75723" y="1284446"/>
                    <a:pt x="72961" y="1287209"/>
                    <a:pt x="69532" y="1287209"/>
                  </a:cubicBezTo>
                  <a:cubicBezTo>
                    <a:pt x="66103" y="1287209"/>
                    <a:pt x="63341" y="1284446"/>
                    <a:pt x="63341" y="1281017"/>
                  </a:cubicBezTo>
                  <a:cubicBezTo>
                    <a:pt x="63341" y="1277588"/>
                    <a:pt x="66103" y="1274826"/>
                    <a:pt x="69532" y="1274826"/>
                  </a:cubicBezTo>
                  <a:close/>
                  <a:moveTo>
                    <a:pt x="83629" y="1272540"/>
                  </a:moveTo>
                  <a:cubicBezTo>
                    <a:pt x="87058" y="1272540"/>
                    <a:pt x="89821" y="1275302"/>
                    <a:pt x="89821" y="1278731"/>
                  </a:cubicBezTo>
                  <a:cubicBezTo>
                    <a:pt x="89821" y="1282160"/>
                    <a:pt x="87058" y="1284923"/>
                    <a:pt x="83629" y="1284923"/>
                  </a:cubicBezTo>
                  <a:cubicBezTo>
                    <a:pt x="80200" y="1284923"/>
                    <a:pt x="77438" y="1282160"/>
                    <a:pt x="77438" y="1278731"/>
                  </a:cubicBezTo>
                  <a:cubicBezTo>
                    <a:pt x="77438" y="1275302"/>
                    <a:pt x="80200" y="1272540"/>
                    <a:pt x="83629" y="1272540"/>
                  </a:cubicBezTo>
                  <a:close/>
                  <a:moveTo>
                    <a:pt x="3274218" y="1271683"/>
                  </a:moveTo>
                  <a:cubicBezTo>
                    <a:pt x="3277647" y="1271683"/>
                    <a:pt x="3280409" y="1274445"/>
                    <a:pt x="3280409" y="1277874"/>
                  </a:cubicBezTo>
                  <a:cubicBezTo>
                    <a:pt x="3280409" y="1281303"/>
                    <a:pt x="3277647" y="1284066"/>
                    <a:pt x="3274218" y="1284066"/>
                  </a:cubicBezTo>
                  <a:cubicBezTo>
                    <a:pt x="3270789" y="1284066"/>
                    <a:pt x="3268027" y="1281303"/>
                    <a:pt x="3268027" y="1277874"/>
                  </a:cubicBezTo>
                  <a:cubicBezTo>
                    <a:pt x="3268027" y="1274445"/>
                    <a:pt x="3270789" y="1271683"/>
                    <a:pt x="3274218" y="1271683"/>
                  </a:cubicBezTo>
                  <a:close/>
                  <a:moveTo>
                    <a:pt x="111156" y="1271683"/>
                  </a:moveTo>
                  <a:cubicBezTo>
                    <a:pt x="114585" y="1271683"/>
                    <a:pt x="117347" y="1274445"/>
                    <a:pt x="117347" y="1277874"/>
                  </a:cubicBezTo>
                  <a:cubicBezTo>
                    <a:pt x="117347" y="1281303"/>
                    <a:pt x="114585" y="1284066"/>
                    <a:pt x="111156" y="1284066"/>
                  </a:cubicBezTo>
                  <a:cubicBezTo>
                    <a:pt x="107727" y="1284066"/>
                    <a:pt x="104965" y="1281303"/>
                    <a:pt x="104965" y="1277874"/>
                  </a:cubicBezTo>
                  <a:cubicBezTo>
                    <a:pt x="104965" y="1274445"/>
                    <a:pt x="107727" y="1271683"/>
                    <a:pt x="111156" y="1271683"/>
                  </a:cubicBezTo>
                  <a:close/>
                  <a:moveTo>
                    <a:pt x="2989897" y="1270730"/>
                  </a:moveTo>
                  <a:cubicBezTo>
                    <a:pt x="2993326" y="1270730"/>
                    <a:pt x="2996088" y="1273492"/>
                    <a:pt x="2996088" y="1276921"/>
                  </a:cubicBezTo>
                  <a:cubicBezTo>
                    <a:pt x="2996088" y="1280350"/>
                    <a:pt x="2993326" y="1283113"/>
                    <a:pt x="2989897" y="1283113"/>
                  </a:cubicBezTo>
                  <a:cubicBezTo>
                    <a:pt x="2986468" y="1283113"/>
                    <a:pt x="2983706" y="1280350"/>
                    <a:pt x="2983706" y="1276921"/>
                  </a:cubicBezTo>
                  <a:cubicBezTo>
                    <a:pt x="2983706" y="1273492"/>
                    <a:pt x="2986468" y="1270730"/>
                    <a:pt x="2989897" y="1270730"/>
                  </a:cubicBezTo>
                  <a:close/>
                  <a:moveTo>
                    <a:pt x="3297078" y="1270254"/>
                  </a:moveTo>
                  <a:cubicBezTo>
                    <a:pt x="3300507" y="1270254"/>
                    <a:pt x="3303269" y="1273016"/>
                    <a:pt x="3303269" y="1276445"/>
                  </a:cubicBezTo>
                  <a:cubicBezTo>
                    <a:pt x="3303269" y="1279874"/>
                    <a:pt x="3300507" y="1282636"/>
                    <a:pt x="3297078" y="1282636"/>
                  </a:cubicBezTo>
                  <a:cubicBezTo>
                    <a:pt x="3293649" y="1282636"/>
                    <a:pt x="3290887" y="1279874"/>
                    <a:pt x="3290887" y="1276445"/>
                  </a:cubicBezTo>
                  <a:cubicBezTo>
                    <a:pt x="3290887" y="1273016"/>
                    <a:pt x="3293649" y="1270254"/>
                    <a:pt x="3297078" y="1270254"/>
                  </a:cubicBezTo>
                  <a:close/>
                  <a:moveTo>
                    <a:pt x="3260312" y="1269969"/>
                  </a:moveTo>
                  <a:cubicBezTo>
                    <a:pt x="3263741" y="1269969"/>
                    <a:pt x="3266503" y="1272731"/>
                    <a:pt x="3266503" y="1276160"/>
                  </a:cubicBezTo>
                  <a:cubicBezTo>
                    <a:pt x="3266503" y="1279589"/>
                    <a:pt x="3263741" y="1282351"/>
                    <a:pt x="3260312" y="1282351"/>
                  </a:cubicBezTo>
                  <a:cubicBezTo>
                    <a:pt x="3256883" y="1282351"/>
                    <a:pt x="3254121" y="1279589"/>
                    <a:pt x="3254121" y="1276160"/>
                  </a:cubicBezTo>
                  <a:cubicBezTo>
                    <a:pt x="3254121" y="1272731"/>
                    <a:pt x="3256883" y="1269969"/>
                    <a:pt x="3260312" y="1269969"/>
                  </a:cubicBezTo>
                  <a:close/>
                  <a:moveTo>
                    <a:pt x="3151822" y="1269873"/>
                  </a:moveTo>
                  <a:cubicBezTo>
                    <a:pt x="3155251" y="1269873"/>
                    <a:pt x="3158013" y="1272635"/>
                    <a:pt x="3158013" y="1276064"/>
                  </a:cubicBezTo>
                  <a:cubicBezTo>
                    <a:pt x="3158013" y="1279493"/>
                    <a:pt x="3155251" y="1282256"/>
                    <a:pt x="3151822" y="1282256"/>
                  </a:cubicBezTo>
                  <a:cubicBezTo>
                    <a:pt x="3148393" y="1282256"/>
                    <a:pt x="3145631" y="1279493"/>
                    <a:pt x="3145631" y="1276064"/>
                  </a:cubicBezTo>
                  <a:cubicBezTo>
                    <a:pt x="3145631" y="1272635"/>
                    <a:pt x="3148393" y="1269873"/>
                    <a:pt x="3151822" y="1269873"/>
                  </a:cubicBezTo>
                  <a:close/>
                  <a:moveTo>
                    <a:pt x="767905" y="1269397"/>
                  </a:moveTo>
                  <a:cubicBezTo>
                    <a:pt x="771334" y="1269397"/>
                    <a:pt x="774096" y="1272159"/>
                    <a:pt x="774096" y="1275588"/>
                  </a:cubicBezTo>
                  <a:cubicBezTo>
                    <a:pt x="774096" y="1279017"/>
                    <a:pt x="771334" y="1281780"/>
                    <a:pt x="767905" y="1281780"/>
                  </a:cubicBezTo>
                  <a:cubicBezTo>
                    <a:pt x="764476" y="1281780"/>
                    <a:pt x="761714" y="1279017"/>
                    <a:pt x="761714" y="1275588"/>
                  </a:cubicBezTo>
                  <a:cubicBezTo>
                    <a:pt x="761714" y="1272159"/>
                    <a:pt x="764476" y="1269397"/>
                    <a:pt x="767905" y="1269397"/>
                  </a:cubicBezTo>
                  <a:close/>
                  <a:moveTo>
                    <a:pt x="3245357" y="1267016"/>
                  </a:moveTo>
                  <a:cubicBezTo>
                    <a:pt x="3248786" y="1267016"/>
                    <a:pt x="3251548" y="1269778"/>
                    <a:pt x="3251548" y="1273207"/>
                  </a:cubicBezTo>
                  <a:cubicBezTo>
                    <a:pt x="3251548" y="1276636"/>
                    <a:pt x="3248786" y="1279399"/>
                    <a:pt x="3245357" y="1279399"/>
                  </a:cubicBezTo>
                  <a:cubicBezTo>
                    <a:pt x="3241928" y="1279399"/>
                    <a:pt x="3239166" y="1276636"/>
                    <a:pt x="3239166" y="1273207"/>
                  </a:cubicBezTo>
                  <a:cubicBezTo>
                    <a:pt x="3239166" y="1269778"/>
                    <a:pt x="3241928" y="1267016"/>
                    <a:pt x="3245357" y="1267016"/>
                  </a:cubicBezTo>
                  <a:close/>
                  <a:moveTo>
                    <a:pt x="60959" y="1266825"/>
                  </a:moveTo>
                  <a:cubicBezTo>
                    <a:pt x="64388" y="1266825"/>
                    <a:pt x="67151" y="1269587"/>
                    <a:pt x="67151" y="1273016"/>
                  </a:cubicBezTo>
                  <a:cubicBezTo>
                    <a:pt x="67151" y="1276445"/>
                    <a:pt x="64388" y="1279207"/>
                    <a:pt x="60959" y="1279207"/>
                  </a:cubicBezTo>
                  <a:cubicBezTo>
                    <a:pt x="57530" y="1279207"/>
                    <a:pt x="54768" y="1276445"/>
                    <a:pt x="54768" y="1273016"/>
                  </a:cubicBezTo>
                  <a:cubicBezTo>
                    <a:pt x="54768" y="1269587"/>
                    <a:pt x="57530" y="1266825"/>
                    <a:pt x="60959" y="1266825"/>
                  </a:cubicBezTo>
                  <a:close/>
                  <a:moveTo>
                    <a:pt x="3215449" y="1265682"/>
                  </a:moveTo>
                  <a:cubicBezTo>
                    <a:pt x="3218878" y="1265682"/>
                    <a:pt x="3221641" y="1268444"/>
                    <a:pt x="3221641" y="1271873"/>
                  </a:cubicBezTo>
                  <a:cubicBezTo>
                    <a:pt x="3221641" y="1275302"/>
                    <a:pt x="3218878" y="1278065"/>
                    <a:pt x="3215449" y="1278065"/>
                  </a:cubicBezTo>
                  <a:cubicBezTo>
                    <a:pt x="3212020" y="1278065"/>
                    <a:pt x="3209258" y="1275302"/>
                    <a:pt x="3209258" y="1271873"/>
                  </a:cubicBezTo>
                  <a:cubicBezTo>
                    <a:pt x="3209258" y="1268444"/>
                    <a:pt x="3212020" y="1265682"/>
                    <a:pt x="3215449" y="1265682"/>
                  </a:cubicBezTo>
                  <a:close/>
                  <a:moveTo>
                    <a:pt x="74675" y="1264254"/>
                  </a:moveTo>
                  <a:cubicBezTo>
                    <a:pt x="78104" y="1264254"/>
                    <a:pt x="80866" y="1267016"/>
                    <a:pt x="80866" y="1270445"/>
                  </a:cubicBezTo>
                  <a:cubicBezTo>
                    <a:pt x="80866" y="1273874"/>
                    <a:pt x="78104" y="1276637"/>
                    <a:pt x="74675" y="1276637"/>
                  </a:cubicBezTo>
                  <a:cubicBezTo>
                    <a:pt x="71246" y="1276637"/>
                    <a:pt x="68484" y="1273874"/>
                    <a:pt x="68484" y="1270445"/>
                  </a:cubicBezTo>
                  <a:cubicBezTo>
                    <a:pt x="68484" y="1267016"/>
                    <a:pt x="71246" y="1264254"/>
                    <a:pt x="74675" y="1264254"/>
                  </a:cubicBezTo>
                  <a:close/>
                  <a:moveTo>
                    <a:pt x="365950" y="1263206"/>
                  </a:moveTo>
                  <a:cubicBezTo>
                    <a:pt x="369379" y="1263206"/>
                    <a:pt x="372141" y="1265968"/>
                    <a:pt x="372141" y="1269397"/>
                  </a:cubicBezTo>
                  <a:cubicBezTo>
                    <a:pt x="372141" y="1272826"/>
                    <a:pt x="369379" y="1275589"/>
                    <a:pt x="365950" y="1275589"/>
                  </a:cubicBezTo>
                  <a:cubicBezTo>
                    <a:pt x="362521" y="1275589"/>
                    <a:pt x="359759" y="1272826"/>
                    <a:pt x="359759" y="1269397"/>
                  </a:cubicBezTo>
                  <a:cubicBezTo>
                    <a:pt x="359759" y="1265968"/>
                    <a:pt x="362521" y="1263206"/>
                    <a:pt x="365950" y="1263206"/>
                  </a:cubicBezTo>
                  <a:close/>
                  <a:moveTo>
                    <a:pt x="2523743" y="1263015"/>
                  </a:moveTo>
                  <a:cubicBezTo>
                    <a:pt x="2527172" y="1263015"/>
                    <a:pt x="2529934" y="1265777"/>
                    <a:pt x="2529934" y="1269206"/>
                  </a:cubicBezTo>
                  <a:cubicBezTo>
                    <a:pt x="2529934" y="1272635"/>
                    <a:pt x="2527172" y="1275398"/>
                    <a:pt x="2523743" y="1275398"/>
                  </a:cubicBezTo>
                  <a:cubicBezTo>
                    <a:pt x="2520314" y="1275398"/>
                    <a:pt x="2517552" y="1272635"/>
                    <a:pt x="2517552" y="1269206"/>
                  </a:cubicBezTo>
                  <a:cubicBezTo>
                    <a:pt x="2517552" y="1265777"/>
                    <a:pt x="2520314" y="1263015"/>
                    <a:pt x="2523743" y="1263015"/>
                  </a:cubicBezTo>
                  <a:close/>
                  <a:moveTo>
                    <a:pt x="3289077" y="1262729"/>
                  </a:moveTo>
                  <a:cubicBezTo>
                    <a:pt x="3292506" y="1262729"/>
                    <a:pt x="3295268" y="1265491"/>
                    <a:pt x="3295268" y="1268920"/>
                  </a:cubicBezTo>
                  <a:cubicBezTo>
                    <a:pt x="3295268" y="1272349"/>
                    <a:pt x="3292506" y="1275112"/>
                    <a:pt x="3289077" y="1275112"/>
                  </a:cubicBezTo>
                  <a:cubicBezTo>
                    <a:pt x="3285648" y="1275112"/>
                    <a:pt x="3282886" y="1272349"/>
                    <a:pt x="3282886" y="1268920"/>
                  </a:cubicBezTo>
                  <a:cubicBezTo>
                    <a:pt x="3282886" y="1265491"/>
                    <a:pt x="3285648" y="1262729"/>
                    <a:pt x="3289077" y="1262729"/>
                  </a:cubicBezTo>
                  <a:close/>
                  <a:moveTo>
                    <a:pt x="3268598" y="1262539"/>
                  </a:moveTo>
                  <a:cubicBezTo>
                    <a:pt x="3272027" y="1262539"/>
                    <a:pt x="3274789" y="1265301"/>
                    <a:pt x="3274789" y="1268730"/>
                  </a:cubicBezTo>
                  <a:cubicBezTo>
                    <a:pt x="3274789" y="1272159"/>
                    <a:pt x="3272027" y="1274922"/>
                    <a:pt x="3268598" y="1274922"/>
                  </a:cubicBezTo>
                  <a:cubicBezTo>
                    <a:pt x="3265169" y="1274922"/>
                    <a:pt x="3262407" y="1272159"/>
                    <a:pt x="3262407" y="1268730"/>
                  </a:cubicBezTo>
                  <a:cubicBezTo>
                    <a:pt x="3262407" y="1265301"/>
                    <a:pt x="3265169" y="1262539"/>
                    <a:pt x="3268598" y="1262539"/>
                  </a:cubicBezTo>
                  <a:close/>
                  <a:moveTo>
                    <a:pt x="192881" y="1262539"/>
                  </a:moveTo>
                  <a:cubicBezTo>
                    <a:pt x="196310" y="1262539"/>
                    <a:pt x="199072" y="1265301"/>
                    <a:pt x="199072" y="1268730"/>
                  </a:cubicBezTo>
                  <a:cubicBezTo>
                    <a:pt x="199072" y="1272159"/>
                    <a:pt x="196310" y="1274922"/>
                    <a:pt x="192881" y="1274922"/>
                  </a:cubicBezTo>
                  <a:cubicBezTo>
                    <a:pt x="189452" y="1274922"/>
                    <a:pt x="186690" y="1272159"/>
                    <a:pt x="186690" y="1268730"/>
                  </a:cubicBezTo>
                  <a:cubicBezTo>
                    <a:pt x="186690" y="1265301"/>
                    <a:pt x="189452" y="1262539"/>
                    <a:pt x="192881" y="1262539"/>
                  </a:cubicBezTo>
                  <a:close/>
                  <a:moveTo>
                    <a:pt x="90677" y="1260539"/>
                  </a:moveTo>
                  <a:cubicBezTo>
                    <a:pt x="94106" y="1260539"/>
                    <a:pt x="96869" y="1263301"/>
                    <a:pt x="96869" y="1266730"/>
                  </a:cubicBezTo>
                  <a:cubicBezTo>
                    <a:pt x="96869" y="1270159"/>
                    <a:pt x="94106" y="1272922"/>
                    <a:pt x="90677" y="1272922"/>
                  </a:cubicBezTo>
                  <a:cubicBezTo>
                    <a:pt x="87248" y="1272922"/>
                    <a:pt x="84486" y="1270159"/>
                    <a:pt x="84486" y="1266730"/>
                  </a:cubicBezTo>
                  <a:cubicBezTo>
                    <a:pt x="84486" y="1263301"/>
                    <a:pt x="87248" y="1260539"/>
                    <a:pt x="90677" y="1260539"/>
                  </a:cubicBezTo>
                  <a:close/>
                  <a:moveTo>
                    <a:pt x="3255073" y="1259205"/>
                  </a:moveTo>
                  <a:cubicBezTo>
                    <a:pt x="3258502" y="1259205"/>
                    <a:pt x="3261265" y="1261967"/>
                    <a:pt x="3261265" y="1265396"/>
                  </a:cubicBezTo>
                  <a:cubicBezTo>
                    <a:pt x="3261265" y="1268825"/>
                    <a:pt x="3258502" y="1271588"/>
                    <a:pt x="3255073" y="1271588"/>
                  </a:cubicBezTo>
                  <a:cubicBezTo>
                    <a:pt x="3251644" y="1271588"/>
                    <a:pt x="3248882" y="1268825"/>
                    <a:pt x="3248882" y="1265396"/>
                  </a:cubicBezTo>
                  <a:cubicBezTo>
                    <a:pt x="3248882" y="1261967"/>
                    <a:pt x="3251644" y="1259205"/>
                    <a:pt x="3255073" y="1259205"/>
                  </a:cubicBezTo>
                  <a:close/>
                  <a:moveTo>
                    <a:pt x="123729" y="1258634"/>
                  </a:moveTo>
                  <a:cubicBezTo>
                    <a:pt x="127158" y="1258634"/>
                    <a:pt x="129921" y="1261396"/>
                    <a:pt x="129921" y="1264825"/>
                  </a:cubicBezTo>
                  <a:cubicBezTo>
                    <a:pt x="129921" y="1268254"/>
                    <a:pt x="127158" y="1271016"/>
                    <a:pt x="123729" y="1271016"/>
                  </a:cubicBezTo>
                  <a:cubicBezTo>
                    <a:pt x="120300" y="1271016"/>
                    <a:pt x="117538" y="1268254"/>
                    <a:pt x="117538" y="1264825"/>
                  </a:cubicBezTo>
                  <a:cubicBezTo>
                    <a:pt x="117538" y="1261396"/>
                    <a:pt x="120300" y="1258634"/>
                    <a:pt x="123729" y="1258634"/>
                  </a:cubicBezTo>
                  <a:close/>
                  <a:moveTo>
                    <a:pt x="66579" y="1257396"/>
                  </a:moveTo>
                  <a:cubicBezTo>
                    <a:pt x="70008" y="1257396"/>
                    <a:pt x="72770" y="1260158"/>
                    <a:pt x="72770" y="1263587"/>
                  </a:cubicBezTo>
                  <a:cubicBezTo>
                    <a:pt x="72770" y="1267016"/>
                    <a:pt x="70008" y="1269779"/>
                    <a:pt x="66579" y="1269779"/>
                  </a:cubicBezTo>
                  <a:cubicBezTo>
                    <a:pt x="63150" y="1269779"/>
                    <a:pt x="60388" y="1267016"/>
                    <a:pt x="60388" y="1263587"/>
                  </a:cubicBezTo>
                  <a:cubicBezTo>
                    <a:pt x="60388" y="1260158"/>
                    <a:pt x="63150" y="1257396"/>
                    <a:pt x="66579" y="1257396"/>
                  </a:cubicBezTo>
                  <a:close/>
                  <a:moveTo>
                    <a:pt x="2944463" y="1256538"/>
                  </a:moveTo>
                  <a:cubicBezTo>
                    <a:pt x="2947892" y="1256538"/>
                    <a:pt x="2950654" y="1259300"/>
                    <a:pt x="2950654" y="1262729"/>
                  </a:cubicBezTo>
                  <a:cubicBezTo>
                    <a:pt x="2950654" y="1266158"/>
                    <a:pt x="2947892" y="1268921"/>
                    <a:pt x="2944463" y="1268921"/>
                  </a:cubicBezTo>
                  <a:cubicBezTo>
                    <a:pt x="2941034" y="1268921"/>
                    <a:pt x="2938272" y="1266158"/>
                    <a:pt x="2938272" y="1262729"/>
                  </a:cubicBezTo>
                  <a:cubicBezTo>
                    <a:pt x="2938272" y="1259300"/>
                    <a:pt x="2941034" y="1256538"/>
                    <a:pt x="2944463" y="1256538"/>
                  </a:cubicBezTo>
                  <a:close/>
                  <a:moveTo>
                    <a:pt x="54292" y="1256253"/>
                  </a:moveTo>
                  <a:cubicBezTo>
                    <a:pt x="54345" y="1256253"/>
                    <a:pt x="54388" y="1256296"/>
                    <a:pt x="54388" y="1256348"/>
                  </a:cubicBezTo>
                  <a:cubicBezTo>
                    <a:pt x="54388" y="1256401"/>
                    <a:pt x="54345" y="1256443"/>
                    <a:pt x="54292" y="1256443"/>
                  </a:cubicBezTo>
                  <a:cubicBezTo>
                    <a:pt x="54240" y="1256443"/>
                    <a:pt x="54197" y="1256401"/>
                    <a:pt x="54197" y="1256348"/>
                  </a:cubicBezTo>
                  <a:cubicBezTo>
                    <a:pt x="54197" y="1256296"/>
                    <a:pt x="54240" y="1256253"/>
                    <a:pt x="54292" y="1256253"/>
                  </a:cubicBezTo>
                  <a:close/>
                  <a:moveTo>
                    <a:pt x="3127724" y="1255967"/>
                  </a:moveTo>
                  <a:cubicBezTo>
                    <a:pt x="3131153" y="1255967"/>
                    <a:pt x="3133915" y="1258729"/>
                    <a:pt x="3133915" y="1262158"/>
                  </a:cubicBezTo>
                  <a:cubicBezTo>
                    <a:pt x="3133915" y="1265587"/>
                    <a:pt x="3131153" y="1268349"/>
                    <a:pt x="3127724" y="1268349"/>
                  </a:cubicBezTo>
                  <a:cubicBezTo>
                    <a:pt x="3124295" y="1268349"/>
                    <a:pt x="3121533" y="1265587"/>
                    <a:pt x="3121533" y="1262158"/>
                  </a:cubicBezTo>
                  <a:cubicBezTo>
                    <a:pt x="3121533" y="1258729"/>
                    <a:pt x="3124295" y="1255967"/>
                    <a:pt x="3127724" y="1255967"/>
                  </a:cubicBezTo>
                  <a:close/>
                  <a:moveTo>
                    <a:pt x="857154" y="1255586"/>
                  </a:moveTo>
                  <a:cubicBezTo>
                    <a:pt x="860583" y="1255586"/>
                    <a:pt x="863346" y="1258348"/>
                    <a:pt x="863346" y="1261777"/>
                  </a:cubicBezTo>
                  <a:cubicBezTo>
                    <a:pt x="863346" y="1265206"/>
                    <a:pt x="860583" y="1267969"/>
                    <a:pt x="857154" y="1267969"/>
                  </a:cubicBezTo>
                  <a:cubicBezTo>
                    <a:pt x="853725" y="1267969"/>
                    <a:pt x="850963" y="1265206"/>
                    <a:pt x="850963" y="1261777"/>
                  </a:cubicBezTo>
                  <a:cubicBezTo>
                    <a:pt x="850963" y="1258348"/>
                    <a:pt x="853725" y="1255586"/>
                    <a:pt x="857154" y="1255586"/>
                  </a:cubicBezTo>
                  <a:close/>
                  <a:moveTo>
                    <a:pt x="3237832" y="1254824"/>
                  </a:moveTo>
                  <a:cubicBezTo>
                    <a:pt x="3241261" y="1254824"/>
                    <a:pt x="3244023" y="1257586"/>
                    <a:pt x="3244023" y="1261015"/>
                  </a:cubicBezTo>
                  <a:cubicBezTo>
                    <a:pt x="3244023" y="1264444"/>
                    <a:pt x="3241261" y="1267207"/>
                    <a:pt x="3237832" y="1267207"/>
                  </a:cubicBezTo>
                  <a:cubicBezTo>
                    <a:pt x="3234403" y="1267207"/>
                    <a:pt x="3231641" y="1264444"/>
                    <a:pt x="3231641" y="1261015"/>
                  </a:cubicBezTo>
                  <a:cubicBezTo>
                    <a:pt x="3231641" y="1257586"/>
                    <a:pt x="3234403" y="1254824"/>
                    <a:pt x="3237832" y="1254824"/>
                  </a:cubicBezTo>
                  <a:close/>
                  <a:moveTo>
                    <a:pt x="3281648" y="1254633"/>
                  </a:moveTo>
                  <a:cubicBezTo>
                    <a:pt x="3285077" y="1254633"/>
                    <a:pt x="3287839" y="1257395"/>
                    <a:pt x="3287839" y="1260824"/>
                  </a:cubicBezTo>
                  <a:cubicBezTo>
                    <a:pt x="3287839" y="1264253"/>
                    <a:pt x="3285077" y="1267015"/>
                    <a:pt x="3281648" y="1267015"/>
                  </a:cubicBezTo>
                  <a:cubicBezTo>
                    <a:pt x="3278219" y="1267015"/>
                    <a:pt x="3275457" y="1264253"/>
                    <a:pt x="3275457" y="1260824"/>
                  </a:cubicBezTo>
                  <a:cubicBezTo>
                    <a:pt x="3275457" y="1257395"/>
                    <a:pt x="3278219" y="1254633"/>
                    <a:pt x="3281648" y="1254633"/>
                  </a:cubicBezTo>
                  <a:close/>
                  <a:moveTo>
                    <a:pt x="80105" y="1253204"/>
                  </a:moveTo>
                  <a:cubicBezTo>
                    <a:pt x="83534" y="1253204"/>
                    <a:pt x="86297" y="1255966"/>
                    <a:pt x="86297" y="1259395"/>
                  </a:cubicBezTo>
                  <a:cubicBezTo>
                    <a:pt x="86297" y="1262824"/>
                    <a:pt x="83534" y="1265587"/>
                    <a:pt x="80105" y="1265587"/>
                  </a:cubicBezTo>
                  <a:cubicBezTo>
                    <a:pt x="76676" y="1265587"/>
                    <a:pt x="73914" y="1262824"/>
                    <a:pt x="73914" y="1259395"/>
                  </a:cubicBezTo>
                  <a:cubicBezTo>
                    <a:pt x="73914" y="1255966"/>
                    <a:pt x="76676" y="1253204"/>
                    <a:pt x="80105" y="1253204"/>
                  </a:cubicBezTo>
                  <a:close/>
                  <a:moveTo>
                    <a:pt x="3263074" y="1252728"/>
                  </a:moveTo>
                  <a:cubicBezTo>
                    <a:pt x="3266503" y="1252728"/>
                    <a:pt x="3269266" y="1255490"/>
                    <a:pt x="3269266" y="1258919"/>
                  </a:cubicBezTo>
                  <a:cubicBezTo>
                    <a:pt x="3269266" y="1262348"/>
                    <a:pt x="3266503" y="1265111"/>
                    <a:pt x="3263074" y="1265111"/>
                  </a:cubicBezTo>
                  <a:cubicBezTo>
                    <a:pt x="3259645" y="1265111"/>
                    <a:pt x="3256883" y="1262348"/>
                    <a:pt x="3256883" y="1258919"/>
                  </a:cubicBezTo>
                  <a:cubicBezTo>
                    <a:pt x="3256883" y="1255490"/>
                    <a:pt x="3259645" y="1252728"/>
                    <a:pt x="3263074" y="1252728"/>
                  </a:cubicBezTo>
                  <a:close/>
                  <a:moveTo>
                    <a:pt x="3202018" y="1252442"/>
                  </a:moveTo>
                  <a:cubicBezTo>
                    <a:pt x="3205447" y="1252442"/>
                    <a:pt x="3208210" y="1255204"/>
                    <a:pt x="3208210" y="1258633"/>
                  </a:cubicBezTo>
                  <a:cubicBezTo>
                    <a:pt x="3208210" y="1262062"/>
                    <a:pt x="3205447" y="1264825"/>
                    <a:pt x="3202018" y="1264825"/>
                  </a:cubicBezTo>
                  <a:cubicBezTo>
                    <a:pt x="3198589" y="1264825"/>
                    <a:pt x="3195827" y="1262062"/>
                    <a:pt x="3195827" y="1258633"/>
                  </a:cubicBezTo>
                  <a:cubicBezTo>
                    <a:pt x="3195827" y="1255204"/>
                    <a:pt x="3198589" y="1252442"/>
                    <a:pt x="3202018" y="1252442"/>
                  </a:cubicBezTo>
                  <a:close/>
                  <a:moveTo>
                    <a:pt x="3303175" y="1250537"/>
                  </a:moveTo>
                  <a:cubicBezTo>
                    <a:pt x="3303746" y="1250537"/>
                    <a:pt x="3304127" y="1250918"/>
                    <a:pt x="3304127" y="1251490"/>
                  </a:cubicBezTo>
                  <a:cubicBezTo>
                    <a:pt x="3304127" y="1252061"/>
                    <a:pt x="3303651" y="1252442"/>
                    <a:pt x="3303175" y="1252442"/>
                  </a:cubicBezTo>
                  <a:cubicBezTo>
                    <a:pt x="3302603" y="1252442"/>
                    <a:pt x="3302222" y="1252061"/>
                    <a:pt x="3302222" y="1251490"/>
                  </a:cubicBezTo>
                  <a:cubicBezTo>
                    <a:pt x="3302222" y="1250918"/>
                    <a:pt x="3302603" y="1250537"/>
                    <a:pt x="3303175" y="1250537"/>
                  </a:cubicBezTo>
                  <a:close/>
                  <a:moveTo>
                    <a:pt x="2430874" y="1249204"/>
                  </a:moveTo>
                  <a:cubicBezTo>
                    <a:pt x="2434303" y="1249204"/>
                    <a:pt x="2437066" y="1251966"/>
                    <a:pt x="2437066" y="1255395"/>
                  </a:cubicBezTo>
                  <a:cubicBezTo>
                    <a:pt x="2437066" y="1258824"/>
                    <a:pt x="2434303" y="1261587"/>
                    <a:pt x="2430874" y="1261587"/>
                  </a:cubicBezTo>
                  <a:cubicBezTo>
                    <a:pt x="2427445" y="1261587"/>
                    <a:pt x="2424683" y="1258824"/>
                    <a:pt x="2424683" y="1255395"/>
                  </a:cubicBezTo>
                  <a:cubicBezTo>
                    <a:pt x="2424683" y="1251966"/>
                    <a:pt x="2427445" y="1249204"/>
                    <a:pt x="2430874" y="1249204"/>
                  </a:cubicBezTo>
                  <a:close/>
                  <a:moveTo>
                    <a:pt x="414051" y="1248633"/>
                  </a:moveTo>
                  <a:cubicBezTo>
                    <a:pt x="417480" y="1248633"/>
                    <a:pt x="420242" y="1251395"/>
                    <a:pt x="420242" y="1254824"/>
                  </a:cubicBezTo>
                  <a:cubicBezTo>
                    <a:pt x="420242" y="1258253"/>
                    <a:pt x="417480" y="1261016"/>
                    <a:pt x="414051" y="1261016"/>
                  </a:cubicBezTo>
                  <a:cubicBezTo>
                    <a:pt x="410622" y="1261016"/>
                    <a:pt x="407860" y="1258253"/>
                    <a:pt x="407860" y="1254824"/>
                  </a:cubicBezTo>
                  <a:cubicBezTo>
                    <a:pt x="407860" y="1251395"/>
                    <a:pt x="410622" y="1248633"/>
                    <a:pt x="414051" y="1248633"/>
                  </a:cubicBezTo>
                  <a:close/>
                  <a:moveTo>
                    <a:pt x="218693" y="1248347"/>
                  </a:moveTo>
                  <a:cubicBezTo>
                    <a:pt x="222122" y="1248347"/>
                    <a:pt x="224885" y="1251109"/>
                    <a:pt x="224885" y="1254538"/>
                  </a:cubicBezTo>
                  <a:cubicBezTo>
                    <a:pt x="224885" y="1257967"/>
                    <a:pt x="222122" y="1260730"/>
                    <a:pt x="218693" y="1260730"/>
                  </a:cubicBezTo>
                  <a:cubicBezTo>
                    <a:pt x="215264" y="1260730"/>
                    <a:pt x="212502" y="1257967"/>
                    <a:pt x="212502" y="1254538"/>
                  </a:cubicBezTo>
                  <a:cubicBezTo>
                    <a:pt x="212502" y="1251109"/>
                    <a:pt x="215264" y="1248347"/>
                    <a:pt x="218693" y="1248347"/>
                  </a:cubicBezTo>
                  <a:close/>
                  <a:moveTo>
                    <a:pt x="98774" y="1248061"/>
                  </a:moveTo>
                  <a:cubicBezTo>
                    <a:pt x="102203" y="1248061"/>
                    <a:pt x="104966" y="1250823"/>
                    <a:pt x="104966" y="1254252"/>
                  </a:cubicBezTo>
                  <a:cubicBezTo>
                    <a:pt x="104966" y="1257681"/>
                    <a:pt x="102203" y="1260444"/>
                    <a:pt x="98774" y="1260444"/>
                  </a:cubicBezTo>
                  <a:cubicBezTo>
                    <a:pt x="95345" y="1260444"/>
                    <a:pt x="92583" y="1257681"/>
                    <a:pt x="92583" y="1254252"/>
                  </a:cubicBezTo>
                  <a:cubicBezTo>
                    <a:pt x="92583" y="1250823"/>
                    <a:pt x="95345" y="1248061"/>
                    <a:pt x="98774" y="1248061"/>
                  </a:cubicBezTo>
                  <a:close/>
                  <a:moveTo>
                    <a:pt x="3249453" y="1247775"/>
                  </a:moveTo>
                  <a:cubicBezTo>
                    <a:pt x="3252882" y="1247775"/>
                    <a:pt x="3255644" y="1250537"/>
                    <a:pt x="3255644" y="1253966"/>
                  </a:cubicBezTo>
                  <a:cubicBezTo>
                    <a:pt x="3255644" y="1257395"/>
                    <a:pt x="3252882" y="1260157"/>
                    <a:pt x="3249453" y="1260157"/>
                  </a:cubicBezTo>
                  <a:cubicBezTo>
                    <a:pt x="3246024" y="1260157"/>
                    <a:pt x="3243262" y="1257395"/>
                    <a:pt x="3243262" y="1253966"/>
                  </a:cubicBezTo>
                  <a:cubicBezTo>
                    <a:pt x="3243262" y="1250537"/>
                    <a:pt x="3246024" y="1247775"/>
                    <a:pt x="3249453" y="1247775"/>
                  </a:cubicBezTo>
                  <a:close/>
                  <a:moveTo>
                    <a:pt x="72008" y="1247299"/>
                  </a:moveTo>
                  <a:cubicBezTo>
                    <a:pt x="75437" y="1247299"/>
                    <a:pt x="78200" y="1250061"/>
                    <a:pt x="78200" y="1253490"/>
                  </a:cubicBezTo>
                  <a:cubicBezTo>
                    <a:pt x="78200" y="1256919"/>
                    <a:pt x="75437" y="1259682"/>
                    <a:pt x="72008" y="1259682"/>
                  </a:cubicBezTo>
                  <a:cubicBezTo>
                    <a:pt x="68579" y="1259682"/>
                    <a:pt x="65817" y="1256919"/>
                    <a:pt x="65817" y="1253490"/>
                  </a:cubicBezTo>
                  <a:cubicBezTo>
                    <a:pt x="65817" y="1250061"/>
                    <a:pt x="68579" y="1247299"/>
                    <a:pt x="72008" y="1247299"/>
                  </a:cubicBezTo>
                  <a:close/>
                  <a:moveTo>
                    <a:pt x="3274694" y="1246156"/>
                  </a:moveTo>
                  <a:cubicBezTo>
                    <a:pt x="3278123" y="1246156"/>
                    <a:pt x="3280886" y="1248918"/>
                    <a:pt x="3280886" y="1252347"/>
                  </a:cubicBezTo>
                  <a:cubicBezTo>
                    <a:pt x="3280886" y="1255776"/>
                    <a:pt x="3278123" y="1258538"/>
                    <a:pt x="3274694" y="1258538"/>
                  </a:cubicBezTo>
                  <a:cubicBezTo>
                    <a:pt x="3271265" y="1258538"/>
                    <a:pt x="3268503" y="1255776"/>
                    <a:pt x="3268503" y="1252347"/>
                  </a:cubicBezTo>
                  <a:cubicBezTo>
                    <a:pt x="3268503" y="1248918"/>
                    <a:pt x="3271265" y="1246156"/>
                    <a:pt x="3274694" y="1246156"/>
                  </a:cubicBezTo>
                  <a:close/>
                  <a:moveTo>
                    <a:pt x="138207" y="1245108"/>
                  </a:moveTo>
                  <a:cubicBezTo>
                    <a:pt x="141636" y="1245108"/>
                    <a:pt x="144399" y="1247870"/>
                    <a:pt x="144399" y="1251299"/>
                  </a:cubicBezTo>
                  <a:cubicBezTo>
                    <a:pt x="144399" y="1254728"/>
                    <a:pt x="141636" y="1257490"/>
                    <a:pt x="138207" y="1257490"/>
                  </a:cubicBezTo>
                  <a:cubicBezTo>
                    <a:pt x="134778" y="1257490"/>
                    <a:pt x="132016" y="1254728"/>
                    <a:pt x="132016" y="1251299"/>
                  </a:cubicBezTo>
                  <a:cubicBezTo>
                    <a:pt x="132016" y="1247870"/>
                    <a:pt x="134778" y="1245108"/>
                    <a:pt x="138207" y="1245108"/>
                  </a:cubicBezTo>
                  <a:close/>
                  <a:moveTo>
                    <a:pt x="3257644" y="1242441"/>
                  </a:moveTo>
                  <a:cubicBezTo>
                    <a:pt x="3261073" y="1242441"/>
                    <a:pt x="3263836" y="1245203"/>
                    <a:pt x="3263836" y="1248632"/>
                  </a:cubicBezTo>
                  <a:cubicBezTo>
                    <a:pt x="3263836" y="1252061"/>
                    <a:pt x="3261073" y="1254824"/>
                    <a:pt x="3257644" y="1254824"/>
                  </a:cubicBezTo>
                  <a:cubicBezTo>
                    <a:pt x="3254215" y="1254824"/>
                    <a:pt x="3251453" y="1252061"/>
                    <a:pt x="3251453" y="1248632"/>
                  </a:cubicBezTo>
                  <a:cubicBezTo>
                    <a:pt x="3251453" y="1245203"/>
                    <a:pt x="3254215" y="1242441"/>
                    <a:pt x="3257644" y="1242441"/>
                  </a:cubicBezTo>
                  <a:close/>
                  <a:moveTo>
                    <a:pt x="3229260" y="1242060"/>
                  </a:moveTo>
                  <a:cubicBezTo>
                    <a:pt x="3232689" y="1242060"/>
                    <a:pt x="3235451" y="1244822"/>
                    <a:pt x="3235451" y="1248251"/>
                  </a:cubicBezTo>
                  <a:cubicBezTo>
                    <a:pt x="3235451" y="1251680"/>
                    <a:pt x="3232689" y="1254443"/>
                    <a:pt x="3229260" y="1254443"/>
                  </a:cubicBezTo>
                  <a:cubicBezTo>
                    <a:pt x="3225831" y="1254443"/>
                    <a:pt x="3223069" y="1251680"/>
                    <a:pt x="3223069" y="1248251"/>
                  </a:cubicBezTo>
                  <a:cubicBezTo>
                    <a:pt x="3223069" y="1244822"/>
                    <a:pt x="3225831" y="1242060"/>
                    <a:pt x="3229260" y="1242060"/>
                  </a:cubicBezTo>
                  <a:close/>
                  <a:moveTo>
                    <a:pt x="954309" y="1241870"/>
                  </a:moveTo>
                  <a:cubicBezTo>
                    <a:pt x="957738" y="1241870"/>
                    <a:pt x="960500" y="1244632"/>
                    <a:pt x="960500" y="1248061"/>
                  </a:cubicBezTo>
                  <a:cubicBezTo>
                    <a:pt x="960500" y="1251490"/>
                    <a:pt x="957738" y="1254253"/>
                    <a:pt x="954309" y="1254253"/>
                  </a:cubicBezTo>
                  <a:cubicBezTo>
                    <a:pt x="950880" y="1254253"/>
                    <a:pt x="948118" y="1251490"/>
                    <a:pt x="948118" y="1248061"/>
                  </a:cubicBezTo>
                  <a:cubicBezTo>
                    <a:pt x="948118" y="1244632"/>
                    <a:pt x="950880" y="1241870"/>
                    <a:pt x="954309" y="1241870"/>
                  </a:cubicBezTo>
                  <a:close/>
                  <a:moveTo>
                    <a:pt x="61055" y="1241870"/>
                  </a:moveTo>
                  <a:cubicBezTo>
                    <a:pt x="64158" y="1241870"/>
                    <a:pt x="66675" y="1244386"/>
                    <a:pt x="66675" y="1247490"/>
                  </a:cubicBezTo>
                  <a:cubicBezTo>
                    <a:pt x="66675" y="1250594"/>
                    <a:pt x="64158" y="1253110"/>
                    <a:pt x="61055" y="1253110"/>
                  </a:cubicBezTo>
                  <a:cubicBezTo>
                    <a:pt x="57951" y="1253110"/>
                    <a:pt x="55435" y="1250594"/>
                    <a:pt x="55435" y="1247490"/>
                  </a:cubicBezTo>
                  <a:cubicBezTo>
                    <a:pt x="55435" y="1244386"/>
                    <a:pt x="57951" y="1241870"/>
                    <a:pt x="61055" y="1241870"/>
                  </a:cubicBezTo>
                  <a:close/>
                  <a:moveTo>
                    <a:pt x="2894075" y="1241775"/>
                  </a:moveTo>
                  <a:cubicBezTo>
                    <a:pt x="2897504" y="1241775"/>
                    <a:pt x="2900266" y="1244537"/>
                    <a:pt x="2900266" y="1247966"/>
                  </a:cubicBezTo>
                  <a:cubicBezTo>
                    <a:pt x="2900266" y="1251395"/>
                    <a:pt x="2897504" y="1254158"/>
                    <a:pt x="2894075" y="1254158"/>
                  </a:cubicBezTo>
                  <a:cubicBezTo>
                    <a:pt x="2890646" y="1254158"/>
                    <a:pt x="2887884" y="1251395"/>
                    <a:pt x="2887884" y="1247966"/>
                  </a:cubicBezTo>
                  <a:cubicBezTo>
                    <a:pt x="2887884" y="1244537"/>
                    <a:pt x="2890646" y="1241775"/>
                    <a:pt x="2894075" y="1241775"/>
                  </a:cubicBezTo>
                  <a:close/>
                  <a:moveTo>
                    <a:pt x="3100387" y="1241584"/>
                  </a:moveTo>
                  <a:cubicBezTo>
                    <a:pt x="3103816" y="1241584"/>
                    <a:pt x="3106578" y="1244346"/>
                    <a:pt x="3106578" y="1247775"/>
                  </a:cubicBezTo>
                  <a:cubicBezTo>
                    <a:pt x="3106578" y="1251204"/>
                    <a:pt x="3103816" y="1253967"/>
                    <a:pt x="3100387" y="1253967"/>
                  </a:cubicBezTo>
                  <a:cubicBezTo>
                    <a:pt x="3096958" y="1253967"/>
                    <a:pt x="3094196" y="1251204"/>
                    <a:pt x="3094196" y="1247775"/>
                  </a:cubicBezTo>
                  <a:cubicBezTo>
                    <a:pt x="3094196" y="1244346"/>
                    <a:pt x="3096958" y="1241584"/>
                    <a:pt x="3100387" y="1241584"/>
                  </a:cubicBezTo>
                  <a:close/>
                  <a:moveTo>
                    <a:pt x="85915" y="1241489"/>
                  </a:moveTo>
                  <a:cubicBezTo>
                    <a:pt x="89344" y="1241489"/>
                    <a:pt x="92107" y="1244251"/>
                    <a:pt x="92107" y="1247680"/>
                  </a:cubicBezTo>
                  <a:cubicBezTo>
                    <a:pt x="92107" y="1251109"/>
                    <a:pt x="89344" y="1253872"/>
                    <a:pt x="85915" y="1253872"/>
                  </a:cubicBezTo>
                  <a:cubicBezTo>
                    <a:pt x="82486" y="1253872"/>
                    <a:pt x="79724" y="1251109"/>
                    <a:pt x="79724" y="1247680"/>
                  </a:cubicBezTo>
                  <a:cubicBezTo>
                    <a:pt x="79724" y="1244251"/>
                    <a:pt x="82486" y="1241489"/>
                    <a:pt x="85915" y="1241489"/>
                  </a:cubicBezTo>
                  <a:close/>
                  <a:moveTo>
                    <a:pt x="3186493" y="1238536"/>
                  </a:moveTo>
                  <a:cubicBezTo>
                    <a:pt x="3189922" y="1238536"/>
                    <a:pt x="3192684" y="1241298"/>
                    <a:pt x="3192684" y="1244727"/>
                  </a:cubicBezTo>
                  <a:cubicBezTo>
                    <a:pt x="3192684" y="1248156"/>
                    <a:pt x="3189922" y="1250919"/>
                    <a:pt x="3186493" y="1250919"/>
                  </a:cubicBezTo>
                  <a:cubicBezTo>
                    <a:pt x="3183064" y="1250919"/>
                    <a:pt x="3180302" y="1248156"/>
                    <a:pt x="3180302" y="1244727"/>
                  </a:cubicBezTo>
                  <a:cubicBezTo>
                    <a:pt x="3180302" y="1241298"/>
                    <a:pt x="3183064" y="1238536"/>
                    <a:pt x="3186493" y="1238536"/>
                  </a:cubicBezTo>
                  <a:close/>
                  <a:moveTo>
                    <a:pt x="3293935" y="1237965"/>
                  </a:moveTo>
                  <a:cubicBezTo>
                    <a:pt x="3297364" y="1237965"/>
                    <a:pt x="3300126" y="1240727"/>
                    <a:pt x="3300126" y="1244156"/>
                  </a:cubicBezTo>
                  <a:cubicBezTo>
                    <a:pt x="3300126" y="1247585"/>
                    <a:pt x="3297364" y="1250347"/>
                    <a:pt x="3293935" y="1250347"/>
                  </a:cubicBezTo>
                  <a:cubicBezTo>
                    <a:pt x="3290506" y="1250347"/>
                    <a:pt x="3287744" y="1247585"/>
                    <a:pt x="3287744" y="1244156"/>
                  </a:cubicBezTo>
                  <a:cubicBezTo>
                    <a:pt x="3287744" y="1240727"/>
                    <a:pt x="3290506" y="1237965"/>
                    <a:pt x="3293935" y="1237965"/>
                  </a:cubicBezTo>
                  <a:close/>
                  <a:moveTo>
                    <a:pt x="3268122" y="1237012"/>
                  </a:moveTo>
                  <a:cubicBezTo>
                    <a:pt x="3271551" y="1237012"/>
                    <a:pt x="3274314" y="1239774"/>
                    <a:pt x="3274314" y="1243203"/>
                  </a:cubicBezTo>
                  <a:cubicBezTo>
                    <a:pt x="3274314" y="1246632"/>
                    <a:pt x="3271551" y="1249395"/>
                    <a:pt x="3268122" y="1249395"/>
                  </a:cubicBezTo>
                  <a:cubicBezTo>
                    <a:pt x="3264693" y="1249395"/>
                    <a:pt x="3261931" y="1246632"/>
                    <a:pt x="3261931" y="1243203"/>
                  </a:cubicBezTo>
                  <a:cubicBezTo>
                    <a:pt x="3261931" y="1239774"/>
                    <a:pt x="3264693" y="1237012"/>
                    <a:pt x="3268122" y="1237012"/>
                  </a:cubicBezTo>
                  <a:close/>
                  <a:moveTo>
                    <a:pt x="77533" y="1236631"/>
                  </a:moveTo>
                  <a:cubicBezTo>
                    <a:pt x="80953" y="1236631"/>
                    <a:pt x="83725" y="1239403"/>
                    <a:pt x="83725" y="1242822"/>
                  </a:cubicBezTo>
                  <a:cubicBezTo>
                    <a:pt x="83725" y="1246242"/>
                    <a:pt x="80953" y="1249013"/>
                    <a:pt x="77533" y="1249013"/>
                  </a:cubicBezTo>
                  <a:cubicBezTo>
                    <a:pt x="74114" y="1249013"/>
                    <a:pt x="71342" y="1246242"/>
                    <a:pt x="71342" y="1242822"/>
                  </a:cubicBezTo>
                  <a:cubicBezTo>
                    <a:pt x="71342" y="1239403"/>
                    <a:pt x="74114" y="1236631"/>
                    <a:pt x="77533" y="1236631"/>
                  </a:cubicBezTo>
                  <a:close/>
                  <a:moveTo>
                    <a:pt x="3243357" y="1235869"/>
                  </a:moveTo>
                  <a:cubicBezTo>
                    <a:pt x="3246786" y="1235869"/>
                    <a:pt x="3249549" y="1238631"/>
                    <a:pt x="3249549" y="1242060"/>
                  </a:cubicBezTo>
                  <a:cubicBezTo>
                    <a:pt x="3249549" y="1245489"/>
                    <a:pt x="3246786" y="1248251"/>
                    <a:pt x="3243357" y="1248251"/>
                  </a:cubicBezTo>
                  <a:cubicBezTo>
                    <a:pt x="3239928" y="1248251"/>
                    <a:pt x="3237166" y="1245489"/>
                    <a:pt x="3237166" y="1242060"/>
                  </a:cubicBezTo>
                  <a:cubicBezTo>
                    <a:pt x="3237166" y="1238631"/>
                    <a:pt x="3239928" y="1235869"/>
                    <a:pt x="3243357" y="1235869"/>
                  </a:cubicBezTo>
                  <a:close/>
                  <a:moveTo>
                    <a:pt x="2329910" y="1235488"/>
                  </a:moveTo>
                  <a:cubicBezTo>
                    <a:pt x="2333339" y="1235488"/>
                    <a:pt x="2336101" y="1238250"/>
                    <a:pt x="2336101" y="1241679"/>
                  </a:cubicBezTo>
                  <a:cubicBezTo>
                    <a:pt x="2336101" y="1245108"/>
                    <a:pt x="2333339" y="1247871"/>
                    <a:pt x="2329910" y="1247871"/>
                  </a:cubicBezTo>
                  <a:cubicBezTo>
                    <a:pt x="2326481" y="1247871"/>
                    <a:pt x="2323719" y="1245108"/>
                    <a:pt x="2323719" y="1241679"/>
                  </a:cubicBezTo>
                  <a:cubicBezTo>
                    <a:pt x="2323719" y="1238250"/>
                    <a:pt x="2326481" y="1235488"/>
                    <a:pt x="2329910" y="1235488"/>
                  </a:cubicBezTo>
                  <a:close/>
                  <a:moveTo>
                    <a:pt x="108013" y="1234916"/>
                  </a:moveTo>
                  <a:cubicBezTo>
                    <a:pt x="111442" y="1234916"/>
                    <a:pt x="114205" y="1237678"/>
                    <a:pt x="114205" y="1241107"/>
                  </a:cubicBezTo>
                  <a:cubicBezTo>
                    <a:pt x="114205" y="1244536"/>
                    <a:pt x="111442" y="1247299"/>
                    <a:pt x="108013" y="1247299"/>
                  </a:cubicBezTo>
                  <a:cubicBezTo>
                    <a:pt x="104584" y="1247299"/>
                    <a:pt x="101822" y="1244536"/>
                    <a:pt x="101822" y="1241107"/>
                  </a:cubicBezTo>
                  <a:cubicBezTo>
                    <a:pt x="101822" y="1237678"/>
                    <a:pt x="104584" y="1234916"/>
                    <a:pt x="108013" y="1234916"/>
                  </a:cubicBezTo>
                  <a:close/>
                  <a:moveTo>
                    <a:pt x="467391" y="1233678"/>
                  </a:moveTo>
                  <a:cubicBezTo>
                    <a:pt x="470820" y="1233678"/>
                    <a:pt x="473583" y="1236440"/>
                    <a:pt x="473583" y="1239869"/>
                  </a:cubicBezTo>
                  <a:cubicBezTo>
                    <a:pt x="473583" y="1243298"/>
                    <a:pt x="470820" y="1246061"/>
                    <a:pt x="467391" y="1246061"/>
                  </a:cubicBezTo>
                  <a:cubicBezTo>
                    <a:pt x="463962" y="1246061"/>
                    <a:pt x="461200" y="1243298"/>
                    <a:pt x="461200" y="1239869"/>
                  </a:cubicBezTo>
                  <a:cubicBezTo>
                    <a:pt x="461200" y="1236440"/>
                    <a:pt x="463962" y="1233678"/>
                    <a:pt x="467391" y="1233678"/>
                  </a:cubicBezTo>
                  <a:close/>
                  <a:moveTo>
                    <a:pt x="247935" y="1233583"/>
                  </a:moveTo>
                  <a:cubicBezTo>
                    <a:pt x="251364" y="1233583"/>
                    <a:pt x="254127" y="1236345"/>
                    <a:pt x="254127" y="1239774"/>
                  </a:cubicBezTo>
                  <a:cubicBezTo>
                    <a:pt x="254127" y="1243203"/>
                    <a:pt x="251364" y="1245966"/>
                    <a:pt x="247935" y="1245966"/>
                  </a:cubicBezTo>
                  <a:cubicBezTo>
                    <a:pt x="244506" y="1245966"/>
                    <a:pt x="241744" y="1243203"/>
                    <a:pt x="241744" y="1239774"/>
                  </a:cubicBezTo>
                  <a:cubicBezTo>
                    <a:pt x="241744" y="1236345"/>
                    <a:pt x="244506" y="1233583"/>
                    <a:pt x="247935" y="1233583"/>
                  </a:cubicBezTo>
                  <a:close/>
                  <a:moveTo>
                    <a:pt x="67436" y="1231869"/>
                  </a:moveTo>
                  <a:cubicBezTo>
                    <a:pt x="70865" y="1231869"/>
                    <a:pt x="73628" y="1234631"/>
                    <a:pt x="73628" y="1238060"/>
                  </a:cubicBezTo>
                  <a:cubicBezTo>
                    <a:pt x="73628" y="1241489"/>
                    <a:pt x="70865" y="1244251"/>
                    <a:pt x="67436" y="1244251"/>
                  </a:cubicBezTo>
                  <a:cubicBezTo>
                    <a:pt x="64007" y="1244251"/>
                    <a:pt x="61245" y="1241489"/>
                    <a:pt x="61245" y="1238060"/>
                  </a:cubicBezTo>
                  <a:cubicBezTo>
                    <a:pt x="61245" y="1234631"/>
                    <a:pt x="64007" y="1231869"/>
                    <a:pt x="67436" y="1231869"/>
                  </a:cubicBezTo>
                  <a:close/>
                  <a:moveTo>
                    <a:pt x="3252120" y="1231583"/>
                  </a:moveTo>
                  <a:cubicBezTo>
                    <a:pt x="3255549" y="1231583"/>
                    <a:pt x="3258311" y="1234345"/>
                    <a:pt x="3258311" y="1237774"/>
                  </a:cubicBezTo>
                  <a:cubicBezTo>
                    <a:pt x="3258311" y="1241203"/>
                    <a:pt x="3255549" y="1243966"/>
                    <a:pt x="3252120" y="1243966"/>
                  </a:cubicBezTo>
                  <a:cubicBezTo>
                    <a:pt x="3248691" y="1243966"/>
                    <a:pt x="3245929" y="1241203"/>
                    <a:pt x="3245929" y="1237774"/>
                  </a:cubicBezTo>
                  <a:cubicBezTo>
                    <a:pt x="3245929" y="1234345"/>
                    <a:pt x="3248691" y="1231583"/>
                    <a:pt x="3252120" y="1231583"/>
                  </a:cubicBezTo>
                  <a:close/>
                  <a:moveTo>
                    <a:pt x="154876" y="1230821"/>
                  </a:moveTo>
                  <a:cubicBezTo>
                    <a:pt x="158305" y="1230821"/>
                    <a:pt x="161068" y="1233583"/>
                    <a:pt x="161068" y="1237012"/>
                  </a:cubicBezTo>
                  <a:cubicBezTo>
                    <a:pt x="161068" y="1240441"/>
                    <a:pt x="158305" y="1243203"/>
                    <a:pt x="154876" y="1243203"/>
                  </a:cubicBezTo>
                  <a:cubicBezTo>
                    <a:pt x="151447" y="1243203"/>
                    <a:pt x="148685" y="1240441"/>
                    <a:pt x="148685" y="1237012"/>
                  </a:cubicBezTo>
                  <a:cubicBezTo>
                    <a:pt x="148685" y="1233583"/>
                    <a:pt x="151447" y="1230821"/>
                    <a:pt x="154876" y="1230821"/>
                  </a:cubicBezTo>
                  <a:close/>
                  <a:moveTo>
                    <a:pt x="3285172" y="1230154"/>
                  </a:moveTo>
                  <a:cubicBezTo>
                    <a:pt x="3288601" y="1230154"/>
                    <a:pt x="3291363" y="1232916"/>
                    <a:pt x="3291363" y="1236345"/>
                  </a:cubicBezTo>
                  <a:cubicBezTo>
                    <a:pt x="3291363" y="1239774"/>
                    <a:pt x="3288601" y="1242537"/>
                    <a:pt x="3285172" y="1242537"/>
                  </a:cubicBezTo>
                  <a:cubicBezTo>
                    <a:pt x="3281743" y="1242537"/>
                    <a:pt x="3278981" y="1239774"/>
                    <a:pt x="3278981" y="1236345"/>
                  </a:cubicBezTo>
                  <a:cubicBezTo>
                    <a:pt x="3278981" y="1232916"/>
                    <a:pt x="3281743" y="1230154"/>
                    <a:pt x="3285172" y="1230154"/>
                  </a:cubicBezTo>
                  <a:close/>
                  <a:moveTo>
                    <a:pt x="92392" y="1229201"/>
                  </a:moveTo>
                  <a:cubicBezTo>
                    <a:pt x="95821" y="1229201"/>
                    <a:pt x="98584" y="1231963"/>
                    <a:pt x="98584" y="1235392"/>
                  </a:cubicBezTo>
                  <a:cubicBezTo>
                    <a:pt x="98584" y="1238821"/>
                    <a:pt x="95821" y="1241584"/>
                    <a:pt x="92392" y="1241584"/>
                  </a:cubicBezTo>
                  <a:cubicBezTo>
                    <a:pt x="88963" y="1241584"/>
                    <a:pt x="86201" y="1238821"/>
                    <a:pt x="86201" y="1235392"/>
                  </a:cubicBezTo>
                  <a:cubicBezTo>
                    <a:pt x="86201" y="1231963"/>
                    <a:pt x="88963" y="1229201"/>
                    <a:pt x="92392" y="1229201"/>
                  </a:cubicBezTo>
                  <a:close/>
                  <a:moveTo>
                    <a:pt x="3219354" y="1228630"/>
                  </a:moveTo>
                  <a:cubicBezTo>
                    <a:pt x="3222783" y="1228630"/>
                    <a:pt x="3225546" y="1231392"/>
                    <a:pt x="3225546" y="1234821"/>
                  </a:cubicBezTo>
                  <a:cubicBezTo>
                    <a:pt x="3225546" y="1238250"/>
                    <a:pt x="3222783" y="1241013"/>
                    <a:pt x="3219354" y="1241013"/>
                  </a:cubicBezTo>
                  <a:cubicBezTo>
                    <a:pt x="3215925" y="1241013"/>
                    <a:pt x="3213163" y="1238250"/>
                    <a:pt x="3213163" y="1234821"/>
                  </a:cubicBezTo>
                  <a:cubicBezTo>
                    <a:pt x="3213163" y="1231392"/>
                    <a:pt x="3215925" y="1228630"/>
                    <a:pt x="3219354" y="1228630"/>
                  </a:cubicBezTo>
                  <a:close/>
                  <a:moveTo>
                    <a:pt x="1059751" y="1228344"/>
                  </a:moveTo>
                  <a:cubicBezTo>
                    <a:pt x="1063180" y="1228344"/>
                    <a:pt x="1065943" y="1231106"/>
                    <a:pt x="1065943" y="1234535"/>
                  </a:cubicBezTo>
                  <a:cubicBezTo>
                    <a:pt x="1065943" y="1237964"/>
                    <a:pt x="1063180" y="1240727"/>
                    <a:pt x="1059751" y="1240727"/>
                  </a:cubicBezTo>
                  <a:cubicBezTo>
                    <a:pt x="1056322" y="1240727"/>
                    <a:pt x="1053560" y="1237964"/>
                    <a:pt x="1053560" y="1234535"/>
                  </a:cubicBezTo>
                  <a:cubicBezTo>
                    <a:pt x="1053560" y="1231106"/>
                    <a:pt x="1056322" y="1228344"/>
                    <a:pt x="1059751" y="1228344"/>
                  </a:cubicBezTo>
                  <a:close/>
                  <a:moveTo>
                    <a:pt x="3261740" y="1227296"/>
                  </a:moveTo>
                  <a:cubicBezTo>
                    <a:pt x="3265169" y="1227296"/>
                    <a:pt x="3267931" y="1230058"/>
                    <a:pt x="3267931" y="1233487"/>
                  </a:cubicBezTo>
                  <a:cubicBezTo>
                    <a:pt x="3267931" y="1236916"/>
                    <a:pt x="3265169" y="1239679"/>
                    <a:pt x="3261740" y="1239679"/>
                  </a:cubicBezTo>
                  <a:cubicBezTo>
                    <a:pt x="3258311" y="1239679"/>
                    <a:pt x="3255549" y="1236916"/>
                    <a:pt x="3255549" y="1233487"/>
                  </a:cubicBezTo>
                  <a:cubicBezTo>
                    <a:pt x="3255549" y="1230058"/>
                    <a:pt x="3258311" y="1227296"/>
                    <a:pt x="3261740" y="1227296"/>
                  </a:cubicBezTo>
                  <a:close/>
                  <a:moveTo>
                    <a:pt x="3069431" y="1226630"/>
                  </a:moveTo>
                  <a:cubicBezTo>
                    <a:pt x="3072860" y="1226630"/>
                    <a:pt x="3075622" y="1229392"/>
                    <a:pt x="3075622" y="1232821"/>
                  </a:cubicBezTo>
                  <a:cubicBezTo>
                    <a:pt x="3075622" y="1236250"/>
                    <a:pt x="3072860" y="1239013"/>
                    <a:pt x="3069431" y="1239013"/>
                  </a:cubicBezTo>
                  <a:cubicBezTo>
                    <a:pt x="3066002" y="1239013"/>
                    <a:pt x="3063240" y="1236250"/>
                    <a:pt x="3063240" y="1232821"/>
                  </a:cubicBezTo>
                  <a:cubicBezTo>
                    <a:pt x="3063240" y="1229392"/>
                    <a:pt x="3066002" y="1226630"/>
                    <a:pt x="3069431" y="1226630"/>
                  </a:cubicBezTo>
                  <a:close/>
                  <a:moveTo>
                    <a:pt x="2838164" y="1226630"/>
                  </a:moveTo>
                  <a:cubicBezTo>
                    <a:pt x="2841593" y="1226630"/>
                    <a:pt x="2844355" y="1229392"/>
                    <a:pt x="2844355" y="1232821"/>
                  </a:cubicBezTo>
                  <a:cubicBezTo>
                    <a:pt x="2844355" y="1236250"/>
                    <a:pt x="2841593" y="1239013"/>
                    <a:pt x="2838164" y="1239013"/>
                  </a:cubicBezTo>
                  <a:cubicBezTo>
                    <a:pt x="2834735" y="1239013"/>
                    <a:pt x="2831973" y="1236250"/>
                    <a:pt x="2831973" y="1232821"/>
                  </a:cubicBezTo>
                  <a:cubicBezTo>
                    <a:pt x="2831973" y="1229392"/>
                    <a:pt x="2834735" y="1226630"/>
                    <a:pt x="2838164" y="1226630"/>
                  </a:cubicBezTo>
                  <a:close/>
                  <a:moveTo>
                    <a:pt x="83057" y="1225487"/>
                  </a:moveTo>
                  <a:cubicBezTo>
                    <a:pt x="86486" y="1225487"/>
                    <a:pt x="89249" y="1228249"/>
                    <a:pt x="89249" y="1231678"/>
                  </a:cubicBezTo>
                  <a:cubicBezTo>
                    <a:pt x="89249" y="1235107"/>
                    <a:pt x="86486" y="1237870"/>
                    <a:pt x="83057" y="1237870"/>
                  </a:cubicBezTo>
                  <a:cubicBezTo>
                    <a:pt x="79628" y="1237870"/>
                    <a:pt x="76866" y="1235107"/>
                    <a:pt x="76866" y="1231678"/>
                  </a:cubicBezTo>
                  <a:cubicBezTo>
                    <a:pt x="76866" y="1228249"/>
                    <a:pt x="79628" y="1225487"/>
                    <a:pt x="83057" y="1225487"/>
                  </a:cubicBezTo>
                  <a:close/>
                  <a:moveTo>
                    <a:pt x="3168681" y="1224058"/>
                  </a:moveTo>
                  <a:cubicBezTo>
                    <a:pt x="3172110" y="1224058"/>
                    <a:pt x="3174873" y="1226820"/>
                    <a:pt x="3174873" y="1230249"/>
                  </a:cubicBezTo>
                  <a:cubicBezTo>
                    <a:pt x="3174873" y="1233678"/>
                    <a:pt x="3172110" y="1236441"/>
                    <a:pt x="3168681" y="1236441"/>
                  </a:cubicBezTo>
                  <a:cubicBezTo>
                    <a:pt x="3165252" y="1236441"/>
                    <a:pt x="3162490" y="1233678"/>
                    <a:pt x="3162490" y="1230249"/>
                  </a:cubicBezTo>
                  <a:cubicBezTo>
                    <a:pt x="3162490" y="1226820"/>
                    <a:pt x="3165252" y="1224058"/>
                    <a:pt x="3168681" y="1224058"/>
                  </a:cubicBezTo>
                  <a:close/>
                  <a:moveTo>
                    <a:pt x="3236499" y="1223201"/>
                  </a:moveTo>
                  <a:cubicBezTo>
                    <a:pt x="3239928" y="1223201"/>
                    <a:pt x="3242690" y="1225963"/>
                    <a:pt x="3242690" y="1229392"/>
                  </a:cubicBezTo>
                  <a:cubicBezTo>
                    <a:pt x="3242690" y="1232821"/>
                    <a:pt x="3239928" y="1235584"/>
                    <a:pt x="3236499" y="1235584"/>
                  </a:cubicBezTo>
                  <a:cubicBezTo>
                    <a:pt x="3233070" y="1235584"/>
                    <a:pt x="3230308" y="1232821"/>
                    <a:pt x="3230308" y="1229392"/>
                  </a:cubicBezTo>
                  <a:cubicBezTo>
                    <a:pt x="3230308" y="1225963"/>
                    <a:pt x="3233070" y="1223201"/>
                    <a:pt x="3236499" y="1223201"/>
                  </a:cubicBezTo>
                  <a:close/>
                  <a:moveTo>
                    <a:pt x="2220467" y="1222153"/>
                  </a:moveTo>
                  <a:cubicBezTo>
                    <a:pt x="2223896" y="1222153"/>
                    <a:pt x="2226659" y="1224915"/>
                    <a:pt x="2226659" y="1228344"/>
                  </a:cubicBezTo>
                  <a:cubicBezTo>
                    <a:pt x="2226659" y="1231773"/>
                    <a:pt x="2223896" y="1234536"/>
                    <a:pt x="2220467" y="1234536"/>
                  </a:cubicBezTo>
                  <a:cubicBezTo>
                    <a:pt x="2217038" y="1234536"/>
                    <a:pt x="2214276" y="1231773"/>
                    <a:pt x="2214276" y="1228344"/>
                  </a:cubicBezTo>
                  <a:cubicBezTo>
                    <a:pt x="2214276" y="1224915"/>
                    <a:pt x="2217038" y="1222153"/>
                    <a:pt x="2220467" y="1222153"/>
                  </a:cubicBezTo>
                  <a:close/>
                  <a:moveTo>
                    <a:pt x="73723" y="1221962"/>
                  </a:moveTo>
                  <a:cubicBezTo>
                    <a:pt x="77152" y="1221962"/>
                    <a:pt x="79915" y="1224724"/>
                    <a:pt x="79915" y="1228153"/>
                  </a:cubicBezTo>
                  <a:cubicBezTo>
                    <a:pt x="79915" y="1231582"/>
                    <a:pt x="77152" y="1234345"/>
                    <a:pt x="73723" y="1234345"/>
                  </a:cubicBezTo>
                  <a:cubicBezTo>
                    <a:pt x="70294" y="1234345"/>
                    <a:pt x="67532" y="1231582"/>
                    <a:pt x="67532" y="1228153"/>
                  </a:cubicBezTo>
                  <a:cubicBezTo>
                    <a:pt x="67532" y="1224724"/>
                    <a:pt x="70294" y="1221962"/>
                    <a:pt x="73723" y="1221962"/>
                  </a:cubicBezTo>
                  <a:close/>
                  <a:moveTo>
                    <a:pt x="3276980" y="1221867"/>
                  </a:moveTo>
                  <a:cubicBezTo>
                    <a:pt x="3280409" y="1221867"/>
                    <a:pt x="3283171" y="1224629"/>
                    <a:pt x="3283171" y="1228058"/>
                  </a:cubicBezTo>
                  <a:cubicBezTo>
                    <a:pt x="3283171" y="1231487"/>
                    <a:pt x="3280409" y="1234250"/>
                    <a:pt x="3276980" y="1234250"/>
                  </a:cubicBezTo>
                  <a:cubicBezTo>
                    <a:pt x="3273551" y="1234250"/>
                    <a:pt x="3270789" y="1231487"/>
                    <a:pt x="3270789" y="1228058"/>
                  </a:cubicBezTo>
                  <a:cubicBezTo>
                    <a:pt x="3270789" y="1224629"/>
                    <a:pt x="3273551" y="1221867"/>
                    <a:pt x="3276980" y="1221867"/>
                  </a:cubicBezTo>
                  <a:close/>
                  <a:moveTo>
                    <a:pt x="118776" y="1221200"/>
                  </a:moveTo>
                  <a:cubicBezTo>
                    <a:pt x="122205" y="1221200"/>
                    <a:pt x="124968" y="1223962"/>
                    <a:pt x="124968" y="1227391"/>
                  </a:cubicBezTo>
                  <a:cubicBezTo>
                    <a:pt x="124968" y="1230820"/>
                    <a:pt x="122205" y="1233583"/>
                    <a:pt x="118776" y="1233583"/>
                  </a:cubicBezTo>
                  <a:cubicBezTo>
                    <a:pt x="115347" y="1233583"/>
                    <a:pt x="112585" y="1230820"/>
                    <a:pt x="112585" y="1227391"/>
                  </a:cubicBezTo>
                  <a:cubicBezTo>
                    <a:pt x="112585" y="1223962"/>
                    <a:pt x="115347" y="1221200"/>
                    <a:pt x="118776" y="1221200"/>
                  </a:cubicBezTo>
                  <a:close/>
                  <a:moveTo>
                    <a:pt x="526351" y="1218343"/>
                  </a:moveTo>
                  <a:cubicBezTo>
                    <a:pt x="529780" y="1218343"/>
                    <a:pt x="532542" y="1221105"/>
                    <a:pt x="532542" y="1224534"/>
                  </a:cubicBezTo>
                  <a:cubicBezTo>
                    <a:pt x="532542" y="1227963"/>
                    <a:pt x="529780" y="1230725"/>
                    <a:pt x="526351" y="1230725"/>
                  </a:cubicBezTo>
                  <a:cubicBezTo>
                    <a:pt x="522922" y="1230725"/>
                    <a:pt x="520160" y="1227963"/>
                    <a:pt x="520160" y="1224534"/>
                  </a:cubicBezTo>
                  <a:cubicBezTo>
                    <a:pt x="520160" y="1221105"/>
                    <a:pt x="522922" y="1218343"/>
                    <a:pt x="526351" y="1218343"/>
                  </a:cubicBezTo>
                  <a:close/>
                  <a:moveTo>
                    <a:pt x="280796" y="1218343"/>
                  </a:moveTo>
                  <a:cubicBezTo>
                    <a:pt x="284225" y="1218343"/>
                    <a:pt x="286987" y="1221105"/>
                    <a:pt x="286987" y="1224534"/>
                  </a:cubicBezTo>
                  <a:cubicBezTo>
                    <a:pt x="286987" y="1227963"/>
                    <a:pt x="284225" y="1230725"/>
                    <a:pt x="280796" y="1230725"/>
                  </a:cubicBezTo>
                  <a:cubicBezTo>
                    <a:pt x="277367" y="1230725"/>
                    <a:pt x="274605" y="1227963"/>
                    <a:pt x="274605" y="1224534"/>
                  </a:cubicBezTo>
                  <a:cubicBezTo>
                    <a:pt x="274605" y="1221105"/>
                    <a:pt x="277367" y="1218343"/>
                    <a:pt x="280796" y="1218343"/>
                  </a:cubicBezTo>
                  <a:close/>
                  <a:moveTo>
                    <a:pt x="3255644" y="1217105"/>
                  </a:moveTo>
                  <a:cubicBezTo>
                    <a:pt x="3259073" y="1217105"/>
                    <a:pt x="3261836" y="1219867"/>
                    <a:pt x="3261836" y="1223296"/>
                  </a:cubicBezTo>
                  <a:cubicBezTo>
                    <a:pt x="3261836" y="1226725"/>
                    <a:pt x="3259073" y="1229488"/>
                    <a:pt x="3255644" y="1229488"/>
                  </a:cubicBezTo>
                  <a:lnTo>
                    <a:pt x="3252501" y="1226345"/>
                  </a:lnTo>
                  <a:lnTo>
                    <a:pt x="3246405" y="1232441"/>
                  </a:lnTo>
                  <a:cubicBezTo>
                    <a:pt x="3242976" y="1232441"/>
                    <a:pt x="3240214" y="1229678"/>
                    <a:pt x="3240214" y="1226249"/>
                  </a:cubicBezTo>
                  <a:cubicBezTo>
                    <a:pt x="3240214" y="1222820"/>
                    <a:pt x="3242976" y="1220058"/>
                    <a:pt x="3246405" y="1220058"/>
                  </a:cubicBezTo>
                  <a:lnTo>
                    <a:pt x="3249548" y="1223201"/>
                  </a:lnTo>
                  <a:close/>
                  <a:moveTo>
                    <a:pt x="99631" y="1216248"/>
                  </a:moveTo>
                  <a:cubicBezTo>
                    <a:pt x="103060" y="1216248"/>
                    <a:pt x="105822" y="1219010"/>
                    <a:pt x="105822" y="1222439"/>
                  </a:cubicBezTo>
                  <a:cubicBezTo>
                    <a:pt x="105822" y="1225868"/>
                    <a:pt x="103060" y="1228630"/>
                    <a:pt x="99631" y="1228630"/>
                  </a:cubicBezTo>
                  <a:cubicBezTo>
                    <a:pt x="96202" y="1228630"/>
                    <a:pt x="93440" y="1225868"/>
                    <a:pt x="93440" y="1222439"/>
                  </a:cubicBezTo>
                  <a:cubicBezTo>
                    <a:pt x="93440" y="1219010"/>
                    <a:pt x="96202" y="1216248"/>
                    <a:pt x="99631" y="1216248"/>
                  </a:cubicBezTo>
                  <a:close/>
                  <a:moveTo>
                    <a:pt x="174021" y="1216057"/>
                  </a:moveTo>
                  <a:cubicBezTo>
                    <a:pt x="177450" y="1216057"/>
                    <a:pt x="180212" y="1218819"/>
                    <a:pt x="180212" y="1222248"/>
                  </a:cubicBezTo>
                  <a:cubicBezTo>
                    <a:pt x="180212" y="1225677"/>
                    <a:pt x="177450" y="1228440"/>
                    <a:pt x="174021" y="1228440"/>
                  </a:cubicBezTo>
                  <a:cubicBezTo>
                    <a:pt x="170592" y="1228440"/>
                    <a:pt x="167830" y="1225677"/>
                    <a:pt x="167830" y="1222248"/>
                  </a:cubicBezTo>
                  <a:cubicBezTo>
                    <a:pt x="167830" y="1218819"/>
                    <a:pt x="170592" y="1216057"/>
                    <a:pt x="174021" y="1216057"/>
                  </a:cubicBezTo>
                  <a:close/>
                  <a:moveTo>
                    <a:pt x="1173860" y="1215295"/>
                  </a:moveTo>
                  <a:cubicBezTo>
                    <a:pt x="1177289" y="1215295"/>
                    <a:pt x="1180052" y="1218057"/>
                    <a:pt x="1180052" y="1221486"/>
                  </a:cubicBezTo>
                  <a:cubicBezTo>
                    <a:pt x="1180052" y="1224915"/>
                    <a:pt x="1177289" y="1227678"/>
                    <a:pt x="1173860" y="1227678"/>
                  </a:cubicBezTo>
                  <a:cubicBezTo>
                    <a:pt x="1170431" y="1227678"/>
                    <a:pt x="1167669" y="1224915"/>
                    <a:pt x="1167669" y="1221486"/>
                  </a:cubicBezTo>
                  <a:cubicBezTo>
                    <a:pt x="1167669" y="1218057"/>
                    <a:pt x="1170431" y="1215295"/>
                    <a:pt x="1173860" y="1215295"/>
                  </a:cubicBezTo>
                  <a:close/>
                  <a:moveTo>
                    <a:pt x="3207924" y="1214533"/>
                  </a:moveTo>
                  <a:cubicBezTo>
                    <a:pt x="3211353" y="1214533"/>
                    <a:pt x="3214115" y="1217295"/>
                    <a:pt x="3214115" y="1220724"/>
                  </a:cubicBezTo>
                  <a:cubicBezTo>
                    <a:pt x="3214115" y="1224153"/>
                    <a:pt x="3211353" y="1226916"/>
                    <a:pt x="3207924" y="1226916"/>
                  </a:cubicBezTo>
                  <a:cubicBezTo>
                    <a:pt x="3204495" y="1226916"/>
                    <a:pt x="3201733" y="1224153"/>
                    <a:pt x="3201733" y="1220724"/>
                  </a:cubicBezTo>
                  <a:cubicBezTo>
                    <a:pt x="3201733" y="1217295"/>
                    <a:pt x="3204495" y="1214533"/>
                    <a:pt x="3207924" y="1214533"/>
                  </a:cubicBezTo>
                  <a:close/>
                  <a:moveTo>
                    <a:pt x="66865" y="1213295"/>
                  </a:moveTo>
                  <a:cubicBezTo>
                    <a:pt x="67342" y="1213295"/>
                    <a:pt x="67723" y="1213676"/>
                    <a:pt x="67723" y="1214152"/>
                  </a:cubicBezTo>
                  <a:cubicBezTo>
                    <a:pt x="67723" y="1214628"/>
                    <a:pt x="67342" y="1215010"/>
                    <a:pt x="66865" y="1215010"/>
                  </a:cubicBezTo>
                  <a:cubicBezTo>
                    <a:pt x="66389" y="1215010"/>
                    <a:pt x="66008" y="1214628"/>
                    <a:pt x="66008" y="1214152"/>
                  </a:cubicBezTo>
                  <a:cubicBezTo>
                    <a:pt x="66008" y="1213676"/>
                    <a:pt x="66389" y="1213295"/>
                    <a:pt x="66865" y="1213295"/>
                  </a:cubicBezTo>
                  <a:close/>
                  <a:moveTo>
                    <a:pt x="3269265" y="1212914"/>
                  </a:moveTo>
                  <a:cubicBezTo>
                    <a:pt x="3272694" y="1212914"/>
                    <a:pt x="3275457" y="1215676"/>
                    <a:pt x="3275457" y="1219105"/>
                  </a:cubicBezTo>
                  <a:cubicBezTo>
                    <a:pt x="3275457" y="1222534"/>
                    <a:pt x="3272694" y="1225297"/>
                    <a:pt x="3269265" y="1225297"/>
                  </a:cubicBezTo>
                  <a:cubicBezTo>
                    <a:pt x="3265836" y="1225297"/>
                    <a:pt x="3263074" y="1222534"/>
                    <a:pt x="3263074" y="1219105"/>
                  </a:cubicBezTo>
                  <a:cubicBezTo>
                    <a:pt x="3263074" y="1215676"/>
                    <a:pt x="3265836" y="1212914"/>
                    <a:pt x="3269265" y="1212914"/>
                  </a:cubicBezTo>
                  <a:close/>
                  <a:moveTo>
                    <a:pt x="79723" y="1211390"/>
                  </a:moveTo>
                  <a:lnTo>
                    <a:pt x="85439" y="1217105"/>
                  </a:lnTo>
                  <a:lnTo>
                    <a:pt x="88963" y="1213581"/>
                  </a:lnTo>
                  <a:cubicBezTo>
                    <a:pt x="92392" y="1213581"/>
                    <a:pt x="95155" y="1216343"/>
                    <a:pt x="95155" y="1219772"/>
                  </a:cubicBezTo>
                  <a:cubicBezTo>
                    <a:pt x="95155" y="1223201"/>
                    <a:pt x="92392" y="1225963"/>
                    <a:pt x="88963" y="1225963"/>
                  </a:cubicBezTo>
                  <a:lnTo>
                    <a:pt x="83248" y="1220248"/>
                  </a:lnTo>
                  <a:lnTo>
                    <a:pt x="79723" y="1223773"/>
                  </a:lnTo>
                  <a:cubicBezTo>
                    <a:pt x="76294" y="1223773"/>
                    <a:pt x="73532" y="1221010"/>
                    <a:pt x="73532" y="1217581"/>
                  </a:cubicBezTo>
                  <a:cubicBezTo>
                    <a:pt x="73532" y="1214152"/>
                    <a:pt x="76294" y="1211390"/>
                    <a:pt x="79723" y="1211390"/>
                  </a:cubicBezTo>
                  <a:close/>
                  <a:moveTo>
                    <a:pt x="3034664" y="1211009"/>
                  </a:moveTo>
                  <a:cubicBezTo>
                    <a:pt x="3038093" y="1211009"/>
                    <a:pt x="3040855" y="1213771"/>
                    <a:pt x="3040855" y="1217200"/>
                  </a:cubicBezTo>
                  <a:cubicBezTo>
                    <a:pt x="3040855" y="1220629"/>
                    <a:pt x="3038093" y="1223391"/>
                    <a:pt x="3034664" y="1223391"/>
                  </a:cubicBezTo>
                  <a:cubicBezTo>
                    <a:pt x="3031235" y="1223391"/>
                    <a:pt x="3028473" y="1220629"/>
                    <a:pt x="3028473" y="1217200"/>
                  </a:cubicBezTo>
                  <a:cubicBezTo>
                    <a:pt x="3028473" y="1213771"/>
                    <a:pt x="3031235" y="1211009"/>
                    <a:pt x="3034664" y="1211009"/>
                  </a:cubicBezTo>
                  <a:close/>
                  <a:moveTo>
                    <a:pt x="2776346" y="1211009"/>
                  </a:moveTo>
                  <a:cubicBezTo>
                    <a:pt x="2779775" y="1211009"/>
                    <a:pt x="2782538" y="1213771"/>
                    <a:pt x="2782538" y="1217200"/>
                  </a:cubicBezTo>
                  <a:cubicBezTo>
                    <a:pt x="2782538" y="1220629"/>
                    <a:pt x="2779775" y="1223391"/>
                    <a:pt x="2776346" y="1223391"/>
                  </a:cubicBezTo>
                  <a:cubicBezTo>
                    <a:pt x="2772917" y="1223391"/>
                    <a:pt x="2770155" y="1220629"/>
                    <a:pt x="2770155" y="1217200"/>
                  </a:cubicBezTo>
                  <a:cubicBezTo>
                    <a:pt x="2770155" y="1213771"/>
                    <a:pt x="2772917" y="1211009"/>
                    <a:pt x="2776346" y="1211009"/>
                  </a:cubicBezTo>
                  <a:close/>
                  <a:moveTo>
                    <a:pt x="3290887" y="1210437"/>
                  </a:moveTo>
                  <a:cubicBezTo>
                    <a:pt x="3292125" y="1210437"/>
                    <a:pt x="3293078" y="1211389"/>
                    <a:pt x="3293078" y="1212628"/>
                  </a:cubicBezTo>
                  <a:cubicBezTo>
                    <a:pt x="3293078" y="1213866"/>
                    <a:pt x="3292030" y="1214818"/>
                    <a:pt x="3290887" y="1214818"/>
                  </a:cubicBezTo>
                  <a:cubicBezTo>
                    <a:pt x="3289649" y="1214818"/>
                    <a:pt x="3288696" y="1213866"/>
                    <a:pt x="3288696" y="1212628"/>
                  </a:cubicBezTo>
                  <a:cubicBezTo>
                    <a:pt x="3288696" y="1211389"/>
                    <a:pt x="3289649" y="1210437"/>
                    <a:pt x="3290887" y="1210437"/>
                  </a:cubicBezTo>
                  <a:close/>
                  <a:moveTo>
                    <a:pt x="3228879" y="1210056"/>
                  </a:moveTo>
                  <a:cubicBezTo>
                    <a:pt x="3232308" y="1210056"/>
                    <a:pt x="3235071" y="1212818"/>
                    <a:pt x="3235071" y="1216247"/>
                  </a:cubicBezTo>
                  <a:cubicBezTo>
                    <a:pt x="3235071" y="1219676"/>
                    <a:pt x="3232308" y="1222439"/>
                    <a:pt x="3228879" y="1222439"/>
                  </a:cubicBezTo>
                  <a:cubicBezTo>
                    <a:pt x="3225450" y="1222439"/>
                    <a:pt x="3222688" y="1219676"/>
                    <a:pt x="3222688" y="1216247"/>
                  </a:cubicBezTo>
                  <a:cubicBezTo>
                    <a:pt x="3222688" y="1212818"/>
                    <a:pt x="3225450" y="1210056"/>
                    <a:pt x="3228879" y="1210056"/>
                  </a:cubicBezTo>
                  <a:close/>
                  <a:moveTo>
                    <a:pt x="2102453" y="1209675"/>
                  </a:moveTo>
                  <a:cubicBezTo>
                    <a:pt x="2105882" y="1209675"/>
                    <a:pt x="2108645" y="1212437"/>
                    <a:pt x="2108645" y="1215866"/>
                  </a:cubicBezTo>
                  <a:cubicBezTo>
                    <a:pt x="2108645" y="1219295"/>
                    <a:pt x="2105882" y="1222057"/>
                    <a:pt x="2102453" y="1222057"/>
                  </a:cubicBezTo>
                  <a:cubicBezTo>
                    <a:pt x="2099024" y="1222057"/>
                    <a:pt x="2096262" y="1219295"/>
                    <a:pt x="2096262" y="1215866"/>
                  </a:cubicBezTo>
                  <a:cubicBezTo>
                    <a:pt x="2096262" y="1212437"/>
                    <a:pt x="2099024" y="1209675"/>
                    <a:pt x="2102453" y="1209675"/>
                  </a:cubicBezTo>
                  <a:close/>
                  <a:moveTo>
                    <a:pt x="3148393" y="1209008"/>
                  </a:moveTo>
                  <a:cubicBezTo>
                    <a:pt x="3151822" y="1209008"/>
                    <a:pt x="3154584" y="1211770"/>
                    <a:pt x="3154584" y="1215199"/>
                  </a:cubicBezTo>
                  <a:cubicBezTo>
                    <a:pt x="3154584" y="1218628"/>
                    <a:pt x="3151822" y="1221391"/>
                    <a:pt x="3148393" y="1221391"/>
                  </a:cubicBezTo>
                  <a:cubicBezTo>
                    <a:pt x="3144964" y="1221391"/>
                    <a:pt x="3142202" y="1218628"/>
                    <a:pt x="3142202" y="1215199"/>
                  </a:cubicBezTo>
                  <a:cubicBezTo>
                    <a:pt x="3142202" y="1211770"/>
                    <a:pt x="3144964" y="1209008"/>
                    <a:pt x="3148393" y="1209008"/>
                  </a:cubicBezTo>
                  <a:close/>
                  <a:moveTo>
                    <a:pt x="131063" y="1206818"/>
                  </a:moveTo>
                  <a:cubicBezTo>
                    <a:pt x="134492" y="1206818"/>
                    <a:pt x="137255" y="1209580"/>
                    <a:pt x="137255" y="1213009"/>
                  </a:cubicBezTo>
                  <a:cubicBezTo>
                    <a:pt x="137255" y="1216438"/>
                    <a:pt x="134492" y="1219200"/>
                    <a:pt x="131063" y="1219200"/>
                  </a:cubicBezTo>
                  <a:cubicBezTo>
                    <a:pt x="127634" y="1219200"/>
                    <a:pt x="124872" y="1216438"/>
                    <a:pt x="124872" y="1213009"/>
                  </a:cubicBezTo>
                  <a:cubicBezTo>
                    <a:pt x="124872" y="1209580"/>
                    <a:pt x="127634" y="1206818"/>
                    <a:pt x="131063" y="1206818"/>
                  </a:cubicBezTo>
                  <a:close/>
                  <a:moveTo>
                    <a:pt x="3249548" y="1206246"/>
                  </a:moveTo>
                  <a:cubicBezTo>
                    <a:pt x="3252977" y="1206246"/>
                    <a:pt x="3255739" y="1209008"/>
                    <a:pt x="3255739" y="1212437"/>
                  </a:cubicBezTo>
                  <a:cubicBezTo>
                    <a:pt x="3255739" y="1215866"/>
                    <a:pt x="3252977" y="1218629"/>
                    <a:pt x="3249548" y="1218629"/>
                  </a:cubicBezTo>
                  <a:lnTo>
                    <a:pt x="3245786" y="1214867"/>
                  </a:lnTo>
                  <a:lnTo>
                    <a:pt x="3240404" y="1220249"/>
                  </a:lnTo>
                  <a:cubicBezTo>
                    <a:pt x="3236975" y="1220249"/>
                    <a:pt x="3234213" y="1217486"/>
                    <a:pt x="3234213" y="1214057"/>
                  </a:cubicBezTo>
                  <a:cubicBezTo>
                    <a:pt x="3234213" y="1210628"/>
                    <a:pt x="3236975" y="1207866"/>
                    <a:pt x="3240404" y="1207866"/>
                  </a:cubicBezTo>
                  <a:lnTo>
                    <a:pt x="3244166" y="1211628"/>
                  </a:lnTo>
                  <a:close/>
                  <a:moveTo>
                    <a:pt x="1296352" y="1203579"/>
                  </a:moveTo>
                  <a:cubicBezTo>
                    <a:pt x="1299781" y="1203579"/>
                    <a:pt x="1302544" y="1206341"/>
                    <a:pt x="1302544" y="1209770"/>
                  </a:cubicBezTo>
                  <a:cubicBezTo>
                    <a:pt x="1302544" y="1213199"/>
                    <a:pt x="1299781" y="1215962"/>
                    <a:pt x="1296352" y="1215962"/>
                  </a:cubicBezTo>
                  <a:cubicBezTo>
                    <a:pt x="1292923" y="1215962"/>
                    <a:pt x="1290161" y="1213199"/>
                    <a:pt x="1290161" y="1209770"/>
                  </a:cubicBezTo>
                  <a:cubicBezTo>
                    <a:pt x="1290161" y="1206341"/>
                    <a:pt x="1292923" y="1203579"/>
                    <a:pt x="1296352" y="1203579"/>
                  </a:cubicBezTo>
                  <a:close/>
                  <a:moveTo>
                    <a:pt x="3261931" y="1203484"/>
                  </a:moveTo>
                  <a:cubicBezTo>
                    <a:pt x="3265360" y="1203484"/>
                    <a:pt x="3268122" y="1206246"/>
                    <a:pt x="3268122" y="1209675"/>
                  </a:cubicBezTo>
                  <a:cubicBezTo>
                    <a:pt x="3268122" y="1213104"/>
                    <a:pt x="3265360" y="1215867"/>
                    <a:pt x="3261931" y="1215867"/>
                  </a:cubicBezTo>
                  <a:cubicBezTo>
                    <a:pt x="3258502" y="1215867"/>
                    <a:pt x="3255740" y="1213104"/>
                    <a:pt x="3255740" y="1209675"/>
                  </a:cubicBezTo>
                  <a:cubicBezTo>
                    <a:pt x="3255740" y="1206246"/>
                    <a:pt x="3258502" y="1203484"/>
                    <a:pt x="3261931" y="1203484"/>
                  </a:cubicBezTo>
                  <a:close/>
                  <a:moveTo>
                    <a:pt x="107822" y="1202627"/>
                  </a:moveTo>
                  <a:cubicBezTo>
                    <a:pt x="111251" y="1202627"/>
                    <a:pt x="114014" y="1205389"/>
                    <a:pt x="114014" y="1208818"/>
                  </a:cubicBezTo>
                  <a:cubicBezTo>
                    <a:pt x="114014" y="1212247"/>
                    <a:pt x="111251" y="1215010"/>
                    <a:pt x="107822" y="1215010"/>
                  </a:cubicBezTo>
                  <a:cubicBezTo>
                    <a:pt x="104393" y="1215010"/>
                    <a:pt x="101631" y="1212247"/>
                    <a:pt x="101631" y="1208818"/>
                  </a:cubicBezTo>
                  <a:cubicBezTo>
                    <a:pt x="101631" y="1205389"/>
                    <a:pt x="104393" y="1202627"/>
                    <a:pt x="107822" y="1202627"/>
                  </a:cubicBezTo>
                  <a:close/>
                  <a:moveTo>
                    <a:pt x="591406" y="1202531"/>
                  </a:moveTo>
                  <a:cubicBezTo>
                    <a:pt x="594835" y="1202531"/>
                    <a:pt x="597598" y="1205293"/>
                    <a:pt x="597598" y="1208722"/>
                  </a:cubicBezTo>
                  <a:cubicBezTo>
                    <a:pt x="597598" y="1212151"/>
                    <a:pt x="594835" y="1214914"/>
                    <a:pt x="591406" y="1214914"/>
                  </a:cubicBezTo>
                  <a:cubicBezTo>
                    <a:pt x="587977" y="1214914"/>
                    <a:pt x="585215" y="1212151"/>
                    <a:pt x="585215" y="1208722"/>
                  </a:cubicBezTo>
                  <a:cubicBezTo>
                    <a:pt x="585215" y="1205293"/>
                    <a:pt x="587977" y="1202531"/>
                    <a:pt x="591406" y="1202531"/>
                  </a:cubicBezTo>
                  <a:close/>
                  <a:moveTo>
                    <a:pt x="317849" y="1202531"/>
                  </a:moveTo>
                  <a:cubicBezTo>
                    <a:pt x="321278" y="1202531"/>
                    <a:pt x="324040" y="1205293"/>
                    <a:pt x="324040" y="1208722"/>
                  </a:cubicBezTo>
                  <a:cubicBezTo>
                    <a:pt x="324040" y="1212151"/>
                    <a:pt x="321278" y="1214914"/>
                    <a:pt x="317849" y="1214914"/>
                  </a:cubicBezTo>
                  <a:cubicBezTo>
                    <a:pt x="314420" y="1214914"/>
                    <a:pt x="311658" y="1212151"/>
                    <a:pt x="311658" y="1208722"/>
                  </a:cubicBezTo>
                  <a:cubicBezTo>
                    <a:pt x="311658" y="1205293"/>
                    <a:pt x="314420" y="1202531"/>
                    <a:pt x="317849" y="1202531"/>
                  </a:cubicBezTo>
                  <a:close/>
                  <a:moveTo>
                    <a:pt x="195833" y="1200627"/>
                  </a:moveTo>
                  <a:cubicBezTo>
                    <a:pt x="199262" y="1200627"/>
                    <a:pt x="202024" y="1203389"/>
                    <a:pt x="202024" y="1206818"/>
                  </a:cubicBezTo>
                  <a:cubicBezTo>
                    <a:pt x="202024" y="1210247"/>
                    <a:pt x="199262" y="1213009"/>
                    <a:pt x="195833" y="1213009"/>
                  </a:cubicBezTo>
                  <a:cubicBezTo>
                    <a:pt x="192404" y="1213009"/>
                    <a:pt x="189642" y="1210247"/>
                    <a:pt x="189642" y="1206818"/>
                  </a:cubicBezTo>
                  <a:cubicBezTo>
                    <a:pt x="189642" y="1203389"/>
                    <a:pt x="192404" y="1200627"/>
                    <a:pt x="195833" y="1200627"/>
                  </a:cubicBezTo>
                  <a:close/>
                  <a:moveTo>
                    <a:pt x="85819" y="1200150"/>
                  </a:moveTo>
                  <a:lnTo>
                    <a:pt x="91011" y="1205341"/>
                  </a:lnTo>
                  <a:lnTo>
                    <a:pt x="95154" y="1201198"/>
                  </a:lnTo>
                  <a:cubicBezTo>
                    <a:pt x="98583" y="1201198"/>
                    <a:pt x="101346" y="1203960"/>
                    <a:pt x="101346" y="1207389"/>
                  </a:cubicBezTo>
                  <a:cubicBezTo>
                    <a:pt x="101346" y="1210818"/>
                    <a:pt x="98583" y="1213581"/>
                    <a:pt x="95154" y="1213581"/>
                  </a:cubicBezTo>
                  <a:lnTo>
                    <a:pt x="89963" y="1208389"/>
                  </a:lnTo>
                  <a:lnTo>
                    <a:pt x="85819" y="1212533"/>
                  </a:lnTo>
                  <a:cubicBezTo>
                    <a:pt x="82390" y="1212533"/>
                    <a:pt x="79628" y="1209770"/>
                    <a:pt x="79628" y="1206341"/>
                  </a:cubicBezTo>
                  <a:cubicBezTo>
                    <a:pt x="79628" y="1202912"/>
                    <a:pt x="82390" y="1200150"/>
                    <a:pt x="85819" y="1200150"/>
                  </a:cubicBezTo>
                  <a:close/>
                  <a:moveTo>
                    <a:pt x="3194780" y="1199864"/>
                  </a:moveTo>
                  <a:cubicBezTo>
                    <a:pt x="3198209" y="1199864"/>
                    <a:pt x="3200971" y="1202626"/>
                    <a:pt x="3200971" y="1206055"/>
                  </a:cubicBezTo>
                  <a:cubicBezTo>
                    <a:pt x="3200971" y="1209484"/>
                    <a:pt x="3198209" y="1212247"/>
                    <a:pt x="3194780" y="1212247"/>
                  </a:cubicBezTo>
                  <a:cubicBezTo>
                    <a:pt x="3191351" y="1212247"/>
                    <a:pt x="3188589" y="1209484"/>
                    <a:pt x="3188589" y="1206055"/>
                  </a:cubicBezTo>
                  <a:cubicBezTo>
                    <a:pt x="3188589" y="1202626"/>
                    <a:pt x="3191351" y="1199864"/>
                    <a:pt x="3194780" y="1199864"/>
                  </a:cubicBezTo>
                  <a:close/>
                  <a:moveTo>
                    <a:pt x="1976056" y="1198817"/>
                  </a:moveTo>
                  <a:cubicBezTo>
                    <a:pt x="1979485" y="1198817"/>
                    <a:pt x="1982248" y="1201579"/>
                    <a:pt x="1982248" y="1205008"/>
                  </a:cubicBezTo>
                  <a:cubicBezTo>
                    <a:pt x="1982248" y="1208437"/>
                    <a:pt x="1979485" y="1211200"/>
                    <a:pt x="1976056" y="1211200"/>
                  </a:cubicBezTo>
                  <a:cubicBezTo>
                    <a:pt x="1972627" y="1211200"/>
                    <a:pt x="1969865" y="1208437"/>
                    <a:pt x="1969865" y="1205008"/>
                  </a:cubicBezTo>
                  <a:cubicBezTo>
                    <a:pt x="1969865" y="1201579"/>
                    <a:pt x="1972627" y="1198817"/>
                    <a:pt x="1976056" y="1198817"/>
                  </a:cubicBezTo>
                  <a:close/>
                  <a:moveTo>
                    <a:pt x="3281457" y="1198531"/>
                  </a:moveTo>
                  <a:cubicBezTo>
                    <a:pt x="3284886" y="1198531"/>
                    <a:pt x="3287649" y="1201293"/>
                    <a:pt x="3287649" y="1204722"/>
                  </a:cubicBezTo>
                  <a:cubicBezTo>
                    <a:pt x="3287649" y="1208151"/>
                    <a:pt x="3284886" y="1210914"/>
                    <a:pt x="3281457" y="1210914"/>
                  </a:cubicBezTo>
                  <a:cubicBezTo>
                    <a:pt x="3278028" y="1210914"/>
                    <a:pt x="3275266" y="1208151"/>
                    <a:pt x="3275266" y="1204722"/>
                  </a:cubicBezTo>
                  <a:cubicBezTo>
                    <a:pt x="3275266" y="1201293"/>
                    <a:pt x="3278028" y="1198531"/>
                    <a:pt x="3281457" y="1198531"/>
                  </a:cubicBezTo>
                  <a:close/>
                  <a:moveTo>
                    <a:pt x="74008" y="1198150"/>
                  </a:moveTo>
                  <a:cubicBezTo>
                    <a:pt x="77437" y="1198150"/>
                    <a:pt x="80200" y="1200912"/>
                    <a:pt x="80200" y="1204341"/>
                  </a:cubicBezTo>
                  <a:cubicBezTo>
                    <a:pt x="80200" y="1207770"/>
                    <a:pt x="77437" y="1210533"/>
                    <a:pt x="74008" y="1210533"/>
                  </a:cubicBezTo>
                  <a:cubicBezTo>
                    <a:pt x="70579" y="1210533"/>
                    <a:pt x="67817" y="1207770"/>
                    <a:pt x="67817" y="1204341"/>
                  </a:cubicBezTo>
                  <a:cubicBezTo>
                    <a:pt x="67817" y="1200912"/>
                    <a:pt x="70579" y="1198150"/>
                    <a:pt x="74008" y="1198150"/>
                  </a:cubicBezTo>
                  <a:close/>
                  <a:moveTo>
                    <a:pt x="3220211" y="1196150"/>
                  </a:moveTo>
                  <a:cubicBezTo>
                    <a:pt x="3223640" y="1196150"/>
                    <a:pt x="3226403" y="1198912"/>
                    <a:pt x="3226403" y="1202341"/>
                  </a:cubicBezTo>
                  <a:cubicBezTo>
                    <a:pt x="3226403" y="1205770"/>
                    <a:pt x="3223640" y="1208533"/>
                    <a:pt x="3220211" y="1208533"/>
                  </a:cubicBezTo>
                  <a:cubicBezTo>
                    <a:pt x="3216782" y="1208533"/>
                    <a:pt x="3214020" y="1205770"/>
                    <a:pt x="3214020" y="1202341"/>
                  </a:cubicBezTo>
                  <a:cubicBezTo>
                    <a:pt x="3214020" y="1198912"/>
                    <a:pt x="3216782" y="1196150"/>
                    <a:pt x="3220211" y="1196150"/>
                  </a:cubicBezTo>
                  <a:close/>
                  <a:moveTo>
                    <a:pt x="2708338" y="1195102"/>
                  </a:moveTo>
                  <a:cubicBezTo>
                    <a:pt x="2711767" y="1195102"/>
                    <a:pt x="2714529" y="1197864"/>
                    <a:pt x="2714529" y="1201293"/>
                  </a:cubicBezTo>
                  <a:cubicBezTo>
                    <a:pt x="2714529" y="1204722"/>
                    <a:pt x="2711767" y="1207485"/>
                    <a:pt x="2708338" y="1207485"/>
                  </a:cubicBezTo>
                  <a:cubicBezTo>
                    <a:pt x="2704909" y="1207485"/>
                    <a:pt x="2702147" y="1204722"/>
                    <a:pt x="2702147" y="1201293"/>
                  </a:cubicBezTo>
                  <a:cubicBezTo>
                    <a:pt x="2702147" y="1197864"/>
                    <a:pt x="2704909" y="1195102"/>
                    <a:pt x="2708338" y="1195102"/>
                  </a:cubicBezTo>
                  <a:close/>
                  <a:moveTo>
                    <a:pt x="2995707" y="1195007"/>
                  </a:moveTo>
                  <a:cubicBezTo>
                    <a:pt x="2999136" y="1195007"/>
                    <a:pt x="3001899" y="1197769"/>
                    <a:pt x="3001899" y="1201198"/>
                  </a:cubicBezTo>
                  <a:cubicBezTo>
                    <a:pt x="3001899" y="1204627"/>
                    <a:pt x="2999136" y="1207390"/>
                    <a:pt x="2995707" y="1207390"/>
                  </a:cubicBezTo>
                  <a:cubicBezTo>
                    <a:pt x="2992278" y="1207390"/>
                    <a:pt x="2989516" y="1204627"/>
                    <a:pt x="2989516" y="1201198"/>
                  </a:cubicBezTo>
                  <a:cubicBezTo>
                    <a:pt x="2989516" y="1197769"/>
                    <a:pt x="2992278" y="1195007"/>
                    <a:pt x="2995707" y="1195007"/>
                  </a:cubicBezTo>
                  <a:close/>
                  <a:moveTo>
                    <a:pt x="3243548" y="1194816"/>
                  </a:moveTo>
                  <a:cubicBezTo>
                    <a:pt x="3246977" y="1194816"/>
                    <a:pt x="3249739" y="1197578"/>
                    <a:pt x="3249739" y="1201007"/>
                  </a:cubicBezTo>
                  <a:cubicBezTo>
                    <a:pt x="3249739" y="1204436"/>
                    <a:pt x="3246977" y="1207199"/>
                    <a:pt x="3243548" y="1207199"/>
                  </a:cubicBezTo>
                  <a:lnTo>
                    <a:pt x="3238881" y="1202531"/>
                  </a:lnTo>
                  <a:lnTo>
                    <a:pt x="3233927" y="1207485"/>
                  </a:lnTo>
                  <a:cubicBezTo>
                    <a:pt x="3230498" y="1207485"/>
                    <a:pt x="3227736" y="1204722"/>
                    <a:pt x="3227736" y="1201293"/>
                  </a:cubicBezTo>
                  <a:cubicBezTo>
                    <a:pt x="3227736" y="1197864"/>
                    <a:pt x="3230498" y="1195102"/>
                    <a:pt x="3233927" y="1195102"/>
                  </a:cubicBezTo>
                  <a:lnTo>
                    <a:pt x="3238595" y="1199769"/>
                  </a:lnTo>
                  <a:close/>
                  <a:moveTo>
                    <a:pt x="1426844" y="1194054"/>
                  </a:moveTo>
                  <a:cubicBezTo>
                    <a:pt x="1430273" y="1194054"/>
                    <a:pt x="1433036" y="1196816"/>
                    <a:pt x="1433036" y="1200245"/>
                  </a:cubicBezTo>
                  <a:cubicBezTo>
                    <a:pt x="1433036" y="1203674"/>
                    <a:pt x="1430273" y="1206437"/>
                    <a:pt x="1426844" y="1206437"/>
                  </a:cubicBezTo>
                  <a:cubicBezTo>
                    <a:pt x="1423415" y="1206437"/>
                    <a:pt x="1420653" y="1203674"/>
                    <a:pt x="1420653" y="1200245"/>
                  </a:cubicBezTo>
                  <a:cubicBezTo>
                    <a:pt x="1420653" y="1196816"/>
                    <a:pt x="1423415" y="1194054"/>
                    <a:pt x="1426844" y="1194054"/>
                  </a:cubicBezTo>
                  <a:close/>
                  <a:moveTo>
                    <a:pt x="3254882" y="1193483"/>
                  </a:moveTo>
                  <a:cubicBezTo>
                    <a:pt x="3258311" y="1193483"/>
                    <a:pt x="3261073" y="1196245"/>
                    <a:pt x="3261073" y="1199674"/>
                  </a:cubicBezTo>
                  <a:cubicBezTo>
                    <a:pt x="3261073" y="1203103"/>
                    <a:pt x="3258311" y="1205865"/>
                    <a:pt x="3254882" y="1205865"/>
                  </a:cubicBezTo>
                  <a:cubicBezTo>
                    <a:pt x="3251453" y="1205865"/>
                    <a:pt x="3248691" y="1203103"/>
                    <a:pt x="3248691" y="1199674"/>
                  </a:cubicBezTo>
                  <a:cubicBezTo>
                    <a:pt x="3248691" y="1196245"/>
                    <a:pt x="3251453" y="1193483"/>
                    <a:pt x="3254882" y="1193483"/>
                  </a:cubicBezTo>
                  <a:close/>
                  <a:moveTo>
                    <a:pt x="3125152" y="1193292"/>
                  </a:moveTo>
                  <a:cubicBezTo>
                    <a:pt x="3128581" y="1193292"/>
                    <a:pt x="3131343" y="1196054"/>
                    <a:pt x="3131343" y="1199483"/>
                  </a:cubicBezTo>
                  <a:cubicBezTo>
                    <a:pt x="3131343" y="1202912"/>
                    <a:pt x="3128581" y="1205675"/>
                    <a:pt x="3125152" y="1205675"/>
                  </a:cubicBezTo>
                  <a:cubicBezTo>
                    <a:pt x="3121723" y="1205675"/>
                    <a:pt x="3118961" y="1202912"/>
                    <a:pt x="3118961" y="1199483"/>
                  </a:cubicBezTo>
                  <a:cubicBezTo>
                    <a:pt x="3118961" y="1196054"/>
                    <a:pt x="3121723" y="1193292"/>
                    <a:pt x="3125152" y="1193292"/>
                  </a:cubicBezTo>
                  <a:close/>
                  <a:moveTo>
                    <a:pt x="145160" y="1191768"/>
                  </a:moveTo>
                  <a:cubicBezTo>
                    <a:pt x="148589" y="1191768"/>
                    <a:pt x="151352" y="1194530"/>
                    <a:pt x="151352" y="1197959"/>
                  </a:cubicBezTo>
                  <a:cubicBezTo>
                    <a:pt x="151352" y="1201388"/>
                    <a:pt x="148589" y="1204151"/>
                    <a:pt x="145160" y="1204151"/>
                  </a:cubicBezTo>
                  <a:cubicBezTo>
                    <a:pt x="141731" y="1204151"/>
                    <a:pt x="138969" y="1201388"/>
                    <a:pt x="138969" y="1197959"/>
                  </a:cubicBezTo>
                  <a:cubicBezTo>
                    <a:pt x="138969" y="1194530"/>
                    <a:pt x="141731" y="1191768"/>
                    <a:pt x="145160" y="1191768"/>
                  </a:cubicBezTo>
                  <a:close/>
                  <a:moveTo>
                    <a:pt x="1842325" y="1190816"/>
                  </a:moveTo>
                  <a:cubicBezTo>
                    <a:pt x="1845754" y="1190816"/>
                    <a:pt x="1848517" y="1193578"/>
                    <a:pt x="1848517" y="1197007"/>
                  </a:cubicBezTo>
                  <a:cubicBezTo>
                    <a:pt x="1848517" y="1200436"/>
                    <a:pt x="1845754" y="1203198"/>
                    <a:pt x="1842325" y="1203198"/>
                  </a:cubicBezTo>
                  <a:cubicBezTo>
                    <a:pt x="1838896" y="1203198"/>
                    <a:pt x="1836134" y="1200436"/>
                    <a:pt x="1836134" y="1197007"/>
                  </a:cubicBezTo>
                  <a:cubicBezTo>
                    <a:pt x="1836134" y="1193578"/>
                    <a:pt x="1838896" y="1190816"/>
                    <a:pt x="1842325" y="1190816"/>
                  </a:cubicBezTo>
                  <a:close/>
                  <a:moveTo>
                    <a:pt x="3272408" y="1189958"/>
                  </a:moveTo>
                  <a:cubicBezTo>
                    <a:pt x="3275837" y="1189958"/>
                    <a:pt x="3278599" y="1192720"/>
                    <a:pt x="3278599" y="1196149"/>
                  </a:cubicBezTo>
                  <a:cubicBezTo>
                    <a:pt x="3278599" y="1199578"/>
                    <a:pt x="3275837" y="1202341"/>
                    <a:pt x="3272408" y="1202341"/>
                  </a:cubicBezTo>
                  <a:cubicBezTo>
                    <a:pt x="3268979" y="1202341"/>
                    <a:pt x="3266217" y="1199578"/>
                    <a:pt x="3266217" y="1196149"/>
                  </a:cubicBezTo>
                  <a:cubicBezTo>
                    <a:pt x="3266217" y="1192720"/>
                    <a:pt x="3268979" y="1189958"/>
                    <a:pt x="3272408" y="1189958"/>
                  </a:cubicBezTo>
                  <a:close/>
                  <a:moveTo>
                    <a:pt x="117062" y="1188435"/>
                  </a:moveTo>
                  <a:cubicBezTo>
                    <a:pt x="120491" y="1188435"/>
                    <a:pt x="123253" y="1191197"/>
                    <a:pt x="123253" y="1194626"/>
                  </a:cubicBezTo>
                  <a:cubicBezTo>
                    <a:pt x="123253" y="1198055"/>
                    <a:pt x="120491" y="1200817"/>
                    <a:pt x="117062" y="1200817"/>
                  </a:cubicBezTo>
                  <a:cubicBezTo>
                    <a:pt x="113633" y="1200817"/>
                    <a:pt x="110871" y="1198055"/>
                    <a:pt x="110871" y="1194626"/>
                  </a:cubicBezTo>
                  <a:cubicBezTo>
                    <a:pt x="110871" y="1191197"/>
                    <a:pt x="113633" y="1188435"/>
                    <a:pt x="117062" y="1188435"/>
                  </a:cubicBezTo>
                  <a:close/>
                  <a:moveTo>
                    <a:pt x="1563719" y="1188149"/>
                  </a:moveTo>
                  <a:cubicBezTo>
                    <a:pt x="1567148" y="1188149"/>
                    <a:pt x="1569911" y="1190911"/>
                    <a:pt x="1569911" y="1194340"/>
                  </a:cubicBezTo>
                  <a:cubicBezTo>
                    <a:pt x="1569911" y="1197769"/>
                    <a:pt x="1567148" y="1200531"/>
                    <a:pt x="1563719" y="1200531"/>
                  </a:cubicBezTo>
                  <a:cubicBezTo>
                    <a:pt x="1560290" y="1200531"/>
                    <a:pt x="1557528" y="1197769"/>
                    <a:pt x="1557528" y="1194340"/>
                  </a:cubicBezTo>
                  <a:cubicBezTo>
                    <a:pt x="1557528" y="1190911"/>
                    <a:pt x="1560290" y="1188149"/>
                    <a:pt x="1563719" y="1188149"/>
                  </a:cubicBezTo>
                  <a:close/>
                  <a:moveTo>
                    <a:pt x="80962" y="1187863"/>
                  </a:moveTo>
                  <a:lnTo>
                    <a:pt x="86677" y="1193578"/>
                  </a:lnTo>
                  <a:lnTo>
                    <a:pt x="91916" y="1188339"/>
                  </a:lnTo>
                  <a:lnTo>
                    <a:pt x="96774" y="1193197"/>
                  </a:lnTo>
                  <a:lnTo>
                    <a:pt x="101917" y="1188054"/>
                  </a:lnTo>
                  <a:cubicBezTo>
                    <a:pt x="105346" y="1188054"/>
                    <a:pt x="108109" y="1190816"/>
                    <a:pt x="108109" y="1194245"/>
                  </a:cubicBezTo>
                  <a:cubicBezTo>
                    <a:pt x="108109" y="1197674"/>
                    <a:pt x="105346" y="1200436"/>
                    <a:pt x="101917" y="1200436"/>
                  </a:cubicBezTo>
                  <a:lnTo>
                    <a:pt x="97059" y="1195579"/>
                  </a:lnTo>
                  <a:lnTo>
                    <a:pt x="91916" y="1200722"/>
                  </a:lnTo>
                  <a:lnTo>
                    <a:pt x="86201" y="1195006"/>
                  </a:lnTo>
                  <a:lnTo>
                    <a:pt x="80962" y="1200246"/>
                  </a:lnTo>
                  <a:cubicBezTo>
                    <a:pt x="77533" y="1200246"/>
                    <a:pt x="74771" y="1197483"/>
                    <a:pt x="74771" y="1194054"/>
                  </a:cubicBezTo>
                  <a:cubicBezTo>
                    <a:pt x="74771" y="1190625"/>
                    <a:pt x="77533" y="1187863"/>
                    <a:pt x="80962" y="1187863"/>
                  </a:cubicBezTo>
                  <a:close/>
                  <a:moveTo>
                    <a:pt x="1703641" y="1186910"/>
                  </a:moveTo>
                  <a:cubicBezTo>
                    <a:pt x="1707070" y="1186910"/>
                    <a:pt x="1709832" y="1189672"/>
                    <a:pt x="1709832" y="1193101"/>
                  </a:cubicBezTo>
                  <a:cubicBezTo>
                    <a:pt x="1709832" y="1196530"/>
                    <a:pt x="1707070" y="1199293"/>
                    <a:pt x="1703641" y="1199293"/>
                  </a:cubicBezTo>
                  <a:cubicBezTo>
                    <a:pt x="1700212" y="1199293"/>
                    <a:pt x="1697450" y="1196530"/>
                    <a:pt x="1697450" y="1193101"/>
                  </a:cubicBezTo>
                  <a:cubicBezTo>
                    <a:pt x="1697450" y="1189672"/>
                    <a:pt x="1700212" y="1186910"/>
                    <a:pt x="1703641" y="1186910"/>
                  </a:cubicBezTo>
                  <a:close/>
                  <a:moveTo>
                    <a:pt x="662844" y="1186434"/>
                  </a:moveTo>
                  <a:cubicBezTo>
                    <a:pt x="666273" y="1186434"/>
                    <a:pt x="669035" y="1189196"/>
                    <a:pt x="669035" y="1192625"/>
                  </a:cubicBezTo>
                  <a:cubicBezTo>
                    <a:pt x="669035" y="1196054"/>
                    <a:pt x="666273" y="1198816"/>
                    <a:pt x="662844" y="1198816"/>
                  </a:cubicBezTo>
                  <a:cubicBezTo>
                    <a:pt x="659415" y="1198816"/>
                    <a:pt x="656653" y="1196054"/>
                    <a:pt x="656653" y="1192625"/>
                  </a:cubicBezTo>
                  <a:cubicBezTo>
                    <a:pt x="656653" y="1189196"/>
                    <a:pt x="659415" y="1186434"/>
                    <a:pt x="662844" y="1186434"/>
                  </a:cubicBezTo>
                  <a:close/>
                  <a:moveTo>
                    <a:pt x="359187" y="1186149"/>
                  </a:moveTo>
                  <a:cubicBezTo>
                    <a:pt x="362607" y="1186149"/>
                    <a:pt x="365379" y="1188921"/>
                    <a:pt x="365379" y="1192340"/>
                  </a:cubicBezTo>
                  <a:cubicBezTo>
                    <a:pt x="365379" y="1195760"/>
                    <a:pt x="362607" y="1198531"/>
                    <a:pt x="359187" y="1198531"/>
                  </a:cubicBezTo>
                  <a:cubicBezTo>
                    <a:pt x="355768" y="1198531"/>
                    <a:pt x="352996" y="1195760"/>
                    <a:pt x="352996" y="1192340"/>
                  </a:cubicBezTo>
                  <a:cubicBezTo>
                    <a:pt x="352996" y="1188921"/>
                    <a:pt x="355768" y="1186149"/>
                    <a:pt x="359187" y="1186149"/>
                  </a:cubicBezTo>
                  <a:close/>
                  <a:moveTo>
                    <a:pt x="3179730" y="1184625"/>
                  </a:moveTo>
                  <a:cubicBezTo>
                    <a:pt x="3183159" y="1184625"/>
                    <a:pt x="3185922" y="1187387"/>
                    <a:pt x="3185922" y="1190816"/>
                  </a:cubicBezTo>
                  <a:cubicBezTo>
                    <a:pt x="3185922" y="1194245"/>
                    <a:pt x="3183159" y="1197008"/>
                    <a:pt x="3179730" y="1197008"/>
                  </a:cubicBezTo>
                  <a:cubicBezTo>
                    <a:pt x="3176301" y="1197008"/>
                    <a:pt x="3173539" y="1194245"/>
                    <a:pt x="3173539" y="1190816"/>
                  </a:cubicBezTo>
                  <a:cubicBezTo>
                    <a:pt x="3173539" y="1187387"/>
                    <a:pt x="3176301" y="1184625"/>
                    <a:pt x="3179730" y="1184625"/>
                  </a:cubicBezTo>
                  <a:close/>
                  <a:moveTo>
                    <a:pt x="220598" y="1184625"/>
                  </a:moveTo>
                  <a:cubicBezTo>
                    <a:pt x="224027" y="1184625"/>
                    <a:pt x="226789" y="1187387"/>
                    <a:pt x="226789" y="1190816"/>
                  </a:cubicBezTo>
                  <a:cubicBezTo>
                    <a:pt x="226789" y="1194245"/>
                    <a:pt x="224027" y="1197008"/>
                    <a:pt x="220598" y="1197008"/>
                  </a:cubicBezTo>
                  <a:cubicBezTo>
                    <a:pt x="217169" y="1197008"/>
                    <a:pt x="214407" y="1194245"/>
                    <a:pt x="214407" y="1190816"/>
                  </a:cubicBezTo>
                  <a:cubicBezTo>
                    <a:pt x="214407" y="1187387"/>
                    <a:pt x="217169" y="1184625"/>
                    <a:pt x="220598" y="1184625"/>
                  </a:cubicBezTo>
                  <a:close/>
                  <a:moveTo>
                    <a:pt x="3226783" y="1181767"/>
                  </a:moveTo>
                  <a:lnTo>
                    <a:pt x="3232546" y="1187530"/>
                  </a:lnTo>
                  <a:lnTo>
                    <a:pt x="3237356" y="1182720"/>
                  </a:lnTo>
                  <a:lnTo>
                    <a:pt x="3242785" y="1188149"/>
                  </a:lnTo>
                  <a:lnTo>
                    <a:pt x="3248119" y="1182815"/>
                  </a:lnTo>
                  <a:cubicBezTo>
                    <a:pt x="3251548" y="1182815"/>
                    <a:pt x="3254311" y="1185577"/>
                    <a:pt x="3254311" y="1189006"/>
                  </a:cubicBezTo>
                  <a:cubicBezTo>
                    <a:pt x="3254311" y="1192435"/>
                    <a:pt x="3251548" y="1195198"/>
                    <a:pt x="3248119" y="1195198"/>
                  </a:cubicBezTo>
                  <a:lnTo>
                    <a:pt x="3242690" y="1189768"/>
                  </a:lnTo>
                  <a:lnTo>
                    <a:pt x="3237356" y="1195102"/>
                  </a:lnTo>
                  <a:lnTo>
                    <a:pt x="3231593" y="1189340"/>
                  </a:lnTo>
                  <a:lnTo>
                    <a:pt x="3226783" y="1194150"/>
                  </a:lnTo>
                  <a:cubicBezTo>
                    <a:pt x="3223354" y="1194150"/>
                    <a:pt x="3220592" y="1191387"/>
                    <a:pt x="3220592" y="1187958"/>
                  </a:cubicBezTo>
                  <a:cubicBezTo>
                    <a:pt x="3220592" y="1184529"/>
                    <a:pt x="3223354" y="1181767"/>
                    <a:pt x="3226783" y="1181767"/>
                  </a:cubicBezTo>
                  <a:close/>
                  <a:moveTo>
                    <a:pt x="3210305" y="1181672"/>
                  </a:moveTo>
                  <a:cubicBezTo>
                    <a:pt x="3213734" y="1181672"/>
                    <a:pt x="3216496" y="1184434"/>
                    <a:pt x="3216496" y="1187863"/>
                  </a:cubicBezTo>
                  <a:cubicBezTo>
                    <a:pt x="3216496" y="1191292"/>
                    <a:pt x="3213734" y="1194054"/>
                    <a:pt x="3210305" y="1194054"/>
                  </a:cubicBezTo>
                  <a:cubicBezTo>
                    <a:pt x="3206876" y="1194054"/>
                    <a:pt x="3204114" y="1191292"/>
                    <a:pt x="3204114" y="1187863"/>
                  </a:cubicBezTo>
                  <a:cubicBezTo>
                    <a:pt x="3204114" y="1184434"/>
                    <a:pt x="3206876" y="1181672"/>
                    <a:pt x="3210305" y="1181672"/>
                  </a:cubicBezTo>
                  <a:close/>
                  <a:moveTo>
                    <a:pt x="3263931" y="1180814"/>
                  </a:moveTo>
                  <a:cubicBezTo>
                    <a:pt x="3267360" y="1180814"/>
                    <a:pt x="3270123" y="1183576"/>
                    <a:pt x="3270123" y="1187005"/>
                  </a:cubicBezTo>
                  <a:cubicBezTo>
                    <a:pt x="3270123" y="1190434"/>
                    <a:pt x="3267360" y="1193197"/>
                    <a:pt x="3263931" y="1193197"/>
                  </a:cubicBezTo>
                  <a:cubicBezTo>
                    <a:pt x="3260502" y="1193197"/>
                    <a:pt x="3257740" y="1190434"/>
                    <a:pt x="3257740" y="1187005"/>
                  </a:cubicBezTo>
                  <a:cubicBezTo>
                    <a:pt x="3257740" y="1183576"/>
                    <a:pt x="3260502" y="1180814"/>
                    <a:pt x="3263931" y="1180814"/>
                  </a:cubicBezTo>
                  <a:close/>
                  <a:moveTo>
                    <a:pt x="2633757" y="1178814"/>
                  </a:moveTo>
                  <a:cubicBezTo>
                    <a:pt x="2637186" y="1178814"/>
                    <a:pt x="2639949" y="1181576"/>
                    <a:pt x="2639949" y="1185005"/>
                  </a:cubicBezTo>
                  <a:cubicBezTo>
                    <a:pt x="2639949" y="1188434"/>
                    <a:pt x="2637186" y="1191197"/>
                    <a:pt x="2633757" y="1191197"/>
                  </a:cubicBezTo>
                  <a:cubicBezTo>
                    <a:pt x="2630328" y="1191197"/>
                    <a:pt x="2627566" y="1188434"/>
                    <a:pt x="2627566" y="1185005"/>
                  </a:cubicBezTo>
                  <a:cubicBezTo>
                    <a:pt x="2627566" y="1181576"/>
                    <a:pt x="2630328" y="1178814"/>
                    <a:pt x="2633757" y="1178814"/>
                  </a:cubicBezTo>
                  <a:close/>
                  <a:moveTo>
                    <a:pt x="2952273" y="1178338"/>
                  </a:moveTo>
                  <a:cubicBezTo>
                    <a:pt x="2955702" y="1178338"/>
                    <a:pt x="2958465" y="1181100"/>
                    <a:pt x="2958465" y="1184529"/>
                  </a:cubicBezTo>
                  <a:cubicBezTo>
                    <a:pt x="2958465" y="1187958"/>
                    <a:pt x="2955702" y="1190721"/>
                    <a:pt x="2952273" y="1190721"/>
                  </a:cubicBezTo>
                  <a:cubicBezTo>
                    <a:pt x="2948844" y="1190721"/>
                    <a:pt x="2946082" y="1187958"/>
                    <a:pt x="2946082" y="1184529"/>
                  </a:cubicBezTo>
                  <a:cubicBezTo>
                    <a:pt x="2946082" y="1181100"/>
                    <a:pt x="2948844" y="1178338"/>
                    <a:pt x="2952273" y="1178338"/>
                  </a:cubicBezTo>
                  <a:close/>
                  <a:moveTo>
                    <a:pt x="3098958" y="1177004"/>
                  </a:moveTo>
                  <a:cubicBezTo>
                    <a:pt x="3102387" y="1177004"/>
                    <a:pt x="3105149" y="1179766"/>
                    <a:pt x="3105149" y="1183195"/>
                  </a:cubicBezTo>
                  <a:cubicBezTo>
                    <a:pt x="3105149" y="1186624"/>
                    <a:pt x="3102387" y="1189387"/>
                    <a:pt x="3098958" y="1189387"/>
                  </a:cubicBezTo>
                  <a:cubicBezTo>
                    <a:pt x="3095529" y="1189387"/>
                    <a:pt x="3092767" y="1186624"/>
                    <a:pt x="3092767" y="1183195"/>
                  </a:cubicBezTo>
                  <a:cubicBezTo>
                    <a:pt x="3092767" y="1179766"/>
                    <a:pt x="3095529" y="1177004"/>
                    <a:pt x="3098958" y="1177004"/>
                  </a:cubicBezTo>
                  <a:close/>
                  <a:moveTo>
                    <a:pt x="161353" y="1176147"/>
                  </a:moveTo>
                  <a:cubicBezTo>
                    <a:pt x="164782" y="1176147"/>
                    <a:pt x="167544" y="1178909"/>
                    <a:pt x="167544" y="1182338"/>
                  </a:cubicBezTo>
                  <a:cubicBezTo>
                    <a:pt x="167544" y="1185767"/>
                    <a:pt x="164782" y="1188529"/>
                    <a:pt x="161353" y="1188529"/>
                  </a:cubicBezTo>
                  <a:cubicBezTo>
                    <a:pt x="157924" y="1188529"/>
                    <a:pt x="155162" y="1185767"/>
                    <a:pt x="155162" y="1182338"/>
                  </a:cubicBezTo>
                  <a:cubicBezTo>
                    <a:pt x="155162" y="1178909"/>
                    <a:pt x="157924" y="1176147"/>
                    <a:pt x="161353" y="1176147"/>
                  </a:cubicBezTo>
                  <a:close/>
                  <a:moveTo>
                    <a:pt x="98297" y="1175957"/>
                  </a:moveTo>
                  <a:cubicBezTo>
                    <a:pt x="101726" y="1175957"/>
                    <a:pt x="104489" y="1178719"/>
                    <a:pt x="104489" y="1182148"/>
                  </a:cubicBezTo>
                  <a:cubicBezTo>
                    <a:pt x="104489" y="1185577"/>
                    <a:pt x="101726" y="1188340"/>
                    <a:pt x="98297" y="1188340"/>
                  </a:cubicBezTo>
                  <a:lnTo>
                    <a:pt x="93392" y="1183434"/>
                  </a:lnTo>
                  <a:lnTo>
                    <a:pt x="87629" y="1189196"/>
                  </a:lnTo>
                  <a:cubicBezTo>
                    <a:pt x="84200" y="1189196"/>
                    <a:pt x="81438" y="1186434"/>
                    <a:pt x="81438" y="1183005"/>
                  </a:cubicBezTo>
                  <a:cubicBezTo>
                    <a:pt x="81438" y="1179576"/>
                    <a:pt x="84200" y="1176814"/>
                    <a:pt x="87629" y="1176814"/>
                  </a:cubicBezTo>
                  <a:lnTo>
                    <a:pt x="92535" y="1181719"/>
                  </a:lnTo>
                  <a:close/>
                  <a:moveTo>
                    <a:pt x="109442" y="1174242"/>
                  </a:moveTo>
                  <a:cubicBezTo>
                    <a:pt x="112871" y="1174242"/>
                    <a:pt x="115634" y="1177004"/>
                    <a:pt x="115634" y="1180433"/>
                  </a:cubicBezTo>
                  <a:cubicBezTo>
                    <a:pt x="115634" y="1183862"/>
                    <a:pt x="112871" y="1186625"/>
                    <a:pt x="109442" y="1186625"/>
                  </a:cubicBezTo>
                  <a:cubicBezTo>
                    <a:pt x="106013" y="1186625"/>
                    <a:pt x="103251" y="1183862"/>
                    <a:pt x="103251" y="1180433"/>
                  </a:cubicBezTo>
                  <a:cubicBezTo>
                    <a:pt x="103251" y="1177004"/>
                    <a:pt x="106013" y="1174242"/>
                    <a:pt x="109442" y="1174242"/>
                  </a:cubicBezTo>
                  <a:close/>
                  <a:moveTo>
                    <a:pt x="127730" y="1173575"/>
                  </a:moveTo>
                  <a:cubicBezTo>
                    <a:pt x="131159" y="1173575"/>
                    <a:pt x="133922" y="1176337"/>
                    <a:pt x="133922" y="1179766"/>
                  </a:cubicBezTo>
                  <a:cubicBezTo>
                    <a:pt x="133922" y="1183195"/>
                    <a:pt x="131159" y="1185958"/>
                    <a:pt x="127730" y="1185958"/>
                  </a:cubicBezTo>
                  <a:cubicBezTo>
                    <a:pt x="124301" y="1185958"/>
                    <a:pt x="121539" y="1183195"/>
                    <a:pt x="121539" y="1179766"/>
                  </a:cubicBezTo>
                  <a:cubicBezTo>
                    <a:pt x="121539" y="1176337"/>
                    <a:pt x="124301" y="1173575"/>
                    <a:pt x="127730" y="1173575"/>
                  </a:cubicBezTo>
                  <a:close/>
                  <a:moveTo>
                    <a:pt x="3255835" y="1171099"/>
                  </a:moveTo>
                  <a:cubicBezTo>
                    <a:pt x="3259264" y="1171099"/>
                    <a:pt x="3262026" y="1173861"/>
                    <a:pt x="3262026" y="1177290"/>
                  </a:cubicBezTo>
                  <a:cubicBezTo>
                    <a:pt x="3262026" y="1180719"/>
                    <a:pt x="3259264" y="1183481"/>
                    <a:pt x="3255835" y="1183481"/>
                  </a:cubicBezTo>
                  <a:cubicBezTo>
                    <a:pt x="3252406" y="1183481"/>
                    <a:pt x="3249644" y="1180719"/>
                    <a:pt x="3249644" y="1177290"/>
                  </a:cubicBezTo>
                  <a:cubicBezTo>
                    <a:pt x="3249644" y="1173861"/>
                    <a:pt x="3252406" y="1171099"/>
                    <a:pt x="3255835" y="1171099"/>
                  </a:cubicBezTo>
                  <a:close/>
                  <a:moveTo>
                    <a:pt x="3277837" y="1170623"/>
                  </a:moveTo>
                  <a:cubicBezTo>
                    <a:pt x="3279647" y="1170623"/>
                    <a:pt x="3281076" y="1172052"/>
                    <a:pt x="3281076" y="1173862"/>
                  </a:cubicBezTo>
                  <a:cubicBezTo>
                    <a:pt x="3281076" y="1175671"/>
                    <a:pt x="3279647" y="1177100"/>
                    <a:pt x="3277837" y="1177100"/>
                  </a:cubicBezTo>
                  <a:cubicBezTo>
                    <a:pt x="3276028" y="1177100"/>
                    <a:pt x="3274599" y="1175671"/>
                    <a:pt x="3274599" y="1173862"/>
                  </a:cubicBezTo>
                  <a:cubicBezTo>
                    <a:pt x="3274599" y="1172052"/>
                    <a:pt x="3276028" y="1170623"/>
                    <a:pt x="3277837" y="1170623"/>
                  </a:cubicBezTo>
                  <a:close/>
                  <a:moveTo>
                    <a:pt x="741235" y="1170051"/>
                  </a:moveTo>
                  <a:cubicBezTo>
                    <a:pt x="744664" y="1170051"/>
                    <a:pt x="747427" y="1172813"/>
                    <a:pt x="747427" y="1176242"/>
                  </a:cubicBezTo>
                  <a:cubicBezTo>
                    <a:pt x="747427" y="1179671"/>
                    <a:pt x="744664" y="1182433"/>
                    <a:pt x="741235" y="1182433"/>
                  </a:cubicBezTo>
                  <a:cubicBezTo>
                    <a:pt x="737806" y="1182433"/>
                    <a:pt x="735044" y="1179671"/>
                    <a:pt x="735044" y="1176242"/>
                  </a:cubicBezTo>
                  <a:cubicBezTo>
                    <a:pt x="735044" y="1172813"/>
                    <a:pt x="737806" y="1170051"/>
                    <a:pt x="741235" y="1170051"/>
                  </a:cubicBezTo>
                  <a:close/>
                  <a:moveTo>
                    <a:pt x="3230784" y="1169956"/>
                  </a:moveTo>
                  <a:lnTo>
                    <a:pt x="3236880" y="1176052"/>
                  </a:lnTo>
                  <a:lnTo>
                    <a:pt x="3241357" y="1171575"/>
                  </a:lnTo>
                  <a:cubicBezTo>
                    <a:pt x="3244786" y="1171575"/>
                    <a:pt x="3247549" y="1174337"/>
                    <a:pt x="3247549" y="1177766"/>
                  </a:cubicBezTo>
                  <a:cubicBezTo>
                    <a:pt x="3247549" y="1181195"/>
                    <a:pt x="3244786" y="1183958"/>
                    <a:pt x="3241357" y="1183958"/>
                  </a:cubicBezTo>
                  <a:lnTo>
                    <a:pt x="3235261" y="1177861"/>
                  </a:lnTo>
                  <a:lnTo>
                    <a:pt x="3230784" y="1182339"/>
                  </a:lnTo>
                  <a:cubicBezTo>
                    <a:pt x="3227355" y="1182339"/>
                    <a:pt x="3224593" y="1179576"/>
                    <a:pt x="3224593" y="1176147"/>
                  </a:cubicBezTo>
                  <a:cubicBezTo>
                    <a:pt x="3224593" y="1172718"/>
                    <a:pt x="3227355" y="1169956"/>
                    <a:pt x="3230784" y="1169956"/>
                  </a:cubicBezTo>
                  <a:close/>
                  <a:moveTo>
                    <a:pt x="80581" y="1169575"/>
                  </a:moveTo>
                  <a:cubicBezTo>
                    <a:pt x="81819" y="1169575"/>
                    <a:pt x="82772" y="1170527"/>
                    <a:pt x="82772" y="1171766"/>
                  </a:cubicBezTo>
                  <a:cubicBezTo>
                    <a:pt x="82772" y="1173004"/>
                    <a:pt x="81724" y="1173956"/>
                    <a:pt x="80581" y="1173956"/>
                  </a:cubicBezTo>
                  <a:cubicBezTo>
                    <a:pt x="79343" y="1173956"/>
                    <a:pt x="78390" y="1173004"/>
                    <a:pt x="78390" y="1171766"/>
                  </a:cubicBezTo>
                  <a:cubicBezTo>
                    <a:pt x="78390" y="1170527"/>
                    <a:pt x="79343" y="1169575"/>
                    <a:pt x="80581" y="1169575"/>
                  </a:cubicBezTo>
                  <a:close/>
                  <a:moveTo>
                    <a:pt x="405193" y="1169194"/>
                  </a:moveTo>
                  <a:cubicBezTo>
                    <a:pt x="408613" y="1169194"/>
                    <a:pt x="411384" y="1171966"/>
                    <a:pt x="411384" y="1175385"/>
                  </a:cubicBezTo>
                  <a:cubicBezTo>
                    <a:pt x="411384" y="1178805"/>
                    <a:pt x="408613" y="1181577"/>
                    <a:pt x="405193" y="1181577"/>
                  </a:cubicBezTo>
                  <a:cubicBezTo>
                    <a:pt x="401774" y="1181577"/>
                    <a:pt x="399002" y="1178805"/>
                    <a:pt x="399002" y="1175385"/>
                  </a:cubicBezTo>
                  <a:cubicBezTo>
                    <a:pt x="399002" y="1171966"/>
                    <a:pt x="401774" y="1169194"/>
                    <a:pt x="405193" y="1169194"/>
                  </a:cubicBezTo>
                  <a:close/>
                  <a:moveTo>
                    <a:pt x="3162490" y="1168623"/>
                  </a:moveTo>
                  <a:cubicBezTo>
                    <a:pt x="3165919" y="1168623"/>
                    <a:pt x="3168682" y="1171385"/>
                    <a:pt x="3168682" y="1174814"/>
                  </a:cubicBezTo>
                  <a:cubicBezTo>
                    <a:pt x="3168682" y="1178243"/>
                    <a:pt x="3165919" y="1181006"/>
                    <a:pt x="3162490" y="1181006"/>
                  </a:cubicBezTo>
                  <a:cubicBezTo>
                    <a:pt x="3159061" y="1181006"/>
                    <a:pt x="3156299" y="1178243"/>
                    <a:pt x="3156299" y="1174814"/>
                  </a:cubicBezTo>
                  <a:cubicBezTo>
                    <a:pt x="3156299" y="1171385"/>
                    <a:pt x="3159061" y="1168623"/>
                    <a:pt x="3162490" y="1168623"/>
                  </a:cubicBezTo>
                  <a:close/>
                  <a:moveTo>
                    <a:pt x="248697" y="1168051"/>
                  </a:moveTo>
                  <a:cubicBezTo>
                    <a:pt x="252126" y="1168051"/>
                    <a:pt x="254889" y="1170813"/>
                    <a:pt x="254889" y="1174242"/>
                  </a:cubicBezTo>
                  <a:cubicBezTo>
                    <a:pt x="254889" y="1177671"/>
                    <a:pt x="252126" y="1180433"/>
                    <a:pt x="248697" y="1180433"/>
                  </a:cubicBezTo>
                  <a:cubicBezTo>
                    <a:pt x="245268" y="1180433"/>
                    <a:pt x="242506" y="1177671"/>
                    <a:pt x="242506" y="1174242"/>
                  </a:cubicBezTo>
                  <a:cubicBezTo>
                    <a:pt x="242506" y="1170813"/>
                    <a:pt x="245268" y="1168051"/>
                    <a:pt x="248697" y="1168051"/>
                  </a:cubicBezTo>
                  <a:close/>
                  <a:moveTo>
                    <a:pt x="3218973" y="1167670"/>
                  </a:moveTo>
                  <a:cubicBezTo>
                    <a:pt x="3222402" y="1167670"/>
                    <a:pt x="3225165" y="1170432"/>
                    <a:pt x="3225165" y="1173861"/>
                  </a:cubicBezTo>
                  <a:cubicBezTo>
                    <a:pt x="3225165" y="1177290"/>
                    <a:pt x="3222402" y="1180052"/>
                    <a:pt x="3218973" y="1180052"/>
                  </a:cubicBezTo>
                  <a:cubicBezTo>
                    <a:pt x="3215544" y="1180052"/>
                    <a:pt x="3212782" y="1177290"/>
                    <a:pt x="3212782" y="1173861"/>
                  </a:cubicBezTo>
                  <a:cubicBezTo>
                    <a:pt x="3212782" y="1170432"/>
                    <a:pt x="3215544" y="1167670"/>
                    <a:pt x="3218973" y="1167670"/>
                  </a:cubicBezTo>
                  <a:close/>
                  <a:moveTo>
                    <a:pt x="3199066" y="1166432"/>
                  </a:moveTo>
                  <a:cubicBezTo>
                    <a:pt x="3202495" y="1166432"/>
                    <a:pt x="3205258" y="1169194"/>
                    <a:pt x="3205258" y="1172623"/>
                  </a:cubicBezTo>
                  <a:cubicBezTo>
                    <a:pt x="3205258" y="1176052"/>
                    <a:pt x="3202495" y="1178815"/>
                    <a:pt x="3199066" y="1178815"/>
                  </a:cubicBezTo>
                  <a:cubicBezTo>
                    <a:pt x="3195637" y="1178815"/>
                    <a:pt x="3192875" y="1176052"/>
                    <a:pt x="3192875" y="1172623"/>
                  </a:cubicBezTo>
                  <a:cubicBezTo>
                    <a:pt x="3192875" y="1169194"/>
                    <a:pt x="3195637" y="1166432"/>
                    <a:pt x="3199066" y="1166432"/>
                  </a:cubicBezTo>
                  <a:close/>
                  <a:moveTo>
                    <a:pt x="94392" y="1165193"/>
                  </a:moveTo>
                  <a:cubicBezTo>
                    <a:pt x="97821" y="1165193"/>
                    <a:pt x="100584" y="1167955"/>
                    <a:pt x="100584" y="1171384"/>
                  </a:cubicBezTo>
                  <a:cubicBezTo>
                    <a:pt x="100584" y="1174813"/>
                    <a:pt x="97821" y="1177576"/>
                    <a:pt x="94392" y="1177576"/>
                  </a:cubicBezTo>
                  <a:cubicBezTo>
                    <a:pt x="90963" y="1177576"/>
                    <a:pt x="88201" y="1174813"/>
                    <a:pt x="88201" y="1171384"/>
                  </a:cubicBezTo>
                  <a:cubicBezTo>
                    <a:pt x="88201" y="1167955"/>
                    <a:pt x="90963" y="1165193"/>
                    <a:pt x="94392" y="1165193"/>
                  </a:cubicBezTo>
                  <a:close/>
                  <a:moveTo>
                    <a:pt x="104965" y="1162812"/>
                  </a:moveTo>
                  <a:cubicBezTo>
                    <a:pt x="108394" y="1162812"/>
                    <a:pt x="111157" y="1165574"/>
                    <a:pt x="111157" y="1169003"/>
                  </a:cubicBezTo>
                  <a:cubicBezTo>
                    <a:pt x="111157" y="1172432"/>
                    <a:pt x="108394" y="1175195"/>
                    <a:pt x="104965" y="1175195"/>
                  </a:cubicBezTo>
                  <a:cubicBezTo>
                    <a:pt x="101536" y="1175195"/>
                    <a:pt x="98774" y="1172432"/>
                    <a:pt x="98774" y="1169003"/>
                  </a:cubicBezTo>
                  <a:cubicBezTo>
                    <a:pt x="98774" y="1165574"/>
                    <a:pt x="101536" y="1162812"/>
                    <a:pt x="104965" y="1162812"/>
                  </a:cubicBezTo>
                  <a:close/>
                  <a:moveTo>
                    <a:pt x="2552128" y="1162431"/>
                  </a:moveTo>
                  <a:cubicBezTo>
                    <a:pt x="2555557" y="1162431"/>
                    <a:pt x="2558319" y="1165193"/>
                    <a:pt x="2558319" y="1168622"/>
                  </a:cubicBezTo>
                  <a:cubicBezTo>
                    <a:pt x="2558319" y="1172051"/>
                    <a:pt x="2555557" y="1174814"/>
                    <a:pt x="2552128" y="1174814"/>
                  </a:cubicBezTo>
                  <a:cubicBezTo>
                    <a:pt x="2548699" y="1174814"/>
                    <a:pt x="2545937" y="1172051"/>
                    <a:pt x="2545937" y="1168622"/>
                  </a:cubicBezTo>
                  <a:cubicBezTo>
                    <a:pt x="2545937" y="1165193"/>
                    <a:pt x="2548699" y="1162431"/>
                    <a:pt x="2552128" y="1162431"/>
                  </a:cubicBezTo>
                  <a:close/>
                  <a:moveTo>
                    <a:pt x="2903886" y="1161288"/>
                  </a:moveTo>
                  <a:cubicBezTo>
                    <a:pt x="2907315" y="1161288"/>
                    <a:pt x="2910077" y="1164050"/>
                    <a:pt x="2910077" y="1167479"/>
                  </a:cubicBezTo>
                  <a:cubicBezTo>
                    <a:pt x="2910077" y="1170908"/>
                    <a:pt x="2907315" y="1173670"/>
                    <a:pt x="2903886" y="1173670"/>
                  </a:cubicBezTo>
                  <a:cubicBezTo>
                    <a:pt x="2900457" y="1173670"/>
                    <a:pt x="2897695" y="1170908"/>
                    <a:pt x="2897695" y="1167479"/>
                  </a:cubicBezTo>
                  <a:cubicBezTo>
                    <a:pt x="2897695" y="1164050"/>
                    <a:pt x="2900457" y="1161288"/>
                    <a:pt x="2903886" y="1161288"/>
                  </a:cubicBezTo>
                  <a:close/>
                  <a:moveTo>
                    <a:pt x="3248024" y="1160812"/>
                  </a:moveTo>
                  <a:cubicBezTo>
                    <a:pt x="3251453" y="1160812"/>
                    <a:pt x="3254215" y="1163574"/>
                    <a:pt x="3254215" y="1167003"/>
                  </a:cubicBezTo>
                  <a:cubicBezTo>
                    <a:pt x="3254215" y="1170432"/>
                    <a:pt x="3251453" y="1173195"/>
                    <a:pt x="3248024" y="1173195"/>
                  </a:cubicBezTo>
                  <a:cubicBezTo>
                    <a:pt x="3244595" y="1173195"/>
                    <a:pt x="3241833" y="1170432"/>
                    <a:pt x="3241833" y="1167003"/>
                  </a:cubicBezTo>
                  <a:cubicBezTo>
                    <a:pt x="3241833" y="1163574"/>
                    <a:pt x="3244595" y="1160812"/>
                    <a:pt x="3248024" y="1160812"/>
                  </a:cubicBezTo>
                  <a:close/>
                  <a:moveTo>
                    <a:pt x="3069240" y="1160145"/>
                  </a:moveTo>
                  <a:cubicBezTo>
                    <a:pt x="3072669" y="1160145"/>
                    <a:pt x="3075432" y="1162907"/>
                    <a:pt x="3075432" y="1166336"/>
                  </a:cubicBezTo>
                  <a:cubicBezTo>
                    <a:pt x="3075432" y="1169765"/>
                    <a:pt x="3072669" y="1172527"/>
                    <a:pt x="3069240" y="1172527"/>
                  </a:cubicBezTo>
                  <a:cubicBezTo>
                    <a:pt x="3065811" y="1172527"/>
                    <a:pt x="3063049" y="1169765"/>
                    <a:pt x="3063049" y="1166336"/>
                  </a:cubicBezTo>
                  <a:cubicBezTo>
                    <a:pt x="3063049" y="1162907"/>
                    <a:pt x="3065811" y="1160145"/>
                    <a:pt x="3069240" y="1160145"/>
                  </a:cubicBezTo>
                  <a:close/>
                  <a:moveTo>
                    <a:pt x="117824" y="1159860"/>
                  </a:moveTo>
                  <a:cubicBezTo>
                    <a:pt x="121253" y="1159860"/>
                    <a:pt x="124016" y="1162622"/>
                    <a:pt x="124016" y="1166051"/>
                  </a:cubicBezTo>
                  <a:cubicBezTo>
                    <a:pt x="124016" y="1169480"/>
                    <a:pt x="121253" y="1172242"/>
                    <a:pt x="117824" y="1172242"/>
                  </a:cubicBezTo>
                  <a:cubicBezTo>
                    <a:pt x="114395" y="1172242"/>
                    <a:pt x="111633" y="1169480"/>
                    <a:pt x="111633" y="1166051"/>
                  </a:cubicBezTo>
                  <a:cubicBezTo>
                    <a:pt x="111633" y="1162622"/>
                    <a:pt x="114395" y="1159860"/>
                    <a:pt x="117824" y="1159860"/>
                  </a:cubicBezTo>
                  <a:close/>
                  <a:moveTo>
                    <a:pt x="179831" y="1159764"/>
                  </a:moveTo>
                  <a:cubicBezTo>
                    <a:pt x="183260" y="1159764"/>
                    <a:pt x="186023" y="1162526"/>
                    <a:pt x="186023" y="1165955"/>
                  </a:cubicBezTo>
                  <a:cubicBezTo>
                    <a:pt x="186023" y="1169384"/>
                    <a:pt x="183260" y="1172147"/>
                    <a:pt x="179831" y="1172147"/>
                  </a:cubicBezTo>
                  <a:cubicBezTo>
                    <a:pt x="176402" y="1172147"/>
                    <a:pt x="173640" y="1169384"/>
                    <a:pt x="173640" y="1165955"/>
                  </a:cubicBezTo>
                  <a:cubicBezTo>
                    <a:pt x="173640" y="1162526"/>
                    <a:pt x="176402" y="1159764"/>
                    <a:pt x="179831" y="1159764"/>
                  </a:cubicBezTo>
                  <a:close/>
                  <a:moveTo>
                    <a:pt x="3234689" y="1159574"/>
                  </a:moveTo>
                  <a:cubicBezTo>
                    <a:pt x="3238118" y="1159574"/>
                    <a:pt x="3240880" y="1162336"/>
                    <a:pt x="3240880" y="1165765"/>
                  </a:cubicBezTo>
                  <a:cubicBezTo>
                    <a:pt x="3240880" y="1169194"/>
                    <a:pt x="3238118" y="1171956"/>
                    <a:pt x="3234689" y="1171956"/>
                  </a:cubicBezTo>
                  <a:cubicBezTo>
                    <a:pt x="3231260" y="1171956"/>
                    <a:pt x="3228498" y="1169194"/>
                    <a:pt x="3228498" y="1165765"/>
                  </a:cubicBezTo>
                  <a:cubicBezTo>
                    <a:pt x="3228498" y="1162336"/>
                    <a:pt x="3231260" y="1159574"/>
                    <a:pt x="3234689" y="1159574"/>
                  </a:cubicBezTo>
                  <a:close/>
                  <a:moveTo>
                    <a:pt x="3268027" y="1159002"/>
                  </a:moveTo>
                  <a:cubicBezTo>
                    <a:pt x="3271456" y="1159002"/>
                    <a:pt x="3274218" y="1161764"/>
                    <a:pt x="3274218" y="1165193"/>
                  </a:cubicBezTo>
                  <a:cubicBezTo>
                    <a:pt x="3274218" y="1168622"/>
                    <a:pt x="3271456" y="1171385"/>
                    <a:pt x="3268027" y="1171385"/>
                  </a:cubicBezTo>
                  <a:cubicBezTo>
                    <a:pt x="3264598" y="1171385"/>
                    <a:pt x="3261836" y="1168622"/>
                    <a:pt x="3261836" y="1165193"/>
                  </a:cubicBezTo>
                  <a:cubicBezTo>
                    <a:pt x="3261836" y="1161764"/>
                    <a:pt x="3264598" y="1159002"/>
                    <a:pt x="3268027" y="1159002"/>
                  </a:cubicBezTo>
                  <a:close/>
                  <a:moveTo>
                    <a:pt x="139826" y="1157955"/>
                  </a:moveTo>
                  <a:cubicBezTo>
                    <a:pt x="143246" y="1157955"/>
                    <a:pt x="146017" y="1160727"/>
                    <a:pt x="146017" y="1164146"/>
                  </a:cubicBezTo>
                  <a:cubicBezTo>
                    <a:pt x="146017" y="1167566"/>
                    <a:pt x="143246" y="1170338"/>
                    <a:pt x="139826" y="1170338"/>
                  </a:cubicBezTo>
                  <a:cubicBezTo>
                    <a:pt x="136407" y="1170338"/>
                    <a:pt x="133635" y="1167566"/>
                    <a:pt x="133635" y="1164146"/>
                  </a:cubicBezTo>
                  <a:cubicBezTo>
                    <a:pt x="133635" y="1160727"/>
                    <a:pt x="136407" y="1157955"/>
                    <a:pt x="139826" y="1157955"/>
                  </a:cubicBezTo>
                  <a:close/>
                  <a:moveTo>
                    <a:pt x="3223926" y="1156526"/>
                  </a:moveTo>
                  <a:cubicBezTo>
                    <a:pt x="3227355" y="1156526"/>
                    <a:pt x="3230117" y="1159288"/>
                    <a:pt x="3230117" y="1162717"/>
                  </a:cubicBezTo>
                  <a:cubicBezTo>
                    <a:pt x="3230117" y="1166146"/>
                    <a:pt x="3227355" y="1168908"/>
                    <a:pt x="3223926" y="1168908"/>
                  </a:cubicBezTo>
                  <a:cubicBezTo>
                    <a:pt x="3220497" y="1168908"/>
                    <a:pt x="3217735" y="1166146"/>
                    <a:pt x="3217735" y="1162717"/>
                  </a:cubicBezTo>
                  <a:cubicBezTo>
                    <a:pt x="3217735" y="1159288"/>
                    <a:pt x="3220497" y="1156526"/>
                    <a:pt x="3223926" y="1156526"/>
                  </a:cubicBezTo>
                  <a:close/>
                  <a:moveTo>
                    <a:pt x="88201" y="1155002"/>
                  </a:moveTo>
                  <a:cubicBezTo>
                    <a:pt x="91630" y="1155002"/>
                    <a:pt x="94393" y="1157764"/>
                    <a:pt x="94393" y="1161193"/>
                  </a:cubicBezTo>
                  <a:cubicBezTo>
                    <a:pt x="94393" y="1164622"/>
                    <a:pt x="91630" y="1167385"/>
                    <a:pt x="88201" y="1167385"/>
                  </a:cubicBezTo>
                  <a:cubicBezTo>
                    <a:pt x="84772" y="1167385"/>
                    <a:pt x="82010" y="1164622"/>
                    <a:pt x="82010" y="1161193"/>
                  </a:cubicBezTo>
                  <a:cubicBezTo>
                    <a:pt x="82010" y="1157764"/>
                    <a:pt x="84772" y="1155002"/>
                    <a:pt x="88201" y="1155002"/>
                  </a:cubicBezTo>
                  <a:close/>
                  <a:moveTo>
                    <a:pt x="826674" y="1153668"/>
                  </a:moveTo>
                  <a:cubicBezTo>
                    <a:pt x="830103" y="1153668"/>
                    <a:pt x="832866" y="1156430"/>
                    <a:pt x="832866" y="1159859"/>
                  </a:cubicBezTo>
                  <a:cubicBezTo>
                    <a:pt x="832866" y="1163288"/>
                    <a:pt x="830103" y="1166051"/>
                    <a:pt x="826674" y="1166051"/>
                  </a:cubicBezTo>
                  <a:cubicBezTo>
                    <a:pt x="823245" y="1166051"/>
                    <a:pt x="820483" y="1163288"/>
                    <a:pt x="820483" y="1159859"/>
                  </a:cubicBezTo>
                  <a:cubicBezTo>
                    <a:pt x="820483" y="1156430"/>
                    <a:pt x="823245" y="1153668"/>
                    <a:pt x="826674" y="1153668"/>
                  </a:cubicBezTo>
                  <a:close/>
                  <a:moveTo>
                    <a:pt x="101060" y="1153002"/>
                  </a:moveTo>
                  <a:cubicBezTo>
                    <a:pt x="104489" y="1153002"/>
                    <a:pt x="107252" y="1155764"/>
                    <a:pt x="107252" y="1159193"/>
                  </a:cubicBezTo>
                  <a:cubicBezTo>
                    <a:pt x="107252" y="1162622"/>
                    <a:pt x="104489" y="1165384"/>
                    <a:pt x="101060" y="1165384"/>
                  </a:cubicBezTo>
                  <a:cubicBezTo>
                    <a:pt x="97631" y="1165384"/>
                    <a:pt x="94869" y="1162622"/>
                    <a:pt x="94869" y="1159193"/>
                  </a:cubicBezTo>
                  <a:cubicBezTo>
                    <a:pt x="94869" y="1155764"/>
                    <a:pt x="97631" y="1153002"/>
                    <a:pt x="101060" y="1153002"/>
                  </a:cubicBezTo>
                  <a:close/>
                  <a:moveTo>
                    <a:pt x="3210210" y="1152906"/>
                  </a:moveTo>
                  <a:cubicBezTo>
                    <a:pt x="3213639" y="1152906"/>
                    <a:pt x="3216401" y="1155668"/>
                    <a:pt x="3216401" y="1159097"/>
                  </a:cubicBezTo>
                  <a:cubicBezTo>
                    <a:pt x="3216401" y="1162526"/>
                    <a:pt x="3213639" y="1165289"/>
                    <a:pt x="3210210" y="1165289"/>
                  </a:cubicBezTo>
                  <a:cubicBezTo>
                    <a:pt x="3206781" y="1165289"/>
                    <a:pt x="3204019" y="1162526"/>
                    <a:pt x="3204019" y="1159097"/>
                  </a:cubicBezTo>
                  <a:cubicBezTo>
                    <a:pt x="3204019" y="1155668"/>
                    <a:pt x="3206781" y="1152906"/>
                    <a:pt x="3210210" y="1152906"/>
                  </a:cubicBezTo>
                  <a:close/>
                  <a:moveTo>
                    <a:pt x="3142868" y="1152049"/>
                  </a:moveTo>
                  <a:cubicBezTo>
                    <a:pt x="3146297" y="1152049"/>
                    <a:pt x="3149059" y="1154811"/>
                    <a:pt x="3149059" y="1158240"/>
                  </a:cubicBezTo>
                  <a:cubicBezTo>
                    <a:pt x="3149059" y="1161669"/>
                    <a:pt x="3146297" y="1164431"/>
                    <a:pt x="3142868" y="1164431"/>
                  </a:cubicBezTo>
                  <a:cubicBezTo>
                    <a:pt x="3139439" y="1164431"/>
                    <a:pt x="3136677" y="1161669"/>
                    <a:pt x="3136677" y="1158240"/>
                  </a:cubicBezTo>
                  <a:cubicBezTo>
                    <a:pt x="3136677" y="1154811"/>
                    <a:pt x="3139439" y="1152049"/>
                    <a:pt x="3142868" y="1152049"/>
                  </a:cubicBezTo>
                  <a:close/>
                  <a:moveTo>
                    <a:pt x="456342" y="1151954"/>
                  </a:moveTo>
                  <a:cubicBezTo>
                    <a:pt x="459771" y="1151954"/>
                    <a:pt x="462534" y="1154716"/>
                    <a:pt x="462534" y="1158145"/>
                  </a:cubicBezTo>
                  <a:cubicBezTo>
                    <a:pt x="462534" y="1161574"/>
                    <a:pt x="459771" y="1164337"/>
                    <a:pt x="456342" y="1164337"/>
                  </a:cubicBezTo>
                  <a:cubicBezTo>
                    <a:pt x="452913" y="1164337"/>
                    <a:pt x="450151" y="1161574"/>
                    <a:pt x="450151" y="1158145"/>
                  </a:cubicBezTo>
                  <a:cubicBezTo>
                    <a:pt x="450151" y="1154716"/>
                    <a:pt x="452913" y="1151954"/>
                    <a:pt x="456342" y="1151954"/>
                  </a:cubicBezTo>
                  <a:close/>
                  <a:moveTo>
                    <a:pt x="280320" y="1150811"/>
                  </a:moveTo>
                  <a:cubicBezTo>
                    <a:pt x="283749" y="1150811"/>
                    <a:pt x="286511" y="1153573"/>
                    <a:pt x="286511" y="1157002"/>
                  </a:cubicBezTo>
                  <a:cubicBezTo>
                    <a:pt x="286511" y="1160431"/>
                    <a:pt x="283749" y="1163194"/>
                    <a:pt x="280320" y="1163194"/>
                  </a:cubicBezTo>
                  <a:cubicBezTo>
                    <a:pt x="276891" y="1163194"/>
                    <a:pt x="274129" y="1160431"/>
                    <a:pt x="274129" y="1157002"/>
                  </a:cubicBezTo>
                  <a:cubicBezTo>
                    <a:pt x="274129" y="1153573"/>
                    <a:pt x="276891" y="1150811"/>
                    <a:pt x="280320" y="1150811"/>
                  </a:cubicBezTo>
                  <a:close/>
                  <a:moveTo>
                    <a:pt x="3186112" y="1150620"/>
                  </a:moveTo>
                  <a:cubicBezTo>
                    <a:pt x="3189541" y="1150620"/>
                    <a:pt x="3192303" y="1153382"/>
                    <a:pt x="3192303" y="1156811"/>
                  </a:cubicBezTo>
                  <a:cubicBezTo>
                    <a:pt x="3192303" y="1160240"/>
                    <a:pt x="3189541" y="1163002"/>
                    <a:pt x="3186112" y="1163002"/>
                  </a:cubicBezTo>
                  <a:cubicBezTo>
                    <a:pt x="3182683" y="1163002"/>
                    <a:pt x="3179921" y="1160240"/>
                    <a:pt x="3179921" y="1156811"/>
                  </a:cubicBezTo>
                  <a:cubicBezTo>
                    <a:pt x="3179921" y="1153382"/>
                    <a:pt x="3182683" y="1150620"/>
                    <a:pt x="3186112" y="1150620"/>
                  </a:cubicBezTo>
                  <a:close/>
                  <a:moveTo>
                    <a:pt x="3240499" y="1149858"/>
                  </a:moveTo>
                  <a:cubicBezTo>
                    <a:pt x="3243928" y="1149858"/>
                    <a:pt x="3246690" y="1152620"/>
                    <a:pt x="3246690" y="1156049"/>
                  </a:cubicBezTo>
                  <a:cubicBezTo>
                    <a:pt x="3246690" y="1159478"/>
                    <a:pt x="3243928" y="1162241"/>
                    <a:pt x="3240499" y="1162241"/>
                  </a:cubicBezTo>
                  <a:cubicBezTo>
                    <a:pt x="3237070" y="1162241"/>
                    <a:pt x="3234308" y="1159478"/>
                    <a:pt x="3234308" y="1156049"/>
                  </a:cubicBezTo>
                  <a:cubicBezTo>
                    <a:pt x="3234308" y="1152620"/>
                    <a:pt x="3237070" y="1149858"/>
                    <a:pt x="3240499" y="1149858"/>
                  </a:cubicBezTo>
                  <a:close/>
                  <a:moveTo>
                    <a:pt x="3258788" y="1149668"/>
                  </a:moveTo>
                  <a:cubicBezTo>
                    <a:pt x="3262217" y="1149668"/>
                    <a:pt x="3264979" y="1152430"/>
                    <a:pt x="3264979" y="1155859"/>
                  </a:cubicBezTo>
                  <a:cubicBezTo>
                    <a:pt x="3264979" y="1159288"/>
                    <a:pt x="3262217" y="1162050"/>
                    <a:pt x="3258788" y="1162050"/>
                  </a:cubicBezTo>
                  <a:cubicBezTo>
                    <a:pt x="3255359" y="1162050"/>
                    <a:pt x="3252597" y="1159288"/>
                    <a:pt x="3252597" y="1155859"/>
                  </a:cubicBezTo>
                  <a:cubicBezTo>
                    <a:pt x="3252597" y="1152430"/>
                    <a:pt x="3255359" y="1149668"/>
                    <a:pt x="3258788" y="1149668"/>
                  </a:cubicBezTo>
                  <a:close/>
                  <a:moveTo>
                    <a:pt x="112109" y="1149001"/>
                  </a:moveTo>
                  <a:cubicBezTo>
                    <a:pt x="115529" y="1149001"/>
                    <a:pt x="118301" y="1151773"/>
                    <a:pt x="118301" y="1155192"/>
                  </a:cubicBezTo>
                  <a:cubicBezTo>
                    <a:pt x="118301" y="1158612"/>
                    <a:pt x="115529" y="1161383"/>
                    <a:pt x="112109" y="1161383"/>
                  </a:cubicBezTo>
                  <a:cubicBezTo>
                    <a:pt x="108690" y="1161383"/>
                    <a:pt x="105918" y="1158612"/>
                    <a:pt x="105918" y="1155192"/>
                  </a:cubicBezTo>
                  <a:cubicBezTo>
                    <a:pt x="105918" y="1151773"/>
                    <a:pt x="108690" y="1149001"/>
                    <a:pt x="112109" y="1149001"/>
                  </a:cubicBezTo>
                  <a:close/>
                  <a:moveTo>
                    <a:pt x="3227926" y="1147001"/>
                  </a:moveTo>
                  <a:cubicBezTo>
                    <a:pt x="3231355" y="1147001"/>
                    <a:pt x="3234118" y="1149763"/>
                    <a:pt x="3234118" y="1153192"/>
                  </a:cubicBezTo>
                  <a:cubicBezTo>
                    <a:pt x="3234118" y="1156621"/>
                    <a:pt x="3231355" y="1159383"/>
                    <a:pt x="3227926" y="1159383"/>
                  </a:cubicBezTo>
                  <a:cubicBezTo>
                    <a:pt x="3224497" y="1159383"/>
                    <a:pt x="3221735" y="1156621"/>
                    <a:pt x="3221735" y="1153192"/>
                  </a:cubicBezTo>
                  <a:cubicBezTo>
                    <a:pt x="3221735" y="1149763"/>
                    <a:pt x="3224497" y="1147001"/>
                    <a:pt x="3227926" y="1147001"/>
                  </a:cubicBezTo>
                  <a:close/>
                  <a:moveTo>
                    <a:pt x="2463164" y="1146048"/>
                  </a:moveTo>
                  <a:cubicBezTo>
                    <a:pt x="2466593" y="1146048"/>
                    <a:pt x="2469355" y="1148810"/>
                    <a:pt x="2469355" y="1152239"/>
                  </a:cubicBezTo>
                  <a:cubicBezTo>
                    <a:pt x="2469355" y="1155668"/>
                    <a:pt x="2466593" y="1158431"/>
                    <a:pt x="2463164" y="1158431"/>
                  </a:cubicBezTo>
                  <a:cubicBezTo>
                    <a:pt x="2459735" y="1158431"/>
                    <a:pt x="2456973" y="1155668"/>
                    <a:pt x="2456973" y="1152239"/>
                  </a:cubicBezTo>
                  <a:cubicBezTo>
                    <a:pt x="2456973" y="1148810"/>
                    <a:pt x="2459735" y="1146048"/>
                    <a:pt x="2463164" y="1146048"/>
                  </a:cubicBezTo>
                  <a:close/>
                  <a:moveTo>
                    <a:pt x="127158" y="1144715"/>
                  </a:moveTo>
                  <a:cubicBezTo>
                    <a:pt x="130587" y="1144715"/>
                    <a:pt x="133350" y="1147477"/>
                    <a:pt x="133350" y="1150906"/>
                  </a:cubicBezTo>
                  <a:cubicBezTo>
                    <a:pt x="133350" y="1154335"/>
                    <a:pt x="130587" y="1157098"/>
                    <a:pt x="127158" y="1157098"/>
                  </a:cubicBezTo>
                  <a:cubicBezTo>
                    <a:pt x="123729" y="1157098"/>
                    <a:pt x="120967" y="1154335"/>
                    <a:pt x="120967" y="1150906"/>
                  </a:cubicBezTo>
                  <a:cubicBezTo>
                    <a:pt x="120967" y="1147477"/>
                    <a:pt x="123729" y="1144715"/>
                    <a:pt x="127158" y="1144715"/>
                  </a:cubicBezTo>
                  <a:close/>
                  <a:moveTo>
                    <a:pt x="2850260" y="1143667"/>
                  </a:moveTo>
                  <a:cubicBezTo>
                    <a:pt x="2853689" y="1143667"/>
                    <a:pt x="2856452" y="1146429"/>
                    <a:pt x="2856452" y="1149858"/>
                  </a:cubicBezTo>
                  <a:cubicBezTo>
                    <a:pt x="2856452" y="1153287"/>
                    <a:pt x="2853689" y="1156050"/>
                    <a:pt x="2850260" y="1156050"/>
                  </a:cubicBezTo>
                  <a:cubicBezTo>
                    <a:pt x="2846831" y="1156050"/>
                    <a:pt x="2844069" y="1153287"/>
                    <a:pt x="2844069" y="1149858"/>
                  </a:cubicBezTo>
                  <a:cubicBezTo>
                    <a:pt x="2844069" y="1146429"/>
                    <a:pt x="2846831" y="1143667"/>
                    <a:pt x="2850260" y="1143667"/>
                  </a:cubicBezTo>
                  <a:close/>
                  <a:moveTo>
                    <a:pt x="95630" y="1143667"/>
                  </a:moveTo>
                  <a:cubicBezTo>
                    <a:pt x="99059" y="1143667"/>
                    <a:pt x="101821" y="1146429"/>
                    <a:pt x="101821" y="1149858"/>
                  </a:cubicBezTo>
                  <a:cubicBezTo>
                    <a:pt x="101821" y="1153287"/>
                    <a:pt x="99059" y="1156050"/>
                    <a:pt x="95630" y="1156050"/>
                  </a:cubicBezTo>
                  <a:cubicBezTo>
                    <a:pt x="92201" y="1156050"/>
                    <a:pt x="89439" y="1153287"/>
                    <a:pt x="89439" y="1149858"/>
                  </a:cubicBezTo>
                  <a:cubicBezTo>
                    <a:pt x="89439" y="1146429"/>
                    <a:pt x="92201" y="1143667"/>
                    <a:pt x="95630" y="1143667"/>
                  </a:cubicBezTo>
                  <a:close/>
                  <a:moveTo>
                    <a:pt x="200977" y="1142810"/>
                  </a:moveTo>
                  <a:cubicBezTo>
                    <a:pt x="204406" y="1142810"/>
                    <a:pt x="207168" y="1145572"/>
                    <a:pt x="207168" y="1149001"/>
                  </a:cubicBezTo>
                  <a:cubicBezTo>
                    <a:pt x="207168" y="1152430"/>
                    <a:pt x="204406" y="1155192"/>
                    <a:pt x="200977" y="1155192"/>
                  </a:cubicBezTo>
                  <a:cubicBezTo>
                    <a:pt x="197548" y="1155192"/>
                    <a:pt x="194786" y="1152430"/>
                    <a:pt x="194786" y="1149001"/>
                  </a:cubicBezTo>
                  <a:cubicBezTo>
                    <a:pt x="194786" y="1145572"/>
                    <a:pt x="197548" y="1142810"/>
                    <a:pt x="200977" y="1142810"/>
                  </a:cubicBezTo>
                  <a:close/>
                  <a:moveTo>
                    <a:pt x="3035902" y="1142619"/>
                  </a:moveTo>
                  <a:cubicBezTo>
                    <a:pt x="3039331" y="1142619"/>
                    <a:pt x="3042094" y="1145381"/>
                    <a:pt x="3042094" y="1148810"/>
                  </a:cubicBezTo>
                  <a:cubicBezTo>
                    <a:pt x="3042094" y="1152239"/>
                    <a:pt x="3039331" y="1155002"/>
                    <a:pt x="3035902" y="1155002"/>
                  </a:cubicBezTo>
                  <a:cubicBezTo>
                    <a:pt x="3032473" y="1155002"/>
                    <a:pt x="3029711" y="1152239"/>
                    <a:pt x="3029711" y="1148810"/>
                  </a:cubicBezTo>
                  <a:cubicBezTo>
                    <a:pt x="3029711" y="1145381"/>
                    <a:pt x="3032473" y="1142619"/>
                    <a:pt x="3035902" y="1142619"/>
                  </a:cubicBezTo>
                  <a:close/>
                  <a:moveTo>
                    <a:pt x="3216497" y="1142429"/>
                  </a:moveTo>
                  <a:cubicBezTo>
                    <a:pt x="3219926" y="1142429"/>
                    <a:pt x="3222688" y="1145191"/>
                    <a:pt x="3222688" y="1148620"/>
                  </a:cubicBezTo>
                  <a:cubicBezTo>
                    <a:pt x="3222688" y="1152049"/>
                    <a:pt x="3219926" y="1154812"/>
                    <a:pt x="3216497" y="1154812"/>
                  </a:cubicBezTo>
                  <a:cubicBezTo>
                    <a:pt x="3213068" y="1154812"/>
                    <a:pt x="3210306" y="1152049"/>
                    <a:pt x="3210306" y="1148620"/>
                  </a:cubicBezTo>
                  <a:cubicBezTo>
                    <a:pt x="3210306" y="1145191"/>
                    <a:pt x="3213068" y="1142429"/>
                    <a:pt x="3216497" y="1142429"/>
                  </a:cubicBezTo>
                  <a:close/>
                  <a:moveTo>
                    <a:pt x="153637" y="1141762"/>
                  </a:moveTo>
                  <a:cubicBezTo>
                    <a:pt x="157066" y="1141762"/>
                    <a:pt x="159829" y="1144524"/>
                    <a:pt x="159829" y="1147953"/>
                  </a:cubicBezTo>
                  <a:cubicBezTo>
                    <a:pt x="159829" y="1151382"/>
                    <a:pt x="157066" y="1154145"/>
                    <a:pt x="153637" y="1154145"/>
                  </a:cubicBezTo>
                  <a:cubicBezTo>
                    <a:pt x="150208" y="1154145"/>
                    <a:pt x="147446" y="1151382"/>
                    <a:pt x="147446" y="1147953"/>
                  </a:cubicBezTo>
                  <a:cubicBezTo>
                    <a:pt x="147446" y="1144524"/>
                    <a:pt x="150208" y="1141762"/>
                    <a:pt x="153637" y="1141762"/>
                  </a:cubicBezTo>
                  <a:close/>
                  <a:moveTo>
                    <a:pt x="107918" y="1140048"/>
                  </a:moveTo>
                  <a:cubicBezTo>
                    <a:pt x="111347" y="1140048"/>
                    <a:pt x="114109" y="1142810"/>
                    <a:pt x="114109" y="1146239"/>
                  </a:cubicBezTo>
                  <a:cubicBezTo>
                    <a:pt x="114109" y="1149668"/>
                    <a:pt x="111347" y="1152431"/>
                    <a:pt x="107918" y="1152431"/>
                  </a:cubicBezTo>
                  <a:cubicBezTo>
                    <a:pt x="104489" y="1152431"/>
                    <a:pt x="101727" y="1149668"/>
                    <a:pt x="101727" y="1146239"/>
                  </a:cubicBezTo>
                  <a:cubicBezTo>
                    <a:pt x="101727" y="1142810"/>
                    <a:pt x="104489" y="1140048"/>
                    <a:pt x="107918" y="1140048"/>
                  </a:cubicBezTo>
                  <a:close/>
                  <a:moveTo>
                    <a:pt x="3249834" y="1139762"/>
                  </a:moveTo>
                  <a:cubicBezTo>
                    <a:pt x="3253254" y="1139762"/>
                    <a:pt x="3256025" y="1142534"/>
                    <a:pt x="3256025" y="1145953"/>
                  </a:cubicBezTo>
                  <a:cubicBezTo>
                    <a:pt x="3256025" y="1149373"/>
                    <a:pt x="3253254" y="1152145"/>
                    <a:pt x="3249834" y="1152145"/>
                  </a:cubicBezTo>
                  <a:cubicBezTo>
                    <a:pt x="3246415" y="1152145"/>
                    <a:pt x="3243643" y="1149373"/>
                    <a:pt x="3243643" y="1145953"/>
                  </a:cubicBezTo>
                  <a:cubicBezTo>
                    <a:pt x="3243643" y="1142534"/>
                    <a:pt x="3246415" y="1139762"/>
                    <a:pt x="3249834" y="1139762"/>
                  </a:cubicBezTo>
                  <a:close/>
                  <a:moveTo>
                    <a:pt x="3233165" y="1138238"/>
                  </a:moveTo>
                  <a:cubicBezTo>
                    <a:pt x="3236594" y="1138238"/>
                    <a:pt x="3239356" y="1141000"/>
                    <a:pt x="3239356" y="1144429"/>
                  </a:cubicBezTo>
                  <a:cubicBezTo>
                    <a:pt x="3239356" y="1147858"/>
                    <a:pt x="3236594" y="1150621"/>
                    <a:pt x="3233165" y="1150621"/>
                  </a:cubicBezTo>
                  <a:cubicBezTo>
                    <a:pt x="3229736" y="1150621"/>
                    <a:pt x="3226974" y="1147858"/>
                    <a:pt x="3226974" y="1144429"/>
                  </a:cubicBezTo>
                  <a:cubicBezTo>
                    <a:pt x="3226974" y="1141000"/>
                    <a:pt x="3229736" y="1138238"/>
                    <a:pt x="3233165" y="1138238"/>
                  </a:cubicBezTo>
                  <a:close/>
                  <a:moveTo>
                    <a:pt x="3200209" y="1137381"/>
                  </a:moveTo>
                  <a:cubicBezTo>
                    <a:pt x="3203638" y="1137381"/>
                    <a:pt x="3206401" y="1140143"/>
                    <a:pt x="3206401" y="1143572"/>
                  </a:cubicBezTo>
                  <a:cubicBezTo>
                    <a:pt x="3206401" y="1147001"/>
                    <a:pt x="3203638" y="1149763"/>
                    <a:pt x="3200209" y="1149763"/>
                  </a:cubicBezTo>
                  <a:cubicBezTo>
                    <a:pt x="3196780" y="1149763"/>
                    <a:pt x="3194018" y="1147001"/>
                    <a:pt x="3194018" y="1143572"/>
                  </a:cubicBezTo>
                  <a:cubicBezTo>
                    <a:pt x="3194018" y="1140143"/>
                    <a:pt x="3196780" y="1137381"/>
                    <a:pt x="3200209" y="1137381"/>
                  </a:cubicBezTo>
                  <a:close/>
                  <a:moveTo>
                    <a:pt x="919733" y="1137285"/>
                  </a:moveTo>
                  <a:cubicBezTo>
                    <a:pt x="923162" y="1137285"/>
                    <a:pt x="925924" y="1140047"/>
                    <a:pt x="925924" y="1143476"/>
                  </a:cubicBezTo>
                  <a:cubicBezTo>
                    <a:pt x="925924" y="1146905"/>
                    <a:pt x="923162" y="1149668"/>
                    <a:pt x="919733" y="1149668"/>
                  </a:cubicBezTo>
                  <a:cubicBezTo>
                    <a:pt x="916304" y="1149668"/>
                    <a:pt x="913542" y="1146905"/>
                    <a:pt x="913542" y="1143476"/>
                  </a:cubicBezTo>
                  <a:cubicBezTo>
                    <a:pt x="913542" y="1140047"/>
                    <a:pt x="916304" y="1137285"/>
                    <a:pt x="919733" y="1137285"/>
                  </a:cubicBezTo>
                  <a:close/>
                  <a:moveTo>
                    <a:pt x="3120484" y="1134714"/>
                  </a:moveTo>
                  <a:cubicBezTo>
                    <a:pt x="3123913" y="1134714"/>
                    <a:pt x="3126676" y="1137476"/>
                    <a:pt x="3126676" y="1140905"/>
                  </a:cubicBezTo>
                  <a:cubicBezTo>
                    <a:pt x="3126676" y="1144334"/>
                    <a:pt x="3123913" y="1147096"/>
                    <a:pt x="3120484" y="1147096"/>
                  </a:cubicBezTo>
                  <a:cubicBezTo>
                    <a:pt x="3117055" y="1147096"/>
                    <a:pt x="3114293" y="1144334"/>
                    <a:pt x="3114293" y="1140905"/>
                  </a:cubicBezTo>
                  <a:cubicBezTo>
                    <a:pt x="3114293" y="1137476"/>
                    <a:pt x="3117055" y="1134714"/>
                    <a:pt x="3120484" y="1134714"/>
                  </a:cubicBezTo>
                  <a:close/>
                  <a:moveTo>
                    <a:pt x="119919" y="1134523"/>
                  </a:moveTo>
                  <a:cubicBezTo>
                    <a:pt x="123348" y="1134523"/>
                    <a:pt x="126111" y="1137285"/>
                    <a:pt x="126111" y="1140714"/>
                  </a:cubicBezTo>
                  <a:cubicBezTo>
                    <a:pt x="126111" y="1144143"/>
                    <a:pt x="123348" y="1146906"/>
                    <a:pt x="119919" y="1146906"/>
                  </a:cubicBezTo>
                  <a:cubicBezTo>
                    <a:pt x="116490" y="1146906"/>
                    <a:pt x="113728" y="1144143"/>
                    <a:pt x="113728" y="1140714"/>
                  </a:cubicBezTo>
                  <a:cubicBezTo>
                    <a:pt x="113728" y="1137285"/>
                    <a:pt x="116490" y="1134523"/>
                    <a:pt x="119919" y="1134523"/>
                  </a:cubicBezTo>
                  <a:close/>
                  <a:moveTo>
                    <a:pt x="512921" y="1134142"/>
                  </a:moveTo>
                  <a:cubicBezTo>
                    <a:pt x="516350" y="1134142"/>
                    <a:pt x="519112" y="1136904"/>
                    <a:pt x="519112" y="1140333"/>
                  </a:cubicBezTo>
                  <a:cubicBezTo>
                    <a:pt x="519112" y="1143762"/>
                    <a:pt x="516350" y="1146525"/>
                    <a:pt x="512921" y="1146525"/>
                  </a:cubicBezTo>
                  <a:cubicBezTo>
                    <a:pt x="509492" y="1146525"/>
                    <a:pt x="506730" y="1143762"/>
                    <a:pt x="506730" y="1140333"/>
                  </a:cubicBezTo>
                  <a:cubicBezTo>
                    <a:pt x="506730" y="1136904"/>
                    <a:pt x="509492" y="1134142"/>
                    <a:pt x="512921" y="1134142"/>
                  </a:cubicBezTo>
                  <a:close/>
                  <a:moveTo>
                    <a:pt x="3171443" y="1134047"/>
                  </a:moveTo>
                  <a:cubicBezTo>
                    <a:pt x="3174872" y="1134047"/>
                    <a:pt x="3177634" y="1136809"/>
                    <a:pt x="3177634" y="1140238"/>
                  </a:cubicBezTo>
                  <a:cubicBezTo>
                    <a:pt x="3177634" y="1143667"/>
                    <a:pt x="3174872" y="1146429"/>
                    <a:pt x="3171443" y="1146429"/>
                  </a:cubicBezTo>
                  <a:cubicBezTo>
                    <a:pt x="3168014" y="1146429"/>
                    <a:pt x="3165252" y="1143667"/>
                    <a:pt x="3165252" y="1140238"/>
                  </a:cubicBezTo>
                  <a:cubicBezTo>
                    <a:pt x="3165252" y="1136809"/>
                    <a:pt x="3168014" y="1134047"/>
                    <a:pt x="3171443" y="1134047"/>
                  </a:cubicBezTo>
                  <a:close/>
                  <a:moveTo>
                    <a:pt x="3220973" y="1133761"/>
                  </a:moveTo>
                  <a:cubicBezTo>
                    <a:pt x="3224402" y="1133761"/>
                    <a:pt x="3227164" y="1136523"/>
                    <a:pt x="3227164" y="1139952"/>
                  </a:cubicBezTo>
                  <a:cubicBezTo>
                    <a:pt x="3227164" y="1143381"/>
                    <a:pt x="3224402" y="1146144"/>
                    <a:pt x="3220973" y="1146144"/>
                  </a:cubicBezTo>
                  <a:cubicBezTo>
                    <a:pt x="3217544" y="1146144"/>
                    <a:pt x="3214782" y="1143381"/>
                    <a:pt x="3214782" y="1139952"/>
                  </a:cubicBezTo>
                  <a:cubicBezTo>
                    <a:pt x="3214782" y="1136523"/>
                    <a:pt x="3217544" y="1133761"/>
                    <a:pt x="3220973" y="1133761"/>
                  </a:cubicBezTo>
                  <a:close/>
                  <a:moveTo>
                    <a:pt x="315753" y="1132999"/>
                  </a:moveTo>
                  <a:cubicBezTo>
                    <a:pt x="319182" y="1132999"/>
                    <a:pt x="321944" y="1135761"/>
                    <a:pt x="321944" y="1139190"/>
                  </a:cubicBezTo>
                  <a:cubicBezTo>
                    <a:pt x="321944" y="1142619"/>
                    <a:pt x="319182" y="1145381"/>
                    <a:pt x="315753" y="1145381"/>
                  </a:cubicBezTo>
                  <a:cubicBezTo>
                    <a:pt x="312324" y="1145381"/>
                    <a:pt x="309562" y="1142619"/>
                    <a:pt x="309562" y="1139190"/>
                  </a:cubicBezTo>
                  <a:cubicBezTo>
                    <a:pt x="309562" y="1135761"/>
                    <a:pt x="312324" y="1132999"/>
                    <a:pt x="315753" y="1132999"/>
                  </a:cubicBezTo>
                  <a:close/>
                  <a:moveTo>
                    <a:pt x="102964" y="1131761"/>
                  </a:moveTo>
                  <a:cubicBezTo>
                    <a:pt x="106393" y="1131761"/>
                    <a:pt x="109156" y="1134523"/>
                    <a:pt x="109156" y="1137952"/>
                  </a:cubicBezTo>
                  <a:cubicBezTo>
                    <a:pt x="109156" y="1141381"/>
                    <a:pt x="106393" y="1144144"/>
                    <a:pt x="102964" y="1144144"/>
                  </a:cubicBezTo>
                  <a:cubicBezTo>
                    <a:pt x="99535" y="1144144"/>
                    <a:pt x="96773" y="1141381"/>
                    <a:pt x="96773" y="1137952"/>
                  </a:cubicBezTo>
                  <a:cubicBezTo>
                    <a:pt x="96773" y="1134523"/>
                    <a:pt x="99535" y="1131761"/>
                    <a:pt x="102964" y="1131761"/>
                  </a:cubicBezTo>
                  <a:close/>
                  <a:moveTo>
                    <a:pt x="3264027" y="1130904"/>
                  </a:moveTo>
                  <a:cubicBezTo>
                    <a:pt x="3266289" y="1130904"/>
                    <a:pt x="3268122" y="1132738"/>
                    <a:pt x="3268122" y="1135000"/>
                  </a:cubicBezTo>
                  <a:cubicBezTo>
                    <a:pt x="3268122" y="1137262"/>
                    <a:pt x="3266289" y="1139096"/>
                    <a:pt x="3264027" y="1139096"/>
                  </a:cubicBezTo>
                  <a:cubicBezTo>
                    <a:pt x="3261765" y="1139096"/>
                    <a:pt x="3259931" y="1137262"/>
                    <a:pt x="3259931" y="1135000"/>
                  </a:cubicBezTo>
                  <a:cubicBezTo>
                    <a:pt x="3259931" y="1132738"/>
                    <a:pt x="3261765" y="1130904"/>
                    <a:pt x="3264027" y="1130904"/>
                  </a:cubicBezTo>
                  <a:close/>
                  <a:moveTo>
                    <a:pt x="2366486" y="1129760"/>
                  </a:moveTo>
                  <a:cubicBezTo>
                    <a:pt x="2369915" y="1129760"/>
                    <a:pt x="2372678" y="1132522"/>
                    <a:pt x="2372678" y="1135951"/>
                  </a:cubicBezTo>
                  <a:cubicBezTo>
                    <a:pt x="2372678" y="1139380"/>
                    <a:pt x="2369915" y="1142143"/>
                    <a:pt x="2366486" y="1142143"/>
                  </a:cubicBezTo>
                  <a:cubicBezTo>
                    <a:pt x="2363057" y="1142143"/>
                    <a:pt x="2360295" y="1139380"/>
                    <a:pt x="2360295" y="1135951"/>
                  </a:cubicBezTo>
                  <a:cubicBezTo>
                    <a:pt x="2360295" y="1132522"/>
                    <a:pt x="2363057" y="1129760"/>
                    <a:pt x="2366486" y="1129760"/>
                  </a:cubicBezTo>
                  <a:close/>
                  <a:moveTo>
                    <a:pt x="3241262" y="1129284"/>
                  </a:moveTo>
                  <a:cubicBezTo>
                    <a:pt x="3244691" y="1129284"/>
                    <a:pt x="3247453" y="1132046"/>
                    <a:pt x="3247453" y="1135475"/>
                  </a:cubicBezTo>
                  <a:cubicBezTo>
                    <a:pt x="3247453" y="1138904"/>
                    <a:pt x="3244691" y="1141666"/>
                    <a:pt x="3241262" y="1141666"/>
                  </a:cubicBezTo>
                  <a:cubicBezTo>
                    <a:pt x="3237833" y="1141666"/>
                    <a:pt x="3235071" y="1138904"/>
                    <a:pt x="3235071" y="1135475"/>
                  </a:cubicBezTo>
                  <a:cubicBezTo>
                    <a:pt x="3235071" y="1132046"/>
                    <a:pt x="3237833" y="1129284"/>
                    <a:pt x="3241262" y="1129284"/>
                  </a:cubicBezTo>
                  <a:close/>
                  <a:moveTo>
                    <a:pt x="137731" y="1128808"/>
                  </a:moveTo>
                  <a:cubicBezTo>
                    <a:pt x="141160" y="1128808"/>
                    <a:pt x="143922" y="1131570"/>
                    <a:pt x="143922" y="1134999"/>
                  </a:cubicBezTo>
                  <a:cubicBezTo>
                    <a:pt x="143922" y="1138428"/>
                    <a:pt x="141160" y="1141191"/>
                    <a:pt x="137731" y="1141191"/>
                  </a:cubicBezTo>
                  <a:cubicBezTo>
                    <a:pt x="134302" y="1141191"/>
                    <a:pt x="131540" y="1138428"/>
                    <a:pt x="131540" y="1134999"/>
                  </a:cubicBezTo>
                  <a:cubicBezTo>
                    <a:pt x="131540" y="1131570"/>
                    <a:pt x="134302" y="1128808"/>
                    <a:pt x="137731" y="1128808"/>
                  </a:cubicBezTo>
                  <a:close/>
                  <a:moveTo>
                    <a:pt x="3208400" y="1127570"/>
                  </a:moveTo>
                  <a:cubicBezTo>
                    <a:pt x="3211829" y="1127570"/>
                    <a:pt x="3214591" y="1130332"/>
                    <a:pt x="3214591" y="1133761"/>
                  </a:cubicBezTo>
                  <a:cubicBezTo>
                    <a:pt x="3214591" y="1137190"/>
                    <a:pt x="3211829" y="1139952"/>
                    <a:pt x="3208400" y="1139952"/>
                  </a:cubicBezTo>
                  <a:cubicBezTo>
                    <a:pt x="3204971" y="1139952"/>
                    <a:pt x="3202209" y="1137190"/>
                    <a:pt x="3202209" y="1133761"/>
                  </a:cubicBezTo>
                  <a:cubicBezTo>
                    <a:pt x="3202209" y="1130332"/>
                    <a:pt x="3204971" y="1127570"/>
                    <a:pt x="3208400" y="1127570"/>
                  </a:cubicBezTo>
                  <a:close/>
                  <a:moveTo>
                    <a:pt x="95345" y="1126236"/>
                  </a:moveTo>
                  <a:cubicBezTo>
                    <a:pt x="97133" y="1126236"/>
                    <a:pt x="98583" y="1127686"/>
                    <a:pt x="98583" y="1129474"/>
                  </a:cubicBezTo>
                  <a:cubicBezTo>
                    <a:pt x="98583" y="1131263"/>
                    <a:pt x="97133" y="1132713"/>
                    <a:pt x="95345" y="1132713"/>
                  </a:cubicBezTo>
                  <a:cubicBezTo>
                    <a:pt x="93556" y="1132713"/>
                    <a:pt x="92106" y="1131263"/>
                    <a:pt x="92106" y="1129474"/>
                  </a:cubicBezTo>
                  <a:cubicBezTo>
                    <a:pt x="92106" y="1127686"/>
                    <a:pt x="93556" y="1126236"/>
                    <a:pt x="95345" y="1126236"/>
                  </a:cubicBezTo>
                  <a:close/>
                  <a:moveTo>
                    <a:pt x="3225831" y="1125950"/>
                  </a:moveTo>
                  <a:cubicBezTo>
                    <a:pt x="3229260" y="1125950"/>
                    <a:pt x="3232023" y="1128712"/>
                    <a:pt x="3232023" y="1132141"/>
                  </a:cubicBezTo>
                  <a:cubicBezTo>
                    <a:pt x="3232023" y="1135570"/>
                    <a:pt x="3229260" y="1138333"/>
                    <a:pt x="3225831" y="1138333"/>
                  </a:cubicBezTo>
                  <a:cubicBezTo>
                    <a:pt x="3222402" y="1138333"/>
                    <a:pt x="3219640" y="1135570"/>
                    <a:pt x="3219640" y="1132141"/>
                  </a:cubicBezTo>
                  <a:cubicBezTo>
                    <a:pt x="3219640" y="1128712"/>
                    <a:pt x="3222402" y="1125950"/>
                    <a:pt x="3225831" y="1125950"/>
                  </a:cubicBezTo>
                  <a:close/>
                  <a:moveTo>
                    <a:pt x="2791110" y="1125665"/>
                  </a:moveTo>
                  <a:cubicBezTo>
                    <a:pt x="2794539" y="1125665"/>
                    <a:pt x="2797301" y="1128427"/>
                    <a:pt x="2797301" y="1131856"/>
                  </a:cubicBezTo>
                  <a:cubicBezTo>
                    <a:pt x="2797301" y="1135285"/>
                    <a:pt x="2794539" y="1138048"/>
                    <a:pt x="2791110" y="1138048"/>
                  </a:cubicBezTo>
                  <a:cubicBezTo>
                    <a:pt x="2787681" y="1138048"/>
                    <a:pt x="2784919" y="1135285"/>
                    <a:pt x="2784919" y="1131856"/>
                  </a:cubicBezTo>
                  <a:cubicBezTo>
                    <a:pt x="2784919" y="1128427"/>
                    <a:pt x="2787681" y="1125665"/>
                    <a:pt x="2791110" y="1125665"/>
                  </a:cubicBezTo>
                  <a:close/>
                  <a:moveTo>
                    <a:pt x="224884" y="1125189"/>
                  </a:moveTo>
                  <a:cubicBezTo>
                    <a:pt x="228313" y="1125189"/>
                    <a:pt x="231076" y="1127951"/>
                    <a:pt x="231076" y="1131380"/>
                  </a:cubicBezTo>
                  <a:cubicBezTo>
                    <a:pt x="231076" y="1134809"/>
                    <a:pt x="228313" y="1137571"/>
                    <a:pt x="224884" y="1137571"/>
                  </a:cubicBezTo>
                  <a:cubicBezTo>
                    <a:pt x="221455" y="1137571"/>
                    <a:pt x="218693" y="1134809"/>
                    <a:pt x="218693" y="1131380"/>
                  </a:cubicBezTo>
                  <a:cubicBezTo>
                    <a:pt x="218693" y="1127951"/>
                    <a:pt x="221455" y="1125189"/>
                    <a:pt x="224884" y="1125189"/>
                  </a:cubicBezTo>
                  <a:close/>
                  <a:moveTo>
                    <a:pt x="169449" y="1124903"/>
                  </a:moveTo>
                  <a:cubicBezTo>
                    <a:pt x="172878" y="1124903"/>
                    <a:pt x="175641" y="1127665"/>
                    <a:pt x="175641" y="1131094"/>
                  </a:cubicBezTo>
                  <a:cubicBezTo>
                    <a:pt x="175641" y="1134523"/>
                    <a:pt x="172878" y="1137286"/>
                    <a:pt x="169449" y="1137286"/>
                  </a:cubicBezTo>
                  <a:cubicBezTo>
                    <a:pt x="166020" y="1137286"/>
                    <a:pt x="163258" y="1134523"/>
                    <a:pt x="163258" y="1131094"/>
                  </a:cubicBezTo>
                  <a:cubicBezTo>
                    <a:pt x="163258" y="1127665"/>
                    <a:pt x="166020" y="1124903"/>
                    <a:pt x="169449" y="1124903"/>
                  </a:cubicBezTo>
                  <a:close/>
                  <a:moveTo>
                    <a:pt x="2998469" y="1124522"/>
                  </a:moveTo>
                  <a:cubicBezTo>
                    <a:pt x="3001898" y="1124522"/>
                    <a:pt x="3004661" y="1127284"/>
                    <a:pt x="3004661" y="1130713"/>
                  </a:cubicBezTo>
                  <a:cubicBezTo>
                    <a:pt x="3004661" y="1134142"/>
                    <a:pt x="3001898" y="1136904"/>
                    <a:pt x="2998469" y="1136904"/>
                  </a:cubicBezTo>
                  <a:cubicBezTo>
                    <a:pt x="2995040" y="1136904"/>
                    <a:pt x="2992278" y="1134142"/>
                    <a:pt x="2992278" y="1130713"/>
                  </a:cubicBezTo>
                  <a:cubicBezTo>
                    <a:pt x="2992278" y="1127284"/>
                    <a:pt x="2995040" y="1124522"/>
                    <a:pt x="2998469" y="1124522"/>
                  </a:cubicBezTo>
                  <a:close/>
                  <a:moveTo>
                    <a:pt x="3188969" y="1121283"/>
                  </a:moveTo>
                  <a:cubicBezTo>
                    <a:pt x="3192398" y="1121283"/>
                    <a:pt x="3195161" y="1124045"/>
                    <a:pt x="3195161" y="1127474"/>
                  </a:cubicBezTo>
                  <a:cubicBezTo>
                    <a:pt x="3195161" y="1130903"/>
                    <a:pt x="3192398" y="1133666"/>
                    <a:pt x="3188969" y="1133666"/>
                  </a:cubicBezTo>
                  <a:cubicBezTo>
                    <a:pt x="3185540" y="1133666"/>
                    <a:pt x="3182778" y="1130903"/>
                    <a:pt x="3182778" y="1127474"/>
                  </a:cubicBezTo>
                  <a:cubicBezTo>
                    <a:pt x="3182778" y="1124045"/>
                    <a:pt x="3185540" y="1121283"/>
                    <a:pt x="3188969" y="1121283"/>
                  </a:cubicBezTo>
                  <a:close/>
                  <a:moveTo>
                    <a:pt x="1020698" y="1121283"/>
                  </a:moveTo>
                  <a:cubicBezTo>
                    <a:pt x="1024127" y="1121283"/>
                    <a:pt x="1026889" y="1124045"/>
                    <a:pt x="1026889" y="1127474"/>
                  </a:cubicBezTo>
                  <a:cubicBezTo>
                    <a:pt x="1026889" y="1130903"/>
                    <a:pt x="1024127" y="1133666"/>
                    <a:pt x="1020698" y="1133666"/>
                  </a:cubicBezTo>
                  <a:cubicBezTo>
                    <a:pt x="1017269" y="1133666"/>
                    <a:pt x="1014507" y="1130903"/>
                    <a:pt x="1014507" y="1127474"/>
                  </a:cubicBezTo>
                  <a:cubicBezTo>
                    <a:pt x="1014507" y="1124045"/>
                    <a:pt x="1017269" y="1121283"/>
                    <a:pt x="1020698" y="1121283"/>
                  </a:cubicBezTo>
                  <a:close/>
                  <a:moveTo>
                    <a:pt x="3253834" y="1119473"/>
                  </a:moveTo>
                  <a:cubicBezTo>
                    <a:pt x="3257263" y="1119473"/>
                    <a:pt x="3260026" y="1122235"/>
                    <a:pt x="3260026" y="1125664"/>
                  </a:cubicBezTo>
                  <a:cubicBezTo>
                    <a:pt x="3260026" y="1129093"/>
                    <a:pt x="3257263" y="1131856"/>
                    <a:pt x="3253834" y="1131856"/>
                  </a:cubicBezTo>
                  <a:cubicBezTo>
                    <a:pt x="3250405" y="1131856"/>
                    <a:pt x="3247643" y="1129093"/>
                    <a:pt x="3247643" y="1125664"/>
                  </a:cubicBezTo>
                  <a:cubicBezTo>
                    <a:pt x="3247643" y="1122235"/>
                    <a:pt x="3250405" y="1119473"/>
                    <a:pt x="3253834" y="1119473"/>
                  </a:cubicBezTo>
                  <a:close/>
                  <a:moveTo>
                    <a:pt x="128492" y="1119378"/>
                  </a:moveTo>
                  <a:cubicBezTo>
                    <a:pt x="131921" y="1119378"/>
                    <a:pt x="134684" y="1122140"/>
                    <a:pt x="134684" y="1125569"/>
                  </a:cubicBezTo>
                  <a:cubicBezTo>
                    <a:pt x="134684" y="1128998"/>
                    <a:pt x="131921" y="1131760"/>
                    <a:pt x="128492" y="1131760"/>
                  </a:cubicBezTo>
                  <a:cubicBezTo>
                    <a:pt x="125063" y="1131760"/>
                    <a:pt x="122301" y="1128998"/>
                    <a:pt x="122301" y="1125569"/>
                  </a:cubicBezTo>
                  <a:cubicBezTo>
                    <a:pt x="122301" y="1122140"/>
                    <a:pt x="125063" y="1119378"/>
                    <a:pt x="128492" y="1119378"/>
                  </a:cubicBezTo>
                  <a:close/>
                  <a:moveTo>
                    <a:pt x="110299" y="1119093"/>
                  </a:moveTo>
                  <a:cubicBezTo>
                    <a:pt x="113728" y="1119093"/>
                    <a:pt x="116490" y="1121855"/>
                    <a:pt x="116490" y="1125284"/>
                  </a:cubicBezTo>
                  <a:lnTo>
                    <a:pt x="115251" y="1126523"/>
                  </a:lnTo>
                  <a:lnTo>
                    <a:pt x="121348" y="1132618"/>
                  </a:lnTo>
                  <a:cubicBezTo>
                    <a:pt x="121348" y="1136047"/>
                    <a:pt x="118585" y="1138810"/>
                    <a:pt x="115156" y="1138810"/>
                  </a:cubicBezTo>
                  <a:cubicBezTo>
                    <a:pt x="111727" y="1138810"/>
                    <a:pt x="108965" y="1136047"/>
                    <a:pt x="108965" y="1132618"/>
                  </a:cubicBezTo>
                  <a:lnTo>
                    <a:pt x="110203" y="1131380"/>
                  </a:lnTo>
                  <a:lnTo>
                    <a:pt x="104108" y="1125284"/>
                  </a:lnTo>
                  <a:cubicBezTo>
                    <a:pt x="104108" y="1121855"/>
                    <a:pt x="106870" y="1119093"/>
                    <a:pt x="110299" y="1119093"/>
                  </a:cubicBezTo>
                  <a:close/>
                  <a:moveTo>
                    <a:pt x="3232975" y="1118140"/>
                  </a:moveTo>
                  <a:cubicBezTo>
                    <a:pt x="3236404" y="1118140"/>
                    <a:pt x="3239167" y="1120902"/>
                    <a:pt x="3239167" y="1124331"/>
                  </a:cubicBezTo>
                  <a:cubicBezTo>
                    <a:pt x="3239167" y="1127760"/>
                    <a:pt x="3236404" y="1130523"/>
                    <a:pt x="3232975" y="1130523"/>
                  </a:cubicBezTo>
                  <a:cubicBezTo>
                    <a:pt x="3229546" y="1130523"/>
                    <a:pt x="3226784" y="1127760"/>
                    <a:pt x="3226784" y="1124331"/>
                  </a:cubicBezTo>
                  <a:cubicBezTo>
                    <a:pt x="3226784" y="1120902"/>
                    <a:pt x="3229546" y="1118140"/>
                    <a:pt x="3232975" y="1118140"/>
                  </a:cubicBezTo>
                  <a:close/>
                  <a:moveTo>
                    <a:pt x="3154584" y="1116806"/>
                  </a:moveTo>
                  <a:cubicBezTo>
                    <a:pt x="3158013" y="1116806"/>
                    <a:pt x="3160775" y="1119568"/>
                    <a:pt x="3160775" y="1122997"/>
                  </a:cubicBezTo>
                  <a:cubicBezTo>
                    <a:pt x="3160775" y="1126426"/>
                    <a:pt x="3158013" y="1129189"/>
                    <a:pt x="3154584" y="1129189"/>
                  </a:cubicBezTo>
                  <a:cubicBezTo>
                    <a:pt x="3151155" y="1129189"/>
                    <a:pt x="3148393" y="1126426"/>
                    <a:pt x="3148393" y="1122997"/>
                  </a:cubicBezTo>
                  <a:cubicBezTo>
                    <a:pt x="3148393" y="1119568"/>
                    <a:pt x="3151155" y="1116806"/>
                    <a:pt x="3154584" y="1116806"/>
                  </a:cubicBezTo>
                  <a:close/>
                  <a:moveTo>
                    <a:pt x="3095148" y="1116806"/>
                  </a:moveTo>
                  <a:cubicBezTo>
                    <a:pt x="3098577" y="1116806"/>
                    <a:pt x="3101340" y="1119568"/>
                    <a:pt x="3101340" y="1122997"/>
                  </a:cubicBezTo>
                  <a:cubicBezTo>
                    <a:pt x="3101340" y="1126426"/>
                    <a:pt x="3098577" y="1129189"/>
                    <a:pt x="3095148" y="1129189"/>
                  </a:cubicBezTo>
                  <a:cubicBezTo>
                    <a:pt x="3091719" y="1129189"/>
                    <a:pt x="3088957" y="1126426"/>
                    <a:pt x="3088957" y="1122997"/>
                  </a:cubicBezTo>
                  <a:cubicBezTo>
                    <a:pt x="3088957" y="1119568"/>
                    <a:pt x="3091719" y="1116806"/>
                    <a:pt x="3095148" y="1116806"/>
                  </a:cubicBezTo>
                  <a:close/>
                  <a:moveTo>
                    <a:pt x="575214" y="1115854"/>
                  </a:moveTo>
                  <a:cubicBezTo>
                    <a:pt x="578643" y="1115854"/>
                    <a:pt x="581405" y="1118616"/>
                    <a:pt x="581405" y="1122045"/>
                  </a:cubicBezTo>
                  <a:cubicBezTo>
                    <a:pt x="581405" y="1125474"/>
                    <a:pt x="578643" y="1128237"/>
                    <a:pt x="575214" y="1128237"/>
                  </a:cubicBezTo>
                  <a:cubicBezTo>
                    <a:pt x="571785" y="1128237"/>
                    <a:pt x="569023" y="1125474"/>
                    <a:pt x="569023" y="1122045"/>
                  </a:cubicBezTo>
                  <a:cubicBezTo>
                    <a:pt x="569023" y="1118616"/>
                    <a:pt x="571785" y="1115854"/>
                    <a:pt x="575214" y="1115854"/>
                  </a:cubicBezTo>
                  <a:close/>
                  <a:moveTo>
                    <a:pt x="355472" y="1114616"/>
                  </a:moveTo>
                  <a:cubicBezTo>
                    <a:pt x="358901" y="1114616"/>
                    <a:pt x="361664" y="1117378"/>
                    <a:pt x="361664" y="1120807"/>
                  </a:cubicBezTo>
                  <a:cubicBezTo>
                    <a:pt x="361664" y="1124236"/>
                    <a:pt x="358901" y="1126998"/>
                    <a:pt x="355472" y="1126998"/>
                  </a:cubicBezTo>
                  <a:cubicBezTo>
                    <a:pt x="352043" y="1126998"/>
                    <a:pt x="349281" y="1124236"/>
                    <a:pt x="349281" y="1120807"/>
                  </a:cubicBezTo>
                  <a:cubicBezTo>
                    <a:pt x="349281" y="1117378"/>
                    <a:pt x="352043" y="1114616"/>
                    <a:pt x="355472" y="1114616"/>
                  </a:cubicBezTo>
                  <a:close/>
                  <a:moveTo>
                    <a:pt x="2261901" y="1114139"/>
                  </a:moveTo>
                  <a:cubicBezTo>
                    <a:pt x="2265330" y="1114139"/>
                    <a:pt x="2268092" y="1116901"/>
                    <a:pt x="2268092" y="1120330"/>
                  </a:cubicBezTo>
                  <a:cubicBezTo>
                    <a:pt x="2268092" y="1123759"/>
                    <a:pt x="2265330" y="1126522"/>
                    <a:pt x="2261901" y="1126522"/>
                  </a:cubicBezTo>
                  <a:cubicBezTo>
                    <a:pt x="2258472" y="1126522"/>
                    <a:pt x="2255710" y="1123759"/>
                    <a:pt x="2255710" y="1120330"/>
                  </a:cubicBezTo>
                  <a:cubicBezTo>
                    <a:pt x="2255710" y="1116901"/>
                    <a:pt x="2258472" y="1114139"/>
                    <a:pt x="2261901" y="1114139"/>
                  </a:cubicBezTo>
                  <a:close/>
                  <a:moveTo>
                    <a:pt x="3218401" y="1112996"/>
                  </a:moveTo>
                  <a:cubicBezTo>
                    <a:pt x="3221830" y="1112996"/>
                    <a:pt x="3224593" y="1115758"/>
                    <a:pt x="3224593" y="1119187"/>
                  </a:cubicBezTo>
                  <a:lnTo>
                    <a:pt x="3218735" y="1125045"/>
                  </a:lnTo>
                  <a:lnTo>
                    <a:pt x="3219735" y="1126045"/>
                  </a:lnTo>
                  <a:cubicBezTo>
                    <a:pt x="3219735" y="1129474"/>
                    <a:pt x="3216973" y="1132237"/>
                    <a:pt x="3213544" y="1132237"/>
                  </a:cubicBezTo>
                  <a:cubicBezTo>
                    <a:pt x="3210115" y="1132237"/>
                    <a:pt x="3207353" y="1129474"/>
                    <a:pt x="3207353" y="1126045"/>
                  </a:cubicBezTo>
                  <a:lnTo>
                    <a:pt x="3213210" y="1120188"/>
                  </a:lnTo>
                  <a:lnTo>
                    <a:pt x="3212210" y="1119187"/>
                  </a:lnTo>
                  <a:cubicBezTo>
                    <a:pt x="3212210" y="1115758"/>
                    <a:pt x="3214972" y="1112996"/>
                    <a:pt x="3218401" y="1112996"/>
                  </a:cubicBezTo>
                  <a:close/>
                  <a:moveTo>
                    <a:pt x="149827" y="1112330"/>
                  </a:moveTo>
                  <a:cubicBezTo>
                    <a:pt x="153256" y="1112330"/>
                    <a:pt x="156018" y="1115092"/>
                    <a:pt x="156018" y="1118521"/>
                  </a:cubicBezTo>
                  <a:cubicBezTo>
                    <a:pt x="156018" y="1121950"/>
                    <a:pt x="153256" y="1124713"/>
                    <a:pt x="149827" y="1124713"/>
                  </a:cubicBezTo>
                  <a:cubicBezTo>
                    <a:pt x="146398" y="1124713"/>
                    <a:pt x="143636" y="1121950"/>
                    <a:pt x="143636" y="1118521"/>
                  </a:cubicBezTo>
                  <a:cubicBezTo>
                    <a:pt x="143636" y="1115092"/>
                    <a:pt x="146398" y="1112330"/>
                    <a:pt x="149827" y="1112330"/>
                  </a:cubicBezTo>
                  <a:close/>
                  <a:moveTo>
                    <a:pt x="3199351" y="1112044"/>
                  </a:moveTo>
                  <a:cubicBezTo>
                    <a:pt x="3202780" y="1112044"/>
                    <a:pt x="3205543" y="1114806"/>
                    <a:pt x="3205543" y="1118235"/>
                  </a:cubicBezTo>
                  <a:cubicBezTo>
                    <a:pt x="3205543" y="1121664"/>
                    <a:pt x="3202780" y="1124427"/>
                    <a:pt x="3199351" y="1124427"/>
                  </a:cubicBezTo>
                  <a:cubicBezTo>
                    <a:pt x="3195922" y="1124427"/>
                    <a:pt x="3193160" y="1121664"/>
                    <a:pt x="3193160" y="1118235"/>
                  </a:cubicBezTo>
                  <a:cubicBezTo>
                    <a:pt x="3193160" y="1114806"/>
                    <a:pt x="3195922" y="1112044"/>
                    <a:pt x="3199351" y="1112044"/>
                  </a:cubicBezTo>
                  <a:close/>
                  <a:moveTo>
                    <a:pt x="103536" y="1111854"/>
                  </a:moveTo>
                  <a:cubicBezTo>
                    <a:pt x="106965" y="1111854"/>
                    <a:pt x="109728" y="1114616"/>
                    <a:pt x="109728" y="1118045"/>
                  </a:cubicBezTo>
                  <a:cubicBezTo>
                    <a:pt x="109728" y="1121474"/>
                    <a:pt x="106965" y="1124236"/>
                    <a:pt x="103536" y="1124236"/>
                  </a:cubicBezTo>
                  <a:cubicBezTo>
                    <a:pt x="100107" y="1124236"/>
                    <a:pt x="97345" y="1121474"/>
                    <a:pt x="97345" y="1118045"/>
                  </a:cubicBezTo>
                  <a:cubicBezTo>
                    <a:pt x="97345" y="1114616"/>
                    <a:pt x="100107" y="1111854"/>
                    <a:pt x="103536" y="1111854"/>
                  </a:cubicBezTo>
                  <a:close/>
                  <a:moveTo>
                    <a:pt x="3244119" y="1109472"/>
                  </a:moveTo>
                  <a:cubicBezTo>
                    <a:pt x="3247548" y="1109472"/>
                    <a:pt x="3250310" y="1112234"/>
                    <a:pt x="3250310" y="1115663"/>
                  </a:cubicBezTo>
                  <a:cubicBezTo>
                    <a:pt x="3250310" y="1119092"/>
                    <a:pt x="3247548" y="1121854"/>
                    <a:pt x="3244119" y="1121854"/>
                  </a:cubicBezTo>
                  <a:cubicBezTo>
                    <a:pt x="3240690" y="1121854"/>
                    <a:pt x="3237928" y="1119092"/>
                    <a:pt x="3237928" y="1115663"/>
                  </a:cubicBezTo>
                  <a:cubicBezTo>
                    <a:pt x="3237928" y="1112234"/>
                    <a:pt x="3240690" y="1109472"/>
                    <a:pt x="3244119" y="1109472"/>
                  </a:cubicBezTo>
                  <a:close/>
                  <a:moveTo>
                    <a:pt x="2725959" y="1107377"/>
                  </a:moveTo>
                  <a:cubicBezTo>
                    <a:pt x="2729388" y="1107377"/>
                    <a:pt x="2732150" y="1110139"/>
                    <a:pt x="2732150" y="1113568"/>
                  </a:cubicBezTo>
                  <a:cubicBezTo>
                    <a:pt x="2732150" y="1116997"/>
                    <a:pt x="2729388" y="1119760"/>
                    <a:pt x="2725959" y="1119760"/>
                  </a:cubicBezTo>
                  <a:cubicBezTo>
                    <a:pt x="2722530" y="1119760"/>
                    <a:pt x="2719768" y="1116997"/>
                    <a:pt x="2719768" y="1113568"/>
                  </a:cubicBezTo>
                  <a:cubicBezTo>
                    <a:pt x="2719768" y="1110139"/>
                    <a:pt x="2722530" y="1107377"/>
                    <a:pt x="2725959" y="1107377"/>
                  </a:cubicBezTo>
                  <a:close/>
                  <a:moveTo>
                    <a:pt x="187451" y="1107281"/>
                  </a:moveTo>
                  <a:cubicBezTo>
                    <a:pt x="190880" y="1107281"/>
                    <a:pt x="193642" y="1110043"/>
                    <a:pt x="193642" y="1113472"/>
                  </a:cubicBezTo>
                  <a:cubicBezTo>
                    <a:pt x="193642" y="1116901"/>
                    <a:pt x="190880" y="1119664"/>
                    <a:pt x="187451" y="1119664"/>
                  </a:cubicBezTo>
                  <a:cubicBezTo>
                    <a:pt x="184022" y="1119664"/>
                    <a:pt x="181260" y="1116901"/>
                    <a:pt x="181260" y="1113472"/>
                  </a:cubicBezTo>
                  <a:cubicBezTo>
                    <a:pt x="181260" y="1110043"/>
                    <a:pt x="184022" y="1107281"/>
                    <a:pt x="187451" y="1107281"/>
                  </a:cubicBezTo>
                  <a:close/>
                  <a:moveTo>
                    <a:pt x="251840" y="1106996"/>
                  </a:moveTo>
                  <a:cubicBezTo>
                    <a:pt x="255269" y="1106996"/>
                    <a:pt x="258031" y="1109758"/>
                    <a:pt x="258031" y="1113187"/>
                  </a:cubicBezTo>
                  <a:cubicBezTo>
                    <a:pt x="258031" y="1116616"/>
                    <a:pt x="255269" y="1119379"/>
                    <a:pt x="251840" y="1119379"/>
                  </a:cubicBezTo>
                  <a:cubicBezTo>
                    <a:pt x="248411" y="1119379"/>
                    <a:pt x="245649" y="1116616"/>
                    <a:pt x="245649" y="1113187"/>
                  </a:cubicBezTo>
                  <a:cubicBezTo>
                    <a:pt x="245649" y="1109758"/>
                    <a:pt x="248411" y="1106996"/>
                    <a:pt x="251840" y="1106996"/>
                  </a:cubicBezTo>
                  <a:close/>
                  <a:moveTo>
                    <a:pt x="3224879" y="1106234"/>
                  </a:moveTo>
                  <a:cubicBezTo>
                    <a:pt x="3228308" y="1106234"/>
                    <a:pt x="3231070" y="1108996"/>
                    <a:pt x="3231070" y="1112425"/>
                  </a:cubicBezTo>
                  <a:cubicBezTo>
                    <a:pt x="3231070" y="1115854"/>
                    <a:pt x="3228308" y="1118617"/>
                    <a:pt x="3224879" y="1118617"/>
                  </a:cubicBezTo>
                  <a:cubicBezTo>
                    <a:pt x="3221450" y="1118617"/>
                    <a:pt x="3218688" y="1115854"/>
                    <a:pt x="3218688" y="1112425"/>
                  </a:cubicBezTo>
                  <a:cubicBezTo>
                    <a:pt x="3218688" y="1108996"/>
                    <a:pt x="3221450" y="1106234"/>
                    <a:pt x="3224879" y="1106234"/>
                  </a:cubicBezTo>
                  <a:close/>
                  <a:moveTo>
                    <a:pt x="1129569" y="1106139"/>
                  </a:moveTo>
                  <a:cubicBezTo>
                    <a:pt x="1132998" y="1106139"/>
                    <a:pt x="1135760" y="1108901"/>
                    <a:pt x="1135760" y="1112330"/>
                  </a:cubicBezTo>
                  <a:cubicBezTo>
                    <a:pt x="1135760" y="1115759"/>
                    <a:pt x="1132998" y="1118521"/>
                    <a:pt x="1129569" y="1118521"/>
                  </a:cubicBezTo>
                  <a:cubicBezTo>
                    <a:pt x="1126140" y="1118521"/>
                    <a:pt x="1123378" y="1115759"/>
                    <a:pt x="1123378" y="1112330"/>
                  </a:cubicBezTo>
                  <a:cubicBezTo>
                    <a:pt x="1123378" y="1108901"/>
                    <a:pt x="1126140" y="1106139"/>
                    <a:pt x="1129569" y="1106139"/>
                  </a:cubicBezTo>
                  <a:close/>
                  <a:moveTo>
                    <a:pt x="2956750" y="1105853"/>
                  </a:moveTo>
                  <a:cubicBezTo>
                    <a:pt x="2960179" y="1105853"/>
                    <a:pt x="2962942" y="1108615"/>
                    <a:pt x="2962942" y="1112044"/>
                  </a:cubicBezTo>
                  <a:cubicBezTo>
                    <a:pt x="2962942" y="1115473"/>
                    <a:pt x="2960179" y="1118236"/>
                    <a:pt x="2956750" y="1118236"/>
                  </a:cubicBezTo>
                  <a:cubicBezTo>
                    <a:pt x="2953321" y="1118236"/>
                    <a:pt x="2950559" y="1115473"/>
                    <a:pt x="2950559" y="1112044"/>
                  </a:cubicBezTo>
                  <a:cubicBezTo>
                    <a:pt x="2950559" y="1108615"/>
                    <a:pt x="2953321" y="1105853"/>
                    <a:pt x="2956750" y="1105853"/>
                  </a:cubicBezTo>
                  <a:close/>
                  <a:moveTo>
                    <a:pt x="117824" y="1105758"/>
                  </a:moveTo>
                  <a:cubicBezTo>
                    <a:pt x="121253" y="1105758"/>
                    <a:pt x="124016" y="1108520"/>
                    <a:pt x="124016" y="1111949"/>
                  </a:cubicBezTo>
                  <a:lnTo>
                    <a:pt x="123301" y="1112664"/>
                  </a:lnTo>
                  <a:lnTo>
                    <a:pt x="128873" y="1118235"/>
                  </a:lnTo>
                  <a:cubicBezTo>
                    <a:pt x="128873" y="1121664"/>
                    <a:pt x="126110" y="1124427"/>
                    <a:pt x="122681" y="1124427"/>
                  </a:cubicBezTo>
                  <a:cubicBezTo>
                    <a:pt x="119252" y="1124427"/>
                    <a:pt x="116490" y="1121664"/>
                    <a:pt x="116490" y="1118235"/>
                  </a:cubicBezTo>
                  <a:lnTo>
                    <a:pt x="117204" y="1117521"/>
                  </a:lnTo>
                  <a:lnTo>
                    <a:pt x="111633" y="1111949"/>
                  </a:lnTo>
                  <a:cubicBezTo>
                    <a:pt x="111633" y="1108520"/>
                    <a:pt x="114395" y="1105758"/>
                    <a:pt x="117824" y="1105758"/>
                  </a:cubicBezTo>
                  <a:close/>
                  <a:moveTo>
                    <a:pt x="3176206" y="1104329"/>
                  </a:moveTo>
                  <a:cubicBezTo>
                    <a:pt x="3179625" y="1104329"/>
                    <a:pt x="3182397" y="1107101"/>
                    <a:pt x="3182397" y="1110520"/>
                  </a:cubicBezTo>
                  <a:cubicBezTo>
                    <a:pt x="3182397" y="1113940"/>
                    <a:pt x="3179625" y="1116712"/>
                    <a:pt x="3176206" y="1116712"/>
                  </a:cubicBezTo>
                  <a:cubicBezTo>
                    <a:pt x="3172787" y="1116712"/>
                    <a:pt x="3170015" y="1113940"/>
                    <a:pt x="3170015" y="1110520"/>
                  </a:cubicBezTo>
                  <a:cubicBezTo>
                    <a:pt x="3170015" y="1107101"/>
                    <a:pt x="3172787" y="1104329"/>
                    <a:pt x="3176206" y="1104329"/>
                  </a:cubicBezTo>
                  <a:close/>
                  <a:moveTo>
                    <a:pt x="138017" y="1103471"/>
                  </a:moveTo>
                  <a:cubicBezTo>
                    <a:pt x="141446" y="1103471"/>
                    <a:pt x="144209" y="1106233"/>
                    <a:pt x="144209" y="1109662"/>
                  </a:cubicBezTo>
                  <a:cubicBezTo>
                    <a:pt x="144209" y="1113091"/>
                    <a:pt x="141446" y="1115854"/>
                    <a:pt x="138017" y="1115854"/>
                  </a:cubicBezTo>
                  <a:cubicBezTo>
                    <a:pt x="134588" y="1115854"/>
                    <a:pt x="131826" y="1113091"/>
                    <a:pt x="131826" y="1109662"/>
                  </a:cubicBezTo>
                  <a:cubicBezTo>
                    <a:pt x="131826" y="1106233"/>
                    <a:pt x="134588" y="1103471"/>
                    <a:pt x="138017" y="1103471"/>
                  </a:cubicBezTo>
                  <a:close/>
                  <a:moveTo>
                    <a:pt x="111537" y="1099662"/>
                  </a:moveTo>
                  <a:cubicBezTo>
                    <a:pt x="114966" y="1099662"/>
                    <a:pt x="117728" y="1102424"/>
                    <a:pt x="117728" y="1105853"/>
                  </a:cubicBezTo>
                  <a:cubicBezTo>
                    <a:pt x="117728" y="1109282"/>
                    <a:pt x="114966" y="1112044"/>
                    <a:pt x="111537" y="1112044"/>
                  </a:cubicBezTo>
                  <a:cubicBezTo>
                    <a:pt x="108108" y="1112044"/>
                    <a:pt x="105346" y="1109282"/>
                    <a:pt x="105346" y="1105853"/>
                  </a:cubicBezTo>
                  <a:cubicBezTo>
                    <a:pt x="105346" y="1102424"/>
                    <a:pt x="108108" y="1099662"/>
                    <a:pt x="111537" y="1099662"/>
                  </a:cubicBezTo>
                  <a:close/>
                  <a:moveTo>
                    <a:pt x="2149316" y="1099566"/>
                  </a:moveTo>
                  <a:cubicBezTo>
                    <a:pt x="2152745" y="1099566"/>
                    <a:pt x="2155508" y="1102328"/>
                    <a:pt x="2155508" y="1105757"/>
                  </a:cubicBezTo>
                  <a:cubicBezTo>
                    <a:pt x="2155508" y="1109186"/>
                    <a:pt x="2152745" y="1111949"/>
                    <a:pt x="2149316" y="1111949"/>
                  </a:cubicBezTo>
                  <a:cubicBezTo>
                    <a:pt x="2145887" y="1111949"/>
                    <a:pt x="2143125" y="1109186"/>
                    <a:pt x="2143125" y="1105757"/>
                  </a:cubicBezTo>
                  <a:cubicBezTo>
                    <a:pt x="2143125" y="1102328"/>
                    <a:pt x="2145887" y="1099566"/>
                    <a:pt x="2149316" y="1099566"/>
                  </a:cubicBezTo>
                  <a:close/>
                  <a:moveTo>
                    <a:pt x="3135534" y="1098900"/>
                  </a:moveTo>
                  <a:cubicBezTo>
                    <a:pt x="3138963" y="1098900"/>
                    <a:pt x="3141725" y="1101662"/>
                    <a:pt x="3141725" y="1105091"/>
                  </a:cubicBezTo>
                  <a:cubicBezTo>
                    <a:pt x="3141725" y="1108520"/>
                    <a:pt x="3138963" y="1111283"/>
                    <a:pt x="3135534" y="1111283"/>
                  </a:cubicBezTo>
                  <a:cubicBezTo>
                    <a:pt x="3132105" y="1111283"/>
                    <a:pt x="3129343" y="1108520"/>
                    <a:pt x="3129343" y="1105091"/>
                  </a:cubicBezTo>
                  <a:cubicBezTo>
                    <a:pt x="3129343" y="1101662"/>
                    <a:pt x="3132105" y="1098900"/>
                    <a:pt x="3135534" y="1098900"/>
                  </a:cubicBezTo>
                  <a:close/>
                  <a:moveTo>
                    <a:pt x="3234784" y="1098804"/>
                  </a:moveTo>
                  <a:cubicBezTo>
                    <a:pt x="3238213" y="1098804"/>
                    <a:pt x="3240976" y="1101566"/>
                    <a:pt x="3240976" y="1104995"/>
                  </a:cubicBezTo>
                  <a:cubicBezTo>
                    <a:pt x="3240976" y="1108424"/>
                    <a:pt x="3238213" y="1111187"/>
                    <a:pt x="3234784" y="1111187"/>
                  </a:cubicBezTo>
                  <a:cubicBezTo>
                    <a:pt x="3231355" y="1111187"/>
                    <a:pt x="3228593" y="1108424"/>
                    <a:pt x="3228593" y="1104995"/>
                  </a:cubicBezTo>
                  <a:cubicBezTo>
                    <a:pt x="3228593" y="1101566"/>
                    <a:pt x="3231355" y="1098804"/>
                    <a:pt x="3234784" y="1098804"/>
                  </a:cubicBezTo>
                  <a:close/>
                  <a:moveTo>
                    <a:pt x="3066573" y="1098233"/>
                  </a:moveTo>
                  <a:cubicBezTo>
                    <a:pt x="3070002" y="1098233"/>
                    <a:pt x="3072765" y="1100995"/>
                    <a:pt x="3072765" y="1104424"/>
                  </a:cubicBezTo>
                  <a:cubicBezTo>
                    <a:pt x="3072765" y="1107853"/>
                    <a:pt x="3070002" y="1110615"/>
                    <a:pt x="3066573" y="1110615"/>
                  </a:cubicBezTo>
                  <a:cubicBezTo>
                    <a:pt x="3063144" y="1110615"/>
                    <a:pt x="3060382" y="1107853"/>
                    <a:pt x="3060382" y="1104424"/>
                  </a:cubicBezTo>
                  <a:cubicBezTo>
                    <a:pt x="3060382" y="1100995"/>
                    <a:pt x="3063144" y="1098233"/>
                    <a:pt x="3066573" y="1098233"/>
                  </a:cubicBezTo>
                  <a:close/>
                  <a:moveTo>
                    <a:pt x="643699" y="1097375"/>
                  </a:moveTo>
                  <a:cubicBezTo>
                    <a:pt x="647128" y="1097375"/>
                    <a:pt x="649891" y="1100137"/>
                    <a:pt x="649891" y="1103566"/>
                  </a:cubicBezTo>
                  <a:cubicBezTo>
                    <a:pt x="649891" y="1106995"/>
                    <a:pt x="647128" y="1109758"/>
                    <a:pt x="643699" y="1109758"/>
                  </a:cubicBezTo>
                  <a:cubicBezTo>
                    <a:pt x="640270" y="1109758"/>
                    <a:pt x="637508" y="1106995"/>
                    <a:pt x="637508" y="1103566"/>
                  </a:cubicBezTo>
                  <a:cubicBezTo>
                    <a:pt x="637508" y="1100137"/>
                    <a:pt x="640270" y="1097375"/>
                    <a:pt x="643699" y="1097375"/>
                  </a:cubicBezTo>
                  <a:close/>
                  <a:moveTo>
                    <a:pt x="3189350" y="1095852"/>
                  </a:moveTo>
                  <a:cubicBezTo>
                    <a:pt x="3192779" y="1095852"/>
                    <a:pt x="3195541" y="1098614"/>
                    <a:pt x="3195541" y="1102043"/>
                  </a:cubicBezTo>
                  <a:cubicBezTo>
                    <a:pt x="3195541" y="1105472"/>
                    <a:pt x="3192779" y="1108234"/>
                    <a:pt x="3189350" y="1108234"/>
                  </a:cubicBezTo>
                  <a:cubicBezTo>
                    <a:pt x="3185921" y="1108234"/>
                    <a:pt x="3183159" y="1105472"/>
                    <a:pt x="3183159" y="1102043"/>
                  </a:cubicBezTo>
                  <a:cubicBezTo>
                    <a:pt x="3183159" y="1098614"/>
                    <a:pt x="3185921" y="1095852"/>
                    <a:pt x="3189350" y="1095852"/>
                  </a:cubicBezTo>
                  <a:close/>
                  <a:moveTo>
                    <a:pt x="399573" y="1095661"/>
                  </a:moveTo>
                  <a:cubicBezTo>
                    <a:pt x="403002" y="1095661"/>
                    <a:pt x="405764" y="1098423"/>
                    <a:pt x="405764" y="1101852"/>
                  </a:cubicBezTo>
                  <a:cubicBezTo>
                    <a:pt x="405764" y="1105281"/>
                    <a:pt x="403002" y="1108044"/>
                    <a:pt x="399573" y="1108044"/>
                  </a:cubicBezTo>
                  <a:cubicBezTo>
                    <a:pt x="396144" y="1108044"/>
                    <a:pt x="393382" y="1105281"/>
                    <a:pt x="393382" y="1101852"/>
                  </a:cubicBezTo>
                  <a:cubicBezTo>
                    <a:pt x="393382" y="1098423"/>
                    <a:pt x="396144" y="1095661"/>
                    <a:pt x="399573" y="1095661"/>
                  </a:cubicBezTo>
                  <a:close/>
                  <a:moveTo>
                    <a:pt x="163448" y="1094994"/>
                  </a:moveTo>
                  <a:cubicBezTo>
                    <a:pt x="166877" y="1094994"/>
                    <a:pt x="169639" y="1097756"/>
                    <a:pt x="169639" y="1101185"/>
                  </a:cubicBezTo>
                  <a:cubicBezTo>
                    <a:pt x="169639" y="1104614"/>
                    <a:pt x="166877" y="1107377"/>
                    <a:pt x="163448" y="1107377"/>
                  </a:cubicBezTo>
                  <a:cubicBezTo>
                    <a:pt x="160019" y="1107377"/>
                    <a:pt x="157257" y="1104614"/>
                    <a:pt x="157257" y="1101185"/>
                  </a:cubicBezTo>
                  <a:cubicBezTo>
                    <a:pt x="157257" y="1097756"/>
                    <a:pt x="160019" y="1094994"/>
                    <a:pt x="163448" y="1094994"/>
                  </a:cubicBezTo>
                  <a:close/>
                  <a:moveTo>
                    <a:pt x="3216877" y="1093756"/>
                  </a:moveTo>
                  <a:cubicBezTo>
                    <a:pt x="3220306" y="1093756"/>
                    <a:pt x="3223069" y="1096518"/>
                    <a:pt x="3223069" y="1099947"/>
                  </a:cubicBezTo>
                  <a:cubicBezTo>
                    <a:pt x="3223069" y="1103376"/>
                    <a:pt x="3220306" y="1106139"/>
                    <a:pt x="3216877" y="1106139"/>
                  </a:cubicBezTo>
                  <a:lnTo>
                    <a:pt x="3216639" y="1105901"/>
                  </a:lnTo>
                  <a:lnTo>
                    <a:pt x="3211544" y="1110997"/>
                  </a:lnTo>
                  <a:lnTo>
                    <a:pt x="3211924" y="1111377"/>
                  </a:lnTo>
                  <a:cubicBezTo>
                    <a:pt x="3211924" y="1114806"/>
                    <a:pt x="3209162" y="1117569"/>
                    <a:pt x="3205733" y="1117569"/>
                  </a:cubicBezTo>
                  <a:cubicBezTo>
                    <a:pt x="3202304" y="1117569"/>
                    <a:pt x="3199542" y="1114806"/>
                    <a:pt x="3199542" y="1111377"/>
                  </a:cubicBezTo>
                  <a:lnTo>
                    <a:pt x="3204971" y="1105948"/>
                  </a:lnTo>
                  <a:lnTo>
                    <a:pt x="3204591" y="1105567"/>
                  </a:lnTo>
                  <a:cubicBezTo>
                    <a:pt x="3204591" y="1102138"/>
                    <a:pt x="3207353" y="1099376"/>
                    <a:pt x="3210782" y="1099376"/>
                  </a:cubicBezTo>
                  <a:lnTo>
                    <a:pt x="3211019" y="1099614"/>
                  </a:lnTo>
                  <a:close/>
                  <a:moveTo>
                    <a:pt x="1246345" y="1092423"/>
                  </a:moveTo>
                  <a:cubicBezTo>
                    <a:pt x="1249774" y="1092423"/>
                    <a:pt x="1252537" y="1095185"/>
                    <a:pt x="1252537" y="1098614"/>
                  </a:cubicBezTo>
                  <a:cubicBezTo>
                    <a:pt x="1252537" y="1102043"/>
                    <a:pt x="1249774" y="1104806"/>
                    <a:pt x="1246345" y="1104806"/>
                  </a:cubicBezTo>
                  <a:cubicBezTo>
                    <a:pt x="1242916" y="1104806"/>
                    <a:pt x="1240154" y="1102043"/>
                    <a:pt x="1240154" y="1098614"/>
                  </a:cubicBezTo>
                  <a:cubicBezTo>
                    <a:pt x="1240154" y="1095185"/>
                    <a:pt x="1242916" y="1092423"/>
                    <a:pt x="1246345" y="1092423"/>
                  </a:cubicBezTo>
                  <a:close/>
                  <a:moveTo>
                    <a:pt x="3249263" y="1091375"/>
                  </a:moveTo>
                  <a:cubicBezTo>
                    <a:pt x="3251930" y="1091375"/>
                    <a:pt x="3254121" y="1093566"/>
                    <a:pt x="3254121" y="1096233"/>
                  </a:cubicBezTo>
                  <a:cubicBezTo>
                    <a:pt x="3254121" y="1098900"/>
                    <a:pt x="3251930" y="1101090"/>
                    <a:pt x="3249263" y="1101090"/>
                  </a:cubicBezTo>
                  <a:cubicBezTo>
                    <a:pt x="3246596" y="1101090"/>
                    <a:pt x="3244405" y="1098900"/>
                    <a:pt x="3244405" y="1096233"/>
                  </a:cubicBezTo>
                  <a:cubicBezTo>
                    <a:pt x="3244405" y="1093566"/>
                    <a:pt x="3246596" y="1091375"/>
                    <a:pt x="3249263" y="1091375"/>
                  </a:cubicBezTo>
                  <a:close/>
                  <a:moveTo>
                    <a:pt x="207930" y="1088993"/>
                  </a:moveTo>
                  <a:cubicBezTo>
                    <a:pt x="211359" y="1088993"/>
                    <a:pt x="214121" y="1091755"/>
                    <a:pt x="214121" y="1095184"/>
                  </a:cubicBezTo>
                  <a:cubicBezTo>
                    <a:pt x="214121" y="1098613"/>
                    <a:pt x="211359" y="1101376"/>
                    <a:pt x="207930" y="1101376"/>
                  </a:cubicBezTo>
                  <a:cubicBezTo>
                    <a:pt x="204501" y="1101376"/>
                    <a:pt x="201739" y="1098613"/>
                    <a:pt x="201739" y="1095184"/>
                  </a:cubicBezTo>
                  <a:cubicBezTo>
                    <a:pt x="201739" y="1091755"/>
                    <a:pt x="204501" y="1088993"/>
                    <a:pt x="207930" y="1088993"/>
                  </a:cubicBezTo>
                  <a:close/>
                  <a:moveTo>
                    <a:pt x="2654426" y="1088708"/>
                  </a:moveTo>
                  <a:cubicBezTo>
                    <a:pt x="2657855" y="1088708"/>
                    <a:pt x="2660617" y="1091470"/>
                    <a:pt x="2660617" y="1094899"/>
                  </a:cubicBezTo>
                  <a:cubicBezTo>
                    <a:pt x="2660617" y="1098328"/>
                    <a:pt x="2657855" y="1101090"/>
                    <a:pt x="2654426" y="1101090"/>
                  </a:cubicBezTo>
                  <a:cubicBezTo>
                    <a:pt x="2650997" y="1101090"/>
                    <a:pt x="2648235" y="1098328"/>
                    <a:pt x="2648235" y="1094899"/>
                  </a:cubicBezTo>
                  <a:cubicBezTo>
                    <a:pt x="2648235" y="1091470"/>
                    <a:pt x="2650997" y="1088708"/>
                    <a:pt x="2654426" y="1088708"/>
                  </a:cubicBezTo>
                  <a:close/>
                  <a:moveTo>
                    <a:pt x="282320" y="1088041"/>
                  </a:moveTo>
                  <a:cubicBezTo>
                    <a:pt x="285749" y="1088041"/>
                    <a:pt x="288512" y="1090803"/>
                    <a:pt x="288512" y="1094232"/>
                  </a:cubicBezTo>
                  <a:cubicBezTo>
                    <a:pt x="288512" y="1097661"/>
                    <a:pt x="285749" y="1100423"/>
                    <a:pt x="282320" y="1100423"/>
                  </a:cubicBezTo>
                  <a:cubicBezTo>
                    <a:pt x="278891" y="1100423"/>
                    <a:pt x="276129" y="1097661"/>
                    <a:pt x="276129" y="1094232"/>
                  </a:cubicBezTo>
                  <a:cubicBezTo>
                    <a:pt x="276129" y="1090803"/>
                    <a:pt x="278891" y="1088041"/>
                    <a:pt x="282320" y="1088041"/>
                  </a:cubicBezTo>
                  <a:close/>
                  <a:moveTo>
                    <a:pt x="3225736" y="1087470"/>
                  </a:moveTo>
                  <a:cubicBezTo>
                    <a:pt x="3229165" y="1087470"/>
                    <a:pt x="3231927" y="1090232"/>
                    <a:pt x="3231927" y="1093661"/>
                  </a:cubicBezTo>
                  <a:cubicBezTo>
                    <a:pt x="3231927" y="1097090"/>
                    <a:pt x="3229165" y="1099852"/>
                    <a:pt x="3225736" y="1099852"/>
                  </a:cubicBezTo>
                  <a:cubicBezTo>
                    <a:pt x="3222307" y="1099852"/>
                    <a:pt x="3219545" y="1097090"/>
                    <a:pt x="3219545" y="1093661"/>
                  </a:cubicBezTo>
                  <a:cubicBezTo>
                    <a:pt x="3219545" y="1090232"/>
                    <a:pt x="3222307" y="1087470"/>
                    <a:pt x="3225736" y="1087470"/>
                  </a:cubicBezTo>
                  <a:close/>
                  <a:moveTo>
                    <a:pt x="2029015" y="1086803"/>
                  </a:moveTo>
                  <a:cubicBezTo>
                    <a:pt x="2032444" y="1086803"/>
                    <a:pt x="2035207" y="1089565"/>
                    <a:pt x="2035207" y="1092994"/>
                  </a:cubicBezTo>
                  <a:cubicBezTo>
                    <a:pt x="2035207" y="1096423"/>
                    <a:pt x="2032444" y="1099186"/>
                    <a:pt x="2029015" y="1099186"/>
                  </a:cubicBezTo>
                  <a:cubicBezTo>
                    <a:pt x="2025586" y="1099186"/>
                    <a:pt x="2022824" y="1096423"/>
                    <a:pt x="2022824" y="1092994"/>
                  </a:cubicBezTo>
                  <a:cubicBezTo>
                    <a:pt x="2022824" y="1089565"/>
                    <a:pt x="2025586" y="1086803"/>
                    <a:pt x="2029015" y="1086803"/>
                  </a:cubicBezTo>
                  <a:close/>
                  <a:moveTo>
                    <a:pt x="148780" y="1086803"/>
                  </a:moveTo>
                  <a:cubicBezTo>
                    <a:pt x="152209" y="1086803"/>
                    <a:pt x="154972" y="1089565"/>
                    <a:pt x="154972" y="1092994"/>
                  </a:cubicBezTo>
                  <a:cubicBezTo>
                    <a:pt x="154972" y="1096423"/>
                    <a:pt x="152209" y="1099186"/>
                    <a:pt x="148780" y="1099186"/>
                  </a:cubicBezTo>
                  <a:cubicBezTo>
                    <a:pt x="145351" y="1099186"/>
                    <a:pt x="142589" y="1096423"/>
                    <a:pt x="142589" y="1092994"/>
                  </a:cubicBezTo>
                  <a:cubicBezTo>
                    <a:pt x="142589" y="1089565"/>
                    <a:pt x="145351" y="1086803"/>
                    <a:pt x="148780" y="1086803"/>
                  </a:cubicBezTo>
                  <a:close/>
                  <a:moveTo>
                    <a:pt x="3161728" y="1086708"/>
                  </a:moveTo>
                  <a:cubicBezTo>
                    <a:pt x="3165157" y="1086708"/>
                    <a:pt x="3167919" y="1089470"/>
                    <a:pt x="3167919" y="1092899"/>
                  </a:cubicBezTo>
                  <a:cubicBezTo>
                    <a:pt x="3167919" y="1096328"/>
                    <a:pt x="3165157" y="1099090"/>
                    <a:pt x="3161728" y="1099090"/>
                  </a:cubicBezTo>
                  <a:cubicBezTo>
                    <a:pt x="3158299" y="1099090"/>
                    <a:pt x="3155537" y="1096328"/>
                    <a:pt x="3155537" y="1092899"/>
                  </a:cubicBezTo>
                  <a:cubicBezTo>
                    <a:pt x="3155537" y="1089470"/>
                    <a:pt x="3158299" y="1086708"/>
                    <a:pt x="3161728" y="1086708"/>
                  </a:cubicBezTo>
                  <a:close/>
                  <a:moveTo>
                    <a:pt x="2910363" y="1086708"/>
                  </a:moveTo>
                  <a:cubicBezTo>
                    <a:pt x="2913792" y="1086708"/>
                    <a:pt x="2916555" y="1089470"/>
                    <a:pt x="2916555" y="1092899"/>
                  </a:cubicBezTo>
                  <a:cubicBezTo>
                    <a:pt x="2916555" y="1096328"/>
                    <a:pt x="2913792" y="1099090"/>
                    <a:pt x="2910363" y="1099090"/>
                  </a:cubicBezTo>
                  <a:cubicBezTo>
                    <a:pt x="2906934" y="1099090"/>
                    <a:pt x="2904172" y="1096328"/>
                    <a:pt x="2904172" y="1092899"/>
                  </a:cubicBezTo>
                  <a:cubicBezTo>
                    <a:pt x="2904172" y="1089470"/>
                    <a:pt x="2906934" y="1086708"/>
                    <a:pt x="2910363" y="1086708"/>
                  </a:cubicBezTo>
                  <a:close/>
                  <a:moveTo>
                    <a:pt x="119538" y="1086708"/>
                  </a:moveTo>
                  <a:lnTo>
                    <a:pt x="125063" y="1092232"/>
                  </a:lnTo>
                  <a:lnTo>
                    <a:pt x="125539" y="1091756"/>
                  </a:lnTo>
                  <a:lnTo>
                    <a:pt x="130826" y="1097042"/>
                  </a:lnTo>
                  <a:lnTo>
                    <a:pt x="130873" y="1096995"/>
                  </a:lnTo>
                  <a:cubicBezTo>
                    <a:pt x="134293" y="1096995"/>
                    <a:pt x="137065" y="1099767"/>
                    <a:pt x="137065" y="1103186"/>
                  </a:cubicBezTo>
                  <a:cubicBezTo>
                    <a:pt x="137065" y="1106606"/>
                    <a:pt x="134293" y="1109377"/>
                    <a:pt x="130873" y="1109377"/>
                  </a:cubicBezTo>
                  <a:lnTo>
                    <a:pt x="125587" y="1104091"/>
                  </a:lnTo>
                  <a:lnTo>
                    <a:pt x="125539" y="1104139"/>
                  </a:lnTo>
                  <a:lnTo>
                    <a:pt x="120014" y="1098614"/>
                  </a:lnTo>
                  <a:lnTo>
                    <a:pt x="119538" y="1099090"/>
                  </a:lnTo>
                  <a:cubicBezTo>
                    <a:pt x="116109" y="1099090"/>
                    <a:pt x="113347" y="1096328"/>
                    <a:pt x="113347" y="1092899"/>
                  </a:cubicBezTo>
                  <a:cubicBezTo>
                    <a:pt x="113347" y="1089470"/>
                    <a:pt x="116109" y="1086708"/>
                    <a:pt x="119538" y="1086708"/>
                  </a:cubicBezTo>
                  <a:close/>
                  <a:moveTo>
                    <a:pt x="111252" y="1083183"/>
                  </a:moveTo>
                  <a:cubicBezTo>
                    <a:pt x="113538" y="1083183"/>
                    <a:pt x="115347" y="1084993"/>
                    <a:pt x="115347" y="1087279"/>
                  </a:cubicBezTo>
                  <a:cubicBezTo>
                    <a:pt x="115347" y="1089565"/>
                    <a:pt x="113538" y="1091375"/>
                    <a:pt x="111252" y="1091375"/>
                  </a:cubicBezTo>
                  <a:cubicBezTo>
                    <a:pt x="108966" y="1091375"/>
                    <a:pt x="107156" y="1089565"/>
                    <a:pt x="107156" y="1087279"/>
                  </a:cubicBezTo>
                  <a:cubicBezTo>
                    <a:pt x="107156" y="1084993"/>
                    <a:pt x="108966" y="1083183"/>
                    <a:pt x="111252" y="1083183"/>
                  </a:cubicBezTo>
                  <a:close/>
                  <a:moveTo>
                    <a:pt x="1370456" y="1081088"/>
                  </a:moveTo>
                  <a:cubicBezTo>
                    <a:pt x="1373885" y="1081088"/>
                    <a:pt x="1376648" y="1083850"/>
                    <a:pt x="1376648" y="1087279"/>
                  </a:cubicBezTo>
                  <a:cubicBezTo>
                    <a:pt x="1376648" y="1090708"/>
                    <a:pt x="1373885" y="1093471"/>
                    <a:pt x="1370456" y="1093471"/>
                  </a:cubicBezTo>
                  <a:cubicBezTo>
                    <a:pt x="1367027" y="1093471"/>
                    <a:pt x="1364265" y="1090708"/>
                    <a:pt x="1364265" y="1087279"/>
                  </a:cubicBezTo>
                  <a:cubicBezTo>
                    <a:pt x="1364265" y="1083850"/>
                    <a:pt x="1367027" y="1081088"/>
                    <a:pt x="1370456" y="1081088"/>
                  </a:cubicBezTo>
                  <a:close/>
                  <a:moveTo>
                    <a:pt x="3208876" y="1080516"/>
                  </a:moveTo>
                  <a:cubicBezTo>
                    <a:pt x="3212305" y="1080516"/>
                    <a:pt x="3215068" y="1083278"/>
                    <a:pt x="3215068" y="1086707"/>
                  </a:cubicBezTo>
                  <a:cubicBezTo>
                    <a:pt x="3215068" y="1090136"/>
                    <a:pt x="3212305" y="1092899"/>
                    <a:pt x="3208876" y="1092899"/>
                  </a:cubicBezTo>
                  <a:lnTo>
                    <a:pt x="3208162" y="1092185"/>
                  </a:lnTo>
                  <a:lnTo>
                    <a:pt x="3202971" y="1097375"/>
                  </a:lnTo>
                  <a:lnTo>
                    <a:pt x="3202495" y="1096900"/>
                  </a:lnTo>
                  <a:lnTo>
                    <a:pt x="3197256" y="1102138"/>
                  </a:lnTo>
                  <a:cubicBezTo>
                    <a:pt x="3193827" y="1102138"/>
                    <a:pt x="3191065" y="1099376"/>
                    <a:pt x="3191065" y="1095947"/>
                  </a:cubicBezTo>
                  <a:cubicBezTo>
                    <a:pt x="3191065" y="1092518"/>
                    <a:pt x="3193827" y="1089756"/>
                    <a:pt x="3197256" y="1089756"/>
                  </a:cubicBezTo>
                  <a:lnTo>
                    <a:pt x="3197732" y="1090232"/>
                  </a:lnTo>
                  <a:lnTo>
                    <a:pt x="3202971" y="1084993"/>
                  </a:lnTo>
                  <a:lnTo>
                    <a:pt x="3203685" y="1085707"/>
                  </a:lnTo>
                  <a:close/>
                  <a:moveTo>
                    <a:pt x="3113912" y="1080231"/>
                  </a:moveTo>
                  <a:cubicBezTo>
                    <a:pt x="3117341" y="1080231"/>
                    <a:pt x="3120104" y="1082993"/>
                    <a:pt x="3120104" y="1086422"/>
                  </a:cubicBezTo>
                  <a:cubicBezTo>
                    <a:pt x="3120104" y="1089851"/>
                    <a:pt x="3117341" y="1092613"/>
                    <a:pt x="3113912" y="1092613"/>
                  </a:cubicBezTo>
                  <a:cubicBezTo>
                    <a:pt x="3110483" y="1092613"/>
                    <a:pt x="3107721" y="1089851"/>
                    <a:pt x="3107721" y="1086422"/>
                  </a:cubicBezTo>
                  <a:cubicBezTo>
                    <a:pt x="3107721" y="1082993"/>
                    <a:pt x="3110483" y="1080231"/>
                    <a:pt x="3113912" y="1080231"/>
                  </a:cubicBezTo>
                  <a:close/>
                  <a:moveTo>
                    <a:pt x="3238690" y="1080040"/>
                  </a:moveTo>
                  <a:cubicBezTo>
                    <a:pt x="3242119" y="1080040"/>
                    <a:pt x="3244882" y="1082802"/>
                    <a:pt x="3244882" y="1086231"/>
                  </a:cubicBezTo>
                  <a:cubicBezTo>
                    <a:pt x="3244882" y="1089660"/>
                    <a:pt x="3242119" y="1092423"/>
                    <a:pt x="3238690" y="1092423"/>
                  </a:cubicBezTo>
                  <a:cubicBezTo>
                    <a:pt x="3235261" y="1092423"/>
                    <a:pt x="3232499" y="1089660"/>
                    <a:pt x="3232499" y="1086231"/>
                  </a:cubicBezTo>
                  <a:cubicBezTo>
                    <a:pt x="3232499" y="1082802"/>
                    <a:pt x="3235261" y="1080040"/>
                    <a:pt x="3238690" y="1080040"/>
                  </a:cubicBezTo>
                  <a:close/>
                  <a:moveTo>
                    <a:pt x="3034569" y="1079087"/>
                  </a:moveTo>
                  <a:cubicBezTo>
                    <a:pt x="3037998" y="1079087"/>
                    <a:pt x="3040760" y="1081849"/>
                    <a:pt x="3040760" y="1085278"/>
                  </a:cubicBezTo>
                  <a:cubicBezTo>
                    <a:pt x="3040760" y="1088707"/>
                    <a:pt x="3037998" y="1091470"/>
                    <a:pt x="3034569" y="1091470"/>
                  </a:cubicBezTo>
                  <a:cubicBezTo>
                    <a:pt x="3031140" y="1091470"/>
                    <a:pt x="3028378" y="1088707"/>
                    <a:pt x="3028378" y="1085278"/>
                  </a:cubicBezTo>
                  <a:cubicBezTo>
                    <a:pt x="3028378" y="1081849"/>
                    <a:pt x="3031140" y="1079087"/>
                    <a:pt x="3034569" y="1079087"/>
                  </a:cubicBezTo>
                  <a:close/>
                  <a:moveTo>
                    <a:pt x="3178016" y="1078802"/>
                  </a:moveTo>
                  <a:cubicBezTo>
                    <a:pt x="3181445" y="1078802"/>
                    <a:pt x="3184207" y="1081564"/>
                    <a:pt x="3184207" y="1084993"/>
                  </a:cubicBezTo>
                  <a:cubicBezTo>
                    <a:pt x="3184207" y="1088422"/>
                    <a:pt x="3181445" y="1091185"/>
                    <a:pt x="3178016" y="1091185"/>
                  </a:cubicBezTo>
                  <a:cubicBezTo>
                    <a:pt x="3174587" y="1091185"/>
                    <a:pt x="3171825" y="1088422"/>
                    <a:pt x="3171825" y="1084993"/>
                  </a:cubicBezTo>
                  <a:cubicBezTo>
                    <a:pt x="3171825" y="1081564"/>
                    <a:pt x="3174587" y="1078802"/>
                    <a:pt x="3178016" y="1078802"/>
                  </a:cubicBezTo>
                  <a:close/>
                  <a:moveTo>
                    <a:pt x="718756" y="1078706"/>
                  </a:moveTo>
                  <a:cubicBezTo>
                    <a:pt x="722185" y="1078706"/>
                    <a:pt x="724948" y="1081468"/>
                    <a:pt x="724948" y="1084897"/>
                  </a:cubicBezTo>
                  <a:cubicBezTo>
                    <a:pt x="724948" y="1088326"/>
                    <a:pt x="722185" y="1091089"/>
                    <a:pt x="718756" y="1091089"/>
                  </a:cubicBezTo>
                  <a:cubicBezTo>
                    <a:pt x="715327" y="1091089"/>
                    <a:pt x="712565" y="1088326"/>
                    <a:pt x="712565" y="1084897"/>
                  </a:cubicBezTo>
                  <a:cubicBezTo>
                    <a:pt x="712565" y="1081468"/>
                    <a:pt x="715327" y="1078706"/>
                    <a:pt x="718756" y="1078706"/>
                  </a:cubicBezTo>
                  <a:close/>
                  <a:moveTo>
                    <a:pt x="178974" y="1076992"/>
                  </a:moveTo>
                  <a:cubicBezTo>
                    <a:pt x="182403" y="1076992"/>
                    <a:pt x="185166" y="1079754"/>
                    <a:pt x="185166" y="1083183"/>
                  </a:cubicBezTo>
                  <a:cubicBezTo>
                    <a:pt x="185166" y="1086612"/>
                    <a:pt x="182403" y="1089375"/>
                    <a:pt x="178974" y="1089375"/>
                  </a:cubicBezTo>
                  <a:cubicBezTo>
                    <a:pt x="175545" y="1089375"/>
                    <a:pt x="172783" y="1086612"/>
                    <a:pt x="172783" y="1083183"/>
                  </a:cubicBezTo>
                  <a:cubicBezTo>
                    <a:pt x="172783" y="1079754"/>
                    <a:pt x="175545" y="1076992"/>
                    <a:pt x="178974" y="1076992"/>
                  </a:cubicBezTo>
                  <a:close/>
                  <a:moveTo>
                    <a:pt x="1901856" y="1076897"/>
                  </a:moveTo>
                  <a:cubicBezTo>
                    <a:pt x="1905285" y="1076897"/>
                    <a:pt x="1908048" y="1079659"/>
                    <a:pt x="1908048" y="1083088"/>
                  </a:cubicBezTo>
                  <a:cubicBezTo>
                    <a:pt x="1908048" y="1086517"/>
                    <a:pt x="1905285" y="1089279"/>
                    <a:pt x="1901856" y="1089279"/>
                  </a:cubicBezTo>
                  <a:cubicBezTo>
                    <a:pt x="1898427" y="1089279"/>
                    <a:pt x="1895665" y="1086517"/>
                    <a:pt x="1895665" y="1083088"/>
                  </a:cubicBezTo>
                  <a:cubicBezTo>
                    <a:pt x="1895665" y="1079659"/>
                    <a:pt x="1898427" y="1076897"/>
                    <a:pt x="1901856" y="1076897"/>
                  </a:cubicBezTo>
                  <a:close/>
                  <a:moveTo>
                    <a:pt x="448627" y="1076230"/>
                  </a:moveTo>
                  <a:cubicBezTo>
                    <a:pt x="452056" y="1076230"/>
                    <a:pt x="454818" y="1078992"/>
                    <a:pt x="454818" y="1082421"/>
                  </a:cubicBezTo>
                  <a:cubicBezTo>
                    <a:pt x="454818" y="1085850"/>
                    <a:pt x="452056" y="1088612"/>
                    <a:pt x="448627" y="1088612"/>
                  </a:cubicBezTo>
                  <a:cubicBezTo>
                    <a:pt x="445198" y="1088612"/>
                    <a:pt x="442436" y="1085850"/>
                    <a:pt x="442436" y="1082421"/>
                  </a:cubicBezTo>
                  <a:cubicBezTo>
                    <a:pt x="442436" y="1078992"/>
                    <a:pt x="445198" y="1076230"/>
                    <a:pt x="448627" y="1076230"/>
                  </a:cubicBezTo>
                  <a:close/>
                  <a:moveTo>
                    <a:pt x="3216877" y="1075468"/>
                  </a:moveTo>
                  <a:cubicBezTo>
                    <a:pt x="3220306" y="1075468"/>
                    <a:pt x="3223069" y="1078230"/>
                    <a:pt x="3223069" y="1081659"/>
                  </a:cubicBezTo>
                  <a:cubicBezTo>
                    <a:pt x="3223069" y="1085088"/>
                    <a:pt x="3220306" y="1087850"/>
                    <a:pt x="3216877" y="1087850"/>
                  </a:cubicBezTo>
                  <a:cubicBezTo>
                    <a:pt x="3213448" y="1087850"/>
                    <a:pt x="3210686" y="1085088"/>
                    <a:pt x="3210686" y="1081659"/>
                  </a:cubicBezTo>
                  <a:cubicBezTo>
                    <a:pt x="3210686" y="1078230"/>
                    <a:pt x="3213448" y="1075468"/>
                    <a:pt x="3216877" y="1075468"/>
                  </a:cubicBezTo>
                  <a:close/>
                  <a:moveTo>
                    <a:pt x="1500663" y="1072992"/>
                  </a:moveTo>
                  <a:cubicBezTo>
                    <a:pt x="1504083" y="1072992"/>
                    <a:pt x="1506854" y="1075764"/>
                    <a:pt x="1506854" y="1079183"/>
                  </a:cubicBezTo>
                  <a:cubicBezTo>
                    <a:pt x="1506854" y="1082603"/>
                    <a:pt x="1504083" y="1085375"/>
                    <a:pt x="1500663" y="1085375"/>
                  </a:cubicBezTo>
                  <a:cubicBezTo>
                    <a:pt x="1497244" y="1085375"/>
                    <a:pt x="1494472" y="1082603"/>
                    <a:pt x="1494472" y="1079183"/>
                  </a:cubicBezTo>
                  <a:cubicBezTo>
                    <a:pt x="1494472" y="1075764"/>
                    <a:pt x="1497244" y="1072992"/>
                    <a:pt x="1500663" y="1072992"/>
                  </a:cubicBezTo>
                  <a:close/>
                  <a:moveTo>
                    <a:pt x="1769554" y="1070801"/>
                  </a:moveTo>
                  <a:cubicBezTo>
                    <a:pt x="1772983" y="1070801"/>
                    <a:pt x="1775745" y="1073563"/>
                    <a:pt x="1775745" y="1076992"/>
                  </a:cubicBezTo>
                  <a:cubicBezTo>
                    <a:pt x="1775745" y="1080421"/>
                    <a:pt x="1772983" y="1083183"/>
                    <a:pt x="1769554" y="1083183"/>
                  </a:cubicBezTo>
                  <a:cubicBezTo>
                    <a:pt x="1766125" y="1083183"/>
                    <a:pt x="1763363" y="1080421"/>
                    <a:pt x="1763363" y="1076992"/>
                  </a:cubicBezTo>
                  <a:cubicBezTo>
                    <a:pt x="1763363" y="1073563"/>
                    <a:pt x="1766125" y="1070801"/>
                    <a:pt x="1769554" y="1070801"/>
                  </a:cubicBezTo>
                  <a:close/>
                  <a:moveTo>
                    <a:pt x="2576226" y="1069944"/>
                  </a:moveTo>
                  <a:cubicBezTo>
                    <a:pt x="2579646" y="1069944"/>
                    <a:pt x="2582417" y="1072716"/>
                    <a:pt x="2582417" y="1076135"/>
                  </a:cubicBezTo>
                  <a:cubicBezTo>
                    <a:pt x="2582417" y="1079555"/>
                    <a:pt x="2579646" y="1082327"/>
                    <a:pt x="2576226" y="1082327"/>
                  </a:cubicBezTo>
                  <a:cubicBezTo>
                    <a:pt x="2572807" y="1082327"/>
                    <a:pt x="2570035" y="1079555"/>
                    <a:pt x="2570035" y="1076135"/>
                  </a:cubicBezTo>
                  <a:cubicBezTo>
                    <a:pt x="2570035" y="1072716"/>
                    <a:pt x="2572807" y="1069944"/>
                    <a:pt x="2576226" y="1069944"/>
                  </a:cubicBezTo>
                  <a:close/>
                  <a:moveTo>
                    <a:pt x="230981" y="1069943"/>
                  </a:moveTo>
                  <a:cubicBezTo>
                    <a:pt x="234410" y="1069943"/>
                    <a:pt x="237172" y="1072705"/>
                    <a:pt x="237172" y="1076134"/>
                  </a:cubicBezTo>
                  <a:cubicBezTo>
                    <a:pt x="237172" y="1079563"/>
                    <a:pt x="234410" y="1082326"/>
                    <a:pt x="230981" y="1082326"/>
                  </a:cubicBezTo>
                  <a:cubicBezTo>
                    <a:pt x="227552" y="1082326"/>
                    <a:pt x="224790" y="1079563"/>
                    <a:pt x="224790" y="1076134"/>
                  </a:cubicBezTo>
                  <a:cubicBezTo>
                    <a:pt x="224790" y="1072705"/>
                    <a:pt x="227552" y="1069943"/>
                    <a:pt x="230981" y="1069943"/>
                  </a:cubicBezTo>
                  <a:close/>
                  <a:moveTo>
                    <a:pt x="1634680" y="1069467"/>
                  </a:moveTo>
                  <a:cubicBezTo>
                    <a:pt x="1638109" y="1069467"/>
                    <a:pt x="1640872" y="1072229"/>
                    <a:pt x="1640872" y="1075658"/>
                  </a:cubicBezTo>
                  <a:cubicBezTo>
                    <a:pt x="1640872" y="1079087"/>
                    <a:pt x="1638109" y="1081850"/>
                    <a:pt x="1634680" y="1081850"/>
                  </a:cubicBezTo>
                  <a:cubicBezTo>
                    <a:pt x="1631251" y="1081850"/>
                    <a:pt x="1628489" y="1079087"/>
                    <a:pt x="1628489" y="1075658"/>
                  </a:cubicBezTo>
                  <a:cubicBezTo>
                    <a:pt x="1628489" y="1072229"/>
                    <a:pt x="1631251" y="1069467"/>
                    <a:pt x="1634680" y="1069467"/>
                  </a:cubicBezTo>
                  <a:close/>
                  <a:moveTo>
                    <a:pt x="160781" y="1069467"/>
                  </a:moveTo>
                  <a:cubicBezTo>
                    <a:pt x="164210" y="1069467"/>
                    <a:pt x="166973" y="1072229"/>
                    <a:pt x="166973" y="1075658"/>
                  </a:cubicBezTo>
                  <a:cubicBezTo>
                    <a:pt x="166973" y="1079087"/>
                    <a:pt x="164210" y="1081850"/>
                    <a:pt x="160781" y="1081850"/>
                  </a:cubicBezTo>
                  <a:cubicBezTo>
                    <a:pt x="157352" y="1081850"/>
                    <a:pt x="154590" y="1079087"/>
                    <a:pt x="154590" y="1075658"/>
                  </a:cubicBezTo>
                  <a:cubicBezTo>
                    <a:pt x="154590" y="1072229"/>
                    <a:pt x="157352" y="1069467"/>
                    <a:pt x="160781" y="1069467"/>
                  </a:cubicBezTo>
                  <a:close/>
                  <a:moveTo>
                    <a:pt x="3228593" y="1069277"/>
                  </a:moveTo>
                  <a:cubicBezTo>
                    <a:pt x="3232022" y="1069277"/>
                    <a:pt x="3234784" y="1072039"/>
                    <a:pt x="3234784" y="1075468"/>
                  </a:cubicBezTo>
                  <a:cubicBezTo>
                    <a:pt x="3234784" y="1078897"/>
                    <a:pt x="3232022" y="1081660"/>
                    <a:pt x="3228593" y="1081660"/>
                  </a:cubicBezTo>
                  <a:cubicBezTo>
                    <a:pt x="3225164" y="1081660"/>
                    <a:pt x="3222402" y="1078897"/>
                    <a:pt x="3222402" y="1075468"/>
                  </a:cubicBezTo>
                  <a:cubicBezTo>
                    <a:pt x="3222402" y="1072039"/>
                    <a:pt x="3225164" y="1069277"/>
                    <a:pt x="3228593" y="1069277"/>
                  </a:cubicBezTo>
                  <a:close/>
                  <a:moveTo>
                    <a:pt x="120014" y="1068800"/>
                  </a:moveTo>
                  <a:lnTo>
                    <a:pt x="126063" y="1074849"/>
                  </a:lnTo>
                  <a:lnTo>
                    <a:pt x="127730" y="1073182"/>
                  </a:lnTo>
                  <a:lnTo>
                    <a:pt x="132588" y="1078039"/>
                  </a:lnTo>
                  <a:lnTo>
                    <a:pt x="133635" y="1076992"/>
                  </a:lnTo>
                  <a:lnTo>
                    <a:pt x="138826" y="1082183"/>
                  </a:lnTo>
                  <a:lnTo>
                    <a:pt x="139826" y="1081183"/>
                  </a:lnTo>
                  <a:cubicBezTo>
                    <a:pt x="143255" y="1081183"/>
                    <a:pt x="146018" y="1083945"/>
                    <a:pt x="146018" y="1087374"/>
                  </a:cubicBezTo>
                  <a:cubicBezTo>
                    <a:pt x="146018" y="1090803"/>
                    <a:pt x="143255" y="1093566"/>
                    <a:pt x="139826" y="1093566"/>
                  </a:cubicBezTo>
                  <a:lnTo>
                    <a:pt x="134635" y="1088375"/>
                  </a:lnTo>
                  <a:lnTo>
                    <a:pt x="133635" y="1089375"/>
                  </a:lnTo>
                  <a:lnTo>
                    <a:pt x="128777" y="1084517"/>
                  </a:lnTo>
                  <a:lnTo>
                    <a:pt x="127730" y="1085564"/>
                  </a:lnTo>
                  <a:lnTo>
                    <a:pt x="121681" y="1079516"/>
                  </a:lnTo>
                  <a:lnTo>
                    <a:pt x="120014" y="1081183"/>
                  </a:lnTo>
                  <a:cubicBezTo>
                    <a:pt x="116585" y="1081183"/>
                    <a:pt x="113823" y="1078420"/>
                    <a:pt x="113823" y="1074991"/>
                  </a:cubicBezTo>
                  <a:cubicBezTo>
                    <a:pt x="113823" y="1071562"/>
                    <a:pt x="116585" y="1068800"/>
                    <a:pt x="120014" y="1068800"/>
                  </a:cubicBezTo>
                  <a:close/>
                  <a:moveTo>
                    <a:pt x="316420" y="1068515"/>
                  </a:moveTo>
                  <a:cubicBezTo>
                    <a:pt x="319849" y="1068515"/>
                    <a:pt x="322611" y="1071277"/>
                    <a:pt x="322611" y="1074706"/>
                  </a:cubicBezTo>
                  <a:cubicBezTo>
                    <a:pt x="322611" y="1078135"/>
                    <a:pt x="319849" y="1080898"/>
                    <a:pt x="316420" y="1080898"/>
                  </a:cubicBezTo>
                  <a:cubicBezTo>
                    <a:pt x="312991" y="1080898"/>
                    <a:pt x="310229" y="1078135"/>
                    <a:pt x="310229" y="1074706"/>
                  </a:cubicBezTo>
                  <a:cubicBezTo>
                    <a:pt x="310229" y="1071277"/>
                    <a:pt x="312991" y="1068515"/>
                    <a:pt x="316420" y="1068515"/>
                  </a:cubicBezTo>
                  <a:close/>
                  <a:moveTo>
                    <a:pt x="3145345" y="1068420"/>
                  </a:moveTo>
                  <a:cubicBezTo>
                    <a:pt x="3148774" y="1068420"/>
                    <a:pt x="3151536" y="1071182"/>
                    <a:pt x="3151536" y="1074611"/>
                  </a:cubicBezTo>
                  <a:cubicBezTo>
                    <a:pt x="3151536" y="1078040"/>
                    <a:pt x="3148774" y="1080802"/>
                    <a:pt x="3145345" y="1080802"/>
                  </a:cubicBezTo>
                  <a:cubicBezTo>
                    <a:pt x="3141916" y="1080802"/>
                    <a:pt x="3139154" y="1078040"/>
                    <a:pt x="3139154" y="1074611"/>
                  </a:cubicBezTo>
                  <a:cubicBezTo>
                    <a:pt x="3139154" y="1071182"/>
                    <a:pt x="3141916" y="1068420"/>
                    <a:pt x="3145345" y="1068420"/>
                  </a:cubicBezTo>
                  <a:close/>
                  <a:moveTo>
                    <a:pt x="2859023" y="1067086"/>
                  </a:moveTo>
                  <a:cubicBezTo>
                    <a:pt x="2862452" y="1067086"/>
                    <a:pt x="2865214" y="1069848"/>
                    <a:pt x="2865214" y="1073277"/>
                  </a:cubicBezTo>
                  <a:cubicBezTo>
                    <a:pt x="2865214" y="1076706"/>
                    <a:pt x="2862452" y="1079469"/>
                    <a:pt x="2859023" y="1079469"/>
                  </a:cubicBezTo>
                  <a:cubicBezTo>
                    <a:pt x="2855594" y="1079469"/>
                    <a:pt x="2852832" y="1076706"/>
                    <a:pt x="2852832" y="1073277"/>
                  </a:cubicBezTo>
                  <a:cubicBezTo>
                    <a:pt x="2852832" y="1069848"/>
                    <a:pt x="2855594" y="1067086"/>
                    <a:pt x="2859023" y="1067086"/>
                  </a:cubicBezTo>
                  <a:close/>
                  <a:moveTo>
                    <a:pt x="3208115" y="1062800"/>
                  </a:moveTo>
                  <a:cubicBezTo>
                    <a:pt x="3211544" y="1062800"/>
                    <a:pt x="3214306" y="1065562"/>
                    <a:pt x="3214306" y="1068991"/>
                  </a:cubicBezTo>
                  <a:cubicBezTo>
                    <a:pt x="3214306" y="1072420"/>
                    <a:pt x="3211544" y="1075183"/>
                    <a:pt x="3208115" y="1075183"/>
                  </a:cubicBezTo>
                  <a:lnTo>
                    <a:pt x="3206305" y="1073373"/>
                  </a:lnTo>
                  <a:lnTo>
                    <a:pt x="3200685" y="1078992"/>
                  </a:lnTo>
                  <a:lnTo>
                    <a:pt x="3199351" y="1077658"/>
                  </a:lnTo>
                  <a:lnTo>
                    <a:pt x="3194684" y="1082326"/>
                  </a:lnTo>
                  <a:lnTo>
                    <a:pt x="3193160" y="1080802"/>
                  </a:lnTo>
                  <a:lnTo>
                    <a:pt x="3187922" y="1086041"/>
                  </a:lnTo>
                  <a:cubicBezTo>
                    <a:pt x="3184493" y="1086041"/>
                    <a:pt x="3181731" y="1083278"/>
                    <a:pt x="3181731" y="1079849"/>
                  </a:cubicBezTo>
                  <a:cubicBezTo>
                    <a:pt x="3181731" y="1076420"/>
                    <a:pt x="3184493" y="1073658"/>
                    <a:pt x="3187922" y="1073658"/>
                  </a:cubicBezTo>
                  <a:lnTo>
                    <a:pt x="3189446" y="1075182"/>
                  </a:lnTo>
                  <a:lnTo>
                    <a:pt x="3194684" y="1069943"/>
                  </a:lnTo>
                  <a:lnTo>
                    <a:pt x="3196018" y="1071277"/>
                  </a:lnTo>
                  <a:lnTo>
                    <a:pt x="3200685" y="1066610"/>
                  </a:lnTo>
                  <a:lnTo>
                    <a:pt x="3202495" y="1068420"/>
                  </a:lnTo>
                  <a:close/>
                  <a:moveTo>
                    <a:pt x="3165347" y="1061085"/>
                  </a:moveTo>
                  <a:cubicBezTo>
                    <a:pt x="3168776" y="1061085"/>
                    <a:pt x="3171538" y="1063847"/>
                    <a:pt x="3171538" y="1067276"/>
                  </a:cubicBezTo>
                  <a:cubicBezTo>
                    <a:pt x="3171538" y="1070705"/>
                    <a:pt x="3168776" y="1073468"/>
                    <a:pt x="3165347" y="1073468"/>
                  </a:cubicBezTo>
                  <a:cubicBezTo>
                    <a:pt x="3161918" y="1073468"/>
                    <a:pt x="3159156" y="1070705"/>
                    <a:pt x="3159156" y="1067276"/>
                  </a:cubicBezTo>
                  <a:cubicBezTo>
                    <a:pt x="3159156" y="1063847"/>
                    <a:pt x="3161918" y="1061085"/>
                    <a:pt x="3165347" y="1061085"/>
                  </a:cubicBezTo>
                  <a:close/>
                  <a:moveTo>
                    <a:pt x="3089433" y="1060895"/>
                  </a:moveTo>
                  <a:cubicBezTo>
                    <a:pt x="3092862" y="1060895"/>
                    <a:pt x="3095624" y="1063657"/>
                    <a:pt x="3095624" y="1067086"/>
                  </a:cubicBezTo>
                  <a:cubicBezTo>
                    <a:pt x="3095624" y="1070515"/>
                    <a:pt x="3092862" y="1073277"/>
                    <a:pt x="3089433" y="1073277"/>
                  </a:cubicBezTo>
                  <a:cubicBezTo>
                    <a:pt x="3086004" y="1073277"/>
                    <a:pt x="3083242" y="1070515"/>
                    <a:pt x="3083242" y="1067086"/>
                  </a:cubicBezTo>
                  <a:cubicBezTo>
                    <a:pt x="3083242" y="1063657"/>
                    <a:pt x="3086004" y="1060895"/>
                    <a:pt x="3089433" y="1060895"/>
                  </a:cubicBezTo>
                  <a:close/>
                  <a:moveTo>
                    <a:pt x="800576" y="1060037"/>
                  </a:moveTo>
                  <a:cubicBezTo>
                    <a:pt x="804005" y="1060037"/>
                    <a:pt x="806767" y="1062799"/>
                    <a:pt x="806767" y="1066228"/>
                  </a:cubicBezTo>
                  <a:cubicBezTo>
                    <a:pt x="806767" y="1069657"/>
                    <a:pt x="804005" y="1072420"/>
                    <a:pt x="800576" y="1072420"/>
                  </a:cubicBezTo>
                  <a:cubicBezTo>
                    <a:pt x="797147" y="1072420"/>
                    <a:pt x="794385" y="1069657"/>
                    <a:pt x="794385" y="1066228"/>
                  </a:cubicBezTo>
                  <a:cubicBezTo>
                    <a:pt x="794385" y="1062799"/>
                    <a:pt x="797147" y="1060037"/>
                    <a:pt x="800576" y="1060037"/>
                  </a:cubicBezTo>
                  <a:close/>
                  <a:moveTo>
                    <a:pt x="2998565" y="1059275"/>
                  </a:moveTo>
                  <a:cubicBezTo>
                    <a:pt x="3001994" y="1059275"/>
                    <a:pt x="3004756" y="1062037"/>
                    <a:pt x="3004756" y="1065466"/>
                  </a:cubicBezTo>
                  <a:cubicBezTo>
                    <a:pt x="3004756" y="1068895"/>
                    <a:pt x="3001994" y="1071658"/>
                    <a:pt x="2998565" y="1071658"/>
                  </a:cubicBezTo>
                  <a:cubicBezTo>
                    <a:pt x="2995136" y="1071658"/>
                    <a:pt x="2992374" y="1068895"/>
                    <a:pt x="2992374" y="1065466"/>
                  </a:cubicBezTo>
                  <a:cubicBezTo>
                    <a:pt x="2992374" y="1062037"/>
                    <a:pt x="2995136" y="1059275"/>
                    <a:pt x="2998565" y="1059275"/>
                  </a:cubicBezTo>
                  <a:close/>
                  <a:moveTo>
                    <a:pt x="196500" y="1058323"/>
                  </a:moveTo>
                  <a:cubicBezTo>
                    <a:pt x="199929" y="1058323"/>
                    <a:pt x="202692" y="1061085"/>
                    <a:pt x="202692" y="1064514"/>
                  </a:cubicBezTo>
                  <a:cubicBezTo>
                    <a:pt x="202692" y="1067943"/>
                    <a:pt x="199929" y="1070706"/>
                    <a:pt x="196500" y="1070706"/>
                  </a:cubicBezTo>
                  <a:cubicBezTo>
                    <a:pt x="193071" y="1070706"/>
                    <a:pt x="190309" y="1067943"/>
                    <a:pt x="190309" y="1064514"/>
                  </a:cubicBezTo>
                  <a:cubicBezTo>
                    <a:pt x="190309" y="1061085"/>
                    <a:pt x="193071" y="1058323"/>
                    <a:pt x="196500" y="1058323"/>
                  </a:cubicBezTo>
                  <a:close/>
                  <a:moveTo>
                    <a:pt x="3218687" y="1057942"/>
                  </a:moveTo>
                  <a:cubicBezTo>
                    <a:pt x="3222116" y="1057942"/>
                    <a:pt x="3224879" y="1060704"/>
                    <a:pt x="3224879" y="1064133"/>
                  </a:cubicBezTo>
                  <a:cubicBezTo>
                    <a:pt x="3224879" y="1067562"/>
                    <a:pt x="3222116" y="1070325"/>
                    <a:pt x="3218687" y="1070325"/>
                  </a:cubicBezTo>
                  <a:cubicBezTo>
                    <a:pt x="3215258" y="1070325"/>
                    <a:pt x="3212496" y="1067562"/>
                    <a:pt x="3212496" y="1064133"/>
                  </a:cubicBezTo>
                  <a:cubicBezTo>
                    <a:pt x="3212496" y="1060704"/>
                    <a:pt x="3215258" y="1057942"/>
                    <a:pt x="3218687" y="1057942"/>
                  </a:cubicBezTo>
                  <a:close/>
                  <a:moveTo>
                    <a:pt x="118586" y="1057656"/>
                  </a:moveTo>
                  <a:lnTo>
                    <a:pt x="118681" y="1057656"/>
                  </a:lnTo>
                  <a:lnTo>
                    <a:pt x="118681" y="1057751"/>
                  </a:lnTo>
                  <a:close/>
                  <a:moveTo>
                    <a:pt x="502919" y="1056418"/>
                  </a:moveTo>
                  <a:cubicBezTo>
                    <a:pt x="506348" y="1056418"/>
                    <a:pt x="509110" y="1059180"/>
                    <a:pt x="509110" y="1062609"/>
                  </a:cubicBezTo>
                  <a:cubicBezTo>
                    <a:pt x="509110" y="1066038"/>
                    <a:pt x="506348" y="1068800"/>
                    <a:pt x="502919" y="1068800"/>
                  </a:cubicBezTo>
                  <a:cubicBezTo>
                    <a:pt x="499490" y="1068800"/>
                    <a:pt x="496728" y="1066038"/>
                    <a:pt x="496728" y="1062609"/>
                  </a:cubicBezTo>
                  <a:cubicBezTo>
                    <a:pt x="496728" y="1059180"/>
                    <a:pt x="499490" y="1056418"/>
                    <a:pt x="502919" y="1056418"/>
                  </a:cubicBezTo>
                  <a:close/>
                  <a:moveTo>
                    <a:pt x="128777" y="1055751"/>
                  </a:moveTo>
                  <a:lnTo>
                    <a:pt x="133921" y="1060894"/>
                  </a:lnTo>
                  <a:lnTo>
                    <a:pt x="136016" y="1058799"/>
                  </a:lnTo>
                  <a:lnTo>
                    <a:pt x="140445" y="1063228"/>
                  </a:lnTo>
                  <a:lnTo>
                    <a:pt x="142207" y="1061466"/>
                  </a:lnTo>
                  <a:lnTo>
                    <a:pt x="147494" y="1066753"/>
                  </a:lnTo>
                  <a:lnTo>
                    <a:pt x="149542" y="1064705"/>
                  </a:lnTo>
                  <a:cubicBezTo>
                    <a:pt x="152971" y="1064705"/>
                    <a:pt x="155734" y="1067467"/>
                    <a:pt x="155734" y="1070896"/>
                  </a:cubicBezTo>
                  <a:cubicBezTo>
                    <a:pt x="155734" y="1074325"/>
                    <a:pt x="152971" y="1077088"/>
                    <a:pt x="149542" y="1077088"/>
                  </a:cubicBezTo>
                  <a:lnTo>
                    <a:pt x="144255" y="1071801"/>
                  </a:lnTo>
                  <a:lnTo>
                    <a:pt x="142207" y="1073849"/>
                  </a:lnTo>
                  <a:lnTo>
                    <a:pt x="137778" y="1069420"/>
                  </a:lnTo>
                  <a:lnTo>
                    <a:pt x="136016" y="1071181"/>
                  </a:lnTo>
                  <a:lnTo>
                    <a:pt x="130872" y="1066038"/>
                  </a:lnTo>
                  <a:lnTo>
                    <a:pt x="128777" y="1068133"/>
                  </a:lnTo>
                  <a:cubicBezTo>
                    <a:pt x="125348" y="1068133"/>
                    <a:pt x="122586" y="1065371"/>
                    <a:pt x="122586" y="1061942"/>
                  </a:cubicBezTo>
                  <a:cubicBezTo>
                    <a:pt x="122586" y="1058513"/>
                    <a:pt x="125348" y="1055751"/>
                    <a:pt x="128777" y="1055751"/>
                  </a:cubicBezTo>
                  <a:close/>
                  <a:moveTo>
                    <a:pt x="3233737" y="1052227"/>
                  </a:moveTo>
                  <a:cubicBezTo>
                    <a:pt x="3236690" y="1052227"/>
                    <a:pt x="3239071" y="1054608"/>
                    <a:pt x="3239071" y="1057561"/>
                  </a:cubicBezTo>
                  <a:cubicBezTo>
                    <a:pt x="3239071" y="1060514"/>
                    <a:pt x="3236690" y="1062895"/>
                    <a:pt x="3233737" y="1062895"/>
                  </a:cubicBezTo>
                  <a:cubicBezTo>
                    <a:pt x="3230784" y="1062895"/>
                    <a:pt x="3228403" y="1060514"/>
                    <a:pt x="3228403" y="1057561"/>
                  </a:cubicBezTo>
                  <a:cubicBezTo>
                    <a:pt x="3228403" y="1054608"/>
                    <a:pt x="3230784" y="1052227"/>
                    <a:pt x="3233737" y="1052227"/>
                  </a:cubicBezTo>
                  <a:close/>
                  <a:moveTo>
                    <a:pt x="2491073" y="1051370"/>
                  </a:moveTo>
                  <a:cubicBezTo>
                    <a:pt x="2494502" y="1051370"/>
                    <a:pt x="2497264" y="1054132"/>
                    <a:pt x="2497264" y="1057561"/>
                  </a:cubicBezTo>
                  <a:cubicBezTo>
                    <a:pt x="2497264" y="1060990"/>
                    <a:pt x="2494502" y="1063752"/>
                    <a:pt x="2491073" y="1063752"/>
                  </a:cubicBezTo>
                  <a:cubicBezTo>
                    <a:pt x="2487644" y="1063752"/>
                    <a:pt x="2484882" y="1060990"/>
                    <a:pt x="2484882" y="1057561"/>
                  </a:cubicBezTo>
                  <a:cubicBezTo>
                    <a:pt x="2484882" y="1054132"/>
                    <a:pt x="2487644" y="1051370"/>
                    <a:pt x="2491073" y="1051370"/>
                  </a:cubicBezTo>
                  <a:close/>
                  <a:moveTo>
                    <a:pt x="174307" y="1051275"/>
                  </a:moveTo>
                  <a:cubicBezTo>
                    <a:pt x="177736" y="1051275"/>
                    <a:pt x="180499" y="1054037"/>
                    <a:pt x="180499" y="1057466"/>
                  </a:cubicBezTo>
                  <a:cubicBezTo>
                    <a:pt x="180499" y="1060895"/>
                    <a:pt x="177736" y="1063658"/>
                    <a:pt x="174307" y="1063658"/>
                  </a:cubicBezTo>
                  <a:cubicBezTo>
                    <a:pt x="170878" y="1063658"/>
                    <a:pt x="168116" y="1060895"/>
                    <a:pt x="168116" y="1057466"/>
                  </a:cubicBezTo>
                  <a:cubicBezTo>
                    <a:pt x="168116" y="1054037"/>
                    <a:pt x="170878" y="1051275"/>
                    <a:pt x="174307" y="1051275"/>
                  </a:cubicBezTo>
                  <a:close/>
                  <a:moveTo>
                    <a:pt x="257079" y="1050322"/>
                  </a:moveTo>
                  <a:cubicBezTo>
                    <a:pt x="260508" y="1050322"/>
                    <a:pt x="263270" y="1053084"/>
                    <a:pt x="263270" y="1056513"/>
                  </a:cubicBezTo>
                  <a:cubicBezTo>
                    <a:pt x="263270" y="1059942"/>
                    <a:pt x="260508" y="1062704"/>
                    <a:pt x="257079" y="1062704"/>
                  </a:cubicBezTo>
                  <a:cubicBezTo>
                    <a:pt x="253650" y="1062704"/>
                    <a:pt x="250888" y="1059942"/>
                    <a:pt x="250888" y="1056513"/>
                  </a:cubicBezTo>
                  <a:cubicBezTo>
                    <a:pt x="250888" y="1053084"/>
                    <a:pt x="253650" y="1050322"/>
                    <a:pt x="257079" y="1050322"/>
                  </a:cubicBezTo>
                  <a:close/>
                  <a:moveTo>
                    <a:pt x="3199351" y="1049465"/>
                  </a:moveTo>
                  <a:cubicBezTo>
                    <a:pt x="3202780" y="1049465"/>
                    <a:pt x="3205543" y="1052227"/>
                    <a:pt x="3205543" y="1055656"/>
                  </a:cubicBezTo>
                  <a:cubicBezTo>
                    <a:pt x="3205543" y="1059085"/>
                    <a:pt x="3202780" y="1061848"/>
                    <a:pt x="3199351" y="1061848"/>
                  </a:cubicBezTo>
                  <a:lnTo>
                    <a:pt x="3197018" y="1059515"/>
                  </a:lnTo>
                  <a:lnTo>
                    <a:pt x="3192208" y="1064324"/>
                  </a:lnTo>
                  <a:lnTo>
                    <a:pt x="3190017" y="1062133"/>
                  </a:lnTo>
                  <a:lnTo>
                    <a:pt x="3185731" y="1066419"/>
                  </a:lnTo>
                  <a:lnTo>
                    <a:pt x="3183064" y="1063752"/>
                  </a:lnTo>
                  <a:lnTo>
                    <a:pt x="3177730" y="1069087"/>
                  </a:lnTo>
                  <a:cubicBezTo>
                    <a:pt x="3174301" y="1069087"/>
                    <a:pt x="3171539" y="1066324"/>
                    <a:pt x="3171539" y="1062895"/>
                  </a:cubicBezTo>
                  <a:cubicBezTo>
                    <a:pt x="3171539" y="1059466"/>
                    <a:pt x="3174301" y="1056704"/>
                    <a:pt x="3177730" y="1056704"/>
                  </a:cubicBezTo>
                  <a:lnTo>
                    <a:pt x="3180397" y="1059371"/>
                  </a:lnTo>
                  <a:lnTo>
                    <a:pt x="3185731" y="1054037"/>
                  </a:lnTo>
                  <a:lnTo>
                    <a:pt x="3187921" y="1056228"/>
                  </a:lnTo>
                  <a:lnTo>
                    <a:pt x="3192208" y="1051941"/>
                  </a:lnTo>
                  <a:lnTo>
                    <a:pt x="3194542" y="1054275"/>
                  </a:lnTo>
                  <a:close/>
                  <a:moveTo>
                    <a:pt x="3126676" y="1049370"/>
                  </a:moveTo>
                  <a:cubicBezTo>
                    <a:pt x="3130105" y="1049370"/>
                    <a:pt x="3132868" y="1052132"/>
                    <a:pt x="3132868" y="1055561"/>
                  </a:cubicBezTo>
                  <a:cubicBezTo>
                    <a:pt x="3132868" y="1058990"/>
                    <a:pt x="3130105" y="1061752"/>
                    <a:pt x="3126676" y="1061752"/>
                  </a:cubicBezTo>
                  <a:cubicBezTo>
                    <a:pt x="3123247" y="1061752"/>
                    <a:pt x="3120485" y="1058990"/>
                    <a:pt x="3120485" y="1055561"/>
                  </a:cubicBezTo>
                  <a:cubicBezTo>
                    <a:pt x="3120485" y="1052132"/>
                    <a:pt x="3123247" y="1049370"/>
                    <a:pt x="3126676" y="1049370"/>
                  </a:cubicBezTo>
                  <a:close/>
                  <a:moveTo>
                    <a:pt x="354520" y="1048417"/>
                  </a:moveTo>
                  <a:cubicBezTo>
                    <a:pt x="357949" y="1048417"/>
                    <a:pt x="360711" y="1051179"/>
                    <a:pt x="360711" y="1054608"/>
                  </a:cubicBezTo>
                  <a:cubicBezTo>
                    <a:pt x="360711" y="1058037"/>
                    <a:pt x="357949" y="1060800"/>
                    <a:pt x="354520" y="1060800"/>
                  </a:cubicBezTo>
                  <a:cubicBezTo>
                    <a:pt x="351091" y="1060800"/>
                    <a:pt x="348329" y="1058037"/>
                    <a:pt x="348329" y="1054608"/>
                  </a:cubicBezTo>
                  <a:cubicBezTo>
                    <a:pt x="348329" y="1051179"/>
                    <a:pt x="351091" y="1048417"/>
                    <a:pt x="354520" y="1048417"/>
                  </a:cubicBezTo>
                  <a:close/>
                  <a:moveTo>
                    <a:pt x="2802254" y="1046988"/>
                  </a:moveTo>
                  <a:cubicBezTo>
                    <a:pt x="2805683" y="1046988"/>
                    <a:pt x="2808446" y="1049750"/>
                    <a:pt x="2808446" y="1053179"/>
                  </a:cubicBezTo>
                  <a:cubicBezTo>
                    <a:pt x="2808446" y="1056608"/>
                    <a:pt x="2805683" y="1059370"/>
                    <a:pt x="2802254" y="1059370"/>
                  </a:cubicBezTo>
                  <a:cubicBezTo>
                    <a:pt x="2798825" y="1059370"/>
                    <a:pt x="2796063" y="1056608"/>
                    <a:pt x="2796063" y="1053179"/>
                  </a:cubicBezTo>
                  <a:cubicBezTo>
                    <a:pt x="2796063" y="1049750"/>
                    <a:pt x="2798825" y="1046988"/>
                    <a:pt x="2802254" y="1046988"/>
                  </a:cubicBezTo>
                  <a:close/>
                  <a:moveTo>
                    <a:pt x="3209067" y="1045845"/>
                  </a:moveTo>
                  <a:cubicBezTo>
                    <a:pt x="3212496" y="1045845"/>
                    <a:pt x="3215258" y="1048607"/>
                    <a:pt x="3215258" y="1052036"/>
                  </a:cubicBezTo>
                  <a:cubicBezTo>
                    <a:pt x="3215258" y="1055465"/>
                    <a:pt x="3212496" y="1058227"/>
                    <a:pt x="3209067" y="1058227"/>
                  </a:cubicBezTo>
                  <a:cubicBezTo>
                    <a:pt x="3205638" y="1058227"/>
                    <a:pt x="3202876" y="1055465"/>
                    <a:pt x="3202876" y="1052036"/>
                  </a:cubicBezTo>
                  <a:cubicBezTo>
                    <a:pt x="3202876" y="1048607"/>
                    <a:pt x="3205638" y="1045845"/>
                    <a:pt x="3209067" y="1045845"/>
                  </a:cubicBezTo>
                  <a:close/>
                  <a:moveTo>
                    <a:pt x="3150965" y="1042607"/>
                  </a:moveTo>
                  <a:cubicBezTo>
                    <a:pt x="3154394" y="1042607"/>
                    <a:pt x="3157156" y="1045369"/>
                    <a:pt x="3157156" y="1048798"/>
                  </a:cubicBezTo>
                  <a:cubicBezTo>
                    <a:pt x="3157156" y="1052227"/>
                    <a:pt x="3154394" y="1054990"/>
                    <a:pt x="3150965" y="1054990"/>
                  </a:cubicBezTo>
                  <a:cubicBezTo>
                    <a:pt x="3147536" y="1054990"/>
                    <a:pt x="3144774" y="1052227"/>
                    <a:pt x="3144774" y="1048798"/>
                  </a:cubicBezTo>
                  <a:cubicBezTo>
                    <a:pt x="3144774" y="1045369"/>
                    <a:pt x="3147536" y="1042607"/>
                    <a:pt x="3150965" y="1042607"/>
                  </a:cubicBezTo>
                  <a:close/>
                  <a:moveTo>
                    <a:pt x="137540" y="1041940"/>
                  </a:moveTo>
                  <a:lnTo>
                    <a:pt x="141970" y="1046369"/>
                  </a:lnTo>
                  <a:lnTo>
                    <a:pt x="144589" y="1043750"/>
                  </a:lnTo>
                  <a:lnTo>
                    <a:pt x="148780" y="1047941"/>
                  </a:lnTo>
                  <a:lnTo>
                    <a:pt x="151447" y="1045274"/>
                  </a:lnTo>
                  <a:lnTo>
                    <a:pt x="156971" y="1050798"/>
                  </a:lnTo>
                  <a:lnTo>
                    <a:pt x="160400" y="1047369"/>
                  </a:lnTo>
                  <a:cubicBezTo>
                    <a:pt x="163829" y="1047369"/>
                    <a:pt x="166591" y="1050131"/>
                    <a:pt x="166591" y="1053560"/>
                  </a:cubicBezTo>
                  <a:cubicBezTo>
                    <a:pt x="166591" y="1056989"/>
                    <a:pt x="163829" y="1059752"/>
                    <a:pt x="160400" y="1059752"/>
                  </a:cubicBezTo>
                  <a:lnTo>
                    <a:pt x="154876" y="1054227"/>
                  </a:lnTo>
                  <a:lnTo>
                    <a:pt x="151447" y="1057656"/>
                  </a:lnTo>
                  <a:lnTo>
                    <a:pt x="147256" y="1053466"/>
                  </a:lnTo>
                  <a:lnTo>
                    <a:pt x="144589" y="1056133"/>
                  </a:lnTo>
                  <a:lnTo>
                    <a:pt x="140160" y="1051703"/>
                  </a:lnTo>
                  <a:lnTo>
                    <a:pt x="137540" y="1054323"/>
                  </a:lnTo>
                  <a:cubicBezTo>
                    <a:pt x="134111" y="1054323"/>
                    <a:pt x="131349" y="1051560"/>
                    <a:pt x="131349" y="1048131"/>
                  </a:cubicBezTo>
                  <a:cubicBezTo>
                    <a:pt x="131349" y="1044702"/>
                    <a:pt x="134111" y="1041940"/>
                    <a:pt x="137540" y="1041940"/>
                  </a:cubicBezTo>
                  <a:close/>
                  <a:moveTo>
                    <a:pt x="889634" y="1041559"/>
                  </a:moveTo>
                  <a:cubicBezTo>
                    <a:pt x="893063" y="1041559"/>
                    <a:pt x="895826" y="1044321"/>
                    <a:pt x="895826" y="1047750"/>
                  </a:cubicBezTo>
                  <a:cubicBezTo>
                    <a:pt x="895826" y="1051179"/>
                    <a:pt x="893063" y="1053942"/>
                    <a:pt x="889634" y="1053942"/>
                  </a:cubicBezTo>
                  <a:cubicBezTo>
                    <a:pt x="886205" y="1053942"/>
                    <a:pt x="883443" y="1051179"/>
                    <a:pt x="883443" y="1047750"/>
                  </a:cubicBezTo>
                  <a:cubicBezTo>
                    <a:pt x="883443" y="1044321"/>
                    <a:pt x="886205" y="1041559"/>
                    <a:pt x="889634" y="1041559"/>
                  </a:cubicBezTo>
                  <a:close/>
                  <a:moveTo>
                    <a:pt x="3061906" y="1040987"/>
                  </a:moveTo>
                  <a:cubicBezTo>
                    <a:pt x="3065335" y="1040987"/>
                    <a:pt x="3068097" y="1043749"/>
                    <a:pt x="3068097" y="1047178"/>
                  </a:cubicBezTo>
                  <a:cubicBezTo>
                    <a:pt x="3068097" y="1050607"/>
                    <a:pt x="3065335" y="1053370"/>
                    <a:pt x="3061906" y="1053370"/>
                  </a:cubicBezTo>
                  <a:cubicBezTo>
                    <a:pt x="3058477" y="1053370"/>
                    <a:pt x="3055715" y="1050607"/>
                    <a:pt x="3055715" y="1047178"/>
                  </a:cubicBezTo>
                  <a:cubicBezTo>
                    <a:pt x="3055715" y="1043749"/>
                    <a:pt x="3058477" y="1040987"/>
                    <a:pt x="3061906" y="1040987"/>
                  </a:cubicBezTo>
                  <a:close/>
                  <a:moveTo>
                    <a:pt x="3222688" y="1040702"/>
                  </a:moveTo>
                  <a:cubicBezTo>
                    <a:pt x="3226117" y="1040702"/>
                    <a:pt x="3228879" y="1043464"/>
                    <a:pt x="3228879" y="1046893"/>
                  </a:cubicBezTo>
                  <a:cubicBezTo>
                    <a:pt x="3228879" y="1050322"/>
                    <a:pt x="3226117" y="1053085"/>
                    <a:pt x="3222688" y="1053085"/>
                  </a:cubicBezTo>
                  <a:cubicBezTo>
                    <a:pt x="3219259" y="1053085"/>
                    <a:pt x="3216497" y="1050322"/>
                    <a:pt x="3216497" y="1046893"/>
                  </a:cubicBezTo>
                  <a:cubicBezTo>
                    <a:pt x="3216497" y="1043464"/>
                    <a:pt x="3219259" y="1040702"/>
                    <a:pt x="3222688" y="1040702"/>
                  </a:cubicBezTo>
                  <a:close/>
                  <a:moveTo>
                    <a:pt x="128206" y="1040416"/>
                  </a:moveTo>
                  <a:cubicBezTo>
                    <a:pt x="130889" y="1040416"/>
                    <a:pt x="133064" y="1042591"/>
                    <a:pt x="133064" y="1045274"/>
                  </a:cubicBezTo>
                  <a:cubicBezTo>
                    <a:pt x="133064" y="1047957"/>
                    <a:pt x="130889" y="1050132"/>
                    <a:pt x="128206" y="1050132"/>
                  </a:cubicBezTo>
                  <a:cubicBezTo>
                    <a:pt x="125523" y="1050132"/>
                    <a:pt x="123348" y="1047957"/>
                    <a:pt x="123348" y="1045274"/>
                  </a:cubicBezTo>
                  <a:cubicBezTo>
                    <a:pt x="123348" y="1042591"/>
                    <a:pt x="125523" y="1040416"/>
                    <a:pt x="128206" y="1040416"/>
                  </a:cubicBezTo>
                  <a:close/>
                  <a:moveTo>
                    <a:pt x="2958559" y="1038892"/>
                  </a:moveTo>
                  <a:cubicBezTo>
                    <a:pt x="2961988" y="1038892"/>
                    <a:pt x="2964751" y="1041654"/>
                    <a:pt x="2964751" y="1045083"/>
                  </a:cubicBezTo>
                  <a:cubicBezTo>
                    <a:pt x="2964751" y="1048512"/>
                    <a:pt x="2961988" y="1051275"/>
                    <a:pt x="2958559" y="1051275"/>
                  </a:cubicBezTo>
                  <a:cubicBezTo>
                    <a:pt x="2955130" y="1051275"/>
                    <a:pt x="2952368" y="1048512"/>
                    <a:pt x="2952368" y="1045083"/>
                  </a:cubicBezTo>
                  <a:cubicBezTo>
                    <a:pt x="2952368" y="1041654"/>
                    <a:pt x="2955130" y="1038892"/>
                    <a:pt x="2958559" y="1038892"/>
                  </a:cubicBezTo>
                  <a:close/>
                  <a:moveTo>
                    <a:pt x="216407" y="1038892"/>
                  </a:moveTo>
                  <a:cubicBezTo>
                    <a:pt x="219836" y="1038892"/>
                    <a:pt x="222599" y="1041654"/>
                    <a:pt x="222599" y="1045083"/>
                  </a:cubicBezTo>
                  <a:cubicBezTo>
                    <a:pt x="222599" y="1048512"/>
                    <a:pt x="219836" y="1051275"/>
                    <a:pt x="216407" y="1051275"/>
                  </a:cubicBezTo>
                  <a:cubicBezTo>
                    <a:pt x="212978" y="1051275"/>
                    <a:pt x="210216" y="1048512"/>
                    <a:pt x="210216" y="1045083"/>
                  </a:cubicBezTo>
                  <a:cubicBezTo>
                    <a:pt x="210216" y="1041654"/>
                    <a:pt x="212978" y="1038892"/>
                    <a:pt x="216407" y="1038892"/>
                  </a:cubicBezTo>
                  <a:close/>
                  <a:moveTo>
                    <a:pt x="562641" y="1036130"/>
                  </a:moveTo>
                  <a:cubicBezTo>
                    <a:pt x="566070" y="1036130"/>
                    <a:pt x="568833" y="1038892"/>
                    <a:pt x="568833" y="1042321"/>
                  </a:cubicBezTo>
                  <a:cubicBezTo>
                    <a:pt x="568833" y="1045750"/>
                    <a:pt x="566070" y="1048513"/>
                    <a:pt x="562641" y="1048513"/>
                  </a:cubicBezTo>
                  <a:cubicBezTo>
                    <a:pt x="559212" y="1048513"/>
                    <a:pt x="556450" y="1045750"/>
                    <a:pt x="556450" y="1042321"/>
                  </a:cubicBezTo>
                  <a:cubicBezTo>
                    <a:pt x="556450" y="1038892"/>
                    <a:pt x="559212" y="1036130"/>
                    <a:pt x="562641" y="1036130"/>
                  </a:cubicBezTo>
                  <a:close/>
                  <a:moveTo>
                    <a:pt x="3199542" y="1033082"/>
                  </a:moveTo>
                  <a:cubicBezTo>
                    <a:pt x="3202971" y="1033082"/>
                    <a:pt x="3205733" y="1035844"/>
                    <a:pt x="3205733" y="1039273"/>
                  </a:cubicBezTo>
                  <a:cubicBezTo>
                    <a:pt x="3205733" y="1042702"/>
                    <a:pt x="3202971" y="1045465"/>
                    <a:pt x="3199542" y="1045465"/>
                  </a:cubicBezTo>
                  <a:lnTo>
                    <a:pt x="3196161" y="1042084"/>
                  </a:lnTo>
                  <a:lnTo>
                    <a:pt x="3190589" y="1047656"/>
                  </a:lnTo>
                  <a:lnTo>
                    <a:pt x="3187636" y="1044703"/>
                  </a:lnTo>
                  <a:lnTo>
                    <a:pt x="3183445" y="1048894"/>
                  </a:lnTo>
                  <a:lnTo>
                    <a:pt x="3180254" y="1045702"/>
                  </a:lnTo>
                  <a:lnTo>
                    <a:pt x="3176110" y="1049845"/>
                  </a:lnTo>
                  <a:lnTo>
                    <a:pt x="3172015" y="1045751"/>
                  </a:lnTo>
                  <a:lnTo>
                    <a:pt x="3166300" y="1051465"/>
                  </a:lnTo>
                  <a:cubicBezTo>
                    <a:pt x="3162871" y="1051465"/>
                    <a:pt x="3160109" y="1048703"/>
                    <a:pt x="3160109" y="1045274"/>
                  </a:cubicBezTo>
                  <a:cubicBezTo>
                    <a:pt x="3160109" y="1041845"/>
                    <a:pt x="3162871" y="1039083"/>
                    <a:pt x="3166300" y="1039083"/>
                  </a:cubicBezTo>
                  <a:lnTo>
                    <a:pt x="3170395" y="1043178"/>
                  </a:lnTo>
                  <a:lnTo>
                    <a:pt x="3176110" y="1037463"/>
                  </a:lnTo>
                  <a:lnTo>
                    <a:pt x="3179302" y="1040654"/>
                  </a:lnTo>
                  <a:lnTo>
                    <a:pt x="3183445" y="1036511"/>
                  </a:lnTo>
                  <a:lnTo>
                    <a:pt x="3186398" y="1039464"/>
                  </a:lnTo>
                  <a:lnTo>
                    <a:pt x="3190589" y="1035273"/>
                  </a:lnTo>
                  <a:lnTo>
                    <a:pt x="3193970" y="1038654"/>
                  </a:lnTo>
                  <a:close/>
                  <a:moveTo>
                    <a:pt x="2398680" y="1033082"/>
                  </a:moveTo>
                  <a:cubicBezTo>
                    <a:pt x="2402109" y="1033082"/>
                    <a:pt x="2404872" y="1035844"/>
                    <a:pt x="2404872" y="1039273"/>
                  </a:cubicBezTo>
                  <a:cubicBezTo>
                    <a:pt x="2404872" y="1042702"/>
                    <a:pt x="2402109" y="1045465"/>
                    <a:pt x="2398680" y="1045465"/>
                  </a:cubicBezTo>
                  <a:cubicBezTo>
                    <a:pt x="2395251" y="1045465"/>
                    <a:pt x="2392489" y="1042702"/>
                    <a:pt x="2392489" y="1039273"/>
                  </a:cubicBezTo>
                  <a:cubicBezTo>
                    <a:pt x="2392489" y="1035844"/>
                    <a:pt x="2395251" y="1033082"/>
                    <a:pt x="2398680" y="1033082"/>
                  </a:cubicBezTo>
                  <a:close/>
                  <a:moveTo>
                    <a:pt x="189547" y="1032415"/>
                  </a:moveTo>
                  <a:cubicBezTo>
                    <a:pt x="192976" y="1032415"/>
                    <a:pt x="195738" y="1035177"/>
                    <a:pt x="195738" y="1038606"/>
                  </a:cubicBezTo>
                  <a:cubicBezTo>
                    <a:pt x="195738" y="1042035"/>
                    <a:pt x="192976" y="1044798"/>
                    <a:pt x="189547" y="1044798"/>
                  </a:cubicBezTo>
                  <a:cubicBezTo>
                    <a:pt x="186118" y="1044798"/>
                    <a:pt x="183356" y="1042035"/>
                    <a:pt x="183356" y="1038606"/>
                  </a:cubicBezTo>
                  <a:cubicBezTo>
                    <a:pt x="183356" y="1035177"/>
                    <a:pt x="186118" y="1032415"/>
                    <a:pt x="189547" y="1032415"/>
                  </a:cubicBezTo>
                  <a:close/>
                  <a:moveTo>
                    <a:pt x="286416" y="1030034"/>
                  </a:moveTo>
                  <a:cubicBezTo>
                    <a:pt x="289845" y="1030034"/>
                    <a:pt x="292607" y="1032796"/>
                    <a:pt x="292607" y="1036225"/>
                  </a:cubicBezTo>
                  <a:cubicBezTo>
                    <a:pt x="292607" y="1039654"/>
                    <a:pt x="289845" y="1042417"/>
                    <a:pt x="286416" y="1042417"/>
                  </a:cubicBezTo>
                  <a:cubicBezTo>
                    <a:pt x="282987" y="1042417"/>
                    <a:pt x="280225" y="1039654"/>
                    <a:pt x="280225" y="1036225"/>
                  </a:cubicBezTo>
                  <a:cubicBezTo>
                    <a:pt x="280225" y="1032796"/>
                    <a:pt x="282987" y="1030034"/>
                    <a:pt x="286416" y="1030034"/>
                  </a:cubicBezTo>
                  <a:close/>
                  <a:moveTo>
                    <a:pt x="3105625" y="1029653"/>
                  </a:moveTo>
                  <a:cubicBezTo>
                    <a:pt x="3109054" y="1029653"/>
                    <a:pt x="3111817" y="1032415"/>
                    <a:pt x="3111817" y="1035844"/>
                  </a:cubicBezTo>
                  <a:cubicBezTo>
                    <a:pt x="3111817" y="1039273"/>
                    <a:pt x="3109054" y="1042036"/>
                    <a:pt x="3105625" y="1042036"/>
                  </a:cubicBezTo>
                  <a:cubicBezTo>
                    <a:pt x="3102196" y="1042036"/>
                    <a:pt x="3099434" y="1039273"/>
                    <a:pt x="3099434" y="1035844"/>
                  </a:cubicBezTo>
                  <a:cubicBezTo>
                    <a:pt x="3099434" y="1032415"/>
                    <a:pt x="3102196" y="1029653"/>
                    <a:pt x="3105625" y="1029653"/>
                  </a:cubicBezTo>
                  <a:close/>
                  <a:moveTo>
                    <a:pt x="3229165" y="1029367"/>
                  </a:moveTo>
                  <a:cubicBezTo>
                    <a:pt x="3229356" y="1029367"/>
                    <a:pt x="3229356" y="1029367"/>
                    <a:pt x="3229356" y="1029558"/>
                  </a:cubicBezTo>
                  <a:cubicBezTo>
                    <a:pt x="3229356" y="1029748"/>
                    <a:pt x="3229165" y="1029748"/>
                    <a:pt x="3229165" y="1029748"/>
                  </a:cubicBezTo>
                  <a:cubicBezTo>
                    <a:pt x="3228975" y="1029748"/>
                    <a:pt x="3228975" y="1029748"/>
                    <a:pt x="3228975" y="1029558"/>
                  </a:cubicBezTo>
                  <a:cubicBezTo>
                    <a:pt x="3228975" y="1029367"/>
                    <a:pt x="3228975" y="1029367"/>
                    <a:pt x="3229165" y="1029367"/>
                  </a:cubicBezTo>
                  <a:close/>
                  <a:moveTo>
                    <a:pt x="3212020" y="1029272"/>
                  </a:moveTo>
                  <a:cubicBezTo>
                    <a:pt x="3215449" y="1029272"/>
                    <a:pt x="3218211" y="1032034"/>
                    <a:pt x="3218211" y="1035463"/>
                  </a:cubicBezTo>
                  <a:cubicBezTo>
                    <a:pt x="3218211" y="1038892"/>
                    <a:pt x="3215449" y="1041654"/>
                    <a:pt x="3212020" y="1041654"/>
                  </a:cubicBezTo>
                  <a:cubicBezTo>
                    <a:pt x="3208591" y="1041654"/>
                    <a:pt x="3205829" y="1038892"/>
                    <a:pt x="3205829" y="1035463"/>
                  </a:cubicBezTo>
                  <a:cubicBezTo>
                    <a:pt x="3205829" y="1032034"/>
                    <a:pt x="3208591" y="1029272"/>
                    <a:pt x="3212020" y="1029272"/>
                  </a:cubicBezTo>
                  <a:close/>
                  <a:moveTo>
                    <a:pt x="396906" y="1027748"/>
                  </a:moveTo>
                  <a:cubicBezTo>
                    <a:pt x="400335" y="1027748"/>
                    <a:pt x="403097" y="1030510"/>
                    <a:pt x="403097" y="1033939"/>
                  </a:cubicBezTo>
                  <a:cubicBezTo>
                    <a:pt x="403097" y="1037368"/>
                    <a:pt x="400335" y="1040131"/>
                    <a:pt x="396906" y="1040131"/>
                  </a:cubicBezTo>
                  <a:cubicBezTo>
                    <a:pt x="393477" y="1040131"/>
                    <a:pt x="390715" y="1037368"/>
                    <a:pt x="390715" y="1033939"/>
                  </a:cubicBezTo>
                  <a:cubicBezTo>
                    <a:pt x="390715" y="1030510"/>
                    <a:pt x="393477" y="1027748"/>
                    <a:pt x="396906" y="1027748"/>
                  </a:cubicBezTo>
                  <a:close/>
                  <a:moveTo>
                    <a:pt x="2739770" y="1026700"/>
                  </a:moveTo>
                  <a:cubicBezTo>
                    <a:pt x="2743199" y="1026700"/>
                    <a:pt x="2745962" y="1029462"/>
                    <a:pt x="2745962" y="1032891"/>
                  </a:cubicBezTo>
                  <a:cubicBezTo>
                    <a:pt x="2745962" y="1036320"/>
                    <a:pt x="2743199" y="1039083"/>
                    <a:pt x="2739770" y="1039083"/>
                  </a:cubicBezTo>
                  <a:cubicBezTo>
                    <a:pt x="2736341" y="1039083"/>
                    <a:pt x="2733579" y="1036320"/>
                    <a:pt x="2733579" y="1032891"/>
                  </a:cubicBezTo>
                  <a:cubicBezTo>
                    <a:pt x="2733579" y="1029462"/>
                    <a:pt x="2736341" y="1026700"/>
                    <a:pt x="2739770" y="1026700"/>
                  </a:cubicBezTo>
                  <a:close/>
                  <a:moveTo>
                    <a:pt x="137636" y="1025938"/>
                  </a:moveTo>
                  <a:lnTo>
                    <a:pt x="142780" y="1031081"/>
                  </a:lnTo>
                  <a:lnTo>
                    <a:pt x="146399" y="1027462"/>
                  </a:lnTo>
                  <a:lnTo>
                    <a:pt x="150304" y="1031367"/>
                  </a:lnTo>
                  <a:lnTo>
                    <a:pt x="153733" y="1027938"/>
                  </a:lnTo>
                  <a:lnTo>
                    <a:pt x="157781" y="1031986"/>
                  </a:lnTo>
                  <a:lnTo>
                    <a:pt x="161543" y="1028224"/>
                  </a:lnTo>
                  <a:lnTo>
                    <a:pt x="167592" y="1034272"/>
                  </a:lnTo>
                  <a:lnTo>
                    <a:pt x="172497" y="1029367"/>
                  </a:lnTo>
                  <a:cubicBezTo>
                    <a:pt x="175926" y="1029367"/>
                    <a:pt x="178689" y="1032129"/>
                    <a:pt x="178689" y="1035558"/>
                  </a:cubicBezTo>
                  <a:cubicBezTo>
                    <a:pt x="178689" y="1038987"/>
                    <a:pt x="175926" y="1041750"/>
                    <a:pt x="172497" y="1041750"/>
                  </a:cubicBezTo>
                  <a:lnTo>
                    <a:pt x="166449" y="1035701"/>
                  </a:lnTo>
                  <a:lnTo>
                    <a:pt x="161543" y="1040606"/>
                  </a:lnTo>
                  <a:lnTo>
                    <a:pt x="157495" y="1036559"/>
                  </a:lnTo>
                  <a:lnTo>
                    <a:pt x="153733" y="1040320"/>
                  </a:lnTo>
                  <a:lnTo>
                    <a:pt x="149828" y="1036416"/>
                  </a:lnTo>
                  <a:lnTo>
                    <a:pt x="146399" y="1039845"/>
                  </a:lnTo>
                  <a:lnTo>
                    <a:pt x="141256" y="1034701"/>
                  </a:lnTo>
                  <a:lnTo>
                    <a:pt x="137636" y="1038321"/>
                  </a:lnTo>
                  <a:cubicBezTo>
                    <a:pt x="134207" y="1038321"/>
                    <a:pt x="131445" y="1035558"/>
                    <a:pt x="131445" y="1032129"/>
                  </a:cubicBezTo>
                  <a:cubicBezTo>
                    <a:pt x="131445" y="1028700"/>
                    <a:pt x="134207" y="1025938"/>
                    <a:pt x="137636" y="1025938"/>
                  </a:cubicBezTo>
                  <a:close/>
                  <a:moveTo>
                    <a:pt x="986027" y="1023557"/>
                  </a:moveTo>
                  <a:cubicBezTo>
                    <a:pt x="989456" y="1023557"/>
                    <a:pt x="992218" y="1026319"/>
                    <a:pt x="992218" y="1029748"/>
                  </a:cubicBezTo>
                  <a:cubicBezTo>
                    <a:pt x="992218" y="1033177"/>
                    <a:pt x="989456" y="1035940"/>
                    <a:pt x="986027" y="1035940"/>
                  </a:cubicBezTo>
                  <a:cubicBezTo>
                    <a:pt x="982598" y="1035940"/>
                    <a:pt x="979836" y="1033177"/>
                    <a:pt x="979836" y="1029748"/>
                  </a:cubicBezTo>
                  <a:cubicBezTo>
                    <a:pt x="979836" y="1026319"/>
                    <a:pt x="982598" y="1023557"/>
                    <a:pt x="986027" y="1023557"/>
                  </a:cubicBezTo>
                  <a:close/>
                  <a:moveTo>
                    <a:pt x="3134867" y="1023462"/>
                  </a:moveTo>
                  <a:cubicBezTo>
                    <a:pt x="3138296" y="1023462"/>
                    <a:pt x="3141058" y="1026224"/>
                    <a:pt x="3141058" y="1029653"/>
                  </a:cubicBezTo>
                  <a:cubicBezTo>
                    <a:pt x="3141058" y="1033082"/>
                    <a:pt x="3138296" y="1035844"/>
                    <a:pt x="3134867" y="1035844"/>
                  </a:cubicBezTo>
                  <a:cubicBezTo>
                    <a:pt x="3131438" y="1035844"/>
                    <a:pt x="3128676" y="1033082"/>
                    <a:pt x="3128676" y="1029653"/>
                  </a:cubicBezTo>
                  <a:cubicBezTo>
                    <a:pt x="3128676" y="1026224"/>
                    <a:pt x="3131438" y="1023462"/>
                    <a:pt x="3134867" y="1023462"/>
                  </a:cubicBezTo>
                  <a:close/>
                  <a:moveTo>
                    <a:pt x="3153632" y="1020699"/>
                  </a:moveTo>
                  <a:cubicBezTo>
                    <a:pt x="3157061" y="1020699"/>
                    <a:pt x="3159823" y="1023461"/>
                    <a:pt x="3159823" y="1026890"/>
                  </a:cubicBezTo>
                  <a:cubicBezTo>
                    <a:pt x="3159823" y="1030319"/>
                    <a:pt x="3157061" y="1033081"/>
                    <a:pt x="3153632" y="1033081"/>
                  </a:cubicBezTo>
                  <a:cubicBezTo>
                    <a:pt x="3150203" y="1033081"/>
                    <a:pt x="3147441" y="1030319"/>
                    <a:pt x="3147441" y="1026890"/>
                  </a:cubicBezTo>
                  <a:cubicBezTo>
                    <a:pt x="3147441" y="1023461"/>
                    <a:pt x="3150203" y="1020699"/>
                    <a:pt x="3153632" y="1020699"/>
                  </a:cubicBezTo>
                  <a:close/>
                  <a:moveTo>
                    <a:pt x="3030949" y="1020318"/>
                  </a:moveTo>
                  <a:cubicBezTo>
                    <a:pt x="3034378" y="1020318"/>
                    <a:pt x="3037140" y="1023080"/>
                    <a:pt x="3037140" y="1026509"/>
                  </a:cubicBezTo>
                  <a:cubicBezTo>
                    <a:pt x="3037140" y="1029938"/>
                    <a:pt x="3034378" y="1032701"/>
                    <a:pt x="3030949" y="1032701"/>
                  </a:cubicBezTo>
                  <a:cubicBezTo>
                    <a:pt x="3027520" y="1032701"/>
                    <a:pt x="3024758" y="1029938"/>
                    <a:pt x="3024758" y="1026509"/>
                  </a:cubicBezTo>
                  <a:cubicBezTo>
                    <a:pt x="3024758" y="1023080"/>
                    <a:pt x="3027520" y="1020318"/>
                    <a:pt x="3030949" y="1020318"/>
                  </a:cubicBezTo>
                  <a:close/>
                  <a:moveTo>
                    <a:pt x="3190112" y="1019652"/>
                  </a:moveTo>
                  <a:cubicBezTo>
                    <a:pt x="3193541" y="1019652"/>
                    <a:pt x="3196304" y="1022414"/>
                    <a:pt x="3196304" y="1025843"/>
                  </a:cubicBezTo>
                  <a:cubicBezTo>
                    <a:pt x="3196304" y="1029272"/>
                    <a:pt x="3193541" y="1032034"/>
                    <a:pt x="3190112" y="1032034"/>
                  </a:cubicBezTo>
                  <a:lnTo>
                    <a:pt x="3186207" y="1028130"/>
                  </a:lnTo>
                  <a:lnTo>
                    <a:pt x="3181540" y="1032796"/>
                  </a:lnTo>
                  <a:lnTo>
                    <a:pt x="3177730" y="1028986"/>
                  </a:lnTo>
                  <a:lnTo>
                    <a:pt x="3174015" y="1032701"/>
                  </a:lnTo>
                  <a:lnTo>
                    <a:pt x="3169681" y="1028367"/>
                  </a:lnTo>
                  <a:lnTo>
                    <a:pt x="3165633" y="1032415"/>
                  </a:lnTo>
                  <a:cubicBezTo>
                    <a:pt x="3162204" y="1032415"/>
                    <a:pt x="3159442" y="1029653"/>
                    <a:pt x="3159442" y="1026224"/>
                  </a:cubicBezTo>
                  <a:cubicBezTo>
                    <a:pt x="3159442" y="1022795"/>
                    <a:pt x="3162204" y="1020033"/>
                    <a:pt x="3165633" y="1020033"/>
                  </a:cubicBezTo>
                  <a:lnTo>
                    <a:pt x="3169966" y="1024367"/>
                  </a:lnTo>
                  <a:lnTo>
                    <a:pt x="3174015" y="1020318"/>
                  </a:lnTo>
                  <a:lnTo>
                    <a:pt x="3177826" y="1024128"/>
                  </a:lnTo>
                  <a:lnTo>
                    <a:pt x="3181540" y="1020414"/>
                  </a:lnTo>
                  <a:lnTo>
                    <a:pt x="3185445" y="1024319"/>
                  </a:lnTo>
                  <a:close/>
                  <a:moveTo>
                    <a:pt x="238886" y="1018794"/>
                  </a:moveTo>
                  <a:cubicBezTo>
                    <a:pt x="242315" y="1018794"/>
                    <a:pt x="245077" y="1021556"/>
                    <a:pt x="245077" y="1024985"/>
                  </a:cubicBezTo>
                  <a:cubicBezTo>
                    <a:pt x="245077" y="1028414"/>
                    <a:pt x="242315" y="1031177"/>
                    <a:pt x="238886" y="1031177"/>
                  </a:cubicBezTo>
                  <a:cubicBezTo>
                    <a:pt x="235457" y="1031177"/>
                    <a:pt x="232695" y="1028414"/>
                    <a:pt x="232695" y="1024985"/>
                  </a:cubicBezTo>
                  <a:cubicBezTo>
                    <a:pt x="232695" y="1021556"/>
                    <a:pt x="235457" y="1018794"/>
                    <a:pt x="238886" y="1018794"/>
                  </a:cubicBezTo>
                  <a:close/>
                  <a:moveTo>
                    <a:pt x="2913982" y="1018032"/>
                  </a:moveTo>
                  <a:cubicBezTo>
                    <a:pt x="2917411" y="1018032"/>
                    <a:pt x="2920173" y="1020794"/>
                    <a:pt x="2920173" y="1024223"/>
                  </a:cubicBezTo>
                  <a:cubicBezTo>
                    <a:pt x="2920173" y="1027652"/>
                    <a:pt x="2917411" y="1030414"/>
                    <a:pt x="2913982" y="1030414"/>
                  </a:cubicBezTo>
                  <a:cubicBezTo>
                    <a:pt x="2910553" y="1030414"/>
                    <a:pt x="2907791" y="1027652"/>
                    <a:pt x="2907791" y="1024223"/>
                  </a:cubicBezTo>
                  <a:cubicBezTo>
                    <a:pt x="2907791" y="1020794"/>
                    <a:pt x="2910553" y="1018032"/>
                    <a:pt x="2913982" y="1018032"/>
                  </a:cubicBezTo>
                  <a:close/>
                  <a:moveTo>
                    <a:pt x="3201638" y="1017270"/>
                  </a:moveTo>
                  <a:cubicBezTo>
                    <a:pt x="3205067" y="1017270"/>
                    <a:pt x="3207829" y="1020032"/>
                    <a:pt x="3207829" y="1023461"/>
                  </a:cubicBezTo>
                  <a:cubicBezTo>
                    <a:pt x="3207829" y="1026890"/>
                    <a:pt x="3205067" y="1029652"/>
                    <a:pt x="3201638" y="1029652"/>
                  </a:cubicBezTo>
                  <a:cubicBezTo>
                    <a:pt x="3198209" y="1029652"/>
                    <a:pt x="3195447" y="1026890"/>
                    <a:pt x="3195447" y="1023461"/>
                  </a:cubicBezTo>
                  <a:cubicBezTo>
                    <a:pt x="3195447" y="1020032"/>
                    <a:pt x="3198209" y="1017270"/>
                    <a:pt x="3201638" y="1017270"/>
                  </a:cubicBezTo>
                  <a:close/>
                  <a:moveTo>
                    <a:pt x="628268" y="1015651"/>
                  </a:moveTo>
                  <a:cubicBezTo>
                    <a:pt x="631697" y="1015651"/>
                    <a:pt x="634460" y="1018413"/>
                    <a:pt x="634460" y="1021842"/>
                  </a:cubicBezTo>
                  <a:cubicBezTo>
                    <a:pt x="634460" y="1025271"/>
                    <a:pt x="631697" y="1028033"/>
                    <a:pt x="628268" y="1028033"/>
                  </a:cubicBezTo>
                  <a:cubicBezTo>
                    <a:pt x="624839" y="1028033"/>
                    <a:pt x="622077" y="1025271"/>
                    <a:pt x="622077" y="1021842"/>
                  </a:cubicBezTo>
                  <a:cubicBezTo>
                    <a:pt x="622077" y="1018413"/>
                    <a:pt x="624839" y="1015651"/>
                    <a:pt x="628268" y="1015651"/>
                  </a:cubicBezTo>
                  <a:close/>
                  <a:moveTo>
                    <a:pt x="2298763" y="1015556"/>
                  </a:moveTo>
                  <a:cubicBezTo>
                    <a:pt x="2302192" y="1015556"/>
                    <a:pt x="2304955" y="1018318"/>
                    <a:pt x="2304955" y="1021747"/>
                  </a:cubicBezTo>
                  <a:cubicBezTo>
                    <a:pt x="2304955" y="1025176"/>
                    <a:pt x="2302192" y="1027939"/>
                    <a:pt x="2298763" y="1027939"/>
                  </a:cubicBezTo>
                  <a:cubicBezTo>
                    <a:pt x="2295334" y="1027939"/>
                    <a:pt x="2292572" y="1025176"/>
                    <a:pt x="2292572" y="1021747"/>
                  </a:cubicBezTo>
                  <a:cubicBezTo>
                    <a:pt x="2292572" y="1018318"/>
                    <a:pt x="2295334" y="1015556"/>
                    <a:pt x="2298763" y="1015556"/>
                  </a:cubicBezTo>
                  <a:close/>
                  <a:moveTo>
                    <a:pt x="3217354" y="1013365"/>
                  </a:moveTo>
                  <a:cubicBezTo>
                    <a:pt x="3220457" y="1013365"/>
                    <a:pt x="3222973" y="1015881"/>
                    <a:pt x="3222973" y="1018985"/>
                  </a:cubicBezTo>
                  <a:cubicBezTo>
                    <a:pt x="3222973" y="1022088"/>
                    <a:pt x="3220457" y="1024604"/>
                    <a:pt x="3217354" y="1024604"/>
                  </a:cubicBezTo>
                  <a:cubicBezTo>
                    <a:pt x="3214250" y="1024604"/>
                    <a:pt x="3211734" y="1022088"/>
                    <a:pt x="3211734" y="1018985"/>
                  </a:cubicBezTo>
                  <a:cubicBezTo>
                    <a:pt x="3211734" y="1015881"/>
                    <a:pt x="3214250" y="1013365"/>
                    <a:pt x="3217354" y="1013365"/>
                  </a:cubicBezTo>
                  <a:close/>
                  <a:moveTo>
                    <a:pt x="206882" y="1012793"/>
                  </a:moveTo>
                  <a:cubicBezTo>
                    <a:pt x="210311" y="1012793"/>
                    <a:pt x="213074" y="1015555"/>
                    <a:pt x="213074" y="1018984"/>
                  </a:cubicBezTo>
                  <a:cubicBezTo>
                    <a:pt x="213074" y="1022413"/>
                    <a:pt x="210311" y="1025176"/>
                    <a:pt x="206882" y="1025176"/>
                  </a:cubicBezTo>
                  <a:cubicBezTo>
                    <a:pt x="203453" y="1025176"/>
                    <a:pt x="200691" y="1022413"/>
                    <a:pt x="200691" y="1018984"/>
                  </a:cubicBezTo>
                  <a:cubicBezTo>
                    <a:pt x="200691" y="1015555"/>
                    <a:pt x="203453" y="1012793"/>
                    <a:pt x="206882" y="1012793"/>
                  </a:cubicBezTo>
                  <a:close/>
                  <a:moveTo>
                    <a:pt x="186022" y="1010508"/>
                  </a:moveTo>
                  <a:cubicBezTo>
                    <a:pt x="189451" y="1010508"/>
                    <a:pt x="192214" y="1013270"/>
                    <a:pt x="192214" y="1016699"/>
                  </a:cubicBezTo>
                  <a:cubicBezTo>
                    <a:pt x="192214" y="1020128"/>
                    <a:pt x="189451" y="1022890"/>
                    <a:pt x="186022" y="1022890"/>
                  </a:cubicBezTo>
                  <a:cubicBezTo>
                    <a:pt x="182593" y="1022890"/>
                    <a:pt x="179831" y="1020128"/>
                    <a:pt x="179831" y="1016699"/>
                  </a:cubicBezTo>
                  <a:cubicBezTo>
                    <a:pt x="179831" y="1013270"/>
                    <a:pt x="182593" y="1010508"/>
                    <a:pt x="186022" y="1010508"/>
                  </a:cubicBezTo>
                  <a:close/>
                  <a:moveTo>
                    <a:pt x="172592" y="1010412"/>
                  </a:moveTo>
                  <a:cubicBezTo>
                    <a:pt x="176021" y="1010412"/>
                    <a:pt x="178784" y="1013174"/>
                    <a:pt x="178784" y="1016603"/>
                  </a:cubicBezTo>
                  <a:cubicBezTo>
                    <a:pt x="178784" y="1020032"/>
                    <a:pt x="176021" y="1022795"/>
                    <a:pt x="172592" y="1022795"/>
                  </a:cubicBezTo>
                  <a:lnTo>
                    <a:pt x="168401" y="1018604"/>
                  </a:lnTo>
                  <a:lnTo>
                    <a:pt x="163353" y="1023652"/>
                  </a:lnTo>
                  <a:lnTo>
                    <a:pt x="159924" y="1020224"/>
                  </a:lnTo>
                  <a:lnTo>
                    <a:pt x="155638" y="1024510"/>
                  </a:lnTo>
                  <a:lnTo>
                    <a:pt x="151400" y="1020271"/>
                  </a:lnTo>
                  <a:lnTo>
                    <a:pt x="147161" y="1024510"/>
                  </a:lnTo>
                  <a:cubicBezTo>
                    <a:pt x="143732" y="1024510"/>
                    <a:pt x="140970" y="1021747"/>
                    <a:pt x="140970" y="1018318"/>
                  </a:cubicBezTo>
                  <a:cubicBezTo>
                    <a:pt x="140970" y="1014889"/>
                    <a:pt x="143732" y="1012127"/>
                    <a:pt x="147161" y="1012127"/>
                  </a:cubicBezTo>
                  <a:lnTo>
                    <a:pt x="151400" y="1016365"/>
                  </a:lnTo>
                  <a:lnTo>
                    <a:pt x="155638" y="1012127"/>
                  </a:lnTo>
                  <a:lnTo>
                    <a:pt x="159067" y="1015556"/>
                  </a:lnTo>
                  <a:lnTo>
                    <a:pt x="163353" y="1011270"/>
                  </a:lnTo>
                  <a:lnTo>
                    <a:pt x="167543" y="1015461"/>
                  </a:lnTo>
                  <a:close/>
                  <a:moveTo>
                    <a:pt x="3081908" y="1009174"/>
                  </a:moveTo>
                  <a:cubicBezTo>
                    <a:pt x="3085337" y="1009174"/>
                    <a:pt x="3088099" y="1011936"/>
                    <a:pt x="3088099" y="1015365"/>
                  </a:cubicBezTo>
                  <a:cubicBezTo>
                    <a:pt x="3088099" y="1018794"/>
                    <a:pt x="3085337" y="1021556"/>
                    <a:pt x="3081908" y="1021556"/>
                  </a:cubicBezTo>
                  <a:cubicBezTo>
                    <a:pt x="3078479" y="1021556"/>
                    <a:pt x="3075717" y="1018794"/>
                    <a:pt x="3075717" y="1015365"/>
                  </a:cubicBezTo>
                  <a:cubicBezTo>
                    <a:pt x="3075717" y="1011936"/>
                    <a:pt x="3078479" y="1009174"/>
                    <a:pt x="3081908" y="1009174"/>
                  </a:cubicBezTo>
                  <a:close/>
                  <a:moveTo>
                    <a:pt x="319277" y="1008983"/>
                  </a:moveTo>
                  <a:cubicBezTo>
                    <a:pt x="322706" y="1008983"/>
                    <a:pt x="325468" y="1011745"/>
                    <a:pt x="325468" y="1015174"/>
                  </a:cubicBezTo>
                  <a:cubicBezTo>
                    <a:pt x="325468" y="1018603"/>
                    <a:pt x="322706" y="1021366"/>
                    <a:pt x="319277" y="1021366"/>
                  </a:cubicBezTo>
                  <a:cubicBezTo>
                    <a:pt x="315848" y="1021366"/>
                    <a:pt x="313086" y="1018603"/>
                    <a:pt x="313086" y="1015174"/>
                  </a:cubicBezTo>
                  <a:cubicBezTo>
                    <a:pt x="313086" y="1011745"/>
                    <a:pt x="315848" y="1008983"/>
                    <a:pt x="319277" y="1008983"/>
                  </a:cubicBezTo>
                  <a:close/>
                  <a:moveTo>
                    <a:pt x="1089945" y="1006602"/>
                  </a:moveTo>
                  <a:cubicBezTo>
                    <a:pt x="1093374" y="1006602"/>
                    <a:pt x="1096137" y="1009364"/>
                    <a:pt x="1096137" y="1012793"/>
                  </a:cubicBezTo>
                  <a:cubicBezTo>
                    <a:pt x="1096137" y="1016222"/>
                    <a:pt x="1093374" y="1018985"/>
                    <a:pt x="1089945" y="1018985"/>
                  </a:cubicBezTo>
                  <a:cubicBezTo>
                    <a:pt x="1086516" y="1018985"/>
                    <a:pt x="1083754" y="1016222"/>
                    <a:pt x="1083754" y="1012793"/>
                  </a:cubicBezTo>
                  <a:cubicBezTo>
                    <a:pt x="1083754" y="1009364"/>
                    <a:pt x="1086516" y="1006602"/>
                    <a:pt x="1089945" y="1006602"/>
                  </a:cubicBezTo>
                  <a:close/>
                  <a:moveTo>
                    <a:pt x="443959" y="1006602"/>
                  </a:moveTo>
                  <a:cubicBezTo>
                    <a:pt x="447388" y="1006602"/>
                    <a:pt x="450150" y="1009364"/>
                    <a:pt x="450150" y="1012793"/>
                  </a:cubicBezTo>
                  <a:cubicBezTo>
                    <a:pt x="450150" y="1016222"/>
                    <a:pt x="447388" y="1018985"/>
                    <a:pt x="443959" y="1018985"/>
                  </a:cubicBezTo>
                  <a:cubicBezTo>
                    <a:pt x="440530" y="1018985"/>
                    <a:pt x="437768" y="1016222"/>
                    <a:pt x="437768" y="1012793"/>
                  </a:cubicBezTo>
                  <a:cubicBezTo>
                    <a:pt x="437768" y="1009364"/>
                    <a:pt x="440530" y="1006602"/>
                    <a:pt x="443959" y="1006602"/>
                  </a:cubicBezTo>
                  <a:close/>
                  <a:moveTo>
                    <a:pt x="2671285" y="1006031"/>
                  </a:moveTo>
                  <a:cubicBezTo>
                    <a:pt x="2674714" y="1006031"/>
                    <a:pt x="2677477" y="1008793"/>
                    <a:pt x="2677477" y="1012222"/>
                  </a:cubicBezTo>
                  <a:cubicBezTo>
                    <a:pt x="2677477" y="1015651"/>
                    <a:pt x="2674714" y="1018414"/>
                    <a:pt x="2671285" y="1018414"/>
                  </a:cubicBezTo>
                  <a:cubicBezTo>
                    <a:pt x="2667856" y="1018414"/>
                    <a:pt x="2665094" y="1015651"/>
                    <a:pt x="2665094" y="1012222"/>
                  </a:cubicBezTo>
                  <a:cubicBezTo>
                    <a:pt x="2665094" y="1008793"/>
                    <a:pt x="2667856" y="1006031"/>
                    <a:pt x="2671285" y="1006031"/>
                  </a:cubicBezTo>
                  <a:close/>
                  <a:moveTo>
                    <a:pt x="3116579" y="1003459"/>
                  </a:moveTo>
                  <a:cubicBezTo>
                    <a:pt x="3120008" y="1003459"/>
                    <a:pt x="3122771" y="1006221"/>
                    <a:pt x="3122771" y="1009650"/>
                  </a:cubicBezTo>
                  <a:cubicBezTo>
                    <a:pt x="3122771" y="1013079"/>
                    <a:pt x="3120008" y="1015842"/>
                    <a:pt x="3116579" y="1015842"/>
                  </a:cubicBezTo>
                  <a:cubicBezTo>
                    <a:pt x="3113150" y="1015842"/>
                    <a:pt x="3110388" y="1013079"/>
                    <a:pt x="3110388" y="1009650"/>
                  </a:cubicBezTo>
                  <a:cubicBezTo>
                    <a:pt x="3110388" y="1006221"/>
                    <a:pt x="3113150" y="1003459"/>
                    <a:pt x="3116579" y="1003459"/>
                  </a:cubicBezTo>
                  <a:close/>
                  <a:moveTo>
                    <a:pt x="3154108" y="1001935"/>
                  </a:moveTo>
                  <a:lnTo>
                    <a:pt x="3159776" y="1007602"/>
                  </a:lnTo>
                  <a:lnTo>
                    <a:pt x="3164014" y="1003364"/>
                  </a:lnTo>
                  <a:lnTo>
                    <a:pt x="3168777" y="1008127"/>
                  </a:lnTo>
                  <a:lnTo>
                    <a:pt x="3172110" y="1004793"/>
                  </a:lnTo>
                  <a:lnTo>
                    <a:pt x="3176634" y="1009317"/>
                  </a:lnTo>
                  <a:lnTo>
                    <a:pt x="3180587" y="1005364"/>
                  </a:lnTo>
                  <a:lnTo>
                    <a:pt x="3185540" y="1010317"/>
                  </a:lnTo>
                  <a:lnTo>
                    <a:pt x="3191350" y="1004507"/>
                  </a:lnTo>
                  <a:cubicBezTo>
                    <a:pt x="3194779" y="1004507"/>
                    <a:pt x="3197542" y="1007269"/>
                    <a:pt x="3197542" y="1010698"/>
                  </a:cubicBezTo>
                  <a:cubicBezTo>
                    <a:pt x="3197542" y="1014127"/>
                    <a:pt x="3194779" y="1016890"/>
                    <a:pt x="3191350" y="1016890"/>
                  </a:cubicBezTo>
                  <a:lnTo>
                    <a:pt x="3186397" y="1011937"/>
                  </a:lnTo>
                  <a:lnTo>
                    <a:pt x="3180587" y="1017746"/>
                  </a:lnTo>
                  <a:lnTo>
                    <a:pt x="3176063" y="1013222"/>
                  </a:lnTo>
                  <a:lnTo>
                    <a:pt x="3172110" y="1017175"/>
                  </a:lnTo>
                  <a:lnTo>
                    <a:pt x="3167348" y="1012413"/>
                  </a:lnTo>
                  <a:lnTo>
                    <a:pt x="3164014" y="1015746"/>
                  </a:lnTo>
                  <a:lnTo>
                    <a:pt x="3158347" y="1010079"/>
                  </a:lnTo>
                  <a:lnTo>
                    <a:pt x="3154108" y="1014318"/>
                  </a:lnTo>
                  <a:cubicBezTo>
                    <a:pt x="3150679" y="1014318"/>
                    <a:pt x="3147917" y="1011555"/>
                    <a:pt x="3147917" y="1008126"/>
                  </a:cubicBezTo>
                  <a:cubicBezTo>
                    <a:pt x="3147917" y="1004697"/>
                    <a:pt x="3150679" y="1001935"/>
                    <a:pt x="3154108" y="1001935"/>
                  </a:cubicBezTo>
                  <a:close/>
                  <a:moveTo>
                    <a:pt x="3205829" y="1001554"/>
                  </a:moveTo>
                  <a:cubicBezTo>
                    <a:pt x="3209258" y="1001554"/>
                    <a:pt x="3212020" y="1004316"/>
                    <a:pt x="3212020" y="1007745"/>
                  </a:cubicBezTo>
                  <a:cubicBezTo>
                    <a:pt x="3212020" y="1011174"/>
                    <a:pt x="3209258" y="1013937"/>
                    <a:pt x="3205829" y="1013937"/>
                  </a:cubicBezTo>
                  <a:cubicBezTo>
                    <a:pt x="3202400" y="1013937"/>
                    <a:pt x="3199638" y="1011174"/>
                    <a:pt x="3199638" y="1007745"/>
                  </a:cubicBezTo>
                  <a:cubicBezTo>
                    <a:pt x="3199638" y="1004316"/>
                    <a:pt x="3202400" y="1001554"/>
                    <a:pt x="3205829" y="1001554"/>
                  </a:cubicBezTo>
                  <a:close/>
                  <a:moveTo>
                    <a:pt x="3139344" y="1001554"/>
                  </a:moveTo>
                  <a:cubicBezTo>
                    <a:pt x="3142773" y="1001554"/>
                    <a:pt x="3145535" y="1004316"/>
                    <a:pt x="3145535" y="1007745"/>
                  </a:cubicBezTo>
                  <a:cubicBezTo>
                    <a:pt x="3145535" y="1011174"/>
                    <a:pt x="3142773" y="1013937"/>
                    <a:pt x="3139344" y="1013937"/>
                  </a:cubicBezTo>
                  <a:cubicBezTo>
                    <a:pt x="3135915" y="1013937"/>
                    <a:pt x="3133153" y="1011174"/>
                    <a:pt x="3133153" y="1007745"/>
                  </a:cubicBezTo>
                  <a:cubicBezTo>
                    <a:pt x="3133153" y="1004316"/>
                    <a:pt x="3135915" y="1001554"/>
                    <a:pt x="3139344" y="1001554"/>
                  </a:cubicBezTo>
                  <a:close/>
                  <a:moveTo>
                    <a:pt x="2191511" y="999268"/>
                  </a:moveTo>
                  <a:cubicBezTo>
                    <a:pt x="2194940" y="999268"/>
                    <a:pt x="2197703" y="1002030"/>
                    <a:pt x="2197703" y="1005459"/>
                  </a:cubicBezTo>
                  <a:cubicBezTo>
                    <a:pt x="2197703" y="1008888"/>
                    <a:pt x="2194940" y="1011650"/>
                    <a:pt x="2191511" y="1011650"/>
                  </a:cubicBezTo>
                  <a:cubicBezTo>
                    <a:pt x="2188082" y="1011650"/>
                    <a:pt x="2185320" y="1008888"/>
                    <a:pt x="2185320" y="1005459"/>
                  </a:cubicBezTo>
                  <a:cubicBezTo>
                    <a:pt x="2185320" y="1002030"/>
                    <a:pt x="2188082" y="999268"/>
                    <a:pt x="2191511" y="999268"/>
                  </a:cubicBezTo>
                  <a:close/>
                  <a:moveTo>
                    <a:pt x="2996374" y="999077"/>
                  </a:moveTo>
                  <a:cubicBezTo>
                    <a:pt x="2999803" y="999077"/>
                    <a:pt x="3002566" y="1001839"/>
                    <a:pt x="3002566" y="1005268"/>
                  </a:cubicBezTo>
                  <a:cubicBezTo>
                    <a:pt x="3002566" y="1008697"/>
                    <a:pt x="2999803" y="1011460"/>
                    <a:pt x="2996374" y="1011460"/>
                  </a:cubicBezTo>
                  <a:cubicBezTo>
                    <a:pt x="2992945" y="1011460"/>
                    <a:pt x="2990183" y="1008697"/>
                    <a:pt x="2990183" y="1005268"/>
                  </a:cubicBezTo>
                  <a:cubicBezTo>
                    <a:pt x="2990183" y="1001839"/>
                    <a:pt x="2992945" y="999077"/>
                    <a:pt x="2996374" y="999077"/>
                  </a:cubicBezTo>
                  <a:close/>
                  <a:moveTo>
                    <a:pt x="264127" y="997935"/>
                  </a:moveTo>
                  <a:cubicBezTo>
                    <a:pt x="267556" y="997935"/>
                    <a:pt x="270318" y="1000697"/>
                    <a:pt x="270318" y="1004126"/>
                  </a:cubicBezTo>
                  <a:cubicBezTo>
                    <a:pt x="270318" y="1007555"/>
                    <a:pt x="267556" y="1010317"/>
                    <a:pt x="264127" y="1010317"/>
                  </a:cubicBezTo>
                  <a:cubicBezTo>
                    <a:pt x="260698" y="1010317"/>
                    <a:pt x="257936" y="1007555"/>
                    <a:pt x="257936" y="1004126"/>
                  </a:cubicBezTo>
                  <a:cubicBezTo>
                    <a:pt x="257936" y="1000697"/>
                    <a:pt x="260698" y="997935"/>
                    <a:pt x="264127" y="997935"/>
                  </a:cubicBezTo>
                  <a:close/>
                  <a:moveTo>
                    <a:pt x="2864738" y="996601"/>
                  </a:moveTo>
                  <a:cubicBezTo>
                    <a:pt x="2868167" y="996601"/>
                    <a:pt x="2870930" y="999363"/>
                    <a:pt x="2870930" y="1002792"/>
                  </a:cubicBezTo>
                  <a:cubicBezTo>
                    <a:pt x="2870930" y="1006221"/>
                    <a:pt x="2868167" y="1008983"/>
                    <a:pt x="2864738" y="1008983"/>
                  </a:cubicBezTo>
                  <a:cubicBezTo>
                    <a:pt x="2861309" y="1008983"/>
                    <a:pt x="2858547" y="1006221"/>
                    <a:pt x="2858547" y="1002792"/>
                  </a:cubicBezTo>
                  <a:cubicBezTo>
                    <a:pt x="2858547" y="999363"/>
                    <a:pt x="2861309" y="996601"/>
                    <a:pt x="2864738" y="996601"/>
                  </a:cubicBezTo>
                  <a:close/>
                  <a:moveTo>
                    <a:pt x="700087" y="995077"/>
                  </a:moveTo>
                  <a:cubicBezTo>
                    <a:pt x="703516" y="995077"/>
                    <a:pt x="706279" y="997839"/>
                    <a:pt x="706279" y="1001268"/>
                  </a:cubicBezTo>
                  <a:cubicBezTo>
                    <a:pt x="706279" y="1004697"/>
                    <a:pt x="703516" y="1007460"/>
                    <a:pt x="700087" y="1007460"/>
                  </a:cubicBezTo>
                  <a:cubicBezTo>
                    <a:pt x="696658" y="1007460"/>
                    <a:pt x="693896" y="1004697"/>
                    <a:pt x="693896" y="1001268"/>
                  </a:cubicBezTo>
                  <a:cubicBezTo>
                    <a:pt x="693896" y="997839"/>
                    <a:pt x="696658" y="995077"/>
                    <a:pt x="700087" y="995077"/>
                  </a:cubicBezTo>
                  <a:close/>
                  <a:moveTo>
                    <a:pt x="173831" y="993934"/>
                  </a:moveTo>
                  <a:cubicBezTo>
                    <a:pt x="177260" y="993934"/>
                    <a:pt x="180022" y="996696"/>
                    <a:pt x="180022" y="1000125"/>
                  </a:cubicBezTo>
                  <a:cubicBezTo>
                    <a:pt x="180022" y="1003554"/>
                    <a:pt x="177260" y="1006317"/>
                    <a:pt x="173831" y="1006317"/>
                  </a:cubicBezTo>
                  <a:lnTo>
                    <a:pt x="170640" y="1003126"/>
                  </a:lnTo>
                  <a:lnTo>
                    <a:pt x="165258" y="1008508"/>
                  </a:lnTo>
                  <a:lnTo>
                    <a:pt x="161639" y="1004888"/>
                  </a:lnTo>
                  <a:lnTo>
                    <a:pt x="156686" y="1009841"/>
                  </a:lnTo>
                  <a:lnTo>
                    <a:pt x="150971" y="1004126"/>
                  </a:lnTo>
                  <a:lnTo>
                    <a:pt x="146304" y="1008793"/>
                  </a:lnTo>
                  <a:cubicBezTo>
                    <a:pt x="143358" y="1008793"/>
                    <a:pt x="140970" y="1006405"/>
                    <a:pt x="140970" y="1003459"/>
                  </a:cubicBezTo>
                  <a:cubicBezTo>
                    <a:pt x="140970" y="1000513"/>
                    <a:pt x="143358" y="998125"/>
                    <a:pt x="146304" y="998125"/>
                  </a:cubicBezTo>
                  <a:lnTo>
                    <a:pt x="151161" y="1002983"/>
                  </a:lnTo>
                  <a:lnTo>
                    <a:pt x="156686" y="997458"/>
                  </a:lnTo>
                  <a:lnTo>
                    <a:pt x="160306" y="1001077"/>
                  </a:lnTo>
                  <a:lnTo>
                    <a:pt x="165258" y="996125"/>
                  </a:lnTo>
                  <a:lnTo>
                    <a:pt x="168449" y="999316"/>
                  </a:lnTo>
                  <a:close/>
                  <a:moveTo>
                    <a:pt x="226218" y="992505"/>
                  </a:moveTo>
                  <a:cubicBezTo>
                    <a:pt x="229647" y="992505"/>
                    <a:pt x="232409" y="995267"/>
                    <a:pt x="232409" y="998696"/>
                  </a:cubicBezTo>
                  <a:cubicBezTo>
                    <a:pt x="232409" y="1002125"/>
                    <a:pt x="229647" y="1004887"/>
                    <a:pt x="226218" y="1004887"/>
                  </a:cubicBezTo>
                  <a:cubicBezTo>
                    <a:pt x="222789" y="1004887"/>
                    <a:pt x="220027" y="1002125"/>
                    <a:pt x="220027" y="998696"/>
                  </a:cubicBezTo>
                  <a:cubicBezTo>
                    <a:pt x="220027" y="995267"/>
                    <a:pt x="222789" y="992505"/>
                    <a:pt x="226218" y="992505"/>
                  </a:cubicBezTo>
                  <a:close/>
                  <a:moveTo>
                    <a:pt x="184784" y="991839"/>
                  </a:moveTo>
                  <a:cubicBezTo>
                    <a:pt x="188213" y="991839"/>
                    <a:pt x="190975" y="994601"/>
                    <a:pt x="190975" y="998030"/>
                  </a:cubicBezTo>
                  <a:cubicBezTo>
                    <a:pt x="190975" y="1001459"/>
                    <a:pt x="188213" y="1004221"/>
                    <a:pt x="184784" y="1004221"/>
                  </a:cubicBezTo>
                  <a:cubicBezTo>
                    <a:pt x="181355" y="1004221"/>
                    <a:pt x="178593" y="1001459"/>
                    <a:pt x="178593" y="998030"/>
                  </a:cubicBezTo>
                  <a:cubicBezTo>
                    <a:pt x="178593" y="994601"/>
                    <a:pt x="181355" y="991839"/>
                    <a:pt x="184784" y="991839"/>
                  </a:cubicBezTo>
                  <a:close/>
                  <a:moveTo>
                    <a:pt x="3212496" y="991553"/>
                  </a:moveTo>
                  <a:cubicBezTo>
                    <a:pt x="3212686" y="991553"/>
                    <a:pt x="3212781" y="991648"/>
                    <a:pt x="3212781" y="991839"/>
                  </a:cubicBezTo>
                  <a:cubicBezTo>
                    <a:pt x="3212781" y="992029"/>
                    <a:pt x="3212496" y="992125"/>
                    <a:pt x="3212496" y="992125"/>
                  </a:cubicBezTo>
                  <a:cubicBezTo>
                    <a:pt x="3212305" y="992125"/>
                    <a:pt x="3212210" y="992029"/>
                    <a:pt x="3212210" y="991839"/>
                  </a:cubicBezTo>
                  <a:cubicBezTo>
                    <a:pt x="3212210" y="991648"/>
                    <a:pt x="3212305" y="991553"/>
                    <a:pt x="3212496" y="991553"/>
                  </a:cubicBezTo>
                  <a:close/>
                  <a:moveTo>
                    <a:pt x="1201102" y="991267"/>
                  </a:moveTo>
                  <a:cubicBezTo>
                    <a:pt x="1204531" y="991267"/>
                    <a:pt x="1207294" y="994029"/>
                    <a:pt x="1207294" y="997458"/>
                  </a:cubicBezTo>
                  <a:cubicBezTo>
                    <a:pt x="1207294" y="1000887"/>
                    <a:pt x="1204531" y="1003650"/>
                    <a:pt x="1201102" y="1003650"/>
                  </a:cubicBezTo>
                  <a:cubicBezTo>
                    <a:pt x="1197673" y="1003650"/>
                    <a:pt x="1194911" y="1000887"/>
                    <a:pt x="1194911" y="997458"/>
                  </a:cubicBezTo>
                  <a:cubicBezTo>
                    <a:pt x="1194911" y="994029"/>
                    <a:pt x="1197673" y="991267"/>
                    <a:pt x="1201102" y="991267"/>
                  </a:cubicBezTo>
                  <a:close/>
                  <a:moveTo>
                    <a:pt x="201167" y="990981"/>
                  </a:moveTo>
                  <a:cubicBezTo>
                    <a:pt x="204596" y="990981"/>
                    <a:pt x="207359" y="993743"/>
                    <a:pt x="207359" y="997172"/>
                  </a:cubicBezTo>
                  <a:cubicBezTo>
                    <a:pt x="207359" y="1000601"/>
                    <a:pt x="204596" y="1003364"/>
                    <a:pt x="201167" y="1003364"/>
                  </a:cubicBezTo>
                  <a:cubicBezTo>
                    <a:pt x="197738" y="1003364"/>
                    <a:pt x="194976" y="1000601"/>
                    <a:pt x="194976" y="997172"/>
                  </a:cubicBezTo>
                  <a:cubicBezTo>
                    <a:pt x="194976" y="993743"/>
                    <a:pt x="197738" y="990981"/>
                    <a:pt x="201167" y="990981"/>
                  </a:cubicBezTo>
                  <a:close/>
                  <a:moveTo>
                    <a:pt x="3194589" y="989552"/>
                  </a:moveTo>
                  <a:cubicBezTo>
                    <a:pt x="3198018" y="989552"/>
                    <a:pt x="3200781" y="992314"/>
                    <a:pt x="3200781" y="995743"/>
                  </a:cubicBezTo>
                  <a:cubicBezTo>
                    <a:pt x="3200781" y="999172"/>
                    <a:pt x="3198018" y="1001935"/>
                    <a:pt x="3194589" y="1001935"/>
                  </a:cubicBezTo>
                  <a:cubicBezTo>
                    <a:pt x="3191160" y="1001935"/>
                    <a:pt x="3188398" y="999172"/>
                    <a:pt x="3188398" y="995743"/>
                  </a:cubicBezTo>
                  <a:cubicBezTo>
                    <a:pt x="3188398" y="992314"/>
                    <a:pt x="3191160" y="989552"/>
                    <a:pt x="3194589" y="989552"/>
                  </a:cubicBezTo>
                  <a:close/>
                  <a:moveTo>
                    <a:pt x="3055333" y="988029"/>
                  </a:moveTo>
                  <a:cubicBezTo>
                    <a:pt x="3058762" y="988029"/>
                    <a:pt x="3061525" y="990791"/>
                    <a:pt x="3061525" y="994220"/>
                  </a:cubicBezTo>
                  <a:cubicBezTo>
                    <a:pt x="3061525" y="997649"/>
                    <a:pt x="3058762" y="1000411"/>
                    <a:pt x="3055333" y="1000411"/>
                  </a:cubicBezTo>
                  <a:cubicBezTo>
                    <a:pt x="3051904" y="1000411"/>
                    <a:pt x="3049142" y="997649"/>
                    <a:pt x="3049142" y="994220"/>
                  </a:cubicBezTo>
                  <a:cubicBezTo>
                    <a:pt x="3049142" y="990791"/>
                    <a:pt x="3051904" y="988029"/>
                    <a:pt x="3055333" y="988029"/>
                  </a:cubicBezTo>
                  <a:close/>
                  <a:moveTo>
                    <a:pt x="355949" y="987457"/>
                  </a:moveTo>
                  <a:cubicBezTo>
                    <a:pt x="359369" y="987457"/>
                    <a:pt x="362141" y="990229"/>
                    <a:pt x="362141" y="993648"/>
                  </a:cubicBezTo>
                  <a:cubicBezTo>
                    <a:pt x="362141" y="997068"/>
                    <a:pt x="359369" y="999839"/>
                    <a:pt x="355949" y="999839"/>
                  </a:cubicBezTo>
                  <a:cubicBezTo>
                    <a:pt x="352530" y="999839"/>
                    <a:pt x="349758" y="997068"/>
                    <a:pt x="349758" y="993648"/>
                  </a:cubicBezTo>
                  <a:cubicBezTo>
                    <a:pt x="349758" y="990229"/>
                    <a:pt x="352530" y="987457"/>
                    <a:pt x="355949" y="987457"/>
                  </a:cubicBezTo>
                  <a:close/>
                  <a:moveTo>
                    <a:pt x="3153250" y="985552"/>
                  </a:moveTo>
                  <a:lnTo>
                    <a:pt x="3159156" y="991457"/>
                  </a:lnTo>
                  <a:lnTo>
                    <a:pt x="3162299" y="988314"/>
                  </a:lnTo>
                  <a:lnTo>
                    <a:pt x="3167681" y="993696"/>
                  </a:lnTo>
                  <a:lnTo>
                    <a:pt x="3170967" y="990410"/>
                  </a:lnTo>
                  <a:lnTo>
                    <a:pt x="3176349" y="995792"/>
                  </a:lnTo>
                  <a:lnTo>
                    <a:pt x="3181159" y="990981"/>
                  </a:lnTo>
                  <a:cubicBezTo>
                    <a:pt x="3184588" y="990981"/>
                    <a:pt x="3187351" y="993743"/>
                    <a:pt x="3187351" y="997172"/>
                  </a:cubicBezTo>
                  <a:cubicBezTo>
                    <a:pt x="3187351" y="1000601"/>
                    <a:pt x="3184588" y="1003364"/>
                    <a:pt x="3181159" y="1003364"/>
                  </a:cubicBezTo>
                  <a:lnTo>
                    <a:pt x="3175777" y="997982"/>
                  </a:lnTo>
                  <a:lnTo>
                    <a:pt x="3170967" y="1002792"/>
                  </a:lnTo>
                  <a:lnTo>
                    <a:pt x="3165585" y="997410"/>
                  </a:lnTo>
                  <a:lnTo>
                    <a:pt x="3162299" y="1000697"/>
                  </a:lnTo>
                  <a:lnTo>
                    <a:pt x="3156394" y="994791"/>
                  </a:lnTo>
                  <a:lnTo>
                    <a:pt x="3153250" y="997935"/>
                  </a:lnTo>
                  <a:cubicBezTo>
                    <a:pt x="3149821" y="997935"/>
                    <a:pt x="3147059" y="995172"/>
                    <a:pt x="3147059" y="991743"/>
                  </a:cubicBezTo>
                  <a:cubicBezTo>
                    <a:pt x="3147059" y="988314"/>
                    <a:pt x="3149821" y="985552"/>
                    <a:pt x="3153250" y="985552"/>
                  </a:cubicBezTo>
                  <a:close/>
                  <a:moveTo>
                    <a:pt x="2596514" y="985457"/>
                  </a:moveTo>
                  <a:cubicBezTo>
                    <a:pt x="2599943" y="985457"/>
                    <a:pt x="2602705" y="988219"/>
                    <a:pt x="2602705" y="991648"/>
                  </a:cubicBezTo>
                  <a:cubicBezTo>
                    <a:pt x="2602705" y="995077"/>
                    <a:pt x="2599943" y="997840"/>
                    <a:pt x="2596514" y="997840"/>
                  </a:cubicBezTo>
                  <a:cubicBezTo>
                    <a:pt x="2593085" y="997840"/>
                    <a:pt x="2590323" y="995077"/>
                    <a:pt x="2590323" y="991648"/>
                  </a:cubicBezTo>
                  <a:cubicBezTo>
                    <a:pt x="2590323" y="988219"/>
                    <a:pt x="2593085" y="985457"/>
                    <a:pt x="2596514" y="985457"/>
                  </a:cubicBezTo>
                  <a:close/>
                  <a:moveTo>
                    <a:pt x="495966" y="984981"/>
                  </a:moveTo>
                  <a:cubicBezTo>
                    <a:pt x="499395" y="984981"/>
                    <a:pt x="502158" y="987743"/>
                    <a:pt x="502158" y="991172"/>
                  </a:cubicBezTo>
                  <a:cubicBezTo>
                    <a:pt x="502158" y="994601"/>
                    <a:pt x="499395" y="997363"/>
                    <a:pt x="495966" y="997363"/>
                  </a:cubicBezTo>
                  <a:cubicBezTo>
                    <a:pt x="492537" y="997363"/>
                    <a:pt x="489775" y="994601"/>
                    <a:pt x="489775" y="991172"/>
                  </a:cubicBezTo>
                  <a:cubicBezTo>
                    <a:pt x="489775" y="987743"/>
                    <a:pt x="492537" y="984981"/>
                    <a:pt x="495966" y="984981"/>
                  </a:cubicBezTo>
                  <a:close/>
                  <a:moveTo>
                    <a:pt x="2077021" y="984790"/>
                  </a:moveTo>
                  <a:cubicBezTo>
                    <a:pt x="2080450" y="984790"/>
                    <a:pt x="2083213" y="987552"/>
                    <a:pt x="2083213" y="990981"/>
                  </a:cubicBezTo>
                  <a:cubicBezTo>
                    <a:pt x="2083213" y="994410"/>
                    <a:pt x="2080450" y="997173"/>
                    <a:pt x="2077021" y="997173"/>
                  </a:cubicBezTo>
                  <a:cubicBezTo>
                    <a:pt x="2073592" y="997173"/>
                    <a:pt x="2070830" y="994410"/>
                    <a:pt x="2070830" y="990981"/>
                  </a:cubicBezTo>
                  <a:cubicBezTo>
                    <a:pt x="2070830" y="987552"/>
                    <a:pt x="2073592" y="984790"/>
                    <a:pt x="2077021" y="984790"/>
                  </a:cubicBezTo>
                  <a:close/>
                  <a:moveTo>
                    <a:pt x="3141249" y="982980"/>
                  </a:moveTo>
                  <a:cubicBezTo>
                    <a:pt x="3144678" y="982980"/>
                    <a:pt x="3147440" y="985742"/>
                    <a:pt x="3147440" y="989171"/>
                  </a:cubicBezTo>
                  <a:cubicBezTo>
                    <a:pt x="3147440" y="992600"/>
                    <a:pt x="3144678" y="995362"/>
                    <a:pt x="3141249" y="995362"/>
                  </a:cubicBezTo>
                  <a:cubicBezTo>
                    <a:pt x="3137820" y="995362"/>
                    <a:pt x="3135058" y="992600"/>
                    <a:pt x="3135058" y="989171"/>
                  </a:cubicBezTo>
                  <a:cubicBezTo>
                    <a:pt x="3135058" y="985742"/>
                    <a:pt x="3137820" y="982980"/>
                    <a:pt x="3141249" y="982980"/>
                  </a:cubicBezTo>
                  <a:close/>
                  <a:moveTo>
                    <a:pt x="3096100" y="982790"/>
                  </a:moveTo>
                  <a:cubicBezTo>
                    <a:pt x="3099529" y="982790"/>
                    <a:pt x="3102292" y="985552"/>
                    <a:pt x="3102292" y="988981"/>
                  </a:cubicBezTo>
                  <a:cubicBezTo>
                    <a:pt x="3102292" y="992410"/>
                    <a:pt x="3099529" y="995173"/>
                    <a:pt x="3096100" y="995173"/>
                  </a:cubicBezTo>
                  <a:cubicBezTo>
                    <a:pt x="3092671" y="995173"/>
                    <a:pt x="3089909" y="992410"/>
                    <a:pt x="3089909" y="988981"/>
                  </a:cubicBezTo>
                  <a:cubicBezTo>
                    <a:pt x="3089909" y="985552"/>
                    <a:pt x="3092671" y="982790"/>
                    <a:pt x="3096100" y="982790"/>
                  </a:cubicBezTo>
                  <a:close/>
                  <a:moveTo>
                    <a:pt x="3123342" y="981552"/>
                  </a:moveTo>
                  <a:cubicBezTo>
                    <a:pt x="3126771" y="981552"/>
                    <a:pt x="3129533" y="984314"/>
                    <a:pt x="3129533" y="987743"/>
                  </a:cubicBezTo>
                  <a:cubicBezTo>
                    <a:pt x="3129533" y="991172"/>
                    <a:pt x="3126771" y="993934"/>
                    <a:pt x="3123342" y="993934"/>
                  </a:cubicBezTo>
                  <a:cubicBezTo>
                    <a:pt x="3119913" y="993934"/>
                    <a:pt x="3117151" y="991172"/>
                    <a:pt x="3117151" y="987743"/>
                  </a:cubicBezTo>
                  <a:cubicBezTo>
                    <a:pt x="3117151" y="984314"/>
                    <a:pt x="3119913" y="981552"/>
                    <a:pt x="3123342" y="981552"/>
                  </a:cubicBezTo>
                  <a:close/>
                  <a:moveTo>
                    <a:pt x="175355" y="979266"/>
                  </a:moveTo>
                  <a:cubicBezTo>
                    <a:pt x="178784" y="979266"/>
                    <a:pt x="181546" y="982028"/>
                    <a:pt x="181546" y="985457"/>
                  </a:cubicBezTo>
                  <a:cubicBezTo>
                    <a:pt x="181546" y="988886"/>
                    <a:pt x="178784" y="991648"/>
                    <a:pt x="175355" y="991648"/>
                  </a:cubicBezTo>
                  <a:lnTo>
                    <a:pt x="172306" y="988600"/>
                  </a:lnTo>
                  <a:lnTo>
                    <a:pt x="166496" y="994411"/>
                  </a:lnTo>
                  <a:lnTo>
                    <a:pt x="162210" y="990124"/>
                  </a:lnTo>
                  <a:lnTo>
                    <a:pt x="156495" y="995839"/>
                  </a:lnTo>
                  <a:cubicBezTo>
                    <a:pt x="153066" y="995839"/>
                    <a:pt x="150304" y="993076"/>
                    <a:pt x="150304" y="989647"/>
                  </a:cubicBezTo>
                  <a:cubicBezTo>
                    <a:pt x="150304" y="986218"/>
                    <a:pt x="153066" y="983456"/>
                    <a:pt x="156495" y="983456"/>
                  </a:cubicBezTo>
                  <a:lnTo>
                    <a:pt x="160782" y="987742"/>
                  </a:lnTo>
                  <a:lnTo>
                    <a:pt x="166496" y="982028"/>
                  </a:lnTo>
                  <a:lnTo>
                    <a:pt x="169544" y="985077"/>
                  </a:lnTo>
                  <a:close/>
                  <a:moveTo>
                    <a:pt x="1319116" y="978123"/>
                  </a:moveTo>
                  <a:cubicBezTo>
                    <a:pt x="1322545" y="978123"/>
                    <a:pt x="1325308" y="980885"/>
                    <a:pt x="1325308" y="984314"/>
                  </a:cubicBezTo>
                  <a:cubicBezTo>
                    <a:pt x="1325308" y="987743"/>
                    <a:pt x="1322545" y="990506"/>
                    <a:pt x="1319116" y="990506"/>
                  </a:cubicBezTo>
                  <a:cubicBezTo>
                    <a:pt x="1315687" y="990506"/>
                    <a:pt x="1312925" y="987743"/>
                    <a:pt x="1312925" y="984314"/>
                  </a:cubicBezTo>
                  <a:cubicBezTo>
                    <a:pt x="1312925" y="980885"/>
                    <a:pt x="1315687" y="978123"/>
                    <a:pt x="1319116" y="978123"/>
                  </a:cubicBezTo>
                  <a:close/>
                  <a:moveTo>
                    <a:pt x="2957893" y="977265"/>
                  </a:moveTo>
                  <a:cubicBezTo>
                    <a:pt x="2961322" y="977265"/>
                    <a:pt x="2964084" y="980027"/>
                    <a:pt x="2964084" y="983456"/>
                  </a:cubicBezTo>
                  <a:cubicBezTo>
                    <a:pt x="2964084" y="986885"/>
                    <a:pt x="2961322" y="989648"/>
                    <a:pt x="2957893" y="989648"/>
                  </a:cubicBezTo>
                  <a:cubicBezTo>
                    <a:pt x="2954464" y="989648"/>
                    <a:pt x="2951702" y="986885"/>
                    <a:pt x="2951702" y="983456"/>
                  </a:cubicBezTo>
                  <a:cubicBezTo>
                    <a:pt x="2951702" y="980027"/>
                    <a:pt x="2954464" y="977265"/>
                    <a:pt x="2957893" y="977265"/>
                  </a:cubicBezTo>
                  <a:close/>
                  <a:moveTo>
                    <a:pt x="3183540" y="976884"/>
                  </a:moveTo>
                  <a:cubicBezTo>
                    <a:pt x="3186969" y="976884"/>
                    <a:pt x="3189732" y="979646"/>
                    <a:pt x="3189732" y="983075"/>
                  </a:cubicBezTo>
                  <a:cubicBezTo>
                    <a:pt x="3189732" y="986504"/>
                    <a:pt x="3186969" y="989266"/>
                    <a:pt x="3183540" y="989266"/>
                  </a:cubicBezTo>
                  <a:cubicBezTo>
                    <a:pt x="3180111" y="989266"/>
                    <a:pt x="3177349" y="986504"/>
                    <a:pt x="3177349" y="983075"/>
                  </a:cubicBezTo>
                  <a:cubicBezTo>
                    <a:pt x="3177349" y="979646"/>
                    <a:pt x="3180111" y="976884"/>
                    <a:pt x="3183540" y="976884"/>
                  </a:cubicBezTo>
                  <a:close/>
                  <a:moveTo>
                    <a:pt x="292417" y="976408"/>
                  </a:moveTo>
                  <a:cubicBezTo>
                    <a:pt x="295846" y="976408"/>
                    <a:pt x="298609" y="979170"/>
                    <a:pt x="298609" y="982599"/>
                  </a:cubicBezTo>
                  <a:cubicBezTo>
                    <a:pt x="298609" y="986028"/>
                    <a:pt x="295846" y="988791"/>
                    <a:pt x="292417" y="988791"/>
                  </a:cubicBezTo>
                  <a:cubicBezTo>
                    <a:pt x="288988" y="988791"/>
                    <a:pt x="286226" y="986028"/>
                    <a:pt x="286226" y="982599"/>
                  </a:cubicBezTo>
                  <a:cubicBezTo>
                    <a:pt x="286226" y="979170"/>
                    <a:pt x="288988" y="976408"/>
                    <a:pt x="292417" y="976408"/>
                  </a:cubicBezTo>
                  <a:close/>
                  <a:moveTo>
                    <a:pt x="185165" y="975741"/>
                  </a:moveTo>
                  <a:cubicBezTo>
                    <a:pt x="188594" y="975741"/>
                    <a:pt x="191356" y="978503"/>
                    <a:pt x="191356" y="981932"/>
                  </a:cubicBezTo>
                  <a:cubicBezTo>
                    <a:pt x="191356" y="985361"/>
                    <a:pt x="188594" y="988124"/>
                    <a:pt x="185165" y="988124"/>
                  </a:cubicBezTo>
                  <a:cubicBezTo>
                    <a:pt x="181736" y="988124"/>
                    <a:pt x="178974" y="985361"/>
                    <a:pt x="178974" y="981932"/>
                  </a:cubicBezTo>
                  <a:cubicBezTo>
                    <a:pt x="178974" y="978503"/>
                    <a:pt x="181736" y="975741"/>
                    <a:pt x="185165" y="975741"/>
                  </a:cubicBezTo>
                  <a:close/>
                  <a:moveTo>
                    <a:pt x="154495" y="975741"/>
                  </a:moveTo>
                  <a:cubicBezTo>
                    <a:pt x="154601" y="975741"/>
                    <a:pt x="154686" y="975826"/>
                    <a:pt x="154686" y="975931"/>
                  </a:cubicBezTo>
                  <a:cubicBezTo>
                    <a:pt x="154686" y="976037"/>
                    <a:pt x="154601" y="976122"/>
                    <a:pt x="154495" y="976122"/>
                  </a:cubicBezTo>
                  <a:cubicBezTo>
                    <a:pt x="154390" y="976122"/>
                    <a:pt x="154305" y="976037"/>
                    <a:pt x="154305" y="975931"/>
                  </a:cubicBezTo>
                  <a:cubicBezTo>
                    <a:pt x="154305" y="975826"/>
                    <a:pt x="154390" y="975741"/>
                    <a:pt x="154495" y="975741"/>
                  </a:cubicBezTo>
                  <a:close/>
                  <a:moveTo>
                    <a:pt x="3200209" y="975075"/>
                  </a:moveTo>
                  <a:cubicBezTo>
                    <a:pt x="3203352" y="975075"/>
                    <a:pt x="3205828" y="977552"/>
                    <a:pt x="3205828" y="980695"/>
                  </a:cubicBezTo>
                  <a:cubicBezTo>
                    <a:pt x="3205828" y="983838"/>
                    <a:pt x="3203352" y="986315"/>
                    <a:pt x="3200209" y="986315"/>
                  </a:cubicBezTo>
                  <a:cubicBezTo>
                    <a:pt x="3197065" y="986315"/>
                    <a:pt x="3194589" y="983838"/>
                    <a:pt x="3194589" y="980695"/>
                  </a:cubicBezTo>
                  <a:cubicBezTo>
                    <a:pt x="3194589" y="977552"/>
                    <a:pt x="3197065" y="975075"/>
                    <a:pt x="3200209" y="975075"/>
                  </a:cubicBezTo>
                  <a:close/>
                  <a:moveTo>
                    <a:pt x="2810255" y="974884"/>
                  </a:moveTo>
                  <a:cubicBezTo>
                    <a:pt x="2813684" y="974884"/>
                    <a:pt x="2816446" y="977646"/>
                    <a:pt x="2816446" y="981075"/>
                  </a:cubicBezTo>
                  <a:cubicBezTo>
                    <a:pt x="2816446" y="984504"/>
                    <a:pt x="2813684" y="987267"/>
                    <a:pt x="2810255" y="987267"/>
                  </a:cubicBezTo>
                  <a:cubicBezTo>
                    <a:pt x="2806826" y="987267"/>
                    <a:pt x="2804064" y="984504"/>
                    <a:pt x="2804064" y="981075"/>
                  </a:cubicBezTo>
                  <a:cubicBezTo>
                    <a:pt x="2804064" y="977646"/>
                    <a:pt x="2806826" y="974884"/>
                    <a:pt x="2810255" y="974884"/>
                  </a:cubicBezTo>
                  <a:close/>
                  <a:moveTo>
                    <a:pt x="3160966" y="974598"/>
                  </a:moveTo>
                  <a:lnTo>
                    <a:pt x="3167063" y="980694"/>
                  </a:lnTo>
                  <a:lnTo>
                    <a:pt x="3170967" y="976789"/>
                  </a:lnTo>
                  <a:cubicBezTo>
                    <a:pt x="3174396" y="976789"/>
                    <a:pt x="3177158" y="979551"/>
                    <a:pt x="3177158" y="982980"/>
                  </a:cubicBezTo>
                  <a:cubicBezTo>
                    <a:pt x="3177158" y="986409"/>
                    <a:pt x="3174396" y="989171"/>
                    <a:pt x="3170967" y="989171"/>
                  </a:cubicBezTo>
                  <a:lnTo>
                    <a:pt x="3164872" y="983076"/>
                  </a:lnTo>
                  <a:lnTo>
                    <a:pt x="3160966" y="986981"/>
                  </a:lnTo>
                  <a:cubicBezTo>
                    <a:pt x="3157547" y="986981"/>
                    <a:pt x="3154775" y="984209"/>
                    <a:pt x="3154775" y="980789"/>
                  </a:cubicBezTo>
                  <a:cubicBezTo>
                    <a:pt x="3154775" y="977370"/>
                    <a:pt x="3157547" y="974598"/>
                    <a:pt x="3160966" y="974598"/>
                  </a:cubicBezTo>
                  <a:close/>
                  <a:moveTo>
                    <a:pt x="778382" y="974503"/>
                  </a:moveTo>
                  <a:cubicBezTo>
                    <a:pt x="781811" y="974503"/>
                    <a:pt x="784574" y="977265"/>
                    <a:pt x="784574" y="980694"/>
                  </a:cubicBezTo>
                  <a:cubicBezTo>
                    <a:pt x="784574" y="984123"/>
                    <a:pt x="781811" y="986885"/>
                    <a:pt x="778382" y="986885"/>
                  </a:cubicBezTo>
                  <a:cubicBezTo>
                    <a:pt x="774953" y="986885"/>
                    <a:pt x="772191" y="984123"/>
                    <a:pt x="772191" y="980694"/>
                  </a:cubicBezTo>
                  <a:cubicBezTo>
                    <a:pt x="772191" y="977265"/>
                    <a:pt x="774953" y="974503"/>
                    <a:pt x="778382" y="974503"/>
                  </a:cubicBezTo>
                  <a:close/>
                  <a:moveTo>
                    <a:pt x="1956149" y="973170"/>
                  </a:moveTo>
                  <a:cubicBezTo>
                    <a:pt x="1959578" y="973170"/>
                    <a:pt x="1962341" y="975932"/>
                    <a:pt x="1962341" y="979361"/>
                  </a:cubicBezTo>
                  <a:cubicBezTo>
                    <a:pt x="1962341" y="982790"/>
                    <a:pt x="1959578" y="985552"/>
                    <a:pt x="1956149" y="985552"/>
                  </a:cubicBezTo>
                  <a:cubicBezTo>
                    <a:pt x="1952720" y="985552"/>
                    <a:pt x="1949958" y="982790"/>
                    <a:pt x="1949958" y="979361"/>
                  </a:cubicBezTo>
                  <a:cubicBezTo>
                    <a:pt x="1949958" y="975932"/>
                    <a:pt x="1952720" y="973170"/>
                    <a:pt x="1956149" y="973170"/>
                  </a:cubicBezTo>
                  <a:close/>
                  <a:moveTo>
                    <a:pt x="198310" y="972503"/>
                  </a:moveTo>
                  <a:cubicBezTo>
                    <a:pt x="201739" y="972503"/>
                    <a:pt x="204501" y="975265"/>
                    <a:pt x="204501" y="978694"/>
                  </a:cubicBezTo>
                  <a:cubicBezTo>
                    <a:pt x="204501" y="982123"/>
                    <a:pt x="201739" y="984886"/>
                    <a:pt x="198310" y="984886"/>
                  </a:cubicBezTo>
                  <a:cubicBezTo>
                    <a:pt x="194881" y="984886"/>
                    <a:pt x="192119" y="982123"/>
                    <a:pt x="192119" y="978694"/>
                  </a:cubicBezTo>
                  <a:cubicBezTo>
                    <a:pt x="192119" y="975265"/>
                    <a:pt x="194881" y="972503"/>
                    <a:pt x="198310" y="972503"/>
                  </a:cubicBezTo>
                  <a:close/>
                  <a:moveTo>
                    <a:pt x="248125" y="971360"/>
                  </a:moveTo>
                  <a:cubicBezTo>
                    <a:pt x="251554" y="971360"/>
                    <a:pt x="254317" y="974122"/>
                    <a:pt x="254317" y="977551"/>
                  </a:cubicBezTo>
                  <a:cubicBezTo>
                    <a:pt x="254317" y="980980"/>
                    <a:pt x="251554" y="983742"/>
                    <a:pt x="248125" y="983742"/>
                  </a:cubicBezTo>
                  <a:cubicBezTo>
                    <a:pt x="244696" y="983742"/>
                    <a:pt x="241934" y="980980"/>
                    <a:pt x="241934" y="977551"/>
                  </a:cubicBezTo>
                  <a:cubicBezTo>
                    <a:pt x="241934" y="974122"/>
                    <a:pt x="244696" y="971360"/>
                    <a:pt x="248125" y="971360"/>
                  </a:cubicBezTo>
                  <a:close/>
                  <a:moveTo>
                    <a:pt x="3151822" y="971169"/>
                  </a:moveTo>
                  <a:cubicBezTo>
                    <a:pt x="3155251" y="971169"/>
                    <a:pt x="3158013" y="973931"/>
                    <a:pt x="3158013" y="977360"/>
                  </a:cubicBezTo>
                  <a:cubicBezTo>
                    <a:pt x="3158013" y="980789"/>
                    <a:pt x="3155251" y="983552"/>
                    <a:pt x="3151822" y="983552"/>
                  </a:cubicBezTo>
                  <a:cubicBezTo>
                    <a:pt x="3148393" y="983552"/>
                    <a:pt x="3145631" y="980789"/>
                    <a:pt x="3145631" y="977360"/>
                  </a:cubicBezTo>
                  <a:cubicBezTo>
                    <a:pt x="3145631" y="973931"/>
                    <a:pt x="3148393" y="971169"/>
                    <a:pt x="3151822" y="971169"/>
                  </a:cubicBezTo>
                  <a:close/>
                  <a:moveTo>
                    <a:pt x="218122" y="970598"/>
                  </a:moveTo>
                  <a:cubicBezTo>
                    <a:pt x="221551" y="970598"/>
                    <a:pt x="224313" y="973360"/>
                    <a:pt x="224313" y="976789"/>
                  </a:cubicBezTo>
                  <a:cubicBezTo>
                    <a:pt x="224313" y="980218"/>
                    <a:pt x="221551" y="982981"/>
                    <a:pt x="218122" y="982981"/>
                  </a:cubicBezTo>
                  <a:cubicBezTo>
                    <a:pt x="214693" y="982981"/>
                    <a:pt x="211931" y="980218"/>
                    <a:pt x="211931" y="976789"/>
                  </a:cubicBezTo>
                  <a:cubicBezTo>
                    <a:pt x="211931" y="973360"/>
                    <a:pt x="214693" y="970598"/>
                    <a:pt x="218122" y="970598"/>
                  </a:cubicBezTo>
                  <a:close/>
                  <a:moveTo>
                    <a:pt x="166782" y="968788"/>
                  </a:moveTo>
                  <a:cubicBezTo>
                    <a:pt x="170211" y="968788"/>
                    <a:pt x="172973" y="971550"/>
                    <a:pt x="172973" y="974979"/>
                  </a:cubicBezTo>
                  <a:cubicBezTo>
                    <a:pt x="172973" y="978408"/>
                    <a:pt x="170211" y="981171"/>
                    <a:pt x="166782" y="981171"/>
                  </a:cubicBezTo>
                  <a:cubicBezTo>
                    <a:pt x="163353" y="981171"/>
                    <a:pt x="160591" y="978408"/>
                    <a:pt x="160591" y="974979"/>
                  </a:cubicBezTo>
                  <a:cubicBezTo>
                    <a:pt x="160591" y="971550"/>
                    <a:pt x="163353" y="968788"/>
                    <a:pt x="166782" y="968788"/>
                  </a:cubicBezTo>
                  <a:close/>
                  <a:moveTo>
                    <a:pt x="1442941" y="968312"/>
                  </a:moveTo>
                  <a:cubicBezTo>
                    <a:pt x="1446370" y="968312"/>
                    <a:pt x="1449133" y="971074"/>
                    <a:pt x="1449133" y="974503"/>
                  </a:cubicBezTo>
                  <a:cubicBezTo>
                    <a:pt x="1449133" y="977932"/>
                    <a:pt x="1446370" y="980694"/>
                    <a:pt x="1442941" y="980694"/>
                  </a:cubicBezTo>
                  <a:cubicBezTo>
                    <a:pt x="1439512" y="980694"/>
                    <a:pt x="1436750" y="977932"/>
                    <a:pt x="1436750" y="974503"/>
                  </a:cubicBezTo>
                  <a:cubicBezTo>
                    <a:pt x="1436750" y="971074"/>
                    <a:pt x="1439512" y="968312"/>
                    <a:pt x="1442941" y="968312"/>
                  </a:cubicBezTo>
                  <a:close/>
                  <a:moveTo>
                    <a:pt x="3141440" y="967073"/>
                  </a:moveTo>
                  <a:cubicBezTo>
                    <a:pt x="3144869" y="967073"/>
                    <a:pt x="3147631" y="969835"/>
                    <a:pt x="3147631" y="973264"/>
                  </a:cubicBezTo>
                  <a:cubicBezTo>
                    <a:pt x="3147631" y="976693"/>
                    <a:pt x="3144869" y="979456"/>
                    <a:pt x="3141440" y="979456"/>
                  </a:cubicBezTo>
                  <a:cubicBezTo>
                    <a:pt x="3138011" y="979456"/>
                    <a:pt x="3135249" y="976693"/>
                    <a:pt x="3135249" y="973264"/>
                  </a:cubicBezTo>
                  <a:cubicBezTo>
                    <a:pt x="3135249" y="969835"/>
                    <a:pt x="3138011" y="967073"/>
                    <a:pt x="3141440" y="967073"/>
                  </a:cubicBezTo>
                  <a:close/>
                  <a:moveTo>
                    <a:pt x="3025425" y="966216"/>
                  </a:moveTo>
                  <a:cubicBezTo>
                    <a:pt x="3028854" y="966216"/>
                    <a:pt x="3031616" y="968978"/>
                    <a:pt x="3031616" y="972407"/>
                  </a:cubicBezTo>
                  <a:cubicBezTo>
                    <a:pt x="3031616" y="975836"/>
                    <a:pt x="3028854" y="978599"/>
                    <a:pt x="3025425" y="978599"/>
                  </a:cubicBezTo>
                  <a:cubicBezTo>
                    <a:pt x="3021996" y="978599"/>
                    <a:pt x="3019234" y="975836"/>
                    <a:pt x="3019234" y="972407"/>
                  </a:cubicBezTo>
                  <a:cubicBezTo>
                    <a:pt x="3019234" y="968978"/>
                    <a:pt x="3021996" y="966216"/>
                    <a:pt x="3025425" y="966216"/>
                  </a:cubicBezTo>
                  <a:close/>
                  <a:moveTo>
                    <a:pt x="176688" y="965931"/>
                  </a:moveTo>
                  <a:cubicBezTo>
                    <a:pt x="180117" y="965931"/>
                    <a:pt x="182880" y="968693"/>
                    <a:pt x="182880" y="972122"/>
                  </a:cubicBezTo>
                  <a:cubicBezTo>
                    <a:pt x="182880" y="975551"/>
                    <a:pt x="180117" y="978313"/>
                    <a:pt x="176688" y="978313"/>
                  </a:cubicBezTo>
                  <a:cubicBezTo>
                    <a:pt x="173259" y="978313"/>
                    <a:pt x="170497" y="975551"/>
                    <a:pt x="170497" y="972122"/>
                  </a:cubicBezTo>
                  <a:cubicBezTo>
                    <a:pt x="170497" y="968693"/>
                    <a:pt x="173259" y="965931"/>
                    <a:pt x="176688" y="965931"/>
                  </a:cubicBezTo>
                  <a:close/>
                  <a:moveTo>
                    <a:pt x="396716" y="965359"/>
                  </a:moveTo>
                  <a:cubicBezTo>
                    <a:pt x="400145" y="965359"/>
                    <a:pt x="402907" y="968121"/>
                    <a:pt x="402907" y="971550"/>
                  </a:cubicBezTo>
                  <a:cubicBezTo>
                    <a:pt x="402907" y="974979"/>
                    <a:pt x="400145" y="977742"/>
                    <a:pt x="396716" y="977742"/>
                  </a:cubicBezTo>
                  <a:cubicBezTo>
                    <a:pt x="393287" y="977742"/>
                    <a:pt x="390525" y="974979"/>
                    <a:pt x="390525" y="971550"/>
                  </a:cubicBezTo>
                  <a:cubicBezTo>
                    <a:pt x="390525" y="968121"/>
                    <a:pt x="393287" y="965359"/>
                    <a:pt x="396716" y="965359"/>
                  </a:cubicBezTo>
                  <a:close/>
                  <a:moveTo>
                    <a:pt x="1830133" y="965073"/>
                  </a:moveTo>
                  <a:cubicBezTo>
                    <a:pt x="1833562" y="965073"/>
                    <a:pt x="1836324" y="967835"/>
                    <a:pt x="1836324" y="971264"/>
                  </a:cubicBezTo>
                  <a:cubicBezTo>
                    <a:pt x="1836324" y="974693"/>
                    <a:pt x="1833562" y="977456"/>
                    <a:pt x="1830133" y="977456"/>
                  </a:cubicBezTo>
                  <a:cubicBezTo>
                    <a:pt x="1826704" y="977456"/>
                    <a:pt x="1823942" y="974693"/>
                    <a:pt x="1823942" y="971264"/>
                  </a:cubicBezTo>
                  <a:cubicBezTo>
                    <a:pt x="1823942" y="967835"/>
                    <a:pt x="1826704" y="965073"/>
                    <a:pt x="1830133" y="965073"/>
                  </a:cubicBezTo>
                  <a:close/>
                  <a:moveTo>
                    <a:pt x="2515075" y="964978"/>
                  </a:moveTo>
                  <a:cubicBezTo>
                    <a:pt x="2518504" y="964978"/>
                    <a:pt x="2521267" y="967740"/>
                    <a:pt x="2521267" y="971169"/>
                  </a:cubicBezTo>
                  <a:cubicBezTo>
                    <a:pt x="2521267" y="974598"/>
                    <a:pt x="2518504" y="977360"/>
                    <a:pt x="2515075" y="977360"/>
                  </a:cubicBezTo>
                  <a:cubicBezTo>
                    <a:pt x="2511646" y="977360"/>
                    <a:pt x="2508884" y="974598"/>
                    <a:pt x="2508884" y="971169"/>
                  </a:cubicBezTo>
                  <a:cubicBezTo>
                    <a:pt x="2508884" y="967740"/>
                    <a:pt x="2511646" y="964978"/>
                    <a:pt x="2515075" y="964978"/>
                  </a:cubicBezTo>
                  <a:close/>
                  <a:moveTo>
                    <a:pt x="3172586" y="963454"/>
                  </a:moveTo>
                  <a:cubicBezTo>
                    <a:pt x="3176015" y="963454"/>
                    <a:pt x="3178778" y="966216"/>
                    <a:pt x="3178778" y="969645"/>
                  </a:cubicBezTo>
                  <a:cubicBezTo>
                    <a:pt x="3178778" y="973074"/>
                    <a:pt x="3176015" y="975837"/>
                    <a:pt x="3172586" y="975837"/>
                  </a:cubicBezTo>
                  <a:cubicBezTo>
                    <a:pt x="3169157" y="975837"/>
                    <a:pt x="3166395" y="973074"/>
                    <a:pt x="3166395" y="969645"/>
                  </a:cubicBezTo>
                  <a:cubicBezTo>
                    <a:pt x="3166395" y="966216"/>
                    <a:pt x="3169157" y="963454"/>
                    <a:pt x="3172586" y="963454"/>
                  </a:cubicBezTo>
                  <a:close/>
                  <a:moveTo>
                    <a:pt x="3127057" y="963264"/>
                  </a:moveTo>
                  <a:cubicBezTo>
                    <a:pt x="3130486" y="963264"/>
                    <a:pt x="3133249" y="966026"/>
                    <a:pt x="3133249" y="969455"/>
                  </a:cubicBezTo>
                  <a:cubicBezTo>
                    <a:pt x="3133249" y="972884"/>
                    <a:pt x="3130486" y="975646"/>
                    <a:pt x="3127057" y="975646"/>
                  </a:cubicBezTo>
                  <a:cubicBezTo>
                    <a:pt x="3123628" y="975646"/>
                    <a:pt x="3120866" y="972884"/>
                    <a:pt x="3120866" y="969455"/>
                  </a:cubicBezTo>
                  <a:cubicBezTo>
                    <a:pt x="3120866" y="966026"/>
                    <a:pt x="3123628" y="963264"/>
                    <a:pt x="3127057" y="963264"/>
                  </a:cubicBezTo>
                  <a:close/>
                  <a:moveTo>
                    <a:pt x="553211" y="963073"/>
                  </a:moveTo>
                  <a:cubicBezTo>
                    <a:pt x="556640" y="963073"/>
                    <a:pt x="559402" y="965835"/>
                    <a:pt x="559402" y="969264"/>
                  </a:cubicBezTo>
                  <a:cubicBezTo>
                    <a:pt x="559402" y="972693"/>
                    <a:pt x="556640" y="975456"/>
                    <a:pt x="553211" y="975456"/>
                  </a:cubicBezTo>
                  <a:cubicBezTo>
                    <a:pt x="549782" y="975456"/>
                    <a:pt x="547020" y="972693"/>
                    <a:pt x="547020" y="969264"/>
                  </a:cubicBezTo>
                  <a:cubicBezTo>
                    <a:pt x="547020" y="965835"/>
                    <a:pt x="549782" y="963073"/>
                    <a:pt x="553211" y="963073"/>
                  </a:cubicBezTo>
                  <a:close/>
                  <a:moveTo>
                    <a:pt x="3188112" y="962692"/>
                  </a:moveTo>
                  <a:cubicBezTo>
                    <a:pt x="3191541" y="962692"/>
                    <a:pt x="3194303" y="965454"/>
                    <a:pt x="3194303" y="968883"/>
                  </a:cubicBezTo>
                  <a:cubicBezTo>
                    <a:pt x="3194303" y="972312"/>
                    <a:pt x="3191541" y="975075"/>
                    <a:pt x="3188112" y="975075"/>
                  </a:cubicBezTo>
                  <a:cubicBezTo>
                    <a:pt x="3184683" y="975075"/>
                    <a:pt x="3181921" y="972312"/>
                    <a:pt x="3181921" y="968883"/>
                  </a:cubicBezTo>
                  <a:cubicBezTo>
                    <a:pt x="3181921" y="965454"/>
                    <a:pt x="3184683" y="962692"/>
                    <a:pt x="3188112" y="962692"/>
                  </a:cubicBezTo>
                  <a:close/>
                  <a:moveTo>
                    <a:pt x="1570957" y="962502"/>
                  </a:moveTo>
                  <a:cubicBezTo>
                    <a:pt x="1574386" y="962502"/>
                    <a:pt x="1577149" y="965264"/>
                    <a:pt x="1577149" y="968693"/>
                  </a:cubicBezTo>
                  <a:cubicBezTo>
                    <a:pt x="1577149" y="972122"/>
                    <a:pt x="1574386" y="974884"/>
                    <a:pt x="1570957" y="974884"/>
                  </a:cubicBezTo>
                  <a:cubicBezTo>
                    <a:pt x="1567528" y="974884"/>
                    <a:pt x="1564766" y="972122"/>
                    <a:pt x="1564766" y="968693"/>
                  </a:cubicBezTo>
                  <a:cubicBezTo>
                    <a:pt x="1564766" y="965264"/>
                    <a:pt x="1567528" y="962502"/>
                    <a:pt x="1570957" y="962502"/>
                  </a:cubicBezTo>
                  <a:close/>
                  <a:moveTo>
                    <a:pt x="3160585" y="961739"/>
                  </a:moveTo>
                  <a:cubicBezTo>
                    <a:pt x="3164014" y="961739"/>
                    <a:pt x="3166776" y="964501"/>
                    <a:pt x="3166776" y="967930"/>
                  </a:cubicBezTo>
                  <a:cubicBezTo>
                    <a:pt x="3166776" y="971359"/>
                    <a:pt x="3164014" y="974122"/>
                    <a:pt x="3160585" y="974122"/>
                  </a:cubicBezTo>
                  <a:cubicBezTo>
                    <a:pt x="3157156" y="974122"/>
                    <a:pt x="3154394" y="971359"/>
                    <a:pt x="3154394" y="967930"/>
                  </a:cubicBezTo>
                  <a:cubicBezTo>
                    <a:pt x="3154394" y="964501"/>
                    <a:pt x="3157156" y="961739"/>
                    <a:pt x="3160585" y="961739"/>
                  </a:cubicBezTo>
                  <a:close/>
                  <a:moveTo>
                    <a:pt x="186213" y="961644"/>
                  </a:moveTo>
                  <a:cubicBezTo>
                    <a:pt x="189642" y="961644"/>
                    <a:pt x="192405" y="964406"/>
                    <a:pt x="192405" y="967835"/>
                  </a:cubicBezTo>
                  <a:cubicBezTo>
                    <a:pt x="192405" y="971264"/>
                    <a:pt x="189642" y="974027"/>
                    <a:pt x="186213" y="974027"/>
                  </a:cubicBezTo>
                  <a:cubicBezTo>
                    <a:pt x="182784" y="974027"/>
                    <a:pt x="180022" y="971264"/>
                    <a:pt x="180022" y="967835"/>
                  </a:cubicBezTo>
                  <a:cubicBezTo>
                    <a:pt x="180022" y="964406"/>
                    <a:pt x="182784" y="961644"/>
                    <a:pt x="186213" y="961644"/>
                  </a:cubicBezTo>
                  <a:close/>
                  <a:moveTo>
                    <a:pt x="3073050" y="961358"/>
                  </a:moveTo>
                  <a:cubicBezTo>
                    <a:pt x="3076479" y="961358"/>
                    <a:pt x="3079241" y="964120"/>
                    <a:pt x="3079241" y="967549"/>
                  </a:cubicBezTo>
                  <a:cubicBezTo>
                    <a:pt x="3079241" y="970978"/>
                    <a:pt x="3076479" y="973741"/>
                    <a:pt x="3073050" y="973741"/>
                  </a:cubicBezTo>
                  <a:cubicBezTo>
                    <a:pt x="3069621" y="973741"/>
                    <a:pt x="3066859" y="970978"/>
                    <a:pt x="3066859" y="967549"/>
                  </a:cubicBezTo>
                  <a:cubicBezTo>
                    <a:pt x="3066859" y="964120"/>
                    <a:pt x="3069621" y="961358"/>
                    <a:pt x="3073050" y="961358"/>
                  </a:cubicBezTo>
                  <a:close/>
                  <a:moveTo>
                    <a:pt x="1700878" y="961358"/>
                  </a:moveTo>
                  <a:cubicBezTo>
                    <a:pt x="1704307" y="961358"/>
                    <a:pt x="1707070" y="964120"/>
                    <a:pt x="1707070" y="967549"/>
                  </a:cubicBezTo>
                  <a:cubicBezTo>
                    <a:pt x="1707070" y="970978"/>
                    <a:pt x="1704307" y="973741"/>
                    <a:pt x="1700878" y="973741"/>
                  </a:cubicBezTo>
                  <a:cubicBezTo>
                    <a:pt x="1697449" y="973741"/>
                    <a:pt x="1694687" y="970978"/>
                    <a:pt x="1694687" y="967549"/>
                  </a:cubicBezTo>
                  <a:cubicBezTo>
                    <a:pt x="1694687" y="964120"/>
                    <a:pt x="1697449" y="961358"/>
                    <a:pt x="1700878" y="961358"/>
                  </a:cubicBezTo>
                  <a:close/>
                  <a:moveTo>
                    <a:pt x="3105435" y="960882"/>
                  </a:moveTo>
                  <a:cubicBezTo>
                    <a:pt x="3108864" y="960882"/>
                    <a:pt x="3111626" y="963644"/>
                    <a:pt x="3111626" y="967073"/>
                  </a:cubicBezTo>
                  <a:cubicBezTo>
                    <a:pt x="3111626" y="970502"/>
                    <a:pt x="3108864" y="973264"/>
                    <a:pt x="3105435" y="973264"/>
                  </a:cubicBezTo>
                  <a:cubicBezTo>
                    <a:pt x="3102006" y="973264"/>
                    <a:pt x="3099244" y="970502"/>
                    <a:pt x="3099244" y="967073"/>
                  </a:cubicBezTo>
                  <a:cubicBezTo>
                    <a:pt x="3099244" y="963644"/>
                    <a:pt x="3102006" y="960882"/>
                    <a:pt x="3105435" y="960882"/>
                  </a:cubicBezTo>
                  <a:close/>
                  <a:moveTo>
                    <a:pt x="3150583" y="958120"/>
                  </a:moveTo>
                  <a:cubicBezTo>
                    <a:pt x="3154012" y="958120"/>
                    <a:pt x="3156775" y="960882"/>
                    <a:pt x="3156775" y="964311"/>
                  </a:cubicBezTo>
                  <a:cubicBezTo>
                    <a:pt x="3156775" y="967740"/>
                    <a:pt x="3154012" y="970502"/>
                    <a:pt x="3150583" y="970502"/>
                  </a:cubicBezTo>
                  <a:cubicBezTo>
                    <a:pt x="3147154" y="970502"/>
                    <a:pt x="3144392" y="967740"/>
                    <a:pt x="3144392" y="964311"/>
                  </a:cubicBezTo>
                  <a:cubicBezTo>
                    <a:pt x="3144392" y="960882"/>
                    <a:pt x="3147154" y="958120"/>
                    <a:pt x="3150583" y="958120"/>
                  </a:cubicBezTo>
                  <a:close/>
                  <a:moveTo>
                    <a:pt x="197548" y="956787"/>
                  </a:moveTo>
                  <a:cubicBezTo>
                    <a:pt x="200977" y="956787"/>
                    <a:pt x="203739" y="959549"/>
                    <a:pt x="203739" y="962978"/>
                  </a:cubicBezTo>
                  <a:cubicBezTo>
                    <a:pt x="203739" y="966407"/>
                    <a:pt x="200977" y="969169"/>
                    <a:pt x="197548" y="969169"/>
                  </a:cubicBezTo>
                  <a:cubicBezTo>
                    <a:pt x="194119" y="969169"/>
                    <a:pt x="191357" y="966407"/>
                    <a:pt x="191357" y="962978"/>
                  </a:cubicBezTo>
                  <a:cubicBezTo>
                    <a:pt x="191357" y="959549"/>
                    <a:pt x="194119" y="956787"/>
                    <a:pt x="197548" y="956787"/>
                  </a:cubicBezTo>
                  <a:close/>
                  <a:moveTo>
                    <a:pt x="165449" y="956406"/>
                  </a:moveTo>
                  <a:cubicBezTo>
                    <a:pt x="168592" y="956406"/>
                    <a:pt x="171068" y="958883"/>
                    <a:pt x="171068" y="962026"/>
                  </a:cubicBezTo>
                  <a:cubicBezTo>
                    <a:pt x="171068" y="965169"/>
                    <a:pt x="168497" y="967646"/>
                    <a:pt x="165449" y="967646"/>
                  </a:cubicBezTo>
                  <a:cubicBezTo>
                    <a:pt x="162306" y="967646"/>
                    <a:pt x="159829" y="965169"/>
                    <a:pt x="159829" y="962026"/>
                  </a:cubicBezTo>
                  <a:cubicBezTo>
                    <a:pt x="159829" y="958883"/>
                    <a:pt x="162306" y="956406"/>
                    <a:pt x="165449" y="956406"/>
                  </a:cubicBezTo>
                  <a:close/>
                  <a:moveTo>
                    <a:pt x="2915030" y="954881"/>
                  </a:moveTo>
                  <a:cubicBezTo>
                    <a:pt x="2918459" y="954881"/>
                    <a:pt x="2921221" y="957643"/>
                    <a:pt x="2921221" y="961072"/>
                  </a:cubicBezTo>
                  <a:cubicBezTo>
                    <a:pt x="2921221" y="964501"/>
                    <a:pt x="2918459" y="967264"/>
                    <a:pt x="2915030" y="967264"/>
                  </a:cubicBezTo>
                  <a:cubicBezTo>
                    <a:pt x="2911601" y="967264"/>
                    <a:pt x="2908839" y="964501"/>
                    <a:pt x="2908839" y="961072"/>
                  </a:cubicBezTo>
                  <a:cubicBezTo>
                    <a:pt x="2908839" y="957643"/>
                    <a:pt x="2911601" y="954881"/>
                    <a:pt x="2915030" y="954881"/>
                  </a:cubicBezTo>
                  <a:close/>
                  <a:moveTo>
                    <a:pt x="863536" y="954215"/>
                  </a:moveTo>
                  <a:cubicBezTo>
                    <a:pt x="866965" y="954215"/>
                    <a:pt x="869727" y="956977"/>
                    <a:pt x="869727" y="960406"/>
                  </a:cubicBezTo>
                  <a:cubicBezTo>
                    <a:pt x="869727" y="963835"/>
                    <a:pt x="866965" y="966598"/>
                    <a:pt x="863536" y="966598"/>
                  </a:cubicBezTo>
                  <a:cubicBezTo>
                    <a:pt x="860107" y="966598"/>
                    <a:pt x="857345" y="963835"/>
                    <a:pt x="857345" y="960406"/>
                  </a:cubicBezTo>
                  <a:cubicBezTo>
                    <a:pt x="857345" y="956977"/>
                    <a:pt x="860107" y="954215"/>
                    <a:pt x="863536" y="954215"/>
                  </a:cubicBezTo>
                  <a:close/>
                  <a:moveTo>
                    <a:pt x="324135" y="954215"/>
                  </a:moveTo>
                  <a:cubicBezTo>
                    <a:pt x="327564" y="954215"/>
                    <a:pt x="330326" y="956977"/>
                    <a:pt x="330326" y="960406"/>
                  </a:cubicBezTo>
                  <a:cubicBezTo>
                    <a:pt x="330326" y="963835"/>
                    <a:pt x="327564" y="966598"/>
                    <a:pt x="324135" y="966598"/>
                  </a:cubicBezTo>
                  <a:cubicBezTo>
                    <a:pt x="320706" y="966598"/>
                    <a:pt x="317944" y="963835"/>
                    <a:pt x="317944" y="960406"/>
                  </a:cubicBezTo>
                  <a:cubicBezTo>
                    <a:pt x="317944" y="956977"/>
                    <a:pt x="320706" y="954215"/>
                    <a:pt x="324135" y="954215"/>
                  </a:cubicBezTo>
                  <a:close/>
                  <a:moveTo>
                    <a:pt x="3195066" y="954024"/>
                  </a:moveTo>
                  <a:cubicBezTo>
                    <a:pt x="3195256" y="954024"/>
                    <a:pt x="3195351" y="954119"/>
                    <a:pt x="3195351" y="954310"/>
                  </a:cubicBezTo>
                  <a:cubicBezTo>
                    <a:pt x="3195351" y="954500"/>
                    <a:pt x="3195066" y="954595"/>
                    <a:pt x="3195066" y="954595"/>
                  </a:cubicBezTo>
                  <a:cubicBezTo>
                    <a:pt x="3194875" y="954595"/>
                    <a:pt x="3194780" y="954500"/>
                    <a:pt x="3194780" y="954310"/>
                  </a:cubicBezTo>
                  <a:cubicBezTo>
                    <a:pt x="3194780" y="954119"/>
                    <a:pt x="3194875" y="954024"/>
                    <a:pt x="3195066" y="954024"/>
                  </a:cubicBezTo>
                  <a:close/>
                  <a:moveTo>
                    <a:pt x="177164" y="953358"/>
                  </a:moveTo>
                  <a:cubicBezTo>
                    <a:pt x="180593" y="953358"/>
                    <a:pt x="183355" y="956120"/>
                    <a:pt x="183355" y="959549"/>
                  </a:cubicBezTo>
                  <a:cubicBezTo>
                    <a:pt x="183355" y="962978"/>
                    <a:pt x="180593" y="965740"/>
                    <a:pt x="177164" y="965740"/>
                  </a:cubicBezTo>
                  <a:cubicBezTo>
                    <a:pt x="173735" y="965740"/>
                    <a:pt x="170973" y="962978"/>
                    <a:pt x="170973" y="959549"/>
                  </a:cubicBezTo>
                  <a:cubicBezTo>
                    <a:pt x="170973" y="956120"/>
                    <a:pt x="173735" y="953358"/>
                    <a:pt x="177164" y="953358"/>
                  </a:cubicBezTo>
                  <a:close/>
                  <a:moveTo>
                    <a:pt x="3140677" y="953167"/>
                  </a:moveTo>
                  <a:cubicBezTo>
                    <a:pt x="3144106" y="953167"/>
                    <a:pt x="3146869" y="955929"/>
                    <a:pt x="3146869" y="959358"/>
                  </a:cubicBezTo>
                  <a:cubicBezTo>
                    <a:pt x="3146869" y="962787"/>
                    <a:pt x="3144106" y="965550"/>
                    <a:pt x="3140677" y="965550"/>
                  </a:cubicBezTo>
                  <a:cubicBezTo>
                    <a:pt x="3137248" y="965550"/>
                    <a:pt x="3134486" y="962787"/>
                    <a:pt x="3134486" y="959358"/>
                  </a:cubicBezTo>
                  <a:cubicBezTo>
                    <a:pt x="3134486" y="955929"/>
                    <a:pt x="3137248" y="953167"/>
                    <a:pt x="3140677" y="953167"/>
                  </a:cubicBezTo>
                  <a:close/>
                  <a:moveTo>
                    <a:pt x="2750438" y="952786"/>
                  </a:moveTo>
                  <a:cubicBezTo>
                    <a:pt x="2753867" y="952786"/>
                    <a:pt x="2756630" y="955548"/>
                    <a:pt x="2756630" y="958977"/>
                  </a:cubicBezTo>
                  <a:cubicBezTo>
                    <a:pt x="2756630" y="962406"/>
                    <a:pt x="2753867" y="965169"/>
                    <a:pt x="2750438" y="965169"/>
                  </a:cubicBezTo>
                  <a:cubicBezTo>
                    <a:pt x="2747009" y="965169"/>
                    <a:pt x="2744247" y="962406"/>
                    <a:pt x="2744247" y="958977"/>
                  </a:cubicBezTo>
                  <a:cubicBezTo>
                    <a:pt x="2744247" y="955548"/>
                    <a:pt x="2747009" y="952786"/>
                    <a:pt x="2750438" y="952786"/>
                  </a:cubicBezTo>
                  <a:close/>
                  <a:moveTo>
                    <a:pt x="213455" y="952310"/>
                  </a:moveTo>
                  <a:cubicBezTo>
                    <a:pt x="216884" y="952310"/>
                    <a:pt x="219646" y="955072"/>
                    <a:pt x="219646" y="958501"/>
                  </a:cubicBezTo>
                  <a:cubicBezTo>
                    <a:pt x="219646" y="961930"/>
                    <a:pt x="216884" y="964692"/>
                    <a:pt x="213455" y="964692"/>
                  </a:cubicBezTo>
                  <a:cubicBezTo>
                    <a:pt x="210026" y="964692"/>
                    <a:pt x="207264" y="961930"/>
                    <a:pt x="207264" y="958501"/>
                  </a:cubicBezTo>
                  <a:cubicBezTo>
                    <a:pt x="207264" y="955072"/>
                    <a:pt x="210026" y="952310"/>
                    <a:pt x="213455" y="952310"/>
                  </a:cubicBezTo>
                  <a:close/>
                  <a:moveTo>
                    <a:pt x="3176301" y="950119"/>
                  </a:moveTo>
                  <a:cubicBezTo>
                    <a:pt x="3179730" y="950119"/>
                    <a:pt x="3182492" y="952881"/>
                    <a:pt x="3182492" y="956310"/>
                  </a:cubicBezTo>
                  <a:cubicBezTo>
                    <a:pt x="3182492" y="959739"/>
                    <a:pt x="3179730" y="962502"/>
                    <a:pt x="3176301" y="962502"/>
                  </a:cubicBezTo>
                  <a:cubicBezTo>
                    <a:pt x="3172872" y="962502"/>
                    <a:pt x="3170110" y="959739"/>
                    <a:pt x="3170110" y="956310"/>
                  </a:cubicBezTo>
                  <a:cubicBezTo>
                    <a:pt x="3170110" y="952881"/>
                    <a:pt x="3172872" y="950119"/>
                    <a:pt x="3176301" y="950119"/>
                  </a:cubicBezTo>
                  <a:close/>
                  <a:moveTo>
                    <a:pt x="272605" y="949548"/>
                  </a:moveTo>
                  <a:cubicBezTo>
                    <a:pt x="276034" y="949548"/>
                    <a:pt x="278797" y="952310"/>
                    <a:pt x="278797" y="955739"/>
                  </a:cubicBezTo>
                  <a:cubicBezTo>
                    <a:pt x="278797" y="959168"/>
                    <a:pt x="276034" y="961931"/>
                    <a:pt x="272605" y="961931"/>
                  </a:cubicBezTo>
                  <a:cubicBezTo>
                    <a:pt x="269176" y="961931"/>
                    <a:pt x="266414" y="959168"/>
                    <a:pt x="266414" y="955739"/>
                  </a:cubicBezTo>
                  <a:cubicBezTo>
                    <a:pt x="266414" y="952310"/>
                    <a:pt x="269176" y="949548"/>
                    <a:pt x="272605" y="949548"/>
                  </a:cubicBezTo>
                  <a:close/>
                  <a:moveTo>
                    <a:pt x="237172" y="949452"/>
                  </a:moveTo>
                  <a:cubicBezTo>
                    <a:pt x="240601" y="949452"/>
                    <a:pt x="243363" y="952214"/>
                    <a:pt x="243363" y="955643"/>
                  </a:cubicBezTo>
                  <a:cubicBezTo>
                    <a:pt x="243363" y="959072"/>
                    <a:pt x="240601" y="961835"/>
                    <a:pt x="237172" y="961835"/>
                  </a:cubicBezTo>
                  <a:cubicBezTo>
                    <a:pt x="233743" y="961835"/>
                    <a:pt x="230981" y="959072"/>
                    <a:pt x="230981" y="955643"/>
                  </a:cubicBezTo>
                  <a:cubicBezTo>
                    <a:pt x="230981" y="952214"/>
                    <a:pt x="233743" y="949452"/>
                    <a:pt x="237172" y="949452"/>
                  </a:cubicBezTo>
                  <a:close/>
                  <a:moveTo>
                    <a:pt x="3161632" y="949262"/>
                  </a:moveTo>
                  <a:cubicBezTo>
                    <a:pt x="3165061" y="949262"/>
                    <a:pt x="3167823" y="952024"/>
                    <a:pt x="3167823" y="955453"/>
                  </a:cubicBezTo>
                  <a:cubicBezTo>
                    <a:pt x="3167823" y="958882"/>
                    <a:pt x="3165061" y="961644"/>
                    <a:pt x="3161632" y="961644"/>
                  </a:cubicBezTo>
                  <a:cubicBezTo>
                    <a:pt x="3158203" y="961644"/>
                    <a:pt x="3155441" y="958882"/>
                    <a:pt x="3155441" y="955453"/>
                  </a:cubicBezTo>
                  <a:cubicBezTo>
                    <a:pt x="3155441" y="952024"/>
                    <a:pt x="3158203" y="949262"/>
                    <a:pt x="3161632" y="949262"/>
                  </a:cubicBezTo>
                  <a:close/>
                  <a:moveTo>
                    <a:pt x="3128485" y="947738"/>
                  </a:moveTo>
                  <a:cubicBezTo>
                    <a:pt x="3131914" y="947738"/>
                    <a:pt x="3134677" y="950500"/>
                    <a:pt x="3134677" y="953929"/>
                  </a:cubicBezTo>
                  <a:cubicBezTo>
                    <a:pt x="3134677" y="957358"/>
                    <a:pt x="3131914" y="960121"/>
                    <a:pt x="3128485" y="960121"/>
                  </a:cubicBezTo>
                  <a:cubicBezTo>
                    <a:pt x="3125056" y="960121"/>
                    <a:pt x="3122294" y="957358"/>
                    <a:pt x="3122294" y="953929"/>
                  </a:cubicBezTo>
                  <a:cubicBezTo>
                    <a:pt x="3122294" y="950500"/>
                    <a:pt x="3125056" y="947738"/>
                    <a:pt x="3128485" y="947738"/>
                  </a:cubicBezTo>
                  <a:close/>
                  <a:moveTo>
                    <a:pt x="2426779" y="945071"/>
                  </a:moveTo>
                  <a:cubicBezTo>
                    <a:pt x="2430208" y="945071"/>
                    <a:pt x="2432970" y="947833"/>
                    <a:pt x="2432970" y="951262"/>
                  </a:cubicBezTo>
                  <a:cubicBezTo>
                    <a:pt x="2432970" y="954691"/>
                    <a:pt x="2430208" y="957454"/>
                    <a:pt x="2426779" y="957454"/>
                  </a:cubicBezTo>
                  <a:cubicBezTo>
                    <a:pt x="2423350" y="957454"/>
                    <a:pt x="2420588" y="954691"/>
                    <a:pt x="2420588" y="951262"/>
                  </a:cubicBezTo>
                  <a:cubicBezTo>
                    <a:pt x="2420588" y="947833"/>
                    <a:pt x="2423350" y="945071"/>
                    <a:pt x="2426779" y="945071"/>
                  </a:cubicBezTo>
                  <a:close/>
                  <a:moveTo>
                    <a:pt x="2992088" y="943737"/>
                  </a:moveTo>
                  <a:cubicBezTo>
                    <a:pt x="2995517" y="943737"/>
                    <a:pt x="2998279" y="946499"/>
                    <a:pt x="2998279" y="949928"/>
                  </a:cubicBezTo>
                  <a:cubicBezTo>
                    <a:pt x="2998279" y="953357"/>
                    <a:pt x="2995517" y="956120"/>
                    <a:pt x="2992088" y="956120"/>
                  </a:cubicBezTo>
                  <a:cubicBezTo>
                    <a:pt x="2988659" y="956120"/>
                    <a:pt x="2985897" y="953357"/>
                    <a:pt x="2985897" y="949928"/>
                  </a:cubicBezTo>
                  <a:cubicBezTo>
                    <a:pt x="2985897" y="946499"/>
                    <a:pt x="2988659" y="943737"/>
                    <a:pt x="2992088" y="943737"/>
                  </a:cubicBezTo>
                  <a:close/>
                  <a:moveTo>
                    <a:pt x="197834" y="943166"/>
                  </a:moveTo>
                  <a:cubicBezTo>
                    <a:pt x="201263" y="943166"/>
                    <a:pt x="204025" y="945928"/>
                    <a:pt x="204025" y="949357"/>
                  </a:cubicBezTo>
                  <a:cubicBezTo>
                    <a:pt x="204025" y="952786"/>
                    <a:pt x="201263" y="955548"/>
                    <a:pt x="197834" y="955548"/>
                  </a:cubicBezTo>
                  <a:cubicBezTo>
                    <a:pt x="194405" y="955548"/>
                    <a:pt x="191643" y="952786"/>
                    <a:pt x="191643" y="949357"/>
                  </a:cubicBezTo>
                  <a:cubicBezTo>
                    <a:pt x="191643" y="945928"/>
                    <a:pt x="194405" y="943166"/>
                    <a:pt x="197834" y="943166"/>
                  </a:cubicBezTo>
                  <a:close/>
                  <a:moveTo>
                    <a:pt x="441864" y="942785"/>
                  </a:moveTo>
                  <a:cubicBezTo>
                    <a:pt x="445293" y="942785"/>
                    <a:pt x="448055" y="945547"/>
                    <a:pt x="448055" y="948976"/>
                  </a:cubicBezTo>
                  <a:cubicBezTo>
                    <a:pt x="448055" y="952405"/>
                    <a:pt x="445293" y="955167"/>
                    <a:pt x="441864" y="955167"/>
                  </a:cubicBezTo>
                  <a:cubicBezTo>
                    <a:pt x="438435" y="955167"/>
                    <a:pt x="435673" y="952405"/>
                    <a:pt x="435673" y="948976"/>
                  </a:cubicBezTo>
                  <a:cubicBezTo>
                    <a:pt x="435673" y="945547"/>
                    <a:pt x="438435" y="942785"/>
                    <a:pt x="441864" y="942785"/>
                  </a:cubicBezTo>
                  <a:close/>
                  <a:moveTo>
                    <a:pt x="3111150" y="942689"/>
                  </a:moveTo>
                  <a:cubicBezTo>
                    <a:pt x="3114579" y="942689"/>
                    <a:pt x="3117341" y="945451"/>
                    <a:pt x="3117341" y="948880"/>
                  </a:cubicBezTo>
                  <a:cubicBezTo>
                    <a:pt x="3117341" y="952309"/>
                    <a:pt x="3114579" y="955072"/>
                    <a:pt x="3111150" y="955072"/>
                  </a:cubicBezTo>
                  <a:cubicBezTo>
                    <a:pt x="3107721" y="955072"/>
                    <a:pt x="3104959" y="952309"/>
                    <a:pt x="3104959" y="948880"/>
                  </a:cubicBezTo>
                  <a:cubicBezTo>
                    <a:pt x="3104959" y="945451"/>
                    <a:pt x="3107721" y="942689"/>
                    <a:pt x="3111150" y="942689"/>
                  </a:cubicBezTo>
                  <a:close/>
                  <a:moveTo>
                    <a:pt x="176402" y="941356"/>
                  </a:moveTo>
                  <a:cubicBezTo>
                    <a:pt x="179831" y="941356"/>
                    <a:pt x="182593" y="944118"/>
                    <a:pt x="182593" y="947547"/>
                  </a:cubicBezTo>
                  <a:cubicBezTo>
                    <a:pt x="182593" y="950976"/>
                    <a:pt x="179831" y="953739"/>
                    <a:pt x="176402" y="953739"/>
                  </a:cubicBezTo>
                  <a:cubicBezTo>
                    <a:pt x="172973" y="953739"/>
                    <a:pt x="170211" y="950976"/>
                    <a:pt x="170211" y="947547"/>
                  </a:cubicBezTo>
                  <a:cubicBezTo>
                    <a:pt x="170211" y="944118"/>
                    <a:pt x="172973" y="941356"/>
                    <a:pt x="176402" y="941356"/>
                  </a:cubicBezTo>
                  <a:close/>
                  <a:moveTo>
                    <a:pt x="616076" y="940880"/>
                  </a:moveTo>
                  <a:cubicBezTo>
                    <a:pt x="619496" y="940880"/>
                    <a:pt x="622268" y="943652"/>
                    <a:pt x="622268" y="947071"/>
                  </a:cubicBezTo>
                  <a:cubicBezTo>
                    <a:pt x="622268" y="950491"/>
                    <a:pt x="619496" y="953262"/>
                    <a:pt x="616076" y="953262"/>
                  </a:cubicBezTo>
                  <a:cubicBezTo>
                    <a:pt x="612657" y="953262"/>
                    <a:pt x="609885" y="950491"/>
                    <a:pt x="609885" y="947071"/>
                  </a:cubicBezTo>
                  <a:cubicBezTo>
                    <a:pt x="609885" y="943652"/>
                    <a:pt x="612657" y="940880"/>
                    <a:pt x="616076" y="940880"/>
                  </a:cubicBezTo>
                  <a:close/>
                  <a:moveTo>
                    <a:pt x="3085337" y="939451"/>
                  </a:moveTo>
                  <a:cubicBezTo>
                    <a:pt x="3088766" y="939451"/>
                    <a:pt x="3091529" y="942213"/>
                    <a:pt x="3091529" y="945642"/>
                  </a:cubicBezTo>
                  <a:cubicBezTo>
                    <a:pt x="3091529" y="949071"/>
                    <a:pt x="3088766" y="951833"/>
                    <a:pt x="3085337" y="951833"/>
                  </a:cubicBezTo>
                  <a:cubicBezTo>
                    <a:pt x="3081908" y="951833"/>
                    <a:pt x="3079146" y="949071"/>
                    <a:pt x="3079146" y="945642"/>
                  </a:cubicBezTo>
                  <a:cubicBezTo>
                    <a:pt x="3079146" y="942213"/>
                    <a:pt x="3081908" y="939451"/>
                    <a:pt x="3085337" y="939451"/>
                  </a:cubicBezTo>
                  <a:close/>
                  <a:moveTo>
                    <a:pt x="3047142" y="939260"/>
                  </a:moveTo>
                  <a:cubicBezTo>
                    <a:pt x="3050571" y="939260"/>
                    <a:pt x="3053333" y="942022"/>
                    <a:pt x="3053333" y="945451"/>
                  </a:cubicBezTo>
                  <a:cubicBezTo>
                    <a:pt x="3053333" y="948880"/>
                    <a:pt x="3050571" y="951643"/>
                    <a:pt x="3047142" y="951643"/>
                  </a:cubicBezTo>
                  <a:cubicBezTo>
                    <a:pt x="3043713" y="951643"/>
                    <a:pt x="3040951" y="948880"/>
                    <a:pt x="3040951" y="945451"/>
                  </a:cubicBezTo>
                  <a:cubicBezTo>
                    <a:pt x="3040951" y="942022"/>
                    <a:pt x="3043713" y="939260"/>
                    <a:pt x="3047142" y="939260"/>
                  </a:cubicBezTo>
                  <a:close/>
                  <a:moveTo>
                    <a:pt x="211169" y="937070"/>
                  </a:moveTo>
                  <a:cubicBezTo>
                    <a:pt x="214598" y="937070"/>
                    <a:pt x="217360" y="939832"/>
                    <a:pt x="217360" y="943261"/>
                  </a:cubicBezTo>
                  <a:cubicBezTo>
                    <a:pt x="217360" y="946690"/>
                    <a:pt x="214598" y="949452"/>
                    <a:pt x="211169" y="949452"/>
                  </a:cubicBezTo>
                  <a:cubicBezTo>
                    <a:pt x="207740" y="949452"/>
                    <a:pt x="204978" y="946690"/>
                    <a:pt x="204978" y="943261"/>
                  </a:cubicBezTo>
                  <a:cubicBezTo>
                    <a:pt x="204978" y="939832"/>
                    <a:pt x="207740" y="937070"/>
                    <a:pt x="211169" y="937070"/>
                  </a:cubicBezTo>
                  <a:close/>
                  <a:moveTo>
                    <a:pt x="3182207" y="936975"/>
                  </a:moveTo>
                  <a:cubicBezTo>
                    <a:pt x="3185350" y="936975"/>
                    <a:pt x="3187826" y="939452"/>
                    <a:pt x="3187826" y="942595"/>
                  </a:cubicBezTo>
                  <a:cubicBezTo>
                    <a:pt x="3187826" y="945738"/>
                    <a:pt x="3185350" y="948215"/>
                    <a:pt x="3182207" y="948215"/>
                  </a:cubicBezTo>
                  <a:cubicBezTo>
                    <a:pt x="3179064" y="948215"/>
                    <a:pt x="3176587" y="945738"/>
                    <a:pt x="3176587" y="942595"/>
                  </a:cubicBezTo>
                  <a:cubicBezTo>
                    <a:pt x="3176587" y="939452"/>
                    <a:pt x="3179064" y="936975"/>
                    <a:pt x="3182207" y="936975"/>
                  </a:cubicBezTo>
                  <a:close/>
                  <a:moveTo>
                    <a:pt x="3164490" y="936784"/>
                  </a:moveTo>
                  <a:cubicBezTo>
                    <a:pt x="3167919" y="936784"/>
                    <a:pt x="3170682" y="939546"/>
                    <a:pt x="3170682" y="942975"/>
                  </a:cubicBezTo>
                  <a:cubicBezTo>
                    <a:pt x="3170682" y="946404"/>
                    <a:pt x="3167919" y="949167"/>
                    <a:pt x="3164490" y="949167"/>
                  </a:cubicBezTo>
                  <a:cubicBezTo>
                    <a:pt x="3161061" y="949167"/>
                    <a:pt x="3158299" y="946404"/>
                    <a:pt x="3158299" y="942975"/>
                  </a:cubicBezTo>
                  <a:cubicBezTo>
                    <a:pt x="3158299" y="939546"/>
                    <a:pt x="3161061" y="936784"/>
                    <a:pt x="3164490" y="936784"/>
                  </a:cubicBezTo>
                  <a:close/>
                  <a:moveTo>
                    <a:pt x="173926" y="935260"/>
                  </a:moveTo>
                  <a:cubicBezTo>
                    <a:pt x="174084" y="935260"/>
                    <a:pt x="174212" y="935388"/>
                    <a:pt x="174212" y="935546"/>
                  </a:cubicBezTo>
                  <a:cubicBezTo>
                    <a:pt x="174212" y="935704"/>
                    <a:pt x="174084" y="935831"/>
                    <a:pt x="173926" y="935831"/>
                  </a:cubicBezTo>
                  <a:cubicBezTo>
                    <a:pt x="173768" y="935831"/>
                    <a:pt x="173640" y="935704"/>
                    <a:pt x="173640" y="935546"/>
                  </a:cubicBezTo>
                  <a:cubicBezTo>
                    <a:pt x="173640" y="935388"/>
                    <a:pt x="173768" y="935260"/>
                    <a:pt x="173926" y="935260"/>
                  </a:cubicBezTo>
                  <a:close/>
                  <a:moveTo>
                    <a:pt x="955547" y="934689"/>
                  </a:moveTo>
                  <a:cubicBezTo>
                    <a:pt x="958976" y="934689"/>
                    <a:pt x="961739" y="937451"/>
                    <a:pt x="961739" y="940880"/>
                  </a:cubicBezTo>
                  <a:cubicBezTo>
                    <a:pt x="961739" y="944309"/>
                    <a:pt x="958976" y="947071"/>
                    <a:pt x="955547" y="947071"/>
                  </a:cubicBezTo>
                  <a:cubicBezTo>
                    <a:pt x="952118" y="947071"/>
                    <a:pt x="949356" y="944309"/>
                    <a:pt x="949356" y="940880"/>
                  </a:cubicBezTo>
                  <a:cubicBezTo>
                    <a:pt x="949356" y="937451"/>
                    <a:pt x="952118" y="934689"/>
                    <a:pt x="955547" y="934689"/>
                  </a:cubicBezTo>
                  <a:close/>
                  <a:moveTo>
                    <a:pt x="3150679" y="934308"/>
                  </a:moveTo>
                  <a:cubicBezTo>
                    <a:pt x="3154108" y="934308"/>
                    <a:pt x="3156870" y="937070"/>
                    <a:pt x="3156870" y="940499"/>
                  </a:cubicBezTo>
                  <a:lnTo>
                    <a:pt x="3150727" y="946643"/>
                  </a:lnTo>
                  <a:lnTo>
                    <a:pt x="3156203" y="952119"/>
                  </a:lnTo>
                  <a:cubicBezTo>
                    <a:pt x="3156203" y="955548"/>
                    <a:pt x="3153441" y="958310"/>
                    <a:pt x="3150012" y="958310"/>
                  </a:cubicBezTo>
                  <a:cubicBezTo>
                    <a:pt x="3146583" y="958310"/>
                    <a:pt x="3143821" y="955548"/>
                    <a:pt x="3143821" y="952119"/>
                  </a:cubicBezTo>
                  <a:lnTo>
                    <a:pt x="3149965" y="945976"/>
                  </a:lnTo>
                  <a:lnTo>
                    <a:pt x="3144488" y="940499"/>
                  </a:lnTo>
                  <a:cubicBezTo>
                    <a:pt x="3144488" y="937070"/>
                    <a:pt x="3147250" y="934308"/>
                    <a:pt x="3150679" y="934308"/>
                  </a:cubicBezTo>
                  <a:close/>
                  <a:moveTo>
                    <a:pt x="2867786" y="932117"/>
                  </a:moveTo>
                  <a:cubicBezTo>
                    <a:pt x="2871215" y="932117"/>
                    <a:pt x="2873978" y="934879"/>
                    <a:pt x="2873978" y="938308"/>
                  </a:cubicBezTo>
                  <a:cubicBezTo>
                    <a:pt x="2873978" y="941737"/>
                    <a:pt x="2871215" y="944500"/>
                    <a:pt x="2867786" y="944500"/>
                  </a:cubicBezTo>
                  <a:cubicBezTo>
                    <a:pt x="2864357" y="944500"/>
                    <a:pt x="2861595" y="941737"/>
                    <a:pt x="2861595" y="938308"/>
                  </a:cubicBezTo>
                  <a:cubicBezTo>
                    <a:pt x="2861595" y="934879"/>
                    <a:pt x="2864357" y="932117"/>
                    <a:pt x="2867786" y="932117"/>
                  </a:cubicBezTo>
                  <a:close/>
                  <a:moveTo>
                    <a:pt x="359378" y="931450"/>
                  </a:moveTo>
                  <a:cubicBezTo>
                    <a:pt x="362807" y="931450"/>
                    <a:pt x="365569" y="934212"/>
                    <a:pt x="365569" y="937641"/>
                  </a:cubicBezTo>
                  <a:cubicBezTo>
                    <a:pt x="365569" y="941070"/>
                    <a:pt x="362807" y="943833"/>
                    <a:pt x="359378" y="943833"/>
                  </a:cubicBezTo>
                  <a:cubicBezTo>
                    <a:pt x="355949" y="943833"/>
                    <a:pt x="353187" y="941070"/>
                    <a:pt x="353187" y="937641"/>
                  </a:cubicBezTo>
                  <a:cubicBezTo>
                    <a:pt x="353187" y="934212"/>
                    <a:pt x="355949" y="931450"/>
                    <a:pt x="359378" y="931450"/>
                  </a:cubicBezTo>
                  <a:close/>
                  <a:moveTo>
                    <a:pt x="230219" y="931450"/>
                  </a:moveTo>
                  <a:cubicBezTo>
                    <a:pt x="233648" y="931450"/>
                    <a:pt x="236410" y="934212"/>
                    <a:pt x="236410" y="937641"/>
                  </a:cubicBezTo>
                  <a:cubicBezTo>
                    <a:pt x="236410" y="941070"/>
                    <a:pt x="233648" y="943833"/>
                    <a:pt x="230219" y="943833"/>
                  </a:cubicBezTo>
                  <a:cubicBezTo>
                    <a:pt x="226790" y="943833"/>
                    <a:pt x="224028" y="941070"/>
                    <a:pt x="224028" y="937641"/>
                  </a:cubicBezTo>
                  <a:cubicBezTo>
                    <a:pt x="224028" y="934212"/>
                    <a:pt x="226790" y="931450"/>
                    <a:pt x="230219" y="931450"/>
                  </a:cubicBezTo>
                  <a:close/>
                  <a:moveTo>
                    <a:pt x="2684906" y="930593"/>
                  </a:moveTo>
                  <a:cubicBezTo>
                    <a:pt x="2688335" y="930593"/>
                    <a:pt x="2691097" y="933355"/>
                    <a:pt x="2691097" y="936784"/>
                  </a:cubicBezTo>
                  <a:cubicBezTo>
                    <a:pt x="2691097" y="940213"/>
                    <a:pt x="2688335" y="942975"/>
                    <a:pt x="2684906" y="942975"/>
                  </a:cubicBezTo>
                  <a:cubicBezTo>
                    <a:pt x="2681477" y="942975"/>
                    <a:pt x="2678715" y="940213"/>
                    <a:pt x="2678715" y="936784"/>
                  </a:cubicBezTo>
                  <a:cubicBezTo>
                    <a:pt x="2678715" y="933355"/>
                    <a:pt x="2681477" y="930593"/>
                    <a:pt x="2684906" y="930593"/>
                  </a:cubicBezTo>
                  <a:close/>
                  <a:moveTo>
                    <a:pt x="258508" y="927640"/>
                  </a:moveTo>
                  <a:cubicBezTo>
                    <a:pt x="261937" y="927640"/>
                    <a:pt x="264700" y="930402"/>
                    <a:pt x="264700" y="933831"/>
                  </a:cubicBezTo>
                  <a:cubicBezTo>
                    <a:pt x="264700" y="937260"/>
                    <a:pt x="261937" y="940023"/>
                    <a:pt x="258508" y="940023"/>
                  </a:cubicBezTo>
                  <a:cubicBezTo>
                    <a:pt x="255079" y="940023"/>
                    <a:pt x="252317" y="937260"/>
                    <a:pt x="252317" y="933831"/>
                  </a:cubicBezTo>
                  <a:cubicBezTo>
                    <a:pt x="252317" y="930402"/>
                    <a:pt x="255079" y="927640"/>
                    <a:pt x="258508" y="927640"/>
                  </a:cubicBezTo>
                  <a:close/>
                  <a:moveTo>
                    <a:pt x="3114198" y="927545"/>
                  </a:moveTo>
                  <a:cubicBezTo>
                    <a:pt x="3117627" y="927545"/>
                    <a:pt x="3120390" y="930307"/>
                    <a:pt x="3120390" y="933736"/>
                  </a:cubicBezTo>
                  <a:cubicBezTo>
                    <a:pt x="3120390" y="937165"/>
                    <a:pt x="3117627" y="939927"/>
                    <a:pt x="3114198" y="939927"/>
                  </a:cubicBezTo>
                  <a:cubicBezTo>
                    <a:pt x="3110769" y="939927"/>
                    <a:pt x="3108007" y="937165"/>
                    <a:pt x="3108007" y="933736"/>
                  </a:cubicBezTo>
                  <a:cubicBezTo>
                    <a:pt x="3108007" y="930307"/>
                    <a:pt x="3110769" y="927545"/>
                    <a:pt x="3114198" y="927545"/>
                  </a:cubicBezTo>
                  <a:close/>
                  <a:moveTo>
                    <a:pt x="300037" y="927068"/>
                  </a:moveTo>
                  <a:cubicBezTo>
                    <a:pt x="303466" y="927068"/>
                    <a:pt x="306229" y="929830"/>
                    <a:pt x="306229" y="933259"/>
                  </a:cubicBezTo>
                  <a:cubicBezTo>
                    <a:pt x="306229" y="936688"/>
                    <a:pt x="303466" y="939451"/>
                    <a:pt x="300037" y="939451"/>
                  </a:cubicBezTo>
                  <a:cubicBezTo>
                    <a:pt x="296608" y="939451"/>
                    <a:pt x="293846" y="936688"/>
                    <a:pt x="293846" y="933259"/>
                  </a:cubicBezTo>
                  <a:cubicBezTo>
                    <a:pt x="293846" y="929830"/>
                    <a:pt x="296608" y="927068"/>
                    <a:pt x="300037" y="927068"/>
                  </a:cubicBezTo>
                  <a:close/>
                  <a:moveTo>
                    <a:pt x="187547" y="926021"/>
                  </a:moveTo>
                  <a:cubicBezTo>
                    <a:pt x="190976" y="926021"/>
                    <a:pt x="193738" y="928783"/>
                    <a:pt x="193738" y="932212"/>
                  </a:cubicBezTo>
                  <a:lnTo>
                    <a:pt x="188356" y="937595"/>
                  </a:lnTo>
                  <a:lnTo>
                    <a:pt x="194118" y="943356"/>
                  </a:lnTo>
                  <a:lnTo>
                    <a:pt x="187927" y="949548"/>
                  </a:lnTo>
                  <a:lnTo>
                    <a:pt x="193547" y="955167"/>
                  </a:lnTo>
                  <a:cubicBezTo>
                    <a:pt x="193547" y="958596"/>
                    <a:pt x="190785" y="961358"/>
                    <a:pt x="187356" y="961358"/>
                  </a:cubicBezTo>
                  <a:cubicBezTo>
                    <a:pt x="183927" y="961358"/>
                    <a:pt x="181165" y="958596"/>
                    <a:pt x="181165" y="955167"/>
                  </a:cubicBezTo>
                  <a:lnTo>
                    <a:pt x="187355" y="948977"/>
                  </a:lnTo>
                  <a:lnTo>
                    <a:pt x="181736" y="943356"/>
                  </a:lnTo>
                  <a:lnTo>
                    <a:pt x="187117" y="937975"/>
                  </a:lnTo>
                  <a:lnTo>
                    <a:pt x="181356" y="932212"/>
                  </a:lnTo>
                  <a:cubicBezTo>
                    <a:pt x="181356" y="928783"/>
                    <a:pt x="184118" y="926021"/>
                    <a:pt x="187547" y="926021"/>
                  </a:cubicBezTo>
                  <a:close/>
                  <a:moveTo>
                    <a:pt x="2331529" y="925925"/>
                  </a:moveTo>
                  <a:cubicBezTo>
                    <a:pt x="2334958" y="925925"/>
                    <a:pt x="2337720" y="928687"/>
                    <a:pt x="2337720" y="932116"/>
                  </a:cubicBezTo>
                  <a:cubicBezTo>
                    <a:pt x="2337720" y="935545"/>
                    <a:pt x="2334958" y="938308"/>
                    <a:pt x="2331529" y="938308"/>
                  </a:cubicBezTo>
                  <a:cubicBezTo>
                    <a:pt x="2328100" y="938308"/>
                    <a:pt x="2325338" y="935545"/>
                    <a:pt x="2325338" y="932116"/>
                  </a:cubicBezTo>
                  <a:cubicBezTo>
                    <a:pt x="2325338" y="928687"/>
                    <a:pt x="2328100" y="925925"/>
                    <a:pt x="2331529" y="925925"/>
                  </a:cubicBezTo>
                  <a:close/>
                  <a:moveTo>
                    <a:pt x="3169538" y="924116"/>
                  </a:moveTo>
                  <a:cubicBezTo>
                    <a:pt x="3172967" y="924116"/>
                    <a:pt x="3175730" y="926878"/>
                    <a:pt x="3175730" y="930307"/>
                  </a:cubicBezTo>
                  <a:cubicBezTo>
                    <a:pt x="3175730" y="933736"/>
                    <a:pt x="3172967" y="936498"/>
                    <a:pt x="3169538" y="936498"/>
                  </a:cubicBezTo>
                  <a:cubicBezTo>
                    <a:pt x="3166109" y="936498"/>
                    <a:pt x="3163347" y="933736"/>
                    <a:pt x="3163347" y="930307"/>
                  </a:cubicBezTo>
                  <a:cubicBezTo>
                    <a:pt x="3163347" y="926878"/>
                    <a:pt x="3166109" y="924116"/>
                    <a:pt x="3169538" y="924116"/>
                  </a:cubicBezTo>
                  <a:close/>
                  <a:moveTo>
                    <a:pt x="3152869" y="922782"/>
                  </a:moveTo>
                  <a:cubicBezTo>
                    <a:pt x="3156298" y="922782"/>
                    <a:pt x="3159061" y="925544"/>
                    <a:pt x="3159061" y="928973"/>
                  </a:cubicBezTo>
                  <a:cubicBezTo>
                    <a:pt x="3159061" y="932402"/>
                    <a:pt x="3156298" y="935164"/>
                    <a:pt x="3152869" y="935164"/>
                  </a:cubicBezTo>
                  <a:cubicBezTo>
                    <a:pt x="3149440" y="935164"/>
                    <a:pt x="3146678" y="932402"/>
                    <a:pt x="3146678" y="928973"/>
                  </a:cubicBezTo>
                  <a:cubicBezTo>
                    <a:pt x="3146678" y="925544"/>
                    <a:pt x="3149440" y="922782"/>
                    <a:pt x="3152869" y="922782"/>
                  </a:cubicBezTo>
                  <a:close/>
                  <a:moveTo>
                    <a:pt x="3093433" y="921449"/>
                  </a:moveTo>
                  <a:cubicBezTo>
                    <a:pt x="3096862" y="921449"/>
                    <a:pt x="3099625" y="924211"/>
                    <a:pt x="3099625" y="927640"/>
                  </a:cubicBezTo>
                  <a:cubicBezTo>
                    <a:pt x="3099625" y="931069"/>
                    <a:pt x="3096862" y="933831"/>
                    <a:pt x="3093433" y="933831"/>
                  </a:cubicBezTo>
                  <a:cubicBezTo>
                    <a:pt x="3090004" y="933831"/>
                    <a:pt x="3087242" y="931069"/>
                    <a:pt x="3087242" y="927640"/>
                  </a:cubicBezTo>
                  <a:cubicBezTo>
                    <a:pt x="3087242" y="924211"/>
                    <a:pt x="3090004" y="921449"/>
                    <a:pt x="3093433" y="921449"/>
                  </a:cubicBezTo>
                  <a:close/>
                  <a:moveTo>
                    <a:pt x="2955035" y="920687"/>
                  </a:moveTo>
                  <a:cubicBezTo>
                    <a:pt x="2958464" y="920687"/>
                    <a:pt x="2961227" y="923449"/>
                    <a:pt x="2961227" y="926878"/>
                  </a:cubicBezTo>
                  <a:cubicBezTo>
                    <a:pt x="2961227" y="930307"/>
                    <a:pt x="2958464" y="933069"/>
                    <a:pt x="2955035" y="933069"/>
                  </a:cubicBezTo>
                  <a:cubicBezTo>
                    <a:pt x="2951606" y="933069"/>
                    <a:pt x="2948844" y="930307"/>
                    <a:pt x="2948844" y="926878"/>
                  </a:cubicBezTo>
                  <a:cubicBezTo>
                    <a:pt x="2948844" y="923449"/>
                    <a:pt x="2951606" y="920687"/>
                    <a:pt x="2955035" y="920687"/>
                  </a:cubicBezTo>
                  <a:close/>
                  <a:moveTo>
                    <a:pt x="491775" y="919734"/>
                  </a:moveTo>
                  <a:cubicBezTo>
                    <a:pt x="495204" y="919734"/>
                    <a:pt x="497966" y="922496"/>
                    <a:pt x="497966" y="925925"/>
                  </a:cubicBezTo>
                  <a:cubicBezTo>
                    <a:pt x="497966" y="929354"/>
                    <a:pt x="495204" y="932116"/>
                    <a:pt x="491775" y="932116"/>
                  </a:cubicBezTo>
                  <a:cubicBezTo>
                    <a:pt x="488346" y="932116"/>
                    <a:pt x="485584" y="929354"/>
                    <a:pt x="485584" y="925925"/>
                  </a:cubicBezTo>
                  <a:cubicBezTo>
                    <a:pt x="485584" y="922496"/>
                    <a:pt x="488346" y="919734"/>
                    <a:pt x="491775" y="919734"/>
                  </a:cubicBezTo>
                  <a:close/>
                  <a:moveTo>
                    <a:pt x="684847" y="918687"/>
                  </a:moveTo>
                  <a:cubicBezTo>
                    <a:pt x="688267" y="918687"/>
                    <a:pt x="691039" y="921459"/>
                    <a:pt x="691039" y="924878"/>
                  </a:cubicBezTo>
                  <a:cubicBezTo>
                    <a:pt x="691039" y="928298"/>
                    <a:pt x="688267" y="931069"/>
                    <a:pt x="684847" y="931069"/>
                  </a:cubicBezTo>
                  <a:cubicBezTo>
                    <a:pt x="681428" y="931069"/>
                    <a:pt x="678656" y="928298"/>
                    <a:pt x="678656" y="924878"/>
                  </a:cubicBezTo>
                  <a:cubicBezTo>
                    <a:pt x="678656" y="921459"/>
                    <a:pt x="681428" y="918687"/>
                    <a:pt x="684847" y="918687"/>
                  </a:cubicBezTo>
                  <a:close/>
                  <a:moveTo>
                    <a:pt x="3062858" y="917258"/>
                  </a:moveTo>
                  <a:cubicBezTo>
                    <a:pt x="3066287" y="917258"/>
                    <a:pt x="3069049" y="920020"/>
                    <a:pt x="3069049" y="923449"/>
                  </a:cubicBezTo>
                  <a:cubicBezTo>
                    <a:pt x="3069049" y="926878"/>
                    <a:pt x="3066287" y="929640"/>
                    <a:pt x="3062858" y="929640"/>
                  </a:cubicBezTo>
                  <a:cubicBezTo>
                    <a:pt x="3059429" y="929640"/>
                    <a:pt x="3056667" y="926878"/>
                    <a:pt x="3056667" y="923449"/>
                  </a:cubicBezTo>
                  <a:cubicBezTo>
                    <a:pt x="3056667" y="920020"/>
                    <a:pt x="3059429" y="917258"/>
                    <a:pt x="3062858" y="917258"/>
                  </a:cubicBezTo>
                  <a:close/>
                  <a:moveTo>
                    <a:pt x="3176872" y="916877"/>
                  </a:moveTo>
                  <a:cubicBezTo>
                    <a:pt x="3176968" y="916877"/>
                    <a:pt x="3177063" y="916972"/>
                    <a:pt x="3177063" y="917067"/>
                  </a:cubicBezTo>
                  <a:cubicBezTo>
                    <a:pt x="3177063" y="917163"/>
                    <a:pt x="3176872" y="917258"/>
                    <a:pt x="3176872" y="917258"/>
                  </a:cubicBezTo>
                  <a:cubicBezTo>
                    <a:pt x="3176777" y="917258"/>
                    <a:pt x="3176682" y="917163"/>
                    <a:pt x="3176682" y="917067"/>
                  </a:cubicBezTo>
                  <a:cubicBezTo>
                    <a:pt x="3176682" y="916972"/>
                    <a:pt x="3176777" y="916877"/>
                    <a:pt x="3176872" y="916877"/>
                  </a:cubicBezTo>
                  <a:close/>
                  <a:moveTo>
                    <a:pt x="226218" y="916496"/>
                  </a:moveTo>
                  <a:cubicBezTo>
                    <a:pt x="229647" y="916496"/>
                    <a:pt x="232409" y="919258"/>
                    <a:pt x="232409" y="922687"/>
                  </a:cubicBezTo>
                  <a:cubicBezTo>
                    <a:pt x="232409" y="926116"/>
                    <a:pt x="229647" y="928879"/>
                    <a:pt x="226218" y="928879"/>
                  </a:cubicBezTo>
                  <a:cubicBezTo>
                    <a:pt x="222789" y="928879"/>
                    <a:pt x="220027" y="926116"/>
                    <a:pt x="220027" y="922687"/>
                  </a:cubicBezTo>
                  <a:cubicBezTo>
                    <a:pt x="220027" y="919258"/>
                    <a:pt x="222789" y="916496"/>
                    <a:pt x="226218" y="916496"/>
                  </a:cubicBezTo>
                  <a:close/>
                  <a:moveTo>
                    <a:pt x="3018281" y="916400"/>
                  </a:moveTo>
                  <a:cubicBezTo>
                    <a:pt x="3021710" y="916400"/>
                    <a:pt x="3024472" y="919162"/>
                    <a:pt x="3024472" y="922591"/>
                  </a:cubicBezTo>
                  <a:cubicBezTo>
                    <a:pt x="3024472" y="926020"/>
                    <a:pt x="3021710" y="928783"/>
                    <a:pt x="3018281" y="928783"/>
                  </a:cubicBezTo>
                  <a:cubicBezTo>
                    <a:pt x="3014852" y="928783"/>
                    <a:pt x="3012090" y="926020"/>
                    <a:pt x="3012090" y="922591"/>
                  </a:cubicBezTo>
                  <a:cubicBezTo>
                    <a:pt x="3012090" y="919162"/>
                    <a:pt x="3014852" y="916400"/>
                    <a:pt x="3018281" y="916400"/>
                  </a:cubicBezTo>
                  <a:close/>
                  <a:moveTo>
                    <a:pt x="1054512" y="916115"/>
                  </a:moveTo>
                  <a:cubicBezTo>
                    <a:pt x="1057941" y="916115"/>
                    <a:pt x="1060704" y="918877"/>
                    <a:pt x="1060704" y="922306"/>
                  </a:cubicBezTo>
                  <a:cubicBezTo>
                    <a:pt x="1060704" y="925735"/>
                    <a:pt x="1057941" y="928498"/>
                    <a:pt x="1054512" y="928498"/>
                  </a:cubicBezTo>
                  <a:cubicBezTo>
                    <a:pt x="1051083" y="928498"/>
                    <a:pt x="1048321" y="925735"/>
                    <a:pt x="1048321" y="922306"/>
                  </a:cubicBezTo>
                  <a:cubicBezTo>
                    <a:pt x="1048321" y="918877"/>
                    <a:pt x="1051083" y="916115"/>
                    <a:pt x="1054512" y="916115"/>
                  </a:cubicBezTo>
                  <a:close/>
                  <a:moveTo>
                    <a:pt x="185642" y="915448"/>
                  </a:moveTo>
                  <a:cubicBezTo>
                    <a:pt x="188745" y="915448"/>
                    <a:pt x="191261" y="917964"/>
                    <a:pt x="191261" y="921068"/>
                  </a:cubicBezTo>
                  <a:cubicBezTo>
                    <a:pt x="191261" y="924172"/>
                    <a:pt x="188745" y="926687"/>
                    <a:pt x="185642" y="926687"/>
                  </a:cubicBezTo>
                  <a:cubicBezTo>
                    <a:pt x="182538" y="926687"/>
                    <a:pt x="180022" y="924171"/>
                    <a:pt x="180022" y="921068"/>
                  </a:cubicBezTo>
                  <a:cubicBezTo>
                    <a:pt x="180022" y="917964"/>
                    <a:pt x="182538" y="915448"/>
                    <a:pt x="185642" y="915448"/>
                  </a:cubicBezTo>
                  <a:close/>
                  <a:moveTo>
                    <a:pt x="3156965" y="911066"/>
                  </a:moveTo>
                  <a:cubicBezTo>
                    <a:pt x="3160394" y="911066"/>
                    <a:pt x="3163156" y="913828"/>
                    <a:pt x="3163156" y="917257"/>
                  </a:cubicBezTo>
                  <a:cubicBezTo>
                    <a:pt x="3163156" y="920686"/>
                    <a:pt x="3160394" y="923449"/>
                    <a:pt x="3156965" y="923449"/>
                  </a:cubicBezTo>
                  <a:cubicBezTo>
                    <a:pt x="3153536" y="923449"/>
                    <a:pt x="3150774" y="920686"/>
                    <a:pt x="3150774" y="917257"/>
                  </a:cubicBezTo>
                  <a:cubicBezTo>
                    <a:pt x="3150774" y="913828"/>
                    <a:pt x="3153536" y="911066"/>
                    <a:pt x="3156965" y="911066"/>
                  </a:cubicBezTo>
                  <a:close/>
                  <a:moveTo>
                    <a:pt x="248983" y="909733"/>
                  </a:moveTo>
                  <a:cubicBezTo>
                    <a:pt x="252412" y="909733"/>
                    <a:pt x="255175" y="912495"/>
                    <a:pt x="255175" y="915924"/>
                  </a:cubicBezTo>
                  <a:cubicBezTo>
                    <a:pt x="255175" y="919353"/>
                    <a:pt x="252412" y="922116"/>
                    <a:pt x="248983" y="922116"/>
                  </a:cubicBezTo>
                  <a:cubicBezTo>
                    <a:pt x="245554" y="922116"/>
                    <a:pt x="242792" y="919353"/>
                    <a:pt x="242792" y="915924"/>
                  </a:cubicBezTo>
                  <a:cubicBezTo>
                    <a:pt x="242792" y="912495"/>
                    <a:pt x="245554" y="909733"/>
                    <a:pt x="248983" y="909733"/>
                  </a:cubicBezTo>
                  <a:close/>
                  <a:moveTo>
                    <a:pt x="2815589" y="908876"/>
                  </a:moveTo>
                  <a:cubicBezTo>
                    <a:pt x="2819018" y="908876"/>
                    <a:pt x="2821780" y="911638"/>
                    <a:pt x="2821780" y="915067"/>
                  </a:cubicBezTo>
                  <a:cubicBezTo>
                    <a:pt x="2821780" y="918496"/>
                    <a:pt x="2819018" y="921258"/>
                    <a:pt x="2815589" y="921258"/>
                  </a:cubicBezTo>
                  <a:cubicBezTo>
                    <a:pt x="2812160" y="921258"/>
                    <a:pt x="2809398" y="918496"/>
                    <a:pt x="2809398" y="915067"/>
                  </a:cubicBezTo>
                  <a:cubicBezTo>
                    <a:pt x="2809398" y="911638"/>
                    <a:pt x="2812160" y="908876"/>
                    <a:pt x="2815589" y="908876"/>
                  </a:cubicBezTo>
                  <a:close/>
                  <a:moveTo>
                    <a:pt x="2613374" y="908400"/>
                  </a:moveTo>
                  <a:cubicBezTo>
                    <a:pt x="2616803" y="908400"/>
                    <a:pt x="2619565" y="911162"/>
                    <a:pt x="2619565" y="914591"/>
                  </a:cubicBezTo>
                  <a:cubicBezTo>
                    <a:pt x="2619565" y="918020"/>
                    <a:pt x="2616803" y="920783"/>
                    <a:pt x="2613374" y="920783"/>
                  </a:cubicBezTo>
                  <a:cubicBezTo>
                    <a:pt x="2609945" y="920783"/>
                    <a:pt x="2607183" y="918020"/>
                    <a:pt x="2607183" y="914591"/>
                  </a:cubicBezTo>
                  <a:cubicBezTo>
                    <a:pt x="2607183" y="911162"/>
                    <a:pt x="2609945" y="908400"/>
                    <a:pt x="2613374" y="908400"/>
                  </a:cubicBezTo>
                  <a:close/>
                  <a:moveTo>
                    <a:pt x="398621" y="908209"/>
                  </a:moveTo>
                  <a:cubicBezTo>
                    <a:pt x="402050" y="908209"/>
                    <a:pt x="404812" y="910971"/>
                    <a:pt x="404812" y="914400"/>
                  </a:cubicBezTo>
                  <a:cubicBezTo>
                    <a:pt x="404812" y="917829"/>
                    <a:pt x="402050" y="920592"/>
                    <a:pt x="398621" y="920592"/>
                  </a:cubicBezTo>
                  <a:cubicBezTo>
                    <a:pt x="395192" y="920592"/>
                    <a:pt x="392430" y="917829"/>
                    <a:pt x="392430" y="914400"/>
                  </a:cubicBezTo>
                  <a:cubicBezTo>
                    <a:pt x="392430" y="910971"/>
                    <a:pt x="395192" y="908209"/>
                    <a:pt x="398621" y="908209"/>
                  </a:cubicBezTo>
                  <a:close/>
                  <a:moveTo>
                    <a:pt x="2229421" y="908114"/>
                  </a:moveTo>
                  <a:cubicBezTo>
                    <a:pt x="2232850" y="908114"/>
                    <a:pt x="2235613" y="910876"/>
                    <a:pt x="2235613" y="914305"/>
                  </a:cubicBezTo>
                  <a:cubicBezTo>
                    <a:pt x="2235613" y="917734"/>
                    <a:pt x="2232850" y="920496"/>
                    <a:pt x="2229421" y="920496"/>
                  </a:cubicBezTo>
                  <a:cubicBezTo>
                    <a:pt x="2225992" y="920496"/>
                    <a:pt x="2223230" y="917734"/>
                    <a:pt x="2223230" y="914305"/>
                  </a:cubicBezTo>
                  <a:cubicBezTo>
                    <a:pt x="2223230" y="910876"/>
                    <a:pt x="2225992" y="908114"/>
                    <a:pt x="2229421" y="908114"/>
                  </a:cubicBezTo>
                  <a:close/>
                  <a:moveTo>
                    <a:pt x="3141154" y="908018"/>
                  </a:moveTo>
                  <a:cubicBezTo>
                    <a:pt x="3144583" y="908018"/>
                    <a:pt x="3147345" y="910780"/>
                    <a:pt x="3147345" y="914209"/>
                  </a:cubicBezTo>
                  <a:lnTo>
                    <a:pt x="3141202" y="920354"/>
                  </a:lnTo>
                  <a:lnTo>
                    <a:pt x="3145630" y="924782"/>
                  </a:lnTo>
                  <a:lnTo>
                    <a:pt x="3140010" y="930403"/>
                  </a:lnTo>
                  <a:lnTo>
                    <a:pt x="3145249" y="935641"/>
                  </a:lnTo>
                  <a:lnTo>
                    <a:pt x="3139915" y="940976"/>
                  </a:lnTo>
                  <a:lnTo>
                    <a:pt x="3145916" y="946976"/>
                  </a:lnTo>
                  <a:cubicBezTo>
                    <a:pt x="3145916" y="950405"/>
                    <a:pt x="3143154" y="953167"/>
                    <a:pt x="3139725" y="953167"/>
                  </a:cubicBezTo>
                  <a:cubicBezTo>
                    <a:pt x="3136296" y="953167"/>
                    <a:pt x="3133534" y="950405"/>
                    <a:pt x="3133534" y="946976"/>
                  </a:cubicBezTo>
                  <a:lnTo>
                    <a:pt x="3138868" y="941643"/>
                  </a:lnTo>
                  <a:lnTo>
                    <a:pt x="3132867" y="935641"/>
                  </a:lnTo>
                  <a:lnTo>
                    <a:pt x="3138487" y="930022"/>
                  </a:lnTo>
                  <a:lnTo>
                    <a:pt x="3133248" y="924782"/>
                  </a:lnTo>
                  <a:lnTo>
                    <a:pt x="3139392" y="918639"/>
                  </a:lnTo>
                  <a:lnTo>
                    <a:pt x="3134963" y="914209"/>
                  </a:lnTo>
                  <a:cubicBezTo>
                    <a:pt x="3134963" y="910780"/>
                    <a:pt x="3137725" y="908018"/>
                    <a:pt x="3141154" y="908018"/>
                  </a:cubicBezTo>
                  <a:close/>
                  <a:moveTo>
                    <a:pt x="3098387" y="906590"/>
                  </a:moveTo>
                  <a:cubicBezTo>
                    <a:pt x="3101807" y="906590"/>
                    <a:pt x="3104579" y="909362"/>
                    <a:pt x="3104579" y="912781"/>
                  </a:cubicBezTo>
                  <a:cubicBezTo>
                    <a:pt x="3104579" y="916201"/>
                    <a:pt x="3101807" y="918973"/>
                    <a:pt x="3098387" y="918973"/>
                  </a:cubicBezTo>
                  <a:cubicBezTo>
                    <a:pt x="3094968" y="918973"/>
                    <a:pt x="3092196" y="916201"/>
                    <a:pt x="3092196" y="912781"/>
                  </a:cubicBezTo>
                  <a:cubicBezTo>
                    <a:pt x="3092196" y="909362"/>
                    <a:pt x="3094968" y="906590"/>
                    <a:pt x="3098387" y="906590"/>
                  </a:cubicBezTo>
                  <a:close/>
                  <a:moveTo>
                    <a:pt x="282416" y="905066"/>
                  </a:moveTo>
                  <a:cubicBezTo>
                    <a:pt x="285845" y="905066"/>
                    <a:pt x="288607" y="907828"/>
                    <a:pt x="288607" y="911257"/>
                  </a:cubicBezTo>
                  <a:cubicBezTo>
                    <a:pt x="288607" y="914686"/>
                    <a:pt x="285845" y="917448"/>
                    <a:pt x="282416" y="917448"/>
                  </a:cubicBezTo>
                  <a:cubicBezTo>
                    <a:pt x="278987" y="917448"/>
                    <a:pt x="276225" y="914686"/>
                    <a:pt x="276225" y="911257"/>
                  </a:cubicBezTo>
                  <a:cubicBezTo>
                    <a:pt x="276225" y="907828"/>
                    <a:pt x="278987" y="905066"/>
                    <a:pt x="282416" y="905066"/>
                  </a:cubicBezTo>
                  <a:close/>
                  <a:moveTo>
                    <a:pt x="330707" y="903923"/>
                  </a:moveTo>
                  <a:cubicBezTo>
                    <a:pt x="334136" y="903923"/>
                    <a:pt x="336898" y="906685"/>
                    <a:pt x="336898" y="910114"/>
                  </a:cubicBezTo>
                  <a:cubicBezTo>
                    <a:pt x="336898" y="913543"/>
                    <a:pt x="334136" y="916306"/>
                    <a:pt x="330707" y="916306"/>
                  </a:cubicBezTo>
                  <a:cubicBezTo>
                    <a:pt x="327278" y="916306"/>
                    <a:pt x="324516" y="913543"/>
                    <a:pt x="324516" y="910114"/>
                  </a:cubicBezTo>
                  <a:cubicBezTo>
                    <a:pt x="324516" y="906685"/>
                    <a:pt x="327278" y="903923"/>
                    <a:pt x="330707" y="903923"/>
                  </a:cubicBezTo>
                  <a:close/>
                  <a:moveTo>
                    <a:pt x="197357" y="899732"/>
                  </a:moveTo>
                  <a:cubicBezTo>
                    <a:pt x="200786" y="899732"/>
                    <a:pt x="203549" y="902494"/>
                    <a:pt x="203549" y="905923"/>
                  </a:cubicBezTo>
                  <a:lnTo>
                    <a:pt x="199262" y="910210"/>
                  </a:lnTo>
                  <a:lnTo>
                    <a:pt x="205073" y="916019"/>
                  </a:lnTo>
                  <a:lnTo>
                    <a:pt x="199976" y="921115"/>
                  </a:lnTo>
                  <a:lnTo>
                    <a:pt x="205263" y="926401"/>
                  </a:lnTo>
                  <a:lnTo>
                    <a:pt x="199548" y="932117"/>
                  </a:lnTo>
                  <a:lnTo>
                    <a:pt x="204787" y="937355"/>
                  </a:lnTo>
                  <a:cubicBezTo>
                    <a:pt x="204787" y="940784"/>
                    <a:pt x="202025" y="943547"/>
                    <a:pt x="198596" y="943547"/>
                  </a:cubicBezTo>
                  <a:cubicBezTo>
                    <a:pt x="195167" y="943547"/>
                    <a:pt x="192405" y="940784"/>
                    <a:pt x="192405" y="937355"/>
                  </a:cubicBezTo>
                  <a:lnTo>
                    <a:pt x="198119" y="931641"/>
                  </a:lnTo>
                  <a:lnTo>
                    <a:pt x="192881" y="926401"/>
                  </a:lnTo>
                  <a:lnTo>
                    <a:pt x="197976" y="921306"/>
                  </a:lnTo>
                  <a:lnTo>
                    <a:pt x="192690" y="916019"/>
                  </a:lnTo>
                  <a:lnTo>
                    <a:pt x="196975" y="911734"/>
                  </a:lnTo>
                  <a:lnTo>
                    <a:pt x="191166" y="905923"/>
                  </a:lnTo>
                  <a:cubicBezTo>
                    <a:pt x="191166" y="902494"/>
                    <a:pt x="193928" y="899732"/>
                    <a:pt x="197357" y="899732"/>
                  </a:cubicBezTo>
                  <a:close/>
                  <a:moveTo>
                    <a:pt x="3163347" y="899541"/>
                  </a:moveTo>
                  <a:cubicBezTo>
                    <a:pt x="3166345" y="899541"/>
                    <a:pt x="3168776" y="901972"/>
                    <a:pt x="3168776" y="904970"/>
                  </a:cubicBezTo>
                  <a:cubicBezTo>
                    <a:pt x="3168776" y="907969"/>
                    <a:pt x="3166346" y="910399"/>
                    <a:pt x="3163347" y="910399"/>
                  </a:cubicBezTo>
                  <a:cubicBezTo>
                    <a:pt x="3160349" y="910399"/>
                    <a:pt x="3157918" y="907969"/>
                    <a:pt x="3157918" y="904970"/>
                  </a:cubicBezTo>
                  <a:cubicBezTo>
                    <a:pt x="3157918" y="901972"/>
                    <a:pt x="3160348" y="899541"/>
                    <a:pt x="3163347" y="899541"/>
                  </a:cubicBezTo>
                  <a:close/>
                  <a:moveTo>
                    <a:pt x="3073717" y="899446"/>
                  </a:moveTo>
                  <a:cubicBezTo>
                    <a:pt x="3077146" y="899446"/>
                    <a:pt x="3079909" y="902208"/>
                    <a:pt x="3079909" y="905637"/>
                  </a:cubicBezTo>
                  <a:cubicBezTo>
                    <a:pt x="3079909" y="909066"/>
                    <a:pt x="3077146" y="911829"/>
                    <a:pt x="3073717" y="911829"/>
                  </a:cubicBezTo>
                  <a:cubicBezTo>
                    <a:pt x="3070288" y="911829"/>
                    <a:pt x="3067526" y="909066"/>
                    <a:pt x="3067526" y="905637"/>
                  </a:cubicBezTo>
                  <a:cubicBezTo>
                    <a:pt x="3067526" y="902208"/>
                    <a:pt x="3070288" y="899446"/>
                    <a:pt x="3073717" y="899446"/>
                  </a:cubicBezTo>
                  <a:close/>
                  <a:moveTo>
                    <a:pt x="1160240" y="899256"/>
                  </a:moveTo>
                  <a:cubicBezTo>
                    <a:pt x="1163669" y="899256"/>
                    <a:pt x="1166431" y="902018"/>
                    <a:pt x="1166431" y="905447"/>
                  </a:cubicBezTo>
                  <a:cubicBezTo>
                    <a:pt x="1166431" y="908876"/>
                    <a:pt x="1163669" y="911638"/>
                    <a:pt x="1160240" y="911638"/>
                  </a:cubicBezTo>
                  <a:cubicBezTo>
                    <a:pt x="1156811" y="911638"/>
                    <a:pt x="1154049" y="908876"/>
                    <a:pt x="1154049" y="905447"/>
                  </a:cubicBezTo>
                  <a:cubicBezTo>
                    <a:pt x="1154049" y="902018"/>
                    <a:pt x="1156811" y="899256"/>
                    <a:pt x="1160240" y="899256"/>
                  </a:cubicBezTo>
                  <a:close/>
                  <a:moveTo>
                    <a:pt x="3144583" y="897160"/>
                  </a:moveTo>
                  <a:cubicBezTo>
                    <a:pt x="3148012" y="897160"/>
                    <a:pt x="3150775" y="899922"/>
                    <a:pt x="3150775" y="903351"/>
                  </a:cubicBezTo>
                  <a:cubicBezTo>
                    <a:pt x="3150775" y="906780"/>
                    <a:pt x="3148012" y="909543"/>
                    <a:pt x="3144583" y="909543"/>
                  </a:cubicBezTo>
                  <a:cubicBezTo>
                    <a:pt x="3141154" y="909543"/>
                    <a:pt x="3138392" y="906780"/>
                    <a:pt x="3138392" y="903351"/>
                  </a:cubicBezTo>
                  <a:cubicBezTo>
                    <a:pt x="3138392" y="899922"/>
                    <a:pt x="3141154" y="897160"/>
                    <a:pt x="3144583" y="897160"/>
                  </a:cubicBezTo>
                  <a:close/>
                  <a:moveTo>
                    <a:pt x="2913887" y="897160"/>
                  </a:moveTo>
                  <a:cubicBezTo>
                    <a:pt x="2917316" y="897160"/>
                    <a:pt x="2920079" y="899922"/>
                    <a:pt x="2920079" y="903351"/>
                  </a:cubicBezTo>
                  <a:cubicBezTo>
                    <a:pt x="2920079" y="906780"/>
                    <a:pt x="2917316" y="909543"/>
                    <a:pt x="2913887" y="909543"/>
                  </a:cubicBezTo>
                  <a:cubicBezTo>
                    <a:pt x="2910458" y="909543"/>
                    <a:pt x="2907696" y="906780"/>
                    <a:pt x="2907696" y="903351"/>
                  </a:cubicBezTo>
                  <a:cubicBezTo>
                    <a:pt x="2907696" y="899922"/>
                    <a:pt x="2910458" y="897160"/>
                    <a:pt x="2913887" y="897160"/>
                  </a:cubicBezTo>
                  <a:close/>
                  <a:moveTo>
                    <a:pt x="759713" y="896589"/>
                  </a:moveTo>
                  <a:cubicBezTo>
                    <a:pt x="763142" y="896589"/>
                    <a:pt x="765905" y="899351"/>
                    <a:pt x="765905" y="902780"/>
                  </a:cubicBezTo>
                  <a:cubicBezTo>
                    <a:pt x="765905" y="906209"/>
                    <a:pt x="763142" y="908971"/>
                    <a:pt x="759713" y="908971"/>
                  </a:cubicBezTo>
                  <a:cubicBezTo>
                    <a:pt x="756284" y="908971"/>
                    <a:pt x="753522" y="906209"/>
                    <a:pt x="753522" y="902780"/>
                  </a:cubicBezTo>
                  <a:cubicBezTo>
                    <a:pt x="753522" y="899351"/>
                    <a:pt x="756284" y="896589"/>
                    <a:pt x="759713" y="896589"/>
                  </a:cubicBezTo>
                  <a:close/>
                  <a:moveTo>
                    <a:pt x="546639" y="896398"/>
                  </a:moveTo>
                  <a:cubicBezTo>
                    <a:pt x="550068" y="896398"/>
                    <a:pt x="552830" y="899160"/>
                    <a:pt x="552830" y="902589"/>
                  </a:cubicBezTo>
                  <a:cubicBezTo>
                    <a:pt x="552830" y="906018"/>
                    <a:pt x="550068" y="908781"/>
                    <a:pt x="546639" y="908781"/>
                  </a:cubicBezTo>
                  <a:cubicBezTo>
                    <a:pt x="543210" y="908781"/>
                    <a:pt x="540448" y="906018"/>
                    <a:pt x="540448" y="902589"/>
                  </a:cubicBezTo>
                  <a:cubicBezTo>
                    <a:pt x="540448" y="899160"/>
                    <a:pt x="543210" y="896398"/>
                    <a:pt x="546639" y="896398"/>
                  </a:cubicBezTo>
                  <a:close/>
                  <a:moveTo>
                    <a:pt x="194310" y="895350"/>
                  </a:moveTo>
                  <a:cubicBezTo>
                    <a:pt x="194468" y="895350"/>
                    <a:pt x="194596" y="895478"/>
                    <a:pt x="194596" y="895636"/>
                  </a:cubicBezTo>
                  <a:cubicBezTo>
                    <a:pt x="194596" y="895794"/>
                    <a:pt x="194468" y="895921"/>
                    <a:pt x="194310" y="895921"/>
                  </a:cubicBezTo>
                  <a:cubicBezTo>
                    <a:pt x="194152" y="895921"/>
                    <a:pt x="194024" y="895794"/>
                    <a:pt x="194024" y="895636"/>
                  </a:cubicBezTo>
                  <a:cubicBezTo>
                    <a:pt x="194024" y="895478"/>
                    <a:pt x="194152" y="895350"/>
                    <a:pt x="194310" y="895350"/>
                  </a:cubicBezTo>
                  <a:close/>
                  <a:moveTo>
                    <a:pt x="242887" y="895160"/>
                  </a:moveTo>
                  <a:cubicBezTo>
                    <a:pt x="246316" y="895160"/>
                    <a:pt x="249078" y="897922"/>
                    <a:pt x="249078" y="901351"/>
                  </a:cubicBezTo>
                  <a:cubicBezTo>
                    <a:pt x="249078" y="904780"/>
                    <a:pt x="246316" y="907542"/>
                    <a:pt x="242887" y="907542"/>
                  </a:cubicBezTo>
                  <a:cubicBezTo>
                    <a:pt x="239458" y="907542"/>
                    <a:pt x="236696" y="904780"/>
                    <a:pt x="236696" y="901351"/>
                  </a:cubicBezTo>
                  <a:cubicBezTo>
                    <a:pt x="236696" y="897922"/>
                    <a:pt x="239458" y="895160"/>
                    <a:pt x="242887" y="895160"/>
                  </a:cubicBezTo>
                  <a:close/>
                  <a:moveTo>
                    <a:pt x="3037807" y="894398"/>
                  </a:moveTo>
                  <a:cubicBezTo>
                    <a:pt x="3041236" y="894398"/>
                    <a:pt x="3043998" y="897160"/>
                    <a:pt x="3043998" y="900589"/>
                  </a:cubicBezTo>
                  <a:cubicBezTo>
                    <a:pt x="3043998" y="904018"/>
                    <a:pt x="3041236" y="906781"/>
                    <a:pt x="3037807" y="906781"/>
                  </a:cubicBezTo>
                  <a:cubicBezTo>
                    <a:pt x="3034378" y="906781"/>
                    <a:pt x="3031616" y="904018"/>
                    <a:pt x="3031616" y="900589"/>
                  </a:cubicBezTo>
                  <a:cubicBezTo>
                    <a:pt x="3031616" y="897160"/>
                    <a:pt x="3034378" y="894398"/>
                    <a:pt x="3037807" y="894398"/>
                  </a:cubicBezTo>
                  <a:close/>
                  <a:moveTo>
                    <a:pt x="2986182" y="892969"/>
                  </a:moveTo>
                  <a:cubicBezTo>
                    <a:pt x="2989602" y="892969"/>
                    <a:pt x="2992374" y="895741"/>
                    <a:pt x="2992374" y="899160"/>
                  </a:cubicBezTo>
                  <a:cubicBezTo>
                    <a:pt x="2992374" y="902580"/>
                    <a:pt x="2989602" y="905352"/>
                    <a:pt x="2986182" y="905352"/>
                  </a:cubicBezTo>
                  <a:cubicBezTo>
                    <a:pt x="2982763" y="905352"/>
                    <a:pt x="2979991" y="902580"/>
                    <a:pt x="2979991" y="899160"/>
                  </a:cubicBezTo>
                  <a:cubicBezTo>
                    <a:pt x="2979991" y="895741"/>
                    <a:pt x="2982763" y="892969"/>
                    <a:pt x="2986182" y="892969"/>
                  </a:cubicBezTo>
                  <a:close/>
                  <a:moveTo>
                    <a:pt x="3129248" y="892398"/>
                  </a:moveTo>
                  <a:cubicBezTo>
                    <a:pt x="3132677" y="892398"/>
                    <a:pt x="3135439" y="895160"/>
                    <a:pt x="3135439" y="898589"/>
                  </a:cubicBezTo>
                  <a:lnTo>
                    <a:pt x="3129915" y="904114"/>
                  </a:lnTo>
                  <a:lnTo>
                    <a:pt x="3134106" y="908304"/>
                  </a:lnTo>
                  <a:lnTo>
                    <a:pt x="3129010" y="913400"/>
                  </a:lnTo>
                  <a:lnTo>
                    <a:pt x="3133915" y="918305"/>
                  </a:lnTo>
                  <a:lnTo>
                    <a:pt x="3128819" y="923402"/>
                  </a:lnTo>
                  <a:lnTo>
                    <a:pt x="3134296" y="928878"/>
                  </a:lnTo>
                  <a:lnTo>
                    <a:pt x="3128676" y="934499"/>
                  </a:lnTo>
                  <a:lnTo>
                    <a:pt x="3134772" y="940594"/>
                  </a:lnTo>
                  <a:cubicBezTo>
                    <a:pt x="3134772" y="944023"/>
                    <a:pt x="3132010" y="946786"/>
                    <a:pt x="3128581" y="946786"/>
                  </a:cubicBezTo>
                  <a:cubicBezTo>
                    <a:pt x="3125152" y="946786"/>
                    <a:pt x="3122390" y="944023"/>
                    <a:pt x="3122390" y="940594"/>
                  </a:cubicBezTo>
                  <a:lnTo>
                    <a:pt x="3128010" y="934975"/>
                  </a:lnTo>
                  <a:lnTo>
                    <a:pt x="3121914" y="928878"/>
                  </a:lnTo>
                  <a:lnTo>
                    <a:pt x="3127010" y="923783"/>
                  </a:lnTo>
                  <a:lnTo>
                    <a:pt x="3121533" y="918305"/>
                  </a:lnTo>
                  <a:lnTo>
                    <a:pt x="3126628" y="913210"/>
                  </a:lnTo>
                  <a:lnTo>
                    <a:pt x="3121723" y="908304"/>
                  </a:lnTo>
                  <a:lnTo>
                    <a:pt x="3127247" y="902780"/>
                  </a:lnTo>
                  <a:lnTo>
                    <a:pt x="3123057" y="898589"/>
                  </a:lnTo>
                  <a:cubicBezTo>
                    <a:pt x="3123057" y="895160"/>
                    <a:pt x="3125819" y="892398"/>
                    <a:pt x="3129248" y="892398"/>
                  </a:cubicBezTo>
                  <a:close/>
                  <a:moveTo>
                    <a:pt x="2120550" y="892207"/>
                  </a:moveTo>
                  <a:cubicBezTo>
                    <a:pt x="2123979" y="892207"/>
                    <a:pt x="2126742" y="894969"/>
                    <a:pt x="2126742" y="898398"/>
                  </a:cubicBezTo>
                  <a:cubicBezTo>
                    <a:pt x="2126742" y="901827"/>
                    <a:pt x="2123979" y="904589"/>
                    <a:pt x="2120550" y="904589"/>
                  </a:cubicBezTo>
                  <a:cubicBezTo>
                    <a:pt x="2117121" y="904589"/>
                    <a:pt x="2114359" y="901827"/>
                    <a:pt x="2114359" y="898398"/>
                  </a:cubicBezTo>
                  <a:cubicBezTo>
                    <a:pt x="2114359" y="894969"/>
                    <a:pt x="2117121" y="892207"/>
                    <a:pt x="2120550" y="892207"/>
                  </a:cubicBezTo>
                  <a:close/>
                  <a:moveTo>
                    <a:pt x="269938" y="887349"/>
                  </a:moveTo>
                  <a:cubicBezTo>
                    <a:pt x="273367" y="887349"/>
                    <a:pt x="276129" y="890111"/>
                    <a:pt x="276129" y="893540"/>
                  </a:cubicBezTo>
                  <a:cubicBezTo>
                    <a:pt x="276129" y="896969"/>
                    <a:pt x="273367" y="899731"/>
                    <a:pt x="269938" y="899731"/>
                  </a:cubicBezTo>
                  <a:cubicBezTo>
                    <a:pt x="266509" y="899731"/>
                    <a:pt x="263747" y="896969"/>
                    <a:pt x="263747" y="893540"/>
                  </a:cubicBezTo>
                  <a:cubicBezTo>
                    <a:pt x="263747" y="890111"/>
                    <a:pt x="266509" y="887349"/>
                    <a:pt x="269938" y="887349"/>
                  </a:cubicBezTo>
                  <a:close/>
                  <a:moveTo>
                    <a:pt x="2535554" y="886397"/>
                  </a:moveTo>
                  <a:cubicBezTo>
                    <a:pt x="2538974" y="886397"/>
                    <a:pt x="2541746" y="889169"/>
                    <a:pt x="2541746" y="892588"/>
                  </a:cubicBezTo>
                  <a:cubicBezTo>
                    <a:pt x="2541746" y="896008"/>
                    <a:pt x="2538974" y="898779"/>
                    <a:pt x="2535554" y="898779"/>
                  </a:cubicBezTo>
                  <a:cubicBezTo>
                    <a:pt x="2532135" y="898779"/>
                    <a:pt x="2529363" y="896008"/>
                    <a:pt x="2529363" y="892588"/>
                  </a:cubicBezTo>
                  <a:cubicBezTo>
                    <a:pt x="2529363" y="889169"/>
                    <a:pt x="2532135" y="886397"/>
                    <a:pt x="2535554" y="886397"/>
                  </a:cubicBezTo>
                  <a:close/>
                  <a:moveTo>
                    <a:pt x="3150107" y="885921"/>
                  </a:moveTo>
                  <a:cubicBezTo>
                    <a:pt x="3153536" y="885921"/>
                    <a:pt x="3156298" y="888683"/>
                    <a:pt x="3156298" y="892112"/>
                  </a:cubicBezTo>
                  <a:cubicBezTo>
                    <a:pt x="3156298" y="895541"/>
                    <a:pt x="3153536" y="898304"/>
                    <a:pt x="3150107" y="898304"/>
                  </a:cubicBezTo>
                  <a:cubicBezTo>
                    <a:pt x="3146678" y="898304"/>
                    <a:pt x="3143916" y="895541"/>
                    <a:pt x="3143916" y="892112"/>
                  </a:cubicBezTo>
                  <a:cubicBezTo>
                    <a:pt x="3143916" y="888683"/>
                    <a:pt x="3146678" y="885921"/>
                    <a:pt x="3150107" y="885921"/>
                  </a:cubicBezTo>
                  <a:close/>
                  <a:moveTo>
                    <a:pt x="2758249" y="885444"/>
                  </a:moveTo>
                  <a:cubicBezTo>
                    <a:pt x="2761678" y="885444"/>
                    <a:pt x="2764441" y="888206"/>
                    <a:pt x="2764441" y="891635"/>
                  </a:cubicBezTo>
                  <a:cubicBezTo>
                    <a:pt x="2764441" y="895064"/>
                    <a:pt x="2761678" y="897827"/>
                    <a:pt x="2758249" y="897827"/>
                  </a:cubicBezTo>
                  <a:cubicBezTo>
                    <a:pt x="2754820" y="897827"/>
                    <a:pt x="2752058" y="895064"/>
                    <a:pt x="2752058" y="891635"/>
                  </a:cubicBezTo>
                  <a:cubicBezTo>
                    <a:pt x="2752058" y="888206"/>
                    <a:pt x="2754820" y="885444"/>
                    <a:pt x="2758249" y="885444"/>
                  </a:cubicBezTo>
                  <a:close/>
                  <a:moveTo>
                    <a:pt x="3080860" y="884968"/>
                  </a:moveTo>
                  <a:cubicBezTo>
                    <a:pt x="3084289" y="884968"/>
                    <a:pt x="3087052" y="887730"/>
                    <a:pt x="3087052" y="891159"/>
                  </a:cubicBezTo>
                  <a:cubicBezTo>
                    <a:pt x="3087052" y="894588"/>
                    <a:pt x="3084289" y="897350"/>
                    <a:pt x="3080860" y="897350"/>
                  </a:cubicBezTo>
                  <a:cubicBezTo>
                    <a:pt x="3077431" y="897350"/>
                    <a:pt x="3074669" y="894588"/>
                    <a:pt x="3074669" y="891159"/>
                  </a:cubicBezTo>
                  <a:cubicBezTo>
                    <a:pt x="3074669" y="887730"/>
                    <a:pt x="3077431" y="884968"/>
                    <a:pt x="3080860" y="884968"/>
                  </a:cubicBezTo>
                  <a:close/>
                  <a:moveTo>
                    <a:pt x="1272444" y="884682"/>
                  </a:moveTo>
                  <a:cubicBezTo>
                    <a:pt x="1275873" y="884682"/>
                    <a:pt x="1278636" y="887444"/>
                    <a:pt x="1278636" y="890873"/>
                  </a:cubicBezTo>
                  <a:cubicBezTo>
                    <a:pt x="1278636" y="894302"/>
                    <a:pt x="1275873" y="897064"/>
                    <a:pt x="1272444" y="897064"/>
                  </a:cubicBezTo>
                  <a:cubicBezTo>
                    <a:pt x="1269015" y="897064"/>
                    <a:pt x="1266253" y="894302"/>
                    <a:pt x="1266253" y="890873"/>
                  </a:cubicBezTo>
                  <a:cubicBezTo>
                    <a:pt x="1266253" y="887444"/>
                    <a:pt x="1269015" y="884682"/>
                    <a:pt x="1272444" y="884682"/>
                  </a:cubicBezTo>
                  <a:close/>
                  <a:moveTo>
                    <a:pt x="442054" y="884396"/>
                  </a:moveTo>
                  <a:cubicBezTo>
                    <a:pt x="445483" y="884396"/>
                    <a:pt x="448246" y="887158"/>
                    <a:pt x="448246" y="890587"/>
                  </a:cubicBezTo>
                  <a:cubicBezTo>
                    <a:pt x="448246" y="894016"/>
                    <a:pt x="445483" y="896779"/>
                    <a:pt x="442054" y="896779"/>
                  </a:cubicBezTo>
                  <a:cubicBezTo>
                    <a:pt x="438625" y="896779"/>
                    <a:pt x="435863" y="894016"/>
                    <a:pt x="435863" y="890587"/>
                  </a:cubicBezTo>
                  <a:cubicBezTo>
                    <a:pt x="435863" y="887158"/>
                    <a:pt x="438625" y="884396"/>
                    <a:pt x="442054" y="884396"/>
                  </a:cubicBezTo>
                  <a:close/>
                  <a:moveTo>
                    <a:pt x="209454" y="883730"/>
                  </a:moveTo>
                  <a:cubicBezTo>
                    <a:pt x="212883" y="883730"/>
                    <a:pt x="215645" y="886492"/>
                    <a:pt x="215645" y="889921"/>
                  </a:cubicBezTo>
                  <a:lnTo>
                    <a:pt x="211597" y="893969"/>
                  </a:lnTo>
                  <a:lnTo>
                    <a:pt x="216789" y="899160"/>
                  </a:lnTo>
                  <a:lnTo>
                    <a:pt x="212169" y="903780"/>
                  </a:lnTo>
                  <a:lnTo>
                    <a:pt x="217075" y="908685"/>
                  </a:lnTo>
                  <a:lnTo>
                    <a:pt x="211883" y="913877"/>
                  </a:lnTo>
                  <a:lnTo>
                    <a:pt x="216789" y="918782"/>
                  </a:lnTo>
                  <a:lnTo>
                    <a:pt x="211025" y="924545"/>
                  </a:lnTo>
                  <a:lnTo>
                    <a:pt x="216693" y="930212"/>
                  </a:lnTo>
                  <a:cubicBezTo>
                    <a:pt x="216693" y="933641"/>
                    <a:pt x="213931" y="936404"/>
                    <a:pt x="210502" y="936404"/>
                  </a:cubicBezTo>
                  <a:cubicBezTo>
                    <a:pt x="207073" y="936404"/>
                    <a:pt x="204311" y="933641"/>
                    <a:pt x="204311" y="930212"/>
                  </a:cubicBezTo>
                  <a:lnTo>
                    <a:pt x="210073" y="924450"/>
                  </a:lnTo>
                  <a:lnTo>
                    <a:pt x="204406" y="918782"/>
                  </a:lnTo>
                  <a:lnTo>
                    <a:pt x="209597" y="913591"/>
                  </a:lnTo>
                  <a:lnTo>
                    <a:pt x="204692" y="908685"/>
                  </a:lnTo>
                  <a:lnTo>
                    <a:pt x="209311" y="904066"/>
                  </a:lnTo>
                  <a:lnTo>
                    <a:pt x="204406" y="899160"/>
                  </a:lnTo>
                  <a:lnTo>
                    <a:pt x="208453" y="895113"/>
                  </a:lnTo>
                  <a:lnTo>
                    <a:pt x="203263" y="889921"/>
                  </a:lnTo>
                  <a:cubicBezTo>
                    <a:pt x="203263" y="886492"/>
                    <a:pt x="206025" y="883730"/>
                    <a:pt x="209454" y="883730"/>
                  </a:cubicBezTo>
                  <a:close/>
                  <a:moveTo>
                    <a:pt x="3132105" y="882587"/>
                  </a:moveTo>
                  <a:cubicBezTo>
                    <a:pt x="3135534" y="882587"/>
                    <a:pt x="3138297" y="885349"/>
                    <a:pt x="3138297" y="888778"/>
                  </a:cubicBezTo>
                  <a:cubicBezTo>
                    <a:pt x="3138297" y="892207"/>
                    <a:pt x="3135534" y="894969"/>
                    <a:pt x="3132105" y="894969"/>
                  </a:cubicBezTo>
                  <a:cubicBezTo>
                    <a:pt x="3128676" y="894969"/>
                    <a:pt x="3125914" y="892207"/>
                    <a:pt x="3125914" y="888778"/>
                  </a:cubicBezTo>
                  <a:cubicBezTo>
                    <a:pt x="3125914" y="885349"/>
                    <a:pt x="3128676" y="882587"/>
                    <a:pt x="3132105" y="882587"/>
                  </a:cubicBezTo>
                  <a:close/>
                  <a:moveTo>
                    <a:pt x="308990" y="881825"/>
                  </a:moveTo>
                  <a:cubicBezTo>
                    <a:pt x="312419" y="881825"/>
                    <a:pt x="315181" y="884587"/>
                    <a:pt x="315181" y="888016"/>
                  </a:cubicBezTo>
                  <a:cubicBezTo>
                    <a:pt x="315181" y="891445"/>
                    <a:pt x="312419" y="894208"/>
                    <a:pt x="308990" y="894208"/>
                  </a:cubicBezTo>
                  <a:cubicBezTo>
                    <a:pt x="305561" y="894208"/>
                    <a:pt x="302799" y="891445"/>
                    <a:pt x="302799" y="888016"/>
                  </a:cubicBezTo>
                  <a:cubicBezTo>
                    <a:pt x="302799" y="884587"/>
                    <a:pt x="305561" y="881825"/>
                    <a:pt x="308990" y="881825"/>
                  </a:cubicBezTo>
                  <a:close/>
                  <a:moveTo>
                    <a:pt x="364711" y="880206"/>
                  </a:moveTo>
                  <a:cubicBezTo>
                    <a:pt x="368140" y="880206"/>
                    <a:pt x="370902" y="882968"/>
                    <a:pt x="370902" y="886397"/>
                  </a:cubicBezTo>
                  <a:cubicBezTo>
                    <a:pt x="370902" y="889826"/>
                    <a:pt x="368140" y="892588"/>
                    <a:pt x="364711" y="892588"/>
                  </a:cubicBezTo>
                  <a:cubicBezTo>
                    <a:pt x="361282" y="892588"/>
                    <a:pt x="358520" y="889826"/>
                    <a:pt x="358520" y="886397"/>
                  </a:cubicBezTo>
                  <a:cubicBezTo>
                    <a:pt x="358520" y="882968"/>
                    <a:pt x="361282" y="880206"/>
                    <a:pt x="364711" y="880206"/>
                  </a:cubicBezTo>
                  <a:close/>
                  <a:moveTo>
                    <a:pt x="3157918" y="880110"/>
                  </a:moveTo>
                  <a:cubicBezTo>
                    <a:pt x="3157971" y="880110"/>
                    <a:pt x="3158013" y="880153"/>
                    <a:pt x="3158013" y="880205"/>
                  </a:cubicBezTo>
                  <a:cubicBezTo>
                    <a:pt x="3158013" y="880258"/>
                    <a:pt x="3157971" y="880301"/>
                    <a:pt x="3157918" y="880301"/>
                  </a:cubicBezTo>
                  <a:cubicBezTo>
                    <a:pt x="3157865" y="880301"/>
                    <a:pt x="3157823" y="880258"/>
                    <a:pt x="3157823" y="880205"/>
                  </a:cubicBezTo>
                  <a:cubicBezTo>
                    <a:pt x="3157823" y="880153"/>
                    <a:pt x="3157865" y="880110"/>
                    <a:pt x="3157918" y="880110"/>
                  </a:cubicBezTo>
                  <a:close/>
                  <a:moveTo>
                    <a:pt x="2005583" y="878967"/>
                  </a:moveTo>
                  <a:cubicBezTo>
                    <a:pt x="2009012" y="878967"/>
                    <a:pt x="2011775" y="881729"/>
                    <a:pt x="2011775" y="885158"/>
                  </a:cubicBezTo>
                  <a:cubicBezTo>
                    <a:pt x="2011775" y="888587"/>
                    <a:pt x="2009012" y="891350"/>
                    <a:pt x="2005583" y="891350"/>
                  </a:cubicBezTo>
                  <a:cubicBezTo>
                    <a:pt x="2002154" y="891350"/>
                    <a:pt x="1999392" y="888587"/>
                    <a:pt x="1999392" y="885158"/>
                  </a:cubicBezTo>
                  <a:cubicBezTo>
                    <a:pt x="1999392" y="881729"/>
                    <a:pt x="2002154" y="878967"/>
                    <a:pt x="2005583" y="878967"/>
                  </a:cubicBezTo>
                  <a:close/>
                  <a:moveTo>
                    <a:pt x="3051809" y="876681"/>
                  </a:moveTo>
                  <a:cubicBezTo>
                    <a:pt x="3055238" y="876681"/>
                    <a:pt x="3058000" y="879443"/>
                    <a:pt x="3058000" y="882872"/>
                  </a:cubicBezTo>
                  <a:cubicBezTo>
                    <a:pt x="3058000" y="886301"/>
                    <a:pt x="3055238" y="889064"/>
                    <a:pt x="3051809" y="889064"/>
                  </a:cubicBezTo>
                  <a:cubicBezTo>
                    <a:pt x="3048380" y="889064"/>
                    <a:pt x="3045618" y="886301"/>
                    <a:pt x="3045618" y="882872"/>
                  </a:cubicBezTo>
                  <a:cubicBezTo>
                    <a:pt x="3045618" y="879443"/>
                    <a:pt x="3048380" y="876681"/>
                    <a:pt x="3051809" y="876681"/>
                  </a:cubicBezTo>
                  <a:close/>
                  <a:moveTo>
                    <a:pt x="840961" y="874967"/>
                  </a:moveTo>
                  <a:cubicBezTo>
                    <a:pt x="844390" y="874967"/>
                    <a:pt x="847153" y="877729"/>
                    <a:pt x="847153" y="881158"/>
                  </a:cubicBezTo>
                  <a:cubicBezTo>
                    <a:pt x="847153" y="884587"/>
                    <a:pt x="844390" y="887350"/>
                    <a:pt x="840961" y="887350"/>
                  </a:cubicBezTo>
                  <a:cubicBezTo>
                    <a:pt x="837532" y="887350"/>
                    <a:pt x="834770" y="884587"/>
                    <a:pt x="834770" y="881158"/>
                  </a:cubicBezTo>
                  <a:cubicBezTo>
                    <a:pt x="834770" y="877729"/>
                    <a:pt x="837532" y="874967"/>
                    <a:pt x="840961" y="874967"/>
                  </a:cubicBezTo>
                  <a:close/>
                  <a:moveTo>
                    <a:pt x="206788" y="874967"/>
                  </a:moveTo>
                  <a:cubicBezTo>
                    <a:pt x="209891" y="874967"/>
                    <a:pt x="212407" y="877483"/>
                    <a:pt x="212407" y="880587"/>
                  </a:cubicBezTo>
                  <a:cubicBezTo>
                    <a:pt x="212407" y="883691"/>
                    <a:pt x="209891" y="886206"/>
                    <a:pt x="206788" y="886206"/>
                  </a:cubicBezTo>
                  <a:cubicBezTo>
                    <a:pt x="203684" y="886206"/>
                    <a:pt x="201168" y="883690"/>
                    <a:pt x="201168" y="880587"/>
                  </a:cubicBezTo>
                  <a:cubicBezTo>
                    <a:pt x="201168" y="877483"/>
                    <a:pt x="203684" y="874967"/>
                    <a:pt x="206788" y="874967"/>
                  </a:cubicBezTo>
                  <a:close/>
                  <a:moveTo>
                    <a:pt x="2868453" y="873157"/>
                  </a:moveTo>
                  <a:cubicBezTo>
                    <a:pt x="2871882" y="873157"/>
                    <a:pt x="2874644" y="875919"/>
                    <a:pt x="2874644" y="879348"/>
                  </a:cubicBezTo>
                  <a:cubicBezTo>
                    <a:pt x="2874644" y="882777"/>
                    <a:pt x="2871882" y="885539"/>
                    <a:pt x="2868453" y="885539"/>
                  </a:cubicBezTo>
                  <a:cubicBezTo>
                    <a:pt x="2865024" y="885539"/>
                    <a:pt x="2862262" y="882777"/>
                    <a:pt x="2862262" y="879348"/>
                  </a:cubicBezTo>
                  <a:cubicBezTo>
                    <a:pt x="2862262" y="875919"/>
                    <a:pt x="2865024" y="873157"/>
                    <a:pt x="2868453" y="873157"/>
                  </a:cubicBezTo>
                  <a:close/>
                  <a:moveTo>
                    <a:pt x="1390268" y="873157"/>
                  </a:moveTo>
                  <a:cubicBezTo>
                    <a:pt x="1393697" y="873157"/>
                    <a:pt x="1396460" y="875919"/>
                    <a:pt x="1396460" y="879348"/>
                  </a:cubicBezTo>
                  <a:cubicBezTo>
                    <a:pt x="1396460" y="882777"/>
                    <a:pt x="1393697" y="885539"/>
                    <a:pt x="1390268" y="885539"/>
                  </a:cubicBezTo>
                  <a:cubicBezTo>
                    <a:pt x="1386839" y="885539"/>
                    <a:pt x="1384077" y="882777"/>
                    <a:pt x="1384077" y="879348"/>
                  </a:cubicBezTo>
                  <a:cubicBezTo>
                    <a:pt x="1384077" y="875919"/>
                    <a:pt x="1386839" y="873157"/>
                    <a:pt x="1390268" y="873157"/>
                  </a:cubicBezTo>
                  <a:close/>
                  <a:moveTo>
                    <a:pt x="261460" y="873062"/>
                  </a:moveTo>
                  <a:cubicBezTo>
                    <a:pt x="264889" y="873062"/>
                    <a:pt x="267652" y="875824"/>
                    <a:pt x="267652" y="879253"/>
                  </a:cubicBezTo>
                  <a:cubicBezTo>
                    <a:pt x="267652" y="882682"/>
                    <a:pt x="264889" y="885444"/>
                    <a:pt x="261460" y="885444"/>
                  </a:cubicBezTo>
                  <a:cubicBezTo>
                    <a:pt x="258031" y="885444"/>
                    <a:pt x="255269" y="882682"/>
                    <a:pt x="255269" y="879253"/>
                  </a:cubicBezTo>
                  <a:cubicBezTo>
                    <a:pt x="255269" y="875824"/>
                    <a:pt x="258031" y="873062"/>
                    <a:pt x="261460" y="873062"/>
                  </a:cubicBezTo>
                  <a:close/>
                  <a:moveTo>
                    <a:pt x="606837" y="872871"/>
                  </a:moveTo>
                  <a:cubicBezTo>
                    <a:pt x="610266" y="872871"/>
                    <a:pt x="613028" y="875633"/>
                    <a:pt x="613028" y="879062"/>
                  </a:cubicBezTo>
                  <a:cubicBezTo>
                    <a:pt x="613028" y="882491"/>
                    <a:pt x="610266" y="885254"/>
                    <a:pt x="606837" y="885254"/>
                  </a:cubicBezTo>
                  <a:cubicBezTo>
                    <a:pt x="603408" y="885254"/>
                    <a:pt x="600646" y="882491"/>
                    <a:pt x="600646" y="879062"/>
                  </a:cubicBezTo>
                  <a:cubicBezTo>
                    <a:pt x="600646" y="875633"/>
                    <a:pt x="603408" y="872871"/>
                    <a:pt x="606837" y="872871"/>
                  </a:cubicBezTo>
                  <a:close/>
                  <a:moveTo>
                    <a:pt x="3136867" y="872395"/>
                  </a:moveTo>
                  <a:cubicBezTo>
                    <a:pt x="3140296" y="872395"/>
                    <a:pt x="3143059" y="875157"/>
                    <a:pt x="3143059" y="878586"/>
                  </a:cubicBezTo>
                  <a:cubicBezTo>
                    <a:pt x="3143059" y="882015"/>
                    <a:pt x="3140296" y="884777"/>
                    <a:pt x="3136867" y="884777"/>
                  </a:cubicBezTo>
                  <a:cubicBezTo>
                    <a:pt x="3133438" y="884777"/>
                    <a:pt x="3130676" y="882015"/>
                    <a:pt x="3130676" y="878586"/>
                  </a:cubicBezTo>
                  <a:cubicBezTo>
                    <a:pt x="3130676" y="875157"/>
                    <a:pt x="3133438" y="872395"/>
                    <a:pt x="3136867" y="872395"/>
                  </a:cubicBezTo>
                  <a:close/>
                  <a:moveTo>
                    <a:pt x="3009804" y="870776"/>
                  </a:moveTo>
                  <a:cubicBezTo>
                    <a:pt x="3013233" y="870776"/>
                    <a:pt x="3015996" y="873538"/>
                    <a:pt x="3015996" y="876967"/>
                  </a:cubicBezTo>
                  <a:cubicBezTo>
                    <a:pt x="3015996" y="880396"/>
                    <a:pt x="3013233" y="883158"/>
                    <a:pt x="3009804" y="883158"/>
                  </a:cubicBezTo>
                  <a:cubicBezTo>
                    <a:pt x="3006375" y="883158"/>
                    <a:pt x="3003613" y="880396"/>
                    <a:pt x="3003613" y="876967"/>
                  </a:cubicBezTo>
                  <a:cubicBezTo>
                    <a:pt x="3003613" y="873538"/>
                    <a:pt x="3006375" y="870776"/>
                    <a:pt x="3009804" y="870776"/>
                  </a:cubicBezTo>
                  <a:close/>
                  <a:moveTo>
                    <a:pt x="2950368" y="869061"/>
                  </a:moveTo>
                  <a:cubicBezTo>
                    <a:pt x="2953797" y="869061"/>
                    <a:pt x="2956559" y="871823"/>
                    <a:pt x="2956559" y="875252"/>
                  </a:cubicBezTo>
                  <a:cubicBezTo>
                    <a:pt x="2956559" y="878681"/>
                    <a:pt x="2953797" y="881443"/>
                    <a:pt x="2950368" y="881443"/>
                  </a:cubicBezTo>
                  <a:cubicBezTo>
                    <a:pt x="2946939" y="881443"/>
                    <a:pt x="2944177" y="878681"/>
                    <a:pt x="2944177" y="875252"/>
                  </a:cubicBezTo>
                  <a:cubicBezTo>
                    <a:pt x="2944177" y="871823"/>
                    <a:pt x="2946939" y="869061"/>
                    <a:pt x="2950368" y="869061"/>
                  </a:cubicBezTo>
                  <a:close/>
                  <a:moveTo>
                    <a:pt x="1885664" y="869061"/>
                  </a:moveTo>
                  <a:cubicBezTo>
                    <a:pt x="1889093" y="869061"/>
                    <a:pt x="1891855" y="871823"/>
                    <a:pt x="1891855" y="875252"/>
                  </a:cubicBezTo>
                  <a:cubicBezTo>
                    <a:pt x="1891855" y="878681"/>
                    <a:pt x="1889093" y="881443"/>
                    <a:pt x="1885664" y="881443"/>
                  </a:cubicBezTo>
                  <a:cubicBezTo>
                    <a:pt x="1882235" y="881443"/>
                    <a:pt x="1879473" y="878681"/>
                    <a:pt x="1879473" y="875252"/>
                  </a:cubicBezTo>
                  <a:cubicBezTo>
                    <a:pt x="1879473" y="871823"/>
                    <a:pt x="1882235" y="869061"/>
                    <a:pt x="1885664" y="869061"/>
                  </a:cubicBezTo>
                  <a:close/>
                  <a:moveTo>
                    <a:pt x="3119532" y="867252"/>
                  </a:moveTo>
                  <a:cubicBezTo>
                    <a:pt x="3122961" y="867252"/>
                    <a:pt x="3125724" y="870014"/>
                    <a:pt x="3125724" y="873443"/>
                  </a:cubicBezTo>
                  <a:lnTo>
                    <a:pt x="3120056" y="879110"/>
                  </a:lnTo>
                  <a:lnTo>
                    <a:pt x="3123247" y="882301"/>
                  </a:lnTo>
                  <a:lnTo>
                    <a:pt x="3118294" y="887254"/>
                  </a:lnTo>
                  <a:lnTo>
                    <a:pt x="3122104" y="891064"/>
                  </a:lnTo>
                  <a:lnTo>
                    <a:pt x="3117437" y="895732"/>
                  </a:lnTo>
                  <a:lnTo>
                    <a:pt x="3121818" y="900112"/>
                  </a:lnTo>
                  <a:lnTo>
                    <a:pt x="3116960" y="904971"/>
                  </a:lnTo>
                  <a:lnTo>
                    <a:pt x="3121914" y="909923"/>
                  </a:lnTo>
                  <a:lnTo>
                    <a:pt x="3116246" y="915591"/>
                  </a:lnTo>
                  <a:lnTo>
                    <a:pt x="3121628" y="920972"/>
                  </a:lnTo>
                  <a:cubicBezTo>
                    <a:pt x="3121628" y="924401"/>
                    <a:pt x="3118865" y="927164"/>
                    <a:pt x="3115436" y="927164"/>
                  </a:cubicBezTo>
                  <a:cubicBezTo>
                    <a:pt x="3112007" y="927164"/>
                    <a:pt x="3109245" y="924401"/>
                    <a:pt x="3109245" y="920972"/>
                  </a:cubicBezTo>
                  <a:lnTo>
                    <a:pt x="3114912" y="915305"/>
                  </a:lnTo>
                  <a:lnTo>
                    <a:pt x="3109531" y="909923"/>
                  </a:lnTo>
                  <a:lnTo>
                    <a:pt x="3114389" y="905066"/>
                  </a:lnTo>
                  <a:lnTo>
                    <a:pt x="3109436" y="900112"/>
                  </a:lnTo>
                  <a:lnTo>
                    <a:pt x="3114103" y="895446"/>
                  </a:lnTo>
                  <a:lnTo>
                    <a:pt x="3109722" y="891064"/>
                  </a:lnTo>
                  <a:lnTo>
                    <a:pt x="3114675" y="886111"/>
                  </a:lnTo>
                  <a:lnTo>
                    <a:pt x="3110865" y="882301"/>
                  </a:lnTo>
                  <a:lnTo>
                    <a:pt x="3116532" y="876634"/>
                  </a:lnTo>
                  <a:lnTo>
                    <a:pt x="3113341" y="873443"/>
                  </a:lnTo>
                  <a:cubicBezTo>
                    <a:pt x="3113341" y="870014"/>
                    <a:pt x="3116103" y="867252"/>
                    <a:pt x="3119532" y="867252"/>
                  </a:cubicBezTo>
                  <a:close/>
                  <a:moveTo>
                    <a:pt x="1512283" y="865442"/>
                  </a:moveTo>
                  <a:cubicBezTo>
                    <a:pt x="1515712" y="865442"/>
                    <a:pt x="1518475" y="868204"/>
                    <a:pt x="1518475" y="871633"/>
                  </a:cubicBezTo>
                  <a:cubicBezTo>
                    <a:pt x="1518475" y="875062"/>
                    <a:pt x="1515712" y="877825"/>
                    <a:pt x="1512283" y="877825"/>
                  </a:cubicBezTo>
                  <a:cubicBezTo>
                    <a:pt x="1508854" y="877825"/>
                    <a:pt x="1506092" y="875062"/>
                    <a:pt x="1506092" y="871633"/>
                  </a:cubicBezTo>
                  <a:cubicBezTo>
                    <a:pt x="1506092" y="868204"/>
                    <a:pt x="1508854" y="865442"/>
                    <a:pt x="1512283" y="865442"/>
                  </a:cubicBezTo>
                  <a:close/>
                  <a:moveTo>
                    <a:pt x="2451258" y="865061"/>
                  </a:moveTo>
                  <a:cubicBezTo>
                    <a:pt x="2454687" y="865061"/>
                    <a:pt x="2457449" y="867823"/>
                    <a:pt x="2457449" y="871252"/>
                  </a:cubicBezTo>
                  <a:cubicBezTo>
                    <a:pt x="2457449" y="874681"/>
                    <a:pt x="2454687" y="877444"/>
                    <a:pt x="2451258" y="877444"/>
                  </a:cubicBezTo>
                  <a:cubicBezTo>
                    <a:pt x="2447829" y="877444"/>
                    <a:pt x="2445067" y="874681"/>
                    <a:pt x="2445067" y="871252"/>
                  </a:cubicBezTo>
                  <a:cubicBezTo>
                    <a:pt x="2445067" y="867823"/>
                    <a:pt x="2447829" y="865061"/>
                    <a:pt x="2451258" y="865061"/>
                  </a:cubicBezTo>
                  <a:close/>
                  <a:moveTo>
                    <a:pt x="293179" y="864204"/>
                  </a:moveTo>
                  <a:cubicBezTo>
                    <a:pt x="296608" y="864204"/>
                    <a:pt x="299371" y="866966"/>
                    <a:pt x="299371" y="870395"/>
                  </a:cubicBezTo>
                  <a:cubicBezTo>
                    <a:pt x="299371" y="873824"/>
                    <a:pt x="296608" y="876586"/>
                    <a:pt x="293179" y="876586"/>
                  </a:cubicBezTo>
                  <a:cubicBezTo>
                    <a:pt x="289750" y="876586"/>
                    <a:pt x="286988" y="873824"/>
                    <a:pt x="286988" y="870395"/>
                  </a:cubicBezTo>
                  <a:cubicBezTo>
                    <a:pt x="286988" y="866966"/>
                    <a:pt x="289750" y="864204"/>
                    <a:pt x="293179" y="864204"/>
                  </a:cubicBezTo>
                  <a:close/>
                  <a:moveTo>
                    <a:pt x="1762124" y="863251"/>
                  </a:moveTo>
                  <a:cubicBezTo>
                    <a:pt x="1765553" y="863251"/>
                    <a:pt x="1768315" y="866013"/>
                    <a:pt x="1768315" y="869442"/>
                  </a:cubicBezTo>
                  <a:cubicBezTo>
                    <a:pt x="1768315" y="872871"/>
                    <a:pt x="1765553" y="875633"/>
                    <a:pt x="1762124" y="875633"/>
                  </a:cubicBezTo>
                  <a:cubicBezTo>
                    <a:pt x="1758695" y="875633"/>
                    <a:pt x="1755933" y="872871"/>
                    <a:pt x="1755933" y="869442"/>
                  </a:cubicBezTo>
                  <a:cubicBezTo>
                    <a:pt x="1755933" y="866013"/>
                    <a:pt x="1758695" y="863251"/>
                    <a:pt x="1762124" y="863251"/>
                  </a:cubicBezTo>
                  <a:close/>
                  <a:moveTo>
                    <a:pt x="3143821" y="862584"/>
                  </a:moveTo>
                  <a:cubicBezTo>
                    <a:pt x="3146662" y="862584"/>
                    <a:pt x="3148965" y="864887"/>
                    <a:pt x="3148965" y="867727"/>
                  </a:cubicBezTo>
                  <a:cubicBezTo>
                    <a:pt x="3148965" y="870568"/>
                    <a:pt x="3146662" y="872871"/>
                    <a:pt x="3143821" y="872871"/>
                  </a:cubicBezTo>
                  <a:cubicBezTo>
                    <a:pt x="3140981" y="872871"/>
                    <a:pt x="3138678" y="870568"/>
                    <a:pt x="3138678" y="867727"/>
                  </a:cubicBezTo>
                  <a:cubicBezTo>
                    <a:pt x="3138678" y="864887"/>
                    <a:pt x="3140981" y="862584"/>
                    <a:pt x="3143821" y="862584"/>
                  </a:cubicBezTo>
                  <a:close/>
                  <a:moveTo>
                    <a:pt x="3061430" y="862584"/>
                  </a:moveTo>
                  <a:cubicBezTo>
                    <a:pt x="3064859" y="862584"/>
                    <a:pt x="3067621" y="865346"/>
                    <a:pt x="3067621" y="868775"/>
                  </a:cubicBezTo>
                  <a:cubicBezTo>
                    <a:pt x="3067621" y="872204"/>
                    <a:pt x="3064859" y="874966"/>
                    <a:pt x="3061430" y="874966"/>
                  </a:cubicBezTo>
                  <a:cubicBezTo>
                    <a:pt x="3058001" y="874966"/>
                    <a:pt x="3055239" y="872204"/>
                    <a:pt x="3055239" y="868775"/>
                  </a:cubicBezTo>
                  <a:cubicBezTo>
                    <a:pt x="3055239" y="865346"/>
                    <a:pt x="3058001" y="862584"/>
                    <a:pt x="3061430" y="862584"/>
                  </a:cubicBezTo>
                  <a:close/>
                  <a:moveTo>
                    <a:pt x="1636966" y="862013"/>
                  </a:moveTo>
                  <a:cubicBezTo>
                    <a:pt x="1640395" y="862013"/>
                    <a:pt x="1643157" y="864775"/>
                    <a:pt x="1643157" y="868204"/>
                  </a:cubicBezTo>
                  <a:cubicBezTo>
                    <a:pt x="1643157" y="871633"/>
                    <a:pt x="1640395" y="874396"/>
                    <a:pt x="1636966" y="874396"/>
                  </a:cubicBezTo>
                  <a:cubicBezTo>
                    <a:pt x="1633537" y="874396"/>
                    <a:pt x="1630775" y="871633"/>
                    <a:pt x="1630775" y="868204"/>
                  </a:cubicBezTo>
                  <a:cubicBezTo>
                    <a:pt x="1630775" y="864775"/>
                    <a:pt x="1633537" y="862013"/>
                    <a:pt x="1636966" y="862013"/>
                  </a:cubicBezTo>
                  <a:close/>
                  <a:moveTo>
                    <a:pt x="2695479" y="861918"/>
                  </a:moveTo>
                  <a:cubicBezTo>
                    <a:pt x="2698908" y="861918"/>
                    <a:pt x="2701671" y="864680"/>
                    <a:pt x="2701671" y="868109"/>
                  </a:cubicBezTo>
                  <a:cubicBezTo>
                    <a:pt x="2701671" y="871538"/>
                    <a:pt x="2698908" y="874300"/>
                    <a:pt x="2695479" y="874300"/>
                  </a:cubicBezTo>
                  <a:cubicBezTo>
                    <a:pt x="2692050" y="874300"/>
                    <a:pt x="2689288" y="871538"/>
                    <a:pt x="2689288" y="868109"/>
                  </a:cubicBezTo>
                  <a:cubicBezTo>
                    <a:pt x="2689288" y="864680"/>
                    <a:pt x="2692050" y="861918"/>
                    <a:pt x="2695479" y="861918"/>
                  </a:cubicBezTo>
                  <a:close/>
                  <a:moveTo>
                    <a:pt x="256031" y="861537"/>
                  </a:moveTo>
                  <a:cubicBezTo>
                    <a:pt x="259460" y="861537"/>
                    <a:pt x="262223" y="864299"/>
                    <a:pt x="262223" y="867728"/>
                  </a:cubicBezTo>
                  <a:cubicBezTo>
                    <a:pt x="262223" y="871157"/>
                    <a:pt x="259460" y="873919"/>
                    <a:pt x="256031" y="873919"/>
                  </a:cubicBezTo>
                  <a:cubicBezTo>
                    <a:pt x="252602" y="873919"/>
                    <a:pt x="249840" y="871157"/>
                    <a:pt x="249840" y="867728"/>
                  </a:cubicBezTo>
                  <a:cubicBezTo>
                    <a:pt x="249840" y="864299"/>
                    <a:pt x="252602" y="861537"/>
                    <a:pt x="256031" y="861537"/>
                  </a:cubicBezTo>
                  <a:close/>
                  <a:moveTo>
                    <a:pt x="489870" y="860203"/>
                  </a:moveTo>
                  <a:cubicBezTo>
                    <a:pt x="493299" y="860203"/>
                    <a:pt x="496062" y="862965"/>
                    <a:pt x="496062" y="866394"/>
                  </a:cubicBezTo>
                  <a:cubicBezTo>
                    <a:pt x="496062" y="869823"/>
                    <a:pt x="493299" y="872585"/>
                    <a:pt x="489870" y="872585"/>
                  </a:cubicBezTo>
                  <a:cubicBezTo>
                    <a:pt x="486441" y="872585"/>
                    <a:pt x="483679" y="869823"/>
                    <a:pt x="483679" y="866394"/>
                  </a:cubicBezTo>
                  <a:cubicBezTo>
                    <a:pt x="483679" y="862965"/>
                    <a:pt x="486441" y="860203"/>
                    <a:pt x="489870" y="860203"/>
                  </a:cubicBezTo>
                  <a:close/>
                  <a:moveTo>
                    <a:pt x="219455" y="858679"/>
                  </a:moveTo>
                  <a:cubicBezTo>
                    <a:pt x="222884" y="858679"/>
                    <a:pt x="225647" y="861441"/>
                    <a:pt x="225647" y="864870"/>
                  </a:cubicBezTo>
                  <a:lnTo>
                    <a:pt x="222646" y="867871"/>
                  </a:lnTo>
                  <a:lnTo>
                    <a:pt x="227933" y="873157"/>
                  </a:lnTo>
                  <a:lnTo>
                    <a:pt x="224360" y="876729"/>
                  </a:lnTo>
                  <a:lnTo>
                    <a:pt x="229075" y="881444"/>
                  </a:lnTo>
                  <a:lnTo>
                    <a:pt x="224932" y="885588"/>
                  </a:lnTo>
                  <a:lnTo>
                    <a:pt x="229456" y="890111"/>
                  </a:lnTo>
                  <a:lnTo>
                    <a:pt x="224931" y="894636"/>
                  </a:lnTo>
                  <a:lnTo>
                    <a:pt x="229743" y="899446"/>
                  </a:lnTo>
                  <a:lnTo>
                    <a:pt x="224742" y="904447"/>
                  </a:lnTo>
                  <a:lnTo>
                    <a:pt x="230505" y="910209"/>
                  </a:lnTo>
                  <a:cubicBezTo>
                    <a:pt x="230505" y="913638"/>
                    <a:pt x="227742" y="916400"/>
                    <a:pt x="224313" y="916400"/>
                  </a:cubicBezTo>
                  <a:cubicBezTo>
                    <a:pt x="220884" y="916400"/>
                    <a:pt x="218122" y="913638"/>
                    <a:pt x="218122" y="910209"/>
                  </a:cubicBezTo>
                  <a:lnTo>
                    <a:pt x="223122" y="905209"/>
                  </a:lnTo>
                  <a:lnTo>
                    <a:pt x="217360" y="899446"/>
                  </a:lnTo>
                  <a:lnTo>
                    <a:pt x="221884" y="894922"/>
                  </a:lnTo>
                  <a:lnTo>
                    <a:pt x="217074" y="890111"/>
                  </a:lnTo>
                  <a:lnTo>
                    <a:pt x="221216" y="885969"/>
                  </a:lnTo>
                  <a:lnTo>
                    <a:pt x="216693" y="881444"/>
                  </a:lnTo>
                  <a:lnTo>
                    <a:pt x="220265" y="877872"/>
                  </a:lnTo>
                  <a:lnTo>
                    <a:pt x="215550" y="873157"/>
                  </a:lnTo>
                  <a:lnTo>
                    <a:pt x="218550" y="870157"/>
                  </a:lnTo>
                  <a:lnTo>
                    <a:pt x="213264" y="864870"/>
                  </a:lnTo>
                  <a:cubicBezTo>
                    <a:pt x="213264" y="861441"/>
                    <a:pt x="216026" y="858679"/>
                    <a:pt x="219455" y="858679"/>
                  </a:cubicBezTo>
                  <a:close/>
                  <a:moveTo>
                    <a:pt x="3123723" y="858108"/>
                  </a:moveTo>
                  <a:cubicBezTo>
                    <a:pt x="3127152" y="858108"/>
                    <a:pt x="3129915" y="860870"/>
                    <a:pt x="3129915" y="864299"/>
                  </a:cubicBezTo>
                  <a:cubicBezTo>
                    <a:pt x="3129915" y="867728"/>
                    <a:pt x="3127152" y="870490"/>
                    <a:pt x="3123723" y="870490"/>
                  </a:cubicBezTo>
                  <a:cubicBezTo>
                    <a:pt x="3120294" y="870490"/>
                    <a:pt x="3117532" y="867728"/>
                    <a:pt x="3117532" y="864299"/>
                  </a:cubicBezTo>
                  <a:cubicBezTo>
                    <a:pt x="3117532" y="860870"/>
                    <a:pt x="3120294" y="858108"/>
                    <a:pt x="3123723" y="858108"/>
                  </a:cubicBezTo>
                  <a:close/>
                  <a:moveTo>
                    <a:pt x="338613" y="857917"/>
                  </a:moveTo>
                  <a:cubicBezTo>
                    <a:pt x="342042" y="857917"/>
                    <a:pt x="344804" y="860679"/>
                    <a:pt x="344804" y="864108"/>
                  </a:cubicBezTo>
                  <a:cubicBezTo>
                    <a:pt x="344804" y="867537"/>
                    <a:pt x="342042" y="870300"/>
                    <a:pt x="338613" y="870300"/>
                  </a:cubicBezTo>
                  <a:cubicBezTo>
                    <a:pt x="335184" y="870300"/>
                    <a:pt x="332422" y="867537"/>
                    <a:pt x="332422" y="864108"/>
                  </a:cubicBezTo>
                  <a:cubicBezTo>
                    <a:pt x="332422" y="860679"/>
                    <a:pt x="335184" y="857917"/>
                    <a:pt x="338613" y="857917"/>
                  </a:cubicBezTo>
                  <a:close/>
                  <a:moveTo>
                    <a:pt x="215551" y="856012"/>
                  </a:moveTo>
                  <a:cubicBezTo>
                    <a:pt x="215709" y="856012"/>
                    <a:pt x="215836" y="856140"/>
                    <a:pt x="215836" y="856298"/>
                  </a:cubicBezTo>
                  <a:cubicBezTo>
                    <a:pt x="215836" y="856456"/>
                    <a:pt x="215709" y="856583"/>
                    <a:pt x="215551" y="856583"/>
                  </a:cubicBezTo>
                  <a:cubicBezTo>
                    <a:pt x="215393" y="856583"/>
                    <a:pt x="215265" y="856456"/>
                    <a:pt x="215265" y="856298"/>
                  </a:cubicBezTo>
                  <a:cubicBezTo>
                    <a:pt x="215265" y="856140"/>
                    <a:pt x="215393" y="856012"/>
                    <a:pt x="215551" y="856012"/>
                  </a:cubicBezTo>
                  <a:close/>
                  <a:moveTo>
                    <a:pt x="402431" y="855917"/>
                  </a:moveTo>
                  <a:cubicBezTo>
                    <a:pt x="405851" y="855917"/>
                    <a:pt x="408623" y="858689"/>
                    <a:pt x="408623" y="862108"/>
                  </a:cubicBezTo>
                  <a:cubicBezTo>
                    <a:pt x="408623" y="865528"/>
                    <a:pt x="405851" y="868300"/>
                    <a:pt x="402431" y="868300"/>
                  </a:cubicBezTo>
                  <a:cubicBezTo>
                    <a:pt x="399012" y="868300"/>
                    <a:pt x="396240" y="865528"/>
                    <a:pt x="396240" y="862108"/>
                  </a:cubicBezTo>
                  <a:cubicBezTo>
                    <a:pt x="396240" y="858689"/>
                    <a:pt x="399012" y="855917"/>
                    <a:pt x="402431" y="855917"/>
                  </a:cubicBezTo>
                  <a:close/>
                  <a:moveTo>
                    <a:pt x="928687" y="854012"/>
                  </a:moveTo>
                  <a:cubicBezTo>
                    <a:pt x="932116" y="854012"/>
                    <a:pt x="934879" y="856774"/>
                    <a:pt x="934879" y="860203"/>
                  </a:cubicBezTo>
                  <a:cubicBezTo>
                    <a:pt x="934879" y="863632"/>
                    <a:pt x="932116" y="866394"/>
                    <a:pt x="928687" y="866394"/>
                  </a:cubicBezTo>
                  <a:cubicBezTo>
                    <a:pt x="925258" y="866394"/>
                    <a:pt x="922496" y="863632"/>
                    <a:pt x="922496" y="860203"/>
                  </a:cubicBezTo>
                  <a:cubicBezTo>
                    <a:pt x="922496" y="856774"/>
                    <a:pt x="925258" y="854012"/>
                    <a:pt x="928687" y="854012"/>
                  </a:cubicBezTo>
                  <a:close/>
                  <a:moveTo>
                    <a:pt x="3027330" y="853250"/>
                  </a:moveTo>
                  <a:cubicBezTo>
                    <a:pt x="3030759" y="853250"/>
                    <a:pt x="3033522" y="856012"/>
                    <a:pt x="3033522" y="859441"/>
                  </a:cubicBezTo>
                  <a:cubicBezTo>
                    <a:pt x="3033522" y="862870"/>
                    <a:pt x="3030759" y="865633"/>
                    <a:pt x="3027330" y="865633"/>
                  </a:cubicBezTo>
                  <a:cubicBezTo>
                    <a:pt x="3023901" y="865633"/>
                    <a:pt x="3021139" y="862870"/>
                    <a:pt x="3021139" y="859441"/>
                  </a:cubicBezTo>
                  <a:cubicBezTo>
                    <a:pt x="3021139" y="856012"/>
                    <a:pt x="3023901" y="853250"/>
                    <a:pt x="3027330" y="853250"/>
                  </a:cubicBezTo>
                  <a:close/>
                  <a:moveTo>
                    <a:pt x="3067811" y="851250"/>
                  </a:moveTo>
                  <a:cubicBezTo>
                    <a:pt x="3071240" y="851250"/>
                    <a:pt x="3074003" y="854012"/>
                    <a:pt x="3074003" y="857441"/>
                  </a:cubicBezTo>
                  <a:cubicBezTo>
                    <a:pt x="3074003" y="860870"/>
                    <a:pt x="3071240" y="863633"/>
                    <a:pt x="3067811" y="863633"/>
                  </a:cubicBezTo>
                  <a:cubicBezTo>
                    <a:pt x="3064382" y="863633"/>
                    <a:pt x="3061620" y="860870"/>
                    <a:pt x="3061620" y="857441"/>
                  </a:cubicBezTo>
                  <a:cubicBezTo>
                    <a:pt x="3061620" y="854012"/>
                    <a:pt x="3064382" y="851250"/>
                    <a:pt x="3067811" y="851250"/>
                  </a:cubicBezTo>
                  <a:close/>
                  <a:moveTo>
                    <a:pt x="281939" y="850202"/>
                  </a:moveTo>
                  <a:cubicBezTo>
                    <a:pt x="285368" y="850202"/>
                    <a:pt x="288130" y="852964"/>
                    <a:pt x="288130" y="856393"/>
                  </a:cubicBezTo>
                  <a:cubicBezTo>
                    <a:pt x="288130" y="859822"/>
                    <a:pt x="285368" y="862585"/>
                    <a:pt x="281939" y="862585"/>
                  </a:cubicBezTo>
                  <a:cubicBezTo>
                    <a:pt x="278510" y="862585"/>
                    <a:pt x="275748" y="859822"/>
                    <a:pt x="275748" y="856393"/>
                  </a:cubicBezTo>
                  <a:cubicBezTo>
                    <a:pt x="275748" y="852964"/>
                    <a:pt x="278510" y="850202"/>
                    <a:pt x="281939" y="850202"/>
                  </a:cubicBezTo>
                  <a:close/>
                  <a:moveTo>
                    <a:pt x="672559" y="849345"/>
                  </a:moveTo>
                  <a:cubicBezTo>
                    <a:pt x="675988" y="849345"/>
                    <a:pt x="678751" y="852107"/>
                    <a:pt x="678751" y="855536"/>
                  </a:cubicBezTo>
                  <a:cubicBezTo>
                    <a:pt x="678751" y="858965"/>
                    <a:pt x="675988" y="861727"/>
                    <a:pt x="672559" y="861727"/>
                  </a:cubicBezTo>
                  <a:cubicBezTo>
                    <a:pt x="669130" y="861727"/>
                    <a:pt x="666368" y="858965"/>
                    <a:pt x="666368" y="855536"/>
                  </a:cubicBezTo>
                  <a:cubicBezTo>
                    <a:pt x="666368" y="852107"/>
                    <a:pt x="669130" y="849345"/>
                    <a:pt x="672559" y="849345"/>
                  </a:cubicBezTo>
                  <a:close/>
                  <a:moveTo>
                    <a:pt x="2818447" y="848868"/>
                  </a:moveTo>
                  <a:cubicBezTo>
                    <a:pt x="2821876" y="848868"/>
                    <a:pt x="2824638" y="851630"/>
                    <a:pt x="2824638" y="855059"/>
                  </a:cubicBezTo>
                  <a:cubicBezTo>
                    <a:pt x="2824638" y="858488"/>
                    <a:pt x="2821876" y="861251"/>
                    <a:pt x="2818447" y="861251"/>
                  </a:cubicBezTo>
                  <a:cubicBezTo>
                    <a:pt x="2815018" y="861251"/>
                    <a:pt x="2812256" y="858488"/>
                    <a:pt x="2812256" y="855059"/>
                  </a:cubicBezTo>
                  <a:cubicBezTo>
                    <a:pt x="2812256" y="851630"/>
                    <a:pt x="2815018" y="848868"/>
                    <a:pt x="2818447" y="848868"/>
                  </a:cubicBezTo>
                  <a:close/>
                  <a:moveTo>
                    <a:pt x="3129914" y="848297"/>
                  </a:moveTo>
                  <a:cubicBezTo>
                    <a:pt x="3133343" y="848297"/>
                    <a:pt x="3136105" y="851059"/>
                    <a:pt x="3136105" y="854488"/>
                  </a:cubicBezTo>
                  <a:cubicBezTo>
                    <a:pt x="3136105" y="857917"/>
                    <a:pt x="3133343" y="860679"/>
                    <a:pt x="3129914" y="860679"/>
                  </a:cubicBezTo>
                  <a:cubicBezTo>
                    <a:pt x="3126485" y="860679"/>
                    <a:pt x="3123723" y="857917"/>
                    <a:pt x="3123723" y="854488"/>
                  </a:cubicBezTo>
                  <a:cubicBezTo>
                    <a:pt x="3123723" y="851059"/>
                    <a:pt x="3126485" y="848297"/>
                    <a:pt x="3129914" y="848297"/>
                  </a:cubicBezTo>
                  <a:close/>
                  <a:moveTo>
                    <a:pt x="2978657" y="846582"/>
                  </a:moveTo>
                  <a:cubicBezTo>
                    <a:pt x="2982086" y="846582"/>
                    <a:pt x="2984848" y="849344"/>
                    <a:pt x="2984848" y="852773"/>
                  </a:cubicBezTo>
                  <a:cubicBezTo>
                    <a:pt x="2984848" y="856202"/>
                    <a:pt x="2982086" y="858964"/>
                    <a:pt x="2978657" y="858964"/>
                  </a:cubicBezTo>
                  <a:cubicBezTo>
                    <a:pt x="2975228" y="858964"/>
                    <a:pt x="2972466" y="856202"/>
                    <a:pt x="2972466" y="852773"/>
                  </a:cubicBezTo>
                  <a:cubicBezTo>
                    <a:pt x="2972466" y="849344"/>
                    <a:pt x="2975228" y="846582"/>
                    <a:pt x="2978657" y="846582"/>
                  </a:cubicBezTo>
                  <a:close/>
                  <a:moveTo>
                    <a:pt x="2360485" y="844582"/>
                  </a:moveTo>
                  <a:cubicBezTo>
                    <a:pt x="2363914" y="844582"/>
                    <a:pt x="2366677" y="847344"/>
                    <a:pt x="2366677" y="850773"/>
                  </a:cubicBezTo>
                  <a:cubicBezTo>
                    <a:pt x="2366677" y="854202"/>
                    <a:pt x="2363914" y="856964"/>
                    <a:pt x="2360485" y="856964"/>
                  </a:cubicBezTo>
                  <a:cubicBezTo>
                    <a:pt x="2357056" y="856964"/>
                    <a:pt x="2354294" y="854202"/>
                    <a:pt x="2354294" y="850773"/>
                  </a:cubicBezTo>
                  <a:cubicBezTo>
                    <a:pt x="2354294" y="847344"/>
                    <a:pt x="2357056" y="844582"/>
                    <a:pt x="2360485" y="844582"/>
                  </a:cubicBezTo>
                  <a:close/>
                  <a:moveTo>
                    <a:pt x="2910839" y="844487"/>
                  </a:moveTo>
                  <a:cubicBezTo>
                    <a:pt x="2914268" y="844487"/>
                    <a:pt x="2917030" y="847249"/>
                    <a:pt x="2917030" y="850678"/>
                  </a:cubicBezTo>
                  <a:cubicBezTo>
                    <a:pt x="2917030" y="854107"/>
                    <a:pt x="2914268" y="856869"/>
                    <a:pt x="2910839" y="856869"/>
                  </a:cubicBezTo>
                  <a:cubicBezTo>
                    <a:pt x="2907410" y="856869"/>
                    <a:pt x="2904648" y="854107"/>
                    <a:pt x="2904648" y="850678"/>
                  </a:cubicBezTo>
                  <a:cubicBezTo>
                    <a:pt x="2904648" y="847249"/>
                    <a:pt x="2907410" y="844487"/>
                    <a:pt x="2910839" y="844487"/>
                  </a:cubicBezTo>
                  <a:close/>
                  <a:moveTo>
                    <a:pt x="3138392" y="843725"/>
                  </a:moveTo>
                  <a:lnTo>
                    <a:pt x="3138392" y="843820"/>
                  </a:lnTo>
                  <a:lnTo>
                    <a:pt x="3138297" y="843820"/>
                  </a:lnTo>
                  <a:close/>
                  <a:moveTo>
                    <a:pt x="3110483" y="843058"/>
                  </a:moveTo>
                  <a:cubicBezTo>
                    <a:pt x="3113912" y="843058"/>
                    <a:pt x="3116674" y="845820"/>
                    <a:pt x="3116674" y="849249"/>
                  </a:cubicBezTo>
                  <a:lnTo>
                    <a:pt x="3110769" y="855155"/>
                  </a:lnTo>
                  <a:lnTo>
                    <a:pt x="3112960" y="857345"/>
                  </a:lnTo>
                  <a:lnTo>
                    <a:pt x="3107959" y="862346"/>
                  </a:lnTo>
                  <a:lnTo>
                    <a:pt x="3110769" y="865156"/>
                  </a:lnTo>
                  <a:lnTo>
                    <a:pt x="3106293" y="869633"/>
                  </a:lnTo>
                  <a:lnTo>
                    <a:pt x="3109626" y="872966"/>
                  </a:lnTo>
                  <a:lnTo>
                    <a:pt x="3105245" y="877348"/>
                  </a:lnTo>
                  <a:lnTo>
                    <a:pt x="3109055" y="881158"/>
                  </a:lnTo>
                  <a:lnTo>
                    <a:pt x="3104245" y="885969"/>
                  </a:lnTo>
                  <a:lnTo>
                    <a:pt x="3108484" y="890207"/>
                  </a:lnTo>
                  <a:lnTo>
                    <a:pt x="3102673" y="896017"/>
                  </a:lnTo>
                  <a:lnTo>
                    <a:pt x="3107245" y="900589"/>
                  </a:lnTo>
                  <a:cubicBezTo>
                    <a:pt x="3107245" y="904018"/>
                    <a:pt x="3104483" y="906781"/>
                    <a:pt x="3101054" y="906781"/>
                  </a:cubicBezTo>
                  <a:cubicBezTo>
                    <a:pt x="3097625" y="906781"/>
                    <a:pt x="3094863" y="904018"/>
                    <a:pt x="3094863" y="900589"/>
                  </a:cubicBezTo>
                  <a:lnTo>
                    <a:pt x="3100673" y="894779"/>
                  </a:lnTo>
                  <a:lnTo>
                    <a:pt x="3096101" y="890207"/>
                  </a:lnTo>
                  <a:lnTo>
                    <a:pt x="3100911" y="885398"/>
                  </a:lnTo>
                  <a:lnTo>
                    <a:pt x="3096672" y="881158"/>
                  </a:lnTo>
                  <a:lnTo>
                    <a:pt x="3101054" y="876777"/>
                  </a:lnTo>
                  <a:lnTo>
                    <a:pt x="3097244" y="872966"/>
                  </a:lnTo>
                  <a:lnTo>
                    <a:pt x="3101720" y="868490"/>
                  </a:lnTo>
                  <a:lnTo>
                    <a:pt x="3098387" y="865156"/>
                  </a:lnTo>
                  <a:lnTo>
                    <a:pt x="3103387" y="860156"/>
                  </a:lnTo>
                  <a:lnTo>
                    <a:pt x="3100577" y="857345"/>
                  </a:lnTo>
                  <a:lnTo>
                    <a:pt x="3106482" y="851440"/>
                  </a:lnTo>
                  <a:lnTo>
                    <a:pt x="3104292" y="849249"/>
                  </a:lnTo>
                  <a:cubicBezTo>
                    <a:pt x="3104292" y="845820"/>
                    <a:pt x="3107054" y="843058"/>
                    <a:pt x="3110483" y="843058"/>
                  </a:cubicBezTo>
                  <a:close/>
                  <a:moveTo>
                    <a:pt x="319087" y="840391"/>
                  </a:moveTo>
                  <a:cubicBezTo>
                    <a:pt x="322516" y="840391"/>
                    <a:pt x="325279" y="843153"/>
                    <a:pt x="325279" y="846582"/>
                  </a:cubicBezTo>
                  <a:cubicBezTo>
                    <a:pt x="325279" y="850011"/>
                    <a:pt x="322516" y="852773"/>
                    <a:pt x="319087" y="852773"/>
                  </a:cubicBezTo>
                  <a:cubicBezTo>
                    <a:pt x="315658" y="852773"/>
                    <a:pt x="312896" y="850011"/>
                    <a:pt x="312896" y="846582"/>
                  </a:cubicBezTo>
                  <a:cubicBezTo>
                    <a:pt x="312896" y="843153"/>
                    <a:pt x="315658" y="840391"/>
                    <a:pt x="319087" y="840391"/>
                  </a:cubicBezTo>
                  <a:close/>
                  <a:moveTo>
                    <a:pt x="3039903" y="839343"/>
                  </a:moveTo>
                  <a:cubicBezTo>
                    <a:pt x="3043332" y="839343"/>
                    <a:pt x="3046094" y="842105"/>
                    <a:pt x="3046094" y="845534"/>
                  </a:cubicBezTo>
                  <a:cubicBezTo>
                    <a:pt x="3046094" y="848963"/>
                    <a:pt x="3043332" y="851726"/>
                    <a:pt x="3039903" y="851726"/>
                  </a:cubicBezTo>
                  <a:cubicBezTo>
                    <a:pt x="3036474" y="851726"/>
                    <a:pt x="3033712" y="848963"/>
                    <a:pt x="3033712" y="845534"/>
                  </a:cubicBezTo>
                  <a:cubicBezTo>
                    <a:pt x="3033712" y="842105"/>
                    <a:pt x="3036474" y="839343"/>
                    <a:pt x="3039903" y="839343"/>
                  </a:cubicBezTo>
                  <a:close/>
                  <a:moveTo>
                    <a:pt x="274414" y="839248"/>
                  </a:moveTo>
                  <a:cubicBezTo>
                    <a:pt x="277843" y="839248"/>
                    <a:pt x="280605" y="842010"/>
                    <a:pt x="280605" y="845439"/>
                  </a:cubicBezTo>
                  <a:cubicBezTo>
                    <a:pt x="280605" y="848868"/>
                    <a:pt x="277843" y="851631"/>
                    <a:pt x="274414" y="851631"/>
                  </a:cubicBezTo>
                  <a:cubicBezTo>
                    <a:pt x="270985" y="851631"/>
                    <a:pt x="268223" y="848868"/>
                    <a:pt x="268223" y="845439"/>
                  </a:cubicBezTo>
                  <a:cubicBezTo>
                    <a:pt x="268223" y="842010"/>
                    <a:pt x="270985" y="839248"/>
                    <a:pt x="274414" y="839248"/>
                  </a:cubicBezTo>
                  <a:close/>
                  <a:moveTo>
                    <a:pt x="2627090" y="838486"/>
                  </a:moveTo>
                  <a:cubicBezTo>
                    <a:pt x="2630519" y="838486"/>
                    <a:pt x="2633281" y="841248"/>
                    <a:pt x="2633281" y="844677"/>
                  </a:cubicBezTo>
                  <a:cubicBezTo>
                    <a:pt x="2633281" y="848106"/>
                    <a:pt x="2630519" y="850869"/>
                    <a:pt x="2627090" y="850869"/>
                  </a:cubicBezTo>
                  <a:cubicBezTo>
                    <a:pt x="2623661" y="850869"/>
                    <a:pt x="2620899" y="848106"/>
                    <a:pt x="2620899" y="844677"/>
                  </a:cubicBezTo>
                  <a:cubicBezTo>
                    <a:pt x="2620899" y="841248"/>
                    <a:pt x="2623661" y="838486"/>
                    <a:pt x="2627090" y="838486"/>
                  </a:cubicBezTo>
                  <a:close/>
                  <a:moveTo>
                    <a:pt x="542543" y="835724"/>
                  </a:moveTo>
                  <a:cubicBezTo>
                    <a:pt x="545972" y="835724"/>
                    <a:pt x="548734" y="838486"/>
                    <a:pt x="548734" y="841915"/>
                  </a:cubicBezTo>
                  <a:cubicBezTo>
                    <a:pt x="548734" y="845344"/>
                    <a:pt x="545972" y="848106"/>
                    <a:pt x="542543" y="848106"/>
                  </a:cubicBezTo>
                  <a:cubicBezTo>
                    <a:pt x="539114" y="848106"/>
                    <a:pt x="536352" y="845344"/>
                    <a:pt x="536352" y="841915"/>
                  </a:cubicBezTo>
                  <a:cubicBezTo>
                    <a:pt x="536352" y="838486"/>
                    <a:pt x="539114" y="835724"/>
                    <a:pt x="542543" y="835724"/>
                  </a:cubicBezTo>
                  <a:close/>
                  <a:moveTo>
                    <a:pt x="228885" y="835343"/>
                  </a:moveTo>
                  <a:cubicBezTo>
                    <a:pt x="231884" y="835343"/>
                    <a:pt x="234315" y="837774"/>
                    <a:pt x="234315" y="840772"/>
                  </a:cubicBezTo>
                  <a:lnTo>
                    <a:pt x="232647" y="842440"/>
                  </a:lnTo>
                  <a:lnTo>
                    <a:pt x="238600" y="848392"/>
                  </a:lnTo>
                  <a:lnTo>
                    <a:pt x="236028" y="850964"/>
                  </a:lnTo>
                  <a:lnTo>
                    <a:pt x="240697" y="855631"/>
                  </a:lnTo>
                  <a:lnTo>
                    <a:pt x="237648" y="858680"/>
                  </a:lnTo>
                  <a:lnTo>
                    <a:pt x="241934" y="862965"/>
                  </a:lnTo>
                  <a:lnTo>
                    <a:pt x="238457" y="866442"/>
                  </a:lnTo>
                  <a:lnTo>
                    <a:pt x="242696" y="870680"/>
                  </a:lnTo>
                  <a:lnTo>
                    <a:pt x="238886" y="874491"/>
                  </a:lnTo>
                  <a:lnTo>
                    <a:pt x="243744" y="879348"/>
                  </a:lnTo>
                  <a:lnTo>
                    <a:pt x="239648" y="883444"/>
                  </a:lnTo>
                  <a:lnTo>
                    <a:pt x="245554" y="889349"/>
                  </a:lnTo>
                  <a:cubicBezTo>
                    <a:pt x="245554" y="892778"/>
                    <a:pt x="242791" y="895541"/>
                    <a:pt x="239362" y="895541"/>
                  </a:cubicBezTo>
                  <a:cubicBezTo>
                    <a:pt x="235933" y="895541"/>
                    <a:pt x="233171" y="892778"/>
                    <a:pt x="233171" y="889349"/>
                  </a:cubicBezTo>
                  <a:lnTo>
                    <a:pt x="237267" y="885253"/>
                  </a:lnTo>
                  <a:lnTo>
                    <a:pt x="231362" y="879348"/>
                  </a:lnTo>
                  <a:lnTo>
                    <a:pt x="235171" y="875539"/>
                  </a:lnTo>
                  <a:lnTo>
                    <a:pt x="230314" y="870680"/>
                  </a:lnTo>
                  <a:lnTo>
                    <a:pt x="233790" y="867204"/>
                  </a:lnTo>
                  <a:lnTo>
                    <a:pt x="229552" y="862965"/>
                  </a:lnTo>
                  <a:lnTo>
                    <a:pt x="232599" y="859918"/>
                  </a:lnTo>
                  <a:lnTo>
                    <a:pt x="228314" y="855631"/>
                  </a:lnTo>
                  <a:lnTo>
                    <a:pt x="230885" y="853060"/>
                  </a:lnTo>
                  <a:lnTo>
                    <a:pt x="226218" y="848392"/>
                  </a:lnTo>
                  <a:lnTo>
                    <a:pt x="228646" y="845964"/>
                  </a:lnTo>
                  <a:lnTo>
                    <a:pt x="223456" y="840772"/>
                  </a:lnTo>
                  <a:cubicBezTo>
                    <a:pt x="223456" y="837774"/>
                    <a:pt x="225887" y="835343"/>
                    <a:pt x="228885" y="835343"/>
                  </a:cubicBezTo>
                  <a:close/>
                  <a:moveTo>
                    <a:pt x="3115913" y="834295"/>
                  </a:moveTo>
                  <a:cubicBezTo>
                    <a:pt x="3119342" y="834295"/>
                    <a:pt x="3122104" y="837057"/>
                    <a:pt x="3122104" y="840486"/>
                  </a:cubicBezTo>
                  <a:cubicBezTo>
                    <a:pt x="3122104" y="843915"/>
                    <a:pt x="3119342" y="846677"/>
                    <a:pt x="3115913" y="846677"/>
                  </a:cubicBezTo>
                  <a:cubicBezTo>
                    <a:pt x="3112484" y="846677"/>
                    <a:pt x="3109722" y="843915"/>
                    <a:pt x="3109722" y="840486"/>
                  </a:cubicBezTo>
                  <a:cubicBezTo>
                    <a:pt x="3109722" y="837057"/>
                    <a:pt x="3112484" y="834295"/>
                    <a:pt x="3115913" y="834295"/>
                  </a:cubicBezTo>
                  <a:close/>
                  <a:moveTo>
                    <a:pt x="1022984" y="834200"/>
                  </a:moveTo>
                  <a:cubicBezTo>
                    <a:pt x="1026413" y="834200"/>
                    <a:pt x="1029176" y="836962"/>
                    <a:pt x="1029176" y="840391"/>
                  </a:cubicBezTo>
                  <a:cubicBezTo>
                    <a:pt x="1029176" y="843820"/>
                    <a:pt x="1026413" y="846583"/>
                    <a:pt x="1022984" y="846583"/>
                  </a:cubicBezTo>
                  <a:cubicBezTo>
                    <a:pt x="1019555" y="846583"/>
                    <a:pt x="1016793" y="843820"/>
                    <a:pt x="1016793" y="840391"/>
                  </a:cubicBezTo>
                  <a:cubicBezTo>
                    <a:pt x="1016793" y="836962"/>
                    <a:pt x="1019555" y="834200"/>
                    <a:pt x="1022984" y="834200"/>
                  </a:cubicBezTo>
                  <a:close/>
                  <a:moveTo>
                    <a:pt x="371474" y="833438"/>
                  </a:moveTo>
                  <a:cubicBezTo>
                    <a:pt x="374903" y="833438"/>
                    <a:pt x="377666" y="836200"/>
                    <a:pt x="377666" y="839629"/>
                  </a:cubicBezTo>
                  <a:cubicBezTo>
                    <a:pt x="377666" y="843058"/>
                    <a:pt x="374903" y="845821"/>
                    <a:pt x="371474" y="845821"/>
                  </a:cubicBezTo>
                  <a:cubicBezTo>
                    <a:pt x="368045" y="845821"/>
                    <a:pt x="365283" y="843058"/>
                    <a:pt x="365283" y="839629"/>
                  </a:cubicBezTo>
                  <a:cubicBezTo>
                    <a:pt x="365283" y="836200"/>
                    <a:pt x="368045" y="833438"/>
                    <a:pt x="371474" y="833438"/>
                  </a:cubicBezTo>
                  <a:close/>
                  <a:moveTo>
                    <a:pt x="444150" y="831247"/>
                  </a:moveTo>
                  <a:cubicBezTo>
                    <a:pt x="447579" y="831247"/>
                    <a:pt x="450341" y="834009"/>
                    <a:pt x="450341" y="837438"/>
                  </a:cubicBezTo>
                  <a:cubicBezTo>
                    <a:pt x="450341" y="840867"/>
                    <a:pt x="447579" y="843629"/>
                    <a:pt x="444150" y="843629"/>
                  </a:cubicBezTo>
                  <a:cubicBezTo>
                    <a:pt x="440721" y="843629"/>
                    <a:pt x="437959" y="840867"/>
                    <a:pt x="437959" y="837438"/>
                  </a:cubicBezTo>
                  <a:cubicBezTo>
                    <a:pt x="437959" y="834009"/>
                    <a:pt x="440721" y="831247"/>
                    <a:pt x="444150" y="831247"/>
                  </a:cubicBezTo>
                  <a:close/>
                  <a:moveTo>
                    <a:pt x="3000089" y="829056"/>
                  </a:moveTo>
                  <a:cubicBezTo>
                    <a:pt x="3003518" y="829056"/>
                    <a:pt x="3006280" y="831818"/>
                    <a:pt x="3006280" y="835247"/>
                  </a:cubicBezTo>
                  <a:cubicBezTo>
                    <a:pt x="3006280" y="838676"/>
                    <a:pt x="3003518" y="841439"/>
                    <a:pt x="3000089" y="841439"/>
                  </a:cubicBezTo>
                  <a:cubicBezTo>
                    <a:pt x="2996660" y="841439"/>
                    <a:pt x="2993898" y="838676"/>
                    <a:pt x="2993898" y="835247"/>
                  </a:cubicBezTo>
                  <a:cubicBezTo>
                    <a:pt x="2993898" y="831818"/>
                    <a:pt x="2996660" y="829056"/>
                    <a:pt x="3000089" y="829056"/>
                  </a:cubicBezTo>
                  <a:close/>
                  <a:moveTo>
                    <a:pt x="3048666" y="828580"/>
                  </a:moveTo>
                  <a:cubicBezTo>
                    <a:pt x="3052095" y="828580"/>
                    <a:pt x="3054857" y="831342"/>
                    <a:pt x="3054857" y="834771"/>
                  </a:cubicBezTo>
                  <a:cubicBezTo>
                    <a:pt x="3054857" y="838200"/>
                    <a:pt x="3052095" y="840962"/>
                    <a:pt x="3048666" y="840962"/>
                  </a:cubicBezTo>
                  <a:cubicBezTo>
                    <a:pt x="3045237" y="840962"/>
                    <a:pt x="3042475" y="838200"/>
                    <a:pt x="3042475" y="834771"/>
                  </a:cubicBezTo>
                  <a:cubicBezTo>
                    <a:pt x="3042475" y="831342"/>
                    <a:pt x="3045237" y="828580"/>
                    <a:pt x="3048666" y="828580"/>
                  </a:cubicBezTo>
                  <a:close/>
                  <a:moveTo>
                    <a:pt x="3096958" y="827151"/>
                  </a:moveTo>
                  <a:cubicBezTo>
                    <a:pt x="3100387" y="827151"/>
                    <a:pt x="3103150" y="829913"/>
                    <a:pt x="3103150" y="833342"/>
                  </a:cubicBezTo>
                  <a:lnTo>
                    <a:pt x="3097958" y="838534"/>
                  </a:lnTo>
                  <a:lnTo>
                    <a:pt x="3099815" y="840391"/>
                  </a:lnTo>
                  <a:lnTo>
                    <a:pt x="3095339" y="844868"/>
                  </a:lnTo>
                  <a:lnTo>
                    <a:pt x="3097720" y="847249"/>
                  </a:lnTo>
                  <a:lnTo>
                    <a:pt x="3093624" y="851345"/>
                  </a:lnTo>
                  <a:lnTo>
                    <a:pt x="3096386" y="854107"/>
                  </a:lnTo>
                  <a:lnTo>
                    <a:pt x="3092195" y="858298"/>
                  </a:lnTo>
                  <a:lnTo>
                    <a:pt x="3095338" y="861441"/>
                  </a:lnTo>
                  <a:lnTo>
                    <a:pt x="3090481" y="866299"/>
                  </a:lnTo>
                  <a:lnTo>
                    <a:pt x="3093910" y="869728"/>
                  </a:lnTo>
                  <a:lnTo>
                    <a:pt x="3087814" y="875824"/>
                  </a:lnTo>
                  <a:lnTo>
                    <a:pt x="3091433" y="879443"/>
                  </a:lnTo>
                  <a:cubicBezTo>
                    <a:pt x="3091433" y="882872"/>
                    <a:pt x="3088671" y="885635"/>
                    <a:pt x="3085242" y="885635"/>
                  </a:cubicBezTo>
                  <a:cubicBezTo>
                    <a:pt x="3081813" y="885635"/>
                    <a:pt x="3079051" y="882872"/>
                    <a:pt x="3079051" y="879443"/>
                  </a:cubicBezTo>
                  <a:lnTo>
                    <a:pt x="3085146" y="873348"/>
                  </a:lnTo>
                  <a:lnTo>
                    <a:pt x="3081527" y="869728"/>
                  </a:lnTo>
                  <a:lnTo>
                    <a:pt x="3086385" y="864871"/>
                  </a:lnTo>
                  <a:lnTo>
                    <a:pt x="3082956" y="861441"/>
                  </a:lnTo>
                  <a:lnTo>
                    <a:pt x="3087147" y="857250"/>
                  </a:lnTo>
                  <a:lnTo>
                    <a:pt x="3084004" y="854107"/>
                  </a:lnTo>
                  <a:lnTo>
                    <a:pt x="3088100" y="850011"/>
                  </a:lnTo>
                  <a:lnTo>
                    <a:pt x="3085338" y="847249"/>
                  </a:lnTo>
                  <a:lnTo>
                    <a:pt x="3089814" y="842773"/>
                  </a:lnTo>
                  <a:lnTo>
                    <a:pt x="3087433" y="840391"/>
                  </a:lnTo>
                  <a:lnTo>
                    <a:pt x="3092625" y="835200"/>
                  </a:lnTo>
                  <a:lnTo>
                    <a:pt x="3090767" y="833342"/>
                  </a:lnTo>
                  <a:cubicBezTo>
                    <a:pt x="3090767" y="829913"/>
                    <a:pt x="3093529" y="827151"/>
                    <a:pt x="3096958" y="827151"/>
                  </a:cubicBezTo>
                  <a:close/>
                  <a:moveTo>
                    <a:pt x="304799" y="826675"/>
                  </a:moveTo>
                  <a:cubicBezTo>
                    <a:pt x="308228" y="826675"/>
                    <a:pt x="310991" y="829437"/>
                    <a:pt x="310991" y="832866"/>
                  </a:cubicBezTo>
                  <a:cubicBezTo>
                    <a:pt x="310991" y="836295"/>
                    <a:pt x="308228" y="839058"/>
                    <a:pt x="304799" y="839058"/>
                  </a:cubicBezTo>
                  <a:cubicBezTo>
                    <a:pt x="301370" y="839058"/>
                    <a:pt x="298608" y="836295"/>
                    <a:pt x="298608" y="832866"/>
                  </a:cubicBezTo>
                  <a:cubicBezTo>
                    <a:pt x="298608" y="829437"/>
                    <a:pt x="301370" y="826675"/>
                    <a:pt x="304799" y="826675"/>
                  </a:cubicBezTo>
                  <a:close/>
                  <a:moveTo>
                    <a:pt x="3123628" y="826485"/>
                  </a:moveTo>
                  <a:cubicBezTo>
                    <a:pt x="3126104" y="826485"/>
                    <a:pt x="3128105" y="828485"/>
                    <a:pt x="3128105" y="830962"/>
                  </a:cubicBezTo>
                  <a:cubicBezTo>
                    <a:pt x="3128105" y="833438"/>
                    <a:pt x="3126104" y="835438"/>
                    <a:pt x="3123628" y="835438"/>
                  </a:cubicBezTo>
                  <a:cubicBezTo>
                    <a:pt x="3121151" y="835438"/>
                    <a:pt x="3119151" y="833438"/>
                    <a:pt x="3119151" y="830962"/>
                  </a:cubicBezTo>
                  <a:cubicBezTo>
                    <a:pt x="3119151" y="828485"/>
                    <a:pt x="3121151" y="826485"/>
                    <a:pt x="3123628" y="826485"/>
                  </a:cubicBezTo>
                  <a:close/>
                  <a:moveTo>
                    <a:pt x="744092" y="825913"/>
                  </a:moveTo>
                  <a:cubicBezTo>
                    <a:pt x="747512" y="825913"/>
                    <a:pt x="750283" y="828685"/>
                    <a:pt x="750283" y="832104"/>
                  </a:cubicBezTo>
                  <a:cubicBezTo>
                    <a:pt x="750283" y="835524"/>
                    <a:pt x="747512" y="838296"/>
                    <a:pt x="744092" y="838296"/>
                  </a:cubicBezTo>
                  <a:cubicBezTo>
                    <a:pt x="740673" y="838296"/>
                    <a:pt x="737901" y="835524"/>
                    <a:pt x="737901" y="832104"/>
                  </a:cubicBezTo>
                  <a:cubicBezTo>
                    <a:pt x="737901" y="828685"/>
                    <a:pt x="740673" y="825913"/>
                    <a:pt x="744092" y="825913"/>
                  </a:cubicBezTo>
                  <a:close/>
                  <a:moveTo>
                    <a:pt x="2263235" y="825532"/>
                  </a:moveTo>
                  <a:cubicBezTo>
                    <a:pt x="2266664" y="825532"/>
                    <a:pt x="2269426" y="828294"/>
                    <a:pt x="2269426" y="831723"/>
                  </a:cubicBezTo>
                  <a:cubicBezTo>
                    <a:pt x="2269426" y="835152"/>
                    <a:pt x="2266664" y="837914"/>
                    <a:pt x="2263235" y="837914"/>
                  </a:cubicBezTo>
                  <a:cubicBezTo>
                    <a:pt x="2259806" y="837914"/>
                    <a:pt x="2257044" y="835152"/>
                    <a:pt x="2257044" y="831723"/>
                  </a:cubicBezTo>
                  <a:cubicBezTo>
                    <a:pt x="2257044" y="828294"/>
                    <a:pt x="2259806" y="825532"/>
                    <a:pt x="2263235" y="825532"/>
                  </a:cubicBezTo>
                  <a:close/>
                  <a:moveTo>
                    <a:pt x="2763488" y="824294"/>
                  </a:moveTo>
                  <a:cubicBezTo>
                    <a:pt x="2766917" y="824294"/>
                    <a:pt x="2769679" y="827056"/>
                    <a:pt x="2769679" y="830485"/>
                  </a:cubicBezTo>
                  <a:cubicBezTo>
                    <a:pt x="2769679" y="833914"/>
                    <a:pt x="2766917" y="836677"/>
                    <a:pt x="2763488" y="836677"/>
                  </a:cubicBezTo>
                  <a:cubicBezTo>
                    <a:pt x="2760059" y="836677"/>
                    <a:pt x="2757297" y="833914"/>
                    <a:pt x="2757297" y="830485"/>
                  </a:cubicBezTo>
                  <a:cubicBezTo>
                    <a:pt x="2757297" y="827056"/>
                    <a:pt x="2760059" y="824294"/>
                    <a:pt x="2763488" y="824294"/>
                  </a:cubicBezTo>
                  <a:close/>
                  <a:moveTo>
                    <a:pt x="2944177" y="821912"/>
                  </a:moveTo>
                  <a:cubicBezTo>
                    <a:pt x="2947606" y="821912"/>
                    <a:pt x="2950368" y="824674"/>
                    <a:pt x="2950368" y="828103"/>
                  </a:cubicBezTo>
                  <a:cubicBezTo>
                    <a:pt x="2950368" y="831532"/>
                    <a:pt x="2947606" y="834295"/>
                    <a:pt x="2944177" y="834295"/>
                  </a:cubicBezTo>
                  <a:cubicBezTo>
                    <a:pt x="2940748" y="834295"/>
                    <a:pt x="2937986" y="831532"/>
                    <a:pt x="2937986" y="828103"/>
                  </a:cubicBezTo>
                  <a:cubicBezTo>
                    <a:pt x="2937986" y="824674"/>
                    <a:pt x="2940748" y="821912"/>
                    <a:pt x="2944177" y="821912"/>
                  </a:cubicBezTo>
                  <a:close/>
                  <a:moveTo>
                    <a:pt x="2867215" y="819627"/>
                  </a:moveTo>
                  <a:cubicBezTo>
                    <a:pt x="2870644" y="819627"/>
                    <a:pt x="2873407" y="822389"/>
                    <a:pt x="2873407" y="825818"/>
                  </a:cubicBezTo>
                  <a:cubicBezTo>
                    <a:pt x="2873407" y="829247"/>
                    <a:pt x="2870644" y="832009"/>
                    <a:pt x="2867215" y="832009"/>
                  </a:cubicBezTo>
                  <a:cubicBezTo>
                    <a:pt x="2863786" y="832009"/>
                    <a:pt x="2861024" y="829247"/>
                    <a:pt x="2861024" y="825818"/>
                  </a:cubicBezTo>
                  <a:cubicBezTo>
                    <a:pt x="2861024" y="822389"/>
                    <a:pt x="2863786" y="819627"/>
                    <a:pt x="2867215" y="819627"/>
                  </a:cubicBezTo>
                  <a:close/>
                  <a:moveTo>
                    <a:pt x="3102006" y="819531"/>
                  </a:moveTo>
                  <a:cubicBezTo>
                    <a:pt x="3105435" y="819531"/>
                    <a:pt x="3108198" y="822293"/>
                    <a:pt x="3108198" y="825722"/>
                  </a:cubicBezTo>
                  <a:cubicBezTo>
                    <a:pt x="3108198" y="829151"/>
                    <a:pt x="3105435" y="831914"/>
                    <a:pt x="3102006" y="831914"/>
                  </a:cubicBezTo>
                  <a:cubicBezTo>
                    <a:pt x="3098577" y="831914"/>
                    <a:pt x="3095815" y="829151"/>
                    <a:pt x="3095815" y="825722"/>
                  </a:cubicBezTo>
                  <a:cubicBezTo>
                    <a:pt x="3095815" y="822293"/>
                    <a:pt x="3098577" y="819531"/>
                    <a:pt x="3102006" y="819531"/>
                  </a:cubicBezTo>
                  <a:close/>
                  <a:moveTo>
                    <a:pt x="242506" y="818388"/>
                  </a:moveTo>
                  <a:cubicBezTo>
                    <a:pt x="245935" y="818388"/>
                    <a:pt x="248698" y="821150"/>
                    <a:pt x="248698" y="824579"/>
                  </a:cubicBezTo>
                  <a:lnTo>
                    <a:pt x="247078" y="826199"/>
                  </a:lnTo>
                  <a:lnTo>
                    <a:pt x="251936" y="831056"/>
                  </a:lnTo>
                  <a:lnTo>
                    <a:pt x="249888" y="833104"/>
                  </a:lnTo>
                  <a:lnTo>
                    <a:pt x="254031" y="837247"/>
                  </a:lnTo>
                  <a:lnTo>
                    <a:pt x="251602" y="839676"/>
                  </a:lnTo>
                  <a:lnTo>
                    <a:pt x="255555" y="843629"/>
                  </a:lnTo>
                  <a:lnTo>
                    <a:pt x="252792" y="846392"/>
                  </a:lnTo>
                  <a:lnTo>
                    <a:pt x="256888" y="850487"/>
                  </a:lnTo>
                  <a:lnTo>
                    <a:pt x="253935" y="853440"/>
                  </a:lnTo>
                  <a:lnTo>
                    <a:pt x="258889" y="858393"/>
                  </a:lnTo>
                  <a:cubicBezTo>
                    <a:pt x="258889" y="861822"/>
                    <a:pt x="256126" y="864585"/>
                    <a:pt x="252697" y="864585"/>
                  </a:cubicBezTo>
                  <a:cubicBezTo>
                    <a:pt x="249268" y="864585"/>
                    <a:pt x="246506" y="861822"/>
                    <a:pt x="246506" y="858393"/>
                  </a:cubicBezTo>
                  <a:lnTo>
                    <a:pt x="249458" y="855441"/>
                  </a:lnTo>
                  <a:lnTo>
                    <a:pt x="244506" y="850487"/>
                  </a:lnTo>
                  <a:lnTo>
                    <a:pt x="247268" y="847725"/>
                  </a:lnTo>
                  <a:lnTo>
                    <a:pt x="243173" y="843629"/>
                  </a:lnTo>
                  <a:lnTo>
                    <a:pt x="245601" y="841201"/>
                  </a:lnTo>
                  <a:lnTo>
                    <a:pt x="241649" y="837247"/>
                  </a:lnTo>
                  <a:lnTo>
                    <a:pt x="243696" y="835200"/>
                  </a:lnTo>
                  <a:lnTo>
                    <a:pt x="239553" y="831056"/>
                  </a:lnTo>
                  <a:lnTo>
                    <a:pt x="241172" y="829437"/>
                  </a:lnTo>
                  <a:lnTo>
                    <a:pt x="236315" y="824579"/>
                  </a:lnTo>
                  <a:cubicBezTo>
                    <a:pt x="236315" y="821150"/>
                    <a:pt x="239077" y="818388"/>
                    <a:pt x="242506" y="818388"/>
                  </a:cubicBezTo>
                  <a:close/>
                  <a:moveTo>
                    <a:pt x="237743" y="817436"/>
                  </a:moveTo>
                  <a:cubicBezTo>
                    <a:pt x="237838" y="817436"/>
                    <a:pt x="237838" y="817436"/>
                    <a:pt x="237838" y="817531"/>
                  </a:cubicBezTo>
                  <a:cubicBezTo>
                    <a:pt x="237838" y="817627"/>
                    <a:pt x="237743" y="817627"/>
                    <a:pt x="237743" y="817627"/>
                  </a:cubicBezTo>
                  <a:cubicBezTo>
                    <a:pt x="237648" y="817627"/>
                    <a:pt x="237648" y="817627"/>
                    <a:pt x="237648" y="817531"/>
                  </a:cubicBezTo>
                  <a:cubicBezTo>
                    <a:pt x="237648" y="817436"/>
                    <a:pt x="237648" y="817436"/>
                    <a:pt x="237743" y="817436"/>
                  </a:cubicBezTo>
                  <a:close/>
                  <a:moveTo>
                    <a:pt x="294608" y="816102"/>
                  </a:moveTo>
                  <a:cubicBezTo>
                    <a:pt x="298037" y="816102"/>
                    <a:pt x="300799" y="818864"/>
                    <a:pt x="300799" y="822293"/>
                  </a:cubicBezTo>
                  <a:cubicBezTo>
                    <a:pt x="300799" y="825722"/>
                    <a:pt x="298037" y="828485"/>
                    <a:pt x="294608" y="828485"/>
                  </a:cubicBezTo>
                  <a:cubicBezTo>
                    <a:pt x="291179" y="828485"/>
                    <a:pt x="288417" y="825722"/>
                    <a:pt x="288417" y="822293"/>
                  </a:cubicBezTo>
                  <a:cubicBezTo>
                    <a:pt x="288417" y="818864"/>
                    <a:pt x="291179" y="816102"/>
                    <a:pt x="294608" y="816102"/>
                  </a:cubicBezTo>
                  <a:close/>
                  <a:moveTo>
                    <a:pt x="1123568" y="816007"/>
                  </a:moveTo>
                  <a:cubicBezTo>
                    <a:pt x="1126997" y="816007"/>
                    <a:pt x="1129760" y="818769"/>
                    <a:pt x="1129760" y="822198"/>
                  </a:cubicBezTo>
                  <a:cubicBezTo>
                    <a:pt x="1129760" y="825627"/>
                    <a:pt x="1126997" y="828389"/>
                    <a:pt x="1123568" y="828389"/>
                  </a:cubicBezTo>
                  <a:cubicBezTo>
                    <a:pt x="1120139" y="828389"/>
                    <a:pt x="1117377" y="825627"/>
                    <a:pt x="1117377" y="822198"/>
                  </a:cubicBezTo>
                  <a:cubicBezTo>
                    <a:pt x="1117377" y="818769"/>
                    <a:pt x="1120139" y="816007"/>
                    <a:pt x="1123568" y="816007"/>
                  </a:cubicBezTo>
                  <a:close/>
                  <a:moveTo>
                    <a:pt x="347757" y="815912"/>
                  </a:moveTo>
                  <a:cubicBezTo>
                    <a:pt x="351186" y="815912"/>
                    <a:pt x="353948" y="818674"/>
                    <a:pt x="353948" y="822103"/>
                  </a:cubicBezTo>
                  <a:cubicBezTo>
                    <a:pt x="353948" y="825532"/>
                    <a:pt x="351186" y="828294"/>
                    <a:pt x="347757" y="828294"/>
                  </a:cubicBezTo>
                  <a:cubicBezTo>
                    <a:pt x="344328" y="828294"/>
                    <a:pt x="341566" y="825532"/>
                    <a:pt x="341566" y="822103"/>
                  </a:cubicBezTo>
                  <a:cubicBezTo>
                    <a:pt x="341566" y="818674"/>
                    <a:pt x="344328" y="815912"/>
                    <a:pt x="347757" y="815912"/>
                  </a:cubicBezTo>
                  <a:close/>
                  <a:moveTo>
                    <a:pt x="3015995" y="815531"/>
                  </a:moveTo>
                  <a:cubicBezTo>
                    <a:pt x="3019424" y="815531"/>
                    <a:pt x="3022187" y="818293"/>
                    <a:pt x="3022187" y="821722"/>
                  </a:cubicBezTo>
                  <a:cubicBezTo>
                    <a:pt x="3022187" y="825151"/>
                    <a:pt x="3019424" y="827914"/>
                    <a:pt x="3015995" y="827914"/>
                  </a:cubicBezTo>
                  <a:cubicBezTo>
                    <a:pt x="3012566" y="827914"/>
                    <a:pt x="3009804" y="825151"/>
                    <a:pt x="3009804" y="821722"/>
                  </a:cubicBezTo>
                  <a:cubicBezTo>
                    <a:pt x="3009804" y="818293"/>
                    <a:pt x="3012566" y="815531"/>
                    <a:pt x="3015995" y="815531"/>
                  </a:cubicBezTo>
                  <a:close/>
                  <a:moveTo>
                    <a:pt x="2552794" y="815340"/>
                  </a:moveTo>
                  <a:cubicBezTo>
                    <a:pt x="2556223" y="815340"/>
                    <a:pt x="2558986" y="818102"/>
                    <a:pt x="2558986" y="821531"/>
                  </a:cubicBezTo>
                  <a:cubicBezTo>
                    <a:pt x="2558986" y="824960"/>
                    <a:pt x="2556223" y="827723"/>
                    <a:pt x="2552794" y="827723"/>
                  </a:cubicBezTo>
                  <a:cubicBezTo>
                    <a:pt x="2549365" y="827723"/>
                    <a:pt x="2546603" y="824960"/>
                    <a:pt x="2546603" y="821531"/>
                  </a:cubicBezTo>
                  <a:cubicBezTo>
                    <a:pt x="2546603" y="818102"/>
                    <a:pt x="2549365" y="815340"/>
                    <a:pt x="2552794" y="815340"/>
                  </a:cubicBezTo>
                  <a:close/>
                  <a:moveTo>
                    <a:pt x="3108959" y="811149"/>
                  </a:moveTo>
                  <a:cubicBezTo>
                    <a:pt x="3112388" y="811149"/>
                    <a:pt x="3115150" y="813911"/>
                    <a:pt x="3115150" y="817340"/>
                  </a:cubicBezTo>
                  <a:cubicBezTo>
                    <a:pt x="3115150" y="820769"/>
                    <a:pt x="3112388" y="823531"/>
                    <a:pt x="3108959" y="823531"/>
                  </a:cubicBezTo>
                  <a:cubicBezTo>
                    <a:pt x="3105530" y="823531"/>
                    <a:pt x="3102768" y="820769"/>
                    <a:pt x="3102768" y="817340"/>
                  </a:cubicBezTo>
                  <a:cubicBezTo>
                    <a:pt x="3102768" y="813911"/>
                    <a:pt x="3105530" y="811149"/>
                    <a:pt x="3108959" y="811149"/>
                  </a:cubicBezTo>
                  <a:close/>
                  <a:moveTo>
                    <a:pt x="600170" y="811054"/>
                  </a:moveTo>
                  <a:cubicBezTo>
                    <a:pt x="603599" y="811054"/>
                    <a:pt x="606361" y="813816"/>
                    <a:pt x="606361" y="817245"/>
                  </a:cubicBezTo>
                  <a:cubicBezTo>
                    <a:pt x="606361" y="820674"/>
                    <a:pt x="603599" y="823437"/>
                    <a:pt x="600170" y="823437"/>
                  </a:cubicBezTo>
                  <a:cubicBezTo>
                    <a:pt x="596741" y="823437"/>
                    <a:pt x="593979" y="820674"/>
                    <a:pt x="593979" y="817245"/>
                  </a:cubicBezTo>
                  <a:cubicBezTo>
                    <a:pt x="593979" y="813816"/>
                    <a:pt x="596741" y="811054"/>
                    <a:pt x="600170" y="811054"/>
                  </a:cubicBezTo>
                  <a:close/>
                  <a:moveTo>
                    <a:pt x="407860" y="808387"/>
                  </a:moveTo>
                  <a:cubicBezTo>
                    <a:pt x="411289" y="808387"/>
                    <a:pt x="414052" y="811149"/>
                    <a:pt x="414052" y="814578"/>
                  </a:cubicBezTo>
                  <a:cubicBezTo>
                    <a:pt x="414052" y="818007"/>
                    <a:pt x="411289" y="820770"/>
                    <a:pt x="407860" y="820770"/>
                  </a:cubicBezTo>
                  <a:cubicBezTo>
                    <a:pt x="404431" y="820770"/>
                    <a:pt x="401669" y="818007"/>
                    <a:pt x="401669" y="814578"/>
                  </a:cubicBezTo>
                  <a:cubicBezTo>
                    <a:pt x="401669" y="811149"/>
                    <a:pt x="404431" y="808387"/>
                    <a:pt x="407860" y="808387"/>
                  </a:cubicBezTo>
                  <a:close/>
                  <a:moveTo>
                    <a:pt x="2159793" y="808292"/>
                  </a:moveTo>
                  <a:cubicBezTo>
                    <a:pt x="2163222" y="808292"/>
                    <a:pt x="2165984" y="811054"/>
                    <a:pt x="2165984" y="814483"/>
                  </a:cubicBezTo>
                  <a:cubicBezTo>
                    <a:pt x="2165984" y="817912"/>
                    <a:pt x="2163222" y="820675"/>
                    <a:pt x="2159793" y="820675"/>
                  </a:cubicBezTo>
                  <a:cubicBezTo>
                    <a:pt x="2156364" y="820675"/>
                    <a:pt x="2153602" y="817912"/>
                    <a:pt x="2153602" y="814483"/>
                  </a:cubicBezTo>
                  <a:cubicBezTo>
                    <a:pt x="2153602" y="811054"/>
                    <a:pt x="2156364" y="808292"/>
                    <a:pt x="2159793" y="808292"/>
                  </a:cubicBezTo>
                  <a:close/>
                  <a:moveTo>
                    <a:pt x="490156" y="806101"/>
                  </a:moveTo>
                  <a:cubicBezTo>
                    <a:pt x="493585" y="806101"/>
                    <a:pt x="496347" y="808863"/>
                    <a:pt x="496347" y="812292"/>
                  </a:cubicBezTo>
                  <a:cubicBezTo>
                    <a:pt x="496347" y="815721"/>
                    <a:pt x="493585" y="818483"/>
                    <a:pt x="490156" y="818483"/>
                  </a:cubicBezTo>
                  <a:cubicBezTo>
                    <a:pt x="486727" y="818483"/>
                    <a:pt x="483965" y="815721"/>
                    <a:pt x="483965" y="812292"/>
                  </a:cubicBezTo>
                  <a:cubicBezTo>
                    <a:pt x="483965" y="808863"/>
                    <a:pt x="486727" y="806101"/>
                    <a:pt x="490156" y="806101"/>
                  </a:cubicBezTo>
                  <a:close/>
                  <a:moveTo>
                    <a:pt x="3027425" y="805148"/>
                  </a:moveTo>
                  <a:cubicBezTo>
                    <a:pt x="3030854" y="805148"/>
                    <a:pt x="3033616" y="807910"/>
                    <a:pt x="3033616" y="811339"/>
                  </a:cubicBezTo>
                  <a:cubicBezTo>
                    <a:pt x="3033616" y="814768"/>
                    <a:pt x="3030854" y="817531"/>
                    <a:pt x="3027425" y="817531"/>
                  </a:cubicBezTo>
                  <a:cubicBezTo>
                    <a:pt x="3023996" y="817531"/>
                    <a:pt x="3021234" y="814768"/>
                    <a:pt x="3021234" y="811339"/>
                  </a:cubicBezTo>
                  <a:cubicBezTo>
                    <a:pt x="3021234" y="807910"/>
                    <a:pt x="3023996" y="805148"/>
                    <a:pt x="3027425" y="805148"/>
                  </a:cubicBezTo>
                  <a:close/>
                  <a:moveTo>
                    <a:pt x="2969990" y="804291"/>
                  </a:moveTo>
                  <a:cubicBezTo>
                    <a:pt x="2973409" y="804291"/>
                    <a:pt x="2976181" y="807063"/>
                    <a:pt x="2976181" y="810482"/>
                  </a:cubicBezTo>
                  <a:cubicBezTo>
                    <a:pt x="2976181" y="813902"/>
                    <a:pt x="2973409" y="816674"/>
                    <a:pt x="2969990" y="816674"/>
                  </a:cubicBezTo>
                  <a:cubicBezTo>
                    <a:pt x="2966571" y="816674"/>
                    <a:pt x="2963799" y="813902"/>
                    <a:pt x="2963799" y="810482"/>
                  </a:cubicBezTo>
                  <a:cubicBezTo>
                    <a:pt x="2963799" y="807063"/>
                    <a:pt x="2966571" y="804291"/>
                    <a:pt x="2969990" y="804291"/>
                  </a:cubicBezTo>
                  <a:close/>
                  <a:moveTo>
                    <a:pt x="3087909" y="804101"/>
                  </a:moveTo>
                  <a:cubicBezTo>
                    <a:pt x="3091338" y="804101"/>
                    <a:pt x="3094100" y="806863"/>
                    <a:pt x="3094100" y="810292"/>
                  </a:cubicBezTo>
                  <a:lnTo>
                    <a:pt x="3088576" y="815817"/>
                  </a:lnTo>
                  <a:lnTo>
                    <a:pt x="3089528" y="816769"/>
                  </a:lnTo>
                  <a:lnTo>
                    <a:pt x="3084909" y="821389"/>
                  </a:lnTo>
                  <a:lnTo>
                    <a:pt x="3086290" y="822770"/>
                  </a:lnTo>
                  <a:lnTo>
                    <a:pt x="3082338" y="826722"/>
                  </a:lnTo>
                  <a:lnTo>
                    <a:pt x="3084100" y="828484"/>
                  </a:lnTo>
                  <a:lnTo>
                    <a:pt x="3080289" y="832295"/>
                  </a:lnTo>
                  <a:lnTo>
                    <a:pt x="3082384" y="834390"/>
                  </a:lnTo>
                  <a:lnTo>
                    <a:pt x="3078288" y="838486"/>
                  </a:lnTo>
                  <a:lnTo>
                    <a:pt x="3080670" y="840867"/>
                  </a:lnTo>
                  <a:lnTo>
                    <a:pt x="3075622" y="845915"/>
                  </a:lnTo>
                  <a:lnTo>
                    <a:pt x="3078099" y="848392"/>
                  </a:lnTo>
                  <a:cubicBezTo>
                    <a:pt x="3078099" y="851821"/>
                    <a:pt x="3075336" y="854583"/>
                    <a:pt x="3071907" y="854583"/>
                  </a:cubicBezTo>
                  <a:cubicBezTo>
                    <a:pt x="3068478" y="854583"/>
                    <a:pt x="3065716" y="851821"/>
                    <a:pt x="3065716" y="848392"/>
                  </a:cubicBezTo>
                  <a:lnTo>
                    <a:pt x="3070764" y="843344"/>
                  </a:lnTo>
                  <a:lnTo>
                    <a:pt x="3068288" y="840867"/>
                  </a:lnTo>
                  <a:lnTo>
                    <a:pt x="3072383" y="836772"/>
                  </a:lnTo>
                  <a:lnTo>
                    <a:pt x="3070002" y="834390"/>
                  </a:lnTo>
                  <a:lnTo>
                    <a:pt x="3073812" y="830580"/>
                  </a:lnTo>
                  <a:lnTo>
                    <a:pt x="3071717" y="828484"/>
                  </a:lnTo>
                  <a:lnTo>
                    <a:pt x="3075669" y="824532"/>
                  </a:lnTo>
                  <a:lnTo>
                    <a:pt x="3073908" y="822770"/>
                  </a:lnTo>
                  <a:lnTo>
                    <a:pt x="3078527" y="818151"/>
                  </a:lnTo>
                  <a:lnTo>
                    <a:pt x="3077146" y="816769"/>
                  </a:lnTo>
                  <a:lnTo>
                    <a:pt x="3082670" y="811245"/>
                  </a:lnTo>
                  <a:lnTo>
                    <a:pt x="3081718" y="810292"/>
                  </a:lnTo>
                  <a:cubicBezTo>
                    <a:pt x="3081718" y="806863"/>
                    <a:pt x="3084480" y="804101"/>
                    <a:pt x="3087909" y="804101"/>
                  </a:cubicBezTo>
                  <a:close/>
                  <a:moveTo>
                    <a:pt x="821721" y="803148"/>
                  </a:moveTo>
                  <a:cubicBezTo>
                    <a:pt x="825150" y="803148"/>
                    <a:pt x="827912" y="805910"/>
                    <a:pt x="827912" y="809339"/>
                  </a:cubicBezTo>
                  <a:cubicBezTo>
                    <a:pt x="827912" y="812768"/>
                    <a:pt x="825150" y="815531"/>
                    <a:pt x="821721" y="815531"/>
                  </a:cubicBezTo>
                  <a:cubicBezTo>
                    <a:pt x="818292" y="815531"/>
                    <a:pt x="815530" y="812768"/>
                    <a:pt x="815530" y="809339"/>
                  </a:cubicBezTo>
                  <a:cubicBezTo>
                    <a:pt x="815530" y="805910"/>
                    <a:pt x="818292" y="803148"/>
                    <a:pt x="821721" y="803148"/>
                  </a:cubicBezTo>
                  <a:close/>
                  <a:moveTo>
                    <a:pt x="329945" y="802481"/>
                  </a:moveTo>
                  <a:cubicBezTo>
                    <a:pt x="333374" y="802481"/>
                    <a:pt x="336136" y="805243"/>
                    <a:pt x="336136" y="808672"/>
                  </a:cubicBezTo>
                  <a:cubicBezTo>
                    <a:pt x="336136" y="812101"/>
                    <a:pt x="333374" y="814864"/>
                    <a:pt x="329945" y="814864"/>
                  </a:cubicBezTo>
                  <a:cubicBezTo>
                    <a:pt x="326516" y="814864"/>
                    <a:pt x="323754" y="812101"/>
                    <a:pt x="323754" y="808672"/>
                  </a:cubicBezTo>
                  <a:cubicBezTo>
                    <a:pt x="323754" y="805243"/>
                    <a:pt x="326516" y="802481"/>
                    <a:pt x="329945" y="802481"/>
                  </a:cubicBezTo>
                  <a:close/>
                  <a:moveTo>
                    <a:pt x="1230248" y="800100"/>
                  </a:moveTo>
                  <a:cubicBezTo>
                    <a:pt x="1233677" y="800100"/>
                    <a:pt x="1236440" y="802862"/>
                    <a:pt x="1236440" y="806291"/>
                  </a:cubicBezTo>
                  <a:cubicBezTo>
                    <a:pt x="1236440" y="809720"/>
                    <a:pt x="1233677" y="812483"/>
                    <a:pt x="1230248" y="812483"/>
                  </a:cubicBezTo>
                  <a:cubicBezTo>
                    <a:pt x="1226819" y="812483"/>
                    <a:pt x="1224057" y="809720"/>
                    <a:pt x="1224057" y="806291"/>
                  </a:cubicBezTo>
                  <a:cubicBezTo>
                    <a:pt x="1224057" y="802862"/>
                    <a:pt x="1226819" y="800100"/>
                    <a:pt x="1230248" y="800100"/>
                  </a:cubicBezTo>
                  <a:close/>
                  <a:moveTo>
                    <a:pt x="2703480" y="799624"/>
                  </a:moveTo>
                  <a:cubicBezTo>
                    <a:pt x="2706909" y="799624"/>
                    <a:pt x="2709672" y="802386"/>
                    <a:pt x="2709672" y="805815"/>
                  </a:cubicBezTo>
                  <a:cubicBezTo>
                    <a:pt x="2709672" y="809244"/>
                    <a:pt x="2706909" y="812006"/>
                    <a:pt x="2703480" y="812006"/>
                  </a:cubicBezTo>
                  <a:cubicBezTo>
                    <a:pt x="2700051" y="812006"/>
                    <a:pt x="2697289" y="809244"/>
                    <a:pt x="2697289" y="805815"/>
                  </a:cubicBezTo>
                  <a:cubicBezTo>
                    <a:pt x="2697289" y="802386"/>
                    <a:pt x="2700051" y="799624"/>
                    <a:pt x="2703480" y="799624"/>
                  </a:cubicBezTo>
                  <a:close/>
                  <a:moveTo>
                    <a:pt x="3094291" y="796766"/>
                  </a:moveTo>
                  <a:cubicBezTo>
                    <a:pt x="3097720" y="796766"/>
                    <a:pt x="3100483" y="799528"/>
                    <a:pt x="3100483" y="802957"/>
                  </a:cubicBezTo>
                  <a:cubicBezTo>
                    <a:pt x="3100483" y="806386"/>
                    <a:pt x="3097720" y="809149"/>
                    <a:pt x="3094291" y="809149"/>
                  </a:cubicBezTo>
                  <a:cubicBezTo>
                    <a:pt x="3090862" y="809149"/>
                    <a:pt x="3088100" y="806386"/>
                    <a:pt x="3088100" y="802957"/>
                  </a:cubicBezTo>
                  <a:cubicBezTo>
                    <a:pt x="3088100" y="799528"/>
                    <a:pt x="3090862" y="796766"/>
                    <a:pt x="3094291" y="796766"/>
                  </a:cubicBezTo>
                  <a:close/>
                  <a:moveTo>
                    <a:pt x="2906077" y="796671"/>
                  </a:moveTo>
                  <a:cubicBezTo>
                    <a:pt x="2909506" y="796671"/>
                    <a:pt x="2912268" y="799433"/>
                    <a:pt x="2912268" y="802862"/>
                  </a:cubicBezTo>
                  <a:cubicBezTo>
                    <a:pt x="2912268" y="806291"/>
                    <a:pt x="2909506" y="809054"/>
                    <a:pt x="2906077" y="809054"/>
                  </a:cubicBezTo>
                  <a:cubicBezTo>
                    <a:pt x="2902648" y="809054"/>
                    <a:pt x="2899886" y="806291"/>
                    <a:pt x="2899886" y="802862"/>
                  </a:cubicBezTo>
                  <a:cubicBezTo>
                    <a:pt x="2899886" y="799433"/>
                    <a:pt x="2902648" y="796671"/>
                    <a:pt x="2906077" y="796671"/>
                  </a:cubicBezTo>
                  <a:close/>
                  <a:moveTo>
                    <a:pt x="251935" y="796481"/>
                  </a:moveTo>
                  <a:cubicBezTo>
                    <a:pt x="254776" y="796481"/>
                    <a:pt x="257079" y="798784"/>
                    <a:pt x="257079" y="801625"/>
                  </a:cubicBezTo>
                  <a:lnTo>
                    <a:pt x="256888" y="801816"/>
                  </a:lnTo>
                  <a:lnTo>
                    <a:pt x="262603" y="807530"/>
                  </a:lnTo>
                  <a:lnTo>
                    <a:pt x="261460" y="808673"/>
                  </a:lnTo>
                  <a:lnTo>
                    <a:pt x="265747" y="812959"/>
                  </a:lnTo>
                  <a:lnTo>
                    <a:pt x="264318" y="814388"/>
                  </a:lnTo>
                  <a:lnTo>
                    <a:pt x="268033" y="818102"/>
                  </a:lnTo>
                  <a:lnTo>
                    <a:pt x="266318" y="819817"/>
                  </a:lnTo>
                  <a:lnTo>
                    <a:pt x="270034" y="823532"/>
                  </a:lnTo>
                  <a:lnTo>
                    <a:pt x="268176" y="825390"/>
                  </a:lnTo>
                  <a:lnTo>
                    <a:pt x="272319" y="829532"/>
                  </a:lnTo>
                  <a:lnTo>
                    <a:pt x="270366" y="831485"/>
                  </a:lnTo>
                  <a:lnTo>
                    <a:pt x="275558" y="836676"/>
                  </a:lnTo>
                  <a:cubicBezTo>
                    <a:pt x="275558" y="840105"/>
                    <a:pt x="272795" y="842868"/>
                    <a:pt x="269366" y="842868"/>
                  </a:cubicBezTo>
                  <a:cubicBezTo>
                    <a:pt x="265937" y="842868"/>
                    <a:pt x="263175" y="840105"/>
                    <a:pt x="263175" y="836676"/>
                  </a:cubicBezTo>
                  <a:lnTo>
                    <a:pt x="265127" y="834724"/>
                  </a:lnTo>
                  <a:lnTo>
                    <a:pt x="259937" y="829532"/>
                  </a:lnTo>
                  <a:lnTo>
                    <a:pt x="261794" y="827675"/>
                  </a:lnTo>
                  <a:lnTo>
                    <a:pt x="257651" y="823532"/>
                  </a:lnTo>
                  <a:lnTo>
                    <a:pt x="259366" y="821817"/>
                  </a:lnTo>
                  <a:lnTo>
                    <a:pt x="255651" y="818102"/>
                  </a:lnTo>
                  <a:lnTo>
                    <a:pt x="257079" y="816674"/>
                  </a:lnTo>
                  <a:lnTo>
                    <a:pt x="253365" y="812959"/>
                  </a:lnTo>
                  <a:lnTo>
                    <a:pt x="254507" y="811817"/>
                  </a:lnTo>
                  <a:lnTo>
                    <a:pt x="250221" y="807530"/>
                  </a:lnTo>
                  <a:lnTo>
                    <a:pt x="251459" y="806292"/>
                  </a:lnTo>
                  <a:lnTo>
                    <a:pt x="246792" y="801625"/>
                  </a:lnTo>
                  <a:cubicBezTo>
                    <a:pt x="246792" y="798784"/>
                    <a:pt x="249095" y="796481"/>
                    <a:pt x="251935" y="796481"/>
                  </a:cubicBezTo>
                  <a:close/>
                  <a:moveTo>
                    <a:pt x="2819209" y="794385"/>
                  </a:moveTo>
                  <a:cubicBezTo>
                    <a:pt x="2822638" y="794385"/>
                    <a:pt x="2825401" y="797147"/>
                    <a:pt x="2825401" y="800576"/>
                  </a:cubicBezTo>
                  <a:cubicBezTo>
                    <a:pt x="2825401" y="804005"/>
                    <a:pt x="2822638" y="806768"/>
                    <a:pt x="2819209" y="806768"/>
                  </a:cubicBezTo>
                  <a:cubicBezTo>
                    <a:pt x="2815780" y="806768"/>
                    <a:pt x="2813018" y="804005"/>
                    <a:pt x="2813018" y="800576"/>
                  </a:cubicBezTo>
                  <a:cubicBezTo>
                    <a:pt x="2813018" y="797147"/>
                    <a:pt x="2815780" y="794385"/>
                    <a:pt x="2819209" y="794385"/>
                  </a:cubicBezTo>
                  <a:close/>
                  <a:moveTo>
                    <a:pt x="2050541" y="793623"/>
                  </a:moveTo>
                  <a:cubicBezTo>
                    <a:pt x="2053970" y="793623"/>
                    <a:pt x="2056732" y="796385"/>
                    <a:pt x="2056732" y="799814"/>
                  </a:cubicBezTo>
                  <a:cubicBezTo>
                    <a:pt x="2056732" y="803243"/>
                    <a:pt x="2053970" y="806006"/>
                    <a:pt x="2050541" y="806006"/>
                  </a:cubicBezTo>
                  <a:cubicBezTo>
                    <a:pt x="2047112" y="806006"/>
                    <a:pt x="2044350" y="803243"/>
                    <a:pt x="2044350" y="799814"/>
                  </a:cubicBezTo>
                  <a:cubicBezTo>
                    <a:pt x="2044350" y="796385"/>
                    <a:pt x="2047112" y="793623"/>
                    <a:pt x="2050541" y="793623"/>
                  </a:cubicBezTo>
                  <a:close/>
                  <a:moveTo>
                    <a:pt x="2472404" y="792766"/>
                  </a:moveTo>
                  <a:cubicBezTo>
                    <a:pt x="2475833" y="792766"/>
                    <a:pt x="2478595" y="795528"/>
                    <a:pt x="2478595" y="798957"/>
                  </a:cubicBezTo>
                  <a:cubicBezTo>
                    <a:pt x="2478595" y="802386"/>
                    <a:pt x="2475833" y="805148"/>
                    <a:pt x="2472404" y="805148"/>
                  </a:cubicBezTo>
                  <a:cubicBezTo>
                    <a:pt x="2468975" y="805148"/>
                    <a:pt x="2466213" y="802386"/>
                    <a:pt x="2466213" y="798957"/>
                  </a:cubicBezTo>
                  <a:cubicBezTo>
                    <a:pt x="2466213" y="795528"/>
                    <a:pt x="2468975" y="792766"/>
                    <a:pt x="2472404" y="792766"/>
                  </a:cubicBezTo>
                  <a:close/>
                  <a:moveTo>
                    <a:pt x="316991" y="792290"/>
                  </a:moveTo>
                  <a:cubicBezTo>
                    <a:pt x="320420" y="792290"/>
                    <a:pt x="323182" y="795052"/>
                    <a:pt x="323182" y="798481"/>
                  </a:cubicBezTo>
                  <a:cubicBezTo>
                    <a:pt x="323182" y="801910"/>
                    <a:pt x="320420" y="804673"/>
                    <a:pt x="316991" y="804673"/>
                  </a:cubicBezTo>
                  <a:cubicBezTo>
                    <a:pt x="313562" y="804673"/>
                    <a:pt x="310800" y="801910"/>
                    <a:pt x="310800" y="798481"/>
                  </a:cubicBezTo>
                  <a:cubicBezTo>
                    <a:pt x="310800" y="795052"/>
                    <a:pt x="313562" y="792290"/>
                    <a:pt x="316991" y="792290"/>
                  </a:cubicBezTo>
                  <a:close/>
                  <a:moveTo>
                    <a:pt x="3102673" y="790956"/>
                  </a:moveTo>
                  <a:cubicBezTo>
                    <a:pt x="3104672" y="790956"/>
                    <a:pt x="3106293" y="792577"/>
                    <a:pt x="3106293" y="794576"/>
                  </a:cubicBezTo>
                  <a:cubicBezTo>
                    <a:pt x="3106293" y="796575"/>
                    <a:pt x="3104672" y="798195"/>
                    <a:pt x="3102673" y="798195"/>
                  </a:cubicBezTo>
                  <a:cubicBezTo>
                    <a:pt x="3100674" y="798195"/>
                    <a:pt x="3099054" y="796574"/>
                    <a:pt x="3099054" y="794576"/>
                  </a:cubicBezTo>
                  <a:cubicBezTo>
                    <a:pt x="3099054" y="792577"/>
                    <a:pt x="3100674" y="790956"/>
                    <a:pt x="3102673" y="790956"/>
                  </a:cubicBezTo>
                  <a:close/>
                  <a:moveTo>
                    <a:pt x="2989611" y="790956"/>
                  </a:moveTo>
                  <a:cubicBezTo>
                    <a:pt x="2993040" y="790956"/>
                    <a:pt x="2995802" y="793718"/>
                    <a:pt x="2995802" y="797147"/>
                  </a:cubicBezTo>
                  <a:cubicBezTo>
                    <a:pt x="2995802" y="800576"/>
                    <a:pt x="2993040" y="803339"/>
                    <a:pt x="2989611" y="803339"/>
                  </a:cubicBezTo>
                  <a:cubicBezTo>
                    <a:pt x="2986182" y="803339"/>
                    <a:pt x="2983420" y="800576"/>
                    <a:pt x="2983420" y="797147"/>
                  </a:cubicBezTo>
                  <a:cubicBezTo>
                    <a:pt x="2983420" y="793718"/>
                    <a:pt x="2986182" y="790956"/>
                    <a:pt x="2989611" y="790956"/>
                  </a:cubicBezTo>
                  <a:close/>
                  <a:moveTo>
                    <a:pt x="379571" y="790766"/>
                  </a:moveTo>
                  <a:cubicBezTo>
                    <a:pt x="382991" y="790766"/>
                    <a:pt x="385763" y="793538"/>
                    <a:pt x="385763" y="796957"/>
                  </a:cubicBezTo>
                  <a:cubicBezTo>
                    <a:pt x="385763" y="800377"/>
                    <a:pt x="382991" y="803149"/>
                    <a:pt x="379571" y="803149"/>
                  </a:cubicBezTo>
                  <a:cubicBezTo>
                    <a:pt x="376152" y="803149"/>
                    <a:pt x="373380" y="800377"/>
                    <a:pt x="373380" y="796957"/>
                  </a:cubicBezTo>
                  <a:cubicBezTo>
                    <a:pt x="373380" y="793538"/>
                    <a:pt x="376152" y="790766"/>
                    <a:pt x="379571" y="790766"/>
                  </a:cubicBezTo>
                  <a:close/>
                  <a:moveTo>
                    <a:pt x="1342167" y="787051"/>
                  </a:moveTo>
                  <a:cubicBezTo>
                    <a:pt x="1345596" y="787051"/>
                    <a:pt x="1348359" y="789813"/>
                    <a:pt x="1348359" y="793242"/>
                  </a:cubicBezTo>
                  <a:cubicBezTo>
                    <a:pt x="1348359" y="796671"/>
                    <a:pt x="1345596" y="799433"/>
                    <a:pt x="1342167" y="799433"/>
                  </a:cubicBezTo>
                  <a:cubicBezTo>
                    <a:pt x="1338738" y="799433"/>
                    <a:pt x="1335976" y="796671"/>
                    <a:pt x="1335976" y="793242"/>
                  </a:cubicBezTo>
                  <a:cubicBezTo>
                    <a:pt x="1335976" y="789813"/>
                    <a:pt x="1338738" y="787051"/>
                    <a:pt x="1342167" y="787051"/>
                  </a:cubicBezTo>
                  <a:close/>
                  <a:moveTo>
                    <a:pt x="663034" y="786479"/>
                  </a:moveTo>
                  <a:cubicBezTo>
                    <a:pt x="666463" y="786479"/>
                    <a:pt x="669226" y="789241"/>
                    <a:pt x="669226" y="792670"/>
                  </a:cubicBezTo>
                  <a:cubicBezTo>
                    <a:pt x="669226" y="796099"/>
                    <a:pt x="666463" y="798862"/>
                    <a:pt x="663034" y="798862"/>
                  </a:cubicBezTo>
                  <a:cubicBezTo>
                    <a:pt x="659605" y="798862"/>
                    <a:pt x="656843" y="796099"/>
                    <a:pt x="656843" y="792670"/>
                  </a:cubicBezTo>
                  <a:cubicBezTo>
                    <a:pt x="656843" y="789241"/>
                    <a:pt x="659605" y="786479"/>
                    <a:pt x="663034" y="786479"/>
                  </a:cubicBezTo>
                  <a:close/>
                  <a:moveTo>
                    <a:pt x="448055" y="782955"/>
                  </a:moveTo>
                  <a:cubicBezTo>
                    <a:pt x="451484" y="782955"/>
                    <a:pt x="454246" y="785717"/>
                    <a:pt x="454246" y="789146"/>
                  </a:cubicBezTo>
                  <a:cubicBezTo>
                    <a:pt x="454246" y="792575"/>
                    <a:pt x="451484" y="795337"/>
                    <a:pt x="448055" y="795337"/>
                  </a:cubicBezTo>
                  <a:cubicBezTo>
                    <a:pt x="444626" y="795337"/>
                    <a:pt x="441864" y="792575"/>
                    <a:pt x="441864" y="789146"/>
                  </a:cubicBezTo>
                  <a:cubicBezTo>
                    <a:pt x="441864" y="785717"/>
                    <a:pt x="444626" y="782955"/>
                    <a:pt x="448055" y="782955"/>
                  </a:cubicBezTo>
                  <a:close/>
                  <a:moveTo>
                    <a:pt x="1936432" y="782098"/>
                  </a:moveTo>
                  <a:cubicBezTo>
                    <a:pt x="1939861" y="782098"/>
                    <a:pt x="1942624" y="784860"/>
                    <a:pt x="1942624" y="788289"/>
                  </a:cubicBezTo>
                  <a:cubicBezTo>
                    <a:pt x="1942624" y="791718"/>
                    <a:pt x="1939861" y="794481"/>
                    <a:pt x="1936432" y="794481"/>
                  </a:cubicBezTo>
                  <a:cubicBezTo>
                    <a:pt x="1933003" y="794481"/>
                    <a:pt x="1930241" y="791718"/>
                    <a:pt x="1930241" y="788289"/>
                  </a:cubicBezTo>
                  <a:cubicBezTo>
                    <a:pt x="1930241" y="784860"/>
                    <a:pt x="1933003" y="782098"/>
                    <a:pt x="1936432" y="782098"/>
                  </a:cubicBezTo>
                  <a:close/>
                  <a:moveTo>
                    <a:pt x="3079432" y="781717"/>
                  </a:moveTo>
                  <a:cubicBezTo>
                    <a:pt x="3082861" y="781717"/>
                    <a:pt x="3085624" y="784479"/>
                    <a:pt x="3085624" y="787908"/>
                  </a:cubicBezTo>
                  <a:lnTo>
                    <a:pt x="3079622" y="793910"/>
                  </a:lnTo>
                  <a:lnTo>
                    <a:pt x="3079717" y="794004"/>
                  </a:lnTo>
                  <a:lnTo>
                    <a:pt x="3074908" y="798814"/>
                  </a:lnTo>
                  <a:lnTo>
                    <a:pt x="3075432" y="799338"/>
                  </a:lnTo>
                  <a:lnTo>
                    <a:pt x="3071336" y="803434"/>
                  </a:lnTo>
                  <a:lnTo>
                    <a:pt x="3072193" y="804291"/>
                  </a:lnTo>
                  <a:lnTo>
                    <a:pt x="3068621" y="807863"/>
                  </a:lnTo>
                  <a:lnTo>
                    <a:pt x="3069716" y="808958"/>
                  </a:lnTo>
                  <a:lnTo>
                    <a:pt x="3066097" y="812578"/>
                  </a:lnTo>
                  <a:lnTo>
                    <a:pt x="3067431" y="813911"/>
                  </a:lnTo>
                  <a:lnTo>
                    <a:pt x="3063239" y="818102"/>
                  </a:lnTo>
                  <a:lnTo>
                    <a:pt x="3064668" y="819531"/>
                  </a:lnTo>
                  <a:lnTo>
                    <a:pt x="3059334" y="824866"/>
                  </a:lnTo>
                  <a:lnTo>
                    <a:pt x="3060763" y="826294"/>
                  </a:lnTo>
                  <a:cubicBezTo>
                    <a:pt x="3060763" y="829723"/>
                    <a:pt x="3058001" y="832486"/>
                    <a:pt x="3054572" y="832486"/>
                  </a:cubicBezTo>
                  <a:cubicBezTo>
                    <a:pt x="3051143" y="832486"/>
                    <a:pt x="3048381" y="829723"/>
                    <a:pt x="3048381" y="826294"/>
                  </a:cubicBezTo>
                  <a:lnTo>
                    <a:pt x="3053715" y="820960"/>
                  </a:lnTo>
                  <a:lnTo>
                    <a:pt x="3052286" y="819531"/>
                  </a:lnTo>
                  <a:lnTo>
                    <a:pt x="3056477" y="815340"/>
                  </a:lnTo>
                  <a:lnTo>
                    <a:pt x="3055048" y="813911"/>
                  </a:lnTo>
                  <a:lnTo>
                    <a:pt x="3058667" y="810292"/>
                  </a:lnTo>
                  <a:lnTo>
                    <a:pt x="3057334" y="808958"/>
                  </a:lnTo>
                  <a:lnTo>
                    <a:pt x="3060905" y="805387"/>
                  </a:lnTo>
                  <a:lnTo>
                    <a:pt x="3059810" y="804291"/>
                  </a:lnTo>
                  <a:lnTo>
                    <a:pt x="3063906" y="800195"/>
                  </a:lnTo>
                  <a:lnTo>
                    <a:pt x="3063049" y="799338"/>
                  </a:lnTo>
                  <a:lnTo>
                    <a:pt x="3067859" y="794528"/>
                  </a:lnTo>
                  <a:lnTo>
                    <a:pt x="3067335" y="794004"/>
                  </a:lnTo>
                  <a:lnTo>
                    <a:pt x="3073336" y="788003"/>
                  </a:lnTo>
                  <a:lnTo>
                    <a:pt x="3073241" y="787908"/>
                  </a:lnTo>
                  <a:cubicBezTo>
                    <a:pt x="3073241" y="784479"/>
                    <a:pt x="3076003" y="781717"/>
                    <a:pt x="3079432" y="781717"/>
                  </a:cubicBezTo>
                  <a:close/>
                  <a:moveTo>
                    <a:pt x="905351" y="781050"/>
                  </a:moveTo>
                  <a:cubicBezTo>
                    <a:pt x="908780" y="781050"/>
                    <a:pt x="911542" y="783812"/>
                    <a:pt x="911542" y="787241"/>
                  </a:cubicBezTo>
                  <a:cubicBezTo>
                    <a:pt x="911542" y="790670"/>
                    <a:pt x="908780" y="793433"/>
                    <a:pt x="905351" y="793433"/>
                  </a:cubicBezTo>
                  <a:cubicBezTo>
                    <a:pt x="901922" y="793433"/>
                    <a:pt x="899160" y="790670"/>
                    <a:pt x="899160" y="787241"/>
                  </a:cubicBezTo>
                  <a:cubicBezTo>
                    <a:pt x="899160" y="783812"/>
                    <a:pt x="901922" y="781050"/>
                    <a:pt x="905351" y="781050"/>
                  </a:cubicBezTo>
                  <a:close/>
                  <a:moveTo>
                    <a:pt x="3004089" y="780955"/>
                  </a:moveTo>
                  <a:cubicBezTo>
                    <a:pt x="3007509" y="780955"/>
                    <a:pt x="3010281" y="783727"/>
                    <a:pt x="3010281" y="787146"/>
                  </a:cubicBezTo>
                  <a:cubicBezTo>
                    <a:pt x="3010281" y="790566"/>
                    <a:pt x="3007509" y="793337"/>
                    <a:pt x="3004089" y="793337"/>
                  </a:cubicBezTo>
                  <a:cubicBezTo>
                    <a:pt x="3000670" y="793337"/>
                    <a:pt x="2997898" y="790566"/>
                    <a:pt x="2997898" y="787146"/>
                  </a:cubicBezTo>
                  <a:cubicBezTo>
                    <a:pt x="2997898" y="783727"/>
                    <a:pt x="3000670" y="780955"/>
                    <a:pt x="3004089" y="780955"/>
                  </a:cubicBezTo>
                  <a:close/>
                  <a:moveTo>
                    <a:pt x="540543" y="780764"/>
                  </a:moveTo>
                  <a:cubicBezTo>
                    <a:pt x="543972" y="780764"/>
                    <a:pt x="546735" y="783526"/>
                    <a:pt x="546735" y="786955"/>
                  </a:cubicBezTo>
                  <a:cubicBezTo>
                    <a:pt x="546735" y="790384"/>
                    <a:pt x="543972" y="793147"/>
                    <a:pt x="540543" y="793147"/>
                  </a:cubicBezTo>
                  <a:cubicBezTo>
                    <a:pt x="537114" y="793147"/>
                    <a:pt x="534352" y="790384"/>
                    <a:pt x="534352" y="786955"/>
                  </a:cubicBezTo>
                  <a:cubicBezTo>
                    <a:pt x="534352" y="783526"/>
                    <a:pt x="537114" y="780764"/>
                    <a:pt x="540543" y="780764"/>
                  </a:cubicBezTo>
                  <a:close/>
                  <a:moveTo>
                    <a:pt x="2936747" y="779050"/>
                  </a:moveTo>
                  <a:cubicBezTo>
                    <a:pt x="2940176" y="779050"/>
                    <a:pt x="2942938" y="781812"/>
                    <a:pt x="2942938" y="785241"/>
                  </a:cubicBezTo>
                  <a:cubicBezTo>
                    <a:pt x="2942938" y="788670"/>
                    <a:pt x="2940176" y="791433"/>
                    <a:pt x="2936747" y="791433"/>
                  </a:cubicBezTo>
                  <a:cubicBezTo>
                    <a:pt x="2933318" y="791433"/>
                    <a:pt x="2930556" y="788670"/>
                    <a:pt x="2930556" y="785241"/>
                  </a:cubicBezTo>
                  <a:cubicBezTo>
                    <a:pt x="2930556" y="781812"/>
                    <a:pt x="2933318" y="779050"/>
                    <a:pt x="2936747" y="779050"/>
                  </a:cubicBezTo>
                  <a:close/>
                  <a:moveTo>
                    <a:pt x="266413" y="778764"/>
                  </a:moveTo>
                  <a:cubicBezTo>
                    <a:pt x="269842" y="778764"/>
                    <a:pt x="272605" y="781526"/>
                    <a:pt x="272605" y="784955"/>
                  </a:cubicBezTo>
                  <a:lnTo>
                    <a:pt x="272366" y="785194"/>
                  </a:lnTo>
                  <a:lnTo>
                    <a:pt x="276891" y="789718"/>
                  </a:lnTo>
                  <a:lnTo>
                    <a:pt x="276367" y="790242"/>
                  </a:lnTo>
                  <a:lnTo>
                    <a:pt x="280129" y="794004"/>
                  </a:lnTo>
                  <a:lnTo>
                    <a:pt x="279415" y="794719"/>
                  </a:lnTo>
                  <a:lnTo>
                    <a:pt x="282892" y="798195"/>
                  </a:lnTo>
                  <a:lnTo>
                    <a:pt x="282034" y="799053"/>
                  </a:lnTo>
                  <a:lnTo>
                    <a:pt x="285654" y="802672"/>
                  </a:lnTo>
                  <a:lnTo>
                    <a:pt x="284749" y="803577"/>
                  </a:lnTo>
                  <a:lnTo>
                    <a:pt x="288988" y="807815"/>
                  </a:lnTo>
                  <a:lnTo>
                    <a:pt x="288225" y="808578"/>
                  </a:lnTo>
                  <a:lnTo>
                    <a:pt x="293750" y="814102"/>
                  </a:lnTo>
                  <a:cubicBezTo>
                    <a:pt x="293750" y="817531"/>
                    <a:pt x="290988" y="820294"/>
                    <a:pt x="287559" y="820294"/>
                  </a:cubicBezTo>
                  <a:cubicBezTo>
                    <a:pt x="284130" y="820294"/>
                    <a:pt x="281368" y="817531"/>
                    <a:pt x="281368" y="814102"/>
                  </a:cubicBezTo>
                  <a:lnTo>
                    <a:pt x="282130" y="813340"/>
                  </a:lnTo>
                  <a:lnTo>
                    <a:pt x="276606" y="807815"/>
                  </a:lnTo>
                  <a:lnTo>
                    <a:pt x="277510" y="806911"/>
                  </a:lnTo>
                  <a:lnTo>
                    <a:pt x="273272" y="802672"/>
                  </a:lnTo>
                  <a:lnTo>
                    <a:pt x="274128" y="801816"/>
                  </a:lnTo>
                  <a:lnTo>
                    <a:pt x="270509" y="798195"/>
                  </a:lnTo>
                  <a:lnTo>
                    <a:pt x="271223" y="797481"/>
                  </a:lnTo>
                  <a:lnTo>
                    <a:pt x="267747" y="794004"/>
                  </a:lnTo>
                  <a:lnTo>
                    <a:pt x="268270" y="793481"/>
                  </a:lnTo>
                  <a:lnTo>
                    <a:pt x="264509" y="789718"/>
                  </a:lnTo>
                  <a:lnTo>
                    <a:pt x="264746" y="789481"/>
                  </a:lnTo>
                  <a:lnTo>
                    <a:pt x="260222" y="784955"/>
                  </a:lnTo>
                  <a:cubicBezTo>
                    <a:pt x="260222" y="781526"/>
                    <a:pt x="262984" y="778764"/>
                    <a:pt x="266413" y="778764"/>
                  </a:cubicBezTo>
                  <a:close/>
                  <a:moveTo>
                    <a:pt x="1458562" y="777526"/>
                  </a:moveTo>
                  <a:cubicBezTo>
                    <a:pt x="1461991" y="777526"/>
                    <a:pt x="1464754" y="780288"/>
                    <a:pt x="1464754" y="783717"/>
                  </a:cubicBezTo>
                  <a:cubicBezTo>
                    <a:pt x="1464754" y="787146"/>
                    <a:pt x="1461991" y="789908"/>
                    <a:pt x="1458562" y="789908"/>
                  </a:cubicBezTo>
                  <a:cubicBezTo>
                    <a:pt x="1455133" y="789908"/>
                    <a:pt x="1452371" y="787146"/>
                    <a:pt x="1452371" y="783717"/>
                  </a:cubicBezTo>
                  <a:cubicBezTo>
                    <a:pt x="1452371" y="780288"/>
                    <a:pt x="1455133" y="777526"/>
                    <a:pt x="1458562" y="777526"/>
                  </a:cubicBezTo>
                  <a:close/>
                  <a:moveTo>
                    <a:pt x="357853" y="777526"/>
                  </a:moveTo>
                  <a:cubicBezTo>
                    <a:pt x="361282" y="777526"/>
                    <a:pt x="364045" y="780288"/>
                    <a:pt x="364045" y="783717"/>
                  </a:cubicBezTo>
                  <a:cubicBezTo>
                    <a:pt x="364045" y="787146"/>
                    <a:pt x="361282" y="789908"/>
                    <a:pt x="357853" y="789908"/>
                  </a:cubicBezTo>
                  <a:cubicBezTo>
                    <a:pt x="354424" y="789908"/>
                    <a:pt x="351662" y="787146"/>
                    <a:pt x="351662" y="783717"/>
                  </a:cubicBezTo>
                  <a:cubicBezTo>
                    <a:pt x="351662" y="780288"/>
                    <a:pt x="354424" y="777526"/>
                    <a:pt x="357853" y="777526"/>
                  </a:cubicBezTo>
                  <a:close/>
                  <a:moveTo>
                    <a:pt x="2638043" y="775145"/>
                  </a:moveTo>
                  <a:cubicBezTo>
                    <a:pt x="2641472" y="775145"/>
                    <a:pt x="2644234" y="777907"/>
                    <a:pt x="2644234" y="781336"/>
                  </a:cubicBezTo>
                  <a:cubicBezTo>
                    <a:pt x="2644234" y="784765"/>
                    <a:pt x="2641472" y="787527"/>
                    <a:pt x="2638043" y="787527"/>
                  </a:cubicBezTo>
                  <a:cubicBezTo>
                    <a:pt x="2634614" y="787527"/>
                    <a:pt x="2631852" y="784765"/>
                    <a:pt x="2631852" y="781336"/>
                  </a:cubicBezTo>
                  <a:cubicBezTo>
                    <a:pt x="2631852" y="777907"/>
                    <a:pt x="2634614" y="775145"/>
                    <a:pt x="2638043" y="775145"/>
                  </a:cubicBezTo>
                  <a:close/>
                  <a:moveTo>
                    <a:pt x="3087242" y="774478"/>
                  </a:moveTo>
                  <a:cubicBezTo>
                    <a:pt x="3090671" y="774478"/>
                    <a:pt x="3093433" y="777240"/>
                    <a:pt x="3093433" y="780669"/>
                  </a:cubicBezTo>
                  <a:cubicBezTo>
                    <a:pt x="3093433" y="784098"/>
                    <a:pt x="3090671" y="786860"/>
                    <a:pt x="3087242" y="786860"/>
                  </a:cubicBezTo>
                  <a:cubicBezTo>
                    <a:pt x="3083813" y="786860"/>
                    <a:pt x="3081051" y="784098"/>
                    <a:pt x="3081051" y="780669"/>
                  </a:cubicBezTo>
                  <a:cubicBezTo>
                    <a:pt x="3081051" y="777240"/>
                    <a:pt x="3083813" y="774478"/>
                    <a:pt x="3087242" y="774478"/>
                  </a:cubicBezTo>
                  <a:close/>
                  <a:moveTo>
                    <a:pt x="1818512" y="774383"/>
                  </a:moveTo>
                  <a:cubicBezTo>
                    <a:pt x="1821941" y="774383"/>
                    <a:pt x="1824704" y="777145"/>
                    <a:pt x="1824704" y="780574"/>
                  </a:cubicBezTo>
                  <a:cubicBezTo>
                    <a:pt x="1824704" y="784003"/>
                    <a:pt x="1821941" y="786765"/>
                    <a:pt x="1818512" y="786765"/>
                  </a:cubicBezTo>
                  <a:cubicBezTo>
                    <a:pt x="1815083" y="786765"/>
                    <a:pt x="1812321" y="784003"/>
                    <a:pt x="1812321" y="780574"/>
                  </a:cubicBezTo>
                  <a:cubicBezTo>
                    <a:pt x="1812321" y="777145"/>
                    <a:pt x="1815083" y="774383"/>
                    <a:pt x="1818512" y="774383"/>
                  </a:cubicBezTo>
                  <a:close/>
                  <a:moveTo>
                    <a:pt x="3014566" y="773716"/>
                  </a:moveTo>
                  <a:cubicBezTo>
                    <a:pt x="3017995" y="773716"/>
                    <a:pt x="3020758" y="776478"/>
                    <a:pt x="3020758" y="779907"/>
                  </a:cubicBezTo>
                  <a:cubicBezTo>
                    <a:pt x="3020758" y="783336"/>
                    <a:pt x="3017995" y="786098"/>
                    <a:pt x="3014566" y="786098"/>
                  </a:cubicBezTo>
                  <a:cubicBezTo>
                    <a:pt x="3011137" y="786098"/>
                    <a:pt x="3008375" y="783336"/>
                    <a:pt x="3008375" y="779907"/>
                  </a:cubicBezTo>
                  <a:cubicBezTo>
                    <a:pt x="3008375" y="776478"/>
                    <a:pt x="3011137" y="773716"/>
                    <a:pt x="3014566" y="773716"/>
                  </a:cubicBezTo>
                  <a:close/>
                  <a:moveTo>
                    <a:pt x="1577816" y="772002"/>
                  </a:moveTo>
                  <a:cubicBezTo>
                    <a:pt x="1581245" y="772002"/>
                    <a:pt x="1584008" y="774764"/>
                    <a:pt x="1584008" y="778193"/>
                  </a:cubicBezTo>
                  <a:cubicBezTo>
                    <a:pt x="1584008" y="781622"/>
                    <a:pt x="1581245" y="784384"/>
                    <a:pt x="1577816" y="784384"/>
                  </a:cubicBezTo>
                  <a:cubicBezTo>
                    <a:pt x="1574387" y="784384"/>
                    <a:pt x="1571625" y="781622"/>
                    <a:pt x="1571625" y="778193"/>
                  </a:cubicBezTo>
                  <a:cubicBezTo>
                    <a:pt x="1571625" y="774764"/>
                    <a:pt x="1574387" y="772002"/>
                    <a:pt x="1577816" y="772002"/>
                  </a:cubicBezTo>
                  <a:close/>
                  <a:moveTo>
                    <a:pt x="2385916" y="771144"/>
                  </a:moveTo>
                  <a:cubicBezTo>
                    <a:pt x="2389345" y="771144"/>
                    <a:pt x="2392108" y="773906"/>
                    <a:pt x="2392108" y="777335"/>
                  </a:cubicBezTo>
                  <a:cubicBezTo>
                    <a:pt x="2392108" y="780764"/>
                    <a:pt x="2389345" y="783527"/>
                    <a:pt x="2385916" y="783527"/>
                  </a:cubicBezTo>
                  <a:cubicBezTo>
                    <a:pt x="2382487" y="783527"/>
                    <a:pt x="2379725" y="780764"/>
                    <a:pt x="2379725" y="777335"/>
                  </a:cubicBezTo>
                  <a:cubicBezTo>
                    <a:pt x="2379725" y="773906"/>
                    <a:pt x="2382487" y="771144"/>
                    <a:pt x="2385916" y="771144"/>
                  </a:cubicBezTo>
                  <a:close/>
                  <a:moveTo>
                    <a:pt x="2864167" y="770954"/>
                  </a:moveTo>
                  <a:cubicBezTo>
                    <a:pt x="2867596" y="770954"/>
                    <a:pt x="2870359" y="773716"/>
                    <a:pt x="2870359" y="777145"/>
                  </a:cubicBezTo>
                  <a:cubicBezTo>
                    <a:pt x="2870359" y="780574"/>
                    <a:pt x="2867596" y="783337"/>
                    <a:pt x="2864167" y="783337"/>
                  </a:cubicBezTo>
                  <a:cubicBezTo>
                    <a:pt x="2860738" y="783337"/>
                    <a:pt x="2857976" y="780574"/>
                    <a:pt x="2857976" y="777145"/>
                  </a:cubicBezTo>
                  <a:cubicBezTo>
                    <a:pt x="2857976" y="773716"/>
                    <a:pt x="2860738" y="770954"/>
                    <a:pt x="2864167" y="770954"/>
                  </a:cubicBezTo>
                  <a:close/>
                  <a:moveTo>
                    <a:pt x="1698402" y="770954"/>
                  </a:moveTo>
                  <a:cubicBezTo>
                    <a:pt x="1701831" y="770954"/>
                    <a:pt x="1704594" y="773716"/>
                    <a:pt x="1704594" y="777145"/>
                  </a:cubicBezTo>
                  <a:cubicBezTo>
                    <a:pt x="1704594" y="780574"/>
                    <a:pt x="1701831" y="783337"/>
                    <a:pt x="1698402" y="783337"/>
                  </a:cubicBezTo>
                  <a:cubicBezTo>
                    <a:pt x="1694973" y="783337"/>
                    <a:pt x="1692211" y="780574"/>
                    <a:pt x="1692211" y="777145"/>
                  </a:cubicBezTo>
                  <a:cubicBezTo>
                    <a:pt x="1692211" y="773716"/>
                    <a:pt x="1694973" y="770954"/>
                    <a:pt x="1698402" y="770954"/>
                  </a:cubicBezTo>
                  <a:close/>
                  <a:moveTo>
                    <a:pt x="2766536" y="768858"/>
                  </a:moveTo>
                  <a:cubicBezTo>
                    <a:pt x="2769956" y="768858"/>
                    <a:pt x="2772728" y="771630"/>
                    <a:pt x="2772728" y="775049"/>
                  </a:cubicBezTo>
                  <a:cubicBezTo>
                    <a:pt x="2772728" y="778469"/>
                    <a:pt x="2769956" y="781241"/>
                    <a:pt x="2766536" y="781241"/>
                  </a:cubicBezTo>
                  <a:cubicBezTo>
                    <a:pt x="2763117" y="781241"/>
                    <a:pt x="2760345" y="778469"/>
                    <a:pt x="2760345" y="775049"/>
                  </a:cubicBezTo>
                  <a:cubicBezTo>
                    <a:pt x="2760345" y="771630"/>
                    <a:pt x="2763117" y="768858"/>
                    <a:pt x="2766536" y="768858"/>
                  </a:cubicBezTo>
                  <a:close/>
                  <a:moveTo>
                    <a:pt x="341566" y="767810"/>
                  </a:moveTo>
                  <a:cubicBezTo>
                    <a:pt x="344995" y="767810"/>
                    <a:pt x="347757" y="770572"/>
                    <a:pt x="347757" y="774001"/>
                  </a:cubicBezTo>
                  <a:cubicBezTo>
                    <a:pt x="347757" y="777430"/>
                    <a:pt x="344995" y="780193"/>
                    <a:pt x="341566" y="780193"/>
                  </a:cubicBezTo>
                  <a:cubicBezTo>
                    <a:pt x="338137" y="780193"/>
                    <a:pt x="335375" y="777430"/>
                    <a:pt x="335375" y="774001"/>
                  </a:cubicBezTo>
                  <a:cubicBezTo>
                    <a:pt x="335375" y="770572"/>
                    <a:pt x="338137" y="767810"/>
                    <a:pt x="341566" y="767810"/>
                  </a:cubicBezTo>
                  <a:close/>
                  <a:moveTo>
                    <a:pt x="3064477" y="765810"/>
                  </a:moveTo>
                  <a:cubicBezTo>
                    <a:pt x="3067906" y="765810"/>
                    <a:pt x="3070669" y="768572"/>
                    <a:pt x="3070669" y="772001"/>
                  </a:cubicBezTo>
                  <a:cubicBezTo>
                    <a:pt x="3070669" y="775430"/>
                    <a:pt x="3067906" y="778193"/>
                    <a:pt x="3064477" y="778193"/>
                  </a:cubicBezTo>
                  <a:lnTo>
                    <a:pt x="3064144" y="777860"/>
                  </a:lnTo>
                  <a:lnTo>
                    <a:pt x="3060811" y="781193"/>
                  </a:lnTo>
                  <a:lnTo>
                    <a:pt x="3060859" y="781241"/>
                  </a:lnTo>
                  <a:lnTo>
                    <a:pt x="3057287" y="784813"/>
                  </a:lnTo>
                  <a:lnTo>
                    <a:pt x="3057429" y="784955"/>
                  </a:lnTo>
                  <a:lnTo>
                    <a:pt x="3054095" y="788290"/>
                  </a:lnTo>
                  <a:lnTo>
                    <a:pt x="3054476" y="788670"/>
                  </a:lnTo>
                  <a:lnTo>
                    <a:pt x="3050905" y="792242"/>
                  </a:lnTo>
                  <a:lnTo>
                    <a:pt x="3051334" y="792670"/>
                  </a:lnTo>
                  <a:lnTo>
                    <a:pt x="3046952" y="797053"/>
                  </a:lnTo>
                  <a:lnTo>
                    <a:pt x="3047332" y="797433"/>
                  </a:lnTo>
                  <a:lnTo>
                    <a:pt x="3041522" y="803244"/>
                  </a:lnTo>
                  <a:lnTo>
                    <a:pt x="3041713" y="803434"/>
                  </a:lnTo>
                  <a:cubicBezTo>
                    <a:pt x="3041713" y="806863"/>
                    <a:pt x="3038951" y="809625"/>
                    <a:pt x="3035522" y="809625"/>
                  </a:cubicBezTo>
                  <a:cubicBezTo>
                    <a:pt x="3032093" y="809625"/>
                    <a:pt x="3029331" y="806863"/>
                    <a:pt x="3029331" y="803434"/>
                  </a:cubicBezTo>
                  <a:lnTo>
                    <a:pt x="3035141" y="797624"/>
                  </a:lnTo>
                  <a:lnTo>
                    <a:pt x="3034950" y="797433"/>
                  </a:lnTo>
                  <a:lnTo>
                    <a:pt x="3039332" y="793051"/>
                  </a:lnTo>
                  <a:lnTo>
                    <a:pt x="3038951" y="792670"/>
                  </a:lnTo>
                  <a:lnTo>
                    <a:pt x="3042522" y="789099"/>
                  </a:lnTo>
                  <a:lnTo>
                    <a:pt x="3042094" y="788670"/>
                  </a:lnTo>
                  <a:lnTo>
                    <a:pt x="3045428" y="785336"/>
                  </a:lnTo>
                  <a:lnTo>
                    <a:pt x="3045047" y="784955"/>
                  </a:lnTo>
                  <a:lnTo>
                    <a:pt x="3048618" y="781384"/>
                  </a:lnTo>
                  <a:lnTo>
                    <a:pt x="3048476" y="781241"/>
                  </a:lnTo>
                  <a:lnTo>
                    <a:pt x="3052715" y="777002"/>
                  </a:lnTo>
                  <a:lnTo>
                    <a:pt x="3052667" y="776954"/>
                  </a:lnTo>
                  <a:cubicBezTo>
                    <a:pt x="3052667" y="773525"/>
                    <a:pt x="3055429" y="770763"/>
                    <a:pt x="3058858" y="770763"/>
                  </a:cubicBezTo>
                  <a:lnTo>
                    <a:pt x="3059191" y="771096"/>
                  </a:lnTo>
                  <a:close/>
                  <a:moveTo>
                    <a:pt x="2960369" y="765810"/>
                  </a:moveTo>
                  <a:cubicBezTo>
                    <a:pt x="2963798" y="765810"/>
                    <a:pt x="2966561" y="768572"/>
                    <a:pt x="2966561" y="772001"/>
                  </a:cubicBezTo>
                  <a:cubicBezTo>
                    <a:pt x="2966561" y="775430"/>
                    <a:pt x="2963798" y="778193"/>
                    <a:pt x="2960369" y="778193"/>
                  </a:cubicBezTo>
                  <a:cubicBezTo>
                    <a:pt x="2956940" y="778193"/>
                    <a:pt x="2954178" y="775430"/>
                    <a:pt x="2954178" y="772001"/>
                  </a:cubicBezTo>
                  <a:cubicBezTo>
                    <a:pt x="2954178" y="768572"/>
                    <a:pt x="2956940" y="765810"/>
                    <a:pt x="2960369" y="765810"/>
                  </a:cubicBezTo>
                  <a:close/>
                  <a:moveTo>
                    <a:pt x="414718" y="765239"/>
                  </a:moveTo>
                  <a:cubicBezTo>
                    <a:pt x="418147" y="765239"/>
                    <a:pt x="420909" y="768001"/>
                    <a:pt x="420909" y="771430"/>
                  </a:cubicBezTo>
                  <a:cubicBezTo>
                    <a:pt x="420909" y="774859"/>
                    <a:pt x="418147" y="777621"/>
                    <a:pt x="414718" y="777621"/>
                  </a:cubicBezTo>
                  <a:cubicBezTo>
                    <a:pt x="411289" y="777621"/>
                    <a:pt x="408527" y="774859"/>
                    <a:pt x="408527" y="771430"/>
                  </a:cubicBezTo>
                  <a:cubicBezTo>
                    <a:pt x="408527" y="768001"/>
                    <a:pt x="411289" y="765239"/>
                    <a:pt x="414718" y="765239"/>
                  </a:cubicBezTo>
                  <a:close/>
                  <a:moveTo>
                    <a:pt x="731424" y="762191"/>
                  </a:moveTo>
                  <a:cubicBezTo>
                    <a:pt x="734853" y="762191"/>
                    <a:pt x="737616" y="764953"/>
                    <a:pt x="737616" y="768382"/>
                  </a:cubicBezTo>
                  <a:cubicBezTo>
                    <a:pt x="737616" y="771811"/>
                    <a:pt x="734853" y="774573"/>
                    <a:pt x="731424" y="774573"/>
                  </a:cubicBezTo>
                  <a:cubicBezTo>
                    <a:pt x="727995" y="774573"/>
                    <a:pt x="725233" y="771811"/>
                    <a:pt x="725233" y="768382"/>
                  </a:cubicBezTo>
                  <a:cubicBezTo>
                    <a:pt x="725233" y="764953"/>
                    <a:pt x="727995" y="762191"/>
                    <a:pt x="731424" y="762191"/>
                  </a:cubicBezTo>
                  <a:close/>
                  <a:moveTo>
                    <a:pt x="329564" y="760762"/>
                  </a:moveTo>
                  <a:cubicBezTo>
                    <a:pt x="332993" y="760762"/>
                    <a:pt x="335755" y="763524"/>
                    <a:pt x="335755" y="766953"/>
                  </a:cubicBezTo>
                  <a:cubicBezTo>
                    <a:pt x="335755" y="770382"/>
                    <a:pt x="332993" y="773145"/>
                    <a:pt x="329564" y="773145"/>
                  </a:cubicBezTo>
                  <a:cubicBezTo>
                    <a:pt x="326135" y="773145"/>
                    <a:pt x="323373" y="770382"/>
                    <a:pt x="323373" y="766953"/>
                  </a:cubicBezTo>
                  <a:cubicBezTo>
                    <a:pt x="323373" y="763524"/>
                    <a:pt x="326135" y="760762"/>
                    <a:pt x="329564" y="760762"/>
                  </a:cubicBezTo>
                  <a:close/>
                  <a:moveTo>
                    <a:pt x="995076" y="760095"/>
                  </a:moveTo>
                  <a:cubicBezTo>
                    <a:pt x="998505" y="760095"/>
                    <a:pt x="1001268" y="762857"/>
                    <a:pt x="1001268" y="766286"/>
                  </a:cubicBezTo>
                  <a:cubicBezTo>
                    <a:pt x="1001268" y="769715"/>
                    <a:pt x="998505" y="772477"/>
                    <a:pt x="995076" y="772477"/>
                  </a:cubicBezTo>
                  <a:cubicBezTo>
                    <a:pt x="991647" y="772477"/>
                    <a:pt x="988885" y="769715"/>
                    <a:pt x="988885" y="766286"/>
                  </a:cubicBezTo>
                  <a:cubicBezTo>
                    <a:pt x="988885" y="762857"/>
                    <a:pt x="991647" y="760095"/>
                    <a:pt x="995076" y="760095"/>
                  </a:cubicBezTo>
                  <a:close/>
                  <a:moveTo>
                    <a:pt x="3071812" y="759905"/>
                  </a:moveTo>
                  <a:cubicBezTo>
                    <a:pt x="3075241" y="759905"/>
                    <a:pt x="3078003" y="762667"/>
                    <a:pt x="3078003" y="766096"/>
                  </a:cubicBezTo>
                  <a:cubicBezTo>
                    <a:pt x="3078003" y="769525"/>
                    <a:pt x="3075241" y="772288"/>
                    <a:pt x="3071812" y="772288"/>
                  </a:cubicBezTo>
                  <a:cubicBezTo>
                    <a:pt x="3068383" y="772288"/>
                    <a:pt x="3065621" y="769525"/>
                    <a:pt x="3065621" y="766096"/>
                  </a:cubicBezTo>
                  <a:cubicBezTo>
                    <a:pt x="3065621" y="762667"/>
                    <a:pt x="3068383" y="759905"/>
                    <a:pt x="3071812" y="759905"/>
                  </a:cubicBezTo>
                  <a:close/>
                  <a:moveTo>
                    <a:pt x="275749" y="758667"/>
                  </a:moveTo>
                  <a:lnTo>
                    <a:pt x="279843" y="762762"/>
                  </a:lnTo>
                  <a:lnTo>
                    <a:pt x="281272" y="761333"/>
                  </a:lnTo>
                  <a:lnTo>
                    <a:pt x="285226" y="765286"/>
                  </a:lnTo>
                  <a:lnTo>
                    <a:pt x="285559" y="764953"/>
                  </a:lnTo>
                  <a:lnTo>
                    <a:pt x="288987" y="768382"/>
                  </a:lnTo>
                  <a:lnTo>
                    <a:pt x="289178" y="768191"/>
                  </a:lnTo>
                  <a:lnTo>
                    <a:pt x="292417" y="771430"/>
                  </a:lnTo>
                  <a:lnTo>
                    <a:pt x="292512" y="771335"/>
                  </a:lnTo>
                  <a:lnTo>
                    <a:pt x="296084" y="774907"/>
                  </a:lnTo>
                  <a:lnTo>
                    <a:pt x="296227" y="774764"/>
                  </a:lnTo>
                  <a:lnTo>
                    <a:pt x="300751" y="779288"/>
                  </a:lnTo>
                  <a:lnTo>
                    <a:pt x="300989" y="779050"/>
                  </a:lnTo>
                  <a:lnTo>
                    <a:pt x="307132" y="785194"/>
                  </a:lnTo>
                  <a:lnTo>
                    <a:pt x="307561" y="784765"/>
                  </a:lnTo>
                  <a:cubicBezTo>
                    <a:pt x="310990" y="784765"/>
                    <a:pt x="313752" y="787527"/>
                    <a:pt x="313752" y="790956"/>
                  </a:cubicBezTo>
                  <a:cubicBezTo>
                    <a:pt x="313752" y="794385"/>
                    <a:pt x="310990" y="797148"/>
                    <a:pt x="307561" y="797148"/>
                  </a:cubicBezTo>
                  <a:lnTo>
                    <a:pt x="301418" y="791004"/>
                  </a:lnTo>
                  <a:lnTo>
                    <a:pt x="300989" y="791433"/>
                  </a:lnTo>
                  <a:lnTo>
                    <a:pt x="296465" y="786908"/>
                  </a:lnTo>
                  <a:lnTo>
                    <a:pt x="296227" y="787146"/>
                  </a:lnTo>
                  <a:lnTo>
                    <a:pt x="292655" y="783574"/>
                  </a:lnTo>
                  <a:lnTo>
                    <a:pt x="292512" y="783717"/>
                  </a:lnTo>
                  <a:lnTo>
                    <a:pt x="289273" y="780479"/>
                  </a:lnTo>
                  <a:lnTo>
                    <a:pt x="289178" y="780574"/>
                  </a:lnTo>
                  <a:lnTo>
                    <a:pt x="285749" y="777145"/>
                  </a:lnTo>
                  <a:lnTo>
                    <a:pt x="285559" y="777335"/>
                  </a:lnTo>
                  <a:lnTo>
                    <a:pt x="281606" y="773382"/>
                  </a:lnTo>
                  <a:lnTo>
                    <a:pt x="281272" y="773716"/>
                  </a:lnTo>
                  <a:cubicBezTo>
                    <a:pt x="277843" y="773716"/>
                    <a:pt x="275081" y="770953"/>
                    <a:pt x="275081" y="767524"/>
                  </a:cubicBezTo>
                  <a:lnTo>
                    <a:pt x="275366" y="767239"/>
                  </a:lnTo>
                  <a:lnTo>
                    <a:pt x="271272" y="763144"/>
                  </a:lnTo>
                  <a:cubicBezTo>
                    <a:pt x="271272" y="760671"/>
                    <a:pt x="273276" y="758667"/>
                    <a:pt x="275749" y="758667"/>
                  </a:cubicBezTo>
                  <a:close/>
                  <a:moveTo>
                    <a:pt x="492156" y="757143"/>
                  </a:moveTo>
                  <a:cubicBezTo>
                    <a:pt x="495585" y="757143"/>
                    <a:pt x="498347" y="759905"/>
                    <a:pt x="498347" y="763334"/>
                  </a:cubicBezTo>
                  <a:cubicBezTo>
                    <a:pt x="498347" y="766763"/>
                    <a:pt x="495585" y="769525"/>
                    <a:pt x="492156" y="769525"/>
                  </a:cubicBezTo>
                  <a:cubicBezTo>
                    <a:pt x="488727" y="769525"/>
                    <a:pt x="485965" y="766763"/>
                    <a:pt x="485965" y="763334"/>
                  </a:cubicBezTo>
                  <a:cubicBezTo>
                    <a:pt x="485965" y="759905"/>
                    <a:pt x="488727" y="757143"/>
                    <a:pt x="492156" y="757143"/>
                  </a:cubicBezTo>
                  <a:close/>
                  <a:moveTo>
                    <a:pt x="3081147" y="756285"/>
                  </a:moveTo>
                  <a:cubicBezTo>
                    <a:pt x="3082567" y="756285"/>
                    <a:pt x="3083719" y="757436"/>
                    <a:pt x="3083719" y="758857"/>
                  </a:cubicBezTo>
                  <a:cubicBezTo>
                    <a:pt x="3083719" y="760277"/>
                    <a:pt x="3082567" y="761429"/>
                    <a:pt x="3081147" y="761429"/>
                  </a:cubicBezTo>
                  <a:cubicBezTo>
                    <a:pt x="3079727" y="761429"/>
                    <a:pt x="3078575" y="760277"/>
                    <a:pt x="3078575" y="758857"/>
                  </a:cubicBezTo>
                  <a:cubicBezTo>
                    <a:pt x="3078575" y="757436"/>
                    <a:pt x="3079727" y="756285"/>
                    <a:pt x="3081147" y="756285"/>
                  </a:cubicBezTo>
                  <a:close/>
                  <a:moveTo>
                    <a:pt x="2978276" y="756190"/>
                  </a:moveTo>
                  <a:cubicBezTo>
                    <a:pt x="2981705" y="756190"/>
                    <a:pt x="2984467" y="758952"/>
                    <a:pt x="2984467" y="762381"/>
                  </a:cubicBezTo>
                  <a:cubicBezTo>
                    <a:pt x="2984467" y="765810"/>
                    <a:pt x="2981705" y="768573"/>
                    <a:pt x="2978276" y="768573"/>
                  </a:cubicBezTo>
                  <a:cubicBezTo>
                    <a:pt x="2974847" y="768573"/>
                    <a:pt x="2972085" y="765810"/>
                    <a:pt x="2972085" y="762381"/>
                  </a:cubicBezTo>
                  <a:cubicBezTo>
                    <a:pt x="2972085" y="758952"/>
                    <a:pt x="2974847" y="756190"/>
                    <a:pt x="2978276" y="756190"/>
                  </a:cubicBezTo>
                  <a:close/>
                  <a:moveTo>
                    <a:pt x="595788" y="755237"/>
                  </a:moveTo>
                  <a:cubicBezTo>
                    <a:pt x="599217" y="755237"/>
                    <a:pt x="601979" y="757999"/>
                    <a:pt x="601979" y="761428"/>
                  </a:cubicBezTo>
                  <a:cubicBezTo>
                    <a:pt x="601979" y="764857"/>
                    <a:pt x="599217" y="767620"/>
                    <a:pt x="595788" y="767620"/>
                  </a:cubicBezTo>
                  <a:cubicBezTo>
                    <a:pt x="592359" y="767620"/>
                    <a:pt x="589597" y="764857"/>
                    <a:pt x="589597" y="761428"/>
                  </a:cubicBezTo>
                  <a:cubicBezTo>
                    <a:pt x="589597" y="757999"/>
                    <a:pt x="592359" y="755237"/>
                    <a:pt x="595788" y="755237"/>
                  </a:cubicBezTo>
                  <a:close/>
                  <a:moveTo>
                    <a:pt x="2899981" y="753142"/>
                  </a:moveTo>
                  <a:cubicBezTo>
                    <a:pt x="2903400" y="753142"/>
                    <a:pt x="2906172" y="755914"/>
                    <a:pt x="2906172" y="759333"/>
                  </a:cubicBezTo>
                  <a:cubicBezTo>
                    <a:pt x="2906172" y="762753"/>
                    <a:pt x="2903400" y="765525"/>
                    <a:pt x="2899981" y="765525"/>
                  </a:cubicBezTo>
                  <a:cubicBezTo>
                    <a:pt x="2896562" y="765525"/>
                    <a:pt x="2893790" y="762753"/>
                    <a:pt x="2893790" y="759333"/>
                  </a:cubicBezTo>
                  <a:cubicBezTo>
                    <a:pt x="2893790" y="755914"/>
                    <a:pt x="2896562" y="753142"/>
                    <a:pt x="2899981" y="753142"/>
                  </a:cubicBezTo>
                  <a:close/>
                  <a:moveTo>
                    <a:pt x="388714" y="752094"/>
                  </a:moveTo>
                  <a:cubicBezTo>
                    <a:pt x="392143" y="752094"/>
                    <a:pt x="394905" y="754856"/>
                    <a:pt x="394905" y="758285"/>
                  </a:cubicBezTo>
                  <a:cubicBezTo>
                    <a:pt x="394905" y="761714"/>
                    <a:pt x="392143" y="764477"/>
                    <a:pt x="388714" y="764477"/>
                  </a:cubicBezTo>
                  <a:cubicBezTo>
                    <a:pt x="385285" y="764477"/>
                    <a:pt x="382523" y="761714"/>
                    <a:pt x="382523" y="758285"/>
                  </a:cubicBezTo>
                  <a:cubicBezTo>
                    <a:pt x="382523" y="754856"/>
                    <a:pt x="385285" y="752094"/>
                    <a:pt x="388714" y="752094"/>
                  </a:cubicBezTo>
                  <a:close/>
                  <a:moveTo>
                    <a:pt x="2567082" y="751046"/>
                  </a:moveTo>
                  <a:cubicBezTo>
                    <a:pt x="2570511" y="751046"/>
                    <a:pt x="2573274" y="753808"/>
                    <a:pt x="2573274" y="757237"/>
                  </a:cubicBezTo>
                  <a:cubicBezTo>
                    <a:pt x="2573274" y="760666"/>
                    <a:pt x="2570511" y="763429"/>
                    <a:pt x="2567082" y="763429"/>
                  </a:cubicBezTo>
                  <a:cubicBezTo>
                    <a:pt x="2563653" y="763429"/>
                    <a:pt x="2560891" y="760666"/>
                    <a:pt x="2560891" y="757237"/>
                  </a:cubicBezTo>
                  <a:cubicBezTo>
                    <a:pt x="2560891" y="753808"/>
                    <a:pt x="2563653" y="751046"/>
                    <a:pt x="2567082" y="751046"/>
                  </a:cubicBezTo>
                  <a:close/>
                  <a:moveTo>
                    <a:pt x="2293429" y="750951"/>
                  </a:moveTo>
                  <a:cubicBezTo>
                    <a:pt x="2296858" y="750951"/>
                    <a:pt x="2299620" y="753713"/>
                    <a:pt x="2299620" y="757142"/>
                  </a:cubicBezTo>
                  <a:cubicBezTo>
                    <a:pt x="2299620" y="760571"/>
                    <a:pt x="2296858" y="763333"/>
                    <a:pt x="2293429" y="763333"/>
                  </a:cubicBezTo>
                  <a:cubicBezTo>
                    <a:pt x="2290000" y="763333"/>
                    <a:pt x="2287238" y="760571"/>
                    <a:pt x="2287238" y="757142"/>
                  </a:cubicBezTo>
                  <a:cubicBezTo>
                    <a:pt x="2287238" y="753713"/>
                    <a:pt x="2290000" y="750951"/>
                    <a:pt x="2293429" y="750951"/>
                  </a:cubicBezTo>
                  <a:close/>
                  <a:moveTo>
                    <a:pt x="2991707" y="749427"/>
                  </a:moveTo>
                  <a:cubicBezTo>
                    <a:pt x="2995136" y="749427"/>
                    <a:pt x="2997898" y="752189"/>
                    <a:pt x="2997898" y="755618"/>
                  </a:cubicBezTo>
                  <a:cubicBezTo>
                    <a:pt x="2997898" y="759047"/>
                    <a:pt x="2995136" y="761810"/>
                    <a:pt x="2991707" y="761810"/>
                  </a:cubicBezTo>
                  <a:cubicBezTo>
                    <a:pt x="2988278" y="761810"/>
                    <a:pt x="2985516" y="759047"/>
                    <a:pt x="2985516" y="755618"/>
                  </a:cubicBezTo>
                  <a:cubicBezTo>
                    <a:pt x="2985516" y="752189"/>
                    <a:pt x="2988278" y="749427"/>
                    <a:pt x="2991707" y="749427"/>
                  </a:cubicBezTo>
                  <a:close/>
                  <a:moveTo>
                    <a:pt x="2818066" y="745046"/>
                  </a:moveTo>
                  <a:cubicBezTo>
                    <a:pt x="2821495" y="745046"/>
                    <a:pt x="2824258" y="747808"/>
                    <a:pt x="2824258" y="751237"/>
                  </a:cubicBezTo>
                  <a:cubicBezTo>
                    <a:pt x="2824258" y="754666"/>
                    <a:pt x="2821495" y="757429"/>
                    <a:pt x="2818066" y="757429"/>
                  </a:cubicBezTo>
                  <a:cubicBezTo>
                    <a:pt x="2814637" y="757429"/>
                    <a:pt x="2811875" y="754666"/>
                    <a:pt x="2811875" y="751237"/>
                  </a:cubicBezTo>
                  <a:cubicBezTo>
                    <a:pt x="2811875" y="747808"/>
                    <a:pt x="2814637" y="745046"/>
                    <a:pt x="2818066" y="745046"/>
                  </a:cubicBezTo>
                  <a:close/>
                  <a:moveTo>
                    <a:pt x="3056191" y="744474"/>
                  </a:moveTo>
                  <a:cubicBezTo>
                    <a:pt x="3059620" y="744474"/>
                    <a:pt x="3062383" y="747236"/>
                    <a:pt x="3062383" y="750665"/>
                  </a:cubicBezTo>
                  <a:cubicBezTo>
                    <a:pt x="3062383" y="754094"/>
                    <a:pt x="3059620" y="756856"/>
                    <a:pt x="3056191" y="756856"/>
                  </a:cubicBezTo>
                  <a:lnTo>
                    <a:pt x="3055096" y="755761"/>
                  </a:lnTo>
                  <a:lnTo>
                    <a:pt x="3049238" y="761619"/>
                  </a:lnTo>
                  <a:lnTo>
                    <a:pt x="3048428" y="760809"/>
                  </a:lnTo>
                  <a:lnTo>
                    <a:pt x="3043808" y="765429"/>
                  </a:lnTo>
                  <a:lnTo>
                    <a:pt x="3043141" y="764763"/>
                  </a:lnTo>
                  <a:lnTo>
                    <a:pt x="3039427" y="768477"/>
                  </a:lnTo>
                  <a:lnTo>
                    <a:pt x="3038856" y="767906"/>
                  </a:lnTo>
                  <a:lnTo>
                    <a:pt x="3035617" y="771144"/>
                  </a:lnTo>
                  <a:lnTo>
                    <a:pt x="3035141" y="770668"/>
                  </a:lnTo>
                  <a:lnTo>
                    <a:pt x="3031997" y="773812"/>
                  </a:lnTo>
                  <a:lnTo>
                    <a:pt x="3031330" y="773145"/>
                  </a:lnTo>
                  <a:lnTo>
                    <a:pt x="3027711" y="776765"/>
                  </a:lnTo>
                  <a:lnTo>
                    <a:pt x="3026949" y="776003"/>
                  </a:lnTo>
                  <a:lnTo>
                    <a:pt x="3022187" y="780764"/>
                  </a:lnTo>
                  <a:cubicBezTo>
                    <a:pt x="3018758" y="780764"/>
                    <a:pt x="3015996" y="778002"/>
                    <a:pt x="3015996" y="774573"/>
                  </a:cubicBezTo>
                  <a:cubicBezTo>
                    <a:pt x="3015996" y="771144"/>
                    <a:pt x="3018758" y="768382"/>
                    <a:pt x="3022187" y="768382"/>
                  </a:cubicBezTo>
                  <a:lnTo>
                    <a:pt x="3022949" y="769144"/>
                  </a:lnTo>
                  <a:lnTo>
                    <a:pt x="3027711" y="764382"/>
                  </a:lnTo>
                  <a:lnTo>
                    <a:pt x="3028378" y="765049"/>
                  </a:lnTo>
                  <a:lnTo>
                    <a:pt x="3031997" y="761429"/>
                  </a:lnTo>
                  <a:lnTo>
                    <a:pt x="3032473" y="761906"/>
                  </a:lnTo>
                  <a:lnTo>
                    <a:pt x="3035617" y="758762"/>
                  </a:lnTo>
                  <a:lnTo>
                    <a:pt x="3036189" y="759334"/>
                  </a:lnTo>
                  <a:lnTo>
                    <a:pt x="3039427" y="756095"/>
                  </a:lnTo>
                  <a:lnTo>
                    <a:pt x="3040093" y="756762"/>
                  </a:lnTo>
                  <a:lnTo>
                    <a:pt x="3043808" y="753047"/>
                  </a:lnTo>
                  <a:lnTo>
                    <a:pt x="3044618" y="753857"/>
                  </a:lnTo>
                  <a:lnTo>
                    <a:pt x="3049238" y="749237"/>
                  </a:lnTo>
                  <a:lnTo>
                    <a:pt x="3050333" y="750332"/>
                  </a:lnTo>
                  <a:close/>
                  <a:moveTo>
                    <a:pt x="2709100" y="743427"/>
                  </a:moveTo>
                  <a:cubicBezTo>
                    <a:pt x="2712529" y="743427"/>
                    <a:pt x="2715292" y="746189"/>
                    <a:pt x="2715292" y="749618"/>
                  </a:cubicBezTo>
                  <a:cubicBezTo>
                    <a:pt x="2715292" y="753047"/>
                    <a:pt x="2712529" y="755809"/>
                    <a:pt x="2709100" y="755809"/>
                  </a:cubicBezTo>
                  <a:cubicBezTo>
                    <a:pt x="2705671" y="755809"/>
                    <a:pt x="2702909" y="753047"/>
                    <a:pt x="2702909" y="749618"/>
                  </a:cubicBezTo>
                  <a:cubicBezTo>
                    <a:pt x="2702909" y="746189"/>
                    <a:pt x="2705671" y="743427"/>
                    <a:pt x="2709100" y="743427"/>
                  </a:cubicBezTo>
                  <a:close/>
                  <a:moveTo>
                    <a:pt x="368712" y="742664"/>
                  </a:moveTo>
                  <a:cubicBezTo>
                    <a:pt x="372141" y="742664"/>
                    <a:pt x="374903" y="745426"/>
                    <a:pt x="374903" y="748855"/>
                  </a:cubicBezTo>
                  <a:cubicBezTo>
                    <a:pt x="374903" y="752284"/>
                    <a:pt x="372141" y="755047"/>
                    <a:pt x="368712" y="755047"/>
                  </a:cubicBezTo>
                  <a:cubicBezTo>
                    <a:pt x="365283" y="755047"/>
                    <a:pt x="362521" y="752284"/>
                    <a:pt x="362521" y="748855"/>
                  </a:cubicBezTo>
                  <a:cubicBezTo>
                    <a:pt x="362521" y="745426"/>
                    <a:pt x="365283" y="742664"/>
                    <a:pt x="368712" y="742664"/>
                  </a:cubicBezTo>
                  <a:close/>
                  <a:moveTo>
                    <a:pt x="1090707" y="740855"/>
                  </a:moveTo>
                  <a:cubicBezTo>
                    <a:pt x="1094136" y="740855"/>
                    <a:pt x="1096899" y="743617"/>
                    <a:pt x="1096899" y="747046"/>
                  </a:cubicBezTo>
                  <a:cubicBezTo>
                    <a:pt x="1096899" y="750475"/>
                    <a:pt x="1094136" y="753238"/>
                    <a:pt x="1090707" y="753238"/>
                  </a:cubicBezTo>
                  <a:cubicBezTo>
                    <a:pt x="1087278" y="753238"/>
                    <a:pt x="1084516" y="750475"/>
                    <a:pt x="1084516" y="747046"/>
                  </a:cubicBezTo>
                  <a:cubicBezTo>
                    <a:pt x="1084516" y="743617"/>
                    <a:pt x="1087278" y="740855"/>
                    <a:pt x="1090707" y="740855"/>
                  </a:cubicBezTo>
                  <a:close/>
                  <a:moveTo>
                    <a:pt x="2928080" y="740093"/>
                  </a:moveTo>
                  <a:cubicBezTo>
                    <a:pt x="2931509" y="740093"/>
                    <a:pt x="2934271" y="742855"/>
                    <a:pt x="2934271" y="746284"/>
                  </a:cubicBezTo>
                  <a:cubicBezTo>
                    <a:pt x="2934271" y="749713"/>
                    <a:pt x="2931509" y="752475"/>
                    <a:pt x="2928080" y="752475"/>
                  </a:cubicBezTo>
                  <a:cubicBezTo>
                    <a:pt x="2924651" y="752475"/>
                    <a:pt x="2921889" y="749713"/>
                    <a:pt x="2921889" y="746284"/>
                  </a:cubicBezTo>
                  <a:cubicBezTo>
                    <a:pt x="2921889" y="742855"/>
                    <a:pt x="2924651" y="740093"/>
                    <a:pt x="2928080" y="740093"/>
                  </a:cubicBezTo>
                  <a:close/>
                  <a:moveTo>
                    <a:pt x="291179" y="739998"/>
                  </a:moveTo>
                  <a:lnTo>
                    <a:pt x="295512" y="744332"/>
                  </a:lnTo>
                  <a:lnTo>
                    <a:pt x="296703" y="743141"/>
                  </a:lnTo>
                  <a:lnTo>
                    <a:pt x="300179" y="746618"/>
                  </a:lnTo>
                  <a:lnTo>
                    <a:pt x="301180" y="745617"/>
                  </a:lnTo>
                  <a:lnTo>
                    <a:pt x="304276" y="748712"/>
                  </a:lnTo>
                  <a:lnTo>
                    <a:pt x="305275" y="747713"/>
                  </a:lnTo>
                  <a:lnTo>
                    <a:pt x="308371" y="750809"/>
                  </a:lnTo>
                  <a:lnTo>
                    <a:pt x="309371" y="749808"/>
                  </a:lnTo>
                  <a:lnTo>
                    <a:pt x="313134" y="753570"/>
                  </a:lnTo>
                  <a:lnTo>
                    <a:pt x="314324" y="752380"/>
                  </a:lnTo>
                  <a:lnTo>
                    <a:pt x="319277" y="757333"/>
                  </a:lnTo>
                  <a:lnTo>
                    <a:pt x="320801" y="755809"/>
                  </a:lnTo>
                  <a:cubicBezTo>
                    <a:pt x="324230" y="755809"/>
                    <a:pt x="326993" y="758571"/>
                    <a:pt x="326993" y="762000"/>
                  </a:cubicBezTo>
                  <a:cubicBezTo>
                    <a:pt x="326993" y="765429"/>
                    <a:pt x="324230" y="768192"/>
                    <a:pt x="320801" y="768192"/>
                  </a:cubicBezTo>
                  <a:lnTo>
                    <a:pt x="315848" y="763238"/>
                  </a:lnTo>
                  <a:lnTo>
                    <a:pt x="314324" y="764762"/>
                  </a:lnTo>
                  <a:lnTo>
                    <a:pt x="310562" y="761000"/>
                  </a:lnTo>
                  <a:lnTo>
                    <a:pt x="309371" y="762191"/>
                  </a:lnTo>
                  <a:lnTo>
                    <a:pt x="306276" y="759095"/>
                  </a:lnTo>
                  <a:lnTo>
                    <a:pt x="305275" y="760096"/>
                  </a:lnTo>
                  <a:lnTo>
                    <a:pt x="302180" y="757001"/>
                  </a:lnTo>
                  <a:lnTo>
                    <a:pt x="301180" y="758000"/>
                  </a:lnTo>
                  <a:lnTo>
                    <a:pt x="297703" y="754523"/>
                  </a:lnTo>
                  <a:lnTo>
                    <a:pt x="296703" y="755523"/>
                  </a:lnTo>
                  <a:lnTo>
                    <a:pt x="292370" y="751190"/>
                  </a:lnTo>
                  <a:lnTo>
                    <a:pt x="291179" y="752381"/>
                  </a:lnTo>
                  <a:cubicBezTo>
                    <a:pt x="287750" y="752381"/>
                    <a:pt x="284988" y="749618"/>
                    <a:pt x="284988" y="746189"/>
                  </a:cubicBezTo>
                  <a:cubicBezTo>
                    <a:pt x="284988" y="742760"/>
                    <a:pt x="287750" y="739998"/>
                    <a:pt x="291179" y="739998"/>
                  </a:cubicBezTo>
                  <a:close/>
                  <a:moveTo>
                    <a:pt x="453294" y="739235"/>
                  </a:moveTo>
                  <a:cubicBezTo>
                    <a:pt x="456723" y="739235"/>
                    <a:pt x="459486" y="741997"/>
                    <a:pt x="459486" y="745426"/>
                  </a:cubicBezTo>
                  <a:cubicBezTo>
                    <a:pt x="459486" y="748855"/>
                    <a:pt x="456723" y="751618"/>
                    <a:pt x="453294" y="751618"/>
                  </a:cubicBezTo>
                  <a:cubicBezTo>
                    <a:pt x="449865" y="751618"/>
                    <a:pt x="447103" y="748855"/>
                    <a:pt x="447103" y="745426"/>
                  </a:cubicBezTo>
                  <a:cubicBezTo>
                    <a:pt x="447103" y="741997"/>
                    <a:pt x="449865" y="739235"/>
                    <a:pt x="453294" y="739235"/>
                  </a:cubicBezTo>
                  <a:close/>
                  <a:moveTo>
                    <a:pt x="3064954" y="738474"/>
                  </a:moveTo>
                  <a:cubicBezTo>
                    <a:pt x="3068374" y="738474"/>
                    <a:pt x="3071145" y="741246"/>
                    <a:pt x="3071145" y="744665"/>
                  </a:cubicBezTo>
                  <a:cubicBezTo>
                    <a:pt x="3071145" y="748085"/>
                    <a:pt x="3068374" y="750856"/>
                    <a:pt x="3064954" y="750856"/>
                  </a:cubicBezTo>
                  <a:cubicBezTo>
                    <a:pt x="3061535" y="750856"/>
                    <a:pt x="3058763" y="748085"/>
                    <a:pt x="3058763" y="744665"/>
                  </a:cubicBezTo>
                  <a:cubicBezTo>
                    <a:pt x="3058763" y="741246"/>
                    <a:pt x="3061535" y="738474"/>
                    <a:pt x="3064954" y="738474"/>
                  </a:cubicBezTo>
                  <a:close/>
                  <a:moveTo>
                    <a:pt x="805338" y="738378"/>
                  </a:moveTo>
                  <a:cubicBezTo>
                    <a:pt x="808767" y="738378"/>
                    <a:pt x="811529" y="741140"/>
                    <a:pt x="811529" y="744569"/>
                  </a:cubicBezTo>
                  <a:cubicBezTo>
                    <a:pt x="811529" y="747998"/>
                    <a:pt x="808767" y="750760"/>
                    <a:pt x="805338" y="750760"/>
                  </a:cubicBezTo>
                  <a:cubicBezTo>
                    <a:pt x="801909" y="750760"/>
                    <a:pt x="799147" y="747998"/>
                    <a:pt x="799147" y="744569"/>
                  </a:cubicBezTo>
                  <a:cubicBezTo>
                    <a:pt x="799147" y="741140"/>
                    <a:pt x="801909" y="738378"/>
                    <a:pt x="805338" y="738378"/>
                  </a:cubicBezTo>
                  <a:close/>
                  <a:moveTo>
                    <a:pt x="353662" y="736187"/>
                  </a:moveTo>
                  <a:cubicBezTo>
                    <a:pt x="357091" y="736187"/>
                    <a:pt x="359853" y="738949"/>
                    <a:pt x="359853" y="742378"/>
                  </a:cubicBezTo>
                  <a:cubicBezTo>
                    <a:pt x="359853" y="745807"/>
                    <a:pt x="357091" y="748570"/>
                    <a:pt x="353662" y="748570"/>
                  </a:cubicBezTo>
                  <a:cubicBezTo>
                    <a:pt x="350233" y="748570"/>
                    <a:pt x="347471" y="745807"/>
                    <a:pt x="347471" y="742378"/>
                  </a:cubicBezTo>
                  <a:cubicBezTo>
                    <a:pt x="347471" y="738949"/>
                    <a:pt x="350233" y="736187"/>
                    <a:pt x="353662" y="736187"/>
                  </a:cubicBezTo>
                  <a:close/>
                  <a:moveTo>
                    <a:pt x="2195036" y="732568"/>
                  </a:moveTo>
                  <a:cubicBezTo>
                    <a:pt x="2198465" y="732568"/>
                    <a:pt x="2201228" y="735330"/>
                    <a:pt x="2201228" y="738759"/>
                  </a:cubicBezTo>
                  <a:cubicBezTo>
                    <a:pt x="2201228" y="742188"/>
                    <a:pt x="2198465" y="744950"/>
                    <a:pt x="2195036" y="744950"/>
                  </a:cubicBezTo>
                  <a:cubicBezTo>
                    <a:pt x="2191607" y="744950"/>
                    <a:pt x="2188845" y="742188"/>
                    <a:pt x="2188845" y="738759"/>
                  </a:cubicBezTo>
                  <a:cubicBezTo>
                    <a:pt x="2188845" y="735330"/>
                    <a:pt x="2191607" y="732568"/>
                    <a:pt x="2195036" y="732568"/>
                  </a:cubicBezTo>
                  <a:close/>
                  <a:moveTo>
                    <a:pt x="540543" y="731044"/>
                  </a:moveTo>
                  <a:cubicBezTo>
                    <a:pt x="543972" y="731044"/>
                    <a:pt x="546735" y="733806"/>
                    <a:pt x="546735" y="737235"/>
                  </a:cubicBezTo>
                  <a:cubicBezTo>
                    <a:pt x="546735" y="740664"/>
                    <a:pt x="543972" y="743427"/>
                    <a:pt x="540543" y="743427"/>
                  </a:cubicBezTo>
                  <a:cubicBezTo>
                    <a:pt x="537114" y="743427"/>
                    <a:pt x="534352" y="740664"/>
                    <a:pt x="534352" y="737235"/>
                  </a:cubicBezTo>
                  <a:cubicBezTo>
                    <a:pt x="534352" y="733806"/>
                    <a:pt x="537114" y="731044"/>
                    <a:pt x="540543" y="731044"/>
                  </a:cubicBezTo>
                  <a:close/>
                  <a:moveTo>
                    <a:pt x="2949892" y="730758"/>
                  </a:moveTo>
                  <a:cubicBezTo>
                    <a:pt x="2953321" y="730758"/>
                    <a:pt x="2956084" y="733520"/>
                    <a:pt x="2956084" y="736949"/>
                  </a:cubicBezTo>
                  <a:cubicBezTo>
                    <a:pt x="2956084" y="740378"/>
                    <a:pt x="2953321" y="743141"/>
                    <a:pt x="2949892" y="743141"/>
                  </a:cubicBezTo>
                  <a:cubicBezTo>
                    <a:pt x="2946463" y="743141"/>
                    <a:pt x="2943701" y="740378"/>
                    <a:pt x="2943701" y="736949"/>
                  </a:cubicBezTo>
                  <a:cubicBezTo>
                    <a:pt x="2943701" y="733520"/>
                    <a:pt x="2946463" y="730758"/>
                    <a:pt x="2949892" y="730758"/>
                  </a:cubicBezTo>
                  <a:close/>
                  <a:moveTo>
                    <a:pt x="655891" y="729806"/>
                  </a:moveTo>
                  <a:cubicBezTo>
                    <a:pt x="659320" y="729806"/>
                    <a:pt x="662083" y="732568"/>
                    <a:pt x="662083" y="735997"/>
                  </a:cubicBezTo>
                  <a:cubicBezTo>
                    <a:pt x="662083" y="739426"/>
                    <a:pt x="659320" y="742189"/>
                    <a:pt x="655891" y="742189"/>
                  </a:cubicBezTo>
                  <a:cubicBezTo>
                    <a:pt x="652462" y="742189"/>
                    <a:pt x="649700" y="739426"/>
                    <a:pt x="649700" y="735997"/>
                  </a:cubicBezTo>
                  <a:cubicBezTo>
                    <a:pt x="649700" y="732568"/>
                    <a:pt x="652462" y="729806"/>
                    <a:pt x="655891" y="729806"/>
                  </a:cubicBezTo>
                  <a:close/>
                  <a:moveTo>
                    <a:pt x="3040379" y="728377"/>
                  </a:moveTo>
                  <a:cubicBezTo>
                    <a:pt x="3043808" y="728377"/>
                    <a:pt x="3046571" y="731139"/>
                    <a:pt x="3046571" y="734568"/>
                  </a:cubicBezTo>
                  <a:cubicBezTo>
                    <a:pt x="3046571" y="737997"/>
                    <a:pt x="3043808" y="740760"/>
                    <a:pt x="3040379" y="740760"/>
                  </a:cubicBezTo>
                  <a:lnTo>
                    <a:pt x="3038760" y="739141"/>
                  </a:lnTo>
                  <a:lnTo>
                    <a:pt x="3033616" y="744283"/>
                  </a:lnTo>
                  <a:lnTo>
                    <a:pt x="3032188" y="742855"/>
                  </a:lnTo>
                  <a:lnTo>
                    <a:pt x="3028187" y="746856"/>
                  </a:lnTo>
                  <a:lnTo>
                    <a:pt x="3026806" y="745475"/>
                  </a:lnTo>
                  <a:lnTo>
                    <a:pt x="3023520" y="748760"/>
                  </a:lnTo>
                  <a:lnTo>
                    <a:pt x="3022139" y="747379"/>
                  </a:lnTo>
                  <a:lnTo>
                    <a:pt x="3019139" y="750379"/>
                  </a:lnTo>
                  <a:lnTo>
                    <a:pt x="3017615" y="748855"/>
                  </a:lnTo>
                  <a:lnTo>
                    <a:pt x="3014471" y="751999"/>
                  </a:lnTo>
                  <a:lnTo>
                    <a:pt x="3012709" y="750237"/>
                  </a:lnTo>
                  <a:lnTo>
                    <a:pt x="3008851" y="754095"/>
                  </a:lnTo>
                  <a:lnTo>
                    <a:pt x="3006708" y="751952"/>
                  </a:lnTo>
                  <a:lnTo>
                    <a:pt x="3001517" y="757143"/>
                  </a:lnTo>
                  <a:cubicBezTo>
                    <a:pt x="2998088" y="757143"/>
                    <a:pt x="2995326" y="754380"/>
                    <a:pt x="2995326" y="750951"/>
                  </a:cubicBezTo>
                  <a:cubicBezTo>
                    <a:pt x="2995326" y="747522"/>
                    <a:pt x="2998088" y="744760"/>
                    <a:pt x="3001517" y="744760"/>
                  </a:cubicBezTo>
                  <a:lnTo>
                    <a:pt x="3003660" y="746903"/>
                  </a:lnTo>
                  <a:lnTo>
                    <a:pt x="3008851" y="741712"/>
                  </a:lnTo>
                  <a:lnTo>
                    <a:pt x="3010613" y="743474"/>
                  </a:lnTo>
                  <a:lnTo>
                    <a:pt x="3014471" y="739616"/>
                  </a:lnTo>
                  <a:lnTo>
                    <a:pt x="3015996" y="741141"/>
                  </a:lnTo>
                  <a:lnTo>
                    <a:pt x="3019139" y="737997"/>
                  </a:lnTo>
                  <a:lnTo>
                    <a:pt x="3020520" y="739378"/>
                  </a:lnTo>
                  <a:lnTo>
                    <a:pt x="3023520" y="736378"/>
                  </a:lnTo>
                  <a:lnTo>
                    <a:pt x="3024901" y="737759"/>
                  </a:lnTo>
                  <a:lnTo>
                    <a:pt x="3028187" y="734473"/>
                  </a:lnTo>
                  <a:lnTo>
                    <a:pt x="3029616" y="735902"/>
                  </a:lnTo>
                  <a:lnTo>
                    <a:pt x="3033616" y="731901"/>
                  </a:lnTo>
                  <a:lnTo>
                    <a:pt x="3035236" y="733521"/>
                  </a:lnTo>
                  <a:close/>
                  <a:moveTo>
                    <a:pt x="2490501" y="727520"/>
                  </a:moveTo>
                  <a:cubicBezTo>
                    <a:pt x="2493930" y="727520"/>
                    <a:pt x="2496692" y="730282"/>
                    <a:pt x="2496692" y="733711"/>
                  </a:cubicBezTo>
                  <a:cubicBezTo>
                    <a:pt x="2496692" y="737140"/>
                    <a:pt x="2493930" y="739902"/>
                    <a:pt x="2490501" y="739902"/>
                  </a:cubicBezTo>
                  <a:cubicBezTo>
                    <a:pt x="2487072" y="739902"/>
                    <a:pt x="2484310" y="737140"/>
                    <a:pt x="2484310" y="733711"/>
                  </a:cubicBezTo>
                  <a:cubicBezTo>
                    <a:pt x="2484310" y="730282"/>
                    <a:pt x="2487072" y="727520"/>
                    <a:pt x="2490501" y="727520"/>
                  </a:cubicBezTo>
                  <a:close/>
                  <a:moveTo>
                    <a:pt x="2859595" y="727043"/>
                  </a:moveTo>
                  <a:cubicBezTo>
                    <a:pt x="2863024" y="727043"/>
                    <a:pt x="2865786" y="729805"/>
                    <a:pt x="2865786" y="733234"/>
                  </a:cubicBezTo>
                  <a:cubicBezTo>
                    <a:pt x="2865786" y="736663"/>
                    <a:pt x="2863024" y="739426"/>
                    <a:pt x="2859595" y="739426"/>
                  </a:cubicBezTo>
                  <a:cubicBezTo>
                    <a:pt x="2856166" y="739426"/>
                    <a:pt x="2853404" y="736663"/>
                    <a:pt x="2853404" y="733234"/>
                  </a:cubicBezTo>
                  <a:cubicBezTo>
                    <a:pt x="2853404" y="729805"/>
                    <a:pt x="2856166" y="727043"/>
                    <a:pt x="2859595" y="727043"/>
                  </a:cubicBezTo>
                  <a:close/>
                  <a:moveTo>
                    <a:pt x="422624" y="726186"/>
                  </a:moveTo>
                  <a:cubicBezTo>
                    <a:pt x="426053" y="726186"/>
                    <a:pt x="428815" y="728948"/>
                    <a:pt x="428815" y="732377"/>
                  </a:cubicBezTo>
                  <a:cubicBezTo>
                    <a:pt x="428815" y="735806"/>
                    <a:pt x="426053" y="738568"/>
                    <a:pt x="422624" y="738568"/>
                  </a:cubicBezTo>
                  <a:cubicBezTo>
                    <a:pt x="419195" y="738568"/>
                    <a:pt x="416433" y="735806"/>
                    <a:pt x="416433" y="732377"/>
                  </a:cubicBezTo>
                  <a:cubicBezTo>
                    <a:pt x="416433" y="728948"/>
                    <a:pt x="419195" y="726186"/>
                    <a:pt x="422624" y="726186"/>
                  </a:cubicBezTo>
                  <a:close/>
                  <a:moveTo>
                    <a:pt x="2966465" y="724472"/>
                  </a:moveTo>
                  <a:cubicBezTo>
                    <a:pt x="2969894" y="724472"/>
                    <a:pt x="2972656" y="727234"/>
                    <a:pt x="2972656" y="730663"/>
                  </a:cubicBezTo>
                  <a:cubicBezTo>
                    <a:pt x="2972656" y="734092"/>
                    <a:pt x="2969894" y="736854"/>
                    <a:pt x="2966465" y="736854"/>
                  </a:cubicBezTo>
                  <a:cubicBezTo>
                    <a:pt x="2963036" y="736854"/>
                    <a:pt x="2960274" y="734092"/>
                    <a:pt x="2960274" y="730663"/>
                  </a:cubicBezTo>
                  <a:cubicBezTo>
                    <a:pt x="2960274" y="727234"/>
                    <a:pt x="2963036" y="724472"/>
                    <a:pt x="2966465" y="724472"/>
                  </a:cubicBezTo>
                  <a:close/>
                  <a:moveTo>
                    <a:pt x="1192148" y="723710"/>
                  </a:moveTo>
                  <a:cubicBezTo>
                    <a:pt x="1195577" y="723710"/>
                    <a:pt x="1198339" y="726472"/>
                    <a:pt x="1198339" y="729901"/>
                  </a:cubicBezTo>
                  <a:cubicBezTo>
                    <a:pt x="1198339" y="733330"/>
                    <a:pt x="1195577" y="736092"/>
                    <a:pt x="1192148" y="736092"/>
                  </a:cubicBezTo>
                  <a:cubicBezTo>
                    <a:pt x="1188719" y="736092"/>
                    <a:pt x="1185957" y="733330"/>
                    <a:pt x="1185957" y="729901"/>
                  </a:cubicBezTo>
                  <a:cubicBezTo>
                    <a:pt x="1185957" y="726472"/>
                    <a:pt x="1188719" y="723710"/>
                    <a:pt x="1192148" y="723710"/>
                  </a:cubicBezTo>
                  <a:close/>
                  <a:moveTo>
                    <a:pt x="3048761" y="723614"/>
                  </a:moveTo>
                  <a:cubicBezTo>
                    <a:pt x="3052190" y="723614"/>
                    <a:pt x="3054953" y="726376"/>
                    <a:pt x="3054953" y="729805"/>
                  </a:cubicBezTo>
                  <a:cubicBezTo>
                    <a:pt x="3054953" y="733234"/>
                    <a:pt x="3052190" y="735997"/>
                    <a:pt x="3048761" y="735997"/>
                  </a:cubicBezTo>
                  <a:cubicBezTo>
                    <a:pt x="3045332" y="735997"/>
                    <a:pt x="3042570" y="733234"/>
                    <a:pt x="3042570" y="729805"/>
                  </a:cubicBezTo>
                  <a:cubicBezTo>
                    <a:pt x="3042570" y="726376"/>
                    <a:pt x="3045332" y="723614"/>
                    <a:pt x="3048761" y="723614"/>
                  </a:cubicBezTo>
                  <a:close/>
                  <a:moveTo>
                    <a:pt x="3058953" y="722472"/>
                  </a:moveTo>
                  <a:cubicBezTo>
                    <a:pt x="3059637" y="722472"/>
                    <a:pt x="3060191" y="723026"/>
                    <a:pt x="3060191" y="723710"/>
                  </a:cubicBezTo>
                  <a:cubicBezTo>
                    <a:pt x="3060191" y="724394"/>
                    <a:pt x="3059637" y="724948"/>
                    <a:pt x="3058953" y="724948"/>
                  </a:cubicBezTo>
                  <a:cubicBezTo>
                    <a:pt x="3058269" y="724948"/>
                    <a:pt x="3057715" y="724394"/>
                    <a:pt x="3057715" y="723710"/>
                  </a:cubicBezTo>
                  <a:cubicBezTo>
                    <a:pt x="3057715" y="723026"/>
                    <a:pt x="3058269" y="722472"/>
                    <a:pt x="3058953" y="722472"/>
                  </a:cubicBezTo>
                  <a:close/>
                  <a:moveTo>
                    <a:pt x="300419" y="721900"/>
                  </a:moveTo>
                  <a:lnTo>
                    <a:pt x="303942" y="725424"/>
                  </a:lnTo>
                  <a:lnTo>
                    <a:pt x="307085" y="722281"/>
                  </a:lnTo>
                  <a:lnTo>
                    <a:pt x="310800" y="725996"/>
                  </a:lnTo>
                  <a:lnTo>
                    <a:pt x="312610" y="724186"/>
                  </a:lnTo>
                  <a:lnTo>
                    <a:pt x="315754" y="727329"/>
                  </a:lnTo>
                  <a:lnTo>
                    <a:pt x="317563" y="725520"/>
                  </a:lnTo>
                  <a:lnTo>
                    <a:pt x="320468" y="728425"/>
                  </a:lnTo>
                  <a:lnTo>
                    <a:pt x="322325" y="726567"/>
                  </a:lnTo>
                  <a:lnTo>
                    <a:pt x="325469" y="729710"/>
                  </a:lnTo>
                  <a:lnTo>
                    <a:pt x="327564" y="727615"/>
                  </a:lnTo>
                  <a:lnTo>
                    <a:pt x="331612" y="731663"/>
                  </a:lnTo>
                  <a:lnTo>
                    <a:pt x="334041" y="729234"/>
                  </a:lnTo>
                  <a:lnTo>
                    <a:pt x="339566" y="734758"/>
                  </a:lnTo>
                  <a:lnTo>
                    <a:pt x="342423" y="731901"/>
                  </a:lnTo>
                  <a:cubicBezTo>
                    <a:pt x="345852" y="731901"/>
                    <a:pt x="348614" y="734663"/>
                    <a:pt x="348614" y="738092"/>
                  </a:cubicBezTo>
                  <a:cubicBezTo>
                    <a:pt x="348614" y="741521"/>
                    <a:pt x="345852" y="744283"/>
                    <a:pt x="342423" y="744283"/>
                  </a:cubicBezTo>
                  <a:lnTo>
                    <a:pt x="336899" y="738759"/>
                  </a:lnTo>
                  <a:lnTo>
                    <a:pt x="334041" y="741616"/>
                  </a:lnTo>
                  <a:lnTo>
                    <a:pt x="329993" y="737569"/>
                  </a:lnTo>
                  <a:lnTo>
                    <a:pt x="327564" y="739998"/>
                  </a:lnTo>
                  <a:lnTo>
                    <a:pt x="324421" y="736854"/>
                  </a:lnTo>
                  <a:lnTo>
                    <a:pt x="322325" y="738950"/>
                  </a:lnTo>
                  <a:lnTo>
                    <a:pt x="319420" y="736045"/>
                  </a:lnTo>
                  <a:lnTo>
                    <a:pt x="317563" y="737902"/>
                  </a:lnTo>
                  <a:lnTo>
                    <a:pt x="314420" y="734759"/>
                  </a:lnTo>
                  <a:lnTo>
                    <a:pt x="312610" y="736569"/>
                  </a:lnTo>
                  <a:lnTo>
                    <a:pt x="308895" y="732854"/>
                  </a:lnTo>
                  <a:lnTo>
                    <a:pt x="307085" y="734664"/>
                  </a:lnTo>
                  <a:lnTo>
                    <a:pt x="300990" y="728568"/>
                  </a:lnTo>
                  <a:lnTo>
                    <a:pt x="300419" y="729139"/>
                  </a:lnTo>
                  <a:cubicBezTo>
                    <a:pt x="298420" y="729139"/>
                    <a:pt x="296799" y="727518"/>
                    <a:pt x="296799" y="725520"/>
                  </a:cubicBezTo>
                  <a:cubicBezTo>
                    <a:pt x="296799" y="723521"/>
                    <a:pt x="298420" y="721900"/>
                    <a:pt x="300419" y="721900"/>
                  </a:cubicBezTo>
                  <a:close/>
                  <a:moveTo>
                    <a:pt x="2767583" y="718947"/>
                  </a:moveTo>
                  <a:cubicBezTo>
                    <a:pt x="2771012" y="718947"/>
                    <a:pt x="2773774" y="721709"/>
                    <a:pt x="2773774" y="725138"/>
                  </a:cubicBezTo>
                  <a:cubicBezTo>
                    <a:pt x="2773774" y="728567"/>
                    <a:pt x="2771012" y="731329"/>
                    <a:pt x="2767583" y="731329"/>
                  </a:cubicBezTo>
                  <a:cubicBezTo>
                    <a:pt x="2764154" y="731329"/>
                    <a:pt x="2761392" y="728567"/>
                    <a:pt x="2761392" y="725138"/>
                  </a:cubicBezTo>
                  <a:cubicBezTo>
                    <a:pt x="2761392" y="721709"/>
                    <a:pt x="2764154" y="718947"/>
                    <a:pt x="2767583" y="718947"/>
                  </a:cubicBezTo>
                  <a:close/>
                  <a:moveTo>
                    <a:pt x="2646616" y="718090"/>
                  </a:moveTo>
                  <a:cubicBezTo>
                    <a:pt x="2650045" y="718090"/>
                    <a:pt x="2652808" y="720852"/>
                    <a:pt x="2652808" y="724281"/>
                  </a:cubicBezTo>
                  <a:cubicBezTo>
                    <a:pt x="2652808" y="727710"/>
                    <a:pt x="2650045" y="730473"/>
                    <a:pt x="2646616" y="730473"/>
                  </a:cubicBezTo>
                  <a:cubicBezTo>
                    <a:pt x="2643187" y="730473"/>
                    <a:pt x="2640425" y="727710"/>
                    <a:pt x="2640425" y="724281"/>
                  </a:cubicBezTo>
                  <a:cubicBezTo>
                    <a:pt x="2640425" y="720852"/>
                    <a:pt x="2643187" y="718090"/>
                    <a:pt x="2646616" y="718090"/>
                  </a:cubicBezTo>
                  <a:close/>
                  <a:moveTo>
                    <a:pt x="398621" y="716947"/>
                  </a:moveTo>
                  <a:cubicBezTo>
                    <a:pt x="402050" y="716947"/>
                    <a:pt x="404812" y="719709"/>
                    <a:pt x="404812" y="723138"/>
                  </a:cubicBezTo>
                  <a:cubicBezTo>
                    <a:pt x="404812" y="726567"/>
                    <a:pt x="402050" y="729329"/>
                    <a:pt x="398621" y="729329"/>
                  </a:cubicBezTo>
                  <a:cubicBezTo>
                    <a:pt x="395192" y="729329"/>
                    <a:pt x="392430" y="726567"/>
                    <a:pt x="392430" y="723138"/>
                  </a:cubicBezTo>
                  <a:cubicBezTo>
                    <a:pt x="392430" y="719709"/>
                    <a:pt x="395192" y="716947"/>
                    <a:pt x="398621" y="716947"/>
                  </a:cubicBezTo>
                  <a:close/>
                  <a:moveTo>
                    <a:pt x="2091213" y="716661"/>
                  </a:moveTo>
                  <a:cubicBezTo>
                    <a:pt x="2094642" y="716661"/>
                    <a:pt x="2097405" y="719423"/>
                    <a:pt x="2097405" y="722852"/>
                  </a:cubicBezTo>
                  <a:cubicBezTo>
                    <a:pt x="2097405" y="726281"/>
                    <a:pt x="2094642" y="729043"/>
                    <a:pt x="2091213" y="729043"/>
                  </a:cubicBezTo>
                  <a:cubicBezTo>
                    <a:pt x="2087784" y="729043"/>
                    <a:pt x="2085022" y="726281"/>
                    <a:pt x="2085022" y="722852"/>
                  </a:cubicBezTo>
                  <a:cubicBezTo>
                    <a:pt x="2085022" y="719423"/>
                    <a:pt x="2087784" y="716661"/>
                    <a:pt x="2091213" y="716661"/>
                  </a:cubicBezTo>
                  <a:close/>
                  <a:moveTo>
                    <a:pt x="885062" y="715328"/>
                  </a:moveTo>
                  <a:cubicBezTo>
                    <a:pt x="888491" y="715328"/>
                    <a:pt x="891254" y="718090"/>
                    <a:pt x="891254" y="721519"/>
                  </a:cubicBezTo>
                  <a:cubicBezTo>
                    <a:pt x="891254" y="724948"/>
                    <a:pt x="888491" y="727711"/>
                    <a:pt x="885062" y="727711"/>
                  </a:cubicBezTo>
                  <a:cubicBezTo>
                    <a:pt x="881633" y="727711"/>
                    <a:pt x="878871" y="724948"/>
                    <a:pt x="878871" y="721519"/>
                  </a:cubicBezTo>
                  <a:cubicBezTo>
                    <a:pt x="878871" y="718090"/>
                    <a:pt x="881633" y="715328"/>
                    <a:pt x="885062" y="715328"/>
                  </a:cubicBezTo>
                  <a:close/>
                  <a:moveTo>
                    <a:pt x="2892647" y="713899"/>
                  </a:moveTo>
                  <a:cubicBezTo>
                    <a:pt x="2896076" y="713899"/>
                    <a:pt x="2898838" y="716661"/>
                    <a:pt x="2898838" y="720090"/>
                  </a:cubicBezTo>
                  <a:cubicBezTo>
                    <a:pt x="2898838" y="723519"/>
                    <a:pt x="2896076" y="726281"/>
                    <a:pt x="2892647" y="726281"/>
                  </a:cubicBezTo>
                  <a:cubicBezTo>
                    <a:pt x="2889218" y="726281"/>
                    <a:pt x="2886456" y="723519"/>
                    <a:pt x="2886456" y="720090"/>
                  </a:cubicBezTo>
                  <a:cubicBezTo>
                    <a:pt x="2886456" y="716661"/>
                    <a:pt x="2889218" y="713899"/>
                    <a:pt x="2892647" y="713899"/>
                  </a:cubicBezTo>
                  <a:close/>
                  <a:moveTo>
                    <a:pt x="495776" y="712851"/>
                  </a:moveTo>
                  <a:cubicBezTo>
                    <a:pt x="499205" y="712851"/>
                    <a:pt x="501967" y="715613"/>
                    <a:pt x="501967" y="719042"/>
                  </a:cubicBezTo>
                  <a:cubicBezTo>
                    <a:pt x="501967" y="722471"/>
                    <a:pt x="499205" y="725233"/>
                    <a:pt x="495776" y="725233"/>
                  </a:cubicBezTo>
                  <a:cubicBezTo>
                    <a:pt x="492347" y="725233"/>
                    <a:pt x="489585" y="722471"/>
                    <a:pt x="489585" y="719042"/>
                  </a:cubicBezTo>
                  <a:cubicBezTo>
                    <a:pt x="489585" y="715613"/>
                    <a:pt x="492347" y="712851"/>
                    <a:pt x="495776" y="712851"/>
                  </a:cubicBezTo>
                  <a:close/>
                  <a:moveTo>
                    <a:pt x="380237" y="710946"/>
                  </a:moveTo>
                  <a:cubicBezTo>
                    <a:pt x="383666" y="710946"/>
                    <a:pt x="386428" y="713708"/>
                    <a:pt x="386428" y="717137"/>
                  </a:cubicBezTo>
                  <a:cubicBezTo>
                    <a:pt x="386428" y="720566"/>
                    <a:pt x="383666" y="723329"/>
                    <a:pt x="380237" y="723329"/>
                  </a:cubicBezTo>
                  <a:cubicBezTo>
                    <a:pt x="376808" y="723329"/>
                    <a:pt x="374046" y="720566"/>
                    <a:pt x="374046" y="717137"/>
                  </a:cubicBezTo>
                  <a:cubicBezTo>
                    <a:pt x="374046" y="713708"/>
                    <a:pt x="376808" y="710946"/>
                    <a:pt x="380237" y="710946"/>
                  </a:cubicBezTo>
                  <a:close/>
                  <a:moveTo>
                    <a:pt x="1298542" y="709327"/>
                  </a:moveTo>
                  <a:cubicBezTo>
                    <a:pt x="1301971" y="709327"/>
                    <a:pt x="1304734" y="712089"/>
                    <a:pt x="1304734" y="715518"/>
                  </a:cubicBezTo>
                  <a:cubicBezTo>
                    <a:pt x="1304734" y="718947"/>
                    <a:pt x="1301971" y="721710"/>
                    <a:pt x="1298542" y="721710"/>
                  </a:cubicBezTo>
                  <a:cubicBezTo>
                    <a:pt x="1295113" y="721710"/>
                    <a:pt x="1292351" y="718947"/>
                    <a:pt x="1292351" y="715518"/>
                  </a:cubicBezTo>
                  <a:cubicBezTo>
                    <a:pt x="1292351" y="712089"/>
                    <a:pt x="1295113" y="709327"/>
                    <a:pt x="1298542" y="709327"/>
                  </a:cubicBezTo>
                  <a:close/>
                  <a:moveTo>
                    <a:pt x="3032283" y="707993"/>
                  </a:moveTo>
                  <a:cubicBezTo>
                    <a:pt x="3035712" y="707993"/>
                    <a:pt x="3038474" y="710755"/>
                    <a:pt x="3038474" y="714184"/>
                  </a:cubicBezTo>
                  <a:cubicBezTo>
                    <a:pt x="3038474" y="717613"/>
                    <a:pt x="3035712" y="720376"/>
                    <a:pt x="3032283" y="720376"/>
                  </a:cubicBezTo>
                  <a:lnTo>
                    <a:pt x="3029997" y="718090"/>
                  </a:lnTo>
                  <a:lnTo>
                    <a:pt x="3024187" y="723900"/>
                  </a:lnTo>
                  <a:lnTo>
                    <a:pt x="3021996" y="721710"/>
                  </a:lnTo>
                  <a:lnTo>
                    <a:pt x="3017519" y="726187"/>
                  </a:lnTo>
                  <a:lnTo>
                    <a:pt x="3015375" y="724043"/>
                  </a:lnTo>
                  <a:lnTo>
                    <a:pt x="3011899" y="727520"/>
                  </a:lnTo>
                  <a:lnTo>
                    <a:pt x="3009661" y="725282"/>
                  </a:lnTo>
                  <a:lnTo>
                    <a:pt x="3006661" y="728281"/>
                  </a:lnTo>
                  <a:lnTo>
                    <a:pt x="3004327" y="725948"/>
                  </a:lnTo>
                  <a:lnTo>
                    <a:pt x="3001517" y="728758"/>
                  </a:lnTo>
                  <a:lnTo>
                    <a:pt x="2998898" y="726139"/>
                  </a:lnTo>
                  <a:lnTo>
                    <a:pt x="2995612" y="729425"/>
                  </a:lnTo>
                  <a:lnTo>
                    <a:pt x="2992612" y="726425"/>
                  </a:lnTo>
                  <a:lnTo>
                    <a:pt x="2988373" y="730663"/>
                  </a:lnTo>
                  <a:lnTo>
                    <a:pt x="2984801" y="727091"/>
                  </a:lnTo>
                  <a:lnTo>
                    <a:pt x="2978943" y="732949"/>
                  </a:lnTo>
                  <a:cubicBezTo>
                    <a:pt x="2975514" y="732949"/>
                    <a:pt x="2972752" y="730186"/>
                    <a:pt x="2972752" y="726757"/>
                  </a:cubicBezTo>
                  <a:cubicBezTo>
                    <a:pt x="2972752" y="723328"/>
                    <a:pt x="2975514" y="720566"/>
                    <a:pt x="2978943" y="720566"/>
                  </a:cubicBezTo>
                  <a:lnTo>
                    <a:pt x="2982515" y="724139"/>
                  </a:lnTo>
                  <a:lnTo>
                    <a:pt x="2988373" y="718281"/>
                  </a:lnTo>
                  <a:lnTo>
                    <a:pt x="2991373" y="721281"/>
                  </a:lnTo>
                  <a:lnTo>
                    <a:pt x="2995612" y="717042"/>
                  </a:lnTo>
                  <a:lnTo>
                    <a:pt x="2998231" y="719661"/>
                  </a:lnTo>
                  <a:lnTo>
                    <a:pt x="3001517" y="716375"/>
                  </a:lnTo>
                  <a:lnTo>
                    <a:pt x="3003851" y="718709"/>
                  </a:lnTo>
                  <a:lnTo>
                    <a:pt x="3006661" y="715899"/>
                  </a:lnTo>
                  <a:lnTo>
                    <a:pt x="3008899" y="718137"/>
                  </a:lnTo>
                  <a:lnTo>
                    <a:pt x="3011899" y="715137"/>
                  </a:lnTo>
                  <a:lnTo>
                    <a:pt x="3014043" y="717281"/>
                  </a:lnTo>
                  <a:lnTo>
                    <a:pt x="3017519" y="713804"/>
                  </a:lnTo>
                  <a:lnTo>
                    <a:pt x="3019710" y="715995"/>
                  </a:lnTo>
                  <a:lnTo>
                    <a:pt x="3024187" y="711518"/>
                  </a:lnTo>
                  <a:lnTo>
                    <a:pt x="3026473" y="713804"/>
                  </a:lnTo>
                  <a:close/>
                  <a:moveTo>
                    <a:pt x="366140" y="707231"/>
                  </a:moveTo>
                  <a:cubicBezTo>
                    <a:pt x="369569" y="707231"/>
                    <a:pt x="372331" y="709993"/>
                    <a:pt x="372331" y="713422"/>
                  </a:cubicBezTo>
                  <a:cubicBezTo>
                    <a:pt x="372331" y="716851"/>
                    <a:pt x="369569" y="719614"/>
                    <a:pt x="366140" y="719614"/>
                  </a:cubicBezTo>
                  <a:cubicBezTo>
                    <a:pt x="362711" y="719614"/>
                    <a:pt x="359949" y="716851"/>
                    <a:pt x="359949" y="713422"/>
                  </a:cubicBezTo>
                  <a:cubicBezTo>
                    <a:pt x="359949" y="709993"/>
                    <a:pt x="362711" y="707231"/>
                    <a:pt x="366140" y="707231"/>
                  </a:cubicBezTo>
                  <a:close/>
                  <a:moveTo>
                    <a:pt x="2408110" y="704946"/>
                  </a:moveTo>
                  <a:cubicBezTo>
                    <a:pt x="2411539" y="704946"/>
                    <a:pt x="2414302" y="707708"/>
                    <a:pt x="2414302" y="711137"/>
                  </a:cubicBezTo>
                  <a:cubicBezTo>
                    <a:pt x="2414302" y="714566"/>
                    <a:pt x="2411539" y="717329"/>
                    <a:pt x="2408110" y="717329"/>
                  </a:cubicBezTo>
                  <a:cubicBezTo>
                    <a:pt x="2404681" y="717329"/>
                    <a:pt x="2401919" y="714566"/>
                    <a:pt x="2401919" y="711137"/>
                  </a:cubicBezTo>
                  <a:cubicBezTo>
                    <a:pt x="2401919" y="707708"/>
                    <a:pt x="2404681" y="704946"/>
                    <a:pt x="2408110" y="704946"/>
                  </a:cubicBezTo>
                  <a:close/>
                  <a:moveTo>
                    <a:pt x="593407" y="704946"/>
                  </a:moveTo>
                  <a:cubicBezTo>
                    <a:pt x="596836" y="704946"/>
                    <a:pt x="599598" y="707708"/>
                    <a:pt x="599598" y="711137"/>
                  </a:cubicBezTo>
                  <a:cubicBezTo>
                    <a:pt x="599598" y="714566"/>
                    <a:pt x="596836" y="717329"/>
                    <a:pt x="593407" y="717329"/>
                  </a:cubicBezTo>
                  <a:cubicBezTo>
                    <a:pt x="589978" y="717329"/>
                    <a:pt x="587216" y="714566"/>
                    <a:pt x="587216" y="711137"/>
                  </a:cubicBezTo>
                  <a:cubicBezTo>
                    <a:pt x="587216" y="707708"/>
                    <a:pt x="589978" y="704946"/>
                    <a:pt x="593407" y="704946"/>
                  </a:cubicBezTo>
                  <a:close/>
                  <a:moveTo>
                    <a:pt x="2918650" y="704850"/>
                  </a:moveTo>
                  <a:cubicBezTo>
                    <a:pt x="2922079" y="704850"/>
                    <a:pt x="2924842" y="707612"/>
                    <a:pt x="2924842" y="711041"/>
                  </a:cubicBezTo>
                  <a:cubicBezTo>
                    <a:pt x="2924842" y="714470"/>
                    <a:pt x="2922079" y="717233"/>
                    <a:pt x="2918650" y="717233"/>
                  </a:cubicBezTo>
                  <a:cubicBezTo>
                    <a:pt x="2915221" y="717233"/>
                    <a:pt x="2912459" y="714470"/>
                    <a:pt x="2912459" y="711041"/>
                  </a:cubicBezTo>
                  <a:cubicBezTo>
                    <a:pt x="2912459" y="707612"/>
                    <a:pt x="2915221" y="704850"/>
                    <a:pt x="2918650" y="704850"/>
                  </a:cubicBezTo>
                  <a:close/>
                  <a:moveTo>
                    <a:pt x="721232" y="704660"/>
                  </a:moveTo>
                  <a:cubicBezTo>
                    <a:pt x="724661" y="704660"/>
                    <a:pt x="727424" y="707422"/>
                    <a:pt x="727424" y="710851"/>
                  </a:cubicBezTo>
                  <a:cubicBezTo>
                    <a:pt x="727424" y="714280"/>
                    <a:pt x="724661" y="717042"/>
                    <a:pt x="721232" y="717042"/>
                  </a:cubicBezTo>
                  <a:cubicBezTo>
                    <a:pt x="717803" y="717042"/>
                    <a:pt x="715041" y="714280"/>
                    <a:pt x="715041" y="710851"/>
                  </a:cubicBezTo>
                  <a:cubicBezTo>
                    <a:pt x="715041" y="707422"/>
                    <a:pt x="717803" y="704660"/>
                    <a:pt x="721232" y="704660"/>
                  </a:cubicBezTo>
                  <a:close/>
                  <a:moveTo>
                    <a:pt x="1982628" y="703707"/>
                  </a:moveTo>
                  <a:cubicBezTo>
                    <a:pt x="1986057" y="703707"/>
                    <a:pt x="1988820" y="706469"/>
                    <a:pt x="1988820" y="709898"/>
                  </a:cubicBezTo>
                  <a:cubicBezTo>
                    <a:pt x="1988820" y="713327"/>
                    <a:pt x="1986057" y="716089"/>
                    <a:pt x="1982628" y="716089"/>
                  </a:cubicBezTo>
                  <a:cubicBezTo>
                    <a:pt x="1979199" y="716089"/>
                    <a:pt x="1976437" y="713327"/>
                    <a:pt x="1976437" y="709898"/>
                  </a:cubicBezTo>
                  <a:cubicBezTo>
                    <a:pt x="1976437" y="706469"/>
                    <a:pt x="1979199" y="703707"/>
                    <a:pt x="1982628" y="703707"/>
                  </a:cubicBezTo>
                  <a:close/>
                  <a:moveTo>
                    <a:pt x="3042094" y="703421"/>
                  </a:moveTo>
                  <a:cubicBezTo>
                    <a:pt x="3045428" y="703421"/>
                    <a:pt x="3048095" y="706088"/>
                    <a:pt x="3048095" y="709422"/>
                  </a:cubicBezTo>
                  <a:cubicBezTo>
                    <a:pt x="3048095" y="712756"/>
                    <a:pt x="3045428" y="715423"/>
                    <a:pt x="3042094" y="715423"/>
                  </a:cubicBezTo>
                  <a:cubicBezTo>
                    <a:pt x="3038760" y="715423"/>
                    <a:pt x="3036093" y="712756"/>
                    <a:pt x="3036093" y="709422"/>
                  </a:cubicBezTo>
                  <a:cubicBezTo>
                    <a:pt x="3036093" y="706088"/>
                    <a:pt x="3038760" y="703421"/>
                    <a:pt x="3042094" y="703421"/>
                  </a:cubicBezTo>
                  <a:close/>
                  <a:moveTo>
                    <a:pt x="316801" y="702183"/>
                  </a:moveTo>
                  <a:lnTo>
                    <a:pt x="320944" y="706326"/>
                  </a:lnTo>
                  <a:lnTo>
                    <a:pt x="323468" y="703802"/>
                  </a:lnTo>
                  <a:lnTo>
                    <a:pt x="326802" y="707136"/>
                  </a:lnTo>
                  <a:lnTo>
                    <a:pt x="329374" y="704564"/>
                  </a:lnTo>
                  <a:lnTo>
                    <a:pt x="332184" y="707374"/>
                  </a:lnTo>
                  <a:lnTo>
                    <a:pt x="334898" y="704660"/>
                  </a:lnTo>
                  <a:lnTo>
                    <a:pt x="337708" y="707470"/>
                  </a:lnTo>
                  <a:lnTo>
                    <a:pt x="340613" y="704564"/>
                  </a:lnTo>
                  <a:lnTo>
                    <a:pt x="343947" y="707898"/>
                  </a:lnTo>
                  <a:lnTo>
                    <a:pt x="347185" y="704660"/>
                  </a:lnTo>
                  <a:lnTo>
                    <a:pt x="351709" y="709185"/>
                  </a:lnTo>
                  <a:lnTo>
                    <a:pt x="355472" y="705422"/>
                  </a:lnTo>
                  <a:cubicBezTo>
                    <a:pt x="358901" y="705422"/>
                    <a:pt x="361664" y="708184"/>
                    <a:pt x="361664" y="711613"/>
                  </a:cubicBezTo>
                  <a:cubicBezTo>
                    <a:pt x="361664" y="715042"/>
                    <a:pt x="358901" y="717804"/>
                    <a:pt x="355472" y="717804"/>
                  </a:cubicBezTo>
                  <a:lnTo>
                    <a:pt x="350947" y="713280"/>
                  </a:lnTo>
                  <a:lnTo>
                    <a:pt x="347185" y="717042"/>
                  </a:lnTo>
                  <a:lnTo>
                    <a:pt x="343851" y="713708"/>
                  </a:lnTo>
                  <a:lnTo>
                    <a:pt x="340613" y="716947"/>
                  </a:lnTo>
                  <a:lnTo>
                    <a:pt x="337803" y="714137"/>
                  </a:lnTo>
                  <a:lnTo>
                    <a:pt x="334898" y="717042"/>
                  </a:lnTo>
                  <a:lnTo>
                    <a:pt x="332088" y="714233"/>
                  </a:lnTo>
                  <a:lnTo>
                    <a:pt x="329374" y="716947"/>
                  </a:lnTo>
                  <a:lnTo>
                    <a:pt x="326040" y="713613"/>
                  </a:lnTo>
                  <a:lnTo>
                    <a:pt x="323468" y="716185"/>
                  </a:lnTo>
                  <a:lnTo>
                    <a:pt x="319325" y="712042"/>
                  </a:lnTo>
                  <a:lnTo>
                    <a:pt x="316801" y="714566"/>
                  </a:lnTo>
                  <a:cubicBezTo>
                    <a:pt x="313372" y="714566"/>
                    <a:pt x="310610" y="711803"/>
                    <a:pt x="310610" y="708374"/>
                  </a:cubicBezTo>
                  <a:cubicBezTo>
                    <a:pt x="310610" y="704945"/>
                    <a:pt x="313372" y="702183"/>
                    <a:pt x="316801" y="702183"/>
                  </a:cubicBezTo>
                  <a:close/>
                  <a:moveTo>
                    <a:pt x="2815304" y="700564"/>
                  </a:moveTo>
                  <a:cubicBezTo>
                    <a:pt x="2818733" y="700564"/>
                    <a:pt x="2821495" y="703326"/>
                    <a:pt x="2821495" y="706755"/>
                  </a:cubicBezTo>
                  <a:cubicBezTo>
                    <a:pt x="2821495" y="710184"/>
                    <a:pt x="2818733" y="712946"/>
                    <a:pt x="2815304" y="712946"/>
                  </a:cubicBezTo>
                  <a:cubicBezTo>
                    <a:pt x="2811875" y="712946"/>
                    <a:pt x="2809113" y="710184"/>
                    <a:pt x="2809113" y="706755"/>
                  </a:cubicBezTo>
                  <a:cubicBezTo>
                    <a:pt x="2809113" y="703326"/>
                    <a:pt x="2811875" y="700564"/>
                    <a:pt x="2815304" y="700564"/>
                  </a:cubicBezTo>
                  <a:close/>
                  <a:moveTo>
                    <a:pt x="459866" y="699707"/>
                  </a:moveTo>
                  <a:cubicBezTo>
                    <a:pt x="463295" y="699707"/>
                    <a:pt x="466057" y="702469"/>
                    <a:pt x="466057" y="705898"/>
                  </a:cubicBezTo>
                  <a:cubicBezTo>
                    <a:pt x="466057" y="709327"/>
                    <a:pt x="463295" y="712090"/>
                    <a:pt x="459866" y="712090"/>
                  </a:cubicBezTo>
                  <a:cubicBezTo>
                    <a:pt x="456437" y="712090"/>
                    <a:pt x="453675" y="709327"/>
                    <a:pt x="453675" y="705898"/>
                  </a:cubicBezTo>
                  <a:cubicBezTo>
                    <a:pt x="453675" y="702469"/>
                    <a:pt x="456437" y="699707"/>
                    <a:pt x="459866" y="699707"/>
                  </a:cubicBezTo>
                  <a:close/>
                  <a:moveTo>
                    <a:pt x="2938843" y="699040"/>
                  </a:moveTo>
                  <a:cubicBezTo>
                    <a:pt x="2942272" y="699040"/>
                    <a:pt x="2945034" y="701802"/>
                    <a:pt x="2945034" y="705231"/>
                  </a:cubicBezTo>
                  <a:cubicBezTo>
                    <a:pt x="2945034" y="708660"/>
                    <a:pt x="2942272" y="711423"/>
                    <a:pt x="2938843" y="711423"/>
                  </a:cubicBezTo>
                  <a:cubicBezTo>
                    <a:pt x="2935414" y="711423"/>
                    <a:pt x="2932652" y="708660"/>
                    <a:pt x="2932652" y="705231"/>
                  </a:cubicBezTo>
                  <a:cubicBezTo>
                    <a:pt x="2932652" y="701802"/>
                    <a:pt x="2935414" y="699040"/>
                    <a:pt x="2938843" y="699040"/>
                  </a:cubicBezTo>
                  <a:close/>
                  <a:moveTo>
                    <a:pt x="1409318" y="698183"/>
                  </a:moveTo>
                  <a:cubicBezTo>
                    <a:pt x="1412747" y="698183"/>
                    <a:pt x="1415510" y="700945"/>
                    <a:pt x="1415510" y="704374"/>
                  </a:cubicBezTo>
                  <a:cubicBezTo>
                    <a:pt x="1415510" y="707803"/>
                    <a:pt x="1412747" y="710565"/>
                    <a:pt x="1409318" y="710565"/>
                  </a:cubicBezTo>
                  <a:cubicBezTo>
                    <a:pt x="1405889" y="710565"/>
                    <a:pt x="1403127" y="707803"/>
                    <a:pt x="1403127" y="704374"/>
                  </a:cubicBezTo>
                  <a:cubicBezTo>
                    <a:pt x="1403127" y="700945"/>
                    <a:pt x="1405889" y="698183"/>
                    <a:pt x="1409318" y="698183"/>
                  </a:cubicBezTo>
                  <a:close/>
                  <a:moveTo>
                    <a:pt x="2954273" y="695611"/>
                  </a:moveTo>
                  <a:cubicBezTo>
                    <a:pt x="2957702" y="695611"/>
                    <a:pt x="2960464" y="698373"/>
                    <a:pt x="2960464" y="701802"/>
                  </a:cubicBezTo>
                  <a:cubicBezTo>
                    <a:pt x="2960464" y="705231"/>
                    <a:pt x="2957702" y="707994"/>
                    <a:pt x="2954273" y="707994"/>
                  </a:cubicBezTo>
                  <a:cubicBezTo>
                    <a:pt x="2950844" y="707994"/>
                    <a:pt x="2948082" y="705231"/>
                    <a:pt x="2948082" y="701802"/>
                  </a:cubicBezTo>
                  <a:cubicBezTo>
                    <a:pt x="2948082" y="698373"/>
                    <a:pt x="2950844" y="695611"/>
                    <a:pt x="2954273" y="695611"/>
                  </a:cubicBezTo>
                  <a:close/>
                  <a:moveTo>
                    <a:pt x="1870233" y="694277"/>
                  </a:moveTo>
                  <a:cubicBezTo>
                    <a:pt x="1873662" y="694277"/>
                    <a:pt x="1876425" y="697039"/>
                    <a:pt x="1876425" y="700468"/>
                  </a:cubicBezTo>
                  <a:cubicBezTo>
                    <a:pt x="1876425" y="703897"/>
                    <a:pt x="1873662" y="706660"/>
                    <a:pt x="1870233" y="706660"/>
                  </a:cubicBezTo>
                  <a:cubicBezTo>
                    <a:pt x="1866804" y="706660"/>
                    <a:pt x="1864042" y="703897"/>
                    <a:pt x="1864042" y="700468"/>
                  </a:cubicBezTo>
                  <a:cubicBezTo>
                    <a:pt x="1864042" y="697039"/>
                    <a:pt x="1866804" y="694277"/>
                    <a:pt x="1870233" y="694277"/>
                  </a:cubicBezTo>
                  <a:close/>
                  <a:moveTo>
                    <a:pt x="970501" y="693420"/>
                  </a:moveTo>
                  <a:cubicBezTo>
                    <a:pt x="973930" y="693420"/>
                    <a:pt x="976693" y="696182"/>
                    <a:pt x="976693" y="699611"/>
                  </a:cubicBezTo>
                  <a:cubicBezTo>
                    <a:pt x="976693" y="703040"/>
                    <a:pt x="973930" y="705802"/>
                    <a:pt x="970501" y="705802"/>
                  </a:cubicBezTo>
                  <a:cubicBezTo>
                    <a:pt x="967072" y="705802"/>
                    <a:pt x="964310" y="703040"/>
                    <a:pt x="964310" y="699611"/>
                  </a:cubicBezTo>
                  <a:cubicBezTo>
                    <a:pt x="964310" y="696182"/>
                    <a:pt x="967072" y="693420"/>
                    <a:pt x="970501" y="693420"/>
                  </a:cubicBezTo>
                  <a:close/>
                  <a:moveTo>
                    <a:pt x="2578893" y="693135"/>
                  </a:moveTo>
                  <a:cubicBezTo>
                    <a:pt x="2582322" y="693135"/>
                    <a:pt x="2585084" y="695897"/>
                    <a:pt x="2585084" y="699326"/>
                  </a:cubicBezTo>
                  <a:cubicBezTo>
                    <a:pt x="2585084" y="702755"/>
                    <a:pt x="2582322" y="705517"/>
                    <a:pt x="2578893" y="705517"/>
                  </a:cubicBezTo>
                  <a:cubicBezTo>
                    <a:pt x="2575464" y="705517"/>
                    <a:pt x="2572702" y="702755"/>
                    <a:pt x="2572702" y="699326"/>
                  </a:cubicBezTo>
                  <a:cubicBezTo>
                    <a:pt x="2572702" y="695897"/>
                    <a:pt x="2575464" y="693135"/>
                    <a:pt x="2578893" y="693135"/>
                  </a:cubicBezTo>
                  <a:close/>
                  <a:moveTo>
                    <a:pt x="2712624" y="692754"/>
                  </a:moveTo>
                  <a:cubicBezTo>
                    <a:pt x="2716053" y="692754"/>
                    <a:pt x="2718815" y="695516"/>
                    <a:pt x="2718815" y="698945"/>
                  </a:cubicBezTo>
                  <a:cubicBezTo>
                    <a:pt x="2718815" y="702374"/>
                    <a:pt x="2716053" y="705136"/>
                    <a:pt x="2712624" y="705136"/>
                  </a:cubicBezTo>
                  <a:cubicBezTo>
                    <a:pt x="2709195" y="705136"/>
                    <a:pt x="2706433" y="702374"/>
                    <a:pt x="2706433" y="698945"/>
                  </a:cubicBezTo>
                  <a:cubicBezTo>
                    <a:pt x="2706433" y="695516"/>
                    <a:pt x="2709195" y="692754"/>
                    <a:pt x="2712624" y="692754"/>
                  </a:cubicBezTo>
                  <a:close/>
                  <a:moveTo>
                    <a:pt x="3015519" y="691706"/>
                  </a:moveTo>
                  <a:cubicBezTo>
                    <a:pt x="3018948" y="691706"/>
                    <a:pt x="3021710" y="694468"/>
                    <a:pt x="3021710" y="697897"/>
                  </a:cubicBezTo>
                  <a:cubicBezTo>
                    <a:pt x="3021710" y="701326"/>
                    <a:pt x="3018948" y="704089"/>
                    <a:pt x="3015519" y="704089"/>
                  </a:cubicBezTo>
                  <a:lnTo>
                    <a:pt x="3012661" y="701231"/>
                  </a:lnTo>
                  <a:lnTo>
                    <a:pt x="3007613" y="706279"/>
                  </a:lnTo>
                  <a:lnTo>
                    <a:pt x="3004756" y="703422"/>
                  </a:lnTo>
                  <a:lnTo>
                    <a:pt x="3000850" y="707327"/>
                  </a:lnTo>
                  <a:lnTo>
                    <a:pt x="2997898" y="704375"/>
                  </a:lnTo>
                  <a:lnTo>
                    <a:pt x="2994755" y="707517"/>
                  </a:lnTo>
                  <a:lnTo>
                    <a:pt x="2991660" y="704422"/>
                  </a:lnTo>
                  <a:lnTo>
                    <a:pt x="2988944" y="707137"/>
                  </a:lnTo>
                  <a:lnTo>
                    <a:pt x="2985515" y="703708"/>
                  </a:lnTo>
                  <a:lnTo>
                    <a:pt x="2982658" y="706564"/>
                  </a:lnTo>
                  <a:lnTo>
                    <a:pt x="2978801" y="702707"/>
                  </a:lnTo>
                  <a:lnTo>
                    <a:pt x="2975324" y="706183"/>
                  </a:lnTo>
                  <a:lnTo>
                    <a:pt x="2970847" y="701706"/>
                  </a:lnTo>
                  <a:lnTo>
                    <a:pt x="2966084" y="706470"/>
                  </a:lnTo>
                  <a:cubicBezTo>
                    <a:pt x="2962655" y="706470"/>
                    <a:pt x="2959893" y="703707"/>
                    <a:pt x="2959893" y="700278"/>
                  </a:cubicBezTo>
                  <a:cubicBezTo>
                    <a:pt x="2959893" y="696849"/>
                    <a:pt x="2962655" y="694087"/>
                    <a:pt x="2966084" y="694087"/>
                  </a:cubicBezTo>
                  <a:lnTo>
                    <a:pt x="2970561" y="698564"/>
                  </a:lnTo>
                  <a:lnTo>
                    <a:pt x="2975324" y="693801"/>
                  </a:lnTo>
                  <a:lnTo>
                    <a:pt x="2979182" y="697659"/>
                  </a:lnTo>
                  <a:lnTo>
                    <a:pt x="2982658" y="694182"/>
                  </a:lnTo>
                  <a:lnTo>
                    <a:pt x="2986087" y="697611"/>
                  </a:lnTo>
                  <a:lnTo>
                    <a:pt x="2988944" y="694754"/>
                  </a:lnTo>
                  <a:lnTo>
                    <a:pt x="2992040" y="697850"/>
                  </a:lnTo>
                  <a:lnTo>
                    <a:pt x="2994755" y="695135"/>
                  </a:lnTo>
                  <a:lnTo>
                    <a:pt x="2997707" y="698087"/>
                  </a:lnTo>
                  <a:lnTo>
                    <a:pt x="3000850" y="694944"/>
                  </a:lnTo>
                  <a:lnTo>
                    <a:pt x="3003708" y="697802"/>
                  </a:lnTo>
                  <a:lnTo>
                    <a:pt x="3007613" y="693896"/>
                  </a:lnTo>
                  <a:lnTo>
                    <a:pt x="3010471" y="696754"/>
                  </a:lnTo>
                  <a:close/>
                  <a:moveTo>
                    <a:pt x="1523237" y="690848"/>
                  </a:moveTo>
                  <a:cubicBezTo>
                    <a:pt x="1526666" y="690848"/>
                    <a:pt x="1529429" y="693610"/>
                    <a:pt x="1529429" y="697039"/>
                  </a:cubicBezTo>
                  <a:cubicBezTo>
                    <a:pt x="1529429" y="700468"/>
                    <a:pt x="1526666" y="703231"/>
                    <a:pt x="1523237" y="703231"/>
                  </a:cubicBezTo>
                  <a:cubicBezTo>
                    <a:pt x="1519808" y="703231"/>
                    <a:pt x="1517046" y="700468"/>
                    <a:pt x="1517046" y="697039"/>
                  </a:cubicBezTo>
                  <a:cubicBezTo>
                    <a:pt x="1517046" y="693610"/>
                    <a:pt x="1519808" y="690848"/>
                    <a:pt x="1523237" y="690848"/>
                  </a:cubicBezTo>
                  <a:close/>
                  <a:moveTo>
                    <a:pt x="431482" y="690753"/>
                  </a:moveTo>
                  <a:cubicBezTo>
                    <a:pt x="434911" y="690753"/>
                    <a:pt x="437673" y="693515"/>
                    <a:pt x="437673" y="696944"/>
                  </a:cubicBezTo>
                  <a:cubicBezTo>
                    <a:pt x="437673" y="700373"/>
                    <a:pt x="434911" y="703135"/>
                    <a:pt x="431482" y="703135"/>
                  </a:cubicBezTo>
                  <a:cubicBezTo>
                    <a:pt x="428053" y="703135"/>
                    <a:pt x="425291" y="700373"/>
                    <a:pt x="425291" y="696944"/>
                  </a:cubicBezTo>
                  <a:cubicBezTo>
                    <a:pt x="425291" y="693515"/>
                    <a:pt x="428053" y="690753"/>
                    <a:pt x="431482" y="690753"/>
                  </a:cubicBezTo>
                  <a:close/>
                  <a:moveTo>
                    <a:pt x="3036284" y="688848"/>
                  </a:moveTo>
                  <a:cubicBezTo>
                    <a:pt x="3036474" y="688848"/>
                    <a:pt x="3036665" y="689039"/>
                    <a:pt x="3036665" y="689229"/>
                  </a:cubicBezTo>
                  <a:cubicBezTo>
                    <a:pt x="3036665" y="689420"/>
                    <a:pt x="3036284" y="689610"/>
                    <a:pt x="3036284" y="689610"/>
                  </a:cubicBezTo>
                  <a:cubicBezTo>
                    <a:pt x="3036093" y="689610"/>
                    <a:pt x="3035903" y="689420"/>
                    <a:pt x="3035903" y="689229"/>
                  </a:cubicBezTo>
                  <a:cubicBezTo>
                    <a:pt x="3035903" y="689039"/>
                    <a:pt x="3036093" y="688848"/>
                    <a:pt x="3036284" y="688848"/>
                  </a:cubicBezTo>
                  <a:close/>
                  <a:moveTo>
                    <a:pt x="1755266" y="688848"/>
                  </a:moveTo>
                  <a:cubicBezTo>
                    <a:pt x="1758695" y="688848"/>
                    <a:pt x="1761457" y="691610"/>
                    <a:pt x="1761457" y="695039"/>
                  </a:cubicBezTo>
                  <a:cubicBezTo>
                    <a:pt x="1761457" y="698468"/>
                    <a:pt x="1758695" y="701231"/>
                    <a:pt x="1755266" y="701231"/>
                  </a:cubicBezTo>
                  <a:cubicBezTo>
                    <a:pt x="1751837" y="701231"/>
                    <a:pt x="1749075" y="698468"/>
                    <a:pt x="1749075" y="695039"/>
                  </a:cubicBezTo>
                  <a:cubicBezTo>
                    <a:pt x="1749075" y="691610"/>
                    <a:pt x="1751837" y="688848"/>
                    <a:pt x="1755266" y="688848"/>
                  </a:cubicBezTo>
                  <a:close/>
                  <a:moveTo>
                    <a:pt x="3025044" y="688181"/>
                  </a:moveTo>
                  <a:cubicBezTo>
                    <a:pt x="3028473" y="688181"/>
                    <a:pt x="3031235" y="690943"/>
                    <a:pt x="3031235" y="694372"/>
                  </a:cubicBezTo>
                  <a:cubicBezTo>
                    <a:pt x="3031235" y="697801"/>
                    <a:pt x="3028473" y="700564"/>
                    <a:pt x="3025044" y="700564"/>
                  </a:cubicBezTo>
                  <a:cubicBezTo>
                    <a:pt x="3021615" y="700564"/>
                    <a:pt x="3018853" y="697801"/>
                    <a:pt x="3018853" y="694372"/>
                  </a:cubicBezTo>
                  <a:cubicBezTo>
                    <a:pt x="3018853" y="690943"/>
                    <a:pt x="3021615" y="688181"/>
                    <a:pt x="3025044" y="688181"/>
                  </a:cubicBezTo>
                  <a:close/>
                  <a:moveTo>
                    <a:pt x="1639061" y="687705"/>
                  </a:moveTo>
                  <a:cubicBezTo>
                    <a:pt x="1642490" y="687705"/>
                    <a:pt x="1645253" y="690467"/>
                    <a:pt x="1645253" y="693896"/>
                  </a:cubicBezTo>
                  <a:cubicBezTo>
                    <a:pt x="1645253" y="697325"/>
                    <a:pt x="1642490" y="700087"/>
                    <a:pt x="1639061" y="700087"/>
                  </a:cubicBezTo>
                  <a:cubicBezTo>
                    <a:pt x="1635632" y="700087"/>
                    <a:pt x="1632870" y="697325"/>
                    <a:pt x="1632870" y="693896"/>
                  </a:cubicBezTo>
                  <a:cubicBezTo>
                    <a:pt x="1632870" y="690467"/>
                    <a:pt x="1635632" y="687705"/>
                    <a:pt x="1639061" y="687705"/>
                  </a:cubicBezTo>
                  <a:close/>
                  <a:moveTo>
                    <a:pt x="2853784" y="687420"/>
                  </a:moveTo>
                  <a:cubicBezTo>
                    <a:pt x="2857213" y="687420"/>
                    <a:pt x="2859976" y="690182"/>
                    <a:pt x="2859976" y="693611"/>
                  </a:cubicBezTo>
                  <a:cubicBezTo>
                    <a:pt x="2859976" y="697040"/>
                    <a:pt x="2857213" y="699802"/>
                    <a:pt x="2853784" y="699802"/>
                  </a:cubicBezTo>
                  <a:cubicBezTo>
                    <a:pt x="2850355" y="699802"/>
                    <a:pt x="2847593" y="697040"/>
                    <a:pt x="2847593" y="693611"/>
                  </a:cubicBezTo>
                  <a:cubicBezTo>
                    <a:pt x="2847593" y="690182"/>
                    <a:pt x="2850355" y="687420"/>
                    <a:pt x="2853784" y="687420"/>
                  </a:cubicBezTo>
                  <a:close/>
                  <a:moveTo>
                    <a:pt x="325659" y="686467"/>
                  </a:moveTo>
                  <a:cubicBezTo>
                    <a:pt x="326974" y="686467"/>
                    <a:pt x="328040" y="687533"/>
                    <a:pt x="328040" y="688848"/>
                  </a:cubicBezTo>
                  <a:cubicBezTo>
                    <a:pt x="328040" y="690163"/>
                    <a:pt x="326974" y="691229"/>
                    <a:pt x="325659" y="691229"/>
                  </a:cubicBezTo>
                  <a:cubicBezTo>
                    <a:pt x="324344" y="691229"/>
                    <a:pt x="323278" y="690163"/>
                    <a:pt x="323278" y="688848"/>
                  </a:cubicBezTo>
                  <a:cubicBezTo>
                    <a:pt x="323278" y="687533"/>
                    <a:pt x="324344" y="686467"/>
                    <a:pt x="325659" y="686467"/>
                  </a:cubicBezTo>
                  <a:close/>
                  <a:moveTo>
                    <a:pt x="542162" y="686277"/>
                  </a:moveTo>
                  <a:cubicBezTo>
                    <a:pt x="545591" y="686277"/>
                    <a:pt x="548353" y="689039"/>
                    <a:pt x="548353" y="692468"/>
                  </a:cubicBezTo>
                  <a:cubicBezTo>
                    <a:pt x="548353" y="695897"/>
                    <a:pt x="545591" y="698659"/>
                    <a:pt x="542162" y="698659"/>
                  </a:cubicBezTo>
                  <a:cubicBezTo>
                    <a:pt x="538733" y="698659"/>
                    <a:pt x="535971" y="695897"/>
                    <a:pt x="535971" y="692468"/>
                  </a:cubicBezTo>
                  <a:cubicBezTo>
                    <a:pt x="535971" y="689039"/>
                    <a:pt x="538733" y="686277"/>
                    <a:pt x="542162" y="686277"/>
                  </a:cubicBezTo>
                  <a:close/>
                  <a:moveTo>
                    <a:pt x="409193" y="685133"/>
                  </a:moveTo>
                  <a:cubicBezTo>
                    <a:pt x="412622" y="685133"/>
                    <a:pt x="415384" y="687895"/>
                    <a:pt x="415384" y="691324"/>
                  </a:cubicBezTo>
                  <a:cubicBezTo>
                    <a:pt x="415384" y="694753"/>
                    <a:pt x="412622" y="697516"/>
                    <a:pt x="409193" y="697516"/>
                  </a:cubicBezTo>
                  <a:cubicBezTo>
                    <a:pt x="405764" y="697516"/>
                    <a:pt x="403002" y="694753"/>
                    <a:pt x="403002" y="691324"/>
                  </a:cubicBezTo>
                  <a:cubicBezTo>
                    <a:pt x="403002" y="687895"/>
                    <a:pt x="405764" y="685133"/>
                    <a:pt x="409193" y="685133"/>
                  </a:cubicBezTo>
                  <a:close/>
                  <a:moveTo>
                    <a:pt x="2320099" y="683800"/>
                  </a:moveTo>
                  <a:cubicBezTo>
                    <a:pt x="2323528" y="683800"/>
                    <a:pt x="2326291" y="686562"/>
                    <a:pt x="2326291" y="689991"/>
                  </a:cubicBezTo>
                  <a:cubicBezTo>
                    <a:pt x="2326291" y="693420"/>
                    <a:pt x="2323528" y="696183"/>
                    <a:pt x="2320099" y="696183"/>
                  </a:cubicBezTo>
                  <a:cubicBezTo>
                    <a:pt x="2316670" y="696183"/>
                    <a:pt x="2313908" y="693420"/>
                    <a:pt x="2313908" y="689991"/>
                  </a:cubicBezTo>
                  <a:cubicBezTo>
                    <a:pt x="2313908" y="686562"/>
                    <a:pt x="2316670" y="683800"/>
                    <a:pt x="2320099" y="683800"/>
                  </a:cubicBezTo>
                  <a:close/>
                  <a:moveTo>
                    <a:pt x="392048" y="682085"/>
                  </a:moveTo>
                  <a:cubicBezTo>
                    <a:pt x="395477" y="682085"/>
                    <a:pt x="398240" y="684847"/>
                    <a:pt x="398240" y="688276"/>
                  </a:cubicBezTo>
                  <a:cubicBezTo>
                    <a:pt x="398240" y="691705"/>
                    <a:pt x="395477" y="694468"/>
                    <a:pt x="392048" y="694468"/>
                  </a:cubicBezTo>
                  <a:cubicBezTo>
                    <a:pt x="388619" y="694468"/>
                    <a:pt x="385857" y="691705"/>
                    <a:pt x="385857" y="688276"/>
                  </a:cubicBezTo>
                  <a:cubicBezTo>
                    <a:pt x="385857" y="684847"/>
                    <a:pt x="388619" y="682085"/>
                    <a:pt x="392048" y="682085"/>
                  </a:cubicBezTo>
                  <a:close/>
                  <a:moveTo>
                    <a:pt x="378713" y="680943"/>
                  </a:moveTo>
                  <a:cubicBezTo>
                    <a:pt x="382142" y="680943"/>
                    <a:pt x="384904" y="683705"/>
                    <a:pt x="384904" y="687134"/>
                  </a:cubicBezTo>
                  <a:cubicBezTo>
                    <a:pt x="384904" y="690563"/>
                    <a:pt x="382142" y="693325"/>
                    <a:pt x="378713" y="693325"/>
                  </a:cubicBezTo>
                  <a:lnTo>
                    <a:pt x="373618" y="688230"/>
                  </a:lnTo>
                  <a:lnTo>
                    <a:pt x="368426" y="693421"/>
                  </a:lnTo>
                  <a:lnTo>
                    <a:pt x="364759" y="689754"/>
                  </a:lnTo>
                  <a:lnTo>
                    <a:pt x="360235" y="694277"/>
                  </a:lnTo>
                  <a:lnTo>
                    <a:pt x="357377" y="691420"/>
                  </a:lnTo>
                  <a:lnTo>
                    <a:pt x="353281" y="695516"/>
                  </a:lnTo>
                  <a:lnTo>
                    <a:pt x="350567" y="692802"/>
                  </a:lnTo>
                  <a:lnTo>
                    <a:pt x="346900" y="696469"/>
                  </a:lnTo>
                  <a:lnTo>
                    <a:pt x="343947" y="693516"/>
                  </a:lnTo>
                  <a:lnTo>
                    <a:pt x="340518" y="696945"/>
                  </a:lnTo>
                  <a:lnTo>
                    <a:pt x="336898" y="693325"/>
                  </a:lnTo>
                  <a:lnTo>
                    <a:pt x="333660" y="696564"/>
                  </a:lnTo>
                  <a:cubicBezTo>
                    <a:pt x="330231" y="696564"/>
                    <a:pt x="327469" y="693801"/>
                    <a:pt x="327469" y="690372"/>
                  </a:cubicBezTo>
                  <a:cubicBezTo>
                    <a:pt x="327469" y="686943"/>
                    <a:pt x="330231" y="684181"/>
                    <a:pt x="333660" y="684181"/>
                  </a:cubicBezTo>
                  <a:lnTo>
                    <a:pt x="337279" y="687801"/>
                  </a:lnTo>
                  <a:lnTo>
                    <a:pt x="340518" y="684562"/>
                  </a:lnTo>
                  <a:lnTo>
                    <a:pt x="343471" y="687515"/>
                  </a:lnTo>
                  <a:lnTo>
                    <a:pt x="346900" y="684086"/>
                  </a:lnTo>
                  <a:lnTo>
                    <a:pt x="349614" y="686800"/>
                  </a:lnTo>
                  <a:lnTo>
                    <a:pt x="353281" y="683133"/>
                  </a:lnTo>
                  <a:lnTo>
                    <a:pt x="356139" y="685991"/>
                  </a:lnTo>
                  <a:lnTo>
                    <a:pt x="360235" y="681895"/>
                  </a:lnTo>
                  <a:lnTo>
                    <a:pt x="363902" y="685562"/>
                  </a:lnTo>
                  <a:lnTo>
                    <a:pt x="368426" y="681038"/>
                  </a:lnTo>
                  <a:lnTo>
                    <a:pt x="373522" y="686134"/>
                  </a:lnTo>
                  <a:close/>
                  <a:moveTo>
                    <a:pt x="791717" y="680085"/>
                  </a:moveTo>
                  <a:cubicBezTo>
                    <a:pt x="795146" y="680085"/>
                    <a:pt x="797908" y="682847"/>
                    <a:pt x="797908" y="686276"/>
                  </a:cubicBezTo>
                  <a:cubicBezTo>
                    <a:pt x="797908" y="689705"/>
                    <a:pt x="795146" y="692468"/>
                    <a:pt x="791717" y="692468"/>
                  </a:cubicBezTo>
                  <a:cubicBezTo>
                    <a:pt x="788288" y="692468"/>
                    <a:pt x="785526" y="689705"/>
                    <a:pt x="785526" y="686276"/>
                  </a:cubicBezTo>
                  <a:cubicBezTo>
                    <a:pt x="785526" y="682847"/>
                    <a:pt x="788288" y="680085"/>
                    <a:pt x="791717" y="680085"/>
                  </a:cubicBezTo>
                  <a:close/>
                  <a:moveTo>
                    <a:pt x="650938" y="678847"/>
                  </a:moveTo>
                  <a:cubicBezTo>
                    <a:pt x="654367" y="678847"/>
                    <a:pt x="657129" y="681609"/>
                    <a:pt x="657129" y="685038"/>
                  </a:cubicBezTo>
                  <a:cubicBezTo>
                    <a:pt x="657129" y="688467"/>
                    <a:pt x="654367" y="691229"/>
                    <a:pt x="650938" y="691229"/>
                  </a:cubicBezTo>
                  <a:cubicBezTo>
                    <a:pt x="647509" y="691229"/>
                    <a:pt x="644747" y="688467"/>
                    <a:pt x="644747" y="685038"/>
                  </a:cubicBezTo>
                  <a:cubicBezTo>
                    <a:pt x="644747" y="681609"/>
                    <a:pt x="647509" y="678847"/>
                    <a:pt x="650938" y="678847"/>
                  </a:cubicBezTo>
                  <a:close/>
                  <a:moveTo>
                    <a:pt x="2884455" y="678466"/>
                  </a:moveTo>
                  <a:cubicBezTo>
                    <a:pt x="2887884" y="678466"/>
                    <a:pt x="2890647" y="681228"/>
                    <a:pt x="2890647" y="684657"/>
                  </a:cubicBezTo>
                  <a:cubicBezTo>
                    <a:pt x="2890647" y="688086"/>
                    <a:pt x="2887884" y="690848"/>
                    <a:pt x="2884455" y="690848"/>
                  </a:cubicBezTo>
                  <a:cubicBezTo>
                    <a:pt x="2881026" y="690848"/>
                    <a:pt x="2878264" y="688086"/>
                    <a:pt x="2878264" y="684657"/>
                  </a:cubicBezTo>
                  <a:cubicBezTo>
                    <a:pt x="2878264" y="681228"/>
                    <a:pt x="2881026" y="678466"/>
                    <a:pt x="2884455" y="678466"/>
                  </a:cubicBezTo>
                  <a:close/>
                  <a:moveTo>
                    <a:pt x="2767012" y="673989"/>
                  </a:moveTo>
                  <a:cubicBezTo>
                    <a:pt x="2770441" y="673989"/>
                    <a:pt x="2773203" y="676751"/>
                    <a:pt x="2773203" y="680180"/>
                  </a:cubicBezTo>
                  <a:cubicBezTo>
                    <a:pt x="2773203" y="683609"/>
                    <a:pt x="2770441" y="686372"/>
                    <a:pt x="2767012" y="686372"/>
                  </a:cubicBezTo>
                  <a:cubicBezTo>
                    <a:pt x="2763583" y="686372"/>
                    <a:pt x="2760821" y="683609"/>
                    <a:pt x="2760821" y="680180"/>
                  </a:cubicBezTo>
                  <a:cubicBezTo>
                    <a:pt x="2760821" y="676751"/>
                    <a:pt x="2763583" y="673989"/>
                    <a:pt x="2767012" y="673989"/>
                  </a:cubicBezTo>
                  <a:close/>
                  <a:moveTo>
                    <a:pt x="1061465" y="673227"/>
                  </a:moveTo>
                  <a:cubicBezTo>
                    <a:pt x="1064894" y="673227"/>
                    <a:pt x="1067656" y="675989"/>
                    <a:pt x="1067656" y="679418"/>
                  </a:cubicBezTo>
                  <a:cubicBezTo>
                    <a:pt x="1067656" y="682847"/>
                    <a:pt x="1064894" y="685610"/>
                    <a:pt x="1061465" y="685610"/>
                  </a:cubicBezTo>
                  <a:cubicBezTo>
                    <a:pt x="1058036" y="685610"/>
                    <a:pt x="1055274" y="682847"/>
                    <a:pt x="1055274" y="679418"/>
                  </a:cubicBezTo>
                  <a:cubicBezTo>
                    <a:pt x="1055274" y="675989"/>
                    <a:pt x="1058036" y="673227"/>
                    <a:pt x="1061465" y="673227"/>
                  </a:cubicBezTo>
                  <a:close/>
                  <a:moveTo>
                    <a:pt x="500633" y="673037"/>
                  </a:moveTo>
                  <a:cubicBezTo>
                    <a:pt x="504062" y="673037"/>
                    <a:pt x="506824" y="675799"/>
                    <a:pt x="506824" y="679228"/>
                  </a:cubicBezTo>
                  <a:cubicBezTo>
                    <a:pt x="506824" y="682657"/>
                    <a:pt x="504062" y="685419"/>
                    <a:pt x="500633" y="685419"/>
                  </a:cubicBezTo>
                  <a:cubicBezTo>
                    <a:pt x="497204" y="685419"/>
                    <a:pt x="494442" y="682657"/>
                    <a:pt x="494442" y="679228"/>
                  </a:cubicBezTo>
                  <a:cubicBezTo>
                    <a:pt x="494442" y="675799"/>
                    <a:pt x="497204" y="673037"/>
                    <a:pt x="500633" y="673037"/>
                  </a:cubicBezTo>
                  <a:close/>
                  <a:moveTo>
                    <a:pt x="2908553" y="672941"/>
                  </a:moveTo>
                  <a:cubicBezTo>
                    <a:pt x="2911982" y="672941"/>
                    <a:pt x="2914745" y="675703"/>
                    <a:pt x="2914745" y="679132"/>
                  </a:cubicBezTo>
                  <a:cubicBezTo>
                    <a:pt x="2914745" y="682561"/>
                    <a:pt x="2911982" y="685324"/>
                    <a:pt x="2908553" y="685324"/>
                  </a:cubicBezTo>
                  <a:cubicBezTo>
                    <a:pt x="2905124" y="685324"/>
                    <a:pt x="2902362" y="682561"/>
                    <a:pt x="2902362" y="679132"/>
                  </a:cubicBezTo>
                  <a:cubicBezTo>
                    <a:pt x="2902362" y="675703"/>
                    <a:pt x="2905124" y="672941"/>
                    <a:pt x="2908553" y="672941"/>
                  </a:cubicBezTo>
                  <a:close/>
                  <a:moveTo>
                    <a:pt x="2927317" y="670179"/>
                  </a:moveTo>
                  <a:cubicBezTo>
                    <a:pt x="2930746" y="670179"/>
                    <a:pt x="2933509" y="672941"/>
                    <a:pt x="2933509" y="676370"/>
                  </a:cubicBezTo>
                  <a:cubicBezTo>
                    <a:pt x="2933509" y="679799"/>
                    <a:pt x="2930746" y="682562"/>
                    <a:pt x="2927317" y="682562"/>
                  </a:cubicBezTo>
                  <a:cubicBezTo>
                    <a:pt x="2923888" y="682562"/>
                    <a:pt x="2921126" y="679799"/>
                    <a:pt x="2921126" y="676370"/>
                  </a:cubicBezTo>
                  <a:cubicBezTo>
                    <a:pt x="2921126" y="672941"/>
                    <a:pt x="2923888" y="670179"/>
                    <a:pt x="2927317" y="670179"/>
                  </a:cubicBezTo>
                  <a:close/>
                  <a:moveTo>
                    <a:pt x="3018568" y="669608"/>
                  </a:moveTo>
                  <a:cubicBezTo>
                    <a:pt x="3021425" y="669608"/>
                    <a:pt x="3023711" y="671894"/>
                    <a:pt x="3023711" y="674752"/>
                  </a:cubicBezTo>
                  <a:cubicBezTo>
                    <a:pt x="3023711" y="677609"/>
                    <a:pt x="3021425" y="679895"/>
                    <a:pt x="3018568" y="679895"/>
                  </a:cubicBezTo>
                  <a:cubicBezTo>
                    <a:pt x="3015710" y="679895"/>
                    <a:pt x="3013424" y="677609"/>
                    <a:pt x="3013424" y="674752"/>
                  </a:cubicBezTo>
                  <a:cubicBezTo>
                    <a:pt x="3013424" y="671894"/>
                    <a:pt x="3015710" y="669608"/>
                    <a:pt x="3018568" y="669608"/>
                  </a:cubicBezTo>
                  <a:close/>
                  <a:moveTo>
                    <a:pt x="2941891" y="669322"/>
                  </a:moveTo>
                  <a:lnTo>
                    <a:pt x="2947844" y="675275"/>
                  </a:lnTo>
                  <a:lnTo>
                    <a:pt x="2953321" y="669798"/>
                  </a:lnTo>
                  <a:lnTo>
                    <a:pt x="2958512" y="674989"/>
                  </a:lnTo>
                  <a:lnTo>
                    <a:pt x="2962369" y="671132"/>
                  </a:lnTo>
                  <a:lnTo>
                    <a:pt x="2967037" y="675799"/>
                  </a:lnTo>
                  <a:lnTo>
                    <a:pt x="2969990" y="672846"/>
                  </a:lnTo>
                  <a:lnTo>
                    <a:pt x="2974133" y="676989"/>
                  </a:lnTo>
                  <a:lnTo>
                    <a:pt x="2976752" y="674370"/>
                  </a:lnTo>
                  <a:lnTo>
                    <a:pt x="2980610" y="678228"/>
                  </a:lnTo>
                  <a:lnTo>
                    <a:pt x="2983420" y="675418"/>
                  </a:lnTo>
                  <a:lnTo>
                    <a:pt x="2987039" y="679037"/>
                  </a:lnTo>
                  <a:lnTo>
                    <a:pt x="2990468" y="675608"/>
                  </a:lnTo>
                  <a:lnTo>
                    <a:pt x="2993992" y="679133"/>
                  </a:lnTo>
                  <a:lnTo>
                    <a:pt x="2998469" y="674656"/>
                  </a:lnTo>
                  <a:lnTo>
                    <a:pt x="3001946" y="678132"/>
                  </a:lnTo>
                  <a:lnTo>
                    <a:pt x="3007708" y="672370"/>
                  </a:lnTo>
                  <a:cubicBezTo>
                    <a:pt x="3011137" y="672370"/>
                    <a:pt x="3013900" y="675132"/>
                    <a:pt x="3013900" y="678561"/>
                  </a:cubicBezTo>
                  <a:cubicBezTo>
                    <a:pt x="3013900" y="681990"/>
                    <a:pt x="3011137" y="684752"/>
                    <a:pt x="3007708" y="684752"/>
                  </a:cubicBezTo>
                  <a:lnTo>
                    <a:pt x="3004232" y="681276"/>
                  </a:lnTo>
                  <a:lnTo>
                    <a:pt x="2998469" y="687039"/>
                  </a:lnTo>
                  <a:lnTo>
                    <a:pt x="2994944" y="683514"/>
                  </a:lnTo>
                  <a:lnTo>
                    <a:pt x="2990468" y="687991"/>
                  </a:lnTo>
                  <a:lnTo>
                    <a:pt x="2986849" y="684371"/>
                  </a:lnTo>
                  <a:lnTo>
                    <a:pt x="2983420" y="687800"/>
                  </a:lnTo>
                  <a:lnTo>
                    <a:pt x="2979562" y="683942"/>
                  </a:lnTo>
                  <a:lnTo>
                    <a:pt x="2976752" y="686752"/>
                  </a:lnTo>
                  <a:lnTo>
                    <a:pt x="2972609" y="682610"/>
                  </a:lnTo>
                  <a:lnTo>
                    <a:pt x="2969990" y="685229"/>
                  </a:lnTo>
                  <a:lnTo>
                    <a:pt x="2965323" y="680561"/>
                  </a:lnTo>
                  <a:lnTo>
                    <a:pt x="2962369" y="683515"/>
                  </a:lnTo>
                  <a:lnTo>
                    <a:pt x="2957178" y="678324"/>
                  </a:lnTo>
                  <a:lnTo>
                    <a:pt x="2953321" y="682181"/>
                  </a:lnTo>
                  <a:lnTo>
                    <a:pt x="2947368" y="676228"/>
                  </a:lnTo>
                  <a:lnTo>
                    <a:pt x="2941891" y="681704"/>
                  </a:lnTo>
                  <a:cubicBezTo>
                    <a:pt x="2938462" y="681704"/>
                    <a:pt x="2935700" y="678942"/>
                    <a:pt x="2935700" y="675513"/>
                  </a:cubicBezTo>
                  <a:cubicBezTo>
                    <a:pt x="2935700" y="672084"/>
                    <a:pt x="2938462" y="669322"/>
                    <a:pt x="2941891" y="669322"/>
                  </a:cubicBezTo>
                  <a:close/>
                  <a:moveTo>
                    <a:pt x="2505836" y="668941"/>
                  </a:moveTo>
                  <a:cubicBezTo>
                    <a:pt x="2509265" y="668941"/>
                    <a:pt x="2512028" y="671703"/>
                    <a:pt x="2512028" y="675132"/>
                  </a:cubicBezTo>
                  <a:cubicBezTo>
                    <a:pt x="2512028" y="678561"/>
                    <a:pt x="2509265" y="681323"/>
                    <a:pt x="2505836" y="681323"/>
                  </a:cubicBezTo>
                  <a:cubicBezTo>
                    <a:pt x="2502407" y="681323"/>
                    <a:pt x="2499645" y="678561"/>
                    <a:pt x="2499645" y="675132"/>
                  </a:cubicBezTo>
                  <a:cubicBezTo>
                    <a:pt x="2499645" y="671703"/>
                    <a:pt x="2502407" y="668941"/>
                    <a:pt x="2505836" y="668941"/>
                  </a:cubicBezTo>
                  <a:close/>
                  <a:moveTo>
                    <a:pt x="2652902" y="666846"/>
                  </a:moveTo>
                  <a:cubicBezTo>
                    <a:pt x="2656331" y="666846"/>
                    <a:pt x="2659094" y="669608"/>
                    <a:pt x="2659094" y="673037"/>
                  </a:cubicBezTo>
                  <a:cubicBezTo>
                    <a:pt x="2659094" y="676466"/>
                    <a:pt x="2656331" y="679229"/>
                    <a:pt x="2652902" y="679229"/>
                  </a:cubicBezTo>
                  <a:cubicBezTo>
                    <a:pt x="2649473" y="679229"/>
                    <a:pt x="2646711" y="676466"/>
                    <a:pt x="2646711" y="673037"/>
                  </a:cubicBezTo>
                  <a:cubicBezTo>
                    <a:pt x="2646711" y="669608"/>
                    <a:pt x="2649473" y="666846"/>
                    <a:pt x="2652902" y="666846"/>
                  </a:cubicBezTo>
                  <a:close/>
                  <a:moveTo>
                    <a:pt x="2226563" y="664464"/>
                  </a:moveTo>
                  <a:cubicBezTo>
                    <a:pt x="2229992" y="664464"/>
                    <a:pt x="2232755" y="667226"/>
                    <a:pt x="2232755" y="670655"/>
                  </a:cubicBezTo>
                  <a:cubicBezTo>
                    <a:pt x="2232755" y="674084"/>
                    <a:pt x="2229992" y="676847"/>
                    <a:pt x="2226563" y="676847"/>
                  </a:cubicBezTo>
                  <a:cubicBezTo>
                    <a:pt x="2223134" y="676847"/>
                    <a:pt x="2220372" y="674084"/>
                    <a:pt x="2220372" y="670655"/>
                  </a:cubicBezTo>
                  <a:cubicBezTo>
                    <a:pt x="2220372" y="667226"/>
                    <a:pt x="2223134" y="664464"/>
                    <a:pt x="2226563" y="664464"/>
                  </a:cubicBezTo>
                  <a:close/>
                  <a:moveTo>
                    <a:pt x="467391" y="664179"/>
                  </a:moveTo>
                  <a:cubicBezTo>
                    <a:pt x="470820" y="664179"/>
                    <a:pt x="473583" y="666941"/>
                    <a:pt x="473583" y="670370"/>
                  </a:cubicBezTo>
                  <a:cubicBezTo>
                    <a:pt x="473583" y="673799"/>
                    <a:pt x="470820" y="676561"/>
                    <a:pt x="467391" y="676561"/>
                  </a:cubicBezTo>
                  <a:cubicBezTo>
                    <a:pt x="463962" y="676561"/>
                    <a:pt x="461200" y="673799"/>
                    <a:pt x="461200" y="670370"/>
                  </a:cubicBezTo>
                  <a:cubicBezTo>
                    <a:pt x="461200" y="666941"/>
                    <a:pt x="463962" y="664179"/>
                    <a:pt x="467391" y="664179"/>
                  </a:cubicBezTo>
                  <a:close/>
                  <a:moveTo>
                    <a:pt x="2811303" y="660559"/>
                  </a:moveTo>
                  <a:cubicBezTo>
                    <a:pt x="2814732" y="660559"/>
                    <a:pt x="2817494" y="663321"/>
                    <a:pt x="2817494" y="666750"/>
                  </a:cubicBezTo>
                  <a:cubicBezTo>
                    <a:pt x="2817494" y="670179"/>
                    <a:pt x="2814732" y="672942"/>
                    <a:pt x="2811303" y="672942"/>
                  </a:cubicBezTo>
                  <a:cubicBezTo>
                    <a:pt x="2807874" y="672942"/>
                    <a:pt x="2805112" y="670179"/>
                    <a:pt x="2805112" y="666750"/>
                  </a:cubicBezTo>
                  <a:cubicBezTo>
                    <a:pt x="2805112" y="663321"/>
                    <a:pt x="2807874" y="660559"/>
                    <a:pt x="2811303" y="660559"/>
                  </a:cubicBezTo>
                  <a:close/>
                  <a:moveTo>
                    <a:pt x="592835" y="659702"/>
                  </a:moveTo>
                  <a:cubicBezTo>
                    <a:pt x="596264" y="659702"/>
                    <a:pt x="599026" y="662464"/>
                    <a:pt x="599026" y="665893"/>
                  </a:cubicBezTo>
                  <a:cubicBezTo>
                    <a:pt x="599026" y="669322"/>
                    <a:pt x="596264" y="672085"/>
                    <a:pt x="592835" y="672085"/>
                  </a:cubicBezTo>
                  <a:cubicBezTo>
                    <a:pt x="589406" y="672085"/>
                    <a:pt x="586644" y="669322"/>
                    <a:pt x="586644" y="665893"/>
                  </a:cubicBezTo>
                  <a:cubicBezTo>
                    <a:pt x="586644" y="662464"/>
                    <a:pt x="589406" y="659702"/>
                    <a:pt x="592835" y="659702"/>
                  </a:cubicBezTo>
                  <a:close/>
                  <a:moveTo>
                    <a:pt x="441007" y="658845"/>
                  </a:moveTo>
                  <a:cubicBezTo>
                    <a:pt x="444436" y="658845"/>
                    <a:pt x="447198" y="661607"/>
                    <a:pt x="447198" y="665036"/>
                  </a:cubicBezTo>
                  <a:cubicBezTo>
                    <a:pt x="447198" y="668465"/>
                    <a:pt x="444436" y="671227"/>
                    <a:pt x="441007" y="671227"/>
                  </a:cubicBezTo>
                  <a:cubicBezTo>
                    <a:pt x="437578" y="671227"/>
                    <a:pt x="434816" y="668465"/>
                    <a:pt x="434816" y="665036"/>
                  </a:cubicBezTo>
                  <a:cubicBezTo>
                    <a:pt x="434816" y="661607"/>
                    <a:pt x="437578" y="658845"/>
                    <a:pt x="441007" y="658845"/>
                  </a:cubicBezTo>
                  <a:close/>
                  <a:moveTo>
                    <a:pt x="391381" y="656749"/>
                  </a:moveTo>
                  <a:cubicBezTo>
                    <a:pt x="394810" y="656749"/>
                    <a:pt x="397573" y="659511"/>
                    <a:pt x="397573" y="662940"/>
                  </a:cubicBezTo>
                  <a:cubicBezTo>
                    <a:pt x="397573" y="666369"/>
                    <a:pt x="394810" y="669131"/>
                    <a:pt x="391381" y="669131"/>
                  </a:cubicBezTo>
                  <a:lnTo>
                    <a:pt x="387286" y="665036"/>
                  </a:lnTo>
                  <a:lnTo>
                    <a:pt x="381285" y="671037"/>
                  </a:lnTo>
                  <a:lnTo>
                    <a:pt x="378189" y="667941"/>
                  </a:lnTo>
                  <a:lnTo>
                    <a:pt x="372903" y="673227"/>
                  </a:lnTo>
                  <a:lnTo>
                    <a:pt x="370236" y="670560"/>
                  </a:lnTo>
                  <a:lnTo>
                    <a:pt x="365474" y="675323"/>
                  </a:lnTo>
                  <a:lnTo>
                    <a:pt x="362759" y="672608"/>
                  </a:lnTo>
                  <a:lnTo>
                    <a:pt x="358425" y="676942"/>
                  </a:lnTo>
                  <a:lnTo>
                    <a:pt x="355186" y="673704"/>
                  </a:lnTo>
                  <a:lnTo>
                    <a:pt x="351091" y="677800"/>
                  </a:lnTo>
                  <a:lnTo>
                    <a:pt x="346947" y="673656"/>
                  </a:lnTo>
                  <a:lnTo>
                    <a:pt x="342995" y="677608"/>
                  </a:lnTo>
                  <a:cubicBezTo>
                    <a:pt x="339566" y="677608"/>
                    <a:pt x="336804" y="674846"/>
                    <a:pt x="336804" y="671417"/>
                  </a:cubicBezTo>
                  <a:cubicBezTo>
                    <a:pt x="336804" y="667988"/>
                    <a:pt x="339566" y="665226"/>
                    <a:pt x="342995" y="665226"/>
                  </a:cubicBezTo>
                  <a:lnTo>
                    <a:pt x="347138" y="669370"/>
                  </a:lnTo>
                  <a:lnTo>
                    <a:pt x="351091" y="665417"/>
                  </a:lnTo>
                  <a:lnTo>
                    <a:pt x="354329" y="668656"/>
                  </a:lnTo>
                  <a:lnTo>
                    <a:pt x="358425" y="664560"/>
                  </a:lnTo>
                  <a:lnTo>
                    <a:pt x="361140" y="667275"/>
                  </a:lnTo>
                  <a:lnTo>
                    <a:pt x="365474" y="662940"/>
                  </a:lnTo>
                  <a:lnTo>
                    <a:pt x="368141" y="665607"/>
                  </a:lnTo>
                  <a:lnTo>
                    <a:pt x="372903" y="660845"/>
                  </a:lnTo>
                  <a:lnTo>
                    <a:pt x="375999" y="663941"/>
                  </a:lnTo>
                  <a:lnTo>
                    <a:pt x="381285" y="658654"/>
                  </a:lnTo>
                  <a:lnTo>
                    <a:pt x="385381" y="662750"/>
                  </a:lnTo>
                  <a:close/>
                  <a:moveTo>
                    <a:pt x="867632" y="656273"/>
                  </a:moveTo>
                  <a:cubicBezTo>
                    <a:pt x="871061" y="656273"/>
                    <a:pt x="873823" y="659035"/>
                    <a:pt x="873823" y="662464"/>
                  </a:cubicBezTo>
                  <a:cubicBezTo>
                    <a:pt x="873823" y="665893"/>
                    <a:pt x="871061" y="668656"/>
                    <a:pt x="867632" y="668656"/>
                  </a:cubicBezTo>
                  <a:cubicBezTo>
                    <a:pt x="864203" y="668656"/>
                    <a:pt x="861441" y="665893"/>
                    <a:pt x="861441" y="662464"/>
                  </a:cubicBezTo>
                  <a:cubicBezTo>
                    <a:pt x="861441" y="659035"/>
                    <a:pt x="864203" y="656273"/>
                    <a:pt x="867632" y="656273"/>
                  </a:cubicBezTo>
                  <a:close/>
                  <a:moveTo>
                    <a:pt x="420337" y="656273"/>
                  </a:moveTo>
                  <a:cubicBezTo>
                    <a:pt x="423766" y="656273"/>
                    <a:pt x="426528" y="659035"/>
                    <a:pt x="426528" y="662464"/>
                  </a:cubicBezTo>
                  <a:cubicBezTo>
                    <a:pt x="426528" y="665893"/>
                    <a:pt x="423766" y="668656"/>
                    <a:pt x="420337" y="668656"/>
                  </a:cubicBezTo>
                  <a:cubicBezTo>
                    <a:pt x="416908" y="668656"/>
                    <a:pt x="414146" y="665893"/>
                    <a:pt x="414146" y="662464"/>
                  </a:cubicBezTo>
                  <a:cubicBezTo>
                    <a:pt x="414146" y="659035"/>
                    <a:pt x="416908" y="656273"/>
                    <a:pt x="420337" y="656273"/>
                  </a:cubicBezTo>
                  <a:close/>
                  <a:moveTo>
                    <a:pt x="404145" y="655796"/>
                  </a:moveTo>
                  <a:cubicBezTo>
                    <a:pt x="407574" y="655796"/>
                    <a:pt x="410337" y="658558"/>
                    <a:pt x="410337" y="661987"/>
                  </a:cubicBezTo>
                  <a:cubicBezTo>
                    <a:pt x="410337" y="665416"/>
                    <a:pt x="407574" y="668179"/>
                    <a:pt x="404145" y="668179"/>
                  </a:cubicBezTo>
                  <a:cubicBezTo>
                    <a:pt x="400716" y="668179"/>
                    <a:pt x="397954" y="665416"/>
                    <a:pt x="397954" y="661987"/>
                  </a:cubicBezTo>
                  <a:cubicBezTo>
                    <a:pt x="397954" y="658558"/>
                    <a:pt x="400716" y="655796"/>
                    <a:pt x="404145" y="655796"/>
                  </a:cubicBezTo>
                  <a:close/>
                  <a:moveTo>
                    <a:pt x="1157858" y="655035"/>
                  </a:moveTo>
                  <a:cubicBezTo>
                    <a:pt x="1161287" y="655035"/>
                    <a:pt x="1164049" y="657797"/>
                    <a:pt x="1164049" y="661226"/>
                  </a:cubicBezTo>
                  <a:cubicBezTo>
                    <a:pt x="1164049" y="664655"/>
                    <a:pt x="1161287" y="667417"/>
                    <a:pt x="1157858" y="667417"/>
                  </a:cubicBezTo>
                  <a:cubicBezTo>
                    <a:pt x="1154429" y="667417"/>
                    <a:pt x="1151667" y="664655"/>
                    <a:pt x="1151667" y="661226"/>
                  </a:cubicBezTo>
                  <a:cubicBezTo>
                    <a:pt x="1151667" y="657797"/>
                    <a:pt x="1154429" y="655035"/>
                    <a:pt x="1157858" y="655035"/>
                  </a:cubicBezTo>
                  <a:close/>
                  <a:moveTo>
                    <a:pt x="3000755" y="653415"/>
                  </a:moveTo>
                  <a:cubicBezTo>
                    <a:pt x="3004184" y="653415"/>
                    <a:pt x="3006946" y="656177"/>
                    <a:pt x="3006946" y="659606"/>
                  </a:cubicBezTo>
                  <a:cubicBezTo>
                    <a:pt x="3006946" y="663035"/>
                    <a:pt x="3004184" y="665798"/>
                    <a:pt x="3000755" y="665798"/>
                  </a:cubicBezTo>
                  <a:cubicBezTo>
                    <a:pt x="2997326" y="665798"/>
                    <a:pt x="2994564" y="663035"/>
                    <a:pt x="2994564" y="659606"/>
                  </a:cubicBezTo>
                  <a:cubicBezTo>
                    <a:pt x="2994564" y="656177"/>
                    <a:pt x="2997326" y="653415"/>
                    <a:pt x="3000755" y="653415"/>
                  </a:cubicBezTo>
                  <a:close/>
                  <a:moveTo>
                    <a:pt x="713231" y="653129"/>
                  </a:moveTo>
                  <a:cubicBezTo>
                    <a:pt x="716660" y="653129"/>
                    <a:pt x="719422" y="655891"/>
                    <a:pt x="719422" y="659320"/>
                  </a:cubicBezTo>
                  <a:cubicBezTo>
                    <a:pt x="719422" y="662749"/>
                    <a:pt x="716660" y="665512"/>
                    <a:pt x="713231" y="665512"/>
                  </a:cubicBezTo>
                  <a:cubicBezTo>
                    <a:pt x="709802" y="665512"/>
                    <a:pt x="707040" y="662749"/>
                    <a:pt x="707040" y="659320"/>
                  </a:cubicBezTo>
                  <a:cubicBezTo>
                    <a:pt x="707040" y="655891"/>
                    <a:pt x="709802" y="653129"/>
                    <a:pt x="713231" y="653129"/>
                  </a:cubicBezTo>
                  <a:close/>
                  <a:moveTo>
                    <a:pt x="2846926" y="651701"/>
                  </a:moveTo>
                  <a:cubicBezTo>
                    <a:pt x="2850355" y="651701"/>
                    <a:pt x="2853118" y="654463"/>
                    <a:pt x="2853118" y="657892"/>
                  </a:cubicBezTo>
                  <a:cubicBezTo>
                    <a:pt x="2853118" y="661321"/>
                    <a:pt x="2850355" y="664083"/>
                    <a:pt x="2846926" y="664083"/>
                  </a:cubicBezTo>
                  <a:cubicBezTo>
                    <a:pt x="2843497" y="664083"/>
                    <a:pt x="2840735" y="661321"/>
                    <a:pt x="2840735" y="657892"/>
                  </a:cubicBezTo>
                  <a:cubicBezTo>
                    <a:pt x="2840735" y="654463"/>
                    <a:pt x="2843497" y="651701"/>
                    <a:pt x="2846926" y="651701"/>
                  </a:cubicBezTo>
                  <a:close/>
                  <a:moveTo>
                    <a:pt x="351662" y="651701"/>
                  </a:moveTo>
                  <a:cubicBezTo>
                    <a:pt x="352346" y="651701"/>
                    <a:pt x="352900" y="652255"/>
                    <a:pt x="352900" y="652939"/>
                  </a:cubicBezTo>
                  <a:cubicBezTo>
                    <a:pt x="352900" y="653623"/>
                    <a:pt x="352346" y="654177"/>
                    <a:pt x="351662" y="654177"/>
                  </a:cubicBezTo>
                  <a:cubicBezTo>
                    <a:pt x="350978" y="654177"/>
                    <a:pt x="350424" y="653623"/>
                    <a:pt x="350424" y="652939"/>
                  </a:cubicBezTo>
                  <a:cubicBezTo>
                    <a:pt x="350424" y="652255"/>
                    <a:pt x="350978" y="651701"/>
                    <a:pt x="351662" y="651701"/>
                  </a:cubicBezTo>
                  <a:close/>
                  <a:moveTo>
                    <a:pt x="2940557" y="647510"/>
                  </a:moveTo>
                  <a:lnTo>
                    <a:pt x="2946510" y="653463"/>
                  </a:lnTo>
                  <a:lnTo>
                    <a:pt x="2949701" y="650272"/>
                  </a:lnTo>
                  <a:lnTo>
                    <a:pt x="2954988" y="655559"/>
                  </a:lnTo>
                  <a:lnTo>
                    <a:pt x="2957702" y="652844"/>
                  </a:lnTo>
                  <a:lnTo>
                    <a:pt x="2962608" y="657749"/>
                  </a:lnTo>
                  <a:lnTo>
                    <a:pt x="2965227" y="655130"/>
                  </a:lnTo>
                  <a:lnTo>
                    <a:pt x="2969703" y="659607"/>
                  </a:lnTo>
                  <a:lnTo>
                    <a:pt x="2972752" y="656558"/>
                  </a:lnTo>
                  <a:lnTo>
                    <a:pt x="2976990" y="660797"/>
                  </a:lnTo>
                  <a:lnTo>
                    <a:pt x="2980943" y="656844"/>
                  </a:lnTo>
                  <a:lnTo>
                    <a:pt x="2985039" y="660940"/>
                  </a:lnTo>
                  <a:lnTo>
                    <a:pt x="2990087" y="655892"/>
                  </a:lnTo>
                  <a:cubicBezTo>
                    <a:pt x="2993516" y="655892"/>
                    <a:pt x="2996279" y="658654"/>
                    <a:pt x="2996279" y="662083"/>
                  </a:cubicBezTo>
                  <a:cubicBezTo>
                    <a:pt x="2996279" y="665512"/>
                    <a:pt x="2993516" y="668275"/>
                    <a:pt x="2990087" y="668275"/>
                  </a:cubicBezTo>
                  <a:lnTo>
                    <a:pt x="2985991" y="664179"/>
                  </a:lnTo>
                  <a:lnTo>
                    <a:pt x="2980943" y="669227"/>
                  </a:lnTo>
                  <a:lnTo>
                    <a:pt x="2976705" y="664988"/>
                  </a:lnTo>
                  <a:lnTo>
                    <a:pt x="2972752" y="668941"/>
                  </a:lnTo>
                  <a:lnTo>
                    <a:pt x="2968276" y="664464"/>
                  </a:lnTo>
                  <a:lnTo>
                    <a:pt x="2965227" y="667513"/>
                  </a:lnTo>
                  <a:lnTo>
                    <a:pt x="2960322" y="662607"/>
                  </a:lnTo>
                  <a:lnTo>
                    <a:pt x="2957702" y="665227"/>
                  </a:lnTo>
                  <a:lnTo>
                    <a:pt x="2952415" y="659940"/>
                  </a:lnTo>
                  <a:lnTo>
                    <a:pt x="2949701" y="662654"/>
                  </a:lnTo>
                  <a:lnTo>
                    <a:pt x="2943748" y="656701"/>
                  </a:lnTo>
                  <a:lnTo>
                    <a:pt x="2940557" y="659892"/>
                  </a:lnTo>
                  <a:cubicBezTo>
                    <a:pt x="2937128" y="659892"/>
                    <a:pt x="2934366" y="657130"/>
                    <a:pt x="2934366" y="653701"/>
                  </a:cubicBezTo>
                  <a:cubicBezTo>
                    <a:pt x="2934366" y="650272"/>
                    <a:pt x="2937128" y="647510"/>
                    <a:pt x="2940557" y="647510"/>
                  </a:cubicBezTo>
                  <a:close/>
                  <a:moveTo>
                    <a:pt x="2127884" y="647414"/>
                  </a:moveTo>
                  <a:cubicBezTo>
                    <a:pt x="2131313" y="647414"/>
                    <a:pt x="2134076" y="650176"/>
                    <a:pt x="2134076" y="653605"/>
                  </a:cubicBezTo>
                  <a:cubicBezTo>
                    <a:pt x="2134076" y="657034"/>
                    <a:pt x="2131313" y="659797"/>
                    <a:pt x="2127884" y="659797"/>
                  </a:cubicBezTo>
                  <a:cubicBezTo>
                    <a:pt x="2124455" y="659797"/>
                    <a:pt x="2121693" y="657034"/>
                    <a:pt x="2121693" y="653605"/>
                  </a:cubicBezTo>
                  <a:cubicBezTo>
                    <a:pt x="2121693" y="650176"/>
                    <a:pt x="2124455" y="647414"/>
                    <a:pt x="2127884" y="647414"/>
                  </a:cubicBezTo>
                  <a:close/>
                  <a:moveTo>
                    <a:pt x="2714339" y="647319"/>
                  </a:moveTo>
                  <a:cubicBezTo>
                    <a:pt x="2717768" y="647319"/>
                    <a:pt x="2720530" y="650081"/>
                    <a:pt x="2720530" y="653510"/>
                  </a:cubicBezTo>
                  <a:cubicBezTo>
                    <a:pt x="2720530" y="656939"/>
                    <a:pt x="2717768" y="659702"/>
                    <a:pt x="2714339" y="659702"/>
                  </a:cubicBezTo>
                  <a:cubicBezTo>
                    <a:pt x="2710910" y="659702"/>
                    <a:pt x="2708148" y="656939"/>
                    <a:pt x="2708148" y="653510"/>
                  </a:cubicBezTo>
                  <a:cubicBezTo>
                    <a:pt x="2708148" y="650081"/>
                    <a:pt x="2710910" y="647319"/>
                    <a:pt x="2714339" y="647319"/>
                  </a:cubicBezTo>
                  <a:close/>
                  <a:moveTo>
                    <a:pt x="2875406" y="646462"/>
                  </a:moveTo>
                  <a:cubicBezTo>
                    <a:pt x="2878835" y="646462"/>
                    <a:pt x="2881597" y="649224"/>
                    <a:pt x="2881597" y="652653"/>
                  </a:cubicBezTo>
                  <a:cubicBezTo>
                    <a:pt x="2881597" y="656082"/>
                    <a:pt x="2878835" y="658845"/>
                    <a:pt x="2875406" y="658845"/>
                  </a:cubicBezTo>
                  <a:cubicBezTo>
                    <a:pt x="2871977" y="658845"/>
                    <a:pt x="2869215" y="656082"/>
                    <a:pt x="2869215" y="652653"/>
                  </a:cubicBezTo>
                  <a:cubicBezTo>
                    <a:pt x="2869215" y="649224"/>
                    <a:pt x="2871977" y="646462"/>
                    <a:pt x="2875406" y="646462"/>
                  </a:cubicBezTo>
                  <a:close/>
                  <a:moveTo>
                    <a:pt x="545210" y="646176"/>
                  </a:moveTo>
                  <a:cubicBezTo>
                    <a:pt x="548639" y="646176"/>
                    <a:pt x="551401" y="648938"/>
                    <a:pt x="551401" y="652367"/>
                  </a:cubicBezTo>
                  <a:cubicBezTo>
                    <a:pt x="551401" y="655796"/>
                    <a:pt x="548639" y="658558"/>
                    <a:pt x="545210" y="658558"/>
                  </a:cubicBezTo>
                  <a:cubicBezTo>
                    <a:pt x="541781" y="658558"/>
                    <a:pt x="539019" y="655796"/>
                    <a:pt x="539019" y="652367"/>
                  </a:cubicBezTo>
                  <a:cubicBezTo>
                    <a:pt x="539019" y="648938"/>
                    <a:pt x="541781" y="646176"/>
                    <a:pt x="545210" y="646176"/>
                  </a:cubicBezTo>
                  <a:close/>
                  <a:moveTo>
                    <a:pt x="2427350" y="645605"/>
                  </a:moveTo>
                  <a:cubicBezTo>
                    <a:pt x="2430779" y="645605"/>
                    <a:pt x="2433542" y="648367"/>
                    <a:pt x="2433542" y="651796"/>
                  </a:cubicBezTo>
                  <a:cubicBezTo>
                    <a:pt x="2433542" y="655225"/>
                    <a:pt x="2430779" y="657988"/>
                    <a:pt x="2427350" y="657988"/>
                  </a:cubicBezTo>
                  <a:cubicBezTo>
                    <a:pt x="2423921" y="657988"/>
                    <a:pt x="2421159" y="655225"/>
                    <a:pt x="2421159" y="651796"/>
                  </a:cubicBezTo>
                  <a:cubicBezTo>
                    <a:pt x="2421159" y="648367"/>
                    <a:pt x="2423921" y="645605"/>
                    <a:pt x="2427350" y="645605"/>
                  </a:cubicBezTo>
                  <a:close/>
                  <a:moveTo>
                    <a:pt x="2929413" y="645319"/>
                  </a:moveTo>
                  <a:cubicBezTo>
                    <a:pt x="2932842" y="645319"/>
                    <a:pt x="2935605" y="648081"/>
                    <a:pt x="2935605" y="651510"/>
                  </a:cubicBezTo>
                  <a:cubicBezTo>
                    <a:pt x="2935605" y="654939"/>
                    <a:pt x="2932842" y="657702"/>
                    <a:pt x="2929413" y="657702"/>
                  </a:cubicBezTo>
                  <a:cubicBezTo>
                    <a:pt x="2925984" y="657702"/>
                    <a:pt x="2923222" y="654939"/>
                    <a:pt x="2923222" y="651510"/>
                  </a:cubicBezTo>
                  <a:cubicBezTo>
                    <a:pt x="2923222" y="648081"/>
                    <a:pt x="2925984" y="645319"/>
                    <a:pt x="2929413" y="645319"/>
                  </a:cubicBezTo>
                  <a:close/>
                  <a:moveTo>
                    <a:pt x="2897885" y="644176"/>
                  </a:moveTo>
                  <a:cubicBezTo>
                    <a:pt x="2901314" y="644176"/>
                    <a:pt x="2904077" y="646938"/>
                    <a:pt x="2904077" y="650367"/>
                  </a:cubicBezTo>
                  <a:cubicBezTo>
                    <a:pt x="2904077" y="653796"/>
                    <a:pt x="2901314" y="656558"/>
                    <a:pt x="2897885" y="656558"/>
                  </a:cubicBezTo>
                  <a:cubicBezTo>
                    <a:pt x="2894456" y="656558"/>
                    <a:pt x="2891694" y="653796"/>
                    <a:pt x="2891694" y="650367"/>
                  </a:cubicBezTo>
                  <a:cubicBezTo>
                    <a:pt x="2891694" y="646938"/>
                    <a:pt x="2894456" y="644176"/>
                    <a:pt x="2897885" y="644176"/>
                  </a:cubicBezTo>
                  <a:close/>
                  <a:moveTo>
                    <a:pt x="2915507" y="643985"/>
                  </a:moveTo>
                  <a:cubicBezTo>
                    <a:pt x="2918936" y="643985"/>
                    <a:pt x="2921698" y="646747"/>
                    <a:pt x="2921698" y="650176"/>
                  </a:cubicBezTo>
                  <a:cubicBezTo>
                    <a:pt x="2921698" y="653605"/>
                    <a:pt x="2918936" y="656368"/>
                    <a:pt x="2915507" y="656368"/>
                  </a:cubicBezTo>
                  <a:cubicBezTo>
                    <a:pt x="2912078" y="656368"/>
                    <a:pt x="2909316" y="653605"/>
                    <a:pt x="2909316" y="650176"/>
                  </a:cubicBezTo>
                  <a:cubicBezTo>
                    <a:pt x="2909316" y="646747"/>
                    <a:pt x="2912078" y="643985"/>
                    <a:pt x="2915507" y="643985"/>
                  </a:cubicBezTo>
                  <a:close/>
                  <a:moveTo>
                    <a:pt x="2588227" y="641318"/>
                  </a:moveTo>
                  <a:cubicBezTo>
                    <a:pt x="2591656" y="641318"/>
                    <a:pt x="2594419" y="644080"/>
                    <a:pt x="2594419" y="647509"/>
                  </a:cubicBezTo>
                  <a:cubicBezTo>
                    <a:pt x="2594419" y="650938"/>
                    <a:pt x="2591656" y="653701"/>
                    <a:pt x="2588227" y="653701"/>
                  </a:cubicBezTo>
                  <a:cubicBezTo>
                    <a:pt x="2584798" y="653701"/>
                    <a:pt x="2582036" y="650938"/>
                    <a:pt x="2582036" y="647509"/>
                  </a:cubicBezTo>
                  <a:cubicBezTo>
                    <a:pt x="2582036" y="644080"/>
                    <a:pt x="2584798" y="641318"/>
                    <a:pt x="2588227" y="641318"/>
                  </a:cubicBezTo>
                  <a:close/>
                  <a:moveTo>
                    <a:pt x="1259014" y="639414"/>
                  </a:moveTo>
                  <a:cubicBezTo>
                    <a:pt x="1262443" y="639414"/>
                    <a:pt x="1265206" y="642176"/>
                    <a:pt x="1265206" y="645605"/>
                  </a:cubicBezTo>
                  <a:cubicBezTo>
                    <a:pt x="1265206" y="649034"/>
                    <a:pt x="1262443" y="651796"/>
                    <a:pt x="1259014" y="651796"/>
                  </a:cubicBezTo>
                  <a:cubicBezTo>
                    <a:pt x="1255585" y="651796"/>
                    <a:pt x="1252823" y="649034"/>
                    <a:pt x="1252823" y="645605"/>
                  </a:cubicBezTo>
                  <a:cubicBezTo>
                    <a:pt x="1252823" y="642176"/>
                    <a:pt x="1255585" y="639414"/>
                    <a:pt x="1259014" y="639414"/>
                  </a:cubicBezTo>
                  <a:close/>
                  <a:moveTo>
                    <a:pt x="393858" y="637889"/>
                  </a:moveTo>
                  <a:cubicBezTo>
                    <a:pt x="397287" y="637889"/>
                    <a:pt x="400049" y="640651"/>
                    <a:pt x="400049" y="644080"/>
                  </a:cubicBezTo>
                  <a:cubicBezTo>
                    <a:pt x="400049" y="647509"/>
                    <a:pt x="397287" y="650272"/>
                    <a:pt x="393858" y="650272"/>
                  </a:cubicBezTo>
                  <a:lnTo>
                    <a:pt x="391096" y="647510"/>
                  </a:lnTo>
                  <a:lnTo>
                    <a:pt x="385095" y="653510"/>
                  </a:lnTo>
                  <a:lnTo>
                    <a:pt x="382524" y="650939"/>
                  </a:lnTo>
                  <a:lnTo>
                    <a:pt x="377094" y="656368"/>
                  </a:lnTo>
                  <a:lnTo>
                    <a:pt x="374189" y="653462"/>
                  </a:lnTo>
                  <a:lnTo>
                    <a:pt x="369188" y="658464"/>
                  </a:lnTo>
                  <a:lnTo>
                    <a:pt x="365521" y="654796"/>
                  </a:lnTo>
                  <a:lnTo>
                    <a:pt x="360902" y="659416"/>
                  </a:lnTo>
                  <a:cubicBezTo>
                    <a:pt x="357473" y="659416"/>
                    <a:pt x="354711" y="656653"/>
                    <a:pt x="354711" y="653224"/>
                  </a:cubicBezTo>
                  <a:cubicBezTo>
                    <a:pt x="354711" y="649795"/>
                    <a:pt x="357473" y="647033"/>
                    <a:pt x="360902" y="647033"/>
                  </a:cubicBezTo>
                  <a:lnTo>
                    <a:pt x="364569" y="650700"/>
                  </a:lnTo>
                  <a:lnTo>
                    <a:pt x="369188" y="646081"/>
                  </a:lnTo>
                  <a:lnTo>
                    <a:pt x="372093" y="648986"/>
                  </a:lnTo>
                  <a:lnTo>
                    <a:pt x="377094" y="643985"/>
                  </a:lnTo>
                  <a:lnTo>
                    <a:pt x="379666" y="646557"/>
                  </a:lnTo>
                  <a:lnTo>
                    <a:pt x="385095" y="641128"/>
                  </a:lnTo>
                  <a:lnTo>
                    <a:pt x="387857" y="643890"/>
                  </a:lnTo>
                  <a:close/>
                  <a:moveTo>
                    <a:pt x="2994660" y="637223"/>
                  </a:moveTo>
                  <a:cubicBezTo>
                    <a:pt x="2996660" y="637223"/>
                    <a:pt x="2998279" y="638842"/>
                    <a:pt x="2998279" y="640842"/>
                  </a:cubicBezTo>
                  <a:cubicBezTo>
                    <a:pt x="2998279" y="642843"/>
                    <a:pt x="2996660" y="644462"/>
                    <a:pt x="2994660" y="644462"/>
                  </a:cubicBezTo>
                  <a:cubicBezTo>
                    <a:pt x="2992659" y="644462"/>
                    <a:pt x="2991040" y="642843"/>
                    <a:pt x="2991040" y="640842"/>
                  </a:cubicBezTo>
                  <a:cubicBezTo>
                    <a:pt x="2991040" y="638842"/>
                    <a:pt x="2992659" y="637223"/>
                    <a:pt x="2994660" y="637223"/>
                  </a:cubicBezTo>
                  <a:close/>
                  <a:moveTo>
                    <a:pt x="506729" y="637223"/>
                  </a:moveTo>
                  <a:cubicBezTo>
                    <a:pt x="510158" y="637223"/>
                    <a:pt x="512920" y="639985"/>
                    <a:pt x="512920" y="643414"/>
                  </a:cubicBezTo>
                  <a:cubicBezTo>
                    <a:pt x="512920" y="646843"/>
                    <a:pt x="510158" y="649606"/>
                    <a:pt x="506729" y="649606"/>
                  </a:cubicBezTo>
                  <a:cubicBezTo>
                    <a:pt x="503300" y="649606"/>
                    <a:pt x="500538" y="646843"/>
                    <a:pt x="500538" y="643414"/>
                  </a:cubicBezTo>
                  <a:cubicBezTo>
                    <a:pt x="500538" y="639985"/>
                    <a:pt x="503300" y="637223"/>
                    <a:pt x="506729" y="637223"/>
                  </a:cubicBezTo>
                  <a:close/>
                  <a:moveTo>
                    <a:pt x="403954" y="634651"/>
                  </a:moveTo>
                  <a:cubicBezTo>
                    <a:pt x="407383" y="634651"/>
                    <a:pt x="410146" y="637413"/>
                    <a:pt x="410146" y="640842"/>
                  </a:cubicBezTo>
                  <a:cubicBezTo>
                    <a:pt x="410146" y="644271"/>
                    <a:pt x="407383" y="647033"/>
                    <a:pt x="403954" y="647033"/>
                  </a:cubicBezTo>
                  <a:cubicBezTo>
                    <a:pt x="400525" y="647033"/>
                    <a:pt x="397763" y="644271"/>
                    <a:pt x="397763" y="640842"/>
                  </a:cubicBezTo>
                  <a:cubicBezTo>
                    <a:pt x="397763" y="637413"/>
                    <a:pt x="400525" y="634651"/>
                    <a:pt x="403954" y="634651"/>
                  </a:cubicBezTo>
                  <a:close/>
                  <a:moveTo>
                    <a:pt x="2764916" y="633603"/>
                  </a:moveTo>
                  <a:cubicBezTo>
                    <a:pt x="2768345" y="633603"/>
                    <a:pt x="2771107" y="636365"/>
                    <a:pt x="2771107" y="639794"/>
                  </a:cubicBezTo>
                  <a:cubicBezTo>
                    <a:pt x="2771107" y="643223"/>
                    <a:pt x="2768345" y="645985"/>
                    <a:pt x="2764916" y="645985"/>
                  </a:cubicBezTo>
                  <a:cubicBezTo>
                    <a:pt x="2761487" y="645985"/>
                    <a:pt x="2758725" y="643223"/>
                    <a:pt x="2758725" y="639794"/>
                  </a:cubicBezTo>
                  <a:cubicBezTo>
                    <a:pt x="2758725" y="636365"/>
                    <a:pt x="2761487" y="633603"/>
                    <a:pt x="2764916" y="633603"/>
                  </a:cubicBezTo>
                  <a:close/>
                  <a:moveTo>
                    <a:pt x="948975" y="633603"/>
                  </a:moveTo>
                  <a:cubicBezTo>
                    <a:pt x="952404" y="633603"/>
                    <a:pt x="955166" y="636365"/>
                    <a:pt x="955166" y="639794"/>
                  </a:cubicBezTo>
                  <a:cubicBezTo>
                    <a:pt x="955166" y="643223"/>
                    <a:pt x="952404" y="645985"/>
                    <a:pt x="948975" y="645985"/>
                  </a:cubicBezTo>
                  <a:cubicBezTo>
                    <a:pt x="945546" y="645985"/>
                    <a:pt x="942784" y="643223"/>
                    <a:pt x="942784" y="639794"/>
                  </a:cubicBezTo>
                  <a:cubicBezTo>
                    <a:pt x="942784" y="636365"/>
                    <a:pt x="945546" y="633603"/>
                    <a:pt x="948975" y="633603"/>
                  </a:cubicBezTo>
                  <a:close/>
                  <a:moveTo>
                    <a:pt x="2024633" y="633127"/>
                  </a:moveTo>
                  <a:cubicBezTo>
                    <a:pt x="2028062" y="633127"/>
                    <a:pt x="2030825" y="635889"/>
                    <a:pt x="2030825" y="639318"/>
                  </a:cubicBezTo>
                  <a:cubicBezTo>
                    <a:pt x="2030825" y="642747"/>
                    <a:pt x="2028062" y="645510"/>
                    <a:pt x="2024633" y="645510"/>
                  </a:cubicBezTo>
                  <a:cubicBezTo>
                    <a:pt x="2021204" y="645510"/>
                    <a:pt x="2018442" y="642747"/>
                    <a:pt x="2018442" y="639318"/>
                  </a:cubicBezTo>
                  <a:cubicBezTo>
                    <a:pt x="2018442" y="635889"/>
                    <a:pt x="2021204" y="633127"/>
                    <a:pt x="2024633" y="633127"/>
                  </a:cubicBezTo>
                  <a:close/>
                  <a:moveTo>
                    <a:pt x="647795" y="633127"/>
                  </a:moveTo>
                  <a:cubicBezTo>
                    <a:pt x="651224" y="633127"/>
                    <a:pt x="653987" y="635889"/>
                    <a:pt x="653987" y="639318"/>
                  </a:cubicBezTo>
                  <a:cubicBezTo>
                    <a:pt x="653987" y="642747"/>
                    <a:pt x="651224" y="645510"/>
                    <a:pt x="647795" y="645510"/>
                  </a:cubicBezTo>
                  <a:cubicBezTo>
                    <a:pt x="644366" y="645510"/>
                    <a:pt x="641604" y="642747"/>
                    <a:pt x="641604" y="639318"/>
                  </a:cubicBezTo>
                  <a:cubicBezTo>
                    <a:pt x="641604" y="635889"/>
                    <a:pt x="644366" y="633127"/>
                    <a:pt x="647795" y="633127"/>
                  </a:cubicBezTo>
                  <a:close/>
                  <a:moveTo>
                    <a:pt x="475773" y="632175"/>
                  </a:moveTo>
                  <a:cubicBezTo>
                    <a:pt x="479202" y="632175"/>
                    <a:pt x="481964" y="634937"/>
                    <a:pt x="481964" y="638366"/>
                  </a:cubicBezTo>
                  <a:cubicBezTo>
                    <a:pt x="481964" y="641795"/>
                    <a:pt x="479202" y="644558"/>
                    <a:pt x="475773" y="644558"/>
                  </a:cubicBezTo>
                  <a:cubicBezTo>
                    <a:pt x="472344" y="644558"/>
                    <a:pt x="469582" y="641795"/>
                    <a:pt x="469582" y="638366"/>
                  </a:cubicBezTo>
                  <a:cubicBezTo>
                    <a:pt x="469582" y="634937"/>
                    <a:pt x="472344" y="632175"/>
                    <a:pt x="475773" y="632175"/>
                  </a:cubicBezTo>
                  <a:close/>
                  <a:moveTo>
                    <a:pt x="416242" y="631889"/>
                  </a:moveTo>
                  <a:cubicBezTo>
                    <a:pt x="419671" y="631889"/>
                    <a:pt x="422433" y="634651"/>
                    <a:pt x="422433" y="638080"/>
                  </a:cubicBezTo>
                  <a:cubicBezTo>
                    <a:pt x="422433" y="641509"/>
                    <a:pt x="419671" y="644271"/>
                    <a:pt x="416242" y="644271"/>
                  </a:cubicBezTo>
                  <a:cubicBezTo>
                    <a:pt x="412813" y="644271"/>
                    <a:pt x="410051" y="641509"/>
                    <a:pt x="410051" y="638080"/>
                  </a:cubicBezTo>
                  <a:cubicBezTo>
                    <a:pt x="410051" y="634651"/>
                    <a:pt x="412813" y="631889"/>
                    <a:pt x="416242" y="631889"/>
                  </a:cubicBezTo>
                  <a:close/>
                  <a:moveTo>
                    <a:pt x="2937509" y="630746"/>
                  </a:moveTo>
                  <a:lnTo>
                    <a:pt x="2943414" y="636652"/>
                  </a:lnTo>
                  <a:lnTo>
                    <a:pt x="2945987" y="634079"/>
                  </a:lnTo>
                  <a:lnTo>
                    <a:pt x="2951463" y="639556"/>
                  </a:lnTo>
                  <a:lnTo>
                    <a:pt x="2954273" y="636746"/>
                  </a:lnTo>
                  <a:lnTo>
                    <a:pt x="2959322" y="641795"/>
                  </a:lnTo>
                  <a:lnTo>
                    <a:pt x="2962750" y="638366"/>
                  </a:lnTo>
                  <a:lnTo>
                    <a:pt x="2967608" y="643224"/>
                  </a:lnTo>
                  <a:lnTo>
                    <a:pt x="2972085" y="638747"/>
                  </a:lnTo>
                  <a:lnTo>
                    <a:pt x="2976800" y="643462"/>
                  </a:lnTo>
                  <a:lnTo>
                    <a:pt x="2982658" y="637604"/>
                  </a:lnTo>
                  <a:cubicBezTo>
                    <a:pt x="2986087" y="637604"/>
                    <a:pt x="2988850" y="640366"/>
                    <a:pt x="2988850" y="643795"/>
                  </a:cubicBezTo>
                  <a:cubicBezTo>
                    <a:pt x="2988850" y="647224"/>
                    <a:pt x="2986087" y="649987"/>
                    <a:pt x="2982658" y="649987"/>
                  </a:cubicBezTo>
                  <a:lnTo>
                    <a:pt x="2977943" y="645271"/>
                  </a:lnTo>
                  <a:lnTo>
                    <a:pt x="2972085" y="651129"/>
                  </a:lnTo>
                  <a:lnTo>
                    <a:pt x="2967227" y="646271"/>
                  </a:lnTo>
                  <a:lnTo>
                    <a:pt x="2962750" y="650748"/>
                  </a:lnTo>
                  <a:lnTo>
                    <a:pt x="2957702" y="645700"/>
                  </a:lnTo>
                  <a:lnTo>
                    <a:pt x="2954273" y="649129"/>
                  </a:lnTo>
                  <a:lnTo>
                    <a:pt x="2948797" y="643652"/>
                  </a:lnTo>
                  <a:lnTo>
                    <a:pt x="2945987" y="646462"/>
                  </a:lnTo>
                  <a:lnTo>
                    <a:pt x="2940082" y="640556"/>
                  </a:lnTo>
                  <a:lnTo>
                    <a:pt x="2937509" y="643129"/>
                  </a:lnTo>
                  <a:cubicBezTo>
                    <a:pt x="2934080" y="643129"/>
                    <a:pt x="2931318" y="640366"/>
                    <a:pt x="2931318" y="636937"/>
                  </a:cubicBezTo>
                  <a:cubicBezTo>
                    <a:pt x="2931318" y="633508"/>
                    <a:pt x="2934080" y="630746"/>
                    <a:pt x="2937509" y="630746"/>
                  </a:cubicBezTo>
                  <a:close/>
                  <a:moveTo>
                    <a:pt x="431672" y="630174"/>
                  </a:moveTo>
                  <a:cubicBezTo>
                    <a:pt x="435101" y="630174"/>
                    <a:pt x="437864" y="632936"/>
                    <a:pt x="437864" y="636365"/>
                  </a:cubicBezTo>
                  <a:cubicBezTo>
                    <a:pt x="437864" y="639794"/>
                    <a:pt x="435101" y="642556"/>
                    <a:pt x="431672" y="642556"/>
                  </a:cubicBezTo>
                  <a:cubicBezTo>
                    <a:pt x="428243" y="642556"/>
                    <a:pt x="425481" y="639794"/>
                    <a:pt x="425481" y="636365"/>
                  </a:cubicBezTo>
                  <a:cubicBezTo>
                    <a:pt x="425481" y="632936"/>
                    <a:pt x="428243" y="630174"/>
                    <a:pt x="431672" y="630174"/>
                  </a:cubicBezTo>
                  <a:close/>
                  <a:moveTo>
                    <a:pt x="451199" y="630079"/>
                  </a:moveTo>
                  <a:cubicBezTo>
                    <a:pt x="454628" y="630079"/>
                    <a:pt x="457390" y="632841"/>
                    <a:pt x="457390" y="636270"/>
                  </a:cubicBezTo>
                  <a:cubicBezTo>
                    <a:pt x="457390" y="639699"/>
                    <a:pt x="454628" y="642462"/>
                    <a:pt x="451199" y="642462"/>
                  </a:cubicBezTo>
                  <a:cubicBezTo>
                    <a:pt x="447770" y="642462"/>
                    <a:pt x="445008" y="639699"/>
                    <a:pt x="445008" y="636270"/>
                  </a:cubicBezTo>
                  <a:cubicBezTo>
                    <a:pt x="445008" y="632841"/>
                    <a:pt x="447770" y="630079"/>
                    <a:pt x="451199" y="630079"/>
                  </a:cubicBezTo>
                  <a:close/>
                  <a:moveTo>
                    <a:pt x="780573" y="627888"/>
                  </a:moveTo>
                  <a:cubicBezTo>
                    <a:pt x="784002" y="627888"/>
                    <a:pt x="786764" y="630650"/>
                    <a:pt x="786764" y="634079"/>
                  </a:cubicBezTo>
                  <a:cubicBezTo>
                    <a:pt x="786764" y="637508"/>
                    <a:pt x="784002" y="640270"/>
                    <a:pt x="780573" y="640270"/>
                  </a:cubicBezTo>
                  <a:cubicBezTo>
                    <a:pt x="777144" y="640270"/>
                    <a:pt x="774382" y="637508"/>
                    <a:pt x="774382" y="634079"/>
                  </a:cubicBezTo>
                  <a:cubicBezTo>
                    <a:pt x="774382" y="630650"/>
                    <a:pt x="777144" y="627888"/>
                    <a:pt x="780573" y="627888"/>
                  </a:cubicBezTo>
                  <a:close/>
                  <a:moveTo>
                    <a:pt x="2928080" y="627031"/>
                  </a:moveTo>
                  <a:cubicBezTo>
                    <a:pt x="2931509" y="627031"/>
                    <a:pt x="2934271" y="629793"/>
                    <a:pt x="2934271" y="633222"/>
                  </a:cubicBezTo>
                  <a:cubicBezTo>
                    <a:pt x="2934271" y="636651"/>
                    <a:pt x="2931509" y="639414"/>
                    <a:pt x="2928080" y="639414"/>
                  </a:cubicBezTo>
                  <a:cubicBezTo>
                    <a:pt x="2924651" y="639414"/>
                    <a:pt x="2921889" y="636651"/>
                    <a:pt x="2921889" y="633222"/>
                  </a:cubicBezTo>
                  <a:cubicBezTo>
                    <a:pt x="2921889" y="629793"/>
                    <a:pt x="2924651" y="627031"/>
                    <a:pt x="2928080" y="627031"/>
                  </a:cubicBezTo>
                  <a:close/>
                  <a:moveTo>
                    <a:pt x="1364456" y="626841"/>
                  </a:moveTo>
                  <a:cubicBezTo>
                    <a:pt x="1367885" y="626841"/>
                    <a:pt x="1370647" y="629603"/>
                    <a:pt x="1370647" y="633032"/>
                  </a:cubicBezTo>
                  <a:cubicBezTo>
                    <a:pt x="1370647" y="636461"/>
                    <a:pt x="1367885" y="639223"/>
                    <a:pt x="1364456" y="639223"/>
                  </a:cubicBezTo>
                  <a:cubicBezTo>
                    <a:pt x="1361027" y="639223"/>
                    <a:pt x="1358265" y="636461"/>
                    <a:pt x="1358265" y="633032"/>
                  </a:cubicBezTo>
                  <a:cubicBezTo>
                    <a:pt x="1358265" y="629603"/>
                    <a:pt x="1361027" y="626841"/>
                    <a:pt x="1364456" y="626841"/>
                  </a:cubicBezTo>
                  <a:close/>
                  <a:moveTo>
                    <a:pt x="2806064" y="624650"/>
                  </a:moveTo>
                  <a:cubicBezTo>
                    <a:pt x="2809493" y="624650"/>
                    <a:pt x="2812255" y="627412"/>
                    <a:pt x="2812255" y="630841"/>
                  </a:cubicBezTo>
                  <a:cubicBezTo>
                    <a:pt x="2812255" y="634270"/>
                    <a:pt x="2809493" y="637033"/>
                    <a:pt x="2806064" y="637033"/>
                  </a:cubicBezTo>
                  <a:cubicBezTo>
                    <a:pt x="2802635" y="637033"/>
                    <a:pt x="2799873" y="634270"/>
                    <a:pt x="2799873" y="630841"/>
                  </a:cubicBezTo>
                  <a:cubicBezTo>
                    <a:pt x="2799873" y="627412"/>
                    <a:pt x="2802635" y="624650"/>
                    <a:pt x="2806064" y="624650"/>
                  </a:cubicBezTo>
                  <a:close/>
                  <a:moveTo>
                    <a:pt x="2343625" y="623602"/>
                  </a:moveTo>
                  <a:cubicBezTo>
                    <a:pt x="2347054" y="623602"/>
                    <a:pt x="2349817" y="626364"/>
                    <a:pt x="2349817" y="629793"/>
                  </a:cubicBezTo>
                  <a:cubicBezTo>
                    <a:pt x="2349817" y="633222"/>
                    <a:pt x="2347054" y="635985"/>
                    <a:pt x="2343625" y="635985"/>
                  </a:cubicBezTo>
                  <a:cubicBezTo>
                    <a:pt x="2340196" y="635985"/>
                    <a:pt x="2337434" y="633222"/>
                    <a:pt x="2337434" y="629793"/>
                  </a:cubicBezTo>
                  <a:cubicBezTo>
                    <a:pt x="2337434" y="626364"/>
                    <a:pt x="2340196" y="623602"/>
                    <a:pt x="2343625" y="623602"/>
                  </a:cubicBezTo>
                  <a:close/>
                  <a:moveTo>
                    <a:pt x="2917031" y="623316"/>
                  </a:moveTo>
                  <a:cubicBezTo>
                    <a:pt x="2920460" y="623316"/>
                    <a:pt x="2923222" y="626078"/>
                    <a:pt x="2923222" y="629507"/>
                  </a:cubicBezTo>
                  <a:cubicBezTo>
                    <a:pt x="2923222" y="632936"/>
                    <a:pt x="2920460" y="635699"/>
                    <a:pt x="2917031" y="635699"/>
                  </a:cubicBezTo>
                  <a:cubicBezTo>
                    <a:pt x="2913602" y="635699"/>
                    <a:pt x="2910840" y="632936"/>
                    <a:pt x="2910840" y="629507"/>
                  </a:cubicBezTo>
                  <a:cubicBezTo>
                    <a:pt x="2910840" y="626078"/>
                    <a:pt x="2913602" y="623316"/>
                    <a:pt x="2917031" y="623316"/>
                  </a:cubicBezTo>
                  <a:close/>
                  <a:moveTo>
                    <a:pt x="396906" y="622650"/>
                  </a:moveTo>
                  <a:cubicBezTo>
                    <a:pt x="400335" y="622650"/>
                    <a:pt x="403097" y="625412"/>
                    <a:pt x="403097" y="628841"/>
                  </a:cubicBezTo>
                  <a:cubicBezTo>
                    <a:pt x="403097" y="632270"/>
                    <a:pt x="400335" y="635033"/>
                    <a:pt x="396906" y="635033"/>
                  </a:cubicBezTo>
                  <a:lnTo>
                    <a:pt x="394191" y="632317"/>
                  </a:lnTo>
                  <a:lnTo>
                    <a:pt x="388238" y="638271"/>
                  </a:lnTo>
                  <a:lnTo>
                    <a:pt x="384999" y="635032"/>
                  </a:lnTo>
                  <a:lnTo>
                    <a:pt x="379380" y="640652"/>
                  </a:lnTo>
                  <a:lnTo>
                    <a:pt x="374999" y="636270"/>
                  </a:lnTo>
                  <a:lnTo>
                    <a:pt x="369856" y="641414"/>
                  </a:lnTo>
                  <a:cubicBezTo>
                    <a:pt x="366522" y="641414"/>
                    <a:pt x="363855" y="638747"/>
                    <a:pt x="363855" y="635413"/>
                  </a:cubicBezTo>
                  <a:cubicBezTo>
                    <a:pt x="363855" y="632079"/>
                    <a:pt x="366522" y="629412"/>
                    <a:pt x="369856" y="629412"/>
                  </a:cubicBezTo>
                  <a:lnTo>
                    <a:pt x="374046" y="633603"/>
                  </a:lnTo>
                  <a:lnTo>
                    <a:pt x="379380" y="628269"/>
                  </a:lnTo>
                  <a:lnTo>
                    <a:pt x="382619" y="631508"/>
                  </a:lnTo>
                  <a:lnTo>
                    <a:pt x="388238" y="625888"/>
                  </a:lnTo>
                  <a:lnTo>
                    <a:pt x="390953" y="628603"/>
                  </a:lnTo>
                  <a:close/>
                  <a:moveTo>
                    <a:pt x="1917572" y="622173"/>
                  </a:moveTo>
                  <a:cubicBezTo>
                    <a:pt x="1921001" y="622173"/>
                    <a:pt x="1923764" y="624935"/>
                    <a:pt x="1923764" y="628364"/>
                  </a:cubicBezTo>
                  <a:cubicBezTo>
                    <a:pt x="1923764" y="631793"/>
                    <a:pt x="1921001" y="634556"/>
                    <a:pt x="1917572" y="634556"/>
                  </a:cubicBezTo>
                  <a:cubicBezTo>
                    <a:pt x="1914143" y="634556"/>
                    <a:pt x="1911381" y="631793"/>
                    <a:pt x="1911381" y="628364"/>
                  </a:cubicBezTo>
                  <a:cubicBezTo>
                    <a:pt x="1911381" y="624935"/>
                    <a:pt x="1914143" y="622173"/>
                    <a:pt x="1917572" y="622173"/>
                  </a:cubicBezTo>
                  <a:close/>
                  <a:moveTo>
                    <a:pt x="2657284" y="620935"/>
                  </a:moveTo>
                  <a:cubicBezTo>
                    <a:pt x="2660713" y="620935"/>
                    <a:pt x="2663476" y="623697"/>
                    <a:pt x="2663476" y="627126"/>
                  </a:cubicBezTo>
                  <a:cubicBezTo>
                    <a:pt x="2663476" y="630555"/>
                    <a:pt x="2660713" y="633318"/>
                    <a:pt x="2657284" y="633318"/>
                  </a:cubicBezTo>
                  <a:cubicBezTo>
                    <a:pt x="2653855" y="633318"/>
                    <a:pt x="2651093" y="630555"/>
                    <a:pt x="2651093" y="627126"/>
                  </a:cubicBezTo>
                  <a:cubicBezTo>
                    <a:pt x="2651093" y="623697"/>
                    <a:pt x="2653855" y="620935"/>
                    <a:pt x="2657284" y="620935"/>
                  </a:cubicBezTo>
                  <a:close/>
                  <a:moveTo>
                    <a:pt x="2903600" y="620173"/>
                  </a:moveTo>
                  <a:cubicBezTo>
                    <a:pt x="2907029" y="620173"/>
                    <a:pt x="2909791" y="622935"/>
                    <a:pt x="2909791" y="626364"/>
                  </a:cubicBezTo>
                  <a:cubicBezTo>
                    <a:pt x="2909791" y="629793"/>
                    <a:pt x="2907029" y="632556"/>
                    <a:pt x="2903600" y="632556"/>
                  </a:cubicBezTo>
                  <a:cubicBezTo>
                    <a:pt x="2900171" y="632556"/>
                    <a:pt x="2897409" y="629793"/>
                    <a:pt x="2897409" y="626364"/>
                  </a:cubicBezTo>
                  <a:cubicBezTo>
                    <a:pt x="2897409" y="622935"/>
                    <a:pt x="2900171" y="620173"/>
                    <a:pt x="2903600" y="620173"/>
                  </a:cubicBezTo>
                  <a:close/>
                  <a:moveTo>
                    <a:pt x="2839211" y="619697"/>
                  </a:moveTo>
                  <a:cubicBezTo>
                    <a:pt x="2842640" y="619697"/>
                    <a:pt x="2845403" y="622459"/>
                    <a:pt x="2845403" y="625888"/>
                  </a:cubicBezTo>
                  <a:cubicBezTo>
                    <a:pt x="2845403" y="629317"/>
                    <a:pt x="2842640" y="632079"/>
                    <a:pt x="2839211" y="632079"/>
                  </a:cubicBezTo>
                  <a:cubicBezTo>
                    <a:pt x="2835782" y="632079"/>
                    <a:pt x="2833020" y="629317"/>
                    <a:pt x="2833020" y="625888"/>
                  </a:cubicBezTo>
                  <a:cubicBezTo>
                    <a:pt x="2833020" y="622459"/>
                    <a:pt x="2835782" y="619697"/>
                    <a:pt x="2839211" y="619697"/>
                  </a:cubicBezTo>
                  <a:close/>
                  <a:moveTo>
                    <a:pt x="2975990" y="619411"/>
                  </a:moveTo>
                  <a:cubicBezTo>
                    <a:pt x="2979410" y="619411"/>
                    <a:pt x="2982181" y="622183"/>
                    <a:pt x="2982181" y="625602"/>
                  </a:cubicBezTo>
                  <a:cubicBezTo>
                    <a:pt x="2982181" y="629022"/>
                    <a:pt x="2979410" y="631793"/>
                    <a:pt x="2975990" y="631793"/>
                  </a:cubicBezTo>
                  <a:cubicBezTo>
                    <a:pt x="2972571" y="631793"/>
                    <a:pt x="2969799" y="629022"/>
                    <a:pt x="2969799" y="625602"/>
                  </a:cubicBezTo>
                  <a:cubicBezTo>
                    <a:pt x="2969799" y="622183"/>
                    <a:pt x="2972571" y="619411"/>
                    <a:pt x="2975990" y="619411"/>
                  </a:cubicBezTo>
                  <a:close/>
                  <a:moveTo>
                    <a:pt x="593788" y="619221"/>
                  </a:moveTo>
                  <a:cubicBezTo>
                    <a:pt x="597217" y="619221"/>
                    <a:pt x="599980" y="621983"/>
                    <a:pt x="599980" y="625412"/>
                  </a:cubicBezTo>
                  <a:cubicBezTo>
                    <a:pt x="599980" y="628841"/>
                    <a:pt x="597217" y="631604"/>
                    <a:pt x="593788" y="631604"/>
                  </a:cubicBezTo>
                  <a:cubicBezTo>
                    <a:pt x="590359" y="631604"/>
                    <a:pt x="587597" y="628841"/>
                    <a:pt x="587597" y="625412"/>
                  </a:cubicBezTo>
                  <a:cubicBezTo>
                    <a:pt x="587597" y="621983"/>
                    <a:pt x="590359" y="619221"/>
                    <a:pt x="593788" y="619221"/>
                  </a:cubicBezTo>
                  <a:close/>
                  <a:moveTo>
                    <a:pt x="406050" y="618649"/>
                  </a:moveTo>
                  <a:cubicBezTo>
                    <a:pt x="409479" y="618649"/>
                    <a:pt x="412241" y="621411"/>
                    <a:pt x="412241" y="624840"/>
                  </a:cubicBezTo>
                  <a:cubicBezTo>
                    <a:pt x="412241" y="628269"/>
                    <a:pt x="409479" y="631031"/>
                    <a:pt x="406050" y="631031"/>
                  </a:cubicBezTo>
                  <a:cubicBezTo>
                    <a:pt x="402621" y="631031"/>
                    <a:pt x="399859" y="628269"/>
                    <a:pt x="399859" y="624840"/>
                  </a:cubicBezTo>
                  <a:cubicBezTo>
                    <a:pt x="399859" y="621411"/>
                    <a:pt x="402621" y="618649"/>
                    <a:pt x="406050" y="618649"/>
                  </a:cubicBezTo>
                  <a:close/>
                  <a:moveTo>
                    <a:pt x="2886836" y="618077"/>
                  </a:moveTo>
                  <a:cubicBezTo>
                    <a:pt x="2890265" y="618077"/>
                    <a:pt x="2893028" y="620839"/>
                    <a:pt x="2893028" y="624268"/>
                  </a:cubicBezTo>
                  <a:cubicBezTo>
                    <a:pt x="2893028" y="627697"/>
                    <a:pt x="2890265" y="630460"/>
                    <a:pt x="2886836" y="630460"/>
                  </a:cubicBezTo>
                  <a:cubicBezTo>
                    <a:pt x="2883407" y="630460"/>
                    <a:pt x="2880645" y="627697"/>
                    <a:pt x="2880645" y="624268"/>
                  </a:cubicBezTo>
                  <a:cubicBezTo>
                    <a:pt x="2880645" y="620839"/>
                    <a:pt x="2883407" y="618077"/>
                    <a:pt x="2886836" y="618077"/>
                  </a:cubicBezTo>
                  <a:close/>
                  <a:moveTo>
                    <a:pt x="1473231" y="617887"/>
                  </a:moveTo>
                  <a:cubicBezTo>
                    <a:pt x="1476660" y="617887"/>
                    <a:pt x="1479423" y="620649"/>
                    <a:pt x="1479423" y="624078"/>
                  </a:cubicBezTo>
                  <a:cubicBezTo>
                    <a:pt x="1479423" y="627507"/>
                    <a:pt x="1476660" y="630270"/>
                    <a:pt x="1473231" y="630270"/>
                  </a:cubicBezTo>
                  <a:cubicBezTo>
                    <a:pt x="1469802" y="630270"/>
                    <a:pt x="1467040" y="627507"/>
                    <a:pt x="1467040" y="624078"/>
                  </a:cubicBezTo>
                  <a:cubicBezTo>
                    <a:pt x="1467040" y="620649"/>
                    <a:pt x="1469802" y="617887"/>
                    <a:pt x="1473231" y="617887"/>
                  </a:cubicBezTo>
                  <a:close/>
                  <a:moveTo>
                    <a:pt x="2865786" y="617696"/>
                  </a:moveTo>
                  <a:cubicBezTo>
                    <a:pt x="2869215" y="617696"/>
                    <a:pt x="2871977" y="620458"/>
                    <a:pt x="2871977" y="623887"/>
                  </a:cubicBezTo>
                  <a:cubicBezTo>
                    <a:pt x="2871977" y="627316"/>
                    <a:pt x="2869215" y="630079"/>
                    <a:pt x="2865786" y="630079"/>
                  </a:cubicBezTo>
                  <a:cubicBezTo>
                    <a:pt x="2862357" y="630079"/>
                    <a:pt x="2859595" y="627316"/>
                    <a:pt x="2859595" y="623887"/>
                  </a:cubicBezTo>
                  <a:cubicBezTo>
                    <a:pt x="2859595" y="620458"/>
                    <a:pt x="2862357" y="617696"/>
                    <a:pt x="2865786" y="617696"/>
                  </a:cubicBezTo>
                  <a:close/>
                  <a:moveTo>
                    <a:pt x="378047" y="617601"/>
                  </a:moveTo>
                  <a:cubicBezTo>
                    <a:pt x="378237" y="617601"/>
                    <a:pt x="378428" y="617791"/>
                    <a:pt x="378428" y="617982"/>
                  </a:cubicBezTo>
                  <a:cubicBezTo>
                    <a:pt x="378428" y="618172"/>
                    <a:pt x="378047" y="618363"/>
                    <a:pt x="378047" y="618363"/>
                  </a:cubicBezTo>
                  <a:cubicBezTo>
                    <a:pt x="377856" y="618363"/>
                    <a:pt x="377666" y="618172"/>
                    <a:pt x="377666" y="617982"/>
                  </a:cubicBezTo>
                  <a:cubicBezTo>
                    <a:pt x="377666" y="617791"/>
                    <a:pt x="377856" y="617601"/>
                    <a:pt x="378047" y="617601"/>
                  </a:cubicBezTo>
                  <a:close/>
                  <a:moveTo>
                    <a:pt x="2934842" y="616363"/>
                  </a:moveTo>
                  <a:lnTo>
                    <a:pt x="2940843" y="622364"/>
                  </a:lnTo>
                  <a:lnTo>
                    <a:pt x="2943986" y="619221"/>
                  </a:lnTo>
                  <a:lnTo>
                    <a:pt x="2949606" y="624841"/>
                  </a:lnTo>
                  <a:lnTo>
                    <a:pt x="2953607" y="620840"/>
                  </a:lnTo>
                  <a:lnTo>
                    <a:pt x="2958988" y="626221"/>
                  </a:lnTo>
                  <a:lnTo>
                    <a:pt x="2964179" y="621030"/>
                  </a:lnTo>
                  <a:cubicBezTo>
                    <a:pt x="2967608" y="621030"/>
                    <a:pt x="2970371" y="623792"/>
                    <a:pt x="2970371" y="627221"/>
                  </a:cubicBezTo>
                  <a:cubicBezTo>
                    <a:pt x="2970371" y="630650"/>
                    <a:pt x="2967608" y="633412"/>
                    <a:pt x="2964179" y="633412"/>
                  </a:cubicBezTo>
                  <a:lnTo>
                    <a:pt x="2958798" y="628031"/>
                  </a:lnTo>
                  <a:lnTo>
                    <a:pt x="2953607" y="633223"/>
                  </a:lnTo>
                  <a:lnTo>
                    <a:pt x="2947987" y="627603"/>
                  </a:lnTo>
                  <a:lnTo>
                    <a:pt x="2943986" y="631604"/>
                  </a:lnTo>
                  <a:lnTo>
                    <a:pt x="2937985" y="625602"/>
                  </a:lnTo>
                  <a:lnTo>
                    <a:pt x="2934842" y="628746"/>
                  </a:lnTo>
                  <a:cubicBezTo>
                    <a:pt x="2931413" y="628746"/>
                    <a:pt x="2928651" y="625983"/>
                    <a:pt x="2928651" y="622554"/>
                  </a:cubicBezTo>
                  <a:cubicBezTo>
                    <a:pt x="2928651" y="619125"/>
                    <a:pt x="2931413" y="616363"/>
                    <a:pt x="2934842" y="616363"/>
                  </a:cubicBezTo>
                  <a:close/>
                  <a:moveTo>
                    <a:pt x="2518600" y="616363"/>
                  </a:moveTo>
                  <a:cubicBezTo>
                    <a:pt x="2522029" y="616363"/>
                    <a:pt x="2524792" y="619125"/>
                    <a:pt x="2524792" y="622554"/>
                  </a:cubicBezTo>
                  <a:cubicBezTo>
                    <a:pt x="2524792" y="625983"/>
                    <a:pt x="2522029" y="628746"/>
                    <a:pt x="2518600" y="628746"/>
                  </a:cubicBezTo>
                  <a:cubicBezTo>
                    <a:pt x="2515171" y="628746"/>
                    <a:pt x="2512409" y="625983"/>
                    <a:pt x="2512409" y="622554"/>
                  </a:cubicBezTo>
                  <a:cubicBezTo>
                    <a:pt x="2512409" y="619125"/>
                    <a:pt x="2515171" y="616363"/>
                    <a:pt x="2518600" y="616363"/>
                  </a:cubicBezTo>
                  <a:close/>
                  <a:moveTo>
                    <a:pt x="1807654" y="614934"/>
                  </a:moveTo>
                  <a:cubicBezTo>
                    <a:pt x="1811083" y="614934"/>
                    <a:pt x="1813845" y="617696"/>
                    <a:pt x="1813845" y="621125"/>
                  </a:cubicBezTo>
                  <a:cubicBezTo>
                    <a:pt x="1813845" y="624554"/>
                    <a:pt x="1811083" y="627316"/>
                    <a:pt x="1807654" y="627316"/>
                  </a:cubicBezTo>
                  <a:cubicBezTo>
                    <a:pt x="1804225" y="627316"/>
                    <a:pt x="1801463" y="624554"/>
                    <a:pt x="1801463" y="621125"/>
                  </a:cubicBezTo>
                  <a:cubicBezTo>
                    <a:pt x="1801463" y="617696"/>
                    <a:pt x="1804225" y="614934"/>
                    <a:pt x="1807654" y="614934"/>
                  </a:cubicBezTo>
                  <a:close/>
                  <a:moveTo>
                    <a:pt x="416337" y="614268"/>
                  </a:moveTo>
                  <a:cubicBezTo>
                    <a:pt x="419766" y="614268"/>
                    <a:pt x="422528" y="617030"/>
                    <a:pt x="422528" y="620459"/>
                  </a:cubicBezTo>
                  <a:cubicBezTo>
                    <a:pt x="422528" y="623888"/>
                    <a:pt x="419766" y="626650"/>
                    <a:pt x="416337" y="626650"/>
                  </a:cubicBezTo>
                  <a:cubicBezTo>
                    <a:pt x="412908" y="626650"/>
                    <a:pt x="410146" y="623888"/>
                    <a:pt x="410146" y="620459"/>
                  </a:cubicBezTo>
                  <a:cubicBezTo>
                    <a:pt x="410146" y="617030"/>
                    <a:pt x="412908" y="614268"/>
                    <a:pt x="416337" y="614268"/>
                  </a:cubicBezTo>
                  <a:close/>
                  <a:moveTo>
                    <a:pt x="1584197" y="612743"/>
                  </a:moveTo>
                  <a:cubicBezTo>
                    <a:pt x="1587626" y="612743"/>
                    <a:pt x="1590389" y="615505"/>
                    <a:pt x="1590389" y="618934"/>
                  </a:cubicBezTo>
                  <a:cubicBezTo>
                    <a:pt x="1590389" y="622363"/>
                    <a:pt x="1587626" y="625126"/>
                    <a:pt x="1584197" y="625126"/>
                  </a:cubicBezTo>
                  <a:cubicBezTo>
                    <a:pt x="1580768" y="625126"/>
                    <a:pt x="1578006" y="622363"/>
                    <a:pt x="1578006" y="618934"/>
                  </a:cubicBezTo>
                  <a:cubicBezTo>
                    <a:pt x="1578006" y="615505"/>
                    <a:pt x="1580768" y="612743"/>
                    <a:pt x="1584197" y="612743"/>
                  </a:cubicBezTo>
                  <a:close/>
                  <a:moveTo>
                    <a:pt x="1035557" y="612553"/>
                  </a:moveTo>
                  <a:cubicBezTo>
                    <a:pt x="1038986" y="612553"/>
                    <a:pt x="1041749" y="615315"/>
                    <a:pt x="1041749" y="618744"/>
                  </a:cubicBezTo>
                  <a:cubicBezTo>
                    <a:pt x="1041749" y="622173"/>
                    <a:pt x="1038986" y="624935"/>
                    <a:pt x="1035557" y="624935"/>
                  </a:cubicBezTo>
                  <a:cubicBezTo>
                    <a:pt x="1032128" y="624935"/>
                    <a:pt x="1029366" y="622173"/>
                    <a:pt x="1029366" y="618744"/>
                  </a:cubicBezTo>
                  <a:cubicBezTo>
                    <a:pt x="1029366" y="615315"/>
                    <a:pt x="1032128" y="612553"/>
                    <a:pt x="1035557" y="612553"/>
                  </a:cubicBezTo>
                  <a:close/>
                  <a:moveTo>
                    <a:pt x="2925698" y="612458"/>
                  </a:moveTo>
                  <a:cubicBezTo>
                    <a:pt x="2929127" y="612458"/>
                    <a:pt x="2931889" y="615220"/>
                    <a:pt x="2931889" y="618649"/>
                  </a:cubicBezTo>
                  <a:cubicBezTo>
                    <a:pt x="2931889" y="622078"/>
                    <a:pt x="2929127" y="624840"/>
                    <a:pt x="2925698" y="624840"/>
                  </a:cubicBezTo>
                  <a:cubicBezTo>
                    <a:pt x="2922269" y="624840"/>
                    <a:pt x="2919507" y="622078"/>
                    <a:pt x="2919507" y="618649"/>
                  </a:cubicBezTo>
                  <a:cubicBezTo>
                    <a:pt x="2919507" y="615220"/>
                    <a:pt x="2922269" y="612458"/>
                    <a:pt x="2925698" y="612458"/>
                  </a:cubicBezTo>
                  <a:close/>
                  <a:moveTo>
                    <a:pt x="1696021" y="611791"/>
                  </a:moveTo>
                  <a:cubicBezTo>
                    <a:pt x="1699450" y="611791"/>
                    <a:pt x="1702213" y="614553"/>
                    <a:pt x="1702213" y="617982"/>
                  </a:cubicBezTo>
                  <a:cubicBezTo>
                    <a:pt x="1702213" y="621411"/>
                    <a:pt x="1699450" y="624173"/>
                    <a:pt x="1696021" y="624173"/>
                  </a:cubicBezTo>
                  <a:cubicBezTo>
                    <a:pt x="1692592" y="624173"/>
                    <a:pt x="1689830" y="621411"/>
                    <a:pt x="1689830" y="617982"/>
                  </a:cubicBezTo>
                  <a:cubicBezTo>
                    <a:pt x="1689830" y="614553"/>
                    <a:pt x="1692592" y="611791"/>
                    <a:pt x="1696021" y="611791"/>
                  </a:cubicBezTo>
                  <a:close/>
                  <a:moveTo>
                    <a:pt x="549497" y="610172"/>
                  </a:moveTo>
                  <a:cubicBezTo>
                    <a:pt x="552926" y="610172"/>
                    <a:pt x="555688" y="612934"/>
                    <a:pt x="555688" y="616363"/>
                  </a:cubicBezTo>
                  <a:cubicBezTo>
                    <a:pt x="555688" y="619792"/>
                    <a:pt x="552926" y="622554"/>
                    <a:pt x="549497" y="622554"/>
                  </a:cubicBezTo>
                  <a:cubicBezTo>
                    <a:pt x="546068" y="622554"/>
                    <a:pt x="543306" y="619792"/>
                    <a:pt x="543306" y="616363"/>
                  </a:cubicBezTo>
                  <a:cubicBezTo>
                    <a:pt x="543306" y="612934"/>
                    <a:pt x="546068" y="610172"/>
                    <a:pt x="549497" y="610172"/>
                  </a:cubicBezTo>
                  <a:close/>
                  <a:moveTo>
                    <a:pt x="428434" y="610077"/>
                  </a:moveTo>
                  <a:cubicBezTo>
                    <a:pt x="431863" y="610077"/>
                    <a:pt x="434625" y="612839"/>
                    <a:pt x="434625" y="616268"/>
                  </a:cubicBezTo>
                  <a:cubicBezTo>
                    <a:pt x="434625" y="619697"/>
                    <a:pt x="431863" y="622459"/>
                    <a:pt x="428434" y="622459"/>
                  </a:cubicBezTo>
                  <a:cubicBezTo>
                    <a:pt x="425005" y="622459"/>
                    <a:pt x="422243" y="619697"/>
                    <a:pt x="422243" y="616268"/>
                  </a:cubicBezTo>
                  <a:cubicBezTo>
                    <a:pt x="422243" y="612839"/>
                    <a:pt x="425005" y="610077"/>
                    <a:pt x="428434" y="610077"/>
                  </a:cubicBezTo>
                  <a:close/>
                  <a:moveTo>
                    <a:pt x="398621" y="608743"/>
                  </a:moveTo>
                  <a:cubicBezTo>
                    <a:pt x="402050" y="608743"/>
                    <a:pt x="404812" y="611505"/>
                    <a:pt x="404812" y="614934"/>
                  </a:cubicBezTo>
                  <a:cubicBezTo>
                    <a:pt x="404812" y="618363"/>
                    <a:pt x="402050" y="621125"/>
                    <a:pt x="398621" y="621125"/>
                  </a:cubicBezTo>
                  <a:lnTo>
                    <a:pt x="394811" y="617315"/>
                  </a:lnTo>
                  <a:lnTo>
                    <a:pt x="388714" y="623412"/>
                  </a:lnTo>
                  <a:cubicBezTo>
                    <a:pt x="385285" y="623412"/>
                    <a:pt x="382523" y="620649"/>
                    <a:pt x="382523" y="617220"/>
                  </a:cubicBezTo>
                  <a:cubicBezTo>
                    <a:pt x="382523" y="613791"/>
                    <a:pt x="385285" y="611029"/>
                    <a:pt x="388714" y="611029"/>
                  </a:cubicBezTo>
                  <a:lnTo>
                    <a:pt x="392525" y="614840"/>
                  </a:lnTo>
                  <a:close/>
                  <a:moveTo>
                    <a:pt x="2915888" y="607981"/>
                  </a:moveTo>
                  <a:cubicBezTo>
                    <a:pt x="2919317" y="607981"/>
                    <a:pt x="2922079" y="610743"/>
                    <a:pt x="2922079" y="614172"/>
                  </a:cubicBezTo>
                  <a:cubicBezTo>
                    <a:pt x="2922079" y="617601"/>
                    <a:pt x="2919317" y="620364"/>
                    <a:pt x="2915888" y="620364"/>
                  </a:cubicBezTo>
                  <a:cubicBezTo>
                    <a:pt x="2912459" y="620364"/>
                    <a:pt x="2909697" y="617601"/>
                    <a:pt x="2909697" y="614172"/>
                  </a:cubicBezTo>
                  <a:cubicBezTo>
                    <a:pt x="2909697" y="610743"/>
                    <a:pt x="2912459" y="607981"/>
                    <a:pt x="2915888" y="607981"/>
                  </a:cubicBezTo>
                  <a:close/>
                  <a:moveTo>
                    <a:pt x="707421" y="606933"/>
                  </a:moveTo>
                  <a:cubicBezTo>
                    <a:pt x="710850" y="606933"/>
                    <a:pt x="713612" y="609695"/>
                    <a:pt x="713612" y="613124"/>
                  </a:cubicBezTo>
                  <a:cubicBezTo>
                    <a:pt x="713612" y="616553"/>
                    <a:pt x="710850" y="619316"/>
                    <a:pt x="707421" y="619316"/>
                  </a:cubicBezTo>
                  <a:cubicBezTo>
                    <a:pt x="703992" y="619316"/>
                    <a:pt x="701230" y="616553"/>
                    <a:pt x="701230" y="613124"/>
                  </a:cubicBezTo>
                  <a:cubicBezTo>
                    <a:pt x="701230" y="609695"/>
                    <a:pt x="703992" y="606933"/>
                    <a:pt x="707421" y="606933"/>
                  </a:cubicBezTo>
                  <a:close/>
                  <a:moveTo>
                    <a:pt x="2714434" y="606648"/>
                  </a:moveTo>
                  <a:cubicBezTo>
                    <a:pt x="2717863" y="606648"/>
                    <a:pt x="2720626" y="609410"/>
                    <a:pt x="2720626" y="612839"/>
                  </a:cubicBezTo>
                  <a:cubicBezTo>
                    <a:pt x="2720626" y="616268"/>
                    <a:pt x="2717863" y="619031"/>
                    <a:pt x="2714434" y="619031"/>
                  </a:cubicBezTo>
                  <a:cubicBezTo>
                    <a:pt x="2711005" y="619031"/>
                    <a:pt x="2708243" y="616268"/>
                    <a:pt x="2708243" y="612839"/>
                  </a:cubicBezTo>
                  <a:cubicBezTo>
                    <a:pt x="2708243" y="609410"/>
                    <a:pt x="2711005" y="606648"/>
                    <a:pt x="2714434" y="606648"/>
                  </a:cubicBezTo>
                  <a:close/>
                  <a:moveTo>
                    <a:pt x="443293" y="606552"/>
                  </a:moveTo>
                  <a:cubicBezTo>
                    <a:pt x="446722" y="606552"/>
                    <a:pt x="449484" y="609314"/>
                    <a:pt x="449484" y="612743"/>
                  </a:cubicBezTo>
                  <a:cubicBezTo>
                    <a:pt x="449484" y="616172"/>
                    <a:pt x="446722" y="618935"/>
                    <a:pt x="443293" y="618935"/>
                  </a:cubicBezTo>
                  <a:cubicBezTo>
                    <a:pt x="439864" y="618935"/>
                    <a:pt x="437102" y="616172"/>
                    <a:pt x="437102" y="612743"/>
                  </a:cubicBezTo>
                  <a:cubicBezTo>
                    <a:pt x="437102" y="609314"/>
                    <a:pt x="439864" y="606552"/>
                    <a:pt x="443293" y="606552"/>
                  </a:cubicBezTo>
                  <a:close/>
                  <a:moveTo>
                    <a:pt x="2970275" y="606171"/>
                  </a:moveTo>
                  <a:cubicBezTo>
                    <a:pt x="2971132" y="606171"/>
                    <a:pt x="2971799" y="606838"/>
                    <a:pt x="2971799" y="607695"/>
                  </a:cubicBezTo>
                  <a:cubicBezTo>
                    <a:pt x="2971799" y="608552"/>
                    <a:pt x="2971132" y="609219"/>
                    <a:pt x="2970275" y="609219"/>
                  </a:cubicBezTo>
                  <a:cubicBezTo>
                    <a:pt x="2969418" y="609219"/>
                    <a:pt x="2968751" y="608552"/>
                    <a:pt x="2968751" y="607695"/>
                  </a:cubicBezTo>
                  <a:cubicBezTo>
                    <a:pt x="2968751" y="606838"/>
                    <a:pt x="2969418" y="606171"/>
                    <a:pt x="2970275" y="606171"/>
                  </a:cubicBezTo>
                  <a:close/>
                  <a:moveTo>
                    <a:pt x="513682" y="605219"/>
                  </a:moveTo>
                  <a:cubicBezTo>
                    <a:pt x="517111" y="605219"/>
                    <a:pt x="519874" y="607981"/>
                    <a:pt x="519874" y="611410"/>
                  </a:cubicBezTo>
                  <a:cubicBezTo>
                    <a:pt x="519874" y="614839"/>
                    <a:pt x="517111" y="617602"/>
                    <a:pt x="513682" y="617602"/>
                  </a:cubicBezTo>
                  <a:cubicBezTo>
                    <a:pt x="510253" y="617602"/>
                    <a:pt x="507491" y="614839"/>
                    <a:pt x="507491" y="611410"/>
                  </a:cubicBezTo>
                  <a:cubicBezTo>
                    <a:pt x="507491" y="607981"/>
                    <a:pt x="510253" y="605219"/>
                    <a:pt x="513682" y="605219"/>
                  </a:cubicBezTo>
                  <a:close/>
                  <a:moveTo>
                    <a:pt x="408050" y="605124"/>
                  </a:moveTo>
                  <a:cubicBezTo>
                    <a:pt x="411479" y="605124"/>
                    <a:pt x="414242" y="607886"/>
                    <a:pt x="414242" y="611315"/>
                  </a:cubicBezTo>
                  <a:cubicBezTo>
                    <a:pt x="414242" y="614744"/>
                    <a:pt x="411479" y="617506"/>
                    <a:pt x="408050" y="617506"/>
                  </a:cubicBezTo>
                  <a:cubicBezTo>
                    <a:pt x="404621" y="617506"/>
                    <a:pt x="401859" y="614744"/>
                    <a:pt x="401859" y="611315"/>
                  </a:cubicBezTo>
                  <a:cubicBezTo>
                    <a:pt x="401859" y="607886"/>
                    <a:pt x="404621" y="605124"/>
                    <a:pt x="408050" y="605124"/>
                  </a:cubicBezTo>
                  <a:close/>
                  <a:moveTo>
                    <a:pt x="461676" y="604076"/>
                  </a:moveTo>
                  <a:cubicBezTo>
                    <a:pt x="465105" y="604076"/>
                    <a:pt x="467867" y="606838"/>
                    <a:pt x="467867" y="610267"/>
                  </a:cubicBezTo>
                  <a:cubicBezTo>
                    <a:pt x="467867" y="613696"/>
                    <a:pt x="465105" y="616458"/>
                    <a:pt x="461676" y="616458"/>
                  </a:cubicBezTo>
                  <a:cubicBezTo>
                    <a:pt x="458247" y="616458"/>
                    <a:pt x="455485" y="613696"/>
                    <a:pt x="455485" y="610267"/>
                  </a:cubicBezTo>
                  <a:cubicBezTo>
                    <a:pt x="455485" y="606838"/>
                    <a:pt x="458247" y="604076"/>
                    <a:pt x="461676" y="604076"/>
                  </a:cubicBezTo>
                  <a:close/>
                  <a:moveTo>
                    <a:pt x="2254662" y="603409"/>
                  </a:moveTo>
                  <a:cubicBezTo>
                    <a:pt x="2258091" y="603409"/>
                    <a:pt x="2260854" y="606171"/>
                    <a:pt x="2260854" y="609600"/>
                  </a:cubicBezTo>
                  <a:cubicBezTo>
                    <a:pt x="2260854" y="613029"/>
                    <a:pt x="2258091" y="615791"/>
                    <a:pt x="2254662" y="615791"/>
                  </a:cubicBezTo>
                  <a:cubicBezTo>
                    <a:pt x="2251233" y="615791"/>
                    <a:pt x="2248471" y="613029"/>
                    <a:pt x="2248471" y="609600"/>
                  </a:cubicBezTo>
                  <a:cubicBezTo>
                    <a:pt x="2248471" y="606171"/>
                    <a:pt x="2251233" y="603409"/>
                    <a:pt x="2254662" y="603409"/>
                  </a:cubicBezTo>
                  <a:close/>
                  <a:moveTo>
                    <a:pt x="852868" y="603409"/>
                  </a:moveTo>
                  <a:cubicBezTo>
                    <a:pt x="856297" y="603409"/>
                    <a:pt x="859060" y="606171"/>
                    <a:pt x="859060" y="609600"/>
                  </a:cubicBezTo>
                  <a:cubicBezTo>
                    <a:pt x="859060" y="613029"/>
                    <a:pt x="856297" y="615791"/>
                    <a:pt x="852868" y="615791"/>
                  </a:cubicBezTo>
                  <a:cubicBezTo>
                    <a:pt x="849439" y="615791"/>
                    <a:pt x="846677" y="613029"/>
                    <a:pt x="846677" y="609600"/>
                  </a:cubicBezTo>
                  <a:cubicBezTo>
                    <a:pt x="846677" y="606171"/>
                    <a:pt x="849439" y="603409"/>
                    <a:pt x="852868" y="603409"/>
                  </a:cubicBezTo>
                  <a:close/>
                  <a:moveTo>
                    <a:pt x="484822" y="603409"/>
                  </a:moveTo>
                  <a:cubicBezTo>
                    <a:pt x="488251" y="603409"/>
                    <a:pt x="491013" y="606171"/>
                    <a:pt x="491013" y="609600"/>
                  </a:cubicBezTo>
                  <a:cubicBezTo>
                    <a:pt x="491013" y="613029"/>
                    <a:pt x="488251" y="615791"/>
                    <a:pt x="484822" y="615791"/>
                  </a:cubicBezTo>
                  <a:cubicBezTo>
                    <a:pt x="481393" y="615791"/>
                    <a:pt x="478631" y="613029"/>
                    <a:pt x="478631" y="609600"/>
                  </a:cubicBezTo>
                  <a:cubicBezTo>
                    <a:pt x="478631" y="606171"/>
                    <a:pt x="481393" y="603409"/>
                    <a:pt x="484822" y="603409"/>
                  </a:cubicBezTo>
                  <a:close/>
                  <a:moveTo>
                    <a:pt x="2904839" y="603123"/>
                  </a:moveTo>
                  <a:cubicBezTo>
                    <a:pt x="2908268" y="603123"/>
                    <a:pt x="2911030" y="605885"/>
                    <a:pt x="2911030" y="609314"/>
                  </a:cubicBezTo>
                  <a:cubicBezTo>
                    <a:pt x="2911030" y="612743"/>
                    <a:pt x="2908268" y="615505"/>
                    <a:pt x="2904839" y="615505"/>
                  </a:cubicBezTo>
                  <a:cubicBezTo>
                    <a:pt x="2901410" y="615505"/>
                    <a:pt x="2898648" y="612743"/>
                    <a:pt x="2898648" y="609314"/>
                  </a:cubicBezTo>
                  <a:cubicBezTo>
                    <a:pt x="2898648" y="605885"/>
                    <a:pt x="2901410" y="603123"/>
                    <a:pt x="2904839" y="603123"/>
                  </a:cubicBezTo>
                  <a:close/>
                  <a:moveTo>
                    <a:pt x="2934461" y="602361"/>
                  </a:moveTo>
                  <a:lnTo>
                    <a:pt x="2940557" y="608457"/>
                  </a:lnTo>
                  <a:lnTo>
                    <a:pt x="2945224" y="603790"/>
                  </a:lnTo>
                  <a:lnTo>
                    <a:pt x="2951034" y="609601"/>
                  </a:lnTo>
                  <a:lnTo>
                    <a:pt x="2957035" y="603600"/>
                  </a:lnTo>
                  <a:cubicBezTo>
                    <a:pt x="2960464" y="603600"/>
                    <a:pt x="2963227" y="606362"/>
                    <a:pt x="2963227" y="609791"/>
                  </a:cubicBezTo>
                  <a:cubicBezTo>
                    <a:pt x="2963227" y="613220"/>
                    <a:pt x="2960464" y="615983"/>
                    <a:pt x="2957035" y="615983"/>
                  </a:cubicBezTo>
                  <a:lnTo>
                    <a:pt x="2951224" y="610172"/>
                  </a:lnTo>
                  <a:lnTo>
                    <a:pt x="2945224" y="616172"/>
                  </a:lnTo>
                  <a:lnTo>
                    <a:pt x="2939128" y="610076"/>
                  </a:lnTo>
                  <a:lnTo>
                    <a:pt x="2934461" y="614743"/>
                  </a:lnTo>
                  <a:cubicBezTo>
                    <a:pt x="2931032" y="614743"/>
                    <a:pt x="2928270" y="611981"/>
                    <a:pt x="2928270" y="608552"/>
                  </a:cubicBezTo>
                  <a:cubicBezTo>
                    <a:pt x="2928270" y="605123"/>
                    <a:pt x="2931032" y="602361"/>
                    <a:pt x="2934461" y="602361"/>
                  </a:cubicBezTo>
                  <a:close/>
                  <a:moveTo>
                    <a:pt x="417861" y="600647"/>
                  </a:moveTo>
                  <a:cubicBezTo>
                    <a:pt x="421290" y="600647"/>
                    <a:pt x="424052" y="603409"/>
                    <a:pt x="424052" y="606838"/>
                  </a:cubicBezTo>
                  <a:cubicBezTo>
                    <a:pt x="424052" y="610267"/>
                    <a:pt x="421290" y="613029"/>
                    <a:pt x="417861" y="613029"/>
                  </a:cubicBezTo>
                  <a:cubicBezTo>
                    <a:pt x="414432" y="613029"/>
                    <a:pt x="411670" y="610267"/>
                    <a:pt x="411670" y="606838"/>
                  </a:cubicBezTo>
                  <a:cubicBezTo>
                    <a:pt x="411670" y="603409"/>
                    <a:pt x="414432" y="600647"/>
                    <a:pt x="417861" y="600647"/>
                  </a:cubicBezTo>
                  <a:close/>
                  <a:moveTo>
                    <a:pt x="2924365" y="599408"/>
                  </a:moveTo>
                  <a:cubicBezTo>
                    <a:pt x="2927794" y="599408"/>
                    <a:pt x="2930557" y="602170"/>
                    <a:pt x="2930557" y="605599"/>
                  </a:cubicBezTo>
                  <a:cubicBezTo>
                    <a:pt x="2930557" y="609028"/>
                    <a:pt x="2927794" y="611791"/>
                    <a:pt x="2924365" y="611791"/>
                  </a:cubicBezTo>
                  <a:cubicBezTo>
                    <a:pt x="2920936" y="611791"/>
                    <a:pt x="2918174" y="609028"/>
                    <a:pt x="2918174" y="605599"/>
                  </a:cubicBezTo>
                  <a:cubicBezTo>
                    <a:pt x="2918174" y="602170"/>
                    <a:pt x="2920936" y="599408"/>
                    <a:pt x="2924365" y="599408"/>
                  </a:cubicBezTo>
                  <a:close/>
                  <a:moveTo>
                    <a:pt x="2891694" y="598551"/>
                  </a:moveTo>
                  <a:cubicBezTo>
                    <a:pt x="2895123" y="598551"/>
                    <a:pt x="2897885" y="601313"/>
                    <a:pt x="2897885" y="604742"/>
                  </a:cubicBezTo>
                  <a:cubicBezTo>
                    <a:pt x="2897885" y="608171"/>
                    <a:pt x="2895123" y="610933"/>
                    <a:pt x="2891694" y="610933"/>
                  </a:cubicBezTo>
                  <a:cubicBezTo>
                    <a:pt x="2888265" y="610933"/>
                    <a:pt x="2885503" y="608171"/>
                    <a:pt x="2885503" y="604742"/>
                  </a:cubicBezTo>
                  <a:cubicBezTo>
                    <a:pt x="2885503" y="601313"/>
                    <a:pt x="2888265" y="598551"/>
                    <a:pt x="2891694" y="598551"/>
                  </a:cubicBezTo>
                  <a:close/>
                  <a:moveTo>
                    <a:pt x="2761487" y="597504"/>
                  </a:moveTo>
                  <a:cubicBezTo>
                    <a:pt x="2764916" y="597504"/>
                    <a:pt x="2767679" y="600266"/>
                    <a:pt x="2767679" y="603695"/>
                  </a:cubicBezTo>
                  <a:cubicBezTo>
                    <a:pt x="2767679" y="607124"/>
                    <a:pt x="2764916" y="609886"/>
                    <a:pt x="2761487" y="609886"/>
                  </a:cubicBezTo>
                  <a:cubicBezTo>
                    <a:pt x="2758058" y="609886"/>
                    <a:pt x="2755296" y="607124"/>
                    <a:pt x="2755296" y="603695"/>
                  </a:cubicBezTo>
                  <a:cubicBezTo>
                    <a:pt x="2755296" y="600266"/>
                    <a:pt x="2758058" y="597504"/>
                    <a:pt x="2761487" y="597504"/>
                  </a:cubicBezTo>
                  <a:close/>
                  <a:moveTo>
                    <a:pt x="397287" y="595217"/>
                  </a:moveTo>
                  <a:cubicBezTo>
                    <a:pt x="400144" y="595217"/>
                    <a:pt x="402525" y="597598"/>
                    <a:pt x="402525" y="600456"/>
                  </a:cubicBezTo>
                  <a:cubicBezTo>
                    <a:pt x="402525" y="603313"/>
                    <a:pt x="400144" y="605695"/>
                    <a:pt x="397287" y="605695"/>
                  </a:cubicBezTo>
                  <a:cubicBezTo>
                    <a:pt x="394429" y="605695"/>
                    <a:pt x="392048" y="603313"/>
                    <a:pt x="392048" y="600456"/>
                  </a:cubicBezTo>
                  <a:cubicBezTo>
                    <a:pt x="392048" y="597598"/>
                    <a:pt x="394429" y="595217"/>
                    <a:pt x="397287" y="595217"/>
                  </a:cubicBezTo>
                  <a:close/>
                  <a:moveTo>
                    <a:pt x="2595562" y="594932"/>
                  </a:moveTo>
                  <a:cubicBezTo>
                    <a:pt x="2598991" y="594932"/>
                    <a:pt x="2601753" y="597694"/>
                    <a:pt x="2601753" y="601123"/>
                  </a:cubicBezTo>
                  <a:cubicBezTo>
                    <a:pt x="2601753" y="604552"/>
                    <a:pt x="2598991" y="607314"/>
                    <a:pt x="2595562" y="607314"/>
                  </a:cubicBezTo>
                  <a:cubicBezTo>
                    <a:pt x="2592133" y="607314"/>
                    <a:pt x="2589371" y="604552"/>
                    <a:pt x="2589371" y="601123"/>
                  </a:cubicBezTo>
                  <a:cubicBezTo>
                    <a:pt x="2589371" y="597694"/>
                    <a:pt x="2592133" y="594932"/>
                    <a:pt x="2595562" y="594932"/>
                  </a:cubicBezTo>
                  <a:close/>
                  <a:moveTo>
                    <a:pt x="2875597" y="594551"/>
                  </a:moveTo>
                  <a:cubicBezTo>
                    <a:pt x="2879026" y="594551"/>
                    <a:pt x="2881788" y="597313"/>
                    <a:pt x="2881788" y="600742"/>
                  </a:cubicBezTo>
                  <a:cubicBezTo>
                    <a:pt x="2881788" y="604171"/>
                    <a:pt x="2879026" y="606933"/>
                    <a:pt x="2875597" y="606933"/>
                  </a:cubicBezTo>
                  <a:cubicBezTo>
                    <a:pt x="2872168" y="606933"/>
                    <a:pt x="2869406" y="604171"/>
                    <a:pt x="2869406" y="600742"/>
                  </a:cubicBezTo>
                  <a:cubicBezTo>
                    <a:pt x="2869406" y="597313"/>
                    <a:pt x="2872168" y="594551"/>
                    <a:pt x="2875597" y="594551"/>
                  </a:cubicBezTo>
                  <a:close/>
                  <a:moveTo>
                    <a:pt x="1127093" y="593408"/>
                  </a:moveTo>
                  <a:cubicBezTo>
                    <a:pt x="1130522" y="593408"/>
                    <a:pt x="1133285" y="596170"/>
                    <a:pt x="1133285" y="599599"/>
                  </a:cubicBezTo>
                  <a:cubicBezTo>
                    <a:pt x="1133285" y="603028"/>
                    <a:pt x="1130522" y="605790"/>
                    <a:pt x="1127093" y="605790"/>
                  </a:cubicBezTo>
                  <a:cubicBezTo>
                    <a:pt x="1123664" y="605790"/>
                    <a:pt x="1120902" y="603028"/>
                    <a:pt x="1120902" y="599599"/>
                  </a:cubicBezTo>
                  <a:cubicBezTo>
                    <a:pt x="1120902" y="596170"/>
                    <a:pt x="1123664" y="593408"/>
                    <a:pt x="1127093" y="593408"/>
                  </a:cubicBezTo>
                  <a:close/>
                  <a:moveTo>
                    <a:pt x="2799778" y="592551"/>
                  </a:moveTo>
                  <a:cubicBezTo>
                    <a:pt x="2803198" y="592551"/>
                    <a:pt x="2805969" y="595323"/>
                    <a:pt x="2805969" y="598742"/>
                  </a:cubicBezTo>
                  <a:cubicBezTo>
                    <a:pt x="2805969" y="602162"/>
                    <a:pt x="2803198" y="604934"/>
                    <a:pt x="2799778" y="604934"/>
                  </a:cubicBezTo>
                  <a:cubicBezTo>
                    <a:pt x="2796359" y="604934"/>
                    <a:pt x="2793587" y="602162"/>
                    <a:pt x="2793587" y="598742"/>
                  </a:cubicBezTo>
                  <a:cubicBezTo>
                    <a:pt x="2793587" y="595323"/>
                    <a:pt x="2796359" y="592551"/>
                    <a:pt x="2799778" y="592551"/>
                  </a:cubicBezTo>
                  <a:close/>
                  <a:moveTo>
                    <a:pt x="2443924" y="592455"/>
                  </a:moveTo>
                  <a:cubicBezTo>
                    <a:pt x="2447353" y="592455"/>
                    <a:pt x="2450116" y="595217"/>
                    <a:pt x="2450116" y="598646"/>
                  </a:cubicBezTo>
                  <a:cubicBezTo>
                    <a:pt x="2450116" y="602075"/>
                    <a:pt x="2447353" y="604838"/>
                    <a:pt x="2443924" y="604838"/>
                  </a:cubicBezTo>
                  <a:cubicBezTo>
                    <a:pt x="2440495" y="604838"/>
                    <a:pt x="2437733" y="602075"/>
                    <a:pt x="2437733" y="598646"/>
                  </a:cubicBezTo>
                  <a:cubicBezTo>
                    <a:pt x="2437733" y="595217"/>
                    <a:pt x="2440495" y="592455"/>
                    <a:pt x="2443924" y="592455"/>
                  </a:cubicBezTo>
                  <a:close/>
                  <a:moveTo>
                    <a:pt x="646366" y="592360"/>
                  </a:moveTo>
                  <a:cubicBezTo>
                    <a:pt x="649795" y="592360"/>
                    <a:pt x="652558" y="595122"/>
                    <a:pt x="652558" y="598551"/>
                  </a:cubicBezTo>
                  <a:cubicBezTo>
                    <a:pt x="652558" y="601980"/>
                    <a:pt x="649795" y="604742"/>
                    <a:pt x="646366" y="604742"/>
                  </a:cubicBezTo>
                  <a:cubicBezTo>
                    <a:pt x="642937" y="604742"/>
                    <a:pt x="640175" y="601980"/>
                    <a:pt x="640175" y="598551"/>
                  </a:cubicBezTo>
                  <a:cubicBezTo>
                    <a:pt x="640175" y="595122"/>
                    <a:pt x="642937" y="592360"/>
                    <a:pt x="646366" y="592360"/>
                  </a:cubicBezTo>
                  <a:close/>
                  <a:moveTo>
                    <a:pt x="408241" y="592169"/>
                  </a:moveTo>
                  <a:cubicBezTo>
                    <a:pt x="411670" y="592169"/>
                    <a:pt x="414432" y="594931"/>
                    <a:pt x="414432" y="598360"/>
                  </a:cubicBezTo>
                  <a:cubicBezTo>
                    <a:pt x="414432" y="601789"/>
                    <a:pt x="411670" y="604551"/>
                    <a:pt x="408241" y="604551"/>
                  </a:cubicBezTo>
                  <a:cubicBezTo>
                    <a:pt x="404812" y="604551"/>
                    <a:pt x="402050" y="601789"/>
                    <a:pt x="402050" y="598360"/>
                  </a:cubicBezTo>
                  <a:cubicBezTo>
                    <a:pt x="402050" y="594931"/>
                    <a:pt x="404812" y="592169"/>
                    <a:pt x="408241" y="592169"/>
                  </a:cubicBezTo>
                  <a:close/>
                  <a:moveTo>
                    <a:pt x="2855690" y="591788"/>
                  </a:moveTo>
                  <a:cubicBezTo>
                    <a:pt x="2859119" y="591788"/>
                    <a:pt x="2861881" y="594550"/>
                    <a:pt x="2861881" y="597979"/>
                  </a:cubicBezTo>
                  <a:cubicBezTo>
                    <a:pt x="2861881" y="601408"/>
                    <a:pt x="2859119" y="604170"/>
                    <a:pt x="2855690" y="604170"/>
                  </a:cubicBezTo>
                  <a:cubicBezTo>
                    <a:pt x="2852261" y="604170"/>
                    <a:pt x="2849499" y="601408"/>
                    <a:pt x="2849499" y="597979"/>
                  </a:cubicBezTo>
                  <a:cubicBezTo>
                    <a:pt x="2849499" y="594550"/>
                    <a:pt x="2852261" y="591788"/>
                    <a:pt x="2855690" y="591788"/>
                  </a:cubicBezTo>
                  <a:close/>
                  <a:moveTo>
                    <a:pt x="2830829" y="590931"/>
                  </a:moveTo>
                  <a:cubicBezTo>
                    <a:pt x="2834258" y="590931"/>
                    <a:pt x="2837021" y="593693"/>
                    <a:pt x="2837021" y="597122"/>
                  </a:cubicBezTo>
                  <a:cubicBezTo>
                    <a:pt x="2837021" y="600551"/>
                    <a:pt x="2834258" y="603314"/>
                    <a:pt x="2830829" y="603314"/>
                  </a:cubicBezTo>
                  <a:cubicBezTo>
                    <a:pt x="2827400" y="603314"/>
                    <a:pt x="2824638" y="600551"/>
                    <a:pt x="2824638" y="597122"/>
                  </a:cubicBezTo>
                  <a:cubicBezTo>
                    <a:pt x="2824638" y="593693"/>
                    <a:pt x="2827400" y="590931"/>
                    <a:pt x="2830829" y="590931"/>
                  </a:cubicBezTo>
                  <a:close/>
                  <a:moveTo>
                    <a:pt x="440435" y="590169"/>
                  </a:moveTo>
                  <a:cubicBezTo>
                    <a:pt x="443864" y="590169"/>
                    <a:pt x="446626" y="592931"/>
                    <a:pt x="446626" y="596360"/>
                  </a:cubicBezTo>
                  <a:cubicBezTo>
                    <a:pt x="446626" y="599789"/>
                    <a:pt x="443864" y="602551"/>
                    <a:pt x="440435" y="602551"/>
                  </a:cubicBezTo>
                  <a:cubicBezTo>
                    <a:pt x="437006" y="602551"/>
                    <a:pt x="434244" y="599789"/>
                    <a:pt x="434244" y="596360"/>
                  </a:cubicBezTo>
                  <a:cubicBezTo>
                    <a:pt x="434244" y="592931"/>
                    <a:pt x="437006" y="590169"/>
                    <a:pt x="440435" y="590169"/>
                  </a:cubicBezTo>
                  <a:close/>
                  <a:moveTo>
                    <a:pt x="418623" y="588550"/>
                  </a:moveTo>
                  <a:cubicBezTo>
                    <a:pt x="422052" y="588550"/>
                    <a:pt x="424814" y="591312"/>
                    <a:pt x="424814" y="594741"/>
                  </a:cubicBezTo>
                  <a:cubicBezTo>
                    <a:pt x="424814" y="598170"/>
                    <a:pt x="422052" y="600933"/>
                    <a:pt x="418623" y="600933"/>
                  </a:cubicBezTo>
                  <a:cubicBezTo>
                    <a:pt x="415194" y="600933"/>
                    <a:pt x="412432" y="598170"/>
                    <a:pt x="412432" y="594741"/>
                  </a:cubicBezTo>
                  <a:cubicBezTo>
                    <a:pt x="412432" y="591312"/>
                    <a:pt x="415194" y="588550"/>
                    <a:pt x="418623" y="588550"/>
                  </a:cubicBezTo>
                  <a:close/>
                  <a:moveTo>
                    <a:pt x="2937700" y="587026"/>
                  </a:moveTo>
                  <a:cubicBezTo>
                    <a:pt x="2941129" y="587026"/>
                    <a:pt x="2943892" y="589788"/>
                    <a:pt x="2943892" y="593217"/>
                  </a:cubicBezTo>
                  <a:cubicBezTo>
                    <a:pt x="2943892" y="596646"/>
                    <a:pt x="2941129" y="599408"/>
                    <a:pt x="2937700" y="599408"/>
                  </a:cubicBezTo>
                  <a:cubicBezTo>
                    <a:pt x="2934271" y="599408"/>
                    <a:pt x="2931509" y="596646"/>
                    <a:pt x="2931509" y="593217"/>
                  </a:cubicBezTo>
                  <a:cubicBezTo>
                    <a:pt x="2931509" y="589788"/>
                    <a:pt x="2934271" y="587026"/>
                    <a:pt x="2937700" y="587026"/>
                  </a:cubicBezTo>
                  <a:close/>
                  <a:moveTo>
                    <a:pt x="2950844" y="586550"/>
                  </a:moveTo>
                  <a:cubicBezTo>
                    <a:pt x="2954083" y="586550"/>
                    <a:pt x="2956750" y="589217"/>
                    <a:pt x="2956750" y="592455"/>
                  </a:cubicBezTo>
                  <a:cubicBezTo>
                    <a:pt x="2956750" y="595694"/>
                    <a:pt x="2954083" y="598361"/>
                    <a:pt x="2950844" y="598361"/>
                  </a:cubicBezTo>
                  <a:cubicBezTo>
                    <a:pt x="2947606" y="598361"/>
                    <a:pt x="2944939" y="595694"/>
                    <a:pt x="2944939" y="592455"/>
                  </a:cubicBezTo>
                  <a:cubicBezTo>
                    <a:pt x="2944939" y="589217"/>
                    <a:pt x="2947606" y="586550"/>
                    <a:pt x="2950844" y="586550"/>
                  </a:cubicBezTo>
                  <a:close/>
                  <a:moveTo>
                    <a:pt x="2925793" y="585978"/>
                  </a:moveTo>
                  <a:cubicBezTo>
                    <a:pt x="2929222" y="585978"/>
                    <a:pt x="2931985" y="588740"/>
                    <a:pt x="2931985" y="592169"/>
                  </a:cubicBezTo>
                  <a:cubicBezTo>
                    <a:pt x="2931985" y="595598"/>
                    <a:pt x="2929222" y="598361"/>
                    <a:pt x="2925793" y="598361"/>
                  </a:cubicBezTo>
                  <a:cubicBezTo>
                    <a:pt x="2922364" y="598361"/>
                    <a:pt x="2919602" y="595598"/>
                    <a:pt x="2919602" y="592169"/>
                  </a:cubicBezTo>
                  <a:cubicBezTo>
                    <a:pt x="2919602" y="588740"/>
                    <a:pt x="2922364" y="585978"/>
                    <a:pt x="2925793" y="585978"/>
                  </a:cubicBezTo>
                  <a:close/>
                  <a:moveTo>
                    <a:pt x="2160936" y="585407"/>
                  </a:moveTo>
                  <a:cubicBezTo>
                    <a:pt x="2164365" y="585407"/>
                    <a:pt x="2167128" y="588169"/>
                    <a:pt x="2167128" y="591598"/>
                  </a:cubicBezTo>
                  <a:cubicBezTo>
                    <a:pt x="2167128" y="595027"/>
                    <a:pt x="2164365" y="597789"/>
                    <a:pt x="2160936" y="597789"/>
                  </a:cubicBezTo>
                  <a:cubicBezTo>
                    <a:pt x="2157507" y="597789"/>
                    <a:pt x="2154745" y="595027"/>
                    <a:pt x="2154745" y="591598"/>
                  </a:cubicBezTo>
                  <a:cubicBezTo>
                    <a:pt x="2154745" y="588169"/>
                    <a:pt x="2157507" y="585407"/>
                    <a:pt x="2160936" y="585407"/>
                  </a:cubicBezTo>
                  <a:close/>
                  <a:moveTo>
                    <a:pt x="454818" y="585026"/>
                  </a:moveTo>
                  <a:cubicBezTo>
                    <a:pt x="458247" y="585026"/>
                    <a:pt x="461010" y="587788"/>
                    <a:pt x="461010" y="591217"/>
                  </a:cubicBezTo>
                  <a:cubicBezTo>
                    <a:pt x="461010" y="594646"/>
                    <a:pt x="458247" y="597408"/>
                    <a:pt x="454818" y="597408"/>
                  </a:cubicBezTo>
                  <a:cubicBezTo>
                    <a:pt x="451389" y="597408"/>
                    <a:pt x="448627" y="594646"/>
                    <a:pt x="448627" y="591217"/>
                  </a:cubicBezTo>
                  <a:cubicBezTo>
                    <a:pt x="448627" y="587788"/>
                    <a:pt x="451389" y="585026"/>
                    <a:pt x="454818" y="585026"/>
                  </a:cubicBezTo>
                  <a:close/>
                  <a:moveTo>
                    <a:pt x="2914649" y="583216"/>
                  </a:moveTo>
                  <a:cubicBezTo>
                    <a:pt x="2918078" y="583216"/>
                    <a:pt x="2920840" y="585978"/>
                    <a:pt x="2920840" y="589407"/>
                  </a:cubicBezTo>
                  <a:lnTo>
                    <a:pt x="2914697" y="595551"/>
                  </a:lnTo>
                  <a:lnTo>
                    <a:pt x="2920651" y="601504"/>
                  </a:lnTo>
                  <a:cubicBezTo>
                    <a:pt x="2920651" y="604933"/>
                    <a:pt x="2917888" y="607695"/>
                    <a:pt x="2914459" y="607695"/>
                  </a:cubicBezTo>
                  <a:cubicBezTo>
                    <a:pt x="2911030" y="607695"/>
                    <a:pt x="2908268" y="604933"/>
                    <a:pt x="2908268" y="601504"/>
                  </a:cubicBezTo>
                  <a:lnTo>
                    <a:pt x="2914411" y="595361"/>
                  </a:lnTo>
                  <a:lnTo>
                    <a:pt x="2908458" y="589407"/>
                  </a:lnTo>
                  <a:cubicBezTo>
                    <a:pt x="2908458" y="585978"/>
                    <a:pt x="2911220" y="583216"/>
                    <a:pt x="2914649" y="583216"/>
                  </a:cubicBezTo>
                  <a:close/>
                  <a:moveTo>
                    <a:pt x="596074" y="583026"/>
                  </a:moveTo>
                  <a:cubicBezTo>
                    <a:pt x="599503" y="583026"/>
                    <a:pt x="602265" y="585788"/>
                    <a:pt x="602265" y="589217"/>
                  </a:cubicBezTo>
                  <a:cubicBezTo>
                    <a:pt x="602265" y="592646"/>
                    <a:pt x="599503" y="595408"/>
                    <a:pt x="596074" y="595408"/>
                  </a:cubicBezTo>
                  <a:cubicBezTo>
                    <a:pt x="592645" y="595408"/>
                    <a:pt x="589883" y="592646"/>
                    <a:pt x="589883" y="589217"/>
                  </a:cubicBezTo>
                  <a:cubicBezTo>
                    <a:pt x="589883" y="585788"/>
                    <a:pt x="592645" y="583026"/>
                    <a:pt x="596074" y="583026"/>
                  </a:cubicBezTo>
                  <a:close/>
                  <a:moveTo>
                    <a:pt x="771620" y="581216"/>
                  </a:moveTo>
                  <a:cubicBezTo>
                    <a:pt x="775049" y="581216"/>
                    <a:pt x="777812" y="583978"/>
                    <a:pt x="777812" y="587407"/>
                  </a:cubicBezTo>
                  <a:cubicBezTo>
                    <a:pt x="777812" y="590836"/>
                    <a:pt x="775049" y="593599"/>
                    <a:pt x="771620" y="593599"/>
                  </a:cubicBezTo>
                  <a:cubicBezTo>
                    <a:pt x="768191" y="593599"/>
                    <a:pt x="765429" y="590836"/>
                    <a:pt x="765429" y="587407"/>
                  </a:cubicBezTo>
                  <a:cubicBezTo>
                    <a:pt x="765429" y="583978"/>
                    <a:pt x="768191" y="581216"/>
                    <a:pt x="771620" y="581216"/>
                  </a:cubicBezTo>
                  <a:close/>
                  <a:moveTo>
                    <a:pt x="472439" y="580644"/>
                  </a:moveTo>
                  <a:cubicBezTo>
                    <a:pt x="475868" y="580644"/>
                    <a:pt x="478630" y="583406"/>
                    <a:pt x="478630" y="586835"/>
                  </a:cubicBezTo>
                  <a:cubicBezTo>
                    <a:pt x="478630" y="590264"/>
                    <a:pt x="475868" y="593026"/>
                    <a:pt x="472439" y="593026"/>
                  </a:cubicBezTo>
                  <a:cubicBezTo>
                    <a:pt x="469010" y="593026"/>
                    <a:pt x="466248" y="590264"/>
                    <a:pt x="466248" y="586835"/>
                  </a:cubicBezTo>
                  <a:cubicBezTo>
                    <a:pt x="466248" y="583406"/>
                    <a:pt x="469010" y="580644"/>
                    <a:pt x="472439" y="580644"/>
                  </a:cubicBezTo>
                  <a:close/>
                  <a:moveTo>
                    <a:pt x="930306" y="580168"/>
                  </a:moveTo>
                  <a:cubicBezTo>
                    <a:pt x="933735" y="580168"/>
                    <a:pt x="936498" y="582930"/>
                    <a:pt x="936498" y="586359"/>
                  </a:cubicBezTo>
                  <a:cubicBezTo>
                    <a:pt x="936498" y="589788"/>
                    <a:pt x="933735" y="592550"/>
                    <a:pt x="930306" y="592550"/>
                  </a:cubicBezTo>
                  <a:cubicBezTo>
                    <a:pt x="926877" y="592550"/>
                    <a:pt x="924115" y="589788"/>
                    <a:pt x="924115" y="586359"/>
                  </a:cubicBezTo>
                  <a:cubicBezTo>
                    <a:pt x="924115" y="582930"/>
                    <a:pt x="926877" y="580168"/>
                    <a:pt x="930306" y="580168"/>
                  </a:cubicBezTo>
                  <a:close/>
                  <a:moveTo>
                    <a:pt x="2659856" y="579978"/>
                  </a:moveTo>
                  <a:cubicBezTo>
                    <a:pt x="2663285" y="579978"/>
                    <a:pt x="2666047" y="582740"/>
                    <a:pt x="2666047" y="586169"/>
                  </a:cubicBezTo>
                  <a:cubicBezTo>
                    <a:pt x="2666047" y="589598"/>
                    <a:pt x="2663285" y="592360"/>
                    <a:pt x="2659856" y="592360"/>
                  </a:cubicBezTo>
                  <a:cubicBezTo>
                    <a:pt x="2656427" y="592360"/>
                    <a:pt x="2653665" y="589598"/>
                    <a:pt x="2653665" y="586169"/>
                  </a:cubicBezTo>
                  <a:cubicBezTo>
                    <a:pt x="2653665" y="582740"/>
                    <a:pt x="2656427" y="579978"/>
                    <a:pt x="2659856" y="579978"/>
                  </a:cubicBezTo>
                  <a:close/>
                  <a:moveTo>
                    <a:pt x="2903886" y="579025"/>
                  </a:moveTo>
                  <a:cubicBezTo>
                    <a:pt x="2907315" y="579025"/>
                    <a:pt x="2910077" y="581787"/>
                    <a:pt x="2910077" y="585216"/>
                  </a:cubicBezTo>
                  <a:lnTo>
                    <a:pt x="2904601" y="590693"/>
                  </a:lnTo>
                  <a:lnTo>
                    <a:pt x="2910363" y="596455"/>
                  </a:lnTo>
                  <a:cubicBezTo>
                    <a:pt x="2910363" y="599884"/>
                    <a:pt x="2907601" y="602646"/>
                    <a:pt x="2904172" y="602646"/>
                  </a:cubicBezTo>
                  <a:cubicBezTo>
                    <a:pt x="2900743" y="602646"/>
                    <a:pt x="2897981" y="599884"/>
                    <a:pt x="2897981" y="596455"/>
                  </a:cubicBezTo>
                  <a:lnTo>
                    <a:pt x="2903457" y="590979"/>
                  </a:lnTo>
                  <a:lnTo>
                    <a:pt x="2897695" y="585216"/>
                  </a:lnTo>
                  <a:cubicBezTo>
                    <a:pt x="2897695" y="581787"/>
                    <a:pt x="2900457" y="579025"/>
                    <a:pt x="2903886" y="579025"/>
                  </a:cubicBezTo>
                  <a:close/>
                  <a:moveTo>
                    <a:pt x="2879883" y="578739"/>
                  </a:moveTo>
                  <a:cubicBezTo>
                    <a:pt x="2883312" y="578739"/>
                    <a:pt x="2886074" y="581501"/>
                    <a:pt x="2886074" y="584930"/>
                  </a:cubicBezTo>
                  <a:cubicBezTo>
                    <a:pt x="2886074" y="588359"/>
                    <a:pt x="2883312" y="591121"/>
                    <a:pt x="2879883" y="591121"/>
                  </a:cubicBezTo>
                  <a:cubicBezTo>
                    <a:pt x="2876454" y="591121"/>
                    <a:pt x="2873692" y="588359"/>
                    <a:pt x="2873692" y="584930"/>
                  </a:cubicBezTo>
                  <a:cubicBezTo>
                    <a:pt x="2873692" y="581501"/>
                    <a:pt x="2876454" y="578739"/>
                    <a:pt x="2879883" y="578739"/>
                  </a:cubicBezTo>
                  <a:close/>
                  <a:moveTo>
                    <a:pt x="554830" y="577977"/>
                  </a:moveTo>
                  <a:cubicBezTo>
                    <a:pt x="558259" y="577977"/>
                    <a:pt x="561022" y="580739"/>
                    <a:pt x="561022" y="584168"/>
                  </a:cubicBezTo>
                  <a:cubicBezTo>
                    <a:pt x="561022" y="587597"/>
                    <a:pt x="558259" y="590360"/>
                    <a:pt x="554830" y="590360"/>
                  </a:cubicBezTo>
                  <a:cubicBezTo>
                    <a:pt x="551401" y="590360"/>
                    <a:pt x="548639" y="587597"/>
                    <a:pt x="548639" y="584168"/>
                  </a:cubicBezTo>
                  <a:cubicBezTo>
                    <a:pt x="548639" y="580739"/>
                    <a:pt x="551401" y="577977"/>
                    <a:pt x="554830" y="577977"/>
                  </a:cubicBezTo>
                  <a:close/>
                  <a:moveTo>
                    <a:pt x="494252" y="577596"/>
                  </a:moveTo>
                  <a:cubicBezTo>
                    <a:pt x="497681" y="577596"/>
                    <a:pt x="500443" y="580358"/>
                    <a:pt x="500443" y="583787"/>
                  </a:cubicBezTo>
                  <a:cubicBezTo>
                    <a:pt x="500443" y="587216"/>
                    <a:pt x="497681" y="589978"/>
                    <a:pt x="494252" y="589978"/>
                  </a:cubicBezTo>
                  <a:cubicBezTo>
                    <a:pt x="490823" y="589978"/>
                    <a:pt x="488061" y="587216"/>
                    <a:pt x="488061" y="583787"/>
                  </a:cubicBezTo>
                  <a:cubicBezTo>
                    <a:pt x="488061" y="580358"/>
                    <a:pt x="490823" y="577596"/>
                    <a:pt x="494252" y="577596"/>
                  </a:cubicBezTo>
                  <a:close/>
                  <a:moveTo>
                    <a:pt x="1223390" y="576739"/>
                  </a:moveTo>
                  <a:cubicBezTo>
                    <a:pt x="1226819" y="576739"/>
                    <a:pt x="1229581" y="579501"/>
                    <a:pt x="1229581" y="582930"/>
                  </a:cubicBezTo>
                  <a:cubicBezTo>
                    <a:pt x="1229581" y="586359"/>
                    <a:pt x="1226819" y="589121"/>
                    <a:pt x="1223390" y="589121"/>
                  </a:cubicBezTo>
                  <a:cubicBezTo>
                    <a:pt x="1219961" y="589121"/>
                    <a:pt x="1217199" y="586359"/>
                    <a:pt x="1217199" y="582930"/>
                  </a:cubicBezTo>
                  <a:cubicBezTo>
                    <a:pt x="1217199" y="579501"/>
                    <a:pt x="1219961" y="576739"/>
                    <a:pt x="1223390" y="576739"/>
                  </a:cubicBezTo>
                  <a:close/>
                  <a:moveTo>
                    <a:pt x="521303" y="576453"/>
                  </a:moveTo>
                  <a:cubicBezTo>
                    <a:pt x="524732" y="576453"/>
                    <a:pt x="527494" y="579215"/>
                    <a:pt x="527494" y="582644"/>
                  </a:cubicBezTo>
                  <a:cubicBezTo>
                    <a:pt x="527494" y="586073"/>
                    <a:pt x="524732" y="588836"/>
                    <a:pt x="521303" y="588836"/>
                  </a:cubicBezTo>
                  <a:cubicBezTo>
                    <a:pt x="517874" y="588836"/>
                    <a:pt x="515112" y="586073"/>
                    <a:pt x="515112" y="582644"/>
                  </a:cubicBezTo>
                  <a:cubicBezTo>
                    <a:pt x="515112" y="579215"/>
                    <a:pt x="517874" y="576453"/>
                    <a:pt x="521303" y="576453"/>
                  </a:cubicBezTo>
                  <a:close/>
                  <a:moveTo>
                    <a:pt x="417099" y="576072"/>
                  </a:moveTo>
                  <a:cubicBezTo>
                    <a:pt x="420528" y="576072"/>
                    <a:pt x="423290" y="578834"/>
                    <a:pt x="423290" y="582263"/>
                  </a:cubicBezTo>
                  <a:cubicBezTo>
                    <a:pt x="423290" y="585692"/>
                    <a:pt x="420528" y="588454"/>
                    <a:pt x="417099" y="588454"/>
                  </a:cubicBezTo>
                  <a:cubicBezTo>
                    <a:pt x="413670" y="588454"/>
                    <a:pt x="410908" y="585692"/>
                    <a:pt x="410908" y="582263"/>
                  </a:cubicBezTo>
                  <a:cubicBezTo>
                    <a:pt x="410908" y="578834"/>
                    <a:pt x="413670" y="576072"/>
                    <a:pt x="417099" y="576072"/>
                  </a:cubicBezTo>
                  <a:close/>
                  <a:moveTo>
                    <a:pt x="2945606" y="575025"/>
                  </a:moveTo>
                  <a:cubicBezTo>
                    <a:pt x="2945764" y="575025"/>
                    <a:pt x="2945891" y="575153"/>
                    <a:pt x="2945891" y="575311"/>
                  </a:cubicBezTo>
                  <a:cubicBezTo>
                    <a:pt x="2945891" y="575469"/>
                    <a:pt x="2945764" y="575596"/>
                    <a:pt x="2945606" y="575596"/>
                  </a:cubicBezTo>
                  <a:cubicBezTo>
                    <a:pt x="2945448" y="575596"/>
                    <a:pt x="2945320" y="575469"/>
                    <a:pt x="2945320" y="575311"/>
                  </a:cubicBezTo>
                  <a:cubicBezTo>
                    <a:pt x="2945320" y="575153"/>
                    <a:pt x="2945448" y="575025"/>
                    <a:pt x="2945606" y="575025"/>
                  </a:cubicBezTo>
                  <a:close/>
                  <a:moveTo>
                    <a:pt x="2864357" y="573215"/>
                  </a:moveTo>
                  <a:cubicBezTo>
                    <a:pt x="2867786" y="573215"/>
                    <a:pt x="2870548" y="575977"/>
                    <a:pt x="2870548" y="579406"/>
                  </a:cubicBezTo>
                  <a:cubicBezTo>
                    <a:pt x="2870548" y="582835"/>
                    <a:pt x="2867786" y="585598"/>
                    <a:pt x="2864357" y="585598"/>
                  </a:cubicBezTo>
                  <a:cubicBezTo>
                    <a:pt x="2860928" y="585598"/>
                    <a:pt x="2858166" y="582835"/>
                    <a:pt x="2858166" y="579406"/>
                  </a:cubicBezTo>
                  <a:cubicBezTo>
                    <a:pt x="2858166" y="575977"/>
                    <a:pt x="2860928" y="573215"/>
                    <a:pt x="2864357" y="573215"/>
                  </a:cubicBezTo>
                  <a:close/>
                  <a:moveTo>
                    <a:pt x="428529" y="572643"/>
                  </a:moveTo>
                  <a:cubicBezTo>
                    <a:pt x="431958" y="572643"/>
                    <a:pt x="434720" y="575405"/>
                    <a:pt x="434720" y="578834"/>
                  </a:cubicBezTo>
                  <a:lnTo>
                    <a:pt x="429386" y="584168"/>
                  </a:lnTo>
                  <a:lnTo>
                    <a:pt x="435196" y="589978"/>
                  </a:lnTo>
                  <a:lnTo>
                    <a:pt x="429005" y="596170"/>
                  </a:lnTo>
                  <a:lnTo>
                    <a:pt x="434529" y="601694"/>
                  </a:lnTo>
                  <a:cubicBezTo>
                    <a:pt x="434529" y="605123"/>
                    <a:pt x="431767" y="607886"/>
                    <a:pt x="428338" y="607886"/>
                  </a:cubicBezTo>
                  <a:cubicBezTo>
                    <a:pt x="424909" y="607886"/>
                    <a:pt x="422147" y="605123"/>
                    <a:pt x="422147" y="601694"/>
                  </a:cubicBezTo>
                  <a:cubicBezTo>
                    <a:pt x="422147" y="598265"/>
                    <a:pt x="424909" y="595503"/>
                    <a:pt x="428338" y="595503"/>
                  </a:cubicBezTo>
                  <a:lnTo>
                    <a:pt x="428942" y="596107"/>
                  </a:lnTo>
                  <a:lnTo>
                    <a:pt x="422814" y="589978"/>
                  </a:lnTo>
                  <a:lnTo>
                    <a:pt x="428148" y="584644"/>
                  </a:lnTo>
                  <a:lnTo>
                    <a:pt x="422338" y="578834"/>
                  </a:lnTo>
                  <a:cubicBezTo>
                    <a:pt x="422338" y="575405"/>
                    <a:pt x="425100" y="572643"/>
                    <a:pt x="428529" y="572643"/>
                  </a:cubicBezTo>
                  <a:close/>
                  <a:moveTo>
                    <a:pt x="2931127" y="570453"/>
                  </a:moveTo>
                  <a:cubicBezTo>
                    <a:pt x="2934556" y="570453"/>
                    <a:pt x="2937319" y="573215"/>
                    <a:pt x="2937319" y="576644"/>
                  </a:cubicBezTo>
                  <a:cubicBezTo>
                    <a:pt x="2937319" y="580073"/>
                    <a:pt x="2934556" y="582835"/>
                    <a:pt x="2931127" y="582835"/>
                  </a:cubicBezTo>
                  <a:cubicBezTo>
                    <a:pt x="2927698" y="582835"/>
                    <a:pt x="2924936" y="580073"/>
                    <a:pt x="2924936" y="576644"/>
                  </a:cubicBezTo>
                  <a:cubicBezTo>
                    <a:pt x="2924936" y="573215"/>
                    <a:pt x="2927698" y="570453"/>
                    <a:pt x="2931127" y="570453"/>
                  </a:cubicBezTo>
                  <a:close/>
                  <a:moveTo>
                    <a:pt x="2713196" y="570453"/>
                  </a:moveTo>
                  <a:cubicBezTo>
                    <a:pt x="2716625" y="570453"/>
                    <a:pt x="2719387" y="573215"/>
                    <a:pt x="2719387" y="576644"/>
                  </a:cubicBezTo>
                  <a:cubicBezTo>
                    <a:pt x="2719387" y="580073"/>
                    <a:pt x="2716625" y="582835"/>
                    <a:pt x="2713196" y="582835"/>
                  </a:cubicBezTo>
                  <a:cubicBezTo>
                    <a:pt x="2709767" y="582835"/>
                    <a:pt x="2707005" y="580073"/>
                    <a:pt x="2707005" y="576644"/>
                  </a:cubicBezTo>
                  <a:cubicBezTo>
                    <a:pt x="2707005" y="573215"/>
                    <a:pt x="2709767" y="570453"/>
                    <a:pt x="2713196" y="570453"/>
                  </a:cubicBezTo>
                  <a:close/>
                  <a:moveTo>
                    <a:pt x="2062638" y="569976"/>
                  </a:moveTo>
                  <a:cubicBezTo>
                    <a:pt x="2066067" y="569976"/>
                    <a:pt x="2068830" y="572738"/>
                    <a:pt x="2068830" y="576167"/>
                  </a:cubicBezTo>
                  <a:cubicBezTo>
                    <a:pt x="2068830" y="579596"/>
                    <a:pt x="2066067" y="582358"/>
                    <a:pt x="2062638" y="582358"/>
                  </a:cubicBezTo>
                  <a:cubicBezTo>
                    <a:pt x="2059209" y="582358"/>
                    <a:pt x="2056447" y="579596"/>
                    <a:pt x="2056447" y="576167"/>
                  </a:cubicBezTo>
                  <a:cubicBezTo>
                    <a:pt x="2056447" y="572738"/>
                    <a:pt x="2059209" y="569976"/>
                    <a:pt x="2062638" y="569976"/>
                  </a:cubicBezTo>
                  <a:close/>
                  <a:moveTo>
                    <a:pt x="2917888" y="569881"/>
                  </a:moveTo>
                  <a:cubicBezTo>
                    <a:pt x="2921317" y="569881"/>
                    <a:pt x="2924079" y="572643"/>
                    <a:pt x="2924079" y="576072"/>
                  </a:cubicBezTo>
                  <a:cubicBezTo>
                    <a:pt x="2924079" y="579501"/>
                    <a:pt x="2921317" y="582263"/>
                    <a:pt x="2917888" y="582263"/>
                  </a:cubicBezTo>
                  <a:cubicBezTo>
                    <a:pt x="2914459" y="582263"/>
                    <a:pt x="2911697" y="579501"/>
                    <a:pt x="2911697" y="576072"/>
                  </a:cubicBezTo>
                  <a:cubicBezTo>
                    <a:pt x="2911697" y="572643"/>
                    <a:pt x="2914459" y="569881"/>
                    <a:pt x="2917888" y="569881"/>
                  </a:cubicBezTo>
                  <a:close/>
                  <a:moveTo>
                    <a:pt x="2364199" y="569881"/>
                  </a:moveTo>
                  <a:cubicBezTo>
                    <a:pt x="2367628" y="569881"/>
                    <a:pt x="2370391" y="572643"/>
                    <a:pt x="2370391" y="576072"/>
                  </a:cubicBezTo>
                  <a:cubicBezTo>
                    <a:pt x="2370391" y="579501"/>
                    <a:pt x="2367628" y="582263"/>
                    <a:pt x="2364199" y="582263"/>
                  </a:cubicBezTo>
                  <a:cubicBezTo>
                    <a:pt x="2360770" y="582263"/>
                    <a:pt x="2358008" y="579501"/>
                    <a:pt x="2358008" y="576072"/>
                  </a:cubicBezTo>
                  <a:cubicBezTo>
                    <a:pt x="2358008" y="572643"/>
                    <a:pt x="2360770" y="569881"/>
                    <a:pt x="2364199" y="569881"/>
                  </a:cubicBezTo>
                  <a:close/>
                  <a:moveTo>
                    <a:pt x="2529173" y="569595"/>
                  </a:moveTo>
                  <a:cubicBezTo>
                    <a:pt x="2532602" y="569595"/>
                    <a:pt x="2535364" y="572357"/>
                    <a:pt x="2535364" y="575786"/>
                  </a:cubicBezTo>
                  <a:cubicBezTo>
                    <a:pt x="2535364" y="579215"/>
                    <a:pt x="2532602" y="581977"/>
                    <a:pt x="2529173" y="581977"/>
                  </a:cubicBezTo>
                  <a:cubicBezTo>
                    <a:pt x="2525744" y="581977"/>
                    <a:pt x="2522982" y="579215"/>
                    <a:pt x="2522982" y="575786"/>
                  </a:cubicBezTo>
                  <a:cubicBezTo>
                    <a:pt x="2522982" y="572357"/>
                    <a:pt x="2525744" y="569595"/>
                    <a:pt x="2529173" y="569595"/>
                  </a:cubicBezTo>
                  <a:close/>
                  <a:moveTo>
                    <a:pt x="2845307" y="568548"/>
                  </a:moveTo>
                  <a:cubicBezTo>
                    <a:pt x="2848736" y="568548"/>
                    <a:pt x="2851498" y="571310"/>
                    <a:pt x="2851498" y="574739"/>
                  </a:cubicBezTo>
                  <a:cubicBezTo>
                    <a:pt x="2851498" y="578168"/>
                    <a:pt x="2848736" y="580930"/>
                    <a:pt x="2845307" y="580930"/>
                  </a:cubicBezTo>
                  <a:cubicBezTo>
                    <a:pt x="2841878" y="580930"/>
                    <a:pt x="2839116" y="578168"/>
                    <a:pt x="2839116" y="574739"/>
                  </a:cubicBezTo>
                  <a:cubicBezTo>
                    <a:pt x="2839116" y="571310"/>
                    <a:pt x="2841878" y="568548"/>
                    <a:pt x="2845307" y="568548"/>
                  </a:cubicBezTo>
                  <a:close/>
                  <a:moveTo>
                    <a:pt x="439673" y="567785"/>
                  </a:moveTo>
                  <a:cubicBezTo>
                    <a:pt x="443102" y="567785"/>
                    <a:pt x="445865" y="570547"/>
                    <a:pt x="445865" y="573976"/>
                  </a:cubicBezTo>
                  <a:lnTo>
                    <a:pt x="440911" y="578930"/>
                  </a:lnTo>
                  <a:lnTo>
                    <a:pt x="446245" y="584264"/>
                  </a:lnTo>
                  <a:cubicBezTo>
                    <a:pt x="446245" y="587693"/>
                    <a:pt x="443483" y="590455"/>
                    <a:pt x="440054" y="590455"/>
                  </a:cubicBezTo>
                  <a:cubicBezTo>
                    <a:pt x="436625" y="590455"/>
                    <a:pt x="433863" y="587693"/>
                    <a:pt x="433863" y="584264"/>
                  </a:cubicBezTo>
                  <a:lnTo>
                    <a:pt x="438816" y="579311"/>
                  </a:lnTo>
                  <a:lnTo>
                    <a:pt x="433482" y="573976"/>
                  </a:lnTo>
                  <a:cubicBezTo>
                    <a:pt x="433482" y="570547"/>
                    <a:pt x="436244" y="567785"/>
                    <a:pt x="439673" y="567785"/>
                  </a:cubicBezTo>
                  <a:close/>
                  <a:moveTo>
                    <a:pt x="2905600" y="567405"/>
                  </a:moveTo>
                  <a:cubicBezTo>
                    <a:pt x="2909029" y="567405"/>
                    <a:pt x="2911792" y="570167"/>
                    <a:pt x="2911792" y="573596"/>
                  </a:cubicBezTo>
                  <a:cubicBezTo>
                    <a:pt x="2911792" y="577025"/>
                    <a:pt x="2909029" y="579787"/>
                    <a:pt x="2905600" y="579787"/>
                  </a:cubicBezTo>
                  <a:cubicBezTo>
                    <a:pt x="2902171" y="579787"/>
                    <a:pt x="2899409" y="577025"/>
                    <a:pt x="2899409" y="573596"/>
                  </a:cubicBezTo>
                  <a:cubicBezTo>
                    <a:pt x="2899409" y="570167"/>
                    <a:pt x="2902171" y="567405"/>
                    <a:pt x="2905600" y="567405"/>
                  </a:cubicBezTo>
                  <a:close/>
                  <a:moveTo>
                    <a:pt x="703325" y="565785"/>
                  </a:moveTo>
                  <a:cubicBezTo>
                    <a:pt x="706754" y="565785"/>
                    <a:pt x="709516" y="568547"/>
                    <a:pt x="709516" y="571976"/>
                  </a:cubicBezTo>
                  <a:cubicBezTo>
                    <a:pt x="709516" y="575405"/>
                    <a:pt x="706754" y="578167"/>
                    <a:pt x="703325" y="578167"/>
                  </a:cubicBezTo>
                  <a:cubicBezTo>
                    <a:pt x="699896" y="578167"/>
                    <a:pt x="697134" y="575405"/>
                    <a:pt x="697134" y="571976"/>
                  </a:cubicBezTo>
                  <a:cubicBezTo>
                    <a:pt x="697134" y="568547"/>
                    <a:pt x="699896" y="565785"/>
                    <a:pt x="703325" y="565785"/>
                  </a:cubicBezTo>
                  <a:close/>
                  <a:moveTo>
                    <a:pt x="466343" y="565500"/>
                  </a:moveTo>
                  <a:cubicBezTo>
                    <a:pt x="469772" y="565500"/>
                    <a:pt x="472534" y="568262"/>
                    <a:pt x="472534" y="571691"/>
                  </a:cubicBezTo>
                  <a:cubicBezTo>
                    <a:pt x="472534" y="575120"/>
                    <a:pt x="469772" y="577882"/>
                    <a:pt x="466343" y="577882"/>
                  </a:cubicBezTo>
                  <a:cubicBezTo>
                    <a:pt x="462914" y="577882"/>
                    <a:pt x="460152" y="575120"/>
                    <a:pt x="460152" y="571691"/>
                  </a:cubicBezTo>
                  <a:cubicBezTo>
                    <a:pt x="460152" y="568262"/>
                    <a:pt x="462914" y="565500"/>
                    <a:pt x="466343" y="565500"/>
                  </a:cubicBezTo>
                  <a:close/>
                  <a:moveTo>
                    <a:pt x="2757010" y="565404"/>
                  </a:moveTo>
                  <a:cubicBezTo>
                    <a:pt x="2760439" y="565404"/>
                    <a:pt x="2763202" y="568166"/>
                    <a:pt x="2763202" y="571595"/>
                  </a:cubicBezTo>
                  <a:cubicBezTo>
                    <a:pt x="2763202" y="575024"/>
                    <a:pt x="2760439" y="577787"/>
                    <a:pt x="2757010" y="577787"/>
                  </a:cubicBezTo>
                  <a:cubicBezTo>
                    <a:pt x="2753581" y="577787"/>
                    <a:pt x="2750819" y="575024"/>
                    <a:pt x="2750819" y="571595"/>
                  </a:cubicBezTo>
                  <a:cubicBezTo>
                    <a:pt x="2750819" y="568166"/>
                    <a:pt x="2753581" y="565404"/>
                    <a:pt x="2757010" y="565404"/>
                  </a:cubicBezTo>
                  <a:close/>
                  <a:moveTo>
                    <a:pt x="2821876" y="565214"/>
                  </a:moveTo>
                  <a:cubicBezTo>
                    <a:pt x="2825305" y="565214"/>
                    <a:pt x="2828068" y="567976"/>
                    <a:pt x="2828068" y="571405"/>
                  </a:cubicBezTo>
                  <a:cubicBezTo>
                    <a:pt x="2828068" y="574834"/>
                    <a:pt x="2825305" y="577596"/>
                    <a:pt x="2821876" y="577596"/>
                  </a:cubicBezTo>
                  <a:cubicBezTo>
                    <a:pt x="2818447" y="577596"/>
                    <a:pt x="2815685" y="574834"/>
                    <a:pt x="2815685" y="571405"/>
                  </a:cubicBezTo>
                  <a:cubicBezTo>
                    <a:pt x="2815685" y="567976"/>
                    <a:pt x="2818447" y="565214"/>
                    <a:pt x="2821876" y="565214"/>
                  </a:cubicBezTo>
                  <a:close/>
                  <a:moveTo>
                    <a:pt x="2792824" y="563880"/>
                  </a:moveTo>
                  <a:cubicBezTo>
                    <a:pt x="2796253" y="563880"/>
                    <a:pt x="2799015" y="566642"/>
                    <a:pt x="2799015" y="570071"/>
                  </a:cubicBezTo>
                  <a:cubicBezTo>
                    <a:pt x="2799015" y="573500"/>
                    <a:pt x="2796253" y="576263"/>
                    <a:pt x="2792824" y="576263"/>
                  </a:cubicBezTo>
                  <a:cubicBezTo>
                    <a:pt x="2789395" y="576263"/>
                    <a:pt x="2786633" y="573500"/>
                    <a:pt x="2786633" y="570071"/>
                  </a:cubicBezTo>
                  <a:cubicBezTo>
                    <a:pt x="2786633" y="566642"/>
                    <a:pt x="2789395" y="563880"/>
                    <a:pt x="2792824" y="563880"/>
                  </a:cubicBezTo>
                  <a:close/>
                  <a:moveTo>
                    <a:pt x="2893980" y="563404"/>
                  </a:moveTo>
                  <a:cubicBezTo>
                    <a:pt x="2897409" y="563404"/>
                    <a:pt x="2900172" y="566166"/>
                    <a:pt x="2900172" y="569595"/>
                  </a:cubicBezTo>
                  <a:lnTo>
                    <a:pt x="2894599" y="575168"/>
                  </a:lnTo>
                  <a:lnTo>
                    <a:pt x="2899219" y="579787"/>
                  </a:lnTo>
                  <a:lnTo>
                    <a:pt x="2893646" y="585359"/>
                  </a:lnTo>
                  <a:lnTo>
                    <a:pt x="2899123" y="590836"/>
                  </a:lnTo>
                  <a:cubicBezTo>
                    <a:pt x="2899123" y="594265"/>
                    <a:pt x="2896361" y="597027"/>
                    <a:pt x="2892932" y="597027"/>
                  </a:cubicBezTo>
                  <a:cubicBezTo>
                    <a:pt x="2889503" y="597027"/>
                    <a:pt x="2886741" y="594265"/>
                    <a:pt x="2886741" y="590836"/>
                  </a:cubicBezTo>
                  <a:lnTo>
                    <a:pt x="2892313" y="585264"/>
                  </a:lnTo>
                  <a:lnTo>
                    <a:pt x="2886836" y="579787"/>
                  </a:lnTo>
                  <a:lnTo>
                    <a:pt x="2892408" y="574215"/>
                  </a:lnTo>
                  <a:lnTo>
                    <a:pt x="2887789" y="569595"/>
                  </a:lnTo>
                  <a:cubicBezTo>
                    <a:pt x="2887789" y="566166"/>
                    <a:pt x="2890551" y="563404"/>
                    <a:pt x="2893980" y="563404"/>
                  </a:cubicBezTo>
                  <a:close/>
                  <a:moveTo>
                    <a:pt x="425100" y="563023"/>
                  </a:moveTo>
                  <a:cubicBezTo>
                    <a:pt x="427101" y="563023"/>
                    <a:pt x="428625" y="564547"/>
                    <a:pt x="428625" y="566547"/>
                  </a:cubicBezTo>
                  <a:cubicBezTo>
                    <a:pt x="428625" y="568548"/>
                    <a:pt x="427005" y="570072"/>
                    <a:pt x="425100" y="570072"/>
                  </a:cubicBezTo>
                  <a:cubicBezTo>
                    <a:pt x="423100" y="570072"/>
                    <a:pt x="421576" y="568548"/>
                    <a:pt x="421576" y="566547"/>
                  </a:cubicBezTo>
                  <a:cubicBezTo>
                    <a:pt x="421576" y="564547"/>
                    <a:pt x="423100" y="563023"/>
                    <a:pt x="425100" y="563023"/>
                  </a:cubicBezTo>
                  <a:close/>
                  <a:moveTo>
                    <a:pt x="1323689" y="562928"/>
                  </a:moveTo>
                  <a:cubicBezTo>
                    <a:pt x="1327118" y="562928"/>
                    <a:pt x="1329880" y="565690"/>
                    <a:pt x="1329880" y="569119"/>
                  </a:cubicBezTo>
                  <a:cubicBezTo>
                    <a:pt x="1329880" y="572548"/>
                    <a:pt x="1327118" y="575310"/>
                    <a:pt x="1323689" y="575310"/>
                  </a:cubicBezTo>
                  <a:cubicBezTo>
                    <a:pt x="1320260" y="575310"/>
                    <a:pt x="1317498" y="572548"/>
                    <a:pt x="1317498" y="569119"/>
                  </a:cubicBezTo>
                  <a:cubicBezTo>
                    <a:pt x="1317498" y="565690"/>
                    <a:pt x="1320260" y="562928"/>
                    <a:pt x="1323689" y="562928"/>
                  </a:cubicBezTo>
                  <a:close/>
                  <a:moveTo>
                    <a:pt x="483393" y="559499"/>
                  </a:moveTo>
                  <a:cubicBezTo>
                    <a:pt x="486822" y="559499"/>
                    <a:pt x="489585" y="562261"/>
                    <a:pt x="489585" y="565690"/>
                  </a:cubicBezTo>
                  <a:cubicBezTo>
                    <a:pt x="489585" y="569119"/>
                    <a:pt x="486822" y="571881"/>
                    <a:pt x="483393" y="571881"/>
                  </a:cubicBezTo>
                  <a:cubicBezTo>
                    <a:pt x="479964" y="571881"/>
                    <a:pt x="477202" y="569119"/>
                    <a:pt x="477202" y="565690"/>
                  </a:cubicBezTo>
                  <a:cubicBezTo>
                    <a:pt x="477202" y="562261"/>
                    <a:pt x="479964" y="559499"/>
                    <a:pt x="483393" y="559499"/>
                  </a:cubicBezTo>
                  <a:close/>
                  <a:moveTo>
                    <a:pt x="1012602" y="558356"/>
                  </a:moveTo>
                  <a:cubicBezTo>
                    <a:pt x="1016031" y="558356"/>
                    <a:pt x="1018793" y="561118"/>
                    <a:pt x="1018793" y="564547"/>
                  </a:cubicBezTo>
                  <a:cubicBezTo>
                    <a:pt x="1018793" y="567976"/>
                    <a:pt x="1016031" y="570738"/>
                    <a:pt x="1012602" y="570738"/>
                  </a:cubicBezTo>
                  <a:cubicBezTo>
                    <a:pt x="1009173" y="570738"/>
                    <a:pt x="1006411" y="567976"/>
                    <a:pt x="1006411" y="564547"/>
                  </a:cubicBezTo>
                  <a:cubicBezTo>
                    <a:pt x="1006411" y="561118"/>
                    <a:pt x="1009173" y="558356"/>
                    <a:pt x="1012602" y="558356"/>
                  </a:cubicBezTo>
                  <a:close/>
                  <a:moveTo>
                    <a:pt x="1960720" y="557594"/>
                  </a:moveTo>
                  <a:cubicBezTo>
                    <a:pt x="1964149" y="557594"/>
                    <a:pt x="1966912" y="560356"/>
                    <a:pt x="1966912" y="563785"/>
                  </a:cubicBezTo>
                  <a:cubicBezTo>
                    <a:pt x="1966912" y="567214"/>
                    <a:pt x="1964149" y="569977"/>
                    <a:pt x="1960720" y="569977"/>
                  </a:cubicBezTo>
                  <a:cubicBezTo>
                    <a:pt x="1957291" y="569977"/>
                    <a:pt x="1954529" y="567214"/>
                    <a:pt x="1954529" y="563785"/>
                  </a:cubicBezTo>
                  <a:cubicBezTo>
                    <a:pt x="1954529" y="560356"/>
                    <a:pt x="1957291" y="557594"/>
                    <a:pt x="1960720" y="557594"/>
                  </a:cubicBezTo>
                  <a:close/>
                  <a:moveTo>
                    <a:pt x="437578" y="557308"/>
                  </a:moveTo>
                  <a:cubicBezTo>
                    <a:pt x="441007" y="557308"/>
                    <a:pt x="443769" y="560070"/>
                    <a:pt x="443769" y="563499"/>
                  </a:cubicBezTo>
                  <a:cubicBezTo>
                    <a:pt x="443769" y="566928"/>
                    <a:pt x="441007" y="569690"/>
                    <a:pt x="437578" y="569690"/>
                  </a:cubicBezTo>
                  <a:cubicBezTo>
                    <a:pt x="434149" y="569690"/>
                    <a:pt x="431387" y="566928"/>
                    <a:pt x="431387" y="563499"/>
                  </a:cubicBezTo>
                  <a:cubicBezTo>
                    <a:pt x="431387" y="560070"/>
                    <a:pt x="434149" y="557308"/>
                    <a:pt x="437578" y="557308"/>
                  </a:cubicBezTo>
                  <a:close/>
                  <a:moveTo>
                    <a:pt x="840485" y="556356"/>
                  </a:moveTo>
                  <a:cubicBezTo>
                    <a:pt x="843914" y="556356"/>
                    <a:pt x="846677" y="559118"/>
                    <a:pt x="846677" y="562547"/>
                  </a:cubicBezTo>
                  <a:cubicBezTo>
                    <a:pt x="846677" y="565976"/>
                    <a:pt x="843914" y="568738"/>
                    <a:pt x="840485" y="568738"/>
                  </a:cubicBezTo>
                  <a:cubicBezTo>
                    <a:pt x="837056" y="568738"/>
                    <a:pt x="834294" y="565976"/>
                    <a:pt x="834294" y="562547"/>
                  </a:cubicBezTo>
                  <a:cubicBezTo>
                    <a:pt x="834294" y="559118"/>
                    <a:pt x="837056" y="556356"/>
                    <a:pt x="840485" y="556356"/>
                  </a:cubicBezTo>
                  <a:close/>
                  <a:moveTo>
                    <a:pt x="646461" y="555975"/>
                  </a:moveTo>
                  <a:cubicBezTo>
                    <a:pt x="649890" y="555975"/>
                    <a:pt x="652652" y="558737"/>
                    <a:pt x="652652" y="562166"/>
                  </a:cubicBezTo>
                  <a:cubicBezTo>
                    <a:pt x="652652" y="565595"/>
                    <a:pt x="649890" y="568357"/>
                    <a:pt x="646461" y="568357"/>
                  </a:cubicBezTo>
                  <a:cubicBezTo>
                    <a:pt x="643032" y="568357"/>
                    <a:pt x="640270" y="565595"/>
                    <a:pt x="640270" y="562166"/>
                  </a:cubicBezTo>
                  <a:cubicBezTo>
                    <a:pt x="640270" y="558737"/>
                    <a:pt x="643032" y="555975"/>
                    <a:pt x="646461" y="555975"/>
                  </a:cubicBezTo>
                  <a:close/>
                  <a:moveTo>
                    <a:pt x="2925413" y="555498"/>
                  </a:moveTo>
                  <a:cubicBezTo>
                    <a:pt x="2927991" y="555498"/>
                    <a:pt x="2930080" y="557588"/>
                    <a:pt x="2930080" y="560165"/>
                  </a:cubicBezTo>
                  <a:cubicBezTo>
                    <a:pt x="2930080" y="562743"/>
                    <a:pt x="2927991" y="564833"/>
                    <a:pt x="2925413" y="564833"/>
                  </a:cubicBezTo>
                  <a:cubicBezTo>
                    <a:pt x="2922836" y="564833"/>
                    <a:pt x="2920746" y="562743"/>
                    <a:pt x="2920746" y="560165"/>
                  </a:cubicBezTo>
                  <a:cubicBezTo>
                    <a:pt x="2920746" y="557588"/>
                    <a:pt x="2922836" y="555498"/>
                    <a:pt x="2925413" y="555498"/>
                  </a:cubicBezTo>
                  <a:close/>
                  <a:moveTo>
                    <a:pt x="504062" y="554451"/>
                  </a:moveTo>
                  <a:cubicBezTo>
                    <a:pt x="507491" y="554451"/>
                    <a:pt x="510253" y="557213"/>
                    <a:pt x="510253" y="560642"/>
                  </a:cubicBezTo>
                  <a:cubicBezTo>
                    <a:pt x="510253" y="564071"/>
                    <a:pt x="507491" y="566833"/>
                    <a:pt x="504062" y="566833"/>
                  </a:cubicBezTo>
                  <a:cubicBezTo>
                    <a:pt x="500633" y="566833"/>
                    <a:pt x="497871" y="564071"/>
                    <a:pt x="497871" y="560642"/>
                  </a:cubicBezTo>
                  <a:cubicBezTo>
                    <a:pt x="497871" y="557213"/>
                    <a:pt x="500633" y="554451"/>
                    <a:pt x="504062" y="554451"/>
                  </a:cubicBezTo>
                  <a:close/>
                  <a:moveTo>
                    <a:pt x="2910839" y="553974"/>
                  </a:moveTo>
                  <a:cubicBezTo>
                    <a:pt x="2914268" y="553974"/>
                    <a:pt x="2917030" y="556736"/>
                    <a:pt x="2917030" y="560165"/>
                  </a:cubicBezTo>
                  <a:cubicBezTo>
                    <a:pt x="2917030" y="563594"/>
                    <a:pt x="2914268" y="566356"/>
                    <a:pt x="2910839" y="566356"/>
                  </a:cubicBezTo>
                  <a:cubicBezTo>
                    <a:pt x="2907410" y="566356"/>
                    <a:pt x="2904648" y="563594"/>
                    <a:pt x="2904648" y="560165"/>
                  </a:cubicBezTo>
                  <a:cubicBezTo>
                    <a:pt x="2904648" y="556736"/>
                    <a:pt x="2907410" y="553974"/>
                    <a:pt x="2910839" y="553974"/>
                  </a:cubicBezTo>
                  <a:close/>
                  <a:moveTo>
                    <a:pt x="2853118" y="553879"/>
                  </a:moveTo>
                  <a:cubicBezTo>
                    <a:pt x="2856547" y="553879"/>
                    <a:pt x="2859309" y="556641"/>
                    <a:pt x="2859309" y="560070"/>
                  </a:cubicBezTo>
                  <a:cubicBezTo>
                    <a:pt x="2859309" y="563499"/>
                    <a:pt x="2856547" y="566261"/>
                    <a:pt x="2853118" y="566261"/>
                  </a:cubicBezTo>
                  <a:cubicBezTo>
                    <a:pt x="2849689" y="566261"/>
                    <a:pt x="2846927" y="563499"/>
                    <a:pt x="2846927" y="560070"/>
                  </a:cubicBezTo>
                  <a:cubicBezTo>
                    <a:pt x="2846927" y="556641"/>
                    <a:pt x="2849689" y="553879"/>
                    <a:pt x="2853118" y="553879"/>
                  </a:cubicBezTo>
                  <a:close/>
                  <a:moveTo>
                    <a:pt x="2600896" y="553593"/>
                  </a:moveTo>
                  <a:cubicBezTo>
                    <a:pt x="2604325" y="553593"/>
                    <a:pt x="2607087" y="556355"/>
                    <a:pt x="2607087" y="559784"/>
                  </a:cubicBezTo>
                  <a:cubicBezTo>
                    <a:pt x="2607087" y="563213"/>
                    <a:pt x="2604325" y="565975"/>
                    <a:pt x="2600896" y="565975"/>
                  </a:cubicBezTo>
                  <a:cubicBezTo>
                    <a:pt x="2597467" y="565975"/>
                    <a:pt x="2594705" y="563213"/>
                    <a:pt x="2594705" y="559784"/>
                  </a:cubicBezTo>
                  <a:cubicBezTo>
                    <a:pt x="2594705" y="556355"/>
                    <a:pt x="2597467" y="553593"/>
                    <a:pt x="2600896" y="553593"/>
                  </a:cubicBezTo>
                  <a:close/>
                  <a:moveTo>
                    <a:pt x="449675" y="552546"/>
                  </a:moveTo>
                  <a:cubicBezTo>
                    <a:pt x="453104" y="552546"/>
                    <a:pt x="455866" y="555308"/>
                    <a:pt x="455866" y="558737"/>
                  </a:cubicBezTo>
                  <a:lnTo>
                    <a:pt x="452009" y="562595"/>
                  </a:lnTo>
                  <a:lnTo>
                    <a:pt x="457390" y="567976"/>
                  </a:lnTo>
                  <a:lnTo>
                    <a:pt x="452866" y="572501"/>
                  </a:lnTo>
                  <a:lnTo>
                    <a:pt x="458437" y="578072"/>
                  </a:lnTo>
                  <a:cubicBezTo>
                    <a:pt x="458437" y="581501"/>
                    <a:pt x="455675" y="584264"/>
                    <a:pt x="452246" y="584264"/>
                  </a:cubicBezTo>
                  <a:cubicBezTo>
                    <a:pt x="448817" y="584264"/>
                    <a:pt x="446055" y="581501"/>
                    <a:pt x="446055" y="578072"/>
                  </a:cubicBezTo>
                  <a:lnTo>
                    <a:pt x="450580" y="573548"/>
                  </a:lnTo>
                  <a:lnTo>
                    <a:pt x="445008" y="567976"/>
                  </a:lnTo>
                  <a:lnTo>
                    <a:pt x="448866" y="564119"/>
                  </a:lnTo>
                  <a:lnTo>
                    <a:pt x="443484" y="558737"/>
                  </a:lnTo>
                  <a:cubicBezTo>
                    <a:pt x="443484" y="555308"/>
                    <a:pt x="446246" y="552546"/>
                    <a:pt x="449675" y="552546"/>
                  </a:cubicBezTo>
                  <a:close/>
                  <a:moveTo>
                    <a:pt x="1427416" y="552450"/>
                  </a:moveTo>
                  <a:cubicBezTo>
                    <a:pt x="1430845" y="552450"/>
                    <a:pt x="1433607" y="555212"/>
                    <a:pt x="1433607" y="558641"/>
                  </a:cubicBezTo>
                  <a:cubicBezTo>
                    <a:pt x="1433607" y="562070"/>
                    <a:pt x="1430845" y="564832"/>
                    <a:pt x="1427416" y="564832"/>
                  </a:cubicBezTo>
                  <a:cubicBezTo>
                    <a:pt x="1423987" y="564832"/>
                    <a:pt x="1421225" y="562070"/>
                    <a:pt x="1421225" y="558641"/>
                  </a:cubicBezTo>
                  <a:cubicBezTo>
                    <a:pt x="1421225" y="555212"/>
                    <a:pt x="1423987" y="552450"/>
                    <a:pt x="1427416" y="552450"/>
                  </a:cubicBezTo>
                  <a:close/>
                  <a:moveTo>
                    <a:pt x="2897504" y="552069"/>
                  </a:moveTo>
                  <a:cubicBezTo>
                    <a:pt x="2900933" y="552069"/>
                    <a:pt x="2903696" y="554831"/>
                    <a:pt x="2903696" y="558260"/>
                  </a:cubicBezTo>
                  <a:cubicBezTo>
                    <a:pt x="2903696" y="561689"/>
                    <a:pt x="2900933" y="564451"/>
                    <a:pt x="2897504" y="564451"/>
                  </a:cubicBezTo>
                  <a:cubicBezTo>
                    <a:pt x="2894075" y="564451"/>
                    <a:pt x="2891313" y="561689"/>
                    <a:pt x="2891313" y="558260"/>
                  </a:cubicBezTo>
                  <a:cubicBezTo>
                    <a:pt x="2891313" y="554831"/>
                    <a:pt x="2894075" y="552069"/>
                    <a:pt x="2897504" y="552069"/>
                  </a:cubicBezTo>
                  <a:close/>
                  <a:moveTo>
                    <a:pt x="599503" y="550831"/>
                  </a:moveTo>
                  <a:cubicBezTo>
                    <a:pt x="602932" y="550831"/>
                    <a:pt x="605694" y="553593"/>
                    <a:pt x="605694" y="557022"/>
                  </a:cubicBezTo>
                  <a:cubicBezTo>
                    <a:pt x="605694" y="560451"/>
                    <a:pt x="602932" y="563213"/>
                    <a:pt x="599503" y="563213"/>
                  </a:cubicBezTo>
                  <a:cubicBezTo>
                    <a:pt x="596074" y="563213"/>
                    <a:pt x="593312" y="560451"/>
                    <a:pt x="593312" y="557022"/>
                  </a:cubicBezTo>
                  <a:cubicBezTo>
                    <a:pt x="593312" y="553593"/>
                    <a:pt x="596074" y="550831"/>
                    <a:pt x="599503" y="550831"/>
                  </a:cubicBezTo>
                  <a:close/>
                  <a:moveTo>
                    <a:pt x="529589" y="550831"/>
                  </a:moveTo>
                  <a:cubicBezTo>
                    <a:pt x="533018" y="550831"/>
                    <a:pt x="535780" y="553593"/>
                    <a:pt x="535780" y="557022"/>
                  </a:cubicBezTo>
                  <a:cubicBezTo>
                    <a:pt x="535780" y="560451"/>
                    <a:pt x="533018" y="563213"/>
                    <a:pt x="529589" y="563213"/>
                  </a:cubicBezTo>
                  <a:cubicBezTo>
                    <a:pt x="526160" y="563213"/>
                    <a:pt x="523398" y="560451"/>
                    <a:pt x="523398" y="557022"/>
                  </a:cubicBezTo>
                  <a:cubicBezTo>
                    <a:pt x="523398" y="553593"/>
                    <a:pt x="526160" y="550831"/>
                    <a:pt x="529589" y="550831"/>
                  </a:cubicBezTo>
                  <a:close/>
                  <a:moveTo>
                    <a:pt x="561022" y="549402"/>
                  </a:moveTo>
                  <a:cubicBezTo>
                    <a:pt x="564451" y="549402"/>
                    <a:pt x="567213" y="552164"/>
                    <a:pt x="567213" y="555593"/>
                  </a:cubicBezTo>
                  <a:cubicBezTo>
                    <a:pt x="567213" y="559022"/>
                    <a:pt x="564451" y="561785"/>
                    <a:pt x="561022" y="561785"/>
                  </a:cubicBezTo>
                  <a:cubicBezTo>
                    <a:pt x="557593" y="561785"/>
                    <a:pt x="554831" y="559022"/>
                    <a:pt x="554831" y="555593"/>
                  </a:cubicBezTo>
                  <a:cubicBezTo>
                    <a:pt x="554831" y="552164"/>
                    <a:pt x="557593" y="549402"/>
                    <a:pt x="561022" y="549402"/>
                  </a:cubicBezTo>
                  <a:close/>
                  <a:moveTo>
                    <a:pt x="2279713" y="548926"/>
                  </a:moveTo>
                  <a:cubicBezTo>
                    <a:pt x="2283142" y="548926"/>
                    <a:pt x="2285905" y="551688"/>
                    <a:pt x="2285905" y="555117"/>
                  </a:cubicBezTo>
                  <a:cubicBezTo>
                    <a:pt x="2285905" y="558546"/>
                    <a:pt x="2283142" y="561308"/>
                    <a:pt x="2279713" y="561308"/>
                  </a:cubicBezTo>
                  <a:cubicBezTo>
                    <a:pt x="2276284" y="561308"/>
                    <a:pt x="2273522" y="558546"/>
                    <a:pt x="2273522" y="555117"/>
                  </a:cubicBezTo>
                  <a:cubicBezTo>
                    <a:pt x="2273522" y="551688"/>
                    <a:pt x="2276284" y="548926"/>
                    <a:pt x="2279713" y="548926"/>
                  </a:cubicBezTo>
                  <a:close/>
                  <a:moveTo>
                    <a:pt x="1855755" y="548831"/>
                  </a:moveTo>
                  <a:cubicBezTo>
                    <a:pt x="1859184" y="548831"/>
                    <a:pt x="1861947" y="551593"/>
                    <a:pt x="1861947" y="555022"/>
                  </a:cubicBezTo>
                  <a:cubicBezTo>
                    <a:pt x="1861947" y="558451"/>
                    <a:pt x="1859184" y="561213"/>
                    <a:pt x="1855755" y="561213"/>
                  </a:cubicBezTo>
                  <a:cubicBezTo>
                    <a:pt x="1852326" y="561213"/>
                    <a:pt x="1849564" y="558451"/>
                    <a:pt x="1849564" y="555022"/>
                  </a:cubicBezTo>
                  <a:cubicBezTo>
                    <a:pt x="1849564" y="551593"/>
                    <a:pt x="1852326" y="548831"/>
                    <a:pt x="1855755" y="548831"/>
                  </a:cubicBezTo>
                  <a:close/>
                  <a:moveTo>
                    <a:pt x="2884836" y="548355"/>
                  </a:moveTo>
                  <a:cubicBezTo>
                    <a:pt x="2888265" y="548355"/>
                    <a:pt x="2891027" y="551117"/>
                    <a:pt x="2891027" y="554546"/>
                  </a:cubicBezTo>
                  <a:lnTo>
                    <a:pt x="2884979" y="560594"/>
                  </a:lnTo>
                  <a:lnTo>
                    <a:pt x="2888551" y="564166"/>
                  </a:lnTo>
                  <a:lnTo>
                    <a:pt x="2883359" y="569357"/>
                  </a:lnTo>
                  <a:lnTo>
                    <a:pt x="2887599" y="573596"/>
                  </a:lnTo>
                  <a:cubicBezTo>
                    <a:pt x="2887599" y="577025"/>
                    <a:pt x="2884836" y="579787"/>
                    <a:pt x="2881407" y="579787"/>
                  </a:cubicBezTo>
                  <a:cubicBezTo>
                    <a:pt x="2877978" y="579787"/>
                    <a:pt x="2875216" y="577025"/>
                    <a:pt x="2875216" y="573596"/>
                  </a:cubicBezTo>
                  <a:lnTo>
                    <a:pt x="2880407" y="568405"/>
                  </a:lnTo>
                  <a:lnTo>
                    <a:pt x="2876168" y="564166"/>
                  </a:lnTo>
                  <a:lnTo>
                    <a:pt x="2882217" y="558118"/>
                  </a:lnTo>
                  <a:lnTo>
                    <a:pt x="2878645" y="554546"/>
                  </a:lnTo>
                  <a:cubicBezTo>
                    <a:pt x="2878645" y="551117"/>
                    <a:pt x="2881407" y="548355"/>
                    <a:pt x="2884836" y="548355"/>
                  </a:cubicBezTo>
                  <a:close/>
                  <a:moveTo>
                    <a:pt x="2834830" y="547592"/>
                  </a:moveTo>
                  <a:cubicBezTo>
                    <a:pt x="2838259" y="547592"/>
                    <a:pt x="2841021" y="550354"/>
                    <a:pt x="2841021" y="553783"/>
                  </a:cubicBezTo>
                  <a:cubicBezTo>
                    <a:pt x="2841021" y="557212"/>
                    <a:pt x="2838259" y="559974"/>
                    <a:pt x="2834830" y="559974"/>
                  </a:cubicBezTo>
                  <a:cubicBezTo>
                    <a:pt x="2831401" y="559974"/>
                    <a:pt x="2828639" y="557212"/>
                    <a:pt x="2828639" y="553783"/>
                  </a:cubicBezTo>
                  <a:cubicBezTo>
                    <a:pt x="2828639" y="550354"/>
                    <a:pt x="2831401" y="547592"/>
                    <a:pt x="2834830" y="547592"/>
                  </a:cubicBezTo>
                  <a:close/>
                  <a:moveTo>
                    <a:pt x="1533524" y="545592"/>
                  </a:moveTo>
                  <a:cubicBezTo>
                    <a:pt x="1536953" y="545592"/>
                    <a:pt x="1539715" y="548354"/>
                    <a:pt x="1539715" y="551783"/>
                  </a:cubicBezTo>
                  <a:cubicBezTo>
                    <a:pt x="1539715" y="555212"/>
                    <a:pt x="1536953" y="557974"/>
                    <a:pt x="1533524" y="557974"/>
                  </a:cubicBezTo>
                  <a:cubicBezTo>
                    <a:pt x="1530095" y="557974"/>
                    <a:pt x="1527333" y="555212"/>
                    <a:pt x="1527333" y="551783"/>
                  </a:cubicBezTo>
                  <a:cubicBezTo>
                    <a:pt x="1527333" y="548354"/>
                    <a:pt x="1530095" y="545592"/>
                    <a:pt x="1533524" y="545592"/>
                  </a:cubicBezTo>
                  <a:close/>
                  <a:moveTo>
                    <a:pt x="2458021" y="545116"/>
                  </a:moveTo>
                  <a:cubicBezTo>
                    <a:pt x="2461450" y="545116"/>
                    <a:pt x="2464212" y="547878"/>
                    <a:pt x="2464212" y="551307"/>
                  </a:cubicBezTo>
                  <a:cubicBezTo>
                    <a:pt x="2464212" y="554736"/>
                    <a:pt x="2461450" y="557498"/>
                    <a:pt x="2458021" y="557498"/>
                  </a:cubicBezTo>
                  <a:cubicBezTo>
                    <a:pt x="2454592" y="557498"/>
                    <a:pt x="2451830" y="554736"/>
                    <a:pt x="2451830" y="551307"/>
                  </a:cubicBezTo>
                  <a:cubicBezTo>
                    <a:pt x="2451830" y="547878"/>
                    <a:pt x="2454592" y="545116"/>
                    <a:pt x="2458021" y="545116"/>
                  </a:cubicBezTo>
                  <a:close/>
                  <a:moveTo>
                    <a:pt x="1748789" y="543783"/>
                  </a:moveTo>
                  <a:cubicBezTo>
                    <a:pt x="1752218" y="543783"/>
                    <a:pt x="1754981" y="546545"/>
                    <a:pt x="1754981" y="549974"/>
                  </a:cubicBezTo>
                  <a:cubicBezTo>
                    <a:pt x="1754981" y="553403"/>
                    <a:pt x="1752218" y="556165"/>
                    <a:pt x="1748789" y="556165"/>
                  </a:cubicBezTo>
                  <a:cubicBezTo>
                    <a:pt x="1745360" y="556165"/>
                    <a:pt x="1742598" y="553403"/>
                    <a:pt x="1742598" y="549974"/>
                  </a:cubicBezTo>
                  <a:cubicBezTo>
                    <a:pt x="1742598" y="546545"/>
                    <a:pt x="1745360" y="543783"/>
                    <a:pt x="1748789" y="543783"/>
                  </a:cubicBezTo>
                  <a:close/>
                  <a:moveTo>
                    <a:pt x="2660903" y="543497"/>
                  </a:moveTo>
                  <a:cubicBezTo>
                    <a:pt x="2664332" y="543497"/>
                    <a:pt x="2667095" y="546259"/>
                    <a:pt x="2667095" y="549688"/>
                  </a:cubicBezTo>
                  <a:cubicBezTo>
                    <a:pt x="2667095" y="553117"/>
                    <a:pt x="2664332" y="555879"/>
                    <a:pt x="2660903" y="555879"/>
                  </a:cubicBezTo>
                  <a:cubicBezTo>
                    <a:pt x="2657474" y="555879"/>
                    <a:pt x="2654712" y="553117"/>
                    <a:pt x="2654712" y="549688"/>
                  </a:cubicBezTo>
                  <a:cubicBezTo>
                    <a:pt x="2654712" y="546259"/>
                    <a:pt x="2657474" y="543497"/>
                    <a:pt x="2660903" y="543497"/>
                  </a:cubicBezTo>
                  <a:close/>
                  <a:moveTo>
                    <a:pt x="2872358" y="543021"/>
                  </a:moveTo>
                  <a:cubicBezTo>
                    <a:pt x="2875787" y="543021"/>
                    <a:pt x="2878549" y="545783"/>
                    <a:pt x="2878549" y="549212"/>
                  </a:cubicBezTo>
                  <a:lnTo>
                    <a:pt x="2873311" y="554451"/>
                  </a:lnTo>
                  <a:lnTo>
                    <a:pt x="2876454" y="557594"/>
                  </a:lnTo>
                  <a:lnTo>
                    <a:pt x="2870835" y="563213"/>
                  </a:lnTo>
                  <a:lnTo>
                    <a:pt x="2874550" y="566928"/>
                  </a:lnTo>
                  <a:cubicBezTo>
                    <a:pt x="2874550" y="570357"/>
                    <a:pt x="2871787" y="573119"/>
                    <a:pt x="2868358" y="573119"/>
                  </a:cubicBezTo>
                  <a:cubicBezTo>
                    <a:pt x="2864929" y="573119"/>
                    <a:pt x="2862167" y="570357"/>
                    <a:pt x="2862167" y="566928"/>
                  </a:cubicBezTo>
                  <a:lnTo>
                    <a:pt x="2867787" y="561309"/>
                  </a:lnTo>
                  <a:lnTo>
                    <a:pt x="2864072" y="557594"/>
                  </a:lnTo>
                  <a:lnTo>
                    <a:pt x="2869310" y="552356"/>
                  </a:lnTo>
                  <a:lnTo>
                    <a:pt x="2866167" y="549212"/>
                  </a:lnTo>
                  <a:cubicBezTo>
                    <a:pt x="2866167" y="545783"/>
                    <a:pt x="2868929" y="543021"/>
                    <a:pt x="2872358" y="543021"/>
                  </a:cubicBezTo>
                  <a:close/>
                  <a:moveTo>
                    <a:pt x="1641061" y="542639"/>
                  </a:moveTo>
                  <a:cubicBezTo>
                    <a:pt x="1644490" y="542639"/>
                    <a:pt x="1647253" y="545401"/>
                    <a:pt x="1647253" y="548830"/>
                  </a:cubicBezTo>
                  <a:cubicBezTo>
                    <a:pt x="1647253" y="552259"/>
                    <a:pt x="1644490" y="555021"/>
                    <a:pt x="1641061" y="555021"/>
                  </a:cubicBezTo>
                  <a:cubicBezTo>
                    <a:pt x="1637632" y="555021"/>
                    <a:pt x="1634870" y="552259"/>
                    <a:pt x="1634870" y="548830"/>
                  </a:cubicBezTo>
                  <a:cubicBezTo>
                    <a:pt x="1634870" y="545401"/>
                    <a:pt x="1637632" y="542639"/>
                    <a:pt x="1641061" y="542639"/>
                  </a:cubicBezTo>
                  <a:close/>
                  <a:moveTo>
                    <a:pt x="445864" y="542258"/>
                  </a:moveTo>
                  <a:cubicBezTo>
                    <a:pt x="449293" y="542258"/>
                    <a:pt x="452055" y="545020"/>
                    <a:pt x="452055" y="548449"/>
                  </a:cubicBezTo>
                  <a:cubicBezTo>
                    <a:pt x="452055" y="551878"/>
                    <a:pt x="449293" y="554641"/>
                    <a:pt x="445864" y="554641"/>
                  </a:cubicBezTo>
                  <a:cubicBezTo>
                    <a:pt x="442435" y="554641"/>
                    <a:pt x="439673" y="551878"/>
                    <a:pt x="439673" y="548449"/>
                  </a:cubicBezTo>
                  <a:cubicBezTo>
                    <a:pt x="439673" y="545020"/>
                    <a:pt x="442435" y="542258"/>
                    <a:pt x="445864" y="542258"/>
                  </a:cubicBezTo>
                  <a:close/>
                  <a:moveTo>
                    <a:pt x="2812541" y="542163"/>
                  </a:moveTo>
                  <a:cubicBezTo>
                    <a:pt x="2815970" y="542163"/>
                    <a:pt x="2818732" y="544925"/>
                    <a:pt x="2818732" y="548354"/>
                  </a:cubicBezTo>
                  <a:cubicBezTo>
                    <a:pt x="2818732" y="551783"/>
                    <a:pt x="2815970" y="554545"/>
                    <a:pt x="2812541" y="554545"/>
                  </a:cubicBezTo>
                  <a:cubicBezTo>
                    <a:pt x="2809112" y="554545"/>
                    <a:pt x="2806350" y="551783"/>
                    <a:pt x="2806350" y="548354"/>
                  </a:cubicBezTo>
                  <a:cubicBezTo>
                    <a:pt x="2806350" y="544925"/>
                    <a:pt x="2809112" y="542163"/>
                    <a:pt x="2812541" y="542163"/>
                  </a:cubicBezTo>
                  <a:close/>
                  <a:moveTo>
                    <a:pt x="494252" y="540449"/>
                  </a:moveTo>
                  <a:cubicBezTo>
                    <a:pt x="497681" y="540449"/>
                    <a:pt x="500443" y="543211"/>
                    <a:pt x="500443" y="546640"/>
                  </a:cubicBezTo>
                  <a:cubicBezTo>
                    <a:pt x="500443" y="550069"/>
                    <a:pt x="497681" y="552831"/>
                    <a:pt x="494252" y="552831"/>
                  </a:cubicBezTo>
                  <a:cubicBezTo>
                    <a:pt x="490823" y="552831"/>
                    <a:pt x="488061" y="550069"/>
                    <a:pt x="488061" y="546640"/>
                  </a:cubicBezTo>
                  <a:cubicBezTo>
                    <a:pt x="488061" y="543211"/>
                    <a:pt x="490823" y="540449"/>
                    <a:pt x="494252" y="540449"/>
                  </a:cubicBezTo>
                  <a:close/>
                  <a:moveTo>
                    <a:pt x="764571" y="539782"/>
                  </a:moveTo>
                  <a:cubicBezTo>
                    <a:pt x="768000" y="539782"/>
                    <a:pt x="770762" y="542544"/>
                    <a:pt x="770762" y="545973"/>
                  </a:cubicBezTo>
                  <a:cubicBezTo>
                    <a:pt x="770762" y="549402"/>
                    <a:pt x="768000" y="552164"/>
                    <a:pt x="764571" y="552164"/>
                  </a:cubicBezTo>
                  <a:cubicBezTo>
                    <a:pt x="761142" y="552164"/>
                    <a:pt x="758380" y="549402"/>
                    <a:pt x="758380" y="545973"/>
                  </a:cubicBezTo>
                  <a:cubicBezTo>
                    <a:pt x="758380" y="542544"/>
                    <a:pt x="761142" y="539782"/>
                    <a:pt x="764571" y="539782"/>
                  </a:cubicBezTo>
                  <a:close/>
                  <a:moveTo>
                    <a:pt x="1099661" y="538449"/>
                  </a:moveTo>
                  <a:cubicBezTo>
                    <a:pt x="1103090" y="538449"/>
                    <a:pt x="1105852" y="541211"/>
                    <a:pt x="1105852" y="544640"/>
                  </a:cubicBezTo>
                  <a:cubicBezTo>
                    <a:pt x="1105852" y="548069"/>
                    <a:pt x="1103090" y="550831"/>
                    <a:pt x="1099661" y="550831"/>
                  </a:cubicBezTo>
                  <a:cubicBezTo>
                    <a:pt x="1096232" y="550831"/>
                    <a:pt x="1093470" y="548069"/>
                    <a:pt x="1093470" y="544640"/>
                  </a:cubicBezTo>
                  <a:cubicBezTo>
                    <a:pt x="1093470" y="541211"/>
                    <a:pt x="1096232" y="538449"/>
                    <a:pt x="1099661" y="538449"/>
                  </a:cubicBezTo>
                  <a:close/>
                  <a:moveTo>
                    <a:pt x="2785205" y="538353"/>
                  </a:moveTo>
                  <a:cubicBezTo>
                    <a:pt x="2788634" y="538353"/>
                    <a:pt x="2791396" y="541115"/>
                    <a:pt x="2791396" y="544544"/>
                  </a:cubicBezTo>
                  <a:cubicBezTo>
                    <a:pt x="2791396" y="547973"/>
                    <a:pt x="2788634" y="550736"/>
                    <a:pt x="2785205" y="550736"/>
                  </a:cubicBezTo>
                  <a:cubicBezTo>
                    <a:pt x="2781776" y="550736"/>
                    <a:pt x="2779014" y="547973"/>
                    <a:pt x="2779014" y="544544"/>
                  </a:cubicBezTo>
                  <a:cubicBezTo>
                    <a:pt x="2779014" y="541115"/>
                    <a:pt x="2781776" y="538353"/>
                    <a:pt x="2785205" y="538353"/>
                  </a:cubicBezTo>
                  <a:close/>
                  <a:moveTo>
                    <a:pt x="2904743" y="538258"/>
                  </a:moveTo>
                  <a:cubicBezTo>
                    <a:pt x="2908172" y="538258"/>
                    <a:pt x="2910934" y="541020"/>
                    <a:pt x="2910934" y="544449"/>
                  </a:cubicBezTo>
                  <a:cubicBezTo>
                    <a:pt x="2910934" y="547878"/>
                    <a:pt x="2908172" y="550640"/>
                    <a:pt x="2904743" y="550640"/>
                  </a:cubicBezTo>
                  <a:cubicBezTo>
                    <a:pt x="2901314" y="550640"/>
                    <a:pt x="2898552" y="547878"/>
                    <a:pt x="2898552" y="544449"/>
                  </a:cubicBezTo>
                  <a:cubicBezTo>
                    <a:pt x="2898552" y="541020"/>
                    <a:pt x="2901314" y="538258"/>
                    <a:pt x="2904743" y="538258"/>
                  </a:cubicBezTo>
                  <a:close/>
                  <a:moveTo>
                    <a:pt x="2710719" y="538163"/>
                  </a:moveTo>
                  <a:cubicBezTo>
                    <a:pt x="2714148" y="538163"/>
                    <a:pt x="2716910" y="540925"/>
                    <a:pt x="2716910" y="544354"/>
                  </a:cubicBezTo>
                  <a:cubicBezTo>
                    <a:pt x="2716910" y="547783"/>
                    <a:pt x="2714148" y="550545"/>
                    <a:pt x="2710719" y="550545"/>
                  </a:cubicBezTo>
                  <a:cubicBezTo>
                    <a:pt x="2707290" y="550545"/>
                    <a:pt x="2704528" y="547783"/>
                    <a:pt x="2704528" y="544354"/>
                  </a:cubicBezTo>
                  <a:cubicBezTo>
                    <a:pt x="2704528" y="540925"/>
                    <a:pt x="2707290" y="538163"/>
                    <a:pt x="2710719" y="538163"/>
                  </a:cubicBezTo>
                  <a:close/>
                  <a:moveTo>
                    <a:pt x="458914" y="537877"/>
                  </a:moveTo>
                  <a:cubicBezTo>
                    <a:pt x="462343" y="537877"/>
                    <a:pt x="465106" y="540639"/>
                    <a:pt x="465106" y="544068"/>
                  </a:cubicBezTo>
                  <a:lnTo>
                    <a:pt x="462247" y="546926"/>
                  </a:lnTo>
                  <a:lnTo>
                    <a:pt x="467962" y="552641"/>
                  </a:lnTo>
                  <a:lnTo>
                    <a:pt x="464629" y="555975"/>
                  </a:lnTo>
                  <a:lnTo>
                    <a:pt x="469772" y="561118"/>
                  </a:lnTo>
                  <a:cubicBezTo>
                    <a:pt x="469772" y="564547"/>
                    <a:pt x="467010" y="567309"/>
                    <a:pt x="463581" y="567309"/>
                  </a:cubicBezTo>
                  <a:cubicBezTo>
                    <a:pt x="460152" y="567309"/>
                    <a:pt x="457390" y="564547"/>
                    <a:pt x="457390" y="561118"/>
                  </a:cubicBezTo>
                  <a:lnTo>
                    <a:pt x="460724" y="557785"/>
                  </a:lnTo>
                  <a:lnTo>
                    <a:pt x="455580" y="552641"/>
                  </a:lnTo>
                  <a:lnTo>
                    <a:pt x="458438" y="549783"/>
                  </a:lnTo>
                  <a:lnTo>
                    <a:pt x="452723" y="544068"/>
                  </a:lnTo>
                  <a:cubicBezTo>
                    <a:pt x="452723" y="540639"/>
                    <a:pt x="455485" y="537877"/>
                    <a:pt x="458914" y="537877"/>
                  </a:cubicBezTo>
                  <a:close/>
                  <a:moveTo>
                    <a:pt x="2890170" y="536925"/>
                  </a:moveTo>
                  <a:cubicBezTo>
                    <a:pt x="2893599" y="536925"/>
                    <a:pt x="2896361" y="539687"/>
                    <a:pt x="2896361" y="543116"/>
                  </a:cubicBezTo>
                  <a:cubicBezTo>
                    <a:pt x="2896361" y="546545"/>
                    <a:pt x="2893599" y="549307"/>
                    <a:pt x="2890170" y="549307"/>
                  </a:cubicBezTo>
                  <a:cubicBezTo>
                    <a:pt x="2886741" y="549307"/>
                    <a:pt x="2883979" y="546545"/>
                    <a:pt x="2883979" y="543116"/>
                  </a:cubicBezTo>
                  <a:cubicBezTo>
                    <a:pt x="2883979" y="539687"/>
                    <a:pt x="2886741" y="536925"/>
                    <a:pt x="2890170" y="536925"/>
                  </a:cubicBezTo>
                  <a:close/>
                  <a:moveTo>
                    <a:pt x="2751676" y="536734"/>
                  </a:moveTo>
                  <a:cubicBezTo>
                    <a:pt x="2755105" y="536734"/>
                    <a:pt x="2757868" y="539496"/>
                    <a:pt x="2757868" y="542925"/>
                  </a:cubicBezTo>
                  <a:cubicBezTo>
                    <a:pt x="2757868" y="546354"/>
                    <a:pt x="2755105" y="549116"/>
                    <a:pt x="2751676" y="549116"/>
                  </a:cubicBezTo>
                  <a:cubicBezTo>
                    <a:pt x="2748247" y="549116"/>
                    <a:pt x="2745485" y="546354"/>
                    <a:pt x="2745485" y="542925"/>
                  </a:cubicBezTo>
                  <a:cubicBezTo>
                    <a:pt x="2745485" y="539496"/>
                    <a:pt x="2748247" y="536734"/>
                    <a:pt x="2751676" y="536734"/>
                  </a:cubicBezTo>
                  <a:close/>
                  <a:moveTo>
                    <a:pt x="2876454" y="533686"/>
                  </a:moveTo>
                  <a:cubicBezTo>
                    <a:pt x="2879883" y="533686"/>
                    <a:pt x="2882646" y="536448"/>
                    <a:pt x="2882646" y="539877"/>
                  </a:cubicBezTo>
                  <a:cubicBezTo>
                    <a:pt x="2882646" y="543306"/>
                    <a:pt x="2879883" y="546068"/>
                    <a:pt x="2876454" y="546068"/>
                  </a:cubicBezTo>
                  <a:cubicBezTo>
                    <a:pt x="2873025" y="546068"/>
                    <a:pt x="2870263" y="543306"/>
                    <a:pt x="2870263" y="539877"/>
                  </a:cubicBezTo>
                  <a:cubicBezTo>
                    <a:pt x="2870263" y="536448"/>
                    <a:pt x="2873025" y="533686"/>
                    <a:pt x="2876454" y="533686"/>
                  </a:cubicBezTo>
                  <a:close/>
                  <a:moveTo>
                    <a:pt x="514159" y="533686"/>
                  </a:moveTo>
                  <a:cubicBezTo>
                    <a:pt x="517588" y="533686"/>
                    <a:pt x="520350" y="536448"/>
                    <a:pt x="520350" y="539877"/>
                  </a:cubicBezTo>
                  <a:cubicBezTo>
                    <a:pt x="520350" y="543306"/>
                    <a:pt x="517588" y="546068"/>
                    <a:pt x="514159" y="546068"/>
                  </a:cubicBezTo>
                  <a:cubicBezTo>
                    <a:pt x="510730" y="546068"/>
                    <a:pt x="507968" y="543306"/>
                    <a:pt x="507968" y="539877"/>
                  </a:cubicBezTo>
                  <a:cubicBezTo>
                    <a:pt x="507968" y="536448"/>
                    <a:pt x="510730" y="533686"/>
                    <a:pt x="514159" y="533686"/>
                  </a:cubicBezTo>
                  <a:close/>
                  <a:moveTo>
                    <a:pt x="914209" y="532543"/>
                  </a:moveTo>
                  <a:cubicBezTo>
                    <a:pt x="917638" y="532543"/>
                    <a:pt x="920400" y="535305"/>
                    <a:pt x="920400" y="538734"/>
                  </a:cubicBezTo>
                  <a:cubicBezTo>
                    <a:pt x="920400" y="542163"/>
                    <a:pt x="917638" y="544925"/>
                    <a:pt x="914209" y="544925"/>
                  </a:cubicBezTo>
                  <a:cubicBezTo>
                    <a:pt x="910780" y="544925"/>
                    <a:pt x="908018" y="542163"/>
                    <a:pt x="908018" y="538734"/>
                  </a:cubicBezTo>
                  <a:cubicBezTo>
                    <a:pt x="908018" y="535305"/>
                    <a:pt x="910780" y="532543"/>
                    <a:pt x="914209" y="532543"/>
                  </a:cubicBezTo>
                  <a:close/>
                  <a:moveTo>
                    <a:pt x="453295" y="532257"/>
                  </a:moveTo>
                  <a:cubicBezTo>
                    <a:pt x="454084" y="532257"/>
                    <a:pt x="454724" y="532897"/>
                    <a:pt x="454724" y="533686"/>
                  </a:cubicBezTo>
                  <a:cubicBezTo>
                    <a:pt x="454724" y="534475"/>
                    <a:pt x="454084" y="535115"/>
                    <a:pt x="453295" y="535115"/>
                  </a:cubicBezTo>
                  <a:cubicBezTo>
                    <a:pt x="452506" y="535115"/>
                    <a:pt x="451866" y="534475"/>
                    <a:pt x="451866" y="533686"/>
                  </a:cubicBezTo>
                  <a:cubicBezTo>
                    <a:pt x="451866" y="532897"/>
                    <a:pt x="452506" y="532257"/>
                    <a:pt x="453295" y="532257"/>
                  </a:cubicBezTo>
                  <a:close/>
                  <a:moveTo>
                    <a:pt x="471773" y="531876"/>
                  </a:moveTo>
                  <a:cubicBezTo>
                    <a:pt x="475202" y="531876"/>
                    <a:pt x="477964" y="534638"/>
                    <a:pt x="477964" y="538067"/>
                  </a:cubicBezTo>
                  <a:lnTo>
                    <a:pt x="475726" y="540306"/>
                  </a:lnTo>
                  <a:lnTo>
                    <a:pt x="480821" y="545401"/>
                  </a:lnTo>
                  <a:lnTo>
                    <a:pt x="478106" y="548116"/>
                  </a:lnTo>
                  <a:lnTo>
                    <a:pt x="483869" y="553879"/>
                  </a:lnTo>
                  <a:cubicBezTo>
                    <a:pt x="483869" y="557308"/>
                    <a:pt x="481107" y="560070"/>
                    <a:pt x="477678" y="560070"/>
                  </a:cubicBezTo>
                  <a:cubicBezTo>
                    <a:pt x="474249" y="560070"/>
                    <a:pt x="471487" y="557308"/>
                    <a:pt x="471487" y="553879"/>
                  </a:cubicBezTo>
                  <a:lnTo>
                    <a:pt x="474202" y="551165"/>
                  </a:lnTo>
                  <a:lnTo>
                    <a:pt x="468439" y="545401"/>
                  </a:lnTo>
                  <a:lnTo>
                    <a:pt x="470678" y="543163"/>
                  </a:lnTo>
                  <a:lnTo>
                    <a:pt x="465582" y="538067"/>
                  </a:lnTo>
                  <a:cubicBezTo>
                    <a:pt x="465582" y="534638"/>
                    <a:pt x="468344" y="531876"/>
                    <a:pt x="471773" y="531876"/>
                  </a:cubicBezTo>
                  <a:close/>
                  <a:moveTo>
                    <a:pt x="2190464" y="529971"/>
                  </a:moveTo>
                  <a:cubicBezTo>
                    <a:pt x="2193893" y="529971"/>
                    <a:pt x="2196655" y="532733"/>
                    <a:pt x="2196655" y="536162"/>
                  </a:cubicBezTo>
                  <a:cubicBezTo>
                    <a:pt x="2196655" y="539591"/>
                    <a:pt x="2193893" y="542353"/>
                    <a:pt x="2190464" y="542353"/>
                  </a:cubicBezTo>
                  <a:cubicBezTo>
                    <a:pt x="2187035" y="542353"/>
                    <a:pt x="2184273" y="539591"/>
                    <a:pt x="2184273" y="536162"/>
                  </a:cubicBezTo>
                  <a:cubicBezTo>
                    <a:pt x="2184273" y="532733"/>
                    <a:pt x="2187035" y="529971"/>
                    <a:pt x="2190464" y="529971"/>
                  </a:cubicBezTo>
                  <a:close/>
                  <a:moveTo>
                    <a:pt x="700849" y="529209"/>
                  </a:moveTo>
                  <a:cubicBezTo>
                    <a:pt x="704278" y="529209"/>
                    <a:pt x="707041" y="531971"/>
                    <a:pt x="707041" y="535400"/>
                  </a:cubicBezTo>
                  <a:cubicBezTo>
                    <a:pt x="707041" y="538829"/>
                    <a:pt x="704278" y="541591"/>
                    <a:pt x="700849" y="541591"/>
                  </a:cubicBezTo>
                  <a:cubicBezTo>
                    <a:pt x="697420" y="541591"/>
                    <a:pt x="694658" y="538829"/>
                    <a:pt x="694658" y="535400"/>
                  </a:cubicBezTo>
                  <a:cubicBezTo>
                    <a:pt x="694658" y="531971"/>
                    <a:pt x="697420" y="529209"/>
                    <a:pt x="700849" y="529209"/>
                  </a:cubicBezTo>
                  <a:close/>
                  <a:moveTo>
                    <a:pt x="2863119" y="528638"/>
                  </a:moveTo>
                  <a:cubicBezTo>
                    <a:pt x="2866548" y="528638"/>
                    <a:pt x="2869310" y="531400"/>
                    <a:pt x="2869310" y="534829"/>
                  </a:cubicBezTo>
                  <a:lnTo>
                    <a:pt x="2863738" y="540401"/>
                  </a:lnTo>
                  <a:lnTo>
                    <a:pt x="2865882" y="542544"/>
                  </a:lnTo>
                  <a:lnTo>
                    <a:pt x="2860690" y="547735"/>
                  </a:lnTo>
                  <a:lnTo>
                    <a:pt x="2863215" y="550259"/>
                  </a:lnTo>
                  <a:cubicBezTo>
                    <a:pt x="2863215" y="553688"/>
                    <a:pt x="2860452" y="556450"/>
                    <a:pt x="2857023" y="556450"/>
                  </a:cubicBezTo>
                  <a:cubicBezTo>
                    <a:pt x="2853594" y="556450"/>
                    <a:pt x="2850832" y="553688"/>
                    <a:pt x="2850832" y="550259"/>
                  </a:cubicBezTo>
                  <a:lnTo>
                    <a:pt x="2856023" y="545068"/>
                  </a:lnTo>
                  <a:lnTo>
                    <a:pt x="2853499" y="542544"/>
                  </a:lnTo>
                  <a:lnTo>
                    <a:pt x="2859071" y="536972"/>
                  </a:lnTo>
                  <a:lnTo>
                    <a:pt x="2856928" y="534829"/>
                  </a:lnTo>
                  <a:cubicBezTo>
                    <a:pt x="2856928" y="531400"/>
                    <a:pt x="2859690" y="528638"/>
                    <a:pt x="2863119" y="528638"/>
                  </a:cubicBezTo>
                  <a:close/>
                  <a:moveTo>
                    <a:pt x="2824257" y="528638"/>
                  </a:moveTo>
                  <a:cubicBezTo>
                    <a:pt x="2827686" y="528638"/>
                    <a:pt x="2830449" y="531400"/>
                    <a:pt x="2830449" y="534829"/>
                  </a:cubicBezTo>
                  <a:cubicBezTo>
                    <a:pt x="2830449" y="538258"/>
                    <a:pt x="2827686" y="541020"/>
                    <a:pt x="2824257" y="541020"/>
                  </a:cubicBezTo>
                  <a:cubicBezTo>
                    <a:pt x="2820828" y="541020"/>
                    <a:pt x="2818066" y="538258"/>
                    <a:pt x="2818066" y="534829"/>
                  </a:cubicBezTo>
                  <a:cubicBezTo>
                    <a:pt x="2818066" y="531400"/>
                    <a:pt x="2820828" y="528638"/>
                    <a:pt x="2824257" y="528638"/>
                  </a:cubicBezTo>
                  <a:close/>
                  <a:moveTo>
                    <a:pt x="2537555" y="527971"/>
                  </a:moveTo>
                  <a:cubicBezTo>
                    <a:pt x="2540984" y="527971"/>
                    <a:pt x="2543746" y="530733"/>
                    <a:pt x="2543746" y="534162"/>
                  </a:cubicBezTo>
                  <a:cubicBezTo>
                    <a:pt x="2543746" y="537591"/>
                    <a:pt x="2540984" y="540354"/>
                    <a:pt x="2537555" y="540354"/>
                  </a:cubicBezTo>
                  <a:cubicBezTo>
                    <a:pt x="2534126" y="540354"/>
                    <a:pt x="2531364" y="537591"/>
                    <a:pt x="2531364" y="534162"/>
                  </a:cubicBezTo>
                  <a:cubicBezTo>
                    <a:pt x="2531364" y="530733"/>
                    <a:pt x="2534126" y="527971"/>
                    <a:pt x="2537555" y="527971"/>
                  </a:cubicBezTo>
                  <a:close/>
                  <a:moveTo>
                    <a:pt x="538257" y="527876"/>
                  </a:moveTo>
                  <a:cubicBezTo>
                    <a:pt x="541686" y="527876"/>
                    <a:pt x="544448" y="530638"/>
                    <a:pt x="544448" y="534067"/>
                  </a:cubicBezTo>
                  <a:cubicBezTo>
                    <a:pt x="544448" y="537496"/>
                    <a:pt x="541686" y="540258"/>
                    <a:pt x="538257" y="540258"/>
                  </a:cubicBezTo>
                  <a:cubicBezTo>
                    <a:pt x="534828" y="540258"/>
                    <a:pt x="532066" y="537496"/>
                    <a:pt x="532066" y="534067"/>
                  </a:cubicBezTo>
                  <a:cubicBezTo>
                    <a:pt x="532066" y="530638"/>
                    <a:pt x="534828" y="527876"/>
                    <a:pt x="538257" y="527876"/>
                  </a:cubicBezTo>
                  <a:close/>
                  <a:moveTo>
                    <a:pt x="2899600" y="526637"/>
                  </a:moveTo>
                  <a:cubicBezTo>
                    <a:pt x="2900743" y="526637"/>
                    <a:pt x="2901601" y="527494"/>
                    <a:pt x="2901601" y="528637"/>
                  </a:cubicBezTo>
                  <a:cubicBezTo>
                    <a:pt x="2901601" y="529780"/>
                    <a:pt x="2900743" y="530638"/>
                    <a:pt x="2899600" y="530638"/>
                  </a:cubicBezTo>
                  <a:cubicBezTo>
                    <a:pt x="2898457" y="530638"/>
                    <a:pt x="2897600" y="529780"/>
                    <a:pt x="2897600" y="528637"/>
                  </a:cubicBezTo>
                  <a:cubicBezTo>
                    <a:pt x="2897600" y="527494"/>
                    <a:pt x="2898457" y="526637"/>
                    <a:pt x="2899600" y="526637"/>
                  </a:cubicBezTo>
                  <a:close/>
                  <a:moveTo>
                    <a:pt x="567784" y="523875"/>
                  </a:moveTo>
                  <a:cubicBezTo>
                    <a:pt x="571213" y="523875"/>
                    <a:pt x="573975" y="526637"/>
                    <a:pt x="573975" y="530066"/>
                  </a:cubicBezTo>
                  <a:cubicBezTo>
                    <a:pt x="573975" y="533495"/>
                    <a:pt x="571213" y="536257"/>
                    <a:pt x="567784" y="536257"/>
                  </a:cubicBezTo>
                  <a:cubicBezTo>
                    <a:pt x="564355" y="536257"/>
                    <a:pt x="561593" y="533495"/>
                    <a:pt x="561593" y="530066"/>
                  </a:cubicBezTo>
                  <a:cubicBezTo>
                    <a:pt x="561593" y="526637"/>
                    <a:pt x="564355" y="523875"/>
                    <a:pt x="567784" y="523875"/>
                  </a:cubicBezTo>
                  <a:close/>
                  <a:moveTo>
                    <a:pt x="647795" y="523685"/>
                  </a:moveTo>
                  <a:cubicBezTo>
                    <a:pt x="651224" y="523685"/>
                    <a:pt x="653987" y="526447"/>
                    <a:pt x="653987" y="529876"/>
                  </a:cubicBezTo>
                  <a:cubicBezTo>
                    <a:pt x="653987" y="533305"/>
                    <a:pt x="651224" y="536067"/>
                    <a:pt x="647795" y="536067"/>
                  </a:cubicBezTo>
                  <a:cubicBezTo>
                    <a:pt x="644366" y="536067"/>
                    <a:pt x="641604" y="533305"/>
                    <a:pt x="641604" y="529876"/>
                  </a:cubicBezTo>
                  <a:cubicBezTo>
                    <a:pt x="641604" y="526447"/>
                    <a:pt x="644366" y="523685"/>
                    <a:pt x="647795" y="523685"/>
                  </a:cubicBezTo>
                  <a:close/>
                  <a:moveTo>
                    <a:pt x="467296" y="523589"/>
                  </a:moveTo>
                  <a:cubicBezTo>
                    <a:pt x="470725" y="523589"/>
                    <a:pt x="473487" y="526351"/>
                    <a:pt x="473487" y="529780"/>
                  </a:cubicBezTo>
                  <a:cubicBezTo>
                    <a:pt x="473487" y="533209"/>
                    <a:pt x="470725" y="535971"/>
                    <a:pt x="467296" y="535971"/>
                  </a:cubicBezTo>
                  <a:cubicBezTo>
                    <a:pt x="463867" y="535971"/>
                    <a:pt x="461105" y="533209"/>
                    <a:pt x="461105" y="529780"/>
                  </a:cubicBezTo>
                  <a:cubicBezTo>
                    <a:pt x="461105" y="526351"/>
                    <a:pt x="463867" y="523589"/>
                    <a:pt x="467296" y="523589"/>
                  </a:cubicBezTo>
                  <a:close/>
                  <a:moveTo>
                    <a:pt x="603884" y="522256"/>
                  </a:moveTo>
                  <a:cubicBezTo>
                    <a:pt x="607313" y="522256"/>
                    <a:pt x="610076" y="525018"/>
                    <a:pt x="610076" y="528447"/>
                  </a:cubicBezTo>
                  <a:cubicBezTo>
                    <a:pt x="610076" y="531876"/>
                    <a:pt x="607313" y="534638"/>
                    <a:pt x="603884" y="534638"/>
                  </a:cubicBezTo>
                  <a:cubicBezTo>
                    <a:pt x="600455" y="534638"/>
                    <a:pt x="597693" y="531876"/>
                    <a:pt x="597693" y="528447"/>
                  </a:cubicBezTo>
                  <a:cubicBezTo>
                    <a:pt x="597693" y="525018"/>
                    <a:pt x="600455" y="522256"/>
                    <a:pt x="603884" y="522256"/>
                  </a:cubicBezTo>
                  <a:close/>
                  <a:moveTo>
                    <a:pt x="2883693" y="521970"/>
                  </a:moveTo>
                  <a:cubicBezTo>
                    <a:pt x="2887122" y="521970"/>
                    <a:pt x="2889884" y="524732"/>
                    <a:pt x="2889884" y="528161"/>
                  </a:cubicBezTo>
                  <a:cubicBezTo>
                    <a:pt x="2889884" y="531590"/>
                    <a:pt x="2887122" y="534352"/>
                    <a:pt x="2883693" y="534352"/>
                  </a:cubicBezTo>
                  <a:cubicBezTo>
                    <a:pt x="2880264" y="534352"/>
                    <a:pt x="2877502" y="531590"/>
                    <a:pt x="2877502" y="528161"/>
                  </a:cubicBezTo>
                  <a:cubicBezTo>
                    <a:pt x="2877502" y="524732"/>
                    <a:pt x="2880264" y="521970"/>
                    <a:pt x="2883693" y="521970"/>
                  </a:cubicBezTo>
                  <a:close/>
                  <a:moveTo>
                    <a:pt x="2382202" y="521970"/>
                  </a:moveTo>
                  <a:cubicBezTo>
                    <a:pt x="2385631" y="521970"/>
                    <a:pt x="2388394" y="524732"/>
                    <a:pt x="2388394" y="528161"/>
                  </a:cubicBezTo>
                  <a:cubicBezTo>
                    <a:pt x="2388394" y="531590"/>
                    <a:pt x="2385631" y="534352"/>
                    <a:pt x="2382202" y="534352"/>
                  </a:cubicBezTo>
                  <a:cubicBezTo>
                    <a:pt x="2378773" y="534352"/>
                    <a:pt x="2376011" y="531590"/>
                    <a:pt x="2376011" y="528161"/>
                  </a:cubicBezTo>
                  <a:cubicBezTo>
                    <a:pt x="2376011" y="524732"/>
                    <a:pt x="2378773" y="521970"/>
                    <a:pt x="2382202" y="521970"/>
                  </a:cubicBezTo>
                  <a:close/>
                  <a:moveTo>
                    <a:pt x="2802921" y="521494"/>
                  </a:moveTo>
                  <a:cubicBezTo>
                    <a:pt x="2806350" y="521494"/>
                    <a:pt x="2809113" y="524256"/>
                    <a:pt x="2809113" y="527685"/>
                  </a:cubicBezTo>
                  <a:cubicBezTo>
                    <a:pt x="2809113" y="531114"/>
                    <a:pt x="2806350" y="533876"/>
                    <a:pt x="2802921" y="533876"/>
                  </a:cubicBezTo>
                  <a:cubicBezTo>
                    <a:pt x="2799492" y="533876"/>
                    <a:pt x="2796730" y="531114"/>
                    <a:pt x="2796730" y="527685"/>
                  </a:cubicBezTo>
                  <a:cubicBezTo>
                    <a:pt x="2796730" y="524256"/>
                    <a:pt x="2799492" y="521494"/>
                    <a:pt x="2802921" y="521494"/>
                  </a:cubicBezTo>
                  <a:close/>
                  <a:moveTo>
                    <a:pt x="1191196" y="520827"/>
                  </a:moveTo>
                  <a:cubicBezTo>
                    <a:pt x="1194625" y="520827"/>
                    <a:pt x="1197387" y="523589"/>
                    <a:pt x="1197387" y="527018"/>
                  </a:cubicBezTo>
                  <a:cubicBezTo>
                    <a:pt x="1197387" y="530447"/>
                    <a:pt x="1194625" y="533210"/>
                    <a:pt x="1191196" y="533210"/>
                  </a:cubicBezTo>
                  <a:cubicBezTo>
                    <a:pt x="1187767" y="533210"/>
                    <a:pt x="1185005" y="530447"/>
                    <a:pt x="1185005" y="527018"/>
                  </a:cubicBezTo>
                  <a:cubicBezTo>
                    <a:pt x="1185005" y="523589"/>
                    <a:pt x="1187767" y="520827"/>
                    <a:pt x="1191196" y="520827"/>
                  </a:cubicBezTo>
                  <a:close/>
                  <a:moveTo>
                    <a:pt x="2868834" y="519303"/>
                  </a:moveTo>
                  <a:cubicBezTo>
                    <a:pt x="2872263" y="519303"/>
                    <a:pt x="2875025" y="522065"/>
                    <a:pt x="2875025" y="525494"/>
                  </a:cubicBezTo>
                  <a:cubicBezTo>
                    <a:pt x="2875025" y="528923"/>
                    <a:pt x="2872263" y="531686"/>
                    <a:pt x="2868834" y="531686"/>
                  </a:cubicBezTo>
                  <a:cubicBezTo>
                    <a:pt x="2865405" y="531686"/>
                    <a:pt x="2862643" y="528923"/>
                    <a:pt x="2862643" y="525494"/>
                  </a:cubicBezTo>
                  <a:cubicBezTo>
                    <a:pt x="2862643" y="522065"/>
                    <a:pt x="2865405" y="519303"/>
                    <a:pt x="2868834" y="519303"/>
                  </a:cubicBezTo>
                  <a:close/>
                  <a:moveTo>
                    <a:pt x="481012" y="517875"/>
                  </a:moveTo>
                  <a:cubicBezTo>
                    <a:pt x="484441" y="517875"/>
                    <a:pt x="487204" y="520637"/>
                    <a:pt x="487204" y="524066"/>
                  </a:cubicBezTo>
                  <a:lnTo>
                    <a:pt x="485918" y="525352"/>
                  </a:lnTo>
                  <a:lnTo>
                    <a:pt x="491299" y="530733"/>
                  </a:lnTo>
                  <a:lnTo>
                    <a:pt x="489774" y="532257"/>
                  </a:lnTo>
                  <a:lnTo>
                    <a:pt x="495014" y="537496"/>
                  </a:lnTo>
                  <a:cubicBezTo>
                    <a:pt x="495014" y="540925"/>
                    <a:pt x="492251" y="543687"/>
                    <a:pt x="488822" y="543687"/>
                  </a:cubicBezTo>
                  <a:cubicBezTo>
                    <a:pt x="485393" y="543687"/>
                    <a:pt x="482631" y="540925"/>
                    <a:pt x="482631" y="537496"/>
                  </a:cubicBezTo>
                  <a:lnTo>
                    <a:pt x="484155" y="535972"/>
                  </a:lnTo>
                  <a:lnTo>
                    <a:pt x="478916" y="530733"/>
                  </a:lnTo>
                  <a:lnTo>
                    <a:pt x="480202" y="529447"/>
                  </a:lnTo>
                  <a:lnTo>
                    <a:pt x="474821" y="524066"/>
                  </a:lnTo>
                  <a:cubicBezTo>
                    <a:pt x="474821" y="520637"/>
                    <a:pt x="477583" y="517875"/>
                    <a:pt x="481012" y="517875"/>
                  </a:cubicBezTo>
                  <a:close/>
                  <a:moveTo>
                    <a:pt x="2604610" y="517017"/>
                  </a:moveTo>
                  <a:cubicBezTo>
                    <a:pt x="2608039" y="517017"/>
                    <a:pt x="2610802" y="519779"/>
                    <a:pt x="2610802" y="523208"/>
                  </a:cubicBezTo>
                  <a:cubicBezTo>
                    <a:pt x="2610802" y="526637"/>
                    <a:pt x="2608039" y="529399"/>
                    <a:pt x="2604610" y="529399"/>
                  </a:cubicBezTo>
                  <a:cubicBezTo>
                    <a:pt x="2601181" y="529399"/>
                    <a:pt x="2598419" y="526637"/>
                    <a:pt x="2598419" y="523208"/>
                  </a:cubicBezTo>
                  <a:cubicBezTo>
                    <a:pt x="2598419" y="519779"/>
                    <a:pt x="2601181" y="517017"/>
                    <a:pt x="2604610" y="517017"/>
                  </a:cubicBezTo>
                  <a:close/>
                  <a:moveTo>
                    <a:pt x="2777108" y="515493"/>
                  </a:moveTo>
                  <a:cubicBezTo>
                    <a:pt x="2780537" y="515493"/>
                    <a:pt x="2783299" y="518255"/>
                    <a:pt x="2783299" y="521684"/>
                  </a:cubicBezTo>
                  <a:cubicBezTo>
                    <a:pt x="2783299" y="525113"/>
                    <a:pt x="2780537" y="527875"/>
                    <a:pt x="2777108" y="527875"/>
                  </a:cubicBezTo>
                  <a:cubicBezTo>
                    <a:pt x="2773679" y="527875"/>
                    <a:pt x="2770917" y="525113"/>
                    <a:pt x="2770917" y="521684"/>
                  </a:cubicBezTo>
                  <a:cubicBezTo>
                    <a:pt x="2770917" y="518255"/>
                    <a:pt x="2773679" y="515493"/>
                    <a:pt x="2777108" y="515493"/>
                  </a:cubicBezTo>
                  <a:close/>
                  <a:moveTo>
                    <a:pt x="524255" y="514922"/>
                  </a:moveTo>
                  <a:cubicBezTo>
                    <a:pt x="527684" y="514922"/>
                    <a:pt x="530446" y="517684"/>
                    <a:pt x="530446" y="521113"/>
                  </a:cubicBezTo>
                  <a:cubicBezTo>
                    <a:pt x="530446" y="524542"/>
                    <a:pt x="527684" y="527304"/>
                    <a:pt x="524255" y="527304"/>
                  </a:cubicBezTo>
                  <a:cubicBezTo>
                    <a:pt x="520826" y="527304"/>
                    <a:pt x="518064" y="524542"/>
                    <a:pt x="518064" y="521113"/>
                  </a:cubicBezTo>
                  <a:cubicBezTo>
                    <a:pt x="518064" y="517684"/>
                    <a:pt x="520826" y="514922"/>
                    <a:pt x="524255" y="514922"/>
                  </a:cubicBezTo>
                  <a:close/>
                  <a:moveTo>
                    <a:pt x="2854642" y="514731"/>
                  </a:moveTo>
                  <a:cubicBezTo>
                    <a:pt x="2858071" y="514731"/>
                    <a:pt x="2860834" y="517493"/>
                    <a:pt x="2860834" y="520922"/>
                  </a:cubicBezTo>
                  <a:lnTo>
                    <a:pt x="2854737" y="527019"/>
                  </a:lnTo>
                  <a:lnTo>
                    <a:pt x="2855975" y="528256"/>
                  </a:lnTo>
                  <a:lnTo>
                    <a:pt x="2850879" y="533352"/>
                  </a:lnTo>
                  <a:lnTo>
                    <a:pt x="2852356" y="534829"/>
                  </a:lnTo>
                  <a:lnTo>
                    <a:pt x="2846403" y="540782"/>
                  </a:lnTo>
                  <a:lnTo>
                    <a:pt x="2848165" y="542544"/>
                  </a:lnTo>
                  <a:cubicBezTo>
                    <a:pt x="2848165" y="545973"/>
                    <a:pt x="2845403" y="548735"/>
                    <a:pt x="2841974" y="548735"/>
                  </a:cubicBezTo>
                  <a:cubicBezTo>
                    <a:pt x="2838545" y="548735"/>
                    <a:pt x="2835783" y="545973"/>
                    <a:pt x="2835783" y="542544"/>
                  </a:cubicBezTo>
                  <a:lnTo>
                    <a:pt x="2841736" y="536591"/>
                  </a:lnTo>
                  <a:lnTo>
                    <a:pt x="2839974" y="534829"/>
                  </a:lnTo>
                  <a:lnTo>
                    <a:pt x="2845070" y="529733"/>
                  </a:lnTo>
                  <a:lnTo>
                    <a:pt x="2843593" y="528256"/>
                  </a:lnTo>
                  <a:lnTo>
                    <a:pt x="2849689" y="522160"/>
                  </a:lnTo>
                  <a:lnTo>
                    <a:pt x="2848451" y="520922"/>
                  </a:lnTo>
                  <a:cubicBezTo>
                    <a:pt x="2848451" y="517493"/>
                    <a:pt x="2851213" y="514731"/>
                    <a:pt x="2854642" y="514731"/>
                  </a:cubicBezTo>
                  <a:close/>
                  <a:moveTo>
                    <a:pt x="830293" y="514541"/>
                  </a:moveTo>
                  <a:cubicBezTo>
                    <a:pt x="833722" y="514541"/>
                    <a:pt x="836485" y="517303"/>
                    <a:pt x="836485" y="520732"/>
                  </a:cubicBezTo>
                  <a:cubicBezTo>
                    <a:pt x="836485" y="524161"/>
                    <a:pt x="833722" y="526924"/>
                    <a:pt x="830293" y="526924"/>
                  </a:cubicBezTo>
                  <a:cubicBezTo>
                    <a:pt x="826864" y="526924"/>
                    <a:pt x="824102" y="524161"/>
                    <a:pt x="824102" y="520732"/>
                  </a:cubicBezTo>
                  <a:cubicBezTo>
                    <a:pt x="824102" y="517303"/>
                    <a:pt x="826864" y="514541"/>
                    <a:pt x="830293" y="514541"/>
                  </a:cubicBezTo>
                  <a:close/>
                  <a:moveTo>
                    <a:pt x="2097023" y="513588"/>
                  </a:moveTo>
                  <a:cubicBezTo>
                    <a:pt x="2100452" y="513588"/>
                    <a:pt x="2103215" y="516350"/>
                    <a:pt x="2103215" y="519779"/>
                  </a:cubicBezTo>
                  <a:cubicBezTo>
                    <a:pt x="2103215" y="523208"/>
                    <a:pt x="2100452" y="525970"/>
                    <a:pt x="2097023" y="525970"/>
                  </a:cubicBezTo>
                  <a:cubicBezTo>
                    <a:pt x="2093594" y="525970"/>
                    <a:pt x="2090832" y="523208"/>
                    <a:pt x="2090832" y="519779"/>
                  </a:cubicBezTo>
                  <a:cubicBezTo>
                    <a:pt x="2090832" y="516350"/>
                    <a:pt x="2093594" y="513588"/>
                    <a:pt x="2097023" y="513588"/>
                  </a:cubicBezTo>
                  <a:close/>
                  <a:moveTo>
                    <a:pt x="2813780" y="511493"/>
                  </a:moveTo>
                  <a:cubicBezTo>
                    <a:pt x="2817209" y="511493"/>
                    <a:pt x="2819971" y="514255"/>
                    <a:pt x="2819971" y="517684"/>
                  </a:cubicBezTo>
                  <a:cubicBezTo>
                    <a:pt x="2819971" y="521113"/>
                    <a:pt x="2817209" y="523876"/>
                    <a:pt x="2813780" y="523876"/>
                  </a:cubicBezTo>
                  <a:cubicBezTo>
                    <a:pt x="2810351" y="523876"/>
                    <a:pt x="2807589" y="521113"/>
                    <a:pt x="2807589" y="517684"/>
                  </a:cubicBezTo>
                  <a:cubicBezTo>
                    <a:pt x="2807589" y="514255"/>
                    <a:pt x="2810351" y="511493"/>
                    <a:pt x="2813780" y="511493"/>
                  </a:cubicBezTo>
                  <a:close/>
                  <a:moveTo>
                    <a:pt x="2745581" y="511302"/>
                  </a:moveTo>
                  <a:cubicBezTo>
                    <a:pt x="2749010" y="511302"/>
                    <a:pt x="2751772" y="514064"/>
                    <a:pt x="2751772" y="517493"/>
                  </a:cubicBezTo>
                  <a:cubicBezTo>
                    <a:pt x="2751772" y="520922"/>
                    <a:pt x="2749010" y="523685"/>
                    <a:pt x="2745581" y="523685"/>
                  </a:cubicBezTo>
                  <a:cubicBezTo>
                    <a:pt x="2742152" y="523685"/>
                    <a:pt x="2739390" y="520922"/>
                    <a:pt x="2739390" y="517493"/>
                  </a:cubicBezTo>
                  <a:cubicBezTo>
                    <a:pt x="2739390" y="514064"/>
                    <a:pt x="2742152" y="511302"/>
                    <a:pt x="2745581" y="511302"/>
                  </a:cubicBezTo>
                  <a:close/>
                  <a:moveTo>
                    <a:pt x="2660713" y="511207"/>
                  </a:moveTo>
                  <a:cubicBezTo>
                    <a:pt x="2664142" y="511207"/>
                    <a:pt x="2666904" y="513969"/>
                    <a:pt x="2666904" y="517398"/>
                  </a:cubicBezTo>
                  <a:cubicBezTo>
                    <a:pt x="2666904" y="520827"/>
                    <a:pt x="2664142" y="523589"/>
                    <a:pt x="2660713" y="523589"/>
                  </a:cubicBezTo>
                  <a:cubicBezTo>
                    <a:pt x="2657284" y="523589"/>
                    <a:pt x="2654522" y="520827"/>
                    <a:pt x="2654522" y="517398"/>
                  </a:cubicBezTo>
                  <a:cubicBezTo>
                    <a:pt x="2654522" y="513969"/>
                    <a:pt x="2657284" y="511207"/>
                    <a:pt x="2660713" y="511207"/>
                  </a:cubicBezTo>
                  <a:close/>
                  <a:moveTo>
                    <a:pt x="992504" y="510255"/>
                  </a:moveTo>
                  <a:cubicBezTo>
                    <a:pt x="995933" y="510255"/>
                    <a:pt x="998695" y="513017"/>
                    <a:pt x="998695" y="516446"/>
                  </a:cubicBezTo>
                  <a:cubicBezTo>
                    <a:pt x="998695" y="519875"/>
                    <a:pt x="995933" y="522637"/>
                    <a:pt x="992504" y="522637"/>
                  </a:cubicBezTo>
                  <a:cubicBezTo>
                    <a:pt x="989075" y="522637"/>
                    <a:pt x="986313" y="519875"/>
                    <a:pt x="986313" y="516446"/>
                  </a:cubicBezTo>
                  <a:cubicBezTo>
                    <a:pt x="986313" y="513017"/>
                    <a:pt x="989075" y="510255"/>
                    <a:pt x="992504" y="510255"/>
                  </a:cubicBezTo>
                  <a:close/>
                  <a:moveTo>
                    <a:pt x="475012" y="509778"/>
                  </a:moveTo>
                  <a:cubicBezTo>
                    <a:pt x="478345" y="509778"/>
                    <a:pt x="481012" y="512445"/>
                    <a:pt x="481012" y="515779"/>
                  </a:cubicBezTo>
                  <a:cubicBezTo>
                    <a:pt x="481012" y="519113"/>
                    <a:pt x="478345" y="521780"/>
                    <a:pt x="475012" y="521780"/>
                  </a:cubicBezTo>
                  <a:cubicBezTo>
                    <a:pt x="471678" y="521780"/>
                    <a:pt x="469011" y="519113"/>
                    <a:pt x="469011" y="515779"/>
                  </a:cubicBezTo>
                  <a:cubicBezTo>
                    <a:pt x="469011" y="512445"/>
                    <a:pt x="471678" y="509778"/>
                    <a:pt x="475012" y="509778"/>
                  </a:cubicBezTo>
                  <a:close/>
                  <a:moveTo>
                    <a:pt x="2707195" y="509588"/>
                  </a:moveTo>
                  <a:cubicBezTo>
                    <a:pt x="2710624" y="509588"/>
                    <a:pt x="2713386" y="512350"/>
                    <a:pt x="2713386" y="515779"/>
                  </a:cubicBezTo>
                  <a:cubicBezTo>
                    <a:pt x="2713386" y="519208"/>
                    <a:pt x="2710624" y="521970"/>
                    <a:pt x="2707195" y="521970"/>
                  </a:cubicBezTo>
                  <a:cubicBezTo>
                    <a:pt x="2703766" y="521970"/>
                    <a:pt x="2701004" y="519208"/>
                    <a:pt x="2701004" y="515779"/>
                  </a:cubicBezTo>
                  <a:cubicBezTo>
                    <a:pt x="2701004" y="512350"/>
                    <a:pt x="2703766" y="509588"/>
                    <a:pt x="2707195" y="509588"/>
                  </a:cubicBezTo>
                  <a:close/>
                  <a:moveTo>
                    <a:pt x="2840545" y="508445"/>
                  </a:moveTo>
                  <a:cubicBezTo>
                    <a:pt x="2843974" y="508445"/>
                    <a:pt x="2846736" y="511207"/>
                    <a:pt x="2846736" y="514636"/>
                  </a:cubicBezTo>
                  <a:lnTo>
                    <a:pt x="2841545" y="519827"/>
                  </a:lnTo>
                  <a:lnTo>
                    <a:pt x="2842069" y="520351"/>
                  </a:lnTo>
                  <a:lnTo>
                    <a:pt x="2836688" y="525732"/>
                  </a:lnTo>
                  <a:lnTo>
                    <a:pt x="2837307" y="526351"/>
                  </a:lnTo>
                  <a:cubicBezTo>
                    <a:pt x="2837307" y="529780"/>
                    <a:pt x="2834544" y="532543"/>
                    <a:pt x="2831115" y="532543"/>
                  </a:cubicBezTo>
                  <a:cubicBezTo>
                    <a:pt x="2827686" y="532543"/>
                    <a:pt x="2824924" y="529780"/>
                    <a:pt x="2824924" y="526351"/>
                  </a:cubicBezTo>
                  <a:lnTo>
                    <a:pt x="2830305" y="520970"/>
                  </a:lnTo>
                  <a:lnTo>
                    <a:pt x="2829686" y="520351"/>
                  </a:lnTo>
                  <a:lnTo>
                    <a:pt x="2834877" y="515160"/>
                  </a:lnTo>
                  <a:lnTo>
                    <a:pt x="2834354" y="514636"/>
                  </a:lnTo>
                  <a:cubicBezTo>
                    <a:pt x="2834354" y="511207"/>
                    <a:pt x="2837116" y="508445"/>
                    <a:pt x="2840545" y="508445"/>
                  </a:cubicBezTo>
                  <a:close/>
                  <a:moveTo>
                    <a:pt x="547306" y="507492"/>
                  </a:moveTo>
                  <a:cubicBezTo>
                    <a:pt x="550735" y="507492"/>
                    <a:pt x="553497" y="510254"/>
                    <a:pt x="553497" y="513683"/>
                  </a:cubicBezTo>
                  <a:cubicBezTo>
                    <a:pt x="553497" y="517112"/>
                    <a:pt x="550735" y="519874"/>
                    <a:pt x="547306" y="519874"/>
                  </a:cubicBezTo>
                  <a:cubicBezTo>
                    <a:pt x="543877" y="519874"/>
                    <a:pt x="541115" y="517112"/>
                    <a:pt x="541115" y="513683"/>
                  </a:cubicBezTo>
                  <a:cubicBezTo>
                    <a:pt x="541115" y="510254"/>
                    <a:pt x="543877" y="507492"/>
                    <a:pt x="547306" y="507492"/>
                  </a:cubicBezTo>
                  <a:close/>
                  <a:moveTo>
                    <a:pt x="2878264" y="507016"/>
                  </a:moveTo>
                  <a:cubicBezTo>
                    <a:pt x="2881631" y="507016"/>
                    <a:pt x="2884360" y="509745"/>
                    <a:pt x="2884360" y="513112"/>
                  </a:cubicBezTo>
                  <a:cubicBezTo>
                    <a:pt x="2884360" y="516479"/>
                    <a:pt x="2881631" y="519208"/>
                    <a:pt x="2878264" y="519208"/>
                  </a:cubicBezTo>
                  <a:cubicBezTo>
                    <a:pt x="2874897" y="519208"/>
                    <a:pt x="2872168" y="516479"/>
                    <a:pt x="2872168" y="513112"/>
                  </a:cubicBezTo>
                  <a:cubicBezTo>
                    <a:pt x="2872168" y="509745"/>
                    <a:pt x="2874897" y="507016"/>
                    <a:pt x="2878264" y="507016"/>
                  </a:cubicBezTo>
                  <a:close/>
                  <a:moveTo>
                    <a:pt x="1286732" y="505968"/>
                  </a:moveTo>
                  <a:cubicBezTo>
                    <a:pt x="1290161" y="505968"/>
                    <a:pt x="1292924" y="508730"/>
                    <a:pt x="1292924" y="512159"/>
                  </a:cubicBezTo>
                  <a:cubicBezTo>
                    <a:pt x="1292924" y="515588"/>
                    <a:pt x="1290161" y="518350"/>
                    <a:pt x="1286732" y="518350"/>
                  </a:cubicBezTo>
                  <a:cubicBezTo>
                    <a:pt x="1283303" y="518350"/>
                    <a:pt x="1280541" y="515588"/>
                    <a:pt x="1280541" y="512159"/>
                  </a:cubicBezTo>
                  <a:cubicBezTo>
                    <a:pt x="1280541" y="508730"/>
                    <a:pt x="1283303" y="505968"/>
                    <a:pt x="1286732" y="505968"/>
                  </a:cubicBezTo>
                  <a:close/>
                  <a:moveTo>
                    <a:pt x="2862166" y="505016"/>
                  </a:moveTo>
                  <a:cubicBezTo>
                    <a:pt x="2865595" y="505016"/>
                    <a:pt x="2868358" y="507778"/>
                    <a:pt x="2868358" y="511207"/>
                  </a:cubicBezTo>
                  <a:cubicBezTo>
                    <a:pt x="2868358" y="514636"/>
                    <a:pt x="2865595" y="517399"/>
                    <a:pt x="2862166" y="517399"/>
                  </a:cubicBezTo>
                  <a:cubicBezTo>
                    <a:pt x="2858737" y="517399"/>
                    <a:pt x="2855975" y="514636"/>
                    <a:pt x="2855975" y="511207"/>
                  </a:cubicBezTo>
                  <a:cubicBezTo>
                    <a:pt x="2855975" y="507778"/>
                    <a:pt x="2858737" y="505016"/>
                    <a:pt x="2862166" y="505016"/>
                  </a:cubicBezTo>
                  <a:close/>
                  <a:moveTo>
                    <a:pt x="489584" y="504349"/>
                  </a:moveTo>
                  <a:cubicBezTo>
                    <a:pt x="493013" y="504349"/>
                    <a:pt x="495775" y="507111"/>
                    <a:pt x="495775" y="510540"/>
                  </a:cubicBezTo>
                  <a:lnTo>
                    <a:pt x="495299" y="511016"/>
                  </a:lnTo>
                  <a:lnTo>
                    <a:pt x="501109" y="516826"/>
                  </a:lnTo>
                  <a:lnTo>
                    <a:pt x="500585" y="517350"/>
                  </a:lnTo>
                  <a:lnTo>
                    <a:pt x="505681" y="522446"/>
                  </a:lnTo>
                  <a:lnTo>
                    <a:pt x="499545" y="528583"/>
                  </a:lnTo>
                  <a:lnTo>
                    <a:pt x="505015" y="523113"/>
                  </a:lnTo>
                  <a:cubicBezTo>
                    <a:pt x="508444" y="523113"/>
                    <a:pt x="511206" y="525875"/>
                    <a:pt x="511206" y="529304"/>
                  </a:cubicBezTo>
                  <a:cubicBezTo>
                    <a:pt x="511206" y="532733"/>
                    <a:pt x="508444" y="535495"/>
                    <a:pt x="505015" y="535495"/>
                  </a:cubicBezTo>
                  <a:cubicBezTo>
                    <a:pt x="501586" y="535495"/>
                    <a:pt x="498824" y="532733"/>
                    <a:pt x="498824" y="529304"/>
                  </a:cubicBezTo>
                  <a:lnTo>
                    <a:pt x="499490" y="528638"/>
                  </a:lnTo>
                  <a:lnTo>
                    <a:pt x="493299" y="522446"/>
                  </a:lnTo>
                  <a:lnTo>
                    <a:pt x="493823" y="521923"/>
                  </a:lnTo>
                  <a:lnTo>
                    <a:pt x="488727" y="516826"/>
                  </a:lnTo>
                  <a:lnTo>
                    <a:pt x="489203" y="516351"/>
                  </a:lnTo>
                  <a:lnTo>
                    <a:pt x="483393" y="510540"/>
                  </a:lnTo>
                  <a:cubicBezTo>
                    <a:pt x="483393" y="507111"/>
                    <a:pt x="486155" y="504349"/>
                    <a:pt x="489584" y="504349"/>
                  </a:cubicBezTo>
                  <a:close/>
                  <a:moveTo>
                    <a:pt x="2469832" y="503206"/>
                  </a:moveTo>
                  <a:cubicBezTo>
                    <a:pt x="2473261" y="503206"/>
                    <a:pt x="2476024" y="505968"/>
                    <a:pt x="2476024" y="509397"/>
                  </a:cubicBezTo>
                  <a:cubicBezTo>
                    <a:pt x="2476024" y="512826"/>
                    <a:pt x="2473261" y="515588"/>
                    <a:pt x="2469832" y="515588"/>
                  </a:cubicBezTo>
                  <a:cubicBezTo>
                    <a:pt x="2466403" y="515588"/>
                    <a:pt x="2463641" y="512826"/>
                    <a:pt x="2463641" y="509397"/>
                  </a:cubicBezTo>
                  <a:cubicBezTo>
                    <a:pt x="2463641" y="505968"/>
                    <a:pt x="2466403" y="503206"/>
                    <a:pt x="2469832" y="503206"/>
                  </a:cubicBezTo>
                  <a:close/>
                  <a:moveTo>
                    <a:pt x="2793301" y="503015"/>
                  </a:moveTo>
                  <a:cubicBezTo>
                    <a:pt x="2796730" y="503015"/>
                    <a:pt x="2799493" y="505777"/>
                    <a:pt x="2799493" y="509206"/>
                  </a:cubicBezTo>
                  <a:cubicBezTo>
                    <a:pt x="2799493" y="512635"/>
                    <a:pt x="2796730" y="515397"/>
                    <a:pt x="2793301" y="515397"/>
                  </a:cubicBezTo>
                  <a:cubicBezTo>
                    <a:pt x="2789872" y="515397"/>
                    <a:pt x="2787110" y="512635"/>
                    <a:pt x="2787110" y="509206"/>
                  </a:cubicBezTo>
                  <a:cubicBezTo>
                    <a:pt x="2787110" y="505777"/>
                    <a:pt x="2789872" y="503015"/>
                    <a:pt x="2793301" y="503015"/>
                  </a:cubicBezTo>
                  <a:close/>
                  <a:moveTo>
                    <a:pt x="759332" y="503015"/>
                  </a:moveTo>
                  <a:cubicBezTo>
                    <a:pt x="762761" y="503015"/>
                    <a:pt x="765524" y="505777"/>
                    <a:pt x="765524" y="509206"/>
                  </a:cubicBezTo>
                  <a:cubicBezTo>
                    <a:pt x="765524" y="512635"/>
                    <a:pt x="762761" y="515397"/>
                    <a:pt x="759332" y="515397"/>
                  </a:cubicBezTo>
                  <a:cubicBezTo>
                    <a:pt x="755903" y="515397"/>
                    <a:pt x="753141" y="512635"/>
                    <a:pt x="753141" y="509206"/>
                  </a:cubicBezTo>
                  <a:cubicBezTo>
                    <a:pt x="753141" y="505777"/>
                    <a:pt x="755903" y="503015"/>
                    <a:pt x="759332" y="503015"/>
                  </a:cubicBezTo>
                  <a:close/>
                  <a:moveTo>
                    <a:pt x="481775" y="501777"/>
                  </a:moveTo>
                  <a:cubicBezTo>
                    <a:pt x="481870" y="501777"/>
                    <a:pt x="481965" y="501872"/>
                    <a:pt x="481965" y="501968"/>
                  </a:cubicBezTo>
                  <a:cubicBezTo>
                    <a:pt x="481965" y="502063"/>
                    <a:pt x="481775" y="502158"/>
                    <a:pt x="481775" y="502158"/>
                  </a:cubicBezTo>
                  <a:cubicBezTo>
                    <a:pt x="481679" y="502158"/>
                    <a:pt x="481584" y="502063"/>
                    <a:pt x="481584" y="501968"/>
                  </a:cubicBezTo>
                  <a:cubicBezTo>
                    <a:pt x="481584" y="501872"/>
                    <a:pt x="481679" y="501777"/>
                    <a:pt x="481775" y="501777"/>
                  </a:cubicBezTo>
                  <a:close/>
                  <a:moveTo>
                    <a:pt x="575214" y="501206"/>
                  </a:moveTo>
                  <a:cubicBezTo>
                    <a:pt x="578643" y="501206"/>
                    <a:pt x="581405" y="503968"/>
                    <a:pt x="581405" y="507397"/>
                  </a:cubicBezTo>
                  <a:cubicBezTo>
                    <a:pt x="581405" y="510826"/>
                    <a:pt x="578643" y="513588"/>
                    <a:pt x="575214" y="513588"/>
                  </a:cubicBezTo>
                  <a:cubicBezTo>
                    <a:pt x="571785" y="513588"/>
                    <a:pt x="569023" y="510826"/>
                    <a:pt x="569023" y="507397"/>
                  </a:cubicBezTo>
                  <a:cubicBezTo>
                    <a:pt x="569023" y="503968"/>
                    <a:pt x="571785" y="501206"/>
                    <a:pt x="575214" y="501206"/>
                  </a:cubicBezTo>
                  <a:close/>
                  <a:moveTo>
                    <a:pt x="2846926" y="501110"/>
                  </a:moveTo>
                  <a:cubicBezTo>
                    <a:pt x="2850355" y="501110"/>
                    <a:pt x="2853118" y="503872"/>
                    <a:pt x="2853118" y="507301"/>
                  </a:cubicBezTo>
                  <a:cubicBezTo>
                    <a:pt x="2853118" y="510730"/>
                    <a:pt x="2850355" y="513493"/>
                    <a:pt x="2846926" y="513493"/>
                  </a:cubicBezTo>
                  <a:cubicBezTo>
                    <a:pt x="2843497" y="513493"/>
                    <a:pt x="2840735" y="510730"/>
                    <a:pt x="2840735" y="507301"/>
                  </a:cubicBezTo>
                  <a:cubicBezTo>
                    <a:pt x="2840735" y="503872"/>
                    <a:pt x="2843497" y="501110"/>
                    <a:pt x="2846926" y="501110"/>
                  </a:cubicBezTo>
                  <a:close/>
                  <a:moveTo>
                    <a:pt x="2301716" y="500444"/>
                  </a:moveTo>
                  <a:cubicBezTo>
                    <a:pt x="2305145" y="500444"/>
                    <a:pt x="2307908" y="503206"/>
                    <a:pt x="2307908" y="506635"/>
                  </a:cubicBezTo>
                  <a:cubicBezTo>
                    <a:pt x="2307908" y="510064"/>
                    <a:pt x="2305145" y="512827"/>
                    <a:pt x="2301716" y="512827"/>
                  </a:cubicBezTo>
                  <a:cubicBezTo>
                    <a:pt x="2298287" y="512827"/>
                    <a:pt x="2295525" y="510064"/>
                    <a:pt x="2295525" y="506635"/>
                  </a:cubicBezTo>
                  <a:cubicBezTo>
                    <a:pt x="2295525" y="503206"/>
                    <a:pt x="2298287" y="500444"/>
                    <a:pt x="2301716" y="500444"/>
                  </a:cubicBezTo>
                  <a:close/>
                  <a:moveTo>
                    <a:pt x="1999964" y="500063"/>
                  </a:moveTo>
                  <a:cubicBezTo>
                    <a:pt x="2003393" y="500063"/>
                    <a:pt x="2006155" y="502825"/>
                    <a:pt x="2006155" y="506254"/>
                  </a:cubicBezTo>
                  <a:cubicBezTo>
                    <a:pt x="2006155" y="509683"/>
                    <a:pt x="2003393" y="512445"/>
                    <a:pt x="1999964" y="512445"/>
                  </a:cubicBezTo>
                  <a:cubicBezTo>
                    <a:pt x="1996535" y="512445"/>
                    <a:pt x="1993773" y="509683"/>
                    <a:pt x="1993773" y="506254"/>
                  </a:cubicBezTo>
                  <a:cubicBezTo>
                    <a:pt x="1993773" y="502825"/>
                    <a:pt x="1996535" y="500063"/>
                    <a:pt x="1999964" y="500063"/>
                  </a:cubicBezTo>
                  <a:close/>
                  <a:moveTo>
                    <a:pt x="534256" y="498062"/>
                  </a:moveTo>
                  <a:cubicBezTo>
                    <a:pt x="537685" y="498062"/>
                    <a:pt x="540448" y="500824"/>
                    <a:pt x="540448" y="504253"/>
                  </a:cubicBezTo>
                  <a:cubicBezTo>
                    <a:pt x="540448" y="507682"/>
                    <a:pt x="537685" y="510445"/>
                    <a:pt x="534256" y="510445"/>
                  </a:cubicBezTo>
                  <a:cubicBezTo>
                    <a:pt x="530827" y="510445"/>
                    <a:pt x="528065" y="507682"/>
                    <a:pt x="528065" y="504253"/>
                  </a:cubicBezTo>
                  <a:cubicBezTo>
                    <a:pt x="528065" y="500824"/>
                    <a:pt x="530827" y="498062"/>
                    <a:pt x="534256" y="498062"/>
                  </a:cubicBezTo>
                  <a:close/>
                  <a:moveTo>
                    <a:pt x="2873596" y="497777"/>
                  </a:moveTo>
                  <a:cubicBezTo>
                    <a:pt x="2873692" y="497777"/>
                    <a:pt x="2873787" y="497872"/>
                    <a:pt x="2873787" y="497968"/>
                  </a:cubicBezTo>
                  <a:cubicBezTo>
                    <a:pt x="2873787" y="498063"/>
                    <a:pt x="2873596" y="498158"/>
                    <a:pt x="2873596" y="498158"/>
                  </a:cubicBezTo>
                  <a:cubicBezTo>
                    <a:pt x="2873501" y="498158"/>
                    <a:pt x="2873406" y="498063"/>
                    <a:pt x="2873406" y="497968"/>
                  </a:cubicBezTo>
                  <a:cubicBezTo>
                    <a:pt x="2873406" y="497872"/>
                    <a:pt x="2873501" y="497777"/>
                    <a:pt x="2873596" y="497777"/>
                  </a:cubicBezTo>
                  <a:close/>
                  <a:moveTo>
                    <a:pt x="504157" y="497396"/>
                  </a:moveTo>
                  <a:lnTo>
                    <a:pt x="509301" y="502539"/>
                  </a:lnTo>
                  <a:lnTo>
                    <a:pt x="509682" y="502158"/>
                  </a:lnTo>
                  <a:lnTo>
                    <a:pt x="515207" y="507683"/>
                  </a:lnTo>
                  <a:lnTo>
                    <a:pt x="515587" y="507302"/>
                  </a:lnTo>
                  <a:cubicBezTo>
                    <a:pt x="519016" y="507302"/>
                    <a:pt x="521778" y="510064"/>
                    <a:pt x="521778" y="513493"/>
                  </a:cubicBezTo>
                  <a:cubicBezTo>
                    <a:pt x="521778" y="516922"/>
                    <a:pt x="519016" y="519684"/>
                    <a:pt x="515587" y="519684"/>
                  </a:cubicBezTo>
                  <a:lnTo>
                    <a:pt x="510063" y="514160"/>
                  </a:lnTo>
                  <a:lnTo>
                    <a:pt x="509682" y="514540"/>
                  </a:lnTo>
                  <a:lnTo>
                    <a:pt x="504539" y="509397"/>
                  </a:lnTo>
                  <a:lnTo>
                    <a:pt x="504157" y="509778"/>
                  </a:lnTo>
                  <a:cubicBezTo>
                    <a:pt x="500728" y="509778"/>
                    <a:pt x="497966" y="507016"/>
                    <a:pt x="497966" y="503587"/>
                  </a:cubicBezTo>
                  <a:cubicBezTo>
                    <a:pt x="497966" y="500158"/>
                    <a:pt x="500728" y="497396"/>
                    <a:pt x="504157" y="497396"/>
                  </a:cubicBezTo>
                  <a:close/>
                  <a:moveTo>
                    <a:pt x="699801" y="496919"/>
                  </a:moveTo>
                  <a:cubicBezTo>
                    <a:pt x="703230" y="496919"/>
                    <a:pt x="705993" y="499681"/>
                    <a:pt x="705993" y="503110"/>
                  </a:cubicBezTo>
                  <a:cubicBezTo>
                    <a:pt x="705993" y="506539"/>
                    <a:pt x="703230" y="509301"/>
                    <a:pt x="699801" y="509301"/>
                  </a:cubicBezTo>
                  <a:cubicBezTo>
                    <a:pt x="696372" y="509301"/>
                    <a:pt x="693610" y="506539"/>
                    <a:pt x="693610" y="503110"/>
                  </a:cubicBezTo>
                  <a:cubicBezTo>
                    <a:pt x="693610" y="499681"/>
                    <a:pt x="696372" y="496919"/>
                    <a:pt x="699801" y="496919"/>
                  </a:cubicBezTo>
                  <a:close/>
                  <a:moveTo>
                    <a:pt x="609123" y="496919"/>
                  </a:moveTo>
                  <a:cubicBezTo>
                    <a:pt x="612552" y="496919"/>
                    <a:pt x="615314" y="499681"/>
                    <a:pt x="615314" y="503110"/>
                  </a:cubicBezTo>
                  <a:cubicBezTo>
                    <a:pt x="615314" y="506539"/>
                    <a:pt x="612552" y="509301"/>
                    <a:pt x="609123" y="509301"/>
                  </a:cubicBezTo>
                  <a:cubicBezTo>
                    <a:pt x="605694" y="509301"/>
                    <a:pt x="602932" y="506539"/>
                    <a:pt x="602932" y="503110"/>
                  </a:cubicBezTo>
                  <a:cubicBezTo>
                    <a:pt x="602932" y="499681"/>
                    <a:pt x="605694" y="496919"/>
                    <a:pt x="609123" y="496919"/>
                  </a:cubicBezTo>
                  <a:close/>
                  <a:moveTo>
                    <a:pt x="2831972" y="495205"/>
                  </a:moveTo>
                  <a:cubicBezTo>
                    <a:pt x="2835401" y="495205"/>
                    <a:pt x="2838163" y="497967"/>
                    <a:pt x="2838163" y="501396"/>
                  </a:cubicBezTo>
                  <a:cubicBezTo>
                    <a:pt x="2838163" y="504825"/>
                    <a:pt x="2835401" y="507587"/>
                    <a:pt x="2831972" y="507587"/>
                  </a:cubicBezTo>
                  <a:lnTo>
                    <a:pt x="2831734" y="507350"/>
                  </a:lnTo>
                  <a:lnTo>
                    <a:pt x="2826067" y="513016"/>
                  </a:lnTo>
                  <a:lnTo>
                    <a:pt x="2825734" y="512683"/>
                  </a:lnTo>
                  <a:lnTo>
                    <a:pt x="2820638" y="517779"/>
                  </a:lnTo>
                  <a:cubicBezTo>
                    <a:pt x="2817209" y="517779"/>
                    <a:pt x="2814447" y="515017"/>
                    <a:pt x="2814447" y="511588"/>
                  </a:cubicBezTo>
                  <a:cubicBezTo>
                    <a:pt x="2814447" y="508159"/>
                    <a:pt x="2817209" y="505397"/>
                    <a:pt x="2820638" y="505397"/>
                  </a:cubicBezTo>
                  <a:lnTo>
                    <a:pt x="2820971" y="505730"/>
                  </a:lnTo>
                  <a:lnTo>
                    <a:pt x="2826067" y="500634"/>
                  </a:lnTo>
                  <a:lnTo>
                    <a:pt x="2826305" y="500872"/>
                  </a:lnTo>
                  <a:close/>
                  <a:moveTo>
                    <a:pt x="2768631" y="495205"/>
                  </a:moveTo>
                  <a:cubicBezTo>
                    <a:pt x="2772060" y="495205"/>
                    <a:pt x="2774823" y="497967"/>
                    <a:pt x="2774823" y="501396"/>
                  </a:cubicBezTo>
                  <a:cubicBezTo>
                    <a:pt x="2774823" y="504825"/>
                    <a:pt x="2772060" y="507587"/>
                    <a:pt x="2768631" y="507587"/>
                  </a:cubicBezTo>
                  <a:cubicBezTo>
                    <a:pt x="2765202" y="507587"/>
                    <a:pt x="2762440" y="504825"/>
                    <a:pt x="2762440" y="501396"/>
                  </a:cubicBezTo>
                  <a:cubicBezTo>
                    <a:pt x="2762440" y="497967"/>
                    <a:pt x="2765202" y="495205"/>
                    <a:pt x="2768631" y="495205"/>
                  </a:cubicBezTo>
                  <a:close/>
                  <a:moveTo>
                    <a:pt x="650176" y="495205"/>
                  </a:moveTo>
                  <a:cubicBezTo>
                    <a:pt x="653605" y="495205"/>
                    <a:pt x="656368" y="497967"/>
                    <a:pt x="656368" y="501396"/>
                  </a:cubicBezTo>
                  <a:cubicBezTo>
                    <a:pt x="656368" y="504825"/>
                    <a:pt x="653605" y="507587"/>
                    <a:pt x="650176" y="507587"/>
                  </a:cubicBezTo>
                  <a:cubicBezTo>
                    <a:pt x="646747" y="507587"/>
                    <a:pt x="643985" y="504825"/>
                    <a:pt x="643985" y="501396"/>
                  </a:cubicBezTo>
                  <a:cubicBezTo>
                    <a:pt x="643985" y="497967"/>
                    <a:pt x="646747" y="495205"/>
                    <a:pt x="650176" y="495205"/>
                  </a:cubicBezTo>
                  <a:close/>
                  <a:moveTo>
                    <a:pt x="1385506" y="494062"/>
                  </a:moveTo>
                  <a:cubicBezTo>
                    <a:pt x="1388926" y="494062"/>
                    <a:pt x="1391698" y="496834"/>
                    <a:pt x="1391698" y="500253"/>
                  </a:cubicBezTo>
                  <a:cubicBezTo>
                    <a:pt x="1391698" y="503673"/>
                    <a:pt x="1388926" y="506444"/>
                    <a:pt x="1385506" y="506444"/>
                  </a:cubicBezTo>
                  <a:cubicBezTo>
                    <a:pt x="1382087" y="506444"/>
                    <a:pt x="1379315" y="503673"/>
                    <a:pt x="1379315" y="500253"/>
                  </a:cubicBezTo>
                  <a:cubicBezTo>
                    <a:pt x="1379315" y="496834"/>
                    <a:pt x="1382087" y="494062"/>
                    <a:pt x="1385506" y="494062"/>
                  </a:cubicBezTo>
                  <a:close/>
                  <a:moveTo>
                    <a:pt x="2544222" y="491109"/>
                  </a:moveTo>
                  <a:cubicBezTo>
                    <a:pt x="2547651" y="491109"/>
                    <a:pt x="2550414" y="493871"/>
                    <a:pt x="2550414" y="497300"/>
                  </a:cubicBezTo>
                  <a:cubicBezTo>
                    <a:pt x="2550414" y="500729"/>
                    <a:pt x="2547651" y="503491"/>
                    <a:pt x="2544222" y="503491"/>
                  </a:cubicBezTo>
                  <a:cubicBezTo>
                    <a:pt x="2540793" y="503491"/>
                    <a:pt x="2538031" y="500729"/>
                    <a:pt x="2538031" y="497300"/>
                  </a:cubicBezTo>
                  <a:cubicBezTo>
                    <a:pt x="2538031" y="493871"/>
                    <a:pt x="2540793" y="491109"/>
                    <a:pt x="2544222" y="491109"/>
                  </a:cubicBezTo>
                  <a:close/>
                  <a:moveTo>
                    <a:pt x="497395" y="491109"/>
                  </a:moveTo>
                  <a:cubicBezTo>
                    <a:pt x="500824" y="491109"/>
                    <a:pt x="503586" y="493871"/>
                    <a:pt x="503586" y="497300"/>
                  </a:cubicBezTo>
                  <a:cubicBezTo>
                    <a:pt x="503586" y="500729"/>
                    <a:pt x="500824" y="503491"/>
                    <a:pt x="497395" y="503491"/>
                  </a:cubicBezTo>
                  <a:cubicBezTo>
                    <a:pt x="493966" y="503491"/>
                    <a:pt x="491204" y="500729"/>
                    <a:pt x="491204" y="497300"/>
                  </a:cubicBezTo>
                  <a:cubicBezTo>
                    <a:pt x="491204" y="493871"/>
                    <a:pt x="493966" y="491109"/>
                    <a:pt x="497395" y="491109"/>
                  </a:cubicBezTo>
                  <a:close/>
                  <a:moveTo>
                    <a:pt x="2856356" y="490824"/>
                  </a:moveTo>
                  <a:cubicBezTo>
                    <a:pt x="2859785" y="490824"/>
                    <a:pt x="2862547" y="493586"/>
                    <a:pt x="2862547" y="497015"/>
                  </a:cubicBezTo>
                  <a:cubicBezTo>
                    <a:pt x="2862547" y="500444"/>
                    <a:pt x="2859785" y="503206"/>
                    <a:pt x="2856356" y="503206"/>
                  </a:cubicBezTo>
                  <a:cubicBezTo>
                    <a:pt x="2852927" y="503206"/>
                    <a:pt x="2850165" y="500444"/>
                    <a:pt x="2850165" y="497015"/>
                  </a:cubicBezTo>
                  <a:cubicBezTo>
                    <a:pt x="2850165" y="493586"/>
                    <a:pt x="2852927" y="490824"/>
                    <a:pt x="2856356" y="490824"/>
                  </a:cubicBezTo>
                  <a:close/>
                  <a:moveTo>
                    <a:pt x="900493" y="490347"/>
                  </a:moveTo>
                  <a:cubicBezTo>
                    <a:pt x="903922" y="490347"/>
                    <a:pt x="906685" y="493109"/>
                    <a:pt x="906685" y="496538"/>
                  </a:cubicBezTo>
                  <a:cubicBezTo>
                    <a:pt x="906685" y="499967"/>
                    <a:pt x="903922" y="502729"/>
                    <a:pt x="900493" y="502729"/>
                  </a:cubicBezTo>
                  <a:cubicBezTo>
                    <a:pt x="897064" y="502729"/>
                    <a:pt x="894302" y="499967"/>
                    <a:pt x="894302" y="496538"/>
                  </a:cubicBezTo>
                  <a:cubicBezTo>
                    <a:pt x="894302" y="493109"/>
                    <a:pt x="897064" y="490347"/>
                    <a:pt x="900493" y="490347"/>
                  </a:cubicBezTo>
                  <a:close/>
                  <a:moveTo>
                    <a:pt x="1899856" y="489776"/>
                  </a:moveTo>
                  <a:cubicBezTo>
                    <a:pt x="1903285" y="489776"/>
                    <a:pt x="1906048" y="492538"/>
                    <a:pt x="1906048" y="495967"/>
                  </a:cubicBezTo>
                  <a:cubicBezTo>
                    <a:pt x="1906048" y="499396"/>
                    <a:pt x="1903285" y="502158"/>
                    <a:pt x="1899856" y="502158"/>
                  </a:cubicBezTo>
                  <a:cubicBezTo>
                    <a:pt x="1896427" y="502158"/>
                    <a:pt x="1893665" y="499396"/>
                    <a:pt x="1893665" y="495967"/>
                  </a:cubicBezTo>
                  <a:cubicBezTo>
                    <a:pt x="1893665" y="492538"/>
                    <a:pt x="1896427" y="489776"/>
                    <a:pt x="1899856" y="489776"/>
                  </a:cubicBezTo>
                  <a:close/>
                  <a:moveTo>
                    <a:pt x="1075372" y="489585"/>
                  </a:moveTo>
                  <a:cubicBezTo>
                    <a:pt x="1078801" y="489585"/>
                    <a:pt x="1081564" y="492347"/>
                    <a:pt x="1081564" y="495776"/>
                  </a:cubicBezTo>
                  <a:cubicBezTo>
                    <a:pt x="1081564" y="499205"/>
                    <a:pt x="1078801" y="501967"/>
                    <a:pt x="1075372" y="501967"/>
                  </a:cubicBezTo>
                  <a:cubicBezTo>
                    <a:pt x="1071943" y="501967"/>
                    <a:pt x="1069181" y="499205"/>
                    <a:pt x="1069181" y="495776"/>
                  </a:cubicBezTo>
                  <a:cubicBezTo>
                    <a:pt x="1069181" y="492347"/>
                    <a:pt x="1071943" y="489585"/>
                    <a:pt x="1075372" y="489585"/>
                  </a:cubicBezTo>
                  <a:close/>
                  <a:moveTo>
                    <a:pt x="556450" y="489204"/>
                  </a:moveTo>
                  <a:cubicBezTo>
                    <a:pt x="559879" y="489204"/>
                    <a:pt x="562641" y="491966"/>
                    <a:pt x="562641" y="495395"/>
                  </a:cubicBezTo>
                  <a:cubicBezTo>
                    <a:pt x="562641" y="498824"/>
                    <a:pt x="559879" y="501587"/>
                    <a:pt x="556450" y="501587"/>
                  </a:cubicBezTo>
                  <a:cubicBezTo>
                    <a:pt x="553021" y="501587"/>
                    <a:pt x="550259" y="498824"/>
                    <a:pt x="550259" y="495395"/>
                  </a:cubicBezTo>
                  <a:cubicBezTo>
                    <a:pt x="550259" y="491966"/>
                    <a:pt x="553021" y="489204"/>
                    <a:pt x="556450" y="489204"/>
                  </a:cubicBezTo>
                  <a:close/>
                  <a:moveTo>
                    <a:pt x="2738913" y="488823"/>
                  </a:moveTo>
                  <a:cubicBezTo>
                    <a:pt x="2742342" y="488823"/>
                    <a:pt x="2745105" y="491585"/>
                    <a:pt x="2745105" y="495014"/>
                  </a:cubicBezTo>
                  <a:cubicBezTo>
                    <a:pt x="2745105" y="498443"/>
                    <a:pt x="2742342" y="501205"/>
                    <a:pt x="2738913" y="501205"/>
                  </a:cubicBezTo>
                  <a:cubicBezTo>
                    <a:pt x="2735484" y="501205"/>
                    <a:pt x="2732722" y="498443"/>
                    <a:pt x="2732722" y="495014"/>
                  </a:cubicBezTo>
                  <a:cubicBezTo>
                    <a:pt x="2732722" y="491585"/>
                    <a:pt x="2735484" y="488823"/>
                    <a:pt x="2738913" y="488823"/>
                  </a:cubicBezTo>
                  <a:close/>
                  <a:moveTo>
                    <a:pt x="2816827" y="487680"/>
                  </a:moveTo>
                  <a:cubicBezTo>
                    <a:pt x="2820256" y="487680"/>
                    <a:pt x="2823019" y="490442"/>
                    <a:pt x="2823019" y="493871"/>
                  </a:cubicBezTo>
                  <a:cubicBezTo>
                    <a:pt x="2823019" y="497300"/>
                    <a:pt x="2820256" y="500063"/>
                    <a:pt x="2816827" y="500063"/>
                  </a:cubicBezTo>
                  <a:lnTo>
                    <a:pt x="2815684" y="498920"/>
                  </a:lnTo>
                  <a:lnTo>
                    <a:pt x="2810636" y="503968"/>
                  </a:lnTo>
                  <a:lnTo>
                    <a:pt x="2809255" y="502587"/>
                  </a:lnTo>
                  <a:lnTo>
                    <a:pt x="2803492" y="508349"/>
                  </a:lnTo>
                  <a:cubicBezTo>
                    <a:pt x="2800063" y="508349"/>
                    <a:pt x="2797301" y="505587"/>
                    <a:pt x="2797301" y="502158"/>
                  </a:cubicBezTo>
                  <a:cubicBezTo>
                    <a:pt x="2797301" y="498729"/>
                    <a:pt x="2800063" y="495967"/>
                    <a:pt x="2803492" y="495967"/>
                  </a:cubicBezTo>
                  <a:lnTo>
                    <a:pt x="2804873" y="497348"/>
                  </a:lnTo>
                  <a:lnTo>
                    <a:pt x="2810636" y="491585"/>
                  </a:lnTo>
                  <a:lnTo>
                    <a:pt x="2811779" y="492728"/>
                  </a:lnTo>
                  <a:close/>
                  <a:moveTo>
                    <a:pt x="2839973" y="487585"/>
                  </a:moveTo>
                  <a:cubicBezTo>
                    <a:pt x="2843402" y="487585"/>
                    <a:pt x="2846164" y="490347"/>
                    <a:pt x="2846164" y="493776"/>
                  </a:cubicBezTo>
                  <a:cubicBezTo>
                    <a:pt x="2846164" y="497205"/>
                    <a:pt x="2843402" y="499967"/>
                    <a:pt x="2839973" y="499967"/>
                  </a:cubicBezTo>
                  <a:cubicBezTo>
                    <a:pt x="2836544" y="499967"/>
                    <a:pt x="2833782" y="497205"/>
                    <a:pt x="2833782" y="493776"/>
                  </a:cubicBezTo>
                  <a:cubicBezTo>
                    <a:pt x="2833782" y="490347"/>
                    <a:pt x="2836544" y="487585"/>
                    <a:pt x="2839973" y="487585"/>
                  </a:cubicBezTo>
                  <a:close/>
                  <a:moveTo>
                    <a:pt x="2783585" y="486347"/>
                  </a:moveTo>
                  <a:cubicBezTo>
                    <a:pt x="2787014" y="486347"/>
                    <a:pt x="2789777" y="489109"/>
                    <a:pt x="2789777" y="492538"/>
                  </a:cubicBezTo>
                  <a:cubicBezTo>
                    <a:pt x="2789777" y="495967"/>
                    <a:pt x="2787014" y="498729"/>
                    <a:pt x="2783585" y="498729"/>
                  </a:cubicBezTo>
                  <a:cubicBezTo>
                    <a:pt x="2780156" y="498729"/>
                    <a:pt x="2777394" y="495967"/>
                    <a:pt x="2777394" y="492538"/>
                  </a:cubicBezTo>
                  <a:cubicBezTo>
                    <a:pt x="2777394" y="489109"/>
                    <a:pt x="2780156" y="486347"/>
                    <a:pt x="2783585" y="486347"/>
                  </a:cubicBezTo>
                  <a:close/>
                  <a:moveTo>
                    <a:pt x="1486947" y="485680"/>
                  </a:moveTo>
                  <a:cubicBezTo>
                    <a:pt x="1490376" y="485680"/>
                    <a:pt x="1493138" y="488442"/>
                    <a:pt x="1493138" y="491871"/>
                  </a:cubicBezTo>
                  <a:cubicBezTo>
                    <a:pt x="1493138" y="495300"/>
                    <a:pt x="1490376" y="498062"/>
                    <a:pt x="1486947" y="498062"/>
                  </a:cubicBezTo>
                  <a:cubicBezTo>
                    <a:pt x="1483518" y="498062"/>
                    <a:pt x="1480756" y="495300"/>
                    <a:pt x="1480756" y="491871"/>
                  </a:cubicBezTo>
                  <a:cubicBezTo>
                    <a:pt x="1480756" y="488442"/>
                    <a:pt x="1483518" y="485680"/>
                    <a:pt x="1486947" y="485680"/>
                  </a:cubicBezTo>
                  <a:close/>
                  <a:moveTo>
                    <a:pt x="2606897" y="484632"/>
                  </a:moveTo>
                  <a:cubicBezTo>
                    <a:pt x="2610326" y="484632"/>
                    <a:pt x="2613088" y="487394"/>
                    <a:pt x="2613088" y="490823"/>
                  </a:cubicBezTo>
                  <a:cubicBezTo>
                    <a:pt x="2613088" y="494252"/>
                    <a:pt x="2610326" y="497014"/>
                    <a:pt x="2606897" y="497014"/>
                  </a:cubicBezTo>
                  <a:cubicBezTo>
                    <a:pt x="2603468" y="497014"/>
                    <a:pt x="2600706" y="494252"/>
                    <a:pt x="2600706" y="490823"/>
                  </a:cubicBezTo>
                  <a:cubicBezTo>
                    <a:pt x="2600706" y="487394"/>
                    <a:pt x="2603468" y="484632"/>
                    <a:pt x="2606897" y="484632"/>
                  </a:cubicBezTo>
                  <a:close/>
                  <a:moveTo>
                    <a:pt x="512730" y="484537"/>
                  </a:moveTo>
                  <a:lnTo>
                    <a:pt x="518255" y="490062"/>
                  </a:lnTo>
                  <a:lnTo>
                    <a:pt x="519398" y="488918"/>
                  </a:lnTo>
                  <a:lnTo>
                    <a:pt x="524542" y="494062"/>
                  </a:lnTo>
                  <a:lnTo>
                    <a:pt x="525875" y="492729"/>
                  </a:lnTo>
                  <a:cubicBezTo>
                    <a:pt x="529304" y="492729"/>
                    <a:pt x="532066" y="495491"/>
                    <a:pt x="532066" y="498920"/>
                  </a:cubicBezTo>
                  <a:cubicBezTo>
                    <a:pt x="532066" y="502349"/>
                    <a:pt x="529304" y="505111"/>
                    <a:pt x="525875" y="505111"/>
                  </a:cubicBezTo>
                  <a:lnTo>
                    <a:pt x="520731" y="499967"/>
                  </a:lnTo>
                  <a:lnTo>
                    <a:pt x="519398" y="501300"/>
                  </a:lnTo>
                  <a:lnTo>
                    <a:pt x="513874" y="495776"/>
                  </a:lnTo>
                  <a:lnTo>
                    <a:pt x="512730" y="496919"/>
                  </a:lnTo>
                  <a:cubicBezTo>
                    <a:pt x="509301" y="496919"/>
                    <a:pt x="506539" y="494157"/>
                    <a:pt x="506539" y="490728"/>
                  </a:cubicBezTo>
                  <a:cubicBezTo>
                    <a:pt x="506539" y="487299"/>
                    <a:pt x="509301" y="484537"/>
                    <a:pt x="512730" y="484537"/>
                  </a:cubicBezTo>
                  <a:close/>
                  <a:moveTo>
                    <a:pt x="2702813" y="484347"/>
                  </a:moveTo>
                  <a:cubicBezTo>
                    <a:pt x="2706242" y="484347"/>
                    <a:pt x="2709005" y="487109"/>
                    <a:pt x="2709005" y="490538"/>
                  </a:cubicBezTo>
                  <a:cubicBezTo>
                    <a:pt x="2709005" y="493967"/>
                    <a:pt x="2706242" y="496729"/>
                    <a:pt x="2702813" y="496729"/>
                  </a:cubicBezTo>
                  <a:cubicBezTo>
                    <a:pt x="2699384" y="496729"/>
                    <a:pt x="2696622" y="493967"/>
                    <a:pt x="2696622" y="490538"/>
                  </a:cubicBezTo>
                  <a:cubicBezTo>
                    <a:pt x="2696622" y="487109"/>
                    <a:pt x="2699384" y="484347"/>
                    <a:pt x="2702813" y="484347"/>
                  </a:cubicBezTo>
                  <a:close/>
                  <a:moveTo>
                    <a:pt x="1797462" y="483013"/>
                  </a:moveTo>
                  <a:cubicBezTo>
                    <a:pt x="1800891" y="483013"/>
                    <a:pt x="1803654" y="485775"/>
                    <a:pt x="1803654" y="489204"/>
                  </a:cubicBezTo>
                  <a:cubicBezTo>
                    <a:pt x="1803654" y="492633"/>
                    <a:pt x="1800891" y="495395"/>
                    <a:pt x="1797462" y="495395"/>
                  </a:cubicBezTo>
                  <a:cubicBezTo>
                    <a:pt x="1794033" y="495395"/>
                    <a:pt x="1791271" y="492633"/>
                    <a:pt x="1791271" y="489204"/>
                  </a:cubicBezTo>
                  <a:cubicBezTo>
                    <a:pt x="1791271" y="485775"/>
                    <a:pt x="1794033" y="483013"/>
                    <a:pt x="1797462" y="483013"/>
                  </a:cubicBezTo>
                  <a:close/>
                  <a:moveTo>
                    <a:pt x="2659284" y="482727"/>
                  </a:moveTo>
                  <a:cubicBezTo>
                    <a:pt x="2662713" y="482727"/>
                    <a:pt x="2665475" y="485489"/>
                    <a:pt x="2665475" y="488918"/>
                  </a:cubicBezTo>
                  <a:cubicBezTo>
                    <a:pt x="2665475" y="492347"/>
                    <a:pt x="2662713" y="495110"/>
                    <a:pt x="2659284" y="495110"/>
                  </a:cubicBezTo>
                  <a:cubicBezTo>
                    <a:pt x="2655855" y="495110"/>
                    <a:pt x="2653093" y="492347"/>
                    <a:pt x="2653093" y="488918"/>
                  </a:cubicBezTo>
                  <a:cubicBezTo>
                    <a:pt x="2653093" y="485489"/>
                    <a:pt x="2655855" y="482727"/>
                    <a:pt x="2659284" y="482727"/>
                  </a:cubicBezTo>
                  <a:close/>
                  <a:moveTo>
                    <a:pt x="2824162" y="482346"/>
                  </a:moveTo>
                  <a:cubicBezTo>
                    <a:pt x="2827591" y="482346"/>
                    <a:pt x="2830353" y="485108"/>
                    <a:pt x="2830353" y="488537"/>
                  </a:cubicBezTo>
                  <a:cubicBezTo>
                    <a:pt x="2830353" y="491966"/>
                    <a:pt x="2827591" y="494728"/>
                    <a:pt x="2824162" y="494728"/>
                  </a:cubicBezTo>
                  <a:cubicBezTo>
                    <a:pt x="2820733" y="494728"/>
                    <a:pt x="2817971" y="491966"/>
                    <a:pt x="2817971" y="488537"/>
                  </a:cubicBezTo>
                  <a:cubicBezTo>
                    <a:pt x="2817971" y="485108"/>
                    <a:pt x="2820733" y="482346"/>
                    <a:pt x="2824162" y="482346"/>
                  </a:cubicBezTo>
                  <a:close/>
                  <a:moveTo>
                    <a:pt x="582929" y="481108"/>
                  </a:moveTo>
                  <a:cubicBezTo>
                    <a:pt x="586358" y="481108"/>
                    <a:pt x="589120" y="483870"/>
                    <a:pt x="589120" y="487299"/>
                  </a:cubicBezTo>
                  <a:cubicBezTo>
                    <a:pt x="589120" y="490728"/>
                    <a:pt x="586358" y="493490"/>
                    <a:pt x="582929" y="493490"/>
                  </a:cubicBezTo>
                  <a:cubicBezTo>
                    <a:pt x="579500" y="493490"/>
                    <a:pt x="576738" y="490728"/>
                    <a:pt x="576738" y="487299"/>
                  </a:cubicBezTo>
                  <a:cubicBezTo>
                    <a:pt x="576738" y="483870"/>
                    <a:pt x="579500" y="481108"/>
                    <a:pt x="582929" y="481108"/>
                  </a:cubicBezTo>
                  <a:close/>
                  <a:moveTo>
                    <a:pt x="1590007" y="480917"/>
                  </a:moveTo>
                  <a:cubicBezTo>
                    <a:pt x="1593436" y="480917"/>
                    <a:pt x="1596199" y="483679"/>
                    <a:pt x="1596199" y="487108"/>
                  </a:cubicBezTo>
                  <a:cubicBezTo>
                    <a:pt x="1596199" y="490537"/>
                    <a:pt x="1593436" y="493299"/>
                    <a:pt x="1590007" y="493299"/>
                  </a:cubicBezTo>
                  <a:cubicBezTo>
                    <a:pt x="1586578" y="493299"/>
                    <a:pt x="1583816" y="490537"/>
                    <a:pt x="1583816" y="487108"/>
                  </a:cubicBezTo>
                  <a:cubicBezTo>
                    <a:pt x="1583816" y="483679"/>
                    <a:pt x="1586578" y="480917"/>
                    <a:pt x="1590007" y="480917"/>
                  </a:cubicBezTo>
                  <a:close/>
                  <a:moveTo>
                    <a:pt x="2216943" y="480822"/>
                  </a:moveTo>
                  <a:cubicBezTo>
                    <a:pt x="2220372" y="480822"/>
                    <a:pt x="2223134" y="483584"/>
                    <a:pt x="2223134" y="487013"/>
                  </a:cubicBezTo>
                  <a:cubicBezTo>
                    <a:pt x="2223134" y="490442"/>
                    <a:pt x="2220372" y="493204"/>
                    <a:pt x="2216943" y="493204"/>
                  </a:cubicBezTo>
                  <a:cubicBezTo>
                    <a:pt x="2213514" y="493204"/>
                    <a:pt x="2210752" y="490442"/>
                    <a:pt x="2210752" y="487013"/>
                  </a:cubicBezTo>
                  <a:cubicBezTo>
                    <a:pt x="2210752" y="483584"/>
                    <a:pt x="2213514" y="480822"/>
                    <a:pt x="2216943" y="480822"/>
                  </a:cubicBezTo>
                  <a:close/>
                  <a:moveTo>
                    <a:pt x="1693925" y="480060"/>
                  </a:moveTo>
                  <a:cubicBezTo>
                    <a:pt x="1697354" y="480060"/>
                    <a:pt x="1700117" y="482822"/>
                    <a:pt x="1700117" y="486251"/>
                  </a:cubicBezTo>
                  <a:cubicBezTo>
                    <a:pt x="1700117" y="489680"/>
                    <a:pt x="1697354" y="492442"/>
                    <a:pt x="1693925" y="492442"/>
                  </a:cubicBezTo>
                  <a:cubicBezTo>
                    <a:pt x="1690496" y="492442"/>
                    <a:pt x="1687734" y="489680"/>
                    <a:pt x="1687734" y="486251"/>
                  </a:cubicBezTo>
                  <a:cubicBezTo>
                    <a:pt x="1687734" y="482822"/>
                    <a:pt x="1690496" y="480060"/>
                    <a:pt x="1693925" y="480060"/>
                  </a:cubicBezTo>
                  <a:close/>
                  <a:moveTo>
                    <a:pt x="504349" y="479679"/>
                  </a:moveTo>
                  <a:cubicBezTo>
                    <a:pt x="506821" y="479679"/>
                    <a:pt x="508825" y="481683"/>
                    <a:pt x="508825" y="484156"/>
                  </a:cubicBezTo>
                  <a:cubicBezTo>
                    <a:pt x="508825" y="486628"/>
                    <a:pt x="506821" y="488633"/>
                    <a:pt x="504349" y="488633"/>
                  </a:cubicBezTo>
                  <a:cubicBezTo>
                    <a:pt x="501876" y="488633"/>
                    <a:pt x="499872" y="486628"/>
                    <a:pt x="499872" y="484156"/>
                  </a:cubicBezTo>
                  <a:cubicBezTo>
                    <a:pt x="499872" y="481683"/>
                    <a:pt x="501876" y="479679"/>
                    <a:pt x="504349" y="479679"/>
                  </a:cubicBezTo>
                  <a:close/>
                  <a:moveTo>
                    <a:pt x="2397632" y="479584"/>
                  </a:moveTo>
                  <a:cubicBezTo>
                    <a:pt x="2401061" y="479584"/>
                    <a:pt x="2403823" y="482346"/>
                    <a:pt x="2403823" y="485775"/>
                  </a:cubicBezTo>
                  <a:cubicBezTo>
                    <a:pt x="2403823" y="489204"/>
                    <a:pt x="2401061" y="491966"/>
                    <a:pt x="2397632" y="491966"/>
                  </a:cubicBezTo>
                  <a:cubicBezTo>
                    <a:pt x="2394203" y="491966"/>
                    <a:pt x="2391441" y="489204"/>
                    <a:pt x="2391441" y="485775"/>
                  </a:cubicBezTo>
                  <a:cubicBezTo>
                    <a:pt x="2391441" y="482346"/>
                    <a:pt x="2394203" y="479584"/>
                    <a:pt x="2397632" y="479584"/>
                  </a:cubicBezTo>
                  <a:close/>
                  <a:moveTo>
                    <a:pt x="2851499" y="478346"/>
                  </a:moveTo>
                  <a:cubicBezTo>
                    <a:pt x="2853880" y="478346"/>
                    <a:pt x="2855785" y="480251"/>
                    <a:pt x="2855785" y="482632"/>
                  </a:cubicBezTo>
                  <a:cubicBezTo>
                    <a:pt x="2855785" y="485014"/>
                    <a:pt x="2853880" y="486919"/>
                    <a:pt x="2851499" y="486919"/>
                  </a:cubicBezTo>
                  <a:cubicBezTo>
                    <a:pt x="2849118" y="486919"/>
                    <a:pt x="2847213" y="485014"/>
                    <a:pt x="2847213" y="482632"/>
                  </a:cubicBezTo>
                  <a:cubicBezTo>
                    <a:pt x="2847213" y="480251"/>
                    <a:pt x="2849118" y="478346"/>
                    <a:pt x="2851499" y="478346"/>
                  </a:cubicBezTo>
                  <a:close/>
                  <a:moveTo>
                    <a:pt x="822007" y="477584"/>
                  </a:moveTo>
                  <a:cubicBezTo>
                    <a:pt x="825436" y="477584"/>
                    <a:pt x="828198" y="480346"/>
                    <a:pt x="828198" y="483775"/>
                  </a:cubicBezTo>
                  <a:cubicBezTo>
                    <a:pt x="828198" y="487204"/>
                    <a:pt x="825436" y="489966"/>
                    <a:pt x="822007" y="489966"/>
                  </a:cubicBezTo>
                  <a:cubicBezTo>
                    <a:pt x="818578" y="489966"/>
                    <a:pt x="815816" y="487204"/>
                    <a:pt x="815816" y="483775"/>
                  </a:cubicBezTo>
                  <a:cubicBezTo>
                    <a:pt x="815816" y="480346"/>
                    <a:pt x="818578" y="477584"/>
                    <a:pt x="822007" y="477584"/>
                  </a:cubicBezTo>
                  <a:close/>
                  <a:moveTo>
                    <a:pt x="2759963" y="477108"/>
                  </a:moveTo>
                  <a:cubicBezTo>
                    <a:pt x="2763392" y="477108"/>
                    <a:pt x="2766155" y="479870"/>
                    <a:pt x="2766155" y="483299"/>
                  </a:cubicBezTo>
                  <a:cubicBezTo>
                    <a:pt x="2766155" y="486728"/>
                    <a:pt x="2763392" y="489490"/>
                    <a:pt x="2759963" y="489490"/>
                  </a:cubicBezTo>
                  <a:cubicBezTo>
                    <a:pt x="2756534" y="489490"/>
                    <a:pt x="2753772" y="486728"/>
                    <a:pt x="2753772" y="483299"/>
                  </a:cubicBezTo>
                  <a:cubicBezTo>
                    <a:pt x="2753772" y="479870"/>
                    <a:pt x="2756534" y="477108"/>
                    <a:pt x="2759963" y="477108"/>
                  </a:cubicBezTo>
                  <a:close/>
                  <a:moveTo>
                    <a:pt x="2808350" y="475203"/>
                  </a:moveTo>
                  <a:cubicBezTo>
                    <a:pt x="2811779" y="475203"/>
                    <a:pt x="2814541" y="477965"/>
                    <a:pt x="2814541" y="481394"/>
                  </a:cubicBezTo>
                  <a:cubicBezTo>
                    <a:pt x="2814541" y="484823"/>
                    <a:pt x="2811779" y="487585"/>
                    <a:pt x="2808350" y="487585"/>
                  </a:cubicBezTo>
                  <a:lnTo>
                    <a:pt x="2806445" y="485680"/>
                  </a:lnTo>
                  <a:lnTo>
                    <a:pt x="2801016" y="491109"/>
                  </a:lnTo>
                  <a:lnTo>
                    <a:pt x="2798730" y="488823"/>
                  </a:lnTo>
                  <a:lnTo>
                    <a:pt x="2793491" y="494062"/>
                  </a:lnTo>
                  <a:cubicBezTo>
                    <a:pt x="2790062" y="494062"/>
                    <a:pt x="2787300" y="491300"/>
                    <a:pt x="2787300" y="487871"/>
                  </a:cubicBezTo>
                  <a:cubicBezTo>
                    <a:pt x="2787300" y="484442"/>
                    <a:pt x="2790062" y="481680"/>
                    <a:pt x="2793491" y="481680"/>
                  </a:cubicBezTo>
                  <a:lnTo>
                    <a:pt x="2795777" y="483966"/>
                  </a:lnTo>
                  <a:lnTo>
                    <a:pt x="2801016" y="478727"/>
                  </a:lnTo>
                  <a:lnTo>
                    <a:pt x="2802921" y="480632"/>
                  </a:lnTo>
                  <a:close/>
                  <a:moveTo>
                    <a:pt x="614933" y="474440"/>
                  </a:moveTo>
                  <a:cubicBezTo>
                    <a:pt x="618362" y="474440"/>
                    <a:pt x="621124" y="477202"/>
                    <a:pt x="621124" y="480631"/>
                  </a:cubicBezTo>
                  <a:cubicBezTo>
                    <a:pt x="621124" y="484060"/>
                    <a:pt x="618362" y="486822"/>
                    <a:pt x="614933" y="486822"/>
                  </a:cubicBezTo>
                  <a:cubicBezTo>
                    <a:pt x="611504" y="486822"/>
                    <a:pt x="608742" y="484060"/>
                    <a:pt x="608742" y="480631"/>
                  </a:cubicBezTo>
                  <a:cubicBezTo>
                    <a:pt x="608742" y="477202"/>
                    <a:pt x="611504" y="474440"/>
                    <a:pt x="614933" y="474440"/>
                  </a:cubicBezTo>
                  <a:close/>
                  <a:moveTo>
                    <a:pt x="2833973" y="474155"/>
                  </a:moveTo>
                  <a:cubicBezTo>
                    <a:pt x="2837402" y="474155"/>
                    <a:pt x="2840164" y="476917"/>
                    <a:pt x="2840164" y="480346"/>
                  </a:cubicBezTo>
                  <a:cubicBezTo>
                    <a:pt x="2840164" y="483775"/>
                    <a:pt x="2837402" y="486537"/>
                    <a:pt x="2833973" y="486537"/>
                  </a:cubicBezTo>
                  <a:cubicBezTo>
                    <a:pt x="2830544" y="486537"/>
                    <a:pt x="2827782" y="483775"/>
                    <a:pt x="2827782" y="480346"/>
                  </a:cubicBezTo>
                  <a:cubicBezTo>
                    <a:pt x="2827782" y="476917"/>
                    <a:pt x="2830544" y="474155"/>
                    <a:pt x="2833973" y="474155"/>
                  </a:cubicBezTo>
                  <a:close/>
                  <a:moveTo>
                    <a:pt x="565594" y="472821"/>
                  </a:moveTo>
                  <a:cubicBezTo>
                    <a:pt x="569023" y="472821"/>
                    <a:pt x="571785" y="475583"/>
                    <a:pt x="571785" y="479012"/>
                  </a:cubicBezTo>
                  <a:cubicBezTo>
                    <a:pt x="571785" y="482441"/>
                    <a:pt x="569023" y="485203"/>
                    <a:pt x="565594" y="485203"/>
                  </a:cubicBezTo>
                  <a:cubicBezTo>
                    <a:pt x="562165" y="485203"/>
                    <a:pt x="559403" y="482441"/>
                    <a:pt x="559403" y="479012"/>
                  </a:cubicBezTo>
                  <a:cubicBezTo>
                    <a:pt x="559403" y="475583"/>
                    <a:pt x="562165" y="472821"/>
                    <a:pt x="565594" y="472821"/>
                  </a:cubicBezTo>
                  <a:close/>
                  <a:moveTo>
                    <a:pt x="520541" y="472059"/>
                  </a:moveTo>
                  <a:lnTo>
                    <a:pt x="526637" y="478155"/>
                  </a:lnTo>
                  <a:lnTo>
                    <a:pt x="528446" y="476346"/>
                  </a:lnTo>
                  <a:lnTo>
                    <a:pt x="533542" y="481442"/>
                  </a:lnTo>
                  <a:lnTo>
                    <a:pt x="535685" y="479298"/>
                  </a:lnTo>
                  <a:lnTo>
                    <a:pt x="541734" y="485347"/>
                  </a:lnTo>
                  <a:lnTo>
                    <a:pt x="544258" y="482823"/>
                  </a:lnTo>
                  <a:cubicBezTo>
                    <a:pt x="547687" y="482823"/>
                    <a:pt x="550449" y="485585"/>
                    <a:pt x="550449" y="489014"/>
                  </a:cubicBezTo>
                  <a:cubicBezTo>
                    <a:pt x="550449" y="492443"/>
                    <a:pt x="547687" y="495205"/>
                    <a:pt x="544258" y="495205"/>
                  </a:cubicBezTo>
                  <a:lnTo>
                    <a:pt x="538209" y="489156"/>
                  </a:lnTo>
                  <a:lnTo>
                    <a:pt x="535685" y="491680"/>
                  </a:lnTo>
                  <a:lnTo>
                    <a:pt x="530590" y="486585"/>
                  </a:lnTo>
                  <a:lnTo>
                    <a:pt x="528446" y="488728"/>
                  </a:lnTo>
                  <a:lnTo>
                    <a:pt x="522350" y="482632"/>
                  </a:lnTo>
                  <a:lnTo>
                    <a:pt x="520541" y="484441"/>
                  </a:lnTo>
                  <a:cubicBezTo>
                    <a:pt x="517112" y="484441"/>
                    <a:pt x="514350" y="481679"/>
                    <a:pt x="514350" y="478250"/>
                  </a:cubicBezTo>
                  <a:cubicBezTo>
                    <a:pt x="514350" y="474821"/>
                    <a:pt x="517112" y="472059"/>
                    <a:pt x="520541" y="472059"/>
                  </a:cubicBezTo>
                  <a:close/>
                  <a:moveTo>
                    <a:pt x="2774060" y="471392"/>
                  </a:moveTo>
                  <a:cubicBezTo>
                    <a:pt x="2777489" y="471392"/>
                    <a:pt x="2780252" y="474154"/>
                    <a:pt x="2780252" y="477583"/>
                  </a:cubicBezTo>
                  <a:cubicBezTo>
                    <a:pt x="2780252" y="481012"/>
                    <a:pt x="2777489" y="483774"/>
                    <a:pt x="2774060" y="483774"/>
                  </a:cubicBezTo>
                  <a:cubicBezTo>
                    <a:pt x="2770631" y="483774"/>
                    <a:pt x="2767869" y="481012"/>
                    <a:pt x="2767869" y="477583"/>
                  </a:cubicBezTo>
                  <a:cubicBezTo>
                    <a:pt x="2767869" y="474154"/>
                    <a:pt x="2770631" y="471392"/>
                    <a:pt x="2774060" y="471392"/>
                  </a:cubicBezTo>
                  <a:close/>
                  <a:moveTo>
                    <a:pt x="1162335" y="471202"/>
                  </a:moveTo>
                  <a:cubicBezTo>
                    <a:pt x="1165764" y="471202"/>
                    <a:pt x="1168527" y="473964"/>
                    <a:pt x="1168527" y="477393"/>
                  </a:cubicBezTo>
                  <a:cubicBezTo>
                    <a:pt x="1168527" y="480822"/>
                    <a:pt x="1165764" y="483584"/>
                    <a:pt x="1162335" y="483584"/>
                  </a:cubicBezTo>
                  <a:cubicBezTo>
                    <a:pt x="1158906" y="483584"/>
                    <a:pt x="1156144" y="480822"/>
                    <a:pt x="1156144" y="477393"/>
                  </a:cubicBezTo>
                  <a:cubicBezTo>
                    <a:pt x="1156144" y="473964"/>
                    <a:pt x="1158906" y="471202"/>
                    <a:pt x="1162335" y="471202"/>
                  </a:cubicBezTo>
                  <a:close/>
                  <a:moveTo>
                    <a:pt x="755713" y="470631"/>
                  </a:moveTo>
                  <a:cubicBezTo>
                    <a:pt x="759142" y="470631"/>
                    <a:pt x="761904" y="473393"/>
                    <a:pt x="761904" y="476822"/>
                  </a:cubicBezTo>
                  <a:cubicBezTo>
                    <a:pt x="761904" y="480251"/>
                    <a:pt x="759142" y="483013"/>
                    <a:pt x="755713" y="483013"/>
                  </a:cubicBezTo>
                  <a:cubicBezTo>
                    <a:pt x="752284" y="483013"/>
                    <a:pt x="749522" y="480251"/>
                    <a:pt x="749522" y="476822"/>
                  </a:cubicBezTo>
                  <a:cubicBezTo>
                    <a:pt x="749522" y="473393"/>
                    <a:pt x="752284" y="470631"/>
                    <a:pt x="755713" y="470631"/>
                  </a:cubicBezTo>
                  <a:close/>
                  <a:moveTo>
                    <a:pt x="653509" y="469964"/>
                  </a:moveTo>
                  <a:cubicBezTo>
                    <a:pt x="656938" y="469964"/>
                    <a:pt x="659701" y="472726"/>
                    <a:pt x="659701" y="476155"/>
                  </a:cubicBezTo>
                  <a:cubicBezTo>
                    <a:pt x="659701" y="479584"/>
                    <a:pt x="656938" y="482346"/>
                    <a:pt x="653509" y="482346"/>
                  </a:cubicBezTo>
                  <a:cubicBezTo>
                    <a:pt x="650080" y="482346"/>
                    <a:pt x="647318" y="479584"/>
                    <a:pt x="647318" y="476155"/>
                  </a:cubicBezTo>
                  <a:cubicBezTo>
                    <a:pt x="647318" y="472726"/>
                    <a:pt x="650080" y="469964"/>
                    <a:pt x="653509" y="469964"/>
                  </a:cubicBezTo>
                  <a:close/>
                  <a:moveTo>
                    <a:pt x="2817113" y="469583"/>
                  </a:moveTo>
                  <a:cubicBezTo>
                    <a:pt x="2820542" y="469583"/>
                    <a:pt x="2823305" y="472345"/>
                    <a:pt x="2823305" y="475774"/>
                  </a:cubicBezTo>
                  <a:cubicBezTo>
                    <a:pt x="2823305" y="479203"/>
                    <a:pt x="2820542" y="481965"/>
                    <a:pt x="2817113" y="481965"/>
                  </a:cubicBezTo>
                  <a:cubicBezTo>
                    <a:pt x="2813684" y="481965"/>
                    <a:pt x="2810922" y="479203"/>
                    <a:pt x="2810922" y="475774"/>
                  </a:cubicBezTo>
                  <a:cubicBezTo>
                    <a:pt x="2810922" y="472345"/>
                    <a:pt x="2813684" y="469583"/>
                    <a:pt x="2817113" y="469583"/>
                  </a:cubicBezTo>
                  <a:close/>
                  <a:moveTo>
                    <a:pt x="2731769" y="468821"/>
                  </a:moveTo>
                  <a:cubicBezTo>
                    <a:pt x="2735198" y="468821"/>
                    <a:pt x="2737961" y="471583"/>
                    <a:pt x="2737961" y="475012"/>
                  </a:cubicBezTo>
                  <a:cubicBezTo>
                    <a:pt x="2737961" y="478441"/>
                    <a:pt x="2735198" y="481203"/>
                    <a:pt x="2731769" y="481203"/>
                  </a:cubicBezTo>
                  <a:cubicBezTo>
                    <a:pt x="2728340" y="481203"/>
                    <a:pt x="2725578" y="478441"/>
                    <a:pt x="2725578" y="475012"/>
                  </a:cubicBezTo>
                  <a:cubicBezTo>
                    <a:pt x="2725578" y="471583"/>
                    <a:pt x="2728340" y="468821"/>
                    <a:pt x="2731769" y="468821"/>
                  </a:cubicBezTo>
                  <a:close/>
                  <a:moveTo>
                    <a:pt x="699991" y="468440"/>
                  </a:moveTo>
                  <a:cubicBezTo>
                    <a:pt x="703420" y="468440"/>
                    <a:pt x="706183" y="471202"/>
                    <a:pt x="706183" y="474631"/>
                  </a:cubicBezTo>
                  <a:cubicBezTo>
                    <a:pt x="706183" y="478060"/>
                    <a:pt x="703420" y="480823"/>
                    <a:pt x="699991" y="480823"/>
                  </a:cubicBezTo>
                  <a:cubicBezTo>
                    <a:pt x="696562" y="480823"/>
                    <a:pt x="693800" y="478060"/>
                    <a:pt x="693800" y="474631"/>
                  </a:cubicBezTo>
                  <a:cubicBezTo>
                    <a:pt x="693800" y="471202"/>
                    <a:pt x="696562" y="468440"/>
                    <a:pt x="699991" y="468440"/>
                  </a:cubicBezTo>
                  <a:close/>
                  <a:moveTo>
                    <a:pt x="974978" y="467583"/>
                  </a:moveTo>
                  <a:cubicBezTo>
                    <a:pt x="978407" y="467583"/>
                    <a:pt x="981170" y="470345"/>
                    <a:pt x="981170" y="473774"/>
                  </a:cubicBezTo>
                  <a:cubicBezTo>
                    <a:pt x="981170" y="477203"/>
                    <a:pt x="978407" y="479965"/>
                    <a:pt x="974978" y="479965"/>
                  </a:cubicBezTo>
                  <a:cubicBezTo>
                    <a:pt x="971549" y="479965"/>
                    <a:pt x="968787" y="477203"/>
                    <a:pt x="968787" y="473774"/>
                  </a:cubicBezTo>
                  <a:cubicBezTo>
                    <a:pt x="968787" y="470345"/>
                    <a:pt x="971549" y="467583"/>
                    <a:pt x="974978" y="467583"/>
                  </a:cubicBezTo>
                  <a:close/>
                  <a:moveTo>
                    <a:pt x="2479642" y="466058"/>
                  </a:moveTo>
                  <a:cubicBezTo>
                    <a:pt x="2483071" y="466058"/>
                    <a:pt x="2485834" y="468820"/>
                    <a:pt x="2485834" y="472249"/>
                  </a:cubicBezTo>
                  <a:cubicBezTo>
                    <a:pt x="2485834" y="475678"/>
                    <a:pt x="2483071" y="478441"/>
                    <a:pt x="2479642" y="478441"/>
                  </a:cubicBezTo>
                  <a:cubicBezTo>
                    <a:pt x="2476213" y="478441"/>
                    <a:pt x="2473451" y="475678"/>
                    <a:pt x="2473451" y="472249"/>
                  </a:cubicBezTo>
                  <a:cubicBezTo>
                    <a:pt x="2473451" y="468820"/>
                    <a:pt x="2476213" y="466058"/>
                    <a:pt x="2479642" y="466058"/>
                  </a:cubicBezTo>
                  <a:close/>
                  <a:moveTo>
                    <a:pt x="536924" y="464344"/>
                  </a:moveTo>
                  <a:lnTo>
                    <a:pt x="542258" y="469678"/>
                  </a:lnTo>
                  <a:lnTo>
                    <a:pt x="545115" y="466821"/>
                  </a:lnTo>
                  <a:lnTo>
                    <a:pt x="550544" y="472250"/>
                  </a:lnTo>
                  <a:lnTo>
                    <a:pt x="553878" y="468916"/>
                  </a:lnTo>
                  <a:cubicBezTo>
                    <a:pt x="557307" y="468916"/>
                    <a:pt x="560069" y="471678"/>
                    <a:pt x="560069" y="475107"/>
                  </a:cubicBezTo>
                  <a:cubicBezTo>
                    <a:pt x="560069" y="478536"/>
                    <a:pt x="557307" y="481298"/>
                    <a:pt x="553878" y="481298"/>
                  </a:cubicBezTo>
                  <a:lnTo>
                    <a:pt x="548449" y="475869"/>
                  </a:lnTo>
                  <a:lnTo>
                    <a:pt x="545115" y="479203"/>
                  </a:lnTo>
                  <a:lnTo>
                    <a:pt x="539781" y="473869"/>
                  </a:lnTo>
                  <a:lnTo>
                    <a:pt x="536924" y="476726"/>
                  </a:lnTo>
                  <a:cubicBezTo>
                    <a:pt x="533495" y="476726"/>
                    <a:pt x="530733" y="473964"/>
                    <a:pt x="530733" y="470535"/>
                  </a:cubicBezTo>
                  <a:cubicBezTo>
                    <a:pt x="530733" y="467106"/>
                    <a:pt x="533495" y="464344"/>
                    <a:pt x="536924" y="464344"/>
                  </a:cubicBezTo>
                  <a:close/>
                  <a:moveTo>
                    <a:pt x="2128075" y="463487"/>
                  </a:moveTo>
                  <a:cubicBezTo>
                    <a:pt x="2131504" y="463487"/>
                    <a:pt x="2134267" y="466249"/>
                    <a:pt x="2134267" y="469678"/>
                  </a:cubicBezTo>
                  <a:cubicBezTo>
                    <a:pt x="2134267" y="473107"/>
                    <a:pt x="2131504" y="475869"/>
                    <a:pt x="2128075" y="475869"/>
                  </a:cubicBezTo>
                  <a:cubicBezTo>
                    <a:pt x="2124646" y="475869"/>
                    <a:pt x="2121884" y="473107"/>
                    <a:pt x="2121884" y="469678"/>
                  </a:cubicBezTo>
                  <a:cubicBezTo>
                    <a:pt x="2121884" y="466249"/>
                    <a:pt x="2124646" y="463487"/>
                    <a:pt x="2128075" y="463487"/>
                  </a:cubicBezTo>
                  <a:close/>
                  <a:moveTo>
                    <a:pt x="590930" y="463201"/>
                  </a:moveTo>
                  <a:cubicBezTo>
                    <a:pt x="594359" y="463201"/>
                    <a:pt x="597121" y="465963"/>
                    <a:pt x="597121" y="469392"/>
                  </a:cubicBezTo>
                  <a:cubicBezTo>
                    <a:pt x="597121" y="472821"/>
                    <a:pt x="594359" y="475583"/>
                    <a:pt x="590930" y="475583"/>
                  </a:cubicBezTo>
                  <a:cubicBezTo>
                    <a:pt x="587501" y="475583"/>
                    <a:pt x="584739" y="472821"/>
                    <a:pt x="584739" y="469392"/>
                  </a:cubicBezTo>
                  <a:cubicBezTo>
                    <a:pt x="584739" y="465963"/>
                    <a:pt x="587501" y="463201"/>
                    <a:pt x="590930" y="463201"/>
                  </a:cubicBezTo>
                  <a:close/>
                  <a:moveTo>
                    <a:pt x="2800540" y="463106"/>
                  </a:moveTo>
                  <a:cubicBezTo>
                    <a:pt x="2803969" y="463106"/>
                    <a:pt x="2806732" y="465868"/>
                    <a:pt x="2806732" y="469297"/>
                  </a:cubicBezTo>
                  <a:cubicBezTo>
                    <a:pt x="2806732" y="472726"/>
                    <a:pt x="2803969" y="475488"/>
                    <a:pt x="2800540" y="475488"/>
                  </a:cubicBezTo>
                  <a:lnTo>
                    <a:pt x="2797968" y="472916"/>
                  </a:lnTo>
                  <a:lnTo>
                    <a:pt x="2792063" y="478821"/>
                  </a:lnTo>
                  <a:lnTo>
                    <a:pt x="2789063" y="475821"/>
                  </a:lnTo>
                  <a:lnTo>
                    <a:pt x="2783871" y="481013"/>
                  </a:lnTo>
                  <a:cubicBezTo>
                    <a:pt x="2780442" y="481013"/>
                    <a:pt x="2777680" y="478250"/>
                    <a:pt x="2777680" y="474821"/>
                  </a:cubicBezTo>
                  <a:cubicBezTo>
                    <a:pt x="2777680" y="471392"/>
                    <a:pt x="2780442" y="468630"/>
                    <a:pt x="2783871" y="468630"/>
                  </a:cubicBezTo>
                  <a:lnTo>
                    <a:pt x="2786872" y="471630"/>
                  </a:lnTo>
                  <a:lnTo>
                    <a:pt x="2792063" y="466439"/>
                  </a:lnTo>
                  <a:lnTo>
                    <a:pt x="2794635" y="469011"/>
                  </a:lnTo>
                  <a:close/>
                  <a:moveTo>
                    <a:pt x="2697765" y="462058"/>
                  </a:moveTo>
                  <a:cubicBezTo>
                    <a:pt x="2701194" y="462058"/>
                    <a:pt x="2703957" y="464820"/>
                    <a:pt x="2703957" y="468249"/>
                  </a:cubicBezTo>
                  <a:cubicBezTo>
                    <a:pt x="2703957" y="471678"/>
                    <a:pt x="2701194" y="474440"/>
                    <a:pt x="2697765" y="474440"/>
                  </a:cubicBezTo>
                  <a:cubicBezTo>
                    <a:pt x="2694336" y="474440"/>
                    <a:pt x="2691574" y="471678"/>
                    <a:pt x="2691574" y="468249"/>
                  </a:cubicBezTo>
                  <a:cubicBezTo>
                    <a:pt x="2691574" y="464820"/>
                    <a:pt x="2694336" y="462058"/>
                    <a:pt x="2697765" y="462058"/>
                  </a:cubicBezTo>
                  <a:close/>
                  <a:moveTo>
                    <a:pt x="2751296" y="461010"/>
                  </a:moveTo>
                  <a:cubicBezTo>
                    <a:pt x="2754725" y="461010"/>
                    <a:pt x="2757487" y="463772"/>
                    <a:pt x="2757487" y="467201"/>
                  </a:cubicBezTo>
                  <a:cubicBezTo>
                    <a:pt x="2757487" y="470630"/>
                    <a:pt x="2754725" y="473392"/>
                    <a:pt x="2751296" y="473392"/>
                  </a:cubicBezTo>
                  <a:cubicBezTo>
                    <a:pt x="2747867" y="473392"/>
                    <a:pt x="2745105" y="470630"/>
                    <a:pt x="2745105" y="467201"/>
                  </a:cubicBezTo>
                  <a:cubicBezTo>
                    <a:pt x="2745105" y="463772"/>
                    <a:pt x="2747867" y="461010"/>
                    <a:pt x="2751296" y="461010"/>
                  </a:cubicBezTo>
                  <a:close/>
                  <a:moveTo>
                    <a:pt x="2828829" y="460629"/>
                  </a:moveTo>
                  <a:cubicBezTo>
                    <a:pt x="2832258" y="460629"/>
                    <a:pt x="2835021" y="463391"/>
                    <a:pt x="2835021" y="466820"/>
                  </a:cubicBezTo>
                  <a:cubicBezTo>
                    <a:pt x="2835021" y="470249"/>
                    <a:pt x="2832258" y="473012"/>
                    <a:pt x="2828829" y="473012"/>
                  </a:cubicBezTo>
                  <a:cubicBezTo>
                    <a:pt x="2825400" y="473012"/>
                    <a:pt x="2822638" y="470249"/>
                    <a:pt x="2822638" y="466820"/>
                  </a:cubicBezTo>
                  <a:cubicBezTo>
                    <a:pt x="2822638" y="463391"/>
                    <a:pt x="2825400" y="460629"/>
                    <a:pt x="2828829" y="460629"/>
                  </a:cubicBezTo>
                  <a:close/>
                  <a:moveTo>
                    <a:pt x="527589" y="459772"/>
                  </a:moveTo>
                  <a:cubicBezTo>
                    <a:pt x="531018" y="459772"/>
                    <a:pt x="533780" y="462534"/>
                    <a:pt x="533780" y="465963"/>
                  </a:cubicBezTo>
                  <a:cubicBezTo>
                    <a:pt x="533780" y="469392"/>
                    <a:pt x="531018" y="472155"/>
                    <a:pt x="527589" y="472155"/>
                  </a:cubicBezTo>
                  <a:cubicBezTo>
                    <a:pt x="524160" y="472155"/>
                    <a:pt x="521398" y="469392"/>
                    <a:pt x="521398" y="465963"/>
                  </a:cubicBezTo>
                  <a:cubicBezTo>
                    <a:pt x="521398" y="462534"/>
                    <a:pt x="524160" y="459772"/>
                    <a:pt x="527589" y="459772"/>
                  </a:cubicBezTo>
                  <a:close/>
                  <a:moveTo>
                    <a:pt x="2549175" y="458629"/>
                  </a:moveTo>
                  <a:cubicBezTo>
                    <a:pt x="2552604" y="458629"/>
                    <a:pt x="2555366" y="461391"/>
                    <a:pt x="2555366" y="464820"/>
                  </a:cubicBezTo>
                  <a:cubicBezTo>
                    <a:pt x="2555366" y="468249"/>
                    <a:pt x="2552604" y="471011"/>
                    <a:pt x="2549175" y="471011"/>
                  </a:cubicBezTo>
                  <a:cubicBezTo>
                    <a:pt x="2545746" y="471011"/>
                    <a:pt x="2542984" y="468249"/>
                    <a:pt x="2542984" y="464820"/>
                  </a:cubicBezTo>
                  <a:cubicBezTo>
                    <a:pt x="2542984" y="461391"/>
                    <a:pt x="2545746" y="458629"/>
                    <a:pt x="2549175" y="458629"/>
                  </a:cubicBezTo>
                  <a:close/>
                  <a:moveTo>
                    <a:pt x="574738" y="458058"/>
                  </a:moveTo>
                  <a:cubicBezTo>
                    <a:pt x="578167" y="458058"/>
                    <a:pt x="580930" y="460820"/>
                    <a:pt x="580930" y="464249"/>
                  </a:cubicBezTo>
                  <a:cubicBezTo>
                    <a:pt x="580930" y="467678"/>
                    <a:pt x="578167" y="470440"/>
                    <a:pt x="574738" y="470440"/>
                  </a:cubicBezTo>
                  <a:cubicBezTo>
                    <a:pt x="571309" y="470440"/>
                    <a:pt x="568547" y="467678"/>
                    <a:pt x="568547" y="464249"/>
                  </a:cubicBezTo>
                  <a:cubicBezTo>
                    <a:pt x="568547" y="460820"/>
                    <a:pt x="571309" y="458058"/>
                    <a:pt x="574738" y="458058"/>
                  </a:cubicBezTo>
                  <a:close/>
                  <a:moveTo>
                    <a:pt x="2656807" y="457581"/>
                  </a:moveTo>
                  <a:cubicBezTo>
                    <a:pt x="2660236" y="457581"/>
                    <a:pt x="2662998" y="460343"/>
                    <a:pt x="2662998" y="463772"/>
                  </a:cubicBezTo>
                  <a:cubicBezTo>
                    <a:pt x="2662998" y="467201"/>
                    <a:pt x="2660236" y="469964"/>
                    <a:pt x="2656807" y="469964"/>
                  </a:cubicBezTo>
                  <a:cubicBezTo>
                    <a:pt x="2653378" y="469964"/>
                    <a:pt x="2650616" y="467201"/>
                    <a:pt x="2650616" y="463772"/>
                  </a:cubicBezTo>
                  <a:cubicBezTo>
                    <a:pt x="2650616" y="460343"/>
                    <a:pt x="2653378" y="457581"/>
                    <a:pt x="2656807" y="457581"/>
                  </a:cubicBezTo>
                  <a:close/>
                  <a:moveTo>
                    <a:pt x="2321051" y="457486"/>
                  </a:moveTo>
                  <a:cubicBezTo>
                    <a:pt x="2324480" y="457486"/>
                    <a:pt x="2327243" y="460248"/>
                    <a:pt x="2327243" y="463677"/>
                  </a:cubicBezTo>
                  <a:cubicBezTo>
                    <a:pt x="2327243" y="467106"/>
                    <a:pt x="2324480" y="469868"/>
                    <a:pt x="2321051" y="469868"/>
                  </a:cubicBezTo>
                  <a:cubicBezTo>
                    <a:pt x="2317622" y="469868"/>
                    <a:pt x="2314860" y="467106"/>
                    <a:pt x="2314860" y="463677"/>
                  </a:cubicBezTo>
                  <a:cubicBezTo>
                    <a:pt x="2314860" y="460248"/>
                    <a:pt x="2317622" y="457486"/>
                    <a:pt x="2321051" y="457486"/>
                  </a:cubicBezTo>
                  <a:close/>
                  <a:moveTo>
                    <a:pt x="2811017" y="456914"/>
                  </a:moveTo>
                  <a:cubicBezTo>
                    <a:pt x="2814446" y="456914"/>
                    <a:pt x="2817208" y="459676"/>
                    <a:pt x="2817208" y="463105"/>
                  </a:cubicBezTo>
                  <a:cubicBezTo>
                    <a:pt x="2817208" y="466534"/>
                    <a:pt x="2814446" y="469296"/>
                    <a:pt x="2811017" y="469296"/>
                  </a:cubicBezTo>
                  <a:cubicBezTo>
                    <a:pt x="2807588" y="469296"/>
                    <a:pt x="2804826" y="466534"/>
                    <a:pt x="2804826" y="463105"/>
                  </a:cubicBezTo>
                  <a:cubicBezTo>
                    <a:pt x="2804826" y="459676"/>
                    <a:pt x="2807588" y="456914"/>
                    <a:pt x="2811017" y="456914"/>
                  </a:cubicBezTo>
                  <a:close/>
                  <a:moveTo>
                    <a:pt x="2607754" y="456153"/>
                  </a:moveTo>
                  <a:cubicBezTo>
                    <a:pt x="2611183" y="456153"/>
                    <a:pt x="2613945" y="458915"/>
                    <a:pt x="2613945" y="462344"/>
                  </a:cubicBezTo>
                  <a:cubicBezTo>
                    <a:pt x="2613945" y="465773"/>
                    <a:pt x="2611183" y="468535"/>
                    <a:pt x="2607754" y="468535"/>
                  </a:cubicBezTo>
                  <a:cubicBezTo>
                    <a:pt x="2604325" y="468535"/>
                    <a:pt x="2601563" y="465773"/>
                    <a:pt x="2601563" y="462344"/>
                  </a:cubicBezTo>
                  <a:cubicBezTo>
                    <a:pt x="2601563" y="458915"/>
                    <a:pt x="2604325" y="456153"/>
                    <a:pt x="2607754" y="456153"/>
                  </a:cubicBezTo>
                  <a:close/>
                  <a:moveTo>
                    <a:pt x="1253203" y="455295"/>
                  </a:moveTo>
                  <a:cubicBezTo>
                    <a:pt x="1256632" y="455295"/>
                    <a:pt x="1259395" y="458057"/>
                    <a:pt x="1259395" y="461486"/>
                  </a:cubicBezTo>
                  <a:cubicBezTo>
                    <a:pt x="1259395" y="464915"/>
                    <a:pt x="1256632" y="467677"/>
                    <a:pt x="1253203" y="467677"/>
                  </a:cubicBezTo>
                  <a:cubicBezTo>
                    <a:pt x="1249774" y="467677"/>
                    <a:pt x="1247012" y="464915"/>
                    <a:pt x="1247012" y="461486"/>
                  </a:cubicBezTo>
                  <a:cubicBezTo>
                    <a:pt x="1247012" y="458057"/>
                    <a:pt x="1249774" y="455295"/>
                    <a:pt x="1253203" y="455295"/>
                  </a:cubicBezTo>
                  <a:close/>
                  <a:moveTo>
                    <a:pt x="2783681" y="454819"/>
                  </a:moveTo>
                  <a:cubicBezTo>
                    <a:pt x="2787110" y="454819"/>
                    <a:pt x="2789872" y="457581"/>
                    <a:pt x="2789872" y="461010"/>
                  </a:cubicBezTo>
                  <a:cubicBezTo>
                    <a:pt x="2789872" y="464439"/>
                    <a:pt x="2787110" y="467201"/>
                    <a:pt x="2783681" y="467201"/>
                  </a:cubicBezTo>
                  <a:lnTo>
                    <a:pt x="2779919" y="463439"/>
                  </a:lnTo>
                  <a:lnTo>
                    <a:pt x="2774632" y="468725"/>
                  </a:lnTo>
                  <a:lnTo>
                    <a:pt x="2770346" y="464439"/>
                  </a:lnTo>
                  <a:lnTo>
                    <a:pt x="2764631" y="470154"/>
                  </a:lnTo>
                  <a:cubicBezTo>
                    <a:pt x="2761202" y="470154"/>
                    <a:pt x="2758440" y="467392"/>
                    <a:pt x="2758440" y="463963"/>
                  </a:cubicBezTo>
                  <a:cubicBezTo>
                    <a:pt x="2758440" y="460534"/>
                    <a:pt x="2761202" y="457772"/>
                    <a:pt x="2764631" y="457772"/>
                  </a:cubicBezTo>
                  <a:lnTo>
                    <a:pt x="2768917" y="462058"/>
                  </a:lnTo>
                  <a:lnTo>
                    <a:pt x="2774632" y="456343"/>
                  </a:lnTo>
                  <a:lnTo>
                    <a:pt x="2778395" y="460105"/>
                  </a:lnTo>
                  <a:close/>
                  <a:moveTo>
                    <a:pt x="621315" y="454724"/>
                  </a:moveTo>
                  <a:cubicBezTo>
                    <a:pt x="624744" y="454724"/>
                    <a:pt x="627506" y="457486"/>
                    <a:pt x="627506" y="460915"/>
                  </a:cubicBezTo>
                  <a:cubicBezTo>
                    <a:pt x="627506" y="464344"/>
                    <a:pt x="624744" y="467106"/>
                    <a:pt x="621315" y="467106"/>
                  </a:cubicBezTo>
                  <a:cubicBezTo>
                    <a:pt x="617886" y="467106"/>
                    <a:pt x="615124" y="464344"/>
                    <a:pt x="615124" y="460915"/>
                  </a:cubicBezTo>
                  <a:cubicBezTo>
                    <a:pt x="615124" y="457486"/>
                    <a:pt x="617886" y="454724"/>
                    <a:pt x="621315" y="454724"/>
                  </a:cubicBezTo>
                  <a:close/>
                  <a:moveTo>
                    <a:pt x="888872" y="453105"/>
                  </a:moveTo>
                  <a:cubicBezTo>
                    <a:pt x="892301" y="453105"/>
                    <a:pt x="895064" y="455867"/>
                    <a:pt x="895064" y="459296"/>
                  </a:cubicBezTo>
                  <a:cubicBezTo>
                    <a:pt x="895064" y="462725"/>
                    <a:pt x="892301" y="465487"/>
                    <a:pt x="888872" y="465487"/>
                  </a:cubicBezTo>
                  <a:cubicBezTo>
                    <a:pt x="885443" y="465487"/>
                    <a:pt x="882681" y="462725"/>
                    <a:pt x="882681" y="459296"/>
                  </a:cubicBezTo>
                  <a:cubicBezTo>
                    <a:pt x="882681" y="455867"/>
                    <a:pt x="885443" y="453105"/>
                    <a:pt x="888872" y="453105"/>
                  </a:cubicBezTo>
                  <a:close/>
                  <a:moveTo>
                    <a:pt x="544639" y="452628"/>
                  </a:moveTo>
                  <a:lnTo>
                    <a:pt x="550450" y="458438"/>
                  </a:lnTo>
                  <a:lnTo>
                    <a:pt x="553878" y="455009"/>
                  </a:lnTo>
                  <a:lnTo>
                    <a:pt x="559117" y="460248"/>
                  </a:lnTo>
                  <a:lnTo>
                    <a:pt x="563212" y="456153"/>
                  </a:lnTo>
                  <a:cubicBezTo>
                    <a:pt x="566641" y="456153"/>
                    <a:pt x="569403" y="458915"/>
                    <a:pt x="569403" y="462344"/>
                  </a:cubicBezTo>
                  <a:cubicBezTo>
                    <a:pt x="569403" y="465773"/>
                    <a:pt x="566641" y="468535"/>
                    <a:pt x="563212" y="468535"/>
                  </a:cubicBezTo>
                  <a:lnTo>
                    <a:pt x="557973" y="463296"/>
                  </a:lnTo>
                  <a:lnTo>
                    <a:pt x="553878" y="467392"/>
                  </a:lnTo>
                  <a:lnTo>
                    <a:pt x="548068" y="461582"/>
                  </a:lnTo>
                  <a:lnTo>
                    <a:pt x="544639" y="465011"/>
                  </a:lnTo>
                  <a:cubicBezTo>
                    <a:pt x="541210" y="465011"/>
                    <a:pt x="538448" y="462248"/>
                    <a:pt x="538448" y="458819"/>
                  </a:cubicBezTo>
                  <a:cubicBezTo>
                    <a:pt x="538448" y="455390"/>
                    <a:pt x="541210" y="452628"/>
                    <a:pt x="544639" y="452628"/>
                  </a:cubicBezTo>
                  <a:close/>
                  <a:moveTo>
                    <a:pt x="533781" y="451866"/>
                  </a:moveTo>
                  <a:cubicBezTo>
                    <a:pt x="534780" y="451866"/>
                    <a:pt x="535590" y="452676"/>
                    <a:pt x="535590" y="453676"/>
                  </a:cubicBezTo>
                  <a:cubicBezTo>
                    <a:pt x="535590" y="454675"/>
                    <a:pt x="534780" y="455485"/>
                    <a:pt x="533781" y="455485"/>
                  </a:cubicBezTo>
                  <a:cubicBezTo>
                    <a:pt x="532781" y="455485"/>
                    <a:pt x="531971" y="454675"/>
                    <a:pt x="531971" y="453676"/>
                  </a:cubicBezTo>
                  <a:cubicBezTo>
                    <a:pt x="531971" y="452676"/>
                    <a:pt x="532781" y="451866"/>
                    <a:pt x="533781" y="451866"/>
                  </a:cubicBezTo>
                  <a:close/>
                  <a:moveTo>
                    <a:pt x="2824638" y="451771"/>
                  </a:moveTo>
                  <a:cubicBezTo>
                    <a:pt x="2825322" y="451771"/>
                    <a:pt x="2825876" y="452325"/>
                    <a:pt x="2825876" y="453009"/>
                  </a:cubicBezTo>
                  <a:cubicBezTo>
                    <a:pt x="2825876" y="453693"/>
                    <a:pt x="2825322" y="454248"/>
                    <a:pt x="2824638" y="454248"/>
                  </a:cubicBezTo>
                  <a:cubicBezTo>
                    <a:pt x="2823954" y="454248"/>
                    <a:pt x="2823400" y="453693"/>
                    <a:pt x="2823400" y="453009"/>
                  </a:cubicBezTo>
                  <a:cubicBezTo>
                    <a:pt x="2823400" y="452325"/>
                    <a:pt x="2823954" y="451771"/>
                    <a:pt x="2824638" y="451771"/>
                  </a:cubicBezTo>
                  <a:close/>
                  <a:moveTo>
                    <a:pt x="2793491" y="451200"/>
                  </a:moveTo>
                  <a:cubicBezTo>
                    <a:pt x="2796920" y="451200"/>
                    <a:pt x="2799682" y="453962"/>
                    <a:pt x="2799682" y="457391"/>
                  </a:cubicBezTo>
                  <a:cubicBezTo>
                    <a:pt x="2799682" y="460820"/>
                    <a:pt x="2796920" y="463582"/>
                    <a:pt x="2793491" y="463582"/>
                  </a:cubicBezTo>
                  <a:cubicBezTo>
                    <a:pt x="2790062" y="463582"/>
                    <a:pt x="2787300" y="460820"/>
                    <a:pt x="2787300" y="457391"/>
                  </a:cubicBezTo>
                  <a:cubicBezTo>
                    <a:pt x="2787300" y="453962"/>
                    <a:pt x="2790062" y="451200"/>
                    <a:pt x="2793491" y="451200"/>
                  </a:cubicBezTo>
                  <a:close/>
                  <a:moveTo>
                    <a:pt x="2724340" y="451200"/>
                  </a:moveTo>
                  <a:cubicBezTo>
                    <a:pt x="2727769" y="451200"/>
                    <a:pt x="2730532" y="453962"/>
                    <a:pt x="2730532" y="457391"/>
                  </a:cubicBezTo>
                  <a:cubicBezTo>
                    <a:pt x="2730532" y="460820"/>
                    <a:pt x="2727769" y="463582"/>
                    <a:pt x="2724340" y="463582"/>
                  </a:cubicBezTo>
                  <a:cubicBezTo>
                    <a:pt x="2720911" y="463582"/>
                    <a:pt x="2718149" y="460820"/>
                    <a:pt x="2718149" y="457391"/>
                  </a:cubicBezTo>
                  <a:cubicBezTo>
                    <a:pt x="2718149" y="453962"/>
                    <a:pt x="2720911" y="451200"/>
                    <a:pt x="2724340" y="451200"/>
                  </a:cubicBezTo>
                  <a:close/>
                  <a:moveTo>
                    <a:pt x="2035587" y="448818"/>
                  </a:moveTo>
                  <a:cubicBezTo>
                    <a:pt x="2039016" y="448818"/>
                    <a:pt x="2041779" y="451580"/>
                    <a:pt x="2041779" y="455009"/>
                  </a:cubicBezTo>
                  <a:cubicBezTo>
                    <a:pt x="2041779" y="458438"/>
                    <a:pt x="2039016" y="461200"/>
                    <a:pt x="2035587" y="461200"/>
                  </a:cubicBezTo>
                  <a:cubicBezTo>
                    <a:pt x="2032158" y="461200"/>
                    <a:pt x="2029396" y="458438"/>
                    <a:pt x="2029396" y="455009"/>
                  </a:cubicBezTo>
                  <a:cubicBezTo>
                    <a:pt x="2029396" y="451580"/>
                    <a:pt x="2032158" y="448818"/>
                    <a:pt x="2035587" y="448818"/>
                  </a:cubicBezTo>
                  <a:close/>
                  <a:moveTo>
                    <a:pt x="657701" y="447771"/>
                  </a:moveTo>
                  <a:cubicBezTo>
                    <a:pt x="661130" y="447771"/>
                    <a:pt x="663892" y="450533"/>
                    <a:pt x="663892" y="453962"/>
                  </a:cubicBezTo>
                  <a:cubicBezTo>
                    <a:pt x="663892" y="457391"/>
                    <a:pt x="661130" y="460153"/>
                    <a:pt x="657701" y="460153"/>
                  </a:cubicBezTo>
                  <a:cubicBezTo>
                    <a:pt x="654272" y="460153"/>
                    <a:pt x="651510" y="457391"/>
                    <a:pt x="651510" y="453962"/>
                  </a:cubicBezTo>
                  <a:cubicBezTo>
                    <a:pt x="651510" y="450533"/>
                    <a:pt x="654272" y="447771"/>
                    <a:pt x="657701" y="447771"/>
                  </a:cubicBezTo>
                  <a:close/>
                  <a:moveTo>
                    <a:pt x="599122" y="447389"/>
                  </a:moveTo>
                  <a:cubicBezTo>
                    <a:pt x="602551" y="447389"/>
                    <a:pt x="605313" y="450151"/>
                    <a:pt x="605313" y="453580"/>
                  </a:cubicBezTo>
                  <a:cubicBezTo>
                    <a:pt x="605313" y="457009"/>
                    <a:pt x="602551" y="459771"/>
                    <a:pt x="599122" y="459771"/>
                  </a:cubicBezTo>
                  <a:cubicBezTo>
                    <a:pt x="595693" y="459771"/>
                    <a:pt x="592931" y="457009"/>
                    <a:pt x="592931" y="453580"/>
                  </a:cubicBezTo>
                  <a:cubicBezTo>
                    <a:pt x="592931" y="450151"/>
                    <a:pt x="595693" y="447389"/>
                    <a:pt x="599122" y="447389"/>
                  </a:cubicBezTo>
                  <a:close/>
                  <a:moveTo>
                    <a:pt x="2742532" y="446532"/>
                  </a:moveTo>
                  <a:cubicBezTo>
                    <a:pt x="2745961" y="446532"/>
                    <a:pt x="2748723" y="449294"/>
                    <a:pt x="2748723" y="452723"/>
                  </a:cubicBezTo>
                  <a:cubicBezTo>
                    <a:pt x="2748723" y="456152"/>
                    <a:pt x="2745961" y="458914"/>
                    <a:pt x="2742532" y="458914"/>
                  </a:cubicBezTo>
                  <a:cubicBezTo>
                    <a:pt x="2739103" y="458914"/>
                    <a:pt x="2736341" y="456152"/>
                    <a:pt x="2736341" y="452723"/>
                  </a:cubicBezTo>
                  <a:cubicBezTo>
                    <a:pt x="2736341" y="449294"/>
                    <a:pt x="2739103" y="446532"/>
                    <a:pt x="2742532" y="446532"/>
                  </a:cubicBezTo>
                  <a:close/>
                  <a:moveTo>
                    <a:pt x="1053750" y="446437"/>
                  </a:moveTo>
                  <a:cubicBezTo>
                    <a:pt x="1057179" y="446437"/>
                    <a:pt x="1059941" y="449199"/>
                    <a:pt x="1059941" y="452628"/>
                  </a:cubicBezTo>
                  <a:cubicBezTo>
                    <a:pt x="1059941" y="456057"/>
                    <a:pt x="1057179" y="458819"/>
                    <a:pt x="1053750" y="458819"/>
                  </a:cubicBezTo>
                  <a:cubicBezTo>
                    <a:pt x="1050321" y="458819"/>
                    <a:pt x="1047559" y="456057"/>
                    <a:pt x="1047559" y="452628"/>
                  </a:cubicBezTo>
                  <a:cubicBezTo>
                    <a:pt x="1047559" y="449199"/>
                    <a:pt x="1050321" y="446437"/>
                    <a:pt x="1053750" y="446437"/>
                  </a:cubicBezTo>
                  <a:close/>
                  <a:moveTo>
                    <a:pt x="815530" y="445008"/>
                  </a:moveTo>
                  <a:cubicBezTo>
                    <a:pt x="818959" y="445008"/>
                    <a:pt x="821721" y="447770"/>
                    <a:pt x="821721" y="451199"/>
                  </a:cubicBezTo>
                  <a:cubicBezTo>
                    <a:pt x="821721" y="454628"/>
                    <a:pt x="818959" y="457390"/>
                    <a:pt x="815530" y="457390"/>
                  </a:cubicBezTo>
                  <a:cubicBezTo>
                    <a:pt x="812101" y="457390"/>
                    <a:pt x="809339" y="454628"/>
                    <a:pt x="809339" y="451199"/>
                  </a:cubicBezTo>
                  <a:cubicBezTo>
                    <a:pt x="809339" y="447770"/>
                    <a:pt x="812101" y="445008"/>
                    <a:pt x="815530" y="445008"/>
                  </a:cubicBezTo>
                  <a:close/>
                  <a:moveTo>
                    <a:pt x="2805683" y="444246"/>
                  </a:moveTo>
                  <a:cubicBezTo>
                    <a:pt x="2809112" y="444246"/>
                    <a:pt x="2811874" y="447008"/>
                    <a:pt x="2811874" y="450437"/>
                  </a:cubicBezTo>
                  <a:cubicBezTo>
                    <a:pt x="2811874" y="453866"/>
                    <a:pt x="2809112" y="456628"/>
                    <a:pt x="2805683" y="456628"/>
                  </a:cubicBezTo>
                  <a:cubicBezTo>
                    <a:pt x="2802254" y="456628"/>
                    <a:pt x="2799492" y="453866"/>
                    <a:pt x="2799492" y="450437"/>
                  </a:cubicBezTo>
                  <a:cubicBezTo>
                    <a:pt x="2799492" y="447008"/>
                    <a:pt x="2802254" y="444246"/>
                    <a:pt x="2805683" y="444246"/>
                  </a:cubicBezTo>
                  <a:close/>
                  <a:moveTo>
                    <a:pt x="562165" y="443675"/>
                  </a:moveTo>
                  <a:lnTo>
                    <a:pt x="567499" y="449009"/>
                  </a:lnTo>
                  <a:lnTo>
                    <a:pt x="572166" y="444341"/>
                  </a:lnTo>
                  <a:lnTo>
                    <a:pt x="578168" y="450342"/>
                  </a:lnTo>
                  <a:lnTo>
                    <a:pt x="583691" y="444818"/>
                  </a:lnTo>
                  <a:cubicBezTo>
                    <a:pt x="587120" y="444818"/>
                    <a:pt x="589882" y="447580"/>
                    <a:pt x="589882" y="451009"/>
                  </a:cubicBezTo>
                  <a:cubicBezTo>
                    <a:pt x="589882" y="454438"/>
                    <a:pt x="587120" y="457201"/>
                    <a:pt x="583691" y="457201"/>
                  </a:cubicBezTo>
                  <a:lnTo>
                    <a:pt x="577690" y="451200"/>
                  </a:lnTo>
                  <a:lnTo>
                    <a:pt x="572166" y="456723"/>
                  </a:lnTo>
                  <a:lnTo>
                    <a:pt x="566833" y="451390"/>
                  </a:lnTo>
                  <a:lnTo>
                    <a:pt x="562165" y="456058"/>
                  </a:lnTo>
                  <a:cubicBezTo>
                    <a:pt x="558746" y="456058"/>
                    <a:pt x="555974" y="453286"/>
                    <a:pt x="555974" y="449866"/>
                  </a:cubicBezTo>
                  <a:cubicBezTo>
                    <a:pt x="555974" y="446447"/>
                    <a:pt x="558746" y="443675"/>
                    <a:pt x="562165" y="443675"/>
                  </a:cubicBezTo>
                  <a:close/>
                  <a:moveTo>
                    <a:pt x="2775965" y="443484"/>
                  </a:moveTo>
                  <a:cubicBezTo>
                    <a:pt x="2779394" y="443484"/>
                    <a:pt x="2782156" y="446246"/>
                    <a:pt x="2782156" y="449675"/>
                  </a:cubicBezTo>
                  <a:cubicBezTo>
                    <a:pt x="2782156" y="453104"/>
                    <a:pt x="2779394" y="455866"/>
                    <a:pt x="2775965" y="455866"/>
                  </a:cubicBezTo>
                  <a:lnTo>
                    <a:pt x="2771679" y="451581"/>
                  </a:lnTo>
                  <a:lnTo>
                    <a:pt x="2765964" y="457295"/>
                  </a:lnTo>
                  <a:lnTo>
                    <a:pt x="2760964" y="452295"/>
                  </a:lnTo>
                  <a:lnTo>
                    <a:pt x="2755582" y="457676"/>
                  </a:lnTo>
                  <a:cubicBezTo>
                    <a:pt x="2752153" y="457676"/>
                    <a:pt x="2749391" y="454914"/>
                    <a:pt x="2749391" y="451485"/>
                  </a:cubicBezTo>
                  <a:cubicBezTo>
                    <a:pt x="2749391" y="448056"/>
                    <a:pt x="2752153" y="445294"/>
                    <a:pt x="2755582" y="445294"/>
                  </a:cubicBezTo>
                  <a:lnTo>
                    <a:pt x="2760583" y="450294"/>
                  </a:lnTo>
                  <a:lnTo>
                    <a:pt x="2765964" y="444913"/>
                  </a:lnTo>
                  <a:lnTo>
                    <a:pt x="2770250" y="449199"/>
                  </a:lnTo>
                  <a:close/>
                  <a:moveTo>
                    <a:pt x="701325" y="443389"/>
                  </a:moveTo>
                  <a:cubicBezTo>
                    <a:pt x="704754" y="443389"/>
                    <a:pt x="707516" y="446151"/>
                    <a:pt x="707516" y="449580"/>
                  </a:cubicBezTo>
                  <a:cubicBezTo>
                    <a:pt x="707516" y="453009"/>
                    <a:pt x="704754" y="455771"/>
                    <a:pt x="701325" y="455771"/>
                  </a:cubicBezTo>
                  <a:cubicBezTo>
                    <a:pt x="697896" y="455771"/>
                    <a:pt x="695134" y="453009"/>
                    <a:pt x="695134" y="449580"/>
                  </a:cubicBezTo>
                  <a:cubicBezTo>
                    <a:pt x="695134" y="446151"/>
                    <a:pt x="697896" y="443389"/>
                    <a:pt x="701325" y="443389"/>
                  </a:cubicBezTo>
                  <a:close/>
                  <a:moveTo>
                    <a:pt x="2692145" y="442436"/>
                  </a:moveTo>
                  <a:cubicBezTo>
                    <a:pt x="2695574" y="442436"/>
                    <a:pt x="2698337" y="445198"/>
                    <a:pt x="2698337" y="448627"/>
                  </a:cubicBezTo>
                  <a:cubicBezTo>
                    <a:pt x="2698337" y="452056"/>
                    <a:pt x="2695574" y="454819"/>
                    <a:pt x="2692145" y="454819"/>
                  </a:cubicBezTo>
                  <a:cubicBezTo>
                    <a:pt x="2688716" y="454819"/>
                    <a:pt x="2685954" y="452056"/>
                    <a:pt x="2685954" y="448627"/>
                  </a:cubicBezTo>
                  <a:cubicBezTo>
                    <a:pt x="2685954" y="445198"/>
                    <a:pt x="2688716" y="442436"/>
                    <a:pt x="2692145" y="442436"/>
                  </a:cubicBezTo>
                  <a:close/>
                  <a:moveTo>
                    <a:pt x="1347406" y="442246"/>
                  </a:moveTo>
                  <a:cubicBezTo>
                    <a:pt x="1350835" y="442246"/>
                    <a:pt x="1353598" y="445008"/>
                    <a:pt x="1353598" y="448437"/>
                  </a:cubicBezTo>
                  <a:cubicBezTo>
                    <a:pt x="1353598" y="451866"/>
                    <a:pt x="1350835" y="454629"/>
                    <a:pt x="1347406" y="454629"/>
                  </a:cubicBezTo>
                  <a:cubicBezTo>
                    <a:pt x="1343977" y="454629"/>
                    <a:pt x="1341215" y="451866"/>
                    <a:pt x="1341215" y="448437"/>
                  </a:cubicBezTo>
                  <a:cubicBezTo>
                    <a:pt x="1341215" y="445008"/>
                    <a:pt x="1343977" y="442246"/>
                    <a:pt x="1347406" y="442246"/>
                  </a:cubicBezTo>
                  <a:close/>
                  <a:moveTo>
                    <a:pt x="2410872" y="442151"/>
                  </a:moveTo>
                  <a:cubicBezTo>
                    <a:pt x="2414301" y="442151"/>
                    <a:pt x="2417063" y="444913"/>
                    <a:pt x="2417063" y="448342"/>
                  </a:cubicBezTo>
                  <a:cubicBezTo>
                    <a:pt x="2417063" y="451771"/>
                    <a:pt x="2414301" y="454533"/>
                    <a:pt x="2410872" y="454533"/>
                  </a:cubicBezTo>
                  <a:cubicBezTo>
                    <a:pt x="2407443" y="454533"/>
                    <a:pt x="2404681" y="451771"/>
                    <a:pt x="2404681" y="448342"/>
                  </a:cubicBezTo>
                  <a:cubicBezTo>
                    <a:pt x="2404681" y="444913"/>
                    <a:pt x="2407443" y="442151"/>
                    <a:pt x="2410872" y="442151"/>
                  </a:cubicBezTo>
                  <a:close/>
                  <a:moveTo>
                    <a:pt x="753427" y="442056"/>
                  </a:moveTo>
                  <a:cubicBezTo>
                    <a:pt x="756856" y="442056"/>
                    <a:pt x="759619" y="444818"/>
                    <a:pt x="759619" y="448247"/>
                  </a:cubicBezTo>
                  <a:cubicBezTo>
                    <a:pt x="759619" y="451676"/>
                    <a:pt x="756856" y="454438"/>
                    <a:pt x="753427" y="454438"/>
                  </a:cubicBezTo>
                  <a:cubicBezTo>
                    <a:pt x="749998" y="454438"/>
                    <a:pt x="747236" y="451676"/>
                    <a:pt x="747236" y="448247"/>
                  </a:cubicBezTo>
                  <a:cubicBezTo>
                    <a:pt x="747236" y="444818"/>
                    <a:pt x="749998" y="442056"/>
                    <a:pt x="753427" y="442056"/>
                  </a:cubicBezTo>
                  <a:close/>
                  <a:moveTo>
                    <a:pt x="551687" y="441103"/>
                  </a:moveTo>
                  <a:cubicBezTo>
                    <a:pt x="555116" y="441103"/>
                    <a:pt x="557878" y="443865"/>
                    <a:pt x="557878" y="447294"/>
                  </a:cubicBezTo>
                  <a:cubicBezTo>
                    <a:pt x="557878" y="450723"/>
                    <a:pt x="555116" y="453485"/>
                    <a:pt x="551687" y="453485"/>
                  </a:cubicBezTo>
                  <a:cubicBezTo>
                    <a:pt x="548258" y="453485"/>
                    <a:pt x="545496" y="450723"/>
                    <a:pt x="545496" y="447294"/>
                  </a:cubicBezTo>
                  <a:cubicBezTo>
                    <a:pt x="545496" y="443865"/>
                    <a:pt x="548258" y="441103"/>
                    <a:pt x="551687" y="441103"/>
                  </a:cubicBezTo>
                  <a:close/>
                  <a:moveTo>
                    <a:pt x="2787300" y="439293"/>
                  </a:moveTo>
                  <a:cubicBezTo>
                    <a:pt x="2790729" y="439293"/>
                    <a:pt x="2793491" y="442055"/>
                    <a:pt x="2793491" y="445484"/>
                  </a:cubicBezTo>
                  <a:cubicBezTo>
                    <a:pt x="2793491" y="448913"/>
                    <a:pt x="2790729" y="451675"/>
                    <a:pt x="2787300" y="451675"/>
                  </a:cubicBezTo>
                  <a:cubicBezTo>
                    <a:pt x="2783871" y="451675"/>
                    <a:pt x="2781109" y="448913"/>
                    <a:pt x="2781109" y="445484"/>
                  </a:cubicBezTo>
                  <a:cubicBezTo>
                    <a:pt x="2781109" y="442055"/>
                    <a:pt x="2783871" y="439293"/>
                    <a:pt x="2787300" y="439293"/>
                  </a:cubicBezTo>
                  <a:close/>
                  <a:moveTo>
                    <a:pt x="1940051" y="437293"/>
                  </a:moveTo>
                  <a:cubicBezTo>
                    <a:pt x="1943480" y="437293"/>
                    <a:pt x="1946243" y="440055"/>
                    <a:pt x="1946243" y="443484"/>
                  </a:cubicBezTo>
                  <a:cubicBezTo>
                    <a:pt x="1946243" y="446913"/>
                    <a:pt x="1943480" y="449675"/>
                    <a:pt x="1940051" y="449675"/>
                  </a:cubicBezTo>
                  <a:cubicBezTo>
                    <a:pt x="1936622" y="449675"/>
                    <a:pt x="1933860" y="446913"/>
                    <a:pt x="1933860" y="443484"/>
                  </a:cubicBezTo>
                  <a:cubicBezTo>
                    <a:pt x="1933860" y="440055"/>
                    <a:pt x="1936622" y="437293"/>
                    <a:pt x="1940051" y="437293"/>
                  </a:cubicBezTo>
                  <a:close/>
                  <a:moveTo>
                    <a:pt x="2240374" y="437198"/>
                  </a:moveTo>
                  <a:cubicBezTo>
                    <a:pt x="2243803" y="437198"/>
                    <a:pt x="2246566" y="439960"/>
                    <a:pt x="2246566" y="443389"/>
                  </a:cubicBezTo>
                  <a:cubicBezTo>
                    <a:pt x="2246566" y="446818"/>
                    <a:pt x="2243803" y="449580"/>
                    <a:pt x="2240374" y="449580"/>
                  </a:cubicBezTo>
                  <a:cubicBezTo>
                    <a:pt x="2236945" y="449580"/>
                    <a:pt x="2234183" y="446818"/>
                    <a:pt x="2234183" y="443389"/>
                  </a:cubicBezTo>
                  <a:cubicBezTo>
                    <a:pt x="2234183" y="439960"/>
                    <a:pt x="2236945" y="437198"/>
                    <a:pt x="2240374" y="437198"/>
                  </a:cubicBezTo>
                  <a:close/>
                  <a:moveTo>
                    <a:pt x="627982" y="437198"/>
                  </a:moveTo>
                  <a:cubicBezTo>
                    <a:pt x="631411" y="437198"/>
                    <a:pt x="634174" y="439960"/>
                    <a:pt x="634174" y="443389"/>
                  </a:cubicBezTo>
                  <a:cubicBezTo>
                    <a:pt x="634174" y="446818"/>
                    <a:pt x="631411" y="449580"/>
                    <a:pt x="627982" y="449580"/>
                  </a:cubicBezTo>
                  <a:cubicBezTo>
                    <a:pt x="624553" y="449580"/>
                    <a:pt x="621791" y="446818"/>
                    <a:pt x="621791" y="443389"/>
                  </a:cubicBezTo>
                  <a:cubicBezTo>
                    <a:pt x="621791" y="439960"/>
                    <a:pt x="624553" y="437198"/>
                    <a:pt x="627982" y="437198"/>
                  </a:cubicBezTo>
                  <a:close/>
                  <a:moveTo>
                    <a:pt x="2716720" y="435483"/>
                  </a:moveTo>
                  <a:cubicBezTo>
                    <a:pt x="2720149" y="435483"/>
                    <a:pt x="2722911" y="438245"/>
                    <a:pt x="2722911" y="441674"/>
                  </a:cubicBezTo>
                  <a:cubicBezTo>
                    <a:pt x="2722911" y="445103"/>
                    <a:pt x="2720149" y="447865"/>
                    <a:pt x="2716720" y="447865"/>
                  </a:cubicBezTo>
                  <a:cubicBezTo>
                    <a:pt x="2713291" y="447865"/>
                    <a:pt x="2710529" y="445103"/>
                    <a:pt x="2710529" y="441674"/>
                  </a:cubicBezTo>
                  <a:cubicBezTo>
                    <a:pt x="2710529" y="438245"/>
                    <a:pt x="2713291" y="435483"/>
                    <a:pt x="2716720" y="435483"/>
                  </a:cubicBezTo>
                  <a:close/>
                  <a:moveTo>
                    <a:pt x="2653569" y="435483"/>
                  </a:moveTo>
                  <a:cubicBezTo>
                    <a:pt x="2656998" y="435483"/>
                    <a:pt x="2659760" y="438245"/>
                    <a:pt x="2659760" y="441674"/>
                  </a:cubicBezTo>
                  <a:cubicBezTo>
                    <a:pt x="2659760" y="445103"/>
                    <a:pt x="2656998" y="447865"/>
                    <a:pt x="2653569" y="447865"/>
                  </a:cubicBezTo>
                  <a:cubicBezTo>
                    <a:pt x="2650140" y="447865"/>
                    <a:pt x="2647378" y="445103"/>
                    <a:pt x="2647378" y="441674"/>
                  </a:cubicBezTo>
                  <a:cubicBezTo>
                    <a:pt x="2647378" y="438245"/>
                    <a:pt x="2650140" y="435483"/>
                    <a:pt x="2653569" y="435483"/>
                  </a:cubicBezTo>
                  <a:close/>
                  <a:moveTo>
                    <a:pt x="2746819" y="433769"/>
                  </a:moveTo>
                  <a:lnTo>
                    <a:pt x="2752438" y="439389"/>
                  </a:lnTo>
                  <a:lnTo>
                    <a:pt x="2757868" y="433959"/>
                  </a:lnTo>
                  <a:cubicBezTo>
                    <a:pt x="2761297" y="433959"/>
                    <a:pt x="2764059" y="436721"/>
                    <a:pt x="2764059" y="440150"/>
                  </a:cubicBezTo>
                  <a:cubicBezTo>
                    <a:pt x="2764059" y="443579"/>
                    <a:pt x="2761297" y="446341"/>
                    <a:pt x="2757868" y="446341"/>
                  </a:cubicBezTo>
                  <a:lnTo>
                    <a:pt x="2752249" y="440722"/>
                  </a:lnTo>
                  <a:lnTo>
                    <a:pt x="2746819" y="446152"/>
                  </a:lnTo>
                  <a:cubicBezTo>
                    <a:pt x="2743390" y="446152"/>
                    <a:pt x="2740628" y="443389"/>
                    <a:pt x="2740628" y="439960"/>
                  </a:cubicBezTo>
                  <a:cubicBezTo>
                    <a:pt x="2740628" y="436531"/>
                    <a:pt x="2743390" y="433769"/>
                    <a:pt x="2746819" y="433769"/>
                  </a:cubicBezTo>
                  <a:close/>
                  <a:moveTo>
                    <a:pt x="2733960" y="433483"/>
                  </a:moveTo>
                  <a:cubicBezTo>
                    <a:pt x="2737389" y="433483"/>
                    <a:pt x="2740151" y="436245"/>
                    <a:pt x="2740151" y="439674"/>
                  </a:cubicBezTo>
                  <a:cubicBezTo>
                    <a:pt x="2740151" y="443103"/>
                    <a:pt x="2737389" y="445865"/>
                    <a:pt x="2733960" y="445865"/>
                  </a:cubicBezTo>
                  <a:cubicBezTo>
                    <a:pt x="2730531" y="445865"/>
                    <a:pt x="2727769" y="443103"/>
                    <a:pt x="2727769" y="439674"/>
                  </a:cubicBezTo>
                  <a:cubicBezTo>
                    <a:pt x="2727769" y="436245"/>
                    <a:pt x="2730531" y="433483"/>
                    <a:pt x="2733960" y="433483"/>
                  </a:cubicBezTo>
                  <a:close/>
                  <a:moveTo>
                    <a:pt x="2487548" y="433388"/>
                  </a:moveTo>
                  <a:cubicBezTo>
                    <a:pt x="2490977" y="433388"/>
                    <a:pt x="2493739" y="436150"/>
                    <a:pt x="2493739" y="439579"/>
                  </a:cubicBezTo>
                  <a:cubicBezTo>
                    <a:pt x="2493739" y="443008"/>
                    <a:pt x="2490977" y="445770"/>
                    <a:pt x="2487548" y="445770"/>
                  </a:cubicBezTo>
                  <a:cubicBezTo>
                    <a:pt x="2484119" y="445770"/>
                    <a:pt x="2481357" y="443008"/>
                    <a:pt x="2481357" y="439579"/>
                  </a:cubicBezTo>
                  <a:cubicBezTo>
                    <a:pt x="2481357" y="436150"/>
                    <a:pt x="2484119" y="433388"/>
                    <a:pt x="2487548" y="433388"/>
                  </a:cubicBezTo>
                  <a:close/>
                  <a:moveTo>
                    <a:pt x="607313" y="433197"/>
                  </a:moveTo>
                  <a:cubicBezTo>
                    <a:pt x="610742" y="433197"/>
                    <a:pt x="613505" y="435959"/>
                    <a:pt x="613505" y="439388"/>
                  </a:cubicBezTo>
                  <a:cubicBezTo>
                    <a:pt x="613505" y="442817"/>
                    <a:pt x="610742" y="445579"/>
                    <a:pt x="607313" y="445579"/>
                  </a:cubicBezTo>
                  <a:cubicBezTo>
                    <a:pt x="603884" y="445579"/>
                    <a:pt x="601122" y="442817"/>
                    <a:pt x="601122" y="439388"/>
                  </a:cubicBezTo>
                  <a:cubicBezTo>
                    <a:pt x="601122" y="435959"/>
                    <a:pt x="603884" y="433197"/>
                    <a:pt x="607313" y="433197"/>
                  </a:cubicBezTo>
                  <a:close/>
                  <a:moveTo>
                    <a:pt x="592454" y="432626"/>
                  </a:moveTo>
                  <a:cubicBezTo>
                    <a:pt x="595883" y="432626"/>
                    <a:pt x="598645" y="435388"/>
                    <a:pt x="598645" y="438817"/>
                  </a:cubicBezTo>
                  <a:cubicBezTo>
                    <a:pt x="598645" y="442246"/>
                    <a:pt x="595883" y="445008"/>
                    <a:pt x="592454" y="445008"/>
                  </a:cubicBezTo>
                  <a:lnTo>
                    <a:pt x="586835" y="439389"/>
                  </a:lnTo>
                  <a:lnTo>
                    <a:pt x="580643" y="445580"/>
                  </a:lnTo>
                  <a:lnTo>
                    <a:pt x="574977" y="439913"/>
                  </a:lnTo>
                  <a:lnTo>
                    <a:pt x="569785" y="445104"/>
                  </a:lnTo>
                  <a:cubicBezTo>
                    <a:pt x="566356" y="445104"/>
                    <a:pt x="563594" y="442341"/>
                    <a:pt x="563594" y="438912"/>
                  </a:cubicBezTo>
                  <a:cubicBezTo>
                    <a:pt x="563594" y="435483"/>
                    <a:pt x="566356" y="432721"/>
                    <a:pt x="569785" y="432721"/>
                  </a:cubicBezTo>
                  <a:lnTo>
                    <a:pt x="575453" y="438388"/>
                  </a:lnTo>
                  <a:lnTo>
                    <a:pt x="580643" y="433197"/>
                  </a:lnTo>
                  <a:lnTo>
                    <a:pt x="586263" y="438817"/>
                  </a:lnTo>
                  <a:close/>
                  <a:moveTo>
                    <a:pt x="1444180" y="432435"/>
                  </a:moveTo>
                  <a:cubicBezTo>
                    <a:pt x="1447609" y="432435"/>
                    <a:pt x="1450372" y="435197"/>
                    <a:pt x="1450372" y="438626"/>
                  </a:cubicBezTo>
                  <a:cubicBezTo>
                    <a:pt x="1450372" y="442055"/>
                    <a:pt x="1447609" y="444817"/>
                    <a:pt x="1444180" y="444817"/>
                  </a:cubicBezTo>
                  <a:cubicBezTo>
                    <a:pt x="1440751" y="444817"/>
                    <a:pt x="1437989" y="442055"/>
                    <a:pt x="1437989" y="438626"/>
                  </a:cubicBezTo>
                  <a:cubicBezTo>
                    <a:pt x="1437989" y="435197"/>
                    <a:pt x="1440751" y="432435"/>
                    <a:pt x="1444180" y="432435"/>
                  </a:cubicBezTo>
                  <a:close/>
                  <a:moveTo>
                    <a:pt x="2769012" y="432340"/>
                  </a:moveTo>
                  <a:cubicBezTo>
                    <a:pt x="2772441" y="432340"/>
                    <a:pt x="2775203" y="435102"/>
                    <a:pt x="2775203" y="438531"/>
                  </a:cubicBezTo>
                  <a:cubicBezTo>
                    <a:pt x="2775203" y="441960"/>
                    <a:pt x="2772441" y="444722"/>
                    <a:pt x="2769012" y="444722"/>
                  </a:cubicBezTo>
                  <a:cubicBezTo>
                    <a:pt x="2765583" y="444722"/>
                    <a:pt x="2762821" y="441960"/>
                    <a:pt x="2762821" y="438531"/>
                  </a:cubicBezTo>
                  <a:cubicBezTo>
                    <a:pt x="2762821" y="435102"/>
                    <a:pt x="2765583" y="432340"/>
                    <a:pt x="2769012" y="432340"/>
                  </a:cubicBezTo>
                  <a:close/>
                  <a:moveTo>
                    <a:pt x="2801302" y="431959"/>
                  </a:moveTo>
                  <a:cubicBezTo>
                    <a:pt x="2804350" y="431959"/>
                    <a:pt x="2806826" y="434435"/>
                    <a:pt x="2806826" y="437483"/>
                  </a:cubicBezTo>
                  <a:cubicBezTo>
                    <a:pt x="2806826" y="440532"/>
                    <a:pt x="2804350" y="443008"/>
                    <a:pt x="2801302" y="443008"/>
                  </a:cubicBezTo>
                  <a:cubicBezTo>
                    <a:pt x="2798254" y="443008"/>
                    <a:pt x="2795777" y="440532"/>
                    <a:pt x="2795777" y="437483"/>
                  </a:cubicBezTo>
                  <a:cubicBezTo>
                    <a:pt x="2795777" y="434435"/>
                    <a:pt x="2798254" y="431959"/>
                    <a:pt x="2801302" y="431959"/>
                  </a:cubicBezTo>
                  <a:close/>
                  <a:moveTo>
                    <a:pt x="2607563" y="431102"/>
                  </a:moveTo>
                  <a:cubicBezTo>
                    <a:pt x="2610983" y="431102"/>
                    <a:pt x="2613755" y="433874"/>
                    <a:pt x="2613755" y="437293"/>
                  </a:cubicBezTo>
                  <a:cubicBezTo>
                    <a:pt x="2613755" y="440713"/>
                    <a:pt x="2610983" y="443485"/>
                    <a:pt x="2607563" y="443485"/>
                  </a:cubicBezTo>
                  <a:cubicBezTo>
                    <a:pt x="2604144" y="443485"/>
                    <a:pt x="2601372" y="440713"/>
                    <a:pt x="2601372" y="437293"/>
                  </a:cubicBezTo>
                  <a:cubicBezTo>
                    <a:pt x="2601372" y="433874"/>
                    <a:pt x="2604144" y="431102"/>
                    <a:pt x="2607563" y="431102"/>
                  </a:cubicBezTo>
                  <a:close/>
                  <a:moveTo>
                    <a:pt x="2552604" y="430054"/>
                  </a:moveTo>
                  <a:cubicBezTo>
                    <a:pt x="2556033" y="430054"/>
                    <a:pt x="2558796" y="432816"/>
                    <a:pt x="2558796" y="436245"/>
                  </a:cubicBezTo>
                  <a:cubicBezTo>
                    <a:pt x="2558796" y="439674"/>
                    <a:pt x="2556033" y="442436"/>
                    <a:pt x="2552604" y="442436"/>
                  </a:cubicBezTo>
                  <a:cubicBezTo>
                    <a:pt x="2549175" y="442436"/>
                    <a:pt x="2546413" y="439674"/>
                    <a:pt x="2546413" y="436245"/>
                  </a:cubicBezTo>
                  <a:cubicBezTo>
                    <a:pt x="2546413" y="432816"/>
                    <a:pt x="2549175" y="430054"/>
                    <a:pt x="2552604" y="430054"/>
                  </a:cubicBezTo>
                  <a:close/>
                  <a:moveTo>
                    <a:pt x="959834" y="429959"/>
                  </a:moveTo>
                  <a:cubicBezTo>
                    <a:pt x="963263" y="429959"/>
                    <a:pt x="966025" y="432721"/>
                    <a:pt x="966025" y="436150"/>
                  </a:cubicBezTo>
                  <a:cubicBezTo>
                    <a:pt x="966025" y="439579"/>
                    <a:pt x="963263" y="442341"/>
                    <a:pt x="959834" y="442341"/>
                  </a:cubicBezTo>
                  <a:cubicBezTo>
                    <a:pt x="956405" y="442341"/>
                    <a:pt x="953643" y="439579"/>
                    <a:pt x="953643" y="436150"/>
                  </a:cubicBezTo>
                  <a:cubicBezTo>
                    <a:pt x="953643" y="432721"/>
                    <a:pt x="956405" y="429959"/>
                    <a:pt x="959834" y="429959"/>
                  </a:cubicBezTo>
                  <a:close/>
                  <a:moveTo>
                    <a:pt x="557879" y="429863"/>
                  </a:moveTo>
                  <a:cubicBezTo>
                    <a:pt x="561212" y="429863"/>
                    <a:pt x="563880" y="432530"/>
                    <a:pt x="563880" y="435864"/>
                  </a:cubicBezTo>
                  <a:cubicBezTo>
                    <a:pt x="563880" y="439197"/>
                    <a:pt x="561212" y="441865"/>
                    <a:pt x="557879" y="441865"/>
                  </a:cubicBezTo>
                  <a:cubicBezTo>
                    <a:pt x="554545" y="441865"/>
                    <a:pt x="551878" y="439197"/>
                    <a:pt x="551878" y="435864"/>
                  </a:cubicBezTo>
                  <a:cubicBezTo>
                    <a:pt x="551878" y="432530"/>
                    <a:pt x="554545" y="429863"/>
                    <a:pt x="557879" y="429863"/>
                  </a:cubicBezTo>
                  <a:close/>
                  <a:moveTo>
                    <a:pt x="1842229" y="429006"/>
                  </a:moveTo>
                  <a:cubicBezTo>
                    <a:pt x="1845658" y="429006"/>
                    <a:pt x="1848421" y="431768"/>
                    <a:pt x="1848421" y="435197"/>
                  </a:cubicBezTo>
                  <a:cubicBezTo>
                    <a:pt x="1848421" y="438626"/>
                    <a:pt x="1845658" y="441389"/>
                    <a:pt x="1842229" y="441389"/>
                  </a:cubicBezTo>
                  <a:cubicBezTo>
                    <a:pt x="1838800" y="441389"/>
                    <a:pt x="1836038" y="438626"/>
                    <a:pt x="1836038" y="435197"/>
                  </a:cubicBezTo>
                  <a:cubicBezTo>
                    <a:pt x="1836038" y="431768"/>
                    <a:pt x="1838800" y="429006"/>
                    <a:pt x="1842229" y="429006"/>
                  </a:cubicBezTo>
                  <a:close/>
                  <a:moveTo>
                    <a:pt x="662368" y="428339"/>
                  </a:moveTo>
                  <a:cubicBezTo>
                    <a:pt x="665797" y="428339"/>
                    <a:pt x="668560" y="431101"/>
                    <a:pt x="668560" y="434530"/>
                  </a:cubicBezTo>
                  <a:cubicBezTo>
                    <a:pt x="668560" y="437959"/>
                    <a:pt x="665797" y="440721"/>
                    <a:pt x="662368" y="440721"/>
                  </a:cubicBezTo>
                  <a:cubicBezTo>
                    <a:pt x="658939" y="440721"/>
                    <a:pt x="656177" y="437959"/>
                    <a:pt x="656177" y="434530"/>
                  </a:cubicBezTo>
                  <a:cubicBezTo>
                    <a:pt x="656177" y="431101"/>
                    <a:pt x="658939" y="428339"/>
                    <a:pt x="662368" y="428339"/>
                  </a:cubicBezTo>
                  <a:close/>
                  <a:moveTo>
                    <a:pt x="2781871" y="427387"/>
                  </a:moveTo>
                  <a:cubicBezTo>
                    <a:pt x="2785300" y="427387"/>
                    <a:pt x="2788062" y="430149"/>
                    <a:pt x="2788062" y="433578"/>
                  </a:cubicBezTo>
                  <a:cubicBezTo>
                    <a:pt x="2788062" y="437007"/>
                    <a:pt x="2785300" y="439769"/>
                    <a:pt x="2781871" y="439769"/>
                  </a:cubicBezTo>
                  <a:cubicBezTo>
                    <a:pt x="2778442" y="439769"/>
                    <a:pt x="2775680" y="437007"/>
                    <a:pt x="2775680" y="433578"/>
                  </a:cubicBezTo>
                  <a:cubicBezTo>
                    <a:pt x="2775680" y="430149"/>
                    <a:pt x="2778442" y="427387"/>
                    <a:pt x="2781871" y="427387"/>
                  </a:cubicBezTo>
                  <a:close/>
                  <a:moveTo>
                    <a:pt x="1136618" y="427292"/>
                  </a:moveTo>
                  <a:cubicBezTo>
                    <a:pt x="1140047" y="427292"/>
                    <a:pt x="1142810" y="430054"/>
                    <a:pt x="1142810" y="433483"/>
                  </a:cubicBezTo>
                  <a:cubicBezTo>
                    <a:pt x="1142810" y="436912"/>
                    <a:pt x="1140047" y="439675"/>
                    <a:pt x="1136618" y="439675"/>
                  </a:cubicBezTo>
                  <a:cubicBezTo>
                    <a:pt x="1133189" y="439675"/>
                    <a:pt x="1130427" y="436912"/>
                    <a:pt x="1130427" y="433483"/>
                  </a:cubicBezTo>
                  <a:cubicBezTo>
                    <a:pt x="1130427" y="430054"/>
                    <a:pt x="1133189" y="427292"/>
                    <a:pt x="1136618" y="427292"/>
                  </a:cubicBezTo>
                  <a:close/>
                  <a:moveTo>
                    <a:pt x="1542954" y="426054"/>
                  </a:moveTo>
                  <a:cubicBezTo>
                    <a:pt x="1546383" y="426054"/>
                    <a:pt x="1549146" y="428816"/>
                    <a:pt x="1549146" y="432245"/>
                  </a:cubicBezTo>
                  <a:cubicBezTo>
                    <a:pt x="1549146" y="435674"/>
                    <a:pt x="1546383" y="438436"/>
                    <a:pt x="1542954" y="438436"/>
                  </a:cubicBezTo>
                  <a:cubicBezTo>
                    <a:pt x="1539525" y="438436"/>
                    <a:pt x="1536763" y="435674"/>
                    <a:pt x="1536763" y="432245"/>
                  </a:cubicBezTo>
                  <a:cubicBezTo>
                    <a:pt x="1536763" y="428816"/>
                    <a:pt x="1539525" y="426054"/>
                    <a:pt x="1542954" y="426054"/>
                  </a:cubicBezTo>
                  <a:close/>
                  <a:moveTo>
                    <a:pt x="2686049" y="425196"/>
                  </a:moveTo>
                  <a:cubicBezTo>
                    <a:pt x="2689478" y="425196"/>
                    <a:pt x="2692240" y="427958"/>
                    <a:pt x="2692240" y="431387"/>
                  </a:cubicBezTo>
                  <a:cubicBezTo>
                    <a:pt x="2692240" y="434816"/>
                    <a:pt x="2689478" y="437578"/>
                    <a:pt x="2686049" y="437578"/>
                  </a:cubicBezTo>
                  <a:cubicBezTo>
                    <a:pt x="2682620" y="437578"/>
                    <a:pt x="2679858" y="434816"/>
                    <a:pt x="2679858" y="431387"/>
                  </a:cubicBezTo>
                  <a:cubicBezTo>
                    <a:pt x="2679858" y="427958"/>
                    <a:pt x="2682620" y="425196"/>
                    <a:pt x="2686049" y="425196"/>
                  </a:cubicBezTo>
                  <a:close/>
                  <a:moveTo>
                    <a:pt x="1742884" y="424339"/>
                  </a:moveTo>
                  <a:cubicBezTo>
                    <a:pt x="1746304" y="424339"/>
                    <a:pt x="1749076" y="427111"/>
                    <a:pt x="1749076" y="430530"/>
                  </a:cubicBezTo>
                  <a:cubicBezTo>
                    <a:pt x="1749076" y="433950"/>
                    <a:pt x="1746304" y="436722"/>
                    <a:pt x="1742884" y="436722"/>
                  </a:cubicBezTo>
                  <a:cubicBezTo>
                    <a:pt x="1739465" y="436722"/>
                    <a:pt x="1736693" y="433950"/>
                    <a:pt x="1736693" y="430530"/>
                  </a:cubicBezTo>
                  <a:cubicBezTo>
                    <a:pt x="1736693" y="427111"/>
                    <a:pt x="1739465" y="424339"/>
                    <a:pt x="1742884" y="424339"/>
                  </a:cubicBezTo>
                  <a:close/>
                  <a:moveTo>
                    <a:pt x="2797683" y="424244"/>
                  </a:moveTo>
                  <a:lnTo>
                    <a:pt x="2797778" y="424244"/>
                  </a:lnTo>
                  <a:lnTo>
                    <a:pt x="2797778" y="424339"/>
                  </a:lnTo>
                  <a:close/>
                  <a:moveTo>
                    <a:pt x="563308" y="424244"/>
                  </a:moveTo>
                  <a:cubicBezTo>
                    <a:pt x="563403" y="424244"/>
                    <a:pt x="563498" y="424339"/>
                    <a:pt x="563498" y="424435"/>
                  </a:cubicBezTo>
                  <a:cubicBezTo>
                    <a:pt x="563498" y="424530"/>
                    <a:pt x="563308" y="424625"/>
                    <a:pt x="563308" y="424625"/>
                  </a:cubicBezTo>
                  <a:cubicBezTo>
                    <a:pt x="563212" y="424625"/>
                    <a:pt x="563117" y="424530"/>
                    <a:pt x="563117" y="424435"/>
                  </a:cubicBezTo>
                  <a:cubicBezTo>
                    <a:pt x="563117" y="424339"/>
                    <a:pt x="563212" y="424244"/>
                    <a:pt x="563308" y="424244"/>
                  </a:cubicBezTo>
                  <a:close/>
                  <a:moveTo>
                    <a:pt x="1642871" y="423386"/>
                  </a:moveTo>
                  <a:cubicBezTo>
                    <a:pt x="1646300" y="423386"/>
                    <a:pt x="1649063" y="426148"/>
                    <a:pt x="1649063" y="429577"/>
                  </a:cubicBezTo>
                  <a:cubicBezTo>
                    <a:pt x="1649063" y="433006"/>
                    <a:pt x="1646300" y="435769"/>
                    <a:pt x="1642871" y="435769"/>
                  </a:cubicBezTo>
                  <a:cubicBezTo>
                    <a:pt x="1639442" y="435769"/>
                    <a:pt x="1636680" y="433006"/>
                    <a:pt x="1636680" y="429577"/>
                  </a:cubicBezTo>
                  <a:cubicBezTo>
                    <a:pt x="1636680" y="426148"/>
                    <a:pt x="1639442" y="423386"/>
                    <a:pt x="1642871" y="423386"/>
                  </a:cubicBezTo>
                  <a:close/>
                  <a:moveTo>
                    <a:pt x="2738627" y="423006"/>
                  </a:moveTo>
                  <a:lnTo>
                    <a:pt x="2744675" y="429054"/>
                  </a:lnTo>
                  <a:lnTo>
                    <a:pt x="2750343" y="423386"/>
                  </a:lnTo>
                  <a:cubicBezTo>
                    <a:pt x="2753772" y="423386"/>
                    <a:pt x="2756534" y="426148"/>
                    <a:pt x="2756534" y="429577"/>
                  </a:cubicBezTo>
                  <a:cubicBezTo>
                    <a:pt x="2756534" y="433006"/>
                    <a:pt x="2753772" y="435769"/>
                    <a:pt x="2750343" y="435769"/>
                  </a:cubicBezTo>
                  <a:lnTo>
                    <a:pt x="2744295" y="429721"/>
                  </a:lnTo>
                  <a:lnTo>
                    <a:pt x="2738627" y="435388"/>
                  </a:lnTo>
                  <a:cubicBezTo>
                    <a:pt x="2735198" y="435388"/>
                    <a:pt x="2732436" y="432626"/>
                    <a:pt x="2732436" y="429197"/>
                  </a:cubicBezTo>
                  <a:cubicBezTo>
                    <a:pt x="2732436" y="425768"/>
                    <a:pt x="2735198" y="423006"/>
                    <a:pt x="2738627" y="423006"/>
                  </a:cubicBezTo>
                  <a:close/>
                  <a:moveTo>
                    <a:pt x="588644" y="422625"/>
                  </a:moveTo>
                  <a:cubicBezTo>
                    <a:pt x="592073" y="422625"/>
                    <a:pt x="594835" y="425387"/>
                    <a:pt x="594835" y="428816"/>
                  </a:cubicBezTo>
                  <a:cubicBezTo>
                    <a:pt x="594835" y="432245"/>
                    <a:pt x="592073" y="435007"/>
                    <a:pt x="588644" y="435007"/>
                  </a:cubicBezTo>
                  <a:cubicBezTo>
                    <a:pt x="585215" y="435007"/>
                    <a:pt x="582453" y="432245"/>
                    <a:pt x="582453" y="428816"/>
                  </a:cubicBezTo>
                  <a:cubicBezTo>
                    <a:pt x="582453" y="425387"/>
                    <a:pt x="585215" y="422625"/>
                    <a:pt x="588644" y="422625"/>
                  </a:cubicBezTo>
                  <a:close/>
                  <a:moveTo>
                    <a:pt x="576643" y="422053"/>
                  </a:moveTo>
                  <a:cubicBezTo>
                    <a:pt x="580072" y="422053"/>
                    <a:pt x="582834" y="424815"/>
                    <a:pt x="582834" y="428244"/>
                  </a:cubicBezTo>
                  <a:cubicBezTo>
                    <a:pt x="582834" y="431673"/>
                    <a:pt x="580072" y="434435"/>
                    <a:pt x="576643" y="434435"/>
                  </a:cubicBezTo>
                  <a:cubicBezTo>
                    <a:pt x="573214" y="434435"/>
                    <a:pt x="570452" y="431673"/>
                    <a:pt x="570452" y="428244"/>
                  </a:cubicBezTo>
                  <a:cubicBezTo>
                    <a:pt x="570452" y="424815"/>
                    <a:pt x="573214" y="422053"/>
                    <a:pt x="576643" y="422053"/>
                  </a:cubicBezTo>
                  <a:close/>
                  <a:moveTo>
                    <a:pt x="634936" y="421767"/>
                  </a:moveTo>
                  <a:cubicBezTo>
                    <a:pt x="638365" y="421767"/>
                    <a:pt x="641127" y="424529"/>
                    <a:pt x="641127" y="427958"/>
                  </a:cubicBezTo>
                  <a:cubicBezTo>
                    <a:pt x="641127" y="431387"/>
                    <a:pt x="638365" y="434149"/>
                    <a:pt x="634936" y="434149"/>
                  </a:cubicBezTo>
                  <a:cubicBezTo>
                    <a:pt x="631507" y="434149"/>
                    <a:pt x="628745" y="431387"/>
                    <a:pt x="628745" y="427958"/>
                  </a:cubicBezTo>
                  <a:cubicBezTo>
                    <a:pt x="628745" y="424529"/>
                    <a:pt x="631507" y="421767"/>
                    <a:pt x="634936" y="421767"/>
                  </a:cubicBezTo>
                  <a:close/>
                  <a:moveTo>
                    <a:pt x="2725578" y="421672"/>
                  </a:moveTo>
                  <a:cubicBezTo>
                    <a:pt x="2729007" y="421672"/>
                    <a:pt x="2731769" y="424434"/>
                    <a:pt x="2731769" y="427863"/>
                  </a:cubicBezTo>
                  <a:cubicBezTo>
                    <a:pt x="2731769" y="431292"/>
                    <a:pt x="2729007" y="434055"/>
                    <a:pt x="2725578" y="434055"/>
                  </a:cubicBezTo>
                  <a:cubicBezTo>
                    <a:pt x="2722149" y="434055"/>
                    <a:pt x="2719387" y="431292"/>
                    <a:pt x="2719387" y="427863"/>
                  </a:cubicBezTo>
                  <a:cubicBezTo>
                    <a:pt x="2719387" y="424434"/>
                    <a:pt x="2722149" y="421672"/>
                    <a:pt x="2725578" y="421672"/>
                  </a:cubicBezTo>
                  <a:close/>
                  <a:moveTo>
                    <a:pt x="2709005" y="421577"/>
                  </a:moveTo>
                  <a:cubicBezTo>
                    <a:pt x="2712434" y="421577"/>
                    <a:pt x="2715196" y="424339"/>
                    <a:pt x="2715196" y="427768"/>
                  </a:cubicBezTo>
                  <a:cubicBezTo>
                    <a:pt x="2715196" y="431197"/>
                    <a:pt x="2712434" y="433959"/>
                    <a:pt x="2709005" y="433959"/>
                  </a:cubicBezTo>
                  <a:cubicBezTo>
                    <a:pt x="2705576" y="433959"/>
                    <a:pt x="2702814" y="431197"/>
                    <a:pt x="2702814" y="427768"/>
                  </a:cubicBezTo>
                  <a:cubicBezTo>
                    <a:pt x="2702814" y="424339"/>
                    <a:pt x="2705576" y="421577"/>
                    <a:pt x="2709005" y="421577"/>
                  </a:cubicBezTo>
                  <a:close/>
                  <a:moveTo>
                    <a:pt x="600836" y="421482"/>
                  </a:moveTo>
                  <a:cubicBezTo>
                    <a:pt x="604265" y="421482"/>
                    <a:pt x="607027" y="424244"/>
                    <a:pt x="607027" y="427673"/>
                  </a:cubicBezTo>
                  <a:cubicBezTo>
                    <a:pt x="607027" y="431102"/>
                    <a:pt x="604265" y="433864"/>
                    <a:pt x="600836" y="433864"/>
                  </a:cubicBezTo>
                  <a:cubicBezTo>
                    <a:pt x="597407" y="433864"/>
                    <a:pt x="594645" y="431102"/>
                    <a:pt x="594645" y="427673"/>
                  </a:cubicBezTo>
                  <a:cubicBezTo>
                    <a:pt x="594645" y="424244"/>
                    <a:pt x="597407" y="421482"/>
                    <a:pt x="600836" y="421482"/>
                  </a:cubicBezTo>
                  <a:close/>
                  <a:moveTo>
                    <a:pt x="703420" y="421386"/>
                  </a:moveTo>
                  <a:cubicBezTo>
                    <a:pt x="706849" y="421386"/>
                    <a:pt x="709612" y="424148"/>
                    <a:pt x="709612" y="427577"/>
                  </a:cubicBezTo>
                  <a:cubicBezTo>
                    <a:pt x="709612" y="431006"/>
                    <a:pt x="706849" y="433768"/>
                    <a:pt x="703420" y="433768"/>
                  </a:cubicBezTo>
                  <a:cubicBezTo>
                    <a:pt x="699991" y="433768"/>
                    <a:pt x="697229" y="431006"/>
                    <a:pt x="697229" y="427577"/>
                  </a:cubicBezTo>
                  <a:cubicBezTo>
                    <a:pt x="697229" y="424148"/>
                    <a:pt x="699991" y="421386"/>
                    <a:pt x="703420" y="421386"/>
                  </a:cubicBezTo>
                  <a:close/>
                  <a:moveTo>
                    <a:pt x="2762821" y="421291"/>
                  </a:moveTo>
                  <a:cubicBezTo>
                    <a:pt x="2766250" y="421291"/>
                    <a:pt x="2769012" y="424053"/>
                    <a:pt x="2769012" y="427482"/>
                  </a:cubicBezTo>
                  <a:cubicBezTo>
                    <a:pt x="2769012" y="430911"/>
                    <a:pt x="2766250" y="433673"/>
                    <a:pt x="2762821" y="433673"/>
                  </a:cubicBezTo>
                  <a:cubicBezTo>
                    <a:pt x="2759392" y="433673"/>
                    <a:pt x="2756630" y="430911"/>
                    <a:pt x="2756630" y="427482"/>
                  </a:cubicBezTo>
                  <a:cubicBezTo>
                    <a:pt x="2756630" y="424053"/>
                    <a:pt x="2759392" y="421291"/>
                    <a:pt x="2762821" y="421291"/>
                  </a:cubicBezTo>
                  <a:close/>
                  <a:moveTo>
                    <a:pt x="615409" y="420434"/>
                  </a:moveTo>
                  <a:cubicBezTo>
                    <a:pt x="618838" y="420434"/>
                    <a:pt x="621601" y="423196"/>
                    <a:pt x="621601" y="426625"/>
                  </a:cubicBezTo>
                  <a:cubicBezTo>
                    <a:pt x="621601" y="430054"/>
                    <a:pt x="618838" y="432816"/>
                    <a:pt x="615409" y="432816"/>
                  </a:cubicBezTo>
                  <a:cubicBezTo>
                    <a:pt x="611980" y="432816"/>
                    <a:pt x="609218" y="430054"/>
                    <a:pt x="609218" y="426625"/>
                  </a:cubicBezTo>
                  <a:cubicBezTo>
                    <a:pt x="609218" y="423196"/>
                    <a:pt x="611980" y="420434"/>
                    <a:pt x="615409" y="420434"/>
                  </a:cubicBezTo>
                  <a:close/>
                  <a:moveTo>
                    <a:pt x="879252" y="420338"/>
                  </a:moveTo>
                  <a:cubicBezTo>
                    <a:pt x="882681" y="420338"/>
                    <a:pt x="885443" y="423100"/>
                    <a:pt x="885443" y="426529"/>
                  </a:cubicBezTo>
                  <a:cubicBezTo>
                    <a:pt x="885443" y="429958"/>
                    <a:pt x="882681" y="432720"/>
                    <a:pt x="879252" y="432720"/>
                  </a:cubicBezTo>
                  <a:cubicBezTo>
                    <a:pt x="875823" y="432720"/>
                    <a:pt x="873061" y="429958"/>
                    <a:pt x="873061" y="426529"/>
                  </a:cubicBezTo>
                  <a:cubicBezTo>
                    <a:pt x="873061" y="423100"/>
                    <a:pt x="875823" y="420338"/>
                    <a:pt x="879252" y="420338"/>
                  </a:cubicBezTo>
                  <a:close/>
                  <a:moveTo>
                    <a:pt x="2338006" y="419672"/>
                  </a:moveTo>
                  <a:cubicBezTo>
                    <a:pt x="2341435" y="419672"/>
                    <a:pt x="2344198" y="422434"/>
                    <a:pt x="2344198" y="425863"/>
                  </a:cubicBezTo>
                  <a:cubicBezTo>
                    <a:pt x="2344198" y="429292"/>
                    <a:pt x="2341435" y="432054"/>
                    <a:pt x="2338006" y="432054"/>
                  </a:cubicBezTo>
                  <a:cubicBezTo>
                    <a:pt x="2334577" y="432054"/>
                    <a:pt x="2331815" y="429292"/>
                    <a:pt x="2331815" y="425863"/>
                  </a:cubicBezTo>
                  <a:cubicBezTo>
                    <a:pt x="2331815" y="422434"/>
                    <a:pt x="2334577" y="419672"/>
                    <a:pt x="2338006" y="419672"/>
                  </a:cubicBezTo>
                  <a:close/>
                  <a:moveTo>
                    <a:pt x="2155888" y="419196"/>
                  </a:moveTo>
                  <a:cubicBezTo>
                    <a:pt x="2159317" y="419196"/>
                    <a:pt x="2162080" y="421958"/>
                    <a:pt x="2162080" y="425387"/>
                  </a:cubicBezTo>
                  <a:cubicBezTo>
                    <a:pt x="2162080" y="428816"/>
                    <a:pt x="2159317" y="431578"/>
                    <a:pt x="2155888" y="431578"/>
                  </a:cubicBezTo>
                  <a:cubicBezTo>
                    <a:pt x="2152459" y="431578"/>
                    <a:pt x="2149697" y="428816"/>
                    <a:pt x="2149697" y="425387"/>
                  </a:cubicBezTo>
                  <a:cubicBezTo>
                    <a:pt x="2149697" y="421958"/>
                    <a:pt x="2152459" y="419196"/>
                    <a:pt x="2155888" y="419196"/>
                  </a:cubicBezTo>
                  <a:close/>
                  <a:moveTo>
                    <a:pt x="752379" y="417100"/>
                  </a:moveTo>
                  <a:cubicBezTo>
                    <a:pt x="755808" y="417100"/>
                    <a:pt x="758571" y="419862"/>
                    <a:pt x="758571" y="423291"/>
                  </a:cubicBezTo>
                  <a:cubicBezTo>
                    <a:pt x="758571" y="426720"/>
                    <a:pt x="755808" y="429483"/>
                    <a:pt x="752379" y="429483"/>
                  </a:cubicBezTo>
                  <a:cubicBezTo>
                    <a:pt x="748950" y="429483"/>
                    <a:pt x="746188" y="426720"/>
                    <a:pt x="746188" y="423291"/>
                  </a:cubicBezTo>
                  <a:cubicBezTo>
                    <a:pt x="746188" y="419862"/>
                    <a:pt x="748950" y="417100"/>
                    <a:pt x="752379" y="417100"/>
                  </a:cubicBezTo>
                  <a:close/>
                  <a:moveTo>
                    <a:pt x="810577" y="416433"/>
                  </a:moveTo>
                  <a:cubicBezTo>
                    <a:pt x="814006" y="416433"/>
                    <a:pt x="816769" y="419195"/>
                    <a:pt x="816769" y="422624"/>
                  </a:cubicBezTo>
                  <a:cubicBezTo>
                    <a:pt x="816769" y="426053"/>
                    <a:pt x="814006" y="428815"/>
                    <a:pt x="810577" y="428815"/>
                  </a:cubicBezTo>
                  <a:cubicBezTo>
                    <a:pt x="807148" y="428815"/>
                    <a:pt x="804386" y="426053"/>
                    <a:pt x="804386" y="422624"/>
                  </a:cubicBezTo>
                  <a:cubicBezTo>
                    <a:pt x="804386" y="419195"/>
                    <a:pt x="807148" y="416433"/>
                    <a:pt x="810577" y="416433"/>
                  </a:cubicBezTo>
                  <a:close/>
                  <a:moveTo>
                    <a:pt x="2649664" y="416148"/>
                  </a:moveTo>
                  <a:cubicBezTo>
                    <a:pt x="2653083" y="416148"/>
                    <a:pt x="2655855" y="418920"/>
                    <a:pt x="2655855" y="422339"/>
                  </a:cubicBezTo>
                  <a:cubicBezTo>
                    <a:pt x="2655855" y="425759"/>
                    <a:pt x="2653083" y="428531"/>
                    <a:pt x="2649664" y="428531"/>
                  </a:cubicBezTo>
                  <a:cubicBezTo>
                    <a:pt x="2646245" y="428531"/>
                    <a:pt x="2643473" y="425759"/>
                    <a:pt x="2643473" y="422339"/>
                  </a:cubicBezTo>
                  <a:cubicBezTo>
                    <a:pt x="2643473" y="418920"/>
                    <a:pt x="2646245" y="416148"/>
                    <a:pt x="2649664" y="416148"/>
                  </a:cubicBezTo>
                  <a:close/>
                  <a:moveTo>
                    <a:pt x="2777299" y="415290"/>
                  </a:moveTo>
                  <a:cubicBezTo>
                    <a:pt x="2780728" y="415290"/>
                    <a:pt x="2783491" y="418052"/>
                    <a:pt x="2783491" y="421481"/>
                  </a:cubicBezTo>
                  <a:cubicBezTo>
                    <a:pt x="2783491" y="424910"/>
                    <a:pt x="2780728" y="427672"/>
                    <a:pt x="2777299" y="427672"/>
                  </a:cubicBezTo>
                  <a:cubicBezTo>
                    <a:pt x="2773870" y="427672"/>
                    <a:pt x="2771108" y="424910"/>
                    <a:pt x="2771108" y="421481"/>
                  </a:cubicBezTo>
                  <a:cubicBezTo>
                    <a:pt x="2771108" y="418052"/>
                    <a:pt x="2773870" y="415290"/>
                    <a:pt x="2777299" y="415290"/>
                  </a:cubicBezTo>
                  <a:close/>
                  <a:moveTo>
                    <a:pt x="2743580" y="413004"/>
                  </a:moveTo>
                  <a:cubicBezTo>
                    <a:pt x="2747009" y="413004"/>
                    <a:pt x="2749771" y="415766"/>
                    <a:pt x="2749771" y="419195"/>
                  </a:cubicBezTo>
                  <a:cubicBezTo>
                    <a:pt x="2749771" y="422624"/>
                    <a:pt x="2747009" y="425387"/>
                    <a:pt x="2743580" y="425387"/>
                  </a:cubicBezTo>
                  <a:cubicBezTo>
                    <a:pt x="2740151" y="425387"/>
                    <a:pt x="2737389" y="422624"/>
                    <a:pt x="2737389" y="419195"/>
                  </a:cubicBezTo>
                  <a:cubicBezTo>
                    <a:pt x="2737389" y="415766"/>
                    <a:pt x="2740151" y="413004"/>
                    <a:pt x="2743580" y="413004"/>
                  </a:cubicBezTo>
                  <a:close/>
                  <a:moveTo>
                    <a:pt x="2730817" y="412814"/>
                  </a:moveTo>
                  <a:cubicBezTo>
                    <a:pt x="2734246" y="412814"/>
                    <a:pt x="2737009" y="415576"/>
                    <a:pt x="2737009" y="419005"/>
                  </a:cubicBezTo>
                  <a:cubicBezTo>
                    <a:pt x="2737009" y="422434"/>
                    <a:pt x="2734246" y="425196"/>
                    <a:pt x="2730817" y="425196"/>
                  </a:cubicBezTo>
                  <a:cubicBezTo>
                    <a:pt x="2727388" y="425196"/>
                    <a:pt x="2724626" y="422434"/>
                    <a:pt x="2724626" y="419005"/>
                  </a:cubicBezTo>
                  <a:cubicBezTo>
                    <a:pt x="2724626" y="415576"/>
                    <a:pt x="2727388" y="412814"/>
                    <a:pt x="2730817" y="412814"/>
                  </a:cubicBezTo>
                  <a:close/>
                  <a:moveTo>
                    <a:pt x="595978" y="412528"/>
                  </a:moveTo>
                  <a:cubicBezTo>
                    <a:pt x="599407" y="412528"/>
                    <a:pt x="602170" y="415290"/>
                    <a:pt x="602170" y="418719"/>
                  </a:cubicBezTo>
                  <a:cubicBezTo>
                    <a:pt x="602170" y="422148"/>
                    <a:pt x="599407" y="424910"/>
                    <a:pt x="595978" y="424910"/>
                  </a:cubicBezTo>
                  <a:cubicBezTo>
                    <a:pt x="592549" y="424910"/>
                    <a:pt x="589787" y="422148"/>
                    <a:pt x="589787" y="418719"/>
                  </a:cubicBezTo>
                  <a:cubicBezTo>
                    <a:pt x="589787" y="415290"/>
                    <a:pt x="592549" y="412528"/>
                    <a:pt x="595978" y="412528"/>
                  </a:cubicBezTo>
                  <a:close/>
                  <a:moveTo>
                    <a:pt x="582834" y="411385"/>
                  </a:moveTo>
                  <a:cubicBezTo>
                    <a:pt x="586263" y="411385"/>
                    <a:pt x="589025" y="414147"/>
                    <a:pt x="589025" y="417576"/>
                  </a:cubicBezTo>
                  <a:cubicBezTo>
                    <a:pt x="589025" y="421005"/>
                    <a:pt x="586263" y="423767"/>
                    <a:pt x="582834" y="423767"/>
                  </a:cubicBezTo>
                  <a:cubicBezTo>
                    <a:pt x="579405" y="423767"/>
                    <a:pt x="576643" y="421005"/>
                    <a:pt x="576643" y="417576"/>
                  </a:cubicBezTo>
                  <a:cubicBezTo>
                    <a:pt x="576643" y="414147"/>
                    <a:pt x="579405" y="411385"/>
                    <a:pt x="582834" y="411385"/>
                  </a:cubicBezTo>
                  <a:close/>
                  <a:moveTo>
                    <a:pt x="667607" y="411290"/>
                  </a:moveTo>
                  <a:cubicBezTo>
                    <a:pt x="671036" y="411290"/>
                    <a:pt x="673798" y="414052"/>
                    <a:pt x="673798" y="417481"/>
                  </a:cubicBezTo>
                  <a:cubicBezTo>
                    <a:pt x="673798" y="420910"/>
                    <a:pt x="671036" y="423673"/>
                    <a:pt x="667607" y="423673"/>
                  </a:cubicBezTo>
                  <a:cubicBezTo>
                    <a:pt x="664178" y="423673"/>
                    <a:pt x="661416" y="420910"/>
                    <a:pt x="661416" y="417481"/>
                  </a:cubicBezTo>
                  <a:cubicBezTo>
                    <a:pt x="661416" y="414052"/>
                    <a:pt x="664178" y="411290"/>
                    <a:pt x="667607" y="411290"/>
                  </a:cubicBezTo>
                  <a:close/>
                  <a:moveTo>
                    <a:pt x="608837" y="411099"/>
                  </a:moveTo>
                  <a:cubicBezTo>
                    <a:pt x="612266" y="411099"/>
                    <a:pt x="615028" y="413861"/>
                    <a:pt x="615028" y="417290"/>
                  </a:cubicBezTo>
                  <a:cubicBezTo>
                    <a:pt x="615028" y="420719"/>
                    <a:pt x="612266" y="423481"/>
                    <a:pt x="608837" y="423481"/>
                  </a:cubicBezTo>
                  <a:cubicBezTo>
                    <a:pt x="605408" y="423481"/>
                    <a:pt x="602646" y="420719"/>
                    <a:pt x="602646" y="417290"/>
                  </a:cubicBezTo>
                  <a:cubicBezTo>
                    <a:pt x="602646" y="413861"/>
                    <a:pt x="605408" y="411099"/>
                    <a:pt x="608837" y="411099"/>
                  </a:cubicBezTo>
                  <a:close/>
                  <a:moveTo>
                    <a:pt x="2717482" y="410813"/>
                  </a:moveTo>
                  <a:cubicBezTo>
                    <a:pt x="2720911" y="410813"/>
                    <a:pt x="2723674" y="413575"/>
                    <a:pt x="2723674" y="417004"/>
                  </a:cubicBezTo>
                  <a:cubicBezTo>
                    <a:pt x="2723674" y="420433"/>
                    <a:pt x="2720911" y="423195"/>
                    <a:pt x="2717482" y="423195"/>
                  </a:cubicBezTo>
                  <a:cubicBezTo>
                    <a:pt x="2714053" y="423195"/>
                    <a:pt x="2711291" y="420433"/>
                    <a:pt x="2711291" y="417004"/>
                  </a:cubicBezTo>
                  <a:cubicBezTo>
                    <a:pt x="2711291" y="413575"/>
                    <a:pt x="2714053" y="410813"/>
                    <a:pt x="2717482" y="410813"/>
                  </a:cubicBezTo>
                  <a:close/>
                  <a:moveTo>
                    <a:pt x="1223009" y="410528"/>
                  </a:moveTo>
                  <a:cubicBezTo>
                    <a:pt x="1226438" y="410528"/>
                    <a:pt x="1229201" y="413290"/>
                    <a:pt x="1229201" y="416719"/>
                  </a:cubicBezTo>
                  <a:cubicBezTo>
                    <a:pt x="1229201" y="420148"/>
                    <a:pt x="1226438" y="422910"/>
                    <a:pt x="1223009" y="422910"/>
                  </a:cubicBezTo>
                  <a:cubicBezTo>
                    <a:pt x="1219580" y="422910"/>
                    <a:pt x="1216818" y="420148"/>
                    <a:pt x="1216818" y="416719"/>
                  </a:cubicBezTo>
                  <a:cubicBezTo>
                    <a:pt x="1216818" y="413290"/>
                    <a:pt x="1219580" y="410528"/>
                    <a:pt x="1223009" y="410528"/>
                  </a:cubicBezTo>
                  <a:close/>
                  <a:moveTo>
                    <a:pt x="2757391" y="410147"/>
                  </a:moveTo>
                  <a:cubicBezTo>
                    <a:pt x="2760820" y="410147"/>
                    <a:pt x="2763583" y="412909"/>
                    <a:pt x="2763583" y="416338"/>
                  </a:cubicBezTo>
                  <a:cubicBezTo>
                    <a:pt x="2763583" y="419767"/>
                    <a:pt x="2760820" y="422529"/>
                    <a:pt x="2757391" y="422529"/>
                  </a:cubicBezTo>
                  <a:cubicBezTo>
                    <a:pt x="2753962" y="422529"/>
                    <a:pt x="2751200" y="419767"/>
                    <a:pt x="2751200" y="416338"/>
                  </a:cubicBezTo>
                  <a:cubicBezTo>
                    <a:pt x="2751200" y="412909"/>
                    <a:pt x="2753962" y="410147"/>
                    <a:pt x="2757391" y="410147"/>
                  </a:cubicBezTo>
                  <a:close/>
                  <a:moveTo>
                    <a:pt x="2679763" y="409956"/>
                  </a:moveTo>
                  <a:cubicBezTo>
                    <a:pt x="2683192" y="409956"/>
                    <a:pt x="2685954" y="412718"/>
                    <a:pt x="2685954" y="416147"/>
                  </a:cubicBezTo>
                  <a:cubicBezTo>
                    <a:pt x="2685954" y="419576"/>
                    <a:pt x="2683192" y="422339"/>
                    <a:pt x="2679763" y="422339"/>
                  </a:cubicBezTo>
                  <a:cubicBezTo>
                    <a:pt x="2676334" y="422339"/>
                    <a:pt x="2673572" y="419576"/>
                    <a:pt x="2673572" y="416147"/>
                  </a:cubicBezTo>
                  <a:cubicBezTo>
                    <a:pt x="2673572" y="412718"/>
                    <a:pt x="2676334" y="409956"/>
                    <a:pt x="2679763" y="409956"/>
                  </a:cubicBezTo>
                  <a:close/>
                  <a:moveTo>
                    <a:pt x="2422016" y="409289"/>
                  </a:moveTo>
                  <a:cubicBezTo>
                    <a:pt x="2425445" y="409289"/>
                    <a:pt x="2428207" y="412051"/>
                    <a:pt x="2428207" y="415480"/>
                  </a:cubicBezTo>
                  <a:cubicBezTo>
                    <a:pt x="2428207" y="418909"/>
                    <a:pt x="2425445" y="421671"/>
                    <a:pt x="2422016" y="421671"/>
                  </a:cubicBezTo>
                  <a:cubicBezTo>
                    <a:pt x="2418587" y="421671"/>
                    <a:pt x="2415825" y="418909"/>
                    <a:pt x="2415825" y="415480"/>
                  </a:cubicBezTo>
                  <a:cubicBezTo>
                    <a:pt x="2415825" y="412051"/>
                    <a:pt x="2418587" y="409289"/>
                    <a:pt x="2422016" y="409289"/>
                  </a:cubicBezTo>
                  <a:close/>
                  <a:moveTo>
                    <a:pt x="2606325" y="409194"/>
                  </a:moveTo>
                  <a:cubicBezTo>
                    <a:pt x="2609754" y="409194"/>
                    <a:pt x="2612516" y="411956"/>
                    <a:pt x="2612516" y="415385"/>
                  </a:cubicBezTo>
                  <a:cubicBezTo>
                    <a:pt x="2612516" y="418814"/>
                    <a:pt x="2609754" y="421576"/>
                    <a:pt x="2606325" y="421576"/>
                  </a:cubicBezTo>
                  <a:cubicBezTo>
                    <a:pt x="2602896" y="421576"/>
                    <a:pt x="2600134" y="418814"/>
                    <a:pt x="2600134" y="415385"/>
                  </a:cubicBezTo>
                  <a:cubicBezTo>
                    <a:pt x="2600134" y="411956"/>
                    <a:pt x="2602896" y="409194"/>
                    <a:pt x="2606325" y="409194"/>
                  </a:cubicBezTo>
                  <a:close/>
                  <a:moveTo>
                    <a:pt x="2701289" y="409099"/>
                  </a:moveTo>
                  <a:cubicBezTo>
                    <a:pt x="2704718" y="409099"/>
                    <a:pt x="2707480" y="411861"/>
                    <a:pt x="2707480" y="415290"/>
                  </a:cubicBezTo>
                  <a:cubicBezTo>
                    <a:pt x="2707480" y="418719"/>
                    <a:pt x="2704718" y="421482"/>
                    <a:pt x="2701289" y="421482"/>
                  </a:cubicBezTo>
                  <a:cubicBezTo>
                    <a:pt x="2697860" y="421482"/>
                    <a:pt x="2695098" y="418719"/>
                    <a:pt x="2695098" y="415290"/>
                  </a:cubicBezTo>
                  <a:cubicBezTo>
                    <a:pt x="2695098" y="411861"/>
                    <a:pt x="2697860" y="409099"/>
                    <a:pt x="2701289" y="409099"/>
                  </a:cubicBezTo>
                  <a:close/>
                  <a:moveTo>
                    <a:pt x="623411" y="409004"/>
                  </a:moveTo>
                  <a:cubicBezTo>
                    <a:pt x="626840" y="409004"/>
                    <a:pt x="629602" y="411766"/>
                    <a:pt x="629602" y="415195"/>
                  </a:cubicBezTo>
                  <a:cubicBezTo>
                    <a:pt x="629602" y="418624"/>
                    <a:pt x="626840" y="421386"/>
                    <a:pt x="623411" y="421386"/>
                  </a:cubicBezTo>
                  <a:cubicBezTo>
                    <a:pt x="619982" y="421386"/>
                    <a:pt x="617220" y="418624"/>
                    <a:pt x="617220" y="415195"/>
                  </a:cubicBezTo>
                  <a:cubicBezTo>
                    <a:pt x="617220" y="411766"/>
                    <a:pt x="619982" y="409004"/>
                    <a:pt x="623411" y="409004"/>
                  </a:cubicBezTo>
                  <a:close/>
                  <a:moveTo>
                    <a:pt x="1034795" y="408337"/>
                  </a:moveTo>
                  <a:cubicBezTo>
                    <a:pt x="1038224" y="408337"/>
                    <a:pt x="1040987" y="411099"/>
                    <a:pt x="1040987" y="414528"/>
                  </a:cubicBezTo>
                  <a:cubicBezTo>
                    <a:pt x="1040987" y="417957"/>
                    <a:pt x="1038224" y="420719"/>
                    <a:pt x="1034795" y="420719"/>
                  </a:cubicBezTo>
                  <a:cubicBezTo>
                    <a:pt x="1031366" y="420719"/>
                    <a:pt x="1028604" y="417957"/>
                    <a:pt x="1028604" y="414528"/>
                  </a:cubicBezTo>
                  <a:cubicBezTo>
                    <a:pt x="1028604" y="411099"/>
                    <a:pt x="1031366" y="408337"/>
                    <a:pt x="1034795" y="408337"/>
                  </a:cubicBezTo>
                  <a:close/>
                  <a:moveTo>
                    <a:pt x="642080" y="408147"/>
                  </a:moveTo>
                  <a:cubicBezTo>
                    <a:pt x="645509" y="408147"/>
                    <a:pt x="648271" y="410909"/>
                    <a:pt x="648271" y="414338"/>
                  </a:cubicBezTo>
                  <a:cubicBezTo>
                    <a:pt x="648271" y="417767"/>
                    <a:pt x="645509" y="420529"/>
                    <a:pt x="642080" y="420529"/>
                  </a:cubicBezTo>
                  <a:cubicBezTo>
                    <a:pt x="638651" y="420529"/>
                    <a:pt x="635889" y="417767"/>
                    <a:pt x="635889" y="414338"/>
                  </a:cubicBezTo>
                  <a:cubicBezTo>
                    <a:pt x="635889" y="410909"/>
                    <a:pt x="638651" y="408147"/>
                    <a:pt x="642080" y="408147"/>
                  </a:cubicBezTo>
                  <a:close/>
                  <a:moveTo>
                    <a:pt x="2773679" y="406623"/>
                  </a:moveTo>
                  <a:cubicBezTo>
                    <a:pt x="2775047" y="406623"/>
                    <a:pt x="2776156" y="407732"/>
                    <a:pt x="2776156" y="409099"/>
                  </a:cubicBezTo>
                  <a:cubicBezTo>
                    <a:pt x="2776156" y="410467"/>
                    <a:pt x="2775047" y="411576"/>
                    <a:pt x="2773679" y="411576"/>
                  </a:cubicBezTo>
                  <a:cubicBezTo>
                    <a:pt x="2772312" y="411576"/>
                    <a:pt x="2771203" y="410467"/>
                    <a:pt x="2771203" y="409099"/>
                  </a:cubicBezTo>
                  <a:cubicBezTo>
                    <a:pt x="2771203" y="407732"/>
                    <a:pt x="2772311" y="406623"/>
                    <a:pt x="2773679" y="406623"/>
                  </a:cubicBezTo>
                  <a:close/>
                  <a:moveTo>
                    <a:pt x="2554795" y="405194"/>
                  </a:moveTo>
                  <a:cubicBezTo>
                    <a:pt x="2558224" y="405194"/>
                    <a:pt x="2560986" y="407956"/>
                    <a:pt x="2560986" y="411385"/>
                  </a:cubicBezTo>
                  <a:cubicBezTo>
                    <a:pt x="2560986" y="414814"/>
                    <a:pt x="2558224" y="417577"/>
                    <a:pt x="2554795" y="417577"/>
                  </a:cubicBezTo>
                  <a:cubicBezTo>
                    <a:pt x="2551366" y="417577"/>
                    <a:pt x="2548604" y="414814"/>
                    <a:pt x="2548604" y="411385"/>
                  </a:cubicBezTo>
                  <a:cubicBezTo>
                    <a:pt x="2548604" y="407956"/>
                    <a:pt x="2551366" y="405194"/>
                    <a:pt x="2554795" y="405194"/>
                  </a:cubicBezTo>
                  <a:close/>
                  <a:moveTo>
                    <a:pt x="2493835" y="404813"/>
                  </a:moveTo>
                  <a:cubicBezTo>
                    <a:pt x="2497264" y="404813"/>
                    <a:pt x="2500026" y="407575"/>
                    <a:pt x="2500026" y="411004"/>
                  </a:cubicBezTo>
                  <a:cubicBezTo>
                    <a:pt x="2500026" y="414433"/>
                    <a:pt x="2497264" y="417195"/>
                    <a:pt x="2493835" y="417195"/>
                  </a:cubicBezTo>
                  <a:cubicBezTo>
                    <a:pt x="2490406" y="417195"/>
                    <a:pt x="2487644" y="414433"/>
                    <a:pt x="2487644" y="411004"/>
                  </a:cubicBezTo>
                  <a:cubicBezTo>
                    <a:pt x="2487644" y="407575"/>
                    <a:pt x="2490406" y="404813"/>
                    <a:pt x="2493835" y="404813"/>
                  </a:cubicBezTo>
                  <a:close/>
                  <a:moveTo>
                    <a:pt x="2067782" y="403670"/>
                  </a:moveTo>
                  <a:cubicBezTo>
                    <a:pt x="2071211" y="403670"/>
                    <a:pt x="2073974" y="406432"/>
                    <a:pt x="2073974" y="409861"/>
                  </a:cubicBezTo>
                  <a:cubicBezTo>
                    <a:pt x="2073974" y="413290"/>
                    <a:pt x="2071211" y="416052"/>
                    <a:pt x="2067782" y="416052"/>
                  </a:cubicBezTo>
                  <a:cubicBezTo>
                    <a:pt x="2064353" y="416052"/>
                    <a:pt x="2061591" y="413290"/>
                    <a:pt x="2061591" y="409861"/>
                  </a:cubicBezTo>
                  <a:cubicBezTo>
                    <a:pt x="2061591" y="406432"/>
                    <a:pt x="2064353" y="403670"/>
                    <a:pt x="2067782" y="403670"/>
                  </a:cubicBezTo>
                  <a:close/>
                  <a:moveTo>
                    <a:pt x="2723673" y="403003"/>
                  </a:moveTo>
                  <a:cubicBezTo>
                    <a:pt x="2727102" y="403003"/>
                    <a:pt x="2729865" y="405765"/>
                    <a:pt x="2729865" y="409194"/>
                  </a:cubicBezTo>
                  <a:cubicBezTo>
                    <a:pt x="2729865" y="412623"/>
                    <a:pt x="2727102" y="415385"/>
                    <a:pt x="2723673" y="415385"/>
                  </a:cubicBezTo>
                  <a:cubicBezTo>
                    <a:pt x="2720244" y="415385"/>
                    <a:pt x="2717482" y="412623"/>
                    <a:pt x="2717482" y="409194"/>
                  </a:cubicBezTo>
                  <a:cubicBezTo>
                    <a:pt x="2717482" y="405765"/>
                    <a:pt x="2720244" y="403003"/>
                    <a:pt x="2723673" y="403003"/>
                  </a:cubicBezTo>
                  <a:close/>
                  <a:moveTo>
                    <a:pt x="2737484" y="402812"/>
                  </a:moveTo>
                  <a:cubicBezTo>
                    <a:pt x="2740913" y="402812"/>
                    <a:pt x="2743675" y="405574"/>
                    <a:pt x="2743675" y="409003"/>
                  </a:cubicBezTo>
                  <a:cubicBezTo>
                    <a:pt x="2743675" y="412432"/>
                    <a:pt x="2740913" y="415195"/>
                    <a:pt x="2737484" y="415195"/>
                  </a:cubicBezTo>
                  <a:cubicBezTo>
                    <a:pt x="2734055" y="415195"/>
                    <a:pt x="2731293" y="412432"/>
                    <a:pt x="2731293" y="409003"/>
                  </a:cubicBezTo>
                  <a:cubicBezTo>
                    <a:pt x="2731293" y="405574"/>
                    <a:pt x="2734055" y="402812"/>
                    <a:pt x="2737484" y="402812"/>
                  </a:cubicBezTo>
                  <a:close/>
                  <a:moveTo>
                    <a:pt x="602646" y="402622"/>
                  </a:moveTo>
                  <a:cubicBezTo>
                    <a:pt x="606075" y="402622"/>
                    <a:pt x="608837" y="405384"/>
                    <a:pt x="608837" y="408813"/>
                  </a:cubicBezTo>
                  <a:cubicBezTo>
                    <a:pt x="608837" y="412242"/>
                    <a:pt x="606075" y="415005"/>
                    <a:pt x="602646" y="415005"/>
                  </a:cubicBezTo>
                  <a:cubicBezTo>
                    <a:pt x="599217" y="415005"/>
                    <a:pt x="596455" y="412242"/>
                    <a:pt x="596455" y="408813"/>
                  </a:cubicBezTo>
                  <a:cubicBezTo>
                    <a:pt x="596455" y="405384"/>
                    <a:pt x="599217" y="402622"/>
                    <a:pt x="602646" y="402622"/>
                  </a:cubicBezTo>
                  <a:close/>
                  <a:moveTo>
                    <a:pt x="588263" y="402622"/>
                  </a:moveTo>
                  <a:cubicBezTo>
                    <a:pt x="590630" y="402622"/>
                    <a:pt x="592549" y="404541"/>
                    <a:pt x="592549" y="406908"/>
                  </a:cubicBezTo>
                  <a:cubicBezTo>
                    <a:pt x="592549" y="409275"/>
                    <a:pt x="590630" y="411194"/>
                    <a:pt x="588263" y="411194"/>
                  </a:cubicBezTo>
                  <a:cubicBezTo>
                    <a:pt x="585896" y="411194"/>
                    <a:pt x="583977" y="409275"/>
                    <a:pt x="583977" y="406908"/>
                  </a:cubicBezTo>
                  <a:cubicBezTo>
                    <a:pt x="583977" y="404541"/>
                    <a:pt x="585896" y="402622"/>
                    <a:pt x="588263" y="402622"/>
                  </a:cubicBezTo>
                  <a:close/>
                  <a:moveTo>
                    <a:pt x="706373" y="402241"/>
                  </a:moveTo>
                  <a:cubicBezTo>
                    <a:pt x="709802" y="402241"/>
                    <a:pt x="712564" y="405003"/>
                    <a:pt x="712564" y="408432"/>
                  </a:cubicBezTo>
                  <a:cubicBezTo>
                    <a:pt x="712564" y="411861"/>
                    <a:pt x="709802" y="414623"/>
                    <a:pt x="706373" y="414623"/>
                  </a:cubicBezTo>
                  <a:cubicBezTo>
                    <a:pt x="702944" y="414623"/>
                    <a:pt x="700182" y="411861"/>
                    <a:pt x="700182" y="408432"/>
                  </a:cubicBezTo>
                  <a:cubicBezTo>
                    <a:pt x="700182" y="405003"/>
                    <a:pt x="702944" y="402241"/>
                    <a:pt x="706373" y="402241"/>
                  </a:cubicBezTo>
                  <a:close/>
                  <a:moveTo>
                    <a:pt x="616362" y="401288"/>
                  </a:moveTo>
                  <a:cubicBezTo>
                    <a:pt x="619791" y="401288"/>
                    <a:pt x="622554" y="404050"/>
                    <a:pt x="622554" y="407479"/>
                  </a:cubicBezTo>
                  <a:cubicBezTo>
                    <a:pt x="622554" y="410908"/>
                    <a:pt x="619791" y="413670"/>
                    <a:pt x="616362" y="413670"/>
                  </a:cubicBezTo>
                  <a:cubicBezTo>
                    <a:pt x="612933" y="413670"/>
                    <a:pt x="610171" y="410908"/>
                    <a:pt x="610171" y="407479"/>
                  </a:cubicBezTo>
                  <a:cubicBezTo>
                    <a:pt x="610171" y="404050"/>
                    <a:pt x="612933" y="401288"/>
                    <a:pt x="616362" y="401288"/>
                  </a:cubicBezTo>
                  <a:close/>
                  <a:moveTo>
                    <a:pt x="2709766" y="400812"/>
                  </a:moveTo>
                  <a:cubicBezTo>
                    <a:pt x="2713195" y="400812"/>
                    <a:pt x="2715958" y="403574"/>
                    <a:pt x="2715958" y="407003"/>
                  </a:cubicBezTo>
                  <a:cubicBezTo>
                    <a:pt x="2715958" y="410432"/>
                    <a:pt x="2713195" y="413194"/>
                    <a:pt x="2709766" y="413194"/>
                  </a:cubicBezTo>
                  <a:cubicBezTo>
                    <a:pt x="2706337" y="413194"/>
                    <a:pt x="2703575" y="410432"/>
                    <a:pt x="2703575" y="407003"/>
                  </a:cubicBezTo>
                  <a:cubicBezTo>
                    <a:pt x="2703575" y="403574"/>
                    <a:pt x="2706337" y="400812"/>
                    <a:pt x="2709766" y="400812"/>
                  </a:cubicBezTo>
                  <a:close/>
                  <a:moveTo>
                    <a:pt x="2645282" y="399288"/>
                  </a:moveTo>
                  <a:cubicBezTo>
                    <a:pt x="2648711" y="399288"/>
                    <a:pt x="2651473" y="402050"/>
                    <a:pt x="2651473" y="405479"/>
                  </a:cubicBezTo>
                  <a:cubicBezTo>
                    <a:pt x="2651473" y="408908"/>
                    <a:pt x="2648711" y="411670"/>
                    <a:pt x="2645282" y="411670"/>
                  </a:cubicBezTo>
                  <a:cubicBezTo>
                    <a:pt x="2641853" y="411670"/>
                    <a:pt x="2639091" y="408908"/>
                    <a:pt x="2639091" y="405479"/>
                  </a:cubicBezTo>
                  <a:cubicBezTo>
                    <a:pt x="2639091" y="402050"/>
                    <a:pt x="2641853" y="399288"/>
                    <a:pt x="2645282" y="399288"/>
                  </a:cubicBezTo>
                  <a:close/>
                  <a:moveTo>
                    <a:pt x="2752724" y="398907"/>
                  </a:moveTo>
                  <a:cubicBezTo>
                    <a:pt x="2756153" y="398907"/>
                    <a:pt x="2758915" y="401669"/>
                    <a:pt x="2758915" y="405098"/>
                  </a:cubicBezTo>
                  <a:cubicBezTo>
                    <a:pt x="2758915" y="408527"/>
                    <a:pt x="2756153" y="411289"/>
                    <a:pt x="2752724" y="411289"/>
                  </a:cubicBezTo>
                  <a:cubicBezTo>
                    <a:pt x="2749295" y="411289"/>
                    <a:pt x="2746533" y="408527"/>
                    <a:pt x="2746533" y="405098"/>
                  </a:cubicBezTo>
                  <a:cubicBezTo>
                    <a:pt x="2746533" y="401669"/>
                    <a:pt x="2749295" y="398907"/>
                    <a:pt x="2752724" y="398907"/>
                  </a:cubicBezTo>
                  <a:close/>
                  <a:moveTo>
                    <a:pt x="2261234" y="398907"/>
                  </a:moveTo>
                  <a:cubicBezTo>
                    <a:pt x="2264663" y="398907"/>
                    <a:pt x="2267426" y="401669"/>
                    <a:pt x="2267426" y="405098"/>
                  </a:cubicBezTo>
                  <a:cubicBezTo>
                    <a:pt x="2267426" y="408527"/>
                    <a:pt x="2264663" y="411289"/>
                    <a:pt x="2261234" y="411289"/>
                  </a:cubicBezTo>
                  <a:cubicBezTo>
                    <a:pt x="2257805" y="411289"/>
                    <a:pt x="2255043" y="408527"/>
                    <a:pt x="2255043" y="405098"/>
                  </a:cubicBezTo>
                  <a:cubicBezTo>
                    <a:pt x="2255043" y="401669"/>
                    <a:pt x="2257805" y="398907"/>
                    <a:pt x="2261234" y="398907"/>
                  </a:cubicBezTo>
                  <a:close/>
                  <a:moveTo>
                    <a:pt x="631126" y="398526"/>
                  </a:moveTo>
                  <a:cubicBezTo>
                    <a:pt x="634555" y="398526"/>
                    <a:pt x="637318" y="401288"/>
                    <a:pt x="637318" y="404717"/>
                  </a:cubicBezTo>
                  <a:cubicBezTo>
                    <a:pt x="637318" y="408146"/>
                    <a:pt x="634555" y="410908"/>
                    <a:pt x="631126" y="410908"/>
                  </a:cubicBezTo>
                  <a:cubicBezTo>
                    <a:pt x="627697" y="410908"/>
                    <a:pt x="624935" y="408146"/>
                    <a:pt x="624935" y="404717"/>
                  </a:cubicBezTo>
                  <a:cubicBezTo>
                    <a:pt x="624935" y="401288"/>
                    <a:pt x="627697" y="398526"/>
                    <a:pt x="631126" y="398526"/>
                  </a:cubicBezTo>
                  <a:close/>
                  <a:moveTo>
                    <a:pt x="2693765" y="397955"/>
                  </a:moveTo>
                  <a:cubicBezTo>
                    <a:pt x="2697194" y="397955"/>
                    <a:pt x="2699956" y="400717"/>
                    <a:pt x="2699956" y="404146"/>
                  </a:cubicBezTo>
                  <a:cubicBezTo>
                    <a:pt x="2699956" y="407575"/>
                    <a:pt x="2697194" y="410337"/>
                    <a:pt x="2693765" y="410337"/>
                  </a:cubicBezTo>
                  <a:cubicBezTo>
                    <a:pt x="2690336" y="410337"/>
                    <a:pt x="2687574" y="407575"/>
                    <a:pt x="2687574" y="404146"/>
                  </a:cubicBezTo>
                  <a:cubicBezTo>
                    <a:pt x="2687574" y="400717"/>
                    <a:pt x="2690336" y="397955"/>
                    <a:pt x="2693765" y="397955"/>
                  </a:cubicBezTo>
                  <a:close/>
                  <a:moveTo>
                    <a:pt x="946784" y="396907"/>
                  </a:moveTo>
                  <a:cubicBezTo>
                    <a:pt x="950213" y="396907"/>
                    <a:pt x="952976" y="399669"/>
                    <a:pt x="952976" y="403098"/>
                  </a:cubicBezTo>
                  <a:cubicBezTo>
                    <a:pt x="952976" y="406527"/>
                    <a:pt x="950213" y="409289"/>
                    <a:pt x="946784" y="409289"/>
                  </a:cubicBezTo>
                  <a:cubicBezTo>
                    <a:pt x="943355" y="409289"/>
                    <a:pt x="940593" y="406527"/>
                    <a:pt x="940593" y="403098"/>
                  </a:cubicBezTo>
                  <a:cubicBezTo>
                    <a:pt x="940593" y="399669"/>
                    <a:pt x="943355" y="396907"/>
                    <a:pt x="946784" y="396907"/>
                  </a:cubicBezTo>
                  <a:close/>
                  <a:moveTo>
                    <a:pt x="2673191" y="396526"/>
                  </a:moveTo>
                  <a:cubicBezTo>
                    <a:pt x="2676620" y="396526"/>
                    <a:pt x="2679382" y="399288"/>
                    <a:pt x="2679382" y="402717"/>
                  </a:cubicBezTo>
                  <a:cubicBezTo>
                    <a:pt x="2679382" y="406146"/>
                    <a:pt x="2676620" y="408908"/>
                    <a:pt x="2673191" y="408908"/>
                  </a:cubicBezTo>
                  <a:cubicBezTo>
                    <a:pt x="2669762" y="408908"/>
                    <a:pt x="2667000" y="406146"/>
                    <a:pt x="2667000" y="402717"/>
                  </a:cubicBezTo>
                  <a:cubicBezTo>
                    <a:pt x="2667000" y="399288"/>
                    <a:pt x="2669762" y="396526"/>
                    <a:pt x="2673191" y="396526"/>
                  </a:cubicBezTo>
                  <a:close/>
                  <a:moveTo>
                    <a:pt x="1312735" y="396431"/>
                  </a:moveTo>
                  <a:cubicBezTo>
                    <a:pt x="1316164" y="396431"/>
                    <a:pt x="1318927" y="399193"/>
                    <a:pt x="1318927" y="402622"/>
                  </a:cubicBezTo>
                  <a:cubicBezTo>
                    <a:pt x="1318927" y="406051"/>
                    <a:pt x="1316164" y="408813"/>
                    <a:pt x="1312735" y="408813"/>
                  </a:cubicBezTo>
                  <a:cubicBezTo>
                    <a:pt x="1309306" y="408813"/>
                    <a:pt x="1306544" y="406051"/>
                    <a:pt x="1306544" y="402622"/>
                  </a:cubicBezTo>
                  <a:cubicBezTo>
                    <a:pt x="1306544" y="399193"/>
                    <a:pt x="1309306" y="396431"/>
                    <a:pt x="1312735" y="396431"/>
                  </a:cubicBezTo>
                  <a:close/>
                  <a:moveTo>
                    <a:pt x="673226" y="396335"/>
                  </a:moveTo>
                  <a:cubicBezTo>
                    <a:pt x="676655" y="396335"/>
                    <a:pt x="679418" y="399097"/>
                    <a:pt x="679418" y="402526"/>
                  </a:cubicBezTo>
                  <a:cubicBezTo>
                    <a:pt x="679418" y="405955"/>
                    <a:pt x="676655" y="408718"/>
                    <a:pt x="673226" y="408718"/>
                  </a:cubicBezTo>
                  <a:cubicBezTo>
                    <a:pt x="669797" y="408718"/>
                    <a:pt x="667035" y="405955"/>
                    <a:pt x="667035" y="402526"/>
                  </a:cubicBezTo>
                  <a:cubicBezTo>
                    <a:pt x="667035" y="399097"/>
                    <a:pt x="669797" y="396335"/>
                    <a:pt x="673226" y="396335"/>
                  </a:cubicBezTo>
                  <a:close/>
                  <a:moveTo>
                    <a:pt x="649128" y="396050"/>
                  </a:moveTo>
                  <a:cubicBezTo>
                    <a:pt x="652557" y="396050"/>
                    <a:pt x="655320" y="398812"/>
                    <a:pt x="655320" y="402241"/>
                  </a:cubicBezTo>
                  <a:cubicBezTo>
                    <a:pt x="655320" y="405670"/>
                    <a:pt x="652557" y="408432"/>
                    <a:pt x="649128" y="408432"/>
                  </a:cubicBezTo>
                  <a:cubicBezTo>
                    <a:pt x="645699" y="408432"/>
                    <a:pt x="642937" y="405670"/>
                    <a:pt x="642937" y="402241"/>
                  </a:cubicBezTo>
                  <a:cubicBezTo>
                    <a:pt x="642937" y="398812"/>
                    <a:pt x="645699" y="396050"/>
                    <a:pt x="649128" y="396050"/>
                  </a:cubicBezTo>
                  <a:close/>
                  <a:moveTo>
                    <a:pt x="752379" y="395383"/>
                  </a:moveTo>
                  <a:cubicBezTo>
                    <a:pt x="755808" y="395383"/>
                    <a:pt x="758571" y="398145"/>
                    <a:pt x="758571" y="401574"/>
                  </a:cubicBezTo>
                  <a:cubicBezTo>
                    <a:pt x="758571" y="405003"/>
                    <a:pt x="755808" y="407765"/>
                    <a:pt x="752379" y="407765"/>
                  </a:cubicBezTo>
                  <a:cubicBezTo>
                    <a:pt x="748950" y="407765"/>
                    <a:pt x="746188" y="405003"/>
                    <a:pt x="746188" y="401574"/>
                  </a:cubicBezTo>
                  <a:cubicBezTo>
                    <a:pt x="746188" y="398145"/>
                    <a:pt x="748950" y="395383"/>
                    <a:pt x="752379" y="395383"/>
                  </a:cubicBezTo>
                  <a:close/>
                  <a:moveTo>
                    <a:pt x="2717101" y="393478"/>
                  </a:moveTo>
                  <a:cubicBezTo>
                    <a:pt x="2720530" y="393478"/>
                    <a:pt x="2723293" y="396240"/>
                    <a:pt x="2723293" y="399669"/>
                  </a:cubicBezTo>
                  <a:cubicBezTo>
                    <a:pt x="2723293" y="403098"/>
                    <a:pt x="2720530" y="405860"/>
                    <a:pt x="2717101" y="405860"/>
                  </a:cubicBezTo>
                  <a:cubicBezTo>
                    <a:pt x="2713672" y="405860"/>
                    <a:pt x="2710910" y="403098"/>
                    <a:pt x="2710910" y="399669"/>
                  </a:cubicBezTo>
                  <a:cubicBezTo>
                    <a:pt x="2710910" y="396240"/>
                    <a:pt x="2713672" y="393478"/>
                    <a:pt x="2717101" y="393478"/>
                  </a:cubicBezTo>
                  <a:close/>
                  <a:moveTo>
                    <a:pt x="608647" y="392811"/>
                  </a:moveTo>
                  <a:cubicBezTo>
                    <a:pt x="612076" y="392811"/>
                    <a:pt x="614839" y="395573"/>
                    <a:pt x="614839" y="399002"/>
                  </a:cubicBezTo>
                  <a:cubicBezTo>
                    <a:pt x="614839" y="402431"/>
                    <a:pt x="612076" y="405193"/>
                    <a:pt x="608647" y="405193"/>
                  </a:cubicBezTo>
                  <a:cubicBezTo>
                    <a:pt x="605218" y="405193"/>
                    <a:pt x="602456" y="402431"/>
                    <a:pt x="602456" y="399002"/>
                  </a:cubicBezTo>
                  <a:cubicBezTo>
                    <a:pt x="602456" y="395573"/>
                    <a:pt x="605218" y="392811"/>
                    <a:pt x="608647" y="392811"/>
                  </a:cubicBezTo>
                  <a:close/>
                  <a:moveTo>
                    <a:pt x="2732055" y="392526"/>
                  </a:moveTo>
                  <a:cubicBezTo>
                    <a:pt x="2735484" y="392526"/>
                    <a:pt x="2738247" y="395288"/>
                    <a:pt x="2738247" y="398717"/>
                  </a:cubicBezTo>
                  <a:cubicBezTo>
                    <a:pt x="2738247" y="402146"/>
                    <a:pt x="2735484" y="404908"/>
                    <a:pt x="2732055" y="404908"/>
                  </a:cubicBezTo>
                  <a:cubicBezTo>
                    <a:pt x="2728626" y="404908"/>
                    <a:pt x="2725864" y="402146"/>
                    <a:pt x="2725864" y="398717"/>
                  </a:cubicBezTo>
                  <a:cubicBezTo>
                    <a:pt x="2725864" y="395288"/>
                    <a:pt x="2728626" y="392526"/>
                    <a:pt x="2732055" y="392526"/>
                  </a:cubicBezTo>
                  <a:close/>
                  <a:moveTo>
                    <a:pt x="623315" y="391954"/>
                  </a:moveTo>
                  <a:cubicBezTo>
                    <a:pt x="626744" y="391954"/>
                    <a:pt x="629506" y="394716"/>
                    <a:pt x="629506" y="398145"/>
                  </a:cubicBezTo>
                  <a:cubicBezTo>
                    <a:pt x="629506" y="401574"/>
                    <a:pt x="626744" y="404336"/>
                    <a:pt x="623315" y="404336"/>
                  </a:cubicBezTo>
                  <a:cubicBezTo>
                    <a:pt x="619886" y="404336"/>
                    <a:pt x="617124" y="401574"/>
                    <a:pt x="617124" y="398145"/>
                  </a:cubicBezTo>
                  <a:cubicBezTo>
                    <a:pt x="617124" y="394716"/>
                    <a:pt x="619886" y="391954"/>
                    <a:pt x="623315" y="391954"/>
                  </a:cubicBezTo>
                  <a:close/>
                  <a:moveTo>
                    <a:pt x="871346" y="391763"/>
                  </a:moveTo>
                  <a:cubicBezTo>
                    <a:pt x="874775" y="391763"/>
                    <a:pt x="877537" y="394525"/>
                    <a:pt x="877537" y="397954"/>
                  </a:cubicBezTo>
                  <a:cubicBezTo>
                    <a:pt x="877537" y="401383"/>
                    <a:pt x="874775" y="404145"/>
                    <a:pt x="871346" y="404145"/>
                  </a:cubicBezTo>
                  <a:cubicBezTo>
                    <a:pt x="867917" y="404145"/>
                    <a:pt x="865155" y="401383"/>
                    <a:pt x="865155" y="397954"/>
                  </a:cubicBezTo>
                  <a:cubicBezTo>
                    <a:pt x="865155" y="394525"/>
                    <a:pt x="867917" y="391763"/>
                    <a:pt x="871346" y="391763"/>
                  </a:cubicBezTo>
                  <a:close/>
                  <a:moveTo>
                    <a:pt x="806957" y="391573"/>
                  </a:moveTo>
                  <a:cubicBezTo>
                    <a:pt x="810386" y="391573"/>
                    <a:pt x="813149" y="394335"/>
                    <a:pt x="813149" y="397764"/>
                  </a:cubicBezTo>
                  <a:cubicBezTo>
                    <a:pt x="813149" y="401193"/>
                    <a:pt x="810386" y="403956"/>
                    <a:pt x="806957" y="403956"/>
                  </a:cubicBezTo>
                  <a:cubicBezTo>
                    <a:pt x="803528" y="403956"/>
                    <a:pt x="800766" y="401193"/>
                    <a:pt x="800766" y="397764"/>
                  </a:cubicBezTo>
                  <a:cubicBezTo>
                    <a:pt x="800766" y="394335"/>
                    <a:pt x="803528" y="391573"/>
                    <a:pt x="806957" y="391573"/>
                  </a:cubicBezTo>
                  <a:close/>
                  <a:moveTo>
                    <a:pt x="2702432" y="391287"/>
                  </a:moveTo>
                  <a:cubicBezTo>
                    <a:pt x="2705861" y="391287"/>
                    <a:pt x="2708623" y="394049"/>
                    <a:pt x="2708623" y="397478"/>
                  </a:cubicBezTo>
                  <a:cubicBezTo>
                    <a:pt x="2708623" y="400907"/>
                    <a:pt x="2705861" y="403669"/>
                    <a:pt x="2702432" y="403669"/>
                  </a:cubicBezTo>
                  <a:cubicBezTo>
                    <a:pt x="2699003" y="403669"/>
                    <a:pt x="2696241" y="400907"/>
                    <a:pt x="2696241" y="397478"/>
                  </a:cubicBezTo>
                  <a:cubicBezTo>
                    <a:pt x="2696241" y="394049"/>
                    <a:pt x="2699003" y="391287"/>
                    <a:pt x="2702432" y="391287"/>
                  </a:cubicBezTo>
                  <a:close/>
                  <a:moveTo>
                    <a:pt x="1976818" y="390906"/>
                  </a:moveTo>
                  <a:cubicBezTo>
                    <a:pt x="1980247" y="390906"/>
                    <a:pt x="1983010" y="393668"/>
                    <a:pt x="1983010" y="397097"/>
                  </a:cubicBezTo>
                  <a:cubicBezTo>
                    <a:pt x="1983010" y="400526"/>
                    <a:pt x="1980247" y="403289"/>
                    <a:pt x="1976818" y="403289"/>
                  </a:cubicBezTo>
                  <a:cubicBezTo>
                    <a:pt x="1973389" y="403289"/>
                    <a:pt x="1970627" y="400526"/>
                    <a:pt x="1970627" y="397097"/>
                  </a:cubicBezTo>
                  <a:cubicBezTo>
                    <a:pt x="1970627" y="393668"/>
                    <a:pt x="1973389" y="390906"/>
                    <a:pt x="1976818" y="390906"/>
                  </a:cubicBezTo>
                  <a:close/>
                  <a:moveTo>
                    <a:pt x="2604325" y="390144"/>
                  </a:moveTo>
                  <a:cubicBezTo>
                    <a:pt x="2607754" y="390144"/>
                    <a:pt x="2610517" y="392906"/>
                    <a:pt x="2610517" y="396335"/>
                  </a:cubicBezTo>
                  <a:cubicBezTo>
                    <a:pt x="2610517" y="399764"/>
                    <a:pt x="2607754" y="402526"/>
                    <a:pt x="2604325" y="402526"/>
                  </a:cubicBezTo>
                  <a:cubicBezTo>
                    <a:pt x="2600896" y="402526"/>
                    <a:pt x="2598134" y="399764"/>
                    <a:pt x="2598134" y="396335"/>
                  </a:cubicBezTo>
                  <a:cubicBezTo>
                    <a:pt x="2598134" y="392906"/>
                    <a:pt x="2600896" y="390144"/>
                    <a:pt x="2604325" y="390144"/>
                  </a:cubicBezTo>
                  <a:close/>
                  <a:moveTo>
                    <a:pt x="638460" y="388811"/>
                  </a:moveTo>
                  <a:cubicBezTo>
                    <a:pt x="641889" y="388811"/>
                    <a:pt x="644652" y="391573"/>
                    <a:pt x="644652" y="395002"/>
                  </a:cubicBezTo>
                  <a:cubicBezTo>
                    <a:pt x="644652" y="398431"/>
                    <a:pt x="641889" y="401193"/>
                    <a:pt x="638460" y="401193"/>
                  </a:cubicBezTo>
                  <a:cubicBezTo>
                    <a:pt x="635031" y="401193"/>
                    <a:pt x="632269" y="398431"/>
                    <a:pt x="632269" y="395002"/>
                  </a:cubicBezTo>
                  <a:cubicBezTo>
                    <a:pt x="632269" y="391573"/>
                    <a:pt x="635031" y="388811"/>
                    <a:pt x="638460" y="388811"/>
                  </a:cubicBezTo>
                  <a:close/>
                  <a:moveTo>
                    <a:pt x="1113567" y="388620"/>
                  </a:moveTo>
                  <a:cubicBezTo>
                    <a:pt x="1116996" y="388620"/>
                    <a:pt x="1119758" y="391382"/>
                    <a:pt x="1119758" y="394811"/>
                  </a:cubicBezTo>
                  <a:cubicBezTo>
                    <a:pt x="1119758" y="398240"/>
                    <a:pt x="1116996" y="401002"/>
                    <a:pt x="1113567" y="401002"/>
                  </a:cubicBezTo>
                  <a:cubicBezTo>
                    <a:pt x="1110138" y="401002"/>
                    <a:pt x="1107376" y="398240"/>
                    <a:pt x="1107376" y="394811"/>
                  </a:cubicBezTo>
                  <a:cubicBezTo>
                    <a:pt x="1107376" y="391382"/>
                    <a:pt x="1110138" y="388620"/>
                    <a:pt x="1113567" y="388620"/>
                  </a:cubicBezTo>
                  <a:close/>
                  <a:moveTo>
                    <a:pt x="2686430" y="387763"/>
                  </a:moveTo>
                  <a:cubicBezTo>
                    <a:pt x="2689859" y="387763"/>
                    <a:pt x="2692621" y="390525"/>
                    <a:pt x="2692621" y="393954"/>
                  </a:cubicBezTo>
                  <a:cubicBezTo>
                    <a:pt x="2692621" y="397383"/>
                    <a:pt x="2689859" y="400145"/>
                    <a:pt x="2686430" y="400145"/>
                  </a:cubicBezTo>
                  <a:cubicBezTo>
                    <a:pt x="2683001" y="400145"/>
                    <a:pt x="2680239" y="397383"/>
                    <a:pt x="2680239" y="393954"/>
                  </a:cubicBezTo>
                  <a:cubicBezTo>
                    <a:pt x="2680239" y="390525"/>
                    <a:pt x="2683001" y="387763"/>
                    <a:pt x="2686430" y="387763"/>
                  </a:cubicBezTo>
                  <a:close/>
                  <a:moveTo>
                    <a:pt x="2749010" y="387477"/>
                  </a:moveTo>
                  <a:cubicBezTo>
                    <a:pt x="2752343" y="387477"/>
                    <a:pt x="2755010" y="390144"/>
                    <a:pt x="2755010" y="393478"/>
                  </a:cubicBezTo>
                  <a:cubicBezTo>
                    <a:pt x="2755010" y="396812"/>
                    <a:pt x="2752343" y="399479"/>
                    <a:pt x="2749010" y="399479"/>
                  </a:cubicBezTo>
                  <a:cubicBezTo>
                    <a:pt x="2745676" y="399479"/>
                    <a:pt x="2743009" y="396812"/>
                    <a:pt x="2743009" y="393478"/>
                  </a:cubicBezTo>
                  <a:cubicBezTo>
                    <a:pt x="2743009" y="390144"/>
                    <a:pt x="2745676" y="387477"/>
                    <a:pt x="2749010" y="387477"/>
                  </a:cubicBezTo>
                  <a:close/>
                  <a:moveTo>
                    <a:pt x="2352674" y="386525"/>
                  </a:moveTo>
                  <a:cubicBezTo>
                    <a:pt x="2356103" y="386525"/>
                    <a:pt x="2358865" y="389287"/>
                    <a:pt x="2358865" y="392716"/>
                  </a:cubicBezTo>
                  <a:cubicBezTo>
                    <a:pt x="2358865" y="396145"/>
                    <a:pt x="2356103" y="398907"/>
                    <a:pt x="2352674" y="398907"/>
                  </a:cubicBezTo>
                  <a:cubicBezTo>
                    <a:pt x="2349245" y="398907"/>
                    <a:pt x="2346483" y="396145"/>
                    <a:pt x="2346483" y="392716"/>
                  </a:cubicBezTo>
                  <a:cubicBezTo>
                    <a:pt x="2346483" y="389287"/>
                    <a:pt x="2349245" y="386525"/>
                    <a:pt x="2352674" y="386525"/>
                  </a:cubicBezTo>
                  <a:close/>
                  <a:moveTo>
                    <a:pt x="709897" y="385477"/>
                  </a:moveTo>
                  <a:cubicBezTo>
                    <a:pt x="713326" y="385477"/>
                    <a:pt x="716089" y="388239"/>
                    <a:pt x="716089" y="391668"/>
                  </a:cubicBezTo>
                  <a:cubicBezTo>
                    <a:pt x="716089" y="395097"/>
                    <a:pt x="713326" y="397859"/>
                    <a:pt x="709897" y="397859"/>
                  </a:cubicBezTo>
                  <a:cubicBezTo>
                    <a:pt x="706468" y="397859"/>
                    <a:pt x="703706" y="395097"/>
                    <a:pt x="703706" y="391668"/>
                  </a:cubicBezTo>
                  <a:cubicBezTo>
                    <a:pt x="703706" y="388239"/>
                    <a:pt x="706468" y="385477"/>
                    <a:pt x="709897" y="385477"/>
                  </a:cubicBezTo>
                  <a:close/>
                  <a:moveTo>
                    <a:pt x="1405127" y="385382"/>
                  </a:moveTo>
                  <a:cubicBezTo>
                    <a:pt x="1408556" y="385382"/>
                    <a:pt x="1411319" y="388144"/>
                    <a:pt x="1411319" y="391573"/>
                  </a:cubicBezTo>
                  <a:cubicBezTo>
                    <a:pt x="1411319" y="395002"/>
                    <a:pt x="1408556" y="397764"/>
                    <a:pt x="1405127" y="397764"/>
                  </a:cubicBezTo>
                  <a:cubicBezTo>
                    <a:pt x="1401698" y="397764"/>
                    <a:pt x="1398936" y="395002"/>
                    <a:pt x="1398936" y="391573"/>
                  </a:cubicBezTo>
                  <a:cubicBezTo>
                    <a:pt x="1398936" y="388144"/>
                    <a:pt x="1401698" y="385382"/>
                    <a:pt x="1405127" y="385382"/>
                  </a:cubicBezTo>
                  <a:close/>
                  <a:moveTo>
                    <a:pt x="656176" y="385191"/>
                  </a:moveTo>
                  <a:cubicBezTo>
                    <a:pt x="659605" y="385191"/>
                    <a:pt x="662368" y="387953"/>
                    <a:pt x="662368" y="391382"/>
                  </a:cubicBezTo>
                  <a:cubicBezTo>
                    <a:pt x="662368" y="394811"/>
                    <a:pt x="659605" y="397573"/>
                    <a:pt x="656176" y="397573"/>
                  </a:cubicBezTo>
                  <a:cubicBezTo>
                    <a:pt x="652747" y="397573"/>
                    <a:pt x="649985" y="394811"/>
                    <a:pt x="649985" y="391382"/>
                  </a:cubicBezTo>
                  <a:cubicBezTo>
                    <a:pt x="649985" y="387953"/>
                    <a:pt x="652747" y="385191"/>
                    <a:pt x="656176" y="385191"/>
                  </a:cubicBezTo>
                  <a:close/>
                  <a:moveTo>
                    <a:pt x="2666618" y="384620"/>
                  </a:moveTo>
                  <a:cubicBezTo>
                    <a:pt x="2670047" y="384620"/>
                    <a:pt x="2672809" y="387382"/>
                    <a:pt x="2672809" y="390811"/>
                  </a:cubicBezTo>
                  <a:cubicBezTo>
                    <a:pt x="2672809" y="394240"/>
                    <a:pt x="2670047" y="397002"/>
                    <a:pt x="2666618" y="397002"/>
                  </a:cubicBezTo>
                  <a:cubicBezTo>
                    <a:pt x="2663189" y="397002"/>
                    <a:pt x="2660427" y="394240"/>
                    <a:pt x="2660427" y="390811"/>
                  </a:cubicBezTo>
                  <a:cubicBezTo>
                    <a:pt x="2660427" y="387382"/>
                    <a:pt x="2663189" y="384620"/>
                    <a:pt x="2666618" y="384620"/>
                  </a:cubicBezTo>
                  <a:close/>
                  <a:moveTo>
                    <a:pt x="2640329" y="384525"/>
                  </a:moveTo>
                  <a:cubicBezTo>
                    <a:pt x="2643758" y="384525"/>
                    <a:pt x="2646521" y="387287"/>
                    <a:pt x="2646521" y="390716"/>
                  </a:cubicBezTo>
                  <a:cubicBezTo>
                    <a:pt x="2646521" y="394145"/>
                    <a:pt x="2643758" y="396907"/>
                    <a:pt x="2640329" y="396907"/>
                  </a:cubicBezTo>
                  <a:cubicBezTo>
                    <a:pt x="2636900" y="396907"/>
                    <a:pt x="2634138" y="394145"/>
                    <a:pt x="2634138" y="390716"/>
                  </a:cubicBezTo>
                  <a:cubicBezTo>
                    <a:pt x="2634138" y="387287"/>
                    <a:pt x="2636900" y="384525"/>
                    <a:pt x="2640329" y="384525"/>
                  </a:cubicBezTo>
                  <a:close/>
                  <a:moveTo>
                    <a:pt x="2711195" y="384048"/>
                  </a:moveTo>
                  <a:cubicBezTo>
                    <a:pt x="2714624" y="384048"/>
                    <a:pt x="2717387" y="386810"/>
                    <a:pt x="2717387" y="390239"/>
                  </a:cubicBezTo>
                  <a:cubicBezTo>
                    <a:pt x="2717387" y="393668"/>
                    <a:pt x="2714624" y="396430"/>
                    <a:pt x="2711195" y="396430"/>
                  </a:cubicBezTo>
                  <a:cubicBezTo>
                    <a:pt x="2707766" y="396430"/>
                    <a:pt x="2705004" y="393668"/>
                    <a:pt x="2705004" y="390239"/>
                  </a:cubicBezTo>
                  <a:cubicBezTo>
                    <a:pt x="2705004" y="386810"/>
                    <a:pt x="2707766" y="384048"/>
                    <a:pt x="2711195" y="384048"/>
                  </a:cubicBezTo>
                  <a:close/>
                  <a:moveTo>
                    <a:pt x="2555938" y="383477"/>
                  </a:moveTo>
                  <a:cubicBezTo>
                    <a:pt x="2559367" y="383477"/>
                    <a:pt x="2562129" y="386239"/>
                    <a:pt x="2562129" y="389668"/>
                  </a:cubicBezTo>
                  <a:cubicBezTo>
                    <a:pt x="2562129" y="393097"/>
                    <a:pt x="2559367" y="395859"/>
                    <a:pt x="2555938" y="395859"/>
                  </a:cubicBezTo>
                  <a:cubicBezTo>
                    <a:pt x="2552509" y="395859"/>
                    <a:pt x="2549747" y="393097"/>
                    <a:pt x="2549747" y="389668"/>
                  </a:cubicBezTo>
                  <a:cubicBezTo>
                    <a:pt x="2549747" y="386239"/>
                    <a:pt x="2552509" y="383477"/>
                    <a:pt x="2555938" y="383477"/>
                  </a:cubicBezTo>
                  <a:close/>
                  <a:moveTo>
                    <a:pt x="679036" y="383191"/>
                  </a:moveTo>
                  <a:cubicBezTo>
                    <a:pt x="682465" y="383191"/>
                    <a:pt x="685228" y="385953"/>
                    <a:pt x="685228" y="389382"/>
                  </a:cubicBezTo>
                  <a:cubicBezTo>
                    <a:pt x="685228" y="392811"/>
                    <a:pt x="682465" y="395573"/>
                    <a:pt x="679036" y="395573"/>
                  </a:cubicBezTo>
                  <a:cubicBezTo>
                    <a:pt x="675607" y="395573"/>
                    <a:pt x="672845" y="392811"/>
                    <a:pt x="672845" y="389382"/>
                  </a:cubicBezTo>
                  <a:cubicBezTo>
                    <a:pt x="672845" y="385953"/>
                    <a:pt x="675607" y="383191"/>
                    <a:pt x="679036" y="383191"/>
                  </a:cubicBezTo>
                  <a:close/>
                  <a:moveTo>
                    <a:pt x="613981" y="382905"/>
                  </a:moveTo>
                  <a:cubicBezTo>
                    <a:pt x="617410" y="382905"/>
                    <a:pt x="620172" y="385667"/>
                    <a:pt x="620172" y="389096"/>
                  </a:cubicBezTo>
                  <a:cubicBezTo>
                    <a:pt x="620172" y="392525"/>
                    <a:pt x="617410" y="395288"/>
                    <a:pt x="613981" y="395288"/>
                  </a:cubicBezTo>
                  <a:cubicBezTo>
                    <a:pt x="610552" y="395288"/>
                    <a:pt x="607790" y="392525"/>
                    <a:pt x="607790" y="389096"/>
                  </a:cubicBezTo>
                  <a:cubicBezTo>
                    <a:pt x="607790" y="385667"/>
                    <a:pt x="610552" y="382905"/>
                    <a:pt x="613981" y="382905"/>
                  </a:cubicBezTo>
                  <a:close/>
                  <a:moveTo>
                    <a:pt x="629697" y="382810"/>
                  </a:moveTo>
                  <a:cubicBezTo>
                    <a:pt x="633126" y="382810"/>
                    <a:pt x="635889" y="385572"/>
                    <a:pt x="635889" y="389001"/>
                  </a:cubicBezTo>
                  <a:cubicBezTo>
                    <a:pt x="635889" y="392430"/>
                    <a:pt x="633126" y="395192"/>
                    <a:pt x="629697" y="395192"/>
                  </a:cubicBezTo>
                  <a:cubicBezTo>
                    <a:pt x="626268" y="395192"/>
                    <a:pt x="623506" y="392430"/>
                    <a:pt x="623506" y="389001"/>
                  </a:cubicBezTo>
                  <a:cubicBezTo>
                    <a:pt x="623506" y="385572"/>
                    <a:pt x="626268" y="382810"/>
                    <a:pt x="629697" y="382810"/>
                  </a:cubicBezTo>
                  <a:close/>
                  <a:moveTo>
                    <a:pt x="2695669" y="382334"/>
                  </a:moveTo>
                  <a:cubicBezTo>
                    <a:pt x="2699098" y="382334"/>
                    <a:pt x="2701861" y="385096"/>
                    <a:pt x="2701861" y="388525"/>
                  </a:cubicBezTo>
                  <a:cubicBezTo>
                    <a:pt x="2701861" y="391954"/>
                    <a:pt x="2699098" y="394716"/>
                    <a:pt x="2695669" y="394716"/>
                  </a:cubicBezTo>
                  <a:cubicBezTo>
                    <a:pt x="2692240" y="394716"/>
                    <a:pt x="2689478" y="391954"/>
                    <a:pt x="2689478" y="388525"/>
                  </a:cubicBezTo>
                  <a:cubicBezTo>
                    <a:pt x="2689478" y="385096"/>
                    <a:pt x="2692240" y="382334"/>
                    <a:pt x="2695669" y="382334"/>
                  </a:cubicBezTo>
                  <a:close/>
                  <a:moveTo>
                    <a:pt x="2727483" y="382048"/>
                  </a:moveTo>
                  <a:cubicBezTo>
                    <a:pt x="2730912" y="382048"/>
                    <a:pt x="2733674" y="384810"/>
                    <a:pt x="2733674" y="388239"/>
                  </a:cubicBezTo>
                  <a:cubicBezTo>
                    <a:pt x="2733674" y="391668"/>
                    <a:pt x="2730912" y="394431"/>
                    <a:pt x="2727483" y="394431"/>
                  </a:cubicBezTo>
                  <a:cubicBezTo>
                    <a:pt x="2724054" y="394431"/>
                    <a:pt x="2721292" y="391668"/>
                    <a:pt x="2721292" y="388239"/>
                  </a:cubicBezTo>
                  <a:cubicBezTo>
                    <a:pt x="2721292" y="384810"/>
                    <a:pt x="2724054" y="382048"/>
                    <a:pt x="2727483" y="382048"/>
                  </a:cubicBezTo>
                  <a:close/>
                  <a:moveTo>
                    <a:pt x="2746152" y="381381"/>
                  </a:moveTo>
                  <a:cubicBezTo>
                    <a:pt x="2746343" y="381381"/>
                    <a:pt x="2746343" y="381381"/>
                    <a:pt x="2746343" y="381572"/>
                  </a:cubicBezTo>
                  <a:cubicBezTo>
                    <a:pt x="2746343" y="381762"/>
                    <a:pt x="2746152" y="381762"/>
                    <a:pt x="2746152" y="381762"/>
                  </a:cubicBezTo>
                  <a:cubicBezTo>
                    <a:pt x="2745962" y="381762"/>
                    <a:pt x="2745962" y="381762"/>
                    <a:pt x="2745962" y="381572"/>
                  </a:cubicBezTo>
                  <a:cubicBezTo>
                    <a:pt x="2745962" y="381381"/>
                    <a:pt x="2745962" y="381381"/>
                    <a:pt x="2746152" y="381381"/>
                  </a:cubicBezTo>
                  <a:close/>
                  <a:moveTo>
                    <a:pt x="1883282" y="381381"/>
                  </a:moveTo>
                  <a:cubicBezTo>
                    <a:pt x="1886711" y="381381"/>
                    <a:pt x="1889473" y="384143"/>
                    <a:pt x="1889473" y="387572"/>
                  </a:cubicBezTo>
                  <a:cubicBezTo>
                    <a:pt x="1889473" y="391001"/>
                    <a:pt x="1886711" y="393764"/>
                    <a:pt x="1883282" y="393764"/>
                  </a:cubicBezTo>
                  <a:cubicBezTo>
                    <a:pt x="1879853" y="393764"/>
                    <a:pt x="1877091" y="391001"/>
                    <a:pt x="1877091" y="387572"/>
                  </a:cubicBezTo>
                  <a:cubicBezTo>
                    <a:pt x="1877091" y="384143"/>
                    <a:pt x="1879853" y="381381"/>
                    <a:pt x="1883282" y="381381"/>
                  </a:cubicBezTo>
                  <a:close/>
                  <a:moveTo>
                    <a:pt x="2431351" y="380619"/>
                  </a:moveTo>
                  <a:cubicBezTo>
                    <a:pt x="2434780" y="380619"/>
                    <a:pt x="2437543" y="383381"/>
                    <a:pt x="2437543" y="386810"/>
                  </a:cubicBezTo>
                  <a:cubicBezTo>
                    <a:pt x="2437543" y="390239"/>
                    <a:pt x="2434780" y="393001"/>
                    <a:pt x="2431351" y="393001"/>
                  </a:cubicBezTo>
                  <a:cubicBezTo>
                    <a:pt x="2427922" y="393001"/>
                    <a:pt x="2425160" y="390239"/>
                    <a:pt x="2425160" y="386810"/>
                  </a:cubicBezTo>
                  <a:cubicBezTo>
                    <a:pt x="2425160" y="383381"/>
                    <a:pt x="2427922" y="380619"/>
                    <a:pt x="2431351" y="380619"/>
                  </a:cubicBezTo>
                  <a:close/>
                  <a:moveTo>
                    <a:pt x="2180748" y="380238"/>
                  </a:moveTo>
                  <a:cubicBezTo>
                    <a:pt x="2184177" y="380238"/>
                    <a:pt x="2186940" y="383000"/>
                    <a:pt x="2186940" y="386429"/>
                  </a:cubicBezTo>
                  <a:cubicBezTo>
                    <a:pt x="2186940" y="389858"/>
                    <a:pt x="2184177" y="392620"/>
                    <a:pt x="2180748" y="392620"/>
                  </a:cubicBezTo>
                  <a:cubicBezTo>
                    <a:pt x="2177319" y="392620"/>
                    <a:pt x="2174557" y="389858"/>
                    <a:pt x="2174557" y="386429"/>
                  </a:cubicBezTo>
                  <a:cubicBezTo>
                    <a:pt x="2174557" y="383000"/>
                    <a:pt x="2177319" y="380238"/>
                    <a:pt x="2180748" y="380238"/>
                  </a:cubicBezTo>
                  <a:close/>
                  <a:moveTo>
                    <a:pt x="2498692" y="379953"/>
                  </a:moveTo>
                  <a:cubicBezTo>
                    <a:pt x="2502121" y="379953"/>
                    <a:pt x="2504884" y="382715"/>
                    <a:pt x="2504884" y="386144"/>
                  </a:cubicBezTo>
                  <a:cubicBezTo>
                    <a:pt x="2504884" y="389573"/>
                    <a:pt x="2502121" y="392335"/>
                    <a:pt x="2498692" y="392335"/>
                  </a:cubicBezTo>
                  <a:cubicBezTo>
                    <a:pt x="2495263" y="392335"/>
                    <a:pt x="2492501" y="389573"/>
                    <a:pt x="2492501" y="386144"/>
                  </a:cubicBezTo>
                  <a:cubicBezTo>
                    <a:pt x="2492501" y="382715"/>
                    <a:pt x="2495263" y="379953"/>
                    <a:pt x="2498692" y="379953"/>
                  </a:cubicBezTo>
                  <a:close/>
                  <a:moveTo>
                    <a:pt x="645413" y="379762"/>
                  </a:moveTo>
                  <a:cubicBezTo>
                    <a:pt x="648842" y="379762"/>
                    <a:pt x="651605" y="382524"/>
                    <a:pt x="651605" y="385953"/>
                  </a:cubicBezTo>
                  <a:cubicBezTo>
                    <a:pt x="651605" y="389382"/>
                    <a:pt x="648842" y="392144"/>
                    <a:pt x="645413" y="392144"/>
                  </a:cubicBezTo>
                  <a:cubicBezTo>
                    <a:pt x="641984" y="392144"/>
                    <a:pt x="639222" y="389382"/>
                    <a:pt x="639222" y="385953"/>
                  </a:cubicBezTo>
                  <a:cubicBezTo>
                    <a:pt x="639222" y="382524"/>
                    <a:pt x="641984" y="379762"/>
                    <a:pt x="645413" y="379762"/>
                  </a:cubicBezTo>
                  <a:close/>
                  <a:moveTo>
                    <a:pt x="2679382" y="378429"/>
                  </a:moveTo>
                  <a:cubicBezTo>
                    <a:pt x="2682811" y="378429"/>
                    <a:pt x="2685574" y="381191"/>
                    <a:pt x="2685574" y="384620"/>
                  </a:cubicBezTo>
                  <a:cubicBezTo>
                    <a:pt x="2685574" y="388049"/>
                    <a:pt x="2682811" y="390811"/>
                    <a:pt x="2679382" y="390811"/>
                  </a:cubicBezTo>
                  <a:cubicBezTo>
                    <a:pt x="2675953" y="390811"/>
                    <a:pt x="2673191" y="388049"/>
                    <a:pt x="2673191" y="384620"/>
                  </a:cubicBezTo>
                  <a:cubicBezTo>
                    <a:pt x="2673191" y="381191"/>
                    <a:pt x="2675953" y="378429"/>
                    <a:pt x="2679382" y="378429"/>
                  </a:cubicBezTo>
                  <a:close/>
                  <a:moveTo>
                    <a:pt x="618458" y="377857"/>
                  </a:moveTo>
                  <a:cubicBezTo>
                    <a:pt x="619142" y="377857"/>
                    <a:pt x="619696" y="378411"/>
                    <a:pt x="619696" y="379095"/>
                  </a:cubicBezTo>
                  <a:cubicBezTo>
                    <a:pt x="619696" y="379779"/>
                    <a:pt x="619142" y="380334"/>
                    <a:pt x="618458" y="380334"/>
                  </a:cubicBezTo>
                  <a:cubicBezTo>
                    <a:pt x="617774" y="380334"/>
                    <a:pt x="617220" y="379779"/>
                    <a:pt x="617220" y="379095"/>
                  </a:cubicBezTo>
                  <a:cubicBezTo>
                    <a:pt x="617220" y="378411"/>
                    <a:pt x="617774" y="377857"/>
                    <a:pt x="618458" y="377857"/>
                  </a:cubicBezTo>
                  <a:close/>
                  <a:moveTo>
                    <a:pt x="1499615" y="377571"/>
                  </a:moveTo>
                  <a:cubicBezTo>
                    <a:pt x="1503044" y="377571"/>
                    <a:pt x="1505807" y="380333"/>
                    <a:pt x="1505807" y="383762"/>
                  </a:cubicBezTo>
                  <a:cubicBezTo>
                    <a:pt x="1505807" y="387191"/>
                    <a:pt x="1503044" y="389953"/>
                    <a:pt x="1499615" y="389953"/>
                  </a:cubicBezTo>
                  <a:cubicBezTo>
                    <a:pt x="1496186" y="389953"/>
                    <a:pt x="1493424" y="387191"/>
                    <a:pt x="1493424" y="383762"/>
                  </a:cubicBezTo>
                  <a:cubicBezTo>
                    <a:pt x="1493424" y="380333"/>
                    <a:pt x="1496186" y="377571"/>
                    <a:pt x="1499615" y="377571"/>
                  </a:cubicBezTo>
                  <a:close/>
                  <a:moveTo>
                    <a:pt x="753332" y="376428"/>
                  </a:moveTo>
                  <a:cubicBezTo>
                    <a:pt x="756761" y="376428"/>
                    <a:pt x="759523" y="379190"/>
                    <a:pt x="759523" y="382619"/>
                  </a:cubicBezTo>
                  <a:cubicBezTo>
                    <a:pt x="759523" y="386048"/>
                    <a:pt x="756761" y="388811"/>
                    <a:pt x="753332" y="388811"/>
                  </a:cubicBezTo>
                  <a:cubicBezTo>
                    <a:pt x="749903" y="388811"/>
                    <a:pt x="747141" y="386048"/>
                    <a:pt x="747141" y="382619"/>
                  </a:cubicBezTo>
                  <a:cubicBezTo>
                    <a:pt x="747141" y="379190"/>
                    <a:pt x="749903" y="376428"/>
                    <a:pt x="753332" y="376428"/>
                  </a:cubicBezTo>
                  <a:close/>
                  <a:moveTo>
                    <a:pt x="663034" y="375381"/>
                  </a:moveTo>
                  <a:cubicBezTo>
                    <a:pt x="666463" y="375381"/>
                    <a:pt x="669226" y="378143"/>
                    <a:pt x="669226" y="381572"/>
                  </a:cubicBezTo>
                  <a:cubicBezTo>
                    <a:pt x="669226" y="385001"/>
                    <a:pt x="666463" y="387763"/>
                    <a:pt x="663034" y="387763"/>
                  </a:cubicBezTo>
                  <a:cubicBezTo>
                    <a:pt x="659605" y="387763"/>
                    <a:pt x="656843" y="385001"/>
                    <a:pt x="656843" y="381572"/>
                  </a:cubicBezTo>
                  <a:cubicBezTo>
                    <a:pt x="656843" y="378143"/>
                    <a:pt x="659605" y="375381"/>
                    <a:pt x="663034" y="375381"/>
                  </a:cubicBezTo>
                  <a:close/>
                  <a:moveTo>
                    <a:pt x="1788128" y="375095"/>
                  </a:moveTo>
                  <a:cubicBezTo>
                    <a:pt x="1791557" y="375095"/>
                    <a:pt x="1794320" y="377857"/>
                    <a:pt x="1794320" y="381286"/>
                  </a:cubicBezTo>
                  <a:cubicBezTo>
                    <a:pt x="1794320" y="384715"/>
                    <a:pt x="1791557" y="387477"/>
                    <a:pt x="1788128" y="387477"/>
                  </a:cubicBezTo>
                  <a:cubicBezTo>
                    <a:pt x="1784699" y="387477"/>
                    <a:pt x="1781937" y="384715"/>
                    <a:pt x="1781937" y="381286"/>
                  </a:cubicBezTo>
                  <a:cubicBezTo>
                    <a:pt x="1781937" y="377857"/>
                    <a:pt x="1784699" y="375095"/>
                    <a:pt x="1788128" y="375095"/>
                  </a:cubicBezTo>
                  <a:close/>
                  <a:moveTo>
                    <a:pt x="1018222" y="375000"/>
                  </a:moveTo>
                  <a:cubicBezTo>
                    <a:pt x="1021651" y="375000"/>
                    <a:pt x="1024414" y="377762"/>
                    <a:pt x="1024414" y="381191"/>
                  </a:cubicBezTo>
                  <a:cubicBezTo>
                    <a:pt x="1024414" y="384620"/>
                    <a:pt x="1021651" y="387382"/>
                    <a:pt x="1018222" y="387382"/>
                  </a:cubicBezTo>
                  <a:cubicBezTo>
                    <a:pt x="1014793" y="387382"/>
                    <a:pt x="1012031" y="384620"/>
                    <a:pt x="1012031" y="381191"/>
                  </a:cubicBezTo>
                  <a:cubicBezTo>
                    <a:pt x="1012031" y="377762"/>
                    <a:pt x="1014793" y="375000"/>
                    <a:pt x="1018222" y="375000"/>
                  </a:cubicBezTo>
                  <a:close/>
                  <a:moveTo>
                    <a:pt x="2705957" y="374523"/>
                  </a:moveTo>
                  <a:cubicBezTo>
                    <a:pt x="2709386" y="374523"/>
                    <a:pt x="2712148" y="377285"/>
                    <a:pt x="2712148" y="380714"/>
                  </a:cubicBezTo>
                  <a:cubicBezTo>
                    <a:pt x="2712148" y="384143"/>
                    <a:pt x="2709386" y="386905"/>
                    <a:pt x="2705957" y="386905"/>
                  </a:cubicBezTo>
                  <a:cubicBezTo>
                    <a:pt x="2702528" y="386905"/>
                    <a:pt x="2699766" y="384143"/>
                    <a:pt x="2699766" y="380714"/>
                  </a:cubicBezTo>
                  <a:cubicBezTo>
                    <a:pt x="2699766" y="377285"/>
                    <a:pt x="2702528" y="374523"/>
                    <a:pt x="2705957" y="374523"/>
                  </a:cubicBezTo>
                  <a:close/>
                  <a:moveTo>
                    <a:pt x="2660046" y="374047"/>
                  </a:moveTo>
                  <a:cubicBezTo>
                    <a:pt x="2663475" y="374047"/>
                    <a:pt x="2666238" y="376809"/>
                    <a:pt x="2666238" y="380238"/>
                  </a:cubicBezTo>
                  <a:cubicBezTo>
                    <a:pt x="2666238" y="383667"/>
                    <a:pt x="2663475" y="386430"/>
                    <a:pt x="2660046" y="386430"/>
                  </a:cubicBezTo>
                  <a:cubicBezTo>
                    <a:pt x="2656617" y="386430"/>
                    <a:pt x="2653855" y="383667"/>
                    <a:pt x="2653855" y="380238"/>
                  </a:cubicBezTo>
                  <a:cubicBezTo>
                    <a:pt x="2653855" y="376809"/>
                    <a:pt x="2656617" y="374047"/>
                    <a:pt x="2660046" y="374047"/>
                  </a:cubicBezTo>
                  <a:close/>
                  <a:moveTo>
                    <a:pt x="635507" y="373857"/>
                  </a:moveTo>
                  <a:cubicBezTo>
                    <a:pt x="638936" y="373857"/>
                    <a:pt x="641699" y="376619"/>
                    <a:pt x="641699" y="380048"/>
                  </a:cubicBezTo>
                  <a:cubicBezTo>
                    <a:pt x="641699" y="383477"/>
                    <a:pt x="638936" y="386239"/>
                    <a:pt x="635507" y="386239"/>
                  </a:cubicBezTo>
                  <a:cubicBezTo>
                    <a:pt x="632078" y="386239"/>
                    <a:pt x="629316" y="383477"/>
                    <a:pt x="629316" y="380048"/>
                  </a:cubicBezTo>
                  <a:cubicBezTo>
                    <a:pt x="629316" y="376619"/>
                    <a:pt x="632078" y="373857"/>
                    <a:pt x="635507" y="373857"/>
                  </a:cubicBezTo>
                  <a:close/>
                  <a:moveTo>
                    <a:pt x="2601658" y="373666"/>
                  </a:moveTo>
                  <a:cubicBezTo>
                    <a:pt x="2605087" y="373666"/>
                    <a:pt x="2607850" y="376428"/>
                    <a:pt x="2607850" y="379857"/>
                  </a:cubicBezTo>
                  <a:cubicBezTo>
                    <a:pt x="2607850" y="383286"/>
                    <a:pt x="2605087" y="386048"/>
                    <a:pt x="2601658" y="386048"/>
                  </a:cubicBezTo>
                  <a:cubicBezTo>
                    <a:pt x="2598229" y="386048"/>
                    <a:pt x="2595467" y="383286"/>
                    <a:pt x="2595467" y="379857"/>
                  </a:cubicBezTo>
                  <a:cubicBezTo>
                    <a:pt x="2595467" y="376428"/>
                    <a:pt x="2598229" y="373666"/>
                    <a:pt x="2601658" y="373666"/>
                  </a:cubicBezTo>
                  <a:close/>
                  <a:moveTo>
                    <a:pt x="2689478" y="373571"/>
                  </a:moveTo>
                  <a:cubicBezTo>
                    <a:pt x="2692907" y="373571"/>
                    <a:pt x="2695670" y="376333"/>
                    <a:pt x="2695670" y="379762"/>
                  </a:cubicBezTo>
                  <a:cubicBezTo>
                    <a:pt x="2695670" y="383191"/>
                    <a:pt x="2692907" y="385953"/>
                    <a:pt x="2689478" y="385953"/>
                  </a:cubicBezTo>
                  <a:cubicBezTo>
                    <a:pt x="2686049" y="385953"/>
                    <a:pt x="2683287" y="383191"/>
                    <a:pt x="2683287" y="379762"/>
                  </a:cubicBezTo>
                  <a:cubicBezTo>
                    <a:pt x="2683287" y="376333"/>
                    <a:pt x="2686049" y="373571"/>
                    <a:pt x="2689478" y="373571"/>
                  </a:cubicBezTo>
                  <a:close/>
                  <a:moveTo>
                    <a:pt x="1595532" y="373190"/>
                  </a:moveTo>
                  <a:cubicBezTo>
                    <a:pt x="1598961" y="373190"/>
                    <a:pt x="1601724" y="375952"/>
                    <a:pt x="1601724" y="379381"/>
                  </a:cubicBezTo>
                  <a:cubicBezTo>
                    <a:pt x="1601724" y="382810"/>
                    <a:pt x="1598961" y="385573"/>
                    <a:pt x="1595532" y="385573"/>
                  </a:cubicBezTo>
                  <a:cubicBezTo>
                    <a:pt x="1592103" y="385573"/>
                    <a:pt x="1589341" y="382810"/>
                    <a:pt x="1589341" y="379381"/>
                  </a:cubicBezTo>
                  <a:cubicBezTo>
                    <a:pt x="1589341" y="375952"/>
                    <a:pt x="1592103" y="373190"/>
                    <a:pt x="1595532" y="373190"/>
                  </a:cubicBezTo>
                  <a:close/>
                  <a:moveTo>
                    <a:pt x="1691925" y="372333"/>
                  </a:moveTo>
                  <a:cubicBezTo>
                    <a:pt x="1695354" y="372333"/>
                    <a:pt x="1698117" y="375095"/>
                    <a:pt x="1698117" y="378524"/>
                  </a:cubicBezTo>
                  <a:cubicBezTo>
                    <a:pt x="1698117" y="381953"/>
                    <a:pt x="1695354" y="384715"/>
                    <a:pt x="1691925" y="384715"/>
                  </a:cubicBezTo>
                  <a:cubicBezTo>
                    <a:pt x="1688496" y="384715"/>
                    <a:pt x="1685734" y="381953"/>
                    <a:pt x="1685734" y="378524"/>
                  </a:cubicBezTo>
                  <a:cubicBezTo>
                    <a:pt x="1685734" y="375095"/>
                    <a:pt x="1688496" y="372333"/>
                    <a:pt x="1691925" y="372333"/>
                  </a:cubicBezTo>
                  <a:close/>
                  <a:moveTo>
                    <a:pt x="2635186" y="371571"/>
                  </a:moveTo>
                  <a:cubicBezTo>
                    <a:pt x="2638615" y="371571"/>
                    <a:pt x="2641377" y="374333"/>
                    <a:pt x="2641377" y="377762"/>
                  </a:cubicBezTo>
                  <a:cubicBezTo>
                    <a:pt x="2641377" y="381191"/>
                    <a:pt x="2638615" y="383953"/>
                    <a:pt x="2635186" y="383953"/>
                  </a:cubicBezTo>
                  <a:cubicBezTo>
                    <a:pt x="2631757" y="383953"/>
                    <a:pt x="2628995" y="381191"/>
                    <a:pt x="2628995" y="377762"/>
                  </a:cubicBezTo>
                  <a:cubicBezTo>
                    <a:pt x="2628995" y="374333"/>
                    <a:pt x="2631757" y="371571"/>
                    <a:pt x="2635186" y="371571"/>
                  </a:cubicBezTo>
                  <a:close/>
                  <a:moveTo>
                    <a:pt x="684942" y="371571"/>
                  </a:moveTo>
                  <a:cubicBezTo>
                    <a:pt x="688371" y="371571"/>
                    <a:pt x="691133" y="374333"/>
                    <a:pt x="691133" y="377762"/>
                  </a:cubicBezTo>
                  <a:cubicBezTo>
                    <a:pt x="691133" y="381191"/>
                    <a:pt x="688371" y="383953"/>
                    <a:pt x="684942" y="383953"/>
                  </a:cubicBezTo>
                  <a:cubicBezTo>
                    <a:pt x="681513" y="383953"/>
                    <a:pt x="678751" y="381191"/>
                    <a:pt x="678751" y="377762"/>
                  </a:cubicBezTo>
                  <a:cubicBezTo>
                    <a:pt x="678751" y="374333"/>
                    <a:pt x="681513" y="371571"/>
                    <a:pt x="684942" y="371571"/>
                  </a:cubicBezTo>
                  <a:close/>
                  <a:moveTo>
                    <a:pt x="2723768" y="371380"/>
                  </a:moveTo>
                  <a:cubicBezTo>
                    <a:pt x="2727197" y="371380"/>
                    <a:pt x="2729959" y="374142"/>
                    <a:pt x="2729959" y="377571"/>
                  </a:cubicBezTo>
                  <a:cubicBezTo>
                    <a:pt x="2729959" y="381000"/>
                    <a:pt x="2727197" y="383762"/>
                    <a:pt x="2723768" y="383762"/>
                  </a:cubicBezTo>
                  <a:cubicBezTo>
                    <a:pt x="2720339" y="383762"/>
                    <a:pt x="2717577" y="381000"/>
                    <a:pt x="2717577" y="377571"/>
                  </a:cubicBezTo>
                  <a:cubicBezTo>
                    <a:pt x="2717577" y="374142"/>
                    <a:pt x="2720339" y="371380"/>
                    <a:pt x="2723768" y="371380"/>
                  </a:cubicBezTo>
                  <a:close/>
                  <a:moveTo>
                    <a:pt x="1195863" y="371189"/>
                  </a:moveTo>
                  <a:cubicBezTo>
                    <a:pt x="1199292" y="371189"/>
                    <a:pt x="1202054" y="373951"/>
                    <a:pt x="1202054" y="377380"/>
                  </a:cubicBezTo>
                  <a:cubicBezTo>
                    <a:pt x="1202054" y="380809"/>
                    <a:pt x="1199292" y="383571"/>
                    <a:pt x="1195863" y="383571"/>
                  </a:cubicBezTo>
                  <a:cubicBezTo>
                    <a:pt x="1192434" y="383571"/>
                    <a:pt x="1189672" y="380809"/>
                    <a:pt x="1189672" y="377380"/>
                  </a:cubicBezTo>
                  <a:cubicBezTo>
                    <a:pt x="1189672" y="373951"/>
                    <a:pt x="1192434" y="371189"/>
                    <a:pt x="1195863" y="371189"/>
                  </a:cubicBezTo>
                  <a:close/>
                  <a:moveTo>
                    <a:pt x="651986" y="371189"/>
                  </a:moveTo>
                  <a:cubicBezTo>
                    <a:pt x="655415" y="371189"/>
                    <a:pt x="658177" y="373951"/>
                    <a:pt x="658177" y="377380"/>
                  </a:cubicBezTo>
                  <a:cubicBezTo>
                    <a:pt x="658177" y="380809"/>
                    <a:pt x="655415" y="383571"/>
                    <a:pt x="651986" y="383571"/>
                  </a:cubicBezTo>
                  <a:cubicBezTo>
                    <a:pt x="648557" y="383571"/>
                    <a:pt x="645795" y="380809"/>
                    <a:pt x="645795" y="377380"/>
                  </a:cubicBezTo>
                  <a:cubicBezTo>
                    <a:pt x="645795" y="373951"/>
                    <a:pt x="648557" y="371189"/>
                    <a:pt x="651986" y="371189"/>
                  </a:cubicBezTo>
                  <a:close/>
                  <a:moveTo>
                    <a:pt x="713898" y="370999"/>
                  </a:moveTo>
                  <a:cubicBezTo>
                    <a:pt x="717327" y="370999"/>
                    <a:pt x="720089" y="373761"/>
                    <a:pt x="720089" y="377190"/>
                  </a:cubicBezTo>
                  <a:cubicBezTo>
                    <a:pt x="720089" y="380619"/>
                    <a:pt x="717327" y="383382"/>
                    <a:pt x="713898" y="383382"/>
                  </a:cubicBezTo>
                  <a:cubicBezTo>
                    <a:pt x="710469" y="383382"/>
                    <a:pt x="707707" y="380619"/>
                    <a:pt x="707707" y="377190"/>
                  </a:cubicBezTo>
                  <a:cubicBezTo>
                    <a:pt x="707707" y="373761"/>
                    <a:pt x="710469" y="370999"/>
                    <a:pt x="713898" y="370999"/>
                  </a:cubicBezTo>
                  <a:close/>
                  <a:moveTo>
                    <a:pt x="804576" y="369951"/>
                  </a:moveTo>
                  <a:cubicBezTo>
                    <a:pt x="808005" y="369951"/>
                    <a:pt x="810768" y="372713"/>
                    <a:pt x="810768" y="376142"/>
                  </a:cubicBezTo>
                  <a:cubicBezTo>
                    <a:pt x="810768" y="379571"/>
                    <a:pt x="808005" y="382333"/>
                    <a:pt x="804576" y="382333"/>
                  </a:cubicBezTo>
                  <a:cubicBezTo>
                    <a:pt x="801147" y="382333"/>
                    <a:pt x="798385" y="379571"/>
                    <a:pt x="798385" y="376142"/>
                  </a:cubicBezTo>
                  <a:cubicBezTo>
                    <a:pt x="798385" y="372713"/>
                    <a:pt x="801147" y="369951"/>
                    <a:pt x="804576" y="369951"/>
                  </a:cubicBezTo>
                  <a:close/>
                  <a:moveTo>
                    <a:pt x="2672714" y="369665"/>
                  </a:moveTo>
                  <a:cubicBezTo>
                    <a:pt x="2676143" y="369665"/>
                    <a:pt x="2678905" y="372427"/>
                    <a:pt x="2678905" y="375856"/>
                  </a:cubicBezTo>
                  <a:cubicBezTo>
                    <a:pt x="2678905" y="379285"/>
                    <a:pt x="2676143" y="382047"/>
                    <a:pt x="2672714" y="382047"/>
                  </a:cubicBezTo>
                  <a:cubicBezTo>
                    <a:pt x="2669285" y="382047"/>
                    <a:pt x="2666523" y="379285"/>
                    <a:pt x="2666523" y="375856"/>
                  </a:cubicBezTo>
                  <a:cubicBezTo>
                    <a:pt x="2666523" y="372427"/>
                    <a:pt x="2669285" y="369665"/>
                    <a:pt x="2672714" y="369665"/>
                  </a:cubicBezTo>
                  <a:close/>
                  <a:moveTo>
                    <a:pt x="935735" y="368141"/>
                  </a:moveTo>
                  <a:cubicBezTo>
                    <a:pt x="939164" y="368141"/>
                    <a:pt x="941927" y="370903"/>
                    <a:pt x="941927" y="374332"/>
                  </a:cubicBezTo>
                  <a:cubicBezTo>
                    <a:pt x="941927" y="377761"/>
                    <a:pt x="939164" y="380523"/>
                    <a:pt x="935735" y="380523"/>
                  </a:cubicBezTo>
                  <a:cubicBezTo>
                    <a:pt x="932306" y="380523"/>
                    <a:pt x="929544" y="377761"/>
                    <a:pt x="929544" y="374332"/>
                  </a:cubicBezTo>
                  <a:cubicBezTo>
                    <a:pt x="929544" y="370903"/>
                    <a:pt x="932306" y="368141"/>
                    <a:pt x="935735" y="368141"/>
                  </a:cubicBezTo>
                  <a:close/>
                  <a:moveTo>
                    <a:pt x="864965" y="366808"/>
                  </a:moveTo>
                  <a:cubicBezTo>
                    <a:pt x="868394" y="366808"/>
                    <a:pt x="871156" y="369570"/>
                    <a:pt x="871156" y="372999"/>
                  </a:cubicBezTo>
                  <a:cubicBezTo>
                    <a:pt x="871156" y="376428"/>
                    <a:pt x="868394" y="379190"/>
                    <a:pt x="864965" y="379190"/>
                  </a:cubicBezTo>
                  <a:cubicBezTo>
                    <a:pt x="861536" y="379190"/>
                    <a:pt x="858774" y="376428"/>
                    <a:pt x="858774" y="372999"/>
                  </a:cubicBezTo>
                  <a:cubicBezTo>
                    <a:pt x="858774" y="369570"/>
                    <a:pt x="861536" y="366808"/>
                    <a:pt x="864965" y="366808"/>
                  </a:cubicBezTo>
                  <a:close/>
                  <a:moveTo>
                    <a:pt x="669702" y="366332"/>
                  </a:moveTo>
                  <a:cubicBezTo>
                    <a:pt x="673131" y="366332"/>
                    <a:pt x="675893" y="369094"/>
                    <a:pt x="675893" y="372523"/>
                  </a:cubicBezTo>
                  <a:cubicBezTo>
                    <a:pt x="675893" y="375952"/>
                    <a:pt x="673131" y="378714"/>
                    <a:pt x="669702" y="378714"/>
                  </a:cubicBezTo>
                  <a:cubicBezTo>
                    <a:pt x="666273" y="378714"/>
                    <a:pt x="663511" y="375952"/>
                    <a:pt x="663511" y="372523"/>
                  </a:cubicBezTo>
                  <a:cubicBezTo>
                    <a:pt x="663511" y="369094"/>
                    <a:pt x="666273" y="366332"/>
                    <a:pt x="669702" y="366332"/>
                  </a:cubicBezTo>
                  <a:close/>
                  <a:moveTo>
                    <a:pt x="2279617" y="365379"/>
                  </a:moveTo>
                  <a:cubicBezTo>
                    <a:pt x="2283046" y="365379"/>
                    <a:pt x="2285809" y="368141"/>
                    <a:pt x="2285809" y="371570"/>
                  </a:cubicBezTo>
                  <a:cubicBezTo>
                    <a:pt x="2285809" y="374999"/>
                    <a:pt x="2283046" y="377762"/>
                    <a:pt x="2279617" y="377762"/>
                  </a:cubicBezTo>
                  <a:cubicBezTo>
                    <a:pt x="2276188" y="377762"/>
                    <a:pt x="2273426" y="374999"/>
                    <a:pt x="2273426" y="371570"/>
                  </a:cubicBezTo>
                  <a:cubicBezTo>
                    <a:pt x="2273426" y="368141"/>
                    <a:pt x="2276188" y="365379"/>
                    <a:pt x="2279617" y="365379"/>
                  </a:cubicBezTo>
                  <a:close/>
                  <a:moveTo>
                    <a:pt x="2701480" y="364903"/>
                  </a:moveTo>
                  <a:cubicBezTo>
                    <a:pt x="2704909" y="364903"/>
                    <a:pt x="2707671" y="367665"/>
                    <a:pt x="2707671" y="371094"/>
                  </a:cubicBezTo>
                  <a:cubicBezTo>
                    <a:pt x="2707671" y="374523"/>
                    <a:pt x="2704909" y="377285"/>
                    <a:pt x="2701480" y="377285"/>
                  </a:cubicBezTo>
                  <a:cubicBezTo>
                    <a:pt x="2698051" y="377285"/>
                    <a:pt x="2695289" y="374523"/>
                    <a:pt x="2695289" y="371094"/>
                  </a:cubicBezTo>
                  <a:cubicBezTo>
                    <a:pt x="2695289" y="367665"/>
                    <a:pt x="2698051" y="364903"/>
                    <a:pt x="2701480" y="364903"/>
                  </a:cubicBezTo>
                  <a:close/>
                  <a:moveTo>
                    <a:pt x="2683858" y="364903"/>
                  </a:moveTo>
                  <a:cubicBezTo>
                    <a:pt x="2687287" y="364903"/>
                    <a:pt x="2690050" y="367665"/>
                    <a:pt x="2690050" y="371094"/>
                  </a:cubicBezTo>
                  <a:cubicBezTo>
                    <a:pt x="2690050" y="374523"/>
                    <a:pt x="2687287" y="377285"/>
                    <a:pt x="2683858" y="377285"/>
                  </a:cubicBezTo>
                  <a:cubicBezTo>
                    <a:pt x="2680429" y="377285"/>
                    <a:pt x="2677667" y="374523"/>
                    <a:pt x="2677667" y="371094"/>
                  </a:cubicBezTo>
                  <a:cubicBezTo>
                    <a:pt x="2677667" y="367665"/>
                    <a:pt x="2680429" y="364903"/>
                    <a:pt x="2683858" y="364903"/>
                  </a:cubicBezTo>
                  <a:close/>
                  <a:moveTo>
                    <a:pt x="640555" y="364808"/>
                  </a:moveTo>
                  <a:cubicBezTo>
                    <a:pt x="643984" y="364808"/>
                    <a:pt x="646747" y="367570"/>
                    <a:pt x="646747" y="370999"/>
                  </a:cubicBezTo>
                  <a:cubicBezTo>
                    <a:pt x="646747" y="374428"/>
                    <a:pt x="643984" y="377190"/>
                    <a:pt x="640555" y="377190"/>
                  </a:cubicBezTo>
                  <a:cubicBezTo>
                    <a:pt x="637126" y="377190"/>
                    <a:pt x="634364" y="374428"/>
                    <a:pt x="634364" y="370999"/>
                  </a:cubicBezTo>
                  <a:cubicBezTo>
                    <a:pt x="634364" y="367570"/>
                    <a:pt x="637126" y="364808"/>
                    <a:pt x="640555" y="364808"/>
                  </a:cubicBezTo>
                  <a:close/>
                  <a:moveTo>
                    <a:pt x="2556033" y="364617"/>
                  </a:moveTo>
                  <a:cubicBezTo>
                    <a:pt x="2559462" y="364617"/>
                    <a:pt x="2562224" y="367379"/>
                    <a:pt x="2562224" y="370808"/>
                  </a:cubicBezTo>
                  <a:cubicBezTo>
                    <a:pt x="2562224" y="374237"/>
                    <a:pt x="2559462" y="376999"/>
                    <a:pt x="2556033" y="376999"/>
                  </a:cubicBezTo>
                  <a:cubicBezTo>
                    <a:pt x="2552604" y="376999"/>
                    <a:pt x="2549842" y="374237"/>
                    <a:pt x="2549842" y="370808"/>
                  </a:cubicBezTo>
                  <a:cubicBezTo>
                    <a:pt x="2549842" y="367379"/>
                    <a:pt x="2552604" y="364617"/>
                    <a:pt x="2556033" y="364617"/>
                  </a:cubicBezTo>
                  <a:close/>
                  <a:moveTo>
                    <a:pt x="2653664" y="364522"/>
                  </a:moveTo>
                  <a:cubicBezTo>
                    <a:pt x="2657093" y="364522"/>
                    <a:pt x="2659855" y="367284"/>
                    <a:pt x="2659855" y="370713"/>
                  </a:cubicBezTo>
                  <a:cubicBezTo>
                    <a:pt x="2659855" y="374142"/>
                    <a:pt x="2657093" y="376905"/>
                    <a:pt x="2653664" y="376905"/>
                  </a:cubicBezTo>
                  <a:cubicBezTo>
                    <a:pt x="2650235" y="376905"/>
                    <a:pt x="2647473" y="374142"/>
                    <a:pt x="2647473" y="370713"/>
                  </a:cubicBezTo>
                  <a:cubicBezTo>
                    <a:pt x="2647473" y="367284"/>
                    <a:pt x="2650235" y="364522"/>
                    <a:pt x="2653664" y="364522"/>
                  </a:cubicBezTo>
                  <a:close/>
                  <a:moveTo>
                    <a:pt x="2096928" y="363855"/>
                  </a:moveTo>
                  <a:cubicBezTo>
                    <a:pt x="2100348" y="363855"/>
                    <a:pt x="2103120" y="366627"/>
                    <a:pt x="2103120" y="370046"/>
                  </a:cubicBezTo>
                  <a:cubicBezTo>
                    <a:pt x="2103120" y="373466"/>
                    <a:pt x="2100348" y="376238"/>
                    <a:pt x="2096928" y="376238"/>
                  </a:cubicBezTo>
                  <a:cubicBezTo>
                    <a:pt x="2093509" y="376238"/>
                    <a:pt x="2090737" y="373466"/>
                    <a:pt x="2090737" y="370046"/>
                  </a:cubicBezTo>
                  <a:cubicBezTo>
                    <a:pt x="2090737" y="366627"/>
                    <a:pt x="2093509" y="363855"/>
                    <a:pt x="2096928" y="363855"/>
                  </a:cubicBezTo>
                  <a:close/>
                  <a:moveTo>
                    <a:pt x="2720816" y="363093"/>
                  </a:moveTo>
                  <a:cubicBezTo>
                    <a:pt x="2722657" y="363093"/>
                    <a:pt x="2724150" y="364586"/>
                    <a:pt x="2724150" y="366427"/>
                  </a:cubicBezTo>
                  <a:cubicBezTo>
                    <a:pt x="2724150" y="368268"/>
                    <a:pt x="2722657" y="369760"/>
                    <a:pt x="2720816" y="369760"/>
                  </a:cubicBezTo>
                  <a:cubicBezTo>
                    <a:pt x="2718975" y="369760"/>
                    <a:pt x="2717482" y="368268"/>
                    <a:pt x="2717482" y="366427"/>
                  </a:cubicBezTo>
                  <a:cubicBezTo>
                    <a:pt x="2717482" y="364586"/>
                    <a:pt x="2718975" y="363093"/>
                    <a:pt x="2720816" y="363093"/>
                  </a:cubicBezTo>
                  <a:close/>
                  <a:moveTo>
                    <a:pt x="657891" y="362808"/>
                  </a:moveTo>
                  <a:cubicBezTo>
                    <a:pt x="661320" y="362808"/>
                    <a:pt x="664083" y="365570"/>
                    <a:pt x="664083" y="368999"/>
                  </a:cubicBezTo>
                  <a:cubicBezTo>
                    <a:pt x="664083" y="372428"/>
                    <a:pt x="661320" y="375190"/>
                    <a:pt x="657891" y="375190"/>
                  </a:cubicBezTo>
                  <a:cubicBezTo>
                    <a:pt x="654462" y="375190"/>
                    <a:pt x="651700" y="372428"/>
                    <a:pt x="651700" y="368999"/>
                  </a:cubicBezTo>
                  <a:cubicBezTo>
                    <a:pt x="651700" y="365570"/>
                    <a:pt x="654462" y="362808"/>
                    <a:pt x="657891" y="362808"/>
                  </a:cubicBezTo>
                  <a:close/>
                  <a:moveTo>
                    <a:pt x="2666428" y="361474"/>
                  </a:moveTo>
                  <a:cubicBezTo>
                    <a:pt x="2669857" y="361474"/>
                    <a:pt x="2672619" y="364236"/>
                    <a:pt x="2672619" y="367665"/>
                  </a:cubicBezTo>
                  <a:cubicBezTo>
                    <a:pt x="2672619" y="371094"/>
                    <a:pt x="2669857" y="373857"/>
                    <a:pt x="2666428" y="373857"/>
                  </a:cubicBezTo>
                  <a:cubicBezTo>
                    <a:pt x="2662999" y="373857"/>
                    <a:pt x="2660237" y="371094"/>
                    <a:pt x="2660237" y="367665"/>
                  </a:cubicBezTo>
                  <a:cubicBezTo>
                    <a:pt x="2660237" y="364236"/>
                    <a:pt x="2662999" y="361474"/>
                    <a:pt x="2666428" y="361474"/>
                  </a:cubicBezTo>
                  <a:close/>
                  <a:moveTo>
                    <a:pt x="690943" y="361283"/>
                  </a:moveTo>
                  <a:cubicBezTo>
                    <a:pt x="694372" y="361283"/>
                    <a:pt x="697135" y="364045"/>
                    <a:pt x="697135" y="367474"/>
                  </a:cubicBezTo>
                  <a:cubicBezTo>
                    <a:pt x="697135" y="370903"/>
                    <a:pt x="694372" y="373666"/>
                    <a:pt x="690943" y="373666"/>
                  </a:cubicBezTo>
                  <a:cubicBezTo>
                    <a:pt x="687514" y="373666"/>
                    <a:pt x="684752" y="370903"/>
                    <a:pt x="684752" y="367474"/>
                  </a:cubicBezTo>
                  <a:cubicBezTo>
                    <a:pt x="684752" y="364045"/>
                    <a:pt x="687514" y="361283"/>
                    <a:pt x="690943" y="361283"/>
                  </a:cubicBezTo>
                  <a:close/>
                  <a:moveTo>
                    <a:pt x="2629852" y="360236"/>
                  </a:moveTo>
                  <a:cubicBezTo>
                    <a:pt x="2633281" y="360236"/>
                    <a:pt x="2636043" y="362998"/>
                    <a:pt x="2636043" y="366427"/>
                  </a:cubicBezTo>
                  <a:cubicBezTo>
                    <a:pt x="2636043" y="369856"/>
                    <a:pt x="2633281" y="372618"/>
                    <a:pt x="2629852" y="372618"/>
                  </a:cubicBezTo>
                  <a:cubicBezTo>
                    <a:pt x="2626423" y="372618"/>
                    <a:pt x="2623661" y="369856"/>
                    <a:pt x="2623661" y="366427"/>
                  </a:cubicBezTo>
                  <a:cubicBezTo>
                    <a:pt x="2623661" y="362998"/>
                    <a:pt x="2626423" y="360236"/>
                    <a:pt x="2629852" y="360236"/>
                  </a:cubicBezTo>
                  <a:close/>
                  <a:moveTo>
                    <a:pt x="754951" y="360045"/>
                  </a:moveTo>
                  <a:cubicBezTo>
                    <a:pt x="758380" y="360045"/>
                    <a:pt x="761143" y="362807"/>
                    <a:pt x="761143" y="366236"/>
                  </a:cubicBezTo>
                  <a:cubicBezTo>
                    <a:pt x="761143" y="369665"/>
                    <a:pt x="758380" y="372427"/>
                    <a:pt x="754951" y="372427"/>
                  </a:cubicBezTo>
                  <a:cubicBezTo>
                    <a:pt x="751522" y="372427"/>
                    <a:pt x="748760" y="369665"/>
                    <a:pt x="748760" y="366236"/>
                  </a:cubicBezTo>
                  <a:cubicBezTo>
                    <a:pt x="748760" y="362807"/>
                    <a:pt x="751522" y="360045"/>
                    <a:pt x="754951" y="360045"/>
                  </a:cubicBezTo>
                  <a:close/>
                  <a:moveTo>
                    <a:pt x="2598419" y="359283"/>
                  </a:moveTo>
                  <a:cubicBezTo>
                    <a:pt x="2601848" y="359283"/>
                    <a:pt x="2604611" y="362045"/>
                    <a:pt x="2604611" y="365474"/>
                  </a:cubicBezTo>
                  <a:cubicBezTo>
                    <a:pt x="2604611" y="368903"/>
                    <a:pt x="2601848" y="371665"/>
                    <a:pt x="2598419" y="371665"/>
                  </a:cubicBezTo>
                  <a:cubicBezTo>
                    <a:pt x="2594990" y="371665"/>
                    <a:pt x="2592228" y="368903"/>
                    <a:pt x="2592228" y="365474"/>
                  </a:cubicBezTo>
                  <a:cubicBezTo>
                    <a:pt x="2592228" y="362045"/>
                    <a:pt x="2594990" y="359283"/>
                    <a:pt x="2598419" y="359283"/>
                  </a:cubicBezTo>
                  <a:close/>
                  <a:moveTo>
                    <a:pt x="2502217" y="358331"/>
                  </a:moveTo>
                  <a:cubicBezTo>
                    <a:pt x="2505646" y="358331"/>
                    <a:pt x="2508409" y="361093"/>
                    <a:pt x="2508409" y="364522"/>
                  </a:cubicBezTo>
                  <a:cubicBezTo>
                    <a:pt x="2508409" y="367951"/>
                    <a:pt x="2505646" y="370713"/>
                    <a:pt x="2502217" y="370713"/>
                  </a:cubicBezTo>
                  <a:cubicBezTo>
                    <a:pt x="2498788" y="370713"/>
                    <a:pt x="2496026" y="367951"/>
                    <a:pt x="2496026" y="364522"/>
                  </a:cubicBezTo>
                  <a:cubicBezTo>
                    <a:pt x="2496026" y="361093"/>
                    <a:pt x="2498788" y="358331"/>
                    <a:pt x="2502217" y="358331"/>
                  </a:cubicBezTo>
                  <a:close/>
                  <a:moveTo>
                    <a:pt x="718280" y="358331"/>
                  </a:moveTo>
                  <a:cubicBezTo>
                    <a:pt x="721709" y="358331"/>
                    <a:pt x="724471" y="361093"/>
                    <a:pt x="724471" y="364522"/>
                  </a:cubicBezTo>
                  <a:cubicBezTo>
                    <a:pt x="724471" y="367951"/>
                    <a:pt x="721709" y="370713"/>
                    <a:pt x="718280" y="370713"/>
                  </a:cubicBezTo>
                  <a:cubicBezTo>
                    <a:pt x="714851" y="370713"/>
                    <a:pt x="712089" y="367951"/>
                    <a:pt x="712089" y="364522"/>
                  </a:cubicBezTo>
                  <a:cubicBezTo>
                    <a:pt x="712089" y="361093"/>
                    <a:pt x="714851" y="358331"/>
                    <a:pt x="718280" y="358331"/>
                  </a:cubicBezTo>
                  <a:close/>
                  <a:moveTo>
                    <a:pt x="675988" y="358045"/>
                  </a:moveTo>
                  <a:cubicBezTo>
                    <a:pt x="679417" y="358045"/>
                    <a:pt x="682180" y="360807"/>
                    <a:pt x="682180" y="364236"/>
                  </a:cubicBezTo>
                  <a:cubicBezTo>
                    <a:pt x="682180" y="367665"/>
                    <a:pt x="679417" y="370427"/>
                    <a:pt x="675988" y="370427"/>
                  </a:cubicBezTo>
                  <a:cubicBezTo>
                    <a:pt x="672559" y="370427"/>
                    <a:pt x="669797" y="367665"/>
                    <a:pt x="669797" y="364236"/>
                  </a:cubicBezTo>
                  <a:cubicBezTo>
                    <a:pt x="669797" y="360807"/>
                    <a:pt x="672559" y="358045"/>
                    <a:pt x="675988" y="358045"/>
                  </a:cubicBezTo>
                  <a:close/>
                  <a:moveTo>
                    <a:pt x="2365247" y="357664"/>
                  </a:moveTo>
                  <a:cubicBezTo>
                    <a:pt x="2368676" y="357664"/>
                    <a:pt x="2371439" y="360426"/>
                    <a:pt x="2371439" y="363855"/>
                  </a:cubicBezTo>
                  <a:cubicBezTo>
                    <a:pt x="2371439" y="367284"/>
                    <a:pt x="2368676" y="370046"/>
                    <a:pt x="2365247" y="370046"/>
                  </a:cubicBezTo>
                  <a:cubicBezTo>
                    <a:pt x="2361818" y="370046"/>
                    <a:pt x="2359056" y="367284"/>
                    <a:pt x="2359056" y="363855"/>
                  </a:cubicBezTo>
                  <a:cubicBezTo>
                    <a:pt x="2359056" y="360426"/>
                    <a:pt x="2361818" y="357664"/>
                    <a:pt x="2365247" y="357664"/>
                  </a:cubicBezTo>
                  <a:close/>
                  <a:moveTo>
                    <a:pt x="2678906" y="356235"/>
                  </a:moveTo>
                  <a:cubicBezTo>
                    <a:pt x="2682335" y="356235"/>
                    <a:pt x="2685097" y="358997"/>
                    <a:pt x="2685097" y="362426"/>
                  </a:cubicBezTo>
                  <a:cubicBezTo>
                    <a:pt x="2685097" y="365855"/>
                    <a:pt x="2682335" y="368617"/>
                    <a:pt x="2678906" y="368617"/>
                  </a:cubicBezTo>
                  <a:cubicBezTo>
                    <a:pt x="2675477" y="368617"/>
                    <a:pt x="2672715" y="365855"/>
                    <a:pt x="2672715" y="362426"/>
                  </a:cubicBezTo>
                  <a:cubicBezTo>
                    <a:pt x="2672715" y="358997"/>
                    <a:pt x="2675477" y="356235"/>
                    <a:pt x="2678906" y="356235"/>
                  </a:cubicBezTo>
                  <a:close/>
                  <a:moveTo>
                    <a:pt x="644938" y="356235"/>
                  </a:moveTo>
                  <a:cubicBezTo>
                    <a:pt x="647986" y="356235"/>
                    <a:pt x="650462" y="358712"/>
                    <a:pt x="650462" y="361760"/>
                  </a:cubicBezTo>
                  <a:cubicBezTo>
                    <a:pt x="650462" y="364808"/>
                    <a:pt x="647986" y="367284"/>
                    <a:pt x="644938" y="367284"/>
                  </a:cubicBezTo>
                  <a:cubicBezTo>
                    <a:pt x="641890" y="367284"/>
                    <a:pt x="639413" y="364808"/>
                    <a:pt x="639413" y="361760"/>
                  </a:cubicBezTo>
                  <a:cubicBezTo>
                    <a:pt x="639413" y="358712"/>
                    <a:pt x="641890" y="356235"/>
                    <a:pt x="644938" y="356235"/>
                  </a:cubicBezTo>
                  <a:close/>
                  <a:moveTo>
                    <a:pt x="1281398" y="356140"/>
                  </a:moveTo>
                  <a:cubicBezTo>
                    <a:pt x="1284827" y="356140"/>
                    <a:pt x="1287589" y="358902"/>
                    <a:pt x="1287589" y="362331"/>
                  </a:cubicBezTo>
                  <a:cubicBezTo>
                    <a:pt x="1287589" y="365760"/>
                    <a:pt x="1284827" y="368522"/>
                    <a:pt x="1281398" y="368522"/>
                  </a:cubicBezTo>
                  <a:cubicBezTo>
                    <a:pt x="1277969" y="368522"/>
                    <a:pt x="1275207" y="365760"/>
                    <a:pt x="1275207" y="362331"/>
                  </a:cubicBezTo>
                  <a:cubicBezTo>
                    <a:pt x="1275207" y="358902"/>
                    <a:pt x="1277969" y="356140"/>
                    <a:pt x="1281398" y="356140"/>
                  </a:cubicBezTo>
                  <a:close/>
                  <a:moveTo>
                    <a:pt x="2647378" y="355950"/>
                  </a:moveTo>
                  <a:cubicBezTo>
                    <a:pt x="2650807" y="355950"/>
                    <a:pt x="2653569" y="358712"/>
                    <a:pt x="2653569" y="362141"/>
                  </a:cubicBezTo>
                  <a:cubicBezTo>
                    <a:pt x="2653569" y="365570"/>
                    <a:pt x="2650807" y="368332"/>
                    <a:pt x="2647378" y="368332"/>
                  </a:cubicBezTo>
                  <a:cubicBezTo>
                    <a:pt x="2643949" y="368332"/>
                    <a:pt x="2641187" y="365570"/>
                    <a:pt x="2641187" y="362141"/>
                  </a:cubicBezTo>
                  <a:cubicBezTo>
                    <a:pt x="2641187" y="358712"/>
                    <a:pt x="2643949" y="355950"/>
                    <a:pt x="2647378" y="355950"/>
                  </a:cubicBezTo>
                  <a:close/>
                  <a:moveTo>
                    <a:pt x="2439066" y="355664"/>
                  </a:moveTo>
                  <a:cubicBezTo>
                    <a:pt x="2442495" y="355664"/>
                    <a:pt x="2445258" y="358426"/>
                    <a:pt x="2445258" y="361855"/>
                  </a:cubicBezTo>
                  <a:cubicBezTo>
                    <a:pt x="2445258" y="365284"/>
                    <a:pt x="2442495" y="368046"/>
                    <a:pt x="2439066" y="368046"/>
                  </a:cubicBezTo>
                  <a:cubicBezTo>
                    <a:pt x="2435637" y="368046"/>
                    <a:pt x="2432875" y="365284"/>
                    <a:pt x="2432875" y="361855"/>
                  </a:cubicBezTo>
                  <a:cubicBezTo>
                    <a:pt x="2432875" y="358426"/>
                    <a:pt x="2435637" y="355664"/>
                    <a:pt x="2439066" y="355664"/>
                  </a:cubicBezTo>
                  <a:close/>
                  <a:moveTo>
                    <a:pt x="2697765" y="354997"/>
                  </a:moveTo>
                  <a:cubicBezTo>
                    <a:pt x="2701194" y="354997"/>
                    <a:pt x="2703957" y="357759"/>
                    <a:pt x="2703957" y="361188"/>
                  </a:cubicBezTo>
                  <a:cubicBezTo>
                    <a:pt x="2703957" y="364617"/>
                    <a:pt x="2701194" y="367380"/>
                    <a:pt x="2697765" y="367380"/>
                  </a:cubicBezTo>
                  <a:cubicBezTo>
                    <a:pt x="2694336" y="367380"/>
                    <a:pt x="2691574" y="364617"/>
                    <a:pt x="2691574" y="361188"/>
                  </a:cubicBezTo>
                  <a:cubicBezTo>
                    <a:pt x="2691574" y="357759"/>
                    <a:pt x="2694336" y="354997"/>
                    <a:pt x="2697765" y="354997"/>
                  </a:cubicBezTo>
                  <a:close/>
                  <a:moveTo>
                    <a:pt x="1093184" y="354807"/>
                  </a:moveTo>
                  <a:cubicBezTo>
                    <a:pt x="1096613" y="354807"/>
                    <a:pt x="1099375" y="357569"/>
                    <a:pt x="1099375" y="360998"/>
                  </a:cubicBezTo>
                  <a:cubicBezTo>
                    <a:pt x="1099375" y="364427"/>
                    <a:pt x="1096613" y="367189"/>
                    <a:pt x="1093184" y="367189"/>
                  </a:cubicBezTo>
                  <a:cubicBezTo>
                    <a:pt x="1089755" y="367189"/>
                    <a:pt x="1086993" y="364427"/>
                    <a:pt x="1086993" y="360998"/>
                  </a:cubicBezTo>
                  <a:cubicBezTo>
                    <a:pt x="1086993" y="357569"/>
                    <a:pt x="1089755" y="354807"/>
                    <a:pt x="1093184" y="354807"/>
                  </a:cubicBezTo>
                  <a:close/>
                  <a:moveTo>
                    <a:pt x="663320" y="354616"/>
                  </a:moveTo>
                  <a:cubicBezTo>
                    <a:pt x="666749" y="354616"/>
                    <a:pt x="669512" y="357378"/>
                    <a:pt x="669512" y="360807"/>
                  </a:cubicBezTo>
                  <a:cubicBezTo>
                    <a:pt x="669512" y="364236"/>
                    <a:pt x="666749" y="366998"/>
                    <a:pt x="663320" y="366998"/>
                  </a:cubicBezTo>
                  <a:cubicBezTo>
                    <a:pt x="659891" y="366998"/>
                    <a:pt x="657129" y="364236"/>
                    <a:pt x="657129" y="360807"/>
                  </a:cubicBezTo>
                  <a:cubicBezTo>
                    <a:pt x="657129" y="357378"/>
                    <a:pt x="659891" y="354616"/>
                    <a:pt x="663320" y="354616"/>
                  </a:cubicBezTo>
                  <a:close/>
                  <a:moveTo>
                    <a:pt x="2660713" y="353473"/>
                  </a:moveTo>
                  <a:cubicBezTo>
                    <a:pt x="2664142" y="353473"/>
                    <a:pt x="2666904" y="356235"/>
                    <a:pt x="2666904" y="359664"/>
                  </a:cubicBezTo>
                  <a:cubicBezTo>
                    <a:pt x="2666904" y="363093"/>
                    <a:pt x="2664142" y="365856"/>
                    <a:pt x="2660713" y="365856"/>
                  </a:cubicBezTo>
                  <a:cubicBezTo>
                    <a:pt x="2657284" y="365856"/>
                    <a:pt x="2654522" y="363093"/>
                    <a:pt x="2654522" y="359664"/>
                  </a:cubicBezTo>
                  <a:cubicBezTo>
                    <a:pt x="2654522" y="356235"/>
                    <a:pt x="2657284" y="353473"/>
                    <a:pt x="2660713" y="353473"/>
                  </a:cubicBezTo>
                  <a:close/>
                  <a:moveTo>
                    <a:pt x="648557" y="352235"/>
                  </a:moveTo>
                  <a:lnTo>
                    <a:pt x="648652" y="352330"/>
                  </a:lnTo>
                  <a:lnTo>
                    <a:pt x="648557" y="352330"/>
                  </a:lnTo>
                  <a:close/>
                  <a:moveTo>
                    <a:pt x="696848" y="352139"/>
                  </a:moveTo>
                  <a:cubicBezTo>
                    <a:pt x="700277" y="352139"/>
                    <a:pt x="703039" y="354901"/>
                    <a:pt x="703039" y="358330"/>
                  </a:cubicBezTo>
                  <a:cubicBezTo>
                    <a:pt x="703039" y="361759"/>
                    <a:pt x="700277" y="364521"/>
                    <a:pt x="696848" y="364521"/>
                  </a:cubicBezTo>
                  <a:cubicBezTo>
                    <a:pt x="693419" y="364521"/>
                    <a:pt x="690657" y="361759"/>
                    <a:pt x="690657" y="358330"/>
                  </a:cubicBezTo>
                  <a:cubicBezTo>
                    <a:pt x="690657" y="354901"/>
                    <a:pt x="693419" y="352139"/>
                    <a:pt x="696848" y="352139"/>
                  </a:cubicBezTo>
                  <a:close/>
                  <a:moveTo>
                    <a:pt x="803243" y="351282"/>
                  </a:moveTo>
                  <a:cubicBezTo>
                    <a:pt x="806672" y="351282"/>
                    <a:pt x="809435" y="354044"/>
                    <a:pt x="809435" y="357473"/>
                  </a:cubicBezTo>
                  <a:cubicBezTo>
                    <a:pt x="809435" y="360902"/>
                    <a:pt x="806672" y="363664"/>
                    <a:pt x="803243" y="363664"/>
                  </a:cubicBezTo>
                  <a:cubicBezTo>
                    <a:pt x="799814" y="363664"/>
                    <a:pt x="797052" y="360902"/>
                    <a:pt x="797052" y="357473"/>
                  </a:cubicBezTo>
                  <a:cubicBezTo>
                    <a:pt x="797052" y="354044"/>
                    <a:pt x="799814" y="351282"/>
                    <a:pt x="803243" y="351282"/>
                  </a:cubicBezTo>
                  <a:close/>
                  <a:moveTo>
                    <a:pt x="2624423" y="350234"/>
                  </a:moveTo>
                  <a:cubicBezTo>
                    <a:pt x="2627852" y="350234"/>
                    <a:pt x="2630614" y="352996"/>
                    <a:pt x="2630614" y="356425"/>
                  </a:cubicBezTo>
                  <a:cubicBezTo>
                    <a:pt x="2630614" y="359854"/>
                    <a:pt x="2627852" y="362617"/>
                    <a:pt x="2624423" y="362617"/>
                  </a:cubicBezTo>
                  <a:cubicBezTo>
                    <a:pt x="2620994" y="362617"/>
                    <a:pt x="2618232" y="359854"/>
                    <a:pt x="2618232" y="356425"/>
                  </a:cubicBezTo>
                  <a:cubicBezTo>
                    <a:pt x="2618232" y="352996"/>
                    <a:pt x="2620994" y="350234"/>
                    <a:pt x="2624423" y="350234"/>
                  </a:cubicBezTo>
                  <a:close/>
                  <a:moveTo>
                    <a:pt x="2010155" y="350139"/>
                  </a:moveTo>
                  <a:cubicBezTo>
                    <a:pt x="2013584" y="350139"/>
                    <a:pt x="2016347" y="352901"/>
                    <a:pt x="2016347" y="356330"/>
                  </a:cubicBezTo>
                  <a:cubicBezTo>
                    <a:pt x="2016347" y="359759"/>
                    <a:pt x="2013584" y="362521"/>
                    <a:pt x="2010155" y="362521"/>
                  </a:cubicBezTo>
                  <a:cubicBezTo>
                    <a:pt x="2006726" y="362521"/>
                    <a:pt x="2003964" y="359759"/>
                    <a:pt x="2003964" y="356330"/>
                  </a:cubicBezTo>
                  <a:cubicBezTo>
                    <a:pt x="2003964" y="352901"/>
                    <a:pt x="2006726" y="350139"/>
                    <a:pt x="2010155" y="350139"/>
                  </a:cubicBezTo>
                  <a:close/>
                  <a:moveTo>
                    <a:pt x="681894" y="350139"/>
                  </a:moveTo>
                  <a:cubicBezTo>
                    <a:pt x="685323" y="350139"/>
                    <a:pt x="688085" y="352901"/>
                    <a:pt x="688085" y="356330"/>
                  </a:cubicBezTo>
                  <a:cubicBezTo>
                    <a:pt x="688085" y="359759"/>
                    <a:pt x="685323" y="362521"/>
                    <a:pt x="681894" y="362521"/>
                  </a:cubicBezTo>
                  <a:cubicBezTo>
                    <a:pt x="678465" y="362521"/>
                    <a:pt x="675703" y="359759"/>
                    <a:pt x="675703" y="356330"/>
                  </a:cubicBezTo>
                  <a:cubicBezTo>
                    <a:pt x="675703" y="352901"/>
                    <a:pt x="678465" y="350139"/>
                    <a:pt x="681894" y="350139"/>
                  </a:cubicBezTo>
                  <a:close/>
                  <a:moveTo>
                    <a:pt x="2555271" y="348425"/>
                  </a:moveTo>
                  <a:cubicBezTo>
                    <a:pt x="2558700" y="348425"/>
                    <a:pt x="2561463" y="351187"/>
                    <a:pt x="2561463" y="354616"/>
                  </a:cubicBezTo>
                  <a:cubicBezTo>
                    <a:pt x="2561463" y="358045"/>
                    <a:pt x="2558700" y="360807"/>
                    <a:pt x="2555271" y="360807"/>
                  </a:cubicBezTo>
                  <a:cubicBezTo>
                    <a:pt x="2551842" y="360807"/>
                    <a:pt x="2549080" y="358045"/>
                    <a:pt x="2549080" y="354616"/>
                  </a:cubicBezTo>
                  <a:cubicBezTo>
                    <a:pt x="2549080" y="351187"/>
                    <a:pt x="2551842" y="348425"/>
                    <a:pt x="2555271" y="348425"/>
                  </a:cubicBezTo>
                  <a:close/>
                  <a:moveTo>
                    <a:pt x="2641472" y="347949"/>
                  </a:moveTo>
                  <a:cubicBezTo>
                    <a:pt x="2644901" y="347949"/>
                    <a:pt x="2647663" y="350711"/>
                    <a:pt x="2647663" y="354140"/>
                  </a:cubicBezTo>
                  <a:cubicBezTo>
                    <a:pt x="2647663" y="357569"/>
                    <a:pt x="2644901" y="360331"/>
                    <a:pt x="2641472" y="360331"/>
                  </a:cubicBezTo>
                  <a:cubicBezTo>
                    <a:pt x="2638043" y="360331"/>
                    <a:pt x="2635281" y="357569"/>
                    <a:pt x="2635281" y="354140"/>
                  </a:cubicBezTo>
                  <a:cubicBezTo>
                    <a:pt x="2635281" y="350711"/>
                    <a:pt x="2638043" y="347949"/>
                    <a:pt x="2641472" y="347949"/>
                  </a:cubicBezTo>
                  <a:close/>
                  <a:moveTo>
                    <a:pt x="2674619" y="347472"/>
                  </a:moveTo>
                  <a:cubicBezTo>
                    <a:pt x="2678048" y="347472"/>
                    <a:pt x="2680811" y="350234"/>
                    <a:pt x="2680811" y="353663"/>
                  </a:cubicBezTo>
                  <a:cubicBezTo>
                    <a:pt x="2680811" y="357092"/>
                    <a:pt x="2678048" y="359854"/>
                    <a:pt x="2674619" y="359854"/>
                  </a:cubicBezTo>
                  <a:cubicBezTo>
                    <a:pt x="2671190" y="359854"/>
                    <a:pt x="2668428" y="357092"/>
                    <a:pt x="2668428" y="353663"/>
                  </a:cubicBezTo>
                  <a:cubicBezTo>
                    <a:pt x="2668428" y="350234"/>
                    <a:pt x="2671190" y="347472"/>
                    <a:pt x="2674619" y="347472"/>
                  </a:cubicBezTo>
                  <a:close/>
                  <a:moveTo>
                    <a:pt x="722947" y="347282"/>
                  </a:moveTo>
                  <a:cubicBezTo>
                    <a:pt x="726376" y="347282"/>
                    <a:pt x="729139" y="350044"/>
                    <a:pt x="729139" y="353473"/>
                  </a:cubicBezTo>
                  <a:cubicBezTo>
                    <a:pt x="729139" y="356902"/>
                    <a:pt x="726376" y="359664"/>
                    <a:pt x="722947" y="359664"/>
                  </a:cubicBezTo>
                  <a:cubicBezTo>
                    <a:pt x="719518" y="359664"/>
                    <a:pt x="716756" y="356902"/>
                    <a:pt x="716756" y="353473"/>
                  </a:cubicBezTo>
                  <a:cubicBezTo>
                    <a:pt x="716756" y="350044"/>
                    <a:pt x="719518" y="347282"/>
                    <a:pt x="722947" y="347282"/>
                  </a:cubicBezTo>
                  <a:close/>
                  <a:moveTo>
                    <a:pt x="2594800" y="346806"/>
                  </a:moveTo>
                  <a:cubicBezTo>
                    <a:pt x="2598229" y="346806"/>
                    <a:pt x="2600992" y="349568"/>
                    <a:pt x="2600992" y="352997"/>
                  </a:cubicBezTo>
                  <a:cubicBezTo>
                    <a:pt x="2600992" y="356426"/>
                    <a:pt x="2598229" y="359188"/>
                    <a:pt x="2594800" y="359188"/>
                  </a:cubicBezTo>
                  <a:cubicBezTo>
                    <a:pt x="2591371" y="359188"/>
                    <a:pt x="2588609" y="356426"/>
                    <a:pt x="2588609" y="352997"/>
                  </a:cubicBezTo>
                  <a:cubicBezTo>
                    <a:pt x="2588609" y="349568"/>
                    <a:pt x="2591371" y="346806"/>
                    <a:pt x="2594800" y="346806"/>
                  </a:cubicBezTo>
                  <a:close/>
                  <a:moveTo>
                    <a:pt x="668178" y="346425"/>
                  </a:moveTo>
                  <a:cubicBezTo>
                    <a:pt x="671607" y="346425"/>
                    <a:pt x="674370" y="349187"/>
                    <a:pt x="674370" y="352616"/>
                  </a:cubicBezTo>
                  <a:cubicBezTo>
                    <a:pt x="674370" y="356045"/>
                    <a:pt x="671607" y="358807"/>
                    <a:pt x="668178" y="358807"/>
                  </a:cubicBezTo>
                  <a:cubicBezTo>
                    <a:pt x="664749" y="358807"/>
                    <a:pt x="661987" y="356045"/>
                    <a:pt x="661987" y="352616"/>
                  </a:cubicBezTo>
                  <a:cubicBezTo>
                    <a:pt x="661987" y="349187"/>
                    <a:pt x="664749" y="346425"/>
                    <a:pt x="668178" y="346425"/>
                  </a:cubicBezTo>
                  <a:close/>
                  <a:moveTo>
                    <a:pt x="2202941" y="346139"/>
                  </a:moveTo>
                  <a:cubicBezTo>
                    <a:pt x="2206370" y="346139"/>
                    <a:pt x="2209132" y="348901"/>
                    <a:pt x="2209132" y="352330"/>
                  </a:cubicBezTo>
                  <a:cubicBezTo>
                    <a:pt x="2209132" y="355759"/>
                    <a:pt x="2206370" y="358521"/>
                    <a:pt x="2202941" y="358521"/>
                  </a:cubicBezTo>
                  <a:cubicBezTo>
                    <a:pt x="2199512" y="358521"/>
                    <a:pt x="2196750" y="355759"/>
                    <a:pt x="2196750" y="352330"/>
                  </a:cubicBezTo>
                  <a:cubicBezTo>
                    <a:pt x="2196750" y="348901"/>
                    <a:pt x="2199512" y="346139"/>
                    <a:pt x="2202941" y="346139"/>
                  </a:cubicBezTo>
                  <a:close/>
                  <a:moveTo>
                    <a:pt x="1003744" y="345948"/>
                  </a:moveTo>
                  <a:cubicBezTo>
                    <a:pt x="1007173" y="345948"/>
                    <a:pt x="1009935" y="348710"/>
                    <a:pt x="1009935" y="352139"/>
                  </a:cubicBezTo>
                  <a:cubicBezTo>
                    <a:pt x="1009935" y="355568"/>
                    <a:pt x="1007173" y="358330"/>
                    <a:pt x="1003744" y="358330"/>
                  </a:cubicBezTo>
                  <a:cubicBezTo>
                    <a:pt x="1000315" y="358330"/>
                    <a:pt x="997553" y="355568"/>
                    <a:pt x="997553" y="352139"/>
                  </a:cubicBezTo>
                  <a:cubicBezTo>
                    <a:pt x="997553" y="348710"/>
                    <a:pt x="1000315" y="345948"/>
                    <a:pt x="1003744" y="345948"/>
                  </a:cubicBezTo>
                  <a:close/>
                  <a:moveTo>
                    <a:pt x="757237" y="345948"/>
                  </a:moveTo>
                  <a:cubicBezTo>
                    <a:pt x="760666" y="345948"/>
                    <a:pt x="763429" y="348710"/>
                    <a:pt x="763429" y="352139"/>
                  </a:cubicBezTo>
                  <a:cubicBezTo>
                    <a:pt x="763429" y="355568"/>
                    <a:pt x="760666" y="358330"/>
                    <a:pt x="757237" y="358330"/>
                  </a:cubicBezTo>
                  <a:cubicBezTo>
                    <a:pt x="753808" y="358330"/>
                    <a:pt x="751046" y="355568"/>
                    <a:pt x="751046" y="352139"/>
                  </a:cubicBezTo>
                  <a:cubicBezTo>
                    <a:pt x="751046" y="348710"/>
                    <a:pt x="753808" y="345948"/>
                    <a:pt x="757237" y="345948"/>
                  </a:cubicBezTo>
                  <a:close/>
                  <a:moveTo>
                    <a:pt x="860011" y="345282"/>
                  </a:moveTo>
                  <a:cubicBezTo>
                    <a:pt x="863440" y="345282"/>
                    <a:pt x="866203" y="348044"/>
                    <a:pt x="866203" y="351473"/>
                  </a:cubicBezTo>
                  <a:cubicBezTo>
                    <a:pt x="866203" y="354902"/>
                    <a:pt x="863440" y="357664"/>
                    <a:pt x="860011" y="357664"/>
                  </a:cubicBezTo>
                  <a:cubicBezTo>
                    <a:pt x="856582" y="357664"/>
                    <a:pt x="853820" y="354902"/>
                    <a:pt x="853820" y="351473"/>
                  </a:cubicBezTo>
                  <a:cubicBezTo>
                    <a:pt x="853820" y="348044"/>
                    <a:pt x="856582" y="345282"/>
                    <a:pt x="860011" y="345282"/>
                  </a:cubicBezTo>
                  <a:close/>
                  <a:moveTo>
                    <a:pt x="2694812" y="344710"/>
                  </a:moveTo>
                  <a:cubicBezTo>
                    <a:pt x="2698241" y="344710"/>
                    <a:pt x="2701004" y="347472"/>
                    <a:pt x="2701004" y="350901"/>
                  </a:cubicBezTo>
                  <a:cubicBezTo>
                    <a:pt x="2701004" y="354330"/>
                    <a:pt x="2698241" y="357092"/>
                    <a:pt x="2694812" y="357092"/>
                  </a:cubicBezTo>
                  <a:cubicBezTo>
                    <a:pt x="2691383" y="357092"/>
                    <a:pt x="2688621" y="354330"/>
                    <a:pt x="2688621" y="350901"/>
                  </a:cubicBezTo>
                  <a:cubicBezTo>
                    <a:pt x="2688621" y="347472"/>
                    <a:pt x="2691383" y="344710"/>
                    <a:pt x="2694812" y="344710"/>
                  </a:cubicBezTo>
                  <a:close/>
                  <a:moveTo>
                    <a:pt x="1369504" y="344043"/>
                  </a:moveTo>
                  <a:cubicBezTo>
                    <a:pt x="1372933" y="344043"/>
                    <a:pt x="1375695" y="346805"/>
                    <a:pt x="1375695" y="350234"/>
                  </a:cubicBezTo>
                  <a:cubicBezTo>
                    <a:pt x="1375695" y="353663"/>
                    <a:pt x="1372933" y="356425"/>
                    <a:pt x="1369504" y="356425"/>
                  </a:cubicBezTo>
                  <a:cubicBezTo>
                    <a:pt x="1366075" y="356425"/>
                    <a:pt x="1363313" y="353663"/>
                    <a:pt x="1363313" y="350234"/>
                  </a:cubicBezTo>
                  <a:cubicBezTo>
                    <a:pt x="1363313" y="346805"/>
                    <a:pt x="1366075" y="344043"/>
                    <a:pt x="1369504" y="344043"/>
                  </a:cubicBezTo>
                  <a:close/>
                  <a:moveTo>
                    <a:pt x="702563" y="343853"/>
                  </a:moveTo>
                  <a:cubicBezTo>
                    <a:pt x="705992" y="343853"/>
                    <a:pt x="708755" y="346615"/>
                    <a:pt x="708755" y="350044"/>
                  </a:cubicBezTo>
                  <a:cubicBezTo>
                    <a:pt x="708755" y="353473"/>
                    <a:pt x="705992" y="356235"/>
                    <a:pt x="702563" y="356235"/>
                  </a:cubicBezTo>
                  <a:cubicBezTo>
                    <a:pt x="699134" y="356235"/>
                    <a:pt x="696372" y="353473"/>
                    <a:pt x="696372" y="350044"/>
                  </a:cubicBezTo>
                  <a:cubicBezTo>
                    <a:pt x="696372" y="346615"/>
                    <a:pt x="699134" y="343853"/>
                    <a:pt x="702563" y="343853"/>
                  </a:cubicBezTo>
                  <a:close/>
                  <a:moveTo>
                    <a:pt x="926401" y="343186"/>
                  </a:moveTo>
                  <a:cubicBezTo>
                    <a:pt x="929830" y="343186"/>
                    <a:pt x="932593" y="345948"/>
                    <a:pt x="932593" y="349377"/>
                  </a:cubicBezTo>
                  <a:cubicBezTo>
                    <a:pt x="932593" y="352806"/>
                    <a:pt x="929830" y="355568"/>
                    <a:pt x="926401" y="355568"/>
                  </a:cubicBezTo>
                  <a:cubicBezTo>
                    <a:pt x="922972" y="355568"/>
                    <a:pt x="920210" y="352806"/>
                    <a:pt x="920210" y="349377"/>
                  </a:cubicBezTo>
                  <a:cubicBezTo>
                    <a:pt x="920210" y="345948"/>
                    <a:pt x="922972" y="343186"/>
                    <a:pt x="926401" y="343186"/>
                  </a:cubicBezTo>
                  <a:close/>
                  <a:moveTo>
                    <a:pt x="687418" y="342614"/>
                  </a:moveTo>
                  <a:cubicBezTo>
                    <a:pt x="690847" y="342614"/>
                    <a:pt x="693610" y="345376"/>
                    <a:pt x="693610" y="348805"/>
                  </a:cubicBezTo>
                  <a:cubicBezTo>
                    <a:pt x="693610" y="352234"/>
                    <a:pt x="690847" y="354996"/>
                    <a:pt x="687418" y="354996"/>
                  </a:cubicBezTo>
                  <a:cubicBezTo>
                    <a:pt x="683989" y="354996"/>
                    <a:pt x="681227" y="352234"/>
                    <a:pt x="681227" y="348805"/>
                  </a:cubicBezTo>
                  <a:cubicBezTo>
                    <a:pt x="681227" y="345376"/>
                    <a:pt x="683989" y="342614"/>
                    <a:pt x="687418" y="342614"/>
                  </a:cubicBezTo>
                  <a:close/>
                  <a:moveTo>
                    <a:pt x="2618993" y="341376"/>
                  </a:moveTo>
                  <a:cubicBezTo>
                    <a:pt x="2622422" y="341376"/>
                    <a:pt x="2625184" y="344138"/>
                    <a:pt x="2625184" y="347567"/>
                  </a:cubicBezTo>
                  <a:cubicBezTo>
                    <a:pt x="2625184" y="350996"/>
                    <a:pt x="2622422" y="353758"/>
                    <a:pt x="2618993" y="353758"/>
                  </a:cubicBezTo>
                  <a:cubicBezTo>
                    <a:pt x="2615564" y="353758"/>
                    <a:pt x="2612802" y="350996"/>
                    <a:pt x="2612802" y="347567"/>
                  </a:cubicBezTo>
                  <a:cubicBezTo>
                    <a:pt x="2612802" y="344138"/>
                    <a:pt x="2615564" y="341376"/>
                    <a:pt x="2618993" y="341376"/>
                  </a:cubicBezTo>
                  <a:close/>
                  <a:moveTo>
                    <a:pt x="2692717" y="339948"/>
                  </a:moveTo>
                  <a:cubicBezTo>
                    <a:pt x="2692875" y="339948"/>
                    <a:pt x="2693003" y="340076"/>
                    <a:pt x="2693003" y="340234"/>
                  </a:cubicBezTo>
                  <a:cubicBezTo>
                    <a:pt x="2693003" y="340392"/>
                    <a:pt x="2692875" y="340519"/>
                    <a:pt x="2692717" y="340519"/>
                  </a:cubicBezTo>
                  <a:cubicBezTo>
                    <a:pt x="2692559" y="340519"/>
                    <a:pt x="2692431" y="340392"/>
                    <a:pt x="2692431" y="340234"/>
                  </a:cubicBezTo>
                  <a:cubicBezTo>
                    <a:pt x="2692431" y="340076"/>
                    <a:pt x="2692559" y="339948"/>
                    <a:pt x="2692717" y="339948"/>
                  </a:cubicBezTo>
                  <a:close/>
                  <a:moveTo>
                    <a:pt x="2504693" y="339757"/>
                  </a:moveTo>
                  <a:cubicBezTo>
                    <a:pt x="2508122" y="339757"/>
                    <a:pt x="2510884" y="342519"/>
                    <a:pt x="2510884" y="345948"/>
                  </a:cubicBezTo>
                  <a:cubicBezTo>
                    <a:pt x="2510884" y="349377"/>
                    <a:pt x="2508122" y="352139"/>
                    <a:pt x="2504693" y="352139"/>
                  </a:cubicBezTo>
                  <a:cubicBezTo>
                    <a:pt x="2501264" y="352139"/>
                    <a:pt x="2498502" y="349377"/>
                    <a:pt x="2498502" y="345948"/>
                  </a:cubicBezTo>
                  <a:cubicBezTo>
                    <a:pt x="2498502" y="342519"/>
                    <a:pt x="2501264" y="339757"/>
                    <a:pt x="2504693" y="339757"/>
                  </a:cubicBezTo>
                  <a:close/>
                  <a:moveTo>
                    <a:pt x="1920906" y="339376"/>
                  </a:moveTo>
                  <a:cubicBezTo>
                    <a:pt x="1924335" y="339376"/>
                    <a:pt x="1927098" y="342138"/>
                    <a:pt x="1927098" y="345567"/>
                  </a:cubicBezTo>
                  <a:cubicBezTo>
                    <a:pt x="1927098" y="348996"/>
                    <a:pt x="1924335" y="351758"/>
                    <a:pt x="1920906" y="351758"/>
                  </a:cubicBezTo>
                  <a:cubicBezTo>
                    <a:pt x="1917477" y="351758"/>
                    <a:pt x="1914715" y="348996"/>
                    <a:pt x="1914715" y="345567"/>
                  </a:cubicBezTo>
                  <a:cubicBezTo>
                    <a:pt x="1914715" y="342138"/>
                    <a:pt x="1917477" y="339376"/>
                    <a:pt x="1920906" y="339376"/>
                  </a:cubicBezTo>
                  <a:close/>
                  <a:moveTo>
                    <a:pt x="672274" y="338042"/>
                  </a:moveTo>
                  <a:cubicBezTo>
                    <a:pt x="675703" y="338042"/>
                    <a:pt x="678466" y="340804"/>
                    <a:pt x="678466" y="344233"/>
                  </a:cubicBezTo>
                  <a:cubicBezTo>
                    <a:pt x="678466" y="347662"/>
                    <a:pt x="675703" y="350424"/>
                    <a:pt x="672274" y="350424"/>
                  </a:cubicBezTo>
                  <a:cubicBezTo>
                    <a:pt x="668845" y="350424"/>
                    <a:pt x="666083" y="347662"/>
                    <a:pt x="666083" y="344233"/>
                  </a:cubicBezTo>
                  <a:cubicBezTo>
                    <a:pt x="666083" y="340804"/>
                    <a:pt x="668845" y="338042"/>
                    <a:pt x="672274" y="338042"/>
                  </a:cubicBezTo>
                  <a:close/>
                  <a:moveTo>
                    <a:pt x="727614" y="337566"/>
                  </a:moveTo>
                  <a:cubicBezTo>
                    <a:pt x="731043" y="337566"/>
                    <a:pt x="733806" y="340328"/>
                    <a:pt x="733806" y="343757"/>
                  </a:cubicBezTo>
                  <a:cubicBezTo>
                    <a:pt x="733806" y="347186"/>
                    <a:pt x="731043" y="349948"/>
                    <a:pt x="727614" y="349948"/>
                  </a:cubicBezTo>
                  <a:cubicBezTo>
                    <a:pt x="724185" y="349948"/>
                    <a:pt x="721423" y="347186"/>
                    <a:pt x="721423" y="343757"/>
                  </a:cubicBezTo>
                  <a:cubicBezTo>
                    <a:pt x="721423" y="340328"/>
                    <a:pt x="724185" y="337566"/>
                    <a:pt x="727614" y="337566"/>
                  </a:cubicBezTo>
                  <a:close/>
                  <a:moveTo>
                    <a:pt x="1171574" y="336709"/>
                  </a:moveTo>
                  <a:cubicBezTo>
                    <a:pt x="1175003" y="336709"/>
                    <a:pt x="1177766" y="339471"/>
                    <a:pt x="1177766" y="342900"/>
                  </a:cubicBezTo>
                  <a:cubicBezTo>
                    <a:pt x="1177766" y="346329"/>
                    <a:pt x="1175003" y="349091"/>
                    <a:pt x="1171574" y="349091"/>
                  </a:cubicBezTo>
                  <a:cubicBezTo>
                    <a:pt x="1168145" y="349091"/>
                    <a:pt x="1165383" y="346329"/>
                    <a:pt x="1165383" y="342900"/>
                  </a:cubicBezTo>
                  <a:cubicBezTo>
                    <a:pt x="1165383" y="339471"/>
                    <a:pt x="1168145" y="336709"/>
                    <a:pt x="1171574" y="336709"/>
                  </a:cubicBezTo>
                  <a:close/>
                  <a:moveTo>
                    <a:pt x="2295715" y="336233"/>
                  </a:moveTo>
                  <a:cubicBezTo>
                    <a:pt x="2299144" y="336233"/>
                    <a:pt x="2301907" y="338995"/>
                    <a:pt x="2301907" y="342424"/>
                  </a:cubicBezTo>
                  <a:cubicBezTo>
                    <a:pt x="2301907" y="345853"/>
                    <a:pt x="2299144" y="348615"/>
                    <a:pt x="2295715" y="348615"/>
                  </a:cubicBezTo>
                  <a:cubicBezTo>
                    <a:pt x="2292286" y="348615"/>
                    <a:pt x="2289524" y="345853"/>
                    <a:pt x="2289524" y="342424"/>
                  </a:cubicBezTo>
                  <a:cubicBezTo>
                    <a:pt x="2289524" y="338995"/>
                    <a:pt x="2292286" y="336233"/>
                    <a:pt x="2295715" y="336233"/>
                  </a:cubicBezTo>
                  <a:close/>
                  <a:moveTo>
                    <a:pt x="2590894" y="336042"/>
                  </a:moveTo>
                  <a:cubicBezTo>
                    <a:pt x="2594323" y="336042"/>
                    <a:pt x="2597086" y="338804"/>
                    <a:pt x="2597086" y="342233"/>
                  </a:cubicBezTo>
                  <a:cubicBezTo>
                    <a:pt x="2597086" y="345662"/>
                    <a:pt x="2594323" y="348424"/>
                    <a:pt x="2590894" y="348424"/>
                  </a:cubicBezTo>
                  <a:cubicBezTo>
                    <a:pt x="2587465" y="348424"/>
                    <a:pt x="2584703" y="345662"/>
                    <a:pt x="2584703" y="342233"/>
                  </a:cubicBezTo>
                  <a:cubicBezTo>
                    <a:pt x="2584703" y="338804"/>
                    <a:pt x="2587465" y="336042"/>
                    <a:pt x="2590894" y="336042"/>
                  </a:cubicBezTo>
                  <a:close/>
                  <a:moveTo>
                    <a:pt x="802861" y="335185"/>
                  </a:moveTo>
                  <a:cubicBezTo>
                    <a:pt x="806290" y="335185"/>
                    <a:pt x="809053" y="337947"/>
                    <a:pt x="809053" y="341376"/>
                  </a:cubicBezTo>
                  <a:cubicBezTo>
                    <a:pt x="809053" y="344805"/>
                    <a:pt x="806290" y="347567"/>
                    <a:pt x="802861" y="347567"/>
                  </a:cubicBezTo>
                  <a:cubicBezTo>
                    <a:pt x="799432" y="347567"/>
                    <a:pt x="796670" y="344805"/>
                    <a:pt x="796670" y="341376"/>
                  </a:cubicBezTo>
                  <a:cubicBezTo>
                    <a:pt x="796670" y="337947"/>
                    <a:pt x="799432" y="335185"/>
                    <a:pt x="802861" y="335185"/>
                  </a:cubicBezTo>
                  <a:close/>
                  <a:moveTo>
                    <a:pt x="1459896" y="334899"/>
                  </a:moveTo>
                  <a:cubicBezTo>
                    <a:pt x="1463325" y="334899"/>
                    <a:pt x="1466088" y="337661"/>
                    <a:pt x="1466088" y="341090"/>
                  </a:cubicBezTo>
                  <a:cubicBezTo>
                    <a:pt x="1466088" y="344519"/>
                    <a:pt x="1463325" y="347281"/>
                    <a:pt x="1459896" y="347281"/>
                  </a:cubicBezTo>
                  <a:cubicBezTo>
                    <a:pt x="1456467" y="347281"/>
                    <a:pt x="1453705" y="344519"/>
                    <a:pt x="1453705" y="341090"/>
                  </a:cubicBezTo>
                  <a:cubicBezTo>
                    <a:pt x="1453705" y="337661"/>
                    <a:pt x="1456467" y="334899"/>
                    <a:pt x="1459896" y="334899"/>
                  </a:cubicBezTo>
                  <a:close/>
                  <a:moveTo>
                    <a:pt x="2553938" y="334423"/>
                  </a:moveTo>
                  <a:cubicBezTo>
                    <a:pt x="2557367" y="334423"/>
                    <a:pt x="2560129" y="337185"/>
                    <a:pt x="2560129" y="340614"/>
                  </a:cubicBezTo>
                  <a:cubicBezTo>
                    <a:pt x="2560129" y="344043"/>
                    <a:pt x="2557367" y="346806"/>
                    <a:pt x="2553938" y="346806"/>
                  </a:cubicBezTo>
                  <a:cubicBezTo>
                    <a:pt x="2550509" y="346806"/>
                    <a:pt x="2547747" y="344043"/>
                    <a:pt x="2547747" y="340614"/>
                  </a:cubicBezTo>
                  <a:cubicBezTo>
                    <a:pt x="2547747" y="337185"/>
                    <a:pt x="2550509" y="334423"/>
                    <a:pt x="2553938" y="334423"/>
                  </a:cubicBezTo>
                  <a:close/>
                  <a:moveTo>
                    <a:pt x="2445352" y="334137"/>
                  </a:moveTo>
                  <a:cubicBezTo>
                    <a:pt x="2448781" y="334137"/>
                    <a:pt x="2451544" y="336899"/>
                    <a:pt x="2451544" y="340328"/>
                  </a:cubicBezTo>
                  <a:cubicBezTo>
                    <a:pt x="2451544" y="343757"/>
                    <a:pt x="2448781" y="346519"/>
                    <a:pt x="2445352" y="346519"/>
                  </a:cubicBezTo>
                  <a:cubicBezTo>
                    <a:pt x="2441923" y="346519"/>
                    <a:pt x="2439161" y="343757"/>
                    <a:pt x="2439161" y="340328"/>
                  </a:cubicBezTo>
                  <a:cubicBezTo>
                    <a:pt x="2439161" y="336899"/>
                    <a:pt x="2441923" y="334137"/>
                    <a:pt x="2445352" y="334137"/>
                  </a:cubicBezTo>
                  <a:close/>
                  <a:moveTo>
                    <a:pt x="759999" y="333661"/>
                  </a:moveTo>
                  <a:cubicBezTo>
                    <a:pt x="763428" y="333661"/>
                    <a:pt x="766191" y="336423"/>
                    <a:pt x="766191" y="339852"/>
                  </a:cubicBezTo>
                  <a:cubicBezTo>
                    <a:pt x="766191" y="343281"/>
                    <a:pt x="763428" y="346043"/>
                    <a:pt x="759999" y="346043"/>
                  </a:cubicBezTo>
                  <a:cubicBezTo>
                    <a:pt x="756570" y="346043"/>
                    <a:pt x="753808" y="343281"/>
                    <a:pt x="753808" y="339852"/>
                  </a:cubicBezTo>
                  <a:cubicBezTo>
                    <a:pt x="753808" y="336423"/>
                    <a:pt x="756570" y="333661"/>
                    <a:pt x="759999" y="333661"/>
                  </a:cubicBezTo>
                  <a:close/>
                  <a:moveTo>
                    <a:pt x="2613755" y="333375"/>
                  </a:moveTo>
                  <a:cubicBezTo>
                    <a:pt x="2617184" y="333375"/>
                    <a:pt x="2619946" y="336137"/>
                    <a:pt x="2619946" y="339566"/>
                  </a:cubicBezTo>
                  <a:cubicBezTo>
                    <a:pt x="2619946" y="342995"/>
                    <a:pt x="2617184" y="345757"/>
                    <a:pt x="2613755" y="345757"/>
                  </a:cubicBezTo>
                  <a:cubicBezTo>
                    <a:pt x="2610326" y="345757"/>
                    <a:pt x="2607564" y="342995"/>
                    <a:pt x="2607564" y="339566"/>
                  </a:cubicBezTo>
                  <a:cubicBezTo>
                    <a:pt x="2607564" y="336137"/>
                    <a:pt x="2610326" y="333375"/>
                    <a:pt x="2613755" y="333375"/>
                  </a:cubicBezTo>
                  <a:close/>
                  <a:moveTo>
                    <a:pt x="675703" y="333090"/>
                  </a:moveTo>
                  <a:cubicBezTo>
                    <a:pt x="677071" y="333090"/>
                    <a:pt x="678180" y="334199"/>
                    <a:pt x="678180" y="335567"/>
                  </a:cubicBezTo>
                  <a:cubicBezTo>
                    <a:pt x="678180" y="336934"/>
                    <a:pt x="677071" y="338043"/>
                    <a:pt x="675703" y="338043"/>
                  </a:cubicBezTo>
                  <a:cubicBezTo>
                    <a:pt x="674336" y="338043"/>
                    <a:pt x="673227" y="336934"/>
                    <a:pt x="673227" y="335567"/>
                  </a:cubicBezTo>
                  <a:cubicBezTo>
                    <a:pt x="673227" y="334199"/>
                    <a:pt x="674336" y="333090"/>
                    <a:pt x="675703" y="333090"/>
                  </a:cubicBezTo>
                  <a:close/>
                  <a:moveTo>
                    <a:pt x="2376106" y="332613"/>
                  </a:moveTo>
                  <a:cubicBezTo>
                    <a:pt x="2379535" y="332613"/>
                    <a:pt x="2382298" y="335375"/>
                    <a:pt x="2382298" y="338804"/>
                  </a:cubicBezTo>
                  <a:cubicBezTo>
                    <a:pt x="2382298" y="342233"/>
                    <a:pt x="2379535" y="344995"/>
                    <a:pt x="2376106" y="344995"/>
                  </a:cubicBezTo>
                  <a:cubicBezTo>
                    <a:pt x="2372677" y="344995"/>
                    <a:pt x="2369915" y="342233"/>
                    <a:pt x="2369915" y="338804"/>
                  </a:cubicBezTo>
                  <a:cubicBezTo>
                    <a:pt x="2369915" y="335375"/>
                    <a:pt x="2372677" y="332613"/>
                    <a:pt x="2376106" y="332613"/>
                  </a:cubicBezTo>
                  <a:close/>
                  <a:moveTo>
                    <a:pt x="1829752" y="331756"/>
                  </a:moveTo>
                  <a:cubicBezTo>
                    <a:pt x="1833181" y="331756"/>
                    <a:pt x="1835944" y="334518"/>
                    <a:pt x="1835944" y="337947"/>
                  </a:cubicBezTo>
                  <a:cubicBezTo>
                    <a:pt x="1835944" y="341376"/>
                    <a:pt x="1833181" y="344138"/>
                    <a:pt x="1829752" y="344138"/>
                  </a:cubicBezTo>
                  <a:cubicBezTo>
                    <a:pt x="1826323" y="344138"/>
                    <a:pt x="1823561" y="341376"/>
                    <a:pt x="1823561" y="337947"/>
                  </a:cubicBezTo>
                  <a:cubicBezTo>
                    <a:pt x="1823561" y="334518"/>
                    <a:pt x="1826323" y="331756"/>
                    <a:pt x="1829752" y="331756"/>
                  </a:cubicBezTo>
                  <a:close/>
                  <a:moveTo>
                    <a:pt x="2123122" y="329089"/>
                  </a:moveTo>
                  <a:cubicBezTo>
                    <a:pt x="2126551" y="329089"/>
                    <a:pt x="2129314" y="331851"/>
                    <a:pt x="2129314" y="335280"/>
                  </a:cubicBezTo>
                  <a:cubicBezTo>
                    <a:pt x="2129314" y="338709"/>
                    <a:pt x="2126551" y="341471"/>
                    <a:pt x="2123122" y="341471"/>
                  </a:cubicBezTo>
                  <a:cubicBezTo>
                    <a:pt x="2119693" y="341471"/>
                    <a:pt x="2116931" y="338709"/>
                    <a:pt x="2116931" y="335280"/>
                  </a:cubicBezTo>
                  <a:cubicBezTo>
                    <a:pt x="2116931" y="331851"/>
                    <a:pt x="2119693" y="329089"/>
                    <a:pt x="2123122" y="329089"/>
                  </a:cubicBezTo>
                  <a:close/>
                  <a:moveTo>
                    <a:pt x="2668238" y="328994"/>
                  </a:moveTo>
                  <a:cubicBezTo>
                    <a:pt x="2671667" y="328994"/>
                    <a:pt x="2674429" y="331756"/>
                    <a:pt x="2674429" y="335185"/>
                  </a:cubicBezTo>
                  <a:lnTo>
                    <a:pt x="2671143" y="338472"/>
                  </a:lnTo>
                  <a:lnTo>
                    <a:pt x="2677286" y="344615"/>
                  </a:lnTo>
                  <a:cubicBezTo>
                    <a:pt x="2677286" y="348044"/>
                    <a:pt x="2674524" y="350806"/>
                    <a:pt x="2671095" y="350806"/>
                  </a:cubicBezTo>
                  <a:cubicBezTo>
                    <a:pt x="2667666" y="350806"/>
                    <a:pt x="2664904" y="348044"/>
                    <a:pt x="2664904" y="344615"/>
                  </a:cubicBezTo>
                  <a:lnTo>
                    <a:pt x="2668190" y="341329"/>
                  </a:lnTo>
                  <a:lnTo>
                    <a:pt x="2662047" y="335185"/>
                  </a:lnTo>
                  <a:cubicBezTo>
                    <a:pt x="2662047" y="331756"/>
                    <a:pt x="2664809" y="328994"/>
                    <a:pt x="2668238" y="328994"/>
                  </a:cubicBezTo>
                  <a:close/>
                  <a:moveTo>
                    <a:pt x="1551717" y="328994"/>
                  </a:moveTo>
                  <a:cubicBezTo>
                    <a:pt x="1555146" y="328994"/>
                    <a:pt x="1557909" y="331756"/>
                    <a:pt x="1557909" y="335185"/>
                  </a:cubicBezTo>
                  <a:cubicBezTo>
                    <a:pt x="1557909" y="338614"/>
                    <a:pt x="1555146" y="341377"/>
                    <a:pt x="1551717" y="341377"/>
                  </a:cubicBezTo>
                  <a:cubicBezTo>
                    <a:pt x="1548288" y="341377"/>
                    <a:pt x="1545526" y="338614"/>
                    <a:pt x="1545526" y="335185"/>
                  </a:cubicBezTo>
                  <a:cubicBezTo>
                    <a:pt x="1545526" y="331756"/>
                    <a:pt x="1548288" y="328994"/>
                    <a:pt x="1551717" y="328994"/>
                  </a:cubicBezTo>
                  <a:close/>
                  <a:moveTo>
                    <a:pt x="1737359" y="327375"/>
                  </a:moveTo>
                  <a:cubicBezTo>
                    <a:pt x="1740788" y="327375"/>
                    <a:pt x="1743551" y="330137"/>
                    <a:pt x="1743551" y="333566"/>
                  </a:cubicBezTo>
                  <a:cubicBezTo>
                    <a:pt x="1743551" y="336995"/>
                    <a:pt x="1740788" y="339757"/>
                    <a:pt x="1737359" y="339757"/>
                  </a:cubicBezTo>
                  <a:cubicBezTo>
                    <a:pt x="1733930" y="339757"/>
                    <a:pt x="1731168" y="336995"/>
                    <a:pt x="1731168" y="333566"/>
                  </a:cubicBezTo>
                  <a:cubicBezTo>
                    <a:pt x="1731168" y="330137"/>
                    <a:pt x="1733930" y="327375"/>
                    <a:pt x="1737359" y="327375"/>
                  </a:cubicBezTo>
                  <a:close/>
                  <a:moveTo>
                    <a:pt x="856297" y="326708"/>
                  </a:moveTo>
                  <a:cubicBezTo>
                    <a:pt x="859726" y="326708"/>
                    <a:pt x="862489" y="329470"/>
                    <a:pt x="862489" y="332899"/>
                  </a:cubicBezTo>
                  <a:cubicBezTo>
                    <a:pt x="862489" y="336328"/>
                    <a:pt x="859726" y="339090"/>
                    <a:pt x="856297" y="339090"/>
                  </a:cubicBezTo>
                  <a:cubicBezTo>
                    <a:pt x="852868" y="339090"/>
                    <a:pt x="850106" y="336328"/>
                    <a:pt x="850106" y="332899"/>
                  </a:cubicBezTo>
                  <a:cubicBezTo>
                    <a:pt x="850106" y="329470"/>
                    <a:pt x="852868" y="326708"/>
                    <a:pt x="856297" y="326708"/>
                  </a:cubicBezTo>
                  <a:close/>
                  <a:moveTo>
                    <a:pt x="2586704" y="326612"/>
                  </a:moveTo>
                  <a:cubicBezTo>
                    <a:pt x="2590133" y="326612"/>
                    <a:pt x="2592895" y="329374"/>
                    <a:pt x="2592895" y="332803"/>
                  </a:cubicBezTo>
                  <a:cubicBezTo>
                    <a:pt x="2592895" y="336232"/>
                    <a:pt x="2590133" y="338995"/>
                    <a:pt x="2586704" y="338995"/>
                  </a:cubicBezTo>
                  <a:cubicBezTo>
                    <a:pt x="2583275" y="338995"/>
                    <a:pt x="2580513" y="336232"/>
                    <a:pt x="2580513" y="332803"/>
                  </a:cubicBezTo>
                  <a:cubicBezTo>
                    <a:pt x="2580513" y="329374"/>
                    <a:pt x="2583275" y="326612"/>
                    <a:pt x="2586704" y="326612"/>
                  </a:cubicBezTo>
                  <a:close/>
                  <a:moveTo>
                    <a:pt x="1644491" y="326517"/>
                  </a:moveTo>
                  <a:cubicBezTo>
                    <a:pt x="1647920" y="326517"/>
                    <a:pt x="1650683" y="329279"/>
                    <a:pt x="1650683" y="332708"/>
                  </a:cubicBezTo>
                  <a:cubicBezTo>
                    <a:pt x="1650683" y="336137"/>
                    <a:pt x="1647920" y="338899"/>
                    <a:pt x="1644491" y="338899"/>
                  </a:cubicBezTo>
                  <a:cubicBezTo>
                    <a:pt x="1641062" y="338899"/>
                    <a:pt x="1638300" y="336137"/>
                    <a:pt x="1638300" y="332708"/>
                  </a:cubicBezTo>
                  <a:cubicBezTo>
                    <a:pt x="1638300" y="329279"/>
                    <a:pt x="1641062" y="326517"/>
                    <a:pt x="1644491" y="326517"/>
                  </a:cubicBezTo>
                  <a:close/>
                  <a:moveTo>
                    <a:pt x="1075181" y="325374"/>
                  </a:moveTo>
                  <a:cubicBezTo>
                    <a:pt x="1078610" y="325374"/>
                    <a:pt x="1081372" y="328136"/>
                    <a:pt x="1081372" y="331565"/>
                  </a:cubicBezTo>
                  <a:cubicBezTo>
                    <a:pt x="1081372" y="334994"/>
                    <a:pt x="1078610" y="337756"/>
                    <a:pt x="1075181" y="337756"/>
                  </a:cubicBezTo>
                  <a:cubicBezTo>
                    <a:pt x="1071752" y="337756"/>
                    <a:pt x="1068990" y="334994"/>
                    <a:pt x="1068990" y="331565"/>
                  </a:cubicBezTo>
                  <a:cubicBezTo>
                    <a:pt x="1068990" y="328136"/>
                    <a:pt x="1071752" y="325374"/>
                    <a:pt x="1075181" y="325374"/>
                  </a:cubicBezTo>
                  <a:close/>
                  <a:moveTo>
                    <a:pt x="2506122" y="323755"/>
                  </a:moveTo>
                  <a:cubicBezTo>
                    <a:pt x="2509551" y="323755"/>
                    <a:pt x="2512314" y="326517"/>
                    <a:pt x="2512314" y="329946"/>
                  </a:cubicBezTo>
                  <a:cubicBezTo>
                    <a:pt x="2512314" y="333375"/>
                    <a:pt x="2509551" y="336137"/>
                    <a:pt x="2506122" y="336137"/>
                  </a:cubicBezTo>
                  <a:cubicBezTo>
                    <a:pt x="2502693" y="336137"/>
                    <a:pt x="2499931" y="333375"/>
                    <a:pt x="2499931" y="329946"/>
                  </a:cubicBezTo>
                  <a:cubicBezTo>
                    <a:pt x="2499931" y="326517"/>
                    <a:pt x="2502693" y="323755"/>
                    <a:pt x="2506122" y="323755"/>
                  </a:cubicBezTo>
                  <a:close/>
                  <a:moveTo>
                    <a:pt x="763142" y="323183"/>
                  </a:moveTo>
                  <a:cubicBezTo>
                    <a:pt x="766571" y="323183"/>
                    <a:pt x="769333" y="325945"/>
                    <a:pt x="769333" y="329374"/>
                  </a:cubicBezTo>
                  <a:cubicBezTo>
                    <a:pt x="769333" y="332803"/>
                    <a:pt x="766571" y="335566"/>
                    <a:pt x="763142" y="335566"/>
                  </a:cubicBezTo>
                  <a:cubicBezTo>
                    <a:pt x="759713" y="335566"/>
                    <a:pt x="756951" y="332803"/>
                    <a:pt x="756951" y="329374"/>
                  </a:cubicBezTo>
                  <a:cubicBezTo>
                    <a:pt x="756951" y="325945"/>
                    <a:pt x="759713" y="323183"/>
                    <a:pt x="763142" y="323183"/>
                  </a:cubicBezTo>
                  <a:close/>
                  <a:moveTo>
                    <a:pt x="2551937" y="322422"/>
                  </a:moveTo>
                  <a:cubicBezTo>
                    <a:pt x="2555366" y="322422"/>
                    <a:pt x="2558129" y="325184"/>
                    <a:pt x="2558129" y="328613"/>
                  </a:cubicBezTo>
                  <a:cubicBezTo>
                    <a:pt x="2558129" y="332042"/>
                    <a:pt x="2555366" y="334804"/>
                    <a:pt x="2551937" y="334804"/>
                  </a:cubicBezTo>
                  <a:cubicBezTo>
                    <a:pt x="2548508" y="334804"/>
                    <a:pt x="2545746" y="332042"/>
                    <a:pt x="2545746" y="328613"/>
                  </a:cubicBezTo>
                  <a:cubicBezTo>
                    <a:pt x="2545746" y="325184"/>
                    <a:pt x="2548508" y="322422"/>
                    <a:pt x="2551937" y="322422"/>
                  </a:cubicBezTo>
                  <a:close/>
                  <a:moveTo>
                    <a:pt x="918686" y="321659"/>
                  </a:moveTo>
                  <a:cubicBezTo>
                    <a:pt x="922115" y="321659"/>
                    <a:pt x="924877" y="324421"/>
                    <a:pt x="924877" y="327850"/>
                  </a:cubicBezTo>
                  <a:cubicBezTo>
                    <a:pt x="924877" y="331279"/>
                    <a:pt x="922115" y="334042"/>
                    <a:pt x="918686" y="334042"/>
                  </a:cubicBezTo>
                  <a:cubicBezTo>
                    <a:pt x="915257" y="334042"/>
                    <a:pt x="912495" y="331279"/>
                    <a:pt x="912495" y="327850"/>
                  </a:cubicBezTo>
                  <a:cubicBezTo>
                    <a:pt x="912495" y="324421"/>
                    <a:pt x="915257" y="321659"/>
                    <a:pt x="918686" y="321659"/>
                  </a:cubicBezTo>
                  <a:close/>
                  <a:moveTo>
                    <a:pt x="2666142" y="321469"/>
                  </a:moveTo>
                  <a:cubicBezTo>
                    <a:pt x="2668194" y="321469"/>
                    <a:pt x="2669857" y="323132"/>
                    <a:pt x="2669857" y="325184"/>
                  </a:cubicBezTo>
                  <a:cubicBezTo>
                    <a:pt x="2669857" y="327235"/>
                    <a:pt x="2668194" y="328899"/>
                    <a:pt x="2666142" y="328899"/>
                  </a:cubicBezTo>
                  <a:cubicBezTo>
                    <a:pt x="2664091" y="328899"/>
                    <a:pt x="2662428" y="327235"/>
                    <a:pt x="2662428" y="325184"/>
                  </a:cubicBezTo>
                  <a:cubicBezTo>
                    <a:pt x="2662428" y="323132"/>
                    <a:pt x="2664091" y="321469"/>
                    <a:pt x="2666142" y="321469"/>
                  </a:cubicBezTo>
                  <a:close/>
                  <a:moveTo>
                    <a:pt x="803147" y="321374"/>
                  </a:moveTo>
                  <a:cubicBezTo>
                    <a:pt x="806576" y="321374"/>
                    <a:pt x="809339" y="324136"/>
                    <a:pt x="809339" y="327565"/>
                  </a:cubicBezTo>
                  <a:cubicBezTo>
                    <a:pt x="809339" y="330994"/>
                    <a:pt x="806576" y="333756"/>
                    <a:pt x="803147" y="333756"/>
                  </a:cubicBezTo>
                  <a:cubicBezTo>
                    <a:pt x="799718" y="333756"/>
                    <a:pt x="796956" y="330994"/>
                    <a:pt x="796956" y="327565"/>
                  </a:cubicBezTo>
                  <a:cubicBezTo>
                    <a:pt x="796956" y="324136"/>
                    <a:pt x="799718" y="321374"/>
                    <a:pt x="803147" y="321374"/>
                  </a:cubicBezTo>
                  <a:close/>
                  <a:moveTo>
                    <a:pt x="1253013" y="320993"/>
                  </a:moveTo>
                  <a:cubicBezTo>
                    <a:pt x="1256442" y="320993"/>
                    <a:pt x="1259205" y="323755"/>
                    <a:pt x="1259205" y="327184"/>
                  </a:cubicBezTo>
                  <a:cubicBezTo>
                    <a:pt x="1259205" y="330613"/>
                    <a:pt x="1256442" y="333376"/>
                    <a:pt x="1253013" y="333376"/>
                  </a:cubicBezTo>
                  <a:cubicBezTo>
                    <a:pt x="1249584" y="333376"/>
                    <a:pt x="1246822" y="330613"/>
                    <a:pt x="1246822" y="327184"/>
                  </a:cubicBezTo>
                  <a:cubicBezTo>
                    <a:pt x="1246822" y="323755"/>
                    <a:pt x="1249584" y="320993"/>
                    <a:pt x="1253013" y="320993"/>
                  </a:cubicBezTo>
                  <a:close/>
                  <a:moveTo>
                    <a:pt x="991171" y="320802"/>
                  </a:moveTo>
                  <a:cubicBezTo>
                    <a:pt x="994600" y="320802"/>
                    <a:pt x="997362" y="323564"/>
                    <a:pt x="997362" y="326993"/>
                  </a:cubicBezTo>
                  <a:cubicBezTo>
                    <a:pt x="997362" y="330422"/>
                    <a:pt x="994600" y="333185"/>
                    <a:pt x="991171" y="333185"/>
                  </a:cubicBezTo>
                  <a:cubicBezTo>
                    <a:pt x="987742" y="333185"/>
                    <a:pt x="984980" y="330422"/>
                    <a:pt x="984980" y="326993"/>
                  </a:cubicBezTo>
                  <a:cubicBezTo>
                    <a:pt x="984980" y="323564"/>
                    <a:pt x="987742" y="320802"/>
                    <a:pt x="991171" y="320802"/>
                  </a:cubicBezTo>
                  <a:close/>
                  <a:moveTo>
                    <a:pt x="2222753" y="316516"/>
                  </a:moveTo>
                  <a:cubicBezTo>
                    <a:pt x="2226182" y="316516"/>
                    <a:pt x="2228944" y="319278"/>
                    <a:pt x="2228944" y="322707"/>
                  </a:cubicBezTo>
                  <a:cubicBezTo>
                    <a:pt x="2228944" y="326136"/>
                    <a:pt x="2226182" y="328898"/>
                    <a:pt x="2222753" y="328898"/>
                  </a:cubicBezTo>
                  <a:cubicBezTo>
                    <a:pt x="2219324" y="328898"/>
                    <a:pt x="2216562" y="326136"/>
                    <a:pt x="2216562" y="322707"/>
                  </a:cubicBezTo>
                  <a:cubicBezTo>
                    <a:pt x="2216562" y="319278"/>
                    <a:pt x="2219324" y="316516"/>
                    <a:pt x="2222753" y="316516"/>
                  </a:cubicBezTo>
                  <a:close/>
                  <a:moveTo>
                    <a:pt x="2450306" y="315659"/>
                  </a:moveTo>
                  <a:cubicBezTo>
                    <a:pt x="2453735" y="315659"/>
                    <a:pt x="2456497" y="318421"/>
                    <a:pt x="2456497" y="321850"/>
                  </a:cubicBezTo>
                  <a:cubicBezTo>
                    <a:pt x="2456497" y="325279"/>
                    <a:pt x="2453735" y="328041"/>
                    <a:pt x="2450306" y="328041"/>
                  </a:cubicBezTo>
                  <a:cubicBezTo>
                    <a:pt x="2446877" y="328041"/>
                    <a:pt x="2444115" y="325279"/>
                    <a:pt x="2444115" y="321850"/>
                  </a:cubicBezTo>
                  <a:cubicBezTo>
                    <a:pt x="2444115" y="318421"/>
                    <a:pt x="2446877" y="315659"/>
                    <a:pt x="2450306" y="315659"/>
                  </a:cubicBezTo>
                  <a:close/>
                  <a:moveTo>
                    <a:pt x="2040349" y="314516"/>
                  </a:moveTo>
                  <a:cubicBezTo>
                    <a:pt x="2043778" y="314516"/>
                    <a:pt x="2046541" y="317278"/>
                    <a:pt x="2046541" y="320707"/>
                  </a:cubicBezTo>
                  <a:cubicBezTo>
                    <a:pt x="2046541" y="324136"/>
                    <a:pt x="2043778" y="326899"/>
                    <a:pt x="2040349" y="326899"/>
                  </a:cubicBezTo>
                  <a:cubicBezTo>
                    <a:pt x="2036920" y="326899"/>
                    <a:pt x="2034158" y="324136"/>
                    <a:pt x="2034158" y="320707"/>
                  </a:cubicBezTo>
                  <a:cubicBezTo>
                    <a:pt x="2034158" y="317278"/>
                    <a:pt x="2036920" y="314516"/>
                    <a:pt x="2040349" y="314516"/>
                  </a:cubicBezTo>
                  <a:close/>
                  <a:moveTo>
                    <a:pt x="703707" y="312611"/>
                  </a:moveTo>
                  <a:cubicBezTo>
                    <a:pt x="707041" y="312611"/>
                    <a:pt x="709708" y="315278"/>
                    <a:pt x="709708" y="318612"/>
                  </a:cubicBezTo>
                  <a:lnTo>
                    <a:pt x="704326" y="323994"/>
                  </a:lnTo>
                  <a:lnTo>
                    <a:pt x="706754" y="326422"/>
                  </a:lnTo>
                  <a:lnTo>
                    <a:pt x="701087" y="332089"/>
                  </a:lnTo>
                  <a:lnTo>
                    <a:pt x="702945" y="333947"/>
                  </a:lnTo>
                  <a:lnTo>
                    <a:pt x="697039" y="339852"/>
                  </a:lnTo>
                  <a:lnTo>
                    <a:pt x="698563" y="341376"/>
                  </a:lnTo>
                  <a:cubicBezTo>
                    <a:pt x="698563" y="344805"/>
                    <a:pt x="695801" y="347567"/>
                    <a:pt x="692372" y="347567"/>
                  </a:cubicBezTo>
                  <a:cubicBezTo>
                    <a:pt x="688943" y="347567"/>
                    <a:pt x="686181" y="344805"/>
                    <a:pt x="686181" y="341376"/>
                  </a:cubicBezTo>
                  <a:lnTo>
                    <a:pt x="692086" y="335471"/>
                  </a:lnTo>
                  <a:lnTo>
                    <a:pt x="690562" y="333947"/>
                  </a:lnTo>
                  <a:lnTo>
                    <a:pt x="696230" y="328280"/>
                  </a:lnTo>
                  <a:lnTo>
                    <a:pt x="694372" y="326422"/>
                  </a:lnTo>
                  <a:lnTo>
                    <a:pt x="699944" y="320850"/>
                  </a:lnTo>
                  <a:lnTo>
                    <a:pt x="697706" y="318612"/>
                  </a:lnTo>
                  <a:cubicBezTo>
                    <a:pt x="697706" y="315278"/>
                    <a:pt x="700373" y="312611"/>
                    <a:pt x="703707" y="312611"/>
                  </a:cubicBezTo>
                  <a:close/>
                  <a:moveTo>
                    <a:pt x="2385250" y="311087"/>
                  </a:moveTo>
                  <a:cubicBezTo>
                    <a:pt x="2388679" y="311087"/>
                    <a:pt x="2391442" y="313849"/>
                    <a:pt x="2391442" y="317278"/>
                  </a:cubicBezTo>
                  <a:cubicBezTo>
                    <a:pt x="2391442" y="320707"/>
                    <a:pt x="2388679" y="323469"/>
                    <a:pt x="2385250" y="323469"/>
                  </a:cubicBezTo>
                  <a:cubicBezTo>
                    <a:pt x="2381821" y="323469"/>
                    <a:pt x="2379059" y="320707"/>
                    <a:pt x="2379059" y="317278"/>
                  </a:cubicBezTo>
                  <a:cubicBezTo>
                    <a:pt x="2379059" y="313849"/>
                    <a:pt x="2381821" y="311087"/>
                    <a:pt x="2385250" y="311087"/>
                  </a:cubicBezTo>
                  <a:close/>
                  <a:moveTo>
                    <a:pt x="2309716" y="310991"/>
                  </a:moveTo>
                  <a:cubicBezTo>
                    <a:pt x="2313145" y="310991"/>
                    <a:pt x="2315908" y="313753"/>
                    <a:pt x="2315908" y="317182"/>
                  </a:cubicBezTo>
                  <a:cubicBezTo>
                    <a:pt x="2315908" y="320611"/>
                    <a:pt x="2313145" y="323373"/>
                    <a:pt x="2309716" y="323373"/>
                  </a:cubicBezTo>
                  <a:cubicBezTo>
                    <a:pt x="2306287" y="323373"/>
                    <a:pt x="2303525" y="320611"/>
                    <a:pt x="2303525" y="317182"/>
                  </a:cubicBezTo>
                  <a:cubicBezTo>
                    <a:pt x="2303525" y="313753"/>
                    <a:pt x="2306287" y="310991"/>
                    <a:pt x="2309716" y="310991"/>
                  </a:cubicBezTo>
                  <a:close/>
                  <a:moveTo>
                    <a:pt x="853534" y="310896"/>
                  </a:moveTo>
                  <a:cubicBezTo>
                    <a:pt x="856963" y="310896"/>
                    <a:pt x="859726" y="313658"/>
                    <a:pt x="859726" y="317087"/>
                  </a:cubicBezTo>
                  <a:cubicBezTo>
                    <a:pt x="859726" y="320516"/>
                    <a:pt x="856963" y="323278"/>
                    <a:pt x="853534" y="323278"/>
                  </a:cubicBezTo>
                  <a:cubicBezTo>
                    <a:pt x="850105" y="323278"/>
                    <a:pt x="847343" y="320516"/>
                    <a:pt x="847343" y="317087"/>
                  </a:cubicBezTo>
                  <a:cubicBezTo>
                    <a:pt x="847343" y="313658"/>
                    <a:pt x="850105" y="310896"/>
                    <a:pt x="853534" y="310896"/>
                  </a:cubicBezTo>
                  <a:close/>
                  <a:moveTo>
                    <a:pt x="706278" y="310325"/>
                  </a:moveTo>
                  <a:cubicBezTo>
                    <a:pt x="706374" y="310325"/>
                    <a:pt x="706374" y="310325"/>
                    <a:pt x="706374" y="310420"/>
                  </a:cubicBezTo>
                  <a:cubicBezTo>
                    <a:pt x="706374" y="310516"/>
                    <a:pt x="706278" y="310516"/>
                    <a:pt x="706278" y="310516"/>
                  </a:cubicBezTo>
                  <a:cubicBezTo>
                    <a:pt x="706183" y="310516"/>
                    <a:pt x="706183" y="310516"/>
                    <a:pt x="706183" y="310420"/>
                  </a:cubicBezTo>
                  <a:cubicBezTo>
                    <a:pt x="706183" y="310325"/>
                    <a:pt x="706183" y="310325"/>
                    <a:pt x="706278" y="310325"/>
                  </a:cubicBezTo>
                  <a:close/>
                  <a:moveTo>
                    <a:pt x="1337119" y="307848"/>
                  </a:moveTo>
                  <a:cubicBezTo>
                    <a:pt x="1340548" y="307848"/>
                    <a:pt x="1343311" y="310610"/>
                    <a:pt x="1343311" y="314039"/>
                  </a:cubicBezTo>
                  <a:cubicBezTo>
                    <a:pt x="1343311" y="317468"/>
                    <a:pt x="1340548" y="320230"/>
                    <a:pt x="1337119" y="320230"/>
                  </a:cubicBezTo>
                  <a:cubicBezTo>
                    <a:pt x="1333690" y="320230"/>
                    <a:pt x="1330928" y="317468"/>
                    <a:pt x="1330928" y="314039"/>
                  </a:cubicBezTo>
                  <a:cubicBezTo>
                    <a:pt x="1330928" y="310610"/>
                    <a:pt x="1333690" y="307848"/>
                    <a:pt x="1337119" y="307848"/>
                  </a:cubicBezTo>
                  <a:close/>
                  <a:moveTo>
                    <a:pt x="1149762" y="306801"/>
                  </a:moveTo>
                  <a:cubicBezTo>
                    <a:pt x="1153191" y="306801"/>
                    <a:pt x="1155954" y="309563"/>
                    <a:pt x="1155954" y="312992"/>
                  </a:cubicBezTo>
                  <a:cubicBezTo>
                    <a:pt x="1155954" y="316421"/>
                    <a:pt x="1153191" y="319183"/>
                    <a:pt x="1149762" y="319183"/>
                  </a:cubicBezTo>
                  <a:cubicBezTo>
                    <a:pt x="1146333" y="319183"/>
                    <a:pt x="1143571" y="316421"/>
                    <a:pt x="1143571" y="312992"/>
                  </a:cubicBezTo>
                  <a:cubicBezTo>
                    <a:pt x="1143571" y="309563"/>
                    <a:pt x="1146333" y="306801"/>
                    <a:pt x="1149762" y="306801"/>
                  </a:cubicBezTo>
                  <a:close/>
                  <a:moveTo>
                    <a:pt x="2638996" y="303752"/>
                  </a:moveTo>
                  <a:cubicBezTo>
                    <a:pt x="2642425" y="303752"/>
                    <a:pt x="2645187" y="306514"/>
                    <a:pt x="2645187" y="309943"/>
                  </a:cubicBezTo>
                  <a:lnTo>
                    <a:pt x="2641567" y="313563"/>
                  </a:lnTo>
                  <a:lnTo>
                    <a:pt x="2647093" y="319088"/>
                  </a:lnTo>
                  <a:lnTo>
                    <a:pt x="2644092" y="322088"/>
                  </a:lnTo>
                  <a:lnTo>
                    <a:pt x="2649759" y="327755"/>
                  </a:lnTo>
                  <a:lnTo>
                    <a:pt x="2647330" y="330185"/>
                  </a:lnTo>
                  <a:lnTo>
                    <a:pt x="2653093" y="335947"/>
                  </a:lnTo>
                  <a:lnTo>
                    <a:pt x="2651092" y="337947"/>
                  </a:lnTo>
                  <a:lnTo>
                    <a:pt x="2657093" y="343948"/>
                  </a:lnTo>
                  <a:lnTo>
                    <a:pt x="2655474" y="345567"/>
                  </a:lnTo>
                  <a:lnTo>
                    <a:pt x="2661665" y="351758"/>
                  </a:lnTo>
                  <a:cubicBezTo>
                    <a:pt x="2661665" y="355187"/>
                    <a:pt x="2658903" y="357949"/>
                    <a:pt x="2655474" y="357949"/>
                  </a:cubicBezTo>
                  <a:cubicBezTo>
                    <a:pt x="2652045" y="357949"/>
                    <a:pt x="2649283" y="355187"/>
                    <a:pt x="2649283" y="351758"/>
                  </a:cubicBezTo>
                  <a:lnTo>
                    <a:pt x="2654915" y="346127"/>
                  </a:lnTo>
                  <a:lnTo>
                    <a:pt x="2650902" y="350139"/>
                  </a:lnTo>
                  <a:cubicBezTo>
                    <a:pt x="2647473" y="350139"/>
                    <a:pt x="2644711" y="347377"/>
                    <a:pt x="2644711" y="343948"/>
                  </a:cubicBezTo>
                  <a:lnTo>
                    <a:pt x="2646711" y="341948"/>
                  </a:lnTo>
                  <a:lnTo>
                    <a:pt x="2640710" y="335947"/>
                  </a:lnTo>
                  <a:lnTo>
                    <a:pt x="2643139" y="333518"/>
                  </a:lnTo>
                  <a:lnTo>
                    <a:pt x="2637377" y="327755"/>
                  </a:lnTo>
                  <a:lnTo>
                    <a:pt x="2640377" y="324755"/>
                  </a:lnTo>
                  <a:lnTo>
                    <a:pt x="2634710" y="319088"/>
                  </a:lnTo>
                  <a:lnTo>
                    <a:pt x="2638330" y="315469"/>
                  </a:lnTo>
                  <a:lnTo>
                    <a:pt x="2632805" y="309943"/>
                  </a:lnTo>
                  <a:cubicBezTo>
                    <a:pt x="2632805" y="306514"/>
                    <a:pt x="2635567" y="303752"/>
                    <a:pt x="2638996" y="303752"/>
                  </a:cubicBezTo>
                  <a:close/>
                  <a:moveTo>
                    <a:pt x="912304" y="303181"/>
                  </a:moveTo>
                  <a:cubicBezTo>
                    <a:pt x="915733" y="303181"/>
                    <a:pt x="918496" y="305943"/>
                    <a:pt x="918496" y="309372"/>
                  </a:cubicBezTo>
                  <a:cubicBezTo>
                    <a:pt x="918496" y="312801"/>
                    <a:pt x="915733" y="315563"/>
                    <a:pt x="912304" y="315563"/>
                  </a:cubicBezTo>
                  <a:cubicBezTo>
                    <a:pt x="908875" y="315563"/>
                    <a:pt x="906113" y="312801"/>
                    <a:pt x="906113" y="309372"/>
                  </a:cubicBezTo>
                  <a:cubicBezTo>
                    <a:pt x="906113" y="305943"/>
                    <a:pt x="908875" y="303181"/>
                    <a:pt x="912304" y="303181"/>
                  </a:cubicBezTo>
                  <a:close/>
                  <a:moveTo>
                    <a:pt x="1955196" y="302705"/>
                  </a:moveTo>
                  <a:cubicBezTo>
                    <a:pt x="1958625" y="302705"/>
                    <a:pt x="1961388" y="305467"/>
                    <a:pt x="1961388" y="308896"/>
                  </a:cubicBezTo>
                  <a:cubicBezTo>
                    <a:pt x="1961388" y="312325"/>
                    <a:pt x="1958625" y="315087"/>
                    <a:pt x="1955196" y="315087"/>
                  </a:cubicBezTo>
                  <a:cubicBezTo>
                    <a:pt x="1951767" y="315087"/>
                    <a:pt x="1949005" y="312325"/>
                    <a:pt x="1949005" y="308896"/>
                  </a:cubicBezTo>
                  <a:cubicBezTo>
                    <a:pt x="1949005" y="305467"/>
                    <a:pt x="1951767" y="302705"/>
                    <a:pt x="1955196" y="302705"/>
                  </a:cubicBezTo>
                  <a:close/>
                  <a:moveTo>
                    <a:pt x="2637758" y="300133"/>
                  </a:moveTo>
                  <a:cubicBezTo>
                    <a:pt x="2637948" y="300133"/>
                    <a:pt x="2638043" y="300228"/>
                    <a:pt x="2638043" y="300419"/>
                  </a:cubicBezTo>
                  <a:cubicBezTo>
                    <a:pt x="2638043" y="300609"/>
                    <a:pt x="2637758" y="300704"/>
                    <a:pt x="2637758" y="300704"/>
                  </a:cubicBezTo>
                  <a:cubicBezTo>
                    <a:pt x="2637567" y="300704"/>
                    <a:pt x="2637472" y="300609"/>
                    <a:pt x="2637472" y="300419"/>
                  </a:cubicBezTo>
                  <a:cubicBezTo>
                    <a:pt x="2637472" y="300228"/>
                    <a:pt x="2637567" y="300133"/>
                    <a:pt x="2637758" y="300133"/>
                  </a:cubicBezTo>
                  <a:close/>
                  <a:moveTo>
                    <a:pt x="1059274" y="300038"/>
                  </a:moveTo>
                  <a:cubicBezTo>
                    <a:pt x="1062703" y="300038"/>
                    <a:pt x="1065466" y="302800"/>
                    <a:pt x="1065466" y="306229"/>
                  </a:cubicBezTo>
                  <a:cubicBezTo>
                    <a:pt x="1065466" y="309658"/>
                    <a:pt x="1062703" y="312421"/>
                    <a:pt x="1059274" y="312421"/>
                  </a:cubicBezTo>
                  <a:cubicBezTo>
                    <a:pt x="1055845" y="312421"/>
                    <a:pt x="1053083" y="309658"/>
                    <a:pt x="1053083" y="306229"/>
                  </a:cubicBezTo>
                  <a:cubicBezTo>
                    <a:pt x="1053083" y="302800"/>
                    <a:pt x="1055845" y="300038"/>
                    <a:pt x="1059274" y="300038"/>
                  </a:cubicBezTo>
                  <a:close/>
                  <a:moveTo>
                    <a:pt x="2454116" y="299847"/>
                  </a:moveTo>
                  <a:cubicBezTo>
                    <a:pt x="2457545" y="299847"/>
                    <a:pt x="2460307" y="302609"/>
                    <a:pt x="2460307" y="306038"/>
                  </a:cubicBezTo>
                  <a:cubicBezTo>
                    <a:pt x="2460307" y="309467"/>
                    <a:pt x="2457545" y="312230"/>
                    <a:pt x="2454116" y="312230"/>
                  </a:cubicBezTo>
                  <a:cubicBezTo>
                    <a:pt x="2450687" y="312230"/>
                    <a:pt x="2447925" y="309467"/>
                    <a:pt x="2447925" y="306038"/>
                  </a:cubicBezTo>
                  <a:cubicBezTo>
                    <a:pt x="2447925" y="302609"/>
                    <a:pt x="2450687" y="299847"/>
                    <a:pt x="2454116" y="299847"/>
                  </a:cubicBezTo>
                  <a:close/>
                  <a:moveTo>
                    <a:pt x="980407" y="299180"/>
                  </a:moveTo>
                  <a:cubicBezTo>
                    <a:pt x="983836" y="299180"/>
                    <a:pt x="986599" y="301942"/>
                    <a:pt x="986599" y="305371"/>
                  </a:cubicBezTo>
                  <a:cubicBezTo>
                    <a:pt x="986599" y="308800"/>
                    <a:pt x="983836" y="311563"/>
                    <a:pt x="980407" y="311563"/>
                  </a:cubicBezTo>
                  <a:cubicBezTo>
                    <a:pt x="976978" y="311563"/>
                    <a:pt x="974216" y="308800"/>
                    <a:pt x="974216" y="305371"/>
                  </a:cubicBezTo>
                  <a:cubicBezTo>
                    <a:pt x="974216" y="301942"/>
                    <a:pt x="976978" y="299180"/>
                    <a:pt x="980407" y="299180"/>
                  </a:cubicBezTo>
                  <a:close/>
                  <a:moveTo>
                    <a:pt x="2146649" y="298895"/>
                  </a:moveTo>
                  <a:cubicBezTo>
                    <a:pt x="2150078" y="298895"/>
                    <a:pt x="2152841" y="301657"/>
                    <a:pt x="2152841" y="305086"/>
                  </a:cubicBezTo>
                  <a:cubicBezTo>
                    <a:pt x="2152841" y="308515"/>
                    <a:pt x="2150078" y="311277"/>
                    <a:pt x="2146649" y="311277"/>
                  </a:cubicBezTo>
                  <a:cubicBezTo>
                    <a:pt x="2143220" y="311277"/>
                    <a:pt x="2140458" y="308515"/>
                    <a:pt x="2140458" y="305086"/>
                  </a:cubicBezTo>
                  <a:cubicBezTo>
                    <a:pt x="2140458" y="301657"/>
                    <a:pt x="2143220" y="298895"/>
                    <a:pt x="2146649" y="298895"/>
                  </a:cubicBezTo>
                  <a:close/>
                  <a:moveTo>
                    <a:pt x="1423415" y="297561"/>
                  </a:moveTo>
                  <a:cubicBezTo>
                    <a:pt x="1426844" y="297561"/>
                    <a:pt x="1429607" y="300323"/>
                    <a:pt x="1429607" y="303752"/>
                  </a:cubicBezTo>
                  <a:cubicBezTo>
                    <a:pt x="1429607" y="307181"/>
                    <a:pt x="1426844" y="309943"/>
                    <a:pt x="1423415" y="309943"/>
                  </a:cubicBezTo>
                  <a:cubicBezTo>
                    <a:pt x="1419986" y="309943"/>
                    <a:pt x="1417224" y="307181"/>
                    <a:pt x="1417224" y="303752"/>
                  </a:cubicBezTo>
                  <a:cubicBezTo>
                    <a:pt x="1417224" y="300323"/>
                    <a:pt x="1419986" y="297561"/>
                    <a:pt x="1423415" y="297561"/>
                  </a:cubicBezTo>
                  <a:close/>
                  <a:moveTo>
                    <a:pt x="851820" y="297371"/>
                  </a:moveTo>
                  <a:cubicBezTo>
                    <a:pt x="855249" y="297371"/>
                    <a:pt x="858012" y="300133"/>
                    <a:pt x="858012" y="303562"/>
                  </a:cubicBezTo>
                  <a:cubicBezTo>
                    <a:pt x="858012" y="306991"/>
                    <a:pt x="855249" y="309753"/>
                    <a:pt x="851820" y="309753"/>
                  </a:cubicBezTo>
                  <a:cubicBezTo>
                    <a:pt x="848391" y="309753"/>
                    <a:pt x="845629" y="306991"/>
                    <a:pt x="845629" y="303562"/>
                  </a:cubicBezTo>
                  <a:cubicBezTo>
                    <a:pt x="845629" y="300133"/>
                    <a:pt x="848391" y="297371"/>
                    <a:pt x="851820" y="297371"/>
                  </a:cubicBezTo>
                  <a:close/>
                  <a:moveTo>
                    <a:pt x="732662" y="295275"/>
                  </a:moveTo>
                  <a:cubicBezTo>
                    <a:pt x="736091" y="295275"/>
                    <a:pt x="738854" y="298037"/>
                    <a:pt x="738854" y="301466"/>
                  </a:cubicBezTo>
                  <a:lnTo>
                    <a:pt x="733901" y="306420"/>
                  </a:lnTo>
                  <a:lnTo>
                    <a:pt x="735996" y="308515"/>
                  </a:lnTo>
                  <a:lnTo>
                    <a:pt x="730948" y="313563"/>
                  </a:lnTo>
                  <a:lnTo>
                    <a:pt x="732662" y="315277"/>
                  </a:lnTo>
                  <a:lnTo>
                    <a:pt x="727376" y="320564"/>
                  </a:lnTo>
                  <a:lnTo>
                    <a:pt x="728662" y="321850"/>
                  </a:lnTo>
                  <a:lnTo>
                    <a:pt x="723138" y="327374"/>
                  </a:lnTo>
                  <a:lnTo>
                    <a:pt x="724281" y="328517"/>
                  </a:lnTo>
                  <a:lnTo>
                    <a:pt x="718518" y="334280"/>
                  </a:lnTo>
                  <a:lnTo>
                    <a:pt x="719518" y="335280"/>
                  </a:lnTo>
                  <a:cubicBezTo>
                    <a:pt x="719518" y="338709"/>
                    <a:pt x="716755" y="341471"/>
                    <a:pt x="713326" y="341471"/>
                  </a:cubicBezTo>
                  <a:lnTo>
                    <a:pt x="711009" y="339154"/>
                  </a:lnTo>
                  <a:lnTo>
                    <a:pt x="714279" y="342424"/>
                  </a:lnTo>
                  <a:cubicBezTo>
                    <a:pt x="714279" y="345853"/>
                    <a:pt x="711517" y="348615"/>
                    <a:pt x="708088" y="348615"/>
                  </a:cubicBezTo>
                  <a:cubicBezTo>
                    <a:pt x="704659" y="348615"/>
                    <a:pt x="701897" y="345853"/>
                    <a:pt x="701897" y="342424"/>
                  </a:cubicBezTo>
                  <a:lnTo>
                    <a:pt x="708088" y="336233"/>
                  </a:lnTo>
                  <a:lnTo>
                    <a:pt x="707135" y="335280"/>
                  </a:lnTo>
                  <a:lnTo>
                    <a:pt x="712898" y="329517"/>
                  </a:lnTo>
                  <a:lnTo>
                    <a:pt x="711898" y="328517"/>
                  </a:lnTo>
                  <a:lnTo>
                    <a:pt x="717422" y="322993"/>
                  </a:lnTo>
                  <a:lnTo>
                    <a:pt x="716279" y="321850"/>
                  </a:lnTo>
                  <a:lnTo>
                    <a:pt x="721566" y="316563"/>
                  </a:lnTo>
                  <a:lnTo>
                    <a:pt x="720280" y="315277"/>
                  </a:lnTo>
                  <a:lnTo>
                    <a:pt x="725328" y="310229"/>
                  </a:lnTo>
                  <a:lnTo>
                    <a:pt x="723614" y="308515"/>
                  </a:lnTo>
                  <a:lnTo>
                    <a:pt x="728567" y="303562"/>
                  </a:lnTo>
                  <a:lnTo>
                    <a:pt x="726471" y="301466"/>
                  </a:lnTo>
                  <a:cubicBezTo>
                    <a:pt x="726471" y="298037"/>
                    <a:pt x="729233" y="295275"/>
                    <a:pt x="732662" y="295275"/>
                  </a:cubicBezTo>
                  <a:close/>
                  <a:moveTo>
                    <a:pt x="1868042" y="293847"/>
                  </a:moveTo>
                  <a:cubicBezTo>
                    <a:pt x="1871471" y="293847"/>
                    <a:pt x="1874234" y="296609"/>
                    <a:pt x="1874234" y="300038"/>
                  </a:cubicBezTo>
                  <a:cubicBezTo>
                    <a:pt x="1874234" y="303467"/>
                    <a:pt x="1871471" y="306229"/>
                    <a:pt x="1868042" y="306229"/>
                  </a:cubicBezTo>
                  <a:cubicBezTo>
                    <a:pt x="1864613" y="306229"/>
                    <a:pt x="1861851" y="303467"/>
                    <a:pt x="1861851" y="300038"/>
                  </a:cubicBezTo>
                  <a:cubicBezTo>
                    <a:pt x="1861851" y="296609"/>
                    <a:pt x="1864613" y="293847"/>
                    <a:pt x="1868042" y="293847"/>
                  </a:cubicBezTo>
                  <a:close/>
                  <a:moveTo>
                    <a:pt x="2392870" y="292608"/>
                  </a:moveTo>
                  <a:cubicBezTo>
                    <a:pt x="2396299" y="292608"/>
                    <a:pt x="2399061" y="295370"/>
                    <a:pt x="2399061" y="298799"/>
                  </a:cubicBezTo>
                  <a:cubicBezTo>
                    <a:pt x="2399061" y="302228"/>
                    <a:pt x="2396299" y="304990"/>
                    <a:pt x="2392870" y="304990"/>
                  </a:cubicBezTo>
                  <a:cubicBezTo>
                    <a:pt x="2389441" y="304990"/>
                    <a:pt x="2386679" y="302228"/>
                    <a:pt x="2386679" y="298799"/>
                  </a:cubicBezTo>
                  <a:cubicBezTo>
                    <a:pt x="2386679" y="295370"/>
                    <a:pt x="2389441" y="292608"/>
                    <a:pt x="2392870" y="292608"/>
                  </a:cubicBezTo>
                  <a:close/>
                  <a:moveTo>
                    <a:pt x="2240184" y="290989"/>
                  </a:moveTo>
                  <a:cubicBezTo>
                    <a:pt x="2243613" y="290989"/>
                    <a:pt x="2246376" y="293751"/>
                    <a:pt x="2246376" y="297180"/>
                  </a:cubicBezTo>
                  <a:cubicBezTo>
                    <a:pt x="2246376" y="300609"/>
                    <a:pt x="2243613" y="303371"/>
                    <a:pt x="2240184" y="303371"/>
                  </a:cubicBezTo>
                  <a:cubicBezTo>
                    <a:pt x="2236755" y="303371"/>
                    <a:pt x="2233993" y="300609"/>
                    <a:pt x="2233993" y="297180"/>
                  </a:cubicBezTo>
                  <a:cubicBezTo>
                    <a:pt x="2233993" y="293751"/>
                    <a:pt x="2236755" y="290989"/>
                    <a:pt x="2240184" y="290989"/>
                  </a:cubicBezTo>
                  <a:close/>
                  <a:moveTo>
                    <a:pt x="734854" y="290703"/>
                  </a:moveTo>
                  <a:cubicBezTo>
                    <a:pt x="736695" y="290703"/>
                    <a:pt x="738188" y="292196"/>
                    <a:pt x="738188" y="294037"/>
                  </a:cubicBezTo>
                  <a:cubicBezTo>
                    <a:pt x="738188" y="295878"/>
                    <a:pt x="736695" y="297371"/>
                    <a:pt x="734854" y="297371"/>
                  </a:cubicBezTo>
                  <a:cubicBezTo>
                    <a:pt x="733013" y="297371"/>
                    <a:pt x="731520" y="295878"/>
                    <a:pt x="731520" y="294037"/>
                  </a:cubicBezTo>
                  <a:cubicBezTo>
                    <a:pt x="731520" y="292196"/>
                    <a:pt x="733013" y="290703"/>
                    <a:pt x="734854" y="290703"/>
                  </a:cubicBezTo>
                  <a:close/>
                  <a:moveTo>
                    <a:pt x="1227391" y="290417"/>
                  </a:moveTo>
                  <a:cubicBezTo>
                    <a:pt x="1230820" y="290417"/>
                    <a:pt x="1233582" y="293179"/>
                    <a:pt x="1233582" y="296608"/>
                  </a:cubicBezTo>
                  <a:cubicBezTo>
                    <a:pt x="1233582" y="300037"/>
                    <a:pt x="1230820" y="302800"/>
                    <a:pt x="1227391" y="302800"/>
                  </a:cubicBezTo>
                  <a:cubicBezTo>
                    <a:pt x="1223962" y="302800"/>
                    <a:pt x="1221200" y="300037"/>
                    <a:pt x="1221200" y="296608"/>
                  </a:cubicBezTo>
                  <a:cubicBezTo>
                    <a:pt x="1221200" y="293179"/>
                    <a:pt x="1223962" y="290417"/>
                    <a:pt x="1227391" y="290417"/>
                  </a:cubicBezTo>
                  <a:close/>
                  <a:moveTo>
                    <a:pt x="1511426" y="290322"/>
                  </a:moveTo>
                  <a:cubicBezTo>
                    <a:pt x="1514855" y="290322"/>
                    <a:pt x="1517618" y="293084"/>
                    <a:pt x="1517618" y="296513"/>
                  </a:cubicBezTo>
                  <a:cubicBezTo>
                    <a:pt x="1517618" y="299942"/>
                    <a:pt x="1514855" y="302705"/>
                    <a:pt x="1511426" y="302705"/>
                  </a:cubicBezTo>
                  <a:cubicBezTo>
                    <a:pt x="1507997" y="302705"/>
                    <a:pt x="1505235" y="299942"/>
                    <a:pt x="1505235" y="296513"/>
                  </a:cubicBezTo>
                  <a:cubicBezTo>
                    <a:pt x="1505235" y="293084"/>
                    <a:pt x="1507997" y="290322"/>
                    <a:pt x="1511426" y="290322"/>
                  </a:cubicBezTo>
                  <a:close/>
                  <a:moveTo>
                    <a:pt x="2321908" y="289275"/>
                  </a:moveTo>
                  <a:cubicBezTo>
                    <a:pt x="2325337" y="289275"/>
                    <a:pt x="2328100" y="292037"/>
                    <a:pt x="2328100" y="295466"/>
                  </a:cubicBezTo>
                  <a:cubicBezTo>
                    <a:pt x="2328100" y="298895"/>
                    <a:pt x="2325337" y="301657"/>
                    <a:pt x="2321908" y="301657"/>
                  </a:cubicBezTo>
                  <a:cubicBezTo>
                    <a:pt x="2318479" y="301657"/>
                    <a:pt x="2315717" y="298895"/>
                    <a:pt x="2315717" y="295466"/>
                  </a:cubicBezTo>
                  <a:cubicBezTo>
                    <a:pt x="2315717" y="292037"/>
                    <a:pt x="2318479" y="289275"/>
                    <a:pt x="2321908" y="289275"/>
                  </a:cubicBezTo>
                  <a:close/>
                  <a:moveTo>
                    <a:pt x="2611088" y="288417"/>
                  </a:moveTo>
                  <a:cubicBezTo>
                    <a:pt x="2614517" y="288417"/>
                    <a:pt x="2617279" y="291179"/>
                    <a:pt x="2617279" y="294608"/>
                  </a:cubicBezTo>
                  <a:lnTo>
                    <a:pt x="2613945" y="297942"/>
                  </a:lnTo>
                  <a:lnTo>
                    <a:pt x="2618899" y="302895"/>
                  </a:lnTo>
                  <a:lnTo>
                    <a:pt x="2616231" y="305562"/>
                  </a:lnTo>
                  <a:lnTo>
                    <a:pt x="2621280" y="310610"/>
                  </a:lnTo>
                  <a:lnTo>
                    <a:pt x="2619041" y="312849"/>
                  </a:lnTo>
                  <a:lnTo>
                    <a:pt x="2624327" y="318135"/>
                  </a:lnTo>
                  <a:lnTo>
                    <a:pt x="2622565" y="319897"/>
                  </a:lnTo>
                  <a:lnTo>
                    <a:pt x="2627947" y="325279"/>
                  </a:lnTo>
                  <a:lnTo>
                    <a:pt x="2626518" y="326708"/>
                  </a:lnTo>
                  <a:lnTo>
                    <a:pt x="2632138" y="332327"/>
                  </a:lnTo>
                  <a:lnTo>
                    <a:pt x="2630994" y="333471"/>
                  </a:lnTo>
                  <a:lnTo>
                    <a:pt x="2636900" y="339376"/>
                  </a:lnTo>
                  <a:lnTo>
                    <a:pt x="2635900" y="340376"/>
                  </a:lnTo>
                  <a:lnTo>
                    <a:pt x="2642045" y="346520"/>
                  </a:lnTo>
                  <a:cubicBezTo>
                    <a:pt x="2642045" y="349940"/>
                    <a:pt x="2639273" y="352712"/>
                    <a:pt x="2635853" y="352712"/>
                  </a:cubicBezTo>
                  <a:cubicBezTo>
                    <a:pt x="2632434" y="352712"/>
                    <a:pt x="2629662" y="349940"/>
                    <a:pt x="2629662" y="346520"/>
                  </a:cubicBezTo>
                  <a:lnTo>
                    <a:pt x="2630662" y="345520"/>
                  </a:lnTo>
                  <a:lnTo>
                    <a:pt x="2624518" y="339376"/>
                  </a:lnTo>
                  <a:lnTo>
                    <a:pt x="2625661" y="338233"/>
                  </a:lnTo>
                  <a:lnTo>
                    <a:pt x="2619756" y="332327"/>
                  </a:lnTo>
                  <a:lnTo>
                    <a:pt x="2621184" y="330899"/>
                  </a:lnTo>
                  <a:lnTo>
                    <a:pt x="2615565" y="325279"/>
                  </a:lnTo>
                  <a:lnTo>
                    <a:pt x="2617327" y="323517"/>
                  </a:lnTo>
                  <a:lnTo>
                    <a:pt x="2611945" y="318135"/>
                  </a:lnTo>
                  <a:lnTo>
                    <a:pt x="2614184" y="315897"/>
                  </a:lnTo>
                  <a:lnTo>
                    <a:pt x="2608897" y="310610"/>
                  </a:lnTo>
                  <a:lnTo>
                    <a:pt x="2611564" y="307943"/>
                  </a:lnTo>
                  <a:lnTo>
                    <a:pt x="2606516" y="302895"/>
                  </a:lnTo>
                  <a:lnTo>
                    <a:pt x="2609850" y="299561"/>
                  </a:lnTo>
                  <a:lnTo>
                    <a:pt x="2604897" y="294608"/>
                  </a:lnTo>
                  <a:cubicBezTo>
                    <a:pt x="2604897" y="291179"/>
                    <a:pt x="2607659" y="288417"/>
                    <a:pt x="2611088" y="288417"/>
                  </a:cubicBezTo>
                  <a:close/>
                  <a:moveTo>
                    <a:pt x="1779460" y="288036"/>
                  </a:moveTo>
                  <a:cubicBezTo>
                    <a:pt x="1782889" y="288036"/>
                    <a:pt x="1785652" y="290798"/>
                    <a:pt x="1785652" y="294227"/>
                  </a:cubicBezTo>
                  <a:cubicBezTo>
                    <a:pt x="1785652" y="297656"/>
                    <a:pt x="1782889" y="300419"/>
                    <a:pt x="1779460" y="300419"/>
                  </a:cubicBezTo>
                  <a:cubicBezTo>
                    <a:pt x="1776031" y="300419"/>
                    <a:pt x="1773269" y="297656"/>
                    <a:pt x="1773269" y="294227"/>
                  </a:cubicBezTo>
                  <a:cubicBezTo>
                    <a:pt x="1773269" y="290798"/>
                    <a:pt x="1776031" y="288036"/>
                    <a:pt x="1779460" y="288036"/>
                  </a:cubicBezTo>
                  <a:close/>
                  <a:moveTo>
                    <a:pt x="907160" y="287465"/>
                  </a:moveTo>
                  <a:cubicBezTo>
                    <a:pt x="910589" y="287465"/>
                    <a:pt x="913352" y="290227"/>
                    <a:pt x="913352" y="293656"/>
                  </a:cubicBezTo>
                  <a:cubicBezTo>
                    <a:pt x="913352" y="297085"/>
                    <a:pt x="910589" y="299847"/>
                    <a:pt x="907160" y="299847"/>
                  </a:cubicBezTo>
                  <a:cubicBezTo>
                    <a:pt x="903731" y="299847"/>
                    <a:pt x="900969" y="297085"/>
                    <a:pt x="900969" y="293656"/>
                  </a:cubicBezTo>
                  <a:cubicBezTo>
                    <a:pt x="900969" y="290227"/>
                    <a:pt x="903731" y="287465"/>
                    <a:pt x="907160" y="287465"/>
                  </a:cubicBezTo>
                  <a:close/>
                  <a:moveTo>
                    <a:pt x="2456878" y="286512"/>
                  </a:moveTo>
                  <a:cubicBezTo>
                    <a:pt x="2460307" y="286512"/>
                    <a:pt x="2463069" y="289274"/>
                    <a:pt x="2463069" y="292703"/>
                  </a:cubicBezTo>
                  <a:cubicBezTo>
                    <a:pt x="2463069" y="296132"/>
                    <a:pt x="2460307" y="298895"/>
                    <a:pt x="2456878" y="298895"/>
                  </a:cubicBezTo>
                  <a:cubicBezTo>
                    <a:pt x="2453449" y="298895"/>
                    <a:pt x="2450687" y="296132"/>
                    <a:pt x="2450687" y="292703"/>
                  </a:cubicBezTo>
                  <a:cubicBezTo>
                    <a:pt x="2450687" y="289274"/>
                    <a:pt x="2453449" y="286512"/>
                    <a:pt x="2456878" y="286512"/>
                  </a:cubicBezTo>
                  <a:close/>
                  <a:moveTo>
                    <a:pt x="1600485" y="286322"/>
                  </a:moveTo>
                  <a:cubicBezTo>
                    <a:pt x="1603914" y="286322"/>
                    <a:pt x="1606676" y="289084"/>
                    <a:pt x="1606676" y="292513"/>
                  </a:cubicBezTo>
                  <a:cubicBezTo>
                    <a:pt x="1606676" y="295942"/>
                    <a:pt x="1603914" y="298705"/>
                    <a:pt x="1600485" y="298705"/>
                  </a:cubicBezTo>
                  <a:cubicBezTo>
                    <a:pt x="1597056" y="298705"/>
                    <a:pt x="1594294" y="295942"/>
                    <a:pt x="1594294" y="292513"/>
                  </a:cubicBezTo>
                  <a:cubicBezTo>
                    <a:pt x="1594294" y="289084"/>
                    <a:pt x="1597056" y="286322"/>
                    <a:pt x="1600485" y="286322"/>
                  </a:cubicBezTo>
                  <a:close/>
                  <a:moveTo>
                    <a:pt x="1690115" y="285560"/>
                  </a:moveTo>
                  <a:cubicBezTo>
                    <a:pt x="1693544" y="285560"/>
                    <a:pt x="1696307" y="288322"/>
                    <a:pt x="1696307" y="291751"/>
                  </a:cubicBezTo>
                  <a:cubicBezTo>
                    <a:pt x="1696307" y="295180"/>
                    <a:pt x="1693544" y="297943"/>
                    <a:pt x="1690115" y="297943"/>
                  </a:cubicBezTo>
                  <a:cubicBezTo>
                    <a:pt x="1686686" y="297943"/>
                    <a:pt x="1683924" y="295180"/>
                    <a:pt x="1683924" y="291751"/>
                  </a:cubicBezTo>
                  <a:cubicBezTo>
                    <a:pt x="1683924" y="288322"/>
                    <a:pt x="1686686" y="285560"/>
                    <a:pt x="1690115" y="285560"/>
                  </a:cubicBezTo>
                  <a:close/>
                  <a:moveTo>
                    <a:pt x="2067782" y="283560"/>
                  </a:moveTo>
                  <a:cubicBezTo>
                    <a:pt x="2071211" y="283560"/>
                    <a:pt x="2073974" y="286322"/>
                    <a:pt x="2073974" y="289751"/>
                  </a:cubicBezTo>
                  <a:cubicBezTo>
                    <a:pt x="2073974" y="293180"/>
                    <a:pt x="2071211" y="295942"/>
                    <a:pt x="2067782" y="295942"/>
                  </a:cubicBezTo>
                  <a:cubicBezTo>
                    <a:pt x="2064353" y="295942"/>
                    <a:pt x="2061591" y="293180"/>
                    <a:pt x="2061591" y="289751"/>
                  </a:cubicBezTo>
                  <a:cubicBezTo>
                    <a:pt x="2061591" y="286322"/>
                    <a:pt x="2064353" y="283560"/>
                    <a:pt x="2067782" y="283560"/>
                  </a:cubicBezTo>
                  <a:close/>
                  <a:moveTo>
                    <a:pt x="2610040" y="282416"/>
                  </a:moveTo>
                  <a:cubicBezTo>
                    <a:pt x="2611849" y="282416"/>
                    <a:pt x="2613373" y="283940"/>
                    <a:pt x="2613373" y="285750"/>
                  </a:cubicBezTo>
                  <a:cubicBezTo>
                    <a:pt x="2613373" y="287560"/>
                    <a:pt x="2611849" y="289084"/>
                    <a:pt x="2610040" y="289084"/>
                  </a:cubicBezTo>
                  <a:cubicBezTo>
                    <a:pt x="2608230" y="289084"/>
                    <a:pt x="2606706" y="287560"/>
                    <a:pt x="2606706" y="285750"/>
                  </a:cubicBezTo>
                  <a:cubicBezTo>
                    <a:pt x="2606706" y="283940"/>
                    <a:pt x="2608230" y="282416"/>
                    <a:pt x="2610040" y="282416"/>
                  </a:cubicBezTo>
                  <a:close/>
                  <a:moveTo>
                    <a:pt x="1130426" y="280988"/>
                  </a:moveTo>
                  <a:cubicBezTo>
                    <a:pt x="1133855" y="280988"/>
                    <a:pt x="1136618" y="283750"/>
                    <a:pt x="1136618" y="287179"/>
                  </a:cubicBezTo>
                  <a:cubicBezTo>
                    <a:pt x="1136618" y="290608"/>
                    <a:pt x="1133855" y="293371"/>
                    <a:pt x="1130426" y="293371"/>
                  </a:cubicBezTo>
                  <a:cubicBezTo>
                    <a:pt x="1126997" y="293371"/>
                    <a:pt x="1124235" y="290608"/>
                    <a:pt x="1124235" y="287179"/>
                  </a:cubicBezTo>
                  <a:cubicBezTo>
                    <a:pt x="1124235" y="283750"/>
                    <a:pt x="1126997" y="280988"/>
                    <a:pt x="1130426" y="280988"/>
                  </a:cubicBezTo>
                  <a:close/>
                  <a:moveTo>
                    <a:pt x="971263" y="280797"/>
                  </a:moveTo>
                  <a:cubicBezTo>
                    <a:pt x="974692" y="280797"/>
                    <a:pt x="977455" y="283559"/>
                    <a:pt x="977455" y="286988"/>
                  </a:cubicBezTo>
                  <a:cubicBezTo>
                    <a:pt x="977455" y="290417"/>
                    <a:pt x="974692" y="293180"/>
                    <a:pt x="971263" y="293180"/>
                  </a:cubicBezTo>
                  <a:cubicBezTo>
                    <a:pt x="967834" y="293180"/>
                    <a:pt x="965072" y="290417"/>
                    <a:pt x="965072" y="286988"/>
                  </a:cubicBezTo>
                  <a:cubicBezTo>
                    <a:pt x="965072" y="283559"/>
                    <a:pt x="967834" y="280797"/>
                    <a:pt x="971263" y="280797"/>
                  </a:cubicBezTo>
                  <a:close/>
                  <a:moveTo>
                    <a:pt x="1045368" y="278226"/>
                  </a:moveTo>
                  <a:cubicBezTo>
                    <a:pt x="1048797" y="278226"/>
                    <a:pt x="1051560" y="280988"/>
                    <a:pt x="1051560" y="284417"/>
                  </a:cubicBezTo>
                  <a:cubicBezTo>
                    <a:pt x="1051560" y="287846"/>
                    <a:pt x="1048797" y="290608"/>
                    <a:pt x="1045368" y="290608"/>
                  </a:cubicBezTo>
                  <a:cubicBezTo>
                    <a:pt x="1041939" y="290608"/>
                    <a:pt x="1039177" y="287846"/>
                    <a:pt x="1039177" y="284417"/>
                  </a:cubicBezTo>
                  <a:cubicBezTo>
                    <a:pt x="1039177" y="280988"/>
                    <a:pt x="1041939" y="278226"/>
                    <a:pt x="1045368" y="278226"/>
                  </a:cubicBezTo>
                  <a:close/>
                  <a:moveTo>
                    <a:pt x="2399156" y="276987"/>
                  </a:moveTo>
                  <a:cubicBezTo>
                    <a:pt x="2402585" y="276987"/>
                    <a:pt x="2405348" y="279749"/>
                    <a:pt x="2405348" y="283178"/>
                  </a:cubicBezTo>
                  <a:cubicBezTo>
                    <a:pt x="2405348" y="286607"/>
                    <a:pt x="2402585" y="289370"/>
                    <a:pt x="2399156" y="289370"/>
                  </a:cubicBezTo>
                  <a:cubicBezTo>
                    <a:pt x="2395727" y="289370"/>
                    <a:pt x="2392965" y="286607"/>
                    <a:pt x="2392965" y="283178"/>
                  </a:cubicBezTo>
                  <a:cubicBezTo>
                    <a:pt x="2392965" y="279749"/>
                    <a:pt x="2395727" y="276987"/>
                    <a:pt x="2399156" y="276987"/>
                  </a:cubicBezTo>
                  <a:close/>
                  <a:moveTo>
                    <a:pt x="1307686" y="276416"/>
                  </a:moveTo>
                  <a:cubicBezTo>
                    <a:pt x="1311115" y="276416"/>
                    <a:pt x="1313878" y="279178"/>
                    <a:pt x="1313878" y="282607"/>
                  </a:cubicBezTo>
                  <a:cubicBezTo>
                    <a:pt x="1313878" y="286036"/>
                    <a:pt x="1311115" y="288798"/>
                    <a:pt x="1307686" y="288798"/>
                  </a:cubicBezTo>
                  <a:cubicBezTo>
                    <a:pt x="1304257" y="288798"/>
                    <a:pt x="1301495" y="286036"/>
                    <a:pt x="1301495" y="282607"/>
                  </a:cubicBezTo>
                  <a:cubicBezTo>
                    <a:pt x="1301495" y="279178"/>
                    <a:pt x="1304257" y="276416"/>
                    <a:pt x="1307686" y="276416"/>
                  </a:cubicBezTo>
                  <a:close/>
                  <a:moveTo>
                    <a:pt x="903065" y="274225"/>
                  </a:moveTo>
                  <a:cubicBezTo>
                    <a:pt x="906494" y="274225"/>
                    <a:pt x="909256" y="276987"/>
                    <a:pt x="909256" y="280416"/>
                  </a:cubicBezTo>
                  <a:cubicBezTo>
                    <a:pt x="909256" y="283845"/>
                    <a:pt x="906494" y="286607"/>
                    <a:pt x="903065" y="286607"/>
                  </a:cubicBezTo>
                  <a:cubicBezTo>
                    <a:pt x="899636" y="286607"/>
                    <a:pt x="896874" y="283845"/>
                    <a:pt x="896874" y="280416"/>
                  </a:cubicBezTo>
                  <a:cubicBezTo>
                    <a:pt x="896874" y="276987"/>
                    <a:pt x="899636" y="274225"/>
                    <a:pt x="903065" y="274225"/>
                  </a:cubicBezTo>
                  <a:close/>
                  <a:moveTo>
                    <a:pt x="2167699" y="272891"/>
                  </a:moveTo>
                  <a:cubicBezTo>
                    <a:pt x="2171128" y="272891"/>
                    <a:pt x="2173891" y="275653"/>
                    <a:pt x="2173891" y="279082"/>
                  </a:cubicBezTo>
                  <a:cubicBezTo>
                    <a:pt x="2173891" y="282511"/>
                    <a:pt x="2171128" y="285274"/>
                    <a:pt x="2167699" y="285274"/>
                  </a:cubicBezTo>
                  <a:cubicBezTo>
                    <a:pt x="2164270" y="285274"/>
                    <a:pt x="2161508" y="282511"/>
                    <a:pt x="2161508" y="279082"/>
                  </a:cubicBezTo>
                  <a:cubicBezTo>
                    <a:pt x="2161508" y="275653"/>
                    <a:pt x="2164270" y="272891"/>
                    <a:pt x="2167699" y="272891"/>
                  </a:cubicBezTo>
                  <a:close/>
                  <a:moveTo>
                    <a:pt x="764285" y="271463"/>
                  </a:moveTo>
                  <a:cubicBezTo>
                    <a:pt x="767705" y="271463"/>
                    <a:pt x="770476" y="274235"/>
                    <a:pt x="770476" y="277654"/>
                  </a:cubicBezTo>
                  <a:lnTo>
                    <a:pt x="766286" y="281845"/>
                  </a:lnTo>
                  <a:lnTo>
                    <a:pt x="768667" y="284226"/>
                  </a:lnTo>
                  <a:lnTo>
                    <a:pt x="764381" y="288513"/>
                  </a:lnTo>
                  <a:lnTo>
                    <a:pt x="766285" y="290417"/>
                  </a:lnTo>
                  <a:lnTo>
                    <a:pt x="761856" y="294846"/>
                  </a:lnTo>
                  <a:lnTo>
                    <a:pt x="763429" y="296418"/>
                  </a:lnTo>
                  <a:lnTo>
                    <a:pt x="758809" y="301038"/>
                  </a:lnTo>
                  <a:lnTo>
                    <a:pt x="760095" y="302323"/>
                  </a:lnTo>
                  <a:lnTo>
                    <a:pt x="755284" y="307134"/>
                  </a:lnTo>
                  <a:lnTo>
                    <a:pt x="756380" y="308229"/>
                  </a:lnTo>
                  <a:lnTo>
                    <a:pt x="751332" y="313277"/>
                  </a:lnTo>
                  <a:lnTo>
                    <a:pt x="752285" y="314230"/>
                  </a:lnTo>
                  <a:lnTo>
                    <a:pt x="746855" y="319660"/>
                  </a:lnTo>
                  <a:lnTo>
                    <a:pt x="747902" y="320707"/>
                  </a:lnTo>
                  <a:lnTo>
                    <a:pt x="742188" y="326422"/>
                  </a:lnTo>
                  <a:lnTo>
                    <a:pt x="743331" y="327565"/>
                  </a:lnTo>
                  <a:lnTo>
                    <a:pt x="737187" y="333709"/>
                  </a:lnTo>
                  <a:lnTo>
                    <a:pt x="738664" y="335185"/>
                  </a:lnTo>
                  <a:cubicBezTo>
                    <a:pt x="738664" y="338614"/>
                    <a:pt x="735901" y="341377"/>
                    <a:pt x="732472" y="341377"/>
                  </a:cubicBezTo>
                  <a:cubicBezTo>
                    <a:pt x="729043" y="341377"/>
                    <a:pt x="726281" y="338614"/>
                    <a:pt x="726281" y="335185"/>
                  </a:cubicBezTo>
                  <a:lnTo>
                    <a:pt x="732424" y="329042"/>
                  </a:lnTo>
                  <a:lnTo>
                    <a:pt x="730948" y="327565"/>
                  </a:lnTo>
                  <a:lnTo>
                    <a:pt x="736663" y="321850"/>
                  </a:lnTo>
                  <a:lnTo>
                    <a:pt x="735520" y="320707"/>
                  </a:lnTo>
                  <a:lnTo>
                    <a:pt x="740950" y="315278"/>
                  </a:lnTo>
                  <a:lnTo>
                    <a:pt x="739902" y="314230"/>
                  </a:lnTo>
                  <a:lnTo>
                    <a:pt x="744950" y="309182"/>
                  </a:lnTo>
                  <a:lnTo>
                    <a:pt x="743997" y="308229"/>
                  </a:lnTo>
                  <a:lnTo>
                    <a:pt x="748807" y="303419"/>
                  </a:lnTo>
                  <a:lnTo>
                    <a:pt x="747712" y="302323"/>
                  </a:lnTo>
                  <a:lnTo>
                    <a:pt x="752331" y="297704"/>
                  </a:lnTo>
                  <a:lnTo>
                    <a:pt x="751046" y="296418"/>
                  </a:lnTo>
                  <a:lnTo>
                    <a:pt x="755475" y="291989"/>
                  </a:lnTo>
                  <a:lnTo>
                    <a:pt x="753903" y="290417"/>
                  </a:lnTo>
                  <a:lnTo>
                    <a:pt x="758190" y="286131"/>
                  </a:lnTo>
                  <a:lnTo>
                    <a:pt x="756285" y="284226"/>
                  </a:lnTo>
                  <a:lnTo>
                    <a:pt x="760476" y="280036"/>
                  </a:lnTo>
                  <a:lnTo>
                    <a:pt x="758094" y="277654"/>
                  </a:lnTo>
                  <a:cubicBezTo>
                    <a:pt x="758094" y="274235"/>
                    <a:pt x="760866" y="271463"/>
                    <a:pt x="764285" y="271463"/>
                  </a:cubicBezTo>
                  <a:close/>
                  <a:moveTo>
                    <a:pt x="1986438" y="270891"/>
                  </a:moveTo>
                  <a:cubicBezTo>
                    <a:pt x="1989867" y="270891"/>
                    <a:pt x="1992630" y="273653"/>
                    <a:pt x="1992630" y="277082"/>
                  </a:cubicBezTo>
                  <a:cubicBezTo>
                    <a:pt x="1992630" y="280511"/>
                    <a:pt x="1989867" y="283273"/>
                    <a:pt x="1986438" y="283273"/>
                  </a:cubicBezTo>
                  <a:cubicBezTo>
                    <a:pt x="1983009" y="283273"/>
                    <a:pt x="1980247" y="280511"/>
                    <a:pt x="1980247" y="277082"/>
                  </a:cubicBezTo>
                  <a:cubicBezTo>
                    <a:pt x="1980247" y="273653"/>
                    <a:pt x="1983009" y="270891"/>
                    <a:pt x="1986438" y="270891"/>
                  </a:cubicBezTo>
                  <a:close/>
                  <a:moveTo>
                    <a:pt x="2332481" y="270796"/>
                  </a:moveTo>
                  <a:cubicBezTo>
                    <a:pt x="2335910" y="270796"/>
                    <a:pt x="2338673" y="273558"/>
                    <a:pt x="2338673" y="276987"/>
                  </a:cubicBezTo>
                  <a:cubicBezTo>
                    <a:pt x="2338673" y="280416"/>
                    <a:pt x="2335910" y="283178"/>
                    <a:pt x="2332481" y="283178"/>
                  </a:cubicBezTo>
                  <a:cubicBezTo>
                    <a:pt x="2329052" y="283178"/>
                    <a:pt x="2326290" y="280416"/>
                    <a:pt x="2326290" y="276987"/>
                  </a:cubicBezTo>
                  <a:cubicBezTo>
                    <a:pt x="2326290" y="273558"/>
                    <a:pt x="2329052" y="270796"/>
                    <a:pt x="2332481" y="270796"/>
                  </a:cubicBezTo>
                  <a:close/>
                  <a:moveTo>
                    <a:pt x="765524" y="270320"/>
                  </a:moveTo>
                  <a:cubicBezTo>
                    <a:pt x="765682" y="270320"/>
                    <a:pt x="765810" y="270448"/>
                    <a:pt x="765810" y="270606"/>
                  </a:cubicBezTo>
                  <a:cubicBezTo>
                    <a:pt x="765810" y="270764"/>
                    <a:pt x="765682" y="270892"/>
                    <a:pt x="765524" y="270892"/>
                  </a:cubicBezTo>
                  <a:cubicBezTo>
                    <a:pt x="765366" y="270892"/>
                    <a:pt x="765238" y="270764"/>
                    <a:pt x="765238" y="270606"/>
                  </a:cubicBezTo>
                  <a:cubicBezTo>
                    <a:pt x="765238" y="270448"/>
                    <a:pt x="765366" y="270320"/>
                    <a:pt x="765524" y="270320"/>
                  </a:cubicBezTo>
                  <a:close/>
                  <a:moveTo>
                    <a:pt x="2255710" y="268986"/>
                  </a:moveTo>
                  <a:cubicBezTo>
                    <a:pt x="2259139" y="268986"/>
                    <a:pt x="2261902" y="271748"/>
                    <a:pt x="2261902" y="275177"/>
                  </a:cubicBezTo>
                  <a:cubicBezTo>
                    <a:pt x="2261902" y="278606"/>
                    <a:pt x="2259139" y="281369"/>
                    <a:pt x="2255710" y="281369"/>
                  </a:cubicBezTo>
                  <a:cubicBezTo>
                    <a:pt x="2252281" y="281369"/>
                    <a:pt x="2249519" y="278606"/>
                    <a:pt x="2249519" y="275177"/>
                  </a:cubicBezTo>
                  <a:cubicBezTo>
                    <a:pt x="2249519" y="271748"/>
                    <a:pt x="2252281" y="268986"/>
                    <a:pt x="2255710" y="268986"/>
                  </a:cubicBezTo>
                  <a:close/>
                  <a:moveTo>
                    <a:pt x="1390078" y="265176"/>
                  </a:moveTo>
                  <a:cubicBezTo>
                    <a:pt x="1393507" y="265176"/>
                    <a:pt x="1396270" y="267938"/>
                    <a:pt x="1396270" y="271367"/>
                  </a:cubicBezTo>
                  <a:cubicBezTo>
                    <a:pt x="1396270" y="274796"/>
                    <a:pt x="1393507" y="277558"/>
                    <a:pt x="1390078" y="277558"/>
                  </a:cubicBezTo>
                  <a:cubicBezTo>
                    <a:pt x="1386649" y="277558"/>
                    <a:pt x="1383887" y="274796"/>
                    <a:pt x="1383887" y="271367"/>
                  </a:cubicBezTo>
                  <a:cubicBezTo>
                    <a:pt x="1383887" y="267938"/>
                    <a:pt x="1386649" y="265176"/>
                    <a:pt x="1390078" y="265176"/>
                  </a:cubicBezTo>
                  <a:close/>
                  <a:moveTo>
                    <a:pt x="963548" y="265176"/>
                  </a:moveTo>
                  <a:cubicBezTo>
                    <a:pt x="966977" y="265176"/>
                    <a:pt x="969739" y="267938"/>
                    <a:pt x="969739" y="271367"/>
                  </a:cubicBezTo>
                  <a:cubicBezTo>
                    <a:pt x="969739" y="274796"/>
                    <a:pt x="966977" y="277558"/>
                    <a:pt x="963548" y="277558"/>
                  </a:cubicBezTo>
                  <a:cubicBezTo>
                    <a:pt x="960119" y="277558"/>
                    <a:pt x="957357" y="274796"/>
                    <a:pt x="957357" y="271367"/>
                  </a:cubicBezTo>
                  <a:cubicBezTo>
                    <a:pt x="957357" y="267938"/>
                    <a:pt x="960119" y="265176"/>
                    <a:pt x="963548" y="265176"/>
                  </a:cubicBezTo>
                  <a:close/>
                  <a:moveTo>
                    <a:pt x="2581560" y="264986"/>
                  </a:moveTo>
                  <a:cubicBezTo>
                    <a:pt x="2584894" y="264986"/>
                    <a:pt x="2587561" y="267653"/>
                    <a:pt x="2587561" y="270987"/>
                  </a:cubicBezTo>
                  <a:lnTo>
                    <a:pt x="2584037" y="274511"/>
                  </a:lnTo>
                  <a:lnTo>
                    <a:pt x="2588514" y="278987"/>
                  </a:lnTo>
                  <a:lnTo>
                    <a:pt x="2585466" y="282035"/>
                  </a:lnTo>
                  <a:lnTo>
                    <a:pt x="2589943" y="286512"/>
                  </a:lnTo>
                  <a:lnTo>
                    <a:pt x="2587466" y="288989"/>
                  </a:lnTo>
                  <a:lnTo>
                    <a:pt x="2591942" y="293465"/>
                  </a:lnTo>
                  <a:lnTo>
                    <a:pt x="2589942" y="295466"/>
                  </a:lnTo>
                  <a:lnTo>
                    <a:pt x="2594609" y="300133"/>
                  </a:lnTo>
                  <a:lnTo>
                    <a:pt x="2592990" y="301753"/>
                  </a:lnTo>
                  <a:lnTo>
                    <a:pt x="2597753" y="306515"/>
                  </a:lnTo>
                  <a:lnTo>
                    <a:pt x="2596419" y="307849"/>
                  </a:lnTo>
                  <a:lnTo>
                    <a:pt x="2601372" y="312801"/>
                  </a:lnTo>
                  <a:lnTo>
                    <a:pt x="2600276" y="313897"/>
                  </a:lnTo>
                  <a:lnTo>
                    <a:pt x="2605468" y="319088"/>
                  </a:lnTo>
                  <a:lnTo>
                    <a:pt x="2604515" y="320041"/>
                  </a:lnTo>
                  <a:lnTo>
                    <a:pt x="2610040" y="325565"/>
                  </a:lnTo>
                  <a:lnTo>
                    <a:pt x="2609040" y="326565"/>
                  </a:lnTo>
                  <a:lnTo>
                    <a:pt x="2614802" y="332327"/>
                  </a:lnTo>
                  <a:cubicBezTo>
                    <a:pt x="2614802" y="335756"/>
                    <a:pt x="2612040" y="338518"/>
                    <a:pt x="2608611" y="338518"/>
                  </a:cubicBezTo>
                  <a:cubicBezTo>
                    <a:pt x="2605182" y="338518"/>
                    <a:pt x="2602420" y="335756"/>
                    <a:pt x="2602420" y="332327"/>
                  </a:cubicBezTo>
                  <a:lnTo>
                    <a:pt x="2603420" y="331327"/>
                  </a:lnTo>
                  <a:lnTo>
                    <a:pt x="2597658" y="325565"/>
                  </a:lnTo>
                  <a:lnTo>
                    <a:pt x="2598610" y="324613"/>
                  </a:lnTo>
                  <a:lnTo>
                    <a:pt x="2593085" y="319088"/>
                  </a:lnTo>
                  <a:lnTo>
                    <a:pt x="2594181" y="317992"/>
                  </a:lnTo>
                  <a:lnTo>
                    <a:pt x="2588990" y="312801"/>
                  </a:lnTo>
                  <a:lnTo>
                    <a:pt x="2590323" y="311468"/>
                  </a:lnTo>
                  <a:lnTo>
                    <a:pt x="2585370" y="306515"/>
                  </a:lnTo>
                  <a:lnTo>
                    <a:pt x="2586989" y="304896"/>
                  </a:lnTo>
                  <a:lnTo>
                    <a:pt x="2582227" y="300133"/>
                  </a:lnTo>
                  <a:lnTo>
                    <a:pt x="2584227" y="298133"/>
                  </a:lnTo>
                  <a:lnTo>
                    <a:pt x="2579560" y="293465"/>
                  </a:lnTo>
                  <a:lnTo>
                    <a:pt x="2582037" y="290989"/>
                  </a:lnTo>
                  <a:lnTo>
                    <a:pt x="2577560" y="286512"/>
                  </a:lnTo>
                  <a:lnTo>
                    <a:pt x="2580608" y="283464"/>
                  </a:lnTo>
                  <a:lnTo>
                    <a:pt x="2576131" y="278987"/>
                  </a:lnTo>
                  <a:lnTo>
                    <a:pt x="2579845" y="275273"/>
                  </a:lnTo>
                  <a:lnTo>
                    <a:pt x="2575559" y="270987"/>
                  </a:lnTo>
                  <a:cubicBezTo>
                    <a:pt x="2575559" y="267653"/>
                    <a:pt x="2578226" y="264986"/>
                    <a:pt x="2581560" y="264986"/>
                  </a:cubicBezTo>
                  <a:close/>
                  <a:moveTo>
                    <a:pt x="1204436" y="264033"/>
                  </a:moveTo>
                  <a:cubicBezTo>
                    <a:pt x="1207865" y="264033"/>
                    <a:pt x="1210627" y="266795"/>
                    <a:pt x="1210627" y="270224"/>
                  </a:cubicBezTo>
                  <a:cubicBezTo>
                    <a:pt x="1210627" y="273653"/>
                    <a:pt x="1207865" y="276416"/>
                    <a:pt x="1204436" y="276416"/>
                  </a:cubicBezTo>
                  <a:cubicBezTo>
                    <a:pt x="1201007" y="276416"/>
                    <a:pt x="1198245" y="273653"/>
                    <a:pt x="1198245" y="270224"/>
                  </a:cubicBezTo>
                  <a:cubicBezTo>
                    <a:pt x="1198245" y="266795"/>
                    <a:pt x="1201007" y="264033"/>
                    <a:pt x="1204436" y="264033"/>
                  </a:cubicBezTo>
                  <a:close/>
                  <a:moveTo>
                    <a:pt x="2404395" y="263748"/>
                  </a:moveTo>
                  <a:cubicBezTo>
                    <a:pt x="2407824" y="263748"/>
                    <a:pt x="2410587" y="266510"/>
                    <a:pt x="2410587" y="269939"/>
                  </a:cubicBezTo>
                  <a:cubicBezTo>
                    <a:pt x="2410587" y="273368"/>
                    <a:pt x="2407824" y="276130"/>
                    <a:pt x="2404395" y="276130"/>
                  </a:cubicBezTo>
                  <a:cubicBezTo>
                    <a:pt x="2400966" y="276130"/>
                    <a:pt x="2398204" y="273368"/>
                    <a:pt x="2398204" y="269939"/>
                  </a:cubicBezTo>
                  <a:cubicBezTo>
                    <a:pt x="2398204" y="266510"/>
                    <a:pt x="2400966" y="263748"/>
                    <a:pt x="2404395" y="263748"/>
                  </a:cubicBezTo>
                  <a:close/>
                  <a:moveTo>
                    <a:pt x="2581466" y="262128"/>
                  </a:moveTo>
                  <a:cubicBezTo>
                    <a:pt x="2581571" y="262128"/>
                    <a:pt x="2581656" y="262213"/>
                    <a:pt x="2581656" y="262319"/>
                  </a:cubicBezTo>
                  <a:cubicBezTo>
                    <a:pt x="2581656" y="262424"/>
                    <a:pt x="2581571" y="262509"/>
                    <a:pt x="2581466" y="262509"/>
                  </a:cubicBezTo>
                  <a:cubicBezTo>
                    <a:pt x="2581360" y="262509"/>
                    <a:pt x="2581275" y="262424"/>
                    <a:pt x="2581275" y="262319"/>
                  </a:cubicBezTo>
                  <a:cubicBezTo>
                    <a:pt x="2581275" y="262213"/>
                    <a:pt x="2581360" y="262128"/>
                    <a:pt x="2581466" y="262128"/>
                  </a:cubicBezTo>
                  <a:close/>
                  <a:moveTo>
                    <a:pt x="1903094" y="260890"/>
                  </a:moveTo>
                  <a:cubicBezTo>
                    <a:pt x="1906523" y="260890"/>
                    <a:pt x="1909286" y="263652"/>
                    <a:pt x="1909286" y="267081"/>
                  </a:cubicBezTo>
                  <a:cubicBezTo>
                    <a:pt x="1909286" y="270510"/>
                    <a:pt x="1906523" y="273273"/>
                    <a:pt x="1903094" y="273273"/>
                  </a:cubicBezTo>
                  <a:cubicBezTo>
                    <a:pt x="1899665" y="273273"/>
                    <a:pt x="1896903" y="270510"/>
                    <a:pt x="1896903" y="267081"/>
                  </a:cubicBezTo>
                  <a:cubicBezTo>
                    <a:pt x="1896903" y="263652"/>
                    <a:pt x="1899665" y="260890"/>
                    <a:pt x="1903094" y="260890"/>
                  </a:cubicBezTo>
                  <a:close/>
                  <a:moveTo>
                    <a:pt x="1033176" y="259652"/>
                  </a:moveTo>
                  <a:cubicBezTo>
                    <a:pt x="1036605" y="259652"/>
                    <a:pt x="1039368" y="262414"/>
                    <a:pt x="1039368" y="265843"/>
                  </a:cubicBezTo>
                  <a:cubicBezTo>
                    <a:pt x="1039368" y="269272"/>
                    <a:pt x="1036605" y="272034"/>
                    <a:pt x="1033176" y="272034"/>
                  </a:cubicBezTo>
                  <a:cubicBezTo>
                    <a:pt x="1029747" y="272034"/>
                    <a:pt x="1026985" y="269272"/>
                    <a:pt x="1026985" y="265843"/>
                  </a:cubicBezTo>
                  <a:cubicBezTo>
                    <a:pt x="1026985" y="262414"/>
                    <a:pt x="1029747" y="259652"/>
                    <a:pt x="1033176" y="259652"/>
                  </a:cubicBezTo>
                  <a:close/>
                  <a:moveTo>
                    <a:pt x="1113186" y="258890"/>
                  </a:moveTo>
                  <a:cubicBezTo>
                    <a:pt x="1116615" y="258890"/>
                    <a:pt x="1119377" y="261652"/>
                    <a:pt x="1119377" y="265081"/>
                  </a:cubicBezTo>
                  <a:cubicBezTo>
                    <a:pt x="1119377" y="268510"/>
                    <a:pt x="1116615" y="271272"/>
                    <a:pt x="1113186" y="271272"/>
                  </a:cubicBezTo>
                  <a:cubicBezTo>
                    <a:pt x="1109757" y="271272"/>
                    <a:pt x="1106995" y="268510"/>
                    <a:pt x="1106995" y="265081"/>
                  </a:cubicBezTo>
                  <a:cubicBezTo>
                    <a:pt x="1106995" y="261652"/>
                    <a:pt x="1109757" y="258890"/>
                    <a:pt x="1113186" y="258890"/>
                  </a:cubicBezTo>
                  <a:close/>
                  <a:moveTo>
                    <a:pt x="2092546" y="256889"/>
                  </a:moveTo>
                  <a:cubicBezTo>
                    <a:pt x="2095975" y="256889"/>
                    <a:pt x="2098738" y="259651"/>
                    <a:pt x="2098738" y="263080"/>
                  </a:cubicBezTo>
                  <a:cubicBezTo>
                    <a:pt x="2098738" y="266509"/>
                    <a:pt x="2095975" y="269272"/>
                    <a:pt x="2092546" y="269272"/>
                  </a:cubicBezTo>
                  <a:cubicBezTo>
                    <a:pt x="2089117" y="269272"/>
                    <a:pt x="2086355" y="266509"/>
                    <a:pt x="2086355" y="263080"/>
                  </a:cubicBezTo>
                  <a:cubicBezTo>
                    <a:pt x="2086355" y="259651"/>
                    <a:pt x="2089117" y="256889"/>
                    <a:pt x="2092546" y="256889"/>
                  </a:cubicBezTo>
                  <a:close/>
                  <a:moveTo>
                    <a:pt x="1474374" y="256699"/>
                  </a:moveTo>
                  <a:cubicBezTo>
                    <a:pt x="1477803" y="256699"/>
                    <a:pt x="1480566" y="259461"/>
                    <a:pt x="1480566" y="262890"/>
                  </a:cubicBezTo>
                  <a:cubicBezTo>
                    <a:pt x="1480566" y="266319"/>
                    <a:pt x="1477803" y="269081"/>
                    <a:pt x="1474374" y="269081"/>
                  </a:cubicBezTo>
                  <a:cubicBezTo>
                    <a:pt x="1470945" y="269081"/>
                    <a:pt x="1468183" y="266319"/>
                    <a:pt x="1468183" y="262890"/>
                  </a:cubicBezTo>
                  <a:cubicBezTo>
                    <a:pt x="1468183" y="259461"/>
                    <a:pt x="1470945" y="256699"/>
                    <a:pt x="1474374" y="256699"/>
                  </a:cubicBezTo>
                  <a:close/>
                  <a:moveTo>
                    <a:pt x="2341530" y="255175"/>
                  </a:moveTo>
                  <a:cubicBezTo>
                    <a:pt x="2344959" y="255175"/>
                    <a:pt x="2347722" y="257937"/>
                    <a:pt x="2347722" y="261366"/>
                  </a:cubicBezTo>
                  <a:cubicBezTo>
                    <a:pt x="2347722" y="264795"/>
                    <a:pt x="2344959" y="267557"/>
                    <a:pt x="2341530" y="267557"/>
                  </a:cubicBezTo>
                  <a:cubicBezTo>
                    <a:pt x="2338101" y="267557"/>
                    <a:pt x="2335339" y="264795"/>
                    <a:pt x="2335339" y="261366"/>
                  </a:cubicBezTo>
                  <a:cubicBezTo>
                    <a:pt x="2335339" y="257937"/>
                    <a:pt x="2338101" y="255175"/>
                    <a:pt x="2341530" y="255175"/>
                  </a:cubicBezTo>
                  <a:close/>
                  <a:moveTo>
                    <a:pt x="1818227" y="253841"/>
                  </a:moveTo>
                  <a:cubicBezTo>
                    <a:pt x="1821656" y="253841"/>
                    <a:pt x="1824418" y="256603"/>
                    <a:pt x="1824418" y="260032"/>
                  </a:cubicBezTo>
                  <a:cubicBezTo>
                    <a:pt x="1824418" y="263461"/>
                    <a:pt x="1821656" y="266224"/>
                    <a:pt x="1818227" y="266224"/>
                  </a:cubicBezTo>
                  <a:cubicBezTo>
                    <a:pt x="1814798" y="266224"/>
                    <a:pt x="1812036" y="263461"/>
                    <a:pt x="1812036" y="260032"/>
                  </a:cubicBezTo>
                  <a:cubicBezTo>
                    <a:pt x="1812036" y="256603"/>
                    <a:pt x="1814798" y="253841"/>
                    <a:pt x="1818227" y="253841"/>
                  </a:cubicBezTo>
                  <a:close/>
                  <a:moveTo>
                    <a:pt x="2408586" y="252699"/>
                  </a:moveTo>
                  <a:cubicBezTo>
                    <a:pt x="2412015" y="252699"/>
                    <a:pt x="2414778" y="255461"/>
                    <a:pt x="2414778" y="258890"/>
                  </a:cubicBezTo>
                  <a:cubicBezTo>
                    <a:pt x="2414778" y="262319"/>
                    <a:pt x="2412015" y="265081"/>
                    <a:pt x="2408586" y="265081"/>
                  </a:cubicBezTo>
                  <a:cubicBezTo>
                    <a:pt x="2405157" y="265081"/>
                    <a:pt x="2402395" y="262319"/>
                    <a:pt x="2402395" y="258890"/>
                  </a:cubicBezTo>
                  <a:cubicBezTo>
                    <a:pt x="2402395" y="255461"/>
                    <a:pt x="2405157" y="252699"/>
                    <a:pt x="2408586" y="252699"/>
                  </a:cubicBezTo>
                  <a:close/>
                  <a:moveTo>
                    <a:pt x="956976" y="252032"/>
                  </a:moveTo>
                  <a:cubicBezTo>
                    <a:pt x="960405" y="252032"/>
                    <a:pt x="963168" y="254794"/>
                    <a:pt x="963168" y="258223"/>
                  </a:cubicBezTo>
                  <a:cubicBezTo>
                    <a:pt x="963168" y="261652"/>
                    <a:pt x="960405" y="264414"/>
                    <a:pt x="956976" y="264414"/>
                  </a:cubicBezTo>
                  <a:cubicBezTo>
                    <a:pt x="953547" y="264414"/>
                    <a:pt x="950785" y="261652"/>
                    <a:pt x="950785" y="258223"/>
                  </a:cubicBezTo>
                  <a:cubicBezTo>
                    <a:pt x="950785" y="254794"/>
                    <a:pt x="953547" y="252032"/>
                    <a:pt x="956976" y="252032"/>
                  </a:cubicBezTo>
                  <a:close/>
                  <a:moveTo>
                    <a:pt x="1559813" y="251270"/>
                  </a:moveTo>
                  <a:cubicBezTo>
                    <a:pt x="1563242" y="251270"/>
                    <a:pt x="1566005" y="254032"/>
                    <a:pt x="1566005" y="257461"/>
                  </a:cubicBezTo>
                  <a:cubicBezTo>
                    <a:pt x="1566005" y="260890"/>
                    <a:pt x="1563242" y="263652"/>
                    <a:pt x="1559813" y="263652"/>
                  </a:cubicBezTo>
                  <a:cubicBezTo>
                    <a:pt x="1556384" y="263652"/>
                    <a:pt x="1553622" y="260890"/>
                    <a:pt x="1553622" y="257461"/>
                  </a:cubicBezTo>
                  <a:cubicBezTo>
                    <a:pt x="1553622" y="254032"/>
                    <a:pt x="1556384" y="251270"/>
                    <a:pt x="1559813" y="251270"/>
                  </a:cubicBezTo>
                  <a:close/>
                  <a:moveTo>
                    <a:pt x="795528" y="251270"/>
                  </a:moveTo>
                  <a:cubicBezTo>
                    <a:pt x="797527" y="251270"/>
                    <a:pt x="799147" y="252891"/>
                    <a:pt x="799147" y="254890"/>
                  </a:cubicBezTo>
                  <a:lnTo>
                    <a:pt x="796861" y="257176"/>
                  </a:lnTo>
                  <a:lnTo>
                    <a:pt x="800862" y="261176"/>
                  </a:lnTo>
                  <a:lnTo>
                    <a:pt x="797290" y="264748"/>
                  </a:lnTo>
                  <a:lnTo>
                    <a:pt x="799528" y="266986"/>
                  </a:lnTo>
                  <a:lnTo>
                    <a:pt x="795909" y="270605"/>
                  </a:lnTo>
                  <a:lnTo>
                    <a:pt x="797719" y="272415"/>
                  </a:lnTo>
                  <a:lnTo>
                    <a:pt x="794003" y="276130"/>
                  </a:lnTo>
                  <a:lnTo>
                    <a:pt x="795527" y="277654"/>
                  </a:lnTo>
                  <a:lnTo>
                    <a:pt x="791670" y="281512"/>
                  </a:lnTo>
                  <a:lnTo>
                    <a:pt x="792860" y="282702"/>
                  </a:lnTo>
                  <a:lnTo>
                    <a:pt x="788764" y="286798"/>
                  </a:lnTo>
                  <a:lnTo>
                    <a:pt x="789908" y="287941"/>
                  </a:lnTo>
                  <a:lnTo>
                    <a:pt x="785622" y="292228"/>
                  </a:lnTo>
                  <a:lnTo>
                    <a:pt x="786669" y="293275"/>
                  </a:lnTo>
                  <a:lnTo>
                    <a:pt x="782098" y="297847"/>
                  </a:lnTo>
                  <a:lnTo>
                    <a:pt x="783241" y="298990"/>
                  </a:lnTo>
                  <a:lnTo>
                    <a:pt x="778335" y="303895"/>
                  </a:lnTo>
                  <a:lnTo>
                    <a:pt x="779716" y="305276"/>
                  </a:lnTo>
                  <a:lnTo>
                    <a:pt x="774477" y="310515"/>
                  </a:lnTo>
                  <a:lnTo>
                    <a:pt x="776191" y="312229"/>
                  </a:lnTo>
                  <a:lnTo>
                    <a:pt x="770429" y="317991"/>
                  </a:lnTo>
                  <a:lnTo>
                    <a:pt x="772668" y="320230"/>
                  </a:lnTo>
                  <a:cubicBezTo>
                    <a:pt x="772668" y="323659"/>
                    <a:pt x="769905" y="326421"/>
                    <a:pt x="766476" y="326421"/>
                  </a:cubicBezTo>
                  <a:cubicBezTo>
                    <a:pt x="763047" y="326421"/>
                    <a:pt x="760285" y="323659"/>
                    <a:pt x="760285" y="320230"/>
                  </a:cubicBezTo>
                  <a:lnTo>
                    <a:pt x="766048" y="314468"/>
                  </a:lnTo>
                  <a:lnTo>
                    <a:pt x="763809" y="312229"/>
                  </a:lnTo>
                  <a:lnTo>
                    <a:pt x="769048" y="306991"/>
                  </a:lnTo>
                  <a:lnTo>
                    <a:pt x="767333" y="305276"/>
                  </a:lnTo>
                  <a:lnTo>
                    <a:pt x="772239" y="300371"/>
                  </a:lnTo>
                  <a:lnTo>
                    <a:pt x="770858" y="298990"/>
                  </a:lnTo>
                  <a:lnTo>
                    <a:pt x="775430" y="294418"/>
                  </a:lnTo>
                  <a:lnTo>
                    <a:pt x="774287" y="293275"/>
                  </a:lnTo>
                  <a:lnTo>
                    <a:pt x="778573" y="288989"/>
                  </a:lnTo>
                  <a:lnTo>
                    <a:pt x="777525" y="287941"/>
                  </a:lnTo>
                  <a:lnTo>
                    <a:pt x="781621" y="283845"/>
                  </a:lnTo>
                  <a:lnTo>
                    <a:pt x="780478" y="282702"/>
                  </a:lnTo>
                  <a:lnTo>
                    <a:pt x="784335" y="278845"/>
                  </a:lnTo>
                  <a:lnTo>
                    <a:pt x="783145" y="277654"/>
                  </a:lnTo>
                  <a:lnTo>
                    <a:pt x="786860" y="273939"/>
                  </a:lnTo>
                  <a:lnTo>
                    <a:pt x="785336" y="272415"/>
                  </a:lnTo>
                  <a:lnTo>
                    <a:pt x="788955" y="268796"/>
                  </a:lnTo>
                  <a:lnTo>
                    <a:pt x="787145" y="266986"/>
                  </a:lnTo>
                  <a:lnTo>
                    <a:pt x="790717" y="263414"/>
                  </a:lnTo>
                  <a:lnTo>
                    <a:pt x="788479" y="261176"/>
                  </a:lnTo>
                  <a:lnTo>
                    <a:pt x="793337" y="256318"/>
                  </a:lnTo>
                  <a:lnTo>
                    <a:pt x="791908" y="254890"/>
                  </a:lnTo>
                  <a:cubicBezTo>
                    <a:pt x="791908" y="252891"/>
                    <a:pt x="793529" y="251270"/>
                    <a:pt x="795528" y="251270"/>
                  </a:cubicBezTo>
                  <a:close/>
                  <a:moveTo>
                    <a:pt x="2186558" y="250603"/>
                  </a:moveTo>
                  <a:cubicBezTo>
                    <a:pt x="2189987" y="250603"/>
                    <a:pt x="2192750" y="253365"/>
                    <a:pt x="2192750" y="256794"/>
                  </a:cubicBezTo>
                  <a:cubicBezTo>
                    <a:pt x="2192750" y="260223"/>
                    <a:pt x="2189987" y="262986"/>
                    <a:pt x="2186558" y="262986"/>
                  </a:cubicBezTo>
                  <a:cubicBezTo>
                    <a:pt x="2183129" y="262986"/>
                    <a:pt x="2180367" y="260223"/>
                    <a:pt x="2180367" y="256794"/>
                  </a:cubicBezTo>
                  <a:cubicBezTo>
                    <a:pt x="2180367" y="253365"/>
                    <a:pt x="2183129" y="250603"/>
                    <a:pt x="2186558" y="250603"/>
                  </a:cubicBezTo>
                  <a:close/>
                  <a:moveTo>
                    <a:pt x="2269235" y="250413"/>
                  </a:moveTo>
                  <a:cubicBezTo>
                    <a:pt x="2272664" y="250413"/>
                    <a:pt x="2275427" y="253175"/>
                    <a:pt x="2275427" y="256604"/>
                  </a:cubicBezTo>
                  <a:cubicBezTo>
                    <a:pt x="2275427" y="260033"/>
                    <a:pt x="2272664" y="262795"/>
                    <a:pt x="2269235" y="262795"/>
                  </a:cubicBezTo>
                  <a:cubicBezTo>
                    <a:pt x="2265806" y="262795"/>
                    <a:pt x="2263044" y="260033"/>
                    <a:pt x="2263044" y="256604"/>
                  </a:cubicBezTo>
                  <a:cubicBezTo>
                    <a:pt x="2263044" y="253175"/>
                    <a:pt x="2265806" y="250413"/>
                    <a:pt x="2269235" y="250413"/>
                  </a:cubicBezTo>
                  <a:close/>
                  <a:moveTo>
                    <a:pt x="1732311" y="249841"/>
                  </a:moveTo>
                  <a:cubicBezTo>
                    <a:pt x="1735740" y="249841"/>
                    <a:pt x="1738503" y="252603"/>
                    <a:pt x="1738503" y="256032"/>
                  </a:cubicBezTo>
                  <a:cubicBezTo>
                    <a:pt x="1738503" y="259461"/>
                    <a:pt x="1735740" y="262224"/>
                    <a:pt x="1732311" y="262224"/>
                  </a:cubicBezTo>
                  <a:cubicBezTo>
                    <a:pt x="1728882" y="262224"/>
                    <a:pt x="1726120" y="259461"/>
                    <a:pt x="1726120" y="256032"/>
                  </a:cubicBezTo>
                  <a:cubicBezTo>
                    <a:pt x="1726120" y="252603"/>
                    <a:pt x="1728882" y="249841"/>
                    <a:pt x="1732311" y="249841"/>
                  </a:cubicBezTo>
                  <a:close/>
                  <a:moveTo>
                    <a:pt x="1280921" y="249365"/>
                  </a:moveTo>
                  <a:cubicBezTo>
                    <a:pt x="1284350" y="249365"/>
                    <a:pt x="1287113" y="252127"/>
                    <a:pt x="1287113" y="255556"/>
                  </a:cubicBezTo>
                  <a:cubicBezTo>
                    <a:pt x="1287113" y="258985"/>
                    <a:pt x="1284350" y="261747"/>
                    <a:pt x="1280921" y="261747"/>
                  </a:cubicBezTo>
                  <a:cubicBezTo>
                    <a:pt x="1277492" y="261747"/>
                    <a:pt x="1274730" y="258985"/>
                    <a:pt x="1274730" y="255556"/>
                  </a:cubicBezTo>
                  <a:cubicBezTo>
                    <a:pt x="1274730" y="252127"/>
                    <a:pt x="1277492" y="249365"/>
                    <a:pt x="1280921" y="249365"/>
                  </a:cubicBezTo>
                  <a:close/>
                  <a:moveTo>
                    <a:pt x="1646015" y="248984"/>
                  </a:moveTo>
                  <a:cubicBezTo>
                    <a:pt x="1649444" y="248984"/>
                    <a:pt x="1652207" y="251746"/>
                    <a:pt x="1652207" y="255175"/>
                  </a:cubicBezTo>
                  <a:cubicBezTo>
                    <a:pt x="1652207" y="258604"/>
                    <a:pt x="1649444" y="261367"/>
                    <a:pt x="1646015" y="261367"/>
                  </a:cubicBezTo>
                  <a:cubicBezTo>
                    <a:pt x="1642586" y="261367"/>
                    <a:pt x="1639824" y="258604"/>
                    <a:pt x="1639824" y="255175"/>
                  </a:cubicBezTo>
                  <a:cubicBezTo>
                    <a:pt x="1639824" y="251746"/>
                    <a:pt x="1642586" y="248984"/>
                    <a:pt x="1646015" y="248984"/>
                  </a:cubicBezTo>
                  <a:close/>
                  <a:moveTo>
                    <a:pt x="2552509" y="245650"/>
                  </a:moveTo>
                  <a:cubicBezTo>
                    <a:pt x="2553929" y="245650"/>
                    <a:pt x="2555081" y="246801"/>
                    <a:pt x="2555081" y="248222"/>
                  </a:cubicBezTo>
                  <a:lnTo>
                    <a:pt x="2552842" y="250460"/>
                  </a:lnTo>
                  <a:lnTo>
                    <a:pt x="2558509" y="256127"/>
                  </a:lnTo>
                  <a:lnTo>
                    <a:pt x="2555175" y="259461"/>
                  </a:lnTo>
                  <a:lnTo>
                    <a:pt x="2558986" y="263271"/>
                  </a:lnTo>
                  <a:lnTo>
                    <a:pt x="2556128" y="266129"/>
                  </a:lnTo>
                  <a:lnTo>
                    <a:pt x="2560033" y="270034"/>
                  </a:lnTo>
                  <a:lnTo>
                    <a:pt x="2557747" y="272320"/>
                  </a:lnTo>
                  <a:lnTo>
                    <a:pt x="2561653" y="276225"/>
                  </a:lnTo>
                  <a:lnTo>
                    <a:pt x="2559796" y="278082"/>
                  </a:lnTo>
                  <a:lnTo>
                    <a:pt x="2563749" y="282035"/>
                  </a:lnTo>
                  <a:lnTo>
                    <a:pt x="2562224" y="283560"/>
                  </a:lnTo>
                  <a:lnTo>
                    <a:pt x="2566320" y="287655"/>
                  </a:lnTo>
                  <a:lnTo>
                    <a:pt x="2565082" y="288894"/>
                  </a:lnTo>
                  <a:lnTo>
                    <a:pt x="2569368" y="293180"/>
                  </a:lnTo>
                  <a:lnTo>
                    <a:pt x="2568273" y="294275"/>
                  </a:lnTo>
                  <a:lnTo>
                    <a:pt x="2572797" y="298799"/>
                  </a:lnTo>
                  <a:lnTo>
                    <a:pt x="2571749" y="299847"/>
                  </a:lnTo>
                  <a:lnTo>
                    <a:pt x="2576416" y="304514"/>
                  </a:lnTo>
                  <a:lnTo>
                    <a:pt x="2575369" y="305562"/>
                  </a:lnTo>
                  <a:lnTo>
                    <a:pt x="2580418" y="310610"/>
                  </a:lnTo>
                  <a:lnTo>
                    <a:pt x="2579179" y="311849"/>
                  </a:lnTo>
                  <a:lnTo>
                    <a:pt x="2584513" y="317182"/>
                  </a:lnTo>
                  <a:lnTo>
                    <a:pt x="2582941" y="318754"/>
                  </a:lnTo>
                  <a:lnTo>
                    <a:pt x="2588704" y="324517"/>
                  </a:lnTo>
                  <a:cubicBezTo>
                    <a:pt x="2588704" y="327946"/>
                    <a:pt x="2585942" y="330708"/>
                    <a:pt x="2582513" y="330708"/>
                  </a:cubicBezTo>
                  <a:cubicBezTo>
                    <a:pt x="2579084" y="330708"/>
                    <a:pt x="2576322" y="327946"/>
                    <a:pt x="2576322" y="324517"/>
                  </a:cubicBezTo>
                  <a:lnTo>
                    <a:pt x="2577894" y="322945"/>
                  </a:lnTo>
                  <a:lnTo>
                    <a:pt x="2572131" y="317182"/>
                  </a:lnTo>
                  <a:lnTo>
                    <a:pt x="2573369" y="315944"/>
                  </a:lnTo>
                  <a:lnTo>
                    <a:pt x="2568035" y="310610"/>
                  </a:lnTo>
                  <a:lnTo>
                    <a:pt x="2569082" y="309563"/>
                  </a:lnTo>
                  <a:lnTo>
                    <a:pt x="2564034" y="304514"/>
                  </a:lnTo>
                  <a:lnTo>
                    <a:pt x="2565082" y="303466"/>
                  </a:lnTo>
                  <a:lnTo>
                    <a:pt x="2560415" y="298799"/>
                  </a:lnTo>
                  <a:lnTo>
                    <a:pt x="2561510" y="297704"/>
                  </a:lnTo>
                  <a:lnTo>
                    <a:pt x="2556986" y="293180"/>
                  </a:lnTo>
                  <a:lnTo>
                    <a:pt x="2558225" y="291942"/>
                  </a:lnTo>
                  <a:lnTo>
                    <a:pt x="2553938" y="287655"/>
                  </a:lnTo>
                  <a:lnTo>
                    <a:pt x="2555462" y="286131"/>
                  </a:lnTo>
                  <a:lnTo>
                    <a:pt x="2551366" y="282035"/>
                  </a:lnTo>
                  <a:lnTo>
                    <a:pt x="2553223" y="280178"/>
                  </a:lnTo>
                  <a:lnTo>
                    <a:pt x="2549271" y="276225"/>
                  </a:lnTo>
                  <a:lnTo>
                    <a:pt x="2551557" y="273940"/>
                  </a:lnTo>
                  <a:lnTo>
                    <a:pt x="2547651" y="270034"/>
                  </a:lnTo>
                  <a:lnTo>
                    <a:pt x="2550508" y="267177"/>
                  </a:lnTo>
                  <a:lnTo>
                    <a:pt x="2546603" y="263271"/>
                  </a:lnTo>
                  <a:lnTo>
                    <a:pt x="2549937" y="259937"/>
                  </a:lnTo>
                  <a:lnTo>
                    <a:pt x="2546127" y="256127"/>
                  </a:lnTo>
                  <a:lnTo>
                    <a:pt x="2551985" y="250269"/>
                  </a:lnTo>
                  <a:lnTo>
                    <a:pt x="2549937" y="248222"/>
                  </a:lnTo>
                  <a:cubicBezTo>
                    <a:pt x="2549937" y="246801"/>
                    <a:pt x="2551089" y="245650"/>
                    <a:pt x="2552509" y="245650"/>
                  </a:cubicBezTo>
                  <a:close/>
                  <a:moveTo>
                    <a:pt x="1022603" y="244031"/>
                  </a:moveTo>
                  <a:cubicBezTo>
                    <a:pt x="1026032" y="244031"/>
                    <a:pt x="1028795" y="246793"/>
                    <a:pt x="1028795" y="250222"/>
                  </a:cubicBezTo>
                  <a:cubicBezTo>
                    <a:pt x="1028795" y="253651"/>
                    <a:pt x="1026032" y="256413"/>
                    <a:pt x="1022603" y="256413"/>
                  </a:cubicBezTo>
                  <a:cubicBezTo>
                    <a:pt x="1019174" y="256413"/>
                    <a:pt x="1016412" y="253651"/>
                    <a:pt x="1016412" y="250222"/>
                  </a:cubicBezTo>
                  <a:cubicBezTo>
                    <a:pt x="1016412" y="246793"/>
                    <a:pt x="1019174" y="244031"/>
                    <a:pt x="1022603" y="244031"/>
                  </a:cubicBezTo>
                  <a:close/>
                  <a:moveTo>
                    <a:pt x="2014918" y="243364"/>
                  </a:moveTo>
                  <a:cubicBezTo>
                    <a:pt x="2018347" y="243364"/>
                    <a:pt x="2021110" y="246126"/>
                    <a:pt x="2021110" y="249555"/>
                  </a:cubicBezTo>
                  <a:cubicBezTo>
                    <a:pt x="2021110" y="252984"/>
                    <a:pt x="2018347" y="255746"/>
                    <a:pt x="2014918" y="255746"/>
                  </a:cubicBezTo>
                  <a:cubicBezTo>
                    <a:pt x="2011489" y="255746"/>
                    <a:pt x="2008727" y="252984"/>
                    <a:pt x="2008727" y="249555"/>
                  </a:cubicBezTo>
                  <a:cubicBezTo>
                    <a:pt x="2008727" y="246126"/>
                    <a:pt x="2011489" y="243364"/>
                    <a:pt x="2014918" y="243364"/>
                  </a:cubicBezTo>
                  <a:close/>
                  <a:moveTo>
                    <a:pt x="2349245" y="242030"/>
                  </a:moveTo>
                  <a:cubicBezTo>
                    <a:pt x="2352674" y="242030"/>
                    <a:pt x="2355436" y="244792"/>
                    <a:pt x="2355436" y="248221"/>
                  </a:cubicBezTo>
                  <a:cubicBezTo>
                    <a:pt x="2355436" y="251650"/>
                    <a:pt x="2352674" y="254413"/>
                    <a:pt x="2349245" y="254413"/>
                  </a:cubicBezTo>
                  <a:cubicBezTo>
                    <a:pt x="2345816" y="254413"/>
                    <a:pt x="2343054" y="251650"/>
                    <a:pt x="2343054" y="248221"/>
                  </a:cubicBezTo>
                  <a:cubicBezTo>
                    <a:pt x="2343054" y="244792"/>
                    <a:pt x="2345816" y="242030"/>
                    <a:pt x="2349245" y="242030"/>
                  </a:cubicBezTo>
                  <a:close/>
                  <a:moveTo>
                    <a:pt x="1183766" y="241554"/>
                  </a:moveTo>
                  <a:cubicBezTo>
                    <a:pt x="1187195" y="241554"/>
                    <a:pt x="1189958" y="244316"/>
                    <a:pt x="1189958" y="247745"/>
                  </a:cubicBezTo>
                  <a:cubicBezTo>
                    <a:pt x="1189958" y="251174"/>
                    <a:pt x="1187195" y="253936"/>
                    <a:pt x="1183766" y="253936"/>
                  </a:cubicBezTo>
                  <a:cubicBezTo>
                    <a:pt x="1180337" y="253936"/>
                    <a:pt x="1177575" y="251174"/>
                    <a:pt x="1177575" y="247745"/>
                  </a:cubicBezTo>
                  <a:cubicBezTo>
                    <a:pt x="1177575" y="244316"/>
                    <a:pt x="1180337" y="241554"/>
                    <a:pt x="1183766" y="241554"/>
                  </a:cubicBezTo>
                  <a:close/>
                  <a:moveTo>
                    <a:pt x="951547" y="241078"/>
                  </a:moveTo>
                  <a:cubicBezTo>
                    <a:pt x="954976" y="241078"/>
                    <a:pt x="957739" y="243840"/>
                    <a:pt x="957739" y="247269"/>
                  </a:cubicBezTo>
                  <a:cubicBezTo>
                    <a:pt x="957739" y="250698"/>
                    <a:pt x="954976" y="253461"/>
                    <a:pt x="951547" y="253461"/>
                  </a:cubicBezTo>
                  <a:cubicBezTo>
                    <a:pt x="948118" y="253461"/>
                    <a:pt x="945356" y="250698"/>
                    <a:pt x="945356" y="247269"/>
                  </a:cubicBezTo>
                  <a:cubicBezTo>
                    <a:pt x="945356" y="243840"/>
                    <a:pt x="948118" y="241078"/>
                    <a:pt x="951547" y="241078"/>
                  </a:cubicBezTo>
                  <a:close/>
                  <a:moveTo>
                    <a:pt x="1097946" y="240126"/>
                  </a:moveTo>
                  <a:cubicBezTo>
                    <a:pt x="1101375" y="240126"/>
                    <a:pt x="1104137" y="242888"/>
                    <a:pt x="1104137" y="246317"/>
                  </a:cubicBezTo>
                  <a:cubicBezTo>
                    <a:pt x="1104137" y="249746"/>
                    <a:pt x="1101375" y="252508"/>
                    <a:pt x="1097946" y="252508"/>
                  </a:cubicBezTo>
                  <a:cubicBezTo>
                    <a:pt x="1094517" y="252508"/>
                    <a:pt x="1091755" y="249746"/>
                    <a:pt x="1091755" y="246317"/>
                  </a:cubicBezTo>
                  <a:cubicBezTo>
                    <a:pt x="1091755" y="242888"/>
                    <a:pt x="1094517" y="240126"/>
                    <a:pt x="1097946" y="240126"/>
                  </a:cubicBezTo>
                  <a:close/>
                  <a:moveTo>
                    <a:pt x="1359693" y="237173"/>
                  </a:moveTo>
                  <a:cubicBezTo>
                    <a:pt x="1363122" y="237173"/>
                    <a:pt x="1365884" y="239935"/>
                    <a:pt x="1365884" y="243364"/>
                  </a:cubicBezTo>
                  <a:cubicBezTo>
                    <a:pt x="1365884" y="246793"/>
                    <a:pt x="1363122" y="249556"/>
                    <a:pt x="1359693" y="249556"/>
                  </a:cubicBezTo>
                  <a:cubicBezTo>
                    <a:pt x="1356264" y="249556"/>
                    <a:pt x="1353502" y="246793"/>
                    <a:pt x="1353502" y="243364"/>
                  </a:cubicBezTo>
                  <a:cubicBezTo>
                    <a:pt x="1353502" y="239935"/>
                    <a:pt x="1356264" y="237173"/>
                    <a:pt x="1359693" y="237173"/>
                  </a:cubicBezTo>
                  <a:close/>
                  <a:moveTo>
                    <a:pt x="2281141" y="234696"/>
                  </a:moveTo>
                  <a:cubicBezTo>
                    <a:pt x="2284570" y="234696"/>
                    <a:pt x="2287333" y="237458"/>
                    <a:pt x="2287333" y="240887"/>
                  </a:cubicBezTo>
                  <a:cubicBezTo>
                    <a:pt x="2287333" y="244316"/>
                    <a:pt x="2284570" y="247079"/>
                    <a:pt x="2281141" y="247079"/>
                  </a:cubicBezTo>
                  <a:cubicBezTo>
                    <a:pt x="2277712" y="247079"/>
                    <a:pt x="2274950" y="244316"/>
                    <a:pt x="2274950" y="240887"/>
                  </a:cubicBezTo>
                  <a:cubicBezTo>
                    <a:pt x="2274950" y="237458"/>
                    <a:pt x="2277712" y="234696"/>
                    <a:pt x="2281141" y="234696"/>
                  </a:cubicBezTo>
                  <a:close/>
                  <a:moveTo>
                    <a:pt x="2114740" y="234125"/>
                  </a:moveTo>
                  <a:cubicBezTo>
                    <a:pt x="2118169" y="234125"/>
                    <a:pt x="2120932" y="236887"/>
                    <a:pt x="2120932" y="240316"/>
                  </a:cubicBezTo>
                  <a:cubicBezTo>
                    <a:pt x="2120932" y="243745"/>
                    <a:pt x="2118169" y="246508"/>
                    <a:pt x="2114740" y="246508"/>
                  </a:cubicBezTo>
                  <a:cubicBezTo>
                    <a:pt x="2111311" y="246508"/>
                    <a:pt x="2108549" y="243745"/>
                    <a:pt x="2108549" y="240316"/>
                  </a:cubicBezTo>
                  <a:cubicBezTo>
                    <a:pt x="2108549" y="236887"/>
                    <a:pt x="2111311" y="234125"/>
                    <a:pt x="2114740" y="234125"/>
                  </a:cubicBezTo>
                  <a:close/>
                  <a:moveTo>
                    <a:pt x="826198" y="232791"/>
                  </a:moveTo>
                  <a:lnTo>
                    <a:pt x="826341" y="232934"/>
                  </a:lnTo>
                  <a:lnTo>
                    <a:pt x="826388" y="232887"/>
                  </a:lnTo>
                  <a:cubicBezTo>
                    <a:pt x="829808" y="232887"/>
                    <a:pt x="832580" y="235659"/>
                    <a:pt x="832580" y="239078"/>
                  </a:cubicBezTo>
                  <a:lnTo>
                    <a:pt x="829580" y="242078"/>
                  </a:lnTo>
                  <a:lnTo>
                    <a:pt x="832199" y="244697"/>
                  </a:lnTo>
                  <a:lnTo>
                    <a:pt x="829294" y="247602"/>
                  </a:lnTo>
                  <a:lnTo>
                    <a:pt x="831437" y="249745"/>
                  </a:lnTo>
                  <a:lnTo>
                    <a:pt x="828531" y="252651"/>
                  </a:lnTo>
                  <a:lnTo>
                    <a:pt x="830293" y="254413"/>
                  </a:lnTo>
                  <a:lnTo>
                    <a:pt x="827293" y="257413"/>
                  </a:lnTo>
                  <a:lnTo>
                    <a:pt x="828770" y="258890"/>
                  </a:lnTo>
                  <a:lnTo>
                    <a:pt x="825627" y="262033"/>
                  </a:lnTo>
                  <a:lnTo>
                    <a:pt x="826960" y="263366"/>
                  </a:lnTo>
                  <a:lnTo>
                    <a:pt x="823721" y="266605"/>
                  </a:lnTo>
                  <a:lnTo>
                    <a:pt x="824864" y="267748"/>
                  </a:lnTo>
                  <a:lnTo>
                    <a:pt x="821388" y="271224"/>
                  </a:lnTo>
                  <a:lnTo>
                    <a:pt x="822674" y="272510"/>
                  </a:lnTo>
                  <a:lnTo>
                    <a:pt x="818959" y="276224"/>
                  </a:lnTo>
                  <a:lnTo>
                    <a:pt x="820293" y="277558"/>
                  </a:lnTo>
                  <a:lnTo>
                    <a:pt x="816340" y="281512"/>
                  </a:lnTo>
                  <a:lnTo>
                    <a:pt x="818006" y="283178"/>
                  </a:lnTo>
                  <a:lnTo>
                    <a:pt x="813673" y="287512"/>
                  </a:lnTo>
                  <a:lnTo>
                    <a:pt x="815721" y="289560"/>
                  </a:lnTo>
                  <a:lnTo>
                    <a:pt x="810958" y="294323"/>
                  </a:lnTo>
                  <a:lnTo>
                    <a:pt x="813625" y="296990"/>
                  </a:lnTo>
                  <a:lnTo>
                    <a:pt x="808387" y="302228"/>
                  </a:lnTo>
                  <a:lnTo>
                    <a:pt x="811816" y="305657"/>
                  </a:lnTo>
                  <a:lnTo>
                    <a:pt x="806005" y="311468"/>
                  </a:lnTo>
                  <a:lnTo>
                    <a:pt x="810292" y="315754"/>
                  </a:lnTo>
                  <a:cubicBezTo>
                    <a:pt x="810292" y="319183"/>
                    <a:pt x="807529" y="321945"/>
                    <a:pt x="804100" y="321945"/>
                  </a:cubicBezTo>
                  <a:cubicBezTo>
                    <a:pt x="800671" y="321945"/>
                    <a:pt x="797909" y="319183"/>
                    <a:pt x="797909" y="315754"/>
                  </a:cubicBezTo>
                  <a:lnTo>
                    <a:pt x="803720" y="309944"/>
                  </a:lnTo>
                  <a:lnTo>
                    <a:pt x="799433" y="305657"/>
                  </a:lnTo>
                  <a:lnTo>
                    <a:pt x="804672" y="300419"/>
                  </a:lnTo>
                  <a:lnTo>
                    <a:pt x="801243" y="296990"/>
                  </a:lnTo>
                  <a:lnTo>
                    <a:pt x="806005" y="292228"/>
                  </a:lnTo>
                  <a:lnTo>
                    <a:pt x="803338" y="289560"/>
                  </a:lnTo>
                  <a:lnTo>
                    <a:pt x="807672" y="285226"/>
                  </a:lnTo>
                  <a:lnTo>
                    <a:pt x="805624" y="283178"/>
                  </a:lnTo>
                  <a:lnTo>
                    <a:pt x="809577" y="279225"/>
                  </a:lnTo>
                  <a:lnTo>
                    <a:pt x="807910" y="277558"/>
                  </a:lnTo>
                  <a:lnTo>
                    <a:pt x="811625" y="273844"/>
                  </a:lnTo>
                  <a:lnTo>
                    <a:pt x="810291" y="272510"/>
                  </a:lnTo>
                  <a:lnTo>
                    <a:pt x="813768" y="269034"/>
                  </a:lnTo>
                  <a:lnTo>
                    <a:pt x="812482" y="267748"/>
                  </a:lnTo>
                  <a:lnTo>
                    <a:pt x="815720" y="264510"/>
                  </a:lnTo>
                  <a:lnTo>
                    <a:pt x="814577" y="263366"/>
                  </a:lnTo>
                  <a:lnTo>
                    <a:pt x="817720" y="260223"/>
                  </a:lnTo>
                  <a:lnTo>
                    <a:pt x="816387" y="258890"/>
                  </a:lnTo>
                  <a:lnTo>
                    <a:pt x="819387" y="255890"/>
                  </a:lnTo>
                  <a:lnTo>
                    <a:pt x="817911" y="254413"/>
                  </a:lnTo>
                  <a:lnTo>
                    <a:pt x="820816" y="251508"/>
                  </a:lnTo>
                  <a:lnTo>
                    <a:pt x="819054" y="249745"/>
                  </a:lnTo>
                  <a:lnTo>
                    <a:pt x="821959" y="246840"/>
                  </a:lnTo>
                  <a:lnTo>
                    <a:pt x="819816" y="244697"/>
                  </a:lnTo>
                  <a:lnTo>
                    <a:pt x="822816" y="241697"/>
                  </a:lnTo>
                  <a:lnTo>
                    <a:pt x="820197" y="239078"/>
                  </a:lnTo>
                  <a:lnTo>
                    <a:pt x="826055" y="233220"/>
                  </a:lnTo>
                  <a:lnTo>
                    <a:pt x="825912" y="233077"/>
                  </a:lnTo>
                  <a:cubicBezTo>
                    <a:pt x="825912" y="232919"/>
                    <a:pt x="826040" y="232791"/>
                    <a:pt x="826198" y="232791"/>
                  </a:cubicBezTo>
                  <a:close/>
                  <a:moveTo>
                    <a:pt x="1935194" y="232410"/>
                  </a:moveTo>
                  <a:cubicBezTo>
                    <a:pt x="1938623" y="232410"/>
                    <a:pt x="1941386" y="235172"/>
                    <a:pt x="1941386" y="238601"/>
                  </a:cubicBezTo>
                  <a:cubicBezTo>
                    <a:pt x="1941386" y="242030"/>
                    <a:pt x="1938623" y="244793"/>
                    <a:pt x="1935194" y="244793"/>
                  </a:cubicBezTo>
                  <a:cubicBezTo>
                    <a:pt x="1931765" y="244793"/>
                    <a:pt x="1929003" y="242030"/>
                    <a:pt x="1929003" y="238601"/>
                  </a:cubicBezTo>
                  <a:cubicBezTo>
                    <a:pt x="1929003" y="235172"/>
                    <a:pt x="1931765" y="232410"/>
                    <a:pt x="1935194" y="232410"/>
                  </a:cubicBezTo>
                  <a:close/>
                  <a:moveTo>
                    <a:pt x="2203322" y="231648"/>
                  </a:moveTo>
                  <a:cubicBezTo>
                    <a:pt x="2206751" y="231648"/>
                    <a:pt x="2209514" y="234410"/>
                    <a:pt x="2209514" y="237839"/>
                  </a:cubicBezTo>
                  <a:cubicBezTo>
                    <a:pt x="2209514" y="241268"/>
                    <a:pt x="2206751" y="244031"/>
                    <a:pt x="2203322" y="244031"/>
                  </a:cubicBezTo>
                  <a:cubicBezTo>
                    <a:pt x="2199893" y="244031"/>
                    <a:pt x="2197131" y="241268"/>
                    <a:pt x="2197131" y="237839"/>
                  </a:cubicBezTo>
                  <a:cubicBezTo>
                    <a:pt x="2197131" y="234410"/>
                    <a:pt x="2199893" y="231648"/>
                    <a:pt x="2203322" y="231648"/>
                  </a:cubicBezTo>
                  <a:close/>
                  <a:moveTo>
                    <a:pt x="2355817" y="231172"/>
                  </a:moveTo>
                  <a:cubicBezTo>
                    <a:pt x="2359246" y="231172"/>
                    <a:pt x="2362009" y="233934"/>
                    <a:pt x="2362009" y="237363"/>
                  </a:cubicBezTo>
                  <a:cubicBezTo>
                    <a:pt x="2362009" y="240792"/>
                    <a:pt x="2359246" y="243554"/>
                    <a:pt x="2355817" y="243554"/>
                  </a:cubicBezTo>
                  <a:cubicBezTo>
                    <a:pt x="2352388" y="243554"/>
                    <a:pt x="2349626" y="240792"/>
                    <a:pt x="2349626" y="237363"/>
                  </a:cubicBezTo>
                  <a:cubicBezTo>
                    <a:pt x="2349626" y="233934"/>
                    <a:pt x="2352388" y="231172"/>
                    <a:pt x="2355817" y="231172"/>
                  </a:cubicBezTo>
                  <a:close/>
                  <a:moveTo>
                    <a:pt x="1013459" y="230981"/>
                  </a:moveTo>
                  <a:cubicBezTo>
                    <a:pt x="1016888" y="230981"/>
                    <a:pt x="1019651" y="233743"/>
                    <a:pt x="1019651" y="237172"/>
                  </a:cubicBezTo>
                  <a:cubicBezTo>
                    <a:pt x="1019651" y="240601"/>
                    <a:pt x="1016888" y="243364"/>
                    <a:pt x="1013459" y="243364"/>
                  </a:cubicBezTo>
                  <a:cubicBezTo>
                    <a:pt x="1010030" y="243364"/>
                    <a:pt x="1007268" y="240601"/>
                    <a:pt x="1007268" y="237172"/>
                  </a:cubicBezTo>
                  <a:cubicBezTo>
                    <a:pt x="1007268" y="233743"/>
                    <a:pt x="1010030" y="230981"/>
                    <a:pt x="1013459" y="230981"/>
                  </a:cubicBezTo>
                  <a:close/>
                  <a:moveTo>
                    <a:pt x="2522886" y="228314"/>
                  </a:moveTo>
                  <a:cubicBezTo>
                    <a:pt x="2526029" y="228314"/>
                    <a:pt x="2528505" y="230791"/>
                    <a:pt x="2528505" y="233934"/>
                  </a:cubicBezTo>
                  <a:lnTo>
                    <a:pt x="2524981" y="237458"/>
                  </a:lnTo>
                  <a:lnTo>
                    <a:pt x="2528601" y="241078"/>
                  </a:lnTo>
                  <a:lnTo>
                    <a:pt x="2525363" y="244317"/>
                  </a:lnTo>
                  <a:lnTo>
                    <a:pt x="2528601" y="247555"/>
                  </a:lnTo>
                  <a:lnTo>
                    <a:pt x="2525982" y="250174"/>
                  </a:lnTo>
                  <a:lnTo>
                    <a:pt x="2529268" y="253460"/>
                  </a:lnTo>
                  <a:lnTo>
                    <a:pt x="2527076" y="255651"/>
                  </a:lnTo>
                  <a:lnTo>
                    <a:pt x="2530315" y="258890"/>
                  </a:lnTo>
                  <a:lnTo>
                    <a:pt x="2528505" y="260700"/>
                  </a:lnTo>
                  <a:lnTo>
                    <a:pt x="2531839" y="264033"/>
                  </a:lnTo>
                  <a:lnTo>
                    <a:pt x="2530363" y="265510"/>
                  </a:lnTo>
                  <a:lnTo>
                    <a:pt x="2533745" y="268891"/>
                  </a:lnTo>
                  <a:lnTo>
                    <a:pt x="2532459" y="270177"/>
                  </a:lnTo>
                  <a:lnTo>
                    <a:pt x="2536030" y="273748"/>
                  </a:lnTo>
                  <a:lnTo>
                    <a:pt x="2534934" y="274844"/>
                  </a:lnTo>
                  <a:lnTo>
                    <a:pt x="2538602" y="278511"/>
                  </a:lnTo>
                  <a:lnTo>
                    <a:pt x="2537459" y="279654"/>
                  </a:lnTo>
                  <a:lnTo>
                    <a:pt x="2541364" y="283559"/>
                  </a:lnTo>
                  <a:lnTo>
                    <a:pt x="2540125" y="284798"/>
                  </a:lnTo>
                  <a:lnTo>
                    <a:pt x="2544317" y="288989"/>
                  </a:lnTo>
                  <a:lnTo>
                    <a:pt x="2542794" y="290513"/>
                  </a:lnTo>
                  <a:lnTo>
                    <a:pt x="2547270" y="294989"/>
                  </a:lnTo>
                  <a:lnTo>
                    <a:pt x="2545413" y="296847"/>
                  </a:lnTo>
                  <a:lnTo>
                    <a:pt x="2550223" y="301657"/>
                  </a:lnTo>
                  <a:lnTo>
                    <a:pt x="2547842" y="304039"/>
                  </a:lnTo>
                  <a:lnTo>
                    <a:pt x="2553175" y="309372"/>
                  </a:lnTo>
                  <a:lnTo>
                    <a:pt x="2550080" y="312468"/>
                  </a:lnTo>
                  <a:lnTo>
                    <a:pt x="2555842" y="318230"/>
                  </a:lnTo>
                  <a:cubicBezTo>
                    <a:pt x="2555842" y="321659"/>
                    <a:pt x="2553080" y="324421"/>
                    <a:pt x="2549651" y="324421"/>
                  </a:cubicBezTo>
                  <a:cubicBezTo>
                    <a:pt x="2546222" y="324421"/>
                    <a:pt x="2543460" y="321659"/>
                    <a:pt x="2543460" y="318230"/>
                  </a:cubicBezTo>
                  <a:lnTo>
                    <a:pt x="2546556" y="315135"/>
                  </a:lnTo>
                  <a:lnTo>
                    <a:pt x="2540793" y="309372"/>
                  </a:lnTo>
                  <a:lnTo>
                    <a:pt x="2543174" y="306991"/>
                  </a:lnTo>
                  <a:lnTo>
                    <a:pt x="2537841" y="301657"/>
                  </a:lnTo>
                  <a:lnTo>
                    <a:pt x="2539698" y="299800"/>
                  </a:lnTo>
                  <a:lnTo>
                    <a:pt x="2534888" y="294989"/>
                  </a:lnTo>
                  <a:lnTo>
                    <a:pt x="2536411" y="293466"/>
                  </a:lnTo>
                  <a:lnTo>
                    <a:pt x="2531935" y="288989"/>
                  </a:lnTo>
                  <a:lnTo>
                    <a:pt x="2533173" y="287751"/>
                  </a:lnTo>
                  <a:lnTo>
                    <a:pt x="2528982" y="283559"/>
                  </a:lnTo>
                  <a:lnTo>
                    <a:pt x="2530125" y="282416"/>
                  </a:lnTo>
                  <a:lnTo>
                    <a:pt x="2526220" y="278511"/>
                  </a:lnTo>
                  <a:lnTo>
                    <a:pt x="2527316" y="277416"/>
                  </a:lnTo>
                  <a:lnTo>
                    <a:pt x="2523648" y="273748"/>
                  </a:lnTo>
                  <a:lnTo>
                    <a:pt x="2524933" y="272463"/>
                  </a:lnTo>
                  <a:lnTo>
                    <a:pt x="2521362" y="268891"/>
                  </a:lnTo>
                  <a:lnTo>
                    <a:pt x="2522838" y="267415"/>
                  </a:lnTo>
                  <a:lnTo>
                    <a:pt x="2519457" y="264033"/>
                  </a:lnTo>
                  <a:lnTo>
                    <a:pt x="2521267" y="262224"/>
                  </a:lnTo>
                  <a:lnTo>
                    <a:pt x="2517933" y="258890"/>
                  </a:lnTo>
                  <a:lnTo>
                    <a:pt x="2520124" y="256699"/>
                  </a:lnTo>
                  <a:lnTo>
                    <a:pt x="2516885" y="253460"/>
                  </a:lnTo>
                  <a:lnTo>
                    <a:pt x="2519504" y="250841"/>
                  </a:lnTo>
                  <a:lnTo>
                    <a:pt x="2516219" y="247555"/>
                  </a:lnTo>
                  <a:lnTo>
                    <a:pt x="2519457" y="244317"/>
                  </a:lnTo>
                  <a:lnTo>
                    <a:pt x="2516219" y="241078"/>
                  </a:lnTo>
                  <a:lnTo>
                    <a:pt x="2520314" y="236983"/>
                  </a:lnTo>
                  <a:lnTo>
                    <a:pt x="2517266" y="233934"/>
                  </a:lnTo>
                  <a:cubicBezTo>
                    <a:pt x="2517266" y="230791"/>
                    <a:pt x="2519743" y="228314"/>
                    <a:pt x="2522886" y="228314"/>
                  </a:cubicBezTo>
                  <a:close/>
                  <a:moveTo>
                    <a:pt x="1440370" y="227648"/>
                  </a:moveTo>
                  <a:cubicBezTo>
                    <a:pt x="1443799" y="227648"/>
                    <a:pt x="1446561" y="230410"/>
                    <a:pt x="1446561" y="233839"/>
                  </a:cubicBezTo>
                  <a:cubicBezTo>
                    <a:pt x="1446561" y="237268"/>
                    <a:pt x="1443799" y="240031"/>
                    <a:pt x="1440370" y="240031"/>
                  </a:cubicBezTo>
                  <a:cubicBezTo>
                    <a:pt x="1436941" y="240031"/>
                    <a:pt x="1434179" y="237268"/>
                    <a:pt x="1434179" y="233839"/>
                  </a:cubicBezTo>
                  <a:cubicBezTo>
                    <a:pt x="1434179" y="230410"/>
                    <a:pt x="1436941" y="227648"/>
                    <a:pt x="1440370" y="227648"/>
                  </a:cubicBezTo>
                  <a:close/>
                  <a:moveTo>
                    <a:pt x="1256823" y="226219"/>
                  </a:moveTo>
                  <a:cubicBezTo>
                    <a:pt x="1260252" y="226219"/>
                    <a:pt x="1263015" y="228981"/>
                    <a:pt x="1263015" y="232410"/>
                  </a:cubicBezTo>
                  <a:cubicBezTo>
                    <a:pt x="1263015" y="235839"/>
                    <a:pt x="1260252" y="238602"/>
                    <a:pt x="1256823" y="238602"/>
                  </a:cubicBezTo>
                  <a:cubicBezTo>
                    <a:pt x="1253394" y="238602"/>
                    <a:pt x="1250632" y="235839"/>
                    <a:pt x="1250632" y="232410"/>
                  </a:cubicBezTo>
                  <a:cubicBezTo>
                    <a:pt x="1250632" y="228981"/>
                    <a:pt x="1253394" y="226219"/>
                    <a:pt x="1256823" y="226219"/>
                  </a:cubicBezTo>
                  <a:close/>
                  <a:moveTo>
                    <a:pt x="1084420" y="224409"/>
                  </a:moveTo>
                  <a:cubicBezTo>
                    <a:pt x="1087849" y="224409"/>
                    <a:pt x="1090612" y="227171"/>
                    <a:pt x="1090612" y="230600"/>
                  </a:cubicBezTo>
                  <a:cubicBezTo>
                    <a:pt x="1090612" y="234029"/>
                    <a:pt x="1087849" y="236792"/>
                    <a:pt x="1084420" y="236792"/>
                  </a:cubicBezTo>
                  <a:cubicBezTo>
                    <a:pt x="1080991" y="236792"/>
                    <a:pt x="1078229" y="234029"/>
                    <a:pt x="1078229" y="230600"/>
                  </a:cubicBezTo>
                  <a:cubicBezTo>
                    <a:pt x="1078229" y="227171"/>
                    <a:pt x="1080991" y="224409"/>
                    <a:pt x="1084420" y="224409"/>
                  </a:cubicBezTo>
                  <a:close/>
                  <a:moveTo>
                    <a:pt x="1853945" y="224219"/>
                  </a:moveTo>
                  <a:cubicBezTo>
                    <a:pt x="1857374" y="224219"/>
                    <a:pt x="1860136" y="226981"/>
                    <a:pt x="1860136" y="230410"/>
                  </a:cubicBezTo>
                  <a:cubicBezTo>
                    <a:pt x="1860136" y="233839"/>
                    <a:pt x="1857374" y="236601"/>
                    <a:pt x="1853945" y="236601"/>
                  </a:cubicBezTo>
                  <a:cubicBezTo>
                    <a:pt x="1850516" y="236601"/>
                    <a:pt x="1847754" y="233839"/>
                    <a:pt x="1847754" y="230410"/>
                  </a:cubicBezTo>
                  <a:cubicBezTo>
                    <a:pt x="1847754" y="226981"/>
                    <a:pt x="1850516" y="224219"/>
                    <a:pt x="1853945" y="224219"/>
                  </a:cubicBezTo>
                  <a:close/>
                  <a:moveTo>
                    <a:pt x="1165193" y="222409"/>
                  </a:moveTo>
                  <a:cubicBezTo>
                    <a:pt x="1168622" y="222409"/>
                    <a:pt x="1171385" y="225171"/>
                    <a:pt x="1171385" y="228600"/>
                  </a:cubicBezTo>
                  <a:cubicBezTo>
                    <a:pt x="1171385" y="232029"/>
                    <a:pt x="1168622" y="234791"/>
                    <a:pt x="1165193" y="234791"/>
                  </a:cubicBezTo>
                  <a:cubicBezTo>
                    <a:pt x="1161764" y="234791"/>
                    <a:pt x="1159002" y="232029"/>
                    <a:pt x="1159002" y="228600"/>
                  </a:cubicBezTo>
                  <a:cubicBezTo>
                    <a:pt x="1159002" y="225171"/>
                    <a:pt x="1161764" y="222409"/>
                    <a:pt x="1165193" y="222409"/>
                  </a:cubicBezTo>
                  <a:close/>
                  <a:moveTo>
                    <a:pt x="2291524" y="221647"/>
                  </a:moveTo>
                  <a:cubicBezTo>
                    <a:pt x="2294953" y="221647"/>
                    <a:pt x="2297716" y="224409"/>
                    <a:pt x="2297716" y="227838"/>
                  </a:cubicBezTo>
                  <a:cubicBezTo>
                    <a:pt x="2297716" y="231267"/>
                    <a:pt x="2294953" y="234029"/>
                    <a:pt x="2291524" y="234029"/>
                  </a:cubicBezTo>
                  <a:cubicBezTo>
                    <a:pt x="2288095" y="234029"/>
                    <a:pt x="2285333" y="231267"/>
                    <a:pt x="2285333" y="227838"/>
                  </a:cubicBezTo>
                  <a:cubicBezTo>
                    <a:pt x="2285333" y="224409"/>
                    <a:pt x="2288095" y="221647"/>
                    <a:pt x="2291524" y="221647"/>
                  </a:cubicBezTo>
                  <a:close/>
                  <a:moveTo>
                    <a:pt x="1522285" y="220980"/>
                  </a:moveTo>
                  <a:cubicBezTo>
                    <a:pt x="1525714" y="220980"/>
                    <a:pt x="1528477" y="223742"/>
                    <a:pt x="1528477" y="227171"/>
                  </a:cubicBezTo>
                  <a:cubicBezTo>
                    <a:pt x="1528477" y="230600"/>
                    <a:pt x="1525714" y="233362"/>
                    <a:pt x="1522285" y="233362"/>
                  </a:cubicBezTo>
                  <a:cubicBezTo>
                    <a:pt x="1518856" y="233362"/>
                    <a:pt x="1516094" y="230600"/>
                    <a:pt x="1516094" y="227171"/>
                  </a:cubicBezTo>
                  <a:cubicBezTo>
                    <a:pt x="1516094" y="223742"/>
                    <a:pt x="1518856" y="220980"/>
                    <a:pt x="1522285" y="220980"/>
                  </a:cubicBezTo>
                  <a:close/>
                  <a:moveTo>
                    <a:pt x="1005649" y="220123"/>
                  </a:moveTo>
                  <a:cubicBezTo>
                    <a:pt x="1009078" y="220123"/>
                    <a:pt x="1011841" y="222885"/>
                    <a:pt x="1011841" y="226314"/>
                  </a:cubicBezTo>
                  <a:cubicBezTo>
                    <a:pt x="1011841" y="229743"/>
                    <a:pt x="1009078" y="232505"/>
                    <a:pt x="1005649" y="232505"/>
                  </a:cubicBezTo>
                  <a:cubicBezTo>
                    <a:pt x="1002220" y="232505"/>
                    <a:pt x="999458" y="229743"/>
                    <a:pt x="999458" y="226314"/>
                  </a:cubicBezTo>
                  <a:cubicBezTo>
                    <a:pt x="999458" y="222885"/>
                    <a:pt x="1002220" y="220123"/>
                    <a:pt x="1005649" y="220123"/>
                  </a:cubicBezTo>
                  <a:close/>
                  <a:moveTo>
                    <a:pt x="2040635" y="219932"/>
                  </a:moveTo>
                  <a:cubicBezTo>
                    <a:pt x="2044064" y="219932"/>
                    <a:pt x="2046827" y="222694"/>
                    <a:pt x="2046827" y="226123"/>
                  </a:cubicBezTo>
                  <a:cubicBezTo>
                    <a:pt x="2046827" y="229552"/>
                    <a:pt x="2044064" y="232314"/>
                    <a:pt x="2040635" y="232314"/>
                  </a:cubicBezTo>
                  <a:cubicBezTo>
                    <a:pt x="2037206" y="232314"/>
                    <a:pt x="2034444" y="229552"/>
                    <a:pt x="2034444" y="226123"/>
                  </a:cubicBezTo>
                  <a:cubicBezTo>
                    <a:pt x="2034444" y="222694"/>
                    <a:pt x="2037206" y="219932"/>
                    <a:pt x="2040635" y="219932"/>
                  </a:cubicBezTo>
                  <a:close/>
                  <a:moveTo>
                    <a:pt x="1771459" y="218885"/>
                  </a:moveTo>
                  <a:cubicBezTo>
                    <a:pt x="1774888" y="218885"/>
                    <a:pt x="1777651" y="221647"/>
                    <a:pt x="1777651" y="225076"/>
                  </a:cubicBezTo>
                  <a:cubicBezTo>
                    <a:pt x="1777651" y="228505"/>
                    <a:pt x="1774888" y="231268"/>
                    <a:pt x="1771459" y="231268"/>
                  </a:cubicBezTo>
                  <a:cubicBezTo>
                    <a:pt x="1768030" y="231268"/>
                    <a:pt x="1765268" y="228505"/>
                    <a:pt x="1765268" y="225076"/>
                  </a:cubicBezTo>
                  <a:cubicBezTo>
                    <a:pt x="1765268" y="221647"/>
                    <a:pt x="1768030" y="218885"/>
                    <a:pt x="1771459" y="218885"/>
                  </a:cubicBezTo>
                  <a:close/>
                  <a:moveTo>
                    <a:pt x="1605152" y="217265"/>
                  </a:moveTo>
                  <a:cubicBezTo>
                    <a:pt x="1608581" y="217265"/>
                    <a:pt x="1611344" y="220027"/>
                    <a:pt x="1611344" y="223456"/>
                  </a:cubicBezTo>
                  <a:cubicBezTo>
                    <a:pt x="1611344" y="226885"/>
                    <a:pt x="1608581" y="229648"/>
                    <a:pt x="1605152" y="229648"/>
                  </a:cubicBezTo>
                  <a:cubicBezTo>
                    <a:pt x="1601723" y="229648"/>
                    <a:pt x="1598961" y="226885"/>
                    <a:pt x="1598961" y="223456"/>
                  </a:cubicBezTo>
                  <a:cubicBezTo>
                    <a:pt x="1598961" y="220027"/>
                    <a:pt x="1601723" y="217265"/>
                    <a:pt x="1605152" y="217265"/>
                  </a:cubicBezTo>
                  <a:close/>
                  <a:moveTo>
                    <a:pt x="1688401" y="216599"/>
                  </a:moveTo>
                  <a:cubicBezTo>
                    <a:pt x="1691830" y="216599"/>
                    <a:pt x="1694593" y="219361"/>
                    <a:pt x="1694593" y="222790"/>
                  </a:cubicBezTo>
                  <a:cubicBezTo>
                    <a:pt x="1694593" y="226219"/>
                    <a:pt x="1691830" y="228982"/>
                    <a:pt x="1688401" y="228982"/>
                  </a:cubicBezTo>
                  <a:cubicBezTo>
                    <a:pt x="1684972" y="228982"/>
                    <a:pt x="1682210" y="226219"/>
                    <a:pt x="1682210" y="222790"/>
                  </a:cubicBezTo>
                  <a:cubicBezTo>
                    <a:pt x="1682210" y="219361"/>
                    <a:pt x="1684972" y="216599"/>
                    <a:pt x="1688401" y="216599"/>
                  </a:cubicBezTo>
                  <a:close/>
                  <a:moveTo>
                    <a:pt x="2218181" y="215837"/>
                  </a:moveTo>
                  <a:cubicBezTo>
                    <a:pt x="2221610" y="215837"/>
                    <a:pt x="2224373" y="218599"/>
                    <a:pt x="2224373" y="222028"/>
                  </a:cubicBezTo>
                  <a:cubicBezTo>
                    <a:pt x="2224373" y="225457"/>
                    <a:pt x="2221610" y="228220"/>
                    <a:pt x="2218181" y="228220"/>
                  </a:cubicBezTo>
                  <a:cubicBezTo>
                    <a:pt x="2214752" y="228220"/>
                    <a:pt x="2211990" y="225457"/>
                    <a:pt x="2211990" y="222028"/>
                  </a:cubicBezTo>
                  <a:cubicBezTo>
                    <a:pt x="2211990" y="218599"/>
                    <a:pt x="2214752" y="215837"/>
                    <a:pt x="2218181" y="215837"/>
                  </a:cubicBezTo>
                  <a:close/>
                  <a:moveTo>
                    <a:pt x="2134837" y="214789"/>
                  </a:moveTo>
                  <a:cubicBezTo>
                    <a:pt x="2138266" y="214789"/>
                    <a:pt x="2141029" y="217551"/>
                    <a:pt x="2141029" y="220980"/>
                  </a:cubicBezTo>
                  <a:cubicBezTo>
                    <a:pt x="2141029" y="224409"/>
                    <a:pt x="2138266" y="227171"/>
                    <a:pt x="2134837" y="227171"/>
                  </a:cubicBezTo>
                  <a:cubicBezTo>
                    <a:pt x="2131408" y="227171"/>
                    <a:pt x="2128646" y="224409"/>
                    <a:pt x="2128646" y="220980"/>
                  </a:cubicBezTo>
                  <a:cubicBezTo>
                    <a:pt x="2128646" y="217551"/>
                    <a:pt x="2131408" y="214789"/>
                    <a:pt x="2134837" y="214789"/>
                  </a:cubicBezTo>
                  <a:close/>
                  <a:moveTo>
                    <a:pt x="857440" y="214789"/>
                  </a:moveTo>
                  <a:cubicBezTo>
                    <a:pt x="859250" y="214789"/>
                    <a:pt x="860774" y="216313"/>
                    <a:pt x="860774" y="218123"/>
                  </a:cubicBezTo>
                  <a:lnTo>
                    <a:pt x="859869" y="219027"/>
                  </a:lnTo>
                  <a:lnTo>
                    <a:pt x="864298" y="223456"/>
                  </a:lnTo>
                  <a:lnTo>
                    <a:pt x="862059" y="225695"/>
                  </a:lnTo>
                  <a:lnTo>
                    <a:pt x="864583" y="228219"/>
                  </a:lnTo>
                  <a:lnTo>
                    <a:pt x="862345" y="230457"/>
                  </a:lnTo>
                  <a:lnTo>
                    <a:pt x="864489" y="232601"/>
                  </a:lnTo>
                  <a:lnTo>
                    <a:pt x="862250" y="234839"/>
                  </a:lnTo>
                  <a:lnTo>
                    <a:pt x="864012" y="236601"/>
                  </a:lnTo>
                  <a:lnTo>
                    <a:pt x="861774" y="238839"/>
                  </a:lnTo>
                  <a:lnTo>
                    <a:pt x="863346" y="240411"/>
                  </a:lnTo>
                  <a:lnTo>
                    <a:pt x="861012" y="242745"/>
                  </a:lnTo>
                  <a:lnTo>
                    <a:pt x="862393" y="244126"/>
                  </a:lnTo>
                  <a:lnTo>
                    <a:pt x="859964" y="246555"/>
                  </a:lnTo>
                  <a:lnTo>
                    <a:pt x="861346" y="247936"/>
                  </a:lnTo>
                  <a:lnTo>
                    <a:pt x="858774" y="250508"/>
                  </a:lnTo>
                  <a:lnTo>
                    <a:pt x="860202" y="251936"/>
                  </a:lnTo>
                  <a:lnTo>
                    <a:pt x="857440" y="254699"/>
                  </a:lnTo>
                  <a:lnTo>
                    <a:pt x="859154" y="256413"/>
                  </a:lnTo>
                  <a:lnTo>
                    <a:pt x="856106" y="259461"/>
                  </a:lnTo>
                  <a:lnTo>
                    <a:pt x="858106" y="261461"/>
                  </a:lnTo>
                  <a:lnTo>
                    <a:pt x="854725" y="264842"/>
                  </a:lnTo>
                  <a:lnTo>
                    <a:pt x="857250" y="267367"/>
                  </a:lnTo>
                  <a:lnTo>
                    <a:pt x="853582" y="271034"/>
                  </a:lnTo>
                  <a:lnTo>
                    <a:pt x="856773" y="274225"/>
                  </a:lnTo>
                  <a:lnTo>
                    <a:pt x="852583" y="278416"/>
                  </a:lnTo>
                  <a:lnTo>
                    <a:pt x="856583" y="282416"/>
                  </a:lnTo>
                  <a:lnTo>
                    <a:pt x="851962" y="287036"/>
                  </a:lnTo>
                  <a:lnTo>
                    <a:pt x="856964" y="292037"/>
                  </a:lnTo>
                  <a:cubicBezTo>
                    <a:pt x="856964" y="295457"/>
                    <a:pt x="854192" y="298228"/>
                    <a:pt x="850772" y="298228"/>
                  </a:cubicBezTo>
                  <a:cubicBezTo>
                    <a:pt x="847353" y="298228"/>
                    <a:pt x="844581" y="295457"/>
                    <a:pt x="844581" y="292037"/>
                  </a:cubicBezTo>
                  <a:lnTo>
                    <a:pt x="849201" y="287417"/>
                  </a:lnTo>
                  <a:lnTo>
                    <a:pt x="844200" y="282416"/>
                  </a:lnTo>
                  <a:lnTo>
                    <a:pt x="848391" y="278225"/>
                  </a:lnTo>
                  <a:lnTo>
                    <a:pt x="844391" y="274225"/>
                  </a:lnTo>
                  <a:lnTo>
                    <a:pt x="848058" y="270558"/>
                  </a:lnTo>
                  <a:lnTo>
                    <a:pt x="844867" y="267367"/>
                  </a:lnTo>
                  <a:lnTo>
                    <a:pt x="848249" y="263986"/>
                  </a:lnTo>
                  <a:lnTo>
                    <a:pt x="845724" y="261461"/>
                  </a:lnTo>
                  <a:lnTo>
                    <a:pt x="848772" y="258413"/>
                  </a:lnTo>
                  <a:lnTo>
                    <a:pt x="846772" y="256413"/>
                  </a:lnTo>
                  <a:lnTo>
                    <a:pt x="849535" y="253651"/>
                  </a:lnTo>
                  <a:lnTo>
                    <a:pt x="847820" y="251936"/>
                  </a:lnTo>
                  <a:lnTo>
                    <a:pt x="850392" y="249365"/>
                  </a:lnTo>
                  <a:lnTo>
                    <a:pt x="848963" y="247936"/>
                  </a:lnTo>
                  <a:lnTo>
                    <a:pt x="851391" y="245508"/>
                  </a:lnTo>
                  <a:lnTo>
                    <a:pt x="850010" y="244126"/>
                  </a:lnTo>
                  <a:lnTo>
                    <a:pt x="852344" y="241792"/>
                  </a:lnTo>
                  <a:lnTo>
                    <a:pt x="850963" y="240411"/>
                  </a:lnTo>
                  <a:lnTo>
                    <a:pt x="853202" y="238173"/>
                  </a:lnTo>
                  <a:lnTo>
                    <a:pt x="851630" y="236601"/>
                  </a:lnTo>
                  <a:lnTo>
                    <a:pt x="853868" y="234363"/>
                  </a:lnTo>
                  <a:lnTo>
                    <a:pt x="852106" y="232601"/>
                  </a:lnTo>
                  <a:lnTo>
                    <a:pt x="854344" y="230363"/>
                  </a:lnTo>
                  <a:lnTo>
                    <a:pt x="852201" y="228219"/>
                  </a:lnTo>
                  <a:lnTo>
                    <a:pt x="854440" y="225980"/>
                  </a:lnTo>
                  <a:lnTo>
                    <a:pt x="851916" y="223456"/>
                  </a:lnTo>
                  <a:lnTo>
                    <a:pt x="855678" y="219694"/>
                  </a:lnTo>
                  <a:lnTo>
                    <a:pt x="854106" y="218123"/>
                  </a:lnTo>
                  <a:cubicBezTo>
                    <a:pt x="854106" y="216313"/>
                    <a:pt x="855630" y="214789"/>
                    <a:pt x="857440" y="214789"/>
                  </a:cubicBezTo>
                  <a:close/>
                  <a:moveTo>
                    <a:pt x="2492501" y="213646"/>
                  </a:moveTo>
                  <a:cubicBezTo>
                    <a:pt x="2495930" y="213646"/>
                    <a:pt x="2498692" y="216408"/>
                    <a:pt x="2498692" y="219837"/>
                  </a:cubicBezTo>
                  <a:lnTo>
                    <a:pt x="2495073" y="223456"/>
                  </a:lnTo>
                  <a:lnTo>
                    <a:pt x="2497741" y="226123"/>
                  </a:lnTo>
                  <a:lnTo>
                    <a:pt x="2494692" y="229172"/>
                  </a:lnTo>
                  <a:lnTo>
                    <a:pt x="2497359" y="231839"/>
                  </a:lnTo>
                  <a:lnTo>
                    <a:pt x="2494835" y="234363"/>
                  </a:lnTo>
                  <a:lnTo>
                    <a:pt x="2497455" y="236982"/>
                  </a:lnTo>
                  <a:lnTo>
                    <a:pt x="2495312" y="239126"/>
                  </a:lnTo>
                  <a:lnTo>
                    <a:pt x="2497930" y="241744"/>
                  </a:lnTo>
                  <a:lnTo>
                    <a:pt x="2496120" y="243554"/>
                  </a:lnTo>
                  <a:lnTo>
                    <a:pt x="2498692" y="246126"/>
                  </a:lnTo>
                  <a:lnTo>
                    <a:pt x="2497168" y="247650"/>
                  </a:lnTo>
                  <a:lnTo>
                    <a:pt x="2499836" y="250317"/>
                  </a:lnTo>
                  <a:lnTo>
                    <a:pt x="2498550" y="251603"/>
                  </a:lnTo>
                  <a:lnTo>
                    <a:pt x="2501265" y="254318"/>
                  </a:lnTo>
                  <a:lnTo>
                    <a:pt x="2499979" y="255604"/>
                  </a:lnTo>
                  <a:lnTo>
                    <a:pt x="2502883" y="258508"/>
                  </a:lnTo>
                  <a:lnTo>
                    <a:pt x="2501550" y="259841"/>
                  </a:lnTo>
                  <a:lnTo>
                    <a:pt x="2504599" y="262890"/>
                  </a:lnTo>
                  <a:lnTo>
                    <a:pt x="2503122" y="264367"/>
                  </a:lnTo>
                  <a:lnTo>
                    <a:pt x="2506408" y="267653"/>
                  </a:lnTo>
                  <a:lnTo>
                    <a:pt x="2504551" y="269510"/>
                  </a:lnTo>
                  <a:lnTo>
                    <a:pt x="2508123" y="273082"/>
                  </a:lnTo>
                  <a:lnTo>
                    <a:pt x="2505884" y="275321"/>
                  </a:lnTo>
                  <a:lnTo>
                    <a:pt x="2509741" y="279178"/>
                  </a:lnTo>
                  <a:lnTo>
                    <a:pt x="2506836" y="282083"/>
                  </a:lnTo>
                  <a:lnTo>
                    <a:pt x="2511171" y="286417"/>
                  </a:lnTo>
                  <a:lnTo>
                    <a:pt x="2507503" y="290084"/>
                  </a:lnTo>
                  <a:lnTo>
                    <a:pt x="2512218" y="294799"/>
                  </a:lnTo>
                  <a:lnTo>
                    <a:pt x="2507598" y="299419"/>
                  </a:lnTo>
                  <a:lnTo>
                    <a:pt x="2512885" y="304705"/>
                  </a:lnTo>
                  <a:lnTo>
                    <a:pt x="2507123" y="310468"/>
                  </a:lnTo>
                  <a:lnTo>
                    <a:pt x="2512980" y="316325"/>
                  </a:lnTo>
                  <a:cubicBezTo>
                    <a:pt x="2512980" y="319754"/>
                    <a:pt x="2510218" y="322516"/>
                    <a:pt x="2506789" y="322516"/>
                  </a:cubicBezTo>
                  <a:cubicBezTo>
                    <a:pt x="2503360" y="322516"/>
                    <a:pt x="2500598" y="319754"/>
                    <a:pt x="2500598" y="316325"/>
                  </a:cubicBezTo>
                  <a:lnTo>
                    <a:pt x="2506360" y="310564"/>
                  </a:lnTo>
                  <a:lnTo>
                    <a:pt x="2500502" y="304705"/>
                  </a:lnTo>
                  <a:lnTo>
                    <a:pt x="2505122" y="300085"/>
                  </a:lnTo>
                  <a:lnTo>
                    <a:pt x="2499836" y="294799"/>
                  </a:lnTo>
                  <a:lnTo>
                    <a:pt x="2503503" y="291132"/>
                  </a:lnTo>
                  <a:lnTo>
                    <a:pt x="2498788" y="286417"/>
                  </a:lnTo>
                  <a:lnTo>
                    <a:pt x="2501693" y="283512"/>
                  </a:lnTo>
                  <a:lnTo>
                    <a:pt x="2497359" y="279178"/>
                  </a:lnTo>
                  <a:lnTo>
                    <a:pt x="2499598" y="276940"/>
                  </a:lnTo>
                  <a:lnTo>
                    <a:pt x="2495740" y="273082"/>
                  </a:lnTo>
                  <a:lnTo>
                    <a:pt x="2497597" y="271225"/>
                  </a:lnTo>
                  <a:lnTo>
                    <a:pt x="2494025" y="267653"/>
                  </a:lnTo>
                  <a:lnTo>
                    <a:pt x="2495502" y="266176"/>
                  </a:lnTo>
                  <a:lnTo>
                    <a:pt x="2492216" y="262890"/>
                  </a:lnTo>
                  <a:lnTo>
                    <a:pt x="2493549" y="261557"/>
                  </a:lnTo>
                  <a:lnTo>
                    <a:pt x="2490501" y="258508"/>
                  </a:lnTo>
                  <a:lnTo>
                    <a:pt x="2491786" y="257223"/>
                  </a:lnTo>
                  <a:lnTo>
                    <a:pt x="2488882" y="254318"/>
                  </a:lnTo>
                  <a:lnTo>
                    <a:pt x="2490168" y="253032"/>
                  </a:lnTo>
                  <a:lnTo>
                    <a:pt x="2487453" y="250317"/>
                  </a:lnTo>
                  <a:lnTo>
                    <a:pt x="2488977" y="248793"/>
                  </a:lnTo>
                  <a:lnTo>
                    <a:pt x="2486310" y="246126"/>
                  </a:lnTo>
                  <a:lnTo>
                    <a:pt x="2488120" y="244316"/>
                  </a:lnTo>
                  <a:lnTo>
                    <a:pt x="2485548" y="241744"/>
                  </a:lnTo>
                  <a:lnTo>
                    <a:pt x="2487691" y="239601"/>
                  </a:lnTo>
                  <a:lnTo>
                    <a:pt x="2485072" y="236982"/>
                  </a:lnTo>
                  <a:lnTo>
                    <a:pt x="2487596" y="234458"/>
                  </a:lnTo>
                  <a:lnTo>
                    <a:pt x="2484977" y="231839"/>
                  </a:lnTo>
                  <a:lnTo>
                    <a:pt x="2488025" y="228791"/>
                  </a:lnTo>
                  <a:lnTo>
                    <a:pt x="2485358" y="226123"/>
                  </a:lnTo>
                  <a:lnTo>
                    <a:pt x="2488977" y="222504"/>
                  </a:lnTo>
                  <a:lnTo>
                    <a:pt x="2486310" y="219837"/>
                  </a:lnTo>
                  <a:cubicBezTo>
                    <a:pt x="2486310" y="216408"/>
                    <a:pt x="2489072" y="213646"/>
                    <a:pt x="2492501" y="213646"/>
                  </a:cubicBezTo>
                  <a:close/>
                  <a:moveTo>
                    <a:pt x="1332070" y="213265"/>
                  </a:moveTo>
                  <a:cubicBezTo>
                    <a:pt x="1335499" y="213265"/>
                    <a:pt x="1338262" y="216027"/>
                    <a:pt x="1338262" y="219456"/>
                  </a:cubicBezTo>
                  <a:cubicBezTo>
                    <a:pt x="1338262" y="222885"/>
                    <a:pt x="1335499" y="225648"/>
                    <a:pt x="1332070" y="225648"/>
                  </a:cubicBezTo>
                  <a:cubicBezTo>
                    <a:pt x="1328641" y="225648"/>
                    <a:pt x="1325879" y="222885"/>
                    <a:pt x="1325879" y="219456"/>
                  </a:cubicBezTo>
                  <a:cubicBezTo>
                    <a:pt x="1325879" y="216027"/>
                    <a:pt x="1328641" y="213265"/>
                    <a:pt x="1332070" y="213265"/>
                  </a:cubicBezTo>
                  <a:close/>
                  <a:moveTo>
                    <a:pt x="2493930" y="211265"/>
                  </a:moveTo>
                  <a:cubicBezTo>
                    <a:pt x="2494692" y="211265"/>
                    <a:pt x="2495359" y="211932"/>
                    <a:pt x="2495359" y="212694"/>
                  </a:cubicBezTo>
                  <a:cubicBezTo>
                    <a:pt x="2495359" y="213456"/>
                    <a:pt x="2494692" y="214122"/>
                    <a:pt x="2493930" y="214122"/>
                  </a:cubicBezTo>
                  <a:cubicBezTo>
                    <a:pt x="2493168" y="214122"/>
                    <a:pt x="2492501" y="213456"/>
                    <a:pt x="2492501" y="212694"/>
                  </a:cubicBezTo>
                  <a:cubicBezTo>
                    <a:pt x="2492501" y="211932"/>
                    <a:pt x="2493168" y="211265"/>
                    <a:pt x="2493930" y="211265"/>
                  </a:cubicBezTo>
                  <a:close/>
                  <a:moveTo>
                    <a:pt x="1072514" y="211265"/>
                  </a:moveTo>
                  <a:cubicBezTo>
                    <a:pt x="1075943" y="211265"/>
                    <a:pt x="1078706" y="214027"/>
                    <a:pt x="1078706" y="217456"/>
                  </a:cubicBezTo>
                  <a:cubicBezTo>
                    <a:pt x="1078706" y="220885"/>
                    <a:pt x="1075943" y="223647"/>
                    <a:pt x="1072514" y="223647"/>
                  </a:cubicBezTo>
                  <a:cubicBezTo>
                    <a:pt x="1069085" y="223647"/>
                    <a:pt x="1066323" y="220885"/>
                    <a:pt x="1066323" y="217456"/>
                  </a:cubicBezTo>
                  <a:cubicBezTo>
                    <a:pt x="1066323" y="214027"/>
                    <a:pt x="1069085" y="211265"/>
                    <a:pt x="1072514" y="211265"/>
                  </a:cubicBezTo>
                  <a:close/>
                  <a:moveTo>
                    <a:pt x="998791" y="211265"/>
                  </a:moveTo>
                  <a:cubicBezTo>
                    <a:pt x="1002220" y="211265"/>
                    <a:pt x="1004983" y="214027"/>
                    <a:pt x="1004983" y="217456"/>
                  </a:cubicBezTo>
                  <a:cubicBezTo>
                    <a:pt x="1004983" y="220885"/>
                    <a:pt x="1002220" y="223647"/>
                    <a:pt x="998791" y="223647"/>
                  </a:cubicBezTo>
                  <a:cubicBezTo>
                    <a:pt x="995362" y="223647"/>
                    <a:pt x="992600" y="220885"/>
                    <a:pt x="992600" y="217456"/>
                  </a:cubicBezTo>
                  <a:cubicBezTo>
                    <a:pt x="992600" y="214027"/>
                    <a:pt x="995362" y="211265"/>
                    <a:pt x="998791" y="211265"/>
                  </a:cubicBezTo>
                  <a:close/>
                  <a:moveTo>
                    <a:pt x="2300668" y="210789"/>
                  </a:moveTo>
                  <a:cubicBezTo>
                    <a:pt x="2304097" y="210789"/>
                    <a:pt x="2306860" y="213551"/>
                    <a:pt x="2306860" y="216980"/>
                  </a:cubicBezTo>
                  <a:cubicBezTo>
                    <a:pt x="2306860" y="220409"/>
                    <a:pt x="2304097" y="223171"/>
                    <a:pt x="2300668" y="223171"/>
                  </a:cubicBezTo>
                  <a:cubicBezTo>
                    <a:pt x="2297239" y="223171"/>
                    <a:pt x="2294477" y="220409"/>
                    <a:pt x="2294477" y="216980"/>
                  </a:cubicBezTo>
                  <a:cubicBezTo>
                    <a:pt x="2294477" y="213551"/>
                    <a:pt x="2297239" y="210789"/>
                    <a:pt x="2300668" y="210789"/>
                  </a:cubicBezTo>
                  <a:close/>
                  <a:moveTo>
                    <a:pt x="1964531" y="208122"/>
                  </a:moveTo>
                  <a:cubicBezTo>
                    <a:pt x="1967960" y="208122"/>
                    <a:pt x="1970722" y="210884"/>
                    <a:pt x="1970722" y="214313"/>
                  </a:cubicBezTo>
                  <a:cubicBezTo>
                    <a:pt x="1970722" y="217742"/>
                    <a:pt x="1967960" y="220504"/>
                    <a:pt x="1964531" y="220504"/>
                  </a:cubicBezTo>
                  <a:cubicBezTo>
                    <a:pt x="1961102" y="220504"/>
                    <a:pt x="1958340" y="217742"/>
                    <a:pt x="1958340" y="214313"/>
                  </a:cubicBezTo>
                  <a:cubicBezTo>
                    <a:pt x="1958340" y="210884"/>
                    <a:pt x="1961102" y="208122"/>
                    <a:pt x="1964531" y="208122"/>
                  </a:cubicBezTo>
                  <a:close/>
                  <a:moveTo>
                    <a:pt x="1235011" y="206598"/>
                  </a:moveTo>
                  <a:cubicBezTo>
                    <a:pt x="1238440" y="206598"/>
                    <a:pt x="1241203" y="209360"/>
                    <a:pt x="1241203" y="212789"/>
                  </a:cubicBezTo>
                  <a:cubicBezTo>
                    <a:pt x="1241203" y="216218"/>
                    <a:pt x="1238440" y="218980"/>
                    <a:pt x="1235011" y="218980"/>
                  </a:cubicBezTo>
                  <a:cubicBezTo>
                    <a:pt x="1231582" y="218980"/>
                    <a:pt x="1228820" y="216218"/>
                    <a:pt x="1228820" y="212789"/>
                  </a:cubicBezTo>
                  <a:cubicBezTo>
                    <a:pt x="1228820" y="209360"/>
                    <a:pt x="1231582" y="206598"/>
                    <a:pt x="1235011" y="206598"/>
                  </a:cubicBezTo>
                  <a:close/>
                  <a:moveTo>
                    <a:pt x="1148714" y="206407"/>
                  </a:moveTo>
                  <a:cubicBezTo>
                    <a:pt x="1152143" y="206407"/>
                    <a:pt x="1154906" y="209169"/>
                    <a:pt x="1154906" y="212598"/>
                  </a:cubicBezTo>
                  <a:cubicBezTo>
                    <a:pt x="1154906" y="216027"/>
                    <a:pt x="1152143" y="218789"/>
                    <a:pt x="1148714" y="218789"/>
                  </a:cubicBezTo>
                  <a:cubicBezTo>
                    <a:pt x="1145285" y="218789"/>
                    <a:pt x="1142523" y="216027"/>
                    <a:pt x="1142523" y="212598"/>
                  </a:cubicBezTo>
                  <a:cubicBezTo>
                    <a:pt x="1142523" y="209169"/>
                    <a:pt x="1145285" y="206407"/>
                    <a:pt x="1148714" y="206407"/>
                  </a:cubicBezTo>
                  <a:close/>
                  <a:moveTo>
                    <a:pt x="1409128" y="202883"/>
                  </a:moveTo>
                  <a:cubicBezTo>
                    <a:pt x="1412557" y="202883"/>
                    <a:pt x="1415320" y="205645"/>
                    <a:pt x="1415320" y="209074"/>
                  </a:cubicBezTo>
                  <a:cubicBezTo>
                    <a:pt x="1415320" y="212503"/>
                    <a:pt x="1412557" y="215265"/>
                    <a:pt x="1409128" y="215265"/>
                  </a:cubicBezTo>
                  <a:cubicBezTo>
                    <a:pt x="1405699" y="215265"/>
                    <a:pt x="1402937" y="212503"/>
                    <a:pt x="1402937" y="209074"/>
                  </a:cubicBezTo>
                  <a:cubicBezTo>
                    <a:pt x="1402937" y="205645"/>
                    <a:pt x="1405699" y="202883"/>
                    <a:pt x="1409128" y="202883"/>
                  </a:cubicBezTo>
                  <a:close/>
                  <a:moveTo>
                    <a:pt x="2231421" y="202597"/>
                  </a:moveTo>
                  <a:cubicBezTo>
                    <a:pt x="2234841" y="202597"/>
                    <a:pt x="2237612" y="205369"/>
                    <a:pt x="2237612" y="208788"/>
                  </a:cubicBezTo>
                  <a:cubicBezTo>
                    <a:pt x="2237612" y="212208"/>
                    <a:pt x="2234841" y="214979"/>
                    <a:pt x="2231421" y="214979"/>
                  </a:cubicBezTo>
                  <a:cubicBezTo>
                    <a:pt x="2228002" y="214979"/>
                    <a:pt x="2225230" y="212208"/>
                    <a:pt x="2225230" y="208788"/>
                  </a:cubicBezTo>
                  <a:cubicBezTo>
                    <a:pt x="2225230" y="205369"/>
                    <a:pt x="2228002" y="202597"/>
                    <a:pt x="2231421" y="202597"/>
                  </a:cubicBezTo>
                  <a:close/>
                  <a:moveTo>
                    <a:pt x="2308478" y="202026"/>
                  </a:moveTo>
                  <a:cubicBezTo>
                    <a:pt x="2311907" y="202026"/>
                    <a:pt x="2314669" y="204788"/>
                    <a:pt x="2314669" y="208217"/>
                  </a:cubicBezTo>
                  <a:cubicBezTo>
                    <a:pt x="2314669" y="211646"/>
                    <a:pt x="2311907" y="214408"/>
                    <a:pt x="2308478" y="214408"/>
                  </a:cubicBezTo>
                  <a:cubicBezTo>
                    <a:pt x="2305049" y="214408"/>
                    <a:pt x="2302287" y="211646"/>
                    <a:pt x="2302287" y="208217"/>
                  </a:cubicBezTo>
                  <a:cubicBezTo>
                    <a:pt x="2302287" y="204788"/>
                    <a:pt x="2305049" y="202026"/>
                    <a:pt x="2308478" y="202026"/>
                  </a:cubicBezTo>
                  <a:close/>
                  <a:moveTo>
                    <a:pt x="1062037" y="200406"/>
                  </a:moveTo>
                  <a:cubicBezTo>
                    <a:pt x="1065466" y="200406"/>
                    <a:pt x="1068229" y="203168"/>
                    <a:pt x="1068229" y="206597"/>
                  </a:cubicBezTo>
                  <a:cubicBezTo>
                    <a:pt x="1068229" y="210026"/>
                    <a:pt x="1065466" y="212788"/>
                    <a:pt x="1062037" y="212788"/>
                  </a:cubicBezTo>
                  <a:cubicBezTo>
                    <a:pt x="1058608" y="212788"/>
                    <a:pt x="1055846" y="210026"/>
                    <a:pt x="1055846" y="206597"/>
                  </a:cubicBezTo>
                  <a:cubicBezTo>
                    <a:pt x="1055846" y="203168"/>
                    <a:pt x="1058608" y="200406"/>
                    <a:pt x="1062037" y="200406"/>
                  </a:cubicBezTo>
                  <a:close/>
                  <a:moveTo>
                    <a:pt x="2064067" y="200025"/>
                  </a:moveTo>
                  <a:cubicBezTo>
                    <a:pt x="2067496" y="200025"/>
                    <a:pt x="2070259" y="202787"/>
                    <a:pt x="2070259" y="206216"/>
                  </a:cubicBezTo>
                  <a:cubicBezTo>
                    <a:pt x="2070259" y="209645"/>
                    <a:pt x="2067496" y="212408"/>
                    <a:pt x="2064067" y="212408"/>
                  </a:cubicBezTo>
                  <a:cubicBezTo>
                    <a:pt x="2060638" y="212408"/>
                    <a:pt x="2057876" y="209645"/>
                    <a:pt x="2057876" y="206216"/>
                  </a:cubicBezTo>
                  <a:cubicBezTo>
                    <a:pt x="2057876" y="202787"/>
                    <a:pt x="2060638" y="200025"/>
                    <a:pt x="2064067" y="200025"/>
                  </a:cubicBezTo>
                  <a:close/>
                  <a:moveTo>
                    <a:pt x="1886711" y="198882"/>
                  </a:moveTo>
                  <a:cubicBezTo>
                    <a:pt x="1890140" y="198882"/>
                    <a:pt x="1892903" y="201644"/>
                    <a:pt x="1892903" y="205073"/>
                  </a:cubicBezTo>
                  <a:cubicBezTo>
                    <a:pt x="1892903" y="208502"/>
                    <a:pt x="1890140" y="211264"/>
                    <a:pt x="1886711" y="211264"/>
                  </a:cubicBezTo>
                  <a:cubicBezTo>
                    <a:pt x="1883282" y="211264"/>
                    <a:pt x="1880520" y="208502"/>
                    <a:pt x="1880520" y="205073"/>
                  </a:cubicBezTo>
                  <a:cubicBezTo>
                    <a:pt x="1880520" y="201644"/>
                    <a:pt x="1883282" y="198882"/>
                    <a:pt x="1886711" y="198882"/>
                  </a:cubicBezTo>
                  <a:close/>
                  <a:moveTo>
                    <a:pt x="2152840" y="198597"/>
                  </a:moveTo>
                  <a:cubicBezTo>
                    <a:pt x="2156269" y="198597"/>
                    <a:pt x="2159032" y="201359"/>
                    <a:pt x="2159032" y="204788"/>
                  </a:cubicBezTo>
                  <a:cubicBezTo>
                    <a:pt x="2159032" y="208217"/>
                    <a:pt x="2156269" y="210979"/>
                    <a:pt x="2152840" y="210979"/>
                  </a:cubicBezTo>
                  <a:cubicBezTo>
                    <a:pt x="2149411" y="210979"/>
                    <a:pt x="2146649" y="208217"/>
                    <a:pt x="2146649" y="204788"/>
                  </a:cubicBezTo>
                  <a:cubicBezTo>
                    <a:pt x="2146649" y="201359"/>
                    <a:pt x="2149411" y="198597"/>
                    <a:pt x="2152840" y="198597"/>
                  </a:cubicBezTo>
                  <a:close/>
                  <a:moveTo>
                    <a:pt x="887824" y="197930"/>
                  </a:moveTo>
                  <a:cubicBezTo>
                    <a:pt x="887920" y="197930"/>
                    <a:pt x="887920" y="197930"/>
                    <a:pt x="887920" y="198025"/>
                  </a:cubicBezTo>
                  <a:cubicBezTo>
                    <a:pt x="887920" y="198121"/>
                    <a:pt x="887824" y="198121"/>
                    <a:pt x="887824" y="198121"/>
                  </a:cubicBezTo>
                  <a:cubicBezTo>
                    <a:pt x="887729" y="198121"/>
                    <a:pt x="887729" y="198121"/>
                    <a:pt x="887729" y="198025"/>
                  </a:cubicBezTo>
                  <a:cubicBezTo>
                    <a:pt x="887729" y="197930"/>
                    <a:pt x="887729" y="197930"/>
                    <a:pt x="887824" y="197930"/>
                  </a:cubicBezTo>
                  <a:close/>
                  <a:moveTo>
                    <a:pt x="889539" y="197073"/>
                  </a:moveTo>
                  <a:cubicBezTo>
                    <a:pt x="892968" y="197073"/>
                    <a:pt x="895635" y="199740"/>
                    <a:pt x="895635" y="203169"/>
                  </a:cubicBezTo>
                  <a:lnTo>
                    <a:pt x="893968" y="204836"/>
                  </a:lnTo>
                  <a:lnTo>
                    <a:pt x="897064" y="207931"/>
                  </a:lnTo>
                  <a:lnTo>
                    <a:pt x="895492" y="209503"/>
                  </a:lnTo>
                  <a:lnTo>
                    <a:pt x="897921" y="211931"/>
                  </a:lnTo>
                  <a:lnTo>
                    <a:pt x="896397" y="213455"/>
                  </a:lnTo>
                  <a:lnTo>
                    <a:pt x="898588" y="215646"/>
                  </a:lnTo>
                  <a:lnTo>
                    <a:pt x="897112" y="217123"/>
                  </a:lnTo>
                  <a:lnTo>
                    <a:pt x="898969" y="218980"/>
                  </a:lnTo>
                  <a:lnTo>
                    <a:pt x="897540" y="220409"/>
                  </a:lnTo>
                  <a:lnTo>
                    <a:pt x="899255" y="222123"/>
                  </a:lnTo>
                  <a:lnTo>
                    <a:pt x="897778" y="223600"/>
                  </a:lnTo>
                  <a:lnTo>
                    <a:pt x="899350" y="225171"/>
                  </a:lnTo>
                  <a:lnTo>
                    <a:pt x="897731" y="226790"/>
                  </a:lnTo>
                  <a:lnTo>
                    <a:pt x="899350" y="228409"/>
                  </a:lnTo>
                  <a:lnTo>
                    <a:pt x="897683" y="230076"/>
                  </a:lnTo>
                  <a:lnTo>
                    <a:pt x="899446" y="231839"/>
                  </a:lnTo>
                  <a:lnTo>
                    <a:pt x="897636" y="233649"/>
                  </a:lnTo>
                  <a:lnTo>
                    <a:pt x="899731" y="235744"/>
                  </a:lnTo>
                  <a:lnTo>
                    <a:pt x="897683" y="237792"/>
                  </a:lnTo>
                  <a:lnTo>
                    <a:pt x="900112" y="240220"/>
                  </a:lnTo>
                  <a:lnTo>
                    <a:pt x="897778" y="242554"/>
                  </a:lnTo>
                  <a:lnTo>
                    <a:pt x="900874" y="245650"/>
                  </a:lnTo>
                  <a:lnTo>
                    <a:pt x="898207" y="248317"/>
                  </a:lnTo>
                  <a:lnTo>
                    <a:pt x="902017" y="252127"/>
                  </a:lnTo>
                  <a:lnTo>
                    <a:pt x="898969" y="255175"/>
                  </a:lnTo>
                  <a:lnTo>
                    <a:pt x="903731" y="259937"/>
                  </a:lnTo>
                  <a:lnTo>
                    <a:pt x="900302" y="263367"/>
                  </a:lnTo>
                  <a:lnTo>
                    <a:pt x="906112" y="269177"/>
                  </a:lnTo>
                  <a:cubicBezTo>
                    <a:pt x="906112" y="272606"/>
                    <a:pt x="903350" y="275368"/>
                    <a:pt x="899921" y="275368"/>
                  </a:cubicBezTo>
                  <a:cubicBezTo>
                    <a:pt x="896492" y="275368"/>
                    <a:pt x="893730" y="272606"/>
                    <a:pt x="893730" y="269177"/>
                  </a:cubicBezTo>
                  <a:lnTo>
                    <a:pt x="897159" y="265748"/>
                  </a:lnTo>
                  <a:lnTo>
                    <a:pt x="891349" y="259937"/>
                  </a:lnTo>
                  <a:lnTo>
                    <a:pt x="894397" y="256890"/>
                  </a:lnTo>
                  <a:lnTo>
                    <a:pt x="889635" y="252127"/>
                  </a:lnTo>
                  <a:lnTo>
                    <a:pt x="892301" y="249461"/>
                  </a:lnTo>
                  <a:lnTo>
                    <a:pt x="888491" y="245650"/>
                  </a:lnTo>
                  <a:lnTo>
                    <a:pt x="890825" y="243316"/>
                  </a:lnTo>
                  <a:lnTo>
                    <a:pt x="887729" y="240220"/>
                  </a:lnTo>
                  <a:lnTo>
                    <a:pt x="889777" y="238172"/>
                  </a:lnTo>
                  <a:lnTo>
                    <a:pt x="887349" y="235744"/>
                  </a:lnTo>
                  <a:lnTo>
                    <a:pt x="889159" y="233935"/>
                  </a:lnTo>
                  <a:lnTo>
                    <a:pt x="887063" y="231839"/>
                  </a:lnTo>
                  <a:lnTo>
                    <a:pt x="888730" y="230172"/>
                  </a:lnTo>
                  <a:lnTo>
                    <a:pt x="886968" y="228409"/>
                  </a:lnTo>
                  <a:lnTo>
                    <a:pt x="888587" y="226790"/>
                  </a:lnTo>
                  <a:lnTo>
                    <a:pt x="886968" y="225171"/>
                  </a:lnTo>
                  <a:lnTo>
                    <a:pt x="888444" y="223695"/>
                  </a:lnTo>
                  <a:lnTo>
                    <a:pt x="886872" y="222123"/>
                  </a:lnTo>
                  <a:lnTo>
                    <a:pt x="888301" y="220694"/>
                  </a:lnTo>
                  <a:lnTo>
                    <a:pt x="886587" y="218980"/>
                  </a:lnTo>
                  <a:lnTo>
                    <a:pt x="888063" y="217504"/>
                  </a:lnTo>
                  <a:lnTo>
                    <a:pt x="886206" y="215646"/>
                  </a:lnTo>
                  <a:lnTo>
                    <a:pt x="887730" y="214122"/>
                  </a:lnTo>
                  <a:lnTo>
                    <a:pt x="885539" y="211931"/>
                  </a:lnTo>
                  <a:lnTo>
                    <a:pt x="887110" y="210360"/>
                  </a:lnTo>
                  <a:lnTo>
                    <a:pt x="884681" y="207931"/>
                  </a:lnTo>
                  <a:lnTo>
                    <a:pt x="886443" y="206169"/>
                  </a:lnTo>
                  <a:lnTo>
                    <a:pt x="883443" y="203169"/>
                  </a:lnTo>
                  <a:cubicBezTo>
                    <a:pt x="883443" y="199740"/>
                    <a:pt x="886110" y="197073"/>
                    <a:pt x="889539" y="197073"/>
                  </a:cubicBezTo>
                  <a:close/>
                  <a:moveTo>
                    <a:pt x="1487709" y="195072"/>
                  </a:moveTo>
                  <a:cubicBezTo>
                    <a:pt x="1491138" y="195072"/>
                    <a:pt x="1493901" y="197834"/>
                    <a:pt x="1493901" y="201263"/>
                  </a:cubicBezTo>
                  <a:cubicBezTo>
                    <a:pt x="1493901" y="204692"/>
                    <a:pt x="1491138" y="207455"/>
                    <a:pt x="1487709" y="207455"/>
                  </a:cubicBezTo>
                  <a:cubicBezTo>
                    <a:pt x="1484280" y="207455"/>
                    <a:pt x="1481518" y="204692"/>
                    <a:pt x="1481518" y="201263"/>
                  </a:cubicBezTo>
                  <a:cubicBezTo>
                    <a:pt x="1481518" y="197834"/>
                    <a:pt x="1484280" y="195072"/>
                    <a:pt x="1487709" y="195072"/>
                  </a:cubicBezTo>
                  <a:close/>
                  <a:moveTo>
                    <a:pt x="2463164" y="194977"/>
                  </a:moveTo>
                  <a:cubicBezTo>
                    <a:pt x="2465546" y="194977"/>
                    <a:pt x="2467450" y="196882"/>
                    <a:pt x="2467450" y="199263"/>
                  </a:cubicBezTo>
                  <a:lnTo>
                    <a:pt x="2464355" y="202359"/>
                  </a:lnTo>
                  <a:lnTo>
                    <a:pt x="2467546" y="205550"/>
                  </a:lnTo>
                  <a:lnTo>
                    <a:pt x="2464022" y="209074"/>
                  </a:lnTo>
                  <a:lnTo>
                    <a:pt x="2466118" y="211169"/>
                  </a:lnTo>
                  <a:lnTo>
                    <a:pt x="2463116" y="214170"/>
                  </a:lnTo>
                  <a:lnTo>
                    <a:pt x="2465164" y="216218"/>
                  </a:lnTo>
                  <a:lnTo>
                    <a:pt x="2462640" y="218742"/>
                  </a:lnTo>
                  <a:lnTo>
                    <a:pt x="2464593" y="220694"/>
                  </a:lnTo>
                  <a:lnTo>
                    <a:pt x="2462497" y="222790"/>
                  </a:lnTo>
                  <a:lnTo>
                    <a:pt x="2464403" y="224695"/>
                  </a:lnTo>
                  <a:lnTo>
                    <a:pt x="2462593" y="226505"/>
                  </a:lnTo>
                  <a:lnTo>
                    <a:pt x="2464403" y="228314"/>
                  </a:lnTo>
                  <a:lnTo>
                    <a:pt x="2462783" y="229934"/>
                  </a:lnTo>
                  <a:lnTo>
                    <a:pt x="2464689" y="231839"/>
                  </a:lnTo>
                  <a:lnTo>
                    <a:pt x="2463212" y="233316"/>
                  </a:lnTo>
                  <a:lnTo>
                    <a:pt x="2465164" y="235268"/>
                  </a:lnTo>
                  <a:lnTo>
                    <a:pt x="2463688" y="236744"/>
                  </a:lnTo>
                  <a:lnTo>
                    <a:pt x="2465736" y="238792"/>
                  </a:lnTo>
                  <a:lnTo>
                    <a:pt x="2464165" y="240364"/>
                  </a:lnTo>
                  <a:lnTo>
                    <a:pt x="2466307" y="242506"/>
                  </a:lnTo>
                  <a:lnTo>
                    <a:pt x="2464450" y="244363"/>
                  </a:lnTo>
                  <a:lnTo>
                    <a:pt x="2466784" y="246697"/>
                  </a:lnTo>
                  <a:lnTo>
                    <a:pt x="2464545" y="248936"/>
                  </a:lnTo>
                  <a:lnTo>
                    <a:pt x="2467165" y="251555"/>
                  </a:lnTo>
                  <a:lnTo>
                    <a:pt x="2464403" y="254318"/>
                  </a:lnTo>
                  <a:lnTo>
                    <a:pt x="2467260" y="257175"/>
                  </a:lnTo>
                  <a:lnTo>
                    <a:pt x="2463783" y="260652"/>
                  </a:lnTo>
                  <a:lnTo>
                    <a:pt x="2467070" y="263938"/>
                  </a:lnTo>
                  <a:lnTo>
                    <a:pt x="2462736" y="268272"/>
                  </a:lnTo>
                  <a:lnTo>
                    <a:pt x="2466307" y="271843"/>
                  </a:lnTo>
                  <a:lnTo>
                    <a:pt x="2460926" y="277225"/>
                  </a:lnTo>
                  <a:lnTo>
                    <a:pt x="2465069" y="281368"/>
                  </a:lnTo>
                  <a:cubicBezTo>
                    <a:pt x="2465069" y="284797"/>
                    <a:pt x="2462307" y="287560"/>
                    <a:pt x="2458878" y="287560"/>
                  </a:cubicBezTo>
                  <a:cubicBezTo>
                    <a:pt x="2455449" y="287560"/>
                    <a:pt x="2452687" y="284797"/>
                    <a:pt x="2452687" y="281368"/>
                  </a:cubicBezTo>
                  <a:lnTo>
                    <a:pt x="2458068" y="275987"/>
                  </a:lnTo>
                  <a:lnTo>
                    <a:pt x="2453925" y="271843"/>
                  </a:lnTo>
                  <a:lnTo>
                    <a:pt x="2458258" y="267510"/>
                  </a:lnTo>
                  <a:lnTo>
                    <a:pt x="2454687" y="263938"/>
                  </a:lnTo>
                  <a:lnTo>
                    <a:pt x="2458164" y="260461"/>
                  </a:lnTo>
                  <a:lnTo>
                    <a:pt x="2454878" y="257175"/>
                  </a:lnTo>
                  <a:lnTo>
                    <a:pt x="2457641" y="254413"/>
                  </a:lnTo>
                  <a:lnTo>
                    <a:pt x="2454783" y="251555"/>
                  </a:lnTo>
                  <a:lnTo>
                    <a:pt x="2457021" y="249317"/>
                  </a:lnTo>
                  <a:lnTo>
                    <a:pt x="2454401" y="246697"/>
                  </a:lnTo>
                  <a:lnTo>
                    <a:pt x="2456258" y="244840"/>
                  </a:lnTo>
                  <a:lnTo>
                    <a:pt x="2453925" y="242506"/>
                  </a:lnTo>
                  <a:lnTo>
                    <a:pt x="2455497" y="240935"/>
                  </a:lnTo>
                  <a:lnTo>
                    <a:pt x="2453354" y="238792"/>
                  </a:lnTo>
                  <a:lnTo>
                    <a:pt x="2454830" y="237316"/>
                  </a:lnTo>
                  <a:lnTo>
                    <a:pt x="2452782" y="235268"/>
                  </a:lnTo>
                  <a:lnTo>
                    <a:pt x="2454259" y="233792"/>
                  </a:lnTo>
                  <a:lnTo>
                    <a:pt x="2452306" y="231839"/>
                  </a:lnTo>
                  <a:lnTo>
                    <a:pt x="2453925" y="230220"/>
                  </a:lnTo>
                  <a:lnTo>
                    <a:pt x="2452020" y="228314"/>
                  </a:lnTo>
                  <a:lnTo>
                    <a:pt x="2453829" y="226505"/>
                  </a:lnTo>
                  <a:lnTo>
                    <a:pt x="2452020" y="224695"/>
                  </a:lnTo>
                  <a:lnTo>
                    <a:pt x="2454116" y="222599"/>
                  </a:lnTo>
                  <a:lnTo>
                    <a:pt x="2452211" y="220694"/>
                  </a:lnTo>
                  <a:lnTo>
                    <a:pt x="2454734" y="218171"/>
                  </a:lnTo>
                  <a:lnTo>
                    <a:pt x="2452782" y="216218"/>
                  </a:lnTo>
                  <a:lnTo>
                    <a:pt x="2455783" y="213217"/>
                  </a:lnTo>
                  <a:lnTo>
                    <a:pt x="2453735" y="211169"/>
                  </a:lnTo>
                  <a:lnTo>
                    <a:pt x="2457259" y="207645"/>
                  </a:lnTo>
                  <a:lnTo>
                    <a:pt x="2455164" y="205550"/>
                  </a:lnTo>
                  <a:lnTo>
                    <a:pt x="2460164" y="200550"/>
                  </a:lnTo>
                  <a:lnTo>
                    <a:pt x="2458878" y="199263"/>
                  </a:lnTo>
                  <a:cubicBezTo>
                    <a:pt x="2458878" y="196882"/>
                    <a:pt x="2460783" y="194977"/>
                    <a:pt x="2463164" y="194977"/>
                  </a:cubicBezTo>
                  <a:close/>
                  <a:moveTo>
                    <a:pt x="1306829" y="193072"/>
                  </a:moveTo>
                  <a:cubicBezTo>
                    <a:pt x="1310258" y="193072"/>
                    <a:pt x="1313021" y="195834"/>
                    <a:pt x="1313021" y="199263"/>
                  </a:cubicBezTo>
                  <a:cubicBezTo>
                    <a:pt x="1313021" y="202692"/>
                    <a:pt x="1310258" y="205454"/>
                    <a:pt x="1306829" y="205454"/>
                  </a:cubicBezTo>
                  <a:cubicBezTo>
                    <a:pt x="1303400" y="205454"/>
                    <a:pt x="1300638" y="202692"/>
                    <a:pt x="1300638" y="199263"/>
                  </a:cubicBezTo>
                  <a:cubicBezTo>
                    <a:pt x="1300638" y="195834"/>
                    <a:pt x="1303400" y="193072"/>
                    <a:pt x="1306829" y="193072"/>
                  </a:cubicBezTo>
                  <a:close/>
                  <a:moveTo>
                    <a:pt x="1133951" y="193072"/>
                  </a:moveTo>
                  <a:cubicBezTo>
                    <a:pt x="1137380" y="193072"/>
                    <a:pt x="1140142" y="195834"/>
                    <a:pt x="1140142" y="199263"/>
                  </a:cubicBezTo>
                  <a:cubicBezTo>
                    <a:pt x="1140142" y="202692"/>
                    <a:pt x="1137380" y="205454"/>
                    <a:pt x="1133951" y="205454"/>
                  </a:cubicBezTo>
                  <a:cubicBezTo>
                    <a:pt x="1130522" y="205454"/>
                    <a:pt x="1127760" y="202692"/>
                    <a:pt x="1127760" y="199263"/>
                  </a:cubicBezTo>
                  <a:cubicBezTo>
                    <a:pt x="1127760" y="195834"/>
                    <a:pt x="1130522" y="193072"/>
                    <a:pt x="1133951" y="193072"/>
                  </a:cubicBezTo>
                  <a:close/>
                  <a:moveTo>
                    <a:pt x="1807558" y="192405"/>
                  </a:moveTo>
                  <a:cubicBezTo>
                    <a:pt x="1810987" y="192405"/>
                    <a:pt x="1813750" y="195167"/>
                    <a:pt x="1813750" y="198596"/>
                  </a:cubicBezTo>
                  <a:cubicBezTo>
                    <a:pt x="1813750" y="202025"/>
                    <a:pt x="1810987" y="204787"/>
                    <a:pt x="1807558" y="204787"/>
                  </a:cubicBezTo>
                  <a:cubicBezTo>
                    <a:pt x="1804129" y="204787"/>
                    <a:pt x="1801367" y="202025"/>
                    <a:pt x="1801367" y="198596"/>
                  </a:cubicBezTo>
                  <a:cubicBezTo>
                    <a:pt x="1801367" y="195167"/>
                    <a:pt x="1804129" y="192405"/>
                    <a:pt x="1807558" y="192405"/>
                  </a:cubicBezTo>
                  <a:close/>
                  <a:moveTo>
                    <a:pt x="2243137" y="191739"/>
                  </a:moveTo>
                  <a:cubicBezTo>
                    <a:pt x="2246566" y="191739"/>
                    <a:pt x="2249328" y="194501"/>
                    <a:pt x="2249328" y="197930"/>
                  </a:cubicBezTo>
                  <a:cubicBezTo>
                    <a:pt x="2249328" y="201359"/>
                    <a:pt x="2246566" y="204121"/>
                    <a:pt x="2243137" y="204121"/>
                  </a:cubicBezTo>
                  <a:cubicBezTo>
                    <a:pt x="2239708" y="204121"/>
                    <a:pt x="2236946" y="201359"/>
                    <a:pt x="2236946" y="197930"/>
                  </a:cubicBezTo>
                  <a:cubicBezTo>
                    <a:pt x="2236946" y="194501"/>
                    <a:pt x="2239708" y="191739"/>
                    <a:pt x="2243137" y="191739"/>
                  </a:cubicBezTo>
                  <a:close/>
                  <a:moveTo>
                    <a:pt x="1052893" y="191643"/>
                  </a:moveTo>
                  <a:cubicBezTo>
                    <a:pt x="1056322" y="191643"/>
                    <a:pt x="1059085" y="194405"/>
                    <a:pt x="1059085" y="197834"/>
                  </a:cubicBezTo>
                  <a:cubicBezTo>
                    <a:pt x="1059085" y="201263"/>
                    <a:pt x="1056322" y="204025"/>
                    <a:pt x="1052893" y="204025"/>
                  </a:cubicBezTo>
                  <a:cubicBezTo>
                    <a:pt x="1049464" y="204025"/>
                    <a:pt x="1046702" y="201263"/>
                    <a:pt x="1046702" y="197834"/>
                  </a:cubicBezTo>
                  <a:cubicBezTo>
                    <a:pt x="1046702" y="194405"/>
                    <a:pt x="1049464" y="191643"/>
                    <a:pt x="1052893" y="191643"/>
                  </a:cubicBezTo>
                  <a:close/>
                  <a:moveTo>
                    <a:pt x="1215294" y="190214"/>
                  </a:moveTo>
                  <a:cubicBezTo>
                    <a:pt x="1218723" y="190214"/>
                    <a:pt x="1221486" y="192976"/>
                    <a:pt x="1221486" y="196405"/>
                  </a:cubicBezTo>
                  <a:cubicBezTo>
                    <a:pt x="1221486" y="199834"/>
                    <a:pt x="1218723" y="202597"/>
                    <a:pt x="1215294" y="202597"/>
                  </a:cubicBezTo>
                  <a:cubicBezTo>
                    <a:pt x="1211865" y="202597"/>
                    <a:pt x="1209103" y="199834"/>
                    <a:pt x="1209103" y="196405"/>
                  </a:cubicBezTo>
                  <a:cubicBezTo>
                    <a:pt x="1209103" y="192976"/>
                    <a:pt x="1211865" y="190214"/>
                    <a:pt x="1215294" y="190214"/>
                  </a:cubicBezTo>
                  <a:close/>
                  <a:moveTo>
                    <a:pt x="1567243" y="190119"/>
                  </a:moveTo>
                  <a:cubicBezTo>
                    <a:pt x="1570672" y="190119"/>
                    <a:pt x="1573435" y="192881"/>
                    <a:pt x="1573435" y="196310"/>
                  </a:cubicBezTo>
                  <a:cubicBezTo>
                    <a:pt x="1573435" y="199739"/>
                    <a:pt x="1570672" y="202501"/>
                    <a:pt x="1567243" y="202501"/>
                  </a:cubicBezTo>
                  <a:cubicBezTo>
                    <a:pt x="1563814" y="202501"/>
                    <a:pt x="1561052" y="199739"/>
                    <a:pt x="1561052" y="196310"/>
                  </a:cubicBezTo>
                  <a:cubicBezTo>
                    <a:pt x="1561052" y="192881"/>
                    <a:pt x="1563814" y="190119"/>
                    <a:pt x="1567243" y="190119"/>
                  </a:cubicBezTo>
                  <a:close/>
                  <a:moveTo>
                    <a:pt x="1727739" y="188786"/>
                  </a:moveTo>
                  <a:cubicBezTo>
                    <a:pt x="1731168" y="188786"/>
                    <a:pt x="1733930" y="191548"/>
                    <a:pt x="1733930" y="194977"/>
                  </a:cubicBezTo>
                  <a:cubicBezTo>
                    <a:pt x="1733930" y="198406"/>
                    <a:pt x="1731168" y="201169"/>
                    <a:pt x="1727739" y="201169"/>
                  </a:cubicBezTo>
                  <a:cubicBezTo>
                    <a:pt x="1724310" y="201169"/>
                    <a:pt x="1721548" y="198406"/>
                    <a:pt x="1721548" y="194977"/>
                  </a:cubicBezTo>
                  <a:cubicBezTo>
                    <a:pt x="1721548" y="191548"/>
                    <a:pt x="1724310" y="188786"/>
                    <a:pt x="1727739" y="188786"/>
                  </a:cubicBezTo>
                  <a:close/>
                  <a:moveTo>
                    <a:pt x="1647443" y="187928"/>
                  </a:moveTo>
                  <a:cubicBezTo>
                    <a:pt x="1650872" y="187928"/>
                    <a:pt x="1653635" y="190690"/>
                    <a:pt x="1653635" y="194119"/>
                  </a:cubicBezTo>
                  <a:cubicBezTo>
                    <a:pt x="1653635" y="197548"/>
                    <a:pt x="1650872" y="200311"/>
                    <a:pt x="1647443" y="200311"/>
                  </a:cubicBezTo>
                  <a:cubicBezTo>
                    <a:pt x="1644014" y="200311"/>
                    <a:pt x="1641252" y="197548"/>
                    <a:pt x="1641252" y="194119"/>
                  </a:cubicBezTo>
                  <a:cubicBezTo>
                    <a:pt x="1641252" y="190690"/>
                    <a:pt x="1644014" y="187928"/>
                    <a:pt x="1647443" y="187928"/>
                  </a:cubicBezTo>
                  <a:close/>
                  <a:moveTo>
                    <a:pt x="1991296" y="187452"/>
                  </a:moveTo>
                  <a:cubicBezTo>
                    <a:pt x="1994725" y="187452"/>
                    <a:pt x="1997488" y="190214"/>
                    <a:pt x="1997488" y="193643"/>
                  </a:cubicBezTo>
                  <a:cubicBezTo>
                    <a:pt x="1997488" y="197072"/>
                    <a:pt x="1994725" y="199834"/>
                    <a:pt x="1991296" y="199834"/>
                  </a:cubicBezTo>
                  <a:cubicBezTo>
                    <a:pt x="1987867" y="199834"/>
                    <a:pt x="1985105" y="197072"/>
                    <a:pt x="1985105" y="193643"/>
                  </a:cubicBezTo>
                  <a:cubicBezTo>
                    <a:pt x="1985105" y="190214"/>
                    <a:pt x="1987867" y="187452"/>
                    <a:pt x="1991296" y="187452"/>
                  </a:cubicBezTo>
                  <a:close/>
                  <a:moveTo>
                    <a:pt x="2168937" y="185166"/>
                  </a:moveTo>
                  <a:cubicBezTo>
                    <a:pt x="2172366" y="185166"/>
                    <a:pt x="2175129" y="187928"/>
                    <a:pt x="2175129" y="191357"/>
                  </a:cubicBezTo>
                  <a:cubicBezTo>
                    <a:pt x="2175129" y="194786"/>
                    <a:pt x="2172366" y="197548"/>
                    <a:pt x="2168937" y="197548"/>
                  </a:cubicBezTo>
                  <a:cubicBezTo>
                    <a:pt x="2165508" y="197548"/>
                    <a:pt x="2162746" y="194786"/>
                    <a:pt x="2162746" y="191357"/>
                  </a:cubicBezTo>
                  <a:cubicBezTo>
                    <a:pt x="2162746" y="187928"/>
                    <a:pt x="2165508" y="185166"/>
                    <a:pt x="2168937" y="185166"/>
                  </a:cubicBezTo>
                  <a:close/>
                  <a:moveTo>
                    <a:pt x="1044797" y="184595"/>
                  </a:moveTo>
                  <a:cubicBezTo>
                    <a:pt x="1048226" y="184595"/>
                    <a:pt x="1050988" y="187357"/>
                    <a:pt x="1050988" y="190786"/>
                  </a:cubicBezTo>
                  <a:cubicBezTo>
                    <a:pt x="1050988" y="194215"/>
                    <a:pt x="1048226" y="196977"/>
                    <a:pt x="1044797" y="196977"/>
                  </a:cubicBezTo>
                  <a:cubicBezTo>
                    <a:pt x="1041368" y="196977"/>
                    <a:pt x="1038606" y="194215"/>
                    <a:pt x="1038606" y="190786"/>
                  </a:cubicBezTo>
                  <a:cubicBezTo>
                    <a:pt x="1038606" y="187357"/>
                    <a:pt x="1041368" y="184595"/>
                    <a:pt x="1044797" y="184595"/>
                  </a:cubicBezTo>
                  <a:close/>
                  <a:moveTo>
                    <a:pt x="2085212" y="183356"/>
                  </a:moveTo>
                  <a:cubicBezTo>
                    <a:pt x="2088641" y="183356"/>
                    <a:pt x="2091404" y="186118"/>
                    <a:pt x="2091404" y="189547"/>
                  </a:cubicBezTo>
                  <a:cubicBezTo>
                    <a:pt x="2091404" y="192976"/>
                    <a:pt x="2088641" y="195739"/>
                    <a:pt x="2085212" y="195739"/>
                  </a:cubicBezTo>
                  <a:cubicBezTo>
                    <a:pt x="2081783" y="195739"/>
                    <a:pt x="2079021" y="192976"/>
                    <a:pt x="2079021" y="189547"/>
                  </a:cubicBezTo>
                  <a:cubicBezTo>
                    <a:pt x="2079021" y="186118"/>
                    <a:pt x="2081783" y="183356"/>
                    <a:pt x="2085212" y="183356"/>
                  </a:cubicBezTo>
                  <a:close/>
                  <a:moveTo>
                    <a:pt x="2253424" y="182976"/>
                  </a:moveTo>
                  <a:cubicBezTo>
                    <a:pt x="2256853" y="182976"/>
                    <a:pt x="2259616" y="185738"/>
                    <a:pt x="2259616" y="189167"/>
                  </a:cubicBezTo>
                  <a:cubicBezTo>
                    <a:pt x="2259616" y="192596"/>
                    <a:pt x="2256853" y="195358"/>
                    <a:pt x="2253424" y="195358"/>
                  </a:cubicBezTo>
                  <a:cubicBezTo>
                    <a:pt x="2249995" y="195358"/>
                    <a:pt x="2247233" y="192596"/>
                    <a:pt x="2247233" y="189167"/>
                  </a:cubicBezTo>
                  <a:cubicBezTo>
                    <a:pt x="2247233" y="185738"/>
                    <a:pt x="2249995" y="182976"/>
                    <a:pt x="2253424" y="182976"/>
                  </a:cubicBezTo>
                  <a:close/>
                  <a:moveTo>
                    <a:pt x="1120806" y="182214"/>
                  </a:moveTo>
                  <a:cubicBezTo>
                    <a:pt x="1124235" y="182214"/>
                    <a:pt x="1126998" y="184976"/>
                    <a:pt x="1126998" y="188405"/>
                  </a:cubicBezTo>
                  <a:cubicBezTo>
                    <a:pt x="1126998" y="191834"/>
                    <a:pt x="1124235" y="194596"/>
                    <a:pt x="1120806" y="194596"/>
                  </a:cubicBezTo>
                  <a:cubicBezTo>
                    <a:pt x="1117377" y="194596"/>
                    <a:pt x="1114615" y="191834"/>
                    <a:pt x="1114615" y="188405"/>
                  </a:cubicBezTo>
                  <a:cubicBezTo>
                    <a:pt x="1114615" y="184976"/>
                    <a:pt x="1117377" y="182214"/>
                    <a:pt x="1120806" y="182214"/>
                  </a:cubicBezTo>
                  <a:close/>
                  <a:moveTo>
                    <a:pt x="1380648" y="181737"/>
                  </a:moveTo>
                  <a:cubicBezTo>
                    <a:pt x="1384077" y="181737"/>
                    <a:pt x="1386840" y="184499"/>
                    <a:pt x="1386840" y="187928"/>
                  </a:cubicBezTo>
                  <a:cubicBezTo>
                    <a:pt x="1386840" y="191357"/>
                    <a:pt x="1384077" y="194120"/>
                    <a:pt x="1380648" y="194120"/>
                  </a:cubicBezTo>
                  <a:cubicBezTo>
                    <a:pt x="1377219" y="194120"/>
                    <a:pt x="1374457" y="191357"/>
                    <a:pt x="1374457" y="187928"/>
                  </a:cubicBezTo>
                  <a:cubicBezTo>
                    <a:pt x="1374457" y="184499"/>
                    <a:pt x="1377219" y="181737"/>
                    <a:pt x="1380648" y="181737"/>
                  </a:cubicBezTo>
                  <a:close/>
                  <a:moveTo>
                    <a:pt x="920305" y="181356"/>
                  </a:moveTo>
                  <a:lnTo>
                    <a:pt x="921925" y="182976"/>
                  </a:lnTo>
                  <a:lnTo>
                    <a:pt x="922591" y="182309"/>
                  </a:lnTo>
                  <a:cubicBezTo>
                    <a:pt x="926020" y="182309"/>
                    <a:pt x="928783" y="185071"/>
                    <a:pt x="928783" y="188500"/>
                  </a:cubicBezTo>
                  <a:lnTo>
                    <a:pt x="927735" y="189548"/>
                  </a:lnTo>
                  <a:lnTo>
                    <a:pt x="930687" y="192500"/>
                  </a:lnTo>
                  <a:lnTo>
                    <a:pt x="929830" y="193357"/>
                  </a:lnTo>
                  <a:lnTo>
                    <a:pt x="932402" y="195929"/>
                  </a:lnTo>
                  <a:lnTo>
                    <a:pt x="931687" y="196644"/>
                  </a:lnTo>
                  <a:lnTo>
                    <a:pt x="933926" y="198882"/>
                  </a:lnTo>
                  <a:lnTo>
                    <a:pt x="933164" y="199644"/>
                  </a:lnTo>
                  <a:lnTo>
                    <a:pt x="935164" y="201644"/>
                  </a:lnTo>
                  <a:lnTo>
                    <a:pt x="934592" y="202216"/>
                  </a:lnTo>
                  <a:lnTo>
                    <a:pt x="936498" y="204121"/>
                  </a:lnTo>
                  <a:lnTo>
                    <a:pt x="935783" y="204836"/>
                  </a:lnTo>
                  <a:lnTo>
                    <a:pt x="937641" y="206693"/>
                  </a:lnTo>
                  <a:lnTo>
                    <a:pt x="937022" y="207312"/>
                  </a:lnTo>
                  <a:lnTo>
                    <a:pt x="938974" y="209264"/>
                  </a:lnTo>
                  <a:lnTo>
                    <a:pt x="938212" y="210026"/>
                  </a:lnTo>
                  <a:lnTo>
                    <a:pt x="940403" y="212217"/>
                  </a:lnTo>
                  <a:lnTo>
                    <a:pt x="939593" y="213027"/>
                  </a:lnTo>
                  <a:lnTo>
                    <a:pt x="942118" y="215551"/>
                  </a:lnTo>
                  <a:lnTo>
                    <a:pt x="941070" y="216599"/>
                  </a:lnTo>
                  <a:lnTo>
                    <a:pt x="944118" y="219646"/>
                  </a:lnTo>
                  <a:lnTo>
                    <a:pt x="942831" y="220933"/>
                  </a:lnTo>
                  <a:lnTo>
                    <a:pt x="946499" y="224600"/>
                  </a:lnTo>
                  <a:lnTo>
                    <a:pt x="944975" y="226124"/>
                  </a:lnTo>
                  <a:lnTo>
                    <a:pt x="949547" y="230695"/>
                  </a:lnTo>
                  <a:lnTo>
                    <a:pt x="947689" y="232553"/>
                  </a:lnTo>
                  <a:lnTo>
                    <a:pt x="953262" y="238125"/>
                  </a:lnTo>
                  <a:cubicBezTo>
                    <a:pt x="953262" y="241554"/>
                    <a:pt x="950499" y="244316"/>
                    <a:pt x="947070" y="244316"/>
                  </a:cubicBezTo>
                  <a:cubicBezTo>
                    <a:pt x="943641" y="244316"/>
                    <a:pt x="940879" y="241554"/>
                    <a:pt x="940879" y="238125"/>
                  </a:cubicBezTo>
                  <a:lnTo>
                    <a:pt x="942736" y="236268"/>
                  </a:lnTo>
                  <a:lnTo>
                    <a:pt x="937164" y="230695"/>
                  </a:lnTo>
                  <a:lnTo>
                    <a:pt x="938688" y="229172"/>
                  </a:lnTo>
                  <a:lnTo>
                    <a:pt x="934116" y="224600"/>
                  </a:lnTo>
                  <a:lnTo>
                    <a:pt x="935402" y="223314"/>
                  </a:lnTo>
                  <a:lnTo>
                    <a:pt x="931735" y="219646"/>
                  </a:lnTo>
                  <a:lnTo>
                    <a:pt x="932782" y="218599"/>
                  </a:lnTo>
                  <a:lnTo>
                    <a:pt x="929735" y="215551"/>
                  </a:lnTo>
                  <a:lnTo>
                    <a:pt x="930545" y="214742"/>
                  </a:lnTo>
                  <a:lnTo>
                    <a:pt x="928020" y="212217"/>
                  </a:lnTo>
                  <a:lnTo>
                    <a:pt x="928782" y="211455"/>
                  </a:lnTo>
                  <a:lnTo>
                    <a:pt x="926591" y="209264"/>
                  </a:lnTo>
                  <a:lnTo>
                    <a:pt x="927210" y="208645"/>
                  </a:lnTo>
                  <a:lnTo>
                    <a:pt x="925258" y="206693"/>
                  </a:lnTo>
                  <a:lnTo>
                    <a:pt x="925973" y="205979"/>
                  </a:lnTo>
                  <a:lnTo>
                    <a:pt x="924115" y="204121"/>
                  </a:lnTo>
                  <a:lnTo>
                    <a:pt x="924687" y="203550"/>
                  </a:lnTo>
                  <a:lnTo>
                    <a:pt x="922781" y="201644"/>
                  </a:lnTo>
                  <a:lnTo>
                    <a:pt x="923543" y="200882"/>
                  </a:lnTo>
                  <a:lnTo>
                    <a:pt x="921543" y="198882"/>
                  </a:lnTo>
                  <a:lnTo>
                    <a:pt x="922258" y="198168"/>
                  </a:lnTo>
                  <a:lnTo>
                    <a:pt x="920019" y="195929"/>
                  </a:lnTo>
                  <a:lnTo>
                    <a:pt x="920876" y="195072"/>
                  </a:lnTo>
                  <a:lnTo>
                    <a:pt x="918305" y="192500"/>
                  </a:lnTo>
                  <a:lnTo>
                    <a:pt x="919352" y="191453"/>
                  </a:lnTo>
                  <a:lnTo>
                    <a:pt x="916400" y="188500"/>
                  </a:lnTo>
                  <a:lnTo>
                    <a:pt x="919353" y="185547"/>
                  </a:lnTo>
                  <a:lnTo>
                    <a:pt x="917733" y="183928"/>
                  </a:lnTo>
                  <a:cubicBezTo>
                    <a:pt x="917733" y="182499"/>
                    <a:pt x="918876" y="181356"/>
                    <a:pt x="920305" y="181356"/>
                  </a:cubicBezTo>
                  <a:close/>
                  <a:moveTo>
                    <a:pt x="2431732" y="179547"/>
                  </a:moveTo>
                  <a:cubicBezTo>
                    <a:pt x="2435161" y="179547"/>
                    <a:pt x="2437924" y="182309"/>
                    <a:pt x="2437924" y="185738"/>
                  </a:cubicBezTo>
                  <a:lnTo>
                    <a:pt x="2433875" y="189786"/>
                  </a:lnTo>
                  <a:lnTo>
                    <a:pt x="2435542" y="191453"/>
                  </a:lnTo>
                  <a:lnTo>
                    <a:pt x="2432113" y="194881"/>
                  </a:lnTo>
                  <a:lnTo>
                    <a:pt x="2433637" y="196405"/>
                  </a:lnTo>
                  <a:lnTo>
                    <a:pt x="2430684" y="199358"/>
                  </a:lnTo>
                  <a:lnTo>
                    <a:pt x="2432018" y="200692"/>
                  </a:lnTo>
                  <a:lnTo>
                    <a:pt x="2429446" y="203264"/>
                  </a:lnTo>
                  <a:lnTo>
                    <a:pt x="2430685" y="204502"/>
                  </a:lnTo>
                  <a:lnTo>
                    <a:pt x="2428542" y="206645"/>
                  </a:lnTo>
                  <a:lnTo>
                    <a:pt x="2429732" y="207835"/>
                  </a:lnTo>
                  <a:lnTo>
                    <a:pt x="2427779" y="209788"/>
                  </a:lnTo>
                  <a:lnTo>
                    <a:pt x="2428875" y="210883"/>
                  </a:lnTo>
                  <a:lnTo>
                    <a:pt x="2427112" y="212646"/>
                  </a:lnTo>
                  <a:lnTo>
                    <a:pt x="2428207" y="213741"/>
                  </a:lnTo>
                  <a:lnTo>
                    <a:pt x="2426493" y="215455"/>
                  </a:lnTo>
                  <a:lnTo>
                    <a:pt x="2427541" y="216503"/>
                  </a:lnTo>
                  <a:lnTo>
                    <a:pt x="2425779" y="218265"/>
                  </a:lnTo>
                  <a:lnTo>
                    <a:pt x="2426970" y="219456"/>
                  </a:lnTo>
                  <a:lnTo>
                    <a:pt x="2425065" y="221361"/>
                  </a:lnTo>
                  <a:lnTo>
                    <a:pt x="2426303" y="222599"/>
                  </a:lnTo>
                  <a:lnTo>
                    <a:pt x="2423969" y="224933"/>
                  </a:lnTo>
                  <a:lnTo>
                    <a:pt x="2425351" y="226314"/>
                  </a:lnTo>
                  <a:lnTo>
                    <a:pt x="2422636" y="229029"/>
                  </a:lnTo>
                  <a:lnTo>
                    <a:pt x="2424207" y="230600"/>
                  </a:lnTo>
                  <a:lnTo>
                    <a:pt x="2420826" y="233982"/>
                  </a:lnTo>
                  <a:lnTo>
                    <a:pt x="2422684" y="235839"/>
                  </a:lnTo>
                  <a:lnTo>
                    <a:pt x="2418539" y="239983"/>
                  </a:lnTo>
                  <a:lnTo>
                    <a:pt x="2420683" y="242126"/>
                  </a:lnTo>
                  <a:lnTo>
                    <a:pt x="2415635" y="247174"/>
                  </a:lnTo>
                  <a:lnTo>
                    <a:pt x="2418111" y="249650"/>
                  </a:lnTo>
                  <a:cubicBezTo>
                    <a:pt x="2418111" y="253079"/>
                    <a:pt x="2415349" y="255842"/>
                    <a:pt x="2411920" y="255842"/>
                  </a:cubicBezTo>
                  <a:cubicBezTo>
                    <a:pt x="2408491" y="255842"/>
                    <a:pt x="2405729" y="253079"/>
                    <a:pt x="2405729" y="249650"/>
                  </a:cubicBezTo>
                  <a:lnTo>
                    <a:pt x="2410777" y="244603"/>
                  </a:lnTo>
                  <a:lnTo>
                    <a:pt x="2408300" y="242126"/>
                  </a:lnTo>
                  <a:lnTo>
                    <a:pt x="2412444" y="237982"/>
                  </a:lnTo>
                  <a:lnTo>
                    <a:pt x="2410301" y="235839"/>
                  </a:lnTo>
                  <a:lnTo>
                    <a:pt x="2413682" y="232458"/>
                  </a:lnTo>
                  <a:lnTo>
                    <a:pt x="2411825" y="230600"/>
                  </a:lnTo>
                  <a:lnTo>
                    <a:pt x="2414540" y="227886"/>
                  </a:lnTo>
                  <a:lnTo>
                    <a:pt x="2412968" y="226314"/>
                  </a:lnTo>
                  <a:lnTo>
                    <a:pt x="2415301" y="223981"/>
                  </a:lnTo>
                  <a:lnTo>
                    <a:pt x="2413920" y="222599"/>
                  </a:lnTo>
                  <a:lnTo>
                    <a:pt x="2415825" y="220694"/>
                  </a:lnTo>
                  <a:lnTo>
                    <a:pt x="2414587" y="219456"/>
                  </a:lnTo>
                  <a:lnTo>
                    <a:pt x="2416349" y="217694"/>
                  </a:lnTo>
                  <a:lnTo>
                    <a:pt x="2415158" y="216503"/>
                  </a:lnTo>
                  <a:lnTo>
                    <a:pt x="2416873" y="214789"/>
                  </a:lnTo>
                  <a:lnTo>
                    <a:pt x="2415825" y="213741"/>
                  </a:lnTo>
                  <a:lnTo>
                    <a:pt x="2417587" y="211979"/>
                  </a:lnTo>
                  <a:lnTo>
                    <a:pt x="2416492" y="210883"/>
                  </a:lnTo>
                  <a:lnTo>
                    <a:pt x="2418444" y="208931"/>
                  </a:lnTo>
                  <a:lnTo>
                    <a:pt x="2417349" y="207835"/>
                  </a:lnTo>
                  <a:lnTo>
                    <a:pt x="2419492" y="205692"/>
                  </a:lnTo>
                  <a:lnTo>
                    <a:pt x="2418302" y="204502"/>
                  </a:lnTo>
                  <a:lnTo>
                    <a:pt x="2420873" y="201931"/>
                  </a:lnTo>
                  <a:lnTo>
                    <a:pt x="2419635" y="200692"/>
                  </a:lnTo>
                  <a:lnTo>
                    <a:pt x="2422588" y="197739"/>
                  </a:lnTo>
                  <a:lnTo>
                    <a:pt x="2421254" y="196405"/>
                  </a:lnTo>
                  <a:lnTo>
                    <a:pt x="2424682" y="192977"/>
                  </a:lnTo>
                  <a:lnTo>
                    <a:pt x="2423159" y="191453"/>
                  </a:lnTo>
                  <a:lnTo>
                    <a:pt x="2427208" y="187405"/>
                  </a:lnTo>
                  <a:lnTo>
                    <a:pt x="2425541" y="185738"/>
                  </a:lnTo>
                  <a:cubicBezTo>
                    <a:pt x="2425541" y="182309"/>
                    <a:pt x="2428303" y="179547"/>
                    <a:pt x="2431732" y="179547"/>
                  </a:cubicBezTo>
                  <a:close/>
                  <a:moveTo>
                    <a:pt x="2434494" y="179166"/>
                  </a:moveTo>
                  <a:cubicBezTo>
                    <a:pt x="2434600" y="179166"/>
                    <a:pt x="2434685" y="179251"/>
                    <a:pt x="2434685" y="179356"/>
                  </a:cubicBezTo>
                  <a:cubicBezTo>
                    <a:pt x="2434685" y="179462"/>
                    <a:pt x="2434600" y="179547"/>
                    <a:pt x="2434494" y="179547"/>
                  </a:cubicBezTo>
                  <a:cubicBezTo>
                    <a:pt x="2434389" y="179547"/>
                    <a:pt x="2434304" y="179462"/>
                    <a:pt x="2434304" y="179356"/>
                  </a:cubicBezTo>
                  <a:cubicBezTo>
                    <a:pt x="2434304" y="179251"/>
                    <a:pt x="2434389" y="179166"/>
                    <a:pt x="2434494" y="179166"/>
                  </a:cubicBezTo>
                  <a:close/>
                  <a:moveTo>
                    <a:pt x="1916715" y="177356"/>
                  </a:moveTo>
                  <a:cubicBezTo>
                    <a:pt x="1920144" y="177356"/>
                    <a:pt x="1922907" y="180118"/>
                    <a:pt x="1922907" y="183547"/>
                  </a:cubicBezTo>
                  <a:cubicBezTo>
                    <a:pt x="1922907" y="186976"/>
                    <a:pt x="1920144" y="189738"/>
                    <a:pt x="1916715" y="189738"/>
                  </a:cubicBezTo>
                  <a:cubicBezTo>
                    <a:pt x="1913286" y="189738"/>
                    <a:pt x="1910524" y="186976"/>
                    <a:pt x="1910524" y="183547"/>
                  </a:cubicBezTo>
                  <a:cubicBezTo>
                    <a:pt x="1910524" y="180118"/>
                    <a:pt x="1913286" y="177356"/>
                    <a:pt x="1916715" y="177356"/>
                  </a:cubicBezTo>
                  <a:close/>
                  <a:moveTo>
                    <a:pt x="1197578" y="176594"/>
                  </a:moveTo>
                  <a:cubicBezTo>
                    <a:pt x="1201007" y="176594"/>
                    <a:pt x="1203769" y="179356"/>
                    <a:pt x="1203769" y="182785"/>
                  </a:cubicBezTo>
                  <a:cubicBezTo>
                    <a:pt x="1203769" y="186214"/>
                    <a:pt x="1201007" y="188976"/>
                    <a:pt x="1197578" y="188976"/>
                  </a:cubicBezTo>
                  <a:cubicBezTo>
                    <a:pt x="1194149" y="188976"/>
                    <a:pt x="1191387" y="186214"/>
                    <a:pt x="1191387" y="182785"/>
                  </a:cubicBezTo>
                  <a:cubicBezTo>
                    <a:pt x="1191387" y="179356"/>
                    <a:pt x="1194149" y="176594"/>
                    <a:pt x="1197578" y="176594"/>
                  </a:cubicBezTo>
                  <a:close/>
                  <a:moveTo>
                    <a:pt x="2262568" y="176022"/>
                  </a:moveTo>
                  <a:cubicBezTo>
                    <a:pt x="2265997" y="176022"/>
                    <a:pt x="2268760" y="178784"/>
                    <a:pt x="2268760" y="182213"/>
                  </a:cubicBezTo>
                  <a:cubicBezTo>
                    <a:pt x="2268760" y="185642"/>
                    <a:pt x="2265997" y="188405"/>
                    <a:pt x="2262568" y="188405"/>
                  </a:cubicBezTo>
                  <a:cubicBezTo>
                    <a:pt x="2259139" y="188405"/>
                    <a:pt x="2256377" y="185642"/>
                    <a:pt x="2256377" y="182213"/>
                  </a:cubicBezTo>
                  <a:cubicBezTo>
                    <a:pt x="2256377" y="178784"/>
                    <a:pt x="2259139" y="176022"/>
                    <a:pt x="2262568" y="176022"/>
                  </a:cubicBezTo>
                  <a:close/>
                  <a:moveTo>
                    <a:pt x="1283969" y="176022"/>
                  </a:moveTo>
                  <a:cubicBezTo>
                    <a:pt x="1287398" y="176022"/>
                    <a:pt x="1290161" y="178784"/>
                    <a:pt x="1290161" y="182213"/>
                  </a:cubicBezTo>
                  <a:cubicBezTo>
                    <a:pt x="1290161" y="185642"/>
                    <a:pt x="1287398" y="188405"/>
                    <a:pt x="1283969" y="188405"/>
                  </a:cubicBezTo>
                  <a:cubicBezTo>
                    <a:pt x="1280540" y="188405"/>
                    <a:pt x="1277778" y="185642"/>
                    <a:pt x="1277778" y="182213"/>
                  </a:cubicBezTo>
                  <a:cubicBezTo>
                    <a:pt x="1277778" y="178784"/>
                    <a:pt x="1280540" y="176022"/>
                    <a:pt x="1283969" y="176022"/>
                  </a:cubicBezTo>
                  <a:close/>
                  <a:moveTo>
                    <a:pt x="2183415" y="174213"/>
                  </a:moveTo>
                  <a:cubicBezTo>
                    <a:pt x="2186844" y="174213"/>
                    <a:pt x="2189607" y="176975"/>
                    <a:pt x="2189607" y="180404"/>
                  </a:cubicBezTo>
                  <a:cubicBezTo>
                    <a:pt x="2189607" y="183833"/>
                    <a:pt x="2186844" y="186595"/>
                    <a:pt x="2183415" y="186595"/>
                  </a:cubicBezTo>
                  <a:cubicBezTo>
                    <a:pt x="2179986" y="186595"/>
                    <a:pt x="2177224" y="183833"/>
                    <a:pt x="2177224" y="180404"/>
                  </a:cubicBezTo>
                  <a:cubicBezTo>
                    <a:pt x="2177224" y="176975"/>
                    <a:pt x="2179986" y="174213"/>
                    <a:pt x="2183415" y="174213"/>
                  </a:cubicBezTo>
                  <a:close/>
                  <a:moveTo>
                    <a:pt x="1109090" y="173355"/>
                  </a:moveTo>
                  <a:cubicBezTo>
                    <a:pt x="1112519" y="173355"/>
                    <a:pt x="1115281" y="176117"/>
                    <a:pt x="1115281" y="179546"/>
                  </a:cubicBezTo>
                  <a:cubicBezTo>
                    <a:pt x="1115281" y="182975"/>
                    <a:pt x="1112519" y="185737"/>
                    <a:pt x="1109090" y="185737"/>
                  </a:cubicBezTo>
                  <a:cubicBezTo>
                    <a:pt x="1105661" y="185737"/>
                    <a:pt x="1102899" y="182975"/>
                    <a:pt x="1102899" y="179546"/>
                  </a:cubicBezTo>
                  <a:cubicBezTo>
                    <a:pt x="1102899" y="176117"/>
                    <a:pt x="1105661" y="173355"/>
                    <a:pt x="1109090" y="173355"/>
                  </a:cubicBezTo>
                  <a:close/>
                  <a:moveTo>
                    <a:pt x="1455895" y="173069"/>
                  </a:moveTo>
                  <a:cubicBezTo>
                    <a:pt x="1459324" y="173069"/>
                    <a:pt x="1462087" y="175831"/>
                    <a:pt x="1462087" y="179260"/>
                  </a:cubicBezTo>
                  <a:cubicBezTo>
                    <a:pt x="1462087" y="182689"/>
                    <a:pt x="1459324" y="185451"/>
                    <a:pt x="1455895" y="185451"/>
                  </a:cubicBezTo>
                  <a:cubicBezTo>
                    <a:pt x="1452466" y="185451"/>
                    <a:pt x="1449704" y="182689"/>
                    <a:pt x="1449704" y="179260"/>
                  </a:cubicBezTo>
                  <a:cubicBezTo>
                    <a:pt x="1449704" y="175831"/>
                    <a:pt x="1452466" y="173069"/>
                    <a:pt x="1455895" y="173069"/>
                  </a:cubicBezTo>
                  <a:close/>
                  <a:moveTo>
                    <a:pt x="2015585" y="170212"/>
                  </a:moveTo>
                  <a:cubicBezTo>
                    <a:pt x="2019014" y="170212"/>
                    <a:pt x="2021776" y="172974"/>
                    <a:pt x="2021776" y="176403"/>
                  </a:cubicBezTo>
                  <a:cubicBezTo>
                    <a:pt x="2021776" y="179832"/>
                    <a:pt x="2019014" y="182594"/>
                    <a:pt x="2015585" y="182594"/>
                  </a:cubicBezTo>
                  <a:cubicBezTo>
                    <a:pt x="2012156" y="182594"/>
                    <a:pt x="2009394" y="179832"/>
                    <a:pt x="2009394" y="176403"/>
                  </a:cubicBezTo>
                  <a:cubicBezTo>
                    <a:pt x="2009394" y="172974"/>
                    <a:pt x="2012156" y="170212"/>
                    <a:pt x="2015585" y="170212"/>
                  </a:cubicBezTo>
                  <a:close/>
                  <a:moveTo>
                    <a:pt x="1840896" y="169831"/>
                  </a:moveTo>
                  <a:cubicBezTo>
                    <a:pt x="1844325" y="169831"/>
                    <a:pt x="1847088" y="172593"/>
                    <a:pt x="1847088" y="176022"/>
                  </a:cubicBezTo>
                  <a:cubicBezTo>
                    <a:pt x="1847088" y="179451"/>
                    <a:pt x="1844325" y="182214"/>
                    <a:pt x="1840896" y="182214"/>
                  </a:cubicBezTo>
                  <a:cubicBezTo>
                    <a:pt x="1837467" y="182214"/>
                    <a:pt x="1834705" y="179451"/>
                    <a:pt x="1834705" y="176022"/>
                  </a:cubicBezTo>
                  <a:cubicBezTo>
                    <a:pt x="1834705" y="172593"/>
                    <a:pt x="1837467" y="169831"/>
                    <a:pt x="1840896" y="169831"/>
                  </a:cubicBezTo>
                  <a:close/>
                  <a:moveTo>
                    <a:pt x="2104357" y="169545"/>
                  </a:moveTo>
                  <a:cubicBezTo>
                    <a:pt x="2107786" y="169545"/>
                    <a:pt x="2110549" y="172307"/>
                    <a:pt x="2110549" y="175736"/>
                  </a:cubicBezTo>
                  <a:cubicBezTo>
                    <a:pt x="2110549" y="179165"/>
                    <a:pt x="2107786" y="181927"/>
                    <a:pt x="2104357" y="181927"/>
                  </a:cubicBezTo>
                  <a:cubicBezTo>
                    <a:pt x="2100928" y="181927"/>
                    <a:pt x="2098166" y="179165"/>
                    <a:pt x="2098166" y="175736"/>
                  </a:cubicBezTo>
                  <a:cubicBezTo>
                    <a:pt x="2098166" y="172307"/>
                    <a:pt x="2100928" y="169545"/>
                    <a:pt x="2104357" y="169545"/>
                  </a:cubicBezTo>
                  <a:close/>
                  <a:moveTo>
                    <a:pt x="1532286" y="166878"/>
                  </a:moveTo>
                  <a:cubicBezTo>
                    <a:pt x="1535715" y="166878"/>
                    <a:pt x="1538478" y="169640"/>
                    <a:pt x="1538478" y="173069"/>
                  </a:cubicBezTo>
                  <a:cubicBezTo>
                    <a:pt x="1538478" y="176498"/>
                    <a:pt x="1535715" y="179260"/>
                    <a:pt x="1532286" y="179260"/>
                  </a:cubicBezTo>
                  <a:cubicBezTo>
                    <a:pt x="1528857" y="179260"/>
                    <a:pt x="1526095" y="176498"/>
                    <a:pt x="1526095" y="173069"/>
                  </a:cubicBezTo>
                  <a:cubicBezTo>
                    <a:pt x="1526095" y="169640"/>
                    <a:pt x="1528857" y="166878"/>
                    <a:pt x="1532286" y="166878"/>
                  </a:cubicBezTo>
                  <a:close/>
                  <a:moveTo>
                    <a:pt x="1098613" y="166402"/>
                  </a:moveTo>
                  <a:cubicBezTo>
                    <a:pt x="1102042" y="166402"/>
                    <a:pt x="1104804" y="169164"/>
                    <a:pt x="1104804" y="172593"/>
                  </a:cubicBezTo>
                  <a:cubicBezTo>
                    <a:pt x="1104804" y="176022"/>
                    <a:pt x="1102042" y="178785"/>
                    <a:pt x="1098613" y="178785"/>
                  </a:cubicBezTo>
                  <a:cubicBezTo>
                    <a:pt x="1095184" y="178785"/>
                    <a:pt x="1092422" y="176022"/>
                    <a:pt x="1092422" y="172593"/>
                  </a:cubicBezTo>
                  <a:cubicBezTo>
                    <a:pt x="1092422" y="169164"/>
                    <a:pt x="1095184" y="166402"/>
                    <a:pt x="1098613" y="166402"/>
                  </a:cubicBezTo>
                  <a:close/>
                  <a:moveTo>
                    <a:pt x="2399442" y="166307"/>
                  </a:moveTo>
                  <a:cubicBezTo>
                    <a:pt x="2402871" y="166307"/>
                    <a:pt x="2405634" y="169069"/>
                    <a:pt x="2405634" y="172498"/>
                  </a:cubicBezTo>
                  <a:lnTo>
                    <a:pt x="2401728" y="176403"/>
                  </a:lnTo>
                  <a:lnTo>
                    <a:pt x="2402776" y="177451"/>
                  </a:lnTo>
                  <a:lnTo>
                    <a:pt x="2399348" y="180880"/>
                  </a:lnTo>
                  <a:lnTo>
                    <a:pt x="2400205" y="181737"/>
                  </a:lnTo>
                  <a:lnTo>
                    <a:pt x="2397157" y="184785"/>
                  </a:lnTo>
                  <a:lnTo>
                    <a:pt x="2397824" y="185452"/>
                  </a:lnTo>
                  <a:lnTo>
                    <a:pt x="2395299" y="187977"/>
                  </a:lnTo>
                  <a:lnTo>
                    <a:pt x="2395822" y="188500"/>
                  </a:lnTo>
                  <a:lnTo>
                    <a:pt x="2393489" y="190833"/>
                  </a:lnTo>
                  <a:lnTo>
                    <a:pt x="2393918" y="191262"/>
                  </a:lnTo>
                  <a:lnTo>
                    <a:pt x="2391774" y="193405"/>
                  </a:lnTo>
                  <a:lnTo>
                    <a:pt x="2392108" y="193739"/>
                  </a:lnTo>
                  <a:lnTo>
                    <a:pt x="2390156" y="195691"/>
                  </a:lnTo>
                  <a:lnTo>
                    <a:pt x="2390394" y="195929"/>
                  </a:lnTo>
                  <a:lnTo>
                    <a:pt x="2388346" y="197977"/>
                  </a:lnTo>
                  <a:lnTo>
                    <a:pt x="2388584" y="198215"/>
                  </a:lnTo>
                  <a:lnTo>
                    <a:pt x="2386441" y="200358"/>
                  </a:lnTo>
                  <a:lnTo>
                    <a:pt x="2386679" y="200596"/>
                  </a:lnTo>
                  <a:lnTo>
                    <a:pt x="2384297" y="202978"/>
                  </a:lnTo>
                  <a:lnTo>
                    <a:pt x="2384584" y="203264"/>
                  </a:lnTo>
                  <a:lnTo>
                    <a:pt x="2381774" y="206073"/>
                  </a:lnTo>
                  <a:lnTo>
                    <a:pt x="2382203" y="206502"/>
                  </a:lnTo>
                  <a:lnTo>
                    <a:pt x="2378916" y="209788"/>
                  </a:lnTo>
                  <a:lnTo>
                    <a:pt x="2379440" y="210312"/>
                  </a:lnTo>
                  <a:lnTo>
                    <a:pt x="2375344" y="214407"/>
                  </a:lnTo>
                  <a:lnTo>
                    <a:pt x="2376107" y="215170"/>
                  </a:lnTo>
                  <a:lnTo>
                    <a:pt x="2371201" y="220075"/>
                  </a:lnTo>
                  <a:lnTo>
                    <a:pt x="2372201" y="221075"/>
                  </a:lnTo>
                  <a:lnTo>
                    <a:pt x="2366200" y="227076"/>
                  </a:lnTo>
                  <a:lnTo>
                    <a:pt x="2367534" y="228409"/>
                  </a:lnTo>
                  <a:cubicBezTo>
                    <a:pt x="2367534" y="231838"/>
                    <a:pt x="2364771" y="234601"/>
                    <a:pt x="2361342" y="234601"/>
                  </a:cubicBezTo>
                  <a:cubicBezTo>
                    <a:pt x="2357913" y="234601"/>
                    <a:pt x="2355151" y="231838"/>
                    <a:pt x="2355151" y="228409"/>
                  </a:cubicBezTo>
                  <a:lnTo>
                    <a:pt x="2361151" y="222409"/>
                  </a:lnTo>
                  <a:lnTo>
                    <a:pt x="2359818" y="221075"/>
                  </a:lnTo>
                  <a:lnTo>
                    <a:pt x="2364724" y="216170"/>
                  </a:lnTo>
                  <a:lnTo>
                    <a:pt x="2363724" y="215170"/>
                  </a:lnTo>
                  <a:lnTo>
                    <a:pt x="2367819" y="211075"/>
                  </a:lnTo>
                  <a:lnTo>
                    <a:pt x="2367057" y="210312"/>
                  </a:lnTo>
                  <a:lnTo>
                    <a:pt x="2370344" y="207026"/>
                  </a:lnTo>
                  <a:lnTo>
                    <a:pt x="2369820" y="206502"/>
                  </a:lnTo>
                  <a:lnTo>
                    <a:pt x="2372630" y="203693"/>
                  </a:lnTo>
                  <a:lnTo>
                    <a:pt x="2372201" y="203264"/>
                  </a:lnTo>
                  <a:lnTo>
                    <a:pt x="2374582" y="200883"/>
                  </a:lnTo>
                  <a:lnTo>
                    <a:pt x="2374296" y="200596"/>
                  </a:lnTo>
                  <a:lnTo>
                    <a:pt x="2376439" y="198453"/>
                  </a:lnTo>
                  <a:lnTo>
                    <a:pt x="2376201" y="198215"/>
                  </a:lnTo>
                  <a:lnTo>
                    <a:pt x="2378249" y="196167"/>
                  </a:lnTo>
                  <a:lnTo>
                    <a:pt x="2378011" y="195929"/>
                  </a:lnTo>
                  <a:lnTo>
                    <a:pt x="2379963" y="193977"/>
                  </a:lnTo>
                  <a:lnTo>
                    <a:pt x="2379725" y="193739"/>
                  </a:lnTo>
                  <a:lnTo>
                    <a:pt x="2381868" y="191596"/>
                  </a:lnTo>
                  <a:lnTo>
                    <a:pt x="2381535" y="191262"/>
                  </a:lnTo>
                  <a:lnTo>
                    <a:pt x="2383868" y="188929"/>
                  </a:lnTo>
                  <a:lnTo>
                    <a:pt x="2383440" y="188500"/>
                  </a:lnTo>
                  <a:lnTo>
                    <a:pt x="2385964" y="185976"/>
                  </a:lnTo>
                  <a:lnTo>
                    <a:pt x="2385441" y="185452"/>
                  </a:lnTo>
                  <a:lnTo>
                    <a:pt x="2388489" y="182404"/>
                  </a:lnTo>
                  <a:lnTo>
                    <a:pt x="2387822" y="181737"/>
                  </a:lnTo>
                  <a:lnTo>
                    <a:pt x="2391251" y="178308"/>
                  </a:lnTo>
                  <a:lnTo>
                    <a:pt x="2390394" y="177451"/>
                  </a:lnTo>
                  <a:lnTo>
                    <a:pt x="2394299" y="173546"/>
                  </a:lnTo>
                  <a:lnTo>
                    <a:pt x="2393251" y="172498"/>
                  </a:lnTo>
                  <a:cubicBezTo>
                    <a:pt x="2393251" y="169069"/>
                    <a:pt x="2396013" y="166307"/>
                    <a:pt x="2399442" y="166307"/>
                  </a:cubicBezTo>
                  <a:close/>
                  <a:moveTo>
                    <a:pt x="1181671" y="165450"/>
                  </a:moveTo>
                  <a:cubicBezTo>
                    <a:pt x="1185100" y="165450"/>
                    <a:pt x="1187862" y="168212"/>
                    <a:pt x="1187862" y="171641"/>
                  </a:cubicBezTo>
                  <a:cubicBezTo>
                    <a:pt x="1187862" y="175070"/>
                    <a:pt x="1185100" y="177832"/>
                    <a:pt x="1181671" y="177832"/>
                  </a:cubicBezTo>
                  <a:cubicBezTo>
                    <a:pt x="1178242" y="177832"/>
                    <a:pt x="1175480" y="175070"/>
                    <a:pt x="1175480" y="171641"/>
                  </a:cubicBezTo>
                  <a:cubicBezTo>
                    <a:pt x="1175480" y="168212"/>
                    <a:pt x="1178242" y="165450"/>
                    <a:pt x="1181671" y="165450"/>
                  </a:cubicBezTo>
                  <a:close/>
                  <a:moveTo>
                    <a:pt x="2196274" y="165354"/>
                  </a:moveTo>
                  <a:cubicBezTo>
                    <a:pt x="2199703" y="165354"/>
                    <a:pt x="2202466" y="168116"/>
                    <a:pt x="2202466" y="171545"/>
                  </a:cubicBezTo>
                  <a:cubicBezTo>
                    <a:pt x="2202466" y="174974"/>
                    <a:pt x="2199703" y="177736"/>
                    <a:pt x="2196274" y="177736"/>
                  </a:cubicBezTo>
                  <a:cubicBezTo>
                    <a:pt x="2192845" y="177736"/>
                    <a:pt x="2190083" y="174974"/>
                    <a:pt x="2190083" y="171545"/>
                  </a:cubicBezTo>
                  <a:cubicBezTo>
                    <a:pt x="2190083" y="168116"/>
                    <a:pt x="2192845" y="165354"/>
                    <a:pt x="2196274" y="165354"/>
                  </a:cubicBezTo>
                  <a:close/>
                  <a:moveTo>
                    <a:pt x="1764124" y="164973"/>
                  </a:moveTo>
                  <a:cubicBezTo>
                    <a:pt x="1767553" y="164973"/>
                    <a:pt x="1770316" y="167735"/>
                    <a:pt x="1770316" y="171164"/>
                  </a:cubicBezTo>
                  <a:cubicBezTo>
                    <a:pt x="1770316" y="174593"/>
                    <a:pt x="1767553" y="177356"/>
                    <a:pt x="1764124" y="177356"/>
                  </a:cubicBezTo>
                  <a:cubicBezTo>
                    <a:pt x="1760695" y="177356"/>
                    <a:pt x="1757933" y="174593"/>
                    <a:pt x="1757933" y="171164"/>
                  </a:cubicBezTo>
                  <a:cubicBezTo>
                    <a:pt x="1757933" y="167735"/>
                    <a:pt x="1760695" y="164973"/>
                    <a:pt x="1764124" y="164973"/>
                  </a:cubicBezTo>
                  <a:close/>
                  <a:moveTo>
                    <a:pt x="2402681" y="164402"/>
                  </a:moveTo>
                  <a:cubicBezTo>
                    <a:pt x="2403919" y="164402"/>
                    <a:pt x="2404967" y="165450"/>
                    <a:pt x="2404967" y="166688"/>
                  </a:cubicBezTo>
                  <a:cubicBezTo>
                    <a:pt x="2404967" y="167926"/>
                    <a:pt x="2403919" y="168974"/>
                    <a:pt x="2402681" y="168974"/>
                  </a:cubicBezTo>
                  <a:cubicBezTo>
                    <a:pt x="2401443" y="168974"/>
                    <a:pt x="2400395" y="167926"/>
                    <a:pt x="2400395" y="166688"/>
                  </a:cubicBezTo>
                  <a:cubicBezTo>
                    <a:pt x="2400395" y="165450"/>
                    <a:pt x="2401443" y="164402"/>
                    <a:pt x="2402681" y="164402"/>
                  </a:cubicBezTo>
                  <a:close/>
                  <a:moveTo>
                    <a:pt x="953548" y="164402"/>
                  </a:moveTo>
                  <a:cubicBezTo>
                    <a:pt x="956651" y="164402"/>
                    <a:pt x="959167" y="166918"/>
                    <a:pt x="959167" y="170022"/>
                  </a:cubicBezTo>
                  <a:lnTo>
                    <a:pt x="958929" y="170260"/>
                  </a:lnTo>
                  <a:lnTo>
                    <a:pt x="962692" y="174022"/>
                  </a:lnTo>
                  <a:lnTo>
                    <a:pt x="962359" y="174356"/>
                  </a:lnTo>
                  <a:lnTo>
                    <a:pt x="965358" y="177355"/>
                  </a:lnTo>
                  <a:lnTo>
                    <a:pt x="965215" y="177498"/>
                  </a:lnTo>
                  <a:lnTo>
                    <a:pt x="966359" y="178642"/>
                  </a:lnTo>
                  <a:lnTo>
                    <a:pt x="966501" y="178499"/>
                  </a:lnTo>
                  <a:lnTo>
                    <a:pt x="968692" y="180689"/>
                  </a:lnTo>
                  <a:lnTo>
                    <a:pt x="968882" y="180499"/>
                  </a:lnTo>
                  <a:lnTo>
                    <a:pt x="971025" y="182642"/>
                  </a:lnTo>
                  <a:lnTo>
                    <a:pt x="971263" y="182404"/>
                  </a:lnTo>
                  <a:lnTo>
                    <a:pt x="973692" y="184833"/>
                  </a:lnTo>
                  <a:lnTo>
                    <a:pt x="973930" y="184595"/>
                  </a:lnTo>
                  <a:lnTo>
                    <a:pt x="976550" y="187214"/>
                  </a:lnTo>
                  <a:lnTo>
                    <a:pt x="976788" y="186976"/>
                  </a:lnTo>
                  <a:lnTo>
                    <a:pt x="979884" y="190072"/>
                  </a:lnTo>
                  <a:lnTo>
                    <a:pt x="980026" y="189929"/>
                  </a:lnTo>
                  <a:lnTo>
                    <a:pt x="983741" y="193643"/>
                  </a:lnTo>
                  <a:lnTo>
                    <a:pt x="983741" y="193643"/>
                  </a:lnTo>
                  <a:cubicBezTo>
                    <a:pt x="987170" y="193643"/>
                    <a:pt x="989933" y="196405"/>
                    <a:pt x="989933" y="199834"/>
                  </a:cubicBezTo>
                  <a:lnTo>
                    <a:pt x="989790" y="199978"/>
                  </a:lnTo>
                  <a:lnTo>
                    <a:pt x="994219" y="204407"/>
                  </a:lnTo>
                  <a:lnTo>
                    <a:pt x="993790" y="204836"/>
                  </a:lnTo>
                  <a:lnTo>
                    <a:pt x="999172" y="210217"/>
                  </a:lnTo>
                  <a:cubicBezTo>
                    <a:pt x="999172" y="213646"/>
                    <a:pt x="996409" y="216408"/>
                    <a:pt x="992980" y="216408"/>
                  </a:cubicBezTo>
                  <a:cubicBezTo>
                    <a:pt x="989551" y="216408"/>
                    <a:pt x="986789" y="213646"/>
                    <a:pt x="986789" y="210217"/>
                  </a:cubicBezTo>
                  <a:lnTo>
                    <a:pt x="987218" y="209789"/>
                  </a:lnTo>
                  <a:lnTo>
                    <a:pt x="981837" y="204407"/>
                  </a:lnTo>
                  <a:lnTo>
                    <a:pt x="981980" y="204265"/>
                  </a:lnTo>
                  <a:lnTo>
                    <a:pt x="980026" y="202311"/>
                  </a:lnTo>
                  <a:lnTo>
                    <a:pt x="980026" y="202311"/>
                  </a:lnTo>
                  <a:lnTo>
                    <a:pt x="976931" y="199216"/>
                  </a:lnTo>
                  <a:lnTo>
                    <a:pt x="976788" y="199358"/>
                  </a:lnTo>
                  <a:lnTo>
                    <a:pt x="974169" y="196739"/>
                  </a:lnTo>
                  <a:lnTo>
                    <a:pt x="973930" y="196977"/>
                  </a:lnTo>
                  <a:lnTo>
                    <a:pt x="971502" y="194549"/>
                  </a:lnTo>
                  <a:lnTo>
                    <a:pt x="971263" y="194787"/>
                  </a:lnTo>
                  <a:lnTo>
                    <a:pt x="969120" y="192643"/>
                  </a:lnTo>
                  <a:lnTo>
                    <a:pt x="968882" y="192881"/>
                  </a:lnTo>
                  <a:lnTo>
                    <a:pt x="966692" y="190691"/>
                  </a:lnTo>
                  <a:lnTo>
                    <a:pt x="966501" y="190882"/>
                  </a:lnTo>
                  <a:lnTo>
                    <a:pt x="964262" y="188643"/>
                  </a:lnTo>
                  <a:lnTo>
                    <a:pt x="964120" y="188785"/>
                  </a:lnTo>
                  <a:lnTo>
                    <a:pt x="961739" y="186404"/>
                  </a:lnTo>
                  <a:lnTo>
                    <a:pt x="961738" y="186404"/>
                  </a:lnTo>
                  <a:cubicBezTo>
                    <a:pt x="958309" y="186404"/>
                    <a:pt x="955547" y="183642"/>
                    <a:pt x="955547" y="180213"/>
                  </a:cubicBezTo>
                  <a:lnTo>
                    <a:pt x="955690" y="180070"/>
                  </a:lnTo>
                  <a:lnTo>
                    <a:pt x="952976" y="177355"/>
                  </a:lnTo>
                  <a:lnTo>
                    <a:pt x="953309" y="177022"/>
                  </a:lnTo>
                  <a:lnTo>
                    <a:pt x="950309" y="174022"/>
                  </a:lnTo>
                  <a:lnTo>
                    <a:pt x="951119" y="173213"/>
                  </a:lnTo>
                  <a:lnTo>
                    <a:pt x="947928" y="170022"/>
                  </a:lnTo>
                  <a:cubicBezTo>
                    <a:pt x="947928" y="166918"/>
                    <a:pt x="950444" y="164402"/>
                    <a:pt x="953548" y="164402"/>
                  </a:cubicBezTo>
                  <a:close/>
                  <a:moveTo>
                    <a:pt x="1354549" y="164116"/>
                  </a:moveTo>
                  <a:cubicBezTo>
                    <a:pt x="1357978" y="164116"/>
                    <a:pt x="1360741" y="166878"/>
                    <a:pt x="1360741" y="170307"/>
                  </a:cubicBezTo>
                  <a:cubicBezTo>
                    <a:pt x="1360741" y="173736"/>
                    <a:pt x="1357978" y="176499"/>
                    <a:pt x="1354549" y="176499"/>
                  </a:cubicBezTo>
                  <a:cubicBezTo>
                    <a:pt x="1351120" y="176499"/>
                    <a:pt x="1348358" y="173736"/>
                    <a:pt x="1348358" y="170307"/>
                  </a:cubicBezTo>
                  <a:cubicBezTo>
                    <a:pt x="1348358" y="166878"/>
                    <a:pt x="1351120" y="164116"/>
                    <a:pt x="1354549" y="164116"/>
                  </a:cubicBezTo>
                  <a:close/>
                  <a:moveTo>
                    <a:pt x="1609343" y="163544"/>
                  </a:moveTo>
                  <a:cubicBezTo>
                    <a:pt x="1612772" y="163544"/>
                    <a:pt x="1615535" y="166306"/>
                    <a:pt x="1615535" y="169735"/>
                  </a:cubicBezTo>
                  <a:cubicBezTo>
                    <a:pt x="1615535" y="173164"/>
                    <a:pt x="1612772" y="175926"/>
                    <a:pt x="1609343" y="175926"/>
                  </a:cubicBezTo>
                  <a:cubicBezTo>
                    <a:pt x="1605914" y="175926"/>
                    <a:pt x="1603152" y="173164"/>
                    <a:pt x="1603152" y="169735"/>
                  </a:cubicBezTo>
                  <a:cubicBezTo>
                    <a:pt x="1603152" y="166306"/>
                    <a:pt x="1605914" y="163544"/>
                    <a:pt x="1609343" y="163544"/>
                  </a:cubicBezTo>
                  <a:close/>
                  <a:moveTo>
                    <a:pt x="1686782" y="162878"/>
                  </a:moveTo>
                  <a:cubicBezTo>
                    <a:pt x="1690211" y="162878"/>
                    <a:pt x="1692974" y="165640"/>
                    <a:pt x="1692974" y="169069"/>
                  </a:cubicBezTo>
                  <a:cubicBezTo>
                    <a:pt x="1692974" y="172498"/>
                    <a:pt x="1690211" y="175260"/>
                    <a:pt x="1686782" y="175260"/>
                  </a:cubicBezTo>
                  <a:cubicBezTo>
                    <a:pt x="1683353" y="175260"/>
                    <a:pt x="1680591" y="172498"/>
                    <a:pt x="1680591" y="169069"/>
                  </a:cubicBezTo>
                  <a:cubicBezTo>
                    <a:pt x="1680591" y="165640"/>
                    <a:pt x="1683353" y="162878"/>
                    <a:pt x="1686782" y="162878"/>
                  </a:cubicBezTo>
                  <a:close/>
                  <a:moveTo>
                    <a:pt x="1263300" y="162021"/>
                  </a:moveTo>
                  <a:cubicBezTo>
                    <a:pt x="1266729" y="162021"/>
                    <a:pt x="1269492" y="164783"/>
                    <a:pt x="1269492" y="168212"/>
                  </a:cubicBezTo>
                  <a:cubicBezTo>
                    <a:pt x="1269492" y="171641"/>
                    <a:pt x="1266729" y="174403"/>
                    <a:pt x="1263300" y="174403"/>
                  </a:cubicBezTo>
                  <a:cubicBezTo>
                    <a:pt x="1259871" y="174403"/>
                    <a:pt x="1257109" y="171641"/>
                    <a:pt x="1257109" y="168212"/>
                  </a:cubicBezTo>
                  <a:cubicBezTo>
                    <a:pt x="1257109" y="164783"/>
                    <a:pt x="1259871" y="162021"/>
                    <a:pt x="1263300" y="162021"/>
                  </a:cubicBezTo>
                  <a:close/>
                  <a:moveTo>
                    <a:pt x="1089374" y="160973"/>
                  </a:moveTo>
                  <a:cubicBezTo>
                    <a:pt x="1092803" y="160973"/>
                    <a:pt x="1095565" y="163735"/>
                    <a:pt x="1095565" y="167164"/>
                  </a:cubicBezTo>
                  <a:cubicBezTo>
                    <a:pt x="1095565" y="170593"/>
                    <a:pt x="1092803" y="173356"/>
                    <a:pt x="1089374" y="173356"/>
                  </a:cubicBezTo>
                  <a:cubicBezTo>
                    <a:pt x="1085945" y="173356"/>
                    <a:pt x="1083183" y="170593"/>
                    <a:pt x="1083183" y="167164"/>
                  </a:cubicBezTo>
                  <a:cubicBezTo>
                    <a:pt x="1083183" y="163735"/>
                    <a:pt x="1085945" y="160973"/>
                    <a:pt x="1089374" y="160973"/>
                  </a:cubicBezTo>
                  <a:close/>
                  <a:moveTo>
                    <a:pt x="1944337" y="159353"/>
                  </a:moveTo>
                  <a:cubicBezTo>
                    <a:pt x="1947766" y="159353"/>
                    <a:pt x="1950529" y="162115"/>
                    <a:pt x="1950529" y="165544"/>
                  </a:cubicBezTo>
                  <a:cubicBezTo>
                    <a:pt x="1950529" y="168973"/>
                    <a:pt x="1947766" y="171736"/>
                    <a:pt x="1944337" y="171736"/>
                  </a:cubicBezTo>
                  <a:cubicBezTo>
                    <a:pt x="1940908" y="171736"/>
                    <a:pt x="1938146" y="168973"/>
                    <a:pt x="1938146" y="165544"/>
                  </a:cubicBezTo>
                  <a:cubicBezTo>
                    <a:pt x="1938146" y="162115"/>
                    <a:pt x="1940908" y="159353"/>
                    <a:pt x="1944337" y="159353"/>
                  </a:cubicBezTo>
                  <a:close/>
                  <a:moveTo>
                    <a:pt x="2207894" y="158401"/>
                  </a:moveTo>
                  <a:cubicBezTo>
                    <a:pt x="2211323" y="158401"/>
                    <a:pt x="2214086" y="161163"/>
                    <a:pt x="2214086" y="164592"/>
                  </a:cubicBezTo>
                  <a:cubicBezTo>
                    <a:pt x="2214086" y="168021"/>
                    <a:pt x="2211323" y="170783"/>
                    <a:pt x="2207894" y="170783"/>
                  </a:cubicBezTo>
                  <a:cubicBezTo>
                    <a:pt x="2204465" y="170783"/>
                    <a:pt x="2201703" y="168021"/>
                    <a:pt x="2201703" y="164592"/>
                  </a:cubicBezTo>
                  <a:cubicBezTo>
                    <a:pt x="2201703" y="161163"/>
                    <a:pt x="2204465" y="158401"/>
                    <a:pt x="2207894" y="158401"/>
                  </a:cubicBezTo>
                  <a:close/>
                  <a:moveTo>
                    <a:pt x="2121598" y="158306"/>
                  </a:moveTo>
                  <a:cubicBezTo>
                    <a:pt x="2125027" y="158306"/>
                    <a:pt x="2127790" y="161068"/>
                    <a:pt x="2127790" y="164497"/>
                  </a:cubicBezTo>
                  <a:cubicBezTo>
                    <a:pt x="2127790" y="167926"/>
                    <a:pt x="2125027" y="170688"/>
                    <a:pt x="2121598" y="170688"/>
                  </a:cubicBezTo>
                  <a:cubicBezTo>
                    <a:pt x="2118169" y="170688"/>
                    <a:pt x="2115407" y="167926"/>
                    <a:pt x="2115407" y="164497"/>
                  </a:cubicBezTo>
                  <a:cubicBezTo>
                    <a:pt x="2115407" y="161068"/>
                    <a:pt x="2118169" y="158306"/>
                    <a:pt x="2121598" y="158306"/>
                  </a:cubicBezTo>
                  <a:close/>
                  <a:moveTo>
                    <a:pt x="1167288" y="156591"/>
                  </a:moveTo>
                  <a:cubicBezTo>
                    <a:pt x="1170717" y="156591"/>
                    <a:pt x="1173479" y="159353"/>
                    <a:pt x="1173479" y="162782"/>
                  </a:cubicBezTo>
                  <a:cubicBezTo>
                    <a:pt x="1173479" y="166211"/>
                    <a:pt x="1170717" y="168973"/>
                    <a:pt x="1167288" y="168973"/>
                  </a:cubicBezTo>
                  <a:cubicBezTo>
                    <a:pt x="1163859" y="168973"/>
                    <a:pt x="1161097" y="166211"/>
                    <a:pt x="1161097" y="162782"/>
                  </a:cubicBezTo>
                  <a:cubicBezTo>
                    <a:pt x="1161097" y="159353"/>
                    <a:pt x="1163859" y="156591"/>
                    <a:pt x="1167288" y="156591"/>
                  </a:cubicBezTo>
                  <a:close/>
                  <a:moveTo>
                    <a:pt x="2037778" y="155925"/>
                  </a:moveTo>
                  <a:cubicBezTo>
                    <a:pt x="2041207" y="155925"/>
                    <a:pt x="2043970" y="158687"/>
                    <a:pt x="2043970" y="162116"/>
                  </a:cubicBezTo>
                  <a:cubicBezTo>
                    <a:pt x="2043970" y="165545"/>
                    <a:pt x="2041207" y="168307"/>
                    <a:pt x="2037778" y="168307"/>
                  </a:cubicBezTo>
                  <a:cubicBezTo>
                    <a:pt x="2034349" y="168307"/>
                    <a:pt x="2031587" y="165545"/>
                    <a:pt x="2031587" y="162116"/>
                  </a:cubicBezTo>
                  <a:cubicBezTo>
                    <a:pt x="2031587" y="158687"/>
                    <a:pt x="2034349" y="155925"/>
                    <a:pt x="2037778" y="155925"/>
                  </a:cubicBezTo>
                  <a:close/>
                  <a:moveTo>
                    <a:pt x="1426654" y="154496"/>
                  </a:moveTo>
                  <a:cubicBezTo>
                    <a:pt x="1430083" y="154496"/>
                    <a:pt x="1432845" y="157258"/>
                    <a:pt x="1432845" y="160687"/>
                  </a:cubicBezTo>
                  <a:cubicBezTo>
                    <a:pt x="1432845" y="164116"/>
                    <a:pt x="1430083" y="166879"/>
                    <a:pt x="1426654" y="166879"/>
                  </a:cubicBezTo>
                  <a:cubicBezTo>
                    <a:pt x="1423225" y="166879"/>
                    <a:pt x="1420463" y="164116"/>
                    <a:pt x="1420463" y="160687"/>
                  </a:cubicBezTo>
                  <a:cubicBezTo>
                    <a:pt x="1420463" y="157258"/>
                    <a:pt x="1423225" y="154496"/>
                    <a:pt x="1426654" y="154496"/>
                  </a:cubicBezTo>
                  <a:close/>
                  <a:moveTo>
                    <a:pt x="2218181" y="152972"/>
                  </a:moveTo>
                  <a:cubicBezTo>
                    <a:pt x="2221610" y="152972"/>
                    <a:pt x="2224373" y="155734"/>
                    <a:pt x="2224373" y="159163"/>
                  </a:cubicBezTo>
                  <a:cubicBezTo>
                    <a:pt x="2224373" y="162592"/>
                    <a:pt x="2221610" y="165355"/>
                    <a:pt x="2218181" y="165355"/>
                  </a:cubicBezTo>
                  <a:cubicBezTo>
                    <a:pt x="2214752" y="165355"/>
                    <a:pt x="2211990" y="162592"/>
                    <a:pt x="2211990" y="159163"/>
                  </a:cubicBezTo>
                  <a:cubicBezTo>
                    <a:pt x="2211990" y="155734"/>
                    <a:pt x="2214752" y="152972"/>
                    <a:pt x="2218181" y="152972"/>
                  </a:cubicBezTo>
                  <a:close/>
                  <a:moveTo>
                    <a:pt x="983741" y="151067"/>
                  </a:moveTo>
                  <a:cubicBezTo>
                    <a:pt x="984504" y="151067"/>
                    <a:pt x="985075" y="151638"/>
                    <a:pt x="985075" y="152400"/>
                  </a:cubicBezTo>
                  <a:cubicBezTo>
                    <a:pt x="985075" y="153162"/>
                    <a:pt x="984504" y="153734"/>
                    <a:pt x="983741" y="153734"/>
                  </a:cubicBezTo>
                  <a:cubicBezTo>
                    <a:pt x="982979" y="153734"/>
                    <a:pt x="982408" y="153162"/>
                    <a:pt x="982408" y="152400"/>
                  </a:cubicBezTo>
                  <a:cubicBezTo>
                    <a:pt x="982408" y="151638"/>
                    <a:pt x="982979" y="151067"/>
                    <a:pt x="983741" y="151067"/>
                  </a:cubicBezTo>
                  <a:close/>
                  <a:moveTo>
                    <a:pt x="1871566" y="150876"/>
                  </a:moveTo>
                  <a:cubicBezTo>
                    <a:pt x="1874995" y="150876"/>
                    <a:pt x="1877758" y="153638"/>
                    <a:pt x="1877758" y="157067"/>
                  </a:cubicBezTo>
                  <a:cubicBezTo>
                    <a:pt x="1877758" y="160496"/>
                    <a:pt x="1874995" y="163258"/>
                    <a:pt x="1871566" y="163258"/>
                  </a:cubicBezTo>
                  <a:cubicBezTo>
                    <a:pt x="1868137" y="163258"/>
                    <a:pt x="1865375" y="160496"/>
                    <a:pt x="1865375" y="157067"/>
                  </a:cubicBezTo>
                  <a:cubicBezTo>
                    <a:pt x="1865375" y="153638"/>
                    <a:pt x="1868137" y="150876"/>
                    <a:pt x="1871566" y="150876"/>
                  </a:cubicBezTo>
                  <a:close/>
                  <a:moveTo>
                    <a:pt x="1244441" y="150591"/>
                  </a:moveTo>
                  <a:cubicBezTo>
                    <a:pt x="1247870" y="150591"/>
                    <a:pt x="1250633" y="153353"/>
                    <a:pt x="1250633" y="156782"/>
                  </a:cubicBezTo>
                  <a:cubicBezTo>
                    <a:pt x="1250633" y="160211"/>
                    <a:pt x="1247870" y="162974"/>
                    <a:pt x="1244441" y="162974"/>
                  </a:cubicBezTo>
                  <a:cubicBezTo>
                    <a:pt x="1241012" y="162974"/>
                    <a:pt x="1238250" y="160211"/>
                    <a:pt x="1238250" y="156782"/>
                  </a:cubicBezTo>
                  <a:cubicBezTo>
                    <a:pt x="1238250" y="153353"/>
                    <a:pt x="1241012" y="150591"/>
                    <a:pt x="1244441" y="150591"/>
                  </a:cubicBezTo>
                  <a:close/>
                  <a:moveTo>
                    <a:pt x="987647" y="150305"/>
                  </a:moveTo>
                  <a:lnTo>
                    <a:pt x="991171" y="153829"/>
                  </a:lnTo>
                  <a:lnTo>
                    <a:pt x="991361" y="153639"/>
                  </a:lnTo>
                  <a:lnTo>
                    <a:pt x="994505" y="156782"/>
                  </a:lnTo>
                  <a:lnTo>
                    <a:pt x="994886" y="156401"/>
                  </a:lnTo>
                  <a:lnTo>
                    <a:pt x="997696" y="159211"/>
                  </a:lnTo>
                  <a:lnTo>
                    <a:pt x="998315" y="158591"/>
                  </a:lnTo>
                  <a:lnTo>
                    <a:pt x="1000982" y="161258"/>
                  </a:lnTo>
                  <a:lnTo>
                    <a:pt x="1001743" y="160497"/>
                  </a:lnTo>
                  <a:lnTo>
                    <a:pt x="1004220" y="162973"/>
                  </a:lnTo>
                  <a:lnTo>
                    <a:pt x="1005172" y="162021"/>
                  </a:lnTo>
                  <a:lnTo>
                    <a:pt x="1007744" y="164592"/>
                  </a:lnTo>
                  <a:lnTo>
                    <a:pt x="1008792" y="163544"/>
                  </a:lnTo>
                  <a:lnTo>
                    <a:pt x="1011364" y="166116"/>
                  </a:lnTo>
                  <a:lnTo>
                    <a:pt x="1012507" y="164973"/>
                  </a:lnTo>
                  <a:lnTo>
                    <a:pt x="1015413" y="167879"/>
                  </a:lnTo>
                  <a:lnTo>
                    <a:pt x="1016603" y="166688"/>
                  </a:lnTo>
                  <a:lnTo>
                    <a:pt x="1019794" y="169879"/>
                  </a:lnTo>
                  <a:lnTo>
                    <a:pt x="1020984" y="168688"/>
                  </a:lnTo>
                  <a:lnTo>
                    <a:pt x="1024794" y="172498"/>
                  </a:lnTo>
                  <a:lnTo>
                    <a:pt x="1025937" y="171355"/>
                  </a:lnTo>
                  <a:lnTo>
                    <a:pt x="1030366" y="175784"/>
                  </a:lnTo>
                  <a:lnTo>
                    <a:pt x="1031461" y="174689"/>
                  </a:lnTo>
                  <a:lnTo>
                    <a:pt x="1036795" y="180023"/>
                  </a:lnTo>
                  <a:lnTo>
                    <a:pt x="1037748" y="179070"/>
                  </a:lnTo>
                  <a:cubicBezTo>
                    <a:pt x="1041177" y="179070"/>
                    <a:pt x="1043939" y="181832"/>
                    <a:pt x="1043939" y="185261"/>
                  </a:cubicBezTo>
                  <a:cubicBezTo>
                    <a:pt x="1043939" y="188690"/>
                    <a:pt x="1041177" y="191452"/>
                    <a:pt x="1037748" y="191452"/>
                  </a:cubicBezTo>
                  <a:lnTo>
                    <a:pt x="1032414" y="186118"/>
                  </a:lnTo>
                  <a:lnTo>
                    <a:pt x="1031461" y="187071"/>
                  </a:lnTo>
                  <a:lnTo>
                    <a:pt x="1027033" y="182643"/>
                  </a:lnTo>
                  <a:lnTo>
                    <a:pt x="1025937" y="183738"/>
                  </a:lnTo>
                  <a:lnTo>
                    <a:pt x="1022127" y="179927"/>
                  </a:lnTo>
                  <a:lnTo>
                    <a:pt x="1020984" y="181070"/>
                  </a:lnTo>
                  <a:lnTo>
                    <a:pt x="1017794" y="177880"/>
                  </a:lnTo>
                  <a:lnTo>
                    <a:pt x="1016603" y="179071"/>
                  </a:lnTo>
                  <a:lnTo>
                    <a:pt x="1013698" y="176165"/>
                  </a:lnTo>
                  <a:lnTo>
                    <a:pt x="1012507" y="177356"/>
                  </a:lnTo>
                  <a:lnTo>
                    <a:pt x="1009935" y="174783"/>
                  </a:lnTo>
                  <a:lnTo>
                    <a:pt x="1008792" y="175926"/>
                  </a:lnTo>
                  <a:lnTo>
                    <a:pt x="1006221" y="173355"/>
                  </a:lnTo>
                  <a:lnTo>
                    <a:pt x="1005172" y="174403"/>
                  </a:lnTo>
                  <a:lnTo>
                    <a:pt x="1002696" y="171927"/>
                  </a:lnTo>
                  <a:lnTo>
                    <a:pt x="1001743" y="172879"/>
                  </a:lnTo>
                  <a:lnTo>
                    <a:pt x="999076" y="170213"/>
                  </a:lnTo>
                  <a:lnTo>
                    <a:pt x="998315" y="170974"/>
                  </a:lnTo>
                  <a:lnTo>
                    <a:pt x="995505" y="168164"/>
                  </a:lnTo>
                  <a:lnTo>
                    <a:pt x="994886" y="168783"/>
                  </a:lnTo>
                  <a:lnTo>
                    <a:pt x="991743" y="165640"/>
                  </a:lnTo>
                  <a:lnTo>
                    <a:pt x="991361" y="166021"/>
                  </a:lnTo>
                  <a:lnTo>
                    <a:pt x="987837" y="162497"/>
                  </a:lnTo>
                  <a:lnTo>
                    <a:pt x="987647" y="162687"/>
                  </a:lnTo>
                  <a:cubicBezTo>
                    <a:pt x="984218" y="162687"/>
                    <a:pt x="981456" y="159925"/>
                    <a:pt x="981456" y="156496"/>
                  </a:cubicBezTo>
                  <a:cubicBezTo>
                    <a:pt x="981456" y="153067"/>
                    <a:pt x="984218" y="150305"/>
                    <a:pt x="987647" y="150305"/>
                  </a:cubicBezTo>
                  <a:close/>
                  <a:moveTo>
                    <a:pt x="1154429" y="149543"/>
                  </a:moveTo>
                  <a:cubicBezTo>
                    <a:pt x="1157858" y="149543"/>
                    <a:pt x="1160620" y="152305"/>
                    <a:pt x="1160620" y="155734"/>
                  </a:cubicBezTo>
                  <a:cubicBezTo>
                    <a:pt x="1160620" y="159163"/>
                    <a:pt x="1157858" y="161926"/>
                    <a:pt x="1154429" y="161926"/>
                  </a:cubicBezTo>
                  <a:cubicBezTo>
                    <a:pt x="1151000" y="161926"/>
                    <a:pt x="1148238" y="159163"/>
                    <a:pt x="1148238" y="155734"/>
                  </a:cubicBezTo>
                  <a:cubicBezTo>
                    <a:pt x="1148238" y="152305"/>
                    <a:pt x="1151000" y="149543"/>
                    <a:pt x="1154429" y="149543"/>
                  </a:cubicBezTo>
                  <a:close/>
                  <a:moveTo>
                    <a:pt x="1330737" y="149448"/>
                  </a:moveTo>
                  <a:cubicBezTo>
                    <a:pt x="1334166" y="149448"/>
                    <a:pt x="1336929" y="152210"/>
                    <a:pt x="1336929" y="155639"/>
                  </a:cubicBezTo>
                  <a:cubicBezTo>
                    <a:pt x="1336929" y="159068"/>
                    <a:pt x="1334166" y="161830"/>
                    <a:pt x="1330737" y="161830"/>
                  </a:cubicBezTo>
                  <a:cubicBezTo>
                    <a:pt x="1327308" y="161830"/>
                    <a:pt x="1324546" y="159068"/>
                    <a:pt x="1324546" y="155639"/>
                  </a:cubicBezTo>
                  <a:cubicBezTo>
                    <a:pt x="1324546" y="152210"/>
                    <a:pt x="1327308" y="149448"/>
                    <a:pt x="1330737" y="149448"/>
                  </a:cubicBezTo>
                  <a:close/>
                  <a:moveTo>
                    <a:pt x="2370296" y="149257"/>
                  </a:moveTo>
                  <a:cubicBezTo>
                    <a:pt x="2372963" y="149257"/>
                    <a:pt x="2375154" y="151448"/>
                    <a:pt x="2375154" y="154115"/>
                  </a:cubicBezTo>
                  <a:lnTo>
                    <a:pt x="2371297" y="157972"/>
                  </a:lnTo>
                  <a:lnTo>
                    <a:pt x="2372678" y="159353"/>
                  </a:lnTo>
                  <a:lnTo>
                    <a:pt x="2368677" y="163354"/>
                  </a:lnTo>
                  <a:lnTo>
                    <a:pt x="2369058" y="163735"/>
                  </a:lnTo>
                  <a:lnTo>
                    <a:pt x="2365629" y="167163"/>
                  </a:lnTo>
                  <a:lnTo>
                    <a:pt x="2365820" y="167354"/>
                  </a:lnTo>
                  <a:cubicBezTo>
                    <a:pt x="2365820" y="170783"/>
                    <a:pt x="2363057" y="173545"/>
                    <a:pt x="2359628" y="173545"/>
                  </a:cubicBezTo>
                  <a:lnTo>
                    <a:pt x="2356484" y="176689"/>
                  </a:lnTo>
                  <a:lnTo>
                    <a:pt x="2356294" y="176499"/>
                  </a:lnTo>
                  <a:lnTo>
                    <a:pt x="2353627" y="179165"/>
                  </a:lnTo>
                  <a:lnTo>
                    <a:pt x="2353247" y="178785"/>
                  </a:lnTo>
                  <a:lnTo>
                    <a:pt x="2350674" y="181357"/>
                  </a:lnTo>
                  <a:lnTo>
                    <a:pt x="2350198" y="180881"/>
                  </a:lnTo>
                  <a:lnTo>
                    <a:pt x="2347912" y="183166"/>
                  </a:lnTo>
                  <a:lnTo>
                    <a:pt x="2347293" y="182547"/>
                  </a:lnTo>
                  <a:lnTo>
                    <a:pt x="2344959" y="184880"/>
                  </a:lnTo>
                  <a:lnTo>
                    <a:pt x="2344293" y="184214"/>
                  </a:lnTo>
                  <a:lnTo>
                    <a:pt x="2341911" y="186595"/>
                  </a:lnTo>
                  <a:lnTo>
                    <a:pt x="2341244" y="185928"/>
                  </a:lnTo>
                  <a:lnTo>
                    <a:pt x="2338673" y="188500"/>
                  </a:lnTo>
                  <a:lnTo>
                    <a:pt x="2338006" y="187833"/>
                  </a:lnTo>
                  <a:lnTo>
                    <a:pt x="2335053" y="190786"/>
                  </a:lnTo>
                  <a:lnTo>
                    <a:pt x="2334434" y="190167"/>
                  </a:lnTo>
                  <a:lnTo>
                    <a:pt x="2331053" y="193548"/>
                  </a:lnTo>
                  <a:lnTo>
                    <a:pt x="2330529" y="193024"/>
                  </a:lnTo>
                  <a:lnTo>
                    <a:pt x="2326481" y="197073"/>
                  </a:lnTo>
                  <a:lnTo>
                    <a:pt x="2326147" y="196739"/>
                  </a:lnTo>
                  <a:lnTo>
                    <a:pt x="2321337" y="201549"/>
                  </a:lnTo>
                  <a:lnTo>
                    <a:pt x="2321194" y="201407"/>
                  </a:lnTo>
                  <a:lnTo>
                    <a:pt x="2315336" y="207264"/>
                  </a:lnTo>
                  <a:cubicBezTo>
                    <a:pt x="2311907" y="207264"/>
                    <a:pt x="2309145" y="204502"/>
                    <a:pt x="2309145" y="201073"/>
                  </a:cubicBezTo>
                  <a:cubicBezTo>
                    <a:pt x="2309145" y="197644"/>
                    <a:pt x="2311907" y="194882"/>
                    <a:pt x="2315336" y="194882"/>
                  </a:cubicBezTo>
                  <a:lnTo>
                    <a:pt x="2315479" y="195025"/>
                  </a:lnTo>
                  <a:lnTo>
                    <a:pt x="2321337" y="189167"/>
                  </a:lnTo>
                  <a:lnTo>
                    <a:pt x="2321671" y="189501"/>
                  </a:lnTo>
                  <a:lnTo>
                    <a:pt x="2326481" y="184690"/>
                  </a:lnTo>
                  <a:lnTo>
                    <a:pt x="2327005" y="185214"/>
                  </a:lnTo>
                  <a:lnTo>
                    <a:pt x="2331053" y="181166"/>
                  </a:lnTo>
                  <a:lnTo>
                    <a:pt x="2331672" y="181785"/>
                  </a:lnTo>
                  <a:lnTo>
                    <a:pt x="2335053" y="178403"/>
                  </a:lnTo>
                  <a:lnTo>
                    <a:pt x="2335720" y="179070"/>
                  </a:lnTo>
                  <a:lnTo>
                    <a:pt x="2338673" y="176117"/>
                  </a:lnTo>
                  <a:lnTo>
                    <a:pt x="2339340" y="176784"/>
                  </a:lnTo>
                  <a:lnTo>
                    <a:pt x="2341911" y="174213"/>
                  </a:lnTo>
                  <a:lnTo>
                    <a:pt x="2342578" y="174880"/>
                  </a:lnTo>
                  <a:lnTo>
                    <a:pt x="2344959" y="172498"/>
                  </a:lnTo>
                  <a:lnTo>
                    <a:pt x="2345579" y="173118"/>
                  </a:lnTo>
                  <a:lnTo>
                    <a:pt x="2347912" y="170784"/>
                  </a:lnTo>
                  <a:lnTo>
                    <a:pt x="2348388" y="171260"/>
                  </a:lnTo>
                  <a:lnTo>
                    <a:pt x="2350674" y="168974"/>
                  </a:lnTo>
                  <a:lnTo>
                    <a:pt x="2351055" y="169355"/>
                  </a:lnTo>
                  <a:lnTo>
                    <a:pt x="2353627" y="166783"/>
                  </a:lnTo>
                  <a:lnTo>
                    <a:pt x="2353817" y="166973"/>
                  </a:lnTo>
                  <a:lnTo>
                    <a:pt x="2356484" y="164306"/>
                  </a:lnTo>
                  <a:lnTo>
                    <a:pt x="2356485" y="164307"/>
                  </a:lnTo>
                  <a:lnTo>
                    <a:pt x="2356866" y="163926"/>
                  </a:lnTo>
                  <a:lnTo>
                    <a:pt x="2356675" y="163735"/>
                  </a:lnTo>
                  <a:lnTo>
                    <a:pt x="2360676" y="159734"/>
                  </a:lnTo>
                  <a:lnTo>
                    <a:pt x="2360295" y="159353"/>
                  </a:lnTo>
                  <a:lnTo>
                    <a:pt x="2365485" y="154163"/>
                  </a:lnTo>
                  <a:lnTo>
                    <a:pt x="2365438" y="154115"/>
                  </a:lnTo>
                  <a:cubicBezTo>
                    <a:pt x="2365438" y="151448"/>
                    <a:pt x="2367629" y="149257"/>
                    <a:pt x="2370296" y="149257"/>
                  </a:cubicBezTo>
                  <a:close/>
                  <a:moveTo>
                    <a:pt x="2137124" y="149257"/>
                  </a:moveTo>
                  <a:cubicBezTo>
                    <a:pt x="2140553" y="149257"/>
                    <a:pt x="2143316" y="152019"/>
                    <a:pt x="2143316" y="155448"/>
                  </a:cubicBezTo>
                  <a:cubicBezTo>
                    <a:pt x="2143316" y="158877"/>
                    <a:pt x="2140553" y="161639"/>
                    <a:pt x="2137124" y="161639"/>
                  </a:cubicBezTo>
                  <a:cubicBezTo>
                    <a:pt x="2133695" y="161639"/>
                    <a:pt x="2130933" y="158877"/>
                    <a:pt x="2130933" y="155448"/>
                  </a:cubicBezTo>
                  <a:cubicBezTo>
                    <a:pt x="2130933" y="152019"/>
                    <a:pt x="2133695" y="149257"/>
                    <a:pt x="2137124" y="149257"/>
                  </a:cubicBezTo>
                  <a:close/>
                  <a:moveTo>
                    <a:pt x="1499901" y="147352"/>
                  </a:moveTo>
                  <a:cubicBezTo>
                    <a:pt x="1503330" y="147352"/>
                    <a:pt x="1506092" y="150114"/>
                    <a:pt x="1506092" y="153543"/>
                  </a:cubicBezTo>
                  <a:cubicBezTo>
                    <a:pt x="1506092" y="156972"/>
                    <a:pt x="1503330" y="159735"/>
                    <a:pt x="1499901" y="159735"/>
                  </a:cubicBezTo>
                  <a:cubicBezTo>
                    <a:pt x="1496472" y="159735"/>
                    <a:pt x="1493710" y="156972"/>
                    <a:pt x="1493710" y="153543"/>
                  </a:cubicBezTo>
                  <a:cubicBezTo>
                    <a:pt x="1493710" y="150114"/>
                    <a:pt x="1496472" y="147352"/>
                    <a:pt x="1499901" y="147352"/>
                  </a:cubicBezTo>
                  <a:close/>
                  <a:moveTo>
                    <a:pt x="1797843" y="144971"/>
                  </a:moveTo>
                  <a:cubicBezTo>
                    <a:pt x="1801272" y="144971"/>
                    <a:pt x="1804034" y="147733"/>
                    <a:pt x="1804034" y="151162"/>
                  </a:cubicBezTo>
                  <a:cubicBezTo>
                    <a:pt x="1804034" y="154591"/>
                    <a:pt x="1801272" y="157354"/>
                    <a:pt x="1797843" y="157354"/>
                  </a:cubicBezTo>
                  <a:cubicBezTo>
                    <a:pt x="1794414" y="157354"/>
                    <a:pt x="1791652" y="154591"/>
                    <a:pt x="1791652" y="151162"/>
                  </a:cubicBezTo>
                  <a:cubicBezTo>
                    <a:pt x="1791652" y="147733"/>
                    <a:pt x="1794414" y="144971"/>
                    <a:pt x="1797843" y="144971"/>
                  </a:cubicBezTo>
                  <a:close/>
                  <a:moveTo>
                    <a:pt x="1969483" y="144399"/>
                  </a:moveTo>
                  <a:cubicBezTo>
                    <a:pt x="1972912" y="144399"/>
                    <a:pt x="1975675" y="147161"/>
                    <a:pt x="1975675" y="150590"/>
                  </a:cubicBezTo>
                  <a:cubicBezTo>
                    <a:pt x="1975675" y="154019"/>
                    <a:pt x="1972912" y="156782"/>
                    <a:pt x="1969483" y="156782"/>
                  </a:cubicBezTo>
                  <a:cubicBezTo>
                    <a:pt x="1966054" y="156782"/>
                    <a:pt x="1963292" y="154019"/>
                    <a:pt x="1963292" y="150590"/>
                  </a:cubicBezTo>
                  <a:cubicBezTo>
                    <a:pt x="1963292" y="147161"/>
                    <a:pt x="1966054" y="144399"/>
                    <a:pt x="1969483" y="144399"/>
                  </a:cubicBezTo>
                  <a:close/>
                  <a:moveTo>
                    <a:pt x="2057875" y="144304"/>
                  </a:moveTo>
                  <a:cubicBezTo>
                    <a:pt x="2061304" y="144304"/>
                    <a:pt x="2064067" y="147066"/>
                    <a:pt x="2064067" y="150495"/>
                  </a:cubicBezTo>
                  <a:cubicBezTo>
                    <a:pt x="2064067" y="153924"/>
                    <a:pt x="2061304" y="156687"/>
                    <a:pt x="2057875" y="156687"/>
                  </a:cubicBezTo>
                  <a:cubicBezTo>
                    <a:pt x="2054446" y="156687"/>
                    <a:pt x="2051684" y="153924"/>
                    <a:pt x="2051684" y="150495"/>
                  </a:cubicBezTo>
                  <a:cubicBezTo>
                    <a:pt x="2051684" y="147066"/>
                    <a:pt x="2054446" y="144304"/>
                    <a:pt x="2057875" y="144304"/>
                  </a:cubicBezTo>
                  <a:close/>
                  <a:moveTo>
                    <a:pt x="1142809" y="144113"/>
                  </a:moveTo>
                  <a:cubicBezTo>
                    <a:pt x="1146238" y="144113"/>
                    <a:pt x="1149000" y="146875"/>
                    <a:pt x="1149000" y="150304"/>
                  </a:cubicBezTo>
                  <a:cubicBezTo>
                    <a:pt x="1149000" y="153733"/>
                    <a:pt x="1146238" y="156496"/>
                    <a:pt x="1142809" y="156496"/>
                  </a:cubicBezTo>
                  <a:cubicBezTo>
                    <a:pt x="1139380" y="156496"/>
                    <a:pt x="1136618" y="153733"/>
                    <a:pt x="1136618" y="150304"/>
                  </a:cubicBezTo>
                  <a:cubicBezTo>
                    <a:pt x="1136618" y="146875"/>
                    <a:pt x="1139380" y="144113"/>
                    <a:pt x="1142809" y="144113"/>
                  </a:cubicBezTo>
                  <a:close/>
                  <a:moveTo>
                    <a:pt x="1574101" y="142780"/>
                  </a:moveTo>
                  <a:cubicBezTo>
                    <a:pt x="1577530" y="142780"/>
                    <a:pt x="1580293" y="145542"/>
                    <a:pt x="1580293" y="148971"/>
                  </a:cubicBezTo>
                  <a:cubicBezTo>
                    <a:pt x="1580293" y="152400"/>
                    <a:pt x="1577530" y="155163"/>
                    <a:pt x="1574101" y="155163"/>
                  </a:cubicBezTo>
                  <a:cubicBezTo>
                    <a:pt x="1570672" y="155163"/>
                    <a:pt x="1567910" y="152400"/>
                    <a:pt x="1567910" y="148971"/>
                  </a:cubicBezTo>
                  <a:cubicBezTo>
                    <a:pt x="1567910" y="145542"/>
                    <a:pt x="1570672" y="142780"/>
                    <a:pt x="1574101" y="142780"/>
                  </a:cubicBezTo>
                  <a:close/>
                  <a:moveTo>
                    <a:pt x="2151220" y="142209"/>
                  </a:moveTo>
                  <a:cubicBezTo>
                    <a:pt x="2154649" y="142209"/>
                    <a:pt x="2157412" y="144971"/>
                    <a:pt x="2157412" y="148400"/>
                  </a:cubicBezTo>
                  <a:cubicBezTo>
                    <a:pt x="2157412" y="151829"/>
                    <a:pt x="2154649" y="154591"/>
                    <a:pt x="2151220" y="154591"/>
                  </a:cubicBezTo>
                  <a:cubicBezTo>
                    <a:pt x="2147791" y="154591"/>
                    <a:pt x="2145029" y="151829"/>
                    <a:pt x="2145029" y="148400"/>
                  </a:cubicBezTo>
                  <a:cubicBezTo>
                    <a:pt x="2145029" y="144971"/>
                    <a:pt x="2147791" y="142209"/>
                    <a:pt x="2151220" y="142209"/>
                  </a:cubicBezTo>
                  <a:close/>
                  <a:moveTo>
                    <a:pt x="1723453" y="141542"/>
                  </a:moveTo>
                  <a:cubicBezTo>
                    <a:pt x="1726882" y="141542"/>
                    <a:pt x="1729645" y="144304"/>
                    <a:pt x="1729645" y="147733"/>
                  </a:cubicBezTo>
                  <a:cubicBezTo>
                    <a:pt x="1729645" y="151162"/>
                    <a:pt x="1726882" y="153924"/>
                    <a:pt x="1723453" y="153924"/>
                  </a:cubicBezTo>
                  <a:cubicBezTo>
                    <a:pt x="1720024" y="153924"/>
                    <a:pt x="1717262" y="151162"/>
                    <a:pt x="1717262" y="147733"/>
                  </a:cubicBezTo>
                  <a:cubicBezTo>
                    <a:pt x="1717262" y="144304"/>
                    <a:pt x="1720024" y="141542"/>
                    <a:pt x="1723453" y="141542"/>
                  </a:cubicBezTo>
                  <a:close/>
                  <a:moveTo>
                    <a:pt x="1227486" y="141351"/>
                  </a:moveTo>
                  <a:cubicBezTo>
                    <a:pt x="1230915" y="141351"/>
                    <a:pt x="1233678" y="144113"/>
                    <a:pt x="1233678" y="147542"/>
                  </a:cubicBezTo>
                  <a:cubicBezTo>
                    <a:pt x="1233678" y="150971"/>
                    <a:pt x="1230915" y="153733"/>
                    <a:pt x="1227486" y="153733"/>
                  </a:cubicBezTo>
                  <a:cubicBezTo>
                    <a:pt x="1224057" y="153733"/>
                    <a:pt x="1221295" y="150971"/>
                    <a:pt x="1221295" y="147542"/>
                  </a:cubicBezTo>
                  <a:cubicBezTo>
                    <a:pt x="1221295" y="144113"/>
                    <a:pt x="1224057" y="141351"/>
                    <a:pt x="1227486" y="141351"/>
                  </a:cubicBezTo>
                  <a:close/>
                  <a:moveTo>
                    <a:pt x="1648682" y="140875"/>
                  </a:moveTo>
                  <a:cubicBezTo>
                    <a:pt x="1652111" y="140875"/>
                    <a:pt x="1654874" y="143637"/>
                    <a:pt x="1654874" y="147066"/>
                  </a:cubicBezTo>
                  <a:cubicBezTo>
                    <a:pt x="1654874" y="150495"/>
                    <a:pt x="1652111" y="153258"/>
                    <a:pt x="1648682" y="153258"/>
                  </a:cubicBezTo>
                  <a:cubicBezTo>
                    <a:pt x="1645253" y="153258"/>
                    <a:pt x="1642491" y="150495"/>
                    <a:pt x="1642491" y="147066"/>
                  </a:cubicBezTo>
                  <a:cubicBezTo>
                    <a:pt x="1642491" y="143637"/>
                    <a:pt x="1645253" y="140875"/>
                    <a:pt x="1648682" y="140875"/>
                  </a:cubicBezTo>
                  <a:close/>
                  <a:moveTo>
                    <a:pt x="1132331" y="140018"/>
                  </a:moveTo>
                  <a:cubicBezTo>
                    <a:pt x="1135760" y="140018"/>
                    <a:pt x="1138522" y="142780"/>
                    <a:pt x="1138522" y="146209"/>
                  </a:cubicBezTo>
                  <a:cubicBezTo>
                    <a:pt x="1138522" y="149638"/>
                    <a:pt x="1135760" y="152401"/>
                    <a:pt x="1132331" y="152401"/>
                  </a:cubicBezTo>
                  <a:cubicBezTo>
                    <a:pt x="1128902" y="152401"/>
                    <a:pt x="1126140" y="149638"/>
                    <a:pt x="1126140" y="146209"/>
                  </a:cubicBezTo>
                  <a:cubicBezTo>
                    <a:pt x="1126140" y="142780"/>
                    <a:pt x="1128902" y="140018"/>
                    <a:pt x="1132331" y="140018"/>
                  </a:cubicBezTo>
                  <a:close/>
                  <a:moveTo>
                    <a:pt x="1399793" y="139161"/>
                  </a:moveTo>
                  <a:cubicBezTo>
                    <a:pt x="1403222" y="139161"/>
                    <a:pt x="1405985" y="141923"/>
                    <a:pt x="1405985" y="145352"/>
                  </a:cubicBezTo>
                  <a:cubicBezTo>
                    <a:pt x="1405985" y="148781"/>
                    <a:pt x="1403222" y="151543"/>
                    <a:pt x="1399793" y="151543"/>
                  </a:cubicBezTo>
                  <a:cubicBezTo>
                    <a:pt x="1396364" y="151543"/>
                    <a:pt x="1393602" y="148781"/>
                    <a:pt x="1393602" y="145352"/>
                  </a:cubicBezTo>
                  <a:cubicBezTo>
                    <a:pt x="1393602" y="141923"/>
                    <a:pt x="1396364" y="139161"/>
                    <a:pt x="1399793" y="139161"/>
                  </a:cubicBezTo>
                  <a:close/>
                  <a:moveTo>
                    <a:pt x="1309115" y="137541"/>
                  </a:moveTo>
                  <a:cubicBezTo>
                    <a:pt x="1312544" y="137541"/>
                    <a:pt x="1315307" y="140303"/>
                    <a:pt x="1315307" y="143732"/>
                  </a:cubicBezTo>
                  <a:cubicBezTo>
                    <a:pt x="1315307" y="147161"/>
                    <a:pt x="1312544" y="149923"/>
                    <a:pt x="1309115" y="149923"/>
                  </a:cubicBezTo>
                  <a:cubicBezTo>
                    <a:pt x="1305686" y="149923"/>
                    <a:pt x="1302924" y="147161"/>
                    <a:pt x="1302924" y="143732"/>
                  </a:cubicBezTo>
                  <a:cubicBezTo>
                    <a:pt x="1302924" y="140303"/>
                    <a:pt x="1305686" y="137541"/>
                    <a:pt x="1309115" y="137541"/>
                  </a:cubicBezTo>
                  <a:close/>
                  <a:moveTo>
                    <a:pt x="2163889" y="136684"/>
                  </a:moveTo>
                  <a:cubicBezTo>
                    <a:pt x="2167318" y="136684"/>
                    <a:pt x="2170081" y="139446"/>
                    <a:pt x="2170081" y="142875"/>
                  </a:cubicBezTo>
                  <a:cubicBezTo>
                    <a:pt x="2170081" y="146304"/>
                    <a:pt x="2167318" y="149067"/>
                    <a:pt x="2163889" y="149067"/>
                  </a:cubicBezTo>
                  <a:cubicBezTo>
                    <a:pt x="2160460" y="149067"/>
                    <a:pt x="2157698" y="146304"/>
                    <a:pt x="2157698" y="142875"/>
                  </a:cubicBezTo>
                  <a:cubicBezTo>
                    <a:pt x="2157698" y="139446"/>
                    <a:pt x="2160460" y="136684"/>
                    <a:pt x="2163889" y="136684"/>
                  </a:cubicBezTo>
                  <a:close/>
                  <a:moveTo>
                    <a:pt x="2341816" y="136208"/>
                  </a:moveTo>
                  <a:cubicBezTo>
                    <a:pt x="2341974" y="136208"/>
                    <a:pt x="2342101" y="136336"/>
                    <a:pt x="2342101" y="136494"/>
                  </a:cubicBezTo>
                  <a:cubicBezTo>
                    <a:pt x="2342101" y="136652"/>
                    <a:pt x="2341974" y="136779"/>
                    <a:pt x="2341816" y="136779"/>
                  </a:cubicBezTo>
                  <a:cubicBezTo>
                    <a:pt x="2341658" y="136779"/>
                    <a:pt x="2341530" y="136652"/>
                    <a:pt x="2341530" y="136494"/>
                  </a:cubicBezTo>
                  <a:cubicBezTo>
                    <a:pt x="2341530" y="136336"/>
                    <a:pt x="2341658" y="136208"/>
                    <a:pt x="2341816" y="136208"/>
                  </a:cubicBezTo>
                  <a:close/>
                  <a:moveTo>
                    <a:pt x="2337149" y="135731"/>
                  </a:moveTo>
                  <a:cubicBezTo>
                    <a:pt x="2340578" y="135731"/>
                    <a:pt x="2343341" y="138493"/>
                    <a:pt x="2343341" y="141922"/>
                  </a:cubicBezTo>
                  <a:lnTo>
                    <a:pt x="2338816" y="146447"/>
                  </a:lnTo>
                  <a:lnTo>
                    <a:pt x="2338864" y="146495"/>
                  </a:lnTo>
                  <a:cubicBezTo>
                    <a:pt x="2338864" y="149924"/>
                    <a:pt x="2336101" y="152687"/>
                    <a:pt x="2332672" y="152687"/>
                  </a:cubicBezTo>
                  <a:lnTo>
                    <a:pt x="2332434" y="152449"/>
                  </a:lnTo>
                  <a:lnTo>
                    <a:pt x="2328386" y="156496"/>
                  </a:lnTo>
                  <a:lnTo>
                    <a:pt x="2327910" y="156020"/>
                  </a:lnTo>
                  <a:lnTo>
                    <a:pt x="2324385" y="159544"/>
                  </a:lnTo>
                  <a:lnTo>
                    <a:pt x="2323623" y="158782"/>
                  </a:lnTo>
                  <a:lnTo>
                    <a:pt x="2320385" y="162021"/>
                  </a:lnTo>
                  <a:lnTo>
                    <a:pt x="2319432" y="161068"/>
                  </a:lnTo>
                  <a:lnTo>
                    <a:pt x="2316479" y="164020"/>
                  </a:lnTo>
                  <a:lnTo>
                    <a:pt x="2315336" y="162877"/>
                  </a:lnTo>
                  <a:lnTo>
                    <a:pt x="2312574" y="165639"/>
                  </a:lnTo>
                  <a:lnTo>
                    <a:pt x="2311241" y="164307"/>
                  </a:lnTo>
                  <a:lnTo>
                    <a:pt x="2308574" y="166974"/>
                  </a:lnTo>
                  <a:lnTo>
                    <a:pt x="2307097" y="165497"/>
                  </a:lnTo>
                  <a:lnTo>
                    <a:pt x="2304382" y="168211"/>
                  </a:lnTo>
                  <a:lnTo>
                    <a:pt x="2302859" y="166688"/>
                  </a:lnTo>
                  <a:lnTo>
                    <a:pt x="2300001" y="169546"/>
                  </a:lnTo>
                  <a:lnTo>
                    <a:pt x="2298382" y="167927"/>
                  </a:lnTo>
                  <a:lnTo>
                    <a:pt x="2295239" y="171070"/>
                  </a:lnTo>
                  <a:lnTo>
                    <a:pt x="2293524" y="169355"/>
                  </a:lnTo>
                  <a:lnTo>
                    <a:pt x="2290000" y="172879"/>
                  </a:lnTo>
                  <a:lnTo>
                    <a:pt x="2288381" y="171260"/>
                  </a:lnTo>
                  <a:lnTo>
                    <a:pt x="2284285" y="175355"/>
                  </a:lnTo>
                  <a:lnTo>
                    <a:pt x="2282714" y="173784"/>
                  </a:lnTo>
                  <a:lnTo>
                    <a:pt x="2277903" y="178594"/>
                  </a:lnTo>
                  <a:lnTo>
                    <a:pt x="2276427" y="177118"/>
                  </a:lnTo>
                  <a:lnTo>
                    <a:pt x="2270664" y="182881"/>
                  </a:lnTo>
                  <a:cubicBezTo>
                    <a:pt x="2267235" y="182881"/>
                    <a:pt x="2264473" y="180118"/>
                    <a:pt x="2264473" y="176689"/>
                  </a:cubicBezTo>
                  <a:cubicBezTo>
                    <a:pt x="2264473" y="173260"/>
                    <a:pt x="2267235" y="170498"/>
                    <a:pt x="2270664" y="170498"/>
                  </a:cubicBezTo>
                  <a:lnTo>
                    <a:pt x="2272140" y="171975"/>
                  </a:lnTo>
                  <a:lnTo>
                    <a:pt x="2277903" y="166212"/>
                  </a:lnTo>
                  <a:lnTo>
                    <a:pt x="2279475" y="167784"/>
                  </a:lnTo>
                  <a:lnTo>
                    <a:pt x="2284285" y="162973"/>
                  </a:lnTo>
                  <a:lnTo>
                    <a:pt x="2285905" y="164593"/>
                  </a:lnTo>
                  <a:lnTo>
                    <a:pt x="2290000" y="160497"/>
                  </a:lnTo>
                  <a:lnTo>
                    <a:pt x="2291715" y="162212"/>
                  </a:lnTo>
                  <a:lnTo>
                    <a:pt x="2295239" y="158687"/>
                  </a:lnTo>
                  <a:lnTo>
                    <a:pt x="2296858" y="160306"/>
                  </a:lnTo>
                  <a:lnTo>
                    <a:pt x="2300001" y="157163"/>
                  </a:lnTo>
                  <a:lnTo>
                    <a:pt x="2301525" y="158687"/>
                  </a:lnTo>
                  <a:lnTo>
                    <a:pt x="2304382" y="155829"/>
                  </a:lnTo>
                  <a:lnTo>
                    <a:pt x="2305859" y="157306"/>
                  </a:lnTo>
                  <a:lnTo>
                    <a:pt x="2308574" y="154591"/>
                  </a:lnTo>
                  <a:lnTo>
                    <a:pt x="2309907" y="155924"/>
                  </a:lnTo>
                  <a:lnTo>
                    <a:pt x="2312574" y="153257"/>
                  </a:lnTo>
                  <a:lnTo>
                    <a:pt x="2313717" y="154400"/>
                  </a:lnTo>
                  <a:lnTo>
                    <a:pt x="2316479" y="151638"/>
                  </a:lnTo>
                  <a:lnTo>
                    <a:pt x="2317432" y="152591"/>
                  </a:lnTo>
                  <a:lnTo>
                    <a:pt x="2320385" y="149638"/>
                  </a:lnTo>
                  <a:lnTo>
                    <a:pt x="2321147" y="150400"/>
                  </a:lnTo>
                  <a:lnTo>
                    <a:pt x="2324385" y="147162"/>
                  </a:lnTo>
                  <a:lnTo>
                    <a:pt x="2324861" y="147638"/>
                  </a:lnTo>
                  <a:lnTo>
                    <a:pt x="2328386" y="144113"/>
                  </a:lnTo>
                  <a:lnTo>
                    <a:pt x="2328625" y="144352"/>
                  </a:lnTo>
                  <a:lnTo>
                    <a:pt x="2331006" y="141970"/>
                  </a:lnTo>
                  <a:lnTo>
                    <a:pt x="2330958" y="141922"/>
                  </a:lnTo>
                  <a:cubicBezTo>
                    <a:pt x="2330958" y="138493"/>
                    <a:pt x="2333720" y="135731"/>
                    <a:pt x="2337149" y="135731"/>
                  </a:cubicBezTo>
                  <a:close/>
                  <a:moveTo>
                    <a:pt x="1017936" y="135446"/>
                  </a:moveTo>
                  <a:lnTo>
                    <a:pt x="1021032" y="138541"/>
                  </a:lnTo>
                  <a:lnTo>
                    <a:pt x="1022603" y="136970"/>
                  </a:lnTo>
                  <a:lnTo>
                    <a:pt x="1026270" y="140637"/>
                  </a:lnTo>
                  <a:lnTo>
                    <a:pt x="1027080" y="139827"/>
                  </a:lnTo>
                  <a:lnTo>
                    <a:pt x="1030414" y="143161"/>
                  </a:lnTo>
                  <a:lnTo>
                    <a:pt x="1031557" y="142018"/>
                  </a:lnTo>
                  <a:lnTo>
                    <a:pt x="1034653" y="145114"/>
                  </a:lnTo>
                  <a:lnTo>
                    <a:pt x="1036034" y="143732"/>
                  </a:lnTo>
                  <a:lnTo>
                    <a:pt x="1038939" y="146637"/>
                  </a:lnTo>
                  <a:lnTo>
                    <a:pt x="1040510" y="145066"/>
                  </a:lnTo>
                  <a:lnTo>
                    <a:pt x="1043416" y="147971"/>
                  </a:lnTo>
                  <a:lnTo>
                    <a:pt x="1045178" y="146209"/>
                  </a:lnTo>
                  <a:lnTo>
                    <a:pt x="1048131" y="149162"/>
                  </a:lnTo>
                  <a:lnTo>
                    <a:pt x="1050035" y="147257"/>
                  </a:lnTo>
                  <a:lnTo>
                    <a:pt x="1053131" y="150353"/>
                  </a:lnTo>
                  <a:lnTo>
                    <a:pt x="1055179" y="148305"/>
                  </a:lnTo>
                  <a:lnTo>
                    <a:pt x="1058656" y="151781"/>
                  </a:lnTo>
                  <a:lnTo>
                    <a:pt x="1060799" y="149638"/>
                  </a:lnTo>
                  <a:lnTo>
                    <a:pt x="1064705" y="153544"/>
                  </a:lnTo>
                  <a:lnTo>
                    <a:pt x="1066895" y="151353"/>
                  </a:lnTo>
                  <a:lnTo>
                    <a:pt x="1071372" y="155829"/>
                  </a:lnTo>
                  <a:lnTo>
                    <a:pt x="1073562" y="153639"/>
                  </a:lnTo>
                  <a:lnTo>
                    <a:pt x="1078848" y="158925"/>
                  </a:lnTo>
                  <a:lnTo>
                    <a:pt x="1080991" y="156782"/>
                  </a:lnTo>
                  <a:cubicBezTo>
                    <a:pt x="1084420" y="156782"/>
                    <a:pt x="1087183" y="159544"/>
                    <a:pt x="1087183" y="162973"/>
                  </a:cubicBezTo>
                  <a:cubicBezTo>
                    <a:pt x="1087183" y="166402"/>
                    <a:pt x="1084420" y="169164"/>
                    <a:pt x="1080991" y="169164"/>
                  </a:cubicBezTo>
                  <a:lnTo>
                    <a:pt x="1075705" y="163878"/>
                  </a:lnTo>
                  <a:lnTo>
                    <a:pt x="1073562" y="166021"/>
                  </a:lnTo>
                  <a:lnTo>
                    <a:pt x="1069086" y="161545"/>
                  </a:lnTo>
                  <a:lnTo>
                    <a:pt x="1066895" y="163736"/>
                  </a:lnTo>
                  <a:lnTo>
                    <a:pt x="1062990" y="159830"/>
                  </a:lnTo>
                  <a:lnTo>
                    <a:pt x="1060799" y="162021"/>
                  </a:lnTo>
                  <a:lnTo>
                    <a:pt x="1057323" y="158544"/>
                  </a:lnTo>
                  <a:lnTo>
                    <a:pt x="1055179" y="160688"/>
                  </a:lnTo>
                  <a:lnTo>
                    <a:pt x="1052083" y="157592"/>
                  </a:lnTo>
                  <a:lnTo>
                    <a:pt x="1050035" y="159640"/>
                  </a:lnTo>
                  <a:lnTo>
                    <a:pt x="1047082" y="156687"/>
                  </a:lnTo>
                  <a:lnTo>
                    <a:pt x="1045178" y="158591"/>
                  </a:lnTo>
                  <a:lnTo>
                    <a:pt x="1042273" y="155686"/>
                  </a:lnTo>
                  <a:lnTo>
                    <a:pt x="1040510" y="157449"/>
                  </a:lnTo>
                  <a:lnTo>
                    <a:pt x="1037605" y="154543"/>
                  </a:lnTo>
                  <a:lnTo>
                    <a:pt x="1036034" y="156114"/>
                  </a:lnTo>
                  <a:lnTo>
                    <a:pt x="1032939" y="153019"/>
                  </a:lnTo>
                  <a:lnTo>
                    <a:pt x="1031557" y="154401"/>
                  </a:lnTo>
                  <a:lnTo>
                    <a:pt x="1028223" y="151067"/>
                  </a:lnTo>
                  <a:lnTo>
                    <a:pt x="1027080" y="152210"/>
                  </a:lnTo>
                  <a:lnTo>
                    <a:pt x="1023413" y="148543"/>
                  </a:lnTo>
                  <a:lnTo>
                    <a:pt x="1022603" y="149353"/>
                  </a:lnTo>
                  <a:cubicBezTo>
                    <a:pt x="1019174" y="149353"/>
                    <a:pt x="1016412" y="146590"/>
                    <a:pt x="1016412" y="143161"/>
                  </a:cubicBezTo>
                  <a:lnTo>
                    <a:pt x="1016746" y="142828"/>
                  </a:lnTo>
                  <a:lnTo>
                    <a:pt x="1013650" y="139732"/>
                  </a:lnTo>
                  <a:cubicBezTo>
                    <a:pt x="1013650" y="137351"/>
                    <a:pt x="1015555" y="135446"/>
                    <a:pt x="1017936" y="135446"/>
                  </a:cubicBezTo>
                  <a:close/>
                  <a:moveTo>
                    <a:pt x="1899856" y="135160"/>
                  </a:moveTo>
                  <a:cubicBezTo>
                    <a:pt x="1903285" y="135160"/>
                    <a:pt x="1906048" y="137922"/>
                    <a:pt x="1906048" y="141351"/>
                  </a:cubicBezTo>
                  <a:cubicBezTo>
                    <a:pt x="1906048" y="144780"/>
                    <a:pt x="1903285" y="147542"/>
                    <a:pt x="1899856" y="147542"/>
                  </a:cubicBezTo>
                  <a:cubicBezTo>
                    <a:pt x="1896427" y="147542"/>
                    <a:pt x="1893665" y="144780"/>
                    <a:pt x="1893665" y="141351"/>
                  </a:cubicBezTo>
                  <a:cubicBezTo>
                    <a:pt x="1893665" y="137922"/>
                    <a:pt x="1896427" y="135160"/>
                    <a:pt x="1899856" y="135160"/>
                  </a:cubicBezTo>
                  <a:close/>
                  <a:moveTo>
                    <a:pt x="2076164" y="134874"/>
                  </a:moveTo>
                  <a:cubicBezTo>
                    <a:pt x="2079593" y="134874"/>
                    <a:pt x="2082355" y="137636"/>
                    <a:pt x="2082355" y="141065"/>
                  </a:cubicBezTo>
                  <a:cubicBezTo>
                    <a:pt x="2082355" y="144494"/>
                    <a:pt x="2079593" y="147257"/>
                    <a:pt x="2076164" y="147257"/>
                  </a:cubicBezTo>
                  <a:cubicBezTo>
                    <a:pt x="2072735" y="147257"/>
                    <a:pt x="2069973" y="144494"/>
                    <a:pt x="2069973" y="141065"/>
                  </a:cubicBezTo>
                  <a:cubicBezTo>
                    <a:pt x="2069973" y="137636"/>
                    <a:pt x="2072735" y="134874"/>
                    <a:pt x="2076164" y="134874"/>
                  </a:cubicBezTo>
                  <a:close/>
                  <a:moveTo>
                    <a:pt x="1212055" y="134112"/>
                  </a:moveTo>
                  <a:cubicBezTo>
                    <a:pt x="1215484" y="134112"/>
                    <a:pt x="1218247" y="136874"/>
                    <a:pt x="1218247" y="140303"/>
                  </a:cubicBezTo>
                  <a:cubicBezTo>
                    <a:pt x="1218247" y="143732"/>
                    <a:pt x="1215484" y="146495"/>
                    <a:pt x="1212055" y="146495"/>
                  </a:cubicBezTo>
                  <a:cubicBezTo>
                    <a:pt x="1208626" y="146495"/>
                    <a:pt x="1205864" y="143732"/>
                    <a:pt x="1205864" y="140303"/>
                  </a:cubicBezTo>
                  <a:cubicBezTo>
                    <a:pt x="1205864" y="136874"/>
                    <a:pt x="1208626" y="134112"/>
                    <a:pt x="1212055" y="134112"/>
                  </a:cubicBezTo>
                  <a:close/>
                  <a:moveTo>
                    <a:pt x="2175414" y="132588"/>
                  </a:moveTo>
                  <a:cubicBezTo>
                    <a:pt x="2178843" y="132588"/>
                    <a:pt x="2181605" y="135350"/>
                    <a:pt x="2181605" y="138779"/>
                  </a:cubicBezTo>
                  <a:cubicBezTo>
                    <a:pt x="2181605" y="142208"/>
                    <a:pt x="2178843" y="144971"/>
                    <a:pt x="2175414" y="144971"/>
                  </a:cubicBezTo>
                  <a:cubicBezTo>
                    <a:pt x="2171985" y="144971"/>
                    <a:pt x="2169223" y="142208"/>
                    <a:pt x="2169223" y="138779"/>
                  </a:cubicBezTo>
                  <a:cubicBezTo>
                    <a:pt x="2169223" y="135350"/>
                    <a:pt x="2171985" y="132588"/>
                    <a:pt x="2175414" y="132588"/>
                  </a:cubicBezTo>
                  <a:close/>
                  <a:moveTo>
                    <a:pt x="1992534" y="132207"/>
                  </a:moveTo>
                  <a:cubicBezTo>
                    <a:pt x="1995963" y="132207"/>
                    <a:pt x="1998726" y="134969"/>
                    <a:pt x="1998726" y="138398"/>
                  </a:cubicBezTo>
                  <a:cubicBezTo>
                    <a:pt x="1998726" y="141827"/>
                    <a:pt x="1995963" y="144590"/>
                    <a:pt x="1992534" y="144590"/>
                  </a:cubicBezTo>
                  <a:cubicBezTo>
                    <a:pt x="1989105" y="144590"/>
                    <a:pt x="1986343" y="141827"/>
                    <a:pt x="1986343" y="138398"/>
                  </a:cubicBezTo>
                  <a:cubicBezTo>
                    <a:pt x="1986343" y="134969"/>
                    <a:pt x="1989105" y="132207"/>
                    <a:pt x="1992534" y="132207"/>
                  </a:cubicBezTo>
                  <a:close/>
                  <a:moveTo>
                    <a:pt x="1470183" y="131160"/>
                  </a:moveTo>
                  <a:cubicBezTo>
                    <a:pt x="1473612" y="131160"/>
                    <a:pt x="1476375" y="133922"/>
                    <a:pt x="1476375" y="137351"/>
                  </a:cubicBezTo>
                  <a:cubicBezTo>
                    <a:pt x="1476375" y="140780"/>
                    <a:pt x="1473612" y="143543"/>
                    <a:pt x="1470183" y="143543"/>
                  </a:cubicBezTo>
                  <a:cubicBezTo>
                    <a:pt x="1466754" y="143543"/>
                    <a:pt x="1463992" y="140780"/>
                    <a:pt x="1463992" y="137351"/>
                  </a:cubicBezTo>
                  <a:cubicBezTo>
                    <a:pt x="1463992" y="133922"/>
                    <a:pt x="1466754" y="131160"/>
                    <a:pt x="1470183" y="131160"/>
                  </a:cubicBezTo>
                  <a:close/>
                  <a:moveTo>
                    <a:pt x="1198054" y="128588"/>
                  </a:moveTo>
                  <a:cubicBezTo>
                    <a:pt x="1201483" y="128588"/>
                    <a:pt x="1204246" y="131350"/>
                    <a:pt x="1204246" y="134779"/>
                  </a:cubicBezTo>
                  <a:cubicBezTo>
                    <a:pt x="1204246" y="138208"/>
                    <a:pt x="1201483" y="140971"/>
                    <a:pt x="1198054" y="140971"/>
                  </a:cubicBezTo>
                  <a:cubicBezTo>
                    <a:pt x="1194625" y="140971"/>
                    <a:pt x="1191863" y="138208"/>
                    <a:pt x="1191863" y="134779"/>
                  </a:cubicBezTo>
                  <a:cubicBezTo>
                    <a:pt x="1191863" y="131350"/>
                    <a:pt x="1194625" y="128588"/>
                    <a:pt x="1198054" y="128588"/>
                  </a:cubicBezTo>
                  <a:close/>
                  <a:moveTo>
                    <a:pt x="1828990" y="128207"/>
                  </a:moveTo>
                  <a:cubicBezTo>
                    <a:pt x="1832419" y="128207"/>
                    <a:pt x="1835182" y="130969"/>
                    <a:pt x="1835182" y="134398"/>
                  </a:cubicBezTo>
                  <a:cubicBezTo>
                    <a:pt x="1835182" y="137827"/>
                    <a:pt x="1832419" y="140590"/>
                    <a:pt x="1828990" y="140590"/>
                  </a:cubicBezTo>
                  <a:cubicBezTo>
                    <a:pt x="1825561" y="140590"/>
                    <a:pt x="1822799" y="137827"/>
                    <a:pt x="1822799" y="134398"/>
                  </a:cubicBezTo>
                  <a:cubicBezTo>
                    <a:pt x="1822799" y="130969"/>
                    <a:pt x="1825561" y="128207"/>
                    <a:pt x="1828990" y="128207"/>
                  </a:cubicBezTo>
                  <a:close/>
                  <a:moveTo>
                    <a:pt x="1289303" y="127921"/>
                  </a:moveTo>
                  <a:cubicBezTo>
                    <a:pt x="1292732" y="127921"/>
                    <a:pt x="1295494" y="130683"/>
                    <a:pt x="1295494" y="134112"/>
                  </a:cubicBezTo>
                  <a:cubicBezTo>
                    <a:pt x="1295494" y="137541"/>
                    <a:pt x="1292732" y="140304"/>
                    <a:pt x="1289303" y="140304"/>
                  </a:cubicBezTo>
                  <a:cubicBezTo>
                    <a:pt x="1285874" y="140304"/>
                    <a:pt x="1283112" y="137541"/>
                    <a:pt x="1283112" y="134112"/>
                  </a:cubicBezTo>
                  <a:cubicBezTo>
                    <a:pt x="1283112" y="130683"/>
                    <a:pt x="1285874" y="127921"/>
                    <a:pt x="1289303" y="127921"/>
                  </a:cubicBezTo>
                  <a:close/>
                  <a:moveTo>
                    <a:pt x="2092832" y="127540"/>
                  </a:moveTo>
                  <a:cubicBezTo>
                    <a:pt x="2096261" y="127540"/>
                    <a:pt x="2099023" y="130302"/>
                    <a:pt x="2099023" y="133731"/>
                  </a:cubicBezTo>
                  <a:cubicBezTo>
                    <a:pt x="2099023" y="137160"/>
                    <a:pt x="2096261" y="139923"/>
                    <a:pt x="2092832" y="139923"/>
                  </a:cubicBezTo>
                  <a:cubicBezTo>
                    <a:pt x="2089403" y="139923"/>
                    <a:pt x="2086641" y="137160"/>
                    <a:pt x="2086641" y="133731"/>
                  </a:cubicBezTo>
                  <a:cubicBezTo>
                    <a:pt x="2086641" y="130302"/>
                    <a:pt x="2089403" y="127540"/>
                    <a:pt x="2092832" y="127540"/>
                  </a:cubicBezTo>
                  <a:close/>
                  <a:moveTo>
                    <a:pt x="1375219" y="126587"/>
                  </a:moveTo>
                  <a:cubicBezTo>
                    <a:pt x="1378648" y="126587"/>
                    <a:pt x="1381411" y="129349"/>
                    <a:pt x="1381411" y="132778"/>
                  </a:cubicBezTo>
                  <a:cubicBezTo>
                    <a:pt x="1381411" y="136207"/>
                    <a:pt x="1378648" y="138970"/>
                    <a:pt x="1375219" y="138970"/>
                  </a:cubicBezTo>
                  <a:cubicBezTo>
                    <a:pt x="1371790" y="138970"/>
                    <a:pt x="1369028" y="136207"/>
                    <a:pt x="1369028" y="132778"/>
                  </a:cubicBezTo>
                  <a:cubicBezTo>
                    <a:pt x="1369028" y="129349"/>
                    <a:pt x="1371790" y="126587"/>
                    <a:pt x="1375219" y="126587"/>
                  </a:cubicBezTo>
                  <a:close/>
                  <a:moveTo>
                    <a:pt x="1541430" y="125540"/>
                  </a:moveTo>
                  <a:cubicBezTo>
                    <a:pt x="1544859" y="125540"/>
                    <a:pt x="1547622" y="128302"/>
                    <a:pt x="1547622" y="131731"/>
                  </a:cubicBezTo>
                  <a:cubicBezTo>
                    <a:pt x="1547622" y="135160"/>
                    <a:pt x="1544859" y="137923"/>
                    <a:pt x="1541430" y="137923"/>
                  </a:cubicBezTo>
                  <a:cubicBezTo>
                    <a:pt x="1538001" y="137923"/>
                    <a:pt x="1535239" y="135160"/>
                    <a:pt x="1535239" y="131731"/>
                  </a:cubicBezTo>
                  <a:cubicBezTo>
                    <a:pt x="1535239" y="128302"/>
                    <a:pt x="1538001" y="125540"/>
                    <a:pt x="1541430" y="125540"/>
                  </a:cubicBezTo>
                  <a:close/>
                  <a:moveTo>
                    <a:pt x="1185386" y="124492"/>
                  </a:moveTo>
                  <a:cubicBezTo>
                    <a:pt x="1188815" y="124492"/>
                    <a:pt x="1191577" y="127254"/>
                    <a:pt x="1191577" y="130683"/>
                  </a:cubicBezTo>
                  <a:cubicBezTo>
                    <a:pt x="1191577" y="134112"/>
                    <a:pt x="1188815" y="136874"/>
                    <a:pt x="1185386" y="136874"/>
                  </a:cubicBezTo>
                  <a:cubicBezTo>
                    <a:pt x="1181957" y="136874"/>
                    <a:pt x="1179195" y="134112"/>
                    <a:pt x="1179195" y="130683"/>
                  </a:cubicBezTo>
                  <a:cubicBezTo>
                    <a:pt x="1179195" y="127254"/>
                    <a:pt x="1181957" y="124492"/>
                    <a:pt x="1185386" y="124492"/>
                  </a:cubicBezTo>
                  <a:close/>
                  <a:moveTo>
                    <a:pt x="2303240" y="123730"/>
                  </a:moveTo>
                  <a:cubicBezTo>
                    <a:pt x="2306669" y="123730"/>
                    <a:pt x="2309432" y="126492"/>
                    <a:pt x="2309432" y="129921"/>
                  </a:cubicBezTo>
                  <a:cubicBezTo>
                    <a:pt x="2309432" y="133350"/>
                    <a:pt x="2306669" y="136113"/>
                    <a:pt x="2303240" y="136113"/>
                  </a:cubicBezTo>
                  <a:lnTo>
                    <a:pt x="2302668" y="135541"/>
                  </a:lnTo>
                  <a:lnTo>
                    <a:pt x="2298096" y="140113"/>
                  </a:lnTo>
                  <a:lnTo>
                    <a:pt x="2297192" y="139209"/>
                  </a:lnTo>
                  <a:lnTo>
                    <a:pt x="2293048" y="143352"/>
                  </a:lnTo>
                  <a:lnTo>
                    <a:pt x="2291857" y="142161"/>
                  </a:lnTo>
                  <a:lnTo>
                    <a:pt x="2288095" y="145924"/>
                  </a:lnTo>
                  <a:lnTo>
                    <a:pt x="2286619" y="144448"/>
                  </a:lnTo>
                  <a:lnTo>
                    <a:pt x="2283237" y="147829"/>
                  </a:lnTo>
                  <a:lnTo>
                    <a:pt x="2281523" y="146114"/>
                  </a:lnTo>
                  <a:lnTo>
                    <a:pt x="2278284" y="149353"/>
                  </a:lnTo>
                  <a:lnTo>
                    <a:pt x="2276332" y="147400"/>
                  </a:lnTo>
                  <a:lnTo>
                    <a:pt x="2273236" y="150496"/>
                  </a:lnTo>
                  <a:lnTo>
                    <a:pt x="2271092" y="148352"/>
                  </a:lnTo>
                  <a:lnTo>
                    <a:pt x="2267997" y="151448"/>
                  </a:lnTo>
                  <a:lnTo>
                    <a:pt x="2265711" y="149162"/>
                  </a:lnTo>
                  <a:lnTo>
                    <a:pt x="2262568" y="152305"/>
                  </a:lnTo>
                  <a:lnTo>
                    <a:pt x="2260044" y="149781"/>
                  </a:lnTo>
                  <a:lnTo>
                    <a:pt x="2256662" y="153162"/>
                  </a:lnTo>
                  <a:lnTo>
                    <a:pt x="2254091" y="150591"/>
                  </a:lnTo>
                  <a:lnTo>
                    <a:pt x="2250376" y="154306"/>
                  </a:lnTo>
                  <a:lnTo>
                    <a:pt x="2247709" y="151639"/>
                  </a:lnTo>
                  <a:lnTo>
                    <a:pt x="2243423" y="155925"/>
                  </a:lnTo>
                  <a:lnTo>
                    <a:pt x="2240756" y="153258"/>
                  </a:lnTo>
                  <a:lnTo>
                    <a:pt x="2235898" y="158116"/>
                  </a:lnTo>
                  <a:lnTo>
                    <a:pt x="2233231" y="155448"/>
                  </a:lnTo>
                  <a:lnTo>
                    <a:pt x="2227516" y="161164"/>
                  </a:lnTo>
                  <a:cubicBezTo>
                    <a:pt x="2224087" y="161164"/>
                    <a:pt x="2221325" y="158401"/>
                    <a:pt x="2221325" y="154972"/>
                  </a:cubicBezTo>
                  <a:cubicBezTo>
                    <a:pt x="2221325" y="151543"/>
                    <a:pt x="2224087" y="148781"/>
                    <a:pt x="2227516" y="148781"/>
                  </a:cubicBezTo>
                  <a:lnTo>
                    <a:pt x="2230183" y="151448"/>
                  </a:lnTo>
                  <a:lnTo>
                    <a:pt x="2235898" y="145733"/>
                  </a:lnTo>
                  <a:lnTo>
                    <a:pt x="2238565" y="148400"/>
                  </a:lnTo>
                  <a:lnTo>
                    <a:pt x="2243423" y="143542"/>
                  </a:lnTo>
                  <a:lnTo>
                    <a:pt x="2246090" y="146209"/>
                  </a:lnTo>
                  <a:lnTo>
                    <a:pt x="2250376" y="141923"/>
                  </a:lnTo>
                  <a:lnTo>
                    <a:pt x="2252948" y="144494"/>
                  </a:lnTo>
                  <a:lnTo>
                    <a:pt x="2256662" y="140780"/>
                  </a:lnTo>
                  <a:lnTo>
                    <a:pt x="2259187" y="143304"/>
                  </a:lnTo>
                  <a:lnTo>
                    <a:pt x="2262568" y="139923"/>
                  </a:lnTo>
                  <a:lnTo>
                    <a:pt x="2264854" y="142208"/>
                  </a:lnTo>
                  <a:lnTo>
                    <a:pt x="2267997" y="139065"/>
                  </a:lnTo>
                  <a:lnTo>
                    <a:pt x="2270141" y="141209"/>
                  </a:lnTo>
                  <a:lnTo>
                    <a:pt x="2273236" y="138113"/>
                  </a:lnTo>
                  <a:lnTo>
                    <a:pt x="2275189" y="140065"/>
                  </a:lnTo>
                  <a:lnTo>
                    <a:pt x="2278284" y="136970"/>
                  </a:lnTo>
                  <a:lnTo>
                    <a:pt x="2279999" y="138684"/>
                  </a:lnTo>
                  <a:lnTo>
                    <a:pt x="2283237" y="135446"/>
                  </a:lnTo>
                  <a:lnTo>
                    <a:pt x="2284714" y="136923"/>
                  </a:lnTo>
                  <a:lnTo>
                    <a:pt x="2288095" y="133541"/>
                  </a:lnTo>
                  <a:lnTo>
                    <a:pt x="2289285" y="134732"/>
                  </a:lnTo>
                  <a:lnTo>
                    <a:pt x="2293048" y="130969"/>
                  </a:lnTo>
                  <a:lnTo>
                    <a:pt x="2293953" y="131874"/>
                  </a:lnTo>
                  <a:lnTo>
                    <a:pt x="2298096" y="127730"/>
                  </a:lnTo>
                  <a:lnTo>
                    <a:pt x="2298668" y="128302"/>
                  </a:lnTo>
                  <a:close/>
                  <a:moveTo>
                    <a:pt x="1757457" y="123730"/>
                  </a:moveTo>
                  <a:cubicBezTo>
                    <a:pt x="1760886" y="123730"/>
                    <a:pt x="1763649" y="126492"/>
                    <a:pt x="1763649" y="129921"/>
                  </a:cubicBezTo>
                  <a:cubicBezTo>
                    <a:pt x="1763649" y="133350"/>
                    <a:pt x="1760886" y="136113"/>
                    <a:pt x="1757457" y="136113"/>
                  </a:cubicBezTo>
                  <a:cubicBezTo>
                    <a:pt x="1754028" y="136113"/>
                    <a:pt x="1751266" y="133350"/>
                    <a:pt x="1751266" y="129921"/>
                  </a:cubicBezTo>
                  <a:cubicBezTo>
                    <a:pt x="1751266" y="126492"/>
                    <a:pt x="1754028" y="123730"/>
                    <a:pt x="1757457" y="123730"/>
                  </a:cubicBezTo>
                  <a:close/>
                  <a:moveTo>
                    <a:pt x="1047369" y="123349"/>
                  </a:moveTo>
                  <a:cubicBezTo>
                    <a:pt x="1047474" y="123349"/>
                    <a:pt x="1047559" y="123434"/>
                    <a:pt x="1047559" y="123540"/>
                  </a:cubicBezTo>
                  <a:cubicBezTo>
                    <a:pt x="1047559" y="123645"/>
                    <a:pt x="1047474" y="123730"/>
                    <a:pt x="1047369" y="123730"/>
                  </a:cubicBezTo>
                  <a:cubicBezTo>
                    <a:pt x="1047263" y="123730"/>
                    <a:pt x="1047178" y="123645"/>
                    <a:pt x="1047178" y="123540"/>
                  </a:cubicBezTo>
                  <a:cubicBezTo>
                    <a:pt x="1047178" y="123434"/>
                    <a:pt x="1047263" y="123349"/>
                    <a:pt x="1047369" y="123349"/>
                  </a:cubicBezTo>
                  <a:close/>
                  <a:moveTo>
                    <a:pt x="2308574" y="122968"/>
                  </a:moveTo>
                  <a:cubicBezTo>
                    <a:pt x="2309717" y="122968"/>
                    <a:pt x="2310669" y="123921"/>
                    <a:pt x="2310669" y="125064"/>
                  </a:cubicBezTo>
                  <a:cubicBezTo>
                    <a:pt x="2310669" y="126207"/>
                    <a:pt x="2309717" y="127159"/>
                    <a:pt x="2308574" y="127159"/>
                  </a:cubicBezTo>
                  <a:cubicBezTo>
                    <a:pt x="2307431" y="127159"/>
                    <a:pt x="2306478" y="126207"/>
                    <a:pt x="2306478" y="125064"/>
                  </a:cubicBezTo>
                  <a:cubicBezTo>
                    <a:pt x="2306478" y="123921"/>
                    <a:pt x="2307431" y="122968"/>
                    <a:pt x="2308574" y="122968"/>
                  </a:cubicBezTo>
                  <a:close/>
                  <a:moveTo>
                    <a:pt x="2013584" y="122397"/>
                  </a:moveTo>
                  <a:cubicBezTo>
                    <a:pt x="2017013" y="122397"/>
                    <a:pt x="2019776" y="125159"/>
                    <a:pt x="2019776" y="128588"/>
                  </a:cubicBezTo>
                  <a:cubicBezTo>
                    <a:pt x="2019776" y="132017"/>
                    <a:pt x="2017013" y="134780"/>
                    <a:pt x="2013584" y="134780"/>
                  </a:cubicBezTo>
                  <a:cubicBezTo>
                    <a:pt x="2010155" y="134780"/>
                    <a:pt x="2007393" y="132017"/>
                    <a:pt x="2007393" y="128588"/>
                  </a:cubicBezTo>
                  <a:cubicBezTo>
                    <a:pt x="2007393" y="125159"/>
                    <a:pt x="2010155" y="122397"/>
                    <a:pt x="2013584" y="122397"/>
                  </a:cubicBezTo>
                  <a:close/>
                  <a:moveTo>
                    <a:pt x="1613249" y="122397"/>
                  </a:moveTo>
                  <a:cubicBezTo>
                    <a:pt x="1616678" y="122397"/>
                    <a:pt x="1619441" y="125159"/>
                    <a:pt x="1619441" y="128588"/>
                  </a:cubicBezTo>
                  <a:cubicBezTo>
                    <a:pt x="1619441" y="132017"/>
                    <a:pt x="1616678" y="134780"/>
                    <a:pt x="1613249" y="134780"/>
                  </a:cubicBezTo>
                  <a:cubicBezTo>
                    <a:pt x="1609820" y="134780"/>
                    <a:pt x="1607058" y="132017"/>
                    <a:pt x="1607058" y="128588"/>
                  </a:cubicBezTo>
                  <a:cubicBezTo>
                    <a:pt x="1607058" y="125159"/>
                    <a:pt x="1609820" y="122397"/>
                    <a:pt x="1613249" y="122397"/>
                  </a:cubicBezTo>
                  <a:close/>
                  <a:moveTo>
                    <a:pt x="1925764" y="122206"/>
                  </a:moveTo>
                  <a:cubicBezTo>
                    <a:pt x="1929193" y="122206"/>
                    <a:pt x="1931956" y="124968"/>
                    <a:pt x="1931956" y="128397"/>
                  </a:cubicBezTo>
                  <a:cubicBezTo>
                    <a:pt x="1931956" y="131826"/>
                    <a:pt x="1929193" y="134589"/>
                    <a:pt x="1925764" y="134589"/>
                  </a:cubicBezTo>
                  <a:cubicBezTo>
                    <a:pt x="1922335" y="134589"/>
                    <a:pt x="1919573" y="131826"/>
                    <a:pt x="1919573" y="128397"/>
                  </a:cubicBezTo>
                  <a:cubicBezTo>
                    <a:pt x="1919573" y="124968"/>
                    <a:pt x="1922335" y="122206"/>
                    <a:pt x="1925764" y="122206"/>
                  </a:cubicBezTo>
                  <a:close/>
                  <a:moveTo>
                    <a:pt x="2107882" y="121920"/>
                  </a:moveTo>
                  <a:cubicBezTo>
                    <a:pt x="2111311" y="121920"/>
                    <a:pt x="2114074" y="124682"/>
                    <a:pt x="2114074" y="128111"/>
                  </a:cubicBezTo>
                  <a:cubicBezTo>
                    <a:pt x="2114074" y="131540"/>
                    <a:pt x="2111311" y="134303"/>
                    <a:pt x="2107882" y="134303"/>
                  </a:cubicBezTo>
                  <a:cubicBezTo>
                    <a:pt x="2104453" y="134303"/>
                    <a:pt x="2101691" y="131540"/>
                    <a:pt x="2101691" y="128111"/>
                  </a:cubicBezTo>
                  <a:cubicBezTo>
                    <a:pt x="2101691" y="124682"/>
                    <a:pt x="2104453" y="121920"/>
                    <a:pt x="2107882" y="121920"/>
                  </a:cubicBezTo>
                  <a:close/>
                  <a:moveTo>
                    <a:pt x="1685353" y="121825"/>
                  </a:moveTo>
                  <a:cubicBezTo>
                    <a:pt x="1688782" y="121825"/>
                    <a:pt x="1691545" y="124587"/>
                    <a:pt x="1691545" y="128016"/>
                  </a:cubicBezTo>
                  <a:cubicBezTo>
                    <a:pt x="1691545" y="131445"/>
                    <a:pt x="1688782" y="134208"/>
                    <a:pt x="1685353" y="134208"/>
                  </a:cubicBezTo>
                  <a:cubicBezTo>
                    <a:pt x="1681924" y="134208"/>
                    <a:pt x="1679162" y="131445"/>
                    <a:pt x="1679162" y="128016"/>
                  </a:cubicBezTo>
                  <a:cubicBezTo>
                    <a:pt x="1679162" y="124587"/>
                    <a:pt x="1681924" y="121825"/>
                    <a:pt x="1685353" y="121825"/>
                  </a:cubicBezTo>
                  <a:close/>
                  <a:moveTo>
                    <a:pt x="1173765" y="121539"/>
                  </a:moveTo>
                  <a:cubicBezTo>
                    <a:pt x="1177194" y="121539"/>
                    <a:pt x="1179956" y="124301"/>
                    <a:pt x="1179956" y="127730"/>
                  </a:cubicBezTo>
                  <a:cubicBezTo>
                    <a:pt x="1179956" y="131159"/>
                    <a:pt x="1177194" y="133922"/>
                    <a:pt x="1173765" y="133922"/>
                  </a:cubicBezTo>
                  <a:cubicBezTo>
                    <a:pt x="1170336" y="133922"/>
                    <a:pt x="1167574" y="131159"/>
                    <a:pt x="1167574" y="127730"/>
                  </a:cubicBezTo>
                  <a:cubicBezTo>
                    <a:pt x="1167574" y="124301"/>
                    <a:pt x="1170336" y="121539"/>
                    <a:pt x="1173765" y="121539"/>
                  </a:cubicBezTo>
                  <a:close/>
                  <a:moveTo>
                    <a:pt x="1052988" y="121063"/>
                  </a:moveTo>
                  <a:lnTo>
                    <a:pt x="1057227" y="125302"/>
                  </a:lnTo>
                  <a:lnTo>
                    <a:pt x="1058417" y="124111"/>
                  </a:lnTo>
                  <a:lnTo>
                    <a:pt x="1062275" y="127969"/>
                  </a:lnTo>
                  <a:lnTo>
                    <a:pt x="1063847" y="126397"/>
                  </a:lnTo>
                  <a:lnTo>
                    <a:pt x="1067419" y="129969"/>
                  </a:lnTo>
                  <a:lnTo>
                    <a:pt x="1069276" y="128111"/>
                  </a:lnTo>
                  <a:lnTo>
                    <a:pt x="1072610" y="131445"/>
                  </a:lnTo>
                  <a:lnTo>
                    <a:pt x="1074705" y="129350"/>
                  </a:lnTo>
                  <a:lnTo>
                    <a:pt x="1078039" y="132683"/>
                  </a:lnTo>
                  <a:lnTo>
                    <a:pt x="1080420" y="130302"/>
                  </a:lnTo>
                  <a:lnTo>
                    <a:pt x="1083707" y="133588"/>
                  </a:lnTo>
                  <a:lnTo>
                    <a:pt x="1086326" y="130969"/>
                  </a:lnTo>
                  <a:lnTo>
                    <a:pt x="1089803" y="134446"/>
                  </a:lnTo>
                  <a:lnTo>
                    <a:pt x="1092612" y="131636"/>
                  </a:lnTo>
                  <a:lnTo>
                    <a:pt x="1096327" y="135351"/>
                  </a:lnTo>
                  <a:lnTo>
                    <a:pt x="1099280" y="132398"/>
                  </a:lnTo>
                  <a:lnTo>
                    <a:pt x="1103423" y="136541"/>
                  </a:lnTo>
                  <a:lnTo>
                    <a:pt x="1106518" y="133446"/>
                  </a:lnTo>
                  <a:lnTo>
                    <a:pt x="1111138" y="138065"/>
                  </a:lnTo>
                  <a:lnTo>
                    <a:pt x="1114329" y="134874"/>
                  </a:lnTo>
                  <a:lnTo>
                    <a:pt x="1119663" y="140208"/>
                  </a:lnTo>
                  <a:lnTo>
                    <a:pt x="1122901" y="136970"/>
                  </a:lnTo>
                  <a:cubicBezTo>
                    <a:pt x="1126330" y="136970"/>
                    <a:pt x="1129093" y="139732"/>
                    <a:pt x="1129093" y="143161"/>
                  </a:cubicBezTo>
                  <a:cubicBezTo>
                    <a:pt x="1129093" y="146590"/>
                    <a:pt x="1126330" y="149353"/>
                    <a:pt x="1122901" y="149353"/>
                  </a:cubicBezTo>
                  <a:lnTo>
                    <a:pt x="1117567" y="144019"/>
                  </a:lnTo>
                  <a:lnTo>
                    <a:pt x="1114329" y="147257"/>
                  </a:lnTo>
                  <a:lnTo>
                    <a:pt x="1109710" y="142637"/>
                  </a:lnTo>
                  <a:lnTo>
                    <a:pt x="1106518" y="145829"/>
                  </a:lnTo>
                  <a:lnTo>
                    <a:pt x="1102375" y="141685"/>
                  </a:lnTo>
                  <a:lnTo>
                    <a:pt x="1099280" y="144780"/>
                  </a:lnTo>
                  <a:lnTo>
                    <a:pt x="1095565" y="141065"/>
                  </a:lnTo>
                  <a:lnTo>
                    <a:pt x="1092612" y="144018"/>
                  </a:lnTo>
                  <a:lnTo>
                    <a:pt x="1089136" y="140542"/>
                  </a:lnTo>
                  <a:lnTo>
                    <a:pt x="1086326" y="143352"/>
                  </a:lnTo>
                  <a:lnTo>
                    <a:pt x="1083040" y="140065"/>
                  </a:lnTo>
                  <a:lnTo>
                    <a:pt x="1080420" y="142685"/>
                  </a:lnTo>
                  <a:lnTo>
                    <a:pt x="1077087" y="139351"/>
                  </a:lnTo>
                  <a:lnTo>
                    <a:pt x="1074705" y="141733"/>
                  </a:lnTo>
                  <a:lnTo>
                    <a:pt x="1071371" y="138399"/>
                  </a:lnTo>
                  <a:lnTo>
                    <a:pt x="1069276" y="140494"/>
                  </a:lnTo>
                  <a:lnTo>
                    <a:pt x="1065705" y="136922"/>
                  </a:lnTo>
                  <a:lnTo>
                    <a:pt x="1063847" y="138780"/>
                  </a:lnTo>
                  <a:lnTo>
                    <a:pt x="1059989" y="134921"/>
                  </a:lnTo>
                  <a:lnTo>
                    <a:pt x="1058417" y="136493"/>
                  </a:lnTo>
                  <a:lnTo>
                    <a:pt x="1054179" y="132255"/>
                  </a:lnTo>
                  <a:lnTo>
                    <a:pt x="1052988" y="133446"/>
                  </a:lnTo>
                  <a:cubicBezTo>
                    <a:pt x="1049569" y="133446"/>
                    <a:pt x="1046797" y="130674"/>
                    <a:pt x="1046797" y="127254"/>
                  </a:cubicBezTo>
                  <a:cubicBezTo>
                    <a:pt x="1046797" y="123835"/>
                    <a:pt x="1049569" y="121063"/>
                    <a:pt x="1052988" y="121063"/>
                  </a:cubicBezTo>
                  <a:close/>
                  <a:moveTo>
                    <a:pt x="1271301" y="120492"/>
                  </a:moveTo>
                  <a:cubicBezTo>
                    <a:pt x="1274730" y="120492"/>
                    <a:pt x="1277492" y="123254"/>
                    <a:pt x="1277492" y="126683"/>
                  </a:cubicBezTo>
                  <a:cubicBezTo>
                    <a:pt x="1277492" y="130112"/>
                    <a:pt x="1274730" y="132874"/>
                    <a:pt x="1271301" y="132874"/>
                  </a:cubicBezTo>
                  <a:cubicBezTo>
                    <a:pt x="1267872" y="132874"/>
                    <a:pt x="1265110" y="130112"/>
                    <a:pt x="1265110" y="126683"/>
                  </a:cubicBezTo>
                  <a:cubicBezTo>
                    <a:pt x="1265110" y="123254"/>
                    <a:pt x="1267872" y="120492"/>
                    <a:pt x="1271301" y="120492"/>
                  </a:cubicBezTo>
                  <a:close/>
                  <a:moveTo>
                    <a:pt x="2121693" y="117824"/>
                  </a:moveTo>
                  <a:cubicBezTo>
                    <a:pt x="2125122" y="117824"/>
                    <a:pt x="2127884" y="120586"/>
                    <a:pt x="2127884" y="124015"/>
                  </a:cubicBezTo>
                  <a:cubicBezTo>
                    <a:pt x="2127884" y="127444"/>
                    <a:pt x="2125122" y="130207"/>
                    <a:pt x="2121693" y="130207"/>
                  </a:cubicBezTo>
                  <a:cubicBezTo>
                    <a:pt x="2118264" y="130207"/>
                    <a:pt x="2115502" y="127444"/>
                    <a:pt x="2115502" y="124015"/>
                  </a:cubicBezTo>
                  <a:cubicBezTo>
                    <a:pt x="2115502" y="120586"/>
                    <a:pt x="2118264" y="117824"/>
                    <a:pt x="2121693" y="117824"/>
                  </a:cubicBezTo>
                  <a:close/>
                  <a:moveTo>
                    <a:pt x="1442656" y="117729"/>
                  </a:moveTo>
                  <a:cubicBezTo>
                    <a:pt x="1446085" y="117729"/>
                    <a:pt x="1448848" y="120491"/>
                    <a:pt x="1448848" y="123920"/>
                  </a:cubicBezTo>
                  <a:cubicBezTo>
                    <a:pt x="1448848" y="127349"/>
                    <a:pt x="1446085" y="130111"/>
                    <a:pt x="1442656" y="130111"/>
                  </a:cubicBezTo>
                  <a:cubicBezTo>
                    <a:pt x="1439227" y="130111"/>
                    <a:pt x="1436465" y="127349"/>
                    <a:pt x="1436465" y="123920"/>
                  </a:cubicBezTo>
                  <a:cubicBezTo>
                    <a:pt x="1436465" y="120491"/>
                    <a:pt x="1439227" y="117729"/>
                    <a:pt x="1442656" y="117729"/>
                  </a:cubicBezTo>
                  <a:close/>
                  <a:moveTo>
                    <a:pt x="1352740" y="116491"/>
                  </a:moveTo>
                  <a:cubicBezTo>
                    <a:pt x="1356169" y="116491"/>
                    <a:pt x="1358932" y="119253"/>
                    <a:pt x="1358932" y="122682"/>
                  </a:cubicBezTo>
                  <a:cubicBezTo>
                    <a:pt x="1358932" y="126111"/>
                    <a:pt x="1356169" y="128874"/>
                    <a:pt x="1352740" y="128874"/>
                  </a:cubicBezTo>
                  <a:cubicBezTo>
                    <a:pt x="1349311" y="128874"/>
                    <a:pt x="1346549" y="126111"/>
                    <a:pt x="1346549" y="122682"/>
                  </a:cubicBezTo>
                  <a:cubicBezTo>
                    <a:pt x="1346549" y="119253"/>
                    <a:pt x="1349311" y="116491"/>
                    <a:pt x="1352740" y="116491"/>
                  </a:cubicBezTo>
                  <a:close/>
                  <a:moveTo>
                    <a:pt x="2134266" y="114776"/>
                  </a:moveTo>
                  <a:cubicBezTo>
                    <a:pt x="2137695" y="114776"/>
                    <a:pt x="2140458" y="117538"/>
                    <a:pt x="2140458" y="120967"/>
                  </a:cubicBezTo>
                  <a:cubicBezTo>
                    <a:pt x="2140458" y="124396"/>
                    <a:pt x="2137695" y="127159"/>
                    <a:pt x="2134266" y="127159"/>
                  </a:cubicBezTo>
                  <a:cubicBezTo>
                    <a:pt x="2130837" y="127159"/>
                    <a:pt x="2128075" y="124396"/>
                    <a:pt x="2128075" y="120967"/>
                  </a:cubicBezTo>
                  <a:cubicBezTo>
                    <a:pt x="2128075" y="117538"/>
                    <a:pt x="2130837" y="114776"/>
                    <a:pt x="2134266" y="114776"/>
                  </a:cubicBezTo>
                  <a:close/>
                  <a:moveTo>
                    <a:pt x="2032825" y="114681"/>
                  </a:moveTo>
                  <a:cubicBezTo>
                    <a:pt x="2036254" y="114681"/>
                    <a:pt x="2039017" y="117443"/>
                    <a:pt x="2039017" y="120872"/>
                  </a:cubicBezTo>
                  <a:cubicBezTo>
                    <a:pt x="2039017" y="124301"/>
                    <a:pt x="2036254" y="127064"/>
                    <a:pt x="2032825" y="127064"/>
                  </a:cubicBezTo>
                  <a:cubicBezTo>
                    <a:pt x="2029396" y="127064"/>
                    <a:pt x="2026634" y="124301"/>
                    <a:pt x="2026634" y="120872"/>
                  </a:cubicBezTo>
                  <a:cubicBezTo>
                    <a:pt x="2026634" y="117443"/>
                    <a:pt x="2029396" y="114681"/>
                    <a:pt x="2032825" y="114681"/>
                  </a:cubicBezTo>
                  <a:close/>
                  <a:moveTo>
                    <a:pt x="1254918" y="114681"/>
                  </a:moveTo>
                  <a:cubicBezTo>
                    <a:pt x="1258347" y="114681"/>
                    <a:pt x="1261109" y="117443"/>
                    <a:pt x="1261109" y="120872"/>
                  </a:cubicBezTo>
                  <a:cubicBezTo>
                    <a:pt x="1261109" y="124301"/>
                    <a:pt x="1258347" y="127064"/>
                    <a:pt x="1254918" y="127064"/>
                  </a:cubicBezTo>
                  <a:cubicBezTo>
                    <a:pt x="1251489" y="127064"/>
                    <a:pt x="1248727" y="124301"/>
                    <a:pt x="1248727" y="120872"/>
                  </a:cubicBezTo>
                  <a:cubicBezTo>
                    <a:pt x="1248727" y="117443"/>
                    <a:pt x="1251489" y="114681"/>
                    <a:pt x="1254918" y="114681"/>
                  </a:cubicBezTo>
                  <a:close/>
                  <a:moveTo>
                    <a:pt x="1857755" y="114491"/>
                  </a:moveTo>
                  <a:cubicBezTo>
                    <a:pt x="1861184" y="114491"/>
                    <a:pt x="1863947" y="117253"/>
                    <a:pt x="1863947" y="120682"/>
                  </a:cubicBezTo>
                  <a:cubicBezTo>
                    <a:pt x="1863947" y="124111"/>
                    <a:pt x="1861184" y="126874"/>
                    <a:pt x="1857755" y="126874"/>
                  </a:cubicBezTo>
                  <a:cubicBezTo>
                    <a:pt x="1854326" y="126874"/>
                    <a:pt x="1851564" y="124111"/>
                    <a:pt x="1851564" y="120682"/>
                  </a:cubicBezTo>
                  <a:cubicBezTo>
                    <a:pt x="1851564" y="117253"/>
                    <a:pt x="1854326" y="114491"/>
                    <a:pt x="1857755" y="114491"/>
                  </a:cubicBezTo>
                  <a:close/>
                  <a:moveTo>
                    <a:pt x="1949481" y="111824"/>
                  </a:moveTo>
                  <a:cubicBezTo>
                    <a:pt x="1952910" y="111824"/>
                    <a:pt x="1955673" y="114586"/>
                    <a:pt x="1955673" y="118015"/>
                  </a:cubicBezTo>
                  <a:cubicBezTo>
                    <a:pt x="1955673" y="121444"/>
                    <a:pt x="1952910" y="124207"/>
                    <a:pt x="1949481" y="124207"/>
                  </a:cubicBezTo>
                  <a:cubicBezTo>
                    <a:pt x="1946052" y="124207"/>
                    <a:pt x="1943290" y="121444"/>
                    <a:pt x="1943290" y="118015"/>
                  </a:cubicBezTo>
                  <a:cubicBezTo>
                    <a:pt x="1943290" y="114586"/>
                    <a:pt x="1946052" y="111824"/>
                    <a:pt x="1949481" y="111824"/>
                  </a:cubicBezTo>
                  <a:close/>
                  <a:moveTo>
                    <a:pt x="1511141" y="111252"/>
                  </a:moveTo>
                  <a:cubicBezTo>
                    <a:pt x="1514570" y="111252"/>
                    <a:pt x="1517333" y="114014"/>
                    <a:pt x="1517333" y="117443"/>
                  </a:cubicBezTo>
                  <a:cubicBezTo>
                    <a:pt x="1517333" y="120872"/>
                    <a:pt x="1514570" y="123635"/>
                    <a:pt x="1511141" y="123635"/>
                  </a:cubicBezTo>
                  <a:cubicBezTo>
                    <a:pt x="1507712" y="123635"/>
                    <a:pt x="1504950" y="120872"/>
                    <a:pt x="1504950" y="117443"/>
                  </a:cubicBezTo>
                  <a:cubicBezTo>
                    <a:pt x="1504950" y="114014"/>
                    <a:pt x="1507712" y="111252"/>
                    <a:pt x="1511141" y="111252"/>
                  </a:cubicBezTo>
                  <a:close/>
                  <a:moveTo>
                    <a:pt x="1239869" y="110490"/>
                  </a:moveTo>
                  <a:cubicBezTo>
                    <a:pt x="1243298" y="110490"/>
                    <a:pt x="1246061" y="113252"/>
                    <a:pt x="1246061" y="116681"/>
                  </a:cubicBezTo>
                  <a:cubicBezTo>
                    <a:pt x="1246061" y="120110"/>
                    <a:pt x="1243298" y="122873"/>
                    <a:pt x="1239869" y="122873"/>
                  </a:cubicBezTo>
                  <a:cubicBezTo>
                    <a:pt x="1236440" y="122873"/>
                    <a:pt x="1233678" y="120110"/>
                    <a:pt x="1233678" y="116681"/>
                  </a:cubicBezTo>
                  <a:cubicBezTo>
                    <a:pt x="1233678" y="113252"/>
                    <a:pt x="1236440" y="110490"/>
                    <a:pt x="1239869" y="110490"/>
                  </a:cubicBezTo>
                  <a:close/>
                  <a:moveTo>
                    <a:pt x="1082421" y="109728"/>
                  </a:moveTo>
                  <a:cubicBezTo>
                    <a:pt x="1083683" y="109728"/>
                    <a:pt x="1084707" y="110751"/>
                    <a:pt x="1084707" y="112014"/>
                  </a:cubicBezTo>
                  <a:cubicBezTo>
                    <a:pt x="1084707" y="113277"/>
                    <a:pt x="1083683" y="114300"/>
                    <a:pt x="1082421" y="114300"/>
                  </a:cubicBezTo>
                  <a:cubicBezTo>
                    <a:pt x="1081158" y="114300"/>
                    <a:pt x="1080135" y="113277"/>
                    <a:pt x="1080135" y="112014"/>
                  </a:cubicBezTo>
                  <a:cubicBezTo>
                    <a:pt x="1080135" y="110751"/>
                    <a:pt x="1081158" y="109728"/>
                    <a:pt x="1082421" y="109728"/>
                  </a:cubicBezTo>
                  <a:close/>
                  <a:moveTo>
                    <a:pt x="2274665" y="109538"/>
                  </a:moveTo>
                  <a:cubicBezTo>
                    <a:pt x="2277046" y="109538"/>
                    <a:pt x="2278951" y="111443"/>
                    <a:pt x="2278951" y="113824"/>
                  </a:cubicBezTo>
                  <a:lnTo>
                    <a:pt x="2274666" y="118110"/>
                  </a:lnTo>
                  <a:lnTo>
                    <a:pt x="2274761" y="118205"/>
                  </a:lnTo>
                  <a:cubicBezTo>
                    <a:pt x="2274761" y="121634"/>
                    <a:pt x="2271998" y="124397"/>
                    <a:pt x="2268569" y="124397"/>
                  </a:cubicBezTo>
                  <a:lnTo>
                    <a:pt x="2267331" y="123159"/>
                  </a:lnTo>
                  <a:lnTo>
                    <a:pt x="2262663" y="127826"/>
                  </a:lnTo>
                  <a:lnTo>
                    <a:pt x="2261139" y="126302"/>
                  </a:lnTo>
                  <a:lnTo>
                    <a:pt x="2256853" y="130588"/>
                  </a:lnTo>
                  <a:lnTo>
                    <a:pt x="2254996" y="128730"/>
                  </a:lnTo>
                  <a:lnTo>
                    <a:pt x="2251042" y="132684"/>
                  </a:lnTo>
                  <a:lnTo>
                    <a:pt x="2248852" y="130493"/>
                  </a:lnTo>
                  <a:lnTo>
                    <a:pt x="2245137" y="134208"/>
                  </a:lnTo>
                  <a:lnTo>
                    <a:pt x="2242613" y="131684"/>
                  </a:lnTo>
                  <a:lnTo>
                    <a:pt x="2239041" y="135255"/>
                  </a:lnTo>
                  <a:lnTo>
                    <a:pt x="2236327" y="132541"/>
                  </a:lnTo>
                  <a:lnTo>
                    <a:pt x="2232850" y="136018"/>
                  </a:lnTo>
                  <a:lnTo>
                    <a:pt x="2229850" y="133017"/>
                  </a:lnTo>
                  <a:lnTo>
                    <a:pt x="2226278" y="136589"/>
                  </a:lnTo>
                  <a:lnTo>
                    <a:pt x="2223039" y="133350"/>
                  </a:lnTo>
                  <a:lnTo>
                    <a:pt x="2219324" y="137065"/>
                  </a:lnTo>
                  <a:lnTo>
                    <a:pt x="2215991" y="133731"/>
                  </a:lnTo>
                  <a:lnTo>
                    <a:pt x="2211990" y="137732"/>
                  </a:lnTo>
                  <a:lnTo>
                    <a:pt x="2208418" y="134159"/>
                  </a:lnTo>
                  <a:lnTo>
                    <a:pt x="2203989" y="138589"/>
                  </a:lnTo>
                  <a:lnTo>
                    <a:pt x="2200370" y="134969"/>
                  </a:lnTo>
                  <a:lnTo>
                    <a:pt x="2195321" y="140017"/>
                  </a:lnTo>
                  <a:lnTo>
                    <a:pt x="2191559" y="136256"/>
                  </a:lnTo>
                  <a:lnTo>
                    <a:pt x="2185796" y="142018"/>
                  </a:lnTo>
                  <a:cubicBezTo>
                    <a:pt x="2182367" y="142018"/>
                    <a:pt x="2179605" y="139256"/>
                    <a:pt x="2179605" y="135827"/>
                  </a:cubicBezTo>
                  <a:cubicBezTo>
                    <a:pt x="2179605" y="132398"/>
                    <a:pt x="2182367" y="129636"/>
                    <a:pt x="2185796" y="129636"/>
                  </a:cubicBezTo>
                  <a:lnTo>
                    <a:pt x="2189558" y="133398"/>
                  </a:lnTo>
                  <a:lnTo>
                    <a:pt x="2195321" y="127635"/>
                  </a:lnTo>
                  <a:lnTo>
                    <a:pt x="2198941" y="131254"/>
                  </a:lnTo>
                  <a:lnTo>
                    <a:pt x="2203989" y="126206"/>
                  </a:lnTo>
                  <a:lnTo>
                    <a:pt x="2207561" y="129778"/>
                  </a:lnTo>
                  <a:lnTo>
                    <a:pt x="2211990" y="125349"/>
                  </a:lnTo>
                  <a:lnTo>
                    <a:pt x="2215324" y="128682"/>
                  </a:lnTo>
                  <a:lnTo>
                    <a:pt x="2219324" y="124682"/>
                  </a:lnTo>
                  <a:lnTo>
                    <a:pt x="2222563" y="127921"/>
                  </a:lnTo>
                  <a:lnTo>
                    <a:pt x="2226278" y="124206"/>
                  </a:lnTo>
                  <a:lnTo>
                    <a:pt x="2229279" y="127206"/>
                  </a:lnTo>
                  <a:lnTo>
                    <a:pt x="2232850" y="123635"/>
                  </a:lnTo>
                  <a:lnTo>
                    <a:pt x="2235565" y="126349"/>
                  </a:lnTo>
                  <a:lnTo>
                    <a:pt x="2239041" y="122873"/>
                  </a:lnTo>
                  <a:lnTo>
                    <a:pt x="2241565" y="125397"/>
                  </a:lnTo>
                  <a:lnTo>
                    <a:pt x="2245137" y="121825"/>
                  </a:lnTo>
                  <a:lnTo>
                    <a:pt x="2247328" y="124015"/>
                  </a:lnTo>
                  <a:lnTo>
                    <a:pt x="2251042" y="120301"/>
                  </a:lnTo>
                  <a:lnTo>
                    <a:pt x="2252900" y="122158"/>
                  </a:lnTo>
                  <a:lnTo>
                    <a:pt x="2256853" y="118205"/>
                  </a:lnTo>
                  <a:lnTo>
                    <a:pt x="2258377" y="119729"/>
                  </a:lnTo>
                  <a:lnTo>
                    <a:pt x="2262663" y="115443"/>
                  </a:lnTo>
                  <a:lnTo>
                    <a:pt x="2263902" y="116682"/>
                  </a:lnTo>
                  <a:lnTo>
                    <a:pt x="2268569" y="112014"/>
                  </a:lnTo>
                  <a:lnTo>
                    <a:pt x="2270379" y="113824"/>
                  </a:lnTo>
                  <a:close/>
                  <a:moveTo>
                    <a:pt x="1088802" y="109062"/>
                  </a:moveTo>
                  <a:lnTo>
                    <a:pt x="1093231" y="113491"/>
                  </a:lnTo>
                  <a:lnTo>
                    <a:pt x="1095088" y="111633"/>
                  </a:lnTo>
                  <a:lnTo>
                    <a:pt x="1099184" y="115729"/>
                  </a:lnTo>
                  <a:lnTo>
                    <a:pt x="1101470" y="113443"/>
                  </a:lnTo>
                  <a:lnTo>
                    <a:pt x="1105375" y="117348"/>
                  </a:lnTo>
                  <a:lnTo>
                    <a:pt x="1107947" y="114776"/>
                  </a:lnTo>
                  <a:lnTo>
                    <a:pt x="1111663" y="118491"/>
                  </a:lnTo>
                  <a:lnTo>
                    <a:pt x="1114520" y="115634"/>
                  </a:lnTo>
                  <a:lnTo>
                    <a:pt x="1118282" y="119396"/>
                  </a:lnTo>
                  <a:lnTo>
                    <a:pt x="1121473" y="116205"/>
                  </a:lnTo>
                  <a:lnTo>
                    <a:pt x="1125283" y="120015"/>
                  </a:lnTo>
                  <a:lnTo>
                    <a:pt x="1128712" y="116586"/>
                  </a:lnTo>
                  <a:lnTo>
                    <a:pt x="1132760" y="120634"/>
                  </a:lnTo>
                  <a:lnTo>
                    <a:pt x="1136427" y="116967"/>
                  </a:lnTo>
                  <a:lnTo>
                    <a:pt x="1140809" y="121349"/>
                  </a:lnTo>
                  <a:lnTo>
                    <a:pt x="1144714" y="117443"/>
                  </a:lnTo>
                  <a:lnTo>
                    <a:pt x="1149524" y="122253"/>
                  </a:lnTo>
                  <a:lnTo>
                    <a:pt x="1153572" y="118205"/>
                  </a:lnTo>
                  <a:lnTo>
                    <a:pt x="1159097" y="123730"/>
                  </a:lnTo>
                  <a:lnTo>
                    <a:pt x="1163288" y="119539"/>
                  </a:lnTo>
                  <a:cubicBezTo>
                    <a:pt x="1166717" y="119539"/>
                    <a:pt x="1169479" y="122301"/>
                    <a:pt x="1169479" y="125730"/>
                  </a:cubicBezTo>
                  <a:cubicBezTo>
                    <a:pt x="1169479" y="129159"/>
                    <a:pt x="1166717" y="131922"/>
                    <a:pt x="1163288" y="131922"/>
                  </a:cubicBezTo>
                  <a:lnTo>
                    <a:pt x="1157763" y="126397"/>
                  </a:lnTo>
                  <a:lnTo>
                    <a:pt x="1153572" y="130588"/>
                  </a:lnTo>
                  <a:lnTo>
                    <a:pt x="1148762" y="125778"/>
                  </a:lnTo>
                  <a:lnTo>
                    <a:pt x="1144714" y="129826"/>
                  </a:lnTo>
                  <a:lnTo>
                    <a:pt x="1140332" y="125444"/>
                  </a:lnTo>
                  <a:lnTo>
                    <a:pt x="1136427" y="129349"/>
                  </a:lnTo>
                  <a:lnTo>
                    <a:pt x="1132380" y="125302"/>
                  </a:lnTo>
                  <a:lnTo>
                    <a:pt x="1128712" y="128969"/>
                  </a:lnTo>
                  <a:lnTo>
                    <a:pt x="1124902" y="125159"/>
                  </a:lnTo>
                  <a:lnTo>
                    <a:pt x="1121473" y="128588"/>
                  </a:lnTo>
                  <a:lnTo>
                    <a:pt x="1117711" y="124826"/>
                  </a:lnTo>
                  <a:lnTo>
                    <a:pt x="1114520" y="128017"/>
                  </a:lnTo>
                  <a:lnTo>
                    <a:pt x="1110805" y="124301"/>
                  </a:lnTo>
                  <a:lnTo>
                    <a:pt x="1107947" y="127159"/>
                  </a:lnTo>
                  <a:lnTo>
                    <a:pt x="1104042" y="123254"/>
                  </a:lnTo>
                  <a:lnTo>
                    <a:pt x="1101470" y="125826"/>
                  </a:lnTo>
                  <a:lnTo>
                    <a:pt x="1097374" y="121730"/>
                  </a:lnTo>
                  <a:lnTo>
                    <a:pt x="1095088" y="124016"/>
                  </a:lnTo>
                  <a:lnTo>
                    <a:pt x="1090659" y="119587"/>
                  </a:lnTo>
                  <a:lnTo>
                    <a:pt x="1088802" y="121444"/>
                  </a:lnTo>
                  <a:cubicBezTo>
                    <a:pt x="1085383" y="121444"/>
                    <a:pt x="1082611" y="118673"/>
                    <a:pt x="1082611" y="115253"/>
                  </a:cubicBezTo>
                  <a:cubicBezTo>
                    <a:pt x="1082611" y="111834"/>
                    <a:pt x="1085383" y="109062"/>
                    <a:pt x="1088802" y="109062"/>
                  </a:cubicBezTo>
                  <a:close/>
                  <a:moveTo>
                    <a:pt x="1788985" y="109061"/>
                  </a:moveTo>
                  <a:cubicBezTo>
                    <a:pt x="1792414" y="109061"/>
                    <a:pt x="1795177" y="111823"/>
                    <a:pt x="1795177" y="115252"/>
                  </a:cubicBezTo>
                  <a:cubicBezTo>
                    <a:pt x="1795177" y="118681"/>
                    <a:pt x="1792414" y="121444"/>
                    <a:pt x="1788985" y="121444"/>
                  </a:cubicBezTo>
                  <a:cubicBezTo>
                    <a:pt x="1785556" y="121444"/>
                    <a:pt x="1782794" y="118681"/>
                    <a:pt x="1782794" y="115252"/>
                  </a:cubicBezTo>
                  <a:cubicBezTo>
                    <a:pt x="1782794" y="111823"/>
                    <a:pt x="1785556" y="109061"/>
                    <a:pt x="1788985" y="109061"/>
                  </a:cubicBezTo>
                  <a:close/>
                  <a:moveTo>
                    <a:pt x="2050351" y="108776"/>
                  </a:moveTo>
                  <a:cubicBezTo>
                    <a:pt x="2053780" y="108776"/>
                    <a:pt x="2056543" y="111538"/>
                    <a:pt x="2056543" y="114967"/>
                  </a:cubicBezTo>
                  <a:cubicBezTo>
                    <a:pt x="2056543" y="118396"/>
                    <a:pt x="2053780" y="121159"/>
                    <a:pt x="2050351" y="121159"/>
                  </a:cubicBezTo>
                  <a:cubicBezTo>
                    <a:pt x="2046922" y="121159"/>
                    <a:pt x="2044160" y="118396"/>
                    <a:pt x="2044160" y="114967"/>
                  </a:cubicBezTo>
                  <a:cubicBezTo>
                    <a:pt x="2044160" y="111538"/>
                    <a:pt x="2046922" y="108776"/>
                    <a:pt x="2050351" y="108776"/>
                  </a:cubicBezTo>
                  <a:close/>
                  <a:moveTo>
                    <a:pt x="1332070" y="108490"/>
                  </a:moveTo>
                  <a:cubicBezTo>
                    <a:pt x="1335499" y="108490"/>
                    <a:pt x="1338262" y="111252"/>
                    <a:pt x="1338262" y="114681"/>
                  </a:cubicBezTo>
                  <a:cubicBezTo>
                    <a:pt x="1338262" y="118110"/>
                    <a:pt x="1335499" y="120873"/>
                    <a:pt x="1332070" y="120873"/>
                  </a:cubicBezTo>
                  <a:cubicBezTo>
                    <a:pt x="1328641" y="120873"/>
                    <a:pt x="1325879" y="118110"/>
                    <a:pt x="1325879" y="114681"/>
                  </a:cubicBezTo>
                  <a:cubicBezTo>
                    <a:pt x="1325879" y="111252"/>
                    <a:pt x="1328641" y="108490"/>
                    <a:pt x="1332070" y="108490"/>
                  </a:cubicBezTo>
                  <a:close/>
                  <a:moveTo>
                    <a:pt x="1226153" y="107442"/>
                  </a:moveTo>
                  <a:cubicBezTo>
                    <a:pt x="1229582" y="107442"/>
                    <a:pt x="1232345" y="110204"/>
                    <a:pt x="1232345" y="113633"/>
                  </a:cubicBezTo>
                  <a:cubicBezTo>
                    <a:pt x="1232345" y="117062"/>
                    <a:pt x="1229582" y="119824"/>
                    <a:pt x="1226153" y="119824"/>
                  </a:cubicBezTo>
                  <a:cubicBezTo>
                    <a:pt x="1222724" y="119824"/>
                    <a:pt x="1219962" y="117062"/>
                    <a:pt x="1219962" y="113633"/>
                  </a:cubicBezTo>
                  <a:cubicBezTo>
                    <a:pt x="1219962" y="110204"/>
                    <a:pt x="1222724" y="107442"/>
                    <a:pt x="1226153" y="107442"/>
                  </a:cubicBezTo>
                  <a:close/>
                  <a:moveTo>
                    <a:pt x="1580292" y="107061"/>
                  </a:moveTo>
                  <a:cubicBezTo>
                    <a:pt x="1583721" y="107061"/>
                    <a:pt x="1586484" y="109823"/>
                    <a:pt x="1586484" y="113252"/>
                  </a:cubicBezTo>
                  <a:cubicBezTo>
                    <a:pt x="1586484" y="116681"/>
                    <a:pt x="1583721" y="119444"/>
                    <a:pt x="1580292" y="119444"/>
                  </a:cubicBezTo>
                  <a:cubicBezTo>
                    <a:pt x="1576863" y="119444"/>
                    <a:pt x="1574101" y="116681"/>
                    <a:pt x="1574101" y="113252"/>
                  </a:cubicBezTo>
                  <a:cubicBezTo>
                    <a:pt x="1574101" y="109823"/>
                    <a:pt x="1576863" y="107061"/>
                    <a:pt x="1580292" y="107061"/>
                  </a:cubicBezTo>
                  <a:close/>
                  <a:moveTo>
                    <a:pt x="1417415" y="106966"/>
                  </a:moveTo>
                  <a:cubicBezTo>
                    <a:pt x="1420844" y="106966"/>
                    <a:pt x="1423607" y="109728"/>
                    <a:pt x="1423607" y="113157"/>
                  </a:cubicBezTo>
                  <a:cubicBezTo>
                    <a:pt x="1423607" y="116586"/>
                    <a:pt x="1420844" y="119349"/>
                    <a:pt x="1417415" y="119349"/>
                  </a:cubicBezTo>
                  <a:cubicBezTo>
                    <a:pt x="1413986" y="119349"/>
                    <a:pt x="1411224" y="116586"/>
                    <a:pt x="1411224" y="113157"/>
                  </a:cubicBezTo>
                  <a:cubicBezTo>
                    <a:pt x="1411224" y="109728"/>
                    <a:pt x="1413986" y="106966"/>
                    <a:pt x="1417415" y="106966"/>
                  </a:cubicBezTo>
                  <a:close/>
                  <a:moveTo>
                    <a:pt x="1719548" y="105918"/>
                  </a:moveTo>
                  <a:cubicBezTo>
                    <a:pt x="1722977" y="105918"/>
                    <a:pt x="1725739" y="108680"/>
                    <a:pt x="1725739" y="112109"/>
                  </a:cubicBezTo>
                  <a:cubicBezTo>
                    <a:pt x="1725739" y="115538"/>
                    <a:pt x="1722977" y="118301"/>
                    <a:pt x="1719548" y="118301"/>
                  </a:cubicBezTo>
                  <a:cubicBezTo>
                    <a:pt x="1716119" y="118301"/>
                    <a:pt x="1713357" y="115538"/>
                    <a:pt x="1713357" y="112109"/>
                  </a:cubicBezTo>
                  <a:cubicBezTo>
                    <a:pt x="1713357" y="108680"/>
                    <a:pt x="1716119" y="105918"/>
                    <a:pt x="1719548" y="105918"/>
                  </a:cubicBezTo>
                  <a:close/>
                  <a:moveTo>
                    <a:pt x="1213580" y="105442"/>
                  </a:moveTo>
                  <a:cubicBezTo>
                    <a:pt x="1217009" y="105442"/>
                    <a:pt x="1219771" y="108204"/>
                    <a:pt x="1219771" y="111633"/>
                  </a:cubicBezTo>
                  <a:cubicBezTo>
                    <a:pt x="1219771" y="115062"/>
                    <a:pt x="1217009" y="117824"/>
                    <a:pt x="1213580" y="117824"/>
                  </a:cubicBezTo>
                  <a:cubicBezTo>
                    <a:pt x="1210151" y="117824"/>
                    <a:pt x="1207389" y="115062"/>
                    <a:pt x="1207389" y="111633"/>
                  </a:cubicBezTo>
                  <a:cubicBezTo>
                    <a:pt x="1207389" y="108204"/>
                    <a:pt x="1210151" y="105442"/>
                    <a:pt x="1213580" y="105442"/>
                  </a:cubicBezTo>
                  <a:close/>
                  <a:moveTo>
                    <a:pt x="1649920" y="105347"/>
                  </a:moveTo>
                  <a:cubicBezTo>
                    <a:pt x="1653349" y="105347"/>
                    <a:pt x="1656111" y="108109"/>
                    <a:pt x="1656111" y="111538"/>
                  </a:cubicBezTo>
                  <a:cubicBezTo>
                    <a:pt x="1656111" y="114967"/>
                    <a:pt x="1653349" y="117730"/>
                    <a:pt x="1649920" y="117730"/>
                  </a:cubicBezTo>
                  <a:cubicBezTo>
                    <a:pt x="1646491" y="117730"/>
                    <a:pt x="1643729" y="114967"/>
                    <a:pt x="1643729" y="111538"/>
                  </a:cubicBezTo>
                  <a:cubicBezTo>
                    <a:pt x="1643729" y="108109"/>
                    <a:pt x="1646491" y="105347"/>
                    <a:pt x="1649920" y="105347"/>
                  </a:cubicBezTo>
                  <a:close/>
                  <a:moveTo>
                    <a:pt x="2066448" y="104394"/>
                  </a:moveTo>
                  <a:cubicBezTo>
                    <a:pt x="2069877" y="104394"/>
                    <a:pt x="2072640" y="107156"/>
                    <a:pt x="2072640" y="110585"/>
                  </a:cubicBezTo>
                  <a:cubicBezTo>
                    <a:pt x="2072640" y="114014"/>
                    <a:pt x="2069877" y="116777"/>
                    <a:pt x="2066448" y="116777"/>
                  </a:cubicBezTo>
                  <a:cubicBezTo>
                    <a:pt x="2063019" y="116777"/>
                    <a:pt x="2060257" y="114014"/>
                    <a:pt x="2060257" y="110585"/>
                  </a:cubicBezTo>
                  <a:cubicBezTo>
                    <a:pt x="2060257" y="107156"/>
                    <a:pt x="2063019" y="104394"/>
                    <a:pt x="2066448" y="104394"/>
                  </a:cubicBezTo>
                  <a:close/>
                  <a:moveTo>
                    <a:pt x="1971389" y="103632"/>
                  </a:moveTo>
                  <a:cubicBezTo>
                    <a:pt x="1974818" y="103632"/>
                    <a:pt x="1977580" y="106394"/>
                    <a:pt x="1977580" y="109823"/>
                  </a:cubicBezTo>
                  <a:cubicBezTo>
                    <a:pt x="1977580" y="113252"/>
                    <a:pt x="1974818" y="116015"/>
                    <a:pt x="1971389" y="116015"/>
                  </a:cubicBezTo>
                  <a:cubicBezTo>
                    <a:pt x="1967960" y="116015"/>
                    <a:pt x="1965198" y="113252"/>
                    <a:pt x="1965198" y="109823"/>
                  </a:cubicBezTo>
                  <a:cubicBezTo>
                    <a:pt x="1965198" y="106394"/>
                    <a:pt x="1967960" y="103632"/>
                    <a:pt x="1971389" y="103632"/>
                  </a:cubicBezTo>
                  <a:close/>
                  <a:moveTo>
                    <a:pt x="1884330" y="103347"/>
                  </a:moveTo>
                  <a:cubicBezTo>
                    <a:pt x="1887759" y="103347"/>
                    <a:pt x="1890522" y="106109"/>
                    <a:pt x="1890522" y="109538"/>
                  </a:cubicBezTo>
                  <a:cubicBezTo>
                    <a:pt x="1890522" y="112967"/>
                    <a:pt x="1887759" y="115730"/>
                    <a:pt x="1884330" y="115730"/>
                  </a:cubicBezTo>
                  <a:cubicBezTo>
                    <a:pt x="1880901" y="115730"/>
                    <a:pt x="1878139" y="112967"/>
                    <a:pt x="1878139" y="109538"/>
                  </a:cubicBezTo>
                  <a:cubicBezTo>
                    <a:pt x="1878139" y="106109"/>
                    <a:pt x="1880901" y="103347"/>
                    <a:pt x="1884330" y="103347"/>
                  </a:cubicBezTo>
                  <a:close/>
                  <a:moveTo>
                    <a:pt x="1313211" y="102394"/>
                  </a:moveTo>
                  <a:cubicBezTo>
                    <a:pt x="1316640" y="102394"/>
                    <a:pt x="1319403" y="105156"/>
                    <a:pt x="1319403" y="108585"/>
                  </a:cubicBezTo>
                  <a:cubicBezTo>
                    <a:pt x="1319403" y="112014"/>
                    <a:pt x="1316640" y="114777"/>
                    <a:pt x="1313211" y="114777"/>
                  </a:cubicBezTo>
                  <a:cubicBezTo>
                    <a:pt x="1309782" y="114777"/>
                    <a:pt x="1307020" y="112014"/>
                    <a:pt x="1307020" y="108585"/>
                  </a:cubicBezTo>
                  <a:cubicBezTo>
                    <a:pt x="1307020" y="105156"/>
                    <a:pt x="1309782" y="102394"/>
                    <a:pt x="1313211" y="102394"/>
                  </a:cubicBezTo>
                  <a:close/>
                  <a:moveTo>
                    <a:pt x="2081212" y="101251"/>
                  </a:moveTo>
                  <a:cubicBezTo>
                    <a:pt x="2084632" y="101251"/>
                    <a:pt x="2087403" y="104023"/>
                    <a:pt x="2087403" y="107442"/>
                  </a:cubicBezTo>
                  <a:cubicBezTo>
                    <a:pt x="2087403" y="110862"/>
                    <a:pt x="2084632" y="113634"/>
                    <a:pt x="2081212" y="113634"/>
                  </a:cubicBezTo>
                  <a:cubicBezTo>
                    <a:pt x="2077793" y="113634"/>
                    <a:pt x="2075021" y="110862"/>
                    <a:pt x="2075021" y="107442"/>
                  </a:cubicBezTo>
                  <a:cubicBezTo>
                    <a:pt x="2075021" y="104023"/>
                    <a:pt x="2077793" y="101251"/>
                    <a:pt x="2081212" y="101251"/>
                  </a:cubicBezTo>
                  <a:close/>
                  <a:moveTo>
                    <a:pt x="1483232" y="99632"/>
                  </a:moveTo>
                  <a:cubicBezTo>
                    <a:pt x="1486661" y="99632"/>
                    <a:pt x="1489423" y="102394"/>
                    <a:pt x="1489423" y="105823"/>
                  </a:cubicBezTo>
                  <a:cubicBezTo>
                    <a:pt x="1489423" y="109252"/>
                    <a:pt x="1486661" y="112015"/>
                    <a:pt x="1483232" y="112015"/>
                  </a:cubicBezTo>
                  <a:cubicBezTo>
                    <a:pt x="1479803" y="112015"/>
                    <a:pt x="1477041" y="109252"/>
                    <a:pt x="1477041" y="105823"/>
                  </a:cubicBezTo>
                  <a:cubicBezTo>
                    <a:pt x="1477041" y="102394"/>
                    <a:pt x="1479803" y="99632"/>
                    <a:pt x="1483232" y="99632"/>
                  </a:cubicBezTo>
                  <a:close/>
                  <a:moveTo>
                    <a:pt x="2094642" y="99251"/>
                  </a:moveTo>
                  <a:cubicBezTo>
                    <a:pt x="2098071" y="99251"/>
                    <a:pt x="2100834" y="102013"/>
                    <a:pt x="2100834" y="105442"/>
                  </a:cubicBezTo>
                  <a:cubicBezTo>
                    <a:pt x="2100834" y="108871"/>
                    <a:pt x="2098071" y="111634"/>
                    <a:pt x="2094642" y="111634"/>
                  </a:cubicBezTo>
                  <a:cubicBezTo>
                    <a:pt x="2091213" y="111634"/>
                    <a:pt x="2088451" y="108871"/>
                    <a:pt x="2088451" y="105442"/>
                  </a:cubicBezTo>
                  <a:cubicBezTo>
                    <a:pt x="2088451" y="102013"/>
                    <a:pt x="2091213" y="99251"/>
                    <a:pt x="2094642" y="99251"/>
                  </a:cubicBezTo>
                  <a:close/>
                  <a:moveTo>
                    <a:pt x="1394174" y="98489"/>
                  </a:moveTo>
                  <a:cubicBezTo>
                    <a:pt x="1397603" y="98489"/>
                    <a:pt x="1400366" y="101251"/>
                    <a:pt x="1400366" y="104680"/>
                  </a:cubicBezTo>
                  <a:cubicBezTo>
                    <a:pt x="1400366" y="108109"/>
                    <a:pt x="1397603" y="110872"/>
                    <a:pt x="1394174" y="110872"/>
                  </a:cubicBezTo>
                  <a:cubicBezTo>
                    <a:pt x="1390745" y="110872"/>
                    <a:pt x="1387983" y="108109"/>
                    <a:pt x="1387983" y="104680"/>
                  </a:cubicBezTo>
                  <a:cubicBezTo>
                    <a:pt x="1387983" y="101251"/>
                    <a:pt x="1390745" y="98489"/>
                    <a:pt x="1394174" y="98489"/>
                  </a:cubicBezTo>
                  <a:close/>
                  <a:moveTo>
                    <a:pt x="1295875" y="97917"/>
                  </a:moveTo>
                  <a:cubicBezTo>
                    <a:pt x="1299304" y="97917"/>
                    <a:pt x="1302067" y="100679"/>
                    <a:pt x="1302067" y="104108"/>
                  </a:cubicBezTo>
                  <a:cubicBezTo>
                    <a:pt x="1302067" y="107537"/>
                    <a:pt x="1299304" y="110299"/>
                    <a:pt x="1295875" y="110299"/>
                  </a:cubicBezTo>
                  <a:cubicBezTo>
                    <a:pt x="1292446" y="110299"/>
                    <a:pt x="1289684" y="107537"/>
                    <a:pt x="1289684" y="104108"/>
                  </a:cubicBezTo>
                  <a:cubicBezTo>
                    <a:pt x="1289684" y="100679"/>
                    <a:pt x="1292446" y="97917"/>
                    <a:pt x="1295875" y="97917"/>
                  </a:cubicBezTo>
                  <a:close/>
                  <a:moveTo>
                    <a:pt x="1991391" y="97346"/>
                  </a:moveTo>
                  <a:cubicBezTo>
                    <a:pt x="1994820" y="97346"/>
                    <a:pt x="1997583" y="100108"/>
                    <a:pt x="1997583" y="103537"/>
                  </a:cubicBezTo>
                  <a:cubicBezTo>
                    <a:pt x="1997583" y="106966"/>
                    <a:pt x="1994820" y="109729"/>
                    <a:pt x="1991391" y="109729"/>
                  </a:cubicBezTo>
                  <a:cubicBezTo>
                    <a:pt x="1987962" y="109729"/>
                    <a:pt x="1985200" y="106966"/>
                    <a:pt x="1985200" y="103537"/>
                  </a:cubicBezTo>
                  <a:cubicBezTo>
                    <a:pt x="1985200" y="100108"/>
                    <a:pt x="1987962" y="97346"/>
                    <a:pt x="1991391" y="97346"/>
                  </a:cubicBezTo>
                  <a:close/>
                  <a:moveTo>
                    <a:pt x="2239993" y="97060"/>
                  </a:moveTo>
                  <a:cubicBezTo>
                    <a:pt x="2243232" y="97060"/>
                    <a:pt x="2245899" y="99727"/>
                    <a:pt x="2245899" y="102965"/>
                  </a:cubicBezTo>
                  <a:cubicBezTo>
                    <a:pt x="2245899" y="106204"/>
                    <a:pt x="2243232" y="108871"/>
                    <a:pt x="2239993" y="108871"/>
                  </a:cubicBezTo>
                  <a:lnTo>
                    <a:pt x="2238708" y="107586"/>
                  </a:lnTo>
                  <a:lnTo>
                    <a:pt x="2233231" y="113062"/>
                  </a:lnTo>
                  <a:lnTo>
                    <a:pt x="2231374" y="111205"/>
                  </a:lnTo>
                  <a:lnTo>
                    <a:pt x="2226468" y="116111"/>
                  </a:lnTo>
                  <a:lnTo>
                    <a:pt x="2224277" y="113919"/>
                  </a:lnTo>
                  <a:lnTo>
                    <a:pt x="2219800" y="118396"/>
                  </a:lnTo>
                  <a:lnTo>
                    <a:pt x="2217181" y="115777"/>
                  </a:lnTo>
                  <a:lnTo>
                    <a:pt x="2212942" y="120016"/>
                  </a:lnTo>
                  <a:lnTo>
                    <a:pt x="2210037" y="117111"/>
                  </a:lnTo>
                  <a:lnTo>
                    <a:pt x="2205989" y="121159"/>
                  </a:lnTo>
                  <a:lnTo>
                    <a:pt x="2202703" y="117872"/>
                  </a:lnTo>
                  <a:lnTo>
                    <a:pt x="2198750" y="121825"/>
                  </a:lnTo>
                  <a:lnTo>
                    <a:pt x="2195226" y="118301"/>
                  </a:lnTo>
                  <a:lnTo>
                    <a:pt x="2191225" y="122302"/>
                  </a:lnTo>
                  <a:lnTo>
                    <a:pt x="2187367" y="118444"/>
                  </a:lnTo>
                  <a:lnTo>
                    <a:pt x="2183320" y="122492"/>
                  </a:lnTo>
                  <a:lnTo>
                    <a:pt x="2179272" y="118444"/>
                  </a:lnTo>
                  <a:lnTo>
                    <a:pt x="2174938" y="122778"/>
                  </a:lnTo>
                  <a:lnTo>
                    <a:pt x="2170604" y="118443"/>
                  </a:lnTo>
                  <a:lnTo>
                    <a:pt x="2165889" y="123159"/>
                  </a:lnTo>
                  <a:lnTo>
                    <a:pt x="2161413" y="118682"/>
                  </a:lnTo>
                  <a:lnTo>
                    <a:pt x="2156174" y="123921"/>
                  </a:lnTo>
                  <a:lnTo>
                    <a:pt x="2151554" y="119301"/>
                  </a:lnTo>
                  <a:lnTo>
                    <a:pt x="2145696" y="125159"/>
                  </a:lnTo>
                  <a:cubicBezTo>
                    <a:pt x="2142267" y="125159"/>
                    <a:pt x="2139505" y="122396"/>
                    <a:pt x="2139505" y="118967"/>
                  </a:cubicBezTo>
                  <a:cubicBezTo>
                    <a:pt x="2139505" y="115538"/>
                    <a:pt x="2142267" y="112776"/>
                    <a:pt x="2145696" y="112776"/>
                  </a:cubicBezTo>
                  <a:lnTo>
                    <a:pt x="2150316" y="117396"/>
                  </a:lnTo>
                  <a:lnTo>
                    <a:pt x="2156174" y="111538"/>
                  </a:lnTo>
                  <a:lnTo>
                    <a:pt x="2160651" y="116014"/>
                  </a:lnTo>
                  <a:lnTo>
                    <a:pt x="2165889" y="110776"/>
                  </a:lnTo>
                  <a:lnTo>
                    <a:pt x="2170223" y="115110"/>
                  </a:lnTo>
                  <a:lnTo>
                    <a:pt x="2174938" y="110395"/>
                  </a:lnTo>
                  <a:lnTo>
                    <a:pt x="2178986" y="114443"/>
                  </a:lnTo>
                  <a:lnTo>
                    <a:pt x="2183320" y="110109"/>
                  </a:lnTo>
                  <a:lnTo>
                    <a:pt x="2187178" y="113967"/>
                  </a:lnTo>
                  <a:lnTo>
                    <a:pt x="2191225" y="109919"/>
                  </a:lnTo>
                  <a:lnTo>
                    <a:pt x="2194749" y="113443"/>
                  </a:lnTo>
                  <a:lnTo>
                    <a:pt x="2198750" y="109442"/>
                  </a:lnTo>
                  <a:lnTo>
                    <a:pt x="2202037" y="112728"/>
                  </a:lnTo>
                  <a:lnTo>
                    <a:pt x="2205989" y="108776"/>
                  </a:lnTo>
                  <a:lnTo>
                    <a:pt x="2208894" y="111681"/>
                  </a:lnTo>
                  <a:lnTo>
                    <a:pt x="2212942" y="107633"/>
                  </a:lnTo>
                  <a:lnTo>
                    <a:pt x="2215561" y="110252"/>
                  </a:lnTo>
                  <a:lnTo>
                    <a:pt x="2219800" y="106013"/>
                  </a:lnTo>
                  <a:lnTo>
                    <a:pt x="2221992" y="108204"/>
                  </a:lnTo>
                  <a:lnTo>
                    <a:pt x="2226468" y="103728"/>
                  </a:lnTo>
                  <a:lnTo>
                    <a:pt x="2228326" y="105586"/>
                  </a:lnTo>
                  <a:lnTo>
                    <a:pt x="2233231" y="100680"/>
                  </a:lnTo>
                  <a:lnTo>
                    <a:pt x="2234802" y="102251"/>
                  </a:lnTo>
                  <a:close/>
                  <a:moveTo>
                    <a:pt x="1818131" y="97060"/>
                  </a:moveTo>
                  <a:cubicBezTo>
                    <a:pt x="1821560" y="97060"/>
                    <a:pt x="1824323" y="99822"/>
                    <a:pt x="1824323" y="103251"/>
                  </a:cubicBezTo>
                  <a:cubicBezTo>
                    <a:pt x="1824323" y="106680"/>
                    <a:pt x="1821560" y="109442"/>
                    <a:pt x="1818131" y="109442"/>
                  </a:cubicBezTo>
                  <a:cubicBezTo>
                    <a:pt x="1814702" y="109442"/>
                    <a:pt x="1811940" y="106680"/>
                    <a:pt x="1811940" y="103251"/>
                  </a:cubicBezTo>
                  <a:cubicBezTo>
                    <a:pt x="1811940" y="99822"/>
                    <a:pt x="1814702" y="97060"/>
                    <a:pt x="1818131" y="97060"/>
                  </a:cubicBezTo>
                  <a:close/>
                  <a:moveTo>
                    <a:pt x="1118140" y="96012"/>
                  </a:moveTo>
                  <a:lnTo>
                    <a:pt x="1122521" y="100393"/>
                  </a:lnTo>
                  <a:lnTo>
                    <a:pt x="1125378" y="97536"/>
                  </a:lnTo>
                  <a:lnTo>
                    <a:pt x="1130046" y="102203"/>
                  </a:lnTo>
                  <a:lnTo>
                    <a:pt x="1132617" y="99632"/>
                  </a:lnTo>
                  <a:lnTo>
                    <a:pt x="1137046" y="104061"/>
                  </a:lnTo>
                  <a:lnTo>
                    <a:pt x="1139951" y="101156"/>
                  </a:lnTo>
                  <a:lnTo>
                    <a:pt x="1144237" y="105442"/>
                  </a:lnTo>
                  <a:lnTo>
                    <a:pt x="1147571" y="102108"/>
                  </a:lnTo>
                  <a:lnTo>
                    <a:pt x="1151715" y="106252"/>
                  </a:lnTo>
                  <a:lnTo>
                    <a:pt x="1155382" y="102585"/>
                  </a:lnTo>
                  <a:lnTo>
                    <a:pt x="1159620" y="106823"/>
                  </a:lnTo>
                  <a:lnTo>
                    <a:pt x="1163573" y="102870"/>
                  </a:lnTo>
                  <a:lnTo>
                    <a:pt x="1168003" y="107300"/>
                  </a:lnTo>
                  <a:lnTo>
                    <a:pt x="1172336" y="102966"/>
                  </a:lnTo>
                  <a:lnTo>
                    <a:pt x="1177051" y="107681"/>
                  </a:lnTo>
                  <a:lnTo>
                    <a:pt x="1181576" y="103156"/>
                  </a:lnTo>
                  <a:lnTo>
                    <a:pt x="1186624" y="108204"/>
                  </a:lnTo>
                  <a:lnTo>
                    <a:pt x="1191386" y="103442"/>
                  </a:lnTo>
                  <a:lnTo>
                    <a:pt x="1197054" y="109109"/>
                  </a:lnTo>
                  <a:lnTo>
                    <a:pt x="1202054" y="104109"/>
                  </a:lnTo>
                  <a:cubicBezTo>
                    <a:pt x="1205483" y="104109"/>
                    <a:pt x="1208245" y="106871"/>
                    <a:pt x="1208245" y="110300"/>
                  </a:cubicBezTo>
                  <a:cubicBezTo>
                    <a:pt x="1208245" y="113729"/>
                    <a:pt x="1205483" y="116492"/>
                    <a:pt x="1202054" y="116492"/>
                  </a:cubicBezTo>
                  <a:lnTo>
                    <a:pt x="1196387" y="110824"/>
                  </a:lnTo>
                  <a:lnTo>
                    <a:pt x="1191386" y="115824"/>
                  </a:lnTo>
                  <a:lnTo>
                    <a:pt x="1186338" y="110776"/>
                  </a:lnTo>
                  <a:lnTo>
                    <a:pt x="1181576" y="115539"/>
                  </a:lnTo>
                  <a:lnTo>
                    <a:pt x="1176861" y="110824"/>
                  </a:lnTo>
                  <a:lnTo>
                    <a:pt x="1172336" y="115349"/>
                  </a:lnTo>
                  <a:lnTo>
                    <a:pt x="1167907" y="110919"/>
                  </a:lnTo>
                  <a:lnTo>
                    <a:pt x="1163573" y="115253"/>
                  </a:lnTo>
                  <a:lnTo>
                    <a:pt x="1159335" y="111014"/>
                  </a:lnTo>
                  <a:lnTo>
                    <a:pt x="1155382" y="114968"/>
                  </a:lnTo>
                  <a:lnTo>
                    <a:pt x="1151238" y="110823"/>
                  </a:lnTo>
                  <a:lnTo>
                    <a:pt x="1147571" y="114491"/>
                  </a:lnTo>
                  <a:lnTo>
                    <a:pt x="1143285" y="110205"/>
                  </a:lnTo>
                  <a:lnTo>
                    <a:pt x="1139951" y="113539"/>
                  </a:lnTo>
                  <a:lnTo>
                    <a:pt x="1135522" y="109110"/>
                  </a:lnTo>
                  <a:lnTo>
                    <a:pt x="1132617" y="112015"/>
                  </a:lnTo>
                  <a:lnTo>
                    <a:pt x="1127950" y="107347"/>
                  </a:lnTo>
                  <a:lnTo>
                    <a:pt x="1125378" y="109919"/>
                  </a:lnTo>
                  <a:lnTo>
                    <a:pt x="1119664" y="104204"/>
                  </a:lnTo>
                  <a:lnTo>
                    <a:pt x="1118140" y="105728"/>
                  </a:lnTo>
                  <a:cubicBezTo>
                    <a:pt x="1115457" y="105728"/>
                    <a:pt x="1113282" y="103553"/>
                    <a:pt x="1113282" y="100870"/>
                  </a:cubicBezTo>
                  <a:cubicBezTo>
                    <a:pt x="1113282" y="98187"/>
                    <a:pt x="1115457" y="96012"/>
                    <a:pt x="1118140" y="96012"/>
                  </a:cubicBezTo>
                  <a:close/>
                  <a:moveTo>
                    <a:pt x="1279969" y="94679"/>
                  </a:moveTo>
                  <a:cubicBezTo>
                    <a:pt x="1283398" y="94679"/>
                    <a:pt x="1286161" y="97441"/>
                    <a:pt x="1286161" y="100870"/>
                  </a:cubicBezTo>
                  <a:cubicBezTo>
                    <a:pt x="1286161" y="104299"/>
                    <a:pt x="1283398" y="107061"/>
                    <a:pt x="1279969" y="107061"/>
                  </a:cubicBezTo>
                  <a:cubicBezTo>
                    <a:pt x="1276540" y="107061"/>
                    <a:pt x="1273778" y="104299"/>
                    <a:pt x="1273778" y="100870"/>
                  </a:cubicBezTo>
                  <a:cubicBezTo>
                    <a:pt x="1273778" y="97441"/>
                    <a:pt x="1276540" y="94679"/>
                    <a:pt x="1279969" y="94679"/>
                  </a:cubicBezTo>
                  <a:close/>
                  <a:moveTo>
                    <a:pt x="1549717" y="94584"/>
                  </a:moveTo>
                  <a:cubicBezTo>
                    <a:pt x="1553146" y="94584"/>
                    <a:pt x="1555909" y="97346"/>
                    <a:pt x="1555909" y="100775"/>
                  </a:cubicBezTo>
                  <a:cubicBezTo>
                    <a:pt x="1555909" y="104204"/>
                    <a:pt x="1553146" y="106967"/>
                    <a:pt x="1549717" y="106967"/>
                  </a:cubicBezTo>
                  <a:cubicBezTo>
                    <a:pt x="1546288" y="106967"/>
                    <a:pt x="1543526" y="104204"/>
                    <a:pt x="1543526" y="100775"/>
                  </a:cubicBezTo>
                  <a:cubicBezTo>
                    <a:pt x="1543526" y="97346"/>
                    <a:pt x="1546288" y="94584"/>
                    <a:pt x="1549717" y="94584"/>
                  </a:cubicBezTo>
                  <a:close/>
                  <a:moveTo>
                    <a:pt x="1908714" y="94488"/>
                  </a:moveTo>
                  <a:cubicBezTo>
                    <a:pt x="1912143" y="94488"/>
                    <a:pt x="1914905" y="97250"/>
                    <a:pt x="1914905" y="100679"/>
                  </a:cubicBezTo>
                  <a:cubicBezTo>
                    <a:pt x="1914905" y="104108"/>
                    <a:pt x="1912143" y="106871"/>
                    <a:pt x="1908714" y="106871"/>
                  </a:cubicBezTo>
                  <a:cubicBezTo>
                    <a:pt x="1905285" y="106871"/>
                    <a:pt x="1902523" y="104108"/>
                    <a:pt x="1902523" y="100679"/>
                  </a:cubicBezTo>
                  <a:cubicBezTo>
                    <a:pt x="1902523" y="97250"/>
                    <a:pt x="1905285" y="94488"/>
                    <a:pt x="1908714" y="94488"/>
                  </a:cubicBezTo>
                  <a:close/>
                  <a:moveTo>
                    <a:pt x="1751266" y="92964"/>
                  </a:moveTo>
                  <a:cubicBezTo>
                    <a:pt x="1754695" y="92964"/>
                    <a:pt x="1757457" y="95726"/>
                    <a:pt x="1757457" y="99155"/>
                  </a:cubicBezTo>
                  <a:cubicBezTo>
                    <a:pt x="1757457" y="102584"/>
                    <a:pt x="1754695" y="105347"/>
                    <a:pt x="1751266" y="105347"/>
                  </a:cubicBezTo>
                  <a:cubicBezTo>
                    <a:pt x="1747837" y="105347"/>
                    <a:pt x="1745075" y="102584"/>
                    <a:pt x="1745075" y="99155"/>
                  </a:cubicBezTo>
                  <a:cubicBezTo>
                    <a:pt x="1745075" y="95726"/>
                    <a:pt x="1747837" y="92964"/>
                    <a:pt x="1751266" y="92964"/>
                  </a:cubicBezTo>
                  <a:close/>
                  <a:moveTo>
                    <a:pt x="2009870" y="92679"/>
                  </a:moveTo>
                  <a:cubicBezTo>
                    <a:pt x="2013299" y="92679"/>
                    <a:pt x="2016062" y="95441"/>
                    <a:pt x="2016062" y="98870"/>
                  </a:cubicBezTo>
                  <a:cubicBezTo>
                    <a:pt x="2016062" y="102299"/>
                    <a:pt x="2013299" y="105062"/>
                    <a:pt x="2009870" y="105062"/>
                  </a:cubicBezTo>
                  <a:cubicBezTo>
                    <a:pt x="2006441" y="105062"/>
                    <a:pt x="2003679" y="102299"/>
                    <a:pt x="2003679" y="98870"/>
                  </a:cubicBezTo>
                  <a:cubicBezTo>
                    <a:pt x="2003679" y="95441"/>
                    <a:pt x="2006441" y="92679"/>
                    <a:pt x="2009870" y="92679"/>
                  </a:cubicBezTo>
                  <a:close/>
                  <a:moveTo>
                    <a:pt x="1265300" y="92583"/>
                  </a:moveTo>
                  <a:cubicBezTo>
                    <a:pt x="1268729" y="92583"/>
                    <a:pt x="1271492" y="95345"/>
                    <a:pt x="1271492" y="98774"/>
                  </a:cubicBezTo>
                  <a:cubicBezTo>
                    <a:pt x="1271492" y="102203"/>
                    <a:pt x="1268729" y="104966"/>
                    <a:pt x="1265300" y="104966"/>
                  </a:cubicBezTo>
                  <a:cubicBezTo>
                    <a:pt x="1261871" y="104966"/>
                    <a:pt x="1259109" y="102203"/>
                    <a:pt x="1259109" y="98774"/>
                  </a:cubicBezTo>
                  <a:cubicBezTo>
                    <a:pt x="1259109" y="95345"/>
                    <a:pt x="1261871" y="92583"/>
                    <a:pt x="1265300" y="92583"/>
                  </a:cubicBezTo>
                  <a:close/>
                  <a:moveTo>
                    <a:pt x="1372837" y="91917"/>
                  </a:moveTo>
                  <a:cubicBezTo>
                    <a:pt x="1376266" y="91917"/>
                    <a:pt x="1379029" y="94679"/>
                    <a:pt x="1379029" y="98108"/>
                  </a:cubicBezTo>
                  <a:cubicBezTo>
                    <a:pt x="1379029" y="101537"/>
                    <a:pt x="1376266" y="104299"/>
                    <a:pt x="1372837" y="104299"/>
                  </a:cubicBezTo>
                  <a:cubicBezTo>
                    <a:pt x="1369408" y="104299"/>
                    <a:pt x="1366646" y="101537"/>
                    <a:pt x="1366646" y="98108"/>
                  </a:cubicBezTo>
                  <a:cubicBezTo>
                    <a:pt x="1366646" y="94679"/>
                    <a:pt x="1369408" y="91917"/>
                    <a:pt x="1372837" y="91917"/>
                  </a:cubicBezTo>
                  <a:close/>
                  <a:moveTo>
                    <a:pt x="1616868" y="91726"/>
                  </a:moveTo>
                  <a:cubicBezTo>
                    <a:pt x="1620297" y="91726"/>
                    <a:pt x="1623059" y="94488"/>
                    <a:pt x="1623059" y="97917"/>
                  </a:cubicBezTo>
                  <a:cubicBezTo>
                    <a:pt x="1623059" y="101346"/>
                    <a:pt x="1620297" y="104109"/>
                    <a:pt x="1616868" y="104109"/>
                  </a:cubicBezTo>
                  <a:cubicBezTo>
                    <a:pt x="1613439" y="104109"/>
                    <a:pt x="1610677" y="101346"/>
                    <a:pt x="1610677" y="97917"/>
                  </a:cubicBezTo>
                  <a:cubicBezTo>
                    <a:pt x="1610677" y="94488"/>
                    <a:pt x="1613439" y="91726"/>
                    <a:pt x="1616868" y="91726"/>
                  </a:cubicBezTo>
                  <a:close/>
                  <a:moveTo>
                    <a:pt x="1251870" y="91250"/>
                  </a:moveTo>
                  <a:cubicBezTo>
                    <a:pt x="1255299" y="91250"/>
                    <a:pt x="1258062" y="94012"/>
                    <a:pt x="1258062" y="97441"/>
                  </a:cubicBezTo>
                  <a:cubicBezTo>
                    <a:pt x="1258062" y="100870"/>
                    <a:pt x="1255299" y="103633"/>
                    <a:pt x="1251870" y="103633"/>
                  </a:cubicBezTo>
                  <a:cubicBezTo>
                    <a:pt x="1248441" y="103633"/>
                    <a:pt x="1245679" y="100870"/>
                    <a:pt x="1245679" y="97441"/>
                  </a:cubicBezTo>
                  <a:cubicBezTo>
                    <a:pt x="1245679" y="94012"/>
                    <a:pt x="1248441" y="91250"/>
                    <a:pt x="1251870" y="91250"/>
                  </a:cubicBezTo>
                  <a:close/>
                  <a:moveTo>
                    <a:pt x="1684115" y="91155"/>
                  </a:moveTo>
                  <a:cubicBezTo>
                    <a:pt x="1687544" y="91155"/>
                    <a:pt x="1690307" y="93917"/>
                    <a:pt x="1690307" y="97346"/>
                  </a:cubicBezTo>
                  <a:cubicBezTo>
                    <a:pt x="1690307" y="100775"/>
                    <a:pt x="1687544" y="103537"/>
                    <a:pt x="1684115" y="103537"/>
                  </a:cubicBezTo>
                  <a:cubicBezTo>
                    <a:pt x="1680686" y="103537"/>
                    <a:pt x="1677924" y="100775"/>
                    <a:pt x="1677924" y="97346"/>
                  </a:cubicBezTo>
                  <a:cubicBezTo>
                    <a:pt x="1677924" y="93917"/>
                    <a:pt x="1680686" y="91155"/>
                    <a:pt x="1684115" y="91155"/>
                  </a:cubicBezTo>
                  <a:close/>
                  <a:moveTo>
                    <a:pt x="1457420" y="90488"/>
                  </a:moveTo>
                  <a:cubicBezTo>
                    <a:pt x="1460849" y="90488"/>
                    <a:pt x="1463612" y="93250"/>
                    <a:pt x="1463612" y="96679"/>
                  </a:cubicBezTo>
                  <a:cubicBezTo>
                    <a:pt x="1463612" y="100108"/>
                    <a:pt x="1460849" y="102871"/>
                    <a:pt x="1457420" y="102871"/>
                  </a:cubicBezTo>
                  <a:cubicBezTo>
                    <a:pt x="1453991" y="102871"/>
                    <a:pt x="1451229" y="100108"/>
                    <a:pt x="1451229" y="96679"/>
                  </a:cubicBezTo>
                  <a:cubicBezTo>
                    <a:pt x="1451229" y="93250"/>
                    <a:pt x="1453991" y="90488"/>
                    <a:pt x="1457420" y="90488"/>
                  </a:cubicBezTo>
                  <a:close/>
                  <a:moveTo>
                    <a:pt x="2026824" y="89345"/>
                  </a:moveTo>
                  <a:cubicBezTo>
                    <a:pt x="2030253" y="89345"/>
                    <a:pt x="2033016" y="92107"/>
                    <a:pt x="2033016" y="95536"/>
                  </a:cubicBezTo>
                  <a:cubicBezTo>
                    <a:pt x="2033016" y="98965"/>
                    <a:pt x="2030253" y="101728"/>
                    <a:pt x="2026824" y="101728"/>
                  </a:cubicBezTo>
                  <a:cubicBezTo>
                    <a:pt x="2023395" y="101728"/>
                    <a:pt x="2020633" y="98965"/>
                    <a:pt x="2020633" y="95536"/>
                  </a:cubicBezTo>
                  <a:cubicBezTo>
                    <a:pt x="2020633" y="92107"/>
                    <a:pt x="2023395" y="89345"/>
                    <a:pt x="2026824" y="89345"/>
                  </a:cubicBezTo>
                  <a:close/>
                  <a:moveTo>
                    <a:pt x="1931288" y="87725"/>
                  </a:moveTo>
                  <a:cubicBezTo>
                    <a:pt x="1934717" y="87725"/>
                    <a:pt x="1937480" y="90487"/>
                    <a:pt x="1937480" y="93916"/>
                  </a:cubicBezTo>
                  <a:cubicBezTo>
                    <a:pt x="1937480" y="97345"/>
                    <a:pt x="1934717" y="100108"/>
                    <a:pt x="1931288" y="100108"/>
                  </a:cubicBezTo>
                  <a:cubicBezTo>
                    <a:pt x="1927859" y="100108"/>
                    <a:pt x="1925097" y="97345"/>
                    <a:pt x="1925097" y="93916"/>
                  </a:cubicBezTo>
                  <a:cubicBezTo>
                    <a:pt x="1925097" y="90487"/>
                    <a:pt x="1927859" y="87725"/>
                    <a:pt x="1931288" y="87725"/>
                  </a:cubicBezTo>
                  <a:close/>
                  <a:moveTo>
                    <a:pt x="1845182" y="87440"/>
                  </a:moveTo>
                  <a:cubicBezTo>
                    <a:pt x="1848611" y="87440"/>
                    <a:pt x="1851373" y="90202"/>
                    <a:pt x="1851373" y="93631"/>
                  </a:cubicBezTo>
                  <a:cubicBezTo>
                    <a:pt x="1851373" y="97060"/>
                    <a:pt x="1848611" y="99823"/>
                    <a:pt x="1845182" y="99823"/>
                  </a:cubicBezTo>
                  <a:cubicBezTo>
                    <a:pt x="1841753" y="99823"/>
                    <a:pt x="1838991" y="97060"/>
                    <a:pt x="1838991" y="93631"/>
                  </a:cubicBezTo>
                  <a:cubicBezTo>
                    <a:pt x="1838991" y="90202"/>
                    <a:pt x="1841753" y="87440"/>
                    <a:pt x="1845182" y="87440"/>
                  </a:cubicBezTo>
                  <a:close/>
                  <a:moveTo>
                    <a:pt x="2212276" y="87345"/>
                  </a:moveTo>
                  <a:cubicBezTo>
                    <a:pt x="2212750" y="87345"/>
                    <a:pt x="2213134" y="87729"/>
                    <a:pt x="2213134" y="88202"/>
                  </a:cubicBezTo>
                  <a:cubicBezTo>
                    <a:pt x="2213134" y="88676"/>
                    <a:pt x="2212750" y="89060"/>
                    <a:pt x="2212276" y="89060"/>
                  </a:cubicBezTo>
                  <a:cubicBezTo>
                    <a:pt x="2211803" y="89060"/>
                    <a:pt x="2211419" y="88676"/>
                    <a:pt x="2211419" y="88202"/>
                  </a:cubicBezTo>
                  <a:cubicBezTo>
                    <a:pt x="2211419" y="87729"/>
                    <a:pt x="2211803" y="87345"/>
                    <a:pt x="2212276" y="87345"/>
                  </a:cubicBezTo>
                  <a:close/>
                  <a:moveTo>
                    <a:pt x="2042445" y="87059"/>
                  </a:moveTo>
                  <a:cubicBezTo>
                    <a:pt x="2045874" y="87059"/>
                    <a:pt x="2048637" y="89821"/>
                    <a:pt x="2048637" y="93250"/>
                  </a:cubicBezTo>
                  <a:cubicBezTo>
                    <a:pt x="2048637" y="96679"/>
                    <a:pt x="2045874" y="99442"/>
                    <a:pt x="2042445" y="99442"/>
                  </a:cubicBezTo>
                  <a:cubicBezTo>
                    <a:pt x="2039016" y="99442"/>
                    <a:pt x="2036254" y="96679"/>
                    <a:pt x="2036254" y="93250"/>
                  </a:cubicBezTo>
                  <a:cubicBezTo>
                    <a:pt x="2036254" y="89821"/>
                    <a:pt x="2039016" y="87059"/>
                    <a:pt x="2042445" y="87059"/>
                  </a:cubicBezTo>
                  <a:close/>
                  <a:moveTo>
                    <a:pt x="1353121" y="87059"/>
                  </a:moveTo>
                  <a:cubicBezTo>
                    <a:pt x="1356550" y="87059"/>
                    <a:pt x="1359313" y="89821"/>
                    <a:pt x="1359313" y="93250"/>
                  </a:cubicBezTo>
                  <a:cubicBezTo>
                    <a:pt x="1359313" y="96679"/>
                    <a:pt x="1356550" y="99442"/>
                    <a:pt x="1353121" y="99442"/>
                  </a:cubicBezTo>
                  <a:cubicBezTo>
                    <a:pt x="1349692" y="99442"/>
                    <a:pt x="1346930" y="96679"/>
                    <a:pt x="1346930" y="93250"/>
                  </a:cubicBezTo>
                  <a:cubicBezTo>
                    <a:pt x="1346930" y="89821"/>
                    <a:pt x="1349692" y="87059"/>
                    <a:pt x="1353121" y="87059"/>
                  </a:cubicBezTo>
                  <a:close/>
                  <a:moveTo>
                    <a:pt x="1146619" y="86773"/>
                  </a:moveTo>
                  <a:cubicBezTo>
                    <a:pt x="1146777" y="86773"/>
                    <a:pt x="1146905" y="86901"/>
                    <a:pt x="1146905" y="87059"/>
                  </a:cubicBezTo>
                  <a:cubicBezTo>
                    <a:pt x="1146905" y="87217"/>
                    <a:pt x="1146777" y="87344"/>
                    <a:pt x="1146619" y="87344"/>
                  </a:cubicBezTo>
                  <a:cubicBezTo>
                    <a:pt x="1146461" y="87344"/>
                    <a:pt x="1146333" y="87217"/>
                    <a:pt x="1146333" y="87059"/>
                  </a:cubicBezTo>
                  <a:cubicBezTo>
                    <a:pt x="1146333" y="86901"/>
                    <a:pt x="1146461" y="86773"/>
                    <a:pt x="1146619" y="86773"/>
                  </a:cubicBezTo>
                  <a:close/>
                  <a:moveTo>
                    <a:pt x="2204656" y="86297"/>
                  </a:moveTo>
                  <a:cubicBezTo>
                    <a:pt x="2208085" y="86297"/>
                    <a:pt x="2210848" y="89059"/>
                    <a:pt x="2210848" y="92488"/>
                  </a:cubicBezTo>
                  <a:cubicBezTo>
                    <a:pt x="2210848" y="95917"/>
                    <a:pt x="2208085" y="98680"/>
                    <a:pt x="2204656" y="98680"/>
                  </a:cubicBezTo>
                  <a:lnTo>
                    <a:pt x="2202608" y="96632"/>
                  </a:lnTo>
                  <a:lnTo>
                    <a:pt x="2197131" y="102109"/>
                  </a:lnTo>
                  <a:lnTo>
                    <a:pt x="2194702" y="99680"/>
                  </a:lnTo>
                  <a:lnTo>
                    <a:pt x="2189606" y="104776"/>
                  </a:lnTo>
                  <a:lnTo>
                    <a:pt x="2186701" y="101871"/>
                  </a:lnTo>
                  <a:lnTo>
                    <a:pt x="2181891" y="106680"/>
                  </a:lnTo>
                  <a:lnTo>
                    <a:pt x="2178605" y="103394"/>
                  </a:lnTo>
                  <a:lnTo>
                    <a:pt x="2173985" y="108014"/>
                  </a:lnTo>
                  <a:lnTo>
                    <a:pt x="2170318" y="104346"/>
                  </a:lnTo>
                  <a:lnTo>
                    <a:pt x="2165889" y="108776"/>
                  </a:lnTo>
                  <a:lnTo>
                    <a:pt x="2161889" y="104775"/>
                  </a:lnTo>
                  <a:lnTo>
                    <a:pt x="2157507" y="109157"/>
                  </a:lnTo>
                  <a:lnTo>
                    <a:pt x="2153174" y="104823"/>
                  </a:lnTo>
                  <a:lnTo>
                    <a:pt x="2148649" y="109348"/>
                  </a:lnTo>
                  <a:lnTo>
                    <a:pt x="2143934" y="104633"/>
                  </a:lnTo>
                  <a:lnTo>
                    <a:pt x="2139219" y="109348"/>
                  </a:lnTo>
                  <a:lnTo>
                    <a:pt x="2134314" y="104442"/>
                  </a:lnTo>
                  <a:lnTo>
                    <a:pt x="2129313" y="109442"/>
                  </a:lnTo>
                  <a:lnTo>
                    <a:pt x="2124122" y="104252"/>
                  </a:lnTo>
                  <a:lnTo>
                    <a:pt x="2118645" y="109729"/>
                  </a:lnTo>
                  <a:lnTo>
                    <a:pt x="2113215" y="104299"/>
                  </a:lnTo>
                  <a:lnTo>
                    <a:pt x="2107120" y="110395"/>
                  </a:lnTo>
                  <a:cubicBezTo>
                    <a:pt x="2103691" y="110395"/>
                    <a:pt x="2100929" y="107632"/>
                    <a:pt x="2100929" y="104203"/>
                  </a:cubicBezTo>
                  <a:cubicBezTo>
                    <a:pt x="2100929" y="100774"/>
                    <a:pt x="2103691" y="98012"/>
                    <a:pt x="2107120" y="98012"/>
                  </a:cubicBezTo>
                  <a:lnTo>
                    <a:pt x="2112549" y="103442"/>
                  </a:lnTo>
                  <a:lnTo>
                    <a:pt x="2118645" y="97346"/>
                  </a:lnTo>
                  <a:lnTo>
                    <a:pt x="2123836" y="102537"/>
                  </a:lnTo>
                  <a:lnTo>
                    <a:pt x="2129313" y="97060"/>
                  </a:lnTo>
                  <a:lnTo>
                    <a:pt x="2134219" y="101965"/>
                  </a:lnTo>
                  <a:lnTo>
                    <a:pt x="2139219" y="96965"/>
                  </a:lnTo>
                  <a:lnTo>
                    <a:pt x="2143934" y="101680"/>
                  </a:lnTo>
                  <a:lnTo>
                    <a:pt x="2148649" y="96965"/>
                  </a:lnTo>
                  <a:lnTo>
                    <a:pt x="2152983" y="101298"/>
                  </a:lnTo>
                  <a:lnTo>
                    <a:pt x="2157507" y="96774"/>
                  </a:lnTo>
                  <a:lnTo>
                    <a:pt x="2161508" y="100774"/>
                  </a:lnTo>
                  <a:lnTo>
                    <a:pt x="2165889" y="96393"/>
                  </a:lnTo>
                  <a:lnTo>
                    <a:pt x="2169556" y="100060"/>
                  </a:lnTo>
                  <a:lnTo>
                    <a:pt x="2173985" y="95631"/>
                  </a:lnTo>
                  <a:lnTo>
                    <a:pt x="2177272" y="98917"/>
                  </a:lnTo>
                  <a:lnTo>
                    <a:pt x="2181891" y="94298"/>
                  </a:lnTo>
                  <a:lnTo>
                    <a:pt x="2184796" y="97203"/>
                  </a:lnTo>
                  <a:lnTo>
                    <a:pt x="2189606" y="92393"/>
                  </a:lnTo>
                  <a:lnTo>
                    <a:pt x="2192035" y="94822"/>
                  </a:lnTo>
                  <a:lnTo>
                    <a:pt x="2197131" y="89726"/>
                  </a:lnTo>
                  <a:lnTo>
                    <a:pt x="2199179" y="91774"/>
                  </a:lnTo>
                  <a:close/>
                  <a:moveTo>
                    <a:pt x="2056828" y="85725"/>
                  </a:moveTo>
                  <a:cubicBezTo>
                    <a:pt x="2060257" y="85725"/>
                    <a:pt x="2063020" y="88487"/>
                    <a:pt x="2063020" y="91916"/>
                  </a:cubicBezTo>
                  <a:cubicBezTo>
                    <a:pt x="2063020" y="95345"/>
                    <a:pt x="2060257" y="98108"/>
                    <a:pt x="2056828" y="98108"/>
                  </a:cubicBezTo>
                  <a:cubicBezTo>
                    <a:pt x="2053399" y="98108"/>
                    <a:pt x="2050637" y="95345"/>
                    <a:pt x="2050637" y="91916"/>
                  </a:cubicBezTo>
                  <a:cubicBezTo>
                    <a:pt x="2050637" y="88487"/>
                    <a:pt x="2053399" y="85725"/>
                    <a:pt x="2056828" y="85725"/>
                  </a:cubicBezTo>
                  <a:close/>
                  <a:moveTo>
                    <a:pt x="2070163" y="85059"/>
                  </a:moveTo>
                  <a:cubicBezTo>
                    <a:pt x="2073592" y="85059"/>
                    <a:pt x="2076355" y="87821"/>
                    <a:pt x="2076355" y="91250"/>
                  </a:cubicBezTo>
                  <a:cubicBezTo>
                    <a:pt x="2076355" y="94679"/>
                    <a:pt x="2073592" y="97442"/>
                    <a:pt x="2070163" y="97442"/>
                  </a:cubicBezTo>
                  <a:cubicBezTo>
                    <a:pt x="2066734" y="97442"/>
                    <a:pt x="2063972" y="94679"/>
                    <a:pt x="2063972" y="91250"/>
                  </a:cubicBezTo>
                  <a:cubicBezTo>
                    <a:pt x="2063972" y="87821"/>
                    <a:pt x="2066734" y="85059"/>
                    <a:pt x="2070163" y="85059"/>
                  </a:cubicBezTo>
                  <a:close/>
                  <a:moveTo>
                    <a:pt x="1521428" y="84487"/>
                  </a:moveTo>
                  <a:cubicBezTo>
                    <a:pt x="1524857" y="84487"/>
                    <a:pt x="1527620" y="87249"/>
                    <a:pt x="1527620" y="90678"/>
                  </a:cubicBezTo>
                  <a:cubicBezTo>
                    <a:pt x="1527620" y="94107"/>
                    <a:pt x="1524857" y="96870"/>
                    <a:pt x="1521428" y="96870"/>
                  </a:cubicBezTo>
                  <a:cubicBezTo>
                    <a:pt x="1517999" y="96870"/>
                    <a:pt x="1515237" y="94107"/>
                    <a:pt x="1515237" y="90678"/>
                  </a:cubicBezTo>
                  <a:cubicBezTo>
                    <a:pt x="1515237" y="87249"/>
                    <a:pt x="1517999" y="84487"/>
                    <a:pt x="1521428" y="84487"/>
                  </a:cubicBezTo>
                  <a:close/>
                  <a:moveTo>
                    <a:pt x="1334928" y="83535"/>
                  </a:moveTo>
                  <a:cubicBezTo>
                    <a:pt x="1338357" y="83535"/>
                    <a:pt x="1341120" y="86297"/>
                    <a:pt x="1341120" y="89726"/>
                  </a:cubicBezTo>
                  <a:cubicBezTo>
                    <a:pt x="1341120" y="93155"/>
                    <a:pt x="1338357" y="95918"/>
                    <a:pt x="1334928" y="95918"/>
                  </a:cubicBezTo>
                  <a:cubicBezTo>
                    <a:pt x="1331499" y="95918"/>
                    <a:pt x="1328737" y="93155"/>
                    <a:pt x="1328737" y="89726"/>
                  </a:cubicBezTo>
                  <a:cubicBezTo>
                    <a:pt x="1328737" y="86297"/>
                    <a:pt x="1331499" y="83535"/>
                    <a:pt x="1334928" y="83535"/>
                  </a:cubicBezTo>
                  <a:close/>
                  <a:moveTo>
                    <a:pt x="1433512" y="83249"/>
                  </a:moveTo>
                  <a:cubicBezTo>
                    <a:pt x="1436941" y="83249"/>
                    <a:pt x="1439703" y="86011"/>
                    <a:pt x="1439703" y="89440"/>
                  </a:cubicBezTo>
                  <a:cubicBezTo>
                    <a:pt x="1439703" y="92869"/>
                    <a:pt x="1436941" y="95632"/>
                    <a:pt x="1433512" y="95632"/>
                  </a:cubicBezTo>
                  <a:cubicBezTo>
                    <a:pt x="1430083" y="95632"/>
                    <a:pt x="1427321" y="92869"/>
                    <a:pt x="1427321" y="89440"/>
                  </a:cubicBezTo>
                  <a:cubicBezTo>
                    <a:pt x="1427321" y="86011"/>
                    <a:pt x="1430083" y="83249"/>
                    <a:pt x="1433512" y="83249"/>
                  </a:cubicBezTo>
                  <a:close/>
                  <a:moveTo>
                    <a:pt x="1952053" y="82582"/>
                  </a:moveTo>
                  <a:cubicBezTo>
                    <a:pt x="1955482" y="82582"/>
                    <a:pt x="1958245" y="85344"/>
                    <a:pt x="1958245" y="88773"/>
                  </a:cubicBezTo>
                  <a:cubicBezTo>
                    <a:pt x="1958245" y="92202"/>
                    <a:pt x="1955482" y="94965"/>
                    <a:pt x="1952053" y="94965"/>
                  </a:cubicBezTo>
                  <a:cubicBezTo>
                    <a:pt x="1948624" y="94965"/>
                    <a:pt x="1945862" y="92202"/>
                    <a:pt x="1945862" y="88773"/>
                  </a:cubicBezTo>
                  <a:cubicBezTo>
                    <a:pt x="1945862" y="85344"/>
                    <a:pt x="1948624" y="82582"/>
                    <a:pt x="1952053" y="82582"/>
                  </a:cubicBezTo>
                  <a:close/>
                  <a:moveTo>
                    <a:pt x="1780793" y="82487"/>
                  </a:moveTo>
                  <a:cubicBezTo>
                    <a:pt x="1784222" y="82487"/>
                    <a:pt x="1786985" y="85249"/>
                    <a:pt x="1786985" y="88678"/>
                  </a:cubicBezTo>
                  <a:cubicBezTo>
                    <a:pt x="1786985" y="92107"/>
                    <a:pt x="1784222" y="94870"/>
                    <a:pt x="1780793" y="94870"/>
                  </a:cubicBezTo>
                  <a:cubicBezTo>
                    <a:pt x="1777364" y="94870"/>
                    <a:pt x="1774602" y="92107"/>
                    <a:pt x="1774602" y="88678"/>
                  </a:cubicBezTo>
                  <a:cubicBezTo>
                    <a:pt x="1774602" y="85249"/>
                    <a:pt x="1777364" y="82487"/>
                    <a:pt x="1780793" y="82487"/>
                  </a:cubicBezTo>
                  <a:close/>
                  <a:moveTo>
                    <a:pt x="1318259" y="81153"/>
                  </a:moveTo>
                  <a:cubicBezTo>
                    <a:pt x="1321688" y="81153"/>
                    <a:pt x="1324451" y="83915"/>
                    <a:pt x="1324451" y="87344"/>
                  </a:cubicBezTo>
                  <a:cubicBezTo>
                    <a:pt x="1324451" y="90773"/>
                    <a:pt x="1321688" y="93536"/>
                    <a:pt x="1318259" y="93536"/>
                  </a:cubicBezTo>
                  <a:cubicBezTo>
                    <a:pt x="1314830" y="93536"/>
                    <a:pt x="1312068" y="90773"/>
                    <a:pt x="1312068" y="87344"/>
                  </a:cubicBezTo>
                  <a:cubicBezTo>
                    <a:pt x="1312068" y="83915"/>
                    <a:pt x="1314830" y="81153"/>
                    <a:pt x="1318259" y="81153"/>
                  </a:cubicBezTo>
                  <a:close/>
                  <a:moveTo>
                    <a:pt x="2088499" y="80915"/>
                  </a:moveTo>
                  <a:lnTo>
                    <a:pt x="2083593" y="85821"/>
                  </a:lnTo>
                  <a:lnTo>
                    <a:pt x="2088355" y="90583"/>
                  </a:lnTo>
                  <a:lnTo>
                    <a:pt x="2093261" y="85678"/>
                  </a:lnTo>
                  <a:close/>
                  <a:moveTo>
                    <a:pt x="1586007" y="80677"/>
                  </a:moveTo>
                  <a:cubicBezTo>
                    <a:pt x="1589436" y="80677"/>
                    <a:pt x="1592199" y="83439"/>
                    <a:pt x="1592199" y="86868"/>
                  </a:cubicBezTo>
                  <a:cubicBezTo>
                    <a:pt x="1592199" y="90297"/>
                    <a:pt x="1589436" y="93060"/>
                    <a:pt x="1586007" y="93060"/>
                  </a:cubicBezTo>
                  <a:cubicBezTo>
                    <a:pt x="1582578" y="93060"/>
                    <a:pt x="1579816" y="90297"/>
                    <a:pt x="1579816" y="86868"/>
                  </a:cubicBezTo>
                  <a:cubicBezTo>
                    <a:pt x="1579816" y="83439"/>
                    <a:pt x="1582578" y="80677"/>
                    <a:pt x="1586007" y="80677"/>
                  </a:cubicBezTo>
                  <a:close/>
                  <a:moveTo>
                    <a:pt x="1870138" y="79915"/>
                  </a:moveTo>
                  <a:cubicBezTo>
                    <a:pt x="1873567" y="79915"/>
                    <a:pt x="1876330" y="82677"/>
                    <a:pt x="1876330" y="86106"/>
                  </a:cubicBezTo>
                  <a:cubicBezTo>
                    <a:pt x="1876330" y="89535"/>
                    <a:pt x="1873567" y="92298"/>
                    <a:pt x="1870138" y="92298"/>
                  </a:cubicBezTo>
                  <a:cubicBezTo>
                    <a:pt x="1866709" y="92298"/>
                    <a:pt x="1863947" y="89535"/>
                    <a:pt x="1863947" y="86106"/>
                  </a:cubicBezTo>
                  <a:cubicBezTo>
                    <a:pt x="1863947" y="82677"/>
                    <a:pt x="1866709" y="79915"/>
                    <a:pt x="1870138" y="79915"/>
                  </a:cubicBezTo>
                  <a:close/>
                  <a:moveTo>
                    <a:pt x="1716023" y="79724"/>
                  </a:moveTo>
                  <a:cubicBezTo>
                    <a:pt x="1719452" y="79724"/>
                    <a:pt x="1722215" y="82486"/>
                    <a:pt x="1722215" y="85915"/>
                  </a:cubicBezTo>
                  <a:cubicBezTo>
                    <a:pt x="1722215" y="89344"/>
                    <a:pt x="1719452" y="92107"/>
                    <a:pt x="1716023" y="92107"/>
                  </a:cubicBezTo>
                  <a:cubicBezTo>
                    <a:pt x="1712594" y="92107"/>
                    <a:pt x="1709832" y="89344"/>
                    <a:pt x="1709832" y="85915"/>
                  </a:cubicBezTo>
                  <a:cubicBezTo>
                    <a:pt x="1709832" y="82486"/>
                    <a:pt x="1712594" y="79724"/>
                    <a:pt x="1716023" y="79724"/>
                  </a:cubicBezTo>
                  <a:close/>
                  <a:moveTo>
                    <a:pt x="1302733" y="79724"/>
                  </a:moveTo>
                  <a:cubicBezTo>
                    <a:pt x="1306162" y="79724"/>
                    <a:pt x="1308925" y="82486"/>
                    <a:pt x="1308925" y="85915"/>
                  </a:cubicBezTo>
                  <a:cubicBezTo>
                    <a:pt x="1308925" y="89344"/>
                    <a:pt x="1306162" y="92107"/>
                    <a:pt x="1302733" y="92107"/>
                  </a:cubicBezTo>
                  <a:cubicBezTo>
                    <a:pt x="1299304" y="92107"/>
                    <a:pt x="1296542" y="89344"/>
                    <a:pt x="1296542" y="85915"/>
                  </a:cubicBezTo>
                  <a:cubicBezTo>
                    <a:pt x="1296542" y="82486"/>
                    <a:pt x="1299304" y="79724"/>
                    <a:pt x="1302733" y="79724"/>
                  </a:cubicBezTo>
                  <a:close/>
                  <a:moveTo>
                    <a:pt x="1650967" y="79058"/>
                  </a:moveTo>
                  <a:cubicBezTo>
                    <a:pt x="1654396" y="79058"/>
                    <a:pt x="1657159" y="81820"/>
                    <a:pt x="1657159" y="85249"/>
                  </a:cubicBezTo>
                  <a:cubicBezTo>
                    <a:pt x="1657159" y="88678"/>
                    <a:pt x="1654396" y="91441"/>
                    <a:pt x="1650967" y="91441"/>
                  </a:cubicBezTo>
                  <a:cubicBezTo>
                    <a:pt x="1647538" y="91441"/>
                    <a:pt x="1644776" y="88678"/>
                    <a:pt x="1644776" y="85249"/>
                  </a:cubicBezTo>
                  <a:cubicBezTo>
                    <a:pt x="1644776" y="81820"/>
                    <a:pt x="1647538" y="79058"/>
                    <a:pt x="1650967" y="79058"/>
                  </a:cubicBezTo>
                  <a:close/>
                  <a:moveTo>
                    <a:pt x="1288446" y="78962"/>
                  </a:moveTo>
                  <a:cubicBezTo>
                    <a:pt x="1291875" y="78962"/>
                    <a:pt x="1294638" y="81724"/>
                    <a:pt x="1294638" y="85153"/>
                  </a:cubicBezTo>
                  <a:cubicBezTo>
                    <a:pt x="1294638" y="88582"/>
                    <a:pt x="1291875" y="91345"/>
                    <a:pt x="1288446" y="91345"/>
                  </a:cubicBezTo>
                  <a:cubicBezTo>
                    <a:pt x="1285017" y="91345"/>
                    <a:pt x="1282255" y="88582"/>
                    <a:pt x="1282255" y="85153"/>
                  </a:cubicBezTo>
                  <a:cubicBezTo>
                    <a:pt x="1282255" y="81724"/>
                    <a:pt x="1285017" y="78962"/>
                    <a:pt x="1288446" y="78962"/>
                  </a:cubicBezTo>
                  <a:close/>
                  <a:moveTo>
                    <a:pt x="1971293" y="78867"/>
                  </a:moveTo>
                  <a:cubicBezTo>
                    <a:pt x="1974722" y="78867"/>
                    <a:pt x="1977485" y="81629"/>
                    <a:pt x="1977485" y="85058"/>
                  </a:cubicBezTo>
                  <a:cubicBezTo>
                    <a:pt x="1977485" y="88487"/>
                    <a:pt x="1974722" y="91249"/>
                    <a:pt x="1971293" y="91249"/>
                  </a:cubicBezTo>
                  <a:cubicBezTo>
                    <a:pt x="1967864" y="91249"/>
                    <a:pt x="1965102" y="88487"/>
                    <a:pt x="1965102" y="85058"/>
                  </a:cubicBezTo>
                  <a:cubicBezTo>
                    <a:pt x="1965102" y="81629"/>
                    <a:pt x="1967864" y="78867"/>
                    <a:pt x="1971293" y="78867"/>
                  </a:cubicBezTo>
                  <a:close/>
                  <a:moveTo>
                    <a:pt x="1275111" y="78677"/>
                  </a:moveTo>
                  <a:cubicBezTo>
                    <a:pt x="1278540" y="78677"/>
                    <a:pt x="1281303" y="81439"/>
                    <a:pt x="1281303" y="84868"/>
                  </a:cubicBezTo>
                  <a:cubicBezTo>
                    <a:pt x="1281303" y="88297"/>
                    <a:pt x="1278540" y="91060"/>
                    <a:pt x="1275111" y="91060"/>
                  </a:cubicBezTo>
                  <a:cubicBezTo>
                    <a:pt x="1271682" y="91060"/>
                    <a:pt x="1268920" y="88297"/>
                    <a:pt x="1268920" y="84868"/>
                  </a:cubicBezTo>
                  <a:cubicBezTo>
                    <a:pt x="1268920" y="81439"/>
                    <a:pt x="1271682" y="78677"/>
                    <a:pt x="1275111" y="78677"/>
                  </a:cubicBezTo>
                  <a:close/>
                  <a:moveTo>
                    <a:pt x="1411509" y="77915"/>
                  </a:moveTo>
                  <a:cubicBezTo>
                    <a:pt x="1414938" y="77915"/>
                    <a:pt x="1417701" y="80677"/>
                    <a:pt x="1417701" y="84106"/>
                  </a:cubicBezTo>
                  <a:cubicBezTo>
                    <a:pt x="1417701" y="87535"/>
                    <a:pt x="1414938" y="90298"/>
                    <a:pt x="1411509" y="90298"/>
                  </a:cubicBezTo>
                  <a:cubicBezTo>
                    <a:pt x="1408080" y="90298"/>
                    <a:pt x="1405318" y="87535"/>
                    <a:pt x="1405318" y="84106"/>
                  </a:cubicBezTo>
                  <a:cubicBezTo>
                    <a:pt x="1405318" y="80677"/>
                    <a:pt x="1408080" y="77915"/>
                    <a:pt x="1411509" y="77915"/>
                  </a:cubicBezTo>
                  <a:close/>
                  <a:moveTo>
                    <a:pt x="1495139" y="76581"/>
                  </a:moveTo>
                  <a:cubicBezTo>
                    <a:pt x="1498568" y="76581"/>
                    <a:pt x="1501330" y="79343"/>
                    <a:pt x="1501330" y="82772"/>
                  </a:cubicBezTo>
                  <a:cubicBezTo>
                    <a:pt x="1501330" y="86201"/>
                    <a:pt x="1498568" y="88964"/>
                    <a:pt x="1495139" y="88964"/>
                  </a:cubicBezTo>
                  <a:cubicBezTo>
                    <a:pt x="1491710" y="88964"/>
                    <a:pt x="1488948" y="86201"/>
                    <a:pt x="1488948" y="82772"/>
                  </a:cubicBezTo>
                  <a:cubicBezTo>
                    <a:pt x="1488948" y="79343"/>
                    <a:pt x="1491710" y="76581"/>
                    <a:pt x="1495139" y="76581"/>
                  </a:cubicBezTo>
                  <a:close/>
                  <a:moveTo>
                    <a:pt x="1989010" y="76391"/>
                  </a:moveTo>
                  <a:cubicBezTo>
                    <a:pt x="1992439" y="76391"/>
                    <a:pt x="1995202" y="79153"/>
                    <a:pt x="1995202" y="82582"/>
                  </a:cubicBezTo>
                  <a:cubicBezTo>
                    <a:pt x="1995202" y="86011"/>
                    <a:pt x="1992439" y="88774"/>
                    <a:pt x="1989010" y="88774"/>
                  </a:cubicBezTo>
                  <a:cubicBezTo>
                    <a:pt x="1985581" y="88774"/>
                    <a:pt x="1982819" y="86011"/>
                    <a:pt x="1982819" y="82582"/>
                  </a:cubicBezTo>
                  <a:cubicBezTo>
                    <a:pt x="1982819" y="79153"/>
                    <a:pt x="1985581" y="76391"/>
                    <a:pt x="1989010" y="76391"/>
                  </a:cubicBezTo>
                  <a:close/>
                  <a:moveTo>
                    <a:pt x="2177034" y="76010"/>
                  </a:moveTo>
                  <a:cubicBezTo>
                    <a:pt x="2178454" y="76010"/>
                    <a:pt x="2179606" y="77161"/>
                    <a:pt x="2179606" y="78582"/>
                  </a:cubicBezTo>
                  <a:cubicBezTo>
                    <a:pt x="2179606" y="80002"/>
                    <a:pt x="2178454" y="81154"/>
                    <a:pt x="2177034" y="81154"/>
                  </a:cubicBezTo>
                  <a:cubicBezTo>
                    <a:pt x="2175613" y="81154"/>
                    <a:pt x="2174462" y="80002"/>
                    <a:pt x="2174462" y="78582"/>
                  </a:cubicBezTo>
                  <a:cubicBezTo>
                    <a:pt x="2174462" y="77161"/>
                    <a:pt x="2175613" y="76010"/>
                    <a:pt x="2177034" y="76010"/>
                  </a:cubicBezTo>
                  <a:close/>
                  <a:moveTo>
                    <a:pt x="1182910" y="75057"/>
                  </a:moveTo>
                  <a:cubicBezTo>
                    <a:pt x="1184120" y="75057"/>
                    <a:pt x="1185100" y="76038"/>
                    <a:pt x="1185100" y="77248"/>
                  </a:cubicBezTo>
                  <a:cubicBezTo>
                    <a:pt x="1185100" y="78458"/>
                    <a:pt x="1184120" y="79438"/>
                    <a:pt x="1182910" y="79438"/>
                  </a:cubicBezTo>
                  <a:cubicBezTo>
                    <a:pt x="1181700" y="79438"/>
                    <a:pt x="1180719" y="78458"/>
                    <a:pt x="1180719" y="77248"/>
                  </a:cubicBezTo>
                  <a:cubicBezTo>
                    <a:pt x="1180719" y="76038"/>
                    <a:pt x="1181700" y="75057"/>
                    <a:pt x="1182910" y="75057"/>
                  </a:cubicBezTo>
                  <a:close/>
                  <a:moveTo>
                    <a:pt x="2005393" y="74867"/>
                  </a:moveTo>
                  <a:cubicBezTo>
                    <a:pt x="2008822" y="74867"/>
                    <a:pt x="2011585" y="77629"/>
                    <a:pt x="2011585" y="81058"/>
                  </a:cubicBezTo>
                  <a:cubicBezTo>
                    <a:pt x="2011585" y="84487"/>
                    <a:pt x="2008822" y="87249"/>
                    <a:pt x="2005393" y="87249"/>
                  </a:cubicBezTo>
                  <a:cubicBezTo>
                    <a:pt x="2001964" y="87249"/>
                    <a:pt x="1999202" y="84487"/>
                    <a:pt x="1999202" y="81058"/>
                  </a:cubicBezTo>
                  <a:cubicBezTo>
                    <a:pt x="1999202" y="77629"/>
                    <a:pt x="2001964" y="74867"/>
                    <a:pt x="2005393" y="74867"/>
                  </a:cubicBezTo>
                  <a:close/>
                  <a:moveTo>
                    <a:pt x="1893283" y="74295"/>
                  </a:moveTo>
                  <a:cubicBezTo>
                    <a:pt x="1896712" y="74295"/>
                    <a:pt x="1899475" y="77057"/>
                    <a:pt x="1899475" y="80486"/>
                  </a:cubicBezTo>
                  <a:cubicBezTo>
                    <a:pt x="1899475" y="83915"/>
                    <a:pt x="1896712" y="86678"/>
                    <a:pt x="1893283" y="86678"/>
                  </a:cubicBezTo>
                  <a:cubicBezTo>
                    <a:pt x="1889854" y="86678"/>
                    <a:pt x="1887092" y="83915"/>
                    <a:pt x="1887092" y="80486"/>
                  </a:cubicBezTo>
                  <a:cubicBezTo>
                    <a:pt x="1887092" y="77057"/>
                    <a:pt x="1889854" y="74295"/>
                    <a:pt x="1893283" y="74295"/>
                  </a:cubicBezTo>
                  <a:close/>
                  <a:moveTo>
                    <a:pt x="1808225" y="74200"/>
                  </a:moveTo>
                  <a:cubicBezTo>
                    <a:pt x="1811654" y="74200"/>
                    <a:pt x="1814417" y="76962"/>
                    <a:pt x="1814417" y="80391"/>
                  </a:cubicBezTo>
                  <a:cubicBezTo>
                    <a:pt x="1814417" y="83820"/>
                    <a:pt x="1811654" y="86582"/>
                    <a:pt x="1808225" y="86582"/>
                  </a:cubicBezTo>
                  <a:cubicBezTo>
                    <a:pt x="1804796" y="86582"/>
                    <a:pt x="1802034" y="83820"/>
                    <a:pt x="1802034" y="80391"/>
                  </a:cubicBezTo>
                  <a:cubicBezTo>
                    <a:pt x="1802034" y="76962"/>
                    <a:pt x="1804796" y="74200"/>
                    <a:pt x="1808225" y="74200"/>
                  </a:cubicBezTo>
                  <a:close/>
                  <a:moveTo>
                    <a:pt x="2020537" y="74010"/>
                  </a:moveTo>
                  <a:cubicBezTo>
                    <a:pt x="2023966" y="74010"/>
                    <a:pt x="2026729" y="76772"/>
                    <a:pt x="2026729" y="80201"/>
                  </a:cubicBezTo>
                  <a:cubicBezTo>
                    <a:pt x="2026729" y="83630"/>
                    <a:pt x="2023966" y="86393"/>
                    <a:pt x="2020537" y="86393"/>
                  </a:cubicBezTo>
                  <a:cubicBezTo>
                    <a:pt x="2017108" y="86393"/>
                    <a:pt x="2014346" y="83630"/>
                    <a:pt x="2014346" y="80201"/>
                  </a:cubicBezTo>
                  <a:cubicBezTo>
                    <a:pt x="2014346" y="76772"/>
                    <a:pt x="2017108" y="74010"/>
                    <a:pt x="2020537" y="74010"/>
                  </a:cubicBezTo>
                  <a:close/>
                  <a:moveTo>
                    <a:pt x="1391125" y="74010"/>
                  </a:moveTo>
                  <a:cubicBezTo>
                    <a:pt x="1394554" y="74010"/>
                    <a:pt x="1397317" y="76772"/>
                    <a:pt x="1397317" y="80201"/>
                  </a:cubicBezTo>
                  <a:cubicBezTo>
                    <a:pt x="1397317" y="83630"/>
                    <a:pt x="1394554" y="86393"/>
                    <a:pt x="1391125" y="86393"/>
                  </a:cubicBezTo>
                  <a:cubicBezTo>
                    <a:pt x="1387696" y="86393"/>
                    <a:pt x="1384934" y="83630"/>
                    <a:pt x="1384934" y="80201"/>
                  </a:cubicBezTo>
                  <a:cubicBezTo>
                    <a:pt x="1384934" y="76772"/>
                    <a:pt x="1387696" y="74010"/>
                    <a:pt x="1391125" y="74010"/>
                  </a:cubicBezTo>
                  <a:close/>
                  <a:moveTo>
                    <a:pt x="2047970" y="73724"/>
                  </a:moveTo>
                  <a:cubicBezTo>
                    <a:pt x="2051399" y="73724"/>
                    <a:pt x="2054162" y="76486"/>
                    <a:pt x="2054162" y="79915"/>
                  </a:cubicBezTo>
                  <a:cubicBezTo>
                    <a:pt x="2054162" y="83344"/>
                    <a:pt x="2051399" y="86106"/>
                    <a:pt x="2047970" y="86106"/>
                  </a:cubicBezTo>
                  <a:cubicBezTo>
                    <a:pt x="2044541" y="86106"/>
                    <a:pt x="2041779" y="83344"/>
                    <a:pt x="2041779" y="79915"/>
                  </a:cubicBezTo>
                  <a:cubicBezTo>
                    <a:pt x="2041779" y="76486"/>
                    <a:pt x="2044541" y="73724"/>
                    <a:pt x="2047970" y="73724"/>
                  </a:cubicBezTo>
                  <a:close/>
                  <a:moveTo>
                    <a:pt x="2034730" y="73724"/>
                  </a:moveTo>
                  <a:cubicBezTo>
                    <a:pt x="2038159" y="73724"/>
                    <a:pt x="2040922" y="76486"/>
                    <a:pt x="2040922" y="79915"/>
                  </a:cubicBezTo>
                  <a:cubicBezTo>
                    <a:pt x="2040922" y="83344"/>
                    <a:pt x="2038159" y="86106"/>
                    <a:pt x="2034730" y="86106"/>
                  </a:cubicBezTo>
                  <a:cubicBezTo>
                    <a:pt x="2031301" y="86106"/>
                    <a:pt x="2028539" y="83344"/>
                    <a:pt x="2028539" y="79915"/>
                  </a:cubicBezTo>
                  <a:cubicBezTo>
                    <a:pt x="2028539" y="76486"/>
                    <a:pt x="2031301" y="73724"/>
                    <a:pt x="2034730" y="73724"/>
                  </a:cubicBezTo>
                  <a:close/>
                  <a:moveTo>
                    <a:pt x="1557337" y="72009"/>
                  </a:moveTo>
                  <a:cubicBezTo>
                    <a:pt x="1560766" y="72009"/>
                    <a:pt x="1563528" y="74771"/>
                    <a:pt x="1563528" y="78200"/>
                  </a:cubicBezTo>
                  <a:cubicBezTo>
                    <a:pt x="1563528" y="81629"/>
                    <a:pt x="1560766" y="84392"/>
                    <a:pt x="1557337" y="84392"/>
                  </a:cubicBezTo>
                  <a:cubicBezTo>
                    <a:pt x="1553908" y="84392"/>
                    <a:pt x="1551146" y="81629"/>
                    <a:pt x="1551146" y="78200"/>
                  </a:cubicBezTo>
                  <a:cubicBezTo>
                    <a:pt x="1551146" y="74771"/>
                    <a:pt x="1553908" y="72009"/>
                    <a:pt x="1557337" y="72009"/>
                  </a:cubicBezTo>
                  <a:close/>
                  <a:moveTo>
                    <a:pt x="1372266" y="71247"/>
                  </a:moveTo>
                  <a:cubicBezTo>
                    <a:pt x="1375695" y="71247"/>
                    <a:pt x="1378458" y="74009"/>
                    <a:pt x="1378458" y="77438"/>
                  </a:cubicBezTo>
                  <a:cubicBezTo>
                    <a:pt x="1378458" y="80867"/>
                    <a:pt x="1375695" y="83630"/>
                    <a:pt x="1372266" y="83630"/>
                  </a:cubicBezTo>
                  <a:cubicBezTo>
                    <a:pt x="1368837" y="83630"/>
                    <a:pt x="1366075" y="80867"/>
                    <a:pt x="1366075" y="77438"/>
                  </a:cubicBezTo>
                  <a:cubicBezTo>
                    <a:pt x="1366075" y="74009"/>
                    <a:pt x="1368837" y="71247"/>
                    <a:pt x="1372266" y="71247"/>
                  </a:cubicBezTo>
                  <a:close/>
                  <a:moveTo>
                    <a:pt x="1470754" y="70581"/>
                  </a:moveTo>
                  <a:cubicBezTo>
                    <a:pt x="1474183" y="70581"/>
                    <a:pt x="1476946" y="73343"/>
                    <a:pt x="1476946" y="76772"/>
                  </a:cubicBezTo>
                  <a:cubicBezTo>
                    <a:pt x="1476946" y="80201"/>
                    <a:pt x="1474183" y="82963"/>
                    <a:pt x="1470754" y="82963"/>
                  </a:cubicBezTo>
                  <a:cubicBezTo>
                    <a:pt x="1467325" y="82963"/>
                    <a:pt x="1464563" y="80201"/>
                    <a:pt x="1464563" y="76772"/>
                  </a:cubicBezTo>
                  <a:cubicBezTo>
                    <a:pt x="1464563" y="73343"/>
                    <a:pt x="1467325" y="70581"/>
                    <a:pt x="1470754" y="70581"/>
                  </a:cubicBezTo>
                  <a:close/>
                  <a:moveTo>
                    <a:pt x="1745741" y="70485"/>
                  </a:moveTo>
                  <a:cubicBezTo>
                    <a:pt x="1749170" y="70485"/>
                    <a:pt x="1751932" y="73247"/>
                    <a:pt x="1751932" y="76676"/>
                  </a:cubicBezTo>
                  <a:cubicBezTo>
                    <a:pt x="1751932" y="80105"/>
                    <a:pt x="1749170" y="82867"/>
                    <a:pt x="1745741" y="82867"/>
                  </a:cubicBezTo>
                  <a:cubicBezTo>
                    <a:pt x="1742312" y="82867"/>
                    <a:pt x="1739550" y="80105"/>
                    <a:pt x="1739550" y="76676"/>
                  </a:cubicBezTo>
                  <a:cubicBezTo>
                    <a:pt x="1739550" y="73247"/>
                    <a:pt x="1742312" y="70485"/>
                    <a:pt x="1745741" y="70485"/>
                  </a:cubicBezTo>
                  <a:close/>
                  <a:moveTo>
                    <a:pt x="1914715" y="70104"/>
                  </a:moveTo>
                  <a:cubicBezTo>
                    <a:pt x="1918144" y="70104"/>
                    <a:pt x="1920907" y="72866"/>
                    <a:pt x="1920907" y="76295"/>
                  </a:cubicBezTo>
                  <a:cubicBezTo>
                    <a:pt x="1920907" y="79724"/>
                    <a:pt x="1918144" y="82486"/>
                    <a:pt x="1914715" y="82486"/>
                  </a:cubicBezTo>
                  <a:cubicBezTo>
                    <a:pt x="1911286" y="82486"/>
                    <a:pt x="1908524" y="79724"/>
                    <a:pt x="1908524" y="76295"/>
                  </a:cubicBezTo>
                  <a:cubicBezTo>
                    <a:pt x="1908524" y="72866"/>
                    <a:pt x="1911286" y="70104"/>
                    <a:pt x="1914715" y="70104"/>
                  </a:cubicBezTo>
                  <a:close/>
                  <a:moveTo>
                    <a:pt x="1354740" y="69628"/>
                  </a:moveTo>
                  <a:cubicBezTo>
                    <a:pt x="1358169" y="69628"/>
                    <a:pt x="1360932" y="72390"/>
                    <a:pt x="1360932" y="75819"/>
                  </a:cubicBezTo>
                  <a:cubicBezTo>
                    <a:pt x="1360932" y="79248"/>
                    <a:pt x="1358169" y="82011"/>
                    <a:pt x="1354740" y="82011"/>
                  </a:cubicBezTo>
                  <a:cubicBezTo>
                    <a:pt x="1351311" y="82011"/>
                    <a:pt x="1348549" y="79248"/>
                    <a:pt x="1348549" y="75819"/>
                  </a:cubicBezTo>
                  <a:cubicBezTo>
                    <a:pt x="1348549" y="72390"/>
                    <a:pt x="1351311" y="69628"/>
                    <a:pt x="1354740" y="69628"/>
                  </a:cubicBezTo>
                  <a:close/>
                  <a:moveTo>
                    <a:pt x="1620011" y="69342"/>
                  </a:moveTo>
                  <a:cubicBezTo>
                    <a:pt x="1623440" y="69342"/>
                    <a:pt x="1626203" y="72104"/>
                    <a:pt x="1626203" y="75533"/>
                  </a:cubicBezTo>
                  <a:cubicBezTo>
                    <a:pt x="1626203" y="78962"/>
                    <a:pt x="1623440" y="81724"/>
                    <a:pt x="1620011" y="81724"/>
                  </a:cubicBezTo>
                  <a:cubicBezTo>
                    <a:pt x="1616582" y="81724"/>
                    <a:pt x="1613820" y="78962"/>
                    <a:pt x="1613820" y="75533"/>
                  </a:cubicBezTo>
                  <a:cubicBezTo>
                    <a:pt x="1613820" y="72104"/>
                    <a:pt x="1616582" y="69342"/>
                    <a:pt x="1620011" y="69342"/>
                  </a:cubicBezTo>
                  <a:close/>
                  <a:moveTo>
                    <a:pt x="1682876" y="68866"/>
                  </a:moveTo>
                  <a:cubicBezTo>
                    <a:pt x="1686305" y="68866"/>
                    <a:pt x="1689068" y="71628"/>
                    <a:pt x="1689068" y="75057"/>
                  </a:cubicBezTo>
                  <a:cubicBezTo>
                    <a:pt x="1689068" y="78486"/>
                    <a:pt x="1686305" y="81249"/>
                    <a:pt x="1682876" y="81249"/>
                  </a:cubicBezTo>
                  <a:cubicBezTo>
                    <a:pt x="1679447" y="81249"/>
                    <a:pt x="1676685" y="78486"/>
                    <a:pt x="1676685" y="75057"/>
                  </a:cubicBezTo>
                  <a:cubicBezTo>
                    <a:pt x="1676685" y="71628"/>
                    <a:pt x="1679447" y="68866"/>
                    <a:pt x="1682876" y="68866"/>
                  </a:cubicBezTo>
                  <a:close/>
                  <a:moveTo>
                    <a:pt x="1338548" y="68675"/>
                  </a:moveTo>
                  <a:cubicBezTo>
                    <a:pt x="1341977" y="68675"/>
                    <a:pt x="1344739" y="71437"/>
                    <a:pt x="1344739" y="74866"/>
                  </a:cubicBezTo>
                  <a:cubicBezTo>
                    <a:pt x="1344739" y="78295"/>
                    <a:pt x="1341977" y="81058"/>
                    <a:pt x="1338548" y="81058"/>
                  </a:cubicBezTo>
                  <a:cubicBezTo>
                    <a:pt x="1335119" y="81058"/>
                    <a:pt x="1332357" y="78295"/>
                    <a:pt x="1332357" y="74866"/>
                  </a:cubicBezTo>
                  <a:cubicBezTo>
                    <a:pt x="1332357" y="71437"/>
                    <a:pt x="1335119" y="68675"/>
                    <a:pt x="1338548" y="68675"/>
                  </a:cubicBezTo>
                  <a:close/>
                  <a:moveTo>
                    <a:pt x="1296066" y="68390"/>
                  </a:moveTo>
                  <a:cubicBezTo>
                    <a:pt x="1299495" y="68390"/>
                    <a:pt x="1302258" y="71152"/>
                    <a:pt x="1302258" y="74581"/>
                  </a:cubicBezTo>
                  <a:cubicBezTo>
                    <a:pt x="1302258" y="78010"/>
                    <a:pt x="1299495" y="80773"/>
                    <a:pt x="1296066" y="80773"/>
                  </a:cubicBezTo>
                  <a:cubicBezTo>
                    <a:pt x="1292637" y="80773"/>
                    <a:pt x="1289875" y="78010"/>
                    <a:pt x="1289875" y="74581"/>
                  </a:cubicBezTo>
                  <a:cubicBezTo>
                    <a:pt x="1289875" y="71152"/>
                    <a:pt x="1292637" y="68390"/>
                    <a:pt x="1296066" y="68390"/>
                  </a:cubicBezTo>
                  <a:close/>
                  <a:moveTo>
                    <a:pt x="1323403" y="68294"/>
                  </a:moveTo>
                  <a:cubicBezTo>
                    <a:pt x="1326832" y="68294"/>
                    <a:pt x="1329595" y="71056"/>
                    <a:pt x="1329595" y="74485"/>
                  </a:cubicBezTo>
                  <a:cubicBezTo>
                    <a:pt x="1329595" y="77914"/>
                    <a:pt x="1326832" y="80677"/>
                    <a:pt x="1323403" y="80677"/>
                  </a:cubicBezTo>
                  <a:cubicBezTo>
                    <a:pt x="1319974" y="80677"/>
                    <a:pt x="1317212" y="77914"/>
                    <a:pt x="1317212" y="74485"/>
                  </a:cubicBezTo>
                  <a:cubicBezTo>
                    <a:pt x="1317212" y="71056"/>
                    <a:pt x="1319974" y="68294"/>
                    <a:pt x="1323403" y="68294"/>
                  </a:cubicBezTo>
                  <a:close/>
                  <a:moveTo>
                    <a:pt x="1309306" y="68294"/>
                  </a:moveTo>
                  <a:cubicBezTo>
                    <a:pt x="1312735" y="68294"/>
                    <a:pt x="1315498" y="71056"/>
                    <a:pt x="1315498" y="74485"/>
                  </a:cubicBezTo>
                  <a:cubicBezTo>
                    <a:pt x="1315498" y="77914"/>
                    <a:pt x="1312735" y="80677"/>
                    <a:pt x="1309306" y="80677"/>
                  </a:cubicBezTo>
                  <a:cubicBezTo>
                    <a:pt x="1305877" y="80677"/>
                    <a:pt x="1303115" y="77914"/>
                    <a:pt x="1303115" y="74485"/>
                  </a:cubicBezTo>
                  <a:cubicBezTo>
                    <a:pt x="1303115" y="71056"/>
                    <a:pt x="1305877" y="68294"/>
                    <a:pt x="1309306" y="68294"/>
                  </a:cubicBezTo>
                  <a:close/>
                  <a:moveTo>
                    <a:pt x="1833657" y="67818"/>
                  </a:moveTo>
                  <a:cubicBezTo>
                    <a:pt x="1837086" y="67818"/>
                    <a:pt x="1839849" y="70580"/>
                    <a:pt x="1839849" y="74009"/>
                  </a:cubicBezTo>
                  <a:cubicBezTo>
                    <a:pt x="1839849" y="77438"/>
                    <a:pt x="1837086" y="80200"/>
                    <a:pt x="1833657" y="80200"/>
                  </a:cubicBezTo>
                  <a:cubicBezTo>
                    <a:pt x="1830228" y="80200"/>
                    <a:pt x="1827466" y="77438"/>
                    <a:pt x="1827466" y="74009"/>
                  </a:cubicBezTo>
                  <a:cubicBezTo>
                    <a:pt x="1827466" y="70580"/>
                    <a:pt x="1830228" y="67818"/>
                    <a:pt x="1833657" y="67818"/>
                  </a:cubicBezTo>
                  <a:close/>
                  <a:moveTo>
                    <a:pt x="1934527" y="67247"/>
                  </a:moveTo>
                  <a:cubicBezTo>
                    <a:pt x="1937956" y="67247"/>
                    <a:pt x="1940719" y="70009"/>
                    <a:pt x="1940719" y="73438"/>
                  </a:cubicBezTo>
                  <a:cubicBezTo>
                    <a:pt x="1940719" y="76867"/>
                    <a:pt x="1937956" y="79630"/>
                    <a:pt x="1934527" y="79630"/>
                  </a:cubicBezTo>
                  <a:cubicBezTo>
                    <a:pt x="1931098" y="79630"/>
                    <a:pt x="1928336" y="76867"/>
                    <a:pt x="1928336" y="73438"/>
                  </a:cubicBezTo>
                  <a:cubicBezTo>
                    <a:pt x="1928336" y="70009"/>
                    <a:pt x="1931098" y="67247"/>
                    <a:pt x="1934527" y="67247"/>
                  </a:cubicBezTo>
                  <a:close/>
                  <a:moveTo>
                    <a:pt x="2132170" y="66771"/>
                  </a:moveTo>
                  <a:cubicBezTo>
                    <a:pt x="2135599" y="66771"/>
                    <a:pt x="2138362" y="69533"/>
                    <a:pt x="2138362" y="72962"/>
                  </a:cubicBezTo>
                  <a:cubicBezTo>
                    <a:pt x="2138362" y="76391"/>
                    <a:pt x="2135599" y="79154"/>
                    <a:pt x="2132170" y="79154"/>
                  </a:cubicBezTo>
                  <a:lnTo>
                    <a:pt x="2128884" y="75868"/>
                  </a:lnTo>
                  <a:lnTo>
                    <a:pt x="2122836" y="81916"/>
                  </a:lnTo>
                  <a:lnTo>
                    <a:pt x="2119121" y="78201"/>
                  </a:lnTo>
                  <a:lnTo>
                    <a:pt x="2113406" y="83916"/>
                  </a:lnTo>
                  <a:lnTo>
                    <a:pt x="2109215" y="79724"/>
                  </a:lnTo>
                  <a:lnTo>
                    <a:pt x="2103691" y="85248"/>
                  </a:lnTo>
                  <a:lnTo>
                    <a:pt x="2099024" y="80581"/>
                  </a:lnTo>
                  <a:lnTo>
                    <a:pt x="2094404" y="85202"/>
                  </a:lnTo>
                  <a:lnTo>
                    <a:pt x="2099547" y="90345"/>
                  </a:lnTo>
                  <a:lnTo>
                    <a:pt x="2104929" y="84963"/>
                  </a:lnTo>
                  <a:lnTo>
                    <a:pt x="2110073" y="90106"/>
                  </a:lnTo>
                  <a:lnTo>
                    <a:pt x="2115216" y="84963"/>
                  </a:lnTo>
                  <a:lnTo>
                    <a:pt x="2119979" y="89726"/>
                  </a:lnTo>
                  <a:lnTo>
                    <a:pt x="2124932" y="84773"/>
                  </a:lnTo>
                  <a:lnTo>
                    <a:pt x="2129266" y="89106"/>
                  </a:lnTo>
                  <a:lnTo>
                    <a:pt x="2134171" y="84201"/>
                  </a:lnTo>
                  <a:lnTo>
                    <a:pt x="2138172" y="88201"/>
                  </a:lnTo>
                  <a:lnTo>
                    <a:pt x="2143124" y="83249"/>
                  </a:lnTo>
                  <a:lnTo>
                    <a:pt x="2146696" y="86821"/>
                  </a:lnTo>
                  <a:lnTo>
                    <a:pt x="2151887" y="81630"/>
                  </a:lnTo>
                  <a:lnTo>
                    <a:pt x="2154983" y="84725"/>
                  </a:lnTo>
                  <a:lnTo>
                    <a:pt x="2160365" y="79343"/>
                  </a:lnTo>
                  <a:lnTo>
                    <a:pt x="2163032" y="82010"/>
                  </a:lnTo>
                  <a:lnTo>
                    <a:pt x="2168746" y="76296"/>
                  </a:lnTo>
                  <a:cubicBezTo>
                    <a:pt x="2172175" y="76296"/>
                    <a:pt x="2174938" y="79058"/>
                    <a:pt x="2174938" y="82487"/>
                  </a:cubicBezTo>
                  <a:cubicBezTo>
                    <a:pt x="2174938" y="85916"/>
                    <a:pt x="2172175" y="88679"/>
                    <a:pt x="2168746" y="88679"/>
                  </a:cubicBezTo>
                  <a:lnTo>
                    <a:pt x="2166079" y="86012"/>
                  </a:lnTo>
                  <a:lnTo>
                    <a:pt x="2160365" y="91726"/>
                  </a:lnTo>
                  <a:lnTo>
                    <a:pt x="2157270" y="88630"/>
                  </a:lnTo>
                  <a:lnTo>
                    <a:pt x="2151887" y="94012"/>
                  </a:lnTo>
                  <a:lnTo>
                    <a:pt x="2148315" y="90440"/>
                  </a:lnTo>
                  <a:lnTo>
                    <a:pt x="2143124" y="95632"/>
                  </a:lnTo>
                  <a:lnTo>
                    <a:pt x="2139124" y="91631"/>
                  </a:lnTo>
                  <a:lnTo>
                    <a:pt x="2134171" y="96584"/>
                  </a:lnTo>
                  <a:lnTo>
                    <a:pt x="2129838" y="92250"/>
                  </a:lnTo>
                  <a:lnTo>
                    <a:pt x="2124932" y="97155"/>
                  </a:lnTo>
                  <a:lnTo>
                    <a:pt x="2120170" y="92393"/>
                  </a:lnTo>
                  <a:lnTo>
                    <a:pt x="2115216" y="97346"/>
                  </a:lnTo>
                  <a:lnTo>
                    <a:pt x="2110073" y="92202"/>
                  </a:lnTo>
                  <a:lnTo>
                    <a:pt x="2104929" y="97346"/>
                  </a:lnTo>
                  <a:lnTo>
                    <a:pt x="2099452" y="91869"/>
                  </a:lnTo>
                  <a:lnTo>
                    <a:pt x="2094070" y="97251"/>
                  </a:lnTo>
                  <a:lnTo>
                    <a:pt x="2088260" y="91440"/>
                  </a:lnTo>
                  <a:lnTo>
                    <a:pt x="2082545" y="97155"/>
                  </a:lnTo>
                  <a:cubicBezTo>
                    <a:pt x="2079116" y="97155"/>
                    <a:pt x="2076354" y="94393"/>
                    <a:pt x="2076354" y="90964"/>
                  </a:cubicBezTo>
                  <a:lnTo>
                    <a:pt x="2081973" y="85345"/>
                  </a:lnTo>
                  <a:lnTo>
                    <a:pt x="2077497" y="80868"/>
                  </a:lnTo>
                  <a:lnTo>
                    <a:pt x="2071973" y="86393"/>
                  </a:lnTo>
                  <a:lnTo>
                    <a:pt x="2066115" y="80534"/>
                  </a:lnTo>
                  <a:lnTo>
                    <a:pt x="2060352" y="86297"/>
                  </a:lnTo>
                  <a:cubicBezTo>
                    <a:pt x="2056923" y="86297"/>
                    <a:pt x="2054161" y="83534"/>
                    <a:pt x="2054161" y="80105"/>
                  </a:cubicBezTo>
                  <a:cubicBezTo>
                    <a:pt x="2054161" y="76676"/>
                    <a:pt x="2056923" y="73914"/>
                    <a:pt x="2060352" y="73914"/>
                  </a:cubicBezTo>
                  <a:lnTo>
                    <a:pt x="2066211" y="79772"/>
                  </a:lnTo>
                  <a:lnTo>
                    <a:pt x="2071973" y="74010"/>
                  </a:lnTo>
                  <a:lnTo>
                    <a:pt x="2077497" y="79534"/>
                  </a:lnTo>
                  <a:lnTo>
                    <a:pt x="2083021" y="74010"/>
                  </a:lnTo>
                  <a:lnTo>
                    <a:pt x="2088117" y="79105"/>
                  </a:lnTo>
                  <a:lnTo>
                    <a:pt x="2093594" y="73628"/>
                  </a:lnTo>
                  <a:lnTo>
                    <a:pt x="2098262" y="78295"/>
                  </a:lnTo>
                  <a:lnTo>
                    <a:pt x="2103691" y="72866"/>
                  </a:lnTo>
                  <a:lnTo>
                    <a:pt x="2107882" y="77057"/>
                  </a:lnTo>
                  <a:lnTo>
                    <a:pt x="2113406" y="71533"/>
                  </a:lnTo>
                  <a:lnTo>
                    <a:pt x="2117121" y="75248"/>
                  </a:lnTo>
                  <a:lnTo>
                    <a:pt x="2122836" y="69533"/>
                  </a:lnTo>
                  <a:lnTo>
                    <a:pt x="2126122" y="72819"/>
                  </a:lnTo>
                  <a:close/>
                  <a:moveTo>
                    <a:pt x="1448085" y="66104"/>
                  </a:moveTo>
                  <a:cubicBezTo>
                    <a:pt x="1451514" y="66104"/>
                    <a:pt x="1454276" y="68866"/>
                    <a:pt x="1454276" y="72295"/>
                  </a:cubicBezTo>
                  <a:cubicBezTo>
                    <a:pt x="1454276" y="75724"/>
                    <a:pt x="1451514" y="78486"/>
                    <a:pt x="1448085" y="78486"/>
                  </a:cubicBezTo>
                  <a:cubicBezTo>
                    <a:pt x="1444656" y="78486"/>
                    <a:pt x="1441894" y="75724"/>
                    <a:pt x="1441894" y="72295"/>
                  </a:cubicBezTo>
                  <a:cubicBezTo>
                    <a:pt x="1441894" y="68866"/>
                    <a:pt x="1444656" y="66104"/>
                    <a:pt x="1448085" y="66104"/>
                  </a:cubicBezTo>
                  <a:close/>
                  <a:moveTo>
                    <a:pt x="2141315" y="65247"/>
                  </a:moveTo>
                  <a:cubicBezTo>
                    <a:pt x="2143577" y="65247"/>
                    <a:pt x="2145411" y="67081"/>
                    <a:pt x="2145411" y="69343"/>
                  </a:cubicBezTo>
                  <a:cubicBezTo>
                    <a:pt x="2145411" y="71605"/>
                    <a:pt x="2143577" y="73438"/>
                    <a:pt x="2141315" y="73438"/>
                  </a:cubicBezTo>
                  <a:cubicBezTo>
                    <a:pt x="2139053" y="73438"/>
                    <a:pt x="2137219" y="71605"/>
                    <a:pt x="2137219" y="69343"/>
                  </a:cubicBezTo>
                  <a:cubicBezTo>
                    <a:pt x="2137219" y="67081"/>
                    <a:pt x="2139053" y="65247"/>
                    <a:pt x="2141315" y="65247"/>
                  </a:cubicBezTo>
                  <a:close/>
                  <a:moveTo>
                    <a:pt x="1530667" y="65151"/>
                  </a:moveTo>
                  <a:cubicBezTo>
                    <a:pt x="1534096" y="65151"/>
                    <a:pt x="1536859" y="67913"/>
                    <a:pt x="1536859" y="71342"/>
                  </a:cubicBezTo>
                  <a:cubicBezTo>
                    <a:pt x="1536859" y="74771"/>
                    <a:pt x="1534096" y="77534"/>
                    <a:pt x="1530667" y="77534"/>
                  </a:cubicBezTo>
                  <a:cubicBezTo>
                    <a:pt x="1527238" y="77534"/>
                    <a:pt x="1524476" y="74771"/>
                    <a:pt x="1524476" y="71342"/>
                  </a:cubicBezTo>
                  <a:cubicBezTo>
                    <a:pt x="1524476" y="67913"/>
                    <a:pt x="1527238" y="65151"/>
                    <a:pt x="1530667" y="65151"/>
                  </a:cubicBezTo>
                  <a:close/>
                  <a:moveTo>
                    <a:pt x="1229582" y="64485"/>
                  </a:moveTo>
                  <a:lnTo>
                    <a:pt x="1235583" y="70485"/>
                  </a:lnTo>
                  <a:lnTo>
                    <a:pt x="1239678" y="66390"/>
                  </a:lnTo>
                  <a:lnTo>
                    <a:pt x="1245441" y="72152"/>
                  </a:lnTo>
                  <a:lnTo>
                    <a:pt x="1249965" y="67628"/>
                  </a:lnTo>
                  <a:lnTo>
                    <a:pt x="1255632" y="73295"/>
                  </a:lnTo>
                  <a:lnTo>
                    <a:pt x="1260633" y="68294"/>
                  </a:lnTo>
                  <a:lnTo>
                    <a:pt x="1266396" y="74057"/>
                  </a:lnTo>
                  <a:lnTo>
                    <a:pt x="1271873" y="68580"/>
                  </a:lnTo>
                  <a:lnTo>
                    <a:pt x="1277778" y="74485"/>
                  </a:lnTo>
                  <a:lnTo>
                    <a:pt x="1283683" y="68580"/>
                  </a:lnTo>
                  <a:cubicBezTo>
                    <a:pt x="1287112" y="68580"/>
                    <a:pt x="1289875" y="71342"/>
                    <a:pt x="1289875" y="74771"/>
                  </a:cubicBezTo>
                  <a:cubicBezTo>
                    <a:pt x="1289875" y="78200"/>
                    <a:pt x="1287112" y="80962"/>
                    <a:pt x="1283683" y="80962"/>
                  </a:cubicBezTo>
                  <a:lnTo>
                    <a:pt x="1277778" y="75057"/>
                  </a:lnTo>
                  <a:lnTo>
                    <a:pt x="1271873" y="80962"/>
                  </a:lnTo>
                  <a:lnTo>
                    <a:pt x="1266111" y="75200"/>
                  </a:lnTo>
                  <a:lnTo>
                    <a:pt x="1260633" y="80677"/>
                  </a:lnTo>
                  <a:lnTo>
                    <a:pt x="1254966" y="75010"/>
                  </a:lnTo>
                  <a:lnTo>
                    <a:pt x="1251061" y="78915"/>
                  </a:lnTo>
                  <a:lnTo>
                    <a:pt x="1256776" y="84629"/>
                  </a:lnTo>
                  <a:lnTo>
                    <a:pt x="1262633" y="78772"/>
                  </a:lnTo>
                  <a:cubicBezTo>
                    <a:pt x="1266062" y="78772"/>
                    <a:pt x="1268825" y="81534"/>
                    <a:pt x="1268825" y="84963"/>
                  </a:cubicBezTo>
                  <a:cubicBezTo>
                    <a:pt x="1268825" y="88392"/>
                    <a:pt x="1266062" y="91155"/>
                    <a:pt x="1262633" y="91155"/>
                  </a:cubicBezTo>
                  <a:lnTo>
                    <a:pt x="1256871" y="85392"/>
                  </a:lnTo>
                  <a:lnTo>
                    <a:pt x="1251013" y="91249"/>
                  </a:lnTo>
                  <a:lnTo>
                    <a:pt x="1245537" y="85773"/>
                  </a:lnTo>
                  <a:lnTo>
                    <a:pt x="1240059" y="91250"/>
                  </a:lnTo>
                  <a:lnTo>
                    <a:pt x="1245584" y="96774"/>
                  </a:lnTo>
                  <a:cubicBezTo>
                    <a:pt x="1245584" y="100203"/>
                    <a:pt x="1242821" y="102966"/>
                    <a:pt x="1239392" y="102966"/>
                  </a:cubicBezTo>
                  <a:lnTo>
                    <a:pt x="1233487" y="97060"/>
                  </a:lnTo>
                  <a:lnTo>
                    <a:pt x="1227772" y="102775"/>
                  </a:lnTo>
                  <a:lnTo>
                    <a:pt x="1222295" y="97298"/>
                  </a:lnTo>
                  <a:lnTo>
                    <a:pt x="1216913" y="102679"/>
                  </a:lnTo>
                  <a:lnTo>
                    <a:pt x="1211913" y="97679"/>
                  </a:lnTo>
                  <a:lnTo>
                    <a:pt x="1206817" y="102775"/>
                  </a:lnTo>
                  <a:lnTo>
                    <a:pt x="1202007" y="97964"/>
                  </a:lnTo>
                  <a:lnTo>
                    <a:pt x="1197197" y="102775"/>
                  </a:lnTo>
                  <a:lnTo>
                    <a:pt x="1192530" y="98108"/>
                  </a:lnTo>
                  <a:lnTo>
                    <a:pt x="1188148" y="102490"/>
                  </a:lnTo>
                  <a:lnTo>
                    <a:pt x="1183433" y="97775"/>
                  </a:lnTo>
                  <a:lnTo>
                    <a:pt x="1179385" y="101823"/>
                  </a:lnTo>
                  <a:lnTo>
                    <a:pt x="1174575" y="97012"/>
                  </a:lnTo>
                  <a:lnTo>
                    <a:pt x="1170907" y="100680"/>
                  </a:lnTo>
                  <a:lnTo>
                    <a:pt x="1165954" y="95727"/>
                  </a:lnTo>
                  <a:lnTo>
                    <a:pt x="1162716" y="98965"/>
                  </a:lnTo>
                  <a:lnTo>
                    <a:pt x="1157430" y="93679"/>
                  </a:lnTo>
                  <a:lnTo>
                    <a:pt x="1154620" y="96489"/>
                  </a:lnTo>
                  <a:cubicBezTo>
                    <a:pt x="1151191" y="96489"/>
                    <a:pt x="1148429" y="93726"/>
                    <a:pt x="1148429" y="90297"/>
                  </a:cubicBezTo>
                  <a:cubicBezTo>
                    <a:pt x="1148429" y="86868"/>
                    <a:pt x="1151191" y="84106"/>
                    <a:pt x="1154620" y="84106"/>
                  </a:cubicBezTo>
                  <a:lnTo>
                    <a:pt x="1159906" y="89392"/>
                  </a:lnTo>
                  <a:lnTo>
                    <a:pt x="1162716" y="86582"/>
                  </a:lnTo>
                  <a:lnTo>
                    <a:pt x="1167669" y="91535"/>
                  </a:lnTo>
                  <a:lnTo>
                    <a:pt x="1170907" y="88297"/>
                  </a:lnTo>
                  <a:lnTo>
                    <a:pt x="1175718" y="93107"/>
                  </a:lnTo>
                  <a:lnTo>
                    <a:pt x="1179385" y="89440"/>
                  </a:lnTo>
                  <a:lnTo>
                    <a:pt x="1184100" y="94155"/>
                  </a:lnTo>
                  <a:lnTo>
                    <a:pt x="1188148" y="90107"/>
                  </a:lnTo>
                  <a:lnTo>
                    <a:pt x="1192815" y="94774"/>
                  </a:lnTo>
                  <a:lnTo>
                    <a:pt x="1197197" y="90392"/>
                  </a:lnTo>
                  <a:lnTo>
                    <a:pt x="1202007" y="95202"/>
                  </a:lnTo>
                  <a:lnTo>
                    <a:pt x="1206817" y="90392"/>
                  </a:lnTo>
                  <a:lnTo>
                    <a:pt x="1211818" y="95393"/>
                  </a:lnTo>
                  <a:lnTo>
                    <a:pt x="1216913" y="90297"/>
                  </a:lnTo>
                  <a:lnTo>
                    <a:pt x="1222390" y="95774"/>
                  </a:lnTo>
                  <a:lnTo>
                    <a:pt x="1227772" y="90392"/>
                  </a:lnTo>
                  <a:lnTo>
                    <a:pt x="1233678" y="96297"/>
                  </a:lnTo>
                  <a:lnTo>
                    <a:pt x="1239297" y="90678"/>
                  </a:lnTo>
                  <a:lnTo>
                    <a:pt x="1234726" y="86106"/>
                  </a:lnTo>
                  <a:lnTo>
                    <a:pt x="1229582" y="91249"/>
                  </a:lnTo>
                  <a:lnTo>
                    <a:pt x="1224391" y="86058"/>
                  </a:lnTo>
                  <a:lnTo>
                    <a:pt x="1219580" y="90869"/>
                  </a:lnTo>
                  <a:lnTo>
                    <a:pt x="1214342" y="85630"/>
                  </a:lnTo>
                  <a:lnTo>
                    <a:pt x="1210055" y="89917"/>
                  </a:lnTo>
                  <a:lnTo>
                    <a:pt x="1204721" y="84583"/>
                  </a:lnTo>
                  <a:lnTo>
                    <a:pt x="1200816" y="88487"/>
                  </a:lnTo>
                  <a:lnTo>
                    <a:pt x="1195244" y="82915"/>
                  </a:lnTo>
                  <a:lnTo>
                    <a:pt x="1191767" y="86393"/>
                  </a:lnTo>
                  <a:cubicBezTo>
                    <a:pt x="1188338" y="86393"/>
                    <a:pt x="1185576" y="83630"/>
                    <a:pt x="1185576" y="80201"/>
                  </a:cubicBezTo>
                  <a:cubicBezTo>
                    <a:pt x="1185576" y="76772"/>
                    <a:pt x="1188338" y="74010"/>
                    <a:pt x="1191767" y="74010"/>
                  </a:cubicBezTo>
                  <a:lnTo>
                    <a:pt x="1197339" y="79582"/>
                  </a:lnTo>
                  <a:lnTo>
                    <a:pt x="1200816" y="76105"/>
                  </a:lnTo>
                  <a:lnTo>
                    <a:pt x="1206150" y="81439"/>
                  </a:lnTo>
                  <a:lnTo>
                    <a:pt x="1210055" y="77534"/>
                  </a:lnTo>
                  <a:lnTo>
                    <a:pt x="1215294" y="82772"/>
                  </a:lnTo>
                  <a:lnTo>
                    <a:pt x="1219580" y="78486"/>
                  </a:lnTo>
                  <a:lnTo>
                    <a:pt x="1224772" y="83677"/>
                  </a:lnTo>
                  <a:lnTo>
                    <a:pt x="1229582" y="78867"/>
                  </a:lnTo>
                  <a:lnTo>
                    <a:pt x="1234821" y="84105"/>
                  </a:lnTo>
                  <a:lnTo>
                    <a:pt x="1239964" y="78962"/>
                  </a:lnTo>
                  <a:lnTo>
                    <a:pt x="1245441" y="84439"/>
                  </a:lnTo>
                  <a:lnTo>
                    <a:pt x="1249917" y="79963"/>
                  </a:lnTo>
                  <a:lnTo>
                    <a:pt x="1244203" y="74248"/>
                  </a:lnTo>
                  <a:lnTo>
                    <a:pt x="1239678" y="78773"/>
                  </a:lnTo>
                  <a:lnTo>
                    <a:pt x="1233678" y="72772"/>
                  </a:lnTo>
                  <a:lnTo>
                    <a:pt x="1229582" y="76868"/>
                  </a:lnTo>
                  <a:cubicBezTo>
                    <a:pt x="1226153" y="76868"/>
                    <a:pt x="1223391" y="74105"/>
                    <a:pt x="1223391" y="70676"/>
                  </a:cubicBezTo>
                  <a:cubicBezTo>
                    <a:pt x="1223391" y="67247"/>
                    <a:pt x="1226153" y="64485"/>
                    <a:pt x="1229582" y="64485"/>
                  </a:cubicBezTo>
                  <a:close/>
                  <a:moveTo>
                    <a:pt x="2027967" y="64008"/>
                  </a:moveTo>
                  <a:cubicBezTo>
                    <a:pt x="2031396" y="64008"/>
                    <a:pt x="2034159" y="66770"/>
                    <a:pt x="2034159" y="70199"/>
                  </a:cubicBezTo>
                  <a:cubicBezTo>
                    <a:pt x="2034159" y="73628"/>
                    <a:pt x="2031396" y="76391"/>
                    <a:pt x="2027967" y="76391"/>
                  </a:cubicBezTo>
                  <a:cubicBezTo>
                    <a:pt x="2024538" y="76391"/>
                    <a:pt x="2021776" y="73628"/>
                    <a:pt x="2021776" y="70199"/>
                  </a:cubicBezTo>
                  <a:cubicBezTo>
                    <a:pt x="2021776" y="66770"/>
                    <a:pt x="2024538" y="64008"/>
                    <a:pt x="2027967" y="64008"/>
                  </a:cubicBezTo>
                  <a:close/>
                  <a:moveTo>
                    <a:pt x="2014823" y="63913"/>
                  </a:moveTo>
                  <a:cubicBezTo>
                    <a:pt x="2018252" y="63913"/>
                    <a:pt x="2021014" y="66675"/>
                    <a:pt x="2021014" y="70104"/>
                  </a:cubicBezTo>
                  <a:cubicBezTo>
                    <a:pt x="2021014" y="73533"/>
                    <a:pt x="2018252" y="76296"/>
                    <a:pt x="2014823" y="76296"/>
                  </a:cubicBezTo>
                  <a:cubicBezTo>
                    <a:pt x="2011394" y="76296"/>
                    <a:pt x="2008632" y="73533"/>
                    <a:pt x="2008632" y="70104"/>
                  </a:cubicBezTo>
                  <a:cubicBezTo>
                    <a:pt x="2008632" y="66675"/>
                    <a:pt x="2011394" y="63913"/>
                    <a:pt x="2014823" y="63913"/>
                  </a:cubicBezTo>
                  <a:close/>
                  <a:moveTo>
                    <a:pt x="2000821" y="63818"/>
                  </a:moveTo>
                  <a:cubicBezTo>
                    <a:pt x="2004250" y="63818"/>
                    <a:pt x="2007013" y="66580"/>
                    <a:pt x="2007013" y="70009"/>
                  </a:cubicBezTo>
                  <a:cubicBezTo>
                    <a:pt x="2007013" y="73438"/>
                    <a:pt x="2004250" y="76200"/>
                    <a:pt x="2000821" y="76200"/>
                  </a:cubicBezTo>
                  <a:cubicBezTo>
                    <a:pt x="1997392" y="76200"/>
                    <a:pt x="1994630" y="73438"/>
                    <a:pt x="1994630" y="70009"/>
                  </a:cubicBezTo>
                  <a:cubicBezTo>
                    <a:pt x="1994630" y="66580"/>
                    <a:pt x="1997392" y="63818"/>
                    <a:pt x="2000821" y="63818"/>
                  </a:cubicBezTo>
                  <a:close/>
                  <a:moveTo>
                    <a:pt x="1219866" y="63722"/>
                  </a:moveTo>
                  <a:cubicBezTo>
                    <a:pt x="1222248" y="63722"/>
                    <a:pt x="1224153" y="65627"/>
                    <a:pt x="1224153" y="68008"/>
                  </a:cubicBezTo>
                  <a:cubicBezTo>
                    <a:pt x="1224153" y="70390"/>
                    <a:pt x="1222248" y="72295"/>
                    <a:pt x="1219866" y="72295"/>
                  </a:cubicBezTo>
                  <a:cubicBezTo>
                    <a:pt x="1217485" y="72295"/>
                    <a:pt x="1215580" y="70390"/>
                    <a:pt x="1215580" y="68008"/>
                  </a:cubicBezTo>
                  <a:cubicBezTo>
                    <a:pt x="1215580" y="65627"/>
                    <a:pt x="1217485" y="63722"/>
                    <a:pt x="1219866" y="63722"/>
                  </a:cubicBezTo>
                  <a:close/>
                  <a:moveTo>
                    <a:pt x="1773364" y="63341"/>
                  </a:moveTo>
                  <a:cubicBezTo>
                    <a:pt x="1776793" y="63341"/>
                    <a:pt x="1779556" y="66103"/>
                    <a:pt x="1779556" y="69532"/>
                  </a:cubicBezTo>
                  <a:cubicBezTo>
                    <a:pt x="1779556" y="72961"/>
                    <a:pt x="1776793" y="75724"/>
                    <a:pt x="1773364" y="75724"/>
                  </a:cubicBezTo>
                  <a:cubicBezTo>
                    <a:pt x="1769935" y="75724"/>
                    <a:pt x="1767173" y="72961"/>
                    <a:pt x="1767173" y="69532"/>
                  </a:cubicBezTo>
                  <a:cubicBezTo>
                    <a:pt x="1767173" y="66103"/>
                    <a:pt x="1769935" y="63341"/>
                    <a:pt x="1773364" y="63341"/>
                  </a:cubicBezTo>
                  <a:close/>
                  <a:moveTo>
                    <a:pt x="1857279" y="63056"/>
                  </a:moveTo>
                  <a:cubicBezTo>
                    <a:pt x="1860708" y="63056"/>
                    <a:pt x="1863471" y="65818"/>
                    <a:pt x="1863471" y="69247"/>
                  </a:cubicBezTo>
                  <a:cubicBezTo>
                    <a:pt x="1863471" y="72676"/>
                    <a:pt x="1860708" y="75438"/>
                    <a:pt x="1857279" y="75438"/>
                  </a:cubicBezTo>
                  <a:cubicBezTo>
                    <a:pt x="1853850" y="75438"/>
                    <a:pt x="1851088" y="72676"/>
                    <a:pt x="1851088" y="69247"/>
                  </a:cubicBezTo>
                  <a:cubicBezTo>
                    <a:pt x="1851088" y="65818"/>
                    <a:pt x="1853850" y="63056"/>
                    <a:pt x="1857279" y="63056"/>
                  </a:cubicBezTo>
                  <a:close/>
                  <a:moveTo>
                    <a:pt x="1427130" y="62960"/>
                  </a:moveTo>
                  <a:cubicBezTo>
                    <a:pt x="1430559" y="62960"/>
                    <a:pt x="1433322" y="65722"/>
                    <a:pt x="1433322" y="69151"/>
                  </a:cubicBezTo>
                  <a:cubicBezTo>
                    <a:pt x="1433322" y="72580"/>
                    <a:pt x="1430559" y="75343"/>
                    <a:pt x="1427130" y="75343"/>
                  </a:cubicBezTo>
                  <a:cubicBezTo>
                    <a:pt x="1423701" y="75343"/>
                    <a:pt x="1420939" y="72580"/>
                    <a:pt x="1420939" y="69151"/>
                  </a:cubicBezTo>
                  <a:cubicBezTo>
                    <a:pt x="1420939" y="65722"/>
                    <a:pt x="1423701" y="62960"/>
                    <a:pt x="1427130" y="62960"/>
                  </a:cubicBezTo>
                  <a:close/>
                  <a:moveTo>
                    <a:pt x="1591150" y="61722"/>
                  </a:moveTo>
                  <a:cubicBezTo>
                    <a:pt x="1594579" y="61722"/>
                    <a:pt x="1597342" y="64484"/>
                    <a:pt x="1597342" y="67913"/>
                  </a:cubicBezTo>
                  <a:cubicBezTo>
                    <a:pt x="1597342" y="71342"/>
                    <a:pt x="1594579" y="74105"/>
                    <a:pt x="1591150" y="74105"/>
                  </a:cubicBezTo>
                  <a:cubicBezTo>
                    <a:pt x="1587721" y="74105"/>
                    <a:pt x="1584959" y="71342"/>
                    <a:pt x="1584959" y="67913"/>
                  </a:cubicBezTo>
                  <a:cubicBezTo>
                    <a:pt x="1584959" y="64484"/>
                    <a:pt x="1587721" y="61722"/>
                    <a:pt x="1591150" y="61722"/>
                  </a:cubicBezTo>
                  <a:close/>
                  <a:moveTo>
                    <a:pt x="1407699" y="60960"/>
                  </a:moveTo>
                  <a:cubicBezTo>
                    <a:pt x="1411128" y="60960"/>
                    <a:pt x="1413891" y="63722"/>
                    <a:pt x="1413891" y="67151"/>
                  </a:cubicBezTo>
                  <a:cubicBezTo>
                    <a:pt x="1413891" y="70580"/>
                    <a:pt x="1411128" y="73343"/>
                    <a:pt x="1407699" y="73343"/>
                  </a:cubicBezTo>
                  <a:cubicBezTo>
                    <a:pt x="1404270" y="73343"/>
                    <a:pt x="1401508" y="70580"/>
                    <a:pt x="1401508" y="67151"/>
                  </a:cubicBezTo>
                  <a:cubicBezTo>
                    <a:pt x="1401508" y="63722"/>
                    <a:pt x="1404270" y="60960"/>
                    <a:pt x="1407699" y="60960"/>
                  </a:cubicBezTo>
                  <a:close/>
                  <a:moveTo>
                    <a:pt x="1712785" y="60770"/>
                  </a:moveTo>
                  <a:cubicBezTo>
                    <a:pt x="1716214" y="60770"/>
                    <a:pt x="1718977" y="63532"/>
                    <a:pt x="1718977" y="66961"/>
                  </a:cubicBezTo>
                  <a:cubicBezTo>
                    <a:pt x="1718977" y="70390"/>
                    <a:pt x="1716214" y="73153"/>
                    <a:pt x="1712785" y="73153"/>
                  </a:cubicBezTo>
                  <a:cubicBezTo>
                    <a:pt x="1709356" y="73153"/>
                    <a:pt x="1706594" y="70390"/>
                    <a:pt x="1706594" y="66961"/>
                  </a:cubicBezTo>
                  <a:cubicBezTo>
                    <a:pt x="1706594" y="63532"/>
                    <a:pt x="1709356" y="60770"/>
                    <a:pt x="1712785" y="60770"/>
                  </a:cubicBezTo>
                  <a:close/>
                  <a:moveTo>
                    <a:pt x="2084736" y="60294"/>
                  </a:moveTo>
                  <a:cubicBezTo>
                    <a:pt x="2088165" y="60294"/>
                    <a:pt x="2090928" y="63056"/>
                    <a:pt x="2090928" y="66485"/>
                  </a:cubicBezTo>
                  <a:cubicBezTo>
                    <a:pt x="2090928" y="69914"/>
                    <a:pt x="2088165" y="72676"/>
                    <a:pt x="2084736" y="72676"/>
                  </a:cubicBezTo>
                  <a:lnTo>
                    <a:pt x="2080354" y="68295"/>
                  </a:lnTo>
                  <a:lnTo>
                    <a:pt x="2074258" y="74391"/>
                  </a:lnTo>
                  <a:lnTo>
                    <a:pt x="2069401" y="69533"/>
                  </a:lnTo>
                  <a:lnTo>
                    <a:pt x="2063400" y="75534"/>
                  </a:lnTo>
                  <a:lnTo>
                    <a:pt x="2058114" y="70248"/>
                  </a:lnTo>
                  <a:lnTo>
                    <a:pt x="2052161" y="76200"/>
                  </a:lnTo>
                  <a:lnTo>
                    <a:pt x="2046398" y="70437"/>
                  </a:lnTo>
                  <a:lnTo>
                    <a:pt x="2040349" y="76486"/>
                  </a:lnTo>
                  <a:cubicBezTo>
                    <a:pt x="2036920" y="76486"/>
                    <a:pt x="2034158" y="73723"/>
                    <a:pt x="2034158" y="70294"/>
                  </a:cubicBezTo>
                  <a:cubicBezTo>
                    <a:pt x="2034158" y="66865"/>
                    <a:pt x="2036920" y="64103"/>
                    <a:pt x="2040349" y="64103"/>
                  </a:cubicBezTo>
                  <a:lnTo>
                    <a:pt x="2046113" y="69866"/>
                  </a:lnTo>
                  <a:lnTo>
                    <a:pt x="2052161" y="63818"/>
                  </a:lnTo>
                  <a:lnTo>
                    <a:pt x="2057447" y="69104"/>
                  </a:lnTo>
                  <a:lnTo>
                    <a:pt x="2063400" y="63151"/>
                  </a:lnTo>
                  <a:lnTo>
                    <a:pt x="2068258" y="68008"/>
                  </a:lnTo>
                  <a:lnTo>
                    <a:pt x="2074258" y="62008"/>
                  </a:lnTo>
                  <a:lnTo>
                    <a:pt x="2078640" y="66390"/>
                  </a:lnTo>
                  <a:close/>
                  <a:moveTo>
                    <a:pt x="1651920" y="60294"/>
                  </a:moveTo>
                  <a:cubicBezTo>
                    <a:pt x="1655349" y="60294"/>
                    <a:pt x="1658112" y="63056"/>
                    <a:pt x="1658112" y="66485"/>
                  </a:cubicBezTo>
                  <a:cubicBezTo>
                    <a:pt x="1658112" y="69914"/>
                    <a:pt x="1655349" y="72676"/>
                    <a:pt x="1651920" y="72676"/>
                  </a:cubicBezTo>
                  <a:cubicBezTo>
                    <a:pt x="1648491" y="72676"/>
                    <a:pt x="1645729" y="69914"/>
                    <a:pt x="1645729" y="66485"/>
                  </a:cubicBezTo>
                  <a:cubicBezTo>
                    <a:pt x="1645729" y="63056"/>
                    <a:pt x="1648491" y="60294"/>
                    <a:pt x="1651920" y="60294"/>
                  </a:cubicBezTo>
                  <a:close/>
                  <a:moveTo>
                    <a:pt x="1505902" y="60103"/>
                  </a:moveTo>
                  <a:cubicBezTo>
                    <a:pt x="1509331" y="60103"/>
                    <a:pt x="1512094" y="62865"/>
                    <a:pt x="1512094" y="66294"/>
                  </a:cubicBezTo>
                  <a:cubicBezTo>
                    <a:pt x="1512094" y="69723"/>
                    <a:pt x="1509331" y="72485"/>
                    <a:pt x="1505902" y="72485"/>
                  </a:cubicBezTo>
                  <a:cubicBezTo>
                    <a:pt x="1502473" y="72485"/>
                    <a:pt x="1499711" y="69723"/>
                    <a:pt x="1499711" y="66294"/>
                  </a:cubicBezTo>
                  <a:cubicBezTo>
                    <a:pt x="1499711" y="62865"/>
                    <a:pt x="1502473" y="60103"/>
                    <a:pt x="1505902" y="60103"/>
                  </a:cubicBezTo>
                  <a:close/>
                  <a:moveTo>
                    <a:pt x="1879186" y="59722"/>
                  </a:moveTo>
                  <a:cubicBezTo>
                    <a:pt x="1882615" y="59722"/>
                    <a:pt x="1885378" y="62484"/>
                    <a:pt x="1885378" y="65913"/>
                  </a:cubicBezTo>
                  <a:cubicBezTo>
                    <a:pt x="1885378" y="69342"/>
                    <a:pt x="1882615" y="72104"/>
                    <a:pt x="1879186" y="72104"/>
                  </a:cubicBezTo>
                  <a:cubicBezTo>
                    <a:pt x="1875757" y="72104"/>
                    <a:pt x="1872995" y="69342"/>
                    <a:pt x="1872995" y="65913"/>
                  </a:cubicBezTo>
                  <a:cubicBezTo>
                    <a:pt x="1872995" y="62484"/>
                    <a:pt x="1875757" y="59722"/>
                    <a:pt x="1879186" y="59722"/>
                  </a:cubicBezTo>
                  <a:close/>
                  <a:moveTo>
                    <a:pt x="1328165" y="59150"/>
                  </a:moveTo>
                  <a:cubicBezTo>
                    <a:pt x="1331594" y="59150"/>
                    <a:pt x="1334357" y="61912"/>
                    <a:pt x="1334357" y="65341"/>
                  </a:cubicBezTo>
                  <a:cubicBezTo>
                    <a:pt x="1334357" y="68770"/>
                    <a:pt x="1331594" y="71533"/>
                    <a:pt x="1328165" y="71533"/>
                  </a:cubicBezTo>
                  <a:cubicBezTo>
                    <a:pt x="1324736" y="71533"/>
                    <a:pt x="1321974" y="68770"/>
                    <a:pt x="1321974" y="65341"/>
                  </a:cubicBezTo>
                  <a:cubicBezTo>
                    <a:pt x="1321974" y="61912"/>
                    <a:pt x="1324736" y="59150"/>
                    <a:pt x="1328165" y="59150"/>
                  </a:cubicBezTo>
                  <a:close/>
                  <a:moveTo>
                    <a:pt x="1314925" y="59150"/>
                  </a:moveTo>
                  <a:cubicBezTo>
                    <a:pt x="1318354" y="59150"/>
                    <a:pt x="1321117" y="61912"/>
                    <a:pt x="1321117" y="65341"/>
                  </a:cubicBezTo>
                  <a:cubicBezTo>
                    <a:pt x="1321117" y="68770"/>
                    <a:pt x="1318354" y="71533"/>
                    <a:pt x="1314925" y="71533"/>
                  </a:cubicBezTo>
                  <a:cubicBezTo>
                    <a:pt x="1311496" y="71533"/>
                    <a:pt x="1308734" y="68770"/>
                    <a:pt x="1308734" y="65341"/>
                  </a:cubicBezTo>
                  <a:cubicBezTo>
                    <a:pt x="1308734" y="61912"/>
                    <a:pt x="1311496" y="59150"/>
                    <a:pt x="1314925" y="59150"/>
                  </a:cubicBezTo>
                  <a:close/>
                  <a:moveTo>
                    <a:pt x="1302448" y="58960"/>
                  </a:moveTo>
                  <a:cubicBezTo>
                    <a:pt x="1305877" y="58960"/>
                    <a:pt x="1308640" y="61722"/>
                    <a:pt x="1308640" y="65151"/>
                  </a:cubicBezTo>
                  <a:cubicBezTo>
                    <a:pt x="1308640" y="68580"/>
                    <a:pt x="1305877" y="71343"/>
                    <a:pt x="1302448" y="71343"/>
                  </a:cubicBezTo>
                  <a:cubicBezTo>
                    <a:pt x="1299019" y="71343"/>
                    <a:pt x="1296257" y="68580"/>
                    <a:pt x="1296257" y="65151"/>
                  </a:cubicBezTo>
                  <a:cubicBezTo>
                    <a:pt x="1296257" y="61722"/>
                    <a:pt x="1299019" y="58960"/>
                    <a:pt x="1302448" y="58960"/>
                  </a:cubicBezTo>
                  <a:close/>
                  <a:moveTo>
                    <a:pt x="1290541" y="58388"/>
                  </a:moveTo>
                  <a:cubicBezTo>
                    <a:pt x="1293970" y="58388"/>
                    <a:pt x="1296733" y="61150"/>
                    <a:pt x="1296733" y="64579"/>
                  </a:cubicBezTo>
                  <a:cubicBezTo>
                    <a:pt x="1296733" y="68008"/>
                    <a:pt x="1293970" y="70771"/>
                    <a:pt x="1290541" y="70771"/>
                  </a:cubicBezTo>
                  <a:cubicBezTo>
                    <a:pt x="1287112" y="70771"/>
                    <a:pt x="1284350" y="68008"/>
                    <a:pt x="1284350" y="64579"/>
                  </a:cubicBezTo>
                  <a:cubicBezTo>
                    <a:pt x="1284350" y="61150"/>
                    <a:pt x="1287112" y="58388"/>
                    <a:pt x="1290541" y="58388"/>
                  </a:cubicBezTo>
                  <a:close/>
                  <a:moveTo>
                    <a:pt x="1799177" y="57912"/>
                  </a:moveTo>
                  <a:cubicBezTo>
                    <a:pt x="1802606" y="57912"/>
                    <a:pt x="1805368" y="60674"/>
                    <a:pt x="1805368" y="64103"/>
                  </a:cubicBezTo>
                  <a:cubicBezTo>
                    <a:pt x="1805368" y="67532"/>
                    <a:pt x="1802606" y="70294"/>
                    <a:pt x="1799177" y="70294"/>
                  </a:cubicBezTo>
                  <a:cubicBezTo>
                    <a:pt x="1795748" y="70294"/>
                    <a:pt x="1792986" y="67532"/>
                    <a:pt x="1792986" y="64103"/>
                  </a:cubicBezTo>
                  <a:cubicBezTo>
                    <a:pt x="1792986" y="60674"/>
                    <a:pt x="1795748" y="57912"/>
                    <a:pt x="1799177" y="57912"/>
                  </a:cubicBezTo>
                  <a:close/>
                  <a:moveTo>
                    <a:pt x="2094928" y="57817"/>
                  </a:moveTo>
                  <a:cubicBezTo>
                    <a:pt x="2098357" y="57817"/>
                    <a:pt x="2101120" y="60579"/>
                    <a:pt x="2101120" y="64008"/>
                  </a:cubicBezTo>
                  <a:cubicBezTo>
                    <a:pt x="2101120" y="67437"/>
                    <a:pt x="2098357" y="70200"/>
                    <a:pt x="2094928" y="70200"/>
                  </a:cubicBezTo>
                  <a:cubicBezTo>
                    <a:pt x="2091499" y="70200"/>
                    <a:pt x="2088737" y="67437"/>
                    <a:pt x="2088737" y="64008"/>
                  </a:cubicBezTo>
                  <a:cubicBezTo>
                    <a:pt x="2088737" y="60579"/>
                    <a:pt x="2091499" y="57817"/>
                    <a:pt x="2094928" y="57817"/>
                  </a:cubicBezTo>
                  <a:close/>
                  <a:moveTo>
                    <a:pt x="1899665" y="57436"/>
                  </a:moveTo>
                  <a:cubicBezTo>
                    <a:pt x="1903094" y="57436"/>
                    <a:pt x="1905857" y="60198"/>
                    <a:pt x="1905857" y="63627"/>
                  </a:cubicBezTo>
                  <a:cubicBezTo>
                    <a:pt x="1905857" y="67056"/>
                    <a:pt x="1903094" y="69819"/>
                    <a:pt x="1899665" y="69819"/>
                  </a:cubicBezTo>
                  <a:cubicBezTo>
                    <a:pt x="1896236" y="69819"/>
                    <a:pt x="1893474" y="67056"/>
                    <a:pt x="1893474" y="63627"/>
                  </a:cubicBezTo>
                  <a:cubicBezTo>
                    <a:pt x="1893474" y="60198"/>
                    <a:pt x="1896236" y="57436"/>
                    <a:pt x="1899665" y="57436"/>
                  </a:cubicBezTo>
                  <a:close/>
                  <a:moveTo>
                    <a:pt x="1279111" y="57246"/>
                  </a:moveTo>
                  <a:cubicBezTo>
                    <a:pt x="1282540" y="57246"/>
                    <a:pt x="1285303" y="60008"/>
                    <a:pt x="1285303" y="63437"/>
                  </a:cubicBezTo>
                  <a:cubicBezTo>
                    <a:pt x="1285303" y="66866"/>
                    <a:pt x="1282540" y="69629"/>
                    <a:pt x="1279111" y="69629"/>
                  </a:cubicBezTo>
                  <a:cubicBezTo>
                    <a:pt x="1275682" y="69629"/>
                    <a:pt x="1272920" y="66866"/>
                    <a:pt x="1272920" y="63437"/>
                  </a:cubicBezTo>
                  <a:cubicBezTo>
                    <a:pt x="1272920" y="60008"/>
                    <a:pt x="1275682" y="57246"/>
                    <a:pt x="1279111" y="57246"/>
                  </a:cubicBezTo>
                  <a:close/>
                  <a:moveTo>
                    <a:pt x="1482851" y="56388"/>
                  </a:moveTo>
                  <a:cubicBezTo>
                    <a:pt x="1486280" y="56388"/>
                    <a:pt x="1489043" y="59150"/>
                    <a:pt x="1489043" y="62579"/>
                  </a:cubicBezTo>
                  <a:cubicBezTo>
                    <a:pt x="1489043" y="66008"/>
                    <a:pt x="1486280" y="68771"/>
                    <a:pt x="1482851" y="68771"/>
                  </a:cubicBezTo>
                  <a:cubicBezTo>
                    <a:pt x="1479422" y="68771"/>
                    <a:pt x="1476660" y="66008"/>
                    <a:pt x="1476660" y="62579"/>
                  </a:cubicBezTo>
                  <a:cubicBezTo>
                    <a:pt x="1476660" y="59150"/>
                    <a:pt x="1479422" y="56388"/>
                    <a:pt x="1482851" y="56388"/>
                  </a:cubicBezTo>
                  <a:close/>
                  <a:moveTo>
                    <a:pt x="1564290" y="55817"/>
                  </a:moveTo>
                  <a:cubicBezTo>
                    <a:pt x="1567719" y="55817"/>
                    <a:pt x="1570482" y="58579"/>
                    <a:pt x="1570482" y="62008"/>
                  </a:cubicBezTo>
                  <a:cubicBezTo>
                    <a:pt x="1570482" y="65437"/>
                    <a:pt x="1567719" y="68200"/>
                    <a:pt x="1564290" y="68200"/>
                  </a:cubicBezTo>
                  <a:cubicBezTo>
                    <a:pt x="1560861" y="68200"/>
                    <a:pt x="1558099" y="65437"/>
                    <a:pt x="1558099" y="62008"/>
                  </a:cubicBezTo>
                  <a:cubicBezTo>
                    <a:pt x="1558099" y="58579"/>
                    <a:pt x="1560861" y="55817"/>
                    <a:pt x="1564290" y="55817"/>
                  </a:cubicBezTo>
                  <a:close/>
                  <a:moveTo>
                    <a:pt x="1268062" y="55626"/>
                  </a:moveTo>
                  <a:cubicBezTo>
                    <a:pt x="1271491" y="55626"/>
                    <a:pt x="1274254" y="58388"/>
                    <a:pt x="1274254" y="61817"/>
                  </a:cubicBezTo>
                  <a:cubicBezTo>
                    <a:pt x="1274254" y="65246"/>
                    <a:pt x="1271491" y="68009"/>
                    <a:pt x="1268062" y="68009"/>
                  </a:cubicBezTo>
                  <a:cubicBezTo>
                    <a:pt x="1264633" y="68009"/>
                    <a:pt x="1261871" y="65246"/>
                    <a:pt x="1261871" y="61817"/>
                  </a:cubicBezTo>
                  <a:cubicBezTo>
                    <a:pt x="1261871" y="58388"/>
                    <a:pt x="1264633" y="55626"/>
                    <a:pt x="1268062" y="55626"/>
                  </a:cubicBezTo>
                  <a:close/>
                  <a:moveTo>
                    <a:pt x="2104930" y="55150"/>
                  </a:moveTo>
                  <a:cubicBezTo>
                    <a:pt x="2107977" y="55150"/>
                    <a:pt x="2110454" y="57531"/>
                    <a:pt x="2110454" y="60579"/>
                  </a:cubicBezTo>
                  <a:cubicBezTo>
                    <a:pt x="2110454" y="63627"/>
                    <a:pt x="2107977" y="66104"/>
                    <a:pt x="2104930" y="66104"/>
                  </a:cubicBezTo>
                  <a:cubicBezTo>
                    <a:pt x="2101881" y="66104"/>
                    <a:pt x="2099405" y="63532"/>
                    <a:pt x="2099405" y="60579"/>
                  </a:cubicBezTo>
                  <a:cubicBezTo>
                    <a:pt x="2099405" y="57626"/>
                    <a:pt x="2101881" y="55150"/>
                    <a:pt x="2104930" y="55150"/>
                  </a:cubicBezTo>
                  <a:close/>
                  <a:moveTo>
                    <a:pt x="1996916" y="55150"/>
                  </a:moveTo>
                  <a:cubicBezTo>
                    <a:pt x="2000345" y="55150"/>
                    <a:pt x="2003108" y="57912"/>
                    <a:pt x="2003108" y="61341"/>
                  </a:cubicBezTo>
                  <a:cubicBezTo>
                    <a:pt x="2003108" y="64770"/>
                    <a:pt x="2000345" y="67532"/>
                    <a:pt x="1996916" y="67532"/>
                  </a:cubicBezTo>
                  <a:cubicBezTo>
                    <a:pt x="1993487" y="67532"/>
                    <a:pt x="1990725" y="64770"/>
                    <a:pt x="1990725" y="61341"/>
                  </a:cubicBezTo>
                  <a:cubicBezTo>
                    <a:pt x="1990725" y="57912"/>
                    <a:pt x="1993487" y="55150"/>
                    <a:pt x="1996916" y="55150"/>
                  </a:cubicBezTo>
                  <a:close/>
                  <a:moveTo>
                    <a:pt x="2010060" y="54960"/>
                  </a:moveTo>
                  <a:cubicBezTo>
                    <a:pt x="2013489" y="54960"/>
                    <a:pt x="2016251" y="57722"/>
                    <a:pt x="2016251" y="61151"/>
                  </a:cubicBezTo>
                  <a:cubicBezTo>
                    <a:pt x="2016251" y="64580"/>
                    <a:pt x="2013489" y="67342"/>
                    <a:pt x="2010060" y="67342"/>
                  </a:cubicBezTo>
                  <a:cubicBezTo>
                    <a:pt x="2006631" y="67342"/>
                    <a:pt x="2003869" y="64580"/>
                    <a:pt x="2003869" y="61151"/>
                  </a:cubicBezTo>
                  <a:cubicBezTo>
                    <a:pt x="2003869" y="57722"/>
                    <a:pt x="2006631" y="54960"/>
                    <a:pt x="2010060" y="54960"/>
                  </a:cubicBezTo>
                  <a:close/>
                  <a:moveTo>
                    <a:pt x="1740693" y="54578"/>
                  </a:moveTo>
                  <a:cubicBezTo>
                    <a:pt x="1744122" y="54578"/>
                    <a:pt x="1746884" y="57340"/>
                    <a:pt x="1746884" y="60769"/>
                  </a:cubicBezTo>
                  <a:cubicBezTo>
                    <a:pt x="1746884" y="64198"/>
                    <a:pt x="1744122" y="66961"/>
                    <a:pt x="1740693" y="66961"/>
                  </a:cubicBezTo>
                  <a:cubicBezTo>
                    <a:pt x="1737264" y="66961"/>
                    <a:pt x="1734502" y="64198"/>
                    <a:pt x="1734502" y="60769"/>
                  </a:cubicBezTo>
                  <a:cubicBezTo>
                    <a:pt x="1734502" y="57340"/>
                    <a:pt x="1737264" y="54578"/>
                    <a:pt x="1740693" y="54578"/>
                  </a:cubicBezTo>
                  <a:close/>
                  <a:moveTo>
                    <a:pt x="2022538" y="54388"/>
                  </a:moveTo>
                  <a:cubicBezTo>
                    <a:pt x="2025967" y="54388"/>
                    <a:pt x="2028730" y="57150"/>
                    <a:pt x="2028730" y="60579"/>
                  </a:cubicBezTo>
                  <a:cubicBezTo>
                    <a:pt x="2028730" y="64008"/>
                    <a:pt x="2025967" y="66771"/>
                    <a:pt x="2022538" y="66771"/>
                  </a:cubicBezTo>
                  <a:cubicBezTo>
                    <a:pt x="2019109" y="66771"/>
                    <a:pt x="2016347" y="64008"/>
                    <a:pt x="2016347" y="60579"/>
                  </a:cubicBezTo>
                  <a:cubicBezTo>
                    <a:pt x="2016347" y="57150"/>
                    <a:pt x="2019109" y="54388"/>
                    <a:pt x="2022538" y="54388"/>
                  </a:cubicBezTo>
                  <a:close/>
                  <a:moveTo>
                    <a:pt x="1823179" y="53912"/>
                  </a:moveTo>
                  <a:cubicBezTo>
                    <a:pt x="1826608" y="53912"/>
                    <a:pt x="1829371" y="56674"/>
                    <a:pt x="1829371" y="60103"/>
                  </a:cubicBezTo>
                  <a:cubicBezTo>
                    <a:pt x="1829371" y="63532"/>
                    <a:pt x="1826608" y="66294"/>
                    <a:pt x="1823179" y="66294"/>
                  </a:cubicBezTo>
                  <a:cubicBezTo>
                    <a:pt x="1819750" y="66294"/>
                    <a:pt x="1816988" y="63532"/>
                    <a:pt x="1816988" y="60103"/>
                  </a:cubicBezTo>
                  <a:cubicBezTo>
                    <a:pt x="1816988" y="56674"/>
                    <a:pt x="1819750" y="53912"/>
                    <a:pt x="1823179" y="53912"/>
                  </a:cubicBezTo>
                  <a:close/>
                  <a:moveTo>
                    <a:pt x="1461420" y="53816"/>
                  </a:moveTo>
                  <a:cubicBezTo>
                    <a:pt x="1464849" y="53816"/>
                    <a:pt x="1467612" y="56578"/>
                    <a:pt x="1467612" y="60007"/>
                  </a:cubicBezTo>
                  <a:cubicBezTo>
                    <a:pt x="1467612" y="63436"/>
                    <a:pt x="1464849" y="66199"/>
                    <a:pt x="1461420" y="66199"/>
                  </a:cubicBezTo>
                  <a:cubicBezTo>
                    <a:pt x="1457991" y="66199"/>
                    <a:pt x="1455229" y="63436"/>
                    <a:pt x="1455229" y="60007"/>
                  </a:cubicBezTo>
                  <a:cubicBezTo>
                    <a:pt x="1455229" y="56578"/>
                    <a:pt x="1457991" y="53816"/>
                    <a:pt x="1461420" y="53816"/>
                  </a:cubicBezTo>
                  <a:close/>
                  <a:moveTo>
                    <a:pt x="1622964" y="53531"/>
                  </a:moveTo>
                  <a:cubicBezTo>
                    <a:pt x="1626393" y="53531"/>
                    <a:pt x="1629155" y="56293"/>
                    <a:pt x="1629155" y="59722"/>
                  </a:cubicBezTo>
                  <a:cubicBezTo>
                    <a:pt x="1629155" y="63151"/>
                    <a:pt x="1626393" y="65913"/>
                    <a:pt x="1622964" y="65913"/>
                  </a:cubicBezTo>
                  <a:cubicBezTo>
                    <a:pt x="1619535" y="65913"/>
                    <a:pt x="1616773" y="63151"/>
                    <a:pt x="1616773" y="59722"/>
                  </a:cubicBezTo>
                  <a:cubicBezTo>
                    <a:pt x="1616773" y="56293"/>
                    <a:pt x="1619535" y="53531"/>
                    <a:pt x="1622964" y="53531"/>
                  </a:cubicBezTo>
                  <a:close/>
                  <a:moveTo>
                    <a:pt x="1257394" y="53531"/>
                  </a:moveTo>
                  <a:cubicBezTo>
                    <a:pt x="1260633" y="53531"/>
                    <a:pt x="1263300" y="56198"/>
                    <a:pt x="1263300" y="59436"/>
                  </a:cubicBezTo>
                  <a:cubicBezTo>
                    <a:pt x="1263300" y="62675"/>
                    <a:pt x="1260633" y="65342"/>
                    <a:pt x="1257394" y="65342"/>
                  </a:cubicBezTo>
                  <a:cubicBezTo>
                    <a:pt x="1254156" y="65342"/>
                    <a:pt x="1251489" y="62675"/>
                    <a:pt x="1251489" y="59436"/>
                  </a:cubicBezTo>
                  <a:cubicBezTo>
                    <a:pt x="1251489" y="56198"/>
                    <a:pt x="1254156" y="53531"/>
                    <a:pt x="1257394" y="53531"/>
                  </a:cubicBezTo>
                  <a:close/>
                  <a:moveTo>
                    <a:pt x="2034444" y="53340"/>
                  </a:moveTo>
                  <a:cubicBezTo>
                    <a:pt x="2037873" y="53340"/>
                    <a:pt x="2040636" y="56102"/>
                    <a:pt x="2040636" y="59531"/>
                  </a:cubicBezTo>
                  <a:cubicBezTo>
                    <a:pt x="2040636" y="62960"/>
                    <a:pt x="2037873" y="65722"/>
                    <a:pt x="2034444" y="65722"/>
                  </a:cubicBezTo>
                  <a:cubicBezTo>
                    <a:pt x="2031015" y="65722"/>
                    <a:pt x="2028253" y="62960"/>
                    <a:pt x="2028253" y="59531"/>
                  </a:cubicBezTo>
                  <a:cubicBezTo>
                    <a:pt x="2028253" y="56102"/>
                    <a:pt x="2031015" y="53340"/>
                    <a:pt x="2034444" y="53340"/>
                  </a:cubicBezTo>
                  <a:close/>
                  <a:moveTo>
                    <a:pt x="1441322" y="52197"/>
                  </a:moveTo>
                  <a:cubicBezTo>
                    <a:pt x="1444751" y="52197"/>
                    <a:pt x="1447514" y="54959"/>
                    <a:pt x="1447514" y="58388"/>
                  </a:cubicBezTo>
                  <a:cubicBezTo>
                    <a:pt x="1447514" y="61817"/>
                    <a:pt x="1444751" y="64580"/>
                    <a:pt x="1441322" y="64580"/>
                  </a:cubicBezTo>
                  <a:cubicBezTo>
                    <a:pt x="1437893" y="64580"/>
                    <a:pt x="1435131" y="61817"/>
                    <a:pt x="1435131" y="58388"/>
                  </a:cubicBezTo>
                  <a:cubicBezTo>
                    <a:pt x="1435131" y="54959"/>
                    <a:pt x="1437893" y="52197"/>
                    <a:pt x="1441322" y="52197"/>
                  </a:cubicBezTo>
                  <a:close/>
                  <a:moveTo>
                    <a:pt x="2045969" y="51721"/>
                  </a:moveTo>
                  <a:cubicBezTo>
                    <a:pt x="2049398" y="51721"/>
                    <a:pt x="2052161" y="54483"/>
                    <a:pt x="2052161" y="57912"/>
                  </a:cubicBezTo>
                  <a:cubicBezTo>
                    <a:pt x="2052161" y="61341"/>
                    <a:pt x="2049398" y="64103"/>
                    <a:pt x="2045969" y="64103"/>
                  </a:cubicBezTo>
                  <a:cubicBezTo>
                    <a:pt x="2042540" y="64103"/>
                    <a:pt x="2039778" y="61341"/>
                    <a:pt x="2039778" y="57912"/>
                  </a:cubicBezTo>
                  <a:cubicBezTo>
                    <a:pt x="2039778" y="54483"/>
                    <a:pt x="2042540" y="51721"/>
                    <a:pt x="2045969" y="51721"/>
                  </a:cubicBezTo>
                  <a:close/>
                  <a:moveTo>
                    <a:pt x="1539144" y="51531"/>
                  </a:moveTo>
                  <a:cubicBezTo>
                    <a:pt x="1542573" y="51531"/>
                    <a:pt x="1545336" y="54293"/>
                    <a:pt x="1545336" y="57722"/>
                  </a:cubicBezTo>
                  <a:cubicBezTo>
                    <a:pt x="1545336" y="61151"/>
                    <a:pt x="1542573" y="63913"/>
                    <a:pt x="1539144" y="63913"/>
                  </a:cubicBezTo>
                  <a:cubicBezTo>
                    <a:pt x="1535715" y="63913"/>
                    <a:pt x="1532953" y="61151"/>
                    <a:pt x="1532953" y="57722"/>
                  </a:cubicBezTo>
                  <a:cubicBezTo>
                    <a:pt x="1532953" y="54293"/>
                    <a:pt x="1535715" y="51531"/>
                    <a:pt x="1539144" y="51531"/>
                  </a:cubicBezTo>
                  <a:close/>
                  <a:moveTo>
                    <a:pt x="1845658" y="51054"/>
                  </a:moveTo>
                  <a:cubicBezTo>
                    <a:pt x="1849087" y="51054"/>
                    <a:pt x="1851850" y="53816"/>
                    <a:pt x="1851850" y="57245"/>
                  </a:cubicBezTo>
                  <a:cubicBezTo>
                    <a:pt x="1851850" y="60674"/>
                    <a:pt x="1849087" y="63437"/>
                    <a:pt x="1845658" y="63437"/>
                  </a:cubicBezTo>
                  <a:cubicBezTo>
                    <a:pt x="1842229" y="63437"/>
                    <a:pt x="1839467" y="60674"/>
                    <a:pt x="1839467" y="57245"/>
                  </a:cubicBezTo>
                  <a:cubicBezTo>
                    <a:pt x="1839467" y="53816"/>
                    <a:pt x="1842229" y="51054"/>
                    <a:pt x="1845658" y="51054"/>
                  </a:cubicBezTo>
                  <a:close/>
                  <a:moveTo>
                    <a:pt x="1344929" y="50483"/>
                  </a:moveTo>
                  <a:cubicBezTo>
                    <a:pt x="1348358" y="50483"/>
                    <a:pt x="1351121" y="53245"/>
                    <a:pt x="1351121" y="56674"/>
                  </a:cubicBezTo>
                  <a:lnTo>
                    <a:pt x="1345454" y="62341"/>
                  </a:lnTo>
                  <a:lnTo>
                    <a:pt x="1348264" y="65151"/>
                  </a:lnTo>
                  <a:cubicBezTo>
                    <a:pt x="1348264" y="68580"/>
                    <a:pt x="1345501" y="71343"/>
                    <a:pt x="1342072" y="71343"/>
                  </a:cubicBezTo>
                  <a:cubicBezTo>
                    <a:pt x="1338643" y="71343"/>
                    <a:pt x="1335881" y="68580"/>
                    <a:pt x="1335881" y="65151"/>
                  </a:cubicBezTo>
                  <a:lnTo>
                    <a:pt x="1341548" y="59484"/>
                  </a:lnTo>
                  <a:lnTo>
                    <a:pt x="1338738" y="56674"/>
                  </a:lnTo>
                  <a:cubicBezTo>
                    <a:pt x="1338738" y="53245"/>
                    <a:pt x="1341500" y="50483"/>
                    <a:pt x="1344929" y="50483"/>
                  </a:cubicBezTo>
                  <a:close/>
                  <a:moveTo>
                    <a:pt x="1331880" y="50006"/>
                  </a:moveTo>
                  <a:cubicBezTo>
                    <a:pt x="1335309" y="50006"/>
                    <a:pt x="1338072" y="52768"/>
                    <a:pt x="1338072" y="56197"/>
                  </a:cubicBezTo>
                  <a:cubicBezTo>
                    <a:pt x="1338072" y="59626"/>
                    <a:pt x="1335309" y="62389"/>
                    <a:pt x="1331880" y="62389"/>
                  </a:cubicBezTo>
                  <a:cubicBezTo>
                    <a:pt x="1328451" y="62389"/>
                    <a:pt x="1325689" y="59626"/>
                    <a:pt x="1325689" y="56197"/>
                  </a:cubicBezTo>
                  <a:cubicBezTo>
                    <a:pt x="1325689" y="52768"/>
                    <a:pt x="1328451" y="50006"/>
                    <a:pt x="1331880" y="50006"/>
                  </a:cubicBezTo>
                  <a:close/>
                  <a:moveTo>
                    <a:pt x="1766696" y="49816"/>
                  </a:moveTo>
                  <a:cubicBezTo>
                    <a:pt x="1770125" y="49816"/>
                    <a:pt x="1772888" y="52578"/>
                    <a:pt x="1772888" y="56007"/>
                  </a:cubicBezTo>
                  <a:cubicBezTo>
                    <a:pt x="1772888" y="59436"/>
                    <a:pt x="1770125" y="62199"/>
                    <a:pt x="1766696" y="62199"/>
                  </a:cubicBezTo>
                  <a:cubicBezTo>
                    <a:pt x="1763267" y="62199"/>
                    <a:pt x="1760505" y="59436"/>
                    <a:pt x="1760505" y="56007"/>
                  </a:cubicBezTo>
                  <a:cubicBezTo>
                    <a:pt x="1760505" y="52578"/>
                    <a:pt x="1763267" y="49816"/>
                    <a:pt x="1766696" y="49816"/>
                  </a:cubicBezTo>
                  <a:close/>
                  <a:moveTo>
                    <a:pt x="2057114" y="49435"/>
                  </a:moveTo>
                  <a:cubicBezTo>
                    <a:pt x="2060543" y="49435"/>
                    <a:pt x="2063305" y="52197"/>
                    <a:pt x="2063305" y="55626"/>
                  </a:cubicBezTo>
                  <a:cubicBezTo>
                    <a:pt x="2063305" y="59055"/>
                    <a:pt x="2060543" y="61818"/>
                    <a:pt x="2057114" y="61818"/>
                  </a:cubicBezTo>
                  <a:cubicBezTo>
                    <a:pt x="2053685" y="61818"/>
                    <a:pt x="2050923" y="59055"/>
                    <a:pt x="2050923" y="55626"/>
                  </a:cubicBezTo>
                  <a:cubicBezTo>
                    <a:pt x="2050923" y="52197"/>
                    <a:pt x="2053685" y="49435"/>
                    <a:pt x="2057114" y="49435"/>
                  </a:cubicBezTo>
                  <a:close/>
                  <a:moveTo>
                    <a:pt x="1866518" y="49244"/>
                  </a:moveTo>
                  <a:cubicBezTo>
                    <a:pt x="1869947" y="49244"/>
                    <a:pt x="1872710" y="52006"/>
                    <a:pt x="1872710" y="55435"/>
                  </a:cubicBezTo>
                  <a:cubicBezTo>
                    <a:pt x="1872710" y="58864"/>
                    <a:pt x="1869947" y="61627"/>
                    <a:pt x="1866518" y="61627"/>
                  </a:cubicBezTo>
                  <a:cubicBezTo>
                    <a:pt x="1863089" y="61627"/>
                    <a:pt x="1860327" y="58864"/>
                    <a:pt x="1860327" y="55435"/>
                  </a:cubicBezTo>
                  <a:cubicBezTo>
                    <a:pt x="1860327" y="52006"/>
                    <a:pt x="1863089" y="49244"/>
                    <a:pt x="1866518" y="49244"/>
                  </a:cubicBezTo>
                  <a:close/>
                  <a:moveTo>
                    <a:pt x="1319307" y="48959"/>
                  </a:moveTo>
                  <a:cubicBezTo>
                    <a:pt x="1322736" y="48959"/>
                    <a:pt x="1325499" y="51721"/>
                    <a:pt x="1325499" y="55150"/>
                  </a:cubicBezTo>
                  <a:cubicBezTo>
                    <a:pt x="1325499" y="58579"/>
                    <a:pt x="1322736" y="61341"/>
                    <a:pt x="1319307" y="61341"/>
                  </a:cubicBezTo>
                  <a:cubicBezTo>
                    <a:pt x="1315878" y="61341"/>
                    <a:pt x="1313116" y="58579"/>
                    <a:pt x="1313116" y="55150"/>
                  </a:cubicBezTo>
                  <a:cubicBezTo>
                    <a:pt x="1313116" y="51721"/>
                    <a:pt x="1315878" y="48959"/>
                    <a:pt x="1319307" y="48959"/>
                  </a:cubicBezTo>
                  <a:close/>
                  <a:moveTo>
                    <a:pt x="2078640" y="48387"/>
                  </a:moveTo>
                  <a:cubicBezTo>
                    <a:pt x="2078746" y="48387"/>
                    <a:pt x="2078831" y="48472"/>
                    <a:pt x="2078831" y="48578"/>
                  </a:cubicBezTo>
                  <a:cubicBezTo>
                    <a:pt x="2078831" y="48683"/>
                    <a:pt x="2078746" y="48768"/>
                    <a:pt x="2078640" y="48768"/>
                  </a:cubicBezTo>
                  <a:cubicBezTo>
                    <a:pt x="2078535" y="48768"/>
                    <a:pt x="2078450" y="48683"/>
                    <a:pt x="2078450" y="48578"/>
                  </a:cubicBezTo>
                  <a:cubicBezTo>
                    <a:pt x="2078450" y="48472"/>
                    <a:pt x="2078535" y="48387"/>
                    <a:pt x="2078640" y="48387"/>
                  </a:cubicBezTo>
                  <a:close/>
                  <a:moveTo>
                    <a:pt x="1595913" y="48387"/>
                  </a:moveTo>
                  <a:cubicBezTo>
                    <a:pt x="1599342" y="48387"/>
                    <a:pt x="1602105" y="51149"/>
                    <a:pt x="1602105" y="54578"/>
                  </a:cubicBezTo>
                  <a:cubicBezTo>
                    <a:pt x="1602105" y="58007"/>
                    <a:pt x="1599342" y="60769"/>
                    <a:pt x="1595913" y="60769"/>
                  </a:cubicBezTo>
                  <a:cubicBezTo>
                    <a:pt x="1592484" y="60769"/>
                    <a:pt x="1589722" y="58007"/>
                    <a:pt x="1589722" y="54578"/>
                  </a:cubicBezTo>
                  <a:cubicBezTo>
                    <a:pt x="1589722" y="51149"/>
                    <a:pt x="1592484" y="48387"/>
                    <a:pt x="1595913" y="48387"/>
                  </a:cubicBezTo>
                  <a:close/>
                  <a:moveTo>
                    <a:pt x="1515712" y="48387"/>
                  </a:moveTo>
                  <a:cubicBezTo>
                    <a:pt x="1519141" y="48387"/>
                    <a:pt x="1521904" y="51149"/>
                    <a:pt x="1521904" y="54578"/>
                  </a:cubicBezTo>
                  <a:cubicBezTo>
                    <a:pt x="1521904" y="58007"/>
                    <a:pt x="1519141" y="60769"/>
                    <a:pt x="1515712" y="60769"/>
                  </a:cubicBezTo>
                  <a:cubicBezTo>
                    <a:pt x="1512283" y="60769"/>
                    <a:pt x="1509521" y="58007"/>
                    <a:pt x="1509521" y="54578"/>
                  </a:cubicBezTo>
                  <a:cubicBezTo>
                    <a:pt x="1509521" y="51149"/>
                    <a:pt x="1512283" y="48387"/>
                    <a:pt x="1515712" y="48387"/>
                  </a:cubicBezTo>
                  <a:close/>
                  <a:moveTo>
                    <a:pt x="1886045" y="48197"/>
                  </a:moveTo>
                  <a:cubicBezTo>
                    <a:pt x="1889474" y="48197"/>
                    <a:pt x="1892237" y="50959"/>
                    <a:pt x="1892237" y="54388"/>
                  </a:cubicBezTo>
                  <a:cubicBezTo>
                    <a:pt x="1892237" y="57817"/>
                    <a:pt x="1889474" y="60579"/>
                    <a:pt x="1886045" y="60579"/>
                  </a:cubicBezTo>
                  <a:cubicBezTo>
                    <a:pt x="1882616" y="60579"/>
                    <a:pt x="1879854" y="57817"/>
                    <a:pt x="1879854" y="54388"/>
                  </a:cubicBezTo>
                  <a:cubicBezTo>
                    <a:pt x="1879854" y="50959"/>
                    <a:pt x="1882616" y="48197"/>
                    <a:pt x="1886045" y="48197"/>
                  </a:cubicBezTo>
                  <a:close/>
                  <a:moveTo>
                    <a:pt x="1284160" y="47530"/>
                  </a:moveTo>
                  <a:cubicBezTo>
                    <a:pt x="1284636" y="47530"/>
                    <a:pt x="1285018" y="47911"/>
                    <a:pt x="1285018" y="48387"/>
                  </a:cubicBezTo>
                  <a:cubicBezTo>
                    <a:pt x="1285018" y="48863"/>
                    <a:pt x="1284636" y="49244"/>
                    <a:pt x="1284160" y="49244"/>
                  </a:cubicBezTo>
                  <a:cubicBezTo>
                    <a:pt x="1283684" y="49244"/>
                    <a:pt x="1283303" y="48863"/>
                    <a:pt x="1283303" y="48387"/>
                  </a:cubicBezTo>
                  <a:cubicBezTo>
                    <a:pt x="1283303" y="47911"/>
                    <a:pt x="1283684" y="47530"/>
                    <a:pt x="1284160" y="47530"/>
                  </a:cubicBezTo>
                  <a:close/>
                  <a:moveTo>
                    <a:pt x="1307210" y="47435"/>
                  </a:moveTo>
                  <a:cubicBezTo>
                    <a:pt x="1310639" y="47435"/>
                    <a:pt x="1313402" y="50197"/>
                    <a:pt x="1313402" y="53626"/>
                  </a:cubicBezTo>
                  <a:cubicBezTo>
                    <a:pt x="1313402" y="57055"/>
                    <a:pt x="1310639" y="59818"/>
                    <a:pt x="1307210" y="59818"/>
                  </a:cubicBezTo>
                  <a:cubicBezTo>
                    <a:pt x="1303781" y="59818"/>
                    <a:pt x="1301019" y="57055"/>
                    <a:pt x="1301019" y="53626"/>
                  </a:cubicBezTo>
                  <a:cubicBezTo>
                    <a:pt x="1301019" y="50197"/>
                    <a:pt x="1303781" y="47435"/>
                    <a:pt x="1307210" y="47435"/>
                  </a:cubicBezTo>
                  <a:close/>
                  <a:moveTo>
                    <a:pt x="2067972" y="46387"/>
                  </a:moveTo>
                  <a:cubicBezTo>
                    <a:pt x="2071401" y="46387"/>
                    <a:pt x="2074163" y="49149"/>
                    <a:pt x="2074163" y="52578"/>
                  </a:cubicBezTo>
                  <a:cubicBezTo>
                    <a:pt x="2074163" y="56007"/>
                    <a:pt x="2071401" y="58769"/>
                    <a:pt x="2067972" y="58769"/>
                  </a:cubicBezTo>
                  <a:cubicBezTo>
                    <a:pt x="2064543" y="58769"/>
                    <a:pt x="2061781" y="56007"/>
                    <a:pt x="2061781" y="52578"/>
                  </a:cubicBezTo>
                  <a:cubicBezTo>
                    <a:pt x="2061781" y="49149"/>
                    <a:pt x="2064543" y="46387"/>
                    <a:pt x="2067972" y="46387"/>
                  </a:cubicBezTo>
                  <a:close/>
                  <a:moveTo>
                    <a:pt x="1980914" y="46387"/>
                  </a:moveTo>
                  <a:cubicBezTo>
                    <a:pt x="1984343" y="46387"/>
                    <a:pt x="1987105" y="49149"/>
                    <a:pt x="1987105" y="52578"/>
                  </a:cubicBezTo>
                  <a:lnTo>
                    <a:pt x="1983819" y="55865"/>
                  </a:lnTo>
                  <a:lnTo>
                    <a:pt x="1989296" y="61341"/>
                  </a:lnTo>
                  <a:lnTo>
                    <a:pt x="1986390" y="64246"/>
                  </a:lnTo>
                  <a:lnTo>
                    <a:pt x="1992153" y="70009"/>
                  </a:lnTo>
                  <a:cubicBezTo>
                    <a:pt x="1992153" y="73438"/>
                    <a:pt x="1989391" y="76200"/>
                    <a:pt x="1985962" y="76200"/>
                  </a:cubicBezTo>
                  <a:cubicBezTo>
                    <a:pt x="1982533" y="76200"/>
                    <a:pt x="1979771" y="73438"/>
                    <a:pt x="1979771" y="70009"/>
                  </a:cubicBezTo>
                  <a:lnTo>
                    <a:pt x="1982676" y="67104"/>
                  </a:lnTo>
                  <a:lnTo>
                    <a:pt x="1976913" y="61341"/>
                  </a:lnTo>
                  <a:lnTo>
                    <a:pt x="1980200" y="58055"/>
                  </a:lnTo>
                  <a:lnTo>
                    <a:pt x="1974723" y="52578"/>
                  </a:lnTo>
                  <a:cubicBezTo>
                    <a:pt x="1974723" y="49149"/>
                    <a:pt x="1977485" y="46387"/>
                    <a:pt x="1980914" y="46387"/>
                  </a:cubicBezTo>
                  <a:close/>
                  <a:moveTo>
                    <a:pt x="1791080" y="46387"/>
                  </a:moveTo>
                  <a:cubicBezTo>
                    <a:pt x="1794509" y="46387"/>
                    <a:pt x="1797272" y="49149"/>
                    <a:pt x="1797272" y="52578"/>
                  </a:cubicBezTo>
                  <a:cubicBezTo>
                    <a:pt x="1797272" y="56007"/>
                    <a:pt x="1794509" y="58769"/>
                    <a:pt x="1791080" y="58769"/>
                  </a:cubicBezTo>
                  <a:cubicBezTo>
                    <a:pt x="1787651" y="58769"/>
                    <a:pt x="1784889" y="56007"/>
                    <a:pt x="1784889" y="52578"/>
                  </a:cubicBezTo>
                  <a:cubicBezTo>
                    <a:pt x="1784889" y="49149"/>
                    <a:pt x="1787651" y="46387"/>
                    <a:pt x="1791080" y="46387"/>
                  </a:cubicBezTo>
                  <a:close/>
                  <a:moveTo>
                    <a:pt x="1493805" y="46292"/>
                  </a:moveTo>
                  <a:cubicBezTo>
                    <a:pt x="1497234" y="46292"/>
                    <a:pt x="1499997" y="49054"/>
                    <a:pt x="1499997" y="52483"/>
                  </a:cubicBezTo>
                  <a:cubicBezTo>
                    <a:pt x="1499997" y="55912"/>
                    <a:pt x="1497234" y="58675"/>
                    <a:pt x="1493805" y="58675"/>
                  </a:cubicBezTo>
                  <a:cubicBezTo>
                    <a:pt x="1490376" y="58675"/>
                    <a:pt x="1487614" y="55912"/>
                    <a:pt x="1487614" y="52483"/>
                  </a:cubicBezTo>
                  <a:cubicBezTo>
                    <a:pt x="1487614" y="49054"/>
                    <a:pt x="1490376" y="46292"/>
                    <a:pt x="1493805" y="46292"/>
                  </a:cubicBezTo>
                  <a:close/>
                  <a:moveTo>
                    <a:pt x="1994058" y="45435"/>
                  </a:moveTo>
                  <a:cubicBezTo>
                    <a:pt x="1997487" y="45435"/>
                    <a:pt x="2000250" y="48197"/>
                    <a:pt x="2000250" y="51626"/>
                  </a:cubicBezTo>
                  <a:cubicBezTo>
                    <a:pt x="2000250" y="55055"/>
                    <a:pt x="1997487" y="57817"/>
                    <a:pt x="1994058" y="57817"/>
                  </a:cubicBezTo>
                  <a:cubicBezTo>
                    <a:pt x="1990629" y="57817"/>
                    <a:pt x="1987867" y="55055"/>
                    <a:pt x="1987867" y="51626"/>
                  </a:cubicBezTo>
                  <a:cubicBezTo>
                    <a:pt x="1987867" y="48197"/>
                    <a:pt x="1990629" y="45435"/>
                    <a:pt x="1994058" y="45435"/>
                  </a:cubicBezTo>
                  <a:close/>
                  <a:moveTo>
                    <a:pt x="1295495" y="45149"/>
                  </a:moveTo>
                  <a:cubicBezTo>
                    <a:pt x="1298924" y="45149"/>
                    <a:pt x="1301687" y="47911"/>
                    <a:pt x="1301687" y="51340"/>
                  </a:cubicBezTo>
                  <a:cubicBezTo>
                    <a:pt x="1301687" y="54769"/>
                    <a:pt x="1298924" y="57532"/>
                    <a:pt x="1295495" y="57532"/>
                  </a:cubicBezTo>
                  <a:cubicBezTo>
                    <a:pt x="1292066" y="57532"/>
                    <a:pt x="1289304" y="54769"/>
                    <a:pt x="1289304" y="51340"/>
                  </a:cubicBezTo>
                  <a:cubicBezTo>
                    <a:pt x="1289304" y="47911"/>
                    <a:pt x="1292066" y="45149"/>
                    <a:pt x="1295495" y="45149"/>
                  </a:cubicBezTo>
                  <a:close/>
                  <a:moveTo>
                    <a:pt x="1473326" y="44958"/>
                  </a:moveTo>
                  <a:cubicBezTo>
                    <a:pt x="1476755" y="44958"/>
                    <a:pt x="1479518" y="47720"/>
                    <a:pt x="1479518" y="51149"/>
                  </a:cubicBezTo>
                  <a:cubicBezTo>
                    <a:pt x="1479518" y="54578"/>
                    <a:pt x="1476755" y="57341"/>
                    <a:pt x="1473326" y="57341"/>
                  </a:cubicBezTo>
                  <a:cubicBezTo>
                    <a:pt x="1469897" y="57341"/>
                    <a:pt x="1467135" y="54578"/>
                    <a:pt x="1467135" y="51149"/>
                  </a:cubicBezTo>
                  <a:cubicBezTo>
                    <a:pt x="1467135" y="47720"/>
                    <a:pt x="1469897" y="44958"/>
                    <a:pt x="1473326" y="44958"/>
                  </a:cubicBezTo>
                  <a:close/>
                  <a:moveTo>
                    <a:pt x="1570577" y="44577"/>
                  </a:moveTo>
                  <a:cubicBezTo>
                    <a:pt x="1574006" y="44577"/>
                    <a:pt x="1576768" y="47339"/>
                    <a:pt x="1576768" y="50768"/>
                  </a:cubicBezTo>
                  <a:cubicBezTo>
                    <a:pt x="1576768" y="54197"/>
                    <a:pt x="1574006" y="56959"/>
                    <a:pt x="1570577" y="56959"/>
                  </a:cubicBezTo>
                  <a:cubicBezTo>
                    <a:pt x="1567148" y="56959"/>
                    <a:pt x="1564386" y="54197"/>
                    <a:pt x="1564386" y="50768"/>
                  </a:cubicBezTo>
                  <a:cubicBezTo>
                    <a:pt x="1564386" y="47339"/>
                    <a:pt x="1567148" y="44577"/>
                    <a:pt x="1570577" y="44577"/>
                  </a:cubicBezTo>
                  <a:close/>
                  <a:moveTo>
                    <a:pt x="1454181" y="44101"/>
                  </a:moveTo>
                  <a:cubicBezTo>
                    <a:pt x="1457610" y="44101"/>
                    <a:pt x="1460373" y="46863"/>
                    <a:pt x="1460373" y="50292"/>
                  </a:cubicBezTo>
                  <a:cubicBezTo>
                    <a:pt x="1460373" y="53721"/>
                    <a:pt x="1457610" y="56484"/>
                    <a:pt x="1454181" y="56484"/>
                  </a:cubicBezTo>
                  <a:cubicBezTo>
                    <a:pt x="1450752" y="56484"/>
                    <a:pt x="1447990" y="53721"/>
                    <a:pt x="1447990" y="50292"/>
                  </a:cubicBezTo>
                  <a:cubicBezTo>
                    <a:pt x="1447990" y="46863"/>
                    <a:pt x="1450752" y="44101"/>
                    <a:pt x="1454181" y="44101"/>
                  </a:cubicBezTo>
                  <a:close/>
                  <a:moveTo>
                    <a:pt x="1813750" y="44006"/>
                  </a:moveTo>
                  <a:cubicBezTo>
                    <a:pt x="1817179" y="44006"/>
                    <a:pt x="1819942" y="46768"/>
                    <a:pt x="1819942" y="50197"/>
                  </a:cubicBezTo>
                  <a:cubicBezTo>
                    <a:pt x="1819942" y="53626"/>
                    <a:pt x="1817179" y="56388"/>
                    <a:pt x="1813750" y="56388"/>
                  </a:cubicBezTo>
                  <a:cubicBezTo>
                    <a:pt x="1810321" y="56388"/>
                    <a:pt x="1807559" y="53626"/>
                    <a:pt x="1807559" y="50197"/>
                  </a:cubicBezTo>
                  <a:cubicBezTo>
                    <a:pt x="1807559" y="46768"/>
                    <a:pt x="1810321" y="44006"/>
                    <a:pt x="1813750" y="44006"/>
                  </a:cubicBezTo>
                  <a:close/>
                  <a:moveTo>
                    <a:pt x="2006631" y="43910"/>
                  </a:moveTo>
                  <a:cubicBezTo>
                    <a:pt x="2010060" y="43910"/>
                    <a:pt x="2012823" y="46672"/>
                    <a:pt x="2012823" y="50101"/>
                  </a:cubicBezTo>
                  <a:cubicBezTo>
                    <a:pt x="2012823" y="53530"/>
                    <a:pt x="2010060" y="56293"/>
                    <a:pt x="2006631" y="56293"/>
                  </a:cubicBezTo>
                  <a:cubicBezTo>
                    <a:pt x="2003202" y="56293"/>
                    <a:pt x="2000440" y="53530"/>
                    <a:pt x="2000440" y="50101"/>
                  </a:cubicBezTo>
                  <a:cubicBezTo>
                    <a:pt x="2000440" y="46672"/>
                    <a:pt x="2003202" y="43910"/>
                    <a:pt x="2006631" y="43910"/>
                  </a:cubicBezTo>
                  <a:close/>
                  <a:moveTo>
                    <a:pt x="1835086" y="42482"/>
                  </a:moveTo>
                  <a:cubicBezTo>
                    <a:pt x="1838515" y="42482"/>
                    <a:pt x="1841278" y="45244"/>
                    <a:pt x="1841278" y="48673"/>
                  </a:cubicBezTo>
                  <a:cubicBezTo>
                    <a:pt x="1841278" y="52102"/>
                    <a:pt x="1838515" y="54865"/>
                    <a:pt x="1835086" y="54865"/>
                  </a:cubicBezTo>
                  <a:cubicBezTo>
                    <a:pt x="1831657" y="54865"/>
                    <a:pt x="1828895" y="52102"/>
                    <a:pt x="1828895" y="48673"/>
                  </a:cubicBezTo>
                  <a:cubicBezTo>
                    <a:pt x="1828895" y="45244"/>
                    <a:pt x="1831657" y="42482"/>
                    <a:pt x="1835086" y="42482"/>
                  </a:cubicBezTo>
                  <a:close/>
                  <a:moveTo>
                    <a:pt x="1546764" y="41815"/>
                  </a:moveTo>
                  <a:cubicBezTo>
                    <a:pt x="1550193" y="41815"/>
                    <a:pt x="1552955" y="44577"/>
                    <a:pt x="1552955" y="48006"/>
                  </a:cubicBezTo>
                  <a:cubicBezTo>
                    <a:pt x="1552955" y="51435"/>
                    <a:pt x="1550193" y="54197"/>
                    <a:pt x="1546764" y="54197"/>
                  </a:cubicBezTo>
                  <a:cubicBezTo>
                    <a:pt x="1543335" y="54197"/>
                    <a:pt x="1540573" y="51435"/>
                    <a:pt x="1540573" y="48006"/>
                  </a:cubicBezTo>
                  <a:cubicBezTo>
                    <a:pt x="1540573" y="44577"/>
                    <a:pt x="1543335" y="41815"/>
                    <a:pt x="1546764" y="41815"/>
                  </a:cubicBezTo>
                  <a:close/>
                  <a:moveTo>
                    <a:pt x="2018728" y="41720"/>
                  </a:moveTo>
                  <a:cubicBezTo>
                    <a:pt x="2022157" y="41720"/>
                    <a:pt x="2024920" y="44482"/>
                    <a:pt x="2024920" y="47911"/>
                  </a:cubicBezTo>
                  <a:cubicBezTo>
                    <a:pt x="2024920" y="51340"/>
                    <a:pt x="2022157" y="54103"/>
                    <a:pt x="2018728" y="54103"/>
                  </a:cubicBezTo>
                  <a:cubicBezTo>
                    <a:pt x="2015299" y="54103"/>
                    <a:pt x="2012537" y="51340"/>
                    <a:pt x="2012537" y="47911"/>
                  </a:cubicBezTo>
                  <a:cubicBezTo>
                    <a:pt x="2012537" y="44482"/>
                    <a:pt x="2015299" y="41720"/>
                    <a:pt x="2018728" y="41720"/>
                  </a:cubicBezTo>
                  <a:close/>
                  <a:moveTo>
                    <a:pt x="1359979" y="41529"/>
                  </a:moveTo>
                  <a:cubicBezTo>
                    <a:pt x="1363408" y="41529"/>
                    <a:pt x="1366170" y="44291"/>
                    <a:pt x="1366170" y="47720"/>
                  </a:cubicBezTo>
                  <a:lnTo>
                    <a:pt x="1360932" y="52959"/>
                  </a:lnTo>
                  <a:lnTo>
                    <a:pt x="1364933" y="56960"/>
                  </a:lnTo>
                  <a:lnTo>
                    <a:pt x="1359884" y="62008"/>
                  </a:lnTo>
                  <a:lnTo>
                    <a:pt x="1363028" y="65151"/>
                  </a:lnTo>
                  <a:cubicBezTo>
                    <a:pt x="1363028" y="68580"/>
                    <a:pt x="1360265" y="71343"/>
                    <a:pt x="1356836" y="71343"/>
                  </a:cubicBezTo>
                  <a:cubicBezTo>
                    <a:pt x="1353407" y="71343"/>
                    <a:pt x="1350645" y="68580"/>
                    <a:pt x="1350645" y="65151"/>
                  </a:cubicBezTo>
                  <a:lnTo>
                    <a:pt x="1355693" y="60103"/>
                  </a:lnTo>
                  <a:lnTo>
                    <a:pt x="1352550" y="56960"/>
                  </a:lnTo>
                  <a:lnTo>
                    <a:pt x="1357789" y="51721"/>
                  </a:lnTo>
                  <a:lnTo>
                    <a:pt x="1353788" y="47720"/>
                  </a:lnTo>
                  <a:cubicBezTo>
                    <a:pt x="1353788" y="44291"/>
                    <a:pt x="1356550" y="41529"/>
                    <a:pt x="1359979" y="41529"/>
                  </a:cubicBezTo>
                  <a:close/>
                  <a:moveTo>
                    <a:pt x="1855088" y="41434"/>
                  </a:moveTo>
                  <a:cubicBezTo>
                    <a:pt x="1858517" y="41434"/>
                    <a:pt x="1861280" y="44196"/>
                    <a:pt x="1861280" y="47625"/>
                  </a:cubicBezTo>
                  <a:cubicBezTo>
                    <a:pt x="1861280" y="51054"/>
                    <a:pt x="1858517" y="53816"/>
                    <a:pt x="1855088" y="53816"/>
                  </a:cubicBezTo>
                  <a:cubicBezTo>
                    <a:pt x="1851659" y="53816"/>
                    <a:pt x="1848897" y="51054"/>
                    <a:pt x="1848897" y="47625"/>
                  </a:cubicBezTo>
                  <a:cubicBezTo>
                    <a:pt x="1848897" y="44196"/>
                    <a:pt x="1851659" y="41434"/>
                    <a:pt x="1855088" y="41434"/>
                  </a:cubicBezTo>
                  <a:close/>
                  <a:moveTo>
                    <a:pt x="1873757" y="40958"/>
                  </a:moveTo>
                  <a:cubicBezTo>
                    <a:pt x="1877186" y="40958"/>
                    <a:pt x="1879948" y="43720"/>
                    <a:pt x="1879948" y="47149"/>
                  </a:cubicBezTo>
                  <a:cubicBezTo>
                    <a:pt x="1879948" y="50578"/>
                    <a:pt x="1877186" y="53341"/>
                    <a:pt x="1873757" y="53341"/>
                  </a:cubicBezTo>
                  <a:cubicBezTo>
                    <a:pt x="1870328" y="53341"/>
                    <a:pt x="1867566" y="50578"/>
                    <a:pt x="1867566" y="47149"/>
                  </a:cubicBezTo>
                  <a:cubicBezTo>
                    <a:pt x="1867566" y="43720"/>
                    <a:pt x="1870328" y="40958"/>
                    <a:pt x="1873757" y="40958"/>
                  </a:cubicBezTo>
                  <a:close/>
                  <a:moveTo>
                    <a:pt x="2041969" y="40196"/>
                  </a:moveTo>
                  <a:cubicBezTo>
                    <a:pt x="2042540" y="40196"/>
                    <a:pt x="2043017" y="40672"/>
                    <a:pt x="2043017" y="41244"/>
                  </a:cubicBezTo>
                  <a:cubicBezTo>
                    <a:pt x="2043017" y="41815"/>
                    <a:pt x="2042540" y="42291"/>
                    <a:pt x="2041969" y="42291"/>
                  </a:cubicBezTo>
                  <a:cubicBezTo>
                    <a:pt x="2041397" y="42291"/>
                    <a:pt x="2040921" y="41815"/>
                    <a:pt x="2040921" y="41244"/>
                  </a:cubicBezTo>
                  <a:cubicBezTo>
                    <a:pt x="2040921" y="40672"/>
                    <a:pt x="2041397" y="40196"/>
                    <a:pt x="2041969" y="40196"/>
                  </a:cubicBezTo>
                  <a:close/>
                  <a:moveTo>
                    <a:pt x="1524571" y="40005"/>
                  </a:moveTo>
                  <a:cubicBezTo>
                    <a:pt x="1528000" y="40005"/>
                    <a:pt x="1530763" y="42767"/>
                    <a:pt x="1530763" y="46196"/>
                  </a:cubicBezTo>
                  <a:cubicBezTo>
                    <a:pt x="1530763" y="49625"/>
                    <a:pt x="1528000" y="52387"/>
                    <a:pt x="1524571" y="52387"/>
                  </a:cubicBezTo>
                  <a:cubicBezTo>
                    <a:pt x="1521142" y="52387"/>
                    <a:pt x="1518380" y="49625"/>
                    <a:pt x="1518380" y="46196"/>
                  </a:cubicBezTo>
                  <a:cubicBezTo>
                    <a:pt x="1518380" y="42767"/>
                    <a:pt x="1521142" y="40005"/>
                    <a:pt x="1524571" y="40005"/>
                  </a:cubicBezTo>
                  <a:close/>
                  <a:moveTo>
                    <a:pt x="1346834" y="40005"/>
                  </a:moveTo>
                  <a:cubicBezTo>
                    <a:pt x="1350263" y="40005"/>
                    <a:pt x="1353026" y="42767"/>
                    <a:pt x="1353026" y="46196"/>
                  </a:cubicBezTo>
                  <a:cubicBezTo>
                    <a:pt x="1353026" y="49625"/>
                    <a:pt x="1350263" y="52387"/>
                    <a:pt x="1346834" y="52387"/>
                  </a:cubicBezTo>
                  <a:cubicBezTo>
                    <a:pt x="1343405" y="52387"/>
                    <a:pt x="1340643" y="49625"/>
                    <a:pt x="1340643" y="46196"/>
                  </a:cubicBezTo>
                  <a:cubicBezTo>
                    <a:pt x="1340643" y="42767"/>
                    <a:pt x="1343405" y="40005"/>
                    <a:pt x="1346834" y="40005"/>
                  </a:cubicBezTo>
                  <a:close/>
                  <a:moveTo>
                    <a:pt x="1938813" y="39338"/>
                  </a:moveTo>
                  <a:cubicBezTo>
                    <a:pt x="1942242" y="39338"/>
                    <a:pt x="1945005" y="42100"/>
                    <a:pt x="1945005" y="45529"/>
                  </a:cubicBezTo>
                  <a:lnTo>
                    <a:pt x="1940433" y="50101"/>
                  </a:lnTo>
                  <a:lnTo>
                    <a:pt x="1943767" y="53435"/>
                  </a:lnTo>
                  <a:lnTo>
                    <a:pt x="1939099" y="58103"/>
                  </a:lnTo>
                  <a:lnTo>
                    <a:pt x="1942528" y="61532"/>
                  </a:lnTo>
                  <a:cubicBezTo>
                    <a:pt x="1942528" y="64961"/>
                    <a:pt x="1939765" y="67723"/>
                    <a:pt x="1936336" y="67723"/>
                  </a:cubicBezTo>
                  <a:cubicBezTo>
                    <a:pt x="1932907" y="67723"/>
                    <a:pt x="1930145" y="64961"/>
                    <a:pt x="1930145" y="61532"/>
                  </a:cubicBezTo>
                  <a:lnTo>
                    <a:pt x="1934813" y="56864"/>
                  </a:lnTo>
                  <a:lnTo>
                    <a:pt x="1931384" y="53435"/>
                  </a:lnTo>
                  <a:lnTo>
                    <a:pt x="1935956" y="48863"/>
                  </a:lnTo>
                  <a:lnTo>
                    <a:pt x="1932622" y="45529"/>
                  </a:lnTo>
                  <a:cubicBezTo>
                    <a:pt x="1932622" y="42100"/>
                    <a:pt x="1935384" y="39338"/>
                    <a:pt x="1938813" y="39338"/>
                  </a:cubicBezTo>
                  <a:close/>
                  <a:moveTo>
                    <a:pt x="2030539" y="38767"/>
                  </a:moveTo>
                  <a:cubicBezTo>
                    <a:pt x="2033968" y="38767"/>
                    <a:pt x="2036731" y="41529"/>
                    <a:pt x="2036731" y="44958"/>
                  </a:cubicBezTo>
                  <a:cubicBezTo>
                    <a:pt x="2036731" y="48387"/>
                    <a:pt x="2033968" y="51150"/>
                    <a:pt x="2030539" y="51150"/>
                  </a:cubicBezTo>
                  <a:cubicBezTo>
                    <a:pt x="2027110" y="51150"/>
                    <a:pt x="2024348" y="48387"/>
                    <a:pt x="2024348" y="44958"/>
                  </a:cubicBezTo>
                  <a:cubicBezTo>
                    <a:pt x="2024348" y="41529"/>
                    <a:pt x="2027110" y="38767"/>
                    <a:pt x="2030539" y="38767"/>
                  </a:cubicBezTo>
                  <a:close/>
                  <a:moveTo>
                    <a:pt x="1503711" y="38767"/>
                  </a:moveTo>
                  <a:cubicBezTo>
                    <a:pt x="1507140" y="38767"/>
                    <a:pt x="1509903" y="41529"/>
                    <a:pt x="1509903" y="44958"/>
                  </a:cubicBezTo>
                  <a:cubicBezTo>
                    <a:pt x="1509903" y="48387"/>
                    <a:pt x="1507140" y="51150"/>
                    <a:pt x="1503711" y="51150"/>
                  </a:cubicBezTo>
                  <a:cubicBezTo>
                    <a:pt x="1500282" y="51150"/>
                    <a:pt x="1497520" y="48387"/>
                    <a:pt x="1497520" y="44958"/>
                  </a:cubicBezTo>
                  <a:cubicBezTo>
                    <a:pt x="1497520" y="41529"/>
                    <a:pt x="1500282" y="38767"/>
                    <a:pt x="1503711" y="38767"/>
                  </a:cubicBezTo>
                  <a:close/>
                  <a:moveTo>
                    <a:pt x="1321879" y="38577"/>
                  </a:moveTo>
                  <a:cubicBezTo>
                    <a:pt x="1323299" y="38577"/>
                    <a:pt x="1324451" y="39728"/>
                    <a:pt x="1324451" y="41149"/>
                  </a:cubicBezTo>
                  <a:cubicBezTo>
                    <a:pt x="1324451" y="42569"/>
                    <a:pt x="1323299" y="43720"/>
                    <a:pt x="1321879" y="43720"/>
                  </a:cubicBezTo>
                  <a:cubicBezTo>
                    <a:pt x="1320458" y="43720"/>
                    <a:pt x="1319307" y="42569"/>
                    <a:pt x="1319307" y="41149"/>
                  </a:cubicBezTo>
                  <a:cubicBezTo>
                    <a:pt x="1319307" y="39728"/>
                    <a:pt x="1320458" y="38577"/>
                    <a:pt x="1321879" y="38577"/>
                  </a:cubicBezTo>
                  <a:close/>
                  <a:moveTo>
                    <a:pt x="1953100" y="38291"/>
                  </a:moveTo>
                  <a:cubicBezTo>
                    <a:pt x="1956529" y="38291"/>
                    <a:pt x="1959292" y="41053"/>
                    <a:pt x="1959292" y="44482"/>
                  </a:cubicBezTo>
                  <a:lnTo>
                    <a:pt x="1954720" y="49054"/>
                  </a:lnTo>
                  <a:lnTo>
                    <a:pt x="1959007" y="53340"/>
                  </a:lnTo>
                  <a:lnTo>
                    <a:pt x="1955101" y="57246"/>
                  </a:lnTo>
                  <a:lnTo>
                    <a:pt x="1959101" y="61246"/>
                  </a:lnTo>
                  <a:lnTo>
                    <a:pt x="1953958" y="66390"/>
                  </a:lnTo>
                  <a:lnTo>
                    <a:pt x="1959101" y="71533"/>
                  </a:lnTo>
                  <a:cubicBezTo>
                    <a:pt x="1959101" y="74962"/>
                    <a:pt x="1956339" y="77724"/>
                    <a:pt x="1952910" y="77724"/>
                  </a:cubicBezTo>
                  <a:cubicBezTo>
                    <a:pt x="1949481" y="77724"/>
                    <a:pt x="1946719" y="74962"/>
                    <a:pt x="1946719" y="71533"/>
                  </a:cubicBezTo>
                  <a:lnTo>
                    <a:pt x="1951862" y="66390"/>
                  </a:lnTo>
                  <a:lnTo>
                    <a:pt x="1946719" y="61246"/>
                  </a:lnTo>
                  <a:lnTo>
                    <a:pt x="1950625" y="57341"/>
                  </a:lnTo>
                  <a:lnTo>
                    <a:pt x="1946624" y="53340"/>
                  </a:lnTo>
                  <a:lnTo>
                    <a:pt x="1951196" y="48769"/>
                  </a:lnTo>
                  <a:lnTo>
                    <a:pt x="1946909" y="44482"/>
                  </a:lnTo>
                  <a:cubicBezTo>
                    <a:pt x="1946909" y="41053"/>
                    <a:pt x="1949671" y="38291"/>
                    <a:pt x="1953100" y="38291"/>
                  </a:cubicBezTo>
                  <a:close/>
                  <a:moveTo>
                    <a:pt x="1783651" y="38196"/>
                  </a:moveTo>
                  <a:cubicBezTo>
                    <a:pt x="1787080" y="38196"/>
                    <a:pt x="1789843" y="40958"/>
                    <a:pt x="1789843" y="44387"/>
                  </a:cubicBezTo>
                  <a:cubicBezTo>
                    <a:pt x="1789843" y="47816"/>
                    <a:pt x="1787080" y="50579"/>
                    <a:pt x="1783651" y="50579"/>
                  </a:cubicBezTo>
                  <a:cubicBezTo>
                    <a:pt x="1780222" y="50579"/>
                    <a:pt x="1777460" y="47816"/>
                    <a:pt x="1777460" y="44387"/>
                  </a:cubicBezTo>
                  <a:cubicBezTo>
                    <a:pt x="1777460" y="40958"/>
                    <a:pt x="1780222" y="38196"/>
                    <a:pt x="1783651" y="38196"/>
                  </a:cubicBezTo>
                  <a:close/>
                  <a:moveTo>
                    <a:pt x="1484090" y="38005"/>
                  </a:moveTo>
                  <a:cubicBezTo>
                    <a:pt x="1487519" y="38005"/>
                    <a:pt x="1490282" y="40767"/>
                    <a:pt x="1490282" y="44196"/>
                  </a:cubicBezTo>
                  <a:cubicBezTo>
                    <a:pt x="1490282" y="47625"/>
                    <a:pt x="1487519" y="50388"/>
                    <a:pt x="1484090" y="50388"/>
                  </a:cubicBezTo>
                  <a:cubicBezTo>
                    <a:pt x="1480661" y="50388"/>
                    <a:pt x="1477899" y="47625"/>
                    <a:pt x="1477899" y="44196"/>
                  </a:cubicBezTo>
                  <a:cubicBezTo>
                    <a:pt x="1477899" y="40767"/>
                    <a:pt x="1480661" y="38005"/>
                    <a:pt x="1484090" y="38005"/>
                  </a:cubicBezTo>
                  <a:close/>
                  <a:moveTo>
                    <a:pt x="1334166" y="37815"/>
                  </a:moveTo>
                  <a:cubicBezTo>
                    <a:pt x="1337595" y="37815"/>
                    <a:pt x="1340358" y="40577"/>
                    <a:pt x="1340358" y="44006"/>
                  </a:cubicBezTo>
                  <a:cubicBezTo>
                    <a:pt x="1340358" y="47435"/>
                    <a:pt x="1337595" y="50198"/>
                    <a:pt x="1334166" y="50198"/>
                  </a:cubicBezTo>
                  <a:cubicBezTo>
                    <a:pt x="1330737" y="50198"/>
                    <a:pt x="1327975" y="47435"/>
                    <a:pt x="1327975" y="44006"/>
                  </a:cubicBezTo>
                  <a:cubicBezTo>
                    <a:pt x="1327975" y="40577"/>
                    <a:pt x="1330737" y="37815"/>
                    <a:pt x="1334166" y="37815"/>
                  </a:cubicBezTo>
                  <a:close/>
                  <a:moveTo>
                    <a:pt x="1465706" y="37529"/>
                  </a:moveTo>
                  <a:cubicBezTo>
                    <a:pt x="1469135" y="37529"/>
                    <a:pt x="1471898" y="40291"/>
                    <a:pt x="1471898" y="43720"/>
                  </a:cubicBezTo>
                  <a:cubicBezTo>
                    <a:pt x="1471898" y="47149"/>
                    <a:pt x="1469135" y="49912"/>
                    <a:pt x="1465706" y="49912"/>
                  </a:cubicBezTo>
                  <a:cubicBezTo>
                    <a:pt x="1462277" y="49912"/>
                    <a:pt x="1459515" y="47149"/>
                    <a:pt x="1459515" y="43720"/>
                  </a:cubicBezTo>
                  <a:cubicBezTo>
                    <a:pt x="1459515" y="40291"/>
                    <a:pt x="1462277" y="37529"/>
                    <a:pt x="1465706" y="37529"/>
                  </a:cubicBezTo>
                  <a:close/>
                  <a:moveTo>
                    <a:pt x="1448275" y="37053"/>
                  </a:moveTo>
                  <a:cubicBezTo>
                    <a:pt x="1451704" y="37053"/>
                    <a:pt x="1454467" y="39815"/>
                    <a:pt x="1454467" y="43244"/>
                  </a:cubicBezTo>
                  <a:cubicBezTo>
                    <a:pt x="1454467" y="46673"/>
                    <a:pt x="1451704" y="49435"/>
                    <a:pt x="1448275" y="49435"/>
                  </a:cubicBezTo>
                  <a:cubicBezTo>
                    <a:pt x="1444846" y="49435"/>
                    <a:pt x="1442084" y="46673"/>
                    <a:pt x="1442084" y="43244"/>
                  </a:cubicBezTo>
                  <a:cubicBezTo>
                    <a:pt x="1442084" y="39815"/>
                    <a:pt x="1444846" y="37053"/>
                    <a:pt x="1448275" y="37053"/>
                  </a:cubicBezTo>
                  <a:close/>
                  <a:moveTo>
                    <a:pt x="1966721" y="36767"/>
                  </a:moveTo>
                  <a:cubicBezTo>
                    <a:pt x="1970150" y="36767"/>
                    <a:pt x="1972913" y="39529"/>
                    <a:pt x="1972913" y="42958"/>
                  </a:cubicBezTo>
                  <a:lnTo>
                    <a:pt x="1968055" y="47816"/>
                  </a:lnTo>
                  <a:lnTo>
                    <a:pt x="1973389" y="53150"/>
                  </a:lnTo>
                  <a:lnTo>
                    <a:pt x="1970008" y="56532"/>
                  </a:lnTo>
                  <a:lnTo>
                    <a:pt x="1974723" y="61246"/>
                  </a:lnTo>
                  <a:lnTo>
                    <a:pt x="1970865" y="65104"/>
                  </a:lnTo>
                  <a:lnTo>
                    <a:pt x="1976247" y="70485"/>
                  </a:lnTo>
                  <a:cubicBezTo>
                    <a:pt x="1976247" y="73914"/>
                    <a:pt x="1973484" y="76677"/>
                    <a:pt x="1970055" y="76677"/>
                  </a:cubicBezTo>
                  <a:cubicBezTo>
                    <a:pt x="1966626" y="76677"/>
                    <a:pt x="1963864" y="73914"/>
                    <a:pt x="1963864" y="70485"/>
                  </a:cubicBezTo>
                  <a:lnTo>
                    <a:pt x="1967721" y="66628"/>
                  </a:lnTo>
                  <a:lnTo>
                    <a:pt x="1962340" y="61246"/>
                  </a:lnTo>
                  <a:lnTo>
                    <a:pt x="1965721" y="57865"/>
                  </a:lnTo>
                  <a:lnTo>
                    <a:pt x="1961007" y="53150"/>
                  </a:lnTo>
                  <a:lnTo>
                    <a:pt x="1965864" y="48293"/>
                  </a:lnTo>
                  <a:lnTo>
                    <a:pt x="1960530" y="42958"/>
                  </a:lnTo>
                  <a:cubicBezTo>
                    <a:pt x="1960530" y="39529"/>
                    <a:pt x="1963292" y="36767"/>
                    <a:pt x="1966721" y="36767"/>
                  </a:cubicBezTo>
                  <a:close/>
                  <a:moveTo>
                    <a:pt x="1805273" y="36672"/>
                  </a:moveTo>
                  <a:cubicBezTo>
                    <a:pt x="1808693" y="36672"/>
                    <a:pt x="1811464" y="39444"/>
                    <a:pt x="1811464" y="42863"/>
                  </a:cubicBezTo>
                  <a:cubicBezTo>
                    <a:pt x="1811464" y="46283"/>
                    <a:pt x="1808693" y="49054"/>
                    <a:pt x="1805273" y="49054"/>
                  </a:cubicBezTo>
                  <a:cubicBezTo>
                    <a:pt x="1801854" y="49054"/>
                    <a:pt x="1799082" y="46283"/>
                    <a:pt x="1799082" y="42863"/>
                  </a:cubicBezTo>
                  <a:cubicBezTo>
                    <a:pt x="1799082" y="39444"/>
                    <a:pt x="1801854" y="36672"/>
                    <a:pt x="1805273" y="36672"/>
                  </a:cubicBezTo>
                  <a:close/>
                  <a:moveTo>
                    <a:pt x="1431797" y="36576"/>
                  </a:moveTo>
                  <a:cubicBezTo>
                    <a:pt x="1435226" y="36576"/>
                    <a:pt x="1437989" y="39338"/>
                    <a:pt x="1437989" y="42767"/>
                  </a:cubicBezTo>
                  <a:lnTo>
                    <a:pt x="1436608" y="44149"/>
                  </a:lnTo>
                  <a:lnTo>
                    <a:pt x="1442370" y="49911"/>
                  </a:lnTo>
                  <a:cubicBezTo>
                    <a:pt x="1442370" y="53340"/>
                    <a:pt x="1439608" y="56103"/>
                    <a:pt x="1436179" y="56103"/>
                  </a:cubicBezTo>
                  <a:cubicBezTo>
                    <a:pt x="1432750" y="56103"/>
                    <a:pt x="1429988" y="53340"/>
                    <a:pt x="1429988" y="49911"/>
                  </a:cubicBezTo>
                  <a:lnTo>
                    <a:pt x="1431369" y="48531"/>
                  </a:lnTo>
                  <a:lnTo>
                    <a:pt x="1425606" y="42767"/>
                  </a:lnTo>
                  <a:cubicBezTo>
                    <a:pt x="1425606" y="39338"/>
                    <a:pt x="1428368" y="36576"/>
                    <a:pt x="1431797" y="36576"/>
                  </a:cubicBezTo>
                  <a:close/>
                  <a:moveTo>
                    <a:pt x="1416176" y="35909"/>
                  </a:moveTo>
                  <a:cubicBezTo>
                    <a:pt x="1419605" y="35909"/>
                    <a:pt x="1422368" y="38671"/>
                    <a:pt x="1422368" y="42100"/>
                  </a:cubicBezTo>
                  <a:lnTo>
                    <a:pt x="1420082" y="44387"/>
                  </a:lnTo>
                  <a:lnTo>
                    <a:pt x="1425415" y="49720"/>
                  </a:lnTo>
                  <a:lnTo>
                    <a:pt x="1423224" y="51911"/>
                  </a:lnTo>
                  <a:lnTo>
                    <a:pt x="1428844" y="57531"/>
                  </a:lnTo>
                  <a:cubicBezTo>
                    <a:pt x="1428844" y="60960"/>
                    <a:pt x="1426082" y="63722"/>
                    <a:pt x="1422653" y="63722"/>
                  </a:cubicBezTo>
                  <a:cubicBezTo>
                    <a:pt x="1419224" y="63722"/>
                    <a:pt x="1416462" y="60960"/>
                    <a:pt x="1416462" y="57531"/>
                  </a:cubicBezTo>
                  <a:lnTo>
                    <a:pt x="1418653" y="55341"/>
                  </a:lnTo>
                  <a:lnTo>
                    <a:pt x="1413033" y="49720"/>
                  </a:lnTo>
                  <a:lnTo>
                    <a:pt x="1415319" y="47435"/>
                  </a:lnTo>
                  <a:lnTo>
                    <a:pt x="1409985" y="42100"/>
                  </a:lnTo>
                  <a:cubicBezTo>
                    <a:pt x="1409985" y="38671"/>
                    <a:pt x="1412747" y="35909"/>
                    <a:pt x="1416176" y="35909"/>
                  </a:cubicBezTo>
                  <a:close/>
                  <a:moveTo>
                    <a:pt x="1825656" y="35814"/>
                  </a:moveTo>
                  <a:cubicBezTo>
                    <a:pt x="1829085" y="35814"/>
                    <a:pt x="1831848" y="38576"/>
                    <a:pt x="1831848" y="42005"/>
                  </a:cubicBezTo>
                  <a:cubicBezTo>
                    <a:pt x="1831848" y="45434"/>
                    <a:pt x="1829085" y="48197"/>
                    <a:pt x="1825656" y="48197"/>
                  </a:cubicBezTo>
                  <a:cubicBezTo>
                    <a:pt x="1822227" y="48197"/>
                    <a:pt x="1819465" y="45434"/>
                    <a:pt x="1819465" y="42005"/>
                  </a:cubicBezTo>
                  <a:cubicBezTo>
                    <a:pt x="1819465" y="38576"/>
                    <a:pt x="1822227" y="35814"/>
                    <a:pt x="1825656" y="35814"/>
                  </a:cubicBezTo>
                  <a:close/>
                  <a:moveTo>
                    <a:pt x="1844801" y="35148"/>
                  </a:moveTo>
                  <a:cubicBezTo>
                    <a:pt x="1848230" y="35148"/>
                    <a:pt x="1850993" y="37910"/>
                    <a:pt x="1850993" y="41339"/>
                  </a:cubicBezTo>
                  <a:cubicBezTo>
                    <a:pt x="1850993" y="44768"/>
                    <a:pt x="1848230" y="47531"/>
                    <a:pt x="1844801" y="47531"/>
                  </a:cubicBezTo>
                  <a:cubicBezTo>
                    <a:pt x="1841372" y="47531"/>
                    <a:pt x="1838610" y="44768"/>
                    <a:pt x="1838610" y="41339"/>
                  </a:cubicBezTo>
                  <a:cubicBezTo>
                    <a:pt x="1838610" y="37910"/>
                    <a:pt x="1841372" y="35148"/>
                    <a:pt x="1844801" y="35148"/>
                  </a:cubicBezTo>
                  <a:close/>
                  <a:moveTo>
                    <a:pt x="1401222" y="34862"/>
                  </a:moveTo>
                  <a:cubicBezTo>
                    <a:pt x="1404651" y="34862"/>
                    <a:pt x="1407413" y="37624"/>
                    <a:pt x="1407413" y="41053"/>
                  </a:cubicBezTo>
                  <a:lnTo>
                    <a:pt x="1404175" y="44292"/>
                  </a:lnTo>
                  <a:lnTo>
                    <a:pt x="1409414" y="49530"/>
                  </a:lnTo>
                  <a:lnTo>
                    <a:pt x="1406652" y="52293"/>
                  </a:lnTo>
                  <a:lnTo>
                    <a:pt x="1411414" y="57055"/>
                  </a:lnTo>
                  <a:cubicBezTo>
                    <a:pt x="1411414" y="60484"/>
                    <a:pt x="1408652" y="63247"/>
                    <a:pt x="1405223" y="63247"/>
                  </a:cubicBezTo>
                  <a:cubicBezTo>
                    <a:pt x="1401794" y="63247"/>
                    <a:pt x="1399032" y="60484"/>
                    <a:pt x="1399032" y="57055"/>
                  </a:cubicBezTo>
                  <a:lnTo>
                    <a:pt x="1401794" y="54294"/>
                  </a:lnTo>
                  <a:lnTo>
                    <a:pt x="1397031" y="49530"/>
                  </a:lnTo>
                  <a:lnTo>
                    <a:pt x="1400270" y="46292"/>
                  </a:lnTo>
                  <a:lnTo>
                    <a:pt x="1395031" y="41053"/>
                  </a:lnTo>
                  <a:cubicBezTo>
                    <a:pt x="1395031" y="37624"/>
                    <a:pt x="1397793" y="34862"/>
                    <a:pt x="1401222" y="34862"/>
                  </a:cubicBezTo>
                  <a:close/>
                  <a:moveTo>
                    <a:pt x="1979866" y="34671"/>
                  </a:moveTo>
                  <a:cubicBezTo>
                    <a:pt x="1983295" y="34671"/>
                    <a:pt x="1986057" y="37433"/>
                    <a:pt x="1986057" y="40862"/>
                  </a:cubicBezTo>
                  <a:cubicBezTo>
                    <a:pt x="1986057" y="44291"/>
                    <a:pt x="1983295" y="47053"/>
                    <a:pt x="1979866" y="47053"/>
                  </a:cubicBezTo>
                  <a:cubicBezTo>
                    <a:pt x="1976437" y="47053"/>
                    <a:pt x="1973675" y="44291"/>
                    <a:pt x="1973675" y="40862"/>
                  </a:cubicBezTo>
                  <a:cubicBezTo>
                    <a:pt x="1973675" y="37433"/>
                    <a:pt x="1976437" y="34671"/>
                    <a:pt x="1979866" y="34671"/>
                  </a:cubicBezTo>
                  <a:close/>
                  <a:moveTo>
                    <a:pt x="1862803" y="34576"/>
                  </a:moveTo>
                  <a:cubicBezTo>
                    <a:pt x="1866232" y="34576"/>
                    <a:pt x="1868995" y="37338"/>
                    <a:pt x="1868995" y="40767"/>
                  </a:cubicBezTo>
                  <a:cubicBezTo>
                    <a:pt x="1868995" y="44196"/>
                    <a:pt x="1866232" y="46959"/>
                    <a:pt x="1862803" y="46959"/>
                  </a:cubicBezTo>
                  <a:cubicBezTo>
                    <a:pt x="1859374" y="46959"/>
                    <a:pt x="1856612" y="44196"/>
                    <a:pt x="1856612" y="40767"/>
                  </a:cubicBezTo>
                  <a:cubicBezTo>
                    <a:pt x="1856612" y="37338"/>
                    <a:pt x="1859374" y="34576"/>
                    <a:pt x="1862803" y="34576"/>
                  </a:cubicBezTo>
                  <a:close/>
                  <a:moveTo>
                    <a:pt x="1879949" y="34004"/>
                  </a:moveTo>
                  <a:cubicBezTo>
                    <a:pt x="1883378" y="34004"/>
                    <a:pt x="1886141" y="36766"/>
                    <a:pt x="1886141" y="40195"/>
                  </a:cubicBezTo>
                  <a:cubicBezTo>
                    <a:pt x="1886141" y="43624"/>
                    <a:pt x="1883378" y="46387"/>
                    <a:pt x="1879949" y="46387"/>
                  </a:cubicBezTo>
                  <a:cubicBezTo>
                    <a:pt x="1876520" y="46387"/>
                    <a:pt x="1873758" y="43624"/>
                    <a:pt x="1873758" y="40195"/>
                  </a:cubicBezTo>
                  <a:cubicBezTo>
                    <a:pt x="1873758" y="36766"/>
                    <a:pt x="1876520" y="34004"/>
                    <a:pt x="1879949" y="34004"/>
                  </a:cubicBezTo>
                  <a:close/>
                  <a:moveTo>
                    <a:pt x="1532477" y="33623"/>
                  </a:moveTo>
                  <a:cubicBezTo>
                    <a:pt x="1535906" y="33623"/>
                    <a:pt x="1538668" y="36385"/>
                    <a:pt x="1538668" y="39814"/>
                  </a:cubicBezTo>
                  <a:cubicBezTo>
                    <a:pt x="1538668" y="43243"/>
                    <a:pt x="1535906" y="46006"/>
                    <a:pt x="1532477" y="46006"/>
                  </a:cubicBezTo>
                  <a:cubicBezTo>
                    <a:pt x="1529048" y="46006"/>
                    <a:pt x="1526286" y="43243"/>
                    <a:pt x="1526286" y="39814"/>
                  </a:cubicBezTo>
                  <a:cubicBezTo>
                    <a:pt x="1526286" y="36385"/>
                    <a:pt x="1529048" y="33623"/>
                    <a:pt x="1532477" y="33623"/>
                  </a:cubicBezTo>
                  <a:close/>
                  <a:moveTo>
                    <a:pt x="1386935" y="33338"/>
                  </a:moveTo>
                  <a:cubicBezTo>
                    <a:pt x="1390364" y="33338"/>
                    <a:pt x="1393126" y="36100"/>
                    <a:pt x="1393126" y="39529"/>
                  </a:cubicBezTo>
                  <a:lnTo>
                    <a:pt x="1388840" y="43815"/>
                  </a:lnTo>
                  <a:lnTo>
                    <a:pt x="1394270" y="49244"/>
                  </a:lnTo>
                  <a:lnTo>
                    <a:pt x="1390744" y="52769"/>
                  </a:lnTo>
                  <a:lnTo>
                    <a:pt x="1394936" y="56960"/>
                  </a:lnTo>
                  <a:lnTo>
                    <a:pt x="1390888" y="61008"/>
                  </a:lnTo>
                  <a:lnTo>
                    <a:pt x="1395793" y="65913"/>
                  </a:lnTo>
                  <a:cubicBezTo>
                    <a:pt x="1395793" y="69342"/>
                    <a:pt x="1393031" y="72104"/>
                    <a:pt x="1389602" y="72104"/>
                  </a:cubicBezTo>
                  <a:cubicBezTo>
                    <a:pt x="1386173" y="72104"/>
                    <a:pt x="1383411" y="69342"/>
                    <a:pt x="1383411" y="65913"/>
                  </a:cubicBezTo>
                  <a:lnTo>
                    <a:pt x="1387459" y="61866"/>
                  </a:lnTo>
                  <a:lnTo>
                    <a:pt x="1382553" y="56960"/>
                  </a:lnTo>
                  <a:lnTo>
                    <a:pt x="1386078" y="53435"/>
                  </a:lnTo>
                  <a:lnTo>
                    <a:pt x="1381887" y="49244"/>
                  </a:lnTo>
                  <a:lnTo>
                    <a:pt x="1386173" y="44959"/>
                  </a:lnTo>
                  <a:lnTo>
                    <a:pt x="1380744" y="39529"/>
                  </a:lnTo>
                  <a:cubicBezTo>
                    <a:pt x="1380744" y="36100"/>
                    <a:pt x="1383506" y="33338"/>
                    <a:pt x="1386935" y="33338"/>
                  </a:cubicBezTo>
                  <a:close/>
                  <a:moveTo>
                    <a:pt x="1896141" y="33147"/>
                  </a:moveTo>
                  <a:cubicBezTo>
                    <a:pt x="1899570" y="33147"/>
                    <a:pt x="1902333" y="35909"/>
                    <a:pt x="1902333" y="39338"/>
                  </a:cubicBezTo>
                  <a:lnTo>
                    <a:pt x="1896284" y="45387"/>
                  </a:lnTo>
                  <a:lnTo>
                    <a:pt x="1897666" y="46768"/>
                  </a:lnTo>
                  <a:cubicBezTo>
                    <a:pt x="1897666" y="50197"/>
                    <a:pt x="1894903" y="52960"/>
                    <a:pt x="1891474" y="52960"/>
                  </a:cubicBezTo>
                  <a:cubicBezTo>
                    <a:pt x="1888045" y="52960"/>
                    <a:pt x="1885283" y="50197"/>
                    <a:pt x="1885283" y="46768"/>
                  </a:cubicBezTo>
                  <a:lnTo>
                    <a:pt x="1891331" y="40720"/>
                  </a:lnTo>
                  <a:lnTo>
                    <a:pt x="1889950" y="39338"/>
                  </a:lnTo>
                  <a:cubicBezTo>
                    <a:pt x="1889950" y="35909"/>
                    <a:pt x="1892712" y="33147"/>
                    <a:pt x="1896141" y="33147"/>
                  </a:cubicBezTo>
                  <a:close/>
                  <a:moveTo>
                    <a:pt x="1512569" y="32671"/>
                  </a:moveTo>
                  <a:cubicBezTo>
                    <a:pt x="1515998" y="32671"/>
                    <a:pt x="1518761" y="35433"/>
                    <a:pt x="1518761" y="38862"/>
                  </a:cubicBezTo>
                  <a:cubicBezTo>
                    <a:pt x="1518761" y="42291"/>
                    <a:pt x="1515998" y="45053"/>
                    <a:pt x="1512569" y="45053"/>
                  </a:cubicBezTo>
                  <a:cubicBezTo>
                    <a:pt x="1509140" y="45053"/>
                    <a:pt x="1506378" y="42291"/>
                    <a:pt x="1506378" y="38862"/>
                  </a:cubicBezTo>
                  <a:cubicBezTo>
                    <a:pt x="1506378" y="35433"/>
                    <a:pt x="1509140" y="32671"/>
                    <a:pt x="1512569" y="32671"/>
                  </a:cubicBezTo>
                  <a:close/>
                  <a:moveTo>
                    <a:pt x="2004917" y="32290"/>
                  </a:moveTo>
                  <a:cubicBezTo>
                    <a:pt x="2006059" y="32290"/>
                    <a:pt x="2007012" y="33242"/>
                    <a:pt x="2007012" y="34385"/>
                  </a:cubicBezTo>
                  <a:cubicBezTo>
                    <a:pt x="2007012" y="35528"/>
                    <a:pt x="2006059" y="36481"/>
                    <a:pt x="2004917" y="36481"/>
                  </a:cubicBezTo>
                  <a:cubicBezTo>
                    <a:pt x="2003773" y="36481"/>
                    <a:pt x="2002821" y="35528"/>
                    <a:pt x="2002821" y="34385"/>
                  </a:cubicBezTo>
                  <a:cubicBezTo>
                    <a:pt x="2002821" y="33242"/>
                    <a:pt x="2003773" y="32290"/>
                    <a:pt x="2004917" y="32290"/>
                  </a:cubicBezTo>
                  <a:close/>
                  <a:moveTo>
                    <a:pt x="1911571" y="32099"/>
                  </a:moveTo>
                  <a:cubicBezTo>
                    <a:pt x="1915000" y="32099"/>
                    <a:pt x="1917763" y="34861"/>
                    <a:pt x="1917763" y="38290"/>
                  </a:cubicBezTo>
                  <a:lnTo>
                    <a:pt x="1911905" y="44148"/>
                  </a:lnTo>
                  <a:lnTo>
                    <a:pt x="1914239" y="46482"/>
                  </a:lnTo>
                  <a:lnTo>
                    <a:pt x="1908714" y="52007"/>
                  </a:lnTo>
                  <a:lnTo>
                    <a:pt x="1910524" y="53816"/>
                  </a:lnTo>
                  <a:cubicBezTo>
                    <a:pt x="1910524" y="57245"/>
                    <a:pt x="1907761" y="60008"/>
                    <a:pt x="1904332" y="60008"/>
                  </a:cubicBezTo>
                  <a:cubicBezTo>
                    <a:pt x="1900903" y="60008"/>
                    <a:pt x="1898141" y="57245"/>
                    <a:pt x="1898141" y="53816"/>
                  </a:cubicBezTo>
                  <a:lnTo>
                    <a:pt x="1903665" y="48292"/>
                  </a:lnTo>
                  <a:lnTo>
                    <a:pt x="1901856" y="46482"/>
                  </a:lnTo>
                  <a:lnTo>
                    <a:pt x="1907714" y="40624"/>
                  </a:lnTo>
                  <a:lnTo>
                    <a:pt x="1905380" y="38290"/>
                  </a:lnTo>
                  <a:cubicBezTo>
                    <a:pt x="1905380" y="34861"/>
                    <a:pt x="1908142" y="32099"/>
                    <a:pt x="1911571" y="32099"/>
                  </a:cubicBezTo>
                  <a:close/>
                  <a:moveTo>
                    <a:pt x="1992629" y="31909"/>
                  </a:moveTo>
                  <a:cubicBezTo>
                    <a:pt x="1996058" y="31909"/>
                    <a:pt x="1998821" y="34671"/>
                    <a:pt x="1998821" y="38100"/>
                  </a:cubicBezTo>
                  <a:cubicBezTo>
                    <a:pt x="1998821" y="41529"/>
                    <a:pt x="1996058" y="44292"/>
                    <a:pt x="1992629" y="44292"/>
                  </a:cubicBezTo>
                  <a:cubicBezTo>
                    <a:pt x="1989200" y="44292"/>
                    <a:pt x="1986438" y="41529"/>
                    <a:pt x="1986438" y="38100"/>
                  </a:cubicBezTo>
                  <a:cubicBezTo>
                    <a:pt x="1986438" y="34671"/>
                    <a:pt x="1989200" y="31909"/>
                    <a:pt x="1992629" y="31909"/>
                  </a:cubicBezTo>
                  <a:close/>
                  <a:moveTo>
                    <a:pt x="1493710" y="31909"/>
                  </a:moveTo>
                  <a:cubicBezTo>
                    <a:pt x="1497130" y="31909"/>
                    <a:pt x="1499902" y="34681"/>
                    <a:pt x="1499902" y="38100"/>
                  </a:cubicBezTo>
                  <a:cubicBezTo>
                    <a:pt x="1499902" y="41520"/>
                    <a:pt x="1497130" y="44291"/>
                    <a:pt x="1493710" y="44291"/>
                  </a:cubicBezTo>
                  <a:cubicBezTo>
                    <a:pt x="1490291" y="44291"/>
                    <a:pt x="1487519" y="41520"/>
                    <a:pt x="1487519" y="38100"/>
                  </a:cubicBezTo>
                  <a:cubicBezTo>
                    <a:pt x="1487519" y="34681"/>
                    <a:pt x="1490291" y="31909"/>
                    <a:pt x="1493710" y="31909"/>
                  </a:cubicBezTo>
                  <a:close/>
                  <a:moveTo>
                    <a:pt x="1475898" y="31242"/>
                  </a:moveTo>
                  <a:cubicBezTo>
                    <a:pt x="1479327" y="31242"/>
                    <a:pt x="1482090" y="34004"/>
                    <a:pt x="1482090" y="37433"/>
                  </a:cubicBezTo>
                  <a:cubicBezTo>
                    <a:pt x="1482090" y="40862"/>
                    <a:pt x="1479327" y="43625"/>
                    <a:pt x="1475898" y="43625"/>
                  </a:cubicBezTo>
                  <a:cubicBezTo>
                    <a:pt x="1472469" y="43625"/>
                    <a:pt x="1469707" y="40862"/>
                    <a:pt x="1469707" y="37433"/>
                  </a:cubicBezTo>
                  <a:cubicBezTo>
                    <a:pt x="1469707" y="34004"/>
                    <a:pt x="1472469" y="31242"/>
                    <a:pt x="1475898" y="31242"/>
                  </a:cubicBezTo>
                  <a:close/>
                  <a:moveTo>
                    <a:pt x="1373314" y="31242"/>
                  </a:moveTo>
                  <a:cubicBezTo>
                    <a:pt x="1376743" y="31242"/>
                    <a:pt x="1379506" y="34004"/>
                    <a:pt x="1379506" y="37433"/>
                  </a:cubicBezTo>
                  <a:lnTo>
                    <a:pt x="1374076" y="42863"/>
                  </a:lnTo>
                  <a:lnTo>
                    <a:pt x="1379886" y="48673"/>
                  </a:lnTo>
                  <a:lnTo>
                    <a:pt x="1375553" y="53007"/>
                  </a:lnTo>
                  <a:lnTo>
                    <a:pt x="1379506" y="56960"/>
                  </a:lnTo>
                  <a:lnTo>
                    <a:pt x="1374981" y="61484"/>
                  </a:lnTo>
                  <a:lnTo>
                    <a:pt x="1378838" y="65341"/>
                  </a:lnTo>
                  <a:cubicBezTo>
                    <a:pt x="1378838" y="68770"/>
                    <a:pt x="1376076" y="71533"/>
                    <a:pt x="1372647" y="71533"/>
                  </a:cubicBezTo>
                  <a:cubicBezTo>
                    <a:pt x="1369218" y="71533"/>
                    <a:pt x="1366456" y="68770"/>
                    <a:pt x="1366456" y="65341"/>
                  </a:cubicBezTo>
                  <a:lnTo>
                    <a:pt x="1370980" y="60817"/>
                  </a:lnTo>
                  <a:lnTo>
                    <a:pt x="1367123" y="56960"/>
                  </a:lnTo>
                  <a:lnTo>
                    <a:pt x="1371457" y="52626"/>
                  </a:lnTo>
                  <a:lnTo>
                    <a:pt x="1367504" y="48673"/>
                  </a:lnTo>
                  <a:lnTo>
                    <a:pt x="1372933" y="43244"/>
                  </a:lnTo>
                  <a:lnTo>
                    <a:pt x="1367123" y="37433"/>
                  </a:lnTo>
                  <a:cubicBezTo>
                    <a:pt x="1367123" y="34004"/>
                    <a:pt x="1369885" y="31242"/>
                    <a:pt x="1373314" y="31242"/>
                  </a:cubicBezTo>
                  <a:close/>
                  <a:moveTo>
                    <a:pt x="1360075" y="30576"/>
                  </a:moveTo>
                  <a:cubicBezTo>
                    <a:pt x="1362361" y="30576"/>
                    <a:pt x="1364171" y="32386"/>
                    <a:pt x="1364171" y="34672"/>
                  </a:cubicBezTo>
                  <a:cubicBezTo>
                    <a:pt x="1364171" y="36958"/>
                    <a:pt x="1362361" y="38767"/>
                    <a:pt x="1360075" y="38767"/>
                  </a:cubicBezTo>
                  <a:cubicBezTo>
                    <a:pt x="1357789" y="38767"/>
                    <a:pt x="1355979" y="36958"/>
                    <a:pt x="1355979" y="34672"/>
                  </a:cubicBezTo>
                  <a:cubicBezTo>
                    <a:pt x="1355979" y="32386"/>
                    <a:pt x="1357789" y="30576"/>
                    <a:pt x="1360075" y="30576"/>
                  </a:cubicBezTo>
                  <a:close/>
                  <a:moveTo>
                    <a:pt x="1926335" y="30480"/>
                  </a:moveTo>
                  <a:cubicBezTo>
                    <a:pt x="1929764" y="30480"/>
                    <a:pt x="1932527" y="33242"/>
                    <a:pt x="1932527" y="36671"/>
                  </a:cubicBezTo>
                  <a:lnTo>
                    <a:pt x="1926573" y="42624"/>
                  </a:lnTo>
                  <a:lnTo>
                    <a:pt x="1930051" y="46101"/>
                  </a:lnTo>
                  <a:lnTo>
                    <a:pt x="1925145" y="51007"/>
                  </a:lnTo>
                  <a:lnTo>
                    <a:pt x="1927670" y="53531"/>
                  </a:lnTo>
                  <a:lnTo>
                    <a:pt x="1921907" y="59294"/>
                  </a:lnTo>
                  <a:lnTo>
                    <a:pt x="1924812" y="62198"/>
                  </a:lnTo>
                  <a:cubicBezTo>
                    <a:pt x="1924812" y="65627"/>
                    <a:pt x="1922049" y="68390"/>
                    <a:pt x="1918620" y="68390"/>
                  </a:cubicBezTo>
                  <a:cubicBezTo>
                    <a:pt x="1915191" y="68390"/>
                    <a:pt x="1912429" y="65627"/>
                    <a:pt x="1912429" y="62198"/>
                  </a:cubicBezTo>
                  <a:lnTo>
                    <a:pt x="1918191" y="56436"/>
                  </a:lnTo>
                  <a:lnTo>
                    <a:pt x="1915287" y="53531"/>
                  </a:lnTo>
                  <a:lnTo>
                    <a:pt x="1920192" y="48626"/>
                  </a:lnTo>
                  <a:lnTo>
                    <a:pt x="1917668" y="46101"/>
                  </a:lnTo>
                  <a:lnTo>
                    <a:pt x="1923621" y="40148"/>
                  </a:lnTo>
                  <a:lnTo>
                    <a:pt x="1920144" y="36671"/>
                  </a:lnTo>
                  <a:cubicBezTo>
                    <a:pt x="1920144" y="33242"/>
                    <a:pt x="1922906" y="30480"/>
                    <a:pt x="1926335" y="30480"/>
                  </a:cubicBezTo>
                  <a:close/>
                  <a:moveTo>
                    <a:pt x="1459039" y="30290"/>
                  </a:moveTo>
                  <a:cubicBezTo>
                    <a:pt x="1462468" y="30290"/>
                    <a:pt x="1465231" y="33052"/>
                    <a:pt x="1465231" y="36481"/>
                  </a:cubicBezTo>
                  <a:cubicBezTo>
                    <a:pt x="1465231" y="39910"/>
                    <a:pt x="1462468" y="42672"/>
                    <a:pt x="1459039" y="42672"/>
                  </a:cubicBezTo>
                  <a:cubicBezTo>
                    <a:pt x="1455610" y="42672"/>
                    <a:pt x="1452848" y="39910"/>
                    <a:pt x="1452848" y="36481"/>
                  </a:cubicBezTo>
                  <a:cubicBezTo>
                    <a:pt x="1452848" y="33052"/>
                    <a:pt x="1455610" y="30290"/>
                    <a:pt x="1459039" y="30290"/>
                  </a:cubicBezTo>
                  <a:close/>
                  <a:moveTo>
                    <a:pt x="1817179" y="30004"/>
                  </a:moveTo>
                  <a:cubicBezTo>
                    <a:pt x="1820608" y="30004"/>
                    <a:pt x="1823370" y="32766"/>
                    <a:pt x="1823370" y="36195"/>
                  </a:cubicBezTo>
                  <a:cubicBezTo>
                    <a:pt x="1823370" y="39624"/>
                    <a:pt x="1820608" y="42387"/>
                    <a:pt x="1817179" y="42387"/>
                  </a:cubicBezTo>
                  <a:cubicBezTo>
                    <a:pt x="1813750" y="42387"/>
                    <a:pt x="1810988" y="39624"/>
                    <a:pt x="1810988" y="36195"/>
                  </a:cubicBezTo>
                  <a:cubicBezTo>
                    <a:pt x="1810988" y="32766"/>
                    <a:pt x="1813750" y="30004"/>
                    <a:pt x="1817179" y="30004"/>
                  </a:cubicBezTo>
                  <a:close/>
                  <a:moveTo>
                    <a:pt x="1442941" y="29147"/>
                  </a:moveTo>
                  <a:cubicBezTo>
                    <a:pt x="1446370" y="29147"/>
                    <a:pt x="1449133" y="31909"/>
                    <a:pt x="1449133" y="35338"/>
                  </a:cubicBezTo>
                  <a:cubicBezTo>
                    <a:pt x="1449133" y="38767"/>
                    <a:pt x="1446370" y="41530"/>
                    <a:pt x="1442941" y="41530"/>
                  </a:cubicBezTo>
                  <a:cubicBezTo>
                    <a:pt x="1439512" y="41530"/>
                    <a:pt x="1436750" y="38767"/>
                    <a:pt x="1436750" y="35338"/>
                  </a:cubicBezTo>
                  <a:cubicBezTo>
                    <a:pt x="1436750" y="31909"/>
                    <a:pt x="1439512" y="29147"/>
                    <a:pt x="1442941" y="29147"/>
                  </a:cubicBezTo>
                  <a:close/>
                  <a:moveTo>
                    <a:pt x="1835562" y="29051"/>
                  </a:moveTo>
                  <a:cubicBezTo>
                    <a:pt x="1838991" y="29051"/>
                    <a:pt x="1841754" y="31813"/>
                    <a:pt x="1841754" y="35242"/>
                  </a:cubicBezTo>
                  <a:cubicBezTo>
                    <a:pt x="1841754" y="38671"/>
                    <a:pt x="1838991" y="41434"/>
                    <a:pt x="1835562" y="41434"/>
                  </a:cubicBezTo>
                  <a:cubicBezTo>
                    <a:pt x="1832133" y="41434"/>
                    <a:pt x="1829371" y="38671"/>
                    <a:pt x="1829371" y="35242"/>
                  </a:cubicBezTo>
                  <a:cubicBezTo>
                    <a:pt x="1829371" y="31813"/>
                    <a:pt x="1832133" y="29051"/>
                    <a:pt x="1835562" y="29051"/>
                  </a:cubicBezTo>
                  <a:close/>
                  <a:moveTo>
                    <a:pt x="1940528" y="28385"/>
                  </a:moveTo>
                  <a:cubicBezTo>
                    <a:pt x="1943957" y="28385"/>
                    <a:pt x="1946720" y="31147"/>
                    <a:pt x="1946720" y="34576"/>
                  </a:cubicBezTo>
                  <a:cubicBezTo>
                    <a:pt x="1946720" y="38005"/>
                    <a:pt x="1943957" y="40768"/>
                    <a:pt x="1940528" y="40768"/>
                  </a:cubicBezTo>
                  <a:cubicBezTo>
                    <a:pt x="1937099" y="40768"/>
                    <a:pt x="1934337" y="38005"/>
                    <a:pt x="1934337" y="34576"/>
                  </a:cubicBezTo>
                  <a:cubicBezTo>
                    <a:pt x="1934337" y="31147"/>
                    <a:pt x="1937099" y="28385"/>
                    <a:pt x="1940528" y="28385"/>
                  </a:cubicBezTo>
                  <a:close/>
                  <a:moveTo>
                    <a:pt x="1853088" y="28099"/>
                  </a:moveTo>
                  <a:cubicBezTo>
                    <a:pt x="1856517" y="28099"/>
                    <a:pt x="1859280" y="30861"/>
                    <a:pt x="1859280" y="34290"/>
                  </a:cubicBezTo>
                  <a:cubicBezTo>
                    <a:pt x="1859280" y="37719"/>
                    <a:pt x="1856517" y="40481"/>
                    <a:pt x="1853088" y="40481"/>
                  </a:cubicBezTo>
                  <a:cubicBezTo>
                    <a:pt x="1849659" y="40481"/>
                    <a:pt x="1846897" y="37719"/>
                    <a:pt x="1846897" y="34290"/>
                  </a:cubicBezTo>
                  <a:cubicBezTo>
                    <a:pt x="1846897" y="30861"/>
                    <a:pt x="1849659" y="28099"/>
                    <a:pt x="1853088" y="28099"/>
                  </a:cubicBezTo>
                  <a:close/>
                  <a:moveTo>
                    <a:pt x="1427606" y="27528"/>
                  </a:moveTo>
                  <a:cubicBezTo>
                    <a:pt x="1431035" y="27528"/>
                    <a:pt x="1433798" y="30290"/>
                    <a:pt x="1433798" y="33719"/>
                  </a:cubicBezTo>
                  <a:cubicBezTo>
                    <a:pt x="1433798" y="37148"/>
                    <a:pt x="1431035" y="39910"/>
                    <a:pt x="1427606" y="39910"/>
                  </a:cubicBezTo>
                  <a:cubicBezTo>
                    <a:pt x="1424177" y="39910"/>
                    <a:pt x="1421415" y="37148"/>
                    <a:pt x="1421415" y="33719"/>
                  </a:cubicBezTo>
                  <a:cubicBezTo>
                    <a:pt x="1421415" y="30290"/>
                    <a:pt x="1424177" y="27528"/>
                    <a:pt x="1427606" y="27528"/>
                  </a:cubicBezTo>
                  <a:close/>
                  <a:moveTo>
                    <a:pt x="1520475" y="26956"/>
                  </a:moveTo>
                  <a:cubicBezTo>
                    <a:pt x="1523904" y="26956"/>
                    <a:pt x="1526667" y="29718"/>
                    <a:pt x="1526667" y="33147"/>
                  </a:cubicBezTo>
                  <a:cubicBezTo>
                    <a:pt x="1526667" y="36576"/>
                    <a:pt x="1523904" y="39339"/>
                    <a:pt x="1520475" y="39339"/>
                  </a:cubicBezTo>
                  <a:cubicBezTo>
                    <a:pt x="1517046" y="39339"/>
                    <a:pt x="1514284" y="36576"/>
                    <a:pt x="1514284" y="33147"/>
                  </a:cubicBezTo>
                  <a:cubicBezTo>
                    <a:pt x="1514284" y="29718"/>
                    <a:pt x="1517046" y="26956"/>
                    <a:pt x="1520475" y="26956"/>
                  </a:cubicBezTo>
                  <a:close/>
                  <a:moveTo>
                    <a:pt x="1869661" y="26765"/>
                  </a:moveTo>
                  <a:cubicBezTo>
                    <a:pt x="1873090" y="26765"/>
                    <a:pt x="1875853" y="29527"/>
                    <a:pt x="1875853" y="32956"/>
                  </a:cubicBezTo>
                  <a:cubicBezTo>
                    <a:pt x="1875853" y="36385"/>
                    <a:pt x="1873090" y="39148"/>
                    <a:pt x="1869661" y="39148"/>
                  </a:cubicBezTo>
                  <a:cubicBezTo>
                    <a:pt x="1866232" y="39148"/>
                    <a:pt x="1863470" y="36385"/>
                    <a:pt x="1863470" y="32956"/>
                  </a:cubicBezTo>
                  <a:cubicBezTo>
                    <a:pt x="1863470" y="29527"/>
                    <a:pt x="1866232" y="26765"/>
                    <a:pt x="1869661" y="26765"/>
                  </a:cubicBezTo>
                  <a:close/>
                  <a:moveTo>
                    <a:pt x="1502378" y="25718"/>
                  </a:moveTo>
                  <a:cubicBezTo>
                    <a:pt x="1505807" y="25718"/>
                    <a:pt x="1508570" y="28480"/>
                    <a:pt x="1508570" y="31909"/>
                  </a:cubicBezTo>
                  <a:cubicBezTo>
                    <a:pt x="1508570" y="35338"/>
                    <a:pt x="1505807" y="38101"/>
                    <a:pt x="1502378" y="38101"/>
                  </a:cubicBezTo>
                  <a:cubicBezTo>
                    <a:pt x="1498949" y="38101"/>
                    <a:pt x="1496187" y="35338"/>
                    <a:pt x="1496187" y="31909"/>
                  </a:cubicBezTo>
                  <a:cubicBezTo>
                    <a:pt x="1496187" y="28480"/>
                    <a:pt x="1498949" y="25718"/>
                    <a:pt x="1502378" y="25718"/>
                  </a:cubicBezTo>
                  <a:close/>
                  <a:moveTo>
                    <a:pt x="1954148" y="25623"/>
                  </a:moveTo>
                  <a:cubicBezTo>
                    <a:pt x="1957577" y="25623"/>
                    <a:pt x="1960340" y="28385"/>
                    <a:pt x="1960340" y="31814"/>
                  </a:cubicBezTo>
                  <a:cubicBezTo>
                    <a:pt x="1960340" y="35243"/>
                    <a:pt x="1957577" y="38006"/>
                    <a:pt x="1954148" y="38006"/>
                  </a:cubicBezTo>
                  <a:cubicBezTo>
                    <a:pt x="1950719" y="38006"/>
                    <a:pt x="1947957" y="35243"/>
                    <a:pt x="1947957" y="31814"/>
                  </a:cubicBezTo>
                  <a:cubicBezTo>
                    <a:pt x="1947957" y="28385"/>
                    <a:pt x="1950719" y="25623"/>
                    <a:pt x="1954148" y="25623"/>
                  </a:cubicBezTo>
                  <a:close/>
                  <a:moveTo>
                    <a:pt x="1412842" y="25337"/>
                  </a:moveTo>
                  <a:cubicBezTo>
                    <a:pt x="1416271" y="25337"/>
                    <a:pt x="1419034" y="28099"/>
                    <a:pt x="1419034" y="31528"/>
                  </a:cubicBezTo>
                  <a:cubicBezTo>
                    <a:pt x="1419034" y="34957"/>
                    <a:pt x="1416271" y="37720"/>
                    <a:pt x="1412842" y="37720"/>
                  </a:cubicBezTo>
                  <a:cubicBezTo>
                    <a:pt x="1409413" y="37720"/>
                    <a:pt x="1406651" y="34957"/>
                    <a:pt x="1406651" y="31528"/>
                  </a:cubicBezTo>
                  <a:cubicBezTo>
                    <a:pt x="1406651" y="28099"/>
                    <a:pt x="1409413" y="25337"/>
                    <a:pt x="1412842" y="25337"/>
                  </a:cubicBezTo>
                  <a:close/>
                  <a:moveTo>
                    <a:pt x="1967388" y="25146"/>
                  </a:moveTo>
                  <a:cubicBezTo>
                    <a:pt x="1969103" y="25146"/>
                    <a:pt x="1970436" y="26479"/>
                    <a:pt x="1970436" y="28194"/>
                  </a:cubicBezTo>
                  <a:cubicBezTo>
                    <a:pt x="1970436" y="29909"/>
                    <a:pt x="1969007" y="31242"/>
                    <a:pt x="1967388" y="31242"/>
                  </a:cubicBezTo>
                  <a:cubicBezTo>
                    <a:pt x="1965673" y="31242"/>
                    <a:pt x="1964340" y="29909"/>
                    <a:pt x="1964340" y="28194"/>
                  </a:cubicBezTo>
                  <a:cubicBezTo>
                    <a:pt x="1964340" y="26479"/>
                    <a:pt x="1965673" y="25146"/>
                    <a:pt x="1967388" y="25146"/>
                  </a:cubicBezTo>
                  <a:close/>
                  <a:moveTo>
                    <a:pt x="1885568" y="25146"/>
                  </a:moveTo>
                  <a:cubicBezTo>
                    <a:pt x="1888997" y="25146"/>
                    <a:pt x="1891760" y="27908"/>
                    <a:pt x="1891760" y="31337"/>
                  </a:cubicBezTo>
                  <a:cubicBezTo>
                    <a:pt x="1891760" y="34766"/>
                    <a:pt x="1888997" y="37529"/>
                    <a:pt x="1885568" y="37529"/>
                  </a:cubicBezTo>
                  <a:cubicBezTo>
                    <a:pt x="1882139" y="37529"/>
                    <a:pt x="1879377" y="34766"/>
                    <a:pt x="1879377" y="31337"/>
                  </a:cubicBezTo>
                  <a:cubicBezTo>
                    <a:pt x="1879377" y="27908"/>
                    <a:pt x="1882139" y="25146"/>
                    <a:pt x="1885568" y="25146"/>
                  </a:cubicBezTo>
                  <a:close/>
                  <a:moveTo>
                    <a:pt x="1485042" y="24384"/>
                  </a:moveTo>
                  <a:cubicBezTo>
                    <a:pt x="1488471" y="24384"/>
                    <a:pt x="1491234" y="27146"/>
                    <a:pt x="1491234" y="30575"/>
                  </a:cubicBezTo>
                  <a:cubicBezTo>
                    <a:pt x="1491234" y="34004"/>
                    <a:pt x="1488471" y="36767"/>
                    <a:pt x="1485042" y="36767"/>
                  </a:cubicBezTo>
                  <a:cubicBezTo>
                    <a:pt x="1481613" y="36767"/>
                    <a:pt x="1478851" y="34004"/>
                    <a:pt x="1478851" y="30575"/>
                  </a:cubicBezTo>
                  <a:cubicBezTo>
                    <a:pt x="1478851" y="27146"/>
                    <a:pt x="1481613" y="24384"/>
                    <a:pt x="1485042" y="24384"/>
                  </a:cubicBezTo>
                  <a:close/>
                  <a:moveTo>
                    <a:pt x="1809654" y="24003"/>
                  </a:moveTo>
                  <a:cubicBezTo>
                    <a:pt x="1813083" y="24003"/>
                    <a:pt x="1815846" y="26765"/>
                    <a:pt x="1815846" y="30194"/>
                  </a:cubicBezTo>
                  <a:cubicBezTo>
                    <a:pt x="1815846" y="33623"/>
                    <a:pt x="1813083" y="36386"/>
                    <a:pt x="1809654" y="36386"/>
                  </a:cubicBezTo>
                  <a:cubicBezTo>
                    <a:pt x="1806225" y="36386"/>
                    <a:pt x="1803463" y="33623"/>
                    <a:pt x="1803463" y="30194"/>
                  </a:cubicBezTo>
                  <a:cubicBezTo>
                    <a:pt x="1803463" y="26765"/>
                    <a:pt x="1806225" y="24003"/>
                    <a:pt x="1809654" y="24003"/>
                  </a:cubicBezTo>
                  <a:close/>
                  <a:moveTo>
                    <a:pt x="1398746" y="23337"/>
                  </a:moveTo>
                  <a:cubicBezTo>
                    <a:pt x="1401745" y="23337"/>
                    <a:pt x="1404175" y="25768"/>
                    <a:pt x="1404175" y="28766"/>
                  </a:cubicBezTo>
                  <a:cubicBezTo>
                    <a:pt x="1404175" y="31765"/>
                    <a:pt x="1401745" y="34195"/>
                    <a:pt x="1398746" y="34195"/>
                  </a:cubicBezTo>
                  <a:cubicBezTo>
                    <a:pt x="1395748" y="34195"/>
                    <a:pt x="1393317" y="31765"/>
                    <a:pt x="1393317" y="28766"/>
                  </a:cubicBezTo>
                  <a:cubicBezTo>
                    <a:pt x="1393317" y="25768"/>
                    <a:pt x="1395748" y="23337"/>
                    <a:pt x="1398746" y="23337"/>
                  </a:cubicBezTo>
                  <a:close/>
                  <a:moveTo>
                    <a:pt x="1900808" y="22956"/>
                  </a:moveTo>
                  <a:cubicBezTo>
                    <a:pt x="1904237" y="22956"/>
                    <a:pt x="1907000" y="25718"/>
                    <a:pt x="1907000" y="29147"/>
                  </a:cubicBezTo>
                  <a:cubicBezTo>
                    <a:pt x="1907000" y="32576"/>
                    <a:pt x="1904237" y="35339"/>
                    <a:pt x="1900808" y="35339"/>
                  </a:cubicBezTo>
                  <a:cubicBezTo>
                    <a:pt x="1897379" y="35339"/>
                    <a:pt x="1894617" y="32576"/>
                    <a:pt x="1894617" y="29147"/>
                  </a:cubicBezTo>
                  <a:cubicBezTo>
                    <a:pt x="1894617" y="25718"/>
                    <a:pt x="1897379" y="22956"/>
                    <a:pt x="1900808" y="22956"/>
                  </a:cubicBezTo>
                  <a:close/>
                  <a:moveTo>
                    <a:pt x="1468564" y="22574"/>
                  </a:moveTo>
                  <a:cubicBezTo>
                    <a:pt x="1471993" y="22574"/>
                    <a:pt x="1474756" y="25336"/>
                    <a:pt x="1474756" y="28765"/>
                  </a:cubicBezTo>
                  <a:cubicBezTo>
                    <a:pt x="1474756" y="32194"/>
                    <a:pt x="1471993" y="34957"/>
                    <a:pt x="1468564" y="34957"/>
                  </a:cubicBezTo>
                  <a:cubicBezTo>
                    <a:pt x="1465135" y="34957"/>
                    <a:pt x="1462373" y="32194"/>
                    <a:pt x="1462373" y="28765"/>
                  </a:cubicBezTo>
                  <a:cubicBezTo>
                    <a:pt x="1462373" y="25336"/>
                    <a:pt x="1465135" y="22574"/>
                    <a:pt x="1468564" y="22574"/>
                  </a:cubicBezTo>
                  <a:close/>
                  <a:moveTo>
                    <a:pt x="1827370" y="22479"/>
                  </a:moveTo>
                  <a:cubicBezTo>
                    <a:pt x="1830799" y="22479"/>
                    <a:pt x="1833562" y="25241"/>
                    <a:pt x="1833562" y="28670"/>
                  </a:cubicBezTo>
                  <a:cubicBezTo>
                    <a:pt x="1833562" y="32099"/>
                    <a:pt x="1830799" y="34862"/>
                    <a:pt x="1827370" y="34862"/>
                  </a:cubicBezTo>
                  <a:cubicBezTo>
                    <a:pt x="1823941" y="34862"/>
                    <a:pt x="1821179" y="32099"/>
                    <a:pt x="1821179" y="28670"/>
                  </a:cubicBezTo>
                  <a:cubicBezTo>
                    <a:pt x="1821179" y="25241"/>
                    <a:pt x="1823941" y="22479"/>
                    <a:pt x="1827370" y="22479"/>
                  </a:cubicBezTo>
                  <a:close/>
                  <a:moveTo>
                    <a:pt x="1844420" y="20574"/>
                  </a:moveTo>
                  <a:cubicBezTo>
                    <a:pt x="1847849" y="20574"/>
                    <a:pt x="1850611" y="23336"/>
                    <a:pt x="1850611" y="26765"/>
                  </a:cubicBezTo>
                  <a:cubicBezTo>
                    <a:pt x="1850611" y="30194"/>
                    <a:pt x="1847849" y="32957"/>
                    <a:pt x="1844420" y="32957"/>
                  </a:cubicBezTo>
                  <a:cubicBezTo>
                    <a:pt x="1840991" y="32957"/>
                    <a:pt x="1838229" y="30194"/>
                    <a:pt x="1838229" y="26765"/>
                  </a:cubicBezTo>
                  <a:cubicBezTo>
                    <a:pt x="1838229" y="23336"/>
                    <a:pt x="1840991" y="20574"/>
                    <a:pt x="1844420" y="20574"/>
                  </a:cubicBezTo>
                  <a:close/>
                  <a:moveTo>
                    <a:pt x="1527524" y="20574"/>
                  </a:moveTo>
                  <a:cubicBezTo>
                    <a:pt x="1530953" y="20574"/>
                    <a:pt x="1533716" y="23336"/>
                    <a:pt x="1533716" y="26765"/>
                  </a:cubicBezTo>
                  <a:cubicBezTo>
                    <a:pt x="1533716" y="30194"/>
                    <a:pt x="1530953" y="32957"/>
                    <a:pt x="1527524" y="32957"/>
                  </a:cubicBezTo>
                  <a:cubicBezTo>
                    <a:pt x="1524095" y="32957"/>
                    <a:pt x="1521333" y="30194"/>
                    <a:pt x="1521333" y="26765"/>
                  </a:cubicBezTo>
                  <a:cubicBezTo>
                    <a:pt x="1521333" y="23336"/>
                    <a:pt x="1524095" y="20574"/>
                    <a:pt x="1527524" y="20574"/>
                  </a:cubicBezTo>
                  <a:close/>
                  <a:moveTo>
                    <a:pt x="1452848" y="20289"/>
                  </a:moveTo>
                  <a:cubicBezTo>
                    <a:pt x="1456268" y="20289"/>
                    <a:pt x="1459039" y="23061"/>
                    <a:pt x="1459039" y="26480"/>
                  </a:cubicBezTo>
                  <a:cubicBezTo>
                    <a:pt x="1459039" y="29900"/>
                    <a:pt x="1456268" y="32672"/>
                    <a:pt x="1452848" y="32672"/>
                  </a:cubicBezTo>
                  <a:cubicBezTo>
                    <a:pt x="1449429" y="32672"/>
                    <a:pt x="1446657" y="29900"/>
                    <a:pt x="1446657" y="26480"/>
                  </a:cubicBezTo>
                  <a:cubicBezTo>
                    <a:pt x="1446657" y="23061"/>
                    <a:pt x="1449429" y="20289"/>
                    <a:pt x="1452848" y="20289"/>
                  </a:cubicBezTo>
                  <a:close/>
                  <a:moveTo>
                    <a:pt x="1915382" y="20098"/>
                  </a:moveTo>
                  <a:cubicBezTo>
                    <a:pt x="1918811" y="20098"/>
                    <a:pt x="1921574" y="22860"/>
                    <a:pt x="1921574" y="26289"/>
                  </a:cubicBezTo>
                  <a:cubicBezTo>
                    <a:pt x="1921574" y="29718"/>
                    <a:pt x="1918811" y="32481"/>
                    <a:pt x="1915382" y="32481"/>
                  </a:cubicBezTo>
                  <a:cubicBezTo>
                    <a:pt x="1911953" y="32481"/>
                    <a:pt x="1909191" y="29718"/>
                    <a:pt x="1909191" y="26289"/>
                  </a:cubicBezTo>
                  <a:cubicBezTo>
                    <a:pt x="1909191" y="22860"/>
                    <a:pt x="1911953" y="20098"/>
                    <a:pt x="1915382" y="20098"/>
                  </a:cubicBezTo>
                  <a:close/>
                  <a:moveTo>
                    <a:pt x="1423130" y="19812"/>
                  </a:moveTo>
                  <a:cubicBezTo>
                    <a:pt x="1423320" y="19812"/>
                    <a:pt x="1423320" y="19812"/>
                    <a:pt x="1423320" y="20002"/>
                  </a:cubicBezTo>
                  <a:cubicBezTo>
                    <a:pt x="1423320" y="20193"/>
                    <a:pt x="1423130" y="20193"/>
                    <a:pt x="1423130" y="20193"/>
                  </a:cubicBezTo>
                  <a:cubicBezTo>
                    <a:pt x="1422939" y="20193"/>
                    <a:pt x="1422939" y="20193"/>
                    <a:pt x="1422939" y="20002"/>
                  </a:cubicBezTo>
                  <a:cubicBezTo>
                    <a:pt x="1422939" y="19812"/>
                    <a:pt x="1422939" y="19812"/>
                    <a:pt x="1423130" y="19812"/>
                  </a:cubicBezTo>
                  <a:close/>
                  <a:moveTo>
                    <a:pt x="1929479" y="19146"/>
                  </a:moveTo>
                  <a:cubicBezTo>
                    <a:pt x="1931479" y="19146"/>
                    <a:pt x="1933098" y="20765"/>
                    <a:pt x="1933098" y="22766"/>
                  </a:cubicBezTo>
                  <a:cubicBezTo>
                    <a:pt x="1933098" y="24766"/>
                    <a:pt x="1931479" y="26385"/>
                    <a:pt x="1929479" y="26385"/>
                  </a:cubicBezTo>
                  <a:cubicBezTo>
                    <a:pt x="1927478" y="26385"/>
                    <a:pt x="1925859" y="24766"/>
                    <a:pt x="1925859" y="22766"/>
                  </a:cubicBezTo>
                  <a:cubicBezTo>
                    <a:pt x="1925859" y="20765"/>
                    <a:pt x="1927478" y="19146"/>
                    <a:pt x="1929479" y="19146"/>
                  </a:cubicBezTo>
                  <a:close/>
                  <a:moveTo>
                    <a:pt x="1784794" y="19146"/>
                  </a:moveTo>
                  <a:cubicBezTo>
                    <a:pt x="1788223" y="19146"/>
                    <a:pt x="1790986" y="21908"/>
                    <a:pt x="1790986" y="25337"/>
                  </a:cubicBezTo>
                  <a:lnTo>
                    <a:pt x="1790938" y="25385"/>
                  </a:lnTo>
                  <a:lnTo>
                    <a:pt x="1797034" y="31480"/>
                  </a:lnTo>
                  <a:lnTo>
                    <a:pt x="1797653" y="30861"/>
                  </a:lnTo>
                  <a:cubicBezTo>
                    <a:pt x="1801082" y="30861"/>
                    <a:pt x="1803845" y="33623"/>
                    <a:pt x="1803845" y="37052"/>
                  </a:cubicBezTo>
                  <a:cubicBezTo>
                    <a:pt x="1803845" y="40481"/>
                    <a:pt x="1801082" y="43244"/>
                    <a:pt x="1797653" y="43244"/>
                  </a:cubicBezTo>
                  <a:lnTo>
                    <a:pt x="1791510" y="37100"/>
                  </a:lnTo>
                  <a:lnTo>
                    <a:pt x="1790890" y="37720"/>
                  </a:lnTo>
                  <a:cubicBezTo>
                    <a:pt x="1787461" y="37720"/>
                    <a:pt x="1784699" y="34957"/>
                    <a:pt x="1784699" y="31528"/>
                  </a:cubicBezTo>
                  <a:lnTo>
                    <a:pt x="1784746" y="31481"/>
                  </a:lnTo>
                  <a:lnTo>
                    <a:pt x="1778603" y="25337"/>
                  </a:lnTo>
                  <a:cubicBezTo>
                    <a:pt x="1778603" y="21908"/>
                    <a:pt x="1781365" y="19146"/>
                    <a:pt x="1784794" y="19146"/>
                  </a:cubicBezTo>
                  <a:close/>
                  <a:moveTo>
                    <a:pt x="1509998" y="18574"/>
                  </a:moveTo>
                  <a:cubicBezTo>
                    <a:pt x="1513427" y="18574"/>
                    <a:pt x="1516189" y="21336"/>
                    <a:pt x="1516189" y="24765"/>
                  </a:cubicBezTo>
                  <a:cubicBezTo>
                    <a:pt x="1516189" y="28194"/>
                    <a:pt x="1513427" y="30957"/>
                    <a:pt x="1509998" y="30957"/>
                  </a:cubicBezTo>
                  <a:cubicBezTo>
                    <a:pt x="1506569" y="30957"/>
                    <a:pt x="1503807" y="28194"/>
                    <a:pt x="1503807" y="24765"/>
                  </a:cubicBezTo>
                  <a:cubicBezTo>
                    <a:pt x="1503807" y="21336"/>
                    <a:pt x="1506569" y="18574"/>
                    <a:pt x="1509998" y="18574"/>
                  </a:cubicBezTo>
                  <a:close/>
                  <a:moveTo>
                    <a:pt x="1860613" y="18193"/>
                  </a:moveTo>
                  <a:cubicBezTo>
                    <a:pt x="1864042" y="18193"/>
                    <a:pt x="1866805" y="20955"/>
                    <a:pt x="1866805" y="24384"/>
                  </a:cubicBezTo>
                  <a:cubicBezTo>
                    <a:pt x="1866805" y="27813"/>
                    <a:pt x="1864042" y="30576"/>
                    <a:pt x="1860613" y="30576"/>
                  </a:cubicBezTo>
                  <a:cubicBezTo>
                    <a:pt x="1857184" y="30576"/>
                    <a:pt x="1854422" y="27813"/>
                    <a:pt x="1854422" y="24384"/>
                  </a:cubicBezTo>
                  <a:cubicBezTo>
                    <a:pt x="1854422" y="20955"/>
                    <a:pt x="1857184" y="18193"/>
                    <a:pt x="1860613" y="18193"/>
                  </a:cubicBezTo>
                  <a:close/>
                  <a:moveTo>
                    <a:pt x="1437703" y="17431"/>
                  </a:moveTo>
                  <a:cubicBezTo>
                    <a:pt x="1441132" y="17431"/>
                    <a:pt x="1443895" y="20193"/>
                    <a:pt x="1443895" y="23622"/>
                  </a:cubicBezTo>
                  <a:cubicBezTo>
                    <a:pt x="1443895" y="27051"/>
                    <a:pt x="1441132" y="29813"/>
                    <a:pt x="1437703" y="29813"/>
                  </a:cubicBezTo>
                  <a:cubicBezTo>
                    <a:pt x="1434274" y="29813"/>
                    <a:pt x="1431512" y="27051"/>
                    <a:pt x="1431512" y="23622"/>
                  </a:cubicBezTo>
                  <a:cubicBezTo>
                    <a:pt x="1431512" y="20193"/>
                    <a:pt x="1434274" y="17431"/>
                    <a:pt x="1437703" y="17431"/>
                  </a:cubicBezTo>
                  <a:close/>
                  <a:moveTo>
                    <a:pt x="1802891" y="16955"/>
                  </a:moveTo>
                  <a:cubicBezTo>
                    <a:pt x="1806320" y="16955"/>
                    <a:pt x="1809082" y="19717"/>
                    <a:pt x="1809082" y="23146"/>
                  </a:cubicBezTo>
                  <a:cubicBezTo>
                    <a:pt x="1809082" y="26575"/>
                    <a:pt x="1806320" y="29338"/>
                    <a:pt x="1802891" y="29338"/>
                  </a:cubicBezTo>
                  <a:cubicBezTo>
                    <a:pt x="1799462" y="29338"/>
                    <a:pt x="1796700" y="26575"/>
                    <a:pt x="1796700" y="23146"/>
                  </a:cubicBezTo>
                  <a:cubicBezTo>
                    <a:pt x="1796700" y="19717"/>
                    <a:pt x="1799462" y="16955"/>
                    <a:pt x="1802891" y="16955"/>
                  </a:cubicBezTo>
                  <a:close/>
                  <a:moveTo>
                    <a:pt x="1493138" y="16097"/>
                  </a:moveTo>
                  <a:cubicBezTo>
                    <a:pt x="1496567" y="16097"/>
                    <a:pt x="1499330" y="18859"/>
                    <a:pt x="1499330" y="22288"/>
                  </a:cubicBezTo>
                  <a:cubicBezTo>
                    <a:pt x="1499330" y="25717"/>
                    <a:pt x="1496567" y="28480"/>
                    <a:pt x="1493138" y="28480"/>
                  </a:cubicBezTo>
                  <a:cubicBezTo>
                    <a:pt x="1489709" y="28480"/>
                    <a:pt x="1486947" y="25717"/>
                    <a:pt x="1486947" y="22288"/>
                  </a:cubicBezTo>
                  <a:cubicBezTo>
                    <a:pt x="1486947" y="18859"/>
                    <a:pt x="1489709" y="16097"/>
                    <a:pt x="1493138" y="16097"/>
                  </a:cubicBezTo>
                  <a:close/>
                  <a:moveTo>
                    <a:pt x="1551527" y="15431"/>
                  </a:moveTo>
                  <a:cubicBezTo>
                    <a:pt x="1554956" y="15431"/>
                    <a:pt x="1557718" y="18193"/>
                    <a:pt x="1557718" y="21622"/>
                  </a:cubicBezTo>
                  <a:lnTo>
                    <a:pt x="1551528" y="27813"/>
                  </a:lnTo>
                  <a:lnTo>
                    <a:pt x="1552099" y="28384"/>
                  </a:lnTo>
                  <a:cubicBezTo>
                    <a:pt x="1552099" y="31813"/>
                    <a:pt x="1549336" y="34576"/>
                    <a:pt x="1545907" y="34576"/>
                  </a:cubicBezTo>
                  <a:lnTo>
                    <a:pt x="1545669" y="34338"/>
                  </a:lnTo>
                  <a:lnTo>
                    <a:pt x="1539620" y="40387"/>
                  </a:lnTo>
                  <a:cubicBezTo>
                    <a:pt x="1536191" y="40387"/>
                    <a:pt x="1533429" y="37624"/>
                    <a:pt x="1533429" y="34195"/>
                  </a:cubicBezTo>
                  <a:cubicBezTo>
                    <a:pt x="1533429" y="30766"/>
                    <a:pt x="1536191" y="28004"/>
                    <a:pt x="1539620" y="28004"/>
                  </a:cubicBezTo>
                  <a:lnTo>
                    <a:pt x="1539858" y="28242"/>
                  </a:lnTo>
                  <a:lnTo>
                    <a:pt x="1545907" y="22193"/>
                  </a:lnTo>
                  <a:lnTo>
                    <a:pt x="1545336" y="21622"/>
                  </a:lnTo>
                  <a:cubicBezTo>
                    <a:pt x="1545336" y="18193"/>
                    <a:pt x="1548098" y="15431"/>
                    <a:pt x="1551527" y="15431"/>
                  </a:cubicBezTo>
                  <a:close/>
                  <a:moveTo>
                    <a:pt x="1876234" y="15336"/>
                  </a:moveTo>
                  <a:cubicBezTo>
                    <a:pt x="1879663" y="15336"/>
                    <a:pt x="1882426" y="18098"/>
                    <a:pt x="1882426" y="21527"/>
                  </a:cubicBezTo>
                  <a:cubicBezTo>
                    <a:pt x="1882426" y="24956"/>
                    <a:pt x="1879663" y="27719"/>
                    <a:pt x="1876234" y="27719"/>
                  </a:cubicBezTo>
                  <a:cubicBezTo>
                    <a:pt x="1872805" y="27719"/>
                    <a:pt x="1870043" y="24956"/>
                    <a:pt x="1870043" y="21527"/>
                  </a:cubicBezTo>
                  <a:cubicBezTo>
                    <a:pt x="1870043" y="18098"/>
                    <a:pt x="1872805" y="15336"/>
                    <a:pt x="1876234" y="15336"/>
                  </a:cubicBezTo>
                  <a:close/>
                  <a:moveTo>
                    <a:pt x="1461516" y="14478"/>
                  </a:moveTo>
                  <a:cubicBezTo>
                    <a:pt x="1462183" y="14478"/>
                    <a:pt x="1462659" y="14954"/>
                    <a:pt x="1462659" y="15621"/>
                  </a:cubicBezTo>
                  <a:cubicBezTo>
                    <a:pt x="1462659" y="16288"/>
                    <a:pt x="1462183" y="16764"/>
                    <a:pt x="1461516" y="16764"/>
                  </a:cubicBezTo>
                  <a:cubicBezTo>
                    <a:pt x="1460849" y="16764"/>
                    <a:pt x="1460373" y="16288"/>
                    <a:pt x="1460373" y="15621"/>
                  </a:cubicBezTo>
                  <a:cubicBezTo>
                    <a:pt x="1460373" y="14954"/>
                    <a:pt x="1460849" y="14478"/>
                    <a:pt x="1461516" y="14478"/>
                  </a:cubicBezTo>
                  <a:close/>
                  <a:moveTo>
                    <a:pt x="1820227" y="14383"/>
                  </a:moveTo>
                  <a:cubicBezTo>
                    <a:pt x="1823656" y="14383"/>
                    <a:pt x="1826419" y="17145"/>
                    <a:pt x="1826419" y="20574"/>
                  </a:cubicBezTo>
                  <a:cubicBezTo>
                    <a:pt x="1826419" y="24003"/>
                    <a:pt x="1823656" y="26766"/>
                    <a:pt x="1820227" y="26766"/>
                  </a:cubicBezTo>
                  <a:cubicBezTo>
                    <a:pt x="1816798" y="26766"/>
                    <a:pt x="1814036" y="24003"/>
                    <a:pt x="1814036" y="20574"/>
                  </a:cubicBezTo>
                  <a:cubicBezTo>
                    <a:pt x="1814036" y="17145"/>
                    <a:pt x="1816798" y="14383"/>
                    <a:pt x="1820227" y="14383"/>
                  </a:cubicBezTo>
                  <a:close/>
                  <a:moveTo>
                    <a:pt x="1761172" y="14288"/>
                  </a:moveTo>
                  <a:cubicBezTo>
                    <a:pt x="1764601" y="14288"/>
                    <a:pt x="1767364" y="17050"/>
                    <a:pt x="1767364" y="20479"/>
                  </a:cubicBezTo>
                  <a:lnTo>
                    <a:pt x="1766364" y="21479"/>
                  </a:lnTo>
                  <a:lnTo>
                    <a:pt x="1772030" y="27146"/>
                  </a:lnTo>
                  <a:lnTo>
                    <a:pt x="1771887" y="27289"/>
                  </a:lnTo>
                  <a:lnTo>
                    <a:pt x="1776840" y="32242"/>
                  </a:lnTo>
                  <a:lnTo>
                    <a:pt x="1777078" y="32004"/>
                  </a:lnTo>
                  <a:cubicBezTo>
                    <a:pt x="1780507" y="32004"/>
                    <a:pt x="1783270" y="34766"/>
                    <a:pt x="1783270" y="38195"/>
                  </a:cubicBezTo>
                  <a:cubicBezTo>
                    <a:pt x="1783270" y="41624"/>
                    <a:pt x="1780507" y="44387"/>
                    <a:pt x="1777078" y="44387"/>
                  </a:cubicBezTo>
                  <a:lnTo>
                    <a:pt x="1771411" y="38720"/>
                  </a:lnTo>
                  <a:lnTo>
                    <a:pt x="1771173" y="38958"/>
                  </a:lnTo>
                  <a:cubicBezTo>
                    <a:pt x="1767744" y="38958"/>
                    <a:pt x="1764982" y="36195"/>
                    <a:pt x="1764982" y="32766"/>
                  </a:cubicBezTo>
                  <a:lnTo>
                    <a:pt x="1765125" y="32624"/>
                  </a:lnTo>
                  <a:lnTo>
                    <a:pt x="1759648" y="27146"/>
                  </a:lnTo>
                  <a:lnTo>
                    <a:pt x="1760648" y="26147"/>
                  </a:lnTo>
                  <a:lnTo>
                    <a:pt x="1754981" y="20479"/>
                  </a:lnTo>
                  <a:cubicBezTo>
                    <a:pt x="1754981" y="17050"/>
                    <a:pt x="1757743" y="14288"/>
                    <a:pt x="1761172" y="14288"/>
                  </a:cubicBezTo>
                  <a:close/>
                  <a:moveTo>
                    <a:pt x="1891188" y="13621"/>
                  </a:moveTo>
                  <a:cubicBezTo>
                    <a:pt x="1893569" y="13621"/>
                    <a:pt x="1895474" y="15526"/>
                    <a:pt x="1895474" y="17907"/>
                  </a:cubicBezTo>
                  <a:cubicBezTo>
                    <a:pt x="1895474" y="20288"/>
                    <a:pt x="1893569" y="22194"/>
                    <a:pt x="1891188" y="22194"/>
                  </a:cubicBezTo>
                  <a:cubicBezTo>
                    <a:pt x="1888807" y="22194"/>
                    <a:pt x="1886902" y="20288"/>
                    <a:pt x="1886902" y="17907"/>
                  </a:cubicBezTo>
                  <a:cubicBezTo>
                    <a:pt x="1886902" y="15526"/>
                    <a:pt x="1888807" y="13621"/>
                    <a:pt x="1891188" y="13621"/>
                  </a:cubicBezTo>
                  <a:close/>
                  <a:moveTo>
                    <a:pt x="1477041" y="13145"/>
                  </a:moveTo>
                  <a:cubicBezTo>
                    <a:pt x="1480470" y="13145"/>
                    <a:pt x="1483233" y="15907"/>
                    <a:pt x="1483233" y="19336"/>
                  </a:cubicBezTo>
                  <a:cubicBezTo>
                    <a:pt x="1483233" y="22765"/>
                    <a:pt x="1480470" y="25528"/>
                    <a:pt x="1477041" y="25528"/>
                  </a:cubicBezTo>
                  <a:cubicBezTo>
                    <a:pt x="1473612" y="25528"/>
                    <a:pt x="1470850" y="22765"/>
                    <a:pt x="1470850" y="19336"/>
                  </a:cubicBezTo>
                  <a:cubicBezTo>
                    <a:pt x="1470850" y="15907"/>
                    <a:pt x="1473612" y="13145"/>
                    <a:pt x="1477041" y="13145"/>
                  </a:cubicBezTo>
                  <a:close/>
                  <a:moveTo>
                    <a:pt x="1533715" y="12764"/>
                  </a:moveTo>
                  <a:cubicBezTo>
                    <a:pt x="1537144" y="12764"/>
                    <a:pt x="1539907" y="15526"/>
                    <a:pt x="1539907" y="18955"/>
                  </a:cubicBezTo>
                  <a:cubicBezTo>
                    <a:pt x="1539907" y="22384"/>
                    <a:pt x="1537144" y="25147"/>
                    <a:pt x="1533715" y="25147"/>
                  </a:cubicBezTo>
                  <a:cubicBezTo>
                    <a:pt x="1530286" y="25147"/>
                    <a:pt x="1527524" y="22384"/>
                    <a:pt x="1527524" y="18955"/>
                  </a:cubicBezTo>
                  <a:cubicBezTo>
                    <a:pt x="1527524" y="15526"/>
                    <a:pt x="1530286" y="12764"/>
                    <a:pt x="1533715" y="12764"/>
                  </a:cubicBezTo>
                  <a:close/>
                  <a:moveTo>
                    <a:pt x="1779460" y="11430"/>
                  </a:moveTo>
                  <a:cubicBezTo>
                    <a:pt x="1782889" y="11430"/>
                    <a:pt x="1785652" y="14192"/>
                    <a:pt x="1785652" y="17621"/>
                  </a:cubicBezTo>
                  <a:cubicBezTo>
                    <a:pt x="1785652" y="21050"/>
                    <a:pt x="1782889" y="23813"/>
                    <a:pt x="1779460" y="23813"/>
                  </a:cubicBezTo>
                  <a:cubicBezTo>
                    <a:pt x="1776031" y="23813"/>
                    <a:pt x="1773269" y="21050"/>
                    <a:pt x="1773269" y="17621"/>
                  </a:cubicBezTo>
                  <a:cubicBezTo>
                    <a:pt x="1773269" y="14192"/>
                    <a:pt x="1776031" y="11430"/>
                    <a:pt x="1779460" y="11430"/>
                  </a:cubicBezTo>
                  <a:close/>
                  <a:moveTo>
                    <a:pt x="1836705" y="11335"/>
                  </a:moveTo>
                  <a:cubicBezTo>
                    <a:pt x="1840134" y="11335"/>
                    <a:pt x="1842897" y="14097"/>
                    <a:pt x="1842897" y="17526"/>
                  </a:cubicBezTo>
                  <a:cubicBezTo>
                    <a:pt x="1842897" y="20955"/>
                    <a:pt x="1840134" y="23718"/>
                    <a:pt x="1836705" y="23718"/>
                  </a:cubicBezTo>
                  <a:cubicBezTo>
                    <a:pt x="1833276" y="23718"/>
                    <a:pt x="1830514" y="20955"/>
                    <a:pt x="1830514" y="17526"/>
                  </a:cubicBezTo>
                  <a:cubicBezTo>
                    <a:pt x="1830514" y="14097"/>
                    <a:pt x="1833276" y="11335"/>
                    <a:pt x="1836705" y="11335"/>
                  </a:cubicBezTo>
                  <a:close/>
                  <a:moveTo>
                    <a:pt x="1574577" y="10287"/>
                  </a:moveTo>
                  <a:cubicBezTo>
                    <a:pt x="1578006" y="10287"/>
                    <a:pt x="1580769" y="13049"/>
                    <a:pt x="1580769" y="16478"/>
                  </a:cubicBezTo>
                  <a:lnTo>
                    <a:pt x="1574862" y="22384"/>
                  </a:lnTo>
                  <a:lnTo>
                    <a:pt x="1576387" y="23908"/>
                  </a:lnTo>
                  <a:lnTo>
                    <a:pt x="1570958" y="29337"/>
                  </a:lnTo>
                  <a:lnTo>
                    <a:pt x="1571530" y="29909"/>
                  </a:lnTo>
                  <a:cubicBezTo>
                    <a:pt x="1571530" y="33338"/>
                    <a:pt x="1568767" y="36101"/>
                    <a:pt x="1565338" y="36101"/>
                  </a:cubicBezTo>
                  <a:lnTo>
                    <a:pt x="1565290" y="36053"/>
                  </a:lnTo>
                  <a:lnTo>
                    <a:pt x="1559813" y="41530"/>
                  </a:lnTo>
                  <a:lnTo>
                    <a:pt x="1559527" y="41244"/>
                  </a:lnTo>
                  <a:lnTo>
                    <a:pt x="1553622" y="47150"/>
                  </a:lnTo>
                  <a:cubicBezTo>
                    <a:pt x="1550193" y="47150"/>
                    <a:pt x="1547431" y="44387"/>
                    <a:pt x="1547431" y="40958"/>
                  </a:cubicBezTo>
                  <a:cubicBezTo>
                    <a:pt x="1547431" y="37529"/>
                    <a:pt x="1550193" y="34767"/>
                    <a:pt x="1553622" y="34767"/>
                  </a:cubicBezTo>
                  <a:lnTo>
                    <a:pt x="1553908" y="35053"/>
                  </a:lnTo>
                  <a:lnTo>
                    <a:pt x="1559813" y="29147"/>
                  </a:lnTo>
                  <a:lnTo>
                    <a:pt x="1559861" y="29195"/>
                  </a:lnTo>
                  <a:lnTo>
                    <a:pt x="1564576" y="24480"/>
                  </a:lnTo>
                  <a:lnTo>
                    <a:pt x="1564004" y="23908"/>
                  </a:lnTo>
                  <a:lnTo>
                    <a:pt x="1569910" y="18002"/>
                  </a:lnTo>
                  <a:lnTo>
                    <a:pt x="1568386" y="16478"/>
                  </a:lnTo>
                  <a:cubicBezTo>
                    <a:pt x="1568386" y="13049"/>
                    <a:pt x="1571148" y="10287"/>
                    <a:pt x="1574577" y="10287"/>
                  </a:cubicBezTo>
                  <a:close/>
                  <a:moveTo>
                    <a:pt x="1500283" y="9811"/>
                  </a:moveTo>
                  <a:cubicBezTo>
                    <a:pt x="1501426" y="9811"/>
                    <a:pt x="1502378" y="10764"/>
                    <a:pt x="1502378" y="11907"/>
                  </a:cubicBezTo>
                  <a:cubicBezTo>
                    <a:pt x="1502378" y="13050"/>
                    <a:pt x="1501426" y="14002"/>
                    <a:pt x="1500283" y="14002"/>
                  </a:cubicBezTo>
                  <a:cubicBezTo>
                    <a:pt x="1499140" y="14002"/>
                    <a:pt x="1498187" y="13050"/>
                    <a:pt x="1498187" y="11907"/>
                  </a:cubicBezTo>
                  <a:cubicBezTo>
                    <a:pt x="1498187" y="10764"/>
                    <a:pt x="1499140" y="9811"/>
                    <a:pt x="1500283" y="9811"/>
                  </a:cubicBezTo>
                  <a:close/>
                  <a:moveTo>
                    <a:pt x="1516665" y="9525"/>
                  </a:moveTo>
                  <a:cubicBezTo>
                    <a:pt x="1520094" y="9525"/>
                    <a:pt x="1522857" y="12287"/>
                    <a:pt x="1522857" y="15716"/>
                  </a:cubicBezTo>
                  <a:cubicBezTo>
                    <a:pt x="1522857" y="19145"/>
                    <a:pt x="1520094" y="21908"/>
                    <a:pt x="1516665" y="21908"/>
                  </a:cubicBezTo>
                  <a:cubicBezTo>
                    <a:pt x="1513236" y="21908"/>
                    <a:pt x="1510474" y="19145"/>
                    <a:pt x="1510474" y="15716"/>
                  </a:cubicBezTo>
                  <a:cubicBezTo>
                    <a:pt x="1510474" y="12287"/>
                    <a:pt x="1513236" y="9525"/>
                    <a:pt x="1516665" y="9525"/>
                  </a:cubicBezTo>
                  <a:close/>
                  <a:moveTo>
                    <a:pt x="1738598" y="9430"/>
                  </a:moveTo>
                  <a:cubicBezTo>
                    <a:pt x="1742027" y="9430"/>
                    <a:pt x="1744789" y="12192"/>
                    <a:pt x="1744789" y="15621"/>
                  </a:cubicBezTo>
                  <a:lnTo>
                    <a:pt x="1742837" y="17574"/>
                  </a:lnTo>
                  <a:lnTo>
                    <a:pt x="1748218" y="22955"/>
                  </a:lnTo>
                  <a:lnTo>
                    <a:pt x="1747218" y="23955"/>
                  </a:lnTo>
                  <a:lnTo>
                    <a:pt x="1752124" y="28861"/>
                  </a:lnTo>
                  <a:lnTo>
                    <a:pt x="1751695" y="29291"/>
                  </a:lnTo>
                  <a:lnTo>
                    <a:pt x="1756505" y="34100"/>
                  </a:lnTo>
                  <a:lnTo>
                    <a:pt x="1756172" y="34434"/>
                  </a:lnTo>
                  <a:lnTo>
                    <a:pt x="1761363" y="39624"/>
                  </a:lnTo>
                  <a:lnTo>
                    <a:pt x="1760648" y="40339"/>
                  </a:lnTo>
                  <a:lnTo>
                    <a:pt x="1766792" y="46482"/>
                  </a:lnTo>
                  <a:cubicBezTo>
                    <a:pt x="1766792" y="49911"/>
                    <a:pt x="1764029" y="52674"/>
                    <a:pt x="1760600" y="52674"/>
                  </a:cubicBezTo>
                  <a:cubicBezTo>
                    <a:pt x="1757171" y="52674"/>
                    <a:pt x="1754409" y="49911"/>
                    <a:pt x="1754409" y="46482"/>
                  </a:cubicBezTo>
                  <a:lnTo>
                    <a:pt x="1755123" y="45768"/>
                  </a:lnTo>
                  <a:lnTo>
                    <a:pt x="1748980" y="39624"/>
                  </a:lnTo>
                  <a:lnTo>
                    <a:pt x="1749313" y="39291"/>
                  </a:lnTo>
                  <a:lnTo>
                    <a:pt x="1744122" y="34100"/>
                  </a:lnTo>
                  <a:lnTo>
                    <a:pt x="1744551" y="33672"/>
                  </a:lnTo>
                  <a:lnTo>
                    <a:pt x="1739741" y="28861"/>
                  </a:lnTo>
                  <a:lnTo>
                    <a:pt x="1740741" y="27861"/>
                  </a:lnTo>
                  <a:lnTo>
                    <a:pt x="1735836" y="22955"/>
                  </a:lnTo>
                  <a:lnTo>
                    <a:pt x="1737788" y="21003"/>
                  </a:lnTo>
                  <a:lnTo>
                    <a:pt x="1732407" y="15621"/>
                  </a:lnTo>
                  <a:cubicBezTo>
                    <a:pt x="1732407" y="12192"/>
                    <a:pt x="1735169" y="9430"/>
                    <a:pt x="1738598" y="9430"/>
                  </a:cubicBezTo>
                  <a:close/>
                  <a:moveTo>
                    <a:pt x="1852612" y="9144"/>
                  </a:moveTo>
                  <a:cubicBezTo>
                    <a:pt x="1855184" y="9144"/>
                    <a:pt x="1857280" y="11239"/>
                    <a:pt x="1857280" y="13811"/>
                  </a:cubicBezTo>
                  <a:cubicBezTo>
                    <a:pt x="1857280" y="16383"/>
                    <a:pt x="1855184" y="18479"/>
                    <a:pt x="1852612" y="18479"/>
                  </a:cubicBezTo>
                  <a:cubicBezTo>
                    <a:pt x="1850041" y="18479"/>
                    <a:pt x="1847945" y="16383"/>
                    <a:pt x="1847945" y="13811"/>
                  </a:cubicBezTo>
                  <a:cubicBezTo>
                    <a:pt x="1847945" y="11239"/>
                    <a:pt x="1850041" y="9144"/>
                    <a:pt x="1852612" y="9144"/>
                  </a:cubicBezTo>
                  <a:close/>
                  <a:moveTo>
                    <a:pt x="1615535" y="8668"/>
                  </a:moveTo>
                  <a:cubicBezTo>
                    <a:pt x="1618964" y="8668"/>
                    <a:pt x="1621726" y="11430"/>
                    <a:pt x="1621726" y="14859"/>
                  </a:cubicBezTo>
                  <a:lnTo>
                    <a:pt x="1616916" y="19670"/>
                  </a:lnTo>
                  <a:lnTo>
                    <a:pt x="1619344" y="22098"/>
                  </a:lnTo>
                  <a:lnTo>
                    <a:pt x="1615059" y="26384"/>
                  </a:lnTo>
                  <a:lnTo>
                    <a:pt x="1616583" y="27908"/>
                  </a:lnTo>
                  <a:lnTo>
                    <a:pt x="1612487" y="32005"/>
                  </a:lnTo>
                  <a:lnTo>
                    <a:pt x="1613534" y="33052"/>
                  </a:lnTo>
                  <a:lnTo>
                    <a:pt x="1609105" y="37481"/>
                  </a:lnTo>
                  <a:lnTo>
                    <a:pt x="1610105" y="38481"/>
                  </a:lnTo>
                  <a:lnTo>
                    <a:pt x="1604819" y="43767"/>
                  </a:lnTo>
                  <a:lnTo>
                    <a:pt x="1606296" y="45244"/>
                  </a:lnTo>
                  <a:cubicBezTo>
                    <a:pt x="1606296" y="48673"/>
                    <a:pt x="1603533" y="51435"/>
                    <a:pt x="1600104" y="51435"/>
                  </a:cubicBezTo>
                  <a:cubicBezTo>
                    <a:pt x="1596675" y="51435"/>
                    <a:pt x="1593913" y="48673"/>
                    <a:pt x="1593913" y="45244"/>
                  </a:cubicBezTo>
                  <a:lnTo>
                    <a:pt x="1599200" y="39958"/>
                  </a:lnTo>
                  <a:lnTo>
                    <a:pt x="1597723" y="38481"/>
                  </a:lnTo>
                  <a:lnTo>
                    <a:pt x="1602152" y="34052"/>
                  </a:lnTo>
                  <a:lnTo>
                    <a:pt x="1601152" y="33052"/>
                  </a:lnTo>
                  <a:lnTo>
                    <a:pt x="1605248" y="28956"/>
                  </a:lnTo>
                  <a:lnTo>
                    <a:pt x="1604200" y="27908"/>
                  </a:lnTo>
                  <a:lnTo>
                    <a:pt x="1608486" y="23622"/>
                  </a:lnTo>
                  <a:lnTo>
                    <a:pt x="1606962" y="22098"/>
                  </a:lnTo>
                  <a:lnTo>
                    <a:pt x="1611772" y="17288"/>
                  </a:lnTo>
                  <a:lnTo>
                    <a:pt x="1609344" y="14859"/>
                  </a:lnTo>
                  <a:cubicBezTo>
                    <a:pt x="1609344" y="11430"/>
                    <a:pt x="1612106" y="8668"/>
                    <a:pt x="1615535" y="8668"/>
                  </a:cubicBezTo>
                  <a:close/>
                  <a:moveTo>
                    <a:pt x="1796986" y="8192"/>
                  </a:moveTo>
                  <a:cubicBezTo>
                    <a:pt x="1800415" y="8192"/>
                    <a:pt x="1803178" y="10954"/>
                    <a:pt x="1803178" y="14383"/>
                  </a:cubicBezTo>
                  <a:cubicBezTo>
                    <a:pt x="1803178" y="17812"/>
                    <a:pt x="1800415" y="20575"/>
                    <a:pt x="1796986" y="20575"/>
                  </a:cubicBezTo>
                  <a:cubicBezTo>
                    <a:pt x="1793557" y="20575"/>
                    <a:pt x="1790795" y="17812"/>
                    <a:pt x="1790795" y="14383"/>
                  </a:cubicBezTo>
                  <a:cubicBezTo>
                    <a:pt x="1790795" y="10954"/>
                    <a:pt x="1793557" y="8192"/>
                    <a:pt x="1796986" y="8192"/>
                  </a:cubicBezTo>
                  <a:close/>
                  <a:moveTo>
                    <a:pt x="1556575" y="6763"/>
                  </a:moveTo>
                  <a:cubicBezTo>
                    <a:pt x="1560004" y="6763"/>
                    <a:pt x="1562767" y="9525"/>
                    <a:pt x="1562767" y="12954"/>
                  </a:cubicBezTo>
                  <a:cubicBezTo>
                    <a:pt x="1562767" y="16383"/>
                    <a:pt x="1560004" y="19146"/>
                    <a:pt x="1556575" y="19146"/>
                  </a:cubicBezTo>
                  <a:cubicBezTo>
                    <a:pt x="1553146" y="19146"/>
                    <a:pt x="1550384" y="16383"/>
                    <a:pt x="1550384" y="12954"/>
                  </a:cubicBezTo>
                  <a:cubicBezTo>
                    <a:pt x="1550384" y="9525"/>
                    <a:pt x="1553146" y="6763"/>
                    <a:pt x="1556575" y="6763"/>
                  </a:cubicBezTo>
                  <a:close/>
                  <a:moveTo>
                    <a:pt x="1539240" y="6001"/>
                  </a:moveTo>
                  <a:cubicBezTo>
                    <a:pt x="1540859" y="6001"/>
                    <a:pt x="1542193" y="7334"/>
                    <a:pt x="1542193" y="8954"/>
                  </a:cubicBezTo>
                  <a:cubicBezTo>
                    <a:pt x="1542193" y="10573"/>
                    <a:pt x="1540859" y="11907"/>
                    <a:pt x="1539240" y="11907"/>
                  </a:cubicBezTo>
                  <a:cubicBezTo>
                    <a:pt x="1537620" y="11907"/>
                    <a:pt x="1536287" y="10573"/>
                    <a:pt x="1536287" y="8954"/>
                  </a:cubicBezTo>
                  <a:cubicBezTo>
                    <a:pt x="1536287" y="7334"/>
                    <a:pt x="1537620" y="6001"/>
                    <a:pt x="1539240" y="6001"/>
                  </a:cubicBezTo>
                  <a:close/>
                  <a:moveTo>
                    <a:pt x="1757076" y="5811"/>
                  </a:moveTo>
                  <a:cubicBezTo>
                    <a:pt x="1760505" y="5811"/>
                    <a:pt x="1763267" y="8573"/>
                    <a:pt x="1763267" y="12002"/>
                  </a:cubicBezTo>
                  <a:cubicBezTo>
                    <a:pt x="1763267" y="15431"/>
                    <a:pt x="1760505" y="18194"/>
                    <a:pt x="1757076" y="18194"/>
                  </a:cubicBezTo>
                  <a:cubicBezTo>
                    <a:pt x="1753647" y="18194"/>
                    <a:pt x="1750885" y="15431"/>
                    <a:pt x="1750885" y="12002"/>
                  </a:cubicBezTo>
                  <a:cubicBezTo>
                    <a:pt x="1750885" y="8573"/>
                    <a:pt x="1753647" y="5811"/>
                    <a:pt x="1757076" y="5811"/>
                  </a:cubicBezTo>
                  <a:close/>
                  <a:moveTo>
                    <a:pt x="1813845" y="5525"/>
                  </a:moveTo>
                  <a:cubicBezTo>
                    <a:pt x="1816512" y="5525"/>
                    <a:pt x="1818703" y="7716"/>
                    <a:pt x="1818703" y="10383"/>
                  </a:cubicBezTo>
                  <a:cubicBezTo>
                    <a:pt x="1818703" y="13050"/>
                    <a:pt x="1816512" y="15241"/>
                    <a:pt x="1813845" y="15241"/>
                  </a:cubicBezTo>
                  <a:cubicBezTo>
                    <a:pt x="1811178" y="15241"/>
                    <a:pt x="1808987" y="13050"/>
                    <a:pt x="1808987" y="10383"/>
                  </a:cubicBezTo>
                  <a:cubicBezTo>
                    <a:pt x="1808987" y="7716"/>
                    <a:pt x="1811178" y="5525"/>
                    <a:pt x="1813845" y="5525"/>
                  </a:cubicBezTo>
                  <a:close/>
                  <a:moveTo>
                    <a:pt x="1596580" y="4858"/>
                  </a:moveTo>
                  <a:cubicBezTo>
                    <a:pt x="1600009" y="4858"/>
                    <a:pt x="1602772" y="7620"/>
                    <a:pt x="1602772" y="11049"/>
                  </a:cubicBezTo>
                  <a:lnTo>
                    <a:pt x="1596961" y="16860"/>
                  </a:lnTo>
                  <a:lnTo>
                    <a:pt x="1599532" y="19431"/>
                  </a:lnTo>
                  <a:lnTo>
                    <a:pt x="1594485" y="24479"/>
                  </a:lnTo>
                  <a:lnTo>
                    <a:pt x="1596009" y="26003"/>
                  </a:lnTo>
                  <a:lnTo>
                    <a:pt x="1591246" y="30766"/>
                  </a:lnTo>
                  <a:lnTo>
                    <a:pt x="1591913" y="31433"/>
                  </a:lnTo>
                  <a:lnTo>
                    <a:pt x="1587056" y="36290"/>
                  </a:lnTo>
                  <a:lnTo>
                    <a:pt x="1587437" y="36671"/>
                  </a:lnTo>
                  <a:lnTo>
                    <a:pt x="1581864" y="42243"/>
                  </a:lnTo>
                  <a:lnTo>
                    <a:pt x="1582388" y="42767"/>
                  </a:lnTo>
                  <a:cubicBezTo>
                    <a:pt x="1582388" y="46196"/>
                    <a:pt x="1579625" y="48959"/>
                    <a:pt x="1576196" y="48959"/>
                  </a:cubicBezTo>
                  <a:cubicBezTo>
                    <a:pt x="1572767" y="48959"/>
                    <a:pt x="1570005" y="46196"/>
                    <a:pt x="1570005" y="42767"/>
                  </a:cubicBezTo>
                  <a:lnTo>
                    <a:pt x="1575578" y="37195"/>
                  </a:lnTo>
                  <a:lnTo>
                    <a:pt x="1575054" y="36671"/>
                  </a:lnTo>
                  <a:lnTo>
                    <a:pt x="1579911" y="31814"/>
                  </a:lnTo>
                  <a:lnTo>
                    <a:pt x="1579530" y="31433"/>
                  </a:lnTo>
                  <a:lnTo>
                    <a:pt x="1584293" y="26670"/>
                  </a:lnTo>
                  <a:lnTo>
                    <a:pt x="1583626" y="26003"/>
                  </a:lnTo>
                  <a:lnTo>
                    <a:pt x="1588674" y="20955"/>
                  </a:lnTo>
                  <a:lnTo>
                    <a:pt x="1587150" y="19431"/>
                  </a:lnTo>
                  <a:lnTo>
                    <a:pt x="1592960" y="13621"/>
                  </a:lnTo>
                  <a:lnTo>
                    <a:pt x="1590389" y="11049"/>
                  </a:lnTo>
                  <a:cubicBezTo>
                    <a:pt x="1590389" y="7620"/>
                    <a:pt x="1593151" y="4858"/>
                    <a:pt x="1596580" y="4858"/>
                  </a:cubicBezTo>
                  <a:close/>
                  <a:moveTo>
                    <a:pt x="1716976" y="4286"/>
                  </a:moveTo>
                  <a:cubicBezTo>
                    <a:pt x="1720405" y="4286"/>
                    <a:pt x="1723168" y="7048"/>
                    <a:pt x="1723168" y="10477"/>
                  </a:cubicBezTo>
                  <a:lnTo>
                    <a:pt x="1720167" y="13478"/>
                  </a:lnTo>
                  <a:lnTo>
                    <a:pt x="1725453" y="18764"/>
                  </a:lnTo>
                  <a:lnTo>
                    <a:pt x="1723548" y="20669"/>
                  </a:lnTo>
                  <a:lnTo>
                    <a:pt x="1728120" y="25241"/>
                  </a:lnTo>
                  <a:lnTo>
                    <a:pt x="1726930" y="26432"/>
                  </a:lnTo>
                  <a:lnTo>
                    <a:pt x="1731074" y="30575"/>
                  </a:lnTo>
                  <a:lnTo>
                    <a:pt x="1730168" y="31481"/>
                  </a:lnTo>
                  <a:lnTo>
                    <a:pt x="1734407" y="35719"/>
                  </a:lnTo>
                  <a:lnTo>
                    <a:pt x="1733312" y="36815"/>
                  </a:lnTo>
                  <a:lnTo>
                    <a:pt x="1738122" y="41624"/>
                  </a:lnTo>
                  <a:lnTo>
                    <a:pt x="1736217" y="43530"/>
                  </a:lnTo>
                  <a:lnTo>
                    <a:pt x="1742218" y="49530"/>
                  </a:lnTo>
                  <a:cubicBezTo>
                    <a:pt x="1742218" y="52959"/>
                    <a:pt x="1739455" y="55722"/>
                    <a:pt x="1736026" y="55722"/>
                  </a:cubicBezTo>
                  <a:cubicBezTo>
                    <a:pt x="1732597" y="55722"/>
                    <a:pt x="1729835" y="52959"/>
                    <a:pt x="1729835" y="49530"/>
                  </a:cubicBezTo>
                  <a:lnTo>
                    <a:pt x="1731740" y="47626"/>
                  </a:lnTo>
                  <a:lnTo>
                    <a:pt x="1725739" y="41624"/>
                  </a:lnTo>
                  <a:lnTo>
                    <a:pt x="1726834" y="40530"/>
                  </a:lnTo>
                  <a:lnTo>
                    <a:pt x="1722024" y="35719"/>
                  </a:lnTo>
                  <a:lnTo>
                    <a:pt x="1722929" y="34814"/>
                  </a:lnTo>
                  <a:lnTo>
                    <a:pt x="1718691" y="30575"/>
                  </a:lnTo>
                  <a:lnTo>
                    <a:pt x="1719881" y="29385"/>
                  </a:lnTo>
                  <a:lnTo>
                    <a:pt x="1715738" y="25241"/>
                  </a:lnTo>
                  <a:lnTo>
                    <a:pt x="1717643" y="23336"/>
                  </a:lnTo>
                  <a:lnTo>
                    <a:pt x="1713071" y="18764"/>
                  </a:lnTo>
                  <a:lnTo>
                    <a:pt x="1716071" y="15764"/>
                  </a:lnTo>
                  <a:lnTo>
                    <a:pt x="1710785" y="10477"/>
                  </a:lnTo>
                  <a:cubicBezTo>
                    <a:pt x="1710785" y="7048"/>
                    <a:pt x="1713547" y="4286"/>
                    <a:pt x="1716976" y="4286"/>
                  </a:cubicBezTo>
                  <a:close/>
                  <a:moveTo>
                    <a:pt x="1636680" y="3810"/>
                  </a:moveTo>
                  <a:cubicBezTo>
                    <a:pt x="1640109" y="3810"/>
                    <a:pt x="1642872" y="6572"/>
                    <a:pt x="1642872" y="10001"/>
                  </a:cubicBezTo>
                  <a:lnTo>
                    <a:pt x="1638061" y="14812"/>
                  </a:lnTo>
                  <a:lnTo>
                    <a:pt x="1641538" y="18288"/>
                  </a:lnTo>
                  <a:lnTo>
                    <a:pt x="1637585" y="22241"/>
                  </a:lnTo>
                  <a:lnTo>
                    <a:pt x="1640014" y="24670"/>
                  </a:lnTo>
                  <a:lnTo>
                    <a:pt x="1636538" y="28147"/>
                  </a:lnTo>
                  <a:lnTo>
                    <a:pt x="1638300" y="29909"/>
                  </a:lnTo>
                  <a:lnTo>
                    <a:pt x="1634823" y="33386"/>
                  </a:lnTo>
                  <a:lnTo>
                    <a:pt x="1636395" y="34957"/>
                  </a:lnTo>
                  <a:lnTo>
                    <a:pt x="1632347" y="39005"/>
                  </a:lnTo>
                  <a:lnTo>
                    <a:pt x="1634204" y="40862"/>
                  </a:lnTo>
                  <a:lnTo>
                    <a:pt x="1629107" y="45958"/>
                  </a:lnTo>
                  <a:lnTo>
                    <a:pt x="1631823" y="48673"/>
                  </a:lnTo>
                  <a:cubicBezTo>
                    <a:pt x="1631823" y="52102"/>
                    <a:pt x="1629060" y="54865"/>
                    <a:pt x="1625631" y="54865"/>
                  </a:cubicBezTo>
                  <a:cubicBezTo>
                    <a:pt x="1622202" y="54865"/>
                    <a:pt x="1619440" y="52102"/>
                    <a:pt x="1619440" y="48673"/>
                  </a:cubicBezTo>
                  <a:lnTo>
                    <a:pt x="1624536" y="43577"/>
                  </a:lnTo>
                  <a:lnTo>
                    <a:pt x="1621821" y="40862"/>
                  </a:lnTo>
                  <a:lnTo>
                    <a:pt x="1625869" y="36814"/>
                  </a:lnTo>
                  <a:lnTo>
                    <a:pt x="1624012" y="34957"/>
                  </a:lnTo>
                  <a:lnTo>
                    <a:pt x="1627488" y="31481"/>
                  </a:lnTo>
                  <a:lnTo>
                    <a:pt x="1625917" y="29909"/>
                  </a:lnTo>
                  <a:lnTo>
                    <a:pt x="1629394" y="26432"/>
                  </a:lnTo>
                  <a:lnTo>
                    <a:pt x="1627632" y="24670"/>
                  </a:lnTo>
                  <a:lnTo>
                    <a:pt x="1631584" y="20718"/>
                  </a:lnTo>
                  <a:lnTo>
                    <a:pt x="1629155" y="18288"/>
                  </a:lnTo>
                  <a:lnTo>
                    <a:pt x="1633965" y="13478"/>
                  </a:lnTo>
                  <a:lnTo>
                    <a:pt x="1630489" y="10001"/>
                  </a:lnTo>
                  <a:cubicBezTo>
                    <a:pt x="1630489" y="6572"/>
                    <a:pt x="1633251" y="3810"/>
                    <a:pt x="1636680" y="3810"/>
                  </a:cubicBezTo>
                  <a:close/>
                  <a:moveTo>
                    <a:pt x="1676875" y="3620"/>
                  </a:moveTo>
                  <a:cubicBezTo>
                    <a:pt x="1680304" y="3620"/>
                    <a:pt x="1683067" y="6382"/>
                    <a:pt x="1683067" y="9811"/>
                  </a:cubicBezTo>
                  <a:lnTo>
                    <a:pt x="1679210" y="13668"/>
                  </a:lnTo>
                  <a:lnTo>
                    <a:pt x="1683544" y="18002"/>
                  </a:lnTo>
                  <a:lnTo>
                    <a:pt x="1680638" y="20908"/>
                  </a:lnTo>
                  <a:lnTo>
                    <a:pt x="1684115" y="24384"/>
                  </a:lnTo>
                  <a:lnTo>
                    <a:pt x="1681781" y="26718"/>
                  </a:lnTo>
                  <a:lnTo>
                    <a:pt x="1684686" y="29623"/>
                  </a:lnTo>
                  <a:lnTo>
                    <a:pt x="1682543" y="31766"/>
                  </a:lnTo>
                  <a:lnTo>
                    <a:pt x="1685449" y="34671"/>
                  </a:lnTo>
                  <a:lnTo>
                    <a:pt x="1682925" y="37195"/>
                  </a:lnTo>
                  <a:lnTo>
                    <a:pt x="1686211" y="40481"/>
                  </a:lnTo>
                  <a:lnTo>
                    <a:pt x="1682781" y="43911"/>
                  </a:lnTo>
                  <a:lnTo>
                    <a:pt x="1687067" y="48197"/>
                  </a:lnTo>
                  <a:lnTo>
                    <a:pt x="1682019" y="53245"/>
                  </a:lnTo>
                  <a:lnTo>
                    <a:pt x="1688020" y="59245"/>
                  </a:lnTo>
                  <a:cubicBezTo>
                    <a:pt x="1688020" y="62674"/>
                    <a:pt x="1685257" y="65437"/>
                    <a:pt x="1681828" y="65437"/>
                  </a:cubicBezTo>
                  <a:cubicBezTo>
                    <a:pt x="1678399" y="65437"/>
                    <a:pt x="1675637" y="62674"/>
                    <a:pt x="1675637" y="59245"/>
                  </a:cubicBezTo>
                  <a:lnTo>
                    <a:pt x="1680685" y="54197"/>
                  </a:lnTo>
                  <a:lnTo>
                    <a:pt x="1674685" y="48197"/>
                  </a:lnTo>
                  <a:lnTo>
                    <a:pt x="1678114" y="44768"/>
                  </a:lnTo>
                  <a:lnTo>
                    <a:pt x="1673828" y="40481"/>
                  </a:lnTo>
                  <a:lnTo>
                    <a:pt x="1676352" y="37957"/>
                  </a:lnTo>
                  <a:lnTo>
                    <a:pt x="1673066" y="34671"/>
                  </a:lnTo>
                  <a:lnTo>
                    <a:pt x="1675209" y="32528"/>
                  </a:lnTo>
                  <a:lnTo>
                    <a:pt x="1672304" y="29623"/>
                  </a:lnTo>
                  <a:lnTo>
                    <a:pt x="1674637" y="27290"/>
                  </a:lnTo>
                  <a:lnTo>
                    <a:pt x="1671732" y="24384"/>
                  </a:lnTo>
                  <a:lnTo>
                    <a:pt x="1674637" y="21479"/>
                  </a:lnTo>
                  <a:lnTo>
                    <a:pt x="1671161" y="18002"/>
                  </a:lnTo>
                  <a:lnTo>
                    <a:pt x="1675018" y="14145"/>
                  </a:lnTo>
                  <a:lnTo>
                    <a:pt x="1670684" y="9811"/>
                  </a:lnTo>
                  <a:cubicBezTo>
                    <a:pt x="1670684" y="6382"/>
                    <a:pt x="1673446" y="3620"/>
                    <a:pt x="1676875" y="3620"/>
                  </a:cubicBezTo>
                  <a:close/>
                  <a:moveTo>
                    <a:pt x="1578388" y="3143"/>
                  </a:moveTo>
                  <a:cubicBezTo>
                    <a:pt x="1580388" y="3143"/>
                    <a:pt x="1582007" y="4762"/>
                    <a:pt x="1582007" y="6763"/>
                  </a:cubicBezTo>
                  <a:cubicBezTo>
                    <a:pt x="1582007" y="8763"/>
                    <a:pt x="1580388" y="10382"/>
                    <a:pt x="1578388" y="10382"/>
                  </a:cubicBezTo>
                  <a:cubicBezTo>
                    <a:pt x="1576387" y="10382"/>
                    <a:pt x="1574768" y="8763"/>
                    <a:pt x="1574768" y="6763"/>
                  </a:cubicBezTo>
                  <a:cubicBezTo>
                    <a:pt x="1574768" y="4762"/>
                    <a:pt x="1576387" y="3143"/>
                    <a:pt x="1578388" y="3143"/>
                  </a:cubicBezTo>
                  <a:close/>
                  <a:moveTo>
                    <a:pt x="1774793" y="2953"/>
                  </a:moveTo>
                  <a:cubicBezTo>
                    <a:pt x="1777460" y="2953"/>
                    <a:pt x="1779650" y="5144"/>
                    <a:pt x="1779650" y="7811"/>
                  </a:cubicBezTo>
                  <a:cubicBezTo>
                    <a:pt x="1779650" y="10478"/>
                    <a:pt x="1777460" y="12669"/>
                    <a:pt x="1774793" y="12669"/>
                  </a:cubicBezTo>
                  <a:cubicBezTo>
                    <a:pt x="1772126" y="12669"/>
                    <a:pt x="1769935" y="10478"/>
                    <a:pt x="1769935" y="7811"/>
                  </a:cubicBezTo>
                  <a:cubicBezTo>
                    <a:pt x="1769935" y="5144"/>
                    <a:pt x="1772126" y="2953"/>
                    <a:pt x="1774793" y="2953"/>
                  </a:cubicBezTo>
                  <a:close/>
                  <a:moveTo>
                    <a:pt x="1735550" y="1143"/>
                  </a:moveTo>
                  <a:cubicBezTo>
                    <a:pt x="1738217" y="1143"/>
                    <a:pt x="1740408" y="3334"/>
                    <a:pt x="1740408" y="6001"/>
                  </a:cubicBezTo>
                  <a:cubicBezTo>
                    <a:pt x="1740408" y="8668"/>
                    <a:pt x="1738217" y="10859"/>
                    <a:pt x="1735550" y="10859"/>
                  </a:cubicBezTo>
                  <a:cubicBezTo>
                    <a:pt x="1732883" y="10859"/>
                    <a:pt x="1730692" y="8668"/>
                    <a:pt x="1730692" y="6001"/>
                  </a:cubicBezTo>
                  <a:cubicBezTo>
                    <a:pt x="1730692" y="3334"/>
                    <a:pt x="1732883" y="1143"/>
                    <a:pt x="1735550" y="1143"/>
                  </a:cubicBezTo>
                  <a:close/>
                  <a:moveTo>
                    <a:pt x="1617630" y="1143"/>
                  </a:moveTo>
                  <a:cubicBezTo>
                    <a:pt x="1619998" y="1143"/>
                    <a:pt x="1621916" y="3062"/>
                    <a:pt x="1621916" y="5429"/>
                  </a:cubicBezTo>
                  <a:cubicBezTo>
                    <a:pt x="1621916" y="7796"/>
                    <a:pt x="1619997" y="9716"/>
                    <a:pt x="1617630" y="9716"/>
                  </a:cubicBezTo>
                  <a:cubicBezTo>
                    <a:pt x="1615263" y="9716"/>
                    <a:pt x="1613344" y="7796"/>
                    <a:pt x="1613344" y="5429"/>
                  </a:cubicBezTo>
                  <a:cubicBezTo>
                    <a:pt x="1613344" y="3062"/>
                    <a:pt x="1615263" y="1143"/>
                    <a:pt x="1617630" y="1143"/>
                  </a:cubicBezTo>
                  <a:close/>
                  <a:moveTo>
                    <a:pt x="1696307" y="96"/>
                  </a:moveTo>
                  <a:cubicBezTo>
                    <a:pt x="1698974" y="96"/>
                    <a:pt x="1701165" y="2287"/>
                    <a:pt x="1701165" y="4954"/>
                  </a:cubicBezTo>
                  <a:lnTo>
                    <a:pt x="1697736" y="8383"/>
                  </a:lnTo>
                  <a:lnTo>
                    <a:pt x="1703832" y="14478"/>
                  </a:lnTo>
                  <a:lnTo>
                    <a:pt x="1700974" y="17336"/>
                  </a:lnTo>
                  <a:lnTo>
                    <a:pt x="1705261" y="21622"/>
                  </a:lnTo>
                  <a:lnTo>
                    <a:pt x="1703213" y="23670"/>
                  </a:lnTo>
                  <a:lnTo>
                    <a:pt x="1706975" y="27432"/>
                  </a:lnTo>
                  <a:lnTo>
                    <a:pt x="1705403" y="29004"/>
                  </a:lnTo>
                  <a:lnTo>
                    <a:pt x="1708880" y="32480"/>
                  </a:lnTo>
                  <a:lnTo>
                    <a:pt x="1707261" y="34099"/>
                  </a:lnTo>
                  <a:lnTo>
                    <a:pt x="1710976" y="37814"/>
                  </a:lnTo>
                  <a:lnTo>
                    <a:pt x="1708832" y="39958"/>
                  </a:lnTo>
                  <a:lnTo>
                    <a:pt x="1713357" y="44482"/>
                  </a:lnTo>
                  <a:lnTo>
                    <a:pt x="1710070" y="47768"/>
                  </a:lnTo>
                  <a:lnTo>
                    <a:pt x="1716024" y="53721"/>
                  </a:lnTo>
                  <a:cubicBezTo>
                    <a:pt x="1716024" y="57150"/>
                    <a:pt x="1713261" y="59913"/>
                    <a:pt x="1709832" y="59913"/>
                  </a:cubicBezTo>
                  <a:cubicBezTo>
                    <a:pt x="1706403" y="59913"/>
                    <a:pt x="1703641" y="57150"/>
                    <a:pt x="1703641" y="53721"/>
                  </a:cubicBezTo>
                  <a:lnTo>
                    <a:pt x="1706927" y="50435"/>
                  </a:lnTo>
                  <a:lnTo>
                    <a:pt x="1700974" y="44482"/>
                  </a:lnTo>
                  <a:lnTo>
                    <a:pt x="1703117" y="42339"/>
                  </a:lnTo>
                  <a:lnTo>
                    <a:pt x="1698593" y="37814"/>
                  </a:lnTo>
                  <a:lnTo>
                    <a:pt x="1700212" y="36195"/>
                  </a:lnTo>
                  <a:lnTo>
                    <a:pt x="1696497" y="32480"/>
                  </a:lnTo>
                  <a:lnTo>
                    <a:pt x="1698068" y="30909"/>
                  </a:lnTo>
                  <a:lnTo>
                    <a:pt x="1694592" y="27432"/>
                  </a:lnTo>
                  <a:lnTo>
                    <a:pt x="1696640" y="25384"/>
                  </a:lnTo>
                  <a:lnTo>
                    <a:pt x="1692878" y="21622"/>
                  </a:lnTo>
                  <a:lnTo>
                    <a:pt x="1695735" y="18765"/>
                  </a:lnTo>
                  <a:lnTo>
                    <a:pt x="1691449" y="14478"/>
                  </a:lnTo>
                  <a:lnTo>
                    <a:pt x="1696211" y="9716"/>
                  </a:lnTo>
                  <a:lnTo>
                    <a:pt x="1691449" y="4954"/>
                  </a:lnTo>
                  <a:cubicBezTo>
                    <a:pt x="1691449" y="2287"/>
                    <a:pt x="1693640" y="96"/>
                    <a:pt x="1696307" y="96"/>
                  </a:cubicBezTo>
                  <a:close/>
                  <a:moveTo>
                    <a:pt x="1656969" y="0"/>
                  </a:moveTo>
                  <a:cubicBezTo>
                    <a:pt x="1659635" y="0"/>
                    <a:pt x="1661731" y="2096"/>
                    <a:pt x="1661731" y="4763"/>
                  </a:cubicBezTo>
                  <a:lnTo>
                    <a:pt x="1657540" y="8954"/>
                  </a:lnTo>
                  <a:lnTo>
                    <a:pt x="1662779" y="14192"/>
                  </a:lnTo>
                  <a:lnTo>
                    <a:pt x="1658969" y="18002"/>
                  </a:lnTo>
                  <a:lnTo>
                    <a:pt x="1662303" y="21336"/>
                  </a:lnTo>
                  <a:lnTo>
                    <a:pt x="1659160" y="24479"/>
                  </a:lnTo>
                  <a:lnTo>
                    <a:pt x="1661732" y="27051"/>
                  </a:lnTo>
                  <a:lnTo>
                    <a:pt x="1658922" y="29862"/>
                  </a:lnTo>
                  <a:lnTo>
                    <a:pt x="1661159" y="32099"/>
                  </a:lnTo>
                  <a:lnTo>
                    <a:pt x="1658207" y="35052"/>
                  </a:lnTo>
                  <a:lnTo>
                    <a:pt x="1660588" y="37433"/>
                  </a:lnTo>
                  <a:lnTo>
                    <a:pt x="1656921" y="41101"/>
                  </a:lnTo>
                  <a:lnTo>
                    <a:pt x="1659826" y="44006"/>
                  </a:lnTo>
                  <a:lnTo>
                    <a:pt x="1654826" y="49007"/>
                  </a:lnTo>
                  <a:lnTo>
                    <a:pt x="1659064" y="53245"/>
                  </a:lnTo>
                  <a:cubicBezTo>
                    <a:pt x="1659064" y="56674"/>
                    <a:pt x="1656302" y="59437"/>
                    <a:pt x="1652873" y="59437"/>
                  </a:cubicBezTo>
                  <a:cubicBezTo>
                    <a:pt x="1649444" y="59437"/>
                    <a:pt x="1646682" y="56674"/>
                    <a:pt x="1646682" y="53245"/>
                  </a:cubicBezTo>
                  <a:lnTo>
                    <a:pt x="1651682" y="48245"/>
                  </a:lnTo>
                  <a:lnTo>
                    <a:pt x="1647444" y="44006"/>
                  </a:lnTo>
                  <a:lnTo>
                    <a:pt x="1651111" y="40339"/>
                  </a:lnTo>
                  <a:lnTo>
                    <a:pt x="1648205" y="37433"/>
                  </a:lnTo>
                  <a:lnTo>
                    <a:pt x="1651158" y="34480"/>
                  </a:lnTo>
                  <a:lnTo>
                    <a:pt x="1648777" y="32099"/>
                  </a:lnTo>
                  <a:lnTo>
                    <a:pt x="1651587" y="29289"/>
                  </a:lnTo>
                  <a:lnTo>
                    <a:pt x="1649349" y="27051"/>
                  </a:lnTo>
                  <a:lnTo>
                    <a:pt x="1652492" y="23908"/>
                  </a:lnTo>
                  <a:lnTo>
                    <a:pt x="1649920" y="21336"/>
                  </a:lnTo>
                  <a:lnTo>
                    <a:pt x="1653730" y="17526"/>
                  </a:lnTo>
                  <a:lnTo>
                    <a:pt x="1650396" y="14192"/>
                  </a:lnTo>
                  <a:lnTo>
                    <a:pt x="1656016" y="8572"/>
                  </a:lnTo>
                  <a:lnTo>
                    <a:pt x="1652206" y="4763"/>
                  </a:lnTo>
                  <a:cubicBezTo>
                    <a:pt x="1652206" y="2096"/>
                    <a:pt x="1654301" y="0"/>
                    <a:pt x="1656969" y="0"/>
                  </a:cubicBezTo>
                  <a:close/>
                </a:path>
              </a:pathLst>
            </a:custGeom>
            <a:gradFill flip="none" rotWithShape="1">
              <a:gsLst>
                <a:gs pos="0">
                  <a:schemeClr val="bg2"/>
                </a:gs>
                <a:gs pos="64000">
                  <a:schemeClr val="accent1">
                    <a:lumMod val="50000"/>
                  </a:schemeClr>
                </a:gs>
                <a:gs pos="84000">
                  <a:schemeClr val="bg2">
                    <a:lumMod val="75000"/>
                  </a:schemeClr>
                </a:gs>
                <a:gs pos="100000">
                  <a:schemeClr val="accent1"/>
                </a:gs>
              </a:gsLst>
              <a:path path="circle">
                <a:fillToRect l="50000" t="50000" r="50000" b="50000"/>
              </a:path>
              <a:tileRect/>
            </a:gradFill>
            <a:ln w="9525" cap="flat">
              <a:noFill/>
              <a:prstDash val="solid"/>
              <a:miter/>
            </a:ln>
          </p:spPr>
          <p:txBody>
            <a:bodyPr wrap="square"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Segoe UI"/>
                <a:ea typeface="+mn-ea"/>
                <a:cs typeface="+mn-cs"/>
              </a:endParaRPr>
            </a:p>
          </p:txBody>
        </p:sp>
      </p:grpSp>
      <p:cxnSp>
        <p:nvCxnSpPr>
          <p:cNvPr id="72" name="Straight Connector 71">
            <a:extLst>
              <a:ext uri="{FF2B5EF4-FFF2-40B4-BE49-F238E27FC236}">
                <a16:creationId xmlns:a16="http://schemas.microsoft.com/office/drawing/2014/main" id="{74EC3BB0-6C9E-3582-2ECB-FC81D3825D45}"/>
              </a:ext>
            </a:extLst>
          </p:cNvPr>
          <p:cNvCxnSpPr>
            <a:cxnSpLocks/>
          </p:cNvCxnSpPr>
          <p:nvPr userDrawn="1"/>
        </p:nvCxnSpPr>
        <p:spPr>
          <a:xfrm>
            <a:off x="2505074" y="1083746"/>
            <a:ext cx="0" cy="510281"/>
          </a:xfrm>
          <a:prstGeom prst="line">
            <a:avLst/>
          </a:prstGeom>
          <a:ln w="635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74" name="Group 73">
            <a:extLst>
              <a:ext uri="{FF2B5EF4-FFF2-40B4-BE49-F238E27FC236}">
                <a16:creationId xmlns:a16="http://schemas.microsoft.com/office/drawing/2014/main" id="{97295D50-5FBC-11F0-4042-F7BE9EEE02F1}"/>
              </a:ext>
            </a:extLst>
          </p:cNvPr>
          <p:cNvGrpSpPr/>
          <p:nvPr userDrawn="1"/>
        </p:nvGrpSpPr>
        <p:grpSpPr>
          <a:xfrm>
            <a:off x="584200" y="480060"/>
            <a:ext cx="3626271" cy="510281"/>
            <a:chOff x="584200" y="480060"/>
            <a:chExt cx="3626271" cy="510281"/>
          </a:xfrm>
        </p:grpSpPr>
        <p:pic>
          <p:nvPicPr>
            <p:cNvPr id="75" name="MS logo white - EMF" descr="Microsoft logo white text version">
              <a:extLst>
                <a:ext uri="{FF2B5EF4-FFF2-40B4-BE49-F238E27FC236}">
                  <a16:creationId xmlns:a16="http://schemas.microsoft.com/office/drawing/2014/main" id="{9973403B-9DEE-68F6-0A36-1CA6C2B0B99C}"/>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cxnSp>
          <p:nvCxnSpPr>
            <p:cNvPr id="76" name="Straight Connector 75">
              <a:extLst>
                <a:ext uri="{FF2B5EF4-FFF2-40B4-BE49-F238E27FC236}">
                  <a16:creationId xmlns:a16="http://schemas.microsoft.com/office/drawing/2014/main" id="{4BC9CBAF-F52E-CE4E-EF56-61336AB387E8}"/>
                </a:ext>
              </a:extLst>
            </p:cNvPr>
            <p:cNvCxnSpPr>
              <a:cxnSpLocks/>
            </p:cNvCxnSpPr>
            <p:nvPr userDrawn="1"/>
          </p:nvCxnSpPr>
          <p:spPr>
            <a:xfrm>
              <a:off x="2246692" y="480060"/>
              <a:ext cx="0" cy="510281"/>
            </a:xfrm>
            <a:prstGeom prst="line">
              <a:avLst/>
            </a:prstGeom>
            <a:noFill/>
            <a:ln w="6350" cap="flat" cmpd="sng" algn="ctr">
              <a:solidFill>
                <a:srgbClr val="FFFFFF"/>
              </a:solidFill>
              <a:prstDash val="solid"/>
              <a:headEnd type="none" w="lg" len="med"/>
              <a:tailEnd type="none" w="lg" len="med"/>
            </a:ln>
            <a:effectLst/>
          </p:spPr>
        </p:cxnSp>
        <p:pic>
          <p:nvPicPr>
            <p:cNvPr id="77" name="Picture 76">
              <a:extLst>
                <a:ext uri="{FF2B5EF4-FFF2-40B4-BE49-F238E27FC236}">
                  <a16:creationId xmlns:a16="http://schemas.microsoft.com/office/drawing/2014/main" id="{6EFE5C72-F3FC-D1A5-0AB8-3EC3DF91537C}"/>
                </a:ext>
              </a:extLst>
            </p:cNvPr>
            <p:cNvPicPr>
              <a:picLocks noChangeAspect="1"/>
            </p:cNvPicPr>
            <p:nvPr userDrawn="1"/>
          </p:nvPicPr>
          <p:blipFill>
            <a:blip r:embed="rId4"/>
            <a:srcRect t="17334" b="17334"/>
            <a:stretch/>
          </p:blipFill>
          <p:spPr>
            <a:xfrm>
              <a:off x="2397310" y="480060"/>
              <a:ext cx="1813161" cy="482010"/>
            </a:xfrm>
            <a:prstGeom prst="rect">
              <a:avLst/>
            </a:prstGeom>
          </p:spPr>
        </p:pic>
      </p:grpSp>
    </p:spTree>
    <p:extLst>
      <p:ext uri="{BB962C8B-B14F-4D97-AF65-F5344CB8AC3E}">
        <p14:creationId xmlns:p14="http://schemas.microsoft.com/office/powerpoint/2010/main" val="13726959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itle Slide 2">
    <p:bg>
      <p:bgPr>
        <a:gradFill>
          <a:gsLst>
            <a:gs pos="0">
              <a:schemeClr val="tx2">
                <a:lumMod val="75000"/>
              </a:schemeClr>
            </a:gs>
            <a:gs pos="85000">
              <a:schemeClr val="tx2">
                <a:lumMod val="50000"/>
              </a:schemeClr>
            </a:gs>
          </a:gsLst>
          <a:lin ang="0" scaled="1"/>
        </a:gra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179559"/>
            <a:ext cx="5511800" cy="1354217"/>
          </a:xfrm>
          <a:noFill/>
        </p:spPr>
        <p:txBody>
          <a:bodyPr wrap="square" lIns="0" tIns="0" rIns="0" bIns="0" anchor="b" anchorCtr="0">
            <a:spAutoFit/>
          </a:bodyPr>
          <a:lstStyle>
            <a:lvl1pPr algn="l" defTabSz="932742" rtl="0" eaLnBrk="1" latinLnBrk="0" hangingPunct="1">
              <a:lnSpc>
                <a:spcPct val="100000"/>
              </a:lnSpc>
              <a:spcBef>
                <a:spcPct val="0"/>
              </a:spcBef>
              <a:buNone/>
              <a:defRPr kumimoji="0" lang="en-US" sz="4400" b="0" i="0" u="none" strike="noStrike" kern="1200" cap="none" spc="300" normalizeH="0" baseline="0" dirty="0">
                <a:ln w="3175">
                  <a:noFill/>
                </a:ln>
                <a:solidFill>
                  <a:schemeClr val="accent3"/>
                </a:solidFill>
                <a:effectLst/>
                <a:uLnTx/>
                <a:uFillTx/>
                <a:latin typeface="Segoe UI Semibold"/>
                <a:ea typeface="+mn-ea"/>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 text</a:t>
            </a:r>
          </a:p>
        </p:txBody>
      </p:sp>
      <p:grpSp>
        <p:nvGrpSpPr>
          <p:cNvPr id="27" name="Group 26">
            <a:extLst>
              <a:ext uri="{FF2B5EF4-FFF2-40B4-BE49-F238E27FC236}">
                <a16:creationId xmlns:a16="http://schemas.microsoft.com/office/drawing/2014/main" id="{05426580-BB4D-F381-5420-A6B4EA195E04}"/>
              </a:ext>
            </a:extLst>
          </p:cNvPr>
          <p:cNvGrpSpPr/>
          <p:nvPr userDrawn="1"/>
        </p:nvGrpSpPr>
        <p:grpSpPr>
          <a:xfrm>
            <a:off x="0" y="0"/>
            <a:ext cx="12192000" cy="6858000"/>
            <a:chOff x="0" y="0"/>
            <a:chExt cx="12192000" cy="6858000"/>
          </a:xfrm>
        </p:grpSpPr>
        <p:sp>
          <p:nvSpPr>
            <p:cNvPr id="4" name="Freeform: Shape 3">
              <a:extLst>
                <a:ext uri="{FF2B5EF4-FFF2-40B4-BE49-F238E27FC236}">
                  <a16:creationId xmlns:a16="http://schemas.microsoft.com/office/drawing/2014/main" id="{6E0C7132-21CD-945F-41E4-EA39CEB43467}"/>
                </a:ext>
              </a:extLst>
            </p:cNvPr>
            <p:cNvSpPr/>
            <p:nvPr/>
          </p:nvSpPr>
          <p:spPr>
            <a:xfrm>
              <a:off x="6315753" y="0"/>
              <a:ext cx="5876245" cy="6068780"/>
            </a:xfrm>
            <a:custGeom>
              <a:avLst/>
              <a:gdLst>
                <a:gd name="connsiteX0" fmla="*/ 95928 w 5876245"/>
                <a:gd name="connsiteY0" fmla="*/ 0 h 6068780"/>
                <a:gd name="connsiteX1" fmla="*/ 5876245 w 5876245"/>
                <a:gd name="connsiteY1" fmla="*/ 0 h 6068780"/>
                <a:gd name="connsiteX2" fmla="*/ 5876245 w 5876245"/>
                <a:gd name="connsiteY2" fmla="*/ 5882128 h 6068780"/>
                <a:gd name="connsiteX3" fmla="*/ 5809084 w 5876245"/>
                <a:gd name="connsiteY3" fmla="*/ 5913694 h 6068780"/>
                <a:gd name="connsiteX4" fmla="*/ 3664207 w 5876245"/>
                <a:gd name="connsiteY4" fmla="*/ 5274514 h 6068780"/>
                <a:gd name="connsiteX5" fmla="*/ 2915605 w 5876245"/>
                <a:gd name="connsiteY5" fmla="*/ 4002342 h 6068780"/>
                <a:gd name="connsiteX6" fmla="*/ 595032 w 5876245"/>
                <a:gd name="connsiteY6" fmla="*/ 2143479 h 6068780"/>
                <a:gd name="connsiteX7" fmla="*/ 67618 w 5876245"/>
                <a:gd name="connsiteY7" fmla="*/ 95578 h 6068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76245" h="6068780">
                  <a:moveTo>
                    <a:pt x="95928" y="0"/>
                  </a:moveTo>
                  <a:lnTo>
                    <a:pt x="5876245" y="0"/>
                  </a:lnTo>
                  <a:lnTo>
                    <a:pt x="5876245" y="5882128"/>
                  </a:lnTo>
                  <a:lnTo>
                    <a:pt x="5809084" y="5913694"/>
                  </a:lnTo>
                  <a:cubicBezTo>
                    <a:pt x="5033168" y="6236286"/>
                    <a:pt x="4221134" y="6070728"/>
                    <a:pt x="3664207" y="5274514"/>
                  </a:cubicBezTo>
                  <a:cubicBezTo>
                    <a:pt x="3309481" y="4767224"/>
                    <a:pt x="3028875" y="4209830"/>
                    <a:pt x="2915605" y="4002342"/>
                  </a:cubicBezTo>
                  <a:cubicBezTo>
                    <a:pt x="2293189" y="2862231"/>
                    <a:pt x="1362125" y="2823486"/>
                    <a:pt x="595032" y="2143479"/>
                  </a:cubicBezTo>
                  <a:cubicBezTo>
                    <a:pt x="93083" y="1698534"/>
                    <a:pt x="-120532" y="862688"/>
                    <a:pt x="67618" y="95578"/>
                  </a:cubicBezTo>
                  <a:close/>
                </a:path>
              </a:pathLst>
            </a:custGeom>
            <a:gradFill flip="none" rotWithShape="1">
              <a:gsLst>
                <a:gs pos="0">
                  <a:schemeClr val="tx2">
                    <a:lumMod val="50000"/>
                  </a:schemeClr>
                </a:gs>
                <a:gs pos="99000">
                  <a:schemeClr val="accent1">
                    <a:alpha val="78000"/>
                  </a:schemeClr>
                </a:gs>
              </a:gsLst>
              <a:lin ang="16200000" scaled="1"/>
              <a:tileRect/>
            </a:gradFill>
            <a:ln w="214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sp>
          <p:nvSpPr>
            <p:cNvPr id="7" name="Freeform: Shape 6">
              <a:extLst>
                <a:ext uri="{FF2B5EF4-FFF2-40B4-BE49-F238E27FC236}">
                  <a16:creationId xmlns:a16="http://schemas.microsoft.com/office/drawing/2014/main" id="{2EF614AB-2712-0AD7-915A-5ECCC545BCF7}"/>
                </a:ext>
              </a:extLst>
            </p:cNvPr>
            <p:cNvSpPr/>
            <p:nvPr/>
          </p:nvSpPr>
          <p:spPr>
            <a:xfrm>
              <a:off x="5302306" y="1"/>
              <a:ext cx="6889692" cy="3651191"/>
            </a:xfrm>
            <a:custGeom>
              <a:avLst/>
              <a:gdLst>
                <a:gd name="connsiteX0" fmla="*/ 0 w 6889692"/>
                <a:gd name="connsiteY0" fmla="*/ 0 h 3651191"/>
                <a:gd name="connsiteX1" fmla="*/ 6889692 w 6889692"/>
                <a:gd name="connsiteY1" fmla="*/ 0 h 3651191"/>
                <a:gd name="connsiteX2" fmla="*/ 6889692 w 6889692"/>
                <a:gd name="connsiteY2" fmla="*/ 3651191 h 3651191"/>
                <a:gd name="connsiteX3" fmla="*/ 6864916 w 6889692"/>
                <a:gd name="connsiteY3" fmla="*/ 3622079 h 3651191"/>
                <a:gd name="connsiteX4" fmla="*/ 6346554 w 6889692"/>
                <a:gd name="connsiteY4" fmla="*/ 3338289 h 3651191"/>
                <a:gd name="connsiteX5" fmla="*/ 3294832 w 6889692"/>
                <a:gd name="connsiteY5" fmla="*/ 2501988 h 3651191"/>
                <a:gd name="connsiteX6" fmla="*/ 431501 w 6889692"/>
                <a:gd name="connsiteY6" fmla="*/ 250284 h 3651191"/>
                <a:gd name="connsiteX7" fmla="*/ 431559 w 6889692"/>
                <a:gd name="connsiteY7" fmla="*/ 250284 h 3651191"/>
                <a:gd name="connsiteX8" fmla="*/ 24892 w 6889692"/>
                <a:gd name="connsiteY8" fmla="*/ 18948 h 3651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89692" h="3651191">
                  <a:moveTo>
                    <a:pt x="0" y="0"/>
                  </a:moveTo>
                  <a:lnTo>
                    <a:pt x="6889692" y="0"/>
                  </a:lnTo>
                  <a:lnTo>
                    <a:pt x="6889692" y="3651191"/>
                  </a:lnTo>
                  <a:lnTo>
                    <a:pt x="6864916" y="3622079"/>
                  </a:lnTo>
                  <a:cubicBezTo>
                    <a:pt x="6741099" y="3492174"/>
                    <a:pt x="6574262" y="3392139"/>
                    <a:pt x="6346554" y="3338289"/>
                  </a:cubicBezTo>
                  <a:cubicBezTo>
                    <a:pt x="5167714" y="3059467"/>
                    <a:pt x="4531806" y="3796263"/>
                    <a:pt x="3294832" y="2501988"/>
                  </a:cubicBezTo>
                  <a:cubicBezTo>
                    <a:pt x="2099512" y="1251301"/>
                    <a:pt x="2610418" y="1274588"/>
                    <a:pt x="431501" y="250284"/>
                  </a:cubicBezTo>
                  <a:lnTo>
                    <a:pt x="431559" y="250284"/>
                  </a:lnTo>
                  <a:cubicBezTo>
                    <a:pt x="287818" y="182709"/>
                    <a:pt x="151204" y="105869"/>
                    <a:pt x="24892" y="18948"/>
                  </a:cubicBezTo>
                  <a:close/>
                </a:path>
              </a:pathLst>
            </a:custGeom>
            <a:solidFill>
              <a:schemeClr val="tx2">
                <a:lumMod val="50000"/>
              </a:schemeClr>
            </a:solidFill>
            <a:ln w="2142" cap="flat">
              <a:noFill/>
              <a:prstDash val="solid"/>
              <a:miter/>
            </a:ln>
            <a:effectLst>
              <a:outerShdw blurRad="25400" dist="25400" dir="8100000" algn="tr" rotWithShape="0">
                <a:prstClr val="black">
                  <a:alpha val="58000"/>
                </a:prstClr>
              </a:outerShdw>
            </a:effectLst>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Shape 9">
              <a:extLst>
                <a:ext uri="{FF2B5EF4-FFF2-40B4-BE49-F238E27FC236}">
                  <a16:creationId xmlns:a16="http://schemas.microsoft.com/office/drawing/2014/main" id="{F31B3A35-CBD4-D8F4-E297-CC761DF04D17}"/>
                </a:ext>
              </a:extLst>
            </p:cNvPr>
            <p:cNvSpPr/>
            <p:nvPr/>
          </p:nvSpPr>
          <p:spPr>
            <a:xfrm flipH="1">
              <a:off x="1976638" y="4130193"/>
              <a:ext cx="10215358" cy="2727805"/>
            </a:xfrm>
            <a:custGeom>
              <a:avLst/>
              <a:gdLst>
                <a:gd name="connsiteX0" fmla="*/ 795455 w 10215358"/>
                <a:gd name="connsiteY0" fmla="*/ 462 h 2727805"/>
                <a:gd name="connsiteX1" fmla="*/ 499463 w 10215358"/>
                <a:gd name="connsiteY1" fmla="*/ 24353 h 2727805"/>
                <a:gd name="connsiteX2" fmla="*/ 95236 w 10215358"/>
                <a:gd name="connsiteY2" fmla="*/ 119650 h 2727805"/>
                <a:gd name="connsiteX3" fmla="*/ 0 w 10215358"/>
                <a:gd name="connsiteY3" fmla="*/ 157430 h 2727805"/>
                <a:gd name="connsiteX4" fmla="*/ 0 w 10215358"/>
                <a:gd name="connsiteY4" fmla="*/ 2727805 h 2727805"/>
                <a:gd name="connsiteX5" fmla="*/ 10215358 w 10215358"/>
                <a:gd name="connsiteY5" fmla="*/ 2727805 h 2727805"/>
                <a:gd name="connsiteX6" fmla="*/ 10144639 w 10215358"/>
                <a:gd name="connsiteY6" fmla="*/ 2558390 h 2727805"/>
                <a:gd name="connsiteX7" fmla="*/ 7779224 w 10215358"/>
                <a:gd name="connsiteY7" fmla="*/ 1469756 h 2727805"/>
                <a:gd name="connsiteX8" fmla="*/ 4355227 w 10215358"/>
                <a:gd name="connsiteY8" fmla="*/ 2122885 h 2727805"/>
                <a:gd name="connsiteX9" fmla="*/ 795455 w 10215358"/>
                <a:gd name="connsiteY9" fmla="*/ 462 h 2727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215358" h="2727805">
                  <a:moveTo>
                    <a:pt x="795455" y="462"/>
                  </a:moveTo>
                  <a:cubicBezTo>
                    <a:pt x="698656" y="2360"/>
                    <a:pt x="600035" y="10149"/>
                    <a:pt x="499463" y="24353"/>
                  </a:cubicBezTo>
                  <a:cubicBezTo>
                    <a:pt x="355761" y="44646"/>
                    <a:pt x="220974" y="76809"/>
                    <a:pt x="95236" y="119650"/>
                  </a:cubicBezTo>
                  <a:lnTo>
                    <a:pt x="0" y="157430"/>
                  </a:lnTo>
                  <a:lnTo>
                    <a:pt x="0" y="2727805"/>
                  </a:lnTo>
                  <a:lnTo>
                    <a:pt x="10215358" y="2727805"/>
                  </a:lnTo>
                  <a:lnTo>
                    <a:pt x="10144639" y="2558390"/>
                  </a:lnTo>
                  <a:cubicBezTo>
                    <a:pt x="9781843" y="1762373"/>
                    <a:pt x="8946083" y="1086740"/>
                    <a:pt x="7779224" y="1469756"/>
                  </a:cubicBezTo>
                  <a:cubicBezTo>
                    <a:pt x="6647424" y="1841299"/>
                    <a:pt x="5731723" y="3225843"/>
                    <a:pt x="4355227" y="2122885"/>
                  </a:cubicBezTo>
                  <a:cubicBezTo>
                    <a:pt x="3289527" y="1268936"/>
                    <a:pt x="2247448" y="-28013"/>
                    <a:pt x="795455" y="462"/>
                  </a:cubicBezTo>
                  <a:close/>
                </a:path>
              </a:pathLst>
            </a:custGeom>
            <a:gradFill flip="none" rotWithShape="1">
              <a:gsLst>
                <a:gs pos="10000">
                  <a:schemeClr val="accent1">
                    <a:alpha val="0"/>
                  </a:schemeClr>
                </a:gs>
                <a:gs pos="100000">
                  <a:schemeClr val="tx2">
                    <a:lumMod val="50000"/>
                  </a:schemeClr>
                </a:gs>
              </a:gsLst>
              <a:lin ang="10800000" scaled="1"/>
              <a:tileRect/>
            </a:gradFill>
            <a:ln w="214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Freeform: Shape 10">
              <a:extLst>
                <a:ext uri="{FF2B5EF4-FFF2-40B4-BE49-F238E27FC236}">
                  <a16:creationId xmlns:a16="http://schemas.microsoft.com/office/drawing/2014/main" id="{89B939AD-4AF7-2AB0-C517-847E0C9947CB}"/>
                </a:ext>
              </a:extLst>
            </p:cNvPr>
            <p:cNvSpPr/>
            <p:nvPr/>
          </p:nvSpPr>
          <p:spPr>
            <a:xfrm flipH="1" flipV="1">
              <a:off x="0" y="2735943"/>
              <a:ext cx="4122057" cy="4122055"/>
            </a:xfrm>
            <a:custGeom>
              <a:avLst/>
              <a:gdLst>
                <a:gd name="connsiteX0" fmla="*/ 6613200 w 6689088"/>
                <a:gd name="connsiteY0" fmla="*/ 6687632 h 6689084"/>
                <a:gd name="connsiteX1" fmla="*/ 6613929 w 6689088"/>
                <a:gd name="connsiteY1" fmla="*/ 6688360 h 6689084"/>
                <a:gd name="connsiteX2" fmla="*/ 6613200 w 6689088"/>
                <a:gd name="connsiteY2" fmla="*/ 6689084 h 6689084"/>
                <a:gd name="connsiteX3" fmla="*/ 6612476 w 6689088"/>
                <a:gd name="connsiteY3" fmla="*/ 6688360 h 6689084"/>
                <a:gd name="connsiteX4" fmla="*/ 6613200 w 6689088"/>
                <a:gd name="connsiteY4" fmla="*/ 6687632 h 6689084"/>
                <a:gd name="connsiteX5" fmla="*/ 6613200 w 6689088"/>
                <a:gd name="connsiteY5" fmla="*/ 6534050 h 6689084"/>
                <a:gd name="connsiteX6" fmla="*/ 6613566 w 6689088"/>
                <a:gd name="connsiteY6" fmla="*/ 6534413 h 6689084"/>
                <a:gd name="connsiteX7" fmla="*/ 6613200 w 6689088"/>
                <a:gd name="connsiteY7" fmla="*/ 6534775 h 6689084"/>
                <a:gd name="connsiteX8" fmla="*/ 6612838 w 6689088"/>
                <a:gd name="connsiteY8" fmla="*/ 6534413 h 6689084"/>
                <a:gd name="connsiteX9" fmla="*/ 6613200 w 6689088"/>
                <a:gd name="connsiteY9" fmla="*/ 6534050 h 6689084"/>
                <a:gd name="connsiteX10" fmla="*/ 6459619 w 6689088"/>
                <a:gd name="connsiteY10" fmla="*/ 6533684 h 6689084"/>
                <a:gd name="connsiteX11" fmla="*/ 6460344 w 6689088"/>
                <a:gd name="connsiteY11" fmla="*/ 6534413 h 6689084"/>
                <a:gd name="connsiteX12" fmla="*/ 6459619 w 6689088"/>
                <a:gd name="connsiteY12" fmla="*/ 6535137 h 6689084"/>
                <a:gd name="connsiteX13" fmla="*/ 6458891 w 6689088"/>
                <a:gd name="connsiteY13" fmla="*/ 6534413 h 6689084"/>
                <a:gd name="connsiteX14" fmla="*/ 6459619 w 6689088"/>
                <a:gd name="connsiteY14" fmla="*/ 6533684 h 6689084"/>
                <a:gd name="connsiteX15" fmla="*/ 6613200 w 6689088"/>
                <a:gd name="connsiteY15" fmla="*/ 6380465 h 6689084"/>
                <a:gd name="connsiteX16" fmla="*/ 6613566 w 6689088"/>
                <a:gd name="connsiteY16" fmla="*/ 6380827 h 6689084"/>
                <a:gd name="connsiteX17" fmla="*/ 6613200 w 6689088"/>
                <a:gd name="connsiteY17" fmla="*/ 6381193 h 6689084"/>
                <a:gd name="connsiteX18" fmla="*/ 6612838 w 6689088"/>
                <a:gd name="connsiteY18" fmla="*/ 6380827 h 6689084"/>
                <a:gd name="connsiteX19" fmla="*/ 6613200 w 6689088"/>
                <a:gd name="connsiteY19" fmla="*/ 6380465 h 6689084"/>
                <a:gd name="connsiteX20" fmla="*/ 6459616 w 6689088"/>
                <a:gd name="connsiteY20" fmla="*/ 6380465 h 6689084"/>
                <a:gd name="connsiteX21" fmla="*/ 6459982 w 6689088"/>
                <a:gd name="connsiteY21" fmla="*/ 6380827 h 6689084"/>
                <a:gd name="connsiteX22" fmla="*/ 6459616 w 6689088"/>
                <a:gd name="connsiteY22" fmla="*/ 6381193 h 6689084"/>
                <a:gd name="connsiteX23" fmla="*/ 6459254 w 6689088"/>
                <a:gd name="connsiteY23" fmla="*/ 6380827 h 6689084"/>
                <a:gd name="connsiteX24" fmla="*/ 6459616 w 6689088"/>
                <a:gd name="connsiteY24" fmla="*/ 6380465 h 6689084"/>
                <a:gd name="connsiteX25" fmla="*/ 6305668 w 6689088"/>
                <a:gd name="connsiteY25" fmla="*/ 6380103 h 6689084"/>
                <a:gd name="connsiteX26" fmla="*/ 6306396 w 6689088"/>
                <a:gd name="connsiteY26" fmla="*/ 6380831 h 6689084"/>
                <a:gd name="connsiteX27" fmla="*/ 6305668 w 6689088"/>
                <a:gd name="connsiteY27" fmla="*/ 6381555 h 6689084"/>
                <a:gd name="connsiteX28" fmla="*/ 6304940 w 6689088"/>
                <a:gd name="connsiteY28" fmla="*/ 6380831 h 6689084"/>
                <a:gd name="connsiteX29" fmla="*/ 6305668 w 6689088"/>
                <a:gd name="connsiteY29" fmla="*/ 6380103 h 6689084"/>
                <a:gd name="connsiteX30" fmla="*/ 6459616 w 6689088"/>
                <a:gd name="connsiteY30" fmla="*/ 6226518 h 6689084"/>
                <a:gd name="connsiteX31" fmla="*/ 6459982 w 6689088"/>
                <a:gd name="connsiteY31" fmla="*/ 6226880 h 6689084"/>
                <a:gd name="connsiteX32" fmla="*/ 6459616 w 6689088"/>
                <a:gd name="connsiteY32" fmla="*/ 6227242 h 6689084"/>
                <a:gd name="connsiteX33" fmla="*/ 6459254 w 6689088"/>
                <a:gd name="connsiteY33" fmla="*/ 6226880 h 6689084"/>
                <a:gd name="connsiteX34" fmla="*/ 6459616 w 6689088"/>
                <a:gd name="connsiteY34" fmla="*/ 6226518 h 6689084"/>
                <a:gd name="connsiteX35" fmla="*/ 6305668 w 6689088"/>
                <a:gd name="connsiteY35" fmla="*/ 6226518 h 6689084"/>
                <a:gd name="connsiteX36" fmla="*/ 6306034 w 6689088"/>
                <a:gd name="connsiteY36" fmla="*/ 6226880 h 6689084"/>
                <a:gd name="connsiteX37" fmla="*/ 6305668 w 6689088"/>
                <a:gd name="connsiteY37" fmla="*/ 6227242 h 6689084"/>
                <a:gd name="connsiteX38" fmla="*/ 6305306 w 6689088"/>
                <a:gd name="connsiteY38" fmla="*/ 6226880 h 6689084"/>
                <a:gd name="connsiteX39" fmla="*/ 6305668 w 6689088"/>
                <a:gd name="connsiteY39" fmla="*/ 6226518 h 6689084"/>
                <a:gd name="connsiteX40" fmla="*/ 6152083 w 6689088"/>
                <a:gd name="connsiteY40" fmla="*/ 6226156 h 6689084"/>
                <a:gd name="connsiteX41" fmla="*/ 6152811 w 6689088"/>
                <a:gd name="connsiteY41" fmla="*/ 6226884 h 6689084"/>
                <a:gd name="connsiteX42" fmla="*/ 6152083 w 6689088"/>
                <a:gd name="connsiteY42" fmla="*/ 6227608 h 6689084"/>
                <a:gd name="connsiteX43" fmla="*/ 6151358 w 6689088"/>
                <a:gd name="connsiteY43" fmla="*/ 6226884 h 6689084"/>
                <a:gd name="connsiteX44" fmla="*/ 6152083 w 6689088"/>
                <a:gd name="connsiteY44" fmla="*/ 6226156 h 6689084"/>
                <a:gd name="connsiteX45" fmla="*/ 6305668 w 6689088"/>
                <a:gd name="connsiteY45" fmla="*/ 6072933 h 6689084"/>
                <a:gd name="connsiteX46" fmla="*/ 6306034 w 6689088"/>
                <a:gd name="connsiteY46" fmla="*/ 6073295 h 6689084"/>
                <a:gd name="connsiteX47" fmla="*/ 6305668 w 6689088"/>
                <a:gd name="connsiteY47" fmla="*/ 6073661 h 6689084"/>
                <a:gd name="connsiteX48" fmla="*/ 6305306 w 6689088"/>
                <a:gd name="connsiteY48" fmla="*/ 6073295 h 6689084"/>
                <a:gd name="connsiteX49" fmla="*/ 6305668 w 6689088"/>
                <a:gd name="connsiteY49" fmla="*/ 6072933 h 6689084"/>
                <a:gd name="connsiteX50" fmla="*/ 6152086 w 6689088"/>
                <a:gd name="connsiteY50" fmla="*/ 6072933 h 6689084"/>
                <a:gd name="connsiteX51" fmla="*/ 6152448 w 6689088"/>
                <a:gd name="connsiteY51" fmla="*/ 6073295 h 6689084"/>
                <a:gd name="connsiteX52" fmla="*/ 6152086 w 6689088"/>
                <a:gd name="connsiteY52" fmla="*/ 6073661 h 6689084"/>
                <a:gd name="connsiteX53" fmla="*/ 6151724 w 6689088"/>
                <a:gd name="connsiteY53" fmla="*/ 6073295 h 6689084"/>
                <a:gd name="connsiteX54" fmla="*/ 6152086 w 6689088"/>
                <a:gd name="connsiteY54" fmla="*/ 6072933 h 6689084"/>
                <a:gd name="connsiteX55" fmla="*/ 5998136 w 6689088"/>
                <a:gd name="connsiteY55" fmla="*/ 6072570 h 6689084"/>
                <a:gd name="connsiteX56" fmla="*/ 5998864 w 6689088"/>
                <a:gd name="connsiteY56" fmla="*/ 6073298 h 6689084"/>
                <a:gd name="connsiteX57" fmla="*/ 5998136 w 6689088"/>
                <a:gd name="connsiteY57" fmla="*/ 6074023 h 6689084"/>
                <a:gd name="connsiteX58" fmla="*/ 5997411 w 6689088"/>
                <a:gd name="connsiteY58" fmla="*/ 6073298 h 6689084"/>
                <a:gd name="connsiteX59" fmla="*/ 5998136 w 6689088"/>
                <a:gd name="connsiteY59" fmla="*/ 6072570 h 6689084"/>
                <a:gd name="connsiteX60" fmla="*/ 6613200 w 6689088"/>
                <a:gd name="connsiteY60" fmla="*/ 5918985 h 6689084"/>
                <a:gd name="connsiteX61" fmla="*/ 6613566 w 6689088"/>
                <a:gd name="connsiteY61" fmla="*/ 5919347 h 6689084"/>
                <a:gd name="connsiteX62" fmla="*/ 6613200 w 6689088"/>
                <a:gd name="connsiteY62" fmla="*/ 5919709 h 6689084"/>
                <a:gd name="connsiteX63" fmla="*/ 6612838 w 6689088"/>
                <a:gd name="connsiteY63" fmla="*/ 5919347 h 6689084"/>
                <a:gd name="connsiteX64" fmla="*/ 6613200 w 6689088"/>
                <a:gd name="connsiteY64" fmla="*/ 5918985 h 6689084"/>
                <a:gd name="connsiteX65" fmla="*/ 6152086 w 6689088"/>
                <a:gd name="connsiteY65" fmla="*/ 5918985 h 6689084"/>
                <a:gd name="connsiteX66" fmla="*/ 6152448 w 6689088"/>
                <a:gd name="connsiteY66" fmla="*/ 5919347 h 6689084"/>
                <a:gd name="connsiteX67" fmla="*/ 6152086 w 6689088"/>
                <a:gd name="connsiteY67" fmla="*/ 5919709 h 6689084"/>
                <a:gd name="connsiteX68" fmla="*/ 6151724 w 6689088"/>
                <a:gd name="connsiteY68" fmla="*/ 5919347 h 6689084"/>
                <a:gd name="connsiteX69" fmla="*/ 6152086 w 6689088"/>
                <a:gd name="connsiteY69" fmla="*/ 5918985 h 6689084"/>
                <a:gd name="connsiteX70" fmla="*/ 5998136 w 6689088"/>
                <a:gd name="connsiteY70" fmla="*/ 5918985 h 6689084"/>
                <a:gd name="connsiteX71" fmla="*/ 5998502 w 6689088"/>
                <a:gd name="connsiteY71" fmla="*/ 5919347 h 6689084"/>
                <a:gd name="connsiteX72" fmla="*/ 5998136 w 6689088"/>
                <a:gd name="connsiteY72" fmla="*/ 5919709 h 6689084"/>
                <a:gd name="connsiteX73" fmla="*/ 5997773 w 6689088"/>
                <a:gd name="connsiteY73" fmla="*/ 5919347 h 6689084"/>
                <a:gd name="connsiteX74" fmla="*/ 5998136 w 6689088"/>
                <a:gd name="connsiteY74" fmla="*/ 5918985 h 6689084"/>
                <a:gd name="connsiteX75" fmla="*/ 5844554 w 6689088"/>
                <a:gd name="connsiteY75" fmla="*/ 5918623 h 6689084"/>
                <a:gd name="connsiteX76" fmla="*/ 5845278 w 6689088"/>
                <a:gd name="connsiteY76" fmla="*/ 5919347 h 6689084"/>
                <a:gd name="connsiteX77" fmla="*/ 5844554 w 6689088"/>
                <a:gd name="connsiteY77" fmla="*/ 5920075 h 6689084"/>
                <a:gd name="connsiteX78" fmla="*/ 5843826 w 6689088"/>
                <a:gd name="connsiteY78" fmla="*/ 5919347 h 6689084"/>
                <a:gd name="connsiteX79" fmla="*/ 5844554 w 6689088"/>
                <a:gd name="connsiteY79" fmla="*/ 5918623 h 6689084"/>
                <a:gd name="connsiteX80" fmla="*/ 6459616 w 6689088"/>
                <a:gd name="connsiteY80" fmla="*/ 5765400 h 6689084"/>
                <a:gd name="connsiteX81" fmla="*/ 6459982 w 6689088"/>
                <a:gd name="connsiteY81" fmla="*/ 5765762 h 6689084"/>
                <a:gd name="connsiteX82" fmla="*/ 6459616 w 6689088"/>
                <a:gd name="connsiteY82" fmla="*/ 5766128 h 6689084"/>
                <a:gd name="connsiteX83" fmla="*/ 6459254 w 6689088"/>
                <a:gd name="connsiteY83" fmla="*/ 5765762 h 6689084"/>
                <a:gd name="connsiteX84" fmla="*/ 6459616 w 6689088"/>
                <a:gd name="connsiteY84" fmla="*/ 5765400 h 6689084"/>
                <a:gd name="connsiteX85" fmla="*/ 5998136 w 6689088"/>
                <a:gd name="connsiteY85" fmla="*/ 5765400 h 6689084"/>
                <a:gd name="connsiteX86" fmla="*/ 5998502 w 6689088"/>
                <a:gd name="connsiteY86" fmla="*/ 5765762 h 6689084"/>
                <a:gd name="connsiteX87" fmla="*/ 5998136 w 6689088"/>
                <a:gd name="connsiteY87" fmla="*/ 5766128 h 6689084"/>
                <a:gd name="connsiteX88" fmla="*/ 5997773 w 6689088"/>
                <a:gd name="connsiteY88" fmla="*/ 5765762 h 6689084"/>
                <a:gd name="connsiteX89" fmla="*/ 5998136 w 6689088"/>
                <a:gd name="connsiteY89" fmla="*/ 5765400 h 6689084"/>
                <a:gd name="connsiteX90" fmla="*/ 5844550 w 6689088"/>
                <a:gd name="connsiteY90" fmla="*/ 5765400 h 6689084"/>
                <a:gd name="connsiteX91" fmla="*/ 5844916 w 6689088"/>
                <a:gd name="connsiteY91" fmla="*/ 5765762 h 6689084"/>
                <a:gd name="connsiteX92" fmla="*/ 5844550 w 6689088"/>
                <a:gd name="connsiteY92" fmla="*/ 5766128 h 6689084"/>
                <a:gd name="connsiteX93" fmla="*/ 5844188 w 6689088"/>
                <a:gd name="connsiteY93" fmla="*/ 5765762 h 6689084"/>
                <a:gd name="connsiteX94" fmla="*/ 5844550 w 6689088"/>
                <a:gd name="connsiteY94" fmla="*/ 5765400 h 6689084"/>
                <a:gd name="connsiteX95" fmla="*/ 5690602 w 6689088"/>
                <a:gd name="connsiteY95" fmla="*/ 5765038 h 6689084"/>
                <a:gd name="connsiteX96" fmla="*/ 5691331 w 6689088"/>
                <a:gd name="connsiteY96" fmla="*/ 5765766 h 6689084"/>
                <a:gd name="connsiteX97" fmla="*/ 5690602 w 6689088"/>
                <a:gd name="connsiteY97" fmla="*/ 5766490 h 6689084"/>
                <a:gd name="connsiteX98" fmla="*/ 5689874 w 6689088"/>
                <a:gd name="connsiteY98" fmla="*/ 5765766 h 6689084"/>
                <a:gd name="connsiteX99" fmla="*/ 5690602 w 6689088"/>
                <a:gd name="connsiteY99" fmla="*/ 5765038 h 6689084"/>
                <a:gd name="connsiteX100" fmla="*/ 6613200 w 6689088"/>
                <a:gd name="connsiteY100" fmla="*/ 5764313 h 6689084"/>
                <a:gd name="connsiteX101" fmla="*/ 6614653 w 6689088"/>
                <a:gd name="connsiteY101" fmla="*/ 5765766 h 6689084"/>
                <a:gd name="connsiteX102" fmla="*/ 6613200 w 6689088"/>
                <a:gd name="connsiteY102" fmla="*/ 5767218 h 6689084"/>
                <a:gd name="connsiteX103" fmla="*/ 6611752 w 6689088"/>
                <a:gd name="connsiteY103" fmla="*/ 5765766 h 6689084"/>
                <a:gd name="connsiteX104" fmla="*/ 6613200 w 6689088"/>
                <a:gd name="connsiteY104" fmla="*/ 5764313 h 6689084"/>
                <a:gd name="connsiteX105" fmla="*/ 6305668 w 6689088"/>
                <a:gd name="connsiteY105" fmla="*/ 5611452 h 6689084"/>
                <a:gd name="connsiteX106" fmla="*/ 6306034 w 6689088"/>
                <a:gd name="connsiteY106" fmla="*/ 5611815 h 6689084"/>
                <a:gd name="connsiteX107" fmla="*/ 6305668 w 6689088"/>
                <a:gd name="connsiteY107" fmla="*/ 5612177 h 6689084"/>
                <a:gd name="connsiteX108" fmla="*/ 6305306 w 6689088"/>
                <a:gd name="connsiteY108" fmla="*/ 5611815 h 6689084"/>
                <a:gd name="connsiteX109" fmla="*/ 6305668 w 6689088"/>
                <a:gd name="connsiteY109" fmla="*/ 5611452 h 6689084"/>
                <a:gd name="connsiteX110" fmla="*/ 5844550 w 6689088"/>
                <a:gd name="connsiteY110" fmla="*/ 5611452 h 6689084"/>
                <a:gd name="connsiteX111" fmla="*/ 5844916 w 6689088"/>
                <a:gd name="connsiteY111" fmla="*/ 5611815 h 6689084"/>
                <a:gd name="connsiteX112" fmla="*/ 5844550 w 6689088"/>
                <a:gd name="connsiteY112" fmla="*/ 5612181 h 6689084"/>
                <a:gd name="connsiteX113" fmla="*/ 5844188 w 6689088"/>
                <a:gd name="connsiteY113" fmla="*/ 5611815 h 6689084"/>
                <a:gd name="connsiteX114" fmla="*/ 5844550 w 6689088"/>
                <a:gd name="connsiteY114" fmla="*/ 5611452 h 6689084"/>
                <a:gd name="connsiteX115" fmla="*/ 5690606 w 6689088"/>
                <a:gd name="connsiteY115" fmla="*/ 5611452 h 6689084"/>
                <a:gd name="connsiteX116" fmla="*/ 5690972 w 6689088"/>
                <a:gd name="connsiteY116" fmla="*/ 5611815 h 6689084"/>
                <a:gd name="connsiteX117" fmla="*/ 5690606 w 6689088"/>
                <a:gd name="connsiteY117" fmla="*/ 5612181 h 6689084"/>
                <a:gd name="connsiteX118" fmla="*/ 5690244 w 6689088"/>
                <a:gd name="connsiteY118" fmla="*/ 5611815 h 6689084"/>
                <a:gd name="connsiteX119" fmla="*/ 5690606 w 6689088"/>
                <a:gd name="connsiteY119" fmla="*/ 5611452 h 6689084"/>
                <a:gd name="connsiteX120" fmla="*/ 5537021 w 6689088"/>
                <a:gd name="connsiteY120" fmla="*/ 5611090 h 6689084"/>
                <a:gd name="connsiteX121" fmla="*/ 5537750 w 6689088"/>
                <a:gd name="connsiteY121" fmla="*/ 5611815 h 6689084"/>
                <a:gd name="connsiteX122" fmla="*/ 5537021 w 6689088"/>
                <a:gd name="connsiteY122" fmla="*/ 5612543 h 6689084"/>
                <a:gd name="connsiteX123" fmla="*/ 5536297 w 6689088"/>
                <a:gd name="connsiteY123" fmla="*/ 5611815 h 6689084"/>
                <a:gd name="connsiteX124" fmla="*/ 5537021 w 6689088"/>
                <a:gd name="connsiteY124" fmla="*/ 5611090 h 6689084"/>
                <a:gd name="connsiteX125" fmla="*/ 6459616 w 6689088"/>
                <a:gd name="connsiteY125" fmla="*/ 5610366 h 6689084"/>
                <a:gd name="connsiteX126" fmla="*/ 6461068 w 6689088"/>
                <a:gd name="connsiteY126" fmla="*/ 5611818 h 6689084"/>
                <a:gd name="connsiteX127" fmla="*/ 6459616 w 6689088"/>
                <a:gd name="connsiteY127" fmla="*/ 5613271 h 6689084"/>
                <a:gd name="connsiteX128" fmla="*/ 6458163 w 6689088"/>
                <a:gd name="connsiteY128" fmla="*/ 5611818 h 6689084"/>
                <a:gd name="connsiteX129" fmla="*/ 6459616 w 6689088"/>
                <a:gd name="connsiteY129" fmla="*/ 5610366 h 6689084"/>
                <a:gd name="connsiteX130" fmla="*/ 6613200 w 6689088"/>
                <a:gd name="connsiteY130" fmla="*/ 5609638 h 6689084"/>
                <a:gd name="connsiteX131" fmla="*/ 6615381 w 6689088"/>
                <a:gd name="connsiteY131" fmla="*/ 5611815 h 6689084"/>
                <a:gd name="connsiteX132" fmla="*/ 6613200 w 6689088"/>
                <a:gd name="connsiteY132" fmla="*/ 5613995 h 6689084"/>
                <a:gd name="connsiteX133" fmla="*/ 6611024 w 6689088"/>
                <a:gd name="connsiteY133" fmla="*/ 5611815 h 6689084"/>
                <a:gd name="connsiteX134" fmla="*/ 6613200 w 6689088"/>
                <a:gd name="connsiteY134" fmla="*/ 5609638 h 6689084"/>
                <a:gd name="connsiteX135" fmla="*/ 6152086 w 6689088"/>
                <a:gd name="connsiteY135" fmla="*/ 5457871 h 6689084"/>
                <a:gd name="connsiteX136" fmla="*/ 6152448 w 6689088"/>
                <a:gd name="connsiteY136" fmla="*/ 5458233 h 6689084"/>
                <a:gd name="connsiteX137" fmla="*/ 6152086 w 6689088"/>
                <a:gd name="connsiteY137" fmla="*/ 5458595 h 6689084"/>
                <a:gd name="connsiteX138" fmla="*/ 6151724 w 6689088"/>
                <a:gd name="connsiteY138" fmla="*/ 5458233 h 6689084"/>
                <a:gd name="connsiteX139" fmla="*/ 6152086 w 6689088"/>
                <a:gd name="connsiteY139" fmla="*/ 5457871 h 6689084"/>
                <a:gd name="connsiteX140" fmla="*/ 5690606 w 6689088"/>
                <a:gd name="connsiteY140" fmla="*/ 5457871 h 6689084"/>
                <a:gd name="connsiteX141" fmla="*/ 5690972 w 6689088"/>
                <a:gd name="connsiteY141" fmla="*/ 5458233 h 6689084"/>
                <a:gd name="connsiteX142" fmla="*/ 5690606 w 6689088"/>
                <a:gd name="connsiteY142" fmla="*/ 5458595 h 6689084"/>
                <a:gd name="connsiteX143" fmla="*/ 5690244 w 6689088"/>
                <a:gd name="connsiteY143" fmla="*/ 5458233 h 6689084"/>
                <a:gd name="connsiteX144" fmla="*/ 5690606 w 6689088"/>
                <a:gd name="connsiteY144" fmla="*/ 5457871 h 6689084"/>
                <a:gd name="connsiteX145" fmla="*/ 5536659 w 6689088"/>
                <a:gd name="connsiteY145" fmla="*/ 5457871 h 6689084"/>
                <a:gd name="connsiteX146" fmla="*/ 5537021 w 6689088"/>
                <a:gd name="connsiteY146" fmla="*/ 5458233 h 6689084"/>
                <a:gd name="connsiteX147" fmla="*/ 5536659 w 6689088"/>
                <a:gd name="connsiteY147" fmla="*/ 5458595 h 6689084"/>
                <a:gd name="connsiteX148" fmla="*/ 5536297 w 6689088"/>
                <a:gd name="connsiteY148" fmla="*/ 5458233 h 6689084"/>
                <a:gd name="connsiteX149" fmla="*/ 5536659 w 6689088"/>
                <a:gd name="connsiteY149" fmla="*/ 5457871 h 6689084"/>
                <a:gd name="connsiteX150" fmla="*/ 5383078 w 6689088"/>
                <a:gd name="connsiteY150" fmla="*/ 5457505 h 6689084"/>
                <a:gd name="connsiteX151" fmla="*/ 5383802 w 6689088"/>
                <a:gd name="connsiteY151" fmla="*/ 5458233 h 6689084"/>
                <a:gd name="connsiteX152" fmla="*/ 5383078 w 6689088"/>
                <a:gd name="connsiteY152" fmla="*/ 5458957 h 6689084"/>
                <a:gd name="connsiteX153" fmla="*/ 5382350 w 6689088"/>
                <a:gd name="connsiteY153" fmla="*/ 5458233 h 6689084"/>
                <a:gd name="connsiteX154" fmla="*/ 5383078 w 6689088"/>
                <a:gd name="connsiteY154" fmla="*/ 5457505 h 6689084"/>
                <a:gd name="connsiteX155" fmla="*/ 6305668 w 6689088"/>
                <a:gd name="connsiteY155" fmla="*/ 5456781 h 6689084"/>
                <a:gd name="connsiteX156" fmla="*/ 6307120 w 6689088"/>
                <a:gd name="connsiteY156" fmla="*/ 5458233 h 6689084"/>
                <a:gd name="connsiteX157" fmla="*/ 6305668 w 6689088"/>
                <a:gd name="connsiteY157" fmla="*/ 5459685 h 6689084"/>
                <a:gd name="connsiteX158" fmla="*/ 6304216 w 6689088"/>
                <a:gd name="connsiteY158" fmla="*/ 5458233 h 6689084"/>
                <a:gd name="connsiteX159" fmla="*/ 6305668 w 6689088"/>
                <a:gd name="connsiteY159" fmla="*/ 5456781 h 6689084"/>
                <a:gd name="connsiteX160" fmla="*/ 6459619 w 6689088"/>
                <a:gd name="connsiteY160" fmla="*/ 5456053 h 6689084"/>
                <a:gd name="connsiteX161" fmla="*/ 6461796 w 6689088"/>
                <a:gd name="connsiteY161" fmla="*/ 5458233 h 6689084"/>
                <a:gd name="connsiteX162" fmla="*/ 6459619 w 6689088"/>
                <a:gd name="connsiteY162" fmla="*/ 5460410 h 6689084"/>
                <a:gd name="connsiteX163" fmla="*/ 6457439 w 6689088"/>
                <a:gd name="connsiteY163" fmla="*/ 5458233 h 6689084"/>
                <a:gd name="connsiteX164" fmla="*/ 6459619 w 6689088"/>
                <a:gd name="connsiteY164" fmla="*/ 5456053 h 6689084"/>
                <a:gd name="connsiteX165" fmla="*/ 6613200 w 6689088"/>
                <a:gd name="connsiteY165" fmla="*/ 5454966 h 6689084"/>
                <a:gd name="connsiteX166" fmla="*/ 6616468 w 6689088"/>
                <a:gd name="connsiteY166" fmla="*/ 5458233 h 6689084"/>
                <a:gd name="connsiteX167" fmla="*/ 6613200 w 6689088"/>
                <a:gd name="connsiteY167" fmla="*/ 5461500 h 6689084"/>
                <a:gd name="connsiteX168" fmla="*/ 6609934 w 6689088"/>
                <a:gd name="connsiteY168" fmla="*/ 5458233 h 6689084"/>
                <a:gd name="connsiteX169" fmla="*/ 6613200 w 6689088"/>
                <a:gd name="connsiteY169" fmla="*/ 5454966 h 6689084"/>
                <a:gd name="connsiteX170" fmla="*/ 5998136 w 6689088"/>
                <a:gd name="connsiteY170" fmla="*/ 5303924 h 6689084"/>
                <a:gd name="connsiteX171" fmla="*/ 5998502 w 6689088"/>
                <a:gd name="connsiteY171" fmla="*/ 5304286 h 6689084"/>
                <a:gd name="connsiteX172" fmla="*/ 5998136 w 6689088"/>
                <a:gd name="connsiteY172" fmla="*/ 5304652 h 6689084"/>
                <a:gd name="connsiteX173" fmla="*/ 5997773 w 6689088"/>
                <a:gd name="connsiteY173" fmla="*/ 5304286 h 6689084"/>
                <a:gd name="connsiteX174" fmla="*/ 5998136 w 6689088"/>
                <a:gd name="connsiteY174" fmla="*/ 5303924 h 6689084"/>
                <a:gd name="connsiteX175" fmla="*/ 5536659 w 6689088"/>
                <a:gd name="connsiteY175" fmla="*/ 5303924 h 6689084"/>
                <a:gd name="connsiteX176" fmla="*/ 5537021 w 6689088"/>
                <a:gd name="connsiteY176" fmla="*/ 5304286 h 6689084"/>
                <a:gd name="connsiteX177" fmla="*/ 5536659 w 6689088"/>
                <a:gd name="connsiteY177" fmla="*/ 5304652 h 6689084"/>
                <a:gd name="connsiteX178" fmla="*/ 5536297 w 6689088"/>
                <a:gd name="connsiteY178" fmla="*/ 5304286 h 6689084"/>
                <a:gd name="connsiteX179" fmla="*/ 5536659 w 6689088"/>
                <a:gd name="connsiteY179" fmla="*/ 5303924 h 6689084"/>
                <a:gd name="connsiteX180" fmla="*/ 5383074 w 6689088"/>
                <a:gd name="connsiteY180" fmla="*/ 5303924 h 6689084"/>
                <a:gd name="connsiteX181" fmla="*/ 5383436 w 6689088"/>
                <a:gd name="connsiteY181" fmla="*/ 5304286 h 6689084"/>
                <a:gd name="connsiteX182" fmla="*/ 5383074 w 6689088"/>
                <a:gd name="connsiteY182" fmla="*/ 5304652 h 6689084"/>
                <a:gd name="connsiteX183" fmla="*/ 5382712 w 6689088"/>
                <a:gd name="connsiteY183" fmla="*/ 5304286 h 6689084"/>
                <a:gd name="connsiteX184" fmla="*/ 5383074 w 6689088"/>
                <a:gd name="connsiteY184" fmla="*/ 5303924 h 6689084"/>
                <a:gd name="connsiteX185" fmla="*/ 5229126 w 6689088"/>
                <a:gd name="connsiteY185" fmla="*/ 5303558 h 6689084"/>
                <a:gd name="connsiteX186" fmla="*/ 5229854 w 6689088"/>
                <a:gd name="connsiteY186" fmla="*/ 5304282 h 6689084"/>
                <a:gd name="connsiteX187" fmla="*/ 5229126 w 6689088"/>
                <a:gd name="connsiteY187" fmla="*/ 5305010 h 6689084"/>
                <a:gd name="connsiteX188" fmla="*/ 5228402 w 6689088"/>
                <a:gd name="connsiteY188" fmla="*/ 5304282 h 6689084"/>
                <a:gd name="connsiteX189" fmla="*/ 5229126 w 6689088"/>
                <a:gd name="connsiteY189" fmla="*/ 5303558 h 6689084"/>
                <a:gd name="connsiteX190" fmla="*/ 6152086 w 6689088"/>
                <a:gd name="connsiteY190" fmla="*/ 5302833 h 6689084"/>
                <a:gd name="connsiteX191" fmla="*/ 6153539 w 6689088"/>
                <a:gd name="connsiteY191" fmla="*/ 5304286 h 6689084"/>
                <a:gd name="connsiteX192" fmla="*/ 6152086 w 6689088"/>
                <a:gd name="connsiteY192" fmla="*/ 5305738 h 6689084"/>
                <a:gd name="connsiteX193" fmla="*/ 6150638 w 6689088"/>
                <a:gd name="connsiteY193" fmla="*/ 5304286 h 6689084"/>
                <a:gd name="connsiteX194" fmla="*/ 6152086 w 6689088"/>
                <a:gd name="connsiteY194" fmla="*/ 5302833 h 6689084"/>
                <a:gd name="connsiteX195" fmla="*/ 6305672 w 6689088"/>
                <a:gd name="connsiteY195" fmla="*/ 5302105 h 6689084"/>
                <a:gd name="connsiteX196" fmla="*/ 6307848 w 6689088"/>
                <a:gd name="connsiteY196" fmla="*/ 5304282 h 6689084"/>
                <a:gd name="connsiteX197" fmla="*/ 6305672 w 6689088"/>
                <a:gd name="connsiteY197" fmla="*/ 5306462 h 6689084"/>
                <a:gd name="connsiteX198" fmla="*/ 6303492 w 6689088"/>
                <a:gd name="connsiteY198" fmla="*/ 5304282 h 6689084"/>
                <a:gd name="connsiteX199" fmla="*/ 6305672 w 6689088"/>
                <a:gd name="connsiteY199" fmla="*/ 5302105 h 6689084"/>
                <a:gd name="connsiteX200" fmla="*/ 6459619 w 6689088"/>
                <a:gd name="connsiteY200" fmla="*/ 5301019 h 6689084"/>
                <a:gd name="connsiteX201" fmla="*/ 6462882 w 6689088"/>
                <a:gd name="connsiteY201" fmla="*/ 5304286 h 6689084"/>
                <a:gd name="connsiteX202" fmla="*/ 6459619 w 6689088"/>
                <a:gd name="connsiteY202" fmla="*/ 5307553 h 6689084"/>
                <a:gd name="connsiteX203" fmla="*/ 6456348 w 6689088"/>
                <a:gd name="connsiteY203" fmla="*/ 5304286 h 6689084"/>
                <a:gd name="connsiteX204" fmla="*/ 6459619 w 6689088"/>
                <a:gd name="connsiteY204" fmla="*/ 5301019 h 6689084"/>
                <a:gd name="connsiteX205" fmla="*/ 6613200 w 6689088"/>
                <a:gd name="connsiteY205" fmla="*/ 5299929 h 6689084"/>
                <a:gd name="connsiteX206" fmla="*/ 6617558 w 6689088"/>
                <a:gd name="connsiteY206" fmla="*/ 5304286 h 6689084"/>
                <a:gd name="connsiteX207" fmla="*/ 6613200 w 6689088"/>
                <a:gd name="connsiteY207" fmla="*/ 5308643 h 6689084"/>
                <a:gd name="connsiteX208" fmla="*/ 6608844 w 6689088"/>
                <a:gd name="connsiteY208" fmla="*/ 5304286 h 6689084"/>
                <a:gd name="connsiteX209" fmla="*/ 6613200 w 6689088"/>
                <a:gd name="connsiteY209" fmla="*/ 5299929 h 6689084"/>
                <a:gd name="connsiteX210" fmla="*/ 5844550 w 6689088"/>
                <a:gd name="connsiteY210" fmla="*/ 5150338 h 6689084"/>
                <a:gd name="connsiteX211" fmla="*/ 5844916 w 6689088"/>
                <a:gd name="connsiteY211" fmla="*/ 5150700 h 6689084"/>
                <a:gd name="connsiteX212" fmla="*/ 5844550 w 6689088"/>
                <a:gd name="connsiteY212" fmla="*/ 5151063 h 6689084"/>
                <a:gd name="connsiteX213" fmla="*/ 5844188 w 6689088"/>
                <a:gd name="connsiteY213" fmla="*/ 5150700 h 6689084"/>
                <a:gd name="connsiteX214" fmla="*/ 5844550 w 6689088"/>
                <a:gd name="connsiteY214" fmla="*/ 5150338 h 6689084"/>
                <a:gd name="connsiteX215" fmla="*/ 5383074 w 6689088"/>
                <a:gd name="connsiteY215" fmla="*/ 5150338 h 6689084"/>
                <a:gd name="connsiteX216" fmla="*/ 5383436 w 6689088"/>
                <a:gd name="connsiteY216" fmla="*/ 5150700 h 6689084"/>
                <a:gd name="connsiteX217" fmla="*/ 5383074 w 6689088"/>
                <a:gd name="connsiteY217" fmla="*/ 5151063 h 6689084"/>
                <a:gd name="connsiteX218" fmla="*/ 5382712 w 6689088"/>
                <a:gd name="connsiteY218" fmla="*/ 5150700 h 6689084"/>
                <a:gd name="connsiteX219" fmla="*/ 5383074 w 6689088"/>
                <a:gd name="connsiteY219" fmla="*/ 5150338 h 6689084"/>
                <a:gd name="connsiteX220" fmla="*/ 5229126 w 6689088"/>
                <a:gd name="connsiteY220" fmla="*/ 5150338 h 6689084"/>
                <a:gd name="connsiteX221" fmla="*/ 5229488 w 6689088"/>
                <a:gd name="connsiteY221" fmla="*/ 5150700 h 6689084"/>
                <a:gd name="connsiteX222" fmla="*/ 5229126 w 6689088"/>
                <a:gd name="connsiteY222" fmla="*/ 5151063 h 6689084"/>
                <a:gd name="connsiteX223" fmla="*/ 5228764 w 6689088"/>
                <a:gd name="connsiteY223" fmla="*/ 5150700 h 6689084"/>
                <a:gd name="connsiteX224" fmla="*/ 5229126 w 6689088"/>
                <a:gd name="connsiteY224" fmla="*/ 5150338 h 6689084"/>
                <a:gd name="connsiteX225" fmla="*/ 5075545 w 6689088"/>
                <a:gd name="connsiteY225" fmla="*/ 5149972 h 6689084"/>
                <a:gd name="connsiteX226" fmla="*/ 5076270 w 6689088"/>
                <a:gd name="connsiteY226" fmla="*/ 5150700 h 6689084"/>
                <a:gd name="connsiteX227" fmla="*/ 5075545 w 6689088"/>
                <a:gd name="connsiteY227" fmla="*/ 5151425 h 6689084"/>
                <a:gd name="connsiteX228" fmla="*/ 5074817 w 6689088"/>
                <a:gd name="connsiteY228" fmla="*/ 5150700 h 6689084"/>
                <a:gd name="connsiteX229" fmla="*/ 5075545 w 6689088"/>
                <a:gd name="connsiteY229" fmla="*/ 5149972 h 6689084"/>
                <a:gd name="connsiteX230" fmla="*/ 5998139 w 6689088"/>
                <a:gd name="connsiteY230" fmla="*/ 5149248 h 6689084"/>
                <a:gd name="connsiteX231" fmla="*/ 5999592 w 6689088"/>
                <a:gd name="connsiteY231" fmla="*/ 5150700 h 6689084"/>
                <a:gd name="connsiteX232" fmla="*/ 5998139 w 6689088"/>
                <a:gd name="connsiteY232" fmla="*/ 5152153 h 6689084"/>
                <a:gd name="connsiteX233" fmla="*/ 5996690 w 6689088"/>
                <a:gd name="connsiteY233" fmla="*/ 5150700 h 6689084"/>
                <a:gd name="connsiteX234" fmla="*/ 5998139 w 6689088"/>
                <a:gd name="connsiteY234" fmla="*/ 5149248 h 6689084"/>
                <a:gd name="connsiteX235" fmla="*/ 6152083 w 6689088"/>
                <a:gd name="connsiteY235" fmla="*/ 5148524 h 6689084"/>
                <a:gd name="connsiteX236" fmla="*/ 6154263 w 6689088"/>
                <a:gd name="connsiteY236" fmla="*/ 5150704 h 6689084"/>
                <a:gd name="connsiteX237" fmla="*/ 6152083 w 6689088"/>
                <a:gd name="connsiteY237" fmla="*/ 5152881 h 6689084"/>
                <a:gd name="connsiteX238" fmla="*/ 6149906 w 6689088"/>
                <a:gd name="connsiteY238" fmla="*/ 5150704 h 6689084"/>
                <a:gd name="connsiteX239" fmla="*/ 6152083 w 6689088"/>
                <a:gd name="connsiteY239" fmla="*/ 5148524 h 6689084"/>
                <a:gd name="connsiteX240" fmla="*/ 6305672 w 6689088"/>
                <a:gd name="connsiteY240" fmla="*/ 5147434 h 6689084"/>
                <a:gd name="connsiteX241" fmla="*/ 6308935 w 6689088"/>
                <a:gd name="connsiteY241" fmla="*/ 5150700 h 6689084"/>
                <a:gd name="connsiteX242" fmla="*/ 6305672 w 6689088"/>
                <a:gd name="connsiteY242" fmla="*/ 5153967 h 6689084"/>
                <a:gd name="connsiteX243" fmla="*/ 6302401 w 6689088"/>
                <a:gd name="connsiteY243" fmla="*/ 5150700 h 6689084"/>
                <a:gd name="connsiteX244" fmla="*/ 6305672 w 6689088"/>
                <a:gd name="connsiteY244" fmla="*/ 5147434 h 6689084"/>
                <a:gd name="connsiteX245" fmla="*/ 6459616 w 6689088"/>
                <a:gd name="connsiteY245" fmla="*/ 5145981 h 6689084"/>
                <a:gd name="connsiteX246" fmla="*/ 6463972 w 6689088"/>
                <a:gd name="connsiteY246" fmla="*/ 5150338 h 6689084"/>
                <a:gd name="connsiteX247" fmla="*/ 6459616 w 6689088"/>
                <a:gd name="connsiteY247" fmla="*/ 5154695 h 6689084"/>
                <a:gd name="connsiteX248" fmla="*/ 6455258 w 6689088"/>
                <a:gd name="connsiteY248" fmla="*/ 5150338 h 6689084"/>
                <a:gd name="connsiteX249" fmla="*/ 6459616 w 6689088"/>
                <a:gd name="connsiteY249" fmla="*/ 5145981 h 6689084"/>
                <a:gd name="connsiteX250" fmla="*/ 6613200 w 6689088"/>
                <a:gd name="connsiteY250" fmla="*/ 5144891 h 6689084"/>
                <a:gd name="connsiteX251" fmla="*/ 6619010 w 6689088"/>
                <a:gd name="connsiteY251" fmla="*/ 5150700 h 6689084"/>
                <a:gd name="connsiteX252" fmla="*/ 6613200 w 6689088"/>
                <a:gd name="connsiteY252" fmla="*/ 5156510 h 6689084"/>
                <a:gd name="connsiteX253" fmla="*/ 6607395 w 6689088"/>
                <a:gd name="connsiteY253" fmla="*/ 5150700 h 6689084"/>
                <a:gd name="connsiteX254" fmla="*/ 6613200 w 6689088"/>
                <a:gd name="connsiteY254" fmla="*/ 5144891 h 6689084"/>
                <a:gd name="connsiteX255" fmla="*/ 5690606 w 6689088"/>
                <a:gd name="connsiteY255" fmla="*/ 4996391 h 6689084"/>
                <a:gd name="connsiteX256" fmla="*/ 5690972 w 6689088"/>
                <a:gd name="connsiteY256" fmla="*/ 4996753 h 6689084"/>
                <a:gd name="connsiteX257" fmla="*/ 5690606 w 6689088"/>
                <a:gd name="connsiteY257" fmla="*/ 4997119 h 6689084"/>
                <a:gd name="connsiteX258" fmla="*/ 5690244 w 6689088"/>
                <a:gd name="connsiteY258" fmla="*/ 4996753 h 6689084"/>
                <a:gd name="connsiteX259" fmla="*/ 5690606 w 6689088"/>
                <a:gd name="connsiteY259" fmla="*/ 4996391 h 6689084"/>
                <a:gd name="connsiteX260" fmla="*/ 5229126 w 6689088"/>
                <a:gd name="connsiteY260" fmla="*/ 4996391 h 6689084"/>
                <a:gd name="connsiteX261" fmla="*/ 5229488 w 6689088"/>
                <a:gd name="connsiteY261" fmla="*/ 4996753 h 6689084"/>
                <a:gd name="connsiteX262" fmla="*/ 5229126 w 6689088"/>
                <a:gd name="connsiteY262" fmla="*/ 4997119 h 6689084"/>
                <a:gd name="connsiteX263" fmla="*/ 5228764 w 6689088"/>
                <a:gd name="connsiteY263" fmla="*/ 4996753 h 6689084"/>
                <a:gd name="connsiteX264" fmla="*/ 5229126 w 6689088"/>
                <a:gd name="connsiteY264" fmla="*/ 4996391 h 6689084"/>
                <a:gd name="connsiteX265" fmla="*/ 5075541 w 6689088"/>
                <a:gd name="connsiteY265" fmla="*/ 4996391 h 6689084"/>
                <a:gd name="connsiteX266" fmla="*/ 5075904 w 6689088"/>
                <a:gd name="connsiteY266" fmla="*/ 4996753 h 6689084"/>
                <a:gd name="connsiteX267" fmla="*/ 5075541 w 6689088"/>
                <a:gd name="connsiteY267" fmla="*/ 4997119 h 6689084"/>
                <a:gd name="connsiteX268" fmla="*/ 5075179 w 6689088"/>
                <a:gd name="connsiteY268" fmla="*/ 4996753 h 6689084"/>
                <a:gd name="connsiteX269" fmla="*/ 5075541 w 6689088"/>
                <a:gd name="connsiteY269" fmla="*/ 4996391 h 6689084"/>
                <a:gd name="connsiteX270" fmla="*/ 4921594 w 6689088"/>
                <a:gd name="connsiteY270" fmla="*/ 4996029 h 6689084"/>
                <a:gd name="connsiteX271" fmla="*/ 4922322 w 6689088"/>
                <a:gd name="connsiteY271" fmla="*/ 4996753 h 6689084"/>
                <a:gd name="connsiteX272" fmla="*/ 4921594 w 6689088"/>
                <a:gd name="connsiteY272" fmla="*/ 4997481 h 6689084"/>
                <a:gd name="connsiteX273" fmla="*/ 4920870 w 6689088"/>
                <a:gd name="connsiteY273" fmla="*/ 4996753 h 6689084"/>
                <a:gd name="connsiteX274" fmla="*/ 4921594 w 6689088"/>
                <a:gd name="connsiteY274" fmla="*/ 4996029 h 6689084"/>
                <a:gd name="connsiteX275" fmla="*/ 5844554 w 6689088"/>
                <a:gd name="connsiteY275" fmla="*/ 4995301 h 6689084"/>
                <a:gd name="connsiteX276" fmla="*/ 5846006 w 6689088"/>
                <a:gd name="connsiteY276" fmla="*/ 4996753 h 6689084"/>
                <a:gd name="connsiteX277" fmla="*/ 5844554 w 6689088"/>
                <a:gd name="connsiteY277" fmla="*/ 4998205 h 6689084"/>
                <a:gd name="connsiteX278" fmla="*/ 5843102 w 6689088"/>
                <a:gd name="connsiteY278" fmla="*/ 4996753 h 6689084"/>
                <a:gd name="connsiteX279" fmla="*/ 5844554 w 6689088"/>
                <a:gd name="connsiteY279" fmla="*/ 4995301 h 6689084"/>
                <a:gd name="connsiteX280" fmla="*/ 5998136 w 6689088"/>
                <a:gd name="connsiteY280" fmla="*/ 4994577 h 6689084"/>
                <a:gd name="connsiteX281" fmla="*/ 6000316 w 6689088"/>
                <a:gd name="connsiteY281" fmla="*/ 4996753 h 6689084"/>
                <a:gd name="connsiteX282" fmla="*/ 5998136 w 6689088"/>
                <a:gd name="connsiteY282" fmla="*/ 4998934 h 6689084"/>
                <a:gd name="connsiteX283" fmla="*/ 5995959 w 6689088"/>
                <a:gd name="connsiteY283" fmla="*/ 4996753 h 6689084"/>
                <a:gd name="connsiteX284" fmla="*/ 5998136 w 6689088"/>
                <a:gd name="connsiteY284" fmla="*/ 4994577 h 6689084"/>
                <a:gd name="connsiteX285" fmla="*/ 6152083 w 6689088"/>
                <a:gd name="connsiteY285" fmla="*/ 4993486 h 6689084"/>
                <a:gd name="connsiteX286" fmla="*/ 6155350 w 6689088"/>
                <a:gd name="connsiteY286" fmla="*/ 4996753 h 6689084"/>
                <a:gd name="connsiteX287" fmla="*/ 6152083 w 6689088"/>
                <a:gd name="connsiteY287" fmla="*/ 5000024 h 6689084"/>
                <a:gd name="connsiteX288" fmla="*/ 6148816 w 6689088"/>
                <a:gd name="connsiteY288" fmla="*/ 4996753 h 6689084"/>
                <a:gd name="connsiteX289" fmla="*/ 6152083 w 6689088"/>
                <a:gd name="connsiteY289" fmla="*/ 4993486 h 6689084"/>
                <a:gd name="connsiteX290" fmla="*/ 6305668 w 6689088"/>
                <a:gd name="connsiteY290" fmla="*/ 4992396 h 6689084"/>
                <a:gd name="connsiteX291" fmla="*/ 6310025 w 6689088"/>
                <a:gd name="connsiteY291" fmla="*/ 4996753 h 6689084"/>
                <a:gd name="connsiteX292" fmla="*/ 6305668 w 6689088"/>
                <a:gd name="connsiteY292" fmla="*/ 5001110 h 6689084"/>
                <a:gd name="connsiteX293" fmla="*/ 6301311 w 6689088"/>
                <a:gd name="connsiteY293" fmla="*/ 4996753 h 6689084"/>
                <a:gd name="connsiteX294" fmla="*/ 6305668 w 6689088"/>
                <a:gd name="connsiteY294" fmla="*/ 4992396 h 6689084"/>
                <a:gd name="connsiteX295" fmla="*/ 6459616 w 6689088"/>
                <a:gd name="connsiteY295" fmla="*/ 4990944 h 6689084"/>
                <a:gd name="connsiteX296" fmla="*/ 6465425 w 6689088"/>
                <a:gd name="connsiteY296" fmla="*/ 4996753 h 6689084"/>
                <a:gd name="connsiteX297" fmla="*/ 6459616 w 6689088"/>
                <a:gd name="connsiteY297" fmla="*/ 5002562 h 6689084"/>
                <a:gd name="connsiteX298" fmla="*/ 6453806 w 6689088"/>
                <a:gd name="connsiteY298" fmla="*/ 4996753 h 6689084"/>
                <a:gd name="connsiteX299" fmla="*/ 6459616 w 6689088"/>
                <a:gd name="connsiteY299" fmla="*/ 4990944 h 6689084"/>
                <a:gd name="connsiteX300" fmla="*/ 6613200 w 6689088"/>
                <a:gd name="connsiteY300" fmla="*/ 4989491 h 6689084"/>
                <a:gd name="connsiteX301" fmla="*/ 6620462 w 6689088"/>
                <a:gd name="connsiteY301" fmla="*/ 4996753 h 6689084"/>
                <a:gd name="connsiteX302" fmla="*/ 6613200 w 6689088"/>
                <a:gd name="connsiteY302" fmla="*/ 5004015 h 6689084"/>
                <a:gd name="connsiteX303" fmla="*/ 6605939 w 6689088"/>
                <a:gd name="connsiteY303" fmla="*/ 4996753 h 6689084"/>
                <a:gd name="connsiteX304" fmla="*/ 6613200 w 6689088"/>
                <a:gd name="connsiteY304" fmla="*/ 4989491 h 6689084"/>
                <a:gd name="connsiteX305" fmla="*/ 5536659 w 6689088"/>
                <a:gd name="connsiteY305" fmla="*/ 4842806 h 6689084"/>
                <a:gd name="connsiteX306" fmla="*/ 5537021 w 6689088"/>
                <a:gd name="connsiteY306" fmla="*/ 4843168 h 6689084"/>
                <a:gd name="connsiteX307" fmla="*/ 5536659 w 6689088"/>
                <a:gd name="connsiteY307" fmla="*/ 4843530 h 6689084"/>
                <a:gd name="connsiteX308" fmla="*/ 5536297 w 6689088"/>
                <a:gd name="connsiteY308" fmla="*/ 4843168 h 6689084"/>
                <a:gd name="connsiteX309" fmla="*/ 5536659 w 6689088"/>
                <a:gd name="connsiteY309" fmla="*/ 4842806 h 6689084"/>
                <a:gd name="connsiteX310" fmla="*/ 5075541 w 6689088"/>
                <a:gd name="connsiteY310" fmla="*/ 4842806 h 6689084"/>
                <a:gd name="connsiteX311" fmla="*/ 5075904 w 6689088"/>
                <a:gd name="connsiteY311" fmla="*/ 4843168 h 6689084"/>
                <a:gd name="connsiteX312" fmla="*/ 5075541 w 6689088"/>
                <a:gd name="connsiteY312" fmla="*/ 4843530 h 6689084"/>
                <a:gd name="connsiteX313" fmla="*/ 5075179 w 6689088"/>
                <a:gd name="connsiteY313" fmla="*/ 4843168 h 6689084"/>
                <a:gd name="connsiteX314" fmla="*/ 5075541 w 6689088"/>
                <a:gd name="connsiteY314" fmla="*/ 4842806 h 6689084"/>
                <a:gd name="connsiteX315" fmla="*/ 4921594 w 6689088"/>
                <a:gd name="connsiteY315" fmla="*/ 4842806 h 6689084"/>
                <a:gd name="connsiteX316" fmla="*/ 4921956 w 6689088"/>
                <a:gd name="connsiteY316" fmla="*/ 4843168 h 6689084"/>
                <a:gd name="connsiteX317" fmla="*/ 4921594 w 6689088"/>
                <a:gd name="connsiteY317" fmla="*/ 4843530 h 6689084"/>
                <a:gd name="connsiteX318" fmla="*/ 4921232 w 6689088"/>
                <a:gd name="connsiteY318" fmla="*/ 4843168 h 6689084"/>
                <a:gd name="connsiteX319" fmla="*/ 4921594 w 6689088"/>
                <a:gd name="connsiteY319" fmla="*/ 4842806 h 6689084"/>
                <a:gd name="connsiteX320" fmla="*/ 4768012 w 6689088"/>
                <a:gd name="connsiteY320" fmla="*/ 4842444 h 6689084"/>
                <a:gd name="connsiteX321" fmla="*/ 4768736 w 6689088"/>
                <a:gd name="connsiteY321" fmla="*/ 4843172 h 6689084"/>
                <a:gd name="connsiteX322" fmla="*/ 4768012 w 6689088"/>
                <a:gd name="connsiteY322" fmla="*/ 4843896 h 6689084"/>
                <a:gd name="connsiteX323" fmla="*/ 4767284 w 6689088"/>
                <a:gd name="connsiteY323" fmla="*/ 4843172 h 6689084"/>
                <a:gd name="connsiteX324" fmla="*/ 4768012 w 6689088"/>
                <a:gd name="connsiteY324" fmla="*/ 4842444 h 6689084"/>
                <a:gd name="connsiteX325" fmla="*/ 5690606 w 6689088"/>
                <a:gd name="connsiteY325" fmla="*/ 4841353 h 6689084"/>
                <a:gd name="connsiteX326" fmla="*/ 5692059 w 6689088"/>
                <a:gd name="connsiteY326" fmla="*/ 4842806 h 6689084"/>
                <a:gd name="connsiteX327" fmla="*/ 5690606 w 6689088"/>
                <a:gd name="connsiteY327" fmla="*/ 4844258 h 6689084"/>
                <a:gd name="connsiteX328" fmla="*/ 5689154 w 6689088"/>
                <a:gd name="connsiteY328" fmla="*/ 4842806 h 6689084"/>
                <a:gd name="connsiteX329" fmla="*/ 5690606 w 6689088"/>
                <a:gd name="connsiteY329" fmla="*/ 4841353 h 6689084"/>
                <a:gd name="connsiteX330" fmla="*/ 5844554 w 6689088"/>
                <a:gd name="connsiteY330" fmla="*/ 4840629 h 6689084"/>
                <a:gd name="connsiteX331" fmla="*/ 5846730 w 6689088"/>
                <a:gd name="connsiteY331" fmla="*/ 4842810 h 6689084"/>
                <a:gd name="connsiteX332" fmla="*/ 5844554 w 6689088"/>
                <a:gd name="connsiteY332" fmla="*/ 4844986 h 6689084"/>
                <a:gd name="connsiteX333" fmla="*/ 5842374 w 6689088"/>
                <a:gd name="connsiteY333" fmla="*/ 4842810 h 6689084"/>
                <a:gd name="connsiteX334" fmla="*/ 5844554 w 6689088"/>
                <a:gd name="connsiteY334" fmla="*/ 4840629 h 6689084"/>
                <a:gd name="connsiteX335" fmla="*/ 5998136 w 6689088"/>
                <a:gd name="connsiteY335" fmla="*/ 4839901 h 6689084"/>
                <a:gd name="connsiteX336" fmla="*/ 6001402 w 6689088"/>
                <a:gd name="connsiteY336" fmla="*/ 4843168 h 6689084"/>
                <a:gd name="connsiteX337" fmla="*/ 5998136 w 6689088"/>
                <a:gd name="connsiteY337" fmla="*/ 4846435 h 6689084"/>
                <a:gd name="connsiteX338" fmla="*/ 5994868 w 6689088"/>
                <a:gd name="connsiteY338" fmla="*/ 4843168 h 6689084"/>
                <a:gd name="connsiteX339" fmla="*/ 5998136 w 6689088"/>
                <a:gd name="connsiteY339" fmla="*/ 4839901 h 6689084"/>
                <a:gd name="connsiteX340" fmla="*/ 6152083 w 6689088"/>
                <a:gd name="connsiteY340" fmla="*/ 4838449 h 6689084"/>
                <a:gd name="connsiteX341" fmla="*/ 6156440 w 6689088"/>
                <a:gd name="connsiteY341" fmla="*/ 4842806 h 6689084"/>
                <a:gd name="connsiteX342" fmla="*/ 6152083 w 6689088"/>
                <a:gd name="connsiteY342" fmla="*/ 4847163 h 6689084"/>
                <a:gd name="connsiteX343" fmla="*/ 6147726 w 6689088"/>
                <a:gd name="connsiteY343" fmla="*/ 4842806 h 6689084"/>
                <a:gd name="connsiteX344" fmla="*/ 6152083 w 6689088"/>
                <a:gd name="connsiteY344" fmla="*/ 4838449 h 6689084"/>
                <a:gd name="connsiteX345" fmla="*/ 6305668 w 6689088"/>
                <a:gd name="connsiteY345" fmla="*/ 4836996 h 6689084"/>
                <a:gd name="connsiteX346" fmla="*/ 6311478 w 6689088"/>
                <a:gd name="connsiteY346" fmla="*/ 4842806 h 6689084"/>
                <a:gd name="connsiteX347" fmla="*/ 6305668 w 6689088"/>
                <a:gd name="connsiteY347" fmla="*/ 4848615 h 6689084"/>
                <a:gd name="connsiteX348" fmla="*/ 6299858 w 6689088"/>
                <a:gd name="connsiteY348" fmla="*/ 4842806 h 6689084"/>
                <a:gd name="connsiteX349" fmla="*/ 6305668 w 6689088"/>
                <a:gd name="connsiteY349" fmla="*/ 4836996 h 6689084"/>
                <a:gd name="connsiteX350" fmla="*/ 6459616 w 6689088"/>
                <a:gd name="connsiteY350" fmla="*/ 4835544 h 6689084"/>
                <a:gd name="connsiteX351" fmla="*/ 6466877 w 6689088"/>
                <a:gd name="connsiteY351" fmla="*/ 4842806 h 6689084"/>
                <a:gd name="connsiteX352" fmla="*/ 6459616 w 6689088"/>
                <a:gd name="connsiteY352" fmla="*/ 4850067 h 6689084"/>
                <a:gd name="connsiteX353" fmla="*/ 6452354 w 6689088"/>
                <a:gd name="connsiteY353" fmla="*/ 4842806 h 6689084"/>
                <a:gd name="connsiteX354" fmla="*/ 6459616 w 6689088"/>
                <a:gd name="connsiteY354" fmla="*/ 4835544 h 6689084"/>
                <a:gd name="connsiteX355" fmla="*/ 6613200 w 6689088"/>
                <a:gd name="connsiteY355" fmla="*/ 4833730 h 6689084"/>
                <a:gd name="connsiteX356" fmla="*/ 6622280 w 6689088"/>
                <a:gd name="connsiteY356" fmla="*/ 4842806 h 6689084"/>
                <a:gd name="connsiteX357" fmla="*/ 6613200 w 6689088"/>
                <a:gd name="connsiteY357" fmla="*/ 4851886 h 6689084"/>
                <a:gd name="connsiteX358" fmla="*/ 6604124 w 6689088"/>
                <a:gd name="connsiteY358" fmla="*/ 4842806 h 6689084"/>
                <a:gd name="connsiteX359" fmla="*/ 6613200 w 6689088"/>
                <a:gd name="connsiteY359" fmla="*/ 4833730 h 6689084"/>
                <a:gd name="connsiteX360" fmla="*/ 5383074 w 6689088"/>
                <a:gd name="connsiteY360" fmla="*/ 4688858 h 6689084"/>
                <a:gd name="connsiteX361" fmla="*/ 5383436 w 6689088"/>
                <a:gd name="connsiteY361" fmla="*/ 4689220 h 6689084"/>
                <a:gd name="connsiteX362" fmla="*/ 5383074 w 6689088"/>
                <a:gd name="connsiteY362" fmla="*/ 4689586 h 6689084"/>
                <a:gd name="connsiteX363" fmla="*/ 5382712 w 6689088"/>
                <a:gd name="connsiteY363" fmla="*/ 4689220 h 6689084"/>
                <a:gd name="connsiteX364" fmla="*/ 5383074 w 6689088"/>
                <a:gd name="connsiteY364" fmla="*/ 4688858 h 6689084"/>
                <a:gd name="connsiteX365" fmla="*/ 4921594 w 6689088"/>
                <a:gd name="connsiteY365" fmla="*/ 4688858 h 6689084"/>
                <a:gd name="connsiteX366" fmla="*/ 4921956 w 6689088"/>
                <a:gd name="connsiteY366" fmla="*/ 4689220 h 6689084"/>
                <a:gd name="connsiteX367" fmla="*/ 4921594 w 6689088"/>
                <a:gd name="connsiteY367" fmla="*/ 4689586 h 6689084"/>
                <a:gd name="connsiteX368" fmla="*/ 4921232 w 6689088"/>
                <a:gd name="connsiteY368" fmla="*/ 4689220 h 6689084"/>
                <a:gd name="connsiteX369" fmla="*/ 4921594 w 6689088"/>
                <a:gd name="connsiteY369" fmla="*/ 4688858 h 6689084"/>
                <a:gd name="connsiteX370" fmla="*/ 4768008 w 6689088"/>
                <a:gd name="connsiteY370" fmla="*/ 4688858 h 6689084"/>
                <a:gd name="connsiteX371" fmla="*/ 4768370 w 6689088"/>
                <a:gd name="connsiteY371" fmla="*/ 4689220 h 6689084"/>
                <a:gd name="connsiteX372" fmla="*/ 4768008 w 6689088"/>
                <a:gd name="connsiteY372" fmla="*/ 4689586 h 6689084"/>
                <a:gd name="connsiteX373" fmla="*/ 4767646 w 6689088"/>
                <a:gd name="connsiteY373" fmla="*/ 4689220 h 6689084"/>
                <a:gd name="connsiteX374" fmla="*/ 4768008 w 6689088"/>
                <a:gd name="connsiteY374" fmla="*/ 4688858 h 6689084"/>
                <a:gd name="connsiteX375" fmla="*/ 4614065 w 6689088"/>
                <a:gd name="connsiteY375" fmla="*/ 4688496 h 6689084"/>
                <a:gd name="connsiteX376" fmla="*/ 4614789 w 6689088"/>
                <a:gd name="connsiteY376" fmla="*/ 4689220 h 6689084"/>
                <a:gd name="connsiteX377" fmla="*/ 4614065 w 6689088"/>
                <a:gd name="connsiteY377" fmla="*/ 4689949 h 6689084"/>
                <a:gd name="connsiteX378" fmla="*/ 4613337 w 6689088"/>
                <a:gd name="connsiteY378" fmla="*/ 4689220 h 6689084"/>
                <a:gd name="connsiteX379" fmla="*/ 4614065 w 6689088"/>
                <a:gd name="connsiteY379" fmla="*/ 4688496 h 6689084"/>
                <a:gd name="connsiteX380" fmla="*/ 5536659 w 6689088"/>
                <a:gd name="connsiteY380" fmla="*/ 4687406 h 6689084"/>
                <a:gd name="connsiteX381" fmla="*/ 5538112 w 6689088"/>
                <a:gd name="connsiteY381" fmla="*/ 4688858 h 6689084"/>
                <a:gd name="connsiteX382" fmla="*/ 5536659 w 6689088"/>
                <a:gd name="connsiteY382" fmla="*/ 4690311 h 6689084"/>
                <a:gd name="connsiteX383" fmla="*/ 5535207 w 6689088"/>
                <a:gd name="connsiteY383" fmla="*/ 4688858 h 6689084"/>
                <a:gd name="connsiteX384" fmla="*/ 5536659 w 6689088"/>
                <a:gd name="connsiteY384" fmla="*/ 4687406 h 6689084"/>
                <a:gd name="connsiteX385" fmla="*/ 5690602 w 6689088"/>
                <a:gd name="connsiteY385" fmla="*/ 4687044 h 6689084"/>
                <a:gd name="connsiteX386" fmla="*/ 5692783 w 6689088"/>
                <a:gd name="connsiteY386" fmla="*/ 4689220 h 6689084"/>
                <a:gd name="connsiteX387" fmla="*/ 5690602 w 6689088"/>
                <a:gd name="connsiteY387" fmla="*/ 4691401 h 6689084"/>
                <a:gd name="connsiteX388" fmla="*/ 5688426 w 6689088"/>
                <a:gd name="connsiteY388" fmla="*/ 4689220 h 6689084"/>
                <a:gd name="connsiteX389" fmla="*/ 5690602 w 6689088"/>
                <a:gd name="connsiteY389" fmla="*/ 4687044 h 6689084"/>
                <a:gd name="connsiteX390" fmla="*/ 5844554 w 6689088"/>
                <a:gd name="connsiteY390" fmla="*/ 4685954 h 6689084"/>
                <a:gd name="connsiteX391" fmla="*/ 5847817 w 6689088"/>
                <a:gd name="connsiteY391" fmla="*/ 4689220 h 6689084"/>
                <a:gd name="connsiteX392" fmla="*/ 5844554 w 6689088"/>
                <a:gd name="connsiteY392" fmla="*/ 4692491 h 6689084"/>
                <a:gd name="connsiteX393" fmla="*/ 5841284 w 6689088"/>
                <a:gd name="connsiteY393" fmla="*/ 4689220 h 6689084"/>
                <a:gd name="connsiteX394" fmla="*/ 5844554 w 6689088"/>
                <a:gd name="connsiteY394" fmla="*/ 4685954 h 6689084"/>
                <a:gd name="connsiteX395" fmla="*/ 5998136 w 6689088"/>
                <a:gd name="connsiteY395" fmla="*/ 4684863 h 6689084"/>
                <a:gd name="connsiteX396" fmla="*/ 6002492 w 6689088"/>
                <a:gd name="connsiteY396" fmla="*/ 4689220 h 6689084"/>
                <a:gd name="connsiteX397" fmla="*/ 5998136 w 6689088"/>
                <a:gd name="connsiteY397" fmla="*/ 4693577 h 6689084"/>
                <a:gd name="connsiteX398" fmla="*/ 5993778 w 6689088"/>
                <a:gd name="connsiteY398" fmla="*/ 4689220 h 6689084"/>
                <a:gd name="connsiteX399" fmla="*/ 5998136 w 6689088"/>
                <a:gd name="connsiteY399" fmla="*/ 4684863 h 6689084"/>
                <a:gd name="connsiteX400" fmla="*/ 6152086 w 6689088"/>
                <a:gd name="connsiteY400" fmla="*/ 4683411 h 6689084"/>
                <a:gd name="connsiteX401" fmla="*/ 6157896 w 6689088"/>
                <a:gd name="connsiteY401" fmla="*/ 4689220 h 6689084"/>
                <a:gd name="connsiteX402" fmla="*/ 6152086 w 6689088"/>
                <a:gd name="connsiteY402" fmla="*/ 4695030 h 6689084"/>
                <a:gd name="connsiteX403" fmla="*/ 6146277 w 6689088"/>
                <a:gd name="connsiteY403" fmla="*/ 4689220 h 6689084"/>
                <a:gd name="connsiteX404" fmla="*/ 6152086 w 6689088"/>
                <a:gd name="connsiteY404" fmla="*/ 4683411 h 6689084"/>
                <a:gd name="connsiteX405" fmla="*/ 6305668 w 6689088"/>
                <a:gd name="connsiteY405" fmla="*/ 4681959 h 6689084"/>
                <a:gd name="connsiteX406" fmla="*/ 6312930 w 6689088"/>
                <a:gd name="connsiteY406" fmla="*/ 4689220 h 6689084"/>
                <a:gd name="connsiteX407" fmla="*/ 6305668 w 6689088"/>
                <a:gd name="connsiteY407" fmla="*/ 4696482 h 6689084"/>
                <a:gd name="connsiteX408" fmla="*/ 6298406 w 6689088"/>
                <a:gd name="connsiteY408" fmla="*/ 4689220 h 6689084"/>
                <a:gd name="connsiteX409" fmla="*/ 6305668 w 6689088"/>
                <a:gd name="connsiteY409" fmla="*/ 4681959 h 6689084"/>
                <a:gd name="connsiteX410" fmla="*/ 6459616 w 6689088"/>
                <a:gd name="connsiteY410" fmla="*/ 4680144 h 6689084"/>
                <a:gd name="connsiteX411" fmla="*/ 6468696 w 6689088"/>
                <a:gd name="connsiteY411" fmla="*/ 4689220 h 6689084"/>
                <a:gd name="connsiteX412" fmla="*/ 6459616 w 6689088"/>
                <a:gd name="connsiteY412" fmla="*/ 4698300 h 6689084"/>
                <a:gd name="connsiteX413" fmla="*/ 6450540 w 6689088"/>
                <a:gd name="connsiteY413" fmla="*/ 4689220 h 6689084"/>
                <a:gd name="connsiteX414" fmla="*/ 6459616 w 6689088"/>
                <a:gd name="connsiteY414" fmla="*/ 4680144 h 6689084"/>
                <a:gd name="connsiteX415" fmla="*/ 6613200 w 6689088"/>
                <a:gd name="connsiteY415" fmla="*/ 4679054 h 6689084"/>
                <a:gd name="connsiteX416" fmla="*/ 6623367 w 6689088"/>
                <a:gd name="connsiteY416" fmla="*/ 4689220 h 6689084"/>
                <a:gd name="connsiteX417" fmla="*/ 6613200 w 6689088"/>
                <a:gd name="connsiteY417" fmla="*/ 4699387 h 6689084"/>
                <a:gd name="connsiteX418" fmla="*/ 6603034 w 6689088"/>
                <a:gd name="connsiteY418" fmla="*/ 4689220 h 6689084"/>
                <a:gd name="connsiteX419" fmla="*/ 6613200 w 6689088"/>
                <a:gd name="connsiteY419" fmla="*/ 4679054 h 6689084"/>
                <a:gd name="connsiteX420" fmla="*/ 5229126 w 6689088"/>
                <a:gd name="connsiteY420" fmla="*/ 4535273 h 6689084"/>
                <a:gd name="connsiteX421" fmla="*/ 5229488 w 6689088"/>
                <a:gd name="connsiteY421" fmla="*/ 4535635 h 6689084"/>
                <a:gd name="connsiteX422" fmla="*/ 5229126 w 6689088"/>
                <a:gd name="connsiteY422" fmla="*/ 4535997 h 6689084"/>
                <a:gd name="connsiteX423" fmla="*/ 5228764 w 6689088"/>
                <a:gd name="connsiteY423" fmla="*/ 4535635 h 6689084"/>
                <a:gd name="connsiteX424" fmla="*/ 5229126 w 6689088"/>
                <a:gd name="connsiteY424" fmla="*/ 4535273 h 6689084"/>
                <a:gd name="connsiteX425" fmla="*/ 4768008 w 6689088"/>
                <a:gd name="connsiteY425" fmla="*/ 4535273 h 6689084"/>
                <a:gd name="connsiteX426" fmla="*/ 4768370 w 6689088"/>
                <a:gd name="connsiteY426" fmla="*/ 4535635 h 6689084"/>
                <a:gd name="connsiteX427" fmla="*/ 4768008 w 6689088"/>
                <a:gd name="connsiteY427" fmla="*/ 4535997 h 6689084"/>
                <a:gd name="connsiteX428" fmla="*/ 4767646 w 6689088"/>
                <a:gd name="connsiteY428" fmla="*/ 4535635 h 6689084"/>
                <a:gd name="connsiteX429" fmla="*/ 4768008 w 6689088"/>
                <a:gd name="connsiteY429" fmla="*/ 4535273 h 6689084"/>
                <a:gd name="connsiteX430" fmla="*/ 4614061 w 6689088"/>
                <a:gd name="connsiteY430" fmla="*/ 4535273 h 6689084"/>
                <a:gd name="connsiteX431" fmla="*/ 4614424 w 6689088"/>
                <a:gd name="connsiteY431" fmla="*/ 4535635 h 6689084"/>
                <a:gd name="connsiteX432" fmla="*/ 4614061 w 6689088"/>
                <a:gd name="connsiteY432" fmla="*/ 4535997 h 6689084"/>
                <a:gd name="connsiteX433" fmla="*/ 4613699 w 6689088"/>
                <a:gd name="connsiteY433" fmla="*/ 4535635 h 6689084"/>
                <a:gd name="connsiteX434" fmla="*/ 4614061 w 6689088"/>
                <a:gd name="connsiteY434" fmla="*/ 4535273 h 6689084"/>
                <a:gd name="connsiteX435" fmla="*/ 4460480 w 6689088"/>
                <a:gd name="connsiteY435" fmla="*/ 4534911 h 6689084"/>
                <a:gd name="connsiteX436" fmla="*/ 4461204 w 6689088"/>
                <a:gd name="connsiteY436" fmla="*/ 4535635 h 6689084"/>
                <a:gd name="connsiteX437" fmla="*/ 4460480 w 6689088"/>
                <a:gd name="connsiteY437" fmla="*/ 4536363 h 6689084"/>
                <a:gd name="connsiteX438" fmla="*/ 4459752 w 6689088"/>
                <a:gd name="connsiteY438" fmla="*/ 4535635 h 6689084"/>
                <a:gd name="connsiteX439" fmla="*/ 4460480 w 6689088"/>
                <a:gd name="connsiteY439" fmla="*/ 4534911 h 6689084"/>
                <a:gd name="connsiteX440" fmla="*/ 5383074 w 6689088"/>
                <a:gd name="connsiteY440" fmla="*/ 4533821 h 6689084"/>
                <a:gd name="connsiteX441" fmla="*/ 5384526 w 6689088"/>
                <a:gd name="connsiteY441" fmla="*/ 4535273 h 6689084"/>
                <a:gd name="connsiteX442" fmla="*/ 5383074 w 6689088"/>
                <a:gd name="connsiteY442" fmla="*/ 4536725 h 6689084"/>
                <a:gd name="connsiteX443" fmla="*/ 5381622 w 6689088"/>
                <a:gd name="connsiteY443" fmla="*/ 4535273 h 6689084"/>
                <a:gd name="connsiteX444" fmla="*/ 5383074 w 6689088"/>
                <a:gd name="connsiteY444" fmla="*/ 4533821 h 6689084"/>
                <a:gd name="connsiteX445" fmla="*/ 5536659 w 6689088"/>
                <a:gd name="connsiteY445" fmla="*/ 4533096 h 6689084"/>
                <a:gd name="connsiteX446" fmla="*/ 5538840 w 6689088"/>
                <a:gd name="connsiteY446" fmla="*/ 4535277 h 6689084"/>
                <a:gd name="connsiteX447" fmla="*/ 5536659 w 6689088"/>
                <a:gd name="connsiteY447" fmla="*/ 4537453 h 6689084"/>
                <a:gd name="connsiteX448" fmla="*/ 5534482 w 6689088"/>
                <a:gd name="connsiteY448" fmla="*/ 4535277 h 6689084"/>
                <a:gd name="connsiteX449" fmla="*/ 5536659 w 6689088"/>
                <a:gd name="connsiteY449" fmla="*/ 4533096 h 6689084"/>
                <a:gd name="connsiteX450" fmla="*/ 5690606 w 6689088"/>
                <a:gd name="connsiteY450" fmla="*/ 4532368 h 6689084"/>
                <a:gd name="connsiteX451" fmla="*/ 5693870 w 6689088"/>
                <a:gd name="connsiteY451" fmla="*/ 4535635 h 6689084"/>
                <a:gd name="connsiteX452" fmla="*/ 5690606 w 6689088"/>
                <a:gd name="connsiteY452" fmla="*/ 4538906 h 6689084"/>
                <a:gd name="connsiteX453" fmla="*/ 5687336 w 6689088"/>
                <a:gd name="connsiteY453" fmla="*/ 4535635 h 6689084"/>
                <a:gd name="connsiteX454" fmla="*/ 5690606 w 6689088"/>
                <a:gd name="connsiteY454" fmla="*/ 4532368 h 6689084"/>
                <a:gd name="connsiteX455" fmla="*/ 5844554 w 6689088"/>
                <a:gd name="connsiteY455" fmla="*/ 4530916 h 6689084"/>
                <a:gd name="connsiteX456" fmla="*/ 5848911 w 6689088"/>
                <a:gd name="connsiteY456" fmla="*/ 4535273 h 6689084"/>
                <a:gd name="connsiteX457" fmla="*/ 5844554 w 6689088"/>
                <a:gd name="connsiteY457" fmla="*/ 4539630 h 6689084"/>
                <a:gd name="connsiteX458" fmla="*/ 5840197 w 6689088"/>
                <a:gd name="connsiteY458" fmla="*/ 4535273 h 6689084"/>
                <a:gd name="connsiteX459" fmla="*/ 5844554 w 6689088"/>
                <a:gd name="connsiteY459" fmla="*/ 4530916 h 6689084"/>
                <a:gd name="connsiteX460" fmla="*/ 5998139 w 6689088"/>
                <a:gd name="connsiteY460" fmla="*/ 4529830 h 6689084"/>
                <a:gd name="connsiteX461" fmla="*/ 6003948 w 6689088"/>
                <a:gd name="connsiteY461" fmla="*/ 4535639 h 6689084"/>
                <a:gd name="connsiteX462" fmla="*/ 5998139 w 6689088"/>
                <a:gd name="connsiteY462" fmla="*/ 4541448 h 6689084"/>
                <a:gd name="connsiteX463" fmla="*/ 5992330 w 6689088"/>
                <a:gd name="connsiteY463" fmla="*/ 4535639 h 6689084"/>
                <a:gd name="connsiteX464" fmla="*/ 5998139 w 6689088"/>
                <a:gd name="connsiteY464" fmla="*/ 4529830 h 6689084"/>
                <a:gd name="connsiteX465" fmla="*/ 6152086 w 6689088"/>
                <a:gd name="connsiteY465" fmla="*/ 4528011 h 6689084"/>
                <a:gd name="connsiteX466" fmla="*/ 6159348 w 6689088"/>
                <a:gd name="connsiteY466" fmla="*/ 4535273 h 6689084"/>
                <a:gd name="connsiteX467" fmla="*/ 6152086 w 6689088"/>
                <a:gd name="connsiteY467" fmla="*/ 4542535 h 6689084"/>
                <a:gd name="connsiteX468" fmla="*/ 6144825 w 6689088"/>
                <a:gd name="connsiteY468" fmla="*/ 4535273 h 6689084"/>
                <a:gd name="connsiteX469" fmla="*/ 6152086 w 6689088"/>
                <a:gd name="connsiteY469" fmla="*/ 4528011 h 6689084"/>
                <a:gd name="connsiteX470" fmla="*/ 6305668 w 6689088"/>
                <a:gd name="connsiteY470" fmla="*/ 4526197 h 6689084"/>
                <a:gd name="connsiteX471" fmla="*/ 6314748 w 6689088"/>
                <a:gd name="connsiteY471" fmla="*/ 4535273 h 6689084"/>
                <a:gd name="connsiteX472" fmla="*/ 6305668 w 6689088"/>
                <a:gd name="connsiteY472" fmla="*/ 4544353 h 6689084"/>
                <a:gd name="connsiteX473" fmla="*/ 6296592 w 6689088"/>
                <a:gd name="connsiteY473" fmla="*/ 4535273 h 6689084"/>
                <a:gd name="connsiteX474" fmla="*/ 6305668 w 6689088"/>
                <a:gd name="connsiteY474" fmla="*/ 4526197 h 6689084"/>
                <a:gd name="connsiteX475" fmla="*/ 6459616 w 6689088"/>
                <a:gd name="connsiteY475" fmla="*/ 4525469 h 6689084"/>
                <a:gd name="connsiteX476" fmla="*/ 6469782 w 6689088"/>
                <a:gd name="connsiteY476" fmla="*/ 4535635 h 6689084"/>
                <a:gd name="connsiteX477" fmla="*/ 6459616 w 6689088"/>
                <a:gd name="connsiteY477" fmla="*/ 4545802 h 6689084"/>
                <a:gd name="connsiteX478" fmla="*/ 6449449 w 6689088"/>
                <a:gd name="connsiteY478" fmla="*/ 4535635 h 6689084"/>
                <a:gd name="connsiteX479" fmla="*/ 6459616 w 6689088"/>
                <a:gd name="connsiteY479" fmla="*/ 4525469 h 6689084"/>
                <a:gd name="connsiteX480" fmla="*/ 6613197 w 6689088"/>
                <a:gd name="connsiteY480" fmla="*/ 4523292 h 6689084"/>
                <a:gd name="connsiteX481" fmla="*/ 6625182 w 6689088"/>
                <a:gd name="connsiteY481" fmla="*/ 4535273 h 6689084"/>
                <a:gd name="connsiteX482" fmla="*/ 6613197 w 6689088"/>
                <a:gd name="connsiteY482" fmla="*/ 4547254 h 6689084"/>
                <a:gd name="connsiteX483" fmla="*/ 6601216 w 6689088"/>
                <a:gd name="connsiteY483" fmla="*/ 4535273 h 6689084"/>
                <a:gd name="connsiteX484" fmla="*/ 6613197 w 6689088"/>
                <a:gd name="connsiteY484" fmla="*/ 4523292 h 6689084"/>
                <a:gd name="connsiteX485" fmla="*/ 5075541 w 6689088"/>
                <a:gd name="connsiteY485" fmla="*/ 4381326 h 6689084"/>
                <a:gd name="connsiteX486" fmla="*/ 5075904 w 6689088"/>
                <a:gd name="connsiteY486" fmla="*/ 4381688 h 6689084"/>
                <a:gd name="connsiteX487" fmla="*/ 5075541 w 6689088"/>
                <a:gd name="connsiteY487" fmla="*/ 4382054 h 6689084"/>
                <a:gd name="connsiteX488" fmla="*/ 5075179 w 6689088"/>
                <a:gd name="connsiteY488" fmla="*/ 4381688 h 6689084"/>
                <a:gd name="connsiteX489" fmla="*/ 5075541 w 6689088"/>
                <a:gd name="connsiteY489" fmla="*/ 4381326 h 6689084"/>
                <a:gd name="connsiteX490" fmla="*/ 4614061 w 6689088"/>
                <a:gd name="connsiteY490" fmla="*/ 4381326 h 6689084"/>
                <a:gd name="connsiteX491" fmla="*/ 4614424 w 6689088"/>
                <a:gd name="connsiteY491" fmla="*/ 4381688 h 6689084"/>
                <a:gd name="connsiteX492" fmla="*/ 4614061 w 6689088"/>
                <a:gd name="connsiteY492" fmla="*/ 4382054 h 6689084"/>
                <a:gd name="connsiteX493" fmla="*/ 4613699 w 6689088"/>
                <a:gd name="connsiteY493" fmla="*/ 4381688 h 6689084"/>
                <a:gd name="connsiteX494" fmla="*/ 4614061 w 6689088"/>
                <a:gd name="connsiteY494" fmla="*/ 4381326 h 6689084"/>
                <a:gd name="connsiteX495" fmla="*/ 4460480 w 6689088"/>
                <a:gd name="connsiteY495" fmla="*/ 4381326 h 6689084"/>
                <a:gd name="connsiteX496" fmla="*/ 4460842 w 6689088"/>
                <a:gd name="connsiteY496" fmla="*/ 4381688 h 6689084"/>
                <a:gd name="connsiteX497" fmla="*/ 4460480 w 6689088"/>
                <a:gd name="connsiteY497" fmla="*/ 4382054 h 6689084"/>
                <a:gd name="connsiteX498" fmla="*/ 4460118 w 6689088"/>
                <a:gd name="connsiteY498" fmla="*/ 4381688 h 6689084"/>
                <a:gd name="connsiteX499" fmla="*/ 4460480 w 6689088"/>
                <a:gd name="connsiteY499" fmla="*/ 4381326 h 6689084"/>
                <a:gd name="connsiteX500" fmla="*/ 4306528 w 6689088"/>
                <a:gd name="connsiteY500" fmla="*/ 4380964 h 6689084"/>
                <a:gd name="connsiteX501" fmla="*/ 4307256 w 6689088"/>
                <a:gd name="connsiteY501" fmla="*/ 4381688 h 6689084"/>
                <a:gd name="connsiteX502" fmla="*/ 4306528 w 6689088"/>
                <a:gd name="connsiteY502" fmla="*/ 4382416 h 6689084"/>
                <a:gd name="connsiteX503" fmla="*/ 4305804 w 6689088"/>
                <a:gd name="connsiteY503" fmla="*/ 4381688 h 6689084"/>
                <a:gd name="connsiteX504" fmla="*/ 4306528 w 6689088"/>
                <a:gd name="connsiteY504" fmla="*/ 4380964 h 6689084"/>
                <a:gd name="connsiteX505" fmla="*/ 5229126 w 6689088"/>
                <a:gd name="connsiteY505" fmla="*/ 4379873 h 6689084"/>
                <a:gd name="connsiteX506" fmla="*/ 5230579 w 6689088"/>
                <a:gd name="connsiteY506" fmla="*/ 4381326 h 6689084"/>
                <a:gd name="connsiteX507" fmla="*/ 5229126 w 6689088"/>
                <a:gd name="connsiteY507" fmla="*/ 4382778 h 6689084"/>
                <a:gd name="connsiteX508" fmla="*/ 5227674 w 6689088"/>
                <a:gd name="connsiteY508" fmla="*/ 4381326 h 6689084"/>
                <a:gd name="connsiteX509" fmla="*/ 5229126 w 6689088"/>
                <a:gd name="connsiteY509" fmla="*/ 4379873 h 6689084"/>
                <a:gd name="connsiteX510" fmla="*/ 5383074 w 6689088"/>
                <a:gd name="connsiteY510" fmla="*/ 4379511 h 6689084"/>
                <a:gd name="connsiteX511" fmla="*/ 5385250 w 6689088"/>
                <a:gd name="connsiteY511" fmla="*/ 4381688 h 6689084"/>
                <a:gd name="connsiteX512" fmla="*/ 5383074 w 6689088"/>
                <a:gd name="connsiteY512" fmla="*/ 4383868 h 6689084"/>
                <a:gd name="connsiteX513" fmla="*/ 5380894 w 6689088"/>
                <a:gd name="connsiteY513" fmla="*/ 4381688 h 6689084"/>
                <a:gd name="connsiteX514" fmla="*/ 5383074 w 6689088"/>
                <a:gd name="connsiteY514" fmla="*/ 4379511 h 6689084"/>
                <a:gd name="connsiteX515" fmla="*/ 5536659 w 6689088"/>
                <a:gd name="connsiteY515" fmla="*/ 4378421 h 6689084"/>
                <a:gd name="connsiteX516" fmla="*/ 5539922 w 6689088"/>
                <a:gd name="connsiteY516" fmla="*/ 4381688 h 6689084"/>
                <a:gd name="connsiteX517" fmla="*/ 5536659 w 6689088"/>
                <a:gd name="connsiteY517" fmla="*/ 4384958 h 6689084"/>
                <a:gd name="connsiteX518" fmla="*/ 5533388 w 6689088"/>
                <a:gd name="connsiteY518" fmla="*/ 4381688 h 6689084"/>
                <a:gd name="connsiteX519" fmla="*/ 5536659 w 6689088"/>
                <a:gd name="connsiteY519" fmla="*/ 4378421 h 6689084"/>
                <a:gd name="connsiteX520" fmla="*/ 5690606 w 6689088"/>
                <a:gd name="connsiteY520" fmla="*/ 4377331 h 6689084"/>
                <a:gd name="connsiteX521" fmla="*/ 5694964 w 6689088"/>
                <a:gd name="connsiteY521" fmla="*/ 4381688 h 6689084"/>
                <a:gd name="connsiteX522" fmla="*/ 5690606 w 6689088"/>
                <a:gd name="connsiteY522" fmla="*/ 4386045 h 6689084"/>
                <a:gd name="connsiteX523" fmla="*/ 5686250 w 6689088"/>
                <a:gd name="connsiteY523" fmla="*/ 4381688 h 6689084"/>
                <a:gd name="connsiteX524" fmla="*/ 5690606 w 6689088"/>
                <a:gd name="connsiteY524" fmla="*/ 4377331 h 6689084"/>
                <a:gd name="connsiteX525" fmla="*/ 5844550 w 6689088"/>
                <a:gd name="connsiteY525" fmla="*/ 4375878 h 6689084"/>
                <a:gd name="connsiteX526" fmla="*/ 5850360 w 6689088"/>
                <a:gd name="connsiteY526" fmla="*/ 4381688 h 6689084"/>
                <a:gd name="connsiteX527" fmla="*/ 5844550 w 6689088"/>
                <a:gd name="connsiteY527" fmla="*/ 4387497 h 6689084"/>
                <a:gd name="connsiteX528" fmla="*/ 5838741 w 6689088"/>
                <a:gd name="connsiteY528" fmla="*/ 4381688 h 6689084"/>
                <a:gd name="connsiteX529" fmla="*/ 5844550 w 6689088"/>
                <a:gd name="connsiteY529" fmla="*/ 4375878 h 6689084"/>
                <a:gd name="connsiteX530" fmla="*/ 5998136 w 6689088"/>
                <a:gd name="connsiteY530" fmla="*/ 4374430 h 6689084"/>
                <a:gd name="connsiteX531" fmla="*/ 6005397 w 6689088"/>
                <a:gd name="connsiteY531" fmla="*/ 4381692 h 6689084"/>
                <a:gd name="connsiteX532" fmla="*/ 5998136 w 6689088"/>
                <a:gd name="connsiteY532" fmla="*/ 4388953 h 6689084"/>
                <a:gd name="connsiteX533" fmla="*/ 5990874 w 6689088"/>
                <a:gd name="connsiteY533" fmla="*/ 4381692 h 6689084"/>
                <a:gd name="connsiteX534" fmla="*/ 5998136 w 6689088"/>
                <a:gd name="connsiteY534" fmla="*/ 4374430 h 6689084"/>
                <a:gd name="connsiteX535" fmla="*/ 6152083 w 6689088"/>
                <a:gd name="connsiteY535" fmla="*/ 4372612 h 6689084"/>
                <a:gd name="connsiteX536" fmla="*/ 6161162 w 6689088"/>
                <a:gd name="connsiteY536" fmla="*/ 4381688 h 6689084"/>
                <a:gd name="connsiteX537" fmla="*/ 6152083 w 6689088"/>
                <a:gd name="connsiteY537" fmla="*/ 4390768 h 6689084"/>
                <a:gd name="connsiteX538" fmla="*/ 6143006 w 6689088"/>
                <a:gd name="connsiteY538" fmla="*/ 4381688 h 6689084"/>
                <a:gd name="connsiteX539" fmla="*/ 6152083 w 6689088"/>
                <a:gd name="connsiteY539" fmla="*/ 4372612 h 6689084"/>
                <a:gd name="connsiteX540" fmla="*/ 6305668 w 6689088"/>
                <a:gd name="connsiteY540" fmla="*/ 4371525 h 6689084"/>
                <a:gd name="connsiteX541" fmla="*/ 6315834 w 6689088"/>
                <a:gd name="connsiteY541" fmla="*/ 4381692 h 6689084"/>
                <a:gd name="connsiteX542" fmla="*/ 6305668 w 6689088"/>
                <a:gd name="connsiteY542" fmla="*/ 4391858 h 6689084"/>
                <a:gd name="connsiteX543" fmla="*/ 6295502 w 6689088"/>
                <a:gd name="connsiteY543" fmla="*/ 4381692 h 6689084"/>
                <a:gd name="connsiteX544" fmla="*/ 6305668 w 6689088"/>
                <a:gd name="connsiteY544" fmla="*/ 4371525 h 6689084"/>
                <a:gd name="connsiteX545" fmla="*/ 6459616 w 6689088"/>
                <a:gd name="connsiteY545" fmla="*/ 4369707 h 6689084"/>
                <a:gd name="connsiteX546" fmla="*/ 6471600 w 6689088"/>
                <a:gd name="connsiteY546" fmla="*/ 4381688 h 6689084"/>
                <a:gd name="connsiteX547" fmla="*/ 6459616 w 6689088"/>
                <a:gd name="connsiteY547" fmla="*/ 4393672 h 6689084"/>
                <a:gd name="connsiteX548" fmla="*/ 6447634 w 6689088"/>
                <a:gd name="connsiteY548" fmla="*/ 4381688 h 6689084"/>
                <a:gd name="connsiteX549" fmla="*/ 6459616 w 6689088"/>
                <a:gd name="connsiteY549" fmla="*/ 4369707 h 6689084"/>
                <a:gd name="connsiteX550" fmla="*/ 6613200 w 6689088"/>
                <a:gd name="connsiteY550" fmla="*/ 4367530 h 6689084"/>
                <a:gd name="connsiteX551" fmla="*/ 6626996 w 6689088"/>
                <a:gd name="connsiteY551" fmla="*/ 4381326 h 6689084"/>
                <a:gd name="connsiteX552" fmla="*/ 6613200 w 6689088"/>
                <a:gd name="connsiteY552" fmla="*/ 4395125 h 6689084"/>
                <a:gd name="connsiteX553" fmla="*/ 6599402 w 6689088"/>
                <a:gd name="connsiteY553" fmla="*/ 4381326 h 6689084"/>
                <a:gd name="connsiteX554" fmla="*/ 6613200 w 6689088"/>
                <a:gd name="connsiteY554" fmla="*/ 4367530 h 6689084"/>
                <a:gd name="connsiteX555" fmla="*/ 4921594 w 6689088"/>
                <a:gd name="connsiteY555" fmla="*/ 4227744 h 6689084"/>
                <a:gd name="connsiteX556" fmla="*/ 4921956 w 6689088"/>
                <a:gd name="connsiteY556" fmla="*/ 4228106 h 6689084"/>
                <a:gd name="connsiteX557" fmla="*/ 4921594 w 6689088"/>
                <a:gd name="connsiteY557" fmla="*/ 4228468 h 6689084"/>
                <a:gd name="connsiteX558" fmla="*/ 4921232 w 6689088"/>
                <a:gd name="connsiteY558" fmla="*/ 4228106 h 6689084"/>
                <a:gd name="connsiteX559" fmla="*/ 4921594 w 6689088"/>
                <a:gd name="connsiteY559" fmla="*/ 4227744 h 6689084"/>
                <a:gd name="connsiteX560" fmla="*/ 4460480 w 6689088"/>
                <a:gd name="connsiteY560" fmla="*/ 4227744 h 6689084"/>
                <a:gd name="connsiteX561" fmla="*/ 4460842 w 6689088"/>
                <a:gd name="connsiteY561" fmla="*/ 4228106 h 6689084"/>
                <a:gd name="connsiteX562" fmla="*/ 4460480 w 6689088"/>
                <a:gd name="connsiteY562" fmla="*/ 4228468 h 6689084"/>
                <a:gd name="connsiteX563" fmla="*/ 4460118 w 6689088"/>
                <a:gd name="connsiteY563" fmla="*/ 4228106 h 6689084"/>
                <a:gd name="connsiteX564" fmla="*/ 4460480 w 6689088"/>
                <a:gd name="connsiteY564" fmla="*/ 4227744 h 6689084"/>
                <a:gd name="connsiteX565" fmla="*/ 4306532 w 6689088"/>
                <a:gd name="connsiteY565" fmla="*/ 4227744 h 6689084"/>
                <a:gd name="connsiteX566" fmla="*/ 4306894 w 6689088"/>
                <a:gd name="connsiteY566" fmla="*/ 4228106 h 6689084"/>
                <a:gd name="connsiteX567" fmla="*/ 4306532 w 6689088"/>
                <a:gd name="connsiteY567" fmla="*/ 4228468 h 6689084"/>
                <a:gd name="connsiteX568" fmla="*/ 4306170 w 6689088"/>
                <a:gd name="connsiteY568" fmla="*/ 4228106 h 6689084"/>
                <a:gd name="connsiteX569" fmla="*/ 4306532 w 6689088"/>
                <a:gd name="connsiteY569" fmla="*/ 4227744 h 6689084"/>
                <a:gd name="connsiteX570" fmla="*/ 4152947 w 6689088"/>
                <a:gd name="connsiteY570" fmla="*/ 4227378 h 6689084"/>
                <a:gd name="connsiteX571" fmla="*/ 4153672 w 6689088"/>
                <a:gd name="connsiteY571" fmla="*/ 4228103 h 6689084"/>
                <a:gd name="connsiteX572" fmla="*/ 4152947 w 6689088"/>
                <a:gd name="connsiteY572" fmla="*/ 4228831 h 6689084"/>
                <a:gd name="connsiteX573" fmla="*/ 4152219 w 6689088"/>
                <a:gd name="connsiteY573" fmla="*/ 4228103 h 6689084"/>
                <a:gd name="connsiteX574" fmla="*/ 4152947 w 6689088"/>
                <a:gd name="connsiteY574" fmla="*/ 4227378 h 6689084"/>
                <a:gd name="connsiteX575" fmla="*/ 5075541 w 6689088"/>
                <a:gd name="connsiteY575" fmla="*/ 4226292 h 6689084"/>
                <a:gd name="connsiteX576" fmla="*/ 5076994 w 6689088"/>
                <a:gd name="connsiteY576" fmla="*/ 4227744 h 6689084"/>
                <a:gd name="connsiteX577" fmla="*/ 5075541 w 6689088"/>
                <a:gd name="connsiteY577" fmla="*/ 4229197 h 6689084"/>
                <a:gd name="connsiteX578" fmla="*/ 5074089 w 6689088"/>
                <a:gd name="connsiteY578" fmla="*/ 4227744 h 6689084"/>
                <a:gd name="connsiteX579" fmla="*/ 5075541 w 6689088"/>
                <a:gd name="connsiteY579" fmla="*/ 4226292 h 6689084"/>
                <a:gd name="connsiteX580" fmla="*/ 5229122 w 6689088"/>
                <a:gd name="connsiteY580" fmla="*/ 4225564 h 6689084"/>
                <a:gd name="connsiteX581" fmla="*/ 5231303 w 6689088"/>
                <a:gd name="connsiteY581" fmla="*/ 4227744 h 6689084"/>
                <a:gd name="connsiteX582" fmla="*/ 5229122 w 6689088"/>
                <a:gd name="connsiteY582" fmla="*/ 4229921 h 6689084"/>
                <a:gd name="connsiteX583" fmla="*/ 5226946 w 6689088"/>
                <a:gd name="connsiteY583" fmla="*/ 4227744 h 6689084"/>
                <a:gd name="connsiteX584" fmla="*/ 5229122 w 6689088"/>
                <a:gd name="connsiteY584" fmla="*/ 4225564 h 6689084"/>
                <a:gd name="connsiteX585" fmla="*/ 5383078 w 6689088"/>
                <a:gd name="connsiteY585" fmla="*/ 4224840 h 6689084"/>
                <a:gd name="connsiteX586" fmla="*/ 5386344 w 6689088"/>
                <a:gd name="connsiteY586" fmla="*/ 4228106 h 6689084"/>
                <a:gd name="connsiteX587" fmla="*/ 5383078 w 6689088"/>
                <a:gd name="connsiteY587" fmla="*/ 4231377 h 6689084"/>
                <a:gd name="connsiteX588" fmla="*/ 5379807 w 6689088"/>
                <a:gd name="connsiteY588" fmla="*/ 4228106 h 6689084"/>
                <a:gd name="connsiteX589" fmla="*/ 5383078 w 6689088"/>
                <a:gd name="connsiteY589" fmla="*/ 4224840 h 6689084"/>
                <a:gd name="connsiteX590" fmla="*/ 5536659 w 6689088"/>
                <a:gd name="connsiteY590" fmla="*/ 4223383 h 6689084"/>
                <a:gd name="connsiteX591" fmla="*/ 5541016 w 6689088"/>
                <a:gd name="connsiteY591" fmla="*/ 4227740 h 6689084"/>
                <a:gd name="connsiteX592" fmla="*/ 5536659 w 6689088"/>
                <a:gd name="connsiteY592" fmla="*/ 4232097 h 6689084"/>
                <a:gd name="connsiteX593" fmla="*/ 5532302 w 6689088"/>
                <a:gd name="connsiteY593" fmla="*/ 4227740 h 6689084"/>
                <a:gd name="connsiteX594" fmla="*/ 5536659 w 6689088"/>
                <a:gd name="connsiteY594" fmla="*/ 4223383 h 6689084"/>
                <a:gd name="connsiteX595" fmla="*/ 5690606 w 6689088"/>
                <a:gd name="connsiteY595" fmla="*/ 4222297 h 6689084"/>
                <a:gd name="connsiteX596" fmla="*/ 5696416 w 6689088"/>
                <a:gd name="connsiteY596" fmla="*/ 4228106 h 6689084"/>
                <a:gd name="connsiteX597" fmla="*/ 5690606 w 6689088"/>
                <a:gd name="connsiteY597" fmla="*/ 4233916 h 6689084"/>
                <a:gd name="connsiteX598" fmla="*/ 5684797 w 6689088"/>
                <a:gd name="connsiteY598" fmla="*/ 4228106 h 6689084"/>
                <a:gd name="connsiteX599" fmla="*/ 5690606 w 6689088"/>
                <a:gd name="connsiteY599" fmla="*/ 4222297 h 6689084"/>
                <a:gd name="connsiteX600" fmla="*/ 5844554 w 6689088"/>
                <a:gd name="connsiteY600" fmla="*/ 4220479 h 6689084"/>
                <a:gd name="connsiteX601" fmla="*/ 5851816 w 6689088"/>
                <a:gd name="connsiteY601" fmla="*/ 4227740 h 6689084"/>
                <a:gd name="connsiteX602" fmla="*/ 5844554 w 6689088"/>
                <a:gd name="connsiteY602" fmla="*/ 4235002 h 6689084"/>
                <a:gd name="connsiteX603" fmla="*/ 5837292 w 6689088"/>
                <a:gd name="connsiteY603" fmla="*/ 4227740 h 6689084"/>
                <a:gd name="connsiteX604" fmla="*/ 5844554 w 6689088"/>
                <a:gd name="connsiteY604" fmla="*/ 4220479 h 6689084"/>
                <a:gd name="connsiteX605" fmla="*/ 5998136 w 6689088"/>
                <a:gd name="connsiteY605" fmla="*/ 4218664 h 6689084"/>
                <a:gd name="connsiteX606" fmla="*/ 6007216 w 6689088"/>
                <a:gd name="connsiteY606" fmla="*/ 4227740 h 6689084"/>
                <a:gd name="connsiteX607" fmla="*/ 5998136 w 6689088"/>
                <a:gd name="connsiteY607" fmla="*/ 4236820 h 6689084"/>
                <a:gd name="connsiteX608" fmla="*/ 5989059 w 6689088"/>
                <a:gd name="connsiteY608" fmla="*/ 4227740 h 6689084"/>
                <a:gd name="connsiteX609" fmla="*/ 5998136 w 6689088"/>
                <a:gd name="connsiteY609" fmla="*/ 4218664 h 6689084"/>
                <a:gd name="connsiteX610" fmla="*/ 6152086 w 6689088"/>
                <a:gd name="connsiteY610" fmla="*/ 4217940 h 6689084"/>
                <a:gd name="connsiteX611" fmla="*/ 6162253 w 6689088"/>
                <a:gd name="connsiteY611" fmla="*/ 4228106 h 6689084"/>
                <a:gd name="connsiteX612" fmla="*/ 6152086 w 6689088"/>
                <a:gd name="connsiteY612" fmla="*/ 4238273 h 6689084"/>
                <a:gd name="connsiteX613" fmla="*/ 6141920 w 6689088"/>
                <a:gd name="connsiteY613" fmla="*/ 4228106 h 6689084"/>
                <a:gd name="connsiteX614" fmla="*/ 6152086 w 6689088"/>
                <a:gd name="connsiteY614" fmla="*/ 4217940 h 6689084"/>
                <a:gd name="connsiteX615" fmla="*/ 6305668 w 6689088"/>
                <a:gd name="connsiteY615" fmla="*/ 4215760 h 6689084"/>
                <a:gd name="connsiteX616" fmla="*/ 6317649 w 6689088"/>
                <a:gd name="connsiteY616" fmla="*/ 4227740 h 6689084"/>
                <a:gd name="connsiteX617" fmla="*/ 6305668 w 6689088"/>
                <a:gd name="connsiteY617" fmla="*/ 4239721 h 6689084"/>
                <a:gd name="connsiteX618" fmla="*/ 6293687 w 6689088"/>
                <a:gd name="connsiteY618" fmla="*/ 4227740 h 6689084"/>
                <a:gd name="connsiteX619" fmla="*/ 6305668 w 6689088"/>
                <a:gd name="connsiteY619" fmla="*/ 4215760 h 6689084"/>
                <a:gd name="connsiteX620" fmla="*/ 6459619 w 6689088"/>
                <a:gd name="connsiteY620" fmla="*/ 4213945 h 6689084"/>
                <a:gd name="connsiteX621" fmla="*/ 6473414 w 6689088"/>
                <a:gd name="connsiteY621" fmla="*/ 4227744 h 6689084"/>
                <a:gd name="connsiteX622" fmla="*/ 6459619 w 6689088"/>
                <a:gd name="connsiteY622" fmla="*/ 4241539 h 6689084"/>
                <a:gd name="connsiteX623" fmla="*/ 6445820 w 6689088"/>
                <a:gd name="connsiteY623" fmla="*/ 4227744 h 6689084"/>
                <a:gd name="connsiteX624" fmla="*/ 6459619 w 6689088"/>
                <a:gd name="connsiteY624" fmla="*/ 4213945 h 6689084"/>
                <a:gd name="connsiteX625" fmla="*/ 6613200 w 6689088"/>
                <a:gd name="connsiteY625" fmla="*/ 4212855 h 6689084"/>
                <a:gd name="connsiteX626" fmla="*/ 6628452 w 6689088"/>
                <a:gd name="connsiteY626" fmla="*/ 4228103 h 6689084"/>
                <a:gd name="connsiteX627" fmla="*/ 6613200 w 6689088"/>
                <a:gd name="connsiteY627" fmla="*/ 4243354 h 6689084"/>
                <a:gd name="connsiteX628" fmla="*/ 6597953 w 6689088"/>
                <a:gd name="connsiteY628" fmla="*/ 4228103 h 6689084"/>
                <a:gd name="connsiteX629" fmla="*/ 6613200 w 6689088"/>
                <a:gd name="connsiteY629" fmla="*/ 4212855 h 6689084"/>
                <a:gd name="connsiteX630" fmla="*/ 4768008 w 6689088"/>
                <a:gd name="connsiteY630" fmla="*/ 4073793 h 6689084"/>
                <a:gd name="connsiteX631" fmla="*/ 4768370 w 6689088"/>
                <a:gd name="connsiteY631" fmla="*/ 4074155 h 6689084"/>
                <a:gd name="connsiteX632" fmla="*/ 4768008 w 6689088"/>
                <a:gd name="connsiteY632" fmla="*/ 4074521 h 6689084"/>
                <a:gd name="connsiteX633" fmla="*/ 4767646 w 6689088"/>
                <a:gd name="connsiteY633" fmla="*/ 4074155 h 6689084"/>
                <a:gd name="connsiteX634" fmla="*/ 4768008 w 6689088"/>
                <a:gd name="connsiteY634" fmla="*/ 4073793 h 6689084"/>
                <a:gd name="connsiteX635" fmla="*/ 4306532 w 6689088"/>
                <a:gd name="connsiteY635" fmla="*/ 4073793 h 6689084"/>
                <a:gd name="connsiteX636" fmla="*/ 4306894 w 6689088"/>
                <a:gd name="connsiteY636" fmla="*/ 4074155 h 6689084"/>
                <a:gd name="connsiteX637" fmla="*/ 4306532 w 6689088"/>
                <a:gd name="connsiteY637" fmla="*/ 4074521 h 6689084"/>
                <a:gd name="connsiteX638" fmla="*/ 4306170 w 6689088"/>
                <a:gd name="connsiteY638" fmla="*/ 4074155 h 6689084"/>
                <a:gd name="connsiteX639" fmla="*/ 4306532 w 6689088"/>
                <a:gd name="connsiteY639" fmla="*/ 4073793 h 6689084"/>
                <a:gd name="connsiteX640" fmla="*/ 4152947 w 6689088"/>
                <a:gd name="connsiteY640" fmla="*/ 4073793 h 6689084"/>
                <a:gd name="connsiteX641" fmla="*/ 4153309 w 6689088"/>
                <a:gd name="connsiteY641" fmla="*/ 4074155 h 6689084"/>
                <a:gd name="connsiteX642" fmla="*/ 4152947 w 6689088"/>
                <a:gd name="connsiteY642" fmla="*/ 4074521 h 6689084"/>
                <a:gd name="connsiteX643" fmla="*/ 4152585 w 6689088"/>
                <a:gd name="connsiteY643" fmla="*/ 4074155 h 6689084"/>
                <a:gd name="connsiteX644" fmla="*/ 4152947 w 6689088"/>
                <a:gd name="connsiteY644" fmla="*/ 4073793 h 6689084"/>
                <a:gd name="connsiteX645" fmla="*/ 3998996 w 6689088"/>
                <a:gd name="connsiteY645" fmla="*/ 4073431 h 6689084"/>
                <a:gd name="connsiteX646" fmla="*/ 3999724 w 6689088"/>
                <a:gd name="connsiteY646" fmla="*/ 4074155 h 6689084"/>
                <a:gd name="connsiteX647" fmla="*/ 3998996 w 6689088"/>
                <a:gd name="connsiteY647" fmla="*/ 4074883 h 6689084"/>
                <a:gd name="connsiteX648" fmla="*/ 3998272 w 6689088"/>
                <a:gd name="connsiteY648" fmla="*/ 4074155 h 6689084"/>
                <a:gd name="connsiteX649" fmla="*/ 3998996 w 6689088"/>
                <a:gd name="connsiteY649" fmla="*/ 4073431 h 6689084"/>
                <a:gd name="connsiteX650" fmla="*/ 4921594 w 6689088"/>
                <a:gd name="connsiteY650" fmla="*/ 4072344 h 6689084"/>
                <a:gd name="connsiteX651" fmla="*/ 4923046 w 6689088"/>
                <a:gd name="connsiteY651" fmla="*/ 4073797 h 6689084"/>
                <a:gd name="connsiteX652" fmla="*/ 4921594 w 6689088"/>
                <a:gd name="connsiteY652" fmla="*/ 4075249 h 6689084"/>
                <a:gd name="connsiteX653" fmla="*/ 4920142 w 6689088"/>
                <a:gd name="connsiteY653" fmla="*/ 4073797 h 6689084"/>
                <a:gd name="connsiteX654" fmla="*/ 4921594 w 6689088"/>
                <a:gd name="connsiteY654" fmla="*/ 4072344 h 6689084"/>
                <a:gd name="connsiteX655" fmla="*/ 5075541 w 6689088"/>
                <a:gd name="connsiteY655" fmla="*/ 4071978 h 6689084"/>
                <a:gd name="connsiteX656" fmla="*/ 5077722 w 6689088"/>
                <a:gd name="connsiteY656" fmla="*/ 4074155 h 6689084"/>
                <a:gd name="connsiteX657" fmla="*/ 5075541 w 6689088"/>
                <a:gd name="connsiteY657" fmla="*/ 4076335 h 6689084"/>
                <a:gd name="connsiteX658" fmla="*/ 5073364 w 6689088"/>
                <a:gd name="connsiteY658" fmla="*/ 4074155 h 6689084"/>
                <a:gd name="connsiteX659" fmla="*/ 5075541 w 6689088"/>
                <a:gd name="connsiteY659" fmla="*/ 4071978 h 6689084"/>
                <a:gd name="connsiteX660" fmla="*/ 5229126 w 6689088"/>
                <a:gd name="connsiteY660" fmla="*/ 4070892 h 6689084"/>
                <a:gd name="connsiteX661" fmla="*/ 5232394 w 6689088"/>
                <a:gd name="connsiteY661" fmla="*/ 4074159 h 6689084"/>
                <a:gd name="connsiteX662" fmla="*/ 5229126 w 6689088"/>
                <a:gd name="connsiteY662" fmla="*/ 4077429 h 6689084"/>
                <a:gd name="connsiteX663" fmla="*/ 5225860 w 6689088"/>
                <a:gd name="connsiteY663" fmla="*/ 4074159 h 6689084"/>
                <a:gd name="connsiteX664" fmla="*/ 5229126 w 6689088"/>
                <a:gd name="connsiteY664" fmla="*/ 4070892 h 6689084"/>
                <a:gd name="connsiteX665" fmla="*/ 5383074 w 6689088"/>
                <a:gd name="connsiteY665" fmla="*/ 4069802 h 6689084"/>
                <a:gd name="connsiteX666" fmla="*/ 5387431 w 6689088"/>
                <a:gd name="connsiteY666" fmla="*/ 4074159 h 6689084"/>
                <a:gd name="connsiteX667" fmla="*/ 5383074 w 6689088"/>
                <a:gd name="connsiteY667" fmla="*/ 4078516 h 6689084"/>
                <a:gd name="connsiteX668" fmla="*/ 5378717 w 6689088"/>
                <a:gd name="connsiteY668" fmla="*/ 4074159 h 6689084"/>
                <a:gd name="connsiteX669" fmla="*/ 5383074 w 6689088"/>
                <a:gd name="connsiteY669" fmla="*/ 4069802 h 6689084"/>
                <a:gd name="connsiteX670" fmla="*/ 5536659 w 6689088"/>
                <a:gd name="connsiteY670" fmla="*/ 4068349 h 6689084"/>
                <a:gd name="connsiteX671" fmla="*/ 5542468 w 6689088"/>
                <a:gd name="connsiteY671" fmla="*/ 4074159 h 6689084"/>
                <a:gd name="connsiteX672" fmla="*/ 5536659 w 6689088"/>
                <a:gd name="connsiteY672" fmla="*/ 4079968 h 6689084"/>
                <a:gd name="connsiteX673" fmla="*/ 5530850 w 6689088"/>
                <a:gd name="connsiteY673" fmla="*/ 4074159 h 6689084"/>
                <a:gd name="connsiteX674" fmla="*/ 5536659 w 6689088"/>
                <a:gd name="connsiteY674" fmla="*/ 4068349 h 6689084"/>
                <a:gd name="connsiteX675" fmla="*/ 5690606 w 6689088"/>
                <a:gd name="connsiteY675" fmla="*/ 4066897 h 6689084"/>
                <a:gd name="connsiteX676" fmla="*/ 5697868 w 6689088"/>
                <a:gd name="connsiteY676" fmla="*/ 4074159 h 6689084"/>
                <a:gd name="connsiteX677" fmla="*/ 5690606 w 6689088"/>
                <a:gd name="connsiteY677" fmla="*/ 4081420 h 6689084"/>
                <a:gd name="connsiteX678" fmla="*/ 5683345 w 6689088"/>
                <a:gd name="connsiteY678" fmla="*/ 4074159 h 6689084"/>
                <a:gd name="connsiteX679" fmla="*/ 5690606 w 6689088"/>
                <a:gd name="connsiteY679" fmla="*/ 4066897 h 6689084"/>
                <a:gd name="connsiteX680" fmla="*/ 5844554 w 6689088"/>
                <a:gd name="connsiteY680" fmla="*/ 4064717 h 6689084"/>
                <a:gd name="connsiteX681" fmla="*/ 5853634 w 6689088"/>
                <a:gd name="connsiteY681" fmla="*/ 4073793 h 6689084"/>
                <a:gd name="connsiteX682" fmla="*/ 5844554 w 6689088"/>
                <a:gd name="connsiteY682" fmla="*/ 4082873 h 6689084"/>
                <a:gd name="connsiteX683" fmla="*/ 5835478 w 6689088"/>
                <a:gd name="connsiteY683" fmla="*/ 4073793 h 6689084"/>
                <a:gd name="connsiteX684" fmla="*/ 5844554 w 6689088"/>
                <a:gd name="connsiteY684" fmla="*/ 4064717 h 6689084"/>
                <a:gd name="connsiteX685" fmla="*/ 5998139 w 6689088"/>
                <a:gd name="connsiteY685" fmla="*/ 4063992 h 6689084"/>
                <a:gd name="connsiteX686" fmla="*/ 6008306 w 6689088"/>
                <a:gd name="connsiteY686" fmla="*/ 4074159 h 6689084"/>
                <a:gd name="connsiteX687" fmla="*/ 5998139 w 6689088"/>
                <a:gd name="connsiteY687" fmla="*/ 4084325 h 6689084"/>
                <a:gd name="connsiteX688" fmla="*/ 5987973 w 6689088"/>
                <a:gd name="connsiteY688" fmla="*/ 4074159 h 6689084"/>
                <a:gd name="connsiteX689" fmla="*/ 5998139 w 6689088"/>
                <a:gd name="connsiteY689" fmla="*/ 4063992 h 6689084"/>
                <a:gd name="connsiteX690" fmla="*/ 6152083 w 6689088"/>
                <a:gd name="connsiteY690" fmla="*/ 4062174 h 6689084"/>
                <a:gd name="connsiteX691" fmla="*/ 6164064 w 6689088"/>
                <a:gd name="connsiteY691" fmla="*/ 4074155 h 6689084"/>
                <a:gd name="connsiteX692" fmla="*/ 6152083 w 6689088"/>
                <a:gd name="connsiteY692" fmla="*/ 4086140 h 6689084"/>
                <a:gd name="connsiteX693" fmla="*/ 6140102 w 6689088"/>
                <a:gd name="connsiteY693" fmla="*/ 4074155 h 6689084"/>
                <a:gd name="connsiteX694" fmla="*/ 6152083 w 6689088"/>
                <a:gd name="connsiteY694" fmla="*/ 4062174 h 6689084"/>
                <a:gd name="connsiteX695" fmla="*/ 6305672 w 6689088"/>
                <a:gd name="connsiteY695" fmla="*/ 4059998 h 6689084"/>
                <a:gd name="connsiteX696" fmla="*/ 6319467 w 6689088"/>
                <a:gd name="connsiteY696" fmla="*/ 4073793 h 6689084"/>
                <a:gd name="connsiteX697" fmla="*/ 6305672 w 6689088"/>
                <a:gd name="connsiteY697" fmla="*/ 4087592 h 6689084"/>
                <a:gd name="connsiteX698" fmla="*/ 6291873 w 6689088"/>
                <a:gd name="connsiteY698" fmla="*/ 4073793 h 6689084"/>
                <a:gd name="connsiteX699" fmla="*/ 6305672 w 6689088"/>
                <a:gd name="connsiteY699" fmla="*/ 4059998 h 6689084"/>
                <a:gd name="connsiteX700" fmla="*/ 6459619 w 6689088"/>
                <a:gd name="connsiteY700" fmla="*/ 4058907 h 6689084"/>
                <a:gd name="connsiteX701" fmla="*/ 6474867 w 6689088"/>
                <a:gd name="connsiteY701" fmla="*/ 4074155 h 6689084"/>
                <a:gd name="connsiteX702" fmla="*/ 6459619 w 6689088"/>
                <a:gd name="connsiteY702" fmla="*/ 4089406 h 6689084"/>
                <a:gd name="connsiteX703" fmla="*/ 6444368 w 6689088"/>
                <a:gd name="connsiteY703" fmla="*/ 4074155 h 6689084"/>
                <a:gd name="connsiteX704" fmla="*/ 6459619 w 6689088"/>
                <a:gd name="connsiteY704" fmla="*/ 4058907 h 6689084"/>
                <a:gd name="connsiteX705" fmla="*/ 6613197 w 6689088"/>
                <a:gd name="connsiteY705" fmla="*/ 4057093 h 6689084"/>
                <a:gd name="connsiteX706" fmla="*/ 6630266 w 6689088"/>
                <a:gd name="connsiteY706" fmla="*/ 4074159 h 6689084"/>
                <a:gd name="connsiteX707" fmla="*/ 6613197 w 6689088"/>
                <a:gd name="connsiteY707" fmla="*/ 4091225 h 6689084"/>
                <a:gd name="connsiteX708" fmla="*/ 6596135 w 6689088"/>
                <a:gd name="connsiteY708" fmla="*/ 4074159 h 6689084"/>
                <a:gd name="connsiteX709" fmla="*/ 6613197 w 6689088"/>
                <a:gd name="connsiteY709" fmla="*/ 4057093 h 6689084"/>
                <a:gd name="connsiteX710" fmla="*/ 4614061 w 6689088"/>
                <a:gd name="connsiteY710" fmla="*/ 3919845 h 6689084"/>
                <a:gd name="connsiteX711" fmla="*/ 4614424 w 6689088"/>
                <a:gd name="connsiteY711" fmla="*/ 3920208 h 6689084"/>
                <a:gd name="connsiteX712" fmla="*/ 4614061 w 6689088"/>
                <a:gd name="connsiteY712" fmla="*/ 3920574 h 6689084"/>
                <a:gd name="connsiteX713" fmla="*/ 4613699 w 6689088"/>
                <a:gd name="connsiteY713" fmla="*/ 3920208 h 6689084"/>
                <a:gd name="connsiteX714" fmla="*/ 4614061 w 6689088"/>
                <a:gd name="connsiteY714" fmla="*/ 3919845 h 6689084"/>
                <a:gd name="connsiteX715" fmla="*/ 4152947 w 6689088"/>
                <a:gd name="connsiteY715" fmla="*/ 3919845 h 6689084"/>
                <a:gd name="connsiteX716" fmla="*/ 4153309 w 6689088"/>
                <a:gd name="connsiteY716" fmla="*/ 3920208 h 6689084"/>
                <a:gd name="connsiteX717" fmla="*/ 4152947 w 6689088"/>
                <a:gd name="connsiteY717" fmla="*/ 3920574 h 6689084"/>
                <a:gd name="connsiteX718" fmla="*/ 4152585 w 6689088"/>
                <a:gd name="connsiteY718" fmla="*/ 3920208 h 6689084"/>
                <a:gd name="connsiteX719" fmla="*/ 4152947 w 6689088"/>
                <a:gd name="connsiteY719" fmla="*/ 3919845 h 6689084"/>
                <a:gd name="connsiteX720" fmla="*/ 3999000 w 6689088"/>
                <a:gd name="connsiteY720" fmla="*/ 3919845 h 6689084"/>
                <a:gd name="connsiteX721" fmla="*/ 3999362 w 6689088"/>
                <a:gd name="connsiteY721" fmla="*/ 3920208 h 6689084"/>
                <a:gd name="connsiteX722" fmla="*/ 3999000 w 6689088"/>
                <a:gd name="connsiteY722" fmla="*/ 3920574 h 6689084"/>
                <a:gd name="connsiteX723" fmla="*/ 3998638 w 6689088"/>
                <a:gd name="connsiteY723" fmla="*/ 3920208 h 6689084"/>
                <a:gd name="connsiteX724" fmla="*/ 3999000 w 6689088"/>
                <a:gd name="connsiteY724" fmla="*/ 3919845 h 6689084"/>
                <a:gd name="connsiteX725" fmla="*/ 3845418 w 6689088"/>
                <a:gd name="connsiteY725" fmla="*/ 3919483 h 6689084"/>
                <a:gd name="connsiteX726" fmla="*/ 3846142 w 6689088"/>
                <a:gd name="connsiteY726" fmla="*/ 3920211 h 6689084"/>
                <a:gd name="connsiteX727" fmla="*/ 3845418 w 6689088"/>
                <a:gd name="connsiteY727" fmla="*/ 3920936 h 6689084"/>
                <a:gd name="connsiteX728" fmla="*/ 3844690 w 6689088"/>
                <a:gd name="connsiteY728" fmla="*/ 3920211 h 6689084"/>
                <a:gd name="connsiteX729" fmla="*/ 3845418 w 6689088"/>
                <a:gd name="connsiteY729" fmla="*/ 3919483 h 6689084"/>
                <a:gd name="connsiteX730" fmla="*/ 4768012 w 6689088"/>
                <a:gd name="connsiteY730" fmla="*/ 3918759 h 6689084"/>
                <a:gd name="connsiteX731" fmla="*/ 4769464 w 6689088"/>
                <a:gd name="connsiteY731" fmla="*/ 3920211 h 6689084"/>
                <a:gd name="connsiteX732" fmla="*/ 4768012 w 6689088"/>
                <a:gd name="connsiteY732" fmla="*/ 3921664 h 6689084"/>
                <a:gd name="connsiteX733" fmla="*/ 4766560 w 6689088"/>
                <a:gd name="connsiteY733" fmla="*/ 3920211 h 6689084"/>
                <a:gd name="connsiteX734" fmla="*/ 4768012 w 6689088"/>
                <a:gd name="connsiteY734" fmla="*/ 3918759 h 6689084"/>
                <a:gd name="connsiteX735" fmla="*/ 4921594 w 6689088"/>
                <a:gd name="connsiteY735" fmla="*/ 3918031 h 6689084"/>
                <a:gd name="connsiteX736" fmla="*/ 4923774 w 6689088"/>
                <a:gd name="connsiteY736" fmla="*/ 3920208 h 6689084"/>
                <a:gd name="connsiteX737" fmla="*/ 4921594 w 6689088"/>
                <a:gd name="connsiteY737" fmla="*/ 3922388 h 6689084"/>
                <a:gd name="connsiteX738" fmla="*/ 4919417 w 6689088"/>
                <a:gd name="connsiteY738" fmla="*/ 3920208 h 6689084"/>
                <a:gd name="connsiteX739" fmla="*/ 4921594 w 6689088"/>
                <a:gd name="connsiteY739" fmla="*/ 3918031 h 6689084"/>
                <a:gd name="connsiteX740" fmla="*/ 5075545 w 6689088"/>
                <a:gd name="connsiteY740" fmla="*/ 3917307 h 6689084"/>
                <a:gd name="connsiteX741" fmla="*/ 5078812 w 6689088"/>
                <a:gd name="connsiteY741" fmla="*/ 3920574 h 6689084"/>
                <a:gd name="connsiteX742" fmla="*/ 5075545 w 6689088"/>
                <a:gd name="connsiteY742" fmla="*/ 3923844 h 6689084"/>
                <a:gd name="connsiteX743" fmla="*/ 5072274 w 6689088"/>
                <a:gd name="connsiteY743" fmla="*/ 3920574 h 6689084"/>
                <a:gd name="connsiteX744" fmla="*/ 5075545 w 6689088"/>
                <a:gd name="connsiteY744" fmla="*/ 3917307 h 6689084"/>
                <a:gd name="connsiteX745" fmla="*/ 5229126 w 6689088"/>
                <a:gd name="connsiteY745" fmla="*/ 3915854 h 6689084"/>
                <a:gd name="connsiteX746" fmla="*/ 5233484 w 6689088"/>
                <a:gd name="connsiteY746" fmla="*/ 3920211 h 6689084"/>
                <a:gd name="connsiteX747" fmla="*/ 5229126 w 6689088"/>
                <a:gd name="connsiteY747" fmla="*/ 3924568 h 6689084"/>
                <a:gd name="connsiteX748" fmla="*/ 5224770 w 6689088"/>
                <a:gd name="connsiteY748" fmla="*/ 3920211 h 6689084"/>
                <a:gd name="connsiteX749" fmla="*/ 5229126 w 6689088"/>
                <a:gd name="connsiteY749" fmla="*/ 3915854 h 6689084"/>
                <a:gd name="connsiteX750" fmla="*/ 5383074 w 6689088"/>
                <a:gd name="connsiteY750" fmla="*/ 3914764 h 6689084"/>
                <a:gd name="connsiteX751" fmla="*/ 5388883 w 6689088"/>
                <a:gd name="connsiteY751" fmla="*/ 3920574 h 6689084"/>
                <a:gd name="connsiteX752" fmla="*/ 5383074 w 6689088"/>
                <a:gd name="connsiteY752" fmla="*/ 3926383 h 6689084"/>
                <a:gd name="connsiteX753" fmla="*/ 5377264 w 6689088"/>
                <a:gd name="connsiteY753" fmla="*/ 3920574 h 6689084"/>
                <a:gd name="connsiteX754" fmla="*/ 5383074 w 6689088"/>
                <a:gd name="connsiteY754" fmla="*/ 3914764 h 6689084"/>
                <a:gd name="connsiteX755" fmla="*/ 5536659 w 6689088"/>
                <a:gd name="connsiteY755" fmla="*/ 3912950 h 6689084"/>
                <a:gd name="connsiteX756" fmla="*/ 5543921 w 6689088"/>
                <a:gd name="connsiteY756" fmla="*/ 3920211 h 6689084"/>
                <a:gd name="connsiteX757" fmla="*/ 5536659 w 6689088"/>
                <a:gd name="connsiteY757" fmla="*/ 3927473 h 6689084"/>
                <a:gd name="connsiteX758" fmla="*/ 5529398 w 6689088"/>
                <a:gd name="connsiteY758" fmla="*/ 3920211 h 6689084"/>
                <a:gd name="connsiteX759" fmla="*/ 5536659 w 6689088"/>
                <a:gd name="connsiteY759" fmla="*/ 3912950 h 6689084"/>
                <a:gd name="connsiteX760" fmla="*/ 5690606 w 6689088"/>
                <a:gd name="connsiteY760" fmla="*/ 3911135 h 6689084"/>
                <a:gd name="connsiteX761" fmla="*/ 5699686 w 6689088"/>
                <a:gd name="connsiteY761" fmla="*/ 3920211 h 6689084"/>
                <a:gd name="connsiteX762" fmla="*/ 5690606 w 6689088"/>
                <a:gd name="connsiteY762" fmla="*/ 3929291 h 6689084"/>
                <a:gd name="connsiteX763" fmla="*/ 5681530 w 6689088"/>
                <a:gd name="connsiteY763" fmla="*/ 3920211 h 6689084"/>
                <a:gd name="connsiteX764" fmla="*/ 5690606 w 6689088"/>
                <a:gd name="connsiteY764" fmla="*/ 3911135 h 6689084"/>
                <a:gd name="connsiteX765" fmla="*/ 5844554 w 6689088"/>
                <a:gd name="connsiteY765" fmla="*/ 3910045 h 6689084"/>
                <a:gd name="connsiteX766" fmla="*/ 5854720 w 6689088"/>
                <a:gd name="connsiteY766" fmla="*/ 3920211 h 6689084"/>
                <a:gd name="connsiteX767" fmla="*/ 5844554 w 6689088"/>
                <a:gd name="connsiteY767" fmla="*/ 3930378 h 6689084"/>
                <a:gd name="connsiteX768" fmla="*/ 5834388 w 6689088"/>
                <a:gd name="connsiteY768" fmla="*/ 3920211 h 6689084"/>
                <a:gd name="connsiteX769" fmla="*/ 5844554 w 6689088"/>
                <a:gd name="connsiteY769" fmla="*/ 3910045 h 6689084"/>
                <a:gd name="connsiteX770" fmla="*/ 5998139 w 6689088"/>
                <a:gd name="connsiteY770" fmla="*/ 3908227 h 6689084"/>
                <a:gd name="connsiteX771" fmla="*/ 6010120 w 6689088"/>
                <a:gd name="connsiteY771" fmla="*/ 3920208 h 6689084"/>
                <a:gd name="connsiteX772" fmla="*/ 5998139 w 6689088"/>
                <a:gd name="connsiteY772" fmla="*/ 3932192 h 6689084"/>
                <a:gd name="connsiteX773" fmla="*/ 5986158 w 6689088"/>
                <a:gd name="connsiteY773" fmla="*/ 3920208 h 6689084"/>
                <a:gd name="connsiteX774" fmla="*/ 5998139 w 6689088"/>
                <a:gd name="connsiteY774" fmla="*/ 3908227 h 6689084"/>
                <a:gd name="connsiteX775" fmla="*/ 6152086 w 6689088"/>
                <a:gd name="connsiteY775" fmla="*/ 3906412 h 6689084"/>
                <a:gd name="connsiteX776" fmla="*/ 6165882 w 6689088"/>
                <a:gd name="connsiteY776" fmla="*/ 3920211 h 6689084"/>
                <a:gd name="connsiteX777" fmla="*/ 6152086 w 6689088"/>
                <a:gd name="connsiteY777" fmla="*/ 3934007 h 6689084"/>
                <a:gd name="connsiteX778" fmla="*/ 6138288 w 6689088"/>
                <a:gd name="connsiteY778" fmla="*/ 3920211 h 6689084"/>
                <a:gd name="connsiteX779" fmla="*/ 6152086 w 6689088"/>
                <a:gd name="connsiteY779" fmla="*/ 3906412 h 6689084"/>
                <a:gd name="connsiteX780" fmla="*/ 6305672 w 6689088"/>
                <a:gd name="connsiteY780" fmla="*/ 3904960 h 6689084"/>
                <a:gd name="connsiteX781" fmla="*/ 6320920 w 6689088"/>
                <a:gd name="connsiteY781" fmla="*/ 3920211 h 6689084"/>
                <a:gd name="connsiteX782" fmla="*/ 6305672 w 6689088"/>
                <a:gd name="connsiteY782" fmla="*/ 3935459 h 6689084"/>
                <a:gd name="connsiteX783" fmla="*/ 6290420 w 6689088"/>
                <a:gd name="connsiteY783" fmla="*/ 3920211 h 6689084"/>
                <a:gd name="connsiteX784" fmla="*/ 6305672 w 6689088"/>
                <a:gd name="connsiteY784" fmla="*/ 3904960 h 6689084"/>
                <a:gd name="connsiteX785" fmla="*/ 6459616 w 6689088"/>
                <a:gd name="connsiteY785" fmla="*/ 3903146 h 6689084"/>
                <a:gd name="connsiteX786" fmla="*/ 6476682 w 6689088"/>
                <a:gd name="connsiteY786" fmla="*/ 3920211 h 6689084"/>
                <a:gd name="connsiteX787" fmla="*/ 6459616 w 6689088"/>
                <a:gd name="connsiteY787" fmla="*/ 3937277 h 6689084"/>
                <a:gd name="connsiteX788" fmla="*/ 6442550 w 6689088"/>
                <a:gd name="connsiteY788" fmla="*/ 3920211 h 6689084"/>
                <a:gd name="connsiteX789" fmla="*/ 6459616 w 6689088"/>
                <a:gd name="connsiteY789" fmla="*/ 3903146 h 6689084"/>
                <a:gd name="connsiteX790" fmla="*/ 6613200 w 6689088"/>
                <a:gd name="connsiteY790" fmla="*/ 3900969 h 6689084"/>
                <a:gd name="connsiteX791" fmla="*/ 6632447 w 6689088"/>
                <a:gd name="connsiteY791" fmla="*/ 3920211 h 6689084"/>
                <a:gd name="connsiteX792" fmla="*/ 6613200 w 6689088"/>
                <a:gd name="connsiteY792" fmla="*/ 3939458 h 6689084"/>
                <a:gd name="connsiteX793" fmla="*/ 6593958 w 6689088"/>
                <a:gd name="connsiteY793" fmla="*/ 3920211 h 6689084"/>
                <a:gd name="connsiteX794" fmla="*/ 6613200 w 6689088"/>
                <a:gd name="connsiteY794" fmla="*/ 3900969 h 6689084"/>
                <a:gd name="connsiteX795" fmla="*/ 4460480 w 6689088"/>
                <a:gd name="connsiteY795" fmla="*/ 3766264 h 6689084"/>
                <a:gd name="connsiteX796" fmla="*/ 4460842 w 6689088"/>
                <a:gd name="connsiteY796" fmla="*/ 3766626 h 6689084"/>
                <a:gd name="connsiteX797" fmla="*/ 4460480 w 6689088"/>
                <a:gd name="connsiteY797" fmla="*/ 3766988 h 6689084"/>
                <a:gd name="connsiteX798" fmla="*/ 4460118 w 6689088"/>
                <a:gd name="connsiteY798" fmla="*/ 3766626 h 6689084"/>
                <a:gd name="connsiteX799" fmla="*/ 4460480 w 6689088"/>
                <a:gd name="connsiteY799" fmla="*/ 3766264 h 6689084"/>
                <a:gd name="connsiteX800" fmla="*/ 3999000 w 6689088"/>
                <a:gd name="connsiteY800" fmla="*/ 3766264 h 6689084"/>
                <a:gd name="connsiteX801" fmla="*/ 3999362 w 6689088"/>
                <a:gd name="connsiteY801" fmla="*/ 3766626 h 6689084"/>
                <a:gd name="connsiteX802" fmla="*/ 3999000 w 6689088"/>
                <a:gd name="connsiteY802" fmla="*/ 3766988 h 6689084"/>
                <a:gd name="connsiteX803" fmla="*/ 3998638 w 6689088"/>
                <a:gd name="connsiteY803" fmla="*/ 3766626 h 6689084"/>
                <a:gd name="connsiteX804" fmla="*/ 3999000 w 6689088"/>
                <a:gd name="connsiteY804" fmla="*/ 3766264 h 6689084"/>
                <a:gd name="connsiteX805" fmla="*/ 3845414 w 6689088"/>
                <a:gd name="connsiteY805" fmla="*/ 3766264 h 6689084"/>
                <a:gd name="connsiteX806" fmla="*/ 3845776 w 6689088"/>
                <a:gd name="connsiteY806" fmla="*/ 3766626 h 6689084"/>
                <a:gd name="connsiteX807" fmla="*/ 3845414 w 6689088"/>
                <a:gd name="connsiteY807" fmla="*/ 3766988 h 6689084"/>
                <a:gd name="connsiteX808" fmla="*/ 3845052 w 6689088"/>
                <a:gd name="connsiteY808" fmla="*/ 3766626 h 6689084"/>
                <a:gd name="connsiteX809" fmla="*/ 3845414 w 6689088"/>
                <a:gd name="connsiteY809" fmla="*/ 3766264 h 6689084"/>
                <a:gd name="connsiteX810" fmla="*/ 3691471 w 6689088"/>
                <a:gd name="connsiteY810" fmla="*/ 3765902 h 6689084"/>
                <a:gd name="connsiteX811" fmla="*/ 3692195 w 6689088"/>
                <a:gd name="connsiteY811" fmla="*/ 3766626 h 6689084"/>
                <a:gd name="connsiteX812" fmla="*/ 3691471 w 6689088"/>
                <a:gd name="connsiteY812" fmla="*/ 3767354 h 6689084"/>
                <a:gd name="connsiteX813" fmla="*/ 3690743 w 6689088"/>
                <a:gd name="connsiteY813" fmla="*/ 3766626 h 6689084"/>
                <a:gd name="connsiteX814" fmla="*/ 3691471 w 6689088"/>
                <a:gd name="connsiteY814" fmla="*/ 3765902 h 6689084"/>
                <a:gd name="connsiteX815" fmla="*/ 4614065 w 6689088"/>
                <a:gd name="connsiteY815" fmla="*/ 3764812 h 6689084"/>
                <a:gd name="connsiteX816" fmla="*/ 4615518 w 6689088"/>
                <a:gd name="connsiteY816" fmla="*/ 3766264 h 6689084"/>
                <a:gd name="connsiteX817" fmla="*/ 4614065 w 6689088"/>
                <a:gd name="connsiteY817" fmla="*/ 3767716 h 6689084"/>
                <a:gd name="connsiteX818" fmla="*/ 4612612 w 6689088"/>
                <a:gd name="connsiteY818" fmla="*/ 3766264 h 6689084"/>
                <a:gd name="connsiteX819" fmla="*/ 4614065 w 6689088"/>
                <a:gd name="connsiteY819" fmla="*/ 3764812 h 6689084"/>
                <a:gd name="connsiteX820" fmla="*/ 4768008 w 6689088"/>
                <a:gd name="connsiteY820" fmla="*/ 3764450 h 6689084"/>
                <a:gd name="connsiteX821" fmla="*/ 4770189 w 6689088"/>
                <a:gd name="connsiteY821" fmla="*/ 3766626 h 6689084"/>
                <a:gd name="connsiteX822" fmla="*/ 4768008 w 6689088"/>
                <a:gd name="connsiteY822" fmla="*/ 3768807 h 6689084"/>
                <a:gd name="connsiteX823" fmla="*/ 4765832 w 6689088"/>
                <a:gd name="connsiteY823" fmla="*/ 3766626 h 6689084"/>
                <a:gd name="connsiteX824" fmla="*/ 4768008 w 6689088"/>
                <a:gd name="connsiteY824" fmla="*/ 3764450 h 6689084"/>
                <a:gd name="connsiteX825" fmla="*/ 4921594 w 6689088"/>
                <a:gd name="connsiteY825" fmla="*/ 3763359 h 6689084"/>
                <a:gd name="connsiteX826" fmla="*/ 4924860 w 6689088"/>
                <a:gd name="connsiteY826" fmla="*/ 3766626 h 6689084"/>
                <a:gd name="connsiteX827" fmla="*/ 4921594 w 6689088"/>
                <a:gd name="connsiteY827" fmla="*/ 3769897 h 6689084"/>
                <a:gd name="connsiteX828" fmla="*/ 4918327 w 6689088"/>
                <a:gd name="connsiteY828" fmla="*/ 3766626 h 6689084"/>
                <a:gd name="connsiteX829" fmla="*/ 4921594 w 6689088"/>
                <a:gd name="connsiteY829" fmla="*/ 3763359 h 6689084"/>
                <a:gd name="connsiteX830" fmla="*/ 5075541 w 6689088"/>
                <a:gd name="connsiteY830" fmla="*/ 3762269 h 6689084"/>
                <a:gd name="connsiteX831" fmla="*/ 5079898 w 6689088"/>
                <a:gd name="connsiteY831" fmla="*/ 3766626 h 6689084"/>
                <a:gd name="connsiteX832" fmla="*/ 5075541 w 6689088"/>
                <a:gd name="connsiteY832" fmla="*/ 3770983 h 6689084"/>
                <a:gd name="connsiteX833" fmla="*/ 5071184 w 6689088"/>
                <a:gd name="connsiteY833" fmla="*/ 3766626 h 6689084"/>
                <a:gd name="connsiteX834" fmla="*/ 5075541 w 6689088"/>
                <a:gd name="connsiteY834" fmla="*/ 3762269 h 6689084"/>
                <a:gd name="connsiteX835" fmla="*/ 5229126 w 6689088"/>
                <a:gd name="connsiteY835" fmla="*/ 3760817 h 6689084"/>
                <a:gd name="connsiteX836" fmla="*/ 5234936 w 6689088"/>
                <a:gd name="connsiteY836" fmla="*/ 3766626 h 6689084"/>
                <a:gd name="connsiteX837" fmla="*/ 5229126 w 6689088"/>
                <a:gd name="connsiteY837" fmla="*/ 3772436 h 6689084"/>
                <a:gd name="connsiteX838" fmla="*/ 5223317 w 6689088"/>
                <a:gd name="connsiteY838" fmla="*/ 3766626 h 6689084"/>
                <a:gd name="connsiteX839" fmla="*/ 5229126 w 6689088"/>
                <a:gd name="connsiteY839" fmla="*/ 3760817 h 6689084"/>
                <a:gd name="connsiteX840" fmla="*/ 5383074 w 6689088"/>
                <a:gd name="connsiteY840" fmla="*/ 3759365 h 6689084"/>
                <a:gd name="connsiteX841" fmla="*/ 5390336 w 6689088"/>
                <a:gd name="connsiteY841" fmla="*/ 3766626 h 6689084"/>
                <a:gd name="connsiteX842" fmla="*/ 5383074 w 6689088"/>
                <a:gd name="connsiteY842" fmla="*/ 3773888 h 6689084"/>
                <a:gd name="connsiteX843" fmla="*/ 5375812 w 6689088"/>
                <a:gd name="connsiteY843" fmla="*/ 3766626 h 6689084"/>
                <a:gd name="connsiteX844" fmla="*/ 5383074 w 6689088"/>
                <a:gd name="connsiteY844" fmla="*/ 3759365 h 6689084"/>
                <a:gd name="connsiteX845" fmla="*/ 5536659 w 6689088"/>
                <a:gd name="connsiteY845" fmla="*/ 3757188 h 6689084"/>
                <a:gd name="connsiteX846" fmla="*/ 5545739 w 6689088"/>
                <a:gd name="connsiteY846" fmla="*/ 3766264 h 6689084"/>
                <a:gd name="connsiteX847" fmla="*/ 5536659 w 6689088"/>
                <a:gd name="connsiteY847" fmla="*/ 3775344 h 6689084"/>
                <a:gd name="connsiteX848" fmla="*/ 5527583 w 6689088"/>
                <a:gd name="connsiteY848" fmla="*/ 3766264 h 6689084"/>
                <a:gd name="connsiteX849" fmla="*/ 5536659 w 6689088"/>
                <a:gd name="connsiteY849" fmla="*/ 3757188 h 6689084"/>
                <a:gd name="connsiteX850" fmla="*/ 5690606 w 6689088"/>
                <a:gd name="connsiteY850" fmla="*/ 3756460 h 6689084"/>
                <a:gd name="connsiteX851" fmla="*/ 5700773 w 6689088"/>
                <a:gd name="connsiteY851" fmla="*/ 3766626 h 6689084"/>
                <a:gd name="connsiteX852" fmla="*/ 5690606 w 6689088"/>
                <a:gd name="connsiteY852" fmla="*/ 3776793 h 6689084"/>
                <a:gd name="connsiteX853" fmla="*/ 5680440 w 6689088"/>
                <a:gd name="connsiteY853" fmla="*/ 3766626 h 6689084"/>
                <a:gd name="connsiteX854" fmla="*/ 5690606 w 6689088"/>
                <a:gd name="connsiteY854" fmla="*/ 3756460 h 6689084"/>
                <a:gd name="connsiteX855" fmla="*/ 5844550 w 6689088"/>
                <a:gd name="connsiteY855" fmla="*/ 3754645 h 6689084"/>
                <a:gd name="connsiteX856" fmla="*/ 5856534 w 6689088"/>
                <a:gd name="connsiteY856" fmla="*/ 3766626 h 6689084"/>
                <a:gd name="connsiteX857" fmla="*/ 5844550 w 6689088"/>
                <a:gd name="connsiteY857" fmla="*/ 3778607 h 6689084"/>
                <a:gd name="connsiteX858" fmla="*/ 5832570 w 6689088"/>
                <a:gd name="connsiteY858" fmla="*/ 3766626 h 6689084"/>
                <a:gd name="connsiteX859" fmla="*/ 5844550 w 6689088"/>
                <a:gd name="connsiteY859" fmla="*/ 3754645 h 6689084"/>
                <a:gd name="connsiteX860" fmla="*/ 5998139 w 6689088"/>
                <a:gd name="connsiteY860" fmla="*/ 3752465 h 6689084"/>
                <a:gd name="connsiteX861" fmla="*/ 6011934 w 6689088"/>
                <a:gd name="connsiteY861" fmla="*/ 3766264 h 6689084"/>
                <a:gd name="connsiteX862" fmla="*/ 5998139 w 6689088"/>
                <a:gd name="connsiteY862" fmla="*/ 3780059 h 6689084"/>
                <a:gd name="connsiteX863" fmla="*/ 5984340 w 6689088"/>
                <a:gd name="connsiteY863" fmla="*/ 3766264 h 6689084"/>
                <a:gd name="connsiteX864" fmla="*/ 5998139 w 6689088"/>
                <a:gd name="connsiteY864" fmla="*/ 3752465 h 6689084"/>
                <a:gd name="connsiteX865" fmla="*/ 6152086 w 6689088"/>
                <a:gd name="connsiteY865" fmla="*/ 3751379 h 6689084"/>
                <a:gd name="connsiteX866" fmla="*/ 6167334 w 6689088"/>
                <a:gd name="connsiteY866" fmla="*/ 3766626 h 6689084"/>
                <a:gd name="connsiteX867" fmla="*/ 6152086 w 6689088"/>
                <a:gd name="connsiteY867" fmla="*/ 3781878 h 6689084"/>
                <a:gd name="connsiteX868" fmla="*/ 6136839 w 6689088"/>
                <a:gd name="connsiteY868" fmla="*/ 3766626 h 6689084"/>
                <a:gd name="connsiteX869" fmla="*/ 6152086 w 6689088"/>
                <a:gd name="connsiteY869" fmla="*/ 3751379 h 6689084"/>
                <a:gd name="connsiteX870" fmla="*/ 6305668 w 6689088"/>
                <a:gd name="connsiteY870" fmla="*/ 3749560 h 6689084"/>
                <a:gd name="connsiteX871" fmla="*/ 6322734 w 6689088"/>
                <a:gd name="connsiteY871" fmla="*/ 3766626 h 6689084"/>
                <a:gd name="connsiteX872" fmla="*/ 6305668 w 6689088"/>
                <a:gd name="connsiteY872" fmla="*/ 3783692 h 6689084"/>
                <a:gd name="connsiteX873" fmla="*/ 6288602 w 6689088"/>
                <a:gd name="connsiteY873" fmla="*/ 3766626 h 6689084"/>
                <a:gd name="connsiteX874" fmla="*/ 6305668 w 6689088"/>
                <a:gd name="connsiteY874" fmla="*/ 3749560 h 6689084"/>
                <a:gd name="connsiteX875" fmla="*/ 6459616 w 6689088"/>
                <a:gd name="connsiteY875" fmla="*/ 3747384 h 6689084"/>
                <a:gd name="connsiteX876" fmla="*/ 6478858 w 6689088"/>
                <a:gd name="connsiteY876" fmla="*/ 3766626 h 6689084"/>
                <a:gd name="connsiteX877" fmla="*/ 6459616 w 6689088"/>
                <a:gd name="connsiteY877" fmla="*/ 3785869 h 6689084"/>
                <a:gd name="connsiteX878" fmla="*/ 6440369 w 6689088"/>
                <a:gd name="connsiteY878" fmla="*/ 3766626 h 6689084"/>
                <a:gd name="connsiteX879" fmla="*/ 6459616 w 6689088"/>
                <a:gd name="connsiteY879" fmla="*/ 3747384 h 6689084"/>
                <a:gd name="connsiteX880" fmla="*/ 6613200 w 6689088"/>
                <a:gd name="connsiteY880" fmla="*/ 3745203 h 6689084"/>
                <a:gd name="connsiteX881" fmla="*/ 6634624 w 6689088"/>
                <a:gd name="connsiteY881" fmla="*/ 3766626 h 6689084"/>
                <a:gd name="connsiteX882" fmla="*/ 6613200 w 6689088"/>
                <a:gd name="connsiteY882" fmla="*/ 3788045 h 6689084"/>
                <a:gd name="connsiteX883" fmla="*/ 6591778 w 6689088"/>
                <a:gd name="connsiteY883" fmla="*/ 3766626 h 6689084"/>
                <a:gd name="connsiteX884" fmla="*/ 6613200 w 6689088"/>
                <a:gd name="connsiteY884" fmla="*/ 3745203 h 6689084"/>
                <a:gd name="connsiteX885" fmla="*/ 4306532 w 6689088"/>
                <a:gd name="connsiteY885" fmla="*/ 3612317 h 6689084"/>
                <a:gd name="connsiteX886" fmla="*/ 4306894 w 6689088"/>
                <a:gd name="connsiteY886" fmla="*/ 3612679 h 6689084"/>
                <a:gd name="connsiteX887" fmla="*/ 4306532 w 6689088"/>
                <a:gd name="connsiteY887" fmla="*/ 3613045 h 6689084"/>
                <a:gd name="connsiteX888" fmla="*/ 4306170 w 6689088"/>
                <a:gd name="connsiteY888" fmla="*/ 3612679 h 6689084"/>
                <a:gd name="connsiteX889" fmla="*/ 4306532 w 6689088"/>
                <a:gd name="connsiteY889" fmla="*/ 3612317 h 6689084"/>
                <a:gd name="connsiteX890" fmla="*/ 3845414 w 6689088"/>
                <a:gd name="connsiteY890" fmla="*/ 3612317 h 6689084"/>
                <a:gd name="connsiteX891" fmla="*/ 3845776 w 6689088"/>
                <a:gd name="connsiteY891" fmla="*/ 3612679 h 6689084"/>
                <a:gd name="connsiteX892" fmla="*/ 3845414 w 6689088"/>
                <a:gd name="connsiteY892" fmla="*/ 3613045 h 6689084"/>
                <a:gd name="connsiteX893" fmla="*/ 3845052 w 6689088"/>
                <a:gd name="connsiteY893" fmla="*/ 3612679 h 6689084"/>
                <a:gd name="connsiteX894" fmla="*/ 3845414 w 6689088"/>
                <a:gd name="connsiteY894" fmla="*/ 3612317 h 6689084"/>
                <a:gd name="connsiteX895" fmla="*/ 3691467 w 6689088"/>
                <a:gd name="connsiteY895" fmla="*/ 3612317 h 6689084"/>
                <a:gd name="connsiteX896" fmla="*/ 3691829 w 6689088"/>
                <a:gd name="connsiteY896" fmla="*/ 3612679 h 6689084"/>
                <a:gd name="connsiteX897" fmla="*/ 3691467 w 6689088"/>
                <a:gd name="connsiteY897" fmla="*/ 3613045 h 6689084"/>
                <a:gd name="connsiteX898" fmla="*/ 3691105 w 6689088"/>
                <a:gd name="connsiteY898" fmla="*/ 3612679 h 6689084"/>
                <a:gd name="connsiteX899" fmla="*/ 3691467 w 6689088"/>
                <a:gd name="connsiteY899" fmla="*/ 3612317 h 6689084"/>
                <a:gd name="connsiteX900" fmla="*/ 3537886 w 6689088"/>
                <a:gd name="connsiteY900" fmla="*/ 3611955 h 6689084"/>
                <a:gd name="connsiteX901" fmla="*/ 3538610 w 6689088"/>
                <a:gd name="connsiteY901" fmla="*/ 3612683 h 6689084"/>
                <a:gd name="connsiteX902" fmla="*/ 3537886 w 6689088"/>
                <a:gd name="connsiteY902" fmla="*/ 3613407 h 6689084"/>
                <a:gd name="connsiteX903" fmla="*/ 3537158 w 6689088"/>
                <a:gd name="connsiteY903" fmla="*/ 3612683 h 6689084"/>
                <a:gd name="connsiteX904" fmla="*/ 3537886 w 6689088"/>
                <a:gd name="connsiteY904" fmla="*/ 3611955 h 6689084"/>
                <a:gd name="connsiteX905" fmla="*/ 4460480 w 6689088"/>
                <a:gd name="connsiteY905" fmla="*/ 3611226 h 6689084"/>
                <a:gd name="connsiteX906" fmla="*/ 4461932 w 6689088"/>
                <a:gd name="connsiteY906" fmla="*/ 3612679 h 6689084"/>
                <a:gd name="connsiteX907" fmla="*/ 4460480 w 6689088"/>
                <a:gd name="connsiteY907" fmla="*/ 3614131 h 6689084"/>
                <a:gd name="connsiteX908" fmla="*/ 4459028 w 6689088"/>
                <a:gd name="connsiteY908" fmla="*/ 3612679 h 6689084"/>
                <a:gd name="connsiteX909" fmla="*/ 4460480 w 6689088"/>
                <a:gd name="connsiteY909" fmla="*/ 3611226 h 6689084"/>
                <a:gd name="connsiteX910" fmla="*/ 4614061 w 6689088"/>
                <a:gd name="connsiteY910" fmla="*/ 3610502 h 6689084"/>
                <a:gd name="connsiteX911" fmla="*/ 4616242 w 6689088"/>
                <a:gd name="connsiteY911" fmla="*/ 3612679 h 6689084"/>
                <a:gd name="connsiteX912" fmla="*/ 4614061 w 6689088"/>
                <a:gd name="connsiteY912" fmla="*/ 3614859 h 6689084"/>
                <a:gd name="connsiteX913" fmla="*/ 4611884 w 6689088"/>
                <a:gd name="connsiteY913" fmla="*/ 3612679 h 6689084"/>
                <a:gd name="connsiteX914" fmla="*/ 4614061 w 6689088"/>
                <a:gd name="connsiteY914" fmla="*/ 3610502 h 6689084"/>
                <a:gd name="connsiteX915" fmla="*/ 4768008 w 6689088"/>
                <a:gd name="connsiteY915" fmla="*/ 3609774 h 6689084"/>
                <a:gd name="connsiteX916" fmla="*/ 4771276 w 6689088"/>
                <a:gd name="connsiteY916" fmla="*/ 3613041 h 6689084"/>
                <a:gd name="connsiteX917" fmla="*/ 4768008 w 6689088"/>
                <a:gd name="connsiteY917" fmla="*/ 3616312 h 6689084"/>
                <a:gd name="connsiteX918" fmla="*/ 4764742 w 6689088"/>
                <a:gd name="connsiteY918" fmla="*/ 3613041 h 6689084"/>
                <a:gd name="connsiteX919" fmla="*/ 4768008 w 6689088"/>
                <a:gd name="connsiteY919" fmla="*/ 3609774 h 6689084"/>
                <a:gd name="connsiteX920" fmla="*/ 4921594 w 6689088"/>
                <a:gd name="connsiteY920" fmla="*/ 3608322 h 6689084"/>
                <a:gd name="connsiteX921" fmla="*/ 4925951 w 6689088"/>
                <a:gd name="connsiteY921" fmla="*/ 3612679 h 6689084"/>
                <a:gd name="connsiteX922" fmla="*/ 4921594 w 6689088"/>
                <a:gd name="connsiteY922" fmla="*/ 3617036 h 6689084"/>
                <a:gd name="connsiteX923" fmla="*/ 4917237 w 6689088"/>
                <a:gd name="connsiteY923" fmla="*/ 3612679 h 6689084"/>
                <a:gd name="connsiteX924" fmla="*/ 4921594 w 6689088"/>
                <a:gd name="connsiteY924" fmla="*/ 3608322 h 6689084"/>
                <a:gd name="connsiteX925" fmla="*/ 5075541 w 6689088"/>
                <a:gd name="connsiteY925" fmla="*/ 3607232 h 6689084"/>
                <a:gd name="connsiteX926" fmla="*/ 5081350 w 6689088"/>
                <a:gd name="connsiteY926" fmla="*/ 3613041 h 6689084"/>
                <a:gd name="connsiteX927" fmla="*/ 5075541 w 6689088"/>
                <a:gd name="connsiteY927" fmla="*/ 3618850 h 6689084"/>
                <a:gd name="connsiteX928" fmla="*/ 5069732 w 6689088"/>
                <a:gd name="connsiteY928" fmla="*/ 3613041 h 6689084"/>
                <a:gd name="connsiteX929" fmla="*/ 5075541 w 6689088"/>
                <a:gd name="connsiteY929" fmla="*/ 3607232 h 6689084"/>
                <a:gd name="connsiteX930" fmla="*/ 5229126 w 6689088"/>
                <a:gd name="connsiteY930" fmla="*/ 3605417 h 6689084"/>
                <a:gd name="connsiteX931" fmla="*/ 5236388 w 6689088"/>
                <a:gd name="connsiteY931" fmla="*/ 3612679 h 6689084"/>
                <a:gd name="connsiteX932" fmla="*/ 5229126 w 6689088"/>
                <a:gd name="connsiteY932" fmla="*/ 3619940 h 6689084"/>
                <a:gd name="connsiteX933" fmla="*/ 5221865 w 6689088"/>
                <a:gd name="connsiteY933" fmla="*/ 3612679 h 6689084"/>
                <a:gd name="connsiteX934" fmla="*/ 5229126 w 6689088"/>
                <a:gd name="connsiteY934" fmla="*/ 3605417 h 6689084"/>
                <a:gd name="connsiteX935" fmla="*/ 5383074 w 6689088"/>
                <a:gd name="connsiteY935" fmla="*/ 3603603 h 6689084"/>
                <a:gd name="connsiteX936" fmla="*/ 5392154 w 6689088"/>
                <a:gd name="connsiteY936" fmla="*/ 3612679 h 6689084"/>
                <a:gd name="connsiteX937" fmla="*/ 5383074 w 6689088"/>
                <a:gd name="connsiteY937" fmla="*/ 3621759 h 6689084"/>
                <a:gd name="connsiteX938" fmla="*/ 5373998 w 6689088"/>
                <a:gd name="connsiteY938" fmla="*/ 3612679 h 6689084"/>
                <a:gd name="connsiteX939" fmla="*/ 5383074 w 6689088"/>
                <a:gd name="connsiteY939" fmla="*/ 3603603 h 6689084"/>
                <a:gd name="connsiteX940" fmla="*/ 5536659 w 6689088"/>
                <a:gd name="connsiteY940" fmla="*/ 3602512 h 6689084"/>
                <a:gd name="connsiteX941" fmla="*/ 5546826 w 6689088"/>
                <a:gd name="connsiteY941" fmla="*/ 3612679 h 6689084"/>
                <a:gd name="connsiteX942" fmla="*/ 5536659 w 6689088"/>
                <a:gd name="connsiteY942" fmla="*/ 3622845 h 6689084"/>
                <a:gd name="connsiteX943" fmla="*/ 5526493 w 6689088"/>
                <a:gd name="connsiteY943" fmla="*/ 3612679 h 6689084"/>
                <a:gd name="connsiteX944" fmla="*/ 5536659 w 6689088"/>
                <a:gd name="connsiteY944" fmla="*/ 3602512 h 6689084"/>
                <a:gd name="connsiteX945" fmla="*/ 5690602 w 6689088"/>
                <a:gd name="connsiteY945" fmla="*/ 3600698 h 6689084"/>
                <a:gd name="connsiteX946" fmla="*/ 5702584 w 6689088"/>
                <a:gd name="connsiteY946" fmla="*/ 3612679 h 6689084"/>
                <a:gd name="connsiteX947" fmla="*/ 5690602 w 6689088"/>
                <a:gd name="connsiteY947" fmla="*/ 3624663 h 6689084"/>
                <a:gd name="connsiteX948" fmla="*/ 5678622 w 6689088"/>
                <a:gd name="connsiteY948" fmla="*/ 3612679 h 6689084"/>
                <a:gd name="connsiteX949" fmla="*/ 5690602 w 6689088"/>
                <a:gd name="connsiteY949" fmla="*/ 3600698 h 6689084"/>
                <a:gd name="connsiteX950" fmla="*/ 5844554 w 6689088"/>
                <a:gd name="connsiteY950" fmla="*/ 3598884 h 6689084"/>
                <a:gd name="connsiteX951" fmla="*/ 5858349 w 6689088"/>
                <a:gd name="connsiteY951" fmla="*/ 3612683 h 6689084"/>
                <a:gd name="connsiteX952" fmla="*/ 5844554 w 6689088"/>
                <a:gd name="connsiteY952" fmla="*/ 3626478 h 6689084"/>
                <a:gd name="connsiteX953" fmla="*/ 5830755 w 6689088"/>
                <a:gd name="connsiteY953" fmla="*/ 3612683 h 6689084"/>
                <a:gd name="connsiteX954" fmla="*/ 5844554 w 6689088"/>
                <a:gd name="connsiteY954" fmla="*/ 3598884 h 6689084"/>
                <a:gd name="connsiteX955" fmla="*/ 5998139 w 6689088"/>
                <a:gd name="connsiteY955" fmla="*/ 3597431 h 6689084"/>
                <a:gd name="connsiteX956" fmla="*/ 6013387 w 6689088"/>
                <a:gd name="connsiteY956" fmla="*/ 3612683 h 6689084"/>
                <a:gd name="connsiteX957" fmla="*/ 5998139 w 6689088"/>
                <a:gd name="connsiteY957" fmla="*/ 3627930 h 6689084"/>
                <a:gd name="connsiteX958" fmla="*/ 5982892 w 6689088"/>
                <a:gd name="connsiteY958" fmla="*/ 3612683 h 6689084"/>
                <a:gd name="connsiteX959" fmla="*/ 5998139 w 6689088"/>
                <a:gd name="connsiteY959" fmla="*/ 3597431 h 6689084"/>
                <a:gd name="connsiteX960" fmla="*/ 6152083 w 6689088"/>
                <a:gd name="connsiteY960" fmla="*/ 3595613 h 6689084"/>
                <a:gd name="connsiteX961" fmla="*/ 6169152 w 6689088"/>
                <a:gd name="connsiteY961" fmla="*/ 3612679 h 6689084"/>
                <a:gd name="connsiteX962" fmla="*/ 6152083 w 6689088"/>
                <a:gd name="connsiteY962" fmla="*/ 3629745 h 6689084"/>
                <a:gd name="connsiteX963" fmla="*/ 6135020 w 6689088"/>
                <a:gd name="connsiteY963" fmla="*/ 3612679 h 6689084"/>
                <a:gd name="connsiteX964" fmla="*/ 6152083 w 6689088"/>
                <a:gd name="connsiteY964" fmla="*/ 3595613 h 6689084"/>
                <a:gd name="connsiteX965" fmla="*/ 6305668 w 6689088"/>
                <a:gd name="connsiteY965" fmla="*/ 3593436 h 6689084"/>
                <a:gd name="connsiteX966" fmla="*/ 6324910 w 6689088"/>
                <a:gd name="connsiteY966" fmla="*/ 3612679 h 6689084"/>
                <a:gd name="connsiteX967" fmla="*/ 6305668 w 6689088"/>
                <a:gd name="connsiteY967" fmla="*/ 3631921 h 6689084"/>
                <a:gd name="connsiteX968" fmla="*/ 6286422 w 6689088"/>
                <a:gd name="connsiteY968" fmla="*/ 3612679 h 6689084"/>
                <a:gd name="connsiteX969" fmla="*/ 6305668 w 6689088"/>
                <a:gd name="connsiteY969" fmla="*/ 3593436 h 6689084"/>
                <a:gd name="connsiteX970" fmla="*/ 6459616 w 6689088"/>
                <a:gd name="connsiteY970" fmla="*/ 3591256 h 6689084"/>
                <a:gd name="connsiteX971" fmla="*/ 6481038 w 6689088"/>
                <a:gd name="connsiteY971" fmla="*/ 3612679 h 6689084"/>
                <a:gd name="connsiteX972" fmla="*/ 6459616 w 6689088"/>
                <a:gd name="connsiteY972" fmla="*/ 3634098 h 6689084"/>
                <a:gd name="connsiteX973" fmla="*/ 6438192 w 6689088"/>
                <a:gd name="connsiteY973" fmla="*/ 3612679 h 6689084"/>
                <a:gd name="connsiteX974" fmla="*/ 6459616 w 6689088"/>
                <a:gd name="connsiteY974" fmla="*/ 3591256 h 6689084"/>
                <a:gd name="connsiteX975" fmla="*/ 6613200 w 6689088"/>
                <a:gd name="connsiteY975" fmla="*/ 3589804 h 6689084"/>
                <a:gd name="connsiteX976" fmla="*/ 6636072 w 6689088"/>
                <a:gd name="connsiteY976" fmla="*/ 3612679 h 6689084"/>
                <a:gd name="connsiteX977" fmla="*/ 6613200 w 6689088"/>
                <a:gd name="connsiteY977" fmla="*/ 3635550 h 6689084"/>
                <a:gd name="connsiteX978" fmla="*/ 6590326 w 6689088"/>
                <a:gd name="connsiteY978" fmla="*/ 3612679 h 6689084"/>
                <a:gd name="connsiteX979" fmla="*/ 6613200 w 6689088"/>
                <a:gd name="connsiteY979" fmla="*/ 3589804 h 6689084"/>
                <a:gd name="connsiteX980" fmla="*/ 4152947 w 6689088"/>
                <a:gd name="connsiteY980" fmla="*/ 3458731 h 6689084"/>
                <a:gd name="connsiteX981" fmla="*/ 4153309 w 6689088"/>
                <a:gd name="connsiteY981" fmla="*/ 3459094 h 6689084"/>
                <a:gd name="connsiteX982" fmla="*/ 4152947 w 6689088"/>
                <a:gd name="connsiteY982" fmla="*/ 3459456 h 6689084"/>
                <a:gd name="connsiteX983" fmla="*/ 4152585 w 6689088"/>
                <a:gd name="connsiteY983" fmla="*/ 3459094 h 6689084"/>
                <a:gd name="connsiteX984" fmla="*/ 4152947 w 6689088"/>
                <a:gd name="connsiteY984" fmla="*/ 3458731 h 6689084"/>
                <a:gd name="connsiteX985" fmla="*/ 3691467 w 6689088"/>
                <a:gd name="connsiteY985" fmla="*/ 3458731 h 6689084"/>
                <a:gd name="connsiteX986" fmla="*/ 3691829 w 6689088"/>
                <a:gd name="connsiteY986" fmla="*/ 3459094 h 6689084"/>
                <a:gd name="connsiteX987" fmla="*/ 3691467 w 6689088"/>
                <a:gd name="connsiteY987" fmla="*/ 3459456 h 6689084"/>
                <a:gd name="connsiteX988" fmla="*/ 3691105 w 6689088"/>
                <a:gd name="connsiteY988" fmla="*/ 3459094 h 6689084"/>
                <a:gd name="connsiteX989" fmla="*/ 3691467 w 6689088"/>
                <a:gd name="connsiteY989" fmla="*/ 3458731 h 6689084"/>
                <a:gd name="connsiteX990" fmla="*/ 3537882 w 6689088"/>
                <a:gd name="connsiteY990" fmla="*/ 3458731 h 6689084"/>
                <a:gd name="connsiteX991" fmla="*/ 3538244 w 6689088"/>
                <a:gd name="connsiteY991" fmla="*/ 3459094 h 6689084"/>
                <a:gd name="connsiteX992" fmla="*/ 3537882 w 6689088"/>
                <a:gd name="connsiteY992" fmla="*/ 3459456 h 6689084"/>
                <a:gd name="connsiteX993" fmla="*/ 3537520 w 6689088"/>
                <a:gd name="connsiteY993" fmla="*/ 3459094 h 6689084"/>
                <a:gd name="connsiteX994" fmla="*/ 3537882 w 6689088"/>
                <a:gd name="connsiteY994" fmla="*/ 3458731 h 6689084"/>
                <a:gd name="connsiteX995" fmla="*/ 3383938 w 6689088"/>
                <a:gd name="connsiteY995" fmla="*/ 3458369 h 6689084"/>
                <a:gd name="connsiteX996" fmla="*/ 3384662 w 6689088"/>
                <a:gd name="connsiteY996" fmla="*/ 3459094 h 6689084"/>
                <a:gd name="connsiteX997" fmla="*/ 3383938 w 6689088"/>
                <a:gd name="connsiteY997" fmla="*/ 3459822 h 6689084"/>
                <a:gd name="connsiteX998" fmla="*/ 3383210 w 6689088"/>
                <a:gd name="connsiteY998" fmla="*/ 3459094 h 6689084"/>
                <a:gd name="connsiteX999" fmla="*/ 3383938 w 6689088"/>
                <a:gd name="connsiteY999" fmla="*/ 3458369 h 6689084"/>
                <a:gd name="connsiteX1000" fmla="*/ 4306532 w 6689088"/>
                <a:gd name="connsiteY1000" fmla="*/ 3457279 h 6689084"/>
                <a:gd name="connsiteX1001" fmla="*/ 4307984 w 6689088"/>
                <a:gd name="connsiteY1001" fmla="*/ 3458731 h 6689084"/>
                <a:gd name="connsiteX1002" fmla="*/ 4306532 w 6689088"/>
                <a:gd name="connsiteY1002" fmla="*/ 3460184 h 6689084"/>
                <a:gd name="connsiteX1003" fmla="*/ 4305080 w 6689088"/>
                <a:gd name="connsiteY1003" fmla="*/ 3458731 h 6689084"/>
                <a:gd name="connsiteX1004" fmla="*/ 4306532 w 6689088"/>
                <a:gd name="connsiteY1004" fmla="*/ 3457279 h 6689084"/>
                <a:gd name="connsiteX1005" fmla="*/ 4460480 w 6689088"/>
                <a:gd name="connsiteY1005" fmla="*/ 3456917 h 6689084"/>
                <a:gd name="connsiteX1006" fmla="*/ 4462656 w 6689088"/>
                <a:gd name="connsiteY1006" fmla="*/ 3459094 h 6689084"/>
                <a:gd name="connsiteX1007" fmla="*/ 4460480 w 6689088"/>
                <a:gd name="connsiteY1007" fmla="*/ 3461274 h 6689084"/>
                <a:gd name="connsiteX1008" fmla="*/ 4458300 w 6689088"/>
                <a:gd name="connsiteY1008" fmla="*/ 3459094 h 6689084"/>
                <a:gd name="connsiteX1009" fmla="*/ 4460480 w 6689088"/>
                <a:gd name="connsiteY1009" fmla="*/ 3456917 h 6689084"/>
                <a:gd name="connsiteX1010" fmla="*/ 4614061 w 6689088"/>
                <a:gd name="connsiteY1010" fmla="*/ 3455827 h 6689084"/>
                <a:gd name="connsiteX1011" fmla="*/ 4617328 w 6689088"/>
                <a:gd name="connsiteY1011" fmla="*/ 3459094 h 6689084"/>
                <a:gd name="connsiteX1012" fmla="*/ 4614061 w 6689088"/>
                <a:gd name="connsiteY1012" fmla="*/ 3462364 h 6689084"/>
                <a:gd name="connsiteX1013" fmla="*/ 4610794 w 6689088"/>
                <a:gd name="connsiteY1013" fmla="*/ 3459094 h 6689084"/>
                <a:gd name="connsiteX1014" fmla="*/ 4614061 w 6689088"/>
                <a:gd name="connsiteY1014" fmla="*/ 3455827 h 6689084"/>
                <a:gd name="connsiteX1015" fmla="*/ 4768008 w 6689088"/>
                <a:gd name="connsiteY1015" fmla="*/ 3454374 h 6689084"/>
                <a:gd name="connsiteX1016" fmla="*/ 4772366 w 6689088"/>
                <a:gd name="connsiteY1016" fmla="*/ 3458731 h 6689084"/>
                <a:gd name="connsiteX1017" fmla="*/ 4768008 w 6689088"/>
                <a:gd name="connsiteY1017" fmla="*/ 3463088 h 6689084"/>
                <a:gd name="connsiteX1018" fmla="*/ 4763652 w 6689088"/>
                <a:gd name="connsiteY1018" fmla="*/ 3458731 h 6689084"/>
                <a:gd name="connsiteX1019" fmla="*/ 4768008 w 6689088"/>
                <a:gd name="connsiteY1019" fmla="*/ 3454374 h 6689084"/>
                <a:gd name="connsiteX1020" fmla="*/ 4921594 w 6689088"/>
                <a:gd name="connsiteY1020" fmla="*/ 3453284 h 6689084"/>
                <a:gd name="connsiteX1021" fmla="*/ 4927403 w 6689088"/>
                <a:gd name="connsiteY1021" fmla="*/ 3459094 h 6689084"/>
                <a:gd name="connsiteX1022" fmla="*/ 4921594 w 6689088"/>
                <a:gd name="connsiteY1022" fmla="*/ 3464903 h 6689084"/>
                <a:gd name="connsiteX1023" fmla="*/ 4915784 w 6689088"/>
                <a:gd name="connsiteY1023" fmla="*/ 3459094 h 6689084"/>
                <a:gd name="connsiteX1024" fmla="*/ 4921594 w 6689088"/>
                <a:gd name="connsiteY1024" fmla="*/ 3453284 h 6689084"/>
                <a:gd name="connsiteX1025" fmla="*/ 5075541 w 6689088"/>
                <a:gd name="connsiteY1025" fmla="*/ 3451832 h 6689084"/>
                <a:gd name="connsiteX1026" fmla="*/ 5082803 w 6689088"/>
                <a:gd name="connsiteY1026" fmla="*/ 3459094 h 6689084"/>
                <a:gd name="connsiteX1027" fmla="*/ 5075541 w 6689088"/>
                <a:gd name="connsiteY1027" fmla="*/ 3466355 h 6689084"/>
                <a:gd name="connsiteX1028" fmla="*/ 5068280 w 6689088"/>
                <a:gd name="connsiteY1028" fmla="*/ 3459094 h 6689084"/>
                <a:gd name="connsiteX1029" fmla="*/ 5075541 w 6689088"/>
                <a:gd name="connsiteY1029" fmla="*/ 3451832 h 6689084"/>
                <a:gd name="connsiteX1030" fmla="*/ 5229126 w 6689088"/>
                <a:gd name="connsiteY1030" fmla="*/ 3449655 h 6689084"/>
                <a:gd name="connsiteX1031" fmla="*/ 5238206 w 6689088"/>
                <a:gd name="connsiteY1031" fmla="*/ 3458731 h 6689084"/>
                <a:gd name="connsiteX1032" fmla="*/ 5229126 w 6689088"/>
                <a:gd name="connsiteY1032" fmla="*/ 3467811 h 6689084"/>
                <a:gd name="connsiteX1033" fmla="*/ 5220050 w 6689088"/>
                <a:gd name="connsiteY1033" fmla="*/ 3458731 h 6689084"/>
                <a:gd name="connsiteX1034" fmla="*/ 5229126 w 6689088"/>
                <a:gd name="connsiteY1034" fmla="*/ 3449655 h 6689084"/>
                <a:gd name="connsiteX1035" fmla="*/ 5383074 w 6689088"/>
                <a:gd name="connsiteY1035" fmla="*/ 3448927 h 6689084"/>
                <a:gd name="connsiteX1036" fmla="*/ 5393240 w 6689088"/>
                <a:gd name="connsiteY1036" fmla="*/ 3459094 h 6689084"/>
                <a:gd name="connsiteX1037" fmla="*/ 5383074 w 6689088"/>
                <a:gd name="connsiteY1037" fmla="*/ 3469260 h 6689084"/>
                <a:gd name="connsiteX1038" fmla="*/ 5372908 w 6689088"/>
                <a:gd name="connsiteY1038" fmla="*/ 3459094 h 6689084"/>
                <a:gd name="connsiteX1039" fmla="*/ 5383074 w 6689088"/>
                <a:gd name="connsiteY1039" fmla="*/ 3448927 h 6689084"/>
                <a:gd name="connsiteX1040" fmla="*/ 5536659 w 6689088"/>
                <a:gd name="connsiteY1040" fmla="*/ 3447113 h 6689084"/>
                <a:gd name="connsiteX1041" fmla="*/ 5548640 w 6689088"/>
                <a:gd name="connsiteY1041" fmla="*/ 3459094 h 6689084"/>
                <a:gd name="connsiteX1042" fmla="*/ 5536659 w 6689088"/>
                <a:gd name="connsiteY1042" fmla="*/ 3471074 h 6689084"/>
                <a:gd name="connsiteX1043" fmla="*/ 5524678 w 6689088"/>
                <a:gd name="connsiteY1043" fmla="*/ 3459094 h 6689084"/>
                <a:gd name="connsiteX1044" fmla="*/ 5536659 w 6689088"/>
                <a:gd name="connsiteY1044" fmla="*/ 3447113 h 6689084"/>
                <a:gd name="connsiteX1045" fmla="*/ 5690606 w 6689088"/>
                <a:gd name="connsiteY1045" fmla="*/ 3445298 h 6689084"/>
                <a:gd name="connsiteX1046" fmla="*/ 5704402 w 6689088"/>
                <a:gd name="connsiteY1046" fmla="*/ 3459094 h 6689084"/>
                <a:gd name="connsiteX1047" fmla="*/ 5690606 w 6689088"/>
                <a:gd name="connsiteY1047" fmla="*/ 3472893 h 6689084"/>
                <a:gd name="connsiteX1048" fmla="*/ 5676808 w 6689088"/>
                <a:gd name="connsiteY1048" fmla="*/ 3459094 h 6689084"/>
                <a:gd name="connsiteX1049" fmla="*/ 5690606 w 6689088"/>
                <a:gd name="connsiteY1049" fmla="*/ 3445298 h 6689084"/>
                <a:gd name="connsiteX1050" fmla="*/ 5844554 w 6689088"/>
                <a:gd name="connsiteY1050" fmla="*/ 3443846 h 6689084"/>
                <a:gd name="connsiteX1051" fmla="*/ 5859802 w 6689088"/>
                <a:gd name="connsiteY1051" fmla="*/ 3459094 h 6689084"/>
                <a:gd name="connsiteX1052" fmla="*/ 5844554 w 6689088"/>
                <a:gd name="connsiteY1052" fmla="*/ 3474345 h 6689084"/>
                <a:gd name="connsiteX1053" fmla="*/ 5829302 w 6689088"/>
                <a:gd name="connsiteY1053" fmla="*/ 3459094 h 6689084"/>
                <a:gd name="connsiteX1054" fmla="*/ 5844554 w 6689088"/>
                <a:gd name="connsiteY1054" fmla="*/ 3443846 h 6689084"/>
                <a:gd name="connsiteX1055" fmla="*/ 5998139 w 6689088"/>
                <a:gd name="connsiteY1055" fmla="*/ 3442031 h 6689084"/>
                <a:gd name="connsiteX1056" fmla="*/ 6015205 w 6689088"/>
                <a:gd name="connsiteY1056" fmla="*/ 3459097 h 6689084"/>
                <a:gd name="connsiteX1057" fmla="*/ 5998139 w 6689088"/>
                <a:gd name="connsiteY1057" fmla="*/ 3476159 h 6689084"/>
                <a:gd name="connsiteX1058" fmla="*/ 5981077 w 6689088"/>
                <a:gd name="connsiteY1058" fmla="*/ 3459097 h 6689084"/>
                <a:gd name="connsiteX1059" fmla="*/ 5998139 w 6689088"/>
                <a:gd name="connsiteY1059" fmla="*/ 3442031 h 6689084"/>
                <a:gd name="connsiteX1060" fmla="*/ 6152083 w 6689088"/>
                <a:gd name="connsiteY1060" fmla="*/ 3439851 h 6689084"/>
                <a:gd name="connsiteX1061" fmla="*/ 6171329 w 6689088"/>
                <a:gd name="connsiteY1061" fmla="*/ 3459094 h 6689084"/>
                <a:gd name="connsiteX1062" fmla="*/ 6152083 w 6689088"/>
                <a:gd name="connsiteY1062" fmla="*/ 3478336 h 6689084"/>
                <a:gd name="connsiteX1063" fmla="*/ 6132836 w 6689088"/>
                <a:gd name="connsiteY1063" fmla="*/ 3459094 h 6689084"/>
                <a:gd name="connsiteX1064" fmla="*/ 6152083 w 6689088"/>
                <a:gd name="connsiteY1064" fmla="*/ 3439851 h 6689084"/>
                <a:gd name="connsiteX1065" fmla="*/ 6305668 w 6689088"/>
                <a:gd name="connsiteY1065" fmla="*/ 3437674 h 6689084"/>
                <a:gd name="connsiteX1066" fmla="*/ 6327091 w 6689088"/>
                <a:gd name="connsiteY1066" fmla="*/ 3459097 h 6689084"/>
                <a:gd name="connsiteX1067" fmla="*/ 6305668 w 6689088"/>
                <a:gd name="connsiteY1067" fmla="*/ 3480516 h 6689084"/>
                <a:gd name="connsiteX1068" fmla="*/ 6284245 w 6689088"/>
                <a:gd name="connsiteY1068" fmla="*/ 3459097 h 6689084"/>
                <a:gd name="connsiteX1069" fmla="*/ 6305668 w 6689088"/>
                <a:gd name="connsiteY1069" fmla="*/ 3437674 h 6689084"/>
                <a:gd name="connsiteX1070" fmla="*/ 6459619 w 6689088"/>
                <a:gd name="connsiteY1070" fmla="*/ 3436222 h 6689084"/>
                <a:gd name="connsiteX1071" fmla="*/ 6482494 w 6689088"/>
                <a:gd name="connsiteY1071" fmla="*/ 3459097 h 6689084"/>
                <a:gd name="connsiteX1072" fmla="*/ 6459619 w 6689088"/>
                <a:gd name="connsiteY1072" fmla="*/ 3481969 h 6689084"/>
                <a:gd name="connsiteX1073" fmla="*/ 6436744 w 6689088"/>
                <a:gd name="connsiteY1073" fmla="*/ 3459097 h 6689084"/>
                <a:gd name="connsiteX1074" fmla="*/ 6459619 w 6689088"/>
                <a:gd name="connsiteY1074" fmla="*/ 3436222 h 6689084"/>
                <a:gd name="connsiteX1075" fmla="*/ 6613200 w 6689088"/>
                <a:gd name="connsiteY1075" fmla="*/ 3434042 h 6689084"/>
                <a:gd name="connsiteX1076" fmla="*/ 6638252 w 6689088"/>
                <a:gd name="connsiteY1076" fmla="*/ 3459094 h 6689084"/>
                <a:gd name="connsiteX1077" fmla="*/ 6613200 w 6689088"/>
                <a:gd name="connsiteY1077" fmla="*/ 3484145 h 6689084"/>
                <a:gd name="connsiteX1078" fmla="*/ 6588149 w 6689088"/>
                <a:gd name="connsiteY1078" fmla="*/ 3459094 h 6689084"/>
                <a:gd name="connsiteX1079" fmla="*/ 6613200 w 6689088"/>
                <a:gd name="connsiteY1079" fmla="*/ 3434042 h 6689084"/>
                <a:gd name="connsiteX1080" fmla="*/ 3999000 w 6689088"/>
                <a:gd name="connsiteY1080" fmla="*/ 3304784 h 6689084"/>
                <a:gd name="connsiteX1081" fmla="*/ 3999362 w 6689088"/>
                <a:gd name="connsiteY1081" fmla="*/ 3305146 h 6689084"/>
                <a:gd name="connsiteX1082" fmla="*/ 3999000 w 6689088"/>
                <a:gd name="connsiteY1082" fmla="*/ 3305512 h 6689084"/>
                <a:gd name="connsiteX1083" fmla="*/ 3998638 w 6689088"/>
                <a:gd name="connsiteY1083" fmla="*/ 3305146 h 6689084"/>
                <a:gd name="connsiteX1084" fmla="*/ 3999000 w 6689088"/>
                <a:gd name="connsiteY1084" fmla="*/ 3304784 h 6689084"/>
                <a:gd name="connsiteX1085" fmla="*/ 3537882 w 6689088"/>
                <a:gd name="connsiteY1085" fmla="*/ 3304784 h 6689084"/>
                <a:gd name="connsiteX1086" fmla="*/ 3538244 w 6689088"/>
                <a:gd name="connsiteY1086" fmla="*/ 3305146 h 6689084"/>
                <a:gd name="connsiteX1087" fmla="*/ 3537882 w 6689088"/>
                <a:gd name="connsiteY1087" fmla="*/ 3305512 h 6689084"/>
                <a:gd name="connsiteX1088" fmla="*/ 3537520 w 6689088"/>
                <a:gd name="connsiteY1088" fmla="*/ 3305146 h 6689084"/>
                <a:gd name="connsiteX1089" fmla="*/ 3537882 w 6689088"/>
                <a:gd name="connsiteY1089" fmla="*/ 3304784 h 6689084"/>
                <a:gd name="connsiteX1090" fmla="*/ 3383934 w 6689088"/>
                <a:gd name="connsiteY1090" fmla="*/ 3304784 h 6689084"/>
                <a:gd name="connsiteX1091" fmla="*/ 3384296 w 6689088"/>
                <a:gd name="connsiteY1091" fmla="*/ 3305146 h 6689084"/>
                <a:gd name="connsiteX1092" fmla="*/ 3383934 w 6689088"/>
                <a:gd name="connsiteY1092" fmla="*/ 3305512 h 6689084"/>
                <a:gd name="connsiteX1093" fmla="*/ 3383572 w 6689088"/>
                <a:gd name="connsiteY1093" fmla="*/ 3305146 h 6689084"/>
                <a:gd name="connsiteX1094" fmla="*/ 3383934 w 6689088"/>
                <a:gd name="connsiteY1094" fmla="*/ 3304784 h 6689084"/>
                <a:gd name="connsiteX1095" fmla="*/ 3230353 w 6689088"/>
                <a:gd name="connsiteY1095" fmla="*/ 3304422 h 6689084"/>
                <a:gd name="connsiteX1096" fmla="*/ 3231077 w 6689088"/>
                <a:gd name="connsiteY1096" fmla="*/ 3305146 h 6689084"/>
                <a:gd name="connsiteX1097" fmla="*/ 3230353 w 6689088"/>
                <a:gd name="connsiteY1097" fmla="*/ 3305874 h 6689084"/>
                <a:gd name="connsiteX1098" fmla="*/ 3229625 w 6689088"/>
                <a:gd name="connsiteY1098" fmla="*/ 3305146 h 6689084"/>
                <a:gd name="connsiteX1099" fmla="*/ 3230353 w 6689088"/>
                <a:gd name="connsiteY1099" fmla="*/ 3304422 h 6689084"/>
                <a:gd name="connsiteX1100" fmla="*/ 4152947 w 6689088"/>
                <a:gd name="connsiteY1100" fmla="*/ 3303694 h 6689084"/>
                <a:gd name="connsiteX1101" fmla="*/ 4154400 w 6689088"/>
                <a:gd name="connsiteY1101" fmla="*/ 3305146 h 6689084"/>
                <a:gd name="connsiteX1102" fmla="*/ 4152947 w 6689088"/>
                <a:gd name="connsiteY1102" fmla="*/ 3306598 h 6689084"/>
                <a:gd name="connsiteX1103" fmla="*/ 4151494 w 6689088"/>
                <a:gd name="connsiteY1103" fmla="*/ 3305146 h 6689084"/>
                <a:gd name="connsiteX1104" fmla="*/ 4152947 w 6689088"/>
                <a:gd name="connsiteY1104" fmla="*/ 3303694 h 6689084"/>
                <a:gd name="connsiteX1105" fmla="*/ 4306528 w 6689088"/>
                <a:gd name="connsiteY1105" fmla="*/ 3302970 h 6689084"/>
                <a:gd name="connsiteX1106" fmla="*/ 4308709 w 6689088"/>
                <a:gd name="connsiteY1106" fmla="*/ 3305146 h 6689084"/>
                <a:gd name="connsiteX1107" fmla="*/ 4306528 w 6689088"/>
                <a:gd name="connsiteY1107" fmla="*/ 3307327 h 6689084"/>
                <a:gd name="connsiteX1108" fmla="*/ 4304352 w 6689088"/>
                <a:gd name="connsiteY1108" fmla="*/ 3305146 h 6689084"/>
                <a:gd name="connsiteX1109" fmla="*/ 4306528 w 6689088"/>
                <a:gd name="connsiteY1109" fmla="*/ 3302970 h 6689084"/>
                <a:gd name="connsiteX1110" fmla="*/ 4460480 w 6689088"/>
                <a:gd name="connsiteY1110" fmla="*/ 3302241 h 6689084"/>
                <a:gd name="connsiteX1111" fmla="*/ 4463746 w 6689088"/>
                <a:gd name="connsiteY1111" fmla="*/ 3305508 h 6689084"/>
                <a:gd name="connsiteX1112" fmla="*/ 4460480 w 6689088"/>
                <a:gd name="connsiteY1112" fmla="*/ 3308779 h 6689084"/>
                <a:gd name="connsiteX1113" fmla="*/ 4457213 w 6689088"/>
                <a:gd name="connsiteY1113" fmla="*/ 3305508 h 6689084"/>
                <a:gd name="connsiteX1114" fmla="*/ 4460480 w 6689088"/>
                <a:gd name="connsiteY1114" fmla="*/ 3302241 h 6689084"/>
                <a:gd name="connsiteX1115" fmla="*/ 4614061 w 6689088"/>
                <a:gd name="connsiteY1115" fmla="*/ 3300789 h 6689084"/>
                <a:gd name="connsiteX1116" fmla="*/ 4618418 w 6689088"/>
                <a:gd name="connsiteY1116" fmla="*/ 3305146 h 6689084"/>
                <a:gd name="connsiteX1117" fmla="*/ 4614061 w 6689088"/>
                <a:gd name="connsiteY1117" fmla="*/ 3309503 h 6689084"/>
                <a:gd name="connsiteX1118" fmla="*/ 4609704 w 6689088"/>
                <a:gd name="connsiteY1118" fmla="*/ 3305146 h 6689084"/>
                <a:gd name="connsiteX1119" fmla="*/ 4614061 w 6689088"/>
                <a:gd name="connsiteY1119" fmla="*/ 3300789 h 6689084"/>
                <a:gd name="connsiteX1120" fmla="*/ 4768012 w 6689088"/>
                <a:gd name="connsiteY1120" fmla="*/ 3299699 h 6689084"/>
                <a:gd name="connsiteX1121" fmla="*/ 4773822 w 6689088"/>
                <a:gd name="connsiteY1121" fmla="*/ 3305508 h 6689084"/>
                <a:gd name="connsiteX1122" fmla="*/ 4768012 w 6689088"/>
                <a:gd name="connsiteY1122" fmla="*/ 3311318 h 6689084"/>
                <a:gd name="connsiteX1123" fmla="*/ 4762203 w 6689088"/>
                <a:gd name="connsiteY1123" fmla="*/ 3305508 h 6689084"/>
                <a:gd name="connsiteX1124" fmla="*/ 4768012 w 6689088"/>
                <a:gd name="connsiteY1124" fmla="*/ 3299699 h 6689084"/>
                <a:gd name="connsiteX1125" fmla="*/ 4921594 w 6689088"/>
                <a:gd name="connsiteY1125" fmla="*/ 3297885 h 6689084"/>
                <a:gd name="connsiteX1126" fmla="*/ 4928856 w 6689088"/>
                <a:gd name="connsiteY1126" fmla="*/ 3305146 h 6689084"/>
                <a:gd name="connsiteX1127" fmla="*/ 4921594 w 6689088"/>
                <a:gd name="connsiteY1127" fmla="*/ 3312408 h 6689084"/>
                <a:gd name="connsiteX1128" fmla="*/ 4914332 w 6689088"/>
                <a:gd name="connsiteY1128" fmla="*/ 3305146 h 6689084"/>
                <a:gd name="connsiteX1129" fmla="*/ 4921594 w 6689088"/>
                <a:gd name="connsiteY1129" fmla="*/ 3297885 h 6689084"/>
                <a:gd name="connsiteX1130" fmla="*/ 5075541 w 6689088"/>
                <a:gd name="connsiteY1130" fmla="*/ 3296070 h 6689084"/>
                <a:gd name="connsiteX1131" fmla="*/ 5084621 w 6689088"/>
                <a:gd name="connsiteY1131" fmla="*/ 3305146 h 6689084"/>
                <a:gd name="connsiteX1132" fmla="*/ 5075541 w 6689088"/>
                <a:gd name="connsiteY1132" fmla="*/ 3314226 h 6689084"/>
                <a:gd name="connsiteX1133" fmla="*/ 5066465 w 6689088"/>
                <a:gd name="connsiteY1133" fmla="*/ 3305146 h 6689084"/>
                <a:gd name="connsiteX1134" fmla="*/ 5075541 w 6689088"/>
                <a:gd name="connsiteY1134" fmla="*/ 3296070 h 6689084"/>
                <a:gd name="connsiteX1135" fmla="*/ 5229126 w 6689088"/>
                <a:gd name="connsiteY1135" fmla="*/ 3294980 h 6689084"/>
                <a:gd name="connsiteX1136" fmla="*/ 5239293 w 6689088"/>
                <a:gd name="connsiteY1136" fmla="*/ 3305146 h 6689084"/>
                <a:gd name="connsiteX1137" fmla="*/ 5229126 w 6689088"/>
                <a:gd name="connsiteY1137" fmla="*/ 3315312 h 6689084"/>
                <a:gd name="connsiteX1138" fmla="*/ 5218960 w 6689088"/>
                <a:gd name="connsiteY1138" fmla="*/ 3305146 h 6689084"/>
                <a:gd name="connsiteX1139" fmla="*/ 5229126 w 6689088"/>
                <a:gd name="connsiteY1139" fmla="*/ 3294980 h 6689084"/>
                <a:gd name="connsiteX1140" fmla="*/ 5383074 w 6689088"/>
                <a:gd name="connsiteY1140" fmla="*/ 3293165 h 6689084"/>
                <a:gd name="connsiteX1141" fmla="*/ 5395058 w 6689088"/>
                <a:gd name="connsiteY1141" fmla="*/ 3305146 h 6689084"/>
                <a:gd name="connsiteX1142" fmla="*/ 5383074 w 6689088"/>
                <a:gd name="connsiteY1142" fmla="*/ 3317131 h 6689084"/>
                <a:gd name="connsiteX1143" fmla="*/ 5371093 w 6689088"/>
                <a:gd name="connsiteY1143" fmla="*/ 3305146 h 6689084"/>
                <a:gd name="connsiteX1144" fmla="*/ 5383074 w 6689088"/>
                <a:gd name="connsiteY1144" fmla="*/ 3293165 h 6689084"/>
                <a:gd name="connsiteX1145" fmla="*/ 5537021 w 6689088"/>
                <a:gd name="connsiteY1145" fmla="*/ 3291351 h 6689084"/>
                <a:gd name="connsiteX1146" fmla="*/ 5550820 w 6689088"/>
                <a:gd name="connsiteY1146" fmla="*/ 3305146 h 6689084"/>
                <a:gd name="connsiteX1147" fmla="*/ 5537021 w 6689088"/>
                <a:gd name="connsiteY1147" fmla="*/ 3318945 h 6689084"/>
                <a:gd name="connsiteX1148" fmla="*/ 5523226 w 6689088"/>
                <a:gd name="connsiteY1148" fmla="*/ 3305146 h 6689084"/>
                <a:gd name="connsiteX1149" fmla="*/ 5537021 w 6689088"/>
                <a:gd name="connsiteY1149" fmla="*/ 3291351 h 6689084"/>
                <a:gd name="connsiteX1150" fmla="*/ 5690606 w 6689088"/>
                <a:gd name="connsiteY1150" fmla="*/ 3289899 h 6689084"/>
                <a:gd name="connsiteX1151" fmla="*/ 5705854 w 6689088"/>
                <a:gd name="connsiteY1151" fmla="*/ 3305146 h 6689084"/>
                <a:gd name="connsiteX1152" fmla="*/ 5690606 w 6689088"/>
                <a:gd name="connsiteY1152" fmla="*/ 3320398 h 6689084"/>
                <a:gd name="connsiteX1153" fmla="*/ 5675355 w 6689088"/>
                <a:gd name="connsiteY1153" fmla="*/ 3305146 h 6689084"/>
                <a:gd name="connsiteX1154" fmla="*/ 5690606 w 6689088"/>
                <a:gd name="connsiteY1154" fmla="*/ 3289899 h 6689084"/>
                <a:gd name="connsiteX1155" fmla="*/ 5844554 w 6689088"/>
                <a:gd name="connsiteY1155" fmla="*/ 3288084 h 6689084"/>
                <a:gd name="connsiteX1156" fmla="*/ 5861616 w 6689088"/>
                <a:gd name="connsiteY1156" fmla="*/ 3305150 h 6689084"/>
                <a:gd name="connsiteX1157" fmla="*/ 5844554 w 6689088"/>
                <a:gd name="connsiteY1157" fmla="*/ 3322216 h 6689084"/>
                <a:gd name="connsiteX1158" fmla="*/ 5827488 w 6689088"/>
                <a:gd name="connsiteY1158" fmla="*/ 3305150 h 6689084"/>
                <a:gd name="connsiteX1159" fmla="*/ 5844554 w 6689088"/>
                <a:gd name="connsiteY1159" fmla="*/ 3288084 h 6689084"/>
                <a:gd name="connsiteX1160" fmla="*/ 5998136 w 6689088"/>
                <a:gd name="connsiteY1160" fmla="*/ 3285904 h 6689084"/>
                <a:gd name="connsiteX1161" fmla="*/ 6017382 w 6689088"/>
                <a:gd name="connsiteY1161" fmla="*/ 3305146 h 6689084"/>
                <a:gd name="connsiteX1162" fmla="*/ 5998136 w 6689088"/>
                <a:gd name="connsiteY1162" fmla="*/ 3324389 h 6689084"/>
                <a:gd name="connsiteX1163" fmla="*/ 5978893 w 6689088"/>
                <a:gd name="connsiteY1163" fmla="*/ 3305146 h 6689084"/>
                <a:gd name="connsiteX1164" fmla="*/ 5998136 w 6689088"/>
                <a:gd name="connsiteY1164" fmla="*/ 3285904 h 6689084"/>
                <a:gd name="connsiteX1165" fmla="*/ 6152086 w 6689088"/>
                <a:gd name="connsiteY1165" fmla="*/ 3283727 h 6689084"/>
                <a:gd name="connsiteX1166" fmla="*/ 6173510 w 6689088"/>
                <a:gd name="connsiteY1166" fmla="*/ 3305150 h 6689084"/>
                <a:gd name="connsiteX1167" fmla="*/ 6152086 w 6689088"/>
                <a:gd name="connsiteY1167" fmla="*/ 3326569 h 6689084"/>
                <a:gd name="connsiteX1168" fmla="*/ 6130664 w 6689088"/>
                <a:gd name="connsiteY1168" fmla="*/ 3305150 h 6689084"/>
                <a:gd name="connsiteX1169" fmla="*/ 6152086 w 6689088"/>
                <a:gd name="connsiteY1169" fmla="*/ 3283727 h 6689084"/>
                <a:gd name="connsiteX1170" fmla="*/ 6305672 w 6689088"/>
                <a:gd name="connsiteY1170" fmla="*/ 3282275 h 6689084"/>
                <a:gd name="connsiteX1171" fmla="*/ 6328547 w 6689088"/>
                <a:gd name="connsiteY1171" fmla="*/ 3305150 h 6689084"/>
                <a:gd name="connsiteX1172" fmla="*/ 6305672 w 6689088"/>
                <a:gd name="connsiteY1172" fmla="*/ 3328021 h 6689084"/>
                <a:gd name="connsiteX1173" fmla="*/ 6282796 w 6689088"/>
                <a:gd name="connsiteY1173" fmla="*/ 3305150 h 6689084"/>
                <a:gd name="connsiteX1174" fmla="*/ 6305672 w 6689088"/>
                <a:gd name="connsiteY1174" fmla="*/ 3282275 h 6689084"/>
                <a:gd name="connsiteX1175" fmla="*/ 6459616 w 6689088"/>
                <a:gd name="connsiteY1175" fmla="*/ 3280094 h 6689084"/>
                <a:gd name="connsiteX1176" fmla="*/ 6484671 w 6689088"/>
                <a:gd name="connsiteY1176" fmla="*/ 3305146 h 6689084"/>
                <a:gd name="connsiteX1177" fmla="*/ 6459616 w 6689088"/>
                <a:gd name="connsiteY1177" fmla="*/ 3330202 h 6689084"/>
                <a:gd name="connsiteX1178" fmla="*/ 6434564 w 6689088"/>
                <a:gd name="connsiteY1178" fmla="*/ 3305146 h 6689084"/>
                <a:gd name="connsiteX1179" fmla="*/ 6459616 w 6689088"/>
                <a:gd name="connsiteY1179" fmla="*/ 3280094 h 6689084"/>
                <a:gd name="connsiteX1180" fmla="*/ 6613200 w 6689088"/>
                <a:gd name="connsiteY1180" fmla="*/ 3277914 h 6689084"/>
                <a:gd name="connsiteX1181" fmla="*/ 6640433 w 6689088"/>
                <a:gd name="connsiteY1181" fmla="*/ 3305146 h 6689084"/>
                <a:gd name="connsiteX1182" fmla="*/ 6613200 w 6689088"/>
                <a:gd name="connsiteY1182" fmla="*/ 3332378 h 6689084"/>
                <a:gd name="connsiteX1183" fmla="*/ 6585968 w 6689088"/>
                <a:gd name="connsiteY1183" fmla="*/ 3305146 h 6689084"/>
                <a:gd name="connsiteX1184" fmla="*/ 6613200 w 6689088"/>
                <a:gd name="connsiteY1184" fmla="*/ 3277914 h 6689084"/>
                <a:gd name="connsiteX1185" fmla="*/ 3845414 w 6689088"/>
                <a:gd name="connsiteY1185" fmla="*/ 3151199 h 6689084"/>
                <a:gd name="connsiteX1186" fmla="*/ 3845776 w 6689088"/>
                <a:gd name="connsiteY1186" fmla="*/ 3151561 h 6689084"/>
                <a:gd name="connsiteX1187" fmla="*/ 3845414 w 6689088"/>
                <a:gd name="connsiteY1187" fmla="*/ 3151923 h 6689084"/>
                <a:gd name="connsiteX1188" fmla="*/ 3845052 w 6689088"/>
                <a:gd name="connsiteY1188" fmla="*/ 3151561 h 6689084"/>
                <a:gd name="connsiteX1189" fmla="*/ 3845414 w 6689088"/>
                <a:gd name="connsiteY1189" fmla="*/ 3151199 h 6689084"/>
                <a:gd name="connsiteX1190" fmla="*/ 3383934 w 6689088"/>
                <a:gd name="connsiteY1190" fmla="*/ 3151199 h 6689084"/>
                <a:gd name="connsiteX1191" fmla="*/ 3384296 w 6689088"/>
                <a:gd name="connsiteY1191" fmla="*/ 3151561 h 6689084"/>
                <a:gd name="connsiteX1192" fmla="*/ 3383934 w 6689088"/>
                <a:gd name="connsiteY1192" fmla="*/ 3151923 h 6689084"/>
                <a:gd name="connsiteX1193" fmla="*/ 3383572 w 6689088"/>
                <a:gd name="connsiteY1193" fmla="*/ 3151561 h 6689084"/>
                <a:gd name="connsiteX1194" fmla="*/ 3383934 w 6689088"/>
                <a:gd name="connsiteY1194" fmla="*/ 3151199 h 6689084"/>
                <a:gd name="connsiteX1195" fmla="*/ 3230349 w 6689088"/>
                <a:gd name="connsiteY1195" fmla="*/ 3151199 h 6689084"/>
                <a:gd name="connsiteX1196" fmla="*/ 3230715 w 6689088"/>
                <a:gd name="connsiteY1196" fmla="*/ 3151561 h 6689084"/>
                <a:gd name="connsiteX1197" fmla="*/ 3230349 w 6689088"/>
                <a:gd name="connsiteY1197" fmla="*/ 3151923 h 6689084"/>
                <a:gd name="connsiteX1198" fmla="*/ 3229987 w 6689088"/>
                <a:gd name="connsiteY1198" fmla="*/ 3151561 h 6689084"/>
                <a:gd name="connsiteX1199" fmla="*/ 3230349 w 6689088"/>
                <a:gd name="connsiteY1199" fmla="*/ 3151199 h 6689084"/>
                <a:gd name="connsiteX1200" fmla="*/ 3076406 w 6689088"/>
                <a:gd name="connsiteY1200" fmla="*/ 3150837 h 6689084"/>
                <a:gd name="connsiteX1201" fmla="*/ 3077130 w 6689088"/>
                <a:gd name="connsiteY1201" fmla="*/ 3151565 h 6689084"/>
                <a:gd name="connsiteX1202" fmla="*/ 3076406 w 6689088"/>
                <a:gd name="connsiteY1202" fmla="*/ 3152289 h 6689084"/>
                <a:gd name="connsiteX1203" fmla="*/ 3075677 w 6689088"/>
                <a:gd name="connsiteY1203" fmla="*/ 3151565 h 6689084"/>
                <a:gd name="connsiteX1204" fmla="*/ 3076406 w 6689088"/>
                <a:gd name="connsiteY1204" fmla="*/ 3150837 h 6689084"/>
                <a:gd name="connsiteX1205" fmla="*/ 3999000 w 6689088"/>
                <a:gd name="connsiteY1205" fmla="*/ 3150112 h 6689084"/>
                <a:gd name="connsiteX1206" fmla="*/ 4000452 w 6689088"/>
                <a:gd name="connsiteY1206" fmla="*/ 3151565 h 6689084"/>
                <a:gd name="connsiteX1207" fmla="*/ 3999000 w 6689088"/>
                <a:gd name="connsiteY1207" fmla="*/ 3153017 h 6689084"/>
                <a:gd name="connsiteX1208" fmla="*/ 3997547 w 6689088"/>
                <a:gd name="connsiteY1208" fmla="*/ 3151565 h 6689084"/>
                <a:gd name="connsiteX1209" fmla="*/ 3999000 w 6689088"/>
                <a:gd name="connsiteY1209" fmla="*/ 3150112 h 6689084"/>
                <a:gd name="connsiteX1210" fmla="*/ 4152951 w 6689088"/>
                <a:gd name="connsiteY1210" fmla="*/ 3149384 h 6689084"/>
                <a:gd name="connsiteX1211" fmla="*/ 4155128 w 6689088"/>
                <a:gd name="connsiteY1211" fmla="*/ 3151565 h 6689084"/>
                <a:gd name="connsiteX1212" fmla="*/ 4152951 w 6689088"/>
                <a:gd name="connsiteY1212" fmla="*/ 3153741 h 6689084"/>
                <a:gd name="connsiteX1213" fmla="*/ 4150770 w 6689088"/>
                <a:gd name="connsiteY1213" fmla="*/ 3151565 h 6689084"/>
                <a:gd name="connsiteX1214" fmla="*/ 4152951 w 6689088"/>
                <a:gd name="connsiteY1214" fmla="*/ 3149384 h 6689084"/>
                <a:gd name="connsiteX1215" fmla="*/ 4306528 w 6689088"/>
                <a:gd name="connsiteY1215" fmla="*/ 3148294 h 6689084"/>
                <a:gd name="connsiteX1216" fmla="*/ 4309796 w 6689088"/>
                <a:gd name="connsiteY1216" fmla="*/ 3151561 h 6689084"/>
                <a:gd name="connsiteX1217" fmla="*/ 4306528 w 6689088"/>
                <a:gd name="connsiteY1217" fmla="*/ 3154831 h 6689084"/>
                <a:gd name="connsiteX1218" fmla="*/ 4303262 w 6689088"/>
                <a:gd name="connsiteY1218" fmla="*/ 3151561 h 6689084"/>
                <a:gd name="connsiteX1219" fmla="*/ 4306528 w 6689088"/>
                <a:gd name="connsiteY1219" fmla="*/ 3148294 h 6689084"/>
                <a:gd name="connsiteX1220" fmla="*/ 4460480 w 6689088"/>
                <a:gd name="connsiteY1220" fmla="*/ 3146842 h 6689084"/>
                <a:gd name="connsiteX1221" fmla="*/ 4464836 w 6689088"/>
                <a:gd name="connsiteY1221" fmla="*/ 3151199 h 6689084"/>
                <a:gd name="connsiteX1222" fmla="*/ 4460480 w 6689088"/>
                <a:gd name="connsiteY1222" fmla="*/ 3155556 h 6689084"/>
                <a:gd name="connsiteX1223" fmla="*/ 4456122 w 6689088"/>
                <a:gd name="connsiteY1223" fmla="*/ 3151199 h 6689084"/>
                <a:gd name="connsiteX1224" fmla="*/ 4460480 w 6689088"/>
                <a:gd name="connsiteY1224" fmla="*/ 3146842 h 6689084"/>
                <a:gd name="connsiteX1225" fmla="*/ 4614061 w 6689088"/>
                <a:gd name="connsiteY1225" fmla="*/ 3145752 h 6689084"/>
                <a:gd name="connsiteX1226" fmla="*/ 4619870 w 6689088"/>
                <a:gd name="connsiteY1226" fmla="*/ 3151561 h 6689084"/>
                <a:gd name="connsiteX1227" fmla="*/ 4614061 w 6689088"/>
                <a:gd name="connsiteY1227" fmla="*/ 3157370 h 6689084"/>
                <a:gd name="connsiteX1228" fmla="*/ 4608252 w 6689088"/>
                <a:gd name="connsiteY1228" fmla="*/ 3151561 h 6689084"/>
                <a:gd name="connsiteX1229" fmla="*/ 4614061 w 6689088"/>
                <a:gd name="connsiteY1229" fmla="*/ 3145752 h 6689084"/>
                <a:gd name="connsiteX1230" fmla="*/ 4768008 w 6689088"/>
                <a:gd name="connsiteY1230" fmla="*/ 3144299 h 6689084"/>
                <a:gd name="connsiteX1231" fmla="*/ 4775270 w 6689088"/>
                <a:gd name="connsiteY1231" fmla="*/ 3151561 h 6689084"/>
                <a:gd name="connsiteX1232" fmla="*/ 4768008 w 6689088"/>
                <a:gd name="connsiteY1232" fmla="*/ 3158823 h 6689084"/>
                <a:gd name="connsiteX1233" fmla="*/ 4760747 w 6689088"/>
                <a:gd name="connsiteY1233" fmla="*/ 3151561 h 6689084"/>
                <a:gd name="connsiteX1234" fmla="*/ 4768008 w 6689088"/>
                <a:gd name="connsiteY1234" fmla="*/ 3144299 h 6689084"/>
                <a:gd name="connsiteX1235" fmla="*/ 4921594 w 6689088"/>
                <a:gd name="connsiteY1235" fmla="*/ 3142123 h 6689084"/>
                <a:gd name="connsiteX1236" fmla="*/ 4930674 w 6689088"/>
                <a:gd name="connsiteY1236" fmla="*/ 3151199 h 6689084"/>
                <a:gd name="connsiteX1237" fmla="*/ 4921594 w 6689088"/>
                <a:gd name="connsiteY1237" fmla="*/ 3160279 h 6689084"/>
                <a:gd name="connsiteX1238" fmla="*/ 4912518 w 6689088"/>
                <a:gd name="connsiteY1238" fmla="*/ 3151199 h 6689084"/>
                <a:gd name="connsiteX1239" fmla="*/ 4921594 w 6689088"/>
                <a:gd name="connsiteY1239" fmla="*/ 3142123 h 6689084"/>
                <a:gd name="connsiteX1240" fmla="*/ 5075541 w 6689088"/>
                <a:gd name="connsiteY1240" fmla="*/ 3141395 h 6689084"/>
                <a:gd name="connsiteX1241" fmla="*/ 5085708 w 6689088"/>
                <a:gd name="connsiteY1241" fmla="*/ 3151561 h 6689084"/>
                <a:gd name="connsiteX1242" fmla="*/ 5075541 w 6689088"/>
                <a:gd name="connsiteY1242" fmla="*/ 3161727 h 6689084"/>
                <a:gd name="connsiteX1243" fmla="*/ 5065375 w 6689088"/>
                <a:gd name="connsiteY1243" fmla="*/ 3151561 h 6689084"/>
                <a:gd name="connsiteX1244" fmla="*/ 5075541 w 6689088"/>
                <a:gd name="connsiteY1244" fmla="*/ 3141395 h 6689084"/>
                <a:gd name="connsiteX1245" fmla="*/ 5229126 w 6689088"/>
                <a:gd name="connsiteY1245" fmla="*/ 3139580 h 6689084"/>
                <a:gd name="connsiteX1246" fmla="*/ 5241111 w 6689088"/>
                <a:gd name="connsiteY1246" fmla="*/ 3151561 h 6689084"/>
                <a:gd name="connsiteX1247" fmla="*/ 5229126 w 6689088"/>
                <a:gd name="connsiteY1247" fmla="*/ 3163542 h 6689084"/>
                <a:gd name="connsiteX1248" fmla="*/ 5217146 w 6689088"/>
                <a:gd name="connsiteY1248" fmla="*/ 3151561 h 6689084"/>
                <a:gd name="connsiteX1249" fmla="*/ 5229126 w 6689088"/>
                <a:gd name="connsiteY1249" fmla="*/ 3139580 h 6689084"/>
                <a:gd name="connsiteX1250" fmla="*/ 5383078 w 6689088"/>
                <a:gd name="connsiteY1250" fmla="*/ 3137403 h 6689084"/>
                <a:gd name="connsiteX1251" fmla="*/ 5396873 w 6689088"/>
                <a:gd name="connsiteY1251" fmla="*/ 3151199 h 6689084"/>
                <a:gd name="connsiteX1252" fmla="*/ 5383078 w 6689088"/>
                <a:gd name="connsiteY1252" fmla="*/ 3164998 h 6689084"/>
                <a:gd name="connsiteX1253" fmla="*/ 5369278 w 6689088"/>
                <a:gd name="connsiteY1253" fmla="*/ 3151199 h 6689084"/>
                <a:gd name="connsiteX1254" fmla="*/ 5383078 w 6689088"/>
                <a:gd name="connsiteY1254" fmla="*/ 3137403 h 6689084"/>
                <a:gd name="connsiteX1255" fmla="*/ 5536659 w 6689088"/>
                <a:gd name="connsiteY1255" fmla="*/ 3136313 h 6689084"/>
                <a:gd name="connsiteX1256" fmla="*/ 5551906 w 6689088"/>
                <a:gd name="connsiteY1256" fmla="*/ 3151565 h 6689084"/>
                <a:gd name="connsiteX1257" fmla="*/ 5536659 w 6689088"/>
                <a:gd name="connsiteY1257" fmla="*/ 3166812 h 6689084"/>
                <a:gd name="connsiteX1258" fmla="*/ 5521408 w 6689088"/>
                <a:gd name="connsiteY1258" fmla="*/ 3151565 h 6689084"/>
                <a:gd name="connsiteX1259" fmla="*/ 5536659 w 6689088"/>
                <a:gd name="connsiteY1259" fmla="*/ 3136313 h 6689084"/>
                <a:gd name="connsiteX1260" fmla="*/ 5690606 w 6689088"/>
                <a:gd name="connsiteY1260" fmla="*/ 3134499 h 6689084"/>
                <a:gd name="connsiteX1261" fmla="*/ 5707672 w 6689088"/>
                <a:gd name="connsiteY1261" fmla="*/ 3151565 h 6689084"/>
                <a:gd name="connsiteX1262" fmla="*/ 5690606 w 6689088"/>
                <a:gd name="connsiteY1262" fmla="*/ 3168627 h 6689084"/>
                <a:gd name="connsiteX1263" fmla="*/ 5673540 w 6689088"/>
                <a:gd name="connsiteY1263" fmla="*/ 3151565 h 6689084"/>
                <a:gd name="connsiteX1264" fmla="*/ 5690606 w 6689088"/>
                <a:gd name="connsiteY1264" fmla="*/ 3134499 h 6689084"/>
                <a:gd name="connsiteX1265" fmla="*/ 5844554 w 6689088"/>
                <a:gd name="connsiteY1265" fmla="*/ 3132318 h 6689084"/>
                <a:gd name="connsiteX1266" fmla="*/ 5863796 w 6689088"/>
                <a:gd name="connsiteY1266" fmla="*/ 3151561 h 6689084"/>
                <a:gd name="connsiteX1267" fmla="*/ 5844554 w 6689088"/>
                <a:gd name="connsiteY1267" fmla="*/ 3170807 h 6689084"/>
                <a:gd name="connsiteX1268" fmla="*/ 5825308 w 6689088"/>
                <a:gd name="connsiteY1268" fmla="*/ 3151561 h 6689084"/>
                <a:gd name="connsiteX1269" fmla="*/ 5844554 w 6689088"/>
                <a:gd name="connsiteY1269" fmla="*/ 3132318 h 6689084"/>
                <a:gd name="connsiteX1270" fmla="*/ 5998139 w 6689088"/>
                <a:gd name="connsiteY1270" fmla="*/ 3130142 h 6689084"/>
                <a:gd name="connsiteX1271" fmla="*/ 6019562 w 6689088"/>
                <a:gd name="connsiteY1271" fmla="*/ 3151565 h 6689084"/>
                <a:gd name="connsiteX1272" fmla="*/ 5998139 w 6689088"/>
                <a:gd name="connsiteY1272" fmla="*/ 3172984 h 6689084"/>
                <a:gd name="connsiteX1273" fmla="*/ 5976716 w 6689088"/>
                <a:gd name="connsiteY1273" fmla="*/ 3151565 h 6689084"/>
                <a:gd name="connsiteX1274" fmla="*/ 5998139 w 6689088"/>
                <a:gd name="connsiteY1274" fmla="*/ 3130142 h 6689084"/>
                <a:gd name="connsiteX1275" fmla="*/ 6152086 w 6689088"/>
                <a:gd name="connsiteY1275" fmla="*/ 3128689 h 6689084"/>
                <a:gd name="connsiteX1276" fmla="*/ 6174958 w 6689088"/>
                <a:gd name="connsiteY1276" fmla="*/ 3151565 h 6689084"/>
                <a:gd name="connsiteX1277" fmla="*/ 6152086 w 6689088"/>
                <a:gd name="connsiteY1277" fmla="*/ 3174440 h 6689084"/>
                <a:gd name="connsiteX1278" fmla="*/ 6129212 w 6689088"/>
                <a:gd name="connsiteY1278" fmla="*/ 3151565 h 6689084"/>
                <a:gd name="connsiteX1279" fmla="*/ 6152086 w 6689088"/>
                <a:gd name="connsiteY1279" fmla="*/ 3128689 h 6689084"/>
                <a:gd name="connsiteX1280" fmla="*/ 6305668 w 6689088"/>
                <a:gd name="connsiteY1280" fmla="*/ 3126509 h 6689084"/>
                <a:gd name="connsiteX1281" fmla="*/ 6330724 w 6689088"/>
                <a:gd name="connsiteY1281" fmla="*/ 3151561 h 6689084"/>
                <a:gd name="connsiteX1282" fmla="*/ 6305668 w 6689088"/>
                <a:gd name="connsiteY1282" fmla="*/ 3176616 h 6689084"/>
                <a:gd name="connsiteX1283" fmla="*/ 6280616 w 6689088"/>
                <a:gd name="connsiteY1283" fmla="*/ 3151561 h 6689084"/>
                <a:gd name="connsiteX1284" fmla="*/ 6305668 w 6689088"/>
                <a:gd name="connsiteY1284" fmla="*/ 3126509 h 6689084"/>
                <a:gd name="connsiteX1285" fmla="*/ 6459619 w 6689088"/>
                <a:gd name="connsiteY1285" fmla="*/ 3124332 h 6689084"/>
                <a:gd name="connsiteX1286" fmla="*/ 6486852 w 6689088"/>
                <a:gd name="connsiteY1286" fmla="*/ 3151565 h 6689084"/>
                <a:gd name="connsiteX1287" fmla="*/ 6459619 w 6689088"/>
                <a:gd name="connsiteY1287" fmla="*/ 3178797 h 6689084"/>
                <a:gd name="connsiteX1288" fmla="*/ 6432387 w 6689088"/>
                <a:gd name="connsiteY1288" fmla="*/ 3151565 h 6689084"/>
                <a:gd name="connsiteX1289" fmla="*/ 6459619 w 6689088"/>
                <a:gd name="connsiteY1289" fmla="*/ 3124332 h 6689084"/>
                <a:gd name="connsiteX1290" fmla="*/ 6613197 w 6689088"/>
                <a:gd name="connsiteY1290" fmla="*/ 3121790 h 6689084"/>
                <a:gd name="connsiteX1291" fmla="*/ 6642972 w 6689088"/>
                <a:gd name="connsiteY1291" fmla="*/ 3151565 h 6689084"/>
                <a:gd name="connsiteX1292" fmla="*/ 6613197 w 6689088"/>
                <a:gd name="connsiteY1292" fmla="*/ 3181336 h 6689084"/>
                <a:gd name="connsiteX1293" fmla="*/ 6583426 w 6689088"/>
                <a:gd name="connsiteY1293" fmla="*/ 3151565 h 6689084"/>
                <a:gd name="connsiteX1294" fmla="*/ 6613197 w 6689088"/>
                <a:gd name="connsiteY1294" fmla="*/ 3121790 h 6689084"/>
                <a:gd name="connsiteX1295" fmla="*/ 3691467 w 6689088"/>
                <a:gd name="connsiteY1295" fmla="*/ 2997252 h 6689084"/>
                <a:gd name="connsiteX1296" fmla="*/ 3691829 w 6689088"/>
                <a:gd name="connsiteY1296" fmla="*/ 2997613 h 6689084"/>
                <a:gd name="connsiteX1297" fmla="*/ 3691467 w 6689088"/>
                <a:gd name="connsiteY1297" fmla="*/ 2997976 h 6689084"/>
                <a:gd name="connsiteX1298" fmla="*/ 3691105 w 6689088"/>
                <a:gd name="connsiteY1298" fmla="*/ 2997613 h 6689084"/>
                <a:gd name="connsiteX1299" fmla="*/ 3691467 w 6689088"/>
                <a:gd name="connsiteY1299" fmla="*/ 2997252 h 6689084"/>
                <a:gd name="connsiteX1300" fmla="*/ 3230349 w 6689088"/>
                <a:gd name="connsiteY1300" fmla="*/ 2997252 h 6689084"/>
                <a:gd name="connsiteX1301" fmla="*/ 3230715 w 6689088"/>
                <a:gd name="connsiteY1301" fmla="*/ 2997613 h 6689084"/>
                <a:gd name="connsiteX1302" fmla="*/ 3230349 w 6689088"/>
                <a:gd name="connsiteY1302" fmla="*/ 2997976 h 6689084"/>
                <a:gd name="connsiteX1303" fmla="*/ 3229987 w 6689088"/>
                <a:gd name="connsiteY1303" fmla="*/ 2997613 h 6689084"/>
                <a:gd name="connsiteX1304" fmla="*/ 3230349 w 6689088"/>
                <a:gd name="connsiteY1304" fmla="*/ 2997252 h 6689084"/>
                <a:gd name="connsiteX1305" fmla="*/ 3076406 w 6689088"/>
                <a:gd name="connsiteY1305" fmla="*/ 2997252 h 6689084"/>
                <a:gd name="connsiteX1306" fmla="*/ 3076768 w 6689088"/>
                <a:gd name="connsiteY1306" fmla="*/ 2997613 h 6689084"/>
                <a:gd name="connsiteX1307" fmla="*/ 3076406 w 6689088"/>
                <a:gd name="connsiteY1307" fmla="*/ 2997976 h 6689084"/>
                <a:gd name="connsiteX1308" fmla="*/ 3076043 w 6689088"/>
                <a:gd name="connsiteY1308" fmla="*/ 2997613 h 6689084"/>
                <a:gd name="connsiteX1309" fmla="*/ 3076406 w 6689088"/>
                <a:gd name="connsiteY1309" fmla="*/ 2997252 h 6689084"/>
                <a:gd name="connsiteX1310" fmla="*/ 2922824 w 6689088"/>
                <a:gd name="connsiteY1310" fmla="*/ 2996889 h 6689084"/>
                <a:gd name="connsiteX1311" fmla="*/ 2923548 w 6689088"/>
                <a:gd name="connsiteY1311" fmla="*/ 2997613 h 6689084"/>
                <a:gd name="connsiteX1312" fmla="*/ 2922824 w 6689088"/>
                <a:gd name="connsiteY1312" fmla="*/ 2998342 h 6689084"/>
                <a:gd name="connsiteX1313" fmla="*/ 2922096 w 6689088"/>
                <a:gd name="connsiteY1313" fmla="*/ 2997613 h 6689084"/>
                <a:gd name="connsiteX1314" fmla="*/ 2922824 w 6689088"/>
                <a:gd name="connsiteY1314" fmla="*/ 2996889 h 6689084"/>
                <a:gd name="connsiteX1315" fmla="*/ 3845414 w 6689088"/>
                <a:gd name="connsiteY1315" fmla="*/ 2996165 h 6689084"/>
                <a:gd name="connsiteX1316" fmla="*/ 3846867 w 6689088"/>
                <a:gd name="connsiteY1316" fmla="*/ 2997617 h 6689084"/>
                <a:gd name="connsiteX1317" fmla="*/ 3845414 w 6689088"/>
                <a:gd name="connsiteY1317" fmla="*/ 2999070 h 6689084"/>
                <a:gd name="connsiteX1318" fmla="*/ 3843962 w 6689088"/>
                <a:gd name="connsiteY1318" fmla="*/ 2997617 h 6689084"/>
                <a:gd name="connsiteX1319" fmla="*/ 3845414 w 6689088"/>
                <a:gd name="connsiteY1319" fmla="*/ 2996165 h 6689084"/>
                <a:gd name="connsiteX1320" fmla="*/ 3999000 w 6689088"/>
                <a:gd name="connsiteY1320" fmla="*/ 2995437 h 6689084"/>
                <a:gd name="connsiteX1321" fmla="*/ 4001180 w 6689088"/>
                <a:gd name="connsiteY1321" fmla="*/ 2997613 h 6689084"/>
                <a:gd name="connsiteX1322" fmla="*/ 3999000 w 6689088"/>
                <a:gd name="connsiteY1322" fmla="*/ 2999794 h 6689084"/>
                <a:gd name="connsiteX1323" fmla="*/ 3996823 w 6689088"/>
                <a:gd name="connsiteY1323" fmla="*/ 2997613 h 6689084"/>
                <a:gd name="connsiteX1324" fmla="*/ 3999000 w 6689088"/>
                <a:gd name="connsiteY1324" fmla="*/ 2995437 h 6689084"/>
                <a:gd name="connsiteX1325" fmla="*/ 4152947 w 6689088"/>
                <a:gd name="connsiteY1325" fmla="*/ 2994713 h 6689084"/>
                <a:gd name="connsiteX1326" fmla="*/ 4156214 w 6689088"/>
                <a:gd name="connsiteY1326" fmla="*/ 2997979 h 6689084"/>
                <a:gd name="connsiteX1327" fmla="*/ 4152947 w 6689088"/>
                <a:gd name="connsiteY1327" fmla="*/ 3001250 h 6689084"/>
                <a:gd name="connsiteX1328" fmla="*/ 4149680 w 6689088"/>
                <a:gd name="connsiteY1328" fmla="*/ 2997979 h 6689084"/>
                <a:gd name="connsiteX1329" fmla="*/ 4152947 w 6689088"/>
                <a:gd name="connsiteY1329" fmla="*/ 2994713 h 6689084"/>
                <a:gd name="connsiteX1330" fmla="*/ 4306532 w 6689088"/>
                <a:gd name="connsiteY1330" fmla="*/ 2993261 h 6689084"/>
                <a:gd name="connsiteX1331" fmla="*/ 4310890 w 6689088"/>
                <a:gd name="connsiteY1331" fmla="*/ 2997617 h 6689084"/>
                <a:gd name="connsiteX1332" fmla="*/ 4306532 w 6689088"/>
                <a:gd name="connsiteY1332" fmla="*/ 3001974 h 6689084"/>
                <a:gd name="connsiteX1333" fmla="*/ 4302176 w 6689088"/>
                <a:gd name="connsiteY1333" fmla="*/ 2997617 h 6689084"/>
                <a:gd name="connsiteX1334" fmla="*/ 4306532 w 6689088"/>
                <a:gd name="connsiteY1334" fmla="*/ 2993261 h 6689084"/>
                <a:gd name="connsiteX1335" fmla="*/ 4460480 w 6689088"/>
                <a:gd name="connsiteY1335" fmla="*/ 2991808 h 6689084"/>
                <a:gd name="connsiteX1336" fmla="*/ 4466289 w 6689088"/>
                <a:gd name="connsiteY1336" fmla="*/ 2997617 h 6689084"/>
                <a:gd name="connsiteX1337" fmla="*/ 4460480 w 6689088"/>
                <a:gd name="connsiteY1337" fmla="*/ 3003427 h 6689084"/>
                <a:gd name="connsiteX1338" fmla="*/ 4454670 w 6689088"/>
                <a:gd name="connsiteY1338" fmla="*/ 2997617 h 6689084"/>
                <a:gd name="connsiteX1339" fmla="*/ 4460480 w 6689088"/>
                <a:gd name="connsiteY1339" fmla="*/ 2991808 h 6689084"/>
                <a:gd name="connsiteX1340" fmla="*/ 4614065 w 6689088"/>
                <a:gd name="connsiteY1340" fmla="*/ 2990356 h 6689084"/>
                <a:gd name="connsiteX1341" fmla="*/ 4621326 w 6689088"/>
                <a:gd name="connsiteY1341" fmla="*/ 2997617 h 6689084"/>
                <a:gd name="connsiteX1342" fmla="*/ 4614065 w 6689088"/>
                <a:gd name="connsiteY1342" fmla="*/ 3004879 h 6689084"/>
                <a:gd name="connsiteX1343" fmla="*/ 4606804 w 6689088"/>
                <a:gd name="connsiteY1343" fmla="*/ 2997617 h 6689084"/>
                <a:gd name="connsiteX1344" fmla="*/ 4614065 w 6689088"/>
                <a:gd name="connsiteY1344" fmla="*/ 2990356 h 6689084"/>
                <a:gd name="connsiteX1345" fmla="*/ 4768008 w 6689088"/>
                <a:gd name="connsiteY1345" fmla="*/ 2988537 h 6689084"/>
                <a:gd name="connsiteX1346" fmla="*/ 4777088 w 6689088"/>
                <a:gd name="connsiteY1346" fmla="*/ 2997613 h 6689084"/>
                <a:gd name="connsiteX1347" fmla="*/ 4768008 w 6689088"/>
                <a:gd name="connsiteY1347" fmla="*/ 3006693 h 6689084"/>
                <a:gd name="connsiteX1348" fmla="*/ 4758932 w 6689088"/>
                <a:gd name="connsiteY1348" fmla="*/ 2997613 h 6689084"/>
                <a:gd name="connsiteX1349" fmla="*/ 4768008 w 6689088"/>
                <a:gd name="connsiteY1349" fmla="*/ 2988537 h 6689084"/>
                <a:gd name="connsiteX1350" fmla="*/ 4921594 w 6689088"/>
                <a:gd name="connsiteY1350" fmla="*/ 2987447 h 6689084"/>
                <a:gd name="connsiteX1351" fmla="*/ 4931760 w 6689088"/>
                <a:gd name="connsiteY1351" fmla="*/ 2997613 h 6689084"/>
                <a:gd name="connsiteX1352" fmla="*/ 4921594 w 6689088"/>
                <a:gd name="connsiteY1352" fmla="*/ 3007780 h 6689084"/>
                <a:gd name="connsiteX1353" fmla="*/ 4911428 w 6689088"/>
                <a:gd name="connsiteY1353" fmla="*/ 2997613 h 6689084"/>
                <a:gd name="connsiteX1354" fmla="*/ 4921594 w 6689088"/>
                <a:gd name="connsiteY1354" fmla="*/ 2987447 h 6689084"/>
                <a:gd name="connsiteX1355" fmla="*/ 5075541 w 6689088"/>
                <a:gd name="connsiteY1355" fmla="*/ 2985633 h 6689084"/>
                <a:gd name="connsiteX1356" fmla="*/ 5087526 w 6689088"/>
                <a:gd name="connsiteY1356" fmla="*/ 2997613 h 6689084"/>
                <a:gd name="connsiteX1357" fmla="*/ 5075541 w 6689088"/>
                <a:gd name="connsiteY1357" fmla="*/ 3009594 h 6689084"/>
                <a:gd name="connsiteX1358" fmla="*/ 5063560 w 6689088"/>
                <a:gd name="connsiteY1358" fmla="*/ 2997613 h 6689084"/>
                <a:gd name="connsiteX1359" fmla="*/ 5075541 w 6689088"/>
                <a:gd name="connsiteY1359" fmla="*/ 2985633 h 6689084"/>
                <a:gd name="connsiteX1360" fmla="*/ 5229126 w 6689088"/>
                <a:gd name="connsiteY1360" fmla="*/ 2983818 h 6689084"/>
                <a:gd name="connsiteX1361" fmla="*/ 5242922 w 6689088"/>
                <a:gd name="connsiteY1361" fmla="*/ 2997613 h 6689084"/>
                <a:gd name="connsiteX1362" fmla="*/ 5229126 w 6689088"/>
                <a:gd name="connsiteY1362" fmla="*/ 3011413 h 6689084"/>
                <a:gd name="connsiteX1363" fmla="*/ 5215328 w 6689088"/>
                <a:gd name="connsiteY1363" fmla="*/ 2997613 h 6689084"/>
                <a:gd name="connsiteX1364" fmla="*/ 5229126 w 6689088"/>
                <a:gd name="connsiteY1364" fmla="*/ 2983818 h 6689084"/>
                <a:gd name="connsiteX1365" fmla="*/ 5383074 w 6689088"/>
                <a:gd name="connsiteY1365" fmla="*/ 2982366 h 6689084"/>
                <a:gd name="connsiteX1366" fmla="*/ 5398326 w 6689088"/>
                <a:gd name="connsiteY1366" fmla="*/ 2997613 h 6689084"/>
                <a:gd name="connsiteX1367" fmla="*/ 5383074 w 6689088"/>
                <a:gd name="connsiteY1367" fmla="*/ 3012865 h 6689084"/>
                <a:gd name="connsiteX1368" fmla="*/ 5367826 w 6689088"/>
                <a:gd name="connsiteY1368" fmla="*/ 2997613 h 6689084"/>
                <a:gd name="connsiteX1369" fmla="*/ 5383074 w 6689088"/>
                <a:gd name="connsiteY1369" fmla="*/ 2982366 h 6689084"/>
                <a:gd name="connsiteX1370" fmla="*/ 5536659 w 6689088"/>
                <a:gd name="connsiteY1370" fmla="*/ 2980551 h 6689084"/>
                <a:gd name="connsiteX1371" fmla="*/ 5553725 w 6689088"/>
                <a:gd name="connsiteY1371" fmla="*/ 2997617 h 6689084"/>
                <a:gd name="connsiteX1372" fmla="*/ 5536659 w 6689088"/>
                <a:gd name="connsiteY1372" fmla="*/ 3014683 h 6689084"/>
                <a:gd name="connsiteX1373" fmla="*/ 5519593 w 6689088"/>
                <a:gd name="connsiteY1373" fmla="*/ 2997617 h 6689084"/>
                <a:gd name="connsiteX1374" fmla="*/ 5536659 w 6689088"/>
                <a:gd name="connsiteY1374" fmla="*/ 2980551 h 6689084"/>
                <a:gd name="connsiteX1375" fmla="*/ 5690606 w 6689088"/>
                <a:gd name="connsiteY1375" fmla="*/ 2978371 h 6689084"/>
                <a:gd name="connsiteX1376" fmla="*/ 5709849 w 6689088"/>
                <a:gd name="connsiteY1376" fmla="*/ 2997613 h 6689084"/>
                <a:gd name="connsiteX1377" fmla="*/ 5690606 w 6689088"/>
                <a:gd name="connsiteY1377" fmla="*/ 3016856 h 6689084"/>
                <a:gd name="connsiteX1378" fmla="*/ 5671360 w 6689088"/>
                <a:gd name="connsiteY1378" fmla="*/ 2997613 h 6689084"/>
                <a:gd name="connsiteX1379" fmla="*/ 5690606 w 6689088"/>
                <a:gd name="connsiteY1379" fmla="*/ 2978371 h 6689084"/>
                <a:gd name="connsiteX1380" fmla="*/ 5844550 w 6689088"/>
                <a:gd name="connsiteY1380" fmla="*/ 2976195 h 6689084"/>
                <a:gd name="connsiteX1381" fmla="*/ 5865973 w 6689088"/>
                <a:gd name="connsiteY1381" fmla="*/ 2997617 h 6689084"/>
                <a:gd name="connsiteX1382" fmla="*/ 5844550 w 6689088"/>
                <a:gd name="connsiteY1382" fmla="*/ 3019036 h 6689084"/>
                <a:gd name="connsiteX1383" fmla="*/ 5823127 w 6689088"/>
                <a:gd name="connsiteY1383" fmla="*/ 2997617 h 6689084"/>
                <a:gd name="connsiteX1384" fmla="*/ 5844550 w 6689088"/>
                <a:gd name="connsiteY1384" fmla="*/ 2976195 h 6689084"/>
                <a:gd name="connsiteX1385" fmla="*/ 5998139 w 6689088"/>
                <a:gd name="connsiteY1385" fmla="*/ 2974742 h 6689084"/>
                <a:gd name="connsiteX1386" fmla="*/ 6021010 w 6689088"/>
                <a:gd name="connsiteY1386" fmla="*/ 2997617 h 6689084"/>
                <a:gd name="connsiteX1387" fmla="*/ 5998139 w 6689088"/>
                <a:gd name="connsiteY1387" fmla="*/ 3020489 h 6689084"/>
                <a:gd name="connsiteX1388" fmla="*/ 5975264 w 6689088"/>
                <a:gd name="connsiteY1388" fmla="*/ 2997617 h 6689084"/>
                <a:gd name="connsiteX1389" fmla="*/ 5998139 w 6689088"/>
                <a:gd name="connsiteY1389" fmla="*/ 2974742 h 6689084"/>
                <a:gd name="connsiteX1390" fmla="*/ 6152083 w 6689088"/>
                <a:gd name="connsiteY1390" fmla="*/ 2972562 h 6689084"/>
                <a:gd name="connsiteX1391" fmla="*/ 6177134 w 6689088"/>
                <a:gd name="connsiteY1391" fmla="*/ 2997613 h 6689084"/>
                <a:gd name="connsiteX1392" fmla="*/ 6152083 w 6689088"/>
                <a:gd name="connsiteY1392" fmla="*/ 3022669 h 6689084"/>
                <a:gd name="connsiteX1393" fmla="*/ 6127031 w 6689088"/>
                <a:gd name="connsiteY1393" fmla="*/ 2997613 h 6689084"/>
                <a:gd name="connsiteX1394" fmla="*/ 6152083 w 6689088"/>
                <a:gd name="connsiteY1394" fmla="*/ 2972562 h 6689084"/>
                <a:gd name="connsiteX1395" fmla="*/ 6305672 w 6689088"/>
                <a:gd name="connsiteY1395" fmla="*/ 2970385 h 6689084"/>
                <a:gd name="connsiteX1396" fmla="*/ 6332904 w 6689088"/>
                <a:gd name="connsiteY1396" fmla="*/ 2997617 h 6689084"/>
                <a:gd name="connsiteX1397" fmla="*/ 6305672 w 6689088"/>
                <a:gd name="connsiteY1397" fmla="*/ 3024846 h 6689084"/>
                <a:gd name="connsiteX1398" fmla="*/ 6278440 w 6689088"/>
                <a:gd name="connsiteY1398" fmla="*/ 2997617 h 6689084"/>
                <a:gd name="connsiteX1399" fmla="*/ 6305672 w 6689088"/>
                <a:gd name="connsiteY1399" fmla="*/ 2970385 h 6689084"/>
                <a:gd name="connsiteX1400" fmla="*/ 6459619 w 6689088"/>
                <a:gd name="connsiteY1400" fmla="*/ 2967843 h 6689084"/>
                <a:gd name="connsiteX1401" fmla="*/ 6489390 w 6689088"/>
                <a:gd name="connsiteY1401" fmla="*/ 2997613 h 6689084"/>
                <a:gd name="connsiteX1402" fmla="*/ 6459619 w 6689088"/>
                <a:gd name="connsiteY1402" fmla="*/ 3027388 h 6689084"/>
                <a:gd name="connsiteX1403" fmla="*/ 6429844 w 6689088"/>
                <a:gd name="connsiteY1403" fmla="*/ 2997613 h 6689084"/>
                <a:gd name="connsiteX1404" fmla="*/ 6459619 w 6689088"/>
                <a:gd name="connsiteY1404" fmla="*/ 2967843 h 6689084"/>
                <a:gd name="connsiteX1405" fmla="*/ 6613200 w 6689088"/>
                <a:gd name="connsiteY1405" fmla="*/ 2965666 h 6689084"/>
                <a:gd name="connsiteX1406" fmla="*/ 6645152 w 6689088"/>
                <a:gd name="connsiteY1406" fmla="*/ 2997617 h 6689084"/>
                <a:gd name="connsiteX1407" fmla="*/ 6613200 w 6689088"/>
                <a:gd name="connsiteY1407" fmla="*/ 3029569 h 6689084"/>
                <a:gd name="connsiteX1408" fmla="*/ 6581250 w 6689088"/>
                <a:gd name="connsiteY1408" fmla="*/ 2997617 h 6689084"/>
                <a:gd name="connsiteX1409" fmla="*/ 6613200 w 6689088"/>
                <a:gd name="connsiteY1409" fmla="*/ 2965666 h 6689084"/>
                <a:gd name="connsiteX1410" fmla="*/ 3537882 w 6689088"/>
                <a:gd name="connsiteY1410" fmla="*/ 2843666 h 6689084"/>
                <a:gd name="connsiteX1411" fmla="*/ 3538244 w 6689088"/>
                <a:gd name="connsiteY1411" fmla="*/ 2844028 h 6689084"/>
                <a:gd name="connsiteX1412" fmla="*/ 3537882 w 6689088"/>
                <a:gd name="connsiteY1412" fmla="*/ 2844390 h 6689084"/>
                <a:gd name="connsiteX1413" fmla="*/ 3537520 w 6689088"/>
                <a:gd name="connsiteY1413" fmla="*/ 2844028 h 6689084"/>
                <a:gd name="connsiteX1414" fmla="*/ 3537882 w 6689088"/>
                <a:gd name="connsiteY1414" fmla="*/ 2843666 h 6689084"/>
                <a:gd name="connsiteX1415" fmla="*/ 3076406 w 6689088"/>
                <a:gd name="connsiteY1415" fmla="*/ 2843666 h 6689084"/>
                <a:gd name="connsiteX1416" fmla="*/ 3076768 w 6689088"/>
                <a:gd name="connsiteY1416" fmla="*/ 2844028 h 6689084"/>
                <a:gd name="connsiteX1417" fmla="*/ 3076406 w 6689088"/>
                <a:gd name="connsiteY1417" fmla="*/ 2844390 h 6689084"/>
                <a:gd name="connsiteX1418" fmla="*/ 3076043 w 6689088"/>
                <a:gd name="connsiteY1418" fmla="*/ 2844028 h 6689084"/>
                <a:gd name="connsiteX1419" fmla="*/ 3076406 w 6689088"/>
                <a:gd name="connsiteY1419" fmla="*/ 2843666 h 6689084"/>
                <a:gd name="connsiteX1420" fmla="*/ 2922458 w 6689088"/>
                <a:gd name="connsiteY1420" fmla="*/ 2843666 h 6689084"/>
                <a:gd name="connsiteX1421" fmla="*/ 2922820 w 6689088"/>
                <a:gd name="connsiteY1421" fmla="*/ 2844028 h 6689084"/>
                <a:gd name="connsiteX1422" fmla="*/ 2922458 w 6689088"/>
                <a:gd name="connsiteY1422" fmla="*/ 2844390 h 6689084"/>
                <a:gd name="connsiteX1423" fmla="*/ 2922096 w 6689088"/>
                <a:gd name="connsiteY1423" fmla="*/ 2844028 h 6689084"/>
                <a:gd name="connsiteX1424" fmla="*/ 2922458 w 6689088"/>
                <a:gd name="connsiteY1424" fmla="*/ 2843666 h 6689084"/>
                <a:gd name="connsiteX1425" fmla="*/ 2768877 w 6689088"/>
                <a:gd name="connsiteY1425" fmla="*/ 2843304 h 6689084"/>
                <a:gd name="connsiteX1426" fmla="*/ 2769601 w 6689088"/>
                <a:gd name="connsiteY1426" fmla="*/ 2844032 h 6689084"/>
                <a:gd name="connsiteX1427" fmla="*/ 2768877 w 6689088"/>
                <a:gd name="connsiteY1427" fmla="*/ 2844756 h 6689084"/>
                <a:gd name="connsiteX1428" fmla="*/ 2768149 w 6689088"/>
                <a:gd name="connsiteY1428" fmla="*/ 2844032 h 6689084"/>
                <a:gd name="connsiteX1429" fmla="*/ 2768877 w 6689088"/>
                <a:gd name="connsiteY1429" fmla="*/ 2843304 h 6689084"/>
                <a:gd name="connsiteX1430" fmla="*/ 3691467 w 6689088"/>
                <a:gd name="connsiteY1430" fmla="*/ 2842580 h 6689084"/>
                <a:gd name="connsiteX1431" fmla="*/ 3692919 w 6689088"/>
                <a:gd name="connsiteY1431" fmla="*/ 2844032 h 6689084"/>
                <a:gd name="connsiteX1432" fmla="*/ 3691467 w 6689088"/>
                <a:gd name="connsiteY1432" fmla="*/ 2845485 h 6689084"/>
                <a:gd name="connsiteX1433" fmla="*/ 3690014 w 6689088"/>
                <a:gd name="connsiteY1433" fmla="*/ 2844032 h 6689084"/>
                <a:gd name="connsiteX1434" fmla="*/ 3691467 w 6689088"/>
                <a:gd name="connsiteY1434" fmla="*/ 2842580 h 6689084"/>
                <a:gd name="connsiteX1435" fmla="*/ 3845418 w 6689088"/>
                <a:gd name="connsiteY1435" fmla="*/ 2841852 h 6689084"/>
                <a:gd name="connsiteX1436" fmla="*/ 3847595 w 6689088"/>
                <a:gd name="connsiteY1436" fmla="*/ 2844032 h 6689084"/>
                <a:gd name="connsiteX1437" fmla="*/ 3845418 w 6689088"/>
                <a:gd name="connsiteY1437" fmla="*/ 2846209 h 6689084"/>
                <a:gd name="connsiteX1438" fmla="*/ 3843238 w 6689088"/>
                <a:gd name="connsiteY1438" fmla="*/ 2844032 h 6689084"/>
                <a:gd name="connsiteX1439" fmla="*/ 3845418 w 6689088"/>
                <a:gd name="connsiteY1439" fmla="*/ 2841852 h 6689084"/>
                <a:gd name="connsiteX1440" fmla="*/ 3999000 w 6689088"/>
                <a:gd name="connsiteY1440" fmla="*/ 2840761 h 6689084"/>
                <a:gd name="connsiteX1441" fmla="*/ 4002270 w 6689088"/>
                <a:gd name="connsiteY1441" fmla="*/ 2844028 h 6689084"/>
                <a:gd name="connsiteX1442" fmla="*/ 3999000 w 6689088"/>
                <a:gd name="connsiteY1442" fmla="*/ 2847299 h 6689084"/>
                <a:gd name="connsiteX1443" fmla="*/ 3995733 w 6689088"/>
                <a:gd name="connsiteY1443" fmla="*/ 2844028 h 6689084"/>
                <a:gd name="connsiteX1444" fmla="*/ 3999000 w 6689088"/>
                <a:gd name="connsiteY1444" fmla="*/ 2840761 h 6689084"/>
                <a:gd name="connsiteX1445" fmla="*/ 4152947 w 6689088"/>
                <a:gd name="connsiteY1445" fmla="*/ 2839309 h 6689084"/>
                <a:gd name="connsiteX1446" fmla="*/ 4157304 w 6689088"/>
                <a:gd name="connsiteY1446" fmla="*/ 2843666 h 6689084"/>
                <a:gd name="connsiteX1447" fmla="*/ 4152947 w 6689088"/>
                <a:gd name="connsiteY1447" fmla="*/ 2848023 h 6689084"/>
                <a:gd name="connsiteX1448" fmla="*/ 4148590 w 6689088"/>
                <a:gd name="connsiteY1448" fmla="*/ 2843666 h 6689084"/>
                <a:gd name="connsiteX1449" fmla="*/ 4152947 w 6689088"/>
                <a:gd name="connsiteY1449" fmla="*/ 2839309 h 6689084"/>
                <a:gd name="connsiteX1450" fmla="*/ 4306532 w 6689088"/>
                <a:gd name="connsiteY1450" fmla="*/ 2838223 h 6689084"/>
                <a:gd name="connsiteX1451" fmla="*/ 4312342 w 6689088"/>
                <a:gd name="connsiteY1451" fmla="*/ 2844032 h 6689084"/>
                <a:gd name="connsiteX1452" fmla="*/ 4306532 w 6689088"/>
                <a:gd name="connsiteY1452" fmla="*/ 2849841 h 6689084"/>
                <a:gd name="connsiteX1453" fmla="*/ 4300723 w 6689088"/>
                <a:gd name="connsiteY1453" fmla="*/ 2844032 h 6689084"/>
                <a:gd name="connsiteX1454" fmla="*/ 4306532 w 6689088"/>
                <a:gd name="connsiteY1454" fmla="*/ 2838223 h 6689084"/>
                <a:gd name="connsiteX1455" fmla="*/ 4460480 w 6689088"/>
                <a:gd name="connsiteY1455" fmla="*/ 2836770 h 6689084"/>
                <a:gd name="connsiteX1456" fmla="*/ 4467742 w 6689088"/>
                <a:gd name="connsiteY1456" fmla="*/ 2844032 h 6689084"/>
                <a:gd name="connsiteX1457" fmla="*/ 4460480 w 6689088"/>
                <a:gd name="connsiteY1457" fmla="*/ 2851294 h 6689084"/>
                <a:gd name="connsiteX1458" fmla="*/ 4453218 w 6689088"/>
                <a:gd name="connsiteY1458" fmla="*/ 2844032 h 6689084"/>
                <a:gd name="connsiteX1459" fmla="*/ 4460480 w 6689088"/>
                <a:gd name="connsiteY1459" fmla="*/ 2836770 h 6689084"/>
                <a:gd name="connsiteX1460" fmla="*/ 4614061 w 6689088"/>
                <a:gd name="connsiteY1460" fmla="*/ 2834590 h 6689084"/>
                <a:gd name="connsiteX1461" fmla="*/ 4623141 w 6689088"/>
                <a:gd name="connsiteY1461" fmla="*/ 2843666 h 6689084"/>
                <a:gd name="connsiteX1462" fmla="*/ 4614061 w 6689088"/>
                <a:gd name="connsiteY1462" fmla="*/ 2852746 h 6689084"/>
                <a:gd name="connsiteX1463" fmla="*/ 4604985 w 6689088"/>
                <a:gd name="connsiteY1463" fmla="*/ 2843666 h 6689084"/>
                <a:gd name="connsiteX1464" fmla="*/ 4614061 w 6689088"/>
                <a:gd name="connsiteY1464" fmla="*/ 2834590 h 6689084"/>
                <a:gd name="connsiteX1465" fmla="*/ 4768012 w 6689088"/>
                <a:gd name="connsiteY1465" fmla="*/ 2833866 h 6689084"/>
                <a:gd name="connsiteX1466" fmla="*/ 4778178 w 6689088"/>
                <a:gd name="connsiteY1466" fmla="*/ 2844032 h 6689084"/>
                <a:gd name="connsiteX1467" fmla="*/ 4768012 w 6689088"/>
                <a:gd name="connsiteY1467" fmla="*/ 2854198 h 6689084"/>
                <a:gd name="connsiteX1468" fmla="*/ 4757846 w 6689088"/>
                <a:gd name="connsiteY1468" fmla="*/ 2844032 h 6689084"/>
                <a:gd name="connsiteX1469" fmla="*/ 4768012 w 6689088"/>
                <a:gd name="connsiteY1469" fmla="*/ 2833866 h 6689084"/>
                <a:gd name="connsiteX1470" fmla="*/ 4921594 w 6689088"/>
                <a:gd name="connsiteY1470" fmla="*/ 2831685 h 6689084"/>
                <a:gd name="connsiteX1471" fmla="*/ 4933578 w 6689088"/>
                <a:gd name="connsiteY1471" fmla="*/ 2843666 h 6689084"/>
                <a:gd name="connsiteX1472" fmla="*/ 4921594 w 6689088"/>
                <a:gd name="connsiteY1472" fmla="*/ 2855651 h 6689084"/>
                <a:gd name="connsiteX1473" fmla="*/ 4909613 w 6689088"/>
                <a:gd name="connsiteY1473" fmla="*/ 2843666 h 6689084"/>
                <a:gd name="connsiteX1474" fmla="*/ 4921594 w 6689088"/>
                <a:gd name="connsiteY1474" fmla="*/ 2831685 h 6689084"/>
                <a:gd name="connsiteX1475" fmla="*/ 5075545 w 6689088"/>
                <a:gd name="connsiteY1475" fmla="*/ 2829871 h 6689084"/>
                <a:gd name="connsiteX1476" fmla="*/ 5089340 w 6689088"/>
                <a:gd name="connsiteY1476" fmla="*/ 2843666 h 6689084"/>
                <a:gd name="connsiteX1477" fmla="*/ 5075545 w 6689088"/>
                <a:gd name="connsiteY1477" fmla="*/ 2857465 h 6689084"/>
                <a:gd name="connsiteX1478" fmla="*/ 5061746 w 6689088"/>
                <a:gd name="connsiteY1478" fmla="*/ 2843666 h 6689084"/>
                <a:gd name="connsiteX1479" fmla="*/ 5075545 w 6689088"/>
                <a:gd name="connsiteY1479" fmla="*/ 2829871 h 6689084"/>
                <a:gd name="connsiteX1480" fmla="*/ 5229126 w 6689088"/>
                <a:gd name="connsiteY1480" fmla="*/ 2828781 h 6689084"/>
                <a:gd name="connsiteX1481" fmla="*/ 5244378 w 6689088"/>
                <a:gd name="connsiteY1481" fmla="*/ 2844032 h 6689084"/>
                <a:gd name="connsiteX1482" fmla="*/ 5229126 w 6689088"/>
                <a:gd name="connsiteY1482" fmla="*/ 2859280 h 6689084"/>
                <a:gd name="connsiteX1483" fmla="*/ 5213879 w 6689088"/>
                <a:gd name="connsiteY1483" fmla="*/ 2844032 h 6689084"/>
                <a:gd name="connsiteX1484" fmla="*/ 5229126 w 6689088"/>
                <a:gd name="connsiteY1484" fmla="*/ 2828781 h 6689084"/>
                <a:gd name="connsiteX1485" fmla="*/ 5383074 w 6689088"/>
                <a:gd name="connsiteY1485" fmla="*/ 2826966 h 6689084"/>
                <a:gd name="connsiteX1486" fmla="*/ 5400140 w 6689088"/>
                <a:gd name="connsiteY1486" fmla="*/ 2844032 h 6689084"/>
                <a:gd name="connsiteX1487" fmla="*/ 5383074 w 6689088"/>
                <a:gd name="connsiteY1487" fmla="*/ 2861098 h 6689084"/>
                <a:gd name="connsiteX1488" fmla="*/ 5366008 w 6689088"/>
                <a:gd name="connsiteY1488" fmla="*/ 2844032 h 6689084"/>
                <a:gd name="connsiteX1489" fmla="*/ 5383074 w 6689088"/>
                <a:gd name="connsiteY1489" fmla="*/ 2826966 h 6689084"/>
                <a:gd name="connsiteX1490" fmla="*/ 5536659 w 6689088"/>
                <a:gd name="connsiteY1490" fmla="*/ 2824790 h 6689084"/>
                <a:gd name="connsiteX1491" fmla="*/ 5555902 w 6689088"/>
                <a:gd name="connsiteY1491" fmla="*/ 2844032 h 6689084"/>
                <a:gd name="connsiteX1492" fmla="*/ 5536659 w 6689088"/>
                <a:gd name="connsiteY1492" fmla="*/ 2863279 h 6689084"/>
                <a:gd name="connsiteX1493" fmla="*/ 5517413 w 6689088"/>
                <a:gd name="connsiteY1493" fmla="*/ 2844032 h 6689084"/>
                <a:gd name="connsiteX1494" fmla="*/ 5536659 w 6689088"/>
                <a:gd name="connsiteY1494" fmla="*/ 2824790 h 6689084"/>
                <a:gd name="connsiteX1495" fmla="*/ 5690602 w 6689088"/>
                <a:gd name="connsiteY1495" fmla="*/ 2822609 h 6689084"/>
                <a:gd name="connsiteX1496" fmla="*/ 5712026 w 6689088"/>
                <a:gd name="connsiteY1496" fmla="*/ 2844032 h 6689084"/>
                <a:gd name="connsiteX1497" fmla="*/ 5690602 w 6689088"/>
                <a:gd name="connsiteY1497" fmla="*/ 2865451 h 6689084"/>
                <a:gd name="connsiteX1498" fmla="*/ 5669180 w 6689088"/>
                <a:gd name="connsiteY1498" fmla="*/ 2844032 h 6689084"/>
                <a:gd name="connsiteX1499" fmla="*/ 5690602 w 6689088"/>
                <a:gd name="connsiteY1499" fmla="*/ 2822609 h 6689084"/>
                <a:gd name="connsiteX1500" fmla="*/ 5844554 w 6689088"/>
                <a:gd name="connsiteY1500" fmla="*/ 2821157 h 6689084"/>
                <a:gd name="connsiteX1501" fmla="*/ 5867429 w 6689088"/>
                <a:gd name="connsiteY1501" fmla="*/ 2844032 h 6689084"/>
                <a:gd name="connsiteX1502" fmla="*/ 5844554 w 6689088"/>
                <a:gd name="connsiteY1502" fmla="*/ 2866903 h 6689084"/>
                <a:gd name="connsiteX1503" fmla="*/ 5821678 w 6689088"/>
                <a:gd name="connsiteY1503" fmla="*/ 2844032 h 6689084"/>
                <a:gd name="connsiteX1504" fmla="*/ 5844554 w 6689088"/>
                <a:gd name="connsiteY1504" fmla="*/ 2821157 h 6689084"/>
                <a:gd name="connsiteX1505" fmla="*/ 5998136 w 6689088"/>
                <a:gd name="connsiteY1505" fmla="*/ 2818980 h 6689084"/>
                <a:gd name="connsiteX1506" fmla="*/ 6023187 w 6689088"/>
                <a:gd name="connsiteY1506" fmla="*/ 2844032 h 6689084"/>
                <a:gd name="connsiteX1507" fmla="*/ 5998136 w 6689088"/>
                <a:gd name="connsiteY1507" fmla="*/ 2869088 h 6689084"/>
                <a:gd name="connsiteX1508" fmla="*/ 5973084 w 6689088"/>
                <a:gd name="connsiteY1508" fmla="*/ 2844032 h 6689084"/>
                <a:gd name="connsiteX1509" fmla="*/ 5998136 w 6689088"/>
                <a:gd name="connsiteY1509" fmla="*/ 2818980 h 6689084"/>
                <a:gd name="connsiteX1510" fmla="*/ 6152086 w 6689088"/>
                <a:gd name="connsiteY1510" fmla="*/ 2816800 h 6689084"/>
                <a:gd name="connsiteX1511" fmla="*/ 6179315 w 6689088"/>
                <a:gd name="connsiteY1511" fmla="*/ 2844032 h 6689084"/>
                <a:gd name="connsiteX1512" fmla="*/ 6152086 w 6689088"/>
                <a:gd name="connsiteY1512" fmla="*/ 2871264 h 6689084"/>
                <a:gd name="connsiteX1513" fmla="*/ 6124854 w 6689088"/>
                <a:gd name="connsiteY1513" fmla="*/ 2844032 h 6689084"/>
                <a:gd name="connsiteX1514" fmla="*/ 6152086 w 6689088"/>
                <a:gd name="connsiteY1514" fmla="*/ 2816800 h 6689084"/>
                <a:gd name="connsiteX1515" fmla="*/ 6305672 w 6689088"/>
                <a:gd name="connsiteY1515" fmla="*/ 2814257 h 6689084"/>
                <a:gd name="connsiteX1516" fmla="*/ 6335443 w 6689088"/>
                <a:gd name="connsiteY1516" fmla="*/ 2844032 h 6689084"/>
                <a:gd name="connsiteX1517" fmla="*/ 6305672 w 6689088"/>
                <a:gd name="connsiteY1517" fmla="*/ 2873803 h 6689084"/>
                <a:gd name="connsiteX1518" fmla="*/ 6275897 w 6689088"/>
                <a:gd name="connsiteY1518" fmla="*/ 2844032 h 6689084"/>
                <a:gd name="connsiteX1519" fmla="*/ 6305672 w 6689088"/>
                <a:gd name="connsiteY1519" fmla="*/ 2814257 h 6689084"/>
                <a:gd name="connsiteX1520" fmla="*/ 6459616 w 6689088"/>
                <a:gd name="connsiteY1520" fmla="*/ 2812081 h 6689084"/>
                <a:gd name="connsiteX1521" fmla="*/ 6491567 w 6689088"/>
                <a:gd name="connsiteY1521" fmla="*/ 2844032 h 6689084"/>
                <a:gd name="connsiteX1522" fmla="*/ 6459616 w 6689088"/>
                <a:gd name="connsiteY1522" fmla="*/ 2875983 h 6689084"/>
                <a:gd name="connsiteX1523" fmla="*/ 6427664 w 6689088"/>
                <a:gd name="connsiteY1523" fmla="*/ 2844032 h 6689084"/>
                <a:gd name="connsiteX1524" fmla="*/ 6459616 w 6689088"/>
                <a:gd name="connsiteY1524" fmla="*/ 2812081 h 6689084"/>
                <a:gd name="connsiteX1525" fmla="*/ 6613200 w 6689088"/>
                <a:gd name="connsiteY1525" fmla="*/ 2810266 h 6689084"/>
                <a:gd name="connsiteX1526" fmla="*/ 6646966 w 6689088"/>
                <a:gd name="connsiteY1526" fmla="*/ 2844032 h 6689084"/>
                <a:gd name="connsiteX1527" fmla="*/ 6613200 w 6689088"/>
                <a:gd name="connsiteY1527" fmla="*/ 2877802 h 6689084"/>
                <a:gd name="connsiteX1528" fmla="*/ 6579435 w 6689088"/>
                <a:gd name="connsiteY1528" fmla="*/ 2844032 h 6689084"/>
                <a:gd name="connsiteX1529" fmla="*/ 6613200 w 6689088"/>
                <a:gd name="connsiteY1529" fmla="*/ 2810266 h 6689084"/>
                <a:gd name="connsiteX1530" fmla="*/ 3383934 w 6689088"/>
                <a:gd name="connsiteY1530" fmla="*/ 2689722 h 6689084"/>
                <a:gd name="connsiteX1531" fmla="*/ 3384296 w 6689088"/>
                <a:gd name="connsiteY1531" fmla="*/ 2690085 h 6689084"/>
                <a:gd name="connsiteX1532" fmla="*/ 3383934 w 6689088"/>
                <a:gd name="connsiteY1532" fmla="*/ 2690447 h 6689084"/>
                <a:gd name="connsiteX1533" fmla="*/ 3383572 w 6689088"/>
                <a:gd name="connsiteY1533" fmla="*/ 2690085 h 6689084"/>
                <a:gd name="connsiteX1534" fmla="*/ 3383934 w 6689088"/>
                <a:gd name="connsiteY1534" fmla="*/ 2689722 h 6689084"/>
                <a:gd name="connsiteX1535" fmla="*/ 2922458 w 6689088"/>
                <a:gd name="connsiteY1535" fmla="*/ 2689722 h 6689084"/>
                <a:gd name="connsiteX1536" fmla="*/ 2922820 w 6689088"/>
                <a:gd name="connsiteY1536" fmla="*/ 2690085 h 6689084"/>
                <a:gd name="connsiteX1537" fmla="*/ 2922458 w 6689088"/>
                <a:gd name="connsiteY1537" fmla="*/ 2690447 h 6689084"/>
                <a:gd name="connsiteX1538" fmla="*/ 2922096 w 6689088"/>
                <a:gd name="connsiteY1538" fmla="*/ 2690085 h 6689084"/>
                <a:gd name="connsiteX1539" fmla="*/ 2922458 w 6689088"/>
                <a:gd name="connsiteY1539" fmla="*/ 2689722 h 6689084"/>
                <a:gd name="connsiteX1540" fmla="*/ 2768873 w 6689088"/>
                <a:gd name="connsiteY1540" fmla="*/ 2689722 h 6689084"/>
                <a:gd name="connsiteX1541" fmla="*/ 2769235 w 6689088"/>
                <a:gd name="connsiteY1541" fmla="*/ 2690085 h 6689084"/>
                <a:gd name="connsiteX1542" fmla="*/ 2768873 w 6689088"/>
                <a:gd name="connsiteY1542" fmla="*/ 2690447 h 6689084"/>
                <a:gd name="connsiteX1543" fmla="*/ 2768511 w 6689088"/>
                <a:gd name="connsiteY1543" fmla="*/ 2690085 h 6689084"/>
                <a:gd name="connsiteX1544" fmla="*/ 2768873 w 6689088"/>
                <a:gd name="connsiteY1544" fmla="*/ 2689722 h 6689084"/>
                <a:gd name="connsiteX1545" fmla="*/ 2614925 w 6689088"/>
                <a:gd name="connsiteY1545" fmla="*/ 2689357 h 6689084"/>
                <a:gd name="connsiteX1546" fmla="*/ 2615654 w 6689088"/>
                <a:gd name="connsiteY1546" fmla="*/ 2690081 h 6689084"/>
                <a:gd name="connsiteX1547" fmla="*/ 2614925 w 6689088"/>
                <a:gd name="connsiteY1547" fmla="*/ 2690809 h 6689084"/>
                <a:gd name="connsiteX1548" fmla="*/ 2614201 w 6689088"/>
                <a:gd name="connsiteY1548" fmla="*/ 2690081 h 6689084"/>
                <a:gd name="connsiteX1549" fmla="*/ 2614925 w 6689088"/>
                <a:gd name="connsiteY1549" fmla="*/ 2689357 h 6689084"/>
                <a:gd name="connsiteX1550" fmla="*/ 3537886 w 6689088"/>
                <a:gd name="connsiteY1550" fmla="*/ 2688633 h 6689084"/>
                <a:gd name="connsiteX1551" fmla="*/ 3539338 w 6689088"/>
                <a:gd name="connsiteY1551" fmla="*/ 2690085 h 6689084"/>
                <a:gd name="connsiteX1552" fmla="*/ 3537886 w 6689088"/>
                <a:gd name="connsiteY1552" fmla="*/ 2691537 h 6689084"/>
                <a:gd name="connsiteX1553" fmla="*/ 3536433 w 6689088"/>
                <a:gd name="connsiteY1553" fmla="*/ 2690085 h 6689084"/>
                <a:gd name="connsiteX1554" fmla="*/ 3537886 w 6689088"/>
                <a:gd name="connsiteY1554" fmla="*/ 2688633 h 6689084"/>
                <a:gd name="connsiteX1555" fmla="*/ 3691471 w 6689088"/>
                <a:gd name="connsiteY1555" fmla="*/ 2687904 h 6689084"/>
                <a:gd name="connsiteX1556" fmla="*/ 3693647 w 6689088"/>
                <a:gd name="connsiteY1556" fmla="*/ 2690081 h 6689084"/>
                <a:gd name="connsiteX1557" fmla="*/ 3691471 w 6689088"/>
                <a:gd name="connsiteY1557" fmla="*/ 2692261 h 6689084"/>
                <a:gd name="connsiteX1558" fmla="*/ 3689290 w 6689088"/>
                <a:gd name="connsiteY1558" fmla="*/ 2690081 h 6689084"/>
                <a:gd name="connsiteX1559" fmla="*/ 3691471 w 6689088"/>
                <a:gd name="connsiteY1559" fmla="*/ 2687904 h 6689084"/>
                <a:gd name="connsiteX1560" fmla="*/ 3845414 w 6689088"/>
                <a:gd name="connsiteY1560" fmla="*/ 2686818 h 6689084"/>
                <a:gd name="connsiteX1561" fmla="*/ 3848681 w 6689088"/>
                <a:gd name="connsiteY1561" fmla="*/ 2690085 h 6689084"/>
                <a:gd name="connsiteX1562" fmla="*/ 3845414 w 6689088"/>
                <a:gd name="connsiteY1562" fmla="*/ 2693355 h 6689084"/>
                <a:gd name="connsiteX1563" fmla="*/ 3842148 w 6689088"/>
                <a:gd name="connsiteY1563" fmla="*/ 2690085 h 6689084"/>
                <a:gd name="connsiteX1564" fmla="*/ 3845414 w 6689088"/>
                <a:gd name="connsiteY1564" fmla="*/ 2686818 h 6689084"/>
                <a:gd name="connsiteX1565" fmla="*/ 3999000 w 6689088"/>
                <a:gd name="connsiteY1565" fmla="*/ 2685728 h 6689084"/>
                <a:gd name="connsiteX1566" fmla="*/ 4003356 w 6689088"/>
                <a:gd name="connsiteY1566" fmla="*/ 2690085 h 6689084"/>
                <a:gd name="connsiteX1567" fmla="*/ 3999000 w 6689088"/>
                <a:gd name="connsiteY1567" fmla="*/ 2694442 h 6689084"/>
                <a:gd name="connsiteX1568" fmla="*/ 3994642 w 6689088"/>
                <a:gd name="connsiteY1568" fmla="*/ 2690085 h 6689084"/>
                <a:gd name="connsiteX1569" fmla="*/ 3999000 w 6689088"/>
                <a:gd name="connsiteY1569" fmla="*/ 2685728 h 6689084"/>
                <a:gd name="connsiteX1570" fmla="*/ 4152947 w 6689088"/>
                <a:gd name="connsiteY1570" fmla="*/ 2684275 h 6689084"/>
                <a:gd name="connsiteX1571" fmla="*/ 4158756 w 6689088"/>
                <a:gd name="connsiteY1571" fmla="*/ 2690085 h 6689084"/>
                <a:gd name="connsiteX1572" fmla="*/ 4152947 w 6689088"/>
                <a:gd name="connsiteY1572" fmla="*/ 2695894 h 6689084"/>
                <a:gd name="connsiteX1573" fmla="*/ 4147138 w 6689088"/>
                <a:gd name="connsiteY1573" fmla="*/ 2690085 h 6689084"/>
                <a:gd name="connsiteX1574" fmla="*/ 4152947 w 6689088"/>
                <a:gd name="connsiteY1574" fmla="*/ 2684275 h 6689084"/>
                <a:gd name="connsiteX1575" fmla="*/ 4306532 w 6689088"/>
                <a:gd name="connsiteY1575" fmla="*/ 2682823 h 6689084"/>
                <a:gd name="connsiteX1576" fmla="*/ 4313794 w 6689088"/>
                <a:gd name="connsiteY1576" fmla="*/ 2690085 h 6689084"/>
                <a:gd name="connsiteX1577" fmla="*/ 4306532 w 6689088"/>
                <a:gd name="connsiteY1577" fmla="*/ 2697346 h 6689084"/>
                <a:gd name="connsiteX1578" fmla="*/ 4299270 w 6689088"/>
                <a:gd name="connsiteY1578" fmla="*/ 2690085 h 6689084"/>
                <a:gd name="connsiteX1579" fmla="*/ 4306532 w 6689088"/>
                <a:gd name="connsiteY1579" fmla="*/ 2682823 h 6689084"/>
                <a:gd name="connsiteX1580" fmla="*/ 4460480 w 6689088"/>
                <a:gd name="connsiteY1580" fmla="*/ 2681005 h 6689084"/>
                <a:gd name="connsiteX1581" fmla="*/ 4469560 w 6689088"/>
                <a:gd name="connsiteY1581" fmla="*/ 2690081 h 6689084"/>
                <a:gd name="connsiteX1582" fmla="*/ 4460480 w 6689088"/>
                <a:gd name="connsiteY1582" fmla="*/ 2699161 h 6689084"/>
                <a:gd name="connsiteX1583" fmla="*/ 4451404 w 6689088"/>
                <a:gd name="connsiteY1583" fmla="*/ 2690081 h 6689084"/>
                <a:gd name="connsiteX1584" fmla="*/ 4460480 w 6689088"/>
                <a:gd name="connsiteY1584" fmla="*/ 2681005 h 6689084"/>
                <a:gd name="connsiteX1585" fmla="*/ 4614061 w 6689088"/>
                <a:gd name="connsiteY1585" fmla="*/ 2679918 h 6689084"/>
                <a:gd name="connsiteX1586" fmla="*/ 4624228 w 6689088"/>
                <a:gd name="connsiteY1586" fmla="*/ 2690085 h 6689084"/>
                <a:gd name="connsiteX1587" fmla="*/ 4614061 w 6689088"/>
                <a:gd name="connsiteY1587" fmla="*/ 2700251 h 6689084"/>
                <a:gd name="connsiteX1588" fmla="*/ 4603895 w 6689088"/>
                <a:gd name="connsiteY1588" fmla="*/ 2690085 h 6689084"/>
                <a:gd name="connsiteX1589" fmla="*/ 4614061 w 6689088"/>
                <a:gd name="connsiteY1589" fmla="*/ 2679918 h 6689084"/>
                <a:gd name="connsiteX1590" fmla="*/ 4768008 w 6689088"/>
                <a:gd name="connsiteY1590" fmla="*/ 2678104 h 6689084"/>
                <a:gd name="connsiteX1591" fmla="*/ 4779993 w 6689088"/>
                <a:gd name="connsiteY1591" fmla="*/ 2690085 h 6689084"/>
                <a:gd name="connsiteX1592" fmla="*/ 4768008 w 6689088"/>
                <a:gd name="connsiteY1592" fmla="*/ 2702065 h 6689084"/>
                <a:gd name="connsiteX1593" fmla="*/ 4756028 w 6689088"/>
                <a:gd name="connsiteY1593" fmla="*/ 2690085 h 6689084"/>
                <a:gd name="connsiteX1594" fmla="*/ 4768008 w 6689088"/>
                <a:gd name="connsiteY1594" fmla="*/ 2678104 h 6689084"/>
                <a:gd name="connsiteX1595" fmla="*/ 4921598 w 6689088"/>
                <a:gd name="connsiteY1595" fmla="*/ 2676286 h 6689084"/>
                <a:gd name="connsiteX1596" fmla="*/ 4935393 w 6689088"/>
                <a:gd name="connsiteY1596" fmla="*/ 2690081 h 6689084"/>
                <a:gd name="connsiteX1597" fmla="*/ 4921598 w 6689088"/>
                <a:gd name="connsiteY1597" fmla="*/ 2703880 h 6689084"/>
                <a:gd name="connsiteX1598" fmla="*/ 4907798 w 6689088"/>
                <a:gd name="connsiteY1598" fmla="*/ 2690081 h 6689084"/>
                <a:gd name="connsiteX1599" fmla="*/ 4921598 w 6689088"/>
                <a:gd name="connsiteY1599" fmla="*/ 2676286 h 6689084"/>
                <a:gd name="connsiteX1600" fmla="*/ 5075545 w 6689088"/>
                <a:gd name="connsiteY1600" fmla="*/ 2674833 h 6689084"/>
                <a:gd name="connsiteX1601" fmla="*/ 5090792 w 6689088"/>
                <a:gd name="connsiteY1601" fmla="*/ 2690081 h 6689084"/>
                <a:gd name="connsiteX1602" fmla="*/ 5075545 w 6689088"/>
                <a:gd name="connsiteY1602" fmla="*/ 2705332 h 6689084"/>
                <a:gd name="connsiteX1603" fmla="*/ 5060294 w 6689088"/>
                <a:gd name="connsiteY1603" fmla="*/ 2690081 h 6689084"/>
                <a:gd name="connsiteX1604" fmla="*/ 5075545 w 6689088"/>
                <a:gd name="connsiteY1604" fmla="*/ 2674833 h 6689084"/>
                <a:gd name="connsiteX1605" fmla="*/ 5229126 w 6689088"/>
                <a:gd name="connsiteY1605" fmla="*/ 2673019 h 6689084"/>
                <a:gd name="connsiteX1606" fmla="*/ 5246192 w 6689088"/>
                <a:gd name="connsiteY1606" fmla="*/ 2690085 h 6689084"/>
                <a:gd name="connsiteX1607" fmla="*/ 5229126 w 6689088"/>
                <a:gd name="connsiteY1607" fmla="*/ 2707147 h 6689084"/>
                <a:gd name="connsiteX1608" fmla="*/ 5212060 w 6689088"/>
                <a:gd name="connsiteY1608" fmla="*/ 2690085 h 6689084"/>
                <a:gd name="connsiteX1609" fmla="*/ 5229126 w 6689088"/>
                <a:gd name="connsiteY1609" fmla="*/ 2673019 h 6689084"/>
                <a:gd name="connsiteX1610" fmla="*/ 5383074 w 6689088"/>
                <a:gd name="connsiteY1610" fmla="*/ 2670842 h 6689084"/>
                <a:gd name="connsiteX1611" fmla="*/ 5402320 w 6689088"/>
                <a:gd name="connsiteY1611" fmla="*/ 2690085 h 6689084"/>
                <a:gd name="connsiteX1612" fmla="*/ 5383074 w 6689088"/>
                <a:gd name="connsiteY1612" fmla="*/ 2709327 h 6689084"/>
                <a:gd name="connsiteX1613" fmla="*/ 5363832 w 6689088"/>
                <a:gd name="connsiteY1613" fmla="*/ 2690085 h 6689084"/>
                <a:gd name="connsiteX1614" fmla="*/ 5383074 w 6689088"/>
                <a:gd name="connsiteY1614" fmla="*/ 2670842 h 6689084"/>
                <a:gd name="connsiteX1615" fmla="*/ 5536656 w 6689088"/>
                <a:gd name="connsiteY1615" fmla="*/ 2668662 h 6689084"/>
                <a:gd name="connsiteX1616" fmla="*/ 5558078 w 6689088"/>
                <a:gd name="connsiteY1616" fmla="*/ 2690085 h 6689084"/>
                <a:gd name="connsiteX1617" fmla="*/ 5536656 w 6689088"/>
                <a:gd name="connsiteY1617" fmla="*/ 2711504 h 6689084"/>
                <a:gd name="connsiteX1618" fmla="*/ 5515232 w 6689088"/>
                <a:gd name="connsiteY1618" fmla="*/ 2690085 h 6689084"/>
                <a:gd name="connsiteX1619" fmla="*/ 5536656 w 6689088"/>
                <a:gd name="connsiteY1619" fmla="*/ 2668662 h 6689084"/>
                <a:gd name="connsiteX1620" fmla="*/ 5690606 w 6689088"/>
                <a:gd name="connsiteY1620" fmla="*/ 2667209 h 6689084"/>
                <a:gd name="connsiteX1621" fmla="*/ 5713482 w 6689088"/>
                <a:gd name="connsiteY1621" fmla="*/ 2690085 h 6689084"/>
                <a:gd name="connsiteX1622" fmla="*/ 5690606 w 6689088"/>
                <a:gd name="connsiteY1622" fmla="*/ 2712956 h 6689084"/>
                <a:gd name="connsiteX1623" fmla="*/ 5667732 w 6689088"/>
                <a:gd name="connsiteY1623" fmla="*/ 2690085 h 6689084"/>
                <a:gd name="connsiteX1624" fmla="*/ 5690606 w 6689088"/>
                <a:gd name="connsiteY1624" fmla="*/ 2667209 h 6689084"/>
                <a:gd name="connsiteX1625" fmla="*/ 5844550 w 6689088"/>
                <a:gd name="connsiteY1625" fmla="*/ 2665033 h 6689084"/>
                <a:gd name="connsiteX1626" fmla="*/ 5869606 w 6689088"/>
                <a:gd name="connsiteY1626" fmla="*/ 2690085 h 6689084"/>
                <a:gd name="connsiteX1627" fmla="*/ 5844550 w 6689088"/>
                <a:gd name="connsiteY1627" fmla="*/ 2715136 h 6689084"/>
                <a:gd name="connsiteX1628" fmla="*/ 5819498 w 6689088"/>
                <a:gd name="connsiteY1628" fmla="*/ 2690085 h 6689084"/>
                <a:gd name="connsiteX1629" fmla="*/ 5844550 w 6689088"/>
                <a:gd name="connsiteY1629" fmla="*/ 2665033 h 6689084"/>
                <a:gd name="connsiteX1630" fmla="*/ 5998139 w 6689088"/>
                <a:gd name="connsiteY1630" fmla="*/ 2662852 h 6689084"/>
                <a:gd name="connsiteX1631" fmla="*/ 6025372 w 6689088"/>
                <a:gd name="connsiteY1631" fmla="*/ 2690085 h 6689084"/>
                <a:gd name="connsiteX1632" fmla="*/ 5998139 w 6689088"/>
                <a:gd name="connsiteY1632" fmla="*/ 2717317 h 6689084"/>
                <a:gd name="connsiteX1633" fmla="*/ 5970907 w 6689088"/>
                <a:gd name="connsiteY1633" fmla="*/ 2690085 h 6689084"/>
                <a:gd name="connsiteX1634" fmla="*/ 5998139 w 6689088"/>
                <a:gd name="connsiteY1634" fmla="*/ 2662852 h 6689084"/>
                <a:gd name="connsiteX1635" fmla="*/ 6152083 w 6689088"/>
                <a:gd name="connsiteY1635" fmla="*/ 2660310 h 6689084"/>
                <a:gd name="connsiteX1636" fmla="*/ 6181858 w 6689088"/>
                <a:gd name="connsiteY1636" fmla="*/ 2690081 h 6689084"/>
                <a:gd name="connsiteX1637" fmla="*/ 6152083 w 6689088"/>
                <a:gd name="connsiteY1637" fmla="*/ 2719856 h 6689084"/>
                <a:gd name="connsiteX1638" fmla="*/ 6122312 w 6689088"/>
                <a:gd name="connsiteY1638" fmla="*/ 2690081 h 6689084"/>
                <a:gd name="connsiteX1639" fmla="*/ 6152083 w 6689088"/>
                <a:gd name="connsiteY1639" fmla="*/ 2660310 h 6689084"/>
                <a:gd name="connsiteX1640" fmla="*/ 6305668 w 6689088"/>
                <a:gd name="connsiteY1640" fmla="*/ 2658133 h 6689084"/>
                <a:gd name="connsiteX1641" fmla="*/ 6337620 w 6689088"/>
                <a:gd name="connsiteY1641" fmla="*/ 2690085 h 6689084"/>
                <a:gd name="connsiteX1642" fmla="*/ 6305668 w 6689088"/>
                <a:gd name="connsiteY1642" fmla="*/ 2722036 h 6689084"/>
                <a:gd name="connsiteX1643" fmla="*/ 6273716 w 6689088"/>
                <a:gd name="connsiteY1643" fmla="*/ 2690085 h 6689084"/>
                <a:gd name="connsiteX1644" fmla="*/ 6305668 w 6689088"/>
                <a:gd name="connsiteY1644" fmla="*/ 2658133 h 6689084"/>
                <a:gd name="connsiteX1645" fmla="*/ 6459616 w 6689088"/>
                <a:gd name="connsiteY1645" fmla="*/ 2656319 h 6689084"/>
                <a:gd name="connsiteX1646" fmla="*/ 6493385 w 6689088"/>
                <a:gd name="connsiteY1646" fmla="*/ 2690085 h 6689084"/>
                <a:gd name="connsiteX1647" fmla="*/ 6459616 w 6689088"/>
                <a:gd name="connsiteY1647" fmla="*/ 2723850 h 6689084"/>
                <a:gd name="connsiteX1648" fmla="*/ 6425850 w 6689088"/>
                <a:gd name="connsiteY1648" fmla="*/ 2690085 h 6689084"/>
                <a:gd name="connsiteX1649" fmla="*/ 6459616 w 6689088"/>
                <a:gd name="connsiteY1649" fmla="*/ 2656319 h 6689084"/>
                <a:gd name="connsiteX1650" fmla="*/ 6613200 w 6689088"/>
                <a:gd name="connsiteY1650" fmla="*/ 2653777 h 6689084"/>
                <a:gd name="connsiteX1651" fmla="*/ 6649509 w 6689088"/>
                <a:gd name="connsiteY1651" fmla="*/ 2690085 h 6689084"/>
                <a:gd name="connsiteX1652" fmla="*/ 6613200 w 6689088"/>
                <a:gd name="connsiteY1652" fmla="*/ 2726393 h 6689084"/>
                <a:gd name="connsiteX1653" fmla="*/ 6576892 w 6689088"/>
                <a:gd name="connsiteY1653" fmla="*/ 2690085 h 6689084"/>
                <a:gd name="connsiteX1654" fmla="*/ 6613200 w 6689088"/>
                <a:gd name="connsiteY1654" fmla="*/ 2653777 h 6689084"/>
                <a:gd name="connsiteX1655" fmla="*/ 3230349 w 6689088"/>
                <a:gd name="connsiteY1655" fmla="*/ 2536137 h 6689084"/>
                <a:gd name="connsiteX1656" fmla="*/ 3230715 w 6689088"/>
                <a:gd name="connsiteY1656" fmla="*/ 2536499 h 6689084"/>
                <a:gd name="connsiteX1657" fmla="*/ 3230349 w 6689088"/>
                <a:gd name="connsiteY1657" fmla="*/ 2536866 h 6689084"/>
                <a:gd name="connsiteX1658" fmla="*/ 3229987 w 6689088"/>
                <a:gd name="connsiteY1658" fmla="*/ 2536499 h 6689084"/>
                <a:gd name="connsiteX1659" fmla="*/ 3230349 w 6689088"/>
                <a:gd name="connsiteY1659" fmla="*/ 2536137 h 6689084"/>
                <a:gd name="connsiteX1660" fmla="*/ 2768873 w 6689088"/>
                <a:gd name="connsiteY1660" fmla="*/ 2536137 h 6689084"/>
                <a:gd name="connsiteX1661" fmla="*/ 2769235 w 6689088"/>
                <a:gd name="connsiteY1661" fmla="*/ 2536499 h 6689084"/>
                <a:gd name="connsiteX1662" fmla="*/ 2768873 w 6689088"/>
                <a:gd name="connsiteY1662" fmla="*/ 2536866 h 6689084"/>
                <a:gd name="connsiteX1663" fmla="*/ 2768511 w 6689088"/>
                <a:gd name="connsiteY1663" fmla="*/ 2536499 h 6689084"/>
                <a:gd name="connsiteX1664" fmla="*/ 2768873 w 6689088"/>
                <a:gd name="connsiteY1664" fmla="*/ 2536137 h 6689084"/>
                <a:gd name="connsiteX1665" fmla="*/ 2614925 w 6689088"/>
                <a:gd name="connsiteY1665" fmla="*/ 2536137 h 6689084"/>
                <a:gd name="connsiteX1666" fmla="*/ 2615288 w 6689088"/>
                <a:gd name="connsiteY1666" fmla="*/ 2536499 h 6689084"/>
                <a:gd name="connsiteX1667" fmla="*/ 2614925 w 6689088"/>
                <a:gd name="connsiteY1667" fmla="*/ 2536866 h 6689084"/>
                <a:gd name="connsiteX1668" fmla="*/ 2614563 w 6689088"/>
                <a:gd name="connsiteY1668" fmla="*/ 2536499 h 6689084"/>
                <a:gd name="connsiteX1669" fmla="*/ 2614925 w 6689088"/>
                <a:gd name="connsiteY1669" fmla="*/ 2536137 h 6689084"/>
                <a:gd name="connsiteX1670" fmla="*/ 2461344 w 6689088"/>
                <a:gd name="connsiteY1670" fmla="*/ 2535771 h 6689084"/>
                <a:gd name="connsiteX1671" fmla="*/ 2462068 w 6689088"/>
                <a:gd name="connsiteY1671" fmla="*/ 2536499 h 6689084"/>
                <a:gd name="connsiteX1672" fmla="*/ 2461344 w 6689088"/>
                <a:gd name="connsiteY1672" fmla="*/ 2537224 h 6689084"/>
                <a:gd name="connsiteX1673" fmla="*/ 2460616 w 6689088"/>
                <a:gd name="connsiteY1673" fmla="*/ 2536499 h 6689084"/>
                <a:gd name="connsiteX1674" fmla="*/ 2461344 w 6689088"/>
                <a:gd name="connsiteY1674" fmla="*/ 2535771 h 6689084"/>
                <a:gd name="connsiteX1675" fmla="*/ 3383938 w 6689088"/>
                <a:gd name="connsiteY1675" fmla="*/ 2535047 h 6689084"/>
                <a:gd name="connsiteX1676" fmla="*/ 3385390 w 6689088"/>
                <a:gd name="connsiteY1676" fmla="*/ 2536499 h 6689084"/>
                <a:gd name="connsiteX1677" fmla="*/ 3383938 w 6689088"/>
                <a:gd name="connsiteY1677" fmla="*/ 2537952 h 6689084"/>
                <a:gd name="connsiteX1678" fmla="*/ 3382486 w 6689088"/>
                <a:gd name="connsiteY1678" fmla="*/ 2536499 h 6689084"/>
                <a:gd name="connsiteX1679" fmla="*/ 3383938 w 6689088"/>
                <a:gd name="connsiteY1679" fmla="*/ 2535047 h 6689084"/>
                <a:gd name="connsiteX1680" fmla="*/ 3537886 w 6689088"/>
                <a:gd name="connsiteY1680" fmla="*/ 2534323 h 6689084"/>
                <a:gd name="connsiteX1681" fmla="*/ 3540062 w 6689088"/>
                <a:gd name="connsiteY1681" fmla="*/ 2536503 h 6689084"/>
                <a:gd name="connsiteX1682" fmla="*/ 3537886 w 6689088"/>
                <a:gd name="connsiteY1682" fmla="*/ 2538680 h 6689084"/>
                <a:gd name="connsiteX1683" fmla="*/ 3535705 w 6689088"/>
                <a:gd name="connsiteY1683" fmla="*/ 2536503 h 6689084"/>
                <a:gd name="connsiteX1684" fmla="*/ 3537886 w 6689088"/>
                <a:gd name="connsiteY1684" fmla="*/ 2534323 h 6689084"/>
                <a:gd name="connsiteX1685" fmla="*/ 3691467 w 6689088"/>
                <a:gd name="connsiteY1685" fmla="*/ 2533233 h 6689084"/>
                <a:gd name="connsiteX1686" fmla="*/ 3694738 w 6689088"/>
                <a:gd name="connsiteY1686" fmla="*/ 2536499 h 6689084"/>
                <a:gd name="connsiteX1687" fmla="*/ 3691467 w 6689088"/>
                <a:gd name="connsiteY1687" fmla="*/ 2539770 h 6689084"/>
                <a:gd name="connsiteX1688" fmla="*/ 3688200 w 6689088"/>
                <a:gd name="connsiteY1688" fmla="*/ 2536499 h 6689084"/>
                <a:gd name="connsiteX1689" fmla="*/ 3691467 w 6689088"/>
                <a:gd name="connsiteY1689" fmla="*/ 2533233 h 6689084"/>
                <a:gd name="connsiteX1690" fmla="*/ 3845414 w 6689088"/>
                <a:gd name="connsiteY1690" fmla="*/ 2531780 h 6689084"/>
                <a:gd name="connsiteX1691" fmla="*/ 3849771 w 6689088"/>
                <a:gd name="connsiteY1691" fmla="*/ 2536137 h 6689084"/>
                <a:gd name="connsiteX1692" fmla="*/ 3845414 w 6689088"/>
                <a:gd name="connsiteY1692" fmla="*/ 2540494 h 6689084"/>
                <a:gd name="connsiteX1693" fmla="*/ 3841057 w 6689088"/>
                <a:gd name="connsiteY1693" fmla="*/ 2536137 h 6689084"/>
                <a:gd name="connsiteX1694" fmla="*/ 3845414 w 6689088"/>
                <a:gd name="connsiteY1694" fmla="*/ 2531780 h 6689084"/>
                <a:gd name="connsiteX1695" fmla="*/ 3999000 w 6689088"/>
                <a:gd name="connsiteY1695" fmla="*/ 2530690 h 6689084"/>
                <a:gd name="connsiteX1696" fmla="*/ 4004809 w 6689088"/>
                <a:gd name="connsiteY1696" fmla="*/ 2536499 h 6689084"/>
                <a:gd name="connsiteX1697" fmla="*/ 3999000 w 6689088"/>
                <a:gd name="connsiteY1697" fmla="*/ 2542309 h 6689084"/>
                <a:gd name="connsiteX1698" fmla="*/ 3993190 w 6689088"/>
                <a:gd name="connsiteY1698" fmla="*/ 2536499 h 6689084"/>
                <a:gd name="connsiteX1699" fmla="*/ 3999000 w 6689088"/>
                <a:gd name="connsiteY1699" fmla="*/ 2530690 h 6689084"/>
                <a:gd name="connsiteX1700" fmla="*/ 4152947 w 6689088"/>
                <a:gd name="connsiteY1700" fmla="*/ 2528876 h 6689084"/>
                <a:gd name="connsiteX1701" fmla="*/ 4160208 w 6689088"/>
                <a:gd name="connsiteY1701" fmla="*/ 2536137 h 6689084"/>
                <a:gd name="connsiteX1702" fmla="*/ 4152947 w 6689088"/>
                <a:gd name="connsiteY1702" fmla="*/ 2543399 h 6689084"/>
                <a:gd name="connsiteX1703" fmla="*/ 4145686 w 6689088"/>
                <a:gd name="connsiteY1703" fmla="*/ 2536137 h 6689084"/>
                <a:gd name="connsiteX1704" fmla="*/ 4152947 w 6689088"/>
                <a:gd name="connsiteY1704" fmla="*/ 2528876 h 6689084"/>
                <a:gd name="connsiteX1705" fmla="*/ 4306528 w 6689088"/>
                <a:gd name="connsiteY1705" fmla="*/ 2527058 h 6689084"/>
                <a:gd name="connsiteX1706" fmla="*/ 4315608 w 6689088"/>
                <a:gd name="connsiteY1706" fmla="*/ 2536133 h 6689084"/>
                <a:gd name="connsiteX1707" fmla="*/ 4306528 w 6689088"/>
                <a:gd name="connsiteY1707" fmla="*/ 2545213 h 6689084"/>
                <a:gd name="connsiteX1708" fmla="*/ 4297452 w 6689088"/>
                <a:gd name="connsiteY1708" fmla="*/ 2536133 h 6689084"/>
                <a:gd name="connsiteX1709" fmla="*/ 4306528 w 6689088"/>
                <a:gd name="connsiteY1709" fmla="*/ 2527058 h 6689084"/>
                <a:gd name="connsiteX1710" fmla="*/ 4460480 w 6689088"/>
                <a:gd name="connsiteY1710" fmla="*/ 2526333 h 6689084"/>
                <a:gd name="connsiteX1711" fmla="*/ 4470646 w 6689088"/>
                <a:gd name="connsiteY1711" fmla="*/ 2536499 h 6689084"/>
                <a:gd name="connsiteX1712" fmla="*/ 4460480 w 6689088"/>
                <a:gd name="connsiteY1712" fmla="*/ 2546666 h 6689084"/>
                <a:gd name="connsiteX1713" fmla="*/ 4450314 w 6689088"/>
                <a:gd name="connsiteY1713" fmla="*/ 2536499 h 6689084"/>
                <a:gd name="connsiteX1714" fmla="*/ 4460480 w 6689088"/>
                <a:gd name="connsiteY1714" fmla="*/ 2526333 h 6689084"/>
                <a:gd name="connsiteX1715" fmla="*/ 4614061 w 6689088"/>
                <a:gd name="connsiteY1715" fmla="*/ 2524153 h 6689084"/>
                <a:gd name="connsiteX1716" fmla="*/ 4626046 w 6689088"/>
                <a:gd name="connsiteY1716" fmla="*/ 2536133 h 6689084"/>
                <a:gd name="connsiteX1717" fmla="*/ 4614061 w 6689088"/>
                <a:gd name="connsiteY1717" fmla="*/ 2548118 h 6689084"/>
                <a:gd name="connsiteX1718" fmla="*/ 4602080 w 6689088"/>
                <a:gd name="connsiteY1718" fmla="*/ 2536133 h 6689084"/>
                <a:gd name="connsiteX1719" fmla="*/ 4614061 w 6689088"/>
                <a:gd name="connsiteY1719" fmla="*/ 2524153 h 6689084"/>
                <a:gd name="connsiteX1720" fmla="*/ 4768012 w 6689088"/>
                <a:gd name="connsiteY1720" fmla="*/ 2522338 h 6689084"/>
                <a:gd name="connsiteX1721" fmla="*/ 4781808 w 6689088"/>
                <a:gd name="connsiteY1721" fmla="*/ 2536133 h 6689084"/>
                <a:gd name="connsiteX1722" fmla="*/ 4768012 w 6689088"/>
                <a:gd name="connsiteY1722" fmla="*/ 2549933 h 6689084"/>
                <a:gd name="connsiteX1723" fmla="*/ 4754214 w 6689088"/>
                <a:gd name="connsiteY1723" fmla="*/ 2536133 h 6689084"/>
                <a:gd name="connsiteX1724" fmla="*/ 4768012 w 6689088"/>
                <a:gd name="connsiteY1724" fmla="*/ 2522338 h 6689084"/>
                <a:gd name="connsiteX1725" fmla="*/ 4921594 w 6689088"/>
                <a:gd name="connsiteY1725" fmla="*/ 2521252 h 6689084"/>
                <a:gd name="connsiteX1726" fmla="*/ 4936845 w 6689088"/>
                <a:gd name="connsiteY1726" fmla="*/ 2536503 h 6689084"/>
                <a:gd name="connsiteX1727" fmla="*/ 4921594 w 6689088"/>
                <a:gd name="connsiteY1727" fmla="*/ 2551751 h 6689084"/>
                <a:gd name="connsiteX1728" fmla="*/ 4906346 w 6689088"/>
                <a:gd name="connsiteY1728" fmla="*/ 2536503 h 6689084"/>
                <a:gd name="connsiteX1729" fmla="*/ 4921594 w 6689088"/>
                <a:gd name="connsiteY1729" fmla="*/ 2521252 h 6689084"/>
                <a:gd name="connsiteX1730" fmla="*/ 5075545 w 6689088"/>
                <a:gd name="connsiteY1730" fmla="*/ 2519071 h 6689084"/>
                <a:gd name="connsiteX1731" fmla="*/ 5092611 w 6689088"/>
                <a:gd name="connsiteY1731" fmla="*/ 2536137 h 6689084"/>
                <a:gd name="connsiteX1732" fmla="*/ 5075545 w 6689088"/>
                <a:gd name="connsiteY1732" fmla="*/ 2553203 h 6689084"/>
                <a:gd name="connsiteX1733" fmla="*/ 5058479 w 6689088"/>
                <a:gd name="connsiteY1733" fmla="*/ 2536137 h 6689084"/>
                <a:gd name="connsiteX1734" fmla="*/ 5075545 w 6689088"/>
                <a:gd name="connsiteY1734" fmla="*/ 2519071 h 6689084"/>
                <a:gd name="connsiteX1735" fmla="*/ 5229126 w 6689088"/>
                <a:gd name="connsiteY1735" fmla="*/ 2517257 h 6689084"/>
                <a:gd name="connsiteX1736" fmla="*/ 5248369 w 6689088"/>
                <a:gd name="connsiteY1736" fmla="*/ 2536499 h 6689084"/>
                <a:gd name="connsiteX1737" fmla="*/ 5229126 w 6689088"/>
                <a:gd name="connsiteY1737" fmla="*/ 2555742 h 6689084"/>
                <a:gd name="connsiteX1738" fmla="*/ 5209884 w 6689088"/>
                <a:gd name="connsiteY1738" fmla="*/ 2536499 h 6689084"/>
                <a:gd name="connsiteX1739" fmla="*/ 5229126 w 6689088"/>
                <a:gd name="connsiteY1739" fmla="*/ 2517257 h 6689084"/>
                <a:gd name="connsiteX1740" fmla="*/ 5383074 w 6689088"/>
                <a:gd name="connsiteY1740" fmla="*/ 2514714 h 6689084"/>
                <a:gd name="connsiteX1741" fmla="*/ 5404496 w 6689088"/>
                <a:gd name="connsiteY1741" fmla="*/ 2536137 h 6689084"/>
                <a:gd name="connsiteX1742" fmla="*/ 5383074 w 6689088"/>
                <a:gd name="connsiteY1742" fmla="*/ 2557560 h 6689084"/>
                <a:gd name="connsiteX1743" fmla="*/ 5361651 w 6689088"/>
                <a:gd name="connsiteY1743" fmla="*/ 2536137 h 6689084"/>
                <a:gd name="connsiteX1744" fmla="*/ 5383074 w 6689088"/>
                <a:gd name="connsiteY1744" fmla="*/ 2514714 h 6689084"/>
                <a:gd name="connsiteX1745" fmla="*/ 5536659 w 6689088"/>
                <a:gd name="connsiteY1745" fmla="*/ 2513624 h 6689084"/>
                <a:gd name="connsiteX1746" fmla="*/ 5559534 w 6689088"/>
                <a:gd name="connsiteY1746" fmla="*/ 2536499 h 6689084"/>
                <a:gd name="connsiteX1747" fmla="*/ 5536659 w 6689088"/>
                <a:gd name="connsiteY1747" fmla="*/ 2559371 h 6689084"/>
                <a:gd name="connsiteX1748" fmla="*/ 5513784 w 6689088"/>
                <a:gd name="connsiteY1748" fmla="*/ 2536499 h 6689084"/>
                <a:gd name="connsiteX1749" fmla="*/ 5536659 w 6689088"/>
                <a:gd name="connsiteY1749" fmla="*/ 2513624 h 6689084"/>
                <a:gd name="connsiteX1750" fmla="*/ 5690602 w 6689088"/>
                <a:gd name="connsiteY1750" fmla="*/ 2511448 h 6689084"/>
                <a:gd name="connsiteX1751" fmla="*/ 5715658 w 6689088"/>
                <a:gd name="connsiteY1751" fmla="*/ 2536499 h 6689084"/>
                <a:gd name="connsiteX1752" fmla="*/ 5690602 w 6689088"/>
                <a:gd name="connsiteY1752" fmla="*/ 2561555 h 6689084"/>
                <a:gd name="connsiteX1753" fmla="*/ 5665551 w 6689088"/>
                <a:gd name="connsiteY1753" fmla="*/ 2536499 h 6689084"/>
                <a:gd name="connsiteX1754" fmla="*/ 5690602 w 6689088"/>
                <a:gd name="connsiteY1754" fmla="*/ 2511448 h 6689084"/>
                <a:gd name="connsiteX1755" fmla="*/ 5844554 w 6689088"/>
                <a:gd name="connsiteY1755" fmla="*/ 2509267 h 6689084"/>
                <a:gd name="connsiteX1756" fmla="*/ 5871786 w 6689088"/>
                <a:gd name="connsiteY1756" fmla="*/ 2536499 h 6689084"/>
                <a:gd name="connsiteX1757" fmla="*/ 5844554 w 6689088"/>
                <a:gd name="connsiteY1757" fmla="*/ 2563732 h 6689084"/>
                <a:gd name="connsiteX1758" fmla="*/ 5817322 w 6689088"/>
                <a:gd name="connsiteY1758" fmla="*/ 2536499 h 6689084"/>
                <a:gd name="connsiteX1759" fmla="*/ 5844554 w 6689088"/>
                <a:gd name="connsiteY1759" fmla="*/ 2509267 h 6689084"/>
                <a:gd name="connsiteX1760" fmla="*/ 5998136 w 6689088"/>
                <a:gd name="connsiteY1760" fmla="*/ 2506729 h 6689084"/>
                <a:gd name="connsiteX1761" fmla="*/ 6027910 w 6689088"/>
                <a:gd name="connsiteY1761" fmla="*/ 2536503 h 6689084"/>
                <a:gd name="connsiteX1762" fmla="*/ 5998136 w 6689088"/>
                <a:gd name="connsiteY1762" fmla="*/ 2566274 h 6689084"/>
                <a:gd name="connsiteX1763" fmla="*/ 5968364 w 6689088"/>
                <a:gd name="connsiteY1763" fmla="*/ 2536503 h 6689084"/>
                <a:gd name="connsiteX1764" fmla="*/ 5998136 w 6689088"/>
                <a:gd name="connsiteY1764" fmla="*/ 2506729 h 6689084"/>
                <a:gd name="connsiteX1765" fmla="*/ 6152086 w 6689088"/>
                <a:gd name="connsiteY1765" fmla="*/ 2504548 h 6689084"/>
                <a:gd name="connsiteX1766" fmla="*/ 6184038 w 6689088"/>
                <a:gd name="connsiteY1766" fmla="*/ 2536499 h 6689084"/>
                <a:gd name="connsiteX1767" fmla="*/ 6152086 w 6689088"/>
                <a:gd name="connsiteY1767" fmla="*/ 2568451 h 6689084"/>
                <a:gd name="connsiteX1768" fmla="*/ 6120135 w 6689088"/>
                <a:gd name="connsiteY1768" fmla="*/ 2536499 h 6689084"/>
                <a:gd name="connsiteX1769" fmla="*/ 6152086 w 6689088"/>
                <a:gd name="connsiteY1769" fmla="*/ 2504548 h 6689084"/>
                <a:gd name="connsiteX1770" fmla="*/ 6305668 w 6689088"/>
                <a:gd name="connsiteY1770" fmla="*/ 2502734 h 6689084"/>
                <a:gd name="connsiteX1771" fmla="*/ 6339438 w 6689088"/>
                <a:gd name="connsiteY1771" fmla="*/ 2536499 h 6689084"/>
                <a:gd name="connsiteX1772" fmla="*/ 6305668 w 6689088"/>
                <a:gd name="connsiteY1772" fmla="*/ 2570269 h 6689084"/>
                <a:gd name="connsiteX1773" fmla="*/ 6271902 w 6689088"/>
                <a:gd name="connsiteY1773" fmla="*/ 2536499 h 6689084"/>
                <a:gd name="connsiteX1774" fmla="*/ 6305668 w 6689088"/>
                <a:gd name="connsiteY1774" fmla="*/ 2502734 h 6689084"/>
                <a:gd name="connsiteX1775" fmla="*/ 6459616 w 6689088"/>
                <a:gd name="connsiteY1775" fmla="*/ 2500191 h 6689084"/>
                <a:gd name="connsiteX1776" fmla="*/ 6495924 w 6689088"/>
                <a:gd name="connsiteY1776" fmla="*/ 2536499 h 6689084"/>
                <a:gd name="connsiteX1777" fmla="*/ 6459616 w 6689088"/>
                <a:gd name="connsiteY1777" fmla="*/ 2572808 h 6689084"/>
                <a:gd name="connsiteX1778" fmla="*/ 6423307 w 6689088"/>
                <a:gd name="connsiteY1778" fmla="*/ 2536499 h 6689084"/>
                <a:gd name="connsiteX1779" fmla="*/ 6459616 w 6689088"/>
                <a:gd name="connsiteY1779" fmla="*/ 2500191 h 6689084"/>
                <a:gd name="connsiteX1780" fmla="*/ 6613200 w 6689088"/>
                <a:gd name="connsiteY1780" fmla="*/ 2497648 h 6689084"/>
                <a:gd name="connsiteX1781" fmla="*/ 6652048 w 6689088"/>
                <a:gd name="connsiteY1781" fmla="*/ 2536499 h 6689084"/>
                <a:gd name="connsiteX1782" fmla="*/ 6613200 w 6689088"/>
                <a:gd name="connsiteY1782" fmla="*/ 2575350 h 6689084"/>
                <a:gd name="connsiteX1783" fmla="*/ 6574350 w 6689088"/>
                <a:gd name="connsiteY1783" fmla="*/ 2536499 h 6689084"/>
                <a:gd name="connsiteX1784" fmla="*/ 6613200 w 6689088"/>
                <a:gd name="connsiteY1784" fmla="*/ 2497648 h 6689084"/>
                <a:gd name="connsiteX1785" fmla="*/ 3076406 w 6689088"/>
                <a:gd name="connsiteY1785" fmla="*/ 2382190 h 6689084"/>
                <a:gd name="connsiteX1786" fmla="*/ 3076768 w 6689088"/>
                <a:gd name="connsiteY1786" fmla="*/ 2382552 h 6689084"/>
                <a:gd name="connsiteX1787" fmla="*/ 3076406 w 6689088"/>
                <a:gd name="connsiteY1787" fmla="*/ 2382914 h 6689084"/>
                <a:gd name="connsiteX1788" fmla="*/ 3076043 w 6689088"/>
                <a:gd name="connsiteY1788" fmla="*/ 2382552 h 6689084"/>
                <a:gd name="connsiteX1789" fmla="*/ 3076406 w 6689088"/>
                <a:gd name="connsiteY1789" fmla="*/ 2382190 h 6689084"/>
                <a:gd name="connsiteX1790" fmla="*/ 2614925 w 6689088"/>
                <a:gd name="connsiteY1790" fmla="*/ 2382190 h 6689084"/>
                <a:gd name="connsiteX1791" fmla="*/ 2615288 w 6689088"/>
                <a:gd name="connsiteY1791" fmla="*/ 2382552 h 6689084"/>
                <a:gd name="connsiteX1792" fmla="*/ 2614925 w 6689088"/>
                <a:gd name="connsiteY1792" fmla="*/ 2382914 h 6689084"/>
                <a:gd name="connsiteX1793" fmla="*/ 2614563 w 6689088"/>
                <a:gd name="connsiteY1793" fmla="*/ 2382552 h 6689084"/>
                <a:gd name="connsiteX1794" fmla="*/ 2614925 w 6689088"/>
                <a:gd name="connsiteY1794" fmla="*/ 2382190 h 6689084"/>
                <a:gd name="connsiteX1795" fmla="*/ 2461340 w 6689088"/>
                <a:gd name="connsiteY1795" fmla="*/ 2382190 h 6689084"/>
                <a:gd name="connsiteX1796" fmla="*/ 2461702 w 6689088"/>
                <a:gd name="connsiteY1796" fmla="*/ 2382552 h 6689084"/>
                <a:gd name="connsiteX1797" fmla="*/ 2461340 w 6689088"/>
                <a:gd name="connsiteY1797" fmla="*/ 2382914 h 6689084"/>
                <a:gd name="connsiteX1798" fmla="*/ 2460978 w 6689088"/>
                <a:gd name="connsiteY1798" fmla="*/ 2382552 h 6689084"/>
                <a:gd name="connsiteX1799" fmla="*/ 2461340 w 6689088"/>
                <a:gd name="connsiteY1799" fmla="*/ 2382190 h 6689084"/>
                <a:gd name="connsiteX1800" fmla="*/ 2307393 w 6689088"/>
                <a:gd name="connsiteY1800" fmla="*/ 2381824 h 6689084"/>
                <a:gd name="connsiteX1801" fmla="*/ 2308121 w 6689088"/>
                <a:gd name="connsiteY1801" fmla="*/ 2382552 h 6689084"/>
                <a:gd name="connsiteX1802" fmla="*/ 2307393 w 6689088"/>
                <a:gd name="connsiteY1802" fmla="*/ 2383276 h 6689084"/>
                <a:gd name="connsiteX1803" fmla="*/ 2306669 w 6689088"/>
                <a:gd name="connsiteY1803" fmla="*/ 2382552 h 6689084"/>
                <a:gd name="connsiteX1804" fmla="*/ 2307393 w 6689088"/>
                <a:gd name="connsiteY1804" fmla="*/ 2381824 h 6689084"/>
                <a:gd name="connsiteX1805" fmla="*/ 3230353 w 6689088"/>
                <a:gd name="connsiteY1805" fmla="*/ 2381100 h 6689084"/>
                <a:gd name="connsiteX1806" fmla="*/ 3231805 w 6689088"/>
                <a:gd name="connsiteY1806" fmla="*/ 2382552 h 6689084"/>
                <a:gd name="connsiteX1807" fmla="*/ 3230353 w 6689088"/>
                <a:gd name="connsiteY1807" fmla="*/ 2384005 h 6689084"/>
                <a:gd name="connsiteX1808" fmla="*/ 3228900 w 6689088"/>
                <a:gd name="connsiteY1808" fmla="*/ 2382552 h 6689084"/>
                <a:gd name="connsiteX1809" fmla="*/ 3230353 w 6689088"/>
                <a:gd name="connsiteY1809" fmla="*/ 2381100 h 6689084"/>
                <a:gd name="connsiteX1810" fmla="*/ 3383938 w 6689088"/>
                <a:gd name="connsiteY1810" fmla="*/ 2380375 h 6689084"/>
                <a:gd name="connsiteX1811" fmla="*/ 3386115 w 6689088"/>
                <a:gd name="connsiteY1811" fmla="*/ 2382556 h 6689084"/>
                <a:gd name="connsiteX1812" fmla="*/ 3383938 w 6689088"/>
                <a:gd name="connsiteY1812" fmla="*/ 2384732 h 6689084"/>
                <a:gd name="connsiteX1813" fmla="*/ 3381758 w 6689088"/>
                <a:gd name="connsiteY1813" fmla="*/ 2382556 h 6689084"/>
                <a:gd name="connsiteX1814" fmla="*/ 3383938 w 6689088"/>
                <a:gd name="connsiteY1814" fmla="*/ 2380375 h 6689084"/>
                <a:gd name="connsiteX1815" fmla="*/ 3537882 w 6689088"/>
                <a:gd name="connsiteY1815" fmla="*/ 2379285 h 6689084"/>
                <a:gd name="connsiteX1816" fmla="*/ 3541148 w 6689088"/>
                <a:gd name="connsiteY1816" fmla="*/ 2382552 h 6689084"/>
                <a:gd name="connsiteX1817" fmla="*/ 3537882 w 6689088"/>
                <a:gd name="connsiteY1817" fmla="*/ 2385823 h 6689084"/>
                <a:gd name="connsiteX1818" fmla="*/ 3534615 w 6689088"/>
                <a:gd name="connsiteY1818" fmla="*/ 2382552 h 6689084"/>
                <a:gd name="connsiteX1819" fmla="*/ 3537882 w 6689088"/>
                <a:gd name="connsiteY1819" fmla="*/ 2379285 h 6689084"/>
                <a:gd name="connsiteX1820" fmla="*/ 3691467 w 6689088"/>
                <a:gd name="connsiteY1820" fmla="*/ 2378195 h 6689084"/>
                <a:gd name="connsiteX1821" fmla="*/ 3695824 w 6689088"/>
                <a:gd name="connsiteY1821" fmla="*/ 2382552 h 6689084"/>
                <a:gd name="connsiteX1822" fmla="*/ 3691467 w 6689088"/>
                <a:gd name="connsiteY1822" fmla="*/ 2386909 h 6689084"/>
                <a:gd name="connsiteX1823" fmla="*/ 3687110 w 6689088"/>
                <a:gd name="connsiteY1823" fmla="*/ 2382552 h 6689084"/>
                <a:gd name="connsiteX1824" fmla="*/ 3691467 w 6689088"/>
                <a:gd name="connsiteY1824" fmla="*/ 2378195 h 6689084"/>
                <a:gd name="connsiteX1825" fmla="*/ 3845414 w 6689088"/>
                <a:gd name="connsiteY1825" fmla="*/ 2376743 h 6689084"/>
                <a:gd name="connsiteX1826" fmla="*/ 3851224 w 6689088"/>
                <a:gd name="connsiteY1826" fmla="*/ 2382552 h 6689084"/>
                <a:gd name="connsiteX1827" fmla="*/ 3845414 w 6689088"/>
                <a:gd name="connsiteY1827" fmla="*/ 2388361 h 6689084"/>
                <a:gd name="connsiteX1828" fmla="*/ 3839605 w 6689088"/>
                <a:gd name="connsiteY1828" fmla="*/ 2382552 h 6689084"/>
                <a:gd name="connsiteX1829" fmla="*/ 3845414 w 6689088"/>
                <a:gd name="connsiteY1829" fmla="*/ 2376743 h 6689084"/>
                <a:gd name="connsiteX1830" fmla="*/ 3999000 w 6689088"/>
                <a:gd name="connsiteY1830" fmla="*/ 2375290 h 6689084"/>
                <a:gd name="connsiteX1831" fmla="*/ 4006261 w 6689088"/>
                <a:gd name="connsiteY1831" fmla="*/ 2382552 h 6689084"/>
                <a:gd name="connsiteX1832" fmla="*/ 3999000 w 6689088"/>
                <a:gd name="connsiteY1832" fmla="*/ 2389814 h 6689084"/>
                <a:gd name="connsiteX1833" fmla="*/ 3991738 w 6689088"/>
                <a:gd name="connsiteY1833" fmla="*/ 2382552 h 6689084"/>
                <a:gd name="connsiteX1834" fmla="*/ 3999000 w 6689088"/>
                <a:gd name="connsiteY1834" fmla="*/ 2375290 h 6689084"/>
                <a:gd name="connsiteX1835" fmla="*/ 4152947 w 6689088"/>
                <a:gd name="connsiteY1835" fmla="*/ 2373476 h 6689084"/>
                <a:gd name="connsiteX1836" fmla="*/ 4162027 w 6689088"/>
                <a:gd name="connsiteY1836" fmla="*/ 2382552 h 6689084"/>
                <a:gd name="connsiteX1837" fmla="*/ 4152947 w 6689088"/>
                <a:gd name="connsiteY1837" fmla="*/ 2391632 h 6689084"/>
                <a:gd name="connsiteX1838" fmla="*/ 4143871 w 6689088"/>
                <a:gd name="connsiteY1838" fmla="*/ 2382552 h 6689084"/>
                <a:gd name="connsiteX1839" fmla="*/ 4152947 w 6689088"/>
                <a:gd name="connsiteY1839" fmla="*/ 2373476 h 6689084"/>
                <a:gd name="connsiteX1840" fmla="*/ 4306532 w 6689088"/>
                <a:gd name="connsiteY1840" fmla="*/ 2372386 h 6689084"/>
                <a:gd name="connsiteX1841" fmla="*/ 4316698 w 6689088"/>
                <a:gd name="connsiteY1841" fmla="*/ 2382552 h 6689084"/>
                <a:gd name="connsiteX1842" fmla="*/ 4306532 w 6689088"/>
                <a:gd name="connsiteY1842" fmla="*/ 2392718 h 6689084"/>
                <a:gd name="connsiteX1843" fmla="*/ 4296366 w 6689088"/>
                <a:gd name="connsiteY1843" fmla="*/ 2382552 h 6689084"/>
                <a:gd name="connsiteX1844" fmla="*/ 4306532 w 6689088"/>
                <a:gd name="connsiteY1844" fmla="*/ 2372386 h 6689084"/>
                <a:gd name="connsiteX1845" fmla="*/ 4460476 w 6689088"/>
                <a:gd name="connsiteY1845" fmla="*/ 2370571 h 6689084"/>
                <a:gd name="connsiteX1846" fmla="*/ 4472460 w 6689088"/>
                <a:gd name="connsiteY1846" fmla="*/ 2382552 h 6689084"/>
                <a:gd name="connsiteX1847" fmla="*/ 4460476 w 6689088"/>
                <a:gd name="connsiteY1847" fmla="*/ 2394533 h 6689084"/>
                <a:gd name="connsiteX1848" fmla="*/ 4448495 w 6689088"/>
                <a:gd name="connsiteY1848" fmla="*/ 2382552 h 6689084"/>
                <a:gd name="connsiteX1849" fmla="*/ 4460476 w 6689088"/>
                <a:gd name="connsiteY1849" fmla="*/ 2370571 h 6689084"/>
                <a:gd name="connsiteX1850" fmla="*/ 4614065 w 6689088"/>
                <a:gd name="connsiteY1850" fmla="*/ 2368753 h 6689084"/>
                <a:gd name="connsiteX1851" fmla="*/ 4627860 w 6689088"/>
                <a:gd name="connsiteY1851" fmla="*/ 2382552 h 6689084"/>
                <a:gd name="connsiteX1852" fmla="*/ 4614065 w 6689088"/>
                <a:gd name="connsiteY1852" fmla="*/ 2396347 h 6689084"/>
                <a:gd name="connsiteX1853" fmla="*/ 4600266 w 6689088"/>
                <a:gd name="connsiteY1853" fmla="*/ 2382552 h 6689084"/>
                <a:gd name="connsiteX1854" fmla="*/ 4614065 w 6689088"/>
                <a:gd name="connsiteY1854" fmla="*/ 2368753 h 6689084"/>
                <a:gd name="connsiteX1855" fmla="*/ 4768008 w 6689088"/>
                <a:gd name="connsiteY1855" fmla="*/ 2367304 h 6689084"/>
                <a:gd name="connsiteX1856" fmla="*/ 4783260 w 6689088"/>
                <a:gd name="connsiteY1856" fmla="*/ 2382556 h 6689084"/>
                <a:gd name="connsiteX1857" fmla="*/ 4768008 w 6689088"/>
                <a:gd name="connsiteY1857" fmla="*/ 2397803 h 6689084"/>
                <a:gd name="connsiteX1858" fmla="*/ 4752761 w 6689088"/>
                <a:gd name="connsiteY1858" fmla="*/ 2382556 h 6689084"/>
                <a:gd name="connsiteX1859" fmla="*/ 4768008 w 6689088"/>
                <a:gd name="connsiteY1859" fmla="*/ 2367304 h 6689084"/>
                <a:gd name="connsiteX1860" fmla="*/ 4921594 w 6689088"/>
                <a:gd name="connsiteY1860" fmla="*/ 2365486 h 6689084"/>
                <a:gd name="connsiteX1861" fmla="*/ 4938660 w 6689088"/>
                <a:gd name="connsiteY1861" fmla="*/ 2382552 h 6689084"/>
                <a:gd name="connsiteX1862" fmla="*/ 4921594 w 6689088"/>
                <a:gd name="connsiteY1862" fmla="*/ 2399614 h 6689084"/>
                <a:gd name="connsiteX1863" fmla="*/ 4904528 w 6689088"/>
                <a:gd name="connsiteY1863" fmla="*/ 2382552 h 6689084"/>
                <a:gd name="connsiteX1864" fmla="*/ 4921594 w 6689088"/>
                <a:gd name="connsiteY1864" fmla="*/ 2365486 h 6689084"/>
                <a:gd name="connsiteX1865" fmla="*/ 5075541 w 6689088"/>
                <a:gd name="connsiteY1865" fmla="*/ 2363309 h 6689084"/>
                <a:gd name="connsiteX1866" fmla="*/ 5094784 w 6689088"/>
                <a:gd name="connsiteY1866" fmla="*/ 2382552 h 6689084"/>
                <a:gd name="connsiteX1867" fmla="*/ 5075541 w 6689088"/>
                <a:gd name="connsiteY1867" fmla="*/ 2401799 h 6689084"/>
                <a:gd name="connsiteX1868" fmla="*/ 5056298 w 6689088"/>
                <a:gd name="connsiteY1868" fmla="*/ 2382552 h 6689084"/>
                <a:gd name="connsiteX1869" fmla="*/ 5075541 w 6689088"/>
                <a:gd name="connsiteY1869" fmla="*/ 2363309 h 6689084"/>
                <a:gd name="connsiteX1870" fmla="*/ 5229126 w 6689088"/>
                <a:gd name="connsiteY1870" fmla="*/ 2361129 h 6689084"/>
                <a:gd name="connsiteX1871" fmla="*/ 5250546 w 6689088"/>
                <a:gd name="connsiteY1871" fmla="*/ 2382552 h 6689084"/>
                <a:gd name="connsiteX1872" fmla="*/ 5229126 w 6689088"/>
                <a:gd name="connsiteY1872" fmla="*/ 2403975 h 6689084"/>
                <a:gd name="connsiteX1873" fmla="*/ 5207704 w 6689088"/>
                <a:gd name="connsiteY1873" fmla="*/ 2382552 h 6689084"/>
                <a:gd name="connsiteX1874" fmla="*/ 5229126 w 6689088"/>
                <a:gd name="connsiteY1874" fmla="*/ 2361129 h 6689084"/>
                <a:gd name="connsiteX1875" fmla="*/ 5383074 w 6689088"/>
                <a:gd name="connsiteY1875" fmla="*/ 2359677 h 6689084"/>
                <a:gd name="connsiteX1876" fmla="*/ 5405946 w 6689088"/>
                <a:gd name="connsiteY1876" fmla="*/ 2382552 h 6689084"/>
                <a:gd name="connsiteX1877" fmla="*/ 5383074 w 6689088"/>
                <a:gd name="connsiteY1877" fmla="*/ 2405427 h 6689084"/>
                <a:gd name="connsiteX1878" fmla="*/ 5360198 w 6689088"/>
                <a:gd name="connsiteY1878" fmla="*/ 2382552 h 6689084"/>
                <a:gd name="connsiteX1879" fmla="*/ 5383074 w 6689088"/>
                <a:gd name="connsiteY1879" fmla="*/ 2359677 h 6689084"/>
                <a:gd name="connsiteX1880" fmla="*/ 5536656 w 6689088"/>
                <a:gd name="connsiteY1880" fmla="*/ 2357500 h 6689084"/>
                <a:gd name="connsiteX1881" fmla="*/ 5561711 w 6689088"/>
                <a:gd name="connsiteY1881" fmla="*/ 2382552 h 6689084"/>
                <a:gd name="connsiteX1882" fmla="*/ 5536656 w 6689088"/>
                <a:gd name="connsiteY1882" fmla="*/ 2407608 h 6689084"/>
                <a:gd name="connsiteX1883" fmla="*/ 5511604 w 6689088"/>
                <a:gd name="connsiteY1883" fmla="*/ 2382552 h 6689084"/>
                <a:gd name="connsiteX1884" fmla="*/ 5536656 w 6689088"/>
                <a:gd name="connsiteY1884" fmla="*/ 2357500 h 6689084"/>
                <a:gd name="connsiteX1885" fmla="*/ 5690606 w 6689088"/>
                <a:gd name="connsiteY1885" fmla="*/ 2355320 h 6689084"/>
                <a:gd name="connsiteX1886" fmla="*/ 5717838 w 6689088"/>
                <a:gd name="connsiteY1886" fmla="*/ 2382552 h 6689084"/>
                <a:gd name="connsiteX1887" fmla="*/ 5690606 w 6689088"/>
                <a:gd name="connsiteY1887" fmla="*/ 2409784 h 6689084"/>
                <a:gd name="connsiteX1888" fmla="*/ 5663374 w 6689088"/>
                <a:gd name="connsiteY1888" fmla="*/ 2382552 h 6689084"/>
                <a:gd name="connsiteX1889" fmla="*/ 5690606 w 6689088"/>
                <a:gd name="connsiteY1889" fmla="*/ 2355320 h 6689084"/>
                <a:gd name="connsiteX1890" fmla="*/ 5844554 w 6689088"/>
                <a:gd name="connsiteY1890" fmla="*/ 2352781 h 6689084"/>
                <a:gd name="connsiteX1891" fmla="*/ 5874325 w 6689088"/>
                <a:gd name="connsiteY1891" fmla="*/ 2382556 h 6689084"/>
                <a:gd name="connsiteX1892" fmla="*/ 5844554 w 6689088"/>
                <a:gd name="connsiteY1892" fmla="*/ 2412327 h 6689084"/>
                <a:gd name="connsiteX1893" fmla="*/ 5814779 w 6689088"/>
                <a:gd name="connsiteY1893" fmla="*/ 2382556 h 6689084"/>
                <a:gd name="connsiteX1894" fmla="*/ 5844554 w 6689088"/>
                <a:gd name="connsiteY1894" fmla="*/ 2352781 h 6689084"/>
                <a:gd name="connsiteX1895" fmla="*/ 5998139 w 6689088"/>
                <a:gd name="connsiteY1895" fmla="*/ 2350601 h 6689084"/>
                <a:gd name="connsiteX1896" fmla="*/ 6030090 w 6689088"/>
                <a:gd name="connsiteY1896" fmla="*/ 2382552 h 6689084"/>
                <a:gd name="connsiteX1897" fmla="*/ 5998139 w 6689088"/>
                <a:gd name="connsiteY1897" fmla="*/ 2414503 h 6689084"/>
                <a:gd name="connsiteX1898" fmla="*/ 5966188 w 6689088"/>
                <a:gd name="connsiteY1898" fmla="*/ 2382552 h 6689084"/>
                <a:gd name="connsiteX1899" fmla="*/ 5998139 w 6689088"/>
                <a:gd name="connsiteY1899" fmla="*/ 2350601 h 6689084"/>
                <a:gd name="connsiteX1900" fmla="*/ 6152086 w 6689088"/>
                <a:gd name="connsiteY1900" fmla="*/ 2348786 h 6689084"/>
                <a:gd name="connsiteX1901" fmla="*/ 6185852 w 6689088"/>
                <a:gd name="connsiteY1901" fmla="*/ 2382552 h 6689084"/>
                <a:gd name="connsiteX1902" fmla="*/ 6152086 w 6689088"/>
                <a:gd name="connsiteY1902" fmla="*/ 2416322 h 6689084"/>
                <a:gd name="connsiteX1903" fmla="*/ 6118317 w 6689088"/>
                <a:gd name="connsiteY1903" fmla="*/ 2382552 h 6689084"/>
                <a:gd name="connsiteX1904" fmla="*/ 6152086 w 6689088"/>
                <a:gd name="connsiteY1904" fmla="*/ 2348786 h 6689084"/>
                <a:gd name="connsiteX1905" fmla="*/ 6305668 w 6689088"/>
                <a:gd name="connsiteY1905" fmla="*/ 2346244 h 6689084"/>
                <a:gd name="connsiteX1906" fmla="*/ 6341976 w 6689088"/>
                <a:gd name="connsiteY1906" fmla="*/ 2382552 h 6689084"/>
                <a:gd name="connsiteX1907" fmla="*/ 6305668 w 6689088"/>
                <a:gd name="connsiteY1907" fmla="*/ 2418860 h 6689084"/>
                <a:gd name="connsiteX1908" fmla="*/ 6269360 w 6689088"/>
                <a:gd name="connsiteY1908" fmla="*/ 2382552 h 6689084"/>
                <a:gd name="connsiteX1909" fmla="*/ 6305668 w 6689088"/>
                <a:gd name="connsiteY1909" fmla="*/ 2346244 h 6689084"/>
                <a:gd name="connsiteX1910" fmla="*/ 6459619 w 6689088"/>
                <a:gd name="connsiteY1910" fmla="*/ 2343701 h 6689084"/>
                <a:gd name="connsiteX1911" fmla="*/ 6498470 w 6689088"/>
                <a:gd name="connsiteY1911" fmla="*/ 2382552 h 6689084"/>
                <a:gd name="connsiteX1912" fmla="*/ 6459619 w 6689088"/>
                <a:gd name="connsiteY1912" fmla="*/ 2421399 h 6689084"/>
                <a:gd name="connsiteX1913" fmla="*/ 6420768 w 6689088"/>
                <a:gd name="connsiteY1913" fmla="*/ 2382552 h 6689084"/>
                <a:gd name="connsiteX1914" fmla="*/ 6459619 w 6689088"/>
                <a:gd name="connsiteY1914" fmla="*/ 2343701 h 6689084"/>
                <a:gd name="connsiteX1915" fmla="*/ 6613200 w 6689088"/>
                <a:gd name="connsiteY1915" fmla="*/ 2341524 h 6689084"/>
                <a:gd name="connsiteX1916" fmla="*/ 6654232 w 6689088"/>
                <a:gd name="connsiteY1916" fmla="*/ 2382552 h 6689084"/>
                <a:gd name="connsiteX1917" fmla="*/ 6613200 w 6689088"/>
                <a:gd name="connsiteY1917" fmla="*/ 2423583 h 6689084"/>
                <a:gd name="connsiteX1918" fmla="*/ 6572173 w 6689088"/>
                <a:gd name="connsiteY1918" fmla="*/ 2382552 h 6689084"/>
                <a:gd name="connsiteX1919" fmla="*/ 6613200 w 6689088"/>
                <a:gd name="connsiteY1919" fmla="*/ 2341524 h 6689084"/>
                <a:gd name="connsiteX1920" fmla="*/ 2922458 w 6689088"/>
                <a:gd name="connsiteY1920" fmla="*/ 2228605 h 6689084"/>
                <a:gd name="connsiteX1921" fmla="*/ 2922820 w 6689088"/>
                <a:gd name="connsiteY1921" fmla="*/ 2228967 h 6689084"/>
                <a:gd name="connsiteX1922" fmla="*/ 2922458 w 6689088"/>
                <a:gd name="connsiteY1922" fmla="*/ 2229333 h 6689084"/>
                <a:gd name="connsiteX1923" fmla="*/ 2922096 w 6689088"/>
                <a:gd name="connsiteY1923" fmla="*/ 2228967 h 6689084"/>
                <a:gd name="connsiteX1924" fmla="*/ 2922458 w 6689088"/>
                <a:gd name="connsiteY1924" fmla="*/ 2228605 h 6689084"/>
                <a:gd name="connsiteX1925" fmla="*/ 2461340 w 6689088"/>
                <a:gd name="connsiteY1925" fmla="*/ 2228605 h 6689084"/>
                <a:gd name="connsiteX1926" fmla="*/ 2461702 w 6689088"/>
                <a:gd name="connsiteY1926" fmla="*/ 2228967 h 6689084"/>
                <a:gd name="connsiteX1927" fmla="*/ 2461340 w 6689088"/>
                <a:gd name="connsiteY1927" fmla="*/ 2229333 h 6689084"/>
                <a:gd name="connsiteX1928" fmla="*/ 2460978 w 6689088"/>
                <a:gd name="connsiteY1928" fmla="*/ 2228967 h 6689084"/>
                <a:gd name="connsiteX1929" fmla="*/ 2461340 w 6689088"/>
                <a:gd name="connsiteY1929" fmla="*/ 2228605 h 6689084"/>
                <a:gd name="connsiteX1930" fmla="*/ 2307393 w 6689088"/>
                <a:gd name="connsiteY1930" fmla="*/ 2228605 h 6689084"/>
                <a:gd name="connsiteX1931" fmla="*/ 2307755 w 6689088"/>
                <a:gd name="connsiteY1931" fmla="*/ 2228967 h 6689084"/>
                <a:gd name="connsiteX1932" fmla="*/ 2307393 w 6689088"/>
                <a:gd name="connsiteY1932" fmla="*/ 2229333 h 6689084"/>
                <a:gd name="connsiteX1933" fmla="*/ 2307031 w 6689088"/>
                <a:gd name="connsiteY1933" fmla="*/ 2228967 h 6689084"/>
                <a:gd name="connsiteX1934" fmla="*/ 2307393 w 6689088"/>
                <a:gd name="connsiteY1934" fmla="*/ 2228605 h 6689084"/>
                <a:gd name="connsiteX1935" fmla="*/ 2153811 w 6689088"/>
                <a:gd name="connsiteY1935" fmla="*/ 2228243 h 6689084"/>
                <a:gd name="connsiteX1936" fmla="*/ 2154536 w 6689088"/>
                <a:gd name="connsiteY1936" fmla="*/ 2228971 h 6689084"/>
                <a:gd name="connsiteX1937" fmla="*/ 2153811 w 6689088"/>
                <a:gd name="connsiteY1937" fmla="*/ 2229695 h 6689084"/>
                <a:gd name="connsiteX1938" fmla="*/ 2153083 w 6689088"/>
                <a:gd name="connsiteY1938" fmla="*/ 2228971 h 6689084"/>
                <a:gd name="connsiteX1939" fmla="*/ 2153811 w 6689088"/>
                <a:gd name="connsiteY1939" fmla="*/ 2228243 h 6689084"/>
                <a:gd name="connsiteX1940" fmla="*/ 3076406 w 6689088"/>
                <a:gd name="connsiteY1940" fmla="*/ 2227152 h 6689084"/>
                <a:gd name="connsiteX1941" fmla="*/ 3077858 w 6689088"/>
                <a:gd name="connsiteY1941" fmla="*/ 2228605 h 6689084"/>
                <a:gd name="connsiteX1942" fmla="*/ 3076406 w 6689088"/>
                <a:gd name="connsiteY1942" fmla="*/ 2230057 h 6689084"/>
                <a:gd name="connsiteX1943" fmla="*/ 3074953 w 6689088"/>
                <a:gd name="connsiteY1943" fmla="*/ 2228605 h 6689084"/>
                <a:gd name="connsiteX1944" fmla="*/ 3076406 w 6689088"/>
                <a:gd name="connsiteY1944" fmla="*/ 2227152 h 6689084"/>
                <a:gd name="connsiteX1945" fmla="*/ 3230353 w 6689088"/>
                <a:gd name="connsiteY1945" fmla="*/ 2226428 h 6689084"/>
                <a:gd name="connsiteX1946" fmla="*/ 3232530 w 6689088"/>
                <a:gd name="connsiteY1946" fmla="*/ 2228608 h 6689084"/>
                <a:gd name="connsiteX1947" fmla="*/ 3230353 w 6689088"/>
                <a:gd name="connsiteY1947" fmla="*/ 2230785 h 6689084"/>
                <a:gd name="connsiteX1948" fmla="*/ 3228172 w 6689088"/>
                <a:gd name="connsiteY1948" fmla="*/ 2228608 h 6689084"/>
                <a:gd name="connsiteX1949" fmla="*/ 3230353 w 6689088"/>
                <a:gd name="connsiteY1949" fmla="*/ 2226428 h 6689084"/>
                <a:gd name="connsiteX1950" fmla="*/ 3383934 w 6689088"/>
                <a:gd name="connsiteY1950" fmla="*/ 2225700 h 6689084"/>
                <a:gd name="connsiteX1951" fmla="*/ 3387205 w 6689088"/>
                <a:gd name="connsiteY1951" fmla="*/ 2228967 h 6689084"/>
                <a:gd name="connsiteX1952" fmla="*/ 3383934 w 6689088"/>
                <a:gd name="connsiteY1952" fmla="*/ 2232238 h 6689084"/>
                <a:gd name="connsiteX1953" fmla="*/ 3380668 w 6689088"/>
                <a:gd name="connsiteY1953" fmla="*/ 2228967 h 6689084"/>
                <a:gd name="connsiteX1954" fmla="*/ 3383934 w 6689088"/>
                <a:gd name="connsiteY1954" fmla="*/ 2225700 h 6689084"/>
                <a:gd name="connsiteX1955" fmla="*/ 3537886 w 6689088"/>
                <a:gd name="connsiteY1955" fmla="*/ 2224248 h 6689084"/>
                <a:gd name="connsiteX1956" fmla="*/ 3542242 w 6689088"/>
                <a:gd name="connsiteY1956" fmla="*/ 2228605 h 6689084"/>
                <a:gd name="connsiteX1957" fmla="*/ 3537886 w 6689088"/>
                <a:gd name="connsiteY1957" fmla="*/ 2232962 h 6689084"/>
                <a:gd name="connsiteX1958" fmla="*/ 3533528 w 6689088"/>
                <a:gd name="connsiteY1958" fmla="*/ 2228605 h 6689084"/>
                <a:gd name="connsiteX1959" fmla="*/ 3537886 w 6689088"/>
                <a:gd name="connsiteY1959" fmla="*/ 2224248 h 6689084"/>
                <a:gd name="connsiteX1960" fmla="*/ 3691467 w 6689088"/>
                <a:gd name="connsiteY1960" fmla="*/ 2222795 h 6689084"/>
                <a:gd name="connsiteX1961" fmla="*/ 3697276 w 6689088"/>
                <a:gd name="connsiteY1961" fmla="*/ 2228605 h 6689084"/>
                <a:gd name="connsiteX1962" fmla="*/ 3691467 w 6689088"/>
                <a:gd name="connsiteY1962" fmla="*/ 2234414 h 6689084"/>
                <a:gd name="connsiteX1963" fmla="*/ 3685658 w 6689088"/>
                <a:gd name="connsiteY1963" fmla="*/ 2228605 h 6689084"/>
                <a:gd name="connsiteX1964" fmla="*/ 3691467 w 6689088"/>
                <a:gd name="connsiteY1964" fmla="*/ 2222795 h 6689084"/>
                <a:gd name="connsiteX1965" fmla="*/ 3845414 w 6689088"/>
                <a:gd name="connsiteY1965" fmla="*/ 2221343 h 6689084"/>
                <a:gd name="connsiteX1966" fmla="*/ 3852676 w 6689088"/>
                <a:gd name="connsiteY1966" fmla="*/ 2228605 h 6689084"/>
                <a:gd name="connsiteX1967" fmla="*/ 3845414 w 6689088"/>
                <a:gd name="connsiteY1967" fmla="*/ 2235866 h 6689084"/>
                <a:gd name="connsiteX1968" fmla="*/ 3838153 w 6689088"/>
                <a:gd name="connsiteY1968" fmla="*/ 2228605 h 6689084"/>
                <a:gd name="connsiteX1969" fmla="*/ 3845414 w 6689088"/>
                <a:gd name="connsiteY1969" fmla="*/ 2221343 h 6689084"/>
                <a:gd name="connsiteX1970" fmla="*/ 3999000 w 6689088"/>
                <a:gd name="connsiteY1970" fmla="*/ 2219528 h 6689084"/>
                <a:gd name="connsiteX1971" fmla="*/ 4008080 w 6689088"/>
                <a:gd name="connsiteY1971" fmla="*/ 2228605 h 6689084"/>
                <a:gd name="connsiteX1972" fmla="*/ 3999000 w 6689088"/>
                <a:gd name="connsiteY1972" fmla="*/ 2237685 h 6689084"/>
                <a:gd name="connsiteX1973" fmla="*/ 3989924 w 6689088"/>
                <a:gd name="connsiteY1973" fmla="*/ 2228605 h 6689084"/>
                <a:gd name="connsiteX1974" fmla="*/ 3999000 w 6689088"/>
                <a:gd name="connsiteY1974" fmla="*/ 2219528 h 6689084"/>
                <a:gd name="connsiteX1975" fmla="*/ 4152947 w 6689088"/>
                <a:gd name="connsiteY1975" fmla="*/ 2218800 h 6689084"/>
                <a:gd name="connsiteX1976" fmla="*/ 4163114 w 6689088"/>
                <a:gd name="connsiteY1976" fmla="*/ 2228967 h 6689084"/>
                <a:gd name="connsiteX1977" fmla="*/ 4152947 w 6689088"/>
                <a:gd name="connsiteY1977" fmla="*/ 2239133 h 6689084"/>
                <a:gd name="connsiteX1978" fmla="*/ 4142780 w 6689088"/>
                <a:gd name="connsiteY1978" fmla="*/ 2228967 h 6689084"/>
                <a:gd name="connsiteX1979" fmla="*/ 4152947 w 6689088"/>
                <a:gd name="connsiteY1979" fmla="*/ 2218800 h 6689084"/>
                <a:gd name="connsiteX1980" fmla="*/ 4306532 w 6689088"/>
                <a:gd name="connsiteY1980" fmla="*/ 2216624 h 6689084"/>
                <a:gd name="connsiteX1981" fmla="*/ 4318517 w 6689088"/>
                <a:gd name="connsiteY1981" fmla="*/ 2228605 h 6689084"/>
                <a:gd name="connsiteX1982" fmla="*/ 4306532 w 6689088"/>
                <a:gd name="connsiteY1982" fmla="*/ 2240585 h 6689084"/>
                <a:gd name="connsiteX1983" fmla="*/ 4294552 w 6689088"/>
                <a:gd name="connsiteY1983" fmla="*/ 2228605 h 6689084"/>
                <a:gd name="connsiteX1984" fmla="*/ 4306532 w 6689088"/>
                <a:gd name="connsiteY1984" fmla="*/ 2216624 h 6689084"/>
                <a:gd name="connsiteX1985" fmla="*/ 4460480 w 6689088"/>
                <a:gd name="connsiteY1985" fmla="*/ 2214809 h 6689084"/>
                <a:gd name="connsiteX1986" fmla="*/ 4474275 w 6689088"/>
                <a:gd name="connsiteY1986" fmla="*/ 2228608 h 6689084"/>
                <a:gd name="connsiteX1987" fmla="*/ 4460480 w 6689088"/>
                <a:gd name="connsiteY1987" fmla="*/ 2242404 h 6689084"/>
                <a:gd name="connsiteX1988" fmla="*/ 4446680 w 6689088"/>
                <a:gd name="connsiteY1988" fmla="*/ 2228608 h 6689084"/>
                <a:gd name="connsiteX1989" fmla="*/ 4460480 w 6689088"/>
                <a:gd name="connsiteY1989" fmla="*/ 2214809 h 6689084"/>
                <a:gd name="connsiteX1990" fmla="*/ 4614061 w 6689088"/>
                <a:gd name="connsiteY1990" fmla="*/ 2213357 h 6689084"/>
                <a:gd name="connsiteX1991" fmla="*/ 4629312 w 6689088"/>
                <a:gd name="connsiteY1991" fmla="*/ 2228608 h 6689084"/>
                <a:gd name="connsiteX1992" fmla="*/ 4614061 w 6689088"/>
                <a:gd name="connsiteY1992" fmla="*/ 2243856 h 6689084"/>
                <a:gd name="connsiteX1993" fmla="*/ 4598814 w 6689088"/>
                <a:gd name="connsiteY1993" fmla="*/ 2228608 h 6689084"/>
                <a:gd name="connsiteX1994" fmla="*/ 4614061 w 6689088"/>
                <a:gd name="connsiteY1994" fmla="*/ 2213357 h 6689084"/>
                <a:gd name="connsiteX1995" fmla="*/ 4768012 w 6689088"/>
                <a:gd name="connsiteY1995" fmla="*/ 2211539 h 6689084"/>
                <a:gd name="connsiteX1996" fmla="*/ 4785078 w 6689088"/>
                <a:gd name="connsiteY1996" fmla="*/ 2228605 h 6689084"/>
                <a:gd name="connsiteX1997" fmla="*/ 4768012 w 6689088"/>
                <a:gd name="connsiteY1997" fmla="*/ 2245667 h 6689084"/>
                <a:gd name="connsiteX1998" fmla="*/ 4750946 w 6689088"/>
                <a:gd name="connsiteY1998" fmla="*/ 2228605 h 6689084"/>
                <a:gd name="connsiteX1999" fmla="*/ 4768012 w 6689088"/>
                <a:gd name="connsiteY1999" fmla="*/ 2211539 h 6689084"/>
                <a:gd name="connsiteX2000" fmla="*/ 4921594 w 6689088"/>
                <a:gd name="connsiteY2000" fmla="*/ 2209362 h 6689084"/>
                <a:gd name="connsiteX2001" fmla="*/ 4940836 w 6689088"/>
                <a:gd name="connsiteY2001" fmla="*/ 2228605 h 6689084"/>
                <a:gd name="connsiteX2002" fmla="*/ 4921594 w 6689088"/>
                <a:gd name="connsiteY2002" fmla="*/ 2247851 h 6689084"/>
                <a:gd name="connsiteX2003" fmla="*/ 4902352 w 6689088"/>
                <a:gd name="connsiteY2003" fmla="*/ 2228605 h 6689084"/>
                <a:gd name="connsiteX2004" fmla="*/ 4921594 w 6689088"/>
                <a:gd name="connsiteY2004" fmla="*/ 2209362 h 6689084"/>
                <a:gd name="connsiteX2005" fmla="*/ 5075541 w 6689088"/>
                <a:gd name="connsiteY2005" fmla="*/ 2207182 h 6689084"/>
                <a:gd name="connsiteX2006" fmla="*/ 5096964 w 6689088"/>
                <a:gd name="connsiteY2006" fmla="*/ 2228605 h 6689084"/>
                <a:gd name="connsiteX2007" fmla="*/ 5075541 w 6689088"/>
                <a:gd name="connsiteY2007" fmla="*/ 2250027 h 6689084"/>
                <a:gd name="connsiteX2008" fmla="*/ 5054118 w 6689088"/>
                <a:gd name="connsiteY2008" fmla="*/ 2228605 h 6689084"/>
                <a:gd name="connsiteX2009" fmla="*/ 5075541 w 6689088"/>
                <a:gd name="connsiteY2009" fmla="*/ 2207182 h 6689084"/>
                <a:gd name="connsiteX2010" fmla="*/ 5229126 w 6689088"/>
                <a:gd name="connsiteY2010" fmla="*/ 2205729 h 6689084"/>
                <a:gd name="connsiteX2011" fmla="*/ 5251998 w 6689088"/>
                <a:gd name="connsiteY2011" fmla="*/ 2228605 h 6689084"/>
                <a:gd name="connsiteX2012" fmla="*/ 5229126 w 6689088"/>
                <a:gd name="connsiteY2012" fmla="*/ 2251480 h 6689084"/>
                <a:gd name="connsiteX2013" fmla="*/ 5206251 w 6689088"/>
                <a:gd name="connsiteY2013" fmla="*/ 2228605 h 6689084"/>
                <a:gd name="connsiteX2014" fmla="*/ 5229126 w 6689088"/>
                <a:gd name="connsiteY2014" fmla="*/ 2205729 h 6689084"/>
                <a:gd name="connsiteX2015" fmla="*/ 5383074 w 6689088"/>
                <a:gd name="connsiteY2015" fmla="*/ 2203915 h 6689084"/>
                <a:gd name="connsiteX2016" fmla="*/ 5408126 w 6689088"/>
                <a:gd name="connsiteY2016" fmla="*/ 2228967 h 6689084"/>
                <a:gd name="connsiteX2017" fmla="*/ 5383074 w 6689088"/>
                <a:gd name="connsiteY2017" fmla="*/ 2254023 h 6689084"/>
                <a:gd name="connsiteX2018" fmla="*/ 5358022 w 6689088"/>
                <a:gd name="connsiteY2018" fmla="*/ 2228967 h 6689084"/>
                <a:gd name="connsiteX2019" fmla="*/ 5383074 w 6689088"/>
                <a:gd name="connsiteY2019" fmla="*/ 2203915 h 6689084"/>
                <a:gd name="connsiteX2020" fmla="*/ 5536659 w 6689088"/>
                <a:gd name="connsiteY2020" fmla="*/ 2201734 h 6689084"/>
                <a:gd name="connsiteX2021" fmla="*/ 5563892 w 6689088"/>
                <a:gd name="connsiteY2021" fmla="*/ 2228967 h 6689084"/>
                <a:gd name="connsiteX2022" fmla="*/ 5536659 w 6689088"/>
                <a:gd name="connsiteY2022" fmla="*/ 2256199 h 6689084"/>
                <a:gd name="connsiteX2023" fmla="*/ 5509427 w 6689088"/>
                <a:gd name="connsiteY2023" fmla="*/ 2228967 h 6689084"/>
                <a:gd name="connsiteX2024" fmla="*/ 5536659 w 6689088"/>
                <a:gd name="connsiteY2024" fmla="*/ 2201734 h 6689084"/>
                <a:gd name="connsiteX2025" fmla="*/ 5690606 w 6689088"/>
                <a:gd name="connsiteY2025" fmla="*/ 2198834 h 6689084"/>
                <a:gd name="connsiteX2026" fmla="*/ 5720378 w 6689088"/>
                <a:gd name="connsiteY2026" fmla="*/ 2228608 h 6689084"/>
                <a:gd name="connsiteX2027" fmla="*/ 5690606 w 6689088"/>
                <a:gd name="connsiteY2027" fmla="*/ 2258379 h 6689084"/>
                <a:gd name="connsiteX2028" fmla="*/ 5660832 w 6689088"/>
                <a:gd name="connsiteY2028" fmla="*/ 2228608 h 6689084"/>
                <a:gd name="connsiteX2029" fmla="*/ 5690606 w 6689088"/>
                <a:gd name="connsiteY2029" fmla="*/ 2198834 h 6689084"/>
                <a:gd name="connsiteX2030" fmla="*/ 5844554 w 6689088"/>
                <a:gd name="connsiteY2030" fmla="*/ 2197015 h 6689084"/>
                <a:gd name="connsiteX2031" fmla="*/ 5876506 w 6689088"/>
                <a:gd name="connsiteY2031" fmla="*/ 2228967 h 6689084"/>
                <a:gd name="connsiteX2032" fmla="*/ 5844554 w 6689088"/>
                <a:gd name="connsiteY2032" fmla="*/ 2260918 h 6689084"/>
                <a:gd name="connsiteX2033" fmla="*/ 5812602 w 6689088"/>
                <a:gd name="connsiteY2033" fmla="*/ 2228967 h 6689084"/>
                <a:gd name="connsiteX2034" fmla="*/ 5844554 w 6689088"/>
                <a:gd name="connsiteY2034" fmla="*/ 2197015 h 6689084"/>
                <a:gd name="connsiteX2035" fmla="*/ 5998136 w 6689088"/>
                <a:gd name="connsiteY2035" fmla="*/ 2194839 h 6689084"/>
                <a:gd name="connsiteX2036" fmla="*/ 6031901 w 6689088"/>
                <a:gd name="connsiteY2036" fmla="*/ 2228605 h 6689084"/>
                <a:gd name="connsiteX2037" fmla="*/ 5998136 w 6689088"/>
                <a:gd name="connsiteY2037" fmla="*/ 2262374 h 6689084"/>
                <a:gd name="connsiteX2038" fmla="*/ 5964370 w 6689088"/>
                <a:gd name="connsiteY2038" fmla="*/ 2228605 h 6689084"/>
                <a:gd name="connsiteX2039" fmla="*/ 5998136 w 6689088"/>
                <a:gd name="connsiteY2039" fmla="*/ 2194839 h 6689084"/>
                <a:gd name="connsiteX2040" fmla="*/ 6152083 w 6689088"/>
                <a:gd name="connsiteY2040" fmla="*/ 2192296 h 6689084"/>
                <a:gd name="connsiteX2041" fmla="*/ 6188391 w 6689088"/>
                <a:gd name="connsiteY2041" fmla="*/ 2228605 h 6689084"/>
                <a:gd name="connsiteX2042" fmla="*/ 6152083 w 6689088"/>
                <a:gd name="connsiteY2042" fmla="*/ 2264913 h 6689084"/>
                <a:gd name="connsiteX2043" fmla="*/ 6115774 w 6689088"/>
                <a:gd name="connsiteY2043" fmla="*/ 2228605 h 6689084"/>
                <a:gd name="connsiteX2044" fmla="*/ 6152083 w 6689088"/>
                <a:gd name="connsiteY2044" fmla="*/ 2192296 h 6689084"/>
                <a:gd name="connsiteX2045" fmla="*/ 6305672 w 6689088"/>
                <a:gd name="connsiteY2045" fmla="*/ 2189754 h 6689084"/>
                <a:gd name="connsiteX2046" fmla="*/ 6344522 w 6689088"/>
                <a:gd name="connsiteY2046" fmla="*/ 2228605 h 6689084"/>
                <a:gd name="connsiteX2047" fmla="*/ 6305672 w 6689088"/>
                <a:gd name="connsiteY2047" fmla="*/ 2267452 h 6689084"/>
                <a:gd name="connsiteX2048" fmla="*/ 6266821 w 6689088"/>
                <a:gd name="connsiteY2048" fmla="*/ 2228605 h 6689084"/>
                <a:gd name="connsiteX2049" fmla="*/ 6305672 w 6689088"/>
                <a:gd name="connsiteY2049" fmla="*/ 2189754 h 6689084"/>
                <a:gd name="connsiteX2050" fmla="*/ 6459616 w 6689088"/>
                <a:gd name="connsiteY2050" fmla="*/ 2187577 h 6689084"/>
                <a:gd name="connsiteX2051" fmla="*/ 6500646 w 6689088"/>
                <a:gd name="connsiteY2051" fmla="*/ 2228605 h 6689084"/>
                <a:gd name="connsiteX2052" fmla="*/ 6459616 w 6689088"/>
                <a:gd name="connsiteY2052" fmla="*/ 2269632 h 6689084"/>
                <a:gd name="connsiteX2053" fmla="*/ 6418588 w 6689088"/>
                <a:gd name="connsiteY2053" fmla="*/ 2228605 h 6689084"/>
                <a:gd name="connsiteX2054" fmla="*/ 6459616 w 6689088"/>
                <a:gd name="connsiteY2054" fmla="*/ 2187577 h 6689084"/>
                <a:gd name="connsiteX2055" fmla="*/ 6613200 w 6689088"/>
                <a:gd name="connsiteY2055" fmla="*/ 2185035 h 6689084"/>
                <a:gd name="connsiteX2056" fmla="*/ 6656770 w 6689088"/>
                <a:gd name="connsiteY2056" fmla="*/ 2228605 h 6689084"/>
                <a:gd name="connsiteX2057" fmla="*/ 6613200 w 6689088"/>
                <a:gd name="connsiteY2057" fmla="*/ 2272175 h 6689084"/>
                <a:gd name="connsiteX2058" fmla="*/ 6569630 w 6689088"/>
                <a:gd name="connsiteY2058" fmla="*/ 2228605 h 6689084"/>
                <a:gd name="connsiteX2059" fmla="*/ 6613200 w 6689088"/>
                <a:gd name="connsiteY2059" fmla="*/ 2185035 h 6689084"/>
                <a:gd name="connsiteX2060" fmla="*/ 2768873 w 6689088"/>
                <a:gd name="connsiteY2060" fmla="*/ 2074657 h 6689084"/>
                <a:gd name="connsiteX2061" fmla="*/ 2769235 w 6689088"/>
                <a:gd name="connsiteY2061" fmla="*/ 2075019 h 6689084"/>
                <a:gd name="connsiteX2062" fmla="*/ 2768873 w 6689088"/>
                <a:gd name="connsiteY2062" fmla="*/ 2075385 h 6689084"/>
                <a:gd name="connsiteX2063" fmla="*/ 2768511 w 6689088"/>
                <a:gd name="connsiteY2063" fmla="*/ 2075019 h 6689084"/>
                <a:gd name="connsiteX2064" fmla="*/ 2768873 w 6689088"/>
                <a:gd name="connsiteY2064" fmla="*/ 2074657 h 6689084"/>
                <a:gd name="connsiteX2065" fmla="*/ 2307393 w 6689088"/>
                <a:gd name="connsiteY2065" fmla="*/ 2074657 h 6689084"/>
                <a:gd name="connsiteX2066" fmla="*/ 2307755 w 6689088"/>
                <a:gd name="connsiteY2066" fmla="*/ 2075019 h 6689084"/>
                <a:gd name="connsiteX2067" fmla="*/ 2307393 w 6689088"/>
                <a:gd name="connsiteY2067" fmla="*/ 2075385 h 6689084"/>
                <a:gd name="connsiteX2068" fmla="*/ 2307031 w 6689088"/>
                <a:gd name="connsiteY2068" fmla="*/ 2075019 h 6689084"/>
                <a:gd name="connsiteX2069" fmla="*/ 2307393 w 6689088"/>
                <a:gd name="connsiteY2069" fmla="*/ 2074657 h 6689084"/>
                <a:gd name="connsiteX2070" fmla="*/ 2153808 w 6689088"/>
                <a:gd name="connsiteY2070" fmla="*/ 2074657 h 6689084"/>
                <a:gd name="connsiteX2071" fmla="*/ 2154170 w 6689088"/>
                <a:gd name="connsiteY2071" fmla="*/ 2075019 h 6689084"/>
                <a:gd name="connsiteX2072" fmla="*/ 2153808 w 6689088"/>
                <a:gd name="connsiteY2072" fmla="*/ 2075385 h 6689084"/>
                <a:gd name="connsiteX2073" fmla="*/ 2153445 w 6689088"/>
                <a:gd name="connsiteY2073" fmla="*/ 2075019 h 6689084"/>
                <a:gd name="connsiteX2074" fmla="*/ 2153808 w 6689088"/>
                <a:gd name="connsiteY2074" fmla="*/ 2074657 h 6689084"/>
                <a:gd name="connsiteX2075" fmla="*/ 1999864 w 6689088"/>
                <a:gd name="connsiteY2075" fmla="*/ 2074295 h 6689084"/>
                <a:gd name="connsiteX2076" fmla="*/ 2000588 w 6689088"/>
                <a:gd name="connsiteY2076" fmla="*/ 2075023 h 6689084"/>
                <a:gd name="connsiteX2077" fmla="*/ 1999864 w 6689088"/>
                <a:gd name="connsiteY2077" fmla="*/ 2075747 h 6689084"/>
                <a:gd name="connsiteX2078" fmla="*/ 1999136 w 6689088"/>
                <a:gd name="connsiteY2078" fmla="*/ 2075023 h 6689084"/>
                <a:gd name="connsiteX2079" fmla="*/ 1999864 w 6689088"/>
                <a:gd name="connsiteY2079" fmla="*/ 2074295 h 6689084"/>
                <a:gd name="connsiteX2080" fmla="*/ 2922458 w 6689088"/>
                <a:gd name="connsiteY2080" fmla="*/ 2073205 h 6689084"/>
                <a:gd name="connsiteX2081" fmla="*/ 2923910 w 6689088"/>
                <a:gd name="connsiteY2081" fmla="*/ 2074657 h 6689084"/>
                <a:gd name="connsiteX2082" fmla="*/ 2922458 w 6689088"/>
                <a:gd name="connsiteY2082" fmla="*/ 2076110 h 6689084"/>
                <a:gd name="connsiteX2083" fmla="*/ 2921006 w 6689088"/>
                <a:gd name="connsiteY2083" fmla="*/ 2074657 h 6689084"/>
                <a:gd name="connsiteX2084" fmla="*/ 2922458 w 6689088"/>
                <a:gd name="connsiteY2084" fmla="*/ 2073205 h 6689084"/>
                <a:gd name="connsiteX2085" fmla="*/ 3076406 w 6689088"/>
                <a:gd name="connsiteY2085" fmla="*/ 2072843 h 6689084"/>
                <a:gd name="connsiteX2086" fmla="*/ 3078582 w 6689088"/>
                <a:gd name="connsiteY2086" fmla="*/ 2075023 h 6689084"/>
                <a:gd name="connsiteX2087" fmla="*/ 3076406 w 6689088"/>
                <a:gd name="connsiteY2087" fmla="*/ 2077200 h 6689084"/>
                <a:gd name="connsiteX2088" fmla="*/ 3074225 w 6689088"/>
                <a:gd name="connsiteY2088" fmla="*/ 2075023 h 6689084"/>
                <a:gd name="connsiteX2089" fmla="*/ 3076406 w 6689088"/>
                <a:gd name="connsiteY2089" fmla="*/ 2072843 h 6689084"/>
                <a:gd name="connsiteX2090" fmla="*/ 3230353 w 6689088"/>
                <a:gd name="connsiteY2090" fmla="*/ 2071753 h 6689084"/>
                <a:gd name="connsiteX2091" fmla="*/ 3233620 w 6689088"/>
                <a:gd name="connsiteY2091" fmla="*/ 2075019 h 6689084"/>
                <a:gd name="connsiteX2092" fmla="*/ 3230353 w 6689088"/>
                <a:gd name="connsiteY2092" fmla="*/ 2078290 h 6689084"/>
                <a:gd name="connsiteX2093" fmla="*/ 3227086 w 6689088"/>
                <a:gd name="connsiteY2093" fmla="*/ 2075019 h 6689084"/>
                <a:gd name="connsiteX2094" fmla="*/ 3230353 w 6689088"/>
                <a:gd name="connsiteY2094" fmla="*/ 2071753 h 6689084"/>
                <a:gd name="connsiteX2095" fmla="*/ 3383934 w 6689088"/>
                <a:gd name="connsiteY2095" fmla="*/ 2070662 h 6689084"/>
                <a:gd name="connsiteX2096" fmla="*/ 3388291 w 6689088"/>
                <a:gd name="connsiteY2096" fmla="*/ 2075019 h 6689084"/>
                <a:gd name="connsiteX2097" fmla="*/ 3383934 w 6689088"/>
                <a:gd name="connsiteY2097" fmla="*/ 2079376 h 6689084"/>
                <a:gd name="connsiteX2098" fmla="*/ 3379577 w 6689088"/>
                <a:gd name="connsiteY2098" fmla="*/ 2075019 h 6689084"/>
                <a:gd name="connsiteX2099" fmla="*/ 3383934 w 6689088"/>
                <a:gd name="connsiteY2099" fmla="*/ 2070662 h 6689084"/>
                <a:gd name="connsiteX2100" fmla="*/ 3537886 w 6689088"/>
                <a:gd name="connsiteY2100" fmla="*/ 2069210 h 6689084"/>
                <a:gd name="connsiteX2101" fmla="*/ 3543695 w 6689088"/>
                <a:gd name="connsiteY2101" fmla="*/ 2075019 h 6689084"/>
                <a:gd name="connsiteX2102" fmla="*/ 3537886 w 6689088"/>
                <a:gd name="connsiteY2102" fmla="*/ 2080829 h 6689084"/>
                <a:gd name="connsiteX2103" fmla="*/ 3532076 w 6689088"/>
                <a:gd name="connsiteY2103" fmla="*/ 2075019 h 6689084"/>
                <a:gd name="connsiteX2104" fmla="*/ 3537886 w 6689088"/>
                <a:gd name="connsiteY2104" fmla="*/ 2069210 h 6689084"/>
                <a:gd name="connsiteX2105" fmla="*/ 3691467 w 6689088"/>
                <a:gd name="connsiteY2105" fmla="*/ 2067758 h 6689084"/>
                <a:gd name="connsiteX2106" fmla="*/ 3698728 w 6689088"/>
                <a:gd name="connsiteY2106" fmla="*/ 2075019 h 6689084"/>
                <a:gd name="connsiteX2107" fmla="*/ 3691467 w 6689088"/>
                <a:gd name="connsiteY2107" fmla="*/ 2082281 h 6689084"/>
                <a:gd name="connsiteX2108" fmla="*/ 3684205 w 6689088"/>
                <a:gd name="connsiteY2108" fmla="*/ 2075019 h 6689084"/>
                <a:gd name="connsiteX2109" fmla="*/ 3691467 w 6689088"/>
                <a:gd name="connsiteY2109" fmla="*/ 2067758 h 6689084"/>
                <a:gd name="connsiteX2110" fmla="*/ 3845414 w 6689088"/>
                <a:gd name="connsiteY2110" fmla="*/ 2065943 h 6689084"/>
                <a:gd name="connsiteX2111" fmla="*/ 3854494 w 6689088"/>
                <a:gd name="connsiteY2111" fmla="*/ 2075019 h 6689084"/>
                <a:gd name="connsiteX2112" fmla="*/ 3845414 w 6689088"/>
                <a:gd name="connsiteY2112" fmla="*/ 2084099 h 6689084"/>
                <a:gd name="connsiteX2113" fmla="*/ 3836338 w 6689088"/>
                <a:gd name="connsiteY2113" fmla="*/ 2075019 h 6689084"/>
                <a:gd name="connsiteX2114" fmla="*/ 3845414 w 6689088"/>
                <a:gd name="connsiteY2114" fmla="*/ 2065943 h 6689084"/>
                <a:gd name="connsiteX2115" fmla="*/ 3999000 w 6689088"/>
                <a:gd name="connsiteY2115" fmla="*/ 2064853 h 6689084"/>
                <a:gd name="connsiteX2116" fmla="*/ 4009166 w 6689088"/>
                <a:gd name="connsiteY2116" fmla="*/ 2075019 h 6689084"/>
                <a:gd name="connsiteX2117" fmla="*/ 3999000 w 6689088"/>
                <a:gd name="connsiteY2117" fmla="*/ 2085186 h 6689084"/>
                <a:gd name="connsiteX2118" fmla="*/ 3988833 w 6689088"/>
                <a:gd name="connsiteY2118" fmla="*/ 2075019 h 6689084"/>
                <a:gd name="connsiteX2119" fmla="*/ 3999000 w 6689088"/>
                <a:gd name="connsiteY2119" fmla="*/ 2064853 h 6689084"/>
                <a:gd name="connsiteX2120" fmla="*/ 4152947 w 6689088"/>
                <a:gd name="connsiteY2120" fmla="*/ 2063038 h 6689084"/>
                <a:gd name="connsiteX2121" fmla="*/ 4164932 w 6689088"/>
                <a:gd name="connsiteY2121" fmla="*/ 2075019 h 6689084"/>
                <a:gd name="connsiteX2122" fmla="*/ 4152947 w 6689088"/>
                <a:gd name="connsiteY2122" fmla="*/ 2087000 h 6689084"/>
                <a:gd name="connsiteX2123" fmla="*/ 4140966 w 6689088"/>
                <a:gd name="connsiteY2123" fmla="*/ 2075019 h 6689084"/>
                <a:gd name="connsiteX2124" fmla="*/ 4152947 w 6689088"/>
                <a:gd name="connsiteY2124" fmla="*/ 2063038 h 6689084"/>
                <a:gd name="connsiteX2125" fmla="*/ 4306528 w 6689088"/>
                <a:gd name="connsiteY2125" fmla="*/ 2061224 h 6689084"/>
                <a:gd name="connsiteX2126" fmla="*/ 4320328 w 6689088"/>
                <a:gd name="connsiteY2126" fmla="*/ 2075023 h 6689084"/>
                <a:gd name="connsiteX2127" fmla="*/ 4306528 w 6689088"/>
                <a:gd name="connsiteY2127" fmla="*/ 2088818 h 6689084"/>
                <a:gd name="connsiteX2128" fmla="*/ 4292733 w 6689088"/>
                <a:gd name="connsiteY2128" fmla="*/ 2075023 h 6689084"/>
                <a:gd name="connsiteX2129" fmla="*/ 4306528 w 6689088"/>
                <a:gd name="connsiteY2129" fmla="*/ 2061224 h 6689084"/>
                <a:gd name="connsiteX2130" fmla="*/ 4460476 w 6689088"/>
                <a:gd name="connsiteY2130" fmla="*/ 2059772 h 6689084"/>
                <a:gd name="connsiteX2131" fmla="*/ 4475728 w 6689088"/>
                <a:gd name="connsiteY2131" fmla="*/ 2075023 h 6689084"/>
                <a:gd name="connsiteX2132" fmla="*/ 4460476 w 6689088"/>
                <a:gd name="connsiteY2132" fmla="*/ 2090271 h 6689084"/>
                <a:gd name="connsiteX2133" fmla="*/ 4445228 w 6689088"/>
                <a:gd name="connsiteY2133" fmla="*/ 2075023 h 6689084"/>
                <a:gd name="connsiteX2134" fmla="*/ 4460476 w 6689088"/>
                <a:gd name="connsiteY2134" fmla="*/ 2059772 h 6689084"/>
                <a:gd name="connsiteX2135" fmla="*/ 4614065 w 6689088"/>
                <a:gd name="connsiteY2135" fmla="*/ 2057957 h 6689084"/>
                <a:gd name="connsiteX2136" fmla="*/ 4631131 w 6689088"/>
                <a:gd name="connsiteY2136" fmla="*/ 2075023 h 6689084"/>
                <a:gd name="connsiteX2137" fmla="*/ 4614065 w 6689088"/>
                <a:gd name="connsiteY2137" fmla="*/ 2092085 h 6689084"/>
                <a:gd name="connsiteX2138" fmla="*/ 4596999 w 6689088"/>
                <a:gd name="connsiteY2138" fmla="*/ 2075023 h 6689084"/>
                <a:gd name="connsiteX2139" fmla="*/ 4614065 w 6689088"/>
                <a:gd name="connsiteY2139" fmla="*/ 2057957 h 6689084"/>
                <a:gd name="connsiteX2140" fmla="*/ 4768008 w 6689088"/>
                <a:gd name="connsiteY2140" fmla="*/ 2055777 h 6689084"/>
                <a:gd name="connsiteX2141" fmla="*/ 4787255 w 6689088"/>
                <a:gd name="connsiteY2141" fmla="*/ 2075019 h 6689084"/>
                <a:gd name="connsiteX2142" fmla="*/ 4768008 w 6689088"/>
                <a:gd name="connsiteY2142" fmla="*/ 2094266 h 6689084"/>
                <a:gd name="connsiteX2143" fmla="*/ 4748766 w 6689088"/>
                <a:gd name="connsiteY2143" fmla="*/ 2075019 h 6689084"/>
                <a:gd name="connsiteX2144" fmla="*/ 4768008 w 6689088"/>
                <a:gd name="connsiteY2144" fmla="*/ 2055777 h 6689084"/>
                <a:gd name="connsiteX2145" fmla="*/ 4921594 w 6689088"/>
                <a:gd name="connsiteY2145" fmla="*/ 2053600 h 6689084"/>
                <a:gd name="connsiteX2146" fmla="*/ 4943013 w 6689088"/>
                <a:gd name="connsiteY2146" fmla="*/ 2075023 h 6689084"/>
                <a:gd name="connsiteX2147" fmla="*/ 4921594 w 6689088"/>
                <a:gd name="connsiteY2147" fmla="*/ 2096446 h 6689084"/>
                <a:gd name="connsiteX2148" fmla="*/ 4900171 w 6689088"/>
                <a:gd name="connsiteY2148" fmla="*/ 2075023 h 6689084"/>
                <a:gd name="connsiteX2149" fmla="*/ 4921594 w 6689088"/>
                <a:gd name="connsiteY2149" fmla="*/ 2053600 h 6689084"/>
                <a:gd name="connsiteX2150" fmla="*/ 5075545 w 6689088"/>
                <a:gd name="connsiteY2150" fmla="*/ 2052148 h 6689084"/>
                <a:gd name="connsiteX2151" fmla="*/ 5098416 w 6689088"/>
                <a:gd name="connsiteY2151" fmla="*/ 2075023 h 6689084"/>
                <a:gd name="connsiteX2152" fmla="*/ 5075545 w 6689088"/>
                <a:gd name="connsiteY2152" fmla="*/ 2097895 h 6689084"/>
                <a:gd name="connsiteX2153" fmla="*/ 5052670 w 6689088"/>
                <a:gd name="connsiteY2153" fmla="*/ 2075023 h 6689084"/>
                <a:gd name="connsiteX2154" fmla="*/ 5075545 w 6689088"/>
                <a:gd name="connsiteY2154" fmla="*/ 2052148 h 6689084"/>
                <a:gd name="connsiteX2155" fmla="*/ 5229126 w 6689088"/>
                <a:gd name="connsiteY2155" fmla="*/ 2049968 h 6689084"/>
                <a:gd name="connsiteX2156" fmla="*/ 5254182 w 6689088"/>
                <a:gd name="connsiteY2156" fmla="*/ 2075019 h 6689084"/>
                <a:gd name="connsiteX2157" fmla="*/ 5229126 w 6689088"/>
                <a:gd name="connsiteY2157" fmla="*/ 2100075 h 6689084"/>
                <a:gd name="connsiteX2158" fmla="*/ 5204074 w 6689088"/>
                <a:gd name="connsiteY2158" fmla="*/ 2075019 h 6689084"/>
                <a:gd name="connsiteX2159" fmla="*/ 5229126 w 6689088"/>
                <a:gd name="connsiteY2159" fmla="*/ 2049968 h 6689084"/>
                <a:gd name="connsiteX2160" fmla="*/ 5383074 w 6689088"/>
                <a:gd name="connsiteY2160" fmla="*/ 2047791 h 6689084"/>
                <a:gd name="connsiteX2161" fmla="*/ 5410306 w 6689088"/>
                <a:gd name="connsiteY2161" fmla="*/ 2075023 h 6689084"/>
                <a:gd name="connsiteX2162" fmla="*/ 5383074 w 6689088"/>
                <a:gd name="connsiteY2162" fmla="*/ 2102256 h 6689084"/>
                <a:gd name="connsiteX2163" fmla="*/ 5355842 w 6689088"/>
                <a:gd name="connsiteY2163" fmla="*/ 2075023 h 6689084"/>
                <a:gd name="connsiteX2164" fmla="*/ 5383074 w 6689088"/>
                <a:gd name="connsiteY2164" fmla="*/ 2047791 h 6689084"/>
                <a:gd name="connsiteX2165" fmla="*/ 5537018 w 6689088"/>
                <a:gd name="connsiteY2165" fmla="*/ 2045248 h 6689084"/>
                <a:gd name="connsiteX2166" fmla="*/ 5566792 w 6689088"/>
                <a:gd name="connsiteY2166" fmla="*/ 2075023 h 6689084"/>
                <a:gd name="connsiteX2167" fmla="*/ 5537018 w 6689088"/>
                <a:gd name="connsiteY2167" fmla="*/ 2104794 h 6689084"/>
                <a:gd name="connsiteX2168" fmla="*/ 5507246 w 6689088"/>
                <a:gd name="connsiteY2168" fmla="*/ 2075023 h 6689084"/>
                <a:gd name="connsiteX2169" fmla="*/ 5537018 w 6689088"/>
                <a:gd name="connsiteY2169" fmla="*/ 2045248 h 6689084"/>
                <a:gd name="connsiteX2170" fmla="*/ 5690606 w 6689088"/>
                <a:gd name="connsiteY2170" fmla="*/ 2043068 h 6689084"/>
                <a:gd name="connsiteX2171" fmla="*/ 5722558 w 6689088"/>
                <a:gd name="connsiteY2171" fmla="*/ 2075019 h 6689084"/>
                <a:gd name="connsiteX2172" fmla="*/ 5690606 w 6689088"/>
                <a:gd name="connsiteY2172" fmla="*/ 2106971 h 6689084"/>
                <a:gd name="connsiteX2173" fmla="*/ 5658655 w 6689088"/>
                <a:gd name="connsiteY2173" fmla="*/ 2075019 h 6689084"/>
                <a:gd name="connsiteX2174" fmla="*/ 5690606 w 6689088"/>
                <a:gd name="connsiteY2174" fmla="*/ 2043068 h 6689084"/>
                <a:gd name="connsiteX2175" fmla="*/ 5844554 w 6689088"/>
                <a:gd name="connsiteY2175" fmla="*/ 2041254 h 6689084"/>
                <a:gd name="connsiteX2176" fmla="*/ 5878320 w 6689088"/>
                <a:gd name="connsiteY2176" fmla="*/ 2075019 h 6689084"/>
                <a:gd name="connsiteX2177" fmla="*/ 5844554 w 6689088"/>
                <a:gd name="connsiteY2177" fmla="*/ 2108789 h 6689084"/>
                <a:gd name="connsiteX2178" fmla="*/ 5810788 w 6689088"/>
                <a:gd name="connsiteY2178" fmla="*/ 2075019 h 6689084"/>
                <a:gd name="connsiteX2179" fmla="*/ 5844554 w 6689088"/>
                <a:gd name="connsiteY2179" fmla="*/ 2041254 h 6689084"/>
                <a:gd name="connsiteX2180" fmla="*/ 5998136 w 6689088"/>
                <a:gd name="connsiteY2180" fmla="*/ 2038711 h 6689084"/>
                <a:gd name="connsiteX2181" fmla="*/ 6034444 w 6689088"/>
                <a:gd name="connsiteY2181" fmla="*/ 2075019 h 6689084"/>
                <a:gd name="connsiteX2182" fmla="*/ 5998136 w 6689088"/>
                <a:gd name="connsiteY2182" fmla="*/ 2111328 h 6689084"/>
                <a:gd name="connsiteX2183" fmla="*/ 5961827 w 6689088"/>
                <a:gd name="connsiteY2183" fmla="*/ 2075019 h 6689084"/>
                <a:gd name="connsiteX2184" fmla="*/ 5998136 w 6689088"/>
                <a:gd name="connsiteY2184" fmla="*/ 2038711 h 6689084"/>
                <a:gd name="connsiteX2185" fmla="*/ 6152083 w 6689088"/>
                <a:gd name="connsiteY2185" fmla="*/ 2036172 h 6689084"/>
                <a:gd name="connsiteX2186" fmla="*/ 6190934 w 6689088"/>
                <a:gd name="connsiteY2186" fmla="*/ 2075023 h 6689084"/>
                <a:gd name="connsiteX2187" fmla="*/ 6152083 w 6689088"/>
                <a:gd name="connsiteY2187" fmla="*/ 2113870 h 6689084"/>
                <a:gd name="connsiteX2188" fmla="*/ 6113236 w 6689088"/>
                <a:gd name="connsiteY2188" fmla="*/ 2075023 h 6689084"/>
                <a:gd name="connsiteX2189" fmla="*/ 6152083 w 6689088"/>
                <a:gd name="connsiteY2189" fmla="*/ 2036172 h 6689084"/>
                <a:gd name="connsiteX2190" fmla="*/ 6305668 w 6689088"/>
                <a:gd name="connsiteY2190" fmla="*/ 2033992 h 6689084"/>
                <a:gd name="connsiteX2191" fmla="*/ 6346700 w 6689088"/>
                <a:gd name="connsiteY2191" fmla="*/ 2075019 h 6689084"/>
                <a:gd name="connsiteX2192" fmla="*/ 6305668 w 6689088"/>
                <a:gd name="connsiteY2192" fmla="*/ 2116047 h 6689084"/>
                <a:gd name="connsiteX2193" fmla="*/ 6264640 w 6689088"/>
                <a:gd name="connsiteY2193" fmla="*/ 2075019 h 6689084"/>
                <a:gd name="connsiteX2194" fmla="*/ 6305668 w 6689088"/>
                <a:gd name="connsiteY2194" fmla="*/ 2033992 h 6689084"/>
                <a:gd name="connsiteX2195" fmla="*/ 6459616 w 6689088"/>
                <a:gd name="connsiteY2195" fmla="*/ 2031449 h 6689084"/>
                <a:gd name="connsiteX2196" fmla="*/ 6503186 w 6689088"/>
                <a:gd name="connsiteY2196" fmla="*/ 2075019 h 6689084"/>
                <a:gd name="connsiteX2197" fmla="*/ 6459616 w 6689088"/>
                <a:gd name="connsiteY2197" fmla="*/ 2118590 h 6689084"/>
                <a:gd name="connsiteX2198" fmla="*/ 6416046 w 6689088"/>
                <a:gd name="connsiteY2198" fmla="*/ 2075019 h 6689084"/>
                <a:gd name="connsiteX2199" fmla="*/ 6459616 w 6689088"/>
                <a:gd name="connsiteY2199" fmla="*/ 2031449 h 6689084"/>
                <a:gd name="connsiteX2200" fmla="*/ 6613200 w 6689088"/>
                <a:gd name="connsiteY2200" fmla="*/ 2028911 h 6689084"/>
                <a:gd name="connsiteX2201" fmla="*/ 6659313 w 6689088"/>
                <a:gd name="connsiteY2201" fmla="*/ 2075023 h 6689084"/>
                <a:gd name="connsiteX2202" fmla="*/ 6613200 w 6689088"/>
                <a:gd name="connsiteY2202" fmla="*/ 2121136 h 6689084"/>
                <a:gd name="connsiteX2203" fmla="*/ 6567088 w 6689088"/>
                <a:gd name="connsiteY2203" fmla="*/ 2075023 h 6689084"/>
                <a:gd name="connsiteX2204" fmla="*/ 6613200 w 6689088"/>
                <a:gd name="connsiteY2204" fmla="*/ 2028911 h 6689084"/>
                <a:gd name="connsiteX2205" fmla="*/ 2614925 w 6689088"/>
                <a:gd name="connsiteY2205" fmla="*/ 1921072 h 6689084"/>
                <a:gd name="connsiteX2206" fmla="*/ 2615288 w 6689088"/>
                <a:gd name="connsiteY2206" fmla="*/ 1921434 h 6689084"/>
                <a:gd name="connsiteX2207" fmla="*/ 2614925 w 6689088"/>
                <a:gd name="connsiteY2207" fmla="*/ 1921800 h 6689084"/>
                <a:gd name="connsiteX2208" fmla="*/ 2614563 w 6689088"/>
                <a:gd name="connsiteY2208" fmla="*/ 1921434 h 6689084"/>
                <a:gd name="connsiteX2209" fmla="*/ 2614925 w 6689088"/>
                <a:gd name="connsiteY2209" fmla="*/ 1921072 h 6689084"/>
                <a:gd name="connsiteX2210" fmla="*/ 2153808 w 6689088"/>
                <a:gd name="connsiteY2210" fmla="*/ 1921072 h 6689084"/>
                <a:gd name="connsiteX2211" fmla="*/ 2154170 w 6689088"/>
                <a:gd name="connsiteY2211" fmla="*/ 1921434 h 6689084"/>
                <a:gd name="connsiteX2212" fmla="*/ 2153808 w 6689088"/>
                <a:gd name="connsiteY2212" fmla="*/ 1921800 h 6689084"/>
                <a:gd name="connsiteX2213" fmla="*/ 2153445 w 6689088"/>
                <a:gd name="connsiteY2213" fmla="*/ 1921434 h 6689084"/>
                <a:gd name="connsiteX2214" fmla="*/ 2153808 w 6689088"/>
                <a:gd name="connsiteY2214" fmla="*/ 1921072 h 6689084"/>
                <a:gd name="connsiteX2215" fmla="*/ 1999860 w 6689088"/>
                <a:gd name="connsiteY2215" fmla="*/ 1921072 h 6689084"/>
                <a:gd name="connsiteX2216" fmla="*/ 2000222 w 6689088"/>
                <a:gd name="connsiteY2216" fmla="*/ 1921434 h 6689084"/>
                <a:gd name="connsiteX2217" fmla="*/ 1999860 w 6689088"/>
                <a:gd name="connsiteY2217" fmla="*/ 1921800 h 6689084"/>
                <a:gd name="connsiteX2218" fmla="*/ 1999498 w 6689088"/>
                <a:gd name="connsiteY2218" fmla="*/ 1921434 h 6689084"/>
                <a:gd name="connsiteX2219" fmla="*/ 1999860 w 6689088"/>
                <a:gd name="connsiteY2219" fmla="*/ 1921072 h 6689084"/>
                <a:gd name="connsiteX2220" fmla="*/ 1846279 w 6689088"/>
                <a:gd name="connsiteY2220" fmla="*/ 1920710 h 6689084"/>
                <a:gd name="connsiteX2221" fmla="*/ 1847003 w 6689088"/>
                <a:gd name="connsiteY2221" fmla="*/ 1921434 h 6689084"/>
                <a:gd name="connsiteX2222" fmla="*/ 1846279 w 6689088"/>
                <a:gd name="connsiteY2222" fmla="*/ 1922162 h 6689084"/>
                <a:gd name="connsiteX2223" fmla="*/ 1845551 w 6689088"/>
                <a:gd name="connsiteY2223" fmla="*/ 1921434 h 6689084"/>
                <a:gd name="connsiteX2224" fmla="*/ 1846279 w 6689088"/>
                <a:gd name="connsiteY2224" fmla="*/ 1920710 h 6689084"/>
                <a:gd name="connsiteX2225" fmla="*/ 2768873 w 6689088"/>
                <a:gd name="connsiteY2225" fmla="*/ 1919620 h 6689084"/>
                <a:gd name="connsiteX2226" fmla="*/ 2770325 w 6689088"/>
                <a:gd name="connsiteY2226" fmla="*/ 1921072 h 6689084"/>
                <a:gd name="connsiteX2227" fmla="*/ 2768873 w 6689088"/>
                <a:gd name="connsiteY2227" fmla="*/ 1922524 h 6689084"/>
                <a:gd name="connsiteX2228" fmla="*/ 2767421 w 6689088"/>
                <a:gd name="connsiteY2228" fmla="*/ 1921072 h 6689084"/>
                <a:gd name="connsiteX2229" fmla="*/ 2768873 w 6689088"/>
                <a:gd name="connsiteY2229" fmla="*/ 1919620 h 6689084"/>
                <a:gd name="connsiteX2230" fmla="*/ 2922454 w 6689088"/>
                <a:gd name="connsiteY2230" fmla="*/ 1918895 h 6689084"/>
                <a:gd name="connsiteX2231" fmla="*/ 2924635 w 6689088"/>
                <a:gd name="connsiteY2231" fmla="*/ 1921076 h 6689084"/>
                <a:gd name="connsiteX2232" fmla="*/ 2922454 w 6689088"/>
                <a:gd name="connsiteY2232" fmla="*/ 1923252 h 6689084"/>
                <a:gd name="connsiteX2233" fmla="*/ 2920278 w 6689088"/>
                <a:gd name="connsiteY2233" fmla="*/ 1921076 h 6689084"/>
                <a:gd name="connsiteX2234" fmla="*/ 2922454 w 6689088"/>
                <a:gd name="connsiteY2234" fmla="*/ 1918895 h 6689084"/>
                <a:gd name="connsiteX2235" fmla="*/ 3076406 w 6689088"/>
                <a:gd name="connsiteY2235" fmla="*/ 1918167 h 6689084"/>
                <a:gd name="connsiteX2236" fmla="*/ 3079672 w 6689088"/>
                <a:gd name="connsiteY2236" fmla="*/ 1921434 h 6689084"/>
                <a:gd name="connsiteX2237" fmla="*/ 3076406 w 6689088"/>
                <a:gd name="connsiteY2237" fmla="*/ 1924701 h 6689084"/>
                <a:gd name="connsiteX2238" fmla="*/ 3073135 w 6689088"/>
                <a:gd name="connsiteY2238" fmla="*/ 1921434 h 6689084"/>
                <a:gd name="connsiteX2239" fmla="*/ 3076406 w 6689088"/>
                <a:gd name="connsiteY2239" fmla="*/ 1918167 h 6689084"/>
                <a:gd name="connsiteX2240" fmla="*/ 3230353 w 6689088"/>
                <a:gd name="connsiteY2240" fmla="*/ 1916715 h 6689084"/>
                <a:gd name="connsiteX2241" fmla="*/ 3234710 w 6689088"/>
                <a:gd name="connsiteY2241" fmla="*/ 1921072 h 6689084"/>
                <a:gd name="connsiteX2242" fmla="*/ 3230353 w 6689088"/>
                <a:gd name="connsiteY2242" fmla="*/ 1925429 h 6689084"/>
                <a:gd name="connsiteX2243" fmla="*/ 3225996 w 6689088"/>
                <a:gd name="connsiteY2243" fmla="*/ 1921072 h 6689084"/>
                <a:gd name="connsiteX2244" fmla="*/ 3230353 w 6689088"/>
                <a:gd name="connsiteY2244" fmla="*/ 1916715 h 6689084"/>
                <a:gd name="connsiteX2245" fmla="*/ 3383938 w 6689088"/>
                <a:gd name="connsiteY2245" fmla="*/ 1915625 h 6689084"/>
                <a:gd name="connsiteX2246" fmla="*/ 3389748 w 6689088"/>
                <a:gd name="connsiteY2246" fmla="*/ 1921434 h 6689084"/>
                <a:gd name="connsiteX2247" fmla="*/ 3383938 w 6689088"/>
                <a:gd name="connsiteY2247" fmla="*/ 1927243 h 6689084"/>
                <a:gd name="connsiteX2248" fmla="*/ 3378129 w 6689088"/>
                <a:gd name="connsiteY2248" fmla="*/ 1921434 h 6689084"/>
                <a:gd name="connsiteX2249" fmla="*/ 3383938 w 6689088"/>
                <a:gd name="connsiteY2249" fmla="*/ 1915625 h 6689084"/>
                <a:gd name="connsiteX2250" fmla="*/ 3537882 w 6689088"/>
                <a:gd name="connsiteY2250" fmla="*/ 1913810 h 6689084"/>
                <a:gd name="connsiteX2251" fmla="*/ 3545143 w 6689088"/>
                <a:gd name="connsiteY2251" fmla="*/ 1921072 h 6689084"/>
                <a:gd name="connsiteX2252" fmla="*/ 3537882 w 6689088"/>
                <a:gd name="connsiteY2252" fmla="*/ 1928334 h 6689084"/>
                <a:gd name="connsiteX2253" fmla="*/ 3530620 w 6689088"/>
                <a:gd name="connsiteY2253" fmla="*/ 1921072 h 6689084"/>
                <a:gd name="connsiteX2254" fmla="*/ 3537882 w 6689088"/>
                <a:gd name="connsiteY2254" fmla="*/ 1913810 h 6689084"/>
                <a:gd name="connsiteX2255" fmla="*/ 3691467 w 6689088"/>
                <a:gd name="connsiteY2255" fmla="*/ 1911996 h 6689084"/>
                <a:gd name="connsiteX2256" fmla="*/ 3700547 w 6689088"/>
                <a:gd name="connsiteY2256" fmla="*/ 1921072 h 6689084"/>
                <a:gd name="connsiteX2257" fmla="*/ 3691467 w 6689088"/>
                <a:gd name="connsiteY2257" fmla="*/ 1930152 h 6689084"/>
                <a:gd name="connsiteX2258" fmla="*/ 3682391 w 6689088"/>
                <a:gd name="connsiteY2258" fmla="*/ 1921072 h 6689084"/>
                <a:gd name="connsiteX2259" fmla="*/ 3691467 w 6689088"/>
                <a:gd name="connsiteY2259" fmla="*/ 1911996 h 6689084"/>
                <a:gd name="connsiteX2260" fmla="*/ 3845414 w 6689088"/>
                <a:gd name="connsiteY2260" fmla="*/ 1911268 h 6689084"/>
                <a:gd name="connsiteX2261" fmla="*/ 3855581 w 6689088"/>
                <a:gd name="connsiteY2261" fmla="*/ 1921434 h 6689084"/>
                <a:gd name="connsiteX2262" fmla="*/ 3845414 w 6689088"/>
                <a:gd name="connsiteY2262" fmla="*/ 1931600 h 6689084"/>
                <a:gd name="connsiteX2263" fmla="*/ 3835248 w 6689088"/>
                <a:gd name="connsiteY2263" fmla="*/ 1921434 h 6689084"/>
                <a:gd name="connsiteX2264" fmla="*/ 3845414 w 6689088"/>
                <a:gd name="connsiteY2264" fmla="*/ 1911268 h 6689084"/>
                <a:gd name="connsiteX2265" fmla="*/ 3999000 w 6689088"/>
                <a:gd name="connsiteY2265" fmla="*/ 1909091 h 6689084"/>
                <a:gd name="connsiteX2266" fmla="*/ 4010984 w 6689088"/>
                <a:gd name="connsiteY2266" fmla="*/ 1921072 h 6689084"/>
                <a:gd name="connsiteX2267" fmla="*/ 3999000 w 6689088"/>
                <a:gd name="connsiteY2267" fmla="*/ 1933053 h 6689084"/>
                <a:gd name="connsiteX2268" fmla="*/ 3987019 w 6689088"/>
                <a:gd name="connsiteY2268" fmla="*/ 1921072 h 6689084"/>
                <a:gd name="connsiteX2269" fmla="*/ 3999000 w 6689088"/>
                <a:gd name="connsiteY2269" fmla="*/ 1909091 h 6689084"/>
                <a:gd name="connsiteX2270" fmla="*/ 4152951 w 6689088"/>
                <a:gd name="connsiteY2270" fmla="*/ 1907277 h 6689084"/>
                <a:gd name="connsiteX2271" fmla="*/ 4166746 w 6689088"/>
                <a:gd name="connsiteY2271" fmla="*/ 1921076 h 6689084"/>
                <a:gd name="connsiteX2272" fmla="*/ 4152951 w 6689088"/>
                <a:gd name="connsiteY2272" fmla="*/ 1934871 h 6689084"/>
                <a:gd name="connsiteX2273" fmla="*/ 4139152 w 6689088"/>
                <a:gd name="connsiteY2273" fmla="*/ 1921076 h 6689084"/>
                <a:gd name="connsiteX2274" fmla="*/ 4152951 w 6689088"/>
                <a:gd name="connsiteY2274" fmla="*/ 1907277 h 6689084"/>
                <a:gd name="connsiteX2275" fmla="*/ 4306528 w 6689088"/>
                <a:gd name="connsiteY2275" fmla="*/ 1905824 h 6689084"/>
                <a:gd name="connsiteX2276" fmla="*/ 4321780 w 6689088"/>
                <a:gd name="connsiteY2276" fmla="*/ 1921072 h 6689084"/>
                <a:gd name="connsiteX2277" fmla="*/ 4306528 w 6689088"/>
                <a:gd name="connsiteY2277" fmla="*/ 1936323 h 6689084"/>
                <a:gd name="connsiteX2278" fmla="*/ 4291281 w 6689088"/>
                <a:gd name="connsiteY2278" fmla="*/ 1921072 h 6689084"/>
                <a:gd name="connsiteX2279" fmla="*/ 4306528 w 6689088"/>
                <a:gd name="connsiteY2279" fmla="*/ 1905824 h 6689084"/>
                <a:gd name="connsiteX2280" fmla="*/ 4460480 w 6689088"/>
                <a:gd name="connsiteY2280" fmla="*/ 1904006 h 6689084"/>
                <a:gd name="connsiteX2281" fmla="*/ 4477546 w 6689088"/>
                <a:gd name="connsiteY2281" fmla="*/ 1921072 h 6689084"/>
                <a:gd name="connsiteX2282" fmla="*/ 4460480 w 6689088"/>
                <a:gd name="connsiteY2282" fmla="*/ 1938138 h 6689084"/>
                <a:gd name="connsiteX2283" fmla="*/ 4443414 w 6689088"/>
                <a:gd name="connsiteY2283" fmla="*/ 1921072 h 6689084"/>
                <a:gd name="connsiteX2284" fmla="*/ 4460480 w 6689088"/>
                <a:gd name="connsiteY2284" fmla="*/ 1904006 h 6689084"/>
                <a:gd name="connsiteX2285" fmla="*/ 4614061 w 6689088"/>
                <a:gd name="connsiteY2285" fmla="*/ 1901830 h 6689084"/>
                <a:gd name="connsiteX2286" fmla="*/ 4633304 w 6689088"/>
                <a:gd name="connsiteY2286" fmla="*/ 1921072 h 6689084"/>
                <a:gd name="connsiteX2287" fmla="*/ 4614061 w 6689088"/>
                <a:gd name="connsiteY2287" fmla="*/ 1940314 h 6689084"/>
                <a:gd name="connsiteX2288" fmla="*/ 4594818 w 6689088"/>
                <a:gd name="connsiteY2288" fmla="*/ 1921072 h 6689084"/>
                <a:gd name="connsiteX2289" fmla="*/ 4614061 w 6689088"/>
                <a:gd name="connsiteY2289" fmla="*/ 1901830 h 6689084"/>
                <a:gd name="connsiteX2290" fmla="*/ 4768012 w 6689088"/>
                <a:gd name="connsiteY2290" fmla="*/ 1899649 h 6689084"/>
                <a:gd name="connsiteX2291" fmla="*/ 4789432 w 6689088"/>
                <a:gd name="connsiteY2291" fmla="*/ 1921072 h 6689084"/>
                <a:gd name="connsiteX2292" fmla="*/ 4768012 w 6689088"/>
                <a:gd name="connsiteY2292" fmla="*/ 1942495 h 6689084"/>
                <a:gd name="connsiteX2293" fmla="*/ 4746590 w 6689088"/>
                <a:gd name="connsiteY2293" fmla="*/ 1921072 h 6689084"/>
                <a:gd name="connsiteX2294" fmla="*/ 4768012 w 6689088"/>
                <a:gd name="connsiteY2294" fmla="*/ 1899649 h 6689084"/>
                <a:gd name="connsiteX2295" fmla="*/ 4921594 w 6689088"/>
                <a:gd name="connsiteY2295" fmla="*/ 1898563 h 6689084"/>
                <a:gd name="connsiteX2296" fmla="*/ 4944469 w 6689088"/>
                <a:gd name="connsiteY2296" fmla="*/ 1921438 h 6689084"/>
                <a:gd name="connsiteX2297" fmla="*/ 4921594 w 6689088"/>
                <a:gd name="connsiteY2297" fmla="*/ 1944309 h 6689084"/>
                <a:gd name="connsiteX2298" fmla="*/ 4898718 w 6689088"/>
                <a:gd name="connsiteY2298" fmla="*/ 1921438 h 6689084"/>
                <a:gd name="connsiteX2299" fmla="*/ 4921594 w 6689088"/>
                <a:gd name="connsiteY2299" fmla="*/ 1898563 h 6689084"/>
                <a:gd name="connsiteX2300" fmla="*/ 5075541 w 6689088"/>
                <a:gd name="connsiteY2300" fmla="*/ 1896382 h 6689084"/>
                <a:gd name="connsiteX2301" fmla="*/ 5100597 w 6689088"/>
                <a:gd name="connsiteY2301" fmla="*/ 1921434 h 6689084"/>
                <a:gd name="connsiteX2302" fmla="*/ 5075541 w 6689088"/>
                <a:gd name="connsiteY2302" fmla="*/ 1946490 h 6689084"/>
                <a:gd name="connsiteX2303" fmla="*/ 5050490 w 6689088"/>
                <a:gd name="connsiteY2303" fmla="*/ 1921434 h 6689084"/>
                <a:gd name="connsiteX2304" fmla="*/ 5075541 w 6689088"/>
                <a:gd name="connsiteY2304" fmla="*/ 1896382 h 6689084"/>
                <a:gd name="connsiteX2305" fmla="*/ 5229126 w 6689088"/>
                <a:gd name="connsiteY2305" fmla="*/ 1894206 h 6689084"/>
                <a:gd name="connsiteX2306" fmla="*/ 5256358 w 6689088"/>
                <a:gd name="connsiteY2306" fmla="*/ 1921438 h 6689084"/>
                <a:gd name="connsiteX2307" fmla="*/ 5229126 w 6689088"/>
                <a:gd name="connsiteY2307" fmla="*/ 1948670 h 6689084"/>
                <a:gd name="connsiteX2308" fmla="*/ 5201894 w 6689088"/>
                <a:gd name="connsiteY2308" fmla="*/ 1921438 h 6689084"/>
                <a:gd name="connsiteX2309" fmla="*/ 5229126 w 6689088"/>
                <a:gd name="connsiteY2309" fmla="*/ 1894206 h 6689084"/>
                <a:gd name="connsiteX2310" fmla="*/ 5383074 w 6689088"/>
                <a:gd name="connsiteY2310" fmla="*/ 1891301 h 6689084"/>
                <a:gd name="connsiteX2311" fmla="*/ 5412848 w 6689088"/>
                <a:gd name="connsiteY2311" fmla="*/ 1921072 h 6689084"/>
                <a:gd name="connsiteX2312" fmla="*/ 5383074 w 6689088"/>
                <a:gd name="connsiteY2312" fmla="*/ 1950847 h 6689084"/>
                <a:gd name="connsiteX2313" fmla="*/ 5353303 w 6689088"/>
                <a:gd name="connsiteY2313" fmla="*/ 1921072 h 6689084"/>
                <a:gd name="connsiteX2314" fmla="*/ 5383074 w 6689088"/>
                <a:gd name="connsiteY2314" fmla="*/ 1891301 h 6689084"/>
                <a:gd name="connsiteX2315" fmla="*/ 5536659 w 6689088"/>
                <a:gd name="connsiteY2315" fmla="*/ 1889121 h 6689084"/>
                <a:gd name="connsiteX2316" fmla="*/ 5568610 w 6689088"/>
                <a:gd name="connsiteY2316" fmla="*/ 1921072 h 6689084"/>
                <a:gd name="connsiteX2317" fmla="*/ 5536659 w 6689088"/>
                <a:gd name="connsiteY2317" fmla="*/ 1953023 h 6689084"/>
                <a:gd name="connsiteX2318" fmla="*/ 5504708 w 6689088"/>
                <a:gd name="connsiteY2318" fmla="*/ 1921072 h 6689084"/>
                <a:gd name="connsiteX2319" fmla="*/ 5536659 w 6689088"/>
                <a:gd name="connsiteY2319" fmla="*/ 1889121 h 6689084"/>
                <a:gd name="connsiteX2320" fmla="*/ 5690606 w 6689088"/>
                <a:gd name="connsiteY2320" fmla="*/ 1887306 h 6689084"/>
                <a:gd name="connsiteX2321" fmla="*/ 5724376 w 6689088"/>
                <a:gd name="connsiteY2321" fmla="*/ 1921072 h 6689084"/>
                <a:gd name="connsiteX2322" fmla="*/ 5690606 w 6689088"/>
                <a:gd name="connsiteY2322" fmla="*/ 1954842 h 6689084"/>
                <a:gd name="connsiteX2323" fmla="*/ 5656840 w 6689088"/>
                <a:gd name="connsiteY2323" fmla="*/ 1921072 h 6689084"/>
                <a:gd name="connsiteX2324" fmla="*/ 5690606 w 6689088"/>
                <a:gd name="connsiteY2324" fmla="*/ 1887306 h 6689084"/>
                <a:gd name="connsiteX2325" fmla="*/ 5844554 w 6689088"/>
                <a:gd name="connsiteY2325" fmla="*/ 1884764 h 6689084"/>
                <a:gd name="connsiteX2326" fmla="*/ 5880862 w 6689088"/>
                <a:gd name="connsiteY2326" fmla="*/ 1921072 h 6689084"/>
                <a:gd name="connsiteX2327" fmla="*/ 5844554 w 6689088"/>
                <a:gd name="connsiteY2327" fmla="*/ 1957380 h 6689084"/>
                <a:gd name="connsiteX2328" fmla="*/ 5808246 w 6689088"/>
                <a:gd name="connsiteY2328" fmla="*/ 1921072 h 6689084"/>
                <a:gd name="connsiteX2329" fmla="*/ 5844554 w 6689088"/>
                <a:gd name="connsiteY2329" fmla="*/ 1884764 h 6689084"/>
                <a:gd name="connsiteX2330" fmla="*/ 5998139 w 6689088"/>
                <a:gd name="connsiteY2330" fmla="*/ 1882225 h 6689084"/>
                <a:gd name="connsiteX2331" fmla="*/ 6036990 w 6689088"/>
                <a:gd name="connsiteY2331" fmla="*/ 1921076 h 6689084"/>
                <a:gd name="connsiteX2332" fmla="*/ 5998139 w 6689088"/>
                <a:gd name="connsiteY2332" fmla="*/ 1959923 h 6689084"/>
                <a:gd name="connsiteX2333" fmla="*/ 5959288 w 6689088"/>
                <a:gd name="connsiteY2333" fmla="*/ 1921076 h 6689084"/>
                <a:gd name="connsiteX2334" fmla="*/ 5998139 w 6689088"/>
                <a:gd name="connsiteY2334" fmla="*/ 1882225 h 6689084"/>
                <a:gd name="connsiteX2335" fmla="*/ 6152083 w 6689088"/>
                <a:gd name="connsiteY2335" fmla="*/ 1880045 h 6689084"/>
                <a:gd name="connsiteX2336" fmla="*/ 6193114 w 6689088"/>
                <a:gd name="connsiteY2336" fmla="*/ 1921072 h 6689084"/>
                <a:gd name="connsiteX2337" fmla="*/ 6152083 w 6689088"/>
                <a:gd name="connsiteY2337" fmla="*/ 1962103 h 6689084"/>
                <a:gd name="connsiteX2338" fmla="*/ 6111056 w 6689088"/>
                <a:gd name="connsiteY2338" fmla="*/ 1921072 h 6689084"/>
                <a:gd name="connsiteX2339" fmla="*/ 6152083 w 6689088"/>
                <a:gd name="connsiteY2339" fmla="*/ 1880045 h 6689084"/>
                <a:gd name="connsiteX2340" fmla="*/ 6305668 w 6689088"/>
                <a:gd name="connsiteY2340" fmla="*/ 1877502 h 6689084"/>
                <a:gd name="connsiteX2341" fmla="*/ 6349238 w 6689088"/>
                <a:gd name="connsiteY2341" fmla="*/ 1921072 h 6689084"/>
                <a:gd name="connsiteX2342" fmla="*/ 6305668 w 6689088"/>
                <a:gd name="connsiteY2342" fmla="*/ 1964642 h 6689084"/>
                <a:gd name="connsiteX2343" fmla="*/ 6262098 w 6689088"/>
                <a:gd name="connsiteY2343" fmla="*/ 1921072 h 6689084"/>
                <a:gd name="connsiteX2344" fmla="*/ 6305668 w 6689088"/>
                <a:gd name="connsiteY2344" fmla="*/ 1877502 h 6689084"/>
                <a:gd name="connsiteX2345" fmla="*/ 6459616 w 6689088"/>
                <a:gd name="connsiteY2345" fmla="*/ 1874959 h 6689084"/>
                <a:gd name="connsiteX2346" fmla="*/ 6505728 w 6689088"/>
                <a:gd name="connsiteY2346" fmla="*/ 1921072 h 6689084"/>
                <a:gd name="connsiteX2347" fmla="*/ 6459616 w 6689088"/>
                <a:gd name="connsiteY2347" fmla="*/ 1967184 h 6689084"/>
                <a:gd name="connsiteX2348" fmla="*/ 6413503 w 6689088"/>
                <a:gd name="connsiteY2348" fmla="*/ 1921072 h 6689084"/>
                <a:gd name="connsiteX2349" fmla="*/ 6459616 w 6689088"/>
                <a:gd name="connsiteY2349" fmla="*/ 1874959 h 6689084"/>
                <a:gd name="connsiteX2350" fmla="*/ 6613200 w 6689088"/>
                <a:gd name="connsiteY2350" fmla="*/ 1872421 h 6689084"/>
                <a:gd name="connsiteX2351" fmla="*/ 6661856 w 6689088"/>
                <a:gd name="connsiteY2351" fmla="*/ 1921076 h 6689084"/>
                <a:gd name="connsiteX2352" fmla="*/ 6613200 w 6689088"/>
                <a:gd name="connsiteY2352" fmla="*/ 1969727 h 6689084"/>
                <a:gd name="connsiteX2353" fmla="*/ 6564550 w 6689088"/>
                <a:gd name="connsiteY2353" fmla="*/ 1921076 h 6689084"/>
                <a:gd name="connsiteX2354" fmla="*/ 6613200 w 6689088"/>
                <a:gd name="connsiteY2354" fmla="*/ 1872421 h 6689084"/>
                <a:gd name="connsiteX2355" fmla="*/ 2461340 w 6689088"/>
                <a:gd name="connsiteY2355" fmla="*/ 1767125 h 6689084"/>
                <a:gd name="connsiteX2356" fmla="*/ 2461702 w 6689088"/>
                <a:gd name="connsiteY2356" fmla="*/ 1767487 h 6689084"/>
                <a:gd name="connsiteX2357" fmla="*/ 2461340 w 6689088"/>
                <a:gd name="connsiteY2357" fmla="*/ 1767853 h 6689084"/>
                <a:gd name="connsiteX2358" fmla="*/ 2460978 w 6689088"/>
                <a:gd name="connsiteY2358" fmla="*/ 1767487 h 6689084"/>
                <a:gd name="connsiteX2359" fmla="*/ 2461340 w 6689088"/>
                <a:gd name="connsiteY2359" fmla="*/ 1767125 h 6689084"/>
                <a:gd name="connsiteX2360" fmla="*/ 1999860 w 6689088"/>
                <a:gd name="connsiteY2360" fmla="*/ 1767125 h 6689084"/>
                <a:gd name="connsiteX2361" fmla="*/ 2000222 w 6689088"/>
                <a:gd name="connsiteY2361" fmla="*/ 1767487 h 6689084"/>
                <a:gd name="connsiteX2362" fmla="*/ 1999860 w 6689088"/>
                <a:gd name="connsiteY2362" fmla="*/ 1767853 h 6689084"/>
                <a:gd name="connsiteX2363" fmla="*/ 1999498 w 6689088"/>
                <a:gd name="connsiteY2363" fmla="*/ 1767487 h 6689084"/>
                <a:gd name="connsiteX2364" fmla="*/ 1999860 w 6689088"/>
                <a:gd name="connsiteY2364" fmla="*/ 1767125 h 6689084"/>
                <a:gd name="connsiteX2365" fmla="*/ 1846279 w 6689088"/>
                <a:gd name="connsiteY2365" fmla="*/ 1767125 h 6689084"/>
                <a:gd name="connsiteX2366" fmla="*/ 1846641 w 6689088"/>
                <a:gd name="connsiteY2366" fmla="*/ 1767487 h 6689084"/>
                <a:gd name="connsiteX2367" fmla="*/ 1846279 w 6689088"/>
                <a:gd name="connsiteY2367" fmla="*/ 1767853 h 6689084"/>
                <a:gd name="connsiteX2368" fmla="*/ 1845917 w 6689088"/>
                <a:gd name="connsiteY2368" fmla="*/ 1767487 h 6689084"/>
                <a:gd name="connsiteX2369" fmla="*/ 1846279 w 6689088"/>
                <a:gd name="connsiteY2369" fmla="*/ 1767125 h 6689084"/>
                <a:gd name="connsiteX2370" fmla="*/ 1692328 w 6689088"/>
                <a:gd name="connsiteY2370" fmla="*/ 1766762 h 6689084"/>
                <a:gd name="connsiteX2371" fmla="*/ 1693056 w 6689088"/>
                <a:gd name="connsiteY2371" fmla="*/ 1767491 h 6689084"/>
                <a:gd name="connsiteX2372" fmla="*/ 1692328 w 6689088"/>
                <a:gd name="connsiteY2372" fmla="*/ 1768215 h 6689084"/>
                <a:gd name="connsiteX2373" fmla="*/ 1691603 w 6689088"/>
                <a:gd name="connsiteY2373" fmla="*/ 1767491 h 6689084"/>
                <a:gd name="connsiteX2374" fmla="*/ 1692328 w 6689088"/>
                <a:gd name="connsiteY2374" fmla="*/ 1766762 h 6689084"/>
                <a:gd name="connsiteX2375" fmla="*/ 2614925 w 6689088"/>
                <a:gd name="connsiteY2375" fmla="*/ 1765672 h 6689084"/>
                <a:gd name="connsiteX2376" fmla="*/ 2616378 w 6689088"/>
                <a:gd name="connsiteY2376" fmla="*/ 1767125 h 6689084"/>
                <a:gd name="connsiteX2377" fmla="*/ 2614925 w 6689088"/>
                <a:gd name="connsiteY2377" fmla="*/ 1768577 h 6689084"/>
                <a:gd name="connsiteX2378" fmla="*/ 2613473 w 6689088"/>
                <a:gd name="connsiteY2378" fmla="*/ 1767125 h 6689084"/>
                <a:gd name="connsiteX2379" fmla="*/ 2614925 w 6689088"/>
                <a:gd name="connsiteY2379" fmla="*/ 1765672 h 6689084"/>
                <a:gd name="connsiteX2380" fmla="*/ 2768873 w 6689088"/>
                <a:gd name="connsiteY2380" fmla="*/ 1765310 h 6689084"/>
                <a:gd name="connsiteX2381" fmla="*/ 2771049 w 6689088"/>
                <a:gd name="connsiteY2381" fmla="*/ 1767491 h 6689084"/>
                <a:gd name="connsiteX2382" fmla="*/ 2768873 w 6689088"/>
                <a:gd name="connsiteY2382" fmla="*/ 1769667 h 6689084"/>
                <a:gd name="connsiteX2383" fmla="*/ 2766692 w 6689088"/>
                <a:gd name="connsiteY2383" fmla="*/ 1767491 h 6689084"/>
                <a:gd name="connsiteX2384" fmla="*/ 2768873 w 6689088"/>
                <a:gd name="connsiteY2384" fmla="*/ 1765310 h 6689084"/>
                <a:gd name="connsiteX2385" fmla="*/ 2922454 w 6689088"/>
                <a:gd name="connsiteY2385" fmla="*/ 1764220 h 6689084"/>
                <a:gd name="connsiteX2386" fmla="*/ 2925721 w 6689088"/>
                <a:gd name="connsiteY2386" fmla="*/ 1767487 h 6689084"/>
                <a:gd name="connsiteX2387" fmla="*/ 2922454 w 6689088"/>
                <a:gd name="connsiteY2387" fmla="*/ 1770757 h 6689084"/>
                <a:gd name="connsiteX2388" fmla="*/ 2919188 w 6689088"/>
                <a:gd name="connsiteY2388" fmla="*/ 1767487 h 6689084"/>
                <a:gd name="connsiteX2389" fmla="*/ 2922454 w 6689088"/>
                <a:gd name="connsiteY2389" fmla="*/ 1764220 h 6689084"/>
                <a:gd name="connsiteX2390" fmla="*/ 3076406 w 6689088"/>
                <a:gd name="connsiteY2390" fmla="*/ 1763134 h 6689084"/>
                <a:gd name="connsiteX2391" fmla="*/ 3080762 w 6689088"/>
                <a:gd name="connsiteY2391" fmla="*/ 1767491 h 6689084"/>
                <a:gd name="connsiteX2392" fmla="*/ 3076406 w 6689088"/>
                <a:gd name="connsiteY2392" fmla="*/ 1771848 h 6689084"/>
                <a:gd name="connsiteX2393" fmla="*/ 3072048 w 6689088"/>
                <a:gd name="connsiteY2393" fmla="*/ 1767491 h 6689084"/>
                <a:gd name="connsiteX2394" fmla="*/ 3076406 w 6689088"/>
                <a:gd name="connsiteY2394" fmla="*/ 1763134 h 6689084"/>
                <a:gd name="connsiteX2395" fmla="*/ 3230353 w 6689088"/>
                <a:gd name="connsiteY2395" fmla="*/ 1761681 h 6689084"/>
                <a:gd name="connsiteX2396" fmla="*/ 3236162 w 6689088"/>
                <a:gd name="connsiteY2396" fmla="*/ 1767491 h 6689084"/>
                <a:gd name="connsiteX2397" fmla="*/ 3230353 w 6689088"/>
                <a:gd name="connsiteY2397" fmla="*/ 1773300 h 6689084"/>
                <a:gd name="connsiteX2398" fmla="*/ 3224544 w 6689088"/>
                <a:gd name="connsiteY2398" fmla="*/ 1767491 h 6689084"/>
                <a:gd name="connsiteX2399" fmla="*/ 3230353 w 6689088"/>
                <a:gd name="connsiteY2399" fmla="*/ 1761681 h 6689084"/>
                <a:gd name="connsiteX2400" fmla="*/ 3383938 w 6689088"/>
                <a:gd name="connsiteY2400" fmla="*/ 1760225 h 6689084"/>
                <a:gd name="connsiteX2401" fmla="*/ 3391200 w 6689088"/>
                <a:gd name="connsiteY2401" fmla="*/ 1767487 h 6689084"/>
                <a:gd name="connsiteX2402" fmla="*/ 3383938 w 6689088"/>
                <a:gd name="connsiteY2402" fmla="*/ 1774748 h 6689084"/>
                <a:gd name="connsiteX2403" fmla="*/ 3376676 w 6689088"/>
                <a:gd name="connsiteY2403" fmla="*/ 1767487 h 6689084"/>
                <a:gd name="connsiteX2404" fmla="*/ 3383938 w 6689088"/>
                <a:gd name="connsiteY2404" fmla="*/ 1760225 h 6689084"/>
                <a:gd name="connsiteX2405" fmla="*/ 3537882 w 6689088"/>
                <a:gd name="connsiteY2405" fmla="*/ 1758411 h 6689084"/>
                <a:gd name="connsiteX2406" fmla="*/ 3546962 w 6689088"/>
                <a:gd name="connsiteY2406" fmla="*/ 1767487 h 6689084"/>
                <a:gd name="connsiteX2407" fmla="*/ 3537882 w 6689088"/>
                <a:gd name="connsiteY2407" fmla="*/ 1776567 h 6689084"/>
                <a:gd name="connsiteX2408" fmla="*/ 3528806 w 6689088"/>
                <a:gd name="connsiteY2408" fmla="*/ 1767487 h 6689084"/>
                <a:gd name="connsiteX2409" fmla="*/ 3537882 w 6689088"/>
                <a:gd name="connsiteY2409" fmla="*/ 1758411 h 6689084"/>
                <a:gd name="connsiteX2410" fmla="*/ 3691467 w 6689088"/>
                <a:gd name="connsiteY2410" fmla="*/ 1757324 h 6689084"/>
                <a:gd name="connsiteX2411" fmla="*/ 3701633 w 6689088"/>
                <a:gd name="connsiteY2411" fmla="*/ 1767491 h 6689084"/>
                <a:gd name="connsiteX2412" fmla="*/ 3691467 w 6689088"/>
                <a:gd name="connsiteY2412" fmla="*/ 1777657 h 6689084"/>
                <a:gd name="connsiteX2413" fmla="*/ 3681300 w 6689088"/>
                <a:gd name="connsiteY2413" fmla="*/ 1767491 h 6689084"/>
                <a:gd name="connsiteX2414" fmla="*/ 3691467 w 6689088"/>
                <a:gd name="connsiteY2414" fmla="*/ 1757324 h 6689084"/>
                <a:gd name="connsiteX2415" fmla="*/ 3845414 w 6689088"/>
                <a:gd name="connsiteY2415" fmla="*/ 1755506 h 6689084"/>
                <a:gd name="connsiteX2416" fmla="*/ 3857399 w 6689088"/>
                <a:gd name="connsiteY2416" fmla="*/ 1767487 h 6689084"/>
                <a:gd name="connsiteX2417" fmla="*/ 3845414 w 6689088"/>
                <a:gd name="connsiteY2417" fmla="*/ 1779468 h 6689084"/>
                <a:gd name="connsiteX2418" fmla="*/ 3833434 w 6689088"/>
                <a:gd name="connsiteY2418" fmla="*/ 1767487 h 6689084"/>
                <a:gd name="connsiteX2419" fmla="*/ 3845414 w 6689088"/>
                <a:gd name="connsiteY2419" fmla="*/ 1755506 h 6689084"/>
                <a:gd name="connsiteX2420" fmla="*/ 3999000 w 6689088"/>
                <a:gd name="connsiteY2420" fmla="*/ 1753329 h 6689084"/>
                <a:gd name="connsiteX2421" fmla="*/ 4012799 w 6689088"/>
                <a:gd name="connsiteY2421" fmla="*/ 1767125 h 6689084"/>
                <a:gd name="connsiteX2422" fmla="*/ 3999000 w 6689088"/>
                <a:gd name="connsiteY2422" fmla="*/ 1780924 h 6689084"/>
                <a:gd name="connsiteX2423" fmla="*/ 3985204 w 6689088"/>
                <a:gd name="connsiteY2423" fmla="*/ 1767125 h 6689084"/>
                <a:gd name="connsiteX2424" fmla="*/ 3999000 w 6689088"/>
                <a:gd name="connsiteY2424" fmla="*/ 1753329 h 6689084"/>
                <a:gd name="connsiteX2425" fmla="*/ 4152947 w 6689088"/>
                <a:gd name="connsiteY2425" fmla="*/ 1752239 h 6689084"/>
                <a:gd name="connsiteX2426" fmla="*/ 4168198 w 6689088"/>
                <a:gd name="connsiteY2426" fmla="*/ 1767491 h 6689084"/>
                <a:gd name="connsiteX2427" fmla="*/ 4152947 w 6689088"/>
                <a:gd name="connsiteY2427" fmla="*/ 1782738 h 6689084"/>
                <a:gd name="connsiteX2428" fmla="*/ 4137700 w 6689088"/>
                <a:gd name="connsiteY2428" fmla="*/ 1767491 h 6689084"/>
                <a:gd name="connsiteX2429" fmla="*/ 4152947 w 6689088"/>
                <a:gd name="connsiteY2429" fmla="*/ 1752239 h 6689084"/>
                <a:gd name="connsiteX2430" fmla="*/ 4306532 w 6689088"/>
                <a:gd name="connsiteY2430" fmla="*/ 1750425 h 6689084"/>
                <a:gd name="connsiteX2431" fmla="*/ 4323598 w 6689088"/>
                <a:gd name="connsiteY2431" fmla="*/ 1767491 h 6689084"/>
                <a:gd name="connsiteX2432" fmla="*/ 4306532 w 6689088"/>
                <a:gd name="connsiteY2432" fmla="*/ 1784556 h 6689084"/>
                <a:gd name="connsiteX2433" fmla="*/ 4289466 w 6689088"/>
                <a:gd name="connsiteY2433" fmla="*/ 1767491 h 6689084"/>
                <a:gd name="connsiteX2434" fmla="*/ 4306532 w 6689088"/>
                <a:gd name="connsiteY2434" fmla="*/ 1750425 h 6689084"/>
                <a:gd name="connsiteX2435" fmla="*/ 4460480 w 6689088"/>
                <a:gd name="connsiteY2435" fmla="*/ 1748244 h 6689084"/>
                <a:gd name="connsiteX2436" fmla="*/ 4479726 w 6689088"/>
                <a:gd name="connsiteY2436" fmla="*/ 1767487 h 6689084"/>
                <a:gd name="connsiteX2437" fmla="*/ 4460480 w 6689088"/>
                <a:gd name="connsiteY2437" fmla="*/ 1786729 h 6689084"/>
                <a:gd name="connsiteX2438" fmla="*/ 4441237 w 6689088"/>
                <a:gd name="connsiteY2438" fmla="*/ 1767487 h 6689084"/>
                <a:gd name="connsiteX2439" fmla="*/ 4460480 w 6689088"/>
                <a:gd name="connsiteY2439" fmla="*/ 1748244 h 6689084"/>
                <a:gd name="connsiteX2440" fmla="*/ 4614065 w 6689088"/>
                <a:gd name="connsiteY2440" fmla="*/ 1746068 h 6689084"/>
                <a:gd name="connsiteX2441" fmla="*/ 4635484 w 6689088"/>
                <a:gd name="connsiteY2441" fmla="*/ 1767491 h 6689084"/>
                <a:gd name="connsiteX2442" fmla="*/ 4614065 w 6689088"/>
                <a:gd name="connsiteY2442" fmla="*/ 1788913 h 6689084"/>
                <a:gd name="connsiteX2443" fmla="*/ 4592642 w 6689088"/>
                <a:gd name="connsiteY2443" fmla="*/ 1767491 h 6689084"/>
                <a:gd name="connsiteX2444" fmla="*/ 4614065 w 6689088"/>
                <a:gd name="connsiteY2444" fmla="*/ 1746068 h 6689084"/>
                <a:gd name="connsiteX2445" fmla="*/ 4768012 w 6689088"/>
                <a:gd name="connsiteY2445" fmla="*/ 1744615 h 6689084"/>
                <a:gd name="connsiteX2446" fmla="*/ 4790884 w 6689088"/>
                <a:gd name="connsiteY2446" fmla="*/ 1767491 h 6689084"/>
                <a:gd name="connsiteX2447" fmla="*/ 4768012 w 6689088"/>
                <a:gd name="connsiteY2447" fmla="*/ 1790366 h 6689084"/>
                <a:gd name="connsiteX2448" fmla="*/ 4745137 w 6689088"/>
                <a:gd name="connsiteY2448" fmla="*/ 1767491 h 6689084"/>
                <a:gd name="connsiteX2449" fmla="*/ 4768012 w 6689088"/>
                <a:gd name="connsiteY2449" fmla="*/ 1744615 h 6689084"/>
                <a:gd name="connsiteX2450" fmla="*/ 4921594 w 6689088"/>
                <a:gd name="connsiteY2450" fmla="*/ 1742435 h 6689084"/>
                <a:gd name="connsiteX2451" fmla="*/ 4946650 w 6689088"/>
                <a:gd name="connsiteY2451" fmla="*/ 1767487 h 6689084"/>
                <a:gd name="connsiteX2452" fmla="*/ 4921594 w 6689088"/>
                <a:gd name="connsiteY2452" fmla="*/ 1792538 h 6689084"/>
                <a:gd name="connsiteX2453" fmla="*/ 4896542 w 6689088"/>
                <a:gd name="connsiteY2453" fmla="*/ 1767487 h 6689084"/>
                <a:gd name="connsiteX2454" fmla="*/ 4921594 w 6689088"/>
                <a:gd name="connsiteY2454" fmla="*/ 1742435 h 6689084"/>
                <a:gd name="connsiteX2455" fmla="*/ 5075545 w 6689088"/>
                <a:gd name="connsiteY2455" fmla="*/ 1740258 h 6689084"/>
                <a:gd name="connsiteX2456" fmla="*/ 5102777 w 6689088"/>
                <a:gd name="connsiteY2456" fmla="*/ 1767491 h 6689084"/>
                <a:gd name="connsiteX2457" fmla="*/ 5075545 w 6689088"/>
                <a:gd name="connsiteY2457" fmla="*/ 1794723 h 6689084"/>
                <a:gd name="connsiteX2458" fmla="*/ 5048313 w 6689088"/>
                <a:gd name="connsiteY2458" fmla="*/ 1767491 h 6689084"/>
                <a:gd name="connsiteX2459" fmla="*/ 5075545 w 6689088"/>
                <a:gd name="connsiteY2459" fmla="*/ 1740258 h 6689084"/>
                <a:gd name="connsiteX2460" fmla="*/ 5229126 w 6689088"/>
                <a:gd name="connsiteY2460" fmla="*/ 1737716 h 6689084"/>
                <a:gd name="connsiteX2461" fmla="*/ 5258901 w 6689088"/>
                <a:gd name="connsiteY2461" fmla="*/ 1767491 h 6689084"/>
                <a:gd name="connsiteX2462" fmla="*/ 5229126 w 6689088"/>
                <a:gd name="connsiteY2462" fmla="*/ 1797261 h 6689084"/>
                <a:gd name="connsiteX2463" fmla="*/ 5199356 w 6689088"/>
                <a:gd name="connsiteY2463" fmla="*/ 1767491 h 6689084"/>
                <a:gd name="connsiteX2464" fmla="*/ 5229126 w 6689088"/>
                <a:gd name="connsiteY2464" fmla="*/ 1737716 h 6689084"/>
                <a:gd name="connsiteX2465" fmla="*/ 5383074 w 6689088"/>
                <a:gd name="connsiteY2465" fmla="*/ 1735535 h 6689084"/>
                <a:gd name="connsiteX2466" fmla="*/ 5415025 w 6689088"/>
                <a:gd name="connsiteY2466" fmla="*/ 1767487 h 6689084"/>
                <a:gd name="connsiteX2467" fmla="*/ 5383074 w 6689088"/>
                <a:gd name="connsiteY2467" fmla="*/ 1799438 h 6689084"/>
                <a:gd name="connsiteX2468" fmla="*/ 5351122 w 6689088"/>
                <a:gd name="connsiteY2468" fmla="*/ 1767487 h 6689084"/>
                <a:gd name="connsiteX2469" fmla="*/ 5383074 w 6689088"/>
                <a:gd name="connsiteY2469" fmla="*/ 1735535 h 6689084"/>
                <a:gd name="connsiteX2470" fmla="*/ 5537025 w 6689088"/>
                <a:gd name="connsiteY2470" fmla="*/ 1733721 h 6689084"/>
                <a:gd name="connsiteX2471" fmla="*/ 5570791 w 6689088"/>
                <a:gd name="connsiteY2471" fmla="*/ 1767487 h 6689084"/>
                <a:gd name="connsiteX2472" fmla="*/ 5537025 w 6689088"/>
                <a:gd name="connsiteY2472" fmla="*/ 1801256 h 6689084"/>
                <a:gd name="connsiteX2473" fmla="*/ 5503256 w 6689088"/>
                <a:gd name="connsiteY2473" fmla="*/ 1767487 h 6689084"/>
                <a:gd name="connsiteX2474" fmla="*/ 5537025 w 6689088"/>
                <a:gd name="connsiteY2474" fmla="*/ 1733721 h 6689084"/>
                <a:gd name="connsiteX2475" fmla="*/ 5690606 w 6689088"/>
                <a:gd name="connsiteY2475" fmla="*/ 1731182 h 6689084"/>
                <a:gd name="connsiteX2476" fmla="*/ 5726915 w 6689088"/>
                <a:gd name="connsiteY2476" fmla="*/ 1767491 h 6689084"/>
                <a:gd name="connsiteX2477" fmla="*/ 5690606 w 6689088"/>
                <a:gd name="connsiteY2477" fmla="*/ 1803799 h 6689084"/>
                <a:gd name="connsiteX2478" fmla="*/ 5654298 w 6689088"/>
                <a:gd name="connsiteY2478" fmla="*/ 1767491 h 6689084"/>
                <a:gd name="connsiteX2479" fmla="*/ 5690606 w 6689088"/>
                <a:gd name="connsiteY2479" fmla="*/ 1731182 h 6689084"/>
                <a:gd name="connsiteX2480" fmla="*/ 5844554 w 6689088"/>
                <a:gd name="connsiteY2480" fmla="*/ 1728640 h 6689084"/>
                <a:gd name="connsiteX2481" fmla="*/ 5883405 w 6689088"/>
                <a:gd name="connsiteY2481" fmla="*/ 1767491 h 6689084"/>
                <a:gd name="connsiteX2482" fmla="*/ 5844554 w 6689088"/>
                <a:gd name="connsiteY2482" fmla="*/ 1806338 h 6689084"/>
                <a:gd name="connsiteX2483" fmla="*/ 5805703 w 6689088"/>
                <a:gd name="connsiteY2483" fmla="*/ 1767491 h 6689084"/>
                <a:gd name="connsiteX2484" fmla="*/ 5844554 w 6689088"/>
                <a:gd name="connsiteY2484" fmla="*/ 1728640 h 6689084"/>
                <a:gd name="connsiteX2485" fmla="*/ 5998136 w 6689088"/>
                <a:gd name="connsiteY2485" fmla="*/ 1726459 h 6689084"/>
                <a:gd name="connsiteX2486" fmla="*/ 6039166 w 6689088"/>
                <a:gd name="connsiteY2486" fmla="*/ 1767487 h 6689084"/>
                <a:gd name="connsiteX2487" fmla="*/ 5998136 w 6689088"/>
                <a:gd name="connsiteY2487" fmla="*/ 1808518 h 6689084"/>
                <a:gd name="connsiteX2488" fmla="*/ 5957108 w 6689088"/>
                <a:gd name="connsiteY2488" fmla="*/ 1767487 h 6689084"/>
                <a:gd name="connsiteX2489" fmla="*/ 5998136 w 6689088"/>
                <a:gd name="connsiteY2489" fmla="*/ 1726459 h 6689084"/>
                <a:gd name="connsiteX2490" fmla="*/ 6152086 w 6689088"/>
                <a:gd name="connsiteY2490" fmla="*/ 1723917 h 6689084"/>
                <a:gd name="connsiteX2491" fmla="*/ 6195656 w 6689088"/>
                <a:gd name="connsiteY2491" fmla="*/ 1767487 h 6689084"/>
                <a:gd name="connsiteX2492" fmla="*/ 6152086 w 6689088"/>
                <a:gd name="connsiteY2492" fmla="*/ 1811057 h 6689084"/>
                <a:gd name="connsiteX2493" fmla="*/ 6108516 w 6689088"/>
                <a:gd name="connsiteY2493" fmla="*/ 1767487 h 6689084"/>
                <a:gd name="connsiteX2494" fmla="*/ 6152086 w 6689088"/>
                <a:gd name="connsiteY2494" fmla="*/ 1723917 h 6689084"/>
                <a:gd name="connsiteX2495" fmla="*/ 6305668 w 6689088"/>
                <a:gd name="connsiteY2495" fmla="*/ 1721378 h 6689084"/>
                <a:gd name="connsiteX2496" fmla="*/ 6351777 w 6689088"/>
                <a:gd name="connsiteY2496" fmla="*/ 1767491 h 6689084"/>
                <a:gd name="connsiteX2497" fmla="*/ 6305668 w 6689088"/>
                <a:gd name="connsiteY2497" fmla="*/ 1813603 h 6689084"/>
                <a:gd name="connsiteX2498" fmla="*/ 6259556 w 6689088"/>
                <a:gd name="connsiteY2498" fmla="*/ 1767491 h 6689084"/>
                <a:gd name="connsiteX2499" fmla="*/ 6305668 w 6689088"/>
                <a:gd name="connsiteY2499" fmla="*/ 1721378 h 6689084"/>
                <a:gd name="connsiteX2500" fmla="*/ 6459619 w 6689088"/>
                <a:gd name="connsiteY2500" fmla="*/ 1718835 h 6689084"/>
                <a:gd name="connsiteX2501" fmla="*/ 6508270 w 6689088"/>
                <a:gd name="connsiteY2501" fmla="*/ 1767491 h 6689084"/>
                <a:gd name="connsiteX2502" fmla="*/ 6459619 w 6689088"/>
                <a:gd name="connsiteY2502" fmla="*/ 1816142 h 6689084"/>
                <a:gd name="connsiteX2503" fmla="*/ 6410964 w 6689088"/>
                <a:gd name="connsiteY2503" fmla="*/ 1767491 h 6689084"/>
                <a:gd name="connsiteX2504" fmla="*/ 6459619 w 6689088"/>
                <a:gd name="connsiteY2504" fmla="*/ 1718835 h 6689084"/>
                <a:gd name="connsiteX2505" fmla="*/ 6613200 w 6689088"/>
                <a:gd name="connsiteY2505" fmla="*/ 1716293 h 6689084"/>
                <a:gd name="connsiteX2506" fmla="*/ 6664398 w 6689088"/>
                <a:gd name="connsiteY2506" fmla="*/ 1767487 h 6689084"/>
                <a:gd name="connsiteX2507" fmla="*/ 6613200 w 6689088"/>
                <a:gd name="connsiteY2507" fmla="*/ 1818681 h 6689084"/>
                <a:gd name="connsiteX2508" fmla="*/ 6562007 w 6689088"/>
                <a:gd name="connsiteY2508" fmla="*/ 1767487 h 6689084"/>
                <a:gd name="connsiteX2509" fmla="*/ 6613200 w 6689088"/>
                <a:gd name="connsiteY2509" fmla="*/ 1716293 h 6689084"/>
                <a:gd name="connsiteX2510" fmla="*/ 2307393 w 6689088"/>
                <a:gd name="connsiteY2510" fmla="*/ 1613539 h 6689084"/>
                <a:gd name="connsiteX2511" fmla="*/ 2307755 w 6689088"/>
                <a:gd name="connsiteY2511" fmla="*/ 1613901 h 6689084"/>
                <a:gd name="connsiteX2512" fmla="*/ 2307393 w 6689088"/>
                <a:gd name="connsiteY2512" fmla="*/ 1614267 h 6689084"/>
                <a:gd name="connsiteX2513" fmla="*/ 2307031 w 6689088"/>
                <a:gd name="connsiteY2513" fmla="*/ 1613901 h 6689084"/>
                <a:gd name="connsiteX2514" fmla="*/ 2307393 w 6689088"/>
                <a:gd name="connsiteY2514" fmla="*/ 1613539 h 6689084"/>
                <a:gd name="connsiteX2515" fmla="*/ 1846279 w 6689088"/>
                <a:gd name="connsiteY2515" fmla="*/ 1613539 h 6689084"/>
                <a:gd name="connsiteX2516" fmla="*/ 1846641 w 6689088"/>
                <a:gd name="connsiteY2516" fmla="*/ 1613901 h 6689084"/>
                <a:gd name="connsiteX2517" fmla="*/ 1846279 w 6689088"/>
                <a:gd name="connsiteY2517" fmla="*/ 1614267 h 6689084"/>
                <a:gd name="connsiteX2518" fmla="*/ 1845917 w 6689088"/>
                <a:gd name="connsiteY2518" fmla="*/ 1613901 h 6689084"/>
                <a:gd name="connsiteX2519" fmla="*/ 1846279 w 6689088"/>
                <a:gd name="connsiteY2519" fmla="*/ 1613539 h 6689084"/>
                <a:gd name="connsiteX2520" fmla="*/ 1692331 w 6689088"/>
                <a:gd name="connsiteY2520" fmla="*/ 1613539 h 6689084"/>
                <a:gd name="connsiteX2521" fmla="*/ 1692694 w 6689088"/>
                <a:gd name="connsiteY2521" fmla="*/ 1613901 h 6689084"/>
                <a:gd name="connsiteX2522" fmla="*/ 1692331 w 6689088"/>
                <a:gd name="connsiteY2522" fmla="*/ 1614267 h 6689084"/>
                <a:gd name="connsiteX2523" fmla="*/ 1691969 w 6689088"/>
                <a:gd name="connsiteY2523" fmla="*/ 1613901 h 6689084"/>
                <a:gd name="connsiteX2524" fmla="*/ 1692331 w 6689088"/>
                <a:gd name="connsiteY2524" fmla="*/ 1613539 h 6689084"/>
                <a:gd name="connsiteX2525" fmla="*/ 1538746 w 6689088"/>
                <a:gd name="connsiteY2525" fmla="*/ 1613177 h 6689084"/>
                <a:gd name="connsiteX2526" fmla="*/ 1539470 w 6689088"/>
                <a:gd name="connsiteY2526" fmla="*/ 1613905 h 6689084"/>
                <a:gd name="connsiteX2527" fmla="*/ 1538746 w 6689088"/>
                <a:gd name="connsiteY2527" fmla="*/ 1614630 h 6689084"/>
                <a:gd name="connsiteX2528" fmla="*/ 1538018 w 6689088"/>
                <a:gd name="connsiteY2528" fmla="*/ 1613905 h 6689084"/>
                <a:gd name="connsiteX2529" fmla="*/ 1538746 w 6689088"/>
                <a:gd name="connsiteY2529" fmla="*/ 1613177 h 6689084"/>
                <a:gd name="connsiteX2530" fmla="*/ 2461340 w 6689088"/>
                <a:gd name="connsiteY2530" fmla="*/ 1612091 h 6689084"/>
                <a:gd name="connsiteX2531" fmla="*/ 2462793 w 6689088"/>
                <a:gd name="connsiteY2531" fmla="*/ 1613543 h 6689084"/>
                <a:gd name="connsiteX2532" fmla="*/ 2461340 w 6689088"/>
                <a:gd name="connsiteY2532" fmla="*/ 1614995 h 6689084"/>
                <a:gd name="connsiteX2533" fmla="*/ 2459888 w 6689088"/>
                <a:gd name="connsiteY2533" fmla="*/ 1613543 h 6689084"/>
                <a:gd name="connsiteX2534" fmla="*/ 2461340 w 6689088"/>
                <a:gd name="connsiteY2534" fmla="*/ 1612091 h 6689084"/>
                <a:gd name="connsiteX2535" fmla="*/ 2614922 w 6689088"/>
                <a:gd name="connsiteY2535" fmla="*/ 1611363 h 6689084"/>
                <a:gd name="connsiteX2536" fmla="*/ 2617102 w 6689088"/>
                <a:gd name="connsiteY2536" fmla="*/ 1613539 h 6689084"/>
                <a:gd name="connsiteX2537" fmla="*/ 2614922 w 6689088"/>
                <a:gd name="connsiteY2537" fmla="*/ 1615720 h 6689084"/>
                <a:gd name="connsiteX2538" fmla="*/ 2612745 w 6689088"/>
                <a:gd name="connsiteY2538" fmla="*/ 1613539 h 6689084"/>
                <a:gd name="connsiteX2539" fmla="*/ 2614922 w 6689088"/>
                <a:gd name="connsiteY2539" fmla="*/ 1611363 h 6689084"/>
                <a:gd name="connsiteX2540" fmla="*/ 2768877 w 6689088"/>
                <a:gd name="connsiteY2540" fmla="*/ 1610638 h 6689084"/>
                <a:gd name="connsiteX2541" fmla="*/ 2772144 w 6689088"/>
                <a:gd name="connsiteY2541" fmla="*/ 1613905 h 6689084"/>
                <a:gd name="connsiteX2542" fmla="*/ 2768877 w 6689088"/>
                <a:gd name="connsiteY2542" fmla="*/ 1617176 h 6689084"/>
                <a:gd name="connsiteX2543" fmla="*/ 2765606 w 6689088"/>
                <a:gd name="connsiteY2543" fmla="*/ 1613905 h 6689084"/>
                <a:gd name="connsiteX2544" fmla="*/ 2768877 w 6689088"/>
                <a:gd name="connsiteY2544" fmla="*/ 1610638 h 6689084"/>
                <a:gd name="connsiteX2545" fmla="*/ 2922458 w 6689088"/>
                <a:gd name="connsiteY2545" fmla="*/ 1609182 h 6689084"/>
                <a:gd name="connsiteX2546" fmla="*/ 2926815 w 6689088"/>
                <a:gd name="connsiteY2546" fmla="*/ 1613539 h 6689084"/>
                <a:gd name="connsiteX2547" fmla="*/ 2922458 w 6689088"/>
                <a:gd name="connsiteY2547" fmla="*/ 1617896 h 6689084"/>
                <a:gd name="connsiteX2548" fmla="*/ 2918101 w 6689088"/>
                <a:gd name="connsiteY2548" fmla="*/ 1613539 h 6689084"/>
                <a:gd name="connsiteX2549" fmla="*/ 2922458 w 6689088"/>
                <a:gd name="connsiteY2549" fmla="*/ 1609182 h 6689084"/>
                <a:gd name="connsiteX2550" fmla="*/ 3076406 w 6689088"/>
                <a:gd name="connsiteY2550" fmla="*/ 1608096 h 6689084"/>
                <a:gd name="connsiteX2551" fmla="*/ 3082215 w 6689088"/>
                <a:gd name="connsiteY2551" fmla="*/ 1613905 h 6689084"/>
                <a:gd name="connsiteX2552" fmla="*/ 3076406 w 6689088"/>
                <a:gd name="connsiteY2552" fmla="*/ 1619715 h 6689084"/>
                <a:gd name="connsiteX2553" fmla="*/ 3070596 w 6689088"/>
                <a:gd name="connsiteY2553" fmla="*/ 1613905 h 6689084"/>
                <a:gd name="connsiteX2554" fmla="*/ 3076406 w 6689088"/>
                <a:gd name="connsiteY2554" fmla="*/ 1608096 h 6689084"/>
                <a:gd name="connsiteX2555" fmla="*/ 3230353 w 6689088"/>
                <a:gd name="connsiteY2555" fmla="*/ 1606281 h 6689084"/>
                <a:gd name="connsiteX2556" fmla="*/ 3237614 w 6689088"/>
                <a:gd name="connsiteY2556" fmla="*/ 1613543 h 6689084"/>
                <a:gd name="connsiteX2557" fmla="*/ 3230353 w 6689088"/>
                <a:gd name="connsiteY2557" fmla="*/ 1620805 h 6689084"/>
                <a:gd name="connsiteX2558" fmla="*/ 3223091 w 6689088"/>
                <a:gd name="connsiteY2558" fmla="*/ 1613543 h 6689084"/>
                <a:gd name="connsiteX2559" fmla="*/ 3230353 w 6689088"/>
                <a:gd name="connsiteY2559" fmla="*/ 1606281 h 6689084"/>
                <a:gd name="connsiteX2560" fmla="*/ 3383934 w 6689088"/>
                <a:gd name="connsiteY2560" fmla="*/ 1604463 h 6689084"/>
                <a:gd name="connsiteX2561" fmla="*/ 3393014 w 6689088"/>
                <a:gd name="connsiteY2561" fmla="*/ 1613539 h 6689084"/>
                <a:gd name="connsiteX2562" fmla="*/ 3383934 w 6689088"/>
                <a:gd name="connsiteY2562" fmla="*/ 1622619 h 6689084"/>
                <a:gd name="connsiteX2563" fmla="*/ 3374858 w 6689088"/>
                <a:gd name="connsiteY2563" fmla="*/ 1613539 h 6689084"/>
                <a:gd name="connsiteX2564" fmla="*/ 3383934 w 6689088"/>
                <a:gd name="connsiteY2564" fmla="*/ 1604463 h 6689084"/>
                <a:gd name="connsiteX2565" fmla="*/ 3537886 w 6689088"/>
                <a:gd name="connsiteY2565" fmla="*/ 1603739 h 6689084"/>
                <a:gd name="connsiteX2566" fmla="*/ 3548052 w 6689088"/>
                <a:gd name="connsiteY2566" fmla="*/ 1613905 h 6689084"/>
                <a:gd name="connsiteX2567" fmla="*/ 3537886 w 6689088"/>
                <a:gd name="connsiteY2567" fmla="*/ 1624072 h 6689084"/>
                <a:gd name="connsiteX2568" fmla="*/ 3527719 w 6689088"/>
                <a:gd name="connsiteY2568" fmla="*/ 1613905 h 6689084"/>
                <a:gd name="connsiteX2569" fmla="*/ 3537886 w 6689088"/>
                <a:gd name="connsiteY2569" fmla="*/ 1603739 h 6689084"/>
                <a:gd name="connsiteX2570" fmla="*/ 3691467 w 6689088"/>
                <a:gd name="connsiteY2570" fmla="*/ 1601559 h 6689084"/>
                <a:gd name="connsiteX2571" fmla="*/ 3703452 w 6689088"/>
                <a:gd name="connsiteY2571" fmla="*/ 1613539 h 6689084"/>
                <a:gd name="connsiteX2572" fmla="*/ 3691467 w 6689088"/>
                <a:gd name="connsiteY2572" fmla="*/ 1625520 h 6689084"/>
                <a:gd name="connsiteX2573" fmla="*/ 3679486 w 6689088"/>
                <a:gd name="connsiteY2573" fmla="*/ 1613539 h 6689084"/>
                <a:gd name="connsiteX2574" fmla="*/ 3691467 w 6689088"/>
                <a:gd name="connsiteY2574" fmla="*/ 1601559 h 6689084"/>
                <a:gd name="connsiteX2575" fmla="*/ 3845418 w 6689088"/>
                <a:gd name="connsiteY2575" fmla="*/ 1599744 h 6689084"/>
                <a:gd name="connsiteX2576" fmla="*/ 3859214 w 6689088"/>
                <a:gd name="connsiteY2576" fmla="*/ 1613539 h 6689084"/>
                <a:gd name="connsiteX2577" fmla="*/ 3845418 w 6689088"/>
                <a:gd name="connsiteY2577" fmla="*/ 1627338 h 6689084"/>
                <a:gd name="connsiteX2578" fmla="*/ 3831619 w 6689088"/>
                <a:gd name="connsiteY2578" fmla="*/ 1613539 h 6689084"/>
                <a:gd name="connsiteX2579" fmla="*/ 3845418 w 6689088"/>
                <a:gd name="connsiteY2579" fmla="*/ 1599744 h 6689084"/>
                <a:gd name="connsiteX2580" fmla="*/ 3999000 w 6689088"/>
                <a:gd name="connsiteY2580" fmla="*/ 1598654 h 6689084"/>
                <a:gd name="connsiteX2581" fmla="*/ 4014251 w 6689088"/>
                <a:gd name="connsiteY2581" fmla="*/ 1613905 h 6689084"/>
                <a:gd name="connsiteX2582" fmla="*/ 3999000 w 6689088"/>
                <a:gd name="connsiteY2582" fmla="*/ 1629153 h 6689084"/>
                <a:gd name="connsiteX2583" fmla="*/ 3983752 w 6689088"/>
                <a:gd name="connsiteY2583" fmla="*/ 1613905 h 6689084"/>
                <a:gd name="connsiteX2584" fmla="*/ 3999000 w 6689088"/>
                <a:gd name="connsiteY2584" fmla="*/ 1598654 h 6689084"/>
                <a:gd name="connsiteX2585" fmla="*/ 4152947 w 6689088"/>
                <a:gd name="connsiteY2585" fmla="*/ 1596477 h 6689084"/>
                <a:gd name="connsiteX2586" fmla="*/ 4170013 w 6689088"/>
                <a:gd name="connsiteY2586" fmla="*/ 1613543 h 6689084"/>
                <a:gd name="connsiteX2587" fmla="*/ 4152947 w 6689088"/>
                <a:gd name="connsiteY2587" fmla="*/ 1630605 h 6689084"/>
                <a:gd name="connsiteX2588" fmla="*/ 4135881 w 6689088"/>
                <a:gd name="connsiteY2588" fmla="*/ 1613543 h 6689084"/>
                <a:gd name="connsiteX2589" fmla="*/ 4152947 w 6689088"/>
                <a:gd name="connsiteY2589" fmla="*/ 1596477 h 6689084"/>
                <a:gd name="connsiteX2590" fmla="*/ 4306528 w 6689088"/>
                <a:gd name="connsiteY2590" fmla="*/ 1594297 h 6689084"/>
                <a:gd name="connsiteX2591" fmla="*/ 4325771 w 6689088"/>
                <a:gd name="connsiteY2591" fmla="*/ 1613539 h 6689084"/>
                <a:gd name="connsiteX2592" fmla="*/ 4306528 w 6689088"/>
                <a:gd name="connsiteY2592" fmla="*/ 1632786 h 6689084"/>
                <a:gd name="connsiteX2593" fmla="*/ 4287286 w 6689088"/>
                <a:gd name="connsiteY2593" fmla="*/ 1613539 h 6689084"/>
                <a:gd name="connsiteX2594" fmla="*/ 4306528 w 6689088"/>
                <a:gd name="connsiteY2594" fmla="*/ 1594297 h 6689084"/>
                <a:gd name="connsiteX2595" fmla="*/ 4460480 w 6689088"/>
                <a:gd name="connsiteY2595" fmla="*/ 1592120 h 6689084"/>
                <a:gd name="connsiteX2596" fmla="*/ 4481898 w 6689088"/>
                <a:gd name="connsiteY2596" fmla="*/ 1613543 h 6689084"/>
                <a:gd name="connsiteX2597" fmla="*/ 4460480 w 6689088"/>
                <a:gd name="connsiteY2597" fmla="*/ 1634966 h 6689084"/>
                <a:gd name="connsiteX2598" fmla="*/ 4439057 w 6689088"/>
                <a:gd name="connsiteY2598" fmla="*/ 1613543 h 6689084"/>
                <a:gd name="connsiteX2599" fmla="*/ 4460480 w 6689088"/>
                <a:gd name="connsiteY2599" fmla="*/ 1592120 h 6689084"/>
                <a:gd name="connsiteX2600" fmla="*/ 4614065 w 6689088"/>
                <a:gd name="connsiteY2600" fmla="*/ 1591030 h 6689084"/>
                <a:gd name="connsiteX2601" fmla="*/ 4636940 w 6689088"/>
                <a:gd name="connsiteY2601" fmla="*/ 1613905 h 6689084"/>
                <a:gd name="connsiteX2602" fmla="*/ 4614065 w 6689088"/>
                <a:gd name="connsiteY2602" fmla="*/ 1636780 h 6689084"/>
                <a:gd name="connsiteX2603" fmla="*/ 4591190 w 6689088"/>
                <a:gd name="connsiteY2603" fmla="*/ 1613905 h 6689084"/>
                <a:gd name="connsiteX2604" fmla="*/ 4614065 w 6689088"/>
                <a:gd name="connsiteY2604" fmla="*/ 1591030 h 6689084"/>
                <a:gd name="connsiteX2605" fmla="*/ 4768008 w 6689088"/>
                <a:gd name="connsiteY2605" fmla="*/ 1588850 h 6689084"/>
                <a:gd name="connsiteX2606" fmla="*/ 4793064 w 6689088"/>
                <a:gd name="connsiteY2606" fmla="*/ 1613901 h 6689084"/>
                <a:gd name="connsiteX2607" fmla="*/ 4768008 w 6689088"/>
                <a:gd name="connsiteY2607" fmla="*/ 1638957 h 6689084"/>
                <a:gd name="connsiteX2608" fmla="*/ 4742956 w 6689088"/>
                <a:gd name="connsiteY2608" fmla="*/ 1613901 h 6689084"/>
                <a:gd name="connsiteX2609" fmla="*/ 4768008 w 6689088"/>
                <a:gd name="connsiteY2609" fmla="*/ 1588850 h 6689084"/>
                <a:gd name="connsiteX2610" fmla="*/ 4921594 w 6689088"/>
                <a:gd name="connsiteY2610" fmla="*/ 1586673 h 6689084"/>
                <a:gd name="connsiteX2611" fmla="*/ 4948826 w 6689088"/>
                <a:gd name="connsiteY2611" fmla="*/ 1613905 h 6689084"/>
                <a:gd name="connsiteX2612" fmla="*/ 4921594 w 6689088"/>
                <a:gd name="connsiteY2612" fmla="*/ 1641137 h 6689084"/>
                <a:gd name="connsiteX2613" fmla="*/ 4894362 w 6689088"/>
                <a:gd name="connsiteY2613" fmla="*/ 1613905 h 6689084"/>
                <a:gd name="connsiteX2614" fmla="*/ 4921594 w 6689088"/>
                <a:gd name="connsiteY2614" fmla="*/ 1586673 h 6689084"/>
                <a:gd name="connsiteX2615" fmla="*/ 5075545 w 6689088"/>
                <a:gd name="connsiteY2615" fmla="*/ 1584131 h 6689084"/>
                <a:gd name="connsiteX2616" fmla="*/ 5105316 w 6689088"/>
                <a:gd name="connsiteY2616" fmla="*/ 1613901 h 6689084"/>
                <a:gd name="connsiteX2617" fmla="*/ 5075545 w 6689088"/>
                <a:gd name="connsiteY2617" fmla="*/ 1643676 h 6689084"/>
                <a:gd name="connsiteX2618" fmla="*/ 5045770 w 6689088"/>
                <a:gd name="connsiteY2618" fmla="*/ 1613901 h 6689084"/>
                <a:gd name="connsiteX2619" fmla="*/ 5075545 w 6689088"/>
                <a:gd name="connsiteY2619" fmla="*/ 1584131 h 6689084"/>
                <a:gd name="connsiteX2620" fmla="*/ 5229126 w 6689088"/>
                <a:gd name="connsiteY2620" fmla="*/ 1581592 h 6689084"/>
                <a:gd name="connsiteX2621" fmla="*/ 5261078 w 6689088"/>
                <a:gd name="connsiteY2621" fmla="*/ 1613543 h 6689084"/>
                <a:gd name="connsiteX2622" fmla="*/ 5229126 w 6689088"/>
                <a:gd name="connsiteY2622" fmla="*/ 1645494 h 6689084"/>
                <a:gd name="connsiteX2623" fmla="*/ 5197175 w 6689088"/>
                <a:gd name="connsiteY2623" fmla="*/ 1613543 h 6689084"/>
                <a:gd name="connsiteX2624" fmla="*/ 5229126 w 6689088"/>
                <a:gd name="connsiteY2624" fmla="*/ 1581592 h 6689084"/>
                <a:gd name="connsiteX2625" fmla="*/ 5383074 w 6689088"/>
                <a:gd name="connsiteY2625" fmla="*/ 1579773 h 6689084"/>
                <a:gd name="connsiteX2626" fmla="*/ 5416844 w 6689088"/>
                <a:gd name="connsiteY2626" fmla="*/ 1613539 h 6689084"/>
                <a:gd name="connsiteX2627" fmla="*/ 5383074 w 6689088"/>
                <a:gd name="connsiteY2627" fmla="*/ 1647309 h 6689084"/>
                <a:gd name="connsiteX2628" fmla="*/ 5349308 w 6689088"/>
                <a:gd name="connsiteY2628" fmla="*/ 1613539 h 6689084"/>
                <a:gd name="connsiteX2629" fmla="*/ 5383074 w 6689088"/>
                <a:gd name="connsiteY2629" fmla="*/ 1579773 h 6689084"/>
                <a:gd name="connsiteX2630" fmla="*/ 5536659 w 6689088"/>
                <a:gd name="connsiteY2630" fmla="*/ 1577231 h 6689084"/>
                <a:gd name="connsiteX2631" fmla="*/ 5572968 w 6689088"/>
                <a:gd name="connsiteY2631" fmla="*/ 1613539 h 6689084"/>
                <a:gd name="connsiteX2632" fmla="*/ 5536659 w 6689088"/>
                <a:gd name="connsiteY2632" fmla="*/ 1649848 h 6689084"/>
                <a:gd name="connsiteX2633" fmla="*/ 5500351 w 6689088"/>
                <a:gd name="connsiteY2633" fmla="*/ 1613539 h 6689084"/>
                <a:gd name="connsiteX2634" fmla="*/ 5536659 w 6689088"/>
                <a:gd name="connsiteY2634" fmla="*/ 1577231 h 6689084"/>
                <a:gd name="connsiteX2635" fmla="*/ 5690606 w 6689088"/>
                <a:gd name="connsiteY2635" fmla="*/ 1574692 h 6689084"/>
                <a:gd name="connsiteX2636" fmla="*/ 5729458 w 6689088"/>
                <a:gd name="connsiteY2636" fmla="*/ 1613543 h 6689084"/>
                <a:gd name="connsiteX2637" fmla="*/ 5690606 w 6689088"/>
                <a:gd name="connsiteY2637" fmla="*/ 1652390 h 6689084"/>
                <a:gd name="connsiteX2638" fmla="*/ 5651756 w 6689088"/>
                <a:gd name="connsiteY2638" fmla="*/ 1613543 h 6689084"/>
                <a:gd name="connsiteX2639" fmla="*/ 5690606 w 6689088"/>
                <a:gd name="connsiteY2639" fmla="*/ 1574692 h 6689084"/>
                <a:gd name="connsiteX2640" fmla="*/ 5844554 w 6689088"/>
                <a:gd name="connsiteY2640" fmla="*/ 1572512 h 6689084"/>
                <a:gd name="connsiteX2641" fmla="*/ 5885585 w 6689088"/>
                <a:gd name="connsiteY2641" fmla="*/ 1613539 h 6689084"/>
                <a:gd name="connsiteX2642" fmla="*/ 5844554 w 6689088"/>
                <a:gd name="connsiteY2642" fmla="*/ 1654567 h 6689084"/>
                <a:gd name="connsiteX2643" fmla="*/ 5803526 w 6689088"/>
                <a:gd name="connsiteY2643" fmla="*/ 1613539 h 6689084"/>
                <a:gd name="connsiteX2644" fmla="*/ 5844554 w 6689088"/>
                <a:gd name="connsiteY2644" fmla="*/ 1572512 h 6689084"/>
                <a:gd name="connsiteX2645" fmla="*/ 5998136 w 6689088"/>
                <a:gd name="connsiteY2645" fmla="*/ 1569973 h 6689084"/>
                <a:gd name="connsiteX2646" fmla="*/ 6041706 w 6689088"/>
                <a:gd name="connsiteY2646" fmla="*/ 1613543 h 6689084"/>
                <a:gd name="connsiteX2647" fmla="*/ 5998136 w 6689088"/>
                <a:gd name="connsiteY2647" fmla="*/ 1657113 h 6689084"/>
                <a:gd name="connsiteX2648" fmla="*/ 5954566 w 6689088"/>
                <a:gd name="connsiteY2648" fmla="*/ 1613543 h 6689084"/>
                <a:gd name="connsiteX2649" fmla="*/ 5998136 w 6689088"/>
                <a:gd name="connsiteY2649" fmla="*/ 1569973 h 6689084"/>
                <a:gd name="connsiteX2650" fmla="*/ 6152083 w 6689088"/>
                <a:gd name="connsiteY2650" fmla="*/ 1567431 h 6689084"/>
                <a:gd name="connsiteX2651" fmla="*/ 6198196 w 6689088"/>
                <a:gd name="connsiteY2651" fmla="*/ 1613543 h 6689084"/>
                <a:gd name="connsiteX2652" fmla="*/ 6152083 w 6689088"/>
                <a:gd name="connsiteY2652" fmla="*/ 1659656 h 6689084"/>
                <a:gd name="connsiteX2653" fmla="*/ 6105974 w 6689088"/>
                <a:gd name="connsiteY2653" fmla="*/ 1613543 h 6689084"/>
                <a:gd name="connsiteX2654" fmla="*/ 6152083 w 6689088"/>
                <a:gd name="connsiteY2654" fmla="*/ 1567431 h 6689084"/>
                <a:gd name="connsiteX2655" fmla="*/ 6305672 w 6689088"/>
                <a:gd name="connsiteY2655" fmla="*/ 1564888 h 6689084"/>
                <a:gd name="connsiteX2656" fmla="*/ 6354323 w 6689088"/>
                <a:gd name="connsiteY2656" fmla="*/ 1613543 h 6689084"/>
                <a:gd name="connsiteX2657" fmla="*/ 6305672 w 6689088"/>
                <a:gd name="connsiteY2657" fmla="*/ 1662194 h 6689084"/>
                <a:gd name="connsiteX2658" fmla="*/ 6257016 w 6689088"/>
                <a:gd name="connsiteY2658" fmla="*/ 1613543 h 6689084"/>
                <a:gd name="connsiteX2659" fmla="*/ 6305672 w 6689088"/>
                <a:gd name="connsiteY2659" fmla="*/ 1564888 h 6689084"/>
                <a:gd name="connsiteX2660" fmla="*/ 6459619 w 6689088"/>
                <a:gd name="connsiteY2660" fmla="*/ 1562346 h 6689084"/>
                <a:gd name="connsiteX2661" fmla="*/ 6510813 w 6689088"/>
                <a:gd name="connsiteY2661" fmla="*/ 1613539 h 6689084"/>
                <a:gd name="connsiteX2662" fmla="*/ 6459619 w 6689088"/>
                <a:gd name="connsiteY2662" fmla="*/ 1664733 h 6689084"/>
                <a:gd name="connsiteX2663" fmla="*/ 6408422 w 6689088"/>
                <a:gd name="connsiteY2663" fmla="*/ 1613539 h 6689084"/>
                <a:gd name="connsiteX2664" fmla="*/ 6459619 w 6689088"/>
                <a:gd name="connsiteY2664" fmla="*/ 1562346 h 6689084"/>
                <a:gd name="connsiteX2665" fmla="*/ 6613197 w 6689088"/>
                <a:gd name="connsiteY2665" fmla="*/ 1560169 h 6689084"/>
                <a:gd name="connsiteX2666" fmla="*/ 6666575 w 6689088"/>
                <a:gd name="connsiteY2666" fmla="*/ 1613543 h 6689084"/>
                <a:gd name="connsiteX2667" fmla="*/ 6613197 w 6689088"/>
                <a:gd name="connsiteY2667" fmla="*/ 1666914 h 6689084"/>
                <a:gd name="connsiteX2668" fmla="*/ 6559826 w 6689088"/>
                <a:gd name="connsiteY2668" fmla="*/ 1613543 h 6689084"/>
                <a:gd name="connsiteX2669" fmla="*/ 6613197 w 6689088"/>
                <a:gd name="connsiteY2669" fmla="*/ 1560169 h 6689084"/>
                <a:gd name="connsiteX2670" fmla="*/ 2153808 w 6689088"/>
                <a:gd name="connsiteY2670" fmla="*/ 1459596 h 6689084"/>
                <a:gd name="connsiteX2671" fmla="*/ 2154170 w 6689088"/>
                <a:gd name="connsiteY2671" fmla="*/ 1459958 h 6689084"/>
                <a:gd name="connsiteX2672" fmla="*/ 2153808 w 6689088"/>
                <a:gd name="connsiteY2672" fmla="*/ 1460324 h 6689084"/>
                <a:gd name="connsiteX2673" fmla="*/ 2153445 w 6689088"/>
                <a:gd name="connsiteY2673" fmla="*/ 1459958 h 6689084"/>
                <a:gd name="connsiteX2674" fmla="*/ 2153808 w 6689088"/>
                <a:gd name="connsiteY2674" fmla="*/ 1459596 h 6689084"/>
                <a:gd name="connsiteX2675" fmla="*/ 1692331 w 6689088"/>
                <a:gd name="connsiteY2675" fmla="*/ 1459596 h 6689084"/>
                <a:gd name="connsiteX2676" fmla="*/ 1692694 w 6689088"/>
                <a:gd name="connsiteY2676" fmla="*/ 1459958 h 6689084"/>
                <a:gd name="connsiteX2677" fmla="*/ 1692331 w 6689088"/>
                <a:gd name="connsiteY2677" fmla="*/ 1460324 h 6689084"/>
                <a:gd name="connsiteX2678" fmla="*/ 1691969 w 6689088"/>
                <a:gd name="connsiteY2678" fmla="*/ 1459958 h 6689084"/>
                <a:gd name="connsiteX2679" fmla="*/ 1692331 w 6689088"/>
                <a:gd name="connsiteY2679" fmla="*/ 1459596 h 6689084"/>
                <a:gd name="connsiteX2680" fmla="*/ 1538746 w 6689088"/>
                <a:gd name="connsiteY2680" fmla="*/ 1459596 h 6689084"/>
                <a:gd name="connsiteX2681" fmla="*/ 1539108 w 6689088"/>
                <a:gd name="connsiteY2681" fmla="*/ 1459958 h 6689084"/>
                <a:gd name="connsiteX2682" fmla="*/ 1538746 w 6689088"/>
                <a:gd name="connsiteY2682" fmla="*/ 1460324 h 6689084"/>
                <a:gd name="connsiteX2683" fmla="*/ 1538384 w 6689088"/>
                <a:gd name="connsiteY2683" fmla="*/ 1459958 h 6689084"/>
                <a:gd name="connsiteX2684" fmla="*/ 1538746 w 6689088"/>
                <a:gd name="connsiteY2684" fmla="*/ 1459596 h 6689084"/>
                <a:gd name="connsiteX2685" fmla="*/ 1384795 w 6689088"/>
                <a:gd name="connsiteY2685" fmla="*/ 1459230 h 6689084"/>
                <a:gd name="connsiteX2686" fmla="*/ 1385523 w 6689088"/>
                <a:gd name="connsiteY2686" fmla="*/ 1459958 h 6689084"/>
                <a:gd name="connsiteX2687" fmla="*/ 1384795 w 6689088"/>
                <a:gd name="connsiteY2687" fmla="*/ 1460682 h 6689084"/>
                <a:gd name="connsiteX2688" fmla="*/ 1384071 w 6689088"/>
                <a:gd name="connsiteY2688" fmla="*/ 1459958 h 6689084"/>
                <a:gd name="connsiteX2689" fmla="*/ 1384795 w 6689088"/>
                <a:gd name="connsiteY2689" fmla="*/ 1459230 h 6689084"/>
                <a:gd name="connsiteX2690" fmla="*/ 2307393 w 6689088"/>
                <a:gd name="connsiteY2690" fmla="*/ 1458140 h 6689084"/>
                <a:gd name="connsiteX2691" fmla="*/ 2308845 w 6689088"/>
                <a:gd name="connsiteY2691" fmla="*/ 1459592 h 6689084"/>
                <a:gd name="connsiteX2692" fmla="*/ 2307393 w 6689088"/>
                <a:gd name="connsiteY2692" fmla="*/ 1461044 h 6689084"/>
                <a:gd name="connsiteX2693" fmla="*/ 2305941 w 6689088"/>
                <a:gd name="connsiteY2693" fmla="*/ 1459592 h 6689084"/>
                <a:gd name="connsiteX2694" fmla="*/ 2307393 w 6689088"/>
                <a:gd name="connsiteY2694" fmla="*/ 1458140 h 6689084"/>
                <a:gd name="connsiteX2695" fmla="*/ 2461340 w 6689088"/>
                <a:gd name="connsiteY2695" fmla="*/ 1457777 h 6689084"/>
                <a:gd name="connsiteX2696" fmla="*/ 2463521 w 6689088"/>
                <a:gd name="connsiteY2696" fmla="*/ 1459954 h 6689084"/>
                <a:gd name="connsiteX2697" fmla="*/ 2461340 w 6689088"/>
                <a:gd name="connsiteY2697" fmla="*/ 1462134 h 6689084"/>
                <a:gd name="connsiteX2698" fmla="*/ 2459164 w 6689088"/>
                <a:gd name="connsiteY2698" fmla="*/ 1459954 h 6689084"/>
                <a:gd name="connsiteX2699" fmla="*/ 2461340 w 6689088"/>
                <a:gd name="connsiteY2699" fmla="*/ 1457777 h 6689084"/>
                <a:gd name="connsiteX2700" fmla="*/ 2614925 w 6689088"/>
                <a:gd name="connsiteY2700" fmla="*/ 1456687 h 6689084"/>
                <a:gd name="connsiteX2701" fmla="*/ 2618192 w 6689088"/>
                <a:gd name="connsiteY2701" fmla="*/ 1459954 h 6689084"/>
                <a:gd name="connsiteX2702" fmla="*/ 2614925 w 6689088"/>
                <a:gd name="connsiteY2702" fmla="*/ 1463225 h 6689084"/>
                <a:gd name="connsiteX2703" fmla="*/ 2611659 w 6689088"/>
                <a:gd name="connsiteY2703" fmla="*/ 1459954 h 6689084"/>
                <a:gd name="connsiteX2704" fmla="*/ 2614925 w 6689088"/>
                <a:gd name="connsiteY2704" fmla="*/ 1456687 h 6689084"/>
                <a:gd name="connsiteX2705" fmla="*/ 2768873 w 6689088"/>
                <a:gd name="connsiteY2705" fmla="*/ 1455601 h 6689084"/>
                <a:gd name="connsiteX2706" fmla="*/ 2773230 w 6689088"/>
                <a:gd name="connsiteY2706" fmla="*/ 1459958 h 6689084"/>
                <a:gd name="connsiteX2707" fmla="*/ 2768873 w 6689088"/>
                <a:gd name="connsiteY2707" fmla="*/ 1464315 h 6689084"/>
                <a:gd name="connsiteX2708" fmla="*/ 2764516 w 6689088"/>
                <a:gd name="connsiteY2708" fmla="*/ 1459958 h 6689084"/>
                <a:gd name="connsiteX2709" fmla="*/ 2768873 w 6689088"/>
                <a:gd name="connsiteY2709" fmla="*/ 1455601 h 6689084"/>
                <a:gd name="connsiteX2710" fmla="*/ 2922458 w 6689088"/>
                <a:gd name="connsiteY2710" fmla="*/ 1454149 h 6689084"/>
                <a:gd name="connsiteX2711" fmla="*/ 2928267 w 6689088"/>
                <a:gd name="connsiteY2711" fmla="*/ 1459958 h 6689084"/>
                <a:gd name="connsiteX2712" fmla="*/ 2922458 w 6689088"/>
                <a:gd name="connsiteY2712" fmla="*/ 1465767 h 6689084"/>
                <a:gd name="connsiteX2713" fmla="*/ 2916649 w 6689088"/>
                <a:gd name="connsiteY2713" fmla="*/ 1459958 h 6689084"/>
                <a:gd name="connsiteX2714" fmla="*/ 2922458 w 6689088"/>
                <a:gd name="connsiteY2714" fmla="*/ 1454149 h 6689084"/>
                <a:gd name="connsiteX2715" fmla="*/ 3076406 w 6689088"/>
                <a:gd name="connsiteY2715" fmla="*/ 1452696 h 6689084"/>
                <a:gd name="connsiteX2716" fmla="*/ 3083667 w 6689088"/>
                <a:gd name="connsiteY2716" fmla="*/ 1459958 h 6689084"/>
                <a:gd name="connsiteX2717" fmla="*/ 3076406 w 6689088"/>
                <a:gd name="connsiteY2717" fmla="*/ 1467220 h 6689084"/>
                <a:gd name="connsiteX2718" fmla="*/ 3069144 w 6689088"/>
                <a:gd name="connsiteY2718" fmla="*/ 1459958 h 6689084"/>
                <a:gd name="connsiteX2719" fmla="*/ 3076406 w 6689088"/>
                <a:gd name="connsiteY2719" fmla="*/ 1452696 h 6689084"/>
                <a:gd name="connsiteX2720" fmla="*/ 3230353 w 6689088"/>
                <a:gd name="connsiteY2720" fmla="*/ 1450516 h 6689084"/>
                <a:gd name="connsiteX2721" fmla="*/ 3239433 w 6689088"/>
                <a:gd name="connsiteY2721" fmla="*/ 1459592 h 6689084"/>
                <a:gd name="connsiteX2722" fmla="*/ 3230353 w 6689088"/>
                <a:gd name="connsiteY2722" fmla="*/ 1468672 h 6689084"/>
                <a:gd name="connsiteX2723" fmla="*/ 3221277 w 6689088"/>
                <a:gd name="connsiteY2723" fmla="*/ 1459592 h 6689084"/>
                <a:gd name="connsiteX2724" fmla="*/ 3230353 w 6689088"/>
                <a:gd name="connsiteY2724" fmla="*/ 1450516 h 6689084"/>
                <a:gd name="connsiteX2725" fmla="*/ 3383934 w 6689088"/>
                <a:gd name="connsiteY2725" fmla="*/ 1449791 h 6689084"/>
                <a:gd name="connsiteX2726" fmla="*/ 3394100 w 6689088"/>
                <a:gd name="connsiteY2726" fmla="*/ 1459958 h 6689084"/>
                <a:gd name="connsiteX2727" fmla="*/ 3383934 w 6689088"/>
                <a:gd name="connsiteY2727" fmla="*/ 1470124 h 6689084"/>
                <a:gd name="connsiteX2728" fmla="*/ 3373768 w 6689088"/>
                <a:gd name="connsiteY2728" fmla="*/ 1459958 h 6689084"/>
                <a:gd name="connsiteX2729" fmla="*/ 3383934 w 6689088"/>
                <a:gd name="connsiteY2729" fmla="*/ 1449791 h 6689084"/>
                <a:gd name="connsiteX2730" fmla="*/ 3537882 w 6689088"/>
                <a:gd name="connsiteY2730" fmla="*/ 1447977 h 6689084"/>
                <a:gd name="connsiteX2731" fmla="*/ 3549866 w 6689088"/>
                <a:gd name="connsiteY2731" fmla="*/ 1459958 h 6689084"/>
                <a:gd name="connsiteX2732" fmla="*/ 3537882 w 6689088"/>
                <a:gd name="connsiteY2732" fmla="*/ 1471939 h 6689084"/>
                <a:gd name="connsiteX2733" fmla="*/ 3525901 w 6689088"/>
                <a:gd name="connsiteY2733" fmla="*/ 1459958 h 6689084"/>
                <a:gd name="connsiteX2734" fmla="*/ 3537882 w 6689088"/>
                <a:gd name="connsiteY2734" fmla="*/ 1447977 h 6689084"/>
                <a:gd name="connsiteX2735" fmla="*/ 3691467 w 6689088"/>
                <a:gd name="connsiteY2735" fmla="*/ 1445797 h 6689084"/>
                <a:gd name="connsiteX2736" fmla="*/ 3705266 w 6689088"/>
                <a:gd name="connsiteY2736" fmla="*/ 1459596 h 6689084"/>
                <a:gd name="connsiteX2737" fmla="*/ 3691467 w 6689088"/>
                <a:gd name="connsiteY2737" fmla="*/ 1473391 h 6689084"/>
                <a:gd name="connsiteX2738" fmla="*/ 3677672 w 6689088"/>
                <a:gd name="connsiteY2738" fmla="*/ 1459596 h 6689084"/>
                <a:gd name="connsiteX2739" fmla="*/ 3691467 w 6689088"/>
                <a:gd name="connsiteY2739" fmla="*/ 1445797 h 6689084"/>
                <a:gd name="connsiteX2740" fmla="*/ 3845414 w 6689088"/>
                <a:gd name="connsiteY2740" fmla="*/ 1444706 h 6689084"/>
                <a:gd name="connsiteX2741" fmla="*/ 3860666 w 6689088"/>
                <a:gd name="connsiteY2741" fmla="*/ 1459954 h 6689084"/>
                <a:gd name="connsiteX2742" fmla="*/ 3845414 w 6689088"/>
                <a:gd name="connsiteY2742" fmla="*/ 1475205 h 6689084"/>
                <a:gd name="connsiteX2743" fmla="*/ 3830167 w 6689088"/>
                <a:gd name="connsiteY2743" fmla="*/ 1459954 h 6689084"/>
                <a:gd name="connsiteX2744" fmla="*/ 3845414 w 6689088"/>
                <a:gd name="connsiteY2744" fmla="*/ 1444706 h 6689084"/>
                <a:gd name="connsiteX2745" fmla="*/ 3999000 w 6689088"/>
                <a:gd name="connsiteY2745" fmla="*/ 1442892 h 6689084"/>
                <a:gd name="connsiteX2746" fmla="*/ 4016066 w 6689088"/>
                <a:gd name="connsiteY2746" fmla="*/ 1459958 h 6689084"/>
                <a:gd name="connsiteX2747" fmla="*/ 3999000 w 6689088"/>
                <a:gd name="connsiteY2747" fmla="*/ 1477020 h 6689084"/>
                <a:gd name="connsiteX2748" fmla="*/ 3981934 w 6689088"/>
                <a:gd name="connsiteY2748" fmla="*/ 1459958 h 6689084"/>
                <a:gd name="connsiteX2749" fmla="*/ 3999000 w 6689088"/>
                <a:gd name="connsiteY2749" fmla="*/ 1442892 h 6689084"/>
                <a:gd name="connsiteX2750" fmla="*/ 4152947 w 6689088"/>
                <a:gd name="connsiteY2750" fmla="*/ 1440715 h 6689084"/>
                <a:gd name="connsiteX2751" fmla="*/ 4172194 w 6689088"/>
                <a:gd name="connsiteY2751" fmla="*/ 1459958 h 6689084"/>
                <a:gd name="connsiteX2752" fmla="*/ 4152947 w 6689088"/>
                <a:gd name="connsiteY2752" fmla="*/ 1479200 h 6689084"/>
                <a:gd name="connsiteX2753" fmla="*/ 4133704 w 6689088"/>
                <a:gd name="connsiteY2753" fmla="*/ 1459958 h 6689084"/>
                <a:gd name="connsiteX2754" fmla="*/ 4152947 w 6689088"/>
                <a:gd name="connsiteY2754" fmla="*/ 1440715 h 6689084"/>
                <a:gd name="connsiteX2755" fmla="*/ 4306532 w 6689088"/>
                <a:gd name="connsiteY2755" fmla="*/ 1438535 h 6689084"/>
                <a:gd name="connsiteX2756" fmla="*/ 4327952 w 6689088"/>
                <a:gd name="connsiteY2756" fmla="*/ 1459958 h 6689084"/>
                <a:gd name="connsiteX2757" fmla="*/ 4306532 w 6689088"/>
                <a:gd name="connsiteY2757" fmla="*/ 1481381 h 6689084"/>
                <a:gd name="connsiteX2758" fmla="*/ 4285110 w 6689088"/>
                <a:gd name="connsiteY2758" fmla="*/ 1459958 h 6689084"/>
                <a:gd name="connsiteX2759" fmla="*/ 4306532 w 6689088"/>
                <a:gd name="connsiteY2759" fmla="*/ 1438535 h 6689084"/>
                <a:gd name="connsiteX2760" fmla="*/ 4460480 w 6689088"/>
                <a:gd name="connsiteY2760" fmla="*/ 1437083 h 6689084"/>
                <a:gd name="connsiteX2761" fmla="*/ 4483355 w 6689088"/>
                <a:gd name="connsiteY2761" fmla="*/ 1459958 h 6689084"/>
                <a:gd name="connsiteX2762" fmla="*/ 4460480 w 6689088"/>
                <a:gd name="connsiteY2762" fmla="*/ 1482833 h 6689084"/>
                <a:gd name="connsiteX2763" fmla="*/ 4437604 w 6689088"/>
                <a:gd name="connsiteY2763" fmla="*/ 1459958 h 6689084"/>
                <a:gd name="connsiteX2764" fmla="*/ 4460480 w 6689088"/>
                <a:gd name="connsiteY2764" fmla="*/ 1437083 h 6689084"/>
                <a:gd name="connsiteX2765" fmla="*/ 4614061 w 6689088"/>
                <a:gd name="connsiteY2765" fmla="*/ 1434906 h 6689084"/>
                <a:gd name="connsiteX2766" fmla="*/ 4639116 w 6689088"/>
                <a:gd name="connsiteY2766" fmla="*/ 1459958 h 6689084"/>
                <a:gd name="connsiteX2767" fmla="*/ 4614061 w 6689088"/>
                <a:gd name="connsiteY2767" fmla="*/ 1485013 h 6689084"/>
                <a:gd name="connsiteX2768" fmla="*/ 4589010 w 6689088"/>
                <a:gd name="connsiteY2768" fmla="*/ 1459958 h 6689084"/>
                <a:gd name="connsiteX2769" fmla="*/ 4614061 w 6689088"/>
                <a:gd name="connsiteY2769" fmla="*/ 1434906 h 6689084"/>
                <a:gd name="connsiteX2770" fmla="*/ 4768012 w 6689088"/>
                <a:gd name="connsiteY2770" fmla="*/ 1432726 h 6689084"/>
                <a:gd name="connsiteX2771" fmla="*/ 4795244 w 6689088"/>
                <a:gd name="connsiteY2771" fmla="*/ 1459958 h 6689084"/>
                <a:gd name="connsiteX2772" fmla="*/ 4768012 w 6689088"/>
                <a:gd name="connsiteY2772" fmla="*/ 1487190 h 6689084"/>
                <a:gd name="connsiteX2773" fmla="*/ 4740780 w 6689088"/>
                <a:gd name="connsiteY2773" fmla="*/ 1459958 h 6689084"/>
                <a:gd name="connsiteX2774" fmla="*/ 4768012 w 6689088"/>
                <a:gd name="connsiteY2774" fmla="*/ 1432726 h 6689084"/>
                <a:gd name="connsiteX2775" fmla="*/ 4921594 w 6689088"/>
                <a:gd name="connsiteY2775" fmla="*/ 1430183 h 6689084"/>
                <a:gd name="connsiteX2776" fmla="*/ 4951368 w 6689088"/>
                <a:gd name="connsiteY2776" fmla="*/ 1459954 h 6689084"/>
                <a:gd name="connsiteX2777" fmla="*/ 4921594 w 6689088"/>
                <a:gd name="connsiteY2777" fmla="*/ 1489729 h 6689084"/>
                <a:gd name="connsiteX2778" fmla="*/ 4891823 w 6689088"/>
                <a:gd name="connsiteY2778" fmla="*/ 1459954 h 6689084"/>
                <a:gd name="connsiteX2779" fmla="*/ 4921594 w 6689088"/>
                <a:gd name="connsiteY2779" fmla="*/ 1430183 h 6689084"/>
                <a:gd name="connsiteX2780" fmla="*/ 5075541 w 6689088"/>
                <a:gd name="connsiteY2780" fmla="*/ 1428007 h 6689084"/>
                <a:gd name="connsiteX2781" fmla="*/ 5107492 w 6689088"/>
                <a:gd name="connsiteY2781" fmla="*/ 1459958 h 6689084"/>
                <a:gd name="connsiteX2782" fmla="*/ 5075541 w 6689088"/>
                <a:gd name="connsiteY2782" fmla="*/ 1491909 h 6689084"/>
                <a:gd name="connsiteX2783" fmla="*/ 5043590 w 6689088"/>
                <a:gd name="connsiteY2783" fmla="*/ 1459958 h 6689084"/>
                <a:gd name="connsiteX2784" fmla="*/ 5075541 w 6689088"/>
                <a:gd name="connsiteY2784" fmla="*/ 1428007 h 6689084"/>
                <a:gd name="connsiteX2785" fmla="*/ 5229126 w 6689088"/>
                <a:gd name="connsiteY2785" fmla="*/ 1426192 h 6689084"/>
                <a:gd name="connsiteX2786" fmla="*/ 5262892 w 6689088"/>
                <a:gd name="connsiteY2786" fmla="*/ 1459958 h 6689084"/>
                <a:gd name="connsiteX2787" fmla="*/ 5229126 w 6689088"/>
                <a:gd name="connsiteY2787" fmla="*/ 1493724 h 6689084"/>
                <a:gd name="connsiteX2788" fmla="*/ 5195360 w 6689088"/>
                <a:gd name="connsiteY2788" fmla="*/ 1459958 h 6689084"/>
                <a:gd name="connsiteX2789" fmla="*/ 5229126 w 6689088"/>
                <a:gd name="connsiteY2789" fmla="*/ 1426192 h 6689084"/>
                <a:gd name="connsiteX2790" fmla="*/ 5383074 w 6689088"/>
                <a:gd name="connsiteY2790" fmla="*/ 1423650 h 6689084"/>
                <a:gd name="connsiteX2791" fmla="*/ 5419382 w 6689088"/>
                <a:gd name="connsiteY2791" fmla="*/ 1459958 h 6689084"/>
                <a:gd name="connsiteX2792" fmla="*/ 5383074 w 6689088"/>
                <a:gd name="connsiteY2792" fmla="*/ 1496266 h 6689084"/>
                <a:gd name="connsiteX2793" fmla="*/ 5346766 w 6689088"/>
                <a:gd name="connsiteY2793" fmla="*/ 1459958 h 6689084"/>
                <a:gd name="connsiteX2794" fmla="*/ 5383074 w 6689088"/>
                <a:gd name="connsiteY2794" fmla="*/ 1423650 h 6689084"/>
                <a:gd name="connsiteX2795" fmla="*/ 5536659 w 6689088"/>
                <a:gd name="connsiteY2795" fmla="*/ 1421107 h 6689084"/>
                <a:gd name="connsiteX2796" fmla="*/ 5575506 w 6689088"/>
                <a:gd name="connsiteY2796" fmla="*/ 1459958 h 6689084"/>
                <a:gd name="connsiteX2797" fmla="*/ 5536659 w 6689088"/>
                <a:gd name="connsiteY2797" fmla="*/ 1498805 h 6689084"/>
                <a:gd name="connsiteX2798" fmla="*/ 5497808 w 6689088"/>
                <a:gd name="connsiteY2798" fmla="*/ 1459958 h 6689084"/>
                <a:gd name="connsiteX2799" fmla="*/ 5536659 w 6689088"/>
                <a:gd name="connsiteY2799" fmla="*/ 1421107 h 6689084"/>
                <a:gd name="connsiteX2800" fmla="*/ 5690606 w 6689088"/>
                <a:gd name="connsiteY2800" fmla="*/ 1418930 h 6689084"/>
                <a:gd name="connsiteX2801" fmla="*/ 5731638 w 6689088"/>
                <a:gd name="connsiteY2801" fmla="*/ 1459958 h 6689084"/>
                <a:gd name="connsiteX2802" fmla="*/ 5690606 w 6689088"/>
                <a:gd name="connsiteY2802" fmla="*/ 1500985 h 6689084"/>
                <a:gd name="connsiteX2803" fmla="*/ 5649579 w 6689088"/>
                <a:gd name="connsiteY2803" fmla="*/ 1459958 h 6689084"/>
                <a:gd name="connsiteX2804" fmla="*/ 5690606 w 6689088"/>
                <a:gd name="connsiteY2804" fmla="*/ 1418930 h 6689084"/>
                <a:gd name="connsiteX2805" fmla="*/ 5844554 w 6689088"/>
                <a:gd name="connsiteY2805" fmla="*/ 1416388 h 6689084"/>
                <a:gd name="connsiteX2806" fmla="*/ 5888124 w 6689088"/>
                <a:gd name="connsiteY2806" fmla="*/ 1459958 h 6689084"/>
                <a:gd name="connsiteX2807" fmla="*/ 5844554 w 6689088"/>
                <a:gd name="connsiteY2807" fmla="*/ 1503528 h 6689084"/>
                <a:gd name="connsiteX2808" fmla="*/ 5800984 w 6689088"/>
                <a:gd name="connsiteY2808" fmla="*/ 1459958 h 6689084"/>
                <a:gd name="connsiteX2809" fmla="*/ 5844554 w 6689088"/>
                <a:gd name="connsiteY2809" fmla="*/ 1416388 h 6689084"/>
                <a:gd name="connsiteX2810" fmla="*/ 5998136 w 6689088"/>
                <a:gd name="connsiteY2810" fmla="*/ 1413845 h 6689084"/>
                <a:gd name="connsiteX2811" fmla="*/ 6044248 w 6689088"/>
                <a:gd name="connsiteY2811" fmla="*/ 1459958 h 6689084"/>
                <a:gd name="connsiteX2812" fmla="*/ 5998136 w 6689088"/>
                <a:gd name="connsiteY2812" fmla="*/ 1506070 h 6689084"/>
                <a:gd name="connsiteX2813" fmla="*/ 5952026 w 6689088"/>
                <a:gd name="connsiteY2813" fmla="*/ 1459958 h 6689084"/>
                <a:gd name="connsiteX2814" fmla="*/ 5998136 w 6689088"/>
                <a:gd name="connsiteY2814" fmla="*/ 1413845 h 6689084"/>
                <a:gd name="connsiteX2815" fmla="*/ 6152083 w 6689088"/>
                <a:gd name="connsiteY2815" fmla="*/ 1411303 h 6689084"/>
                <a:gd name="connsiteX2816" fmla="*/ 6200738 w 6689088"/>
                <a:gd name="connsiteY2816" fmla="*/ 1459958 h 6689084"/>
                <a:gd name="connsiteX2817" fmla="*/ 6152083 w 6689088"/>
                <a:gd name="connsiteY2817" fmla="*/ 1508609 h 6689084"/>
                <a:gd name="connsiteX2818" fmla="*/ 6103432 w 6689088"/>
                <a:gd name="connsiteY2818" fmla="*/ 1459958 h 6689084"/>
                <a:gd name="connsiteX2819" fmla="*/ 6152083 w 6689088"/>
                <a:gd name="connsiteY2819" fmla="*/ 1411303 h 6689084"/>
                <a:gd name="connsiteX2820" fmla="*/ 6305672 w 6689088"/>
                <a:gd name="connsiteY2820" fmla="*/ 1408760 h 6689084"/>
                <a:gd name="connsiteX2821" fmla="*/ 6356866 w 6689088"/>
                <a:gd name="connsiteY2821" fmla="*/ 1459954 h 6689084"/>
                <a:gd name="connsiteX2822" fmla="*/ 6305672 w 6689088"/>
                <a:gd name="connsiteY2822" fmla="*/ 1511148 h 6689084"/>
                <a:gd name="connsiteX2823" fmla="*/ 6254474 w 6689088"/>
                <a:gd name="connsiteY2823" fmla="*/ 1459954 h 6689084"/>
                <a:gd name="connsiteX2824" fmla="*/ 6305672 w 6689088"/>
                <a:gd name="connsiteY2824" fmla="*/ 1408760 h 6689084"/>
                <a:gd name="connsiteX2825" fmla="*/ 6459616 w 6689088"/>
                <a:gd name="connsiteY2825" fmla="*/ 1406584 h 6689084"/>
                <a:gd name="connsiteX2826" fmla="*/ 6512990 w 6689088"/>
                <a:gd name="connsiteY2826" fmla="*/ 1459958 h 6689084"/>
                <a:gd name="connsiteX2827" fmla="*/ 6459616 w 6689088"/>
                <a:gd name="connsiteY2827" fmla="*/ 1513328 h 6689084"/>
                <a:gd name="connsiteX2828" fmla="*/ 6406241 w 6689088"/>
                <a:gd name="connsiteY2828" fmla="*/ 1459958 h 6689084"/>
                <a:gd name="connsiteX2829" fmla="*/ 6459616 w 6689088"/>
                <a:gd name="connsiteY2829" fmla="*/ 1406584 h 6689084"/>
                <a:gd name="connsiteX2830" fmla="*/ 6613200 w 6689088"/>
                <a:gd name="connsiteY2830" fmla="*/ 1403679 h 6689084"/>
                <a:gd name="connsiteX2831" fmla="*/ 6669476 w 6689088"/>
                <a:gd name="connsiteY2831" fmla="*/ 1459958 h 6689084"/>
                <a:gd name="connsiteX2832" fmla="*/ 6613200 w 6689088"/>
                <a:gd name="connsiteY2832" fmla="*/ 1516233 h 6689084"/>
                <a:gd name="connsiteX2833" fmla="*/ 6556922 w 6689088"/>
                <a:gd name="connsiteY2833" fmla="*/ 1459958 h 6689084"/>
                <a:gd name="connsiteX2834" fmla="*/ 6613200 w 6689088"/>
                <a:gd name="connsiteY2834" fmla="*/ 1403679 h 6689084"/>
                <a:gd name="connsiteX2835" fmla="*/ 1999860 w 6689088"/>
                <a:gd name="connsiteY2835" fmla="*/ 1305645 h 6689084"/>
                <a:gd name="connsiteX2836" fmla="*/ 2000222 w 6689088"/>
                <a:gd name="connsiteY2836" fmla="*/ 1306007 h 6689084"/>
                <a:gd name="connsiteX2837" fmla="*/ 1999860 w 6689088"/>
                <a:gd name="connsiteY2837" fmla="*/ 1306373 h 6689084"/>
                <a:gd name="connsiteX2838" fmla="*/ 1999498 w 6689088"/>
                <a:gd name="connsiteY2838" fmla="*/ 1306007 h 6689084"/>
                <a:gd name="connsiteX2839" fmla="*/ 1999860 w 6689088"/>
                <a:gd name="connsiteY2839" fmla="*/ 1305645 h 6689084"/>
                <a:gd name="connsiteX2840" fmla="*/ 1538746 w 6689088"/>
                <a:gd name="connsiteY2840" fmla="*/ 1305645 h 6689084"/>
                <a:gd name="connsiteX2841" fmla="*/ 1539108 w 6689088"/>
                <a:gd name="connsiteY2841" fmla="*/ 1306007 h 6689084"/>
                <a:gd name="connsiteX2842" fmla="*/ 1538746 w 6689088"/>
                <a:gd name="connsiteY2842" fmla="*/ 1306373 h 6689084"/>
                <a:gd name="connsiteX2843" fmla="*/ 1538384 w 6689088"/>
                <a:gd name="connsiteY2843" fmla="*/ 1306007 h 6689084"/>
                <a:gd name="connsiteX2844" fmla="*/ 1538746 w 6689088"/>
                <a:gd name="connsiteY2844" fmla="*/ 1305645 h 6689084"/>
                <a:gd name="connsiteX2845" fmla="*/ 1384799 w 6689088"/>
                <a:gd name="connsiteY2845" fmla="*/ 1305645 h 6689084"/>
                <a:gd name="connsiteX2846" fmla="*/ 1385161 w 6689088"/>
                <a:gd name="connsiteY2846" fmla="*/ 1306007 h 6689084"/>
                <a:gd name="connsiteX2847" fmla="*/ 1384799 w 6689088"/>
                <a:gd name="connsiteY2847" fmla="*/ 1306373 h 6689084"/>
                <a:gd name="connsiteX2848" fmla="*/ 1384437 w 6689088"/>
                <a:gd name="connsiteY2848" fmla="*/ 1306007 h 6689084"/>
                <a:gd name="connsiteX2849" fmla="*/ 1384799 w 6689088"/>
                <a:gd name="connsiteY2849" fmla="*/ 1305645 h 6689084"/>
                <a:gd name="connsiteX2850" fmla="*/ 1231217 w 6689088"/>
                <a:gd name="connsiteY2850" fmla="*/ 1305282 h 6689084"/>
                <a:gd name="connsiteX2851" fmla="*/ 1231942 w 6689088"/>
                <a:gd name="connsiteY2851" fmla="*/ 1306010 h 6689084"/>
                <a:gd name="connsiteX2852" fmla="*/ 1231217 w 6689088"/>
                <a:gd name="connsiteY2852" fmla="*/ 1306735 h 6689084"/>
                <a:gd name="connsiteX2853" fmla="*/ 1230489 w 6689088"/>
                <a:gd name="connsiteY2853" fmla="*/ 1306010 h 6689084"/>
                <a:gd name="connsiteX2854" fmla="*/ 1231217 w 6689088"/>
                <a:gd name="connsiteY2854" fmla="*/ 1305282 h 6689084"/>
                <a:gd name="connsiteX2855" fmla="*/ 2153811 w 6689088"/>
                <a:gd name="connsiteY2855" fmla="*/ 1304558 h 6689084"/>
                <a:gd name="connsiteX2856" fmla="*/ 2155264 w 6689088"/>
                <a:gd name="connsiteY2856" fmla="*/ 1306010 h 6689084"/>
                <a:gd name="connsiteX2857" fmla="*/ 2153811 w 6689088"/>
                <a:gd name="connsiteY2857" fmla="*/ 1307463 h 6689084"/>
                <a:gd name="connsiteX2858" fmla="*/ 2152359 w 6689088"/>
                <a:gd name="connsiteY2858" fmla="*/ 1306010 h 6689084"/>
                <a:gd name="connsiteX2859" fmla="*/ 2153811 w 6689088"/>
                <a:gd name="connsiteY2859" fmla="*/ 1304558 h 6689084"/>
                <a:gd name="connsiteX2860" fmla="*/ 2307393 w 6689088"/>
                <a:gd name="connsiteY2860" fmla="*/ 1303830 h 6689084"/>
                <a:gd name="connsiteX2861" fmla="*/ 2309573 w 6689088"/>
                <a:gd name="connsiteY2861" fmla="*/ 1306010 h 6689084"/>
                <a:gd name="connsiteX2862" fmla="*/ 2307393 w 6689088"/>
                <a:gd name="connsiteY2862" fmla="*/ 1308187 h 6689084"/>
                <a:gd name="connsiteX2863" fmla="*/ 2305216 w 6689088"/>
                <a:gd name="connsiteY2863" fmla="*/ 1306010 h 6689084"/>
                <a:gd name="connsiteX2864" fmla="*/ 2307393 w 6689088"/>
                <a:gd name="connsiteY2864" fmla="*/ 1303830 h 6689084"/>
                <a:gd name="connsiteX2865" fmla="*/ 2461344 w 6689088"/>
                <a:gd name="connsiteY2865" fmla="*/ 1303106 h 6689084"/>
                <a:gd name="connsiteX2866" fmla="*/ 2464611 w 6689088"/>
                <a:gd name="connsiteY2866" fmla="*/ 1306373 h 6689084"/>
                <a:gd name="connsiteX2867" fmla="*/ 2461344 w 6689088"/>
                <a:gd name="connsiteY2867" fmla="*/ 1309643 h 6689084"/>
                <a:gd name="connsiteX2868" fmla="*/ 2458073 w 6689088"/>
                <a:gd name="connsiteY2868" fmla="*/ 1306373 h 6689084"/>
                <a:gd name="connsiteX2869" fmla="*/ 2461344 w 6689088"/>
                <a:gd name="connsiteY2869" fmla="*/ 1303106 h 6689084"/>
                <a:gd name="connsiteX2870" fmla="*/ 2614925 w 6689088"/>
                <a:gd name="connsiteY2870" fmla="*/ 1301653 h 6689084"/>
                <a:gd name="connsiteX2871" fmla="*/ 2619283 w 6689088"/>
                <a:gd name="connsiteY2871" fmla="*/ 1306010 h 6689084"/>
                <a:gd name="connsiteX2872" fmla="*/ 2614925 w 6689088"/>
                <a:gd name="connsiteY2872" fmla="*/ 1310367 h 6689084"/>
                <a:gd name="connsiteX2873" fmla="*/ 2610568 w 6689088"/>
                <a:gd name="connsiteY2873" fmla="*/ 1306010 h 6689084"/>
                <a:gd name="connsiteX2874" fmla="*/ 2614925 w 6689088"/>
                <a:gd name="connsiteY2874" fmla="*/ 1301653 h 6689084"/>
                <a:gd name="connsiteX2875" fmla="*/ 2768873 w 6689088"/>
                <a:gd name="connsiteY2875" fmla="*/ 1300563 h 6689084"/>
                <a:gd name="connsiteX2876" fmla="*/ 2774682 w 6689088"/>
                <a:gd name="connsiteY2876" fmla="*/ 1306373 h 6689084"/>
                <a:gd name="connsiteX2877" fmla="*/ 2768873 w 6689088"/>
                <a:gd name="connsiteY2877" fmla="*/ 1312182 h 6689084"/>
                <a:gd name="connsiteX2878" fmla="*/ 2763064 w 6689088"/>
                <a:gd name="connsiteY2878" fmla="*/ 1306373 h 6689084"/>
                <a:gd name="connsiteX2879" fmla="*/ 2768873 w 6689088"/>
                <a:gd name="connsiteY2879" fmla="*/ 1300563 h 6689084"/>
                <a:gd name="connsiteX2880" fmla="*/ 2922458 w 6689088"/>
                <a:gd name="connsiteY2880" fmla="*/ 1298749 h 6689084"/>
                <a:gd name="connsiteX2881" fmla="*/ 2929720 w 6689088"/>
                <a:gd name="connsiteY2881" fmla="*/ 1306010 h 6689084"/>
                <a:gd name="connsiteX2882" fmla="*/ 2922458 w 6689088"/>
                <a:gd name="connsiteY2882" fmla="*/ 1313272 h 6689084"/>
                <a:gd name="connsiteX2883" fmla="*/ 2915196 w 6689088"/>
                <a:gd name="connsiteY2883" fmla="*/ 1306010 h 6689084"/>
                <a:gd name="connsiteX2884" fmla="*/ 2922458 w 6689088"/>
                <a:gd name="connsiteY2884" fmla="*/ 1298749 h 6689084"/>
                <a:gd name="connsiteX2885" fmla="*/ 3076406 w 6689088"/>
                <a:gd name="connsiteY2885" fmla="*/ 1296934 h 6689084"/>
                <a:gd name="connsiteX2886" fmla="*/ 3085486 w 6689088"/>
                <a:gd name="connsiteY2886" fmla="*/ 1306010 h 6689084"/>
                <a:gd name="connsiteX2887" fmla="*/ 3076406 w 6689088"/>
                <a:gd name="connsiteY2887" fmla="*/ 1315090 h 6689084"/>
                <a:gd name="connsiteX2888" fmla="*/ 3067329 w 6689088"/>
                <a:gd name="connsiteY2888" fmla="*/ 1306010 h 6689084"/>
                <a:gd name="connsiteX2889" fmla="*/ 3076406 w 6689088"/>
                <a:gd name="connsiteY2889" fmla="*/ 1296934 h 6689084"/>
                <a:gd name="connsiteX2890" fmla="*/ 3230353 w 6689088"/>
                <a:gd name="connsiteY2890" fmla="*/ 1295844 h 6689084"/>
                <a:gd name="connsiteX2891" fmla="*/ 3240519 w 6689088"/>
                <a:gd name="connsiteY2891" fmla="*/ 1306010 h 6689084"/>
                <a:gd name="connsiteX2892" fmla="*/ 3230353 w 6689088"/>
                <a:gd name="connsiteY2892" fmla="*/ 1316177 h 6689084"/>
                <a:gd name="connsiteX2893" fmla="*/ 3220186 w 6689088"/>
                <a:gd name="connsiteY2893" fmla="*/ 1306010 h 6689084"/>
                <a:gd name="connsiteX2894" fmla="*/ 3230353 w 6689088"/>
                <a:gd name="connsiteY2894" fmla="*/ 1295844 h 6689084"/>
                <a:gd name="connsiteX2895" fmla="*/ 3383934 w 6689088"/>
                <a:gd name="connsiteY2895" fmla="*/ 1294026 h 6689084"/>
                <a:gd name="connsiteX2896" fmla="*/ 3395919 w 6689088"/>
                <a:gd name="connsiteY2896" fmla="*/ 1306007 h 6689084"/>
                <a:gd name="connsiteX2897" fmla="*/ 3383934 w 6689088"/>
                <a:gd name="connsiteY2897" fmla="*/ 1317987 h 6689084"/>
                <a:gd name="connsiteX2898" fmla="*/ 3371954 w 6689088"/>
                <a:gd name="connsiteY2898" fmla="*/ 1306007 h 6689084"/>
                <a:gd name="connsiteX2899" fmla="*/ 3383934 w 6689088"/>
                <a:gd name="connsiteY2899" fmla="*/ 1294026 h 6689084"/>
                <a:gd name="connsiteX2900" fmla="*/ 3537886 w 6689088"/>
                <a:gd name="connsiteY2900" fmla="*/ 1292211 h 6689084"/>
                <a:gd name="connsiteX2901" fmla="*/ 3551681 w 6689088"/>
                <a:gd name="connsiteY2901" fmla="*/ 1306010 h 6689084"/>
                <a:gd name="connsiteX2902" fmla="*/ 3537886 w 6689088"/>
                <a:gd name="connsiteY2902" fmla="*/ 1319806 h 6689084"/>
                <a:gd name="connsiteX2903" fmla="*/ 3524086 w 6689088"/>
                <a:gd name="connsiteY2903" fmla="*/ 1306010 h 6689084"/>
                <a:gd name="connsiteX2904" fmla="*/ 3537886 w 6689088"/>
                <a:gd name="connsiteY2904" fmla="*/ 1292211 h 6689084"/>
                <a:gd name="connsiteX2905" fmla="*/ 3691467 w 6689088"/>
                <a:gd name="connsiteY2905" fmla="*/ 1290759 h 6689084"/>
                <a:gd name="connsiteX2906" fmla="*/ 3706718 w 6689088"/>
                <a:gd name="connsiteY2906" fmla="*/ 1306010 h 6689084"/>
                <a:gd name="connsiteX2907" fmla="*/ 3691467 w 6689088"/>
                <a:gd name="connsiteY2907" fmla="*/ 1321258 h 6689084"/>
                <a:gd name="connsiteX2908" fmla="*/ 3676219 w 6689088"/>
                <a:gd name="connsiteY2908" fmla="*/ 1306010 h 6689084"/>
                <a:gd name="connsiteX2909" fmla="*/ 3691467 w 6689088"/>
                <a:gd name="connsiteY2909" fmla="*/ 1290759 h 6689084"/>
                <a:gd name="connsiteX2910" fmla="*/ 3845418 w 6689088"/>
                <a:gd name="connsiteY2910" fmla="*/ 1288945 h 6689084"/>
                <a:gd name="connsiteX2911" fmla="*/ 3862484 w 6689088"/>
                <a:gd name="connsiteY2911" fmla="*/ 1306010 h 6689084"/>
                <a:gd name="connsiteX2912" fmla="*/ 3845418 w 6689088"/>
                <a:gd name="connsiteY2912" fmla="*/ 1323072 h 6689084"/>
                <a:gd name="connsiteX2913" fmla="*/ 3828352 w 6689088"/>
                <a:gd name="connsiteY2913" fmla="*/ 1306010 h 6689084"/>
                <a:gd name="connsiteX2914" fmla="*/ 3845418 w 6689088"/>
                <a:gd name="connsiteY2914" fmla="*/ 1288945 h 6689084"/>
                <a:gd name="connsiteX2915" fmla="*/ 3999000 w 6689088"/>
                <a:gd name="connsiteY2915" fmla="*/ 1286768 h 6689084"/>
                <a:gd name="connsiteX2916" fmla="*/ 4018242 w 6689088"/>
                <a:gd name="connsiteY2916" fmla="*/ 1306010 h 6689084"/>
                <a:gd name="connsiteX2917" fmla="*/ 3999000 w 6689088"/>
                <a:gd name="connsiteY2917" fmla="*/ 1325257 h 6689084"/>
                <a:gd name="connsiteX2918" fmla="*/ 3979757 w 6689088"/>
                <a:gd name="connsiteY2918" fmla="*/ 1306010 h 6689084"/>
                <a:gd name="connsiteX2919" fmla="*/ 3999000 w 6689088"/>
                <a:gd name="connsiteY2919" fmla="*/ 1286768 h 6689084"/>
                <a:gd name="connsiteX2920" fmla="*/ 4152947 w 6689088"/>
                <a:gd name="connsiteY2920" fmla="*/ 1284588 h 6689084"/>
                <a:gd name="connsiteX2921" fmla="*/ 4174366 w 6689088"/>
                <a:gd name="connsiteY2921" fmla="*/ 1306010 h 6689084"/>
                <a:gd name="connsiteX2922" fmla="*/ 4152947 w 6689088"/>
                <a:gd name="connsiteY2922" fmla="*/ 1327433 h 6689084"/>
                <a:gd name="connsiteX2923" fmla="*/ 4131524 w 6689088"/>
                <a:gd name="connsiteY2923" fmla="*/ 1306010 h 6689084"/>
                <a:gd name="connsiteX2924" fmla="*/ 4152947 w 6689088"/>
                <a:gd name="connsiteY2924" fmla="*/ 1284588 h 6689084"/>
                <a:gd name="connsiteX2925" fmla="*/ 4306532 w 6689088"/>
                <a:gd name="connsiteY2925" fmla="*/ 1283135 h 6689084"/>
                <a:gd name="connsiteX2926" fmla="*/ 4329404 w 6689088"/>
                <a:gd name="connsiteY2926" fmla="*/ 1306010 h 6689084"/>
                <a:gd name="connsiteX2927" fmla="*/ 4306532 w 6689088"/>
                <a:gd name="connsiteY2927" fmla="*/ 1328886 h 6689084"/>
                <a:gd name="connsiteX2928" fmla="*/ 4283657 w 6689088"/>
                <a:gd name="connsiteY2928" fmla="*/ 1306010 h 6689084"/>
                <a:gd name="connsiteX2929" fmla="*/ 4306532 w 6689088"/>
                <a:gd name="connsiteY2929" fmla="*/ 1283135 h 6689084"/>
                <a:gd name="connsiteX2930" fmla="*/ 4460480 w 6689088"/>
                <a:gd name="connsiteY2930" fmla="*/ 1281321 h 6689084"/>
                <a:gd name="connsiteX2931" fmla="*/ 4485536 w 6689088"/>
                <a:gd name="connsiteY2931" fmla="*/ 1306373 h 6689084"/>
                <a:gd name="connsiteX2932" fmla="*/ 4460480 w 6689088"/>
                <a:gd name="connsiteY2932" fmla="*/ 1331424 h 6689084"/>
                <a:gd name="connsiteX2933" fmla="*/ 4435428 w 6689088"/>
                <a:gd name="connsiteY2933" fmla="*/ 1306373 h 6689084"/>
                <a:gd name="connsiteX2934" fmla="*/ 4460480 w 6689088"/>
                <a:gd name="connsiteY2934" fmla="*/ 1281321 h 6689084"/>
                <a:gd name="connsiteX2935" fmla="*/ 4614065 w 6689088"/>
                <a:gd name="connsiteY2935" fmla="*/ 1278778 h 6689084"/>
                <a:gd name="connsiteX2936" fmla="*/ 4641297 w 6689088"/>
                <a:gd name="connsiteY2936" fmla="*/ 1306010 h 6689084"/>
                <a:gd name="connsiteX2937" fmla="*/ 4614065 w 6689088"/>
                <a:gd name="connsiteY2937" fmla="*/ 1333243 h 6689084"/>
                <a:gd name="connsiteX2938" fmla="*/ 4586832 w 6689088"/>
                <a:gd name="connsiteY2938" fmla="*/ 1306010 h 6689084"/>
                <a:gd name="connsiteX2939" fmla="*/ 4614065 w 6689088"/>
                <a:gd name="connsiteY2939" fmla="*/ 1278778 h 6689084"/>
                <a:gd name="connsiteX2940" fmla="*/ 4768008 w 6689088"/>
                <a:gd name="connsiteY2940" fmla="*/ 1276236 h 6689084"/>
                <a:gd name="connsiteX2941" fmla="*/ 4797784 w 6689088"/>
                <a:gd name="connsiteY2941" fmla="*/ 1306010 h 6689084"/>
                <a:gd name="connsiteX2942" fmla="*/ 4768008 w 6689088"/>
                <a:gd name="connsiteY2942" fmla="*/ 1335781 h 6689084"/>
                <a:gd name="connsiteX2943" fmla="*/ 4738238 w 6689088"/>
                <a:gd name="connsiteY2943" fmla="*/ 1306010 h 6689084"/>
                <a:gd name="connsiteX2944" fmla="*/ 4768008 w 6689088"/>
                <a:gd name="connsiteY2944" fmla="*/ 1276236 h 6689084"/>
                <a:gd name="connsiteX2945" fmla="*/ 4921594 w 6689088"/>
                <a:gd name="connsiteY2945" fmla="*/ 1274059 h 6689084"/>
                <a:gd name="connsiteX2946" fmla="*/ 4953545 w 6689088"/>
                <a:gd name="connsiteY2946" fmla="*/ 1306010 h 6689084"/>
                <a:gd name="connsiteX2947" fmla="*/ 4921594 w 6689088"/>
                <a:gd name="connsiteY2947" fmla="*/ 1337962 h 6689084"/>
                <a:gd name="connsiteX2948" fmla="*/ 4889642 w 6689088"/>
                <a:gd name="connsiteY2948" fmla="*/ 1306010 h 6689084"/>
                <a:gd name="connsiteX2949" fmla="*/ 4921594 w 6689088"/>
                <a:gd name="connsiteY2949" fmla="*/ 1274059 h 6689084"/>
                <a:gd name="connsiteX2950" fmla="*/ 5075541 w 6689088"/>
                <a:gd name="connsiteY2950" fmla="*/ 1272245 h 6689084"/>
                <a:gd name="connsiteX2951" fmla="*/ 5109311 w 6689088"/>
                <a:gd name="connsiteY2951" fmla="*/ 1306010 h 6689084"/>
                <a:gd name="connsiteX2952" fmla="*/ 5075541 w 6689088"/>
                <a:gd name="connsiteY2952" fmla="*/ 1339780 h 6689084"/>
                <a:gd name="connsiteX2953" fmla="*/ 5041776 w 6689088"/>
                <a:gd name="connsiteY2953" fmla="*/ 1306010 h 6689084"/>
                <a:gd name="connsiteX2954" fmla="*/ 5075541 w 6689088"/>
                <a:gd name="connsiteY2954" fmla="*/ 1272245 h 6689084"/>
                <a:gd name="connsiteX2955" fmla="*/ 5229126 w 6689088"/>
                <a:gd name="connsiteY2955" fmla="*/ 1269702 h 6689084"/>
                <a:gd name="connsiteX2956" fmla="*/ 5265435 w 6689088"/>
                <a:gd name="connsiteY2956" fmla="*/ 1306010 h 6689084"/>
                <a:gd name="connsiteX2957" fmla="*/ 5229126 w 6689088"/>
                <a:gd name="connsiteY2957" fmla="*/ 1342319 h 6689084"/>
                <a:gd name="connsiteX2958" fmla="*/ 5192818 w 6689088"/>
                <a:gd name="connsiteY2958" fmla="*/ 1306010 h 6689084"/>
                <a:gd name="connsiteX2959" fmla="*/ 5229126 w 6689088"/>
                <a:gd name="connsiteY2959" fmla="*/ 1269702 h 6689084"/>
                <a:gd name="connsiteX2960" fmla="*/ 5383074 w 6689088"/>
                <a:gd name="connsiteY2960" fmla="*/ 1267160 h 6689084"/>
                <a:gd name="connsiteX2961" fmla="*/ 5421921 w 6689088"/>
                <a:gd name="connsiteY2961" fmla="*/ 1306010 h 6689084"/>
                <a:gd name="connsiteX2962" fmla="*/ 5383074 w 6689088"/>
                <a:gd name="connsiteY2962" fmla="*/ 1344858 h 6689084"/>
                <a:gd name="connsiteX2963" fmla="*/ 5344223 w 6689088"/>
                <a:gd name="connsiteY2963" fmla="*/ 1306010 h 6689084"/>
                <a:gd name="connsiteX2964" fmla="*/ 5383074 w 6689088"/>
                <a:gd name="connsiteY2964" fmla="*/ 1267160 h 6689084"/>
                <a:gd name="connsiteX2965" fmla="*/ 5536659 w 6689088"/>
                <a:gd name="connsiteY2965" fmla="*/ 1264983 h 6689084"/>
                <a:gd name="connsiteX2966" fmla="*/ 5577690 w 6689088"/>
                <a:gd name="connsiteY2966" fmla="*/ 1306010 h 6689084"/>
                <a:gd name="connsiteX2967" fmla="*/ 5536659 w 6689088"/>
                <a:gd name="connsiteY2967" fmla="*/ 1347038 h 6689084"/>
                <a:gd name="connsiteX2968" fmla="*/ 5495632 w 6689088"/>
                <a:gd name="connsiteY2968" fmla="*/ 1306010 h 6689084"/>
                <a:gd name="connsiteX2969" fmla="*/ 5536659 w 6689088"/>
                <a:gd name="connsiteY2969" fmla="*/ 1264983 h 6689084"/>
                <a:gd name="connsiteX2970" fmla="*/ 5690606 w 6689088"/>
                <a:gd name="connsiteY2970" fmla="*/ 1262440 h 6689084"/>
                <a:gd name="connsiteX2971" fmla="*/ 5734176 w 6689088"/>
                <a:gd name="connsiteY2971" fmla="*/ 1306010 h 6689084"/>
                <a:gd name="connsiteX2972" fmla="*/ 5690606 w 6689088"/>
                <a:gd name="connsiteY2972" fmla="*/ 1349581 h 6689084"/>
                <a:gd name="connsiteX2973" fmla="*/ 5647036 w 6689088"/>
                <a:gd name="connsiteY2973" fmla="*/ 1306010 h 6689084"/>
                <a:gd name="connsiteX2974" fmla="*/ 5690606 w 6689088"/>
                <a:gd name="connsiteY2974" fmla="*/ 1262440 h 6689084"/>
                <a:gd name="connsiteX2975" fmla="*/ 5844554 w 6689088"/>
                <a:gd name="connsiteY2975" fmla="*/ 1259898 h 6689084"/>
                <a:gd name="connsiteX2976" fmla="*/ 5890666 w 6689088"/>
                <a:gd name="connsiteY2976" fmla="*/ 1306010 h 6689084"/>
                <a:gd name="connsiteX2977" fmla="*/ 5844554 w 6689088"/>
                <a:gd name="connsiteY2977" fmla="*/ 1352123 h 6689084"/>
                <a:gd name="connsiteX2978" fmla="*/ 5798442 w 6689088"/>
                <a:gd name="connsiteY2978" fmla="*/ 1306010 h 6689084"/>
                <a:gd name="connsiteX2979" fmla="*/ 5844554 w 6689088"/>
                <a:gd name="connsiteY2979" fmla="*/ 1259898 h 6689084"/>
                <a:gd name="connsiteX2980" fmla="*/ 5998136 w 6689088"/>
                <a:gd name="connsiteY2980" fmla="*/ 1257355 h 6689084"/>
                <a:gd name="connsiteX2981" fmla="*/ 6046790 w 6689088"/>
                <a:gd name="connsiteY2981" fmla="*/ 1306010 h 6689084"/>
                <a:gd name="connsiteX2982" fmla="*/ 5998136 w 6689088"/>
                <a:gd name="connsiteY2982" fmla="*/ 1354662 h 6689084"/>
                <a:gd name="connsiteX2983" fmla="*/ 5949484 w 6689088"/>
                <a:gd name="connsiteY2983" fmla="*/ 1306010 h 6689084"/>
                <a:gd name="connsiteX2984" fmla="*/ 5998136 w 6689088"/>
                <a:gd name="connsiteY2984" fmla="*/ 1257355 h 6689084"/>
                <a:gd name="connsiteX2985" fmla="*/ 6152083 w 6689088"/>
                <a:gd name="connsiteY2985" fmla="*/ 1254817 h 6689084"/>
                <a:gd name="connsiteX2986" fmla="*/ 6203280 w 6689088"/>
                <a:gd name="connsiteY2986" fmla="*/ 1306010 h 6689084"/>
                <a:gd name="connsiteX2987" fmla="*/ 6152083 w 6689088"/>
                <a:gd name="connsiteY2987" fmla="*/ 1357204 h 6689084"/>
                <a:gd name="connsiteX2988" fmla="*/ 6100889 w 6689088"/>
                <a:gd name="connsiteY2988" fmla="*/ 1306010 h 6689084"/>
                <a:gd name="connsiteX2989" fmla="*/ 6152083 w 6689088"/>
                <a:gd name="connsiteY2989" fmla="*/ 1254817 h 6689084"/>
                <a:gd name="connsiteX2990" fmla="*/ 6305668 w 6689088"/>
                <a:gd name="connsiteY2990" fmla="*/ 1252636 h 6689084"/>
                <a:gd name="connsiteX2991" fmla="*/ 6359042 w 6689088"/>
                <a:gd name="connsiteY2991" fmla="*/ 1306010 h 6689084"/>
                <a:gd name="connsiteX2992" fmla="*/ 6305668 w 6689088"/>
                <a:gd name="connsiteY2992" fmla="*/ 1359381 h 6689084"/>
                <a:gd name="connsiteX2993" fmla="*/ 6252294 w 6689088"/>
                <a:gd name="connsiteY2993" fmla="*/ 1306010 h 6689084"/>
                <a:gd name="connsiteX2994" fmla="*/ 6305668 w 6689088"/>
                <a:gd name="connsiteY2994" fmla="*/ 1252636 h 6689084"/>
                <a:gd name="connsiteX2995" fmla="*/ 6459619 w 6689088"/>
                <a:gd name="connsiteY2995" fmla="*/ 1249732 h 6689084"/>
                <a:gd name="connsiteX2996" fmla="*/ 6515894 w 6689088"/>
                <a:gd name="connsiteY2996" fmla="*/ 1306010 h 6689084"/>
                <a:gd name="connsiteX2997" fmla="*/ 6459619 w 6689088"/>
                <a:gd name="connsiteY2997" fmla="*/ 1362289 h 6689084"/>
                <a:gd name="connsiteX2998" fmla="*/ 6403340 w 6689088"/>
                <a:gd name="connsiteY2998" fmla="*/ 1306010 h 6689084"/>
                <a:gd name="connsiteX2999" fmla="*/ 6459619 w 6689088"/>
                <a:gd name="connsiteY2999" fmla="*/ 1249732 h 6689084"/>
                <a:gd name="connsiteX3000" fmla="*/ 6613197 w 6689088"/>
                <a:gd name="connsiteY3000" fmla="*/ 1247189 h 6689084"/>
                <a:gd name="connsiteX3001" fmla="*/ 6672018 w 6689088"/>
                <a:gd name="connsiteY3001" fmla="*/ 1306010 h 6689084"/>
                <a:gd name="connsiteX3002" fmla="*/ 6613197 w 6689088"/>
                <a:gd name="connsiteY3002" fmla="*/ 1364828 h 6689084"/>
                <a:gd name="connsiteX3003" fmla="*/ 6554380 w 6689088"/>
                <a:gd name="connsiteY3003" fmla="*/ 1306010 h 6689084"/>
                <a:gd name="connsiteX3004" fmla="*/ 6613197 w 6689088"/>
                <a:gd name="connsiteY3004" fmla="*/ 1247189 h 6689084"/>
                <a:gd name="connsiteX3005" fmla="*/ 1846279 w 6689088"/>
                <a:gd name="connsiteY3005" fmla="*/ 1152063 h 6689084"/>
                <a:gd name="connsiteX3006" fmla="*/ 1846641 w 6689088"/>
                <a:gd name="connsiteY3006" fmla="*/ 1152425 h 6689084"/>
                <a:gd name="connsiteX3007" fmla="*/ 1846279 w 6689088"/>
                <a:gd name="connsiteY3007" fmla="*/ 1152791 h 6689084"/>
                <a:gd name="connsiteX3008" fmla="*/ 1845917 w 6689088"/>
                <a:gd name="connsiteY3008" fmla="*/ 1152425 h 6689084"/>
                <a:gd name="connsiteX3009" fmla="*/ 1846279 w 6689088"/>
                <a:gd name="connsiteY3009" fmla="*/ 1152063 h 6689084"/>
                <a:gd name="connsiteX3010" fmla="*/ 1384799 w 6689088"/>
                <a:gd name="connsiteY3010" fmla="*/ 1152063 h 6689084"/>
                <a:gd name="connsiteX3011" fmla="*/ 1385161 w 6689088"/>
                <a:gd name="connsiteY3011" fmla="*/ 1152425 h 6689084"/>
                <a:gd name="connsiteX3012" fmla="*/ 1384799 w 6689088"/>
                <a:gd name="connsiteY3012" fmla="*/ 1152791 h 6689084"/>
                <a:gd name="connsiteX3013" fmla="*/ 1384437 w 6689088"/>
                <a:gd name="connsiteY3013" fmla="*/ 1152425 h 6689084"/>
                <a:gd name="connsiteX3014" fmla="*/ 1384799 w 6689088"/>
                <a:gd name="connsiteY3014" fmla="*/ 1152063 h 6689084"/>
                <a:gd name="connsiteX3015" fmla="*/ 1231213 w 6689088"/>
                <a:gd name="connsiteY3015" fmla="*/ 1152063 h 6689084"/>
                <a:gd name="connsiteX3016" fmla="*/ 1231576 w 6689088"/>
                <a:gd name="connsiteY3016" fmla="*/ 1152425 h 6689084"/>
                <a:gd name="connsiteX3017" fmla="*/ 1231213 w 6689088"/>
                <a:gd name="connsiteY3017" fmla="*/ 1152791 h 6689084"/>
                <a:gd name="connsiteX3018" fmla="*/ 1230851 w 6689088"/>
                <a:gd name="connsiteY3018" fmla="*/ 1152425 h 6689084"/>
                <a:gd name="connsiteX3019" fmla="*/ 1231213 w 6689088"/>
                <a:gd name="connsiteY3019" fmla="*/ 1152063 h 6689084"/>
                <a:gd name="connsiteX3020" fmla="*/ 1077270 w 6689088"/>
                <a:gd name="connsiteY3020" fmla="*/ 1151701 h 6689084"/>
                <a:gd name="connsiteX3021" fmla="*/ 1077994 w 6689088"/>
                <a:gd name="connsiteY3021" fmla="*/ 1152425 h 6689084"/>
                <a:gd name="connsiteX3022" fmla="*/ 1077270 w 6689088"/>
                <a:gd name="connsiteY3022" fmla="*/ 1153153 h 6689084"/>
                <a:gd name="connsiteX3023" fmla="*/ 1076542 w 6689088"/>
                <a:gd name="connsiteY3023" fmla="*/ 1152425 h 6689084"/>
                <a:gd name="connsiteX3024" fmla="*/ 1077270 w 6689088"/>
                <a:gd name="connsiteY3024" fmla="*/ 1151701 h 6689084"/>
                <a:gd name="connsiteX3025" fmla="*/ 1999864 w 6689088"/>
                <a:gd name="connsiteY3025" fmla="*/ 1150611 h 6689084"/>
                <a:gd name="connsiteX3026" fmla="*/ 2001316 w 6689088"/>
                <a:gd name="connsiteY3026" fmla="*/ 1152063 h 6689084"/>
                <a:gd name="connsiteX3027" fmla="*/ 1999864 w 6689088"/>
                <a:gd name="connsiteY3027" fmla="*/ 1153515 h 6689084"/>
                <a:gd name="connsiteX3028" fmla="*/ 1998412 w 6689088"/>
                <a:gd name="connsiteY3028" fmla="*/ 1152063 h 6689084"/>
                <a:gd name="connsiteX3029" fmla="*/ 1999864 w 6689088"/>
                <a:gd name="connsiteY3029" fmla="*/ 1150611 h 6689084"/>
                <a:gd name="connsiteX3030" fmla="*/ 2153808 w 6689088"/>
                <a:gd name="connsiteY3030" fmla="*/ 1150249 h 6689084"/>
                <a:gd name="connsiteX3031" fmla="*/ 2155988 w 6689088"/>
                <a:gd name="connsiteY3031" fmla="*/ 1152425 h 6689084"/>
                <a:gd name="connsiteX3032" fmla="*/ 2153808 w 6689088"/>
                <a:gd name="connsiteY3032" fmla="*/ 1154606 h 6689084"/>
                <a:gd name="connsiteX3033" fmla="*/ 2151631 w 6689088"/>
                <a:gd name="connsiteY3033" fmla="*/ 1152425 h 6689084"/>
                <a:gd name="connsiteX3034" fmla="*/ 2153808 w 6689088"/>
                <a:gd name="connsiteY3034" fmla="*/ 1150249 h 6689084"/>
                <a:gd name="connsiteX3035" fmla="*/ 2307393 w 6689088"/>
                <a:gd name="connsiteY3035" fmla="*/ 1149158 h 6689084"/>
                <a:gd name="connsiteX3036" fmla="*/ 2310660 w 6689088"/>
                <a:gd name="connsiteY3036" fmla="*/ 1152425 h 6689084"/>
                <a:gd name="connsiteX3037" fmla="*/ 2307393 w 6689088"/>
                <a:gd name="connsiteY3037" fmla="*/ 1155696 h 6689084"/>
                <a:gd name="connsiteX3038" fmla="*/ 2304126 w 6689088"/>
                <a:gd name="connsiteY3038" fmla="*/ 1152425 h 6689084"/>
                <a:gd name="connsiteX3039" fmla="*/ 2307393 w 6689088"/>
                <a:gd name="connsiteY3039" fmla="*/ 1149158 h 6689084"/>
                <a:gd name="connsiteX3040" fmla="*/ 2461340 w 6689088"/>
                <a:gd name="connsiteY3040" fmla="*/ 1147706 h 6689084"/>
                <a:gd name="connsiteX3041" fmla="*/ 2465697 w 6689088"/>
                <a:gd name="connsiteY3041" fmla="*/ 1152063 h 6689084"/>
                <a:gd name="connsiteX3042" fmla="*/ 2461340 w 6689088"/>
                <a:gd name="connsiteY3042" fmla="*/ 1156420 h 6689084"/>
                <a:gd name="connsiteX3043" fmla="*/ 2456983 w 6689088"/>
                <a:gd name="connsiteY3043" fmla="*/ 1152063 h 6689084"/>
                <a:gd name="connsiteX3044" fmla="*/ 2461340 w 6689088"/>
                <a:gd name="connsiteY3044" fmla="*/ 1147706 h 6689084"/>
                <a:gd name="connsiteX3045" fmla="*/ 2614925 w 6689088"/>
                <a:gd name="connsiteY3045" fmla="*/ 1146616 h 6689084"/>
                <a:gd name="connsiteX3046" fmla="*/ 2620735 w 6689088"/>
                <a:gd name="connsiteY3046" fmla="*/ 1152425 h 6689084"/>
                <a:gd name="connsiteX3047" fmla="*/ 2614925 w 6689088"/>
                <a:gd name="connsiteY3047" fmla="*/ 1158234 h 6689084"/>
                <a:gd name="connsiteX3048" fmla="*/ 2609116 w 6689088"/>
                <a:gd name="connsiteY3048" fmla="*/ 1152425 h 6689084"/>
                <a:gd name="connsiteX3049" fmla="*/ 2614925 w 6689088"/>
                <a:gd name="connsiteY3049" fmla="*/ 1146616 h 6689084"/>
                <a:gd name="connsiteX3050" fmla="*/ 2768873 w 6689088"/>
                <a:gd name="connsiteY3050" fmla="*/ 1145164 h 6689084"/>
                <a:gd name="connsiteX3051" fmla="*/ 2776135 w 6689088"/>
                <a:gd name="connsiteY3051" fmla="*/ 1152425 h 6689084"/>
                <a:gd name="connsiteX3052" fmla="*/ 2768873 w 6689088"/>
                <a:gd name="connsiteY3052" fmla="*/ 1159687 h 6689084"/>
                <a:gd name="connsiteX3053" fmla="*/ 2761611 w 6689088"/>
                <a:gd name="connsiteY3053" fmla="*/ 1152425 h 6689084"/>
                <a:gd name="connsiteX3054" fmla="*/ 2768873 w 6689088"/>
                <a:gd name="connsiteY3054" fmla="*/ 1145164 h 6689084"/>
                <a:gd name="connsiteX3055" fmla="*/ 2922454 w 6689088"/>
                <a:gd name="connsiteY3055" fmla="*/ 1142983 h 6689084"/>
                <a:gd name="connsiteX3056" fmla="*/ 2931534 w 6689088"/>
                <a:gd name="connsiteY3056" fmla="*/ 1152059 h 6689084"/>
                <a:gd name="connsiteX3057" fmla="*/ 2922454 w 6689088"/>
                <a:gd name="connsiteY3057" fmla="*/ 1161139 h 6689084"/>
                <a:gd name="connsiteX3058" fmla="*/ 2913378 w 6689088"/>
                <a:gd name="connsiteY3058" fmla="*/ 1152059 h 6689084"/>
                <a:gd name="connsiteX3059" fmla="*/ 2922454 w 6689088"/>
                <a:gd name="connsiteY3059" fmla="*/ 1142983 h 6689084"/>
                <a:gd name="connsiteX3060" fmla="*/ 3076406 w 6689088"/>
                <a:gd name="connsiteY3060" fmla="*/ 1142259 h 6689084"/>
                <a:gd name="connsiteX3061" fmla="*/ 3086572 w 6689088"/>
                <a:gd name="connsiteY3061" fmla="*/ 1152425 h 6689084"/>
                <a:gd name="connsiteX3062" fmla="*/ 3076406 w 6689088"/>
                <a:gd name="connsiteY3062" fmla="*/ 1162592 h 6689084"/>
                <a:gd name="connsiteX3063" fmla="*/ 3066239 w 6689088"/>
                <a:gd name="connsiteY3063" fmla="*/ 1152425 h 6689084"/>
                <a:gd name="connsiteX3064" fmla="*/ 3076406 w 6689088"/>
                <a:gd name="connsiteY3064" fmla="*/ 1142259 h 6689084"/>
                <a:gd name="connsiteX3065" fmla="*/ 3230349 w 6689088"/>
                <a:gd name="connsiteY3065" fmla="*/ 1140444 h 6689084"/>
                <a:gd name="connsiteX3066" fmla="*/ 3242334 w 6689088"/>
                <a:gd name="connsiteY3066" fmla="*/ 1152425 h 6689084"/>
                <a:gd name="connsiteX3067" fmla="*/ 3230349 w 6689088"/>
                <a:gd name="connsiteY3067" fmla="*/ 1164406 h 6689084"/>
                <a:gd name="connsiteX3068" fmla="*/ 3218368 w 6689088"/>
                <a:gd name="connsiteY3068" fmla="*/ 1152425 h 6689084"/>
                <a:gd name="connsiteX3069" fmla="*/ 3230349 w 6689088"/>
                <a:gd name="connsiteY3069" fmla="*/ 1140444 h 6689084"/>
                <a:gd name="connsiteX3070" fmla="*/ 3383934 w 6689088"/>
                <a:gd name="connsiteY3070" fmla="*/ 1138264 h 6689084"/>
                <a:gd name="connsiteX3071" fmla="*/ 3397733 w 6689088"/>
                <a:gd name="connsiteY3071" fmla="*/ 1152059 h 6689084"/>
                <a:gd name="connsiteX3072" fmla="*/ 3383934 w 6689088"/>
                <a:gd name="connsiteY3072" fmla="*/ 1165858 h 6689084"/>
                <a:gd name="connsiteX3073" fmla="*/ 3370139 w 6689088"/>
                <a:gd name="connsiteY3073" fmla="*/ 1152059 h 6689084"/>
                <a:gd name="connsiteX3074" fmla="*/ 3383934 w 6689088"/>
                <a:gd name="connsiteY3074" fmla="*/ 1138264 h 6689084"/>
                <a:gd name="connsiteX3075" fmla="*/ 3537882 w 6689088"/>
                <a:gd name="connsiteY3075" fmla="*/ 1137178 h 6689084"/>
                <a:gd name="connsiteX3076" fmla="*/ 3553133 w 6689088"/>
                <a:gd name="connsiteY3076" fmla="*/ 1152425 h 6689084"/>
                <a:gd name="connsiteX3077" fmla="*/ 3537882 w 6689088"/>
                <a:gd name="connsiteY3077" fmla="*/ 1167677 h 6689084"/>
                <a:gd name="connsiteX3078" fmla="*/ 3522634 w 6689088"/>
                <a:gd name="connsiteY3078" fmla="*/ 1152425 h 6689084"/>
                <a:gd name="connsiteX3079" fmla="*/ 3537882 w 6689088"/>
                <a:gd name="connsiteY3079" fmla="*/ 1137178 h 6689084"/>
                <a:gd name="connsiteX3080" fmla="*/ 3691467 w 6689088"/>
                <a:gd name="connsiteY3080" fmla="*/ 1135359 h 6689084"/>
                <a:gd name="connsiteX3081" fmla="*/ 3708533 w 6689088"/>
                <a:gd name="connsiteY3081" fmla="*/ 1152425 h 6689084"/>
                <a:gd name="connsiteX3082" fmla="*/ 3691467 w 6689088"/>
                <a:gd name="connsiteY3082" fmla="*/ 1169487 h 6689084"/>
                <a:gd name="connsiteX3083" fmla="*/ 3674401 w 6689088"/>
                <a:gd name="connsiteY3083" fmla="*/ 1152425 h 6689084"/>
                <a:gd name="connsiteX3084" fmla="*/ 3691467 w 6689088"/>
                <a:gd name="connsiteY3084" fmla="*/ 1135359 h 6689084"/>
                <a:gd name="connsiteX3085" fmla="*/ 3845414 w 6689088"/>
                <a:gd name="connsiteY3085" fmla="*/ 1133183 h 6689084"/>
                <a:gd name="connsiteX3086" fmla="*/ 3864661 w 6689088"/>
                <a:gd name="connsiteY3086" fmla="*/ 1152425 h 6689084"/>
                <a:gd name="connsiteX3087" fmla="*/ 3845414 w 6689088"/>
                <a:gd name="connsiteY3087" fmla="*/ 1171672 h 6689084"/>
                <a:gd name="connsiteX3088" fmla="*/ 3826172 w 6689088"/>
                <a:gd name="connsiteY3088" fmla="*/ 1152425 h 6689084"/>
                <a:gd name="connsiteX3089" fmla="*/ 3845414 w 6689088"/>
                <a:gd name="connsiteY3089" fmla="*/ 1133183 h 6689084"/>
                <a:gd name="connsiteX3090" fmla="*/ 3999000 w 6689088"/>
                <a:gd name="connsiteY3090" fmla="*/ 1131002 h 6689084"/>
                <a:gd name="connsiteX3091" fmla="*/ 4020422 w 6689088"/>
                <a:gd name="connsiteY3091" fmla="*/ 1152425 h 6689084"/>
                <a:gd name="connsiteX3092" fmla="*/ 3999000 w 6689088"/>
                <a:gd name="connsiteY3092" fmla="*/ 1173844 h 6689084"/>
                <a:gd name="connsiteX3093" fmla="*/ 3977577 w 6689088"/>
                <a:gd name="connsiteY3093" fmla="*/ 1152425 h 6689084"/>
                <a:gd name="connsiteX3094" fmla="*/ 3999000 w 6689088"/>
                <a:gd name="connsiteY3094" fmla="*/ 1131002 h 6689084"/>
                <a:gd name="connsiteX3095" fmla="*/ 4152947 w 6689088"/>
                <a:gd name="connsiteY3095" fmla="*/ 1129550 h 6689084"/>
                <a:gd name="connsiteX3096" fmla="*/ 4175822 w 6689088"/>
                <a:gd name="connsiteY3096" fmla="*/ 1152425 h 6689084"/>
                <a:gd name="connsiteX3097" fmla="*/ 4152947 w 6689088"/>
                <a:gd name="connsiteY3097" fmla="*/ 1175297 h 6689084"/>
                <a:gd name="connsiteX3098" fmla="*/ 4130072 w 6689088"/>
                <a:gd name="connsiteY3098" fmla="*/ 1152425 h 6689084"/>
                <a:gd name="connsiteX3099" fmla="*/ 4152947 w 6689088"/>
                <a:gd name="connsiteY3099" fmla="*/ 1129550 h 6689084"/>
                <a:gd name="connsiteX3100" fmla="*/ 4306532 w 6689088"/>
                <a:gd name="connsiteY3100" fmla="*/ 1127373 h 6689084"/>
                <a:gd name="connsiteX3101" fmla="*/ 4331584 w 6689088"/>
                <a:gd name="connsiteY3101" fmla="*/ 1152425 h 6689084"/>
                <a:gd name="connsiteX3102" fmla="*/ 4306532 w 6689088"/>
                <a:gd name="connsiteY3102" fmla="*/ 1177481 h 6689084"/>
                <a:gd name="connsiteX3103" fmla="*/ 4281480 w 6689088"/>
                <a:gd name="connsiteY3103" fmla="*/ 1152425 h 6689084"/>
                <a:gd name="connsiteX3104" fmla="*/ 4306532 w 6689088"/>
                <a:gd name="connsiteY3104" fmla="*/ 1127373 h 6689084"/>
                <a:gd name="connsiteX3105" fmla="*/ 4460480 w 6689088"/>
                <a:gd name="connsiteY3105" fmla="*/ 1125193 h 6689084"/>
                <a:gd name="connsiteX3106" fmla="*/ 4487712 w 6689088"/>
                <a:gd name="connsiteY3106" fmla="*/ 1152425 h 6689084"/>
                <a:gd name="connsiteX3107" fmla="*/ 4460480 w 6689088"/>
                <a:gd name="connsiteY3107" fmla="*/ 1179657 h 6689084"/>
                <a:gd name="connsiteX3108" fmla="*/ 4433248 w 6689088"/>
                <a:gd name="connsiteY3108" fmla="*/ 1152425 h 6689084"/>
                <a:gd name="connsiteX3109" fmla="*/ 4460480 w 6689088"/>
                <a:gd name="connsiteY3109" fmla="*/ 1125193 h 6689084"/>
                <a:gd name="connsiteX3110" fmla="*/ 4614061 w 6689088"/>
                <a:gd name="connsiteY3110" fmla="*/ 1122654 h 6689084"/>
                <a:gd name="connsiteX3111" fmla="*/ 4643836 w 6689088"/>
                <a:gd name="connsiteY3111" fmla="*/ 1152425 h 6689084"/>
                <a:gd name="connsiteX3112" fmla="*/ 4614061 w 6689088"/>
                <a:gd name="connsiteY3112" fmla="*/ 1182200 h 6689084"/>
                <a:gd name="connsiteX3113" fmla="*/ 4584290 w 6689088"/>
                <a:gd name="connsiteY3113" fmla="*/ 1152429 h 6689084"/>
                <a:gd name="connsiteX3114" fmla="*/ 4614061 w 6689088"/>
                <a:gd name="connsiteY3114" fmla="*/ 1122654 h 6689084"/>
                <a:gd name="connsiteX3115" fmla="*/ 4768012 w 6689088"/>
                <a:gd name="connsiteY3115" fmla="*/ 1120474 h 6689084"/>
                <a:gd name="connsiteX3116" fmla="*/ 4799964 w 6689088"/>
                <a:gd name="connsiteY3116" fmla="*/ 1152425 h 6689084"/>
                <a:gd name="connsiteX3117" fmla="*/ 4768012 w 6689088"/>
                <a:gd name="connsiteY3117" fmla="*/ 1184377 h 6689084"/>
                <a:gd name="connsiteX3118" fmla="*/ 4736061 w 6689088"/>
                <a:gd name="connsiteY3118" fmla="*/ 1152425 h 6689084"/>
                <a:gd name="connsiteX3119" fmla="*/ 4768012 w 6689088"/>
                <a:gd name="connsiteY3119" fmla="*/ 1120474 h 6689084"/>
                <a:gd name="connsiteX3120" fmla="*/ 4921594 w 6689088"/>
                <a:gd name="connsiteY3120" fmla="*/ 1118659 h 6689084"/>
                <a:gd name="connsiteX3121" fmla="*/ 4955364 w 6689088"/>
                <a:gd name="connsiteY3121" fmla="*/ 1152425 h 6689084"/>
                <a:gd name="connsiteX3122" fmla="*/ 4921594 w 6689088"/>
                <a:gd name="connsiteY3122" fmla="*/ 1186191 h 6689084"/>
                <a:gd name="connsiteX3123" fmla="*/ 4887828 w 6689088"/>
                <a:gd name="connsiteY3123" fmla="*/ 1152425 h 6689084"/>
                <a:gd name="connsiteX3124" fmla="*/ 4921594 w 6689088"/>
                <a:gd name="connsiteY3124" fmla="*/ 1118659 h 6689084"/>
                <a:gd name="connsiteX3125" fmla="*/ 5075541 w 6689088"/>
                <a:gd name="connsiteY3125" fmla="*/ 1116117 h 6689084"/>
                <a:gd name="connsiteX3126" fmla="*/ 5111850 w 6689088"/>
                <a:gd name="connsiteY3126" fmla="*/ 1152425 h 6689084"/>
                <a:gd name="connsiteX3127" fmla="*/ 5075541 w 6689088"/>
                <a:gd name="connsiteY3127" fmla="*/ 1188734 h 6689084"/>
                <a:gd name="connsiteX3128" fmla="*/ 5039233 w 6689088"/>
                <a:gd name="connsiteY3128" fmla="*/ 1152425 h 6689084"/>
                <a:gd name="connsiteX3129" fmla="*/ 5075541 w 6689088"/>
                <a:gd name="connsiteY3129" fmla="*/ 1116117 h 6689084"/>
                <a:gd name="connsiteX3130" fmla="*/ 5229126 w 6689088"/>
                <a:gd name="connsiteY3130" fmla="*/ 1113574 h 6689084"/>
                <a:gd name="connsiteX3131" fmla="*/ 5267978 w 6689088"/>
                <a:gd name="connsiteY3131" fmla="*/ 1152425 h 6689084"/>
                <a:gd name="connsiteX3132" fmla="*/ 5229126 w 6689088"/>
                <a:gd name="connsiteY3132" fmla="*/ 1191276 h 6689084"/>
                <a:gd name="connsiteX3133" fmla="*/ 5190276 w 6689088"/>
                <a:gd name="connsiteY3133" fmla="*/ 1152425 h 6689084"/>
                <a:gd name="connsiteX3134" fmla="*/ 5229126 w 6689088"/>
                <a:gd name="connsiteY3134" fmla="*/ 1113574 h 6689084"/>
                <a:gd name="connsiteX3135" fmla="*/ 5383074 w 6689088"/>
                <a:gd name="connsiteY3135" fmla="*/ 1111036 h 6689084"/>
                <a:gd name="connsiteX3136" fmla="*/ 5424102 w 6689088"/>
                <a:gd name="connsiteY3136" fmla="*/ 1152063 h 6689084"/>
                <a:gd name="connsiteX3137" fmla="*/ 5383074 w 6689088"/>
                <a:gd name="connsiteY3137" fmla="*/ 1193094 h 6689084"/>
                <a:gd name="connsiteX3138" fmla="*/ 5342046 w 6689088"/>
                <a:gd name="connsiteY3138" fmla="*/ 1152063 h 6689084"/>
                <a:gd name="connsiteX3139" fmla="*/ 5383074 w 6689088"/>
                <a:gd name="connsiteY3139" fmla="*/ 1111036 h 6689084"/>
                <a:gd name="connsiteX3140" fmla="*/ 5536659 w 6689088"/>
                <a:gd name="connsiteY3140" fmla="*/ 1108855 h 6689084"/>
                <a:gd name="connsiteX3141" fmla="*/ 5580229 w 6689088"/>
                <a:gd name="connsiteY3141" fmla="*/ 1152425 h 6689084"/>
                <a:gd name="connsiteX3142" fmla="*/ 5536659 w 6689088"/>
                <a:gd name="connsiteY3142" fmla="*/ 1195995 h 6689084"/>
                <a:gd name="connsiteX3143" fmla="*/ 5493089 w 6689088"/>
                <a:gd name="connsiteY3143" fmla="*/ 1152425 h 6689084"/>
                <a:gd name="connsiteX3144" fmla="*/ 5536659 w 6689088"/>
                <a:gd name="connsiteY3144" fmla="*/ 1108855 h 6689084"/>
                <a:gd name="connsiteX3145" fmla="*/ 5690602 w 6689088"/>
                <a:gd name="connsiteY3145" fmla="*/ 1106313 h 6689084"/>
                <a:gd name="connsiteX3146" fmla="*/ 5736716 w 6689088"/>
                <a:gd name="connsiteY3146" fmla="*/ 1152425 h 6689084"/>
                <a:gd name="connsiteX3147" fmla="*/ 5690602 w 6689088"/>
                <a:gd name="connsiteY3147" fmla="*/ 1198534 h 6689084"/>
                <a:gd name="connsiteX3148" fmla="*/ 5644490 w 6689088"/>
                <a:gd name="connsiteY3148" fmla="*/ 1152425 h 6689084"/>
                <a:gd name="connsiteX3149" fmla="*/ 5690602 w 6689088"/>
                <a:gd name="connsiteY3149" fmla="*/ 1106313 h 6689084"/>
                <a:gd name="connsiteX3150" fmla="*/ 5844554 w 6689088"/>
                <a:gd name="connsiteY3150" fmla="*/ 1103770 h 6689084"/>
                <a:gd name="connsiteX3151" fmla="*/ 5893205 w 6689088"/>
                <a:gd name="connsiteY3151" fmla="*/ 1152425 h 6689084"/>
                <a:gd name="connsiteX3152" fmla="*/ 5844554 w 6689088"/>
                <a:gd name="connsiteY3152" fmla="*/ 1201077 h 6689084"/>
                <a:gd name="connsiteX3153" fmla="*/ 5795899 w 6689088"/>
                <a:gd name="connsiteY3153" fmla="*/ 1152425 h 6689084"/>
                <a:gd name="connsiteX3154" fmla="*/ 5844554 w 6689088"/>
                <a:gd name="connsiteY3154" fmla="*/ 1103770 h 6689084"/>
                <a:gd name="connsiteX3155" fmla="*/ 5998136 w 6689088"/>
                <a:gd name="connsiteY3155" fmla="*/ 1101231 h 6689084"/>
                <a:gd name="connsiteX3156" fmla="*/ 6049333 w 6689088"/>
                <a:gd name="connsiteY3156" fmla="*/ 1152425 h 6689084"/>
                <a:gd name="connsiteX3157" fmla="*/ 5998136 w 6689088"/>
                <a:gd name="connsiteY3157" fmla="*/ 1203623 h 6689084"/>
                <a:gd name="connsiteX3158" fmla="*/ 5946942 w 6689088"/>
                <a:gd name="connsiteY3158" fmla="*/ 1152425 h 6689084"/>
                <a:gd name="connsiteX3159" fmla="*/ 5998136 w 6689088"/>
                <a:gd name="connsiteY3159" fmla="*/ 1101231 h 6689084"/>
                <a:gd name="connsiteX3160" fmla="*/ 6152083 w 6689088"/>
                <a:gd name="connsiteY3160" fmla="*/ 1099051 h 6689084"/>
                <a:gd name="connsiteX3161" fmla="*/ 6205461 w 6689088"/>
                <a:gd name="connsiteY3161" fmla="*/ 1152425 h 6689084"/>
                <a:gd name="connsiteX3162" fmla="*/ 6152083 w 6689088"/>
                <a:gd name="connsiteY3162" fmla="*/ 1205796 h 6689084"/>
                <a:gd name="connsiteX3163" fmla="*/ 6098712 w 6689088"/>
                <a:gd name="connsiteY3163" fmla="*/ 1152425 h 6689084"/>
                <a:gd name="connsiteX3164" fmla="*/ 6152083 w 6689088"/>
                <a:gd name="connsiteY3164" fmla="*/ 1099051 h 6689084"/>
                <a:gd name="connsiteX3165" fmla="*/ 6305672 w 6689088"/>
                <a:gd name="connsiteY3165" fmla="*/ 1096146 h 6689084"/>
                <a:gd name="connsiteX3166" fmla="*/ 6361947 w 6689088"/>
                <a:gd name="connsiteY3166" fmla="*/ 1152425 h 6689084"/>
                <a:gd name="connsiteX3167" fmla="*/ 6305672 w 6689088"/>
                <a:gd name="connsiteY3167" fmla="*/ 1208704 h 6689084"/>
                <a:gd name="connsiteX3168" fmla="*/ 6249393 w 6689088"/>
                <a:gd name="connsiteY3168" fmla="*/ 1152425 h 6689084"/>
                <a:gd name="connsiteX3169" fmla="*/ 6305672 w 6689088"/>
                <a:gd name="connsiteY3169" fmla="*/ 1096146 h 6689084"/>
                <a:gd name="connsiteX3170" fmla="*/ 6459616 w 6689088"/>
                <a:gd name="connsiteY3170" fmla="*/ 1093608 h 6689084"/>
                <a:gd name="connsiteX3171" fmla="*/ 6518437 w 6689088"/>
                <a:gd name="connsiteY3171" fmla="*/ 1152425 h 6689084"/>
                <a:gd name="connsiteX3172" fmla="*/ 6459616 w 6689088"/>
                <a:gd name="connsiteY3172" fmla="*/ 1211247 h 6689084"/>
                <a:gd name="connsiteX3173" fmla="*/ 6400798 w 6689088"/>
                <a:gd name="connsiteY3173" fmla="*/ 1152425 h 6689084"/>
                <a:gd name="connsiteX3174" fmla="*/ 6459616 w 6689088"/>
                <a:gd name="connsiteY3174" fmla="*/ 1093608 h 6689084"/>
                <a:gd name="connsiteX3175" fmla="*/ 6613200 w 6689088"/>
                <a:gd name="connsiteY3175" fmla="*/ 1090703 h 6689084"/>
                <a:gd name="connsiteX3176" fmla="*/ 6674923 w 6689088"/>
                <a:gd name="connsiteY3176" fmla="*/ 1152425 h 6689084"/>
                <a:gd name="connsiteX3177" fmla="*/ 6613200 w 6689088"/>
                <a:gd name="connsiteY3177" fmla="*/ 1214151 h 6689084"/>
                <a:gd name="connsiteX3178" fmla="*/ 6551474 w 6689088"/>
                <a:gd name="connsiteY3178" fmla="*/ 1152425 h 6689084"/>
                <a:gd name="connsiteX3179" fmla="*/ 6613200 w 6689088"/>
                <a:gd name="connsiteY3179" fmla="*/ 1090703 h 6689084"/>
                <a:gd name="connsiteX3180" fmla="*/ 1692331 w 6689088"/>
                <a:gd name="connsiteY3180" fmla="*/ 998116 h 6689084"/>
                <a:gd name="connsiteX3181" fmla="*/ 1692694 w 6689088"/>
                <a:gd name="connsiteY3181" fmla="*/ 998478 h 6689084"/>
                <a:gd name="connsiteX3182" fmla="*/ 1692331 w 6689088"/>
                <a:gd name="connsiteY3182" fmla="*/ 998844 h 6689084"/>
                <a:gd name="connsiteX3183" fmla="*/ 1691969 w 6689088"/>
                <a:gd name="connsiteY3183" fmla="*/ 998478 h 6689084"/>
                <a:gd name="connsiteX3184" fmla="*/ 1692331 w 6689088"/>
                <a:gd name="connsiteY3184" fmla="*/ 998116 h 6689084"/>
                <a:gd name="connsiteX3185" fmla="*/ 1231213 w 6689088"/>
                <a:gd name="connsiteY3185" fmla="*/ 998116 h 6689084"/>
                <a:gd name="connsiteX3186" fmla="*/ 1231576 w 6689088"/>
                <a:gd name="connsiteY3186" fmla="*/ 998478 h 6689084"/>
                <a:gd name="connsiteX3187" fmla="*/ 1231213 w 6689088"/>
                <a:gd name="connsiteY3187" fmla="*/ 998844 h 6689084"/>
                <a:gd name="connsiteX3188" fmla="*/ 1230851 w 6689088"/>
                <a:gd name="connsiteY3188" fmla="*/ 998478 h 6689084"/>
                <a:gd name="connsiteX3189" fmla="*/ 1231213 w 6689088"/>
                <a:gd name="connsiteY3189" fmla="*/ 998116 h 6689084"/>
                <a:gd name="connsiteX3190" fmla="*/ 1077266 w 6689088"/>
                <a:gd name="connsiteY3190" fmla="*/ 998116 h 6689084"/>
                <a:gd name="connsiteX3191" fmla="*/ 1077628 w 6689088"/>
                <a:gd name="connsiteY3191" fmla="*/ 998478 h 6689084"/>
                <a:gd name="connsiteX3192" fmla="*/ 1077266 w 6689088"/>
                <a:gd name="connsiteY3192" fmla="*/ 998844 h 6689084"/>
                <a:gd name="connsiteX3193" fmla="*/ 1076904 w 6689088"/>
                <a:gd name="connsiteY3193" fmla="*/ 998478 h 6689084"/>
                <a:gd name="connsiteX3194" fmla="*/ 1077266 w 6689088"/>
                <a:gd name="connsiteY3194" fmla="*/ 998116 h 6689084"/>
                <a:gd name="connsiteX3195" fmla="*/ 923685 w 6689088"/>
                <a:gd name="connsiteY3195" fmla="*/ 997754 h 6689084"/>
                <a:gd name="connsiteX3196" fmla="*/ 924409 w 6689088"/>
                <a:gd name="connsiteY3196" fmla="*/ 998482 h 6689084"/>
                <a:gd name="connsiteX3197" fmla="*/ 923685 w 6689088"/>
                <a:gd name="connsiteY3197" fmla="*/ 999206 h 6689084"/>
                <a:gd name="connsiteX3198" fmla="*/ 922957 w 6689088"/>
                <a:gd name="connsiteY3198" fmla="*/ 998482 h 6689084"/>
                <a:gd name="connsiteX3199" fmla="*/ 923685 w 6689088"/>
                <a:gd name="connsiteY3199" fmla="*/ 997754 h 6689084"/>
                <a:gd name="connsiteX3200" fmla="*/ 1846279 w 6689088"/>
                <a:gd name="connsiteY3200" fmla="*/ 997025 h 6689084"/>
                <a:gd name="connsiteX3201" fmla="*/ 1847731 w 6689088"/>
                <a:gd name="connsiteY3201" fmla="*/ 998478 h 6689084"/>
                <a:gd name="connsiteX3202" fmla="*/ 1846279 w 6689088"/>
                <a:gd name="connsiteY3202" fmla="*/ 999930 h 6689084"/>
                <a:gd name="connsiteX3203" fmla="*/ 1844826 w 6689088"/>
                <a:gd name="connsiteY3203" fmla="*/ 998478 h 6689084"/>
                <a:gd name="connsiteX3204" fmla="*/ 1846279 w 6689088"/>
                <a:gd name="connsiteY3204" fmla="*/ 997025 h 6689084"/>
                <a:gd name="connsiteX3205" fmla="*/ 1999860 w 6689088"/>
                <a:gd name="connsiteY3205" fmla="*/ 996301 h 6689084"/>
                <a:gd name="connsiteX3206" fmla="*/ 2002041 w 6689088"/>
                <a:gd name="connsiteY3206" fmla="*/ 998478 h 6689084"/>
                <a:gd name="connsiteX3207" fmla="*/ 1999860 w 6689088"/>
                <a:gd name="connsiteY3207" fmla="*/ 1000658 h 6689084"/>
                <a:gd name="connsiteX3208" fmla="*/ 1997684 w 6689088"/>
                <a:gd name="connsiteY3208" fmla="*/ 998478 h 6689084"/>
                <a:gd name="connsiteX3209" fmla="*/ 1999860 w 6689088"/>
                <a:gd name="connsiteY3209" fmla="*/ 996301 h 6689084"/>
                <a:gd name="connsiteX3210" fmla="*/ 2153808 w 6689088"/>
                <a:gd name="connsiteY3210" fmla="*/ 995573 h 6689084"/>
                <a:gd name="connsiteX3211" fmla="*/ 2157074 w 6689088"/>
                <a:gd name="connsiteY3211" fmla="*/ 998840 h 6689084"/>
                <a:gd name="connsiteX3212" fmla="*/ 2153808 w 6689088"/>
                <a:gd name="connsiteY3212" fmla="*/ 1002110 h 6689084"/>
                <a:gd name="connsiteX3213" fmla="*/ 2150541 w 6689088"/>
                <a:gd name="connsiteY3213" fmla="*/ 998840 h 6689084"/>
                <a:gd name="connsiteX3214" fmla="*/ 2153808 w 6689088"/>
                <a:gd name="connsiteY3214" fmla="*/ 995573 h 6689084"/>
                <a:gd name="connsiteX3215" fmla="*/ 2307393 w 6689088"/>
                <a:gd name="connsiteY3215" fmla="*/ 994121 h 6689084"/>
                <a:gd name="connsiteX3216" fmla="*/ 2311750 w 6689088"/>
                <a:gd name="connsiteY3216" fmla="*/ 998478 h 6689084"/>
                <a:gd name="connsiteX3217" fmla="*/ 2307393 w 6689088"/>
                <a:gd name="connsiteY3217" fmla="*/ 1002835 h 6689084"/>
                <a:gd name="connsiteX3218" fmla="*/ 2303036 w 6689088"/>
                <a:gd name="connsiteY3218" fmla="*/ 998478 h 6689084"/>
                <a:gd name="connsiteX3219" fmla="*/ 2307393 w 6689088"/>
                <a:gd name="connsiteY3219" fmla="*/ 994121 h 6689084"/>
                <a:gd name="connsiteX3220" fmla="*/ 2461340 w 6689088"/>
                <a:gd name="connsiteY3220" fmla="*/ 993031 h 6689084"/>
                <a:gd name="connsiteX3221" fmla="*/ 2467150 w 6689088"/>
                <a:gd name="connsiteY3221" fmla="*/ 998840 h 6689084"/>
                <a:gd name="connsiteX3222" fmla="*/ 2461340 w 6689088"/>
                <a:gd name="connsiteY3222" fmla="*/ 1004649 h 6689084"/>
                <a:gd name="connsiteX3223" fmla="*/ 2455531 w 6689088"/>
                <a:gd name="connsiteY3223" fmla="*/ 998840 h 6689084"/>
                <a:gd name="connsiteX3224" fmla="*/ 2461340 w 6689088"/>
                <a:gd name="connsiteY3224" fmla="*/ 993031 h 6689084"/>
                <a:gd name="connsiteX3225" fmla="*/ 2614925 w 6689088"/>
                <a:gd name="connsiteY3225" fmla="*/ 991216 h 6689084"/>
                <a:gd name="connsiteX3226" fmla="*/ 2622187 w 6689088"/>
                <a:gd name="connsiteY3226" fmla="*/ 998478 h 6689084"/>
                <a:gd name="connsiteX3227" fmla="*/ 2614925 w 6689088"/>
                <a:gd name="connsiteY3227" fmla="*/ 1005739 h 6689084"/>
                <a:gd name="connsiteX3228" fmla="*/ 2607664 w 6689088"/>
                <a:gd name="connsiteY3228" fmla="*/ 998478 h 6689084"/>
                <a:gd name="connsiteX3229" fmla="*/ 2614925 w 6689088"/>
                <a:gd name="connsiteY3229" fmla="*/ 991216 h 6689084"/>
                <a:gd name="connsiteX3230" fmla="*/ 2768873 w 6689088"/>
                <a:gd name="connsiteY3230" fmla="*/ 989402 h 6689084"/>
                <a:gd name="connsiteX3231" fmla="*/ 2777953 w 6689088"/>
                <a:gd name="connsiteY3231" fmla="*/ 998478 h 6689084"/>
                <a:gd name="connsiteX3232" fmla="*/ 2768873 w 6689088"/>
                <a:gd name="connsiteY3232" fmla="*/ 1007558 h 6689084"/>
                <a:gd name="connsiteX3233" fmla="*/ 2759797 w 6689088"/>
                <a:gd name="connsiteY3233" fmla="*/ 998478 h 6689084"/>
                <a:gd name="connsiteX3234" fmla="*/ 2768873 w 6689088"/>
                <a:gd name="connsiteY3234" fmla="*/ 989402 h 6689084"/>
                <a:gd name="connsiteX3235" fmla="*/ 2922458 w 6689088"/>
                <a:gd name="connsiteY3235" fmla="*/ 988311 h 6689084"/>
                <a:gd name="connsiteX3236" fmla="*/ 2932624 w 6689088"/>
                <a:gd name="connsiteY3236" fmla="*/ 998478 h 6689084"/>
                <a:gd name="connsiteX3237" fmla="*/ 2922458 w 6689088"/>
                <a:gd name="connsiteY3237" fmla="*/ 1008644 h 6689084"/>
                <a:gd name="connsiteX3238" fmla="*/ 2912292 w 6689088"/>
                <a:gd name="connsiteY3238" fmla="*/ 998478 h 6689084"/>
                <a:gd name="connsiteX3239" fmla="*/ 2922458 w 6689088"/>
                <a:gd name="connsiteY3239" fmla="*/ 988311 h 6689084"/>
                <a:gd name="connsiteX3240" fmla="*/ 3076402 w 6689088"/>
                <a:gd name="connsiteY3240" fmla="*/ 986497 h 6689084"/>
                <a:gd name="connsiteX3241" fmla="*/ 3088386 w 6689088"/>
                <a:gd name="connsiteY3241" fmla="*/ 998478 h 6689084"/>
                <a:gd name="connsiteX3242" fmla="*/ 3076402 w 6689088"/>
                <a:gd name="connsiteY3242" fmla="*/ 1010459 h 6689084"/>
                <a:gd name="connsiteX3243" fmla="*/ 3064421 w 6689088"/>
                <a:gd name="connsiteY3243" fmla="*/ 998478 h 6689084"/>
                <a:gd name="connsiteX3244" fmla="*/ 3076402 w 6689088"/>
                <a:gd name="connsiteY3244" fmla="*/ 986497 h 6689084"/>
                <a:gd name="connsiteX3245" fmla="*/ 3230353 w 6689088"/>
                <a:gd name="connsiteY3245" fmla="*/ 984683 h 6689084"/>
                <a:gd name="connsiteX3246" fmla="*/ 3244148 w 6689088"/>
                <a:gd name="connsiteY3246" fmla="*/ 998482 h 6689084"/>
                <a:gd name="connsiteX3247" fmla="*/ 3230353 w 6689088"/>
                <a:gd name="connsiteY3247" fmla="*/ 1012277 h 6689084"/>
                <a:gd name="connsiteX3248" fmla="*/ 3216554 w 6689088"/>
                <a:gd name="connsiteY3248" fmla="*/ 998482 h 6689084"/>
                <a:gd name="connsiteX3249" fmla="*/ 3230353 w 6689088"/>
                <a:gd name="connsiteY3249" fmla="*/ 984683 h 6689084"/>
                <a:gd name="connsiteX3250" fmla="*/ 3383934 w 6689088"/>
                <a:gd name="connsiteY3250" fmla="*/ 983230 h 6689084"/>
                <a:gd name="connsiteX3251" fmla="*/ 3399186 w 6689088"/>
                <a:gd name="connsiteY3251" fmla="*/ 998482 h 6689084"/>
                <a:gd name="connsiteX3252" fmla="*/ 3383934 w 6689088"/>
                <a:gd name="connsiteY3252" fmla="*/ 1013729 h 6689084"/>
                <a:gd name="connsiteX3253" fmla="*/ 3368687 w 6689088"/>
                <a:gd name="connsiteY3253" fmla="*/ 998482 h 6689084"/>
                <a:gd name="connsiteX3254" fmla="*/ 3383934 w 6689088"/>
                <a:gd name="connsiteY3254" fmla="*/ 983230 h 6689084"/>
                <a:gd name="connsiteX3255" fmla="*/ 3537886 w 6689088"/>
                <a:gd name="connsiteY3255" fmla="*/ 981412 h 6689084"/>
                <a:gd name="connsiteX3256" fmla="*/ 3554951 w 6689088"/>
                <a:gd name="connsiteY3256" fmla="*/ 998478 h 6689084"/>
                <a:gd name="connsiteX3257" fmla="*/ 3537886 w 6689088"/>
                <a:gd name="connsiteY3257" fmla="*/ 1015540 h 6689084"/>
                <a:gd name="connsiteX3258" fmla="*/ 3520820 w 6689088"/>
                <a:gd name="connsiteY3258" fmla="*/ 998478 h 6689084"/>
                <a:gd name="connsiteX3259" fmla="*/ 3537886 w 6689088"/>
                <a:gd name="connsiteY3259" fmla="*/ 981412 h 6689084"/>
                <a:gd name="connsiteX3260" fmla="*/ 3691467 w 6689088"/>
                <a:gd name="connsiteY3260" fmla="*/ 979235 h 6689084"/>
                <a:gd name="connsiteX3261" fmla="*/ 3710710 w 6689088"/>
                <a:gd name="connsiteY3261" fmla="*/ 998478 h 6689084"/>
                <a:gd name="connsiteX3262" fmla="*/ 3691467 w 6689088"/>
                <a:gd name="connsiteY3262" fmla="*/ 1017724 h 6689084"/>
                <a:gd name="connsiteX3263" fmla="*/ 3672224 w 6689088"/>
                <a:gd name="connsiteY3263" fmla="*/ 998478 h 6689084"/>
                <a:gd name="connsiteX3264" fmla="*/ 3691467 w 6689088"/>
                <a:gd name="connsiteY3264" fmla="*/ 979235 h 6689084"/>
                <a:gd name="connsiteX3265" fmla="*/ 3845418 w 6689088"/>
                <a:gd name="connsiteY3265" fmla="*/ 977055 h 6689084"/>
                <a:gd name="connsiteX3266" fmla="*/ 3866841 w 6689088"/>
                <a:gd name="connsiteY3266" fmla="*/ 998478 h 6689084"/>
                <a:gd name="connsiteX3267" fmla="*/ 3845418 w 6689088"/>
                <a:gd name="connsiteY3267" fmla="*/ 1019901 h 6689084"/>
                <a:gd name="connsiteX3268" fmla="*/ 3823995 w 6689088"/>
                <a:gd name="connsiteY3268" fmla="*/ 998478 h 6689084"/>
                <a:gd name="connsiteX3269" fmla="*/ 3845418 w 6689088"/>
                <a:gd name="connsiteY3269" fmla="*/ 977055 h 6689084"/>
                <a:gd name="connsiteX3270" fmla="*/ 3999000 w 6689088"/>
                <a:gd name="connsiteY3270" fmla="*/ 975603 h 6689084"/>
                <a:gd name="connsiteX3271" fmla="*/ 4021871 w 6689088"/>
                <a:gd name="connsiteY3271" fmla="*/ 998478 h 6689084"/>
                <a:gd name="connsiteX3272" fmla="*/ 3999000 w 6689088"/>
                <a:gd name="connsiteY3272" fmla="*/ 1021349 h 6689084"/>
                <a:gd name="connsiteX3273" fmla="*/ 3976124 w 6689088"/>
                <a:gd name="connsiteY3273" fmla="*/ 998478 h 6689084"/>
                <a:gd name="connsiteX3274" fmla="*/ 3999000 w 6689088"/>
                <a:gd name="connsiteY3274" fmla="*/ 975603 h 6689084"/>
                <a:gd name="connsiteX3275" fmla="*/ 4152947 w 6689088"/>
                <a:gd name="connsiteY3275" fmla="*/ 973426 h 6689084"/>
                <a:gd name="connsiteX3276" fmla="*/ 4178002 w 6689088"/>
                <a:gd name="connsiteY3276" fmla="*/ 998478 h 6689084"/>
                <a:gd name="connsiteX3277" fmla="*/ 4152947 w 6689088"/>
                <a:gd name="connsiteY3277" fmla="*/ 1023533 h 6689084"/>
                <a:gd name="connsiteX3278" fmla="*/ 4127895 w 6689088"/>
                <a:gd name="connsiteY3278" fmla="*/ 998478 h 6689084"/>
                <a:gd name="connsiteX3279" fmla="*/ 4152947 w 6689088"/>
                <a:gd name="connsiteY3279" fmla="*/ 973426 h 6689084"/>
                <a:gd name="connsiteX3280" fmla="*/ 4306532 w 6689088"/>
                <a:gd name="connsiteY3280" fmla="*/ 971246 h 6689084"/>
                <a:gd name="connsiteX3281" fmla="*/ 4333764 w 6689088"/>
                <a:gd name="connsiteY3281" fmla="*/ 998478 h 6689084"/>
                <a:gd name="connsiteX3282" fmla="*/ 4306532 w 6689088"/>
                <a:gd name="connsiteY3282" fmla="*/ 1025710 h 6689084"/>
                <a:gd name="connsiteX3283" fmla="*/ 4279300 w 6689088"/>
                <a:gd name="connsiteY3283" fmla="*/ 998478 h 6689084"/>
                <a:gd name="connsiteX3284" fmla="*/ 4306532 w 6689088"/>
                <a:gd name="connsiteY3284" fmla="*/ 971246 h 6689084"/>
                <a:gd name="connsiteX3285" fmla="*/ 4460476 w 6689088"/>
                <a:gd name="connsiteY3285" fmla="*/ 968707 h 6689084"/>
                <a:gd name="connsiteX3286" fmla="*/ 4490250 w 6689088"/>
                <a:gd name="connsiteY3286" fmla="*/ 998482 h 6689084"/>
                <a:gd name="connsiteX3287" fmla="*/ 4460476 w 6689088"/>
                <a:gd name="connsiteY3287" fmla="*/ 1028252 h 6689084"/>
                <a:gd name="connsiteX3288" fmla="*/ 4430705 w 6689088"/>
                <a:gd name="connsiteY3288" fmla="*/ 998482 h 6689084"/>
                <a:gd name="connsiteX3289" fmla="*/ 4460476 w 6689088"/>
                <a:gd name="connsiteY3289" fmla="*/ 968707 h 6689084"/>
                <a:gd name="connsiteX3290" fmla="*/ 4614061 w 6689088"/>
                <a:gd name="connsiteY3290" fmla="*/ 966526 h 6689084"/>
                <a:gd name="connsiteX3291" fmla="*/ 4646012 w 6689088"/>
                <a:gd name="connsiteY3291" fmla="*/ 998478 h 6689084"/>
                <a:gd name="connsiteX3292" fmla="*/ 4614061 w 6689088"/>
                <a:gd name="connsiteY3292" fmla="*/ 1030429 h 6689084"/>
                <a:gd name="connsiteX3293" fmla="*/ 4582110 w 6689088"/>
                <a:gd name="connsiteY3293" fmla="*/ 998478 h 6689084"/>
                <a:gd name="connsiteX3294" fmla="*/ 4614061 w 6689088"/>
                <a:gd name="connsiteY3294" fmla="*/ 966526 h 6689084"/>
                <a:gd name="connsiteX3295" fmla="*/ 4768008 w 6689088"/>
                <a:gd name="connsiteY3295" fmla="*/ 964712 h 6689084"/>
                <a:gd name="connsiteX3296" fmla="*/ 4801778 w 6689088"/>
                <a:gd name="connsiteY3296" fmla="*/ 998478 h 6689084"/>
                <a:gd name="connsiteX3297" fmla="*/ 4768008 w 6689088"/>
                <a:gd name="connsiteY3297" fmla="*/ 1032247 h 6689084"/>
                <a:gd name="connsiteX3298" fmla="*/ 4734242 w 6689088"/>
                <a:gd name="connsiteY3298" fmla="*/ 998478 h 6689084"/>
                <a:gd name="connsiteX3299" fmla="*/ 4768008 w 6689088"/>
                <a:gd name="connsiteY3299" fmla="*/ 964712 h 6689084"/>
                <a:gd name="connsiteX3300" fmla="*/ 4921594 w 6689088"/>
                <a:gd name="connsiteY3300" fmla="*/ 962169 h 6689084"/>
                <a:gd name="connsiteX3301" fmla="*/ 4957902 w 6689088"/>
                <a:gd name="connsiteY3301" fmla="*/ 998478 h 6689084"/>
                <a:gd name="connsiteX3302" fmla="*/ 4921594 w 6689088"/>
                <a:gd name="connsiteY3302" fmla="*/ 1034786 h 6689084"/>
                <a:gd name="connsiteX3303" fmla="*/ 4885286 w 6689088"/>
                <a:gd name="connsiteY3303" fmla="*/ 998478 h 6689084"/>
                <a:gd name="connsiteX3304" fmla="*/ 4921594 w 6689088"/>
                <a:gd name="connsiteY3304" fmla="*/ 962169 h 6689084"/>
                <a:gd name="connsiteX3305" fmla="*/ 5075545 w 6689088"/>
                <a:gd name="connsiteY3305" fmla="*/ 959627 h 6689084"/>
                <a:gd name="connsiteX3306" fmla="*/ 5114392 w 6689088"/>
                <a:gd name="connsiteY3306" fmla="*/ 998478 h 6689084"/>
                <a:gd name="connsiteX3307" fmla="*/ 5075545 w 6689088"/>
                <a:gd name="connsiteY3307" fmla="*/ 1037325 h 6689084"/>
                <a:gd name="connsiteX3308" fmla="*/ 5036694 w 6689088"/>
                <a:gd name="connsiteY3308" fmla="*/ 998478 h 6689084"/>
                <a:gd name="connsiteX3309" fmla="*/ 5075545 w 6689088"/>
                <a:gd name="connsiteY3309" fmla="*/ 959627 h 6689084"/>
                <a:gd name="connsiteX3310" fmla="*/ 5229126 w 6689088"/>
                <a:gd name="connsiteY3310" fmla="*/ 957450 h 6689084"/>
                <a:gd name="connsiteX3311" fmla="*/ 5270158 w 6689088"/>
                <a:gd name="connsiteY3311" fmla="*/ 998478 h 6689084"/>
                <a:gd name="connsiteX3312" fmla="*/ 5229126 w 6689088"/>
                <a:gd name="connsiteY3312" fmla="*/ 1039505 h 6689084"/>
                <a:gd name="connsiteX3313" fmla="*/ 5188099 w 6689088"/>
                <a:gd name="connsiteY3313" fmla="*/ 998478 h 6689084"/>
                <a:gd name="connsiteX3314" fmla="*/ 5229126 w 6689088"/>
                <a:gd name="connsiteY3314" fmla="*/ 957450 h 6689084"/>
                <a:gd name="connsiteX3315" fmla="*/ 5383074 w 6689088"/>
                <a:gd name="connsiteY3315" fmla="*/ 954908 h 6689084"/>
                <a:gd name="connsiteX3316" fmla="*/ 5426644 w 6689088"/>
                <a:gd name="connsiteY3316" fmla="*/ 998478 h 6689084"/>
                <a:gd name="connsiteX3317" fmla="*/ 5383074 w 6689088"/>
                <a:gd name="connsiteY3317" fmla="*/ 1042048 h 6689084"/>
                <a:gd name="connsiteX3318" fmla="*/ 5339504 w 6689088"/>
                <a:gd name="connsiteY3318" fmla="*/ 998478 h 6689084"/>
                <a:gd name="connsiteX3319" fmla="*/ 5383074 w 6689088"/>
                <a:gd name="connsiteY3319" fmla="*/ 954908 h 6689084"/>
                <a:gd name="connsiteX3320" fmla="*/ 5537018 w 6689088"/>
                <a:gd name="connsiteY3320" fmla="*/ 952365 h 6689084"/>
                <a:gd name="connsiteX3321" fmla="*/ 5583130 w 6689088"/>
                <a:gd name="connsiteY3321" fmla="*/ 998478 h 6689084"/>
                <a:gd name="connsiteX3322" fmla="*/ 5537018 w 6689088"/>
                <a:gd name="connsiteY3322" fmla="*/ 1044590 h 6689084"/>
                <a:gd name="connsiteX3323" fmla="*/ 5490908 w 6689088"/>
                <a:gd name="connsiteY3323" fmla="*/ 998478 h 6689084"/>
                <a:gd name="connsiteX3324" fmla="*/ 5537018 w 6689088"/>
                <a:gd name="connsiteY3324" fmla="*/ 952365 h 6689084"/>
                <a:gd name="connsiteX3325" fmla="*/ 5690606 w 6689088"/>
                <a:gd name="connsiteY3325" fmla="*/ 949823 h 6689084"/>
                <a:gd name="connsiteX3326" fmla="*/ 5739258 w 6689088"/>
                <a:gd name="connsiteY3326" fmla="*/ 998478 h 6689084"/>
                <a:gd name="connsiteX3327" fmla="*/ 5690606 w 6689088"/>
                <a:gd name="connsiteY3327" fmla="*/ 1047129 h 6689084"/>
                <a:gd name="connsiteX3328" fmla="*/ 5641952 w 6689088"/>
                <a:gd name="connsiteY3328" fmla="*/ 998478 h 6689084"/>
                <a:gd name="connsiteX3329" fmla="*/ 5690606 w 6689088"/>
                <a:gd name="connsiteY3329" fmla="*/ 949823 h 6689084"/>
                <a:gd name="connsiteX3330" fmla="*/ 5844554 w 6689088"/>
                <a:gd name="connsiteY3330" fmla="*/ 947284 h 6689084"/>
                <a:gd name="connsiteX3331" fmla="*/ 5895748 w 6689088"/>
                <a:gd name="connsiteY3331" fmla="*/ 998478 h 6689084"/>
                <a:gd name="connsiteX3332" fmla="*/ 5844554 w 6689088"/>
                <a:gd name="connsiteY3332" fmla="*/ 1049672 h 6689084"/>
                <a:gd name="connsiteX3333" fmla="*/ 5793360 w 6689088"/>
                <a:gd name="connsiteY3333" fmla="*/ 998478 h 6689084"/>
                <a:gd name="connsiteX3334" fmla="*/ 5844554 w 6689088"/>
                <a:gd name="connsiteY3334" fmla="*/ 947284 h 6689084"/>
                <a:gd name="connsiteX3335" fmla="*/ 5998136 w 6689088"/>
                <a:gd name="connsiteY3335" fmla="*/ 945104 h 6689084"/>
                <a:gd name="connsiteX3336" fmla="*/ 6051514 w 6689088"/>
                <a:gd name="connsiteY3336" fmla="*/ 998478 h 6689084"/>
                <a:gd name="connsiteX3337" fmla="*/ 5998136 w 6689088"/>
                <a:gd name="connsiteY3337" fmla="*/ 1051848 h 6689084"/>
                <a:gd name="connsiteX3338" fmla="*/ 5944765 w 6689088"/>
                <a:gd name="connsiteY3338" fmla="*/ 998478 h 6689084"/>
                <a:gd name="connsiteX3339" fmla="*/ 5998136 w 6689088"/>
                <a:gd name="connsiteY3339" fmla="*/ 945104 h 6689084"/>
                <a:gd name="connsiteX3340" fmla="*/ 6152086 w 6689088"/>
                <a:gd name="connsiteY3340" fmla="*/ 942199 h 6689084"/>
                <a:gd name="connsiteX3341" fmla="*/ 6208366 w 6689088"/>
                <a:gd name="connsiteY3341" fmla="*/ 998478 h 6689084"/>
                <a:gd name="connsiteX3342" fmla="*/ 6152086 w 6689088"/>
                <a:gd name="connsiteY3342" fmla="*/ 1054753 h 6689084"/>
                <a:gd name="connsiteX3343" fmla="*/ 6095808 w 6689088"/>
                <a:gd name="connsiteY3343" fmla="*/ 998478 h 6689084"/>
                <a:gd name="connsiteX3344" fmla="*/ 6152086 w 6689088"/>
                <a:gd name="connsiteY3344" fmla="*/ 942199 h 6689084"/>
                <a:gd name="connsiteX3345" fmla="*/ 6305672 w 6689088"/>
                <a:gd name="connsiteY3345" fmla="*/ 939660 h 6689084"/>
                <a:gd name="connsiteX3346" fmla="*/ 6364490 w 6689088"/>
                <a:gd name="connsiteY3346" fmla="*/ 998482 h 6689084"/>
                <a:gd name="connsiteX3347" fmla="*/ 6305672 w 6689088"/>
                <a:gd name="connsiteY3347" fmla="*/ 1057299 h 6689084"/>
                <a:gd name="connsiteX3348" fmla="*/ 6246850 w 6689088"/>
                <a:gd name="connsiteY3348" fmla="*/ 998482 h 6689084"/>
                <a:gd name="connsiteX3349" fmla="*/ 6305672 w 6689088"/>
                <a:gd name="connsiteY3349" fmla="*/ 939660 h 6689084"/>
                <a:gd name="connsiteX3350" fmla="*/ 6459619 w 6689088"/>
                <a:gd name="connsiteY3350" fmla="*/ 937118 h 6689084"/>
                <a:gd name="connsiteX3351" fmla="*/ 6521342 w 6689088"/>
                <a:gd name="connsiteY3351" fmla="*/ 998844 h 6689084"/>
                <a:gd name="connsiteX3352" fmla="*/ 6459619 w 6689088"/>
                <a:gd name="connsiteY3352" fmla="*/ 1060566 h 6689084"/>
                <a:gd name="connsiteX3353" fmla="*/ 6397893 w 6689088"/>
                <a:gd name="connsiteY3353" fmla="*/ 998844 h 6689084"/>
                <a:gd name="connsiteX3354" fmla="*/ 6459619 w 6689088"/>
                <a:gd name="connsiteY3354" fmla="*/ 937118 h 6689084"/>
                <a:gd name="connsiteX3355" fmla="*/ 6613200 w 6689088"/>
                <a:gd name="connsiteY3355" fmla="*/ 934213 h 6689084"/>
                <a:gd name="connsiteX3356" fmla="*/ 6677470 w 6689088"/>
                <a:gd name="connsiteY3356" fmla="*/ 998478 h 6689084"/>
                <a:gd name="connsiteX3357" fmla="*/ 6613200 w 6689088"/>
                <a:gd name="connsiteY3357" fmla="*/ 1062746 h 6689084"/>
                <a:gd name="connsiteX3358" fmla="*/ 6548936 w 6689088"/>
                <a:gd name="connsiteY3358" fmla="*/ 998478 h 6689084"/>
                <a:gd name="connsiteX3359" fmla="*/ 6613200 w 6689088"/>
                <a:gd name="connsiteY3359" fmla="*/ 934213 h 6689084"/>
                <a:gd name="connsiteX3360" fmla="*/ 1538746 w 6689088"/>
                <a:gd name="connsiteY3360" fmla="*/ 844530 h 6689084"/>
                <a:gd name="connsiteX3361" fmla="*/ 1539108 w 6689088"/>
                <a:gd name="connsiteY3361" fmla="*/ 844893 h 6689084"/>
                <a:gd name="connsiteX3362" fmla="*/ 1538746 w 6689088"/>
                <a:gd name="connsiteY3362" fmla="*/ 845258 h 6689084"/>
                <a:gd name="connsiteX3363" fmla="*/ 1538384 w 6689088"/>
                <a:gd name="connsiteY3363" fmla="*/ 844893 h 6689084"/>
                <a:gd name="connsiteX3364" fmla="*/ 1538746 w 6689088"/>
                <a:gd name="connsiteY3364" fmla="*/ 844530 h 6689084"/>
                <a:gd name="connsiteX3365" fmla="*/ 1077266 w 6689088"/>
                <a:gd name="connsiteY3365" fmla="*/ 844530 h 6689084"/>
                <a:gd name="connsiteX3366" fmla="*/ 1077628 w 6689088"/>
                <a:gd name="connsiteY3366" fmla="*/ 844893 h 6689084"/>
                <a:gd name="connsiteX3367" fmla="*/ 1077266 w 6689088"/>
                <a:gd name="connsiteY3367" fmla="*/ 845258 h 6689084"/>
                <a:gd name="connsiteX3368" fmla="*/ 1076904 w 6689088"/>
                <a:gd name="connsiteY3368" fmla="*/ 844893 h 6689084"/>
                <a:gd name="connsiteX3369" fmla="*/ 1077266 w 6689088"/>
                <a:gd name="connsiteY3369" fmla="*/ 844530 h 6689084"/>
                <a:gd name="connsiteX3370" fmla="*/ 923681 w 6689088"/>
                <a:gd name="connsiteY3370" fmla="*/ 844530 h 6689084"/>
                <a:gd name="connsiteX3371" fmla="*/ 924043 w 6689088"/>
                <a:gd name="connsiteY3371" fmla="*/ 844893 h 6689084"/>
                <a:gd name="connsiteX3372" fmla="*/ 923681 w 6689088"/>
                <a:gd name="connsiteY3372" fmla="*/ 845258 h 6689084"/>
                <a:gd name="connsiteX3373" fmla="*/ 923319 w 6689088"/>
                <a:gd name="connsiteY3373" fmla="*/ 844893 h 6689084"/>
                <a:gd name="connsiteX3374" fmla="*/ 923681 w 6689088"/>
                <a:gd name="connsiteY3374" fmla="*/ 844530 h 6689084"/>
                <a:gd name="connsiteX3375" fmla="*/ 769737 w 6689088"/>
                <a:gd name="connsiteY3375" fmla="*/ 844168 h 6689084"/>
                <a:gd name="connsiteX3376" fmla="*/ 770461 w 6689088"/>
                <a:gd name="connsiteY3376" fmla="*/ 844896 h 6689084"/>
                <a:gd name="connsiteX3377" fmla="*/ 769737 w 6689088"/>
                <a:gd name="connsiteY3377" fmla="*/ 845621 h 6689084"/>
                <a:gd name="connsiteX3378" fmla="*/ 769009 w 6689088"/>
                <a:gd name="connsiteY3378" fmla="*/ 844896 h 6689084"/>
                <a:gd name="connsiteX3379" fmla="*/ 769737 w 6689088"/>
                <a:gd name="connsiteY3379" fmla="*/ 844168 h 6689084"/>
                <a:gd name="connsiteX3380" fmla="*/ 1692331 w 6689088"/>
                <a:gd name="connsiteY3380" fmla="*/ 843078 h 6689084"/>
                <a:gd name="connsiteX3381" fmla="*/ 1693784 w 6689088"/>
                <a:gd name="connsiteY3381" fmla="*/ 844530 h 6689084"/>
                <a:gd name="connsiteX3382" fmla="*/ 1692331 w 6689088"/>
                <a:gd name="connsiteY3382" fmla="*/ 845983 h 6689084"/>
                <a:gd name="connsiteX3383" fmla="*/ 1690879 w 6689088"/>
                <a:gd name="connsiteY3383" fmla="*/ 844530 h 6689084"/>
                <a:gd name="connsiteX3384" fmla="*/ 1692331 w 6689088"/>
                <a:gd name="connsiteY3384" fmla="*/ 843078 h 6689084"/>
                <a:gd name="connsiteX3385" fmla="*/ 1846279 w 6689088"/>
                <a:gd name="connsiteY3385" fmla="*/ 842716 h 6689084"/>
                <a:gd name="connsiteX3386" fmla="*/ 1848455 w 6689088"/>
                <a:gd name="connsiteY3386" fmla="*/ 844896 h 6689084"/>
                <a:gd name="connsiteX3387" fmla="*/ 1846279 w 6689088"/>
                <a:gd name="connsiteY3387" fmla="*/ 847073 h 6689084"/>
                <a:gd name="connsiteX3388" fmla="*/ 1844098 w 6689088"/>
                <a:gd name="connsiteY3388" fmla="*/ 844896 h 6689084"/>
                <a:gd name="connsiteX3389" fmla="*/ 1846279 w 6689088"/>
                <a:gd name="connsiteY3389" fmla="*/ 842716 h 6689084"/>
                <a:gd name="connsiteX3390" fmla="*/ 1999860 w 6689088"/>
                <a:gd name="connsiteY3390" fmla="*/ 841626 h 6689084"/>
                <a:gd name="connsiteX3391" fmla="*/ 2003127 w 6689088"/>
                <a:gd name="connsiteY3391" fmla="*/ 844893 h 6689084"/>
                <a:gd name="connsiteX3392" fmla="*/ 1999860 w 6689088"/>
                <a:gd name="connsiteY3392" fmla="*/ 848163 h 6689084"/>
                <a:gd name="connsiteX3393" fmla="*/ 1996593 w 6689088"/>
                <a:gd name="connsiteY3393" fmla="*/ 844893 h 6689084"/>
                <a:gd name="connsiteX3394" fmla="*/ 1999860 w 6689088"/>
                <a:gd name="connsiteY3394" fmla="*/ 841626 h 6689084"/>
                <a:gd name="connsiteX3395" fmla="*/ 2153808 w 6689088"/>
                <a:gd name="connsiteY3395" fmla="*/ 840173 h 6689084"/>
                <a:gd name="connsiteX3396" fmla="*/ 2158165 w 6689088"/>
                <a:gd name="connsiteY3396" fmla="*/ 844530 h 6689084"/>
                <a:gd name="connsiteX3397" fmla="*/ 2153808 w 6689088"/>
                <a:gd name="connsiteY3397" fmla="*/ 848887 h 6689084"/>
                <a:gd name="connsiteX3398" fmla="*/ 2149451 w 6689088"/>
                <a:gd name="connsiteY3398" fmla="*/ 844530 h 6689084"/>
                <a:gd name="connsiteX3399" fmla="*/ 2153808 w 6689088"/>
                <a:gd name="connsiteY3399" fmla="*/ 840173 h 6689084"/>
                <a:gd name="connsiteX3400" fmla="*/ 2307393 w 6689088"/>
                <a:gd name="connsiteY3400" fmla="*/ 839083 h 6689084"/>
                <a:gd name="connsiteX3401" fmla="*/ 2313202 w 6689088"/>
                <a:gd name="connsiteY3401" fmla="*/ 844893 h 6689084"/>
                <a:gd name="connsiteX3402" fmla="*/ 2307393 w 6689088"/>
                <a:gd name="connsiteY3402" fmla="*/ 850702 h 6689084"/>
                <a:gd name="connsiteX3403" fmla="*/ 2301583 w 6689088"/>
                <a:gd name="connsiteY3403" fmla="*/ 844893 h 6689084"/>
                <a:gd name="connsiteX3404" fmla="*/ 2307393 w 6689088"/>
                <a:gd name="connsiteY3404" fmla="*/ 839083 h 6689084"/>
                <a:gd name="connsiteX3405" fmla="*/ 2461340 w 6689088"/>
                <a:gd name="connsiteY3405" fmla="*/ 837631 h 6689084"/>
                <a:gd name="connsiteX3406" fmla="*/ 2468602 w 6689088"/>
                <a:gd name="connsiteY3406" fmla="*/ 844893 h 6689084"/>
                <a:gd name="connsiteX3407" fmla="*/ 2461340 w 6689088"/>
                <a:gd name="connsiteY3407" fmla="*/ 852154 h 6689084"/>
                <a:gd name="connsiteX3408" fmla="*/ 2454079 w 6689088"/>
                <a:gd name="connsiteY3408" fmla="*/ 844893 h 6689084"/>
                <a:gd name="connsiteX3409" fmla="*/ 2461340 w 6689088"/>
                <a:gd name="connsiteY3409" fmla="*/ 837631 h 6689084"/>
                <a:gd name="connsiteX3410" fmla="*/ 2614925 w 6689088"/>
                <a:gd name="connsiteY3410" fmla="*/ 835454 h 6689084"/>
                <a:gd name="connsiteX3411" fmla="*/ 2624005 w 6689088"/>
                <a:gd name="connsiteY3411" fmla="*/ 844530 h 6689084"/>
                <a:gd name="connsiteX3412" fmla="*/ 2614925 w 6689088"/>
                <a:gd name="connsiteY3412" fmla="*/ 853610 h 6689084"/>
                <a:gd name="connsiteX3413" fmla="*/ 2605849 w 6689088"/>
                <a:gd name="connsiteY3413" fmla="*/ 844530 h 6689084"/>
                <a:gd name="connsiteX3414" fmla="*/ 2614925 w 6689088"/>
                <a:gd name="connsiteY3414" fmla="*/ 835454 h 6689084"/>
                <a:gd name="connsiteX3415" fmla="*/ 2768873 w 6689088"/>
                <a:gd name="connsiteY3415" fmla="*/ 834726 h 6689084"/>
                <a:gd name="connsiteX3416" fmla="*/ 2779039 w 6689088"/>
                <a:gd name="connsiteY3416" fmla="*/ 844893 h 6689084"/>
                <a:gd name="connsiteX3417" fmla="*/ 2768873 w 6689088"/>
                <a:gd name="connsiteY3417" fmla="*/ 855059 h 6689084"/>
                <a:gd name="connsiteX3418" fmla="*/ 2758707 w 6689088"/>
                <a:gd name="connsiteY3418" fmla="*/ 844893 h 6689084"/>
                <a:gd name="connsiteX3419" fmla="*/ 2768873 w 6689088"/>
                <a:gd name="connsiteY3419" fmla="*/ 834726 h 6689084"/>
                <a:gd name="connsiteX3420" fmla="*/ 2922458 w 6689088"/>
                <a:gd name="connsiteY3420" fmla="*/ 832912 h 6689084"/>
                <a:gd name="connsiteX3421" fmla="*/ 2934443 w 6689088"/>
                <a:gd name="connsiteY3421" fmla="*/ 844893 h 6689084"/>
                <a:gd name="connsiteX3422" fmla="*/ 2922458 w 6689088"/>
                <a:gd name="connsiteY3422" fmla="*/ 856873 h 6689084"/>
                <a:gd name="connsiteX3423" fmla="*/ 2910477 w 6689088"/>
                <a:gd name="connsiteY3423" fmla="*/ 844893 h 6689084"/>
                <a:gd name="connsiteX3424" fmla="*/ 2922458 w 6689088"/>
                <a:gd name="connsiteY3424" fmla="*/ 832912 h 6689084"/>
                <a:gd name="connsiteX3425" fmla="*/ 3076402 w 6689088"/>
                <a:gd name="connsiteY3425" fmla="*/ 831097 h 6689084"/>
                <a:gd name="connsiteX3426" fmla="*/ 3090201 w 6689088"/>
                <a:gd name="connsiteY3426" fmla="*/ 844896 h 6689084"/>
                <a:gd name="connsiteX3427" fmla="*/ 3076402 w 6689088"/>
                <a:gd name="connsiteY3427" fmla="*/ 858692 h 6689084"/>
                <a:gd name="connsiteX3428" fmla="*/ 3062606 w 6689088"/>
                <a:gd name="connsiteY3428" fmla="*/ 844896 h 6689084"/>
                <a:gd name="connsiteX3429" fmla="*/ 3076402 w 6689088"/>
                <a:gd name="connsiteY3429" fmla="*/ 831097 h 6689084"/>
                <a:gd name="connsiteX3430" fmla="*/ 3230349 w 6689088"/>
                <a:gd name="connsiteY3430" fmla="*/ 829645 h 6689084"/>
                <a:gd name="connsiteX3431" fmla="*/ 3245600 w 6689088"/>
                <a:gd name="connsiteY3431" fmla="*/ 844896 h 6689084"/>
                <a:gd name="connsiteX3432" fmla="*/ 3230349 w 6689088"/>
                <a:gd name="connsiteY3432" fmla="*/ 860144 h 6689084"/>
                <a:gd name="connsiteX3433" fmla="*/ 3215102 w 6689088"/>
                <a:gd name="connsiteY3433" fmla="*/ 844896 h 6689084"/>
                <a:gd name="connsiteX3434" fmla="*/ 3230349 w 6689088"/>
                <a:gd name="connsiteY3434" fmla="*/ 829645 h 6689084"/>
                <a:gd name="connsiteX3435" fmla="*/ 3383938 w 6689088"/>
                <a:gd name="connsiteY3435" fmla="*/ 827830 h 6689084"/>
                <a:gd name="connsiteX3436" fmla="*/ 3401000 w 6689088"/>
                <a:gd name="connsiteY3436" fmla="*/ 844896 h 6689084"/>
                <a:gd name="connsiteX3437" fmla="*/ 3383938 w 6689088"/>
                <a:gd name="connsiteY3437" fmla="*/ 861958 h 6689084"/>
                <a:gd name="connsiteX3438" fmla="*/ 3366872 w 6689088"/>
                <a:gd name="connsiteY3438" fmla="*/ 844896 h 6689084"/>
                <a:gd name="connsiteX3439" fmla="*/ 3383938 w 6689088"/>
                <a:gd name="connsiteY3439" fmla="*/ 827830 h 6689084"/>
                <a:gd name="connsiteX3440" fmla="*/ 3537882 w 6689088"/>
                <a:gd name="connsiteY3440" fmla="*/ 825650 h 6689084"/>
                <a:gd name="connsiteX3441" fmla="*/ 3557128 w 6689088"/>
                <a:gd name="connsiteY3441" fmla="*/ 844893 h 6689084"/>
                <a:gd name="connsiteX3442" fmla="*/ 3537882 w 6689088"/>
                <a:gd name="connsiteY3442" fmla="*/ 864139 h 6689084"/>
                <a:gd name="connsiteX3443" fmla="*/ 3518639 w 6689088"/>
                <a:gd name="connsiteY3443" fmla="*/ 844893 h 6689084"/>
                <a:gd name="connsiteX3444" fmla="*/ 3537882 w 6689088"/>
                <a:gd name="connsiteY3444" fmla="*/ 825650 h 6689084"/>
                <a:gd name="connsiteX3445" fmla="*/ 3691471 w 6689088"/>
                <a:gd name="connsiteY3445" fmla="*/ 823473 h 6689084"/>
                <a:gd name="connsiteX3446" fmla="*/ 3712894 w 6689088"/>
                <a:gd name="connsiteY3446" fmla="*/ 844896 h 6689084"/>
                <a:gd name="connsiteX3447" fmla="*/ 3691471 w 6689088"/>
                <a:gd name="connsiteY3447" fmla="*/ 866319 h 6689084"/>
                <a:gd name="connsiteX3448" fmla="*/ 3670048 w 6689088"/>
                <a:gd name="connsiteY3448" fmla="*/ 844896 h 6689084"/>
                <a:gd name="connsiteX3449" fmla="*/ 3691471 w 6689088"/>
                <a:gd name="connsiteY3449" fmla="*/ 823473 h 6689084"/>
                <a:gd name="connsiteX3450" fmla="*/ 3845418 w 6689088"/>
                <a:gd name="connsiteY3450" fmla="*/ 822021 h 6689084"/>
                <a:gd name="connsiteX3451" fmla="*/ 3868293 w 6689088"/>
                <a:gd name="connsiteY3451" fmla="*/ 844896 h 6689084"/>
                <a:gd name="connsiteX3452" fmla="*/ 3845418 w 6689088"/>
                <a:gd name="connsiteY3452" fmla="*/ 867768 h 6689084"/>
                <a:gd name="connsiteX3453" fmla="*/ 3822543 w 6689088"/>
                <a:gd name="connsiteY3453" fmla="*/ 844896 h 6689084"/>
                <a:gd name="connsiteX3454" fmla="*/ 3845418 w 6689088"/>
                <a:gd name="connsiteY3454" fmla="*/ 822021 h 6689084"/>
                <a:gd name="connsiteX3455" fmla="*/ 3999000 w 6689088"/>
                <a:gd name="connsiteY3455" fmla="*/ 819841 h 6689084"/>
                <a:gd name="connsiteX3456" fmla="*/ 4024052 w 6689088"/>
                <a:gd name="connsiteY3456" fmla="*/ 844893 h 6689084"/>
                <a:gd name="connsiteX3457" fmla="*/ 3999000 w 6689088"/>
                <a:gd name="connsiteY3457" fmla="*/ 869948 h 6689084"/>
                <a:gd name="connsiteX3458" fmla="*/ 3973948 w 6689088"/>
                <a:gd name="connsiteY3458" fmla="*/ 844893 h 6689084"/>
                <a:gd name="connsiteX3459" fmla="*/ 3999000 w 6689088"/>
                <a:gd name="connsiteY3459" fmla="*/ 819841 h 6689084"/>
                <a:gd name="connsiteX3460" fmla="*/ 4152947 w 6689088"/>
                <a:gd name="connsiteY3460" fmla="*/ 817664 h 6689084"/>
                <a:gd name="connsiteX3461" fmla="*/ 4180179 w 6689088"/>
                <a:gd name="connsiteY3461" fmla="*/ 844896 h 6689084"/>
                <a:gd name="connsiteX3462" fmla="*/ 4152947 w 6689088"/>
                <a:gd name="connsiteY3462" fmla="*/ 872129 h 6689084"/>
                <a:gd name="connsiteX3463" fmla="*/ 4125715 w 6689088"/>
                <a:gd name="connsiteY3463" fmla="*/ 844896 h 6689084"/>
                <a:gd name="connsiteX3464" fmla="*/ 4152947 w 6689088"/>
                <a:gd name="connsiteY3464" fmla="*/ 817664 h 6689084"/>
                <a:gd name="connsiteX3465" fmla="*/ 4306528 w 6689088"/>
                <a:gd name="connsiteY3465" fmla="*/ 815122 h 6689084"/>
                <a:gd name="connsiteX3466" fmla="*/ 4336303 w 6689088"/>
                <a:gd name="connsiteY3466" fmla="*/ 844896 h 6689084"/>
                <a:gd name="connsiteX3467" fmla="*/ 4306528 w 6689088"/>
                <a:gd name="connsiteY3467" fmla="*/ 874667 h 6689084"/>
                <a:gd name="connsiteX3468" fmla="*/ 4276758 w 6689088"/>
                <a:gd name="connsiteY3468" fmla="*/ 844896 h 6689084"/>
                <a:gd name="connsiteX3469" fmla="*/ 4306528 w 6689088"/>
                <a:gd name="connsiteY3469" fmla="*/ 815122 h 6689084"/>
                <a:gd name="connsiteX3470" fmla="*/ 4460480 w 6689088"/>
                <a:gd name="connsiteY3470" fmla="*/ 812941 h 6689084"/>
                <a:gd name="connsiteX3471" fmla="*/ 4492431 w 6689088"/>
                <a:gd name="connsiteY3471" fmla="*/ 844893 h 6689084"/>
                <a:gd name="connsiteX3472" fmla="*/ 4460480 w 6689088"/>
                <a:gd name="connsiteY3472" fmla="*/ 876844 h 6689084"/>
                <a:gd name="connsiteX3473" fmla="*/ 4428528 w 6689088"/>
                <a:gd name="connsiteY3473" fmla="*/ 844893 h 6689084"/>
                <a:gd name="connsiteX3474" fmla="*/ 4460480 w 6689088"/>
                <a:gd name="connsiteY3474" fmla="*/ 812941 h 6689084"/>
                <a:gd name="connsiteX3475" fmla="*/ 4614061 w 6689088"/>
                <a:gd name="connsiteY3475" fmla="*/ 811127 h 6689084"/>
                <a:gd name="connsiteX3476" fmla="*/ 4647831 w 6689088"/>
                <a:gd name="connsiteY3476" fmla="*/ 844893 h 6689084"/>
                <a:gd name="connsiteX3477" fmla="*/ 4614061 w 6689088"/>
                <a:gd name="connsiteY3477" fmla="*/ 878662 h 6689084"/>
                <a:gd name="connsiteX3478" fmla="*/ 4580296 w 6689088"/>
                <a:gd name="connsiteY3478" fmla="*/ 844893 h 6689084"/>
                <a:gd name="connsiteX3479" fmla="*/ 4614061 w 6689088"/>
                <a:gd name="connsiteY3479" fmla="*/ 811127 h 6689084"/>
                <a:gd name="connsiteX3480" fmla="*/ 4768012 w 6689088"/>
                <a:gd name="connsiteY3480" fmla="*/ 808584 h 6689084"/>
                <a:gd name="connsiteX3481" fmla="*/ 4804320 w 6689088"/>
                <a:gd name="connsiteY3481" fmla="*/ 844893 h 6689084"/>
                <a:gd name="connsiteX3482" fmla="*/ 4768012 w 6689088"/>
                <a:gd name="connsiteY3482" fmla="*/ 881201 h 6689084"/>
                <a:gd name="connsiteX3483" fmla="*/ 4731704 w 6689088"/>
                <a:gd name="connsiteY3483" fmla="*/ 844893 h 6689084"/>
                <a:gd name="connsiteX3484" fmla="*/ 4768012 w 6689088"/>
                <a:gd name="connsiteY3484" fmla="*/ 808584 h 6689084"/>
                <a:gd name="connsiteX3485" fmla="*/ 4921598 w 6689088"/>
                <a:gd name="connsiteY3485" fmla="*/ 806045 h 6689084"/>
                <a:gd name="connsiteX3486" fmla="*/ 4960444 w 6689088"/>
                <a:gd name="connsiteY3486" fmla="*/ 844896 h 6689084"/>
                <a:gd name="connsiteX3487" fmla="*/ 4921598 w 6689088"/>
                <a:gd name="connsiteY3487" fmla="*/ 883743 h 6689084"/>
                <a:gd name="connsiteX3488" fmla="*/ 4882746 w 6689088"/>
                <a:gd name="connsiteY3488" fmla="*/ 844896 h 6689084"/>
                <a:gd name="connsiteX3489" fmla="*/ 4921598 w 6689088"/>
                <a:gd name="connsiteY3489" fmla="*/ 806045 h 6689084"/>
                <a:gd name="connsiteX3490" fmla="*/ 5075541 w 6689088"/>
                <a:gd name="connsiteY3490" fmla="*/ 803503 h 6689084"/>
                <a:gd name="connsiteX3491" fmla="*/ 5116568 w 6689088"/>
                <a:gd name="connsiteY3491" fmla="*/ 844530 h 6689084"/>
                <a:gd name="connsiteX3492" fmla="*/ 5075541 w 6689088"/>
                <a:gd name="connsiteY3492" fmla="*/ 885562 h 6689084"/>
                <a:gd name="connsiteX3493" fmla="*/ 5034514 w 6689088"/>
                <a:gd name="connsiteY3493" fmla="*/ 844530 h 6689084"/>
                <a:gd name="connsiteX3494" fmla="*/ 5075541 w 6689088"/>
                <a:gd name="connsiteY3494" fmla="*/ 803503 h 6689084"/>
                <a:gd name="connsiteX3495" fmla="*/ 5229126 w 6689088"/>
                <a:gd name="connsiteY3495" fmla="*/ 800960 h 6689084"/>
                <a:gd name="connsiteX3496" fmla="*/ 5272696 w 6689088"/>
                <a:gd name="connsiteY3496" fmla="*/ 844530 h 6689084"/>
                <a:gd name="connsiteX3497" fmla="*/ 5229126 w 6689088"/>
                <a:gd name="connsiteY3497" fmla="*/ 888100 h 6689084"/>
                <a:gd name="connsiteX3498" fmla="*/ 5185556 w 6689088"/>
                <a:gd name="connsiteY3498" fmla="*/ 844530 h 6689084"/>
                <a:gd name="connsiteX3499" fmla="*/ 5229126 w 6689088"/>
                <a:gd name="connsiteY3499" fmla="*/ 800960 h 6689084"/>
                <a:gd name="connsiteX3500" fmla="*/ 5383074 w 6689088"/>
                <a:gd name="connsiteY3500" fmla="*/ 798784 h 6689084"/>
                <a:gd name="connsiteX3501" fmla="*/ 5429186 w 6689088"/>
                <a:gd name="connsiteY3501" fmla="*/ 844896 h 6689084"/>
                <a:gd name="connsiteX3502" fmla="*/ 5383074 w 6689088"/>
                <a:gd name="connsiteY3502" fmla="*/ 891009 h 6689084"/>
                <a:gd name="connsiteX3503" fmla="*/ 5336962 w 6689088"/>
                <a:gd name="connsiteY3503" fmla="*/ 844896 h 6689084"/>
                <a:gd name="connsiteX3504" fmla="*/ 5383074 w 6689088"/>
                <a:gd name="connsiteY3504" fmla="*/ 798784 h 6689084"/>
                <a:gd name="connsiteX3505" fmla="*/ 5536659 w 6689088"/>
                <a:gd name="connsiteY3505" fmla="*/ 796241 h 6689084"/>
                <a:gd name="connsiteX3506" fmla="*/ 5585310 w 6689088"/>
                <a:gd name="connsiteY3506" fmla="*/ 844896 h 6689084"/>
                <a:gd name="connsiteX3507" fmla="*/ 5536659 w 6689088"/>
                <a:gd name="connsiteY3507" fmla="*/ 893548 h 6689084"/>
                <a:gd name="connsiteX3508" fmla="*/ 5488004 w 6689088"/>
                <a:gd name="connsiteY3508" fmla="*/ 844896 h 6689084"/>
                <a:gd name="connsiteX3509" fmla="*/ 5536659 w 6689088"/>
                <a:gd name="connsiteY3509" fmla="*/ 796241 h 6689084"/>
                <a:gd name="connsiteX3510" fmla="*/ 5690606 w 6689088"/>
                <a:gd name="connsiteY3510" fmla="*/ 793699 h 6689084"/>
                <a:gd name="connsiteX3511" fmla="*/ 5741800 w 6689088"/>
                <a:gd name="connsiteY3511" fmla="*/ 844893 h 6689084"/>
                <a:gd name="connsiteX3512" fmla="*/ 5690606 w 6689088"/>
                <a:gd name="connsiteY3512" fmla="*/ 896090 h 6689084"/>
                <a:gd name="connsiteX3513" fmla="*/ 5639412 w 6689088"/>
                <a:gd name="connsiteY3513" fmla="*/ 844893 h 6689084"/>
                <a:gd name="connsiteX3514" fmla="*/ 5690606 w 6689088"/>
                <a:gd name="connsiteY3514" fmla="*/ 793699 h 6689084"/>
                <a:gd name="connsiteX3515" fmla="*/ 5844554 w 6689088"/>
                <a:gd name="connsiteY3515" fmla="*/ 791156 h 6689084"/>
                <a:gd name="connsiteX3516" fmla="*/ 5897928 w 6689088"/>
                <a:gd name="connsiteY3516" fmla="*/ 844530 h 6689084"/>
                <a:gd name="connsiteX3517" fmla="*/ 5844554 w 6689088"/>
                <a:gd name="connsiteY3517" fmla="*/ 897901 h 6689084"/>
                <a:gd name="connsiteX3518" fmla="*/ 5791180 w 6689088"/>
                <a:gd name="connsiteY3518" fmla="*/ 844530 h 6689084"/>
                <a:gd name="connsiteX3519" fmla="*/ 5844554 w 6689088"/>
                <a:gd name="connsiteY3519" fmla="*/ 791156 h 6689084"/>
                <a:gd name="connsiteX3520" fmla="*/ 5998139 w 6689088"/>
                <a:gd name="connsiteY3520" fmla="*/ 788614 h 6689084"/>
                <a:gd name="connsiteX3521" fmla="*/ 6054414 w 6689088"/>
                <a:gd name="connsiteY3521" fmla="*/ 844893 h 6689084"/>
                <a:gd name="connsiteX3522" fmla="*/ 5998139 w 6689088"/>
                <a:gd name="connsiteY3522" fmla="*/ 901171 h 6689084"/>
                <a:gd name="connsiteX3523" fmla="*/ 5941860 w 6689088"/>
                <a:gd name="connsiteY3523" fmla="*/ 844893 h 6689084"/>
                <a:gd name="connsiteX3524" fmla="*/ 5998139 w 6689088"/>
                <a:gd name="connsiteY3524" fmla="*/ 788614 h 6689084"/>
                <a:gd name="connsiteX3525" fmla="*/ 6152083 w 6689088"/>
                <a:gd name="connsiteY3525" fmla="*/ 786075 h 6689084"/>
                <a:gd name="connsiteX3526" fmla="*/ 6210904 w 6689088"/>
                <a:gd name="connsiteY3526" fmla="*/ 844896 h 6689084"/>
                <a:gd name="connsiteX3527" fmla="*/ 6152083 w 6689088"/>
                <a:gd name="connsiteY3527" fmla="*/ 903714 h 6689084"/>
                <a:gd name="connsiteX3528" fmla="*/ 6093265 w 6689088"/>
                <a:gd name="connsiteY3528" fmla="*/ 844896 h 6689084"/>
                <a:gd name="connsiteX3529" fmla="*/ 6152083 w 6689088"/>
                <a:gd name="connsiteY3529" fmla="*/ 786075 h 6689084"/>
                <a:gd name="connsiteX3530" fmla="*/ 6305672 w 6689088"/>
                <a:gd name="connsiteY3530" fmla="*/ 783170 h 6689084"/>
                <a:gd name="connsiteX3531" fmla="*/ 6367394 w 6689088"/>
                <a:gd name="connsiteY3531" fmla="*/ 844896 h 6689084"/>
                <a:gd name="connsiteX3532" fmla="*/ 6305672 w 6689088"/>
                <a:gd name="connsiteY3532" fmla="*/ 906619 h 6689084"/>
                <a:gd name="connsiteX3533" fmla="*/ 6243946 w 6689088"/>
                <a:gd name="connsiteY3533" fmla="*/ 844896 h 6689084"/>
                <a:gd name="connsiteX3534" fmla="*/ 6305672 w 6689088"/>
                <a:gd name="connsiteY3534" fmla="*/ 783170 h 6689084"/>
                <a:gd name="connsiteX3535" fmla="*/ 6459616 w 6689088"/>
                <a:gd name="connsiteY3535" fmla="*/ 780628 h 6689084"/>
                <a:gd name="connsiteX3536" fmla="*/ 6523884 w 6689088"/>
                <a:gd name="connsiteY3536" fmla="*/ 844893 h 6689084"/>
                <a:gd name="connsiteX3537" fmla="*/ 6459616 w 6689088"/>
                <a:gd name="connsiteY3537" fmla="*/ 909161 h 6689084"/>
                <a:gd name="connsiteX3538" fmla="*/ 6395350 w 6689088"/>
                <a:gd name="connsiteY3538" fmla="*/ 844893 h 6689084"/>
                <a:gd name="connsiteX3539" fmla="*/ 6459616 w 6689088"/>
                <a:gd name="connsiteY3539" fmla="*/ 780628 h 6689084"/>
                <a:gd name="connsiteX3540" fmla="*/ 6613197 w 6689088"/>
                <a:gd name="connsiteY3540" fmla="*/ 777361 h 6689084"/>
                <a:gd name="connsiteX3541" fmla="*/ 6680732 w 6689088"/>
                <a:gd name="connsiteY3541" fmla="*/ 844896 h 6689084"/>
                <a:gd name="connsiteX3542" fmla="*/ 6613197 w 6689088"/>
                <a:gd name="connsiteY3542" fmla="*/ 912428 h 6689084"/>
                <a:gd name="connsiteX3543" fmla="*/ 6545666 w 6689088"/>
                <a:gd name="connsiteY3543" fmla="*/ 844896 h 6689084"/>
                <a:gd name="connsiteX3544" fmla="*/ 6613197 w 6689088"/>
                <a:gd name="connsiteY3544" fmla="*/ 777361 h 6689084"/>
                <a:gd name="connsiteX3545" fmla="*/ 1384799 w 6689088"/>
                <a:gd name="connsiteY3545" fmla="*/ 690583 h 6689084"/>
                <a:gd name="connsiteX3546" fmla="*/ 1385161 w 6689088"/>
                <a:gd name="connsiteY3546" fmla="*/ 690945 h 6689084"/>
                <a:gd name="connsiteX3547" fmla="*/ 1384799 w 6689088"/>
                <a:gd name="connsiteY3547" fmla="*/ 691311 h 6689084"/>
                <a:gd name="connsiteX3548" fmla="*/ 1384437 w 6689088"/>
                <a:gd name="connsiteY3548" fmla="*/ 690945 h 6689084"/>
                <a:gd name="connsiteX3549" fmla="*/ 1384799 w 6689088"/>
                <a:gd name="connsiteY3549" fmla="*/ 690583 h 6689084"/>
                <a:gd name="connsiteX3550" fmla="*/ 923681 w 6689088"/>
                <a:gd name="connsiteY3550" fmla="*/ 690583 h 6689084"/>
                <a:gd name="connsiteX3551" fmla="*/ 924043 w 6689088"/>
                <a:gd name="connsiteY3551" fmla="*/ 690945 h 6689084"/>
                <a:gd name="connsiteX3552" fmla="*/ 923681 w 6689088"/>
                <a:gd name="connsiteY3552" fmla="*/ 691311 h 6689084"/>
                <a:gd name="connsiteX3553" fmla="*/ 923319 w 6689088"/>
                <a:gd name="connsiteY3553" fmla="*/ 690945 h 6689084"/>
                <a:gd name="connsiteX3554" fmla="*/ 923681 w 6689088"/>
                <a:gd name="connsiteY3554" fmla="*/ 690583 h 6689084"/>
                <a:gd name="connsiteX3555" fmla="*/ 769733 w 6689088"/>
                <a:gd name="connsiteY3555" fmla="*/ 690583 h 6689084"/>
                <a:gd name="connsiteX3556" fmla="*/ 770096 w 6689088"/>
                <a:gd name="connsiteY3556" fmla="*/ 690945 h 6689084"/>
                <a:gd name="connsiteX3557" fmla="*/ 769733 w 6689088"/>
                <a:gd name="connsiteY3557" fmla="*/ 691311 h 6689084"/>
                <a:gd name="connsiteX3558" fmla="*/ 769371 w 6689088"/>
                <a:gd name="connsiteY3558" fmla="*/ 690945 h 6689084"/>
                <a:gd name="connsiteX3559" fmla="*/ 769733 w 6689088"/>
                <a:gd name="connsiteY3559" fmla="*/ 690583 h 6689084"/>
                <a:gd name="connsiteX3560" fmla="*/ 616152 w 6689088"/>
                <a:gd name="connsiteY3560" fmla="*/ 690221 h 6689084"/>
                <a:gd name="connsiteX3561" fmla="*/ 616876 w 6689088"/>
                <a:gd name="connsiteY3561" fmla="*/ 690949 h 6689084"/>
                <a:gd name="connsiteX3562" fmla="*/ 616152 w 6689088"/>
                <a:gd name="connsiteY3562" fmla="*/ 691673 h 6689084"/>
                <a:gd name="connsiteX3563" fmla="*/ 615424 w 6689088"/>
                <a:gd name="connsiteY3563" fmla="*/ 690949 h 6689084"/>
                <a:gd name="connsiteX3564" fmla="*/ 616152 w 6689088"/>
                <a:gd name="connsiteY3564" fmla="*/ 690221 h 6689084"/>
                <a:gd name="connsiteX3565" fmla="*/ 1538746 w 6689088"/>
                <a:gd name="connsiteY3565" fmla="*/ 689493 h 6689084"/>
                <a:gd name="connsiteX3566" fmla="*/ 1540198 w 6689088"/>
                <a:gd name="connsiteY3566" fmla="*/ 690945 h 6689084"/>
                <a:gd name="connsiteX3567" fmla="*/ 1538746 w 6689088"/>
                <a:gd name="connsiteY3567" fmla="*/ 692397 h 6689084"/>
                <a:gd name="connsiteX3568" fmla="*/ 1537294 w 6689088"/>
                <a:gd name="connsiteY3568" fmla="*/ 690945 h 6689084"/>
                <a:gd name="connsiteX3569" fmla="*/ 1538746 w 6689088"/>
                <a:gd name="connsiteY3569" fmla="*/ 689493 h 6689084"/>
                <a:gd name="connsiteX3570" fmla="*/ 1692328 w 6689088"/>
                <a:gd name="connsiteY3570" fmla="*/ 688768 h 6689084"/>
                <a:gd name="connsiteX3571" fmla="*/ 1694508 w 6689088"/>
                <a:gd name="connsiteY3571" fmla="*/ 690949 h 6689084"/>
                <a:gd name="connsiteX3572" fmla="*/ 1692328 w 6689088"/>
                <a:gd name="connsiteY3572" fmla="*/ 693126 h 6689084"/>
                <a:gd name="connsiteX3573" fmla="*/ 1690151 w 6689088"/>
                <a:gd name="connsiteY3573" fmla="*/ 690949 h 6689084"/>
                <a:gd name="connsiteX3574" fmla="*/ 1692328 w 6689088"/>
                <a:gd name="connsiteY3574" fmla="*/ 688768 h 6689084"/>
                <a:gd name="connsiteX3575" fmla="*/ 1846279 w 6689088"/>
                <a:gd name="connsiteY3575" fmla="*/ 688040 h 6689084"/>
                <a:gd name="connsiteX3576" fmla="*/ 1849546 w 6689088"/>
                <a:gd name="connsiteY3576" fmla="*/ 691307 h 6689084"/>
                <a:gd name="connsiteX3577" fmla="*/ 1846279 w 6689088"/>
                <a:gd name="connsiteY3577" fmla="*/ 694574 h 6689084"/>
                <a:gd name="connsiteX3578" fmla="*/ 1843012 w 6689088"/>
                <a:gd name="connsiteY3578" fmla="*/ 691307 h 6689084"/>
                <a:gd name="connsiteX3579" fmla="*/ 1846279 w 6689088"/>
                <a:gd name="connsiteY3579" fmla="*/ 688040 h 6689084"/>
                <a:gd name="connsiteX3580" fmla="*/ 1999860 w 6689088"/>
                <a:gd name="connsiteY3580" fmla="*/ 686588 h 6689084"/>
                <a:gd name="connsiteX3581" fmla="*/ 2004217 w 6689088"/>
                <a:gd name="connsiteY3581" fmla="*/ 690945 h 6689084"/>
                <a:gd name="connsiteX3582" fmla="*/ 1999860 w 6689088"/>
                <a:gd name="connsiteY3582" fmla="*/ 695302 h 6689084"/>
                <a:gd name="connsiteX3583" fmla="*/ 1995503 w 6689088"/>
                <a:gd name="connsiteY3583" fmla="*/ 690945 h 6689084"/>
                <a:gd name="connsiteX3584" fmla="*/ 1999860 w 6689088"/>
                <a:gd name="connsiteY3584" fmla="*/ 686588 h 6689084"/>
                <a:gd name="connsiteX3585" fmla="*/ 2153811 w 6689088"/>
                <a:gd name="connsiteY3585" fmla="*/ 685498 h 6689084"/>
                <a:gd name="connsiteX3586" fmla="*/ 2159621 w 6689088"/>
                <a:gd name="connsiteY3586" fmla="*/ 691307 h 6689084"/>
                <a:gd name="connsiteX3587" fmla="*/ 2153811 w 6689088"/>
                <a:gd name="connsiteY3587" fmla="*/ 697117 h 6689084"/>
                <a:gd name="connsiteX3588" fmla="*/ 2148002 w 6689088"/>
                <a:gd name="connsiteY3588" fmla="*/ 691307 h 6689084"/>
                <a:gd name="connsiteX3589" fmla="*/ 2153811 w 6689088"/>
                <a:gd name="connsiteY3589" fmla="*/ 685498 h 6689084"/>
                <a:gd name="connsiteX3590" fmla="*/ 2307393 w 6689088"/>
                <a:gd name="connsiteY3590" fmla="*/ 683683 h 6689084"/>
                <a:gd name="connsiteX3591" fmla="*/ 2314655 w 6689088"/>
                <a:gd name="connsiteY3591" fmla="*/ 690945 h 6689084"/>
                <a:gd name="connsiteX3592" fmla="*/ 2307393 w 6689088"/>
                <a:gd name="connsiteY3592" fmla="*/ 698207 h 6689084"/>
                <a:gd name="connsiteX3593" fmla="*/ 2300131 w 6689088"/>
                <a:gd name="connsiteY3593" fmla="*/ 690945 h 6689084"/>
                <a:gd name="connsiteX3594" fmla="*/ 2307393 w 6689088"/>
                <a:gd name="connsiteY3594" fmla="*/ 683683 h 6689084"/>
                <a:gd name="connsiteX3595" fmla="*/ 2461340 w 6689088"/>
                <a:gd name="connsiteY3595" fmla="*/ 681869 h 6689084"/>
                <a:gd name="connsiteX3596" fmla="*/ 2470420 w 6689088"/>
                <a:gd name="connsiteY3596" fmla="*/ 690945 h 6689084"/>
                <a:gd name="connsiteX3597" fmla="*/ 2461340 w 6689088"/>
                <a:gd name="connsiteY3597" fmla="*/ 700025 h 6689084"/>
                <a:gd name="connsiteX3598" fmla="*/ 2452264 w 6689088"/>
                <a:gd name="connsiteY3598" fmla="*/ 690945 h 6689084"/>
                <a:gd name="connsiteX3599" fmla="*/ 2461340 w 6689088"/>
                <a:gd name="connsiteY3599" fmla="*/ 681869 h 6689084"/>
                <a:gd name="connsiteX3600" fmla="*/ 2614925 w 6689088"/>
                <a:gd name="connsiteY3600" fmla="*/ 680779 h 6689084"/>
                <a:gd name="connsiteX3601" fmla="*/ 2625092 w 6689088"/>
                <a:gd name="connsiteY3601" fmla="*/ 690945 h 6689084"/>
                <a:gd name="connsiteX3602" fmla="*/ 2614925 w 6689088"/>
                <a:gd name="connsiteY3602" fmla="*/ 701111 h 6689084"/>
                <a:gd name="connsiteX3603" fmla="*/ 2604759 w 6689088"/>
                <a:gd name="connsiteY3603" fmla="*/ 690945 h 6689084"/>
                <a:gd name="connsiteX3604" fmla="*/ 2614925 w 6689088"/>
                <a:gd name="connsiteY3604" fmla="*/ 680779 h 6689084"/>
                <a:gd name="connsiteX3605" fmla="*/ 2768873 w 6689088"/>
                <a:gd name="connsiteY3605" fmla="*/ 678964 h 6689084"/>
                <a:gd name="connsiteX3606" fmla="*/ 2780858 w 6689088"/>
                <a:gd name="connsiteY3606" fmla="*/ 690945 h 6689084"/>
                <a:gd name="connsiteX3607" fmla="*/ 2768873 w 6689088"/>
                <a:gd name="connsiteY3607" fmla="*/ 702926 h 6689084"/>
                <a:gd name="connsiteX3608" fmla="*/ 2756892 w 6689088"/>
                <a:gd name="connsiteY3608" fmla="*/ 690945 h 6689084"/>
                <a:gd name="connsiteX3609" fmla="*/ 2768873 w 6689088"/>
                <a:gd name="connsiteY3609" fmla="*/ 678964 h 6689084"/>
                <a:gd name="connsiteX3610" fmla="*/ 2922824 w 6689088"/>
                <a:gd name="connsiteY3610" fmla="*/ 677150 h 6689084"/>
                <a:gd name="connsiteX3611" fmla="*/ 2936619 w 6689088"/>
                <a:gd name="connsiteY3611" fmla="*/ 690949 h 6689084"/>
                <a:gd name="connsiteX3612" fmla="*/ 2922824 w 6689088"/>
                <a:gd name="connsiteY3612" fmla="*/ 704744 h 6689084"/>
                <a:gd name="connsiteX3613" fmla="*/ 2909025 w 6689088"/>
                <a:gd name="connsiteY3613" fmla="*/ 690949 h 6689084"/>
                <a:gd name="connsiteX3614" fmla="*/ 2922824 w 6689088"/>
                <a:gd name="connsiteY3614" fmla="*/ 677150 h 6689084"/>
                <a:gd name="connsiteX3615" fmla="*/ 3076402 w 6689088"/>
                <a:gd name="connsiteY3615" fmla="*/ 675697 h 6689084"/>
                <a:gd name="connsiteX3616" fmla="*/ 3091653 w 6689088"/>
                <a:gd name="connsiteY3616" fmla="*/ 690949 h 6689084"/>
                <a:gd name="connsiteX3617" fmla="*/ 3076402 w 6689088"/>
                <a:gd name="connsiteY3617" fmla="*/ 706197 h 6689084"/>
                <a:gd name="connsiteX3618" fmla="*/ 3061154 w 6689088"/>
                <a:gd name="connsiteY3618" fmla="*/ 690949 h 6689084"/>
                <a:gd name="connsiteX3619" fmla="*/ 3076402 w 6689088"/>
                <a:gd name="connsiteY3619" fmla="*/ 675697 h 6689084"/>
                <a:gd name="connsiteX3620" fmla="*/ 3230353 w 6689088"/>
                <a:gd name="connsiteY3620" fmla="*/ 673883 h 6689084"/>
                <a:gd name="connsiteX3621" fmla="*/ 3247419 w 6689088"/>
                <a:gd name="connsiteY3621" fmla="*/ 690949 h 6689084"/>
                <a:gd name="connsiteX3622" fmla="*/ 3230353 w 6689088"/>
                <a:gd name="connsiteY3622" fmla="*/ 708015 h 6689084"/>
                <a:gd name="connsiteX3623" fmla="*/ 3213287 w 6689088"/>
                <a:gd name="connsiteY3623" fmla="*/ 690949 h 6689084"/>
                <a:gd name="connsiteX3624" fmla="*/ 3230353 w 6689088"/>
                <a:gd name="connsiteY3624" fmla="*/ 673883 h 6689084"/>
                <a:gd name="connsiteX3625" fmla="*/ 3383934 w 6689088"/>
                <a:gd name="connsiteY3625" fmla="*/ 671703 h 6689084"/>
                <a:gd name="connsiteX3626" fmla="*/ 3403180 w 6689088"/>
                <a:gd name="connsiteY3626" fmla="*/ 690945 h 6689084"/>
                <a:gd name="connsiteX3627" fmla="*/ 3383934 w 6689088"/>
                <a:gd name="connsiteY3627" fmla="*/ 710191 h 6689084"/>
                <a:gd name="connsiteX3628" fmla="*/ 3364692 w 6689088"/>
                <a:gd name="connsiteY3628" fmla="*/ 690945 h 6689084"/>
                <a:gd name="connsiteX3629" fmla="*/ 3383934 w 6689088"/>
                <a:gd name="connsiteY3629" fmla="*/ 671703 h 6689084"/>
                <a:gd name="connsiteX3630" fmla="*/ 3537886 w 6689088"/>
                <a:gd name="connsiteY3630" fmla="*/ 669526 h 6689084"/>
                <a:gd name="connsiteX3631" fmla="*/ 3559308 w 6689088"/>
                <a:gd name="connsiteY3631" fmla="*/ 690949 h 6689084"/>
                <a:gd name="connsiteX3632" fmla="*/ 3537886 w 6689088"/>
                <a:gd name="connsiteY3632" fmla="*/ 712372 h 6689084"/>
                <a:gd name="connsiteX3633" fmla="*/ 3516462 w 6689088"/>
                <a:gd name="connsiteY3633" fmla="*/ 690949 h 6689084"/>
                <a:gd name="connsiteX3634" fmla="*/ 3537886 w 6689088"/>
                <a:gd name="connsiteY3634" fmla="*/ 669526 h 6689084"/>
                <a:gd name="connsiteX3635" fmla="*/ 3691471 w 6689088"/>
                <a:gd name="connsiteY3635" fmla="*/ 668074 h 6689084"/>
                <a:gd name="connsiteX3636" fmla="*/ 3714342 w 6689088"/>
                <a:gd name="connsiteY3636" fmla="*/ 690949 h 6689084"/>
                <a:gd name="connsiteX3637" fmla="*/ 3691471 w 6689088"/>
                <a:gd name="connsiteY3637" fmla="*/ 713820 h 6689084"/>
                <a:gd name="connsiteX3638" fmla="*/ 3668596 w 6689088"/>
                <a:gd name="connsiteY3638" fmla="*/ 690949 h 6689084"/>
                <a:gd name="connsiteX3639" fmla="*/ 3691471 w 6689088"/>
                <a:gd name="connsiteY3639" fmla="*/ 668074 h 6689084"/>
                <a:gd name="connsiteX3640" fmla="*/ 3845414 w 6689088"/>
                <a:gd name="connsiteY3640" fmla="*/ 665893 h 6689084"/>
                <a:gd name="connsiteX3641" fmla="*/ 3870470 w 6689088"/>
                <a:gd name="connsiteY3641" fmla="*/ 690945 h 6689084"/>
                <a:gd name="connsiteX3642" fmla="*/ 3845414 w 6689088"/>
                <a:gd name="connsiteY3642" fmla="*/ 716001 h 6689084"/>
                <a:gd name="connsiteX3643" fmla="*/ 3820362 w 6689088"/>
                <a:gd name="connsiteY3643" fmla="*/ 690945 h 6689084"/>
                <a:gd name="connsiteX3644" fmla="*/ 3845414 w 6689088"/>
                <a:gd name="connsiteY3644" fmla="*/ 665893 h 6689084"/>
                <a:gd name="connsiteX3645" fmla="*/ 3999000 w 6689088"/>
                <a:gd name="connsiteY3645" fmla="*/ 663717 h 6689084"/>
                <a:gd name="connsiteX3646" fmla="*/ 4026232 w 6689088"/>
                <a:gd name="connsiteY3646" fmla="*/ 690949 h 6689084"/>
                <a:gd name="connsiteX3647" fmla="*/ 3999000 w 6689088"/>
                <a:gd name="connsiteY3647" fmla="*/ 718181 h 6689084"/>
                <a:gd name="connsiteX3648" fmla="*/ 3971768 w 6689088"/>
                <a:gd name="connsiteY3648" fmla="*/ 690949 h 6689084"/>
                <a:gd name="connsiteX3649" fmla="*/ 3999000 w 6689088"/>
                <a:gd name="connsiteY3649" fmla="*/ 663717 h 6689084"/>
                <a:gd name="connsiteX3650" fmla="*/ 4152947 w 6689088"/>
                <a:gd name="connsiteY3650" fmla="*/ 661174 h 6689084"/>
                <a:gd name="connsiteX3651" fmla="*/ 4182722 w 6689088"/>
                <a:gd name="connsiteY3651" fmla="*/ 690949 h 6689084"/>
                <a:gd name="connsiteX3652" fmla="*/ 4152947 w 6689088"/>
                <a:gd name="connsiteY3652" fmla="*/ 720720 h 6689084"/>
                <a:gd name="connsiteX3653" fmla="*/ 4123176 w 6689088"/>
                <a:gd name="connsiteY3653" fmla="*/ 690949 h 6689084"/>
                <a:gd name="connsiteX3654" fmla="*/ 4152947 w 6689088"/>
                <a:gd name="connsiteY3654" fmla="*/ 661174 h 6689084"/>
                <a:gd name="connsiteX3655" fmla="*/ 4306532 w 6689088"/>
                <a:gd name="connsiteY3655" fmla="*/ 658994 h 6689084"/>
                <a:gd name="connsiteX3656" fmla="*/ 4338484 w 6689088"/>
                <a:gd name="connsiteY3656" fmla="*/ 690945 h 6689084"/>
                <a:gd name="connsiteX3657" fmla="*/ 4306532 w 6689088"/>
                <a:gd name="connsiteY3657" fmla="*/ 722896 h 6689084"/>
                <a:gd name="connsiteX3658" fmla="*/ 4274581 w 6689088"/>
                <a:gd name="connsiteY3658" fmla="*/ 690945 h 6689084"/>
                <a:gd name="connsiteX3659" fmla="*/ 4306532 w 6689088"/>
                <a:gd name="connsiteY3659" fmla="*/ 658994 h 6689084"/>
                <a:gd name="connsiteX3660" fmla="*/ 4460480 w 6689088"/>
                <a:gd name="connsiteY3660" fmla="*/ 657179 h 6689084"/>
                <a:gd name="connsiteX3661" fmla="*/ 4494250 w 6689088"/>
                <a:gd name="connsiteY3661" fmla="*/ 690945 h 6689084"/>
                <a:gd name="connsiteX3662" fmla="*/ 4460480 w 6689088"/>
                <a:gd name="connsiteY3662" fmla="*/ 724715 h 6689084"/>
                <a:gd name="connsiteX3663" fmla="*/ 4426714 w 6689088"/>
                <a:gd name="connsiteY3663" fmla="*/ 690945 h 6689084"/>
                <a:gd name="connsiteX3664" fmla="*/ 4460480 w 6689088"/>
                <a:gd name="connsiteY3664" fmla="*/ 657179 h 6689084"/>
                <a:gd name="connsiteX3665" fmla="*/ 4614061 w 6689088"/>
                <a:gd name="connsiteY3665" fmla="*/ 654637 h 6689084"/>
                <a:gd name="connsiteX3666" fmla="*/ 4650370 w 6689088"/>
                <a:gd name="connsiteY3666" fmla="*/ 690945 h 6689084"/>
                <a:gd name="connsiteX3667" fmla="*/ 4614061 w 6689088"/>
                <a:gd name="connsiteY3667" fmla="*/ 727253 h 6689084"/>
                <a:gd name="connsiteX3668" fmla="*/ 4577753 w 6689088"/>
                <a:gd name="connsiteY3668" fmla="*/ 690945 h 6689084"/>
                <a:gd name="connsiteX3669" fmla="*/ 4614061 w 6689088"/>
                <a:gd name="connsiteY3669" fmla="*/ 654637 h 6689084"/>
                <a:gd name="connsiteX3670" fmla="*/ 4768012 w 6689088"/>
                <a:gd name="connsiteY3670" fmla="*/ 652094 h 6689084"/>
                <a:gd name="connsiteX3671" fmla="*/ 4806860 w 6689088"/>
                <a:gd name="connsiteY3671" fmla="*/ 690945 h 6689084"/>
                <a:gd name="connsiteX3672" fmla="*/ 4768012 w 6689088"/>
                <a:gd name="connsiteY3672" fmla="*/ 729796 h 6689084"/>
                <a:gd name="connsiteX3673" fmla="*/ 4729162 w 6689088"/>
                <a:gd name="connsiteY3673" fmla="*/ 690945 h 6689084"/>
                <a:gd name="connsiteX3674" fmla="*/ 4768012 w 6689088"/>
                <a:gd name="connsiteY3674" fmla="*/ 652094 h 6689084"/>
                <a:gd name="connsiteX3675" fmla="*/ 4921594 w 6689088"/>
                <a:gd name="connsiteY3675" fmla="*/ 649918 h 6689084"/>
                <a:gd name="connsiteX3676" fmla="*/ 4962625 w 6689088"/>
                <a:gd name="connsiteY3676" fmla="*/ 690945 h 6689084"/>
                <a:gd name="connsiteX3677" fmla="*/ 4921594 w 6689088"/>
                <a:gd name="connsiteY3677" fmla="*/ 731976 h 6689084"/>
                <a:gd name="connsiteX3678" fmla="*/ 4880566 w 6689088"/>
                <a:gd name="connsiteY3678" fmla="*/ 690945 h 6689084"/>
                <a:gd name="connsiteX3679" fmla="*/ 4921594 w 6689088"/>
                <a:gd name="connsiteY3679" fmla="*/ 649918 h 6689084"/>
                <a:gd name="connsiteX3680" fmla="*/ 5075541 w 6689088"/>
                <a:gd name="connsiteY3680" fmla="*/ 647375 h 6689084"/>
                <a:gd name="connsiteX3681" fmla="*/ 5119111 w 6689088"/>
                <a:gd name="connsiteY3681" fmla="*/ 690945 h 6689084"/>
                <a:gd name="connsiteX3682" fmla="*/ 5075541 w 6689088"/>
                <a:gd name="connsiteY3682" fmla="*/ 734515 h 6689084"/>
                <a:gd name="connsiteX3683" fmla="*/ 5031971 w 6689088"/>
                <a:gd name="connsiteY3683" fmla="*/ 690945 h 6689084"/>
                <a:gd name="connsiteX3684" fmla="*/ 5075541 w 6689088"/>
                <a:gd name="connsiteY3684" fmla="*/ 647375 h 6689084"/>
                <a:gd name="connsiteX3685" fmla="*/ 5229126 w 6689088"/>
                <a:gd name="connsiteY3685" fmla="*/ 644836 h 6689084"/>
                <a:gd name="connsiteX3686" fmla="*/ 5275239 w 6689088"/>
                <a:gd name="connsiteY3686" fmla="*/ 690949 h 6689084"/>
                <a:gd name="connsiteX3687" fmla="*/ 5229126 w 6689088"/>
                <a:gd name="connsiteY3687" fmla="*/ 737058 h 6689084"/>
                <a:gd name="connsiteX3688" fmla="*/ 5183014 w 6689088"/>
                <a:gd name="connsiteY3688" fmla="*/ 690949 h 6689084"/>
                <a:gd name="connsiteX3689" fmla="*/ 5229126 w 6689088"/>
                <a:gd name="connsiteY3689" fmla="*/ 644836 h 6689084"/>
                <a:gd name="connsiteX3690" fmla="*/ 5383074 w 6689088"/>
                <a:gd name="connsiteY3690" fmla="*/ 642294 h 6689084"/>
                <a:gd name="connsiteX3691" fmla="*/ 5431725 w 6689088"/>
                <a:gd name="connsiteY3691" fmla="*/ 690949 h 6689084"/>
                <a:gd name="connsiteX3692" fmla="*/ 5383074 w 6689088"/>
                <a:gd name="connsiteY3692" fmla="*/ 739600 h 6689084"/>
                <a:gd name="connsiteX3693" fmla="*/ 5334419 w 6689088"/>
                <a:gd name="connsiteY3693" fmla="*/ 690949 h 6689084"/>
                <a:gd name="connsiteX3694" fmla="*/ 5383074 w 6689088"/>
                <a:gd name="connsiteY3694" fmla="*/ 642294 h 6689084"/>
                <a:gd name="connsiteX3695" fmla="*/ 5536659 w 6689088"/>
                <a:gd name="connsiteY3695" fmla="*/ 639751 h 6689084"/>
                <a:gd name="connsiteX3696" fmla="*/ 5587853 w 6689088"/>
                <a:gd name="connsiteY3696" fmla="*/ 690945 h 6689084"/>
                <a:gd name="connsiteX3697" fmla="*/ 5536659 w 6689088"/>
                <a:gd name="connsiteY3697" fmla="*/ 742139 h 6689084"/>
                <a:gd name="connsiteX3698" fmla="*/ 5485462 w 6689088"/>
                <a:gd name="connsiteY3698" fmla="*/ 690945 h 6689084"/>
                <a:gd name="connsiteX3699" fmla="*/ 5536659 w 6689088"/>
                <a:gd name="connsiteY3699" fmla="*/ 639751 h 6689084"/>
                <a:gd name="connsiteX3700" fmla="*/ 5690606 w 6689088"/>
                <a:gd name="connsiteY3700" fmla="*/ 637571 h 6689084"/>
                <a:gd name="connsiteX3701" fmla="*/ 5743980 w 6689088"/>
                <a:gd name="connsiteY3701" fmla="*/ 690945 h 6689084"/>
                <a:gd name="connsiteX3702" fmla="*/ 5690606 w 6689088"/>
                <a:gd name="connsiteY3702" fmla="*/ 744319 h 6689084"/>
                <a:gd name="connsiteX3703" fmla="*/ 5637232 w 6689088"/>
                <a:gd name="connsiteY3703" fmla="*/ 690945 h 6689084"/>
                <a:gd name="connsiteX3704" fmla="*/ 5690606 w 6689088"/>
                <a:gd name="connsiteY3704" fmla="*/ 637571 h 6689084"/>
                <a:gd name="connsiteX3705" fmla="*/ 5844554 w 6689088"/>
                <a:gd name="connsiteY3705" fmla="*/ 634666 h 6689084"/>
                <a:gd name="connsiteX3706" fmla="*/ 5900829 w 6689088"/>
                <a:gd name="connsiteY3706" fmla="*/ 690945 h 6689084"/>
                <a:gd name="connsiteX3707" fmla="*/ 5844554 w 6689088"/>
                <a:gd name="connsiteY3707" fmla="*/ 747224 h 6689084"/>
                <a:gd name="connsiteX3708" fmla="*/ 5788275 w 6689088"/>
                <a:gd name="connsiteY3708" fmla="*/ 690945 h 6689084"/>
                <a:gd name="connsiteX3709" fmla="*/ 5844554 w 6689088"/>
                <a:gd name="connsiteY3709" fmla="*/ 634666 h 6689084"/>
                <a:gd name="connsiteX3710" fmla="*/ 5998136 w 6689088"/>
                <a:gd name="connsiteY3710" fmla="*/ 632128 h 6689084"/>
                <a:gd name="connsiteX3711" fmla="*/ 6056957 w 6689088"/>
                <a:gd name="connsiteY3711" fmla="*/ 690949 h 6689084"/>
                <a:gd name="connsiteX3712" fmla="*/ 5998136 w 6689088"/>
                <a:gd name="connsiteY3712" fmla="*/ 749767 h 6689084"/>
                <a:gd name="connsiteX3713" fmla="*/ 5939318 w 6689088"/>
                <a:gd name="connsiteY3713" fmla="*/ 690949 h 6689084"/>
                <a:gd name="connsiteX3714" fmla="*/ 5998136 w 6689088"/>
                <a:gd name="connsiteY3714" fmla="*/ 632128 h 6689084"/>
                <a:gd name="connsiteX3715" fmla="*/ 6152083 w 6689088"/>
                <a:gd name="connsiteY3715" fmla="*/ 629223 h 6689084"/>
                <a:gd name="connsiteX3716" fmla="*/ 6213809 w 6689088"/>
                <a:gd name="connsiteY3716" fmla="*/ 690949 h 6689084"/>
                <a:gd name="connsiteX3717" fmla="*/ 6152083 w 6689088"/>
                <a:gd name="connsiteY3717" fmla="*/ 752671 h 6689084"/>
                <a:gd name="connsiteX3718" fmla="*/ 6090360 w 6689088"/>
                <a:gd name="connsiteY3718" fmla="*/ 690949 h 6689084"/>
                <a:gd name="connsiteX3719" fmla="*/ 6152083 w 6689088"/>
                <a:gd name="connsiteY3719" fmla="*/ 629223 h 6689084"/>
                <a:gd name="connsiteX3720" fmla="*/ 6305668 w 6689088"/>
                <a:gd name="connsiteY3720" fmla="*/ 626680 h 6689084"/>
                <a:gd name="connsiteX3721" fmla="*/ 6369933 w 6689088"/>
                <a:gd name="connsiteY3721" fmla="*/ 690945 h 6689084"/>
                <a:gd name="connsiteX3722" fmla="*/ 6305668 w 6689088"/>
                <a:gd name="connsiteY3722" fmla="*/ 755214 h 6689084"/>
                <a:gd name="connsiteX3723" fmla="*/ 6241400 w 6689088"/>
                <a:gd name="connsiteY3723" fmla="*/ 690945 h 6689084"/>
                <a:gd name="connsiteX3724" fmla="*/ 6305668 w 6689088"/>
                <a:gd name="connsiteY3724" fmla="*/ 626680 h 6689084"/>
                <a:gd name="connsiteX3725" fmla="*/ 6459619 w 6689088"/>
                <a:gd name="connsiteY3725" fmla="*/ 623414 h 6689084"/>
                <a:gd name="connsiteX3726" fmla="*/ 6527151 w 6689088"/>
                <a:gd name="connsiteY3726" fmla="*/ 690949 h 6689084"/>
                <a:gd name="connsiteX3727" fmla="*/ 6459619 w 6689088"/>
                <a:gd name="connsiteY3727" fmla="*/ 758481 h 6689084"/>
                <a:gd name="connsiteX3728" fmla="*/ 6392084 w 6689088"/>
                <a:gd name="connsiteY3728" fmla="*/ 690949 h 6689084"/>
                <a:gd name="connsiteX3729" fmla="*/ 6459619 w 6689088"/>
                <a:gd name="connsiteY3729" fmla="*/ 623414 h 6689084"/>
                <a:gd name="connsiteX3730" fmla="*/ 6613200 w 6689088"/>
                <a:gd name="connsiteY3730" fmla="*/ 620871 h 6689084"/>
                <a:gd name="connsiteX3731" fmla="*/ 6683275 w 6689088"/>
                <a:gd name="connsiteY3731" fmla="*/ 690945 h 6689084"/>
                <a:gd name="connsiteX3732" fmla="*/ 6613200 w 6689088"/>
                <a:gd name="connsiteY3732" fmla="*/ 761023 h 6689084"/>
                <a:gd name="connsiteX3733" fmla="*/ 6543126 w 6689088"/>
                <a:gd name="connsiteY3733" fmla="*/ 690945 h 6689084"/>
                <a:gd name="connsiteX3734" fmla="*/ 6613200 w 6689088"/>
                <a:gd name="connsiteY3734" fmla="*/ 620871 h 6689084"/>
                <a:gd name="connsiteX3735" fmla="*/ 1231213 w 6689088"/>
                <a:gd name="connsiteY3735" fmla="*/ 536998 h 6689084"/>
                <a:gd name="connsiteX3736" fmla="*/ 1231576 w 6689088"/>
                <a:gd name="connsiteY3736" fmla="*/ 537360 h 6689084"/>
                <a:gd name="connsiteX3737" fmla="*/ 1231213 w 6689088"/>
                <a:gd name="connsiteY3737" fmla="*/ 537726 h 6689084"/>
                <a:gd name="connsiteX3738" fmla="*/ 1230851 w 6689088"/>
                <a:gd name="connsiteY3738" fmla="*/ 537360 h 6689084"/>
                <a:gd name="connsiteX3739" fmla="*/ 1231213 w 6689088"/>
                <a:gd name="connsiteY3739" fmla="*/ 536998 h 6689084"/>
                <a:gd name="connsiteX3740" fmla="*/ 769733 w 6689088"/>
                <a:gd name="connsiteY3740" fmla="*/ 536998 h 6689084"/>
                <a:gd name="connsiteX3741" fmla="*/ 770096 w 6689088"/>
                <a:gd name="connsiteY3741" fmla="*/ 537360 h 6689084"/>
                <a:gd name="connsiteX3742" fmla="*/ 769733 w 6689088"/>
                <a:gd name="connsiteY3742" fmla="*/ 537726 h 6689084"/>
                <a:gd name="connsiteX3743" fmla="*/ 769371 w 6689088"/>
                <a:gd name="connsiteY3743" fmla="*/ 537360 h 6689084"/>
                <a:gd name="connsiteX3744" fmla="*/ 769733 w 6689088"/>
                <a:gd name="connsiteY3744" fmla="*/ 536998 h 6689084"/>
                <a:gd name="connsiteX3745" fmla="*/ 616148 w 6689088"/>
                <a:gd name="connsiteY3745" fmla="*/ 536998 h 6689084"/>
                <a:gd name="connsiteX3746" fmla="*/ 616514 w 6689088"/>
                <a:gd name="connsiteY3746" fmla="*/ 537360 h 6689084"/>
                <a:gd name="connsiteX3747" fmla="*/ 616148 w 6689088"/>
                <a:gd name="connsiteY3747" fmla="*/ 537726 h 6689084"/>
                <a:gd name="connsiteX3748" fmla="*/ 615786 w 6689088"/>
                <a:gd name="connsiteY3748" fmla="*/ 537360 h 6689084"/>
                <a:gd name="connsiteX3749" fmla="*/ 616148 w 6689088"/>
                <a:gd name="connsiteY3749" fmla="*/ 536998 h 6689084"/>
                <a:gd name="connsiteX3750" fmla="*/ 462205 w 6689088"/>
                <a:gd name="connsiteY3750" fmla="*/ 536636 h 6689084"/>
                <a:gd name="connsiteX3751" fmla="*/ 462929 w 6689088"/>
                <a:gd name="connsiteY3751" fmla="*/ 537364 h 6689084"/>
                <a:gd name="connsiteX3752" fmla="*/ 462205 w 6689088"/>
                <a:gd name="connsiteY3752" fmla="*/ 538088 h 6689084"/>
                <a:gd name="connsiteX3753" fmla="*/ 461476 w 6689088"/>
                <a:gd name="connsiteY3753" fmla="*/ 537364 h 6689084"/>
                <a:gd name="connsiteX3754" fmla="*/ 462205 w 6689088"/>
                <a:gd name="connsiteY3754" fmla="*/ 536636 h 6689084"/>
                <a:gd name="connsiteX3755" fmla="*/ 1384799 w 6689088"/>
                <a:gd name="connsiteY3755" fmla="*/ 535911 h 6689084"/>
                <a:gd name="connsiteX3756" fmla="*/ 1386251 w 6689088"/>
                <a:gd name="connsiteY3756" fmla="*/ 537364 h 6689084"/>
                <a:gd name="connsiteX3757" fmla="*/ 1384799 w 6689088"/>
                <a:gd name="connsiteY3757" fmla="*/ 538816 h 6689084"/>
                <a:gd name="connsiteX3758" fmla="*/ 1383346 w 6689088"/>
                <a:gd name="connsiteY3758" fmla="*/ 537364 h 6689084"/>
                <a:gd name="connsiteX3759" fmla="*/ 1384799 w 6689088"/>
                <a:gd name="connsiteY3759" fmla="*/ 535911 h 6689084"/>
                <a:gd name="connsiteX3760" fmla="*/ 308257 w 6689088"/>
                <a:gd name="connsiteY3760" fmla="*/ 535545 h 6689084"/>
                <a:gd name="connsiteX3761" fmla="*/ 309710 w 6689088"/>
                <a:gd name="connsiteY3761" fmla="*/ 536998 h 6689084"/>
                <a:gd name="connsiteX3762" fmla="*/ 309634 w 6689088"/>
                <a:gd name="connsiteY3762" fmla="*/ 537073 h 6689084"/>
                <a:gd name="connsiteX3763" fmla="*/ 308175 w 6689088"/>
                <a:gd name="connsiteY3763" fmla="*/ 535627 h 6689084"/>
                <a:gd name="connsiteX3764" fmla="*/ 1538750 w 6689088"/>
                <a:gd name="connsiteY3764" fmla="*/ 535183 h 6689084"/>
                <a:gd name="connsiteX3765" fmla="*/ 1540927 w 6689088"/>
                <a:gd name="connsiteY3765" fmla="*/ 537364 h 6689084"/>
                <a:gd name="connsiteX3766" fmla="*/ 1538750 w 6689088"/>
                <a:gd name="connsiteY3766" fmla="*/ 539540 h 6689084"/>
                <a:gd name="connsiteX3767" fmla="*/ 1536570 w 6689088"/>
                <a:gd name="connsiteY3767" fmla="*/ 537364 h 6689084"/>
                <a:gd name="connsiteX3768" fmla="*/ 1538750 w 6689088"/>
                <a:gd name="connsiteY3768" fmla="*/ 535183 h 6689084"/>
                <a:gd name="connsiteX3769" fmla="*/ 1692328 w 6689088"/>
                <a:gd name="connsiteY3769" fmla="*/ 534093 h 6689084"/>
                <a:gd name="connsiteX3770" fmla="*/ 1695594 w 6689088"/>
                <a:gd name="connsiteY3770" fmla="*/ 537360 h 6689084"/>
                <a:gd name="connsiteX3771" fmla="*/ 1692328 w 6689088"/>
                <a:gd name="connsiteY3771" fmla="*/ 540630 h 6689084"/>
                <a:gd name="connsiteX3772" fmla="*/ 1689061 w 6689088"/>
                <a:gd name="connsiteY3772" fmla="*/ 537360 h 6689084"/>
                <a:gd name="connsiteX3773" fmla="*/ 1692328 w 6689088"/>
                <a:gd name="connsiteY3773" fmla="*/ 534093 h 6689084"/>
                <a:gd name="connsiteX3774" fmla="*/ 1846279 w 6689088"/>
                <a:gd name="connsiteY3774" fmla="*/ 532641 h 6689084"/>
                <a:gd name="connsiteX3775" fmla="*/ 1850636 w 6689088"/>
                <a:gd name="connsiteY3775" fmla="*/ 536998 h 6689084"/>
                <a:gd name="connsiteX3776" fmla="*/ 1846279 w 6689088"/>
                <a:gd name="connsiteY3776" fmla="*/ 541355 h 6689084"/>
                <a:gd name="connsiteX3777" fmla="*/ 1841922 w 6689088"/>
                <a:gd name="connsiteY3777" fmla="*/ 536998 h 6689084"/>
                <a:gd name="connsiteX3778" fmla="*/ 1846279 w 6689088"/>
                <a:gd name="connsiteY3778" fmla="*/ 532641 h 6689084"/>
                <a:gd name="connsiteX3779" fmla="*/ 1999860 w 6689088"/>
                <a:gd name="connsiteY3779" fmla="*/ 531554 h 6689084"/>
                <a:gd name="connsiteX3780" fmla="*/ 2005670 w 6689088"/>
                <a:gd name="connsiteY3780" fmla="*/ 537364 h 6689084"/>
                <a:gd name="connsiteX3781" fmla="*/ 1999860 w 6689088"/>
                <a:gd name="connsiteY3781" fmla="*/ 543173 h 6689084"/>
                <a:gd name="connsiteX3782" fmla="*/ 1994051 w 6689088"/>
                <a:gd name="connsiteY3782" fmla="*/ 537364 h 6689084"/>
                <a:gd name="connsiteX3783" fmla="*/ 1999860 w 6689088"/>
                <a:gd name="connsiteY3783" fmla="*/ 531554 h 6689084"/>
                <a:gd name="connsiteX3784" fmla="*/ 2153808 w 6689088"/>
                <a:gd name="connsiteY3784" fmla="*/ 530102 h 6689084"/>
                <a:gd name="connsiteX3785" fmla="*/ 2161069 w 6689088"/>
                <a:gd name="connsiteY3785" fmla="*/ 537364 h 6689084"/>
                <a:gd name="connsiteX3786" fmla="*/ 2153808 w 6689088"/>
                <a:gd name="connsiteY3786" fmla="*/ 544625 h 6689084"/>
                <a:gd name="connsiteX3787" fmla="*/ 2146546 w 6689088"/>
                <a:gd name="connsiteY3787" fmla="*/ 537364 h 6689084"/>
                <a:gd name="connsiteX3788" fmla="*/ 2153808 w 6689088"/>
                <a:gd name="connsiteY3788" fmla="*/ 530102 h 6689084"/>
                <a:gd name="connsiteX3789" fmla="*/ 2307393 w 6689088"/>
                <a:gd name="connsiteY3789" fmla="*/ 527922 h 6689084"/>
                <a:gd name="connsiteX3790" fmla="*/ 2316473 w 6689088"/>
                <a:gd name="connsiteY3790" fmla="*/ 536998 h 6689084"/>
                <a:gd name="connsiteX3791" fmla="*/ 2307393 w 6689088"/>
                <a:gd name="connsiteY3791" fmla="*/ 546078 h 6689084"/>
                <a:gd name="connsiteX3792" fmla="*/ 2298317 w 6689088"/>
                <a:gd name="connsiteY3792" fmla="*/ 536998 h 6689084"/>
                <a:gd name="connsiteX3793" fmla="*/ 2307393 w 6689088"/>
                <a:gd name="connsiteY3793" fmla="*/ 527922 h 6689084"/>
                <a:gd name="connsiteX3794" fmla="*/ 2461340 w 6689088"/>
                <a:gd name="connsiteY3794" fmla="*/ 527197 h 6689084"/>
                <a:gd name="connsiteX3795" fmla="*/ 2471507 w 6689088"/>
                <a:gd name="connsiteY3795" fmla="*/ 537364 h 6689084"/>
                <a:gd name="connsiteX3796" fmla="*/ 2461340 w 6689088"/>
                <a:gd name="connsiteY3796" fmla="*/ 547530 h 6689084"/>
                <a:gd name="connsiteX3797" fmla="*/ 2451174 w 6689088"/>
                <a:gd name="connsiteY3797" fmla="*/ 537364 h 6689084"/>
                <a:gd name="connsiteX3798" fmla="*/ 2461340 w 6689088"/>
                <a:gd name="connsiteY3798" fmla="*/ 527197 h 6689084"/>
                <a:gd name="connsiteX3799" fmla="*/ 2614925 w 6689088"/>
                <a:gd name="connsiteY3799" fmla="*/ 525379 h 6689084"/>
                <a:gd name="connsiteX3800" fmla="*/ 2626910 w 6689088"/>
                <a:gd name="connsiteY3800" fmla="*/ 537360 h 6689084"/>
                <a:gd name="connsiteX3801" fmla="*/ 2614925 w 6689088"/>
                <a:gd name="connsiteY3801" fmla="*/ 549341 h 6689084"/>
                <a:gd name="connsiteX3802" fmla="*/ 2602945 w 6689088"/>
                <a:gd name="connsiteY3802" fmla="*/ 537360 h 6689084"/>
                <a:gd name="connsiteX3803" fmla="*/ 2614925 w 6689088"/>
                <a:gd name="connsiteY3803" fmla="*/ 525379 h 6689084"/>
                <a:gd name="connsiteX3804" fmla="*/ 2768877 w 6689088"/>
                <a:gd name="connsiteY3804" fmla="*/ 523202 h 6689084"/>
                <a:gd name="connsiteX3805" fmla="*/ 2782672 w 6689088"/>
                <a:gd name="connsiteY3805" fmla="*/ 537002 h 6689084"/>
                <a:gd name="connsiteX3806" fmla="*/ 2768877 w 6689088"/>
                <a:gd name="connsiteY3806" fmla="*/ 550797 h 6689084"/>
                <a:gd name="connsiteX3807" fmla="*/ 2755078 w 6689088"/>
                <a:gd name="connsiteY3807" fmla="*/ 537002 h 6689084"/>
                <a:gd name="connsiteX3808" fmla="*/ 2768877 w 6689088"/>
                <a:gd name="connsiteY3808" fmla="*/ 523202 h 6689084"/>
                <a:gd name="connsiteX3809" fmla="*/ 2922454 w 6689088"/>
                <a:gd name="connsiteY3809" fmla="*/ 522112 h 6689084"/>
                <a:gd name="connsiteX3810" fmla="*/ 2937706 w 6689088"/>
                <a:gd name="connsiteY3810" fmla="*/ 537364 h 6689084"/>
                <a:gd name="connsiteX3811" fmla="*/ 2922454 w 6689088"/>
                <a:gd name="connsiteY3811" fmla="*/ 552611 h 6689084"/>
                <a:gd name="connsiteX3812" fmla="*/ 2907207 w 6689088"/>
                <a:gd name="connsiteY3812" fmla="*/ 537364 h 6689084"/>
                <a:gd name="connsiteX3813" fmla="*/ 2922454 w 6689088"/>
                <a:gd name="connsiteY3813" fmla="*/ 522112 h 6689084"/>
                <a:gd name="connsiteX3814" fmla="*/ 3076406 w 6689088"/>
                <a:gd name="connsiteY3814" fmla="*/ 520298 h 6689084"/>
                <a:gd name="connsiteX3815" fmla="*/ 3093468 w 6689088"/>
                <a:gd name="connsiteY3815" fmla="*/ 537364 h 6689084"/>
                <a:gd name="connsiteX3816" fmla="*/ 3076406 w 6689088"/>
                <a:gd name="connsiteY3816" fmla="*/ 554430 h 6689084"/>
                <a:gd name="connsiteX3817" fmla="*/ 3059340 w 6689088"/>
                <a:gd name="connsiteY3817" fmla="*/ 537364 h 6689084"/>
                <a:gd name="connsiteX3818" fmla="*/ 3076406 w 6689088"/>
                <a:gd name="connsiteY3818" fmla="*/ 520298 h 6689084"/>
                <a:gd name="connsiteX3819" fmla="*/ 3230353 w 6689088"/>
                <a:gd name="connsiteY3819" fmla="*/ 518117 h 6689084"/>
                <a:gd name="connsiteX3820" fmla="*/ 3249599 w 6689088"/>
                <a:gd name="connsiteY3820" fmla="*/ 537360 h 6689084"/>
                <a:gd name="connsiteX3821" fmla="*/ 3230353 w 6689088"/>
                <a:gd name="connsiteY3821" fmla="*/ 556602 h 6689084"/>
                <a:gd name="connsiteX3822" fmla="*/ 3211110 w 6689088"/>
                <a:gd name="connsiteY3822" fmla="*/ 537360 h 6689084"/>
                <a:gd name="connsiteX3823" fmla="*/ 3230353 w 6689088"/>
                <a:gd name="connsiteY3823" fmla="*/ 518117 h 6689084"/>
                <a:gd name="connsiteX3824" fmla="*/ 3383938 w 6689088"/>
                <a:gd name="connsiteY3824" fmla="*/ 515941 h 6689084"/>
                <a:gd name="connsiteX3825" fmla="*/ 3405361 w 6689088"/>
                <a:gd name="connsiteY3825" fmla="*/ 537364 h 6689084"/>
                <a:gd name="connsiteX3826" fmla="*/ 3383938 w 6689088"/>
                <a:gd name="connsiteY3826" fmla="*/ 558787 h 6689084"/>
                <a:gd name="connsiteX3827" fmla="*/ 3362515 w 6689088"/>
                <a:gd name="connsiteY3827" fmla="*/ 537364 h 6689084"/>
                <a:gd name="connsiteX3828" fmla="*/ 3383938 w 6689088"/>
                <a:gd name="connsiteY3828" fmla="*/ 515941 h 6689084"/>
                <a:gd name="connsiteX3829" fmla="*/ 3537886 w 6689088"/>
                <a:gd name="connsiteY3829" fmla="*/ 514489 h 6689084"/>
                <a:gd name="connsiteX3830" fmla="*/ 3560761 w 6689088"/>
                <a:gd name="connsiteY3830" fmla="*/ 537364 h 6689084"/>
                <a:gd name="connsiteX3831" fmla="*/ 3537886 w 6689088"/>
                <a:gd name="connsiteY3831" fmla="*/ 560239 h 6689084"/>
                <a:gd name="connsiteX3832" fmla="*/ 3515010 w 6689088"/>
                <a:gd name="connsiteY3832" fmla="*/ 537364 h 6689084"/>
                <a:gd name="connsiteX3833" fmla="*/ 3537886 w 6689088"/>
                <a:gd name="connsiteY3833" fmla="*/ 514489 h 6689084"/>
                <a:gd name="connsiteX3834" fmla="*/ 3691467 w 6689088"/>
                <a:gd name="connsiteY3834" fmla="*/ 512308 h 6689084"/>
                <a:gd name="connsiteX3835" fmla="*/ 3716519 w 6689088"/>
                <a:gd name="connsiteY3835" fmla="*/ 537360 h 6689084"/>
                <a:gd name="connsiteX3836" fmla="*/ 3691467 w 6689088"/>
                <a:gd name="connsiteY3836" fmla="*/ 562412 h 6689084"/>
                <a:gd name="connsiteX3837" fmla="*/ 3666415 w 6689088"/>
                <a:gd name="connsiteY3837" fmla="*/ 537360 h 6689084"/>
                <a:gd name="connsiteX3838" fmla="*/ 3691467 w 6689088"/>
                <a:gd name="connsiteY3838" fmla="*/ 512308 h 6689084"/>
                <a:gd name="connsiteX3839" fmla="*/ 3845418 w 6689088"/>
                <a:gd name="connsiteY3839" fmla="*/ 510131 h 6689084"/>
                <a:gd name="connsiteX3840" fmla="*/ 3872650 w 6689088"/>
                <a:gd name="connsiteY3840" fmla="*/ 537364 h 6689084"/>
                <a:gd name="connsiteX3841" fmla="*/ 3845418 w 6689088"/>
                <a:gd name="connsiteY3841" fmla="*/ 564596 h 6689084"/>
                <a:gd name="connsiteX3842" fmla="*/ 3818186 w 6689088"/>
                <a:gd name="connsiteY3842" fmla="*/ 537364 h 6689084"/>
                <a:gd name="connsiteX3843" fmla="*/ 3845418 w 6689088"/>
                <a:gd name="connsiteY3843" fmla="*/ 510131 h 6689084"/>
                <a:gd name="connsiteX3844" fmla="*/ 3999000 w 6689088"/>
                <a:gd name="connsiteY3844" fmla="*/ 507589 h 6689084"/>
                <a:gd name="connsiteX3845" fmla="*/ 4028774 w 6689088"/>
                <a:gd name="connsiteY3845" fmla="*/ 537364 h 6689084"/>
                <a:gd name="connsiteX3846" fmla="*/ 3999000 w 6689088"/>
                <a:gd name="connsiteY3846" fmla="*/ 567135 h 6689084"/>
                <a:gd name="connsiteX3847" fmla="*/ 3969229 w 6689088"/>
                <a:gd name="connsiteY3847" fmla="*/ 537364 h 6689084"/>
                <a:gd name="connsiteX3848" fmla="*/ 3999000 w 6689088"/>
                <a:gd name="connsiteY3848" fmla="*/ 507589 h 6689084"/>
                <a:gd name="connsiteX3849" fmla="*/ 4152947 w 6689088"/>
                <a:gd name="connsiteY3849" fmla="*/ 505412 h 6689084"/>
                <a:gd name="connsiteX3850" fmla="*/ 4184898 w 6689088"/>
                <a:gd name="connsiteY3850" fmla="*/ 537364 h 6689084"/>
                <a:gd name="connsiteX3851" fmla="*/ 4152947 w 6689088"/>
                <a:gd name="connsiteY3851" fmla="*/ 569315 h 6689084"/>
                <a:gd name="connsiteX3852" fmla="*/ 4120996 w 6689088"/>
                <a:gd name="connsiteY3852" fmla="*/ 537364 h 6689084"/>
                <a:gd name="connsiteX3853" fmla="*/ 4152947 w 6689088"/>
                <a:gd name="connsiteY3853" fmla="*/ 505412 h 6689084"/>
                <a:gd name="connsiteX3854" fmla="*/ 4306532 w 6689088"/>
                <a:gd name="connsiteY3854" fmla="*/ 503594 h 6689084"/>
                <a:gd name="connsiteX3855" fmla="*/ 4340302 w 6689088"/>
                <a:gd name="connsiteY3855" fmla="*/ 537360 h 6689084"/>
                <a:gd name="connsiteX3856" fmla="*/ 4306532 w 6689088"/>
                <a:gd name="connsiteY3856" fmla="*/ 571130 h 6689084"/>
                <a:gd name="connsiteX3857" fmla="*/ 4272766 w 6689088"/>
                <a:gd name="connsiteY3857" fmla="*/ 537360 h 6689084"/>
                <a:gd name="connsiteX3858" fmla="*/ 4306532 w 6689088"/>
                <a:gd name="connsiteY3858" fmla="*/ 503594 h 6689084"/>
                <a:gd name="connsiteX3859" fmla="*/ 4460480 w 6689088"/>
                <a:gd name="connsiteY3859" fmla="*/ 500689 h 6689084"/>
                <a:gd name="connsiteX3860" fmla="*/ 4496788 w 6689088"/>
                <a:gd name="connsiteY3860" fmla="*/ 536998 h 6689084"/>
                <a:gd name="connsiteX3861" fmla="*/ 4460480 w 6689088"/>
                <a:gd name="connsiteY3861" fmla="*/ 573306 h 6689084"/>
                <a:gd name="connsiteX3862" fmla="*/ 4424172 w 6689088"/>
                <a:gd name="connsiteY3862" fmla="*/ 536998 h 6689084"/>
                <a:gd name="connsiteX3863" fmla="*/ 4460480 w 6689088"/>
                <a:gd name="connsiteY3863" fmla="*/ 500689 h 6689084"/>
                <a:gd name="connsiteX3864" fmla="*/ 4614065 w 6689088"/>
                <a:gd name="connsiteY3864" fmla="*/ 498513 h 6689084"/>
                <a:gd name="connsiteX3865" fmla="*/ 4652912 w 6689088"/>
                <a:gd name="connsiteY3865" fmla="*/ 537364 h 6689084"/>
                <a:gd name="connsiteX3866" fmla="*/ 4614065 w 6689088"/>
                <a:gd name="connsiteY3866" fmla="*/ 576215 h 6689084"/>
                <a:gd name="connsiteX3867" fmla="*/ 4575214 w 6689088"/>
                <a:gd name="connsiteY3867" fmla="*/ 537364 h 6689084"/>
                <a:gd name="connsiteX3868" fmla="*/ 4614065 w 6689088"/>
                <a:gd name="connsiteY3868" fmla="*/ 498513 h 6689084"/>
                <a:gd name="connsiteX3869" fmla="*/ 4768008 w 6689088"/>
                <a:gd name="connsiteY3869" fmla="*/ 495970 h 6689084"/>
                <a:gd name="connsiteX3870" fmla="*/ 4809036 w 6689088"/>
                <a:gd name="connsiteY3870" fmla="*/ 536998 h 6689084"/>
                <a:gd name="connsiteX3871" fmla="*/ 4768008 w 6689088"/>
                <a:gd name="connsiteY3871" fmla="*/ 578029 h 6689084"/>
                <a:gd name="connsiteX3872" fmla="*/ 4726981 w 6689088"/>
                <a:gd name="connsiteY3872" fmla="*/ 536998 h 6689084"/>
                <a:gd name="connsiteX3873" fmla="*/ 4768008 w 6689088"/>
                <a:gd name="connsiteY3873" fmla="*/ 495970 h 6689084"/>
                <a:gd name="connsiteX3874" fmla="*/ 4921594 w 6689088"/>
                <a:gd name="connsiteY3874" fmla="*/ 493428 h 6689084"/>
                <a:gd name="connsiteX3875" fmla="*/ 4965164 w 6689088"/>
                <a:gd name="connsiteY3875" fmla="*/ 536998 h 6689084"/>
                <a:gd name="connsiteX3876" fmla="*/ 4921594 w 6689088"/>
                <a:gd name="connsiteY3876" fmla="*/ 580568 h 6689084"/>
                <a:gd name="connsiteX3877" fmla="*/ 4878024 w 6689088"/>
                <a:gd name="connsiteY3877" fmla="*/ 536998 h 6689084"/>
                <a:gd name="connsiteX3878" fmla="*/ 4921594 w 6689088"/>
                <a:gd name="connsiteY3878" fmla="*/ 493428 h 6689084"/>
                <a:gd name="connsiteX3879" fmla="*/ 5075541 w 6689088"/>
                <a:gd name="connsiteY3879" fmla="*/ 490889 h 6689084"/>
                <a:gd name="connsiteX3880" fmla="*/ 5121654 w 6689088"/>
                <a:gd name="connsiteY3880" fmla="*/ 537002 h 6689084"/>
                <a:gd name="connsiteX3881" fmla="*/ 5075541 w 6689088"/>
                <a:gd name="connsiteY3881" fmla="*/ 583110 h 6689084"/>
                <a:gd name="connsiteX3882" fmla="*/ 5029428 w 6689088"/>
                <a:gd name="connsiteY3882" fmla="*/ 537002 h 6689084"/>
                <a:gd name="connsiteX3883" fmla="*/ 5075541 w 6689088"/>
                <a:gd name="connsiteY3883" fmla="*/ 490889 h 6689084"/>
                <a:gd name="connsiteX3884" fmla="*/ 5229122 w 6689088"/>
                <a:gd name="connsiteY3884" fmla="*/ 488709 h 6689084"/>
                <a:gd name="connsiteX3885" fmla="*/ 5277778 w 6689088"/>
                <a:gd name="connsiteY3885" fmla="*/ 537364 h 6689084"/>
                <a:gd name="connsiteX3886" fmla="*/ 5229122 w 6689088"/>
                <a:gd name="connsiteY3886" fmla="*/ 586015 h 6689084"/>
                <a:gd name="connsiteX3887" fmla="*/ 5180472 w 6689088"/>
                <a:gd name="connsiteY3887" fmla="*/ 537364 h 6689084"/>
                <a:gd name="connsiteX3888" fmla="*/ 5229122 w 6689088"/>
                <a:gd name="connsiteY3888" fmla="*/ 488709 h 6689084"/>
                <a:gd name="connsiteX3889" fmla="*/ 5383074 w 6689088"/>
                <a:gd name="connsiteY3889" fmla="*/ 486166 h 6689084"/>
                <a:gd name="connsiteX3890" fmla="*/ 5434268 w 6689088"/>
                <a:gd name="connsiteY3890" fmla="*/ 537360 h 6689084"/>
                <a:gd name="connsiteX3891" fmla="*/ 5383074 w 6689088"/>
                <a:gd name="connsiteY3891" fmla="*/ 588554 h 6689084"/>
                <a:gd name="connsiteX3892" fmla="*/ 5331880 w 6689088"/>
                <a:gd name="connsiteY3892" fmla="*/ 537360 h 6689084"/>
                <a:gd name="connsiteX3893" fmla="*/ 5383074 w 6689088"/>
                <a:gd name="connsiteY3893" fmla="*/ 486166 h 6689084"/>
                <a:gd name="connsiteX3894" fmla="*/ 5536659 w 6689088"/>
                <a:gd name="connsiteY3894" fmla="*/ 483624 h 6689084"/>
                <a:gd name="connsiteX3895" fmla="*/ 5590034 w 6689088"/>
                <a:gd name="connsiteY3895" fmla="*/ 536998 h 6689084"/>
                <a:gd name="connsiteX3896" fmla="*/ 5536659 w 6689088"/>
                <a:gd name="connsiteY3896" fmla="*/ 590372 h 6689084"/>
                <a:gd name="connsiteX3897" fmla="*/ 5483285 w 6689088"/>
                <a:gd name="connsiteY3897" fmla="*/ 536998 h 6689084"/>
                <a:gd name="connsiteX3898" fmla="*/ 5536659 w 6689088"/>
                <a:gd name="connsiteY3898" fmla="*/ 483624 h 6689084"/>
                <a:gd name="connsiteX3899" fmla="*/ 5690606 w 6689088"/>
                <a:gd name="connsiteY3899" fmla="*/ 481085 h 6689084"/>
                <a:gd name="connsiteX3900" fmla="*/ 5746882 w 6689088"/>
                <a:gd name="connsiteY3900" fmla="*/ 537364 h 6689084"/>
                <a:gd name="connsiteX3901" fmla="*/ 5690606 w 6689088"/>
                <a:gd name="connsiteY3901" fmla="*/ 593643 h 6689084"/>
                <a:gd name="connsiteX3902" fmla="*/ 5634328 w 6689088"/>
                <a:gd name="connsiteY3902" fmla="*/ 537364 h 6689084"/>
                <a:gd name="connsiteX3903" fmla="*/ 5690606 w 6689088"/>
                <a:gd name="connsiteY3903" fmla="*/ 481085 h 6689084"/>
                <a:gd name="connsiteX3904" fmla="*/ 5844554 w 6689088"/>
                <a:gd name="connsiteY3904" fmla="*/ 478542 h 6689084"/>
                <a:gd name="connsiteX3905" fmla="*/ 5903372 w 6689088"/>
                <a:gd name="connsiteY3905" fmla="*/ 537364 h 6689084"/>
                <a:gd name="connsiteX3906" fmla="*/ 5844554 w 6689088"/>
                <a:gd name="connsiteY3906" fmla="*/ 596181 h 6689084"/>
                <a:gd name="connsiteX3907" fmla="*/ 5785732 w 6689088"/>
                <a:gd name="connsiteY3907" fmla="*/ 537364 h 6689084"/>
                <a:gd name="connsiteX3908" fmla="*/ 5844554 w 6689088"/>
                <a:gd name="connsiteY3908" fmla="*/ 478542 h 6689084"/>
                <a:gd name="connsiteX3909" fmla="*/ 5998136 w 6689088"/>
                <a:gd name="connsiteY3909" fmla="*/ 475638 h 6689084"/>
                <a:gd name="connsiteX3910" fmla="*/ 6059862 w 6689088"/>
                <a:gd name="connsiteY3910" fmla="*/ 537364 h 6689084"/>
                <a:gd name="connsiteX3911" fmla="*/ 5998136 w 6689088"/>
                <a:gd name="connsiteY3911" fmla="*/ 599086 h 6689084"/>
                <a:gd name="connsiteX3912" fmla="*/ 5936413 w 6689088"/>
                <a:gd name="connsiteY3912" fmla="*/ 537364 h 6689084"/>
                <a:gd name="connsiteX3913" fmla="*/ 5998136 w 6689088"/>
                <a:gd name="connsiteY3913" fmla="*/ 475638 h 6689084"/>
                <a:gd name="connsiteX3914" fmla="*/ 6152083 w 6689088"/>
                <a:gd name="connsiteY3914" fmla="*/ 473095 h 6689084"/>
                <a:gd name="connsiteX3915" fmla="*/ 6216348 w 6689088"/>
                <a:gd name="connsiteY3915" fmla="*/ 537360 h 6689084"/>
                <a:gd name="connsiteX3916" fmla="*/ 6152083 w 6689088"/>
                <a:gd name="connsiteY3916" fmla="*/ 601625 h 6689084"/>
                <a:gd name="connsiteX3917" fmla="*/ 6087818 w 6689088"/>
                <a:gd name="connsiteY3917" fmla="*/ 537360 h 6689084"/>
                <a:gd name="connsiteX3918" fmla="*/ 6152083 w 6689088"/>
                <a:gd name="connsiteY3918" fmla="*/ 473095 h 6689084"/>
                <a:gd name="connsiteX3919" fmla="*/ 6305672 w 6689088"/>
                <a:gd name="connsiteY3919" fmla="*/ 469828 h 6689084"/>
                <a:gd name="connsiteX3920" fmla="*/ 6373204 w 6689088"/>
                <a:gd name="connsiteY3920" fmla="*/ 537364 h 6689084"/>
                <a:gd name="connsiteX3921" fmla="*/ 6305672 w 6689088"/>
                <a:gd name="connsiteY3921" fmla="*/ 604895 h 6689084"/>
                <a:gd name="connsiteX3922" fmla="*/ 6238136 w 6689088"/>
                <a:gd name="connsiteY3922" fmla="*/ 537364 h 6689084"/>
                <a:gd name="connsiteX3923" fmla="*/ 6305672 w 6689088"/>
                <a:gd name="connsiteY3923" fmla="*/ 469828 h 6689084"/>
                <a:gd name="connsiteX3924" fmla="*/ 6459616 w 6689088"/>
                <a:gd name="connsiteY3924" fmla="*/ 467286 h 6689084"/>
                <a:gd name="connsiteX3925" fmla="*/ 6529694 w 6689088"/>
                <a:gd name="connsiteY3925" fmla="*/ 537360 h 6689084"/>
                <a:gd name="connsiteX3926" fmla="*/ 6459616 w 6689088"/>
                <a:gd name="connsiteY3926" fmla="*/ 607434 h 6689084"/>
                <a:gd name="connsiteX3927" fmla="*/ 6389542 w 6689088"/>
                <a:gd name="connsiteY3927" fmla="*/ 537360 h 6689084"/>
                <a:gd name="connsiteX3928" fmla="*/ 6459616 w 6689088"/>
                <a:gd name="connsiteY3928" fmla="*/ 467286 h 6689084"/>
                <a:gd name="connsiteX3929" fmla="*/ 6613200 w 6689088"/>
                <a:gd name="connsiteY3929" fmla="*/ 464381 h 6689084"/>
                <a:gd name="connsiteX3930" fmla="*/ 6686180 w 6689088"/>
                <a:gd name="connsiteY3930" fmla="*/ 537360 h 6689084"/>
                <a:gd name="connsiteX3931" fmla="*/ 6613200 w 6689088"/>
                <a:gd name="connsiteY3931" fmla="*/ 610339 h 6689084"/>
                <a:gd name="connsiteX3932" fmla="*/ 6540222 w 6689088"/>
                <a:gd name="connsiteY3932" fmla="*/ 537360 h 6689084"/>
                <a:gd name="connsiteX3933" fmla="*/ 6613200 w 6689088"/>
                <a:gd name="connsiteY3933" fmla="*/ 464381 h 6689084"/>
                <a:gd name="connsiteX3934" fmla="*/ 1077266 w 6689088"/>
                <a:gd name="connsiteY3934" fmla="*/ 383050 h 6689084"/>
                <a:gd name="connsiteX3935" fmla="*/ 1077628 w 6689088"/>
                <a:gd name="connsiteY3935" fmla="*/ 383412 h 6689084"/>
                <a:gd name="connsiteX3936" fmla="*/ 1077266 w 6689088"/>
                <a:gd name="connsiteY3936" fmla="*/ 383778 h 6689084"/>
                <a:gd name="connsiteX3937" fmla="*/ 1076904 w 6689088"/>
                <a:gd name="connsiteY3937" fmla="*/ 383412 h 6689084"/>
                <a:gd name="connsiteX3938" fmla="*/ 1077266 w 6689088"/>
                <a:gd name="connsiteY3938" fmla="*/ 383050 h 6689084"/>
                <a:gd name="connsiteX3939" fmla="*/ 616148 w 6689088"/>
                <a:gd name="connsiteY3939" fmla="*/ 383050 h 6689084"/>
                <a:gd name="connsiteX3940" fmla="*/ 616514 w 6689088"/>
                <a:gd name="connsiteY3940" fmla="*/ 383412 h 6689084"/>
                <a:gd name="connsiteX3941" fmla="*/ 616148 w 6689088"/>
                <a:gd name="connsiteY3941" fmla="*/ 383775 h 6689084"/>
                <a:gd name="connsiteX3942" fmla="*/ 615786 w 6689088"/>
                <a:gd name="connsiteY3942" fmla="*/ 383412 h 6689084"/>
                <a:gd name="connsiteX3943" fmla="*/ 616148 w 6689088"/>
                <a:gd name="connsiteY3943" fmla="*/ 383050 h 6689084"/>
                <a:gd name="connsiteX3944" fmla="*/ 462205 w 6689088"/>
                <a:gd name="connsiteY3944" fmla="*/ 383050 h 6689084"/>
                <a:gd name="connsiteX3945" fmla="*/ 462567 w 6689088"/>
                <a:gd name="connsiteY3945" fmla="*/ 383412 h 6689084"/>
                <a:gd name="connsiteX3946" fmla="*/ 462205 w 6689088"/>
                <a:gd name="connsiteY3946" fmla="*/ 383775 h 6689084"/>
                <a:gd name="connsiteX3947" fmla="*/ 461842 w 6689088"/>
                <a:gd name="connsiteY3947" fmla="*/ 383412 h 6689084"/>
                <a:gd name="connsiteX3948" fmla="*/ 462205 w 6689088"/>
                <a:gd name="connsiteY3948" fmla="*/ 383050 h 6689084"/>
                <a:gd name="connsiteX3949" fmla="*/ 308623 w 6689088"/>
                <a:gd name="connsiteY3949" fmla="*/ 382688 h 6689084"/>
                <a:gd name="connsiteX3950" fmla="*/ 309347 w 6689088"/>
                <a:gd name="connsiteY3950" fmla="*/ 383416 h 6689084"/>
                <a:gd name="connsiteX3951" fmla="*/ 308623 w 6689088"/>
                <a:gd name="connsiteY3951" fmla="*/ 384141 h 6689084"/>
                <a:gd name="connsiteX3952" fmla="*/ 307895 w 6689088"/>
                <a:gd name="connsiteY3952" fmla="*/ 383416 h 6689084"/>
                <a:gd name="connsiteX3953" fmla="*/ 308623 w 6689088"/>
                <a:gd name="connsiteY3953" fmla="*/ 382688 h 6689084"/>
                <a:gd name="connsiteX3954" fmla="*/ 1231213 w 6689088"/>
                <a:gd name="connsiteY3954" fmla="*/ 381964 h 6689084"/>
                <a:gd name="connsiteX3955" fmla="*/ 1232666 w 6689088"/>
                <a:gd name="connsiteY3955" fmla="*/ 383416 h 6689084"/>
                <a:gd name="connsiteX3956" fmla="*/ 1231213 w 6689088"/>
                <a:gd name="connsiteY3956" fmla="*/ 384869 h 6689084"/>
                <a:gd name="connsiteX3957" fmla="*/ 1229761 w 6689088"/>
                <a:gd name="connsiteY3957" fmla="*/ 383416 h 6689084"/>
                <a:gd name="connsiteX3958" fmla="*/ 1231213 w 6689088"/>
                <a:gd name="connsiteY3958" fmla="*/ 381964 h 6689084"/>
                <a:gd name="connsiteX3959" fmla="*/ 154672 w 6689088"/>
                <a:gd name="connsiteY3959" fmla="*/ 381964 h 6689084"/>
                <a:gd name="connsiteX3960" fmla="*/ 156124 w 6689088"/>
                <a:gd name="connsiteY3960" fmla="*/ 383416 h 6689084"/>
                <a:gd name="connsiteX3961" fmla="*/ 155343 w 6689088"/>
                <a:gd name="connsiteY3961" fmla="*/ 384197 h 6689084"/>
                <a:gd name="connsiteX3962" fmla="*/ 153884 w 6689088"/>
                <a:gd name="connsiteY3962" fmla="*/ 382752 h 6689084"/>
                <a:gd name="connsiteX3963" fmla="*/ 1384799 w 6689088"/>
                <a:gd name="connsiteY3963" fmla="*/ 381236 h 6689084"/>
                <a:gd name="connsiteX3964" fmla="*/ 1386979 w 6689088"/>
                <a:gd name="connsiteY3964" fmla="*/ 383416 h 6689084"/>
                <a:gd name="connsiteX3965" fmla="*/ 1384799 w 6689088"/>
                <a:gd name="connsiteY3965" fmla="*/ 385593 h 6689084"/>
                <a:gd name="connsiteX3966" fmla="*/ 1382622 w 6689088"/>
                <a:gd name="connsiteY3966" fmla="*/ 383416 h 6689084"/>
                <a:gd name="connsiteX3967" fmla="*/ 1384799 w 6689088"/>
                <a:gd name="connsiteY3967" fmla="*/ 381236 h 6689084"/>
                <a:gd name="connsiteX3968" fmla="*/ 1538746 w 6689088"/>
                <a:gd name="connsiteY3968" fmla="*/ 380508 h 6689084"/>
                <a:gd name="connsiteX3969" fmla="*/ 1542013 w 6689088"/>
                <a:gd name="connsiteY3969" fmla="*/ 383775 h 6689084"/>
                <a:gd name="connsiteX3970" fmla="*/ 1538746 w 6689088"/>
                <a:gd name="connsiteY3970" fmla="*/ 387045 h 6689084"/>
                <a:gd name="connsiteX3971" fmla="*/ 1535479 w 6689088"/>
                <a:gd name="connsiteY3971" fmla="*/ 383775 h 6689084"/>
                <a:gd name="connsiteX3972" fmla="*/ 1538746 w 6689088"/>
                <a:gd name="connsiteY3972" fmla="*/ 380508 h 6689084"/>
                <a:gd name="connsiteX3973" fmla="*/ 1692331 w 6689088"/>
                <a:gd name="connsiteY3973" fmla="*/ 379055 h 6689084"/>
                <a:gd name="connsiteX3974" fmla="*/ 1696688 w 6689088"/>
                <a:gd name="connsiteY3974" fmla="*/ 383412 h 6689084"/>
                <a:gd name="connsiteX3975" fmla="*/ 1692331 w 6689088"/>
                <a:gd name="connsiteY3975" fmla="*/ 387770 h 6689084"/>
                <a:gd name="connsiteX3976" fmla="*/ 1687974 w 6689088"/>
                <a:gd name="connsiteY3976" fmla="*/ 383412 h 6689084"/>
                <a:gd name="connsiteX3977" fmla="*/ 1692331 w 6689088"/>
                <a:gd name="connsiteY3977" fmla="*/ 379055 h 6689084"/>
                <a:gd name="connsiteX3978" fmla="*/ 1846279 w 6689088"/>
                <a:gd name="connsiteY3978" fmla="*/ 377607 h 6689084"/>
                <a:gd name="connsiteX3979" fmla="*/ 1852088 w 6689088"/>
                <a:gd name="connsiteY3979" fmla="*/ 383416 h 6689084"/>
                <a:gd name="connsiteX3980" fmla="*/ 1846279 w 6689088"/>
                <a:gd name="connsiteY3980" fmla="*/ 389226 h 6689084"/>
                <a:gd name="connsiteX3981" fmla="*/ 1840469 w 6689088"/>
                <a:gd name="connsiteY3981" fmla="*/ 383416 h 6689084"/>
                <a:gd name="connsiteX3982" fmla="*/ 1846279 w 6689088"/>
                <a:gd name="connsiteY3982" fmla="*/ 377607 h 6689084"/>
                <a:gd name="connsiteX3983" fmla="*/ 1999864 w 6689088"/>
                <a:gd name="connsiteY3983" fmla="*/ 376151 h 6689084"/>
                <a:gd name="connsiteX3984" fmla="*/ 2007126 w 6689088"/>
                <a:gd name="connsiteY3984" fmla="*/ 383412 h 6689084"/>
                <a:gd name="connsiteX3985" fmla="*/ 1999864 w 6689088"/>
                <a:gd name="connsiteY3985" fmla="*/ 390674 h 6689084"/>
                <a:gd name="connsiteX3986" fmla="*/ 1992602 w 6689088"/>
                <a:gd name="connsiteY3986" fmla="*/ 383412 h 6689084"/>
                <a:gd name="connsiteX3987" fmla="*/ 1999864 w 6689088"/>
                <a:gd name="connsiteY3987" fmla="*/ 376151 h 6689084"/>
                <a:gd name="connsiteX3988" fmla="*/ 2153808 w 6689088"/>
                <a:gd name="connsiteY3988" fmla="*/ 374336 h 6689084"/>
                <a:gd name="connsiteX3989" fmla="*/ 2162888 w 6689088"/>
                <a:gd name="connsiteY3989" fmla="*/ 383412 h 6689084"/>
                <a:gd name="connsiteX3990" fmla="*/ 2153808 w 6689088"/>
                <a:gd name="connsiteY3990" fmla="*/ 392492 h 6689084"/>
                <a:gd name="connsiteX3991" fmla="*/ 2144731 w 6689088"/>
                <a:gd name="connsiteY3991" fmla="*/ 383412 h 6689084"/>
                <a:gd name="connsiteX3992" fmla="*/ 2153808 w 6689088"/>
                <a:gd name="connsiteY3992" fmla="*/ 374336 h 6689084"/>
                <a:gd name="connsiteX3993" fmla="*/ 2307393 w 6689088"/>
                <a:gd name="connsiteY3993" fmla="*/ 373246 h 6689084"/>
                <a:gd name="connsiteX3994" fmla="*/ 2317559 w 6689088"/>
                <a:gd name="connsiteY3994" fmla="*/ 383412 h 6689084"/>
                <a:gd name="connsiteX3995" fmla="*/ 2307393 w 6689088"/>
                <a:gd name="connsiteY3995" fmla="*/ 393579 h 6689084"/>
                <a:gd name="connsiteX3996" fmla="*/ 2297226 w 6689088"/>
                <a:gd name="connsiteY3996" fmla="*/ 383412 h 6689084"/>
                <a:gd name="connsiteX3997" fmla="*/ 2307393 w 6689088"/>
                <a:gd name="connsiteY3997" fmla="*/ 373246 h 6689084"/>
                <a:gd name="connsiteX3998" fmla="*/ 2461340 w 6689088"/>
                <a:gd name="connsiteY3998" fmla="*/ 371432 h 6689084"/>
                <a:gd name="connsiteX3999" fmla="*/ 2473325 w 6689088"/>
                <a:gd name="connsiteY3999" fmla="*/ 383412 h 6689084"/>
                <a:gd name="connsiteX4000" fmla="*/ 2461340 w 6689088"/>
                <a:gd name="connsiteY4000" fmla="*/ 395397 h 6689084"/>
                <a:gd name="connsiteX4001" fmla="*/ 2449359 w 6689088"/>
                <a:gd name="connsiteY4001" fmla="*/ 383412 h 6689084"/>
                <a:gd name="connsiteX4002" fmla="*/ 2461340 w 6689088"/>
                <a:gd name="connsiteY4002" fmla="*/ 371432 h 6689084"/>
                <a:gd name="connsiteX4003" fmla="*/ 2614925 w 6689088"/>
                <a:gd name="connsiteY4003" fmla="*/ 369617 h 6689084"/>
                <a:gd name="connsiteX4004" fmla="*/ 2628721 w 6689088"/>
                <a:gd name="connsiteY4004" fmla="*/ 383416 h 6689084"/>
                <a:gd name="connsiteX4005" fmla="*/ 2614925 w 6689088"/>
                <a:gd name="connsiteY4005" fmla="*/ 397212 h 6689084"/>
                <a:gd name="connsiteX4006" fmla="*/ 2601126 w 6689088"/>
                <a:gd name="connsiteY4006" fmla="*/ 383416 h 6689084"/>
                <a:gd name="connsiteX4007" fmla="*/ 2614925 w 6689088"/>
                <a:gd name="connsiteY4007" fmla="*/ 369617 h 6689084"/>
                <a:gd name="connsiteX4008" fmla="*/ 2768873 w 6689088"/>
                <a:gd name="connsiteY4008" fmla="*/ 368165 h 6689084"/>
                <a:gd name="connsiteX4009" fmla="*/ 2784124 w 6689088"/>
                <a:gd name="connsiteY4009" fmla="*/ 383416 h 6689084"/>
                <a:gd name="connsiteX4010" fmla="*/ 2768873 w 6689088"/>
                <a:gd name="connsiteY4010" fmla="*/ 398664 h 6689084"/>
                <a:gd name="connsiteX4011" fmla="*/ 2753625 w 6689088"/>
                <a:gd name="connsiteY4011" fmla="*/ 383416 h 6689084"/>
                <a:gd name="connsiteX4012" fmla="*/ 2768873 w 6689088"/>
                <a:gd name="connsiteY4012" fmla="*/ 368165 h 6689084"/>
                <a:gd name="connsiteX4013" fmla="*/ 2922458 w 6689088"/>
                <a:gd name="connsiteY4013" fmla="*/ 366350 h 6689084"/>
                <a:gd name="connsiteX4014" fmla="*/ 2939524 w 6689088"/>
                <a:gd name="connsiteY4014" fmla="*/ 383416 h 6689084"/>
                <a:gd name="connsiteX4015" fmla="*/ 2922458 w 6689088"/>
                <a:gd name="connsiteY4015" fmla="*/ 400478 h 6689084"/>
                <a:gd name="connsiteX4016" fmla="*/ 2905392 w 6689088"/>
                <a:gd name="connsiteY4016" fmla="*/ 383416 h 6689084"/>
                <a:gd name="connsiteX4017" fmla="*/ 2922458 w 6689088"/>
                <a:gd name="connsiteY4017" fmla="*/ 366350 h 6689084"/>
                <a:gd name="connsiteX4018" fmla="*/ 3076406 w 6689088"/>
                <a:gd name="connsiteY4018" fmla="*/ 364170 h 6689084"/>
                <a:gd name="connsiteX4019" fmla="*/ 3095652 w 6689088"/>
                <a:gd name="connsiteY4019" fmla="*/ 383412 h 6689084"/>
                <a:gd name="connsiteX4020" fmla="*/ 3076406 w 6689088"/>
                <a:gd name="connsiteY4020" fmla="*/ 402659 h 6689084"/>
                <a:gd name="connsiteX4021" fmla="*/ 3057163 w 6689088"/>
                <a:gd name="connsiteY4021" fmla="*/ 383412 h 6689084"/>
                <a:gd name="connsiteX4022" fmla="*/ 3076406 w 6689088"/>
                <a:gd name="connsiteY4022" fmla="*/ 364170 h 6689084"/>
                <a:gd name="connsiteX4023" fmla="*/ 3230353 w 6689088"/>
                <a:gd name="connsiteY4023" fmla="*/ 361993 h 6689084"/>
                <a:gd name="connsiteX4024" fmla="*/ 3251776 w 6689088"/>
                <a:gd name="connsiteY4024" fmla="*/ 383416 h 6689084"/>
                <a:gd name="connsiteX4025" fmla="*/ 3230353 w 6689088"/>
                <a:gd name="connsiteY4025" fmla="*/ 404839 h 6689084"/>
                <a:gd name="connsiteX4026" fmla="*/ 3208930 w 6689088"/>
                <a:gd name="connsiteY4026" fmla="*/ 383416 h 6689084"/>
                <a:gd name="connsiteX4027" fmla="*/ 3230353 w 6689088"/>
                <a:gd name="connsiteY4027" fmla="*/ 361993 h 6689084"/>
                <a:gd name="connsiteX4028" fmla="*/ 3383938 w 6689088"/>
                <a:gd name="connsiteY4028" fmla="*/ 360541 h 6689084"/>
                <a:gd name="connsiteX4029" fmla="*/ 3406810 w 6689088"/>
                <a:gd name="connsiteY4029" fmla="*/ 383416 h 6689084"/>
                <a:gd name="connsiteX4030" fmla="*/ 3383938 w 6689088"/>
                <a:gd name="connsiteY4030" fmla="*/ 406292 h 6689084"/>
                <a:gd name="connsiteX4031" fmla="*/ 3361063 w 6689088"/>
                <a:gd name="connsiteY4031" fmla="*/ 383416 h 6689084"/>
                <a:gd name="connsiteX4032" fmla="*/ 3383938 w 6689088"/>
                <a:gd name="connsiteY4032" fmla="*/ 360541 h 6689084"/>
                <a:gd name="connsiteX4033" fmla="*/ 3537882 w 6689088"/>
                <a:gd name="connsiteY4033" fmla="*/ 358361 h 6689084"/>
                <a:gd name="connsiteX4034" fmla="*/ 3562937 w 6689088"/>
                <a:gd name="connsiteY4034" fmla="*/ 383412 h 6689084"/>
                <a:gd name="connsiteX4035" fmla="*/ 3537882 w 6689088"/>
                <a:gd name="connsiteY4035" fmla="*/ 408468 h 6689084"/>
                <a:gd name="connsiteX4036" fmla="*/ 3512830 w 6689088"/>
                <a:gd name="connsiteY4036" fmla="*/ 383412 h 6689084"/>
                <a:gd name="connsiteX4037" fmla="*/ 3537882 w 6689088"/>
                <a:gd name="connsiteY4037" fmla="*/ 358361 h 6689084"/>
                <a:gd name="connsiteX4038" fmla="*/ 3691471 w 6689088"/>
                <a:gd name="connsiteY4038" fmla="*/ 356184 h 6689084"/>
                <a:gd name="connsiteX4039" fmla="*/ 3718699 w 6689088"/>
                <a:gd name="connsiteY4039" fmla="*/ 383416 h 6689084"/>
                <a:gd name="connsiteX4040" fmla="*/ 3691471 w 6689088"/>
                <a:gd name="connsiteY4040" fmla="*/ 410648 h 6689084"/>
                <a:gd name="connsiteX4041" fmla="*/ 3664238 w 6689088"/>
                <a:gd name="connsiteY4041" fmla="*/ 383416 h 6689084"/>
                <a:gd name="connsiteX4042" fmla="*/ 3691471 w 6689088"/>
                <a:gd name="connsiteY4042" fmla="*/ 356184 h 6689084"/>
                <a:gd name="connsiteX4043" fmla="*/ 3845418 w 6689088"/>
                <a:gd name="connsiteY4043" fmla="*/ 353642 h 6689084"/>
                <a:gd name="connsiteX4044" fmla="*/ 3875189 w 6689088"/>
                <a:gd name="connsiteY4044" fmla="*/ 383416 h 6689084"/>
                <a:gd name="connsiteX4045" fmla="*/ 3845418 w 6689088"/>
                <a:gd name="connsiteY4045" fmla="*/ 413187 h 6689084"/>
                <a:gd name="connsiteX4046" fmla="*/ 3815644 w 6689088"/>
                <a:gd name="connsiteY4046" fmla="*/ 383416 h 6689084"/>
                <a:gd name="connsiteX4047" fmla="*/ 3845418 w 6689088"/>
                <a:gd name="connsiteY4047" fmla="*/ 353642 h 6689084"/>
                <a:gd name="connsiteX4048" fmla="*/ 3999000 w 6689088"/>
                <a:gd name="connsiteY4048" fmla="*/ 351465 h 6689084"/>
                <a:gd name="connsiteX4049" fmla="*/ 4030951 w 6689088"/>
                <a:gd name="connsiteY4049" fmla="*/ 383416 h 6689084"/>
                <a:gd name="connsiteX4050" fmla="*/ 3999000 w 6689088"/>
                <a:gd name="connsiteY4050" fmla="*/ 415368 h 6689084"/>
                <a:gd name="connsiteX4051" fmla="*/ 3967048 w 6689088"/>
                <a:gd name="connsiteY4051" fmla="*/ 383416 h 6689084"/>
                <a:gd name="connsiteX4052" fmla="*/ 3999000 w 6689088"/>
                <a:gd name="connsiteY4052" fmla="*/ 351465 h 6689084"/>
                <a:gd name="connsiteX4053" fmla="*/ 4152947 w 6689088"/>
                <a:gd name="connsiteY4053" fmla="*/ 349647 h 6689084"/>
                <a:gd name="connsiteX4054" fmla="*/ 4186716 w 6689088"/>
                <a:gd name="connsiteY4054" fmla="*/ 383412 h 6689084"/>
                <a:gd name="connsiteX4055" fmla="*/ 4152947 w 6689088"/>
                <a:gd name="connsiteY4055" fmla="*/ 417182 h 6689084"/>
                <a:gd name="connsiteX4056" fmla="*/ 4119181 w 6689088"/>
                <a:gd name="connsiteY4056" fmla="*/ 383412 h 6689084"/>
                <a:gd name="connsiteX4057" fmla="*/ 4152947 w 6689088"/>
                <a:gd name="connsiteY4057" fmla="*/ 349647 h 6689084"/>
                <a:gd name="connsiteX4058" fmla="*/ 4306532 w 6689088"/>
                <a:gd name="connsiteY4058" fmla="*/ 347108 h 6689084"/>
                <a:gd name="connsiteX4059" fmla="*/ 4342840 w 6689088"/>
                <a:gd name="connsiteY4059" fmla="*/ 383416 h 6689084"/>
                <a:gd name="connsiteX4060" fmla="*/ 4306532 w 6689088"/>
                <a:gd name="connsiteY4060" fmla="*/ 419725 h 6689084"/>
                <a:gd name="connsiteX4061" fmla="*/ 4270224 w 6689088"/>
                <a:gd name="connsiteY4061" fmla="*/ 383416 h 6689084"/>
                <a:gd name="connsiteX4062" fmla="*/ 4306532 w 6689088"/>
                <a:gd name="connsiteY4062" fmla="*/ 347108 h 6689084"/>
                <a:gd name="connsiteX4063" fmla="*/ 4460480 w 6689088"/>
                <a:gd name="connsiteY4063" fmla="*/ 344565 h 6689084"/>
                <a:gd name="connsiteX4064" fmla="*/ 4499326 w 6689088"/>
                <a:gd name="connsiteY4064" fmla="*/ 383416 h 6689084"/>
                <a:gd name="connsiteX4065" fmla="*/ 4460480 w 6689088"/>
                <a:gd name="connsiteY4065" fmla="*/ 422267 h 6689084"/>
                <a:gd name="connsiteX4066" fmla="*/ 4421629 w 6689088"/>
                <a:gd name="connsiteY4066" fmla="*/ 383416 h 6689084"/>
                <a:gd name="connsiteX4067" fmla="*/ 4460480 w 6689088"/>
                <a:gd name="connsiteY4067" fmla="*/ 344565 h 6689084"/>
                <a:gd name="connsiteX4068" fmla="*/ 4614061 w 6689088"/>
                <a:gd name="connsiteY4068" fmla="*/ 342385 h 6689084"/>
                <a:gd name="connsiteX4069" fmla="*/ 4655092 w 6689088"/>
                <a:gd name="connsiteY4069" fmla="*/ 383412 h 6689084"/>
                <a:gd name="connsiteX4070" fmla="*/ 4614061 w 6689088"/>
                <a:gd name="connsiteY4070" fmla="*/ 424440 h 6689084"/>
                <a:gd name="connsiteX4071" fmla="*/ 4573034 w 6689088"/>
                <a:gd name="connsiteY4071" fmla="*/ 383412 h 6689084"/>
                <a:gd name="connsiteX4072" fmla="*/ 4614061 w 6689088"/>
                <a:gd name="connsiteY4072" fmla="*/ 342385 h 6689084"/>
                <a:gd name="connsiteX4073" fmla="*/ 4768008 w 6689088"/>
                <a:gd name="connsiteY4073" fmla="*/ 339842 h 6689084"/>
                <a:gd name="connsiteX4074" fmla="*/ 4811578 w 6689088"/>
                <a:gd name="connsiteY4074" fmla="*/ 383412 h 6689084"/>
                <a:gd name="connsiteX4075" fmla="*/ 4768008 w 6689088"/>
                <a:gd name="connsiteY4075" fmla="*/ 426982 h 6689084"/>
                <a:gd name="connsiteX4076" fmla="*/ 4724438 w 6689088"/>
                <a:gd name="connsiteY4076" fmla="*/ 383412 h 6689084"/>
                <a:gd name="connsiteX4077" fmla="*/ 4768008 w 6689088"/>
                <a:gd name="connsiteY4077" fmla="*/ 339842 h 6689084"/>
                <a:gd name="connsiteX4078" fmla="*/ 4921598 w 6689088"/>
                <a:gd name="connsiteY4078" fmla="*/ 337304 h 6689084"/>
                <a:gd name="connsiteX4079" fmla="*/ 4967710 w 6689088"/>
                <a:gd name="connsiteY4079" fmla="*/ 383416 h 6689084"/>
                <a:gd name="connsiteX4080" fmla="*/ 4921598 w 6689088"/>
                <a:gd name="connsiteY4080" fmla="*/ 429529 h 6689084"/>
                <a:gd name="connsiteX4081" fmla="*/ 4875485 w 6689088"/>
                <a:gd name="connsiteY4081" fmla="*/ 383416 h 6689084"/>
                <a:gd name="connsiteX4082" fmla="*/ 4921598 w 6689088"/>
                <a:gd name="connsiteY4082" fmla="*/ 337304 h 6689084"/>
                <a:gd name="connsiteX4083" fmla="*/ 5075545 w 6689088"/>
                <a:gd name="connsiteY4083" fmla="*/ 334761 h 6689084"/>
                <a:gd name="connsiteX4084" fmla="*/ 5124196 w 6689088"/>
                <a:gd name="connsiteY4084" fmla="*/ 383416 h 6689084"/>
                <a:gd name="connsiteX4085" fmla="*/ 5075545 w 6689088"/>
                <a:gd name="connsiteY4085" fmla="*/ 432068 h 6689084"/>
                <a:gd name="connsiteX4086" fmla="*/ 5026890 w 6689088"/>
                <a:gd name="connsiteY4086" fmla="*/ 383416 h 6689084"/>
                <a:gd name="connsiteX4087" fmla="*/ 5075545 w 6689088"/>
                <a:gd name="connsiteY4087" fmla="*/ 334761 h 6689084"/>
                <a:gd name="connsiteX4088" fmla="*/ 5229126 w 6689088"/>
                <a:gd name="connsiteY4088" fmla="*/ 332219 h 6689084"/>
                <a:gd name="connsiteX4089" fmla="*/ 5280324 w 6689088"/>
                <a:gd name="connsiteY4089" fmla="*/ 383412 h 6689084"/>
                <a:gd name="connsiteX4090" fmla="*/ 5229126 w 6689088"/>
                <a:gd name="connsiteY4090" fmla="*/ 434610 h 6689084"/>
                <a:gd name="connsiteX4091" fmla="*/ 5177932 w 6689088"/>
                <a:gd name="connsiteY4091" fmla="*/ 383412 h 6689084"/>
                <a:gd name="connsiteX4092" fmla="*/ 5229126 w 6689088"/>
                <a:gd name="connsiteY4092" fmla="*/ 332219 h 6689084"/>
                <a:gd name="connsiteX4093" fmla="*/ 5383074 w 6689088"/>
                <a:gd name="connsiteY4093" fmla="*/ 330042 h 6689084"/>
                <a:gd name="connsiteX4094" fmla="*/ 5436448 w 6689088"/>
                <a:gd name="connsiteY4094" fmla="*/ 383416 h 6689084"/>
                <a:gd name="connsiteX4095" fmla="*/ 5383074 w 6689088"/>
                <a:gd name="connsiteY4095" fmla="*/ 436787 h 6689084"/>
                <a:gd name="connsiteX4096" fmla="*/ 5329700 w 6689088"/>
                <a:gd name="connsiteY4096" fmla="*/ 383416 h 6689084"/>
                <a:gd name="connsiteX4097" fmla="*/ 5383074 w 6689088"/>
                <a:gd name="connsiteY4097" fmla="*/ 330042 h 6689084"/>
                <a:gd name="connsiteX4098" fmla="*/ 5536659 w 6689088"/>
                <a:gd name="connsiteY4098" fmla="*/ 327137 h 6689084"/>
                <a:gd name="connsiteX4099" fmla="*/ 5592938 w 6689088"/>
                <a:gd name="connsiteY4099" fmla="*/ 383416 h 6689084"/>
                <a:gd name="connsiteX4100" fmla="*/ 5536659 w 6689088"/>
                <a:gd name="connsiteY4100" fmla="*/ 439691 h 6689084"/>
                <a:gd name="connsiteX4101" fmla="*/ 5480380 w 6689088"/>
                <a:gd name="connsiteY4101" fmla="*/ 383416 h 6689084"/>
                <a:gd name="connsiteX4102" fmla="*/ 5536659 w 6689088"/>
                <a:gd name="connsiteY4102" fmla="*/ 327137 h 6689084"/>
                <a:gd name="connsiteX4103" fmla="*/ 5690606 w 6689088"/>
                <a:gd name="connsiteY4103" fmla="*/ 324595 h 6689084"/>
                <a:gd name="connsiteX4104" fmla="*/ 5749424 w 6689088"/>
                <a:gd name="connsiteY4104" fmla="*/ 383416 h 6689084"/>
                <a:gd name="connsiteX4105" fmla="*/ 5690606 w 6689088"/>
                <a:gd name="connsiteY4105" fmla="*/ 442234 h 6689084"/>
                <a:gd name="connsiteX4106" fmla="*/ 5631785 w 6689088"/>
                <a:gd name="connsiteY4106" fmla="*/ 383416 h 6689084"/>
                <a:gd name="connsiteX4107" fmla="*/ 5690606 w 6689088"/>
                <a:gd name="connsiteY4107" fmla="*/ 324595 h 6689084"/>
                <a:gd name="connsiteX4108" fmla="*/ 5844554 w 6689088"/>
                <a:gd name="connsiteY4108" fmla="*/ 321690 h 6689084"/>
                <a:gd name="connsiteX4109" fmla="*/ 5906276 w 6689088"/>
                <a:gd name="connsiteY4109" fmla="*/ 383416 h 6689084"/>
                <a:gd name="connsiteX4110" fmla="*/ 5844554 w 6689088"/>
                <a:gd name="connsiteY4110" fmla="*/ 445139 h 6689084"/>
                <a:gd name="connsiteX4111" fmla="*/ 5782828 w 6689088"/>
                <a:gd name="connsiteY4111" fmla="*/ 383416 h 6689084"/>
                <a:gd name="connsiteX4112" fmla="*/ 5844554 w 6689088"/>
                <a:gd name="connsiteY4112" fmla="*/ 321690 h 6689084"/>
                <a:gd name="connsiteX4113" fmla="*/ 5998136 w 6689088"/>
                <a:gd name="connsiteY4113" fmla="*/ 319148 h 6689084"/>
                <a:gd name="connsiteX4114" fmla="*/ 6062404 w 6689088"/>
                <a:gd name="connsiteY4114" fmla="*/ 383412 h 6689084"/>
                <a:gd name="connsiteX4115" fmla="*/ 5998136 w 6689088"/>
                <a:gd name="connsiteY4115" fmla="*/ 447681 h 6689084"/>
                <a:gd name="connsiteX4116" fmla="*/ 5933870 w 6689088"/>
                <a:gd name="connsiteY4116" fmla="*/ 383412 h 6689084"/>
                <a:gd name="connsiteX4117" fmla="*/ 5998136 w 6689088"/>
                <a:gd name="connsiteY4117" fmla="*/ 319148 h 6689084"/>
                <a:gd name="connsiteX4118" fmla="*/ 6152086 w 6689088"/>
                <a:gd name="connsiteY4118" fmla="*/ 315881 h 6689084"/>
                <a:gd name="connsiteX4119" fmla="*/ 6219618 w 6689088"/>
                <a:gd name="connsiteY4119" fmla="*/ 383416 h 6689084"/>
                <a:gd name="connsiteX4120" fmla="*/ 6152086 w 6689088"/>
                <a:gd name="connsiteY4120" fmla="*/ 450948 h 6689084"/>
                <a:gd name="connsiteX4121" fmla="*/ 6084551 w 6689088"/>
                <a:gd name="connsiteY4121" fmla="*/ 383416 h 6689084"/>
                <a:gd name="connsiteX4122" fmla="*/ 6152086 w 6689088"/>
                <a:gd name="connsiteY4122" fmla="*/ 315881 h 6689084"/>
                <a:gd name="connsiteX4123" fmla="*/ 6305668 w 6689088"/>
                <a:gd name="connsiteY4123" fmla="*/ 313338 h 6689084"/>
                <a:gd name="connsiteX4124" fmla="*/ 6375746 w 6689088"/>
                <a:gd name="connsiteY4124" fmla="*/ 383412 h 6689084"/>
                <a:gd name="connsiteX4125" fmla="*/ 6305668 w 6689088"/>
                <a:gd name="connsiteY4125" fmla="*/ 453490 h 6689084"/>
                <a:gd name="connsiteX4126" fmla="*/ 6235594 w 6689088"/>
                <a:gd name="connsiteY4126" fmla="*/ 383412 h 6689084"/>
                <a:gd name="connsiteX4127" fmla="*/ 6305668 w 6689088"/>
                <a:gd name="connsiteY4127" fmla="*/ 313338 h 6689084"/>
                <a:gd name="connsiteX4128" fmla="*/ 6459616 w 6689088"/>
                <a:gd name="connsiteY4128" fmla="*/ 310434 h 6689084"/>
                <a:gd name="connsiteX4129" fmla="*/ 6532598 w 6689088"/>
                <a:gd name="connsiteY4129" fmla="*/ 383412 h 6689084"/>
                <a:gd name="connsiteX4130" fmla="*/ 6459616 w 6689088"/>
                <a:gd name="connsiteY4130" fmla="*/ 456395 h 6689084"/>
                <a:gd name="connsiteX4131" fmla="*/ 6386636 w 6689088"/>
                <a:gd name="connsiteY4131" fmla="*/ 383412 h 6689084"/>
                <a:gd name="connsiteX4132" fmla="*/ 6459616 w 6689088"/>
                <a:gd name="connsiteY4132" fmla="*/ 310434 h 6689084"/>
                <a:gd name="connsiteX4133" fmla="*/ 6613200 w 6689088"/>
                <a:gd name="connsiteY4133" fmla="*/ 307891 h 6689084"/>
                <a:gd name="connsiteX4134" fmla="*/ 6688722 w 6689088"/>
                <a:gd name="connsiteY4134" fmla="*/ 383412 h 6689084"/>
                <a:gd name="connsiteX4135" fmla="*/ 6613200 w 6689088"/>
                <a:gd name="connsiteY4135" fmla="*/ 458934 h 6689084"/>
                <a:gd name="connsiteX4136" fmla="*/ 6537680 w 6689088"/>
                <a:gd name="connsiteY4136" fmla="*/ 383412 h 6689084"/>
                <a:gd name="connsiteX4137" fmla="*/ 6613200 w 6689088"/>
                <a:gd name="connsiteY4137" fmla="*/ 307891 h 6689084"/>
                <a:gd name="connsiteX4138" fmla="*/ 923681 w 6689088"/>
                <a:gd name="connsiteY4138" fmla="*/ 229469 h 6689084"/>
                <a:gd name="connsiteX4139" fmla="*/ 924043 w 6689088"/>
                <a:gd name="connsiteY4139" fmla="*/ 229831 h 6689084"/>
                <a:gd name="connsiteX4140" fmla="*/ 923681 w 6689088"/>
                <a:gd name="connsiteY4140" fmla="*/ 230193 h 6689084"/>
                <a:gd name="connsiteX4141" fmla="*/ 923319 w 6689088"/>
                <a:gd name="connsiteY4141" fmla="*/ 229831 h 6689084"/>
                <a:gd name="connsiteX4142" fmla="*/ 923681 w 6689088"/>
                <a:gd name="connsiteY4142" fmla="*/ 229469 h 6689084"/>
                <a:gd name="connsiteX4143" fmla="*/ 462205 w 6689088"/>
                <a:gd name="connsiteY4143" fmla="*/ 229469 h 6689084"/>
                <a:gd name="connsiteX4144" fmla="*/ 462567 w 6689088"/>
                <a:gd name="connsiteY4144" fmla="*/ 229831 h 6689084"/>
                <a:gd name="connsiteX4145" fmla="*/ 462205 w 6689088"/>
                <a:gd name="connsiteY4145" fmla="*/ 230193 h 6689084"/>
                <a:gd name="connsiteX4146" fmla="*/ 461842 w 6689088"/>
                <a:gd name="connsiteY4146" fmla="*/ 229831 h 6689084"/>
                <a:gd name="connsiteX4147" fmla="*/ 462205 w 6689088"/>
                <a:gd name="connsiteY4147" fmla="*/ 229469 h 6689084"/>
                <a:gd name="connsiteX4148" fmla="*/ 308257 w 6689088"/>
                <a:gd name="connsiteY4148" fmla="*/ 229469 h 6689084"/>
                <a:gd name="connsiteX4149" fmla="*/ 308619 w 6689088"/>
                <a:gd name="connsiteY4149" fmla="*/ 229831 h 6689084"/>
                <a:gd name="connsiteX4150" fmla="*/ 308257 w 6689088"/>
                <a:gd name="connsiteY4150" fmla="*/ 230193 h 6689084"/>
                <a:gd name="connsiteX4151" fmla="*/ 307895 w 6689088"/>
                <a:gd name="connsiteY4151" fmla="*/ 229831 h 6689084"/>
                <a:gd name="connsiteX4152" fmla="*/ 308257 w 6689088"/>
                <a:gd name="connsiteY4152" fmla="*/ 229469 h 6689084"/>
                <a:gd name="connsiteX4153" fmla="*/ 154676 w 6689088"/>
                <a:gd name="connsiteY4153" fmla="*/ 229103 h 6689084"/>
                <a:gd name="connsiteX4154" fmla="*/ 155400 w 6689088"/>
                <a:gd name="connsiteY4154" fmla="*/ 229827 h 6689084"/>
                <a:gd name="connsiteX4155" fmla="*/ 154676 w 6689088"/>
                <a:gd name="connsiteY4155" fmla="*/ 230555 h 6689084"/>
                <a:gd name="connsiteX4156" fmla="*/ 153948 w 6689088"/>
                <a:gd name="connsiteY4156" fmla="*/ 229827 h 6689084"/>
                <a:gd name="connsiteX4157" fmla="*/ 154676 w 6689088"/>
                <a:gd name="connsiteY4157" fmla="*/ 229103 h 6689084"/>
                <a:gd name="connsiteX4158" fmla="*/ 725 w 6689088"/>
                <a:gd name="connsiteY4158" fmla="*/ 229103 h 6689084"/>
                <a:gd name="connsiteX4159" fmla="*/ 1453 w 6689088"/>
                <a:gd name="connsiteY4159" fmla="*/ 229827 h 6689084"/>
                <a:gd name="connsiteX4160" fmla="*/ 725 w 6689088"/>
                <a:gd name="connsiteY4160" fmla="*/ 230555 h 6689084"/>
                <a:gd name="connsiteX4161" fmla="*/ 0 w 6689088"/>
                <a:gd name="connsiteY4161" fmla="*/ 229827 h 6689084"/>
                <a:gd name="connsiteX4162" fmla="*/ 725 w 6689088"/>
                <a:gd name="connsiteY4162" fmla="*/ 229103 h 6689084"/>
                <a:gd name="connsiteX4163" fmla="*/ 1077266 w 6689088"/>
                <a:gd name="connsiteY4163" fmla="*/ 228379 h 6689084"/>
                <a:gd name="connsiteX4164" fmla="*/ 1078718 w 6689088"/>
                <a:gd name="connsiteY4164" fmla="*/ 229831 h 6689084"/>
                <a:gd name="connsiteX4165" fmla="*/ 1077266 w 6689088"/>
                <a:gd name="connsiteY4165" fmla="*/ 231283 h 6689084"/>
                <a:gd name="connsiteX4166" fmla="*/ 1075814 w 6689088"/>
                <a:gd name="connsiteY4166" fmla="*/ 229831 h 6689084"/>
                <a:gd name="connsiteX4167" fmla="*/ 1077266 w 6689088"/>
                <a:gd name="connsiteY4167" fmla="*/ 228379 h 6689084"/>
                <a:gd name="connsiteX4168" fmla="*/ 1231217 w 6689088"/>
                <a:gd name="connsiteY4168" fmla="*/ 227651 h 6689084"/>
                <a:gd name="connsiteX4169" fmla="*/ 1233394 w 6689088"/>
                <a:gd name="connsiteY4169" fmla="*/ 229827 h 6689084"/>
                <a:gd name="connsiteX4170" fmla="*/ 1231217 w 6689088"/>
                <a:gd name="connsiteY4170" fmla="*/ 232008 h 6689084"/>
                <a:gd name="connsiteX4171" fmla="*/ 1229037 w 6689088"/>
                <a:gd name="connsiteY4171" fmla="*/ 229827 h 6689084"/>
                <a:gd name="connsiteX4172" fmla="*/ 1231217 w 6689088"/>
                <a:gd name="connsiteY4172" fmla="*/ 227651 h 6689084"/>
                <a:gd name="connsiteX4173" fmla="*/ 1384799 w 6689088"/>
                <a:gd name="connsiteY4173" fmla="*/ 226560 h 6689084"/>
                <a:gd name="connsiteX4174" fmla="*/ 1388069 w 6689088"/>
                <a:gd name="connsiteY4174" fmla="*/ 229827 h 6689084"/>
                <a:gd name="connsiteX4175" fmla="*/ 1384799 w 6689088"/>
                <a:gd name="connsiteY4175" fmla="*/ 233098 h 6689084"/>
                <a:gd name="connsiteX4176" fmla="*/ 1381532 w 6689088"/>
                <a:gd name="connsiteY4176" fmla="*/ 229827 h 6689084"/>
                <a:gd name="connsiteX4177" fmla="*/ 1384799 w 6689088"/>
                <a:gd name="connsiteY4177" fmla="*/ 226560 h 6689084"/>
                <a:gd name="connsiteX4178" fmla="*/ 1538746 w 6689088"/>
                <a:gd name="connsiteY4178" fmla="*/ 225108 h 6689084"/>
                <a:gd name="connsiteX4179" fmla="*/ 1543103 w 6689088"/>
                <a:gd name="connsiteY4179" fmla="*/ 229465 h 6689084"/>
                <a:gd name="connsiteX4180" fmla="*/ 1538746 w 6689088"/>
                <a:gd name="connsiteY4180" fmla="*/ 233822 h 6689084"/>
                <a:gd name="connsiteX4181" fmla="*/ 1534389 w 6689088"/>
                <a:gd name="connsiteY4181" fmla="*/ 229465 h 6689084"/>
                <a:gd name="connsiteX4182" fmla="*/ 1538746 w 6689088"/>
                <a:gd name="connsiteY4182" fmla="*/ 225108 h 6689084"/>
                <a:gd name="connsiteX4183" fmla="*/ 1692331 w 6689088"/>
                <a:gd name="connsiteY4183" fmla="*/ 224022 h 6689084"/>
                <a:gd name="connsiteX4184" fmla="*/ 1698141 w 6689088"/>
                <a:gd name="connsiteY4184" fmla="*/ 229831 h 6689084"/>
                <a:gd name="connsiteX4185" fmla="*/ 1692331 w 6689088"/>
                <a:gd name="connsiteY4185" fmla="*/ 235640 h 6689084"/>
                <a:gd name="connsiteX4186" fmla="*/ 1686522 w 6689088"/>
                <a:gd name="connsiteY4186" fmla="*/ 229831 h 6689084"/>
                <a:gd name="connsiteX4187" fmla="*/ 1692331 w 6689088"/>
                <a:gd name="connsiteY4187" fmla="*/ 224022 h 6689084"/>
                <a:gd name="connsiteX4188" fmla="*/ 1846279 w 6689088"/>
                <a:gd name="connsiteY4188" fmla="*/ 222569 h 6689084"/>
                <a:gd name="connsiteX4189" fmla="*/ 1853540 w 6689088"/>
                <a:gd name="connsiteY4189" fmla="*/ 229831 h 6689084"/>
                <a:gd name="connsiteX4190" fmla="*/ 1846279 w 6689088"/>
                <a:gd name="connsiteY4190" fmla="*/ 237093 h 6689084"/>
                <a:gd name="connsiteX4191" fmla="*/ 1839017 w 6689088"/>
                <a:gd name="connsiteY4191" fmla="*/ 229831 h 6689084"/>
                <a:gd name="connsiteX4192" fmla="*/ 1846279 w 6689088"/>
                <a:gd name="connsiteY4192" fmla="*/ 222569 h 6689084"/>
                <a:gd name="connsiteX4193" fmla="*/ 1999860 w 6689088"/>
                <a:gd name="connsiteY4193" fmla="*/ 220389 h 6689084"/>
                <a:gd name="connsiteX4194" fmla="*/ 2008940 w 6689088"/>
                <a:gd name="connsiteY4194" fmla="*/ 229465 h 6689084"/>
                <a:gd name="connsiteX4195" fmla="*/ 1999860 w 6689088"/>
                <a:gd name="connsiteY4195" fmla="*/ 238545 h 6689084"/>
                <a:gd name="connsiteX4196" fmla="*/ 1990784 w 6689088"/>
                <a:gd name="connsiteY4196" fmla="*/ 229465 h 6689084"/>
                <a:gd name="connsiteX4197" fmla="*/ 1999860 w 6689088"/>
                <a:gd name="connsiteY4197" fmla="*/ 220389 h 6689084"/>
                <a:gd name="connsiteX4198" fmla="*/ 2153811 w 6689088"/>
                <a:gd name="connsiteY4198" fmla="*/ 219665 h 6689084"/>
                <a:gd name="connsiteX4199" fmla="*/ 2163978 w 6689088"/>
                <a:gd name="connsiteY4199" fmla="*/ 229831 h 6689084"/>
                <a:gd name="connsiteX4200" fmla="*/ 2153811 w 6689088"/>
                <a:gd name="connsiteY4200" fmla="*/ 239997 h 6689084"/>
                <a:gd name="connsiteX4201" fmla="*/ 2143645 w 6689088"/>
                <a:gd name="connsiteY4201" fmla="*/ 229831 h 6689084"/>
                <a:gd name="connsiteX4202" fmla="*/ 2153811 w 6689088"/>
                <a:gd name="connsiteY4202" fmla="*/ 219665 h 6689084"/>
                <a:gd name="connsiteX4203" fmla="*/ 2307393 w 6689088"/>
                <a:gd name="connsiteY4203" fmla="*/ 217484 h 6689084"/>
                <a:gd name="connsiteX4204" fmla="*/ 2319377 w 6689088"/>
                <a:gd name="connsiteY4204" fmla="*/ 229465 h 6689084"/>
                <a:gd name="connsiteX4205" fmla="*/ 2307393 w 6689088"/>
                <a:gd name="connsiteY4205" fmla="*/ 241450 h 6689084"/>
                <a:gd name="connsiteX4206" fmla="*/ 2295412 w 6689088"/>
                <a:gd name="connsiteY4206" fmla="*/ 229465 h 6689084"/>
                <a:gd name="connsiteX4207" fmla="*/ 2307393 w 6689088"/>
                <a:gd name="connsiteY4207" fmla="*/ 217484 h 6689084"/>
                <a:gd name="connsiteX4208" fmla="*/ 2461344 w 6689088"/>
                <a:gd name="connsiteY4208" fmla="*/ 215670 h 6689084"/>
                <a:gd name="connsiteX4209" fmla="*/ 2475139 w 6689088"/>
                <a:gd name="connsiteY4209" fmla="*/ 229469 h 6689084"/>
                <a:gd name="connsiteX4210" fmla="*/ 2461344 w 6689088"/>
                <a:gd name="connsiteY4210" fmla="*/ 243264 h 6689084"/>
                <a:gd name="connsiteX4211" fmla="*/ 2447545 w 6689088"/>
                <a:gd name="connsiteY4211" fmla="*/ 229469 h 6689084"/>
                <a:gd name="connsiteX4212" fmla="*/ 2461344 w 6689088"/>
                <a:gd name="connsiteY4212" fmla="*/ 215670 h 6689084"/>
                <a:gd name="connsiteX4213" fmla="*/ 2614925 w 6689088"/>
                <a:gd name="connsiteY4213" fmla="*/ 214580 h 6689084"/>
                <a:gd name="connsiteX4214" fmla="*/ 2630177 w 6689088"/>
                <a:gd name="connsiteY4214" fmla="*/ 229827 h 6689084"/>
                <a:gd name="connsiteX4215" fmla="*/ 2614925 w 6689088"/>
                <a:gd name="connsiteY4215" fmla="*/ 245079 h 6689084"/>
                <a:gd name="connsiteX4216" fmla="*/ 2599678 w 6689088"/>
                <a:gd name="connsiteY4216" fmla="*/ 229827 h 6689084"/>
                <a:gd name="connsiteX4217" fmla="*/ 2614925 w 6689088"/>
                <a:gd name="connsiteY4217" fmla="*/ 214580 h 6689084"/>
                <a:gd name="connsiteX4218" fmla="*/ 2768873 w 6689088"/>
                <a:gd name="connsiteY4218" fmla="*/ 212765 h 6689084"/>
                <a:gd name="connsiteX4219" fmla="*/ 2785939 w 6689088"/>
                <a:gd name="connsiteY4219" fmla="*/ 229831 h 6689084"/>
                <a:gd name="connsiteX4220" fmla="*/ 2768873 w 6689088"/>
                <a:gd name="connsiteY4220" fmla="*/ 246897 h 6689084"/>
                <a:gd name="connsiteX4221" fmla="*/ 2751807 w 6689088"/>
                <a:gd name="connsiteY4221" fmla="*/ 229831 h 6689084"/>
                <a:gd name="connsiteX4222" fmla="*/ 2768873 w 6689088"/>
                <a:gd name="connsiteY4222" fmla="*/ 212765 h 6689084"/>
                <a:gd name="connsiteX4223" fmla="*/ 2922458 w 6689088"/>
                <a:gd name="connsiteY4223" fmla="*/ 210589 h 6689084"/>
                <a:gd name="connsiteX4224" fmla="*/ 2941700 w 6689088"/>
                <a:gd name="connsiteY4224" fmla="*/ 229831 h 6689084"/>
                <a:gd name="connsiteX4225" fmla="*/ 2922458 w 6689088"/>
                <a:gd name="connsiteY4225" fmla="*/ 249077 h 6689084"/>
                <a:gd name="connsiteX4226" fmla="*/ 2903216 w 6689088"/>
                <a:gd name="connsiteY4226" fmla="*/ 229831 h 6689084"/>
                <a:gd name="connsiteX4227" fmla="*/ 2922458 w 6689088"/>
                <a:gd name="connsiteY4227" fmla="*/ 210589 h 6689084"/>
                <a:gd name="connsiteX4228" fmla="*/ 3076406 w 6689088"/>
                <a:gd name="connsiteY4228" fmla="*/ 208408 h 6689084"/>
                <a:gd name="connsiteX4229" fmla="*/ 3097828 w 6689088"/>
                <a:gd name="connsiteY4229" fmla="*/ 229831 h 6689084"/>
                <a:gd name="connsiteX4230" fmla="*/ 3076406 w 6689088"/>
                <a:gd name="connsiteY4230" fmla="*/ 251254 h 6689084"/>
                <a:gd name="connsiteX4231" fmla="*/ 3054982 w 6689088"/>
                <a:gd name="connsiteY4231" fmla="*/ 229831 h 6689084"/>
                <a:gd name="connsiteX4232" fmla="*/ 3076406 w 6689088"/>
                <a:gd name="connsiteY4232" fmla="*/ 208408 h 6689084"/>
                <a:gd name="connsiteX4233" fmla="*/ 3230353 w 6689088"/>
                <a:gd name="connsiteY4233" fmla="*/ 206956 h 6689084"/>
                <a:gd name="connsiteX4234" fmla="*/ 3253228 w 6689088"/>
                <a:gd name="connsiteY4234" fmla="*/ 229831 h 6689084"/>
                <a:gd name="connsiteX4235" fmla="*/ 3230353 w 6689088"/>
                <a:gd name="connsiteY4235" fmla="*/ 252706 h 6689084"/>
                <a:gd name="connsiteX4236" fmla="*/ 3207478 w 6689088"/>
                <a:gd name="connsiteY4236" fmla="*/ 229831 h 6689084"/>
                <a:gd name="connsiteX4237" fmla="*/ 3230353 w 6689088"/>
                <a:gd name="connsiteY4237" fmla="*/ 206956 h 6689084"/>
                <a:gd name="connsiteX4238" fmla="*/ 3383934 w 6689088"/>
                <a:gd name="connsiteY4238" fmla="*/ 204779 h 6689084"/>
                <a:gd name="connsiteX4239" fmla="*/ 3408986 w 6689088"/>
                <a:gd name="connsiteY4239" fmla="*/ 229831 h 6689084"/>
                <a:gd name="connsiteX4240" fmla="*/ 3383934 w 6689088"/>
                <a:gd name="connsiteY4240" fmla="*/ 254887 h 6689084"/>
                <a:gd name="connsiteX4241" fmla="*/ 3358882 w 6689088"/>
                <a:gd name="connsiteY4241" fmla="*/ 229831 h 6689084"/>
                <a:gd name="connsiteX4242" fmla="*/ 3383934 w 6689088"/>
                <a:gd name="connsiteY4242" fmla="*/ 204779 h 6689084"/>
                <a:gd name="connsiteX4243" fmla="*/ 3537886 w 6689088"/>
                <a:gd name="connsiteY4243" fmla="*/ 202599 h 6689084"/>
                <a:gd name="connsiteX4244" fmla="*/ 3565118 w 6689088"/>
                <a:gd name="connsiteY4244" fmla="*/ 229831 h 6689084"/>
                <a:gd name="connsiteX4245" fmla="*/ 3537886 w 6689088"/>
                <a:gd name="connsiteY4245" fmla="*/ 257059 h 6689084"/>
                <a:gd name="connsiteX4246" fmla="*/ 3510653 w 6689088"/>
                <a:gd name="connsiteY4246" fmla="*/ 229831 h 6689084"/>
                <a:gd name="connsiteX4247" fmla="*/ 3537886 w 6689088"/>
                <a:gd name="connsiteY4247" fmla="*/ 202599 h 6689084"/>
                <a:gd name="connsiteX4248" fmla="*/ 3691467 w 6689088"/>
                <a:gd name="connsiteY4248" fmla="*/ 200056 h 6689084"/>
                <a:gd name="connsiteX4249" fmla="*/ 3721242 w 6689088"/>
                <a:gd name="connsiteY4249" fmla="*/ 229827 h 6689084"/>
                <a:gd name="connsiteX4250" fmla="*/ 3691467 w 6689088"/>
                <a:gd name="connsiteY4250" fmla="*/ 259602 h 6689084"/>
                <a:gd name="connsiteX4251" fmla="*/ 3661696 w 6689088"/>
                <a:gd name="connsiteY4251" fmla="*/ 229827 h 6689084"/>
                <a:gd name="connsiteX4252" fmla="*/ 3691467 w 6689088"/>
                <a:gd name="connsiteY4252" fmla="*/ 200056 h 6689084"/>
                <a:gd name="connsiteX4253" fmla="*/ 3845414 w 6689088"/>
                <a:gd name="connsiteY4253" fmla="*/ 197880 h 6689084"/>
                <a:gd name="connsiteX4254" fmla="*/ 3877366 w 6689088"/>
                <a:gd name="connsiteY4254" fmla="*/ 229831 h 6689084"/>
                <a:gd name="connsiteX4255" fmla="*/ 3845414 w 6689088"/>
                <a:gd name="connsiteY4255" fmla="*/ 261782 h 6689084"/>
                <a:gd name="connsiteX4256" fmla="*/ 3813463 w 6689088"/>
                <a:gd name="connsiteY4256" fmla="*/ 229831 h 6689084"/>
                <a:gd name="connsiteX4257" fmla="*/ 3845414 w 6689088"/>
                <a:gd name="connsiteY4257" fmla="*/ 197880 h 6689084"/>
                <a:gd name="connsiteX4258" fmla="*/ 3999000 w 6689088"/>
                <a:gd name="connsiteY4258" fmla="*/ 196065 h 6689084"/>
                <a:gd name="connsiteX4259" fmla="*/ 4032769 w 6689088"/>
                <a:gd name="connsiteY4259" fmla="*/ 229831 h 6689084"/>
                <a:gd name="connsiteX4260" fmla="*/ 3999000 w 6689088"/>
                <a:gd name="connsiteY4260" fmla="*/ 263597 h 6689084"/>
                <a:gd name="connsiteX4261" fmla="*/ 3965234 w 6689088"/>
                <a:gd name="connsiteY4261" fmla="*/ 229831 h 6689084"/>
                <a:gd name="connsiteX4262" fmla="*/ 3999000 w 6689088"/>
                <a:gd name="connsiteY4262" fmla="*/ 196065 h 6689084"/>
                <a:gd name="connsiteX4263" fmla="*/ 4152947 w 6689088"/>
                <a:gd name="connsiteY4263" fmla="*/ 193523 h 6689084"/>
                <a:gd name="connsiteX4264" fmla="*/ 4189256 w 6689088"/>
                <a:gd name="connsiteY4264" fmla="*/ 229831 h 6689084"/>
                <a:gd name="connsiteX4265" fmla="*/ 4152947 w 6689088"/>
                <a:gd name="connsiteY4265" fmla="*/ 266139 h 6689084"/>
                <a:gd name="connsiteX4266" fmla="*/ 4116638 w 6689088"/>
                <a:gd name="connsiteY4266" fmla="*/ 229831 h 6689084"/>
                <a:gd name="connsiteX4267" fmla="*/ 4152947 w 6689088"/>
                <a:gd name="connsiteY4267" fmla="*/ 193523 h 6689084"/>
                <a:gd name="connsiteX4268" fmla="*/ 4306532 w 6689088"/>
                <a:gd name="connsiteY4268" fmla="*/ 190618 h 6689084"/>
                <a:gd name="connsiteX4269" fmla="*/ 4345380 w 6689088"/>
                <a:gd name="connsiteY4269" fmla="*/ 229469 h 6689084"/>
                <a:gd name="connsiteX4270" fmla="*/ 4306532 w 6689088"/>
                <a:gd name="connsiteY4270" fmla="*/ 268316 h 6689084"/>
                <a:gd name="connsiteX4271" fmla="*/ 4267682 w 6689088"/>
                <a:gd name="connsiteY4271" fmla="*/ 229469 h 6689084"/>
                <a:gd name="connsiteX4272" fmla="*/ 4306532 w 6689088"/>
                <a:gd name="connsiteY4272" fmla="*/ 190618 h 6689084"/>
                <a:gd name="connsiteX4273" fmla="*/ 4460480 w 6689088"/>
                <a:gd name="connsiteY4273" fmla="*/ 188438 h 6689084"/>
                <a:gd name="connsiteX4274" fmla="*/ 4501511 w 6689088"/>
                <a:gd name="connsiteY4274" fmla="*/ 229465 h 6689084"/>
                <a:gd name="connsiteX4275" fmla="*/ 4460480 w 6689088"/>
                <a:gd name="connsiteY4275" fmla="*/ 270493 h 6689084"/>
                <a:gd name="connsiteX4276" fmla="*/ 4419452 w 6689088"/>
                <a:gd name="connsiteY4276" fmla="*/ 229465 h 6689084"/>
                <a:gd name="connsiteX4277" fmla="*/ 4460480 w 6689088"/>
                <a:gd name="connsiteY4277" fmla="*/ 188438 h 6689084"/>
                <a:gd name="connsiteX4278" fmla="*/ 4614065 w 6689088"/>
                <a:gd name="connsiteY4278" fmla="*/ 185895 h 6689084"/>
                <a:gd name="connsiteX4279" fmla="*/ 4657635 w 6689088"/>
                <a:gd name="connsiteY4279" fmla="*/ 229465 h 6689084"/>
                <a:gd name="connsiteX4280" fmla="*/ 4614065 w 6689088"/>
                <a:gd name="connsiteY4280" fmla="*/ 273035 h 6689084"/>
                <a:gd name="connsiteX4281" fmla="*/ 4570495 w 6689088"/>
                <a:gd name="connsiteY4281" fmla="*/ 229465 h 6689084"/>
                <a:gd name="connsiteX4282" fmla="*/ 4614065 w 6689088"/>
                <a:gd name="connsiteY4282" fmla="*/ 185895 h 6689084"/>
                <a:gd name="connsiteX4283" fmla="*/ 4768012 w 6689088"/>
                <a:gd name="connsiteY4283" fmla="*/ 183356 h 6689084"/>
                <a:gd name="connsiteX4284" fmla="*/ 4814125 w 6689088"/>
                <a:gd name="connsiteY4284" fmla="*/ 229469 h 6689084"/>
                <a:gd name="connsiteX4285" fmla="*/ 4768012 w 6689088"/>
                <a:gd name="connsiteY4285" fmla="*/ 275581 h 6689084"/>
                <a:gd name="connsiteX4286" fmla="*/ 4721900 w 6689088"/>
                <a:gd name="connsiteY4286" fmla="*/ 229469 h 6689084"/>
                <a:gd name="connsiteX4287" fmla="*/ 4768012 w 6689088"/>
                <a:gd name="connsiteY4287" fmla="*/ 183356 h 6689084"/>
                <a:gd name="connsiteX4288" fmla="*/ 4921594 w 6689088"/>
                <a:gd name="connsiteY4288" fmla="*/ 180814 h 6689084"/>
                <a:gd name="connsiteX4289" fmla="*/ 4970249 w 6689088"/>
                <a:gd name="connsiteY4289" fmla="*/ 229469 h 6689084"/>
                <a:gd name="connsiteX4290" fmla="*/ 4921594 w 6689088"/>
                <a:gd name="connsiteY4290" fmla="*/ 278120 h 6689084"/>
                <a:gd name="connsiteX4291" fmla="*/ 4872942 w 6689088"/>
                <a:gd name="connsiteY4291" fmla="*/ 229469 h 6689084"/>
                <a:gd name="connsiteX4292" fmla="*/ 4921594 w 6689088"/>
                <a:gd name="connsiteY4292" fmla="*/ 180814 h 6689084"/>
                <a:gd name="connsiteX4293" fmla="*/ 5075541 w 6689088"/>
                <a:gd name="connsiteY4293" fmla="*/ 178637 h 6689084"/>
                <a:gd name="connsiteX4294" fmla="*/ 5126735 w 6689088"/>
                <a:gd name="connsiteY4294" fmla="*/ 229831 h 6689084"/>
                <a:gd name="connsiteX4295" fmla="*/ 5075541 w 6689088"/>
                <a:gd name="connsiteY4295" fmla="*/ 281025 h 6689084"/>
                <a:gd name="connsiteX4296" fmla="*/ 5024348 w 6689088"/>
                <a:gd name="connsiteY4296" fmla="*/ 229831 h 6689084"/>
                <a:gd name="connsiteX4297" fmla="*/ 5075541 w 6689088"/>
                <a:gd name="connsiteY4297" fmla="*/ 178637 h 6689084"/>
                <a:gd name="connsiteX4298" fmla="*/ 5229126 w 6689088"/>
                <a:gd name="connsiteY4298" fmla="*/ 176095 h 6689084"/>
                <a:gd name="connsiteX4299" fmla="*/ 5282500 w 6689088"/>
                <a:gd name="connsiteY4299" fmla="*/ 229469 h 6689084"/>
                <a:gd name="connsiteX4300" fmla="*/ 5229126 w 6689088"/>
                <a:gd name="connsiteY4300" fmla="*/ 282843 h 6689084"/>
                <a:gd name="connsiteX4301" fmla="*/ 5175752 w 6689088"/>
                <a:gd name="connsiteY4301" fmla="*/ 229469 h 6689084"/>
                <a:gd name="connsiteX4302" fmla="*/ 5229126 w 6689088"/>
                <a:gd name="connsiteY4302" fmla="*/ 176095 h 6689084"/>
                <a:gd name="connsiteX4303" fmla="*/ 5383074 w 6689088"/>
                <a:gd name="connsiteY4303" fmla="*/ 173552 h 6689084"/>
                <a:gd name="connsiteX4304" fmla="*/ 5439352 w 6689088"/>
                <a:gd name="connsiteY4304" fmla="*/ 229831 h 6689084"/>
                <a:gd name="connsiteX4305" fmla="*/ 5383074 w 6689088"/>
                <a:gd name="connsiteY4305" fmla="*/ 286110 h 6689084"/>
                <a:gd name="connsiteX4306" fmla="*/ 5326795 w 6689088"/>
                <a:gd name="connsiteY4306" fmla="*/ 229831 h 6689084"/>
                <a:gd name="connsiteX4307" fmla="*/ 5383074 w 6689088"/>
                <a:gd name="connsiteY4307" fmla="*/ 173552 h 6689084"/>
                <a:gd name="connsiteX4308" fmla="*/ 5536659 w 6689088"/>
                <a:gd name="connsiteY4308" fmla="*/ 171010 h 6689084"/>
                <a:gd name="connsiteX4309" fmla="*/ 5595476 w 6689088"/>
                <a:gd name="connsiteY4309" fmla="*/ 229827 h 6689084"/>
                <a:gd name="connsiteX4310" fmla="*/ 5536659 w 6689088"/>
                <a:gd name="connsiteY4310" fmla="*/ 288649 h 6689084"/>
                <a:gd name="connsiteX4311" fmla="*/ 5477838 w 6689088"/>
                <a:gd name="connsiteY4311" fmla="*/ 229827 h 6689084"/>
                <a:gd name="connsiteX4312" fmla="*/ 5536659 w 6689088"/>
                <a:gd name="connsiteY4312" fmla="*/ 171010 h 6689084"/>
                <a:gd name="connsiteX4313" fmla="*/ 5690606 w 6689088"/>
                <a:gd name="connsiteY4313" fmla="*/ 168105 h 6689084"/>
                <a:gd name="connsiteX4314" fmla="*/ 5752329 w 6689088"/>
                <a:gd name="connsiteY4314" fmla="*/ 229827 h 6689084"/>
                <a:gd name="connsiteX4315" fmla="*/ 5690606 w 6689088"/>
                <a:gd name="connsiteY4315" fmla="*/ 291553 h 6689084"/>
                <a:gd name="connsiteX4316" fmla="*/ 5628880 w 6689088"/>
                <a:gd name="connsiteY4316" fmla="*/ 229827 h 6689084"/>
                <a:gd name="connsiteX4317" fmla="*/ 5690606 w 6689088"/>
                <a:gd name="connsiteY4317" fmla="*/ 168105 h 6689084"/>
                <a:gd name="connsiteX4318" fmla="*/ 5844554 w 6689088"/>
                <a:gd name="connsiteY4318" fmla="*/ 165566 h 6689084"/>
                <a:gd name="connsiteX4319" fmla="*/ 5908822 w 6689088"/>
                <a:gd name="connsiteY4319" fmla="*/ 229831 h 6689084"/>
                <a:gd name="connsiteX4320" fmla="*/ 5844554 w 6689088"/>
                <a:gd name="connsiteY4320" fmla="*/ 294100 h 6689084"/>
                <a:gd name="connsiteX4321" fmla="*/ 5780289 w 6689088"/>
                <a:gd name="connsiteY4321" fmla="*/ 229831 h 6689084"/>
                <a:gd name="connsiteX4322" fmla="*/ 5844554 w 6689088"/>
                <a:gd name="connsiteY4322" fmla="*/ 165566 h 6689084"/>
                <a:gd name="connsiteX4323" fmla="*/ 5998136 w 6689088"/>
                <a:gd name="connsiteY4323" fmla="*/ 162296 h 6689084"/>
                <a:gd name="connsiteX4324" fmla="*/ 6065671 w 6689088"/>
                <a:gd name="connsiteY4324" fmla="*/ 229831 h 6689084"/>
                <a:gd name="connsiteX4325" fmla="*/ 5998136 w 6689088"/>
                <a:gd name="connsiteY4325" fmla="*/ 297363 h 6689084"/>
                <a:gd name="connsiteX4326" fmla="*/ 5930604 w 6689088"/>
                <a:gd name="connsiteY4326" fmla="*/ 229827 h 6689084"/>
                <a:gd name="connsiteX4327" fmla="*/ 5998136 w 6689088"/>
                <a:gd name="connsiteY4327" fmla="*/ 162296 h 6689084"/>
                <a:gd name="connsiteX4328" fmla="*/ 6152086 w 6689088"/>
                <a:gd name="connsiteY4328" fmla="*/ 159757 h 6689084"/>
                <a:gd name="connsiteX4329" fmla="*/ 6222160 w 6689088"/>
                <a:gd name="connsiteY4329" fmla="*/ 229831 h 6689084"/>
                <a:gd name="connsiteX4330" fmla="*/ 6152086 w 6689088"/>
                <a:gd name="connsiteY4330" fmla="*/ 299909 h 6689084"/>
                <a:gd name="connsiteX4331" fmla="*/ 6082008 w 6689088"/>
                <a:gd name="connsiteY4331" fmla="*/ 229831 h 6689084"/>
                <a:gd name="connsiteX4332" fmla="*/ 6152086 w 6689088"/>
                <a:gd name="connsiteY4332" fmla="*/ 159757 h 6689084"/>
                <a:gd name="connsiteX4333" fmla="*/ 6305668 w 6689088"/>
                <a:gd name="connsiteY4333" fmla="*/ 156852 h 6689084"/>
                <a:gd name="connsiteX4334" fmla="*/ 6378650 w 6689088"/>
                <a:gd name="connsiteY4334" fmla="*/ 229831 h 6689084"/>
                <a:gd name="connsiteX4335" fmla="*/ 6305668 w 6689088"/>
                <a:gd name="connsiteY4335" fmla="*/ 302814 h 6689084"/>
                <a:gd name="connsiteX4336" fmla="*/ 6232689 w 6689088"/>
                <a:gd name="connsiteY4336" fmla="*/ 229831 h 6689084"/>
                <a:gd name="connsiteX4337" fmla="*/ 6305668 w 6689088"/>
                <a:gd name="connsiteY4337" fmla="*/ 156852 h 6689084"/>
                <a:gd name="connsiteX4338" fmla="*/ 6613200 w 6689088"/>
                <a:gd name="connsiteY4338" fmla="*/ 153947 h 6689084"/>
                <a:gd name="connsiteX4339" fmla="*/ 6689088 w 6689088"/>
                <a:gd name="connsiteY4339" fmla="*/ 229831 h 6689084"/>
                <a:gd name="connsiteX4340" fmla="*/ 6613200 w 6689088"/>
                <a:gd name="connsiteY4340" fmla="*/ 305718 h 6689084"/>
                <a:gd name="connsiteX4341" fmla="*/ 6537317 w 6689088"/>
                <a:gd name="connsiteY4341" fmla="*/ 229831 h 6689084"/>
                <a:gd name="connsiteX4342" fmla="*/ 6613200 w 6689088"/>
                <a:gd name="connsiteY4342" fmla="*/ 153947 h 6689084"/>
                <a:gd name="connsiteX4343" fmla="*/ 6459616 w 6689088"/>
                <a:gd name="connsiteY4343" fmla="*/ 153944 h 6689084"/>
                <a:gd name="connsiteX4344" fmla="*/ 6535137 w 6689088"/>
                <a:gd name="connsiteY4344" fmla="*/ 229465 h 6689084"/>
                <a:gd name="connsiteX4345" fmla="*/ 6459616 w 6689088"/>
                <a:gd name="connsiteY4345" fmla="*/ 304986 h 6689084"/>
                <a:gd name="connsiteX4346" fmla="*/ 6384094 w 6689088"/>
                <a:gd name="connsiteY4346" fmla="*/ 229465 h 6689084"/>
                <a:gd name="connsiteX4347" fmla="*/ 6459616 w 6689088"/>
                <a:gd name="connsiteY4347" fmla="*/ 153944 h 6689084"/>
                <a:gd name="connsiteX4348" fmla="*/ 923681 w 6689088"/>
                <a:gd name="connsiteY4348" fmla="*/ 75518 h 6689084"/>
                <a:gd name="connsiteX4349" fmla="*/ 924043 w 6689088"/>
                <a:gd name="connsiteY4349" fmla="*/ 75880 h 6689084"/>
                <a:gd name="connsiteX4350" fmla="*/ 923681 w 6689088"/>
                <a:gd name="connsiteY4350" fmla="*/ 76242 h 6689084"/>
                <a:gd name="connsiteX4351" fmla="*/ 923319 w 6689088"/>
                <a:gd name="connsiteY4351" fmla="*/ 75880 h 6689084"/>
                <a:gd name="connsiteX4352" fmla="*/ 923681 w 6689088"/>
                <a:gd name="connsiteY4352" fmla="*/ 75518 h 6689084"/>
                <a:gd name="connsiteX4353" fmla="*/ 462205 w 6689088"/>
                <a:gd name="connsiteY4353" fmla="*/ 75518 h 6689084"/>
                <a:gd name="connsiteX4354" fmla="*/ 462567 w 6689088"/>
                <a:gd name="connsiteY4354" fmla="*/ 75880 h 6689084"/>
                <a:gd name="connsiteX4355" fmla="*/ 462205 w 6689088"/>
                <a:gd name="connsiteY4355" fmla="*/ 76242 h 6689084"/>
                <a:gd name="connsiteX4356" fmla="*/ 461842 w 6689088"/>
                <a:gd name="connsiteY4356" fmla="*/ 75880 h 6689084"/>
                <a:gd name="connsiteX4357" fmla="*/ 462205 w 6689088"/>
                <a:gd name="connsiteY4357" fmla="*/ 75518 h 6689084"/>
                <a:gd name="connsiteX4358" fmla="*/ 308257 w 6689088"/>
                <a:gd name="connsiteY4358" fmla="*/ 75518 h 6689084"/>
                <a:gd name="connsiteX4359" fmla="*/ 308619 w 6689088"/>
                <a:gd name="connsiteY4359" fmla="*/ 75880 h 6689084"/>
                <a:gd name="connsiteX4360" fmla="*/ 308257 w 6689088"/>
                <a:gd name="connsiteY4360" fmla="*/ 76242 h 6689084"/>
                <a:gd name="connsiteX4361" fmla="*/ 307895 w 6689088"/>
                <a:gd name="connsiteY4361" fmla="*/ 75880 h 6689084"/>
                <a:gd name="connsiteX4362" fmla="*/ 308257 w 6689088"/>
                <a:gd name="connsiteY4362" fmla="*/ 75518 h 6689084"/>
                <a:gd name="connsiteX4363" fmla="*/ 154676 w 6689088"/>
                <a:gd name="connsiteY4363" fmla="*/ 75155 h 6689084"/>
                <a:gd name="connsiteX4364" fmla="*/ 155400 w 6689088"/>
                <a:gd name="connsiteY4364" fmla="*/ 75880 h 6689084"/>
                <a:gd name="connsiteX4365" fmla="*/ 154676 w 6689088"/>
                <a:gd name="connsiteY4365" fmla="*/ 76608 h 6689084"/>
                <a:gd name="connsiteX4366" fmla="*/ 153948 w 6689088"/>
                <a:gd name="connsiteY4366" fmla="*/ 75880 h 6689084"/>
                <a:gd name="connsiteX4367" fmla="*/ 154676 w 6689088"/>
                <a:gd name="connsiteY4367" fmla="*/ 75155 h 6689084"/>
                <a:gd name="connsiteX4368" fmla="*/ 725 w 6689088"/>
                <a:gd name="connsiteY4368" fmla="*/ 75155 h 6689084"/>
                <a:gd name="connsiteX4369" fmla="*/ 1453 w 6689088"/>
                <a:gd name="connsiteY4369" fmla="*/ 75880 h 6689084"/>
                <a:gd name="connsiteX4370" fmla="*/ 725 w 6689088"/>
                <a:gd name="connsiteY4370" fmla="*/ 76608 h 6689084"/>
                <a:gd name="connsiteX4371" fmla="*/ 0 w 6689088"/>
                <a:gd name="connsiteY4371" fmla="*/ 75880 h 6689084"/>
                <a:gd name="connsiteX4372" fmla="*/ 725 w 6689088"/>
                <a:gd name="connsiteY4372" fmla="*/ 75155 h 6689084"/>
                <a:gd name="connsiteX4373" fmla="*/ 1077266 w 6689088"/>
                <a:gd name="connsiteY4373" fmla="*/ 74431 h 6689084"/>
                <a:gd name="connsiteX4374" fmla="*/ 1078718 w 6689088"/>
                <a:gd name="connsiteY4374" fmla="*/ 75884 h 6689084"/>
                <a:gd name="connsiteX4375" fmla="*/ 1077266 w 6689088"/>
                <a:gd name="connsiteY4375" fmla="*/ 77336 h 6689084"/>
                <a:gd name="connsiteX4376" fmla="*/ 1075814 w 6689088"/>
                <a:gd name="connsiteY4376" fmla="*/ 75884 h 6689084"/>
                <a:gd name="connsiteX4377" fmla="*/ 1077266 w 6689088"/>
                <a:gd name="connsiteY4377" fmla="*/ 74431 h 6689084"/>
                <a:gd name="connsiteX4378" fmla="*/ 1231217 w 6689088"/>
                <a:gd name="connsiteY4378" fmla="*/ 73703 h 6689084"/>
                <a:gd name="connsiteX4379" fmla="*/ 1233394 w 6689088"/>
                <a:gd name="connsiteY4379" fmla="*/ 75880 h 6689084"/>
                <a:gd name="connsiteX4380" fmla="*/ 1231217 w 6689088"/>
                <a:gd name="connsiteY4380" fmla="*/ 78060 h 6689084"/>
                <a:gd name="connsiteX4381" fmla="*/ 1229037 w 6689088"/>
                <a:gd name="connsiteY4381" fmla="*/ 75880 h 6689084"/>
                <a:gd name="connsiteX4382" fmla="*/ 1231217 w 6689088"/>
                <a:gd name="connsiteY4382" fmla="*/ 73703 h 6689084"/>
                <a:gd name="connsiteX4383" fmla="*/ 1384799 w 6689088"/>
                <a:gd name="connsiteY4383" fmla="*/ 72617 h 6689084"/>
                <a:gd name="connsiteX4384" fmla="*/ 1388069 w 6689088"/>
                <a:gd name="connsiteY4384" fmla="*/ 75884 h 6689084"/>
                <a:gd name="connsiteX4385" fmla="*/ 1384799 w 6689088"/>
                <a:gd name="connsiteY4385" fmla="*/ 79154 h 6689084"/>
                <a:gd name="connsiteX4386" fmla="*/ 1381532 w 6689088"/>
                <a:gd name="connsiteY4386" fmla="*/ 75884 h 6689084"/>
                <a:gd name="connsiteX4387" fmla="*/ 1384799 w 6689088"/>
                <a:gd name="connsiteY4387" fmla="*/ 72617 h 6689084"/>
                <a:gd name="connsiteX4388" fmla="*/ 1538746 w 6689088"/>
                <a:gd name="connsiteY4388" fmla="*/ 71527 h 6689084"/>
                <a:gd name="connsiteX4389" fmla="*/ 1543103 w 6689088"/>
                <a:gd name="connsiteY4389" fmla="*/ 75884 h 6689084"/>
                <a:gd name="connsiteX4390" fmla="*/ 1538746 w 6689088"/>
                <a:gd name="connsiteY4390" fmla="*/ 80241 h 6689084"/>
                <a:gd name="connsiteX4391" fmla="*/ 1534389 w 6689088"/>
                <a:gd name="connsiteY4391" fmla="*/ 75884 h 6689084"/>
                <a:gd name="connsiteX4392" fmla="*/ 1538746 w 6689088"/>
                <a:gd name="connsiteY4392" fmla="*/ 71527 h 6689084"/>
                <a:gd name="connsiteX4393" fmla="*/ 1692331 w 6689088"/>
                <a:gd name="connsiteY4393" fmla="*/ 70074 h 6689084"/>
                <a:gd name="connsiteX4394" fmla="*/ 1698141 w 6689088"/>
                <a:gd name="connsiteY4394" fmla="*/ 75884 h 6689084"/>
                <a:gd name="connsiteX4395" fmla="*/ 1692331 w 6689088"/>
                <a:gd name="connsiteY4395" fmla="*/ 81693 h 6689084"/>
                <a:gd name="connsiteX4396" fmla="*/ 1686522 w 6689088"/>
                <a:gd name="connsiteY4396" fmla="*/ 75884 h 6689084"/>
                <a:gd name="connsiteX4397" fmla="*/ 1692331 w 6689088"/>
                <a:gd name="connsiteY4397" fmla="*/ 70074 h 6689084"/>
                <a:gd name="connsiteX4398" fmla="*/ 1846279 w 6689088"/>
                <a:gd name="connsiteY4398" fmla="*/ 68622 h 6689084"/>
                <a:gd name="connsiteX4399" fmla="*/ 1853540 w 6689088"/>
                <a:gd name="connsiteY4399" fmla="*/ 75884 h 6689084"/>
                <a:gd name="connsiteX4400" fmla="*/ 1846279 w 6689088"/>
                <a:gd name="connsiteY4400" fmla="*/ 83145 h 6689084"/>
                <a:gd name="connsiteX4401" fmla="*/ 1839017 w 6689088"/>
                <a:gd name="connsiteY4401" fmla="*/ 75884 h 6689084"/>
                <a:gd name="connsiteX4402" fmla="*/ 1846279 w 6689088"/>
                <a:gd name="connsiteY4402" fmla="*/ 68622 h 6689084"/>
                <a:gd name="connsiteX4403" fmla="*/ 1999860 w 6689088"/>
                <a:gd name="connsiteY4403" fmla="*/ 66807 h 6689084"/>
                <a:gd name="connsiteX4404" fmla="*/ 2008940 w 6689088"/>
                <a:gd name="connsiteY4404" fmla="*/ 75884 h 6689084"/>
                <a:gd name="connsiteX4405" fmla="*/ 1999860 w 6689088"/>
                <a:gd name="connsiteY4405" fmla="*/ 84960 h 6689084"/>
                <a:gd name="connsiteX4406" fmla="*/ 1990784 w 6689088"/>
                <a:gd name="connsiteY4406" fmla="*/ 75884 h 6689084"/>
                <a:gd name="connsiteX4407" fmla="*/ 1999860 w 6689088"/>
                <a:gd name="connsiteY4407" fmla="*/ 66807 h 6689084"/>
                <a:gd name="connsiteX4408" fmla="*/ 2153811 w 6689088"/>
                <a:gd name="connsiteY4408" fmla="*/ 65717 h 6689084"/>
                <a:gd name="connsiteX4409" fmla="*/ 2163978 w 6689088"/>
                <a:gd name="connsiteY4409" fmla="*/ 75884 h 6689084"/>
                <a:gd name="connsiteX4410" fmla="*/ 2153811 w 6689088"/>
                <a:gd name="connsiteY4410" fmla="*/ 86050 h 6689084"/>
                <a:gd name="connsiteX4411" fmla="*/ 2143645 w 6689088"/>
                <a:gd name="connsiteY4411" fmla="*/ 75884 h 6689084"/>
                <a:gd name="connsiteX4412" fmla="*/ 2153811 w 6689088"/>
                <a:gd name="connsiteY4412" fmla="*/ 65717 h 6689084"/>
                <a:gd name="connsiteX4413" fmla="*/ 2307393 w 6689088"/>
                <a:gd name="connsiteY4413" fmla="*/ 63899 h 6689084"/>
                <a:gd name="connsiteX4414" fmla="*/ 2319377 w 6689088"/>
                <a:gd name="connsiteY4414" fmla="*/ 75880 h 6689084"/>
                <a:gd name="connsiteX4415" fmla="*/ 2307393 w 6689088"/>
                <a:gd name="connsiteY4415" fmla="*/ 87864 h 6689084"/>
                <a:gd name="connsiteX4416" fmla="*/ 2295412 w 6689088"/>
                <a:gd name="connsiteY4416" fmla="*/ 75880 h 6689084"/>
                <a:gd name="connsiteX4417" fmla="*/ 2307393 w 6689088"/>
                <a:gd name="connsiteY4417" fmla="*/ 63899 h 6689084"/>
                <a:gd name="connsiteX4418" fmla="*/ 2461344 w 6689088"/>
                <a:gd name="connsiteY4418" fmla="*/ 62085 h 6689084"/>
                <a:gd name="connsiteX4419" fmla="*/ 2475139 w 6689088"/>
                <a:gd name="connsiteY4419" fmla="*/ 75880 h 6689084"/>
                <a:gd name="connsiteX4420" fmla="*/ 2461344 w 6689088"/>
                <a:gd name="connsiteY4420" fmla="*/ 89679 h 6689084"/>
                <a:gd name="connsiteX4421" fmla="*/ 2447545 w 6689088"/>
                <a:gd name="connsiteY4421" fmla="*/ 75880 h 6689084"/>
                <a:gd name="connsiteX4422" fmla="*/ 2461344 w 6689088"/>
                <a:gd name="connsiteY4422" fmla="*/ 62085 h 6689084"/>
                <a:gd name="connsiteX4423" fmla="*/ 2614925 w 6689088"/>
                <a:gd name="connsiteY4423" fmla="*/ 60632 h 6689084"/>
                <a:gd name="connsiteX4424" fmla="*/ 2630177 w 6689088"/>
                <a:gd name="connsiteY4424" fmla="*/ 75880 h 6689084"/>
                <a:gd name="connsiteX4425" fmla="*/ 2614925 w 6689088"/>
                <a:gd name="connsiteY4425" fmla="*/ 91131 h 6689084"/>
                <a:gd name="connsiteX4426" fmla="*/ 2599678 w 6689088"/>
                <a:gd name="connsiteY4426" fmla="*/ 75880 h 6689084"/>
                <a:gd name="connsiteX4427" fmla="*/ 2614925 w 6689088"/>
                <a:gd name="connsiteY4427" fmla="*/ 60632 h 6689084"/>
                <a:gd name="connsiteX4428" fmla="*/ 2768873 w 6689088"/>
                <a:gd name="connsiteY4428" fmla="*/ 58818 h 6689084"/>
                <a:gd name="connsiteX4429" fmla="*/ 2785939 w 6689088"/>
                <a:gd name="connsiteY4429" fmla="*/ 75884 h 6689084"/>
                <a:gd name="connsiteX4430" fmla="*/ 2768873 w 6689088"/>
                <a:gd name="connsiteY4430" fmla="*/ 92946 h 6689084"/>
                <a:gd name="connsiteX4431" fmla="*/ 2751807 w 6689088"/>
                <a:gd name="connsiteY4431" fmla="*/ 75884 h 6689084"/>
                <a:gd name="connsiteX4432" fmla="*/ 2768873 w 6689088"/>
                <a:gd name="connsiteY4432" fmla="*/ 58818 h 6689084"/>
                <a:gd name="connsiteX4433" fmla="*/ 2922458 w 6689088"/>
                <a:gd name="connsiteY4433" fmla="*/ 56641 h 6689084"/>
                <a:gd name="connsiteX4434" fmla="*/ 2941700 w 6689088"/>
                <a:gd name="connsiteY4434" fmla="*/ 75884 h 6689084"/>
                <a:gd name="connsiteX4435" fmla="*/ 2922458 w 6689088"/>
                <a:gd name="connsiteY4435" fmla="*/ 95126 h 6689084"/>
                <a:gd name="connsiteX4436" fmla="*/ 2903216 w 6689088"/>
                <a:gd name="connsiteY4436" fmla="*/ 75884 h 6689084"/>
                <a:gd name="connsiteX4437" fmla="*/ 2922458 w 6689088"/>
                <a:gd name="connsiteY4437" fmla="*/ 56641 h 6689084"/>
                <a:gd name="connsiteX4438" fmla="*/ 3076406 w 6689088"/>
                <a:gd name="connsiteY4438" fmla="*/ 54461 h 6689084"/>
                <a:gd name="connsiteX4439" fmla="*/ 3097828 w 6689088"/>
                <a:gd name="connsiteY4439" fmla="*/ 75884 h 6689084"/>
                <a:gd name="connsiteX4440" fmla="*/ 3076406 w 6689088"/>
                <a:gd name="connsiteY4440" fmla="*/ 97303 h 6689084"/>
                <a:gd name="connsiteX4441" fmla="*/ 3054982 w 6689088"/>
                <a:gd name="connsiteY4441" fmla="*/ 75884 h 6689084"/>
                <a:gd name="connsiteX4442" fmla="*/ 3076406 w 6689088"/>
                <a:gd name="connsiteY4442" fmla="*/ 54461 h 6689084"/>
                <a:gd name="connsiteX4443" fmla="*/ 3230353 w 6689088"/>
                <a:gd name="connsiteY4443" fmla="*/ 53008 h 6689084"/>
                <a:gd name="connsiteX4444" fmla="*/ 3253228 w 6689088"/>
                <a:gd name="connsiteY4444" fmla="*/ 75884 h 6689084"/>
                <a:gd name="connsiteX4445" fmla="*/ 3230353 w 6689088"/>
                <a:gd name="connsiteY4445" fmla="*/ 98759 h 6689084"/>
                <a:gd name="connsiteX4446" fmla="*/ 3207478 w 6689088"/>
                <a:gd name="connsiteY4446" fmla="*/ 75884 h 6689084"/>
                <a:gd name="connsiteX4447" fmla="*/ 3230353 w 6689088"/>
                <a:gd name="connsiteY4447" fmla="*/ 53008 h 6689084"/>
                <a:gd name="connsiteX4448" fmla="*/ 3383934 w 6689088"/>
                <a:gd name="connsiteY4448" fmla="*/ 50832 h 6689084"/>
                <a:gd name="connsiteX4449" fmla="*/ 3408986 w 6689088"/>
                <a:gd name="connsiteY4449" fmla="*/ 75884 h 6689084"/>
                <a:gd name="connsiteX4450" fmla="*/ 3383934 w 6689088"/>
                <a:gd name="connsiteY4450" fmla="*/ 100939 h 6689084"/>
                <a:gd name="connsiteX4451" fmla="*/ 3358882 w 6689088"/>
                <a:gd name="connsiteY4451" fmla="*/ 75884 h 6689084"/>
                <a:gd name="connsiteX4452" fmla="*/ 3383934 w 6689088"/>
                <a:gd name="connsiteY4452" fmla="*/ 50832 h 6689084"/>
                <a:gd name="connsiteX4453" fmla="*/ 3537886 w 6689088"/>
                <a:gd name="connsiteY4453" fmla="*/ 48651 h 6689084"/>
                <a:gd name="connsiteX4454" fmla="*/ 3565118 w 6689088"/>
                <a:gd name="connsiteY4454" fmla="*/ 75884 h 6689084"/>
                <a:gd name="connsiteX4455" fmla="*/ 3537886 w 6689088"/>
                <a:gd name="connsiteY4455" fmla="*/ 103112 h 6689084"/>
                <a:gd name="connsiteX4456" fmla="*/ 3510653 w 6689088"/>
                <a:gd name="connsiteY4456" fmla="*/ 75884 h 6689084"/>
                <a:gd name="connsiteX4457" fmla="*/ 3537886 w 6689088"/>
                <a:gd name="connsiteY4457" fmla="*/ 48651 h 6689084"/>
                <a:gd name="connsiteX4458" fmla="*/ 3691467 w 6689088"/>
                <a:gd name="connsiteY4458" fmla="*/ 46109 h 6689084"/>
                <a:gd name="connsiteX4459" fmla="*/ 3721242 w 6689088"/>
                <a:gd name="connsiteY4459" fmla="*/ 75880 h 6689084"/>
                <a:gd name="connsiteX4460" fmla="*/ 3691467 w 6689088"/>
                <a:gd name="connsiteY4460" fmla="*/ 105655 h 6689084"/>
                <a:gd name="connsiteX4461" fmla="*/ 3661696 w 6689088"/>
                <a:gd name="connsiteY4461" fmla="*/ 75880 h 6689084"/>
                <a:gd name="connsiteX4462" fmla="*/ 3691467 w 6689088"/>
                <a:gd name="connsiteY4462" fmla="*/ 46109 h 6689084"/>
                <a:gd name="connsiteX4463" fmla="*/ 3845414 w 6689088"/>
                <a:gd name="connsiteY4463" fmla="*/ 43932 h 6689084"/>
                <a:gd name="connsiteX4464" fmla="*/ 3877366 w 6689088"/>
                <a:gd name="connsiteY4464" fmla="*/ 75884 h 6689084"/>
                <a:gd name="connsiteX4465" fmla="*/ 3845414 w 6689088"/>
                <a:gd name="connsiteY4465" fmla="*/ 107835 h 6689084"/>
                <a:gd name="connsiteX4466" fmla="*/ 3813463 w 6689088"/>
                <a:gd name="connsiteY4466" fmla="*/ 75884 h 6689084"/>
                <a:gd name="connsiteX4467" fmla="*/ 3845414 w 6689088"/>
                <a:gd name="connsiteY4467" fmla="*/ 43932 h 6689084"/>
                <a:gd name="connsiteX4468" fmla="*/ 3999000 w 6689088"/>
                <a:gd name="connsiteY4468" fmla="*/ 42118 h 6689084"/>
                <a:gd name="connsiteX4469" fmla="*/ 4032769 w 6689088"/>
                <a:gd name="connsiteY4469" fmla="*/ 75884 h 6689084"/>
                <a:gd name="connsiteX4470" fmla="*/ 3999000 w 6689088"/>
                <a:gd name="connsiteY4470" fmla="*/ 109653 h 6689084"/>
                <a:gd name="connsiteX4471" fmla="*/ 3965234 w 6689088"/>
                <a:gd name="connsiteY4471" fmla="*/ 75884 h 6689084"/>
                <a:gd name="connsiteX4472" fmla="*/ 3999000 w 6689088"/>
                <a:gd name="connsiteY4472" fmla="*/ 42118 h 6689084"/>
                <a:gd name="connsiteX4473" fmla="*/ 4152947 w 6689088"/>
                <a:gd name="connsiteY4473" fmla="*/ 39575 h 6689084"/>
                <a:gd name="connsiteX4474" fmla="*/ 4189256 w 6689088"/>
                <a:gd name="connsiteY4474" fmla="*/ 75884 h 6689084"/>
                <a:gd name="connsiteX4475" fmla="*/ 4152947 w 6689088"/>
                <a:gd name="connsiteY4475" fmla="*/ 112192 h 6689084"/>
                <a:gd name="connsiteX4476" fmla="*/ 4116638 w 6689088"/>
                <a:gd name="connsiteY4476" fmla="*/ 75884 h 6689084"/>
                <a:gd name="connsiteX4477" fmla="*/ 4152947 w 6689088"/>
                <a:gd name="connsiteY4477" fmla="*/ 39575 h 6689084"/>
                <a:gd name="connsiteX4478" fmla="*/ 4306532 w 6689088"/>
                <a:gd name="connsiteY4478" fmla="*/ 37033 h 6689084"/>
                <a:gd name="connsiteX4479" fmla="*/ 4345380 w 6689088"/>
                <a:gd name="connsiteY4479" fmla="*/ 75884 h 6689084"/>
                <a:gd name="connsiteX4480" fmla="*/ 4306532 w 6689088"/>
                <a:gd name="connsiteY4480" fmla="*/ 114735 h 6689084"/>
                <a:gd name="connsiteX4481" fmla="*/ 4267682 w 6689088"/>
                <a:gd name="connsiteY4481" fmla="*/ 75884 h 6689084"/>
                <a:gd name="connsiteX4482" fmla="*/ 4306532 w 6689088"/>
                <a:gd name="connsiteY4482" fmla="*/ 37033 h 6689084"/>
                <a:gd name="connsiteX4483" fmla="*/ 4460480 w 6689088"/>
                <a:gd name="connsiteY4483" fmla="*/ 34852 h 6689084"/>
                <a:gd name="connsiteX4484" fmla="*/ 4501511 w 6689088"/>
                <a:gd name="connsiteY4484" fmla="*/ 75880 h 6689084"/>
                <a:gd name="connsiteX4485" fmla="*/ 4460480 w 6689088"/>
                <a:gd name="connsiteY4485" fmla="*/ 116911 h 6689084"/>
                <a:gd name="connsiteX4486" fmla="*/ 4419452 w 6689088"/>
                <a:gd name="connsiteY4486" fmla="*/ 75880 h 6689084"/>
                <a:gd name="connsiteX4487" fmla="*/ 4460480 w 6689088"/>
                <a:gd name="connsiteY4487" fmla="*/ 34852 h 6689084"/>
                <a:gd name="connsiteX4488" fmla="*/ 4614065 w 6689088"/>
                <a:gd name="connsiteY4488" fmla="*/ 32314 h 6689084"/>
                <a:gd name="connsiteX4489" fmla="*/ 4657635 w 6689088"/>
                <a:gd name="connsiteY4489" fmla="*/ 75884 h 6689084"/>
                <a:gd name="connsiteX4490" fmla="*/ 4614065 w 6689088"/>
                <a:gd name="connsiteY4490" fmla="*/ 119454 h 6689084"/>
                <a:gd name="connsiteX4491" fmla="*/ 4570495 w 6689088"/>
                <a:gd name="connsiteY4491" fmla="*/ 75884 h 6689084"/>
                <a:gd name="connsiteX4492" fmla="*/ 4614065 w 6689088"/>
                <a:gd name="connsiteY4492" fmla="*/ 32314 h 6689084"/>
                <a:gd name="connsiteX4493" fmla="*/ 4768012 w 6689088"/>
                <a:gd name="connsiteY4493" fmla="*/ 29771 h 6689084"/>
                <a:gd name="connsiteX4494" fmla="*/ 4814125 w 6689088"/>
                <a:gd name="connsiteY4494" fmla="*/ 75884 h 6689084"/>
                <a:gd name="connsiteX4495" fmla="*/ 4768012 w 6689088"/>
                <a:gd name="connsiteY4495" fmla="*/ 121996 h 6689084"/>
                <a:gd name="connsiteX4496" fmla="*/ 4721900 w 6689088"/>
                <a:gd name="connsiteY4496" fmla="*/ 75884 h 6689084"/>
                <a:gd name="connsiteX4497" fmla="*/ 4768012 w 6689088"/>
                <a:gd name="connsiteY4497" fmla="*/ 29771 h 6689084"/>
                <a:gd name="connsiteX4498" fmla="*/ 4921594 w 6689088"/>
                <a:gd name="connsiteY4498" fmla="*/ 27228 h 6689084"/>
                <a:gd name="connsiteX4499" fmla="*/ 4970249 w 6689088"/>
                <a:gd name="connsiteY4499" fmla="*/ 75880 h 6689084"/>
                <a:gd name="connsiteX4500" fmla="*/ 4921594 w 6689088"/>
                <a:gd name="connsiteY4500" fmla="*/ 124535 h 6689084"/>
                <a:gd name="connsiteX4501" fmla="*/ 4872942 w 6689088"/>
                <a:gd name="connsiteY4501" fmla="*/ 75880 h 6689084"/>
                <a:gd name="connsiteX4502" fmla="*/ 4921594 w 6689088"/>
                <a:gd name="connsiteY4502" fmla="*/ 27228 h 6689084"/>
                <a:gd name="connsiteX4503" fmla="*/ 5075541 w 6689088"/>
                <a:gd name="connsiteY4503" fmla="*/ 24690 h 6689084"/>
                <a:gd name="connsiteX4504" fmla="*/ 5126735 w 6689088"/>
                <a:gd name="connsiteY4504" fmla="*/ 75884 h 6689084"/>
                <a:gd name="connsiteX4505" fmla="*/ 5075541 w 6689088"/>
                <a:gd name="connsiteY4505" fmla="*/ 127081 h 6689084"/>
                <a:gd name="connsiteX4506" fmla="*/ 5024348 w 6689088"/>
                <a:gd name="connsiteY4506" fmla="*/ 75884 h 6689084"/>
                <a:gd name="connsiteX4507" fmla="*/ 5075541 w 6689088"/>
                <a:gd name="connsiteY4507" fmla="*/ 24690 h 6689084"/>
                <a:gd name="connsiteX4508" fmla="*/ 5229126 w 6689088"/>
                <a:gd name="connsiteY4508" fmla="*/ 22509 h 6689084"/>
                <a:gd name="connsiteX4509" fmla="*/ 5282500 w 6689088"/>
                <a:gd name="connsiteY4509" fmla="*/ 75884 h 6689084"/>
                <a:gd name="connsiteX4510" fmla="*/ 5229126 w 6689088"/>
                <a:gd name="connsiteY4510" fmla="*/ 129258 h 6689084"/>
                <a:gd name="connsiteX4511" fmla="*/ 5175752 w 6689088"/>
                <a:gd name="connsiteY4511" fmla="*/ 75884 h 6689084"/>
                <a:gd name="connsiteX4512" fmla="*/ 5229126 w 6689088"/>
                <a:gd name="connsiteY4512" fmla="*/ 22509 h 6689084"/>
                <a:gd name="connsiteX4513" fmla="*/ 5383074 w 6689088"/>
                <a:gd name="connsiteY4513" fmla="*/ 19605 h 6689084"/>
                <a:gd name="connsiteX4514" fmla="*/ 5439352 w 6689088"/>
                <a:gd name="connsiteY4514" fmla="*/ 75884 h 6689084"/>
                <a:gd name="connsiteX4515" fmla="*/ 5383074 w 6689088"/>
                <a:gd name="connsiteY4515" fmla="*/ 132162 h 6689084"/>
                <a:gd name="connsiteX4516" fmla="*/ 5326795 w 6689088"/>
                <a:gd name="connsiteY4516" fmla="*/ 75884 h 6689084"/>
                <a:gd name="connsiteX4517" fmla="*/ 5383074 w 6689088"/>
                <a:gd name="connsiteY4517" fmla="*/ 19605 h 6689084"/>
                <a:gd name="connsiteX4518" fmla="*/ 5536659 w 6689088"/>
                <a:gd name="connsiteY4518" fmla="*/ 17062 h 6689084"/>
                <a:gd name="connsiteX4519" fmla="*/ 5595476 w 6689088"/>
                <a:gd name="connsiteY4519" fmla="*/ 75880 h 6689084"/>
                <a:gd name="connsiteX4520" fmla="*/ 5536659 w 6689088"/>
                <a:gd name="connsiteY4520" fmla="*/ 134701 h 6689084"/>
                <a:gd name="connsiteX4521" fmla="*/ 5477838 w 6689088"/>
                <a:gd name="connsiteY4521" fmla="*/ 75880 h 6689084"/>
                <a:gd name="connsiteX4522" fmla="*/ 5536659 w 6689088"/>
                <a:gd name="connsiteY4522" fmla="*/ 17062 h 6689084"/>
                <a:gd name="connsiteX4523" fmla="*/ 5690606 w 6689088"/>
                <a:gd name="connsiteY4523" fmla="*/ 14157 h 6689084"/>
                <a:gd name="connsiteX4524" fmla="*/ 5752329 w 6689088"/>
                <a:gd name="connsiteY4524" fmla="*/ 75880 h 6689084"/>
                <a:gd name="connsiteX4525" fmla="*/ 5690606 w 6689088"/>
                <a:gd name="connsiteY4525" fmla="*/ 137606 h 6689084"/>
                <a:gd name="connsiteX4526" fmla="*/ 5628880 w 6689088"/>
                <a:gd name="connsiteY4526" fmla="*/ 75880 h 6689084"/>
                <a:gd name="connsiteX4527" fmla="*/ 5690606 w 6689088"/>
                <a:gd name="connsiteY4527" fmla="*/ 14157 h 6689084"/>
                <a:gd name="connsiteX4528" fmla="*/ 5844554 w 6689088"/>
                <a:gd name="connsiteY4528" fmla="*/ 11619 h 6689084"/>
                <a:gd name="connsiteX4529" fmla="*/ 5908822 w 6689088"/>
                <a:gd name="connsiteY4529" fmla="*/ 75884 h 6689084"/>
                <a:gd name="connsiteX4530" fmla="*/ 5844554 w 6689088"/>
                <a:gd name="connsiteY4530" fmla="*/ 140152 h 6689084"/>
                <a:gd name="connsiteX4531" fmla="*/ 5780289 w 6689088"/>
                <a:gd name="connsiteY4531" fmla="*/ 75884 h 6689084"/>
                <a:gd name="connsiteX4532" fmla="*/ 5844554 w 6689088"/>
                <a:gd name="connsiteY4532" fmla="*/ 11619 h 6689084"/>
                <a:gd name="connsiteX4533" fmla="*/ 5998136 w 6689088"/>
                <a:gd name="connsiteY4533" fmla="*/ 8348 h 6689084"/>
                <a:gd name="connsiteX4534" fmla="*/ 6065671 w 6689088"/>
                <a:gd name="connsiteY4534" fmla="*/ 75884 h 6689084"/>
                <a:gd name="connsiteX4535" fmla="*/ 5998136 w 6689088"/>
                <a:gd name="connsiteY4535" fmla="*/ 143415 h 6689084"/>
                <a:gd name="connsiteX4536" fmla="*/ 5930604 w 6689088"/>
                <a:gd name="connsiteY4536" fmla="*/ 75884 h 6689084"/>
                <a:gd name="connsiteX4537" fmla="*/ 5998136 w 6689088"/>
                <a:gd name="connsiteY4537" fmla="*/ 8348 h 6689084"/>
                <a:gd name="connsiteX4538" fmla="*/ 6152086 w 6689088"/>
                <a:gd name="connsiteY4538" fmla="*/ 5809 h 6689084"/>
                <a:gd name="connsiteX4539" fmla="*/ 6222160 w 6689088"/>
                <a:gd name="connsiteY4539" fmla="*/ 75884 h 6689084"/>
                <a:gd name="connsiteX4540" fmla="*/ 6152086 w 6689088"/>
                <a:gd name="connsiteY4540" fmla="*/ 145962 h 6689084"/>
                <a:gd name="connsiteX4541" fmla="*/ 6082008 w 6689088"/>
                <a:gd name="connsiteY4541" fmla="*/ 75884 h 6689084"/>
                <a:gd name="connsiteX4542" fmla="*/ 6152086 w 6689088"/>
                <a:gd name="connsiteY4542" fmla="*/ 5809 h 6689084"/>
                <a:gd name="connsiteX4543" fmla="*/ 6305668 w 6689088"/>
                <a:gd name="connsiteY4543" fmla="*/ 2905 h 6689084"/>
                <a:gd name="connsiteX4544" fmla="*/ 6378650 w 6689088"/>
                <a:gd name="connsiteY4544" fmla="*/ 75884 h 6689084"/>
                <a:gd name="connsiteX4545" fmla="*/ 6305668 w 6689088"/>
                <a:gd name="connsiteY4545" fmla="*/ 148866 h 6689084"/>
                <a:gd name="connsiteX4546" fmla="*/ 6232689 w 6689088"/>
                <a:gd name="connsiteY4546" fmla="*/ 75884 h 6689084"/>
                <a:gd name="connsiteX4547" fmla="*/ 6305668 w 6689088"/>
                <a:gd name="connsiteY4547" fmla="*/ 2905 h 6689084"/>
                <a:gd name="connsiteX4548" fmla="*/ 6459616 w 6689088"/>
                <a:gd name="connsiteY4548" fmla="*/ 362 h 6689084"/>
                <a:gd name="connsiteX4549" fmla="*/ 6535137 w 6689088"/>
                <a:gd name="connsiteY4549" fmla="*/ 75884 h 6689084"/>
                <a:gd name="connsiteX4550" fmla="*/ 6459616 w 6689088"/>
                <a:gd name="connsiteY4550" fmla="*/ 151405 h 6689084"/>
                <a:gd name="connsiteX4551" fmla="*/ 6384094 w 6689088"/>
                <a:gd name="connsiteY4551" fmla="*/ 75884 h 6689084"/>
                <a:gd name="connsiteX4552" fmla="*/ 6459616 w 6689088"/>
                <a:gd name="connsiteY4552" fmla="*/ 362 h 6689084"/>
                <a:gd name="connsiteX4553" fmla="*/ 6613200 w 6689088"/>
                <a:gd name="connsiteY4553" fmla="*/ 0 h 6689084"/>
                <a:gd name="connsiteX4554" fmla="*/ 6689088 w 6689088"/>
                <a:gd name="connsiteY4554" fmla="*/ 75884 h 6689084"/>
                <a:gd name="connsiteX4555" fmla="*/ 6613200 w 6689088"/>
                <a:gd name="connsiteY4555" fmla="*/ 151771 h 6689084"/>
                <a:gd name="connsiteX4556" fmla="*/ 6537317 w 6689088"/>
                <a:gd name="connsiteY4556" fmla="*/ 75884 h 6689084"/>
                <a:gd name="connsiteX4557" fmla="*/ 6613200 w 6689088"/>
                <a:gd name="connsiteY4557" fmla="*/ 0 h 6689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Lst>
              <a:rect l="l" t="t" r="r" b="b"/>
              <a:pathLst>
                <a:path w="6689088" h="6689084">
                  <a:moveTo>
                    <a:pt x="6613200" y="6687632"/>
                  </a:moveTo>
                  <a:cubicBezTo>
                    <a:pt x="6613563" y="6687632"/>
                    <a:pt x="6613929" y="6687994"/>
                    <a:pt x="6613929" y="6688360"/>
                  </a:cubicBezTo>
                  <a:cubicBezTo>
                    <a:pt x="6613929" y="6688722"/>
                    <a:pt x="6613200" y="6689084"/>
                    <a:pt x="6613200" y="6689084"/>
                  </a:cubicBezTo>
                  <a:cubicBezTo>
                    <a:pt x="6612838" y="6689084"/>
                    <a:pt x="6612476" y="6688722"/>
                    <a:pt x="6612476" y="6688360"/>
                  </a:cubicBezTo>
                  <a:cubicBezTo>
                    <a:pt x="6612476" y="6687994"/>
                    <a:pt x="6612838" y="6687632"/>
                    <a:pt x="6613200" y="6687632"/>
                  </a:cubicBezTo>
                  <a:close/>
                  <a:moveTo>
                    <a:pt x="6613200" y="6534050"/>
                  </a:moveTo>
                  <a:cubicBezTo>
                    <a:pt x="6613566" y="6534050"/>
                    <a:pt x="6613566" y="6534050"/>
                    <a:pt x="6613566" y="6534413"/>
                  </a:cubicBezTo>
                  <a:cubicBezTo>
                    <a:pt x="6613566" y="6534775"/>
                    <a:pt x="6613200" y="6534775"/>
                    <a:pt x="6613200" y="6534775"/>
                  </a:cubicBezTo>
                  <a:cubicBezTo>
                    <a:pt x="6612838" y="6534775"/>
                    <a:pt x="6612838" y="6534775"/>
                    <a:pt x="6612838" y="6534413"/>
                  </a:cubicBezTo>
                  <a:cubicBezTo>
                    <a:pt x="6612838" y="6534050"/>
                    <a:pt x="6612838" y="6534050"/>
                    <a:pt x="6613200" y="6534050"/>
                  </a:cubicBezTo>
                  <a:close/>
                  <a:moveTo>
                    <a:pt x="6459619" y="6533684"/>
                  </a:moveTo>
                  <a:cubicBezTo>
                    <a:pt x="6460020" y="6533684"/>
                    <a:pt x="6460344" y="6534009"/>
                    <a:pt x="6460344" y="6534413"/>
                  </a:cubicBezTo>
                  <a:cubicBezTo>
                    <a:pt x="6460344" y="6534813"/>
                    <a:pt x="6460020" y="6535137"/>
                    <a:pt x="6459619" y="6535137"/>
                  </a:cubicBezTo>
                  <a:cubicBezTo>
                    <a:pt x="6459215" y="6535137"/>
                    <a:pt x="6458891" y="6534813"/>
                    <a:pt x="6458891" y="6534413"/>
                  </a:cubicBezTo>
                  <a:cubicBezTo>
                    <a:pt x="6458891" y="6534009"/>
                    <a:pt x="6459215" y="6533684"/>
                    <a:pt x="6459619" y="6533684"/>
                  </a:cubicBezTo>
                  <a:close/>
                  <a:moveTo>
                    <a:pt x="6613200" y="6380465"/>
                  </a:moveTo>
                  <a:cubicBezTo>
                    <a:pt x="6613566" y="6380465"/>
                    <a:pt x="6613566" y="6380465"/>
                    <a:pt x="6613566" y="6380827"/>
                  </a:cubicBezTo>
                  <a:cubicBezTo>
                    <a:pt x="6613566" y="6381193"/>
                    <a:pt x="6613200" y="6381193"/>
                    <a:pt x="6613200" y="6381193"/>
                  </a:cubicBezTo>
                  <a:cubicBezTo>
                    <a:pt x="6612838" y="6381193"/>
                    <a:pt x="6612838" y="6381193"/>
                    <a:pt x="6612838" y="6380827"/>
                  </a:cubicBezTo>
                  <a:cubicBezTo>
                    <a:pt x="6612838" y="6380465"/>
                    <a:pt x="6612838" y="6380465"/>
                    <a:pt x="6613200" y="6380465"/>
                  </a:cubicBezTo>
                  <a:close/>
                  <a:moveTo>
                    <a:pt x="6459616" y="6380465"/>
                  </a:moveTo>
                  <a:cubicBezTo>
                    <a:pt x="6459982" y="6380465"/>
                    <a:pt x="6459982" y="6380465"/>
                    <a:pt x="6459982" y="6380827"/>
                  </a:cubicBezTo>
                  <a:cubicBezTo>
                    <a:pt x="6459982" y="6381193"/>
                    <a:pt x="6459616" y="6381193"/>
                    <a:pt x="6459616" y="6381193"/>
                  </a:cubicBezTo>
                  <a:cubicBezTo>
                    <a:pt x="6459254" y="6381193"/>
                    <a:pt x="6459254" y="6381193"/>
                    <a:pt x="6459254" y="6380827"/>
                  </a:cubicBezTo>
                  <a:cubicBezTo>
                    <a:pt x="6459254" y="6380465"/>
                    <a:pt x="6459254" y="6380465"/>
                    <a:pt x="6459616" y="6380465"/>
                  </a:cubicBezTo>
                  <a:close/>
                  <a:moveTo>
                    <a:pt x="6305668" y="6380103"/>
                  </a:moveTo>
                  <a:cubicBezTo>
                    <a:pt x="6306068" y="6380103"/>
                    <a:pt x="6306396" y="6380427"/>
                    <a:pt x="6306396" y="6380831"/>
                  </a:cubicBezTo>
                  <a:cubicBezTo>
                    <a:pt x="6306396" y="6381231"/>
                    <a:pt x="6306068" y="6381555"/>
                    <a:pt x="6305668" y="6381555"/>
                  </a:cubicBezTo>
                  <a:cubicBezTo>
                    <a:pt x="6305268" y="6381555"/>
                    <a:pt x="6304940" y="6381231"/>
                    <a:pt x="6304940" y="6380831"/>
                  </a:cubicBezTo>
                  <a:cubicBezTo>
                    <a:pt x="6304940" y="6380427"/>
                    <a:pt x="6305268" y="6380103"/>
                    <a:pt x="6305668" y="6380103"/>
                  </a:cubicBezTo>
                  <a:close/>
                  <a:moveTo>
                    <a:pt x="6459616" y="6226518"/>
                  </a:moveTo>
                  <a:cubicBezTo>
                    <a:pt x="6459982" y="6226518"/>
                    <a:pt x="6459982" y="6226518"/>
                    <a:pt x="6459982" y="6226880"/>
                  </a:cubicBezTo>
                  <a:cubicBezTo>
                    <a:pt x="6459982" y="6227242"/>
                    <a:pt x="6459616" y="6227242"/>
                    <a:pt x="6459616" y="6227242"/>
                  </a:cubicBezTo>
                  <a:cubicBezTo>
                    <a:pt x="6459254" y="6227242"/>
                    <a:pt x="6459254" y="6227242"/>
                    <a:pt x="6459254" y="6226880"/>
                  </a:cubicBezTo>
                  <a:cubicBezTo>
                    <a:pt x="6459254" y="6226518"/>
                    <a:pt x="6459254" y="6226518"/>
                    <a:pt x="6459616" y="6226518"/>
                  </a:cubicBezTo>
                  <a:close/>
                  <a:moveTo>
                    <a:pt x="6305668" y="6226518"/>
                  </a:moveTo>
                  <a:cubicBezTo>
                    <a:pt x="6306034" y="6226518"/>
                    <a:pt x="6306034" y="6226518"/>
                    <a:pt x="6306034" y="6226880"/>
                  </a:cubicBezTo>
                  <a:cubicBezTo>
                    <a:pt x="6306034" y="6227242"/>
                    <a:pt x="6305668" y="6227242"/>
                    <a:pt x="6305668" y="6227242"/>
                  </a:cubicBezTo>
                  <a:cubicBezTo>
                    <a:pt x="6305306" y="6227242"/>
                    <a:pt x="6305306" y="6227242"/>
                    <a:pt x="6305306" y="6226880"/>
                  </a:cubicBezTo>
                  <a:cubicBezTo>
                    <a:pt x="6305306" y="6226518"/>
                    <a:pt x="6305306" y="6226518"/>
                    <a:pt x="6305668" y="6226518"/>
                  </a:cubicBezTo>
                  <a:close/>
                  <a:moveTo>
                    <a:pt x="6152083" y="6226156"/>
                  </a:moveTo>
                  <a:cubicBezTo>
                    <a:pt x="6152483" y="6226156"/>
                    <a:pt x="6152811" y="6226480"/>
                    <a:pt x="6152811" y="6226884"/>
                  </a:cubicBezTo>
                  <a:cubicBezTo>
                    <a:pt x="6152811" y="6227284"/>
                    <a:pt x="6152483" y="6227608"/>
                    <a:pt x="6152083" y="6227608"/>
                  </a:cubicBezTo>
                  <a:cubicBezTo>
                    <a:pt x="6151682" y="6227608"/>
                    <a:pt x="6151358" y="6227284"/>
                    <a:pt x="6151358" y="6226884"/>
                  </a:cubicBezTo>
                  <a:cubicBezTo>
                    <a:pt x="6151358" y="6226480"/>
                    <a:pt x="6151682" y="6226156"/>
                    <a:pt x="6152083" y="6226156"/>
                  </a:cubicBezTo>
                  <a:close/>
                  <a:moveTo>
                    <a:pt x="6305668" y="6072933"/>
                  </a:moveTo>
                  <a:cubicBezTo>
                    <a:pt x="6306034" y="6072933"/>
                    <a:pt x="6306034" y="6072933"/>
                    <a:pt x="6306034" y="6073295"/>
                  </a:cubicBezTo>
                  <a:cubicBezTo>
                    <a:pt x="6306034" y="6073661"/>
                    <a:pt x="6305668" y="6073661"/>
                    <a:pt x="6305668" y="6073661"/>
                  </a:cubicBezTo>
                  <a:cubicBezTo>
                    <a:pt x="6305306" y="6073661"/>
                    <a:pt x="6305306" y="6073661"/>
                    <a:pt x="6305306" y="6073295"/>
                  </a:cubicBezTo>
                  <a:cubicBezTo>
                    <a:pt x="6305306" y="6072933"/>
                    <a:pt x="6305306" y="6072933"/>
                    <a:pt x="6305668" y="6072933"/>
                  </a:cubicBezTo>
                  <a:close/>
                  <a:moveTo>
                    <a:pt x="6152086" y="6072933"/>
                  </a:moveTo>
                  <a:cubicBezTo>
                    <a:pt x="6152448" y="6072933"/>
                    <a:pt x="6152448" y="6072933"/>
                    <a:pt x="6152448" y="6073295"/>
                  </a:cubicBezTo>
                  <a:cubicBezTo>
                    <a:pt x="6152448" y="6073661"/>
                    <a:pt x="6152086" y="6073661"/>
                    <a:pt x="6152086" y="6073661"/>
                  </a:cubicBezTo>
                  <a:cubicBezTo>
                    <a:pt x="6151724" y="6073661"/>
                    <a:pt x="6151724" y="6073661"/>
                    <a:pt x="6151724" y="6073295"/>
                  </a:cubicBezTo>
                  <a:cubicBezTo>
                    <a:pt x="6151724" y="6072933"/>
                    <a:pt x="6151724" y="6072933"/>
                    <a:pt x="6152086" y="6072933"/>
                  </a:cubicBezTo>
                  <a:close/>
                  <a:moveTo>
                    <a:pt x="5998136" y="6072570"/>
                  </a:moveTo>
                  <a:cubicBezTo>
                    <a:pt x="5998540" y="6072570"/>
                    <a:pt x="5998864" y="6072894"/>
                    <a:pt x="5998864" y="6073298"/>
                  </a:cubicBezTo>
                  <a:cubicBezTo>
                    <a:pt x="5998864" y="6073699"/>
                    <a:pt x="5998540" y="6074023"/>
                    <a:pt x="5998136" y="6074023"/>
                  </a:cubicBezTo>
                  <a:cubicBezTo>
                    <a:pt x="5997735" y="6074023"/>
                    <a:pt x="5997411" y="6073699"/>
                    <a:pt x="5997411" y="6073298"/>
                  </a:cubicBezTo>
                  <a:cubicBezTo>
                    <a:pt x="5997411" y="6072894"/>
                    <a:pt x="5997735" y="6072570"/>
                    <a:pt x="5998136" y="6072570"/>
                  </a:cubicBezTo>
                  <a:close/>
                  <a:moveTo>
                    <a:pt x="6613200" y="5918985"/>
                  </a:moveTo>
                  <a:cubicBezTo>
                    <a:pt x="6613566" y="5918985"/>
                    <a:pt x="6613566" y="5918985"/>
                    <a:pt x="6613566" y="5919347"/>
                  </a:cubicBezTo>
                  <a:cubicBezTo>
                    <a:pt x="6613566" y="5919709"/>
                    <a:pt x="6613200" y="5919709"/>
                    <a:pt x="6613200" y="5919709"/>
                  </a:cubicBezTo>
                  <a:cubicBezTo>
                    <a:pt x="6612838" y="5919709"/>
                    <a:pt x="6612838" y="5919709"/>
                    <a:pt x="6612838" y="5919347"/>
                  </a:cubicBezTo>
                  <a:cubicBezTo>
                    <a:pt x="6612838" y="5918985"/>
                    <a:pt x="6612838" y="5918985"/>
                    <a:pt x="6613200" y="5918985"/>
                  </a:cubicBezTo>
                  <a:close/>
                  <a:moveTo>
                    <a:pt x="6152086" y="5918985"/>
                  </a:moveTo>
                  <a:cubicBezTo>
                    <a:pt x="6152448" y="5918985"/>
                    <a:pt x="6152448" y="5918985"/>
                    <a:pt x="6152448" y="5919347"/>
                  </a:cubicBezTo>
                  <a:cubicBezTo>
                    <a:pt x="6152448" y="5919709"/>
                    <a:pt x="6152086" y="5919709"/>
                    <a:pt x="6152086" y="5919709"/>
                  </a:cubicBezTo>
                  <a:cubicBezTo>
                    <a:pt x="6151724" y="5919709"/>
                    <a:pt x="6151724" y="5919709"/>
                    <a:pt x="6151724" y="5919347"/>
                  </a:cubicBezTo>
                  <a:cubicBezTo>
                    <a:pt x="6151724" y="5918985"/>
                    <a:pt x="6151724" y="5918985"/>
                    <a:pt x="6152086" y="5918985"/>
                  </a:cubicBezTo>
                  <a:close/>
                  <a:moveTo>
                    <a:pt x="5998136" y="5918985"/>
                  </a:moveTo>
                  <a:cubicBezTo>
                    <a:pt x="5998502" y="5918985"/>
                    <a:pt x="5998502" y="5918985"/>
                    <a:pt x="5998502" y="5919347"/>
                  </a:cubicBezTo>
                  <a:cubicBezTo>
                    <a:pt x="5998502" y="5919709"/>
                    <a:pt x="5998136" y="5919709"/>
                    <a:pt x="5998136" y="5919709"/>
                  </a:cubicBezTo>
                  <a:cubicBezTo>
                    <a:pt x="5997773" y="5919709"/>
                    <a:pt x="5997773" y="5919709"/>
                    <a:pt x="5997773" y="5919347"/>
                  </a:cubicBezTo>
                  <a:cubicBezTo>
                    <a:pt x="5997773" y="5918985"/>
                    <a:pt x="5997773" y="5918985"/>
                    <a:pt x="5998136" y="5918985"/>
                  </a:cubicBezTo>
                  <a:close/>
                  <a:moveTo>
                    <a:pt x="5844554" y="5918623"/>
                  </a:moveTo>
                  <a:cubicBezTo>
                    <a:pt x="5844954" y="5918623"/>
                    <a:pt x="5845278" y="5918947"/>
                    <a:pt x="5845278" y="5919347"/>
                  </a:cubicBezTo>
                  <a:cubicBezTo>
                    <a:pt x="5845278" y="5919751"/>
                    <a:pt x="5844954" y="5920075"/>
                    <a:pt x="5844554" y="5920075"/>
                  </a:cubicBezTo>
                  <a:cubicBezTo>
                    <a:pt x="5844150" y="5920075"/>
                    <a:pt x="5843826" y="5919751"/>
                    <a:pt x="5843826" y="5919347"/>
                  </a:cubicBezTo>
                  <a:cubicBezTo>
                    <a:pt x="5843826" y="5918947"/>
                    <a:pt x="5844150" y="5918623"/>
                    <a:pt x="5844554" y="5918623"/>
                  </a:cubicBezTo>
                  <a:close/>
                  <a:moveTo>
                    <a:pt x="6459616" y="5765400"/>
                  </a:moveTo>
                  <a:cubicBezTo>
                    <a:pt x="6459982" y="5765400"/>
                    <a:pt x="6459982" y="5765400"/>
                    <a:pt x="6459982" y="5765762"/>
                  </a:cubicBezTo>
                  <a:cubicBezTo>
                    <a:pt x="6459982" y="5766128"/>
                    <a:pt x="6459616" y="5766128"/>
                    <a:pt x="6459616" y="5766128"/>
                  </a:cubicBezTo>
                  <a:cubicBezTo>
                    <a:pt x="6459254" y="5766128"/>
                    <a:pt x="6459254" y="5766128"/>
                    <a:pt x="6459254" y="5765762"/>
                  </a:cubicBezTo>
                  <a:cubicBezTo>
                    <a:pt x="6459254" y="5765400"/>
                    <a:pt x="6459254" y="5765400"/>
                    <a:pt x="6459616" y="5765400"/>
                  </a:cubicBezTo>
                  <a:close/>
                  <a:moveTo>
                    <a:pt x="5998136" y="5765400"/>
                  </a:moveTo>
                  <a:cubicBezTo>
                    <a:pt x="5998502" y="5765400"/>
                    <a:pt x="5998502" y="5765400"/>
                    <a:pt x="5998502" y="5765762"/>
                  </a:cubicBezTo>
                  <a:cubicBezTo>
                    <a:pt x="5998502" y="5766128"/>
                    <a:pt x="5998136" y="5766128"/>
                    <a:pt x="5998136" y="5766128"/>
                  </a:cubicBezTo>
                  <a:cubicBezTo>
                    <a:pt x="5997773" y="5766128"/>
                    <a:pt x="5997773" y="5766128"/>
                    <a:pt x="5997773" y="5765762"/>
                  </a:cubicBezTo>
                  <a:cubicBezTo>
                    <a:pt x="5997773" y="5765400"/>
                    <a:pt x="5997773" y="5765400"/>
                    <a:pt x="5998136" y="5765400"/>
                  </a:cubicBezTo>
                  <a:close/>
                  <a:moveTo>
                    <a:pt x="5844550" y="5765400"/>
                  </a:moveTo>
                  <a:cubicBezTo>
                    <a:pt x="5844916" y="5765400"/>
                    <a:pt x="5844916" y="5765400"/>
                    <a:pt x="5844916" y="5765762"/>
                  </a:cubicBezTo>
                  <a:cubicBezTo>
                    <a:pt x="5844916" y="5766128"/>
                    <a:pt x="5844550" y="5766128"/>
                    <a:pt x="5844550" y="5766128"/>
                  </a:cubicBezTo>
                  <a:cubicBezTo>
                    <a:pt x="5844188" y="5766128"/>
                    <a:pt x="5844188" y="5766128"/>
                    <a:pt x="5844188" y="5765762"/>
                  </a:cubicBezTo>
                  <a:cubicBezTo>
                    <a:pt x="5844188" y="5765400"/>
                    <a:pt x="5844188" y="5765400"/>
                    <a:pt x="5844550" y="5765400"/>
                  </a:cubicBezTo>
                  <a:close/>
                  <a:moveTo>
                    <a:pt x="5690602" y="5765038"/>
                  </a:moveTo>
                  <a:cubicBezTo>
                    <a:pt x="5691003" y="5765038"/>
                    <a:pt x="5691331" y="5765362"/>
                    <a:pt x="5691331" y="5765766"/>
                  </a:cubicBezTo>
                  <a:cubicBezTo>
                    <a:pt x="5691331" y="5766166"/>
                    <a:pt x="5691003" y="5766490"/>
                    <a:pt x="5690602" y="5766490"/>
                  </a:cubicBezTo>
                  <a:cubicBezTo>
                    <a:pt x="5690202" y="5766490"/>
                    <a:pt x="5689874" y="5766166"/>
                    <a:pt x="5689874" y="5765766"/>
                  </a:cubicBezTo>
                  <a:cubicBezTo>
                    <a:pt x="5689874" y="5765362"/>
                    <a:pt x="5690202" y="5765038"/>
                    <a:pt x="5690602" y="5765038"/>
                  </a:cubicBezTo>
                  <a:close/>
                  <a:moveTo>
                    <a:pt x="6613200" y="5764313"/>
                  </a:moveTo>
                  <a:cubicBezTo>
                    <a:pt x="6614005" y="5764313"/>
                    <a:pt x="6614653" y="5764965"/>
                    <a:pt x="6614653" y="5765766"/>
                  </a:cubicBezTo>
                  <a:cubicBezTo>
                    <a:pt x="6614653" y="5766566"/>
                    <a:pt x="6614005" y="5767218"/>
                    <a:pt x="6613200" y="5767218"/>
                  </a:cubicBezTo>
                  <a:cubicBezTo>
                    <a:pt x="6612400" y="5767218"/>
                    <a:pt x="6611752" y="5766566"/>
                    <a:pt x="6611752" y="5765766"/>
                  </a:cubicBezTo>
                  <a:cubicBezTo>
                    <a:pt x="6611752" y="5764965"/>
                    <a:pt x="6612400" y="5764313"/>
                    <a:pt x="6613200" y="5764313"/>
                  </a:cubicBezTo>
                  <a:close/>
                  <a:moveTo>
                    <a:pt x="6305668" y="5611452"/>
                  </a:moveTo>
                  <a:cubicBezTo>
                    <a:pt x="6305870" y="5611452"/>
                    <a:pt x="6306034" y="5611616"/>
                    <a:pt x="6306034" y="5611815"/>
                  </a:cubicBezTo>
                  <a:cubicBezTo>
                    <a:pt x="6306034" y="5612017"/>
                    <a:pt x="6305870" y="5612177"/>
                    <a:pt x="6305668" y="5612177"/>
                  </a:cubicBezTo>
                  <a:cubicBezTo>
                    <a:pt x="6305470" y="5612177"/>
                    <a:pt x="6305306" y="5612017"/>
                    <a:pt x="6305306" y="5611815"/>
                  </a:cubicBezTo>
                  <a:cubicBezTo>
                    <a:pt x="6305306" y="5611616"/>
                    <a:pt x="6305470" y="5611452"/>
                    <a:pt x="6305668" y="5611452"/>
                  </a:cubicBezTo>
                  <a:close/>
                  <a:moveTo>
                    <a:pt x="5844550" y="5611452"/>
                  </a:moveTo>
                  <a:cubicBezTo>
                    <a:pt x="5844916" y="5611452"/>
                    <a:pt x="5844916" y="5611452"/>
                    <a:pt x="5844916" y="5611815"/>
                  </a:cubicBezTo>
                  <a:cubicBezTo>
                    <a:pt x="5844916" y="5612181"/>
                    <a:pt x="5844550" y="5612181"/>
                    <a:pt x="5844550" y="5612181"/>
                  </a:cubicBezTo>
                  <a:cubicBezTo>
                    <a:pt x="5844188" y="5612181"/>
                    <a:pt x="5844188" y="5612181"/>
                    <a:pt x="5844188" y="5611815"/>
                  </a:cubicBezTo>
                  <a:cubicBezTo>
                    <a:pt x="5844188" y="5611452"/>
                    <a:pt x="5844188" y="5611452"/>
                    <a:pt x="5844550" y="5611452"/>
                  </a:cubicBezTo>
                  <a:close/>
                  <a:moveTo>
                    <a:pt x="5690606" y="5611452"/>
                  </a:moveTo>
                  <a:cubicBezTo>
                    <a:pt x="5690972" y="5611452"/>
                    <a:pt x="5690972" y="5611452"/>
                    <a:pt x="5690972" y="5611815"/>
                  </a:cubicBezTo>
                  <a:cubicBezTo>
                    <a:pt x="5690972" y="5612181"/>
                    <a:pt x="5690606" y="5612181"/>
                    <a:pt x="5690606" y="5612181"/>
                  </a:cubicBezTo>
                  <a:cubicBezTo>
                    <a:pt x="5690244" y="5612181"/>
                    <a:pt x="5690244" y="5612181"/>
                    <a:pt x="5690244" y="5611815"/>
                  </a:cubicBezTo>
                  <a:cubicBezTo>
                    <a:pt x="5690244" y="5611452"/>
                    <a:pt x="5690244" y="5611452"/>
                    <a:pt x="5690606" y="5611452"/>
                  </a:cubicBezTo>
                  <a:close/>
                  <a:moveTo>
                    <a:pt x="5537021" y="5611090"/>
                  </a:moveTo>
                  <a:cubicBezTo>
                    <a:pt x="5537422" y="5611090"/>
                    <a:pt x="5537750" y="5611414"/>
                    <a:pt x="5537750" y="5611815"/>
                  </a:cubicBezTo>
                  <a:cubicBezTo>
                    <a:pt x="5537750" y="5612219"/>
                    <a:pt x="5537422" y="5612543"/>
                    <a:pt x="5537021" y="5612543"/>
                  </a:cubicBezTo>
                  <a:cubicBezTo>
                    <a:pt x="5536621" y="5612543"/>
                    <a:pt x="5536297" y="5612219"/>
                    <a:pt x="5536297" y="5611815"/>
                  </a:cubicBezTo>
                  <a:cubicBezTo>
                    <a:pt x="5536297" y="5611414"/>
                    <a:pt x="5536621" y="5611090"/>
                    <a:pt x="5537021" y="5611090"/>
                  </a:cubicBezTo>
                  <a:close/>
                  <a:moveTo>
                    <a:pt x="6459616" y="5610366"/>
                  </a:moveTo>
                  <a:cubicBezTo>
                    <a:pt x="6460420" y="5610366"/>
                    <a:pt x="6461068" y="5611018"/>
                    <a:pt x="6461068" y="5611818"/>
                  </a:cubicBezTo>
                  <a:cubicBezTo>
                    <a:pt x="6461068" y="5612619"/>
                    <a:pt x="6460420" y="5613271"/>
                    <a:pt x="6459616" y="5613271"/>
                  </a:cubicBezTo>
                  <a:cubicBezTo>
                    <a:pt x="6458815" y="5613271"/>
                    <a:pt x="6458163" y="5612619"/>
                    <a:pt x="6458163" y="5611818"/>
                  </a:cubicBezTo>
                  <a:cubicBezTo>
                    <a:pt x="6458163" y="5611018"/>
                    <a:pt x="6458815" y="5610366"/>
                    <a:pt x="6459616" y="5610366"/>
                  </a:cubicBezTo>
                  <a:close/>
                  <a:moveTo>
                    <a:pt x="6613200" y="5609638"/>
                  </a:moveTo>
                  <a:cubicBezTo>
                    <a:pt x="6614406" y="5609638"/>
                    <a:pt x="6615381" y="5610614"/>
                    <a:pt x="6615381" y="5611815"/>
                  </a:cubicBezTo>
                  <a:cubicBezTo>
                    <a:pt x="6615381" y="5613019"/>
                    <a:pt x="6614406" y="5613995"/>
                    <a:pt x="6613200" y="5613995"/>
                  </a:cubicBezTo>
                  <a:cubicBezTo>
                    <a:pt x="6612000" y="5613995"/>
                    <a:pt x="6611024" y="5613019"/>
                    <a:pt x="6611024" y="5611815"/>
                  </a:cubicBezTo>
                  <a:cubicBezTo>
                    <a:pt x="6611024" y="5610614"/>
                    <a:pt x="6612000" y="5609638"/>
                    <a:pt x="6613200" y="5609638"/>
                  </a:cubicBezTo>
                  <a:close/>
                  <a:moveTo>
                    <a:pt x="6152086" y="5457871"/>
                  </a:moveTo>
                  <a:cubicBezTo>
                    <a:pt x="6152448" y="5457871"/>
                    <a:pt x="6152448" y="5457871"/>
                    <a:pt x="6152448" y="5458233"/>
                  </a:cubicBezTo>
                  <a:cubicBezTo>
                    <a:pt x="6152448" y="5458595"/>
                    <a:pt x="6152086" y="5458595"/>
                    <a:pt x="6152086" y="5458595"/>
                  </a:cubicBezTo>
                  <a:cubicBezTo>
                    <a:pt x="6151724" y="5458595"/>
                    <a:pt x="6151724" y="5458595"/>
                    <a:pt x="6151724" y="5458233"/>
                  </a:cubicBezTo>
                  <a:cubicBezTo>
                    <a:pt x="6151724" y="5457871"/>
                    <a:pt x="6151724" y="5457871"/>
                    <a:pt x="6152086" y="5457871"/>
                  </a:cubicBezTo>
                  <a:close/>
                  <a:moveTo>
                    <a:pt x="5690606" y="5457871"/>
                  </a:moveTo>
                  <a:cubicBezTo>
                    <a:pt x="5690972" y="5457871"/>
                    <a:pt x="5690972" y="5457871"/>
                    <a:pt x="5690972" y="5458233"/>
                  </a:cubicBezTo>
                  <a:cubicBezTo>
                    <a:pt x="5690972" y="5458595"/>
                    <a:pt x="5690606" y="5458595"/>
                    <a:pt x="5690606" y="5458595"/>
                  </a:cubicBezTo>
                  <a:cubicBezTo>
                    <a:pt x="5690244" y="5458595"/>
                    <a:pt x="5690244" y="5458595"/>
                    <a:pt x="5690244" y="5458233"/>
                  </a:cubicBezTo>
                  <a:cubicBezTo>
                    <a:pt x="5690244" y="5457871"/>
                    <a:pt x="5690244" y="5457871"/>
                    <a:pt x="5690606" y="5457871"/>
                  </a:cubicBezTo>
                  <a:close/>
                  <a:moveTo>
                    <a:pt x="5536659" y="5457871"/>
                  </a:moveTo>
                  <a:cubicBezTo>
                    <a:pt x="5537021" y="5457871"/>
                    <a:pt x="5537021" y="5457871"/>
                    <a:pt x="5537021" y="5458233"/>
                  </a:cubicBezTo>
                  <a:cubicBezTo>
                    <a:pt x="5537021" y="5458595"/>
                    <a:pt x="5536659" y="5458595"/>
                    <a:pt x="5536659" y="5458595"/>
                  </a:cubicBezTo>
                  <a:cubicBezTo>
                    <a:pt x="5536297" y="5458595"/>
                    <a:pt x="5536297" y="5458595"/>
                    <a:pt x="5536297" y="5458233"/>
                  </a:cubicBezTo>
                  <a:cubicBezTo>
                    <a:pt x="5536297" y="5457871"/>
                    <a:pt x="5536297" y="5457871"/>
                    <a:pt x="5536659" y="5457871"/>
                  </a:cubicBezTo>
                  <a:close/>
                  <a:moveTo>
                    <a:pt x="5383078" y="5457505"/>
                  </a:moveTo>
                  <a:cubicBezTo>
                    <a:pt x="5383478" y="5457505"/>
                    <a:pt x="5383802" y="5457829"/>
                    <a:pt x="5383802" y="5458233"/>
                  </a:cubicBezTo>
                  <a:cubicBezTo>
                    <a:pt x="5383802" y="5458633"/>
                    <a:pt x="5383478" y="5458957"/>
                    <a:pt x="5383078" y="5458957"/>
                  </a:cubicBezTo>
                  <a:cubicBezTo>
                    <a:pt x="5382674" y="5458957"/>
                    <a:pt x="5382350" y="5458633"/>
                    <a:pt x="5382350" y="5458233"/>
                  </a:cubicBezTo>
                  <a:cubicBezTo>
                    <a:pt x="5382350" y="5457829"/>
                    <a:pt x="5382674" y="5457505"/>
                    <a:pt x="5383078" y="5457505"/>
                  </a:cubicBezTo>
                  <a:close/>
                  <a:moveTo>
                    <a:pt x="6305668" y="5456781"/>
                  </a:moveTo>
                  <a:cubicBezTo>
                    <a:pt x="6306472" y="5456781"/>
                    <a:pt x="6307120" y="5457433"/>
                    <a:pt x="6307120" y="5458233"/>
                  </a:cubicBezTo>
                  <a:cubicBezTo>
                    <a:pt x="6307120" y="5459034"/>
                    <a:pt x="6306472" y="5459685"/>
                    <a:pt x="6305668" y="5459685"/>
                  </a:cubicBezTo>
                  <a:cubicBezTo>
                    <a:pt x="6304868" y="5459685"/>
                    <a:pt x="6304216" y="5459034"/>
                    <a:pt x="6304216" y="5458233"/>
                  </a:cubicBezTo>
                  <a:cubicBezTo>
                    <a:pt x="6304216" y="5457433"/>
                    <a:pt x="6304868" y="5456781"/>
                    <a:pt x="6305668" y="5456781"/>
                  </a:cubicBezTo>
                  <a:close/>
                  <a:moveTo>
                    <a:pt x="6459619" y="5456053"/>
                  </a:moveTo>
                  <a:cubicBezTo>
                    <a:pt x="6460820" y="5456053"/>
                    <a:pt x="6461796" y="5457029"/>
                    <a:pt x="6461796" y="5458233"/>
                  </a:cubicBezTo>
                  <a:cubicBezTo>
                    <a:pt x="6461796" y="5459434"/>
                    <a:pt x="6460820" y="5460410"/>
                    <a:pt x="6459619" y="5460410"/>
                  </a:cubicBezTo>
                  <a:cubicBezTo>
                    <a:pt x="6458414" y="5460410"/>
                    <a:pt x="6457439" y="5459434"/>
                    <a:pt x="6457439" y="5458233"/>
                  </a:cubicBezTo>
                  <a:cubicBezTo>
                    <a:pt x="6457439" y="5457029"/>
                    <a:pt x="6458414" y="5456053"/>
                    <a:pt x="6459619" y="5456053"/>
                  </a:cubicBezTo>
                  <a:close/>
                  <a:moveTo>
                    <a:pt x="6613200" y="5454966"/>
                  </a:moveTo>
                  <a:cubicBezTo>
                    <a:pt x="6615015" y="5454966"/>
                    <a:pt x="6616468" y="5456419"/>
                    <a:pt x="6616468" y="5458233"/>
                  </a:cubicBezTo>
                  <a:cubicBezTo>
                    <a:pt x="6616468" y="5460048"/>
                    <a:pt x="6615015" y="5461500"/>
                    <a:pt x="6613200" y="5461500"/>
                  </a:cubicBezTo>
                  <a:cubicBezTo>
                    <a:pt x="6611386" y="5461500"/>
                    <a:pt x="6609934" y="5460048"/>
                    <a:pt x="6609934" y="5458233"/>
                  </a:cubicBezTo>
                  <a:cubicBezTo>
                    <a:pt x="6609934" y="5456419"/>
                    <a:pt x="6611386" y="5454966"/>
                    <a:pt x="6613200" y="5454966"/>
                  </a:cubicBezTo>
                  <a:close/>
                  <a:moveTo>
                    <a:pt x="5998136" y="5303924"/>
                  </a:moveTo>
                  <a:cubicBezTo>
                    <a:pt x="5998502" y="5303924"/>
                    <a:pt x="5998502" y="5303924"/>
                    <a:pt x="5998502" y="5304286"/>
                  </a:cubicBezTo>
                  <a:cubicBezTo>
                    <a:pt x="5998502" y="5304652"/>
                    <a:pt x="5998136" y="5304652"/>
                    <a:pt x="5998136" y="5304652"/>
                  </a:cubicBezTo>
                  <a:cubicBezTo>
                    <a:pt x="5997773" y="5304652"/>
                    <a:pt x="5997773" y="5304652"/>
                    <a:pt x="5997773" y="5304286"/>
                  </a:cubicBezTo>
                  <a:cubicBezTo>
                    <a:pt x="5997773" y="5303924"/>
                    <a:pt x="5997773" y="5303924"/>
                    <a:pt x="5998136" y="5303924"/>
                  </a:cubicBezTo>
                  <a:close/>
                  <a:moveTo>
                    <a:pt x="5536659" y="5303924"/>
                  </a:moveTo>
                  <a:cubicBezTo>
                    <a:pt x="5537021" y="5303924"/>
                    <a:pt x="5537021" y="5303924"/>
                    <a:pt x="5537021" y="5304286"/>
                  </a:cubicBezTo>
                  <a:cubicBezTo>
                    <a:pt x="5537021" y="5304652"/>
                    <a:pt x="5536659" y="5304652"/>
                    <a:pt x="5536659" y="5304652"/>
                  </a:cubicBezTo>
                  <a:cubicBezTo>
                    <a:pt x="5536297" y="5304652"/>
                    <a:pt x="5536297" y="5304652"/>
                    <a:pt x="5536297" y="5304286"/>
                  </a:cubicBezTo>
                  <a:cubicBezTo>
                    <a:pt x="5536297" y="5303924"/>
                    <a:pt x="5536297" y="5303924"/>
                    <a:pt x="5536659" y="5303924"/>
                  </a:cubicBezTo>
                  <a:close/>
                  <a:moveTo>
                    <a:pt x="5383074" y="5303924"/>
                  </a:moveTo>
                  <a:cubicBezTo>
                    <a:pt x="5383436" y="5303924"/>
                    <a:pt x="5383436" y="5303924"/>
                    <a:pt x="5383436" y="5304286"/>
                  </a:cubicBezTo>
                  <a:cubicBezTo>
                    <a:pt x="5383436" y="5304652"/>
                    <a:pt x="5383074" y="5304652"/>
                    <a:pt x="5383074" y="5304652"/>
                  </a:cubicBezTo>
                  <a:cubicBezTo>
                    <a:pt x="5382712" y="5304652"/>
                    <a:pt x="5382712" y="5304652"/>
                    <a:pt x="5382712" y="5304286"/>
                  </a:cubicBezTo>
                  <a:cubicBezTo>
                    <a:pt x="5382712" y="5303924"/>
                    <a:pt x="5382712" y="5303924"/>
                    <a:pt x="5383074" y="5303924"/>
                  </a:cubicBezTo>
                  <a:close/>
                  <a:moveTo>
                    <a:pt x="5229126" y="5303558"/>
                  </a:moveTo>
                  <a:cubicBezTo>
                    <a:pt x="5229492" y="5303558"/>
                    <a:pt x="5229854" y="5303920"/>
                    <a:pt x="5229854" y="5304282"/>
                  </a:cubicBezTo>
                  <a:cubicBezTo>
                    <a:pt x="5229854" y="5304648"/>
                    <a:pt x="5229126" y="5305010"/>
                    <a:pt x="5229126" y="5305010"/>
                  </a:cubicBezTo>
                  <a:cubicBezTo>
                    <a:pt x="5228764" y="5305010"/>
                    <a:pt x="5228402" y="5304648"/>
                    <a:pt x="5228402" y="5304282"/>
                  </a:cubicBezTo>
                  <a:cubicBezTo>
                    <a:pt x="5228402" y="5303920"/>
                    <a:pt x="5228764" y="5303558"/>
                    <a:pt x="5229126" y="5303558"/>
                  </a:cubicBezTo>
                  <a:close/>
                  <a:moveTo>
                    <a:pt x="6152086" y="5302833"/>
                  </a:moveTo>
                  <a:cubicBezTo>
                    <a:pt x="6152891" y="5302833"/>
                    <a:pt x="6153539" y="5303485"/>
                    <a:pt x="6153539" y="5304286"/>
                  </a:cubicBezTo>
                  <a:cubicBezTo>
                    <a:pt x="6153539" y="5305086"/>
                    <a:pt x="6152891" y="5305738"/>
                    <a:pt x="6152086" y="5305738"/>
                  </a:cubicBezTo>
                  <a:cubicBezTo>
                    <a:pt x="6151286" y="5305738"/>
                    <a:pt x="6150638" y="5305086"/>
                    <a:pt x="6150638" y="5304286"/>
                  </a:cubicBezTo>
                  <a:cubicBezTo>
                    <a:pt x="6150638" y="5303485"/>
                    <a:pt x="6151286" y="5302833"/>
                    <a:pt x="6152086" y="5302833"/>
                  </a:cubicBezTo>
                  <a:close/>
                  <a:moveTo>
                    <a:pt x="6305672" y="5302105"/>
                  </a:moveTo>
                  <a:cubicBezTo>
                    <a:pt x="6306872" y="5302105"/>
                    <a:pt x="6307848" y="5303081"/>
                    <a:pt x="6307848" y="5304282"/>
                  </a:cubicBezTo>
                  <a:cubicBezTo>
                    <a:pt x="6307848" y="5305487"/>
                    <a:pt x="6306872" y="5306462"/>
                    <a:pt x="6305672" y="5306462"/>
                  </a:cubicBezTo>
                  <a:cubicBezTo>
                    <a:pt x="6304468" y="5306462"/>
                    <a:pt x="6303492" y="5305487"/>
                    <a:pt x="6303492" y="5304282"/>
                  </a:cubicBezTo>
                  <a:cubicBezTo>
                    <a:pt x="6303492" y="5303081"/>
                    <a:pt x="6304468" y="5302105"/>
                    <a:pt x="6305672" y="5302105"/>
                  </a:cubicBezTo>
                  <a:close/>
                  <a:moveTo>
                    <a:pt x="6459619" y="5301019"/>
                  </a:moveTo>
                  <a:cubicBezTo>
                    <a:pt x="6461434" y="5301019"/>
                    <a:pt x="6462882" y="5302471"/>
                    <a:pt x="6462882" y="5304286"/>
                  </a:cubicBezTo>
                  <a:cubicBezTo>
                    <a:pt x="6462882" y="5306100"/>
                    <a:pt x="6461434" y="5307553"/>
                    <a:pt x="6459619" y="5307553"/>
                  </a:cubicBezTo>
                  <a:cubicBezTo>
                    <a:pt x="6457801" y="5307553"/>
                    <a:pt x="6456348" y="5306100"/>
                    <a:pt x="6456348" y="5304286"/>
                  </a:cubicBezTo>
                  <a:cubicBezTo>
                    <a:pt x="6456348" y="5302471"/>
                    <a:pt x="6457801" y="5301019"/>
                    <a:pt x="6459619" y="5301019"/>
                  </a:cubicBezTo>
                  <a:close/>
                  <a:moveTo>
                    <a:pt x="6613200" y="5299929"/>
                  </a:moveTo>
                  <a:cubicBezTo>
                    <a:pt x="6615743" y="5299929"/>
                    <a:pt x="6617558" y="5301743"/>
                    <a:pt x="6617558" y="5304286"/>
                  </a:cubicBezTo>
                  <a:cubicBezTo>
                    <a:pt x="6617558" y="5306828"/>
                    <a:pt x="6615378" y="5308643"/>
                    <a:pt x="6613200" y="5308643"/>
                  </a:cubicBezTo>
                  <a:cubicBezTo>
                    <a:pt x="6610658" y="5308643"/>
                    <a:pt x="6608844" y="5306828"/>
                    <a:pt x="6608844" y="5304286"/>
                  </a:cubicBezTo>
                  <a:cubicBezTo>
                    <a:pt x="6608844" y="5301743"/>
                    <a:pt x="6610658" y="5299929"/>
                    <a:pt x="6613200" y="5299929"/>
                  </a:cubicBezTo>
                  <a:close/>
                  <a:moveTo>
                    <a:pt x="5844550" y="5150338"/>
                  </a:moveTo>
                  <a:cubicBezTo>
                    <a:pt x="5844916" y="5150338"/>
                    <a:pt x="5844916" y="5150338"/>
                    <a:pt x="5844916" y="5150700"/>
                  </a:cubicBezTo>
                  <a:cubicBezTo>
                    <a:pt x="5844916" y="5151063"/>
                    <a:pt x="5844550" y="5151063"/>
                    <a:pt x="5844550" y="5151063"/>
                  </a:cubicBezTo>
                  <a:cubicBezTo>
                    <a:pt x="5844188" y="5151063"/>
                    <a:pt x="5844188" y="5151063"/>
                    <a:pt x="5844188" y="5150700"/>
                  </a:cubicBezTo>
                  <a:cubicBezTo>
                    <a:pt x="5844188" y="5150338"/>
                    <a:pt x="5844188" y="5150338"/>
                    <a:pt x="5844550" y="5150338"/>
                  </a:cubicBezTo>
                  <a:close/>
                  <a:moveTo>
                    <a:pt x="5383074" y="5150338"/>
                  </a:moveTo>
                  <a:cubicBezTo>
                    <a:pt x="5383436" y="5150338"/>
                    <a:pt x="5383436" y="5150338"/>
                    <a:pt x="5383436" y="5150700"/>
                  </a:cubicBezTo>
                  <a:cubicBezTo>
                    <a:pt x="5383436" y="5151063"/>
                    <a:pt x="5383074" y="5151063"/>
                    <a:pt x="5383074" y="5151063"/>
                  </a:cubicBezTo>
                  <a:cubicBezTo>
                    <a:pt x="5382712" y="5151063"/>
                    <a:pt x="5382712" y="5151063"/>
                    <a:pt x="5382712" y="5150700"/>
                  </a:cubicBezTo>
                  <a:cubicBezTo>
                    <a:pt x="5382712" y="5150338"/>
                    <a:pt x="5382712" y="5150338"/>
                    <a:pt x="5383074" y="5150338"/>
                  </a:cubicBezTo>
                  <a:close/>
                  <a:moveTo>
                    <a:pt x="5229126" y="5150338"/>
                  </a:moveTo>
                  <a:cubicBezTo>
                    <a:pt x="5229488" y="5150338"/>
                    <a:pt x="5229488" y="5150338"/>
                    <a:pt x="5229488" y="5150700"/>
                  </a:cubicBezTo>
                  <a:cubicBezTo>
                    <a:pt x="5229488" y="5151063"/>
                    <a:pt x="5229126" y="5151063"/>
                    <a:pt x="5229126" y="5151063"/>
                  </a:cubicBezTo>
                  <a:cubicBezTo>
                    <a:pt x="5228764" y="5151063"/>
                    <a:pt x="5228764" y="5151063"/>
                    <a:pt x="5228764" y="5150700"/>
                  </a:cubicBezTo>
                  <a:cubicBezTo>
                    <a:pt x="5228764" y="5150338"/>
                    <a:pt x="5228764" y="5150338"/>
                    <a:pt x="5229126" y="5150338"/>
                  </a:cubicBezTo>
                  <a:close/>
                  <a:moveTo>
                    <a:pt x="5075545" y="5149972"/>
                  </a:moveTo>
                  <a:cubicBezTo>
                    <a:pt x="5075907" y="5149972"/>
                    <a:pt x="5076270" y="5150335"/>
                    <a:pt x="5076270" y="5150700"/>
                  </a:cubicBezTo>
                  <a:cubicBezTo>
                    <a:pt x="5076270" y="5151063"/>
                    <a:pt x="5075545" y="5151425"/>
                    <a:pt x="5075545" y="5151425"/>
                  </a:cubicBezTo>
                  <a:cubicBezTo>
                    <a:pt x="5075179" y="5151425"/>
                    <a:pt x="5074817" y="5151063"/>
                    <a:pt x="5074817" y="5150700"/>
                  </a:cubicBezTo>
                  <a:cubicBezTo>
                    <a:pt x="5074817" y="5150335"/>
                    <a:pt x="5075179" y="5149972"/>
                    <a:pt x="5075545" y="5149972"/>
                  </a:cubicBezTo>
                  <a:close/>
                  <a:moveTo>
                    <a:pt x="5998139" y="5149248"/>
                  </a:moveTo>
                  <a:cubicBezTo>
                    <a:pt x="5998944" y="5149248"/>
                    <a:pt x="5999592" y="5149900"/>
                    <a:pt x="5999592" y="5150700"/>
                  </a:cubicBezTo>
                  <a:cubicBezTo>
                    <a:pt x="5999592" y="5151501"/>
                    <a:pt x="5998944" y="5152153"/>
                    <a:pt x="5998139" y="5152153"/>
                  </a:cubicBezTo>
                  <a:cubicBezTo>
                    <a:pt x="5997338" y="5152153"/>
                    <a:pt x="5996690" y="5151501"/>
                    <a:pt x="5996690" y="5150700"/>
                  </a:cubicBezTo>
                  <a:cubicBezTo>
                    <a:pt x="5996690" y="5149900"/>
                    <a:pt x="5997338" y="5149248"/>
                    <a:pt x="5998139" y="5149248"/>
                  </a:cubicBezTo>
                  <a:close/>
                  <a:moveTo>
                    <a:pt x="6152083" y="5148524"/>
                  </a:moveTo>
                  <a:cubicBezTo>
                    <a:pt x="6153288" y="5148524"/>
                    <a:pt x="6154263" y="5149500"/>
                    <a:pt x="6154263" y="5150704"/>
                  </a:cubicBezTo>
                  <a:cubicBezTo>
                    <a:pt x="6154263" y="5151905"/>
                    <a:pt x="6153288" y="5152881"/>
                    <a:pt x="6152083" y="5152881"/>
                  </a:cubicBezTo>
                  <a:cubicBezTo>
                    <a:pt x="6150882" y="5152881"/>
                    <a:pt x="6149906" y="5151905"/>
                    <a:pt x="6149906" y="5150704"/>
                  </a:cubicBezTo>
                  <a:cubicBezTo>
                    <a:pt x="6149906" y="5149500"/>
                    <a:pt x="6150882" y="5148524"/>
                    <a:pt x="6152083" y="5148524"/>
                  </a:cubicBezTo>
                  <a:close/>
                  <a:moveTo>
                    <a:pt x="6305672" y="5147434"/>
                  </a:moveTo>
                  <a:cubicBezTo>
                    <a:pt x="6307486" y="5147434"/>
                    <a:pt x="6308935" y="5148886"/>
                    <a:pt x="6308935" y="5150700"/>
                  </a:cubicBezTo>
                  <a:cubicBezTo>
                    <a:pt x="6308935" y="5152515"/>
                    <a:pt x="6307486" y="5153967"/>
                    <a:pt x="6305672" y="5153967"/>
                  </a:cubicBezTo>
                  <a:cubicBezTo>
                    <a:pt x="6303854" y="5153967"/>
                    <a:pt x="6302401" y="5152515"/>
                    <a:pt x="6302401" y="5150700"/>
                  </a:cubicBezTo>
                  <a:cubicBezTo>
                    <a:pt x="6302401" y="5148886"/>
                    <a:pt x="6303854" y="5147434"/>
                    <a:pt x="6305672" y="5147434"/>
                  </a:cubicBezTo>
                  <a:close/>
                  <a:moveTo>
                    <a:pt x="6459616" y="5145981"/>
                  </a:moveTo>
                  <a:cubicBezTo>
                    <a:pt x="6462158" y="5145981"/>
                    <a:pt x="6463972" y="5147796"/>
                    <a:pt x="6463972" y="5150338"/>
                  </a:cubicBezTo>
                  <a:cubicBezTo>
                    <a:pt x="6463972" y="5152881"/>
                    <a:pt x="6461792" y="5154695"/>
                    <a:pt x="6459616" y="5154695"/>
                  </a:cubicBezTo>
                  <a:cubicBezTo>
                    <a:pt x="6457073" y="5154695"/>
                    <a:pt x="6455258" y="5152881"/>
                    <a:pt x="6455258" y="5150338"/>
                  </a:cubicBezTo>
                  <a:cubicBezTo>
                    <a:pt x="6455258" y="5147796"/>
                    <a:pt x="6457073" y="5145981"/>
                    <a:pt x="6459616" y="5145981"/>
                  </a:cubicBezTo>
                  <a:close/>
                  <a:moveTo>
                    <a:pt x="6613200" y="5144891"/>
                  </a:moveTo>
                  <a:cubicBezTo>
                    <a:pt x="6616410" y="5144891"/>
                    <a:pt x="6619010" y="5147491"/>
                    <a:pt x="6619010" y="5150700"/>
                  </a:cubicBezTo>
                  <a:cubicBezTo>
                    <a:pt x="6619010" y="5153910"/>
                    <a:pt x="6616410" y="5156510"/>
                    <a:pt x="6613200" y="5156510"/>
                  </a:cubicBezTo>
                  <a:cubicBezTo>
                    <a:pt x="6609995" y="5156510"/>
                    <a:pt x="6607395" y="5153910"/>
                    <a:pt x="6607395" y="5150700"/>
                  </a:cubicBezTo>
                  <a:cubicBezTo>
                    <a:pt x="6607395" y="5147491"/>
                    <a:pt x="6609995" y="5144891"/>
                    <a:pt x="6613200" y="5144891"/>
                  </a:cubicBezTo>
                  <a:close/>
                  <a:moveTo>
                    <a:pt x="5690606" y="4996391"/>
                  </a:moveTo>
                  <a:cubicBezTo>
                    <a:pt x="5690972" y="4996391"/>
                    <a:pt x="5690972" y="4996391"/>
                    <a:pt x="5690972" y="4996753"/>
                  </a:cubicBezTo>
                  <a:cubicBezTo>
                    <a:pt x="5690972" y="4997119"/>
                    <a:pt x="5690606" y="4997119"/>
                    <a:pt x="5690606" y="4997119"/>
                  </a:cubicBezTo>
                  <a:cubicBezTo>
                    <a:pt x="5690244" y="4997119"/>
                    <a:pt x="5690244" y="4997119"/>
                    <a:pt x="5690244" y="4996753"/>
                  </a:cubicBezTo>
                  <a:cubicBezTo>
                    <a:pt x="5690244" y="4996391"/>
                    <a:pt x="5690244" y="4996391"/>
                    <a:pt x="5690606" y="4996391"/>
                  </a:cubicBezTo>
                  <a:close/>
                  <a:moveTo>
                    <a:pt x="5229126" y="4996391"/>
                  </a:moveTo>
                  <a:cubicBezTo>
                    <a:pt x="5229488" y="4996391"/>
                    <a:pt x="5229488" y="4996391"/>
                    <a:pt x="5229488" y="4996753"/>
                  </a:cubicBezTo>
                  <a:cubicBezTo>
                    <a:pt x="5229488" y="4997119"/>
                    <a:pt x="5229126" y="4997119"/>
                    <a:pt x="5229126" y="4997119"/>
                  </a:cubicBezTo>
                  <a:cubicBezTo>
                    <a:pt x="5228764" y="4997119"/>
                    <a:pt x="5228764" y="4997119"/>
                    <a:pt x="5228764" y="4996753"/>
                  </a:cubicBezTo>
                  <a:cubicBezTo>
                    <a:pt x="5228764" y="4996391"/>
                    <a:pt x="5228764" y="4996391"/>
                    <a:pt x="5229126" y="4996391"/>
                  </a:cubicBezTo>
                  <a:close/>
                  <a:moveTo>
                    <a:pt x="5075541" y="4996391"/>
                  </a:moveTo>
                  <a:cubicBezTo>
                    <a:pt x="5075904" y="4996391"/>
                    <a:pt x="5075904" y="4996391"/>
                    <a:pt x="5075904" y="4996753"/>
                  </a:cubicBezTo>
                  <a:cubicBezTo>
                    <a:pt x="5075904" y="4997119"/>
                    <a:pt x="5075541" y="4997119"/>
                    <a:pt x="5075541" y="4997119"/>
                  </a:cubicBezTo>
                  <a:cubicBezTo>
                    <a:pt x="5075179" y="4997119"/>
                    <a:pt x="5075179" y="4997119"/>
                    <a:pt x="5075179" y="4996753"/>
                  </a:cubicBezTo>
                  <a:cubicBezTo>
                    <a:pt x="5075179" y="4996391"/>
                    <a:pt x="5075179" y="4996391"/>
                    <a:pt x="5075541" y="4996391"/>
                  </a:cubicBezTo>
                  <a:close/>
                  <a:moveTo>
                    <a:pt x="4921594" y="4996029"/>
                  </a:moveTo>
                  <a:cubicBezTo>
                    <a:pt x="4921960" y="4996029"/>
                    <a:pt x="4922322" y="4996391"/>
                    <a:pt x="4922322" y="4996753"/>
                  </a:cubicBezTo>
                  <a:cubicBezTo>
                    <a:pt x="4922322" y="4997119"/>
                    <a:pt x="4921594" y="4997481"/>
                    <a:pt x="4921594" y="4997481"/>
                  </a:cubicBezTo>
                  <a:cubicBezTo>
                    <a:pt x="4921232" y="4997481"/>
                    <a:pt x="4920870" y="4997119"/>
                    <a:pt x="4920870" y="4996753"/>
                  </a:cubicBezTo>
                  <a:cubicBezTo>
                    <a:pt x="4920870" y="4996391"/>
                    <a:pt x="4921232" y="4996029"/>
                    <a:pt x="4921594" y="4996029"/>
                  </a:cubicBezTo>
                  <a:close/>
                  <a:moveTo>
                    <a:pt x="5844554" y="4995301"/>
                  </a:moveTo>
                  <a:cubicBezTo>
                    <a:pt x="5845278" y="4995301"/>
                    <a:pt x="5846006" y="4996029"/>
                    <a:pt x="5846006" y="4996753"/>
                  </a:cubicBezTo>
                  <a:cubicBezTo>
                    <a:pt x="5846006" y="4997477"/>
                    <a:pt x="5844554" y="4998205"/>
                    <a:pt x="5844554" y="4998205"/>
                  </a:cubicBezTo>
                  <a:cubicBezTo>
                    <a:pt x="5843826" y="4998205"/>
                    <a:pt x="5843102" y="4997477"/>
                    <a:pt x="5843102" y="4996753"/>
                  </a:cubicBezTo>
                  <a:cubicBezTo>
                    <a:pt x="5843102" y="4996029"/>
                    <a:pt x="5843826" y="4995301"/>
                    <a:pt x="5844554" y="4995301"/>
                  </a:cubicBezTo>
                  <a:close/>
                  <a:moveTo>
                    <a:pt x="5998136" y="4994577"/>
                  </a:moveTo>
                  <a:cubicBezTo>
                    <a:pt x="5999340" y="4994577"/>
                    <a:pt x="6000316" y="4995552"/>
                    <a:pt x="6000316" y="4996753"/>
                  </a:cubicBezTo>
                  <a:cubicBezTo>
                    <a:pt x="6000316" y="4997958"/>
                    <a:pt x="5999340" y="4998934"/>
                    <a:pt x="5998136" y="4998934"/>
                  </a:cubicBezTo>
                  <a:cubicBezTo>
                    <a:pt x="5996934" y="4998934"/>
                    <a:pt x="5995959" y="4997958"/>
                    <a:pt x="5995959" y="4996753"/>
                  </a:cubicBezTo>
                  <a:cubicBezTo>
                    <a:pt x="5995959" y="4995552"/>
                    <a:pt x="5996934" y="4994577"/>
                    <a:pt x="5998136" y="4994577"/>
                  </a:cubicBezTo>
                  <a:close/>
                  <a:moveTo>
                    <a:pt x="6152083" y="4993486"/>
                  </a:moveTo>
                  <a:cubicBezTo>
                    <a:pt x="6153901" y="4993486"/>
                    <a:pt x="6155350" y="4994939"/>
                    <a:pt x="6155350" y="4996753"/>
                  </a:cubicBezTo>
                  <a:cubicBezTo>
                    <a:pt x="6155350" y="4998568"/>
                    <a:pt x="6153901" y="5000024"/>
                    <a:pt x="6152083" y="5000024"/>
                  </a:cubicBezTo>
                  <a:cubicBezTo>
                    <a:pt x="6150268" y="5000024"/>
                    <a:pt x="6148816" y="4998568"/>
                    <a:pt x="6148816" y="4996753"/>
                  </a:cubicBezTo>
                  <a:cubicBezTo>
                    <a:pt x="6148816" y="4994939"/>
                    <a:pt x="6150268" y="4993486"/>
                    <a:pt x="6152083" y="4993486"/>
                  </a:cubicBezTo>
                  <a:close/>
                  <a:moveTo>
                    <a:pt x="6305668" y="4992396"/>
                  </a:moveTo>
                  <a:cubicBezTo>
                    <a:pt x="6308210" y="4992396"/>
                    <a:pt x="6310025" y="4994211"/>
                    <a:pt x="6310025" y="4996753"/>
                  </a:cubicBezTo>
                  <a:cubicBezTo>
                    <a:pt x="6310025" y="4999296"/>
                    <a:pt x="6307844" y="5001110"/>
                    <a:pt x="6305668" y="5001110"/>
                  </a:cubicBezTo>
                  <a:cubicBezTo>
                    <a:pt x="6303126" y="5001110"/>
                    <a:pt x="6301311" y="4999296"/>
                    <a:pt x="6301311" y="4996753"/>
                  </a:cubicBezTo>
                  <a:cubicBezTo>
                    <a:pt x="6301311" y="4994211"/>
                    <a:pt x="6303126" y="4992396"/>
                    <a:pt x="6305668" y="4992396"/>
                  </a:cubicBezTo>
                  <a:close/>
                  <a:moveTo>
                    <a:pt x="6459616" y="4990944"/>
                  </a:moveTo>
                  <a:cubicBezTo>
                    <a:pt x="6462825" y="4990944"/>
                    <a:pt x="6465425" y="4993543"/>
                    <a:pt x="6465425" y="4996753"/>
                  </a:cubicBezTo>
                  <a:cubicBezTo>
                    <a:pt x="6465425" y="4999963"/>
                    <a:pt x="6462821" y="5002562"/>
                    <a:pt x="6459616" y="5002562"/>
                  </a:cubicBezTo>
                  <a:cubicBezTo>
                    <a:pt x="6456406" y="5002562"/>
                    <a:pt x="6453806" y="4999963"/>
                    <a:pt x="6453806" y="4996753"/>
                  </a:cubicBezTo>
                  <a:cubicBezTo>
                    <a:pt x="6453806" y="4993543"/>
                    <a:pt x="6456410" y="4990944"/>
                    <a:pt x="6459616" y="4990944"/>
                  </a:cubicBezTo>
                  <a:close/>
                  <a:moveTo>
                    <a:pt x="6613200" y="4989491"/>
                  </a:moveTo>
                  <a:cubicBezTo>
                    <a:pt x="6617196" y="4989491"/>
                    <a:pt x="6620462" y="4992758"/>
                    <a:pt x="6620462" y="4996753"/>
                  </a:cubicBezTo>
                  <a:cubicBezTo>
                    <a:pt x="6620462" y="5000748"/>
                    <a:pt x="6617196" y="5004015"/>
                    <a:pt x="6613200" y="5004015"/>
                  </a:cubicBezTo>
                  <a:cubicBezTo>
                    <a:pt x="6609210" y="5004015"/>
                    <a:pt x="6605939" y="5000748"/>
                    <a:pt x="6605939" y="4996753"/>
                  </a:cubicBezTo>
                  <a:cubicBezTo>
                    <a:pt x="6605939" y="4992758"/>
                    <a:pt x="6609210" y="4989491"/>
                    <a:pt x="6613200" y="4989491"/>
                  </a:cubicBezTo>
                  <a:close/>
                  <a:moveTo>
                    <a:pt x="5536659" y="4842806"/>
                  </a:moveTo>
                  <a:cubicBezTo>
                    <a:pt x="5537021" y="4842806"/>
                    <a:pt x="5537021" y="4842806"/>
                    <a:pt x="5537021" y="4843168"/>
                  </a:cubicBezTo>
                  <a:cubicBezTo>
                    <a:pt x="5537021" y="4843530"/>
                    <a:pt x="5536659" y="4843530"/>
                    <a:pt x="5536659" y="4843530"/>
                  </a:cubicBezTo>
                  <a:cubicBezTo>
                    <a:pt x="5536297" y="4843530"/>
                    <a:pt x="5536297" y="4843530"/>
                    <a:pt x="5536297" y="4843168"/>
                  </a:cubicBezTo>
                  <a:cubicBezTo>
                    <a:pt x="5536297" y="4842806"/>
                    <a:pt x="5536297" y="4842806"/>
                    <a:pt x="5536659" y="4842806"/>
                  </a:cubicBezTo>
                  <a:close/>
                  <a:moveTo>
                    <a:pt x="5075541" y="4842806"/>
                  </a:moveTo>
                  <a:cubicBezTo>
                    <a:pt x="5075904" y="4842806"/>
                    <a:pt x="5075904" y="4842806"/>
                    <a:pt x="5075904" y="4843168"/>
                  </a:cubicBezTo>
                  <a:cubicBezTo>
                    <a:pt x="5075904" y="4843530"/>
                    <a:pt x="5075541" y="4843530"/>
                    <a:pt x="5075541" y="4843530"/>
                  </a:cubicBezTo>
                  <a:cubicBezTo>
                    <a:pt x="5075179" y="4843530"/>
                    <a:pt x="5075179" y="4843530"/>
                    <a:pt x="5075179" y="4843168"/>
                  </a:cubicBezTo>
                  <a:cubicBezTo>
                    <a:pt x="5075179" y="4842806"/>
                    <a:pt x="5075179" y="4842806"/>
                    <a:pt x="5075541" y="4842806"/>
                  </a:cubicBezTo>
                  <a:close/>
                  <a:moveTo>
                    <a:pt x="4921594" y="4842806"/>
                  </a:moveTo>
                  <a:cubicBezTo>
                    <a:pt x="4921956" y="4842806"/>
                    <a:pt x="4921956" y="4842806"/>
                    <a:pt x="4921956" y="4843168"/>
                  </a:cubicBezTo>
                  <a:cubicBezTo>
                    <a:pt x="4921956" y="4843530"/>
                    <a:pt x="4921594" y="4843530"/>
                    <a:pt x="4921594" y="4843530"/>
                  </a:cubicBezTo>
                  <a:cubicBezTo>
                    <a:pt x="4921232" y="4843530"/>
                    <a:pt x="4921232" y="4843530"/>
                    <a:pt x="4921232" y="4843168"/>
                  </a:cubicBezTo>
                  <a:cubicBezTo>
                    <a:pt x="4921232" y="4842806"/>
                    <a:pt x="4921232" y="4842806"/>
                    <a:pt x="4921594" y="4842806"/>
                  </a:cubicBezTo>
                  <a:close/>
                  <a:moveTo>
                    <a:pt x="4768012" y="4842444"/>
                  </a:moveTo>
                  <a:cubicBezTo>
                    <a:pt x="4768374" y="4842444"/>
                    <a:pt x="4768736" y="4842806"/>
                    <a:pt x="4768736" y="4843172"/>
                  </a:cubicBezTo>
                  <a:cubicBezTo>
                    <a:pt x="4768736" y="4843534"/>
                    <a:pt x="4768012" y="4843896"/>
                    <a:pt x="4768012" y="4843896"/>
                  </a:cubicBezTo>
                  <a:cubicBezTo>
                    <a:pt x="4767646" y="4843896"/>
                    <a:pt x="4767284" y="4843534"/>
                    <a:pt x="4767284" y="4843172"/>
                  </a:cubicBezTo>
                  <a:cubicBezTo>
                    <a:pt x="4767284" y="4842806"/>
                    <a:pt x="4767646" y="4842444"/>
                    <a:pt x="4768012" y="4842444"/>
                  </a:cubicBezTo>
                  <a:close/>
                  <a:moveTo>
                    <a:pt x="5690606" y="4841353"/>
                  </a:moveTo>
                  <a:cubicBezTo>
                    <a:pt x="5691331" y="4841353"/>
                    <a:pt x="5692059" y="4842081"/>
                    <a:pt x="5692059" y="4842806"/>
                  </a:cubicBezTo>
                  <a:cubicBezTo>
                    <a:pt x="5692059" y="4843530"/>
                    <a:pt x="5690606" y="4844258"/>
                    <a:pt x="5690606" y="4844258"/>
                  </a:cubicBezTo>
                  <a:cubicBezTo>
                    <a:pt x="5689882" y="4844258"/>
                    <a:pt x="5689154" y="4843530"/>
                    <a:pt x="5689154" y="4842806"/>
                  </a:cubicBezTo>
                  <a:cubicBezTo>
                    <a:pt x="5689154" y="4842081"/>
                    <a:pt x="5689882" y="4841353"/>
                    <a:pt x="5690606" y="4841353"/>
                  </a:cubicBezTo>
                  <a:close/>
                  <a:moveTo>
                    <a:pt x="5844554" y="4840629"/>
                  </a:moveTo>
                  <a:cubicBezTo>
                    <a:pt x="5845754" y="4840629"/>
                    <a:pt x="5846730" y="4841605"/>
                    <a:pt x="5846730" y="4842810"/>
                  </a:cubicBezTo>
                  <a:cubicBezTo>
                    <a:pt x="5846730" y="4844010"/>
                    <a:pt x="5845754" y="4844986"/>
                    <a:pt x="5844554" y="4844986"/>
                  </a:cubicBezTo>
                  <a:cubicBezTo>
                    <a:pt x="5843350" y="4844986"/>
                    <a:pt x="5842374" y="4844010"/>
                    <a:pt x="5842374" y="4842810"/>
                  </a:cubicBezTo>
                  <a:cubicBezTo>
                    <a:pt x="5842374" y="4841605"/>
                    <a:pt x="5843350" y="4840629"/>
                    <a:pt x="5844554" y="4840629"/>
                  </a:cubicBezTo>
                  <a:close/>
                  <a:moveTo>
                    <a:pt x="5998136" y="4839901"/>
                  </a:moveTo>
                  <a:cubicBezTo>
                    <a:pt x="5999950" y="4839901"/>
                    <a:pt x="6001402" y="4841353"/>
                    <a:pt x="6001402" y="4843168"/>
                  </a:cubicBezTo>
                  <a:cubicBezTo>
                    <a:pt x="6001402" y="4844982"/>
                    <a:pt x="5999950" y="4846435"/>
                    <a:pt x="5998136" y="4846435"/>
                  </a:cubicBezTo>
                  <a:cubicBezTo>
                    <a:pt x="5996321" y="4846435"/>
                    <a:pt x="5994868" y="4844982"/>
                    <a:pt x="5994868" y="4843168"/>
                  </a:cubicBezTo>
                  <a:cubicBezTo>
                    <a:pt x="5994868" y="4841353"/>
                    <a:pt x="5996321" y="4839901"/>
                    <a:pt x="5998136" y="4839901"/>
                  </a:cubicBezTo>
                  <a:close/>
                  <a:moveTo>
                    <a:pt x="6152083" y="4838449"/>
                  </a:moveTo>
                  <a:cubicBezTo>
                    <a:pt x="6154626" y="4838449"/>
                    <a:pt x="6156440" y="4840263"/>
                    <a:pt x="6156440" y="4842806"/>
                  </a:cubicBezTo>
                  <a:cubicBezTo>
                    <a:pt x="6156440" y="4845348"/>
                    <a:pt x="6154260" y="4847163"/>
                    <a:pt x="6152083" y="4847163"/>
                  </a:cubicBezTo>
                  <a:cubicBezTo>
                    <a:pt x="6149544" y="4847163"/>
                    <a:pt x="6147726" y="4845348"/>
                    <a:pt x="6147726" y="4842806"/>
                  </a:cubicBezTo>
                  <a:cubicBezTo>
                    <a:pt x="6147726" y="4840263"/>
                    <a:pt x="6149544" y="4838449"/>
                    <a:pt x="6152083" y="4838449"/>
                  </a:cubicBezTo>
                  <a:close/>
                  <a:moveTo>
                    <a:pt x="6305668" y="4836996"/>
                  </a:moveTo>
                  <a:cubicBezTo>
                    <a:pt x="6308878" y="4836996"/>
                    <a:pt x="6311478" y="4839596"/>
                    <a:pt x="6311478" y="4842806"/>
                  </a:cubicBezTo>
                  <a:cubicBezTo>
                    <a:pt x="6311478" y="4846015"/>
                    <a:pt x="6308874" y="4848615"/>
                    <a:pt x="6305668" y="4848615"/>
                  </a:cubicBezTo>
                  <a:cubicBezTo>
                    <a:pt x="6302458" y="4848615"/>
                    <a:pt x="6299858" y="4846015"/>
                    <a:pt x="6299858" y="4842806"/>
                  </a:cubicBezTo>
                  <a:cubicBezTo>
                    <a:pt x="6299858" y="4839596"/>
                    <a:pt x="6302462" y="4836996"/>
                    <a:pt x="6305668" y="4836996"/>
                  </a:cubicBezTo>
                  <a:close/>
                  <a:moveTo>
                    <a:pt x="6459616" y="4835544"/>
                  </a:moveTo>
                  <a:cubicBezTo>
                    <a:pt x="6463610" y="4835544"/>
                    <a:pt x="6466877" y="4838811"/>
                    <a:pt x="6466877" y="4842806"/>
                  </a:cubicBezTo>
                  <a:cubicBezTo>
                    <a:pt x="6466877" y="4846801"/>
                    <a:pt x="6463610" y="4850067"/>
                    <a:pt x="6459616" y="4850067"/>
                  </a:cubicBezTo>
                  <a:cubicBezTo>
                    <a:pt x="6455624" y="4850067"/>
                    <a:pt x="6452354" y="4846801"/>
                    <a:pt x="6452354" y="4842806"/>
                  </a:cubicBezTo>
                  <a:cubicBezTo>
                    <a:pt x="6452354" y="4838811"/>
                    <a:pt x="6455624" y="4835544"/>
                    <a:pt x="6459616" y="4835544"/>
                  </a:cubicBezTo>
                  <a:close/>
                  <a:moveTo>
                    <a:pt x="6613200" y="4833730"/>
                  </a:moveTo>
                  <a:cubicBezTo>
                    <a:pt x="6618286" y="4833730"/>
                    <a:pt x="6622280" y="4837724"/>
                    <a:pt x="6622280" y="4842806"/>
                  </a:cubicBezTo>
                  <a:cubicBezTo>
                    <a:pt x="6622280" y="4847891"/>
                    <a:pt x="6618286" y="4851886"/>
                    <a:pt x="6613200" y="4851886"/>
                  </a:cubicBezTo>
                  <a:cubicBezTo>
                    <a:pt x="6608120" y="4851886"/>
                    <a:pt x="6604124" y="4847891"/>
                    <a:pt x="6604124" y="4842806"/>
                  </a:cubicBezTo>
                  <a:cubicBezTo>
                    <a:pt x="6604124" y="4837724"/>
                    <a:pt x="6608120" y="4833730"/>
                    <a:pt x="6613200" y="4833730"/>
                  </a:cubicBezTo>
                  <a:close/>
                  <a:moveTo>
                    <a:pt x="5383074" y="4688858"/>
                  </a:moveTo>
                  <a:cubicBezTo>
                    <a:pt x="5383436" y="4688858"/>
                    <a:pt x="5383436" y="4688858"/>
                    <a:pt x="5383436" y="4689220"/>
                  </a:cubicBezTo>
                  <a:cubicBezTo>
                    <a:pt x="5383436" y="4689586"/>
                    <a:pt x="5383074" y="4689586"/>
                    <a:pt x="5383074" y="4689586"/>
                  </a:cubicBezTo>
                  <a:cubicBezTo>
                    <a:pt x="5382712" y="4689586"/>
                    <a:pt x="5382712" y="4689586"/>
                    <a:pt x="5382712" y="4689220"/>
                  </a:cubicBezTo>
                  <a:cubicBezTo>
                    <a:pt x="5382712" y="4688858"/>
                    <a:pt x="5382712" y="4688858"/>
                    <a:pt x="5383074" y="4688858"/>
                  </a:cubicBezTo>
                  <a:close/>
                  <a:moveTo>
                    <a:pt x="4921594" y="4688858"/>
                  </a:moveTo>
                  <a:cubicBezTo>
                    <a:pt x="4921956" y="4688858"/>
                    <a:pt x="4921956" y="4688858"/>
                    <a:pt x="4921956" y="4689220"/>
                  </a:cubicBezTo>
                  <a:cubicBezTo>
                    <a:pt x="4921956" y="4689586"/>
                    <a:pt x="4921594" y="4689586"/>
                    <a:pt x="4921594" y="4689586"/>
                  </a:cubicBezTo>
                  <a:cubicBezTo>
                    <a:pt x="4921232" y="4689586"/>
                    <a:pt x="4921232" y="4689586"/>
                    <a:pt x="4921232" y="4689220"/>
                  </a:cubicBezTo>
                  <a:cubicBezTo>
                    <a:pt x="4921232" y="4688858"/>
                    <a:pt x="4921232" y="4688858"/>
                    <a:pt x="4921594" y="4688858"/>
                  </a:cubicBezTo>
                  <a:close/>
                  <a:moveTo>
                    <a:pt x="4768008" y="4688858"/>
                  </a:moveTo>
                  <a:cubicBezTo>
                    <a:pt x="4768370" y="4688858"/>
                    <a:pt x="4768370" y="4688858"/>
                    <a:pt x="4768370" y="4689220"/>
                  </a:cubicBezTo>
                  <a:cubicBezTo>
                    <a:pt x="4768370" y="4689586"/>
                    <a:pt x="4768008" y="4689586"/>
                    <a:pt x="4768008" y="4689586"/>
                  </a:cubicBezTo>
                  <a:cubicBezTo>
                    <a:pt x="4767646" y="4689586"/>
                    <a:pt x="4767646" y="4689586"/>
                    <a:pt x="4767646" y="4689220"/>
                  </a:cubicBezTo>
                  <a:cubicBezTo>
                    <a:pt x="4767646" y="4688858"/>
                    <a:pt x="4767646" y="4688858"/>
                    <a:pt x="4768008" y="4688858"/>
                  </a:cubicBezTo>
                  <a:close/>
                  <a:moveTo>
                    <a:pt x="4614065" y="4688496"/>
                  </a:moveTo>
                  <a:cubicBezTo>
                    <a:pt x="4614465" y="4688496"/>
                    <a:pt x="4614789" y="4688820"/>
                    <a:pt x="4614789" y="4689220"/>
                  </a:cubicBezTo>
                  <a:cubicBezTo>
                    <a:pt x="4614789" y="4689625"/>
                    <a:pt x="4614465" y="4689949"/>
                    <a:pt x="4614065" y="4689949"/>
                  </a:cubicBezTo>
                  <a:cubicBezTo>
                    <a:pt x="4613661" y="4689949"/>
                    <a:pt x="4613337" y="4689625"/>
                    <a:pt x="4613337" y="4689220"/>
                  </a:cubicBezTo>
                  <a:cubicBezTo>
                    <a:pt x="4613337" y="4688820"/>
                    <a:pt x="4613661" y="4688496"/>
                    <a:pt x="4614065" y="4688496"/>
                  </a:cubicBezTo>
                  <a:close/>
                  <a:moveTo>
                    <a:pt x="5536659" y="4687406"/>
                  </a:moveTo>
                  <a:cubicBezTo>
                    <a:pt x="5537384" y="4687406"/>
                    <a:pt x="5538112" y="4688130"/>
                    <a:pt x="5538112" y="4688858"/>
                  </a:cubicBezTo>
                  <a:cubicBezTo>
                    <a:pt x="5538112" y="4689583"/>
                    <a:pt x="5536659" y="4690311"/>
                    <a:pt x="5536659" y="4690311"/>
                  </a:cubicBezTo>
                  <a:cubicBezTo>
                    <a:pt x="5535935" y="4690311"/>
                    <a:pt x="5535207" y="4689583"/>
                    <a:pt x="5535207" y="4688858"/>
                  </a:cubicBezTo>
                  <a:cubicBezTo>
                    <a:pt x="5535207" y="4688130"/>
                    <a:pt x="5535935" y="4687406"/>
                    <a:pt x="5536659" y="4687406"/>
                  </a:cubicBezTo>
                  <a:close/>
                  <a:moveTo>
                    <a:pt x="5690602" y="4687044"/>
                  </a:moveTo>
                  <a:cubicBezTo>
                    <a:pt x="5691693" y="4687044"/>
                    <a:pt x="5692783" y="4688134"/>
                    <a:pt x="5692783" y="4689220"/>
                  </a:cubicBezTo>
                  <a:cubicBezTo>
                    <a:pt x="5692783" y="4690311"/>
                    <a:pt x="5690602" y="4691401"/>
                    <a:pt x="5690602" y="4691401"/>
                  </a:cubicBezTo>
                  <a:cubicBezTo>
                    <a:pt x="5689512" y="4691401"/>
                    <a:pt x="5688426" y="4690311"/>
                    <a:pt x="5688426" y="4689220"/>
                  </a:cubicBezTo>
                  <a:cubicBezTo>
                    <a:pt x="5688426" y="4688134"/>
                    <a:pt x="5689512" y="4687044"/>
                    <a:pt x="5690602" y="4687044"/>
                  </a:cubicBezTo>
                  <a:close/>
                  <a:moveTo>
                    <a:pt x="5844554" y="4685954"/>
                  </a:moveTo>
                  <a:cubicBezTo>
                    <a:pt x="5846368" y="4685954"/>
                    <a:pt x="5847817" y="4687406"/>
                    <a:pt x="5847817" y="4689220"/>
                  </a:cubicBezTo>
                  <a:cubicBezTo>
                    <a:pt x="5847817" y="4691035"/>
                    <a:pt x="5846368" y="4692491"/>
                    <a:pt x="5844554" y="4692491"/>
                  </a:cubicBezTo>
                  <a:cubicBezTo>
                    <a:pt x="5842736" y="4692491"/>
                    <a:pt x="5841284" y="4691035"/>
                    <a:pt x="5841284" y="4689220"/>
                  </a:cubicBezTo>
                  <a:cubicBezTo>
                    <a:pt x="5841284" y="4687406"/>
                    <a:pt x="5842736" y="4685954"/>
                    <a:pt x="5844554" y="4685954"/>
                  </a:cubicBezTo>
                  <a:close/>
                  <a:moveTo>
                    <a:pt x="5998136" y="4684863"/>
                  </a:moveTo>
                  <a:cubicBezTo>
                    <a:pt x="6000678" y="4684863"/>
                    <a:pt x="6002492" y="4686678"/>
                    <a:pt x="6002492" y="4689220"/>
                  </a:cubicBezTo>
                  <a:cubicBezTo>
                    <a:pt x="6002492" y="4691763"/>
                    <a:pt x="6000312" y="4693577"/>
                    <a:pt x="5998136" y="4693577"/>
                  </a:cubicBezTo>
                  <a:cubicBezTo>
                    <a:pt x="5995593" y="4693577"/>
                    <a:pt x="5993778" y="4691763"/>
                    <a:pt x="5993778" y="4689220"/>
                  </a:cubicBezTo>
                  <a:cubicBezTo>
                    <a:pt x="5993778" y="4686678"/>
                    <a:pt x="5995593" y="4684863"/>
                    <a:pt x="5998136" y="4684863"/>
                  </a:cubicBezTo>
                  <a:close/>
                  <a:moveTo>
                    <a:pt x="6152086" y="4683411"/>
                  </a:moveTo>
                  <a:cubicBezTo>
                    <a:pt x="6155354" y="4683411"/>
                    <a:pt x="6157896" y="4685954"/>
                    <a:pt x="6157896" y="4689220"/>
                  </a:cubicBezTo>
                  <a:cubicBezTo>
                    <a:pt x="6157896" y="4692487"/>
                    <a:pt x="6155354" y="4695030"/>
                    <a:pt x="6152086" y="4695030"/>
                  </a:cubicBezTo>
                  <a:cubicBezTo>
                    <a:pt x="6148820" y="4695030"/>
                    <a:pt x="6146277" y="4692487"/>
                    <a:pt x="6146277" y="4689220"/>
                  </a:cubicBezTo>
                  <a:cubicBezTo>
                    <a:pt x="6146277" y="4685954"/>
                    <a:pt x="6148820" y="4683411"/>
                    <a:pt x="6152086" y="4683411"/>
                  </a:cubicBezTo>
                  <a:close/>
                  <a:moveTo>
                    <a:pt x="6305668" y="4681959"/>
                  </a:moveTo>
                  <a:cubicBezTo>
                    <a:pt x="6309663" y="4681959"/>
                    <a:pt x="6312930" y="4685226"/>
                    <a:pt x="6312930" y="4689220"/>
                  </a:cubicBezTo>
                  <a:cubicBezTo>
                    <a:pt x="6312930" y="4693215"/>
                    <a:pt x="6309663" y="4696482"/>
                    <a:pt x="6305668" y="4696482"/>
                  </a:cubicBezTo>
                  <a:cubicBezTo>
                    <a:pt x="6301673" y="4696482"/>
                    <a:pt x="6298406" y="4693215"/>
                    <a:pt x="6298406" y="4689220"/>
                  </a:cubicBezTo>
                  <a:cubicBezTo>
                    <a:pt x="6298406" y="4685226"/>
                    <a:pt x="6301673" y="4681959"/>
                    <a:pt x="6305668" y="4681959"/>
                  </a:cubicBezTo>
                  <a:close/>
                  <a:moveTo>
                    <a:pt x="6459616" y="4680144"/>
                  </a:moveTo>
                  <a:cubicBezTo>
                    <a:pt x="6464700" y="4680144"/>
                    <a:pt x="6468696" y="4684139"/>
                    <a:pt x="6468696" y="4689220"/>
                  </a:cubicBezTo>
                  <a:cubicBezTo>
                    <a:pt x="6468696" y="4694306"/>
                    <a:pt x="6464700" y="4698300"/>
                    <a:pt x="6459616" y="4698300"/>
                  </a:cubicBezTo>
                  <a:cubicBezTo>
                    <a:pt x="6454534" y="4698300"/>
                    <a:pt x="6450540" y="4694306"/>
                    <a:pt x="6450540" y="4689220"/>
                  </a:cubicBezTo>
                  <a:cubicBezTo>
                    <a:pt x="6450540" y="4684139"/>
                    <a:pt x="6454534" y="4680144"/>
                    <a:pt x="6459616" y="4680144"/>
                  </a:cubicBezTo>
                  <a:close/>
                  <a:moveTo>
                    <a:pt x="6613200" y="4679054"/>
                  </a:moveTo>
                  <a:cubicBezTo>
                    <a:pt x="6618648" y="4679054"/>
                    <a:pt x="6623367" y="4683773"/>
                    <a:pt x="6623367" y="4689220"/>
                  </a:cubicBezTo>
                  <a:cubicBezTo>
                    <a:pt x="6623367" y="4694668"/>
                    <a:pt x="6619010" y="4699387"/>
                    <a:pt x="6613200" y="4699387"/>
                  </a:cubicBezTo>
                  <a:cubicBezTo>
                    <a:pt x="6607754" y="4699387"/>
                    <a:pt x="6603034" y="4694668"/>
                    <a:pt x="6603034" y="4689220"/>
                  </a:cubicBezTo>
                  <a:cubicBezTo>
                    <a:pt x="6603034" y="4683773"/>
                    <a:pt x="6607754" y="4679054"/>
                    <a:pt x="6613200" y="4679054"/>
                  </a:cubicBezTo>
                  <a:close/>
                  <a:moveTo>
                    <a:pt x="5229126" y="4535273"/>
                  </a:moveTo>
                  <a:cubicBezTo>
                    <a:pt x="5229488" y="4535273"/>
                    <a:pt x="5229488" y="4535273"/>
                    <a:pt x="5229488" y="4535635"/>
                  </a:cubicBezTo>
                  <a:cubicBezTo>
                    <a:pt x="5229488" y="4535997"/>
                    <a:pt x="5229126" y="4535997"/>
                    <a:pt x="5229126" y="4535997"/>
                  </a:cubicBezTo>
                  <a:cubicBezTo>
                    <a:pt x="5228764" y="4535997"/>
                    <a:pt x="5228764" y="4535997"/>
                    <a:pt x="5228764" y="4535635"/>
                  </a:cubicBezTo>
                  <a:cubicBezTo>
                    <a:pt x="5228764" y="4535273"/>
                    <a:pt x="5228764" y="4535273"/>
                    <a:pt x="5229126" y="4535273"/>
                  </a:cubicBezTo>
                  <a:close/>
                  <a:moveTo>
                    <a:pt x="4768008" y="4535273"/>
                  </a:moveTo>
                  <a:cubicBezTo>
                    <a:pt x="4768370" y="4535273"/>
                    <a:pt x="4768370" y="4535273"/>
                    <a:pt x="4768370" y="4535635"/>
                  </a:cubicBezTo>
                  <a:cubicBezTo>
                    <a:pt x="4768370" y="4535997"/>
                    <a:pt x="4768008" y="4535997"/>
                    <a:pt x="4768008" y="4535997"/>
                  </a:cubicBezTo>
                  <a:cubicBezTo>
                    <a:pt x="4767646" y="4535997"/>
                    <a:pt x="4767646" y="4535997"/>
                    <a:pt x="4767646" y="4535635"/>
                  </a:cubicBezTo>
                  <a:cubicBezTo>
                    <a:pt x="4767646" y="4535273"/>
                    <a:pt x="4767646" y="4535273"/>
                    <a:pt x="4768008" y="4535273"/>
                  </a:cubicBezTo>
                  <a:close/>
                  <a:moveTo>
                    <a:pt x="4614061" y="4535273"/>
                  </a:moveTo>
                  <a:cubicBezTo>
                    <a:pt x="4614424" y="4535273"/>
                    <a:pt x="4614424" y="4535273"/>
                    <a:pt x="4614424" y="4535635"/>
                  </a:cubicBezTo>
                  <a:cubicBezTo>
                    <a:pt x="4614424" y="4535997"/>
                    <a:pt x="4614061" y="4535997"/>
                    <a:pt x="4614061" y="4535997"/>
                  </a:cubicBezTo>
                  <a:cubicBezTo>
                    <a:pt x="4613699" y="4535997"/>
                    <a:pt x="4613699" y="4535997"/>
                    <a:pt x="4613699" y="4535635"/>
                  </a:cubicBezTo>
                  <a:cubicBezTo>
                    <a:pt x="4613699" y="4535273"/>
                    <a:pt x="4613699" y="4535273"/>
                    <a:pt x="4614061" y="4535273"/>
                  </a:cubicBezTo>
                  <a:close/>
                  <a:moveTo>
                    <a:pt x="4460480" y="4534911"/>
                  </a:moveTo>
                  <a:cubicBezTo>
                    <a:pt x="4460842" y="4534911"/>
                    <a:pt x="4461204" y="4535273"/>
                    <a:pt x="4461204" y="4535635"/>
                  </a:cubicBezTo>
                  <a:cubicBezTo>
                    <a:pt x="4461204" y="4536001"/>
                    <a:pt x="4460480" y="4536363"/>
                    <a:pt x="4460480" y="4536363"/>
                  </a:cubicBezTo>
                  <a:cubicBezTo>
                    <a:pt x="4460114" y="4536363"/>
                    <a:pt x="4459752" y="4536001"/>
                    <a:pt x="4459752" y="4535635"/>
                  </a:cubicBezTo>
                  <a:cubicBezTo>
                    <a:pt x="4459752" y="4535273"/>
                    <a:pt x="4460114" y="4534911"/>
                    <a:pt x="4460480" y="4534911"/>
                  </a:cubicBezTo>
                  <a:close/>
                  <a:moveTo>
                    <a:pt x="5383074" y="4533821"/>
                  </a:moveTo>
                  <a:cubicBezTo>
                    <a:pt x="5383798" y="4533821"/>
                    <a:pt x="5384526" y="4534545"/>
                    <a:pt x="5384526" y="4535273"/>
                  </a:cubicBezTo>
                  <a:cubicBezTo>
                    <a:pt x="5384526" y="4535997"/>
                    <a:pt x="5383074" y="4536725"/>
                    <a:pt x="5383074" y="4536725"/>
                  </a:cubicBezTo>
                  <a:cubicBezTo>
                    <a:pt x="5382346" y="4536725"/>
                    <a:pt x="5381622" y="4535997"/>
                    <a:pt x="5381622" y="4535273"/>
                  </a:cubicBezTo>
                  <a:cubicBezTo>
                    <a:pt x="5381622" y="4534545"/>
                    <a:pt x="5382346" y="4533821"/>
                    <a:pt x="5383074" y="4533821"/>
                  </a:cubicBezTo>
                  <a:close/>
                  <a:moveTo>
                    <a:pt x="5536659" y="4533096"/>
                  </a:moveTo>
                  <a:cubicBezTo>
                    <a:pt x="5537750" y="4533096"/>
                    <a:pt x="5538840" y="4534187"/>
                    <a:pt x="5538840" y="4535277"/>
                  </a:cubicBezTo>
                  <a:cubicBezTo>
                    <a:pt x="5538840" y="4536363"/>
                    <a:pt x="5536659" y="4537453"/>
                    <a:pt x="5536659" y="4537453"/>
                  </a:cubicBezTo>
                  <a:cubicBezTo>
                    <a:pt x="5535569" y="4537453"/>
                    <a:pt x="5534482" y="4536363"/>
                    <a:pt x="5534482" y="4535277"/>
                  </a:cubicBezTo>
                  <a:cubicBezTo>
                    <a:pt x="5534482" y="4534187"/>
                    <a:pt x="5535569" y="4533096"/>
                    <a:pt x="5536659" y="4533096"/>
                  </a:cubicBezTo>
                  <a:close/>
                  <a:moveTo>
                    <a:pt x="5690606" y="4532368"/>
                  </a:moveTo>
                  <a:cubicBezTo>
                    <a:pt x="5692421" y="4532368"/>
                    <a:pt x="5693870" y="4533821"/>
                    <a:pt x="5693870" y="4535635"/>
                  </a:cubicBezTo>
                  <a:cubicBezTo>
                    <a:pt x="5693870" y="4537450"/>
                    <a:pt x="5692421" y="4538906"/>
                    <a:pt x="5690606" y="4538906"/>
                  </a:cubicBezTo>
                  <a:cubicBezTo>
                    <a:pt x="5688788" y="4538906"/>
                    <a:pt x="5687336" y="4537450"/>
                    <a:pt x="5687336" y="4535635"/>
                  </a:cubicBezTo>
                  <a:cubicBezTo>
                    <a:pt x="5687336" y="4533821"/>
                    <a:pt x="5688788" y="4532368"/>
                    <a:pt x="5690606" y="4532368"/>
                  </a:cubicBezTo>
                  <a:close/>
                  <a:moveTo>
                    <a:pt x="5844554" y="4530916"/>
                  </a:moveTo>
                  <a:cubicBezTo>
                    <a:pt x="5847096" y="4530916"/>
                    <a:pt x="5848911" y="4532731"/>
                    <a:pt x="5848911" y="4535273"/>
                  </a:cubicBezTo>
                  <a:cubicBezTo>
                    <a:pt x="5848911" y="4537816"/>
                    <a:pt x="5846730" y="4539630"/>
                    <a:pt x="5844554" y="4539630"/>
                  </a:cubicBezTo>
                  <a:cubicBezTo>
                    <a:pt x="5842012" y="4539630"/>
                    <a:pt x="5840197" y="4537816"/>
                    <a:pt x="5840197" y="4535273"/>
                  </a:cubicBezTo>
                  <a:cubicBezTo>
                    <a:pt x="5840197" y="4532731"/>
                    <a:pt x="5842012" y="4530916"/>
                    <a:pt x="5844554" y="4530916"/>
                  </a:cubicBezTo>
                  <a:close/>
                  <a:moveTo>
                    <a:pt x="5998139" y="4529830"/>
                  </a:moveTo>
                  <a:cubicBezTo>
                    <a:pt x="6001406" y="4529830"/>
                    <a:pt x="6003948" y="4532372"/>
                    <a:pt x="6003948" y="4535639"/>
                  </a:cubicBezTo>
                  <a:cubicBezTo>
                    <a:pt x="6003948" y="4538906"/>
                    <a:pt x="6001406" y="4541448"/>
                    <a:pt x="5998139" y="4541448"/>
                  </a:cubicBezTo>
                  <a:cubicBezTo>
                    <a:pt x="5994872" y="4541448"/>
                    <a:pt x="5992330" y="4538906"/>
                    <a:pt x="5992330" y="4535639"/>
                  </a:cubicBezTo>
                  <a:cubicBezTo>
                    <a:pt x="5992330" y="4532372"/>
                    <a:pt x="5994872" y="4529830"/>
                    <a:pt x="5998139" y="4529830"/>
                  </a:cubicBezTo>
                  <a:close/>
                  <a:moveTo>
                    <a:pt x="6152086" y="4528011"/>
                  </a:moveTo>
                  <a:cubicBezTo>
                    <a:pt x="6156082" y="4528011"/>
                    <a:pt x="6159348" y="4531278"/>
                    <a:pt x="6159348" y="4535273"/>
                  </a:cubicBezTo>
                  <a:cubicBezTo>
                    <a:pt x="6159348" y="4539268"/>
                    <a:pt x="6156082" y="4542535"/>
                    <a:pt x="6152086" y="4542535"/>
                  </a:cubicBezTo>
                  <a:cubicBezTo>
                    <a:pt x="6148092" y="4542535"/>
                    <a:pt x="6144825" y="4539268"/>
                    <a:pt x="6144825" y="4535273"/>
                  </a:cubicBezTo>
                  <a:cubicBezTo>
                    <a:pt x="6144825" y="4531278"/>
                    <a:pt x="6148092" y="4528011"/>
                    <a:pt x="6152086" y="4528011"/>
                  </a:cubicBezTo>
                  <a:close/>
                  <a:moveTo>
                    <a:pt x="6305668" y="4526197"/>
                  </a:moveTo>
                  <a:cubicBezTo>
                    <a:pt x="6310750" y="4526197"/>
                    <a:pt x="6314748" y="4530192"/>
                    <a:pt x="6314748" y="4535273"/>
                  </a:cubicBezTo>
                  <a:cubicBezTo>
                    <a:pt x="6314748" y="4540358"/>
                    <a:pt x="6310750" y="4544353"/>
                    <a:pt x="6305668" y="4544353"/>
                  </a:cubicBezTo>
                  <a:cubicBezTo>
                    <a:pt x="6300587" y="4544353"/>
                    <a:pt x="6296592" y="4540358"/>
                    <a:pt x="6296592" y="4535273"/>
                  </a:cubicBezTo>
                  <a:cubicBezTo>
                    <a:pt x="6296592" y="4530192"/>
                    <a:pt x="6300587" y="4526197"/>
                    <a:pt x="6305668" y="4526197"/>
                  </a:cubicBezTo>
                  <a:close/>
                  <a:moveTo>
                    <a:pt x="6459616" y="4525469"/>
                  </a:moveTo>
                  <a:cubicBezTo>
                    <a:pt x="6465062" y="4525469"/>
                    <a:pt x="6469782" y="4530188"/>
                    <a:pt x="6469782" y="4535635"/>
                  </a:cubicBezTo>
                  <a:cubicBezTo>
                    <a:pt x="6469782" y="4541082"/>
                    <a:pt x="6465425" y="4545802"/>
                    <a:pt x="6459616" y="4545802"/>
                  </a:cubicBezTo>
                  <a:cubicBezTo>
                    <a:pt x="6454168" y="4545802"/>
                    <a:pt x="6449449" y="4541082"/>
                    <a:pt x="6449449" y="4535635"/>
                  </a:cubicBezTo>
                  <a:cubicBezTo>
                    <a:pt x="6449449" y="4530188"/>
                    <a:pt x="6454168" y="4525469"/>
                    <a:pt x="6459616" y="4525469"/>
                  </a:cubicBezTo>
                  <a:close/>
                  <a:moveTo>
                    <a:pt x="6613197" y="4523292"/>
                  </a:moveTo>
                  <a:cubicBezTo>
                    <a:pt x="6619734" y="4523292"/>
                    <a:pt x="6625182" y="4528739"/>
                    <a:pt x="6625182" y="4535273"/>
                  </a:cubicBezTo>
                  <a:cubicBezTo>
                    <a:pt x="6625182" y="4541810"/>
                    <a:pt x="6619734" y="4547254"/>
                    <a:pt x="6613197" y="4547254"/>
                  </a:cubicBezTo>
                  <a:cubicBezTo>
                    <a:pt x="6606664" y="4547254"/>
                    <a:pt x="6601216" y="4541810"/>
                    <a:pt x="6601216" y="4535273"/>
                  </a:cubicBezTo>
                  <a:cubicBezTo>
                    <a:pt x="6601216" y="4528739"/>
                    <a:pt x="6606664" y="4523292"/>
                    <a:pt x="6613197" y="4523292"/>
                  </a:cubicBezTo>
                  <a:close/>
                  <a:moveTo>
                    <a:pt x="5075541" y="4381326"/>
                  </a:moveTo>
                  <a:cubicBezTo>
                    <a:pt x="5075904" y="4381326"/>
                    <a:pt x="5075904" y="4381326"/>
                    <a:pt x="5075904" y="4381688"/>
                  </a:cubicBezTo>
                  <a:cubicBezTo>
                    <a:pt x="5075904" y="4382054"/>
                    <a:pt x="5075541" y="4382054"/>
                    <a:pt x="5075541" y="4382054"/>
                  </a:cubicBezTo>
                  <a:cubicBezTo>
                    <a:pt x="5075179" y="4382054"/>
                    <a:pt x="5075179" y="4382054"/>
                    <a:pt x="5075179" y="4381688"/>
                  </a:cubicBezTo>
                  <a:cubicBezTo>
                    <a:pt x="5075179" y="4381326"/>
                    <a:pt x="5075179" y="4381326"/>
                    <a:pt x="5075541" y="4381326"/>
                  </a:cubicBezTo>
                  <a:close/>
                  <a:moveTo>
                    <a:pt x="4614061" y="4381326"/>
                  </a:moveTo>
                  <a:cubicBezTo>
                    <a:pt x="4614424" y="4381326"/>
                    <a:pt x="4614424" y="4381326"/>
                    <a:pt x="4614424" y="4381688"/>
                  </a:cubicBezTo>
                  <a:cubicBezTo>
                    <a:pt x="4614424" y="4382054"/>
                    <a:pt x="4614061" y="4382054"/>
                    <a:pt x="4614061" y="4382054"/>
                  </a:cubicBezTo>
                  <a:cubicBezTo>
                    <a:pt x="4613699" y="4382054"/>
                    <a:pt x="4613699" y="4382054"/>
                    <a:pt x="4613699" y="4381688"/>
                  </a:cubicBezTo>
                  <a:cubicBezTo>
                    <a:pt x="4613699" y="4381326"/>
                    <a:pt x="4613699" y="4381326"/>
                    <a:pt x="4614061" y="4381326"/>
                  </a:cubicBezTo>
                  <a:close/>
                  <a:moveTo>
                    <a:pt x="4460480" y="4381326"/>
                  </a:moveTo>
                  <a:cubicBezTo>
                    <a:pt x="4460842" y="4381326"/>
                    <a:pt x="4460842" y="4381326"/>
                    <a:pt x="4460842" y="4381688"/>
                  </a:cubicBezTo>
                  <a:cubicBezTo>
                    <a:pt x="4460842" y="4382054"/>
                    <a:pt x="4460480" y="4382054"/>
                    <a:pt x="4460480" y="4382054"/>
                  </a:cubicBezTo>
                  <a:cubicBezTo>
                    <a:pt x="4460118" y="4382054"/>
                    <a:pt x="4460118" y="4382054"/>
                    <a:pt x="4460118" y="4381688"/>
                  </a:cubicBezTo>
                  <a:cubicBezTo>
                    <a:pt x="4460118" y="4381326"/>
                    <a:pt x="4460118" y="4381326"/>
                    <a:pt x="4460480" y="4381326"/>
                  </a:cubicBezTo>
                  <a:close/>
                  <a:moveTo>
                    <a:pt x="4306528" y="4380964"/>
                  </a:moveTo>
                  <a:cubicBezTo>
                    <a:pt x="4306894" y="4380964"/>
                    <a:pt x="4307256" y="4381326"/>
                    <a:pt x="4307256" y="4381688"/>
                  </a:cubicBezTo>
                  <a:cubicBezTo>
                    <a:pt x="4307256" y="4382054"/>
                    <a:pt x="4306528" y="4382416"/>
                    <a:pt x="4306528" y="4382416"/>
                  </a:cubicBezTo>
                  <a:cubicBezTo>
                    <a:pt x="4306166" y="4382416"/>
                    <a:pt x="4305804" y="4382054"/>
                    <a:pt x="4305804" y="4381688"/>
                  </a:cubicBezTo>
                  <a:cubicBezTo>
                    <a:pt x="4305804" y="4381326"/>
                    <a:pt x="4306166" y="4380964"/>
                    <a:pt x="4306528" y="4380964"/>
                  </a:cubicBezTo>
                  <a:close/>
                  <a:moveTo>
                    <a:pt x="5229126" y="4379873"/>
                  </a:moveTo>
                  <a:cubicBezTo>
                    <a:pt x="5229850" y="4379873"/>
                    <a:pt x="5230579" y="4380601"/>
                    <a:pt x="5230579" y="4381326"/>
                  </a:cubicBezTo>
                  <a:cubicBezTo>
                    <a:pt x="5230579" y="4382054"/>
                    <a:pt x="5229126" y="4382778"/>
                    <a:pt x="5229126" y="4382778"/>
                  </a:cubicBezTo>
                  <a:cubicBezTo>
                    <a:pt x="5228398" y="4382778"/>
                    <a:pt x="5227674" y="4382054"/>
                    <a:pt x="5227674" y="4381326"/>
                  </a:cubicBezTo>
                  <a:cubicBezTo>
                    <a:pt x="5227674" y="4380601"/>
                    <a:pt x="5228398" y="4379873"/>
                    <a:pt x="5229126" y="4379873"/>
                  </a:cubicBezTo>
                  <a:close/>
                  <a:moveTo>
                    <a:pt x="5383074" y="4379511"/>
                  </a:moveTo>
                  <a:cubicBezTo>
                    <a:pt x="5384164" y="4379511"/>
                    <a:pt x="5385250" y="4380601"/>
                    <a:pt x="5385250" y="4381688"/>
                  </a:cubicBezTo>
                  <a:cubicBezTo>
                    <a:pt x="5385250" y="4382778"/>
                    <a:pt x="5383074" y="4383868"/>
                    <a:pt x="5383074" y="4383868"/>
                  </a:cubicBezTo>
                  <a:cubicBezTo>
                    <a:pt x="5381984" y="4383868"/>
                    <a:pt x="5380894" y="4382778"/>
                    <a:pt x="5380894" y="4381688"/>
                  </a:cubicBezTo>
                  <a:cubicBezTo>
                    <a:pt x="5380894" y="4380601"/>
                    <a:pt x="5381984" y="4379511"/>
                    <a:pt x="5383074" y="4379511"/>
                  </a:cubicBezTo>
                  <a:close/>
                  <a:moveTo>
                    <a:pt x="5536659" y="4378421"/>
                  </a:moveTo>
                  <a:cubicBezTo>
                    <a:pt x="5538474" y="4378421"/>
                    <a:pt x="5539922" y="4379873"/>
                    <a:pt x="5539922" y="4381688"/>
                  </a:cubicBezTo>
                  <a:cubicBezTo>
                    <a:pt x="5539922" y="4383506"/>
                    <a:pt x="5538474" y="4384958"/>
                    <a:pt x="5536659" y="4384958"/>
                  </a:cubicBezTo>
                  <a:cubicBezTo>
                    <a:pt x="5534841" y="4384958"/>
                    <a:pt x="5533388" y="4383506"/>
                    <a:pt x="5533388" y="4381688"/>
                  </a:cubicBezTo>
                  <a:cubicBezTo>
                    <a:pt x="5533388" y="4379873"/>
                    <a:pt x="5534841" y="4378421"/>
                    <a:pt x="5536659" y="4378421"/>
                  </a:cubicBezTo>
                  <a:close/>
                  <a:moveTo>
                    <a:pt x="5690606" y="4377331"/>
                  </a:moveTo>
                  <a:cubicBezTo>
                    <a:pt x="5693149" y="4377331"/>
                    <a:pt x="5694964" y="4379145"/>
                    <a:pt x="5694964" y="4381688"/>
                  </a:cubicBezTo>
                  <a:cubicBezTo>
                    <a:pt x="5694964" y="4384230"/>
                    <a:pt x="5692783" y="4386045"/>
                    <a:pt x="5690606" y="4386045"/>
                  </a:cubicBezTo>
                  <a:cubicBezTo>
                    <a:pt x="5688064" y="4386045"/>
                    <a:pt x="5686250" y="4384230"/>
                    <a:pt x="5686250" y="4381688"/>
                  </a:cubicBezTo>
                  <a:cubicBezTo>
                    <a:pt x="5686250" y="4379145"/>
                    <a:pt x="5688064" y="4377331"/>
                    <a:pt x="5690606" y="4377331"/>
                  </a:cubicBezTo>
                  <a:close/>
                  <a:moveTo>
                    <a:pt x="5844550" y="4375878"/>
                  </a:moveTo>
                  <a:cubicBezTo>
                    <a:pt x="5847817" y="4375878"/>
                    <a:pt x="5850360" y="4378421"/>
                    <a:pt x="5850360" y="4381688"/>
                  </a:cubicBezTo>
                  <a:cubicBezTo>
                    <a:pt x="5850360" y="4384955"/>
                    <a:pt x="5847817" y="4387497"/>
                    <a:pt x="5844550" y="4387497"/>
                  </a:cubicBezTo>
                  <a:cubicBezTo>
                    <a:pt x="5841284" y="4387497"/>
                    <a:pt x="5838741" y="4384955"/>
                    <a:pt x="5838741" y="4381688"/>
                  </a:cubicBezTo>
                  <a:cubicBezTo>
                    <a:pt x="5838741" y="4378421"/>
                    <a:pt x="5841284" y="4375878"/>
                    <a:pt x="5844550" y="4375878"/>
                  </a:cubicBezTo>
                  <a:close/>
                  <a:moveTo>
                    <a:pt x="5998136" y="4374430"/>
                  </a:moveTo>
                  <a:cubicBezTo>
                    <a:pt x="6002130" y="4374430"/>
                    <a:pt x="6005397" y="4377697"/>
                    <a:pt x="6005397" y="4381692"/>
                  </a:cubicBezTo>
                  <a:cubicBezTo>
                    <a:pt x="6005397" y="4385686"/>
                    <a:pt x="6002130" y="4388953"/>
                    <a:pt x="5998136" y="4388953"/>
                  </a:cubicBezTo>
                  <a:cubicBezTo>
                    <a:pt x="5994144" y="4388953"/>
                    <a:pt x="5990874" y="4385686"/>
                    <a:pt x="5990874" y="4381692"/>
                  </a:cubicBezTo>
                  <a:cubicBezTo>
                    <a:pt x="5990874" y="4377697"/>
                    <a:pt x="5994144" y="4374430"/>
                    <a:pt x="5998136" y="4374430"/>
                  </a:cubicBezTo>
                  <a:close/>
                  <a:moveTo>
                    <a:pt x="6152083" y="4372612"/>
                  </a:moveTo>
                  <a:cubicBezTo>
                    <a:pt x="6157168" y="4372612"/>
                    <a:pt x="6161162" y="4376607"/>
                    <a:pt x="6161162" y="4381688"/>
                  </a:cubicBezTo>
                  <a:cubicBezTo>
                    <a:pt x="6161162" y="4386773"/>
                    <a:pt x="6157168" y="4390768"/>
                    <a:pt x="6152083" y="4390768"/>
                  </a:cubicBezTo>
                  <a:cubicBezTo>
                    <a:pt x="6147002" y="4390768"/>
                    <a:pt x="6143006" y="4386773"/>
                    <a:pt x="6143006" y="4381688"/>
                  </a:cubicBezTo>
                  <a:cubicBezTo>
                    <a:pt x="6143006" y="4376607"/>
                    <a:pt x="6147002" y="4372612"/>
                    <a:pt x="6152083" y="4372612"/>
                  </a:cubicBezTo>
                  <a:close/>
                  <a:moveTo>
                    <a:pt x="6305668" y="4371525"/>
                  </a:moveTo>
                  <a:cubicBezTo>
                    <a:pt x="6311115" y="4371525"/>
                    <a:pt x="6315834" y="4376244"/>
                    <a:pt x="6315834" y="4381692"/>
                  </a:cubicBezTo>
                  <a:cubicBezTo>
                    <a:pt x="6315834" y="4387139"/>
                    <a:pt x="6311478" y="4391858"/>
                    <a:pt x="6305668" y="4391858"/>
                  </a:cubicBezTo>
                  <a:cubicBezTo>
                    <a:pt x="6300221" y="4391858"/>
                    <a:pt x="6295502" y="4387139"/>
                    <a:pt x="6295502" y="4381692"/>
                  </a:cubicBezTo>
                  <a:cubicBezTo>
                    <a:pt x="6295502" y="4376244"/>
                    <a:pt x="6300221" y="4371525"/>
                    <a:pt x="6305668" y="4371525"/>
                  </a:cubicBezTo>
                  <a:close/>
                  <a:moveTo>
                    <a:pt x="6459616" y="4369707"/>
                  </a:moveTo>
                  <a:cubicBezTo>
                    <a:pt x="6466153" y="4369707"/>
                    <a:pt x="6471600" y="4375154"/>
                    <a:pt x="6471600" y="4381688"/>
                  </a:cubicBezTo>
                  <a:cubicBezTo>
                    <a:pt x="6471600" y="4388225"/>
                    <a:pt x="6466153" y="4393672"/>
                    <a:pt x="6459616" y="4393672"/>
                  </a:cubicBezTo>
                  <a:cubicBezTo>
                    <a:pt x="6453082" y="4393672"/>
                    <a:pt x="6447634" y="4388225"/>
                    <a:pt x="6447634" y="4381688"/>
                  </a:cubicBezTo>
                  <a:cubicBezTo>
                    <a:pt x="6447634" y="4375154"/>
                    <a:pt x="6453082" y="4369707"/>
                    <a:pt x="6459616" y="4369707"/>
                  </a:cubicBezTo>
                  <a:close/>
                  <a:moveTo>
                    <a:pt x="6613200" y="4367530"/>
                  </a:moveTo>
                  <a:cubicBezTo>
                    <a:pt x="6620824" y="4367530"/>
                    <a:pt x="6626996" y="4373702"/>
                    <a:pt x="6626996" y="4381326"/>
                  </a:cubicBezTo>
                  <a:cubicBezTo>
                    <a:pt x="6626996" y="4388953"/>
                    <a:pt x="6620824" y="4395125"/>
                    <a:pt x="6613200" y="4395125"/>
                  </a:cubicBezTo>
                  <a:cubicBezTo>
                    <a:pt x="6605577" y="4395125"/>
                    <a:pt x="6599402" y="4388953"/>
                    <a:pt x="6599402" y="4381326"/>
                  </a:cubicBezTo>
                  <a:cubicBezTo>
                    <a:pt x="6599402" y="4373702"/>
                    <a:pt x="6605577" y="4367530"/>
                    <a:pt x="6613200" y="4367530"/>
                  </a:cubicBezTo>
                  <a:close/>
                  <a:moveTo>
                    <a:pt x="4921594" y="4227744"/>
                  </a:moveTo>
                  <a:cubicBezTo>
                    <a:pt x="4921956" y="4227744"/>
                    <a:pt x="4921956" y="4227744"/>
                    <a:pt x="4921956" y="4228106"/>
                  </a:cubicBezTo>
                  <a:cubicBezTo>
                    <a:pt x="4921956" y="4228468"/>
                    <a:pt x="4921594" y="4228468"/>
                    <a:pt x="4921594" y="4228468"/>
                  </a:cubicBezTo>
                  <a:cubicBezTo>
                    <a:pt x="4921232" y="4228468"/>
                    <a:pt x="4921232" y="4228468"/>
                    <a:pt x="4921232" y="4228106"/>
                  </a:cubicBezTo>
                  <a:cubicBezTo>
                    <a:pt x="4921232" y="4227744"/>
                    <a:pt x="4921232" y="4227744"/>
                    <a:pt x="4921594" y="4227744"/>
                  </a:cubicBezTo>
                  <a:close/>
                  <a:moveTo>
                    <a:pt x="4460480" y="4227744"/>
                  </a:moveTo>
                  <a:cubicBezTo>
                    <a:pt x="4460842" y="4227744"/>
                    <a:pt x="4460842" y="4227744"/>
                    <a:pt x="4460842" y="4228106"/>
                  </a:cubicBezTo>
                  <a:cubicBezTo>
                    <a:pt x="4460842" y="4228468"/>
                    <a:pt x="4460480" y="4228468"/>
                    <a:pt x="4460480" y="4228468"/>
                  </a:cubicBezTo>
                  <a:cubicBezTo>
                    <a:pt x="4460118" y="4228468"/>
                    <a:pt x="4460118" y="4228468"/>
                    <a:pt x="4460118" y="4228106"/>
                  </a:cubicBezTo>
                  <a:cubicBezTo>
                    <a:pt x="4460118" y="4227744"/>
                    <a:pt x="4460118" y="4227744"/>
                    <a:pt x="4460480" y="4227744"/>
                  </a:cubicBezTo>
                  <a:close/>
                  <a:moveTo>
                    <a:pt x="4306532" y="4227744"/>
                  </a:moveTo>
                  <a:cubicBezTo>
                    <a:pt x="4306894" y="4227744"/>
                    <a:pt x="4306894" y="4227744"/>
                    <a:pt x="4306894" y="4228106"/>
                  </a:cubicBezTo>
                  <a:cubicBezTo>
                    <a:pt x="4306894" y="4228468"/>
                    <a:pt x="4306532" y="4228468"/>
                    <a:pt x="4306532" y="4228468"/>
                  </a:cubicBezTo>
                  <a:cubicBezTo>
                    <a:pt x="4306170" y="4228468"/>
                    <a:pt x="4306170" y="4228468"/>
                    <a:pt x="4306170" y="4228106"/>
                  </a:cubicBezTo>
                  <a:cubicBezTo>
                    <a:pt x="4306170" y="4227744"/>
                    <a:pt x="4306170" y="4227744"/>
                    <a:pt x="4306532" y="4227744"/>
                  </a:cubicBezTo>
                  <a:close/>
                  <a:moveTo>
                    <a:pt x="4152947" y="4227378"/>
                  </a:moveTo>
                  <a:cubicBezTo>
                    <a:pt x="4153309" y="4227378"/>
                    <a:pt x="4153672" y="4227740"/>
                    <a:pt x="4153672" y="4228103"/>
                  </a:cubicBezTo>
                  <a:cubicBezTo>
                    <a:pt x="4153672" y="4228468"/>
                    <a:pt x="4152947" y="4228831"/>
                    <a:pt x="4152947" y="4228831"/>
                  </a:cubicBezTo>
                  <a:cubicBezTo>
                    <a:pt x="4152581" y="4228831"/>
                    <a:pt x="4152219" y="4228468"/>
                    <a:pt x="4152219" y="4228103"/>
                  </a:cubicBezTo>
                  <a:cubicBezTo>
                    <a:pt x="4152219" y="4227740"/>
                    <a:pt x="4152581" y="4227378"/>
                    <a:pt x="4152947" y="4227378"/>
                  </a:cubicBezTo>
                  <a:close/>
                  <a:moveTo>
                    <a:pt x="5075541" y="4226292"/>
                  </a:moveTo>
                  <a:cubicBezTo>
                    <a:pt x="5076266" y="4226292"/>
                    <a:pt x="5076994" y="4227016"/>
                    <a:pt x="5076994" y="4227744"/>
                  </a:cubicBezTo>
                  <a:cubicBezTo>
                    <a:pt x="5076994" y="4228468"/>
                    <a:pt x="5075541" y="4229197"/>
                    <a:pt x="5075541" y="4229197"/>
                  </a:cubicBezTo>
                  <a:cubicBezTo>
                    <a:pt x="5074813" y="4229197"/>
                    <a:pt x="5074089" y="4228468"/>
                    <a:pt x="5074089" y="4227744"/>
                  </a:cubicBezTo>
                  <a:cubicBezTo>
                    <a:pt x="5074089" y="4227016"/>
                    <a:pt x="5074813" y="4226292"/>
                    <a:pt x="5075541" y="4226292"/>
                  </a:cubicBezTo>
                  <a:close/>
                  <a:moveTo>
                    <a:pt x="5229122" y="4225564"/>
                  </a:moveTo>
                  <a:cubicBezTo>
                    <a:pt x="5230213" y="4225564"/>
                    <a:pt x="5231303" y="4226654"/>
                    <a:pt x="5231303" y="4227744"/>
                  </a:cubicBezTo>
                  <a:cubicBezTo>
                    <a:pt x="5231303" y="4228831"/>
                    <a:pt x="5229122" y="4229921"/>
                    <a:pt x="5229122" y="4229921"/>
                  </a:cubicBezTo>
                  <a:cubicBezTo>
                    <a:pt x="5228036" y="4229921"/>
                    <a:pt x="5226946" y="4228831"/>
                    <a:pt x="5226946" y="4227744"/>
                  </a:cubicBezTo>
                  <a:cubicBezTo>
                    <a:pt x="5226946" y="4226654"/>
                    <a:pt x="5228036" y="4225564"/>
                    <a:pt x="5229122" y="4225564"/>
                  </a:cubicBezTo>
                  <a:close/>
                  <a:moveTo>
                    <a:pt x="5383078" y="4224840"/>
                  </a:moveTo>
                  <a:cubicBezTo>
                    <a:pt x="5384892" y="4224840"/>
                    <a:pt x="5386344" y="4226292"/>
                    <a:pt x="5386344" y="4228106"/>
                  </a:cubicBezTo>
                  <a:cubicBezTo>
                    <a:pt x="5386344" y="4229921"/>
                    <a:pt x="5384892" y="4231377"/>
                    <a:pt x="5383078" y="4231377"/>
                  </a:cubicBezTo>
                  <a:cubicBezTo>
                    <a:pt x="5381260" y="4231377"/>
                    <a:pt x="5379807" y="4229921"/>
                    <a:pt x="5379807" y="4228106"/>
                  </a:cubicBezTo>
                  <a:cubicBezTo>
                    <a:pt x="5379807" y="4226292"/>
                    <a:pt x="5381260" y="4224840"/>
                    <a:pt x="5383078" y="4224840"/>
                  </a:cubicBezTo>
                  <a:close/>
                  <a:moveTo>
                    <a:pt x="5536659" y="4223383"/>
                  </a:moveTo>
                  <a:cubicBezTo>
                    <a:pt x="5539198" y="4223383"/>
                    <a:pt x="5541016" y="4225198"/>
                    <a:pt x="5541016" y="4227740"/>
                  </a:cubicBezTo>
                  <a:cubicBezTo>
                    <a:pt x="5541016" y="4230283"/>
                    <a:pt x="5538836" y="4232097"/>
                    <a:pt x="5536659" y="4232097"/>
                  </a:cubicBezTo>
                  <a:cubicBezTo>
                    <a:pt x="5534116" y="4232097"/>
                    <a:pt x="5532302" y="4230283"/>
                    <a:pt x="5532302" y="4227740"/>
                  </a:cubicBezTo>
                  <a:cubicBezTo>
                    <a:pt x="5532302" y="4225198"/>
                    <a:pt x="5534116" y="4223383"/>
                    <a:pt x="5536659" y="4223383"/>
                  </a:cubicBezTo>
                  <a:close/>
                  <a:moveTo>
                    <a:pt x="5690606" y="4222297"/>
                  </a:moveTo>
                  <a:cubicBezTo>
                    <a:pt x="5693874" y="4222297"/>
                    <a:pt x="5696416" y="4224840"/>
                    <a:pt x="5696416" y="4228106"/>
                  </a:cubicBezTo>
                  <a:cubicBezTo>
                    <a:pt x="5696416" y="4231373"/>
                    <a:pt x="5693874" y="4233916"/>
                    <a:pt x="5690606" y="4233916"/>
                  </a:cubicBezTo>
                  <a:cubicBezTo>
                    <a:pt x="5687340" y="4233916"/>
                    <a:pt x="5684797" y="4231373"/>
                    <a:pt x="5684797" y="4228106"/>
                  </a:cubicBezTo>
                  <a:cubicBezTo>
                    <a:pt x="5684797" y="4224840"/>
                    <a:pt x="5687340" y="4222297"/>
                    <a:pt x="5690606" y="4222297"/>
                  </a:cubicBezTo>
                  <a:close/>
                  <a:moveTo>
                    <a:pt x="5844554" y="4220479"/>
                  </a:moveTo>
                  <a:cubicBezTo>
                    <a:pt x="5848549" y="4220479"/>
                    <a:pt x="5851816" y="4223746"/>
                    <a:pt x="5851816" y="4227740"/>
                  </a:cubicBezTo>
                  <a:cubicBezTo>
                    <a:pt x="5851816" y="4231735"/>
                    <a:pt x="5848549" y="4235002"/>
                    <a:pt x="5844554" y="4235002"/>
                  </a:cubicBezTo>
                  <a:cubicBezTo>
                    <a:pt x="5840563" y="4235002"/>
                    <a:pt x="5837292" y="4231735"/>
                    <a:pt x="5837292" y="4227740"/>
                  </a:cubicBezTo>
                  <a:cubicBezTo>
                    <a:pt x="5837292" y="4223746"/>
                    <a:pt x="5840563" y="4220479"/>
                    <a:pt x="5844554" y="4220479"/>
                  </a:cubicBezTo>
                  <a:close/>
                  <a:moveTo>
                    <a:pt x="5998136" y="4218664"/>
                  </a:moveTo>
                  <a:cubicBezTo>
                    <a:pt x="6003220" y="4218664"/>
                    <a:pt x="6007216" y="4222659"/>
                    <a:pt x="6007216" y="4227740"/>
                  </a:cubicBezTo>
                  <a:cubicBezTo>
                    <a:pt x="6007216" y="4232825"/>
                    <a:pt x="6003220" y="4236820"/>
                    <a:pt x="5998136" y="4236820"/>
                  </a:cubicBezTo>
                  <a:cubicBezTo>
                    <a:pt x="5993054" y="4236820"/>
                    <a:pt x="5989059" y="4232825"/>
                    <a:pt x="5989059" y="4227740"/>
                  </a:cubicBezTo>
                  <a:cubicBezTo>
                    <a:pt x="5989059" y="4222659"/>
                    <a:pt x="5993054" y="4218664"/>
                    <a:pt x="5998136" y="4218664"/>
                  </a:cubicBezTo>
                  <a:close/>
                  <a:moveTo>
                    <a:pt x="6152086" y="4217940"/>
                  </a:moveTo>
                  <a:cubicBezTo>
                    <a:pt x="6157534" y="4217940"/>
                    <a:pt x="6162253" y="4222659"/>
                    <a:pt x="6162253" y="4228106"/>
                  </a:cubicBezTo>
                  <a:cubicBezTo>
                    <a:pt x="6162253" y="4233554"/>
                    <a:pt x="6157896" y="4238273"/>
                    <a:pt x="6152086" y="4238273"/>
                  </a:cubicBezTo>
                  <a:cubicBezTo>
                    <a:pt x="6146640" y="4238273"/>
                    <a:pt x="6141920" y="4233554"/>
                    <a:pt x="6141920" y="4228106"/>
                  </a:cubicBezTo>
                  <a:cubicBezTo>
                    <a:pt x="6141920" y="4222659"/>
                    <a:pt x="6146640" y="4217940"/>
                    <a:pt x="6152086" y="4217940"/>
                  </a:cubicBezTo>
                  <a:close/>
                  <a:moveTo>
                    <a:pt x="6305668" y="4215760"/>
                  </a:moveTo>
                  <a:cubicBezTo>
                    <a:pt x="6312206" y="4215760"/>
                    <a:pt x="6317649" y="4221207"/>
                    <a:pt x="6317649" y="4227740"/>
                  </a:cubicBezTo>
                  <a:cubicBezTo>
                    <a:pt x="6317649" y="4234278"/>
                    <a:pt x="6312206" y="4239721"/>
                    <a:pt x="6305668" y="4239721"/>
                  </a:cubicBezTo>
                  <a:cubicBezTo>
                    <a:pt x="6299134" y="4239721"/>
                    <a:pt x="6293687" y="4234278"/>
                    <a:pt x="6293687" y="4227740"/>
                  </a:cubicBezTo>
                  <a:cubicBezTo>
                    <a:pt x="6293687" y="4221207"/>
                    <a:pt x="6299134" y="4215760"/>
                    <a:pt x="6305668" y="4215760"/>
                  </a:cubicBezTo>
                  <a:close/>
                  <a:moveTo>
                    <a:pt x="6459619" y="4213945"/>
                  </a:moveTo>
                  <a:cubicBezTo>
                    <a:pt x="6467243" y="4213945"/>
                    <a:pt x="6473414" y="4220117"/>
                    <a:pt x="6473414" y="4227744"/>
                  </a:cubicBezTo>
                  <a:cubicBezTo>
                    <a:pt x="6473414" y="4235368"/>
                    <a:pt x="6467243" y="4241539"/>
                    <a:pt x="6459619" y="4241539"/>
                  </a:cubicBezTo>
                  <a:cubicBezTo>
                    <a:pt x="6451992" y="4241539"/>
                    <a:pt x="6445820" y="4235368"/>
                    <a:pt x="6445820" y="4227744"/>
                  </a:cubicBezTo>
                  <a:cubicBezTo>
                    <a:pt x="6445820" y="4220117"/>
                    <a:pt x="6451992" y="4213945"/>
                    <a:pt x="6459619" y="4213945"/>
                  </a:cubicBezTo>
                  <a:close/>
                  <a:moveTo>
                    <a:pt x="6613200" y="4212855"/>
                  </a:moveTo>
                  <a:cubicBezTo>
                    <a:pt x="6621552" y="4212855"/>
                    <a:pt x="6628452" y="4219754"/>
                    <a:pt x="6628452" y="4228103"/>
                  </a:cubicBezTo>
                  <a:cubicBezTo>
                    <a:pt x="6628452" y="4236454"/>
                    <a:pt x="6621552" y="4243354"/>
                    <a:pt x="6613200" y="4243354"/>
                  </a:cubicBezTo>
                  <a:cubicBezTo>
                    <a:pt x="6604852" y="4243354"/>
                    <a:pt x="6597953" y="4236454"/>
                    <a:pt x="6597953" y="4228103"/>
                  </a:cubicBezTo>
                  <a:cubicBezTo>
                    <a:pt x="6597953" y="4219754"/>
                    <a:pt x="6604852" y="4212855"/>
                    <a:pt x="6613200" y="4212855"/>
                  </a:cubicBezTo>
                  <a:close/>
                  <a:moveTo>
                    <a:pt x="4768008" y="4073793"/>
                  </a:moveTo>
                  <a:cubicBezTo>
                    <a:pt x="4768370" y="4073793"/>
                    <a:pt x="4768370" y="4073793"/>
                    <a:pt x="4768370" y="4074155"/>
                  </a:cubicBezTo>
                  <a:cubicBezTo>
                    <a:pt x="4768370" y="4074521"/>
                    <a:pt x="4768008" y="4074521"/>
                    <a:pt x="4768008" y="4074521"/>
                  </a:cubicBezTo>
                  <a:cubicBezTo>
                    <a:pt x="4767646" y="4074521"/>
                    <a:pt x="4767646" y="4074521"/>
                    <a:pt x="4767646" y="4074155"/>
                  </a:cubicBezTo>
                  <a:cubicBezTo>
                    <a:pt x="4767646" y="4073793"/>
                    <a:pt x="4767646" y="4073793"/>
                    <a:pt x="4768008" y="4073793"/>
                  </a:cubicBezTo>
                  <a:close/>
                  <a:moveTo>
                    <a:pt x="4306532" y="4073793"/>
                  </a:moveTo>
                  <a:cubicBezTo>
                    <a:pt x="4306894" y="4073793"/>
                    <a:pt x="4306894" y="4073793"/>
                    <a:pt x="4306894" y="4074155"/>
                  </a:cubicBezTo>
                  <a:cubicBezTo>
                    <a:pt x="4306894" y="4074521"/>
                    <a:pt x="4306532" y="4074521"/>
                    <a:pt x="4306532" y="4074521"/>
                  </a:cubicBezTo>
                  <a:cubicBezTo>
                    <a:pt x="4306170" y="4074521"/>
                    <a:pt x="4306170" y="4074521"/>
                    <a:pt x="4306170" y="4074155"/>
                  </a:cubicBezTo>
                  <a:cubicBezTo>
                    <a:pt x="4306170" y="4073793"/>
                    <a:pt x="4306170" y="4073793"/>
                    <a:pt x="4306532" y="4073793"/>
                  </a:cubicBezTo>
                  <a:close/>
                  <a:moveTo>
                    <a:pt x="4152947" y="4073793"/>
                  </a:moveTo>
                  <a:cubicBezTo>
                    <a:pt x="4153309" y="4073793"/>
                    <a:pt x="4153309" y="4073793"/>
                    <a:pt x="4153309" y="4074155"/>
                  </a:cubicBezTo>
                  <a:cubicBezTo>
                    <a:pt x="4153309" y="4074521"/>
                    <a:pt x="4152947" y="4074521"/>
                    <a:pt x="4152947" y="4074521"/>
                  </a:cubicBezTo>
                  <a:cubicBezTo>
                    <a:pt x="4152585" y="4074521"/>
                    <a:pt x="4152585" y="4074521"/>
                    <a:pt x="4152585" y="4074155"/>
                  </a:cubicBezTo>
                  <a:cubicBezTo>
                    <a:pt x="4152585" y="4073793"/>
                    <a:pt x="4152585" y="4073793"/>
                    <a:pt x="4152947" y="4073793"/>
                  </a:cubicBezTo>
                  <a:close/>
                  <a:moveTo>
                    <a:pt x="3998996" y="4073431"/>
                  </a:moveTo>
                  <a:cubicBezTo>
                    <a:pt x="3999362" y="4073431"/>
                    <a:pt x="3999724" y="4073793"/>
                    <a:pt x="3999724" y="4074155"/>
                  </a:cubicBezTo>
                  <a:cubicBezTo>
                    <a:pt x="3999724" y="4074521"/>
                    <a:pt x="3998996" y="4074883"/>
                    <a:pt x="3998996" y="4074883"/>
                  </a:cubicBezTo>
                  <a:cubicBezTo>
                    <a:pt x="3998634" y="4074883"/>
                    <a:pt x="3998272" y="4074521"/>
                    <a:pt x="3998272" y="4074155"/>
                  </a:cubicBezTo>
                  <a:cubicBezTo>
                    <a:pt x="3998272" y="4073793"/>
                    <a:pt x="3998634" y="4073431"/>
                    <a:pt x="3998996" y="4073431"/>
                  </a:cubicBezTo>
                  <a:close/>
                  <a:moveTo>
                    <a:pt x="4921594" y="4072344"/>
                  </a:moveTo>
                  <a:cubicBezTo>
                    <a:pt x="4922318" y="4072344"/>
                    <a:pt x="4923046" y="4073069"/>
                    <a:pt x="4923046" y="4073797"/>
                  </a:cubicBezTo>
                  <a:cubicBezTo>
                    <a:pt x="4923046" y="4074521"/>
                    <a:pt x="4921594" y="4075249"/>
                    <a:pt x="4921594" y="4075249"/>
                  </a:cubicBezTo>
                  <a:cubicBezTo>
                    <a:pt x="4920866" y="4075249"/>
                    <a:pt x="4920142" y="4074521"/>
                    <a:pt x="4920142" y="4073797"/>
                  </a:cubicBezTo>
                  <a:cubicBezTo>
                    <a:pt x="4920142" y="4073069"/>
                    <a:pt x="4920866" y="4072344"/>
                    <a:pt x="4921594" y="4072344"/>
                  </a:cubicBezTo>
                  <a:close/>
                  <a:moveTo>
                    <a:pt x="5075541" y="4071978"/>
                  </a:moveTo>
                  <a:cubicBezTo>
                    <a:pt x="5076632" y="4071978"/>
                    <a:pt x="5077722" y="4073069"/>
                    <a:pt x="5077722" y="4074155"/>
                  </a:cubicBezTo>
                  <a:cubicBezTo>
                    <a:pt x="5077722" y="4075245"/>
                    <a:pt x="5075541" y="4076335"/>
                    <a:pt x="5075541" y="4076335"/>
                  </a:cubicBezTo>
                  <a:cubicBezTo>
                    <a:pt x="5074455" y="4076335"/>
                    <a:pt x="5073364" y="4075245"/>
                    <a:pt x="5073364" y="4074155"/>
                  </a:cubicBezTo>
                  <a:cubicBezTo>
                    <a:pt x="5073364" y="4073069"/>
                    <a:pt x="5074455" y="4071978"/>
                    <a:pt x="5075541" y="4071978"/>
                  </a:cubicBezTo>
                  <a:close/>
                  <a:moveTo>
                    <a:pt x="5229126" y="4070892"/>
                  </a:moveTo>
                  <a:cubicBezTo>
                    <a:pt x="5230944" y="4070892"/>
                    <a:pt x="5232394" y="4072344"/>
                    <a:pt x="5232394" y="4074159"/>
                  </a:cubicBezTo>
                  <a:cubicBezTo>
                    <a:pt x="5232394" y="4075973"/>
                    <a:pt x="5230944" y="4077429"/>
                    <a:pt x="5229126" y="4077429"/>
                  </a:cubicBezTo>
                  <a:cubicBezTo>
                    <a:pt x="5227312" y="4077429"/>
                    <a:pt x="5225860" y="4075973"/>
                    <a:pt x="5225860" y="4074159"/>
                  </a:cubicBezTo>
                  <a:cubicBezTo>
                    <a:pt x="5225860" y="4072344"/>
                    <a:pt x="5227312" y="4070892"/>
                    <a:pt x="5229126" y="4070892"/>
                  </a:cubicBezTo>
                  <a:close/>
                  <a:moveTo>
                    <a:pt x="5383074" y="4069802"/>
                  </a:moveTo>
                  <a:cubicBezTo>
                    <a:pt x="5385616" y="4069802"/>
                    <a:pt x="5387431" y="4071616"/>
                    <a:pt x="5387431" y="4074159"/>
                  </a:cubicBezTo>
                  <a:cubicBezTo>
                    <a:pt x="5387431" y="4076701"/>
                    <a:pt x="5385254" y="4078516"/>
                    <a:pt x="5383074" y="4078516"/>
                  </a:cubicBezTo>
                  <a:cubicBezTo>
                    <a:pt x="5380532" y="4078516"/>
                    <a:pt x="5378717" y="4076701"/>
                    <a:pt x="5378717" y="4074159"/>
                  </a:cubicBezTo>
                  <a:cubicBezTo>
                    <a:pt x="5378717" y="4071616"/>
                    <a:pt x="5380532" y="4069802"/>
                    <a:pt x="5383074" y="4069802"/>
                  </a:cubicBezTo>
                  <a:close/>
                  <a:moveTo>
                    <a:pt x="5536659" y="4068349"/>
                  </a:moveTo>
                  <a:cubicBezTo>
                    <a:pt x="5539926" y="4068349"/>
                    <a:pt x="5542468" y="4070892"/>
                    <a:pt x="5542468" y="4074159"/>
                  </a:cubicBezTo>
                  <a:cubicBezTo>
                    <a:pt x="5542468" y="4077426"/>
                    <a:pt x="5539926" y="4079968"/>
                    <a:pt x="5536659" y="4079968"/>
                  </a:cubicBezTo>
                  <a:cubicBezTo>
                    <a:pt x="5533392" y="4079968"/>
                    <a:pt x="5530850" y="4077426"/>
                    <a:pt x="5530850" y="4074159"/>
                  </a:cubicBezTo>
                  <a:cubicBezTo>
                    <a:pt x="5530850" y="4070892"/>
                    <a:pt x="5533392" y="4068349"/>
                    <a:pt x="5536659" y="4068349"/>
                  </a:cubicBezTo>
                  <a:close/>
                  <a:moveTo>
                    <a:pt x="5690606" y="4066897"/>
                  </a:moveTo>
                  <a:cubicBezTo>
                    <a:pt x="5694602" y="4066897"/>
                    <a:pt x="5697868" y="4070164"/>
                    <a:pt x="5697868" y="4074159"/>
                  </a:cubicBezTo>
                  <a:cubicBezTo>
                    <a:pt x="5697868" y="4078154"/>
                    <a:pt x="5694602" y="4081420"/>
                    <a:pt x="5690606" y="4081420"/>
                  </a:cubicBezTo>
                  <a:cubicBezTo>
                    <a:pt x="5686616" y="4081420"/>
                    <a:pt x="5683345" y="4078154"/>
                    <a:pt x="5683345" y="4074159"/>
                  </a:cubicBezTo>
                  <a:cubicBezTo>
                    <a:pt x="5683345" y="4070164"/>
                    <a:pt x="5686616" y="4066897"/>
                    <a:pt x="5690606" y="4066897"/>
                  </a:cubicBezTo>
                  <a:close/>
                  <a:moveTo>
                    <a:pt x="5844554" y="4064717"/>
                  </a:moveTo>
                  <a:cubicBezTo>
                    <a:pt x="5849639" y="4064717"/>
                    <a:pt x="5853634" y="4068712"/>
                    <a:pt x="5853634" y="4073793"/>
                  </a:cubicBezTo>
                  <a:cubicBezTo>
                    <a:pt x="5853634" y="4078878"/>
                    <a:pt x="5849639" y="4082873"/>
                    <a:pt x="5844554" y="4082873"/>
                  </a:cubicBezTo>
                  <a:cubicBezTo>
                    <a:pt x="5839472" y="4082873"/>
                    <a:pt x="5835478" y="4078878"/>
                    <a:pt x="5835478" y="4073793"/>
                  </a:cubicBezTo>
                  <a:cubicBezTo>
                    <a:pt x="5835478" y="4068712"/>
                    <a:pt x="5839472" y="4064717"/>
                    <a:pt x="5844554" y="4064717"/>
                  </a:cubicBezTo>
                  <a:close/>
                  <a:moveTo>
                    <a:pt x="5998139" y="4063992"/>
                  </a:moveTo>
                  <a:cubicBezTo>
                    <a:pt x="6003586" y="4063992"/>
                    <a:pt x="6008306" y="4068712"/>
                    <a:pt x="6008306" y="4074159"/>
                  </a:cubicBezTo>
                  <a:cubicBezTo>
                    <a:pt x="6008306" y="4079606"/>
                    <a:pt x="6003948" y="4084325"/>
                    <a:pt x="5998139" y="4084325"/>
                  </a:cubicBezTo>
                  <a:cubicBezTo>
                    <a:pt x="5992692" y="4084325"/>
                    <a:pt x="5987973" y="4079606"/>
                    <a:pt x="5987973" y="4074159"/>
                  </a:cubicBezTo>
                  <a:cubicBezTo>
                    <a:pt x="5987973" y="4068712"/>
                    <a:pt x="5992692" y="4063992"/>
                    <a:pt x="5998139" y="4063992"/>
                  </a:cubicBezTo>
                  <a:close/>
                  <a:moveTo>
                    <a:pt x="6152083" y="4062174"/>
                  </a:moveTo>
                  <a:cubicBezTo>
                    <a:pt x="6158620" y="4062174"/>
                    <a:pt x="6164064" y="4067621"/>
                    <a:pt x="6164064" y="4074155"/>
                  </a:cubicBezTo>
                  <a:cubicBezTo>
                    <a:pt x="6164064" y="4080692"/>
                    <a:pt x="6158620" y="4086140"/>
                    <a:pt x="6152083" y="4086140"/>
                  </a:cubicBezTo>
                  <a:cubicBezTo>
                    <a:pt x="6145546" y="4086140"/>
                    <a:pt x="6140102" y="4080692"/>
                    <a:pt x="6140102" y="4074155"/>
                  </a:cubicBezTo>
                  <a:cubicBezTo>
                    <a:pt x="6140102" y="4067621"/>
                    <a:pt x="6145546" y="4062174"/>
                    <a:pt x="6152083" y="4062174"/>
                  </a:cubicBezTo>
                  <a:close/>
                  <a:moveTo>
                    <a:pt x="6305672" y="4059998"/>
                  </a:moveTo>
                  <a:cubicBezTo>
                    <a:pt x="6313292" y="4059998"/>
                    <a:pt x="6319467" y="4066169"/>
                    <a:pt x="6319467" y="4073793"/>
                  </a:cubicBezTo>
                  <a:cubicBezTo>
                    <a:pt x="6319467" y="4081420"/>
                    <a:pt x="6313292" y="4087592"/>
                    <a:pt x="6305672" y="4087592"/>
                  </a:cubicBezTo>
                  <a:cubicBezTo>
                    <a:pt x="6298044" y="4087592"/>
                    <a:pt x="6291873" y="4081420"/>
                    <a:pt x="6291873" y="4073793"/>
                  </a:cubicBezTo>
                  <a:cubicBezTo>
                    <a:pt x="6291873" y="4066169"/>
                    <a:pt x="6298044" y="4059998"/>
                    <a:pt x="6305672" y="4059998"/>
                  </a:cubicBezTo>
                  <a:close/>
                  <a:moveTo>
                    <a:pt x="6459619" y="4058907"/>
                  </a:moveTo>
                  <a:cubicBezTo>
                    <a:pt x="6468040" y="4058907"/>
                    <a:pt x="6474867" y="4065735"/>
                    <a:pt x="6474867" y="4074155"/>
                  </a:cubicBezTo>
                  <a:cubicBezTo>
                    <a:pt x="6474867" y="4082579"/>
                    <a:pt x="6468040" y="4089406"/>
                    <a:pt x="6459619" y="4089406"/>
                  </a:cubicBezTo>
                  <a:cubicBezTo>
                    <a:pt x="6451195" y="4089406"/>
                    <a:pt x="6444368" y="4082579"/>
                    <a:pt x="6444368" y="4074155"/>
                  </a:cubicBezTo>
                  <a:cubicBezTo>
                    <a:pt x="6444368" y="4065735"/>
                    <a:pt x="6451195" y="4058907"/>
                    <a:pt x="6459619" y="4058907"/>
                  </a:cubicBezTo>
                  <a:close/>
                  <a:moveTo>
                    <a:pt x="6613197" y="4057093"/>
                  </a:moveTo>
                  <a:cubicBezTo>
                    <a:pt x="6622639" y="4057093"/>
                    <a:pt x="6630266" y="4064717"/>
                    <a:pt x="6630266" y="4074159"/>
                  </a:cubicBezTo>
                  <a:cubicBezTo>
                    <a:pt x="6630266" y="4083597"/>
                    <a:pt x="6622639" y="4091225"/>
                    <a:pt x="6613197" y="4091225"/>
                  </a:cubicBezTo>
                  <a:cubicBezTo>
                    <a:pt x="6603758" y="4091225"/>
                    <a:pt x="6596135" y="4083597"/>
                    <a:pt x="6596135" y="4074159"/>
                  </a:cubicBezTo>
                  <a:cubicBezTo>
                    <a:pt x="6596135" y="4064717"/>
                    <a:pt x="6603758" y="4057093"/>
                    <a:pt x="6613197" y="4057093"/>
                  </a:cubicBezTo>
                  <a:close/>
                  <a:moveTo>
                    <a:pt x="4614061" y="3919845"/>
                  </a:moveTo>
                  <a:cubicBezTo>
                    <a:pt x="4614424" y="3919845"/>
                    <a:pt x="4614424" y="3919845"/>
                    <a:pt x="4614424" y="3920208"/>
                  </a:cubicBezTo>
                  <a:cubicBezTo>
                    <a:pt x="4614424" y="3920574"/>
                    <a:pt x="4614061" y="3920574"/>
                    <a:pt x="4614061" y="3920574"/>
                  </a:cubicBezTo>
                  <a:cubicBezTo>
                    <a:pt x="4613699" y="3920574"/>
                    <a:pt x="4613699" y="3920574"/>
                    <a:pt x="4613699" y="3920208"/>
                  </a:cubicBezTo>
                  <a:cubicBezTo>
                    <a:pt x="4613699" y="3919845"/>
                    <a:pt x="4613699" y="3919845"/>
                    <a:pt x="4614061" y="3919845"/>
                  </a:cubicBezTo>
                  <a:close/>
                  <a:moveTo>
                    <a:pt x="4152947" y="3919845"/>
                  </a:moveTo>
                  <a:cubicBezTo>
                    <a:pt x="4153309" y="3919845"/>
                    <a:pt x="4153309" y="3919845"/>
                    <a:pt x="4153309" y="3920208"/>
                  </a:cubicBezTo>
                  <a:cubicBezTo>
                    <a:pt x="4153309" y="3920574"/>
                    <a:pt x="4152947" y="3920574"/>
                    <a:pt x="4152947" y="3920574"/>
                  </a:cubicBezTo>
                  <a:cubicBezTo>
                    <a:pt x="4152585" y="3920574"/>
                    <a:pt x="4152585" y="3920574"/>
                    <a:pt x="4152585" y="3920208"/>
                  </a:cubicBezTo>
                  <a:cubicBezTo>
                    <a:pt x="4152585" y="3919845"/>
                    <a:pt x="4152585" y="3919845"/>
                    <a:pt x="4152947" y="3919845"/>
                  </a:cubicBezTo>
                  <a:close/>
                  <a:moveTo>
                    <a:pt x="3999000" y="3919845"/>
                  </a:moveTo>
                  <a:cubicBezTo>
                    <a:pt x="3999362" y="3919845"/>
                    <a:pt x="3999362" y="3919845"/>
                    <a:pt x="3999362" y="3920208"/>
                  </a:cubicBezTo>
                  <a:cubicBezTo>
                    <a:pt x="3999362" y="3920574"/>
                    <a:pt x="3999000" y="3920574"/>
                    <a:pt x="3999000" y="3920574"/>
                  </a:cubicBezTo>
                  <a:cubicBezTo>
                    <a:pt x="3998638" y="3920574"/>
                    <a:pt x="3998638" y="3920574"/>
                    <a:pt x="3998638" y="3920208"/>
                  </a:cubicBezTo>
                  <a:cubicBezTo>
                    <a:pt x="3998638" y="3919845"/>
                    <a:pt x="3998638" y="3919845"/>
                    <a:pt x="3999000" y="3919845"/>
                  </a:cubicBezTo>
                  <a:close/>
                  <a:moveTo>
                    <a:pt x="3845418" y="3919483"/>
                  </a:moveTo>
                  <a:cubicBezTo>
                    <a:pt x="3845818" y="3919483"/>
                    <a:pt x="3846142" y="3919807"/>
                    <a:pt x="3846142" y="3920211"/>
                  </a:cubicBezTo>
                  <a:cubicBezTo>
                    <a:pt x="3846142" y="3920612"/>
                    <a:pt x="3845818" y="3920936"/>
                    <a:pt x="3845418" y="3920936"/>
                  </a:cubicBezTo>
                  <a:cubicBezTo>
                    <a:pt x="3845014" y="3920936"/>
                    <a:pt x="3844690" y="3920612"/>
                    <a:pt x="3844690" y="3920211"/>
                  </a:cubicBezTo>
                  <a:cubicBezTo>
                    <a:pt x="3844690" y="3919807"/>
                    <a:pt x="3845014" y="3919483"/>
                    <a:pt x="3845418" y="3919483"/>
                  </a:cubicBezTo>
                  <a:close/>
                  <a:moveTo>
                    <a:pt x="4768012" y="3918759"/>
                  </a:moveTo>
                  <a:cubicBezTo>
                    <a:pt x="4768736" y="3918759"/>
                    <a:pt x="4769464" y="3919483"/>
                    <a:pt x="4769464" y="3920211"/>
                  </a:cubicBezTo>
                  <a:cubicBezTo>
                    <a:pt x="4769464" y="3920936"/>
                    <a:pt x="4768012" y="3921664"/>
                    <a:pt x="4768012" y="3921664"/>
                  </a:cubicBezTo>
                  <a:cubicBezTo>
                    <a:pt x="4767284" y="3921664"/>
                    <a:pt x="4766560" y="3920936"/>
                    <a:pt x="4766560" y="3920211"/>
                  </a:cubicBezTo>
                  <a:cubicBezTo>
                    <a:pt x="4766560" y="3919483"/>
                    <a:pt x="4767284" y="3918759"/>
                    <a:pt x="4768012" y="3918759"/>
                  </a:cubicBezTo>
                  <a:close/>
                  <a:moveTo>
                    <a:pt x="4921594" y="3918031"/>
                  </a:moveTo>
                  <a:cubicBezTo>
                    <a:pt x="4922684" y="3918031"/>
                    <a:pt x="4923774" y="3919121"/>
                    <a:pt x="4923774" y="3920208"/>
                  </a:cubicBezTo>
                  <a:cubicBezTo>
                    <a:pt x="4923774" y="3921298"/>
                    <a:pt x="4921594" y="3922388"/>
                    <a:pt x="4921594" y="3922388"/>
                  </a:cubicBezTo>
                  <a:cubicBezTo>
                    <a:pt x="4920508" y="3922388"/>
                    <a:pt x="4919417" y="3921298"/>
                    <a:pt x="4919417" y="3920208"/>
                  </a:cubicBezTo>
                  <a:cubicBezTo>
                    <a:pt x="4919417" y="3919121"/>
                    <a:pt x="4920508" y="3918031"/>
                    <a:pt x="4921594" y="3918031"/>
                  </a:cubicBezTo>
                  <a:close/>
                  <a:moveTo>
                    <a:pt x="5075545" y="3917307"/>
                  </a:moveTo>
                  <a:cubicBezTo>
                    <a:pt x="5077360" y="3917307"/>
                    <a:pt x="5078812" y="3918759"/>
                    <a:pt x="5078812" y="3920574"/>
                  </a:cubicBezTo>
                  <a:cubicBezTo>
                    <a:pt x="5078812" y="3922388"/>
                    <a:pt x="5077360" y="3923844"/>
                    <a:pt x="5075545" y="3923844"/>
                  </a:cubicBezTo>
                  <a:cubicBezTo>
                    <a:pt x="5073726" y="3923844"/>
                    <a:pt x="5072274" y="3922388"/>
                    <a:pt x="5072274" y="3920574"/>
                  </a:cubicBezTo>
                  <a:cubicBezTo>
                    <a:pt x="5072274" y="3918759"/>
                    <a:pt x="5073726" y="3917307"/>
                    <a:pt x="5075545" y="3917307"/>
                  </a:cubicBezTo>
                  <a:close/>
                  <a:moveTo>
                    <a:pt x="5229126" y="3915854"/>
                  </a:moveTo>
                  <a:cubicBezTo>
                    <a:pt x="5231669" y="3915854"/>
                    <a:pt x="5233484" y="3917669"/>
                    <a:pt x="5233484" y="3920211"/>
                  </a:cubicBezTo>
                  <a:cubicBezTo>
                    <a:pt x="5233484" y="3922754"/>
                    <a:pt x="5231303" y="3924568"/>
                    <a:pt x="5229126" y="3924568"/>
                  </a:cubicBezTo>
                  <a:cubicBezTo>
                    <a:pt x="5226584" y="3924568"/>
                    <a:pt x="5224770" y="3922754"/>
                    <a:pt x="5224770" y="3920211"/>
                  </a:cubicBezTo>
                  <a:cubicBezTo>
                    <a:pt x="5224770" y="3917669"/>
                    <a:pt x="5226584" y="3915854"/>
                    <a:pt x="5229126" y="3915854"/>
                  </a:cubicBezTo>
                  <a:close/>
                  <a:moveTo>
                    <a:pt x="5383074" y="3914764"/>
                  </a:moveTo>
                  <a:cubicBezTo>
                    <a:pt x="5386340" y="3914764"/>
                    <a:pt x="5388883" y="3917307"/>
                    <a:pt x="5388883" y="3920574"/>
                  </a:cubicBezTo>
                  <a:cubicBezTo>
                    <a:pt x="5388883" y="3923840"/>
                    <a:pt x="5386340" y="3926383"/>
                    <a:pt x="5383074" y="3926383"/>
                  </a:cubicBezTo>
                  <a:cubicBezTo>
                    <a:pt x="5379807" y="3926383"/>
                    <a:pt x="5377264" y="3923840"/>
                    <a:pt x="5377264" y="3920574"/>
                  </a:cubicBezTo>
                  <a:cubicBezTo>
                    <a:pt x="5377264" y="3917307"/>
                    <a:pt x="5379807" y="3914764"/>
                    <a:pt x="5383074" y="3914764"/>
                  </a:cubicBezTo>
                  <a:close/>
                  <a:moveTo>
                    <a:pt x="5536659" y="3912950"/>
                  </a:moveTo>
                  <a:cubicBezTo>
                    <a:pt x="5540654" y="3912950"/>
                    <a:pt x="5543921" y="3916217"/>
                    <a:pt x="5543921" y="3920211"/>
                  </a:cubicBezTo>
                  <a:cubicBezTo>
                    <a:pt x="5543921" y="3924206"/>
                    <a:pt x="5540654" y="3927473"/>
                    <a:pt x="5536659" y="3927473"/>
                  </a:cubicBezTo>
                  <a:cubicBezTo>
                    <a:pt x="5532664" y="3927473"/>
                    <a:pt x="5529398" y="3924206"/>
                    <a:pt x="5529398" y="3920211"/>
                  </a:cubicBezTo>
                  <a:cubicBezTo>
                    <a:pt x="5529398" y="3916217"/>
                    <a:pt x="5532664" y="3912950"/>
                    <a:pt x="5536659" y="3912950"/>
                  </a:cubicBezTo>
                  <a:close/>
                  <a:moveTo>
                    <a:pt x="5690606" y="3911135"/>
                  </a:moveTo>
                  <a:cubicBezTo>
                    <a:pt x="5695692" y="3911135"/>
                    <a:pt x="5699686" y="3915130"/>
                    <a:pt x="5699686" y="3920211"/>
                  </a:cubicBezTo>
                  <a:cubicBezTo>
                    <a:pt x="5699686" y="3925297"/>
                    <a:pt x="5695692" y="3929291"/>
                    <a:pt x="5690606" y="3929291"/>
                  </a:cubicBezTo>
                  <a:cubicBezTo>
                    <a:pt x="5685526" y="3929291"/>
                    <a:pt x="5681530" y="3925297"/>
                    <a:pt x="5681530" y="3920211"/>
                  </a:cubicBezTo>
                  <a:cubicBezTo>
                    <a:pt x="5681530" y="3915130"/>
                    <a:pt x="5685526" y="3911135"/>
                    <a:pt x="5690606" y="3911135"/>
                  </a:cubicBezTo>
                  <a:close/>
                  <a:moveTo>
                    <a:pt x="5844554" y="3910045"/>
                  </a:moveTo>
                  <a:cubicBezTo>
                    <a:pt x="5850001" y="3910045"/>
                    <a:pt x="5854720" y="3914764"/>
                    <a:pt x="5854720" y="3920211"/>
                  </a:cubicBezTo>
                  <a:cubicBezTo>
                    <a:pt x="5854720" y="3925659"/>
                    <a:pt x="5850363" y="3930378"/>
                    <a:pt x="5844554" y="3930378"/>
                  </a:cubicBezTo>
                  <a:cubicBezTo>
                    <a:pt x="5839106" y="3930378"/>
                    <a:pt x="5834388" y="3925659"/>
                    <a:pt x="5834388" y="3920211"/>
                  </a:cubicBezTo>
                  <a:cubicBezTo>
                    <a:pt x="5834388" y="3914764"/>
                    <a:pt x="5839106" y="3910045"/>
                    <a:pt x="5844554" y="3910045"/>
                  </a:cubicBezTo>
                  <a:close/>
                  <a:moveTo>
                    <a:pt x="5998139" y="3908227"/>
                  </a:moveTo>
                  <a:cubicBezTo>
                    <a:pt x="6004673" y="3908227"/>
                    <a:pt x="6010120" y="3913674"/>
                    <a:pt x="6010120" y="3920208"/>
                  </a:cubicBezTo>
                  <a:cubicBezTo>
                    <a:pt x="6010120" y="3926745"/>
                    <a:pt x="6004673" y="3932192"/>
                    <a:pt x="5998139" y="3932192"/>
                  </a:cubicBezTo>
                  <a:cubicBezTo>
                    <a:pt x="5991602" y="3932192"/>
                    <a:pt x="5986158" y="3926745"/>
                    <a:pt x="5986158" y="3920208"/>
                  </a:cubicBezTo>
                  <a:cubicBezTo>
                    <a:pt x="5986158" y="3913674"/>
                    <a:pt x="5991602" y="3908227"/>
                    <a:pt x="5998139" y="3908227"/>
                  </a:cubicBezTo>
                  <a:close/>
                  <a:moveTo>
                    <a:pt x="6152086" y="3906412"/>
                  </a:moveTo>
                  <a:cubicBezTo>
                    <a:pt x="6159710" y="3906412"/>
                    <a:pt x="6165882" y="3912584"/>
                    <a:pt x="6165882" y="3920211"/>
                  </a:cubicBezTo>
                  <a:cubicBezTo>
                    <a:pt x="6165882" y="3927835"/>
                    <a:pt x="6159710" y="3934007"/>
                    <a:pt x="6152086" y="3934007"/>
                  </a:cubicBezTo>
                  <a:cubicBezTo>
                    <a:pt x="6144463" y="3934007"/>
                    <a:pt x="6138288" y="3927835"/>
                    <a:pt x="6138288" y="3920211"/>
                  </a:cubicBezTo>
                  <a:cubicBezTo>
                    <a:pt x="6138288" y="3912584"/>
                    <a:pt x="6144463" y="3906412"/>
                    <a:pt x="6152086" y="3906412"/>
                  </a:cubicBezTo>
                  <a:close/>
                  <a:moveTo>
                    <a:pt x="6305672" y="3904960"/>
                  </a:moveTo>
                  <a:cubicBezTo>
                    <a:pt x="6314092" y="3904960"/>
                    <a:pt x="6320920" y="3911787"/>
                    <a:pt x="6320920" y="3920211"/>
                  </a:cubicBezTo>
                  <a:cubicBezTo>
                    <a:pt x="6320920" y="3928632"/>
                    <a:pt x="6314092" y="3935459"/>
                    <a:pt x="6305672" y="3935459"/>
                  </a:cubicBezTo>
                  <a:cubicBezTo>
                    <a:pt x="6297248" y="3935459"/>
                    <a:pt x="6290420" y="3928632"/>
                    <a:pt x="6290420" y="3920211"/>
                  </a:cubicBezTo>
                  <a:cubicBezTo>
                    <a:pt x="6290420" y="3911787"/>
                    <a:pt x="6297248" y="3904960"/>
                    <a:pt x="6305672" y="3904960"/>
                  </a:cubicBezTo>
                  <a:close/>
                  <a:moveTo>
                    <a:pt x="6459616" y="3903146"/>
                  </a:moveTo>
                  <a:cubicBezTo>
                    <a:pt x="6469058" y="3903146"/>
                    <a:pt x="6476682" y="3910769"/>
                    <a:pt x="6476682" y="3920211"/>
                  </a:cubicBezTo>
                  <a:cubicBezTo>
                    <a:pt x="6476682" y="3929650"/>
                    <a:pt x="6469058" y="3937277"/>
                    <a:pt x="6459616" y="3937277"/>
                  </a:cubicBezTo>
                  <a:cubicBezTo>
                    <a:pt x="6450174" y="3937277"/>
                    <a:pt x="6442550" y="3929650"/>
                    <a:pt x="6442550" y="3920211"/>
                  </a:cubicBezTo>
                  <a:cubicBezTo>
                    <a:pt x="6442550" y="3910769"/>
                    <a:pt x="6450174" y="3903146"/>
                    <a:pt x="6459616" y="3903146"/>
                  </a:cubicBezTo>
                  <a:close/>
                  <a:moveTo>
                    <a:pt x="6613200" y="3900969"/>
                  </a:moveTo>
                  <a:cubicBezTo>
                    <a:pt x="6623828" y="3900969"/>
                    <a:pt x="6632447" y="3909584"/>
                    <a:pt x="6632447" y="3920211"/>
                  </a:cubicBezTo>
                  <a:cubicBezTo>
                    <a:pt x="6632447" y="3930839"/>
                    <a:pt x="6623828" y="3939458"/>
                    <a:pt x="6613200" y="3939458"/>
                  </a:cubicBezTo>
                  <a:cubicBezTo>
                    <a:pt x="6602573" y="3939458"/>
                    <a:pt x="6593958" y="3930839"/>
                    <a:pt x="6593958" y="3920211"/>
                  </a:cubicBezTo>
                  <a:cubicBezTo>
                    <a:pt x="6593958" y="3909584"/>
                    <a:pt x="6602573" y="3900969"/>
                    <a:pt x="6613200" y="3900969"/>
                  </a:cubicBezTo>
                  <a:close/>
                  <a:moveTo>
                    <a:pt x="4460480" y="3766264"/>
                  </a:moveTo>
                  <a:cubicBezTo>
                    <a:pt x="4460842" y="3766264"/>
                    <a:pt x="4460842" y="3766264"/>
                    <a:pt x="4460842" y="3766626"/>
                  </a:cubicBezTo>
                  <a:cubicBezTo>
                    <a:pt x="4460842" y="3766988"/>
                    <a:pt x="4460480" y="3766988"/>
                    <a:pt x="4460480" y="3766988"/>
                  </a:cubicBezTo>
                  <a:cubicBezTo>
                    <a:pt x="4460118" y="3766988"/>
                    <a:pt x="4460118" y="3766988"/>
                    <a:pt x="4460118" y="3766626"/>
                  </a:cubicBezTo>
                  <a:cubicBezTo>
                    <a:pt x="4460118" y="3766264"/>
                    <a:pt x="4460118" y="3766264"/>
                    <a:pt x="4460480" y="3766264"/>
                  </a:cubicBezTo>
                  <a:close/>
                  <a:moveTo>
                    <a:pt x="3999000" y="3766264"/>
                  </a:moveTo>
                  <a:cubicBezTo>
                    <a:pt x="3999362" y="3766264"/>
                    <a:pt x="3999362" y="3766264"/>
                    <a:pt x="3999362" y="3766626"/>
                  </a:cubicBezTo>
                  <a:cubicBezTo>
                    <a:pt x="3999362" y="3766988"/>
                    <a:pt x="3999000" y="3766988"/>
                    <a:pt x="3999000" y="3766988"/>
                  </a:cubicBezTo>
                  <a:cubicBezTo>
                    <a:pt x="3998638" y="3766988"/>
                    <a:pt x="3998638" y="3766988"/>
                    <a:pt x="3998638" y="3766626"/>
                  </a:cubicBezTo>
                  <a:cubicBezTo>
                    <a:pt x="3998638" y="3766264"/>
                    <a:pt x="3998638" y="3766264"/>
                    <a:pt x="3999000" y="3766264"/>
                  </a:cubicBezTo>
                  <a:close/>
                  <a:moveTo>
                    <a:pt x="3845414" y="3766264"/>
                  </a:moveTo>
                  <a:cubicBezTo>
                    <a:pt x="3845776" y="3766264"/>
                    <a:pt x="3845776" y="3766264"/>
                    <a:pt x="3845776" y="3766626"/>
                  </a:cubicBezTo>
                  <a:cubicBezTo>
                    <a:pt x="3845776" y="3766988"/>
                    <a:pt x="3845414" y="3766988"/>
                    <a:pt x="3845414" y="3766988"/>
                  </a:cubicBezTo>
                  <a:cubicBezTo>
                    <a:pt x="3845052" y="3766988"/>
                    <a:pt x="3845052" y="3766988"/>
                    <a:pt x="3845052" y="3766626"/>
                  </a:cubicBezTo>
                  <a:cubicBezTo>
                    <a:pt x="3845052" y="3766264"/>
                    <a:pt x="3845052" y="3766264"/>
                    <a:pt x="3845414" y="3766264"/>
                  </a:cubicBezTo>
                  <a:close/>
                  <a:moveTo>
                    <a:pt x="3691471" y="3765902"/>
                  </a:moveTo>
                  <a:cubicBezTo>
                    <a:pt x="3691871" y="3765902"/>
                    <a:pt x="3692195" y="3766226"/>
                    <a:pt x="3692195" y="3766626"/>
                  </a:cubicBezTo>
                  <a:cubicBezTo>
                    <a:pt x="3692195" y="3767030"/>
                    <a:pt x="3691871" y="3767354"/>
                    <a:pt x="3691471" y="3767354"/>
                  </a:cubicBezTo>
                  <a:cubicBezTo>
                    <a:pt x="3691067" y="3767354"/>
                    <a:pt x="3690743" y="3767030"/>
                    <a:pt x="3690743" y="3766626"/>
                  </a:cubicBezTo>
                  <a:cubicBezTo>
                    <a:pt x="3690743" y="3766226"/>
                    <a:pt x="3691067" y="3765902"/>
                    <a:pt x="3691471" y="3765902"/>
                  </a:cubicBezTo>
                  <a:close/>
                  <a:moveTo>
                    <a:pt x="4614065" y="3764812"/>
                  </a:moveTo>
                  <a:cubicBezTo>
                    <a:pt x="4614789" y="3764812"/>
                    <a:pt x="4615518" y="3765536"/>
                    <a:pt x="4615518" y="3766264"/>
                  </a:cubicBezTo>
                  <a:cubicBezTo>
                    <a:pt x="4615518" y="3766988"/>
                    <a:pt x="4614065" y="3767716"/>
                    <a:pt x="4614065" y="3767716"/>
                  </a:cubicBezTo>
                  <a:cubicBezTo>
                    <a:pt x="4613337" y="3767716"/>
                    <a:pt x="4612612" y="3766988"/>
                    <a:pt x="4612612" y="3766264"/>
                  </a:cubicBezTo>
                  <a:cubicBezTo>
                    <a:pt x="4612612" y="3765536"/>
                    <a:pt x="4613337" y="3764812"/>
                    <a:pt x="4614065" y="3764812"/>
                  </a:cubicBezTo>
                  <a:close/>
                  <a:moveTo>
                    <a:pt x="4768008" y="3764450"/>
                  </a:moveTo>
                  <a:cubicBezTo>
                    <a:pt x="4769098" y="3764450"/>
                    <a:pt x="4770189" y="3765540"/>
                    <a:pt x="4770189" y="3766626"/>
                  </a:cubicBezTo>
                  <a:cubicBezTo>
                    <a:pt x="4770189" y="3767716"/>
                    <a:pt x="4768008" y="3768807"/>
                    <a:pt x="4768008" y="3768807"/>
                  </a:cubicBezTo>
                  <a:cubicBezTo>
                    <a:pt x="4766922" y="3768807"/>
                    <a:pt x="4765832" y="3767716"/>
                    <a:pt x="4765832" y="3766626"/>
                  </a:cubicBezTo>
                  <a:cubicBezTo>
                    <a:pt x="4765832" y="3765540"/>
                    <a:pt x="4766922" y="3764450"/>
                    <a:pt x="4768008" y="3764450"/>
                  </a:cubicBezTo>
                  <a:close/>
                  <a:moveTo>
                    <a:pt x="4921594" y="3763359"/>
                  </a:moveTo>
                  <a:cubicBezTo>
                    <a:pt x="4923412" y="3763359"/>
                    <a:pt x="4924860" y="3764812"/>
                    <a:pt x="4924860" y="3766626"/>
                  </a:cubicBezTo>
                  <a:cubicBezTo>
                    <a:pt x="4924860" y="3768441"/>
                    <a:pt x="4923412" y="3769897"/>
                    <a:pt x="4921594" y="3769897"/>
                  </a:cubicBezTo>
                  <a:cubicBezTo>
                    <a:pt x="4919780" y="3769897"/>
                    <a:pt x="4918327" y="3768441"/>
                    <a:pt x="4918327" y="3766626"/>
                  </a:cubicBezTo>
                  <a:cubicBezTo>
                    <a:pt x="4918327" y="3764812"/>
                    <a:pt x="4919780" y="3763359"/>
                    <a:pt x="4921594" y="3763359"/>
                  </a:cubicBezTo>
                  <a:close/>
                  <a:moveTo>
                    <a:pt x="5075541" y="3762269"/>
                  </a:moveTo>
                  <a:cubicBezTo>
                    <a:pt x="5078084" y="3762269"/>
                    <a:pt x="5079898" y="3764084"/>
                    <a:pt x="5079898" y="3766626"/>
                  </a:cubicBezTo>
                  <a:cubicBezTo>
                    <a:pt x="5079898" y="3769169"/>
                    <a:pt x="5077722" y="3770983"/>
                    <a:pt x="5075541" y="3770983"/>
                  </a:cubicBezTo>
                  <a:cubicBezTo>
                    <a:pt x="5072998" y="3770983"/>
                    <a:pt x="5071184" y="3769169"/>
                    <a:pt x="5071184" y="3766626"/>
                  </a:cubicBezTo>
                  <a:cubicBezTo>
                    <a:pt x="5071184" y="3764084"/>
                    <a:pt x="5072998" y="3762269"/>
                    <a:pt x="5075541" y="3762269"/>
                  </a:cubicBezTo>
                  <a:close/>
                  <a:moveTo>
                    <a:pt x="5229126" y="3760817"/>
                  </a:moveTo>
                  <a:cubicBezTo>
                    <a:pt x="5232394" y="3760817"/>
                    <a:pt x="5234936" y="3763359"/>
                    <a:pt x="5234936" y="3766626"/>
                  </a:cubicBezTo>
                  <a:cubicBezTo>
                    <a:pt x="5234936" y="3769893"/>
                    <a:pt x="5232394" y="3772436"/>
                    <a:pt x="5229126" y="3772436"/>
                  </a:cubicBezTo>
                  <a:cubicBezTo>
                    <a:pt x="5225860" y="3772436"/>
                    <a:pt x="5223317" y="3769893"/>
                    <a:pt x="5223317" y="3766626"/>
                  </a:cubicBezTo>
                  <a:cubicBezTo>
                    <a:pt x="5223317" y="3763359"/>
                    <a:pt x="5225860" y="3760817"/>
                    <a:pt x="5229126" y="3760817"/>
                  </a:cubicBezTo>
                  <a:close/>
                  <a:moveTo>
                    <a:pt x="5383074" y="3759365"/>
                  </a:moveTo>
                  <a:cubicBezTo>
                    <a:pt x="5387068" y="3759365"/>
                    <a:pt x="5390336" y="3762631"/>
                    <a:pt x="5390336" y="3766626"/>
                  </a:cubicBezTo>
                  <a:cubicBezTo>
                    <a:pt x="5390336" y="3770621"/>
                    <a:pt x="5387068" y="3773888"/>
                    <a:pt x="5383074" y="3773888"/>
                  </a:cubicBezTo>
                  <a:cubicBezTo>
                    <a:pt x="5379079" y="3773888"/>
                    <a:pt x="5375812" y="3770621"/>
                    <a:pt x="5375812" y="3766626"/>
                  </a:cubicBezTo>
                  <a:cubicBezTo>
                    <a:pt x="5375812" y="3762631"/>
                    <a:pt x="5379079" y="3759365"/>
                    <a:pt x="5383074" y="3759365"/>
                  </a:cubicBezTo>
                  <a:close/>
                  <a:moveTo>
                    <a:pt x="5536659" y="3757188"/>
                  </a:moveTo>
                  <a:cubicBezTo>
                    <a:pt x="5541740" y="3757188"/>
                    <a:pt x="5545739" y="3761183"/>
                    <a:pt x="5545739" y="3766264"/>
                  </a:cubicBezTo>
                  <a:cubicBezTo>
                    <a:pt x="5545739" y="3771349"/>
                    <a:pt x="5541740" y="3775344"/>
                    <a:pt x="5536659" y="3775344"/>
                  </a:cubicBezTo>
                  <a:cubicBezTo>
                    <a:pt x="5531578" y="3775344"/>
                    <a:pt x="5527583" y="3771349"/>
                    <a:pt x="5527583" y="3766264"/>
                  </a:cubicBezTo>
                  <a:cubicBezTo>
                    <a:pt x="5527583" y="3761183"/>
                    <a:pt x="5531578" y="3757188"/>
                    <a:pt x="5536659" y="3757188"/>
                  </a:cubicBezTo>
                  <a:close/>
                  <a:moveTo>
                    <a:pt x="5690606" y="3756460"/>
                  </a:moveTo>
                  <a:cubicBezTo>
                    <a:pt x="5696054" y="3756460"/>
                    <a:pt x="5700773" y="3761179"/>
                    <a:pt x="5700773" y="3766626"/>
                  </a:cubicBezTo>
                  <a:cubicBezTo>
                    <a:pt x="5700773" y="3772073"/>
                    <a:pt x="5696416" y="3776793"/>
                    <a:pt x="5690606" y="3776793"/>
                  </a:cubicBezTo>
                  <a:cubicBezTo>
                    <a:pt x="5685160" y="3776793"/>
                    <a:pt x="5680440" y="3772073"/>
                    <a:pt x="5680440" y="3766626"/>
                  </a:cubicBezTo>
                  <a:cubicBezTo>
                    <a:pt x="5680440" y="3761179"/>
                    <a:pt x="5685160" y="3756460"/>
                    <a:pt x="5690606" y="3756460"/>
                  </a:cubicBezTo>
                  <a:close/>
                  <a:moveTo>
                    <a:pt x="5844550" y="3754645"/>
                  </a:moveTo>
                  <a:cubicBezTo>
                    <a:pt x="5851088" y="3754645"/>
                    <a:pt x="5856534" y="3760093"/>
                    <a:pt x="5856534" y="3766626"/>
                  </a:cubicBezTo>
                  <a:cubicBezTo>
                    <a:pt x="5856534" y="3773164"/>
                    <a:pt x="5851088" y="3778607"/>
                    <a:pt x="5844550" y="3778607"/>
                  </a:cubicBezTo>
                  <a:cubicBezTo>
                    <a:pt x="5838016" y="3778607"/>
                    <a:pt x="5832570" y="3773164"/>
                    <a:pt x="5832570" y="3766626"/>
                  </a:cubicBezTo>
                  <a:cubicBezTo>
                    <a:pt x="5832570" y="3760093"/>
                    <a:pt x="5838016" y="3754645"/>
                    <a:pt x="5844550" y="3754645"/>
                  </a:cubicBezTo>
                  <a:close/>
                  <a:moveTo>
                    <a:pt x="5998139" y="3752465"/>
                  </a:moveTo>
                  <a:cubicBezTo>
                    <a:pt x="6005763" y="3752465"/>
                    <a:pt x="6011934" y="3758636"/>
                    <a:pt x="6011934" y="3766264"/>
                  </a:cubicBezTo>
                  <a:cubicBezTo>
                    <a:pt x="6011934" y="3773888"/>
                    <a:pt x="6005763" y="3780059"/>
                    <a:pt x="5998139" y="3780059"/>
                  </a:cubicBezTo>
                  <a:cubicBezTo>
                    <a:pt x="5990516" y="3780059"/>
                    <a:pt x="5984340" y="3773888"/>
                    <a:pt x="5984340" y="3766264"/>
                  </a:cubicBezTo>
                  <a:cubicBezTo>
                    <a:pt x="5984340" y="3758636"/>
                    <a:pt x="5990516" y="3752465"/>
                    <a:pt x="5998139" y="3752465"/>
                  </a:cubicBezTo>
                  <a:close/>
                  <a:moveTo>
                    <a:pt x="6152086" y="3751379"/>
                  </a:moveTo>
                  <a:cubicBezTo>
                    <a:pt x="6160507" y="3751379"/>
                    <a:pt x="6167334" y="3758206"/>
                    <a:pt x="6167334" y="3766626"/>
                  </a:cubicBezTo>
                  <a:cubicBezTo>
                    <a:pt x="6167334" y="3775050"/>
                    <a:pt x="6160507" y="3781878"/>
                    <a:pt x="6152086" y="3781878"/>
                  </a:cubicBezTo>
                  <a:cubicBezTo>
                    <a:pt x="6143666" y="3781878"/>
                    <a:pt x="6136839" y="3775050"/>
                    <a:pt x="6136839" y="3766626"/>
                  </a:cubicBezTo>
                  <a:cubicBezTo>
                    <a:pt x="6136839" y="3758206"/>
                    <a:pt x="6143666" y="3751379"/>
                    <a:pt x="6152086" y="3751379"/>
                  </a:cubicBezTo>
                  <a:close/>
                  <a:moveTo>
                    <a:pt x="6305668" y="3749560"/>
                  </a:moveTo>
                  <a:cubicBezTo>
                    <a:pt x="6315110" y="3749560"/>
                    <a:pt x="6322734" y="3757184"/>
                    <a:pt x="6322734" y="3766626"/>
                  </a:cubicBezTo>
                  <a:cubicBezTo>
                    <a:pt x="6322734" y="3776064"/>
                    <a:pt x="6315110" y="3783692"/>
                    <a:pt x="6305668" y="3783692"/>
                  </a:cubicBezTo>
                  <a:cubicBezTo>
                    <a:pt x="6296226" y="3783692"/>
                    <a:pt x="6288602" y="3776064"/>
                    <a:pt x="6288602" y="3766626"/>
                  </a:cubicBezTo>
                  <a:cubicBezTo>
                    <a:pt x="6288602" y="3757184"/>
                    <a:pt x="6296226" y="3749560"/>
                    <a:pt x="6305668" y="3749560"/>
                  </a:cubicBezTo>
                  <a:close/>
                  <a:moveTo>
                    <a:pt x="6459616" y="3747384"/>
                  </a:moveTo>
                  <a:cubicBezTo>
                    <a:pt x="6470243" y="3747384"/>
                    <a:pt x="6478858" y="3755999"/>
                    <a:pt x="6478858" y="3766626"/>
                  </a:cubicBezTo>
                  <a:cubicBezTo>
                    <a:pt x="6478858" y="3777254"/>
                    <a:pt x="6470243" y="3785869"/>
                    <a:pt x="6459616" y="3785869"/>
                  </a:cubicBezTo>
                  <a:cubicBezTo>
                    <a:pt x="6448988" y="3785869"/>
                    <a:pt x="6440369" y="3777254"/>
                    <a:pt x="6440369" y="3766626"/>
                  </a:cubicBezTo>
                  <a:cubicBezTo>
                    <a:pt x="6440369" y="3755999"/>
                    <a:pt x="6448988" y="3747384"/>
                    <a:pt x="6459616" y="3747384"/>
                  </a:cubicBezTo>
                  <a:close/>
                  <a:moveTo>
                    <a:pt x="6613200" y="3745203"/>
                  </a:moveTo>
                  <a:cubicBezTo>
                    <a:pt x="6625033" y="3745203"/>
                    <a:pt x="6634624" y="3754794"/>
                    <a:pt x="6634624" y="3766626"/>
                  </a:cubicBezTo>
                  <a:cubicBezTo>
                    <a:pt x="6634624" y="3778454"/>
                    <a:pt x="6625033" y="3788045"/>
                    <a:pt x="6613200" y="3788045"/>
                  </a:cubicBezTo>
                  <a:cubicBezTo>
                    <a:pt x="6601368" y="3788045"/>
                    <a:pt x="6591778" y="3778454"/>
                    <a:pt x="6591778" y="3766626"/>
                  </a:cubicBezTo>
                  <a:cubicBezTo>
                    <a:pt x="6591778" y="3754794"/>
                    <a:pt x="6601368" y="3745203"/>
                    <a:pt x="6613200" y="3745203"/>
                  </a:cubicBezTo>
                  <a:close/>
                  <a:moveTo>
                    <a:pt x="4306532" y="3612317"/>
                  </a:moveTo>
                  <a:cubicBezTo>
                    <a:pt x="4306894" y="3612317"/>
                    <a:pt x="4306894" y="3612317"/>
                    <a:pt x="4306894" y="3612679"/>
                  </a:cubicBezTo>
                  <a:cubicBezTo>
                    <a:pt x="4306894" y="3613045"/>
                    <a:pt x="4306532" y="3613045"/>
                    <a:pt x="4306532" y="3613045"/>
                  </a:cubicBezTo>
                  <a:cubicBezTo>
                    <a:pt x="4306170" y="3613045"/>
                    <a:pt x="4306170" y="3613045"/>
                    <a:pt x="4306170" y="3612679"/>
                  </a:cubicBezTo>
                  <a:cubicBezTo>
                    <a:pt x="4306170" y="3612317"/>
                    <a:pt x="4306170" y="3612317"/>
                    <a:pt x="4306532" y="3612317"/>
                  </a:cubicBezTo>
                  <a:close/>
                  <a:moveTo>
                    <a:pt x="3845414" y="3612317"/>
                  </a:moveTo>
                  <a:cubicBezTo>
                    <a:pt x="3845776" y="3612317"/>
                    <a:pt x="3845776" y="3612317"/>
                    <a:pt x="3845776" y="3612679"/>
                  </a:cubicBezTo>
                  <a:cubicBezTo>
                    <a:pt x="3845776" y="3613045"/>
                    <a:pt x="3845414" y="3613045"/>
                    <a:pt x="3845414" y="3613045"/>
                  </a:cubicBezTo>
                  <a:cubicBezTo>
                    <a:pt x="3845052" y="3613045"/>
                    <a:pt x="3845052" y="3613045"/>
                    <a:pt x="3845052" y="3612679"/>
                  </a:cubicBezTo>
                  <a:cubicBezTo>
                    <a:pt x="3845052" y="3612317"/>
                    <a:pt x="3845052" y="3612317"/>
                    <a:pt x="3845414" y="3612317"/>
                  </a:cubicBezTo>
                  <a:close/>
                  <a:moveTo>
                    <a:pt x="3691467" y="3612317"/>
                  </a:moveTo>
                  <a:cubicBezTo>
                    <a:pt x="3691829" y="3612317"/>
                    <a:pt x="3691829" y="3612317"/>
                    <a:pt x="3691829" y="3612679"/>
                  </a:cubicBezTo>
                  <a:cubicBezTo>
                    <a:pt x="3691829" y="3613045"/>
                    <a:pt x="3691467" y="3613045"/>
                    <a:pt x="3691467" y="3613045"/>
                  </a:cubicBezTo>
                  <a:cubicBezTo>
                    <a:pt x="3691105" y="3613045"/>
                    <a:pt x="3691105" y="3613045"/>
                    <a:pt x="3691105" y="3612679"/>
                  </a:cubicBezTo>
                  <a:cubicBezTo>
                    <a:pt x="3691105" y="3612317"/>
                    <a:pt x="3691105" y="3612317"/>
                    <a:pt x="3691467" y="3612317"/>
                  </a:cubicBezTo>
                  <a:close/>
                  <a:moveTo>
                    <a:pt x="3537886" y="3611955"/>
                  </a:moveTo>
                  <a:cubicBezTo>
                    <a:pt x="3538286" y="3611955"/>
                    <a:pt x="3538610" y="3612279"/>
                    <a:pt x="3538610" y="3612683"/>
                  </a:cubicBezTo>
                  <a:cubicBezTo>
                    <a:pt x="3538610" y="3613083"/>
                    <a:pt x="3538286" y="3613407"/>
                    <a:pt x="3537886" y="3613407"/>
                  </a:cubicBezTo>
                  <a:cubicBezTo>
                    <a:pt x="3537482" y="3613407"/>
                    <a:pt x="3537158" y="3613083"/>
                    <a:pt x="3537158" y="3612683"/>
                  </a:cubicBezTo>
                  <a:cubicBezTo>
                    <a:pt x="3537158" y="3612279"/>
                    <a:pt x="3537482" y="3611955"/>
                    <a:pt x="3537886" y="3611955"/>
                  </a:cubicBezTo>
                  <a:close/>
                  <a:moveTo>
                    <a:pt x="4460480" y="3611226"/>
                  </a:moveTo>
                  <a:cubicBezTo>
                    <a:pt x="4461204" y="3611226"/>
                    <a:pt x="4461932" y="3611955"/>
                    <a:pt x="4461932" y="3612679"/>
                  </a:cubicBezTo>
                  <a:cubicBezTo>
                    <a:pt x="4461932" y="3613403"/>
                    <a:pt x="4460480" y="3614131"/>
                    <a:pt x="4460480" y="3614131"/>
                  </a:cubicBezTo>
                  <a:cubicBezTo>
                    <a:pt x="4459752" y="3614131"/>
                    <a:pt x="4459028" y="3613403"/>
                    <a:pt x="4459028" y="3612679"/>
                  </a:cubicBezTo>
                  <a:cubicBezTo>
                    <a:pt x="4459028" y="3611955"/>
                    <a:pt x="4459752" y="3611226"/>
                    <a:pt x="4460480" y="3611226"/>
                  </a:cubicBezTo>
                  <a:close/>
                  <a:moveTo>
                    <a:pt x="4614061" y="3610502"/>
                  </a:moveTo>
                  <a:cubicBezTo>
                    <a:pt x="4615152" y="3610502"/>
                    <a:pt x="4616242" y="3611592"/>
                    <a:pt x="4616242" y="3612679"/>
                  </a:cubicBezTo>
                  <a:cubicBezTo>
                    <a:pt x="4616242" y="3613769"/>
                    <a:pt x="4614061" y="3614859"/>
                    <a:pt x="4614061" y="3614859"/>
                  </a:cubicBezTo>
                  <a:cubicBezTo>
                    <a:pt x="4612974" y="3614859"/>
                    <a:pt x="4611884" y="3613769"/>
                    <a:pt x="4611884" y="3612679"/>
                  </a:cubicBezTo>
                  <a:cubicBezTo>
                    <a:pt x="4611884" y="3611592"/>
                    <a:pt x="4612974" y="3610502"/>
                    <a:pt x="4614061" y="3610502"/>
                  </a:cubicBezTo>
                  <a:close/>
                  <a:moveTo>
                    <a:pt x="4768008" y="3609774"/>
                  </a:moveTo>
                  <a:cubicBezTo>
                    <a:pt x="4769823" y="3609774"/>
                    <a:pt x="4771276" y="3611226"/>
                    <a:pt x="4771276" y="3613041"/>
                  </a:cubicBezTo>
                  <a:cubicBezTo>
                    <a:pt x="4771276" y="3614855"/>
                    <a:pt x="4769823" y="3616312"/>
                    <a:pt x="4768008" y="3616312"/>
                  </a:cubicBezTo>
                  <a:cubicBezTo>
                    <a:pt x="4766194" y="3616312"/>
                    <a:pt x="4764742" y="3614855"/>
                    <a:pt x="4764742" y="3613041"/>
                  </a:cubicBezTo>
                  <a:cubicBezTo>
                    <a:pt x="4764742" y="3611226"/>
                    <a:pt x="4766194" y="3609774"/>
                    <a:pt x="4768008" y="3609774"/>
                  </a:cubicBezTo>
                  <a:close/>
                  <a:moveTo>
                    <a:pt x="4921594" y="3608322"/>
                  </a:moveTo>
                  <a:cubicBezTo>
                    <a:pt x="4924136" y="3608322"/>
                    <a:pt x="4925951" y="3610136"/>
                    <a:pt x="4925951" y="3612679"/>
                  </a:cubicBezTo>
                  <a:cubicBezTo>
                    <a:pt x="4925951" y="3615221"/>
                    <a:pt x="4923770" y="3617036"/>
                    <a:pt x="4921594" y="3617036"/>
                  </a:cubicBezTo>
                  <a:cubicBezTo>
                    <a:pt x="4919052" y="3617036"/>
                    <a:pt x="4917237" y="3615221"/>
                    <a:pt x="4917237" y="3612679"/>
                  </a:cubicBezTo>
                  <a:cubicBezTo>
                    <a:pt x="4917237" y="3610136"/>
                    <a:pt x="4919052" y="3608322"/>
                    <a:pt x="4921594" y="3608322"/>
                  </a:cubicBezTo>
                  <a:close/>
                  <a:moveTo>
                    <a:pt x="5075541" y="3607232"/>
                  </a:moveTo>
                  <a:cubicBezTo>
                    <a:pt x="5078808" y="3607232"/>
                    <a:pt x="5081350" y="3609774"/>
                    <a:pt x="5081350" y="3613041"/>
                  </a:cubicBezTo>
                  <a:cubicBezTo>
                    <a:pt x="5081350" y="3616308"/>
                    <a:pt x="5078808" y="3618850"/>
                    <a:pt x="5075541" y="3618850"/>
                  </a:cubicBezTo>
                  <a:cubicBezTo>
                    <a:pt x="5072274" y="3618850"/>
                    <a:pt x="5069732" y="3616308"/>
                    <a:pt x="5069732" y="3613041"/>
                  </a:cubicBezTo>
                  <a:cubicBezTo>
                    <a:pt x="5069732" y="3609774"/>
                    <a:pt x="5072274" y="3607232"/>
                    <a:pt x="5075541" y="3607232"/>
                  </a:cubicBezTo>
                  <a:close/>
                  <a:moveTo>
                    <a:pt x="5229126" y="3605417"/>
                  </a:moveTo>
                  <a:cubicBezTo>
                    <a:pt x="5233122" y="3605417"/>
                    <a:pt x="5236388" y="3608684"/>
                    <a:pt x="5236388" y="3612679"/>
                  </a:cubicBezTo>
                  <a:cubicBezTo>
                    <a:pt x="5236388" y="3616674"/>
                    <a:pt x="5233122" y="3619940"/>
                    <a:pt x="5229126" y="3619940"/>
                  </a:cubicBezTo>
                  <a:cubicBezTo>
                    <a:pt x="5225132" y="3619940"/>
                    <a:pt x="5221865" y="3616674"/>
                    <a:pt x="5221865" y="3612679"/>
                  </a:cubicBezTo>
                  <a:cubicBezTo>
                    <a:pt x="5221865" y="3608684"/>
                    <a:pt x="5225132" y="3605417"/>
                    <a:pt x="5229126" y="3605417"/>
                  </a:cubicBezTo>
                  <a:close/>
                  <a:moveTo>
                    <a:pt x="5383074" y="3603603"/>
                  </a:moveTo>
                  <a:cubicBezTo>
                    <a:pt x="5388159" y="3603603"/>
                    <a:pt x="5392154" y="3607598"/>
                    <a:pt x="5392154" y="3612679"/>
                  </a:cubicBezTo>
                  <a:cubicBezTo>
                    <a:pt x="5392154" y="3617764"/>
                    <a:pt x="5388159" y="3621759"/>
                    <a:pt x="5383074" y="3621759"/>
                  </a:cubicBezTo>
                  <a:cubicBezTo>
                    <a:pt x="5377992" y="3621759"/>
                    <a:pt x="5373998" y="3617764"/>
                    <a:pt x="5373998" y="3612679"/>
                  </a:cubicBezTo>
                  <a:cubicBezTo>
                    <a:pt x="5373998" y="3607598"/>
                    <a:pt x="5377992" y="3603603"/>
                    <a:pt x="5383074" y="3603603"/>
                  </a:cubicBezTo>
                  <a:close/>
                  <a:moveTo>
                    <a:pt x="5536659" y="3602512"/>
                  </a:moveTo>
                  <a:cubicBezTo>
                    <a:pt x="5542106" y="3602512"/>
                    <a:pt x="5546826" y="3607232"/>
                    <a:pt x="5546826" y="3612679"/>
                  </a:cubicBezTo>
                  <a:cubicBezTo>
                    <a:pt x="5546826" y="3618126"/>
                    <a:pt x="5542468" y="3622845"/>
                    <a:pt x="5536659" y="3622845"/>
                  </a:cubicBezTo>
                  <a:cubicBezTo>
                    <a:pt x="5531212" y="3622845"/>
                    <a:pt x="5526493" y="3618126"/>
                    <a:pt x="5526493" y="3612679"/>
                  </a:cubicBezTo>
                  <a:cubicBezTo>
                    <a:pt x="5526493" y="3607232"/>
                    <a:pt x="5531212" y="3602512"/>
                    <a:pt x="5536659" y="3602512"/>
                  </a:cubicBezTo>
                  <a:close/>
                  <a:moveTo>
                    <a:pt x="5690602" y="3600698"/>
                  </a:moveTo>
                  <a:cubicBezTo>
                    <a:pt x="5697140" y="3600698"/>
                    <a:pt x="5702584" y="3606145"/>
                    <a:pt x="5702584" y="3612679"/>
                  </a:cubicBezTo>
                  <a:cubicBezTo>
                    <a:pt x="5702584" y="3619216"/>
                    <a:pt x="5697140" y="3624663"/>
                    <a:pt x="5690602" y="3624663"/>
                  </a:cubicBezTo>
                  <a:cubicBezTo>
                    <a:pt x="5684069" y="3624663"/>
                    <a:pt x="5678622" y="3619216"/>
                    <a:pt x="5678622" y="3612679"/>
                  </a:cubicBezTo>
                  <a:cubicBezTo>
                    <a:pt x="5678622" y="3606145"/>
                    <a:pt x="5684069" y="3600698"/>
                    <a:pt x="5690602" y="3600698"/>
                  </a:cubicBezTo>
                  <a:close/>
                  <a:moveTo>
                    <a:pt x="5844554" y="3598884"/>
                  </a:moveTo>
                  <a:cubicBezTo>
                    <a:pt x="5852170" y="3598884"/>
                    <a:pt x="5858349" y="3605063"/>
                    <a:pt x="5858349" y="3612683"/>
                  </a:cubicBezTo>
                  <a:cubicBezTo>
                    <a:pt x="5858349" y="3620303"/>
                    <a:pt x="5852174" y="3626478"/>
                    <a:pt x="5844554" y="3626478"/>
                  </a:cubicBezTo>
                  <a:cubicBezTo>
                    <a:pt x="5836934" y="3626478"/>
                    <a:pt x="5830755" y="3620299"/>
                    <a:pt x="5830755" y="3612683"/>
                  </a:cubicBezTo>
                  <a:cubicBezTo>
                    <a:pt x="5830755" y="3605059"/>
                    <a:pt x="5836930" y="3598884"/>
                    <a:pt x="5844554" y="3598884"/>
                  </a:cubicBezTo>
                  <a:close/>
                  <a:moveTo>
                    <a:pt x="5998139" y="3597431"/>
                  </a:moveTo>
                  <a:cubicBezTo>
                    <a:pt x="6006560" y="3597431"/>
                    <a:pt x="6013387" y="3604258"/>
                    <a:pt x="6013387" y="3612683"/>
                  </a:cubicBezTo>
                  <a:cubicBezTo>
                    <a:pt x="6013387" y="3621103"/>
                    <a:pt x="6006560" y="3627930"/>
                    <a:pt x="5998139" y="3627930"/>
                  </a:cubicBezTo>
                  <a:cubicBezTo>
                    <a:pt x="5989718" y="3627930"/>
                    <a:pt x="5982892" y="3621103"/>
                    <a:pt x="5982892" y="3612683"/>
                  </a:cubicBezTo>
                  <a:cubicBezTo>
                    <a:pt x="5982892" y="3604258"/>
                    <a:pt x="5989718" y="3597431"/>
                    <a:pt x="5998139" y="3597431"/>
                  </a:cubicBezTo>
                  <a:close/>
                  <a:moveTo>
                    <a:pt x="6152083" y="3595613"/>
                  </a:moveTo>
                  <a:cubicBezTo>
                    <a:pt x="6161525" y="3595613"/>
                    <a:pt x="6169152" y="3603237"/>
                    <a:pt x="6169152" y="3612679"/>
                  </a:cubicBezTo>
                  <a:cubicBezTo>
                    <a:pt x="6169152" y="3622117"/>
                    <a:pt x="6161525" y="3629745"/>
                    <a:pt x="6152083" y="3629745"/>
                  </a:cubicBezTo>
                  <a:cubicBezTo>
                    <a:pt x="6142644" y="3629745"/>
                    <a:pt x="6135020" y="3622117"/>
                    <a:pt x="6135020" y="3612679"/>
                  </a:cubicBezTo>
                  <a:cubicBezTo>
                    <a:pt x="6135020" y="3603237"/>
                    <a:pt x="6142644" y="3595613"/>
                    <a:pt x="6152083" y="3595613"/>
                  </a:cubicBezTo>
                  <a:close/>
                  <a:moveTo>
                    <a:pt x="6305668" y="3593436"/>
                  </a:moveTo>
                  <a:cubicBezTo>
                    <a:pt x="6316296" y="3593436"/>
                    <a:pt x="6324910" y="3602051"/>
                    <a:pt x="6324910" y="3612679"/>
                  </a:cubicBezTo>
                  <a:cubicBezTo>
                    <a:pt x="6324910" y="3623306"/>
                    <a:pt x="6316296" y="3631921"/>
                    <a:pt x="6305668" y="3631921"/>
                  </a:cubicBezTo>
                  <a:cubicBezTo>
                    <a:pt x="6295040" y="3631921"/>
                    <a:pt x="6286422" y="3623306"/>
                    <a:pt x="6286422" y="3612679"/>
                  </a:cubicBezTo>
                  <a:cubicBezTo>
                    <a:pt x="6286422" y="3602051"/>
                    <a:pt x="6295040" y="3593436"/>
                    <a:pt x="6305668" y="3593436"/>
                  </a:cubicBezTo>
                  <a:close/>
                  <a:moveTo>
                    <a:pt x="6459616" y="3591256"/>
                  </a:moveTo>
                  <a:cubicBezTo>
                    <a:pt x="6471448" y="3591256"/>
                    <a:pt x="6481038" y="3600847"/>
                    <a:pt x="6481038" y="3612679"/>
                  </a:cubicBezTo>
                  <a:cubicBezTo>
                    <a:pt x="6481038" y="3624507"/>
                    <a:pt x="6471448" y="3634098"/>
                    <a:pt x="6459616" y="3634098"/>
                  </a:cubicBezTo>
                  <a:cubicBezTo>
                    <a:pt x="6447784" y="3634098"/>
                    <a:pt x="6438192" y="3624507"/>
                    <a:pt x="6438192" y="3612679"/>
                  </a:cubicBezTo>
                  <a:cubicBezTo>
                    <a:pt x="6438192" y="3600847"/>
                    <a:pt x="6447784" y="3591256"/>
                    <a:pt x="6459616" y="3591256"/>
                  </a:cubicBezTo>
                  <a:close/>
                  <a:moveTo>
                    <a:pt x="6613200" y="3589804"/>
                  </a:moveTo>
                  <a:cubicBezTo>
                    <a:pt x="6625834" y="3589804"/>
                    <a:pt x="6636072" y="3600046"/>
                    <a:pt x="6636072" y="3612679"/>
                  </a:cubicBezTo>
                  <a:cubicBezTo>
                    <a:pt x="6636072" y="3625311"/>
                    <a:pt x="6625834" y="3635550"/>
                    <a:pt x="6613200" y="3635550"/>
                  </a:cubicBezTo>
                  <a:cubicBezTo>
                    <a:pt x="6600564" y="3635550"/>
                    <a:pt x="6590326" y="3625311"/>
                    <a:pt x="6590326" y="3612679"/>
                  </a:cubicBezTo>
                  <a:cubicBezTo>
                    <a:pt x="6590326" y="3600046"/>
                    <a:pt x="6600564" y="3589804"/>
                    <a:pt x="6613200" y="3589804"/>
                  </a:cubicBezTo>
                  <a:close/>
                  <a:moveTo>
                    <a:pt x="4152947" y="3458731"/>
                  </a:moveTo>
                  <a:cubicBezTo>
                    <a:pt x="4153309" y="3458731"/>
                    <a:pt x="4153309" y="3458731"/>
                    <a:pt x="4153309" y="3459094"/>
                  </a:cubicBezTo>
                  <a:cubicBezTo>
                    <a:pt x="4153309" y="3459456"/>
                    <a:pt x="4152947" y="3459456"/>
                    <a:pt x="4152947" y="3459456"/>
                  </a:cubicBezTo>
                  <a:cubicBezTo>
                    <a:pt x="4152585" y="3459456"/>
                    <a:pt x="4152585" y="3459456"/>
                    <a:pt x="4152585" y="3459094"/>
                  </a:cubicBezTo>
                  <a:cubicBezTo>
                    <a:pt x="4152585" y="3458731"/>
                    <a:pt x="4152585" y="3458731"/>
                    <a:pt x="4152947" y="3458731"/>
                  </a:cubicBezTo>
                  <a:close/>
                  <a:moveTo>
                    <a:pt x="3691467" y="3458731"/>
                  </a:moveTo>
                  <a:cubicBezTo>
                    <a:pt x="3691829" y="3458731"/>
                    <a:pt x="3691829" y="3458731"/>
                    <a:pt x="3691829" y="3459094"/>
                  </a:cubicBezTo>
                  <a:cubicBezTo>
                    <a:pt x="3691829" y="3459456"/>
                    <a:pt x="3691467" y="3459456"/>
                    <a:pt x="3691467" y="3459456"/>
                  </a:cubicBezTo>
                  <a:cubicBezTo>
                    <a:pt x="3691105" y="3459456"/>
                    <a:pt x="3691105" y="3459456"/>
                    <a:pt x="3691105" y="3459094"/>
                  </a:cubicBezTo>
                  <a:cubicBezTo>
                    <a:pt x="3691105" y="3458731"/>
                    <a:pt x="3691105" y="3458731"/>
                    <a:pt x="3691467" y="3458731"/>
                  </a:cubicBezTo>
                  <a:close/>
                  <a:moveTo>
                    <a:pt x="3537882" y="3458731"/>
                  </a:moveTo>
                  <a:cubicBezTo>
                    <a:pt x="3538244" y="3458731"/>
                    <a:pt x="3538244" y="3458731"/>
                    <a:pt x="3538244" y="3459094"/>
                  </a:cubicBezTo>
                  <a:cubicBezTo>
                    <a:pt x="3538244" y="3459456"/>
                    <a:pt x="3537882" y="3459456"/>
                    <a:pt x="3537882" y="3459456"/>
                  </a:cubicBezTo>
                  <a:cubicBezTo>
                    <a:pt x="3537520" y="3459456"/>
                    <a:pt x="3537520" y="3459456"/>
                    <a:pt x="3537520" y="3459094"/>
                  </a:cubicBezTo>
                  <a:cubicBezTo>
                    <a:pt x="3537520" y="3458731"/>
                    <a:pt x="3537520" y="3458731"/>
                    <a:pt x="3537882" y="3458731"/>
                  </a:cubicBezTo>
                  <a:close/>
                  <a:moveTo>
                    <a:pt x="3383938" y="3458369"/>
                  </a:moveTo>
                  <a:cubicBezTo>
                    <a:pt x="3384338" y="3458369"/>
                    <a:pt x="3384662" y="3458693"/>
                    <a:pt x="3384662" y="3459094"/>
                  </a:cubicBezTo>
                  <a:cubicBezTo>
                    <a:pt x="3384662" y="3459498"/>
                    <a:pt x="3384338" y="3459822"/>
                    <a:pt x="3383938" y="3459822"/>
                  </a:cubicBezTo>
                  <a:cubicBezTo>
                    <a:pt x="3383534" y="3459822"/>
                    <a:pt x="3383210" y="3459498"/>
                    <a:pt x="3383210" y="3459094"/>
                  </a:cubicBezTo>
                  <a:cubicBezTo>
                    <a:pt x="3383210" y="3458693"/>
                    <a:pt x="3383534" y="3458369"/>
                    <a:pt x="3383938" y="3458369"/>
                  </a:cubicBezTo>
                  <a:close/>
                  <a:moveTo>
                    <a:pt x="4306532" y="3457279"/>
                  </a:moveTo>
                  <a:cubicBezTo>
                    <a:pt x="4307256" y="3457279"/>
                    <a:pt x="4307984" y="3458003"/>
                    <a:pt x="4307984" y="3458731"/>
                  </a:cubicBezTo>
                  <a:cubicBezTo>
                    <a:pt x="4307984" y="3459456"/>
                    <a:pt x="4306532" y="3460184"/>
                    <a:pt x="4306532" y="3460184"/>
                  </a:cubicBezTo>
                  <a:cubicBezTo>
                    <a:pt x="4305804" y="3460184"/>
                    <a:pt x="4305080" y="3459456"/>
                    <a:pt x="4305080" y="3458731"/>
                  </a:cubicBezTo>
                  <a:cubicBezTo>
                    <a:pt x="4305080" y="3458003"/>
                    <a:pt x="4305804" y="3457279"/>
                    <a:pt x="4306532" y="3457279"/>
                  </a:cubicBezTo>
                  <a:close/>
                  <a:moveTo>
                    <a:pt x="4460480" y="3456917"/>
                  </a:moveTo>
                  <a:cubicBezTo>
                    <a:pt x="4461680" y="3456917"/>
                    <a:pt x="4462656" y="3457893"/>
                    <a:pt x="4462656" y="3459094"/>
                  </a:cubicBezTo>
                  <a:cubicBezTo>
                    <a:pt x="4462656" y="3460298"/>
                    <a:pt x="4461680" y="3461274"/>
                    <a:pt x="4460480" y="3461274"/>
                  </a:cubicBezTo>
                  <a:cubicBezTo>
                    <a:pt x="4459275" y="3461274"/>
                    <a:pt x="4458300" y="3460298"/>
                    <a:pt x="4458300" y="3459094"/>
                  </a:cubicBezTo>
                  <a:cubicBezTo>
                    <a:pt x="4458300" y="3457893"/>
                    <a:pt x="4459275" y="3456917"/>
                    <a:pt x="4460480" y="3456917"/>
                  </a:cubicBezTo>
                  <a:close/>
                  <a:moveTo>
                    <a:pt x="4614061" y="3455827"/>
                  </a:moveTo>
                  <a:cubicBezTo>
                    <a:pt x="4615880" y="3455827"/>
                    <a:pt x="4617328" y="3457279"/>
                    <a:pt x="4617328" y="3459094"/>
                  </a:cubicBezTo>
                  <a:cubicBezTo>
                    <a:pt x="4617328" y="3460908"/>
                    <a:pt x="4615880" y="3462364"/>
                    <a:pt x="4614061" y="3462364"/>
                  </a:cubicBezTo>
                  <a:cubicBezTo>
                    <a:pt x="4612246" y="3462364"/>
                    <a:pt x="4610794" y="3460908"/>
                    <a:pt x="4610794" y="3459094"/>
                  </a:cubicBezTo>
                  <a:cubicBezTo>
                    <a:pt x="4610794" y="3457279"/>
                    <a:pt x="4612246" y="3455827"/>
                    <a:pt x="4614061" y="3455827"/>
                  </a:cubicBezTo>
                  <a:close/>
                  <a:moveTo>
                    <a:pt x="4768008" y="3454374"/>
                  </a:moveTo>
                  <a:cubicBezTo>
                    <a:pt x="4770551" y="3454374"/>
                    <a:pt x="4772366" y="3456189"/>
                    <a:pt x="4772366" y="3458731"/>
                  </a:cubicBezTo>
                  <a:cubicBezTo>
                    <a:pt x="4772366" y="3461274"/>
                    <a:pt x="4770189" y="3463088"/>
                    <a:pt x="4768008" y="3463088"/>
                  </a:cubicBezTo>
                  <a:cubicBezTo>
                    <a:pt x="4765466" y="3463088"/>
                    <a:pt x="4763652" y="3461274"/>
                    <a:pt x="4763652" y="3458731"/>
                  </a:cubicBezTo>
                  <a:cubicBezTo>
                    <a:pt x="4763652" y="3456189"/>
                    <a:pt x="4765466" y="3454374"/>
                    <a:pt x="4768008" y="3454374"/>
                  </a:cubicBezTo>
                  <a:close/>
                  <a:moveTo>
                    <a:pt x="4921594" y="3453284"/>
                  </a:moveTo>
                  <a:cubicBezTo>
                    <a:pt x="4924860" y="3453284"/>
                    <a:pt x="4927403" y="3455827"/>
                    <a:pt x="4927403" y="3459094"/>
                  </a:cubicBezTo>
                  <a:cubicBezTo>
                    <a:pt x="4927403" y="3462360"/>
                    <a:pt x="4924860" y="3464903"/>
                    <a:pt x="4921594" y="3464903"/>
                  </a:cubicBezTo>
                  <a:cubicBezTo>
                    <a:pt x="4918327" y="3464903"/>
                    <a:pt x="4915784" y="3462360"/>
                    <a:pt x="4915784" y="3459094"/>
                  </a:cubicBezTo>
                  <a:cubicBezTo>
                    <a:pt x="4915784" y="3455827"/>
                    <a:pt x="4918327" y="3453284"/>
                    <a:pt x="4921594" y="3453284"/>
                  </a:cubicBezTo>
                  <a:close/>
                  <a:moveTo>
                    <a:pt x="5075541" y="3451832"/>
                  </a:moveTo>
                  <a:cubicBezTo>
                    <a:pt x="5079536" y="3451832"/>
                    <a:pt x="5082803" y="3455099"/>
                    <a:pt x="5082803" y="3459094"/>
                  </a:cubicBezTo>
                  <a:cubicBezTo>
                    <a:pt x="5082803" y="3463088"/>
                    <a:pt x="5079536" y="3466355"/>
                    <a:pt x="5075541" y="3466355"/>
                  </a:cubicBezTo>
                  <a:cubicBezTo>
                    <a:pt x="5071546" y="3466355"/>
                    <a:pt x="5068280" y="3463088"/>
                    <a:pt x="5068280" y="3459094"/>
                  </a:cubicBezTo>
                  <a:cubicBezTo>
                    <a:pt x="5068280" y="3455099"/>
                    <a:pt x="5071546" y="3451832"/>
                    <a:pt x="5075541" y="3451832"/>
                  </a:cubicBezTo>
                  <a:close/>
                  <a:moveTo>
                    <a:pt x="5229126" y="3449655"/>
                  </a:moveTo>
                  <a:cubicBezTo>
                    <a:pt x="5234212" y="3449655"/>
                    <a:pt x="5238206" y="3453650"/>
                    <a:pt x="5238206" y="3458731"/>
                  </a:cubicBezTo>
                  <a:cubicBezTo>
                    <a:pt x="5238206" y="3463816"/>
                    <a:pt x="5234212" y="3467811"/>
                    <a:pt x="5229126" y="3467811"/>
                  </a:cubicBezTo>
                  <a:cubicBezTo>
                    <a:pt x="5224045" y="3467811"/>
                    <a:pt x="5220050" y="3463816"/>
                    <a:pt x="5220050" y="3458731"/>
                  </a:cubicBezTo>
                  <a:cubicBezTo>
                    <a:pt x="5220050" y="3453650"/>
                    <a:pt x="5224045" y="3449655"/>
                    <a:pt x="5229126" y="3449655"/>
                  </a:cubicBezTo>
                  <a:close/>
                  <a:moveTo>
                    <a:pt x="5383074" y="3448927"/>
                  </a:moveTo>
                  <a:cubicBezTo>
                    <a:pt x="5388521" y="3448927"/>
                    <a:pt x="5393240" y="3453646"/>
                    <a:pt x="5393240" y="3459094"/>
                  </a:cubicBezTo>
                  <a:cubicBezTo>
                    <a:pt x="5393240" y="3464541"/>
                    <a:pt x="5388883" y="3469260"/>
                    <a:pt x="5383074" y="3469260"/>
                  </a:cubicBezTo>
                  <a:cubicBezTo>
                    <a:pt x="5377626" y="3469260"/>
                    <a:pt x="5372908" y="3464541"/>
                    <a:pt x="5372908" y="3459094"/>
                  </a:cubicBezTo>
                  <a:cubicBezTo>
                    <a:pt x="5372908" y="3453646"/>
                    <a:pt x="5377626" y="3448927"/>
                    <a:pt x="5383074" y="3448927"/>
                  </a:cubicBezTo>
                  <a:close/>
                  <a:moveTo>
                    <a:pt x="5536659" y="3447113"/>
                  </a:moveTo>
                  <a:cubicBezTo>
                    <a:pt x="5543196" y="3447113"/>
                    <a:pt x="5548640" y="3452560"/>
                    <a:pt x="5548640" y="3459094"/>
                  </a:cubicBezTo>
                  <a:cubicBezTo>
                    <a:pt x="5548640" y="3465631"/>
                    <a:pt x="5543196" y="3471074"/>
                    <a:pt x="5536659" y="3471074"/>
                  </a:cubicBezTo>
                  <a:cubicBezTo>
                    <a:pt x="5530122" y="3471074"/>
                    <a:pt x="5524678" y="3465631"/>
                    <a:pt x="5524678" y="3459094"/>
                  </a:cubicBezTo>
                  <a:cubicBezTo>
                    <a:pt x="5524678" y="3452560"/>
                    <a:pt x="5530122" y="3447113"/>
                    <a:pt x="5536659" y="3447113"/>
                  </a:cubicBezTo>
                  <a:close/>
                  <a:moveTo>
                    <a:pt x="5690606" y="3445298"/>
                  </a:moveTo>
                  <a:cubicBezTo>
                    <a:pt x="5698222" y="3445298"/>
                    <a:pt x="5704402" y="3451477"/>
                    <a:pt x="5704402" y="3459094"/>
                  </a:cubicBezTo>
                  <a:cubicBezTo>
                    <a:pt x="5704402" y="3466714"/>
                    <a:pt x="5698226" y="3472893"/>
                    <a:pt x="5690606" y="3472893"/>
                  </a:cubicBezTo>
                  <a:cubicBezTo>
                    <a:pt x="5682986" y="3472893"/>
                    <a:pt x="5676808" y="3466714"/>
                    <a:pt x="5676808" y="3459094"/>
                  </a:cubicBezTo>
                  <a:cubicBezTo>
                    <a:pt x="5676808" y="3451474"/>
                    <a:pt x="5682982" y="3445298"/>
                    <a:pt x="5690606" y="3445298"/>
                  </a:cubicBezTo>
                  <a:close/>
                  <a:moveTo>
                    <a:pt x="5844554" y="3443846"/>
                  </a:moveTo>
                  <a:cubicBezTo>
                    <a:pt x="5852974" y="3443846"/>
                    <a:pt x="5859802" y="3450673"/>
                    <a:pt x="5859802" y="3459094"/>
                  </a:cubicBezTo>
                  <a:cubicBezTo>
                    <a:pt x="5859802" y="3467518"/>
                    <a:pt x="5852974" y="3474345"/>
                    <a:pt x="5844554" y="3474345"/>
                  </a:cubicBezTo>
                  <a:cubicBezTo>
                    <a:pt x="5836130" y="3474345"/>
                    <a:pt x="5829302" y="3467518"/>
                    <a:pt x="5829302" y="3459094"/>
                  </a:cubicBezTo>
                  <a:cubicBezTo>
                    <a:pt x="5829302" y="3450673"/>
                    <a:pt x="5836130" y="3443846"/>
                    <a:pt x="5844554" y="3443846"/>
                  </a:cubicBezTo>
                  <a:close/>
                  <a:moveTo>
                    <a:pt x="5998139" y="3442031"/>
                  </a:moveTo>
                  <a:cubicBezTo>
                    <a:pt x="6007566" y="3442031"/>
                    <a:pt x="6015205" y="3449670"/>
                    <a:pt x="6015205" y="3459097"/>
                  </a:cubicBezTo>
                  <a:cubicBezTo>
                    <a:pt x="6015205" y="3468520"/>
                    <a:pt x="6007562" y="3476159"/>
                    <a:pt x="5998139" y="3476159"/>
                  </a:cubicBezTo>
                  <a:cubicBezTo>
                    <a:pt x="5988716" y="3476159"/>
                    <a:pt x="5981077" y="3468520"/>
                    <a:pt x="5981077" y="3459097"/>
                  </a:cubicBezTo>
                  <a:cubicBezTo>
                    <a:pt x="5981077" y="3449670"/>
                    <a:pt x="5988716" y="3442031"/>
                    <a:pt x="5998139" y="3442031"/>
                  </a:cubicBezTo>
                  <a:close/>
                  <a:moveTo>
                    <a:pt x="6152083" y="3439851"/>
                  </a:moveTo>
                  <a:cubicBezTo>
                    <a:pt x="6162710" y="3439851"/>
                    <a:pt x="6171329" y="3448466"/>
                    <a:pt x="6171329" y="3459094"/>
                  </a:cubicBezTo>
                  <a:cubicBezTo>
                    <a:pt x="6171329" y="3469721"/>
                    <a:pt x="6162710" y="3478336"/>
                    <a:pt x="6152083" y="3478336"/>
                  </a:cubicBezTo>
                  <a:cubicBezTo>
                    <a:pt x="6141455" y="3478336"/>
                    <a:pt x="6132836" y="3469721"/>
                    <a:pt x="6132836" y="3459094"/>
                  </a:cubicBezTo>
                  <a:cubicBezTo>
                    <a:pt x="6132836" y="3448466"/>
                    <a:pt x="6141455" y="3439851"/>
                    <a:pt x="6152083" y="3439851"/>
                  </a:cubicBezTo>
                  <a:close/>
                  <a:moveTo>
                    <a:pt x="6305668" y="3437674"/>
                  </a:moveTo>
                  <a:cubicBezTo>
                    <a:pt x="6317500" y="3437674"/>
                    <a:pt x="6327091" y="3447265"/>
                    <a:pt x="6327091" y="3459097"/>
                  </a:cubicBezTo>
                  <a:cubicBezTo>
                    <a:pt x="6327091" y="3470926"/>
                    <a:pt x="6317500" y="3480516"/>
                    <a:pt x="6305668" y="3480516"/>
                  </a:cubicBezTo>
                  <a:cubicBezTo>
                    <a:pt x="6293836" y="3480516"/>
                    <a:pt x="6284245" y="3470926"/>
                    <a:pt x="6284245" y="3459097"/>
                  </a:cubicBezTo>
                  <a:cubicBezTo>
                    <a:pt x="6284245" y="3447265"/>
                    <a:pt x="6293836" y="3437674"/>
                    <a:pt x="6305668" y="3437674"/>
                  </a:cubicBezTo>
                  <a:close/>
                  <a:moveTo>
                    <a:pt x="6459619" y="3436222"/>
                  </a:moveTo>
                  <a:cubicBezTo>
                    <a:pt x="6472252" y="3436222"/>
                    <a:pt x="6482494" y="3446465"/>
                    <a:pt x="6482494" y="3459097"/>
                  </a:cubicBezTo>
                  <a:cubicBezTo>
                    <a:pt x="6482494" y="3471730"/>
                    <a:pt x="6472252" y="3481969"/>
                    <a:pt x="6459619" y="3481969"/>
                  </a:cubicBezTo>
                  <a:cubicBezTo>
                    <a:pt x="6446983" y="3481969"/>
                    <a:pt x="6436744" y="3471730"/>
                    <a:pt x="6436744" y="3459097"/>
                  </a:cubicBezTo>
                  <a:cubicBezTo>
                    <a:pt x="6436744" y="3446465"/>
                    <a:pt x="6446983" y="3436222"/>
                    <a:pt x="6459619" y="3436222"/>
                  </a:cubicBezTo>
                  <a:close/>
                  <a:moveTo>
                    <a:pt x="6613200" y="3434042"/>
                  </a:moveTo>
                  <a:cubicBezTo>
                    <a:pt x="6627038" y="3434042"/>
                    <a:pt x="6638252" y="3445256"/>
                    <a:pt x="6638252" y="3459094"/>
                  </a:cubicBezTo>
                  <a:cubicBezTo>
                    <a:pt x="6638252" y="3472931"/>
                    <a:pt x="6627038" y="3484145"/>
                    <a:pt x="6613200" y="3484145"/>
                  </a:cubicBezTo>
                  <a:cubicBezTo>
                    <a:pt x="6599364" y="3484145"/>
                    <a:pt x="6588149" y="3472931"/>
                    <a:pt x="6588149" y="3459094"/>
                  </a:cubicBezTo>
                  <a:cubicBezTo>
                    <a:pt x="6588149" y="3445256"/>
                    <a:pt x="6599364" y="3434042"/>
                    <a:pt x="6613200" y="3434042"/>
                  </a:cubicBezTo>
                  <a:close/>
                  <a:moveTo>
                    <a:pt x="3999000" y="3304784"/>
                  </a:moveTo>
                  <a:cubicBezTo>
                    <a:pt x="3999362" y="3304784"/>
                    <a:pt x="3999362" y="3304784"/>
                    <a:pt x="3999362" y="3305146"/>
                  </a:cubicBezTo>
                  <a:cubicBezTo>
                    <a:pt x="3999362" y="3305512"/>
                    <a:pt x="3999000" y="3305512"/>
                    <a:pt x="3999000" y="3305512"/>
                  </a:cubicBezTo>
                  <a:cubicBezTo>
                    <a:pt x="3998638" y="3305512"/>
                    <a:pt x="3998638" y="3305512"/>
                    <a:pt x="3998638" y="3305146"/>
                  </a:cubicBezTo>
                  <a:cubicBezTo>
                    <a:pt x="3998638" y="3304784"/>
                    <a:pt x="3998638" y="3304784"/>
                    <a:pt x="3999000" y="3304784"/>
                  </a:cubicBezTo>
                  <a:close/>
                  <a:moveTo>
                    <a:pt x="3537882" y="3304784"/>
                  </a:moveTo>
                  <a:cubicBezTo>
                    <a:pt x="3538244" y="3304784"/>
                    <a:pt x="3538244" y="3304784"/>
                    <a:pt x="3538244" y="3305146"/>
                  </a:cubicBezTo>
                  <a:cubicBezTo>
                    <a:pt x="3538244" y="3305512"/>
                    <a:pt x="3537882" y="3305512"/>
                    <a:pt x="3537882" y="3305512"/>
                  </a:cubicBezTo>
                  <a:cubicBezTo>
                    <a:pt x="3537520" y="3305512"/>
                    <a:pt x="3537520" y="3305512"/>
                    <a:pt x="3537520" y="3305146"/>
                  </a:cubicBezTo>
                  <a:cubicBezTo>
                    <a:pt x="3537520" y="3304784"/>
                    <a:pt x="3537520" y="3304784"/>
                    <a:pt x="3537882" y="3304784"/>
                  </a:cubicBezTo>
                  <a:close/>
                  <a:moveTo>
                    <a:pt x="3383934" y="3304784"/>
                  </a:moveTo>
                  <a:cubicBezTo>
                    <a:pt x="3384296" y="3304784"/>
                    <a:pt x="3384296" y="3304784"/>
                    <a:pt x="3384296" y="3305146"/>
                  </a:cubicBezTo>
                  <a:cubicBezTo>
                    <a:pt x="3384296" y="3305512"/>
                    <a:pt x="3383934" y="3305512"/>
                    <a:pt x="3383934" y="3305512"/>
                  </a:cubicBezTo>
                  <a:cubicBezTo>
                    <a:pt x="3383572" y="3305512"/>
                    <a:pt x="3383572" y="3305512"/>
                    <a:pt x="3383572" y="3305146"/>
                  </a:cubicBezTo>
                  <a:cubicBezTo>
                    <a:pt x="3383572" y="3304784"/>
                    <a:pt x="3383572" y="3304784"/>
                    <a:pt x="3383934" y="3304784"/>
                  </a:cubicBezTo>
                  <a:close/>
                  <a:moveTo>
                    <a:pt x="3230353" y="3304422"/>
                  </a:moveTo>
                  <a:cubicBezTo>
                    <a:pt x="3230753" y="3304422"/>
                    <a:pt x="3231077" y="3304746"/>
                    <a:pt x="3231077" y="3305146"/>
                  </a:cubicBezTo>
                  <a:cubicBezTo>
                    <a:pt x="3231077" y="3305550"/>
                    <a:pt x="3230753" y="3305874"/>
                    <a:pt x="3230353" y="3305874"/>
                  </a:cubicBezTo>
                  <a:cubicBezTo>
                    <a:pt x="3229949" y="3305874"/>
                    <a:pt x="3229625" y="3305550"/>
                    <a:pt x="3229625" y="3305146"/>
                  </a:cubicBezTo>
                  <a:cubicBezTo>
                    <a:pt x="3229625" y="3304746"/>
                    <a:pt x="3229949" y="3304422"/>
                    <a:pt x="3230353" y="3304422"/>
                  </a:cubicBezTo>
                  <a:close/>
                  <a:moveTo>
                    <a:pt x="4152947" y="3303694"/>
                  </a:moveTo>
                  <a:cubicBezTo>
                    <a:pt x="4153748" y="3303694"/>
                    <a:pt x="4154400" y="3304346"/>
                    <a:pt x="4154400" y="3305146"/>
                  </a:cubicBezTo>
                  <a:cubicBezTo>
                    <a:pt x="4154400" y="3305947"/>
                    <a:pt x="4153748" y="3306598"/>
                    <a:pt x="4152947" y="3306598"/>
                  </a:cubicBezTo>
                  <a:cubicBezTo>
                    <a:pt x="4152142" y="3306598"/>
                    <a:pt x="4151494" y="3305947"/>
                    <a:pt x="4151494" y="3305146"/>
                  </a:cubicBezTo>
                  <a:cubicBezTo>
                    <a:pt x="4151494" y="3304346"/>
                    <a:pt x="4152142" y="3303694"/>
                    <a:pt x="4152947" y="3303694"/>
                  </a:cubicBezTo>
                  <a:close/>
                  <a:moveTo>
                    <a:pt x="4306528" y="3302970"/>
                  </a:moveTo>
                  <a:cubicBezTo>
                    <a:pt x="4307733" y="3302970"/>
                    <a:pt x="4308709" y="3303945"/>
                    <a:pt x="4308709" y="3305146"/>
                  </a:cubicBezTo>
                  <a:cubicBezTo>
                    <a:pt x="4308709" y="3306351"/>
                    <a:pt x="4307733" y="3307327"/>
                    <a:pt x="4306528" y="3307327"/>
                  </a:cubicBezTo>
                  <a:cubicBezTo>
                    <a:pt x="4305328" y="3307327"/>
                    <a:pt x="4304352" y="3306351"/>
                    <a:pt x="4304352" y="3305146"/>
                  </a:cubicBezTo>
                  <a:cubicBezTo>
                    <a:pt x="4304352" y="3303945"/>
                    <a:pt x="4305328" y="3302970"/>
                    <a:pt x="4306528" y="3302970"/>
                  </a:cubicBezTo>
                  <a:close/>
                  <a:moveTo>
                    <a:pt x="4460480" y="3302241"/>
                  </a:moveTo>
                  <a:cubicBezTo>
                    <a:pt x="4462294" y="3302241"/>
                    <a:pt x="4463746" y="3303694"/>
                    <a:pt x="4463746" y="3305508"/>
                  </a:cubicBezTo>
                  <a:cubicBezTo>
                    <a:pt x="4463746" y="3307323"/>
                    <a:pt x="4462294" y="3308779"/>
                    <a:pt x="4460480" y="3308779"/>
                  </a:cubicBezTo>
                  <a:cubicBezTo>
                    <a:pt x="4458665" y="3308779"/>
                    <a:pt x="4457213" y="3307323"/>
                    <a:pt x="4457213" y="3305508"/>
                  </a:cubicBezTo>
                  <a:cubicBezTo>
                    <a:pt x="4457213" y="3303694"/>
                    <a:pt x="4458665" y="3302241"/>
                    <a:pt x="4460480" y="3302241"/>
                  </a:cubicBezTo>
                  <a:close/>
                  <a:moveTo>
                    <a:pt x="4614061" y="3300789"/>
                  </a:moveTo>
                  <a:cubicBezTo>
                    <a:pt x="4616604" y="3300789"/>
                    <a:pt x="4618418" y="3302604"/>
                    <a:pt x="4618418" y="3305146"/>
                  </a:cubicBezTo>
                  <a:cubicBezTo>
                    <a:pt x="4618418" y="3307689"/>
                    <a:pt x="4616238" y="3309503"/>
                    <a:pt x="4614061" y="3309503"/>
                  </a:cubicBezTo>
                  <a:cubicBezTo>
                    <a:pt x="4611518" y="3309503"/>
                    <a:pt x="4609704" y="3307689"/>
                    <a:pt x="4609704" y="3305146"/>
                  </a:cubicBezTo>
                  <a:cubicBezTo>
                    <a:pt x="4609704" y="3302604"/>
                    <a:pt x="4611518" y="3300789"/>
                    <a:pt x="4614061" y="3300789"/>
                  </a:cubicBezTo>
                  <a:close/>
                  <a:moveTo>
                    <a:pt x="4768012" y="3299699"/>
                  </a:moveTo>
                  <a:cubicBezTo>
                    <a:pt x="4771279" y="3299699"/>
                    <a:pt x="4773822" y="3302241"/>
                    <a:pt x="4773822" y="3305508"/>
                  </a:cubicBezTo>
                  <a:cubicBezTo>
                    <a:pt x="4773822" y="3308775"/>
                    <a:pt x="4771279" y="3311318"/>
                    <a:pt x="4768012" y="3311318"/>
                  </a:cubicBezTo>
                  <a:cubicBezTo>
                    <a:pt x="4764746" y="3311318"/>
                    <a:pt x="4762203" y="3308775"/>
                    <a:pt x="4762203" y="3305508"/>
                  </a:cubicBezTo>
                  <a:cubicBezTo>
                    <a:pt x="4762203" y="3302241"/>
                    <a:pt x="4764746" y="3299699"/>
                    <a:pt x="4768012" y="3299699"/>
                  </a:cubicBezTo>
                  <a:close/>
                  <a:moveTo>
                    <a:pt x="4921594" y="3297885"/>
                  </a:moveTo>
                  <a:cubicBezTo>
                    <a:pt x="4925588" y="3297885"/>
                    <a:pt x="4928856" y="3301151"/>
                    <a:pt x="4928856" y="3305146"/>
                  </a:cubicBezTo>
                  <a:cubicBezTo>
                    <a:pt x="4928856" y="3309141"/>
                    <a:pt x="4925588" y="3312408"/>
                    <a:pt x="4921594" y="3312408"/>
                  </a:cubicBezTo>
                  <a:cubicBezTo>
                    <a:pt x="4917599" y="3312408"/>
                    <a:pt x="4914332" y="3309141"/>
                    <a:pt x="4914332" y="3305146"/>
                  </a:cubicBezTo>
                  <a:cubicBezTo>
                    <a:pt x="4914332" y="3301151"/>
                    <a:pt x="4917599" y="3297885"/>
                    <a:pt x="4921594" y="3297885"/>
                  </a:cubicBezTo>
                  <a:close/>
                  <a:moveTo>
                    <a:pt x="5075541" y="3296070"/>
                  </a:moveTo>
                  <a:cubicBezTo>
                    <a:pt x="5080626" y="3296070"/>
                    <a:pt x="5084621" y="3300065"/>
                    <a:pt x="5084621" y="3305146"/>
                  </a:cubicBezTo>
                  <a:cubicBezTo>
                    <a:pt x="5084621" y="3310231"/>
                    <a:pt x="5080626" y="3314226"/>
                    <a:pt x="5075541" y="3314226"/>
                  </a:cubicBezTo>
                  <a:cubicBezTo>
                    <a:pt x="5070460" y="3314226"/>
                    <a:pt x="5066465" y="3310231"/>
                    <a:pt x="5066465" y="3305146"/>
                  </a:cubicBezTo>
                  <a:cubicBezTo>
                    <a:pt x="5066465" y="3300065"/>
                    <a:pt x="5070460" y="3296070"/>
                    <a:pt x="5075541" y="3296070"/>
                  </a:cubicBezTo>
                  <a:close/>
                  <a:moveTo>
                    <a:pt x="5229126" y="3294980"/>
                  </a:moveTo>
                  <a:cubicBezTo>
                    <a:pt x="5234574" y="3294980"/>
                    <a:pt x="5239293" y="3299699"/>
                    <a:pt x="5239293" y="3305146"/>
                  </a:cubicBezTo>
                  <a:cubicBezTo>
                    <a:pt x="5239293" y="3310593"/>
                    <a:pt x="5234936" y="3315312"/>
                    <a:pt x="5229126" y="3315312"/>
                  </a:cubicBezTo>
                  <a:cubicBezTo>
                    <a:pt x="5223679" y="3315312"/>
                    <a:pt x="5218960" y="3310593"/>
                    <a:pt x="5218960" y="3305146"/>
                  </a:cubicBezTo>
                  <a:cubicBezTo>
                    <a:pt x="5218960" y="3299699"/>
                    <a:pt x="5223679" y="3294980"/>
                    <a:pt x="5229126" y="3294980"/>
                  </a:cubicBezTo>
                  <a:close/>
                  <a:moveTo>
                    <a:pt x="5383074" y="3293165"/>
                  </a:moveTo>
                  <a:cubicBezTo>
                    <a:pt x="5389612" y="3293165"/>
                    <a:pt x="5395058" y="3298613"/>
                    <a:pt x="5395058" y="3305146"/>
                  </a:cubicBezTo>
                  <a:cubicBezTo>
                    <a:pt x="5395058" y="3311684"/>
                    <a:pt x="5389612" y="3317131"/>
                    <a:pt x="5383074" y="3317131"/>
                  </a:cubicBezTo>
                  <a:cubicBezTo>
                    <a:pt x="5376540" y="3317131"/>
                    <a:pt x="5371093" y="3311684"/>
                    <a:pt x="5371093" y="3305146"/>
                  </a:cubicBezTo>
                  <a:cubicBezTo>
                    <a:pt x="5371093" y="3298613"/>
                    <a:pt x="5376540" y="3293165"/>
                    <a:pt x="5383074" y="3293165"/>
                  </a:cubicBezTo>
                  <a:close/>
                  <a:moveTo>
                    <a:pt x="5537021" y="3291351"/>
                  </a:moveTo>
                  <a:cubicBezTo>
                    <a:pt x="5544641" y="3291351"/>
                    <a:pt x="5550820" y="3297530"/>
                    <a:pt x="5550820" y="3305146"/>
                  </a:cubicBezTo>
                  <a:cubicBezTo>
                    <a:pt x="5550820" y="3312766"/>
                    <a:pt x="5544645" y="3318945"/>
                    <a:pt x="5537021" y="3318945"/>
                  </a:cubicBezTo>
                  <a:cubicBezTo>
                    <a:pt x="5529405" y="3318945"/>
                    <a:pt x="5523226" y="3312766"/>
                    <a:pt x="5523226" y="3305146"/>
                  </a:cubicBezTo>
                  <a:cubicBezTo>
                    <a:pt x="5523226" y="3297526"/>
                    <a:pt x="5529402" y="3291351"/>
                    <a:pt x="5537021" y="3291351"/>
                  </a:cubicBezTo>
                  <a:close/>
                  <a:moveTo>
                    <a:pt x="5690606" y="3289899"/>
                  </a:moveTo>
                  <a:cubicBezTo>
                    <a:pt x="5699027" y="3289899"/>
                    <a:pt x="5705854" y="3296726"/>
                    <a:pt x="5705854" y="3305146"/>
                  </a:cubicBezTo>
                  <a:cubicBezTo>
                    <a:pt x="5705854" y="3313570"/>
                    <a:pt x="5699027" y="3320398"/>
                    <a:pt x="5690606" y="3320398"/>
                  </a:cubicBezTo>
                  <a:cubicBezTo>
                    <a:pt x="5682182" y="3320398"/>
                    <a:pt x="5675355" y="3313570"/>
                    <a:pt x="5675355" y="3305146"/>
                  </a:cubicBezTo>
                  <a:cubicBezTo>
                    <a:pt x="5675355" y="3296726"/>
                    <a:pt x="5682182" y="3289899"/>
                    <a:pt x="5690606" y="3289899"/>
                  </a:cubicBezTo>
                  <a:close/>
                  <a:moveTo>
                    <a:pt x="5844554" y="3288084"/>
                  </a:moveTo>
                  <a:cubicBezTo>
                    <a:pt x="5853977" y="3288084"/>
                    <a:pt x="5861616" y="3295723"/>
                    <a:pt x="5861616" y="3305150"/>
                  </a:cubicBezTo>
                  <a:cubicBezTo>
                    <a:pt x="5861616" y="3314573"/>
                    <a:pt x="5853977" y="3322216"/>
                    <a:pt x="5844554" y="3322216"/>
                  </a:cubicBezTo>
                  <a:cubicBezTo>
                    <a:pt x="5835127" y="3322216"/>
                    <a:pt x="5827488" y="3314573"/>
                    <a:pt x="5827488" y="3305150"/>
                  </a:cubicBezTo>
                  <a:cubicBezTo>
                    <a:pt x="5827488" y="3295723"/>
                    <a:pt x="5835131" y="3288084"/>
                    <a:pt x="5844554" y="3288084"/>
                  </a:cubicBezTo>
                  <a:close/>
                  <a:moveTo>
                    <a:pt x="5998136" y="3285904"/>
                  </a:moveTo>
                  <a:cubicBezTo>
                    <a:pt x="6008763" y="3285904"/>
                    <a:pt x="6017382" y="3294519"/>
                    <a:pt x="6017382" y="3305146"/>
                  </a:cubicBezTo>
                  <a:cubicBezTo>
                    <a:pt x="6017382" y="3315774"/>
                    <a:pt x="6008763" y="3324389"/>
                    <a:pt x="5998136" y="3324389"/>
                  </a:cubicBezTo>
                  <a:cubicBezTo>
                    <a:pt x="5987508" y="3324389"/>
                    <a:pt x="5978893" y="3315774"/>
                    <a:pt x="5978893" y="3305146"/>
                  </a:cubicBezTo>
                  <a:cubicBezTo>
                    <a:pt x="5978893" y="3294519"/>
                    <a:pt x="5987508" y="3285904"/>
                    <a:pt x="5998136" y="3285904"/>
                  </a:cubicBezTo>
                  <a:close/>
                  <a:moveTo>
                    <a:pt x="6152086" y="3283727"/>
                  </a:moveTo>
                  <a:cubicBezTo>
                    <a:pt x="6163915" y="3283727"/>
                    <a:pt x="6173510" y="3293318"/>
                    <a:pt x="6173510" y="3305150"/>
                  </a:cubicBezTo>
                  <a:cubicBezTo>
                    <a:pt x="6173510" y="3316979"/>
                    <a:pt x="6163915" y="3326569"/>
                    <a:pt x="6152086" y="3326569"/>
                  </a:cubicBezTo>
                  <a:cubicBezTo>
                    <a:pt x="6140254" y="3326569"/>
                    <a:pt x="6130664" y="3316979"/>
                    <a:pt x="6130664" y="3305150"/>
                  </a:cubicBezTo>
                  <a:cubicBezTo>
                    <a:pt x="6130664" y="3293318"/>
                    <a:pt x="6140254" y="3283727"/>
                    <a:pt x="6152086" y="3283727"/>
                  </a:cubicBezTo>
                  <a:close/>
                  <a:moveTo>
                    <a:pt x="6305672" y="3282275"/>
                  </a:moveTo>
                  <a:cubicBezTo>
                    <a:pt x="6318304" y="3282275"/>
                    <a:pt x="6328547" y="3292517"/>
                    <a:pt x="6328547" y="3305150"/>
                  </a:cubicBezTo>
                  <a:cubicBezTo>
                    <a:pt x="6328547" y="3317783"/>
                    <a:pt x="6318304" y="3328021"/>
                    <a:pt x="6305672" y="3328021"/>
                  </a:cubicBezTo>
                  <a:cubicBezTo>
                    <a:pt x="6293039" y="3328021"/>
                    <a:pt x="6282796" y="3317783"/>
                    <a:pt x="6282796" y="3305150"/>
                  </a:cubicBezTo>
                  <a:cubicBezTo>
                    <a:pt x="6282796" y="3292517"/>
                    <a:pt x="6293039" y="3282275"/>
                    <a:pt x="6305672" y="3282275"/>
                  </a:cubicBezTo>
                  <a:close/>
                  <a:moveTo>
                    <a:pt x="6459616" y="3280094"/>
                  </a:moveTo>
                  <a:cubicBezTo>
                    <a:pt x="6473452" y="3280094"/>
                    <a:pt x="6484671" y="3291309"/>
                    <a:pt x="6484671" y="3305146"/>
                  </a:cubicBezTo>
                  <a:cubicBezTo>
                    <a:pt x="6484671" y="3318984"/>
                    <a:pt x="6473452" y="3330202"/>
                    <a:pt x="6459616" y="3330202"/>
                  </a:cubicBezTo>
                  <a:cubicBezTo>
                    <a:pt x="6445778" y="3330202"/>
                    <a:pt x="6434564" y="3318984"/>
                    <a:pt x="6434564" y="3305146"/>
                  </a:cubicBezTo>
                  <a:cubicBezTo>
                    <a:pt x="6434564" y="3291313"/>
                    <a:pt x="6445778" y="3280094"/>
                    <a:pt x="6459616" y="3280094"/>
                  </a:cubicBezTo>
                  <a:close/>
                  <a:moveTo>
                    <a:pt x="6613200" y="3277914"/>
                  </a:moveTo>
                  <a:cubicBezTo>
                    <a:pt x="6628086" y="3277914"/>
                    <a:pt x="6640433" y="3290261"/>
                    <a:pt x="6640433" y="3305146"/>
                  </a:cubicBezTo>
                  <a:cubicBezTo>
                    <a:pt x="6640433" y="3320032"/>
                    <a:pt x="6628448" y="3332378"/>
                    <a:pt x="6613200" y="3332378"/>
                  </a:cubicBezTo>
                  <a:cubicBezTo>
                    <a:pt x="6598315" y="3332378"/>
                    <a:pt x="6585968" y="3320032"/>
                    <a:pt x="6585968" y="3305146"/>
                  </a:cubicBezTo>
                  <a:cubicBezTo>
                    <a:pt x="6585968" y="3290261"/>
                    <a:pt x="6598315" y="3277914"/>
                    <a:pt x="6613200" y="3277914"/>
                  </a:cubicBezTo>
                  <a:close/>
                  <a:moveTo>
                    <a:pt x="3845414" y="3151199"/>
                  </a:moveTo>
                  <a:cubicBezTo>
                    <a:pt x="3845776" y="3151199"/>
                    <a:pt x="3845776" y="3151199"/>
                    <a:pt x="3845776" y="3151561"/>
                  </a:cubicBezTo>
                  <a:cubicBezTo>
                    <a:pt x="3845776" y="3151923"/>
                    <a:pt x="3845414" y="3151923"/>
                    <a:pt x="3845414" y="3151923"/>
                  </a:cubicBezTo>
                  <a:cubicBezTo>
                    <a:pt x="3845052" y="3151923"/>
                    <a:pt x="3845052" y="3151923"/>
                    <a:pt x="3845052" y="3151561"/>
                  </a:cubicBezTo>
                  <a:cubicBezTo>
                    <a:pt x="3845052" y="3151199"/>
                    <a:pt x="3845052" y="3151199"/>
                    <a:pt x="3845414" y="3151199"/>
                  </a:cubicBezTo>
                  <a:close/>
                  <a:moveTo>
                    <a:pt x="3383934" y="3151199"/>
                  </a:moveTo>
                  <a:cubicBezTo>
                    <a:pt x="3384296" y="3151199"/>
                    <a:pt x="3384296" y="3151199"/>
                    <a:pt x="3384296" y="3151561"/>
                  </a:cubicBezTo>
                  <a:cubicBezTo>
                    <a:pt x="3384296" y="3151923"/>
                    <a:pt x="3383934" y="3151923"/>
                    <a:pt x="3383934" y="3151923"/>
                  </a:cubicBezTo>
                  <a:cubicBezTo>
                    <a:pt x="3383572" y="3151923"/>
                    <a:pt x="3383572" y="3151923"/>
                    <a:pt x="3383572" y="3151561"/>
                  </a:cubicBezTo>
                  <a:cubicBezTo>
                    <a:pt x="3383572" y="3151199"/>
                    <a:pt x="3383572" y="3151199"/>
                    <a:pt x="3383934" y="3151199"/>
                  </a:cubicBezTo>
                  <a:close/>
                  <a:moveTo>
                    <a:pt x="3230349" y="3151199"/>
                  </a:moveTo>
                  <a:cubicBezTo>
                    <a:pt x="3230715" y="3151199"/>
                    <a:pt x="3230715" y="3151199"/>
                    <a:pt x="3230715" y="3151561"/>
                  </a:cubicBezTo>
                  <a:cubicBezTo>
                    <a:pt x="3230715" y="3151923"/>
                    <a:pt x="3230349" y="3151923"/>
                    <a:pt x="3230349" y="3151923"/>
                  </a:cubicBezTo>
                  <a:cubicBezTo>
                    <a:pt x="3229987" y="3151923"/>
                    <a:pt x="3229987" y="3151923"/>
                    <a:pt x="3229987" y="3151561"/>
                  </a:cubicBezTo>
                  <a:cubicBezTo>
                    <a:pt x="3229987" y="3151199"/>
                    <a:pt x="3229987" y="3151199"/>
                    <a:pt x="3230349" y="3151199"/>
                  </a:cubicBezTo>
                  <a:close/>
                  <a:moveTo>
                    <a:pt x="3076406" y="3150837"/>
                  </a:moveTo>
                  <a:cubicBezTo>
                    <a:pt x="3076806" y="3150837"/>
                    <a:pt x="3077130" y="3151161"/>
                    <a:pt x="3077130" y="3151565"/>
                  </a:cubicBezTo>
                  <a:cubicBezTo>
                    <a:pt x="3077130" y="3151965"/>
                    <a:pt x="3076806" y="3152289"/>
                    <a:pt x="3076406" y="3152289"/>
                  </a:cubicBezTo>
                  <a:cubicBezTo>
                    <a:pt x="3076001" y="3152289"/>
                    <a:pt x="3075677" y="3151965"/>
                    <a:pt x="3075677" y="3151565"/>
                  </a:cubicBezTo>
                  <a:cubicBezTo>
                    <a:pt x="3075677" y="3151161"/>
                    <a:pt x="3076001" y="3150837"/>
                    <a:pt x="3076406" y="3150837"/>
                  </a:cubicBezTo>
                  <a:close/>
                  <a:moveTo>
                    <a:pt x="3999000" y="3150112"/>
                  </a:moveTo>
                  <a:cubicBezTo>
                    <a:pt x="3999800" y="3150112"/>
                    <a:pt x="4000452" y="3150764"/>
                    <a:pt x="4000452" y="3151565"/>
                  </a:cubicBezTo>
                  <a:cubicBezTo>
                    <a:pt x="4000452" y="3152365"/>
                    <a:pt x="3999800" y="3153017"/>
                    <a:pt x="3999000" y="3153017"/>
                  </a:cubicBezTo>
                  <a:cubicBezTo>
                    <a:pt x="3998195" y="3153017"/>
                    <a:pt x="3997547" y="3152365"/>
                    <a:pt x="3997547" y="3151565"/>
                  </a:cubicBezTo>
                  <a:cubicBezTo>
                    <a:pt x="3997547" y="3150764"/>
                    <a:pt x="3998195" y="3150112"/>
                    <a:pt x="3999000" y="3150112"/>
                  </a:cubicBezTo>
                  <a:close/>
                  <a:moveTo>
                    <a:pt x="4152951" y="3149384"/>
                  </a:moveTo>
                  <a:cubicBezTo>
                    <a:pt x="4154152" y="3149384"/>
                    <a:pt x="4155128" y="3150360"/>
                    <a:pt x="4155128" y="3151565"/>
                  </a:cubicBezTo>
                  <a:cubicBezTo>
                    <a:pt x="4155128" y="3152766"/>
                    <a:pt x="4154152" y="3153741"/>
                    <a:pt x="4152951" y="3153741"/>
                  </a:cubicBezTo>
                  <a:cubicBezTo>
                    <a:pt x="4151746" y="3153741"/>
                    <a:pt x="4150770" y="3152766"/>
                    <a:pt x="4150770" y="3151565"/>
                  </a:cubicBezTo>
                  <a:cubicBezTo>
                    <a:pt x="4150770" y="3150360"/>
                    <a:pt x="4151746" y="3149384"/>
                    <a:pt x="4152951" y="3149384"/>
                  </a:cubicBezTo>
                  <a:close/>
                  <a:moveTo>
                    <a:pt x="4306528" y="3148294"/>
                  </a:moveTo>
                  <a:cubicBezTo>
                    <a:pt x="4308346" y="3148294"/>
                    <a:pt x="4309796" y="3149746"/>
                    <a:pt x="4309796" y="3151561"/>
                  </a:cubicBezTo>
                  <a:cubicBezTo>
                    <a:pt x="4309796" y="3153375"/>
                    <a:pt x="4308346" y="3154831"/>
                    <a:pt x="4306528" y="3154831"/>
                  </a:cubicBezTo>
                  <a:cubicBezTo>
                    <a:pt x="4304714" y="3154831"/>
                    <a:pt x="4303262" y="3153375"/>
                    <a:pt x="4303262" y="3151561"/>
                  </a:cubicBezTo>
                  <a:cubicBezTo>
                    <a:pt x="4303262" y="3149746"/>
                    <a:pt x="4304714" y="3148294"/>
                    <a:pt x="4306528" y="3148294"/>
                  </a:cubicBezTo>
                  <a:close/>
                  <a:moveTo>
                    <a:pt x="4460480" y="3146842"/>
                  </a:moveTo>
                  <a:cubicBezTo>
                    <a:pt x="4463018" y="3146842"/>
                    <a:pt x="4464836" y="3148656"/>
                    <a:pt x="4464836" y="3151199"/>
                  </a:cubicBezTo>
                  <a:cubicBezTo>
                    <a:pt x="4464836" y="3153741"/>
                    <a:pt x="4462656" y="3155556"/>
                    <a:pt x="4460480" y="3155556"/>
                  </a:cubicBezTo>
                  <a:cubicBezTo>
                    <a:pt x="4457937" y="3155556"/>
                    <a:pt x="4456122" y="3153741"/>
                    <a:pt x="4456122" y="3151199"/>
                  </a:cubicBezTo>
                  <a:cubicBezTo>
                    <a:pt x="4456122" y="3148656"/>
                    <a:pt x="4457937" y="3146842"/>
                    <a:pt x="4460480" y="3146842"/>
                  </a:cubicBezTo>
                  <a:close/>
                  <a:moveTo>
                    <a:pt x="4614061" y="3145752"/>
                  </a:moveTo>
                  <a:cubicBezTo>
                    <a:pt x="4617328" y="3145752"/>
                    <a:pt x="4619870" y="3148294"/>
                    <a:pt x="4619870" y="3151561"/>
                  </a:cubicBezTo>
                  <a:cubicBezTo>
                    <a:pt x="4619870" y="3154828"/>
                    <a:pt x="4617328" y="3157370"/>
                    <a:pt x="4614061" y="3157370"/>
                  </a:cubicBezTo>
                  <a:cubicBezTo>
                    <a:pt x="4610794" y="3157370"/>
                    <a:pt x="4608252" y="3154828"/>
                    <a:pt x="4608252" y="3151561"/>
                  </a:cubicBezTo>
                  <a:cubicBezTo>
                    <a:pt x="4608252" y="3148294"/>
                    <a:pt x="4610794" y="3145752"/>
                    <a:pt x="4614061" y="3145752"/>
                  </a:cubicBezTo>
                  <a:close/>
                  <a:moveTo>
                    <a:pt x="4768008" y="3144299"/>
                  </a:moveTo>
                  <a:cubicBezTo>
                    <a:pt x="4772004" y="3144299"/>
                    <a:pt x="4775270" y="3147566"/>
                    <a:pt x="4775270" y="3151561"/>
                  </a:cubicBezTo>
                  <a:cubicBezTo>
                    <a:pt x="4775270" y="3155556"/>
                    <a:pt x="4772004" y="3158823"/>
                    <a:pt x="4768008" y="3158823"/>
                  </a:cubicBezTo>
                  <a:cubicBezTo>
                    <a:pt x="4764014" y="3158823"/>
                    <a:pt x="4760747" y="3155556"/>
                    <a:pt x="4760747" y="3151561"/>
                  </a:cubicBezTo>
                  <a:cubicBezTo>
                    <a:pt x="4760747" y="3147566"/>
                    <a:pt x="4764014" y="3144299"/>
                    <a:pt x="4768008" y="3144299"/>
                  </a:cubicBezTo>
                  <a:close/>
                  <a:moveTo>
                    <a:pt x="4921594" y="3142123"/>
                  </a:moveTo>
                  <a:cubicBezTo>
                    <a:pt x="4926679" y="3142123"/>
                    <a:pt x="4930674" y="3146118"/>
                    <a:pt x="4930674" y="3151199"/>
                  </a:cubicBezTo>
                  <a:cubicBezTo>
                    <a:pt x="4930674" y="3156284"/>
                    <a:pt x="4926679" y="3160279"/>
                    <a:pt x="4921594" y="3160279"/>
                  </a:cubicBezTo>
                  <a:cubicBezTo>
                    <a:pt x="4916512" y="3160279"/>
                    <a:pt x="4912518" y="3156284"/>
                    <a:pt x="4912518" y="3151199"/>
                  </a:cubicBezTo>
                  <a:cubicBezTo>
                    <a:pt x="4912518" y="3146118"/>
                    <a:pt x="4916512" y="3142123"/>
                    <a:pt x="4921594" y="3142123"/>
                  </a:cubicBezTo>
                  <a:close/>
                  <a:moveTo>
                    <a:pt x="5075541" y="3141395"/>
                  </a:moveTo>
                  <a:cubicBezTo>
                    <a:pt x="5080988" y="3141395"/>
                    <a:pt x="5085708" y="3146114"/>
                    <a:pt x="5085708" y="3151561"/>
                  </a:cubicBezTo>
                  <a:cubicBezTo>
                    <a:pt x="5085708" y="3157008"/>
                    <a:pt x="5081350" y="3161727"/>
                    <a:pt x="5075541" y="3161727"/>
                  </a:cubicBezTo>
                  <a:cubicBezTo>
                    <a:pt x="5070094" y="3161727"/>
                    <a:pt x="5065375" y="3157008"/>
                    <a:pt x="5065375" y="3151561"/>
                  </a:cubicBezTo>
                  <a:cubicBezTo>
                    <a:pt x="5065375" y="3146114"/>
                    <a:pt x="5070094" y="3141395"/>
                    <a:pt x="5075541" y="3141395"/>
                  </a:cubicBezTo>
                  <a:close/>
                  <a:moveTo>
                    <a:pt x="5229126" y="3139580"/>
                  </a:moveTo>
                  <a:cubicBezTo>
                    <a:pt x="5235664" y="3139580"/>
                    <a:pt x="5241111" y="3145028"/>
                    <a:pt x="5241111" y="3151561"/>
                  </a:cubicBezTo>
                  <a:cubicBezTo>
                    <a:pt x="5241111" y="3158099"/>
                    <a:pt x="5235664" y="3163542"/>
                    <a:pt x="5229126" y="3163542"/>
                  </a:cubicBezTo>
                  <a:cubicBezTo>
                    <a:pt x="5222593" y="3163542"/>
                    <a:pt x="5217146" y="3158099"/>
                    <a:pt x="5217146" y="3151561"/>
                  </a:cubicBezTo>
                  <a:cubicBezTo>
                    <a:pt x="5217146" y="3145028"/>
                    <a:pt x="5222593" y="3139580"/>
                    <a:pt x="5229126" y="3139580"/>
                  </a:cubicBezTo>
                  <a:close/>
                  <a:moveTo>
                    <a:pt x="5383078" y="3137403"/>
                  </a:moveTo>
                  <a:cubicBezTo>
                    <a:pt x="5390702" y="3137403"/>
                    <a:pt x="5396873" y="3143575"/>
                    <a:pt x="5396873" y="3151199"/>
                  </a:cubicBezTo>
                  <a:cubicBezTo>
                    <a:pt x="5396873" y="3158827"/>
                    <a:pt x="5390702" y="3164998"/>
                    <a:pt x="5383078" y="3164998"/>
                  </a:cubicBezTo>
                  <a:cubicBezTo>
                    <a:pt x="5375450" y="3164998"/>
                    <a:pt x="5369278" y="3158827"/>
                    <a:pt x="5369278" y="3151199"/>
                  </a:cubicBezTo>
                  <a:cubicBezTo>
                    <a:pt x="5369278" y="3143575"/>
                    <a:pt x="5375450" y="3137403"/>
                    <a:pt x="5383078" y="3137403"/>
                  </a:cubicBezTo>
                  <a:close/>
                  <a:moveTo>
                    <a:pt x="5536659" y="3136313"/>
                  </a:moveTo>
                  <a:cubicBezTo>
                    <a:pt x="5545080" y="3136313"/>
                    <a:pt x="5551906" y="3143140"/>
                    <a:pt x="5551906" y="3151565"/>
                  </a:cubicBezTo>
                  <a:cubicBezTo>
                    <a:pt x="5551906" y="3159985"/>
                    <a:pt x="5545080" y="3166812"/>
                    <a:pt x="5536659" y="3166812"/>
                  </a:cubicBezTo>
                  <a:cubicBezTo>
                    <a:pt x="5528238" y="3166812"/>
                    <a:pt x="5521408" y="3159985"/>
                    <a:pt x="5521408" y="3151565"/>
                  </a:cubicBezTo>
                  <a:cubicBezTo>
                    <a:pt x="5521408" y="3143140"/>
                    <a:pt x="5528238" y="3136313"/>
                    <a:pt x="5536659" y="3136313"/>
                  </a:cubicBezTo>
                  <a:close/>
                  <a:moveTo>
                    <a:pt x="5690606" y="3134499"/>
                  </a:moveTo>
                  <a:cubicBezTo>
                    <a:pt x="5700048" y="3134499"/>
                    <a:pt x="5707672" y="3142123"/>
                    <a:pt x="5707672" y="3151565"/>
                  </a:cubicBezTo>
                  <a:cubicBezTo>
                    <a:pt x="5707672" y="3161003"/>
                    <a:pt x="5700048" y="3168627"/>
                    <a:pt x="5690606" y="3168627"/>
                  </a:cubicBezTo>
                  <a:cubicBezTo>
                    <a:pt x="5681164" y="3168627"/>
                    <a:pt x="5673540" y="3161003"/>
                    <a:pt x="5673540" y="3151565"/>
                  </a:cubicBezTo>
                  <a:cubicBezTo>
                    <a:pt x="5673540" y="3142123"/>
                    <a:pt x="5681164" y="3134499"/>
                    <a:pt x="5690606" y="3134499"/>
                  </a:cubicBezTo>
                  <a:close/>
                  <a:moveTo>
                    <a:pt x="5844554" y="3132318"/>
                  </a:moveTo>
                  <a:cubicBezTo>
                    <a:pt x="5855182" y="3132318"/>
                    <a:pt x="5863796" y="3140933"/>
                    <a:pt x="5863796" y="3151561"/>
                  </a:cubicBezTo>
                  <a:cubicBezTo>
                    <a:pt x="5863796" y="3162188"/>
                    <a:pt x="5855182" y="3170807"/>
                    <a:pt x="5844554" y="3170807"/>
                  </a:cubicBezTo>
                  <a:cubicBezTo>
                    <a:pt x="5833926" y="3170807"/>
                    <a:pt x="5825308" y="3162188"/>
                    <a:pt x="5825308" y="3151561"/>
                  </a:cubicBezTo>
                  <a:cubicBezTo>
                    <a:pt x="5825308" y="3140933"/>
                    <a:pt x="5833926" y="3132318"/>
                    <a:pt x="5844554" y="3132318"/>
                  </a:cubicBezTo>
                  <a:close/>
                  <a:moveTo>
                    <a:pt x="5998139" y="3130142"/>
                  </a:moveTo>
                  <a:cubicBezTo>
                    <a:pt x="6009968" y="3130142"/>
                    <a:pt x="6019562" y="3139733"/>
                    <a:pt x="6019562" y="3151565"/>
                  </a:cubicBezTo>
                  <a:cubicBezTo>
                    <a:pt x="6019562" y="3163397"/>
                    <a:pt x="6009968" y="3172984"/>
                    <a:pt x="5998139" y="3172984"/>
                  </a:cubicBezTo>
                  <a:cubicBezTo>
                    <a:pt x="5986307" y="3172984"/>
                    <a:pt x="5976716" y="3163393"/>
                    <a:pt x="5976716" y="3151565"/>
                  </a:cubicBezTo>
                  <a:cubicBezTo>
                    <a:pt x="5976716" y="3139733"/>
                    <a:pt x="5986307" y="3130142"/>
                    <a:pt x="5998139" y="3130142"/>
                  </a:cubicBezTo>
                  <a:close/>
                  <a:moveTo>
                    <a:pt x="6152086" y="3128689"/>
                  </a:moveTo>
                  <a:cubicBezTo>
                    <a:pt x="6164719" y="3128689"/>
                    <a:pt x="6174958" y="3138932"/>
                    <a:pt x="6174958" y="3151565"/>
                  </a:cubicBezTo>
                  <a:cubicBezTo>
                    <a:pt x="6174958" y="3164197"/>
                    <a:pt x="6164719" y="3174440"/>
                    <a:pt x="6152086" y="3174440"/>
                  </a:cubicBezTo>
                  <a:cubicBezTo>
                    <a:pt x="6139450" y="3174440"/>
                    <a:pt x="6129212" y="3164197"/>
                    <a:pt x="6129212" y="3151565"/>
                  </a:cubicBezTo>
                  <a:cubicBezTo>
                    <a:pt x="6129212" y="3138932"/>
                    <a:pt x="6139450" y="3128689"/>
                    <a:pt x="6152086" y="3128689"/>
                  </a:cubicBezTo>
                  <a:close/>
                  <a:moveTo>
                    <a:pt x="6305668" y="3126509"/>
                  </a:moveTo>
                  <a:cubicBezTo>
                    <a:pt x="6319505" y="3126509"/>
                    <a:pt x="6330724" y="3137724"/>
                    <a:pt x="6330724" y="3151561"/>
                  </a:cubicBezTo>
                  <a:cubicBezTo>
                    <a:pt x="6330724" y="3165398"/>
                    <a:pt x="6319505" y="3176616"/>
                    <a:pt x="6305668" y="3176616"/>
                  </a:cubicBezTo>
                  <a:cubicBezTo>
                    <a:pt x="6291831" y="3176616"/>
                    <a:pt x="6280616" y="3165398"/>
                    <a:pt x="6280616" y="3151561"/>
                  </a:cubicBezTo>
                  <a:cubicBezTo>
                    <a:pt x="6280616" y="3137728"/>
                    <a:pt x="6291831" y="3126509"/>
                    <a:pt x="6305668" y="3126509"/>
                  </a:cubicBezTo>
                  <a:close/>
                  <a:moveTo>
                    <a:pt x="6459619" y="3124332"/>
                  </a:moveTo>
                  <a:cubicBezTo>
                    <a:pt x="6474657" y="3124332"/>
                    <a:pt x="6486852" y="3136523"/>
                    <a:pt x="6486852" y="3151565"/>
                  </a:cubicBezTo>
                  <a:cubicBezTo>
                    <a:pt x="6486852" y="3166603"/>
                    <a:pt x="6474657" y="3178797"/>
                    <a:pt x="6459619" y="3178797"/>
                  </a:cubicBezTo>
                  <a:cubicBezTo>
                    <a:pt x="6444582" y="3178797"/>
                    <a:pt x="6432387" y="3166603"/>
                    <a:pt x="6432387" y="3151565"/>
                  </a:cubicBezTo>
                  <a:cubicBezTo>
                    <a:pt x="6432387" y="3136523"/>
                    <a:pt x="6444582" y="3124332"/>
                    <a:pt x="6459619" y="3124332"/>
                  </a:cubicBezTo>
                  <a:close/>
                  <a:moveTo>
                    <a:pt x="6613197" y="3121790"/>
                  </a:moveTo>
                  <a:cubicBezTo>
                    <a:pt x="6629642" y="3121790"/>
                    <a:pt x="6642972" y="3135120"/>
                    <a:pt x="6642972" y="3151565"/>
                  </a:cubicBezTo>
                  <a:cubicBezTo>
                    <a:pt x="6642972" y="3168005"/>
                    <a:pt x="6629642" y="3181336"/>
                    <a:pt x="6613197" y="3181336"/>
                  </a:cubicBezTo>
                  <a:cubicBezTo>
                    <a:pt x="6596756" y="3181336"/>
                    <a:pt x="6583426" y="3168005"/>
                    <a:pt x="6583426" y="3151565"/>
                  </a:cubicBezTo>
                  <a:cubicBezTo>
                    <a:pt x="6583426" y="3135120"/>
                    <a:pt x="6596756" y="3121790"/>
                    <a:pt x="6613197" y="3121790"/>
                  </a:cubicBezTo>
                  <a:close/>
                  <a:moveTo>
                    <a:pt x="3691467" y="2997252"/>
                  </a:moveTo>
                  <a:cubicBezTo>
                    <a:pt x="3691669" y="2997252"/>
                    <a:pt x="3691829" y="2997415"/>
                    <a:pt x="3691829" y="2997613"/>
                  </a:cubicBezTo>
                  <a:cubicBezTo>
                    <a:pt x="3691829" y="2997816"/>
                    <a:pt x="3691669" y="2997976"/>
                    <a:pt x="3691467" y="2997976"/>
                  </a:cubicBezTo>
                  <a:cubicBezTo>
                    <a:pt x="3691269" y="2997976"/>
                    <a:pt x="3691105" y="2997816"/>
                    <a:pt x="3691105" y="2997613"/>
                  </a:cubicBezTo>
                  <a:cubicBezTo>
                    <a:pt x="3691105" y="2997415"/>
                    <a:pt x="3691269" y="2997252"/>
                    <a:pt x="3691467" y="2997252"/>
                  </a:cubicBezTo>
                  <a:close/>
                  <a:moveTo>
                    <a:pt x="3230349" y="2997252"/>
                  </a:moveTo>
                  <a:cubicBezTo>
                    <a:pt x="3230715" y="2997252"/>
                    <a:pt x="3230715" y="2997252"/>
                    <a:pt x="3230715" y="2997613"/>
                  </a:cubicBezTo>
                  <a:cubicBezTo>
                    <a:pt x="3230715" y="2997976"/>
                    <a:pt x="3230349" y="2997976"/>
                    <a:pt x="3230349" y="2997976"/>
                  </a:cubicBezTo>
                  <a:cubicBezTo>
                    <a:pt x="3229987" y="2997976"/>
                    <a:pt x="3229987" y="2997976"/>
                    <a:pt x="3229987" y="2997613"/>
                  </a:cubicBezTo>
                  <a:cubicBezTo>
                    <a:pt x="3229987" y="2997252"/>
                    <a:pt x="3229987" y="2997252"/>
                    <a:pt x="3230349" y="2997252"/>
                  </a:cubicBezTo>
                  <a:close/>
                  <a:moveTo>
                    <a:pt x="3076406" y="2997252"/>
                  </a:moveTo>
                  <a:cubicBezTo>
                    <a:pt x="3076768" y="2997252"/>
                    <a:pt x="3076768" y="2997252"/>
                    <a:pt x="3076768" y="2997613"/>
                  </a:cubicBezTo>
                  <a:cubicBezTo>
                    <a:pt x="3076768" y="2997976"/>
                    <a:pt x="3076406" y="2997976"/>
                    <a:pt x="3076406" y="2997976"/>
                  </a:cubicBezTo>
                  <a:cubicBezTo>
                    <a:pt x="3076043" y="2997976"/>
                    <a:pt x="3076043" y="2997976"/>
                    <a:pt x="3076043" y="2997613"/>
                  </a:cubicBezTo>
                  <a:cubicBezTo>
                    <a:pt x="3076043" y="2997252"/>
                    <a:pt x="3076043" y="2997252"/>
                    <a:pt x="3076406" y="2997252"/>
                  </a:cubicBezTo>
                  <a:close/>
                  <a:moveTo>
                    <a:pt x="2922824" y="2996889"/>
                  </a:moveTo>
                  <a:cubicBezTo>
                    <a:pt x="2923224" y="2996889"/>
                    <a:pt x="2923548" y="2997213"/>
                    <a:pt x="2923548" y="2997613"/>
                  </a:cubicBezTo>
                  <a:cubicBezTo>
                    <a:pt x="2923548" y="2998018"/>
                    <a:pt x="2923224" y="2998342"/>
                    <a:pt x="2922824" y="2998342"/>
                  </a:cubicBezTo>
                  <a:cubicBezTo>
                    <a:pt x="2922420" y="2998342"/>
                    <a:pt x="2922096" y="2998018"/>
                    <a:pt x="2922096" y="2997613"/>
                  </a:cubicBezTo>
                  <a:cubicBezTo>
                    <a:pt x="2922096" y="2997213"/>
                    <a:pt x="2922420" y="2996889"/>
                    <a:pt x="2922824" y="2996889"/>
                  </a:cubicBezTo>
                  <a:close/>
                  <a:moveTo>
                    <a:pt x="3845414" y="2996165"/>
                  </a:moveTo>
                  <a:cubicBezTo>
                    <a:pt x="3846215" y="2996165"/>
                    <a:pt x="3846867" y="2996817"/>
                    <a:pt x="3846867" y="2997617"/>
                  </a:cubicBezTo>
                  <a:cubicBezTo>
                    <a:pt x="3846867" y="2998418"/>
                    <a:pt x="3846215" y="2999070"/>
                    <a:pt x="3845414" y="2999070"/>
                  </a:cubicBezTo>
                  <a:cubicBezTo>
                    <a:pt x="3844610" y="2999070"/>
                    <a:pt x="3843962" y="2998418"/>
                    <a:pt x="3843962" y="2997617"/>
                  </a:cubicBezTo>
                  <a:cubicBezTo>
                    <a:pt x="3843962" y="2996817"/>
                    <a:pt x="3844610" y="2996165"/>
                    <a:pt x="3845414" y="2996165"/>
                  </a:cubicBezTo>
                  <a:close/>
                  <a:moveTo>
                    <a:pt x="3999000" y="2995437"/>
                  </a:moveTo>
                  <a:cubicBezTo>
                    <a:pt x="4000204" y="2995437"/>
                    <a:pt x="4001180" y="2996413"/>
                    <a:pt x="4001180" y="2997613"/>
                  </a:cubicBezTo>
                  <a:cubicBezTo>
                    <a:pt x="4001180" y="2998818"/>
                    <a:pt x="4000204" y="2999794"/>
                    <a:pt x="3999000" y="2999794"/>
                  </a:cubicBezTo>
                  <a:cubicBezTo>
                    <a:pt x="3997799" y="2999794"/>
                    <a:pt x="3996823" y="2998818"/>
                    <a:pt x="3996823" y="2997613"/>
                  </a:cubicBezTo>
                  <a:cubicBezTo>
                    <a:pt x="3996823" y="2996413"/>
                    <a:pt x="3997799" y="2995437"/>
                    <a:pt x="3999000" y="2995437"/>
                  </a:cubicBezTo>
                  <a:close/>
                  <a:moveTo>
                    <a:pt x="4152947" y="2994713"/>
                  </a:moveTo>
                  <a:cubicBezTo>
                    <a:pt x="4154762" y="2994713"/>
                    <a:pt x="4156214" y="2996165"/>
                    <a:pt x="4156214" y="2997979"/>
                  </a:cubicBezTo>
                  <a:cubicBezTo>
                    <a:pt x="4156214" y="2999794"/>
                    <a:pt x="4154762" y="3001250"/>
                    <a:pt x="4152947" y="3001250"/>
                  </a:cubicBezTo>
                  <a:cubicBezTo>
                    <a:pt x="4151132" y="3001250"/>
                    <a:pt x="4149680" y="2999794"/>
                    <a:pt x="4149680" y="2997979"/>
                  </a:cubicBezTo>
                  <a:cubicBezTo>
                    <a:pt x="4149680" y="2996165"/>
                    <a:pt x="4151132" y="2994713"/>
                    <a:pt x="4152947" y="2994713"/>
                  </a:cubicBezTo>
                  <a:close/>
                  <a:moveTo>
                    <a:pt x="4306532" y="2993261"/>
                  </a:moveTo>
                  <a:cubicBezTo>
                    <a:pt x="4309075" y="2993261"/>
                    <a:pt x="4310890" y="2995075"/>
                    <a:pt x="4310890" y="2997617"/>
                  </a:cubicBezTo>
                  <a:cubicBezTo>
                    <a:pt x="4310890" y="3000160"/>
                    <a:pt x="4308709" y="3001974"/>
                    <a:pt x="4306532" y="3001974"/>
                  </a:cubicBezTo>
                  <a:cubicBezTo>
                    <a:pt x="4303990" y="3001974"/>
                    <a:pt x="4302176" y="3000160"/>
                    <a:pt x="4302176" y="2997617"/>
                  </a:cubicBezTo>
                  <a:cubicBezTo>
                    <a:pt x="4302176" y="2995075"/>
                    <a:pt x="4303990" y="2993261"/>
                    <a:pt x="4306532" y="2993261"/>
                  </a:cubicBezTo>
                  <a:close/>
                  <a:moveTo>
                    <a:pt x="4460480" y="2991808"/>
                  </a:moveTo>
                  <a:cubicBezTo>
                    <a:pt x="4463690" y="2991808"/>
                    <a:pt x="4466289" y="2994408"/>
                    <a:pt x="4466289" y="2997617"/>
                  </a:cubicBezTo>
                  <a:cubicBezTo>
                    <a:pt x="4466289" y="3000827"/>
                    <a:pt x="4463690" y="3003427"/>
                    <a:pt x="4460480" y="3003427"/>
                  </a:cubicBezTo>
                  <a:cubicBezTo>
                    <a:pt x="4457270" y="3003427"/>
                    <a:pt x="4454670" y="3000827"/>
                    <a:pt x="4454670" y="2997617"/>
                  </a:cubicBezTo>
                  <a:cubicBezTo>
                    <a:pt x="4454670" y="2994408"/>
                    <a:pt x="4457270" y="2991808"/>
                    <a:pt x="4460480" y="2991808"/>
                  </a:cubicBezTo>
                  <a:close/>
                  <a:moveTo>
                    <a:pt x="4614065" y="2990356"/>
                  </a:moveTo>
                  <a:cubicBezTo>
                    <a:pt x="4618060" y="2990356"/>
                    <a:pt x="4621326" y="2993622"/>
                    <a:pt x="4621326" y="2997617"/>
                  </a:cubicBezTo>
                  <a:cubicBezTo>
                    <a:pt x="4621326" y="3001612"/>
                    <a:pt x="4618060" y="3004879"/>
                    <a:pt x="4614065" y="3004879"/>
                  </a:cubicBezTo>
                  <a:cubicBezTo>
                    <a:pt x="4610070" y="3004879"/>
                    <a:pt x="4606804" y="3001612"/>
                    <a:pt x="4606804" y="2997617"/>
                  </a:cubicBezTo>
                  <a:cubicBezTo>
                    <a:pt x="4606804" y="2993622"/>
                    <a:pt x="4610070" y="2990356"/>
                    <a:pt x="4614065" y="2990356"/>
                  </a:cubicBezTo>
                  <a:close/>
                  <a:moveTo>
                    <a:pt x="4768008" y="2988537"/>
                  </a:moveTo>
                  <a:cubicBezTo>
                    <a:pt x="4773094" y="2988537"/>
                    <a:pt x="4777088" y="2992532"/>
                    <a:pt x="4777088" y="2997613"/>
                  </a:cubicBezTo>
                  <a:cubicBezTo>
                    <a:pt x="4777088" y="3002699"/>
                    <a:pt x="4773094" y="3006693"/>
                    <a:pt x="4768008" y="3006693"/>
                  </a:cubicBezTo>
                  <a:cubicBezTo>
                    <a:pt x="4762928" y="3006693"/>
                    <a:pt x="4758932" y="3002699"/>
                    <a:pt x="4758932" y="2997613"/>
                  </a:cubicBezTo>
                  <a:cubicBezTo>
                    <a:pt x="4758932" y="2992532"/>
                    <a:pt x="4762928" y="2988537"/>
                    <a:pt x="4768008" y="2988537"/>
                  </a:cubicBezTo>
                  <a:close/>
                  <a:moveTo>
                    <a:pt x="4921594" y="2987447"/>
                  </a:moveTo>
                  <a:cubicBezTo>
                    <a:pt x="4927041" y="2987447"/>
                    <a:pt x="4931760" y="2992166"/>
                    <a:pt x="4931760" y="2997613"/>
                  </a:cubicBezTo>
                  <a:cubicBezTo>
                    <a:pt x="4931760" y="3003061"/>
                    <a:pt x="4927403" y="3007780"/>
                    <a:pt x="4921594" y="3007780"/>
                  </a:cubicBezTo>
                  <a:cubicBezTo>
                    <a:pt x="4916146" y="3007780"/>
                    <a:pt x="4911428" y="3003061"/>
                    <a:pt x="4911428" y="2997613"/>
                  </a:cubicBezTo>
                  <a:cubicBezTo>
                    <a:pt x="4911428" y="2992166"/>
                    <a:pt x="4916146" y="2987447"/>
                    <a:pt x="4921594" y="2987447"/>
                  </a:cubicBezTo>
                  <a:close/>
                  <a:moveTo>
                    <a:pt x="5075541" y="2985633"/>
                  </a:moveTo>
                  <a:cubicBezTo>
                    <a:pt x="5082078" y="2985633"/>
                    <a:pt x="5087526" y="2991080"/>
                    <a:pt x="5087526" y="2997613"/>
                  </a:cubicBezTo>
                  <a:cubicBezTo>
                    <a:pt x="5087526" y="3004151"/>
                    <a:pt x="5082078" y="3009594"/>
                    <a:pt x="5075541" y="3009594"/>
                  </a:cubicBezTo>
                  <a:cubicBezTo>
                    <a:pt x="5069008" y="3009594"/>
                    <a:pt x="5063560" y="3004151"/>
                    <a:pt x="5063560" y="2997613"/>
                  </a:cubicBezTo>
                  <a:cubicBezTo>
                    <a:pt x="5063560" y="2991080"/>
                    <a:pt x="5069008" y="2985633"/>
                    <a:pt x="5075541" y="2985633"/>
                  </a:cubicBezTo>
                  <a:close/>
                  <a:moveTo>
                    <a:pt x="5229126" y="2983818"/>
                  </a:moveTo>
                  <a:cubicBezTo>
                    <a:pt x="5236750" y="2983818"/>
                    <a:pt x="5242922" y="2989990"/>
                    <a:pt x="5242922" y="2997613"/>
                  </a:cubicBezTo>
                  <a:cubicBezTo>
                    <a:pt x="5242922" y="3005241"/>
                    <a:pt x="5236750" y="3011413"/>
                    <a:pt x="5229126" y="3011413"/>
                  </a:cubicBezTo>
                  <a:cubicBezTo>
                    <a:pt x="5221499" y="3011413"/>
                    <a:pt x="5215328" y="3005241"/>
                    <a:pt x="5215328" y="2997613"/>
                  </a:cubicBezTo>
                  <a:cubicBezTo>
                    <a:pt x="5215328" y="2989990"/>
                    <a:pt x="5221499" y="2983818"/>
                    <a:pt x="5229126" y="2983818"/>
                  </a:cubicBezTo>
                  <a:close/>
                  <a:moveTo>
                    <a:pt x="5383074" y="2982366"/>
                  </a:moveTo>
                  <a:cubicBezTo>
                    <a:pt x="5391498" y="2982366"/>
                    <a:pt x="5398326" y="2989193"/>
                    <a:pt x="5398326" y="2997613"/>
                  </a:cubicBezTo>
                  <a:cubicBezTo>
                    <a:pt x="5398326" y="3006038"/>
                    <a:pt x="5391498" y="3012865"/>
                    <a:pt x="5383074" y="3012865"/>
                  </a:cubicBezTo>
                  <a:cubicBezTo>
                    <a:pt x="5374654" y="3012865"/>
                    <a:pt x="5367826" y="3006038"/>
                    <a:pt x="5367826" y="2997613"/>
                  </a:cubicBezTo>
                  <a:cubicBezTo>
                    <a:pt x="5367826" y="2989193"/>
                    <a:pt x="5374654" y="2982366"/>
                    <a:pt x="5383074" y="2982366"/>
                  </a:cubicBezTo>
                  <a:close/>
                  <a:moveTo>
                    <a:pt x="5536659" y="2980551"/>
                  </a:moveTo>
                  <a:cubicBezTo>
                    <a:pt x="5546098" y="2980551"/>
                    <a:pt x="5553725" y="2988175"/>
                    <a:pt x="5553725" y="2997617"/>
                  </a:cubicBezTo>
                  <a:cubicBezTo>
                    <a:pt x="5553725" y="3007056"/>
                    <a:pt x="5546098" y="3014683"/>
                    <a:pt x="5536659" y="3014683"/>
                  </a:cubicBezTo>
                  <a:cubicBezTo>
                    <a:pt x="5527217" y="3014683"/>
                    <a:pt x="5519593" y="3007056"/>
                    <a:pt x="5519593" y="2997617"/>
                  </a:cubicBezTo>
                  <a:cubicBezTo>
                    <a:pt x="5519593" y="2988175"/>
                    <a:pt x="5527217" y="2980551"/>
                    <a:pt x="5536659" y="2980551"/>
                  </a:cubicBezTo>
                  <a:close/>
                  <a:moveTo>
                    <a:pt x="5690606" y="2978371"/>
                  </a:moveTo>
                  <a:cubicBezTo>
                    <a:pt x="5701234" y="2978371"/>
                    <a:pt x="5709849" y="2986986"/>
                    <a:pt x="5709849" y="2997613"/>
                  </a:cubicBezTo>
                  <a:cubicBezTo>
                    <a:pt x="5709849" y="3008241"/>
                    <a:pt x="5701234" y="3016856"/>
                    <a:pt x="5690606" y="3016856"/>
                  </a:cubicBezTo>
                  <a:cubicBezTo>
                    <a:pt x="5679979" y="3016856"/>
                    <a:pt x="5671360" y="3008241"/>
                    <a:pt x="5671360" y="2997613"/>
                  </a:cubicBezTo>
                  <a:cubicBezTo>
                    <a:pt x="5671360" y="2986986"/>
                    <a:pt x="5679979" y="2978371"/>
                    <a:pt x="5690606" y="2978371"/>
                  </a:cubicBezTo>
                  <a:close/>
                  <a:moveTo>
                    <a:pt x="5844550" y="2976195"/>
                  </a:moveTo>
                  <a:cubicBezTo>
                    <a:pt x="5856382" y="2976195"/>
                    <a:pt x="5865973" y="2985785"/>
                    <a:pt x="5865973" y="2997617"/>
                  </a:cubicBezTo>
                  <a:cubicBezTo>
                    <a:pt x="5865973" y="3009446"/>
                    <a:pt x="5856382" y="3019036"/>
                    <a:pt x="5844550" y="3019036"/>
                  </a:cubicBezTo>
                  <a:cubicBezTo>
                    <a:pt x="5832718" y="3019036"/>
                    <a:pt x="5823127" y="3009446"/>
                    <a:pt x="5823127" y="2997617"/>
                  </a:cubicBezTo>
                  <a:cubicBezTo>
                    <a:pt x="5823127" y="2985785"/>
                    <a:pt x="5832718" y="2976195"/>
                    <a:pt x="5844550" y="2976195"/>
                  </a:cubicBezTo>
                  <a:close/>
                  <a:moveTo>
                    <a:pt x="5998139" y="2974742"/>
                  </a:moveTo>
                  <a:cubicBezTo>
                    <a:pt x="6010772" y="2974742"/>
                    <a:pt x="6021010" y="2984985"/>
                    <a:pt x="6021010" y="2997617"/>
                  </a:cubicBezTo>
                  <a:cubicBezTo>
                    <a:pt x="6021010" y="3010250"/>
                    <a:pt x="6010772" y="3020489"/>
                    <a:pt x="5998139" y="3020489"/>
                  </a:cubicBezTo>
                  <a:cubicBezTo>
                    <a:pt x="5985502" y="3020489"/>
                    <a:pt x="5975264" y="3010250"/>
                    <a:pt x="5975264" y="2997617"/>
                  </a:cubicBezTo>
                  <a:cubicBezTo>
                    <a:pt x="5975264" y="2984985"/>
                    <a:pt x="5985502" y="2974742"/>
                    <a:pt x="5998139" y="2974742"/>
                  </a:cubicBezTo>
                  <a:close/>
                  <a:moveTo>
                    <a:pt x="6152083" y="2972562"/>
                  </a:moveTo>
                  <a:cubicBezTo>
                    <a:pt x="6165920" y="2972562"/>
                    <a:pt x="6177134" y="2983776"/>
                    <a:pt x="6177134" y="2997613"/>
                  </a:cubicBezTo>
                  <a:cubicBezTo>
                    <a:pt x="6177134" y="3011451"/>
                    <a:pt x="6165920" y="3022669"/>
                    <a:pt x="6152083" y="3022669"/>
                  </a:cubicBezTo>
                  <a:cubicBezTo>
                    <a:pt x="6138246" y="3022669"/>
                    <a:pt x="6127031" y="3011451"/>
                    <a:pt x="6127031" y="2997613"/>
                  </a:cubicBezTo>
                  <a:cubicBezTo>
                    <a:pt x="6127031" y="2983780"/>
                    <a:pt x="6138246" y="2972562"/>
                    <a:pt x="6152083" y="2972562"/>
                  </a:cubicBezTo>
                  <a:close/>
                  <a:moveTo>
                    <a:pt x="6305672" y="2970385"/>
                  </a:moveTo>
                  <a:cubicBezTo>
                    <a:pt x="6320710" y="2970385"/>
                    <a:pt x="6332904" y="2982576"/>
                    <a:pt x="6332904" y="2997617"/>
                  </a:cubicBezTo>
                  <a:cubicBezTo>
                    <a:pt x="6332904" y="3012655"/>
                    <a:pt x="6320710" y="3024846"/>
                    <a:pt x="6305672" y="3024846"/>
                  </a:cubicBezTo>
                  <a:cubicBezTo>
                    <a:pt x="6290634" y="3024846"/>
                    <a:pt x="6278440" y="3012655"/>
                    <a:pt x="6278440" y="2997617"/>
                  </a:cubicBezTo>
                  <a:cubicBezTo>
                    <a:pt x="6278440" y="2982576"/>
                    <a:pt x="6290634" y="2970385"/>
                    <a:pt x="6305672" y="2970385"/>
                  </a:cubicBezTo>
                  <a:close/>
                  <a:moveTo>
                    <a:pt x="6459619" y="2967843"/>
                  </a:moveTo>
                  <a:cubicBezTo>
                    <a:pt x="6476060" y="2967843"/>
                    <a:pt x="6489390" y="2981173"/>
                    <a:pt x="6489390" y="2997613"/>
                  </a:cubicBezTo>
                  <a:cubicBezTo>
                    <a:pt x="6489390" y="3014058"/>
                    <a:pt x="6476060" y="3027388"/>
                    <a:pt x="6459619" y="3027388"/>
                  </a:cubicBezTo>
                  <a:cubicBezTo>
                    <a:pt x="6443174" y="3027388"/>
                    <a:pt x="6429844" y="3014058"/>
                    <a:pt x="6429844" y="2997613"/>
                  </a:cubicBezTo>
                  <a:cubicBezTo>
                    <a:pt x="6429844" y="2981173"/>
                    <a:pt x="6443174" y="2967843"/>
                    <a:pt x="6459619" y="2967843"/>
                  </a:cubicBezTo>
                  <a:close/>
                  <a:moveTo>
                    <a:pt x="6613200" y="2965666"/>
                  </a:moveTo>
                  <a:cubicBezTo>
                    <a:pt x="6630846" y="2965666"/>
                    <a:pt x="6645152" y="2979972"/>
                    <a:pt x="6645152" y="2997617"/>
                  </a:cubicBezTo>
                  <a:cubicBezTo>
                    <a:pt x="6645152" y="3015263"/>
                    <a:pt x="6630846" y="3029569"/>
                    <a:pt x="6613200" y="3029569"/>
                  </a:cubicBezTo>
                  <a:cubicBezTo>
                    <a:pt x="6595556" y="3029569"/>
                    <a:pt x="6581250" y="3015263"/>
                    <a:pt x="6581250" y="2997617"/>
                  </a:cubicBezTo>
                  <a:cubicBezTo>
                    <a:pt x="6581250" y="2979972"/>
                    <a:pt x="6595556" y="2965666"/>
                    <a:pt x="6613200" y="2965666"/>
                  </a:cubicBezTo>
                  <a:close/>
                  <a:moveTo>
                    <a:pt x="3537882" y="2843666"/>
                  </a:moveTo>
                  <a:cubicBezTo>
                    <a:pt x="3538244" y="2843666"/>
                    <a:pt x="3538244" y="2843666"/>
                    <a:pt x="3538244" y="2844028"/>
                  </a:cubicBezTo>
                  <a:cubicBezTo>
                    <a:pt x="3538244" y="2844390"/>
                    <a:pt x="3537882" y="2844390"/>
                    <a:pt x="3537882" y="2844390"/>
                  </a:cubicBezTo>
                  <a:cubicBezTo>
                    <a:pt x="3537520" y="2844390"/>
                    <a:pt x="3537520" y="2844390"/>
                    <a:pt x="3537520" y="2844028"/>
                  </a:cubicBezTo>
                  <a:cubicBezTo>
                    <a:pt x="3537520" y="2843666"/>
                    <a:pt x="3537520" y="2843666"/>
                    <a:pt x="3537882" y="2843666"/>
                  </a:cubicBezTo>
                  <a:close/>
                  <a:moveTo>
                    <a:pt x="3076406" y="2843666"/>
                  </a:moveTo>
                  <a:cubicBezTo>
                    <a:pt x="3076768" y="2843666"/>
                    <a:pt x="3076768" y="2843666"/>
                    <a:pt x="3076768" y="2844028"/>
                  </a:cubicBezTo>
                  <a:cubicBezTo>
                    <a:pt x="3076768" y="2844390"/>
                    <a:pt x="3076406" y="2844390"/>
                    <a:pt x="3076406" y="2844390"/>
                  </a:cubicBezTo>
                  <a:cubicBezTo>
                    <a:pt x="3076043" y="2844390"/>
                    <a:pt x="3076043" y="2844390"/>
                    <a:pt x="3076043" y="2844028"/>
                  </a:cubicBezTo>
                  <a:cubicBezTo>
                    <a:pt x="3076043" y="2843666"/>
                    <a:pt x="3076043" y="2843666"/>
                    <a:pt x="3076406" y="2843666"/>
                  </a:cubicBezTo>
                  <a:close/>
                  <a:moveTo>
                    <a:pt x="2922458" y="2843666"/>
                  </a:moveTo>
                  <a:cubicBezTo>
                    <a:pt x="2922820" y="2843666"/>
                    <a:pt x="2922820" y="2843666"/>
                    <a:pt x="2922820" y="2844028"/>
                  </a:cubicBezTo>
                  <a:cubicBezTo>
                    <a:pt x="2922820" y="2844390"/>
                    <a:pt x="2922458" y="2844390"/>
                    <a:pt x="2922458" y="2844390"/>
                  </a:cubicBezTo>
                  <a:cubicBezTo>
                    <a:pt x="2922096" y="2844390"/>
                    <a:pt x="2922096" y="2844390"/>
                    <a:pt x="2922096" y="2844028"/>
                  </a:cubicBezTo>
                  <a:cubicBezTo>
                    <a:pt x="2922096" y="2843666"/>
                    <a:pt x="2922096" y="2843666"/>
                    <a:pt x="2922458" y="2843666"/>
                  </a:cubicBezTo>
                  <a:close/>
                  <a:moveTo>
                    <a:pt x="2768877" y="2843304"/>
                  </a:moveTo>
                  <a:cubicBezTo>
                    <a:pt x="2769277" y="2843304"/>
                    <a:pt x="2769601" y="2843628"/>
                    <a:pt x="2769601" y="2844032"/>
                  </a:cubicBezTo>
                  <a:cubicBezTo>
                    <a:pt x="2769601" y="2844432"/>
                    <a:pt x="2769277" y="2844756"/>
                    <a:pt x="2768877" y="2844756"/>
                  </a:cubicBezTo>
                  <a:cubicBezTo>
                    <a:pt x="2768473" y="2844756"/>
                    <a:pt x="2768149" y="2844432"/>
                    <a:pt x="2768149" y="2844032"/>
                  </a:cubicBezTo>
                  <a:cubicBezTo>
                    <a:pt x="2768149" y="2843628"/>
                    <a:pt x="2768473" y="2843304"/>
                    <a:pt x="2768877" y="2843304"/>
                  </a:cubicBezTo>
                  <a:close/>
                  <a:moveTo>
                    <a:pt x="3691467" y="2842580"/>
                  </a:moveTo>
                  <a:cubicBezTo>
                    <a:pt x="3692268" y="2842580"/>
                    <a:pt x="3692919" y="2843232"/>
                    <a:pt x="3692919" y="2844032"/>
                  </a:cubicBezTo>
                  <a:cubicBezTo>
                    <a:pt x="3692919" y="2844833"/>
                    <a:pt x="3692268" y="2845485"/>
                    <a:pt x="3691467" y="2845485"/>
                  </a:cubicBezTo>
                  <a:cubicBezTo>
                    <a:pt x="3690663" y="2845485"/>
                    <a:pt x="3690014" y="2844833"/>
                    <a:pt x="3690014" y="2844032"/>
                  </a:cubicBezTo>
                  <a:cubicBezTo>
                    <a:pt x="3690014" y="2843232"/>
                    <a:pt x="3690663" y="2842580"/>
                    <a:pt x="3691467" y="2842580"/>
                  </a:cubicBezTo>
                  <a:close/>
                  <a:moveTo>
                    <a:pt x="3845418" y="2841852"/>
                  </a:moveTo>
                  <a:cubicBezTo>
                    <a:pt x="3846619" y="2841852"/>
                    <a:pt x="3847595" y="2842828"/>
                    <a:pt x="3847595" y="2844032"/>
                  </a:cubicBezTo>
                  <a:cubicBezTo>
                    <a:pt x="3847595" y="2845233"/>
                    <a:pt x="3846619" y="2846209"/>
                    <a:pt x="3845418" y="2846209"/>
                  </a:cubicBezTo>
                  <a:cubicBezTo>
                    <a:pt x="3844214" y="2846209"/>
                    <a:pt x="3843238" y="2845233"/>
                    <a:pt x="3843238" y="2844032"/>
                  </a:cubicBezTo>
                  <a:cubicBezTo>
                    <a:pt x="3843238" y="2842828"/>
                    <a:pt x="3844214" y="2841852"/>
                    <a:pt x="3845418" y="2841852"/>
                  </a:cubicBezTo>
                  <a:close/>
                  <a:moveTo>
                    <a:pt x="3999000" y="2840761"/>
                  </a:moveTo>
                  <a:cubicBezTo>
                    <a:pt x="4000818" y="2840761"/>
                    <a:pt x="4002270" y="2842214"/>
                    <a:pt x="4002270" y="2844028"/>
                  </a:cubicBezTo>
                  <a:cubicBezTo>
                    <a:pt x="4002270" y="2845843"/>
                    <a:pt x="4000818" y="2847299"/>
                    <a:pt x="3999000" y="2847299"/>
                  </a:cubicBezTo>
                  <a:cubicBezTo>
                    <a:pt x="3997185" y="2847299"/>
                    <a:pt x="3995733" y="2845843"/>
                    <a:pt x="3995733" y="2844028"/>
                  </a:cubicBezTo>
                  <a:cubicBezTo>
                    <a:pt x="3995733" y="2842214"/>
                    <a:pt x="3997185" y="2840761"/>
                    <a:pt x="3999000" y="2840761"/>
                  </a:cubicBezTo>
                  <a:close/>
                  <a:moveTo>
                    <a:pt x="4152947" y="2839309"/>
                  </a:moveTo>
                  <a:cubicBezTo>
                    <a:pt x="4155486" y="2839309"/>
                    <a:pt x="4157304" y="2841124"/>
                    <a:pt x="4157304" y="2843666"/>
                  </a:cubicBezTo>
                  <a:cubicBezTo>
                    <a:pt x="4157304" y="2846209"/>
                    <a:pt x="4155124" y="2848023"/>
                    <a:pt x="4152947" y="2848023"/>
                  </a:cubicBezTo>
                  <a:cubicBezTo>
                    <a:pt x="4150404" y="2848023"/>
                    <a:pt x="4148590" y="2846209"/>
                    <a:pt x="4148590" y="2843666"/>
                  </a:cubicBezTo>
                  <a:cubicBezTo>
                    <a:pt x="4148590" y="2841124"/>
                    <a:pt x="4150404" y="2839309"/>
                    <a:pt x="4152947" y="2839309"/>
                  </a:cubicBezTo>
                  <a:close/>
                  <a:moveTo>
                    <a:pt x="4306532" y="2838223"/>
                  </a:moveTo>
                  <a:cubicBezTo>
                    <a:pt x="4309742" y="2838223"/>
                    <a:pt x="4312342" y="2840823"/>
                    <a:pt x="4312342" y="2844032"/>
                  </a:cubicBezTo>
                  <a:cubicBezTo>
                    <a:pt x="4312342" y="2847242"/>
                    <a:pt x="4309742" y="2849841"/>
                    <a:pt x="4306532" y="2849841"/>
                  </a:cubicBezTo>
                  <a:cubicBezTo>
                    <a:pt x="4303322" y="2849841"/>
                    <a:pt x="4300723" y="2847242"/>
                    <a:pt x="4300723" y="2844032"/>
                  </a:cubicBezTo>
                  <a:cubicBezTo>
                    <a:pt x="4300723" y="2840823"/>
                    <a:pt x="4303322" y="2838223"/>
                    <a:pt x="4306532" y="2838223"/>
                  </a:cubicBezTo>
                  <a:close/>
                  <a:moveTo>
                    <a:pt x="4460480" y="2836770"/>
                  </a:moveTo>
                  <a:cubicBezTo>
                    <a:pt x="4464474" y="2836770"/>
                    <a:pt x="4467742" y="2840037"/>
                    <a:pt x="4467742" y="2844032"/>
                  </a:cubicBezTo>
                  <a:cubicBezTo>
                    <a:pt x="4467742" y="2848027"/>
                    <a:pt x="4464474" y="2851294"/>
                    <a:pt x="4460480" y="2851294"/>
                  </a:cubicBezTo>
                  <a:cubicBezTo>
                    <a:pt x="4456485" y="2851294"/>
                    <a:pt x="4453218" y="2848027"/>
                    <a:pt x="4453218" y="2844032"/>
                  </a:cubicBezTo>
                  <a:cubicBezTo>
                    <a:pt x="4453218" y="2840037"/>
                    <a:pt x="4456485" y="2836770"/>
                    <a:pt x="4460480" y="2836770"/>
                  </a:cubicBezTo>
                  <a:close/>
                  <a:moveTo>
                    <a:pt x="4614061" y="2834590"/>
                  </a:moveTo>
                  <a:cubicBezTo>
                    <a:pt x="4619146" y="2834590"/>
                    <a:pt x="4623141" y="2838585"/>
                    <a:pt x="4623141" y="2843666"/>
                  </a:cubicBezTo>
                  <a:cubicBezTo>
                    <a:pt x="4623141" y="2848751"/>
                    <a:pt x="4619146" y="2852746"/>
                    <a:pt x="4614061" y="2852746"/>
                  </a:cubicBezTo>
                  <a:cubicBezTo>
                    <a:pt x="4608980" y="2852746"/>
                    <a:pt x="4604985" y="2848751"/>
                    <a:pt x="4604985" y="2843666"/>
                  </a:cubicBezTo>
                  <a:cubicBezTo>
                    <a:pt x="4604985" y="2838585"/>
                    <a:pt x="4608980" y="2834590"/>
                    <a:pt x="4614061" y="2834590"/>
                  </a:cubicBezTo>
                  <a:close/>
                  <a:moveTo>
                    <a:pt x="4768012" y="2833866"/>
                  </a:moveTo>
                  <a:cubicBezTo>
                    <a:pt x="4773460" y="2833866"/>
                    <a:pt x="4778178" y="2838585"/>
                    <a:pt x="4778178" y="2844032"/>
                  </a:cubicBezTo>
                  <a:cubicBezTo>
                    <a:pt x="4778178" y="2849479"/>
                    <a:pt x="4773822" y="2854198"/>
                    <a:pt x="4768012" y="2854198"/>
                  </a:cubicBezTo>
                  <a:cubicBezTo>
                    <a:pt x="4762565" y="2854198"/>
                    <a:pt x="4757846" y="2849479"/>
                    <a:pt x="4757846" y="2844032"/>
                  </a:cubicBezTo>
                  <a:cubicBezTo>
                    <a:pt x="4757846" y="2838585"/>
                    <a:pt x="4762565" y="2833866"/>
                    <a:pt x="4768012" y="2833866"/>
                  </a:cubicBezTo>
                  <a:close/>
                  <a:moveTo>
                    <a:pt x="4921594" y="2831685"/>
                  </a:moveTo>
                  <a:cubicBezTo>
                    <a:pt x="4928131" y="2831685"/>
                    <a:pt x="4933578" y="2837132"/>
                    <a:pt x="4933578" y="2843666"/>
                  </a:cubicBezTo>
                  <a:cubicBezTo>
                    <a:pt x="4933578" y="2850203"/>
                    <a:pt x="4928131" y="2855651"/>
                    <a:pt x="4921594" y="2855651"/>
                  </a:cubicBezTo>
                  <a:cubicBezTo>
                    <a:pt x="4915060" y="2855651"/>
                    <a:pt x="4909613" y="2850203"/>
                    <a:pt x="4909613" y="2843666"/>
                  </a:cubicBezTo>
                  <a:cubicBezTo>
                    <a:pt x="4909613" y="2837132"/>
                    <a:pt x="4915060" y="2831685"/>
                    <a:pt x="4921594" y="2831685"/>
                  </a:cubicBezTo>
                  <a:close/>
                  <a:moveTo>
                    <a:pt x="5075545" y="2829871"/>
                  </a:moveTo>
                  <a:cubicBezTo>
                    <a:pt x="5083169" y="2829871"/>
                    <a:pt x="5089340" y="2836042"/>
                    <a:pt x="5089340" y="2843666"/>
                  </a:cubicBezTo>
                  <a:cubicBezTo>
                    <a:pt x="5089340" y="2851294"/>
                    <a:pt x="5083169" y="2857465"/>
                    <a:pt x="5075545" y="2857465"/>
                  </a:cubicBezTo>
                  <a:cubicBezTo>
                    <a:pt x="5067918" y="2857465"/>
                    <a:pt x="5061746" y="2851294"/>
                    <a:pt x="5061746" y="2843666"/>
                  </a:cubicBezTo>
                  <a:cubicBezTo>
                    <a:pt x="5061746" y="2836042"/>
                    <a:pt x="5067918" y="2829871"/>
                    <a:pt x="5075545" y="2829871"/>
                  </a:cubicBezTo>
                  <a:close/>
                  <a:moveTo>
                    <a:pt x="5229126" y="2828781"/>
                  </a:moveTo>
                  <a:cubicBezTo>
                    <a:pt x="5237551" y="2828781"/>
                    <a:pt x="5244378" y="2835608"/>
                    <a:pt x="5244378" y="2844032"/>
                  </a:cubicBezTo>
                  <a:cubicBezTo>
                    <a:pt x="5244378" y="2852453"/>
                    <a:pt x="5237551" y="2859280"/>
                    <a:pt x="5229126" y="2859280"/>
                  </a:cubicBezTo>
                  <a:cubicBezTo>
                    <a:pt x="5220706" y="2859280"/>
                    <a:pt x="5213879" y="2852453"/>
                    <a:pt x="5213879" y="2844032"/>
                  </a:cubicBezTo>
                  <a:cubicBezTo>
                    <a:pt x="5213879" y="2835608"/>
                    <a:pt x="5220706" y="2828781"/>
                    <a:pt x="5229126" y="2828781"/>
                  </a:cubicBezTo>
                  <a:close/>
                  <a:moveTo>
                    <a:pt x="5383074" y="2826966"/>
                  </a:moveTo>
                  <a:cubicBezTo>
                    <a:pt x="5392512" y="2826966"/>
                    <a:pt x="5400140" y="2834590"/>
                    <a:pt x="5400140" y="2844032"/>
                  </a:cubicBezTo>
                  <a:cubicBezTo>
                    <a:pt x="5400140" y="2853471"/>
                    <a:pt x="5392512" y="2861098"/>
                    <a:pt x="5383074" y="2861098"/>
                  </a:cubicBezTo>
                  <a:cubicBezTo>
                    <a:pt x="5373632" y="2861098"/>
                    <a:pt x="5366008" y="2853471"/>
                    <a:pt x="5366008" y="2844032"/>
                  </a:cubicBezTo>
                  <a:cubicBezTo>
                    <a:pt x="5366008" y="2834590"/>
                    <a:pt x="5373632" y="2826966"/>
                    <a:pt x="5383074" y="2826966"/>
                  </a:cubicBezTo>
                  <a:close/>
                  <a:moveTo>
                    <a:pt x="5536659" y="2824790"/>
                  </a:moveTo>
                  <a:cubicBezTo>
                    <a:pt x="5547286" y="2824790"/>
                    <a:pt x="5555902" y="2833404"/>
                    <a:pt x="5555902" y="2844032"/>
                  </a:cubicBezTo>
                  <a:cubicBezTo>
                    <a:pt x="5555902" y="2854660"/>
                    <a:pt x="5547286" y="2863279"/>
                    <a:pt x="5536659" y="2863279"/>
                  </a:cubicBezTo>
                  <a:cubicBezTo>
                    <a:pt x="5526032" y="2863279"/>
                    <a:pt x="5517413" y="2854660"/>
                    <a:pt x="5517413" y="2844032"/>
                  </a:cubicBezTo>
                  <a:cubicBezTo>
                    <a:pt x="5517413" y="2833404"/>
                    <a:pt x="5526032" y="2824790"/>
                    <a:pt x="5536659" y="2824790"/>
                  </a:cubicBezTo>
                  <a:close/>
                  <a:moveTo>
                    <a:pt x="5690602" y="2822609"/>
                  </a:moveTo>
                  <a:cubicBezTo>
                    <a:pt x="5702435" y="2822609"/>
                    <a:pt x="5712026" y="2832200"/>
                    <a:pt x="5712026" y="2844032"/>
                  </a:cubicBezTo>
                  <a:cubicBezTo>
                    <a:pt x="5712026" y="2855864"/>
                    <a:pt x="5702435" y="2865451"/>
                    <a:pt x="5690602" y="2865451"/>
                  </a:cubicBezTo>
                  <a:cubicBezTo>
                    <a:pt x="5678770" y="2865451"/>
                    <a:pt x="5669180" y="2855860"/>
                    <a:pt x="5669180" y="2844032"/>
                  </a:cubicBezTo>
                  <a:cubicBezTo>
                    <a:pt x="5669180" y="2832200"/>
                    <a:pt x="5678770" y="2822609"/>
                    <a:pt x="5690602" y="2822609"/>
                  </a:cubicBezTo>
                  <a:close/>
                  <a:moveTo>
                    <a:pt x="5844554" y="2821157"/>
                  </a:moveTo>
                  <a:cubicBezTo>
                    <a:pt x="5857186" y="2821157"/>
                    <a:pt x="5867429" y="2831399"/>
                    <a:pt x="5867429" y="2844032"/>
                  </a:cubicBezTo>
                  <a:cubicBezTo>
                    <a:pt x="5867429" y="2856665"/>
                    <a:pt x="5857186" y="2866903"/>
                    <a:pt x="5844554" y="2866903"/>
                  </a:cubicBezTo>
                  <a:cubicBezTo>
                    <a:pt x="5831918" y="2866903"/>
                    <a:pt x="5821678" y="2856665"/>
                    <a:pt x="5821678" y="2844032"/>
                  </a:cubicBezTo>
                  <a:cubicBezTo>
                    <a:pt x="5821678" y="2831399"/>
                    <a:pt x="5831918" y="2821157"/>
                    <a:pt x="5844554" y="2821157"/>
                  </a:cubicBezTo>
                  <a:close/>
                  <a:moveTo>
                    <a:pt x="5998136" y="2818980"/>
                  </a:moveTo>
                  <a:cubicBezTo>
                    <a:pt x="6011972" y="2818980"/>
                    <a:pt x="6023187" y="2830195"/>
                    <a:pt x="6023187" y="2844032"/>
                  </a:cubicBezTo>
                  <a:cubicBezTo>
                    <a:pt x="6023187" y="2857869"/>
                    <a:pt x="6011972" y="2869088"/>
                    <a:pt x="5998136" y="2869088"/>
                  </a:cubicBezTo>
                  <a:cubicBezTo>
                    <a:pt x="5984298" y="2869088"/>
                    <a:pt x="5973084" y="2857869"/>
                    <a:pt x="5973084" y="2844032"/>
                  </a:cubicBezTo>
                  <a:cubicBezTo>
                    <a:pt x="5973084" y="2830199"/>
                    <a:pt x="5984298" y="2818980"/>
                    <a:pt x="5998136" y="2818980"/>
                  </a:cubicBezTo>
                  <a:close/>
                  <a:moveTo>
                    <a:pt x="6152086" y="2816800"/>
                  </a:moveTo>
                  <a:cubicBezTo>
                    <a:pt x="6167124" y="2816800"/>
                    <a:pt x="6179315" y="2828990"/>
                    <a:pt x="6179315" y="2844032"/>
                  </a:cubicBezTo>
                  <a:cubicBezTo>
                    <a:pt x="6179315" y="2859070"/>
                    <a:pt x="6167124" y="2871264"/>
                    <a:pt x="6152086" y="2871264"/>
                  </a:cubicBezTo>
                  <a:cubicBezTo>
                    <a:pt x="6137045" y="2871264"/>
                    <a:pt x="6124854" y="2859070"/>
                    <a:pt x="6124854" y="2844032"/>
                  </a:cubicBezTo>
                  <a:cubicBezTo>
                    <a:pt x="6124854" y="2828990"/>
                    <a:pt x="6137045" y="2816800"/>
                    <a:pt x="6152086" y="2816800"/>
                  </a:cubicBezTo>
                  <a:close/>
                  <a:moveTo>
                    <a:pt x="6305672" y="2814257"/>
                  </a:moveTo>
                  <a:cubicBezTo>
                    <a:pt x="6322112" y="2814257"/>
                    <a:pt x="6335443" y="2827587"/>
                    <a:pt x="6335443" y="2844032"/>
                  </a:cubicBezTo>
                  <a:cubicBezTo>
                    <a:pt x="6335443" y="2860473"/>
                    <a:pt x="6322112" y="2873803"/>
                    <a:pt x="6305672" y="2873803"/>
                  </a:cubicBezTo>
                  <a:cubicBezTo>
                    <a:pt x="6289228" y="2873803"/>
                    <a:pt x="6275897" y="2860473"/>
                    <a:pt x="6275897" y="2844032"/>
                  </a:cubicBezTo>
                  <a:cubicBezTo>
                    <a:pt x="6275897" y="2827587"/>
                    <a:pt x="6289228" y="2814257"/>
                    <a:pt x="6305672" y="2814257"/>
                  </a:cubicBezTo>
                  <a:close/>
                  <a:moveTo>
                    <a:pt x="6459616" y="2812081"/>
                  </a:moveTo>
                  <a:cubicBezTo>
                    <a:pt x="6477260" y="2812081"/>
                    <a:pt x="6491567" y="2826387"/>
                    <a:pt x="6491567" y="2844032"/>
                  </a:cubicBezTo>
                  <a:cubicBezTo>
                    <a:pt x="6491567" y="2861677"/>
                    <a:pt x="6477260" y="2875983"/>
                    <a:pt x="6459616" y="2875983"/>
                  </a:cubicBezTo>
                  <a:cubicBezTo>
                    <a:pt x="6441970" y="2875983"/>
                    <a:pt x="6427664" y="2861677"/>
                    <a:pt x="6427664" y="2844032"/>
                  </a:cubicBezTo>
                  <a:cubicBezTo>
                    <a:pt x="6427664" y="2826387"/>
                    <a:pt x="6441970" y="2812081"/>
                    <a:pt x="6459616" y="2812081"/>
                  </a:cubicBezTo>
                  <a:close/>
                  <a:moveTo>
                    <a:pt x="6613200" y="2810266"/>
                  </a:moveTo>
                  <a:cubicBezTo>
                    <a:pt x="6631848" y="2810266"/>
                    <a:pt x="6646966" y="2825384"/>
                    <a:pt x="6646966" y="2844032"/>
                  </a:cubicBezTo>
                  <a:cubicBezTo>
                    <a:pt x="6646966" y="2862684"/>
                    <a:pt x="6631848" y="2877802"/>
                    <a:pt x="6613200" y="2877802"/>
                  </a:cubicBezTo>
                  <a:cubicBezTo>
                    <a:pt x="6594553" y="2877802"/>
                    <a:pt x="6579435" y="2862684"/>
                    <a:pt x="6579435" y="2844032"/>
                  </a:cubicBezTo>
                  <a:cubicBezTo>
                    <a:pt x="6579435" y="2825384"/>
                    <a:pt x="6594553" y="2810266"/>
                    <a:pt x="6613200" y="2810266"/>
                  </a:cubicBezTo>
                  <a:close/>
                  <a:moveTo>
                    <a:pt x="3383934" y="2689722"/>
                  </a:moveTo>
                  <a:cubicBezTo>
                    <a:pt x="3384296" y="2689722"/>
                    <a:pt x="3384296" y="2689722"/>
                    <a:pt x="3384296" y="2690085"/>
                  </a:cubicBezTo>
                  <a:cubicBezTo>
                    <a:pt x="3384296" y="2690447"/>
                    <a:pt x="3383934" y="2690447"/>
                    <a:pt x="3383934" y="2690447"/>
                  </a:cubicBezTo>
                  <a:cubicBezTo>
                    <a:pt x="3383572" y="2690447"/>
                    <a:pt x="3383572" y="2690447"/>
                    <a:pt x="3383572" y="2690085"/>
                  </a:cubicBezTo>
                  <a:cubicBezTo>
                    <a:pt x="3383572" y="2689722"/>
                    <a:pt x="3383572" y="2689722"/>
                    <a:pt x="3383934" y="2689722"/>
                  </a:cubicBezTo>
                  <a:close/>
                  <a:moveTo>
                    <a:pt x="2922458" y="2689722"/>
                  </a:moveTo>
                  <a:cubicBezTo>
                    <a:pt x="2922820" y="2689722"/>
                    <a:pt x="2922820" y="2689722"/>
                    <a:pt x="2922820" y="2690085"/>
                  </a:cubicBezTo>
                  <a:cubicBezTo>
                    <a:pt x="2922820" y="2690447"/>
                    <a:pt x="2922458" y="2690447"/>
                    <a:pt x="2922458" y="2690447"/>
                  </a:cubicBezTo>
                  <a:cubicBezTo>
                    <a:pt x="2922096" y="2690447"/>
                    <a:pt x="2922096" y="2690447"/>
                    <a:pt x="2922096" y="2690085"/>
                  </a:cubicBezTo>
                  <a:cubicBezTo>
                    <a:pt x="2922096" y="2689722"/>
                    <a:pt x="2922096" y="2689722"/>
                    <a:pt x="2922458" y="2689722"/>
                  </a:cubicBezTo>
                  <a:close/>
                  <a:moveTo>
                    <a:pt x="2768873" y="2689722"/>
                  </a:moveTo>
                  <a:cubicBezTo>
                    <a:pt x="2769235" y="2689722"/>
                    <a:pt x="2769235" y="2689722"/>
                    <a:pt x="2769235" y="2690085"/>
                  </a:cubicBezTo>
                  <a:cubicBezTo>
                    <a:pt x="2769235" y="2690447"/>
                    <a:pt x="2768873" y="2690447"/>
                    <a:pt x="2768873" y="2690447"/>
                  </a:cubicBezTo>
                  <a:cubicBezTo>
                    <a:pt x="2768511" y="2690447"/>
                    <a:pt x="2768511" y="2690447"/>
                    <a:pt x="2768511" y="2690085"/>
                  </a:cubicBezTo>
                  <a:cubicBezTo>
                    <a:pt x="2768511" y="2689722"/>
                    <a:pt x="2768511" y="2689722"/>
                    <a:pt x="2768873" y="2689722"/>
                  </a:cubicBezTo>
                  <a:close/>
                  <a:moveTo>
                    <a:pt x="2614925" y="2689357"/>
                  </a:moveTo>
                  <a:cubicBezTo>
                    <a:pt x="2615291" y="2689357"/>
                    <a:pt x="2615654" y="2689719"/>
                    <a:pt x="2615654" y="2690081"/>
                  </a:cubicBezTo>
                  <a:cubicBezTo>
                    <a:pt x="2615654" y="2690447"/>
                    <a:pt x="2614925" y="2690809"/>
                    <a:pt x="2614925" y="2690809"/>
                  </a:cubicBezTo>
                  <a:cubicBezTo>
                    <a:pt x="2614563" y="2690809"/>
                    <a:pt x="2614201" y="2690447"/>
                    <a:pt x="2614201" y="2690081"/>
                  </a:cubicBezTo>
                  <a:cubicBezTo>
                    <a:pt x="2614201" y="2689719"/>
                    <a:pt x="2614563" y="2689357"/>
                    <a:pt x="2614925" y="2689357"/>
                  </a:cubicBezTo>
                  <a:close/>
                  <a:moveTo>
                    <a:pt x="3537886" y="2688633"/>
                  </a:moveTo>
                  <a:cubicBezTo>
                    <a:pt x="3538690" y="2688633"/>
                    <a:pt x="3539338" y="2689284"/>
                    <a:pt x="3539338" y="2690085"/>
                  </a:cubicBezTo>
                  <a:cubicBezTo>
                    <a:pt x="3539338" y="2690885"/>
                    <a:pt x="3538690" y="2691537"/>
                    <a:pt x="3537886" y="2691537"/>
                  </a:cubicBezTo>
                  <a:cubicBezTo>
                    <a:pt x="3537085" y="2691537"/>
                    <a:pt x="3536433" y="2690885"/>
                    <a:pt x="3536433" y="2690085"/>
                  </a:cubicBezTo>
                  <a:cubicBezTo>
                    <a:pt x="3536433" y="2689284"/>
                    <a:pt x="3537085" y="2688633"/>
                    <a:pt x="3537886" y="2688633"/>
                  </a:cubicBezTo>
                  <a:close/>
                  <a:moveTo>
                    <a:pt x="3691471" y="2687904"/>
                  </a:moveTo>
                  <a:cubicBezTo>
                    <a:pt x="3692672" y="2687904"/>
                    <a:pt x="3693647" y="2688880"/>
                    <a:pt x="3693647" y="2690081"/>
                  </a:cubicBezTo>
                  <a:cubicBezTo>
                    <a:pt x="3693647" y="2691286"/>
                    <a:pt x="3692672" y="2692261"/>
                    <a:pt x="3691471" y="2692261"/>
                  </a:cubicBezTo>
                  <a:cubicBezTo>
                    <a:pt x="3690266" y="2692261"/>
                    <a:pt x="3689290" y="2691286"/>
                    <a:pt x="3689290" y="2690081"/>
                  </a:cubicBezTo>
                  <a:cubicBezTo>
                    <a:pt x="3689290" y="2688880"/>
                    <a:pt x="3690266" y="2687904"/>
                    <a:pt x="3691471" y="2687904"/>
                  </a:cubicBezTo>
                  <a:close/>
                  <a:moveTo>
                    <a:pt x="3845414" y="2686818"/>
                  </a:moveTo>
                  <a:cubicBezTo>
                    <a:pt x="3847229" y="2686818"/>
                    <a:pt x="3848681" y="2688270"/>
                    <a:pt x="3848681" y="2690085"/>
                  </a:cubicBezTo>
                  <a:cubicBezTo>
                    <a:pt x="3848681" y="2691899"/>
                    <a:pt x="3847229" y="2693355"/>
                    <a:pt x="3845414" y="2693355"/>
                  </a:cubicBezTo>
                  <a:cubicBezTo>
                    <a:pt x="3843600" y="2693355"/>
                    <a:pt x="3842148" y="2691899"/>
                    <a:pt x="3842148" y="2690085"/>
                  </a:cubicBezTo>
                  <a:cubicBezTo>
                    <a:pt x="3842148" y="2688270"/>
                    <a:pt x="3843600" y="2686818"/>
                    <a:pt x="3845414" y="2686818"/>
                  </a:cubicBezTo>
                  <a:close/>
                  <a:moveTo>
                    <a:pt x="3999000" y="2685728"/>
                  </a:moveTo>
                  <a:cubicBezTo>
                    <a:pt x="4001542" y="2685728"/>
                    <a:pt x="4003356" y="2687542"/>
                    <a:pt x="4003356" y="2690085"/>
                  </a:cubicBezTo>
                  <a:cubicBezTo>
                    <a:pt x="4003356" y="2692627"/>
                    <a:pt x="4001176" y="2694442"/>
                    <a:pt x="3999000" y="2694442"/>
                  </a:cubicBezTo>
                  <a:cubicBezTo>
                    <a:pt x="3996457" y="2694442"/>
                    <a:pt x="3994642" y="2692627"/>
                    <a:pt x="3994642" y="2690085"/>
                  </a:cubicBezTo>
                  <a:cubicBezTo>
                    <a:pt x="3994642" y="2687542"/>
                    <a:pt x="3996457" y="2685728"/>
                    <a:pt x="3999000" y="2685728"/>
                  </a:cubicBezTo>
                  <a:close/>
                  <a:moveTo>
                    <a:pt x="4152947" y="2684275"/>
                  </a:moveTo>
                  <a:cubicBezTo>
                    <a:pt x="4156156" y="2684275"/>
                    <a:pt x="4158756" y="2686875"/>
                    <a:pt x="4158756" y="2690085"/>
                  </a:cubicBezTo>
                  <a:cubicBezTo>
                    <a:pt x="4158756" y="2693294"/>
                    <a:pt x="4156156" y="2695894"/>
                    <a:pt x="4152947" y="2695894"/>
                  </a:cubicBezTo>
                  <a:cubicBezTo>
                    <a:pt x="4149738" y="2695894"/>
                    <a:pt x="4147138" y="2693294"/>
                    <a:pt x="4147138" y="2690085"/>
                  </a:cubicBezTo>
                  <a:cubicBezTo>
                    <a:pt x="4147138" y="2686875"/>
                    <a:pt x="4149738" y="2684275"/>
                    <a:pt x="4152947" y="2684275"/>
                  </a:cubicBezTo>
                  <a:close/>
                  <a:moveTo>
                    <a:pt x="4306532" y="2682823"/>
                  </a:moveTo>
                  <a:cubicBezTo>
                    <a:pt x="4310527" y="2682823"/>
                    <a:pt x="4313794" y="2686090"/>
                    <a:pt x="4313794" y="2690085"/>
                  </a:cubicBezTo>
                  <a:cubicBezTo>
                    <a:pt x="4313794" y="2694079"/>
                    <a:pt x="4310527" y="2697346"/>
                    <a:pt x="4306532" y="2697346"/>
                  </a:cubicBezTo>
                  <a:cubicBezTo>
                    <a:pt x="4302538" y="2697346"/>
                    <a:pt x="4299270" y="2694079"/>
                    <a:pt x="4299270" y="2690085"/>
                  </a:cubicBezTo>
                  <a:cubicBezTo>
                    <a:pt x="4299270" y="2686090"/>
                    <a:pt x="4302538" y="2682823"/>
                    <a:pt x="4306532" y="2682823"/>
                  </a:cubicBezTo>
                  <a:close/>
                  <a:moveTo>
                    <a:pt x="4460480" y="2681005"/>
                  </a:moveTo>
                  <a:cubicBezTo>
                    <a:pt x="4465564" y="2681005"/>
                    <a:pt x="4469560" y="2685000"/>
                    <a:pt x="4469560" y="2690081"/>
                  </a:cubicBezTo>
                  <a:cubicBezTo>
                    <a:pt x="4469560" y="2695166"/>
                    <a:pt x="4465564" y="2699161"/>
                    <a:pt x="4460480" y="2699161"/>
                  </a:cubicBezTo>
                  <a:cubicBezTo>
                    <a:pt x="4455398" y="2699161"/>
                    <a:pt x="4451404" y="2695166"/>
                    <a:pt x="4451404" y="2690081"/>
                  </a:cubicBezTo>
                  <a:cubicBezTo>
                    <a:pt x="4451404" y="2685000"/>
                    <a:pt x="4455398" y="2681005"/>
                    <a:pt x="4460480" y="2681005"/>
                  </a:cubicBezTo>
                  <a:close/>
                  <a:moveTo>
                    <a:pt x="4614061" y="2679918"/>
                  </a:moveTo>
                  <a:cubicBezTo>
                    <a:pt x="4619508" y="2679918"/>
                    <a:pt x="4624228" y="2684638"/>
                    <a:pt x="4624228" y="2690085"/>
                  </a:cubicBezTo>
                  <a:cubicBezTo>
                    <a:pt x="4624228" y="2695532"/>
                    <a:pt x="4619870" y="2700251"/>
                    <a:pt x="4614061" y="2700251"/>
                  </a:cubicBezTo>
                  <a:cubicBezTo>
                    <a:pt x="4608614" y="2700251"/>
                    <a:pt x="4603895" y="2695532"/>
                    <a:pt x="4603895" y="2690085"/>
                  </a:cubicBezTo>
                  <a:cubicBezTo>
                    <a:pt x="4603895" y="2684638"/>
                    <a:pt x="4608614" y="2679918"/>
                    <a:pt x="4614061" y="2679918"/>
                  </a:cubicBezTo>
                  <a:close/>
                  <a:moveTo>
                    <a:pt x="4768008" y="2678104"/>
                  </a:moveTo>
                  <a:cubicBezTo>
                    <a:pt x="4774546" y="2678104"/>
                    <a:pt x="4779993" y="2683551"/>
                    <a:pt x="4779993" y="2690085"/>
                  </a:cubicBezTo>
                  <a:cubicBezTo>
                    <a:pt x="4779993" y="2696622"/>
                    <a:pt x="4774546" y="2702065"/>
                    <a:pt x="4768008" y="2702065"/>
                  </a:cubicBezTo>
                  <a:cubicBezTo>
                    <a:pt x="4761475" y="2702065"/>
                    <a:pt x="4756028" y="2696622"/>
                    <a:pt x="4756028" y="2690085"/>
                  </a:cubicBezTo>
                  <a:cubicBezTo>
                    <a:pt x="4756028" y="2683551"/>
                    <a:pt x="4761475" y="2678104"/>
                    <a:pt x="4768008" y="2678104"/>
                  </a:cubicBezTo>
                  <a:close/>
                  <a:moveTo>
                    <a:pt x="4921598" y="2676286"/>
                  </a:moveTo>
                  <a:cubicBezTo>
                    <a:pt x="4929222" y="2676286"/>
                    <a:pt x="4935393" y="2682457"/>
                    <a:pt x="4935393" y="2690081"/>
                  </a:cubicBezTo>
                  <a:cubicBezTo>
                    <a:pt x="4935393" y="2697709"/>
                    <a:pt x="4929222" y="2703880"/>
                    <a:pt x="4921598" y="2703880"/>
                  </a:cubicBezTo>
                  <a:cubicBezTo>
                    <a:pt x="4913970" y="2703880"/>
                    <a:pt x="4907798" y="2697709"/>
                    <a:pt x="4907798" y="2690081"/>
                  </a:cubicBezTo>
                  <a:cubicBezTo>
                    <a:pt x="4907798" y="2682457"/>
                    <a:pt x="4913970" y="2676286"/>
                    <a:pt x="4921598" y="2676286"/>
                  </a:cubicBezTo>
                  <a:close/>
                  <a:moveTo>
                    <a:pt x="5075545" y="2674833"/>
                  </a:moveTo>
                  <a:cubicBezTo>
                    <a:pt x="5083893" y="2674833"/>
                    <a:pt x="5090792" y="2681733"/>
                    <a:pt x="5090792" y="2690081"/>
                  </a:cubicBezTo>
                  <a:cubicBezTo>
                    <a:pt x="5090792" y="2698433"/>
                    <a:pt x="5083893" y="2705332"/>
                    <a:pt x="5075545" y="2705332"/>
                  </a:cubicBezTo>
                  <a:cubicBezTo>
                    <a:pt x="5067193" y="2705332"/>
                    <a:pt x="5060294" y="2698433"/>
                    <a:pt x="5060294" y="2690081"/>
                  </a:cubicBezTo>
                  <a:cubicBezTo>
                    <a:pt x="5060294" y="2681733"/>
                    <a:pt x="5067193" y="2674833"/>
                    <a:pt x="5075545" y="2674833"/>
                  </a:cubicBezTo>
                  <a:close/>
                  <a:moveTo>
                    <a:pt x="5229126" y="2673019"/>
                  </a:moveTo>
                  <a:cubicBezTo>
                    <a:pt x="5238564" y="2673019"/>
                    <a:pt x="5246192" y="2680643"/>
                    <a:pt x="5246192" y="2690085"/>
                  </a:cubicBezTo>
                  <a:cubicBezTo>
                    <a:pt x="5246192" y="2699523"/>
                    <a:pt x="5238564" y="2707147"/>
                    <a:pt x="5229126" y="2707147"/>
                  </a:cubicBezTo>
                  <a:cubicBezTo>
                    <a:pt x="5219684" y="2707147"/>
                    <a:pt x="5212060" y="2699523"/>
                    <a:pt x="5212060" y="2690085"/>
                  </a:cubicBezTo>
                  <a:cubicBezTo>
                    <a:pt x="5212060" y="2680643"/>
                    <a:pt x="5219684" y="2673019"/>
                    <a:pt x="5229126" y="2673019"/>
                  </a:cubicBezTo>
                  <a:close/>
                  <a:moveTo>
                    <a:pt x="5383074" y="2670842"/>
                  </a:moveTo>
                  <a:cubicBezTo>
                    <a:pt x="5393705" y="2670842"/>
                    <a:pt x="5402320" y="2679457"/>
                    <a:pt x="5402320" y="2690085"/>
                  </a:cubicBezTo>
                  <a:cubicBezTo>
                    <a:pt x="5402320" y="2700712"/>
                    <a:pt x="5393705" y="2709327"/>
                    <a:pt x="5383074" y="2709327"/>
                  </a:cubicBezTo>
                  <a:cubicBezTo>
                    <a:pt x="5372446" y="2709327"/>
                    <a:pt x="5363832" y="2700712"/>
                    <a:pt x="5363832" y="2690085"/>
                  </a:cubicBezTo>
                  <a:cubicBezTo>
                    <a:pt x="5363832" y="2679457"/>
                    <a:pt x="5372446" y="2670842"/>
                    <a:pt x="5383074" y="2670842"/>
                  </a:cubicBezTo>
                  <a:close/>
                  <a:moveTo>
                    <a:pt x="5536656" y="2668662"/>
                  </a:moveTo>
                  <a:cubicBezTo>
                    <a:pt x="5548488" y="2668662"/>
                    <a:pt x="5558078" y="2678252"/>
                    <a:pt x="5558078" y="2690085"/>
                  </a:cubicBezTo>
                  <a:cubicBezTo>
                    <a:pt x="5558078" y="2701913"/>
                    <a:pt x="5548488" y="2711504"/>
                    <a:pt x="5536656" y="2711504"/>
                  </a:cubicBezTo>
                  <a:cubicBezTo>
                    <a:pt x="5524827" y="2711504"/>
                    <a:pt x="5515232" y="2701913"/>
                    <a:pt x="5515232" y="2690085"/>
                  </a:cubicBezTo>
                  <a:cubicBezTo>
                    <a:pt x="5515232" y="2678252"/>
                    <a:pt x="5524827" y="2668662"/>
                    <a:pt x="5536656" y="2668662"/>
                  </a:cubicBezTo>
                  <a:close/>
                  <a:moveTo>
                    <a:pt x="5690606" y="2667209"/>
                  </a:moveTo>
                  <a:cubicBezTo>
                    <a:pt x="5703239" y="2667209"/>
                    <a:pt x="5713482" y="2677452"/>
                    <a:pt x="5713482" y="2690085"/>
                  </a:cubicBezTo>
                  <a:cubicBezTo>
                    <a:pt x="5713482" y="2702717"/>
                    <a:pt x="5703239" y="2712956"/>
                    <a:pt x="5690606" y="2712956"/>
                  </a:cubicBezTo>
                  <a:cubicBezTo>
                    <a:pt x="5677974" y="2712956"/>
                    <a:pt x="5667732" y="2702717"/>
                    <a:pt x="5667732" y="2690085"/>
                  </a:cubicBezTo>
                  <a:cubicBezTo>
                    <a:pt x="5667732" y="2677452"/>
                    <a:pt x="5677974" y="2667209"/>
                    <a:pt x="5690606" y="2667209"/>
                  </a:cubicBezTo>
                  <a:close/>
                  <a:moveTo>
                    <a:pt x="5844550" y="2665033"/>
                  </a:moveTo>
                  <a:cubicBezTo>
                    <a:pt x="5858388" y="2665033"/>
                    <a:pt x="5869606" y="2676247"/>
                    <a:pt x="5869606" y="2690085"/>
                  </a:cubicBezTo>
                  <a:cubicBezTo>
                    <a:pt x="5869606" y="2703922"/>
                    <a:pt x="5858388" y="2715136"/>
                    <a:pt x="5844550" y="2715136"/>
                  </a:cubicBezTo>
                  <a:cubicBezTo>
                    <a:pt x="5830713" y="2715136"/>
                    <a:pt x="5819498" y="2703922"/>
                    <a:pt x="5819498" y="2690085"/>
                  </a:cubicBezTo>
                  <a:cubicBezTo>
                    <a:pt x="5819498" y="2676247"/>
                    <a:pt x="5830713" y="2665033"/>
                    <a:pt x="5844550" y="2665033"/>
                  </a:cubicBezTo>
                  <a:close/>
                  <a:moveTo>
                    <a:pt x="5998139" y="2662852"/>
                  </a:moveTo>
                  <a:cubicBezTo>
                    <a:pt x="6013024" y="2662852"/>
                    <a:pt x="6025372" y="2675199"/>
                    <a:pt x="6025372" y="2690085"/>
                  </a:cubicBezTo>
                  <a:cubicBezTo>
                    <a:pt x="6025372" y="2704970"/>
                    <a:pt x="6013390" y="2717317"/>
                    <a:pt x="5998139" y="2717317"/>
                  </a:cubicBezTo>
                  <a:cubicBezTo>
                    <a:pt x="5983254" y="2717317"/>
                    <a:pt x="5970907" y="2704970"/>
                    <a:pt x="5970907" y="2690085"/>
                  </a:cubicBezTo>
                  <a:cubicBezTo>
                    <a:pt x="5970907" y="2675199"/>
                    <a:pt x="5983254" y="2662852"/>
                    <a:pt x="5998139" y="2662852"/>
                  </a:cubicBezTo>
                  <a:close/>
                  <a:moveTo>
                    <a:pt x="6152083" y="2660310"/>
                  </a:moveTo>
                  <a:cubicBezTo>
                    <a:pt x="6168528" y="2660310"/>
                    <a:pt x="6181858" y="2673640"/>
                    <a:pt x="6181858" y="2690081"/>
                  </a:cubicBezTo>
                  <a:cubicBezTo>
                    <a:pt x="6181858" y="2706525"/>
                    <a:pt x="6168528" y="2719856"/>
                    <a:pt x="6152083" y="2719856"/>
                  </a:cubicBezTo>
                  <a:cubicBezTo>
                    <a:pt x="6135642" y="2719856"/>
                    <a:pt x="6122312" y="2706525"/>
                    <a:pt x="6122312" y="2690081"/>
                  </a:cubicBezTo>
                  <a:cubicBezTo>
                    <a:pt x="6122312" y="2673640"/>
                    <a:pt x="6135642" y="2660310"/>
                    <a:pt x="6152083" y="2660310"/>
                  </a:cubicBezTo>
                  <a:close/>
                  <a:moveTo>
                    <a:pt x="6305668" y="2658133"/>
                  </a:moveTo>
                  <a:cubicBezTo>
                    <a:pt x="6323317" y="2658133"/>
                    <a:pt x="6337620" y="2672439"/>
                    <a:pt x="6337620" y="2690085"/>
                  </a:cubicBezTo>
                  <a:cubicBezTo>
                    <a:pt x="6337620" y="2707730"/>
                    <a:pt x="6323317" y="2722036"/>
                    <a:pt x="6305668" y="2722036"/>
                  </a:cubicBezTo>
                  <a:cubicBezTo>
                    <a:pt x="6288022" y="2722036"/>
                    <a:pt x="6273716" y="2707730"/>
                    <a:pt x="6273716" y="2690085"/>
                  </a:cubicBezTo>
                  <a:cubicBezTo>
                    <a:pt x="6273716" y="2672439"/>
                    <a:pt x="6288022" y="2658133"/>
                    <a:pt x="6305668" y="2658133"/>
                  </a:cubicBezTo>
                  <a:close/>
                  <a:moveTo>
                    <a:pt x="6459616" y="2656319"/>
                  </a:moveTo>
                  <a:cubicBezTo>
                    <a:pt x="6478263" y="2656319"/>
                    <a:pt x="6493385" y="2671437"/>
                    <a:pt x="6493385" y="2690085"/>
                  </a:cubicBezTo>
                  <a:cubicBezTo>
                    <a:pt x="6493385" y="2708736"/>
                    <a:pt x="6478263" y="2723850"/>
                    <a:pt x="6459616" y="2723850"/>
                  </a:cubicBezTo>
                  <a:cubicBezTo>
                    <a:pt x="6440968" y="2723850"/>
                    <a:pt x="6425850" y="2708736"/>
                    <a:pt x="6425850" y="2690085"/>
                  </a:cubicBezTo>
                  <a:cubicBezTo>
                    <a:pt x="6425850" y="2671437"/>
                    <a:pt x="6440968" y="2656319"/>
                    <a:pt x="6459616" y="2656319"/>
                  </a:cubicBezTo>
                  <a:close/>
                  <a:moveTo>
                    <a:pt x="6613200" y="2653777"/>
                  </a:moveTo>
                  <a:cubicBezTo>
                    <a:pt x="6633255" y="2653777"/>
                    <a:pt x="6649509" y="2670030"/>
                    <a:pt x="6649509" y="2690085"/>
                  </a:cubicBezTo>
                  <a:cubicBezTo>
                    <a:pt x="6649509" y="2710135"/>
                    <a:pt x="6633255" y="2726393"/>
                    <a:pt x="6613200" y="2726393"/>
                  </a:cubicBezTo>
                  <a:cubicBezTo>
                    <a:pt x="6593146" y="2726393"/>
                    <a:pt x="6576892" y="2710135"/>
                    <a:pt x="6576892" y="2690085"/>
                  </a:cubicBezTo>
                  <a:cubicBezTo>
                    <a:pt x="6576892" y="2670030"/>
                    <a:pt x="6593146" y="2653777"/>
                    <a:pt x="6613200" y="2653777"/>
                  </a:cubicBezTo>
                  <a:close/>
                  <a:moveTo>
                    <a:pt x="3230349" y="2536137"/>
                  </a:moveTo>
                  <a:cubicBezTo>
                    <a:pt x="3230715" y="2536137"/>
                    <a:pt x="3230715" y="2536137"/>
                    <a:pt x="3230715" y="2536499"/>
                  </a:cubicBezTo>
                  <a:cubicBezTo>
                    <a:pt x="3230715" y="2536866"/>
                    <a:pt x="3230349" y="2536866"/>
                    <a:pt x="3230349" y="2536866"/>
                  </a:cubicBezTo>
                  <a:cubicBezTo>
                    <a:pt x="3229987" y="2536866"/>
                    <a:pt x="3229987" y="2536866"/>
                    <a:pt x="3229987" y="2536499"/>
                  </a:cubicBezTo>
                  <a:cubicBezTo>
                    <a:pt x="3229987" y="2536137"/>
                    <a:pt x="3229987" y="2536137"/>
                    <a:pt x="3230349" y="2536137"/>
                  </a:cubicBezTo>
                  <a:close/>
                  <a:moveTo>
                    <a:pt x="2768873" y="2536137"/>
                  </a:moveTo>
                  <a:cubicBezTo>
                    <a:pt x="2769235" y="2536137"/>
                    <a:pt x="2769235" y="2536137"/>
                    <a:pt x="2769235" y="2536499"/>
                  </a:cubicBezTo>
                  <a:cubicBezTo>
                    <a:pt x="2769235" y="2536866"/>
                    <a:pt x="2768873" y="2536866"/>
                    <a:pt x="2768873" y="2536866"/>
                  </a:cubicBezTo>
                  <a:cubicBezTo>
                    <a:pt x="2768511" y="2536866"/>
                    <a:pt x="2768511" y="2536866"/>
                    <a:pt x="2768511" y="2536499"/>
                  </a:cubicBezTo>
                  <a:cubicBezTo>
                    <a:pt x="2768511" y="2536137"/>
                    <a:pt x="2768511" y="2536137"/>
                    <a:pt x="2768873" y="2536137"/>
                  </a:cubicBezTo>
                  <a:close/>
                  <a:moveTo>
                    <a:pt x="2614925" y="2536137"/>
                  </a:moveTo>
                  <a:cubicBezTo>
                    <a:pt x="2615288" y="2536137"/>
                    <a:pt x="2615288" y="2536137"/>
                    <a:pt x="2615288" y="2536499"/>
                  </a:cubicBezTo>
                  <a:cubicBezTo>
                    <a:pt x="2615288" y="2536866"/>
                    <a:pt x="2614925" y="2536866"/>
                    <a:pt x="2614925" y="2536866"/>
                  </a:cubicBezTo>
                  <a:cubicBezTo>
                    <a:pt x="2614563" y="2536866"/>
                    <a:pt x="2614563" y="2536866"/>
                    <a:pt x="2614563" y="2536499"/>
                  </a:cubicBezTo>
                  <a:cubicBezTo>
                    <a:pt x="2614563" y="2536137"/>
                    <a:pt x="2614563" y="2536137"/>
                    <a:pt x="2614925" y="2536137"/>
                  </a:cubicBezTo>
                  <a:close/>
                  <a:moveTo>
                    <a:pt x="2461344" y="2535771"/>
                  </a:moveTo>
                  <a:cubicBezTo>
                    <a:pt x="2461706" y="2535771"/>
                    <a:pt x="2462068" y="2536133"/>
                    <a:pt x="2462068" y="2536499"/>
                  </a:cubicBezTo>
                  <a:cubicBezTo>
                    <a:pt x="2462068" y="2536862"/>
                    <a:pt x="2461344" y="2537224"/>
                    <a:pt x="2461344" y="2537224"/>
                  </a:cubicBezTo>
                  <a:cubicBezTo>
                    <a:pt x="2460978" y="2537224"/>
                    <a:pt x="2460616" y="2536862"/>
                    <a:pt x="2460616" y="2536499"/>
                  </a:cubicBezTo>
                  <a:cubicBezTo>
                    <a:pt x="2460616" y="2536133"/>
                    <a:pt x="2460978" y="2535771"/>
                    <a:pt x="2461344" y="2535771"/>
                  </a:cubicBezTo>
                  <a:close/>
                  <a:moveTo>
                    <a:pt x="3383938" y="2535047"/>
                  </a:moveTo>
                  <a:cubicBezTo>
                    <a:pt x="3384738" y="2535047"/>
                    <a:pt x="3385390" y="2535699"/>
                    <a:pt x="3385390" y="2536499"/>
                  </a:cubicBezTo>
                  <a:cubicBezTo>
                    <a:pt x="3385390" y="2537300"/>
                    <a:pt x="3384738" y="2537952"/>
                    <a:pt x="3383938" y="2537952"/>
                  </a:cubicBezTo>
                  <a:cubicBezTo>
                    <a:pt x="3383134" y="2537952"/>
                    <a:pt x="3382486" y="2537300"/>
                    <a:pt x="3382486" y="2536499"/>
                  </a:cubicBezTo>
                  <a:cubicBezTo>
                    <a:pt x="3382486" y="2535699"/>
                    <a:pt x="3383134" y="2535047"/>
                    <a:pt x="3383938" y="2535047"/>
                  </a:cubicBezTo>
                  <a:close/>
                  <a:moveTo>
                    <a:pt x="3537886" y="2534323"/>
                  </a:moveTo>
                  <a:cubicBezTo>
                    <a:pt x="3539086" y="2534323"/>
                    <a:pt x="3540062" y="2535299"/>
                    <a:pt x="3540062" y="2536503"/>
                  </a:cubicBezTo>
                  <a:cubicBezTo>
                    <a:pt x="3540062" y="2537704"/>
                    <a:pt x="3539086" y="2538680"/>
                    <a:pt x="3537886" y="2538680"/>
                  </a:cubicBezTo>
                  <a:cubicBezTo>
                    <a:pt x="3536681" y="2538680"/>
                    <a:pt x="3535705" y="2537704"/>
                    <a:pt x="3535705" y="2536503"/>
                  </a:cubicBezTo>
                  <a:cubicBezTo>
                    <a:pt x="3535705" y="2535299"/>
                    <a:pt x="3536681" y="2534323"/>
                    <a:pt x="3537886" y="2534323"/>
                  </a:cubicBezTo>
                  <a:close/>
                  <a:moveTo>
                    <a:pt x="3691467" y="2533233"/>
                  </a:moveTo>
                  <a:cubicBezTo>
                    <a:pt x="3693285" y="2533233"/>
                    <a:pt x="3694738" y="2534685"/>
                    <a:pt x="3694738" y="2536499"/>
                  </a:cubicBezTo>
                  <a:cubicBezTo>
                    <a:pt x="3694738" y="2538318"/>
                    <a:pt x="3693285" y="2539770"/>
                    <a:pt x="3691467" y="2539770"/>
                  </a:cubicBezTo>
                  <a:cubicBezTo>
                    <a:pt x="3689652" y="2539770"/>
                    <a:pt x="3688200" y="2538318"/>
                    <a:pt x="3688200" y="2536499"/>
                  </a:cubicBezTo>
                  <a:cubicBezTo>
                    <a:pt x="3688200" y="2534685"/>
                    <a:pt x="3689652" y="2533233"/>
                    <a:pt x="3691467" y="2533233"/>
                  </a:cubicBezTo>
                  <a:close/>
                  <a:moveTo>
                    <a:pt x="3845414" y="2531780"/>
                  </a:moveTo>
                  <a:cubicBezTo>
                    <a:pt x="3847957" y="2531780"/>
                    <a:pt x="3849771" y="2533595"/>
                    <a:pt x="3849771" y="2536137"/>
                  </a:cubicBezTo>
                  <a:cubicBezTo>
                    <a:pt x="3849771" y="2538680"/>
                    <a:pt x="3847591" y="2540494"/>
                    <a:pt x="3845414" y="2540494"/>
                  </a:cubicBezTo>
                  <a:cubicBezTo>
                    <a:pt x="3842872" y="2540494"/>
                    <a:pt x="3841057" y="2538680"/>
                    <a:pt x="3841057" y="2536137"/>
                  </a:cubicBezTo>
                  <a:cubicBezTo>
                    <a:pt x="3841057" y="2533595"/>
                    <a:pt x="3842872" y="2531780"/>
                    <a:pt x="3845414" y="2531780"/>
                  </a:cubicBezTo>
                  <a:close/>
                  <a:moveTo>
                    <a:pt x="3999000" y="2530690"/>
                  </a:moveTo>
                  <a:cubicBezTo>
                    <a:pt x="4002209" y="2530690"/>
                    <a:pt x="4004809" y="2533290"/>
                    <a:pt x="4004809" y="2536499"/>
                  </a:cubicBezTo>
                  <a:cubicBezTo>
                    <a:pt x="4004809" y="2539709"/>
                    <a:pt x="4002209" y="2542309"/>
                    <a:pt x="3999000" y="2542309"/>
                  </a:cubicBezTo>
                  <a:cubicBezTo>
                    <a:pt x="3995790" y="2542309"/>
                    <a:pt x="3993190" y="2539709"/>
                    <a:pt x="3993190" y="2536499"/>
                  </a:cubicBezTo>
                  <a:cubicBezTo>
                    <a:pt x="3993190" y="2533290"/>
                    <a:pt x="3995790" y="2530690"/>
                    <a:pt x="3999000" y="2530690"/>
                  </a:cubicBezTo>
                  <a:close/>
                  <a:moveTo>
                    <a:pt x="4152947" y="2528876"/>
                  </a:moveTo>
                  <a:cubicBezTo>
                    <a:pt x="4156942" y="2528876"/>
                    <a:pt x="4160208" y="2532142"/>
                    <a:pt x="4160208" y="2536137"/>
                  </a:cubicBezTo>
                  <a:cubicBezTo>
                    <a:pt x="4160208" y="2540132"/>
                    <a:pt x="4156942" y="2543399"/>
                    <a:pt x="4152947" y="2543399"/>
                  </a:cubicBezTo>
                  <a:cubicBezTo>
                    <a:pt x="4148952" y="2543399"/>
                    <a:pt x="4145686" y="2540132"/>
                    <a:pt x="4145686" y="2536137"/>
                  </a:cubicBezTo>
                  <a:cubicBezTo>
                    <a:pt x="4145686" y="2532142"/>
                    <a:pt x="4148952" y="2528876"/>
                    <a:pt x="4152947" y="2528876"/>
                  </a:cubicBezTo>
                  <a:close/>
                  <a:moveTo>
                    <a:pt x="4306528" y="2527058"/>
                  </a:moveTo>
                  <a:cubicBezTo>
                    <a:pt x="4311614" y="2527058"/>
                    <a:pt x="4315608" y="2531052"/>
                    <a:pt x="4315608" y="2536133"/>
                  </a:cubicBezTo>
                  <a:cubicBezTo>
                    <a:pt x="4315608" y="2541218"/>
                    <a:pt x="4311614" y="2545213"/>
                    <a:pt x="4306528" y="2545213"/>
                  </a:cubicBezTo>
                  <a:cubicBezTo>
                    <a:pt x="4301447" y="2545213"/>
                    <a:pt x="4297452" y="2541218"/>
                    <a:pt x="4297452" y="2536133"/>
                  </a:cubicBezTo>
                  <a:cubicBezTo>
                    <a:pt x="4297452" y="2531052"/>
                    <a:pt x="4301447" y="2527058"/>
                    <a:pt x="4306528" y="2527058"/>
                  </a:cubicBezTo>
                  <a:close/>
                  <a:moveTo>
                    <a:pt x="4460480" y="2526333"/>
                  </a:moveTo>
                  <a:cubicBezTo>
                    <a:pt x="4465927" y="2526333"/>
                    <a:pt x="4470646" y="2531052"/>
                    <a:pt x="4470646" y="2536499"/>
                  </a:cubicBezTo>
                  <a:cubicBezTo>
                    <a:pt x="4470646" y="2541947"/>
                    <a:pt x="4466289" y="2546666"/>
                    <a:pt x="4460480" y="2546666"/>
                  </a:cubicBezTo>
                  <a:cubicBezTo>
                    <a:pt x="4455032" y="2546666"/>
                    <a:pt x="4450314" y="2541947"/>
                    <a:pt x="4450314" y="2536499"/>
                  </a:cubicBezTo>
                  <a:cubicBezTo>
                    <a:pt x="4450314" y="2531052"/>
                    <a:pt x="4455032" y="2526333"/>
                    <a:pt x="4460480" y="2526333"/>
                  </a:cubicBezTo>
                  <a:close/>
                  <a:moveTo>
                    <a:pt x="4614061" y="2524153"/>
                  </a:moveTo>
                  <a:cubicBezTo>
                    <a:pt x="4620598" y="2524153"/>
                    <a:pt x="4626046" y="2529600"/>
                    <a:pt x="4626046" y="2536133"/>
                  </a:cubicBezTo>
                  <a:cubicBezTo>
                    <a:pt x="4626046" y="2542671"/>
                    <a:pt x="4620598" y="2548118"/>
                    <a:pt x="4614061" y="2548118"/>
                  </a:cubicBezTo>
                  <a:cubicBezTo>
                    <a:pt x="4607528" y="2548118"/>
                    <a:pt x="4602080" y="2542671"/>
                    <a:pt x="4602080" y="2536133"/>
                  </a:cubicBezTo>
                  <a:cubicBezTo>
                    <a:pt x="4602080" y="2529600"/>
                    <a:pt x="4607528" y="2524153"/>
                    <a:pt x="4614061" y="2524153"/>
                  </a:cubicBezTo>
                  <a:close/>
                  <a:moveTo>
                    <a:pt x="4768012" y="2522338"/>
                  </a:moveTo>
                  <a:cubicBezTo>
                    <a:pt x="4775636" y="2522338"/>
                    <a:pt x="4781808" y="2528510"/>
                    <a:pt x="4781808" y="2536133"/>
                  </a:cubicBezTo>
                  <a:cubicBezTo>
                    <a:pt x="4781808" y="2543761"/>
                    <a:pt x="4775636" y="2549933"/>
                    <a:pt x="4768012" y="2549933"/>
                  </a:cubicBezTo>
                  <a:cubicBezTo>
                    <a:pt x="4760384" y="2549933"/>
                    <a:pt x="4754214" y="2543761"/>
                    <a:pt x="4754214" y="2536133"/>
                  </a:cubicBezTo>
                  <a:cubicBezTo>
                    <a:pt x="4754214" y="2528510"/>
                    <a:pt x="4760384" y="2522338"/>
                    <a:pt x="4768012" y="2522338"/>
                  </a:cubicBezTo>
                  <a:close/>
                  <a:moveTo>
                    <a:pt x="4921594" y="2521252"/>
                  </a:moveTo>
                  <a:cubicBezTo>
                    <a:pt x="4930018" y="2521252"/>
                    <a:pt x="4936845" y="2528079"/>
                    <a:pt x="4936845" y="2536503"/>
                  </a:cubicBezTo>
                  <a:cubicBezTo>
                    <a:pt x="4936845" y="2544924"/>
                    <a:pt x="4930018" y="2551751"/>
                    <a:pt x="4921594" y="2551751"/>
                  </a:cubicBezTo>
                  <a:cubicBezTo>
                    <a:pt x="4913174" y="2551751"/>
                    <a:pt x="4906346" y="2544924"/>
                    <a:pt x="4906346" y="2536503"/>
                  </a:cubicBezTo>
                  <a:cubicBezTo>
                    <a:pt x="4906346" y="2528079"/>
                    <a:pt x="4913174" y="2521252"/>
                    <a:pt x="4921594" y="2521252"/>
                  </a:cubicBezTo>
                  <a:close/>
                  <a:moveTo>
                    <a:pt x="5075545" y="2519071"/>
                  </a:moveTo>
                  <a:cubicBezTo>
                    <a:pt x="5084984" y="2519071"/>
                    <a:pt x="5092611" y="2526695"/>
                    <a:pt x="5092611" y="2536137"/>
                  </a:cubicBezTo>
                  <a:cubicBezTo>
                    <a:pt x="5092611" y="2545575"/>
                    <a:pt x="5084984" y="2553203"/>
                    <a:pt x="5075545" y="2553203"/>
                  </a:cubicBezTo>
                  <a:cubicBezTo>
                    <a:pt x="5066103" y="2553203"/>
                    <a:pt x="5058479" y="2545575"/>
                    <a:pt x="5058479" y="2536137"/>
                  </a:cubicBezTo>
                  <a:cubicBezTo>
                    <a:pt x="5058479" y="2526695"/>
                    <a:pt x="5066103" y="2519071"/>
                    <a:pt x="5075545" y="2519071"/>
                  </a:cubicBezTo>
                  <a:close/>
                  <a:moveTo>
                    <a:pt x="5229126" y="2517257"/>
                  </a:moveTo>
                  <a:cubicBezTo>
                    <a:pt x="5239754" y="2517257"/>
                    <a:pt x="5248369" y="2525872"/>
                    <a:pt x="5248369" y="2536499"/>
                  </a:cubicBezTo>
                  <a:cubicBezTo>
                    <a:pt x="5248369" y="2547127"/>
                    <a:pt x="5239754" y="2555742"/>
                    <a:pt x="5229126" y="2555742"/>
                  </a:cubicBezTo>
                  <a:cubicBezTo>
                    <a:pt x="5218499" y="2555742"/>
                    <a:pt x="5209884" y="2547127"/>
                    <a:pt x="5209884" y="2536499"/>
                  </a:cubicBezTo>
                  <a:cubicBezTo>
                    <a:pt x="5209884" y="2525872"/>
                    <a:pt x="5218499" y="2517257"/>
                    <a:pt x="5229126" y="2517257"/>
                  </a:cubicBezTo>
                  <a:close/>
                  <a:moveTo>
                    <a:pt x="5383074" y="2514714"/>
                  </a:moveTo>
                  <a:cubicBezTo>
                    <a:pt x="5395054" y="2514714"/>
                    <a:pt x="5404496" y="2524153"/>
                    <a:pt x="5404496" y="2536137"/>
                  </a:cubicBezTo>
                  <a:cubicBezTo>
                    <a:pt x="5404496" y="2548118"/>
                    <a:pt x="5394692" y="2557560"/>
                    <a:pt x="5383074" y="2557560"/>
                  </a:cubicBezTo>
                  <a:cubicBezTo>
                    <a:pt x="5371093" y="2557560"/>
                    <a:pt x="5361651" y="2548118"/>
                    <a:pt x="5361651" y="2536137"/>
                  </a:cubicBezTo>
                  <a:cubicBezTo>
                    <a:pt x="5361651" y="2524153"/>
                    <a:pt x="5371093" y="2514714"/>
                    <a:pt x="5383074" y="2514714"/>
                  </a:cubicBezTo>
                  <a:close/>
                  <a:moveTo>
                    <a:pt x="5536659" y="2513624"/>
                  </a:moveTo>
                  <a:cubicBezTo>
                    <a:pt x="5549292" y="2513624"/>
                    <a:pt x="5559534" y="2523867"/>
                    <a:pt x="5559534" y="2536499"/>
                  </a:cubicBezTo>
                  <a:cubicBezTo>
                    <a:pt x="5559534" y="2549132"/>
                    <a:pt x="5549292" y="2559371"/>
                    <a:pt x="5536659" y="2559371"/>
                  </a:cubicBezTo>
                  <a:cubicBezTo>
                    <a:pt x="5524026" y="2559371"/>
                    <a:pt x="5513784" y="2549132"/>
                    <a:pt x="5513784" y="2536499"/>
                  </a:cubicBezTo>
                  <a:cubicBezTo>
                    <a:pt x="5513784" y="2523867"/>
                    <a:pt x="5524026" y="2513624"/>
                    <a:pt x="5536659" y="2513624"/>
                  </a:cubicBezTo>
                  <a:close/>
                  <a:moveTo>
                    <a:pt x="5690602" y="2511448"/>
                  </a:moveTo>
                  <a:cubicBezTo>
                    <a:pt x="5704440" y="2511448"/>
                    <a:pt x="5715658" y="2522662"/>
                    <a:pt x="5715658" y="2536499"/>
                  </a:cubicBezTo>
                  <a:cubicBezTo>
                    <a:pt x="5715658" y="2550337"/>
                    <a:pt x="5704440" y="2561555"/>
                    <a:pt x="5690602" y="2561555"/>
                  </a:cubicBezTo>
                  <a:cubicBezTo>
                    <a:pt x="5676766" y="2561555"/>
                    <a:pt x="5665551" y="2550337"/>
                    <a:pt x="5665551" y="2536499"/>
                  </a:cubicBezTo>
                  <a:cubicBezTo>
                    <a:pt x="5665551" y="2522666"/>
                    <a:pt x="5676766" y="2511448"/>
                    <a:pt x="5690602" y="2511448"/>
                  </a:cubicBezTo>
                  <a:close/>
                  <a:moveTo>
                    <a:pt x="5844554" y="2509267"/>
                  </a:moveTo>
                  <a:cubicBezTo>
                    <a:pt x="5859440" y="2509267"/>
                    <a:pt x="5871786" y="2521610"/>
                    <a:pt x="5871786" y="2536499"/>
                  </a:cubicBezTo>
                  <a:cubicBezTo>
                    <a:pt x="5871786" y="2551385"/>
                    <a:pt x="5859802" y="2563732"/>
                    <a:pt x="5844554" y="2563732"/>
                  </a:cubicBezTo>
                  <a:cubicBezTo>
                    <a:pt x="5829664" y="2563732"/>
                    <a:pt x="5817322" y="2551385"/>
                    <a:pt x="5817322" y="2536499"/>
                  </a:cubicBezTo>
                  <a:cubicBezTo>
                    <a:pt x="5817322" y="2521610"/>
                    <a:pt x="5829664" y="2509267"/>
                    <a:pt x="5844554" y="2509267"/>
                  </a:cubicBezTo>
                  <a:close/>
                  <a:moveTo>
                    <a:pt x="5998136" y="2506729"/>
                  </a:moveTo>
                  <a:cubicBezTo>
                    <a:pt x="6014580" y="2506729"/>
                    <a:pt x="6027910" y="2520059"/>
                    <a:pt x="6027910" y="2536503"/>
                  </a:cubicBezTo>
                  <a:cubicBezTo>
                    <a:pt x="6027910" y="2552944"/>
                    <a:pt x="6014580" y="2566274"/>
                    <a:pt x="5998136" y="2566274"/>
                  </a:cubicBezTo>
                  <a:cubicBezTo>
                    <a:pt x="5981694" y="2566274"/>
                    <a:pt x="5968364" y="2552944"/>
                    <a:pt x="5968364" y="2536503"/>
                  </a:cubicBezTo>
                  <a:cubicBezTo>
                    <a:pt x="5968364" y="2520059"/>
                    <a:pt x="5981694" y="2506729"/>
                    <a:pt x="5998136" y="2506729"/>
                  </a:cubicBezTo>
                  <a:close/>
                  <a:moveTo>
                    <a:pt x="6152086" y="2504548"/>
                  </a:moveTo>
                  <a:cubicBezTo>
                    <a:pt x="6169732" y="2504548"/>
                    <a:pt x="6184038" y="2518854"/>
                    <a:pt x="6184038" y="2536499"/>
                  </a:cubicBezTo>
                  <a:cubicBezTo>
                    <a:pt x="6184038" y="2554145"/>
                    <a:pt x="6169732" y="2568451"/>
                    <a:pt x="6152086" y="2568451"/>
                  </a:cubicBezTo>
                  <a:cubicBezTo>
                    <a:pt x="6134438" y="2568451"/>
                    <a:pt x="6120135" y="2554145"/>
                    <a:pt x="6120135" y="2536499"/>
                  </a:cubicBezTo>
                  <a:cubicBezTo>
                    <a:pt x="6120135" y="2518854"/>
                    <a:pt x="6134438" y="2504548"/>
                    <a:pt x="6152086" y="2504548"/>
                  </a:cubicBezTo>
                  <a:close/>
                  <a:moveTo>
                    <a:pt x="6305668" y="2502734"/>
                  </a:moveTo>
                  <a:cubicBezTo>
                    <a:pt x="6324320" y="2502734"/>
                    <a:pt x="6339438" y="2517852"/>
                    <a:pt x="6339438" y="2536499"/>
                  </a:cubicBezTo>
                  <a:cubicBezTo>
                    <a:pt x="6339438" y="2555151"/>
                    <a:pt x="6324320" y="2570269"/>
                    <a:pt x="6305668" y="2570269"/>
                  </a:cubicBezTo>
                  <a:cubicBezTo>
                    <a:pt x="6287020" y="2570269"/>
                    <a:pt x="6271902" y="2555151"/>
                    <a:pt x="6271902" y="2536499"/>
                  </a:cubicBezTo>
                  <a:cubicBezTo>
                    <a:pt x="6271902" y="2517852"/>
                    <a:pt x="6287020" y="2502734"/>
                    <a:pt x="6305668" y="2502734"/>
                  </a:cubicBezTo>
                  <a:close/>
                  <a:moveTo>
                    <a:pt x="6459616" y="2500191"/>
                  </a:moveTo>
                  <a:cubicBezTo>
                    <a:pt x="6479670" y="2500191"/>
                    <a:pt x="6495924" y="2516445"/>
                    <a:pt x="6495924" y="2536499"/>
                  </a:cubicBezTo>
                  <a:cubicBezTo>
                    <a:pt x="6495924" y="2556554"/>
                    <a:pt x="6479670" y="2572808"/>
                    <a:pt x="6459616" y="2572808"/>
                  </a:cubicBezTo>
                  <a:cubicBezTo>
                    <a:pt x="6439561" y="2572808"/>
                    <a:pt x="6423307" y="2556554"/>
                    <a:pt x="6423307" y="2536499"/>
                  </a:cubicBezTo>
                  <a:cubicBezTo>
                    <a:pt x="6423307" y="2516445"/>
                    <a:pt x="6439561" y="2500191"/>
                    <a:pt x="6459616" y="2500191"/>
                  </a:cubicBezTo>
                  <a:close/>
                  <a:moveTo>
                    <a:pt x="6613200" y="2497648"/>
                  </a:moveTo>
                  <a:cubicBezTo>
                    <a:pt x="6634654" y="2497648"/>
                    <a:pt x="6652048" y="2515042"/>
                    <a:pt x="6652048" y="2536499"/>
                  </a:cubicBezTo>
                  <a:cubicBezTo>
                    <a:pt x="6652048" y="2557953"/>
                    <a:pt x="6634654" y="2575350"/>
                    <a:pt x="6613200" y="2575350"/>
                  </a:cubicBezTo>
                  <a:cubicBezTo>
                    <a:pt x="6591744" y="2575350"/>
                    <a:pt x="6574350" y="2557953"/>
                    <a:pt x="6574350" y="2536499"/>
                  </a:cubicBezTo>
                  <a:cubicBezTo>
                    <a:pt x="6574350" y="2515042"/>
                    <a:pt x="6591744" y="2497648"/>
                    <a:pt x="6613200" y="2497648"/>
                  </a:cubicBezTo>
                  <a:close/>
                  <a:moveTo>
                    <a:pt x="3076406" y="2382190"/>
                  </a:moveTo>
                  <a:cubicBezTo>
                    <a:pt x="3076768" y="2382190"/>
                    <a:pt x="3076768" y="2382190"/>
                    <a:pt x="3076768" y="2382552"/>
                  </a:cubicBezTo>
                  <a:cubicBezTo>
                    <a:pt x="3076768" y="2382914"/>
                    <a:pt x="3076406" y="2382914"/>
                    <a:pt x="3076406" y="2382914"/>
                  </a:cubicBezTo>
                  <a:cubicBezTo>
                    <a:pt x="3076043" y="2382914"/>
                    <a:pt x="3076043" y="2382914"/>
                    <a:pt x="3076043" y="2382552"/>
                  </a:cubicBezTo>
                  <a:cubicBezTo>
                    <a:pt x="3076043" y="2382190"/>
                    <a:pt x="3076043" y="2382190"/>
                    <a:pt x="3076406" y="2382190"/>
                  </a:cubicBezTo>
                  <a:close/>
                  <a:moveTo>
                    <a:pt x="2614925" y="2382190"/>
                  </a:moveTo>
                  <a:cubicBezTo>
                    <a:pt x="2615288" y="2382190"/>
                    <a:pt x="2615288" y="2382190"/>
                    <a:pt x="2615288" y="2382552"/>
                  </a:cubicBezTo>
                  <a:cubicBezTo>
                    <a:pt x="2615288" y="2382914"/>
                    <a:pt x="2614925" y="2382914"/>
                    <a:pt x="2614925" y="2382914"/>
                  </a:cubicBezTo>
                  <a:cubicBezTo>
                    <a:pt x="2614563" y="2382914"/>
                    <a:pt x="2614563" y="2382914"/>
                    <a:pt x="2614563" y="2382552"/>
                  </a:cubicBezTo>
                  <a:cubicBezTo>
                    <a:pt x="2614563" y="2382190"/>
                    <a:pt x="2614563" y="2382190"/>
                    <a:pt x="2614925" y="2382190"/>
                  </a:cubicBezTo>
                  <a:close/>
                  <a:moveTo>
                    <a:pt x="2461340" y="2382190"/>
                  </a:moveTo>
                  <a:cubicBezTo>
                    <a:pt x="2461702" y="2382190"/>
                    <a:pt x="2461702" y="2382190"/>
                    <a:pt x="2461702" y="2382552"/>
                  </a:cubicBezTo>
                  <a:cubicBezTo>
                    <a:pt x="2461702" y="2382914"/>
                    <a:pt x="2461340" y="2382914"/>
                    <a:pt x="2461340" y="2382914"/>
                  </a:cubicBezTo>
                  <a:cubicBezTo>
                    <a:pt x="2460978" y="2382914"/>
                    <a:pt x="2460978" y="2382914"/>
                    <a:pt x="2460978" y="2382552"/>
                  </a:cubicBezTo>
                  <a:cubicBezTo>
                    <a:pt x="2460978" y="2382190"/>
                    <a:pt x="2460978" y="2382190"/>
                    <a:pt x="2461340" y="2382190"/>
                  </a:cubicBezTo>
                  <a:close/>
                  <a:moveTo>
                    <a:pt x="2307393" y="2381824"/>
                  </a:moveTo>
                  <a:cubicBezTo>
                    <a:pt x="2307759" y="2381824"/>
                    <a:pt x="2308121" y="2382186"/>
                    <a:pt x="2308121" y="2382552"/>
                  </a:cubicBezTo>
                  <a:cubicBezTo>
                    <a:pt x="2308121" y="2382914"/>
                    <a:pt x="2307393" y="2383276"/>
                    <a:pt x="2307393" y="2383276"/>
                  </a:cubicBezTo>
                  <a:cubicBezTo>
                    <a:pt x="2307031" y="2383276"/>
                    <a:pt x="2306669" y="2382914"/>
                    <a:pt x="2306669" y="2382552"/>
                  </a:cubicBezTo>
                  <a:cubicBezTo>
                    <a:pt x="2306669" y="2382186"/>
                    <a:pt x="2307031" y="2381824"/>
                    <a:pt x="2307393" y="2381824"/>
                  </a:cubicBezTo>
                  <a:close/>
                  <a:moveTo>
                    <a:pt x="3230353" y="2381100"/>
                  </a:moveTo>
                  <a:cubicBezTo>
                    <a:pt x="3231077" y="2381100"/>
                    <a:pt x="3231805" y="2381824"/>
                    <a:pt x="3231805" y="2382552"/>
                  </a:cubicBezTo>
                  <a:cubicBezTo>
                    <a:pt x="3231805" y="2383276"/>
                    <a:pt x="3230353" y="2384005"/>
                    <a:pt x="3230353" y="2384005"/>
                  </a:cubicBezTo>
                  <a:cubicBezTo>
                    <a:pt x="3229625" y="2384005"/>
                    <a:pt x="3228900" y="2383276"/>
                    <a:pt x="3228900" y="2382552"/>
                  </a:cubicBezTo>
                  <a:cubicBezTo>
                    <a:pt x="3228900" y="2381824"/>
                    <a:pt x="3229625" y="2381100"/>
                    <a:pt x="3230353" y="2381100"/>
                  </a:cubicBezTo>
                  <a:close/>
                  <a:moveTo>
                    <a:pt x="3383938" y="2380375"/>
                  </a:moveTo>
                  <a:cubicBezTo>
                    <a:pt x="3385139" y="2380375"/>
                    <a:pt x="3386115" y="2381351"/>
                    <a:pt x="3386115" y="2382556"/>
                  </a:cubicBezTo>
                  <a:cubicBezTo>
                    <a:pt x="3386115" y="2383757"/>
                    <a:pt x="3385139" y="2384732"/>
                    <a:pt x="3383938" y="2384732"/>
                  </a:cubicBezTo>
                  <a:cubicBezTo>
                    <a:pt x="3382734" y="2384732"/>
                    <a:pt x="3381758" y="2383757"/>
                    <a:pt x="3381758" y="2382556"/>
                  </a:cubicBezTo>
                  <a:cubicBezTo>
                    <a:pt x="3381758" y="2381351"/>
                    <a:pt x="3382734" y="2380375"/>
                    <a:pt x="3383938" y="2380375"/>
                  </a:cubicBezTo>
                  <a:close/>
                  <a:moveTo>
                    <a:pt x="3537882" y="2379285"/>
                  </a:moveTo>
                  <a:cubicBezTo>
                    <a:pt x="3539696" y="2379285"/>
                    <a:pt x="3541148" y="2380738"/>
                    <a:pt x="3541148" y="2382552"/>
                  </a:cubicBezTo>
                  <a:cubicBezTo>
                    <a:pt x="3541148" y="2384366"/>
                    <a:pt x="3539696" y="2385823"/>
                    <a:pt x="3537882" y="2385823"/>
                  </a:cubicBezTo>
                  <a:cubicBezTo>
                    <a:pt x="3536067" y="2385823"/>
                    <a:pt x="3534615" y="2384366"/>
                    <a:pt x="3534615" y="2382552"/>
                  </a:cubicBezTo>
                  <a:cubicBezTo>
                    <a:pt x="3534615" y="2380738"/>
                    <a:pt x="3536067" y="2379285"/>
                    <a:pt x="3537882" y="2379285"/>
                  </a:cubicBezTo>
                  <a:close/>
                  <a:moveTo>
                    <a:pt x="3691467" y="2378195"/>
                  </a:moveTo>
                  <a:cubicBezTo>
                    <a:pt x="3694010" y="2378195"/>
                    <a:pt x="3695824" y="2380010"/>
                    <a:pt x="3695824" y="2382552"/>
                  </a:cubicBezTo>
                  <a:cubicBezTo>
                    <a:pt x="3695824" y="2385095"/>
                    <a:pt x="3693647" y="2386909"/>
                    <a:pt x="3691467" y="2386909"/>
                  </a:cubicBezTo>
                  <a:cubicBezTo>
                    <a:pt x="3688924" y="2386909"/>
                    <a:pt x="3687110" y="2385095"/>
                    <a:pt x="3687110" y="2382552"/>
                  </a:cubicBezTo>
                  <a:cubicBezTo>
                    <a:pt x="3687110" y="2380010"/>
                    <a:pt x="3688924" y="2378195"/>
                    <a:pt x="3691467" y="2378195"/>
                  </a:cubicBezTo>
                  <a:close/>
                  <a:moveTo>
                    <a:pt x="3845414" y="2376743"/>
                  </a:moveTo>
                  <a:cubicBezTo>
                    <a:pt x="3848624" y="2376743"/>
                    <a:pt x="3851224" y="2379343"/>
                    <a:pt x="3851224" y="2382552"/>
                  </a:cubicBezTo>
                  <a:cubicBezTo>
                    <a:pt x="3851224" y="2385762"/>
                    <a:pt x="3848624" y="2388361"/>
                    <a:pt x="3845414" y="2388361"/>
                  </a:cubicBezTo>
                  <a:cubicBezTo>
                    <a:pt x="3842205" y="2388361"/>
                    <a:pt x="3839605" y="2385762"/>
                    <a:pt x="3839605" y="2382552"/>
                  </a:cubicBezTo>
                  <a:cubicBezTo>
                    <a:pt x="3839605" y="2379343"/>
                    <a:pt x="3842205" y="2376743"/>
                    <a:pt x="3845414" y="2376743"/>
                  </a:cubicBezTo>
                  <a:close/>
                  <a:moveTo>
                    <a:pt x="3999000" y="2375290"/>
                  </a:moveTo>
                  <a:cubicBezTo>
                    <a:pt x="4002994" y="2375290"/>
                    <a:pt x="4006261" y="2378557"/>
                    <a:pt x="4006261" y="2382552"/>
                  </a:cubicBezTo>
                  <a:cubicBezTo>
                    <a:pt x="4006261" y="2386547"/>
                    <a:pt x="4002994" y="2389814"/>
                    <a:pt x="3999000" y="2389814"/>
                  </a:cubicBezTo>
                  <a:cubicBezTo>
                    <a:pt x="3995005" y="2389814"/>
                    <a:pt x="3991738" y="2386547"/>
                    <a:pt x="3991738" y="2382552"/>
                  </a:cubicBezTo>
                  <a:cubicBezTo>
                    <a:pt x="3991738" y="2378557"/>
                    <a:pt x="3995005" y="2375290"/>
                    <a:pt x="3999000" y="2375290"/>
                  </a:cubicBezTo>
                  <a:close/>
                  <a:moveTo>
                    <a:pt x="4152947" y="2373476"/>
                  </a:moveTo>
                  <a:cubicBezTo>
                    <a:pt x="4158032" y="2373476"/>
                    <a:pt x="4162027" y="2377471"/>
                    <a:pt x="4162027" y="2382552"/>
                  </a:cubicBezTo>
                  <a:cubicBezTo>
                    <a:pt x="4162027" y="2387637"/>
                    <a:pt x="4158032" y="2391632"/>
                    <a:pt x="4152947" y="2391632"/>
                  </a:cubicBezTo>
                  <a:cubicBezTo>
                    <a:pt x="4147866" y="2391632"/>
                    <a:pt x="4143871" y="2387637"/>
                    <a:pt x="4143871" y="2382552"/>
                  </a:cubicBezTo>
                  <a:cubicBezTo>
                    <a:pt x="4143871" y="2377471"/>
                    <a:pt x="4147866" y="2373476"/>
                    <a:pt x="4152947" y="2373476"/>
                  </a:cubicBezTo>
                  <a:close/>
                  <a:moveTo>
                    <a:pt x="4306532" y="2372386"/>
                  </a:moveTo>
                  <a:cubicBezTo>
                    <a:pt x="4311980" y="2372386"/>
                    <a:pt x="4316698" y="2377105"/>
                    <a:pt x="4316698" y="2382552"/>
                  </a:cubicBezTo>
                  <a:cubicBezTo>
                    <a:pt x="4316698" y="2387999"/>
                    <a:pt x="4312342" y="2392718"/>
                    <a:pt x="4306532" y="2392718"/>
                  </a:cubicBezTo>
                  <a:cubicBezTo>
                    <a:pt x="4301085" y="2392718"/>
                    <a:pt x="4296366" y="2387999"/>
                    <a:pt x="4296366" y="2382552"/>
                  </a:cubicBezTo>
                  <a:cubicBezTo>
                    <a:pt x="4296366" y="2377105"/>
                    <a:pt x="4301085" y="2372386"/>
                    <a:pt x="4306532" y="2372386"/>
                  </a:cubicBezTo>
                  <a:close/>
                  <a:moveTo>
                    <a:pt x="4460476" y="2370571"/>
                  </a:moveTo>
                  <a:cubicBezTo>
                    <a:pt x="4467014" y="2370571"/>
                    <a:pt x="4472460" y="2376019"/>
                    <a:pt x="4472460" y="2382552"/>
                  </a:cubicBezTo>
                  <a:cubicBezTo>
                    <a:pt x="4472460" y="2389090"/>
                    <a:pt x="4467014" y="2394533"/>
                    <a:pt x="4460476" y="2394533"/>
                  </a:cubicBezTo>
                  <a:cubicBezTo>
                    <a:pt x="4453942" y="2394533"/>
                    <a:pt x="4448495" y="2389090"/>
                    <a:pt x="4448495" y="2382552"/>
                  </a:cubicBezTo>
                  <a:cubicBezTo>
                    <a:pt x="4448495" y="2376019"/>
                    <a:pt x="4453942" y="2370571"/>
                    <a:pt x="4460476" y="2370571"/>
                  </a:cubicBezTo>
                  <a:close/>
                  <a:moveTo>
                    <a:pt x="4614065" y="2368753"/>
                  </a:moveTo>
                  <a:cubicBezTo>
                    <a:pt x="4621688" y="2368753"/>
                    <a:pt x="4627860" y="2374924"/>
                    <a:pt x="4627860" y="2382552"/>
                  </a:cubicBezTo>
                  <a:cubicBezTo>
                    <a:pt x="4627860" y="2390176"/>
                    <a:pt x="4621688" y="2396347"/>
                    <a:pt x="4614065" y="2396347"/>
                  </a:cubicBezTo>
                  <a:cubicBezTo>
                    <a:pt x="4606438" y="2396347"/>
                    <a:pt x="4600266" y="2390176"/>
                    <a:pt x="4600266" y="2382552"/>
                  </a:cubicBezTo>
                  <a:cubicBezTo>
                    <a:pt x="4600266" y="2374924"/>
                    <a:pt x="4606438" y="2368753"/>
                    <a:pt x="4614065" y="2368753"/>
                  </a:cubicBezTo>
                  <a:close/>
                  <a:moveTo>
                    <a:pt x="4768008" y="2367304"/>
                  </a:moveTo>
                  <a:cubicBezTo>
                    <a:pt x="4776433" y="2367304"/>
                    <a:pt x="4783260" y="2374131"/>
                    <a:pt x="4783260" y="2382556"/>
                  </a:cubicBezTo>
                  <a:cubicBezTo>
                    <a:pt x="4783260" y="2390976"/>
                    <a:pt x="4776433" y="2397803"/>
                    <a:pt x="4768008" y="2397803"/>
                  </a:cubicBezTo>
                  <a:cubicBezTo>
                    <a:pt x="4759588" y="2397803"/>
                    <a:pt x="4752761" y="2390976"/>
                    <a:pt x="4752761" y="2382556"/>
                  </a:cubicBezTo>
                  <a:cubicBezTo>
                    <a:pt x="4752761" y="2374131"/>
                    <a:pt x="4759588" y="2367304"/>
                    <a:pt x="4768008" y="2367304"/>
                  </a:cubicBezTo>
                  <a:close/>
                  <a:moveTo>
                    <a:pt x="4921594" y="2365486"/>
                  </a:moveTo>
                  <a:cubicBezTo>
                    <a:pt x="4931032" y="2365486"/>
                    <a:pt x="4938660" y="2373110"/>
                    <a:pt x="4938660" y="2382552"/>
                  </a:cubicBezTo>
                  <a:cubicBezTo>
                    <a:pt x="4938660" y="2391990"/>
                    <a:pt x="4931032" y="2399614"/>
                    <a:pt x="4921594" y="2399614"/>
                  </a:cubicBezTo>
                  <a:cubicBezTo>
                    <a:pt x="4912152" y="2399614"/>
                    <a:pt x="4904528" y="2391990"/>
                    <a:pt x="4904528" y="2382552"/>
                  </a:cubicBezTo>
                  <a:cubicBezTo>
                    <a:pt x="4904528" y="2373110"/>
                    <a:pt x="4912152" y="2365486"/>
                    <a:pt x="4921594" y="2365486"/>
                  </a:cubicBezTo>
                  <a:close/>
                  <a:moveTo>
                    <a:pt x="5075541" y="2363309"/>
                  </a:moveTo>
                  <a:cubicBezTo>
                    <a:pt x="5086070" y="2363309"/>
                    <a:pt x="5094784" y="2372024"/>
                    <a:pt x="5094784" y="2382552"/>
                  </a:cubicBezTo>
                  <a:cubicBezTo>
                    <a:pt x="5094784" y="2393084"/>
                    <a:pt x="5086070" y="2401799"/>
                    <a:pt x="5075541" y="2401799"/>
                  </a:cubicBezTo>
                  <a:cubicBezTo>
                    <a:pt x="5065012" y="2401799"/>
                    <a:pt x="5056298" y="2393084"/>
                    <a:pt x="5056298" y="2382552"/>
                  </a:cubicBezTo>
                  <a:cubicBezTo>
                    <a:pt x="5056298" y="2372024"/>
                    <a:pt x="5065012" y="2363309"/>
                    <a:pt x="5075541" y="2363309"/>
                  </a:cubicBezTo>
                  <a:close/>
                  <a:moveTo>
                    <a:pt x="5229126" y="2361129"/>
                  </a:moveTo>
                  <a:cubicBezTo>
                    <a:pt x="5241108" y="2361129"/>
                    <a:pt x="5250546" y="2370571"/>
                    <a:pt x="5250546" y="2382552"/>
                  </a:cubicBezTo>
                  <a:cubicBezTo>
                    <a:pt x="5250546" y="2394533"/>
                    <a:pt x="5240745" y="2403975"/>
                    <a:pt x="5229126" y="2403975"/>
                  </a:cubicBezTo>
                  <a:cubicBezTo>
                    <a:pt x="5217146" y="2403975"/>
                    <a:pt x="5207704" y="2394533"/>
                    <a:pt x="5207704" y="2382552"/>
                  </a:cubicBezTo>
                  <a:cubicBezTo>
                    <a:pt x="5207704" y="2370571"/>
                    <a:pt x="5217146" y="2361129"/>
                    <a:pt x="5229126" y="2361129"/>
                  </a:cubicBezTo>
                  <a:close/>
                  <a:moveTo>
                    <a:pt x="5383074" y="2359677"/>
                  </a:moveTo>
                  <a:cubicBezTo>
                    <a:pt x="5395706" y="2359677"/>
                    <a:pt x="5405946" y="2369919"/>
                    <a:pt x="5405946" y="2382552"/>
                  </a:cubicBezTo>
                  <a:cubicBezTo>
                    <a:pt x="5405946" y="2395185"/>
                    <a:pt x="5395706" y="2405427"/>
                    <a:pt x="5383074" y="2405427"/>
                  </a:cubicBezTo>
                  <a:cubicBezTo>
                    <a:pt x="5370441" y="2405427"/>
                    <a:pt x="5360198" y="2395185"/>
                    <a:pt x="5360198" y="2382552"/>
                  </a:cubicBezTo>
                  <a:cubicBezTo>
                    <a:pt x="5360198" y="2369919"/>
                    <a:pt x="5370441" y="2359677"/>
                    <a:pt x="5383074" y="2359677"/>
                  </a:cubicBezTo>
                  <a:close/>
                  <a:moveTo>
                    <a:pt x="5536656" y="2357500"/>
                  </a:moveTo>
                  <a:cubicBezTo>
                    <a:pt x="5550492" y="2357500"/>
                    <a:pt x="5561711" y="2368715"/>
                    <a:pt x="5561711" y="2382552"/>
                  </a:cubicBezTo>
                  <a:cubicBezTo>
                    <a:pt x="5561711" y="2396389"/>
                    <a:pt x="5550492" y="2407608"/>
                    <a:pt x="5536656" y="2407608"/>
                  </a:cubicBezTo>
                  <a:cubicBezTo>
                    <a:pt x="5522818" y="2407608"/>
                    <a:pt x="5511604" y="2396389"/>
                    <a:pt x="5511604" y="2382552"/>
                  </a:cubicBezTo>
                  <a:cubicBezTo>
                    <a:pt x="5511604" y="2368719"/>
                    <a:pt x="5522818" y="2357500"/>
                    <a:pt x="5536656" y="2357500"/>
                  </a:cubicBezTo>
                  <a:close/>
                  <a:moveTo>
                    <a:pt x="5690606" y="2355320"/>
                  </a:moveTo>
                  <a:cubicBezTo>
                    <a:pt x="5705492" y="2355320"/>
                    <a:pt x="5717838" y="2367663"/>
                    <a:pt x="5717838" y="2382552"/>
                  </a:cubicBezTo>
                  <a:cubicBezTo>
                    <a:pt x="5717838" y="2397437"/>
                    <a:pt x="5705854" y="2409784"/>
                    <a:pt x="5690606" y="2409784"/>
                  </a:cubicBezTo>
                  <a:cubicBezTo>
                    <a:pt x="5675717" y="2409784"/>
                    <a:pt x="5663374" y="2397437"/>
                    <a:pt x="5663374" y="2382552"/>
                  </a:cubicBezTo>
                  <a:cubicBezTo>
                    <a:pt x="5663374" y="2367663"/>
                    <a:pt x="5675717" y="2355320"/>
                    <a:pt x="5690606" y="2355320"/>
                  </a:cubicBezTo>
                  <a:close/>
                  <a:moveTo>
                    <a:pt x="5844554" y="2352781"/>
                  </a:moveTo>
                  <a:cubicBezTo>
                    <a:pt x="5860994" y="2352781"/>
                    <a:pt x="5874325" y="2366111"/>
                    <a:pt x="5874325" y="2382556"/>
                  </a:cubicBezTo>
                  <a:cubicBezTo>
                    <a:pt x="5874325" y="2398997"/>
                    <a:pt x="5860994" y="2412327"/>
                    <a:pt x="5844554" y="2412327"/>
                  </a:cubicBezTo>
                  <a:cubicBezTo>
                    <a:pt x="5828110" y="2412327"/>
                    <a:pt x="5814779" y="2398997"/>
                    <a:pt x="5814779" y="2382556"/>
                  </a:cubicBezTo>
                  <a:cubicBezTo>
                    <a:pt x="5814779" y="2366111"/>
                    <a:pt x="5828110" y="2352781"/>
                    <a:pt x="5844554" y="2352781"/>
                  </a:cubicBezTo>
                  <a:close/>
                  <a:moveTo>
                    <a:pt x="5998139" y="2350601"/>
                  </a:moveTo>
                  <a:cubicBezTo>
                    <a:pt x="6015784" y="2350601"/>
                    <a:pt x="6030090" y="2364907"/>
                    <a:pt x="6030090" y="2382552"/>
                  </a:cubicBezTo>
                  <a:cubicBezTo>
                    <a:pt x="6030090" y="2400197"/>
                    <a:pt x="6015784" y="2414503"/>
                    <a:pt x="5998139" y="2414503"/>
                  </a:cubicBezTo>
                  <a:cubicBezTo>
                    <a:pt x="5980490" y="2414503"/>
                    <a:pt x="5966188" y="2400197"/>
                    <a:pt x="5966188" y="2382552"/>
                  </a:cubicBezTo>
                  <a:cubicBezTo>
                    <a:pt x="5966188" y="2364907"/>
                    <a:pt x="5980490" y="2350601"/>
                    <a:pt x="5998139" y="2350601"/>
                  </a:cubicBezTo>
                  <a:close/>
                  <a:moveTo>
                    <a:pt x="6152086" y="2348786"/>
                  </a:moveTo>
                  <a:cubicBezTo>
                    <a:pt x="6170734" y="2348786"/>
                    <a:pt x="6185852" y="2363904"/>
                    <a:pt x="6185852" y="2382552"/>
                  </a:cubicBezTo>
                  <a:cubicBezTo>
                    <a:pt x="6185852" y="2401204"/>
                    <a:pt x="6170734" y="2416322"/>
                    <a:pt x="6152086" y="2416322"/>
                  </a:cubicBezTo>
                  <a:cubicBezTo>
                    <a:pt x="6133435" y="2416322"/>
                    <a:pt x="6118317" y="2401204"/>
                    <a:pt x="6118317" y="2382552"/>
                  </a:cubicBezTo>
                  <a:cubicBezTo>
                    <a:pt x="6118317" y="2363904"/>
                    <a:pt x="6133435" y="2348786"/>
                    <a:pt x="6152086" y="2348786"/>
                  </a:cubicBezTo>
                  <a:close/>
                  <a:moveTo>
                    <a:pt x="6305668" y="2346244"/>
                  </a:moveTo>
                  <a:cubicBezTo>
                    <a:pt x="6325638" y="2346244"/>
                    <a:pt x="6341976" y="2362581"/>
                    <a:pt x="6341976" y="2382552"/>
                  </a:cubicBezTo>
                  <a:cubicBezTo>
                    <a:pt x="6341976" y="2402523"/>
                    <a:pt x="6325638" y="2418860"/>
                    <a:pt x="6305668" y="2418860"/>
                  </a:cubicBezTo>
                  <a:cubicBezTo>
                    <a:pt x="6285698" y="2418860"/>
                    <a:pt x="6269360" y="2402523"/>
                    <a:pt x="6269360" y="2382552"/>
                  </a:cubicBezTo>
                  <a:cubicBezTo>
                    <a:pt x="6269360" y="2362581"/>
                    <a:pt x="6285698" y="2346244"/>
                    <a:pt x="6305668" y="2346244"/>
                  </a:cubicBezTo>
                  <a:close/>
                  <a:moveTo>
                    <a:pt x="6459619" y="2343701"/>
                  </a:moveTo>
                  <a:cubicBezTo>
                    <a:pt x="6481038" y="2343701"/>
                    <a:pt x="6498470" y="2361129"/>
                    <a:pt x="6498470" y="2382552"/>
                  </a:cubicBezTo>
                  <a:cubicBezTo>
                    <a:pt x="6498470" y="2403971"/>
                    <a:pt x="6481038" y="2421399"/>
                    <a:pt x="6459619" y="2421399"/>
                  </a:cubicBezTo>
                  <a:cubicBezTo>
                    <a:pt x="6438196" y="2421399"/>
                    <a:pt x="6420768" y="2403971"/>
                    <a:pt x="6420768" y="2382552"/>
                  </a:cubicBezTo>
                  <a:cubicBezTo>
                    <a:pt x="6420768" y="2361129"/>
                    <a:pt x="6438196" y="2343701"/>
                    <a:pt x="6459619" y="2343701"/>
                  </a:cubicBezTo>
                  <a:close/>
                  <a:moveTo>
                    <a:pt x="6613200" y="2341524"/>
                  </a:moveTo>
                  <a:cubicBezTo>
                    <a:pt x="6636076" y="2341524"/>
                    <a:pt x="6654232" y="2359681"/>
                    <a:pt x="6654232" y="2382552"/>
                  </a:cubicBezTo>
                  <a:cubicBezTo>
                    <a:pt x="6654232" y="2405427"/>
                    <a:pt x="6635714" y="2423583"/>
                    <a:pt x="6613200" y="2423583"/>
                  </a:cubicBezTo>
                  <a:cubicBezTo>
                    <a:pt x="6590330" y="2423583"/>
                    <a:pt x="6572173" y="2405427"/>
                    <a:pt x="6572173" y="2382552"/>
                  </a:cubicBezTo>
                  <a:cubicBezTo>
                    <a:pt x="6572173" y="2359681"/>
                    <a:pt x="6590330" y="2341524"/>
                    <a:pt x="6613200" y="2341524"/>
                  </a:cubicBezTo>
                  <a:close/>
                  <a:moveTo>
                    <a:pt x="2922458" y="2228605"/>
                  </a:moveTo>
                  <a:cubicBezTo>
                    <a:pt x="2922820" y="2228605"/>
                    <a:pt x="2922820" y="2228605"/>
                    <a:pt x="2922820" y="2228967"/>
                  </a:cubicBezTo>
                  <a:cubicBezTo>
                    <a:pt x="2922820" y="2229333"/>
                    <a:pt x="2922458" y="2229333"/>
                    <a:pt x="2922458" y="2229333"/>
                  </a:cubicBezTo>
                  <a:cubicBezTo>
                    <a:pt x="2922096" y="2229333"/>
                    <a:pt x="2922096" y="2229333"/>
                    <a:pt x="2922096" y="2228967"/>
                  </a:cubicBezTo>
                  <a:cubicBezTo>
                    <a:pt x="2922096" y="2228605"/>
                    <a:pt x="2922096" y="2228605"/>
                    <a:pt x="2922458" y="2228605"/>
                  </a:cubicBezTo>
                  <a:close/>
                  <a:moveTo>
                    <a:pt x="2461340" y="2228605"/>
                  </a:moveTo>
                  <a:cubicBezTo>
                    <a:pt x="2461702" y="2228605"/>
                    <a:pt x="2461702" y="2228605"/>
                    <a:pt x="2461702" y="2228967"/>
                  </a:cubicBezTo>
                  <a:cubicBezTo>
                    <a:pt x="2461702" y="2229333"/>
                    <a:pt x="2461340" y="2229333"/>
                    <a:pt x="2461340" y="2229333"/>
                  </a:cubicBezTo>
                  <a:cubicBezTo>
                    <a:pt x="2460978" y="2229333"/>
                    <a:pt x="2460978" y="2229333"/>
                    <a:pt x="2460978" y="2228967"/>
                  </a:cubicBezTo>
                  <a:cubicBezTo>
                    <a:pt x="2460978" y="2228605"/>
                    <a:pt x="2460978" y="2228605"/>
                    <a:pt x="2461340" y="2228605"/>
                  </a:cubicBezTo>
                  <a:close/>
                  <a:moveTo>
                    <a:pt x="2307393" y="2228605"/>
                  </a:moveTo>
                  <a:cubicBezTo>
                    <a:pt x="2307755" y="2228605"/>
                    <a:pt x="2307755" y="2228605"/>
                    <a:pt x="2307755" y="2228967"/>
                  </a:cubicBezTo>
                  <a:cubicBezTo>
                    <a:pt x="2307755" y="2229333"/>
                    <a:pt x="2307393" y="2229333"/>
                    <a:pt x="2307393" y="2229333"/>
                  </a:cubicBezTo>
                  <a:cubicBezTo>
                    <a:pt x="2307031" y="2229333"/>
                    <a:pt x="2307031" y="2229333"/>
                    <a:pt x="2307031" y="2228967"/>
                  </a:cubicBezTo>
                  <a:cubicBezTo>
                    <a:pt x="2307031" y="2228605"/>
                    <a:pt x="2307031" y="2228605"/>
                    <a:pt x="2307393" y="2228605"/>
                  </a:cubicBezTo>
                  <a:close/>
                  <a:moveTo>
                    <a:pt x="2153811" y="2228243"/>
                  </a:moveTo>
                  <a:cubicBezTo>
                    <a:pt x="2154174" y="2228243"/>
                    <a:pt x="2154536" y="2228605"/>
                    <a:pt x="2154536" y="2228971"/>
                  </a:cubicBezTo>
                  <a:cubicBezTo>
                    <a:pt x="2154536" y="2229333"/>
                    <a:pt x="2153811" y="2229695"/>
                    <a:pt x="2153811" y="2229695"/>
                  </a:cubicBezTo>
                  <a:cubicBezTo>
                    <a:pt x="2153445" y="2229695"/>
                    <a:pt x="2153083" y="2229333"/>
                    <a:pt x="2153083" y="2228971"/>
                  </a:cubicBezTo>
                  <a:cubicBezTo>
                    <a:pt x="2153083" y="2228605"/>
                    <a:pt x="2153445" y="2228243"/>
                    <a:pt x="2153811" y="2228243"/>
                  </a:cubicBezTo>
                  <a:close/>
                  <a:moveTo>
                    <a:pt x="3076406" y="2227152"/>
                  </a:moveTo>
                  <a:cubicBezTo>
                    <a:pt x="3077130" y="2227152"/>
                    <a:pt x="3077858" y="2227880"/>
                    <a:pt x="3077858" y="2228605"/>
                  </a:cubicBezTo>
                  <a:cubicBezTo>
                    <a:pt x="3077858" y="2229333"/>
                    <a:pt x="3076406" y="2230057"/>
                    <a:pt x="3076406" y="2230057"/>
                  </a:cubicBezTo>
                  <a:cubicBezTo>
                    <a:pt x="3075677" y="2230057"/>
                    <a:pt x="3074953" y="2229333"/>
                    <a:pt x="3074953" y="2228605"/>
                  </a:cubicBezTo>
                  <a:cubicBezTo>
                    <a:pt x="3074953" y="2227880"/>
                    <a:pt x="3075677" y="2227152"/>
                    <a:pt x="3076406" y="2227152"/>
                  </a:cubicBezTo>
                  <a:close/>
                  <a:moveTo>
                    <a:pt x="3230353" y="2226428"/>
                  </a:moveTo>
                  <a:cubicBezTo>
                    <a:pt x="3231554" y="2226428"/>
                    <a:pt x="3232530" y="2227404"/>
                    <a:pt x="3232530" y="2228608"/>
                  </a:cubicBezTo>
                  <a:cubicBezTo>
                    <a:pt x="3232530" y="2229809"/>
                    <a:pt x="3231554" y="2230785"/>
                    <a:pt x="3230353" y="2230785"/>
                  </a:cubicBezTo>
                  <a:cubicBezTo>
                    <a:pt x="3229148" y="2230785"/>
                    <a:pt x="3228172" y="2229809"/>
                    <a:pt x="3228172" y="2228608"/>
                  </a:cubicBezTo>
                  <a:cubicBezTo>
                    <a:pt x="3228172" y="2227404"/>
                    <a:pt x="3229148" y="2226428"/>
                    <a:pt x="3230353" y="2226428"/>
                  </a:cubicBezTo>
                  <a:close/>
                  <a:moveTo>
                    <a:pt x="3383934" y="2225700"/>
                  </a:moveTo>
                  <a:cubicBezTo>
                    <a:pt x="3385752" y="2225700"/>
                    <a:pt x="3387205" y="2227152"/>
                    <a:pt x="3387205" y="2228967"/>
                  </a:cubicBezTo>
                  <a:cubicBezTo>
                    <a:pt x="3387205" y="2230781"/>
                    <a:pt x="3385752" y="2232238"/>
                    <a:pt x="3383934" y="2232238"/>
                  </a:cubicBezTo>
                  <a:cubicBezTo>
                    <a:pt x="3382120" y="2232238"/>
                    <a:pt x="3380668" y="2230781"/>
                    <a:pt x="3380668" y="2228967"/>
                  </a:cubicBezTo>
                  <a:cubicBezTo>
                    <a:pt x="3380668" y="2227152"/>
                    <a:pt x="3382120" y="2225700"/>
                    <a:pt x="3383934" y="2225700"/>
                  </a:cubicBezTo>
                  <a:close/>
                  <a:moveTo>
                    <a:pt x="3537886" y="2224248"/>
                  </a:moveTo>
                  <a:cubicBezTo>
                    <a:pt x="3540428" y="2224248"/>
                    <a:pt x="3542242" y="2226062"/>
                    <a:pt x="3542242" y="2228605"/>
                  </a:cubicBezTo>
                  <a:cubicBezTo>
                    <a:pt x="3542242" y="2231147"/>
                    <a:pt x="3540062" y="2232962"/>
                    <a:pt x="3537886" y="2232962"/>
                  </a:cubicBezTo>
                  <a:cubicBezTo>
                    <a:pt x="3535343" y="2232962"/>
                    <a:pt x="3533528" y="2231147"/>
                    <a:pt x="3533528" y="2228605"/>
                  </a:cubicBezTo>
                  <a:cubicBezTo>
                    <a:pt x="3533528" y="2226062"/>
                    <a:pt x="3535343" y="2224248"/>
                    <a:pt x="3537886" y="2224248"/>
                  </a:cubicBezTo>
                  <a:close/>
                  <a:moveTo>
                    <a:pt x="3691467" y="2222795"/>
                  </a:moveTo>
                  <a:cubicBezTo>
                    <a:pt x="3694676" y="2222795"/>
                    <a:pt x="3697276" y="2225395"/>
                    <a:pt x="3697276" y="2228605"/>
                  </a:cubicBezTo>
                  <a:cubicBezTo>
                    <a:pt x="3697276" y="2231814"/>
                    <a:pt x="3694676" y="2234414"/>
                    <a:pt x="3691467" y="2234414"/>
                  </a:cubicBezTo>
                  <a:cubicBezTo>
                    <a:pt x="3688257" y="2234414"/>
                    <a:pt x="3685658" y="2231814"/>
                    <a:pt x="3685658" y="2228605"/>
                  </a:cubicBezTo>
                  <a:cubicBezTo>
                    <a:pt x="3685658" y="2225395"/>
                    <a:pt x="3688257" y="2222795"/>
                    <a:pt x="3691467" y="2222795"/>
                  </a:cubicBezTo>
                  <a:close/>
                  <a:moveTo>
                    <a:pt x="3845414" y="2221343"/>
                  </a:moveTo>
                  <a:cubicBezTo>
                    <a:pt x="3849409" y="2221343"/>
                    <a:pt x="3852676" y="2224610"/>
                    <a:pt x="3852676" y="2228605"/>
                  </a:cubicBezTo>
                  <a:cubicBezTo>
                    <a:pt x="3852676" y="2232599"/>
                    <a:pt x="3849409" y="2235866"/>
                    <a:pt x="3845414" y="2235866"/>
                  </a:cubicBezTo>
                  <a:cubicBezTo>
                    <a:pt x="3841420" y="2235866"/>
                    <a:pt x="3838153" y="2232599"/>
                    <a:pt x="3838153" y="2228605"/>
                  </a:cubicBezTo>
                  <a:cubicBezTo>
                    <a:pt x="3838153" y="2224610"/>
                    <a:pt x="3841420" y="2221343"/>
                    <a:pt x="3845414" y="2221343"/>
                  </a:cubicBezTo>
                  <a:close/>
                  <a:moveTo>
                    <a:pt x="3999000" y="2219528"/>
                  </a:moveTo>
                  <a:cubicBezTo>
                    <a:pt x="4004085" y="2219528"/>
                    <a:pt x="4008080" y="2223523"/>
                    <a:pt x="4008080" y="2228605"/>
                  </a:cubicBezTo>
                  <a:cubicBezTo>
                    <a:pt x="4008080" y="2233690"/>
                    <a:pt x="4004085" y="2237685"/>
                    <a:pt x="3999000" y="2237685"/>
                  </a:cubicBezTo>
                  <a:cubicBezTo>
                    <a:pt x="3993918" y="2237685"/>
                    <a:pt x="3989924" y="2233690"/>
                    <a:pt x="3989924" y="2228605"/>
                  </a:cubicBezTo>
                  <a:cubicBezTo>
                    <a:pt x="3989924" y="2223523"/>
                    <a:pt x="3993918" y="2219528"/>
                    <a:pt x="3999000" y="2219528"/>
                  </a:cubicBezTo>
                  <a:close/>
                  <a:moveTo>
                    <a:pt x="4152947" y="2218800"/>
                  </a:moveTo>
                  <a:cubicBezTo>
                    <a:pt x="4158394" y="2218800"/>
                    <a:pt x="4163114" y="2223520"/>
                    <a:pt x="4163114" y="2228967"/>
                  </a:cubicBezTo>
                  <a:cubicBezTo>
                    <a:pt x="4163114" y="2234414"/>
                    <a:pt x="4158756" y="2239133"/>
                    <a:pt x="4152947" y="2239133"/>
                  </a:cubicBezTo>
                  <a:cubicBezTo>
                    <a:pt x="4147500" y="2239133"/>
                    <a:pt x="4142780" y="2234414"/>
                    <a:pt x="4142780" y="2228967"/>
                  </a:cubicBezTo>
                  <a:cubicBezTo>
                    <a:pt x="4142780" y="2223520"/>
                    <a:pt x="4147500" y="2218800"/>
                    <a:pt x="4152947" y="2218800"/>
                  </a:cubicBezTo>
                  <a:close/>
                  <a:moveTo>
                    <a:pt x="4306532" y="2216624"/>
                  </a:moveTo>
                  <a:cubicBezTo>
                    <a:pt x="4313070" y="2216624"/>
                    <a:pt x="4318517" y="2222071"/>
                    <a:pt x="4318517" y="2228605"/>
                  </a:cubicBezTo>
                  <a:cubicBezTo>
                    <a:pt x="4318517" y="2235142"/>
                    <a:pt x="4313070" y="2240585"/>
                    <a:pt x="4306532" y="2240585"/>
                  </a:cubicBezTo>
                  <a:cubicBezTo>
                    <a:pt x="4299998" y="2240585"/>
                    <a:pt x="4294552" y="2235142"/>
                    <a:pt x="4294552" y="2228605"/>
                  </a:cubicBezTo>
                  <a:cubicBezTo>
                    <a:pt x="4294552" y="2222071"/>
                    <a:pt x="4299998" y="2216624"/>
                    <a:pt x="4306532" y="2216624"/>
                  </a:cubicBezTo>
                  <a:close/>
                  <a:moveTo>
                    <a:pt x="4460480" y="2214809"/>
                  </a:moveTo>
                  <a:cubicBezTo>
                    <a:pt x="4468100" y="2214809"/>
                    <a:pt x="4474275" y="2220989"/>
                    <a:pt x="4474275" y="2228608"/>
                  </a:cubicBezTo>
                  <a:cubicBezTo>
                    <a:pt x="4474275" y="2236229"/>
                    <a:pt x="4468100" y="2242404"/>
                    <a:pt x="4460480" y="2242404"/>
                  </a:cubicBezTo>
                  <a:cubicBezTo>
                    <a:pt x="4452860" y="2242404"/>
                    <a:pt x="4446680" y="2236229"/>
                    <a:pt x="4446680" y="2228608"/>
                  </a:cubicBezTo>
                  <a:cubicBezTo>
                    <a:pt x="4446680" y="2220989"/>
                    <a:pt x="4452860" y="2214809"/>
                    <a:pt x="4460480" y="2214809"/>
                  </a:cubicBezTo>
                  <a:close/>
                  <a:moveTo>
                    <a:pt x="4614061" y="2213357"/>
                  </a:moveTo>
                  <a:cubicBezTo>
                    <a:pt x="4622486" y="2213357"/>
                    <a:pt x="4629312" y="2220184"/>
                    <a:pt x="4629312" y="2228608"/>
                  </a:cubicBezTo>
                  <a:cubicBezTo>
                    <a:pt x="4629312" y="2237029"/>
                    <a:pt x="4622486" y="2243856"/>
                    <a:pt x="4614061" y="2243856"/>
                  </a:cubicBezTo>
                  <a:cubicBezTo>
                    <a:pt x="4605640" y="2243856"/>
                    <a:pt x="4598814" y="2237029"/>
                    <a:pt x="4598814" y="2228608"/>
                  </a:cubicBezTo>
                  <a:cubicBezTo>
                    <a:pt x="4598814" y="2220184"/>
                    <a:pt x="4605640" y="2213357"/>
                    <a:pt x="4614061" y="2213357"/>
                  </a:cubicBezTo>
                  <a:close/>
                  <a:moveTo>
                    <a:pt x="4768012" y="2211539"/>
                  </a:moveTo>
                  <a:cubicBezTo>
                    <a:pt x="4777450" y="2211539"/>
                    <a:pt x="4785078" y="2219163"/>
                    <a:pt x="4785078" y="2228605"/>
                  </a:cubicBezTo>
                  <a:cubicBezTo>
                    <a:pt x="4785078" y="2238043"/>
                    <a:pt x="4777450" y="2245667"/>
                    <a:pt x="4768012" y="2245667"/>
                  </a:cubicBezTo>
                  <a:cubicBezTo>
                    <a:pt x="4758570" y="2245667"/>
                    <a:pt x="4750946" y="2238043"/>
                    <a:pt x="4750946" y="2228605"/>
                  </a:cubicBezTo>
                  <a:cubicBezTo>
                    <a:pt x="4750946" y="2219163"/>
                    <a:pt x="4758570" y="2211539"/>
                    <a:pt x="4768012" y="2211539"/>
                  </a:cubicBezTo>
                  <a:close/>
                  <a:moveTo>
                    <a:pt x="4921594" y="2209362"/>
                  </a:moveTo>
                  <a:cubicBezTo>
                    <a:pt x="4932126" y="2209362"/>
                    <a:pt x="4940836" y="2218076"/>
                    <a:pt x="4940836" y="2228605"/>
                  </a:cubicBezTo>
                  <a:cubicBezTo>
                    <a:pt x="4940836" y="2239133"/>
                    <a:pt x="4932126" y="2247851"/>
                    <a:pt x="4921594" y="2247851"/>
                  </a:cubicBezTo>
                  <a:cubicBezTo>
                    <a:pt x="4911066" y="2247851"/>
                    <a:pt x="4902352" y="2239133"/>
                    <a:pt x="4902352" y="2228605"/>
                  </a:cubicBezTo>
                  <a:cubicBezTo>
                    <a:pt x="4902352" y="2218076"/>
                    <a:pt x="4911066" y="2209362"/>
                    <a:pt x="4921594" y="2209362"/>
                  </a:cubicBezTo>
                  <a:close/>
                  <a:moveTo>
                    <a:pt x="5075541" y="2207182"/>
                  </a:moveTo>
                  <a:cubicBezTo>
                    <a:pt x="5087522" y="2207182"/>
                    <a:pt x="5096964" y="2216620"/>
                    <a:pt x="5096964" y="2228605"/>
                  </a:cubicBezTo>
                  <a:cubicBezTo>
                    <a:pt x="5096964" y="2240585"/>
                    <a:pt x="5087160" y="2250027"/>
                    <a:pt x="5075541" y="2250027"/>
                  </a:cubicBezTo>
                  <a:cubicBezTo>
                    <a:pt x="5063560" y="2250027"/>
                    <a:pt x="5054118" y="2240585"/>
                    <a:pt x="5054118" y="2228605"/>
                  </a:cubicBezTo>
                  <a:cubicBezTo>
                    <a:pt x="5054118" y="2216620"/>
                    <a:pt x="5063560" y="2207182"/>
                    <a:pt x="5075541" y="2207182"/>
                  </a:cubicBezTo>
                  <a:close/>
                  <a:moveTo>
                    <a:pt x="5229126" y="2205729"/>
                  </a:moveTo>
                  <a:cubicBezTo>
                    <a:pt x="5241759" y="2205729"/>
                    <a:pt x="5251998" y="2215972"/>
                    <a:pt x="5251998" y="2228605"/>
                  </a:cubicBezTo>
                  <a:cubicBezTo>
                    <a:pt x="5251998" y="2241237"/>
                    <a:pt x="5241759" y="2251480"/>
                    <a:pt x="5229126" y="2251480"/>
                  </a:cubicBezTo>
                  <a:cubicBezTo>
                    <a:pt x="5216494" y="2251480"/>
                    <a:pt x="5206251" y="2241237"/>
                    <a:pt x="5206251" y="2228605"/>
                  </a:cubicBezTo>
                  <a:cubicBezTo>
                    <a:pt x="5206251" y="2215972"/>
                    <a:pt x="5216494" y="2205729"/>
                    <a:pt x="5229126" y="2205729"/>
                  </a:cubicBezTo>
                  <a:close/>
                  <a:moveTo>
                    <a:pt x="5383074" y="2203915"/>
                  </a:moveTo>
                  <a:cubicBezTo>
                    <a:pt x="5396873" y="2203915"/>
                    <a:pt x="5408126" y="2215172"/>
                    <a:pt x="5408126" y="2228967"/>
                  </a:cubicBezTo>
                  <a:cubicBezTo>
                    <a:pt x="5408126" y="2242766"/>
                    <a:pt x="5396873" y="2254023"/>
                    <a:pt x="5383074" y="2254023"/>
                  </a:cubicBezTo>
                  <a:cubicBezTo>
                    <a:pt x="5369278" y="2254023"/>
                    <a:pt x="5358022" y="2242766"/>
                    <a:pt x="5358022" y="2228967"/>
                  </a:cubicBezTo>
                  <a:cubicBezTo>
                    <a:pt x="5358022" y="2215172"/>
                    <a:pt x="5369278" y="2203915"/>
                    <a:pt x="5383074" y="2203915"/>
                  </a:cubicBezTo>
                  <a:close/>
                  <a:moveTo>
                    <a:pt x="5536659" y="2201734"/>
                  </a:moveTo>
                  <a:cubicBezTo>
                    <a:pt x="5551544" y="2201734"/>
                    <a:pt x="5563892" y="2214081"/>
                    <a:pt x="5563892" y="2228967"/>
                  </a:cubicBezTo>
                  <a:cubicBezTo>
                    <a:pt x="5563892" y="2243852"/>
                    <a:pt x="5551906" y="2256199"/>
                    <a:pt x="5536659" y="2256199"/>
                  </a:cubicBezTo>
                  <a:cubicBezTo>
                    <a:pt x="5521770" y="2256199"/>
                    <a:pt x="5509427" y="2243852"/>
                    <a:pt x="5509427" y="2228967"/>
                  </a:cubicBezTo>
                  <a:cubicBezTo>
                    <a:pt x="5509427" y="2214081"/>
                    <a:pt x="5521770" y="2201734"/>
                    <a:pt x="5536659" y="2201734"/>
                  </a:cubicBezTo>
                  <a:close/>
                  <a:moveTo>
                    <a:pt x="5690606" y="2198834"/>
                  </a:moveTo>
                  <a:cubicBezTo>
                    <a:pt x="5707047" y="2198834"/>
                    <a:pt x="5720378" y="2212164"/>
                    <a:pt x="5720378" y="2228608"/>
                  </a:cubicBezTo>
                  <a:cubicBezTo>
                    <a:pt x="5720378" y="2245049"/>
                    <a:pt x="5707047" y="2258379"/>
                    <a:pt x="5690606" y="2258379"/>
                  </a:cubicBezTo>
                  <a:cubicBezTo>
                    <a:pt x="5674162" y="2258379"/>
                    <a:pt x="5660832" y="2245049"/>
                    <a:pt x="5660832" y="2228608"/>
                  </a:cubicBezTo>
                  <a:cubicBezTo>
                    <a:pt x="5660832" y="2212164"/>
                    <a:pt x="5674162" y="2198834"/>
                    <a:pt x="5690606" y="2198834"/>
                  </a:cubicBezTo>
                  <a:close/>
                  <a:moveTo>
                    <a:pt x="5844554" y="2197015"/>
                  </a:moveTo>
                  <a:cubicBezTo>
                    <a:pt x="5862344" y="2197015"/>
                    <a:pt x="5876506" y="2211177"/>
                    <a:pt x="5876506" y="2228967"/>
                  </a:cubicBezTo>
                  <a:cubicBezTo>
                    <a:pt x="5876506" y="2246757"/>
                    <a:pt x="5862344" y="2260918"/>
                    <a:pt x="5844554" y="2260918"/>
                  </a:cubicBezTo>
                  <a:cubicBezTo>
                    <a:pt x="5826764" y="2260918"/>
                    <a:pt x="5812602" y="2246757"/>
                    <a:pt x="5812602" y="2228967"/>
                  </a:cubicBezTo>
                  <a:cubicBezTo>
                    <a:pt x="5812602" y="2211177"/>
                    <a:pt x="5826764" y="2197015"/>
                    <a:pt x="5844554" y="2197015"/>
                  </a:cubicBezTo>
                  <a:close/>
                  <a:moveTo>
                    <a:pt x="5998136" y="2194839"/>
                  </a:moveTo>
                  <a:cubicBezTo>
                    <a:pt x="6016783" y="2194839"/>
                    <a:pt x="6031901" y="2209957"/>
                    <a:pt x="6031901" y="2228605"/>
                  </a:cubicBezTo>
                  <a:cubicBezTo>
                    <a:pt x="6031901" y="2247256"/>
                    <a:pt x="6016783" y="2262374"/>
                    <a:pt x="5998136" y="2262374"/>
                  </a:cubicBezTo>
                  <a:cubicBezTo>
                    <a:pt x="5979488" y="2262374"/>
                    <a:pt x="5964370" y="2247256"/>
                    <a:pt x="5964370" y="2228605"/>
                  </a:cubicBezTo>
                  <a:cubicBezTo>
                    <a:pt x="5964370" y="2209957"/>
                    <a:pt x="5979488" y="2194839"/>
                    <a:pt x="5998136" y="2194839"/>
                  </a:cubicBezTo>
                  <a:close/>
                  <a:moveTo>
                    <a:pt x="6152083" y="2192296"/>
                  </a:moveTo>
                  <a:cubicBezTo>
                    <a:pt x="6172054" y="2192296"/>
                    <a:pt x="6188391" y="2208634"/>
                    <a:pt x="6188391" y="2228605"/>
                  </a:cubicBezTo>
                  <a:cubicBezTo>
                    <a:pt x="6188391" y="2248575"/>
                    <a:pt x="6172054" y="2264913"/>
                    <a:pt x="6152083" y="2264913"/>
                  </a:cubicBezTo>
                  <a:cubicBezTo>
                    <a:pt x="6132112" y="2264913"/>
                    <a:pt x="6115774" y="2248575"/>
                    <a:pt x="6115774" y="2228605"/>
                  </a:cubicBezTo>
                  <a:cubicBezTo>
                    <a:pt x="6115774" y="2208634"/>
                    <a:pt x="6132112" y="2192296"/>
                    <a:pt x="6152083" y="2192296"/>
                  </a:cubicBezTo>
                  <a:close/>
                  <a:moveTo>
                    <a:pt x="6305672" y="2189754"/>
                  </a:moveTo>
                  <a:cubicBezTo>
                    <a:pt x="6327091" y="2189754"/>
                    <a:pt x="6344522" y="2207182"/>
                    <a:pt x="6344522" y="2228605"/>
                  </a:cubicBezTo>
                  <a:cubicBezTo>
                    <a:pt x="6344522" y="2250024"/>
                    <a:pt x="6327091" y="2267452"/>
                    <a:pt x="6305672" y="2267452"/>
                  </a:cubicBezTo>
                  <a:cubicBezTo>
                    <a:pt x="6284249" y="2267452"/>
                    <a:pt x="6266821" y="2250024"/>
                    <a:pt x="6266821" y="2228605"/>
                  </a:cubicBezTo>
                  <a:cubicBezTo>
                    <a:pt x="6266821" y="2207182"/>
                    <a:pt x="6284249" y="2189754"/>
                    <a:pt x="6305672" y="2189754"/>
                  </a:cubicBezTo>
                  <a:close/>
                  <a:moveTo>
                    <a:pt x="6459616" y="2187577"/>
                  </a:moveTo>
                  <a:cubicBezTo>
                    <a:pt x="6482490" y="2187577"/>
                    <a:pt x="6500646" y="2205733"/>
                    <a:pt x="6500646" y="2228605"/>
                  </a:cubicBezTo>
                  <a:cubicBezTo>
                    <a:pt x="6500646" y="2251480"/>
                    <a:pt x="6482128" y="2269632"/>
                    <a:pt x="6459616" y="2269632"/>
                  </a:cubicBezTo>
                  <a:cubicBezTo>
                    <a:pt x="6436744" y="2269632"/>
                    <a:pt x="6418588" y="2251480"/>
                    <a:pt x="6418588" y="2228605"/>
                  </a:cubicBezTo>
                  <a:cubicBezTo>
                    <a:pt x="6418588" y="2205733"/>
                    <a:pt x="6436744" y="2187577"/>
                    <a:pt x="6459616" y="2187577"/>
                  </a:cubicBezTo>
                  <a:close/>
                  <a:moveTo>
                    <a:pt x="6613200" y="2185035"/>
                  </a:moveTo>
                  <a:cubicBezTo>
                    <a:pt x="6637262" y="2185035"/>
                    <a:pt x="6656770" y="2204540"/>
                    <a:pt x="6656770" y="2228605"/>
                  </a:cubicBezTo>
                  <a:cubicBezTo>
                    <a:pt x="6656770" y="2252669"/>
                    <a:pt x="6637265" y="2272175"/>
                    <a:pt x="6613200" y="2272175"/>
                  </a:cubicBezTo>
                  <a:cubicBezTo>
                    <a:pt x="6589136" y="2272175"/>
                    <a:pt x="6569630" y="2252669"/>
                    <a:pt x="6569630" y="2228605"/>
                  </a:cubicBezTo>
                  <a:cubicBezTo>
                    <a:pt x="6569630" y="2204540"/>
                    <a:pt x="6589136" y="2185035"/>
                    <a:pt x="6613200" y="2185035"/>
                  </a:cubicBezTo>
                  <a:close/>
                  <a:moveTo>
                    <a:pt x="2768873" y="2074657"/>
                  </a:moveTo>
                  <a:cubicBezTo>
                    <a:pt x="2769235" y="2074657"/>
                    <a:pt x="2769235" y="2074657"/>
                    <a:pt x="2769235" y="2075019"/>
                  </a:cubicBezTo>
                  <a:cubicBezTo>
                    <a:pt x="2769235" y="2075385"/>
                    <a:pt x="2768873" y="2075385"/>
                    <a:pt x="2768873" y="2075385"/>
                  </a:cubicBezTo>
                  <a:cubicBezTo>
                    <a:pt x="2768511" y="2075385"/>
                    <a:pt x="2768511" y="2075385"/>
                    <a:pt x="2768511" y="2075019"/>
                  </a:cubicBezTo>
                  <a:cubicBezTo>
                    <a:pt x="2768511" y="2074657"/>
                    <a:pt x="2768511" y="2074657"/>
                    <a:pt x="2768873" y="2074657"/>
                  </a:cubicBezTo>
                  <a:close/>
                  <a:moveTo>
                    <a:pt x="2307393" y="2074657"/>
                  </a:moveTo>
                  <a:cubicBezTo>
                    <a:pt x="2307755" y="2074657"/>
                    <a:pt x="2307755" y="2074657"/>
                    <a:pt x="2307755" y="2075019"/>
                  </a:cubicBezTo>
                  <a:cubicBezTo>
                    <a:pt x="2307755" y="2075385"/>
                    <a:pt x="2307393" y="2075385"/>
                    <a:pt x="2307393" y="2075385"/>
                  </a:cubicBezTo>
                  <a:cubicBezTo>
                    <a:pt x="2307031" y="2075385"/>
                    <a:pt x="2307031" y="2075385"/>
                    <a:pt x="2307031" y="2075019"/>
                  </a:cubicBezTo>
                  <a:cubicBezTo>
                    <a:pt x="2307031" y="2074657"/>
                    <a:pt x="2307031" y="2074657"/>
                    <a:pt x="2307393" y="2074657"/>
                  </a:cubicBezTo>
                  <a:close/>
                  <a:moveTo>
                    <a:pt x="2153808" y="2074657"/>
                  </a:moveTo>
                  <a:cubicBezTo>
                    <a:pt x="2154170" y="2074657"/>
                    <a:pt x="2154170" y="2074657"/>
                    <a:pt x="2154170" y="2075019"/>
                  </a:cubicBezTo>
                  <a:cubicBezTo>
                    <a:pt x="2154170" y="2075385"/>
                    <a:pt x="2153808" y="2075385"/>
                    <a:pt x="2153808" y="2075385"/>
                  </a:cubicBezTo>
                  <a:cubicBezTo>
                    <a:pt x="2153445" y="2075385"/>
                    <a:pt x="2153445" y="2075385"/>
                    <a:pt x="2153445" y="2075019"/>
                  </a:cubicBezTo>
                  <a:cubicBezTo>
                    <a:pt x="2153445" y="2074657"/>
                    <a:pt x="2153445" y="2074657"/>
                    <a:pt x="2153808" y="2074657"/>
                  </a:cubicBezTo>
                  <a:close/>
                  <a:moveTo>
                    <a:pt x="1999864" y="2074295"/>
                  </a:moveTo>
                  <a:cubicBezTo>
                    <a:pt x="2000264" y="2074295"/>
                    <a:pt x="2000588" y="2074619"/>
                    <a:pt x="2000588" y="2075023"/>
                  </a:cubicBezTo>
                  <a:cubicBezTo>
                    <a:pt x="2000588" y="2075423"/>
                    <a:pt x="2000264" y="2075747"/>
                    <a:pt x="1999864" y="2075747"/>
                  </a:cubicBezTo>
                  <a:cubicBezTo>
                    <a:pt x="1999460" y="2075747"/>
                    <a:pt x="1999136" y="2075423"/>
                    <a:pt x="1999136" y="2075023"/>
                  </a:cubicBezTo>
                  <a:cubicBezTo>
                    <a:pt x="1999136" y="2074619"/>
                    <a:pt x="1999460" y="2074295"/>
                    <a:pt x="1999864" y="2074295"/>
                  </a:cubicBezTo>
                  <a:close/>
                  <a:moveTo>
                    <a:pt x="2922458" y="2073205"/>
                  </a:moveTo>
                  <a:cubicBezTo>
                    <a:pt x="2923186" y="2073205"/>
                    <a:pt x="2923910" y="2073933"/>
                    <a:pt x="2923910" y="2074657"/>
                  </a:cubicBezTo>
                  <a:cubicBezTo>
                    <a:pt x="2923910" y="2075385"/>
                    <a:pt x="2922458" y="2076110"/>
                    <a:pt x="2922458" y="2076110"/>
                  </a:cubicBezTo>
                  <a:cubicBezTo>
                    <a:pt x="2921734" y="2076110"/>
                    <a:pt x="2921006" y="2075385"/>
                    <a:pt x="2921006" y="2074657"/>
                  </a:cubicBezTo>
                  <a:cubicBezTo>
                    <a:pt x="2921006" y="2073933"/>
                    <a:pt x="2921734" y="2073205"/>
                    <a:pt x="2922458" y="2073205"/>
                  </a:cubicBezTo>
                  <a:close/>
                  <a:moveTo>
                    <a:pt x="3076406" y="2072843"/>
                  </a:moveTo>
                  <a:cubicBezTo>
                    <a:pt x="3077496" y="2072843"/>
                    <a:pt x="3078582" y="2073933"/>
                    <a:pt x="3078582" y="2075023"/>
                  </a:cubicBezTo>
                  <a:cubicBezTo>
                    <a:pt x="3078582" y="2076110"/>
                    <a:pt x="3076406" y="2077200"/>
                    <a:pt x="3076406" y="2077200"/>
                  </a:cubicBezTo>
                  <a:cubicBezTo>
                    <a:pt x="3075315" y="2077200"/>
                    <a:pt x="3074225" y="2076110"/>
                    <a:pt x="3074225" y="2075023"/>
                  </a:cubicBezTo>
                  <a:cubicBezTo>
                    <a:pt x="3074225" y="2073933"/>
                    <a:pt x="3075315" y="2072843"/>
                    <a:pt x="3076406" y="2072843"/>
                  </a:cubicBezTo>
                  <a:close/>
                  <a:moveTo>
                    <a:pt x="3230353" y="2071753"/>
                  </a:moveTo>
                  <a:cubicBezTo>
                    <a:pt x="3232167" y="2071753"/>
                    <a:pt x="3233620" y="2073205"/>
                    <a:pt x="3233620" y="2075019"/>
                  </a:cubicBezTo>
                  <a:cubicBezTo>
                    <a:pt x="3233620" y="2076834"/>
                    <a:pt x="3232167" y="2078290"/>
                    <a:pt x="3230353" y="2078290"/>
                  </a:cubicBezTo>
                  <a:cubicBezTo>
                    <a:pt x="3228538" y="2078290"/>
                    <a:pt x="3227086" y="2076834"/>
                    <a:pt x="3227086" y="2075019"/>
                  </a:cubicBezTo>
                  <a:cubicBezTo>
                    <a:pt x="3227086" y="2073205"/>
                    <a:pt x="3228538" y="2071753"/>
                    <a:pt x="3230353" y="2071753"/>
                  </a:cubicBezTo>
                  <a:close/>
                  <a:moveTo>
                    <a:pt x="3383934" y="2070662"/>
                  </a:moveTo>
                  <a:cubicBezTo>
                    <a:pt x="3386477" y="2070662"/>
                    <a:pt x="3388291" y="2072477"/>
                    <a:pt x="3388291" y="2075019"/>
                  </a:cubicBezTo>
                  <a:cubicBezTo>
                    <a:pt x="3388291" y="2077562"/>
                    <a:pt x="3386115" y="2079376"/>
                    <a:pt x="3383934" y="2079376"/>
                  </a:cubicBezTo>
                  <a:cubicBezTo>
                    <a:pt x="3381392" y="2079376"/>
                    <a:pt x="3379577" y="2077562"/>
                    <a:pt x="3379577" y="2075019"/>
                  </a:cubicBezTo>
                  <a:cubicBezTo>
                    <a:pt x="3379577" y="2072477"/>
                    <a:pt x="3381392" y="2070662"/>
                    <a:pt x="3383934" y="2070662"/>
                  </a:cubicBezTo>
                  <a:close/>
                  <a:moveTo>
                    <a:pt x="3537886" y="2069210"/>
                  </a:moveTo>
                  <a:cubicBezTo>
                    <a:pt x="3541152" y="2069210"/>
                    <a:pt x="3543695" y="2071753"/>
                    <a:pt x="3543695" y="2075019"/>
                  </a:cubicBezTo>
                  <a:cubicBezTo>
                    <a:pt x="3543695" y="2078286"/>
                    <a:pt x="3541152" y="2080829"/>
                    <a:pt x="3537886" y="2080829"/>
                  </a:cubicBezTo>
                  <a:cubicBezTo>
                    <a:pt x="3534619" y="2080829"/>
                    <a:pt x="3532076" y="2078286"/>
                    <a:pt x="3532076" y="2075019"/>
                  </a:cubicBezTo>
                  <a:cubicBezTo>
                    <a:pt x="3532076" y="2071753"/>
                    <a:pt x="3534619" y="2069210"/>
                    <a:pt x="3537886" y="2069210"/>
                  </a:cubicBezTo>
                  <a:close/>
                  <a:moveTo>
                    <a:pt x="3691467" y="2067758"/>
                  </a:moveTo>
                  <a:cubicBezTo>
                    <a:pt x="3695462" y="2067758"/>
                    <a:pt x="3698728" y="2071025"/>
                    <a:pt x="3698728" y="2075019"/>
                  </a:cubicBezTo>
                  <a:cubicBezTo>
                    <a:pt x="3698728" y="2079014"/>
                    <a:pt x="3695462" y="2082281"/>
                    <a:pt x="3691467" y="2082281"/>
                  </a:cubicBezTo>
                  <a:cubicBezTo>
                    <a:pt x="3687472" y="2082281"/>
                    <a:pt x="3684205" y="2079014"/>
                    <a:pt x="3684205" y="2075019"/>
                  </a:cubicBezTo>
                  <a:cubicBezTo>
                    <a:pt x="3684205" y="2071025"/>
                    <a:pt x="3687472" y="2067758"/>
                    <a:pt x="3691467" y="2067758"/>
                  </a:cubicBezTo>
                  <a:close/>
                  <a:moveTo>
                    <a:pt x="3845414" y="2065943"/>
                  </a:moveTo>
                  <a:cubicBezTo>
                    <a:pt x="3850500" y="2065943"/>
                    <a:pt x="3854494" y="2069938"/>
                    <a:pt x="3854494" y="2075019"/>
                  </a:cubicBezTo>
                  <a:cubicBezTo>
                    <a:pt x="3854494" y="2080104"/>
                    <a:pt x="3850500" y="2084099"/>
                    <a:pt x="3845414" y="2084099"/>
                  </a:cubicBezTo>
                  <a:cubicBezTo>
                    <a:pt x="3840333" y="2084099"/>
                    <a:pt x="3836338" y="2080104"/>
                    <a:pt x="3836338" y="2075019"/>
                  </a:cubicBezTo>
                  <a:cubicBezTo>
                    <a:pt x="3836338" y="2069938"/>
                    <a:pt x="3840333" y="2065943"/>
                    <a:pt x="3845414" y="2065943"/>
                  </a:cubicBezTo>
                  <a:close/>
                  <a:moveTo>
                    <a:pt x="3999000" y="2064853"/>
                  </a:moveTo>
                  <a:cubicBezTo>
                    <a:pt x="4004447" y="2064853"/>
                    <a:pt x="4009166" y="2069572"/>
                    <a:pt x="4009166" y="2075019"/>
                  </a:cubicBezTo>
                  <a:cubicBezTo>
                    <a:pt x="4009166" y="2080467"/>
                    <a:pt x="4004809" y="2085186"/>
                    <a:pt x="3999000" y="2085186"/>
                  </a:cubicBezTo>
                  <a:cubicBezTo>
                    <a:pt x="3993552" y="2085186"/>
                    <a:pt x="3988833" y="2080467"/>
                    <a:pt x="3988833" y="2075019"/>
                  </a:cubicBezTo>
                  <a:cubicBezTo>
                    <a:pt x="3988833" y="2069572"/>
                    <a:pt x="3993552" y="2064853"/>
                    <a:pt x="3999000" y="2064853"/>
                  </a:cubicBezTo>
                  <a:close/>
                  <a:moveTo>
                    <a:pt x="4152947" y="2063038"/>
                  </a:moveTo>
                  <a:cubicBezTo>
                    <a:pt x="4159484" y="2063038"/>
                    <a:pt x="4164932" y="2068486"/>
                    <a:pt x="4164932" y="2075019"/>
                  </a:cubicBezTo>
                  <a:cubicBezTo>
                    <a:pt x="4164932" y="2081557"/>
                    <a:pt x="4159484" y="2087000"/>
                    <a:pt x="4152947" y="2087000"/>
                  </a:cubicBezTo>
                  <a:cubicBezTo>
                    <a:pt x="4146414" y="2087000"/>
                    <a:pt x="4140966" y="2081557"/>
                    <a:pt x="4140966" y="2075019"/>
                  </a:cubicBezTo>
                  <a:cubicBezTo>
                    <a:pt x="4140966" y="2068486"/>
                    <a:pt x="4146414" y="2063038"/>
                    <a:pt x="4152947" y="2063038"/>
                  </a:cubicBezTo>
                  <a:close/>
                  <a:moveTo>
                    <a:pt x="4306528" y="2061224"/>
                  </a:moveTo>
                  <a:cubicBezTo>
                    <a:pt x="4314156" y="2061224"/>
                    <a:pt x="4320328" y="2067396"/>
                    <a:pt x="4320328" y="2075023"/>
                  </a:cubicBezTo>
                  <a:cubicBezTo>
                    <a:pt x="4320328" y="2082647"/>
                    <a:pt x="4314156" y="2088818"/>
                    <a:pt x="4306528" y="2088818"/>
                  </a:cubicBezTo>
                  <a:cubicBezTo>
                    <a:pt x="4298904" y="2088818"/>
                    <a:pt x="4292733" y="2082647"/>
                    <a:pt x="4292733" y="2075023"/>
                  </a:cubicBezTo>
                  <a:cubicBezTo>
                    <a:pt x="4292733" y="2067396"/>
                    <a:pt x="4298904" y="2061224"/>
                    <a:pt x="4306528" y="2061224"/>
                  </a:cubicBezTo>
                  <a:close/>
                  <a:moveTo>
                    <a:pt x="4460476" y="2059772"/>
                  </a:moveTo>
                  <a:cubicBezTo>
                    <a:pt x="4468900" y="2059772"/>
                    <a:pt x="4475728" y="2066599"/>
                    <a:pt x="4475728" y="2075023"/>
                  </a:cubicBezTo>
                  <a:cubicBezTo>
                    <a:pt x="4475728" y="2083444"/>
                    <a:pt x="4468900" y="2090271"/>
                    <a:pt x="4460476" y="2090271"/>
                  </a:cubicBezTo>
                  <a:cubicBezTo>
                    <a:pt x="4452056" y="2090271"/>
                    <a:pt x="4445228" y="2083444"/>
                    <a:pt x="4445228" y="2075023"/>
                  </a:cubicBezTo>
                  <a:cubicBezTo>
                    <a:pt x="4445228" y="2066599"/>
                    <a:pt x="4452056" y="2059772"/>
                    <a:pt x="4460476" y="2059772"/>
                  </a:cubicBezTo>
                  <a:close/>
                  <a:moveTo>
                    <a:pt x="4614065" y="2057957"/>
                  </a:moveTo>
                  <a:cubicBezTo>
                    <a:pt x="4623503" y="2057957"/>
                    <a:pt x="4631131" y="2065581"/>
                    <a:pt x="4631131" y="2075023"/>
                  </a:cubicBezTo>
                  <a:cubicBezTo>
                    <a:pt x="4631131" y="2084461"/>
                    <a:pt x="4623503" y="2092085"/>
                    <a:pt x="4614065" y="2092085"/>
                  </a:cubicBezTo>
                  <a:cubicBezTo>
                    <a:pt x="4604623" y="2092085"/>
                    <a:pt x="4596999" y="2084461"/>
                    <a:pt x="4596999" y="2075023"/>
                  </a:cubicBezTo>
                  <a:cubicBezTo>
                    <a:pt x="4596999" y="2065581"/>
                    <a:pt x="4604623" y="2057957"/>
                    <a:pt x="4614065" y="2057957"/>
                  </a:cubicBezTo>
                  <a:close/>
                  <a:moveTo>
                    <a:pt x="4768008" y="2055777"/>
                  </a:moveTo>
                  <a:cubicBezTo>
                    <a:pt x="4778640" y="2055777"/>
                    <a:pt x="4787255" y="2064392"/>
                    <a:pt x="4787255" y="2075019"/>
                  </a:cubicBezTo>
                  <a:cubicBezTo>
                    <a:pt x="4787255" y="2085647"/>
                    <a:pt x="4778640" y="2094266"/>
                    <a:pt x="4768008" y="2094266"/>
                  </a:cubicBezTo>
                  <a:cubicBezTo>
                    <a:pt x="4757381" y="2094266"/>
                    <a:pt x="4748766" y="2085647"/>
                    <a:pt x="4748766" y="2075019"/>
                  </a:cubicBezTo>
                  <a:cubicBezTo>
                    <a:pt x="4748766" y="2064392"/>
                    <a:pt x="4757381" y="2055777"/>
                    <a:pt x="4768008" y="2055777"/>
                  </a:cubicBezTo>
                  <a:close/>
                  <a:moveTo>
                    <a:pt x="4921594" y="2053600"/>
                  </a:moveTo>
                  <a:cubicBezTo>
                    <a:pt x="4933574" y="2053600"/>
                    <a:pt x="4943013" y="2063038"/>
                    <a:pt x="4943013" y="2075023"/>
                  </a:cubicBezTo>
                  <a:cubicBezTo>
                    <a:pt x="4943013" y="2087004"/>
                    <a:pt x="4933212" y="2096446"/>
                    <a:pt x="4921594" y="2096446"/>
                  </a:cubicBezTo>
                  <a:cubicBezTo>
                    <a:pt x="4909613" y="2096446"/>
                    <a:pt x="4900171" y="2087004"/>
                    <a:pt x="4900171" y="2075023"/>
                  </a:cubicBezTo>
                  <a:cubicBezTo>
                    <a:pt x="4900171" y="2063038"/>
                    <a:pt x="4909613" y="2053600"/>
                    <a:pt x="4921594" y="2053600"/>
                  </a:cubicBezTo>
                  <a:close/>
                  <a:moveTo>
                    <a:pt x="5075545" y="2052148"/>
                  </a:moveTo>
                  <a:cubicBezTo>
                    <a:pt x="5088250" y="2052148"/>
                    <a:pt x="5098416" y="2062314"/>
                    <a:pt x="5098416" y="2075023"/>
                  </a:cubicBezTo>
                  <a:cubicBezTo>
                    <a:pt x="5098416" y="2087728"/>
                    <a:pt x="5088250" y="2097895"/>
                    <a:pt x="5075545" y="2097895"/>
                  </a:cubicBezTo>
                  <a:cubicBezTo>
                    <a:pt x="5062836" y="2097895"/>
                    <a:pt x="5052670" y="2087728"/>
                    <a:pt x="5052670" y="2075023"/>
                  </a:cubicBezTo>
                  <a:cubicBezTo>
                    <a:pt x="5052670" y="2062314"/>
                    <a:pt x="5062836" y="2052148"/>
                    <a:pt x="5075545" y="2052148"/>
                  </a:cubicBezTo>
                  <a:close/>
                  <a:moveTo>
                    <a:pt x="5229126" y="2049968"/>
                  </a:moveTo>
                  <a:cubicBezTo>
                    <a:pt x="5242926" y="2049968"/>
                    <a:pt x="5254182" y="2061224"/>
                    <a:pt x="5254182" y="2075019"/>
                  </a:cubicBezTo>
                  <a:cubicBezTo>
                    <a:pt x="5254182" y="2088818"/>
                    <a:pt x="5242926" y="2100075"/>
                    <a:pt x="5229126" y="2100075"/>
                  </a:cubicBezTo>
                  <a:cubicBezTo>
                    <a:pt x="5215331" y="2100075"/>
                    <a:pt x="5204074" y="2088818"/>
                    <a:pt x="5204074" y="2075019"/>
                  </a:cubicBezTo>
                  <a:cubicBezTo>
                    <a:pt x="5204074" y="2061224"/>
                    <a:pt x="5215331" y="2049968"/>
                    <a:pt x="5229126" y="2049968"/>
                  </a:cubicBezTo>
                  <a:close/>
                  <a:moveTo>
                    <a:pt x="5383074" y="2047791"/>
                  </a:moveTo>
                  <a:cubicBezTo>
                    <a:pt x="5397960" y="2047791"/>
                    <a:pt x="5410306" y="2060138"/>
                    <a:pt x="5410306" y="2075023"/>
                  </a:cubicBezTo>
                  <a:cubicBezTo>
                    <a:pt x="5410306" y="2089909"/>
                    <a:pt x="5398322" y="2102256"/>
                    <a:pt x="5383074" y="2102256"/>
                  </a:cubicBezTo>
                  <a:cubicBezTo>
                    <a:pt x="5368184" y="2102256"/>
                    <a:pt x="5355842" y="2089909"/>
                    <a:pt x="5355842" y="2075023"/>
                  </a:cubicBezTo>
                  <a:cubicBezTo>
                    <a:pt x="5355842" y="2060138"/>
                    <a:pt x="5368184" y="2047791"/>
                    <a:pt x="5383074" y="2047791"/>
                  </a:cubicBezTo>
                  <a:close/>
                  <a:moveTo>
                    <a:pt x="5537018" y="2045248"/>
                  </a:moveTo>
                  <a:cubicBezTo>
                    <a:pt x="5553462" y="2045248"/>
                    <a:pt x="5566792" y="2058579"/>
                    <a:pt x="5566792" y="2075023"/>
                  </a:cubicBezTo>
                  <a:cubicBezTo>
                    <a:pt x="5566792" y="2091464"/>
                    <a:pt x="5553462" y="2104794"/>
                    <a:pt x="5537018" y="2104794"/>
                  </a:cubicBezTo>
                  <a:cubicBezTo>
                    <a:pt x="5520576" y="2104794"/>
                    <a:pt x="5507246" y="2091464"/>
                    <a:pt x="5507246" y="2075023"/>
                  </a:cubicBezTo>
                  <a:cubicBezTo>
                    <a:pt x="5507246" y="2058579"/>
                    <a:pt x="5520576" y="2045248"/>
                    <a:pt x="5537018" y="2045248"/>
                  </a:cubicBezTo>
                  <a:close/>
                  <a:moveTo>
                    <a:pt x="5690606" y="2043068"/>
                  </a:moveTo>
                  <a:cubicBezTo>
                    <a:pt x="5708396" y="2043068"/>
                    <a:pt x="5722558" y="2057229"/>
                    <a:pt x="5722558" y="2075019"/>
                  </a:cubicBezTo>
                  <a:cubicBezTo>
                    <a:pt x="5722558" y="2092810"/>
                    <a:pt x="5708396" y="2106971"/>
                    <a:pt x="5690606" y="2106971"/>
                  </a:cubicBezTo>
                  <a:cubicBezTo>
                    <a:pt x="5672816" y="2106971"/>
                    <a:pt x="5658655" y="2092810"/>
                    <a:pt x="5658655" y="2075019"/>
                  </a:cubicBezTo>
                  <a:cubicBezTo>
                    <a:pt x="5658655" y="2057229"/>
                    <a:pt x="5672816" y="2043068"/>
                    <a:pt x="5690606" y="2043068"/>
                  </a:cubicBezTo>
                  <a:close/>
                  <a:moveTo>
                    <a:pt x="5844554" y="2041254"/>
                  </a:moveTo>
                  <a:cubicBezTo>
                    <a:pt x="5863202" y="2041254"/>
                    <a:pt x="5878320" y="2056372"/>
                    <a:pt x="5878320" y="2075019"/>
                  </a:cubicBezTo>
                  <a:cubicBezTo>
                    <a:pt x="5878320" y="2093671"/>
                    <a:pt x="5863202" y="2108789"/>
                    <a:pt x="5844554" y="2108789"/>
                  </a:cubicBezTo>
                  <a:cubicBezTo>
                    <a:pt x="5825906" y="2108789"/>
                    <a:pt x="5810788" y="2093671"/>
                    <a:pt x="5810788" y="2075019"/>
                  </a:cubicBezTo>
                  <a:cubicBezTo>
                    <a:pt x="5810788" y="2056372"/>
                    <a:pt x="5825906" y="2041254"/>
                    <a:pt x="5844554" y="2041254"/>
                  </a:cubicBezTo>
                  <a:close/>
                  <a:moveTo>
                    <a:pt x="5998136" y="2038711"/>
                  </a:moveTo>
                  <a:cubicBezTo>
                    <a:pt x="6018106" y="2038711"/>
                    <a:pt x="6034444" y="2055049"/>
                    <a:pt x="6034444" y="2075019"/>
                  </a:cubicBezTo>
                  <a:cubicBezTo>
                    <a:pt x="6034444" y="2094990"/>
                    <a:pt x="6018106" y="2111328"/>
                    <a:pt x="5998136" y="2111328"/>
                  </a:cubicBezTo>
                  <a:cubicBezTo>
                    <a:pt x="5978165" y="2111328"/>
                    <a:pt x="5961827" y="2094990"/>
                    <a:pt x="5961827" y="2075019"/>
                  </a:cubicBezTo>
                  <a:cubicBezTo>
                    <a:pt x="5961827" y="2055049"/>
                    <a:pt x="5978165" y="2038711"/>
                    <a:pt x="5998136" y="2038711"/>
                  </a:cubicBezTo>
                  <a:close/>
                  <a:moveTo>
                    <a:pt x="6152083" y="2036172"/>
                  </a:moveTo>
                  <a:cubicBezTo>
                    <a:pt x="6173506" y="2036172"/>
                    <a:pt x="6190934" y="2053600"/>
                    <a:pt x="6190934" y="2075023"/>
                  </a:cubicBezTo>
                  <a:cubicBezTo>
                    <a:pt x="6190934" y="2096442"/>
                    <a:pt x="6173506" y="2113870"/>
                    <a:pt x="6152083" y="2113870"/>
                  </a:cubicBezTo>
                  <a:cubicBezTo>
                    <a:pt x="6130664" y="2113870"/>
                    <a:pt x="6113236" y="2096442"/>
                    <a:pt x="6113236" y="2075023"/>
                  </a:cubicBezTo>
                  <a:cubicBezTo>
                    <a:pt x="6113236" y="2053600"/>
                    <a:pt x="6130664" y="2036172"/>
                    <a:pt x="6152083" y="2036172"/>
                  </a:cubicBezTo>
                  <a:close/>
                  <a:moveTo>
                    <a:pt x="6305668" y="2033992"/>
                  </a:moveTo>
                  <a:cubicBezTo>
                    <a:pt x="6328543" y="2033992"/>
                    <a:pt x="6346700" y="2052148"/>
                    <a:pt x="6346700" y="2075019"/>
                  </a:cubicBezTo>
                  <a:cubicBezTo>
                    <a:pt x="6346700" y="2097895"/>
                    <a:pt x="6328181" y="2116047"/>
                    <a:pt x="6305668" y="2116047"/>
                  </a:cubicBezTo>
                  <a:cubicBezTo>
                    <a:pt x="6282796" y="2116047"/>
                    <a:pt x="6264640" y="2097895"/>
                    <a:pt x="6264640" y="2075019"/>
                  </a:cubicBezTo>
                  <a:cubicBezTo>
                    <a:pt x="6264640" y="2052148"/>
                    <a:pt x="6282796" y="2033992"/>
                    <a:pt x="6305668" y="2033992"/>
                  </a:cubicBezTo>
                  <a:close/>
                  <a:moveTo>
                    <a:pt x="6459616" y="2031449"/>
                  </a:moveTo>
                  <a:cubicBezTo>
                    <a:pt x="6483577" y="2031449"/>
                    <a:pt x="6503186" y="2051058"/>
                    <a:pt x="6503186" y="2075019"/>
                  </a:cubicBezTo>
                  <a:cubicBezTo>
                    <a:pt x="6503186" y="2098985"/>
                    <a:pt x="6483577" y="2118590"/>
                    <a:pt x="6459616" y="2118590"/>
                  </a:cubicBezTo>
                  <a:cubicBezTo>
                    <a:pt x="6435650" y="2118590"/>
                    <a:pt x="6416046" y="2098985"/>
                    <a:pt x="6416046" y="2075019"/>
                  </a:cubicBezTo>
                  <a:cubicBezTo>
                    <a:pt x="6416046" y="2051058"/>
                    <a:pt x="6435650" y="2031449"/>
                    <a:pt x="6459616" y="2031449"/>
                  </a:cubicBezTo>
                  <a:close/>
                  <a:moveTo>
                    <a:pt x="6613200" y="2028911"/>
                  </a:moveTo>
                  <a:cubicBezTo>
                    <a:pt x="6638668" y="2028911"/>
                    <a:pt x="6659313" y="2049556"/>
                    <a:pt x="6659313" y="2075023"/>
                  </a:cubicBezTo>
                  <a:cubicBezTo>
                    <a:pt x="6659313" y="2100490"/>
                    <a:pt x="6638668" y="2121136"/>
                    <a:pt x="6613200" y="2121136"/>
                  </a:cubicBezTo>
                  <a:cubicBezTo>
                    <a:pt x="6587734" y="2121136"/>
                    <a:pt x="6567088" y="2100490"/>
                    <a:pt x="6567088" y="2075023"/>
                  </a:cubicBezTo>
                  <a:cubicBezTo>
                    <a:pt x="6567088" y="2049556"/>
                    <a:pt x="6587734" y="2028911"/>
                    <a:pt x="6613200" y="2028911"/>
                  </a:cubicBezTo>
                  <a:close/>
                  <a:moveTo>
                    <a:pt x="2614925" y="1921072"/>
                  </a:moveTo>
                  <a:cubicBezTo>
                    <a:pt x="2615288" y="1921072"/>
                    <a:pt x="2615288" y="1921072"/>
                    <a:pt x="2615288" y="1921434"/>
                  </a:cubicBezTo>
                  <a:cubicBezTo>
                    <a:pt x="2615288" y="1921800"/>
                    <a:pt x="2614925" y="1921800"/>
                    <a:pt x="2614925" y="1921800"/>
                  </a:cubicBezTo>
                  <a:cubicBezTo>
                    <a:pt x="2614563" y="1921800"/>
                    <a:pt x="2614563" y="1921800"/>
                    <a:pt x="2614563" y="1921434"/>
                  </a:cubicBezTo>
                  <a:cubicBezTo>
                    <a:pt x="2614563" y="1921072"/>
                    <a:pt x="2614563" y="1921072"/>
                    <a:pt x="2614925" y="1921072"/>
                  </a:cubicBezTo>
                  <a:close/>
                  <a:moveTo>
                    <a:pt x="2153808" y="1921072"/>
                  </a:moveTo>
                  <a:cubicBezTo>
                    <a:pt x="2154170" y="1921072"/>
                    <a:pt x="2154170" y="1921072"/>
                    <a:pt x="2154170" y="1921434"/>
                  </a:cubicBezTo>
                  <a:cubicBezTo>
                    <a:pt x="2154170" y="1921800"/>
                    <a:pt x="2153808" y="1921800"/>
                    <a:pt x="2153808" y="1921800"/>
                  </a:cubicBezTo>
                  <a:cubicBezTo>
                    <a:pt x="2153445" y="1921800"/>
                    <a:pt x="2153445" y="1921800"/>
                    <a:pt x="2153445" y="1921434"/>
                  </a:cubicBezTo>
                  <a:cubicBezTo>
                    <a:pt x="2153445" y="1921072"/>
                    <a:pt x="2153445" y="1921072"/>
                    <a:pt x="2153808" y="1921072"/>
                  </a:cubicBezTo>
                  <a:close/>
                  <a:moveTo>
                    <a:pt x="1999860" y="1921072"/>
                  </a:moveTo>
                  <a:cubicBezTo>
                    <a:pt x="2000222" y="1921072"/>
                    <a:pt x="2000222" y="1921072"/>
                    <a:pt x="2000222" y="1921434"/>
                  </a:cubicBezTo>
                  <a:cubicBezTo>
                    <a:pt x="2000222" y="1921800"/>
                    <a:pt x="1999860" y="1921800"/>
                    <a:pt x="1999860" y="1921800"/>
                  </a:cubicBezTo>
                  <a:cubicBezTo>
                    <a:pt x="1999498" y="1921800"/>
                    <a:pt x="1999498" y="1921800"/>
                    <a:pt x="1999498" y="1921434"/>
                  </a:cubicBezTo>
                  <a:cubicBezTo>
                    <a:pt x="1999498" y="1921072"/>
                    <a:pt x="1999498" y="1921072"/>
                    <a:pt x="1999860" y="1921072"/>
                  </a:cubicBezTo>
                  <a:close/>
                  <a:moveTo>
                    <a:pt x="1846279" y="1920710"/>
                  </a:moveTo>
                  <a:cubicBezTo>
                    <a:pt x="1846641" y="1920710"/>
                    <a:pt x="1847003" y="1921072"/>
                    <a:pt x="1847003" y="1921434"/>
                  </a:cubicBezTo>
                  <a:cubicBezTo>
                    <a:pt x="1847003" y="1921800"/>
                    <a:pt x="1846279" y="1922162"/>
                    <a:pt x="1846279" y="1922162"/>
                  </a:cubicBezTo>
                  <a:cubicBezTo>
                    <a:pt x="1845913" y="1922162"/>
                    <a:pt x="1845551" y="1921800"/>
                    <a:pt x="1845551" y="1921434"/>
                  </a:cubicBezTo>
                  <a:cubicBezTo>
                    <a:pt x="1845551" y="1921072"/>
                    <a:pt x="1845913" y="1920710"/>
                    <a:pt x="1846279" y="1920710"/>
                  </a:cubicBezTo>
                  <a:close/>
                  <a:moveTo>
                    <a:pt x="2768873" y="1919620"/>
                  </a:moveTo>
                  <a:cubicBezTo>
                    <a:pt x="2769597" y="1919620"/>
                    <a:pt x="2770325" y="1920348"/>
                    <a:pt x="2770325" y="1921072"/>
                  </a:cubicBezTo>
                  <a:cubicBezTo>
                    <a:pt x="2770325" y="1921800"/>
                    <a:pt x="2768873" y="1922524"/>
                    <a:pt x="2768873" y="1922524"/>
                  </a:cubicBezTo>
                  <a:cubicBezTo>
                    <a:pt x="2768145" y="1922524"/>
                    <a:pt x="2767421" y="1921800"/>
                    <a:pt x="2767421" y="1921072"/>
                  </a:cubicBezTo>
                  <a:cubicBezTo>
                    <a:pt x="2767421" y="1920348"/>
                    <a:pt x="2768145" y="1919620"/>
                    <a:pt x="2768873" y="1919620"/>
                  </a:cubicBezTo>
                  <a:close/>
                  <a:moveTo>
                    <a:pt x="2922454" y="1918895"/>
                  </a:moveTo>
                  <a:cubicBezTo>
                    <a:pt x="2923544" y="1918895"/>
                    <a:pt x="2924635" y="1919986"/>
                    <a:pt x="2924635" y="1921076"/>
                  </a:cubicBezTo>
                  <a:cubicBezTo>
                    <a:pt x="2924635" y="1922162"/>
                    <a:pt x="2922454" y="1923252"/>
                    <a:pt x="2922454" y="1923252"/>
                  </a:cubicBezTo>
                  <a:cubicBezTo>
                    <a:pt x="2921368" y="1923252"/>
                    <a:pt x="2920278" y="1922162"/>
                    <a:pt x="2920278" y="1921076"/>
                  </a:cubicBezTo>
                  <a:cubicBezTo>
                    <a:pt x="2920278" y="1919986"/>
                    <a:pt x="2921368" y="1918895"/>
                    <a:pt x="2922454" y="1918895"/>
                  </a:cubicBezTo>
                  <a:close/>
                  <a:moveTo>
                    <a:pt x="3076406" y="1918167"/>
                  </a:moveTo>
                  <a:cubicBezTo>
                    <a:pt x="3078220" y="1918167"/>
                    <a:pt x="3079672" y="1919620"/>
                    <a:pt x="3079672" y="1921434"/>
                  </a:cubicBezTo>
                  <a:cubicBezTo>
                    <a:pt x="3079672" y="1923249"/>
                    <a:pt x="3078220" y="1924701"/>
                    <a:pt x="3076406" y="1924701"/>
                  </a:cubicBezTo>
                  <a:cubicBezTo>
                    <a:pt x="3074587" y="1924701"/>
                    <a:pt x="3073135" y="1923249"/>
                    <a:pt x="3073135" y="1921434"/>
                  </a:cubicBezTo>
                  <a:cubicBezTo>
                    <a:pt x="3073135" y="1919620"/>
                    <a:pt x="3074587" y="1918167"/>
                    <a:pt x="3076406" y="1918167"/>
                  </a:cubicBezTo>
                  <a:close/>
                  <a:moveTo>
                    <a:pt x="3230353" y="1916715"/>
                  </a:moveTo>
                  <a:cubicBezTo>
                    <a:pt x="3232895" y="1916715"/>
                    <a:pt x="3234710" y="1918529"/>
                    <a:pt x="3234710" y="1921072"/>
                  </a:cubicBezTo>
                  <a:cubicBezTo>
                    <a:pt x="3234710" y="1923615"/>
                    <a:pt x="3232530" y="1925429"/>
                    <a:pt x="3230353" y="1925429"/>
                  </a:cubicBezTo>
                  <a:cubicBezTo>
                    <a:pt x="3227810" y="1925429"/>
                    <a:pt x="3225996" y="1923615"/>
                    <a:pt x="3225996" y="1921072"/>
                  </a:cubicBezTo>
                  <a:cubicBezTo>
                    <a:pt x="3225996" y="1918529"/>
                    <a:pt x="3227810" y="1916715"/>
                    <a:pt x="3230353" y="1916715"/>
                  </a:cubicBezTo>
                  <a:close/>
                  <a:moveTo>
                    <a:pt x="3383938" y="1915625"/>
                  </a:moveTo>
                  <a:cubicBezTo>
                    <a:pt x="3387205" y="1915625"/>
                    <a:pt x="3389748" y="1918167"/>
                    <a:pt x="3389748" y="1921434"/>
                  </a:cubicBezTo>
                  <a:cubicBezTo>
                    <a:pt x="3389748" y="1924701"/>
                    <a:pt x="3387205" y="1927243"/>
                    <a:pt x="3383938" y="1927243"/>
                  </a:cubicBezTo>
                  <a:cubicBezTo>
                    <a:pt x="3380671" y="1927243"/>
                    <a:pt x="3378129" y="1924701"/>
                    <a:pt x="3378129" y="1921434"/>
                  </a:cubicBezTo>
                  <a:cubicBezTo>
                    <a:pt x="3378129" y="1918167"/>
                    <a:pt x="3380671" y="1915625"/>
                    <a:pt x="3383938" y="1915625"/>
                  </a:cubicBezTo>
                  <a:close/>
                  <a:moveTo>
                    <a:pt x="3537882" y="1913810"/>
                  </a:moveTo>
                  <a:cubicBezTo>
                    <a:pt x="3541876" y="1913810"/>
                    <a:pt x="3545143" y="1917077"/>
                    <a:pt x="3545143" y="1921072"/>
                  </a:cubicBezTo>
                  <a:cubicBezTo>
                    <a:pt x="3545143" y="1925067"/>
                    <a:pt x="3541876" y="1928334"/>
                    <a:pt x="3537882" y="1928334"/>
                  </a:cubicBezTo>
                  <a:cubicBezTo>
                    <a:pt x="3533887" y="1928334"/>
                    <a:pt x="3530620" y="1925067"/>
                    <a:pt x="3530620" y="1921072"/>
                  </a:cubicBezTo>
                  <a:cubicBezTo>
                    <a:pt x="3530620" y="1917077"/>
                    <a:pt x="3533887" y="1913810"/>
                    <a:pt x="3537882" y="1913810"/>
                  </a:cubicBezTo>
                  <a:close/>
                  <a:moveTo>
                    <a:pt x="3691467" y="1911996"/>
                  </a:moveTo>
                  <a:cubicBezTo>
                    <a:pt x="3696552" y="1911996"/>
                    <a:pt x="3700547" y="1915991"/>
                    <a:pt x="3700547" y="1921072"/>
                  </a:cubicBezTo>
                  <a:cubicBezTo>
                    <a:pt x="3700547" y="1926157"/>
                    <a:pt x="3696552" y="1930152"/>
                    <a:pt x="3691467" y="1930152"/>
                  </a:cubicBezTo>
                  <a:cubicBezTo>
                    <a:pt x="3686386" y="1930152"/>
                    <a:pt x="3682391" y="1926157"/>
                    <a:pt x="3682391" y="1921072"/>
                  </a:cubicBezTo>
                  <a:cubicBezTo>
                    <a:pt x="3682391" y="1915991"/>
                    <a:pt x="3686386" y="1911996"/>
                    <a:pt x="3691467" y="1911996"/>
                  </a:cubicBezTo>
                  <a:close/>
                  <a:moveTo>
                    <a:pt x="3845414" y="1911268"/>
                  </a:moveTo>
                  <a:cubicBezTo>
                    <a:pt x="3850862" y="1911268"/>
                    <a:pt x="3855581" y="1915987"/>
                    <a:pt x="3855581" y="1921434"/>
                  </a:cubicBezTo>
                  <a:cubicBezTo>
                    <a:pt x="3855581" y="1926881"/>
                    <a:pt x="3851224" y="1931600"/>
                    <a:pt x="3845414" y="1931600"/>
                  </a:cubicBezTo>
                  <a:cubicBezTo>
                    <a:pt x="3839967" y="1931600"/>
                    <a:pt x="3835248" y="1926881"/>
                    <a:pt x="3835248" y="1921434"/>
                  </a:cubicBezTo>
                  <a:cubicBezTo>
                    <a:pt x="3835248" y="1915987"/>
                    <a:pt x="3839967" y="1911268"/>
                    <a:pt x="3845414" y="1911268"/>
                  </a:cubicBezTo>
                  <a:close/>
                  <a:moveTo>
                    <a:pt x="3999000" y="1909091"/>
                  </a:moveTo>
                  <a:cubicBezTo>
                    <a:pt x="4005537" y="1909091"/>
                    <a:pt x="4010984" y="1914538"/>
                    <a:pt x="4010984" y="1921072"/>
                  </a:cubicBezTo>
                  <a:cubicBezTo>
                    <a:pt x="4010984" y="1927609"/>
                    <a:pt x="4005537" y="1933053"/>
                    <a:pt x="3999000" y="1933053"/>
                  </a:cubicBezTo>
                  <a:cubicBezTo>
                    <a:pt x="3992466" y="1933053"/>
                    <a:pt x="3987019" y="1927609"/>
                    <a:pt x="3987019" y="1921072"/>
                  </a:cubicBezTo>
                  <a:cubicBezTo>
                    <a:pt x="3987019" y="1914538"/>
                    <a:pt x="3992466" y="1909091"/>
                    <a:pt x="3999000" y="1909091"/>
                  </a:cubicBezTo>
                  <a:close/>
                  <a:moveTo>
                    <a:pt x="4152951" y="1907277"/>
                  </a:moveTo>
                  <a:cubicBezTo>
                    <a:pt x="4160574" y="1907277"/>
                    <a:pt x="4166746" y="1913448"/>
                    <a:pt x="4166746" y="1921076"/>
                  </a:cubicBezTo>
                  <a:cubicBezTo>
                    <a:pt x="4166746" y="1928700"/>
                    <a:pt x="4160574" y="1934871"/>
                    <a:pt x="4152951" y="1934871"/>
                  </a:cubicBezTo>
                  <a:cubicBezTo>
                    <a:pt x="4145323" y="1934871"/>
                    <a:pt x="4139152" y="1928700"/>
                    <a:pt x="4139152" y="1921076"/>
                  </a:cubicBezTo>
                  <a:cubicBezTo>
                    <a:pt x="4139152" y="1913448"/>
                    <a:pt x="4145323" y="1907277"/>
                    <a:pt x="4152951" y="1907277"/>
                  </a:cubicBezTo>
                  <a:close/>
                  <a:moveTo>
                    <a:pt x="4306528" y="1905824"/>
                  </a:moveTo>
                  <a:cubicBezTo>
                    <a:pt x="4314953" y="1905824"/>
                    <a:pt x="4321780" y="1912651"/>
                    <a:pt x="4321780" y="1921072"/>
                  </a:cubicBezTo>
                  <a:cubicBezTo>
                    <a:pt x="4321780" y="1929496"/>
                    <a:pt x="4314953" y="1936323"/>
                    <a:pt x="4306528" y="1936323"/>
                  </a:cubicBezTo>
                  <a:cubicBezTo>
                    <a:pt x="4298108" y="1936323"/>
                    <a:pt x="4291281" y="1929496"/>
                    <a:pt x="4291281" y="1921072"/>
                  </a:cubicBezTo>
                  <a:cubicBezTo>
                    <a:pt x="4291281" y="1912651"/>
                    <a:pt x="4298108" y="1905824"/>
                    <a:pt x="4306528" y="1905824"/>
                  </a:cubicBezTo>
                  <a:close/>
                  <a:moveTo>
                    <a:pt x="4460480" y="1904006"/>
                  </a:moveTo>
                  <a:cubicBezTo>
                    <a:pt x="4469918" y="1904006"/>
                    <a:pt x="4477546" y="1911630"/>
                    <a:pt x="4477546" y="1921072"/>
                  </a:cubicBezTo>
                  <a:cubicBezTo>
                    <a:pt x="4477546" y="1930510"/>
                    <a:pt x="4469918" y="1938138"/>
                    <a:pt x="4460480" y="1938138"/>
                  </a:cubicBezTo>
                  <a:cubicBezTo>
                    <a:pt x="4451038" y="1938138"/>
                    <a:pt x="4443414" y="1930510"/>
                    <a:pt x="4443414" y="1921072"/>
                  </a:cubicBezTo>
                  <a:cubicBezTo>
                    <a:pt x="4443414" y="1911630"/>
                    <a:pt x="4451038" y="1904006"/>
                    <a:pt x="4460480" y="1904006"/>
                  </a:cubicBezTo>
                  <a:close/>
                  <a:moveTo>
                    <a:pt x="4614061" y="1901830"/>
                  </a:moveTo>
                  <a:cubicBezTo>
                    <a:pt x="4624688" y="1901830"/>
                    <a:pt x="4633304" y="1910444"/>
                    <a:pt x="4633304" y="1921072"/>
                  </a:cubicBezTo>
                  <a:cubicBezTo>
                    <a:pt x="4633304" y="1931699"/>
                    <a:pt x="4624688" y="1940314"/>
                    <a:pt x="4614061" y="1940314"/>
                  </a:cubicBezTo>
                  <a:cubicBezTo>
                    <a:pt x="4603434" y="1940314"/>
                    <a:pt x="4594818" y="1931699"/>
                    <a:pt x="4594818" y="1921072"/>
                  </a:cubicBezTo>
                  <a:cubicBezTo>
                    <a:pt x="4594818" y="1910444"/>
                    <a:pt x="4603434" y="1901830"/>
                    <a:pt x="4614061" y="1901830"/>
                  </a:cubicBezTo>
                  <a:close/>
                  <a:moveTo>
                    <a:pt x="4768012" y="1899649"/>
                  </a:moveTo>
                  <a:cubicBezTo>
                    <a:pt x="4779993" y="1899649"/>
                    <a:pt x="4789432" y="1909091"/>
                    <a:pt x="4789432" y="1921072"/>
                  </a:cubicBezTo>
                  <a:cubicBezTo>
                    <a:pt x="4789432" y="1933053"/>
                    <a:pt x="4779627" y="1942495"/>
                    <a:pt x="4768012" y="1942495"/>
                  </a:cubicBezTo>
                  <a:cubicBezTo>
                    <a:pt x="4756028" y="1942495"/>
                    <a:pt x="4746590" y="1933053"/>
                    <a:pt x="4746590" y="1921072"/>
                  </a:cubicBezTo>
                  <a:cubicBezTo>
                    <a:pt x="4746590" y="1909091"/>
                    <a:pt x="4756028" y="1899649"/>
                    <a:pt x="4768012" y="1899649"/>
                  </a:cubicBezTo>
                  <a:close/>
                  <a:moveTo>
                    <a:pt x="4921594" y="1898563"/>
                  </a:moveTo>
                  <a:cubicBezTo>
                    <a:pt x="4934302" y="1898563"/>
                    <a:pt x="4944469" y="1908729"/>
                    <a:pt x="4944469" y="1921438"/>
                  </a:cubicBezTo>
                  <a:cubicBezTo>
                    <a:pt x="4944469" y="1934143"/>
                    <a:pt x="4934302" y="1944309"/>
                    <a:pt x="4921594" y="1944309"/>
                  </a:cubicBezTo>
                  <a:cubicBezTo>
                    <a:pt x="4908885" y="1944309"/>
                    <a:pt x="4898718" y="1934143"/>
                    <a:pt x="4898718" y="1921438"/>
                  </a:cubicBezTo>
                  <a:cubicBezTo>
                    <a:pt x="4898718" y="1908729"/>
                    <a:pt x="4908885" y="1898563"/>
                    <a:pt x="4921594" y="1898563"/>
                  </a:cubicBezTo>
                  <a:close/>
                  <a:moveTo>
                    <a:pt x="5075541" y="1896382"/>
                  </a:moveTo>
                  <a:cubicBezTo>
                    <a:pt x="5089340" y="1896382"/>
                    <a:pt x="5100597" y="1907639"/>
                    <a:pt x="5100597" y="1921434"/>
                  </a:cubicBezTo>
                  <a:cubicBezTo>
                    <a:pt x="5100597" y="1935233"/>
                    <a:pt x="5089340" y="1946490"/>
                    <a:pt x="5075541" y="1946490"/>
                  </a:cubicBezTo>
                  <a:cubicBezTo>
                    <a:pt x="5061746" y="1946490"/>
                    <a:pt x="5050490" y="1935233"/>
                    <a:pt x="5050490" y="1921434"/>
                  </a:cubicBezTo>
                  <a:cubicBezTo>
                    <a:pt x="5050490" y="1907639"/>
                    <a:pt x="5061746" y="1896382"/>
                    <a:pt x="5075541" y="1896382"/>
                  </a:cubicBezTo>
                  <a:close/>
                  <a:moveTo>
                    <a:pt x="5229126" y="1894206"/>
                  </a:moveTo>
                  <a:cubicBezTo>
                    <a:pt x="5244012" y="1894206"/>
                    <a:pt x="5256358" y="1906552"/>
                    <a:pt x="5256358" y="1921438"/>
                  </a:cubicBezTo>
                  <a:cubicBezTo>
                    <a:pt x="5256358" y="1936323"/>
                    <a:pt x="5244374" y="1948670"/>
                    <a:pt x="5229126" y="1948670"/>
                  </a:cubicBezTo>
                  <a:cubicBezTo>
                    <a:pt x="5214237" y="1948670"/>
                    <a:pt x="5201894" y="1936323"/>
                    <a:pt x="5201894" y="1921438"/>
                  </a:cubicBezTo>
                  <a:cubicBezTo>
                    <a:pt x="5201894" y="1906552"/>
                    <a:pt x="5214237" y="1894206"/>
                    <a:pt x="5229126" y="1894206"/>
                  </a:cubicBezTo>
                  <a:close/>
                  <a:moveTo>
                    <a:pt x="5383074" y="1891301"/>
                  </a:moveTo>
                  <a:cubicBezTo>
                    <a:pt x="5399518" y="1891301"/>
                    <a:pt x="5412848" y="1904631"/>
                    <a:pt x="5412848" y="1921072"/>
                  </a:cubicBezTo>
                  <a:cubicBezTo>
                    <a:pt x="5412848" y="1937517"/>
                    <a:pt x="5399518" y="1950847"/>
                    <a:pt x="5383074" y="1950847"/>
                  </a:cubicBezTo>
                  <a:cubicBezTo>
                    <a:pt x="5366633" y="1950847"/>
                    <a:pt x="5353303" y="1937517"/>
                    <a:pt x="5353303" y="1921072"/>
                  </a:cubicBezTo>
                  <a:cubicBezTo>
                    <a:pt x="5353303" y="1904631"/>
                    <a:pt x="5366633" y="1891301"/>
                    <a:pt x="5383074" y="1891301"/>
                  </a:cubicBezTo>
                  <a:close/>
                  <a:moveTo>
                    <a:pt x="5536659" y="1889121"/>
                  </a:moveTo>
                  <a:cubicBezTo>
                    <a:pt x="5554450" y="1889121"/>
                    <a:pt x="5568610" y="1903282"/>
                    <a:pt x="5568610" y="1921072"/>
                  </a:cubicBezTo>
                  <a:cubicBezTo>
                    <a:pt x="5568610" y="1938862"/>
                    <a:pt x="5554450" y="1953023"/>
                    <a:pt x="5536659" y="1953023"/>
                  </a:cubicBezTo>
                  <a:cubicBezTo>
                    <a:pt x="5518865" y="1953023"/>
                    <a:pt x="5504708" y="1938862"/>
                    <a:pt x="5504708" y="1921072"/>
                  </a:cubicBezTo>
                  <a:cubicBezTo>
                    <a:pt x="5504708" y="1903282"/>
                    <a:pt x="5518865" y="1889121"/>
                    <a:pt x="5536659" y="1889121"/>
                  </a:cubicBezTo>
                  <a:close/>
                  <a:moveTo>
                    <a:pt x="5690606" y="1887306"/>
                  </a:moveTo>
                  <a:cubicBezTo>
                    <a:pt x="5709258" y="1887306"/>
                    <a:pt x="5724376" y="1902424"/>
                    <a:pt x="5724376" y="1921072"/>
                  </a:cubicBezTo>
                  <a:cubicBezTo>
                    <a:pt x="5724376" y="1939724"/>
                    <a:pt x="5709258" y="1954842"/>
                    <a:pt x="5690606" y="1954842"/>
                  </a:cubicBezTo>
                  <a:cubicBezTo>
                    <a:pt x="5671958" y="1954842"/>
                    <a:pt x="5656840" y="1939724"/>
                    <a:pt x="5656840" y="1921072"/>
                  </a:cubicBezTo>
                  <a:cubicBezTo>
                    <a:pt x="5656840" y="1902424"/>
                    <a:pt x="5671958" y="1887306"/>
                    <a:pt x="5690606" y="1887306"/>
                  </a:cubicBezTo>
                  <a:close/>
                  <a:moveTo>
                    <a:pt x="5844554" y="1884764"/>
                  </a:moveTo>
                  <a:cubicBezTo>
                    <a:pt x="5864524" y="1884764"/>
                    <a:pt x="5880862" y="1901101"/>
                    <a:pt x="5880862" y="1921072"/>
                  </a:cubicBezTo>
                  <a:cubicBezTo>
                    <a:pt x="5880862" y="1941043"/>
                    <a:pt x="5864524" y="1957380"/>
                    <a:pt x="5844554" y="1957380"/>
                  </a:cubicBezTo>
                  <a:cubicBezTo>
                    <a:pt x="5824584" y="1957380"/>
                    <a:pt x="5808246" y="1941043"/>
                    <a:pt x="5808246" y="1921072"/>
                  </a:cubicBezTo>
                  <a:cubicBezTo>
                    <a:pt x="5808246" y="1901101"/>
                    <a:pt x="5824584" y="1884764"/>
                    <a:pt x="5844554" y="1884764"/>
                  </a:cubicBezTo>
                  <a:close/>
                  <a:moveTo>
                    <a:pt x="5998139" y="1882225"/>
                  </a:moveTo>
                  <a:cubicBezTo>
                    <a:pt x="6019562" y="1882225"/>
                    <a:pt x="6036990" y="1899653"/>
                    <a:pt x="6036990" y="1921076"/>
                  </a:cubicBezTo>
                  <a:cubicBezTo>
                    <a:pt x="6036990" y="1942495"/>
                    <a:pt x="6019562" y="1959923"/>
                    <a:pt x="5998139" y="1959923"/>
                  </a:cubicBezTo>
                  <a:cubicBezTo>
                    <a:pt x="5976716" y="1959923"/>
                    <a:pt x="5959288" y="1942495"/>
                    <a:pt x="5959288" y="1921076"/>
                  </a:cubicBezTo>
                  <a:cubicBezTo>
                    <a:pt x="5959288" y="1899653"/>
                    <a:pt x="5976716" y="1882225"/>
                    <a:pt x="5998139" y="1882225"/>
                  </a:cubicBezTo>
                  <a:close/>
                  <a:moveTo>
                    <a:pt x="6152083" y="1880045"/>
                  </a:moveTo>
                  <a:cubicBezTo>
                    <a:pt x="6174958" y="1880045"/>
                    <a:pt x="6193114" y="1898200"/>
                    <a:pt x="6193114" y="1921072"/>
                  </a:cubicBezTo>
                  <a:cubicBezTo>
                    <a:pt x="6193114" y="1943947"/>
                    <a:pt x="6174596" y="1962103"/>
                    <a:pt x="6152083" y="1962103"/>
                  </a:cubicBezTo>
                  <a:cubicBezTo>
                    <a:pt x="6129212" y="1962103"/>
                    <a:pt x="6111056" y="1943947"/>
                    <a:pt x="6111056" y="1921072"/>
                  </a:cubicBezTo>
                  <a:cubicBezTo>
                    <a:pt x="6111056" y="1898200"/>
                    <a:pt x="6129212" y="1880045"/>
                    <a:pt x="6152083" y="1880045"/>
                  </a:cubicBezTo>
                  <a:close/>
                  <a:moveTo>
                    <a:pt x="6305668" y="1877502"/>
                  </a:moveTo>
                  <a:cubicBezTo>
                    <a:pt x="6329630" y="1877502"/>
                    <a:pt x="6349238" y="1897110"/>
                    <a:pt x="6349238" y="1921072"/>
                  </a:cubicBezTo>
                  <a:cubicBezTo>
                    <a:pt x="6349238" y="1945037"/>
                    <a:pt x="6329630" y="1964642"/>
                    <a:pt x="6305668" y="1964642"/>
                  </a:cubicBezTo>
                  <a:cubicBezTo>
                    <a:pt x="6281702" y="1964642"/>
                    <a:pt x="6262098" y="1945037"/>
                    <a:pt x="6262098" y="1921072"/>
                  </a:cubicBezTo>
                  <a:cubicBezTo>
                    <a:pt x="6262098" y="1897110"/>
                    <a:pt x="6281702" y="1877502"/>
                    <a:pt x="6305668" y="1877502"/>
                  </a:cubicBezTo>
                  <a:close/>
                  <a:moveTo>
                    <a:pt x="6459616" y="1874959"/>
                  </a:moveTo>
                  <a:cubicBezTo>
                    <a:pt x="6485033" y="1874959"/>
                    <a:pt x="6505728" y="1895654"/>
                    <a:pt x="6505728" y="1921072"/>
                  </a:cubicBezTo>
                  <a:cubicBezTo>
                    <a:pt x="6505728" y="1946486"/>
                    <a:pt x="6485033" y="1967184"/>
                    <a:pt x="6459616" y="1967184"/>
                  </a:cubicBezTo>
                  <a:cubicBezTo>
                    <a:pt x="6434198" y="1967184"/>
                    <a:pt x="6413503" y="1946486"/>
                    <a:pt x="6413503" y="1921072"/>
                  </a:cubicBezTo>
                  <a:cubicBezTo>
                    <a:pt x="6413503" y="1895654"/>
                    <a:pt x="6434198" y="1874959"/>
                    <a:pt x="6459616" y="1874959"/>
                  </a:cubicBezTo>
                  <a:close/>
                  <a:moveTo>
                    <a:pt x="6613200" y="1872421"/>
                  </a:moveTo>
                  <a:cubicBezTo>
                    <a:pt x="6640071" y="1872421"/>
                    <a:pt x="6661856" y="1894206"/>
                    <a:pt x="6661856" y="1921076"/>
                  </a:cubicBezTo>
                  <a:cubicBezTo>
                    <a:pt x="6661856" y="1947942"/>
                    <a:pt x="6640071" y="1969727"/>
                    <a:pt x="6613200" y="1969727"/>
                  </a:cubicBezTo>
                  <a:cubicBezTo>
                    <a:pt x="6586334" y="1969727"/>
                    <a:pt x="6564550" y="1947942"/>
                    <a:pt x="6564550" y="1921076"/>
                  </a:cubicBezTo>
                  <a:cubicBezTo>
                    <a:pt x="6564550" y="1894206"/>
                    <a:pt x="6586334" y="1872421"/>
                    <a:pt x="6613200" y="1872421"/>
                  </a:cubicBezTo>
                  <a:close/>
                  <a:moveTo>
                    <a:pt x="2461340" y="1767125"/>
                  </a:moveTo>
                  <a:cubicBezTo>
                    <a:pt x="2461702" y="1767125"/>
                    <a:pt x="2461702" y="1767125"/>
                    <a:pt x="2461702" y="1767487"/>
                  </a:cubicBezTo>
                  <a:cubicBezTo>
                    <a:pt x="2461702" y="1767853"/>
                    <a:pt x="2461340" y="1767853"/>
                    <a:pt x="2461340" y="1767853"/>
                  </a:cubicBezTo>
                  <a:cubicBezTo>
                    <a:pt x="2460978" y="1767853"/>
                    <a:pt x="2460978" y="1767853"/>
                    <a:pt x="2460978" y="1767487"/>
                  </a:cubicBezTo>
                  <a:cubicBezTo>
                    <a:pt x="2460978" y="1767125"/>
                    <a:pt x="2460978" y="1767125"/>
                    <a:pt x="2461340" y="1767125"/>
                  </a:cubicBezTo>
                  <a:close/>
                  <a:moveTo>
                    <a:pt x="1999860" y="1767125"/>
                  </a:moveTo>
                  <a:cubicBezTo>
                    <a:pt x="2000222" y="1767125"/>
                    <a:pt x="2000222" y="1767125"/>
                    <a:pt x="2000222" y="1767487"/>
                  </a:cubicBezTo>
                  <a:cubicBezTo>
                    <a:pt x="2000222" y="1767853"/>
                    <a:pt x="1999860" y="1767853"/>
                    <a:pt x="1999860" y="1767853"/>
                  </a:cubicBezTo>
                  <a:cubicBezTo>
                    <a:pt x="1999498" y="1767853"/>
                    <a:pt x="1999498" y="1767853"/>
                    <a:pt x="1999498" y="1767487"/>
                  </a:cubicBezTo>
                  <a:cubicBezTo>
                    <a:pt x="1999498" y="1767125"/>
                    <a:pt x="1999498" y="1767125"/>
                    <a:pt x="1999860" y="1767125"/>
                  </a:cubicBezTo>
                  <a:close/>
                  <a:moveTo>
                    <a:pt x="1846279" y="1767125"/>
                  </a:moveTo>
                  <a:cubicBezTo>
                    <a:pt x="1846641" y="1767125"/>
                    <a:pt x="1846641" y="1767125"/>
                    <a:pt x="1846641" y="1767487"/>
                  </a:cubicBezTo>
                  <a:cubicBezTo>
                    <a:pt x="1846641" y="1767853"/>
                    <a:pt x="1846279" y="1767853"/>
                    <a:pt x="1846279" y="1767853"/>
                  </a:cubicBezTo>
                  <a:cubicBezTo>
                    <a:pt x="1845917" y="1767853"/>
                    <a:pt x="1845917" y="1767853"/>
                    <a:pt x="1845917" y="1767487"/>
                  </a:cubicBezTo>
                  <a:cubicBezTo>
                    <a:pt x="1845917" y="1767125"/>
                    <a:pt x="1845917" y="1767125"/>
                    <a:pt x="1846279" y="1767125"/>
                  </a:cubicBezTo>
                  <a:close/>
                  <a:moveTo>
                    <a:pt x="1692328" y="1766762"/>
                  </a:moveTo>
                  <a:cubicBezTo>
                    <a:pt x="1692694" y="1766762"/>
                    <a:pt x="1693056" y="1767125"/>
                    <a:pt x="1693056" y="1767491"/>
                  </a:cubicBezTo>
                  <a:cubicBezTo>
                    <a:pt x="1693056" y="1767853"/>
                    <a:pt x="1692328" y="1768215"/>
                    <a:pt x="1692328" y="1768215"/>
                  </a:cubicBezTo>
                  <a:cubicBezTo>
                    <a:pt x="1691965" y="1768215"/>
                    <a:pt x="1691603" y="1767853"/>
                    <a:pt x="1691603" y="1767491"/>
                  </a:cubicBezTo>
                  <a:cubicBezTo>
                    <a:pt x="1691603" y="1767125"/>
                    <a:pt x="1691965" y="1766762"/>
                    <a:pt x="1692328" y="1766762"/>
                  </a:cubicBezTo>
                  <a:close/>
                  <a:moveTo>
                    <a:pt x="2614925" y="1765672"/>
                  </a:moveTo>
                  <a:cubicBezTo>
                    <a:pt x="2615650" y="1765672"/>
                    <a:pt x="2616378" y="1766400"/>
                    <a:pt x="2616378" y="1767125"/>
                  </a:cubicBezTo>
                  <a:cubicBezTo>
                    <a:pt x="2616378" y="1767849"/>
                    <a:pt x="2614925" y="1768577"/>
                    <a:pt x="2614925" y="1768577"/>
                  </a:cubicBezTo>
                  <a:cubicBezTo>
                    <a:pt x="2614197" y="1768577"/>
                    <a:pt x="2613473" y="1767849"/>
                    <a:pt x="2613473" y="1767125"/>
                  </a:cubicBezTo>
                  <a:cubicBezTo>
                    <a:pt x="2613473" y="1766400"/>
                    <a:pt x="2614197" y="1765672"/>
                    <a:pt x="2614925" y="1765672"/>
                  </a:cubicBezTo>
                  <a:close/>
                  <a:moveTo>
                    <a:pt x="2768873" y="1765310"/>
                  </a:moveTo>
                  <a:cubicBezTo>
                    <a:pt x="2769963" y="1765310"/>
                    <a:pt x="2771049" y="1766400"/>
                    <a:pt x="2771049" y="1767491"/>
                  </a:cubicBezTo>
                  <a:cubicBezTo>
                    <a:pt x="2771049" y="1768577"/>
                    <a:pt x="2768873" y="1769667"/>
                    <a:pt x="2768873" y="1769667"/>
                  </a:cubicBezTo>
                  <a:cubicBezTo>
                    <a:pt x="2767783" y="1769667"/>
                    <a:pt x="2766692" y="1768577"/>
                    <a:pt x="2766692" y="1767491"/>
                  </a:cubicBezTo>
                  <a:cubicBezTo>
                    <a:pt x="2766692" y="1766400"/>
                    <a:pt x="2767783" y="1765310"/>
                    <a:pt x="2768873" y="1765310"/>
                  </a:cubicBezTo>
                  <a:close/>
                  <a:moveTo>
                    <a:pt x="2922454" y="1764220"/>
                  </a:moveTo>
                  <a:cubicBezTo>
                    <a:pt x="2924272" y="1764220"/>
                    <a:pt x="2925721" y="1765672"/>
                    <a:pt x="2925721" y="1767487"/>
                  </a:cubicBezTo>
                  <a:cubicBezTo>
                    <a:pt x="2925721" y="1769301"/>
                    <a:pt x="2924272" y="1770757"/>
                    <a:pt x="2922454" y="1770757"/>
                  </a:cubicBezTo>
                  <a:cubicBezTo>
                    <a:pt x="2920640" y="1770757"/>
                    <a:pt x="2919188" y="1769301"/>
                    <a:pt x="2919188" y="1767487"/>
                  </a:cubicBezTo>
                  <a:cubicBezTo>
                    <a:pt x="2919188" y="1765672"/>
                    <a:pt x="2920640" y="1764220"/>
                    <a:pt x="2922454" y="1764220"/>
                  </a:cubicBezTo>
                  <a:close/>
                  <a:moveTo>
                    <a:pt x="3076406" y="1763134"/>
                  </a:moveTo>
                  <a:cubicBezTo>
                    <a:pt x="3078948" y="1763134"/>
                    <a:pt x="3080762" y="1764948"/>
                    <a:pt x="3080762" y="1767491"/>
                  </a:cubicBezTo>
                  <a:cubicBezTo>
                    <a:pt x="3080762" y="1770033"/>
                    <a:pt x="3078586" y="1771848"/>
                    <a:pt x="3076406" y="1771848"/>
                  </a:cubicBezTo>
                  <a:cubicBezTo>
                    <a:pt x="3073863" y="1771848"/>
                    <a:pt x="3072048" y="1770033"/>
                    <a:pt x="3072048" y="1767491"/>
                  </a:cubicBezTo>
                  <a:cubicBezTo>
                    <a:pt x="3072048" y="1764948"/>
                    <a:pt x="3073863" y="1763134"/>
                    <a:pt x="3076406" y="1763134"/>
                  </a:cubicBezTo>
                  <a:close/>
                  <a:moveTo>
                    <a:pt x="3230353" y="1761681"/>
                  </a:moveTo>
                  <a:cubicBezTo>
                    <a:pt x="3233620" y="1761681"/>
                    <a:pt x="3236162" y="1764224"/>
                    <a:pt x="3236162" y="1767491"/>
                  </a:cubicBezTo>
                  <a:cubicBezTo>
                    <a:pt x="3236162" y="1770757"/>
                    <a:pt x="3233620" y="1773300"/>
                    <a:pt x="3230353" y="1773300"/>
                  </a:cubicBezTo>
                  <a:cubicBezTo>
                    <a:pt x="3227086" y="1773300"/>
                    <a:pt x="3224544" y="1770757"/>
                    <a:pt x="3224544" y="1767491"/>
                  </a:cubicBezTo>
                  <a:cubicBezTo>
                    <a:pt x="3224544" y="1764224"/>
                    <a:pt x="3227086" y="1761681"/>
                    <a:pt x="3230353" y="1761681"/>
                  </a:cubicBezTo>
                  <a:close/>
                  <a:moveTo>
                    <a:pt x="3383938" y="1760225"/>
                  </a:moveTo>
                  <a:cubicBezTo>
                    <a:pt x="3387933" y="1760225"/>
                    <a:pt x="3391200" y="1763492"/>
                    <a:pt x="3391200" y="1767487"/>
                  </a:cubicBezTo>
                  <a:cubicBezTo>
                    <a:pt x="3391200" y="1771481"/>
                    <a:pt x="3387933" y="1774748"/>
                    <a:pt x="3383938" y="1774748"/>
                  </a:cubicBezTo>
                  <a:cubicBezTo>
                    <a:pt x="3379943" y="1774748"/>
                    <a:pt x="3376676" y="1771481"/>
                    <a:pt x="3376676" y="1767487"/>
                  </a:cubicBezTo>
                  <a:cubicBezTo>
                    <a:pt x="3376676" y="1763492"/>
                    <a:pt x="3379943" y="1760225"/>
                    <a:pt x="3383938" y="1760225"/>
                  </a:cubicBezTo>
                  <a:close/>
                  <a:moveTo>
                    <a:pt x="3537882" y="1758411"/>
                  </a:moveTo>
                  <a:cubicBezTo>
                    <a:pt x="3542967" y="1758411"/>
                    <a:pt x="3546962" y="1762405"/>
                    <a:pt x="3546962" y="1767487"/>
                  </a:cubicBezTo>
                  <a:cubicBezTo>
                    <a:pt x="3546962" y="1772572"/>
                    <a:pt x="3542967" y="1776567"/>
                    <a:pt x="3537882" y="1776567"/>
                  </a:cubicBezTo>
                  <a:cubicBezTo>
                    <a:pt x="3532800" y="1776567"/>
                    <a:pt x="3528806" y="1772572"/>
                    <a:pt x="3528806" y="1767487"/>
                  </a:cubicBezTo>
                  <a:cubicBezTo>
                    <a:pt x="3528806" y="1762405"/>
                    <a:pt x="3532800" y="1758411"/>
                    <a:pt x="3537882" y="1758411"/>
                  </a:cubicBezTo>
                  <a:close/>
                  <a:moveTo>
                    <a:pt x="3691467" y="1757324"/>
                  </a:moveTo>
                  <a:cubicBezTo>
                    <a:pt x="3696914" y="1757324"/>
                    <a:pt x="3701633" y="1762043"/>
                    <a:pt x="3701633" y="1767491"/>
                  </a:cubicBezTo>
                  <a:cubicBezTo>
                    <a:pt x="3701633" y="1772938"/>
                    <a:pt x="3697276" y="1777657"/>
                    <a:pt x="3691467" y="1777657"/>
                  </a:cubicBezTo>
                  <a:cubicBezTo>
                    <a:pt x="3686020" y="1777657"/>
                    <a:pt x="3681300" y="1772938"/>
                    <a:pt x="3681300" y="1767491"/>
                  </a:cubicBezTo>
                  <a:cubicBezTo>
                    <a:pt x="3681300" y="1762043"/>
                    <a:pt x="3686020" y="1757324"/>
                    <a:pt x="3691467" y="1757324"/>
                  </a:cubicBezTo>
                  <a:close/>
                  <a:moveTo>
                    <a:pt x="3845414" y="1755506"/>
                  </a:moveTo>
                  <a:cubicBezTo>
                    <a:pt x="3851952" y="1755506"/>
                    <a:pt x="3857399" y="1760953"/>
                    <a:pt x="3857399" y="1767487"/>
                  </a:cubicBezTo>
                  <a:cubicBezTo>
                    <a:pt x="3857399" y="1774024"/>
                    <a:pt x="3851952" y="1779468"/>
                    <a:pt x="3845414" y="1779468"/>
                  </a:cubicBezTo>
                  <a:cubicBezTo>
                    <a:pt x="3838881" y="1779468"/>
                    <a:pt x="3833434" y="1774024"/>
                    <a:pt x="3833434" y="1767487"/>
                  </a:cubicBezTo>
                  <a:cubicBezTo>
                    <a:pt x="3833434" y="1760953"/>
                    <a:pt x="3838881" y="1755506"/>
                    <a:pt x="3845414" y="1755506"/>
                  </a:cubicBezTo>
                  <a:close/>
                  <a:moveTo>
                    <a:pt x="3999000" y="1753329"/>
                  </a:moveTo>
                  <a:cubicBezTo>
                    <a:pt x="4006627" y="1753329"/>
                    <a:pt x="4012799" y="1759501"/>
                    <a:pt x="4012799" y="1767125"/>
                  </a:cubicBezTo>
                  <a:cubicBezTo>
                    <a:pt x="4012799" y="1774752"/>
                    <a:pt x="4006627" y="1780924"/>
                    <a:pt x="3999000" y="1780924"/>
                  </a:cubicBezTo>
                  <a:cubicBezTo>
                    <a:pt x="3991376" y="1780924"/>
                    <a:pt x="3985204" y="1774752"/>
                    <a:pt x="3985204" y="1767125"/>
                  </a:cubicBezTo>
                  <a:cubicBezTo>
                    <a:pt x="3985204" y="1759501"/>
                    <a:pt x="3991376" y="1753329"/>
                    <a:pt x="3999000" y="1753329"/>
                  </a:cubicBezTo>
                  <a:close/>
                  <a:moveTo>
                    <a:pt x="4152947" y="1752239"/>
                  </a:moveTo>
                  <a:cubicBezTo>
                    <a:pt x="4161372" y="1752239"/>
                    <a:pt x="4168198" y="1759066"/>
                    <a:pt x="4168198" y="1767491"/>
                  </a:cubicBezTo>
                  <a:cubicBezTo>
                    <a:pt x="4168198" y="1775911"/>
                    <a:pt x="4161372" y="1782738"/>
                    <a:pt x="4152947" y="1782738"/>
                  </a:cubicBezTo>
                  <a:cubicBezTo>
                    <a:pt x="4144526" y="1782738"/>
                    <a:pt x="4137700" y="1775911"/>
                    <a:pt x="4137700" y="1767491"/>
                  </a:cubicBezTo>
                  <a:cubicBezTo>
                    <a:pt x="4137700" y="1759066"/>
                    <a:pt x="4144526" y="1752239"/>
                    <a:pt x="4152947" y="1752239"/>
                  </a:cubicBezTo>
                  <a:close/>
                  <a:moveTo>
                    <a:pt x="4306532" y="1750425"/>
                  </a:moveTo>
                  <a:cubicBezTo>
                    <a:pt x="4315970" y="1750425"/>
                    <a:pt x="4323598" y="1758048"/>
                    <a:pt x="4323598" y="1767491"/>
                  </a:cubicBezTo>
                  <a:cubicBezTo>
                    <a:pt x="4323598" y="1776929"/>
                    <a:pt x="4315970" y="1784556"/>
                    <a:pt x="4306532" y="1784556"/>
                  </a:cubicBezTo>
                  <a:cubicBezTo>
                    <a:pt x="4297090" y="1784556"/>
                    <a:pt x="4289466" y="1776929"/>
                    <a:pt x="4289466" y="1767491"/>
                  </a:cubicBezTo>
                  <a:cubicBezTo>
                    <a:pt x="4289466" y="1758048"/>
                    <a:pt x="4297090" y="1750425"/>
                    <a:pt x="4306532" y="1750425"/>
                  </a:cubicBezTo>
                  <a:close/>
                  <a:moveTo>
                    <a:pt x="4460480" y="1748244"/>
                  </a:moveTo>
                  <a:cubicBezTo>
                    <a:pt x="4471111" y="1748244"/>
                    <a:pt x="4479726" y="1756859"/>
                    <a:pt x="4479726" y="1767487"/>
                  </a:cubicBezTo>
                  <a:cubicBezTo>
                    <a:pt x="4479726" y="1778114"/>
                    <a:pt x="4471111" y="1786729"/>
                    <a:pt x="4460480" y="1786729"/>
                  </a:cubicBezTo>
                  <a:cubicBezTo>
                    <a:pt x="4449852" y="1786729"/>
                    <a:pt x="4441237" y="1778114"/>
                    <a:pt x="4441237" y="1767487"/>
                  </a:cubicBezTo>
                  <a:cubicBezTo>
                    <a:pt x="4441237" y="1756859"/>
                    <a:pt x="4449852" y="1748244"/>
                    <a:pt x="4460480" y="1748244"/>
                  </a:cubicBezTo>
                  <a:close/>
                  <a:moveTo>
                    <a:pt x="4614065" y="1746068"/>
                  </a:moveTo>
                  <a:cubicBezTo>
                    <a:pt x="4626046" y="1746068"/>
                    <a:pt x="4635484" y="1755506"/>
                    <a:pt x="4635484" y="1767491"/>
                  </a:cubicBezTo>
                  <a:cubicBezTo>
                    <a:pt x="4635484" y="1779471"/>
                    <a:pt x="4625684" y="1788913"/>
                    <a:pt x="4614065" y="1788913"/>
                  </a:cubicBezTo>
                  <a:cubicBezTo>
                    <a:pt x="4602084" y="1788913"/>
                    <a:pt x="4592642" y="1779471"/>
                    <a:pt x="4592642" y="1767491"/>
                  </a:cubicBezTo>
                  <a:cubicBezTo>
                    <a:pt x="4592642" y="1755506"/>
                    <a:pt x="4602084" y="1746068"/>
                    <a:pt x="4614065" y="1746068"/>
                  </a:cubicBezTo>
                  <a:close/>
                  <a:moveTo>
                    <a:pt x="4768012" y="1744615"/>
                  </a:moveTo>
                  <a:cubicBezTo>
                    <a:pt x="4780718" y="1744615"/>
                    <a:pt x="4790884" y="1754782"/>
                    <a:pt x="4790884" y="1767491"/>
                  </a:cubicBezTo>
                  <a:cubicBezTo>
                    <a:pt x="4790884" y="1780196"/>
                    <a:pt x="4780718" y="1790366"/>
                    <a:pt x="4768012" y="1790366"/>
                  </a:cubicBezTo>
                  <a:cubicBezTo>
                    <a:pt x="4755304" y="1790366"/>
                    <a:pt x="4745137" y="1780196"/>
                    <a:pt x="4745137" y="1767491"/>
                  </a:cubicBezTo>
                  <a:cubicBezTo>
                    <a:pt x="4745137" y="1754782"/>
                    <a:pt x="4755304" y="1744615"/>
                    <a:pt x="4768012" y="1744615"/>
                  </a:cubicBezTo>
                  <a:close/>
                  <a:moveTo>
                    <a:pt x="4921594" y="1742435"/>
                  </a:moveTo>
                  <a:cubicBezTo>
                    <a:pt x="4935393" y="1742435"/>
                    <a:pt x="4946650" y="1753691"/>
                    <a:pt x="4946650" y="1767487"/>
                  </a:cubicBezTo>
                  <a:cubicBezTo>
                    <a:pt x="4946650" y="1781286"/>
                    <a:pt x="4935393" y="1792538"/>
                    <a:pt x="4921594" y="1792538"/>
                  </a:cubicBezTo>
                  <a:cubicBezTo>
                    <a:pt x="4907798" y="1792538"/>
                    <a:pt x="4896542" y="1781286"/>
                    <a:pt x="4896542" y="1767487"/>
                  </a:cubicBezTo>
                  <a:cubicBezTo>
                    <a:pt x="4896542" y="1753691"/>
                    <a:pt x="4907798" y="1742435"/>
                    <a:pt x="4921594" y="1742435"/>
                  </a:cubicBezTo>
                  <a:close/>
                  <a:moveTo>
                    <a:pt x="5075545" y="1740258"/>
                  </a:moveTo>
                  <a:cubicBezTo>
                    <a:pt x="5090430" y="1740258"/>
                    <a:pt x="5102777" y="1752605"/>
                    <a:pt x="5102777" y="1767491"/>
                  </a:cubicBezTo>
                  <a:cubicBezTo>
                    <a:pt x="5102777" y="1782376"/>
                    <a:pt x="5090792" y="1794723"/>
                    <a:pt x="5075545" y="1794723"/>
                  </a:cubicBezTo>
                  <a:cubicBezTo>
                    <a:pt x="5060656" y="1794723"/>
                    <a:pt x="5048313" y="1782376"/>
                    <a:pt x="5048313" y="1767491"/>
                  </a:cubicBezTo>
                  <a:cubicBezTo>
                    <a:pt x="5048313" y="1752605"/>
                    <a:pt x="5060656" y="1740258"/>
                    <a:pt x="5075545" y="1740258"/>
                  </a:cubicBezTo>
                  <a:close/>
                  <a:moveTo>
                    <a:pt x="5229126" y="1737716"/>
                  </a:moveTo>
                  <a:cubicBezTo>
                    <a:pt x="5245571" y="1737716"/>
                    <a:pt x="5258901" y="1751046"/>
                    <a:pt x="5258901" y="1767491"/>
                  </a:cubicBezTo>
                  <a:cubicBezTo>
                    <a:pt x="5258901" y="1783931"/>
                    <a:pt x="5245571" y="1797261"/>
                    <a:pt x="5229126" y="1797261"/>
                  </a:cubicBezTo>
                  <a:cubicBezTo>
                    <a:pt x="5212686" y="1797261"/>
                    <a:pt x="5199356" y="1783931"/>
                    <a:pt x="5199356" y="1767491"/>
                  </a:cubicBezTo>
                  <a:cubicBezTo>
                    <a:pt x="5199356" y="1751046"/>
                    <a:pt x="5212686" y="1737716"/>
                    <a:pt x="5229126" y="1737716"/>
                  </a:cubicBezTo>
                  <a:close/>
                  <a:moveTo>
                    <a:pt x="5383074" y="1735535"/>
                  </a:moveTo>
                  <a:cubicBezTo>
                    <a:pt x="5400864" y="1735535"/>
                    <a:pt x="5415025" y="1749697"/>
                    <a:pt x="5415025" y="1767487"/>
                  </a:cubicBezTo>
                  <a:cubicBezTo>
                    <a:pt x="5415025" y="1785277"/>
                    <a:pt x="5400864" y="1799438"/>
                    <a:pt x="5383074" y="1799438"/>
                  </a:cubicBezTo>
                  <a:cubicBezTo>
                    <a:pt x="5365284" y="1799438"/>
                    <a:pt x="5351122" y="1785277"/>
                    <a:pt x="5351122" y="1767487"/>
                  </a:cubicBezTo>
                  <a:cubicBezTo>
                    <a:pt x="5351122" y="1749697"/>
                    <a:pt x="5365284" y="1735535"/>
                    <a:pt x="5383074" y="1735535"/>
                  </a:cubicBezTo>
                  <a:close/>
                  <a:moveTo>
                    <a:pt x="5537025" y="1733721"/>
                  </a:moveTo>
                  <a:cubicBezTo>
                    <a:pt x="5555673" y="1733721"/>
                    <a:pt x="5570791" y="1748839"/>
                    <a:pt x="5570791" y="1767487"/>
                  </a:cubicBezTo>
                  <a:cubicBezTo>
                    <a:pt x="5570791" y="1786138"/>
                    <a:pt x="5555673" y="1801256"/>
                    <a:pt x="5537025" y="1801256"/>
                  </a:cubicBezTo>
                  <a:cubicBezTo>
                    <a:pt x="5518374" y="1801256"/>
                    <a:pt x="5503256" y="1786138"/>
                    <a:pt x="5503256" y="1767487"/>
                  </a:cubicBezTo>
                  <a:cubicBezTo>
                    <a:pt x="5503256" y="1748839"/>
                    <a:pt x="5518374" y="1733721"/>
                    <a:pt x="5537025" y="1733721"/>
                  </a:cubicBezTo>
                  <a:close/>
                  <a:moveTo>
                    <a:pt x="5690606" y="1731182"/>
                  </a:moveTo>
                  <a:cubicBezTo>
                    <a:pt x="5710577" y="1731182"/>
                    <a:pt x="5726915" y="1747520"/>
                    <a:pt x="5726915" y="1767491"/>
                  </a:cubicBezTo>
                  <a:cubicBezTo>
                    <a:pt x="5726915" y="1787461"/>
                    <a:pt x="5710577" y="1803799"/>
                    <a:pt x="5690606" y="1803799"/>
                  </a:cubicBezTo>
                  <a:cubicBezTo>
                    <a:pt x="5670636" y="1803799"/>
                    <a:pt x="5654298" y="1787461"/>
                    <a:pt x="5654298" y="1767491"/>
                  </a:cubicBezTo>
                  <a:cubicBezTo>
                    <a:pt x="5654298" y="1747520"/>
                    <a:pt x="5670636" y="1731182"/>
                    <a:pt x="5690606" y="1731182"/>
                  </a:cubicBezTo>
                  <a:close/>
                  <a:moveTo>
                    <a:pt x="5844554" y="1728640"/>
                  </a:moveTo>
                  <a:cubicBezTo>
                    <a:pt x="5865973" y="1728640"/>
                    <a:pt x="5883405" y="1746068"/>
                    <a:pt x="5883405" y="1767491"/>
                  </a:cubicBezTo>
                  <a:cubicBezTo>
                    <a:pt x="5883405" y="1788910"/>
                    <a:pt x="5865973" y="1806338"/>
                    <a:pt x="5844554" y="1806338"/>
                  </a:cubicBezTo>
                  <a:cubicBezTo>
                    <a:pt x="5823131" y="1806338"/>
                    <a:pt x="5805703" y="1788910"/>
                    <a:pt x="5805703" y="1767491"/>
                  </a:cubicBezTo>
                  <a:cubicBezTo>
                    <a:pt x="5805703" y="1746068"/>
                    <a:pt x="5823131" y="1728640"/>
                    <a:pt x="5844554" y="1728640"/>
                  </a:cubicBezTo>
                  <a:close/>
                  <a:moveTo>
                    <a:pt x="5998136" y="1726459"/>
                  </a:moveTo>
                  <a:cubicBezTo>
                    <a:pt x="6021010" y="1726459"/>
                    <a:pt x="6039166" y="1744615"/>
                    <a:pt x="6039166" y="1767487"/>
                  </a:cubicBezTo>
                  <a:cubicBezTo>
                    <a:pt x="6039166" y="1790362"/>
                    <a:pt x="6020648" y="1808518"/>
                    <a:pt x="5998136" y="1808518"/>
                  </a:cubicBezTo>
                  <a:cubicBezTo>
                    <a:pt x="5975264" y="1808518"/>
                    <a:pt x="5957108" y="1790362"/>
                    <a:pt x="5957108" y="1767487"/>
                  </a:cubicBezTo>
                  <a:cubicBezTo>
                    <a:pt x="5957108" y="1744615"/>
                    <a:pt x="5975264" y="1726459"/>
                    <a:pt x="5998136" y="1726459"/>
                  </a:cubicBezTo>
                  <a:close/>
                  <a:moveTo>
                    <a:pt x="6152086" y="1723917"/>
                  </a:moveTo>
                  <a:cubicBezTo>
                    <a:pt x="6176048" y="1723917"/>
                    <a:pt x="6195656" y="1743525"/>
                    <a:pt x="6195656" y="1767487"/>
                  </a:cubicBezTo>
                  <a:cubicBezTo>
                    <a:pt x="6195656" y="1791452"/>
                    <a:pt x="6176048" y="1811057"/>
                    <a:pt x="6152086" y="1811057"/>
                  </a:cubicBezTo>
                  <a:cubicBezTo>
                    <a:pt x="6128121" y="1811057"/>
                    <a:pt x="6108516" y="1791452"/>
                    <a:pt x="6108516" y="1767487"/>
                  </a:cubicBezTo>
                  <a:cubicBezTo>
                    <a:pt x="6108516" y="1743525"/>
                    <a:pt x="6128121" y="1723917"/>
                    <a:pt x="6152086" y="1723917"/>
                  </a:cubicBezTo>
                  <a:close/>
                  <a:moveTo>
                    <a:pt x="6305668" y="1721378"/>
                  </a:moveTo>
                  <a:cubicBezTo>
                    <a:pt x="6331086" y="1721378"/>
                    <a:pt x="6351777" y="1742073"/>
                    <a:pt x="6351777" y="1767491"/>
                  </a:cubicBezTo>
                  <a:cubicBezTo>
                    <a:pt x="6351777" y="1792904"/>
                    <a:pt x="6331086" y="1813603"/>
                    <a:pt x="6305668" y="1813603"/>
                  </a:cubicBezTo>
                  <a:cubicBezTo>
                    <a:pt x="6280250" y="1813603"/>
                    <a:pt x="6259556" y="1792904"/>
                    <a:pt x="6259556" y="1767491"/>
                  </a:cubicBezTo>
                  <a:cubicBezTo>
                    <a:pt x="6259556" y="1742073"/>
                    <a:pt x="6280250" y="1721378"/>
                    <a:pt x="6305668" y="1721378"/>
                  </a:cubicBezTo>
                  <a:close/>
                  <a:moveTo>
                    <a:pt x="6459619" y="1718835"/>
                  </a:moveTo>
                  <a:cubicBezTo>
                    <a:pt x="6486486" y="1718835"/>
                    <a:pt x="6508270" y="1740620"/>
                    <a:pt x="6508270" y="1767491"/>
                  </a:cubicBezTo>
                  <a:cubicBezTo>
                    <a:pt x="6508270" y="1794357"/>
                    <a:pt x="6486486" y="1816142"/>
                    <a:pt x="6459619" y="1816142"/>
                  </a:cubicBezTo>
                  <a:cubicBezTo>
                    <a:pt x="6432749" y="1816142"/>
                    <a:pt x="6410964" y="1794357"/>
                    <a:pt x="6410964" y="1767491"/>
                  </a:cubicBezTo>
                  <a:cubicBezTo>
                    <a:pt x="6410964" y="1740620"/>
                    <a:pt x="6432749" y="1718835"/>
                    <a:pt x="6459619" y="1718835"/>
                  </a:cubicBezTo>
                  <a:close/>
                  <a:moveTo>
                    <a:pt x="6613200" y="1716293"/>
                  </a:moveTo>
                  <a:cubicBezTo>
                    <a:pt x="6641523" y="1716293"/>
                    <a:pt x="6664398" y="1739168"/>
                    <a:pt x="6664398" y="1767487"/>
                  </a:cubicBezTo>
                  <a:cubicBezTo>
                    <a:pt x="6664398" y="1795809"/>
                    <a:pt x="6641523" y="1818681"/>
                    <a:pt x="6613200" y="1818681"/>
                  </a:cubicBezTo>
                  <a:cubicBezTo>
                    <a:pt x="6584882" y="1818681"/>
                    <a:pt x="6562007" y="1795809"/>
                    <a:pt x="6562007" y="1767487"/>
                  </a:cubicBezTo>
                  <a:cubicBezTo>
                    <a:pt x="6562007" y="1739168"/>
                    <a:pt x="6584882" y="1716293"/>
                    <a:pt x="6613200" y="1716293"/>
                  </a:cubicBezTo>
                  <a:close/>
                  <a:moveTo>
                    <a:pt x="2307393" y="1613539"/>
                  </a:moveTo>
                  <a:cubicBezTo>
                    <a:pt x="2307755" y="1613539"/>
                    <a:pt x="2307755" y="1613539"/>
                    <a:pt x="2307755" y="1613901"/>
                  </a:cubicBezTo>
                  <a:cubicBezTo>
                    <a:pt x="2307755" y="1614267"/>
                    <a:pt x="2307393" y="1614267"/>
                    <a:pt x="2307393" y="1614267"/>
                  </a:cubicBezTo>
                  <a:cubicBezTo>
                    <a:pt x="2307031" y="1614267"/>
                    <a:pt x="2307031" y="1614267"/>
                    <a:pt x="2307031" y="1613901"/>
                  </a:cubicBezTo>
                  <a:cubicBezTo>
                    <a:pt x="2307031" y="1613539"/>
                    <a:pt x="2307031" y="1613539"/>
                    <a:pt x="2307393" y="1613539"/>
                  </a:cubicBezTo>
                  <a:close/>
                  <a:moveTo>
                    <a:pt x="1846279" y="1613539"/>
                  </a:moveTo>
                  <a:cubicBezTo>
                    <a:pt x="1846641" y="1613539"/>
                    <a:pt x="1846641" y="1613539"/>
                    <a:pt x="1846641" y="1613901"/>
                  </a:cubicBezTo>
                  <a:cubicBezTo>
                    <a:pt x="1846641" y="1614267"/>
                    <a:pt x="1846279" y="1614267"/>
                    <a:pt x="1846279" y="1614267"/>
                  </a:cubicBezTo>
                  <a:cubicBezTo>
                    <a:pt x="1845917" y="1614267"/>
                    <a:pt x="1845917" y="1614267"/>
                    <a:pt x="1845917" y="1613901"/>
                  </a:cubicBezTo>
                  <a:cubicBezTo>
                    <a:pt x="1845917" y="1613539"/>
                    <a:pt x="1845917" y="1613539"/>
                    <a:pt x="1846279" y="1613539"/>
                  </a:cubicBezTo>
                  <a:close/>
                  <a:moveTo>
                    <a:pt x="1692331" y="1613539"/>
                  </a:moveTo>
                  <a:cubicBezTo>
                    <a:pt x="1692694" y="1613539"/>
                    <a:pt x="1692694" y="1613539"/>
                    <a:pt x="1692694" y="1613901"/>
                  </a:cubicBezTo>
                  <a:cubicBezTo>
                    <a:pt x="1692694" y="1614267"/>
                    <a:pt x="1692331" y="1614267"/>
                    <a:pt x="1692331" y="1614267"/>
                  </a:cubicBezTo>
                  <a:cubicBezTo>
                    <a:pt x="1691969" y="1614267"/>
                    <a:pt x="1691969" y="1614267"/>
                    <a:pt x="1691969" y="1613901"/>
                  </a:cubicBezTo>
                  <a:cubicBezTo>
                    <a:pt x="1691969" y="1613539"/>
                    <a:pt x="1691969" y="1613539"/>
                    <a:pt x="1692331" y="1613539"/>
                  </a:cubicBezTo>
                  <a:close/>
                  <a:moveTo>
                    <a:pt x="1538746" y="1613177"/>
                  </a:moveTo>
                  <a:cubicBezTo>
                    <a:pt x="1539108" y="1613177"/>
                    <a:pt x="1539470" y="1613539"/>
                    <a:pt x="1539470" y="1613905"/>
                  </a:cubicBezTo>
                  <a:cubicBezTo>
                    <a:pt x="1539470" y="1614267"/>
                    <a:pt x="1538746" y="1614630"/>
                    <a:pt x="1538746" y="1614630"/>
                  </a:cubicBezTo>
                  <a:cubicBezTo>
                    <a:pt x="1538380" y="1614630"/>
                    <a:pt x="1538018" y="1614267"/>
                    <a:pt x="1538018" y="1613905"/>
                  </a:cubicBezTo>
                  <a:cubicBezTo>
                    <a:pt x="1538018" y="1613539"/>
                    <a:pt x="1538380" y="1613177"/>
                    <a:pt x="1538746" y="1613177"/>
                  </a:cubicBezTo>
                  <a:close/>
                  <a:moveTo>
                    <a:pt x="2461340" y="1612091"/>
                  </a:moveTo>
                  <a:cubicBezTo>
                    <a:pt x="2462064" y="1612091"/>
                    <a:pt x="2462793" y="1612815"/>
                    <a:pt x="2462793" y="1613543"/>
                  </a:cubicBezTo>
                  <a:cubicBezTo>
                    <a:pt x="2462793" y="1614267"/>
                    <a:pt x="2461340" y="1614995"/>
                    <a:pt x="2461340" y="1614995"/>
                  </a:cubicBezTo>
                  <a:cubicBezTo>
                    <a:pt x="2460612" y="1614995"/>
                    <a:pt x="2459888" y="1614267"/>
                    <a:pt x="2459888" y="1613543"/>
                  </a:cubicBezTo>
                  <a:cubicBezTo>
                    <a:pt x="2459888" y="1612815"/>
                    <a:pt x="2460612" y="1612091"/>
                    <a:pt x="2461340" y="1612091"/>
                  </a:cubicBezTo>
                  <a:close/>
                  <a:moveTo>
                    <a:pt x="2614922" y="1611363"/>
                  </a:moveTo>
                  <a:cubicBezTo>
                    <a:pt x="2616012" y="1611363"/>
                    <a:pt x="2617102" y="1612453"/>
                    <a:pt x="2617102" y="1613539"/>
                  </a:cubicBezTo>
                  <a:cubicBezTo>
                    <a:pt x="2617102" y="1614630"/>
                    <a:pt x="2614922" y="1615720"/>
                    <a:pt x="2614922" y="1615720"/>
                  </a:cubicBezTo>
                  <a:cubicBezTo>
                    <a:pt x="2613835" y="1615720"/>
                    <a:pt x="2612745" y="1614630"/>
                    <a:pt x="2612745" y="1613539"/>
                  </a:cubicBezTo>
                  <a:cubicBezTo>
                    <a:pt x="2612745" y="1612453"/>
                    <a:pt x="2613835" y="1611363"/>
                    <a:pt x="2614922" y="1611363"/>
                  </a:cubicBezTo>
                  <a:close/>
                  <a:moveTo>
                    <a:pt x="2768877" y="1610638"/>
                  </a:moveTo>
                  <a:cubicBezTo>
                    <a:pt x="2770691" y="1610638"/>
                    <a:pt x="2772144" y="1612091"/>
                    <a:pt x="2772144" y="1613905"/>
                  </a:cubicBezTo>
                  <a:cubicBezTo>
                    <a:pt x="2772144" y="1615720"/>
                    <a:pt x="2770691" y="1617176"/>
                    <a:pt x="2768877" y="1617176"/>
                  </a:cubicBezTo>
                  <a:cubicBezTo>
                    <a:pt x="2767058" y="1617176"/>
                    <a:pt x="2765606" y="1615720"/>
                    <a:pt x="2765606" y="1613905"/>
                  </a:cubicBezTo>
                  <a:cubicBezTo>
                    <a:pt x="2765606" y="1612091"/>
                    <a:pt x="2767058" y="1610638"/>
                    <a:pt x="2768877" y="1610638"/>
                  </a:cubicBezTo>
                  <a:close/>
                  <a:moveTo>
                    <a:pt x="2922458" y="1609182"/>
                  </a:moveTo>
                  <a:cubicBezTo>
                    <a:pt x="2925000" y="1609182"/>
                    <a:pt x="2926815" y="1610997"/>
                    <a:pt x="2926815" y="1613539"/>
                  </a:cubicBezTo>
                  <a:cubicBezTo>
                    <a:pt x="2926815" y="1616082"/>
                    <a:pt x="2924635" y="1617896"/>
                    <a:pt x="2922458" y="1617896"/>
                  </a:cubicBezTo>
                  <a:cubicBezTo>
                    <a:pt x="2919916" y="1617896"/>
                    <a:pt x="2918101" y="1616082"/>
                    <a:pt x="2918101" y="1613539"/>
                  </a:cubicBezTo>
                  <a:cubicBezTo>
                    <a:pt x="2918101" y="1610997"/>
                    <a:pt x="2919916" y="1609182"/>
                    <a:pt x="2922458" y="1609182"/>
                  </a:cubicBezTo>
                  <a:close/>
                  <a:moveTo>
                    <a:pt x="3076406" y="1608096"/>
                  </a:moveTo>
                  <a:cubicBezTo>
                    <a:pt x="3079672" y="1608096"/>
                    <a:pt x="3082215" y="1610638"/>
                    <a:pt x="3082215" y="1613905"/>
                  </a:cubicBezTo>
                  <a:cubicBezTo>
                    <a:pt x="3082215" y="1617172"/>
                    <a:pt x="3079672" y="1619715"/>
                    <a:pt x="3076406" y="1619715"/>
                  </a:cubicBezTo>
                  <a:cubicBezTo>
                    <a:pt x="3073139" y="1619715"/>
                    <a:pt x="3070596" y="1617172"/>
                    <a:pt x="3070596" y="1613905"/>
                  </a:cubicBezTo>
                  <a:cubicBezTo>
                    <a:pt x="3070596" y="1610638"/>
                    <a:pt x="3073139" y="1608096"/>
                    <a:pt x="3076406" y="1608096"/>
                  </a:cubicBezTo>
                  <a:close/>
                  <a:moveTo>
                    <a:pt x="3230353" y="1606281"/>
                  </a:moveTo>
                  <a:cubicBezTo>
                    <a:pt x="3234348" y="1606281"/>
                    <a:pt x="3237614" y="1609548"/>
                    <a:pt x="3237614" y="1613543"/>
                  </a:cubicBezTo>
                  <a:cubicBezTo>
                    <a:pt x="3237614" y="1617538"/>
                    <a:pt x="3234348" y="1620805"/>
                    <a:pt x="3230353" y="1620805"/>
                  </a:cubicBezTo>
                  <a:cubicBezTo>
                    <a:pt x="3226358" y="1620805"/>
                    <a:pt x="3223091" y="1617538"/>
                    <a:pt x="3223091" y="1613543"/>
                  </a:cubicBezTo>
                  <a:cubicBezTo>
                    <a:pt x="3223091" y="1609548"/>
                    <a:pt x="3226358" y="1606281"/>
                    <a:pt x="3230353" y="1606281"/>
                  </a:cubicBezTo>
                  <a:close/>
                  <a:moveTo>
                    <a:pt x="3383934" y="1604463"/>
                  </a:moveTo>
                  <a:cubicBezTo>
                    <a:pt x="3389019" y="1604463"/>
                    <a:pt x="3393014" y="1608458"/>
                    <a:pt x="3393014" y="1613539"/>
                  </a:cubicBezTo>
                  <a:cubicBezTo>
                    <a:pt x="3393014" y="1618624"/>
                    <a:pt x="3389019" y="1622619"/>
                    <a:pt x="3383934" y="1622619"/>
                  </a:cubicBezTo>
                  <a:cubicBezTo>
                    <a:pt x="3378853" y="1622619"/>
                    <a:pt x="3374858" y="1618624"/>
                    <a:pt x="3374858" y="1613539"/>
                  </a:cubicBezTo>
                  <a:cubicBezTo>
                    <a:pt x="3374858" y="1608458"/>
                    <a:pt x="3378853" y="1604463"/>
                    <a:pt x="3383934" y="1604463"/>
                  </a:cubicBezTo>
                  <a:close/>
                  <a:moveTo>
                    <a:pt x="3537886" y="1603739"/>
                  </a:moveTo>
                  <a:cubicBezTo>
                    <a:pt x="3543333" y="1603739"/>
                    <a:pt x="3548052" y="1608458"/>
                    <a:pt x="3548052" y="1613905"/>
                  </a:cubicBezTo>
                  <a:cubicBezTo>
                    <a:pt x="3548052" y="1619352"/>
                    <a:pt x="3543695" y="1624072"/>
                    <a:pt x="3537886" y="1624072"/>
                  </a:cubicBezTo>
                  <a:cubicBezTo>
                    <a:pt x="3532438" y="1624072"/>
                    <a:pt x="3527719" y="1619352"/>
                    <a:pt x="3527719" y="1613905"/>
                  </a:cubicBezTo>
                  <a:cubicBezTo>
                    <a:pt x="3527719" y="1608458"/>
                    <a:pt x="3532438" y="1603739"/>
                    <a:pt x="3537886" y="1603739"/>
                  </a:cubicBezTo>
                  <a:close/>
                  <a:moveTo>
                    <a:pt x="3691467" y="1601559"/>
                  </a:moveTo>
                  <a:cubicBezTo>
                    <a:pt x="3698004" y="1601559"/>
                    <a:pt x="3703452" y="1607006"/>
                    <a:pt x="3703452" y="1613539"/>
                  </a:cubicBezTo>
                  <a:cubicBezTo>
                    <a:pt x="3703452" y="1620077"/>
                    <a:pt x="3698004" y="1625520"/>
                    <a:pt x="3691467" y="1625520"/>
                  </a:cubicBezTo>
                  <a:cubicBezTo>
                    <a:pt x="3684933" y="1625520"/>
                    <a:pt x="3679486" y="1620077"/>
                    <a:pt x="3679486" y="1613539"/>
                  </a:cubicBezTo>
                  <a:cubicBezTo>
                    <a:pt x="3679486" y="1607006"/>
                    <a:pt x="3684933" y="1601559"/>
                    <a:pt x="3691467" y="1601559"/>
                  </a:cubicBezTo>
                  <a:close/>
                  <a:moveTo>
                    <a:pt x="3845418" y="1599744"/>
                  </a:moveTo>
                  <a:cubicBezTo>
                    <a:pt x="3853042" y="1599744"/>
                    <a:pt x="3859214" y="1605916"/>
                    <a:pt x="3859214" y="1613539"/>
                  </a:cubicBezTo>
                  <a:cubicBezTo>
                    <a:pt x="3859214" y="1621167"/>
                    <a:pt x="3853042" y="1627338"/>
                    <a:pt x="3845418" y="1627338"/>
                  </a:cubicBezTo>
                  <a:cubicBezTo>
                    <a:pt x="3837790" y="1627338"/>
                    <a:pt x="3831619" y="1621167"/>
                    <a:pt x="3831619" y="1613539"/>
                  </a:cubicBezTo>
                  <a:cubicBezTo>
                    <a:pt x="3831619" y="1605916"/>
                    <a:pt x="3837790" y="1599744"/>
                    <a:pt x="3845418" y="1599744"/>
                  </a:cubicBezTo>
                  <a:close/>
                  <a:moveTo>
                    <a:pt x="3999000" y="1598654"/>
                  </a:moveTo>
                  <a:cubicBezTo>
                    <a:pt x="4007352" y="1598654"/>
                    <a:pt x="4014251" y="1605553"/>
                    <a:pt x="4014251" y="1613905"/>
                  </a:cubicBezTo>
                  <a:cubicBezTo>
                    <a:pt x="4014251" y="1622253"/>
                    <a:pt x="4007352" y="1629153"/>
                    <a:pt x="3999000" y="1629153"/>
                  </a:cubicBezTo>
                  <a:cubicBezTo>
                    <a:pt x="3990652" y="1629153"/>
                    <a:pt x="3983752" y="1622253"/>
                    <a:pt x="3983752" y="1613905"/>
                  </a:cubicBezTo>
                  <a:cubicBezTo>
                    <a:pt x="3983752" y="1605553"/>
                    <a:pt x="3990652" y="1598654"/>
                    <a:pt x="3999000" y="1598654"/>
                  </a:cubicBezTo>
                  <a:close/>
                  <a:moveTo>
                    <a:pt x="4152947" y="1596477"/>
                  </a:moveTo>
                  <a:cubicBezTo>
                    <a:pt x="4162386" y="1596477"/>
                    <a:pt x="4170013" y="1604101"/>
                    <a:pt x="4170013" y="1613543"/>
                  </a:cubicBezTo>
                  <a:cubicBezTo>
                    <a:pt x="4170013" y="1622981"/>
                    <a:pt x="4162386" y="1630605"/>
                    <a:pt x="4152947" y="1630605"/>
                  </a:cubicBezTo>
                  <a:cubicBezTo>
                    <a:pt x="4143505" y="1630605"/>
                    <a:pt x="4135881" y="1622981"/>
                    <a:pt x="4135881" y="1613543"/>
                  </a:cubicBezTo>
                  <a:cubicBezTo>
                    <a:pt x="4135881" y="1604101"/>
                    <a:pt x="4143505" y="1596477"/>
                    <a:pt x="4152947" y="1596477"/>
                  </a:cubicBezTo>
                  <a:close/>
                  <a:moveTo>
                    <a:pt x="4306528" y="1594297"/>
                  </a:moveTo>
                  <a:cubicBezTo>
                    <a:pt x="4317060" y="1594297"/>
                    <a:pt x="4325771" y="1603011"/>
                    <a:pt x="4325771" y="1613539"/>
                  </a:cubicBezTo>
                  <a:cubicBezTo>
                    <a:pt x="4325771" y="1624068"/>
                    <a:pt x="4317060" y="1632786"/>
                    <a:pt x="4306528" y="1632786"/>
                  </a:cubicBezTo>
                  <a:cubicBezTo>
                    <a:pt x="4296000" y="1632786"/>
                    <a:pt x="4287286" y="1624068"/>
                    <a:pt x="4287286" y="1613539"/>
                  </a:cubicBezTo>
                  <a:cubicBezTo>
                    <a:pt x="4287286" y="1603011"/>
                    <a:pt x="4296000" y="1594297"/>
                    <a:pt x="4306528" y="1594297"/>
                  </a:cubicBezTo>
                  <a:close/>
                  <a:moveTo>
                    <a:pt x="4460480" y="1592120"/>
                  </a:moveTo>
                  <a:cubicBezTo>
                    <a:pt x="4472460" y="1592120"/>
                    <a:pt x="4481898" y="1601562"/>
                    <a:pt x="4481898" y="1613543"/>
                  </a:cubicBezTo>
                  <a:cubicBezTo>
                    <a:pt x="4481898" y="1625524"/>
                    <a:pt x="4472094" y="1634966"/>
                    <a:pt x="4460480" y="1634966"/>
                  </a:cubicBezTo>
                  <a:cubicBezTo>
                    <a:pt x="4448495" y="1634966"/>
                    <a:pt x="4439057" y="1625524"/>
                    <a:pt x="4439057" y="1613543"/>
                  </a:cubicBezTo>
                  <a:cubicBezTo>
                    <a:pt x="4439057" y="1601562"/>
                    <a:pt x="4448495" y="1592120"/>
                    <a:pt x="4460480" y="1592120"/>
                  </a:cubicBezTo>
                  <a:close/>
                  <a:moveTo>
                    <a:pt x="4614065" y="1591030"/>
                  </a:moveTo>
                  <a:cubicBezTo>
                    <a:pt x="4626774" y="1591030"/>
                    <a:pt x="4636940" y="1601196"/>
                    <a:pt x="4636940" y="1613905"/>
                  </a:cubicBezTo>
                  <a:cubicBezTo>
                    <a:pt x="4636940" y="1626610"/>
                    <a:pt x="4626774" y="1636780"/>
                    <a:pt x="4614065" y="1636780"/>
                  </a:cubicBezTo>
                  <a:cubicBezTo>
                    <a:pt x="4601356" y="1636780"/>
                    <a:pt x="4591190" y="1626610"/>
                    <a:pt x="4591190" y="1613905"/>
                  </a:cubicBezTo>
                  <a:cubicBezTo>
                    <a:pt x="4591190" y="1601196"/>
                    <a:pt x="4601356" y="1591030"/>
                    <a:pt x="4614065" y="1591030"/>
                  </a:cubicBezTo>
                  <a:close/>
                  <a:moveTo>
                    <a:pt x="4768008" y="1588850"/>
                  </a:moveTo>
                  <a:cubicBezTo>
                    <a:pt x="4781808" y="1588850"/>
                    <a:pt x="4793064" y="1600106"/>
                    <a:pt x="4793064" y="1613901"/>
                  </a:cubicBezTo>
                  <a:cubicBezTo>
                    <a:pt x="4793064" y="1627700"/>
                    <a:pt x="4781808" y="1638957"/>
                    <a:pt x="4768008" y="1638957"/>
                  </a:cubicBezTo>
                  <a:cubicBezTo>
                    <a:pt x="4754214" y="1638957"/>
                    <a:pt x="4742956" y="1627700"/>
                    <a:pt x="4742956" y="1613901"/>
                  </a:cubicBezTo>
                  <a:cubicBezTo>
                    <a:pt x="4742956" y="1600106"/>
                    <a:pt x="4754214" y="1588850"/>
                    <a:pt x="4768008" y="1588850"/>
                  </a:cubicBezTo>
                  <a:close/>
                  <a:moveTo>
                    <a:pt x="4921594" y="1586673"/>
                  </a:moveTo>
                  <a:cubicBezTo>
                    <a:pt x="4936480" y="1586673"/>
                    <a:pt x="4948826" y="1599020"/>
                    <a:pt x="4948826" y="1613905"/>
                  </a:cubicBezTo>
                  <a:cubicBezTo>
                    <a:pt x="4948826" y="1628791"/>
                    <a:pt x="4936842" y="1641137"/>
                    <a:pt x="4921594" y="1641137"/>
                  </a:cubicBezTo>
                  <a:cubicBezTo>
                    <a:pt x="4906704" y="1641137"/>
                    <a:pt x="4894362" y="1628791"/>
                    <a:pt x="4894362" y="1613905"/>
                  </a:cubicBezTo>
                  <a:cubicBezTo>
                    <a:pt x="4894362" y="1599020"/>
                    <a:pt x="4906704" y="1586673"/>
                    <a:pt x="4921594" y="1586673"/>
                  </a:cubicBezTo>
                  <a:close/>
                  <a:moveTo>
                    <a:pt x="5075545" y="1584131"/>
                  </a:moveTo>
                  <a:cubicBezTo>
                    <a:pt x="5091883" y="1584131"/>
                    <a:pt x="5105316" y="1597564"/>
                    <a:pt x="5105316" y="1613901"/>
                  </a:cubicBezTo>
                  <a:cubicBezTo>
                    <a:pt x="5105316" y="1630243"/>
                    <a:pt x="5091883" y="1643676"/>
                    <a:pt x="5075545" y="1643676"/>
                  </a:cubicBezTo>
                  <a:cubicBezTo>
                    <a:pt x="5059204" y="1643676"/>
                    <a:pt x="5045770" y="1630243"/>
                    <a:pt x="5045770" y="1613901"/>
                  </a:cubicBezTo>
                  <a:cubicBezTo>
                    <a:pt x="5045770" y="1597564"/>
                    <a:pt x="5059204" y="1584131"/>
                    <a:pt x="5075545" y="1584131"/>
                  </a:cubicBezTo>
                  <a:close/>
                  <a:moveTo>
                    <a:pt x="5229126" y="1581592"/>
                  </a:moveTo>
                  <a:cubicBezTo>
                    <a:pt x="5246916" y="1581592"/>
                    <a:pt x="5261078" y="1595753"/>
                    <a:pt x="5261078" y="1613543"/>
                  </a:cubicBezTo>
                  <a:cubicBezTo>
                    <a:pt x="5261078" y="1631333"/>
                    <a:pt x="5246916" y="1645494"/>
                    <a:pt x="5229126" y="1645494"/>
                  </a:cubicBezTo>
                  <a:cubicBezTo>
                    <a:pt x="5211336" y="1645494"/>
                    <a:pt x="5197175" y="1631333"/>
                    <a:pt x="5197175" y="1613543"/>
                  </a:cubicBezTo>
                  <a:cubicBezTo>
                    <a:pt x="5197175" y="1595753"/>
                    <a:pt x="5211336" y="1581592"/>
                    <a:pt x="5229126" y="1581592"/>
                  </a:cubicBezTo>
                  <a:close/>
                  <a:moveTo>
                    <a:pt x="5383074" y="1579773"/>
                  </a:moveTo>
                  <a:cubicBezTo>
                    <a:pt x="5401592" y="1579773"/>
                    <a:pt x="5416844" y="1595025"/>
                    <a:pt x="5416844" y="1613539"/>
                  </a:cubicBezTo>
                  <a:cubicBezTo>
                    <a:pt x="5416844" y="1632058"/>
                    <a:pt x="5401592" y="1647309"/>
                    <a:pt x="5383074" y="1647309"/>
                  </a:cubicBezTo>
                  <a:cubicBezTo>
                    <a:pt x="5364560" y="1647309"/>
                    <a:pt x="5349308" y="1632058"/>
                    <a:pt x="5349308" y="1613539"/>
                  </a:cubicBezTo>
                  <a:cubicBezTo>
                    <a:pt x="5349308" y="1595025"/>
                    <a:pt x="5364560" y="1579773"/>
                    <a:pt x="5383074" y="1579773"/>
                  </a:cubicBezTo>
                  <a:close/>
                  <a:moveTo>
                    <a:pt x="5536659" y="1577231"/>
                  </a:moveTo>
                  <a:cubicBezTo>
                    <a:pt x="5556630" y="1577231"/>
                    <a:pt x="5572968" y="1593569"/>
                    <a:pt x="5572968" y="1613539"/>
                  </a:cubicBezTo>
                  <a:cubicBezTo>
                    <a:pt x="5572968" y="1633510"/>
                    <a:pt x="5556630" y="1649848"/>
                    <a:pt x="5536659" y="1649848"/>
                  </a:cubicBezTo>
                  <a:cubicBezTo>
                    <a:pt x="5516688" y="1649848"/>
                    <a:pt x="5500351" y="1633510"/>
                    <a:pt x="5500351" y="1613539"/>
                  </a:cubicBezTo>
                  <a:cubicBezTo>
                    <a:pt x="5500351" y="1593569"/>
                    <a:pt x="5516688" y="1577231"/>
                    <a:pt x="5536659" y="1577231"/>
                  </a:cubicBezTo>
                  <a:close/>
                  <a:moveTo>
                    <a:pt x="5690606" y="1574692"/>
                  </a:moveTo>
                  <a:cubicBezTo>
                    <a:pt x="5712026" y="1574692"/>
                    <a:pt x="5729458" y="1592120"/>
                    <a:pt x="5729458" y="1613543"/>
                  </a:cubicBezTo>
                  <a:cubicBezTo>
                    <a:pt x="5729458" y="1634962"/>
                    <a:pt x="5712026" y="1652390"/>
                    <a:pt x="5690606" y="1652390"/>
                  </a:cubicBezTo>
                  <a:cubicBezTo>
                    <a:pt x="5669184" y="1652390"/>
                    <a:pt x="5651756" y="1634962"/>
                    <a:pt x="5651756" y="1613543"/>
                  </a:cubicBezTo>
                  <a:cubicBezTo>
                    <a:pt x="5651756" y="1592120"/>
                    <a:pt x="5669184" y="1574692"/>
                    <a:pt x="5690606" y="1574692"/>
                  </a:cubicBezTo>
                  <a:close/>
                  <a:moveTo>
                    <a:pt x="5844554" y="1572512"/>
                  </a:moveTo>
                  <a:cubicBezTo>
                    <a:pt x="5867429" y="1572512"/>
                    <a:pt x="5885585" y="1590668"/>
                    <a:pt x="5885585" y="1613539"/>
                  </a:cubicBezTo>
                  <a:cubicBezTo>
                    <a:pt x="5885585" y="1636415"/>
                    <a:pt x="5867067" y="1654567"/>
                    <a:pt x="5844554" y="1654567"/>
                  </a:cubicBezTo>
                  <a:cubicBezTo>
                    <a:pt x="5821682" y="1654567"/>
                    <a:pt x="5803526" y="1636415"/>
                    <a:pt x="5803526" y="1613539"/>
                  </a:cubicBezTo>
                  <a:cubicBezTo>
                    <a:pt x="5803526" y="1590668"/>
                    <a:pt x="5821682" y="1572512"/>
                    <a:pt x="5844554" y="1572512"/>
                  </a:cubicBezTo>
                  <a:close/>
                  <a:moveTo>
                    <a:pt x="5998136" y="1569973"/>
                  </a:moveTo>
                  <a:cubicBezTo>
                    <a:pt x="6022101" y="1569973"/>
                    <a:pt x="6041706" y="1589578"/>
                    <a:pt x="6041706" y="1613543"/>
                  </a:cubicBezTo>
                  <a:cubicBezTo>
                    <a:pt x="6041706" y="1637505"/>
                    <a:pt x="6022101" y="1657113"/>
                    <a:pt x="5998136" y="1657113"/>
                  </a:cubicBezTo>
                  <a:cubicBezTo>
                    <a:pt x="5974174" y="1657113"/>
                    <a:pt x="5954566" y="1637505"/>
                    <a:pt x="5954566" y="1613543"/>
                  </a:cubicBezTo>
                  <a:cubicBezTo>
                    <a:pt x="5954566" y="1589578"/>
                    <a:pt x="5974174" y="1569973"/>
                    <a:pt x="5998136" y="1569973"/>
                  </a:cubicBezTo>
                  <a:close/>
                  <a:moveTo>
                    <a:pt x="6152083" y="1567431"/>
                  </a:moveTo>
                  <a:cubicBezTo>
                    <a:pt x="6177500" y="1567431"/>
                    <a:pt x="6198196" y="1588125"/>
                    <a:pt x="6198196" y="1613543"/>
                  </a:cubicBezTo>
                  <a:cubicBezTo>
                    <a:pt x="6198196" y="1638957"/>
                    <a:pt x="6177500" y="1659656"/>
                    <a:pt x="6152083" y="1659656"/>
                  </a:cubicBezTo>
                  <a:cubicBezTo>
                    <a:pt x="6126669" y="1659656"/>
                    <a:pt x="6105974" y="1638957"/>
                    <a:pt x="6105974" y="1613543"/>
                  </a:cubicBezTo>
                  <a:cubicBezTo>
                    <a:pt x="6105974" y="1588125"/>
                    <a:pt x="6126669" y="1567431"/>
                    <a:pt x="6152083" y="1567431"/>
                  </a:cubicBezTo>
                  <a:close/>
                  <a:moveTo>
                    <a:pt x="6305672" y="1564888"/>
                  </a:moveTo>
                  <a:cubicBezTo>
                    <a:pt x="6332538" y="1564888"/>
                    <a:pt x="6354323" y="1586673"/>
                    <a:pt x="6354323" y="1613543"/>
                  </a:cubicBezTo>
                  <a:cubicBezTo>
                    <a:pt x="6354323" y="1640409"/>
                    <a:pt x="6332538" y="1662194"/>
                    <a:pt x="6305672" y="1662194"/>
                  </a:cubicBezTo>
                  <a:cubicBezTo>
                    <a:pt x="6278802" y="1662194"/>
                    <a:pt x="6257016" y="1640409"/>
                    <a:pt x="6257016" y="1613543"/>
                  </a:cubicBezTo>
                  <a:cubicBezTo>
                    <a:pt x="6257016" y="1586673"/>
                    <a:pt x="6278802" y="1564888"/>
                    <a:pt x="6305672" y="1564888"/>
                  </a:cubicBezTo>
                  <a:close/>
                  <a:moveTo>
                    <a:pt x="6459619" y="1562346"/>
                  </a:moveTo>
                  <a:cubicBezTo>
                    <a:pt x="6487938" y="1562346"/>
                    <a:pt x="6510813" y="1585221"/>
                    <a:pt x="6510813" y="1613539"/>
                  </a:cubicBezTo>
                  <a:cubicBezTo>
                    <a:pt x="6510813" y="1641862"/>
                    <a:pt x="6487938" y="1664733"/>
                    <a:pt x="6459619" y="1664733"/>
                  </a:cubicBezTo>
                  <a:cubicBezTo>
                    <a:pt x="6431297" y="1664733"/>
                    <a:pt x="6408422" y="1641862"/>
                    <a:pt x="6408422" y="1613539"/>
                  </a:cubicBezTo>
                  <a:cubicBezTo>
                    <a:pt x="6408422" y="1585221"/>
                    <a:pt x="6431297" y="1562346"/>
                    <a:pt x="6459619" y="1562346"/>
                  </a:cubicBezTo>
                  <a:close/>
                  <a:moveTo>
                    <a:pt x="6613197" y="1560169"/>
                  </a:moveTo>
                  <a:cubicBezTo>
                    <a:pt x="6642610" y="1560169"/>
                    <a:pt x="6666575" y="1584131"/>
                    <a:pt x="6666575" y="1613543"/>
                  </a:cubicBezTo>
                  <a:cubicBezTo>
                    <a:pt x="6666575" y="1642952"/>
                    <a:pt x="6642610" y="1666914"/>
                    <a:pt x="6613197" y="1666914"/>
                  </a:cubicBezTo>
                  <a:cubicBezTo>
                    <a:pt x="6583788" y="1666914"/>
                    <a:pt x="6559826" y="1642952"/>
                    <a:pt x="6559826" y="1613543"/>
                  </a:cubicBezTo>
                  <a:cubicBezTo>
                    <a:pt x="6559826" y="1584131"/>
                    <a:pt x="6583788" y="1560169"/>
                    <a:pt x="6613197" y="1560169"/>
                  </a:cubicBezTo>
                  <a:close/>
                  <a:moveTo>
                    <a:pt x="2153808" y="1459596"/>
                  </a:moveTo>
                  <a:cubicBezTo>
                    <a:pt x="2154170" y="1459596"/>
                    <a:pt x="2154170" y="1459596"/>
                    <a:pt x="2154170" y="1459958"/>
                  </a:cubicBezTo>
                  <a:cubicBezTo>
                    <a:pt x="2154170" y="1460324"/>
                    <a:pt x="2153808" y="1460324"/>
                    <a:pt x="2153808" y="1460324"/>
                  </a:cubicBezTo>
                  <a:cubicBezTo>
                    <a:pt x="2153445" y="1460324"/>
                    <a:pt x="2153445" y="1460324"/>
                    <a:pt x="2153445" y="1459958"/>
                  </a:cubicBezTo>
                  <a:cubicBezTo>
                    <a:pt x="2153445" y="1459596"/>
                    <a:pt x="2153445" y="1459596"/>
                    <a:pt x="2153808" y="1459596"/>
                  </a:cubicBezTo>
                  <a:close/>
                  <a:moveTo>
                    <a:pt x="1692331" y="1459596"/>
                  </a:moveTo>
                  <a:cubicBezTo>
                    <a:pt x="1692694" y="1459596"/>
                    <a:pt x="1692694" y="1459596"/>
                    <a:pt x="1692694" y="1459958"/>
                  </a:cubicBezTo>
                  <a:cubicBezTo>
                    <a:pt x="1692694" y="1460324"/>
                    <a:pt x="1692331" y="1460324"/>
                    <a:pt x="1692331" y="1460324"/>
                  </a:cubicBezTo>
                  <a:cubicBezTo>
                    <a:pt x="1691969" y="1460324"/>
                    <a:pt x="1691969" y="1460324"/>
                    <a:pt x="1691969" y="1459958"/>
                  </a:cubicBezTo>
                  <a:cubicBezTo>
                    <a:pt x="1691969" y="1459596"/>
                    <a:pt x="1691969" y="1459596"/>
                    <a:pt x="1692331" y="1459596"/>
                  </a:cubicBezTo>
                  <a:close/>
                  <a:moveTo>
                    <a:pt x="1538746" y="1459596"/>
                  </a:moveTo>
                  <a:cubicBezTo>
                    <a:pt x="1539108" y="1459596"/>
                    <a:pt x="1539108" y="1459596"/>
                    <a:pt x="1539108" y="1459958"/>
                  </a:cubicBezTo>
                  <a:cubicBezTo>
                    <a:pt x="1539108" y="1460324"/>
                    <a:pt x="1538746" y="1460324"/>
                    <a:pt x="1538746" y="1460324"/>
                  </a:cubicBezTo>
                  <a:cubicBezTo>
                    <a:pt x="1538384" y="1460324"/>
                    <a:pt x="1538384" y="1460324"/>
                    <a:pt x="1538384" y="1459958"/>
                  </a:cubicBezTo>
                  <a:cubicBezTo>
                    <a:pt x="1538384" y="1459596"/>
                    <a:pt x="1538384" y="1459596"/>
                    <a:pt x="1538746" y="1459596"/>
                  </a:cubicBezTo>
                  <a:close/>
                  <a:moveTo>
                    <a:pt x="1384795" y="1459230"/>
                  </a:moveTo>
                  <a:cubicBezTo>
                    <a:pt x="1385161" y="1459230"/>
                    <a:pt x="1385523" y="1459592"/>
                    <a:pt x="1385523" y="1459958"/>
                  </a:cubicBezTo>
                  <a:cubicBezTo>
                    <a:pt x="1385523" y="1460320"/>
                    <a:pt x="1384795" y="1460682"/>
                    <a:pt x="1384795" y="1460682"/>
                  </a:cubicBezTo>
                  <a:cubicBezTo>
                    <a:pt x="1384433" y="1460682"/>
                    <a:pt x="1384071" y="1460320"/>
                    <a:pt x="1384071" y="1459958"/>
                  </a:cubicBezTo>
                  <a:cubicBezTo>
                    <a:pt x="1384071" y="1459592"/>
                    <a:pt x="1384433" y="1459230"/>
                    <a:pt x="1384795" y="1459230"/>
                  </a:cubicBezTo>
                  <a:close/>
                  <a:moveTo>
                    <a:pt x="2307393" y="1458140"/>
                  </a:moveTo>
                  <a:cubicBezTo>
                    <a:pt x="2308117" y="1458140"/>
                    <a:pt x="2308845" y="1458868"/>
                    <a:pt x="2308845" y="1459592"/>
                  </a:cubicBezTo>
                  <a:cubicBezTo>
                    <a:pt x="2308845" y="1460320"/>
                    <a:pt x="2307393" y="1461044"/>
                    <a:pt x="2307393" y="1461044"/>
                  </a:cubicBezTo>
                  <a:cubicBezTo>
                    <a:pt x="2306665" y="1461044"/>
                    <a:pt x="2305941" y="1460320"/>
                    <a:pt x="2305941" y="1459592"/>
                  </a:cubicBezTo>
                  <a:cubicBezTo>
                    <a:pt x="2305941" y="1458868"/>
                    <a:pt x="2306665" y="1458140"/>
                    <a:pt x="2307393" y="1458140"/>
                  </a:cubicBezTo>
                  <a:close/>
                  <a:moveTo>
                    <a:pt x="2461340" y="1457777"/>
                  </a:moveTo>
                  <a:cubicBezTo>
                    <a:pt x="2462430" y="1457777"/>
                    <a:pt x="2463521" y="1458868"/>
                    <a:pt x="2463521" y="1459954"/>
                  </a:cubicBezTo>
                  <a:cubicBezTo>
                    <a:pt x="2463521" y="1461044"/>
                    <a:pt x="2461340" y="1462134"/>
                    <a:pt x="2461340" y="1462134"/>
                  </a:cubicBezTo>
                  <a:cubicBezTo>
                    <a:pt x="2460254" y="1462134"/>
                    <a:pt x="2459164" y="1461044"/>
                    <a:pt x="2459164" y="1459954"/>
                  </a:cubicBezTo>
                  <a:cubicBezTo>
                    <a:pt x="2459164" y="1458868"/>
                    <a:pt x="2460254" y="1457777"/>
                    <a:pt x="2461340" y="1457777"/>
                  </a:cubicBezTo>
                  <a:close/>
                  <a:moveTo>
                    <a:pt x="2614925" y="1456687"/>
                  </a:moveTo>
                  <a:cubicBezTo>
                    <a:pt x="2616744" y="1456687"/>
                    <a:pt x="2618192" y="1458140"/>
                    <a:pt x="2618192" y="1459954"/>
                  </a:cubicBezTo>
                  <a:cubicBezTo>
                    <a:pt x="2618192" y="1461769"/>
                    <a:pt x="2616744" y="1463225"/>
                    <a:pt x="2614925" y="1463225"/>
                  </a:cubicBezTo>
                  <a:cubicBezTo>
                    <a:pt x="2613111" y="1463225"/>
                    <a:pt x="2611659" y="1461769"/>
                    <a:pt x="2611659" y="1459954"/>
                  </a:cubicBezTo>
                  <a:cubicBezTo>
                    <a:pt x="2611659" y="1458140"/>
                    <a:pt x="2613111" y="1456687"/>
                    <a:pt x="2614925" y="1456687"/>
                  </a:cubicBezTo>
                  <a:close/>
                  <a:moveTo>
                    <a:pt x="2768873" y="1455601"/>
                  </a:moveTo>
                  <a:cubicBezTo>
                    <a:pt x="2771415" y="1455601"/>
                    <a:pt x="2773230" y="1457415"/>
                    <a:pt x="2773230" y="1459958"/>
                  </a:cubicBezTo>
                  <a:cubicBezTo>
                    <a:pt x="2773230" y="1462500"/>
                    <a:pt x="2771053" y="1464315"/>
                    <a:pt x="2768873" y="1464315"/>
                  </a:cubicBezTo>
                  <a:cubicBezTo>
                    <a:pt x="2766330" y="1464315"/>
                    <a:pt x="2764516" y="1462500"/>
                    <a:pt x="2764516" y="1459958"/>
                  </a:cubicBezTo>
                  <a:cubicBezTo>
                    <a:pt x="2764516" y="1457415"/>
                    <a:pt x="2766330" y="1455601"/>
                    <a:pt x="2768873" y="1455601"/>
                  </a:cubicBezTo>
                  <a:close/>
                  <a:moveTo>
                    <a:pt x="2922458" y="1454149"/>
                  </a:moveTo>
                  <a:cubicBezTo>
                    <a:pt x="2925725" y="1454149"/>
                    <a:pt x="2928267" y="1456691"/>
                    <a:pt x="2928267" y="1459958"/>
                  </a:cubicBezTo>
                  <a:cubicBezTo>
                    <a:pt x="2928267" y="1463225"/>
                    <a:pt x="2925725" y="1465767"/>
                    <a:pt x="2922458" y="1465767"/>
                  </a:cubicBezTo>
                  <a:cubicBezTo>
                    <a:pt x="2919191" y="1465767"/>
                    <a:pt x="2916649" y="1463225"/>
                    <a:pt x="2916649" y="1459958"/>
                  </a:cubicBezTo>
                  <a:cubicBezTo>
                    <a:pt x="2916649" y="1456691"/>
                    <a:pt x="2919191" y="1454149"/>
                    <a:pt x="2922458" y="1454149"/>
                  </a:cubicBezTo>
                  <a:close/>
                  <a:moveTo>
                    <a:pt x="3076406" y="1452696"/>
                  </a:moveTo>
                  <a:cubicBezTo>
                    <a:pt x="3080400" y="1452696"/>
                    <a:pt x="3083667" y="1455963"/>
                    <a:pt x="3083667" y="1459958"/>
                  </a:cubicBezTo>
                  <a:cubicBezTo>
                    <a:pt x="3083667" y="1463953"/>
                    <a:pt x="3080400" y="1467220"/>
                    <a:pt x="3076406" y="1467220"/>
                  </a:cubicBezTo>
                  <a:cubicBezTo>
                    <a:pt x="3072410" y="1467220"/>
                    <a:pt x="3069144" y="1463953"/>
                    <a:pt x="3069144" y="1459958"/>
                  </a:cubicBezTo>
                  <a:cubicBezTo>
                    <a:pt x="3069144" y="1455963"/>
                    <a:pt x="3072410" y="1452696"/>
                    <a:pt x="3076406" y="1452696"/>
                  </a:cubicBezTo>
                  <a:close/>
                  <a:moveTo>
                    <a:pt x="3230353" y="1450516"/>
                  </a:moveTo>
                  <a:cubicBezTo>
                    <a:pt x="3235438" y="1450516"/>
                    <a:pt x="3239433" y="1454511"/>
                    <a:pt x="3239433" y="1459592"/>
                  </a:cubicBezTo>
                  <a:cubicBezTo>
                    <a:pt x="3239433" y="1464677"/>
                    <a:pt x="3235438" y="1468672"/>
                    <a:pt x="3230353" y="1468672"/>
                  </a:cubicBezTo>
                  <a:cubicBezTo>
                    <a:pt x="3225272" y="1468672"/>
                    <a:pt x="3221277" y="1464677"/>
                    <a:pt x="3221277" y="1459592"/>
                  </a:cubicBezTo>
                  <a:cubicBezTo>
                    <a:pt x="3221277" y="1454511"/>
                    <a:pt x="3225272" y="1450516"/>
                    <a:pt x="3230353" y="1450516"/>
                  </a:cubicBezTo>
                  <a:close/>
                  <a:moveTo>
                    <a:pt x="3383934" y="1449791"/>
                  </a:moveTo>
                  <a:cubicBezTo>
                    <a:pt x="3389382" y="1449791"/>
                    <a:pt x="3394100" y="1454511"/>
                    <a:pt x="3394100" y="1459958"/>
                  </a:cubicBezTo>
                  <a:cubicBezTo>
                    <a:pt x="3394100" y="1465405"/>
                    <a:pt x="3389744" y="1470124"/>
                    <a:pt x="3383934" y="1470124"/>
                  </a:cubicBezTo>
                  <a:cubicBezTo>
                    <a:pt x="3378487" y="1470124"/>
                    <a:pt x="3373768" y="1465405"/>
                    <a:pt x="3373768" y="1459958"/>
                  </a:cubicBezTo>
                  <a:cubicBezTo>
                    <a:pt x="3373768" y="1454511"/>
                    <a:pt x="3378487" y="1449791"/>
                    <a:pt x="3383934" y="1449791"/>
                  </a:cubicBezTo>
                  <a:close/>
                  <a:moveTo>
                    <a:pt x="3537882" y="1447977"/>
                  </a:moveTo>
                  <a:cubicBezTo>
                    <a:pt x="3544419" y="1447977"/>
                    <a:pt x="3549866" y="1453424"/>
                    <a:pt x="3549866" y="1459958"/>
                  </a:cubicBezTo>
                  <a:cubicBezTo>
                    <a:pt x="3549866" y="1466495"/>
                    <a:pt x="3544419" y="1471939"/>
                    <a:pt x="3537882" y="1471939"/>
                  </a:cubicBezTo>
                  <a:cubicBezTo>
                    <a:pt x="3531348" y="1471939"/>
                    <a:pt x="3525901" y="1466495"/>
                    <a:pt x="3525901" y="1459958"/>
                  </a:cubicBezTo>
                  <a:cubicBezTo>
                    <a:pt x="3525901" y="1453424"/>
                    <a:pt x="3531348" y="1447977"/>
                    <a:pt x="3537882" y="1447977"/>
                  </a:cubicBezTo>
                  <a:close/>
                  <a:moveTo>
                    <a:pt x="3691467" y="1445797"/>
                  </a:moveTo>
                  <a:cubicBezTo>
                    <a:pt x="3699094" y="1445797"/>
                    <a:pt x="3705266" y="1451968"/>
                    <a:pt x="3705266" y="1459596"/>
                  </a:cubicBezTo>
                  <a:cubicBezTo>
                    <a:pt x="3705266" y="1467220"/>
                    <a:pt x="3699094" y="1473391"/>
                    <a:pt x="3691467" y="1473391"/>
                  </a:cubicBezTo>
                  <a:cubicBezTo>
                    <a:pt x="3683843" y="1473391"/>
                    <a:pt x="3677672" y="1467220"/>
                    <a:pt x="3677672" y="1459596"/>
                  </a:cubicBezTo>
                  <a:cubicBezTo>
                    <a:pt x="3677672" y="1451968"/>
                    <a:pt x="3683843" y="1445797"/>
                    <a:pt x="3691467" y="1445797"/>
                  </a:cubicBezTo>
                  <a:close/>
                  <a:moveTo>
                    <a:pt x="3845414" y="1444706"/>
                  </a:moveTo>
                  <a:cubicBezTo>
                    <a:pt x="3853839" y="1444706"/>
                    <a:pt x="3860666" y="1451534"/>
                    <a:pt x="3860666" y="1459954"/>
                  </a:cubicBezTo>
                  <a:cubicBezTo>
                    <a:pt x="3860666" y="1468378"/>
                    <a:pt x="3853839" y="1475205"/>
                    <a:pt x="3845414" y="1475205"/>
                  </a:cubicBezTo>
                  <a:cubicBezTo>
                    <a:pt x="3836994" y="1475205"/>
                    <a:pt x="3830167" y="1468378"/>
                    <a:pt x="3830167" y="1459954"/>
                  </a:cubicBezTo>
                  <a:cubicBezTo>
                    <a:pt x="3830167" y="1451534"/>
                    <a:pt x="3836994" y="1444706"/>
                    <a:pt x="3845414" y="1444706"/>
                  </a:cubicBezTo>
                  <a:close/>
                  <a:moveTo>
                    <a:pt x="3999000" y="1442892"/>
                  </a:moveTo>
                  <a:cubicBezTo>
                    <a:pt x="4008438" y="1442892"/>
                    <a:pt x="4016066" y="1450516"/>
                    <a:pt x="4016066" y="1459958"/>
                  </a:cubicBezTo>
                  <a:cubicBezTo>
                    <a:pt x="4016066" y="1469396"/>
                    <a:pt x="4008438" y="1477020"/>
                    <a:pt x="3999000" y="1477020"/>
                  </a:cubicBezTo>
                  <a:cubicBezTo>
                    <a:pt x="3989558" y="1477020"/>
                    <a:pt x="3981934" y="1469396"/>
                    <a:pt x="3981934" y="1459958"/>
                  </a:cubicBezTo>
                  <a:cubicBezTo>
                    <a:pt x="3981934" y="1450516"/>
                    <a:pt x="3989558" y="1442892"/>
                    <a:pt x="3999000" y="1442892"/>
                  </a:cubicBezTo>
                  <a:close/>
                  <a:moveTo>
                    <a:pt x="4152947" y="1440715"/>
                  </a:moveTo>
                  <a:cubicBezTo>
                    <a:pt x="4163578" y="1440715"/>
                    <a:pt x="4172194" y="1449330"/>
                    <a:pt x="4172194" y="1459958"/>
                  </a:cubicBezTo>
                  <a:cubicBezTo>
                    <a:pt x="4172194" y="1470585"/>
                    <a:pt x="4163578" y="1479200"/>
                    <a:pt x="4152947" y="1479200"/>
                  </a:cubicBezTo>
                  <a:cubicBezTo>
                    <a:pt x="4142320" y="1479200"/>
                    <a:pt x="4133704" y="1470585"/>
                    <a:pt x="4133704" y="1459958"/>
                  </a:cubicBezTo>
                  <a:cubicBezTo>
                    <a:pt x="4133704" y="1449330"/>
                    <a:pt x="4142320" y="1440715"/>
                    <a:pt x="4152947" y="1440715"/>
                  </a:cubicBezTo>
                  <a:close/>
                  <a:moveTo>
                    <a:pt x="4306532" y="1438535"/>
                  </a:moveTo>
                  <a:cubicBezTo>
                    <a:pt x="4318513" y="1438535"/>
                    <a:pt x="4327952" y="1447977"/>
                    <a:pt x="4327952" y="1459958"/>
                  </a:cubicBezTo>
                  <a:cubicBezTo>
                    <a:pt x="4327952" y="1471939"/>
                    <a:pt x="4318151" y="1481381"/>
                    <a:pt x="4306532" y="1481381"/>
                  </a:cubicBezTo>
                  <a:cubicBezTo>
                    <a:pt x="4294552" y="1481381"/>
                    <a:pt x="4285110" y="1471939"/>
                    <a:pt x="4285110" y="1459958"/>
                  </a:cubicBezTo>
                  <a:cubicBezTo>
                    <a:pt x="4285110" y="1447977"/>
                    <a:pt x="4294552" y="1438535"/>
                    <a:pt x="4306532" y="1438535"/>
                  </a:cubicBezTo>
                  <a:close/>
                  <a:moveTo>
                    <a:pt x="4460480" y="1437083"/>
                  </a:moveTo>
                  <a:cubicBezTo>
                    <a:pt x="4473112" y="1437083"/>
                    <a:pt x="4483355" y="1447325"/>
                    <a:pt x="4483355" y="1459958"/>
                  </a:cubicBezTo>
                  <a:cubicBezTo>
                    <a:pt x="4483355" y="1472591"/>
                    <a:pt x="4473112" y="1482833"/>
                    <a:pt x="4460480" y="1482833"/>
                  </a:cubicBezTo>
                  <a:cubicBezTo>
                    <a:pt x="4447847" y="1482833"/>
                    <a:pt x="4437604" y="1472591"/>
                    <a:pt x="4437604" y="1459958"/>
                  </a:cubicBezTo>
                  <a:cubicBezTo>
                    <a:pt x="4437604" y="1447325"/>
                    <a:pt x="4447847" y="1437083"/>
                    <a:pt x="4460480" y="1437083"/>
                  </a:cubicBezTo>
                  <a:close/>
                  <a:moveTo>
                    <a:pt x="4614061" y="1434906"/>
                  </a:moveTo>
                  <a:cubicBezTo>
                    <a:pt x="4627860" y="1434906"/>
                    <a:pt x="4639116" y="1446163"/>
                    <a:pt x="4639116" y="1459958"/>
                  </a:cubicBezTo>
                  <a:cubicBezTo>
                    <a:pt x="4639116" y="1473757"/>
                    <a:pt x="4627860" y="1485013"/>
                    <a:pt x="4614061" y="1485013"/>
                  </a:cubicBezTo>
                  <a:cubicBezTo>
                    <a:pt x="4600266" y="1485013"/>
                    <a:pt x="4589010" y="1473757"/>
                    <a:pt x="4589010" y="1459958"/>
                  </a:cubicBezTo>
                  <a:cubicBezTo>
                    <a:pt x="4589010" y="1446163"/>
                    <a:pt x="4600266" y="1434906"/>
                    <a:pt x="4614061" y="1434906"/>
                  </a:cubicBezTo>
                  <a:close/>
                  <a:moveTo>
                    <a:pt x="4768012" y="1432726"/>
                  </a:moveTo>
                  <a:cubicBezTo>
                    <a:pt x="4782898" y="1432726"/>
                    <a:pt x="4795244" y="1445072"/>
                    <a:pt x="4795244" y="1459958"/>
                  </a:cubicBezTo>
                  <a:cubicBezTo>
                    <a:pt x="4795244" y="1474843"/>
                    <a:pt x="4783260" y="1487190"/>
                    <a:pt x="4768012" y="1487190"/>
                  </a:cubicBezTo>
                  <a:cubicBezTo>
                    <a:pt x="4753123" y="1487190"/>
                    <a:pt x="4740780" y="1474843"/>
                    <a:pt x="4740780" y="1459958"/>
                  </a:cubicBezTo>
                  <a:cubicBezTo>
                    <a:pt x="4740780" y="1445072"/>
                    <a:pt x="4753123" y="1432726"/>
                    <a:pt x="4768012" y="1432726"/>
                  </a:cubicBezTo>
                  <a:close/>
                  <a:moveTo>
                    <a:pt x="4921594" y="1430183"/>
                  </a:moveTo>
                  <a:cubicBezTo>
                    <a:pt x="4938038" y="1430183"/>
                    <a:pt x="4951368" y="1443513"/>
                    <a:pt x="4951368" y="1459954"/>
                  </a:cubicBezTo>
                  <a:cubicBezTo>
                    <a:pt x="4951368" y="1476399"/>
                    <a:pt x="4938038" y="1489729"/>
                    <a:pt x="4921594" y="1489729"/>
                  </a:cubicBezTo>
                  <a:cubicBezTo>
                    <a:pt x="4905153" y="1489729"/>
                    <a:pt x="4891823" y="1476399"/>
                    <a:pt x="4891823" y="1459954"/>
                  </a:cubicBezTo>
                  <a:cubicBezTo>
                    <a:pt x="4891823" y="1443513"/>
                    <a:pt x="4905153" y="1430183"/>
                    <a:pt x="4921594" y="1430183"/>
                  </a:cubicBezTo>
                  <a:close/>
                  <a:moveTo>
                    <a:pt x="5075541" y="1428007"/>
                  </a:moveTo>
                  <a:cubicBezTo>
                    <a:pt x="5093332" y="1428007"/>
                    <a:pt x="5107492" y="1442168"/>
                    <a:pt x="5107492" y="1459958"/>
                  </a:cubicBezTo>
                  <a:cubicBezTo>
                    <a:pt x="5107492" y="1477748"/>
                    <a:pt x="5093332" y="1491909"/>
                    <a:pt x="5075541" y="1491909"/>
                  </a:cubicBezTo>
                  <a:cubicBezTo>
                    <a:pt x="5057751" y="1491909"/>
                    <a:pt x="5043590" y="1477748"/>
                    <a:pt x="5043590" y="1459958"/>
                  </a:cubicBezTo>
                  <a:cubicBezTo>
                    <a:pt x="5043590" y="1442168"/>
                    <a:pt x="5057751" y="1428007"/>
                    <a:pt x="5075541" y="1428007"/>
                  </a:cubicBezTo>
                  <a:close/>
                  <a:moveTo>
                    <a:pt x="5229126" y="1426192"/>
                  </a:moveTo>
                  <a:cubicBezTo>
                    <a:pt x="5247774" y="1426192"/>
                    <a:pt x="5262892" y="1441310"/>
                    <a:pt x="5262892" y="1459958"/>
                  </a:cubicBezTo>
                  <a:cubicBezTo>
                    <a:pt x="5262892" y="1478610"/>
                    <a:pt x="5247774" y="1493724"/>
                    <a:pt x="5229126" y="1493724"/>
                  </a:cubicBezTo>
                  <a:cubicBezTo>
                    <a:pt x="5210478" y="1493724"/>
                    <a:pt x="5195360" y="1478610"/>
                    <a:pt x="5195360" y="1459958"/>
                  </a:cubicBezTo>
                  <a:cubicBezTo>
                    <a:pt x="5195360" y="1441310"/>
                    <a:pt x="5210478" y="1426192"/>
                    <a:pt x="5229126" y="1426192"/>
                  </a:cubicBezTo>
                  <a:close/>
                  <a:moveTo>
                    <a:pt x="5383074" y="1423650"/>
                  </a:moveTo>
                  <a:cubicBezTo>
                    <a:pt x="5403044" y="1423650"/>
                    <a:pt x="5419382" y="1439987"/>
                    <a:pt x="5419382" y="1459958"/>
                  </a:cubicBezTo>
                  <a:cubicBezTo>
                    <a:pt x="5419382" y="1479928"/>
                    <a:pt x="5403044" y="1496266"/>
                    <a:pt x="5383074" y="1496266"/>
                  </a:cubicBezTo>
                  <a:cubicBezTo>
                    <a:pt x="5363104" y="1496266"/>
                    <a:pt x="5346766" y="1479928"/>
                    <a:pt x="5346766" y="1459958"/>
                  </a:cubicBezTo>
                  <a:cubicBezTo>
                    <a:pt x="5346766" y="1439987"/>
                    <a:pt x="5363104" y="1423650"/>
                    <a:pt x="5383074" y="1423650"/>
                  </a:cubicBezTo>
                  <a:close/>
                  <a:moveTo>
                    <a:pt x="5536659" y="1421107"/>
                  </a:moveTo>
                  <a:cubicBezTo>
                    <a:pt x="5558078" y="1421107"/>
                    <a:pt x="5575506" y="1438535"/>
                    <a:pt x="5575506" y="1459958"/>
                  </a:cubicBezTo>
                  <a:cubicBezTo>
                    <a:pt x="5575506" y="1481377"/>
                    <a:pt x="5558078" y="1498805"/>
                    <a:pt x="5536659" y="1498805"/>
                  </a:cubicBezTo>
                  <a:cubicBezTo>
                    <a:pt x="5515236" y="1498805"/>
                    <a:pt x="5497808" y="1481377"/>
                    <a:pt x="5497808" y="1459958"/>
                  </a:cubicBezTo>
                  <a:cubicBezTo>
                    <a:pt x="5497808" y="1438535"/>
                    <a:pt x="5515236" y="1421107"/>
                    <a:pt x="5536659" y="1421107"/>
                  </a:cubicBezTo>
                  <a:close/>
                  <a:moveTo>
                    <a:pt x="5690606" y="1418930"/>
                  </a:moveTo>
                  <a:cubicBezTo>
                    <a:pt x="5713482" y="1418930"/>
                    <a:pt x="5731638" y="1437086"/>
                    <a:pt x="5731638" y="1459958"/>
                  </a:cubicBezTo>
                  <a:cubicBezTo>
                    <a:pt x="5731638" y="1482833"/>
                    <a:pt x="5713120" y="1500985"/>
                    <a:pt x="5690606" y="1500985"/>
                  </a:cubicBezTo>
                  <a:cubicBezTo>
                    <a:pt x="5667735" y="1500985"/>
                    <a:pt x="5649579" y="1482833"/>
                    <a:pt x="5649579" y="1459958"/>
                  </a:cubicBezTo>
                  <a:cubicBezTo>
                    <a:pt x="5649579" y="1437086"/>
                    <a:pt x="5667735" y="1418930"/>
                    <a:pt x="5690606" y="1418930"/>
                  </a:cubicBezTo>
                  <a:close/>
                  <a:moveTo>
                    <a:pt x="5844554" y="1416388"/>
                  </a:moveTo>
                  <a:cubicBezTo>
                    <a:pt x="5868516" y="1416388"/>
                    <a:pt x="5888124" y="1435996"/>
                    <a:pt x="5888124" y="1459958"/>
                  </a:cubicBezTo>
                  <a:cubicBezTo>
                    <a:pt x="5888124" y="1483923"/>
                    <a:pt x="5868516" y="1503528"/>
                    <a:pt x="5844554" y="1503528"/>
                  </a:cubicBezTo>
                  <a:cubicBezTo>
                    <a:pt x="5820588" y="1503528"/>
                    <a:pt x="5800984" y="1483923"/>
                    <a:pt x="5800984" y="1459958"/>
                  </a:cubicBezTo>
                  <a:cubicBezTo>
                    <a:pt x="5800984" y="1435996"/>
                    <a:pt x="5820588" y="1416388"/>
                    <a:pt x="5844554" y="1416388"/>
                  </a:cubicBezTo>
                  <a:close/>
                  <a:moveTo>
                    <a:pt x="5998136" y="1413845"/>
                  </a:moveTo>
                  <a:cubicBezTo>
                    <a:pt x="6023553" y="1413845"/>
                    <a:pt x="6044248" y="1434540"/>
                    <a:pt x="6044248" y="1459958"/>
                  </a:cubicBezTo>
                  <a:cubicBezTo>
                    <a:pt x="6044248" y="1485372"/>
                    <a:pt x="6023553" y="1506070"/>
                    <a:pt x="5998136" y="1506070"/>
                  </a:cubicBezTo>
                  <a:cubicBezTo>
                    <a:pt x="5972722" y="1506070"/>
                    <a:pt x="5952026" y="1485372"/>
                    <a:pt x="5952026" y="1459958"/>
                  </a:cubicBezTo>
                  <a:cubicBezTo>
                    <a:pt x="5952026" y="1434540"/>
                    <a:pt x="5972722" y="1413845"/>
                    <a:pt x="5998136" y="1413845"/>
                  </a:cubicBezTo>
                  <a:close/>
                  <a:moveTo>
                    <a:pt x="6152083" y="1411303"/>
                  </a:moveTo>
                  <a:cubicBezTo>
                    <a:pt x="6178953" y="1411303"/>
                    <a:pt x="6200738" y="1433088"/>
                    <a:pt x="6200738" y="1459958"/>
                  </a:cubicBezTo>
                  <a:cubicBezTo>
                    <a:pt x="6200738" y="1486824"/>
                    <a:pt x="6178953" y="1508609"/>
                    <a:pt x="6152083" y="1508609"/>
                  </a:cubicBezTo>
                  <a:cubicBezTo>
                    <a:pt x="6125216" y="1508609"/>
                    <a:pt x="6103432" y="1486824"/>
                    <a:pt x="6103432" y="1459958"/>
                  </a:cubicBezTo>
                  <a:cubicBezTo>
                    <a:pt x="6103432" y="1433088"/>
                    <a:pt x="6125216" y="1411303"/>
                    <a:pt x="6152083" y="1411303"/>
                  </a:cubicBezTo>
                  <a:close/>
                  <a:moveTo>
                    <a:pt x="6305672" y="1408760"/>
                  </a:moveTo>
                  <a:cubicBezTo>
                    <a:pt x="6333990" y="1408760"/>
                    <a:pt x="6356866" y="1431635"/>
                    <a:pt x="6356866" y="1459954"/>
                  </a:cubicBezTo>
                  <a:cubicBezTo>
                    <a:pt x="6356866" y="1488276"/>
                    <a:pt x="6333990" y="1511148"/>
                    <a:pt x="6305672" y="1511148"/>
                  </a:cubicBezTo>
                  <a:cubicBezTo>
                    <a:pt x="6277350" y="1511148"/>
                    <a:pt x="6254474" y="1488276"/>
                    <a:pt x="6254474" y="1459954"/>
                  </a:cubicBezTo>
                  <a:cubicBezTo>
                    <a:pt x="6254474" y="1431635"/>
                    <a:pt x="6277350" y="1408760"/>
                    <a:pt x="6305672" y="1408760"/>
                  </a:cubicBezTo>
                  <a:close/>
                  <a:moveTo>
                    <a:pt x="6459616" y="1406584"/>
                  </a:moveTo>
                  <a:cubicBezTo>
                    <a:pt x="6489024" y="1406584"/>
                    <a:pt x="6512990" y="1430545"/>
                    <a:pt x="6512990" y="1459958"/>
                  </a:cubicBezTo>
                  <a:cubicBezTo>
                    <a:pt x="6512990" y="1489367"/>
                    <a:pt x="6489024" y="1513328"/>
                    <a:pt x="6459616" y="1513328"/>
                  </a:cubicBezTo>
                  <a:cubicBezTo>
                    <a:pt x="6430206" y="1513328"/>
                    <a:pt x="6406241" y="1489367"/>
                    <a:pt x="6406241" y="1459958"/>
                  </a:cubicBezTo>
                  <a:cubicBezTo>
                    <a:pt x="6406241" y="1430545"/>
                    <a:pt x="6430206" y="1406584"/>
                    <a:pt x="6459616" y="1406584"/>
                  </a:cubicBezTo>
                  <a:close/>
                  <a:moveTo>
                    <a:pt x="6613200" y="1403679"/>
                  </a:moveTo>
                  <a:cubicBezTo>
                    <a:pt x="6644424" y="1403679"/>
                    <a:pt x="6669476" y="1428731"/>
                    <a:pt x="6669476" y="1459958"/>
                  </a:cubicBezTo>
                  <a:cubicBezTo>
                    <a:pt x="6669476" y="1491181"/>
                    <a:pt x="6644424" y="1516233"/>
                    <a:pt x="6613200" y="1516233"/>
                  </a:cubicBezTo>
                  <a:cubicBezTo>
                    <a:pt x="6581974" y="1516233"/>
                    <a:pt x="6556922" y="1491181"/>
                    <a:pt x="6556922" y="1459958"/>
                  </a:cubicBezTo>
                  <a:cubicBezTo>
                    <a:pt x="6556922" y="1428731"/>
                    <a:pt x="6581974" y="1403679"/>
                    <a:pt x="6613200" y="1403679"/>
                  </a:cubicBezTo>
                  <a:close/>
                  <a:moveTo>
                    <a:pt x="1999860" y="1305645"/>
                  </a:moveTo>
                  <a:cubicBezTo>
                    <a:pt x="2000222" y="1305645"/>
                    <a:pt x="2000222" y="1305645"/>
                    <a:pt x="2000222" y="1306007"/>
                  </a:cubicBezTo>
                  <a:cubicBezTo>
                    <a:pt x="2000222" y="1306373"/>
                    <a:pt x="1999860" y="1306373"/>
                    <a:pt x="1999860" y="1306373"/>
                  </a:cubicBezTo>
                  <a:cubicBezTo>
                    <a:pt x="1999498" y="1306373"/>
                    <a:pt x="1999498" y="1306373"/>
                    <a:pt x="1999498" y="1306007"/>
                  </a:cubicBezTo>
                  <a:cubicBezTo>
                    <a:pt x="1999498" y="1305645"/>
                    <a:pt x="1999498" y="1305645"/>
                    <a:pt x="1999860" y="1305645"/>
                  </a:cubicBezTo>
                  <a:close/>
                  <a:moveTo>
                    <a:pt x="1538746" y="1305645"/>
                  </a:moveTo>
                  <a:cubicBezTo>
                    <a:pt x="1539108" y="1305645"/>
                    <a:pt x="1539108" y="1305645"/>
                    <a:pt x="1539108" y="1306007"/>
                  </a:cubicBezTo>
                  <a:cubicBezTo>
                    <a:pt x="1539108" y="1306373"/>
                    <a:pt x="1538746" y="1306373"/>
                    <a:pt x="1538746" y="1306373"/>
                  </a:cubicBezTo>
                  <a:cubicBezTo>
                    <a:pt x="1538384" y="1306373"/>
                    <a:pt x="1538384" y="1306373"/>
                    <a:pt x="1538384" y="1306007"/>
                  </a:cubicBezTo>
                  <a:cubicBezTo>
                    <a:pt x="1538384" y="1305645"/>
                    <a:pt x="1538384" y="1305645"/>
                    <a:pt x="1538746" y="1305645"/>
                  </a:cubicBezTo>
                  <a:close/>
                  <a:moveTo>
                    <a:pt x="1384799" y="1305645"/>
                  </a:moveTo>
                  <a:cubicBezTo>
                    <a:pt x="1385161" y="1305645"/>
                    <a:pt x="1385161" y="1305645"/>
                    <a:pt x="1385161" y="1306007"/>
                  </a:cubicBezTo>
                  <a:cubicBezTo>
                    <a:pt x="1385161" y="1306373"/>
                    <a:pt x="1384799" y="1306373"/>
                    <a:pt x="1384799" y="1306373"/>
                  </a:cubicBezTo>
                  <a:cubicBezTo>
                    <a:pt x="1384437" y="1306373"/>
                    <a:pt x="1384437" y="1306373"/>
                    <a:pt x="1384437" y="1306007"/>
                  </a:cubicBezTo>
                  <a:cubicBezTo>
                    <a:pt x="1384437" y="1305645"/>
                    <a:pt x="1384437" y="1305645"/>
                    <a:pt x="1384799" y="1305645"/>
                  </a:cubicBezTo>
                  <a:close/>
                  <a:moveTo>
                    <a:pt x="1231217" y="1305282"/>
                  </a:moveTo>
                  <a:cubicBezTo>
                    <a:pt x="1231618" y="1305282"/>
                    <a:pt x="1231942" y="1305606"/>
                    <a:pt x="1231942" y="1306010"/>
                  </a:cubicBezTo>
                  <a:cubicBezTo>
                    <a:pt x="1231942" y="1306411"/>
                    <a:pt x="1231618" y="1306735"/>
                    <a:pt x="1231217" y="1306735"/>
                  </a:cubicBezTo>
                  <a:cubicBezTo>
                    <a:pt x="1230813" y="1306735"/>
                    <a:pt x="1230489" y="1306411"/>
                    <a:pt x="1230489" y="1306010"/>
                  </a:cubicBezTo>
                  <a:cubicBezTo>
                    <a:pt x="1230489" y="1305606"/>
                    <a:pt x="1230813" y="1305282"/>
                    <a:pt x="1231217" y="1305282"/>
                  </a:cubicBezTo>
                  <a:close/>
                  <a:moveTo>
                    <a:pt x="2153811" y="1304558"/>
                  </a:moveTo>
                  <a:cubicBezTo>
                    <a:pt x="2154536" y="1304558"/>
                    <a:pt x="2155264" y="1305286"/>
                    <a:pt x="2155264" y="1306010"/>
                  </a:cubicBezTo>
                  <a:cubicBezTo>
                    <a:pt x="2155264" y="1306739"/>
                    <a:pt x="2153811" y="1307463"/>
                    <a:pt x="2153811" y="1307463"/>
                  </a:cubicBezTo>
                  <a:cubicBezTo>
                    <a:pt x="2153083" y="1307463"/>
                    <a:pt x="2152359" y="1306739"/>
                    <a:pt x="2152359" y="1306010"/>
                  </a:cubicBezTo>
                  <a:cubicBezTo>
                    <a:pt x="2152359" y="1305286"/>
                    <a:pt x="2153083" y="1304558"/>
                    <a:pt x="2153811" y="1304558"/>
                  </a:cubicBezTo>
                  <a:close/>
                  <a:moveTo>
                    <a:pt x="2307393" y="1303830"/>
                  </a:moveTo>
                  <a:cubicBezTo>
                    <a:pt x="2308483" y="1303830"/>
                    <a:pt x="2309573" y="1304920"/>
                    <a:pt x="2309573" y="1306010"/>
                  </a:cubicBezTo>
                  <a:cubicBezTo>
                    <a:pt x="2309573" y="1307097"/>
                    <a:pt x="2307393" y="1308187"/>
                    <a:pt x="2307393" y="1308187"/>
                  </a:cubicBezTo>
                  <a:cubicBezTo>
                    <a:pt x="2306306" y="1308187"/>
                    <a:pt x="2305216" y="1307097"/>
                    <a:pt x="2305216" y="1306010"/>
                  </a:cubicBezTo>
                  <a:cubicBezTo>
                    <a:pt x="2305216" y="1304920"/>
                    <a:pt x="2306306" y="1303830"/>
                    <a:pt x="2307393" y="1303830"/>
                  </a:cubicBezTo>
                  <a:close/>
                  <a:moveTo>
                    <a:pt x="2461344" y="1303106"/>
                  </a:moveTo>
                  <a:cubicBezTo>
                    <a:pt x="2463159" y="1303106"/>
                    <a:pt x="2464611" y="1304558"/>
                    <a:pt x="2464611" y="1306373"/>
                  </a:cubicBezTo>
                  <a:cubicBezTo>
                    <a:pt x="2464611" y="1308187"/>
                    <a:pt x="2463159" y="1309643"/>
                    <a:pt x="2461344" y="1309643"/>
                  </a:cubicBezTo>
                  <a:cubicBezTo>
                    <a:pt x="2459526" y="1309643"/>
                    <a:pt x="2458073" y="1308187"/>
                    <a:pt x="2458073" y="1306373"/>
                  </a:cubicBezTo>
                  <a:cubicBezTo>
                    <a:pt x="2458073" y="1304558"/>
                    <a:pt x="2459526" y="1303106"/>
                    <a:pt x="2461344" y="1303106"/>
                  </a:cubicBezTo>
                  <a:close/>
                  <a:moveTo>
                    <a:pt x="2614925" y="1301653"/>
                  </a:moveTo>
                  <a:cubicBezTo>
                    <a:pt x="2617468" y="1301653"/>
                    <a:pt x="2619283" y="1303468"/>
                    <a:pt x="2619283" y="1306010"/>
                  </a:cubicBezTo>
                  <a:cubicBezTo>
                    <a:pt x="2619283" y="1308553"/>
                    <a:pt x="2617102" y="1310367"/>
                    <a:pt x="2614925" y="1310367"/>
                  </a:cubicBezTo>
                  <a:cubicBezTo>
                    <a:pt x="2612383" y="1310367"/>
                    <a:pt x="2610568" y="1308553"/>
                    <a:pt x="2610568" y="1306010"/>
                  </a:cubicBezTo>
                  <a:cubicBezTo>
                    <a:pt x="2610568" y="1303468"/>
                    <a:pt x="2612383" y="1301653"/>
                    <a:pt x="2614925" y="1301653"/>
                  </a:cubicBezTo>
                  <a:close/>
                  <a:moveTo>
                    <a:pt x="2768873" y="1300563"/>
                  </a:moveTo>
                  <a:cubicBezTo>
                    <a:pt x="2772140" y="1300563"/>
                    <a:pt x="2774682" y="1303106"/>
                    <a:pt x="2774682" y="1306373"/>
                  </a:cubicBezTo>
                  <a:cubicBezTo>
                    <a:pt x="2774682" y="1309639"/>
                    <a:pt x="2772140" y="1312182"/>
                    <a:pt x="2768873" y="1312182"/>
                  </a:cubicBezTo>
                  <a:cubicBezTo>
                    <a:pt x="2765606" y="1312182"/>
                    <a:pt x="2763064" y="1309639"/>
                    <a:pt x="2763064" y="1306373"/>
                  </a:cubicBezTo>
                  <a:cubicBezTo>
                    <a:pt x="2763064" y="1303106"/>
                    <a:pt x="2765606" y="1300563"/>
                    <a:pt x="2768873" y="1300563"/>
                  </a:cubicBezTo>
                  <a:close/>
                  <a:moveTo>
                    <a:pt x="2922458" y="1298749"/>
                  </a:moveTo>
                  <a:cubicBezTo>
                    <a:pt x="2926453" y="1298749"/>
                    <a:pt x="2929720" y="1302015"/>
                    <a:pt x="2929720" y="1306010"/>
                  </a:cubicBezTo>
                  <a:cubicBezTo>
                    <a:pt x="2929720" y="1310005"/>
                    <a:pt x="2926453" y="1313272"/>
                    <a:pt x="2922458" y="1313272"/>
                  </a:cubicBezTo>
                  <a:cubicBezTo>
                    <a:pt x="2918463" y="1313272"/>
                    <a:pt x="2915196" y="1310005"/>
                    <a:pt x="2915196" y="1306010"/>
                  </a:cubicBezTo>
                  <a:cubicBezTo>
                    <a:pt x="2915196" y="1302015"/>
                    <a:pt x="2918463" y="1298749"/>
                    <a:pt x="2922458" y="1298749"/>
                  </a:cubicBezTo>
                  <a:close/>
                  <a:moveTo>
                    <a:pt x="3076406" y="1296934"/>
                  </a:moveTo>
                  <a:cubicBezTo>
                    <a:pt x="3081490" y="1296934"/>
                    <a:pt x="3085486" y="1300929"/>
                    <a:pt x="3085486" y="1306010"/>
                  </a:cubicBezTo>
                  <a:cubicBezTo>
                    <a:pt x="3085486" y="1311096"/>
                    <a:pt x="3081490" y="1315090"/>
                    <a:pt x="3076406" y="1315090"/>
                  </a:cubicBezTo>
                  <a:cubicBezTo>
                    <a:pt x="3071324" y="1315090"/>
                    <a:pt x="3067329" y="1311096"/>
                    <a:pt x="3067329" y="1306010"/>
                  </a:cubicBezTo>
                  <a:cubicBezTo>
                    <a:pt x="3067329" y="1300929"/>
                    <a:pt x="3071324" y="1296934"/>
                    <a:pt x="3076406" y="1296934"/>
                  </a:cubicBezTo>
                  <a:close/>
                  <a:moveTo>
                    <a:pt x="3230353" y="1295844"/>
                  </a:moveTo>
                  <a:cubicBezTo>
                    <a:pt x="3235800" y="1295844"/>
                    <a:pt x="3240519" y="1300563"/>
                    <a:pt x="3240519" y="1306010"/>
                  </a:cubicBezTo>
                  <a:cubicBezTo>
                    <a:pt x="3240519" y="1311458"/>
                    <a:pt x="3236162" y="1316177"/>
                    <a:pt x="3230353" y="1316177"/>
                  </a:cubicBezTo>
                  <a:cubicBezTo>
                    <a:pt x="3224906" y="1316177"/>
                    <a:pt x="3220186" y="1311458"/>
                    <a:pt x="3220186" y="1306010"/>
                  </a:cubicBezTo>
                  <a:cubicBezTo>
                    <a:pt x="3220186" y="1300563"/>
                    <a:pt x="3224906" y="1295844"/>
                    <a:pt x="3230353" y="1295844"/>
                  </a:cubicBezTo>
                  <a:close/>
                  <a:moveTo>
                    <a:pt x="3383934" y="1294026"/>
                  </a:moveTo>
                  <a:cubicBezTo>
                    <a:pt x="3390472" y="1294026"/>
                    <a:pt x="3395919" y="1299473"/>
                    <a:pt x="3395919" y="1306007"/>
                  </a:cubicBezTo>
                  <a:cubicBezTo>
                    <a:pt x="3395919" y="1312544"/>
                    <a:pt x="3390472" y="1317987"/>
                    <a:pt x="3383934" y="1317987"/>
                  </a:cubicBezTo>
                  <a:cubicBezTo>
                    <a:pt x="3377401" y="1317987"/>
                    <a:pt x="3371954" y="1312544"/>
                    <a:pt x="3371954" y="1306007"/>
                  </a:cubicBezTo>
                  <a:cubicBezTo>
                    <a:pt x="3371954" y="1299473"/>
                    <a:pt x="3377401" y="1294026"/>
                    <a:pt x="3383934" y="1294026"/>
                  </a:cubicBezTo>
                  <a:close/>
                  <a:moveTo>
                    <a:pt x="3537886" y="1292211"/>
                  </a:moveTo>
                  <a:cubicBezTo>
                    <a:pt x="3545509" y="1292211"/>
                    <a:pt x="3551681" y="1298383"/>
                    <a:pt x="3551681" y="1306010"/>
                  </a:cubicBezTo>
                  <a:cubicBezTo>
                    <a:pt x="3551681" y="1313634"/>
                    <a:pt x="3545509" y="1319806"/>
                    <a:pt x="3537886" y="1319806"/>
                  </a:cubicBezTo>
                  <a:cubicBezTo>
                    <a:pt x="3530258" y="1319806"/>
                    <a:pt x="3524086" y="1313634"/>
                    <a:pt x="3524086" y="1306010"/>
                  </a:cubicBezTo>
                  <a:cubicBezTo>
                    <a:pt x="3524086" y="1298383"/>
                    <a:pt x="3530258" y="1292211"/>
                    <a:pt x="3537886" y="1292211"/>
                  </a:cubicBezTo>
                  <a:close/>
                  <a:moveTo>
                    <a:pt x="3691467" y="1290759"/>
                  </a:moveTo>
                  <a:cubicBezTo>
                    <a:pt x="3699891" y="1290759"/>
                    <a:pt x="3706718" y="1297586"/>
                    <a:pt x="3706718" y="1306010"/>
                  </a:cubicBezTo>
                  <a:cubicBezTo>
                    <a:pt x="3706718" y="1314431"/>
                    <a:pt x="3699891" y="1321258"/>
                    <a:pt x="3691467" y="1321258"/>
                  </a:cubicBezTo>
                  <a:cubicBezTo>
                    <a:pt x="3683046" y="1321258"/>
                    <a:pt x="3676219" y="1314431"/>
                    <a:pt x="3676219" y="1306010"/>
                  </a:cubicBezTo>
                  <a:cubicBezTo>
                    <a:pt x="3676219" y="1297586"/>
                    <a:pt x="3683046" y="1290759"/>
                    <a:pt x="3691467" y="1290759"/>
                  </a:cubicBezTo>
                  <a:close/>
                  <a:moveTo>
                    <a:pt x="3845418" y="1288945"/>
                  </a:moveTo>
                  <a:cubicBezTo>
                    <a:pt x="3854856" y="1288945"/>
                    <a:pt x="3862484" y="1296568"/>
                    <a:pt x="3862484" y="1306010"/>
                  </a:cubicBezTo>
                  <a:cubicBezTo>
                    <a:pt x="3862484" y="1315449"/>
                    <a:pt x="3854856" y="1323072"/>
                    <a:pt x="3845418" y="1323072"/>
                  </a:cubicBezTo>
                  <a:cubicBezTo>
                    <a:pt x="3835976" y="1323072"/>
                    <a:pt x="3828352" y="1315449"/>
                    <a:pt x="3828352" y="1306010"/>
                  </a:cubicBezTo>
                  <a:cubicBezTo>
                    <a:pt x="3828352" y="1296568"/>
                    <a:pt x="3835976" y="1288945"/>
                    <a:pt x="3845418" y="1288945"/>
                  </a:cubicBezTo>
                  <a:close/>
                  <a:moveTo>
                    <a:pt x="3999000" y="1286768"/>
                  </a:moveTo>
                  <a:cubicBezTo>
                    <a:pt x="4009627" y="1286768"/>
                    <a:pt x="4018242" y="1295383"/>
                    <a:pt x="4018242" y="1306010"/>
                  </a:cubicBezTo>
                  <a:cubicBezTo>
                    <a:pt x="4018242" y="1316638"/>
                    <a:pt x="4009627" y="1325257"/>
                    <a:pt x="3999000" y="1325257"/>
                  </a:cubicBezTo>
                  <a:cubicBezTo>
                    <a:pt x="3988372" y="1325257"/>
                    <a:pt x="3979757" y="1316638"/>
                    <a:pt x="3979757" y="1306010"/>
                  </a:cubicBezTo>
                  <a:cubicBezTo>
                    <a:pt x="3979757" y="1295383"/>
                    <a:pt x="3988372" y="1286768"/>
                    <a:pt x="3999000" y="1286768"/>
                  </a:cubicBezTo>
                  <a:close/>
                  <a:moveTo>
                    <a:pt x="4152947" y="1284588"/>
                  </a:moveTo>
                  <a:cubicBezTo>
                    <a:pt x="4164928" y="1284588"/>
                    <a:pt x="4174366" y="1294026"/>
                    <a:pt x="4174366" y="1306010"/>
                  </a:cubicBezTo>
                  <a:cubicBezTo>
                    <a:pt x="4174366" y="1317991"/>
                    <a:pt x="4164562" y="1327433"/>
                    <a:pt x="4152947" y="1327433"/>
                  </a:cubicBezTo>
                  <a:cubicBezTo>
                    <a:pt x="4140962" y="1327433"/>
                    <a:pt x="4131524" y="1317991"/>
                    <a:pt x="4131524" y="1306010"/>
                  </a:cubicBezTo>
                  <a:cubicBezTo>
                    <a:pt x="4131524" y="1294026"/>
                    <a:pt x="4140962" y="1284588"/>
                    <a:pt x="4152947" y="1284588"/>
                  </a:cubicBezTo>
                  <a:close/>
                  <a:moveTo>
                    <a:pt x="4306532" y="1283135"/>
                  </a:moveTo>
                  <a:cubicBezTo>
                    <a:pt x="4319165" y="1283135"/>
                    <a:pt x="4329404" y="1293378"/>
                    <a:pt x="4329404" y="1306010"/>
                  </a:cubicBezTo>
                  <a:cubicBezTo>
                    <a:pt x="4329404" y="1318643"/>
                    <a:pt x="4319165" y="1328886"/>
                    <a:pt x="4306532" y="1328886"/>
                  </a:cubicBezTo>
                  <a:cubicBezTo>
                    <a:pt x="4293900" y="1328886"/>
                    <a:pt x="4283657" y="1318643"/>
                    <a:pt x="4283657" y="1306010"/>
                  </a:cubicBezTo>
                  <a:cubicBezTo>
                    <a:pt x="4283657" y="1293378"/>
                    <a:pt x="4293900" y="1283135"/>
                    <a:pt x="4306532" y="1283135"/>
                  </a:cubicBezTo>
                  <a:close/>
                  <a:moveTo>
                    <a:pt x="4460480" y="1281321"/>
                  </a:moveTo>
                  <a:cubicBezTo>
                    <a:pt x="4474279" y="1281321"/>
                    <a:pt x="4485536" y="1292577"/>
                    <a:pt x="4485536" y="1306373"/>
                  </a:cubicBezTo>
                  <a:cubicBezTo>
                    <a:pt x="4485536" y="1320172"/>
                    <a:pt x="4474279" y="1331424"/>
                    <a:pt x="4460480" y="1331424"/>
                  </a:cubicBezTo>
                  <a:cubicBezTo>
                    <a:pt x="4446684" y="1331424"/>
                    <a:pt x="4435428" y="1320172"/>
                    <a:pt x="4435428" y="1306373"/>
                  </a:cubicBezTo>
                  <a:cubicBezTo>
                    <a:pt x="4435428" y="1292577"/>
                    <a:pt x="4446684" y="1281321"/>
                    <a:pt x="4460480" y="1281321"/>
                  </a:cubicBezTo>
                  <a:close/>
                  <a:moveTo>
                    <a:pt x="4614065" y="1278778"/>
                  </a:moveTo>
                  <a:cubicBezTo>
                    <a:pt x="4628950" y="1278778"/>
                    <a:pt x="4641297" y="1291125"/>
                    <a:pt x="4641297" y="1306010"/>
                  </a:cubicBezTo>
                  <a:cubicBezTo>
                    <a:pt x="4641297" y="1320896"/>
                    <a:pt x="4629312" y="1333243"/>
                    <a:pt x="4614065" y="1333243"/>
                  </a:cubicBezTo>
                  <a:cubicBezTo>
                    <a:pt x="4599176" y="1333243"/>
                    <a:pt x="4586832" y="1320896"/>
                    <a:pt x="4586832" y="1306010"/>
                  </a:cubicBezTo>
                  <a:cubicBezTo>
                    <a:pt x="4586832" y="1291125"/>
                    <a:pt x="4599176" y="1278778"/>
                    <a:pt x="4614065" y="1278778"/>
                  </a:cubicBezTo>
                  <a:close/>
                  <a:moveTo>
                    <a:pt x="4768008" y="1276236"/>
                  </a:moveTo>
                  <a:cubicBezTo>
                    <a:pt x="4784453" y="1276236"/>
                    <a:pt x="4797784" y="1289566"/>
                    <a:pt x="4797784" y="1306010"/>
                  </a:cubicBezTo>
                  <a:cubicBezTo>
                    <a:pt x="4797784" y="1322451"/>
                    <a:pt x="4784453" y="1335781"/>
                    <a:pt x="4768008" y="1335781"/>
                  </a:cubicBezTo>
                  <a:cubicBezTo>
                    <a:pt x="4751568" y="1335781"/>
                    <a:pt x="4738238" y="1322451"/>
                    <a:pt x="4738238" y="1306010"/>
                  </a:cubicBezTo>
                  <a:cubicBezTo>
                    <a:pt x="4738238" y="1289566"/>
                    <a:pt x="4751568" y="1276236"/>
                    <a:pt x="4768008" y="1276236"/>
                  </a:cubicBezTo>
                  <a:close/>
                  <a:moveTo>
                    <a:pt x="4921594" y="1274059"/>
                  </a:moveTo>
                  <a:cubicBezTo>
                    <a:pt x="4939384" y="1274059"/>
                    <a:pt x="4953545" y="1288220"/>
                    <a:pt x="4953545" y="1306010"/>
                  </a:cubicBezTo>
                  <a:cubicBezTo>
                    <a:pt x="4953545" y="1323801"/>
                    <a:pt x="4939384" y="1337962"/>
                    <a:pt x="4921594" y="1337962"/>
                  </a:cubicBezTo>
                  <a:cubicBezTo>
                    <a:pt x="4903804" y="1337962"/>
                    <a:pt x="4889642" y="1323801"/>
                    <a:pt x="4889642" y="1306010"/>
                  </a:cubicBezTo>
                  <a:cubicBezTo>
                    <a:pt x="4889642" y="1288220"/>
                    <a:pt x="4903804" y="1274059"/>
                    <a:pt x="4921594" y="1274059"/>
                  </a:cubicBezTo>
                  <a:close/>
                  <a:moveTo>
                    <a:pt x="5075541" y="1272245"/>
                  </a:moveTo>
                  <a:cubicBezTo>
                    <a:pt x="5094060" y="1272245"/>
                    <a:pt x="5109311" y="1287492"/>
                    <a:pt x="5109311" y="1306010"/>
                  </a:cubicBezTo>
                  <a:cubicBezTo>
                    <a:pt x="5109311" y="1324529"/>
                    <a:pt x="5094060" y="1339780"/>
                    <a:pt x="5075541" y="1339780"/>
                  </a:cubicBezTo>
                  <a:cubicBezTo>
                    <a:pt x="5057027" y="1339780"/>
                    <a:pt x="5041776" y="1324529"/>
                    <a:pt x="5041776" y="1306010"/>
                  </a:cubicBezTo>
                  <a:cubicBezTo>
                    <a:pt x="5041776" y="1287492"/>
                    <a:pt x="5057027" y="1272245"/>
                    <a:pt x="5075541" y="1272245"/>
                  </a:cubicBezTo>
                  <a:close/>
                  <a:moveTo>
                    <a:pt x="5229126" y="1269702"/>
                  </a:moveTo>
                  <a:cubicBezTo>
                    <a:pt x="5249097" y="1269702"/>
                    <a:pt x="5265435" y="1286040"/>
                    <a:pt x="5265435" y="1306010"/>
                  </a:cubicBezTo>
                  <a:cubicBezTo>
                    <a:pt x="5265435" y="1325981"/>
                    <a:pt x="5249097" y="1342319"/>
                    <a:pt x="5229126" y="1342319"/>
                  </a:cubicBezTo>
                  <a:cubicBezTo>
                    <a:pt x="5209156" y="1342319"/>
                    <a:pt x="5192818" y="1325981"/>
                    <a:pt x="5192818" y="1306010"/>
                  </a:cubicBezTo>
                  <a:cubicBezTo>
                    <a:pt x="5192818" y="1286040"/>
                    <a:pt x="5209156" y="1269702"/>
                    <a:pt x="5229126" y="1269702"/>
                  </a:cubicBezTo>
                  <a:close/>
                  <a:moveTo>
                    <a:pt x="5383074" y="1267160"/>
                  </a:moveTo>
                  <a:cubicBezTo>
                    <a:pt x="5404496" y="1267160"/>
                    <a:pt x="5421921" y="1284588"/>
                    <a:pt x="5421921" y="1306010"/>
                  </a:cubicBezTo>
                  <a:cubicBezTo>
                    <a:pt x="5421921" y="1327430"/>
                    <a:pt x="5404496" y="1344858"/>
                    <a:pt x="5383074" y="1344858"/>
                  </a:cubicBezTo>
                  <a:cubicBezTo>
                    <a:pt x="5361651" y="1344858"/>
                    <a:pt x="5344223" y="1327430"/>
                    <a:pt x="5344223" y="1306010"/>
                  </a:cubicBezTo>
                  <a:cubicBezTo>
                    <a:pt x="5344223" y="1284588"/>
                    <a:pt x="5361651" y="1267160"/>
                    <a:pt x="5383074" y="1267160"/>
                  </a:cubicBezTo>
                  <a:close/>
                  <a:moveTo>
                    <a:pt x="5536659" y="1264983"/>
                  </a:moveTo>
                  <a:cubicBezTo>
                    <a:pt x="5559534" y="1264983"/>
                    <a:pt x="5577690" y="1283139"/>
                    <a:pt x="5577690" y="1306010"/>
                  </a:cubicBezTo>
                  <a:cubicBezTo>
                    <a:pt x="5577690" y="1328886"/>
                    <a:pt x="5559172" y="1347038"/>
                    <a:pt x="5536659" y="1347038"/>
                  </a:cubicBezTo>
                  <a:cubicBezTo>
                    <a:pt x="5513788" y="1347038"/>
                    <a:pt x="5495632" y="1328886"/>
                    <a:pt x="5495632" y="1306010"/>
                  </a:cubicBezTo>
                  <a:cubicBezTo>
                    <a:pt x="5495632" y="1283139"/>
                    <a:pt x="5513788" y="1264983"/>
                    <a:pt x="5536659" y="1264983"/>
                  </a:cubicBezTo>
                  <a:close/>
                  <a:moveTo>
                    <a:pt x="5690606" y="1262440"/>
                  </a:moveTo>
                  <a:cubicBezTo>
                    <a:pt x="5714568" y="1262440"/>
                    <a:pt x="5734176" y="1282049"/>
                    <a:pt x="5734176" y="1306010"/>
                  </a:cubicBezTo>
                  <a:cubicBezTo>
                    <a:pt x="5734176" y="1329976"/>
                    <a:pt x="5714568" y="1349581"/>
                    <a:pt x="5690606" y="1349581"/>
                  </a:cubicBezTo>
                  <a:cubicBezTo>
                    <a:pt x="5666641" y="1349581"/>
                    <a:pt x="5647036" y="1329976"/>
                    <a:pt x="5647036" y="1306010"/>
                  </a:cubicBezTo>
                  <a:cubicBezTo>
                    <a:pt x="5647036" y="1282049"/>
                    <a:pt x="5666641" y="1262440"/>
                    <a:pt x="5690606" y="1262440"/>
                  </a:cubicBezTo>
                  <a:close/>
                  <a:moveTo>
                    <a:pt x="5844554" y="1259898"/>
                  </a:moveTo>
                  <a:cubicBezTo>
                    <a:pt x="5870021" y="1259898"/>
                    <a:pt x="5890666" y="1280543"/>
                    <a:pt x="5890666" y="1306010"/>
                  </a:cubicBezTo>
                  <a:cubicBezTo>
                    <a:pt x="5890666" y="1331478"/>
                    <a:pt x="5870021" y="1352123"/>
                    <a:pt x="5844554" y="1352123"/>
                  </a:cubicBezTo>
                  <a:cubicBezTo>
                    <a:pt x="5819086" y="1352123"/>
                    <a:pt x="5798442" y="1331478"/>
                    <a:pt x="5798442" y="1306010"/>
                  </a:cubicBezTo>
                  <a:cubicBezTo>
                    <a:pt x="5798442" y="1280543"/>
                    <a:pt x="5819086" y="1259898"/>
                    <a:pt x="5844554" y="1259898"/>
                  </a:cubicBezTo>
                  <a:close/>
                  <a:moveTo>
                    <a:pt x="5998136" y="1257355"/>
                  </a:moveTo>
                  <a:cubicBezTo>
                    <a:pt x="6025006" y="1257355"/>
                    <a:pt x="6046790" y="1279140"/>
                    <a:pt x="6046790" y="1306010"/>
                  </a:cubicBezTo>
                  <a:cubicBezTo>
                    <a:pt x="6046790" y="1332877"/>
                    <a:pt x="6025006" y="1354662"/>
                    <a:pt x="5998136" y="1354662"/>
                  </a:cubicBezTo>
                  <a:cubicBezTo>
                    <a:pt x="5971269" y="1354662"/>
                    <a:pt x="5949484" y="1332877"/>
                    <a:pt x="5949484" y="1306010"/>
                  </a:cubicBezTo>
                  <a:cubicBezTo>
                    <a:pt x="5949484" y="1279140"/>
                    <a:pt x="5971269" y="1257355"/>
                    <a:pt x="5998136" y="1257355"/>
                  </a:cubicBezTo>
                  <a:close/>
                  <a:moveTo>
                    <a:pt x="6152083" y="1254817"/>
                  </a:moveTo>
                  <a:cubicBezTo>
                    <a:pt x="6180405" y="1254817"/>
                    <a:pt x="6203280" y="1277692"/>
                    <a:pt x="6203280" y="1306010"/>
                  </a:cubicBezTo>
                  <a:cubicBezTo>
                    <a:pt x="6203280" y="1334333"/>
                    <a:pt x="6180405" y="1357204"/>
                    <a:pt x="6152083" y="1357204"/>
                  </a:cubicBezTo>
                  <a:cubicBezTo>
                    <a:pt x="6123764" y="1357204"/>
                    <a:pt x="6100889" y="1334333"/>
                    <a:pt x="6100889" y="1306010"/>
                  </a:cubicBezTo>
                  <a:cubicBezTo>
                    <a:pt x="6100889" y="1277692"/>
                    <a:pt x="6123764" y="1254817"/>
                    <a:pt x="6152083" y="1254817"/>
                  </a:cubicBezTo>
                  <a:close/>
                  <a:moveTo>
                    <a:pt x="6305668" y="1252636"/>
                  </a:moveTo>
                  <a:cubicBezTo>
                    <a:pt x="6335077" y="1252636"/>
                    <a:pt x="6359042" y="1276598"/>
                    <a:pt x="6359042" y="1306010"/>
                  </a:cubicBezTo>
                  <a:cubicBezTo>
                    <a:pt x="6359042" y="1335419"/>
                    <a:pt x="6335077" y="1359381"/>
                    <a:pt x="6305668" y="1359381"/>
                  </a:cubicBezTo>
                  <a:cubicBezTo>
                    <a:pt x="6276259" y="1359381"/>
                    <a:pt x="6252294" y="1335419"/>
                    <a:pt x="6252294" y="1306010"/>
                  </a:cubicBezTo>
                  <a:cubicBezTo>
                    <a:pt x="6252294" y="1276598"/>
                    <a:pt x="6276259" y="1252636"/>
                    <a:pt x="6305668" y="1252636"/>
                  </a:cubicBezTo>
                  <a:close/>
                  <a:moveTo>
                    <a:pt x="6459619" y="1249732"/>
                  </a:moveTo>
                  <a:cubicBezTo>
                    <a:pt x="6490842" y="1249732"/>
                    <a:pt x="6515894" y="1274783"/>
                    <a:pt x="6515894" y="1306010"/>
                  </a:cubicBezTo>
                  <a:cubicBezTo>
                    <a:pt x="6515894" y="1337234"/>
                    <a:pt x="6490842" y="1362289"/>
                    <a:pt x="6459619" y="1362289"/>
                  </a:cubicBezTo>
                  <a:cubicBezTo>
                    <a:pt x="6428392" y="1362289"/>
                    <a:pt x="6403340" y="1337234"/>
                    <a:pt x="6403340" y="1306010"/>
                  </a:cubicBezTo>
                  <a:cubicBezTo>
                    <a:pt x="6403340" y="1274783"/>
                    <a:pt x="6428392" y="1249732"/>
                    <a:pt x="6459619" y="1249732"/>
                  </a:cubicBezTo>
                  <a:close/>
                  <a:moveTo>
                    <a:pt x="6613197" y="1247189"/>
                  </a:moveTo>
                  <a:cubicBezTo>
                    <a:pt x="6645514" y="1247189"/>
                    <a:pt x="6672018" y="1273693"/>
                    <a:pt x="6672018" y="1306010"/>
                  </a:cubicBezTo>
                  <a:cubicBezTo>
                    <a:pt x="6672018" y="1338324"/>
                    <a:pt x="6645876" y="1364828"/>
                    <a:pt x="6613197" y="1364828"/>
                  </a:cubicBezTo>
                  <a:cubicBezTo>
                    <a:pt x="6580884" y="1364828"/>
                    <a:pt x="6554380" y="1338324"/>
                    <a:pt x="6554380" y="1306010"/>
                  </a:cubicBezTo>
                  <a:cubicBezTo>
                    <a:pt x="6554380" y="1273693"/>
                    <a:pt x="6580884" y="1247189"/>
                    <a:pt x="6613197" y="1247189"/>
                  </a:cubicBezTo>
                  <a:close/>
                  <a:moveTo>
                    <a:pt x="1846279" y="1152063"/>
                  </a:moveTo>
                  <a:cubicBezTo>
                    <a:pt x="1846641" y="1152063"/>
                    <a:pt x="1846641" y="1152063"/>
                    <a:pt x="1846641" y="1152425"/>
                  </a:cubicBezTo>
                  <a:cubicBezTo>
                    <a:pt x="1846641" y="1152791"/>
                    <a:pt x="1846279" y="1152791"/>
                    <a:pt x="1846279" y="1152791"/>
                  </a:cubicBezTo>
                  <a:cubicBezTo>
                    <a:pt x="1845917" y="1152791"/>
                    <a:pt x="1845917" y="1152791"/>
                    <a:pt x="1845917" y="1152425"/>
                  </a:cubicBezTo>
                  <a:cubicBezTo>
                    <a:pt x="1845917" y="1152063"/>
                    <a:pt x="1845917" y="1152063"/>
                    <a:pt x="1846279" y="1152063"/>
                  </a:cubicBezTo>
                  <a:close/>
                  <a:moveTo>
                    <a:pt x="1384799" y="1152063"/>
                  </a:moveTo>
                  <a:cubicBezTo>
                    <a:pt x="1385161" y="1152063"/>
                    <a:pt x="1385161" y="1152063"/>
                    <a:pt x="1385161" y="1152425"/>
                  </a:cubicBezTo>
                  <a:cubicBezTo>
                    <a:pt x="1385161" y="1152791"/>
                    <a:pt x="1384799" y="1152791"/>
                    <a:pt x="1384799" y="1152791"/>
                  </a:cubicBezTo>
                  <a:cubicBezTo>
                    <a:pt x="1384437" y="1152791"/>
                    <a:pt x="1384437" y="1152791"/>
                    <a:pt x="1384437" y="1152425"/>
                  </a:cubicBezTo>
                  <a:cubicBezTo>
                    <a:pt x="1384437" y="1152063"/>
                    <a:pt x="1384437" y="1152063"/>
                    <a:pt x="1384799" y="1152063"/>
                  </a:cubicBezTo>
                  <a:close/>
                  <a:moveTo>
                    <a:pt x="1231213" y="1152063"/>
                  </a:moveTo>
                  <a:cubicBezTo>
                    <a:pt x="1231576" y="1152063"/>
                    <a:pt x="1231576" y="1152063"/>
                    <a:pt x="1231576" y="1152425"/>
                  </a:cubicBezTo>
                  <a:cubicBezTo>
                    <a:pt x="1231576" y="1152791"/>
                    <a:pt x="1231213" y="1152791"/>
                    <a:pt x="1231213" y="1152791"/>
                  </a:cubicBezTo>
                  <a:cubicBezTo>
                    <a:pt x="1230851" y="1152791"/>
                    <a:pt x="1230851" y="1152791"/>
                    <a:pt x="1230851" y="1152425"/>
                  </a:cubicBezTo>
                  <a:cubicBezTo>
                    <a:pt x="1230851" y="1152063"/>
                    <a:pt x="1230851" y="1152063"/>
                    <a:pt x="1231213" y="1152063"/>
                  </a:cubicBezTo>
                  <a:close/>
                  <a:moveTo>
                    <a:pt x="1077270" y="1151701"/>
                  </a:moveTo>
                  <a:cubicBezTo>
                    <a:pt x="1077670" y="1151701"/>
                    <a:pt x="1077994" y="1152025"/>
                    <a:pt x="1077994" y="1152425"/>
                  </a:cubicBezTo>
                  <a:cubicBezTo>
                    <a:pt x="1077994" y="1152829"/>
                    <a:pt x="1077670" y="1153153"/>
                    <a:pt x="1077270" y="1153153"/>
                  </a:cubicBezTo>
                  <a:cubicBezTo>
                    <a:pt x="1076866" y="1153153"/>
                    <a:pt x="1076542" y="1152829"/>
                    <a:pt x="1076542" y="1152425"/>
                  </a:cubicBezTo>
                  <a:cubicBezTo>
                    <a:pt x="1076542" y="1152025"/>
                    <a:pt x="1076866" y="1151701"/>
                    <a:pt x="1077270" y="1151701"/>
                  </a:cubicBezTo>
                  <a:close/>
                  <a:moveTo>
                    <a:pt x="1999864" y="1150611"/>
                  </a:moveTo>
                  <a:cubicBezTo>
                    <a:pt x="2000588" y="1150611"/>
                    <a:pt x="2001316" y="1151335"/>
                    <a:pt x="2001316" y="1152063"/>
                  </a:cubicBezTo>
                  <a:cubicBezTo>
                    <a:pt x="2001316" y="1152787"/>
                    <a:pt x="1999864" y="1153515"/>
                    <a:pt x="1999864" y="1153515"/>
                  </a:cubicBezTo>
                  <a:cubicBezTo>
                    <a:pt x="1999136" y="1153515"/>
                    <a:pt x="1998412" y="1152787"/>
                    <a:pt x="1998412" y="1152063"/>
                  </a:cubicBezTo>
                  <a:cubicBezTo>
                    <a:pt x="1998412" y="1151335"/>
                    <a:pt x="1999136" y="1150611"/>
                    <a:pt x="1999864" y="1150611"/>
                  </a:cubicBezTo>
                  <a:close/>
                  <a:moveTo>
                    <a:pt x="2153808" y="1150249"/>
                  </a:moveTo>
                  <a:cubicBezTo>
                    <a:pt x="2154898" y="1150249"/>
                    <a:pt x="2155988" y="1151339"/>
                    <a:pt x="2155988" y="1152425"/>
                  </a:cubicBezTo>
                  <a:cubicBezTo>
                    <a:pt x="2155988" y="1153515"/>
                    <a:pt x="2153808" y="1154606"/>
                    <a:pt x="2153808" y="1154606"/>
                  </a:cubicBezTo>
                  <a:cubicBezTo>
                    <a:pt x="2152721" y="1154606"/>
                    <a:pt x="2151631" y="1153515"/>
                    <a:pt x="2151631" y="1152425"/>
                  </a:cubicBezTo>
                  <a:cubicBezTo>
                    <a:pt x="2151631" y="1151339"/>
                    <a:pt x="2152721" y="1150249"/>
                    <a:pt x="2153808" y="1150249"/>
                  </a:cubicBezTo>
                  <a:close/>
                  <a:moveTo>
                    <a:pt x="2307393" y="1149158"/>
                  </a:moveTo>
                  <a:cubicBezTo>
                    <a:pt x="2309211" y="1149158"/>
                    <a:pt x="2310660" y="1150611"/>
                    <a:pt x="2310660" y="1152425"/>
                  </a:cubicBezTo>
                  <a:cubicBezTo>
                    <a:pt x="2310660" y="1154244"/>
                    <a:pt x="2309211" y="1155696"/>
                    <a:pt x="2307393" y="1155696"/>
                  </a:cubicBezTo>
                  <a:cubicBezTo>
                    <a:pt x="2305578" y="1155696"/>
                    <a:pt x="2304126" y="1154244"/>
                    <a:pt x="2304126" y="1152425"/>
                  </a:cubicBezTo>
                  <a:cubicBezTo>
                    <a:pt x="2304126" y="1150611"/>
                    <a:pt x="2305578" y="1149158"/>
                    <a:pt x="2307393" y="1149158"/>
                  </a:cubicBezTo>
                  <a:close/>
                  <a:moveTo>
                    <a:pt x="2461340" y="1147706"/>
                  </a:moveTo>
                  <a:cubicBezTo>
                    <a:pt x="2463883" y="1147706"/>
                    <a:pt x="2465697" y="1149521"/>
                    <a:pt x="2465697" y="1152063"/>
                  </a:cubicBezTo>
                  <a:cubicBezTo>
                    <a:pt x="2465697" y="1154606"/>
                    <a:pt x="2463521" y="1156420"/>
                    <a:pt x="2461340" y="1156420"/>
                  </a:cubicBezTo>
                  <a:cubicBezTo>
                    <a:pt x="2458798" y="1156420"/>
                    <a:pt x="2456983" y="1154606"/>
                    <a:pt x="2456983" y="1152063"/>
                  </a:cubicBezTo>
                  <a:cubicBezTo>
                    <a:pt x="2456983" y="1149521"/>
                    <a:pt x="2458798" y="1147706"/>
                    <a:pt x="2461340" y="1147706"/>
                  </a:cubicBezTo>
                  <a:close/>
                  <a:moveTo>
                    <a:pt x="2614925" y="1146616"/>
                  </a:moveTo>
                  <a:cubicBezTo>
                    <a:pt x="2618192" y="1146616"/>
                    <a:pt x="2620735" y="1149158"/>
                    <a:pt x="2620735" y="1152425"/>
                  </a:cubicBezTo>
                  <a:cubicBezTo>
                    <a:pt x="2620735" y="1155692"/>
                    <a:pt x="2618192" y="1158234"/>
                    <a:pt x="2614925" y="1158234"/>
                  </a:cubicBezTo>
                  <a:cubicBezTo>
                    <a:pt x="2611659" y="1158234"/>
                    <a:pt x="2609116" y="1155692"/>
                    <a:pt x="2609116" y="1152425"/>
                  </a:cubicBezTo>
                  <a:cubicBezTo>
                    <a:pt x="2609116" y="1149158"/>
                    <a:pt x="2611659" y="1146616"/>
                    <a:pt x="2614925" y="1146616"/>
                  </a:cubicBezTo>
                  <a:close/>
                  <a:moveTo>
                    <a:pt x="2768873" y="1145164"/>
                  </a:moveTo>
                  <a:cubicBezTo>
                    <a:pt x="2772868" y="1145164"/>
                    <a:pt x="2776135" y="1148430"/>
                    <a:pt x="2776135" y="1152425"/>
                  </a:cubicBezTo>
                  <a:cubicBezTo>
                    <a:pt x="2776135" y="1156420"/>
                    <a:pt x="2772868" y="1159687"/>
                    <a:pt x="2768873" y="1159687"/>
                  </a:cubicBezTo>
                  <a:cubicBezTo>
                    <a:pt x="2764878" y="1159687"/>
                    <a:pt x="2761611" y="1156420"/>
                    <a:pt x="2761611" y="1152425"/>
                  </a:cubicBezTo>
                  <a:cubicBezTo>
                    <a:pt x="2761611" y="1148430"/>
                    <a:pt x="2764878" y="1145164"/>
                    <a:pt x="2768873" y="1145164"/>
                  </a:cubicBezTo>
                  <a:close/>
                  <a:moveTo>
                    <a:pt x="2922454" y="1142983"/>
                  </a:moveTo>
                  <a:cubicBezTo>
                    <a:pt x="2927539" y="1142983"/>
                    <a:pt x="2931534" y="1146978"/>
                    <a:pt x="2931534" y="1152059"/>
                  </a:cubicBezTo>
                  <a:cubicBezTo>
                    <a:pt x="2931534" y="1157144"/>
                    <a:pt x="2927539" y="1161139"/>
                    <a:pt x="2922454" y="1161139"/>
                  </a:cubicBezTo>
                  <a:cubicBezTo>
                    <a:pt x="2917373" y="1161139"/>
                    <a:pt x="2913378" y="1157144"/>
                    <a:pt x="2913378" y="1152059"/>
                  </a:cubicBezTo>
                  <a:cubicBezTo>
                    <a:pt x="2913378" y="1146978"/>
                    <a:pt x="2917373" y="1142983"/>
                    <a:pt x="2922454" y="1142983"/>
                  </a:cubicBezTo>
                  <a:close/>
                  <a:moveTo>
                    <a:pt x="3076406" y="1142259"/>
                  </a:moveTo>
                  <a:cubicBezTo>
                    <a:pt x="3081853" y="1142259"/>
                    <a:pt x="3086572" y="1146978"/>
                    <a:pt x="3086572" y="1152425"/>
                  </a:cubicBezTo>
                  <a:cubicBezTo>
                    <a:pt x="3086572" y="1157872"/>
                    <a:pt x="3082215" y="1162592"/>
                    <a:pt x="3076406" y="1162592"/>
                  </a:cubicBezTo>
                  <a:cubicBezTo>
                    <a:pt x="3070958" y="1162592"/>
                    <a:pt x="3066239" y="1157872"/>
                    <a:pt x="3066239" y="1152425"/>
                  </a:cubicBezTo>
                  <a:cubicBezTo>
                    <a:pt x="3066239" y="1146978"/>
                    <a:pt x="3070958" y="1142259"/>
                    <a:pt x="3076406" y="1142259"/>
                  </a:cubicBezTo>
                  <a:close/>
                  <a:moveTo>
                    <a:pt x="3230349" y="1140444"/>
                  </a:moveTo>
                  <a:cubicBezTo>
                    <a:pt x="3236886" y="1140444"/>
                    <a:pt x="3242334" y="1145892"/>
                    <a:pt x="3242334" y="1152425"/>
                  </a:cubicBezTo>
                  <a:cubicBezTo>
                    <a:pt x="3242334" y="1158963"/>
                    <a:pt x="3236886" y="1164406"/>
                    <a:pt x="3230349" y="1164406"/>
                  </a:cubicBezTo>
                  <a:cubicBezTo>
                    <a:pt x="3223816" y="1164406"/>
                    <a:pt x="3218368" y="1158963"/>
                    <a:pt x="3218368" y="1152425"/>
                  </a:cubicBezTo>
                  <a:cubicBezTo>
                    <a:pt x="3218368" y="1145892"/>
                    <a:pt x="3223816" y="1140444"/>
                    <a:pt x="3230349" y="1140444"/>
                  </a:cubicBezTo>
                  <a:close/>
                  <a:moveTo>
                    <a:pt x="3383934" y="1138264"/>
                  </a:moveTo>
                  <a:cubicBezTo>
                    <a:pt x="3391562" y="1138264"/>
                    <a:pt x="3397733" y="1144435"/>
                    <a:pt x="3397733" y="1152059"/>
                  </a:cubicBezTo>
                  <a:cubicBezTo>
                    <a:pt x="3397733" y="1159687"/>
                    <a:pt x="3391562" y="1165858"/>
                    <a:pt x="3383934" y="1165858"/>
                  </a:cubicBezTo>
                  <a:cubicBezTo>
                    <a:pt x="3376310" y="1165858"/>
                    <a:pt x="3370139" y="1159687"/>
                    <a:pt x="3370139" y="1152059"/>
                  </a:cubicBezTo>
                  <a:cubicBezTo>
                    <a:pt x="3370139" y="1144435"/>
                    <a:pt x="3376310" y="1138264"/>
                    <a:pt x="3383934" y="1138264"/>
                  </a:cubicBezTo>
                  <a:close/>
                  <a:moveTo>
                    <a:pt x="3537882" y="1137178"/>
                  </a:moveTo>
                  <a:cubicBezTo>
                    <a:pt x="3546306" y="1137178"/>
                    <a:pt x="3553133" y="1144005"/>
                    <a:pt x="3553133" y="1152425"/>
                  </a:cubicBezTo>
                  <a:cubicBezTo>
                    <a:pt x="3553133" y="1160849"/>
                    <a:pt x="3546306" y="1167677"/>
                    <a:pt x="3537882" y="1167677"/>
                  </a:cubicBezTo>
                  <a:cubicBezTo>
                    <a:pt x="3529461" y="1167677"/>
                    <a:pt x="3522634" y="1160849"/>
                    <a:pt x="3522634" y="1152425"/>
                  </a:cubicBezTo>
                  <a:cubicBezTo>
                    <a:pt x="3522634" y="1144005"/>
                    <a:pt x="3529461" y="1137178"/>
                    <a:pt x="3537882" y="1137178"/>
                  </a:cubicBezTo>
                  <a:close/>
                  <a:moveTo>
                    <a:pt x="3691467" y="1135359"/>
                  </a:moveTo>
                  <a:cubicBezTo>
                    <a:pt x="3700905" y="1135359"/>
                    <a:pt x="3708533" y="1142983"/>
                    <a:pt x="3708533" y="1152425"/>
                  </a:cubicBezTo>
                  <a:cubicBezTo>
                    <a:pt x="3708533" y="1161863"/>
                    <a:pt x="3700905" y="1169487"/>
                    <a:pt x="3691467" y="1169487"/>
                  </a:cubicBezTo>
                  <a:cubicBezTo>
                    <a:pt x="3682025" y="1169487"/>
                    <a:pt x="3674401" y="1161863"/>
                    <a:pt x="3674401" y="1152425"/>
                  </a:cubicBezTo>
                  <a:cubicBezTo>
                    <a:pt x="3674401" y="1142983"/>
                    <a:pt x="3682025" y="1135359"/>
                    <a:pt x="3691467" y="1135359"/>
                  </a:cubicBezTo>
                  <a:close/>
                  <a:moveTo>
                    <a:pt x="3845414" y="1133183"/>
                  </a:moveTo>
                  <a:cubicBezTo>
                    <a:pt x="3856046" y="1133183"/>
                    <a:pt x="3864661" y="1141798"/>
                    <a:pt x="3864661" y="1152425"/>
                  </a:cubicBezTo>
                  <a:cubicBezTo>
                    <a:pt x="3864661" y="1163053"/>
                    <a:pt x="3856046" y="1171672"/>
                    <a:pt x="3845414" y="1171672"/>
                  </a:cubicBezTo>
                  <a:cubicBezTo>
                    <a:pt x="3834787" y="1171672"/>
                    <a:pt x="3826172" y="1163053"/>
                    <a:pt x="3826172" y="1152425"/>
                  </a:cubicBezTo>
                  <a:cubicBezTo>
                    <a:pt x="3826172" y="1141798"/>
                    <a:pt x="3834787" y="1133183"/>
                    <a:pt x="3845414" y="1133183"/>
                  </a:cubicBezTo>
                  <a:close/>
                  <a:moveTo>
                    <a:pt x="3999000" y="1131002"/>
                  </a:moveTo>
                  <a:cubicBezTo>
                    <a:pt x="4010832" y="1131002"/>
                    <a:pt x="4020422" y="1140593"/>
                    <a:pt x="4020422" y="1152425"/>
                  </a:cubicBezTo>
                  <a:cubicBezTo>
                    <a:pt x="4020422" y="1164254"/>
                    <a:pt x="4010832" y="1173844"/>
                    <a:pt x="3999000" y="1173844"/>
                  </a:cubicBezTo>
                  <a:cubicBezTo>
                    <a:pt x="3987168" y="1173844"/>
                    <a:pt x="3977577" y="1164254"/>
                    <a:pt x="3977577" y="1152425"/>
                  </a:cubicBezTo>
                  <a:cubicBezTo>
                    <a:pt x="3977577" y="1140593"/>
                    <a:pt x="3987168" y="1131002"/>
                    <a:pt x="3999000" y="1131002"/>
                  </a:cubicBezTo>
                  <a:close/>
                  <a:moveTo>
                    <a:pt x="4152947" y="1129550"/>
                  </a:moveTo>
                  <a:cubicBezTo>
                    <a:pt x="4165580" y="1129550"/>
                    <a:pt x="4175822" y="1139792"/>
                    <a:pt x="4175822" y="1152425"/>
                  </a:cubicBezTo>
                  <a:cubicBezTo>
                    <a:pt x="4175822" y="1165058"/>
                    <a:pt x="4165580" y="1175297"/>
                    <a:pt x="4152947" y="1175297"/>
                  </a:cubicBezTo>
                  <a:cubicBezTo>
                    <a:pt x="4140314" y="1175297"/>
                    <a:pt x="4130072" y="1165058"/>
                    <a:pt x="4130072" y="1152425"/>
                  </a:cubicBezTo>
                  <a:cubicBezTo>
                    <a:pt x="4130072" y="1139792"/>
                    <a:pt x="4140314" y="1129550"/>
                    <a:pt x="4152947" y="1129550"/>
                  </a:cubicBezTo>
                  <a:close/>
                  <a:moveTo>
                    <a:pt x="4306532" y="1127373"/>
                  </a:moveTo>
                  <a:cubicBezTo>
                    <a:pt x="4320370" y="1127373"/>
                    <a:pt x="4331584" y="1138588"/>
                    <a:pt x="4331584" y="1152425"/>
                  </a:cubicBezTo>
                  <a:cubicBezTo>
                    <a:pt x="4331584" y="1166262"/>
                    <a:pt x="4320370" y="1177481"/>
                    <a:pt x="4306532" y="1177481"/>
                  </a:cubicBezTo>
                  <a:cubicBezTo>
                    <a:pt x="4292695" y="1177481"/>
                    <a:pt x="4281480" y="1166262"/>
                    <a:pt x="4281480" y="1152425"/>
                  </a:cubicBezTo>
                  <a:cubicBezTo>
                    <a:pt x="4281480" y="1138588"/>
                    <a:pt x="4292695" y="1127373"/>
                    <a:pt x="4306532" y="1127373"/>
                  </a:cubicBezTo>
                  <a:close/>
                  <a:moveTo>
                    <a:pt x="4460480" y="1125193"/>
                  </a:moveTo>
                  <a:cubicBezTo>
                    <a:pt x="4475365" y="1125193"/>
                    <a:pt x="4487712" y="1137540"/>
                    <a:pt x="4487712" y="1152425"/>
                  </a:cubicBezTo>
                  <a:cubicBezTo>
                    <a:pt x="4487712" y="1167311"/>
                    <a:pt x="4475728" y="1179657"/>
                    <a:pt x="4460480" y="1179657"/>
                  </a:cubicBezTo>
                  <a:cubicBezTo>
                    <a:pt x="4445590" y="1179657"/>
                    <a:pt x="4433248" y="1167311"/>
                    <a:pt x="4433248" y="1152425"/>
                  </a:cubicBezTo>
                  <a:cubicBezTo>
                    <a:pt x="4433248" y="1137540"/>
                    <a:pt x="4445590" y="1125193"/>
                    <a:pt x="4460480" y="1125193"/>
                  </a:cubicBezTo>
                  <a:close/>
                  <a:moveTo>
                    <a:pt x="4614061" y="1122654"/>
                  </a:moveTo>
                  <a:cubicBezTo>
                    <a:pt x="4630506" y="1122654"/>
                    <a:pt x="4643836" y="1135985"/>
                    <a:pt x="4643836" y="1152425"/>
                  </a:cubicBezTo>
                  <a:cubicBezTo>
                    <a:pt x="4643836" y="1168870"/>
                    <a:pt x="4630506" y="1182200"/>
                    <a:pt x="4614061" y="1182200"/>
                  </a:cubicBezTo>
                  <a:cubicBezTo>
                    <a:pt x="4597620" y="1182200"/>
                    <a:pt x="4584290" y="1168870"/>
                    <a:pt x="4584290" y="1152429"/>
                  </a:cubicBezTo>
                  <a:cubicBezTo>
                    <a:pt x="4584290" y="1135985"/>
                    <a:pt x="4597620" y="1122654"/>
                    <a:pt x="4614061" y="1122654"/>
                  </a:cubicBezTo>
                  <a:close/>
                  <a:moveTo>
                    <a:pt x="4768012" y="1120474"/>
                  </a:moveTo>
                  <a:cubicBezTo>
                    <a:pt x="4785802" y="1120474"/>
                    <a:pt x="4799964" y="1134635"/>
                    <a:pt x="4799964" y="1152425"/>
                  </a:cubicBezTo>
                  <a:cubicBezTo>
                    <a:pt x="4799964" y="1170215"/>
                    <a:pt x="4785802" y="1184377"/>
                    <a:pt x="4768012" y="1184377"/>
                  </a:cubicBezTo>
                  <a:cubicBezTo>
                    <a:pt x="4750222" y="1184377"/>
                    <a:pt x="4736061" y="1170215"/>
                    <a:pt x="4736061" y="1152425"/>
                  </a:cubicBezTo>
                  <a:cubicBezTo>
                    <a:pt x="4736061" y="1134635"/>
                    <a:pt x="4750222" y="1120474"/>
                    <a:pt x="4768012" y="1120474"/>
                  </a:cubicBezTo>
                  <a:close/>
                  <a:moveTo>
                    <a:pt x="4921594" y="1118659"/>
                  </a:moveTo>
                  <a:cubicBezTo>
                    <a:pt x="4940246" y="1118659"/>
                    <a:pt x="4955364" y="1133777"/>
                    <a:pt x="4955364" y="1152425"/>
                  </a:cubicBezTo>
                  <a:cubicBezTo>
                    <a:pt x="4955364" y="1171077"/>
                    <a:pt x="4940246" y="1186191"/>
                    <a:pt x="4921594" y="1186191"/>
                  </a:cubicBezTo>
                  <a:cubicBezTo>
                    <a:pt x="4902946" y="1186191"/>
                    <a:pt x="4887828" y="1171077"/>
                    <a:pt x="4887828" y="1152425"/>
                  </a:cubicBezTo>
                  <a:cubicBezTo>
                    <a:pt x="4887828" y="1133777"/>
                    <a:pt x="4902946" y="1118659"/>
                    <a:pt x="4921594" y="1118659"/>
                  </a:cubicBezTo>
                  <a:close/>
                  <a:moveTo>
                    <a:pt x="5075541" y="1116117"/>
                  </a:moveTo>
                  <a:cubicBezTo>
                    <a:pt x="5095512" y="1116117"/>
                    <a:pt x="5111850" y="1132455"/>
                    <a:pt x="5111850" y="1152425"/>
                  </a:cubicBezTo>
                  <a:cubicBezTo>
                    <a:pt x="5111850" y="1172396"/>
                    <a:pt x="5095512" y="1188734"/>
                    <a:pt x="5075541" y="1188734"/>
                  </a:cubicBezTo>
                  <a:cubicBezTo>
                    <a:pt x="5055570" y="1188734"/>
                    <a:pt x="5039233" y="1172396"/>
                    <a:pt x="5039233" y="1152425"/>
                  </a:cubicBezTo>
                  <a:cubicBezTo>
                    <a:pt x="5039233" y="1132455"/>
                    <a:pt x="5055570" y="1116117"/>
                    <a:pt x="5075541" y="1116117"/>
                  </a:cubicBezTo>
                  <a:close/>
                  <a:moveTo>
                    <a:pt x="5229126" y="1113574"/>
                  </a:moveTo>
                  <a:cubicBezTo>
                    <a:pt x="5250550" y="1113574"/>
                    <a:pt x="5267978" y="1131002"/>
                    <a:pt x="5267978" y="1152425"/>
                  </a:cubicBezTo>
                  <a:cubicBezTo>
                    <a:pt x="5267978" y="1173848"/>
                    <a:pt x="5250550" y="1191276"/>
                    <a:pt x="5229126" y="1191276"/>
                  </a:cubicBezTo>
                  <a:cubicBezTo>
                    <a:pt x="5207704" y="1191276"/>
                    <a:pt x="5190276" y="1173848"/>
                    <a:pt x="5190276" y="1152425"/>
                  </a:cubicBezTo>
                  <a:cubicBezTo>
                    <a:pt x="5190276" y="1131002"/>
                    <a:pt x="5207704" y="1113574"/>
                    <a:pt x="5229126" y="1113574"/>
                  </a:cubicBezTo>
                  <a:close/>
                  <a:moveTo>
                    <a:pt x="5383074" y="1111036"/>
                  </a:moveTo>
                  <a:cubicBezTo>
                    <a:pt x="5405949" y="1111036"/>
                    <a:pt x="5424102" y="1129192"/>
                    <a:pt x="5424102" y="1152063"/>
                  </a:cubicBezTo>
                  <a:cubicBezTo>
                    <a:pt x="5424102" y="1174938"/>
                    <a:pt x="5405587" y="1193094"/>
                    <a:pt x="5383074" y="1193094"/>
                  </a:cubicBezTo>
                  <a:cubicBezTo>
                    <a:pt x="5360202" y="1193094"/>
                    <a:pt x="5342046" y="1174938"/>
                    <a:pt x="5342046" y="1152063"/>
                  </a:cubicBezTo>
                  <a:cubicBezTo>
                    <a:pt x="5342046" y="1129192"/>
                    <a:pt x="5360202" y="1111036"/>
                    <a:pt x="5383074" y="1111036"/>
                  </a:cubicBezTo>
                  <a:close/>
                  <a:moveTo>
                    <a:pt x="5536659" y="1108855"/>
                  </a:moveTo>
                  <a:cubicBezTo>
                    <a:pt x="5560620" y="1108855"/>
                    <a:pt x="5580229" y="1128460"/>
                    <a:pt x="5580229" y="1152425"/>
                  </a:cubicBezTo>
                  <a:cubicBezTo>
                    <a:pt x="5580229" y="1176391"/>
                    <a:pt x="5560620" y="1195995"/>
                    <a:pt x="5536659" y="1195995"/>
                  </a:cubicBezTo>
                  <a:cubicBezTo>
                    <a:pt x="5512694" y="1195995"/>
                    <a:pt x="5493089" y="1176391"/>
                    <a:pt x="5493089" y="1152425"/>
                  </a:cubicBezTo>
                  <a:cubicBezTo>
                    <a:pt x="5493089" y="1128460"/>
                    <a:pt x="5512694" y="1108855"/>
                    <a:pt x="5536659" y="1108855"/>
                  </a:cubicBezTo>
                  <a:close/>
                  <a:moveTo>
                    <a:pt x="5690602" y="1106313"/>
                  </a:moveTo>
                  <a:cubicBezTo>
                    <a:pt x="5716070" y="1106313"/>
                    <a:pt x="5736716" y="1126958"/>
                    <a:pt x="5736716" y="1152425"/>
                  </a:cubicBezTo>
                  <a:cubicBezTo>
                    <a:pt x="5736716" y="1177893"/>
                    <a:pt x="5716070" y="1198534"/>
                    <a:pt x="5690602" y="1198534"/>
                  </a:cubicBezTo>
                  <a:cubicBezTo>
                    <a:pt x="5665136" y="1198534"/>
                    <a:pt x="5644490" y="1177893"/>
                    <a:pt x="5644490" y="1152425"/>
                  </a:cubicBezTo>
                  <a:cubicBezTo>
                    <a:pt x="5644490" y="1126958"/>
                    <a:pt x="5665136" y="1106313"/>
                    <a:pt x="5690602" y="1106313"/>
                  </a:cubicBezTo>
                  <a:close/>
                  <a:moveTo>
                    <a:pt x="5844554" y="1103770"/>
                  </a:moveTo>
                  <a:cubicBezTo>
                    <a:pt x="5871420" y="1103770"/>
                    <a:pt x="5893205" y="1125555"/>
                    <a:pt x="5893205" y="1152425"/>
                  </a:cubicBezTo>
                  <a:cubicBezTo>
                    <a:pt x="5893205" y="1179291"/>
                    <a:pt x="5871420" y="1201077"/>
                    <a:pt x="5844554" y="1201077"/>
                  </a:cubicBezTo>
                  <a:cubicBezTo>
                    <a:pt x="5817684" y="1201077"/>
                    <a:pt x="5795899" y="1179291"/>
                    <a:pt x="5795899" y="1152425"/>
                  </a:cubicBezTo>
                  <a:cubicBezTo>
                    <a:pt x="5795899" y="1125555"/>
                    <a:pt x="5817684" y="1103770"/>
                    <a:pt x="5844554" y="1103770"/>
                  </a:cubicBezTo>
                  <a:close/>
                  <a:moveTo>
                    <a:pt x="5998136" y="1101231"/>
                  </a:moveTo>
                  <a:cubicBezTo>
                    <a:pt x="6026458" y="1101231"/>
                    <a:pt x="6049333" y="1124107"/>
                    <a:pt x="6049333" y="1152425"/>
                  </a:cubicBezTo>
                  <a:cubicBezTo>
                    <a:pt x="6049333" y="1180748"/>
                    <a:pt x="6026458" y="1203623"/>
                    <a:pt x="5998136" y="1203623"/>
                  </a:cubicBezTo>
                  <a:cubicBezTo>
                    <a:pt x="5969817" y="1203623"/>
                    <a:pt x="5946942" y="1180748"/>
                    <a:pt x="5946942" y="1152425"/>
                  </a:cubicBezTo>
                  <a:cubicBezTo>
                    <a:pt x="5946942" y="1124107"/>
                    <a:pt x="5969817" y="1101231"/>
                    <a:pt x="5998136" y="1101231"/>
                  </a:cubicBezTo>
                  <a:close/>
                  <a:moveTo>
                    <a:pt x="6152083" y="1099051"/>
                  </a:moveTo>
                  <a:cubicBezTo>
                    <a:pt x="6181496" y="1099051"/>
                    <a:pt x="6205461" y="1123013"/>
                    <a:pt x="6205461" y="1152425"/>
                  </a:cubicBezTo>
                  <a:cubicBezTo>
                    <a:pt x="6205461" y="1181834"/>
                    <a:pt x="6181496" y="1205796"/>
                    <a:pt x="6152083" y="1205796"/>
                  </a:cubicBezTo>
                  <a:cubicBezTo>
                    <a:pt x="6122674" y="1205796"/>
                    <a:pt x="6098712" y="1181834"/>
                    <a:pt x="6098712" y="1152425"/>
                  </a:cubicBezTo>
                  <a:cubicBezTo>
                    <a:pt x="6098712" y="1123013"/>
                    <a:pt x="6122674" y="1099051"/>
                    <a:pt x="6152083" y="1099051"/>
                  </a:cubicBezTo>
                  <a:close/>
                  <a:moveTo>
                    <a:pt x="6305672" y="1096146"/>
                  </a:moveTo>
                  <a:cubicBezTo>
                    <a:pt x="6336895" y="1096146"/>
                    <a:pt x="6361947" y="1121198"/>
                    <a:pt x="6361947" y="1152425"/>
                  </a:cubicBezTo>
                  <a:cubicBezTo>
                    <a:pt x="6361947" y="1183648"/>
                    <a:pt x="6336895" y="1208704"/>
                    <a:pt x="6305672" y="1208704"/>
                  </a:cubicBezTo>
                  <a:cubicBezTo>
                    <a:pt x="6274445" y="1208704"/>
                    <a:pt x="6249393" y="1183648"/>
                    <a:pt x="6249393" y="1152425"/>
                  </a:cubicBezTo>
                  <a:cubicBezTo>
                    <a:pt x="6249393" y="1121198"/>
                    <a:pt x="6274445" y="1096146"/>
                    <a:pt x="6305672" y="1096146"/>
                  </a:cubicBezTo>
                  <a:close/>
                  <a:moveTo>
                    <a:pt x="6459616" y="1093608"/>
                  </a:moveTo>
                  <a:cubicBezTo>
                    <a:pt x="6491932" y="1093608"/>
                    <a:pt x="6518437" y="1120112"/>
                    <a:pt x="6518437" y="1152425"/>
                  </a:cubicBezTo>
                  <a:cubicBezTo>
                    <a:pt x="6518437" y="1184743"/>
                    <a:pt x="6492295" y="1211247"/>
                    <a:pt x="6459616" y="1211247"/>
                  </a:cubicBezTo>
                  <a:cubicBezTo>
                    <a:pt x="6427302" y="1211247"/>
                    <a:pt x="6400798" y="1184743"/>
                    <a:pt x="6400798" y="1152425"/>
                  </a:cubicBezTo>
                  <a:cubicBezTo>
                    <a:pt x="6400798" y="1120112"/>
                    <a:pt x="6427302" y="1093608"/>
                    <a:pt x="6459616" y="1093608"/>
                  </a:cubicBezTo>
                  <a:close/>
                  <a:moveTo>
                    <a:pt x="6613200" y="1090703"/>
                  </a:moveTo>
                  <a:cubicBezTo>
                    <a:pt x="6647328" y="1090703"/>
                    <a:pt x="6674923" y="1118297"/>
                    <a:pt x="6674923" y="1152425"/>
                  </a:cubicBezTo>
                  <a:cubicBezTo>
                    <a:pt x="6674923" y="1186557"/>
                    <a:pt x="6647328" y="1214151"/>
                    <a:pt x="6613200" y="1214151"/>
                  </a:cubicBezTo>
                  <a:cubicBezTo>
                    <a:pt x="6579069" y="1214151"/>
                    <a:pt x="6551474" y="1186557"/>
                    <a:pt x="6551474" y="1152425"/>
                  </a:cubicBezTo>
                  <a:cubicBezTo>
                    <a:pt x="6551474" y="1118297"/>
                    <a:pt x="6579069" y="1090703"/>
                    <a:pt x="6613200" y="1090703"/>
                  </a:cubicBezTo>
                  <a:close/>
                  <a:moveTo>
                    <a:pt x="1692331" y="998116"/>
                  </a:moveTo>
                  <a:cubicBezTo>
                    <a:pt x="1692694" y="998116"/>
                    <a:pt x="1692694" y="998116"/>
                    <a:pt x="1692694" y="998478"/>
                  </a:cubicBezTo>
                  <a:cubicBezTo>
                    <a:pt x="1692694" y="998844"/>
                    <a:pt x="1692331" y="998844"/>
                    <a:pt x="1692331" y="998844"/>
                  </a:cubicBezTo>
                  <a:cubicBezTo>
                    <a:pt x="1691969" y="998844"/>
                    <a:pt x="1691969" y="998844"/>
                    <a:pt x="1691969" y="998478"/>
                  </a:cubicBezTo>
                  <a:cubicBezTo>
                    <a:pt x="1691969" y="998116"/>
                    <a:pt x="1691969" y="998116"/>
                    <a:pt x="1692331" y="998116"/>
                  </a:cubicBezTo>
                  <a:close/>
                  <a:moveTo>
                    <a:pt x="1231213" y="998116"/>
                  </a:moveTo>
                  <a:cubicBezTo>
                    <a:pt x="1231576" y="998116"/>
                    <a:pt x="1231576" y="998116"/>
                    <a:pt x="1231576" y="998478"/>
                  </a:cubicBezTo>
                  <a:cubicBezTo>
                    <a:pt x="1231576" y="998844"/>
                    <a:pt x="1231213" y="998844"/>
                    <a:pt x="1231213" y="998844"/>
                  </a:cubicBezTo>
                  <a:cubicBezTo>
                    <a:pt x="1230851" y="998844"/>
                    <a:pt x="1230851" y="998844"/>
                    <a:pt x="1230851" y="998478"/>
                  </a:cubicBezTo>
                  <a:cubicBezTo>
                    <a:pt x="1230851" y="998116"/>
                    <a:pt x="1230851" y="998116"/>
                    <a:pt x="1231213" y="998116"/>
                  </a:cubicBezTo>
                  <a:close/>
                  <a:moveTo>
                    <a:pt x="1077266" y="998116"/>
                  </a:moveTo>
                  <a:cubicBezTo>
                    <a:pt x="1077628" y="998116"/>
                    <a:pt x="1077628" y="998116"/>
                    <a:pt x="1077628" y="998478"/>
                  </a:cubicBezTo>
                  <a:cubicBezTo>
                    <a:pt x="1077628" y="998844"/>
                    <a:pt x="1077266" y="998844"/>
                    <a:pt x="1077266" y="998844"/>
                  </a:cubicBezTo>
                  <a:cubicBezTo>
                    <a:pt x="1076904" y="998844"/>
                    <a:pt x="1076904" y="998844"/>
                    <a:pt x="1076904" y="998478"/>
                  </a:cubicBezTo>
                  <a:cubicBezTo>
                    <a:pt x="1076904" y="998116"/>
                    <a:pt x="1076904" y="998116"/>
                    <a:pt x="1077266" y="998116"/>
                  </a:cubicBezTo>
                  <a:close/>
                  <a:moveTo>
                    <a:pt x="923685" y="997754"/>
                  </a:moveTo>
                  <a:cubicBezTo>
                    <a:pt x="924085" y="997754"/>
                    <a:pt x="924409" y="998077"/>
                    <a:pt x="924409" y="998482"/>
                  </a:cubicBezTo>
                  <a:cubicBezTo>
                    <a:pt x="924409" y="998882"/>
                    <a:pt x="924085" y="999206"/>
                    <a:pt x="923685" y="999206"/>
                  </a:cubicBezTo>
                  <a:cubicBezTo>
                    <a:pt x="923281" y="999206"/>
                    <a:pt x="922957" y="998882"/>
                    <a:pt x="922957" y="998482"/>
                  </a:cubicBezTo>
                  <a:cubicBezTo>
                    <a:pt x="922957" y="998077"/>
                    <a:pt x="923281" y="997754"/>
                    <a:pt x="923685" y="997754"/>
                  </a:cubicBezTo>
                  <a:close/>
                  <a:moveTo>
                    <a:pt x="1846279" y="997025"/>
                  </a:moveTo>
                  <a:cubicBezTo>
                    <a:pt x="1847003" y="997025"/>
                    <a:pt x="1847731" y="997754"/>
                    <a:pt x="1847731" y="998478"/>
                  </a:cubicBezTo>
                  <a:cubicBezTo>
                    <a:pt x="1847731" y="999206"/>
                    <a:pt x="1846279" y="999930"/>
                    <a:pt x="1846279" y="999930"/>
                  </a:cubicBezTo>
                  <a:cubicBezTo>
                    <a:pt x="1845551" y="999930"/>
                    <a:pt x="1844826" y="999206"/>
                    <a:pt x="1844826" y="998478"/>
                  </a:cubicBezTo>
                  <a:cubicBezTo>
                    <a:pt x="1844826" y="997754"/>
                    <a:pt x="1845551" y="997025"/>
                    <a:pt x="1846279" y="997025"/>
                  </a:cubicBezTo>
                  <a:close/>
                  <a:moveTo>
                    <a:pt x="1999860" y="996301"/>
                  </a:moveTo>
                  <a:cubicBezTo>
                    <a:pt x="2000950" y="996301"/>
                    <a:pt x="2002041" y="997391"/>
                    <a:pt x="2002041" y="998478"/>
                  </a:cubicBezTo>
                  <a:cubicBezTo>
                    <a:pt x="2002041" y="999568"/>
                    <a:pt x="1999860" y="1000658"/>
                    <a:pt x="1999860" y="1000658"/>
                  </a:cubicBezTo>
                  <a:cubicBezTo>
                    <a:pt x="1998774" y="1000658"/>
                    <a:pt x="1997684" y="999568"/>
                    <a:pt x="1997684" y="998478"/>
                  </a:cubicBezTo>
                  <a:cubicBezTo>
                    <a:pt x="1997684" y="997391"/>
                    <a:pt x="1998774" y="996301"/>
                    <a:pt x="1999860" y="996301"/>
                  </a:cubicBezTo>
                  <a:close/>
                  <a:moveTo>
                    <a:pt x="2153808" y="995573"/>
                  </a:moveTo>
                  <a:cubicBezTo>
                    <a:pt x="2155622" y="995573"/>
                    <a:pt x="2157074" y="997025"/>
                    <a:pt x="2157074" y="998840"/>
                  </a:cubicBezTo>
                  <a:cubicBezTo>
                    <a:pt x="2157074" y="1000654"/>
                    <a:pt x="2155622" y="1002110"/>
                    <a:pt x="2153808" y="1002110"/>
                  </a:cubicBezTo>
                  <a:cubicBezTo>
                    <a:pt x="2151993" y="1002110"/>
                    <a:pt x="2150541" y="1000654"/>
                    <a:pt x="2150541" y="998840"/>
                  </a:cubicBezTo>
                  <a:cubicBezTo>
                    <a:pt x="2150541" y="997025"/>
                    <a:pt x="2151993" y="995573"/>
                    <a:pt x="2153808" y="995573"/>
                  </a:cubicBezTo>
                  <a:close/>
                  <a:moveTo>
                    <a:pt x="2307393" y="994121"/>
                  </a:moveTo>
                  <a:cubicBezTo>
                    <a:pt x="2309935" y="994121"/>
                    <a:pt x="2311750" y="995935"/>
                    <a:pt x="2311750" y="998478"/>
                  </a:cubicBezTo>
                  <a:cubicBezTo>
                    <a:pt x="2311750" y="1001020"/>
                    <a:pt x="2309569" y="1002835"/>
                    <a:pt x="2307393" y="1002835"/>
                  </a:cubicBezTo>
                  <a:cubicBezTo>
                    <a:pt x="2304850" y="1002835"/>
                    <a:pt x="2303036" y="1001020"/>
                    <a:pt x="2303036" y="998478"/>
                  </a:cubicBezTo>
                  <a:cubicBezTo>
                    <a:pt x="2303036" y="995935"/>
                    <a:pt x="2304850" y="994121"/>
                    <a:pt x="2307393" y="994121"/>
                  </a:cubicBezTo>
                  <a:close/>
                  <a:moveTo>
                    <a:pt x="2461340" y="993031"/>
                  </a:moveTo>
                  <a:cubicBezTo>
                    <a:pt x="2464607" y="993031"/>
                    <a:pt x="2467150" y="995573"/>
                    <a:pt x="2467150" y="998840"/>
                  </a:cubicBezTo>
                  <a:cubicBezTo>
                    <a:pt x="2467150" y="1002107"/>
                    <a:pt x="2464607" y="1004649"/>
                    <a:pt x="2461340" y="1004649"/>
                  </a:cubicBezTo>
                  <a:cubicBezTo>
                    <a:pt x="2458073" y="1004649"/>
                    <a:pt x="2455531" y="1002107"/>
                    <a:pt x="2455531" y="998840"/>
                  </a:cubicBezTo>
                  <a:cubicBezTo>
                    <a:pt x="2455531" y="995573"/>
                    <a:pt x="2458073" y="993031"/>
                    <a:pt x="2461340" y="993031"/>
                  </a:cubicBezTo>
                  <a:close/>
                  <a:moveTo>
                    <a:pt x="2614925" y="991216"/>
                  </a:moveTo>
                  <a:cubicBezTo>
                    <a:pt x="2618920" y="991216"/>
                    <a:pt x="2622187" y="994483"/>
                    <a:pt x="2622187" y="998478"/>
                  </a:cubicBezTo>
                  <a:cubicBezTo>
                    <a:pt x="2622187" y="1002473"/>
                    <a:pt x="2618920" y="1005739"/>
                    <a:pt x="2614925" y="1005739"/>
                  </a:cubicBezTo>
                  <a:cubicBezTo>
                    <a:pt x="2610931" y="1005739"/>
                    <a:pt x="2607664" y="1002473"/>
                    <a:pt x="2607664" y="998478"/>
                  </a:cubicBezTo>
                  <a:cubicBezTo>
                    <a:pt x="2607664" y="994483"/>
                    <a:pt x="2610931" y="991216"/>
                    <a:pt x="2614925" y="991216"/>
                  </a:cubicBezTo>
                  <a:close/>
                  <a:moveTo>
                    <a:pt x="2768873" y="989402"/>
                  </a:moveTo>
                  <a:cubicBezTo>
                    <a:pt x="2773958" y="989402"/>
                    <a:pt x="2777953" y="993396"/>
                    <a:pt x="2777953" y="998478"/>
                  </a:cubicBezTo>
                  <a:cubicBezTo>
                    <a:pt x="2777953" y="1003563"/>
                    <a:pt x="2773958" y="1007558"/>
                    <a:pt x="2768873" y="1007558"/>
                  </a:cubicBezTo>
                  <a:cubicBezTo>
                    <a:pt x="2763792" y="1007558"/>
                    <a:pt x="2759797" y="1003563"/>
                    <a:pt x="2759797" y="998478"/>
                  </a:cubicBezTo>
                  <a:cubicBezTo>
                    <a:pt x="2759797" y="993396"/>
                    <a:pt x="2763792" y="989402"/>
                    <a:pt x="2768873" y="989402"/>
                  </a:cubicBezTo>
                  <a:close/>
                  <a:moveTo>
                    <a:pt x="2922458" y="988311"/>
                  </a:moveTo>
                  <a:cubicBezTo>
                    <a:pt x="2927905" y="988311"/>
                    <a:pt x="2932624" y="993031"/>
                    <a:pt x="2932624" y="998478"/>
                  </a:cubicBezTo>
                  <a:cubicBezTo>
                    <a:pt x="2932624" y="1003925"/>
                    <a:pt x="2928267" y="1008644"/>
                    <a:pt x="2922458" y="1008644"/>
                  </a:cubicBezTo>
                  <a:cubicBezTo>
                    <a:pt x="2917011" y="1008644"/>
                    <a:pt x="2912292" y="1003925"/>
                    <a:pt x="2912292" y="998478"/>
                  </a:cubicBezTo>
                  <a:cubicBezTo>
                    <a:pt x="2912292" y="993031"/>
                    <a:pt x="2917011" y="988311"/>
                    <a:pt x="2922458" y="988311"/>
                  </a:cubicBezTo>
                  <a:close/>
                  <a:moveTo>
                    <a:pt x="3076402" y="986497"/>
                  </a:moveTo>
                  <a:cubicBezTo>
                    <a:pt x="3082939" y="986497"/>
                    <a:pt x="3088386" y="991944"/>
                    <a:pt x="3088386" y="998478"/>
                  </a:cubicBezTo>
                  <a:cubicBezTo>
                    <a:pt x="3088386" y="1005015"/>
                    <a:pt x="3082939" y="1010459"/>
                    <a:pt x="3076402" y="1010459"/>
                  </a:cubicBezTo>
                  <a:cubicBezTo>
                    <a:pt x="3069868" y="1010459"/>
                    <a:pt x="3064421" y="1005015"/>
                    <a:pt x="3064421" y="998478"/>
                  </a:cubicBezTo>
                  <a:cubicBezTo>
                    <a:pt x="3064421" y="991944"/>
                    <a:pt x="3069868" y="986497"/>
                    <a:pt x="3076402" y="986497"/>
                  </a:cubicBezTo>
                  <a:close/>
                  <a:moveTo>
                    <a:pt x="3230353" y="984683"/>
                  </a:moveTo>
                  <a:cubicBezTo>
                    <a:pt x="3237973" y="984683"/>
                    <a:pt x="3244148" y="990862"/>
                    <a:pt x="3244148" y="998482"/>
                  </a:cubicBezTo>
                  <a:cubicBezTo>
                    <a:pt x="3244148" y="1006098"/>
                    <a:pt x="3237973" y="1012277"/>
                    <a:pt x="3230353" y="1012277"/>
                  </a:cubicBezTo>
                  <a:cubicBezTo>
                    <a:pt x="3222733" y="1012277"/>
                    <a:pt x="3216554" y="1006098"/>
                    <a:pt x="3216554" y="998482"/>
                  </a:cubicBezTo>
                  <a:cubicBezTo>
                    <a:pt x="3216554" y="990862"/>
                    <a:pt x="3222733" y="984683"/>
                    <a:pt x="3230353" y="984683"/>
                  </a:cubicBezTo>
                  <a:close/>
                  <a:moveTo>
                    <a:pt x="3383934" y="983230"/>
                  </a:moveTo>
                  <a:cubicBezTo>
                    <a:pt x="3392358" y="983230"/>
                    <a:pt x="3399186" y="990057"/>
                    <a:pt x="3399186" y="998482"/>
                  </a:cubicBezTo>
                  <a:cubicBezTo>
                    <a:pt x="3399186" y="1006902"/>
                    <a:pt x="3392358" y="1013729"/>
                    <a:pt x="3383934" y="1013729"/>
                  </a:cubicBezTo>
                  <a:cubicBezTo>
                    <a:pt x="3375514" y="1013729"/>
                    <a:pt x="3368687" y="1006902"/>
                    <a:pt x="3368687" y="998482"/>
                  </a:cubicBezTo>
                  <a:cubicBezTo>
                    <a:pt x="3368687" y="990057"/>
                    <a:pt x="3375514" y="983230"/>
                    <a:pt x="3383934" y="983230"/>
                  </a:cubicBezTo>
                  <a:close/>
                  <a:moveTo>
                    <a:pt x="3537886" y="981412"/>
                  </a:moveTo>
                  <a:cubicBezTo>
                    <a:pt x="3547324" y="981412"/>
                    <a:pt x="3554951" y="989036"/>
                    <a:pt x="3554951" y="998478"/>
                  </a:cubicBezTo>
                  <a:cubicBezTo>
                    <a:pt x="3554951" y="1007916"/>
                    <a:pt x="3547324" y="1015540"/>
                    <a:pt x="3537886" y="1015540"/>
                  </a:cubicBezTo>
                  <a:cubicBezTo>
                    <a:pt x="3528444" y="1015540"/>
                    <a:pt x="3520820" y="1007916"/>
                    <a:pt x="3520820" y="998478"/>
                  </a:cubicBezTo>
                  <a:cubicBezTo>
                    <a:pt x="3520820" y="989036"/>
                    <a:pt x="3528444" y="981412"/>
                    <a:pt x="3537886" y="981412"/>
                  </a:cubicBezTo>
                  <a:close/>
                  <a:moveTo>
                    <a:pt x="3691467" y="979235"/>
                  </a:moveTo>
                  <a:cubicBezTo>
                    <a:pt x="3702094" y="979235"/>
                    <a:pt x="3710710" y="987850"/>
                    <a:pt x="3710710" y="998478"/>
                  </a:cubicBezTo>
                  <a:cubicBezTo>
                    <a:pt x="3710710" y="1009105"/>
                    <a:pt x="3702094" y="1017724"/>
                    <a:pt x="3691467" y="1017724"/>
                  </a:cubicBezTo>
                  <a:cubicBezTo>
                    <a:pt x="3680839" y="1017724"/>
                    <a:pt x="3672224" y="1009105"/>
                    <a:pt x="3672224" y="998478"/>
                  </a:cubicBezTo>
                  <a:cubicBezTo>
                    <a:pt x="3672224" y="987850"/>
                    <a:pt x="3680839" y="979235"/>
                    <a:pt x="3691467" y="979235"/>
                  </a:cubicBezTo>
                  <a:close/>
                  <a:moveTo>
                    <a:pt x="3845418" y="977055"/>
                  </a:moveTo>
                  <a:cubicBezTo>
                    <a:pt x="3857246" y="977055"/>
                    <a:pt x="3866841" y="986646"/>
                    <a:pt x="3866841" y="998478"/>
                  </a:cubicBezTo>
                  <a:cubicBezTo>
                    <a:pt x="3866841" y="1010306"/>
                    <a:pt x="3857246" y="1019901"/>
                    <a:pt x="3845418" y="1019901"/>
                  </a:cubicBezTo>
                  <a:cubicBezTo>
                    <a:pt x="3833586" y="1019901"/>
                    <a:pt x="3823995" y="1010306"/>
                    <a:pt x="3823995" y="998478"/>
                  </a:cubicBezTo>
                  <a:cubicBezTo>
                    <a:pt x="3823995" y="986646"/>
                    <a:pt x="3833586" y="977055"/>
                    <a:pt x="3845418" y="977055"/>
                  </a:cubicBezTo>
                  <a:close/>
                  <a:moveTo>
                    <a:pt x="3999000" y="975603"/>
                  </a:moveTo>
                  <a:cubicBezTo>
                    <a:pt x="4011632" y="975603"/>
                    <a:pt x="4021871" y="985845"/>
                    <a:pt x="4021871" y="998478"/>
                  </a:cubicBezTo>
                  <a:cubicBezTo>
                    <a:pt x="4021871" y="1011110"/>
                    <a:pt x="4011632" y="1021349"/>
                    <a:pt x="3999000" y="1021349"/>
                  </a:cubicBezTo>
                  <a:cubicBezTo>
                    <a:pt x="3986367" y="1021349"/>
                    <a:pt x="3976124" y="1011110"/>
                    <a:pt x="3976124" y="998478"/>
                  </a:cubicBezTo>
                  <a:cubicBezTo>
                    <a:pt x="3976124" y="985845"/>
                    <a:pt x="3986367" y="975603"/>
                    <a:pt x="3999000" y="975603"/>
                  </a:cubicBezTo>
                  <a:close/>
                  <a:moveTo>
                    <a:pt x="4152947" y="973426"/>
                  </a:moveTo>
                  <a:cubicBezTo>
                    <a:pt x="4166784" y="973426"/>
                    <a:pt x="4178002" y="984641"/>
                    <a:pt x="4178002" y="998478"/>
                  </a:cubicBezTo>
                  <a:cubicBezTo>
                    <a:pt x="4178002" y="1012315"/>
                    <a:pt x="4166784" y="1023533"/>
                    <a:pt x="4152947" y="1023533"/>
                  </a:cubicBezTo>
                  <a:cubicBezTo>
                    <a:pt x="4139114" y="1023533"/>
                    <a:pt x="4127895" y="1012315"/>
                    <a:pt x="4127895" y="998478"/>
                  </a:cubicBezTo>
                  <a:cubicBezTo>
                    <a:pt x="4127895" y="984641"/>
                    <a:pt x="4139114" y="973426"/>
                    <a:pt x="4152947" y="973426"/>
                  </a:cubicBezTo>
                  <a:close/>
                  <a:moveTo>
                    <a:pt x="4306532" y="971246"/>
                  </a:moveTo>
                  <a:cubicBezTo>
                    <a:pt x="4321418" y="971246"/>
                    <a:pt x="4333764" y="983592"/>
                    <a:pt x="4333764" y="998478"/>
                  </a:cubicBezTo>
                  <a:cubicBezTo>
                    <a:pt x="4333764" y="1013363"/>
                    <a:pt x="4321780" y="1025710"/>
                    <a:pt x="4306532" y="1025710"/>
                  </a:cubicBezTo>
                  <a:cubicBezTo>
                    <a:pt x="4291643" y="1025710"/>
                    <a:pt x="4279300" y="1013363"/>
                    <a:pt x="4279300" y="998478"/>
                  </a:cubicBezTo>
                  <a:cubicBezTo>
                    <a:pt x="4279300" y="983592"/>
                    <a:pt x="4291643" y="971246"/>
                    <a:pt x="4306532" y="971246"/>
                  </a:cubicBezTo>
                  <a:close/>
                  <a:moveTo>
                    <a:pt x="4460476" y="968707"/>
                  </a:moveTo>
                  <a:cubicBezTo>
                    <a:pt x="4476920" y="968707"/>
                    <a:pt x="4490250" y="982037"/>
                    <a:pt x="4490250" y="998482"/>
                  </a:cubicBezTo>
                  <a:cubicBezTo>
                    <a:pt x="4490250" y="1014922"/>
                    <a:pt x="4476920" y="1028252"/>
                    <a:pt x="4460476" y="1028252"/>
                  </a:cubicBezTo>
                  <a:cubicBezTo>
                    <a:pt x="4444035" y="1028252"/>
                    <a:pt x="4430705" y="1014922"/>
                    <a:pt x="4430705" y="998482"/>
                  </a:cubicBezTo>
                  <a:cubicBezTo>
                    <a:pt x="4430705" y="982037"/>
                    <a:pt x="4444035" y="968707"/>
                    <a:pt x="4460476" y="968707"/>
                  </a:cubicBezTo>
                  <a:close/>
                  <a:moveTo>
                    <a:pt x="4614061" y="966526"/>
                  </a:moveTo>
                  <a:cubicBezTo>
                    <a:pt x="4631852" y="966526"/>
                    <a:pt x="4646012" y="980688"/>
                    <a:pt x="4646012" y="998478"/>
                  </a:cubicBezTo>
                  <a:cubicBezTo>
                    <a:pt x="4646012" y="1016268"/>
                    <a:pt x="4631852" y="1030429"/>
                    <a:pt x="4614061" y="1030429"/>
                  </a:cubicBezTo>
                  <a:cubicBezTo>
                    <a:pt x="4596271" y="1030429"/>
                    <a:pt x="4582110" y="1016268"/>
                    <a:pt x="4582110" y="998478"/>
                  </a:cubicBezTo>
                  <a:cubicBezTo>
                    <a:pt x="4582110" y="980688"/>
                    <a:pt x="4596271" y="966526"/>
                    <a:pt x="4614061" y="966526"/>
                  </a:cubicBezTo>
                  <a:close/>
                  <a:moveTo>
                    <a:pt x="4768008" y="964712"/>
                  </a:moveTo>
                  <a:cubicBezTo>
                    <a:pt x="4786656" y="964712"/>
                    <a:pt x="4801778" y="979830"/>
                    <a:pt x="4801778" y="998478"/>
                  </a:cubicBezTo>
                  <a:cubicBezTo>
                    <a:pt x="4801778" y="1017129"/>
                    <a:pt x="4786656" y="1032247"/>
                    <a:pt x="4768008" y="1032247"/>
                  </a:cubicBezTo>
                  <a:cubicBezTo>
                    <a:pt x="4749360" y="1032247"/>
                    <a:pt x="4734242" y="1017129"/>
                    <a:pt x="4734242" y="998478"/>
                  </a:cubicBezTo>
                  <a:cubicBezTo>
                    <a:pt x="4734242" y="979830"/>
                    <a:pt x="4749360" y="964712"/>
                    <a:pt x="4768008" y="964712"/>
                  </a:cubicBezTo>
                  <a:close/>
                  <a:moveTo>
                    <a:pt x="4921594" y="962169"/>
                  </a:moveTo>
                  <a:cubicBezTo>
                    <a:pt x="4941564" y="962169"/>
                    <a:pt x="4957902" y="978507"/>
                    <a:pt x="4957902" y="998478"/>
                  </a:cubicBezTo>
                  <a:cubicBezTo>
                    <a:pt x="4957902" y="1018448"/>
                    <a:pt x="4941564" y="1034786"/>
                    <a:pt x="4921594" y="1034786"/>
                  </a:cubicBezTo>
                  <a:cubicBezTo>
                    <a:pt x="4901623" y="1034786"/>
                    <a:pt x="4885286" y="1018448"/>
                    <a:pt x="4885286" y="998478"/>
                  </a:cubicBezTo>
                  <a:cubicBezTo>
                    <a:pt x="4885286" y="978507"/>
                    <a:pt x="4901623" y="962169"/>
                    <a:pt x="4921594" y="962169"/>
                  </a:cubicBezTo>
                  <a:close/>
                  <a:moveTo>
                    <a:pt x="5075545" y="959627"/>
                  </a:moveTo>
                  <a:cubicBezTo>
                    <a:pt x="5096968" y="959627"/>
                    <a:pt x="5114392" y="977055"/>
                    <a:pt x="5114392" y="998478"/>
                  </a:cubicBezTo>
                  <a:cubicBezTo>
                    <a:pt x="5114392" y="1019897"/>
                    <a:pt x="5096968" y="1037325"/>
                    <a:pt x="5075545" y="1037325"/>
                  </a:cubicBezTo>
                  <a:cubicBezTo>
                    <a:pt x="5054122" y="1037325"/>
                    <a:pt x="5036694" y="1019897"/>
                    <a:pt x="5036694" y="998478"/>
                  </a:cubicBezTo>
                  <a:cubicBezTo>
                    <a:pt x="5036694" y="977055"/>
                    <a:pt x="5054122" y="959627"/>
                    <a:pt x="5075545" y="959627"/>
                  </a:cubicBezTo>
                  <a:close/>
                  <a:moveTo>
                    <a:pt x="5229126" y="957450"/>
                  </a:moveTo>
                  <a:cubicBezTo>
                    <a:pt x="5252002" y="957450"/>
                    <a:pt x="5270158" y="975606"/>
                    <a:pt x="5270158" y="998478"/>
                  </a:cubicBezTo>
                  <a:cubicBezTo>
                    <a:pt x="5270158" y="1021353"/>
                    <a:pt x="5251640" y="1039505"/>
                    <a:pt x="5229126" y="1039505"/>
                  </a:cubicBezTo>
                  <a:cubicBezTo>
                    <a:pt x="5206255" y="1039505"/>
                    <a:pt x="5188099" y="1021353"/>
                    <a:pt x="5188099" y="998478"/>
                  </a:cubicBezTo>
                  <a:cubicBezTo>
                    <a:pt x="5188099" y="975606"/>
                    <a:pt x="5206255" y="957450"/>
                    <a:pt x="5229126" y="957450"/>
                  </a:cubicBezTo>
                  <a:close/>
                  <a:moveTo>
                    <a:pt x="5383074" y="954908"/>
                  </a:moveTo>
                  <a:cubicBezTo>
                    <a:pt x="5407036" y="954908"/>
                    <a:pt x="5426644" y="974516"/>
                    <a:pt x="5426644" y="998478"/>
                  </a:cubicBezTo>
                  <a:cubicBezTo>
                    <a:pt x="5426644" y="1022443"/>
                    <a:pt x="5407036" y="1042048"/>
                    <a:pt x="5383074" y="1042048"/>
                  </a:cubicBezTo>
                  <a:cubicBezTo>
                    <a:pt x="5359112" y="1042048"/>
                    <a:pt x="5339504" y="1022443"/>
                    <a:pt x="5339504" y="998478"/>
                  </a:cubicBezTo>
                  <a:cubicBezTo>
                    <a:pt x="5339504" y="974516"/>
                    <a:pt x="5359112" y="954908"/>
                    <a:pt x="5383074" y="954908"/>
                  </a:cubicBezTo>
                  <a:close/>
                  <a:moveTo>
                    <a:pt x="5537018" y="952365"/>
                  </a:moveTo>
                  <a:cubicBezTo>
                    <a:pt x="5562484" y="952365"/>
                    <a:pt x="5583130" y="973010"/>
                    <a:pt x="5583130" y="998478"/>
                  </a:cubicBezTo>
                  <a:cubicBezTo>
                    <a:pt x="5583130" y="1023945"/>
                    <a:pt x="5562484" y="1044590"/>
                    <a:pt x="5537018" y="1044590"/>
                  </a:cubicBezTo>
                  <a:cubicBezTo>
                    <a:pt x="5511554" y="1044590"/>
                    <a:pt x="5490908" y="1023945"/>
                    <a:pt x="5490908" y="998478"/>
                  </a:cubicBezTo>
                  <a:cubicBezTo>
                    <a:pt x="5490908" y="973010"/>
                    <a:pt x="5511554" y="952365"/>
                    <a:pt x="5537018" y="952365"/>
                  </a:cubicBezTo>
                  <a:close/>
                  <a:moveTo>
                    <a:pt x="5690606" y="949823"/>
                  </a:moveTo>
                  <a:cubicBezTo>
                    <a:pt x="5717473" y="949823"/>
                    <a:pt x="5739258" y="971608"/>
                    <a:pt x="5739258" y="998478"/>
                  </a:cubicBezTo>
                  <a:cubicBezTo>
                    <a:pt x="5739258" y="1025344"/>
                    <a:pt x="5717473" y="1047129"/>
                    <a:pt x="5690606" y="1047129"/>
                  </a:cubicBezTo>
                  <a:cubicBezTo>
                    <a:pt x="5663736" y="1047129"/>
                    <a:pt x="5641952" y="1025344"/>
                    <a:pt x="5641952" y="998478"/>
                  </a:cubicBezTo>
                  <a:cubicBezTo>
                    <a:pt x="5641952" y="971608"/>
                    <a:pt x="5663736" y="949823"/>
                    <a:pt x="5690606" y="949823"/>
                  </a:cubicBezTo>
                  <a:close/>
                  <a:moveTo>
                    <a:pt x="5844554" y="947284"/>
                  </a:moveTo>
                  <a:cubicBezTo>
                    <a:pt x="5872830" y="947284"/>
                    <a:pt x="5895748" y="970205"/>
                    <a:pt x="5895748" y="998478"/>
                  </a:cubicBezTo>
                  <a:cubicBezTo>
                    <a:pt x="5895748" y="1026754"/>
                    <a:pt x="5872827" y="1049672"/>
                    <a:pt x="5844554" y="1049672"/>
                  </a:cubicBezTo>
                  <a:cubicBezTo>
                    <a:pt x="5816281" y="1049672"/>
                    <a:pt x="5793360" y="1026754"/>
                    <a:pt x="5793360" y="998478"/>
                  </a:cubicBezTo>
                  <a:cubicBezTo>
                    <a:pt x="5793360" y="970205"/>
                    <a:pt x="5816281" y="947284"/>
                    <a:pt x="5844554" y="947284"/>
                  </a:cubicBezTo>
                  <a:close/>
                  <a:moveTo>
                    <a:pt x="5998136" y="945104"/>
                  </a:moveTo>
                  <a:cubicBezTo>
                    <a:pt x="6027548" y="945104"/>
                    <a:pt x="6051514" y="969065"/>
                    <a:pt x="6051514" y="998478"/>
                  </a:cubicBezTo>
                  <a:cubicBezTo>
                    <a:pt x="6051514" y="1027887"/>
                    <a:pt x="6027548" y="1051848"/>
                    <a:pt x="5998136" y="1051848"/>
                  </a:cubicBezTo>
                  <a:cubicBezTo>
                    <a:pt x="5968726" y="1051848"/>
                    <a:pt x="5944765" y="1027887"/>
                    <a:pt x="5944765" y="998478"/>
                  </a:cubicBezTo>
                  <a:cubicBezTo>
                    <a:pt x="5944765" y="969065"/>
                    <a:pt x="5968726" y="945104"/>
                    <a:pt x="5998136" y="945104"/>
                  </a:cubicBezTo>
                  <a:close/>
                  <a:moveTo>
                    <a:pt x="6152086" y="942199"/>
                  </a:moveTo>
                  <a:cubicBezTo>
                    <a:pt x="6183314" y="942199"/>
                    <a:pt x="6208366" y="967251"/>
                    <a:pt x="6208366" y="998478"/>
                  </a:cubicBezTo>
                  <a:cubicBezTo>
                    <a:pt x="6208366" y="1029701"/>
                    <a:pt x="6183314" y="1054753"/>
                    <a:pt x="6152086" y="1054753"/>
                  </a:cubicBezTo>
                  <a:cubicBezTo>
                    <a:pt x="6120860" y="1054753"/>
                    <a:pt x="6095808" y="1029701"/>
                    <a:pt x="6095808" y="998478"/>
                  </a:cubicBezTo>
                  <a:cubicBezTo>
                    <a:pt x="6095808" y="967251"/>
                    <a:pt x="6120860" y="942199"/>
                    <a:pt x="6152086" y="942199"/>
                  </a:cubicBezTo>
                  <a:close/>
                  <a:moveTo>
                    <a:pt x="6305672" y="939660"/>
                  </a:moveTo>
                  <a:cubicBezTo>
                    <a:pt x="6338157" y="939660"/>
                    <a:pt x="6364490" y="965993"/>
                    <a:pt x="6364490" y="998482"/>
                  </a:cubicBezTo>
                  <a:cubicBezTo>
                    <a:pt x="6364490" y="1030967"/>
                    <a:pt x="6338157" y="1057299"/>
                    <a:pt x="6305672" y="1057299"/>
                  </a:cubicBezTo>
                  <a:cubicBezTo>
                    <a:pt x="6273187" y="1057299"/>
                    <a:pt x="6246850" y="1030967"/>
                    <a:pt x="6246850" y="998482"/>
                  </a:cubicBezTo>
                  <a:cubicBezTo>
                    <a:pt x="6246850" y="965993"/>
                    <a:pt x="6273187" y="939660"/>
                    <a:pt x="6305672" y="939660"/>
                  </a:cubicBezTo>
                  <a:close/>
                  <a:moveTo>
                    <a:pt x="6459619" y="937118"/>
                  </a:moveTo>
                  <a:cubicBezTo>
                    <a:pt x="6493747" y="937118"/>
                    <a:pt x="6521342" y="964712"/>
                    <a:pt x="6521342" y="998844"/>
                  </a:cubicBezTo>
                  <a:cubicBezTo>
                    <a:pt x="6521342" y="1032972"/>
                    <a:pt x="6493747" y="1060566"/>
                    <a:pt x="6459619" y="1060566"/>
                  </a:cubicBezTo>
                  <a:cubicBezTo>
                    <a:pt x="6425488" y="1060566"/>
                    <a:pt x="6397893" y="1032972"/>
                    <a:pt x="6397893" y="998844"/>
                  </a:cubicBezTo>
                  <a:cubicBezTo>
                    <a:pt x="6397893" y="964712"/>
                    <a:pt x="6425488" y="937118"/>
                    <a:pt x="6459619" y="937118"/>
                  </a:cubicBezTo>
                  <a:close/>
                  <a:moveTo>
                    <a:pt x="6613200" y="934213"/>
                  </a:moveTo>
                  <a:cubicBezTo>
                    <a:pt x="6648694" y="934213"/>
                    <a:pt x="6677470" y="962985"/>
                    <a:pt x="6677470" y="998478"/>
                  </a:cubicBezTo>
                  <a:cubicBezTo>
                    <a:pt x="6677470" y="1033970"/>
                    <a:pt x="6648694" y="1062746"/>
                    <a:pt x="6613200" y="1062746"/>
                  </a:cubicBezTo>
                  <a:cubicBezTo>
                    <a:pt x="6577708" y="1062746"/>
                    <a:pt x="6548936" y="1033970"/>
                    <a:pt x="6548936" y="998478"/>
                  </a:cubicBezTo>
                  <a:cubicBezTo>
                    <a:pt x="6548936" y="962985"/>
                    <a:pt x="6577708" y="934213"/>
                    <a:pt x="6613200" y="934213"/>
                  </a:cubicBezTo>
                  <a:close/>
                  <a:moveTo>
                    <a:pt x="1538746" y="844530"/>
                  </a:moveTo>
                  <a:cubicBezTo>
                    <a:pt x="1539108" y="844530"/>
                    <a:pt x="1539108" y="844530"/>
                    <a:pt x="1539108" y="844893"/>
                  </a:cubicBezTo>
                  <a:cubicBezTo>
                    <a:pt x="1539108" y="845258"/>
                    <a:pt x="1538746" y="845258"/>
                    <a:pt x="1538746" y="845258"/>
                  </a:cubicBezTo>
                  <a:cubicBezTo>
                    <a:pt x="1538384" y="845258"/>
                    <a:pt x="1538384" y="845258"/>
                    <a:pt x="1538384" y="844893"/>
                  </a:cubicBezTo>
                  <a:cubicBezTo>
                    <a:pt x="1538384" y="844530"/>
                    <a:pt x="1538384" y="844530"/>
                    <a:pt x="1538746" y="844530"/>
                  </a:cubicBezTo>
                  <a:close/>
                  <a:moveTo>
                    <a:pt x="1077266" y="844530"/>
                  </a:moveTo>
                  <a:cubicBezTo>
                    <a:pt x="1077628" y="844530"/>
                    <a:pt x="1077628" y="844530"/>
                    <a:pt x="1077628" y="844893"/>
                  </a:cubicBezTo>
                  <a:cubicBezTo>
                    <a:pt x="1077628" y="845258"/>
                    <a:pt x="1077266" y="845258"/>
                    <a:pt x="1077266" y="845258"/>
                  </a:cubicBezTo>
                  <a:cubicBezTo>
                    <a:pt x="1076904" y="845258"/>
                    <a:pt x="1076904" y="845258"/>
                    <a:pt x="1076904" y="844893"/>
                  </a:cubicBezTo>
                  <a:cubicBezTo>
                    <a:pt x="1076904" y="844530"/>
                    <a:pt x="1076904" y="844530"/>
                    <a:pt x="1077266" y="844530"/>
                  </a:cubicBezTo>
                  <a:close/>
                  <a:moveTo>
                    <a:pt x="923681" y="844530"/>
                  </a:moveTo>
                  <a:cubicBezTo>
                    <a:pt x="924043" y="844530"/>
                    <a:pt x="924043" y="844530"/>
                    <a:pt x="924043" y="844893"/>
                  </a:cubicBezTo>
                  <a:cubicBezTo>
                    <a:pt x="924043" y="845258"/>
                    <a:pt x="923681" y="845258"/>
                    <a:pt x="923681" y="845258"/>
                  </a:cubicBezTo>
                  <a:cubicBezTo>
                    <a:pt x="923319" y="845258"/>
                    <a:pt x="923319" y="845258"/>
                    <a:pt x="923319" y="844893"/>
                  </a:cubicBezTo>
                  <a:cubicBezTo>
                    <a:pt x="923319" y="844530"/>
                    <a:pt x="923319" y="844530"/>
                    <a:pt x="923681" y="844530"/>
                  </a:cubicBezTo>
                  <a:close/>
                  <a:moveTo>
                    <a:pt x="769737" y="844168"/>
                  </a:moveTo>
                  <a:cubicBezTo>
                    <a:pt x="770137" y="844168"/>
                    <a:pt x="770461" y="844492"/>
                    <a:pt x="770461" y="844896"/>
                  </a:cubicBezTo>
                  <a:cubicBezTo>
                    <a:pt x="770461" y="845297"/>
                    <a:pt x="770137" y="845621"/>
                    <a:pt x="769737" y="845621"/>
                  </a:cubicBezTo>
                  <a:cubicBezTo>
                    <a:pt x="769333" y="845621"/>
                    <a:pt x="769009" y="845297"/>
                    <a:pt x="769009" y="844896"/>
                  </a:cubicBezTo>
                  <a:cubicBezTo>
                    <a:pt x="769009" y="844492"/>
                    <a:pt x="769333" y="844168"/>
                    <a:pt x="769737" y="844168"/>
                  </a:cubicBezTo>
                  <a:close/>
                  <a:moveTo>
                    <a:pt x="1692331" y="843078"/>
                  </a:moveTo>
                  <a:cubicBezTo>
                    <a:pt x="1693056" y="843078"/>
                    <a:pt x="1693784" y="843806"/>
                    <a:pt x="1693784" y="844530"/>
                  </a:cubicBezTo>
                  <a:cubicBezTo>
                    <a:pt x="1693784" y="845258"/>
                    <a:pt x="1692331" y="845983"/>
                    <a:pt x="1692331" y="845983"/>
                  </a:cubicBezTo>
                  <a:cubicBezTo>
                    <a:pt x="1691603" y="845983"/>
                    <a:pt x="1690879" y="845258"/>
                    <a:pt x="1690879" y="844530"/>
                  </a:cubicBezTo>
                  <a:cubicBezTo>
                    <a:pt x="1690879" y="843806"/>
                    <a:pt x="1691603" y="843078"/>
                    <a:pt x="1692331" y="843078"/>
                  </a:cubicBezTo>
                  <a:close/>
                  <a:moveTo>
                    <a:pt x="1846279" y="842716"/>
                  </a:moveTo>
                  <a:cubicBezTo>
                    <a:pt x="1847480" y="842716"/>
                    <a:pt x="1848455" y="843692"/>
                    <a:pt x="1848455" y="844896"/>
                  </a:cubicBezTo>
                  <a:cubicBezTo>
                    <a:pt x="1848455" y="846097"/>
                    <a:pt x="1847480" y="847073"/>
                    <a:pt x="1846279" y="847073"/>
                  </a:cubicBezTo>
                  <a:cubicBezTo>
                    <a:pt x="1845074" y="847073"/>
                    <a:pt x="1844098" y="846097"/>
                    <a:pt x="1844098" y="844896"/>
                  </a:cubicBezTo>
                  <a:cubicBezTo>
                    <a:pt x="1844098" y="843692"/>
                    <a:pt x="1845074" y="842716"/>
                    <a:pt x="1846279" y="842716"/>
                  </a:cubicBezTo>
                  <a:close/>
                  <a:moveTo>
                    <a:pt x="1999860" y="841626"/>
                  </a:moveTo>
                  <a:cubicBezTo>
                    <a:pt x="2001679" y="841626"/>
                    <a:pt x="2003127" y="843078"/>
                    <a:pt x="2003127" y="844893"/>
                  </a:cubicBezTo>
                  <a:cubicBezTo>
                    <a:pt x="2003127" y="846707"/>
                    <a:pt x="2001679" y="848163"/>
                    <a:pt x="1999860" y="848163"/>
                  </a:cubicBezTo>
                  <a:cubicBezTo>
                    <a:pt x="1998046" y="848163"/>
                    <a:pt x="1996593" y="846707"/>
                    <a:pt x="1996593" y="844893"/>
                  </a:cubicBezTo>
                  <a:cubicBezTo>
                    <a:pt x="1996593" y="843078"/>
                    <a:pt x="1998046" y="841626"/>
                    <a:pt x="1999860" y="841626"/>
                  </a:cubicBezTo>
                  <a:close/>
                  <a:moveTo>
                    <a:pt x="2153808" y="840173"/>
                  </a:moveTo>
                  <a:cubicBezTo>
                    <a:pt x="2156350" y="840173"/>
                    <a:pt x="2158165" y="841988"/>
                    <a:pt x="2158165" y="844530"/>
                  </a:cubicBezTo>
                  <a:cubicBezTo>
                    <a:pt x="2158165" y="847073"/>
                    <a:pt x="2155988" y="848887"/>
                    <a:pt x="2153808" y="848887"/>
                  </a:cubicBezTo>
                  <a:cubicBezTo>
                    <a:pt x="2151265" y="848887"/>
                    <a:pt x="2149451" y="847073"/>
                    <a:pt x="2149451" y="844530"/>
                  </a:cubicBezTo>
                  <a:cubicBezTo>
                    <a:pt x="2149451" y="841988"/>
                    <a:pt x="2151265" y="840173"/>
                    <a:pt x="2153808" y="840173"/>
                  </a:cubicBezTo>
                  <a:close/>
                  <a:moveTo>
                    <a:pt x="2307393" y="839083"/>
                  </a:moveTo>
                  <a:cubicBezTo>
                    <a:pt x="2310660" y="839083"/>
                    <a:pt x="2313202" y="841626"/>
                    <a:pt x="2313202" y="844893"/>
                  </a:cubicBezTo>
                  <a:cubicBezTo>
                    <a:pt x="2313202" y="848159"/>
                    <a:pt x="2310660" y="850702"/>
                    <a:pt x="2307393" y="850702"/>
                  </a:cubicBezTo>
                  <a:cubicBezTo>
                    <a:pt x="2304126" y="850702"/>
                    <a:pt x="2301583" y="848159"/>
                    <a:pt x="2301583" y="844893"/>
                  </a:cubicBezTo>
                  <a:cubicBezTo>
                    <a:pt x="2301583" y="841626"/>
                    <a:pt x="2304126" y="839083"/>
                    <a:pt x="2307393" y="839083"/>
                  </a:cubicBezTo>
                  <a:close/>
                  <a:moveTo>
                    <a:pt x="2461340" y="837631"/>
                  </a:moveTo>
                  <a:cubicBezTo>
                    <a:pt x="2465335" y="837631"/>
                    <a:pt x="2468602" y="840898"/>
                    <a:pt x="2468602" y="844893"/>
                  </a:cubicBezTo>
                  <a:cubicBezTo>
                    <a:pt x="2468602" y="848887"/>
                    <a:pt x="2465335" y="852154"/>
                    <a:pt x="2461340" y="852154"/>
                  </a:cubicBezTo>
                  <a:cubicBezTo>
                    <a:pt x="2457345" y="852154"/>
                    <a:pt x="2454079" y="848887"/>
                    <a:pt x="2454079" y="844893"/>
                  </a:cubicBezTo>
                  <a:cubicBezTo>
                    <a:pt x="2454079" y="840898"/>
                    <a:pt x="2457345" y="837631"/>
                    <a:pt x="2461340" y="837631"/>
                  </a:cubicBezTo>
                  <a:close/>
                  <a:moveTo>
                    <a:pt x="2614925" y="835454"/>
                  </a:moveTo>
                  <a:cubicBezTo>
                    <a:pt x="2620011" y="835454"/>
                    <a:pt x="2624005" y="839449"/>
                    <a:pt x="2624005" y="844530"/>
                  </a:cubicBezTo>
                  <a:cubicBezTo>
                    <a:pt x="2624005" y="849615"/>
                    <a:pt x="2620011" y="853610"/>
                    <a:pt x="2614925" y="853610"/>
                  </a:cubicBezTo>
                  <a:cubicBezTo>
                    <a:pt x="2609844" y="853610"/>
                    <a:pt x="2605849" y="849615"/>
                    <a:pt x="2605849" y="844530"/>
                  </a:cubicBezTo>
                  <a:cubicBezTo>
                    <a:pt x="2605849" y="839449"/>
                    <a:pt x="2609844" y="835454"/>
                    <a:pt x="2614925" y="835454"/>
                  </a:cubicBezTo>
                  <a:close/>
                  <a:moveTo>
                    <a:pt x="2768873" y="834726"/>
                  </a:moveTo>
                  <a:cubicBezTo>
                    <a:pt x="2774320" y="834726"/>
                    <a:pt x="2779039" y="839445"/>
                    <a:pt x="2779039" y="844893"/>
                  </a:cubicBezTo>
                  <a:cubicBezTo>
                    <a:pt x="2779039" y="850340"/>
                    <a:pt x="2774682" y="855059"/>
                    <a:pt x="2768873" y="855059"/>
                  </a:cubicBezTo>
                  <a:cubicBezTo>
                    <a:pt x="2763426" y="855059"/>
                    <a:pt x="2758707" y="850340"/>
                    <a:pt x="2758707" y="844893"/>
                  </a:cubicBezTo>
                  <a:cubicBezTo>
                    <a:pt x="2758707" y="839445"/>
                    <a:pt x="2763426" y="834726"/>
                    <a:pt x="2768873" y="834726"/>
                  </a:cubicBezTo>
                  <a:close/>
                  <a:moveTo>
                    <a:pt x="2922458" y="832912"/>
                  </a:moveTo>
                  <a:cubicBezTo>
                    <a:pt x="2928996" y="832912"/>
                    <a:pt x="2934443" y="838359"/>
                    <a:pt x="2934443" y="844893"/>
                  </a:cubicBezTo>
                  <a:cubicBezTo>
                    <a:pt x="2934443" y="851430"/>
                    <a:pt x="2928996" y="856873"/>
                    <a:pt x="2922458" y="856873"/>
                  </a:cubicBezTo>
                  <a:cubicBezTo>
                    <a:pt x="2915924" y="856873"/>
                    <a:pt x="2910477" y="851430"/>
                    <a:pt x="2910477" y="844893"/>
                  </a:cubicBezTo>
                  <a:cubicBezTo>
                    <a:pt x="2910477" y="838359"/>
                    <a:pt x="2915924" y="832912"/>
                    <a:pt x="2922458" y="832912"/>
                  </a:cubicBezTo>
                  <a:close/>
                  <a:moveTo>
                    <a:pt x="3076402" y="831097"/>
                  </a:moveTo>
                  <a:cubicBezTo>
                    <a:pt x="3084022" y="831097"/>
                    <a:pt x="3090201" y="837276"/>
                    <a:pt x="3090201" y="844896"/>
                  </a:cubicBezTo>
                  <a:cubicBezTo>
                    <a:pt x="3090201" y="852513"/>
                    <a:pt x="3084022" y="858692"/>
                    <a:pt x="3076402" y="858692"/>
                  </a:cubicBezTo>
                  <a:cubicBezTo>
                    <a:pt x="3068782" y="858692"/>
                    <a:pt x="3062606" y="852513"/>
                    <a:pt x="3062606" y="844896"/>
                  </a:cubicBezTo>
                  <a:cubicBezTo>
                    <a:pt x="3062606" y="837276"/>
                    <a:pt x="3068782" y="831097"/>
                    <a:pt x="3076402" y="831097"/>
                  </a:cubicBezTo>
                  <a:close/>
                  <a:moveTo>
                    <a:pt x="3230349" y="829645"/>
                  </a:moveTo>
                  <a:cubicBezTo>
                    <a:pt x="3238773" y="829645"/>
                    <a:pt x="3245600" y="836472"/>
                    <a:pt x="3245600" y="844896"/>
                  </a:cubicBezTo>
                  <a:cubicBezTo>
                    <a:pt x="3245600" y="853317"/>
                    <a:pt x="3238773" y="860144"/>
                    <a:pt x="3230349" y="860144"/>
                  </a:cubicBezTo>
                  <a:cubicBezTo>
                    <a:pt x="3221928" y="860144"/>
                    <a:pt x="3215102" y="853317"/>
                    <a:pt x="3215102" y="844896"/>
                  </a:cubicBezTo>
                  <a:cubicBezTo>
                    <a:pt x="3215102" y="836472"/>
                    <a:pt x="3221928" y="829645"/>
                    <a:pt x="3230349" y="829645"/>
                  </a:cubicBezTo>
                  <a:close/>
                  <a:moveTo>
                    <a:pt x="3383938" y="827830"/>
                  </a:moveTo>
                  <a:cubicBezTo>
                    <a:pt x="3393361" y="827830"/>
                    <a:pt x="3401000" y="835470"/>
                    <a:pt x="3401000" y="844896"/>
                  </a:cubicBezTo>
                  <a:cubicBezTo>
                    <a:pt x="3401000" y="854319"/>
                    <a:pt x="3393361" y="861958"/>
                    <a:pt x="3383938" y="861958"/>
                  </a:cubicBezTo>
                  <a:cubicBezTo>
                    <a:pt x="3374511" y="861958"/>
                    <a:pt x="3366872" y="854319"/>
                    <a:pt x="3366872" y="844896"/>
                  </a:cubicBezTo>
                  <a:cubicBezTo>
                    <a:pt x="3366872" y="835470"/>
                    <a:pt x="3374511" y="827830"/>
                    <a:pt x="3383938" y="827830"/>
                  </a:cubicBezTo>
                  <a:close/>
                  <a:moveTo>
                    <a:pt x="3537882" y="825650"/>
                  </a:moveTo>
                  <a:cubicBezTo>
                    <a:pt x="3548513" y="825650"/>
                    <a:pt x="3557128" y="834265"/>
                    <a:pt x="3557128" y="844893"/>
                  </a:cubicBezTo>
                  <a:cubicBezTo>
                    <a:pt x="3557128" y="855520"/>
                    <a:pt x="3548513" y="864139"/>
                    <a:pt x="3537882" y="864139"/>
                  </a:cubicBezTo>
                  <a:cubicBezTo>
                    <a:pt x="3527254" y="864139"/>
                    <a:pt x="3518639" y="855520"/>
                    <a:pt x="3518639" y="844893"/>
                  </a:cubicBezTo>
                  <a:cubicBezTo>
                    <a:pt x="3518639" y="834265"/>
                    <a:pt x="3527254" y="825650"/>
                    <a:pt x="3537882" y="825650"/>
                  </a:cubicBezTo>
                  <a:close/>
                  <a:moveTo>
                    <a:pt x="3691471" y="823473"/>
                  </a:moveTo>
                  <a:cubicBezTo>
                    <a:pt x="3703303" y="823473"/>
                    <a:pt x="3712894" y="833064"/>
                    <a:pt x="3712894" y="844896"/>
                  </a:cubicBezTo>
                  <a:cubicBezTo>
                    <a:pt x="3712894" y="856725"/>
                    <a:pt x="3703303" y="866319"/>
                    <a:pt x="3691471" y="866319"/>
                  </a:cubicBezTo>
                  <a:cubicBezTo>
                    <a:pt x="3679638" y="866319"/>
                    <a:pt x="3670048" y="856725"/>
                    <a:pt x="3670048" y="844896"/>
                  </a:cubicBezTo>
                  <a:cubicBezTo>
                    <a:pt x="3670048" y="833064"/>
                    <a:pt x="3679638" y="823473"/>
                    <a:pt x="3691471" y="823473"/>
                  </a:cubicBezTo>
                  <a:close/>
                  <a:moveTo>
                    <a:pt x="3845418" y="822021"/>
                  </a:moveTo>
                  <a:cubicBezTo>
                    <a:pt x="3858051" y="822021"/>
                    <a:pt x="3868293" y="832264"/>
                    <a:pt x="3868293" y="844896"/>
                  </a:cubicBezTo>
                  <a:cubicBezTo>
                    <a:pt x="3868293" y="857529"/>
                    <a:pt x="3858051" y="867768"/>
                    <a:pt x="3845418" y="867768"/>
                  </a:cubicBezTo>
                  <a:cubicBezTo>
                    <a:pt x="3832786" y="867768"/>
                    <a:pt x="3822543" y="857529"/>
                    <a:pt x="3822543" y="844896"/>
                  </a:cubicBezTo>
                  <a:cubicBezTo>
                    <a:pt x="3822543" y="832264"/>
                    <a:pt x="3832786" y="822021"/>
                    <a:pt x="3845418" y="822021"/>
                  </a:cubicBezTo>
                  <a:close/>
                  <a:moveTo>
                    <a:pt x="3999000" y="819841"/>
                  </a:moveTo>
                  <a:cubicBezTo>
                    <a:pt x="4012837" y="819841"/>
                    <a:pt x="4024052" y="831055"/>
                    <a:pt x="4024052" y="844893"/>
                  </a:cubicBezTo>
                  <a:cubicBezTo>
                    <a:pt x="4024052" y="858730"/>
                    <a:pt x="4012837" y="869948"/>
                    <a:pt x="3999000" y="869948"/>
                  </a:cubicBezTo>
                  <a:cubicBezTo>
                    <a:pt x="3985162" y="869948"/>
                    <a:pt x="3973948" y="858730"/>
                    <a:pt x="3973948" y="844893"/>
                  </a:cubicBezTo>
                  <a:cubicBezTo>
                    <a:pt x="3973948" y="831055"/>
                    <a:pt x="3985162" y="819841"/>
                    <a:pt x="3999000" y="819841"/>
                  </a:cubicBezTo>
                  <a:close/>
                  <a:moveTo>
                    <a:pt x="4152947" y="817664"/>
                  </a:moveTo>
                  <a:cubicBezTo>
                    <a:pt x="4167832" y="817664"/>
                    <a:pt x="4180179" y="830011"/>
                    <a:pt x="4180179" y="844896"/>
                  </a:cubicBezTo>
                  <a:cubicBezTo>
                    <a:pt x="4180179" y="859782"/>
                    <a:pt x="4168194" y="872129"/>
                    <a:pt x="4152947" y="872129"/>
                  </a:cubicBezTo>
                  <a:cubicBezTo>
                    <a:pt x="4138058" y="872129"/>
                    <a:pt x="4125715" y="859782"/>
                    <a:pt x="4125715" y="844896"/>
                  </a:cubicBezTo>
                  <a:cubicBezTo>
                    <a:pt x="4125715" y="830011"/>
                    <a:pt x="4138058" y="817664"/>
                    <a:pt x="4152947" y="817664"/>
                  </a:cubicBezTo>
                  <a:close/>
                  <a:moveTo>
                    <a:pt x="4306528" y="815122"/>
                  </a:moveTo>
                  <a:cubicBezTo>
                    <a:pt x="4322973" y="815122"/>
                    <a:pt x="4336303" y="828452"/>
                    <a:pt x="4336303" y="844896"/>
                  </a:cubicBezTo>
                  <a:cubicBezTo>
                    <a:pt x="4336303" y="861337"/>
                    <a:pt x="4322973" y="874667"/>
                    <a:pt x="4306528" y="874667"/>
                  </a:cubicBezTo>
                  <a:cubicBezTo>
                    <a:pt x="4290088" y="874667"/>
                    <a:pt x="4276758" y="861337"/>
                    <a:pt x="4276758" y="844896"/>
                  </a:cubicBezTo>
                  <a:cubicBezTo>
                    <a:pt x="4276758" y="828452"/>
                    <a:pt x="4290088" y="815122"/>
                    <a:pt x="4306528" y="815122"/>
                  </a:cubicBezTo>
                  <a:close/>
                  <a:moveTo>
                    <a:pt x="4460480" y="812941"/>
                  </a:moveTo>
                  <a:cubicBezTo>
                    <a:pt x="4478270" y="812941"/>
                    <a:pt x="4492431" y="827102"/>
                    <a:pt x="4492431" y="844893"/>
                  </a:cubicBezTo>
                  <a:cubicBezTo>
                    <a:pt x="4492431" y="862683"/>
                    <a:pt x="4478270" y="876844"/>
                    <a:pt x="4460480" y="876844"/>
                  </a:cubicBezTo>
                  <a:cubicBezTo>
                    <a:pt x="4442690" y="876844"/>
                    <a:pt x="4428528" y="862683"/>
                    <a:pt x="4428528" y="844893"/>
                  </a:cubicBezTo>
                  <a:cubicBezTo>
                    <a:pt x="4428528" y="827102"/>
                    <a:pt x="4442690" y="812941"/>
                    <a:pt x="4460480" y="812941"/>
                  </a:cubicBezTo>
                  <a:close/>
                  <a:moveTo>
                    <a:pt x="4614061" y="811127"/>
                  </a:moveTo>
                  <a:cubicBezTo>
                    <a:pt x="4632713" y="811127"/>
                    <a:pt x="4647831" y="826245"/>
                    <a:pt x="4647831" y="844893"/>
                  </a:cubicBezTo>
                  <a:cubicBezTo>
                    <a:pt x="4647831" y="863544"/>
                    <a:pt x="4632713" y="878662"/>
                    <a:pt x="4614061" y="878662"/>
                  </a:cubicBezTo>
                  <a:cubicBezTo>
                    <a:pt x="4595414" y="878662"/>
                    <a:pt x="4580296" y="863544"/>
                    <a:pt x="4580296" y="844893"/>
                  </a:cubicBezTo>
                  <a:cubicBezTo>
                    <a:pt x="4580296" y="826245"/>
                    <a:pt x="4595414" y="811127"/>
                    <a:pt x="4614061" y="811127"/>
                  </a:cubicBezTo>
                  <a:close/>
                  <a:moveTo>
                    <a:pt x="4768012" y="808584"/>
                  </a:moveTo>
                  <a:cubicBezTo>
                    <a:pt x="4787983" y="808584"/>
                    <a:pt x="4804320" y="824922"/>
                    <a:pt x="4804320" y="844893"/>
                  </a:cubicBezTo>
                  <a:cubicBezTo>
                    <a:pt x="4804320" y="864863"/>
                    <a:pt x="4787983" y="881201"/>
                    <a:pt x="4768012" y="881201"/>
                  </a:cubicBezTo>
                  <a:cubicBezTo>
                    <a:pt x="4748042" y="881201"/>
                    <a:pt x="4731704" y="864863"/>
                    <a:pt x="4731704" y="844893"/>
                  </a:cubicBezTo>
                  <a:cubicBezTo>
                    <a:pt x="4731704" y="824922"/>
                    <a:pt x="4748042" y="808584"/>
                    <a:pt x="4768012" y="808584"/>
                  </a:cubicBezTo>
                  <a:close/>
                  <a:moveTo>
                    <a:pt x="4921598" y="806045"/>
                  </a:moveTo>
                  <a:cubicBezTo>
                    <a:pt x="4943016" y="806045"/>
                    <a:pt x="4960444" y="823473"/>
                    <a:pt x="4960444" y="844896"/>
                  </a:cubicBezTo>
                  <a:cubicBezTo>
                    <a:pt x="4960444" y="866315"/>
                    <a:pt x="4943016" y="883743"/>
                    <a:pt x="4921598" y="883743"/>
                  </a:cubicBezTo>
                  <a:cubicBezTo>
                    <a:pt x="4900174" y="883743"/>
                    <a:pt x="4882746" y="866315"/>
                    <a:pt x="4882746" y="844896"/>
                  </a:cubicBezTo>
                  <a:cubicBezTo>
                    <a:pt x="4882746" y="823473"/>
                    <a:pt x="4900174" y="806045"/>
                    <a:pt x="4921598" y="806045"/>
                  </a:cubicBezTo>
                  <a:close/>
                  <a:moveTo>
                    <a:pt x="5075541" y="803503"/>
                  </a:moveTo>
                  <a:cubicBezTo>
                    <a:pt x="5098416" y="803503"/>
                    <a:pt x="5116568" y="821659"/>
                    <a:pt x="5116568" y="844530"/>
                  </a:cubicBezTo>
                  <a:cubicBezTo>
                    <a:pt x="5116568" y="867406"/>
                    <a:pt x="5098054" y="885562"/>
                    <a:pt x="5075541" y="885562"/>
                  </a:cubicBezTo>
                  <a:cubicBezTo>
                    <a:pt x="5052670" y="885562"/>
                    <a:pt x="5034514" y="867406"/>
                    <a:pt x="5034514" y="844530"/>
                  </a:cubicBezTo>
                  <a:cubicBezTo>
                    <a:pt x="5034514" y="821659"/>
                    <a:pt x="5052670" y="803503"/>
                    <a:pt x="5075541" y="803503"/>
                  </a:cubicBezTo>
                  <a:close/>
                  <a:moveTo>
                    <a:pt x="5229126" y="800960"/>
                  </a:moveTo>
                  <a:cubicBezTo>
                    <a:pt x="5253088" y="800960"/>
                    <a:pt x="5272696" y="820569"/>
                    <a:pt x="5272696" y="844530"/>
                  </a:cubicBezTo>
                  <a:cubicBezTo>
                    <a:pt x="5272696" y="868496"/>
                    <a:pt x="5253088" y="888100"/>
                    <a:pt x="5229126" y="888100"/>
                  </a:cubicBezTo>
                  <a:cubicBezTo>
                    <a:pt x="5205161" y="888100"/>
                    <a:pt x="5185556" y="868496"/>
                    <a:pt x="5185556" y="844530"/>
                  </a:cubicBezTo>
                  <a:cubicBezTo>
                    <a:pt x="5185556" y="820569"/>
                    <a:pt x="5205161" y="800960"/>
                    <a:pt x="5229126" y="800960"/>
                  </a:cubicBezTo>
                  <a:close/>
                  <a:moveTo>
                    <a:pt x="5383074" y="798784"/>
                  </a:moveTo>
                  <a:cubicBezTo>
                    <a:pt x="5408541" y="798784"/>
                    <a:pt x="5429186" y="819429"/>
                    <a:pt x="5429186" y="844896"/>
                  </a:cubicBezTo>
                  <a:cubicBezTo>
                    <a:pt x="5429186" y="870364"/>
                    <a:pt x="5408541" y="891009"/>
                    <a:pt x="5383074" y="891009"/>
                  </a:cubicBezTo>
                  <a:cubicBezTo>
                    <a:pt x="5357606" y="891009"/>
                    <a:pt x="5336962" y="870364"/>
                    <a:pt x="5336962" y="844896"/>
                  </a:cubicBezTo>
                  <a:cubicBezTo>
                    <a:pt x="5336962" y="819429"/>
                    <a:pt x="5357606" y="798784"/>
                    <a:pt x="5383074" y="798784"/>
                  </a:cubicBezTo>
                  <a:close/>
                  <a:moveTo>
                    <a:pt x="5536659" y="796241"/>
                  </a:moveTo>
                  <a:cubicBezTo>
                    <a:pt x="5563526" y="796241"/>
                    <a:pt x="5585310" y="818026"/>
                    <a:pt x="5585310" y="844896"/>
                  </a:cubicBezTo>
                  <a:cubicBezTo>
                    <a:pt x="5585310" y="871763"/>
                    <a:pt x="5563526" y="893548"/>
                    <a:pt x="5536659" y="893548"/>
                  </a:cubicBezTo>
                  <a:cubicBezTo>
                    <a:pt x="5509789" y="893548"/>
                    <a:pt x="5488004" y="871763"/>
                    <a:pt x="5488004" y="844896"/>
                  </a:cubicBezTo>
                  <a:cubicBezTo>
                    <a:pt x="5488004" y="818026"/>
                    <a:pt x="5509789" y="796241"/>
                    <a:pt x="5536659" y="796241"/>
                  </a:cubicBezTo>
                  <a:close/>
                  <a:moveTo>
                    <a:pt x="5690606" y="793699"/>
                  </a:moveTo>
                  <a:cubicBezTo>
                    <a:pt x="5718883" y="793699"/>
                    <a:pt x="5741800" y="816620"/>
                    <a:pt x="5741800" y="844893"/>
                  </a:cubicBezTo>
                  <a:cubicBezTo>
                    <a:pt x="5741800" y="873169"/>
                    <a:pt x="5718880" y="896090"/>
                    <a:pt x="5690606" y="896090"/>
                  </a:cubicBezTo>
                  <a:cubicBezTo>
                    <a:pt x="5662334" y="896090"/>
                    <a:pt x="5639412" y="873169"/>
                    <a:pt x="5639412" y="844893"/>
                  </a:cubicBezTo>
                  <a:cubicBezTo>
                    <a:pt x="5639412" y="816620"/>
                    <a:pt x="5662334" y="793699"/>
                    <a:pt x="5690606" y="793699"/>
                  </a:cubicBezTo>
                  <a:close/>
                  <a:moveTo>
                    <a:pt x="5844554" y="791156"/>
                  </a:moveTo>
                  <a:cubicBezTo>
                    <a:pt x="5873962" y="791156"/>
                    <a:pt x="5897928" y="815118"/>
                    <a:pt x="5897928" y="844530"/>
                  </a:cubicBezTo>
                  <a:cubicBezTo>
                    <a:pt x="5897928" y="873939"/>
                    <a:pt x="5873962" y="897901"/>
                    <a:pt x="5844554" y="897901"/>
                  </a:cubicBezTo>
                  <a:cubicBezTo>
                    <a:pt x="5815145" y="897901"/>
                    <a:pt x="5791180" y="873939"/>
                    <a:pt x="5791180" y="844530"/>
                  </a:cubicBezTo>
                  <a:cubicBezTo>
                    <a:pt x="5791180" y="815118"/>
                    <a:pt x="5815145" y="791156"/>
                    <a:pt x="5844554" y="791156"/>
                  </a:cubicBezTo>
                  <a:close/>
                  <a:moveTo>
                    <a:pt x="5998139" y="788614"/>
                  </a:moveTo>
                  <a:cubicBezTo>
                    <a:pt x="6029362" y="788614"/>
                    <a:pt x="6054414" y="813665"/>
                    <a:pt x="6054414" y="844893"/>
                  </a:cubicBezTo>
                  <a:cubicBezTo>
                    <a:pt x="6054414" y="876116"/>
                    <a:pt x="6029362" y="901171"/>
                    <a:pt x="5998139" y="901171"/>
                  </a:cubicBezTo>
                  <a:cubicBezTo>
                    <a:pt x="5966912" y="901171"/>
                    <a:pt x="5941860" y="876116"/>
                    <a:pt x="5941860" y="844893"/>
                  </a:cubicBezTo>
                  <a:cubicBezTo>
                    <a:pt x="5941860" y="813665"/>
                    <a:pt x="5966912" y="788614"/>
                    <a:pt x="5998139" y="788614"/>
                  </a:cubicBezTo>
                  <a:close/>
                  <a:moveTo>
                    <a:pt x="6152083" y="786075"/>
                  </a:moveTo>
                  <a:cubicBezTo>
                    <a:pt x="6184568" y="786075"/>
                    <a:pt x="6210904" y="812407"/>
                    <a:pt x="6210904" y="844896"/>
                  </a:cubicBezTo>
                  <a:cubicBezTo>
                    <a:pt x="6210904" y="877381"/>
                    <a:pt x="6184568" y="903714"/>
                    <a:pt x="6152083" y="903714"/>
                  </a:cubicBezTo>
                  <a:cubicBezTo>
                    <a:pt x="6119598" y="903714"/>
                    <a:pt x="6093265" y="877381"/>
                    <a:pt x="6093265" y="844896"/>
                  </a:cubicBezTo>
                  <a:cubicBezTo>
                    <a:pt x="6093265" y="812407"/>
                    <a:pt x="6119598" y="786075"/>
                    <a:pt x="6152083" y="786075"/>
                  </a:cubicBezTo>
                  <a:close/>
                  <a:moveTo>
                    <a:pt x="6305672" y="783170"/>
                  </a:moveTo>
                  <a:cubicBezTo>
                    <a:pt x="6339762" y="783170"/>
                    <a:pt x="6367394" y="810807"/>
                    <a:pt x="6367394" y="844896"/>
                  </a:cubicBezTo>
                  <a:cubicBezTo>
                    <a:pt x="6367394" y="878982"/>
                    <a:pt x="6339762" y="906619"/>
                    <a:pt x="6305672" y="906619"/>
                  </a:cubicBezTo>
                  <a:cubicBezTo>
                    <a:pt x="6271582" y="906619"/>
                    <a:pt x="6243946" y="878982"/>
                    <a:pt x="6243946" y="844896"/>
                  </a:cubicBezTo>
                  <a:cubicBezTo>
                    <a:pt x="6243946" y="810807"/>
                    <a:pt x="6271582" y="783170"/>
                    <a:pt x="6305672" y="783170"/>
                  </a:cubicBezTo>
                  <a:close/>
                  <a:moveTo>
                    <a:pt x="6459616" y="780628"/>
                  </a:moveTo>
                  <a:cubicBezTo>
                    <a:pt x="6495108" y="780628"/>
                    <a:pt x="6523884" y="809400"/>
                    <a:pt x="6523884" y="844893"/>
                  </a:cubicBezTo>
                  <a:cubicBezTo>
                    <a:pt x="6523884" y="880385"/>
                    <a:pt x="6495108" y="909161"/>
                    <a:pt x="6459616" y="909161"/>
                  </a:cubicBezTo>
                  <a:cubicBezTo>
                    <a:pt x="6424123" y="909161"/>
                    <a:pt x="6395350" y="880385"/>
                    <a:pt x="6395350" y="844893"/>
                  </a:cubicBezTo>
                  <a:cubicBezTo>
                    <a:pt x="6395350" y="809400"/>
                    <a:pt x="6424123" y="780628"/>
                    <a:pt x="6459616" y="780628"/>
                  </a:cubicBezTo>
                  <a:close/>
                  <a:moveTo>
                    <a:pt x="6613197" y="777361"/>
                  </a:moveTo>
                  <a:cubicBezTo>
                    <a:pt x="6650496" y="777361"/>
                    <a:pt x="6680732" y="807597"/>
                    <a:pt x="6680732" y="844896"/>
                  </a:cubicBezTo>
                  <a:cubicBezTo>
                    <a:pt x="6680732" y="882192"/>
                    <a:pt x="6650496" y="912428"/>
                    <a:pt x="6613197" y="912428"/>
                  </a:cubicBezTo>
                  <a:cubicBezTo>
                    <a:pt x="6575902" y="912428"/>
                    <a:pt x="6545666" y="882192"/>
                    <a:pt x="6545666" y="844896"/>
                  </a:cubicBezTo>
                  <a:cubicBezTo>
                    <a:pt x="6545666" y="807597"/>
                    <a:pt x="6575902" y="777361"/>
                    <a:pt x="6613197" y="777361"/>
                  </a:cubicBezTo>
                  <a:close/>
                  <a:moveTo>
                    <a:pt x="1384799" y="690583"/>
                  </a:moveTo>
                  <a:cubicBezTo>
                    <a:pt x="1385161" y="690583"/>
                    <a:pt x="1385161" y="690583"/>
                    <a:pt x="1385161" y="690945"/>
                  </a:cubicBezTo>
                  <a:cubicBezTo>
                    <a:pt x="1385161" y="691311"/>
                    <a:pt x="1384799" y="691311"/>
                    <a:pt x="1384799" y="691311"/>
                  </a:cubicBezTo>
                  <a:cubicBezTo>
                    <a:pt x="1384437" y="691311"/>
                    <a:pt x="1384437" y="691311"/>
                    <a:pt x="1384437" y="690945"/>
                  </a:cubicBezTo>
                  <a:cubicBezTo>
                    <a:pt x="1384437" y="690583"/>
                    <a:pt x="1384437" y="690583"/>
                    <a:pt x="1384799" y="690583"/>
                  </a:cubicBezTo>
                  <a:close/>
                  <a:moveTo>
                    <a:pt x="923681" y="690583"/>
                  </a:moveTo>
                  <a:cubicBezTo>
                    <a:pt x="924043" y="690583"/>
                    <a:pt x="924043" y="690583"/>
                    <a:pt x="924043" y="690945"/>
                  </a:cubicBezTo>
                  <a:cubicBezTo>
                    <a:pt x="924043" y="691311"/>
                    <a:pt x="923681" y="691311"/>
                    <a:pt x="923681" y="691311"/>
                  </a:cubicBezTo>
                  <a:cubicBezTo>
                    <a:pt x="923319" y="691311"/>
                    <a:pt x="923319" y="691311"/>
                    <a:pt x="923319" y="690945"/>
                  </a:cubicBezTo>
                  <a:cubicBezTo>
                    <a:pt x="923319" y="690583"/>
                    <a:pt x="923319" y="690583"/>
                    <a:pt x="923681" y="690583"/>
                  </a:cubicBezTo>
                  <a:close/>
                  <a:moveTo>
                    <a:pt x="769733" y="690583"/>
                  </a:moveTo>
                  <a:cubicBezTo>
                    <a:pt x="770096" y="690583"/>
                    <a:pt x="770096" y="690583"/>
                    <a:pt x="770096" y="690945"/>
                  </a:cubicBezTo>
                  <a:cubicBezTo>
                    <a:pt x="770096" y="691311"/>
                    <a:pt x="769733" y="691311"/>
                    <a:pt x="769733" y="691311"/>
                  </a:cubicBezTo>
                  <a:cubicBezTo>
                    <a:pt x="769371" y="691311"/>
                    <a:pt x="769371" y="691311"/>
                    <a:pt x="769371" y="690945"/>
                  </a:cubicBezTo>
                  <a:cubicBezTo>
                    <a:pt x="769371" y="690583"/>
                    <a:pt x="769371" y="690583"/>
                    <a:pt x="769733" y="690583"/>
                  </a:cubicBezTo>
                  <a:close/>
                  <a:moveTo>
                    <a:pt x="616152" y="690221"/>
                  </a:moveTo>
                  <a:cubicBezTo>
                    <a:pt x="616552" y="690221"/>
                    <a:pt x="616876" y="690545"/>
                    <a:pt x="616876" y="690949"/>
                  </a:cubicBezTo>
                  <a:cubicBezTo>
                    <a:pt x="616876" y="691349"/>
                    <a:pt x="616552" y="691673"/>
                    <a:pt x="616152" y="691673"/>
                  </a:cubicBezTo>
                  <a:cubicBezTo>
                    <a:pt x="615748" y="691673"/>
                    <a:pt x="615424" y="691349"/>
                    <a:pt x="615424" y="690949"/>
                  </a:cubicBezTo>
                  <a:cubicBezTo>
                    <a:pt x="615424" y="690545"/>
                    <a:pt x="615748" y="690221"/>
                    <a:pt x="616152" y="690221"/>
                  </a:cubicBezTo>
                  <a:close/>
                  <a:moveTo>
                    <a:pt x="1538746" y="689493"/>
                  </a:moveTo>
                  <a:cubicBezTo>
                    <a:pt x="1539547" y="689493"/>
                    <a:pt x="1540198" y="690145"/>
                    <a:pt x="1540198" y="690945"/>
                  </a:cubicBezTo>
                  <a:cubicBezTo>
                    <a:pt x="1540198" y="691746"/>
                    <a:pt x="1539547" y="692397"/>
                    <a:pt x="1538746" y="692397"/>
                  </a:cubicBezTo>
                  <a:cubicBezTo>
                    <a:pt x="1537942" y="692397"/>
                    <a:pt x="1537294" y="691746"/>
                    <a:pt x="1537294" y="690945"/>
                  </a:cubicBezTo>
                  <a:cubicBezTo>
                    <a:pt x="1537294" y="690145"/>
                    <a:pt x="1537942" y="689493"/>
                    <a:pt x="1538746" y="689493"/>
                  </a:cubicBezTo>
                  <a:close/>
                  <a:moveTo>
                    <a:pt x="1692328" y="688768"/>
                  </a:moveTo>
                  <a:cubicBezTo>
                    <a:pt x="1693532" y="688768"/>
                    <a:pt x="1694508" y="689744"/>
                    <a:pt x="1694508" y="690949"/>
                  </a:cubicBezTo>
                  <a:cubicBezTo>
                    <a:pt x="1694508" y="692150"/>
                    <a:pt x="1693532" y="693126"/>
                    <a:pt x="1692328" y="693126"/>
                  </a:cubicBezTo>
                  <a:cubicBezTo>
                    <a:pt x="1691127" y="693126"/>
                    <a:pt x="1690151" y="692150"/>
                    <a:pt x="1690151" y="690949"/>
                  </a:cubicBezTo>
                  <a:cubicBezTo>
                    <a:pt x="1690151" y="689744"/>
                    <a:pt x="1691127" y="688768"/>
                    <a:pt x="1692328" y="688768"/>
                  </a:cubicBezTo>
                  <a:close/>
                  <a:moveTo>
                    <a:pt x="1846279" y="688040"/>
                  </a:moveTo>
                  <a:cubicBezTo>
                    <a:pt x="1848093" y="688040"/>
                    <a:pt x="1849546" y="689493"/>
                    <a:pt x="1849546" y="691307"/>
                  </a:cubicBezTo>
                  <a:cubicBezTo>
                    <a:pt x="1849546" y="693122"/>
                    <a:pt x="1848093" y="694574"/>
                    <a:pt x="1846279" y="694574"/>
                  </a:cubicBezTo>
                  <a:cubicBezTo>
                    <a:pt x="1844464" y="694574"/>
                    <a:pt x="1843012" y="693122"/>
                    <a:pt x="1843012" y="691307"/>
                  </a:cubicBezTo>
                  <a:cubicBezTo>
                    <a:pt x="1843012" y="689493"/>
                    <a:pt x="1844464" y="688040"/>
                    <a:pt x="1846279" y="688040"/>
                  </a:cubicBezTo>
                  <a:close/>
                  <a:moveTo>
                    <a:pt x="1999860" y="686588"/>
                  </a:moveTo>
                  <a:cubicBezTo>
                    <a:pt x="2002403" y="686588"/>
                    <a:pt x="2004217" y="688403"/>
                    <a:pt x="2004217" y="690945"/>
                  </a:cubicBezTo>
                  <a:cubicBezTo>
                    <a:pt x="2004217" y="693488"/>
                    <a:pt x="2002037" y="695302"/>
                    <a:pt x="1999860" y="695302"/>
                  </a:cubicBezTo>
                  <a:cubicBezTo>
                    <a:pt x="1997318" y="695302"/>
                    <a:pt x="1995503" y="693488"/>
                    <a:pt x="1995503" y="690945"/>
                  </a:cubicBezTo>
                  <a:cubicBezTo>
                    <a:pt x="1995503" y="688403"/>
                    <a:pt x="1997318" y="686588"/>
                    <a:pt x="1999860" y="686588"/>
                  </a:cubicBezTo>
                  <a:close/>
                  <a:moveTo>
                    <a:pt x="2153811" y="685498"/>
                  </a:moveTo>
                  <a:cubicBezTo>
                    <a:pt x="2157078" y="685498"/>
                    <a:pt x="2159621" y="688040"/>
                    <a:pt x="2159621" y="691307"/>
                  </a:cubicBezTo>
                  <a:cubicBezTo>
                    <a:pt x="2159621" y="694574"/>
                    <a:pt x="2157078" y="697117"/>
                    <a:pt x="2153811" y="697117"/>
                  </a:cubicBezTo>
                  <a:cubicBezTo>
                    <a:pt x="2150545" y="697117"/>
                    <a:pt x="2148002" y="694574"/>
                    <a:pt x="2148002" y="691307"/>
                  </a:cubicBezTo>
                  <a:cubicBezTo>
                    <a:pt x="2148002" y="688040"/>
                    <a:pt x="2150545" y="685498"/>
                    <a:pt x="2153811" y="685498"/>
                  </a:cubicBezTo>
                  <a:close/>
                  <a:moveTo>
                    <a:pt x="2307393" y="683683"/>
                  </a:moveTo>
                  <a:cubicBezTo>
                    <a:pt x="2311388" y="683683"/>
                    <a:pt x="2314655" y="686950"/>
                    <a:pt x="2314655" y="690945"/>
                  </a:cubicBezTo>
                  <a:cubicBezTo>
                    <a:pt x="2314655" y="694940"/>
                    <a:pt x="2311388" y="698207"/>
                    <a:pt x="2307393" y="698207"/>
                  </a:cubicBezTo>
                  <a:cubicBezTo>
                    <a:pt x="2303398" y="698207"/>
                    <a:pt x="2300131" y="694940"/>
                    <a:pt x="2300131" y="690945"/>
                  </a:cubicBezTo>
                  <a:cubicBezTo>
                    <a:pt x="2300131" y="686950"/>
                    <a:pt x="2303398" y="683683"/>
                    <a:pt x="2307393" y="683683"/>
                  </a:cubicBezTo>
                  <a:close/>
                  <a:moveTo>
                    <a:pt x="2461340" y="681869"/>
                  </a:moveTo>
                  <a:cubicBezTo>
                    <a:pt x="2466425" y="681869"/>
                    <a:pt x="2470420" y="685864"/>
                    <a:pt x="2470420" y="690945"/>
                  </a:cubicBezTo>
                  <a:cubicBezTo>
                    <a:pt x="2470420" y="696030"/>
                    <a:pt x="2466425" y="700025"/>
                    <a:pt x="2461340" y="700025"/>
                  </a:cubicBezTo>
                  <a:cubicBezTo>
                    <a:pt x="2456259" y="700025"/>
                    <a:pt x="2452264" y="696030"/>
                    <a:pt x="2452264" y="690945"/>
                  </a:cubicBezTo>
                  <a:cubicBezTo>
                    <a:pt x="2452264" y="685864"/>
                    <a:pt x="2456259" y="681869"/>
                    <a:pt x="2461340" y="681869"/>
                  </a:cubicBezTo>
                  <a:close/>
                  <a:moveTo>
                    <a:pt x="2614925" y="680779"/>
                  </a:moveTo>
                  <a:cubicBezTo>
                    <a:pt x="2620373" y="680779"/>
                    <a:pt x="2625092" y="685498"/>
                    <a:pt x="2625092" y="690945"/>
                  </a:cubicBezTo>
                  <a:cubicBezTo>
                    <a:pt x="2625092" y="696392"/>
                    <a:pt x="2620735" y="701111"/>
                    <a:pt x="2614925" y="701111"/>
                  </a:cubicBezTo>
                  <a:cubicBezTo>
                    <a:pt x="2609478" y="701111"/>
                    <a:pt x="2604759" y="696392"/>
                    <a:pt x="2604759" y="690945"/>
                  </a:cubicBezTo>
                  <a:cubicBezTo>
                    <a:pt x="2604759" y="685498"/>
                    <a:pt x="2609478" y="680779"/>
                    <a:pt x="2614925" y="680779"/>
                  </a:cubicBezTo>
                  <a:close/>
                  <a:moveTo>
                    <a:pt x="2768873" y="678964"/>
                  </a:moveTo>
                  <a:cubicBezTo>
                    <a:pt x="2775410" y="678964"/>
                    <a:pt x="2780858" y="684412"/>
                    <a:pt x="2780858" y="690945"/>
                  </a:cubicBezTo>
                  <a:cubicBezTo>
                    <a:pt x="2780858" y="697482"/>
                    <a:pt x="2775410" y="702926"/>
                    <a:pt x="2768873" y="702926"/>
                  </a:cubicBezTo>
                  <a:cubicBezTo>
                    <a:pt x="2762339" y="702926"/>
                    <a:pt x="2756892" y="697482"/>
                    <a:pt x="2756892" y="690945"/>
                  </a:cubicBezTo>
                  <a:cubicBezTo>
                    <a:pt x="2756892" y="684412"/>
                    <a:pt x="2762339" y="678964"/>
                    <a:pt x="2768873" y="678964"/>
                  </a:cubicBezTo>
                  <a:close/>
                  <a:moveTo>
                    <a:pt x="2922824" y="677150"/>
                  </a:moveTo>
                  <a:cubicBezTo>
                    <a:pt x="2930444" y="677150"/>
                    <a:pt x="2936619" y="683329"/>
                    <a:pt x="2936619" y="690949"/>
                  </a:cubicBezTo>
                  <a:cubicBezTo>
                    <a:pt x="2936619" y="698565"/>
                    <a:pt x="2930444" y="704744"/>
                    <a:pt x="2922824" y="704744"/>
                  </a:cubicBezTo>
                  <a:cubicBezTo>
                    <a:pt x="2915204" y="704744"/>
                    <a:pt x="2909025" y="698565"/>
                    <a:pt x="2909025" y="690949"/>
                  </a:cubicBezTo>
                  <a:cubicBezTo>
                    <a:pt x="2909025" y="683329"/>
                    <a:pt x="2915204" y="677150"/>
                    <a:pt x="2922824" y="677150"/>
                  </a:cubicBezTo>
                  <a:close/>
                  <a:moveTo>
                    <a:pt x="3076402" y="675697"/>
                  </a:moveTo>
                  <a:cubicBezTo>
                    <a:pt x="3084826" y="675697"/>
                    <a:pt x="3091653" y="682525"/>
                    <a:pt x="3091653" y="690949"/>
                  </a:cubicBezTo>
                  <a:cubicBezTo>
                    <a:pt x="3091653" y="699369"/>
                    <a:pt x="3084826" y="706197"/>
                    <a:pt x="3076402" y="706197"/>
                  </a:cubicBezTo>
                  <a:cubicBezTo>
                    <a:pt x="3067981" y="706197"/>
                    <a:pt x="3061154" y="699369"/>
                    <a:pt x="3061154" y="690949"/>
                  </a:cubicBezTo>
                  <a:cubicBezTo>
                    <a:pt x="3061154" y="682525"/>
                    <a:pt x="3067981" y="675697"/>
                    <a:pt x="3076402" y="675697"/>
                  </a:cubicBezTo>
                  <a:close/>
                  <a:moveTo>
                    <a:pt x="3230353" y="673883"/>
                  </a:moveTo>
                  <a:cubicBezTo>
                    <a:pt x="3239776" y="673883"/>
                    <a:pt x="3247419" y="681522"/>
                    <a:pt x="3247419" y="690949"/>
                  </a:cubicBezTo>
                  <a:cubicBezTo>
                    <a:pt x="3247419" y="700372"/>
                    <a:pt x="3239776" y="708015"/>
                    <a:pt x="3230353" y="708015"/>
                  </a:cubicBezTo>
                  <a:cubicBezTo>
                    <a:pt x="3220926" y="708015"/>
                    <a:pt x="3213287" y="700372"/>
                    <a:pt x="3213287" y="690949"/>
                  </a:cubicBezTo>
                  <a:cubicBezTo>
                    <a:pt x="3213287" y="681522"/>
                    <a:pt x="3220926" y="673883"/>
                    <a:pt x="3230353" y="673883"/>
                  </a:cubicBezTo>
                  <a:close/>
                  <a:moveTo>
                    <a:pt x="3383934" y="671703"/>
                  </a:moveTo>
                  <a:cubicBezTo>
                    <a:pt x="3394566" y="671703"/>
                    <a:pt x="3403180" y="680318"/>
                    <a:pt x="3403180" y="690945"/>
                  </a:cubicBezTo>
                  <a:cubicBezTo>
                    <a:pt x="3403180" y="701573"/>
                    <a:pt x="3394566" y="710191"/>
                    <a:pt x="3383934" y="710191"/>
                  </a:cubicBezTo>
                  <a:cubicBezTo>
                    <a:pt x="3373307" y="710191"/>
                    <a:pt x="3364692" y="701573"/>
                    <a:pt x="3364692" y="690945"/>
                  </a:cubicBezTo>
                  <a:cubicBezTo>
                    <a:pt x="3364692" y="680318"/>
                    <a:pt x="3373307" y="671703"/>
                    <a:pt x="3383934" y="671703"/>
                  </a:cubicBezTo>
                  <a:close/>
                  <a:moveTo>
                    <a:pt x="3537886" y="669526"/>
                  </a:moveTo>
                  <a:cubicBezTo>
                    <a:pt x="3549714" y="669526"/>
                    <a:pt x="3559308" y="679117"/>
                    <a:pt x="3559308" y="690949"/>
                  </a:cubicBezTo>
                  <a:cubicBezTo>
                    <a:pt x="3559308" y="702777"/>
                    <a:pt x="3549714" y="712372"/>
                    <a:pt x="3537886" y="712372"/>
                  </a:cubicBezTo>
                  <a:cubicBezTo>
                    <a:pt x="3526053" y="712372"/>
                    <a:pt x="3516462" y="702777"/>
                    <a:pt x="3516462" y="690949"/>
                  </a:cubicBezTo>
                  <a:cubicBezTo>
                    <a:pt x="3516462" y="679117"/>
                    <a:pt x="3526053" y="669526"/>
                    <a:pt x="3537886" y="669526"/>
                  </a:cubicBezTo>
                  <a:close/>
                  <a:moveTo>
                    <a:pt x="3691471" y="668074"/>
                  </a:moveTo>
                  <a:cubicBezTo>
                    <a:pt x="3704104" y="668074"/>
                    <a:pt x="3714342" y="678316"/>
                    <a:pt x="3714342" y="690949"/>
                  </a:cubicBezTo>
                  <a:cubicBezTo>
                    <a:pt x="3714342" y="703582"/>
                    <a:pt x="3704104" y="713820"/>
                    <a:pt x="3691471" y="713820"/>
                  </a:cubicBezTo>
                  <a:cubicBezTo>
                    <a:pt x="3678838" y="713820"/>
                    <a:pt x="3668596" y="703582"/>
                    <a:pt x="3668596" y="690949"/>
                  </a:cubicBezTo>
                  <a:cubicBezTo>
                    <a:pt x="3668596" y="678316"/>
                    <a:pt x="3678838" y="668074"/>
                    <a:pt x="3691471" y="668074"/>
                  </a:cubicBezTo>
                  <a:close/>
                  <a:moveTo>
                    <a:pt x="3845414" y="665893"/>
                  </a:moveTo>
                  <a:cubicBezTo>
                    <a:pt x="3859252" y="665893"/>
                    <a:pt x="3870470" y="677112"/>
                    <a:pt x="3870470" y="690945"/>
                  </a:cubicBezTo>
                  <a:cubicBezTo>
                    <a:pt x="3870470" y="704782"/>
                    <a:pt x="3859252" y="716001"/>
                    <a:pt x="3845414" y="716001"/>
                  </a:cubicBezTo>
                  <a:cubicBezTo>
                    <a:pt x="3831581" y="716001"/>
                    <a:pt x="3820362" y="704782"/>
                    <a:pt x="3820362" y="690945"/>
                  </a:cubicBezTo>
                  <a:cubicBezTo>
                    <a:pt x="3820362" y="677112"/>
                    <a:pt x="3831581" y="665893"/>
                    <a:pt x="3845414" y="665893"/>
                  </a:cubicBezTo>
                  <a:close/>
                  <a:moveTo>
                    <a:pt x="3999000" y="663717"/>
                  </a:moveTo>
                  <a:cubicBezTo>
                    <a:pt x="4013885" y="663717"/>
                    <a:pt x="4026232" y="676063"/>
                    <a:pt x="4026232" y="690949"/>
                  </a:cubicBezTo>
                  <a:cubicBezTo>
                    <a:pt x="4026232" y="705834"/>
                    <a:pt x="4014247" y="718181"/>
                    <a:pt x="3999000" y="718181"/>
                  </a:cubicBezTo>
                  <a:cubicBezTo>
                    <a:pt x="3984114" y="718181"/>
                    <a:pt x="3971768" y="705834"/>
                    <a:pt x="3971768" y="690949"/>
                  </a:cubicBezTo>
                  <a:cubicBezTo>
                    <a:pt x="3971768" y="676063"/>
                    <a:pt x="3984114" y="663717"/>
                    <a:pt x="3999000" y="663717"/>
                  </a:cubicBezTo>
                  <a:close/>
                  <a:moveTo>
                    <a:pt x="4152947" y="661174"/>
                  </a:moveTo>
                  <a:cubicBezTo>
                    <a:pt x="4169392" y="661174"/>
                    <a:pt x="4182722" y="674504"/>
                    <a:pt x="4182722" y="690949"/>
                  </a:cubicBezTo>
                  <a:cubicBezTo>
                    <a:pt x="4182722" y="707390"/>
                    <a:pt x="4169392" y="720720"/>
                    <a:pt x="4152947" y="720720"/>
                  </a:cubicBezTo>
                  <a:cubicBezTo>
                    <a:pt x="4136506" y="720720"/>
                    <a:pt x="4123176" y="707390"/>
                    <a:pt x="4123176" y="690949"/>
                  </a:cubicBezTo>
                  <a:cubicBezTo>
                    <a:pt x="4123176" y="674504"/>
                    <a:pt x="4136506" y="661174"/>
                    <a:pt x="4152947" y="661174"/>
                  </a:cubicBezTo>
                  <a:close/>
                  <a:moveTo>
                    <a:pt x="4306532" y="658994"/>
                  </a:moveTo>
                  <a:cubicBezTo>
                    <a:pt x="4324178" y="658994"/>
                    <a:pt x="4338484" y="673300"/>
                    <a:pt x="4338484" y="690945"/>
                  </a:cubicBezTo>
                  <a:cubicBezTo>
                    <a:pt x="4338484" y="708590"/>
                    <a:pt x="4324178" y="722896"/>
                    <a:pt x="4306532" y="722896"/>
                  </a:cubicBezTo>
                  <a:cubicBezTo>
                    <a:pt x="4288887" y="722896"/>
                    <a:pt x="4274581" y="708590"/>
                    <a:pt x="4274581" y="690945"/>
                  </a:cubicBezTo>
                  <a:cubicBezTo>
                    <a:pt x="4274581" y="673300"/>
                    <a:pt x="4288887" y="658994"/>
                    <a:pt x="4306532" y="658994"/>
                  </a:cubicBezTo>
                  <a:close/>
                  <a:moveTo>
                    <a:pt x="4460480" y="657179"/>
                  </a:moveTo>
                  <a:cubicBezTo>
                    <a:pt x="4479128" y="657179"/>
                    <a:pt x="4494250" y="672297"/>
                    <a:pt x="4494250" y="690945"/>
                  </a:cubicBezTo>
                  <a:cubicBezTo>
                    <a:pt x="4494250" y="709597"/>
                    <a:pt x="4479128" y="724715"/>
                    <a:pt x="4460480" y="724715"/>
                  </a:cubicBezTo>
                  <a:cubicBezTo>
                    <a:pt x="4441832" y="724715"/>
                    <a:pt x="4426714" y="709597"/>
                    <a:pt x="4426714" y="690945"/>
                  </a:cubicBezTo>
                  <a:cubicBezTo>
                    <a:pt x="4426714" y="672297"/>
                    <a:pt x="4441832" y="657179"/>
                    <a:pt x="4460480" y="657179"/>
                  </a:cubicBezTo>
                  <a:close/>
                  <a:moveTo>
                    <a:pt x="4614061" y="654637"/>
                  </a:moveTo>
                  <a:cubicBezTo>
                    <a:pt x="4634032" y="654637"/>
                    <a:pt x="4650370" y="670975"/>
                    <a:pt x="4650370" y="690945"/>
                  </a:cubicBezTo>
                  <a:cubicBezTo>
                    <a:pt x="4650370" y="710916"/>
                    <a:pt x="4634032" y="727253"/>
                    <a:pt x="4614061" y="727253"/>
                  </a:cubicBezTo>
                  <a:cubicBezTo>
                    <a:pt x="4594090" y="727253"/>
                    <a:pt x="4577753" y="710916"/>
                    <a:pt x="4577753" y="690945"/>
                  </a:cubicBezTo>
                  <a:cubicBezTo>
                    <a:pt x="4577753" y="670975"/>
                    <a:pt x="4594090" y="654637"/>
                    <a:pt x="4614061" y="654637"/>
                  </a:cubicBezTo>
                  <a:close/>
                  <a:moveTo>
                    <a:pt x="4768012" y="652094"/>
                  </a:moveTo>
                  <a:cubicBezTo>
                    <a:pt x="4789435" y="652094"/>
                    <a:pt x="4806860" y="669522"/>
                    <a:pt x="4806860" y="690945"/>
                  </a:cubicBezTo>
                  <a:cubicBezTo>
                    <a:pt x="4806860" y="712368"/>
                    <a:pt x="4789435" y="729796"/>
                    <a:pt x="4768012" y="729796"/>
                  </a:cubicBezTo>
                  <a:cubicBezTo>
                    <a:pt x="4746590" y="729796"/>
                    <a:pt x="4729162" y="712368"/>
                    <a:pt x="4729162" y="690945"/>
                  </a:cubicBezTo>
                  <a:cubicBezTo>
                    <a:pt x="4729162" y="669522"/>
                    <a:pt x="4746590" y="652094"/>
                    <a:pt x="4768012" y="652094"/>
                  </a:cubicBezTo>
                  <a:close/>
                  <a:moveTo>
                    <a:pt x="4921594" y="649918"/>
                  </a:moveTo>
                  <a:cubicBezTo>
                    <a:pt x="4944469" y="649918"/>
                    <a:pt x="4962625" y="668074"/>
                    <a:pt x="4962625" y="690945"/>
                  </a:cubicBezTo>
                  <a:cubicBezTo>
                    <a:pt x="4962625" y="713820"/>
                    <a:pt x="4944107" y="731976"/>
                    <a:pt x="4921594" y="731976"/>
                  </a:cubicBezTo>
                  <a:cubicBezTo>
                    <a:pt x="4898722" y="731976"/>
                    <a:pt x="4880566" y="713820"/>
                    <a:pt x="4880566" y="690945"/>
                  </a:cubicBezTo>
                  <a:cubicBezTo>
                    <a:pt x="4880566" y="668074"/>
                    <a:pt x="4898722" y="649918"/>
                    <a:pt x="4921594" y="649918"/>
                  </a:cubicBezTo>
                  <a:close/>
                  <a:moveTo>
                    <a:pt x="5075541" y="647375"/>
                  </a:moveTo>
                  <a:cubicBezTo>
                    <a:pt x="5099503" y="647375"/>
                    <a:pt x="5119111" y="666984"/>
                    <a:pt x="5119111" y="690945"/>
                  </a:cubicBezTo>
                  <a:cubicBezTo>
                    <a:pt x="5119111" y="714911"/>
                    <a:pt x="5099503" y="734515"/>
                    <a:pt x="5075541" y="734515"/>
                  </a:cubicBezTo>
                  <a:cubicBezTo>
                    <a:pt x="5051580" y="734515"/>
                    <a:pt x="5031971" y="714911"/>
                    <a:pt x="5031971" y="690945"/>
                  </a:cubicBezTo>
                  <a:cubicBezTo>
                    <a:pt x="5031971" y="666984"/>
                    <a:pt x="5051580" y="647375"/>
                    <a:pt x="5075541" y="647375"/>
                  </a:cubicBezTo>
                  <a:close/>
                  <a:moveTo>
                    <a:pt x="5229126" y="644836"/>
                  </a:moveTo>
                  <a:cubicBezTo>
                    <a:pt x="5254540" y="644836"/>
                    <a:pt x="5275239" y="665531"/>
                    <a:pt x="5275239" y="690949"/>
                  </a:cubicBezTo>
                  <a:cubicBezTo>
                    <a:pt x="5275239" y="716363"/>
                    <a:pt x="5254540" y="737058"/>
                    <a:pt x="5229126" y="737058"/>
                  </a:cubicBezTo>
                  <a:cubicBezTo>
                    <a:pt x="5203708" y="737058"/>
                    <a:pt x="5183014" y="716363"/>
                    <a:pt x="5183014" y="690949"/>
                  </a:cubicBezTo>
                  <a:cubicBezTo>
                    <a:pt x="5183014" y="665531"/>
                    <a:pt x="5203708" y="644836"/>
                    <a:pt x="5229126" y="644836"/>
                  </a:cubicBezTo>
                  <a:close/>
                  <a:moveTo>
                    <a:pt x="5383074" y="642294"/>
                  </a:moveTo>
                  <a:cubicBezTo>
                    <a:pt x="5409940" y="642294"/>
                    <a:pt x="5431725" y="664079"/>
                    <a:pt x="5431725" y="690949"/>
                  </a:cubicBezTo>
                  <a:cubicBezTo>
                    <a:pt x="5431725" y="717815"/>
                    <a:pt x="5409940" y="739600"/>
                    <a:pt x="5383074" y="739600"/>
                  </a:cubicBezTo>
                  <a:cubicBezTo>
                    <a:pt x="5356204" y="739600"/>
                    <a:pt x="5334419" y="717815"/>
                    <a:pt x="5334419" y="690949"/>
                  </a:cubicBezTo>
                  <a:cubicBezTo>
                    <a:pt x="5334419" y="664079"/>
                    <a:pt x="5356204" y="642294"/>
                    <a:pt x="5383074" y="642294"/>
                  </a:cubicBezTo>
                  <a:close/>
                  <a:moveTo>
                    <a:pt x="5536659" y="639751"/>
                  </a:moveTo>
                  <a:cubicBezTo>
                    <a:pt x="5564978" y="639751"/>
                    <a:pt x="5587853" y="662626"/>
                    <a:pt x="5587853" y="690945"/>
                  </a:cubicBezTo>
                  <a:cubicBezTo>
                    <a:pt x="5587853" y="719268"/>
                    <a:pt x="5564978" y="742139"/>
                    <a:pt x="5536659" y="742139"/>
                  </a:cubicBezTo>
                  <a:cubicBezTo>
                    <a:pt x="5508336" y="742139"/>
                    <a:pt x="5485462" y="719268"/>
                    <a:pt x="5485462" y="690945"/>
                  </a:cubicBezTo>
                  <a:cubicBezTo>
                    <a:pt x="5485462" y="662626"/>
                    <a:pt x="5508336" y="639751"/>
                    <a:pt x="5536659" y="639751"/>
                  </a:cubicBezTo>
                  <a:close/>
                  <a:moveTo>
                    <a:pt x="5690606" y="637571"/>
                  </a:moveTo>
                  <a:cubicBezTo>
                    <a:pt x="5720016" y="637571"/>
                    <a:pt x="5743980" y="661533"/>
                    <a:pt x="5743980" y="690945"/>
                  </a:cubicBezTo>
                  <a:cubicBezTo>
                    <a:pt x="5743980" y="720354"/>
                    <a:pt x="5720016" y="744319"/>
                    <a:pt x="5690606" y="744319"/>
                  </a:cubicBezTo>
                  <a:cubicBezTo>
                    <a:pt x="5661198" y="744319"/>
                    <a:pt x="5637232" y="720354"/>
                    <a:pt x="5637232" y="690945"/>
                  </a:cubicBezTo>
                  <a:cubicBezTo>
                    <a:pt x="5637232" y="661533"/>
                    <a:pt x="5661198" y="637571"/>
                    <a:pt x="5690606" y="637571"/>
                  </a:cubicBezTo>
                  <a:close/>
                  <a:moveTo>
                    <a:pt x="5844554" y="634666"/>
                  </a:moveTo>
                  <a:cubicBezTo>
                    <a:pt x="5875777" y="634666"/>
                    <a:pt x="5900829" y="659718"/>
                    <a:pt x="5900829" y="690945"/>
                  </a:cubicBezTo>
                  <a:cubicBezTo>
                    <a:pt x="5900829" y="722168"/>
                    <a:pt x="5875777" y="747224"/>
                    <a:pt x="5844554" y="747224"/>
                  </a:cubicBezTo>
                  <a:cubicBezTo>
                    <a:pt x="5813327" y="747224"/>
                    <a:pt x="5788275" y="722168"/>
                    <a:pt x="5788275" y="690945"/>
                  </a:cubicBezTo>
                  <a:cubicBezTo>
                    <a:pt x="5788275" y="659718"/>
                    <a:pt x="5813327" y="634666"/>
                    <a:pt x="5844554" y="634666"/>
                  </a:cubicBezTo>
                  <a:close/>
                  <a:moveTo>
                    <a:pt x="5998136" y="632128"/>
                  </a:moveTo>
                  <a:cubicBezTo>
                    <a:pt x="6030624" y="632128"/>
                    <a:pt x="6056957" y="658460"/>
                    <a:pt x="6056957" y="690949"/>
                  </a:cubicBezTo>
                  <a:cubicBezTo>
                    <a:pt x="6056957" y="723434"/>
                    <a:pt x="6030624" y="749767"/>
                    <a:pt x="5998136" y="749767"/>
                  </a:cubicBezTo>
                  <a:cubicBezTo>
                    <a:pt x="5965650" y="749767"/>
                    <a:pt x="5939318" y="723434"/>
                    <a:pt x="5939318" y="690949"/>
                  </a:cubicBezTo>
                  <a:cubicBezTo>
                    <a:pt x="5939318" y="658460"/>
                    <a:pt x="5965650" y="632128"/>
                    <a:pt x="5998136" y="632128"/>
                  </a:cubicBezTo>
                  <a:close/>
                  <a:moveTo>
                    <a:pt x="6152083" y="629223"/>
                  </a:moveTo>
                  <a:cubicBezTo>
                    <a:pt x="6186172" y="629223"/>
                    <a:pt x="6213809" y="656859"/>
                    <a:pt x="6213809" y="690949"/>
                  </a:cubicBezTo>
                  <a:cubicBezTo>
                    <a:pt x="6213809" y="725035"/>
                    <a:pt x="6186172" y="752671"/>
                    <a:pt x="6152083" y="752671"/>
                  </a:cubicBezTo>
                  <a:cubicBezTo>
                    <a:pt x="6117993" y="752671"/>
                    <a:pt x="6090360" y="725035"/>
                    <a:pt x="6090360" y="690949"/>
                  </a:cubicBezTo>
                  <a:cubicBezTo>
                    <a:pt x="6090360" y="656859"/>
                    <a:pt x="6117993" y="629223"/>
                    <a:pt x="6152083" y="629223"/>
                  </a:cubicBezTo>
                  <a:close/>
                  <a:moveTo>
                    <a:pt x="6305668" y="626680"/>
                  </a:moveTo>
                  <a:cubicBezTo>
                    <a:pt x="6341160" y="626680"/>
                    <a:pt x="6369933" y="655452"/>
                    <a:pt x="6369933" y="690945"/>
                  </a:cubicBezTo>
                  <a:cubicBezTo>
                    <a:pt x="6369933" y="726438"/>
                    <a:pt x="6341160" y="755214"/>
                    <a:pt x="6305668" y="755214"/>
                  </a:cubicBezTo>
                  <a:cubicBezTo>
                    <a:pt x="6270176" y="755214"/>
                    <a:pt x="6241400" y="726438"/>
                    <a:pt x="6241400" y="690945"/>
                  </a:cubicBezTo>
                  <a:cubicBezTo>
                    <a:pt x="6241400" y="655452"/>
                    <a:pt x="6270176" y="626680"/>
                    <a:pt x="6305668" y="626680"/>
                  </a:cubicBezTo>
                  <a:close/>
                  <a:moveTo>
                    <a:pt x="6459619" y="623414"/>
                  </a:moveTo>
                  <a:cubicBezTo>
                    <a:pt x="6496915" y="623414"/>
                    <a:pt x="6527151" y="653650"/>
                    <a:pt x="6527151" y="690949"/>
                  </a:cubicBezTo>
                  <a:cubicBezTo>
                    <a:pt x="6527151" y="728245"/>
                    <a:pt x="6496915" y="758481"/>
                    <a:pt x="6459619" y="758481"/>
                  </a:cubicBezTo>
                  <a:cubicBezTo>
                    <a:pt x="6422320" y="758481"/>
                    <a:pt x="6392084" y="728245"/>
                    <a:pt x="6392084" y="690949"/>
                  </a:cubicBezTo>
                  <a:cubicBezTo>
                    <a:pt x="6392084" y="653650"/>
                    <a:pt x="6422320" y="623414"/>
                    <a:pt x="6459619" y="623414"/>
                  </a:cubicBezTo>
                  <a:close/>
                  <a:moveTo>
                    <a:pt x="6613200" y="620871"/>
                  </a:moveTo>
                  <a:cubicBezTo>
                    <a:pt x="6651903" y="620871"/>
                    <a:pt x="6683275" y="652243"/>
                    <a:pt x="6683275" y="690945"/>
                  </a:cubicBezTo>
                  <a:cubicBezTo>
                    <a:pt x="6683275" y="729647"/>
                    <a:pt x="6651903" y="761023"/>
                    <a:pt x="6613200" y="761023"/>
                  </a:cubicBezTo>
                  <a:cubicBezTo>
                    <a:pt x="6574498" y="761023"/>
                    <a:pt x="6543126" y="729647"/>
                    <a:pt x="6543126" y="690945"/>
                  </a:cubicBezTo>
                  <a:cubicBezTo>
                    <a:pt x="6543126" y="652243"/>
                    <a:pt x="6574498" y="620871"/>
                    <a:pt x="6613200" y="620871"/>
                  </a:cubicBezTo>
                  <a:close/>
                  <a:moveTo>
                    <a:pt x="1231213" y="536998"/>
                  </a:moveTo>
                  <a:cubicBezTo>
                    <a:pt x="1231576" y="536998"/>
                    <a:pt x="1231576" y="536998"/>
                    <a:pt x="1231576" y="537360"/>
                  </a:cubicBezTo>
                  <a:cubicBezTo>
                    <a:pt x="1231576" y="537726"/>
                    <a:pt x="1231213" y="537726"/>
                    <a:pt x="1231213" y="537726"/>
                  </a:cubicBezTo>
                  <a:cubicBezTo>
                    <a:pt x="1230851" y="537726"/>
                    <a:pt x="1230851" y="537726"/>
                    <a:pt x="1230851" y="537360"/>
                  </a:cubicBezTo>
                  <a:cubicBezTo>
                    <a:pt x="1230851" y="536998"/>
                    <a:pt x="1230851" y="536998"/>
                    <a:pt x="1231213" y="536998"/>
                  </a:cubicBezTo>
                  <a:close/>
                  <a:moveTo>
                    <a:pt x="769733" y="536998"/>
                  </a:moveTo>
                  <a:cubicBezTo>
                    <a:pt x="770096" y="536998"/>
                    <a:pt x="770096" y="536998"/>
                    <a:pt x="770096" y="537360"/>
                  </a:cubicBezTo>
                  <a:cubicBezTo>
                    <a:pt x="770096" y="537726"/>
                    <a:pt x="769733" y="537726"/>
                    <a:pt x="769733" y="537726"/>
                  </a:cubicBezTo>
                  <a:cubicBezTo>
                    <a:pt x="769371" y="537726"/>
                    <a:pt x="769371" y="537726"/>
                    <a:pt x="769371" y="537360"/>
                  </a:cubicBezTo>
                  <a:cubicBezTo>
                    <a:pt x="769371" y="536998"/>
                    <a:pt x="769371" y="536998"/>
                    <a:pt x="769733" y="536998"/>
                  </a:cubicBezTo>
                  <a:close/>
                  <a:moveTo>
                    <a:pt x="616148" y="536998"/>
                  </a:moveTo>
                  <a:cubicBezTo>
                    <a:pt x="616514" y="536998"/>
                    <a:pt x="616514" y="536998"/>
                    <a:pt x="616514" y="537360"/>
                  </a:cubicBezTo>
                  <a:cubicBezTo>
                    <a:pt x="616514" y="537726"/>
                    <a:pt x="616148" y="537726"/>
                    <a:pt x="616148" y="537726"/>
                  </a:cubicBezTo>
                  <a:cubicBezTo>
                    <a:pt x="615786" y="537726"/>
                    <a:pt x="615786" y="537726"/>
                    <a:pt x="615786" y="537360"/>
                  </a:cubicBezTo>
                  <a:cubicBezTo>
                    <a:pt x="615786" y="536998"/>
                    <a:pt x="615786" y="536998"/>
                    <a:pt x="616148" y="536998"/>
                  </a:cubicBezTo>
                  <a:close/>
                  <a:moveTo>
                    <a:pt x="462205" y="536636"/>
                  </a:moveTo>
                  <a:cubicBezTo>
                    <a:pt x="462605" y="536636"/>
                    <a:pt x="462929" y="536960"/>
                    <a:pt x="462929" y="537364"/>
                  </a:cubicBezTo>
                  <a:cubicBezTo>
                    <a:pt x="462929" y="537764"/>
                    <a:pt x="462605" y="538088"/>
                    <a:pt x="462205" y="538088"/>
                  </a:cubicBezTo>
                  <a:cubicBezTo>
                    <a:pt x="461801" y="538088"/>
                    <a:pt x="461476" y="537764"/>
                    <a:pt x="461476" y="537364"/>
                  </a:cubicBezTo>
                  <a:cubicBezTo>
                    <a:pt x="461476" y="536960"/>
                    <a:pt x="461801" y="536636"/>
                    <a:pt x="462205" y="536636"/>
                  </a:cubicBezTo>
                  <a:close/>
                  <a:moveTo>
                    <a:pt x="1384799" y="535911"/>
                  </a:moveTo>
                  <a:cubicBezTo>
                    <a:pt x="1385599" y="535911"/>
                    <a:pt x="1386251" y="536563"/>
                    <a:pt x="1386251" y="537364"/>
                  </a:cubicBezTo>
                  <a:cubicBezTo>
                    <a:pt x="1386251" y="538164"/>
                    <a:pt x="1385599" y="538816"/>
                    <a:pt x="1384799" y="538816"/>
                  </a:cubicBezTo>
                  <a:cubicBezTo>
                    <a:pt x="1383994" y="538816"/>
                    <a:pt x="1383346" y="538164"/>
                    <a:pt x="1383346" y="537364"/>
                  </a:cubicBezTo>
                  <a:cubicBezTo>
                    <a:pt x="1383346" y="536563"/>
                    <a:pt x="1383994" y="535911"/>
                    <a:pt x="1384799" y="535911"/>
                  </a:cubicBezTo>
                  <a:close/>
                  <a:moveTo>
                    <a:pt x="308257" y="535545"/>
                  </a:moveTo>
                  <a:cubicBezTo>
                    <a:pt x="308985" y="535545"/>
                    <a:pt x="309710" y="536273"/>
                    <a:pt x="309710" y="536998"/>
                  </a:cubicBezTo>
                  <a:lnTo>
                    <a:pt x="309634" y="537073"/>
                  </a:lnTo>
                  <a:lnTo>
                    <a:pt x="308175" y="535627"/>
                  </a:lnTo>
                  <a:close/>
                  <a:moveTo>
                    <a:pt x="1538750" y="535183"/>
                  </a:moveTo>
                  <a:cubicBezTo>
                    <a:pt x="1539951" y="535183"/>
                    <a:pt x="1540927" y="536159"/>
                    <a:pt x="1540927" y="537364"/>
                  </a:cubicBezTo>
                  <a:cubicBezTo>
                    <a:pt x="1540927" y="538564"/>
                    <a:pt x="1539951" y="539540"/>
                    <a:pt x="1538750" y="539540"/>
                  </a:cubicBezTo>
                  <a:cubicBezTo>
                    <a:pt x="1537545" y="539540"/>
                    <a:pt x="1536570" y="538564"/>
                    <a:pt x="1536570" y="537364"/>
                  </a:cubicBezTo>
                  <a:cubicBezTo>
                    <a:pt x="1536570" y="536159"/>
                    <a:pt x="1537545" y="535183"/>
                    <a:pt x="1538750" y="535183"/>
                  </a:cubicBezTo>
                  <a:close/>
                  <a:moveTo>
                    <a:pt x="1692328" y="534093"/>
                  </a:moveTo>
                  <a:cubicBezTo>
                    <a:pt x="1694146" y="534093"/>
                    <a:pt x="1695594" y="535545"/>
                    <a:pt x="1695594" y="537360"/>
                  </a:cubicBezTo>
                  <a:cubicBezTo>
                    <a:pt x="1695594" y="539178"/>
                    <a:pt x="1694146" y="540630"/>
                    <a:pt x="1692328" y="540630"/>
                  </a:cubicBezTo>
                  <a:cubicBezTo>
                    <a:pt x="1690513" y="540630"/>
                    <a:pt x="1689061" y="539178"/>
                    <a:pt x="1689061" y="537360"/>
                  </a:cubicBezTo>
                  <a:cubicBezTo>
                    <a:pt x="1689061" y="535545"/>
                    <a:pt x="1690513" y="534093"/>
                    <a:pt x="1692328" y="534093"/>
                  </a:cubicBezTo>
                  <a:close/>
                  <a:moveTo>
                    <a:pt x="1846279" y="532641"/>
                  </a:moveTo>
                  <a:cubicBezTo>
                    <a:pt x="1848818" y="532641"/>
                    <a:pt x="1850636" y="534455"/>
                    <a:pt x="1850636" y="536998"/>
                  </a:cubicBezTo>
                  <a:cubicBezTo>
                    <a:pt x="1850636" y="539540"/>
                    <a:pt x="1848455" y="541355"/>
                    <a:pt x="1846279" y="541355"/>
                  </a:cubicBezTo>
                  <a:cubicBezTo>
                    <a:pt x="1843736" y="541355"/>
                    <a:pt x="1841922" y="539540"/>
                    <a:pt x="1841922" y="536998"/>
                  </a:cubicBezTo>
                  <a:cubicBezTo>
                    <a:pt x="1841922" y="534455"/>
                    <a:pt x="1843736" y="532641"/>
                    <a:pt x="1846279" y="532641"/>
                  </a:cubicBezTo>
                  <a:close/>
                  <a:moveTo>
                    <a:pt x="1999860" y="531554"/>
                  </a:moveTo>
                  <a:cubicBezTo>
                    <a:pt x="2003127" y="531554"/>
                    <a:pt x="2005670" y="534097"/>
                    <a:pt x="2005670" y="537364"/>
                  </a:cubicBezTo>
                  <a:cubicBezTo>
                    <a:pt x="2005670" y="540630"/>
                    <a:pt x="2003127" y="543173"/>
                    <a:pt x="1999860" y="543173"/>
                  </a:cubicBezTo>
                  <a:cubicBezTo>
                    <a:pt x="1996593" y="543173"/>
                    <a:pt x="1994051" y="540630"/>
                    <a:pt x="1994051" y="537364"/>
                  </a:cubicBezTo>
                  <a:cubicBezTo>
                    <a:pt x="1994051" y="534097"/>
                    <a:pt x="1996593" y="531554"/>
                    <a:pt x="1999860" y="531554"/>
                  </a:cubicBezTo>
                  <a:close/>
                  <a:moveTo>
                    <a:pt x="2153808" y="530102"/>
                  </a:moveTo>
                  <a:cubicBezTo>
                    <a:pt x="2157802" y="530102"/>
                    <a:pt x="2161069" y="533369"/>
                    <a:pt x="2161069" y="537364"/>
                  </a:cubicBezTo>
                  <a:cubicBezTo>
                    <a:pt x="2161069" y="541359"/>
                    <a:pt x="2157802" y="544625"/>
                    <a:pt x="2153808" y="544625"/>
                  </a:cubicBezTo>
                  <a:cubicBezTo>
                    <a:pt x="2149813" y="544625"/>
                    <a:pt x="2146546" y="541359"/>
                    <a:pt x="2146546" y="537364"/>
                  </a:cubicBezTo>
                  <a:cubicBezTo>
                    <a:pt x="2146546" y="533369"/>
                    <a:pt x="2149813" y="530102"/>
                    <a:pt x="2153808" y="530102"/>
                  </a:cubicBezTo>
                  <a:close/>
                  <a:moveTo>
                    <a:pt x="2307393" y="527922"/>
                  </a:moveTo>
                  <a:cubicBezTo>
                    <a:pt x="2312478" y="527922"/>
                    <a:pt x="2316473" y="531916"/>
                    <a:pt x="2316473" y="536998"/>
                  </a:cubicBezTo>
                  <a:cubicBezTo>
                    <a:pt x="2316473" y="542083"/>
                    <a:pt x="2312478" y="546078"/>
                    <a:pt x="2307393" y="546078"/>
                  </a:cubicBezTo>
                  <a:cubicBezTo>
                    <a:pt x="2302312" y="546078"/>
                    <a:pt x="2298317" y="542083"/>
                    <a:pt x="2298317" y="536998"/>
                  </a:cubicBezTo>
                  <a:cubicBezTo>
                    <a:pt x="2298317" y="531916"/>
                    <a:pt x="2302312" y="527922"/>
                    <a:pt x="2307393" y="527922"/>
                  </a:cubicBezTo>
                  <a:close/>
                  <a:moveTo>
                    <a:pt x="2461340" y="527197"/>
                  </a:moveTo>
                  <a:cubicBezTo>
                    <a:pt x="2466787" y="527197"/>
                    <a:pt x="2471507" y="531916"/>
                    <a:pt x="2471507" y="537364"/>
                  </a:cubicBezTo>
                  <a:cubicBezTo>
                    <a:pt x="2471507" y="542811"/>
                    <a:pt x="2467150" y="547530"/>
                    <a:pt x="2461340" y="547530"/>
                  </a:cubicBezTo>
                  <a:cubicBezTo>
                    <a:pt x="2455893" y="547530"/>
                    <a:pt x="2451174" y="542811"/>
                    <a:pt x="2451174" y="537364"/>
                  </a:cubicBezTo>
                  <a:cubicBezTo>
                    <a:pt x="2451174" y="531916"/>
                    <a:pt x="2455893" y="527197"/>
                    <a:pt x="2461340" y="527197"/>
                  </a:cubicBezTo>
                  <a:close/>
                  <a:moveTo>
                    <a:pt x="2614925" y="525379"/>
                  </a:moveTo>
                  <a:cubicBezTo>
                    <a:pt x="2621463" y="525379"/>
                    <a:pt x="2626910" y="530826"/>
                    <a:pt x="2626910" y="537360"/>
                  </a:cubicBezTo>
                  <a:cubicBezTo>
                    <a:pt x="2626910" y="543897"/>
                    <a:pt x="2621463" y="549341"/>
                    <a:pt x="2614925" y="549341"/>
                  </a:cubicBezTo>
                  <a:cubicBezTo>
                    <a:pt x="2608392" y="549341"/>
                    <a:pt x="2602945" y="543897"/>
                    <a:pt x="2602945" y="537360"/>
                  </a:cubicBezTo>
                  <a:cubicBezTo>
                    <a:pt x="2602945" y="530826"/>
                    <a:pt x="2608392" y="525379"/>
                    <a:pt x="2614925" y="525379"/>
                  </a:cubicBezTo>
                  <a:close/>
                  <a:moveTo>
                    <a:pt x="2768877" y="523202"/>
                  </a:moveTo>
                  <a:cubicBezTo>
                    <a:pt x="2776501" y="523202"/>
                    <a:pt x="2782672" y="529374"/>
                    <a:pt x="2782672" y="537002"/>
                  </a:cubicBezTo>
                  <a:cubicBezTo>
                    <a:pt x="2782672" y="544625"/>
                    <a:pt x="2776501" y="550797"/>
                    <a:pt x="2768877" y="550797"/>
                  </a:cubicBezTo>
                  <a:cubicBezTo>
                    <a:pt x="2761249" y="550797"/>
                    <a:pt x="2755078" y="544625"/>
                    <a:pt x="2755078" y="537002"/>
                  </a:cubicBezTo>
                  <a:cubicBezTo>
                    <a:pt x="2755078" y="529374"/>
                    <a:pt x="2761249" y="523202"/>
                    <a:pt x="2768877" y="523202"/>
                  </a:cubicBezTo>
                  <a:close/>
                  <a:moveTo>
                    <a:pt x="2922454" y="522112"/>
                  </a:moveTo>
                  <a:cubicBezTo>
                    <a:pt x="2930878" y="522112"/>
                    <a:pt x="2937706" y="528939"/>
                    <a:pt x="2937706" y="537364"/>
                  </a:cubicBezTo>
                  <a:cubicBezTo>
                    <a:pt x="2937706" y="545784"/>
                    <a:pt x="2930878" y="552611"/>
                    <a:pt x="2922454" y="552611"/>
                  </a:cubicBezTo>
                  <a:cubicBezTo>
                    <a:pt x="2914034" y="552611"/>
                    <a:pt x="2907207" y="545784"/>
                    <a:pt x="2907207" y="537364"/>
                  </a:cubicBezTo>
                  <a:cubicBezTo>
                    <a:pt x="2907207" y="528939"/>
                    <a:pt x="2914034" y="522112"/>
                    <a:pt x="2922454" y="522112"/>
                  </a:cubicBezTo>
                  <a:close/>
                  <a:moveTo>
                    <a:pt x="3076406" y="520298"/>
                  </a:moveTo>
                  <a:cubicBezTo>
                    <a:pt x="3085844" y="520298"/>
                    <a:pt x="3093468" y="527922"/>
                    <a:pt x="3093468" y="537364"/>
                  </a:cubicBezTo>
                  <a:cubicBezTo>
                    <a:pt x="3093468" y="546802"/>
                    <a:pt x="3085844" y="554430"/>
                    <a:pt x="3076406" y="554430"/>
                  </a:cubicBezTo>
                  <a:cubicBezTo>
                    <a:pt x="3066963" y="554430"/>
                    <a:pt x="3059340" y="546802"/>
                    <a:pt x="3059340" y="537364"/>
                  </a:cubicBezTo>
                  <a:cubicBezTo>
                    <a:pt x="3059340" y="527922"/>
                    <a:pt x="3066963" y="520298"/>
                    <a:pt x="3076406" y="520298"/>
                  </a:cubicBezTo>
                  <a:close/>
                  <a:moveTo>
                    <a:pt x="3230353" y="518117"/>
                  </a:moveTo>
                  <a:cubicBezTo>
                    <a:pt x="3240980" y="518117"/>
                    <a:pt x="3249599" y="526732"/>
                    <a:pt x="3249599" y="537360"/>
                  </a:cubicBezTo>
                  <a:cubicBezTo>
                    <a:pt x="3249599" y="547987"/>
                    <a:pt x="3240980" y="556602"/>
                    <a:pt x="3230353" y="556602"/>
                  </a:cubicBezTo>
                  <a:cubicBezTo>
                    <a:pt x="3219725" y="556602"/>
                    <a:pt x="3211110" y="547987"/>
                    <a:pt x="3211110" y="537360"/>
                  </a:cubicBezTo>
                  <a:cubicBezTo>
                    <a:pt x="3211110" y="526732"/>
                    <a:pt x="3219725" y="518117"/>
                    <a:pt x="3230353" y="518117"/>
                  </a:cubicBezTo>
                  <a:close/>
                  <a:moveTo>
                    <a:pt x="3383938" y="515941"/>
                  </a:moveTo>
                  <a:cubicBezTo>
                    <a:pt x="3395766" y="515941"/>
                    <a:pt x="3405361" y="525532"/>
                    <a:pt x="3405361" y="537364"/>
                  </a:cubicBezTo>
                  <a:cubicBezTo>
                    <a:pt x="3405361" y="549192"/>
                    <a:pt x="3395766" y="558787"/>
                    <a:pt x="3383938" y="558787"/>
                  </a:cubicBezTo>
                  <a:cubicBezTo>
                    <a:pt x="3372106" y="558787"/>
                    <a:pt x="3362515" y="549192"/>
                    <a:pt x="3362515" y="537364"/>
                  </a:cubicBezTo>
                  <a:cubicBezTo>
                    <a:pt x="3362515" y="525532"/>
                    <a:pt x="3372106" y="515941"/>
                    <a:pt x="3383938" y="515941"/>
                  </a:cubicBezTo>
                  <a:close/>
                  <a:moveTo>
                    <a:pt x="3537886" y="514489"/>
                  </a:moveTo>
                  <a:cubicBezTo>
                    <a:pt x="3550518" y="514489"/>
                    <a:pt x="3560761" y="524731"/>
                    <a:pt x="3560761" y="537364"/>
                  </a:cubicBezTo>
                  <a:cubicBezTo>
                    <a:pt x="3560761" y="549996"/>
                    <a:pt x="3550518" y="560239"/>
                    <a:pt x="3537886" y="560239"/>
                  </a:cubicBezTo>
                  <a:cubicBezTo>
                    <a:pt x="3525253" y="560239"/>
                    <a:pt x="3515010" y="549996"/>
                    <a:pt x="3515010" y="537364"/>
                  </a:cubicBezTo>
                  <a:cubicBezTo>
                    <a:pt x="3515010" y="524731"/>
                    <a:pt x="3525253" y="514489"/>
                    <a:pt x="3537886" y="514489"/>
                  </a:cubicBezTo>
                  <a:close/>
                  <a:moveTo>
                    <a:pt x="3691467" y="512308"/>
                  </a:moveTo>
                  <a:cubicBezTo>
                    <a:pt x="3705304" y="512308"/>
                    <a:pt x="3716519" y="523526"/>
                    <a:pt x="3716519" y="537360"/>
                  </a:cubicBezTo>
                  <a:cubicBezTo>
                    <a:pt x="3716519" y="551197"/>
                    <a:pt x="3705304" y="562412"/>
                    <a:pt x="3691467" y="562412"/>
                  </a:cubicBezTo>
                  <a:cubicBezTo>
                    <a:pt x="3677630" y="562412"/>
                    <a:pt x="3666415" y="551197"/>
                    <a:pt x="3666415" y="537360"/>
                  </a:cubicBezTo>
                  <a:cubicBezTo>
                    <a:pt x="3666415" y="523523"/>
                    <a:pt x="3677630" y="512308"/>
                    <a:pt x="3691467" y="512308"/>
                  </a:cubicBezTo>
                  <a:close/>
                  <a:moveTo>
                    <a:pt x="3845418" y="510131"/>
                  </a:moveTo>
                  <a:cubicBezTo>
                    <a:pt x="3860456" y="510131"/>
                    <a:pt x="3872650" y="522322"/>
                    <a:pt x="3872650" y="537364"/>
                  </a:cubicBezTo>
                  <a:cubicBezTo>
                    <a:pt x="3872650" y="552402"/>
                    <a:pt x="3860456" y="564596"/>
                    <a:pt x="3845418" y="564596"/>
                  </a:cubicBezTo>
                  <a:cubicBezTo>
                    <a:pt x="3830376" y="564596"/>
                    <a:pt x="3818186" y="552402"/>
                    <a:pt x="3818186" y="537364"/>
                  </a:cubicBezTo>
                  <a:cubicBezTo>
                    <a:pt x="3818186" y="522322"/>
                    <a:pt x="3830376" y="510131"/>
                    <a:pt x="3845418" y="510131"/>
                  </a:cubicBezTo>
                  <a:close/>
                  <a:moveTo>
                    <a:pt x="3999000" y="507589"/>
                  </a:moveTo>
                  <a:cubicBezTo>
                    <a:pt x="4015444" y="507589"/>
                    <a:pt x="4028774" y="520919"/>
                    <a:pt x="4028774" y="537364"/>
                  </a:cubicBezTo>
                  <a:cubicBezTo>
                    <a:pt x="4028774" y="553804"/>
                    <a:pt x="4015444" y="567135"/>
                    <a:pt x="3999000" y="567135"/>
                  </a:cubicBezTo>
                  <a:cubicBezTo>
                    <a:pt x="3982559" y="567135"/>
                    <a:pt x="3969229" y="553804"/>
                    <a:pt x="3969229" y="537364"/>
                  </a:cubicBezTo>
                  <a:cubicBezTo>
                    <a:pt x="3969229" y="520919"/>
                    <a:pt x="3982559" y="507589"/>
                    <a:pt x="3999000" y="507589"/>
                  </a:cubicBezTo>
                  <a:close/>
                  <a:moveTo>
                    <a:pt x="4152947" y="505412"/>
                  </a:moveTo>
                  <a:cubicBezTo>
                    <a:pt x="4170592" y="505412"/>
                    <a:pt x="4184898" y="519718"/>
                    <a:pt x="4184898" y="537364"/>
                  </a:cubicBezTo>
                  <a:cubicBezTo>
                    <a:pt x="4184898" y="555009"/>
                    <a:pt x="4170592" y="569315"/>
                    <a:pt x="4152947" y="569315"/>
                  </a:cubicBezTo>
                  <a:cubicBezTo>
                    <a:pt x="4135302" y="569315"/>
                    <a:pt x="4120996" y="555009"/>
                    <a:pt x="4120996" y="537364"/>
                  </a:cubicBezTo>
                  <a:cubicBezTo>
                    <a:pt x="4120996" y="519718"/>
                    <a:pt x="4135302" y="505412"/>
                    <a:pt x="4152947" y="505412"/>
                  </a:cubicBezTo>
                  <a:close/>
                  <a:moveTo>
                    <a:pt x="4306532" y="503594"/>
                  </a:moveTo>
                  <a:cubicBezTo>
                    <a:pt x="4325184" y="503594"/>
                    <a:pt x="4340302" y="518712"/>
                    <a:pt x="4340302" y="537360"/>
                  </a:cubicBezTo>
                  <a:cubicBezTo>
                    <a:pt x="4340302" y="556012"/>
                    <a:pt x="4325184" y="571130"/>
                    <a:pt x="4306532" y="571130"/>
                  </a:cubicBezTo>
                  <a:cubicBezTo>
                    <a:pt x="4287884" y="571130"/>
                    <a:pt x="4272766" y="556012"/>
                    <a:pt x="4272766" y="537360"/>
                  </a:cubicBezTo>
                  <a:cubicBezTo>
                    <a:pt x="4272766" y="518712"/>
                    <a:pt x="4287884" y="503594"/>
                    <a:pt x="4306532" y="503594"/>
                  </a:cubicBezTo>
                  <a:close/>
                  <a:moveTo>
                    <a:pt x="4460480" y="500689"/>
                  </a:moveTo>
                  <a:cubicBezTo>
                    <a:pt x="4480450" y="500689"/>
                    <a:pt x="4496788" y="517027"/>
                    <a:pt x="4496788" y="536998"/>
                  </a:cubicBezTo>
                  <a:cubicBezTo>
                    <a:pt x="4496788" y="556968"/>
                    <a:pt x="4480450" y="573306"/>
                    <a:pt x="4460480" y="573306"/>
                  </a:cubicBezTo>
                  <a:cubicBezTo>
                    <a:pt x="4440509" y="573306"/>
                    <a:pt x="4424172" y="556968"/>
                    <a:pt x="4424172" y="536998"/>
                  </a:cubicBezTo>
                  <a:cubicBezTo>
                    <a:pt x="4424172" y="517027"/>
                    <a:pt x="4440509" y="500689"/>
                    <a:pt x="4460480" y="500689"/>
                  </a:cubicBezTo>
                  <a:close/>
                  <a:moveTo>
                    <a:pt x="4614065" y="498513"/>
                  </a:moveTo>
                  <a:cubicBezTo>
                    <a:pt x="4635484" y="498513"/>
                    <a:pt x="4652912" y="515941"/>
                    <a:pt x="4652912" y="537364"/>
                  </a:cubicBezTo>
                  <a:cubicBezTo>
                    <a:pt x="4652912" y="558787"/>
                    <a:pt x="4635484" y="576215"/>
                    <a:pt x="4614065" y="576215"/>
                  </a:cubicBezTo>
                  <a:cubicBezTo>
                    <a:pt x="4592642" y="576215"/>
                    <a:pt x="4575214" y="558787"/>
                    <a:pt x="4575214" y="537364"/>
                  </a:cubicBezTo>
                  <a:cubicBezTo>
                    <a:pt x="4575214" y="515941"/>
                    <a:pt x="4592642" y="498513"/>
                    <a:pt x="4614065" y="498513"/>
                  </a:cubicBezTo>
                  <a:close/>
                  <a:moveTo>
                    <a:pt x="4768008" y="495970"/>
                  </a:moveTo>
                  <a:cubicBezTo>
                    <a:pt x="4790884" y="495970"/>
                    <a:pt x="4809036" y="514126"/>
                    <a:pt x="4809036" y="536998"/>
                  </a:cubicBezTo>
                  <a:cubicBezTo>
                    <a:pt x="4809036" y="559873"/>
                    <a:pt x="4790522" y="578029"/>
                    <a:pt x="4768008" y="578029"/>
                  </a:cubicBezTo>
                  <a:cubicBezTo>
                    <a:pt x="4745137" y="578029"/>
                    <a:pt x="4726981" y="559873"/>
                    <a:pt x="4726981" y="536998"/>
                  </a:cubicBezTo>
                  <a:cubicBezTo>
                    <a:pt x="4726981" y="514126"/>
                    <a:pt x="4745137" y="495970"/>
                    <a:pt x="4768008" y="495970"/>
                  </a:cubicBezTo>
                  <a:close/>
                  <a:moveTo>
                    <a:pt x="4921594" y="493428"/>
                  </a:moveTo>
                  <a:cubicBezTo>
                    <a:pt x="4945556" y="493428"/>
                    <a:pt x="4965164" y="513032"/>
                    <a:pt x="4965164" y="536998"/>
                  </a:cubicBezTo>
                  <a:cubicBezTo>
                    <a:pt x="4965164" y="560959"/>
                    <a:pt x="4945556" y="580568"/>
                    <a:pt x="4921594" y="580568"/>
                  </a:cubicBezTo>
                  <a:cubicBezTo>
                    <a:pt x="4897628" y="580568"/>
                    <a:pt x="4878024" y="560959"/>
                    <a:pt x="4878024" y="536998"/>
                  </a:cubicBezTo>
                  <a:cubicBezTo>
                    <a:pt x="4878024" y="513032"/>
                    <a:pt x="4897628" y="493428"/>
                    <a:pt x="4921594" y="493428"/>
                  </a:cubicBezTo>
                  <a:close/>
                  <a:moveTo>
                    <a:pt x="5075541" y="490889"/>
                  </a:moveTo>
                  <a:cubicBezTo>
                    <a:pt x="5100955" y="490889"/>
                    <a:pt x="5121654" y="511584"/>
                    <a:pt x="5121654" y="537002"/>
                  </a:cubicBezTo>
                  <a:cubicBezTo>
                    <a:pt x="5121654" y="562416"/>
                    <a:pt x="5100955" y="583110"/>
                    <a:pt x="5075541" y="583110"/>
                  </a:cubicBezTo>
                  <a:cubicBezTo>
                    <a:pt x="5050124" y="583110"/>
                    <a:pt x="5029428" y="562416"/>
                    <a:pt x="5029428" y="537002"/>
                  </a:cubicBezTo>
                  <a:cubicBezTo>
                    <a:pt x="5029428" y="511584"/>
                    <a:pt x="5050124" y="490889"/>
                    <a:pt x="5075541" y="490889"/>
                  </a:cubicBezTo>
                  <a:close/>
                  <a:moveTo>
                    <a:pt x="5229122" y="488709"/>
                  </a:moveTo>
                  <a:cubicBezTo>
                    <a:pt x="5255992" y="488709"/>
                    <a:pt x="5277778" y="510494"/>
                    <a:pt x="5277778" y="537364"/>
                  </a:cubicBezTo>
                  <a:cubicBezTo>
                    <a:pt x="5277778" y="564230"/>
                    <a:pt x="5255992" y="586015"/>
                    <a:pt x="5229122" y="586015"/>
                  </a:cubicBezTo>
                  <a:cubicBezTo>
                    <a:pt x="5202256" y="586015"/>
                    <a:pt x="5180472" y="564230"/>
                    <a:pt x="5180472" y="537364"/>
                  </a:cubicBezTo>
                  <a:cubicBezTo>
                    <a:pt x="5180472" y="510494"/>
                    <a:pt x="5202256" y="488709"/>
                    <a:pt x="5229122" y="488709"/>
                  </a:cubicBezTo>
                  <a:close/>
                  <a:moveTo>
                    <a:pt x="5383074" y="486166"/>
                  </a:moveTo>
                  <a:cubicBezTo>
                    <a:pt x="5411396" y="486166"/>
                    <a:pt x="5434268" y="509041"/>
                    <a:pt x="5434268" y="537360"/>
                  </a:cubicBezTo>
                  <a:cubicBezTo>
                    <a:pt x="5434268" y="565682"/>
                    <a:pt x="5411396" y="588554"/>
                    <a:pt x="5383074" y="588554"/>
                  </a:cubicBezTo>
                  <a:cubicBezTo>
                    <a:pt x="5354755" y="588554"/>
                    <a:pt x="5331880" y="565682"/>
                    <a:pt x="5331880" y="537360"/>
                  </a:cubicBezTo>
                  <a:cubicBezTo>
                    <a:pt x="5331880" y="509041"/>
                    <a:pt x="5354755" y="486166"/>
                    <a:pt x="5383074" y="486166"/>
                  </a:cubicBezTo>
                  <a:close/>
                  <a:moveTo>
                    <a:pt x="5536659" y="483624"/>
                  </a:moveTo>
                  <a:cubicBezTo>
                    <a:pt x="5566068" y="483624"/>
                    <a:pt x="5590034" y="507585"/>
                    <a:pt x="5590034" y="536998"/>
                  </a:cubicBezTo>
                  <a:cubicBezTo>
                    <a:pt x="5590034" y="566407"/>
                    <a:pt x="5566068" y="590372"/>
                    <a:pt x="5536659" y="590372"/>
                  </a:cubicBezTo>
                  <a:cubicBezTo>
                    <a:pt x="5507250" y="590372"/>
                    <a:pt x="5483285" y="566407"/>
                    <a:pt x="5483285" y="536998"/>
                  </a:cubicBezTo>
                  <a:cubicBezTo>
                    <a:pt x="5483285" y="507585"/>
                    <a:pt x="5507250" y="483624"/>
                    <a:pt x="5536659" y="483624"/>
                  </a:cubicBezTo>
                  <a:close/>
                  <a:moveTo>
                    <a:pt x="5690606" y="481085"/>
                  </a:moveTo>
                  <a:cubicBezTo>
                    <a:pt x="5721830" y="481085"/>
                    <a:pt x="5746882" y="506137"/>
                    <a:pt x="5746882" y="537364"/>
                  </a:cubicBezTo>
                  <a:cubicBezTo>
                    <a:pt x="5746882" y="568587"/>
                    <a:pt x="5721830" y="593643"/>
                    <a:pt x="5690606" y="593643"/>
                  </a:cubicBezTo>
                  <a:cubicBezTo>
                    <a:pt x="5659380" y="593643"/>
                    <a:pt x="5634328" y="568587"/>
                    <a:pt x="5634328" y="537364"/>
                  </a:cubicBezTo>
                  <a:cubicBezTo>
                    <a:pt x="5634328" y="506137"/>
                    <a:pt x="5659380" y="481085"/>
                    <a:pt x="5690606" y="481085"/>
                  </a:cubicBezTo>
                  <a:close/>
                  <a:moveTo>
                    <a:pt x="5844554" y="478542"/>
                  </a:moveTo>
                  <a:cubicBezTo>
                    <a:pt x="5877039" y="478542"/>
                    <a:pt x="5903372" y="504875"/>
                    <a:pt x="5903372" y="537364"/>
                  </a:cubicBezTo>
                  <a:cubicBezTo>
                    <a:pt x="5903372" y="569849"/>
                    <a:pt x="5877039" y="596181"/>
                    <a:pt x="5844554" y="596181"/>
                  </a:cubicBezTo>
                  <a:cubicBezTo>
                    <a:pt x="5812065" y="596181"/>
                    <a:pt x="5785732" y="569849"/>
                    <a:pt x="5785732" y="537364"/>
                  </a:cubicBezTo>
                  <a:cubicBezTo>
                    <a:pt x="5785732" y="504875"/>
                    <a:pt x="5812065" y="478542"/>
                    <a:pt x="5844554" y="478542"/>
                  </a:cubicBezTo>
                  <a:close/>
                  <a:moveTo>
                    <a:pt x="5998136" y="475638"/>
                  </a:moveTo>
                  <a:cubicBezTo>
                    <a:pt x="6032225" y="475638"/>
                    <a:pt x="6059862" y="503274"/>
                    <a:pt x="6059862" y="537364"/>
                  </a:cubicBezTo>
                  <a:cubicBezTo>
                    <a:pt x="6059862" y="571450"/>
                    <a:pt x="6032225" y="599086"/>
                    <a:pt x="5998136" y="599086"/>
                  </a:cubicBezTo>
                  <a:cubicBezTo>
                    <a:pt x="5964046" y="599086"/>
                    <a:pt x="5936413" y="571450"/>
                    <a:pt x="5936413" y="537364"/>
                  </a:cubicBezTo>
                  <a:cubicBezTo>
                    <a:pt x="5936413" y="503274"/>
                    <a:pt x="5964046" y="475638"/>
                    <a:pt x="5998136" y="475638"/>
                  </a:cubicBezTo>
                  <a:close/>
                  <a:moveTo>
                    <a:pt x="6152083" y="473095"/>
                  </a:moveTo>
                  <a:cubicBezTo>
                    <a:pt x="6187576" y="473095"/>
                    <a:pt x="6216348" y="501867"/>
                    <a:pt x="6216348" y="537360"/>
                  </a:cubicBezTo>
                  <a:cubicBezTo>
                    <a:pt x="6216348" y="572852"/>
                    <a:pt x="6187576" y="601625"/>
                    <a:pt x="6152083" y="601625"/>
                  </a:cubicBezTo>
                  <a:cubicBezTo>
                    <a:pt x="6116590" y="601625"/>
                    <a:pt x="6087818" y="572852"/>
                    <a:pt x="6087818" y="537360"/>
                  </a:cubicBezTo>
                  <a:cubicBezTo>
                    <a:pt x="6087818" y="501867"/>
                    <a:pt x="6116590" y="473095"/>
                    <a:pt x="6152083" y="473095"/>
                  </a:cubicBezTo>
                  <a:close/>
                  <a:moveTo>
                    <a:pt x="6305672" y="469828"/>
                  </a:moveTo>
                  <a:cubicBezTo>
                    <a:pt x="6342968" y="469828"/>
                    <a:pt x="6373204" y="500064"/>
                    <a:pt x="6373204" y="537364"/>
                  </a:cubicBezTo>
                  <a:cubicBezTo>
                    <a:pt x="6373204" y="574659"/>
                    <a:pt x="6342968" y="604895"/>
                    <a:pt x="6305672" y="604895"/>
                  </a:cubicBezTo>
                  <a:cubicBezTo>
                    <a:pt x="6268372" y="604895"/>
                    <a:pt x="6238136" y="574659"/>
                    <a:pt x="6238136" y="537364"/>
                  </a:cubicBezTo>
                  <a:cubicBezTo>
                    <a:pt x="6238136" y="500064"/>
                    <a:pt x="6268372" y="469828"/>
                    <a:pt x="6305672" y="469828"/>
                  </a:cubicBezTo>
                  <a:close/>
                  <a:moveTo>
                    <a:pt x="6459616" y="467286"/>
                  </a:moveTo>
                  <a:cubicBezTo>
                    <a:pt x="6498318" y="467286"/>
                    <a:pt x="6529694" y="498658"/>
                    <a:pt x="6529694" y="537360"/>
                  </a:cubicBezTo>
                  <a:cubicBezTo>
                    <a:pt x="6529694" y="576062"/>
                    <a:pt x="6498318" y="607434"/>
                    <a:pt x="6459616" y="607434"/>
                  </a:cubicBezTo>
                  <a:cubicBezTo>
                    <a:pt x="6420913" y="607434"/>
                    <a:pt x="6389542" y="576062"/>
                    <a:pt x="6389542" y="537360"/>
                  </a:cubicBezTo>
                  <a:cubicBezTo>
                    <a:pt x="6389542" y="498658"/>
                    <a:pt x="6420913" y="467286"/>
                    <a:pt x="6459616" y="467286"/>
                  </a:cubicBezTo>
                  <a:close/>
                  <a:moveTo>
                    <a:pt x="6613200" y="464381"/>
                  </a:moveTo>
                  <a:cubicBezTo>
                    <a:pt x="6653508" y="464381"/>
                    <a:pt x="6686180" y="497057"/>
                    <a:pt x="6686180" y="537360"/>
                  </a:cubicBezTo>
                  <a:cubicBezTo>
                    <a:pt x="6686180" y="577667"/>
                    <a:pt x="6653508" y="610339"/>
                    <a:pt x="6613200" y="610339"/>
                  </a:cubicBezTo>
                  <a:cubicBezTo>
                    <a:pt x="6572894" y="610339"/>
                    <a:pt x="6540222" y="577667"/>
                    <a:pt x="6540222" y="537360"/>
                  </a:cubicBezTo>
                  <a:cubicBezTo>
                    <a:pt x="6540222" y="497057"/>
                    <a:pt x="6572894" y="464381"/>
                    <a:pt x="6613200" y="464381"/>
                  </a:cubicBezTo>
                  <a:close/>
                  <a:moveTo>
                    <a:pt x="1077266" y="383050"/>
                  </a:moveTo>
                  <a:cubicBezTo>
                    <a:pt x="1077468" y="383050"/>
                    <a:pt x="1077628" y="383214"/>
                    <a:pt x="1077628" y="383412"/>
                  </a:cubicBezTo>
                  <a:cubicBezTo>
                    <a:pt x="1077628" y="383614"/>
                    <a:pt x="1077468" y="383778"/>
                    <a:pt x="1077266" y="383778"/>
                  </a:cubicBezTo>
                  <a:cubicBezTo>
                    <a:pt x="1077068" y="383778"/>
                    <a:pt x="1076904" y="383614"/>
                    <a:pt x="1076904" y="383412"/>
                  </a:cubicBezTo>
                  <a:cubicBezTo>
                    <a:pt x="1076904" y="383214"/>
                    <a:pt x="1077068" y="383050"/>
                    <a:pt x="1077266" y="383050"/>
                  </a:cubicBezTo>
                  <a:close/>
                  <a:moveTo>
                    <a:pt x="616148" y="383050"/>
                  </a:moveTo>
                  <a:cubicBezTo>
                    <a:pt x="616514" y="383050"/>
                    <a:pt x="616514" y="383050"/>
                    <a:pt x="616514" y="383412"/>
                  </a:cubicBezTo>
                  <a:cubicBezTo>
                    <a:pt x="616514" y="383775"/>
                    <a:pt x="616148" y="383775"/>
                    <a:pt x="616148" y="383775"/>
                  </a:cubicBezTo>
                  <a:cubicBezTo>
                    <a:pt x="615786" y="383775"/>
                    <a:pt x="615786" y="383775"/>
                    <a:pt x="615786" y="383412"/>
                  </a:cubicBezTo>
                  <a:cubicBezTo>
                    <a:pt x="615786" y="383050"/>
                    <a:pt x="615786" y="383050"/>
                    <a:pt x="616148" y="383050"/>
                  </a:cubicBezTo>
                  <a:close/>
                  <a:moveTo>
                    <a:pt x="462205" y="383050"/>
                  </a:moveTo>
                  <a:cubicBezTo>
                    <a:pt x="462567" y="383050"/>
                    <a:pt x="462567" y="383050"/>
                    <a:pt x="462567" y="383412"/>
                  </a:cubicBezTo>
                  <a:cubicBezTo>
                    <a:pt x="462567" y="383775"/>
                    <a:pt x="462205" y="383775"/>
                    <a:pt x="462205" y="383775"/>
                  </a:cubicBezTo>
                  <a:cubicBezTo>
                    <a:pt x="461842" y="383775"/>
                    <a:pt x="461842" y="383775"/>
                    <a:pt x="461842" y="383412"/>
                  </a:cubicBezTo>
                  <a:cubicBezTo>
                    <a:pt x="461842" y="383050"/>
                    <a:pt x="461842" y="383050"/>
                    <a:pt x="462205" y="383050"/>
                  </a:cubicBezTo>
                  <a:close/>
                  <a:moveTo>
                    <a:pt x="308623" y="382688"/>
                  </a:moveTo>
                  <a:cubicBezTo>
                    <a:pt x="309023" y="382688"/>
                    <a:pt x="309347" y="383012"/>
                    <a:pt x="309347" y="383416"/>
                  </a:cubicBezTo>
                  <a:cubicBezTo>
                    <a:pt x="309347" y="383817"/>
                    <a:pt x="309023" y="384141"/>
                    <a:pt x="308623" y="384141"/>
                  </a:cubicBezTo>
                  <a:cubicBezTo>
                    <a:pt x="308219" y="384141"/>
                    <a:pt x="307895" y="383817"/>
                    <a:pt x="307895" y="383416"/>
                  </a:cubicBezTo>
                  <a:cubicBezTo>
                    <a:pt x="307895" y="383012"/>
                    <a:pt x="308219" y="382688"/>
                    <a:pt x="308623" y="382688"/>
                  </a:cubicBezTo>
                  <a:close/>
                  <a:moveTo>
                    <a:pt x="1231213" y="381964"/>
                  </a:moveTo>
                  <a:cubicBezTo>
                    <a:pt x="1232014" y="381964"/>
                    <a:pt x="1232666" y="382616"/>
                    <a:pt x="1232666" y="383416"/>
                  </a:cubicBezTo>
                  <a:cubicBezTo>
                    <a:pt x="1232666" y="384217"/>
                    <a:pt x="1232014" y="384869"/>
                    <a:pt x="1231213" y="384869"/>
                  </a:cubicBezTo>
                  <a:cubicBezTo>
                    <a:pt x="1230409" y="384869"/>
                    <a:pt x="1229761" y="384217"/>
                    <a:pt x="1229761" y="383416"/>
                  </a:cubicBezTo>
                  <a:cubicBezTo>
                    <a:pt x="1229761" y="382616"/>
                    <a:pt x="1230409" y="381964"/>
                    <a:pt x="1231213" y="381964"/>
                  </a:cubicBezTo>
                  <a:close/>
                  <a:moveTo>
                    <a:pt x="154672" y="381964"/>
                  </a:moveTo>
                  <a:cubicBezTo>
                    <a:pt x="155396" y="381964"/>
                    <a:pt x="156124" y="382688"/>
                    <a:pt x="156124" y="383416"/>
                  </a:cubicBezTo>
                  <a:lnTo>
                    <a:pt x="155343" y="384197"/>
                  </a:lnTo>
                  <a:lnTo>
                    <a:pt x="153884" y="382752"/>
                  </a:lnTo>
                  <a:close/>
                  <a:moveTo>
                    <a:pt x="1384799" y="381236"/>
                  </a:moveTo>
                  <a:cubicBezTo>
                    <a:pt x="1386003" y="381236"/>
                    <a:pt x="1386979" y="382212"/>
                    <a:pt x="1386979" y="383416"/>
                  </a:cubicBezTo>
                  <a:cubicBezTo>
                    <a:pt x="1386979" y="384617"/>
                    <a:pt x="1386003" y="385593"/>
                    <a:pt x="1384799" y="385593"/>
                  </a:cubicBezTo>
                  <a:cubicBezTo>
                    <a:pt x="1383598" y="385593"/>
                    <a:pt x="1382622" y="384617"/>
                    <a:pt x="1382622" y="383416"/>
                  </a:cubicBezTo>
                  <a:cubicBezTo>
                    <a:pt x="1382622" y="382212"/>
                    <a:pt x="1383598" y="381236"/>
                    <a:pt x="1384799" y="381236"/>
                  </a:cubicBezTo>
                  <a:close/>
                  <a:moveTo>
                    <a:pt x="1538746" y="380508"/>
                  </a:moveTo>
                  <a:cubicBezTo>
                    <a:pt x="1540561" y="380508"/>
                    <a:pt x="1542013" y="381960"/>
                    <a:pt x="1542013" y="383775"/>
                  </a:cubicBezTo>
                  <a:cubicBezTo>
                    <a:pt x="1542013" y="385593"/>
                    <a:pt x="1540561" y="387045"/>
                    <a:pt x="1538746" y="387045"/>
                  </a:cubicBezTo>
                  <a:cubicBezTo>
                    <a:pt x="1536932" y="387045"/>
                    <a:pt x="1535479" y="385593"/>
                    <a:pt x="1535479" y="383775"/>
                  </a:cubicBezTo>
                  <a:cubicBezTo>
                    <a:pt x="1535479" y="381960"/>
                    <a:pt x="1536932" y="380508"/>
                    <a:pt x="1538746" y="380508"/>
                  </a:cubicBezTo>
                  <a:close/>
                  <a:moveTo>
                    <a:pt x="1692331" y="379055"/>
                  </a:moveTo>
                  <a:cubicBezTo>
                    <a:pt x="1694874" y="379055"/>
                    <a:pt x="1696688" y="380870"/>
                    <a:pt x="1696688" y="383412"/>
                  </a:cubicBezTo>
                  <a:cubicBezTo>
                    <a:pt x="1696688" y="385955"/>
                    <a:pt x="1694508" y="387770"/>
                    <a:pt x="1692331" y="387770"/>
                  </a:cubicBezTo>
                  <a:cubicBezTo>
                    <a:pt x="1689789" y="387770"/>
                    <a:pt x="1687974" y="385955"/>
                    <a:pt x="1687974" y="383412"/>
                  </a:cubicBezTo>
                  <a:cubicBezTo>
                    <a:pt x="1687974" y="380870"/>
                    <a:pt x="1689789" y="379055"/>
                    <a:pt x="1692331" y="379055"/>
                  </a:cubicBezTo>
                  <a:close/>
                  <a:moveTo>
                    <a:pt x="1846279" y="377607"/>
                  </a:moveTo>
                  <a:cubicBezTo>
                    <a:pt x="1849488" y="377607"/>
                    <a:pt x="1852088" y="380207"/>
                    <a:pt x="1852088" y="383416"/>
                  </a:cubicBezTo>
                  <a:cubicBezTo>
                    <a:pt x="1852088" y="386626"/>
                    <a:pt x="1849488" y="389226"/>
                    <a:pt x="1846279" y="389226"/>
                  </a:cubicBezTo>
                  <a:cubicBezTo>
                    <a:pt x="1843069" y="389226"/>
                    <a:pt x="1840469" y="386626"/>
                    <a:pt x="1840469" y="383416"/>
                  </a:cubicBezTo>
                  <a:cubicBezTo>
                    <a:pt x="1840469" y="380207"/>
                    <a:pt x="1843069" y="377607"/>
                    <a:pt x="1846279" y="377607"/>
                  </a:cubicBezTo>
                  <a:close/>
                  <a:moveTo>
                    <a:pt x="1999864" y="376151"/>
                  </a:moveTo>
                  <a:cubicBezTo>
                    <a:pt x="2003859" y="376151"/>
                    <a:pt x="2007126" y="379418"/>
                    <a:pt x="2007126" y="383412"/>
                  </a:cubicBezTo>
                  <a:cubicBezTo>
                    <a:pt x="2007126" y="387407"/>
                    <a:pt x="2003859" y="390674"/>
                    <a:pt x="1999864" y="390674"/>
                  </a:cubicBezTo>
                  <a:cubicBezTo>
                    <a:pt x="1995869" y="390674"/>
                    <a:pt x="1992602" y="387407"/>
                    <a:pt x="1992602" y="383412"/>
                  </a:cubicBezTo>
                  <a:cubicBezTo>
                    <a:pt x="1992602" y="379418"/>
                    <a:pt x="1995869" y="376151"/>
                    <a:pt x="1999864" y="376151"/>
                  </a:cubicBezTo>
                  <a:close/>
                  <a:moveTo>
                    <a:pt x="2153808" y="374336"/>
                  </a:moveTo>
                  <a:cubicBezTo>
                    <a:pt x="2158893" y="374336"/>
                    <a:pt x="2162888" y="378331"/>
                    <a:pt x="2162888" y="383412"/>
                  </a:cubicBezTo>
                  <a:cubicBezTo>
                    <a:pt x="2162888" y="388498"/>
                    <a:pt x="2158893" y="392492"/>
                    <a:pt x="2153808" y="392492"/>
                  </a:cubicBezTo>
                  <a:cubicBezTo>
                    <a:pt x="2148726" y="392492"/>
                    <a:pt x="2144731" y="388498"/>
                    <a:pt x="2144731" y="383412"/>
                  </a:cubicBezTo>
                  <a:cubicBezTo>
                    <a:pt x="2144731" y="378331"/>
                    <a:pt x="2148726" y="374336"/>
                    <a:pt x="2153808" y="374336"/>
                  </a:cubicBezTo>
                  <a:close/>
                  <a:moveTo>
                    <a:pt x="2307393" y="373246"/>
                  </a:moveTo>
                  <a:cubicBezTo>
                    <a:pt x="2312840" y="373246"/>
                    <a:pt x="2317559" y="377965"/>
                    <a:pt x="2317559" y="383412"/>
                  </a:cubicBezTo>
                  <a:cubicBezTo>
                    <a:pt x="2317559" y="388860"/>
                    <a:pt x="2313202" y="393579"/>
                    <a:pt x="2307393" y="393579"/>
                  </a:cubicBezTo>
                  <a:cubicBezTo>
                    <a:pt x="2301946" y="393579"/>
                    <a:pt x="2297226" y="388860"/>
                    <a:pt x="2297226" y="383412"/>
                  </a:cubicBezTo>
                  <a:cubicBezTo>
                    <a:pt x="2297226" y="377965"/>
                    <a:pt x="2301946" y="373246"/>
                    <a:pt x="2307393" y="373246"/>
                  </a:cubicBezTo>
                  <a:close/>
                  <a:moveTo>
                    <a:pt x="2461340" y="371432"/>
                  </a:moveTo>
                  <a:cubicBezTo>
                    <a:pt x="2467878" y="371432"/>
                    <a:pt x="2473325" y="376879"/>
                    <a:pt x="2473325" y="383412"/>
                  </a:cubicBezTo>
                  <a:cubicBezTo>
                    <a:pt x="2473325" y="389950"/>
                    <a:pt x="2467878" y="395397"/>
                    <a:pt x="2461340" y="395397"/>
                  </a:cubicBezTo>
                  <a:cubicBezTo>
                    <a:pt x="2454807" y="395397"/>
                    <a:pt x="2449359" y="389950"/>
                    <a:pt x="2449359" y="383412"/>
                  </a:cubicBezTo>
                  <a:cubicBezTo>
                    <a:pt x="2449359" y="376879"/>
                    <a:pt x="2454807" y="371432"/>
                    <a:pt x="2461340" y="371432"/>
                  </a:cubicBezTo>
                  <a:close/>
                  <a:moveTo>
                    <a:pt x="2614925" y="369617"/>
                  </a:moveTo>
                  <a:cubicBezTo>
                    <a:pt x="2622549" y="369617"/>
                    <a:pt x="2628721" y="375789"/>
                    <a:pt x="2628721" y="383416"/>
                  </a:cubicBezTo>
                  <a:cubicBezTo>
                    <a:pt x="2628721" y="391040"/>
                    <a:pt x="2622549" y="397212"/>
                    <a:pt x="2614925" y="397212"/>
                  </a:cubicBezTo>
                  <a:cubicBezTo>
                    <a:pt x="2607298" y="397212"/>
                    <a:pt x="2601126" y="391040"/>
                    <a:pt x="2601126" y="383416"/>
                  </a:cubicBezTo>
                  <a:cubicBezTo>
                    <a:pt x="2601126" y="375789"/>
                    <a:pt x="2607298" y="369617"/>
                    <a:pt x="2614925" y="369617"/>
                  </a:cubicBezTo>
                  <a:close/>
                  <a:moveTo>
                    <a:pt x="2768873" y="368165"/>
                  </a:moveTo>
                  <a:cubicBezTo>
                    <a:pt x="2777297" y="368165"/>
                    <a:pt x="2784124" y="374992"/>
                    <a:pt x="2784124" y="383416"/>
                  </a:cubicBezTo>
                  <a:cubicBezTo>
                    <a:pt x="2784124" y="391837"/>
                    <a:pt x="2777297" y="398664"/>
                    <a:pt x="2768873" y="398664"/>
                  </a:cubicBezTo>
                  <a:cubicBezTo>
                    <a:pt x="2760452" y="398664"/>
                    <a:pt x="2753625" y="391837"/>
                    <a:pt x="2753625" y="383416"/>
                  </a:cubicBezTo>
                  <a:cubicBezTo>
                    <a:pt x="2753625" y="374992"/>
                    <a:pt x="2760452" y="368165"/>
                    <a:pt x="2768873" y="368165"/>
                  </a:cubicBezTo>
                  <a:close/>
                  <a:moveTo>
                    <a:pt x="2922458" y="366350"/>
                  </a:moveTo>
                  <a:cubicBezTo>
                    <a:pt x="2931896" y="366350"/>
                    <a:pt x="2939524" y="373974"/>
                    <a:pt x="2939524" y="383416"/>
                  </a:cubicBezTo>
                  <a:cubicBezTo>
                    <a:pt x="2939524" y="392854"/>
                    <a:pt x="2931896" y="400478"/>
                    <a:pt x="2922458" y="400478"/>
                  </a:cubicBezTo>
                  <a:cubicBezTo>
                    <a:pt x="2913016" y="400478"/>
                    <a:pt x="2905392" y="392854"/>
                    <a:pt x="2905392" y="383416"/>
                  </a:cubicBezTo>
                  <a:cubicBezTo>
                    <a:pt x="2905392" y="373974"/>
                    <a:pt x="2913016" y="366350"/>
                    <a:pt x="2922458" y="366350"/>
                  </a:cubicBezTo>
                  <a:close/>
                  <a:moveTo>
                    <a:pt x="3076406" y="364170"/>
                  </a:moveTo>
                  <a:cubicBezTo>
                    <a:pt x="3087037" y="364170"/>
                    <a:pt x="3095652" y="372785"/>
                    <a:pt x="3095652" y="383412"/>
                  </a:cubicBezTo>
                  <a:cubicBezTo>
                    <a:pt x="3095652" y="394040"/>
                    <a:pt x="3087037" y="402659"/>
                    <a:pt x="3076406" y="402659"/>
                  </a:cubicBezTo>
                  <a:cubicBezTo>
                    <a:pt x="3065778" y="402659"/>
                    <a:pt x="3057163" y="394040"/>
                    <a:pt x="3057163" y="383412"/>
                  </a:cubicBezTo>
                  <a:cubicBezTo>
                    <a:pt x="3057163" y="372785"/>
                    <a:pt x="3065778" y="364170"/>
                    <a:pt x="3076406" y="364170"/>
                  </a:cubicBezTo>
                  <a:close/>
                  <a:moveTo>
                    <a:pt x="3230353" y="361993"/>
                  </a:moveTo>
                  <a:cubicBezTo>
                    <a:pt x="3242181" y="361993"/>
                    <a:pt x="3251776" y="371584"/>
                    <a:pt x="3251776" y="383416"/>
                  </a:cubicBezTo>
                  <a:cubicBezTo>
                    <a:pt x="3251776" y="395245"/>
                    <a:pt x="3242181" y="404839"/>
                    <a:pt x="3230353" y="404839"/>
                  </a:cubicBezTo>
                  <a:cubicBezTo>
                    <a:pt x="3218521" y="404839"/>
                    <a:pt x="3208930" y="395245"/>
                    <a:pt x="3208930" y="383416"/>
                  </a:cubicBezTo>
                  <a:cubicBezTo>
                    <a:pt x="3208930" y="371584"/>
                    <a:pt x="3218521" y="361993"/>
                    <a:pt x="3230353" y="361993"/>
                  </a:cubicBezTo>
                  <a:close/>
                  <a:moveTo>
                    <a:pt x="3383938" y="360541"/>
                  </a:moveTo>
                  <a:cubicBezTo>
                    <a:pt x="3396571" y="360541"/>
                    <a:pt x="3406810" y="370784"/>
                    <a:pt x="3406810" y="383416"/>
                  </a:cubicBezTo>
                  <a:cubicBezTo>
                    <a:pt x="3406810" y="396049"/>
                    <a:pt x="3396571" y="406292"/>
                    <a:pt x="3383938" y="406292"/>
                  </a:cubicBezTo>
                  <a:cubicBezTo>
                    <a:pt x="3371306" y="406292"/>
                    <a:pt x="3361063" y="396049"/>
                    <a:pt x="3361063" y="383416"/>
                  </a:cubicBezTo>
                  <a:cubicBezTo>
                    <a:pt x="3361063" y="370784"/>
                    <a:pt x="3371306" y="360541"/>
                    <a:pt x="3383938" y="360541"/>
                  </a:cubicBezTo>
                  <a:close/>
                  <a:moveTo>
                    <a:pt x="3537882" y="358361"/>
                  </a:moveTo>
                  <a:cubicBezTo>
                    <a:pt x="3551719" y="358361"/>
                    <a:pt x="3562937" y="369579"/>
                    <a:pt x="3562937" y="383412"/>
                  </a:cubicBezTo>
                  <a:cubicBezTo>
                    <a:pt x="3562937" y="397250"/>
                    <a:pt x="3551719" y="408468"/>
                    <a:pt x="3537882" y="408468"/>
                  </a:cubicBezTo>
                  <a:cubicBezTo>
                    <a:pt x="3524048" y="408468"/>
                    <a:pt x="3512830" y="397250"/>
                    <a:pt x="3512830" y="383412"/>
                  </a:cubicBezTo>
                  <a:cubicBezTo>
                    <a:pt x="3512830" y="369575"/>
                    <a:pt x="3524048" y="358361"/>
                    <a:pt x="3537882" y="358361"/>
                  </a:cubicBezTo>
                  <a:close/>
                  <a:moveTo>
                    <a:pt x="3691471" y="356184"/>
                  </a:moveTo>
                  <a:cubicBezTo>
                    <a:pt x="3706509" y="356184"/>
                    <a:pt x="3718699" y="368374"/>
                    <a:pt x="3718699" y="383416"/>
                  </a:cubicBezTo>
                  <a:cubicBezTo>
                    <a:pt x="3718699" y="398454"/>
                    <a:pt x="3706509" y="410648"/>
                    <a:pt x="3691471" y="410648"/>
                  </a:cubicBezTo>
                  <a:cubicBezTo>
                    <a:pt x="3676429" y="410648"/>
                    <a:pt x="3664238" y="398454"/>
                    <a:pt x="3664238" y="383416"/>
                  </a:cubicBezTo>
                  <a:cubicBezTo>
                    <a:pt x="3664238" y="368374"/>
                    <a:pt x="3676429" y="356184"/>
                    <a:pt x="3691471" y="356184"/>
                  </a:cubicBezTo>
                  <a:close/>
                  <a:moveTo>
                    <a:pt x="3845418" y="353642"/>
                  </a:moveTo>
                  <a:cubicBezTo>
                    <a:pt x="3861859" y="353642"/>
                    <a:pt x="3875189" y="366972"/>
                    <a:pt x="3875189" y="383416"/>
                  </a:cubicBezTo>
                  <a:cubicBezTo>
                    <a:pt x="3875189" y="399857"/>
                    <a:pt x="3861859" y="413187"/>
                    <a:pt x="3845418" y="413187"/>
                  </a:cubicBezTo>
                  <a:cubicBezTo>
                    <a:pt x="3828974" y="413187"/>
                    <a:pt x="3815644" y="399857"/>
                    <a:pt x="3815644" y="383416"/>
                  </a:cubicBezTo>
                  <a:cubicBezTo>
                    <a:pt x="3815644" y="366972"/>
                    <a:pt x="3828974" y="353642"/>
                    <a:pt x="3845418" y="353642"/>
                  </a:cubicBezTo>
                  <a:close/>
                  <a:moveTo>
                    <a:pt x="3999000" y="351465"/>
                  </a:moveTo>
                  <a:cubicBezTo>
                    <a:pt x="4016645" y="351465"/>
                    <a:pt x="4030951" y="365771"/>
                    <a:pt x="4030951" y="383416"/>
                  </a:cubicBezTo>
                  <a:cubicBezTo>
                    <a:pt x="4030951" y="401062"/>
                    <a:pt x="4016645" y="415368"/>
                    <a:pt x="3999000" y="415368"/>
                  </a:cubicBezTo>
                  <a:cubicBezTo>
                    <a:pt x="3981354" y="415368"/>
                    <a:pt x="3967048" y="401062"/>
                    <a:pt x="3967048" y="383416"/>
                  </a:cubicBezTo>
                  <a:cubicBezTo>
                    <a:pt x="3967048" y="365771"/>
                    <a:pt x="3981354" y="351465"/>
                    <a:pt x="3999000" y="351465"/>
                  </a:cubicBezTo>
                  <a:close/>
                  <a:moveTo>
                    <a:pt x="4152947" y="349647"/>
                  </a:moveTo>
                  <a:cubicBezTo>
                    <a:pt x="4171595" y="349647"/>
                    <a:pt x="4186716" y="364765"/>
                    <a:pt x="4186716" y="383412"/>
                  </a:cubicBezTo>
                  <a:cubicBezTo>
                    <a:pt x="4186716" y="402064"/>
                    <a:pt x="4171595" y="417182"/>
                    <a:pt x="4152947" y="417182"/>
                  </a:cubicBezTo>
                  <a:cubicBezTo>
                    <a:pt x="4134299" y="417182"/>
                    <a:pt x="4119181" y="402064"/>
                    <a:pt x="4119181" y="383412"/>
                  </a:cubicBezTo>
                  <a:cubicBezTo>
                    <a:pt x="4119181" y="364765"/>
                    <a:pt x="4134299" y="349647"/>
                    <a:pt x="4152947" y="349647"/>
                  </a:cubicBezTo>
                  <a:close/>
                  <a:moveTo>
                    <a:pt x="4306532" y="347108"/>
                  </a:moveTo>
                  <a:cubicBezTo>
                    <a:pt x="4326503" y="347108"/>
                    <a:pt x="4342840" y="363446"/>
                    <a:pt x="4342840" y="383416"/>
                  </a:cubicBezTo>
                  <a:cubicBezTo>
                    <a:pt x="4342840" y="403387"/>
                    <a:pt x="4326503" y="419725"/>
                    <a:pt x="4306532" y="419725"/>
                  </a:cubicBezTo>
                  <a:cubicBezTo>
                    <a:pt x="4286562" y="419725"/>
                    <a:pt x="4270224" y="403387"/>
                    <a:pt x="4270224" y="383416"/>
                  </a:cubicBezTo>
                  <a:cubicBezTo>
                    <a:pt x="4270224" y="363446"/>
                    <a:pt x="4286562" y="347108"/>
                    <a:pt x="4306532" y="347108"/>
                  </a:cubicBezTo>
                  <a:close/>
                  <a:moveTo>
                    <a:pt x="4460480" y="344565"/>
                  </a:moveTo>
                  <a:cubicBezTo>
                    <a:pt x="4481902" y="344565"/>
                    <a:pt x="4499326" y="361993"/>
                    <a:pt x="4499326" y="383416"/>
                  </a:cubicBezTo>
                  <a:cubicBezTo>
                    <a:pt x="4499326" y="404835"/>
                    <a:pt x="4481902" y="422267"/>
                    <a:pt x="4460480" y="422267"/>
                  </a:cubicBezTo>
                  <a:cubicBezTo>
                    <a:pt x="4439057" y="422267"/>
                    <a:pt x="4421629" y="404835"/>
                    <a:pt x="4421629" y="383416"/>
                  </a:cubicBezTo>
                  <a:cubicBezTo>
                    <a:pt x="4421629" y="361993"/>
                    <a:pt x="4439057" y="344565"/>
                    <a:pt x="4460480" y="344565"/>
                  </a:cubicBezTo>
                  <a:close/>
                  <a:moveTo>
                    <a:pt x="4614061" y="342385"/>
                  </a:moveTo>
                  <a:cubicBezTo>
                    <a:pt x="4636936" y="342385"/>
                    <a:pt x="4655092" y="360541"/>
                    <a:pt x="4655092" y="383412"/>
                  </a:cubicBezTo>
                  <a:cubicBezTo>
                    <a:pt x="4655092" y="406288"/>
                    <a:pt x="4636574" y="424440"/>
                    <a:pt x="4614061" y="424440"/>
                  </a:cubicBezTo>
                  <a:cubicBezTo>
                    <a:pt x="4591190" y="424440"/>
                    <a:pt x="4573034" y="406288"/>
                    <a:pt x="4573034" y="383412"/>
                  </a:cubicBezTo>
                  <a:cubicBezTo>
                    <a:pt x="4573034" y="360541"/>
                    <a:pt x="4591190" y="342385"/>
                    <a:pt x="4614061" y="342385"/>
                  </a:cubicBezTo>
                  <a:close/>
                  <a:moveTo>
                    <a:pt x="4768008" y="339842"/>
                  </a:moveTo>
                  <a:cubicBezTo>
                    <a:pt x="4791974" y="339842"/>
                    <a:pt x="4811578" y="359447"/>
                    <a:pt x="4811578" y="383412"/>
                  </a:cubicBezTo>
                  <a:cubicBezTo>
                    <a:pt x="4811578" y="407378"/>
                    <a:pt x="4791974" y="426982"/>
                    <a:pt x="4768008" y="426982"/>
                  </a:cubicBezTo>
                  <a:cubicBezTo>
                    <a:pt x="4744047" y="426982"/>
                    <a:pt x="4724438" y="407378"/>
                    <a:pt x="4724438" y="383412"/>
                  </a:cubicBezTo>
                  <a:cubicBezTo>
                    <a:pt x="4724438" y="359447"/>
                    <a:pt x="4744047" y="339842"/>
                    <a:pt x="4768008" y="339842"/>
                  </a:cubicBezTo>
                  <a:close/>
                  <a:moveTo>
                    <a:pt x="4921598" y="337304"/>
                  </a:moveTo>
                  <a:cubicBezTo>
                    <a:pt x="4947012" y="337304"/>
                    <a:pt x="4967710" y="357998"/>
                    <a:pt x="4967710" y="383416"/>
                  </a:cubicBezTo>
                  <a:cubicBezTo>
                    <a:pt x="4967710" y="408830"/>
                    <a:pt x="4947012" y="429529"/>
                    <a:pt x="4921598" y="429529"/>
                  </a:cubicBezTo>
                  <a:cubicBezTo>
                    <a:pt x="4896180" y="429529"/>
                    <a:pt x="4875485" y="408830"/>
                    <a:pt x="4875485" y="383416"/>
                  </a:cubicBezTo>
                  <a:cubicBezTo>
                    <a:pt x="4875485" y="357998"/>
                    <a:pt x="4896180" y="337304"/>
                    <a:pt x="4921598" y="337304"/>
                  </a:cubicBezTo>
                  <a:close/>
                  <a:moveTo>
                    <a:pt x="5075545" y="334761"/>
                  </a:moveTo>
                  <a:cubicBezTo>
                    <a:pt x="5102412" y="334761"/>
                    <a:pt x="5124196" y="356546"/>
                    <a:pt x="5124196" y="383416"/>
                  </a:cubicBezTo>
                  <a:cubicBezTo>
                    <a:pt x="5124196" y="410283"/>
                    <a:pt x="5102412" y="432068"/>
                    <a:pt x="5075545" y="432068"/>
                  </a:cubicBezTo>
                  <a:cubicBezTo>
                    <a:pt x="5048675" y="432068"/>
                    <a:pt x="5026890" y="410283"/>
                    <a:pt x="5026890" y="383416"/>
                  </a:cubicBezTo>
                  <a:cubicBezTo>
                    <a:pt x="5026890" y="356546"/>
                    <a:pt x="5048675" y="334761"/>
                    <a:pt x="5075545" y="334761"/>
                  </a:cubicBezTo>
                  <a:close/>
                  <a:moveTo>
                    <a:pt x="5229126" y="332219"/>
                  </a:moveTo>
                  <a:cubicBezTo>
                    <a:pt x="5257449" y="332219"/>
                    <a:pt x="5280324" y="355094"/>
                    <a:pt x="5280324" y="383412"/>
                  </a:cubicBezTo>
                  <a:cubicBezTo>
                    <a:pt x="5280324" y="411735"/>
                    <a:pt x="5257449" y="434610"/>
                    <a:pt x="5229126" y="434610"/>
                  </a:cubicBezTo>
                  <a:cubicBezTo>
                    <a:pt x="5200808" y="434610"/>
                    <a:pt x="5177932" y="411735"/>
                    <a:pt x="5177932" y="383412"/>
                  </a:cubicBezTo>
                  <a:cubicBezTo>
                    <a:pt x="5177932" y="355094"/>
                    <a:pt x="5200808" y="332219"/>
                    <a:pt x="5229126" y="332219"/>
                  </a:cubicBezTo>
                  <a:close/>
                  <a:moveTo>
                    <a:pt x="5383074" y="330042"/>
                  </a:moveTo>
                  <a:cubicBezTo>
                    <a:pt x="5412482" y="330042"/>
                    <a:pt x="5436448" y="354004"/>
                    <a:pt x="5436448" y="383416"/>
                  </a:cubicBezTo>
                  <a:cubicBezTo>
                    <a:pt x="5436448" y="412825"/>
                    <a:pt x="5412482" y="436787"/>
                    <a:pt x="5383074" y="436787"/>
                  </a:cubicBezTo>
                  <a:cubicBezTo>
                    <a:pt x="5353661" y="436787"/>
                    <a:pt x="5329700" y="412825"/>
                    <a:pt x="5329700" y="383416"/>
                  </a:cubicBezTo>
                  <a:cubicBezTo>
                    <a:pt x="5329700" y="354004"/>
                    <a:pt x="5353661" y="330042"/>
                    <a:pt x="5383074" y="330042"/>
                  </a:cubicBezTo>
                  <a:close/>
                  <a:moveTo>
                    <a:pt x="5536659" y="327137"/>
                  </a:moveTo>
                  <a:cubicBezTo>
                    <a:pt x="5567886" y="327137"/>
                    <a:pt x="5592938" y="352189"/>
                    <a:pt x="5592938" y="383416"/>
                  </a:cubicBezTo>
                  <a:cubicBezTo>
                    <a:pt x="5592938" y="414640"/>
                    <a:pt x="5567886" y="439691"/>
                    <a:pt x="5536659" y="439691"/>
                  </a:cubicBezTo>
                  <a:cubicBezTo>
                    <a:pt x="5505432" y="439691"/>
                    <a:pt x="5480380" y="414640"/>
                    <a:pt x="5480380" y="383416"/>
                  </a:cubicBezTo>
                  <a:cubicBezTo>
                    <a:pt x="5480380" y="352189"/>
                    <a:pt x="5505432" y="327137"/>
                    <a:pt x="5536659" y="327137"/>
                  </a:cubicBezTo>
                  <a:close/>
                  <a:moveTo>
                    <a:pt x="5690606" y="324595"/>
                  </a:moveTo>
                  <a:cubicBezTo>
                    <a:pt x="5723092" y="324595"/>
                    <a:pt x="5749424" y="350927"/>
                    <a:pt x="5749424" y="383416"/>
                  </a:cubicBezTo>
                  <a:cubicBezTo>
                    <a:pt x="5749424" y="415901"/>
                    <a:pt x="5723092" y="442234"/>
                    <a:pt x="5690606" y="442234"/>
                  </a:cubicBezTo>
                  <a:cubicBezTo>
                    <a:pt x="5658118" y="442234"/>
                    <a:pt x="5631785" y="415901"/>
                    <a:pt x="5631785" y="383416"/>
                  </a:cubicBezTo>
                  <a:cubicBezTo>
                    <a:pt x="5631785" y="350927"/>
                    <a:pt x="5658118" y="324595"/>
                    <a:pt x="5690606" y="324595"/>
                  </a:cubicBezTo>
                  <a:close/>
                  <a:moveTo>
                    <a:pt x="5844554" y="321690"/>
                  </a:moveTo>
                  <a:cubicBezTo>
                    <a:pt x="5878644" y="321690"/>
                    <a:pt x="5906276" y="349326"/>
                    <a:pt x="5906276" y="383416"/>
                  </a:cubicBezTo>
                  <a:cubicBezTo>
                    <a:pt x="5906276" y="417502"/>
                    <a:pt x="5878644" y="445139"/>
                    <a:pt x="5844554" y="445139"/>
                  </a:cubicBezTo>
                  <a:cubicBezTo>
                    <a:pt x="5810460" y="445139"/>
                    <a:pt x="5782828" y="417502"/>
                    <a:pt x="5782828" y="383416"/>
                  </a:cubicBezTo>
                  <a:cubicBezTo>
                    <a:pt x="5782828" y="349326"/>
                    <a:pt x="5810460" y="321690"/>
                    <a:pt x="5844554" y="321690"/>
                  </a:cubicBezTo>
                  <a:close/>
                  <a:moveTo>
                    <a:pt x="5998136" y="319148"/>
                  </a:moveTo>
                  <a:cubicBezTo>
                    <a:pt x="6033628" y="319148"/>
                    <a:pt x="6062404" y="347920"/>
                    <a:pt x="6062404" y="383412"/>
                  </a:cubicBezTo>
                  <a:cubicBezTo>
                    <a:pt x="6062404" y="418905"/>
                    <a:pt x="6033628" y="447681"/>
                    <a:pt x="5998136" y="447681"/>
                  </a:cubicBezTo>
                  <a:cubicBezTo>
                    <a:pt x="5962643" y="447681"/>
                    <a:pt x="5933870" y="418905"/>
                    <a:pt x="5933870" y="383412"/>
                  </a:cubicBezTo>
                  <a:cubicBezTo>
                    <a:pt x="5933870" y="347920"/>
                    <a:pt x="5962643" y="319148"/>
                    <a:pt x="5998136" y="319148"/>
                  </a:cubicBezTo>
                  <a:close/>
                  <a:moveTo>
                    <a:pt x="6152086" y="315881"/>
                  </a:moveTo>
                  <a:cubicBezTo>
                    <a:pt x="6189382" y="315881"/>
                    <a:pt x="6219618" y="346117"/>
                    <a:pt x="6219618" y="383416"/>
                  </a:cubicBezTo>
                  <a:cubicBezTo>
                    <a:pt x="6219618" y="420712"/>
                    <a:pt x="6189382" y="450948"/>
                    <a:pt x="6152086" y="450948"/>
                  </a:cubicBezTo>
                  <a:cubicBezTo>
                    <a:pt x="6114791" y="450948"/>
                    <a:pt x="6084551" y="420712"/>
                    <a:pt x="6084551" y="383416"/>
                  </a:cubicBezTo>
                  <a:cubicBezTo>
                    <a:pt x="6084551" y="346117"/>
                    <a:pt x="6114791" y="315881"/>
                    <a:pt x="6152086" y="315881"/>
                  </a:cubicBezTo>
                  <a:close/>
                  <a:moveTo>
                    <a:pt x="6305668" y="313338"/>
                  </a:moveTo>
                  <a:cubicBezTo>
                    <a:pt x="6344370" y="313338"/>
                    <a:pt x="6375746" y="344710"/>
                    <a:pt x="6375746" y="383412"/>
                  </a:cubicBezTo>
                  <a:cubicBezTo>
                    <a:pt x="6375746" y="422115"/>
                    <a:pt x="6344370" y="453490"/>
                    <a:pt x="6305668" y="453490"/>
                  </a:cubicBezTo>
                  <a:cubicBezTo>
                    <a:pt x="6266970" y="453490"/>
                    <a:pt x="6235594" y="422115"/>
                    <a:pt x="6235594" y="383412"/>
                  </a:cubicBezTo>
                  <a:cubicBezTo>
                    <a:pt x="6235594" y="344710"/>
                    <a:pt x="6266970" y="313338"/>
                    <a:pt x="6305668" y="313338"/>
                  </a:cubicBezTo>
                  <a:close/>
                  <a:moveTo>
                    <a:pt x="6459616" y="310434"/>
                  </a:moveTo>
                  <a:cubicBezTo>
                    <a:pt x="6499922" y="310434"/>
                    <a:pt x="6532598" y="343109"/>
                    <a:pt x="6532598" y="383412"/>
                  </a:cubicBezTo>
                  <a:cubicBezTo>
                    <a:pt x="6532598" y="423719"/>
                    <a:pt x="6499922" y="456395"/>
                    <a:pt x="6459616" y="456395"/>
                  </a:cubicBezTo>
                  <a:cubicBezTo>
                    <a:pt x="6419312" y="456395"/>
                    <a:pt x="6386636" y="423719"/>
                    <a:pt x="6386636" y="383412"/>
                  </a:cubicBezTo>
                  <a:cubicBezTo>
                    <a:pt x="6386636" y="343109"/>
                    <a:pt x="6419312" y="310434"/>
                    <a:pt x="6459616" y="310434"/>
                  </a:cubicBezTo>
                  <a:close/>
                  <a:moveTo>
                    <a:pt x="6613200" y="307891"/>
                  </a:moveTo>
                  <a:cubicBezTo>
                    <a:pt x="6654956" y="307891"/>
                    <a:pt x="6688722" y="341657"/>
                    <a:pt x="6688722" y="383412"/>
                  </a:cubicBezTo>
                  <a:cubicBezTo>
                    <a:pt x="6688722" y="425168"/>
                    <a:pt x="6654956" y="458934"/>
                    <a:pt x="6613200" y="458934"/>
                  </a:cubicBezTo>
                  <a:cubicBezTo>
                    <a:pt x="6571449" y="458934"/>
                    <a:pt x="6537680" y="425168"/>
                    <a:pt x="6537680" y="383412"/>
                  </a:cubicBezTo>
                  <a:cubicBezTo>
                    <a:pt x="6537680" y="341657"/>
                    <a:pt x="6571449" y="307891"/>
                    <a:pt x="6613200" y="307891"/>
                  </a:cubicBezTo>
                  <a:close/>
                  <a:moveTo>
                    <a:pt x="923681" y="229469"/>
                  </a:moveTo>
                  <a:cubicBezTo>
                    <a:pt x="924043" y="229469"/>
                    <a:pt x="924043" y="229469"/>
                    <a:pt x="924043" y="229831"/>
                  </a:cubicBezTo>
                  <a:cubicBezTo>
                    <a:pt x="924043" y="230193"/>
                    <a:pt x="923681" y="230193"/>
                    <a:pt x="923681" y="230193"/>
                  </a:cubicBezTo>
                  <a:cubicBezTo>
                    <a:pt x="923319" y="230193"/>
                    <a:pt x="923319" y="230193"/>
                    <a:pt x="923319" y="229831"/>
                  </a:cubicBezTo>
                  <a:cubicBezTo>
                    <a:pt x="923319" y="229469"/>
                    <a:pt x="923319" y="229469"/>
                    <a:pt x="923681" y="229469"/>
                  </a:cubicBezTo>
                  <a:close/>
                  <a:moveTo>
                    <a:pt x="462205" y="229469"/>
                  </a:moveTo>
                  <a:cubicBezTo>
                    <a:pt x="462567" y="229469"/>
                    <a:pt x="462567" y="229469"/>
                    <a:pt x="462567" y="229831"/>
                  </a:cubicBezTo>
                  <a:cubicBezTo>
                    <a:pt x="462567" y="230193"/>
                    <a:pt x="462205" y="230193"/>
                    <a:pt x="462205" y="230193"/>
                  </a:cubicBezTo>
                  <a:cubicBezTo>
                    <a:pt x="461842" y="230193"/>
                    <a:pt x="461842" y="230193"/>
                    <a:pt x="461842" y="229831"/>
                  </a:cubicBezTo>
                  <a:cubicBezTo>
                    <a:pt x="461842" y="229469"/>
                    <a:pt x="461842" y="229469"/>
                    <a:pt x="462205" y="229469"/>
                  </a:cubicBezTo>
                  <a:close/>
                  <a:moveTo>
                    <a:pt x="308257" y="229469"/>
                  </a:moveTo>
                  <a:cubicBezTo>
                    <a:pt x="308619" y="229469"/>
                    <a:pt x="308619" y="229469"/>
                    <a:pt x="308619" y="229831"/>
                  </a:cubicBezTo>
                  <a:cubicBezTo>
                    <a:pt x="308619" y="230193"/>
                    <a:pt x="308257" y="230193"/>
                    <a:pt x="308257" y="230193"/>
                  </a:cubicBezTo>
                  <a:cubicBezTo>
                    <a:pt x="307895" y="230193"/>
                    <a:pt x="307895" y="230193"/>
                    <a:pt x="307895" y="229831"/>
                  </a:cubicBezTo>
                  <a:cubicBezTo>
                    <a:pt x="307895" y="229469"/>
                    <a:pt x="307895" y="229469"/>
                    <a:pt x="308257" y="229469"/>
                  </a:cubicBezTo>
                  <a:close/>
                  <a:moveTo>
                    <a:pt x="154676" y="229103"/>
                  </a:moveTo>
                  <a:cubicBezTo>
                    <a:pt x="155076" y="229103"/>
                    <a:pt x="155400" y="229427"/>
                    <a:pt x="155400" y="229827"/>
                  </a:cubicBezTo>
                  <a:cubicBezTo>
                    <a:pt x="155400" y="230231"/>
                    <a:pt x="155076" y="230555"/>
                    <a:pt x="154676" y="230555"/>
                  </a:cubicBezTo>
                  <a:cubicBezTo>
                    <a:pt x="154272" y="230555"/>
                    <a:pt x="153948" y="230231"/>
                    <a:pt x="153948" y="229827"/>
                  </a:cubicBezTo>
                  <a:cubicBezTo>
                    <a:pt x="153948" y="229427"/>
                    <a:pt x="154272" y="229103"/>
                    <a:pt x="154676" y="229103"/>
                  </a:cubicBezTo>
                  <a:close/>
                  <a:moveTo>
                    <a:pt x="725" y="229103"/>
                  </a:moveTo>
                  <a:cubicBezTo>
                    <a:pt x="1090" y="229103"/>
                    <a:pt x="1453" y="229465"/>
                    <a:pt x="1453" y="229827"/>
                  </a:cubicBezTo>
                  <a:cubicBezTo>
                    <a:pt x="1453" y="230193"/>
                    <a:pt x="725" y="230555"/>
                    <a:pt x="725" y="230555"/>
                  </a:cubicBezTo>
                  <a:cubicBezTo>
                    <a:pt x="362" y="230555"/>
                    <a:pt x="0" y="230193"/>
                    <a:pt x="0" y="229827"/>
                  </a:cubicBezTo>
                  <a:cubicBezTo>
                    <a:pt x="0" y="229465"/>
                    <a:pt x="362" y="229103"/>
                    <a:pt x="725" y="229103"/>
                  </a:cubicBezTo>
                  <a:close/>
                  <a:moveTo>
                    <a:pt x="1077266" y="228379"/>
                  </a:moveTo>
                  <a:cubicBezTo>
                    <a:pt x="1078067" y="228379"/>
                    <a:pt x="1078718" y="229031"/>
                    <a:pt x="1078718" y="229831"/>
                  </a:cubicBezTo>
                  <a:cubicBezTo>
                    <a:pt x="1078718" y="230631"/>
                    <a:pt x="1078067" y="231283"/>
                    <a:pt x="1077266" y="231283"/>
                  </a:cubicBezTo>
                  <a:cubicBezTo>
                    <a:pt x="1076462" y="231283"/>
                    <a:pt x="1075814" y="230631"/>
                    <a:pt x="1075814" y="229831"/>
                  </a:cubicBezTo>
                  <a:cubicBezTo>
                    <a:pt x="1075814" y="229031"/>
                    <a:pt x="1076462" y="228379"/>
                    <a:pt x="1077266" y="228379"/>
                  </a:cubicBezTo>
                  <a:close/>
                  <a:moveTo>
                    <a:pt x="1231217" y="227651"/>
                  </a:moveTo>
                  <a:cubicBezTo>
                    <a:pt x="1232418" y="227651"/>
                    <a:pt x="1233394" y="228626"/>
                    <a:pt x="1233394" y="229827"/>
                  </a:cubicBezTo>
                  <a:cubicBezTo>
                    <a:pt x="1233394" y="231032"/>
                    <a:pt x="1232418" y="232008"/>
                    <a:pt x="1231217" y="232008"/>
                  </a:cubicBezTo>
                  <a:cubicBezTo>
                    <a:pt x="1230013" y="232008"/>
                    <a:pt x="1229037" y="231032"/>
                    <a:pt x="1229037" y="229827"/>
                  </a:cubicBezTo>
                  <a:cubicBezTo>
                    <a:pt x="1229037" y="228626"/>
                    <a:pt x="1230013" y="227651"/>
                    <a:pt x="1231217" y="227651"/>
                  </a:cubicBezTo>
                  <a:close/>
                  <a:moveTo>
                    <a:pt x="1384799" y="226560"/>
                  </a:moveTo>
                  <a:cubicBezTo>
                    <a:pt x="1386617" y="226560"/>
                    <a:pt x="1388069" y="228013"/>
                    <a:pt x="1388069" y="229827"/>
                  </a:cubicBezTo>
                  <a:cubicBezTo>
                    <a:pt x="1388069" y="231645"/>
                    <a:pt x="1386617" y="233098"/>
                    <a:pt x="1384799" y="233098"/>
                  </a:cubicBezTo>
                  <a:cubicBezTo>
                    <a:pt x="1382984" y="233098"/>
                    <a:pt x="1381532" y="231645"/>
                    <a:pt x="1381532" y="229827"/>
                  </a:cubicBezTo>
                  <a:cubicBezTo>
                    <a:pt x="1381532" y="228013"/>
                    <a:pt x="1382984" y="226560"/>
                    <a:pt x="1384799" y="226560"/>
                  </a:cubicBezTo>
                  <a:close/>
                  <a:moveTo>
                    <a:pt x="1538746" y="225108"/>
                  </a:moveTo>
                  <a:cubicBezTo>
                    <a:pt x="1541285" y="225108"/>
                    <a:pt x="1543103" y="226923"/>
                    <a:pt x="1543103" y="229465"/>
                  </a:cubicBezTo>
                  <a:cubicBezTo>
                    <a:pt x="1543103" y="232008"/>
                    <a:pt x="1540923" y="233822"/>
                    <a:pt x="1538746" y="233822"/>
                  </a:cubicBezTo>
                  <a:cubicBezTo>
                    <a:pt x="1536204" y="233822"/>
                    <a:pt x="1534389" y="232008"/>
                    <a:pt x="1534389" y="229465"/>
                  </a:cubicBezTo>
                  <a:cubicBezTo>
                    <a:pt x="1534389" y="226923"/>
                    <a:pt x="1536204" y="225108"/>
                    <a:pt x="1538746" y="225108"/>
                  </a:cubicBezTo>
                  <a:close/>
                  <a:moveTo>
                    <a:pt x="1692331" y="224022"/>
                  </a:moveTo>
                  <a:cubicBezTo>
                    <a:pt x="1695541" y="224022"/>
                    <a:pt x="1698141" y="226621"/>
                    <a:pt x="1698141" y="229831"/>
                  </a:cubicBezTo>
                  <a:cubicBezTo>
                    <a:pt x="1698141" y="233041"/>
                    <a:pt x="1695541" y="235640"/>
                    <a:pt x="1692331" y="235640"/>
                  </a:cubicBezTo>
                  <a:cubicBezTo>
                    <a:pt x="1689122" y="235640"/>
                    <a:pt x="1686522" y="233041"/>
                    <a:pt x="1686522" y="229831"/>
                  </a:cubicBezTo>
                  <a:cubicBezTo>
                    <a:pt x="1686522" y="226621"/>
                    <a:pt x="1689122" y="224022"/>
                    <a:pt x="1692331" y="224022"/>
                  </a:cubicBezTo>
                  <a:close/>
                  <a:moveTo>
                    <a:pt x="1846279" y="222569"/>
                  </a:moveTo>
                  <a:cubicBezTo>
                    <a:pt x="1850274" y="222569"/>
                    <a:pt x="1853540" y="225836"/>
                    <a:pt x="1853540" y="229831"/>
                  </a:cubicBezTo>
                  <a:cubicBezTo>
                    <a:pt x="1853540" y="233826"/>
                    <a:pt x="1850274" y="237093"/>
                    <a:pt x="1846279" y="237093"/>
                  </a:cubicBezTo>
                  <a:cubicBezTo>
                    <a:pt x="1842284" y="237093"/>
                    <a:pt x="1839017" y="233826"/>
                    <a:pt x="1839017" y="229831"/>
                  </a:cubicBezTo>
                  <a:cubicBezTo>
                    <a:pt x="1839017" y="225836"/>
                    <a:pt x="1842284" y="222569"/>
                    <a:pt x="1846279" y="222569"/>
                  </a:cubicBezTo>
                  <a:close/>
                  <a:moveTo>
                    <a:pt x="1999860" y="220389"/>
                  </a:moveTo>
                  <a:cubicBezTo>
                    <a:pt x="2004945" y="220389"/>
                    <a:pt x="2008940" y="224384"/>
                    <a:pt x="2008940" y="229465"/>
                  </a:cubicBezTo>
                  <a:cubicBezTo>
                    <a:pt x="2008940" y="234550"/>
                    <a:pt x="2004945" y="238545"/>
                    <a:pt x="1999860" y="238545"/>
                  </a:cubicBezTo>
                  <a:cubicBezTo>
                    <a:pt x="1994779" y="238545"/>
                    <a:pt x="1990784" y="234550"/>
                    <a:pt x="1990784" y="229465"/>
                  </a:cubicBezTo>
                  <a:cubicBezTo>
                    <a:pt x="1990784" y="224384"/>
                    <a:pt x="1994779" y="220389"/>
                    <a:pt x="1999860" y="220389"/>
                  </a:cubicBezTo>
                  <a:close/>
                  <a:moveTo>
                    <a:pt x="2153811" y="219665"/>
                  </a:moveTo>
                  <a:cubicBezTo>
                    <a:pt x="2159259" y="219665"/>
                    <a:pt x="2163978" y="224384"/>
                    <a:pt x="2163978" y="229831"/>
                  </a:cubicBezTo>
                  <a:cubicBezTo>
                    <a:pt x="2163978" y="235278"/>
                    <a:pt x="2159621" y="239997"/>
                    <a:pt x="2153811" y="239997"/>
                  </a:cubicBezTo>
                  <a:cubicBezTo>
                    <a:pt x="2148364" y="239997"/>
                    <a:pt x="2143645" y="235278"/>
                    <a:pt x="2143645" y="229831"/>
                  </a:cubicBezTo>
                  <a:cubicBezTo>
                    <a:pt x="2143645" y="224384"/>
                    <a:pt x="2148364" y="219665"/>
                    <a:pt x="2153811" y="219665"/>
                  </a:cubicBezTo>
                  <a:close/>
                  <a:moveTo>
                    <a:pt x="2307393" y="217484"/>
                  </a:moveTo>
                  <a:cubicBezTo>
                    <a:pt x="2313930" y="217484"/>
                    <a:pt x="2319377" y="222931"/>
                    <a:pt x="2319377" y="229465"/>
                  </a:cubicBezTo>
                  <a:cubicBezTo>
                    <a:pt x="2319377" y="236002"/>
                    <a:pt x="2313930" y="241450"/>
                    <a:pt x="2307393" y="241450"/>
                  </a:cubicBezTo>
                  <a:cubicBezTo>
                    <a:pt x="2300859" y="241450"/>
                    <a:pt x="2295412" y="236002"/>
                    <a:pt x="2295412" y="229465"/>
                  </a:cubicBezTo>
                  <a:cubicBezTo>
                    <a:pt x="2295412" y="222931"/>
                    <a:pt x="2300859" y="217484"/>
                    <a:pt x="2307393" y="217484"/>
                  </a:cubicBezTo>
                  <a:close/>
                  <a:moveTo>
                    <a:pt x="2461344" y="215670"/>
                  </a:moveTo>
                  <a:cubicBezTo>
                    <a:pt x="2468968" y="215670"/>
                    <a:pt x="2475139" y="221841"/>
                    <a:pt x="2475139" y="229469"/>
                  </a:cubicBezTo>
                  <a:cubicBezTo>
                    <a:pt x="2475139" y="237093"/>
                    <a:pt x="2468968" y="243264"/>
                    <a:pt x="2461344" y="243264"/>
                  </a:cubicBezTo>
                  <a:cubicBezTo>
                    <a:pt x="2453716" y="243264"/>
                    <a:pt x="2447545" y="237093"/>
                    <a:pt x="2447545" y="229469"/>
                  </a:cubicBezTo>
                  <a:cubicBezTo>
                    <a:pt x="2447545" y="221841"/>
                    <a:pt x="2453716" y="215670"/>
                    <a:pt x="2461344" y="215670"/>
                  </a:cubicBezTo>
                  <a:close/>
                  <a:moveTo>
                    <a:pt x="2614925" y="214580"/>
                  </a:moveTo>
                  <a:cubicBezTo>
                    <a:pt x="2623350" y="214580"/>
                    <a:pt x="2630177" y="221407"/>
                    <a:pt x="2630177" y="229827"/>
                  </a:cubicBezTo>
                  <a:cubicBezTo>
                    <a:pt x="2630177" y="238252"/>
                    <a:pt x="2623350" y="245079"/>
                    <a:pt x="2614925" y="245079"/>
                  </a:cubicBezTo>
                  <a:cubicBezTo>
                    <a:pt x="2606505" y="245079"/>
                    <a:pt x="2599678" y="238252"/>
                    <a:pt x="2599678" y="229827"/>
                  </a:cubicBezTo>
                  <a:cubicBezTo>
                    <a:pt x="2599678" y="221407"/>
                    <a:pt x="2606505" y="214580"/>
                    <a:pt x="2614925" y="214580"/>
                  </a:cubicBezTo>
                  <a:close/>
                  <a:moveTo>
                    <a:pt x="2768873" y="212765"/>
                  </a:moveTo>
                  <a:cubicBezTo>
                    <a:pt x="2778311" y="212765"/>
                    <a:pt x="2785939" y="220389"/>
                    <a:pt x="2785939" y="229831"/>
                  </a:cubicBezTo>
                  <a:cubicBezTo>
                    <a:pt x="2785939" y="239269"/>
                    <a:pt x="2778311" y="246897"/>
                    <a:pt x="2768873" y="246897"/>
                  </a:cubicBezTo>
                  <a:cubicBezTo>
                    <a:pt x="2759431" y="246897"/>
                    <a:pt x="2751807" y="239269"/>
                    <a:pt x="2751807" y="229831"/>
                  </a:cubicBezTo>
                  <a:cubicBezTo>
                    <a:pt x="2751807" y="220389"/>
                    <a:pt x="2759431" y="212765"/>
                    <a:pt x="2768873" y="212765"/>
                  </a:cubicBezTo>
                  <a:close/>
                  <a:moveTo>
                    <a:pt x="2922458" y="210589"/>
                  </a:moveTo>
                  <a:cubicBezTo>
                    <a:pt x="2933086" y="210589"/>
                    <a:pt x="2941700" y="219203"/>
                    <a:pt x="2941700" y="229831"/>
                  </a:cubicBezTo>
                  <a:cubicBezTo>
                    <a:pt x="2941700" y="240459"/>
                    <a:pt x="2933086" y="249077"/>
                    <a:pt x="2922458" y="249077"/>
                  </a:cubicBezTo>
                  <a:cubicBezTo>
                    <a:pt x="2911830" y="249077"/>
                    <a:pt x="2903216" y="240459"/>
                    <a:pt x="2903216" y="229831"/>
                  </a:cubicBezTo>
                  <a:cubicBezTo>
                    <a:pt x="2903216" y="219203"/>
                    <a:pt x="2911830" y="210589"/>
                    <a:pt x="2922458" y="210589"/>
                  </a:cubicBezTo>
                  <a:close/>
                  <a:moveTo>
                    <a:pt x="3076406" y="208408"/>
                  </a:moveTo>
                  <a:cubicBezTo>
                    <a:pt x="3088234" y="208408"/>
                    <a:pt x="3097828" y="217999"/>
                    <a:pt x="3097828" y="229831"/>
                  </a:cubicBezTo>
                  <a:cubicBezTo>
                    <a:pt x="3097828" y="241659"/>
                    <a:pt x="3088234" y="251254"/>
                    <a:pt x="3076406" y="251254"/>
                  </a:cubicBezTo>
                  <a:cubicBezTo>
                    <a:pt x="3064573" y="251254"/>
                    <a:pt x="3054982" y="241659"/>
                    <a:pt x="3054982" y="229831"/>
                  </a:cubicBezTo>
                  <a:cubicBezTo>
                    <a:pt x="3054982" y="217999"/>
                    <a:pt x="3064573" y="208408"/>
                    <a:pt x="3076406" y="208408"/>
                  </a:cubicBezTo>
                  <a:close/>
                  <a:moveTo>
                    <a:pt x="3230353" y="206956"/>
                  </a:moveTo>
                  <a:cubicBezTo>
                    <a:pt x="3242986" y="206956"/>
                    <a:pt x="3253228" y="217198"/>
                    <a:pt x="3253228" y="229831"/>
                  </a:cubicBezTo>
                  <a:cubicBezTo>
                    <a:pt x="3253228" y="242464"/>
                    <a:pt x="3242986" y="252706"/>
                    <a:pt x="3230353" y="252706"/>
                  </a:cubicBezTo>
                  <a:cubicBezTo>
                    <a:pt x="3217720" y="252706"/>
                    <a:pt x="3207478" y="242464"/>
                    <a:pt x="3207478" y="229831"/>
                  </a:cubicBezTo>
                  <a:cubicBezTo>
                    <a:pt x="3207478" y="217198"/>
                    <a:pt x="3217720" y="206956"/>
                    <a:pt x="3230353" y="206956"/>
                  </a:cubicBezTo>
                  <a:close/>
                  <a:moveTo>
                    <a:pt x="3383934" y="204779"/>
                  </a:moveTo>
                  <a:cubicBezTo>
                    <a:pt x="3397772" y="204779"/>
                    <a:pt x="3408986" y="215994"/>
                    <a:pt x="3408986" y="229831"/>
                  </a:cubicBezTo>
                  <a:cubicBezTo>
                    <a:pt x="3408986" y="243668"/>
                    <a:pt x="3397772" y="254887"/>
                    <a:pt x="3383934" y="254887"/>
                  </a:cubicBezTo>
                  <a:cubicBezTo>
                    <a:pt x="3370097" y="254887"/>
                    <a:pt x="3358882" y="243668"/>
                    <a:pt x="3358882" y="229831"/>
                  </a:cubicBezTo>
                  <a:cubicBezTo>
                    <a:pt x="3358882" y="215994"/>
                    <a:pt x="3370097" y="204779"/>
                    <a:pt x="3383934" y="204779"/>
                  </a:cubicBezTo>
                  <a:close/>
                  <a:moveTo>
                    <a:pt x="3537886" y="202599"/>
                  </a:moveTo>
                  <a:cubicBezTo>
                    <a:pt x="3552924" y="202599"/>
                    <a:pt x="3565118" y="214789"/>
                    <a:pt x="3565118" y="229831"/>
                  </a:cubicBezTo>
                  <a:cubicBezTo>
                    <a:pt x="3565118" y="244869"/>
                    <a:pt x="3552924" y="257059"/>
                    <a:pt x="3537886" y="257059"/>
                  </a:cubicBezTo>
                  <a:cubicBezTo>
                    <a:pt x="3522844" y="257059"/>
                    <a:pt x="3510653" y="244869"/>
                    <a:pt x="3510653" y="229831"/>
                  </a:cubicBezTo>
                  <a:cubicBezTo>
                    <a:pt x="3510653" y="214789"/>
                    <a:pt x="3522844" y="202599"/>
                    <a:pt x="3537886" y="202599"/>
                  </a:cubicBezTo>
                  <a:close/>
                  <a:moveTo>
                    <a:pt x="3691467" y="200056"/>
                  </a:moveTo>
                  <a:cubicBezTo>
                    <a:pt x="3707912" y="200056"/>
                    <a:pt x="3721242" y="213386"/>
                    <a:pt x="3721242" y="229827"/>
                  </a:cubicBezTo>
                  <a:cubicBezTo>
                    <a:pt x="3721242" y="246272"/>
                    <a:pt x="3707912" y="259602"/>
                    <a:pt x="3691467" y="259602"/>
                  </a:cubicBezTo>
                  <a:cubicBezTo>
                    <a:pt x="3675026" y="259602"/>
                    <a:pt x="3661696" y="246272"/>
                    <a:pt x="3661696" y="229827"/>
                  </a:cubicBezTo>
                  <a:cubicBezTo>
                    <a:pt x="3661696" y="213386"/>
                    <a:pt x="3675026" y="200056"/>
                    <a:pt x="3691467" y="200056"/>
                  </a:cubicBezTo>
                  <a:close/>
                  <a:moveTo>
                    <a:pt x="3845414" y="197880"/>
                  </a:moveTo>
                  <a:cubicBezTo>
                    <a:pt x="3863060" y="197880"/>
                    <a:pt x="3877366" y="212186"/>
                    <a:pt x="3877366" y="229831"/>
                  </a:cubicBezTo>
                  <a:cubicBezTo>
                    <a:pt x="3877366" y="247476"/>
                    <a:pt x="3863060" y="261782"/>
                    <a:pt x="3845414" y="261782"/>
                  </a:cubicBezTo>
                  <a:cubicBezTo>
                    <a:pt x="3827769" y="261782"/>
                    <a:pt x="3813463" y="247476"/>
                    <a:pt x="3813463" y="229831"/>
                  </a:cubicBezTo>
                  <a:cubicBezTo>
                    <a:pt x="3813463" y="212186"/>
                    <a:pt x="3827769" y="197880"/>
                    <a:pt x="3845414" y="197880"/>
                  </a:cubicBezTo>
                  <a:close/>
                  <a:moveTo>
                    <a:pt x="3999000" y="196065"/>
                  </a:moveTo>
                  <a:cubicBezTo>
                    <a:pt x="4017651" y="196065"/>
                    <a:pt x="4032769" y="211183"/>
                    <a:pt x="4032769" y="229831"/>
                  </a:cubicBezTo>
                  <a:cubicBezTo>
                    <a:pt x="4032769" y="248483"/>
                    <a:pt x="4017651" y="263597"/>
                    <a:pt x="3999000" y="263597"/>
                  </a:cubicBezTo>
                  <a:cubicBezTo>
                    <a:pt x="3980352" y="263597"/>
                    <a:pt x="3965234" y="248483"/>
                    <a:pt x="3965234" y="229831"/>
                  </a:cubicBezTo>
                  <a:cubicBezTo>
                    <a:pt x="3965234" y="211183"/>
                    <a:pt x="3980352" y="196065"/>
                    <a:pt x="3999000" y="196065"/>
                  </a:cubicBezTo>
                  <a:close/>
                  <a:moveTo>
                    <a:pt x="4152947" y="193523"/>
                  </a:moveTo>
                  <a:cubicBezTo>
                    <a:pt x="4173002" y="193523"/>
                    <a:pt x="4189256" y="209777"/>
                    <a:pt x="4189256" y="229831"/>
                  </a:cubicBezTo>
                  <a:cubicBezTo>
                    <a:pt x="4189256" y="249885"/>
                    <a:pt x="4173002" y="266139"/>
                    <a:pt x="4152947" y="266139"/>
                  </a:cubicBezTo>
                  <a:cubicBezTo>
                    <a:pt x="4132896" y="266139"/>
                    <a:pt x="4116638" y="249885"/>
                    <a:pt x="4116638" y="229831"/>
                  </a:cubicBezTo>
                  <a:cubicBezTo>
                    <a:pt x="4116638" y="209777"/>
                    <a:pt x="4132896" y="193523"/>
                    <a:pt x="4152947" y="193523"/>
                  </a:cubicBezTo>
                  <a:close/>
                  <a:moveTo>
                    <a:pt x="4306532" y="190618"/>
                  </a:moveTo>
                  <a:cubicBezTo>
                    <a:pt x="4327952" y="190618"/>
                    <a:pt x="4345380" y="208046"/>
                    <a:pt x="4345380" y="229469"/>
                  </a:cubicBezTo>
                  <a:cubicBezTo>
                    <a:pt x="4345380" y="250888"/>
                    <a:pt x="4327952" y="268316"/>
                    <a:pt x="4306532" y="268316"/>
                  </a:cubicBezTo>
                  <a:cubicBezTo>
                    <a:pt x="4285110" y="268316"/>
                    <a:pt x="4267682" y="250888"/>
                    <a:pt x="4267682" y="229469"/>
                  </a:cubicBezTo>
                  <a:cubicBezTo>
                    <a:pt x="4267682" y="208046"/>
                    <a:pt x="4285110" y="190618"/>
                    <a:pt x="4306532" y="190618"/>
                  </a:cubicBezTo>
                  <a:close/>
                  <a:moveTo>
                    <a:pt x="4460480" y="188438"/>
                  </a:moveTo>
                  <a:cubicBezTo>
                    <a:pt x="4483355" y="188438"/>
                    <a:pt x="4501511" y="206594"/>
                    <a:pt x="4501511" y="229465"/>
                  </a:cubicBezTo>
                  <a:cubicBezTo>
                    <a:pt x="4501511" y="252340"/>
                    <a:pt x="4482993" y="270493"/>
                    <a:pt x="4460480" y="270493"/>
                  </a:cubicBezTo>
                  <a:cubicBezTo>
                    <a:pt x="4437608" y="270493"/>
                    <a:pt x="4419452" y="252340"/>
                    <a:pt x="4419452" y="229465"/>
                  </a:cubicBezTo>
                  <a:cubicBezTo>
                    <a:pt x="4419452" y="206594"/>
                    <a:pt x="4437608" y="188438"/>
                    <a:pt x="4460480" y="188438"/>
                  </a:cubicBezTo>
                  <a:close/>
                  <a:moveTo>
                    <a:pt x="4614065" y="185895"/>
                  </a:moveTo>
                  <a:cubicBezTo>
                    <a:pt x="4638026" y="185895"/>
                    <a:pt x="4657635" y="205500"/>
                    <a:pt x="4657635" y="229465"/>
                  </a:cubicBezTo>
                  <a:cubicBezTo>
                    <a:pt x="4657635" y="253430"/>
                    <a:pt x="4638026" y="273035"/>
                    <a:pt x="4614065" y="273035"/>
                  </a:cubicBezTo>
                  <a:cubicBezTo>
                    <a:pt x="4590100" y="273035"/>
                    <a:pt x="4570495" y="253430"/>
                    <a:pt x="4570495" y="229465"/>
                  </a:cubicBezTo>
                  <a:cubicBezTo>
                    <a:pt x="4570495" y="205500"/>
                    <a:pt x="4590100" y="185895"/>
                    <a:pt x="4614065" y="185895"/>
                  </a:cubicBezTo>
                  <a:close/>
                  <a:moveTo>
                    <a:pt x="4768012" y="183356"/>
                  </a:moveTo>
                  <a:cubicBezTo>
                    <a:pt x="4793426" y="183356"/>
                    <a:pt x="4814125" y="204051"/>
                    <a:pt x="4814125" y="229469"/>
                  </a:cubicBezTo>
                  <a:cubicBezTo>
                    <a:pt x="4814125" y="254883"/>
                    <a:pt x="4793426" y="275581"/>
                    <a:pt x="4768012" y="275581"/>
                  </a:cubicBezTo>
                  <a:cubicBezTo>
                    <a:pt x="4742594" y="275581"/>
                    <a:pt x="4721900" y="254883"/>
                    <a:pt x="4721900" y="229469"/>
                  </a:cubicBezTo>
                  <a:cubicBezTo>
                    <a:pt x="4721900" y="204051"/>
                    <a:pt x="4742594" y="183356"/>
                    <a:pt x="4768012" y="183356"/>
                  </a:cubicBezTo>
                  <a:close/>
                  <a:moveTo>
                    <a:pt x="4921594" y="180814"/>
                  </a:moveTo>
                  <a:cubicBezTo>
                    <a:pt x="4948464" y="180814"/>
                    <a:pt x="4970249" y="202599"/>
                    <a:pt x="4970249" y="229469"/>
                  </a:cubicBezTo>
                  <a:cubicBezTo>
                    <a:pt x="4970249" y="256335"/>
                    <a:pt x="4948464" y="278120"/>
                    <a:pt x="4921594" y="278120"/>
                  </a:cubicBezTo>
                  <a:cubicBezTo>
                    <a:pt x="4894728" y="278120"/>
                    <a:pt x="4872942" y="256335"/>
                    <a:pt x="4872942" y="229469"/>
                  </a:cubicBezTo>
                  <a:cubicBezTo>
                    <a:pt x="4872942" y="202599"/>
                    <a:pt x="4894728" y="180814"/>
                    <a:pt x="4921594" y="180814"/>
                  </a:cubicBezTo>
                  <a:close/>
                  <a:moveTo>
                    <a:pt x="5075541" y="178637"/>
                  </a:moveTo>
                  <a:cubicBezTo>
                    <a:pt x="5103864" y="178637"/>
                    <a:pt x="5126735" y="201512"/>
                    <a:pt x="5126735" y="229831"/>
                  </a:cubicBezTo>
                  <a:cubicBezTo>
                    <a:pt x="5126735" y="258153"/>
                    <a:pt x="5103864" y="281025"/>
                    <a:pt x="5075541" y="281025"/>
                  </a:cubicBezTo>
                  <a:cubicBezTo>
                    <a:pt x="5047222" y="281025"/>
                    <a:pt x="5024348" y="258153"/>
                    <a:pt x="5024348" y="229831"/>
                  </a:cubicBezTo>
                  <a:cubicBezTo>
                    <a:pt x="5024348" y="201512"/>
                    <a:pt x="5047222" y="178637"/>
                    <a:pt x="5075541" y="178637"/>
                  </a:cubicBezTo>
                  <a:close/>
                  <a:moveTo>
                    <a:pt x="5229126" y="176095"/>
                  </a:moveTo>
                  <a:cubicBezTo>
                    <a:pt x="5258536" y="176095"/>
                    <a:pt x="5282500" y="200060"/>
                    <a:pt x="5282500" y="229469"/>
                  </a:cubicBezTo>
                  <a:cubicBezTo>
                    <a:pt x="5282500" y="258878"/>
                    <a:pt x="5258536" y="282843"/>
                    <a:pt x="5229126" y="282843"/>
                  </a:cubicBezTo>
                  <a:cubicBezTo>
                    <a:pt x="5199718" y="282843"/>
                    <a:pt x="5175752" y="258878"/>
                    <a:pt x="5175752" y="229469"/>
                  </a:cubicBezTo>
                  <a:cubicBezTo>
                    <a:pt x="5175752" y="200060"/>
                    <a:pt x="5199718" y="176095"/>
                    <a:pt x="5229126" y="176095"/>
                  </a:cubicBezTo>
                  <a:close/>
                  <a:moveTo>
                    <a:pt x="5383074" y="173552"/>
                  </a:moveTo>
                  <a:cubicBezTo>
                    <a:pt x="5414297" y="173552"/>
                    <a:pt x="5439352" y="198604"/>
                    <a:pt x="5439352" y="229831"/>
                  </a:cubicBezTo>
                  <a:cubicBezTo>
                    <a:pt x="5439352" y="261054"/>
                    <a:pt x="5414297" y="286110"/>
                    <a:pt x="5383074" y="286110"/>
                  </a:cubicBezTo>
                  <a:cubicBezTo>
                    <a:pt x="5351847" y="286110"/>
                    <a:pt x="5326795" y="261054"/>
                    <a:pt x="5326795" y="229831"/>
                  </a:cubicBezTo>
                  <a:cubicBezTo>
                    <a:pt x="5326795" y="198604"/>
                    <a:pt x="5351847" y="173552"/>
                    <a:pt x="5383074" y="173552"/>
                  </a:cubicBezTo>
                  <a:close/>
                  <a:moveTo>
                    <a:pt x="5536659" y="171010"/>
                  </a:moveTo>
                  <a:cubicBezTo>
                    <a:pt x="5569144" y="171010"/>
                    <a:pt x="5595476" y="197342"/>
                    <a:pt x="5595476" y="229827"/>
                  </a:cubicBezTo>
                  <a:cubicBezTo>
                    <a:pt x="5595476" y="262316"/>
                    <a:pt x="5569144" y="288649"/>
                    <a:pt x="5536659" y="288649"/>
                  </a:cubicBezTo>
                  <a:cubicBezTo>
                    <a:pt x="5504174" y="288649"/>
                    <a:pt x="5477838" y="262316"/>
                    <a:pt x="5477838" y="229827"/>
                  </a:cubicBezTo>
                  <a:cubicBezTo>
                    <a:pt x="5477838" y="197342"/>
                    <a:pt x="5504174" y="171010"/>
                    <a:pt x="5536659" y="171010"/>
                  </a:cubicBezTo>
                  <a:close/>
                  <a:moveTo>
                    <a:pt x="5690606" y="168105"/>
                  </a:moveTo>
                  <a:cubicBezTo>
                    <a:pt x="5724734" y="168105"/>
                    <a:pt x="5752329" y="195699"/>
                    <a:pt x="5752329" y="229827"/>
                  </a:cubicBezTo>
                  <a:cubicBezTo>
                    <a:pt x="5752329" y="263959"/>
                    <a:pt x="5724734" y="291553"/>
                    <a:pt x="5690606" y="291553"/>
                  </a:cubicBezTo>
                  <a:cubicBezTo>
                    <a:pt x="5656475" y="291553"/>
                    <a:pt x="5628880" y="263959"/>
                    <a:pt x="5628880" y="229827"/>
                  </a:cubicBezTo>
                  <a:cubicBezTo>
                    <a:pt x="5628880" y="195699"/>
                    <a:pt x="5656475" y="168105"/>
                    <a:pt x="5690606" y="168105"/>
                  </a:cubicBezTo>
                  <a:close/>
                  <a:moveTo>
                    <a:pt x="5844554" y="165566"/>
                  </a:moveTo>
                  <a:cubicBezTo>
                    <a:pt x="5880046" y="165566"/>
                    <a:pt x="5908822" y="194338"/>
                    <a:pt x="5908822" y="229831"/>
                  </a:cubicBezTo>
                  <a:cubicBezTo>
                    <a:pt x="5908822" y="265324"/>
                    <a:pt x="5880046" y="294100"/>
                    <a:pt x="5844554" y="294100"/>
                  </a:cubicBezTo>
                  <a:cubicBezTo>
                    <a:pt x="5809062" y="294100"/>
                    <a:pt x="5780289" y="265324"/>
                    <a:pt x="5780289" y="229831"/>
                  </a:cubicBezTo>
                  <a:cubicBezTo>
                    <a:pt x="5780289" y="194338"/>
                    <a:pt x="5809062" y="165566"/>
                    <a:pt x="5844554" y="165566"/>
                  </a:cubicBezTo>
                  <a:close/>
                  <a:moveTo>
                    <a:pt x="5998136" y="162296"/>
                  </a:moveTo>
                  <a:cubicBezTo>
                    <a:pt x="6035435" y="162296"/>
                    <a:pt x="6065671" y="192532"/>
                    <a:pt x="6065671" y="229831"/>
                  </a:cubicBezTo>
                  <a:cubicBezTo>
                    <a:pt x="6065671" y="267127"/>
                    <a:pt x="6035435" y="297363"/>
                    <a:pt x="5998136" y="297363"/>
                  </a:cubicBezTo>
                  <a:cubicBezTo>
                    <a:pt x="5960840" y="297363"/>
                    <a:pt x="5930604" y="267127"/>
                    <a:pt x="5930604" y="229827"/>
                  </a:cubicBezTo>
                  <a:cubicBezTo>
                    <a:pt x="5930604" y="192532"/>
                    <a:pt x="5960840" y="162296"/>
                    <a:pt x="5998136" y="162296"/>
                  </a:cubicBezTo>
                  <a:close/>
                  <a:moveTo>
                    <a:pt x="6152086" y="159757"/>
                  </a:moveTo>
                  <a:cubicBezTo>
                    <a:pt x="6190785" y="159757"/>
                    <a:pt x="6222160" y="191129"/>
                    <a:pt x="6222160" y="229831"/>
                  </a:cubicBezTo>
                  <a:cubicBezTo>
                    <a:pt x="6222160" y="268533"/>
                    <a:pt x="6190785" y="299909"/>
                    <a:pt x="6152086" y="299909"/>
                  </a:cubicBezTo>
                  <a:cubicBezTo>
                    <a:pt x="6113384" y="299909"/>
                    <a:pt x="6082008" y="268533"/>
                    <a:pt x="6082008" y="229831"/>
                  </a:cubicBezTo>
                  <a:cubicBezTo>
                    <a:pt x="6082008" y="191129"/>
                    <a:pt x="6113384" y="159757"/>
                    <a:pt x="6152086" y="159757"/>
                  </a:cubicBezTo>
                  <a:close/>
                  <a:moveTo>
                    <a:pt x="6305668" y="156852"/>
                  </a:moveTo>
                  <a:cubicBezTo>
                    <a:pt x="6345975" y="156852"/>
                    <a:pt x="6378650" y="189528"/>
                    <a:pt x="6378650" y="229831"/>
                  </a:cubicBezTo>
                  <a:cubicBezTo>
                    <a:pt x="6378650" y="270138"/>
                    <a:pt x="6345975" y="302814"/>
                    <a:pt x="6305668" y="302814"/>
                  </a:cubicBezTo>
                  <a:cubicBezTo>
                    <a:pt x="6265365" y="302814"/>
                    <a:pt x="6232689" y="270138"/>
                    <a:pt x="6232689" y="229831"/>
                  </a:cubicBezTo>
                  <a:cubicBezTo>
                    <a:pt x="6232689" y="189528"/>
                    <a:pt x="6265365" y="156852"/>
                    <a:pt x="6305668" y="156852"/>
                  </a:cubicBezTo>
                  <a:close/>
                  <a:moveTo>
                    <a:pt x="6613200" y="153947"/>
                  </a:moveTo>
                  <a:cubicBezTo>
                    <a:pt x="6655112" y="153947"/>
                    <a:pt x="6689088" y="187923"/>
                    <a:pt x="6689088" y="229831"/>
                  </a:cubicBezTo>
                  <a:cubicBezTo>
                    <a:pt x="6689088" y="271743"/>
                    <a:pt x="6655112" y="305718"/>
                    <a:pt x="6613200" y="305718"/>
                  </a:cubicBezTo>
                  <a:cubicBezTo>
                    <a:pt x="6571289" y="305718"/>
                    <a:pt x="6537317" y="271743"/>
                    <a:pt x="6537317" y="229831"/>
                  </a:cubicBezTo>
                  <a:cubicBezTo>
                    <a:pt x="6537317" y="187923"/>
                    <a:pt x="6571289" y="153947"/>
                    <a:pt x="6613200" y="153947"/>
                  </a:cubicBezTo>
                  <a:close/>
                  <a:moveTo>
                    <a:pt x="6459616" y="153944"/>
                  </a:moveTo>
                  <a:cubicBezTo>
                    <a:pt x="6501371" y="153944"/>
                    <a:pt x="6535137" y="187710"/>
                    <a:pt x="6535137" y="229465"/>
                  </a:cubicBezTo>
                  <a:cubicBezTo>
                    <a:pt x="6535137" y="271221"/>
                    <a:pt x="6501371" y="304986"/>
                    <a:pt x="6459616" y="304986"/>
                  </a:cubicBezTo>
                  <a:cubicBezTo>
                    <a:pt x="6417860" y="304986"/>
                    <a:pt x="6384094" y="271221"/>
                    <a:pt x="6384094" y="229465"/>
                  </a:cubicBezTo>
                  <a:cubicBezTo>
                    <a:pt x="6384094" y="187710"/>
                    <a:pt x="6417860" y="153944"/>
                    <a:pt x="6459616" y="153944"/>
                  </a:cubicBezTo>
                  <a:close/>
                  <a:moveTo>
                    <a:pt x="923681" y="75518"/>
                  </a:moveTo>
                  <a:cubicBezTo>
                    <a:pt x="924043" y="75518"/>
                    <a:pt x="924043" y="75518"/>
                    <a:pt x="924043" y="75880"/>
                  </a:cubicBezTo>
                  <a:cubicBezTo>
                    <a:pt x="924043" y="76242"/>
                    <a:pt x="923681" y="76242"/>
                    <a:pt x="923681" y="76242"/>
                  </a:cubicBezTo>
                  <a:cubicBezTo>
                    <a:pt x="923319" y="76242"/>
                    <a:pt x="923319" y="76242"/>
                    <a:pt x="923319" y="75880"/>
                  </a:cubicBezTo>
                  <a:cubicBezTo>
                    <a:pt x="923319" y="75518"/>
                    <a:pt x="923319" y="75518"/>
                    <a:pt x="923681" y="75518"/>
                  </a:cubicBezTo>
                  <a:close/>
                  <a:moveTo>
                    <a:pt x="462205" y="75518"/>
                  </a:moveTo>
                  <a:cubicBezTo>
                    <a:pt x="462567" y="75518"/>
                    <a:pt x="462567" y="75518"/>
                    <a:pt x="462567" y="75880"/>
                  </a:cubicBezTo>
                  <a:cubicBezTo>
                    <a:pt x="462567" y="76242"/>
                    <a:pt x="462205" y="76242"/>
                    <a:pt x="462205" y="76242"/>
                  </a:cubicBezTo>
                  <a:cubicBezTo>
                    <a:pt x="461842" y="76242"/>
                    <a:pt x="461842" y="76242"/>
                    <a:pt x="461842" y="75880"/>
                  </a:cubicBezTo>
                  <a:cubicBezTo>
                    <a:pt x="461842" y="75518"/>
                    <a:pt x="461842" y="75518"/>
                    <a:pt x="462205" y="75518"/>
                  </a:cubicBezTo>
                  <a:close/>
                  <a:moveTo>
                    <a:pt x="308257" y="75518"/>
                  </a:moveTo>
                  <a:cubicBezTo>
                    <a:pt x="308619" y="75518"/>
                    <a:pt x="308619" y="75518"/>
                    <a:pt x="308619" y="75880"/>
                  </a:cubicBezTo>
                  <a:cubicBezTo>
                    <a:pt x="308619" y="76242"/>
                    <a:pt x="308257" y="76242"/>
                    <a:pt x="308257" y="76242"/>
                  </a:cubicBezTo>
                  <a:cubicBezTo>
                    <a:pt x="307895" y="76242"/>
                    <a:pt x="307895" y="76242"/>
                    <a:pt x="307895" y="75880"/>
                  </a:cubicBezTo>
                  <a:cubicBezTo>
                    <a:pt x="307895" y="75518"/>
                    <a:pt x="307895" y="75518"/>
                    <a:pt x="308257" y="75518"/>
                  </a:cubicBezTo>
                  <a:close/>
                  <a:moveTo>
                    <a:pt x="154676" y="75155"/>
                  </a:moveTo>
                  <a:cubicBezTo>
                    <a:pt x="155076" y="75155"/>
                    <a:pt x="155400" y="75480"/>
                    <a:pt x="155400" y="75880"/>
                  </a:cubicBezTo>
                  <a:cubicBezTo>
                    <a:pt x="155400" y="76284"/>
                    <a:pt x="155076" y="76608"/>
                    <a:pt x="154676" y="76608"/>
                  </a:cubicBezTo>
                  <a:cubicBezTo>
                    <a:pt x="154272" y="76608"/>
                    <a:pt x="153948" y="76284"/>
                    <a:pt x="153948" y="75880"/>
                  </a:cubicBezTo>
                  <a:cubicBezTo>
                    <a:pt x="153948" y="75480"/>
                    <a:pt x="154272" y="75155"/>
                    <a:pt x="154676" y="75155"/>
                  </a:cubicBezTo>
                  <a:close/>
                  <a:moveTo>
                    <a:pt x="725" y="75155"/>
                  </a:moveTo>
                  <a:cubicBezTo>
                    <a:pt x="1090" y="75155"/>
                    <a:pt x="1453" y="75518"/>
                    <a:pt x="1453" y="75880"/>
                  </a:cubicBezTo>
                  <a:cubicBezTo>
                    <a:pt x="1453" y="76246"/>
                    <a:pt x="725" y="76608"/>
                    <a:pt x="725" y="76608"/>
                  </a:cubicBezTo>
                  <a:cubicBezTo>
                    <a:pt x="362" y="76608"/>
                    <a:pt x="0" y="76246"/>
                    <a:pt x="0" y="75880"/>
                  </a:cubicBezTo>
                  <a:cubicBezTo>
                    <a:pt x="0" y="75518"/>
                    <a:pt x="362" y="75155"/>
                    <a:pt x="725" y="75155"/>
                  </a:cubicBezTo>
                  <a:close/>
                  <a:moveTo>
                    <a:pt x="1077266" y="74431"/>
                  </a:moveTo>
                  <a:cubicBezTo>
                    <a:pt x="1078067" y="74431"/>
                    <a:pt x="1078718" y="75083"/>
                    <a:pt x="1078718" y="75884"/>
                  </a:cubicBezTo>
                  <a:cubicBezTo>
                    <a:pt x="1078718" y="76684"/>
                    <a:pt x="1078067" y="77336"/>
                    <a:pt x="1077266" y="77336"/>
                  </a:cubicBezTo>
                  <a:cubicBezTo>
                    <a:pt x="1076462" y="77336"/>
                    <a:pt x="1075814" y="76684"/>
                    <a:pt x="1075814" y="75884"/>
                  </a:cubicBezTo>
                  <a:cubicBezTo>
                    <a:pt x="1075814" y="75083"/>
                    <a:pt x="1076462" y="74431"/>
                    <a:pt x="1077266" y="74431"/>
                  </a:cubicBezTo>
                  <a:close/>
                  <a:moveTo>
                    <a:pt x="1231217" y="73703"/>
                  </a:moveTo>
                  <a:cubicBezTo>
                    <a:pt x="1232418" y="73703"/>
                    <a:pt x="1233394" y="74679"/>
                    <a:pt x="1233394" y="75880"/>
                  </a:cubicBezTo>
                  <a:cubicBezTo>
                    <a:pt x="1233394" y="77084"/>
                    <a:pt x="1232418" y="78060"/>
                    <a:pt x="1231217" y="78060"/>
                  </a:cubicBezTo>
                  <a:cubicBezTo>
                    <a:pt x="1230013" y="78060"/>
                    <a:pt x="1229037" y="77084"/>
                    <a:pt x="1229037" y="75880"/>
                  </a:cubicBezTo>
                  <a:cubicBezTo>
                    <a:pt x="1229037" y="74679"/>
                    <a:pt x="1230013" y="73703"/>
                    <a:pt x="1231217" y="73703"/>
                  </a:cubicBezTo>
                  <a:close/>
                  <a:moveTo>
                    <a:pt x="1384799" y="72617"/>
                  </a:moveTo>
                  <a:cubicBezTo>
                    <a:pt x="1386617" y="72617"/>
                    <a:pt x="1388069" y="74069"/>
                    <a:pt x="1388069" y="75884"/>
                  </a:cubicBezTo>
                  <a:cubicBezTo>
                    <a:pt x="1388069" y="77702"/>
                    <a:pt x="1386617" y="79154"/>
                    <a:pt x="1384799" y="79154"/>
                  </a:cubicBezTo>
                  <a:cubicBezTo>
                    <a:pt x="1382984" y="79154"/>
                    <a:pt x="1381532" y="77702"/>
                    <a:pt x="1381532" y="75884"/>
                  </a:cubicBezTo>
                  <a:cubicBezTo>
                    <a:pt x="1381532" y="74069"/>
                    <a:pt x="1382984" y="72617"/>
                    <a:pt x="1384799" y="72617"/>
                  </a:cubicBezTo>
                  <a:close/>
                  <a:moveTo>
                    <a:pt x="1538746" y="71527"/>
                  </a:moveTo>
                  <a:cubicBezTo>
                    <a:pt x="1541285" y="71527"/>
                    <a:pt x="1543103" y="73341"/>
                    <a:pt x="1543103" y="75884"/>
                  </a:cubicBezTo>
                  <a:cubicBezTo>
                    <a:pt x="1543103" y="78426"/>
                    <a:pt x="1540923" y="80241"/>
                    <a:pt x="1538746" y="80241"/>
                  </a:cubicBezTo>
                  <a:cubicBezTo>
                    <a:pt x="1536204" y="80241"/>
                    <a:pt x="1534389" y="78426"/>
                    <a:pt x="1534389" y="75884"/>
                  </a:cubicBezTo>
                  <a:cubicBezTo>
                    <a:pt x="1534389" y="73341"/>
                    <a:pt x="1536204" y="71527"/>
                    <a:pt x="1538746" y="71527"/>
                  </a:cubicBezTo>
                  <a:close/>
                  <a:moveTo>
                    <a:pt x="1692331" y="70074"/>
                  </a:moveTo>
                  <a:cubicBezTo>
                    <a:pt x="1695541" y="70074"/>
                    <a:pt x="1698141" y="72674"/>
                    <a:pt x="1698141" y="75884"/>
                  </a:cubicBezTo>
                  <a:cubicBezTo>
                    <a:pt x="1698141" y="79093"/>
                    <a:pt x="1695541" y="81693"/>
                    <a:pt x="1692331" y="81693"/>
                  </a:cubicBezTo>
                  <a:cubicBezTo>
                    <a:pt x="1689122" y="81693"/>
                    <a:pt x="1686522" y="79093"/>
                    <a:pt x="1686522" y="75884"/>
                  </a:cubicBezTo>
                  <a:cubicBezTo>
                    <a:pt x="1686522" y="72674"/>
                    <a:pt x="1689122" y="70074"/>
                    <a:pt x="1692331" y="70074"/>
                  </a:cubicBezTo>
                  <a:close/>
                  <a:moveTo>
                    <a:pt x="1846279" y="68622"/>
                  </a:moveTo>
                  <a:cubicBezTo>
                    <a:pt x="1850274" y="68622"/>
                    <a:pt x="1853540" y="71889"/>
                    <a:pt x="1853540" y="75884"/>
                  </a:cubicBezTo>
                  <a:cubicBezTo>
                    <a:pt x="1853540" y="79879"/>
                    <a:pt x="1850274" y="83145"/>
                    <a:pt x="1846279" y="83145"/>
                  </a:cubicBezTo>
                  <a:cubicBezTo>
                    <a:pt x="1842284" y="83145"/>
                    <a:pt x="1839017" y="79879"/>
                    <a:pt x="1839017" y="75884"/>
                  </a:cubicBezTo>
                  <a:cubicBezTo>
                    <a:pt x="1839017" y="71889"/>
                    <a:pt x="1842284" y="68622"/>
                    <a:pt x="1846279" y="68622"/>
                  </a:cubicBezTo>
                  <a:close/>
                  <a:moveTo>
                    <a:pt x="1999860" y="66807"/>
                  </a:moveTo>
                  <a:cubicBezTo>
                    <a:pt x="2004945" y="66807"/>
                    <a:pt x="2008940" y="70802"/>
                    <a:pt x="2008940" y="75884"/>
                  </a:cubicBezTo>
                  <a:cubicBezTo>
                    <a:pt x="2008940" y="80969"/>
                    <a:pt x="2004945" y="84960"/>
                    <a:pt x="1999860" y="84960"/>
                  </a:cubicBezTo>
                  <a:cubicBezTo>
                    <a:pt x="1994779" y="84960"/>
                    <a:pt x="1990784" y="80969"/>
                    <a:pt x="1990784" y="75884"/>
                  </a:cubicBezTo>
                  <a:cubicBezTo>
                    <a:pt x="1990784" y="70802"/>
                    <a:pt x="1994779" y="66807"/>
                    <a:pt x="1999860" y="66807"/>
                  </a:cubicBezTo>
                  <a:close/>
                  <a:moveTo>
                    <a:pt x="2153811" y="65717"/>
                  </a:moveTo>
                  <a:cubicBezTo>
                    <a:pt x="2159259" y="65717"/>
                    <a:pt x="2163978" y="70436"/>
                    <a:pt x="2163978" y="75884"/>
                  </a:cubicBezTo>
                  <a:cubicBezTo>
                    <a:pt x="2163978" y="81331"/>
                    <a:pt x="2159621" y="86050"/>
                    <a:pt x="2153811" y="86050"/>
                  </a:cubicBezTo>
                  <a:cubicBezTo>
                    <a:pt x="2148364" y="86050"/>
                    <a:pt x="2143645" y="81331"/>
                    <a:pt x="2143645" y="75884"/>
                  </a:cubicBezTo>
                  <a:cubicBezTo>
                    <a:pt x="2143645" y="70436"/>
                    <a:pt x="2148364" y="65717"/>
                    <a:pt x="2153811" y="65717"/>
                  </a:cubicBezTo>
                  <a:close/>
                  <a:moveTo>
                    <a:pt x="2307393" y="63899"/>
                  </a:moveTo>
                  <a:cubicBezTo>
                    <a:pt x="2313930" y="63899"/>
                    <a:pt x="2319377" y="69346"/>
                    <a:pt x="2319377" y="75880"/>
                  </a:cubicBezTo>
                  <a:cubicBezTo>
                    <a:pt x="2319377" y="82417"/>
                    <a:pt x="2313930" y="87864"/>
                    <a:pt x="2307393" y="87864"/>
                  </a:cubicBezTo>
                  <a:cubicBezTo>
                    <a:pt x="2300859" y="87864"/>
                    <a:pt x="2295412" y="82417"/>
                    <a:pt x="2295412" y="75880"/>
                  </a:cubicBezTo>
                  <a:cubicBezTo>
                    <a:pt x="2295412" y="69346"/>
                    <a:pt x="2300859" y="63899"/>
                    <a:pt x="2307393" y="63899"/>
                  </a:cubicBezTo>
                  <a:close/>
                  <a:moveTo>
                    <a:pt x="2461344" y="62085"/>
                  </a:moveTo>
                  <a:cubicBezTo>
                    <a:pt x="2468968" y="62085"/>
                    <a:pt x="2475139" y="68256"/>
                    <a:pt x="2475139" y="75880"/>
                  </a:cubicBezTo>
                  <a:cubicBezTo>
                    <a:pt x="2475139" y="83507"/>
                    <a:pt x="2468968" y="89679"/>
                    <a:pt x="2461344" y="89679"/>
                  </a:cubicBezTo>
                  <a:cubicBezTo>
                    <a:pt x="2453716" y="89679"/>
                    <a:pt x="2447545" y="83507"/>
                    <a:pt x="2447545" y="75880"/>
                  </a:cubicBezTo>
                  <a:cubicBezTo>
                    <a:pt x="2447545" y="68256"/>
                    <a:pt x="2453716" y="62085"/>
                    <a:pt x="2461344" y="62085"/>
                  </a:cubicBezTo>
                  <a:close/>
                  <a:moveTo>
                    <a:pt x="2614925" y="60632"/>
                  </a:moveTo>
                  <a:cubicBezTo>
                    <a:pt x="2623350" y="60632"/>
                    <a:pt x="2630177" y="67459"/>
                    <a:pt x="2630177" y="75880"/>
                  </a:cubicBezTo>
                  <a:cubicBezTo>
                    <a:pt x="2630177" y="84304"/>
                    <a:pt x="2623350" y="91131"/>
                    <a:pt x="2614925" y="91131"/>
                  </a:cubicBezTo>
                  <a:cubicBezTo>
                    <a:pt x="2606505" y="91131"/>
                    <a:pt x="2599678" y="84304"/>
                    <a:pt x="2599678" y="75880"/>
                  </a:cubicBezTo>
                  <a:cubicBezTo>
                    <a:pt x="2599678" y="67459"/>
                    <a:pt x="2606505" y="60632"/>
                    <a:pt x="2614925" y="60632"/>
                  </a:cubicBezTo>
                  <a:close/>
                  <a:moveTo>
                    <a:pt x="2768873" y="58818"/>
                  </a:moveTo>
                  <a:cubicBezTo>
                    <a:pt x="2778311" y="58818"/>
                    <a:pt x="2785939" y="66442"/>
                    <a:pt x="2785939" y="75884"/>
                  </a:cubicBezTo>
                  <a:cubicBezTo>
                    <a:pt x="2785939" y="85322"/>
                    <a:pt x="2778311" y="92946"/>
                    <a:pt x="2768873" y="92946"/>
                  </a:cubicBezTo>
                  <a:cubicBezTo>
                    <a:pt x="2759431" y="92946"/>
                    <a:pt x="2751807" y="85322"/>
                    <a:pt x="2751807" y="75884"/>
                  </a:cubicBezTo>
                  <a:cubicBezTo>
                    <a:pt x="2751807" y="66442"/>
                    <a:pt x="2759431" y="58818"/>
                    <a:pt x="2768873" y="58818"/>
                  </a:cubicBezTo>
                  <a:close/>
                  <a:moveTo>
                    <a:pt x="2922458" y="56641"/>
                  </a:moveTo>
                  <a:cubicBezTo>
                    <a:pt x="2933086" y="56641"/>
                    <a:pt x="2941700" y="65256"/>
                    <a:pt x="2941700" y="75884"/>
                  </a:cubicBezTo>
                  <a:cubicBezTo>
                    <a:pt x="2941700" y="86511"/>
                    <a:pt x="2933086" y="95126"/>
                    <a:pt x="2922458" y="95126"/>
                  </a:cubicBezTo>
                  <a:cubicBezTo>
                    <a:pt x="2911830" y="95126"/>
                    <a:pt x="2903216" y="86511"/>
                    <a:pt x="2903216" y="75884"/>
                  </a:cubicBezTo>
                  <a:cubicBezTo>
                    <a:pt x="2903216" y="65256"/>
                    <a:pt x="2911830" y="56641"/>
                    <a:pt x="2922458" y="56641"/>
                  </a:cubicBezTo>
                  <a:close/>
                  <a:moveTo>
                    <a:pt x="3076406" y="54461"/>
                  </a:moveTo>
                  <a:cubicBezTo>
                    <a:pt x="3088234" y="54461"/>
                    <a:pt x="3097828" y="64051"/>
                    <a:pt x="3097828" y="75884"/>
                  </a:cubicBezTo>
                  <a:cubicBezTo>
                    <a:pt x="3097828" y="87712"/>
                    <a:pt x="3088234" y="97303"/>
                    <a:pt x="3076406" y="97303"/>
                  </a:cubicBezTo>
                  <a:cubicBezTo>
                    <a:pt x="3064573" y="97303"/>
                    <a:pt x="3054982" y="87712"/>
                    <a:pt x="3054982" y="75884"/>
                  </a:cubicBezTo>
                  <a:cubicBezTo>
                    <a:pt x="3054982" y="64051"/>
                    <a:pt x="3064573" y="54461"/>
                    <a:pt x="3076406" y="54461"/>
                  </a:cubicBezTo>
                  <a:close/>
                  <a:moveTo>
                    <a:pt x="3230353" y="53008"/>
                  </a:moveTo>
                  <a:cubicBezTo>
                    <a:pt x="3242986" y="53008"/>
                    <a:pt x="3253228" y="63251"/>
                    <a:pt x="3253228" y="75884"/>
                  </a:cubicBezTo>
                  <a:cubicBezTo>
                    <a:pt x="3253228" y="88516"/>
                    <a:pt x="3242986" y="98759"/>
                    <a:pt x="3230353" y="98759"/>
                  </a:cubicBezTo>
                  <a:cubicBezTo>
                    <a:pt x="3217720" y="98759"/>
                    <a:pt x="3207478" y="88516"/>
                    <a:pt x="3207478" y="75884"/>
                  </a:cubicBezTo>
                  <a:cubicBezTo>
                    <a:pt x="3207478" y="63251"/>
                    <a:pt x="3217720" y="53008"/>
                    <a:pt x="3230353" y="53008"/>
                  </a:cubicBezTo>
                  <a:close/>
                  <a:moveTo>
                    <a:pt x="3383934" y="50832"/>
                  </a:moveTo>
                  <a:cubicBezTo>
                    <a:pt x="3397772" y="50832"/>
                    <a:pt x="3408986" y="62046"/>
                    <a:pt x="3408986" y="75884"/>
                  </a:cubicBezTo>
                  <a:cubicBezTo>
                    <a:pt x="3408986" y="89721"/>
                    <a:pt x="3397772" y="100939"/>
                    <a:pt x="3383934" y="100939"/>
                  </a:cubicBezTo>
                  <a:cubicBezTo>
                    <a:pt x="3370097" y="100939"/>
                    <a:pt x="3358882" y="89721"/>
                    <a:pt x="3358882" y="75884"/>
                  </a:cubicBezTo>
                  <a:cubicBezTo>
                    <a:pt x="3358882" y="62046"/>
                    <a:pt x="3370097" y="50832"/>
                    <a:pt x="3383934" y="50832"/>
                  </a:cubicBezTo>
                  <a:close/>
                  <a:moveTo>
                    <a:pt x="3537886" y="48651"/>
                  </a:moveTo>
                  <a:cubicBezTo>
                    <a:pt x="3552924" y="48651"/>
                    <a:pt x="3565118" y="60842"/>
                    <a:pt x="3565118" y="75884"/>
                  </a:cubicBezTo>
                  <a:cubicBezTo>
                    <a:pt x="3565118" y="90921"/>
                    <a:pt x="3552924" y="103112"/>
                    <a:pt x="3537886" y="103112"/>
                  </a:cubicBezTo>
                  <a:cubicBezTo>
                    <a:pt x="3522844" y="103112"/>
                    <a:pt x="3510653" y="90921"/>
                    <a:pt x="3510653" y="75884"/>
                  </a:cubicBezTo>
                  <a:cubicBezTo>
                    <a:pt x="3510653" y="60842"/>
                    <a:pt x="3522844" y="48651"/>
                    <a:pt x="3537886" y="48651"/>
                  </a:cubicBezTo>
                  <a:close/>
                  <a:moveTo>
                    <a:pt x="3691467" y="46109"/>
                  </a:moveTo>
                  <a:cubicBezTo>
                    <a:pt x="3707912" y="46109"/>
                    <a:pt x="3721242" y="59439"/>
                    <a:pt x="3721242" y="75880"/>
                  </a:cubicBezTo>
                  <a:cubicBezTo>
                    <a:pt x="3721242" y="92324"/>
                    <a:pt x="3707912" y="105655"/>
                    <a:pt x="3691467" y="105655"/>
                  </a:cubicBezTo>
                  <a:cubicBezTo>
                    <a:pt x="3675026" y="105655"/>
                    <a:pt x="3661696" y="92324"/>
                    <a:pt x="3661696" y="75880"/>
                  </a:cubicBezTo>
                  <a:cubicBezTo>
                    <a:pt x="3661696" y="59439"/>
                    <a:pt x="3675026" y="46109"/>
                    <a:pt x="3691467" y="46109"/>
                  </a:cubicBezTo>
                  <a:close/>
                  <a:moveTo>
                    <a:pt x="3845414" y="43932"/>
                  </a:moveTo>
                  <a:cubicBezTo>
                    <a:pt x="3863060" y="43932"/>
                    <a:pt x="3877366" y="58238"/>
                    <a:pt x="3877366" y="75884"/>
                  </a:cubicBezTo>
                  <a:cubicBezTo>
                    <a:pt x="3877366" y="93529"/>
                    <a:pt x="3863060" y="107835"/>
                    <a:pt x="3845414" y="107835"/>
                  </a:cubicBezTo>
                  <a:cubicBezTo>
                    <a:pt x="3827769" y="107835"/>
                    <a:pt x="3813463" y="93529"/>
                    <a:pt x="3813463" y="75884"/>
                  </a:cubicBezTo>
                  <a:cubicBezTo>
                    <a:pt x="3813463" y="58238"/>
                    <a:pt x="3827769" y="43932"/>
                    <a:pt x="3845414" y="43932"/>
                  </a:cubicBezTo>
                  <a:close/>
                  <a:moveTo>
                    <a:pt x="3999000" y="42118"/>
                  </a:moveTo>
                  <a:cubicBezTo>
                    <a:pt x="4017651" y="42118"/>
                    <a:pt x="4032769" y="57236"/>
                    <a:pt x="4032769" y="75884"/>
                  </a:cubicBezTo>
                  <a:cubicBezTo>
                    <a:pt x="4032769" y="94535"/>
                    <a:pt x="4017651" y="109653"/>
                    <a:pt x="3999000" y="109653"/>
                  </a:cubicBezTo>
                  <a:cubicBezTo>
                    <a:pt x="3980352" y="109653"/>
                    <a:pt x="3965234" y="94535"/>
                    <a:pt x="3965234" y="75884"/>
                  </a:cubicBezTo>
                  <a:cubicBezTo>
                    <a:pt x="3965234" y="57236"/>
                    <a:pt x="3980352" y="42118"/>
                    <a:pt x="3999000" y="42118"/>
                  </a:cubicBezTo>
                  <a:close/>
                  <a:moveTo>
                    <a:pt x="4152947" y="39575"/>
                  </a:moveTo>
                  <a:cubicBezTo>
                    <a:pt x="4173002" y="39575"/>
                    <a:pt x="4189256" y="55829"/>
                    <a:pt x="4189256" y="75884"/>
                  </a:cubicBezTo>
                  <a:cubicBezTo>
                    <a:pt x="4189256" y="95938"/>
                    <a:pt x="4173002" y="112192"/>
                    <a:pt x="4152947" y="112192"/>
                  </a:cubicBezTo>
                  <a:cubicBezTo>
                    <a:pt x="4132896" y="112192"/>
                    <a:pt x="4116638" y="95938"/>
                    <a:pt x="4116638" y="75884"/>
                  </a:cubicBezTo>
                  <a:cubicBezTo>
                    <a:pt x="4116638" y="55829"/>
                    <a:pt x="4132896" y="39575"/>
                    <a:pt x="4152947" y="39575"/>
                  </a:cubicBezTo>
                  <a:close/>
                  <a:moveTo>
                    <a:pt x="4306532" y="37033"/>
                  </a:moveTo>
                  <a:cubicBezTo>
                    <a:pt x="4327952" y="37033"/>
                    <a:pt x="4345380" y="54461"/>
                    <a:pt x="4345380" y="75884"/>
                  </a:cubicBezTo>
                  <a:cubicBezTo>
                    <a:pt x="4345380" y="97306"/>
                    <a:pt x="4327952" y="114735"/>
                    <a:pt x="4306532" y="114735"/>
                  </a:cubicBezTo>
                  <a:cubicBezTo>
                    <a:pt x="4285110" y="114735"/>
                    <a:pt x="4267682" y="97306"/>
                    <a:pt x="4267682" y="75884"/>
                  </a:cubicBezTo>
                  <a:cubicBezTo>
                    <a:pt x="4267682" y="54461"/>
                    <a:pt x="4285110" y="37033"/>
                    <a:pt x="4306532" y="37033"/>
                  </a:cubicBezTo>
                  <a:close/>
                  <a:moveTo>
                    <a:pt x="4460480" y="34852"/>
                  </a:moveTo>
                  <a:cubicBezTo>
                    <a:pt x="4483355" y="34852"/>
                    <a:pt x="4501511" y="53008"/>
                    <a:pt x="4501511" y="75880"/>
                  </a:cubicBezTo>
                  <a:cubicBezTo>
                    <a:pt x="4501511" y="98755"/>
                    <a:pt x="4482993" y="116911"/>
                    <a:pt x="4460480" y="116911"/>
                  </a:cubicBezTo>
                  <a:cubicBezTo>
                    <a:pt x="4437608" y="116911"/>
                    <a:pt x="4419452" y="98755"/>
                    <a:pt x="4419452" y="75880"/>
                  </a:cubicBezTo>
                  <a:cubicBezTo>
                    <a:pt x="4419452" y="53008"/>
                    <a:pt x="4437608" y="34852"/>
                    <a:pt x="4460480" y="34852"/>
                  </a:cubicBezTo>
                  <a:close/>
                  <a:moveTo>
                    <a:pt x="4614065" y="32314"/>
                  </a:moveTo>
                  <a:cubicBezTo>
                    <a:pt x="4638026" y="32314"/>
                    <a:pt x="4657635" y="51918"/>
                    <a:pt x="4657635" y="75884"/>
                  </a:cubicBezTo>
                  <a:cubicBezTo>
                    <a:pt x="4657635" y="99849"/>
                    <a:pt x="4638026" y="119454"/>
                    <a:pt x="4614065" y="119454"/>
                  </a:cubicBezTo>
                  <a:cubicBezTo>
                    <a:pt x="4590100" y="119454"/>
                    <a:pt x="4570495" y="99849"/>
                    <a:pt x="4570495" y="75884"/>
                  </a:cubicBezTo>
                  <a:cubicBezTo>
                    <a:pt x="4570495" y="51918"/>
                    <a:pt x="4590100" y="32314"/>
                    <a:pt x="4614065" y="32314"/>
                  </a:cubicBezTo>
                  <a:close/>
                  <a:moveTo>
                    <a:pt x="4768012" y="29771"/>
                  </a:moveTo>
                  <a:cubicBezTo>
                    <a:pt x="4793426" y="29771"/>
                    <a:pt x="4814125" y="50466"/>
                    <a:pt x="4814125" y="75884"/>
                  </a:cubicBezTo>
                  <a:cubicBezTo>
                    <a:pt x="4814125" y="101298"/>
                    <a:pt x="4793426" y="121996"/>
                    <a:pt x="4768012" y="121996"/>
                  </a:cubicBezTo>
                  <a:cubicBezTo>
                    <a:pt x="4742594" y="121996"/>
                    <a:pt x="4721900" y="101298"/>
                    <a:pt x="4721900" y="75884"/>
                  </a:cubicBezTo>
                  <a:cubicBezTo>
                    <a:pt x="4721900" y="50466"/>
                    <a:pt x="4742594" y="29771"/>
                    <a:pt x="4768012" y="29771"/>
                  </a:cubicBezTo>
                  <a:close/>
                  <a:moveTo>
                    <a:pt x="4921594" y="27228"/>
                  </a:moveTo>
                  <a:cubicBezTo>
                    <a:pt x="4948464" y="27228"/>
                    <a:pt x="4970249" y="49014"/>
                    <a:pt x="4970249" y="75880"/>
                  </a:cubicBezTo>
                  <a:cubicBezTo>
                    <a:pt x="4970249" y="102750"/>
                    <a:pt x="4948464" y="124535"/>
                    <a:pt x="4921594" y="124535"/>
                  </a:cubicBezTo>
                  <a:cubicBezTo>
                    <a:pt x="4894728" y="124535"/>
                    <a:pt x="4872942" y="102750"/>
                    <a:pt x="4872942" y="75880"/>
                  </a:cubicBezTo>
                  <a:cubicBezTo>
                    <a:pt x="4872942" y="49014"/>
                    <a:pt x="4894728" y="27228"/>
                    <a:pt x="4921594" y="27228"/>
                  </a:cubicBezTo>
                  <a:close/>
                  <a:moveTo>
                    <a:pt x="5075541" y="24690"/>
                  </a:moveTo>
                  <a:cubicBezTo>
                    <a:pt x="5103864" y="24690"/>
                    <a:pt x="5126735" y="47565"/>
                    <a:pt x="5126735" y="75884"/>
                  </a:cubicBezTo>
                  <a:cubicBezTo>
                    <a:pt x="5126735" y="104206"/>
                    <a:pt x="5103864" y="127081"/>
                    <a:pt x="5075541" y="127081"/>
                  </a:cubicBezTo>
                  <a:cubicBezTo>
                    <a:pt x="5047222" y="127081"/>
                    <a:pt x="5024348" y="104206"/>
                    <a:pt x="5024348" y="75884"/>
                  </a:cubicBezTo>
                  <a:cubicBezTo>
                    <a:pt x="5024348" y="47565"/>
                    <a:pt x="5047222" y="24690"/>
                    <a:pt x="5075541" y="24690"/>
                  </a:cubicBezTo>
                  <a:close/>
                  <a:moveTo>
                    <a:pt x="5229126" y="22509"/>
                  </a:moveTo>
                  <a:cubicBezTo>
                    <a:pt x="5258536" y="22509"/>
                    <a:pt x="5282500" y="46471"/>
                    <a:pt x="5282500" y="75884"/>
                  </a:cubicBezTo>
                  <a:cubicBezTo>
                    <a:pt x="5282500" y="105292"/>
                    <a:pt x="5258536" y="129258"/>
                    <a:pt x="5229126" y="129258"/>
                  </a:cubicBezTo>
                  <a:cubicBezTo>
                    <a:pt x="5199718" y="129258"/>
                    <a:pt x="5175752" y="105292"/>
                    <a:pt x="5175752" y="75884"/>
                  </a:cubicBezTo>
                  <a:cubicBezTo>
                    <a:pt x="5175752" y="46471"/>
                    <a:pt x="5199718" y="22509"/>
                    <a:pt x="5229126" y="22509"/>
                  </a:cubicBezTo>
                  <a:close/>
                  <a:moveTo>
                    <a:pt x="5383074" y="19605"/>
                  </a:moveTo>
                  <a:cubicBezTo>
                    <a:pt x="5414297" y="19605"/>
                    <a:pt x="5439352" y="44657"/>
                    <a:pt x="5439352" y="75884"/>
                  </a:cubicBezTo>
                  <a:cubicBezTo>
                    <a:pt x="5439352" y="107107"/>
                    <a:pt x="5414297" y="132162"/>
                    <a:pt x="5383074" y="132162"/>
                  </a:cubicBezTo>
                  <a:cubicBezTo>
                    <a:pt x="5351847" y="132162"/>
                    <a:pt x="5326795" y="107107"/>
                    <a:pt x="5326795" y="75884"/>
                  </a:cubicBezTo>
                  <a:cubicBezTo>
                    <a:pt x="5326795" y="44657"/>
                    <a:pt x="5351847" y="19605"/>
                    <a:pt x="5383074" y="19605"/>
                  </a:cubicBezTo>
                  <a:close/>
                  <a:moveTo>
                    <a:pt x="5536659" y="17062"/>
                  </a:moveTo>
                  <a:cubicBezTo>
                    <a:pt x="5569144" y="17062"/>
                    <a:pt x="5595476" y="43395"/>
                    <a:pt x="5595476" y="75880"/>
                  </a:cubicBezTo>
                  <a:cubicBezTo>
                    <a:pt x="5595476" y="108369"/>
                    <a:pt x="5569144" y="134701"/>
                    <a:pt x="5536659" y="134701"/>
                  </a:cubicBezTo>
                  <a:cubicBezTo>
                    <a:pt x="5504174" y="134701"/>
                    <a:pt x="5477838" y="108369"/>
                    <a:pt x="5477838" y="75880"/>
                  </a:cubicBezTo>
                  <a:cubicBezTo>
                    <a:pt x="5477838" y="43395"/>
                    <a:pt x="5504174" y="17062"/>
                    <a:pt x="5536659" y="17062"/>
                  </a:cubicBezTo>
                  <a:close/>
                  <a:moveTo>
                    <a:pt x="5690606" y="14157"/>
                  </a:moveTo>
                  <a:cubicBezTo>
                    <a:pt x="5724734" y="14157"/>
                    <a:pt x="5752329" y="41752"/>
                    <a:pt x="5752329" y="75880"/>
                  </a:cubicBezTo>
                  <a:cubicBezTo>
                    <a:pt x="5752329" y="110012"/>
                    <a:pt x="5724734" y="137606"/>
                    <a:pt x="5690606" y="137606"/>
                  </a:cubicBezTo>
                  <a:cubicBezTo>
                    <a:pt x="5656475" y="137606"/>
                    <a:pt x="5628880" y="110012"/>
                    <a:pt x="5628880" y="75880"/>
                  </a:cubicBezTo>
                  <a:cubicBezTo>
                    <a:pt x="5628880" y="41752"/>
                    <a:pt x="5656475" y="14157"/>
                    <a:pt x="5690606" y="14157"/>
                  </a:cubicBezTo>
                  <a:close/>
                  <a:moveTo>
                    <a:pt x="5844554" y="11619"/>
                  </a:moveTo>
                  <a:cubicBezTo>
                    <a:pt x="5880046" y="11619"/>
                    <a:pt x="5908822" y="40391"/>
                    <a:pt x="5908822" y="75884"/>
                  </a:cubicBezTo>
                  <a:cubicBezTo>
                    <a:pt x="5908822" y="111376"/>
                    <a:pt x="5880046" y="140152"/>
                    <a:pt x="5844554" y="140152"/>
                  </a:cubicBezTo>
                  <a:cubicBezTo>
                    <a:pt x="5809062" y="140152"/>
                    <a:pt x="5780289" y="111376"/>
                    <a:pt x="5780289" y="75884"/>
                  </a:cubicBezTo>
                  <a:cubicBezTo>
                    <a:pt x="5780289" y="40391"/>
                    <a:pt x="5809062" y="11619"/>
                    <a:pt x="5844554" y="11619"/>
                  </a:cubicBezTo>
                  <a:close/>
                  <a:moveTo>
                    <a:pt x="5998136" y="8348"/>
                  </a:moveTo>
                  <a:cubicBezTo>
                    <a:pt x="6035435" y="8348"/>
                    <a:pt x="6065671" y="38584"/>
                    <a:pt x="6065671" y="75884"/>
                  </a:cubicBezTo>
                  <a:cubicBezTo>
                    <a:pt x="6065671" y="113179"/>
                    <a:pt x="6035435" y="143415"/>
                    <a:pt x="5998136" y="143415"/>
                  </a:cubicBezTo>
                  <a:cubicBezTo>
                    <a:pt x="5960840" y="143415"/>
                    <a:pt x="5930604" y="113179"/>
                    <a:pt x="5930604" y="75884"/>
                  </a:cubicBezTo>
                  <a:cubicBezTo>
                    <a:pt x="5930604" y="38584"/>
                    <a:pt x="5960840" y="8348"/>
                    <a:pt x="5998136" y="8348"/>
                  </a:cubicBezTo>
                  <a:close/>
                  <a:moveTo>
                    <a:pt x="6152086" y="5809"/>
                  </a:moveTo>
                  <a:cubicBezTo>
                    <a:pt x="6190785" y="5809"/>
                    <a:pt x="6222160" y="37181"/>
                    <a:pt x="6222160" y="75884"/>
                  </a:cubicBezTo>
                  <a:cubicBezTo>
                    <a:pt x="6222160" y="114586"/>
                    <a:pt x="6190785" y="145962"/>
                    <a:pt x="6152086" y="145962"/>
                  </a:cubicBezTo>
                  <a:cubicBezTo>
                    <a:pt x="6113384" y="145962"/>
                    <a:pt x="6082008" y="114586"/>
                    <a:pt x="6082008" y="75884"/>
                  </a:cubicBezTo>
                  <a:cubicBezTo>
                    <a:pt x="6082008" y="37181"/>
                    <a:pt x="6113384" y="5809"/>
                    <a:pt x="6152086" y="5809"/>
                  </a:cubicBezTo>
                  <a:close/>
                  <a:moveTo>
                    <a:pt x="6305668" y="2905"/>
                  </a:moveTo>
                  <a:cubicBezTo>
                    <a:pt x="6345975" y="2905"/>
                    <a:pt x="6378650" y="35580"/>
                    <a:pt x="6378650" y="75884"/>
                  </a:cubicBezTo>
                  <a:cubicBezTo>
                    <a:pt x="6378650" y="116191"/>
                    <a:pt x="6345975" y="148866"/>
                    <a:pt x="6305668" y="148866"/>
                  </a:cubicBezTo>
                  <a:cubicBezTo>
                    <a:pt x="6265365" y="148866"/>
                    <a:pt x="6232689" y="116191"/>
                    <a:pt x="6232689" y="75884"/>
                  </a:cubicBezTo>
                  <a:cubicBezTo>
                    <a:pt x="6232689" y="35580"/>
                    <a:pt x="6265365" y="2905"/>
                    <a:pt x="6305668" y="2905"/>
                  </a:cubicBezTo>
                  <a:close/>
                  <a:moveTo>
                    <a:pt x="6459616" y="362"/>
                  </a:moveTo>
                  <a:cubicBezTo>
                    <a:pt x="6501371" y="362"/>
                    <a:pt x="6535137" y="34128"/>
                    <a:pt x="6535137" y="75884"/>
                  </a:cubicBezTo>
                  <a:cubicBezTo>
                    <a:pt x="6535137" y="117639"/>
                    <a:pt x="6501371" y="151405"/>
                    <a:pt x="6459616" y="151405"/>
                  </a:cubicBezTo>
                  <a:cubicBezTo>
                    <a:pt x="6417860" y="151405"/>
                    <a:pt x="6384094" y="117639"/>
                    <a:pt x="6384094" y="75884"/>
                  </a:cubicBezTo>
                  <a:cubicBezTo>
                    <a:pt x="6384094" y="34128"/>
                    <a:pt x="6417860" y="362"/>
                    <a:pt x="6459616" y="362"/>
                  </a:cubicBezTo>
                  <a:close/>
                  <a:moveTo>
                    <a:pt x="6613200" y="0"/>
                  </a:moveTo>
                  <a:cubicBezTo>
                    <a:pt x="6655112" y="0"/>
                    <a:pt x="6689088" y="33976"/>
                    <a:pt x="6689088" y="75884"/>
                  </a:cubicBezTo>
                  <a:cubicBezTo>
                    <a:pt x="6689088" y="117795"/>
                    <a:pt x="6655112" y="151771"/>
                    <a:pt x="6613200" y="151771"/>
                  </a:cubicBezTo>
                  <a:cubicBezTo>
                    <a:pt x="6571289" y="151771"/>
                    <a:pt x="6537317" y="117795"/>
                    <a:pt x="6537317" y="75884"/>
                  </a:cubicBezTo>
                  <a:cubicBezTo>
                    <a:pt x="6537317" y="33976"/>
                    <a:pt x="6571289" y="0"/>
                    <a:pt x="6613200" y="0"/>
                  </a:cubicBezTo>
                  <a:close/>
                </a:path>
              </a:pathLst>
            </a:custGeom>
            <a:gradFill>
              <a:gsLst>
                <a:gs pos="14000">
                  <a:schemeClr val="tx2">
                    <a:lumMod val="75000"/>
                  </a:schemeClr>
                </a:gs>
                <a:gs pos="100000">
                  <a:schemeClr val="accent1"/>
                </a:gs>
              </a:gsLst>
              <a:lin ang="8100000" scaled="1"/>
            </a:gra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Shape 11">
              <a:extLst>
                <a:ext uri="{FF2B5EF4-FFF2-40B4-BE49-F238E27FC236}">
                  <a16:creationId xmlns:a16="http://schemas.microsoft.com/office/drawing/2014/main" id="{B27E4F83-B861-FB9B-CC02-6FE7CA4C736F}"/>
                </a:ext>
              </a:extLst>
            </p:cNvPr>
            <p:cNvSpPr/>
            <p:nvPr/>
          </p:nvSpPr>
          <p:spPr>
            <a:xfrm flipV="1">
              <a:off x="4543119" y="4585354"/>
              <a:ext cx="7648881" cy="2272646"/>
            </a:xfrm>
            <a:custGeom>
              <a:avLst/>
              <a:gdLst>
                <a:gd name="connsiteX0" fmla="*/ 6317320 w 6805716"/>
                <a:gd name="connsiteY0" fmla="*/ 2022124 h 2022124"/>
                <a:gd name="connsiteX1" fmla="*/ 6235217 w 6805716"/>
                <a:gd name="connsiteY1" fmla="*/ 2019188 h 2022124"/>
                <a:gd name="connsiteX2" fmla="*/ 5644658 w 6805716"/>
                <a:gd name="connsiteY2" fmla="*/ 1846774 h 2022124"/>
                <a:gd name="connsiteX3" fmla="*/ 5175292 w 6805716"/>
                <a:gd name="connsiteY3" fmla="*/ 1561331 h 2022124"/>
                <a:gd name="connsiteX4" fmla="*/ 4599584 w 6805716"/>
                <a:gd name="connsiteY4" fmla="*/ 1225632 h 2022124"/>
                <a:gd name="connsiteX5" fmla="*/ 2890421 w 6805716"/>
                <a:gd name="connsiteY5" fmla="*/ 1055789 h 2022124"/>
                <a:gd name="connsiteX6" fmla="*/ 2629967 w 6805716"/>
                <a:gd name="connsiteY6" fmla="*/ 1080114 h 2022124"/>
                <a:gd name="connsiteX7" fmla="*/ 1157832 w 6805716"/>
                <a:gd name="connsiteY7" fmla="*/ 1087229 h 2022124"/>
                <a:gd name="connsiteX8" fmla="*/ 371584 w 6805716"/>
                <a:gd name="connsiteY8" fmla="*/ 750351 h 2022124"/>
                <a:gd name="connsiteX9" fmla="*/ 180 w 6805716"/>
                <a:gd name="connsiteY9" fmla="*/ 0 h 2022124"/>
                <a:gd name="connsiteX10" fmla="*/ 6138 w 6805716"/>
                <a:gd name="connsiteY10" fmla="*/ 129 h 2022124"/>
                <a:gd name="connsiteX11" fmla="*/ 375399 w 6805716"/>
                <a:gd name="connsiteY11" fmla="*/ 745765 h 2022124"/>
                <a:gd name="connsiteX12" fmla="*/ 1158904 w 6805716"/>
                <a:gd name="connsiteY12" fmla="*/ 1081357 h 2022124"/>
                <a:gd name="connsiteX13" fmla="*/ 2629388 w 6805716"/>
                <a:gd name="connsiteY13" fmla="*/ 1074156 h 2022124"/>
                <a:gd name="connsiteX14" fmla="*/ 2889906 w 6805716"/>
                <a:gd name="connsiteY14" fmla="*/ 1049831 h 2022124"/>
                <a:gd name="connsiteX15" fmla="*/ 4601984 w 6805716"/>
                <a:gd name="connsiteY15" fmla="*/ 1220167 h 2022124"/>
                <a:gd name="connsiteX16" fmla="*/ 5178571 w 6805716"/>
                <a:gd name="connsiteY16" fmla="*/ 1556337 h 2022124"/>
                <a:gd name="connsiteX17" fmla="*/ 5647358 w 6805716"/>
                <a:gd name="connsiteY17" fmla="*/ 1841437 h 2022124"/>
                <a:gd name="connsiteX18" fmla="*/ 6802331 w 6805716"/>
                <a:gd name="connsiteY18" fmla="*/ 1875256 h 2022124"/>
                <a:gd name="connsiteX19" fmla="*/ 6805717 w 6805716"/>
                <a:gd name="connsiteY19" fmla="*/ 1880163 h 2022124"/>
                <a:gd name="connsiteX20" fmla="*/ 6317342 w 6805716"/>
                <a:gd name="connsiteY20" fmla="*/ 2022103 h 2022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805716" h="2022124">
                  <a:moveTo>
                    <a:pt x="6317320" y="2022124"/>
                  </a:moveTo>
                  <a:cubicBezTo>
                    <a:pt x="6290424" y="2022124"/>
                    <a:pt x="6263057" y="2021138"/>
                    <a:pt x="6235217" y="2019188"/>
                  </a:cubicBezTo>
                  <a:cubicBezTo>
                    <a:pt x="6044565" y="2005794"/>
                    <a:pt x="5840347" y="1946172"/>
                    <a:pt x="5644658" y="1846774"/>
                  </a:cubicBezTo>
                  <a:cubicBezTo>
                    <a:pt x="5481395" y="1763835"/>
                    <a:pt x="5325761" y="1660879"/>
                    <a:pt x="5175292" y="1561331"/>
                  </a:cubicBezTo>
                  <a:cubicBezTo>
                    <a:pt x="4992397" y="1440330"/>
                    <a:pt x="4803267" y="1315193"/>
                    <a:pt x="4599584" y="1225632"/>
                  </a:cubicBezTo>
                  <a:cubicBezTo>
                    <a:pt x="4066868" y="991388"/>
                    <a:pt x="3463278" y="1005576"/>
                    <a:pt x="2890421" y="1055789"/>
                  </a:cubicBezTo>
                  <a:cubicBezTo>
                    <a:pt x="2803752" y="1063397"/>
                    <a:pt x="2715391" y="1071884"/>
                    <a:pt x="2629967" y="1080114"/>
                  </a:cubicBezTo>
                  <a:cubicBezTo>
                    <a:pt x="2144548" y="1126812"/>
                    <a:pt x="1642650" y="1175118"/>
                    <a:pt x="1157832" y="1087229"/>
                  </a:cubicBezTo>
                  <a:cubicBezTo>
                    <a:pt x="834113" y="1028550"/>
                    <a:pt x="569566" y="915200"/>
                    <a:pt x="371584" y="750351"/>
                  </a:cubicBezTo>
                  <a:cubicBezTo>
                    <a:pt x="133119" y="551790"/>
                    <a:pt x="-5713" y="271298"/>
                    <a:pt x="180" y="0"/>
                  </a:cubicBezTo>
                  <a:lnTo>
                    <a:pt x="6138" y="129"/>
                  </a:lnTo>
                  <a:cubicBezTo>
                    <a:pt x="288" y="269627"/>
                    <a:pt x="138326" y="548361"/>
                    <a:pt x="375399" y="745765"/>
                  </a:cubicBezTo>
                  <a:cubicBezTo>
                    <a:pt x="572588" y="909949"/>
                    <a:pt x="836192" y="1022871"/>
                    <a:pt x="1158904" y="1081357"/>
                  </a:cubicBezTo>
                  <a:cubicBezTo>
                    <a:pt x="1642864" y="1169075"/>
                    <a:pt x="2144377" y="1120833"/>
                    <a:pt x="2629388" y="1074156"/>
                  </a:cubicBezTo>
                  <a:cubicBezTo>
                    <a:pt x="2714834" y="1065926"/>
                    <a:pt x="2803195" y="1057439"/>
                    <a:pt x="2889906" y="1049831"/>
                  </a:cubicBezTo>
                  <a:cubicBezTo>
                    <a:pt x="3463556" y="999554"/>
                    <a:pt x="4068046" y="985366"/>
                    <a:pt x="4601984" y="1220167"/>
                  </a:cubicBezTo>
                  <a:cubicBezTo>
                    <a:pt x="4806117" y="1309921"/>
                    <a:pt x="4995462" y="1435208"/>
                    <a:pt x="5178571" y="1556337"/>
                  </a:cubicBezTo>
                  <a:cubicBezTo>
                    <a:pt x="5328911" y="1655821"/>
                    <a:pt x="5484395" y="1758670"/>
                    <a:pt x="5647358" y="1841437"/>
                  </a:cubicBezTo>
                  <a:cubicBezTo>
                    <a:pt x="6081576" y="2061965"/>
                    <a:pt x="6513352" y="2074609"/>
                    <a:pt x="6802331" y="1875256"/>
                  </a:cubicBezTo>
                  <a:lnTo>
                    <a:pt x="6805717" y="1880163"/>
                  </a:lnTo>
                  <a:cubicBezTo>
                    <a:pt x="6668986" y="1974504"/>
                    <a:pt x="6504994" y="2022103"/>
                    <a:pt x="6317342" y="2022103"/>
                  </a:cubicBezTo>
                  <a:close/>
                </a:path>
              </a:pathLst>
            </a:custGeom>
            <a:solidFill>
              <a:schemeClr val="accent1"/>
            </a:solidFill>
            <a:ln w="3175" cap="flat">
              <a:solidFill>
                <a:schemeClr val="accent1"/>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 name="Freeform: Shape 24">
              <a:extLst>
                <a:ext uri="{FF2B5EF4-FFF2-40B4-BE49-F238E27FC236}">
                  <a16:creationId xmlns:a16="http://schemas.microsoft.com/office/drawing/2014/main" id="{51B73858-F678-1098-A41A-42F9A7EE880B}"/>
                </a:ext>
              </a:extLst>
            </p:cNvPr>
            <p:cNvSpPr/>
            <p:nvPr/>
          </p:nvSpPr>
          <p:spPr>
            <a:xfrm>
              <a:off x="9296690" y="0"/>
              <a:ext cx="2895307" cy="2794000"/>
            </a:xfrm>
            <a:custGeom>
              <a:avLst/>
              <a:gdLst>
                <a:gd name="connsiteX0" fmla="*/ 1499186 w 2895307"/>
                <a:gd name="connsiteY0" fmla="*/ 550925 h 2794000"/>
                <a:gd name="connsiteX1" fmla="*/ 755297 w 2895307"/>
                <a:gd name="connsiteY1" fmla="*/ 1294842 h 2794000"/>
                <a:gd name="connsiteX2" fmla="*/ 1499186 w 2895307"/>
                <a:gd name="connsiteY2" fmla="*/ 2038730 h 2794000"/>
                <a:gd name="connsiteX3" fmla="*/ 2243102 w 2895307"/>
                <a:gd name="connsiteY3" fmla="*/ 1294842 h 2794000"/>
                <a:gd name="connsiteX4" fmla="*/ 1499186 w 2895307"/>
                <a:gd name="connsiteY4" fmla="*/ 550925 h 2794000"/>
                <a:gd name="connsiteX5" fmla="*/ 1499186 w 2895307"/>
                <a:gd name="connsiteY5" fmla="*/ 543329 h 2794000"/>
                <a:gd name="connsiteX6" fmla="*/ 2250671 w 2895307"/>
                <a:gd name="connsiteY6" fmla="*/ 1294814 h 2794000"/>
                <a:gd name="connsiteX7" fmla="*/ 1499186 w 2895307"/>
                <a:gd name="connsiteY7" fmla="*/ 2046299 h 2794000"/>
                <a:gd name="connsiteX8" fmla="*/ 747701 w 2895307"/>
                <a:gd name="connsiteY8" fmla="*/ 1294814 h 2794000"/>
                <a:gd name="connsiteX9" fmla="*/ 1499186 w 2895307"/>
                <a:gd name="connsiteY9" fmla="*/ 543329 h 2794000"/>
                <a:gd name="connsiteX10" fmla="*/ 1499186 w 2895307"/>
                <a:gd name="connsiteY10" fmla="*/ 363993 h 2794000"/>
                <a:gd name="connsiteX11" fmla="*/ 568365 w 2895307"/>
                <a:gd name="connsiteY11" fmla="*/ 1294814 h 2794000"/>
                <a:gd name="connsiteX12" fmla="*/ 1499186 w 2895307"/>
                <a:gd name="connsiteY12" fmla="*/ 2225636 h 2794000"/>
                <a:gd name="connsiteX13" fmla="*/ 2430007 w 2895307"/>
                <a:gd name="connsiteY13" fmla="*/ 1294814 h 2794000"/>
                <a:gd name="connsiteX14" fmla="*/ 1499186 w 2895307"/>
                <a:gd name="connsiteY14" fmla="*/ 363993 h 2794000"/>
                <a:gd name="connsiteX15" fmla="*/ 1499186 w 2895307"/>
                <a:gd name="connsiteY15" fmla="*/ 356424 h 2794000"/>
                <a:gd name="connsiteX16" fmla="*/ 2437576 w 2895307"/>
                <a:gd name="connsiteY16" fmla="*/ 1294841 h 2794000"/>
                <a:gd name="connsiteX17" fmla="*/ 1499186 w 2895307"/>
                <a:gd name="connsiteY17" fmla="*/ 2233231 h 2794000"/>
                <a:gd name="connsiteX18" fmla="*/ 560796 w 2895307"/>
                <a:gd name="connsiteY18" fmla="*/ 1294841 h 2794000"/>
                <a:gd name="connsiteX19" fmla="*/ 1499186 w 2895307"/>
                <a:gd name="connsiteY19" fmla="*/ 356424 h 2794000"/>
                <a:gd name="connsiteX20" fmla="*/ 1499186 w 2895307"/>
                <a:gd name="connsiteY20" fmla="*/ 177061 h 2794000"/>
                <a:gd name="connsiteX21" fmla="*/ 381433 w 2895307"/>
                <a:gd name="connsiteY21" fmla="*/ 1294814 h 2794000"/>
                <a:gd name="connsiteX22" fmla="*/ 1499186 w 2895307"/>
                <a:gd name="connsiteY22" fmla="*/ 2412567 h 2794000"/>
                <a:gd name="connsiteX23" fmla="*/ 2616939 w 2895307"/>
                <a:gd name="connsiteY23" fmla="*/ 1294814 h 2794000"/>
                <a:gd name="connsiteX24" fmla="*/ 1499186 w 2895307"/>
                <a:gd name="connsiteY24" fmla="*/ 177061 h 2794000"/>
                <a:gd name="connsiteX25" fmla="*/ 1499186 w 2895307"/>
                <a:gd name="connsiteY25" fmla="*/ 169492 h 2794000"/>
                <a:gd name="connsiteX26" fmla="*/ 2624508 w 2895307"/>
                <a:gd name="connsiteY26" fmla="*/ 1294814 h 2794000"/>
                <a:gd name="connsiteX27" fmla="*/ 1499186 w 2895307"/>
                <a:gd name="connsiteY27" fmla="*/ 2420136 h 2794000"/>
                <a:gd name="connsiteX28" fmla="*/ 373864 w 2895307"/>
                <a:gd name="connsiteY28" fmla="*/ 1294814 h 2794000"/>
                <a:gd name="connsiteX29" fmla="*/ 1499186 w 2895307"/>
                <a:gd name="connsiteY29" fmla="*/ 169492 h 2794000"/>
                <a:gd name="connsiteX30" fmla="*/ 2231234 w 2895307"/>
                <a:gd name="connsiteY30" fmla="*/ 0 h 2794000"/>
                <a:gd name="connsiteX31" fmla="*/ 2253259 w 2895307"/>
                <a:gd name="connsiteY31" fmla="*/ 0 h 2794000"/>
                <a:gd name="connsiteX32" fmla="*/ 2330809 w 2895307"/>
                <a:gd name="connsiteY32" fmla="*/ 46514 h 2794000"/>
                <a:gd name="connsiteX33" fmla="*/ 2559521 w 2895307"/>
                <a:gd name="connsiteY33" fmla="*/ 234480 h 2794000"/>
                <a:gd name="connsiteX34" fmla="*/ 2885066 w 2895307"/>
                <a:gd name="connsiteY34" fmla="*/ 720480 h 2794000"/>
                <a:gd name="connsiteX35" fmla="*/ 2895307 w 2895307"/>
                <a:gd name="connsiteY35" fmla="*/ 749146 h 2794000"/>
                <a:gd name="connsiteX36" fmla="*/ 2895307 w 2895307"/>
                <a:gd name="connsiteY36" fmla="*/ 774587 h 2794000"/>
                <a:gd name="connsiteX37" fmla="*/ 2873374 w 2895307"/>
                <a:gd name="connsiteY37" fmla="*/ 714777 h 2794000"/>
                <a:gd name="connsiteX38" fmla="*/ 2332568 w 2895307"/>
                <a:gd name="connsiteY38" fmla="*/ 58312 h 2794000"/>
                <a:gd name="connsiteX39" fmla="*/ 1295608 w 2895307"/>
                <a:gd name="connsiteY39" fmla="*/ 0 h 2794000"/>
                <a:gd name="connsiteX40" fmla="*/ 1345758 w 2895307"/>
                <a:gd name="connsiteY40" fmla="*/ 0 h 2794000"/>
                <a:gd name="connsiteX41" fmla="*/ 1236584 w 2895307"/>
                <a:gd name="connsiteY41" fmla="*/ 16710 h 2794000"/>
                <a:gd name="connsiteX42" fmla="*/ 194528 w 2895307"/>
                <a:gd name="connsiteY42" fmla="*/ 1294841 h 2794000"/>
                <a:gd name="connsiteX43" fmla="*/ 1499186 w 2895307"/>
                <a:gd name="connsiteY43" fmla="*/ 2599499 h 2794000"/>
                <a:gd name="connsiteX44" fmla="*/ 2803871 w 2895307"/>
                <a:gd name="connsiteY44" fmla="*/ 1294841 h 2794000"/>
                <a:gd name="connsiteX45" fmla="*/ 1761797 w 2895307"/>
                <a:gd name="connsiteY45" fmla="*/ 16711 h 2794000"/>
                <a:gd name="connsiteX46" fmla="*/ 1652616 w 2895307"/>
                <a:gd name="connsiteY46" fmla="*/ 0 h 2794000"/>
                <a:gd name="connsiteX47" fmla="*/ 1702764 w 2895307"/>
                <a:gd name="connsiteY47" fmla="*/ 0 h 2794000"/>
                <a:gd name="connsiteX48" fmla="*/ 1763318 w 2895307"/>
                <a:gd name="connsiteY48" fmla="*/ 9268 h 2794000"/>
                <a:gd name="connsiteX49" fmla="*/ 2811440 w 2895307"/>
                <a:gd name="connsiteY49" fmla="*/ 1294814 h 2794000"/>
                <a:gd name="connsiteX50" fmla="*/ 1499186 w 2895307"/>
                <a:gd name="connsiteY50" fmla="*/ 2607068 h 2794000"/>
                <a:gd name="connsiteX51" fmla="*/ 186932 w 2895307"/>
                <a:gd name="connsiteY51" fmla="*/ 1294814 h 2794000"/>
                <a:gd name="connsiteX52" fmla="*/ 1235054 w 2895307"/>
                <a:gd name="connsiteY52" fmla="*/ 9268 h 2794000"/>
                <a:gd name="connsiteX53" fmla="*/ 745123 w 2895307"/>
                <a:gd name="connsiteY53" fmla="*/ 0 h 2794000"/>
                <a:gd name="connsiteX54" fmla="*/ 761686 w 2895307"/>
                <a:gd name="connsiteY54" fmla="*/ 0 h 2794000"/>
                <a:gd name="connsiteX55" fmla="*/ 665804 w 2895307"/>
                <a:gd name="connsiteY55" fmla="*/ 58312 h 2794000"/>
                <a:gd name="connsiteX56" fmla="*/ 7596 w 2895307"/>
                <a:gd name="connsiteY56" fmla="*/ 1294814 h 2794000"/>
                <a:gd name="connsiteX57" fmla="*/ 1499186 w 2895307"/>
                <a:gd name="connsiteY57" fmla="*/ 2786404 h 2794000"/>
                <a:gd name="connsiteX58" fmla="*/ 2873374 w 2895307"/>
                <a:gd name="connsiteY58" fmla="*/ 1874851 h 2794000"/>
                <a:gd name="connsiteX59" fmla="*/ 2895307 w 2895307"/>
                <a:gd name="connsiteY59" fmla="*/ 1815041 h 2794000"/>
                <a:gd name="connsiteX60" fmla="*/ 2895307 w 2895307"/>
                <a:gd name="connsiteY60" fmla="*/ 1840473 h 2794000"/>
                <a:gd name="connsiteX61" fmla="*/ 2885066 w 2895307"/>
                <a:gd name="connsiteY61" fmla="*/ 1869138 h 2794000"/>
                <a:gd name="connsiteX62" fmla="*/ 2559521 w 2895307"/>
                <a:gd name="connsiteY62" fmla="*/ 2355148 h 2794000"/>
                <a:gd name="connsiteX63" fmla="*/ 1499186 w 2895307"/>
                <a:gd name="connsiteY63" fmla="*/ 2794000 h 2794000"/>
                <a:gd name="connsiteX64" fmla="*/ 438853 w 2895307"/>
                <a:gd name="connsiteY64" fmla="*/ 2355148 h 2794000"/>
                <a:gd name="connsiteX65" fmla="*/ 0 w 2895307"/>
                <a:gd name="connsiteY65" fmla="*/ 1294814 h 2794000"/>
                <a:gd name="connsiteX66" fmla="*/ 438853 w 2895307"/>
                <a:gd name="connsiteY66" fmla="*/ 234480 h 2794000"/>
                <a:gd name="connsiteX67" fmla="*/ 667553 w 2895307"/>
                <a:gd name="connsiteY67" fmla="*/ 46526 h 279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2895307" h="2794000">
                  <a:moveTo>
                    <a:pt x="1499186" y="550925"/>
                  </a:moveTo>
                  <a:cubicBezTo>
                    <a:pt x="1089003" y="550925"/>
                    <a:pt x="755297" y="884631"/>
                    <a:pt x="755297" y="1294842"/>
                  </a:cubicBezTo>
                  <a:cubicBezTo>
                    <a:pt x="755297" y="1705051"/>
                    <a:pt x="1089003" y="2038730"/>
                    <a:pt x="1499186" y="2038730"/>
                  </a:cubicBezTo>
                  <a:cubicBezTo>
                    <a:pt x="1909368" y="2038730"/>
                    <a:pt x="2243102" y="1705024"/>
                    <a:pt x="2243102" y="1294842"/>
                  </a:cubicBezTo>
                  <a:cubicBezTo>
                    <a:pt x="2243102" y="884659"/>
                    <a:pt x="1909368" y="550925"/>
                    <a:pt x="1499186" y="550925"/>
                  </a:cubicBezTo>
                  <a:close/>
                  <a:moveTo>
                    <a:pt x="1499186" y="543329"/>
                  </a:moveTo>
                  <a:cubicBezTo>
                    <a:pt x="1913562" y="543329"/>
                    <a:pt x="2250671" y="880439"/>
                    <a:pt x="2250671" y="1294814"/>
                  </a:cubicBezTo>
                  <a:cubicBezTo>
                    <a:pt x="2250671" y="1709190"/>
                    <a:pt x="1913562" y="2046299"/>
                    <a:pt x="1499186" y="2046299"/>
                  </a:cubicBezTo>
                  <a:cubicBezTo>
                    <a:pt x="1084837" y="2046299"/>
                    <a:pt x="747701" y="1709190"/>
                    <a:pt x="747701" y="1294814"/>
                  </a:cubicBezTo>
                  <a:cubicBezTo>
                    <a:pt x="747701" y="880439"/>
                    <a:pt x="1084810" y="543329"/>
                    <a:pt x="1499186" y="543329"/>
                  </a:cubicBezTo>
                  <a:close/>
                  <a:moveTo>
                    <a:pt x="1499186" y="363993"/>
                  </a:moveTo>
                  <a:cubicBezTo>
                    <a:pt x="985926" y="363993"/>
                    <a:pt x="568365" y="781554"/>
                    <a:pt x="568365" y="1294814"/>
                  </a:cubicBezTo>
                  <a:cubicBezTo>
                    <a:pt x="568365" y="1808074"/>
                    <a:pt x="985926" y="2225636"/>
                    <a:pt x="1499186" y="2225636"/>
                  </a:cubicBezTo>
                  <a:cubicBezTo>
                    <a:pt x="2012446" y="2225636"/>
                    <a:pt x="2430007" y="1808074"/>
                    <a:pt x="2430007" y="1294814"/>
                  </a:cubicBezTo>
                  <a:cubicBezTo>
                    <a:pt x="2430007" y="781554"/>
                    <a:pt x="2012446" y="363993"/>
                    <a:pt x="1499186" y="363993"/>
                  </a:cubicBezTo>
                  <a:close/>
                  <a:moveTo>
                    <a:pt x="1499186" y="356424"/>
                  </a:moveTo>
                  <a:cubicBezTo>
                    <a:pt x="2016612" y="356424"/>
                    <a:pt x="2437576" y="777389"/>
                    <a:pt x="2437576" y="1294841"/>
                  </a:cubicBezTo>
                  <a:cubicBezTo>
                    <a:pt x="2437576" y="1812294"/>
                    <a:pt x="2016612" y="2233231"/>
                    <a:pt x="1499186" y="2233231"/>
                  </a:cubicBezTo>
                  <a:cubicBezTo>
                    <a:pt x="981734" y="2233231"/>
                    <a:pt x="560796" y="1812266"/>
                    <a:pt x="560796" y="1294841"/>
                  </a:cubicBezTo>
                  <a:cubicBezTo>
                    <a:pt x="560796" y="777415"/>
                    <a:pt x="981761" y="356424"/>
                    <a:pt x="1499186" y="356424"/>
                  </a:cubicBezTo>
                  <a:close/>
                  <a:moveTo>
                    <a:pt x="1499186" y="177061"/>
                  </a:moveTo>
                  <a:cubicBezTo>
                    <a:pt x="882849" y="177061"/>
                    <a:pt x="381433" y="678477"/>
                    <a:pt x="381433" y="1294814"/>
                  </a:cubicBezTo>
                  <a:cubicBezTo>
                    <a:pt x="381433" y="1911151"/>
                    <a:pt x="882849" y="2412567"/>
                    <a:pt x="1499186" y="2412567"/>
                  </a:cubicBezTo>
                  <a:cubicBezTo>
                    <a:pt x="2115523" y="2412567"/>
                    <a:pt x="2616939" y="1911151"/>
                    <a:pt x="2616939" y="1294814"/>
                  </a:cubicBezTo>
                  <a:cubicBezTo>
                    <a:pt x="2616939" y="678477"/>
                    <a:pt x="2115523" y="177061"/>
                    <a:pt x="1499186" y="177061"/>
                  </a:cubicBezTo>
                  <a:close/>
                  <a:moveTo>
                    <a:pt x="1499186" y="169492"/>
                  </a:moveTo>
                  <a:cubicBezTo>
                    <a:pt x="2119689" y="169492"/>
                    <a:pt x="2624508" y="674312"/>
                    <a:pt x="2624508" y="1294814"/>
                  </a:cubicBezTo>
                  <a:cubicBezTo>
                    <a:pt x="2624508" y="1915315"/>
                    <a:pt x="2119689" y="2420136"/>
                    <a:pt x="1499186" y="2420136"/>
                  </a:cubicBezTo>
                  <a:cubicBezTo>
                    <a:pt x="878684" y="2420136"/>
                    <a:pt x="373864" y="1915315"/>
                    <a:pt x="373864" y="1294814"/>
                  </a:cubicBezTo>
                  <a:cubicBezTo>
                    <a:pt x="373864" y="674312"/>
                    <a:pt x="878684" y="169492"/>
                    <a:pt x="1499186" y="169492"/>
                  </a:cubicBezTo>
                  <a:close/>
                  <a:moveTo>
                    <a:pt x="2231234" y="0"/>
                  </a:moveTo>
                  <a:lnTo>
                    <a:pt x="2253259" y="0"/>
                  </a:lnTo>
                  <a:lnTo>
                    <a:pt x="2330809" y="46514"/>
                  </a:lnTo>
                  <a:cubicBezTo>
                    <a:pt x="2412170" y="100922"/>
                    <a:pt x="2488768" y="163727"/>
                    <a:pt x="2559521" y="234480"/>
                  </a:cubicBezTo>
                  <a:cubicBezTo>
                    <a:pt x="2701013" y="375973"/>
                    <a:pt x="2810726" y="540865"/>
                    <a:pt x="2885066" y="720480"/>
                  </a:cubicBezTo>
                  <a:lnTo>
                    <a:pt x="2895307" y="749146"/>
                  </a:lnTo>
                  <a:lnTo>
                    <a:pt x="2895307" y="774587"/>
                  </a:lnTo>
                  <a:lnTo>
                    <a:pt x="2873374" y="714777"/>
                  </a:lnTo>
                  <a:cubicBezTo>
                    <a:pt x="2760001" y="447193"/>
                    <a:pt x="2570666" y="219304"/>
                    <a:pt x="2332568" y="58312"/>
                  </a:cubicBezTo>
                  <a:close/>
                  <a:moveTo>
                    <a:pt x="1295608" y="0"/>
                  </a:moveTo>
                  <a:lnTo>
                    <a:pt x="1345758" y="0"/>
                  </a:lnTo>
                  <a:lnTo>
                    <a:pt x="1236584" y="16710"/>
                  </a:lnTo>
                  <a:cubicBezTo>
                    <a:pt x="642627" y="138570"/>
                    <a:pt x="194528" y="665355"/>
                    <a:pt x="194528" y="1294841"/>
                  </a:cubicBezTo>
                  <a:cubicBezTo>
                    <a:pt x="194528" y="2014255"/>
                    <a:pt x="779800" y="2599499"/>
                    <a:pt x="1499186" y="2599499"/>
                  </a:cubicBezTo>
                  <a:cubicBezTo>
                    <a:pt x="2218572" y="2599499"/>
                    <a:pt x="2803871" y="2014227"/>
                    <a:pt x="2803871" y="1294841"/>
                  </a:cubicBezTo>
                  <a:cubicBezTo>
                    <a:pt x="2803871" y="665378"/>
                    <a:pt x="2355772" y="138576"/>
                    <a:pt x="1761797" y="16711"/>
                  </a:cubicBezTo>
                  <a:lnTo>
                    <a:pt x="1652616" y="0"/>
                  </a:lnTo>
                  <a:lnTo>
                    <a:pt x="1702764" y="0"/>
                  </a:lnTo>
                  <a:lnTo>
                    <a:pt x="1763318" y="9268"/>
                  </a:lnTo>
                  <a:cubicBezTo>
                    <a:pt x="2360735" y="131837"/>
                    <a:pt x="2811440" y="661683"/>
                    <a:pt x="2811440" y="1294814"/>
                  </a:cubicBezTo>
                  <a:cubicBezTo>
                    <a:pt x="2811440" y="2018393"/>
                    <a:pt x="2222764" y="2607068"/>
                    <a:pt x="1499186" y="2607068"/>
                  </a:cubicBezTo>
                  <a:cubicBezTo>
                    <a:pt x="775607" y="2607068"/>
                    <a:pt x="186932" y="2018393"/>
                    <a:pt x="186932" y="1294814"/>
                  </a:cubicBezTo>
                  <a:cubicBezTo>
                    <a:pt x="186932" y="661683"/>
                    <a:pt x="637636" y="131837"/>
                    <a:pt x="1235054" y="9268"/>
                  </a:cubicBezTo>
                  <a:close/>
                  <a:moveTo>
                    <a:pt x="745123" y="0"/>
                  </a:moveTo>
                  <a:lnTo>
                    <a:pt x="761686" y="0"/>
                  </a:lnTo>
                  <a:lnTo>
                    <a:pt x="665804" y="58312"/>
                  </a:lnTo>
                  <a:cubicBezTo>
                    <a:pt x="268974" y="326632"/>
                    <a:pt x="7596" y="780775"/>
                    <a:pt x="7596" y="1294814"/>
                  </a:cubicBezTo>
                  <a:cubicBezTo>
                    <a:pt x="7596" y="2117276"/>
                    <a:pt x="676723" y="2786404"/>
                    <a:pt x="1499186" y="2786404"/>
                  </a:cubicBezTo>
                  <a:cubicBezTo>
                    <a:pt x="2116033" y="2786404"/>
                    <a:pt x="2646629" y="2410020"/>
                    <a:pt x="2873374" y="1874851"/>
                  </a:cubicBezTo>
                  <a:lnTo>
                    <a:pt x="2895307" y="1815041"/>
                  </a:lnTo>
                  <a:lnTo>
                    <a:pt x="2895307" y="1840473"/>
                  </a:lnTo>
                  <a:lnTo>
                    <a:pt x="2885066" y="1869138"/>
                  </a:lnTo>
                  <a:cubicBezTo>
                    <a:pt x="2810726" y="2048750"/>
                    <a:pt x="2701013" y="2213643"/>
                    <a:pt x="2559521" y="2355148"/>
                  </a:cubicBezTo>
                  <a:cubicBezTo>
                    <a:pt x="2276536" y="2638133"/>
                    <a:pt x="1899977" y="2794000"/>
                    <a:pt x="1499186" y="2794000"/>
                  </a:cubicBezTo>
                  <a:cubicBezTo>
                    <a:pt x="1098423" y="2794000"/>
                    <a:pt x="721837" y="2638160"/>
                    <a:pt x="438853" y="2355148"/>
                  </a:cubicBezTo>
                  <a:cubicBezTo>
                    <a:pt x="155868" y="2072164"/>
                    <a:pt x="0" y="1695577"/>
                    <a:pt x="0" y="1294814"/>
                  </a:cubicBezTo>
                  <a:cubicBezTo>
                    <a:pt x="0" y="894051"/>
                    <a:pt x="155868" y="517491"/>
                    <a:pt x="438853" y="234480"/>
                  </a:cubicBezTo>
                  <a:cubicBezTo>
                    <a:pt x="509599" y="163734"/>
                    <a:pt x="586193" y="100933"/>
                    <a:pt x="667553" y="46526"/>
                  </a:cubicBezTo>
                  <a:close/>
                </a:path>
              </a:pathLst>
            </a:custGeom>
            <a:solidFill>
              <a:schemeClr val="tx2"/>
            </a:solidFill>
            <a:ln w="2142" cap="flat">
              <a:noFill/>
              <a:prstDash val="solid"/>
              <a:miter/>
            </a:ln>
          </p:spPr>
          <p:txBody>
            <a:bodyPr wrap="square"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sp>
          <p:nvSpPr>
            <p:cNvPr id="8" name="Freeform: Shape 7">
              <a:extLst>
                <a:ext uri="{FF2B5EF4-FFF2-40B4-BE49-F238E27FC236}">
                  <a16:creationId xmlns:a16="http://schemas.microsoft.com/office/drawing/2014/main" id="{C27A2C3D-3B3D-E106-7D12-BDE73433E3A1}"/>
                </a:ext>
              </a:extLst>
            </p:cNvPr>
            <p:cNvSpPr/>
            <p:nvPr/>
          </p:nvSpPr>
          <p:spPr>
            <a:xfrm>
              <a:off x="7162800" y="0"/>
              <a:ext cx="5029197" cy="1494282"/>
            </a:xfrm>
            <a:custGeom>
              <a:avLst/>
              <a:gdLst>
                <a:gd name="connsiteX0" fmla="*/ 6317320 w 6805716"/>
                <a:gd name="connsiteY0" fmla="*/ 2022124 h 2022124"/>
                <a:gd name="connsiteX1" fmla="*/ 6235217 w 6805716"/>
                <a:gd name="connsiteY1" fmla="*/ 2019188 h 2022124"/>
                <a:gd name="connsiteX2" fmla="*/ 5644658 w 6805716"/>
                <a:gd name="connsiteY2" fmla="*/ 1846774 h 2022124"/>
                <a:gd name="connsiteX3" fmla="*/ 5175292 w 6805716"/>
                <a:gd name="connsiteY3" fmla="*/ 1561331 h 2022124"/>
                <a:gd name="connsiteX4" fmla="*/ 4599584 w 6805716"/>
                <a:gd name="connsiteY4" fmla="*/ 1225632 h 2022124"/>
                <a:gd name="connsiteX5" fmla="*/ 2890421 w 6805716"/>
                <a:gd name="connsiteY5" fmla="*/ 1055789 h 2022124"/>
                <a:gd name="connsiteX6" fmla="*/ 2629967 w 6805716"/>
                <a:gd name="connsiteY6" fmla="*/ 1080114 h 2022124"/>
                <a:gd name="connsiteX7" fmla="*/ 1157832 w 6805716"/>
                <a:gd name="connsiteY7" fmla="*/ 1087229 h 2022124"/>
                <a:gd name="connsiteX8" fmla="*/ 371584 w 6805716"/>
                <a:gd name="connsiteY8" fmla="*/ 750351 h 2022124"/>
                <a:gd name="connsiteX9" fmla="*/ 180 w 6805716"/>
                <a:gd name="connsiteY9" fmla="*/ 0 h 2022124"/>
                <a:gd name="connsiteX10" fmla="*/ 6138 w 6805716"/>
                <a:gd name="connsiteY10" fmla="*/ 129 h 2022124"/>
                <a:gd name="connsiteX11" fmla="*/ 375399 w 6805716"/>
                <a:gd name="connsiteY11" fmla="*/ 745765 h 2022124"/>
                <a:gd name="connsiteX12" fmla="*/ 1158904 w 6805716"/>
                <a:gd name="connsiteY12" fmla="*/ 1081357 h 2022124"/>
                <a:gd name="connsiteX13" fmla="*/ 2629388 w 6805716"/>
                <a:gd name="connsiteY13" fmla="*/ 1074156 h 2022124"/>
                <a:gd name="connsiteX14" fmla="*/ 2889906 w 6805716"/>
                <a:gd name="connsiteY14" fmla="*/ 1049831 h 2022124"/>
                <a:gd name="connsiteX15" fmla="*/ 4601984 w 6805716"/>
                <a:gd name="connsiteY15" fmla="*/ 1220167 h 2022124"/>
                <a:gd name="connsiteX16" fmla="*/ 5178571 w 6805716"/>
                <a:gd name="connsiteY16" fmla="*/ 1556337 h 2022124"/>
                <a:gd name="connsiteX17" fmla="*/ 5647358 w 6805716"/>
                <a:gd name="connsiteY17" fmla="*/ 1841437 h 2022124"/>
                <a:gd name="connsiteX18" fmla="*/ 6802331 w 6805716"/>
                <a:gd name="connsiteY18" fmla="*/ 1875256 h 2022124"/>
                <a:gd name="connsiteX19" fmla="*/ 6805717 w 6805716"/>
                <a:gd name="connsiteY19" fmla="*/ 1880163 h 2022124"/>
                <a:gd name="connsiteX20" fmla="*/ 6317342 w 6805716"/>
                <a:gd name="connsiteY20" fmla="*/ 2022103 h 2022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805716" h="2022124">
                  <a:moveTo>
                    <a:pt x="6317320" y="2022124"/>
                  </a:moveTo>
                  <a:cubicBezTo>
                    <a:pt x="6290424" y="2022124"/>
                    <a:pt x="6263057" y="2021138"/>
                    <a:pt x="6235217" y="2019188"/>
                  </a:cubicBezTo>
                  <a:cubicBezTo>
                    <a:pt x="6044565" y="2005794"/>
                    <a:pt x="5840347" y="1946172"/>
                    <a:pt x="5644658" y="1846774"/>
                  </a:cubicBezTo>
                  <a:cubicBezTo>
                    <a:pt x="5481395" y="1763835"/>
                    <a:pt x="5325761" y="1660879"/>
                    <a:pt x="5175292" y="1561331"/>
                  </a:cubicBezTo>
                  <a:cubicBezTo>
                    <a:pt x="4992397" y="1440330"/>
                    <a:pt x="4803267" y="1315193"/>
                    <a:pt x="4599584" y="1225632"/>
                  </a:cubicBezTo>
                  <a:cubicBezTo>
                    <a:pt x="4066868" y="991388"/>
                    <a:pt x="3463278" y="1005576"/>
                    <a:pt x="2890421" y="1055789"/>
                  </a:cubicBezTo>
                  <a:cubicBezTo>
                    <a:pt x="2803752" y="1063397"/>
                    <a:pt x="2715391" y="1071884"/>
                    <a:pt x="2629967" y="1080114"/>
                  </a:cubicBezTo>
                  <a:cubicBezTo>
                    <a:pt x="2144548" y="1126812"/>
                    <a:pt x="1642650" y="1175118"/>
                    <a:pt x="1157832" y="1087229"/>
                  </a:cubicBezTo>
                  <a:cubicBezTo>
                    <a:pt x="834113" y="1028550"/>
                    <a:pt x="569566" y="915200"/>
                    <a:pt x="371584" y="750351"/>
                  </a:cubicBezTo>
                  <a:cubicBezTo>
                    <a:pt x="133119" y="551790"/>
                    <a:pt x="-5713" y="271298"/>
                    <a:pt x="180" y="0"/>
                  </a:cubicBezTo>
                  <a:lnTo>
                    <a:pt x="6138" y="129"/>
                  </a:lnTo>
                  <a:cubicBezTo>
                    <a:pt x="288" y="269627"/>
                    <a:pt x="138326" y="548361"/>
                    <a:pt x="375399" y="745765"/>
                  </a:cubicBezTo>
                  <a:cubicBezTo>
                    <a:pt x="572588" y="909949"/>
                    <a:pt x="836192" y="1022871"/>
                    <a:pt x="1158904" y="1081357"/>
                  </a:cubicBezTo>
                  <a:cubicBezTo>
                    <a:pt x="1642864" y="1169075"/>
                    <a:pt x="2144377" y="1120833"/>
                    <a:pt x="2629388" y="1074156"/>
                  </a:cubicBezTo>
                  <a:cubicBezTo>
                    <a:pt x="2714834" y="1065926"/>
                    <a:pt x="2803195" y="1057439"/>
                    <a:pt x="2889906" y="1049831"/>
                  </a:cubicBezTo>
                  <a:cubicBezTo>
                    <a:pt x="3463556" y="999554"/>
                    <a:pt x="4068046" y="985366"/>
                    <a:pt x="4601984" y="1220167"/>
                  </a:cubicBezTo>
                  <a:cubicBezTo>
                    <a:pt x="4806117" y="1309921"/>
                    <a:pt x="4995462" y="1435208"/>
                    <a:pt x="5178571" y="1556337"/>
                  </a:cubicBezTo>
                  <a:cubicBezTo>
                    <a:pt x="5328911" y="1655821"/>
                    <a:pt x="5484395" y="1758670"/>
                    <a:pt x="5647358" y="1841437"/>
                  </a:cubicBezTo>
                  <a:cubicBezTo>
                    <a:pt x="6081576" y="2061965"/>
                    <a:pt x="6513352" y="2074609"/>
                    <a:pt x="6802331" y="1875256"/>
                  </a:cubicBezTo>
                  <a:lnTo>
                    <a:pt x="6805717" y="1880163"/>
                  </a:lnTo>
                  <a:cubicBezTo>
                    <a:pt x="6668986" y="1974504"/>
                    <a:pt x="6504994" y="2022103"/>
                    <a:pt x="6317342" y="2022103"/>
                  </a:cubicBezTo>
                  <a:close/>
                </a:path>
              </a:pathLst>
            </a:custGeom>
            <a:solidFill>
              <a:schemeClr val="accent1"/>
            </a:solidFill>
            <a:ln w="3175" cap="flat">
              <a:solidFill>
                <a:schemeClr val="accent1"/>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grpSp>
      <p:pic>
        <p:nvPicPr>
          <p:cNvPr id="3" name="Picture 2" descr="A picture containing sky">
            <a:extLst>
              <a:ext uri="{FF2B5EF4-FFF2-40B4-BE49-F238E27FC236}">
                <a16:creationId xmlns:a16="http://schemas.microsoft.com/office/drawing/2014/main" id="{473E60D4-2908-8BE5-77DD-247E79998503}"/>
              </a:ext>
            </a:extLst>
          </p:cNvPr>
          <p:cNvPicPr>
            <a:picLocks noChangeAspect="1"/>
          </p:cNvPicPr>
          <p:nvPr userDrawn="1"/>
        </p:nvPicPr>
        <p:blipFill rotWithShape="1">
          <a:blip r:embed="rId2">
            <a:duotone>
              <a:prstClr val="black"/>
              <a:srgbClr val="0078D4">
                <a:tint val="45000"/>
                <a:satMod val="400000"/>
              </a:srgbClr>
            </a:duotone>
            <a:alphaModFix amt="5000"/>
          </a:blip>
          <a:srcRect b="6250"/>
          <a:stretch/>
        </p:blipFill>
        <p:spPr>
          <a:xfrm>
            <a:off x="0" y="0"/>
            <a:ext cx="12192000" cy="6858000"/>
          </a:xfrm>
          <a:prstGeom prst="rect">
            <a:avLst/>
          </a:prstGeom>
        </p:spPr>
      </p:pic>
      <p:grpSp>
        <p:nvGrpSpPr>
          <p:cNvPr id="6" name="Group 5">
            <a:extLst>
              <a:ext uri="{FF2B5EF4-FFF2-40B4-BE49-F238E27FC236}">
                <a16:creationId xmlns:a16="http://schemas.microsoft.com/office/drawing/2014/main" id="{ADB4FC07-CC3E-2600-3CAE-43EEAD5F1FA3}"/>
              </a:ext>
            </a:extLst>
          </p:cNvPr>
          <p:cNvGrpSpPr/>
          <p:nvPr userDrawn="1"/>
        </p:nvGrpSpPr>
        <p:grpSpPr>
          <a:xfrm>
            <a:off x="8565725" y="6208248"/>
            <a:ext cx="3626271" cy="510281"/>
            <a:chOff x="584200" y="480060"/>
            <a:chExt cx="3626271" cy="510281"/>
          </a:xfrm>
        </p:grpSpPr>
        <p:pic>
          <p:nvPicPr>
            <p:cNvPr id="15" name="MS logo white - EMF" descr="Microsoft logo white text version">
              <a:extLst>
                <a:ext uri="{FF2B5EF4-FFF2-40B4-BE49-F238E27FC236}">
                  <a16:creationId xmlns:a16="http://schemas.microsoft.com/office/drawing/2014/main" id="{F4113A03-D627-B655-3C3A-3CCBFE397139}"/>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cxnSp>
          <p:nvCxnSpPr>
            <p:cNvPr id="17" name="Straight Connector 16">
              <a:extLst>
                <a:ext uri="{FF2B5EF4-FFF2-40B4-BE49-F238E27FC236}">
                  <a16:creationId xmlns:a16="http://schemas.microsoft.com/office/drawing/2014/main" id="{B464BB28-1813-817A-D3E0-18552822EE3A}"/>
                </a:ext>
              </a:extLst>
            </p:cNvPr>
            <p:cNvCxnSpPr>
              <a:cxnSpLocks/>
            </p:cNvCxnSpPr>
            <p:nvPr userDrawn="1"/>
          </p:nvCxnSpPr>
          <p:spPr>
            <a:xfrm>
              <a:off x="2246692" y="480060"/>
              <a:ext cx="0" cy="510281"/>
            </a:xfrm>
            <a:prstGeom prst="line">
              <a:avLst/>
            </a:prstGeom>
            <a:noFill/>
            <a:ln w="6350" cap="flat" cmpd="sng" algn="ctr">
              <a:solidFill>
                <a:srgbClr val="FFFFFF"/>
              </a:solidFill>
              <a:prstDash val="solid"/>
              <a:headEnd type="none" w="lg" len="med"/>
              <a:tailEnd type="none" w="lg" len="med"/>
            </a:ln>
            <a:effectLst/>
          </p:spPr>
        </p:cxnSp>
        <p:pic>
          <p:nvPicPr>
            <p:cNvPr id="18" name="Picture 17">
              <a:extLst>
                <a:ext uri="{FF2B5EF4-FFF2-40B4-BE49-F238E27FC236}">
                  <a16:creationId xmlns:a16="http://schemas.microsoft.com/office/drawing/2014/main" id="{92F51536-0541-6E76-3A0C-345ECAC3AE47}"/>
                </a:ext>
              </a:extLst>
            </p:cNvPr>
            <p:cNvPicPr>
              <a:picLocks noChangeAspect="1"/>
            </p:cNvPicPr>
            <p:nvPr userDrawn="1"/>
          </p:nvPicPr>
          <p:blipFill>
            <a:blip r:embed="rId4"/>
            <a:srcRect t="17334" b="17334"/>
            <a:stretch/>
          </p:blipFill>
          <p:spPr>
            <a:xfrm>
              <a:off x="2397310" y="480060"/>
              <a:ext cx="1813161" cy="482010"/>
            </a:xfrm>
            <a:prstGeom prst="rect">
              <a:avLst/>
            </a:prstGeom>
          </p:spPr>
        </p:pic>
      </p:grpSp>
    </p:spTree>
    <p:extLst>
      <p:ext uri="{BB962C8B-B14F-4D97-AF65-F5344CB8AC3E}">
        <p14:creationId xmlns:p14="http://schemas.microsoft.com/office/powerpoint/2010/main" val="30503419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0">
          <p15:clr>
            <a:srgbClr val="5ACBF0"/>
          </p15:clr>
        </p15:guide>
        <p15:guide id="4" orient="horz" pos="2160">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itle Slide 3">
    <p:bg>
      <p:bgPr>
        <a:gradFill>
          <a:gsLst>
            <a:gs pos="0">
              <a:schemeClr val="tx2">
                <a:lumMod val="75000"/>
              </a:schemeClr>
            </a:gs>
            <a:gs pos="85000">
              <a:schemeClr val="tx2">
                <a:lumMod val="50000"/>
              </a:schemeClr>
            </a:gs>
          </a:gsLst>
          <a:lin ang="0" scaled="1"/>
        </a:gra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179559"/>
            <a:ext cx="5511800" cy="1354217"/>
          </a:xfrm>
          <a:noFill/>
        </p:spPr>
        <p:txBody>
          <a:bodyPr wrap="square" lIns="0" tIns="0" rIns="0" bIns="0" anchor="b" anchorCtr="0">
            <a:spAutoFit/>
          </a:bodyPr>
          <a:lstStyle>
            <a:lvl1pPr algn="l" defTabSz="932742" rtl="0" eaLnBrk="1" latinLnBrk="0" hangingPunct="1">
              <a:lnSpc>
                <a:spcPct val="100000"/>
              </a:lnSpc>
              <a:spcBef>
                <a:spcPct val="0"/>
              </a:spcBef>
              <a:buNone/>
              <a:defRPr kumimoji="0" lang="en-US" sz="4400" b="0" i="0" u="none" strike="noStrike" kern="1200" cap="none" spc="300" normalizeH="0" baseline="0" dirty="0">
                <a:ln w="3175">
                  <a:noFill/>
                </a:ln>
                <a:solidFill>
                  <a:schemeClr val="accent3"/>
                </a:solidFill>
                <a:effectLst/>
                <a:uLnTx/>
                <a:uFillTx/>
                <a:latin typeface="Segoe UI Semibold"/>
                <a:ea typeface="+mn-ea"/>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 text</a:t>
            </a:r>
          </a:p>
        </p:txBody>
      </p:sp>
      <p:sp>
        <p:nvSpPr>
          <p:cNvPr id="11" name="Freeform: Shape 10">
            <a:extLst>
              <a:ext uri="{FF2B5EF4-FFF2-40B4-BE49-F238E27FC236}">
                <a16:creationId xmlns:a16="http://schemas.microsoft.com/office/drawing/2014/main" id="{89B939AD-4AF7-2AB0-C517-847E0C9947CB}"/>
              </a:ext>
            </a:extLst>
          </p:cNvPr>
          <p:cNvSpPr/>
          <p:nvPr/>
        </p:nvSpPr>
        <p:spPr>
          <a:xfrm flipH="1" flipV="1">
            <a:off x="0" y="2735943"/>
            <a:ext cx="4122057" cy="4122055"/>
          </a:xfrm>
          <a:custGeom>
            <a:avLst/>
            <a:gdLst>
              <a:gd name="connsiteX0" fmla="*/ 6613200 w 6689088"/>
              <a:gd name="connsiteY0" fmla="*/ 6687632 h 6689084"/>
              <a:gd name="connsiteX1" fmla="*/ 6613929 w 6689088"/>
              <a:gd name="connsiteY1" fmla="*/ 6688360 h 6689084"/>
              <a:gd name="connsiteX2" fmla="*/ 6613200 w 6689088"/>
              <a:gd name="connsiteY2" fmla="*/ 6689084 h 6689084"/>
              <a:gd name="connsiteX3" fmla="*/ 6612476 w 6689088"/>
              <a:gd name="connsiteY3" fmla="*/ 6688360 h 6689084"/>
              <a:gd name="connsiteX4" fmla="*/ 6613200 w 6689088"/>
              <a:gd name="connsiteY4" fmla="*/ 6687632 h 6689084"/>
              <a:gd name="connsiteX5" fmla="*/ 6613200 w 6689088"/>
              <a:gd name="connsiteY5" fmla="*/ 6534050 h 6689084"/>
              <a:gd name="connsiteX6" fmla="*/ 6613566 w 6689088"/>
              <a:gd name="connsiteY6" fmla="*/ 6534413 h 6689084"/>
              <a:gd name="connsiteX7" fmla="*/ 6613200 w 6689088"/>
              <a:gd name="connsiteY7" fmla="*/ 6534775 h 6689084"/>
              <a:gd name="connsiteX8" fmla="*/ 6612838 w 6689088"/>
              <a:gd name="connsiteY8" fmla="*/ 6534413 h 6689084"/>
              <a:gd name="connsiteX9" fmla="*/ 6613200 w 6689088"/>
              <a:gd name="connsiteY9" fmla="*/ 6534050 h 6689084"/>
              <a:gd name="connsiteX10" fmla="*/ 6459619 w 6689088"/>
              <a:gd name="connsiteY10" fmla="*/ 6533684 h 6689084"/>
              <a:gd name="connsiteX11" fmla="*/ 6460344 w 6689088"/>
              <a:gd name="connsiteY11" fmla="*/ 6534413 h 6689084"/>
              <a:gd name="connsiteX12" fmla="*/ 6459619 w 6689088"/>
              <a:gd name="connsiteY12" fmla="*/ 6535137 h 6689084"/>
              <a:gd name="connsiteX13" fmla="*/ 6458891 w 6689088"/>
              <a:gd name="connsiteY13" fmla="*/ 6534413 h 6689084"/>
              <a:gd name="connsiteX14" fmla="*/ 6459619 w 6689088"/>
              <a:gd name="connsiteY14" fmla="*/ 6533684 h 6689084"/>
              <a:gd name="connsiteX15" fmla="*/ 6613200 w 6689088"/>
              <a:gd name="connsiteY15" fmla="*/ 6380465 h 6689084"/>
              <a:gd name="connsiteX16" fmla="*/ 6613566 w 6689088"/>
              <a:gd name="connsiteY16" fmla="*/ 6380827 h 6689084"/>
              <a:gd name="connsiteX17" fmla="*/ 6613200 w 6689088"/>
              <a:gd name="connsiteY17" fmla="*/ 6381193 h 6689084"/>
              <a:gd name="connsiteX18" fmla="*/ 6612838 w 6689088"/>
              <a:gd name="connsiteY18" fmla="*/ 6380827 h 6689084"/>
              <a:gd name="connsiteX19" fmla="*/ 6613200 w 6689088"/>
              <a:gd name="connsiteY19" fmla="*/ 6380465 h 6689084"/>
              <a:gd name="connsiteX20" fmla="*/ 6459616 w 6689088"/>
              <a:gd name="connsiteY20" fmla="*/ 6380465 h 6689084"/>
              <a:gd name="connsiteX21" fmla="*/ 6459982 w 6689088"/>
              <a:gd name="connsiteY21" fmla="*/ 6380827 h 6689084"/>
              <a:gd name="connsiteX22" fmla="*/ 6459616 w 6689088"/>
              <a:gd name="connsiteY22" fmla="*/ 6381193 h 6689084"/>
              <a:gd name="connsiteX23" fmla="*/ 6459254 w 6689088"/>
              <a:gd name="connsiteY23" fmla="*/ 6380827 h 6689084"/>
              <a:gd name="connsiteX24" fmla="*/ 6459616 w 6689088"/>
              <a:gd name="connsiteY24" fmla="*/ 6380465 h 6689084"/>
              <a:gd name="connsiteX25" fmla="*/ 6305668 w 6689088"/>
              <a:gd name="connsiteY25" fmla="*/ 6380103 h 6689084"/>
              <a:gd name="connsiteX26" fmla="*/ 6306396 w 6689088"/>
              <a:gd name="connsiteY26" fmla="*/ 6380831 h 6689084"/>
              <a:gd name="connsiteX27" fmla="*/ 6305668 w 6689088"/>
              <a:gd name="connsiteY27" fmla="*/ 6381555 h 6689084"/>
              <a:gd name="connsiteX28" fmla="*/ 6304940 w 6689088"/>
              <a:gd name="connsiteY28" fmla="*/ 6380831 h 6689084"/>
              <a:gd name="connsiteX29" fmla="*/ 6305668 w 6689088"/>
              <a:gd name="connsiteY29" fmla="*/ 6380103 h 6689084"/>
              <a:gd name="connsiteX30" fmla="*/ 6459616 w 6689088"/>
              <a:gd name="connsiteY30" fmla="*/ 6226518 h 6689084"/>
              <a:gd name="connsiteX31" fmla="*/ 6459982 w 6689088"/>
              <a:gd name="connsiteY31" fmla="*/ 6226880 h 6689084"/>
              <a:gd name="connsiteX32" fmla="*/ 6459616 w 6689088"/>
              <a:gd name="connsiteY32" fmla="*/ 6227242 h 6689084"/>
              <a:gd name="connsiteX33" fmla="*/ 6459254 w 6689088"/>
              <a:gd name="connsiteY33" fmla="*/ 6226880 h 6689084"/>
              <a:gd name="connsiteX34" fmla="*/ 6459616 w 6689088"/>
              <a:gd name="connsiteY34" fmla="*/ 6226518 h 6689084"/>
              <a:gd name="connsiteX35" fmla="*/ 6305668 w 6689088"/>
              <a:gd name="connsiteY35" fmla="*/ 6226518 h 6689084"/>
              <a:gd name="connsiteX36" fmla="*/ 6306034 w 6689088"/>
              <a:gd name="connsiteY36" fmla="*/ 6226880 h 6689084"/>
              <a:gd name="connsiteX37" fmla="*/ 6305668 w 6689088"/>
              <a:gd name="connsiteY37" fmla="*/ 6227242 h 6689084"/>
              <a:gd name="connsiteX38" fmla="*/ 6305306 w 6689088"/>
              <a:gd name="connsiteY38" fmla="*/ 6226880 h 6689084"/>
              <a:gd name="connsiteX39" fmla="*/ 6305668 w 6689088"/>
              <a:gd name="connsiteY39" fmla="*/ 6226518 h 6689084"/>
              <a:gd name="connsiteX40" fmla="*/ 6152083 w 6689088"/>
              <a:gd name="connsiteY40" fmla="*/ 6226156 h 6689084"/>
              <a:gd name="connsiteX41" fmla="*/ 6152811 w 6689088"/>
              <a:gd name="connsiteY41" fmla="*/ 6226884 h 6689084"/>
              <a:gd name="connsiteX42" fmla="*/ 6152083 w 6689088"/>
              <a:gd name="connsiteY42" fmla="*/ 6227608 h 6689084"/>
              <a:gd name="connsiteX43" fmla="*/ 6151358 w 6689088"/>
              <a:gd name="connsiteY43" fmla="*/ 6226884 h 6689084"/>
              <a:gd name="connsiteX44" fmla="*/ 6152083 w 6689088"/>
              <a:gd name="connsiteY44" fmla="*/ 6226156 h 6689084"/>
              <a:gd name="connsiteX45" fmla="*/ 6305668 w 6689088"/>
              <a:gd name="connsiteY45" fmla="*/ 6072933 h 6689084"/>
              <a:gd name="connsiteX46" fmla="*/ 6306034 w 6689088"/>
              <a:gd name="connsiteY46" fmla="*/ 6073295 h 6689084"/>
              <a:gd name="connsiteX47" fmla="*/ 6305668 w 6689088"/>
              <a:gd name="connsiteY47" fmla="*/ 6073661 h 6689084"/>
              <a:gd name="connsiteX48" fmla="*/ 6305306 w 6689088"/>
              <a:gd name="connsiteY48" fmla="*/ 6073295 h 6689084"/>
              <a:gd name="connsiteX49" fmla="*/ 6305668 w 6689088"/>
              <a:gd name="connsiteY49" fmla="*/ 6072933 h 6689084"/>
              <a:gd name="connsiteX50" fmla="*/ 6152086 w 6689088"/>
              <a:gd name="connsiteY50" fmla="*/ 6072933 h 6689084"/>
              <a:gd name="connsiteX51" fmla="*/ 6152448 w 6689088"/>
              <a:gd name="connsiteY51" fmla="*/ 6073295 h 6689084"/>
              <a:gd name="connsiteX52" fmla="*/ 6152086 w 6689088"/>
              <a:gd name="connsiteY52" fmla="*/ 6073661 h 6689084"/>
              <a:gd name="connsiteX53" fmla="*/ 6151724 w 6689088"/>
              <a:gd name="connsiteY53" fmla="*/ 6073295 h 6689084"/>
              <a:gd name="connsiteX54" fmla="*/ 6152086 w 6689088"/>
              <a:gd name="connsiteY54" fmla="*/ 6072933 h 6689084"/>
              <a:gd name="connsiteX55" fmla="*/ 5998136 w 6689088"/>
              <a:gd name="connsiteY55" fmla="*/ 6072570 h 6689084"/>
              <a:gd name="connsiteX56" fmla="*/ 5998864 w 6689088"/>
              <a:gd name="connsiteY56" fmla="*/ 6073298 h 6689084"/>
              <a:gd name="connsiteX57" fmla="*/ 5998136 w 6689088"/>
              <a:gd name="connsiteY57" fmla="*/ 6074023 h 6689084"/>
              <a:gd name="connsiteX58" fmla="*/ 5997411 w 6689088"/>
              <a:gd name="connsiteY58" fmla="*/ 6073298 h 6689084"/>
              <a:gd name="connsiteX59" fmla="*/ 5998136 w 6689088"/>
              <a:gd name="connsiteY59" fmla="*/ 6072570 h 6689084"/>
              <a:gd name="connsiteX60" fmla="*/ 6613200 w 6689088"/>
              <a:gd name="connsiteY60" fmla="*/ 5918985 h 6689084"/>
              <a:gd name="connsiteX61" fmla="*/ 6613566 w 6689088"/>
              <a:gd name="connsiteY61" fmla="*/ 5919347 h 6689084"/>
              <a:gd name="connsiteX62" fmla="*/ 6613200 w 6689088"/>
              <a:gd name="connsiteY62" fmla="*/ 5919709 h 6689084"/>
              <a:gd name="connsiteX63" fmla="*/ 6612838 w 6689088"/>
              <a:gd name="connsiteY63" fmla="*/ 5919347 h 6689084"/>
              <a:gd name="connsiteX64" fmla="*/ 6613200 w 6689088"/>
              <a:gd name="connsiteY64" fmla="*/ 5918985 h 6689084"/>
              <a:gd name="connsiteX65" fmla="*/ 6152086 w 6689088"/>
              <a:gd name="connsiteY65" fmla="*/ 5918985 h 6689084"/>
              <a:gd name="connsiteX66" fmla="*/ 6152448 w 6689088"/>
              <a:gd name="connsiteY66" fmla="*/ 5919347 h 6689084"/>
              <a:gd name="connsiteX67" fmla="*/ 6152086 w 6689088"/>
              <a:gd name="connsiteY67" fmla="*/ 5919709 h 6689084"/>
              <a:gd name="connsiteX68" fmla="*/ 6151724 w 6689088"/>
              <a:gd name="connsiteY68" fmla="*/ 5919347 h 6689084"/>
              <a:gd name="connsiteX69" fmla="*/ 6152086 w 6689088"/>
              <a:gd name="connsiteY69" fmla="*/ 5918985 h 6689084"/>
              <a:gd name="connsiteX70" fmla="*/ 5998136 w 6689088"/>
              <a:gd name="connsiteY70" fmla="*/ 5918985 h 6689084"/>
              <a:gd name="connsiteX71" fmla="*/ 5998502 w 6689088"/>
              <a:gd name="connsiteY71" fmla="*/ 5919347 h 6689084"/>
              <a:gd name="connsiteX72" fmla="*/ 5998136 w 6689088"/>
              <a:gd name="connsiteY72" fmla="*/ 5919709 h 6689084"/>
              <a:gd name="connsiteX73" fmla="*/ 5997773 w 6689088"/>
              <a:gd name="connsiteY73" fmla="*/ 5919347 h 6689084"/>
              <a:gd name="connsiteX74" fmla="*/ 5998136 w 6689088"/>
              <a:gd name="connsiteY74" fmla="*/ 5918985 h 6689084"/>
              <a:gd name="connsiteX75" fmla="*/ 5844554 w 6689088"/>
              <a:gd name="connsiteY75" fmla="*/ 5918623 h 6689084"/>
              <a:gd name="connsiteX76" fmla="*/ 5845278 w 6689088"/>
              <a:gd name="connsiteY76" fmla="*/ 5919347 h 6689084"/>
              <a:gd name="connsiteX77" fmla="*/ 5844554 w 6689088"/>
              <a:gd name="connsiteY77" fmla="*/ 5920075 h 6689084"/>
              <a:gd name="connsiteX78" fmla="*/ 5843826 w 6689088"/>
              <a:gd name="connsiteY78" fmla="*/ 5919347 h 6689084"/>
              <a:gd name="connsiteX79" fmla="*/ 5844554 w 6689088"/>
              <a:gd name="connsiteY79" fmla="*/ 5918623 h 6689084"/>
              <a:gd name="connsiteX80" fmla="*/ 6459616 w 6689088"/>
              <a:gd name="connsiteY80" fmla="*/ 5765400 h 6689084"/>
              <a:gd name="connsiteX81" fmla="*/ 6459982 w 6689088"/>
              <a:gd name="connsiteY81" fmla="*/ 5765762 h 6689084"/>
              <a:gd name="connsiteX82" fmla="*/ 6459616 w 6689088"/>
              <a:gd name="connsiteY82" fmla="*/ 5766128 h 6689084"/>
              <a:gd name="connsiteX83" fmla="*/ 6459254 w 6689088"/>
              <a:gd name="connsiteY83" fmla="*/ 5765762 h 6689084"/>
              <a:gd name="connsiteX84" fmla="*/ 6459616 w 6689088"/>
              <a:gd name="connsiteY84" fmla="*/ 5765400 h 6689084"/>
              <a:gd name="connsiteX85" fmla="*/ 5998136 w 6689088"/>
              <a:gd name="connsiteY85" fmla="*/ 5765400 h 6689084"/>
              <a:gd name="connsiteX86" fmla="*/ 5998502 w 6689088"/>
              <a:gd name="connsiteY86" fmla="*/ 5765762 h 6689084"/>
              <a:gd name="connsiteX87" fmla="*/ 5998136 w 6689088"/>
              <a:gd name="connsiteY87" fmla="*/ 5766128 h 6689084"/>
              <a:gd name="connsiteX88" fmla="*/ 5997773 w 6689088"/>
              <a:gd name="connsiteY88" fmla="*/ 5765762 h 6689084"/>
              <a:gd name="connsiteX89" fmla="*/ 5998136 w 6689088"/>
              <a:gd name="connsiteY89" fmla="*/ 5765400 h 6689084"/>
              <a:gd name="connsiteX90" fmla="*/ 5844550 w 6689088"/>
              <a:gd name="connsiteY90" fmla="*/ 5765400 h 6689084"/>
              <a:gd name="connsiteX91" fmla="*/ 5844916 w 6689088"/>
              <a:gd name="connsiteY91" fmla="*/ 5765762 h 6689084"/>
              <a:gd name="connsiteX92" fmla="*/ 5844550 w 6689088"/>
              <a:gd name="connsiteY92" fmla="*/ 5766128 h 6689084"/>
              <a:gd name="connsiteX93" fmla="*/ 5844188 w 6689088"/>
              <a:gd name="connsiteY93" fmla="*/ 5765762 h 6689084"/>
              <a:gd name="connsiteX94" fmla="*/ 5844550 w 6689088"/>
              <a:gd name="connsiteY94" fmla="*/ 5765400 h 6689084"/>
              <a:gd name="connsiteX95" fmla="*/ 5690602 w 6689088"/>
              <a:gd name="connsiteY95" fmla="*/ 5765038 h 6689084"/>
              <a:gd name="connsiteX96" fmla="*/ 5691331 w 6689088"/>
              <a:gd name="connsiteY96" fmla="*/ 5765766 h 6689084"/>
              <a:gd name="connsiteX97" fmla="*/ 5690602 w 6689088"/>
              <a:gd name="connsiteY97" fmla="*/ 5766490 h 6689084"/>
              <a:gd name="connsiteX98" fmla="*/ 5689874 w 6689088"/>
              <a:gd name="connsiteY98" fmla="*/ 5765766 h 6689084"/>
              <a:gd name="connsiteX99" fmla="*/ 5690602 w 6689088"/>
              <a:gd name="connsiteY99" fmla="*/ 5765038 h 6689084"/>
              <a:gd name="connsiteX100" fmla="*/ 6613200 w 6689088"/>
              <a:gd name="connsiteY100" fmla="*/ 5764313 h 6689084"/>
              <a:gd name="connsiteX101" fmla="*/ 6614653 w 6689088"/>
              <a:gd name="connsiteY101" fmla="*/ 5765766 h 6689084"/>
              <a:gd name="connsiteX102" fmla="*/ 6613200 w 6689088"/>
              <a:gd name="connsiteY102" fmla="*/ 5767218 h 6689084"/>
              <a:gd name="connsiteX103" fmla="*/ 6611752 w 6689088"/>
              <a:gd name="connsiteY103" fmla="*/ 5765766 h 6689084"/>
              <a:gd name="connsiteX104" fmla="*/ 6613200 w 6689088"/>
              <a:gd name="connsiteY104" fmla="*/ 5764313 h 6689084"/>
              <a:gd name="connsiteX105" fmla="*/ 6305668 w 6689088"/>
              <a:gd name="connsiteY105" fmla="*/ 5611452 h 6689084"/>
              <a:gd name="connsiteX106" fmla="*/ 6306034 w 6689088"/>
              <a:gd name="connsiteY106" fmla="*/ 5611815 h 6689084"/>
              <a:gd name="connsiteX107" fmla="*/ 6305668 w 6689088"/>
              <a:gd name="connsiteY107" fmla="*/ 5612177 h 6689084"/>
              <a:gd name="connsiteX108" fmla="*/ 6305306 w 6689088"/>
              <a:gd name="connsiteY108" fmla="*/ 5611815 h 6689084"/>
              <a:gd name="connsiteX109" fmla="*/ 6305668 w 6689088"/>
              <a:gd name="connsiteY109" fmla="*/ 5611452 h 6689084"/>
              <a:gd name="connsiteX110" fmla="*/ 5844550 w 6689088"/>
              <a:gd name="connsiteY110" fmla="*/ 5611452 h 6689084"/>
              <a:gd name="connsiteX111" fmla="*/ 5844916 w 6689088"/>
              <a:gd name="connsiteY111" fmla="*/ 5611815 h 6689084"/>
              <a:gd name="connsiteX112" fmla="*/ 5844550 w 6689088"/>
              <a:gd name="connsiteY112" fmla="*/ 5612181 h 6689084"/>
              <a:gd name="connsiteX113" fmla="*/ 5844188 w 6689088"/>
              <a:gd name="connsiteY113" fmla="*/ 5611815 h 6689084"/>
              <a:gd name="connsiteX114" fmla="*/ 5844550 w 6689088"/>
              <a:gd name="connsiteY114" fmla="*/ 5611452 h 6689084"/>
              <a:gd name="connsiteX115" fmla="*/ 5690606 w 6689088"/>
              <a:gd name="connsiteY115" fmla="*/ 5611452 h 6689084"/>
              <a:gd name="connsiteX116" fmla="*/ 5690972 w 6689088"/>
              <a:gd name="connsiteY116" fmla="*/ 5611815 h 6689084"/>
              <a:gd name="connsiteX117" fmla="*/ 5690606 w 6689088"/>
              <a:gd name="connsiteY117" fmla="*/ 5612181 h 6689084"/>
              <a:gd name="connsiteX118" fmla="*/ 5690244 w 6689088"/>
              <a:gd name="connsiteY118" fmla="*/ 5611815 h 6689084"/>
              <a:gd name="connsiteX119" fmla="*/ 5690606 w 6689088"/>
              <a:gd name="connsiteY119" fmla="*/ 5611452 h 6689084"/>
              <a:gd name="connsiteX120" fmla="*/ 5537021 w 6689088"/>
              <a:gd name="connsiteY120" fmla="*/ 5611090 h 6689084"/>
              <a:gd name="connsiteX121" fmla="*/ 5537750 w 6689088"/>
              <a:gd name="connsiteY121" fmla="*/ 5611815 h 6689084"/>
              <a:gd name="connsiteX122" fmla="*/ 5537021 w 6689088"/>
              <a:gd name="connsiteY122" fmla="*/ 5612543 h 6689084"/>
              <a:gd name="connsiteX123" fmla="*/ 5536297 w 6689088"/>
              <a:gd name="connsiteY123" fmla="*/ 5611815 h 6689084"/>
              <a:gd name="connsiteX124" fmla="*/ 5537021 w 6689088"/>
              <a:gd name="connsiteY124" fmla="*/ 5611090 h 6689084"/>
              <a:gd name="connsiteX125" fmla="*/ 6459616 w 6689088"/>
              <a:gd name="connsiteY125" fmla="*/ 5610366 h 6689084"/>
              <a:gd name="connsiteX126" fmla="*/ 6461068 w 6689088"/>
              <a:gd name="connsiteY126" fmla="*/ 5611818 h 6689084"/>
              <a:gd name="connsiteX127" fmla="*/ 6459616 w 6689088"/>
              <a:gd name="connsiteY127" fmla="*/ 5613271 h 6689084"/>
              <a:gd name="connsiteX128" fmla="*/ 6458163 w 6689088"/>
              <a:gd name="connsiteY128" fmla="*/ 5611818 h 6689084"/>
              <a:gd name="connsiteX129" fmla="*/ 6459616 w 6689088"/>
              <a:gd name="connsiteY129" fmla="*/ 5610366 h 6689084"/>
              <a:gd name="connsiteX130" fmla="*/ 6613200 w 6689088"/>
              <a:gd name="connsiteY130" fmla="*/ 5609638 h 6689084"/>
              <a:gd name="connsiteX131" fmla="*/ 6615381 w 6689088"/>
              <a:gd name="connsiteY131" fmla="*/ 5611815 h 6689084"/>
              <a:gd name="connsiteX132" fmla="*/ 6613200 w 6689088"/>
              <a:gd name="connsiteY132" fmla="*/ 5613995 h 6689084"/>
              <a:gd name="connsiteX133" fmla="*/ 6611024 w 6689088"/>
              <a:gd name="connsiteY133" fmla="*/ 5611815 h 6689084"/>
              <a:gd name="connsiteX134" fmla="*/ 6613200 w 6689088"/>
              <a:gd name="connsiteY134" fmla="*/ 5609638 h 6689084"/>
              <a:gd name="connsiteX135" fmla="*/ 6152086 w 6689088"/>
              <a:gd name="connsiteY135" fmla="*/ 5457871 h 6689084"/>
              <a:gd name="connsiteX136" fmla="*/ 6152448 w 6689088"/>
              <a:gd name="connsiteY136" fmla="*/ 5458233 h 6689084"/>
              <a:gd name="connsiteX137" fmla="*/ 6152086 w 6689088"/>
              <a:gd name="connsiteY137" fmla="*/ 5458595 h 6689084"/>
              <a:gd name="connsiteX138" fmla="*/ 6151724 w 6689088"/>
              <a:gd name="connsiteY138" fmla="*/ 5458233 h 6689084"/>
              <a:gd name="connsiteX139" fmla="*/ 6152086 w 6689088"/>
              <a:gd name="connsiteY139" fmla="*/ 5457871 h 6689084"/>
              <a:gd name="connsiteX140" fmla="*/ 5690606 w 6689088"/>
              <a:gd name="connsiteY140" fmla="*/ 5457871 h 6689084"/>
              <a:gd name="connsiteX141" fmla="*/ 5690972 w 6689088"/>
              <a:gd name="connsiteY141" fmla="*/ 5458233 h 6689084"/>
              <a:gd name="connsiteX142" fmla="*/ 5690606 w 6689088"/>
              <a:gd name="connsiteY142" fmla="*/ 5458595 h 6689084"/>
              <a:gd name="connsiteX143" fmla="*/ 5690244 w 6689088"/>
              <a:gd name="connsiteY143" fmla="*/ 5458233 h 6689084"/>
              <a:gd name="connsiteX144" fmla="*/ 5690606 w 6689088"/>
              <a:gd name="connsiteY144" fmla="*/ 5457871 h 6689084"/>
              <a:gd name="connsiteX145" fmla="*/ 5536659 w 6689088"/>
              <a:gd name="connsiteY145" fmla="*/ 5457871 h 6689084"/>
              <a:gd name="connsiteX146" fmla="*/ 5537021 w 6689088"/>
              <a:gd name="connsiteY146" fmla="*/ 5458233 h 6689084"/>
              <a:gd name="connsiteX147" fmla="*/ 5536659 w 6689088"/>
              <a:gd name="connsiteY147" fmla="*/ 5458595 h 6689084"/>
              <a:gd name="connsiteX148" fmla="*/ 5536297 w 6689088"/>
              <a:gd name="connsiteY148" fmla="*/ 5458233 h 6689084"/>
              <a:gd name="connsiteX149" fmla="*/ 5536659 w 6689088"/>
              <a:gd name="connsiteY149" fmla="*/ 5457871 h 6689084"/>
              <a:gd name="connsiteX150" fmla="*/ 5383078 w 6689088"/>
              <a:gd name="connsiteY150" fmla="*/ 5457505 h 6689084"/>
              <a:gd name="connsiteX151" fmla="*/ 5383802 w 6689088"/>
              <a:gd name="connsiteY151" fmla="*/ 5458233 h 6689084"/>
              <a:gd name="connsiteX152" fmla="*/ 5383078 w 6689088"/>
              <a:gd name="connsiteY152" fmla="*/ 5458957 h 6689084"/>
              <a:gd name="connsiteX153" fmla="*/ 5382350 w 6689088"/>
              <a:gd name="connsiteY153" fmla="*/ 5458233 h 6689084"/>
              <a:gd name="connsiteX154" fmla="*/ 5383078 w 6689088"/>
              <a:gd name="connsiteY154" fmla="*/ 5457505 h 6689084"/>
              <a:gd name="connsiteX155" fmla="*/ 6305668 w 6689088"/>
              <a:gd name="connsiteY155" fmla="*/ 5456781 h 6689084"/>
              <a:gd name="connsiteX156" fmla="*/ 6307120 w 6689088"/>
              <a:gd name="connsiteY156" fmla="*/ 5458233 h 6689084"/>
              <a:gd name="connsiteX157" fmla="*/ 6305668 w 6689088"/>
              <a:gd name="connsiteY157" fmla="*/ 5459685 h 6689084"/>
              <a:gd name="connsiteX158" fmla="*/ 6304216 w 6689088"/>
              <a:gd name="connsiteY158" fmla="*/ 5458233 h 6689084"/>
              <a:gd name="connsiteX159" fmla="*/ 6305668 w 6689088"/>
              <a:gd name="connsiteY159" fmla="*/ 5456781 h 6689084"/>
              <a:gd name="connsiteX160" fmla="*/ 6459619 w 6689088"/>
              <a:gd name="connsiteY160" fmla="*/ 5456053 h 6689084"/>
              <a:gd name="connsiteX161" fmla="*/ 6461796 w 6689088"/>
              <a:gd name="connsiteY161" fmla="*/ 5458233 h 6689084"/>
              <a:gd name="connsiteX162" fmla="*/ 6459619 w 6689088"/>
              <a:gd name="connsiteY162" fmla="*/ 5460410 h 6689084"/>
              <a:gd name="connsiteX163" fmla="*/ 6457439 w 6689088"/>
              <a:gd name="connsiteY163" fmla="*/ 5458233 h 6689084"/>
              <a:gd name="connsiteX164" fmla="*/ 6459619 w 6689088"/>
              <a:gd name="connsiteY164" fmla="*/ 5456053 h 6689084"/>
              <a:gd name="connsiteX165" fmla="*/ 6613200 w 6689088"/>
              <a:gd name="connsiteY165" fmla="*/ 5454966 h 6689084"/>
              <a:gd name="connsiteX166" fmla="*/ 6616468 w 6689088"/>
              <a:gd name="connsiteY166" fmla="*/ 5458233 h 6689084"/>
              <a:gd name="connsiteX167" fmla="*/ 6613200 w 6689088"/>
              <a:gd name="connsiteY167" fmla="*/ 5461500 h 6689084"/>
              <a:gd name="connsiteX168" fmla="*/ 6609934 w 6689088"/>
              <a:gd name="connsiteY168" fmla="*/ 5458233 h 6689084"/>
              <a:gd name="connsiteX169" fmla="*/ 6613200 w 6689088"/>
              <a:gd name="connsiteY169" fmla="*/ 5454966 h 6689084"/>
              <a:gd name="connsiteX170" fmla="*/ 5998136 w 6689088"/>
              <a:gd name="connsiteY170" fmla="*/ 5303924 h 6689084"/>
              <a:gd name="connsiteX171" fmla="*/ 5998502 w 6689088"/>
              <a:gd name="connsiteY171" fmla="*/ 5304286 h 6689084"/>
              <a:gd name="connsiteX172" fmla="*/ 5998136 w 6689088"/>
              <a:gd name="connsiteY172" fmla="*/ 5304652 h 6689084"/>
              <a:gd name="connsiteX173" fmla="*/ 5997773 w 6689088"/>
              <a:gd name="connsiteY173" fmla="*/ 5304286 h 6689084"/>
              <a:gd name="connsiteX174" fmla="*/ 5998136 w 6689088"/>
              <a:gd name="connsiteY174" fmla="*/ 5303924 h 6689084"/>
              <a:gd name="connsiteX175" fmla="*/ 5536659 w 6689088"/>
              <a:gd name="connsiteY175" fmla="*/ 5303924 h 6689084"/>
              <a:gd name="connsiteX176" fmla="*/ 5537021 w 6689088"/>
              <a:gd name="connsiteY176" fmla="*/ 5304286 h 6689084"/>
              <a:gd name="connsiteX177" fmla="*/ 5536659 w 6689088"/>
              <a:gd name="connsiteY177" fmla="*/ 5304652 h 6689084"/>
              <a:gd name="connsiteX178" fmla="*/ 5536297 w 6689088"/>
              <a:gd name="connsiteY178" fmla="*/ 5304286 h 6689084"/>
              <a:gd name="connsiteX179" fmla="*/ 5536659 w 6689088"/>
              <a:gd name="connsiteY179" fmla="*/ 5303924 h 6689084"/>
              <a:gd name="connsiteX180" fmla="*/ 5383074 w 6689088"/>
              <a:gd name="connsiteY180" fmla="*/ 5303924 h 6689084"/>
              <a:gd name="connsiteX181" fmla="*/ 5383436 w 6689088"/>
              <a:gd name="connsiteY181" fmla="*/ 5304286 h 6689084"/>
              <a:gd name="connsiteX182" fmla="*/ 5383074 w 6689088"/>
              <a:gd name="connsiteY182" fmla="*/ 5304652 h 6689084"/>
              <a:gd name="connsiteX183" fmla="*/ 5382712 w 6689088"/>
              <a:gd name="connsiteY183" fmla="*/ 5304286 h 6689084"/>
              <a:gd name="connsiteX184" fmla="*/ 5383074 w 6689088"/>
              <a:gd name="connsiteY184" fmla="*/ 5303924 h 6689084"/>
              <a:gd name="connsiteX185" fmla="*/ 5229126 w 6689088"/>
              <a:gd name="connsiteY185" fmla="*/ 5303558 h 6689084"/>
              <a:gd name="connsiteX186" fmla="*/ 5229854 w 6689088"/>
              <a:gd name="connsiteY186" fmla="*/ 5304282 h 6689084"/>
              <a:gd name="connsiteX187" fmla="*/ 5229126 w 6689088"/>
              <a:gd name="connsiteY187" fmla="*/ 5305010 h 6689084"/>
              <a:gd name="connsiteX188" fmla="*/ 5228402 w 6689088"/>
              <a:gd name="connsiteY188" fmla="*/ 5304282 h 6689084"/>
              <a:gd name="connsiteX189" fmla="*/ 5229126 w 6689088"/>
              <a:gd name="connsiteY189" fmla="*/ 5303558 h 6689084"/>
              <a:gd name="connsiteX190" fmla="*/ 6152086 w 6689088"/>
              <a:gd name="connsiteY190" fmla="*/ 5302833 h 6689084"/>
              <a:gd name="connsiteX191" fmla="*/ 6153539 w 6689088"/>
              <a:gd name="connsiteY191" fmla="*/ 5304286 h 6689084"/>
              <a:gd name="connsiteX192" fmla="*/ 6152086 w 6689088"/>
              <a:gd name="connsiteY192" fmla="*/ 5305738 h 6689084"/>
              <a:gd name="connsiteX193" fmla="*/ 6150638 w 6689088"/>
              <a:gd name="connsiteY193" fmla="*/ 5304286 h 6689084"/>
              <a:gd name="connsiteX194" fmla="*/ 6152086 w 6689088"/>
              <a:gd name="connsiteY194" fmla="*/ 5302833 h 6689084"/>
              <a:gd name="connsiteX195" fmla="*/ 6305672 w 6689088"/>
              <a:gd name="connsiteY195" fmla="*/ 5302105 h 6689084"/>
              <a:gd name="connsiteX196" fmla="*/ 6307848 w 6689088"/>
              <a:gd name="connsiteY196" fmla="*/ 5304282 h 6689084"/>
              <a:gd name="connsiteX197" fmla="*/ 6305672 w 6689088"/>
              <a:gd name="connsiteY197" fmla="*/ 5306462 h 6689084"/>
              <a:gd name="connsiteX198" fmla="*/ 6303492 w 6689088"/>
              <a:gd name="connsiteY198" fmla="*/ 5304282 h 6689084"/>
              <a:gd name="connsiteX199" fmla="*/ 6305672 w 6689088"/>
              <a:gd name="connsiteY199" fmla="*/ 5302105 h 6689084"/>
              <a:gd name="connsiteX200" fmla="*/ 6459619 w 6689088"/>
              <a:gd name="connsiteY200" fmla="*/ 5301019 h 6689084"/>
              <a:gd name="connsiteX201" fmla="*/ 6462882 w 6689088"/>
              <a:gd name="connsiteY201" fmla="*/ 5304286 h 6689084"/>
              <a:gd name="connsiteX202" fmla="*/ 6459619 w 6689088"/>
              <a:gd name="connsiteY202" fmla="*/ 5307553 h 6689084"/>
              <a:gd name="connsiteX203" fmla="*/ 6456348 w 6689088"/>
              <a:gd name="connsiteY203" fmla="*/ 5304286 h 6689084"/>
              <a:gd name="connsiteX204" fmla="*/ 6459619 w 6689088"/>
              <a:gd name="connsiteY204" fmla="*/ 5301019 h 6689084"/>
              <a:gd name="connsiteX205" fmla="*/ 6613200 w 6689088"/>
              <a:gd name="connsiteY205" fmla="*/ 5299929 h 6689084"/>
              <a:gd name="connsiteX206" fmla="*/ 6617558 w 6689088"/>
              <a:gd name="connsiteY206" fmla="*/ 5304286 h 6689084"/>
              <a:gd name="connsiteX207" fmla="*/ 6613200 w 6689088"/>
              <a:gd name="connsiteY207" fmla="*/ 5308643 h 6689084"/>
              <a:gd name="connsiteX208" fmla="*/ 6608844 w 6689088"/>
              <a:gd name="connsiteY208" fmla="*/ 5304286 h 6689084"/>
              <a:gd name="connsiteX209" fmla="*/ 6613200 w 6689088"/>
              <a:gd name="connsiteY209" fmla="*/ 5299929 h 6689084"/>
              <a:gd name="connsiteX210" fmla="*/ 5844550 w 6689088"/>
              <a:gd name="connsiteY210" fmla="*/ 5150338 h 6689084"/>
              <a:gd name="connsiteX211" fmla="*/ 5844916 w 6689088"/>
              <a:gd name="connsiteY211" fmla="*/ 5150700 h 6689084"/>
              <a:gd name="connsiteX212" fmla="*/ 5844550 w 6689088"/>
              <a:gd name="connsiteY212" fmla="*/ 5151063 h 6689084"/>
              <a:gd name="connsiteX213" fmla="*/ 5844188 w 6689088"/>
              <a:gd name="connsiteY213" fmla="*/ 5150700 h 6689084"/>
              <a:gd name="connsiteX214" fmla="*/ 5844550 w 6689088"/>
              <a:gd name="connsiteY214" fmla="*/ 5150338 h 6689084"/>
              <a:gd name="connsiteX215" fmla="*/ 5383074 w 6689088"/>
              <a:gd name="connsiteY215" fmla="*/ 5150338 h 6689084"/>
              <a:gd name="connsiteX216" fmla="*/ 5383436 w 6689088"/>
              <a:gd name="connsiteY216" fmla="*/ 5150700 h 6689084"/>
              <a:gd name="connsiteX217" fmla="*/ 5383074 w 6689088"/>
              <a:gd name="connsiteY217" fmla="*/ 5151063 h 6689084"/>
              <a:gd name="connsiteX218" fmla="*/ 5382712 w 6689088"/>
              <a:gd name="connsiteY218" fmla="*/ 5150700 h 6689084"/>
              <a:gd name="connsiteX219" fmla="*/ 5383074 w 6689088"/>
              <a:gd name="connsiteY219" fmla="*/ 5150338 h 6689084"/>
              <a:gd name="connsiteX220" fmla="*/ 5229126 w 6689088"/>
              <a:gd name="connsiteY220" fmla="*/ 5150338 h 6689084"/>
              <a:gd name="connsiteX221" fmla="*/ 5229488 w 6689088"/>
              <a:gd name="connsiteY221" fmla="*/ 5150700 h 6689084"/>
              <a:gd name="connsiteX222" fmla="*/ 5229126 w 6689088"/>
              <a:gd name="connsiteY222" fmla="*/ 5151063 h 6689084"/>
              <a:gd name="connsiteX223" fmla="*/ 5228764 w 6689088"/>
              <a:gd name="connsiteY223" fmla="*/ 5150700 h 6689084"/>
              <a:gd name="connsiteX224" fmla="*/ 5229126 w 6689088"/>
              <a:gd name="connsiteY224" fmla="*/ 5150338 h 6689084"/>
              <a:gd name="connsiteX225" fmla="*/ 5075545 w 6689088"/>
              <a:gd name="connsiteY225" fmla="*/ 5149972 h 6689084"/>
              <a:gd name="connsiteX226" fmla="*/ 5076270 w 6689088"/>
              <a:gd name="connsiteY226" fmla="*/ 5150700 h 6689084"/>
              <a:gd name="connsiteX227" fmla="*/ 5075545 w 6689088"/>
              <a:gd name="connsiteY227" fmla="*/ 5151425 h 6689084"/>
              <a:gd name="connsiteX228" fmla="*/ 5074817 w 6689088"/>
              <a:gd name="connsiteY228" fmla="*/ 5150700 h 6689084"/>
              <a:gd name="connsiteX229" fmla="*/ 5075545 w 6689088"/>
              <a:gd name="connsiteY229" fmla="*/ 5149972 h 6689084"/>
              <a:gd name="connsiteX230" fmla="*/ 5998139 w 6689088"/>
              <a:gd name="connsiteY230" fmla="*/ 5149248 h 6689084"/>
              <a:gd name="connsiteX231" fmla="*/ 5999592 w 6689088"/>
              <a:gd name="connsiteY231" fmla="*/ 5150700 h 6689084"/>
              <a:gd name="connsiteX232" fmla="*/ 5998139 w 6689088"/>
              <a:gd name="connsiteY232" fmla="*/ 5152153 h 6689084"/>
              <a:gd name="connsiteX233" fmla="*/ 5996690 w 6689088"/>
              <a:gd name="connsiteY233" fmla="*/ 5150700 h 6689084"/>
              <a:gd name="connsiteX234" fmla="*/ 5998139 w 6689088"/>
              <a:gd name="connsiteY234" fmla="*/ 5149248 h 6689084"/>
              <a:gd name="connsiteX235" fmla="*/ 6152083 w 6689088"/>
              <a:gd name="connsiteY235" fmla="*/ 5148524 h 6689084"/>
              <a:gd name="connsiteX236" fmla="*/ 6154263 w 6689088"/>
              <a:gd name="connsiteY236" fmla="*/ 5150704 h 6689084"/>
              <a:gd name="connsiteX237" fmla="*/ 6152083 w 6689088"/>
              <a:gd name="connsiteY237" fmla="*/ 5152881 h 6689084"/>
              <a:gd name="connsiteX238" fmla="*/ 6149906 w 6689088"/>
              <a:gd name="connsiteY238" fmla="*/ 5150704 h 6689084"/>
              <a:gd name="connsiteX239" fmla="*/ 6152083 w 6689088"/>
              <a:gd name="connsiteY239" fmla="*/ 5148524 h 6689084"/>
              <a:gd name="connsiteX240" fmla="*/ 6305672 w 6689088"/>
              <a:gd name="connsiteY240" fmla="*/ 5147434 h 6689084"/>
              <a:gd name="connsiteX241" fmla="*/ 6308935 w 6689088"/>
              <a:gd name="connsiteY241" fmla="*/ 5150700 h 6689084"/>
              <a:gd name="connsiteX242" fmla="*/ 6305672 w 6689088"/>
              <a:gd name="connsiteY242" fmla="*/ 5153967 h 6689084"/>
              <a:gd name="connsiteX243" fmla="*/ 6302401 w 6689088"/>
              <a:gd name="connsiteY243" fmla="*/ 5150700 h 6689084"/>
              <a:gd name="connsiteX244" fmla="*/ 6305672 w 6689088"/>
              <a:gd name="connsiteY244" fmla="*/ 5147434 h 6689084"/>
              <a:gd name="connsiteX245" fmla="*/ 6459616 w 6689088"/>
              <a:gd name="connsiteY245" fmla="*/ 5145981 h 6689084"/>
              <a:gd name="connsiteX246" fmla="*/ 6463972 w 6689088"/>
              <a:gd name="connsiteY246" fmla="*/ 5150338 h 6689084"/>
              <a:gd name="connsiteX247" fmla="*/ 6459616 w 6689088"/>
              <a:gd name="connsiteY247" fmla="*/ 5154695 h 6689084"/>
              <a:gd name="connsiteX248" fmla="*/ 6455258 w 6689088"/>
              <a:gd name="connsiteY248" fmla="*/ 5150338 h 6689084"/>
              <a:gd name="connsiteX249" fmla="*/ 6459616 w 6689088"/>
              <a:gd name="connsiteY249" fmla="*/ 5145981 h 6689084"/>
              <a:gd name="connsiteX250" fmla="*/ 6613200 w 6689088"/>
              <a:gd name="connsiteY250" fmla="*/ 5144891 h 6689084"/>
              <a:gd name="connsiteX251" fmla="*/ 6619010 w 6689088"/>
              <a:gd name="connsiteY251" fmla="*/ 5150700 h 6689084"/>
              <a:gd name="connsiteX252" fmla="*/ 6613200 w 6689088"/>
              <a:gd name="connsiteY252" fmla="*/ 5156510 h 6689084"/>
              <a:gd name="connsiteX253" fmla="*/ 6607395 w 6689088"/>
              <a:gd name="connsiteY253" fmla="*/ 5150700 h 6689084"/>
              <a:gd name="connsiteX254" fmla="*/ 6613200 w 6689088"/>
              <a:gd name="connsiteY254" fmla="*/ 5144891 h 6689084"/>
              <a:gd name="connsiteX255" fmla="*/ 5690606 w 6689088"/>
              <a:gd name="connsiteY255" fmla="*/ 4996391 h 6689084"/>
              <a:gd name="connsiteX256" fmla="*/ 5690972 w 6689088"/>
              <a:gd name="connsiteY256" fmla="*/ 4996753 h 6689084"/>
              <a:gd name="connsiteX257" fmla="*/ 5690606 w 6689088"/>
              <a:gd name="connsiteY257" fmla="*/ 4997119 h 6689084"/>
              <a:gd name="connsiteX258" fmla="*/ 5690244 w 6689088"/>
              <a:gd name="connsiteY258" fmla="*/ 4996753 h 6689084"/>
              <a:gd name="connsiteX259" fmla="*/ 5690606 w 6689088"/>
              <a:gd name="connsiteY259" fmla="*/ 4996391 h 6689084"/>
              <a:gd name="connsiteX260" fmla="*/ 5229126 w 6689088"/>
              <a:gd name="connsiteY260" fmla="*/ 4996391 h 6689084"/>
              <a:gd name="connsiteX261" fmla="*/ 5229488 w 6689088"/>
              <a:gd name="connsiteY261" fmla="*/ 4996753 h 6689084"/>
              <a:gd name="connsiteX262" fmla="*/ 5229126 w 6689088"/>
              <a:gd name="connsiteY262" fmla="*/ 4997119 h 6689084"/>
              <a:gd name="connsiteX263" fmla="*/ 5228764 w 6689088"/>
              <a:gd name="connsiteY263" fmla="*/ 4996753 h 6689084"/>
              <a:gd name="connsiteX264" fmla="*/ 5229126 w 6689088"/>
              <a:gd name="connsiteY264" fmla="*/ 4996391 h 6689084"/>
              <a:gd name="connsiteX265" fmla="*/ 5075541 w 6689088"/>
              <a:gd name="connsiteY265" fmla="*/ 4996391 h 6689084"/>
              <a:gd name="connsiteX266" fmla="*/ 5075904 w 6689088"/>
              <a:gd name="connsiteY266" fmla="*/ 4996753 h 6689084"/>
              <a:gd name="connsiteX267" fmla="*/ 5075541 w 6689088"/>
              <a:gd name="connsiteY267" fmla="*/ 4997119 h 6689084"/>
              <a:gd name="connsiteX268" fmla="*/ 5075179 w 6689088"/>
              <a:gd name="connsiteY268" fmla="*/ 4996753 h 6689084"/>
              <a:gd name="connsiteX269" fmla="*/ 5075541 w 6689088"/>
              <a:gd name="connsiteY269" fmla="*/ 4996391 h 6689084"/>
              <a:gd name="connsiteX270" fmla="*/ 4921594 w 6689088"/>
              <a:gd name="connsiteY270" fmla="*/ 4996029 h 6689084"/>
              <a:gd name="connsiteX271" fmla="*/ 4922322 w 6689088"/>
              <a:gd name="connsiteY271" fmla="*/ 4996753 h 6689084"/>
              <a:gd name="connsiteX272" fmla="*/ 4921594 w 6689088"/>
              <a:gd name="connsiteY272" fmla="*/ 4997481 h 6689084"/>
              <a:gd name="connsiteX273" fmla="*/ 4920870 w 6689088"/>
              <a:gd name="connsiteY273" fmla="*/ 4996753 h 6689084"/>
              <a:gd name="connsiteX274" fmla="*/ 4921594 w 6689088"/>
              <a:gd name="connsiteY274" fmla="*/ 4996029 h 6689084"/>
              <a:gd name="connsiteX275" fmla="*/ 5844554 w 6689088"/>
              <a:gd name="connsiteY275" fmla="*/ 4995301 h 6689084"/>
              <a:gd name="connsiteX276" fmla="*/ 5846006 w 6689088"/>
              <a:gd name="connsiteY276" fmla="*/ 4996753 h 6689084"/>
              <a:gd name="connsiteX277" fmla="*/ 5844554 w 6689088"/>
              <a:gd name="connsiteY277" fmla="*/ 4998205 h 6689084"/>
              <a:gd name="connsiteX278" fmla="*/ 5843102 w 6689088"/>
              <a:gd name="connsiteY278" fmla="*/ 4996753 h 6689084"/>
              <a:gd name="connsiteX279" fmla="*/ 5844554 w 6689088"/>
              <a:gd name="connsiteY279" fmla="*/ 4995301 h 6689084"/>
              <a:gd name="connsiteX280" fmla="*/ 5998136 w 6689088"/>
              <a:gd name="connsiteY280" fmla="*/ 4994577 h 6689084"/>
              <a:gd name="connsiteX281" fmla="*/ 6000316 w 6689088"/>
              <a:gd name="connsiteY281" fmla="*/ 4996753 h 6689084"/>
              <a:gd name="connsiteX282" fmla="*/ 5998136 w 6689088"/>
              <a:gd name="connsiteY282" fmla="*/ 4998934 h 6689084"/>
              <a:gd name="connsiteX283" fmla="*/ 5995959 w 6689088"/>
              <a:gd name="connsiteY283" fmla="*/ 4996753 h 6689084"/>
              <a:gd name="connsiteX284" fmla="*/ 5998136 w 6689088"/>
              <a:gd name="connsiteY284" fmla="*/ 4994577 h 6689084"/>
              <a:gd name="connsiteX285" fmla="*/ 6152083 w 6689088"/>
              <a:gd name="connsiteY285" fmla="*/ 4993486 h 6689084"/>
              <a:gd name="connsiteX286" fmla="*/ 6155350 w 6689088"/>
              <a:gd name="connsiteY286" fmla="*/ 4996753 h 6689084"/>
              <a:gd name="connsiteX287" fmla="*/ 6152083 w 6689088"/>
              <a:gd name="connsiteY287" fmla="*/ 5000024 h 6689084"/>
              <a:gd name="connsiteX288" fmla="*/ 6148816 w 6689088"/>
              <a:gd name="connsiteY288" fmla="*/ 4996753 h 6689084"/>
              <a:gd name="connsiteX289" fmla="*/ 6152083 w 6689088"/>
              <a:gd name="connsiteY289" fmla="*/ 4993486 h 6689084"/>
              <a:gd name="connsiteX290" fmla="*/ 6305668 w 6689088"/>
              <a:gd name="connsiteY290" fmla="*/ 4992396 h 6689084"/>
              <a:gd name="connsiteX291" fmla="*/ 6310025 w 6689088"/>
              <a:gd name="connsiteY291" fmla="*/ 4996753 h 6689084"/>
              <a:gd name="connsiteX292" fmla="*/ 6305668 w 6689088"/>
              <a:gd name="connsiteY292" fmla="*/ 5001110 h 6689084"/>
              <a:gd name="connsiteX293" fmla="*/ 6301311 w 6689088"/>
              <a:gd name="connsiteY293" fmla="*/ 4996753 h 6689084"/>
              <a:gd name="connsiteX294" fmla="*/ 6305668 w 6689088"/>
              <a:gd name="connsiteY294" fmla="*/ 4992396 h 6689084"/>
              <a:gd name="connsiteX295" fmla="*/ 6459616 w 6689088"/>
              <a:gd name="connsiteY295" fmla="*/ 4990944 h 6689084"/>
              <a:gd name="connsiteX296" fmla="*/ 6465425 w 6689088"/>
              <a:gd name="connsiteY296" fmla="*/ 4996753 h 6689084"/>
              <a:gd name="connsiteX297" fmla="*/ 6459616 w 6689088"/>
              <a:gd name="connsiteY297" fmla="*/ 5002562 h 6689084"/>
              <a:gd name="connsiteX298" fmla="*/ 6453806 w 6689088"/>
              <a:gd name="connsiteY298" fmla="*/ 4996753 h 6689084"/>
              <a:gd name="connsiteX299" fmla="*/ 6459616 w 6689088"/>
              <a:gd name="connsiteY299" fmla="*/ 4990944 h 6689084"/>
              <a:gd name="connsiteX300" fmla="*/ 6613200 w 6689088"/>
              <a:gd name="connsiteY300" fmla="*/ 4989491 h 6689084"/>
              <a:gd name="connsiteX301" fmla="*/ 6620462 w 6689088"/>
              <a:gd name="connsiteY301" fmla="*/ 4996753 h 6689084"/>
              <a:gd name="connsiteX302" fmla="*/ 6613200 w 6689088"/>
              <a:gd name="connsiteY302" fmla="*/ 5004015 h 6689084"/>
              <a:gd name="connsiteX303" fmla="*/ 6605939 w 6689088"/>
              <a:gd name="connsiteY303" fmla="*/ 4996753 h 6689084"/>
              <a:gd name="connsiteX304" fmla="*/ 6613200 w 6689088"/>
              <a:gd name="connsiteY304" fmla="*/ 4989491 h 6689084"/>
              <a:gd name="connsiteX305" fmla="*/ 5536659 w 6689088"/>
              <a:gd name="connsiteY305" fmla="*/ 4842806 h 6689084"/>
              <a:gd name="connsiteX306" fmla="*/ 5537021 w 6689088"/>
              <a:gd name="connsiteY306" fmla="*/ 4843168 h 6689084"/>
              <a:gd name="connsiteX307" fmla="*/ 5536659 w 6689088"/>
              <a:gd name="connsiteY307" fmla="*/ 4843530 h 6689084"/>
              <a:gd name="connsiteX308" fmla="*/ 5536297 w 6689088"/>
              <a:gd name="connsiteY308" fmla="*/ 4843168 h 6689084"/>
              <a:gd name="connsiteX309" fmla="*/ 5536659 w 6689088"/>
              <a:gd name="connsiteY309" fmla="*/ 4842806 h 6689084"/>
              <a:gd name="connsiteX310" fmla="*/ 5075541 w 6689088"/>
              <a:gd name="connsiteY310" fmla="*/ 4842806 h 6689084"/>
              <a:gd name="connsiteX311" fmla="*/ 5075904 w 6689088"/>
              <a:gd name="connsiteY311" fmla="*/ 4843168 h 6689084"/>
              <a:gd name="connsiteX312" fmla="*/ 5075541 w 6689088"/>
              <a:gd name="connsiteY312" fmla="*/ 4843530 h 6689084"/>
              <a:gd name="connsiteX313" fmla="*/ 5075179 w 6689088"/>
              <a:gd name="connsiteY313" fmla="*/ 4843168 h 6689084"/>
              <a:gd name="connsiteX314" fmla="*/ 5075541 w 6689088"/>
              <a:gd name="connsiteY314" fmla="*/ 4842806 h 6689084"/>
              <a:gd name="connsiteX315" fmla="*/ 4921594 w 6689088"/>
              <a:gd name="connsiteY315" fmla="*/ 4842806 h 6689084"/>
              <a:gd name="connsiteX316" fmla="*/ 4921956 w 6689088"/>
              <a:gd name="connsiteY316" fmla="*/ 4843168 h 6689084"/>
              <a:gd name="connsiteX317" fmla="*/ 4921594 w 6689088"/>
              <a:gd name="connsiteY317" fmla="*/ 4843530 h 6689084"/>
              <a:gd name="connsiteX318" fmla="*/ 4921232 w 6689088"/>
              <a:gd name="connsiteY318" fmla="*/ 4843168 h 6689084"/>
              <a:gd name="connsiteX319" fmla="*/ 4921594 w 6689088"/>
              <a:gd name="connsiteY319" fmla="*/ 4842806 h 6689084"/>
              <a:gd name="connsiteX320" fmla="*/ 4768012 w 6689088"/>
              <a:gd name="connsiteY320" fmla="*/ 4842444 h 6689084"/>
              <a:gd name="connsiteX321" fmla="*/ 4768736 w 6689088"/>
              <a:gd name="connsiteY321" fmla="*/ 4843172 h 6689084"/>
              <a:gd name="connsiteX322" fmla="*/ 4768012 w 6689088"/>
              <a:gd name="connsiteY322" fmla="*/ 4843896 h 6689084"/>
              <a:gd name="connsiteX323" fmla="*/ 4767284 w 6689088"/>
              <a:gd name="connsiteY323" fmla="*/ 4843172 h 6689084"/>
              <a:gd name="connsiteX324" fmla="*/ 4768012 w 6689088"/>
              <a:gd name="connsiteY324" fmla="*/ 4842444 h 6689084"/>
              <a:gd name="connsiteX325" fmla="*/ 5690606 w 6689088"/>
              <a:gd name="connsiteY325" fmla="*/ 4841353 h 6689084"/>
              <a:gd name="connsiteX326" fmla="*/ 5692059 w 6689088"/>
              <a:gd name="connsiteY326" fmla="*/ 4842806 h 6689084"/>
              <a:gd name="connsiteX327" fmla="*/ 5690606 w 6689088"/>
              <a:gd name="connsiteY327" fmla="*/ 4844258 h 6689084"/>
              <a:gd name="connsiteX328" fmla="*/ 5689154 w 6689088"/>
              <a:gd name="connsiteY328" fmla="*/ 4842806 h 6689084"/>
              <a:gd name="connsiteX329" fmla="*/ 5690606 w 6689088"/>
              <a:gd name="connsiteY329" fmla="*/ 4841353 h 6689084"/>
              <a:gd name="connsiteX330" fmla="*/ 5844554 w 6689088"/>
              <a:gd name="connsiteY330" fmla="*/ 4840629 h 6689084"/>
              <a:gd name="connsiteX331" fmla="*/ 5846730 w 6689088"/>
              <a:gd name="connsiteY331" fmla="*/ 4842810 h 6689084"/>
              <a:gd name="connsiteX332" fmla="*/ 5844554 w 6689088"/>
              <a:gd name="connsiteY332" fmla="*/ 4844986 h 6689084"/>
              <a:gd name="connsiteX333" fmla="*/ 5842374 w 6689088"/>
              <a:gd name="connsiteY333" fmla="*/ 4842810 h 6689084"/>
              <a:gd name="connsiteX334" fmla="*/ 5844554 w 6689088"/>
              <a:gd name="connsiteY334" fmla="*/ 4840629 h 6689084"/>
              <a:gd name="connsiteX335" fmla="*/ 5998136 w 6689088"/>
              <a:gd name="connsiteY335" fmla="*/ 4839901 h 6689084"/>
              <a:gd name="connsiteX336" fmla="*/ 6001402 w 6689088"/>
              <a:gd name="connsiteY336" fmla="*/ 4843168 h 6689084"/>
              <a:gd name="connsiteX337" fmla="*/ 5998136 w 6689088"/>
              <a:gd name="connsiteY337" fmla="*/ 4846435 h 6689084"/>
              <a:gd name="connsiteX338" fmla="*/ 5994868 w 6689088"/>
              <a:gd name="connsiteY338" fmla="*/ 4843168 h 6689084"/>
              <a:gd name="connsiteX339" fmla="*/ 5998136 w 6689088"/>
              <a:gd name="connsiteY339" fmla="*/ 4839901 h 6689084"/>
              <a:gd name="connsiteX340" fmla="*/ 6152083 w 6689088"/>
              <a:gd name="connsiteY340" fmla="*/ 4838449 h 6689084"/>
              <a:gd name="connsiteX341" fmla="*/ 6156440 w 6689088"/>
              <a:gd name="connsiteY341" fmla="*/ 4842806 h 6689084"/>
              <a:gd name="connsiteX342" fmla="*/ 6152083 w 6689088"/>
              <a:gd name="connsiteY342" fmla="*/ 4847163 h 6689084"/>
              <a:gd name="connsiteX343" fmla="*/ 6147726 w 6689088"/>
              <a:gd name="connsiteY343" fmla="*/ 4842806 h 6689084"/>
              <a:gd name="connsiteX344" fmla="*/ 6152083 w 6689088"/>
              <a:gd name="connsiteY344" fmla="*/ 4838449 h 6689084"/>
              <a:gd name="connsiteX345" fmla="*/ 6305668 w 6689088"/>
              <a:gd name="connsiteY345" fmla="*/ 4836996 h 6689084"/>
              <a:gd name="connsiteX346" fmla="*/ 6311478 w 6689088"/>
              <a:gd name="connsiteY346" fmla="*/ 4842806 h 6689084"/>
              <a:gd name="connsiteX347" fmla="*/ 6305668 w 6689088"/>
              <a:gd name="connsiteY347" fmla="*/ 4848615 h 6689084"/>
              <a:gd name="connsiteX348" fmla="*/ 6299858 w 6689088"/>
              <a:gd name="connsiteY348" fmla="*/ 4842806 h 6689084"/>
              <a:gd name="connsiteX349" fmla="*/ 6305668 w 6689088"/>
              <a:gd name="connsiteY349" fmla="*/ 4836996 h 6689084"/>
              <a:gd name="connsiteX350" fmla="*/ 6459616 w 6689088"/>
              <a:gd name="connsiteY350" fmla="*/ 4835544 h 6689084"/>
              <a:gd name="connsiteX351" fmla="*/ 6466877 w 6689088"/>
              <a:gd name="connsiteY351" fmla="*/ 4842806 h 6689084"/>
              <a:gd name="connsiteX352" fmla="*/ 6459616 w 6689088"/>
              <a:gd name="connsiteY352" fmla="*/ 4850067 h 6689084"/>
              <a:gd name="connsiteX353" fmla="*/ 6452354 w 6689088"/>
              <a:gd name="connsiteY353" fmla="*/ 4842806 h 6689084"/>
              <a:gd name="connsiteX354" fmla="*/ 6459616 w 6689088"/>
              <a:gd name="connsiteY354" fmla="*/ 4835544 h 6689084"/>
              <a:gd name="connsiteX355" fmla="*/ 6613200 w 6689088"/>
              <a:gd name="connsiteY355" fmla="*/ 4833730 h 6689084"/>
              <a:gd name="connsiteX356" fmla="*/ 6622280 w 6689088"/>
              <a:gd name="connsiteY356" fmla="*/ 4842806 h 6689084"/>
              <a:gd name="connsiteX357" fmla="*/ 6613200 w 6689088"/>
              <a:gd name="connsiteY357" fmla="*/ 4851886 h 6689084"/>
              <a:gd name="connsiteX358" fmla="*/ 6604124 w 6689088"/>
              <a:gd name="connsiteY358" fmla="*/ 4842806 h 6689084"/>
              <a:gd name="connsiteX359" fmla="*/ 6613200 w 6689088"/>
              <a:gd name="connsiteY359" fmla="*/ 4833730 h 6689084"/>
              <a:gd name="connsiteX360" fmla="*/ 5383074 w 6689088"/>
              <a:gd name="connsiteY360" fmla="*/ 4688858 h 6689084"/>
              <a:gd name="connsiteX361" fmla="*/ 5383436 w 6689088"/>
              <a:gd name="connsiteY361" fmla="*/ 4689220 h 6689084"/>
              <a:gd name="connsiteX362" fmla="*/ 5383074 w 6689088"/>
              <a:gd name="connsiteY362" fmla="*/ 4689586 h 6689084"/>
              <a:gd name="connsiteX363" fmla="*/ 5382712 w 6689088"/>
              <a:gd name="connsiteY363" fmla="*/ 4689220 h 6689084"/>
              <a:gd name="connsiteX364" fmla="*/ 5383074 w 6689088"/>
              <a:gd name="connsiteY364" fmla="*/ 4688858 h 6689084"/>
              <a:gd name="connsiteX365" fmla="*/ 4921594 w 6689088"/>
              <a:gd name="connsiteY365" fmla="*/ 4688858 h 6689084"/>
              <a:gd name="connsiteX366" fmla="*/ 4921956 w 6689088"/>
              <a:gd name="connsiteY366" fmla="*/ 4689220 h 6689084"/>
              <a:gd name="connsiteX367" fmla="*/ 4921594 w 6689088"/>
              <a:gd name="connsiteY367" fmla="*/ 4689586 h 6689084"/>
              <a:gd name="connsiteX368" fmla="*/ 4921232 w 6689088"/>
              <a:gd name="connsiteY368" fmla="*/ 4689220 h 6689084"/>
              <a:gd name="connsiteX369" fmla="*/ 4921594 w 6689088"/>
              <a:gd name="connsiteY369" fmla="*/ 4688858 h 6689084"/>
              <a:gd name="connsiteX370" fmla="*/ 4768008 w 6689088"/>
              <a:gd name="connsiteY370" fmla="*/ 4688858 h 6689084"/>
              <a:gd name="connsiteX371" fmla="*/ 4768370 w 6689088"/>
              <a:gd name="connsiteY371" fmla="*/ 4689220 h 6689084"/>
              <a:gd name="connsiteX372" fmla="*/ 4768008 w 6689088"/>
              <a:gd name="connsiteY372" fmla="*/ 4689586 h 6689084"/>
              <a:gd name="connsiteX373" fmla="*/ 4767646 w 6689088"/>
              <a:gd name="connsiteY373" fmla="*/ 4689220 h 6689084"/>
              <a:gd name="connsiteX374" fmla="*/ 4768008 w 6689088"/>
              <a:gd name="connsiteY374" fmla="*/ 4688858 h 6689084"/>
              <a:gd name="connsiteX375" fmla="*/ 4614065 w 6689088"/>
              <a:gd name="connsiteY375" fmla="*/ 4688496 h 6689084"/>
              <a:gd name="connsiteX376" fmla="*/ 4614789 w 6689088"/>
              <a:gd name="connsiteY376" fmla="*/ 4689220 h 6689084"/>
              <a:gd name="connsiteX377" fmla="*/ 4614065 w 6689088"/>
              <a:gd name="connsiteY377" fmla="*/ 4689949 h 6689084"/>
              <a:gd name="connsiteX378" fmla="*/ 4613337 w 6689088"/>
              <a:gd name="connsiteY378" fmla="*/ 4689220 h 6689084"/>
              <a:gd name="connsiteX379" fmla="*/ 4614065 w 6689088"/>
              <a:gd name="connsiteY379" fmla="*/ 4688496 h 6689084"/>
              <a:gd name="connsiteX380" fmla="*/ 5536659 w 6689088"/>
              <a:gd name="connsiteY380" fmla="*/ 4687406 h 6689084"/>
              <a:gd name="connsiteX381" fmla="*/ 5538112 w 6689088"/>
              <a:gd name="connsiteY381" fmla="*/ 4688858 h 6689084"/>
              <a:gd name="connsiteX382" fmla="*/ 5536659 w 6689088"/>
              <a:gd name="connsiteY382" fmla="*/ 4690311 h 6689084"/>
              <a:gd name="connsiteX383" fmla="*/ 5535207 w 6689088"/>
              <a:gd name="connsiteY383" fmla="*/ 4688858 h 6689084"/>
              <a:gd name="connsiteX384" fmla="*/ 5536659 w 6689088"/>
              <a:gd name="connsiteY384" fmla="*/ 4687406 h 6689084"/>
              <a:gd name="connsiteX385" fmla="*/ 5690602 w 6689088"/>
              <a:gd name="connsiteY385" fmla="*/ 4687044 h 6689084"/>
              <a:gd name="connsiteX386" fmla="*/ 5692783 w 6689088"/>
              <a:gd name="connsiteY386" fmla="*/ 4689220 h 6689084"/>
              <a:gd name="connsiteX387" fmla="*/ 5690602 w 6689088"/>
              <a:gd name="connsiteY387" fmla="*/ 4691401 h 6689084"/>
              <a:gd name="connsiteX388" fmla="*/ 5688426 w 6689088"/>
              <a:gd name="connsiteY388" fmla="*/ 4689220 h 6689084"/>
              <a:gd name="connsiteX389" fmla="*/ 5690602 w 6689088"/>
              <a:gd name="connsiteY389" fmla="*/ 4687044 h 6689084"/>
              <a:gd name="connsiteX390" fmla="*/ 5844554 w 6689088"/>
              <a:gd name="connsiteY390" fmla="*/ 4685954 h 6689084"/>
              <a:gd name="connsiteX391" fmla="*/ 5847817 w 6689088"/>
              <a:gd name="connsiteY391" fmla="*/ 4689220 h 6689084"/>
              <a:gd name="connsiteX392" fmla="*/ 5844554 w 6689088"/>
              <a:gd name="connsiteY392" fmla="*/ 4692491 h 6689084"/>
              <a:gd name="connsiteX393" fmla="*/ 5841284 w 6689088"/>
              <a:gd name="connsiteY393" fmla="*/ 4689220 h 6689084"/>
              <a:gd name="connsiteX394" fmla="*/ 5844554 w 6689088"/>
              <a:gd name="connsiteY394" fmla="*/ 4685954 h 6689084"/>
              <a:gd name="connsiteX395" fmla="*/ 5998136 w 6689088"/>
              <a:gd name="connsiteY395" fmla="*/ 4684863 h 6689084"/>
              <a:gd name="connsiteX396" fmla="*/ 6002492 w 6689088"/>
              <a:gd name="connsiteY396" fmla="*/ 4689220 h 6689084"/>
              <a:gd name="connsiteX397" fmla="*/ 5998136 w 6689088"/>
              <a:gd name="connsiteY397" fmla="*/ 4693577 h 6689084"/>
              <a:gd name="connsiteX398" fmla="*/ 5993778 w 6689088"/>
              <a:gd name="connsiteY398" fmla="*/ 4689220 h 6689084"/>
              <a:gd name="connsiteX399" fmla="*/ 5998136 w 6689088"/>
              <a:gd name="connsiteY399" fmla="*/ 4684863 h 6689084"/>
              <a:gd name="connsiteX400" fmla="*/ 6152086 w 6689088"/>
              <a:gd name="connsiteY400" fmla="*/ 4683411 h 6689084"/>
              <a:gd name="connsiteX401" fmla="*/ 6157896 w 6689088"/>
              <a:gd name="connsiteY401" fmla="*/ 4689220 h 6689084"/>
              <a:gd name="connsiteX402" fmla="*/ 6152086 w 6689088"/>
              <a:gd name="connsiteY402" fmla="*/ 4695030 h 6689084"/>
              <a:gd name="connsiteX403" fmla="*/ 6146277 w 6689088"/>
              <a:gd name="connsiteY403" fmla="*/ 4689220 h 6689084"/>
              <a:gd name="connsiteX404" fmla="*/ 6152086 w 6689088"/>
              <a:gd name="connsiteY404" fmla="*/ 4683411 h 6689084"/>
              <a:gd name="connsiteX405" fmla="*/ 6305668 w 6689088"/>
              <a:gd name="connsiteY405" fmla="*/ 4681959 h 6689084"/>
              <a:gd name="connsiteX406" fmla="*/ 6312930 w 6689088"/>
              <a:gd name="connsiteY406" fmla="*/ 4689220 h 6689084"/>
              <a:gd name="connsiteX407" fmla="*/ 6305668 w 6689088"/>
              <a:gd name="connsiteY407" fmla="*/ 4696482 h 6689084"/>
              <a:gd name="connsiteX408" fmla="*/ 6298406 w 6689088"/>
              <a:gd name="connsiteY408" fmla="*/ 4689220 h 6689084"/>
              <a:gd name="connsiteX409" fmla="*/ 6305668 w 6689088"/>
              <a:gd name="connsiteY409" fmla="*/ 4681959 h 6689084"/>
              <a:gd name="connsiteX410" fmla="*/ 6459616 w 6689088"/>
              <a:gd name="connsiteY410" fmla="*/ 4680144 h 6689084"/>
              <a:gd name="connsiteX411" fmla="*/ 6468696 w 6689088"/>
              <a:gd name="connsiteY411" fmla="*/ 4689220 h 6689084"/>
              <a:gd name="connsiteX412" fmla="*/ 6459616 w 6689088"/>
              <a:gd name="connsiteY412" fmla="*/ 4698300 h 6689084"/>
              <a:gd name="connsiteX413" fmla="*/ 6450540 w 6689088"/>
              <a:gd name="connsiteY413" fmla="*/ 4689220 h 6689084"/>
              <a:gd name="connsiteX414" fmla="*/ 6459616 w 6689088"/>
              <a:gd name="connsiteY414" fmla="*/ 4680144 h 6689084"/>
              <a:gd name="connsiteX415" fmla="*/ 6613200 w 6689088"/>
              <a:gd name="connsiteY415" fmla="*/ 4679054 h 6689084"/>
              <a:gd name="connsiteX416" fmla="*/ 6623367 w 6689088"/>
              <a:gd name="connsiteY416" fmla="*/ 4689220 h 6689084"/>
              <a:gd name="connsiteX417" fmla="*/ 6613200 w 6689088"/>
              <a:gd name="connsiteY417" fmla="*/ 4699387 h 6689084"/>
              <a:gd name="connsiteX418" fmla="*/ 6603034 w 6689088"/>
              <a:gd name="connsiteY418" fmla="*/ 4689220 h 6689084"/>
              <a:gd name="connsiteX419" fmla="*/ 6613200 w 6689088"/>
              <a:gd name="connsiteY419" fmla="*/ 4679054 h 6689084"/>
              <a:gd name="connsiteX420" fmla="*/ 5229126 w 6689088"/>
              <a:gd name="connsiteY420" fmla="*/ 4535273 h 6689084"/>
              <a:gd name="connsiteX421" fmla="*/ 5229488 w 6689088"/>
              <a:gd name="connsiteY421" fmla="*/ 4535635 h 6689084"/>
              <a:gd name="connsiteX422" fmla="*/ 5229126 w 6689088"/>
              <a:gd name="connsiteY422" fmla="*/ 4535997 h 6689084"/>
              <a:gd name="connsiteX423" fmla="*/ 5228764 w 6689088"/>
              <a:gd name="connsiteY423" fmla="*/ 4535635 h 6689084"/>
              <a:gd name="connsiteX424" fmla="*/ 5229126 w 6689088"/>
              <a:gd name="connsiteY424" fmla="*/ 4535273 h 6689084"/>
              <a:gd name="connsiteX425" fmla="*/ 4768008 w 6689088"/>
              <a:gd name="connsiteY425" fmla="*/ 4535273 h 6689084"/>
              <a:gd name="connsiteX426" fmla="*/ 4768370 w 6689088"/>
              <a:gd name="connsiteY426" fmla="*/ 4535635 h 6689084"/>
              <a:gd name="connsiteX427" fmla="*/ 4768008 w 6689088"/>
              <a:gd name="connsiteY427" fmla="*/ 4535997 h 6689084"/>
              <a:gd name="connsiteX428" fmla="*/ 4767646 w 6689088"/>
              <a:gd name="connsiteY428" fmla="*/ 4535635 h 6689084"/>
              <a:gd name="connsiteX429" fmla="*/ 4768008 w 6689088"/>
              <a:gd name="connsiteY429" fmla="*/ 4535273 h 6689084"/>
              <a:gd name="connsiteX430" fmla="*/ 4614061 w 6689088"/>
              <a:gd name="connsiteY430" fmla="*/ 4535273 h 6689084"/>
              <a:gd name="connsiteX431" fmla="*/ 4614424 w 6689088"/>
              <a:gd name="connsiteY431" fmla="*/ 4535635 h 6689084"/>
              <a:gd name="connsiteX432" fmla="*/ 4614061 w 6689088"/>
              <a:gd name="connsiteY432" fmla="*/ 4535997 h 6689084"/>
              <a:gd name="connsiteX433" fmla="*/ 4613699 w 6689088"/>
              <a:gd name="connsiteY433" fmla="*/ 4535635 h 6689084"/>
              <a:gd name="connsiteX434" fmla="*/ 4614061 w 6689088"/>
              <a:gd name="connsiteY434" fmla="*/ 4535273 h 6689084"/>
              <a:gd name="connsiteX435" fmla="*/ 4460480 w 6689088"/>
              <a:gd name="connsiteY435" fmla="*/ 4534911 h 6689084"/>
              <a:gd name="connsiteX436" fmla="*/ 4461204 w 6689088"/>
              <a:gd name="connsiteY436" fmla="*/ 4535635 h 6689084"/>
              <a:gd name="connsiteX437" fmla="*/ 4460480 w 6689088"/>
              <a:gd name="connsiteY437" fmla="*/ 4536363 h 6689084"/>
              <a:gd name="connsiteX438" fmla="*/ 4459752 w 6689088"/>
              <a:gd name="connsiteY438" fmla="*/ 4535635 h 6689084"/>
              <a:gd name="connsiteX439" fmla="*/ 4460480 w 6689088"/>
              <a:gd name="connsiteY439" fmla="*/ 4534911 h 6689084"/>
              <a:gd name="connsiteX440" fmla="*/ 5383074 w 6689088"/>
              <a:gd name="connsiteY440" fmla="*/ 4533821 h 6689084"/>
              <a:gd name="connsiteX441" fmla="*/ 5384526 w 6689088"/>
              <a:gd name="connsiteY441" fmla="*/ 4535273 h 6689084"/>
              <a:gd name="connsiteX442" fmla="*/ 5383074 w 6689088"/>
              <a:gd name="connsiteY442" fmla="*/ 4536725 h 6689084"/>
              <a:gd name="connsiteX443" fmla="*/ 5381622 w 6689088"/>
              <a:gd name="connsiteY443" fmla="*/ 4535273 h 6689084"/>
              <a:gd name="connsiteX444" fmla="*/ 5383074 w 6689088"/>
              <a:gd name="connsiteY444" fmla="*/ 4533821 h 6689084"/>
              <a:gd name="connsiteX445" fmla="*/ 5536659 w 6689088"/>
              <a:gd name="connsiteY445" fmla="*/ 4533096 h 6689084"/>
              <a:gd name="connsiteX446" fmla="*/ 5538840 w 6689088"/>
              <a:gd name="connsiteY446" fmla="*/ 4535277 h 6689084"/>
              <a:gd name="connsiteX447" fmla="*/ 5536659 w 6689088"/>
              <a:gd name="connsiteY447" fmla="*/ 4537453 h 6689084"/>
              <a:gd name="connsiteX448" fmla="*/ 5534482 w 6689088"/>
              <a:gd name="connsiteY448" fmla="*/ 4535277 h 6689084"/>
              <a:gd name="connsiteX449" fmla="*/ 5536659 w 6689088"/>
              <a:gd name="connsiteY449" fmla="*/ 4533096 h 6689084"/>
              <a:gd name="connsiteX450" fmla="*/ 5690606 w 6689088"/>
              <a:gd name="connsiteY450" fmla="*/ 4532368 h 6689084"/>
              <a:gd name="connsiteX451" fmla="*/ 5693870 w 6689088"/>
              <a:gd name="connsiteY451" fmla="*/ 4535635 h 6689084"/>
              <a:gd name="connsiteX452" fmla="*/ 5690606 w 6689088"/>
              <a:gd name="connsiteY452" fmla="*/ 4538906 h 6689084"/>
              <a:gd name="connsiteX453" fmla="*/ 5687336 w 6689088"/>
              <a:gd name="connsiteY453" fmla="*/ 4535635 h 6689084"/>
              <a:gd name="connsiteX454" fmla="*/ 5690606 w 6689088"/>
              <a:gd name="connsiteY454" fmla="*/ 4532368 h 6689084"/>
              <a:gd name="connsiteX455" fmla="*/ 5844554 w 6689088"/>
              <a:gd name="connsiteY455" fmla="*/ 4530916 h 6689084"/>
              <a:gd name="connsiteX456" fmla="*/ 5848911 w 6689088"/>
              <a:gd name="connsiteY456" fmla="*/ 4535273 h 6689084"/>
              <a:gd name="connsiteX457" fmla="*/ 5844554 w 6689088"/>
              <a:gd name="connsiteY457" fmla="*/ 4539630 h 6689084"/>
              <a:gd name="connsiteX458" fmla="*/ 5840197 w 6689088"/>
              <a:gd name="connsiteY458" fmla="*/ 4535273 h 6689084"/>
              <a:gd name="connsiteX459" fmla="*/ 5844554 w 6689088"/>
              <a:gd name="connsiteY459" fmla="*/ 4530916 h 6689084"/>
              <a:gd name="connsiteX460" fmla="*/ 5998139 w 6689088"/>
              <a:gd name="connsiteY460" fmla="*/ 4529830 h 6689084"/>
              <a:gd name="connsiteX461" fmla="*/ 6003948 w 6689088"/>
              <a:gd name="connsiteY461" fmla="*/ 4535639 h 6689084"/>
              <a:gd name="connsiteX462" fmla="*/ 5998139 w 6689088"/>
              <a:gd name="connsiteY462" fmla="*/ 4541448 h 6689084"/>
              <a:gd name="connsiteX463" fmla="*/ 5992330 w 6689088"/>
              <a:gd name="connsiteY463" fmla="*/ 4535639 h 6689084"/>
              <a:gd name="connsiteX464" fmla="*/ 5998139 w 6689088"/>
              <a:gd name="connsiteY464" fmla="*/ 4529830 h 6689084"/>
              <a:gd name="connsiteX465" fmla="*/ 6152086 w 6689088"/>
              <a:gd name="connsiteY465" fmla="*/ 4528011 h 6689084"/>
              <a:gd name="connsiteX466" fmla="*/ 6159348 w 6689088"/>
              <a:gd name="connsiteY466" fmla="*/ 4535273 h 6689084"/>
              <a:gd name="connsiteX467" fmla="*/ 6152086 w 6689088"/>
              <a:gd name="connsiteY467" fmla="*/ 4542535 h 6689084"/>
              <a:gd name="connsiteX468" fmla="*/ 6144825 w 6689088"/>
              <a:gd name="connsiteY468" fmla="*/ 4535273 h 6689084"/>
              <a:gd name="connsiteX469" fmla="*/ 6152086 w 6689088"/>
              <a:gd name="connsiteY469" fmla="*/ 4528011 h 6689084"/>
              <a:gd name="connsiteX470" fmla="*/ 6305668 w 6689088"/>
              <a:gd name="connsiteY470" fmla="*/ 4526197 h 6689084"/>
              <a:gd name="connsiteX471" fmla="*/ 6314748 w 6689088"/>
              <a:gd name="connsiteY471" fmla="*/ 4535273 h 6689084"/>
              <a:gd name="connsiteX472" fmla="*/ 6305668 w 6689088"/>
              <a:gd name="connsiteY472" fmla="*/ 4544353 h 6689084"/>
              <a:gd name="connsiteX473" fmla="*/ 6296592 w 6689088"/>
              <a:gd name="connsiteY473" fmla="*/ 4535273 h 6689084"/>
              <a:gd name="connsiteX474" fmla="*/ 6305668 w 6689088"/>
              <a:gd name="connsiteY474" fmla="*/ 4526197 h 6689084"/>
              <a:gd name="connsiteX475" fmla="*/ 6459616 w 6689088"/>
              <a:gd name="connsiteY475" fmla="*/ 4525469 h 6689084"/>
              <a:gd name="connsiteX476" fmla="*/ 6469782 w 6689088"/>
              <a:gd name="connsiteY476" fmla="*/ 4535635 h 6689084"/>
              <a:gd name="connsiteX477" fmla="*/ 6459616 w 6689088"/>
              <a:gd name="connsiteY477" fmla="*/ 4545802 h 6689084"/>
              <a:gd name="connsiteX478" fmla="*/ 6449449 w 6689088"/>
              <a:gd name="connsiteY478" fmla="*/ 4535635 h 6689084"/>
              <a:gd name="connsiteX479" fmla="*/ 6459616 w 6689088"/>
              <a:gd name="connsiteY479" fmla="*/ 4525469 h 6689084"/>
              <a:gd name="connsiteX480" fmla="*/ 6613197 w 6689088"/>
              <a:gd name="connsiteY480" fmla="*/ 4523292 h 6689084"/>
              <a:gd name="connsiteX481" fmla="*/ 6625182 w 6689088"/>
              <a:gd name="connsiteY481" fmla="*/ 4535273 h 6689084"/>
              <a:gd name="connsiteX482" fmla="*/ 6613197 w 6689088"/>
              <a:gd name="connsiteY482" fmla="*/ 4547254 h 6689084"/>
              <a:gd name="connsiteX483" fmla="*/ 6601216 w 6689088"/>
              <a:gd name="connsiteY483" fmla="*/ 4535273 h 6689084"/>
              <a:gd name="connsiteX484" fmla="*/ 6613197 w 6689088"/>
              <a:gd name="connsiteY484" fmla="*/ 4523292 h 6689084"/>
              <a:gd name="connsiteX485" fmla="*/ 5075541 w 6689088"/>
              <a:gd name="connsiteY485" fmla="*/ 4381326 h 6689084"/>
              <a:gd name="connsiteX486" fmla="*/ 5075904 w 6689088"/>
              <a:gd name="connsiteY486" fmla="*/ 4381688 h 6689084"/>
              <a:gd name="connsiteX487" fmla="*/ 5075541 w 6689088"/>
              <a:gd name="connsiteY487" fmla="*/ 4382054 h 6689084"/>
              <a:gd name="connsiteX488" fmla="*/ 5075179 w 6689088"/>
              <a:gd name="connsiteY488" fmla="*/ 4381688 h 6689084"/>
              <a:gd name="connsiteX489" fmla="*/ 5075541 w 6689088"/>
              <a:gd name="connsiteY489" fmla="*/ 4381326 h 6689084"/>
              <a:gd name="connsiteX490" fmla="*/ 4614061 w 6689088"/>
              <a:gd name="connsiteY490" fmla="*/ 4381326 h 6689084"/>
              <a:gd name="connsiteX491" fmla="*/ 4614424 w 6689088"/>
              <a:gd name="connsiteY491" fmla="*/ 4381688 h 6689084"/>
              <a:gd name="connsiteX492" fmla="*/ 4614061 w 6689088"/>
              <a:gd name="connsiteY492" fmla="*/ 4382054 h 6689084"/>
              <a:gd name="connsiteX493" fmla="*/ 4613699 w 6689088"/>
              <a:gd name="connsiteY493" fmla="*/ 4381688 h 6689084"/>
              <a:gd name="connsiteX494" fmla="*/ 4614061 w 6689088"/>
              <a:gd name="connsiteY494" fmla="*/ 4381326 h 6689084"/>
              <a:gd name="connsiteX495" fmla="*/ 4460480 w 6689088"/>
              <a:gd name="connsiteY495" fmla="*/ 4381326 h 6689084"/>
              <a:gd name="connsiteX496" fmla="*/ 4460842 w 6689088"/>
              <a:gd name="connsiteY496" fmla="*/ 4381688 h 6689084"/>
              <a:gd name="connsiteX497" fmla="*/ 4460480 w 6689088"/>
              <a:gd name="connsiteY497" fmla="*/ 4382054 h 6689084"/>
              <a:gd name="connsiteX498" fmla="*/ 4460118 w 6689088"/>
              <a:gd name="connsiteY498" fmla="*/ 4381688 h 6689084"/>
              <a:gd name="connsiteX499" fmla="*/ 4460480 w 6689088"/>
              <a:gd name="connsiteY499" fmla="*/ 4381326 h 6689084"/>
              <a:gd name="connsiteX500" fmla="*/ 4306528 w 6689088"/>
              <a:gd name="connsiteY500" fmla="*/ 4380964 h 6689084"/>
              <a:gd name="connsiteX501" fmla="*/ 4307256 w 6689088"/>
              <a:gd name="connsiteY501" fmla="*/ 4381688 h 6689084"/>
              <a:gd name="connsiteX502" fmla="*/ 4306528 w 6689088"/>
              <a:gd name="connsiteY502" fmla="*/ 4382416 h 6689084"/>
              <a:gd name="connsiteX503" fmla="*/ 4305804 w 6689088"/>
              <a:gd name="connsiteY503" fmla="*/ 4381688 h 6689084"/>
              <a:gd name="connsiteX504" fmla="*/ 4306528 w 6689088"/>
              <a:gd name="connsiteY504" fmla="*/ 4380964 h 6689084"/>
              <a:gd name="connsiteX505" fmla="*/ 5229126 w 6689088"/>
              <a:gd name="connsiteY505" fmla="*/ 4379873 h 6689084"/>
              <a:gd name="connsiteX506" fmla="*/ 5230579 w 6689088"/>
              <a:gd name="connsiteY506" fmla="*/ 4381326 h 6689084"/>
              <a:gd name="connsiteX507" fmla="*/ 5229126 w 6689088"/>
              <a:gd name="connsiteY507" fmla="*/ 4382778 h 6689084"/>
              <a:gd name="connsiteX508" fmla="*/ 5227674 w 6689088"/>
              <a:gd name="connsiteY508" fmla="*/ 4381326 h 6689084"/>
              <a:gd name="connsiteX509" fmla="*/ 5229126 w 6689088"/>
              <a:gd name="connsiteY509" fmla="*/ 4379873 h 6689084"/>
              <a:gd name="connsiteX510" fmla="*/ 5383074 w 6689088"/>
              <a:gd name="connsiteY510" fmla="*/ 4379511 h 6689084"/>
              <a:gd name="connsiteX511" fmla="*/ 5385250 w 6689088"/>
              <a:gd name="connsiteY511" fmla="*/ 4381688 h 6689084"/>
              <a:gd name="connsiteX512" fmla="*/ 5383074 w 6689088"/>
              <a:gd name="connsiteY512" fmla="*/ 4383868 h 6689084"/>
              <a:gd name="connsiteX513" fmla="*/ 5380894 w 6689088"/>
              <a:gd name="connsiteY513" fmla="*/ 4381688 h 6689084"/>
              <a:gd name="connsiteX514" fmla="*/ 5383074 w 6689088"/>
              <a:gd name="connsiteY514" fmla="*/ 4379511 h 6689084"/>
              <a:gd name="connsiteX515" fmla="*/ 5536659 w 6689088"/>
              <a:gd name="connsiteY515" fmla="*/ 4378421 h 6689084"/>
              <a:gd name="connsiteX516" fmla="*/ 5539922 w 6689088"/>
              <a:gd name="connsiteY516" fmla="*/ 4381688 h 6689084"/>
              <a:gd name="connsiteX517" fmla="*/ 5536659 w 6689088"/>
              <a:gd name="connsiteY517" fmla="*/ 4384958 h 6689084"/>
              <a:gd name="connsiteX518" fmla="*/ 5533388 w 6689088"/>
              <a:gd name="connsiteY518" fmla="*/ 4381688 h 6689084"/>
              <a:gd name="connsiteX519" fmla="*/ 5536659 w 6689088"/>
              <a:gd name="connsiteY519" fmla="*/ 4378421 h 6689084"/>
              <a:gd name="connsiteX520" fmla="*/ 5690606 w 6689088"/>
              <a:gd name="connsiteY520" fmla="*/ 4377331 h 6689084"/>
              <a:gd name="connsiteX521" fmla="*/ 5694964 w 6689088"/>
              <a:gd name="connsiteY521" fmla="*/ 4381688 h 6689084"/>
              <a:gd name="connsiteX522" fmla="*/ 5690606 w 6689088"/>
              <a:gd name="connsiteY522" fmla="*/ 4386045 h 6689084"/>
              <a:gd name="connsiteX523" fmla="*/ 5686250 w 6689088"/>
              <a:gd name="connsiteY523" fmla="*/ 4381688 h 6689084"/>
              <a:gd name="connsiteX524" fmla="*/ 5690606 w 6689088"/>
              <a:gd name="connsiteY524" fmla="*/ 4377331 h 6689084"/>
              <a:gd name="connsiteX525" fmla="*/ 5844550 w 6689088"/>
              <a:gd name="connsiteY525" fmla="*/ 4375878 h 6689084"/>
              <a:gd name="connsiteX526" fmla="*/ 5850360 w 6689088"/>
              <a:gd name="connsiteY526" fmla="*/ 4381688 h 6689084"/>
              <a:gd name="connsiteX527" fmla="*/ 5844550 w 6689088"/>
              <a:gd name="connsiteY527" fmla="*/ 4387497 h 6689084"/>
              <a:gd name="connsiteX528" fmla="*/ 5838741 w 6689088"/>
              <a:gd name="connsiteY528" fmla="*/ 4381688 h 6689084"/>
              <a:gd name="connsiteX529" fmla="*/ 5844550 w 6689088"/>
              <a:gd name="connsiteY529" fmla="*/ 4375878 h 6689084"/>
              <a:gd name="connsiteX530" fmla="*/ 5998136 w 6689088"/>
              <a:gd name="connsiteY530" fmla="*/ 4374430 h 6689084"/>
              <a:gd name="connsiteX531" fmla="*/ 6005397 w 6689088"/>
              <a:gd name="connsiteY531" fmla="*/ 4381692 h 6689084"/>
              <a:gd name="connsiteX532" fmla="*/ 5998136 w 6689088"/>
              <a:gd name="connsiteY532" fmla="*/ 4388953 h 6689084"/>
              <a:gd name="connsiteX533" fmla="*/ 5990874 w 6689088"/>
              <a:gd name="connsiteY533" fmla="*/ 4381692 h 6689084"/>
              <a:gd name="connsiteX534" fmla="*/ 5998136 w 6689088"/>
              <a:gd name="connsiteY534" fmla="*/ 4374430 h 6689084"/>
              <a:gd name="connsiteX535" fmla="*/ 6152083 w 6689088"/>
              <a:gd name="connsiteY535" fmla="*/ 4372612 h 6689084"/>
              <a:gd name="connsiteX536" fmla="*/ 6161162 w 6689088"/>
              <a:gd name="connsiteY536" fmla="*/ 4381688 h 6689084"/>
              <a:gd name="connsiteX537" fmla="*/ 6152083 w 6689088"/>
              <a:gd name="connsiteY537" fmla="*/ 4390768 h 6689084"/>
              <a:gd name="connsiteX538" fmla="*/ 6143006 w 6689088"/>
              <a:gd name="connsiteY538" fmla="*/ 4381688 h 6689084"/>
              <a:gd name="connsiteX539" fmla="*/ 6152083 w 6689088"/>
              <a:gd name="connsiteY539" fmla="*/ 4372612 h 6689084"/>
              <a:gd name="connsiteX540" fmla="*/ 6305668 w 6689088"/>
              <a:gd name="connsiteY540" fmla="*/ 4371525 h 6689084"/>
              <a:gd name="connsiteX541" fmla="*/ 6315834 w 6689088"/>
              <a:gd name="connsiteY541" fmla="*/ 4381692 h 6689084"/>
              <a:gd name="connsiteX542" fmla="*/ 6305668 w 6689088"/>
              <a:gd name="connsiteY542" fmla="*/ 4391858 h 6689084"/>
              <a:gd name="connsiteX543" fmla="*/ 6295502 w 6689088"/>
              <a:gd name="connsiteY543" fmla="*/ 4381692 h 6689084"/>
              <a:gd name="connsiteX544" fmla="*/ 6305668 w 6689088"/>
              <a:gd name="connsiteY544" fmla="*/ 4371525 h 6689084"/>
              <a:gd name="connsiteX545" fmla="*/ 6459616 w 6689088"/>
              <a:gd name="connsiteY545" fmla="*/ 4369707 h 6689084"/>
              <a:gd name="connsiteX546" fmla="*/ 6471600 w 6689088"/>
              <a:gd name="connsiteY546" fmla="*/ 4381688 h 6689084"/>
              <a:gd name="connsiteX547" fmla="*/ 6459616 w 6689088"/>
              <a:gd name="connsiteY547" fmla="*/ 4393672 h 6689084"/>
              <a:gd name="connsiteX548" fmla="*/ 6447634 w 6689088"/>
              <a:gd name="connsiteY548" fmla="*/ 4381688 h 6689084"/>
              <a:gd name="connsiteX549" fmla="*/ 6459616 w 6689088"/>
              <a:gd name="connsiteY549" fmla="*/ 4369707 h 6689084"/>
              <a:gd name="connsiteX550" fmla="*/ 6613200 w 6689088"/>
              <a:gd name="connsiteY550" fmla="*/ 4367530 h 6689084"/>
              <a:gd name="connsiteX551" fmla="*/ 6626996 w 6689088"/>
              <a:gd name="connsiteY551" fmla="*/ 4381326 h 6689084"/>
              <a:gd name="connsiteX552" fmla="*/ 6613200 w 6689088"/>
              <a:gd name="connsiteY552" fmla="*/ 4395125 h 6689084"/>
              <a:gd name="connsiteX553" fmla="*/ 6599402 w 6689088"/>
              <a:gd name="connsiteY553" fmla="*/ 4381326 h 6689084"/>
              <a:gd name="connsiteX554" fmla="*/ 6613200 w 6689088"/>
              <a:gd name="connsiteY554" fmla="*/ 4367530 h 6689084"/>
              <a:gd name="connsiteX555" fmla="*/ 4921594 w 6689088"/>
              <a:gd name="connsiteY555" fmla="*/ 4227744 h 6689084"/>
              <a:gd name="connsiteX556" fmla="*/ 4921956 w 6689088"/>
              <a:gd name="connsiteY556" fmla="*/ 4228106 h 6689084"/>
              <a:gd name="connsiteX557" fmla="*/ 4921594 w 6689088"/>
              <a:gd name="connsiteY557" fmla="*/ 4228468 h 6689084"/>
              <a:gd name="connsiteX558" fmla="*/ 4921232 w 6689088"/>
              <a:gd name="connsiteY558" fmla="*/ 4228106 h 6689084"/>
              <a:gd name="connsiteX559" fmla="*/ 4921594 w 6689088"/>
              <a:gd name="connsiteY559" fmla="*/ 4227744 h 6689084"/>
              <a:gd name="connsiteX560" fmla="*/ 4460480 w 6689088"/>
              <a:gd name="connsiteY560" fmla="*/ 4227744 h 6689084"/>
              <a:gd name="connsiteX561" fmla="*/ 4460842 w 6689088"/>
              <a:gd name="connsiteY561" fmla="*/ 4228106 h 6689084"/>
              <a:gd name="connsiteX562" fmla="*/ 4460480 w 6689088"/>
              <a:gd name="connsiteY562" fmla="*/ 4228468 h 6689084"/>
              <a:gd name="connsiteX563" fmla="*/ 4460118 w 6689088"/>
              <a:gd name="connsiteY563" fmla="*/ 4228106 h 6689084"/>
              <a:gd name="connsiteX564" fmla="*/ 4460480 w 6689088"/>
              <a:gd name="connsiteY564" fmla="*/ 4227744 h 6689084"/>
              <a:gd name="connsiteX565" fmla="*/ 4306532 w 6689088"/>
              <a:gd name="connsiteY565" fmla="*/ 4227744 h 6689084"/>
              <a:gd name="connsiteX566" fmla="*/ 4306894 w 6689088"/>
              <a:gd name="connsiteY566" fmla="*/ 4228106 h 6689084"/>
              <a:gd name="connsiteX567" fmla="*/ 4306532 w 6689088"/>
              <a:gd name="connsiteY567" fmla="*/ 4228468 h 6689084"/>
              <a:gd name="connsiteX568" fmla="*/ 4306170 w 6689088"/>
              <a:gd name="connsiteY568" fmla="*/ 4228106 h 6689084"/>
              <a:gd name="connsiteX569" fmla="*/ 4306532 w 6689088"/>
              <a:gd name="connsiteY569" fmla="*/ 4227744 h 6689084"/>
              <a:gd name="connsiteX570" fmla="*/ 4152947 w 6689088"/>
              <a:gd name="connsiteY570" fmla="*/ 4227378 h 6689084"/>
              <a:gd name="connsiteX571" fmla="*/ 4153672 w 6689088"/>
              <a:gd name="connsiteY571" fmla="*/ 4228103 h 6689084"/>
              <a:gd name="connsiteX572" fmla="*/ 4152947 w 6689088"/>
              <a:gd name="connsiteY572" fmla="*/ 4228831 h 6689084"/>
              <a:gd name="connsiteX573" fmla="*/ 4152219 w 6689088"/>
              <a:gd name="connsiteY573" fmla="*/ 4228103 h 6689084"/>
              <a:gd name="connsiteX574" fmla="*/ 4152947 w 6689088"/>
              <a:gd name="connsiteY574" fmla="*/ 4227378 h 6689084"/>
              <a:gd name="connsiteX575" fmla="*/ 5075541 w 6689088"/>
              <a:gd name="connsiteY575" fmla="*/ 4226292 h 6689084"/>
              <a:gd name="connsiteX576" fmla="*/ 5076994 w 6689088"/>
              <a:gd name="connsiteY576" fmla="*/ 4227744 h 6689084"/>
              <a:gd name="connsiteX577" fmla="*/ 5075541 w 6689088"/>
              <a:gd name="connsiteY577" fmla="*/ 4229197 h 6689084"/>
              <a:gd name="connsiteX578" fmla="*/ 5074089 w 6689088"/>
              <a:gd name="connsiteY578" fmla="*/ 4227744 h 6689084"/>
              <a:gd name="connsiteX579" fmla="*/ 5075541 w 6689088"/>
              <a:gd name="connsiteY579" fmla="*/ 4226292 h 6689084"/>
              <a:gd name="connsiteX580" fmla="*/ 5229122 w 6689088"/>
              <a:gd name="connsiteY580" fmla="*/ 4225564 h 6689084"/>
              <a:gd name="connsiteX581" fmla="*/ 5231303 w 6689088"/>
              <a:gd name="connsiteY581" fmla="*/ 4227744 h 6689084"/>
              <a:gd name="connsiteX582" fmla="*/ 5229122 w 6689088"/>
              <a:gd name="connsiteY582" fmla="*/ 4229921 h 6689084"/>
              <a:gd name="connsiteX583" fmla="*/ 5226946 w 6689088"/>
              <a:gd name="connsiteY583" fmla="*/ 4227744 h 6689084"/>
              <a:gd name="connsiteX584" fmla="*/ 5229122 w 6689088"/>
              <a:gd name="connsiteY584" fmla="*/ 4225564 h 6689084"/>
              <a:gd name="connsiteX585" fmla="*/ 5383078 w 6689088"/>
              <a:gd name="connsiteY585" fmla="*/ 4224840 h 6689084"/>
              <a:gd name="connsiteX586" fmla="*/ 5386344 w 6689088"/>
              <a:gd name="connsiteY586" fmla="*/ 4228106 h 6689084"/>
              <a:gd name="connsiteX587" fmla="*/ 5383078 w 6689088"/>
              <a:gd name="connsiteY587" fmla="*/ 4231377 h 6689084"/>
              <a:gd name="connsiteX588" fmla="*/ 5379807 w 6689088"/>
              <a:gd name="connsiteY588" fmla="*/ 4228106 h 6689084"/>
              <a:gd name="connsiteX589" fmla="*/ 5383078 w 6689088"/>
              <a:gd name="connsiteY589" fmla="*/ 4224840 h 6689084"/>
              <a:gd name="connsiteX590" fmla="*/ 5536659 w 6689088"/>
              <a:gd name="connsiteY590" fmla="*/ 4223383 h 6689084"/>
              <a:gd name="connsiteX591" fmla="*/ 5541016 w 6689088"/>
              <a:gd name="connsiteY591" fmla="*/ 4227740 h 6689084"/>
              <a:gd name="connsiteX592" fmla="*/ 5536659 w 6689088"/>
              <a:gd name="connsiteY592" fmla="*/ 4232097 h 6689084"/>
              <a:gd name="connsiteX593" fmla="*/ 5532302 w 6689088"/>
              <a:gd name="connsiteY593" fmla="*/ 4227740 h 6689084"/>
              <a:gd name="connsiteX594" fmla="*/ 5536659 w 6689088"/>
              <a:gd name="connsiteY594" fmla="*/ 4223383 h 6689084"/>
              <a:gd name="connsiteX595" fmla="*/ 5690606 w 6689088"/>
              <a:gd name="connsiteY595" fmla="*/ 4222297 h 6689084"/>
              <a:gd name="connsiteX596" fmla="*/ 5696416 w 6689088"/>
              <a:gd name="connsiteY596" fmla="*/ 4228106 h 6689084"/>
              <a:gd name="connsiteX597" fmla="*/ 5690606 w 6689088"/>
              <a:gd name="connsiteY597" fmla="*/ 4233916 h 6689084"/>
              <a:gd name="connsiteX598" fmla="*/ 5684797 w 6689088"/>
              <a:gd name="connsiteY598" fmla="*/ 4228106 h 6689084"/>
              <a:gd name="connsiteX599" fmla="*/ 5690606 w 6689088"/>
              <a:gd name="connsiteY599" fmla="*/ 4222297 h 6689084"/>
              <a:gd name="connsiteX600" fmla="*/ 5844554 w 6689088"/>
              <a:gd name="connsiteY600" fmla="*/ 4220479 h 6689084"/>
              <a:gd name="connsiteX601" fmla="*/ 5851816 w 6689088"/>
              <a:gd name="connsiteY601" fmla="*/ 4227740 h 6689084"/>
              <a:gd name="connsiteX602" fmla="*/ 5844554 w 6689088"/>
              <a:gd name="connsiteY602" fmla="*/ 4235002 h 6689084"/>
              <a:gd name="connsiteX603" fmla="*/ 5837292 w 6689088"/>
              <a:gd name="connsiteY603" fmla="*/ 4227740 h 6689084"/>
              <a:gd name="connsiteX604" fmla="*/ 5844554 w 6689088"/>
              <a:gd name="connsiteY604" fmla="*/ 4220479 h 6689084"/>
              <a:gd name="connsiteX605" fmla="*/ 5998136 w 6689088"/>
              <a:gd name="connsiteY605" fmla="*/ 4218664 h 6689084"/>
              <a:gd name="connsiteX606" fmla="*/ 6007216 w 6689088"/>
              <a:gd name="connsiteY606" fmla="*/ 4227740 h 6689084"/>
              <a:gd name="connsiteX607" fmla="*/ 5998136 w 6689088"/>
              <a:gd name="connsiteY607" fmla="*/ 4236820 h 6689084"/>
              <a:gd name="connsiteX608" fmla="*/ 5989059 w 6689088"/>
              <a:gd name="connsiteY608" fmla="*/ 4227740 h 6689084"/>
              <a:gd name="connsiteX609" fmla="*/ 5998136 w 6689088"/>
              <a:gd name="connsiteY609" fmla="*/ 4218664 h 6689084"/>
              <a:gd name="connsiteX610" fmla="*/ 6152086 w 6689088"/>
              <a:gd name="connsiteY610" fmla="*/ 4217940 h 6689084"/>
              <a:gd name="connsiteX611" fmla="*/ 6162253 w 6689088"/>
              <a:gd name="connsiteY611" fmla="*/ 4228106 h 6689084"/>
              <a:gd name="connsiteX612" fmla="*/ 6152086 w 6689088"/>
              <a:gd name="connsiteY612" fmla="*/ 4238273 h 6689084"/>
              <a:gd name="connsiteX613" fmla="*/ 6141920 w 6689088"/>
              <a:gd name="connsiteY613" fmla="*/ 4228106 h 6689084"/>
              <a:gd name="connsiteX614" fmla="*/ 6152086 w 6689088"/>
              <a:gd name="connsiteY614" fmla="*/ 4217940 h 6689084"/>
              <a:gd name="connsiteX615" fmla="*/ 6305668 w 6689088"/>
              <a:gd name="connsiteY615" fmla="*/ 4215760 h 6689084"/>
              <a:gd name="connsiteX616" fmla="*/ 6317649 w 6689088"/>
              <a:gd name="connsiteY616" fmla="*/ 4227740 h 6689084"/>
              <a:gd name="connsiteX617" fmla="*/ 6305668 w 6689088"/>
              <a:gd name="connsiteY617" fmla="*/ 4239721 h 6689084"/>
              <a:gd name="connsiteX618" fmla="*/ 6293687 w 6689088"/>
              <a:gd name="connsiteY618" fmla="*/ 4227740 h 6689084"/>
              <a:gd name="connsiteX619" fmla="*/ 6305668 w 6689088"/>
              <a:gd name="connsiteY619" fmla="*/ 4215760 h 6689084"/>
              <a:gd name="connsiteX620" fmla="*/ 6459619 w 6689088"/>
              <a:gd name="connsiteY620" fmla="*/ 4213945 h 6689084"/>
              <a:gd name="connsiteX621" fmla="*/ 6473414 w 6689088"/>
              <a:gd name="connsiteY621" fmla="*/ 4227744 h 6689084"/>
              <a:gd name="connsiteX622" fmla="*/ 6459619 w 6689088"/>
              <a:gd name="connsiteY622" fmla="*/ 4241539 h 6689084"/>
              <a:gd name="connsiteX623" fmla="*/ 6445820 w 6689088"/>
              <a:gd name="connsiteY623" fmla="*/ 4227744 h 6689084"/>
              <a:gd name="connsiteX624" fmla="*/ 6459619 w 6689088"/>
              <a:gd name="connsiteY624" fmla="*/ 4213945 h 6689084"/>
              <a:gd name="connsiteX625" fmla="*/ 6613200 w 6689088"/>
              <a:gd name="connsiteY625" fmla="*/ 4212855 h 6689084"/>
              <a:gd name="connsiteX626" fmla="*/ 6628452 w 6689088"/>
              <a:gd name="connsiteY626" fmla="*/ 4228103 h 6689084"/>
              <a:gd name="connsiteX627" fmla="*/ 6613200 w 6689088"/>
              <a:gd name="connsiteY627" fmla="*/ 4243354 h 6689084"/>
              <a:gd name="connsiteX628" fmla="*/ 6597953 w 6689088"/>
              <a:gd name="connsiteY628" fmla="*/ 4228103 h 6689084"/>
              <a:gd name="connsiteX629" fmla="*/ 6613200 w 6689088"/>
              <a:gd name="connsiteY629" fmla="*/ 4212855 h 6689084"/>
              <a:gd name="connsiteX630" fmla="*/ 4768008 w 6689088"/>
              <a:gd name="connsiteY630" fmla="*/ 4073793 h 6689084"/>
              <a:gd name="connsiteX631" fmla="*/ 4768370 w 6689088"/>
              <a:gd name="connsiteY631" fmla="*/ 4074155 h 6689084"/>
              <a:gd name="connsiteX632" fmla="*/ 4768008 w 6689088"/>
              <a:gd name="connsiteY632" fmla="*/ 4074521 h 6689084"/>
              <a:gd name="connsiteX633" fmla="*/ 4767646 w 6689088"/>
              <a:gd name="connsiteY633" fmla="*/ 4074155 h 6689084"/>
              <a:gd name="connsiteX634" fmla="*/ 4768008 w 6689088"/>
              <a:gd name="connsiteY634" fmla="*/ 4073793 h 6689084"/>
              <a:gd name="connsiteX635" fmla="*/ 4306532 w 6689088"/>
              <a:gd name="connsiteY635" fmla="*/ 4073793 h 6689084"/>
              <a:gd name="connsiteX636" fmla="*/ 4306894 w 6689088"/>
              <a:gd name="connsiteY636" fmla="*/ 4074155 h 6689084"/>
              <a:gd name="connsiteX637" fmla="*/ 4306532 w 6689088"/>
              <a:gd name="connsiteY637" fmla="*/ 4074521 h 6689084"/>
              <a:gd name="connsiteX638" fmla="*/ 4306170 w 6689088"/>
              <a:gd name="connsiteY638" fmla="*/ 4074155 h 6689084"/>
              <a:gd name="connsiteX639" fmla="*/ 4306532 w 6689088"/>
              <a:gd name="connsiteY639" fmla="*/ 4073793 h 6689084"/>
              <a:gd name="connsiteX640" fmla="*/ 4152947 w 6689088"/>
              <a:gd name="connsiteY640" fmla="*/ 4073793 h 6689084"/>
              <a:gd name="connsiteX641" fmla="*/ 4153309 w 6689088"/>
              <a:gd name="connsiteY641" fmla="*/ 4074155 h 6689084"/>
              <a:gd name="connsiteX642" fmla="*/ 4152947 w 6689088"/>
              <a:gd name="connsiteY642" fmla="*/ 4074521 h 6689084"/>
              <a:gd name="connsiteX643" fmla="*/ 4152585 w 6689088"/>
              <a:gd name="connsiteY643" fmla="*/ 4074155 h 6689084"/>
              <a:gd name="connsiteX644" fmla="*/ 4152947 w 6689088"/>
              <a:gd name="connsiteY644" fmla="*/ 4073793 h 6689084"/>
              <a:gd name="connsiteX645" fmla="*/ 3998996 w 6689088"/>
              <a:gd name="connsiteY645" fmla="*/ 4073431 h 6689084"/>
              <a:gd name="connsiteX646" fmla="*/ 3999724 w 6689088"/>
              <a:gd name="connsiteY646" fmla="*/ 4074155 h 6689084"/>
              <a:gd name="connsiteX647" fmla="*/ 3998996 w 6689088"/>
              <a:gd name="connsiteY647" fmla="*/ 4074883 h 6689084"/>
              <a:gd name="connsiteX648" fmla="*/ 3998272 w 6689088"/>
              <a:gd name="connsiteY648" fmla="*/ 4074155 h 6689084"/>
              <a:gd name="connsiteX649" fmla="*/ 3998996 w 6689088"/>
              <a:gd name="connsiteY649" fmla="*/ 4073431 h 6689084"/>
              <a:gd name="connsiteX650" fmla="*/ 4921594 w 6689088"/>
              <a:gd name="connsiteY650" fmla="*/ 4072344 h 6689084"/>
              <a:gd name="connsiteX651" fmla="*/ 4923046 w 6689088"/>
              <a:gd name="connsiteY651" fmla="*/ 4073797 h 6689084"/>
              <a:gd name="connsiteX652" fmla="*/ 4921594 w 6689088"/>
              <a:gd name="connsiteY652" fmla="*/ 4075249 h 6689084"/>
              <a:gd name="connsiteX653" fmla="*/ 4920142 w 6689088"/>
              <a:gd name="connsiteY653" fmla="*/ 4073797 h 6689084"/>
              <a:gd name="connsiteX654" fmla="*/ 4921594 w 6689088"/>
              <a:gd name="connsiteY654" fmla="*/ 4072344 h 6689084"/>
              <a:gd name="connsiteX655" fmla="*/ 5075541 w 6689088"/>
              <a:gd name="connsiteY655" fmla="*/ 4071978 h 6689084"/>
              <a:gd name="connsiteX656" fmla="*/ 5077722 w 6689088"/>
              <a:gd name="connsiteY656" fmla="*/ 4074155 h 6689084"/>
              <a:gd name="connsiteX657" fmla="*/ 5075541 w 6689088"/>
              <a:gd name="connsiteY657" fmla="*/ 4076335 h 6689084"/>
              <a:gd name="connsiteX658" fmla="*/ 5073364 w 6689088"/>
              <a:gd name="connsiteY658" fmla="*/ 4074155 h 6689084"/>
              <a:gd name="connsiteX659" fmla="*/ 5075541 w 6689088"/>
              <a:gd name="connsiteY659" fmla="*/ 4071978 h 6689084"/>
              <a:gd name="connsiteX660" fmla="*/ 5229126 w 6689088"/>
              <a:gd name="connsiteY660" fmla="*/ 4070892 h 6689084"/>
              <a:gd name="connsiteX661" fmla="*/ 5232394 w 6689088"/>
              <a:gd name="connsiteY661" fmla="*/ 4074159 h 6689084"/>
              <a:gd name="connsiteX662" fmla="*/ 5229126 w 6689088"/>
              <a:gd name="connsiteY662" fmla="*/ 4077429 h 6689084"/>
              <a:gd name="connsiteX663" fmla="*/ 5225860 w 6689088"/>
              <a:gd name="connsiteY663" fmla="*/ 4074159 h 6689084"/>
              <a:gd name="connsiteX664" fmla="*/ 5229126 w 6689088"/>
              <a:gd name="connsiteY664" fmla="*/ 4070892 h 6689084"/>
              <a:gd name="connsiteX665" fmla="*/ 5383074 w 6689088"/>
              <a:gd name="connsiteY665" fmla="*/ 4069802 h 6689084"/>
              <a:gd name="connsiteX666" fmla="*/ 5387431 w 6689088"/>
              <a:gd name="connsiteY666" fmla="*/ 4074159 h 6689084"/>
              <a:gd name="connsiteX667" fmla="*/ 5383074 w 6689088"/>
              <a:gd name="connsiteY667" fmla="*/ 4078516 h 6689084"/>
              <a:gd name="connsiteX668" fmla="*/ 5378717 w 6689088"/>
              <a:gd name="connsiteY668" fmla="*/ 4074159 h 6689084"/>
              <a:gd name="connsiteX669" fmla="*/ 5383074 w 6689088"/>
              <a:gd name="connsiteY669" fmla="*/ 4069802 h 6689084"/>
              <a:gd name="connsiteX670" fmla="*/ 5536659 w 6689088"/>
              <a:gd name="connsiteY670" fmla="*/ 4068349 h 6689084"/>
              <a:gd name="connsiteX671" fmla="*/ 5542468 w 6689088"/>
              <a:gd name="connsiteY671" fmla="*/ 4074159 h 6689084"/>
              <a:gd name="connsiteX672" fmla="*/ 5536659 w 6689088"/>
              <a:gd name="connsiteY672" fmla="*/ 4079968 h 6689084"/>
              <a:gd name="connsiteX673" fmla="*/ 5530850 w 6689088"/>
              <a:gd name="connsiteY673" fmla="*/ 4074159 h 6689084"/>
              <a:gd name="connsiteX674" fmla="*/ 5536659 w 6689088"/>
              <a:gd name="connsiteY674" fmla="*/ 4068349 h 6689084"/>
              <a:gd name="connsiteX675" fmla="*/ 5690606 w 6689088"/>
              <a:gd name="connsiteY675" fmla="*/ 4066897 h 6689084"/>
              <a:gd name="connsiteX676" fmla="*/ 5697868 w 6689088"/>
              <a:gd name="connsiteY676" fmla="*/ 4074159 h 6689084"/>
              <a:gd name="connsiteX677" fmla="*/ 5690606 w 6689088"/>
              <a:gd name="connsiteY677" fmla="*/ 4081420 h 6689084"/>
              <a:gd name="connsiteX678" fmla="*/ 5683345 w 6689088"/>
              <a:gd name="connsiteY678" fmla="*/ 4074159 h 6689084"/>
              <a:gd name="connsiteX679" fmla="*/ 5690606 w 6689088"/>
              <a:gd name="connsiteY679" fmla="*/ 4066897 h 6689084"/>
              <a:gd name="connsiteX680" fmla="*/ 5844554 w 6689088"/>
              <a:gd name="connsiteY680" fmla="*/ 4064717 h 6689084"/>
              <a:gd name="connsiteX681" fmla="*/ 5853634 w 6689088"/>
              <a:gd name="connsiteY681" fmla="*/ 4073793 h 6689084"/>
              <a:gd name="connsiteX682" fmla="*/ 5844554 w 6689088"/>
              <a:gd name="connsiteY682" fmla="*/ 4082873 h 6689084"/>
              <a:gd name="connsiteX683" fmla="*/ 5835478 w 6689088"/>
              <a:gd name="connsiteY683" fmla="*/ 4073793 h 6689084"/>
              <a:gd name="connsiteX684" fmla="*/ 5844554 w 6689088"/>
              <a:gd name="connsiteY684" fmla="*/ 4064717 h 6689084"/>
              <a:gd name="connsiteX685" fmla="*/ 5998139 w 6689088"/>
              <a:gd name="connsiteY685" fmla="*/ 4063992 h 6689084"/>
              <a:gd name="connsiteX686" fmla="*/ 6008306 w 6689088"/>
              <a:gd name="connsiteY686" fmla="*/ 4074159 h 6689084"/>
              <a:gd name="connsiteX687" fmla="*/ 5998139 w 6689088"/>
              <a:gd name="connsiteY687" fmla="*/ 4084325 h 6689084"/>
              <a:gd name="connsiteX688" fmla="*/ 5987973 w 6689088"/>
              <a:gd name="connsiteY688" fmla="*/ 4074159 h 6689084"/>
              <a:gd name="connsiteX689" fmla="*/ 5998139 w 6689088"/>
              <a:gd name="connsiteY689" fmla="*/ 4063992 h 6689084"/>
              <a:gd name="connsiteX690" fmla="*/ 6152083 w 6689088"/>
              <a:gd name="connsiteY690" fmla="*/ 4062174 h 6689084"/>
              <a:gd name="connsiteX691" fmla="*/ 6164064 w 6689088"/>
              <a:gd name="connsiteY691" fmla="*/ 4074155 h 6689084"/>
              <a:gd name="connsiteX692" fmla="*/ 6152083 w 6689088"/>
              <a:gd name="connsiteY692" fmla="*/ 4086140 h 6689084"/>
              <a:gd name="connsiteX693" fmla="*/ 6140102 w 6689088"/>
              <a:gd name="connsiteY693" fmla="*/ 4074155 h 6689084"/>
              <a:gd name="connsiteX694" fmla="*/ 6152083 w 6689088"/>
              <a:gd name="connsiteY694" fmla="*/ 4062174 h 6689084"/>
              <a:gd name="connsiteX695" fmla="*/ 6305672 w 6689088"/>
              <a:gd name="connsiteY695" fmla="*/ 4059998 h 6689084"/>
              <a:gd name="connsiteX696" fmla="*/ 6319467 w 6689088"/>
              <a:gd name="connsiteY696" fmla="*/ 4073793 h 6689084"/>
              <a:gd name="connsiteX697" fmla="*/ 6305672 w 6689088"/>
              <a:gd name="connsiteY697" fmla="*/ 4087592 h 6689084"/>
              <a:gd name="connsiteX698" fmla="*/ 6291873 w 6689088"/>
              <a:gd name="connsiteY698" fmla="*/ 4073793 h 6689084"/>
              <a:gd name="connsiteX699" fmla="*/ 6305672 w 6689088"/>
              <a:gd name="connsiteY699" fmla="*/ 4059998 h 6689084"/>
              <a:gd name="connsiteX700" fmla="*/ 6459619 w 6689088"/>
              <a:gd name="connsiteY700" fmla="*/ 4058907 h 6689084"/>
              <a:gd name="connsiteX701" fmla="*/ 6474867 w 6689088"/>
              <a:gd name="connsiteY701" fmla="*/ 4074155 h 6689084"/>
              <a:gd name="connsiteX702" fmla="*/ 6459619 w 6689088"/>
              <a:gd name="connsiteY702" fmla="*/ 4089406 h 6689084"/>
              <a:gd name="connsiteX703" fmla="*/ 6444368 w 6689088"/>
              <a:gd name="connsiteY703" fmla="*/ 4074155 h 6689084"/>
              <a:gd name="connsiteX704" fmla="*/ 6459619 w 6689088"/>
              <a:gd name="connsiteY704" fmla="*/ 4058907 h 6689084"/>
              <a:gd name="connsiteX705" fmla="*/ 6613197 w 6689088"/>
              <a:gd name="connsiteY705" fmla="*/ 4057093 h 6689084"/>
              <a:gd name="connsiteX706" fmla="*/ 6630266 w 6689088"/>
              <a:gd name="connsiteY706" fmla="*/ 4074159 h 6689084"/>
              <a:gd name="connsiteX707" fmla="*/ 6613197 w 6689088"/>
              <a:gd name="connsiteY707" fmla="*/ 4091225 h 6689084"/>
              <a:gd name="connsiteX708" fmla="*/ 6596135 w 6689088"/>
              <a:gd name="connsiteY708" fmla="*/ 4074159 h 6689084"/>
              <a:gd name="connsiteX709" fmla="*/ 6613197 w 6689088"/>
              <a:gd name="connsiteY709" fmla="*/ 4057093 h 6689084"/>
              <a:gd name="connsiteX710" fmla="*/ 4614061 w 6689088"/>
              <a:gd name="connsiteY710" fmla="*/ 3919845 h 6689084"/>
              <a:gd name="connsiteX711" fmla="*/ 4614424 w 6689088"/>
              <a:gd name="connsiteY711" fmla="*/ 3920208 h 6689084"/>
              <a:gd name="connsiteX712" fmla="*/ 4614061 w 6689088"/>
              <a:gd name="connsiteY712" fmla="*/ 3920574 h 6689084"/>
              <a:gd name="connsiteX713" fmla="*/ 4613699 w 6689088"/>
              <a:gd name="connsiteY713" fmla="*/ 3920208 h 6689084"/>
              <a:gd name="connsiteX714" fmla="*/ 4614061 w 6689088"/>
              <a:gd name="connsiteY714" fmla="*/ 3919845 h 6689084"/>
              <a:gd name="connsiteX715" fmla="*/ 4152947 w 6689088"/>
              <a:gd name="connsiteY715" fmla="*/ 3919845 h 6689084"/>
              <a:gd name="connsiteX716" fmla="*/ 4153309 w 6689088"/>
              <a:gd name="connsiteY716" fmla="*/ 3920208 h 6689084"/>
              <a:gd name="connsiteX717" fmla="*/ 4152947 w 6689088"/>
              <a:gd name="connsiteY717" fmla="*/ 3920574 h 6689084"/>
              <a:gd name="connsiteX718" fmla="*/ 4152585 w 6689088"/>
              <a:gd name="connsiteY718" fmla="*/ 3920208 h 6689084"/>
              <a:gd name="connsiteX719" fmla="*/ 4152947 w 6689088"/>
              <a:gd name="connsiteY719" fmla="*/ 3919845 h 6689084"/>
              <a:gd name="connsiteX720" fmla="*/ 3999000 w 6689088"/>
              <a:gd name="connsiteY720" fmla="*/ 3919845 h 6689084"/>
              <a:gd name="connsiteX721" fmla="*/ 3999362 w 6689088"/>
              <a:gd name="connsiteY721" fmla="*/ 3920208 h 6689084"/>
              <a:gd name="connsiteX722" fmla="*/ 3999000 w 6689088"/>
              <a:gd name="connsiteY722" fmla="*/ 3920574 h 6689084"/>
              <a:gd name="connsiteX723" fmla="*/ 3998638 w 6689088"/>
              <a:gd name="connsiteY723" fmla="*/ 3920208 h 6689084"/>
              <a:gd name="connsiteX724" fmla="*/ 3999000 w 6689088"/>
              <a:gd name="connsiteY724" fmla="*/ 3919845 h 6689084"/>
              <a:gd name="connsiteX725" fmla="*/ 3845418 w 6689088"/>
              <a:gd name="connsiteY725" fmla="*/ 3919483 h 6689084"/>
              <a:gd name="connsiteX726" fmla="*/ 3846142 w 6689088"/>
              <a:gd name="connsiteY726" fmla="*/ 3920211 h 6689084"/>
              <a:gd name="connsiteX727" fmla="*/ 3845418 w 6689088"/>
              <a:gd name="connsiteY727" fmla="*/ 3920936 h 6689084"/>
              <a:gd name="connsiteX728" fmla="*/ 3844690 w 6689088"/>
              <a:gd name="connsiteY728" fmla="*/ 3920211 h 6689084"/>
              <a:gd name="connsiteX729" fmla="*/ 3845418 w 6689088"/>
              <a:gd name="connsiteY729" fmla="*/ 3919483 h 6689084"/>
              <a:gd name="connsiteX730" fmla="*/ 4768012 w 6689088"/>
              <a:gd name="connsiteY730" fmla="*/ 3918759 h 6689084"/>
              <a:gd name="connsiteX731" fmla="*/ 4769464 w 6689088"/>
              <a:gd name="connsiteY731" fmla="*/ 3920211 h 6689084"/>
              <a:gd name="connsiteX732" fmla="*/ 4768012 w 6689088"/>
              <a:gd name="connsiteY732" fmla="*/ 3921664 h 6689084"/>
              <a:gd name="connsiteX733" fmla="*/ 4766560 w 6689088"/>
              <a:gd name="connsiteY733" fmla="*/ 3920211 h 6689084"/>
              <a:gd name="connsiteX734" fmla="*/ 4768012 w 6689088"/>
              <a:gd name="connsiteY734" fmla="*/ 3918759 h 6689084"/>
              <a:gd name="connsiteX735" fmla="*/ 4921594 w 6689088"/>
              <a:gd name="connsiteY735" fmla="*/ 3918031 h 6689084"/>
              <a:gd name="connsiteX736" fmla="*/ 4923774 w 6689088"/>
              <a:gd name="connsiteY736" fmla="*/ 3920208 h 6689084"/>
              <a:gd name="connsiteX737" fmla="*/ 4921594 w 6689088"/>
              <a:gd name="connsiteY737" fmla="*/ 3922388 h 6689084"/>
              <a:gd name="connsiteX738" fmla="*/ 4919417 w 6689088"/>
              <a:gd name="connsiteY738" fmla="*/ 3920208 h 6689084"/>
              <a:gd name="connsiteX739" fmla="*/ 4921594 w 6689088"/>
              <a:gd name="connsiteY739" fmla="*/ 3918031 h 6689084"/>
              <a:gd name="connsiteX740" fmla="*/ 5075545 w 6689088"/>
              <a:gd name="connsiteY740" fmla="*/ 3917307 h 6689084"/>
              <a:gd name="connsiteX741" fmla="*/ 5078812 w 6689088"/>
              <a:gd name="connsiteY741" fmla="*/ 3920574 h 6689084"/>
              <a:gd name="connsiteX742" fmla="*/ 5075545 w 6689088"/>
              <a:gd name="connsiteY742" fmla="*/ 3923844 h 6689084"/>
              <a:gd name="connsiteX743" fmla="*/ 5072274 w 6689088"/>
              <a:gd name="connsiteY743" fmla="*/ 3920574 h 6689084"/>
              <a:gd name="connsiteX744" fmla="*/ 5075545 w 6689088"/>
              <a:gd name="connsiteY744" fmla="*/ 3917307 h 6689084"/>
              <a:gd name="connsiteX745" fmla="*/ 5229126 w 6689088"/>
              <a:gd name="connsiteY745" fmla="*/ 3915854 h 6689084"/>
              <a:gd name="connsiteX746" fmla="*/ 5233484 w 6689088"/>
              <a:gd name="connsiteY746" fmla="*/ 3920211 h 6689084"/>
              <a:gd name="connsiteX747" fmla="*/ 5229126 w 6689088"/>
              <a:gd name="connsiteY747" fmla="*/ 3924568 h 6689084"/>
              <a:gd name="connsiteX748" fmla="*/ 5224770 w 6689088"/>
              <a:gd name="connsiteY748" fmla="*/ 3920211 h 6689084"/>
              <a:gd name="connsiteX749" fmla="*/ 5229126 w 6689088"/>
              <a:gd name="connsiteY749" fmla="*/ 3915854 h 6689084"/>
              <a:gd name="connsiteX750" fmla="*/ 5383074 w 6689088"/>
              <a:gd name="connsiteY750" fmla="*/ 3914764 h 6689084"/>
              <a:gd name="connsiteX751" fmla="*/ 5388883 w 6689088"/>
              <a:gd name="connsiteY751" fmla="*/ 3920574 h 6689084"/>
              <a:gd name="connsiteX752" fmla="*/ 5383074 w 6689088"/>
              <a:gd name="connsiteY752" fmla="*/ 3926383 h 6689084"/>
              <a:gd name="connsiteX753" fmla="*/ 5377264 w 6689088"/>
              <a:gd name="connsiteY753" fmla="*/ 3920574 h 6689084"/>
              <a:gd name="connsiteX754" fmla="*/ 5383074 w 6689088"/>
              <a:gd name="connsiteY754" fmla="*/ 3914764 h 6689084"/>
              <a:gd name="connsiteX755" fmla="*/ 5536659 w 6689088"/>
              <a:gd name="connsiteY755" fmla="*/ 3912950 h 6689084"/>
              <a:gd name="connsiteX756" fmla="*/ 5543921 w 6689088"/>
              <a:gd name="connsiteY756" fmla="*/ 3920211 h 6689084"/>
              <a:gd name="connsiteX757" fmla="*/ 5536659 w 6689088"/>
              <a:gd name="connsiteY757" fmla="*/ 3927473 h 6689084"/>
              <a:gd name="connsiteX758" fmla="*/ 5529398 w 6689088"/>
              <a:gd name="connsiteY758" fmla="*/ 3920211 h 6689084"/>
              <a:gd name="connsiteX759" fmla="*/ 5536659 w 6689088"/>
              <a:gd name="connsiteY759" fmla="*/ 3912950 h 6689084"/>
              <a:gd name="connsiteX760" fmla="*/ 5690606 w 6689088"/>
              <a:gd name="connsiteY760" fmla="*/ 3911135 h 6689084"/>
              <a:gd name="connsiteX761" fmla="*/ 5699686 w 6689088"/>
              <a:gd name="connsiteY761" fmla="*/ 3920211 h 6689084"/>
              <a:gd name="connsiteX762" fmla="*/ 5690606 w 6689088"/>
              <a:gd name="connsiteY762" fmla="*/ 3929291 h 6689084"/>
              <a:gd name="connsiteX763" fmla="*/ 5681530 w 6689088"/>
              <a:gd name="connsiteY763" fmla="*/ 3920211 h 6689084"/>
              <a:gd name="connsiteX764" fmla="*/ 5690606 w 6689088"/>
              <a:gd name="connsiteY764" fmla="*/ 3911135 h 6689084"/>
              <a:gd name="connsiteX765" fmla="*/ 5844554 w 6689088"/>
              <a:gd name="connsiteY765" fmla="*/ 3910045 h 6689084"/>
              <a:gd name="connsiteX766" fmla="*/ 5854720 w 6689088"/>
              <a:gd name="connsiteY766" fmla="*/ 3920211 h 6689084"/>
              <a:gd name="connsiteX767" fmla="*/ 5844554 w 6689088"/>
              <a:gd name="connsiteY767" fmla="*/ 3930378 h 6689084"/>
              <a:gd name="connsiteX768" fmla="*/ 5834388 w 6689088"/>
              <a:gd name="connsiteY768" fmla="*/ 3920211 h 6689084"/>
              <a:gd name="connsiteX769" fmla="*/ 5844554 w 6689088"/>
              <a:gd name="connsiteY769" fmla="*/ 3910045 h 6689084"/>
              <a:gd name="connsiteX770" fmla="*/ 5998139 w 6689088"/>
              <a:gd name="connsiteY770" fmla="*/ 3908227 h 6689084"/>
              <a:gd name="connsiteX771" fmla="*/ 6010120 w 6689088"/>
              <a:gd name="connsiteY771" fmla="*/ 3920208 h 6689084"/>
              <a:gd name="connsiteX772" fmla="*/ 5998139 w 6689088"/>
              <a:gd name="connsiteY772" fmla="*/ 3932192 h 6689084"/>
              <a:gd name="connsiteX773" fmla="*/ 5986158 w 6689088"/>
              <a:gd name="connsiteY773" fmla="*/ 3920208 h 6689084"/>
              <a:gd name="connsiteX774" fmla="*/ 5998139 w 6689088"/>
              <a:gd name="connsiteY774" fmla="*/ 3908227 h 6689084"/>
              <a:gd name="connsiteX775" fmla="*/ 6152086 w 6689088"/>
              <a:gd name="connsiteY775" fmla="*/ 3906412 h 6689084"/>
              <a:gd name="connsiteX776" fmla="*/ 6165882 w 6689088"/>
              <a:gd name="connsiteY776" fmla="*/ 3920211 h 6689084"/>
              <a:gd name="connsiteX777" fmla="*/ 6152086 w 6689088"/>
              <a:gd name="connsiteY777" fmla="*/ 3934007 h 6689084"/>
              <a:gd name="connsiteX778" fmla="*/ 6138288 w 6689088"/>
              <a:gd name="connsiteY778" fmla="*/ 3920211 h 6689084"/>
              <a:gd name="connsiteX779" fmla="*/ 6152086 w 6689088"/>
              <a:gd name="connsiteY779" fmla="*/ 3906412 h 6689084"/>
              <a:gd name="connsiteX780" fmla="*/ 6305672 w 6689088"/>
              <a:gd name="connsiteY780" fmla="*/ 3904960 h 6689084"/>
              <a:gd name="connsiteX781" fmla="*/ 6320920 w 6689088"/>
              <a:gd name="connsiteY781" fmla="*/ 3920211 h 6689084"/>
              <a:gd name="connsiteX782" fmla="*/ 6305672 w 6689088"/>
              <a:gd name="connsiteY782" fmla="*/ 3935459 h 6689084"/>
              <a:gd name="connsiteX783" fmla="*/ 6290420 w 6689088"/>
              <a:gd name="connsiteY783" fmla="*/ 3920211 h 6689084"/>
              <a:gd name="connsiteX784" fmla="*/ 6305672 w 6689088"/>
              <a:gd name="connsiteY784" fmla="*/ 3904960 h 6689084"/>
              <a:gd name="connsiteX785" fmla="*/ 6459616 w 6689088"/>
              <a:gd name="connsiteY785" fmla="*/ 3903146 h 6689084"/>
              <a:gd name="connsiteX786" fmla="*/ 6476682 w 6689088"/>
              <a:gd name="connsiteY786" fmla="*/ 3920211 h 6689084"/>
              <a:gd name="connsiteX787" fmla="*/ 6459616 w 6689088"/>
              <a:gd name="connsiteY787" fmla="*/ 3937277 h 6689084"/>
              <a:gd name="connsiteX788" fmla="*/ 6442550 w 6689088"/>
              <a:gd name="connsiteY788" fmla="*/ 3920211 h 6689084"/>
              <a:gd name="connsiteX789" fmla="*/ 6459616 w 6689088"/>
              <a:gd name="connsiteY789" fmla="*/ 3903146 h 6689084"/>
              <a:gd name="connsiteX790" fmla="*/ 6613200 w 6689088"/>
              <a:gd name="connsiteY790" fmla="*/ 3900969 h 6689084"/>
              <a:gd name="connsiteX791" fmla="*/ 6632447 w 6689088"/>
              <a:gd name="connsiteY791" fmla="*/ 3920211 h 6689084"/>
              <a:gd name="connsiteX792" fmla="*/ 6613200 w 6689088"/>
              <a:gd name="connsiteY792" fmla="*/ 3939458 h 6689084"/>
              <a:gd name="connsiteX793" fmla="*/ 6593958 w 6689088"/>
              <a:gd name="connsiteY793" fmla="*/ 3920211 h 6689084"/>
              <a:gd name="connsiteX794" fmla="*/ 6613200 w 6689088"/>
              <a:gd name="connsiteY794" fmla="*/ 3900969 h 6689084"/>
              <a:gd name="connsiteX795" fmla="*/ 4460480 w 6689088"/>
              <a:gd name="connsiteY795" fmla="*/ 3766264 h 6689084"/>
              <a:gd name="connsiteX796" fmla="*/ 4460842 w 6689088"/>
              <a:gd name="connsiteY796" fmla="*/ 3766626 h 6689084"/>
              <a:gd name="connsiteX797" fmla="*/ 4460480 w 6689088"/>
              <a:gd name="connsiteY797" fmla="*/ 3766988 h 6689084"/>
              <a:gd name="connsiteX798" fmla="*/ 4460118 w 6689088"/>
              <a:gd name="connsiteY798" fmla="*/ 3766626 h 6689084"/>
              <a:gd name="connsiteX799" fmla="*/ 4460480 w 6689088"/>
              <a:gd name="connsiteY799" fmla="*/ 3766264 h 6689084"/>
              <a:gd name="connsiteX800" fmla="*/ 3999000 w 6689088"/>
              <a:gd name="connsiteY800" fmla="*/ 3766264 h 6689084"/>
              <a:gd name="connsiteX801" fmla="*/ 3999362 w 6689088"/>
              <a:gd name="connsiteY801" fmla="*/ 3766626 h 6689084"/>
              <a:gd name="connsiteX802" fmla="*/ 3999000 w 6689088"/>
              <a:gd name="connsiteY802" fmla="*/ 3766988 h 6689084"/>
              <a:gd name="connsiteX803" fmla="*/ 3998638 w 6689088"/>
              <a:gd name="connsiteY803" fmla="*/ 3766626 h 6689084"/>
              <a:gd name="connsiteX804" fmla="*/ 3999000 w 6689088"/>
              <a:gd name="connsiteY804" fmla="*/ 3766264 h 6689084"/>
              <a:gd name="connsiteX805" fmla="*/ 3845414 w 6689088"/>
              <a:gd name="connsiteY805" fmla="*/ 3766264 h 6689084"/>
              <a:gd name="connsiteX806" fmla="*/ 3845776 w 6689088"/>
              <a:gd name="connsiteY806" fmla="*/ 3766626 h 6689084"/>
              <a:gd name="connsiteX807" fmla="*/ 3845414 w 6689088"/>
              <a:gd name="connsiteY807" fmla="*/ 3766988 h 6689084"/>
              <a:gd name="connsiteX808" fmla="*/ 3845052 w 6689088"/>
              <a:gd name="connsiteY808" fmla="*/ 3766626 h 6689084"/>
              <a:gd name="connsiteX809" fmla="*/ 3845414 w 6689088"/>
              <a:gd name="connsiteY809" fmla="*/ 3766264 h 6689084"/>
              <a:gd name="connsiteX810" fmla="*/ 3691471 w 6689088"/>
              <a:gd name="connsiteY810" fmla="*/ 3765902 h 6689084"/>
              <a:gd name="connsiteX811" fmla="*/ 3692195 w 6689088"/>
              <a:gd name="connsiteY811" fmla="*/ 3766626 h 6689084"/>
              <a:gd name="connsiteX812" fmla="*/ 3691471 w 6689088"/>
              <a:gd name="connsiteY812" fmla="*/ 3767354 h 6689084"/>
              <a:gd name="connsiteX813" fmla="*/ 3690743 w 6689088"/>
              <a:gd name="connsiteY813" fmla="*/ 3766626 h 6689084"/>
              <a:gd name="connsiteX814" fmla="*/ 3691471 w 6689088"/>
              <a:gd name="connsiteY814" fmla="*/ 3765902 h 6689084"/>
              <a:gd name="connsiteX815" fmla="*/ 4614065 w 6689088"/>
              <a:gd name="connsiteY815" fmla="*/ 3764812 h 6689084"/>
              <a:gd name="connsiteX816" fmla="*/ 4615518 w 6689088"/>
              <a:gd name="connsiteY816" fmla="*/ 3766264 h 6689084"/>
              <a:gd name="connsiteX817" fmla="*/ 4614065 w 6689088"/>
              <a:gd name="connsiteY817" fmla="*/ 3767716 h 6689084"/>
              <a:gd name="connsiteX818" fmla="*/ 4612612 w 6689088"/>
              <a:gd name="connsiteY818" fmla="*/ 3766264 h 6689084"/>
              <a:gd name="connsiteX819" fmla="*/ 4614065 w 6689088"/>
              <a:gd name="connsiteY819" fmla="*/ 3764812 h 6689084"/>
              <a:gd name="connsiteX820" fmla="*/ 4768008 w 6689088"/>
              <a:gd name="connsiteY820" fmla="*/ 3764450 h 6689084"/>
              <a:gd name="connsiteX821" fmla="*/ 4770189 w 6689088"/>
              <a:gd name="connsiteY821" fmla="*/ 3766626 h 6689084"/>
              <a:gd name="connsiteX822" fmla="*/ 4768008 w 6689088"/>
              <a:gd name="connsiteY822" fmla="*/ 3768807 h 6689084"/>
              <a:gd name="connsiteX823" fmla="*/ 4765832 w 6689088"/>
              <a:gd name="connsiteY823" fmla="*/ 3766626 h 6689084"/>
              <a:gd name="connsiteX824" fmla="*/ 4768008 w 6689088"/>
              <a:gd name="connsiteY824" fmla="*/ 3764450 h 6689084"/>
              <a:gd name="connsiteX825" fmla="*/ 4921594 w 6689088"/>
              <a:gd name="connsiteY825" fmla="*/ 3763359 h 6689084"/>
              <a:gd name="connsiteX826" fmla="*/ 4924860 w 6689088"/>
              <a:gd name="connsiteY826" fmla="*/ 3766626 h 6689084"/>
              <a:gd name="connsiteX827" fmla="*/ 4921594 w 6689088"/>
              <a:gd name="connsiteY827" fmla="*/ 3769897 h 6689084"/>
              <a:gd name="connsiteX828" fmla="*/ 4918327 w 6689088"/>
              <a:gd name="connsiteY828" fmla="*/ 3766626 h 6689084"/>
              <a:gd name="connsiteX829" fmla="*/ 4921594 w 6689088"/>
              <a:gd name="connsiteY829" fmla="*/ 3763359 h 6689084"/>
              <a:gd name="connsiteX830" fmla="*/ 5075541 w 6689088"/>
              <a:gd name="connsiteY830" fmla="*/ 3762269 h 6689084"/>
              <a:gd name="connsiteX831" fmla="*/ 5079898 w 6689088"/>
              <a:gd name="connsiteY831" fmla="*/ 3766626 h 6689084"/>
              <a:gd name="connsiteX832" fmla="*/ 5075541 w 6689088"/>
              <a:gd name="connsiteY832" fmla="*/ 3770983 h 6689084"/>
              <a:gd name="connsiteX833" fmla="*/ 5071184 w 6689088"/>
              <a:gd name="connsiteY833" fmla="*/ 3766626 h 6689084"/>
              <a:gd name="connsiteX834" fmla="*/ 5075541 w 6689088"/>
              <a:gd name="connsiteY834" fmla="*/ 3762269 h 6689084"/>
              <a:gd name="connsiteX835" fmla="*/ 5229126 w 6689088"/>
              <a:gd name="connsiteY835" fmla="*/ 3760817 h 6689084"/>
              <a:gd name="connsiteX836" fmla="*/ 5234936 w 6689088"/>
              <a:gd name="connsiteY836" fmla="*/ 3766626 h 6689084"/>
              <a:gd name="connsiteX837" fmla="*/ 5229126 w 6689088"/>
              <a:gd name="connsiteY837" fmla="*/ 3772436 h 6689084"/>
              <a:gd name="connsiteX838" fmla="*/ 5223317 w 6689088"/>
              <a:gd name="connsiteY838" fmla="*/ 3766626 h 6689084"/>
              <a:gd name="connsiteX839" fmla="*/ 5229126 w 6689088"/>
              <a:gd name="connsiteY839" fmla="*/ 3760817 h 6689084"/>
              <a:gd name="connsiteX840" fmla="*/ 5383074 w 6689088"/>
              <a:gd name="connsiteY840" fmla="*/ 3759365 h 6689084"/>
              <a:gd name="connsiteX841" fmla="*/ 5390336 w 6689088"/>
              <a:gd name="connsiteY841" fmla="*/ 3766626 h 6689084"/>
              <a:gd name="connsiteX842" fmla="*/ 5383074 w 6689088"/>
              <a:gd name="connsiteY842" fmla="*/ 3773888 h 6689084"/>
              <a:gd name="connsiteX843" fmla="*/ 5375812 w 6689088"/>
              <a:gd name="connsiteY843" fmla="*/ 3766626 h 6689084"/>
              <a:gd name="connsiteX844" fmla="*/ 5383074 w 6689088"/>
              <a:gd name="connsiteY844" fmla="*/ 3759365 h 6689084"/>
              <a:gd name="connsiteX845" fmla="*/ 5536659 w 6689088"/>
              <a:gd name="connsiteY845" fmla="*/ 3757188 h 6689084"/>
              <a:gd name="connsiteX846" fmla="*/ 5545739 w 6689088"/>
              <a:gd name="connsiteY846" fmla="*/ 3766264 h 6689084"/>
              <a:gd name="connsiteX847" fmla="*/ 5536659 w 6689088"/>
              <a:gd name="connsiteY847" fmla="*/ 3775344 h 6689084"/>
              <a:gd name="connsiteX848" fmla="*/ 5527583 w 6689088"/>
              <a:gd name="connsiteY848" fmla="*/ 3766264 h 6689084"/>
              <a:gd name="connsiteX849" fmla="*/ 5536659 w 6689088"/>
              <a:gd name="connsiteY849" fmla="*/ 3757188 h 6689084"/>
              <a:gd name="connsiteX850" fmla="*/ 5690606 w 6689088"/>
              <a:gd name="connsiteY850" fmla="*/ 3756460 h 6689084"/>
              <a:gd name="connsiteX851" fmla="*/ 5700773 w 6689088"/>
              <a:gd name="connsiteY851" fmla="*/ 3766626 h 6689084"/>
              <a:gd name="connsiteX852" fmla="*/ 5690606 w 6689088"/>
              <a:gd name="connsiteY852" fmla="*/ 3776793 h 6689084"/>
              <a:gd name="connsiteX853" fmla="*/ 5680440 w 6689088"/>
              <a:gd name="connsiteY853" fmla="*/ 3766626 h 6689084"/>
              <a:gd name="connsiteX854" fmla="*/ 5690606 w 6689088"/>
              <a:gd name="connsiteY854" fmla="*/ 3756460 h 6689084"/>
              <a:gd name="connsiteX855" fmla="*/ 5844550 w 6689088"/>
              <a:gd name="connsiteY855" fmla="*/ 3754645 h 6689084"/>
              <a:gd name="connsiteX856" fmla="*/ 5856534 w 6689088"/>
              <a:gd name="connsiteY856" fmla="*/ 3766626 h 6689084"/>
              <a:gd name="connsiteX857" fmla="*/ 5844550 w 6689088"/>
              <a:gd name="connsiteY857" fmla="*/ 3778607 h 6689084"/>
              <a:gd name="connsiteX858" fmla="*/ 5832570 w 6689088"/>
              <a:gd name="connsiteY858" fmla="*/ 3766626 h 6689084"/>
              <a:gd name="connsiteX859" fmla="*/ 5844550 w 6689088"/>
              <a:gd name="connsiteY859" fmla="*/ 3754645 h 6689084"/>
              <a:gd name="connsiteX860" fmla="*/ 5998139 w 6689088"/>
              <a:gd name="connsiteY860" fmla="*/ 3752465 h 6689084"/>
              <a:gd name="connsiteX861" fmla="*/ 6011934 w 6689088"/>
              <a:gd name="connsiteY861" fmla="*/ 3766264 h 6689084"/>
              <a:gd name="connsiteX862" fmla="*/ 5998139 w 6689088"/>
              <a:gd name="connsiteY862" fmla="*/ 3780059 h 6689084"/>
              <a:gd name="connsiteX863" fmla="*/ 5984340 w 6689088"/>
              <a:gd name="connsiteY863" fmla="*/ 3766264 h 6689084"/>
              <a:gd name="connsiteX864" fmla="*/ 5998139 w 6689088"/>
              <a:gd name="connsiteY864" fmla="*/ 3752465 h 6689084"/>
              <a:gd name="connsiteX865" fmla="*/ 6152086 w 6689088"/>
              <a:gd name="connsiteY865" fmla="*/ 3751379 h 6689084"/>
              <a:gd name="connsiteX866" fmla="*/ 6167334 w 6689088"/>
              <a:gd name="connsiteY866" fmla="*/ 3766626 h 6689084"/>
              <a:gd name="connsiteX867" fmla="*/ 6152086 w 6689088"/>
              <a:gd name="connsiteY867" fmla="*/ 3781878 h 6689084"/>
              <a:gd name="connsiteX868" fmla="*/ 6136839 w 6689088"/>
              <a:gd name="connsiteY868" fmla="*/ 3766626 h 6689084"/>
              <a:gd name="connsiteX869" fmla="*/ 6152086 w 6689088"/>
              <a:gd name="connsiteY869" fmla="*/ 3751379 h 6689084"/>
              <a:gd name="connsiteX870" fmla="*/ 6305668 w 6689088"/>
              <a:gd name="connsiteY870" fmla="*/ 3749560 h 6689084"/>
              <a:gd name="connsiteX871" fmla="*/ 6322734 w 6689088"/>
              <a:gd name="connsiteY871" fmla="*/ 3766626 h 6689084"/>
              <a:gd name="connsiteX872" fmla="*/ 6305668 w 6689088"/>
              <a:gd name="connsiteY872" fmla="*/ 3783692 h 6689084"/>
              <a:gd name="connsiteX873" fmla="*/ 6288602 w 6689088"/>
              <a:gd name="connsiteY873" fmla="*/ 3766626 h 6689084"/>
              <a:gd name="connsiteX874" fmla="*/ 6305668 w 6689088"/>
              <a:gd name="connsiteY874" fmla="*/ 3749560 h 6689084"/>
              <a:gd name="connsiteX875" fmla="*/ 6459616 w 6689088"/>
              <a:gd name="connsiteY875" fmla="*/ 3747384 h 6689084"/>
              <a:gd name="connsiteX876" fmla="*/ 6478858 w 6689088"/>
              <a:gd name="connsiteY876" fmla="*/ 3766626 h 6689084"/>
              <a:gd name="connsiteX877" fmla="*/ 6459616 w 6689088"/>
              <a:gd name="connsiteY877" fmla="*/ 3785869 h 6689084"/>
              <a:gd name="connsiteX878" fmla="*/ 6440369 w 6689088"/>
              <a:gd name="connsiteY878" fmla="*/ 3766626 h 6689084"/>
              <a:gd name="connsiteX879" fmla="*/ 6459616 w 6689088"/>
              <a:gd name="connsiteY879" fmla="*/ 3747384 h 6689084"/>
              <a:gd name="connsiteX880" fmla="*/ 6613200 w 6689088"/>
              <a:gd name="connsiteY880" fmla="*/ 3745203 h 6689084"/>
              <a:gd name="connsiteX881" fmla="*/ 6634624 w 6689088"/>
              <a:gd name="connsiteY881" fmla="*/ 3766626 h 6689084"/>
              <a:gd name="connsiteX882" fmla="*/ 6613200 w 6689088"/>
              <a:gd name="connsiteY882" fmla="*/ 3788045 h 6689084"/>
              <a:gd name="connsiteX883" fmla="*/ 6591778 w 6689088"/>
              <a:gd name="connsiteY883" fmla="*/ 3766626 h 6689084"/>
              <a:gd name="connsiteX884" fmla="*/ 6613200 w 6689088"/>
              <a:gd name="connsiteY884" fmla="*/ 3745203 h 6689084"/>
              <a:gd name="connsiteX885" fmla="*/ 4306532 w 6689088"/>
              <a:gd name="connsiteY885" fmla="*/ 3612317 h 6689084"/>
              <a:gd name="connsiteX886" fmla="*/ 4306894 w 6689088"/>
              <a:gd name="connsiteY886" fmla="*/ 3612679 h 6689084"/>
              <a:gd name="connsiteX887" fmla="*/ 4306532 w 6689088"/>
              <a:gd name="connsiteY887" fmla="*/ 3613045 h 6689084"/>
              <a:gd name="connsiteX888" fmla="*/ 4306170 w 6689088"/>
              <a:gd name="connsiteY888" fmla="*/ 3612679 h 6689084"/>
              <a:gd name="connsiteX889" fmla="*/ 4306532 w 6689088"/>
              <a:gd name="connsiteY889" fmla="*/ 3612317 h 6689084"/>
              <a:gd name="connsiteX890" fmla="*/ 3845414 w 6689088"/>
              <a:gd name="connsiteY890" fmla="*/ 3612317 h 6689084"/>
              <a:gd name="connsiteX891" fmla="*/ 3845776 w 6689088"/>
              <a:gd name="connsiteY891" fmla="*/ 3612679 h 6689084"/>
              <a:gd name="connsiteX892" fmla="*/ 3845414 w 6689088"/>
              <a:gd name="connsiteY892" fmla="*/ 3613045 h 6689084"/>
              <a:gd name="connsiteX893" fmla="*/ 3845052 w 6689088"/>
              <a:gd name="connsiteY893" fmla="*/ 3612679 h 6689084"/>
              <a:gd name="connsiteX894" fmla="*/ 3845414 w 6689088"/>
              <a:gd name="connsiteY894" fmla="*/ 3612317 h 6689084"/>
              <a:gd name="connsiteX895" fmla="*/ 3691467 w 6689088"/>
              <a:gd name="connsiteY895" fmla="*/ 3612317 h 6689084"/>
              <a:gd name="connsiteX896" fmla="*/ 3691829 w 6689088"/>
              <a:gd name="connsiteY896" fmla="*/ 3612679 h 6689084"/>
              <a:gd name="connsiteX897" fmla="*/ 3691467 w 6689088"/>
              <a:gd name="connsiteY897" fmla="*/ 3613045 h 6689084"/>
              <a:gd name="connsiteX898" fmla="*/ 3691105 w 6689088"/>
              <a:gd name="connsiteY898" fmla="*/ 3612679 h 6689084"/>
              <a:gd name="connsiteX899" fmla="*/ 3691467 w 6689088"/>
              <a:gd name="connsiteY899" fmla="*/ 3612317 h 6689084"/>
              <a:gd name="connsiteX900" fmla="*/ 3537886 w 6689088"/>
              <a:gd name="connsiteY900" fmla="*/ 3611955 h 6689084"/>
              <a:gd name="connsiteX901" fmla="*/ 3538610 w 6689088"/>
              <a:gd name="connsiteY901" fmla="*/ 3612683 h 6689084"/>
              <a:gd name="connsiteX902" fmla="*/ 3537886 w 6689088"/>
              <a:gd name="connsiteY902" fmla="*/ 3613407 h 6689084"/>
              <a:gd name="connsiteX903" fmla="*/ 3537158 w 6689088"/>
              <a:gd name="connsiteY903" fmla="*/ 3612683 h 6689084"/>
              <a:gd name="connsiteX904" fmla="*/ 3537886 w 6689088"/>
              <a:gd name="connsiteY904" fmla="*/ 3611955 h 6689084"/>
              <a:gd name="connsiteX905" fmla="*/ 4460480 w 6689088"/>
              <a:gd name="connsiteY905" fmla="*/ 3611226 h 6689084"/>
              <a:gd name="connsiteX906" fmla="*/ 4461932 w 6689088"/>
              <a:gd name="connsiteY906" fmla="*/ 3612679 h 6689084"/>
              <a:gd name="connsiteX907" fmla="*/ 4460480 w 6689088"/>
              <a:gd name="connsiteY907" fmla="*/ 3614131 h 6689084"/>
              <a:gd name="connsiteX908" fmla="*/ 4459028 w 6689088"/>
              <a:gd name="connsiteY908" fmla="*/ 3612679 h 6689084"/>
              <a:gd name="connsiteX909" fmla="*/ 4460480 w 6689088"/>
              <a:gd name="connsiteY909" fmla="*/ 3611226 h 6689084"/>
              <a:gd name="connsiteX910" fmla="*/ 4614061 w 6689088"/>
              <a:gd name="connsiteY910" fmla="*/ 3610502 h 6689084"/>
              <a:gd name="connsiteX911" fmla="*/ 4616242 w 6689088"/>
              <a:gd name="connsiteY911" fmla="*/ 3612679 h 6689084"/>
              <a:gd name="connsiteX912" fmla="*/ 4614061 w 6689088"/>
              <a:gd name="connsiteY912" fmla="*/ 3614859 h 6689084"/>
              <a:gd name="connsiteX913" fmla="*/ 4611884 w 6689088"/>
              <a:gd name="connsiteY913" fmla="*/ 3612679 h 6689084"/>
              <a:gd name="connsiteX914" fmla="*/ 4614061 w 6689088"/>
              <a:gd name="connsiteY914" fmla="*/ 3610502 h 6689084"/>
              <a:gd name="connsiteX915" fmla="*/ 4768008 w 6689088"/>
              <a:gd name="connsiteY915" fmla="*/ 3609774 h 6689084"/>
              <a:gd name="connsiteX916" fmla="*/ 4771276 w 6689088"/>
              <a:gd name="connsiteY916" fmla="*/ 3613041 h 6689084"/>
              <a:gd name="connsiteX917" fmla="*/ 4768008 w 6689088"/>
              <a:gd name="connsiteY917" fmla="*/ 3616312 h 6689084"/>
              <a:gd name="connsiteX918" fmla="*/ 4764742 w 6689088"/>
              <a:gd name="connsiteY918" fmla="*/ 3613041 h 6689084"/>
              <a:gd name="connsiteX919" fmla="*/ 4768008 w 6689088"/>
              <a:gd name="connsiteY919" fmla="*/ 3609774 h 6689084"/>
              <a:gd name="connsiteX920" fmla="*/ 4921594 w 6689088"/>
              <a:gd name="connsiteY920" fmla="*/ 3608322 h 6689084"/>
              <a:gd name="connsiteX921" fmla="*/ 4925951 w 6689088"/>
              <a:gd name="connsiteY921" fmla="*/ 3612679 h 6689084"/>
              <a:gd name="connsiteX922" fmla="*/ 4921594 w 6689088"/>
              <a:gd name="connsiteY922" fmla="*/ 3617036 h 6689084"/>
              <a:gd name="connsiteX923" fmla="*/ 4917237 w 6689088"/>
              <a:gd name="connsiteY923" fmla="*/ 3612679 h 6689084"/>
              <a:gd name="connsiteX924" fmla="*/ 4921594 w 6689088"/>
              <a:gd name="connsiteY924" fmla="*/ 3608322 h 6689084"/>
              <a:gd name="connsiteX925" fmla="*/ 5075541 w 6689088"/>
              <a:gd name="connsiteY925" fmla="*/ 3607232 h 6689084"/>
              <a:gd name="connsiteX926" fmla="*/ 5081350 w 6689088"/>
              <a:gd name="connsiteY926" fmla="*/ 3613041 h 6689084"/>
              <a:gd name="connsiteX927" fmla="*/ 5075541 w 6689088"/>
              <a:gd name="connsiteY927" fmla="*/ 3618850 h 6689084"/>
              <a:gd name="connsiteX928" fmla="*/ 5069732 w 6689088"/>
              <a:gd name="connsiteY928" fmla="*/ 3613041 h 6689084"/>
              <a:gd name="connsiteX929" fmla="*/ 5075541 w 6689088"/>
              <a:gd name="connsiteY929" fmla="*/ 3607232 h 6689084"/>
              <a:gd name="connsiteX930" fmla="*/ 5229126 w 6689088"/>
              <a:gd name="connsiteY930" fmla="*/ 3605417 h 6689084"/>
              <a:gd name="connsiteX931" fmla="*/ 5236388 w 6689088"/>
              <a:gd name="connsiteY931" fmla="*/ 3612679 h 6689084"/>
              <a:gd name="connsiteX932" fmla="*/ 5229126 w 6689088"/>
              <a:gd name="connsiteY932" fmla="*/ 3619940 h 6689084"/>
              <a:gd name="connsiteX933" fmla="*/ 5221865 w 6689088"/>
              <a:gd name="connsiteY933" fmla="*/ 3612679 h 6689084"/>
              <a:gd name="connsiteX934" fmla="*/ 5229126 w 6689088"/>
              <a:gd name="connsiteY934" fmla="*/ 3605417 h 6689084"/>
              <a:gd name="connsiteX935" fmla="*/ 5383074 w 6689088"/>
              <a:gd name="connsiteY935" fmla="*/ 3603603 h 6689084"/>
              <a:gd name="connsiteX936" fmla="*/ 5392154 w 6689088"/>
              <a:gd name="connsiteY936" fmla="*/ 3612679 h 6689084"/>
              <a:gd name="connsiteX937" fmla="*/ 5383074 w 6689088"/>
              <a:gd name="connsiteY937" fmla="*/ 3621759 h 6689084"/>
              <a:gd name="connsiteX938" fmla="*/ 5373998 w 6689088"/>
              <a:gd name="connsiteY938" fmla="*/ 3612679 h 6689084"/>
              <a:gd name="connsiteX939" fmla="*/ 5383074 w 6689088"/>
              <a:gd name="connsiteY939" fmla="*/ 3603603 h 6689084"/>
              <a:gd name="connsiteX940" fmla="*/ 5536659 w 6689088"/>
              <a:gd name="connsiteY940" fmla="*/ 3602512 h 6689084"/>
              <a:gd name="connsiteX941" fmla="*/ 5546826 w 6689088"/>
              <a:gd name="connsiteY941" fmla="*/ 3612679 h 6689084"/>
              <a:gd name="connsiteX942" fmla="*/ 5536659 w 6689088"/>
              <a:gd name="connsiteY942" fmla="*/ 3622845 h 6689084"/>
              <a:gd name="connsiteX943" fmla="*/ 5526493 w 6689088"/>
              <a:gd name="connsiteY943" fmla="*/ 3612679 h 6689084"/>
              <a:gd name="connsiteX944" fmla="*/ 5536659 w 6689088"/>
              <a:gd name="connsiteY944" fmla="*/ 3602512 h 6689084"/>
              <a:gd name="connsiteX945" fmla="*/ 5690602 w 6689088"/>
              <a:gd name="connsiteY945" fmla="*/ 3600698 h 6689084"/>
              <a:gd name="connsiteX946" fmla="*/ 5702584 w 6689088"/>
              <a:gd name="connsiteY946" fmla="*/ 3612679 h 6689084"/>
              <a:gd name="connsiteX947" fmla="*/ 5690602 w 6689088"/>
              <a:gd name="connsiteY947" fmla="*/ 3624663 h 6689084"/>
              <a:gd name="connsiteX948" fmla="*/ 5678622 w 6689088"/>
              <a:gd name="connsiteY948" fmla="*/ 3612679 h 6689084"/>
              <a:gd name="connsiteX949" fmla="*/ 5690602 w 6689088"/>
              <a:gd name="connsiteY949" fmla="*/ 3600698 h 6689084"/>
              <a:gd name="connsiteX950" fmla="*/ 5844554 w 6689088"/>
              <a:gd name="connsiteY950" fmla="*/ 3598884 h 6689084"/>
              <a:gd name="connsiteX951" fmla="*/ 5858349 w 6689088"/>
              <a:gd name="connsiteY951" fmla="*/ 3612683 h 6689084"/>
              <a:gd name="connsiteX952" fmla="*/ 5844554 w 6689088"/>
              <a:gd name="connsiteY952" fmla="*/ 3626478 h 6689084"/>
              <a:gd name="connsiteX953" fmla="*/ 5830755 w 6689088"/>
              <a:gd name="connsiteY953" fmla="*/ 3612683 h 6689084"/>
              <a:gd name="connsiteX954" fmla="*/ 5844554 w 6689088"/>
              <a:gd name="connsiteY954" fmla="*/ 3598884 h 6689084"/>
              <a:gd name="connsiteX955" fmla="*/ 5998139 w 6689088"/>
              <a:gd name="connsiteY955" fmla="*/ 3597431 h 6689084"/>
              <a:gd name="connsiteX956" fmla="*/ 6013387 w 6689088"/>
              <a:gd name="connsiteY956" fmla="*/ 3612683 h 6689084"/>
              <a:gd name="connsiteX957" fmla="*/ 5998139 w 6689088"/>
              <a:gd name="connsiteY957" fmla="*/ 3627930 h 6689084"/>
              <a:gd name="connsiteX958" fmla="*/ 5982892 w 6689088"/>
              <a:gd name="connsiteY958" fmla="*/ 3612683 h 6689084"/>
              <a:gd name="connsiteX959" fmla="*/ 5998139 w 6689088"/>
              <a:gd name="connsiteY959" fmla="*/ 3597431 h 6689084"/>
              <a:gd name="connsiteX960" fmla="*/ 6152083 w 6689088"/>
              <a:gd name="connsiteY960" fmla="*/ 3595613 h 6689084"/>
              <a:gd name="connsiteX961" fmla="*/ 6169152 w 6689088"/>
              <a:gd name="connsiteY961" fmla="*/ 3612679 h 6689084"/>
              <a:gd name="connsiteX962" fmla="*/ 6152083 w 6689088"/>
              <a:gd name="connsiteY962" fmla="*/ 3629745 h 6689084"/>
              <a:gd name="connsiteX963" fmla="*/ 6135020 w 6689088"/>
              <a:gd name="connsiteY963" fmla="*/ 3612679 h 6689084"/>
              <a:gd name="connsiteX964" fmla="*/ 6152083 w 6689088"/>
              <a:gd name="connsiteY964" fmla="*/ 3595613 h 6689084"/>
              <a:gd name="connsiteX965" fmla="*/ 6305668 w 6689088"/>
              <a:gd name="connsiteY965" fmla="*/ 3593436 h 6689084"/>
              <a:gd name="connsiteX966" fmla="*/ 6324910 w 6689088"/>
              <a:gd name="connsiteY966" fmla="*/ 3612679 h 6689084"/>
              <a:gd name="connsiteX967" fmla="*/ 6305668 w 6689088"/>
              <a:gd name="connsiteY967" fmla="*/ 3631921 h 6689084"/>
              <a:gd name="connsiteX968" fmla="*/ 6286422 w 6689088"/>
              <a:gd name="connsiteY968" fmla="*/ 3612679 h 6689084"/>
              <a:gd name="connsiteX969" fmla="*/ 6305668 w 6689088"/>
              <a:gd name="connsiteY969" fmla="*/ 3593436 h 6689084"/>
              <a:gd name="connsiteX970" fmla="*/ 6459616 w 6689088"/>
              <a:gd name="connsiteY970" fmla="*/ 3591256 h 6689084"/>
              <a:gd name="connsiteX971" fmla="*/ 6481038 w 6689088"/>
              <a:gd name="connsiteY971" fmla="*/ 3612679 h 6689084"/>
              <a:gd name="connsiteX972" fmla="*/ 6459616 w 6689088"/>
              <a:gd name="connsiteY972" fmla="*/ 3634098 h 6689084"/>
              <a:gd name="connsiteX973" fmla="*/ 6438192 w 6689088"/>
              <a:gd name="connsiteY973" fmla="*/ 3612679 h 6689084"/>
              <a:gd name="connsiteX974" fmla="*/ 6459616 w 6689088"/>
              <a:gd name="connsiteY974" fmla="*/ 3591256 h 6689084"/>
              <a:gd name="connsiteX975" fmla="*/ 6613200 w 6689088"/>
              <a:gd name="connsiteY975" fmla="*/ 3589804 h 6689084"/>
              <a:gd name="connsiteX976" fmla="*/ 6636072 w 6689088"/>
              <a:gd name="connsiteY976" fmla="*/ 3612679 h 6689084"/>
              <a:gd name="connsiteX977" fmla="*/ 6613200 w 6689088"/>
              <a:gd name="connsiteY977" fmla="*/ 3635550 h 6689084"/>
              <a:gd name="connsiteX978" fmla="*/ 6590326 w 6689088"/>
              <a:gd name="connsiteY978" fmla="*/ 3612679 h 6689084"/>
              <a:gd name="connsiteX979" fmla="*/ 6613200 w 6689088"/>
              <a:gd name="connsiteY979" fmla="*/ 3589804 h 6689084"/>
              <a:gd name="connsiteX980" fmla="*/ 4152947 w 6689088"/>
              <a:gd name="connsiteY980" fmla="*/ 3458731 h 6689084"/>
              <a:gd name="connsiteX981" fmla="*/ 4153309 w 6689088"/>
              <a:gd name="connsiteY981" fmla="*/ 3459094 h 6689084"/>
              <a:gd name="connsiteX982" fmla="*/ 4152947 w 6689088"/>
              <a:gd name="connsiteY982" fmla="*/ 3459456 h 6689084"/>
              <a:gd name="connsiteX983" fmla="*/ 4152585 w 6689088"/>
              <a:gd name="connsiteY983" fmla="*/ 3459094 h 6689084"/>
              <a:gd name="connsiteX984" fmla="*/ 4152947 w 6689088"/>
              <a:gd name="connsiteY984" fmla="*/ 3458731 h 6689084"/>
              <a:gd name="connsiteX985" fmla="*/ 3691467 w 6689088"/>
              <a:gd name="connsiteY985" fmla="*/ 3458731 h 6689084"/>
              <a:gd name="connsiteX986" fmla="*/ 3691829 w 6689088"/>
              <a:gd name="connsiteY986" fmla="*/ 3459094 h 6689084"/>
              <a:gd name="connsiteX987" fmla="*/ 3691467 w 6689088"/>
              <a:gd name="connsiteY987" fmla="*/ 3459456 h 6689084"/>
              <a:gd name="connsiteX988" fmla="*/ 3691105 w 6689088"/>
              <a:gd name="connsiteY988" fmla="*/ 3459094 h 6689084"/>
              <a:gd name="connsiteX989" fmla="*/ 3691467 w 6689088"/>
              <a:gd name="connsiteY989" fmla="*/ 3458731 h 6689084"/>
              <a:gd name="connsiteX990" fmla="*/ 3537882 w 6689088"/>
              <a:gd name="connsiteY990" fmla="*/ 3458731 h 6689084"/>
              <a:gd name="connsiteX991" fmla="*/ 3538244 w 6689088"/>
              <a:gd name="connsiteY991" fmla="*/ 3459094 h 6689084"/>
              <a:gd name="connsiteX992" fmla="*/ 3537882 w 6689088"/>
              <a:gd name="connsiteY992" fmla="*/ 3459456 h 6689084"/>
              <a:gd name="connsiteX993" fmla="*/ 3537520 w 6689088"/>
              <a:gd name="connsiteY993" fmla="*/ 3459094 h 6689084"/>
              <a:gd name="connsiteX994" fmla="*/ 3537882 w 6689088"/>
              <a:gd name="connsiteY994" fmla="*/ 3458731 h 6689084"/>
              <a:gd name="connsiteX995" fmla="*/ 3383938 w 6689088"/>
              <a:gd name="connsiteY995" fmla="*/ 3458369 h 6689084"/>
              <a:gd name="connsiteX996" fmla="*/ 3384662 w 6689088"/>
              <a:gd name="connsiteY996" fmla="*/ 3459094 h 6689084"/>
              <a:gd name="connsiteX997" fmla="*/ 3383938 w 6689088"/>
              <a:gd name="connsiteY997" fmla="*/ 3459822 h 6689084"/>
              <a:gd name="connsiteX998" fmla="*/ 3383210 w 6689088"/>
              <a:gd name="connsiteY998" fmla="*/ 3459094 h 6689084"/>
              <a:gd name="connsiteX999" fmla="*/ 3383938 w 6689088"/>
              <a:gd name="connsiteY999" fmla="*/ 3458369 h 6689084"/>
              <a:gd name="connsiteX1000" fmla="*/ 4306532 w 6689088"/>
              <a:gd name="connsiteY1000" fmla="*/ 3457279 h 6689084"/>
              <a:gd name="connsiteX1001" fmla="*/ 4307984 w 6689088"/>
              <a:gd name="connsiteY1001" fmla="*/ 3458731 h 6689084"/>
              <a:gd name="connsiteX1002" fmla="*/ 4306532 w 6689088"/>
              <a:gd name="connsiteY1002" fmla="*/ 3460184 h 6689084"/>
              <a:gd name="connsiteX1003" fmla="*/ 4305080 w 6689088"/>
              <a:gd name="connsiteY1003" fmla="*/ 3458731 h 6689084"/>
              <a:gd name="connsiteX1004" fmla="*/ 4306532 w 6689088"/>
              <a:gd name="connsiteY1004" fmla="*/ 3457279 h 6689084"/>
              <a:gd name="connsiteX1005" fmla="*/ 4460480 w 6689088"/>
              <a:gd name="connsiteY1005" fmla="*/ 3456917 h 6689084"/>
              <a:gd name="connsiteX1006" fmla="*/ 4462656 w 6689088"/>
              <a:gd name="connsiteY1006" fmla="*/ 3459094 h 6689084"/>
              <a:gd name="connsiteX1007" fmla="*/ 4460480 w 6689088"/>
              <a:gd name="connsiteY1007" fmla="*/ 3461274 h 6689084"/>
              <a:gd name="connsiteX1008" fmla="*/ 4458300 w 6689088"/>
              <a:gd name="connsiteY1008" fmla="*/ 3459094 h 6689084"/>
              <a:gd name="connsiteX1009" fmla="*/ 4460480 w 6689088"/>
              <a:gd name="connsiteY1009" fmla="*/ 3456917 h 6689084"/>
              <a:gd name="connsiteX1010" fmla="*/ 4614061 w 6689088"/>
              <a:gd name="connsiteY1010" fmla="*/ 3455827 h 6689084"/>
              <a:gd name="connsiteX1011" fmla="*/ 4617328 w 6689088"/>
              <a:gd name="connsiteY1011" fmla="*/ 3459094 h 6689084"/>
              <a:gd name="connsiteX1012" fmla="*/ 4614061 w 6689088"/>
              <a:gd name="connsiteY1012" fmla="*/ 3462364 h 6689084"/>
              <a:gd name="connsiteX1013" fmla="*/ 4610794 w 6689088"/>
              <a:gd name="connsiteY1013" fmla="*/ 3459094 h 6689084"/>
              <a:gd name="connsiteX1014" fmla="*/ 4614061 w 6689088"/>
              <a:gd name="connsiteY1014" fmla="*/ 3455827 h 6689084"/>
              <a:gd name="connsiteX1015" fmla="*/ 4768008 w 6689088"/>
              <a:gd name="connsiteY1015" fmla="*/ 3454374 h 6689084"/>
              <a:gd name="connsiteX1016" fmla="*/ 4772366 w 6689088"/>
              <a:gd name="connsiteY1016" fmla="*/ 3458731 h 6689084"/>
              <a:gd name="connsiteX1017" fmla="*/ 4768008 w 6689088"/>
              <a:gd name="connsiteY1017" fmla="*/ 3463088 h 6689084"/>
              <a:gd name="connsiteX1018" fmla="*/ 4763652 w 6689088"/>
              <a:gd name="connsiteY1018" fmla="*/ 3458731 h 6689084"/>
              <a:gd name="connsiteX1019" fmla="*/ 4768008 w 6689088"/>
              <a:gd name="connsiteY1019" fmla="*/ 3454374 h 6689084"/>
              <a:gd name="connsiteX1020" fmla="*/ 4921594 w 6689088"/>
              <a:gd name="connsiteY1020" fmla="*/ 3453284 h 6689084"/>
              <a:gd name="connsiteX1021" fmla="*/ 4927403 w 6689088"/>
              <a:gd name="connsiteY1021" fmla="*/ 3459094 h 6689084"/>
              <a:gd name="connsiteX1022" fmla="*/ 4921594 w 6689088"/>
              <a:gd name="connsiteY1022" fmla="*/ 3464903 h 6689084"/>
              <a:gd name="connsiteX1023" fmla="*/ 4915784 w 6689088"/>
              <a:gd name="connsiteY1023" fmla="*/ 3459094 h 6689084"/>
              <a:gd name="connsiteX1024" fmla="*/ 4921594 w 6689088"/>
              <a:gd name="connsiteY1024" fmla="*/ 3453284 h 6689084"/>
              <a:gd name="connsiteX1025" fmla="*/ 5075541 w 6689088"/>
              <a:gd name="connsiteY1025" fmla="*/ 3451832 h 6689084"/>
              <a:gd name="connsiteX1026" fmla="*/ 5082803 w 6689088"/>
              <a:gd name="connsiteY1026" fmla="*/ 3459094 h 6689084"/>
              <a:gd name="connsiteX1027" fmla="*/ 5075541 w 6689088"/>
              <a:gd name="connsiteY1027" fmla="*/ 3466355 h 6689084"/>
              <a:gd name="connsiteX1028" fmla="*/ 5068280 w 6689088"/>
              <a:gd name="connsiteY1028" fmla="*/ 3459094 h 6689084"/>
              <a:gd name="connsiteX1029" fmla="*/ 5075541 w 6689088"/>
              <a:gd name="connsiteY1029" fmla="*/ 3451832 h 6689084"/>
              <a:gd name="connsiteX1030" fmla="*/ 5229126 w 6689088"/>
              <a:gd name="connsiteY1030" fmla="*/ 3449655 h 6689084"/>
              <a:gd name="connsiteX1031" fmla="*/ 5238206 w 6689088"/>
              <a:gd name="connsiteY1031" fmla="*/ 3458731 h 6689084"/>
              <a:gd name="connsiteX1032" fmla="*/ 5229126 w 6689088"/>
              <a:gd name="connsiteY1032" fmla="*/ 3467811 h 6689084"/>
              <a:gd name="connsiteX1033" fmla="*/ 5220050 w 6689088"/>
              <a:gd name="connsiteY1033" fmla="*/ 3458731 h 6689084"/>
              <a:gd name="connsiteX1034" fmla="*/ 5229126 w 6689088"/>
              <a:gd name="connsiteY1034" fmla="*/ 3449655 h 6689084"/>
              <a:gd name="connsiteX1035" fmla="*/ 5383074 w 6689088"/>
              <a:gd name="connsiteY1035" fmla="*/ 3448927 h 6689084"/>
              <a:gd name="connsiteX1036" fmla="*/ 5393240 w 6689088"/>
              <a:gd name="connsiteY1036" fmla="*/ 3459094 h 6689084"/>
              <a:gd name="connsiteX1037" fmla="*/ 5383074 w 6689088"/>
              <a:gd name="connsiteY1037" fmla="*/ 3469260 h 6689084"/>
              <a:gd name="connsiteX1038" fmla="*/ 5372908 w 6689088"/>
              <a:gd name="connsiteY1038" fmla="*/ 3459094 h 6689084"/>
              <a:gd name="connsiteX1039" fmla="*/ 5383074 w 6689088"/>
              <a:gd name="connsiteY1039" fmla="*/ 3448927 h 6689084"/>
              <a:gd name="connsiteX1040" fmla="*/ 5536659 w 6689088"/>
              <a:gd name="connsiteY1040" fmla="*/ 3447113 h 6689084"/>
              <a:gd name="connsiteX1041" fmla="*/ 5548640 w 6689088"/>
              <a:gd name="connsiteY1041" fmla="*/ 3459094 h 6689084"/>
              <a:gd name="connsiteX1042" fmla="*/ 5536659 w 6689088"/>
              <a:gd name="connsiteY1042" fmla="*/ 3471074 h 6689084"/>
              <a:gd name="connsiteX1043" fmla="*/ 5524678 w 6689088"/>
              <a:gd name="connsiteY1043" fmla="*/ 3459094 h 6689084"/>
              <a:gd name="connsiteX1044" fmla="*/ 5536659 w 6689088"/>
              <a:gd name="connsiteY1044" fmla="*/ 3447113 h 6689084"/>
              <a:gd name="connsiteX1045" fmla="*/ 5690606 w 6689088"/>
              <a:gd name="connsiteY1045" fmla="*/ 3445298 h 6689084"/>
              <a:gd name="connsiteX1046" fmla="*/ 5704402 w 6689088"/>
              <a:gd name="connsiteY1046" fmla="*/ 3459094 h 6689084"/>
              <a:gd name="connsiteX1047" fmla="*/ 5690606 w 6689088"/>
              <a:gd name="connsiteY1047" fmla="*/ 3472893 h 6689084"/>
              <a:gd name="connsiteX1048" fmla="*/ 5676808 w 6689088"/>
              <a:gd name="connsiteY1048" fmla="*/ 3459094 h 6689084"/>
              <a:gd name="connsiteX1049" fmla="*/ 5690606 w 6689088"/>
              <a:gd name="connsiteY1049" fmla="*/ 3445298 h 6689084"/>
              <a:gd name="connsiteX1050" fmla="*/ 5844554 w 6689088"/>
              <a:gd name="connsiteY1050" fmla="*/ 3443846 h 6689084"/>
              <a:gd name="connsiteX1051" fmla="*/ 5859802 w 6689088"/>
              <a:gd name="connsiteY1051" fmla="*/ 3459094 h 6689084"/>
              <a:gd name="connsiteX1052" fmla="*/ 5844554 w 6689088"/>
              <a:gd name="connsiteY1052" fmla="*/ 3474345 h 6689084"/>
              <a:gd name="connsiteX1053" fmla="*/ 5829302 w 6689088"/>
              <a:gd name="connsiteY1053" fmla="*/ 3459094 h 6689084"/>
              <a:gd name="connsiteX1054" fmla="*/ 5844554 w 6689088"/>
              <a:gd name="connsiteY1054" fmla="*/ 3443846 h 6689084"/>
              <a:gd name="connsiteX1055" fmla="*/ 5998139 w 6689088"/>
              <a:gd name="connsiteY1055" fmla="*/ 3442031 h 6689084"/>
              <a:gd name="connsiteX1056" fmla="*/ 6015205 w 6689088"/>
              <a:gd name="connsiteY1056" fmla="*/ 3459097 h 6689084"/>
              <a:gd name="connsiteX1057" fmla="*/ 5998139 w 6689088"/>
              <a:gd name="connsiteY1057" fmla="*/ 3476159 h 6689084"/>
              <a:gd name="connsiteX1058" fmla="*/ 5981077 w 6689088"/>
              <a:gd name="connsiteY1058" fmla="*/ 3459097 h 6689084"/>
              <a:gd name="connsiteX1059" fmla="*/ 5998139 w 6689088"/>
              <a:gd name="connsiteY1059" fmla="*/ 3442031 h 6689084"/>
              <a:gd name="connsiteX1060" fmla="*/ 6152083 w 6689088"/>
              <a:gd name="connsiteY1060" fmla="*/ 3439851 h 6689084"/>
              <a:gd name="connsiteX1061" fmla="*/ 6171329 w 6689088"/>
              <a:gd name="connsiteY1061" fmla="*/ 3459094 h 6689084"/>
              <a:gd name="connsiteX1062" fmla="*/ 6152083 w 6689088"/>
              <a:gd name="connsiteY1062" fmla="*/ 3478336 h 6689084"/>
              <a:gd name="connsiteX1063" fmla="*/ 6132836 w 6689088"/>
              <a:gd name="connsiteY1063" fmla="*/ 3459094 h 6689084"/>
              <a:gd name="connsiteX1064" fmla="*/ 6152083 w 6689088"/>
              <a:gd name="connsiteY1064" fmla="*/ 3439851 h 6689084"/>
              <a:gd name="connsiteX1065" fmla="*/ 6305668 w 6689088"/>
              <a:gd name="connsiteY1065" fmla="*/ 3437674 h 6689084"/>
              <a:gd name="connsiteX1066" fmla="*/ 6327091 w 6689088"/>
              <a:gd name="connsiteY1066" fmla="*/ 3459097 h 6689084"/>
              <a:gd name="connsiteX1067" fmla="*/ 6305668 w 6689088"/>
              <a:gd name="connsiteY1067" fmla="*/ 3480516 h 6689084"/>
              <a:gd name="connsiteX1068" fmla="*/ 6284245 w 6689088"/>
              <a:gd name="connsiteY1068" fmla="*/ 3459097 h 6689084"/>
              <a:gd name="connsiteX1069" fmla="*/ 6305668 w 6689088"/>
              <a:gd name="connsiteY1069" fmla="*/ 3437674 h 6689084"/>
              <a:gd name="connsiteX1070" fmla="*/ 6459619 w 6689088"/>
              <a:gd name="connsiteY1070" fmla="*/ 3436222 h 6689084"/>
              <a:gd name="connsiteX1071" fmla="*/ 6482494 w 6689088"/>
              <a:gd name="connsiteY1071" fmla="*/ 3459097 h 6689084"/>
              <a:gd name="connsiteX1072" fmla="*/ 6459619 w 6689088"/>
              <a:gd name="connsiteY1072" fmla="*/ 3481969 h 6689084"/>
              <a:gd name="connsiteX1073" fmla="*/ 6436744 w 6689088"/>
              <a:gd name="connsiteY1073" fmla="*/ 3459097 h 6689084"/>
              <a:gd name="connsiteX1074" fmla="*/ 6459619 w 6689088"/>
              <a:gd name="connsiteY1074" fmla="*/ 3436222 h 6689084"/>
              <a:gd name="connsiteX1075" fmla="*/ 6613200 w 6689088"/>
              <a:gd name="connsiteY1075" fmla="*/ 3434042 h 6689084"/>
              <a:gd name="connsiteX1076" fmla="*/ 6638252 w 6689088"/>
              <a:gd name="connsiteY1076" fmla="*/ 3459094 h 6689084"/>
              <a:gd name="connsiteX1077" fmla="*/ 6613200 w 6689088"/>
              <a:gd name="connsiteY1077" fmla="*/ 3484145 h 6689084"/>
              <a:gd name="connsiteX1078" fmla="*/ 6588149 w 6689088"/>
              <a:gd name="connsiteY1078" fmla="*/ 3459094 h 6689084"/>
              <a:gd name="connsiteX1079" fmla="*/ 6613200 w 6689088"/>
              <a:gd name="connsiteY1079" fmla="*/ 3434042 h 6689084"/>
              <a:gd name="connsiteX1080" fmla="*/ 3999000 w 6689088"/>
              <a:gd name="connsiteY1080" fmla="*/ 3304784 h 6689084"/>
              <a:gd name="connsiteX1081" fmla="*/ 3999362 w 6689088"/>
              <a:gd name="connsiteY1081" fmla="*/ 3305146 h 6689084"/>
              <a:gd name="connsiteX1082" fmla="*/ 3999000 w 6689088"/>
              <a:gd name="connsiteY1082" fmla="*/ 3305512 h 6689084"/>
              <a:gd name="connsiteX1083" fmla="*/ 3998638 w 6689088"/>
              <a:gd name="connsiteY1083" fmla="*/ 3305146 h 6689084"/>
              <a:gd name="connsiteX1084" fmla="*/ 3999000 w 6689088"/>
              <a:gd name="connsiteY1084" fmla="*/ 3304784 h 6689084"/>
              <a:gd name="connsiteX1085" fmla="*/ 3537882 w 6689088"/>
              <a:gd name="connsiteY1085" fmla="*/ 3304784 h 6689084"/>
              <a:gd name="connsiteX1086" fmla="*/ 3538244 w 6689088"/>
              <a:gd name="connsiteY1086" fmla="*/ 3305146 h 6689084"/>
              <a:gd name="connsiteX1087" fmla="*/ 3537882 w 6689088"/>
              <a:gd name="connsiteY1087" fmla="*/ 3305512 h 6689084"/>
              <a:gd name="connsiteX1088" fmla="*/ 3537520 w 6689088"/>
              <a:gd name="connsiteY1088" fmla="*/ 3305146 h 6689084"/>
              <a:gd name="connsiteX1089" fmla="*/ 3537882 w 6689088"/>
              <a:gd name="connsiteY1089" fmla="*/ 3304784 h 6689084"/>
              <a:gd name="connsiteX1090" fmla="*/ 3383934 w 6689088"/>
              <a:gd name="connsiteY1090" fmla="*/ 3304784 h 6689084"/>
              <a:gd name="connsiteX1091" fmla="*/ 3384296 w 6689088"/>
              <a:gd name="connsiteY1091" fmla="*/ 3305146 h 6689084"/>
              <a:gd name="connsiteX1092" fmla="*/ 3383934 w 6689088"/>
              <a:gd name="connsiteY1092" fmla="*/ 3305512 h 6689084"/>
              <a:gd name="connsiteX1093" fmla="*/ 3383572 w 6689088"/>
              <a:gd name="connsiteY1093" fmla="*/ 3305146 h 6689084"/>
              <a:gd name="connsiteX1094" fmla="*/ 3383934 w 6689088"/>
              <a:gd name="connsiteY1094" fmla="*/ 3304784 h 6689084"/>
              <a:gd name="connsiteX1095" fmla="*/ 3230353 w 6689088"/>
              <a:gd name="connsiteY1095" fmla="*/ 3304422 h 6689084"/>
              <a:gd name="connsiteX1096" fmla="*/ 3231077 w 6689088"/>
              <a:gd name="connsiteY1096" fmla="*/ 3305146 h 6689084"/>
              <a:gd name="connsiteX1097" fmla="*/ 3230353 w 6689088"/>
              <a:gd name="connsiteY1097" fmla="*/ 3305874 h 6689084"/>
              <a:gd name="connsiteX1098" fmla="*/ 3229625 w 6689088"/>
              <a:gd name="connsiteY1098" fmla="*/ 3305146 h 6689084"/>
              <a:gd name="connsiteX1099" fmla="*/ 3230353 w 6689088"/>
              <a:gd name="connsiteY1099" fmla="*/ 3304422 h 6689084"/>
              <a:gd name="connsiteX1100" fmla="*/ 4152947 w 6689088"/>
              <a:gd name="connsiteY1100" fmla="*/ 3303694 h 6689084"/>
              <a:gd name="connsiteX1101" fmla="*/ 4154400 w 6689088"/>
              <a:gd name="connsiteY1101" fmla="*/ 3305146 h 6689084"/>
              <a:gd name="connsiteX1102" fmla="*/ 4152947 w 6689088"/>
              <a:gd name="connsiteY1102" fmla="*/ 3306598 h 6689084"/>
              <a:gd name="connsiteX1103" fmla="*/ 4151494 w 6689088"/>
              <a:gd name="connsiteY1103" fmla="*/ 3305146 h 6689084"/>
              <a:gd name="connsiteX1104" fmla="*/ 4152947 w 6689088"/>
              <a:gd name="connsiteY1104" fmla="*/ 3303694 h 6689084"/>
              <a:gd name="connsiteX1105" fmla="*/ 4306528 w 6689088"/>
              <a:gd name="connsiteY1105" fmla="*/ 3302970 h 6689084"/>
              <a:gd name="connsiteX1106" fmla="*/ 4308709 w 6689088"/>
              <a:gd name="connsiteY1106" fmla="*/ 3305146 h 6689084"/>
              <a:gd name="connsiteX1107" fmla="*/ 4306528 w 6689088"/>
              <a:gd name="connsiteY1107" fmla="*/ 3307327 h 6689084"/>
              <a:gd name="connsiteX1108" fmla="*/ 4304352 w 6689088"/>
              <a:gd name="connsiteY1108" fmla="*/ 3305146 h 6689084"/>
              <a:gd name="connsiteX1109" fmla="*/ 4306528 w 6689088"/>
              <a:gd name="connsiteY1109" fmla="*/ 3302970 h 6689084"/>
              <a:gd name="connsiteX1110" fmla="*/ 4460480 w 6689088"/>
              <a:gd name="connsiteY1110" fmla="*/ 3302241 h 6689084"/>
              <a:gd name="connsiteX1111" fmla="*/ 4463746 w 6689088"/>
              <a:gd name="connsiteY1111" fmla="*/ 3305508 h 6689084"/>
              <a:gd name="connsiteX1112" fmla="*/ 4460480 w 6689088"/>
              <a:gd name="connsiteY1112" fmla="*/ 3308779 h 6689084"/>
              <a:gd name="connsiteX1113" fmla="*/ 4457213 w 6689088"/>
              <a:gd name="connsiteY1113" fmla="*/ 3305508 h 6689084"/>
              <a:gd name="connsiteX1114" fmla="*/ 4460480 w 6689088"/>
              <a:gd name="connsiteY1114" fmla="*/ 3302241 h 6689084"/>
              <a:gd name="connsiteX1115" fmla="*/ 4614061 w 6689088"/>
              <a:gd name="connsiteY1115" fmla="*/ 3300789 h 6689084"/>
              <a:gd name="connsiteX1116" fmla="*/ 4618418 w 6689088"/>
              <a:gd name="connsiteY1116" fmla="*/ 3305146 h 6689084"/>
              <a:gd name="connsiteX1117" fmla="*/ 4614061 w 6689088"/>
              <a:gd name="connsiteY1117" fmla="*/ 3309503 h 6689084"/>
              <a:gd name="connsiteX1118" fmla="*/ 4609704 w 6689088"/>
              <a:gd name="connsiteY1118" fmla="*/ 3305146 h 6689084"/>
              <a:gd name="connsiteX1119" fmla="*/ 4614061 w 6689088"/>
              <a:gd name="connsiteY1119" fmla="*/ 3300789 h 6689084"/>
              <a:gd name="connsiteX1120" fmla="*/ 4768012 w 6689088"/>
              <a:gd name="connsiteY1120" fmla="*/ 3299699 h 6689084"/>
              <a:gd name="connsiteX1121" fmla="*/ 4773822 w 6689088"/>
              <a:gd name="connsiteY1121" fmla="*/ 3305508 h 6689084"/>
              <a:gd name="connsiteX1122" fmla="*/ 4768012 w 6689088"/>
              <a:gd name="connsiteY1122" fmla="*/ 3311318 h 6689084"/>
              <a:gd name="connsiteX1123" fmla="*/ 4762203 w 6689088"/>
              <a:gd name="connsiteY1123" fmla="*/ 3305508 h 6689084"/>
              <a:gd name="connsiteX1124" fmla="*/ 4768012 w 6689088"/>
              <a:gd name="connsiteY1124" fmla="*/ 3299699 h 6689084"/>
              <a:gd name="connsiteX1125" fmla="*/ 4921594 w 6689088"/>
              <a:gd name="connsiteY1125" fmla="*/ 3297885 h 6689084"/>
              <a:gd name="connsiteX1126" fmla="*/ 4928856 w 6689088"/>
              <a:gd name="connsiteY1126" fmla="*/ 3305146 h 6689084"/>
              <a:gd name="connsiteX1127" fmla="*/ 4921594 w 6689088"/>
              <a:gd name="connsiteY1127" fmla="*/ 3312408 h 6689084"/>
              <a:gd name="connsiteX1128" fmla="*/ 4914332 w 6689088"/>
              <a:gd name="connsiteY1128" fmla="*/ 3305146 h 6689084"/>
              <a:gd name="connsiteX1129" fmla="*/ 4921594 w 6689088"/>
              <a:gd name="connsiteY1129" fmla="*/ 3297885 h 6689084"/>
              <a:gd name="connsiteX1130" fmla="*/ 5075541 w 6689088"/>
              <a:gd name="connsiteY1130" fmla="*/ 3296070 h 6689084"/>
              <a:gd name="connsiteX1131" fmla="*/ 5084621 w 6689088"/>
              <a:gd name="connsiteY1131" fmla="*/ 3305146 h 6689084"/>
              <a:gd name="connsiteX1132" fmla="*/ 5075541 w 6689088"/>
              <a:gd name="connsiteY1132" fmla="*/ 3314226 h 6689084"/>
              <a:gd name="connsiteX1133" fmla="*/ 5066465 w 6689088"/>
              <a:gd name="connsiteY1133" fmla="*/ 3305146 h 6689084"/>
              <a:gd name="connsiteX1134" fmla="*/ 5075541 w 6689088"/>
              <a:gd name="connsiteY1134" fmla="*/ 3296070 h 6689084"/>
              <a:gd name="connsiteX1135" fmla="*/ 5229126 w 6689088"/>
              <a:gd name="connsiteY1135" fmla="*/ 3294980 h 6689084"/>
              <a:gd name="connsiteX1136" fmla="*/ 5239293 w 6689088"/>
              <a:gd name="connsiteY1136" fmla="*/ 3305146 h 6689084"/>
              <a:gd name="connsiteX1137" fmla="*/ 5229126 w 6689088"/>
              <a:gd name="connsiteY1137" fmla="*/ 3315312 h 6689084"/>
              <a:gd name="connsiteX1138" fmla="*/ 5218960 w 6689088"/>
              <a:gd name="connsiteY1138" fmla="*/ 3305146 h 6689084"/>
              <a:gd name="connsiteX1139" fmla="*/ 5229126 w 6689088"/>
              <a:gd name="connsiteY1139" fmla="*/ 3294980 h 6689084"/>
              <a:gd name="connsiteX1140" fmla="*/ 5383074 w 6689088"/>
              <a:gd name="connsiteY1140" fmla="*/ 3293165 h 6689084"/>
              <a:gd name="connsiteX1141" fmla="*/ 5395058 w 6689088"/>
              <a:gd name="connsiteY1141" fmla="*/ 3305146 h 6689084"/>
              <a:gd name="connsiteX1142" fmla="*/ 5383074 w 6689088"/>
              <a:gd name="connsiteY1142" fmla="*/ 3317131 h 6689084"/>
              <a:gd name="connsiteX1143" fmla="*/ 5371093 w 6689088"/>
              <a:gd name="connsiteY1143" fmla="*/ 3305146 h 6689084"/>
              <a:gd name="connsiteX1144" fmla="*/ 5383074 w 6689088"/>
              <a:gd name="connsiteY1144" fmla="*/ 3293165 h 6689084"/>
              <a:gd name="connsiteX1145" fmla="*/ 5537021 w 6689088"/>
              <a:gd name="connsiteY1145" fmla="*/ 3291351 h 6689084"/>
              <a:gd name="connsiteX1146" fmla="*/ 5550820 w 6689088"/>
              <a:gd name="connsiteY1146" fmla="*/ 3305146 h 6689084"/>
              <a:gd name="connsiteX1147" fmla="*/ 5537021 w 6689088"/>
              <a:gd name="connsiteY1147" fmla="*/ 3318945 h 6689084"/>
              <a:gd name="connsiteX1148" fmla="*/ 5523226 w 6689088"/>
              <a:gd name="connsiteY1148" fmla="*/ 3305146 h 6689084"/>
              <a:gd name="connsiteX1149" fmla="*/ 5537021 w 6689088"/>
              <a:gd name="connsiteY1149" fmla="*/ 3291351 h 6689084"/>
              <a:gd name="connsiteX1150" fmla="*/ 5690606 w 6689088"/>
              <a:gd name="connsiteY1150" fmla="*/ 3289899 h 6689084"/>
              <a:gd name="connsiteX1151" fmla="*/ 5705854 w 6689088"/>
              <a:gd name="connsiteY1151" fmla="*/ 3305146 h 6689084"/>
              <a:gd name="connsiteX1152" fmla="*/ 5690606 w 6689088"/>
              <a:gd name="connsiteY1152" fmla="*/ 3320398 h 6689084"/>
              <a:gd name="connsiteX1153" fmla="*/ 5675355 w 6689088"/>
              <a:gd name="connsiteY1153" fmla="*/ 3305146 h 6689084"/>
              <a:gd name="connsiteX1154" fmla="*/ 5690606 w 6689088"/>
              <a:gd name="connsiteY1154" fmla="*/ 3289899 h 6689084"/>
              <a:gd name="connsiteX1155" fmla="*/ 5844554 w 6689088"/>
              <a:gd name="connsiteY1155" fmla="*/ 3288084 h 6689084"/>
              <a:gd name="connsiteX1156" fmla="*/ 5861616 w 6689088"/>
              <a:gd name="connsiteY1156" fmla="*/ 3305150 h 6689084"/>
              <a:gd name="connsiteX1157" fmla="*/ 5844554 w 6689088"/>
              <a:gd name="connsiteY1157" fmla="*/ 3322216 h 6689084"/>
              <a:gd name="connsiteX1158" fmla="*/ 5827488 w 6689088"/>
              <a:gd name="connsiteY1158" fmla="*/ 3305150 h 6689084"/>
              <a:gd name="connsiteX1159" fmla="*/ 5844554 w 6689088"/>
              <a:gd name="connsiteY1159" fmla="*/ 3288084 h 6689084"/>
              <a:gd name="connsiteX1160" fmla="*/ 5998136 w 6689088"/>
              <a:gd name="connsiteY1160" fmla="*/ 3285904 h 6689084"/>
              <a:gd name="connsiteX1161" fmla="*/ 6017382 w 6689088"/>
              <a:gd name="connsiteY1161" fmla="*/ 3305146 h 6689084"/>
              <a:gd name="connsiteX1162" fmla="*/ 5998136 w 6689088"/>
              <a:gd name="connsiteY1162" fmla="*/ 3324389 h 6689084"/>
              <a:gd name="connsiteX1163" fmla="*/ 5978893 w 6689088"/>
              <a:gd name="connsiteY1163" fmla="*/ 3305146 h 6689084"/>
              <a:gd name="connsiteX1164" fmla="*/ 5998136 w 6689088"/>
              <a:gd name="connsiteY1164" fmla="*/ 3285904 h 6689084"/>
              <a:gd name="connsiteX1165" fmla="*/ 6152086 w 6689088"/>
              <a:gd name="connsiteY1165" fmla="*/ 3283727 h 6689084"/>
              <a:gd name="connsiteX1166" fmla="*/ 6173510 w 6689088"/>
              <a:gd name="connsiteY1166" fmla="*/ 3305150 h 6689084"/>
              <a:gd name="connsiteX1167" fmla="*/ 6152086 w 6689088"/>
              <a:gd name="connsiteY1167" fmla="*/ 3326569 h 6689084"/>
              <a:gd name="connsiteX1168" fmla="*/ 6130664 w 6689088"/>
              <a:gd name="connsiteY1168" fmla="*/ 3305150 h 6689084"/>
              <a:gd name="connsiteX1169" fmla="*/ 6152086 w 6689088"/>
              <a:gd name="connsiteY1169" fmla="*/ 3283727 h 6689084"/>
              <a:gd name="connsiteX1170" fmla="*/ 6305672 w 6689088"/>
              <a:gd name="connsiteY1170" fmla="*/ 3282275 h 6689084"/>
              <a:gd name="connsiteX1171" fmla="*/ 6328547 w 6689088"/>
              <a:gd name="connsiteY1171" fmla="*/ 3305150 h 6689084"/>
              <a:gd name="connsiteX1172" fmla="*/ 6305672 w 6689088"/>
              <a:gd name="connsiteY1172" fmla="*/ 3328021 h 6689084"/>
              <a:gd name="connsiteX1173" fmla="*/ 6282796 w 6689088"/>
              <a:gd name="connsiteY1173" fmla="*/ 3305150 h 6689084"/>
              <a:gd name="connsiteX1174" fmla="*/ 6305672 w 6689088"/>
              <a:gd name="connsiteY1174" fmla="*/ 3282275 h 6689084"/>
              <a:gd name="connsiteX1175" fmla="*/ 6459616 w 6689088"/>
              <a:gd name="connsiteY1175" fmla="*/ 3280094 h 6689084"/>
              <a:gd name="connsiteX1176" fmla="*/ 6484671 w 6689088"/>
              <a:gd name="connsiteY1176" fmla="*/ 3305146 h 6689084"/>
              <a:gd name="connsiteX1177" fmla="*/ 6459616 w 6689088"/>
              <a:gd name="connsiteY1177" fmla="*/ 3330202 h 6689084"/>
              <a:gd name="connsiteX1178" fmla="*/ 6434564 w 6689088"/>
              <a:gd name="connsiteY1178" fmla="*/ 3305146 h 6689084"/>
              <a:gd name="connsiteX1179" fmla="*/ 6459616 w 6689088"/>
              <a:gd name="connsiteY1179" fmla="*/ 3280094 h 6689084"/>
              <a:gd name="connsiteX1180" fmla="*/ 6613200 w 6689088"/>
              <a:gd name="connsiteY1180" fmla="*/ 3277914 h 6689084"/>
              <a:gd name="connsiteX1181" fmla="*/ 6640433 w 6689088"/>
              <a:gd name="connsiteY1181" fmla="*/ 3305146 h 6689084"/>
              <a:gd name="connsiteX1182" fmla="*/ 6613200 w 6689088"/>
              <a:gd name="connsiteY1182" fmla="*/ 3332378 h 6689084"/>
              <a:gd name="connsiteX1183" fmla="*/ 6585968 w 6689088"/>
              <a:gd name="connsiteY1183" fmla="*/ 3305146 h 6689084"/>
              <a:gd name="connsiteX1184" fmla="*/ 6613200 w 6689088"/>
              <a:gd name="connsiteY1184" fmla="*/ 3277914 h 6689084"/>
              <a:gd name="connsiteX1185" fmla="*/ 3845414 w 6689088"/>
              <a:gd name="connsiteY1185" fmla="*/ 3151199 h 6689084"/>
              <a:gd name="connsiteX1186" fmla="*/ 3845776 w 6689088"/>
              <a:gd name="connsiteY1186" fmla="*/ 3151561 h 6689084"/>
              <a:gd name="connsiteX1187" fmla="*/ 3845414 w 6689088"/>
              <a:gd name="connsiteY1187" fmla="*/ 3151923 h 6689084"/>
              <a:gd name="connsiteX1188" fmla="*/ 3845052 w 6689088"/>
              <a:gd name="connsiteY1188" fmla="*/ 3151561 h 6689084"/>
              <a:gd name="connsiteX1189" fmla="*/ 3845414 w 6689088"/>
              <a:gd name="connsiteY1189" fmla="*/ 3151199 h 6689084"/>
              <a:gd name="connsiteX1190" fmla="*/ 3383934 w 6689088"/>
              <a:gd name="connsiteY1190" fmla="*/ 3151199 h 6689084"/>
              <a:gd name="connsiteX1191" fmla="*/ 3384296 w 6689088"/>
              <a:gd name="connsiteY1191" fmla="*/ 3151561 h 6689084"/>
              <a:gd name="connsiteX1192" fmla="*/ 3383934 w 6689088"/>
              <a:gd name="connsiteY1192" fmla="*/ 3151923 h 6689084"/>
              <a:gd name="connsiteX1193" fmla="*/ 3383572 w 6689088"/>
              <a:gd name="connsiteY1193" fmla="*/ 3151561 h 6689084"/>
              <a:gd name="connsiteX1194" fmla="*/ 3383934 w 6689088"/>
              <a:gd name="connsiteY1194" fmla="*/ 3151199 h 6689084"/>
              <a:gd name="connsiteX1195" fmla="*/ 3230349 w 6689088"/>
              <a:gd name="connsiteY1195" fmla="*/ 3151199 h 6689084"/>
              <a:gd name="connsiteX1196" fmla="*/ 3230715 w 6689088"/>
              <a:gd name="connsiteY1196" fmla="*/ 3151561 h 6689084"/>
              <a:gd name="connsiteX1197" fmla="*/ 3230349 w 6689088"/>
              <a:gd name="connsiteY1197" fmla="*/ 3151923 h 6689084"/>
              <a:gd name="connsiteX1198" fmla="*/ 3229987 w 6689088"/>
              <a:gd name="connsiteY1198" fmla="*/ 3151561 h 6689084"/>
              <a:gd name="connsiteX1199" fmla="*/ 3230349 w 6689088"/>
              <a:gd name="connsiteY1199" fmla="*/ 3151199 h 6689084"/>
              <a:gd name="connsiteX1200" fmla="*/ 3076406 w 6689088"/>
              <a:gd name="connsiteY1200" fmla="*/ 3150837 h 6689084"/>
              <a:gd name="connsiteX1201" fmla="*/ 3077130 w 6689088"/>
              <a:gd name="connsiteY1201" fmla="*/ 3151565 h 6689084"/>
              <a:gd name="connsiteX1202" fmla="*/ 3076406 w 6689088"/>
              <a:gd name="connsiteY1202" fmla="*/ 3152289 h 6689084"/>
              <a:gd name="connsiteX1203" fmla="*/ 3075677 w 6689088"/>
              <a:gd name="connsiteY1203" fmla="*/ 3151565 h 6689084"/>
              <a:gd name="connsiteX1204" fmla="*/ 3076406 w 6689088"/>
              <a:gd name="connsiteY1204" fmla="*/ 3150837 h 6689084"/>
              <a:gd name="connsiteX1205" fmla="*/ 3999000 w 6689088"/>
              <a:gd name="connsiteY1205" fmla="*/ 3150112 h 6689084"/>
              <a:gd name="connsiteX1206" fmla="*/ 4000452 w 6689088"/>
              <a:gd name="connsiteY1206" fmla="*/ 3151565 h 6689084"/>
              <a:gd name="connsiteX1207" fmla="*/ 3999000 w 6689088"/>
              <a:gd name="connsiteY1207" fmla="*/ 3153017 h 6689084"/>
              <a:gd name="connsiteX1208" fmla="*/ 3997547 w 6689088"/>
              <a:gd name="connsiteY1208" fmla="*/ 3151565 h 6689084"/>
              <a:gd name="connsiteX1209" fmla="*/ 3999000 w 6689088"/>
              <a:gd name="connsiteY1209" fmla="*/ 3150112 h 6689084"/>
              <a:gd name="connsiteX1210" fmla="*/ 4152951 w 6689088"/>
              <a:gd name="connsiteY1210" fmla="*/ 3149384 h 6689084"/>
              <a:gd name="connsiteX1211" fmla="*/ 4155128 w 6689088"/>
              <a:gd name="connsiteY1211" fmla="*/ 3151565 h 6689084"/>
              <a:gd name="connsiteX1212" fmla="*/ 4152951 w 6689088"/>
              <a:gd name="connsiteY1212" fmla="*/ 3153741 h 6689084"/>
              <a:gd name="connsiteX1213" fmla="*/ 4150770 w 6689088"/>
              <a:gd name="connsiteY1213" fmla="*/ 3151565 h 6689084"/>
              <a:gd name="connsiteX1214" fmla="*/ 4152951 w 6689088"/>
              <a:gd name="connsiteY1214" fmla="*/ 3149384 h 6689084"/>
              <a:gd name="connsiteX1215" fmla="*/ 4306528 w 6689088"/>
              <a:gd name="connsiteY1215" fmla="*/ 3148294 h 6689084"/>
              <a:gd name="connsiteX1216" fmla="*/ 4309796 w 6689088"/>
              <a:gd name="connsiteY1216" fmla="*/ 3151561 h 6689084"/>
              <a:gd name="connsiteX1217" fmla="*/ 4306528 w 6689088"/>
              <a:gd name="connsiteY1217" fmla="*/ 3154831 h 6689084"/>
              <a:gd name="connsiteX1218" fmla="*/ 4303262 w 6689088"/>
              <a:gd name="connsiteY1218" fmla="*/ 3151561 h 6689084"/>
              <a:gd name="connsiteX1219" fmla="*/ 4306528 w 6689088"/>
              <a:gd name="connsiteY1219" fmla="*/ 3148294 h 6689084"/>
              <a:gd name="connsiteX1220" fmla="*/ 4460480 w 6689088"/>
              <a:gd name="connsiteY1220" fmla="*/ 3146842 h 6689084"/>
              <a:gd name="connsiteX1221" fmla="*/ 4464836 w 6689088"/>
              <a:gd name="connsiteY1221" fmla="*/ 3151199 h 6689084"/>
              <a:gd name="connsiteX1222" fmla="*/ 4460480 w 6689088"/>
              <a:gd name="connsiteY1222" fmla="*/ 3155556 h 6689084"/>
              <a:gd name="connsiteX1223" fmla="*/ 4456122 w 6689088"/>
              <a:gd name="connsiteY1223" fmla="*/ 3151199 h 6689084"/>
              <a:gd name="connsiteX1224" fmla="*/ 4460480 w 6689088"/>
              <a:gd name="connsiteY1224" fmla="*/ 3146842 h 6689084"/>
              <a:gd name="connsiteX1225" fmla="*/ 4614061 w 6689088"/>
              <a:gd name="connsiteY1225" fmla="*/ 3145752 h 6689084"/>
              <a:gd name="connsiteX1226" fmla="*/ 4619870 w 6689088"/>
              <a:gd name="connsiteY1226" fmla="*/ 3151561 h 6689084"/>
              <a:gd name="connsiteX1227" fmla="*/ 4614061 w 6689088"/>
              <a:gd name="connsiteY1227" fmla="*/ 3157370 h 6689084"/>
              <a:gd name="connsiteX1228" fmla="*/ 4608252 w 6689088"/>
              <a:gd name="connsiteY1228" fmla="*/ 3151561 h 6689084"/>
              <a:gd name="connsiteX1229" fmla="*/ 4614061 w 6689088"/>
              <a:gd name="connsiteY1229" fmla="*/ 3145752 h 6689084"/>
              <a:gd name="connsiteX1230" fmla="*/ 4768008 w 6689088"/>
              <a:gd name="connsiteY1230" fmla="*/ 3144299 h 6689084"/>
              <a:gd name="connsiteX1231" fmla="*/ 4775270 w 6689088"/>
              <a:gd name="connsiteY1231" fmla="*/ 3151561 h 6689084"/>
              <a:gd name="connsiteX1232" fmla="*/ 4768008 w 6689088"/>
              <a:gd name="connsiteY1232" fmla="*/ 3158823 h 6689084"/>
              <a:gd name="connsiteX1233" fmla="*/ 4760747 w 6689088"/>
              <a:gd name="connsiteY1233" fmla="*/ 3151561 h 6689084"/>
              <a:gd name="connsiteX1234" fmla="*/ 4768008 w 6689088"/>
              <a:gd name="connsiteY1234" fmla="*/ 3144299 h 6689084"/>
              <a:gd name="connsiteX1235" fmla="*/ 4921594 w 6689088"/>
              <a:gd name="connsiteY1235" fmla="*/ 3142123 h 6689084"/>
              <a:gd name="connsiteX1236" fmla="*/ 4930674 w 6689088"/>
              <a:gd name="connsiteY1236" fmla="*/ 3151199 h 6689084"/>
              <a:gd name="connsiteX1237" fmla="*/ 4921594 w 6689088"/>
              <a:gd name="connsiteY1237" fmla="*/ 3160279 h 6689084"/>
              <a:gd name="connsiteX1238" fmla="*/ 4912518 w 6689088"/>
              <a:gd name="connsiteY1238" fmla="*/ 3151199 h 6689084"/>
              <a:gd name="connsiteX1239" fmla="*/ 4921594 w 6689088"/>
              <a:gd name="connsiteY1239" fmla="*/ 3142123 h 6689084"/>
              <a:gd name="connsiteX1240" fmla="*/ 5075541 w 6689088"/>
              <a:gd name="connsiteY1240" fmla="*/ 3141395 h 6689084"/>
              <a:gd name="connsiteX1241" fmla="*/ 5085708 w 6689088"/>
              <a:gd name="connsiteY1241" fmla="*/ 3151561 h 6689084"/>
              <a:gd name="connsiteX1242" fmla="*/ 5075541 w 6689088"/>
              <a:gd name="connsiteY1242" fmla="*/ 3161727 h 6689084"/>
              <a:gd name="connsiteX1243" fmla="*/ 5065375 w 6689088"/>
              <a:gd name="connsiteY1243" fmla="*/ 3151561 h 6689084"/>
              <a:gd name="connsiteX1244" fmla="*/ 5075541 w 6689088"/>
              <a:gd name="connsiteY1244" fmla="*/ 3141395 h 6689084"/>
              <a:gd name="connsiteX1245" fmla="*/ 5229126 w 6689088"/>
              <a:gd name="connsiteY1245" fmla="*/ 3139580 h 6689084"/>
              <a:gd name="connsiteX1246" fmla="*/ 5241111 w 6689088"/>
              <a:gd name="connsiteY1246" fmla="*/ 3151561 h 6689084"/>
              <a:gd name="connsiteX1247" fmla="*/ 5229126 w 6689088"/>
              <a:gd name="connsiteY1247" fmla="*/ 3163542 h 6689084"/>
              <a:gd name="connsiteX1248" fmla="*/ 5217146 w 6689088"/>
              <a:gd name="connsiteY1248" fmla="*/ 3151561 h 6689084"/>
              <a:gd name="connsiteX1249" fmla="*/ 5229126 w 6689088"/>
              <a:gd name="connsiteY1249" fmla="*/ 3139580 h 6689084"/>
              <a:gd name="connsiteX1250" fmla="*/ 5383078 w 6689088"/>
              <a:gd name="connsiteY1250" fmla="*/ 3137403 h 6689084"/>
              <a:gd name="connsiteX1251" fmla="*/ 5396873 w 6689088"/>
              <a:gd name="connsiteY1251" fmla="*/ 3151199 h 6689084"/>
              <a:gd name="connsiteX1252" fmla="*/ 5383078 w 6689088"/>
              <a:gd name="connsiteY1252" fmla="*/ 3164998 h 6689084"/>
              <a:gd name="connsiteX1253" fmla="*/ 5369278 w 6689088"/>
              <a:gd name="connsiteY1253" fmla="*/ 3151199 h 6689084"/>
              <a:gd name="connsiteX1254" fmla="*/ 5383078 w 6689088"/>
              <a:gd name="connsiteY1254" fmla="*/ 3137403 h 6689084"/>
              <a:gd name="connsiteX1255" fmla="*/ 5536659 w 6689088"/>
              <a:gd name="connsiteY1255" fmla="*/ 3136313 h 6689084"/>
              <a:gd name="connsiteX1256" fmla="*/ 5551906 w 6689088"/>
              <a:gd name="connsiteY1256" fmla="*/ 3151565 h 6689084"/>
              <a:gd name="connsiteX1257" fmla="*/ 5536659 w 6689088"/>
              <a:gd name="connsiteY1257" fmla="*/ 3166812 h 6689084"/>
              <a:gd name="connsiteX1258" fmla="*/ 5521408 w 6689088"/>
              <a:gd name="connsiteY1258" fmla="*/ 3151565 h 6689084"/>
              <a:gd name="connsiteX1259" fmla="*/ 5536659 w 6689088"/>
              <a:gd name="connsiteY1259" fmla="*/ 3136313 h 6689084"/>
              <a:gd name="connsiteX1260" fmla="*/ 5690606 w 6689088"/>
              <a:gd name="connsiteY1260" fmla="*/ 3134499 h 6689084"/>
              <a:gd name="connsiteX1261" fmla="*/ 5707672 w 6689088"/>
              <a:gd name="connsiteY1261" fmla="*/ 3151565 h 6689084"/>
              <a:gd name="connsiteX1262" fmla="*/ 5690606 w 6689088"/>
              <a:gd name="connsiteY1262" fmla="*/ 3168627 h 6689084"/>
              <a:gd name="connsiteX1263" fmla="*/ 5673540 w 6689088"/>
              <a:gd name="connsiteY1263" fmla="*/ 3151565 h 6689084"/>
              <a:gd name="connsiteX1264" fmla="*/ 5690606 w 6689088"/>
              <a:gd name="connsiteY1264" fmla="*/ 3134499 h 6689084"/>
              <a:gd name="connsiteX1265" fmla="*/ 5844554 w 6689088"/>
              <a:gd name="connsiteY1265" fmla="*/ 3132318 h 6689084"/>
              <a:gd name="connsiteX1266" fmla="*/ 5863796 w 6689088"/>
              <a:gd name="connsiteY1266" fmla="*/ 3151561 h 6689084"/>
              <a:gd name="connsiteX1267" fmla="*/ 5844554 w 6689088"/>
              <a:gd name="connsiteY1267" fmla="*/ 3170807 h 6689084"/>
              <a:gd name="connsiteX1268" fmla="*/ 5825308 w 6689088"/>
              <a:gd name="connsiteY1268" fmla="*/ 3151561 h 6689084"/>
              <a:gd name="connsiteX1269" fmla="*/ 5844554 w 6689088"/>
              <a:gd name="connsiteY1269" fmla="*/ 3132318 h 6689084"/>
              <a:gd name="connsiteX1270" fmla="*/ 5998139 w 6689088"/>
              <a:gd name="connsiteY1270" fmla="*/ 3130142 h 6689084"/>
              <a:gd name="connsiteX1271" fmla="*/ 6019562 w 6689088"/>
              <a:gd name="connsiteY1271" fmla="*/ 3151565 h 6689084"/>
              <a:gd name="connsiteX1272" fmla="*/ 5998139 w 6689088"/>
              <a:gd name="connsiteY1272" fmla="*/ 3172984 h 6689084"/>
              <a:gd name="connsiteX1273" fmla="*/ 5976716 w 6689088"/>
              <a:gd name="connsiteY1273" fmla="*/ 3151565 h 6689084"/>
              <a:gd name="connsiteX1274" fmla="*/ 5998139 w 6689088"/>
              <a:gd name="connsiteY1274" fmla="*/ 3130142 h 6689084"/>
              <a:gd name="connsiteX1275" fmla="*/ 6152086 w 6689088"/>
              <a:gd name="connsiteY1275" fmla="*/ 3128689 h 6689084"/>
              <a:gd name="connsiteX1276" fmla="*/ 6174958 w 6689088"/>
              <a:gd name="connsiteY1276" fmla="*/ 3151565 h 6689084"/>
              <a:gd name="connsiteX1277" fmla="*/ 6152086 w 6689088"/>
              <a:gd name="connsiteY1277" fmla="*/ 3174440 h 6689084"/>
              <a:gd name="connsiteX1278" fmla="*/ 6129212 w 6689088"/>
              <a:gd name="connsiteY1278" fmla="*/ 3151565 h 6689084"/>
              <a:gd name="connsiteX1279" fmla="*/ 6152086 w 6689088"/>
              <a:gd name="connsiteY1279" fmla="*/ 3128689 h 6689084"/>
              <a:gd name="connsiteX1280" fmla="*/ 6305668 w 6689088"/>
              <a:gd name="connsiteY1280" fmla="*/ 3126509 h 6689084"/>
              <a:gd name="connsiteX1281" fmla="*/ 6330724 w 6689088"/>
              <a:gd name="connsiteY1281" fmla="*/ 3151561 h 6689084"/>
              <a:gd name="connsiteX1282" fmla="*/ 6305668 w 6689088"/>
              <a:gd name="connsiteY1282" fmla="*/ 3176616 h 6689084"/>
              <a:gd name="connsiteX1283" fmla="*/ 6280616 w 6689088"/>
              <a:gd name="connsiteY1283" fmla="*/ 3151561 h 6689084"/>
              <a:gd name="connsiteX1284" fmla="*/ 6305668 w 6689088"/>
              <a:gd name="connsiteY1284" fmla="*/ 3126509 h 6689084"/>
              <a:gd name="connsiteX1285" fmla="*/ 6459619 w 6689088"/>
              <a:gd name="connsiteY1285" fmla="*/ 3124332 h 6689084"/>
              <a:gd name="connsiteX1286" fmla="*/ 6486852 w 6689088"/>
              <a:gd name="connsiteY1286" fmla="*/ 3151565 h 6689084"/>
              <a:gd name="connsiteX1287" fmla="*/ 6459619 w 6689088"/>
              <a:gd name="connsiteY1287" fmla="*/ 3178797 h 6689084"/>
              <a:gd name="connsiteX1288" fmla="*/ 6432387 w 6689088"/>
              <a:gd name="connsiteY1288" fmla="*/ 3151565 h 6689084"/>
              <a:gd name="connsiteX1289" fmla="*/ 6459619 w 6689088"/>
              <a:gd name="connsiteY1289" fmla="*/ 3124332 h 6689084"/>
              <a:gd name="connsiteX1290" fmla="*/ 6613197 w 6689088"/>
              <a:gd name="connsiteY1290" fmla="*/ 3121790 h 6689084"/>
              <a:gd name="connsiteX1291" fmla="*/ 6642972 w 6689088"/>
              <a:gd name="connsiteY1291" fmla="*/ 3151565 h 6689084"/>
              <a:gd name="connsiteX1292" fmla="*/ 6613197 w 6689088"/>
              <a:gd name="connsiteY1292" fmla="*/ 3181336 h 6689084"/>
              <a:gd name="connsiteX1293" fmla="*/ 6583426 w 6689088"/>
              <a:gd name="connsiteY1293" fmla="*/ 3151565 h 6689084"/>
              <a:gd name="connsiteX1294" fmla="*/ 6613197 w 6689088"/>
              <a:gd name="connsiteY1294" fmla="*/ 3121790 h 6689084"/>
              <a:gd name="connsiteX1295" fmla="*/ 3691467 w 6689088"/>
              <a:gd name="connsiteY1295" fmla="*/ 2997252 h 6689084"/>
              <a:gd name="connsiteX1296" fmla="*/ 3691829 w 6689088"/>
              <a:gd name="connsiteY1296" fmla="*/ 2997613 h 6689084"/>
              <a:gd name="connsiteX1297" fmla="*/ 3691467 w 6689088"/>
              <a:gd name="connsiteY1297" fmla="*/ 2997976 h 6689084"/>
              <a:gd name="connsiteX1298" fmla="*/ 3691105 w 6689088"/>
              <a:gd name="connsiteY1298" fmla="*/ 2997613 h 6689084"/>
              <a:gd name="connsiteX1299" fmla="*/ 3691467 w 6689088"/>
              <a:gd name="connsiteY1299" fmla="*/ 2997252 h 6689084"/>
              <a:gd name="connsiteX1300" fmla="*/ 3230349 w 6689088"/>
              <a:gd name="connsiteY1300" fmla="*/ 2997252 h 6689084"/>
              <a:gd name="connsiteX1301" fmla="*/ 3230715 w 6689088"/>
              <a:gd name="connsiteY1301" fmla="*/ 2997613 h 6689084"/>
              <a:gd name="connsiteX1302" fmla="*/ 3230349 w 6689088"/>
              <a:gd name="connsiteY1302" fmla="*/ 2997976 h 6689084"/>
              <a:gd name="connsiteX1303" fmla="*/ 3229987 w 6689088"/>
              <a:gd name="connsiteY1303" fmla="*/ 2997613 h 6689084"/>
              <a:gd name="connsiteX1304" fmla="*/ 3230349 w 6689088"/>
              <a:gd name="connsiteY1304" fmla="*/ 2997252 h 6689084"/>
              <a:gd name="connsiteX1305" fmla="*/ 3076406 w 6689088"/>
              <a:gd name="connsiteY1305" fmla="*/ 2997252 h 6689084"/>
              <a:gd name="connsiteX1306" fmla="*/ 3076768 w 6689088"/>
              <a:gd name="connsiteY1306" fmla="*/ 2997613 h 6689084"/>
              <a:gd name="connsiteX1307" fmla="*/ 3076406 w 6689088"/>
              <a:gd name="connsiteY1307" fmla="*/ 2997976 h 6689084"/>
              <a:gd name="connsiteX1308" fmla="*/ 3076043 w 6689088"/>
              <a:gd name="connsiteY1308" fmla="*/ 2997613 h 6689084"/>
              <a:gd name="connsiteX1309" fmla="*/ 3076406 w 6689088"/>
              <a:gd name="connsiteY1309" fmla="*/ 2997252 h 6689084"/>
              <a:gd name="connsiteX1310" fmla="*/ 2922824 w 6689088"/>
              <a:gd name="connsiteY1310" fmla="*/ 2996889 h 6689084"/>
              <a:gd name="connsiteX1311" fmla="*/ 2923548 w 6689088"/>
              <a:gd name="connsiteY1311" fmla="*/ 2997613 h 6689084"/>
              <a:gd name="connsiteX1312" fmla="*/ 2922824 w 6689088"/>
              <a:gd name="connsiteY1312" fmla="*/ 2998342 h 6689084"/>
              <a:gd name="connsiteX1313" fmla="*/ 2922096 w 6689088"/>
              <a:gd name="connsiteY1313" fmla="*/ 2997613 h 6689084"/>
              <a:gd name="connsiteX1314" fmla="*/ 2922824 w 6689088"/>
              <a:gd name="connsiteY1314" fmla="*/ 2996889 h 6689084"/>
              <a:gd name="connsiteX1315" fmla="*/ 3845414 w 6689088"/>
              <a:gd name="connsiteY1315" fmla="*/ 2996165 h 6689084"/>
              <a:gd name="connsiteX1316" fmla="*/ 3846867 w 6689088"/>
              <a:gd name="connsiteY1316" fmla="*/ 2997617 h 6689084"/>
              <a:gd name="connsiteX1317" fmla="*/ 3845414 w 6689088"/>
              <a:gd name="connsiteY1317" fmla="*/ 2999070 h 6689084"/>
              <a:gd name="connsiteX1318" fmla="*/ 3843962 w 6689088"/>
              <a:gd name="connsiteY1318" fmla="*/ 2997617 h 6689084"/>
              <a:gd name="connsiteX1319" fmla="*/ 3845414 w 6689088"/>
              <a:gd name="connsiteY1319" fmla="*/ 2996165 h 6689084"/>
              <a:gd name="connsiteX1320" fmla="*/ 3999000 w 6689088"/>
              <a:gd name="connsiteY1320" fmla="*/ 2995437 h 6689084"/>
              <a:gd name="connsiteX1321" fmla="*/ 4001180 w 6689088"/>
              <a:gd name="connsiteY1321" fmla="*/ 2997613 h 6689084"/>
              <a:gd name="connsiteX1322" fmla="*/ 3999000 w 6689088"/>
              <a:gd name="connsiteY1322" fmla="*/ 2999794 h 6689084"/>
              <a:gd name="connsiteX1323" fmla="*/ 3996823 w 6689088"/>
              <a:gd name="connsiteY1323" fmla="*/ 2997613 h 6689084"/>
              <a:gd name="connsiteX1324" fmla="*/ 3999000 w 6689088"/>
              <a:gd name="connsiteY1324" fmla="*/ 2995437 h 6689084"/>
              <a:gd name="connsiteX1325" fmla="*/ 4152947 w 6689088"/>
              <a:gd name="connsiteY1325" fmla="*/ 2994713 h 6689084"/>
              <a:gd name="connsiteX1326" fmla="*/ 4156214 w 6689088"/>
              <a:gd name="connsiteY1326" fmla="*/ 2997979 h 6689084"/>
              <a:gd name="connsiteX1327" fmla="*/ 4152947 w 6689088"/>
              <a:gd name="connsiteY1327" fmla="*/ 3001250 h 6689084"/>
              <a:gd name="connsiteX1328" fmla="*/ 4149680 w 6689088"/>
              <a:gd name="connsiteY1328" fmla="*/ 2997979 h 6689084"/>
              <a:gd name="connsiteX1329" fmla="*/ 4152947 w 6689088"/>
              <a:gd name="connsiteY1329" fmla="*/ 2994713 h 6689084"/>
              <a:gd name="connsiteX1330" fmla="*/ 4306532 w 6689088"/>
              <a:gd name="connsiteY1330" fmla="*/ 2993261 h 6689084"/>
              <a:gd name="connsiteX1331" fmla="*/ 4310890 w 6689088"/>
              <a:gd name="connsiteY1331" fmla="*/ 2997617 h 6689084"/>
              <a:gd name="connsiteX1332" fmla="*/ 4306532 w 6689088"/>
              <a:gd name="connsiteY1332" fmla="*/ 3001974 h 6689084"/>
              <a:gd name="connsiteX1333" fmla="*/ 4302176 w 6689088"/>
              <a:gd name="connsiteY1333" fmla="*/ 2997617 h 6689084"/>
              <a:gd name="connsiteX1334" fmla="*/ 4306532 w 6689088"/>
              <a:gd name="connsiteY1334" fmla="*/ 2993261 h 6689084"/>
              <a:gd name="connsiteX1335" fmla="*/ 4460480 w 6689088"/>
              <a:gd name="connsiteY1335" fmla="*/ 2991808 h 6689084"/>
              <a:gd name="connsiteX1336" fmla="*/ 4466289 w 6689088"/>
              <a:gd name="connsiteY1336" fmla="*/ 2997617 h 6689084"/>
              <a:gd name="connsiteX1337" fmla="*/ 4460480 w 6689088"/>
              <a:gd name="connsiteY1337" fmla="*/ 3003427 h 6689084"/>
              <a:gd name="connsiteX1338" fmla="*/ 4454670 w 6689088"/>
              <a:gd name="connsiteY1338" fmla="*/ 2997617 h 6689084"/>
              <a:gd name="connsiteX1339" fmla="*/ 4460480 w 6689088"/>
              <a:gd name="connsiteY1339" fmla="*/ 2991808 h 6689084"/>
              <a:gd name="connsiteX1340" fmla="*/ 4614065 w 6689088"/>
              <a:gd name="connsiteY1340" fmla="*/ 2990356 h 6689084"/>
              <a:gd name="connsiteX1341" fmla="*/ 4621326 w 6689088"/>
              <a:gd name="connsiteY1341" fmla="*/ 2997617 h 6689084"/>
              <a:gd name="connsiteX1342" fmla="*/ 4614065 w 6689088"/>
              <a:gd name="connsiteY1342" fmla="*/ 3004879 h 6689084"/>
              <a:gd name="connsiteX1343" fmla="*/ 4606804 w 6689088"/>
              <a:gd name="connsiteY1343" fmla="*/ 2997617 h 6689084"/>
              <a:gd name="connsiteX1344" fmla="*/ 4614065 w 6689088"/>
              <a:gd name="connsiteY1344" fmla="*/ 2990356 h 6689084"/>
              <a:gd name="connsiteX1345" fmla="*/ 4768008 w 6689088"/>
              <a:gd name="connsiteY1345" fmla="*/ 2988537 h 6689084"/>
              <a:gd name="connsiteX1346" fmla="*/ 4777088 w 6689088"/>
              <a:gd name="connsiteY1346" fmla="*/ 2997613 h 6689084"/>
              <a:gd name="connsiteX1347" fmla="*/ 4768008 w 6689088"/>
              <a:gd name="connsiteY1347" fmla="*/ 3006693 h 6689084"/>
              <a:gd name="connsiteX1348" fmla="*/ 4758932 w 6689088"/>
              <a:gd name="connsiteY1348" fmla="*/ 2997613 h 6689084"/>
              <a:gd name="connsiteX1349" fmla="*/ 4768008 w 6689088"/>
              <a:gd name="connsiteY1349" fmla="*/ 2988537 h 6689084"/>
              <a:gd name="connsiteX1350" fmla="*/ 4921594 w 6689088"/>
              <a:gd name="connsiteY1350" fmla="*/ 2987447 h 6689084"/>
              <a:gd name="connsiteX1351" fmla="*/ 4931760 w 6689088"/>
              <a:gd name="connsiteY1351" fmla="*/ 2997613 h 6689084"/>
              <a:gd name="connsiteX1352" fmla="*/ 4921594 w 6689088"/>
              <a:gd name="connsiteY1352" fmla="*/ 3007780 h 6689084"/>
              <a:gd name="connsiteX1353" fmla="*/ 4911428 w 6689088"/>
              <a:gd name="connsiteY1353" fmla="*/ 2997613 h 6689084"/>
              <a:gd name="connsiteX1354" fmla="*/ 4921594 w 6689088"/>
              <a:gd name="connsiteY1354" fmla="*/ 2987447 h 6689084"/>
              <a:gd name="connsiteX1355" fmla="*/ 5075541 w 6689088"/>
              <a:gd name="connsiteY1355" fmla="*/ 2985633 h 6689084"/>
              <a:gd name="connsiteX1356" fmla="*/ 5087526 w 6689088"/>
              <a:gd name="connsiteY1356" fmla="*/ 2997613 h 6689084"/>
              <a:gd name="connsiteX1357" fmla="*/ 5075541 w 6689088"/>
              <a:gd name="connsiteY1357" fmla="*/ 3009594 h 6689084"/>
              <a:gd name="connsiteX1358" fmla="*/ 5063560 w 6689088"/>
              <a:gd name="connsiteY1358" fmla="*/ 2997613 h 6689084"/>
              <a:gd name="connsiteX1359" fmla="*/ 5075541 w 6689088"/>
              <a:gd name="connsiteY1359" fmla="*/ 2985633 h 6689084"/>
              <a:gd name="connsiteX1360" fmla="*/ 5229126 w 6689088"/>
              <a:gd name="connsiteY1360" fmla="*/ 2983818 h 6689084"/>
              <a:gd name="connsiteX1361" fmla="*/ 5242922 w 6689088"/>
              <a:gd name="connsiteY1361" fmla="*/ 2997613 h 6689084"/>
              <a:gd name="connsiteX1362" fmla="*/ 5229126 w 6689088"/>
              <a:gd name="connsiteY1362" fmla="*/ 3011413 h 6689084"/>
              <a:gd name="connsiteX1363" fmla="*/ 5215328 w 6689088"/>
              <a:gd name="connsiteY1363" fmla="*/ 2997613 h 6689084"/>
              <a:gd name="connsiteX1364" fmla="*/ 5229126 w 6689088"/>
              <a:gd name="connsiteY1364" fmla="*/ 2983818 h 6689084"/>
              <a:gd name="connsiteX1365" fmla="*/ 5383074 w 6689088"/>
              <a:gd name="connsiteY1365" fmla="*/ 2982366 h 6689084"/>
              <a:gd name="connsiteX1366" fmla="*/ 5398326 w 6689088"/>
              <a:gd name="connsiteY1366" fmla="*/ 2997613 h 6689084"/>
              <a:gd name="connsiteX1367" fmla="*/ 5383074 w 6689088"/>
              <a:gd name="connsiteY1367" fmla="*/ 3012865 h 6689084"/>
              <a:gd name="connsiteX1368" fmla="*/ 5367826 w 6689088"/>
              <a:gd name="connsiteY1368" fmla="*/ 2997613 h 6689084"/>
              <a:gd name="connsiteX1369" fmla="*/ 5383074 w 6689088"/>
              <a:gd name="connsiteY1369" fmla="*/ 2982366 h 6689084"/>
              <a:gd name="connsiteX1370" fmla="*/ 5536659 w 6689088"/>
              <a:gd name="connsiteY1370" fmla="*/ 2980551 h 6689084"/>
              <a:gd name="connsiteX1371" fmla="*/ 5553725 w 6689088"/>
              <a:gd name="connsiteY1371" fmla="*/ 2997617 h 6689084"/>
              <a:gd name="connsiteX1372" fmla="*/ 5536659 w 6689088"/>
              <a:gd name="connsiteY1372" fmla="*/ 3014683 h 6689084"/>
              <a:gd name="connsiteX1373" fmla="*/ 5519593 w 6689088"/>
              <a:gd name="connsiteY1373" fmla="*/ 2997617 h 6689084"/>
              <a:gd name="connsiteX1374" fmla="*/ 5536659 w 6689088"/>
              <a:gd name="connsiteY1374" fmla="*/ 2980551 h 6689084"/>
              <a:gd name="connsiteX1375" fmla="*/ 5690606 w 6689088"/>
              <a:gd name="connsiteY1375" fmla="*/ 2978371 h 6689084"/>
              <a:gd name="connsiteX1376" fmla="*/ 5709849 w 6689088"/>
              <a:gd name="connsiteY1376" fmla="*/ 2997613 h 6689084"/>
              <a:gd name="connsiteX1377" fmla="*/ 5690606 w 6689088"/>
              <a:gd name="connsiteY1377" fmla="*/ 3016856 h 6689084"/>
              <a:gd name="connsiteX1378" fmla="*/ 5671360 w 6689088"/>
              <a:gd name="connsiteY1378" fmla="*/ 2997613 h 6689084"/>
              <a:gd name="connsiteX1379" fmla="*/ 5690606 w 6689088"/>
              <a:gd name="connsiteY1379" fmla="*/ 2978371 h 6689084"/>
              <a:gd name="connsiteX1380" fmla="*/ 5844550 w 6689088"/>
              <a:gd name="connsiteY1380" fmla="*/ 2976195 h 6689084"/>
              <a:gd name="connsiteX1381" fmla="*/ 5865973 w 6689088"/>
              <a:gd name="connsiteY1381" fmla="*/ 2997617 h 6689084"/>
              <a:gd name="connsiteX1382" fmla="*/ 5844550 w 6689088"/>
              <a:gd name="connsiteY1382" fmla="*/ 3019036 h 6689084"/>
              <a:gd name="connsiteX1383" fmla="*/ 5823127 w 6689088"/>
              <a:gd name="connsiteY1383" fmla="*/ 2997617 h 6689084"/>
              <a:gd name="connsiteX1384" fmla="*/ 5844550 w 6689088"/>
              <a:gd name="connsiteY1384" fmla="*/ 2976195 h 6689084"/>
              <a:gd name="connsiteX1385" fmla="*/ 5998139 w 6689088"/>
              <a:gd name="connsiteY1385" fmla="*/ 2974742 h 6689084"/>
              <a:gd name="connsiteX1386" fmla="*/ 6021010 w 6689088"/>
              <a:gd name="connsiteY1386" fmla="*/ 2997617 h 6689084"/>
              <a:gd name="connsiteX1387" fmla="*/ 5998139 w 6689088"/>
              <a:gd name="connsiteY1387" fmla="*/ 3020489 h 6689084"/>
              <a:gd name="connsiteX1388" fmla="*/ 5975264 w 6689088"/>
              <a:gd name="connsiteY1388" fmla="*/ 2997617 h 6689084"/>
              <a:gd name="connsiteX1389" fmla="*/ 5998139 w 6689088"/>
              <a:gd name="connsiteY1389" fmla="*/ 2974742 h 6689084"/>
              <a:gd name="connsiteX1390" fmla="*/ 6152083 w 6689088"/>
              <a:gd name="connsiteY1390" fmla="*/ 2972562 h 6689084"/>
              <a:gd name="connsiteX1391" fmla="*/ 6177134 w 6689088"/>
              <a:gd name="connsiteY1391" fmla="*/ 2997613 h 6689084"/>
              <a:gd name="connsiteX1392" fmla="*/ 6152083 w 6689088"/>
              <a:gd name="connsiteY1392" fmla="*/ 3022669 h 6689084"/>
              <a:gd name="connsiteX1393" fmla="*/ 6127031 w 6689088"/>
              <a:gd name="connsiteY1393" fmla="*/ 2997613 h 6689084"/>
              <a:gd name="connsiteX1394" fmla="*/ 6152083 w 6689088"/>
              <a:gd name="connsiteY1394" fmla="*/ 2972562 h 6689084"/>
              <a:gd name="connsiteX1395" fmla="*/ 6305672 w 6689088"/>
              <a:gd name="connsiteY1395" fmla="*/ 2970385 h 6689084"/>
              <a:gd name="connsiteX1396" fmla="*/ 6332904 w 6689088"/>
              <a:gd name="connsiteY1396" fmla="*/ 2997617 h 6689084"/>
              <a:gd name="connsiteX1397" fmla="*/ 6305672 w 6689088"/>
              <a:gd name="connsiteY1397" fmla="*/ 3024846 h 6689084"/>
              <a:gd name="connsiteX1398" fmla="*/ 6278440 w 6689088"/>
              <a:gd name="connsiteY1398" fmla="*/ 2997617 h 6689084"/>
              <a:gd name="connsiteX1399" fmla="*/ 6305672 w 6689088"/>
              <a:gd name="connsiteY1399" fmla="*/ 2970385 h 6689084"/>
              <a:gd name="connsiteX1400" fmla="*/ 6459619 w 6689088"/>
              <a:gd name="connsiteY1400" fmla="*/ 2967843 h 6689084"/>
              <a:gd name="connsiteX1401" fmla="*/ 6489390 w 6689088"/>
              <a:gd name="connsiteY1401" fmla="*/ 2997613 h 6689084"/>
              <a:gd name="connsiteX1402" fmla="*/ 6459619 w 6689088"/>
              <a:gd name="connsiteY1402" fmla="*/ 3027388 h 6689084"/>
              <a:gd name="connsiteX1403" fmla="*/ 6429844 w 6689088"/>
              <a:gd name="connsiteY1403" fmla="*/ 2997613 h 6689084"/>
              <a:gd name="connsiteX1404" fmla="*/ 6459619 w 6689088"/>
              <a:gd name="connsiteY1404" fmla="*/ 2967843 h 6689084"/>
              <a:gd name="connsiteX1405" fmla="*/ 6613200 w 6689088"/>
              <a:gd name="connsiteY1405" fmla="*/ 2965666 h 6689084"/>
              <a:gd name="connsiteX1406" fmla="*/ 6645152 w 6689088"/>
              <a:gd name="connsiteY1406" fmla="*/ 2997617 h 6689084"/>
              <a:gd name="connsiteX1407" fmla="*/ 6613200 w 6689088"/>
              <a:gd name="connsiteY1407" fmla="*/ 3029569 h 6689084"/>
              <a:gd name="connsiteX1408" fmla="*/ 6581250 w 6689088"/>
              <a:gd name="connsiteY1408" fmla="*/ 2997617 h 6689084"/>
              <a:gd name="connsiteX1409" fmla="*/ 6613200 w 6689088"/>
              <a:gd name="connsiteY1409" fmla="*/ 2965666 h 6689084"/>
              <a:gd name="connsiteX1410" fmla="*/ 3537882 w 6689088"/>
              <a:gd name="connsiteY1410" fmla="*/ 2843666 h 6689084"/>
              <a:gd name="connsiteX1411" fmla="*/ 3538244 w 6689088"/>
              <a:gd name="connsiteY1411" fmla="*/ 2844028 h 6689084"/>
              <a:gd name="connsiteX1412" fmla="*/ 3537882 w 6689088"/>
              <a:gd name="connsiteY1412" fmla="*/ 2844390 h 6689084"/>
              <a:gd name="connsiteX1413" fmla="*/ 3537520 w 6689088"/>
              <a:gd name="connsiteY1413" fmla="*/ 2844028 h 6689084"/>
              <a:gd name="connsiteX1414" fmla="*/ 3537882 w 6689088"/>
              <a:gd name="connsiteY1414" fmla="*/ 2843666 h 6689084"/>
              <a:gd name="connsiteX1415" fmla="*/ 3076406 w 6689088"/>
              <a:gd name="connsiteY1415" fmla="*/ 2843666 h 6689084"/>
              <a:gd name="connsiteX1416" fmla="*/ 3076768 w 6689088"/>
              <a:gd name="connsiteY1416" fmla="*/ 2844028 h 6689084"/>
              <a:gd name="connsiteX1417" fmla="*/ 3076406 w 6689088"/>
              <a:gd name="connsiteY1417" fmla="*/ 2844390 h 6689084"/>
              <a:gd name="connsiteX1418" fmla="*/ 3076043 w 6689088"/>
              <a:gd name="connsiteY1418" fmla="*/ 2844028 h 6689084"/>
              <a:gd name="connsiteX1419" fmla="*/ 3076406 w 6689088"/>
              <a:gd name="connsiteY1419" fmla="*/ 2843666 h 6689084"/>
              <a:gd name="connsiteX1420" fmla="*/ 2922458 w 6689088"/>
              <a:gd name="connsiteY1420" fmla="*/ 2843666 h 6689084"/>
              <a:gd name="connsiteX1421" fmla="*/ 2922820 w 6689088"/>
              <a:gd name="connsiteY1421" fmla="*/ 2844028 h 6689084"/>
              <a:gd name="connsiteX1422" fmla="*/ 2922458 w 6689088"/>
              <a:gd name="connsiteY1422" fmla="*/ 2844390 h 6689084"/>
              <a:gd name="connsiteX1423" fmla="*/ 2922096 w 6689088"/>
              <a:gd name="connsiteY1423" fmla="*/ 2844028 h 6689084"/>
              <a:gd name="connsiteX1424" fmla="*/ 2922458 w 6689088"/>
              <a:gd name="connsiteY1424" fmla="*/ 2843666 h 6689084"/>
              <a:gd name="connsiteX1425" fmla="*/ 2768877 w 6689088"/>
              <a:gd name="connsiteY1425" fmla="*/ 2843304 h 6689084"/>
              <a:gd name="connsiteX1426" fmla="*/ 2769601 w 6689088"/>
              <a:gd name="connsiteY1426" fmla="*/ 2844032 h 6689084"/>
              <a:gd name="connsiteX1427" fmla="*/ 2768877 w 6689088"/>
              <a:gd name="connsiteY1427" fmla="*/ 2844756 h 6689084"/>
              <a:gd name="connsiteX1428" fmla="*/ 2768149 w 6689088"/>
              <a:gd name="connsiteY1428" fmla="*/ 2844032 h 6689084"/>
              <a:gd name="connsiteX1429" fmla="*/ 2768877 w 6689088"/>
              <a:gd name="connsiteY1429" fmla="*/ 2843304 h 6689084"/>
              <a:gd name="connsiteX1430" fmla="*/ 3691467 w 6689088"/>
              <a:gd name="connsiteY1430" fmla="*/ 2842580 h 6689084"/>
              <a:gd name="connsiteX1431" fmla="*/ 3692919 w 6689088"/>
              <a:gd name="connsiteY1431" fmla="*/ 2844032 h 6689084"/>
              <a:gd name="connsiteX1432" fmla="*/ 3691467 w 6689088"/>
              <a:gd name="connsiteY1432" fmla="*/ 2845485 h 6689084"/>
              <a:gd name="connsiteX1433" fmla="*/ 3690014 w 6689088"/>
              <a:gd name="connsiteY1433" fmla="*/ 2844032 h 6689084"/>
              <a:gd name="connsiteX1434" fmla="*/ 3691467 w 6689088"/>
              <a:gd name="connsiteY1434" fmla="*/ 2842580 h 6689084"/>
              <a:gd name="connsiteX1435" fmla="*/ 3845418 w 6689088"/>
              <a:gd name="connsiteY1435" fmla="*/ 2841852 h 6689084"/>
              <a:gd name="connsiteX1436" fmla="*/ 3847595 w 6689088"/>
              <a:gd name="connsiteY1436" fmla="*/ 2844032 h 6689084"/>
              <a:gd name="connsiteX1437" fmla="*/ 3845418 w 6689088"/>
              <a:gd name="connsiteY1437" fmla="*/ 2846209 h 6689084"/>
              <a:gd name="connsiteX1438" fmla="*/ 3843238 w 6689088"/>
              <a:gd name="connsiteY1438" fmla="*/ 2844032 h 6689084"/>
              <a:gd name="connsiteX1439" fmla="*/ 3845418 w 6689088"/>
              <a:gd name="connsiteY1439" fmla="*/ 2841852 h 6689084"/>
              <a:gd name="connsiteX1440" fmla="*/ 3999000 w 6689088"/>
              <a:gd name="connsiteY1440" fmla="*/ 2840761 h 6689084"/>
              <a:gd name="connsiteX1441" fmla="*/ 4002270 w 6689088"/>
              <a:gd name="connsiteY1441" fmla="*/ 2844028 h 6689084"/>
              <a:gd name="connsiteX1442" fmla="*/ 3999000 w 6689088"/>
              <a:gd name="connsiteY1442" fmla="*/ 2847299 h 6689084"/>
              <a:gd name="connsiteX1443" fmla="*/ 3995733 w 6689088"/>
              <a:gd name="connsiteY1443" fmla="*/ 2844028 h 6689084"/>
              <a:gd name="connsiteX1444" fmla="*/ 3999000 w 6689088"/>
              <a:gd name="connsiteY1444" fmla="*/ 2840761 h 6689084"/>
              <a:gd name="connsiteX1445" fmla="*/ 4152947 w 6689088"/>
              <a:gd name="connsiteY1445" fmla="*/ 2839309 h 6689084"/>
              <a:gd name="connsiteX1446" fmla="*/ 4157304 w 6689088"/>
              <a:gd name="connsiteY1446" fmla="*/ 2843666 h 6689084"/>
              <a:gd name="connsiteX1447" fmla="*/ 4152947 w 6689088"/>
              <a:gd name="connsiteY1447" fmla="*/ 2848023 h 6689084"/>
              <a:gd name="connsiteX1448" fmla="*/ 4148590 w 6689088"/>
              <a:gd name="connsiteY1448" fmla="*/ 2843666 h 6689084"/>
              <a:gd name="connsiteX1449" fmla="*/ 4152947 w 6689088"/>
              <a:gd name="connsiteY1449" fmla="*/ 2839309 h 6689084"/>
              <a:gd name="connsiteX1450" fmla="*/ 4306532 w 6689088"/>
              <a:gd name="connsiteY1450" fmla="*/ 2838223 h 6689084"/>
              <a:gd name="connsiteX1451" fmla="*/ 4312342 w 6689088"/>
              <a:gd name="connsiteY1451" fmla="*/ 2844032 h 6689084"/>
              <a:gd name="connsiteX1452" fmla="*/ 4306532 w 6689088"/>
              <a:gd name="connsiteY1452" fmla="*/ 2849841 h 6689084"/>
              <a:gd name="connsiteX1453" fmla="*/ 4300723 w 6689088"/>
              <a:gd name="connsiteY1453" fmla="*/ 2844032 h 6689084"/>
              <a:gd name="connsiteX1454" fmla="*/ 4306532 w 6689088"/>
              <a:gd name="connsiteY1454" fmla="*/ 2838223 h 6689084"/>
              <a:gd name="connsiteX1455" fmla="*/ 4460480 w 6689088"/>
              <a:gd name="connsiteY1455" fmla="*/ 2836770 h 6689084"/>
              <a:gd name="connsiteX1456" fmla="*/ 4467742 w 6689088"/>
              <a:gd name="connsiteY1456" fmla="*/ 2844032 h 6689084"/>
              <a:gd name="connsiteX1457" fmla="*/ 4460480 w 6689088"/>
              <a:gd name="connsiteY1457" fmla="*/ 2851294 h 6689084"/>
              <a:gd name="connsiteX1458" fmla="*/ 4453218 w 6689088"/>
              <a:gd name="connsiteY1458" fmla="*/ 2844032 h 6689084"/>
              <a:gd name="connsiteX1459" fmla="*/ 4460480 w 6689088"/>
              <a:gd name="connsiteY1459" fmla="*/ 2836770 h 6689084"/>
              <a:gd name="connsiteX1460" fmla="*/ 4614061 w 6689088"/>
              <a:gd name="connsiteY1460" fmla="*/ 2834590 h 6689084"/>
              <a:gd name="connsiteX1461" fmla="*/ 4623141 w 6689088"/>
              <a:gd name="connsiteY1461" fmla="*/ 2843666 h 6689084"/>
              <a:gd name="connsiteX1462" fmla="*/ 4614061 w 6689088"/>
              <a:gd name="connsiteY1462" fmla="*/ 2852746 h 6689084"/>
              <a:gd name="connsiteX1463" fmla="*/ 4604985 w 6689088"/>
              <a:gd name="connsiteY1463" fmla="*/ 2843666 h 6689084"/>
              <a:gd name="connsiteX1464" fmla="*/ 4614061 w 6689088"/>
              <a:gd name="connsiteY1464" fmla="*/ 2834590 h 6689084"/>
              <a:gd name="connsiteX1465" fmla="*/ 4768012 w 6689088"/>
              <a:gd name="connsiteY1465" fmla="*/ 2833866 h 6689084"/>
              <a:gd name="connsiteX1466" fmla="*/ 4778178 w 6689088"/>
              <a:gd name="connsiteY1466" fmla="*/ 2844032 h 6689084"/>
              <a:gd name="connsiteX1467" fmla="*/ 4768012 w 6689088"/>
              <a:gd name="connsiteY1467" fmla="*/ 2854198 h 6689084"/>
              <a:gd name="connsiteX1468" fmla="*/ 4757846 w 6689088"/>
              <a:gd name="connsiteY1468" fmla="*/ 2844032 h 6689084"/>
              <a:gd name="connsiteX1469" fmla="*/ 4768012 w 6689088"/>
              <a:gd name="connsiteY1469" fmla="*/ 2833866 h 6689084"/>
              <a:gd name="connsiteX1470" fmla="*/ 4921594 w 6689088"/>
              <a:gd name="connsiteY1470" fmla="*/ 2831685 h 6689084"/>
              <a:gd name="connsiteX1471" fmla="*/ 4933578 w 6689088"/>
              <a:gd name="connsiteY1471" fmla="*/ 2843666 h 6689084"/>
              <a:gd name="connsiteX1472" fmla="*/ 4921594 w 6689088"/>
              <a:gd name="connsiteY1472" fmla="*/ 2855651 h 6689084"/>
              <a:gd name="connsiteX1473" fmla="*/ 4909613 w 6689088"/>
              <a:gd name="connsiteY1473" fmla="*/ 2843666 h 6689084"/>
              <a:gd name="connsiteX1474" fmla="*/ 4921594 w 6689088"/>
              <a:gd name="connsiteY1474" fmla="*/ 2831685 h 6689084"/>
              <a:gd name="connsiteX1475" fmla="*/ 5075545 w 6689088"/>
              <a:gd name="connsiteY1475" fmla="*/ 2829871 h 6689084"/>
              <a:gd name="connsiteX1476" fmla="*/ 5089340 w 6689088"/>
              <a:gd name="connsiteY1476" fmla="*/ 2843666 h 6689084"/>
              <a:gd name="connsiteX1477" fmla="*/ 5075545 w 6689088"/>
              <a:gd name="connsiteY1477" fmla="*/ 2857465 h 6689084"/>
              <a:gd name="connsiteX1478" fmla="*/ 5061746 w 6689088"/>
              <a:gd name="connsiteY1478" fmla="*/ 2843666 h 6689084"/>
              <a:gd name="connsiteX1479" fmla="*/ 5075545 w 6689088"/>
              <a:gd name="connsiteY1479" fmla="*/ 2829871 h 6689084"/>
              <a:gd name="connsiteX1480" fmla="*/ 5229126 w 6689088"/>
              <a:gd name="connsiteY1480" fmla="*/ 2828781 h 6689084"/>
              <a:gd name="connsiteX1481" fmla="*/ 5244378 w 6689088"/>
              <a:gd name="connsiteY1481" fmla="*/ 2844032 h 6689084"/>
              <a:gd name="connsiteX1482" fmla="*/ 5229126 w 6689088"/>
              <a:gd name="connsiteY1482" fmla="*/ 2859280 h 6689084"/>
              <a:gd name="connsiteX1483" fmla="*/ 5213879 w 6689088"/>
              <a:gd name="connsiteY1483" fmla="*/ 2844032 h 6689084"/>
              <a:gd name="connsiteX1484" fmla="*/ 5229126 w 6689088"/>
              <a:gd name="connsiteY1484" fmla="*/ 2828781 h 6689084"/>
              <a:gd name="connsiteX1485" fmla="*/ 5383074 w 6689088"/>
              <a:gd name="connsiteY1485" fmla="*/ 2826966 h 6689084"/>
              <a:gd name="connsiteX1486" fmla="*/ 5400140 w 6689088"/>
              <a:gd name="connsiteY1486" fmla="*/ 2844032 h 6689084"/>
              <a:gd name="connsiteX1487" fmla="*/ 5383074 w 6689088"/>
              <a:gd name="connsiteY1487" fmla="*/ 2861098 h 6689084"/>
              <a:gd name="connsiteX1488" fmla="*/ 5366008 w 6689088"/>
              <a:gd name="connsiteY1488" fmla="*/ 2844032 h 6689084"/>
              <a:gd name="connsiteX1489" fmla="*/ 5383074 w 6689088"/>
              <a:gd name="connsiteY1489" fmla="*/ 2826966 h 6689084"/>
              <a:gd name="connsiteX1490" fmla="*/ 5536659 w 6689088"/>
              <a:gd name="connsiteY1490" fmla="*/ 2824790 h 6689084"/>
              <a:gd name="connsiteX1491" fmla="*/ 5555902 w 6689088"/>
              <a:gd name="connsiteY1491" fmla="*/ 2844032 h 6689084"/>
              <a:gd name="connsiteX1492" fmla="*/ 5536659 w 6689088"/>
              <a:gd name="connsiteY1492" fmla="*/ 2863279 h 6689084"/>
              <a:gd name="connsiteX1493" fmla="*/ 5517413 w 6689088"/>
              <a:gd name="connsiteY1493" fmla="*/ 2844032 h 6689084"/>
              <a:gd name="connsiteX1494" fmla="*/ 5536659 w 6689088"/>
              <a:gd name="connsiteY1494" fmla="*/ 2824790 h 6689084"/>
              <a:gd name="connsiteX1495" fmla="*/ 5690602 w 6689088"/>
              <a:gd name="connsiteY1495" fmla="*/ 2822609 h 6689084"/>
              <a:gd name="connsiteX1496" fmla="*/ 5712026 w 6689088"/>
              <a:gd name="connsiteY1496" fmla="*/ 2844032 h 6689084"/>
              <a:gd name="connsiteX1497" fmla="*/ 5690602 w 6689088"/>
              <a:gd name="connsiteY1497" fmla="*/ 2865451 h 6689084"/>
              <a:gd name="connsiteX1498" fmla="*/ 5669180 w 6689088"/>
              <a:gd name="connsiteY1498" fmla="*/ 2844032 h 6689084"/>
              <a:gd name="connsiteX1499" fmla="*/ 5690602 w 6689088"/>
              <a:gd name="connsiteY1499" fmla="*/ 2822609 h 6689084"/>
              <a:gd name="connsiteX1500" fmla="*/ 5844554 w 6689088"/>
              <a:gd name="connsiteY1500" fmla="*/ 2821157 h 6689084"/>
              <a:gd name="connsiteX1501" fmla="*/ 5867429 w 6689088"/>
              <a:gd name="connsiteY1501" fmla="*/ 2844032 h 6689084"/>
              <a:gd name="connsiteX1502" fmla="*/ 5844554 w 6689088"/>
              <a:gd name="connsiteY1502" fmla="*/ 2866903 h 6689084"/>
              <a:gd name="connsiteX1503" fmla="*/ 5821678 w 6689088"/>
              <a:gd name="connsiteY1503" fmla="*/ 2844032 h 6689084"/>
              <a:gd name="connsiteX1504" fmla="*/ 5844554 w 6689088"/>
              <a:gd name="connsiteY1504" fmla="*/ 2821157 h 6689084"/>
              <a:gd name="connsiteX1505" fmla="*/ 5998136 w 6689088"/>
              <a:gd name="connsiteY1505" fmla="*/ 2818980 h 6689084"/>
              <a:gd name="connsiteX1506" fmla="*/ 6023187 w 6689088"/>
              <a:gd name="connsiteY1506" fmla="*/ 2844032 h 6689084"/>
              <a:gd name="connsiteX1507" fmla="*/ 5998136 w 6689088"/>
              <a:gd name="connsiteY1507" fmla="*/ 2869088 h 6689084"/>
              <a:gd name="connsiteX1508" fmla="*/ 5973084 w 6689088"/>
              <a:gd name="connsiteY1508" fmla="*/ 2844032 h 6689084"/>
              <a:gd name="connsiteX1509" fmla="*/ 5998136 w 6689088"/>
              <a:gd name="connsiteY1509" fmla="*/ 2818980 h 6689084"/>
              <a:gd name="connsiteX1510" fmla="*/ 6152086 w 6689088"/>
              <a:gd name="connsiteY1510" fmla="*/ 2816800 h 6689084"/>
              <a:gd name="connsiteX1511" fmla="*/ 6179315 w 6689088"/>
              <a:gd name="connsiteY1511" fmla="*/ 2844032 h 6689084"/>
              <a:gd name="connsiteX1512" fmla="*/ 6152086 w 6689088"/>
              <a:gd name="connsiteY1512" fmla="*/ 2871264 h 6689084"/>
              <a:gd name="connsiteX1513" fmla="*/ 6124854 w 6689088"/>
              <a:gd name="connsiteY1513" fmla="*/ 2844032 h 6689084"/>
              <a:gd name="connsiteX1514" fmla="*/ 6152086 w 6689088"/>
              <a:gd name="connsiteY1514" fmla="*/ 2816800 h 6689084"/>
              <a:gd name="connsiteX1515" fmla="*/ 6305672 w 6689088"/>
              <a:gd name="connsiteY1515" fmla="*/ 2814257 h 6689084"/>
              <a:gd name="connsiteX1516" fmla="*/ 6335443 w 6689088"/>
              <a:gd name="connsiteY1516" fmla="*/ 2844032 h 6689084"/>
              <a:gd name="connsiteX1517" fmla="*/ 6305672 w 6689088"/>
              <a:gd name="connsiteY1517" fmla="*/ 2873803 h 6689084"/>
              <a:gd name="connsiteX1518" fmla="*/ 6275897 w 6689088"/>
              <a:gd name="connsiteY1518" fmla="*/ 2844032 h 6689084"/>
              <a:gd name="connsiteX1519" fmla="*/ 6305672 w 6689088"/>
              <a:gd name="connsiteY1519" fmla="*/ 2814257 h 6689084"/>
              <a:gd name="connsiteX1520" fmla="*/ 6459616 w 6689088"/>
              <a:gd name="connsiteY1520" fmla="*/ 2812081 h 6689084"/>
              <a:gd name="connsiteX1521" fmla="*/ 6491567 w 6689088"/>
              <a:gd name="connsiteY1521" fmla="*/ 2844032 h 6689084"/>
              <a:gd name="connsiteX1522" fmla="*/ 6459616 w 6689088"/>
              <a:gd name="connsiteY1522" fmla="*/ 2875983 h 6689084"/>
              <a:gd name="connsiteX1523" fmla="*/ 6427664 w 6689088"/>
              <a:gd name="connsiteY1523" fmla="*/ 2844032 h 6689084"/>
              <a:gd name="connsiteX1524" fmla="*/ 6459616 w 6689088"/>
              <a:gd name="connsiteY1524" fmla="*/ 2812081 h 6689084"/>
              <a:gd name="connsiteX1525" fmla="*/ 6613200 w 6689088"/>
              <a:gd name="connsiteY1525" fmla="*/ 2810266 h 6689084"/>
              <a:gd name="connsiteX1526" fmla="*/ 6646966 w 6689088"/>
              <a:gd name="connsiteY1526" fmla="*/ 2844032 h 6689084"/>
              <a:gd name="connsiteX1527" fmla="*/ 6613200 w 6689088"/>
              <a:gd name="connsiteY1527" fmla="*/ 2877802 h 6689084"/>
              <a:gd name="connsiteX1528" fmla="*/ 6579435 w 6689088"/>
              <a:gd name="connsiteY1528" fmla="*/ 2844032 h 6689084"/>
              <a:gd name="connsiteX1529" fmla="*/ 6613200 w 6689088"/>
              <a:gd name="connsiteY1529" fmla="*/ 2810266 h 6689084"/>
              <a:gd name="connsiteX1530" fmla="*/ 3383934 w 6689088"/>
              <a:gd name="connsiteY1530" fmla="*/ 2689722 h 6689084"/>
              <a:gd name="connsiteX1531" fmla="*/ 3384296 w 6689088"/>
              <a:gd name="connsiteY1531" fmla="*/ 2690085 h 6689084"/>
              <a:gd name="connsiteX1532" fmla="*/ 3383934 w 6689088"/>
              <a:gd name="connsiteY1532" fmla="*/ 2690447 h 6689084"/>
              <a:gd name="connsiteX1533" fmla="*/ 3383572 w 6689088"/>
              <a:gd name="connsiteY1533" fmla="*/ 2690085 h 6689084"/>
              <a:gd name="connsiteX1534" fmla="*/ 3383934 w 6689088"/>
              <a:gd name="connsiteY1534" fmla="*/ 2689722 h 6689084"/>
              <a:gd name="connsiteX1535" fmla="*/ 2922458 w 6689088"/>
              <a:gd name="connsiteY1535" fmla="*/ 2689722 h 6689084"/>
              <a:gd name="connsiteX1536" fmla="*/ 2922820 w 6689088"/>
              <a:gd name="connsiteY1536" fmla="*/ 2690085 h 6689084"/>
              <a:gd name="connsiteX1537" fmla="*/ 2922458 w 6689088"/>
              <a:gd name="connsiteY1537" fmla="*/ 2690447 h 6689084"/>
              <a:gd name="connsiteX1538" fmla="*/ 2922096 w 6689088"/>
              <a:gd name="connsiteY1538" fmla="*/ 2690085 h 6689084"/>
              <a:gd name="connsiteX1539" fmla="*/ 2922458 w 6689088"/>
              <a:gd name="connsiteY1539" fmla="*/ 2689722 h 6689084"/>
              <a:gd name="connsiteX1540" fmla="*/ 2768873 w 6689088"/>
              <a:gd name="connsiteY1540" fmla="*/ 2689722 h 6689084"/>
              <a:gd name="connsiteX1541" fmla="*/ 2769235 w 6689088"/>
              <a:gd name="connsiteY1541" fmla="*/ 2690085 h 6689084"/>
              <a:gd name="connsiteX1542" fmla="*/ 2768873 w 6689088"/>
              <a:gd name="connsiteY1542" fmla="*/ 2690447 h 6689084"/>
              <a:gd name="connsiteX1543" fmla="*/ 2768511 w 6689088"/>
              <a:gd name="connsiteY1543" fmla="*/ 2690085 h 6689084"/>
              <a:gd name="connsiteX1544" fmla="*/ 2768873 w 6689088"/>
              <a:gd name="connsiteY1544" fmla="*/ 2689722 h 6689084"/>
              <a:gd name="connsiteX1545" fmla="*/ 2614925 w 6689088"/>
              <a:gd name="connsiteY1545" fmla="*/ 2689357 h 6689084"/>
              <a:gd name="connsiteX1546" fmla="*/ 2615654 w 6689088"/>
              <a:gd name="connsiteY1546" fmla="*/ 2690081 h 6689084"/>
              <a:gd name="connsiteX1547" fmla="*/ 2614925 w 6689088"/>
              <a:gd name="connsiteY1547" fmla="*/ 2690809 h 6689084"/>
              <a:gd name="connsiteX1548" fmla="*/ 2614201 w 6689088"/>
              <a:gd name="connsiteY1548" fmla="*/ 2690081 h 6689084"/>
              <a:gd name="connsiteX1549" fmla="*/ 2614925 w 6689088"/>
              <a:gd name="connsiteY1549" fmla="*/ 2689357 h 6689084"/>
              <a:gd name="connsiteX1550" fmla="*/ 3537886 w 6689088"/>
              <a:gd name="connsiteY1550" fmla="*/ 2688633 h 6689084"/>
              <a:gd name="connsiteX1551" fmla="*/ 3539338 w 6689088"/>
              <a:gd name="connsiteY1551" fmla="*/ 2690085 h 6689084"/>
              <a:gd name="connsiteX1552" fmla="*/ 3537886 w 6689088"/>
              <a:gd name="connsiteY1552" fmla="*/ 2691537 h 6689084"/>
              <a:gd name="connsiteX1553" fmla="*/ 3536433 w 6689088"/>
              <a:gd name="connsiteY1553" fmla="*/ 2690085 h 6689084"/>
              <a:gd name="connsiteX1554" fmla="*/ 3537886 w 6689088"/>
              <a:gd name="connsiteY1554" fmla="*/ 2688633 h 6689084"/>
              <a:gd name="connsiteX1555" fmla="*/ 3691471 w 6689088"/>
              <a:gd name="connsiteY1555" fmla="*/ 2687904 h 6689084"/>
              <a:gd name="connsiteX1556" fmla="*/ 3693647 w 6689088"/>
              <a:gd name="connsiteY1556" fmla="*/ 2690081 h 6689084"/>
              <a:gd name="connsiteX1557" fmla="*/ 3691471 w 6689088"/>
              <a:gd name="connsiteY1557" fmla="*/ 2692261 h 6689084"/>
              <a:gd name="connsiteX1558" fmla="*/ 3689290 w 6689088"/>
              <a:gd name="connsiteY1558" fmla="*/ 2690081 h 6689084"/>
              <a:gd name="connsiteX1559" fmla="*/ 3691471 w 6689088"/>
              <a:gd name="connsiteY1559" fmla="*/ 2687904 h 6689084"/>
              <a:gd name="connsiteX1560" fmla="*/ 3845414 w 6689088"/>
              <a:gd name="connsiteY1560" fmla="*/ 2686818 h 6689084"/>
              <a:gd name="connsiteX1561" fmla="*/ 3848681 w 6689088"/>
              <a:gd name="connsiteY1561" fmla="*/ 2690085 h 6689084"/>
              <a:gd name="connsiteX1562" fmla="*/ 3845414 w 6689088"/>
              <a:gd name="connsiteY1562" fmla="*/ 2693355 h 6689084"/>
              <a:gd name="connsiteX1563" fmla="*/ 3842148 w 6689088"/>
              <a:gd name="connsiteY1563" fmla="*/ 2690085 h 6689084"/>
              <a:gd name="connsiteX1564" fmla="*/ 3845414 w 6689088"/>
              <a:gd name="connsiteY1564" fmla="*/ 2686818 h 6689084"/>
              <a:gd name="connsiteX1565" fmla="*/ 3999000 w 6689088"/>
              <a:gd name="connsiteY1565" fmla="*/ 2685728 h 6689084"/>
              <a:gd name="connsiteX1566" fmla="*/ 4003356 w 6689088"/>
              <a:gd name="connsiteY1566" fmla="*/ 2690085 h 6689084"/>
              <a:gd name="connsiteX1567" fmla="*/ 3999000 w 6689088"/>
              <a:gd name="connsiteY1567" fmla="*/ 2694442 h 6689084"/>
              <a:gd name="connsiteX1568" fmla="*/ 3994642 w 6689088"/>
              <a:gd name="connsiteY1568" fmla="*/ 2690085 h 6689084"/>
              <a:gd name="connsiteX1569" fmla="*/ 3999000 w 6689088"/>
              <a:gd name="connsiteY1569" fmla="*/ 2685728 h 6689084"/>
              <a:gd name="connsiteX1570" fmla="*/ 4152947 w 6689088"/>
              <a:gd name="connsiteY1570" fmla="*/ 2684275 h 6689084"/>
              <a:gd name="connsiteX1571" fmla="*/ 4158756 w 6689088"/>
              <a:gd name="connsiteY1571" fmla="*/ 2690085 h 6689084"/>
              <a:gd name="connsiteX1572" fmla="*/ 4152947 w 6689088"/>
              <a:gd name="connsiteY1572" fmla="*/ 2695894 h 6689084"/>
              <a:gd name="connsiteX1573" fmla="*/ 4147138 w 6689088"/>
              <a:gd name="connsiteY1573" fmla="*/ 2690085 h 6689084"/>
              <a:gd name="connsiteX1574" fmla="*/ 4152947 w 6689088"/>
              <a:gd name="connsiteY1574" fmla="*/ 2684275 h 6689084"/>
              <a:gd name="connsiteX1575" fmla="*/ 4306532 w 6689088"/>
              <a:gd name="connsiteY1575" fmla="*/ 2682823 h 6689084"/>
              <a:gd name="connsiteX1576" fmla="*/ 4313794 w 6689088"/>
              <a:gd name="connsiteY1576" fmla="*/ 2690085 h 6689084"/>
              <a:gd name="connsiteX1577" fmla="*/ 4306532 w 6689088"/>
              <a:gd name="connsiteY1577" fmla="*/ 2697346 h 6689084"/>
              <a:gd name="connsiteX1578" fmla="*/ 4299270 w 6689088"/>
              <a:gd name="connsiteY1578" fmla="*/ 2690085 h 6689084"/>
              <a:gd name="connsiteX1579" fmla="*/ 4306532 w 6689088"/>
              <a:gd name="connsiteY1579" fmla="*/ 2682823 h 6689084"/>
              <a:gd name="connsiteX1580" fmla="*/ 4460480 w 6689088"/>
              <a:gd name="connsiteY1580" fmla="*/ 2681005 h 6689084"/>
              <a:gd name="connsiteX1581" fmla="*/ 4469560 w 6689088"/>
              <a:gd name="connsiteY1581" fmla="*/ 2690081 h 6689084"/>
              <a:gd name="connsiteX1582" fmla="*/ 4460480 w 6689088"/>
              <a:gd name="connsiteY1582" fmla="*/ 2699161 h 6689084"/>
              <a:gd name="connsiteX1583" fmla="*/ 4451404 w 6689088"/>
              <a:gd name="connsiteY1583" fmla="*/ 2690081 h 6689084"/>
              <a:gd name="connsiteX1584" fmla="*/ 4460480 w 6689088"/>
              <a:gd name="connsiteY1584" fmla="*/ 2681005 h 6689084"/>
              <a:gd name="connsiteX1585" fmla="*/ 4614061 w 6689088"/>
              <a:gd name="connsiteY1585" fmla="*/ 2679918 h 6689084"/>
              <a:gd name="connsiteX1586" fmla="*/ 4624228 w 6689088"/>
              <a:gd name="connsiteY1586" fmla="*/ 2690085 h 6689084"/>
              <a:gd name="connsiteX1587" fmla="*/ 4614061 w 6689088"/>
              <a:gd name="connsiteY1587" fmla="*/ 2700251 h 6689084"/>
              <a:gd name="connsiteX1588" fmla="*/ 4603895 w 6689088"/>
              <a:gd name="connsiteY1588" fmla="*/ 2690085 h 6689084"/>
              <a:gd name="connsiteX1589" fmla="*/ 4614061 w 6689088"/>
              <a:gd name="connsiteY1589" fmla="*/ 2679918 h 6689084"/>
              <a:gd name="connsiteX1590" fmla="*/ 4768008 w 6689088"/>
              <a:gd name="connsiteY1590" fmla="*/ 2678104 h 6689084"/>
              <a:gd name="connsiteX1591" fmla="*/ 4779993 w 6689088"/>
              <a:gd name="connsiteY1591" fmla="*/ 2690085 h 6689084"/>
              <a:gd name="connsiteX1592" fmla="*/ 4768008 w 6689088"/>
              <a:gd name="connsiteY1592" fmla="*/ 2702065 h 6689084"/>
              <a:gd name="connsiteX1593" fmla="*/ 4756028 w 6689088"/>
              <a:gd name="connsiteY1593" fmla="*/ 2690085 h 6689084"/>
              <a:gd name="connsiteX1594" fmla="*/ 4768008 w 6689088"/>
              <a:gd name="connsiteY1594" fmla="*/ 2678104 h 6689084"/>
              <a:gd name="connsiteX1595" fmla="*/ 4921598 w 6689088"/>
              <a:gd name="connsiteY1595" fmla="*/ 2676286 h 6689084"/>
              <a:gd name="connsiteX1596" fmla="*/ 4935393 w 6689088"/>
              <a:gd name="connsiteY1596" fmla="*/ 2690081 h 6689084"/>
              <a:gd name="connsiteX1597" fmla="*/ 4921598 w 6689088"/>
              <a:gd name="connsiteY1597" fmla="*/ 2703880 h 6689084"/>
              <a:gd name="connsiteX1598" fmla="*/ 4907798 w 6689088"/>
              <a:gd name="connsiteY1598" fmla="*/ 2690081 h 6689084"/>
              <a:gd name="connsiteX1599" fmla="*/ 4921598 w 6689088"/>
              <a:gd name="connsiteY1599" fmla="*/ 2676286 h 6689084"/>
              <a:gd name="connsiteX1600" fmla="*/ 5075545 w 6689088"/>
              <a:gd name="connsiteY1600" fmla="*/ 2674833 h 6689084"/>
              <a:gd name="connsiteX1601" fmla="*/ 5090792 w 6689088"/>
              <a:gd name="connsiteY1601" fmla="*/ 2690081 h 6689084"/>
              <a:gd name="connsiteX1602" fmla="*/ 5075545 w 6689088"/>
              <a:gd name="connsiteY1602" fmla="*/ 2705332 h 6689084"/>
              <a:gd name="connsiteX1603" fmla="*/ 5060294 w 6689088"/>
              <a:gd name="connsiteY1603" fmla="*/ 2690081 h 6689084"/>
              <a:gd name="connsiteX1604" fmla="*/ 5075545 w 6689088"/>
              <a:gd name="connsiteY1604" fmla="*/ 2674833 h 6689084"/>
              <a:gd name="connsiteX1605" fmla="*/ 5229126 w 6689088"/>
              <a:gd name="connsiteY1605" fmla="*/ 2673019 h 6689084"/>
              <a:gd name="connsiteX1606" fmla="*/ 5246192 w 6689088"/>
              <a:gd name="connsiteY1606" fmla="*/ 2690085 h 6689084"/>
              <a:gd name="connsiteX1607" fmla="*/ 5229126 w 6689088"/>
              <a:gd name="connsiteY1607" fmla="*/ 2707147 h 6689084"/>
              <a:gd name="connsiteX1608" fmla="*/ 5212060 w 6689088"/>
              <a:gd name="connsiteY1608" fmla="*/ 2690085 h 6689084"/>
              <a:gd name="connsiteX1609" fmla="*/ 5229126 w 6689088"/>
              <a:gd name="connsiteY1609" fmla="*/ 2673019 h 6689084"/>
              <a:gd name="connsiteX1610" fmla="*/ 5383074 w 6689088"/>
              <a:gd name="connsiteY1610" fmla="*/ 2670842 h 6689084"/>
              <a:gd name="connsiteX1611" fmla="*/ 5402320 w 6689088"/>
              <a:gd name="connsiteY1611" fmla="*/ 2690085 h 6689084"/>
              <a:gd name="connsiteX1612" fmla="*/ 5383074 w 6689088"/>
              <a:gd name="connsiteY1612" fmla="*/ 2709327 h 6689084"/>
              <a:gd name="connsiteX1613" fmla="*/ 5363832 w 6689088"/>
              <a:gd name="connsiteY1613" fmla="*/ 2690085 h 6689084"/>
              <a:gd name="connsiteX1614" fmla="*/ 5383074 w 6689088"/>
              <a:gd name="connsiteY1614" fmla="*/ 2670842 h 6689084"/>
              <a:gd name="connsiteX1615" fmla="*/ 5536656 w 6689088"/>
              <a:gd name="connsiteY1615" fmla="*/ 2668662 h 6689084"/>
              <a:gd name="connsiteX1616" fmla="*/ 5558078 w 6689088"/>
              <a:gd name="connsiteY1616" fmla="*/ 2690085 h 6689084"/>
              <a:gd name="connsiteX1617" fmla="*/ 5536656 w 6689088"/>
              <a:gd name="connsiteY1617" fmla="*/ 2711504 h 6689084"/>
              <a:gd name="connsiteX1618" fmla="*/ 5515232 w 6689088"/>
              <a:gd name="connsiteY1618" fmla="*/ 2690085 h 6689084"/>
              <a:gd name="connsiteX1619" fmla="*/ 5536656 w 6689088"/>
              <a:gd name="connsiteY1619" fmla="*/ 2668662 h 6689084"/>
              <a:gd name="connsiteX1620" fmla="*/ 5690606 w 6689088"/>
              <a:gd name="connsiteY1620" fmla="*/ 2667209 h 6689084"/>
              <a:gd name="connsiteX1621" fmla="*/ 5713482 w 6689088"/>
              <a:gd name="connsiteY1621" fmla="*/ 2690085 h 6689084"/>
              <a:gd name="connsiteX1622" fmla="*/ 5690606 w 6689088"/>
              <a:gd name="connsiteY1622" fmla="*/ 2712956 h 6689084"/>
              <a:gd name="connsiteX1623" fmla="*/ 5667732 w 6689088"/>
              <a:gd name="connsiteY1623" fmla="*/ 2690085 h 6689084"/>
              <a:gd name="connsiteX1624" fmla="*/ 5690606 w 6689088"/>
              <a:gd name="connsiteY1624" fmla="*/ 2667209 h 6689084"/>
              <a:gd name="connsiteX1625" fmla="*/ 5844550 w 6689088"/>
              <a:gd name="connsiteY1625" fmla="*/ 2665033 h 6689084"/>
              <a:gd name="connsiteX1626" fmla="*/ 5869606 w 6689088"/>
              <a:gd name="connsiteY1626" fmla="*/ 2690085 h 6689084"/>
              <a:gd name="connsiteX1627" fmla="*/ 5844550 w 6689088"/>
              <a:gd name="connsiteY1627" fmla="*/ 2715136 h 6689084"/>
              <a:gd name="connsiteX1628" fmla="*/ 5819498 w 6689088"/>
              <a:gd name="connsiteY1628" fmla="*/ 2690085 h 6689084"/>
              <a:gd name="connsiteX1629" fmla="*/ 5844550 w 6689088"/>
              <a:gd name="connsiteY1629" fmla="*/ 2665033 h 6689084"/>
              <a:gd name="connsiteX1630" fmla="*/ 5998139 w 6689088"/>
              <a:gd name="connsiteY1630" fmla="*/ 2662852 h 6689084"/>
              <a:gd name="connsiteX1631" fmla="*/ 6025372 w 6689088"/>
              <a:gd name="connsiteY1631" fmla="*/ 2690085 h 6689084"/>
              <a:gd name="connsiteX1632" fmla="*/ 5998139 w 6689088"/>
              <a:gd name="connsiteY1632" fmla="*/ 2717317 h 6689084"/>
              <a:gd name="connsiteX1633" fmla="*/ 5970907 w 6689088"/>
              <a:gd name="connsiteY1633" fmla="*/ 2690085 h 6689084"/>
              <a:gd name="connsiteX1634" fmla="*/ 5998139 w 6689088"/>
              <a:gd name="connsiteY1634" fmla="*/ 2662852 h 6689084"/>
              <a:gd name="connsiteX1635" fmla="*/ 6152083 w 6689088"/>
              <a:gd name="connsiteY1635" fmla="*/ 2660310 h 6689084"/>
              <a:gd name="connsiteX1636" fmla="*/ 6181858 w 6689088"/>
              <a:gd name="connsiteY1636" fmla="*/ 2690081 h 6689084"/>
              <a:gd name="connsiteX1637" fmla="*/ 6152083 w 6689088"/>
              <a:gd name="connsiteY1637" fmla="*/ 2719856 h 6689084"/>
              <a:gd name="connsiteX1638" fmla="*/ 6122312 w 6689088"/>
              <a:gd name="connsiteY1638" fmla="*/ 2690081 h 6689084"/>
              <a:gd name="connsiteX1639" fmla="*/ 6152083 w 6689088"/>
              <a:gd name="connsiteY1639" fmla="*/ 2660310 h 6689084"/>
              <a:gd name="connsiteX1640" fmla="*/ 6305668 w 6689088"/>
              <a:gd name="connsiteY1640" fmla="*/ 2658133 h 6689084"/>
              <a:gd name="connsiteX1641" fmla="*/ 6337620 w 6689088"/>
              <a:gd name="connsiteY1641" fmla="*/ 2690085 h 6689084"/>
              <a:gd name="connsiteX1642" fmla="*/ 6305668 w 6689088"/>
              <a:gd name="connsiteY1642" fmla="*/ 2722036 h 6689084"/>
              <a:gd name="connsiteX1643" fmla="*/ 6273716 w 6689088"/>
              <a:gd name="connsiteY1643" fmla="*/ 2690085 h 6689084"/>
              <a:gd name="connsiteX1644" fmla="*/ 6305668 w 6689088"/>
              <a:gd name="connsiteY1644" fmla="*/ 2658133 h 6689084"/>
              <a:gd name="connsiteX1645" fmla="*/ 6459616 w 6689088"/>
              <a:gd name="connsiteY1645" fmla="*/ 2656319 h 6689084"/>
              <a:gd name="connsiteX1646" fmla="*/ 6493385 w 6689088"/>
              <a:gd name="connsiteY1646" fmla="*/ 2690085 h 6689084"/>
              <a:gd name="connsiteX1647" fmla="*/ 6459616 w 6689088"/>
              <a:gd name="connsiteY1647" fmla="*/ 2723850 h 6689084"/>
              <a:gd name="connsiteX1648" fmla="*/ 6425850 w 6689088"/>
              <a:gd name="connsiteY1648" fmla="*/ 2690085 h 6689084"/>
              <a:gd name="connsiteX1649" fmla="*/ 6459616 w 6689088"/>
              <a:gd name="connsiteY1649" fmla="*/ 2656319 h 6689084"/>
              <a:gd name="connsiteX1650" fmla="*/ 6613200 w 6689088"/>
              <a:gd name="connsiteY1650" fmla="*/ 2653777 h 6689084"/>
              <a:gd name="connsiteX1651" fmla="*/ 6649509 w 6689088"/>
              <a:gd name="connsiteY1651" fmla="*/ 2690085 h 6689084"/>
              <a:gd name="connsiteX1652" fmla="*/ 6613200 w 6689088"/>
              <a:gd name="connsiteY1652" fmla="*/ 2726393 h 6689084"/>
              <a:gd name="connsiteX1653" fmla="*/ 6576892 w 6689088"/>
              <a:gd name="connsiteY1653" fmla="*/ 2690085 h 6689084"/>
              <a:gd name="connsiteX1654" fmla="*/ 6613200 w 6689088"/>
              <a:gd name="connsiteY1654" fmla="*/ 2653777 h 6689084"/>
              <a:gd name="connsiteX1655" fmla="*/ 3230349 w 6689088"/>
              <a:gd name="connsiteY1655" fmla="*/ 2536137 h 6689084"/>
              <a:gd name="connsiteX1656" fmla="*/ 3230715 w 6689088"/>
              <a:gd name="connsiteY1656" fmla="*/ 2536499 h 6689084"/>
              <a:gd name="connsiteX1657" fmla="*/ 3230349 w 6689088"/>
              <a:gd name="connsiteY1657" fmla="*/ 2536866 h 6689084"/>
              <a:gd name="connsiteX1658" fmla="*/ 3229987 w 6689088"/>
              <a:gd name="connsiteY1658" fmla="*/ 2536499 h 6689084"/>
              <a:gd name="connsiteX1659" fmla="*/ 3230349 w 6689088"/>
              <a:gd name="connsiteY1659" fmla="*/ 2536137 h 6689084"/>
              <a:gd name="connsiteX1660" fmla="*/ 2768873 w 6689088"/>
              <a:gd name="connsiteY1660" fmla="*/ 2536137 h 6689084"/>
              <a:gd name="connsiteX1661" fmla="*/ 2769235 w 6689088"/>
              <a:gd name="connsiteY1661" fmla="*/ 2536499 h 6689084"/>
              <a:gd name="connsiteX1662" fmla="*/ 2768873 w 6689088"/>
              <a:gd name="connsiteY1662" fmla="*/ 2536866 h 6689084"/>
              <a:gd name="connsiteX1663" fmla="*/ 2768511 w 6689088"/>
              <a:gd name="connsiteY1663" fmla="*/ 2536499 h 6689084"/>
              <a:gd name="connsiteX1664" fmla="*/ 2768873 w 6689088"/>
              <a:gd name="connsiteY1664" fmla="*/ 2536137 h 6689084"/>
              <a:gd name="connsiteX1665" fmla="*/ 2614925 w 6689088"/>
              <a:gd name="connsiteY1665" fmla="*/ 2536137 h 6689084"/>
              <a:gd name="connsiteX1666" fmla="*/ 2615288 w 6689088"/>
              <a:gd name="connsiteY1666" fmla="*/ 2536499 h 6689084"/>
              <a:gd name="connsiteX1667" fmla="*/ 2614925 w 6689088"/>
              <a:gd name="connsiteY1667" fmla="*/ 2536866 h 6689084"/>
              <a:gd name="connsiteX1668" fmla="*/ 2614563 w 6689088"/>
              <a:gd name="connsiteY1668" fmla="*/ 2536499 h 6689084"/>
              <a:gd name="connsiteX1669" fmla="*/ 2614925 w 6689088"/>
              <a:gd name="connsiteY1669" fmla="*/ 2536137 h 6689084"/>
              <a:gd name="connsiteX1670" fmla="*/ 2461344 w 6689088"/>
              <a:gd name="connsiteY1670" fmla="*/ 2535771 h 6689084"/>
              <a:gd name="connsiteX1671" fmla="*/ 2462068 w 6689088"/>
              <a:gd name="connsiteY1671" fmla="*/ 2536499 h 6689084"/>
              <a:gd name="connsiteX1672" fmla="*/ 2461344 w 6689088"/>
              <a:gd name="connsiteY1672" fmla="*/ 2537224 h 6689084"/>
              <a:gd name="connsiteX1673" fmla="*/ 2460616 w 6689088"/>
              <a:gd name="connsiteY1673" fmla="*/ 2536499 h 6689084"/>
              <a:gd name="connsiteX1674" fmla="*/ 2461344 w 6689088"/>
              <a:gd name="connsiteY1674" fmla="*/ 2535771 h 6689084"/>
              <a:gd name="connsiteX1675" fmla="*/ 3383938 w 6689088"/>
              <a:gd name="connsiteY1675" fmla="*/ 2535047 h 6689084"/>
              <a:gd name="connsiteX1676" fmla="*/ 3385390 w 6689088"/>
              <a:gd name="connsiteY1676" fmla="*/ 2536499 h 6689084"/>
              <a:gd name="connsiteX1677" fmla="*/ 3383938 w 6689088"/>
              <a:gd name="connsiteY1677" fmla="*/ 2537952 h 6689084"/>
              <a:gd name="connsiteX1678" fmla="*/ 3382486 w 6689088"/>
              <a:gd name="connsiteY1678" fmla="*/ 2536499 h 6689084"/>
              <a:gd name="connsiteX1679" fmla="*/ 3383938 w 6689088"/>
              <a:gd name="connsiteY1679" fmla="*/ 2535047 h 6689084"/>
              <a:gd name="connsiteX1680" fmla="*/ 3537886 w 6689088"/>
              <a:gd name="connsiteY1680" fmla="*/ 2534323 h 6689084"/>
              <a:gd name="connsiteX1681" fmla="*/ 3540062 w 6689088"/>
              <a:gd name="connsiteY1681" fmla="*/ 2536503 h 6689084"/>
              <a:gd name="connsiteX1682" fmla="*/ 3537886 w 6689088"/>
              <a:gd name="connsiteY1682" fmla="*/ 2538680 h 6689084"/>
              <a:gd name="connsiteX1683" fmla="*/ 3535705 w 6689088"/>
              <a:gd name="connsiteY1683" fmla="*/ 2536503 h 6689084"/>
              <a:gd name="connsiteX1684" fmla="*/ 3537886 w 6689088"/>
              <a:gd name="connsiteY1684" fmla="*/ 2534323 h 6689084"/>
              <a:gd name="connsiteX1685" fmla="*/ 3691467 w 6689088"/>
              <a:gd name="connsiteY1685" fmla="*/ 2533233 h 6689084"/>
              <a:gd name="connsiteX1686" fmla="*/ 3694738 w 6689088"/>
              <a:gd name="connsiteY1686" fmla="*/ 2536499 h 6689084"/>
              <a:gd name="connsiteX1687" fmla="*/ 3691467 w 6689088"/>
              <a:gd name="connsiteY1687" fmla="*/ 2539770 h 6689084"/>
              <a:gd name="connsiteX1688" fmla="*/ 3688200 w 6689088"/>
              <a:gd name="connsiteY1688" fmla="*/ 2536499 h 6689084"/>
              <a:gd name="connsiteX1689" fmla="*/ 3691467 w 6689088"/>
              <a:gd name="connsiteY1689" fmla="*/ 2533233 h 6689084"/>
              <a:gd name="connsiteX1690" fmla="*/ 3845414 w 6689088"/>
              <a:gd name="connsiteY1690" fmla="*/ 2531780 h 6689084"/>
              <a:gd name="connsiteX1691" fmla="*/ 3849771 w 6689088"/>
              <a:gd name="connsiteY1691" fmla="*/ 2536137 h 6689084"/>
              <a:gd name="connsiteX1692" fmla="*/ 3845414 w 6689088"/>
              <a:gd name="connsiteY1692" fmla="*/ 2540494 h 6689084"/>
              <a:gd name="connsiteX1693" fmla="*/ 3841057 w 6689088"/>
              <a:gd name="connsiteY1693" fmla="*/ 2536137 h 6689084"/>
              <a:gd name="connsiteX1694" fmla="*/ 3845414 w 6689088"/>
              <a:gd name="connsiteY1694" fmla="*/ 2531780 h 6689084"/>
              <a:gd name="connsiteX1695" fmla="*/ 3999000 w 6689088"/>
              <a:gd name="connsiteY1695" fmla="*/ 2530690 h 6689084"/>
              <a:gd name="connsiteX1696" fmla="*/ 4004809 w 6689088"/>
              <a:gd name="connsiteY1696" fmla="*/ 2536499 h 6689084"/>
              <a:gd name="connsiteX1697" fmla="*/ 3999000 w 6689088"/>
              <a:gd name="connsiteY1697" fmla="*/ 2542309 h 6689084"/>
              <a:gd name="connsiteX1698" fmla="*/ 3993190 w 6689088"/>
              <a:gd name="connsiteY1698" fmla="*/ 2536499 h 6689084"/>
              <a:gd name="connsiteX1699" fmla="*/ 3999000 w 6689088"/>
              <a:gd name="connsiteY1699" fmla="*/ 2530690 h 6689084"/>
              <a:gd name="connsiteX1700" fmla="*/ 4152947 w 6689088"/>
              <a:gd name="connsiteY1700" fmla="*/ 2528876 h 6689084"/>
              <a:gd name="connsiteX1701" fmla="*/ 4160208 w 6689088"/>
              <a:gd name="connsiteY1701" fmla="*/ 2536137 h 6689084"/>
              <a:gd name="connsiteX1702" fmla="*/ 4152947 w 6689088"/>
              <a:gd name="connsiteY1702" fmla="*/ 2543399 h 6689084"/>
              <a:gd name="connsiteX1703" fmla="*/ 4145686 w 6689088"/>
              <a:gd name="connsiteY1703" fmla="*/ 2536137 h 6689084"/>
              <a:gd name="connsiteX1704" fmla="*/ 4152947 w 6689088"/>
              <a:gd name="connsiteY1704" fmla="*/ 2528876 h 6689084"/>
              <a:gd name="connsiteX1705" fmla="*/ 4306528 w 6689088"/>
              <a:gd name="connsiteY1705" fmla="*/ 2527058 h 6689084"/>
              <a:gd name="connsiteX1706" fmla="*/ 4315608 w 6689088"/>
              <a:gd name="connsiteY1706" fmla="*/ 2536133 h 6689084"/>
              <a:gd name="connsiteX1707" fmla="*/ 4306528 w 6689088"/>
              <a:gd name="connsiteY1707" fmla="*/ 2545213 h 6689084"/>
              <a:gd name="connsiteX1708" fmla="*/ 4297452 w 6689088"/>
              <a:gd name="connsiteY1708" fmla="*/ 2536133 h 6689084"/>
              <a:gd name="connsiteX1709" fmla="*/ 4306528 w 6689088"/>
              <a:gd name="connsiteY1709" fmla="*/ 2527058 h 6689084"/>
              <a:gd name="connsiteX1710" fmla="*/ 4460480 w 6689088"/>
              <a:gd name="connsiteY1710" fmla="*/ 2526333 h 6689084"/>
              <a:gd name="connsiteX1711" fmla="*/ 4470646 w 6689088"/>
              <a:gd name="connsiteY1711" fmla="*/ 2536499 h 6689084"/>
              <a:gd name="connsiteX1712" fmla="*/ 4460480 w 6689088"/>
              <a:gd name="connsiteY1712" fmla="*/ 2546666 h 6689084"/>
              <a:gd name="connsiteX1713" fmla="*/ 4450314 w 6689088"/>
              <a:gd name="connsiteY1713" fmla="*/ 2536499 h 6689084"/>
              <a:gd name="connsiteX1714" fmla="*/ 4460480 w 6689088"/>
              <a:gd name="connsiteY1714" fmla="*/ 2526333 h 6689084"/>
              <a:gd name="connsiteX1715" fmla="*/ 4614061 w 6689088"/>
              <a:gd name="connsiteY1715" fmla="*/ 2524153 h 6689084"/>
              <a:gd name="connsiteX1716" fmla="*/ 4626046 w 6689088"/>
              <a:gd name="connsiteY1716" fmla="*/ 2536133 h 6689084"/>
              <a:gd name="connsiteX1717" fmla="*/ 4614061 w 6689088"/>
              <a:gd name="connsiteY1717" fmla="*/ 2548118 h 6689084"/>
              <a:gd name="connsiteX1718" fmla="*/ 4602080 w 6689088"/>
              <a:gd name="connsiteY1718" fmla="*/ 2536133 h 6689084"/>
              <a:gd name="connsiteX1719" fmla="*/ 4614061 w 6689088"/>
              <a:gd name="connsiteY1719" fmla="*/ 2524153 h 6689084"/>
              <a:gd name="connsiteX1720" fmla="*/ 4768012 w 6689088"/>
              <a:gd name="connsiteY1720" fmla="*/ 2522338 h 6689084"/>
              <a:gd name="connsiteX1721" fmla="*/ 4781808 w 6689088"/>
              <a:gd name="connsiteY1721" fmla="*/ 2536133 h 6689084"/>
              <a:gd name="connsiteX1722" fmla="*/ 4768012 w 6689088"/>
              <a:gd name="connsiteY1722" fmla="*/ 2549933 h 6689084"/>
              <a:gd name="connsiteX1723" fmla="*/ 4754214 w 6689088"/>
              <a:gd name="connsiteY1723" fmla="*/ 2536133 h 6689084"/>
              <a:gd name="connsiteX1724" fmla="*/ 4768012 w 6689088"/>
              <a:gd name="connsiteY1724" fmla="*/ 2522338 h 6689084"/>
              <a:gd name="connsiteX1725" fmla="*/ 4921594 w 6689088"/>
              <a:gd name="connsiteY1725" fmla="*/ 2521252 h 6689084"/>
              <a:gd name="connsiteX1726" fmla="*/ 4936845 w 6689088"/>
              <a:gd name="connsiteY1726" fmla="*/ 2536503 h 6689084"/>
              <a:gd name="connsiteX1727" fmla="*/ 4921594 w 6689088"/>
              <a:gd name="connsiteY1727" fmla="*/ 2551751 h 6689084"/>
              <a:gd name="connsiteX1728" fmla="*/ 4906346 w 6689088"/>
              <a:gd name="connsiteY1728" fmla="*/ 2536503 h 6689084"/>
              <a:gd name="connsiteX1729" fmla="*/ 4921594 w 6689088"/>
              <a:gd name="connsiteY1729" fmla="*/ 2521252 h 6689084"/>
              <a:gd name="connsiteX1730" fmla="*/ 5075545 w 6689088"/>
              <a:gd name="connsiteY1730" fmla="*/ 2519071 h 6689084"/>
              <a:gd name="connsiteX1731" fmla="*/ 5092611 w 6689088"/>
              <a:gd name="connsiteY1731" fmla="*/ 2536137 h 6689084"/>
              <a:gd name="connsiteX1732" fmla="*/ 5075545 w 6689088"/>
              <a:gd name="connsiteY1732" fmla="*/ 2553203 h 6689084"/>
              <a:gd name="connsiteX1733" fmla="*/ 5058479 w 6689088"/>
              <a:gd name="connsiteY1733" fmla="*/ 2536137 h 6689084"/>
              <a:gd name="connsiteX1734" fmla="*/ 5075545 w 6689088"/>
              <a:gd name="connsiteY1734" fmla="*/ 2519071 h 6689084"/>
              <a:gd name="connsiteX1735" fmla="*/ 5229126 w 6689088"/>
              <a:gd name="connsiteY1735" fmla="*/ 2517257 h 6689084"/>
              <a:gd name="connsiteX1736" fmla="*/ 5248369 w 6689088"/>
              <a:gd name="connsiteY1736" fmla="*/ 2536499 h 6689084"/>
              <a:gd name="connsiteX1737" fmla="*/ 5229126 w 6689088"/>
              <a:gd name="connsiteY1737" fmla="*/ 2555742 h 6689084"/>
              <a:gd name="connsiteX1738" fmla="*/ 5209884 w 6689088"/>
              <a:gd name="connsiteY1738" fmla="*/ 2536499 h 6689084"/>
              <a:gd name="connsiteX1739" fmla="*/ 5229126 w 6689088"/>
              <a:gd name="connsiteY1739" fmla="*/ 2517257 h 6689084"/>
              <a:gd name="connsiteX1740" fmla="*/ 5383074 w 6689088"/>
              <a:gd name="connsiteY1740" fmla="*/ 2514714 h 6689084"/>
              <a:gd name="connsiteX1741" fmla="*/ 5404496 w 6689088"/>
              <a:gd name="connsiteY1741" fmla="*/ 2536137 h 6689084"/>
              <a:gd name="connsiteX1742" fmla="*/ 5383074 w 6689088"/>
              <a:gd name="connsiteY1742" fmla="*/ 2557560 h 6689084"/>
              <a:gd name="connsiteX1743" fmla="*/ 5361651 w 6689088"/>
              <a:gd name="connsiteY1743" fmla="*/ 2536137 h 6689084"/>
              <a:gd name="connsiteX1744" fmla="*/ 5383074 w 6689088"/>
              <a:gd name="connsiteY1744" fmla="*/ 2514714 h 6689084"/>
              <a:gd name="connsiteX1745" fmla="*/ 5536659 w 6689088"/>
              <a:gd name="connsiteY1745" fmla="*/ 2513624 h 6689084"/>
              <a:gd name="connsiteX1746" fmla="*/ 5559534 w 6689088"/>
              <a:gd name="connsiteY1746" fmla="*/ 2536499 h 6689084"/>
              <a:gd name="connsiteX1747" fmla="*/ 5536659 w 6689088"/>
              <a:gd name="connsiteY1747" fmla="*/ 2559371 h 6689084"/>
              <a:gd name="connsiteX1748" fmla="*/ 5513784 w 6689088"/>
              <a:gd name="connsiteY1748" fmla="*/ 2536499 h 6689084"/>
              <a:gd name="connsiteX1749" fmla="*/ 5536659 w 6689088"/>
              <a:gd name="connsiteY1749" fmla="*/ 2513624 h 6689084"/>
              <a:gd name="connsiteX1750" fmla="*/ 5690602 w 6689088"/>
              <a:gd name="connsiteY1750" fmla="*/ 2511448 h 6689084"/>
              <a:gd name="connsiteX1751" fmla="*/ 5715658 w 6689088"/>
              <a:gd name="connsiteY1751" fmla="*/ 2536499 h 6689084"/>
              <a:gd name="connsiteX1752" fmla="*/ 5690602 w 6689088"/>
              <a:gd name="connsiteY1752" fmla="*/ 2561555 h 6689084"/>
              <a:gd name="connsiteX1753" fmla="*/ 5665551 w 6689088"/>
              <a:gd name="connsiteY1753" fmla="*/ 2536499 h 6689084"/>
              <a:gd name="connsiteX1754" fmla="*/ 5690602 w 6689088"/>
              <a:gd name="connsiteY1754" fmla="*/ 2511448 h 6689084"/>
              <a:gd name="connsiteX1755" fmla="*/ 5844554 w 6689088"/>
              <a:gd name="connsiteY1755" fmla="*/ 2509267 h 6689084"/>
              <a:gd name="connsiteX1756" fmla="*/ 5871786 w 6689088"/>
              <a:gd name="connsiteY1756" fmla="*/ 2536499 h 6689084"/>
              <a:gd name="connsiteX1757" fmla="*/ 5844554 w 6689088"/>
              <a:gd name="connsiteY1757" fmla="*/ 2563732 h 6689084"/>
              <a:gd name="connsiteX1758" fmla="*/ 5817322 w 6689088"/>
              <a:gd name="connsiteY1758" fmla="*/ 2536499 h 6689084"/>
              <a:gd name="connsiteX1759" fmla="*/ 5844554 w 6689088"/>
              <a:gd name="connsiteY1759" fmla="*/ 2509267 h 6689084"/>
              <a:gd name="connsiteX1760" fmla="*/ 5998136 w 6689088"/>
              <a:gd name="connsiteY1760" fmla="*/ 2506729 h 6689084"/>
              <a:gd name="connsiteX1761" fmla="*/ 6027910 w 6689088"/>
              <a:gd name="connsiteY1761" fmla="*/ 2536503 h 6689084"/>
              <a:gd name="connsiteX1762" fmla="*/ 5998136 w 6689088"/>
              <a:gd name="connsiteY1762" fmla="*/ 2566274 h 6689084"/>
              <a:gd name="connsiteX1763" fmla="*/ 5968364 w 6689088"/>
              <a:gd name="connsiteY1763" fmla="*/ 2536503 h 6689084"/>
              <a:gd name="connsiteX1764" fmla="*/ 5998136 w 6689088"/>
              <a:gd name="connsiteY1764" fmla="*/ 2506729 h 6689084"/>
              <a:gd name="connsiteX1765" fmla="*/ 6152086 w 6689088"/>
              <a:gd name="connsiteY1765" fmla="*/ 2504548 h 6689084"/>
              <a:gd name="connsiteX1766" fmla="*/ 6184038 w 6689088"/>
              <a:gd name="connsiteY1766" fmla="*/ 2536499 h 6689084"/>
              <a:gd name="connsiteX1767" fmla="*/ 6152086 w 6689088"/>
              <a:gd name="connsiteY1767" fmla="*/ 2568451 h 6689084"/>
              <a:gd name="connsiteX1768" fmla="*/ 6120135 w 6689088"/>
              <a:gd name="connsiteY1768" fmla="*/ 2536499 h 6689084"/>
              <a:gd name="connsiteX1769" fmla="*/ 6152086 w 6689088"/>
              <a:gd name="connsiteY1769" fmla="*/ 2504548 h 6689084"/>
              <a:gd name="connsiteX1770" fmla="*/ 6305668 w 6689088"/>
              <a:gd name="connsiteY1770" fmla="*/ 2502734 h 6689084"/>
              <a:gd name="connsiteX1771" fmla="*/ 6339438 w 6689088"/>
              <a:gd name="connsiteY1771" fmla="*/ 2536499 h 6689084"/>
              <a:gd name="connsiteX1772" fmla="*/ 6305668 w 6689088"/>
              <a:gd name="connsiteY1772" fmla="*/ 2570269 h 6689084"/>
              <a:gd name="connsiteX1773" fmla="*/ 6271902 w 6689088"/>
              <a:gd name="connsiteY1773" fmla="*/ 2536499 h 6689084"/>
              <a:gd name="connsiteX1774" fmla="*/ 6305668 w 6689088"/>
              <a:gd name="connsiteY1774" fmla="*/ 2502734 h 6689084"/>
              <a:gd name="connsiteX1775" fmla="*/ 6459616 w 6689088"/>
              <a:gd name="connsiteY1775" fmla="*/ 2500191 h 6689084"/>
              <a:gd name="connsiteX1776" fmla="*/ 6495924 w 6689088"/>
              <a:gd name="connsiteY1776" fmla="*/ 2536499 h 6689084"/>
              <a:gd name="connsiteX1777" fmla="*/ 6459616 w 6689088"/>
              <a:gd name="connsiteY1777" fmla="*/ 2572808 h 6689084"/>
              <a:gd name="connsiteX1778" fmla="*/ 6423307 w 6689088"/>
              <a:gd name="connsiteY1778" fmla="*/ 2536499 h 6689084"/>
              <a:gd name="connsiteX1779" fmla="*/ 6459616 w 6689088"/>
              <a:gd name="connsiteY1779" fmla="*/ 2500191 h 6689084"/>
              <a:gd name="connsiteX1780" fmla="*/ 6613200 w 6689088"/>
              <a:gd name="connsiteY1780" fmla="*/ 2497648 h 6689084"/>
              <a:gd name="connsiteX1781" fmla="*/ 6652048 w 6689088"/>
              <a:gd name="connsiteY1781" fmla="*/ 2536499 h 6689084"/>
              <a:gd name="connsiteX1782" fmla="*/ 6613200 w 6689088"/>
              <a:gd name="connsiteY1782" fmla="*/ 2575350 h 6689084"/>
              <a:gd name="connsiteX1783" fmla="*/ 6574350 w 6689088"/>
              <a:gd name="connsiteY1783" fmla="*/ 2536499 h 6689084"/>
              <a:gd name="connsiteX1784" fmla="*/ 6613200 w 6689088"/>
              <a:gd name="connsiteY1784" fmla="*/ 2497648 h 6689084"/>
              <a:gd name="connsiteX1785" fmla="*/ 3076406 w 6689088"/>
              <a:gd name="connsiteY1785" fmla="*/ 2382190 h 6689084"/>
              <a:gd name="connsiteX1786" fmla="*/ 3076768 w 6689088"/>
              <a:gd name="connsiteY1786" fmla="*/ 2382552 h 6689084"/>
              <a:gd name="connsiteX1787" fmla="*/ 3076406 w 6689088"/>
              <a:gd name="connsiteY1787" fmla="*/ 2382914 h 6689084"/>
              <a:gd name="connsiteX1788" fmla="*/ 3076043 w 6689088"/>
              <a:gd name="connsiteY1788" fmla="*/ 2382552 h 6689084"/>
              <a:gd name="connsiteX1789" fmla="*/ 3076406 w 6689088"/>
              <a:gd name="connsiteY1789" fmla="*/ 2382190 h 6689084"/>
              <a:gd name="connsiteX1790" fmla="*/ 2614925 w 6689088"/>
              <a:gd name="connsiteY1790" fmla="*/ 2382190 h 6689084"/>
              <a:gd name="connsiteX1791" fmla="*/ 2615288 w 6689088"/>
              <a:gd name="connsiteY1791" fmla="*/ 2382552 h 6689084"/>
              <a:gd name="connsiteX1792" fmla="*/ 2614925 w 6689088"/>
              <a:gd name="connsiteY1792" fmla="*/ 2382914 h 6689084"/>
              <a:gd name="connsiteX1793" fmla="*/ 2614563 w 6689088"/>
              <a:gd name="connsiteY1793" fmla="*/ 2382552 h 6689084"/>
              <a:gd name="connsiteX1794" fmla="*/ 2614925 w 6689088"/>
              <a:gd name="connsiteY1794" fmla="*/ 2382190 h 6689084"/>
              <a:gd name="connsiteX1795" fmla="*/ 2461340 w 6689088"/>
              <a:gd name="connsiteY1795" fmla="*/ 2382190 h 6689084"/>
              <a:gd name="connsiteX1796" fmla="*/ 2461702 w 6689088"/>
              <a:gd name="connsiteY1796" fmla="*/ 2382552 h 6689084"/>
              <a:gd name="connsiteX1797" fmla="*/ 2461340 w 6689088"/>
              <a:gd name="connsiteY1797" fmla="*/ 2382914 h 6689084"/>
              <a:gd name="connsiteX1798" fmla="*/ 2460978 w 6689088"/>
              <a:gd name="connsiteY1798" fmla="*/ 2382552 h 6689084"/>
              <a:gd name="connsiteX1799" fmla="*/ 2461340 w 6689088"/>
              <a:gd name="connsiteY1799" fmla="*/ 2382190 h 6689084"/>
              <a:gd name="connsiteX1800" fmla="*/ 2307393 w 6689088"/>
              <a:gd name="connsiteY1800" fmla="*/ 2381824 h 6689084"/>
              <a:gd name="connsiteX1801" fmla="*/ 2308121 w 6689088"/>
              <a:gd name="connsiteY1801" fmla="*/ 2382552 h 6689084"/>
              <a:gd name="connsiteX1802" fmla="*/ 2307393 w 6689088"/>
              <a:gd name="connsiteY1802" fmla="*/ 2383276 h 6689084"/>
              <a:gd name="connsiteX1803" fmla="*/ 2306669 w 6689088"/>
              <a:gd name="connsiteY1803" fmla="*/ 2382552 h 6689084"/>
              <a:gd name="connsiteX1804" fmla="*/ 2307393 w 6689088"/>
              <a:gd name="connsiteY1804" fmla="*/ 2381824 h 6689084"/>
              <a:gd name="connsiteX1805" fmla="*/ 3230353 w 6689088"/>
              <a:gd name="connsiteY1805" fmla="*/ 2381100 h 6689084"/>
              <a:gd name="connsiteX1806" fmla="*/ 3231805 w 6689088"/>
              <a:gd name="connsiteY1806" fmla="*/ 2382552 h 6689084"/>
              <a:gd name="connsiteX1807" fmla="*/ 3230353 w 6689088"/>
              <a:gd name="connsiteY1807" fmla="*/ 2384005 h 6689084"/>
              <a:gd name="connsiteX1808" fmla="*/ 3228900 w 6689088"/>
              <a:gd name="connsiteY1808" fmla="*/ 2382552 h 6689084"/>
              <a:gd name="connsiteX1809" fmla="*/ 3230353 w 6689088"/>
              <a:gd name="connsiteY1809" fmla="*/ 2381100 h 6689084"/>
              <a:gd name="connsiteX1810" fmla="*/ 3383938 w 6689088"/>
              <a:gd name="connsiteY1810" fmla="*/ 2380375 h 6689084"/>
              <a:gd name="connsiteX1811" fmla="*/ 3386115 w 6689088"/>
              <a:gd name="connsiteY1811" fmla="*/ 2382556 h 6689084"/>
              <a:gd name="connsiteX1812" fmla="*/ 3383938 w 6689088"/>
              <a:gd name="connsiteY1812" fmla="*/ 2384732 h 6689084"/>
              <a:gd name="connsiteX1813" fmla="*/ 3381758 w 6689088"/>
              <a:gd name="connsiteY1813" fmla="*/ 2382556 h 6689084"/>
              <a:gd name="connsiteX1814" fmla="*/ 3383938 w 6689088"/>
              <a:gd name="connsiteY1814" fmla="*/ 2380375 h 6689084"/>
              <a:gd name="connsiteX1815" fmla="*/ 3537882 w 6689088"/>
              <a:gd name="connsiteY1815" fmla="*/ 2379285 h 6689084"/>
              <a:gd name="connsiteX1816" fmla="*/ 3541148 w 6689088"/>
              <a:gd name="connsiteY1816" fmla="*/ 2382552 h 6689084"/>
              <a:gd name="connsiteX1817" fmla="*/ 3537882 w 6689088"/>
              <a:gd name="connsiteY1817" fmla="*/ 2385823 h 6689084"/>
              <a:gd name="connsiteX1818" fmla="*/ 3534615 w 6689088"/>
              <a:gd name="connsiteY1818" fmla="*/ 2382552 h 6689084"/>
              <a:gd name="connsiteX1819" fmla="*/ 3537882 w 6689088"/>
              <a:gd name="connsiteY1819" fmla="*/ 2379285 h 6689084"/>
              <a:gd name="connsiteX1820" fmla="*/ 3691467 w 6689088"/>
              <a:gd name="connsiteY1820" fmla="*/ 2378195 h 6689084"/>
              <a:gd name="connsiteX1821" fmla="*/ 3695824 w 6689088"/>
              <a:gd name="connsiteY1821" fmla="*/ 2382552 h 6689084"/>
              <a:gd name="connsiteX1822" fmla="*/ 3691467 w 6689088"/>
              <a:gd name="connsiteY1822" fmla="*/ 2386909 h 6689084"/>
              <a:gd name="connsiteX1823" fmla="*/ 3687110 w 6689088"/>
              <a:gd name="connsiteY1823" fmla="*/ 2382552 h 6689084"/>
              <a:gd name="connsiteX1824" fmla="*/ 3691467 w 6689088"/>
              <a:gd name="connsiteY1824" fmla="*/ 2378195 h 6689084"/>
              <a:gd name="connsiteX1825" fmla="*/ 3845414 w 6689088"/>
              <a:gd name="connsiteY1825" fmla="*/ 2376743 h 6689084"/>
              <a:gd name="connsiteX1826" fmla="*/ 3851224 w 6689088"/>
              <a:gd name="connsiteY1826" fmla="*/ 2382552 h 6689084"/>
              <a:gd name="connsiteX1827" fmla="*/ 3845414 w 6689088"/>
              <a:gd name="connsiteY1827" fmla="*/ 2388361 h 6689084"/>
              <a:gd name="connsiteX1828" fmla="*/ 3839605 w 6689088"/>
              <a:gd name="connsiteY1828" fmla="*/ 2382552 h 6689084"/>
              <a:gd name="connsiteX1829" fmla="*/ 3845414 w 6689088"/>
              <a:gd name="connsiteY1829" fmla="*/ 2376743 h 6689084"/>
              <a:gd name="connsiteX1830" fmla="*/ 3999000 w 6689088"/>
              <a:gd name="connsiteY1830" fmla="*/ 2375290 h 6689084"/>
              <a:gd name="connsiteX1831" fmla="*/ 4006261 w 6689088"/>
              <a:gd name="connsiteY1831" fmla="*/ 2382552 h 6689084"/>
              <a:gd name="connsiteX1832" fmla="*/ 3999000 w 6689088"/>
              <a:gd name="connsiteY1832" fmla="*/ 2389814 h 6689084"/>
              <a:gd name="connsiteX1833" fmla="*/ 3991738 w 6689088"/>
              <a:gd name="connsiteY1833" fmla="*/ 2382552 h 6689084"/>
              <a:gd name="connsiteX1834" fmla="*/ 3999000 w 6689088"/>
              <a:gd name="connsiteY1834" fmla="*/ 2375290 h 6689084"/>
              <a:gd name="connsiteX1835" fmla="*/ 4152947 w 6689088"/>
              <a:gd name="connsiteY1835" fmla="*/ 2373476 h 6689084"/>
              <a:gd name="connsiteX1836" fmla="*/ 4162027 w 6689088"/>
              <a:gd name="connsiteY1836" fmla="*/ 2382552 h 6689084"/>
              <a:gd name="connsiteX1837" fmla="*/ 4152947 w 6689088"/>
              <a:gd name="connsiteY1837" fmla="*/ 2391632 h 6689084"/>
              <a:gd name="connsiteX1838" fmla="*/ 4143871 w 6689088"/>
              <a:gd name="connsiteY1838" fmla="*/ 2382552 h 6689084"/>
              <a:gd name="connsiteX1839" fmla="*/ 4152947 w 6689088"/>
              <a:gd name="connsiteY1839" fmla="*/ 2373476 h 6689084"/>
              <a:gd name="connsiteX1840" fmla="*/ 4306532 w 6689088"/>
              <a:gd name="connsiteY1840" fmla="*/ 2372386 h 6689084"/>
              <a:gd name="connsiteX1841" fmla="*/ 4316698 w 6689088"/>
              <a:gd name="connsiteY1841" fmla="*/ 2382552 h 6689084"/>
              <a:gd name="connsiteX1842" fmla="*/ 4306532 w 6689088"/>
              <a:gd name="connsiteY1842" fmla="*/ 2392718 h 6689084"/>
              <a:gd name="connsiteX1843" fmla="*/ 4296366 w 6689088"/>
              <a:gd name="connsiteY1843" fmla="*/ 2382552 h 6689084"/>
              <a:gd name="connsiteX1844" fmla="*/ 4306532 w 6689088"/>
              <a:gd name="connsiteY1844" fmla="*/ 2372386 h 6689084"/>
              <a:gd name="connsiteX1845" fmla="*/ 4460476 w 6689088"/>
              <a:gd name="connsiteY1845" fmla="*/ 2370571 h 6689084"/>
              <a:gd name="connsiteX1846" fmla="*/ 4472460 w 6689088"/>
              <a:gd name="connsiteY1846" fmla="*/ 2382552 h 6689084"/>
              <a:gd name="connsiteX1847" fmla="*/ 4460476 w 6689088"/>
              <a:gd name="connsiteY1847" fmla="*/ 2394533 h 6689084"/>
              <a:gd name="connsiteX1848" fmla="*/ 4448495 w 6689088"/>
              <a:gd name="connsiteY1848" fmla="*/ 2382552 h 6689084"/>
              <a:gd name="connsiteX1849" fmla="*/ 4460476 w 6689088"/>
              <a:gd name="connsiteY1849" fmla="*/ 2370571 h 6689084"/>
              <a:gd name="connsiteX1850" fmla="*/ 4614065 w 6689088"/>
              <a:gd name="connsiteY1850" fmla="*/ 2368753 h 6689084"/>
              <a:gd name="connsiteX1851" fmla="*/ 4627860 w 6689088"/>
              <a:gd name="connsiteY1851" fmla="*/ 2382552 h 6689084"/>
              <a:gd name="connsiteX1852" fmla="*/ 4614065 w 6689088"/>
              <a:gd name="connsiteY1852" fmla="*/ 2396347 h 6689084"/>
              <a:gd name="connsiteX1853" fmla="*/ 4600266 w 6689088"/>
              <a:gd name="connsiteY1853" fmla="*/ 2382552 h 6689084"/>
              <a:gd name="connsiteX1854" fmla="*/ 4614065 w 6689088"/>
              <a:gd name="connsiteY1854" fmla="*/ 2368753 h 6689084"/>
              <a:gd name="connsiteX1855" fmla="*/ 4768008 w 6689088"/>
              <a:gd name="connsiteY1855" fmla="*/ 2367304 h 6689084"/>
              <a:gd name="connsiteX1856" fmla="*/ 4783260 w 6689088"/>
              <a:gd name="connsiteY1856" fmla="*/ 2382556 h 6689084"/>
              <a:gd name="connsiteX1857" fmla="*/ 4768008 w 6689088"/>
              <a:gd name="connsiteY1857" fmla="*/ 2397803 h 6689084"/>
              <a:gd name="connsiteX1858" fmla="*/ 4752761 w 6689088"/>
              <a:gd name="connsiteY1858" fmla="*/ 2382556 h 6689084"/>
              <a:gd name="connsiteX1859" fmla="*/ 4768008 w 6689088"/>
              <a:gd name="connsiteY1859" fmla="*/ 2367304 h 6689084"/>
              <a:gd name="connsiteX1860" fmla="*/ 4921594 w 6689088"/>
              <a:gd name="connsiteY1860" fmla="*/ 2365486 h 6689084"/>
              <a:gd name="connsiteX1861" fmla="*/ 4938660 w 6689088"/>
              <a:gd name="connsiteY1861" fmla="*/ 2382552 h 6689084"/>
              <a:gd name="connsiteX1862" fmla="*/ 4921594 w 6689088"/>
              <a:gd name="connsiteY1862" fmla="*/ 2399614 h 6689084"/>
              <a:gd name="connsiteX1863" fmla="*/ 4904528 w 6689088"/>
              <a:gd name="connsiteY1863" fmla="*/ 2382552 h 6689084"/>
              <a:gd name="connsiteX1864" fmla="*/ 4921594 w 6689088"/>
              <a:gd name="connsiteY1864" fmla="*/ 2365486 h 6689084"/>
              <a:gd name="connsiteX1865" fmla="*/ 5075541 w 6689088"/>
              <a:gd name="connsiteY1865" fmla="*/ 2363309 h 6689084"/>
              <a:gd name="connsiteX1866" fmla="*/ 5094784 w 6689088"/>
              <a:gd name="connsiteY1866" fmla="*/ 2382552 h 6689084"/>
              <a:gd name="connsiteX1867" fmla="*/ 5075541 w 6689088"/>
              <a:gd name="connsiteY1867" fmla="*/ 2401799 h 6689084"/>
              <a:gd name="connsiteX1868" fmla="*/ 5056298 w 6689088"/>
              <a:gd name="connsiteY1868" fmla="*/ 2382552 h 6689084"/>
              <a:gd name="connsiteX1869" fmla="*/ 5075541 w 6689088"/>
              <a:gd name="connsiteY1869" fmla="*/ 2363309 h 6689084"/>
              <a:gd name="connsiteX1870" fmla="*/ 5229126 w 6689088"/>
              <a:gd name="connsiteY1870" fmla="*/ 2361129 h 6689084"/>
              <a:gd name="connsiteX1871" fmla="*/ 5250546 w 6689088"/>
              <a:gd name="connsiteY1871" fmla="*/ 2382552 h 6689084"/>
              <a:gd name="connsiteX1872" fmla="*/ 5229126 w 6689088"/>
              <a:gd name="connsiteY1872" fmla="*/ 2403975 h 6689084"/>
              <a:gd name="connsiteX1873" fmla="*/ 5207704 w 6689088"/>
              <a:gd name="connsiteY1873" fmla="*/ 2382552 h 6689084"/>
              <a:gd name="connsiteX1874" fmla="*/ 5229126 w 6689088"/>
              <a:gd name="connsiteY1874" fmla="*/ 2361129 h 6689084"/>
              <a:gd name="connsiteX1875" fmla="*/ 5383074 w 6689088"/>
              <a:gd name="connsiteY1875" fmla="*/ 2359677 h 6689084"/>
              <a:gd name="connsiteX1876" fmla="*/ 5405946 w 6689088"/>
              <a:gd name="connsiteY1876" fmla="*/ 2382552 h 6689084"/>
              <a:gd name="connsiteX1877" fmla="*/ 5383074 w 6689088"/>
              <a:gd name="connsiteY1877" fmla="*/ 2405427 h 6689084"/>
              <a:gd name="connsiteX1878" fmla="*/ 5360198 w 6689088"/>
              <a:gd name="connsiteY1878" fmla="*/ 2382552 h 6689084"/>
              <a:gd name="connsiteX1879" fmla="*/ 5383074 w 6689088"/>
              <a:gd name="connsiteY1879" fmla="*/ 2359677 h 6689084"/>
              <a:gd name="connsiteX1880" fmla="*/ 5536656 w 6689088"/>
              <a:gd name="connsiteY1880" fmla="*/ 2357500 h 6689084"/>
              <a:gd name="connsiteX1881" fmla="*/ 5561711 w 6689088"/>
              <a:gd name="connsiteY1881" fmla="*/ 2382552 h 6689084"/>
              <a:gd name="connsiteX1882" fmla="*/ 5536656 w 6689088"/>
              <a:gd name="connsiteY1882" fmla="*/ 2407608 h 6689084"/>
              <a:gd name="connsiteX1883" fmla="*/ 5511604 w 6689088"/>
              <a:gd name="connsiteY1883" fmla="*/ 2382552 h 6689084"/>
              <a:gd name="connsiteX1884" fmla="*/ 5536656 w 6689088"/>
              <a:gd name="connsiteY1884" fmla="*/ 2357500 h 6689084"/>
              <a:gd name="connsiteX1885" fmla="*/ 5690606 w 6689088"/>
              <a:gd name="connsiteY1885" fmla="*/ 2355320 h 6689084"/>
              <a:gd name="connsiteX1886" fmla="*/ 5717838 w 6689088"/>
              <a:gd name="connsiteY1886" fmla="*/ 2382552 h 6689084"/>
              <a:gd name="connsiteX1887" fmla="*/ 5690606 w 6689088"/>
              <a:gd name="connsiteY1887" fmla="*/ 2409784 h 6689084"/>
              <a:gd name="connsiteX1888" fmla="*/ 5663374 w 6689088"/>
              <a:gd name="connsiteY1888" fmla="*/ 2382552 h 6689084"/>
              <a:gd name="connsiteX1889" fmla="*/ 5690606 w 6689088"/>
              <a:gd name="connsiteY1889" fmla="*/ 2355320 h 6689084"/>
              <a:gd name="connsiteX1890" fmla="*/ 5844554 w 6689088"/>
              <a:gd name="connsiteY1890" fmla="*/ 2352781 h 6689084"/>
              <a:gd name="connsiteX1891" fmla="*/ 5874325 w 6689088"/>
              <a:gd name="connsiteY1891" fmla="*/ 2382556 h 6689084"/>
              <a:gd name="connsiteX1892" fmla="*/ 5844554 w 6689088"/>
              <a:gd name="connsiteY1892" fmla="*/ 2412327 h 6689084"/>
              <a:gd name="connsiteX1893" fmla="*/ 5814779 w 6689088"/>
              <a:gd name="connsiteY1893" fmla="*/ 2382556 h 6689084"/>
              <a:gd name="connsiteX1894" fmla="*/ 5844554 w 6689088"/>
              <a:gd name="connsiteY1894" fmla="*/ 2352781 h 6689084"/>
              <a:gd name="connsiteX1895" fmla="*/ 5998139 w 6689088"/>
              <a:gd name="connsiteY1895" fmla="*/ 2350601 h 6689084"/>
              <a:gd name="connsiteX1896" fmla="*/ 6030090 w 6689088"/>
              <a:gd name="connsiteY1896" fmla="*/ 2382552 h 6689084"/>
              <a:gd name="connsiteX1897" fmla="*/ 5998139 w 6689088"/>
              <a:gd name="connsiteY1897" fmla="*/ 2414503 h 6689084"/>
              <a:gd name="connsiteX1898" fmla="*/ 5966188 w 6689088"/>
              <a:gd name="connsiteY1898" fmla="*/ 2382552 h 6689084"/>
              <a:gd name="connsiteX1899" fmla="*/ 5998139 w 6689088"/>
              <a:gd name="connsiteY1899" fmla="*/ 2350601 h 6689084"/>
              <a:gd name="connsiteX1900" fmla="*/ 6152086 w 6689088"/>
              <a:gd name="connsiteY1900" fmla="*/ 2348786 h 6689084"/>
              <a:gd name="connsiteX1901" fmla="*/ 6185852 w 6689088"/>
              <a:gd name="connsiteY1901" fmla="*/ 2382552 h 6689084"/>
              <a:gd name="connsiteX1902" fmla="*/ 6152086 w 6689088"/>
              <a:gd name="connsiteY1902" fmla="*/ 2416322 h 6689084"/>
              <a:gd name="connsiteX1903" fmla="*/ 6118317 w 6689088"/>
              <a:gd name="connsiteY1903" fmla="*/ 2382552 h 6689084"/>
              <a:gd name="connsiteX1904" fmla="*/ 6152086 w 6689088"/>
              <a:gd name="connsiteY1904" fmla="*/ 2348786 h 6689084"/>
              <a:gd name="connsiteX1905" fmla="*/ 6305668 w 6689088"/>
              <a:gd name="connsiteY1905" fmla="*/ 2346244 h 6689084"/>
              <a:gd name="connsiteX1906" fmla="*/ 6341976 w 6689088"/>
              <a:gd name="connsiteY1906" fmla="*/ 2382552 h 6689084"/>
              <a:gd name="connsiteX1907" fmla="*/ 6305668 w 6689088"/>
              <a:gd name="connsiteY1907" fmla="*/ 2418860 h 6689084"/>
              <a:gd name="connsiteX1908" fmla="*/ 6269360 w 6689088"/>
              <a:gd name="connsiteY1908" fmla="*/ 2382552 h 6689084"/>
              <a:gd name="connsiteX1909" fmla="*/ 6305668 w 6689088"/>
              <a:gd name="connsiteY1909" fmla="*/ 2346244 h 6689084"/>
              <a:gd name="connsiteX1910" fmla="*/ 6459619 w 6689088"/>
              <a:gd name="connsiteY1910" fmla="*/ 2343701 h 6689084"/>
              <a:gd name="connsiteX1911" fmla="*/ 6498470 w 6689088"/>
              <a:gd name="connsiteY1911" fmla="*/ 2382552 h 6689084"/>
              <a:gd name="connsiteX1912" fmla="*/ 6459619 w 6689088"/>
              <a:gd name="connsiteY1912" fmla="*/ 2421399 h 6689084"/>
              <a:gd name="connsiteX1913" fmla="*/ 6420768 w 6689088"/>
              <a:gd name="connsiteY1913" fmla="*/ 2382552 h 6689084"/>
              <a:gd name="connsiteX1914" fmla="*/ 6459619 w 6689088"/>
              <a:gd name="connsiteY1914" fmla="*/ 2343701 h 6689084"/>
              <a:gd name="connsiteX1915" fmla="*/ 6613200 w 6689088"/>
              <a:gd name="connsiteY1915" fmla="*/ 2341524 h 6689084"/>
              <a:gd name="connsiteX1916" fmla="*/ 6654232 w 6689088"/>
              <a:gd name="connsiteY1916" fmla="*/ 2382552 h 6689084"/>
              <a:gd name="connsiteX1917" fmla="*/ 6613200 w 6689088"/>
              <a:gd name="connsiteY1917" fmla="*/ 2423583 h 6689084"/>
              <a:gd name="connsiteX1918" fmla="*/ 6572173 w 6689088"/>
              <a:gd name="connsiteY1918" fmla="*/ 2382552 h 6689084"/>
              <a:gd name="connsiteX1919" fmla="*/ 6613200 w 6689088"/>
              <a:gd name="connsiteY1919" fmla="*/ 2341524 h 6689084"/>
              <a:gd name="connsiteX1920" fmla="*/ 2922458 w 6689088"/>
              <a:gd name="connsiteY1920" fmla="*/ 2228605 h 6689084"/>
              <a:gd name="connsiteX1921" fmla="*/ 2922820 w 6689088"/>
              <a:gd name="connsiteY1921" fmla="*/ 2228967 h 6689084"/>
              <a:gd name="connsiteX1922" fmla="*/ 2922458 w 6689088"/>
              <a:gd name="connsiteY1922" fmla="*/ 2229333 h 6689084"/>
              <a:gd name="connsiteX1923" fmla="*/ 2922096 w 6689088"/>
              <a:gd name="connsiteY1923" fmla="*/ 2228967 h 6689084"/>
              <a:gd name="connsiteX1924" fmla="*/ 2922458 w 6689088"/>
              <a:gd name="connsiteY1924" fmla="*/ 2228605 h 6689084"/>
              <a:gd name="connsiteX1925" fmla="*/ 2461340 w 6689088"/>
              <a:gd name="connsiteY1925" fmla="*/ 2228605 h 6689084"/>
              <a:gd name="connsiteX1926" fmla="*/ 2461702 w 6689088"/>
              <a:gd name="connsiteY1926" fmla="*/ 2228967 h 6689084"/>
              <a:gd name="connsiteX1927" fmla="*/ 2461340 w 6689088"/>
              <a:gd name="connsiteY1927" fmla="*/ 2229333 h 6689084"/>
              <a:gd name="connsiteX1928" fmla="*/ 2460978 w 6689088"/>
              <a:gd name="connsiteY1928" fmla="*/ 2228967 h 6689084"/>
              <a:gd name="connsiteX1929" fmla="*/ 2461340 w 6689088"/>
              <a:gd name="connsiteY1929" fmla="*/ 2228605 h 6689084"/>
              <a:gd name="connsiteX1930" fmla="*/ 2307393 w 6689088"/>
              <a:gd name="connsiteY1930" fmla="*/ 2228605 h 6689084"/>
              <a:gd name="connsiteX1931" fmla="*/ 2307755 w 6689088"/>
              <a:gd name="connsiteY1931" fmla="*/ 2228967 h 6689084"/>
              <a:gd name="connsiteX1932" fmla="*/ 2307393 w 6689088"/>
              <a:gd name="connsiteY1932" fmla="*/ 2229333 h 6689084"/>
              <a:gd name="connsiteX1933" fmla="*/ 2307031 w 6689088"/>
              <a:gd name="connsiteY1933" fmla="*/ 2228967 h 6689084"/>
              <a:gd name="connsiteX1934" fmla="*/ 2307393 w 6689088"/>
              <a:gd name="connsiteY1934" fmla="*/ 2228605 h 6689084"/>
              <a:gd name="connsiteX1935" fmla="*/ 2153811 w 6689088"/>
              <a:gd name="connsiteY1935" fmla="*/ 2228243 h 6689084"/>
              <a:gd name="connsiteX1936" fmla="*/ 2154536 w 6689088"/>
              <a:gd name="connsiteY1936" fmla="*/ 2228971 h 6689084"/>
              <a:gd name="connsiteX1937" fmla="*/ 2153811 w 6689088"/>
              <a:gd name="connsiteY1937" fmla="*/ 2229695 h 6689084"/>
              <a:gd name="connsiteX1938" fmla="*/ 2153083 w 6689088"/>
              <a:gd name="connsiteY1938" fmla="*/ 2228971 h 6689084"/>
              <a:gd name="connsiteX1939" fmla="*/ 2153811 w 6689088"/>
              <a:gd name="connsiteY1939" fmla="*/ 2228243 h 6689084"/>
              <a:gd name="connsiteX1940" fmla="*/ 3076406 w 6689088"/>
              <a:gd name="connsiteY1940" fmla="*/ 2227152 h 6689084"/>
              <a:gd name="connsiteX1941" fmla="*/ 3077858 w 6689088"/>
              <a:gd name="connsiteY1941" fmla="*/ 2228605 h 6689084"/>
              <a:gd name="connsiteX1942" fmla="*/ 3076406 w 6689088"/>
              <a:gd name="connsiteY1942" fmla="*/ 2230057 h 6689084"/>
              <a:gd name="connsiteX1943" fmla="*/ 3074953 w 6689088"/>
              <a:gd name="connsiteY1943" fmla="*/ 2228605 h 6689084"/>
              <a:gd name="connsiteX1944" fmla="*/ 3076406 w 6689088"/>
              <a:gd name="connsiteY1944" fmla="*/ 2227152 h 6689084"/>
              <a:gd name="connsiteX1945" fmla="*/ 3230353 w 6689088"/>
              <a:gd name="connsiteY1945" fmla="*/ 2226428 h 6689084"/>
              <a:gd name="connsiteX1946" fmla="*/ 3232530 w 6689088"/>
              <a:gd name="connsiteY1946" fmla="*/ 2228608 h 6689084"/>
              <a:gd name="connsiteX1947" fmla="*/ 3230353 w 6689088"/>
              <a:gd name="connsiteY1947" fmla="*/ 2230785 h 6689084"/>
              <a:gd name="connsiteX1948" fmla="*/ 3228172 w 6689088"/>
              <a:gd name="connsiteY1948" fmla="*/ 2228608 h 6689084"/>
              <a:gd name="connsiteX1949" fmla="*/ 3230353 w 6689088"/>
              <a:gd name="connsiteY1949" fmla="*/ 2226428 h 6689084"/>
              <a:gd name="connsiteX1950" fmla="*/ 3383934 w 6689088"/>
              <a:gd name="connsiteY1950" fmla="*/ 2225700 h 6689084"/>
              <a:gd name="connsiteX1951" fmla="*/ 3387205 w 6689088"/>
              <a:gd name="connsiteY1951" fmla="*/ 2228967 h 6689084"/>
              <a:gd name="connsiteX1952" fmla="*/ 3383934 w 6689088"/>
              <a:gd name="connsiteY1952" fmla="*/ 2232238 h 6689084"/>
              <a:gd name="connsiteX1953" fmla="*/ 3380668 w 6689088"/>
              <a:gd name="connsiteY1953" fmla="*/ 2228967 h 6689084"/>
              <a:gd name="connsiteX1954" fmla="*/ 3383934 w 6689088"/>
              <a:gd name="connsiteY1954" fmla="*/ 2225700 h 6689084"/>
              <a:gd name="connsiteX1955" fmla="*/ 3537886 w 6689088"/>
              <a:gd name="connsiteY1955" fmla="*/ 2224248 h 6689084"/>
              <a:gd name="connsiteX1956" fmla="*/ 3542242 w 6689088"/>
              <a:gd name="connsiteY1956" fmla="*/ 2228605 h 6689084"/>
              <a:gd name="connsiteX1957" fmla="*/ 3537886 w 6689088"/>
              <a:gd name="connsiteY1957" fmla="*/ 2232962 h 6689084"/>
              <a:gd name="connsiteX1958" fmla="*/ 3533528 w 6689088"/>
              <a:gd name="connsiteY1958" fmla="*/ 2228605 h 6689084"/>
              <a:gd name="connsiteX1959" fmla="*/ 3537886 w 6689088"/>
              <a:gd name="connsiteY1959" fmla="*/ 2224248 h 6689084"/>
              <a:gd name="connsiteX1960" fmla="*/ 3691467 w 6689088"/>
              <a:gd name="connsiteY1960" fmla="*/ 2222795 h 6689084"/>
              <a:gd name="connsiteX1961" fmla="*/ 3697276 w 6689088"/>
              <a:gd name="connsiteY1961" fmla="*/ 2228605 h 6689084"/>
              <a:gd name="connsiteX1962" fmla="*/ 3691467 w 6689088"/>
              <a:gd name="connsiteY1962" fmla="*/ 2234414 h 6689084"/>
              <a:gd name="connsiteX1963" fmla="*/ 3685658 w 6689088"/>
              <a:gd name="connsiteY1963" fmla="*/ 2228605 h 6689084"/>
              <a:gd name="connsiteX1964" fmla="*/ 3691467 w 6689088"/>
              <a:gd name="connsiteY1964" fmla="*/ 2222795 h 6689084"/>
              <a:gd name="connsiteX1965" fmla="*/ 3845414 w 6689088"/>
              <a:gd name="connsiteY1965" fmla="*/ 2221343 h 6689084"/>
              <a:gd name="connsiteX1966" fmla="*/ 3852676 w 6689088"/>
              <a:gd name="connsiteY1966" fmla="*/ 2228605 h 6689084"/>
              <a:gd name="connsiteX1967" fmla="*/ 3845414 w 6689088"/>
              <a:gd name="connsiteY1967" fmla="*/ 2235866 h 6689084"/>
              <a:gd name="connsiteX1968" fmla="*/ 3838153 w 6689088"/>
              <a:gd name="connsiteY1968" fmla="*/ 2228605 h 6689084"/>
              <a:gd name="connsiteX1969" fmla="*/ 3845414 w 6689088"/>
              <a:gd name="connsiteY1969" fmla="*/ 2221343 h 6689084"/>
              <a:gd name="connsiteX1970" fmla="*/ 3999000 w 6689088"/>
              <a:gd name="connsiteY1970" fmla="*/ 2219528 h 6689084"/>
              <a:gd name="connsiteX1971" fmla="*/ 4008080 w 6689088"/>
              <a:gd name="connsiteY1971" fmla="*/ 2228605 h 6689084"/>
              <a:gd name="connsiteX1972" fmla="*/ 3999000 w 6689088"/>
              <a:gd name="connsiteY1972" fmla="*/ 2237685 h 6689084"/>
              <a:gd name="connsiteX1973" fmla="*/ 3989924 w 6689088"/>
              <a:gd name="connsiteY1973" fmla="*/ 2228605 h 6689084"/>
              <a:gd name="connsiteX1974" fmla="*/ 3999000 w 6689088"/>
              <a:gd name="connsiteY1974" fmla="*/ 2219528 h 6689084"/>
              <a:gd name="connsiteX1975" fmla="*/ 4152947 w 6689088"/>
              <a:gd name="connsiteY1975" fmla="*/ 2218800 h 6689084"/>
              <a:gd name="connsiteX1976" fmla="*/ 4163114 w 6689088"/>
              <a:gd name="connsiteY1976" fmla="*/ 2228967 h 6689084"/>
              <a:gd name="connsiteX1977" fmla="*/ 4152947 w 6689088"/>
              <a:gd name="connsiteY1977" fmla="*/ 2239133 h 6689084"/>
              <a:gd name="connsiteX1978" fmla="*/ 4142780 w 6689088"/>
              <a:gd name="connsiteY1978" fmla="*/ 2228967 h 6689084"/>
              <a:gd name="connsiteX1979" fmla="*/ 4152947 w 6689088"/>
              <a:gd name="connsiteY1979" fmla="*/ 2218800 h 6689084"/>
              <a:gd name="connsiteX1980" fmla="*/ 4306532 w 6689088"/>
              <a:gd name="connsiteY1980" fmla="*/ 2216624 h 6689084"/>
              <a:gd name="connsiteX1981" fmla="*/ 4318517 w 6689088"/>
              <a:gd name="connsiteY1981" fmla="*/ 2228605 h 6689084"/>
              <a:gd name="connsiteX1982" fmla="*/ 4306532 w 6689088"/>
              <a:gd name="connsiteY1982" fmla="*/ 2240585 h 6689084"/>
              <a:gd name="connsiteX1983" fmla="*/ 4294552 w 6689088"/>
              <a:gd name="connsiteY1983" fmla="*/ 2228605 h 6689084"/>
              <a:gd name="connsiteX1984" fmla="*/ 4306532 w 6689088"/>
              <a:gd name="connsiteY1984" fmla="*/ 2216624 h 6689084"/>
              <a:gd name="connsiteX1985" fmla="*/ 4460480 w 6689088"/>
              <a:gd name="connsiteY1985" fmla="*/ 2214809 h 6689084"/>
              <a:gd name="connsiteX1986" fmla="*/ 4474275 w 6689088"/>
              <a:gd name="connsiteY1986" fmla="*/ 2228608 h 6689084"/>
              <a:gd name="connsiteX1987" fmla="*/ 4460480 w 6689088"/>
              <a:gd name="connsiteY1987" fmla="*/ 2242404 h 6689084"/>
              <a:gd name="connsiteX1988" fmla="*/ 4446680 w 6689088"/>
              <a:gd name="connsiteY1988" fmla="*/ 2228608 h 6689084"/>
              <a:gd name="connsiteX1989" fmla="*/ 4460480 w 6689088"/>
              <a:gd name="connsiteY1989" fmla="*/ 2214809 h 6689084"/>
              <a:gd name="connsiteX1990" fmla="*/ 4614061 w 6689088"/>
              <a:gd name="connsiteY1990" fmla="*/ 2213357 h 6689084"/>
              <a:gd name="connsiteX1991" fmla="*/ 4629312 w 6689088"/>
              <a:gd name="connsiteY1991" fmla="*/ 2228608 h 6689084"/>
              <a:gd name="connsiteX1992" fmla="*/ 4614061 w 6689088"/>
              <a:gd name="connsiteY1992" fmla="*/ 2243856 h 6689084"/>
              <a:gd name="connsiteX1993" fmla="*/ 4598814 w 6689088"/>
              <a:gd name="connsiteY1993" fmla="*/ 2228608 h 6689084"/>
              <a:gd name="connsiteX1994" fmla="*/ 4614061 w 6689088"/>
              <a:gd name="connsiteY1994" fmla="*/ 2213357 h 6689084"/>
              <a:gd name="connsiteX1995" fmla="*/ 4768012 w 6689088"/>
              <a:gd name="connsiteY1995" fmla="*/ 2211539 h 6689084"/>
              <a:gd name="connsiteX1996" fmla="*/ 4785078 w 6689088"/>
              <a:gd name="connsiteY1996" fmla="*/ 2228605 h 6689084"/>
              <a:gd name="connsiteX1997" fmla="*/ 4768012 w 6689088"/>
              <a:gd name="connsiteY1997" fmla="*/ 2245667 h 6689084"/>
              <a:gd name="connsiteX1998" fmla="*/ 4750946 w 6689088"/>
              <a:gd name="connsiteY1998" fmla="*/ 2228605 h 6689084"/>
              <a:gd name="connsiteX1999" fmla="*/ 4768012 w 6689088"/>
              <a:gd name="connsiteY1999" fmla="*/ 2211539 h 6689084"/>
              <a:gd name="connsiteX2000" fmla="*/ 4921594 w 6689088"/>
              <a:gd name="connsiteY2000" fmla="*/ 2209362 h 6689084"/>
              <a:gd name="connsiteX2001" fmla="*/ 4940836 w 6689088"/>
              <a:gd name="connsiteY2001" fmla="*/ 2228605 h 6689084"/>
              <a:gd name="connsiteX2002" fmla="*/ 4921594 w 6689088"/>
              <a:gd name="connsiteY2002" fmla="*/ 2247851 h 6689084"/>
              <a:gd name="connsiteX2003" fmla="*/ 4902352 w 6689088"/>
              <a:gd name="connsiteY2003" fmla="*/ 2228605 h 6689084"/>
              <a:gd name="connsiteX2004" fmla="*/ 4921594 w 6689088"/>
              <a:gd name="connsiteY2004" fmla="*/ 2209362 h 6689084"/>
              <a:gd name="connsiteX2005" fmla="*/ 5075541 w 6689088"/>
              <a:gd name="connsiteY2005" fmla="*/ 2207182 h 6689084"/>
              <a:gd name="connsiteX2006" fmla="*/ 5096964 w 6689088"/>
              <a:gd name="connsiteY2006" fmla="*/ 2228605 h 6689084"/>
              <a:gd name="connsiteX2007" fmla="*/ 5075541 w 6689088"/>
              <a:gd name="connsiteY2007" fmla="*/ 2250027 h 6689084"/>
              <a:gd name="connsiteX2008" fmla="*/ 5054118 w 6689088"/>
              <a:gd name="connsiteY2008" fmla="*/ 2228605 h 6689084"/>
              <a:gd name="connsiteX2009" fmla="*/ 5075541 w 6689088"/>
              <a:gd name="connsiteY2009" fmla="*/ 2207182 h 6689084"/>
              <a:gd name="connsiteX2010" fmla="*/ 5229126 w 6689088"/>
              <a:gd name="connsiteY2010" fmla="*/ 2205729 h 6689084"/>
              <a:gd name="connsiteX2011" fmla="*/ 5251998 w 6689088"/>
              <a:gd name="connsiteY2011" fmla="*/ 2228605 h 6689084"/>
              <a:gd name="connsiteX2012" fmla="*/ 5229126 w 6689088"/>
              <a:gd name="connsiteY2012" fmla="*/ 2251480 h 6689084"/>
              <a:gd name="connsiteX2013" fmla="*/ 5206251 w 6689088"/>
              <a:gd name="connsiteY2013" fmla="*/ 2228605 h 6689084"/>
              <a:gd name="connsiteX2014" fmla="*/ 5229126 w 6689088"/>
              <a:gd name="connsiteY2014" fmla="*/ 2205729 h 6689084"/>
              <a:gd name="connsiteX2015" fmla="*/ 5383074 w 6689088"/>
              <a:gd name="connsiteY2015" fmla="*/ 2203915 h 6689084"/>
              <a:gd name="connsiteX2016" fmla="*/ 5408126 w 6689088"/>
              <a:gd name="connsiteY2016" fmla="*/ 2228967 h 6689084"/>
              <a:gd name="connsiteX2017" fmla="*/ 5383074 w 6689088"/>
              <a:gd name="connsiteY2017" fmla="*/ 2254023 h 6689084"/>
              <a:gd name="connsiteX2018" fmla="*/ 5358022 w 6689088"/>
              <a:gd name="connsiteY2018" fmla="*/ 2228967 h 6689084"/>
              <a:gd name="connsiteX2019" fmla="*/ 5383074 w 6689088"/>
              <a:gd name="connsiteY2019" fmla="*/ 2203915 h 6689084"/>
              <a:gd name="connsiteX2020" fmla="*/ 5536659 w 6689088"/>
              <a:gd name="connsiteY2020" fmla="*/ 2201734 h 6689084"/>
              <a:gd name="connsiteX2021" fmla="*/ 5563892 w 6689088"/>
              <a:gd name="connsiteY2021" fmla="*/ 2228967 h 6689084"/>
              <a:gd name="connsiteX2022" fmla="*/ 5536659 w 6689088"/>
              <a:gd name="connsiteY2022" fmla="*/ 2256199 h 6689084"/>
              <a:gd name="connsiteX2023" fmla="*/ 5509427 w 6689088"/>
              <a:gd name="connsiteY2023" fmla="*/ 2228967 h 6689084"/>
              <a:gd name="connsiteX2024" fmla="*/ 5536659 w 6689088"/>
              <a:gd name="connsiteY2024" fmla="*/ 2201734 h 6689084"/>
              <a:gd name="connsiteX2025" fmla="*/ 5690606 w 6689088"/>
              <a:gd name="connsiteY2025" fmla="*/ 2198834 h 6689084"/>
              <a:gd name="connsiteX2026" fmla="*/ 5720378 w 6689088"/>
              <a:gd name="connsiteY2026" fmla="*/ 2228608 h 6689084"/>
              <a:gd name="connsiteX2027" fmla="*/ 5690606 w 6689088"/>
              <a:gd name="connsiteY2027" fmla="*/ 2258379 h 6689084"/>
              <a:gd name="connsiteX2028" fmla="*/ 5660832 w 6689088"/>
              <a:gd name="connsiteY2028" fmla="*/ 2228608 h 6689084"/>
              <a:gd name="connsiteX2029" fmla="*/ 5690606 w 6689088"/>
              <a:gd name="connsiteY2029" fmla="*/ 2198834 h 6689084"/>
              <a:gd name="connsiteX2030" fmla="*/ 5844554 w 6689088"/>
              <a:gd name="connsiteY2030" fmla="*/ 2197015 h 6689084"/>
              <a:gd name="connsiteX2031" fmla="*/ 5876506 w 6689088"/>
              <a:gd name="connsiteY2031" fmla="*/ 2228967 h 6689084"/>
              <a:gd name="connsiteX2032" fmla="*/ 5844554 w 6689088"/>
              <a:gd name="connsiteY2032" fmla="*/ 2260918 h 6689084"/>
              <a:gd name="connsiteX2033" fmla="*/ 5812602 w 6689088"/>
              <a:gd name="connsiteY2033" fmla="*/ 2228967 h 6689084"/>
              <a:gd name="connsiteX2034" fmla="*/ 5844554 w 6689088"/>
              <a:gd name="connsiteY2034" fmla="*/ 2197015 h 6689084"/>
              <a:gd name="connsiteX2035" fmla="*/ 5998136 w 6689088"/>
              <a:gd name="connsiteY2035" fmla="*/ 2194839 h 6689084"/>
              <a:gd name="connsiteX2036" fmla="*/ 6031901 w 6689088"/>
              <a:gd name="connsiteY2036" fmla="*/ 2228605 h 6689084"/>
              <a:gd name="connsiteX2037" fmla="*/ 5998136 w 6689088"/>
              <a:gd name="connsiteY2037" fmla="*/ 2262374 h 6689084"/>
              <a:gd name="connsiteX2038" fmla="*/ 5964370 w 6689088"/>
              <a:gd name="connsiteY2038" fmla="*/ 2228605 h 6689084"/>
              <a:gd name="connsiteX2039" fmla="*/ 5998136 w 6689088"/>
              <a:gd name="connsiteY2039" fmla="*/ 2194839 h 6689084"/>
              <a:gd name="connsiteX2040" fmla="*/ 6152083 w 6689088"/>
              <a:gd name="connsiteY2040" fmla="*/ 2192296 h 6689084"/>
              <a:gd name="connsiteX2041" fmla="*/ 6188391 w 6689088"/>
              <a:gd name="connsiteY2041" fmla="*/ 2228605 h 6689084"/>
              <a:gd name="connsiteX2042" fmla="*/ 6152083 w 6689088"/>
              <a:gd name="connsiteY2042" fmla="*/ 2264913 h 6689084"/>
              <a:gd name="connsiteX2043" fmla="*/ 6115774 w 6689088"/>
              <a:gd name="connsiteY2043" fmla="*/ 2228605 h 6689084"/>
              <a:gd name="connsiteX2044" fmla="*/ 6152083 w 6689088"/>
              <a:gd name="connsiteY2044" fmla="*/ 2192296 h 6689084"/>
              <a:gd name="connsiteX2045" fmla="*/ 6305672 w 6689088"/>
              <a:gd name="connsiteY2045" fmla="*/ 2189754 h 6689084"/>
              <a:gd name="connsiteX2046" fmla="*/ 6344522 w 6689088"/>
              <a:gd name="connsiteY2046" fmla="*/ 2228605 h 6689084"/>
              <a:gd name="connsiteX2047" fmla="*/ 6305672 w 6689088"/>
              <a:gd name="connsiteY2047" fmla="*/ 2267452 h 6689084"/>
              <a:gd name="connsiteX2048" fmla="*/ 6266821 w 6689088"/>
              <a:gd name="connsiteY2048" fmla="*/ 2228605 h 6689084"/>
              <a:gd name="connsiteX2049" fmla="*/ 6305672 w 6689088"/>
              <a:gd name="connsiteY2049" fmla="*/ 2189754 h 6689084"/>
              <a:gd name="connsiteX2050" fmla="*/ 6459616 w 6689088"/>
              <a:gd name="connsiteY2050" fmla="*/ 2187577 h 6689084"/>
              <a:gd name="connsiteX2051" fmla="*/ 6500646 w 6689088"/>
              <a:gd name="connsiteY2051" fmla="*/ 2228605 h 6689084"/>
              <a:gd name="connsiteX2052" fmla="*/ 6459616 w 6689088"/>
              <a:gd name="connsiteY2052" fmla="*/ 2269632 h 6689084"/>
              <a:gd name="connsiteX2053" fmla="*/ 6418588 w 6689088"/>
              <a:gd name="connsiteY2053" fmla="*/ 2228605 h 6689084"/>
              <a:gd name="connsiteX2054" fmla="*/ 6459616 w 6689088"/>
              <a:gd name="connsiteY2054" fmla="*/ 2187577 h 6689084"/>
              <a:gd name="connsiteX2055" fmla="*/ 6613200 w 6689088"/>
              <a:gd name="connsiteY2055" fmla="*/ 2185035 h 6689084"/>
              <a:gd name="connsiteX2056" fmla="*/ 6656770 w 6689088"/>
              <a:gd name="connsiteY2056" fmla="*/ 2228605 h 6689084"/>
              <a:gd name="connsiteX2057" fmla="*/ 6613200 w 6689088"/>
              <a:gd name="connsiteY2057" fmla="*/ 2272175 h 6689084"/>
              <a:gd name="connsiteX2058" fmla="*/ 6569630 w 6689088"/>
              <a:gd name="connsiteY2058" fmla="*/ 2228605 h 6689084"/>
              <a:gd name="connsiteX2059" fmla="*/ 6613200 w 6689088"/>
              <a:gd name="connsiteY2059" fmla="*/ 2185035 h 6689084"/>
              <a:gd name="connsiteX2060" fmla="*/ 2768873 w 6689088"/>
              <a:gd name="connsiteY2060" fmla="*/ 2074657 h 6689084"/>
              <a:gd name="connsiteX2061" fmla="*/ 2769235 w 6689088"/>
              <a:gd name="connsiteY2061" fmla="*/ 2075019 h 6689084"/>
              <a:gd name="connsiteX2062" fmla="*/ 2768873 w 6689088"/>
              <a:gd name="connsiteY2062" fmla="*/ 2075385 h 6689084"/>
              <a:gd name="connsiteX2063" fmla="*/ 2768511 w 6689088"/>
              <a:gd name="connsiteY2063" fmla="*/ 2075019 h 6689084"/>
              <a:gd name="connsiteX2064" fmla="*/ 2768873 w 6689088"/>
              <a:gd name="connsiteY2064" fmla="*/ 2074657 h 6689084"/>
              <a:gd name="connsiteX2065" fmla="*/ 2307393 w 6689088"/>
              <a:gd name="connsiteY2065" fmla="*/ 2074657 h 6689084"/>
              <a:gd name="connsiteX2066" fmla="*/ 2307755 w 6689088"/>
              <a:gd name="connsiteY2066" fmla="*/ 2075019 h 6689084"/>
              <a:gd name="connsiteX2067" fmla="*/ 2307393 w 6689088"/>
              <a:gd name="connsiteY2067" fmla="*/ 2075385 h 6689084"/>
              <a:gd name="connsiteX2068" fmla="*/ 2307031 w 6689088"/>
              <a:gd name="connsiteY2068" fmla="*/ 2075019 h 6689084"/>
              <a:gd name="connsiteX2069" fmla="*/ 2307393 w 6689088"/>
              <a:gd name="connsiteY2069" fmla="*/ 2074657 h 6689084"/>
              <a:gd name="connsiteX2070" fmla="*/ 2153808 w 6689088"/>
              <a:gd name="connsiteY2070" fmla="*/ 2074657 h 6689084"/>
              <a:gd name="connsiteX2071" fmla="*/ 2154170 w 6689088"/>
              <a:gd name="connsiteY2071" fmla="*/ 2075019 h 6689084"/>
              <a:gd name="connsiteX2072" fmla="*/ 2153808 w 6689088"/>
              <a:gd name="connsiteY2072" fmla="*/ 2075385 h 6689084"/>
              <a:gd name="connsiteX2073" fmla="*/ 2153445 w 6689088"/>
              <a:gd name="connsiteY2073" fmla="*/ 2075019 h 6689084"/>
              <a:gd name="connsiteX2074" fmla="*/ 2153808 w 6689088"/>
              <a:gd name="connsiteY2074" fmla="*/ 2074657 h 6689084"/>
              <a:gd name="connsiteX2075" fmla="*/ 1999864 w 6689088"/>
              <a:gd name="connsiteY2075" fmla="*/ 2074295 h 6689084"/>
              <a:gd name="connsiteX2076" fmla="*/ 2000588 w 6689088"/>
              <a:gd name="connsiteY2076" fmla="*/ 2075023 h 6689084"/>
              <a:gd name="connsiteX2077" fmla="*/ 1999864 w 6689088"/>
              <a:gd name="connsiteY2077" fmla="*/ 2075747 h 6689084"/>
              <a:gd name="connsiteX2078" fmla="*/ 1999136 w 6689088"/>
              <a:gd name="connsiteY2078" fmla="*/ 2075023 h 6689084"/>
              <a:gd name="connsiteX2079" fmla="*/ 1999864 w 6689088"/>
              <a:gd name="connsiteY2079" fmla="*/ 2074295 h 6689084"/>
              <a:gd name="connsiteX2080" fmla="*/ 2922458 w 6689088"/>
              <a:gd name="connsiteY2080" fmla="*/ 2073205 h 6689084"/>
              <a:gd name="connsiteX2081" fmla="*/ 2923910 w 6689088"/>
              <a:gd name="connsiteY2081" fmla="*/ 2074657 h 6689084"/>
              <a:gd name="connsiteX2082" fmla="*/ 2922458 w 6689088"/>
              <a:gd name="connsiteY2082" fmla="*/ 2076110 h 6689084"/>
              <a:gd name="connsiteX2083" fmla="*/ 2921006 w 6689088"/>
              <a:gd name="connsiteY2083" fmla="*/ 2074657 h 6689084"/>
              <a:gd name="connsiteX2084" fmla="*/ 2922458 w 6689088"/>
              <a:gd name="connsiteY2084" fmla="*/ 2073205 h 6689084"/>
              <a:gd name="connsiteX2085" fmla="*/ 3076406 w 6689088"/>
              <a:gd name="connsiteY2085" fmla="*/ 2072843 h 6689084"/>
              <a:gd name="connsiteX2086" fmla="*/ 3078582 w 6689088"/>
              <a:gd name="connsiteY2086" fmla="*/ 2075023 h 6689084"/>
              <a:gd name="connsiteX2087" fmla="*/ 3076406 w 6689088"/>
              <a:gd name="connsiteY2087" fmla="*/ 2077200 h 6689084"/>
              <a:gd name="connsiteX2088" fmla="*/ 3074225 w 6689088"/>
              <a:gd name="connsiteY2088" fmla="*/ 2075023 h 6689084"/>
              <a:gd name="connsiteX2089" fmla="*/ 3076406 w 6689088"/>
              <a:gd name="connsiteY2089" fmla="*/ 2072843 h 6689084"/>
              <a:gd name="connsiteX2090" fmla="*/ 3230353 w 6689088"/>
              <a:gd name="connsiteY2090" fmla="*/ 2071753 h 6689084"/>
              <a:gd name="connsiteX2091" fmla="*/ 3233620 w 6689088"/>
              <a:gd name="connsiteY2091" fmla="*/ 2075019 h 6689084"/>
              <a:gd name="connsiteX2092" fmla="*/ 3230353 w 6689088"/>
              <a:gd name="connsiteY2092" fmla="*/ 2078290 h 6689084"/>
              <a:gd name="connsiteX2093" fmla="*/ 3227086 w 6689088"/>
              <a:gd name="connsiteY2093" fmla="*/ 2075019 h 6689084"/>
              <a:gd name="connsiteX2094" fmla="*/ 3230353 w 6689088"/>
              <a:gd name="connsiteY2094" fmla="*/ 2071753 h 6689084"/>
              <a:gd name="connsiteX2095" fmla="*/ 3383934 w 6689088"/>
              <a:gd name="connsiteY2095" fmla="*/ 2070662 h 6689084"/>
              <a:gd name="connsiteX2096" fmla="*/ 3388291 w 6689088"/>
              <a:gd name="connsiteY2096" fmla="*/ 2075019 h 6689084"/>
              <a:gd name="connsiteX2097" fmla="*/ 3383934 w 6689088"/>
              <a:gd name="connsiteY2097" fmla="*/ 2079376 h 6689084"/>
              <a:gd name="connsiteX2098" fmla="*/ 3379577 w 6689088"/>
              <a:gd name="connsiteY2098" fmla="*/ 2075019 h 6689084"/>
              <a:gd name="connsiteX2099" fmla="*/ 3383934 w 6689088"/>
              <a:gd name="connsiteY2099" fmla="*/ 2070662 h 6689084"/>
              <a:gd name="connsiteX2100" fmla="*/ 3537886 w 6689088"/>
              <a:gd name="connsiteY2100" fmla="*/ 2069210 h 6689084"/>
              <a:gd name="connsiteX2101" fmla="*/ 3543695 w 6689088"/>
              <a:gd name="connsiteY2101" fmla="*/ 2075019 h 6689084"/>
              <a:gd name="connsiteX2102" fmla="*/ 3537886 w 6689088"/>
              <a:gd name="connsiteY2102" fmla="*/ 2080829 h 6689084"/>
              <a:gd name="connsiteX2103" fmla="*/ 3532076 w 6689088"/>
              <a:gd name="connsiteY2103" fmla="*/ 2075019 h 6689084"/>
              <a:gd name="connsiteX2104" fmla="*/ 3537886 w 6689088"/>
              <a:gd name="connsiteY2104" fmla="*/ 2069210 h 6689084"/>
              <a:gd name="connsiteX2105" fmla="*/ 3691467 w 6689088"/>
              <a:gd name="connsiteY2105" fmla="*/ 2067758 h 6689084"/>
              <a:gd name="connsiteX2106" fmla="*/ 3698728 w 6689088"/>
              <a:gd name="connsiteY2106" fmla="*/ 2075019 h 6689084"/>
              <a:gd name="connsiteX2107" fmla="*/ 3691467 w 6689088"/>
              <a:gd name="connsiteY2107" fmla="*/ 2082281 h 6689084"/>
              <a:gd name="connsiteX2108" fmla="*/ 3684205 w 6689088"/>
              <a:gd name="connsiteY2108" fmla="*/ 2075019 h 6689084"/>
              <a:gd name="connsiteX2109" fmla="*/ 3691467 w 6689088"/>
              <a:gd name="connsiteY2109" fmla="*/ 2067758 h 6689084"/>
              <a:gd name="connsiteX2110" fmla="*/ 3845414 w 6689088"/>
              <a:gd name="connsiteY2110" fmla="*/ 2065943 h 6689084"/>
              <a:gd name="connsiteX2111" fmla="*/ 3854494 w 6689088"/>
              <a:gd name="connsiteY2111" fmla="*/ 2075019 h 6689084"/>
              <a:gd name="connsiteX2112" fmla="*/ 3845414 w 6689088"/>
              <a:gd name="connsiteY2112" fmla="*/ 2084099 h 6689084"/>
              <a:gd name="connsiteX2113" fmla="*/ 3836338 w 6689088"/>
              <a:gd name="connsiteY2113" fmla="*/ 2075019 h 6689084"/>
              <a:gd name="connsiteX2114" fmla="*/ 3845414 w 6689088"/>
              <a:gd name="connsiteY2114" fmla="*/ 2065943 h 6689084"/>
              <a:gd name="connsiteX2115" fmla="*/ 3999000 w 6689088"/>
              <a:gd name="connsiteY2115" fmla="*/ 2064853 h 6689084"/>
              <a:gd name="connsiteX2116" fmla="*/ 4009166 w 6689088"/>
              <a:gd name="connsiteY2116" fmla="*/ 2075019 h 6689084"/>
              <a:gd name="connsiteX2117" fmla="*/ 3999000 w 6689088"/>
              <a:gd name="connsiteY2117" fmla="*/ 2085186 h 6689084"/>
              <a:gd name="connsiteX2118" fmla="*/ 3988833 w 6689088"/>
              <a:gd name="connsiteY2118" fmla="*/ 2075019 h 6689084"/>
              <a:gd name="connsiteX2119" fmla="*/ 3999000 w 6689088"/>
              <a:gd name="connsiteY2119" fmla="*/ 2064853 h 6689084"/>
              <a:gd name="connsiteX2120" fmla="*/ 4152947 w 6689088"/>
              <a:gd name="connsiteY2120" fmla="*/ 2063038 h 6689084"/>
              <a:gd name="connsiteX2121" fmla="*/ 4164932 w 6689088"/>
              <a:gd name="connsiteY2121" fmla="*/ 2075019 h 6689084"/>
              <a:gd name="connsiteX2122" fmla="*/ 4152947 w 6689088"/>
              <a:gd name="connsiteY2122" fmla="*/ 2087000 h 6689084"/>
              <a:gd name="connsiteX2123" fmla="*/ 4140966 w 6689088"/>
              <a:gd name="connsiteY2123" fmla="*/ 2075019 h 6689084"/>
              <a:gd name="connsiteX2124" fmla="*/ 4152947 w 6689088"/>
              <a:gd name="connsiteY2124" fmla="*/ 2063038 h 6689084"/>
              <a:gd name="connsiteX2125" fmla="*/ 4306528 w 6689088"/>
              <a:gd name="connsiteY2125" fmla="*/ 2061224 h 6689084"/>
              <a:gd name="connsiteX2126" fmla="*/ 4320328 w 6689088"/>
              <a:gd name="connsiteY2126" fmla="*/ 2075023 h 6689084"/>
              <a:gd name="connsiteX2127" fmla="*/ 4306528 w 6689088"/>
              <a:gd name="connsiteY2127" fmla="*/ 2088818 h 6689084"/>
              <a:gd name="connsiteX2128" fmla="*/ 4292733 w 6689088"/>
              <a:gd name="connsiteY2128" fmla="*/ 2075023 h 6689084"/>
              <a:gd name="connsiteX2129" fmla="*/ 4306528 w 6689088"/>
              <a:gd name="connsiteY2129" fmla="*/ 2061224 h 6689084"/>
              <a:gd name="connsiteX2130" fmla="*/ 4460476 w 6689088"/>
              <a:gd name="connsiteY2130" fmla="*/ 2059772 h 6689084"/>
              <a:gd name="connsiteX2131" fmla="*/ 4475728 w 6689088"/>
              <a:gd name="connsiteY2131" fmla="*/ 2075023 h 6689084"/>
              <a:gd name="connsiteX2132" fmla="*/ 4460476 w 6689088"/>
              <a:gd name="connsiteY2132" fmla="*/ 2090271 h 6689084"/>
              <a:gd name="connsiteX2133" fmla="*/ 4445228 w 6689088"/>
              <a:gd name="connsiteY2133" fmla="*/ 2075023 h 6689084"/>
              <a:gd name="connsiteX2134" fmla="*/ 4460476 w 6689088"/>
              <a:gd name="connsiteY2134" fmla="*/ 2059772 h 6689084"/>
              <a:gd name="connsiteX2135" fmla="*/ 4614065 w 6689088"/>
              <a:gd name="connsiteY2135" fmla="*/ 2057957 h 6689084"/>
              <a:gd name="connsiteX2136" fmla="*/ 4631131 w 6689088"/>
              <a:gd name="connsiteY2136" fmla="*/ 2075023 h 6689084"/>
              <a:gd name="connsiteX2137" fmla="*/ 4614065 w 6689088"/>
              <a:gd name="connsiteY2137" fmla="*/ 2092085 h 6689084"/>
              <a:gd name="connsiteX2138" fmla="*/ 4596999 w 6689088"/>
              <a:gd name="connsiteY2138" fmla="*/ 2075023 h 6689084"/>
              <a:gd name="connsiteX2139" fmla="*/ 4614065 w 6689088"/>
              <a:gd name="connsiteY2139" fmla="*/ 2057957 h 6689084"/>
              <a:gd name="connsiteX2140" fmla="*/ 4768008 w 6689088"/>
              <a:gd name="connsiteY2140" fmla="*/ 2055777 h 6689084"/>
              <a:gd name="connsiteX2141" fmla="*/ 4787255 w 6689088"/>
              <a:gd name="connsiteY2141" fmla="*/ 2075019 h 6689084"/>
              <a:gd name="connsiteX2142" fmla="*/ 4768008 w 6689088"/>
              <a:gd name="connsiteY2142" fmla="*/ 2094266 h 6689084"/>
              <a:gd name="connsiteX2143" fmla="*/ 4748766 w 6689088"/>
              <a:gd name="connsiteY2143" fmla="*/ 2075019 h 6689084"/>
              <a:gd name="connsiteX2144" fmla="*/ 4768008 w 6689088"/>
              <a:gd name="connsiteY2144" fmla="*/ 2055777 h 6689084"/>
              <a:gd name="connsiteX2145" fmla="*/ 4921594 w 6689088"/>
              <a:gd name="connsiteY2145" fmla="*/ 2053600 h 6689084"/>
              <a:gd name="connsiteX2146" fmla="*/ 4943013 w 6689088"/>
              <a:gd name="connsiteY2146" fmla="*/ 2075023 h 6689084"/>
              <a:gd name="connsiteX2147" fmla="*/ 4921594 w 6689088"/>
              <a:gd name="connsiteY2147" fmla="*/ 2096446 h 6689084"/>
              <a:gd name="connsiteX2148" fmla="*/ 4900171 w 6689088"/>
              <a:gd name="connsiteY2148" fmla="*/ 2075023 h 6689084"/>
              <a:gd name="connsiteX2149" fmla="*/ 4921594 w 6689088"/>
              <a:gd name="connsiteY2149" fmla="*/ 2053600 h 6689084"/>
              <a:gd name="connsiteX2150" fmla="*/ 5075545 w 6689088"/>
              <a:gd name="connsiteY2150" fmla="*/ 2052148 h 6689084"/>
              <a:gd name="connsiteX2151" fmla="*/ 5098416 w 6689088"/>
              <a:gd name="connsiteY2151" fmla="*/ 2075023 h 6689084"/>
              <a:gd name="connsiteX2152" fmla="*/ 5075545 w 6689088"/>
              <a:gd name="connsiteY2152" fmla="*/ 2097895 h 6689084"/>
              <a:gd name="connsiteX2153" fmla="*/ 5052670 w 6689088"/>
              <a:gd name="connsiteY2153" fmla="*/ 2075023 h 6689084"/>
              <a:gd name="connsiteX2154" fmla="*/ 5075545 w 6689088"/>
              <a:gd name="connsiteY2154" fmla="*/ 2052148 h 6689084"/>
              <a:gd name="connsiteX2155" fmla="*/ 5229126 w 6689088"/>
              <a:gd name="connsiteY2155" fmla="*/ 2049968 h 6689084"/>
              <a:gd name="connsiteX2156" fmla="*/ 5254182 w 6689088"/>
              <a:gd name="connsiteY2156" fmla="*/ 2075019 h 6689084"/>
              <a:gd name="connsiteX2157" fmla="*/ 5229126 w 6689088"/>
              <a:gd name="connsiteY2157" fmla="*/ 2100075 h 6689084"/>
              <a:gd name="connsiteX2158" fmla="*/ 5204074 w 6689088"/>
              <a:gd name="connsiteY2158" fmla="*/ 2075019 h 6689084"/>
              <a:gd name="connsiteX2159" fmla="*/ 5229126 w 6689088"/>
              <a:gd name="connsiteY2159" fmla="*/ 2049968 h 6689084"/>
              <a:gd name="connsiteX2160" fmla="*/ 5383074 w 6689088"/>
              <a:gd name="connsiteY2160" fmla="*/ 2047791 h 6689084"/>
              <a:gd name="connsiteX2161" fmla="*/ 5410306 w 6689088"/>
              <a:gd name="connsiteY2161" fmla="*/ 2075023 h 6689084"/>
              <a:gd name="connsiteX2162" fmla="*/ 5383074 w 6689088"/>
              <a:gd name="connsiteY2162" fmla="*/ 2102256 h 6689084"/>
              <a:gd name="connsiteX2163" fmla="*/ 5355842 w 6689088"/>
              <a:gd name="connsiteY2163" fmla="*/ 2075023 h 6689084"/>
              <a:gd name="connsiteX2164" fmla="*/ 5383074 w 6689088"/>
              <a:gd name="connsiteY2164" fmla="*/ 2047791 h 6689084"/>
              <a:gd name="connsiteX2165" fmla="*/ 5537018 w 6689088"/>
              <a:gd name="connsiteY2165" fmla="*/ 2045248 h 6689084"/>
              <a:gd name="connsiteX2166" fmla="*/ 5566792 w 6689088"/>
              <a:gd name="connsiteY2166" fmla="*/ 2075023 h 6689084"/>
              <a:gd name="connsiteX2167" fmla="*/ 5537018 w 6689088"/>
              <a:gd name="connsiteY2167" fmla="*/ 2104794 h 6689084"/>
              <a:gd name="connsiteX2168" fmla="*/ 5507246 w 6689088"/>
              <a:gd name="connsiteY2168" fmla="*/ 2075023 h 6689084"/>
              <a:gd name="connsiteX2169" fmla="*/ 5537018 w 6689088"/>
              <a:gd name="connsiteY2169" fmla="*/ 2045248 h 6689084"/>
              <a:gd name="connsiteX2170" fmla="*/ 5690606 w 6689088"/>
              <a:gd name="connsiteY2170" fmla="*/ 2043068 h 6689084"/>
              <a:gd name="connsiteX2171" fmla="*/ 5722558 w 6689088"/>
              <a:gd name="connsiteY2171" fmla="*/ 2075019 h 6689084"/>
              <a:gd name="connsiteX2172" fmla="*/ 5690606 w 6689088"/>
              <a:gd name="connsiteY2172" fmla="*/ 2106971 h 6689084"/>
              <a:gd name="connsiteX2173" fmla="*/ 5658655 w 6689088"/>
              <a:gd name="connsiteY2173" fmla="*/ 2075019 h 6689084"/>
              <a:gd name="connsiteX2174" fmla="*/ 5690606 w 6689088"/>
              <a:gd name="connsiteY2174" fmla="*/ 2043068 h 6689084"/>
              <a:gd name="connsiteX2175" fmla="*/ 5844554 w 6689088"/>
              <a:gd name="connsiteY2175" fmla="*/ 2041254 h 6689084"/>
              <a:gd name="connsiteX2176" fmla="*/ 5878320 w 6689088"/>
              <a:gd name="connsiteY2176" fmla="*/ 2075019 h 6689084"/>
              <a:gd name="connsiteX2177" fmla="*/ 5844554 w 6689088"/>
              <a:gd name="connsiteY2177" fmla="*/ 2108789 h 6689084"/>
              <a:gd name="connsiteX2178" fmla="*/ 5810788 w 6689088"/>
              <a:gd name="connsiteY2178" fmla="*/ 2075019 h 6689084"/>
              <a:gd name="connsiteX2179" fmla="*/ 5844554 w 6689088"/>
              <a:gd name="connsiteY2179" fmla="*/ 2041254 h 6689084"/>
              <a:gd name="connsiteX2180" fmla="*/ 5998136 w 6689088"/>
              <a:gd name="connsiteY2180" fmla="*/ 2038711 h 6689084"/>
              <a:gd name="connsiteX2181" fmla="*/ 6034444 w 6689088"/>
              <a:gd name="connsiteY2181" fmla="*/ 2075019 h 6689084"/>
              <a:gd name="connsiteX2182" fmla="*/ 5998136 w 6689088"/>
              <a:gd name="connsiteY2182" fmla="*/ 2111328 h 6689084"/>
              <a:gd name="connsiteX2183" fmla="*/ 5961827 w 6689088"/>
              <a:gd name="connsiteY2183" fmla="*/ 2075019 h 6689084"/>
              <a:gd name="connsiteX2184" fmla="*/ 5998136 w 6689088"/>
              <a:gd name="connsiteY2184" fmla="*/ 2038711 h 6689084"/>
              <a:gd name="connsiteX2185" fmla="*/ 6152083 w 6689088"/>
              <a:gd name="connsiteY2185" fmla="*/ 2036172 h 6689084"/>
              <a:gd name="connsiteX2186" fmla="*/ 6190934 w 6689088"/>
              <a:gd name="connsiteY2186" fmla="*/ 2075023 h 6689084"/>
              <a:gd name="connsiteX2187" fmla="*/ 6152083 w 6689088"/>
              <a:gd name="connsiteY2187" fmla="*/ 2113870 h 6689084"/>
              <a:gd name="connsiteX2188" fmla="*/ 6113236 w 6689088"/>
              <a:gd name="connsiteY2188" fmla="*/ 2075023 h 6689084"/>
              <a:gd name="connsiteX2189" fmla="*/ 6152083 w 6689088"/>
              <a:gd name="connsiteY2189" fmla="*/ 2036172 h 6689084"/>
              <a:gd name="connsiteX2190" fmla="*/ 6305668 w 6689088"/>
              <a:gd name="connsiteY2190" fmla="*/ 2033992 h 6689084"/>
              <a:gd name="connsiteX2191" fmla="*/ 6346700 w 6689088"/>
              <a:gd name="connsiteY2191" fmla="*/ 2075019 h 6689084"/>
              <a:gd name="connsiteX2192" fmla="*/ 6305668 w 6689088"/>
              <a:gd name="connsiteY2192" fmla="*/ 2116047 h 6689084"/>
              <a:gd name="connsiteX2193" fmla="*/ 6264640 w 6689088"/>
              <a:gd name="connsiteY2193" fmla="*/ 2075019 h 6689084"/>
              <a:gd name="connsiteX2194" fmla="*/ 6305668 w 6689088"/>
              <a:gd name="connsiteY2194" fmla="*/ 2033992 h 6689084"/>
              <a:gd name="connsiteX2195" fmla="*/ 6459616 w 6689088"/>
              <a:gd name="connsiteY2195" fmla="*/ 2031449 h 6689084"/>
              <a:gd name="connsiteX2196" fmla="*/ 6503186 w 6689088"/>
              <a:gd name="connsiteY2196" fmla="*/ 2075019 h 6689084"/>
              <a:gd name="connsiteX2197" fmla="*/ 6459616 w 6689088"/>
              <a:gd name="connsiteY2197" fmla="*/ 2118590 h 6689084"/>
              <a:gd name="connsiteX2198" fmla="*/ 6416046 w 6689088"/>
              <a:gd name="connsiteY2198" fmla="*/ 2075019 h 6689084"/>
              <a:gd name="connsiteX2199" fmla="*/ 6459616 w 6689088"/>
              <a:gd name="connsiteY2199" fmla="*/ 2031449 h 6689084"/>
              <a:gd name="connsiteX2200" fmla="*/ 6613200 w 6689088"/>
              <a:gd name="connsiteY2200" fmla="*/ 2028911 h 6689084"/>
              <a:gd name="connsiteX2201" fmla="*/ 6659313 w 6689088"/>
              <a:gd name="connsiteY2201" fmla="*/ 2075023 h 6689084"/>
              <a:gd name="connsiteX2202" fmla="*/ 6613200 w 6689088"/>
              <a:gd name="connsiteY2202" fmla="*/ 2121136 h 6689084"/>
              <a:gd name="connsiteX2203" fmla="*/ 6567088 w 6689088"/>
              <a:gd name="connsiteY2203" fmla="*/ 2075023 h 6689084"/>
              <a:gd name="connsiteX2204" fmla="*/ 6613200 w 6689088"/>
              <a:gd name="connsiteY2204" fmla="*/ 2028911 h 6689084"/>
              <a:gd name="connsiteX2205" fmla="*/ 2614925 w 6689088"/>
              <a:gd name="connsiteY2205" fmla="*/ 1921072 h 6689084"/>
              <a:gd name="connsiteX2206" fmla="*/ 2615288 w 6689088"/>
              <a:gd name="connsiteY2206" fmla="*/ 1921434 h 6689084"/>
              <a:gd name="connsiteX2207" fmla="*/ 2614925 w 6689088"/>
              <a:gd name="connsiteY2207" fmla="*/ 1921800 h 6689084"/>
              <a:gd name="connsiteX2208" fmla="*/ 2614563 w 6689088"/>
              <a:gd name="connsiteY2208" fmla="*/ 1921434 h 6689084"/>
              <a:gd name="connsiteX2209" fmla="*/ 2614925 w 6689088"/>
              <a:gd name="connsiteY2209" fmla="*/ 1921072 h 6689084"/>
              <a:gd name="connsiteX2210" fmla="*/ 2153808 w 6689088"/>
              <a:gd name="connsiteY2210" fmla="*/ 1921072 h 6689084"/>
              <a:gd name="connsiteX2211" fmla="*/ 2154170 w 6689088"/>
              <a:gd name="connsiteY2211" fmla="*/ 1921434 h 6689084"/>
              <a:gd name="connsiteX2212" fmla="*/ 2153808 w 6689088"/>
              <a:gd name="connsiteY2212" fmla="*/ 1921800 h 6689084"/>
              <a:gd name="connsiteX2213" fmla="*/ 2153445 w 6689088"/>
              <a:gd name="connsiteY2213" fmla="*/ 1921434 h 6689084"/>
              <a:gd name="connsiteX2214" fmla="*/ 2153808 w 6689088"/>
              <a:gd name="connsiteY2214" fmla="*/ 1921072 h 6689084"/>
              <a:gd name="connsiteX2215" fmla="*/ 1999860 w 6689088"/>
              <a:gd name="connsiteY2215" fmla="*/ 1921072 h 6689084"/>
              <a:gd name="connsiteX2216" fmla="*/ 2000222 w 6689088"/>
              <a:gd name="connsiteY2216" fmla="*/ 1921434 h 6689084"/>
              <a:gd name="connsiteX2217" fmla="*/ 1999860 w 6689088"/>
              <a:gd name="connsiteY2217" fmla="*/ 1921800 h 6689084"/>
              <a:gd name="connsiteX2218" fmla="*/ 1999498 w 6689088"/>
              <a:gd name="connsiteY2218" fmla="*/ 1921434 h 6689084"/>
              <a:gd name="connsiteX2219" fmla="*/ 1999860 w 6689088"/>
              <a:gd name="connsiteY2219" fmla="*/ 1921072 h 6689084"/>
              <a:gd name="connsiteX2220" fmla="*/ 1846279 w 6689088"/>
              <a:gd name="connsiteY2220" fmla="*/ 1920710 h 6689084"/>
              <a:gd name="connsiteX2221" fmla="*/ 1847003 w 6689088"/>
              <a:gd name="connsiteY2221" fmla="*/ 1921434 h 6689084"/>
              <a:gd name="connsiteX2222" fmla="*/ 1846279 w 6689088"/>
              <a:gd name="connsiteY2222" fmla="*/ 1922162 h 6689084"/>
              <a:gd name="connsiteX2223" fmla="*/ 1845551 w 6689088"/>
              <a:gd name="connsiteY2223" fmla="*/ 1921434 h 6689084"/>
              <a:gd name="connsiteX2224" fmla="*/ 1846279 w 6689088"/>
              <a:gd name="connsiteY2224" fmla="*/ 1920710 h 6689084"/>
              <a:gd name="connsiteX2225" fmla="*/ 2768873 w 6689088"/>
              <a:gd name="connsiteY2225" fmla="*/ 1919620 h 6689084"/>
              <a:gd name="connsiteX2226" fmla="*/ 2770325 w 6689088"/>
              <a:gd name="connsiteY2226" fmla="*/ 1921072 h 6689084"/>
              <a:gd name="connsiteX2227" fmla="*/ 2768873 w 6689088"/>
              <a:gd name="connsiteY2227" fmla="*/ 1922524 h 6689084"/>
              <a:gd name="connsiteX2228" fmla="*/ 2767421 w 6689088"/>
              <a:gd name="connsiteY2228" fmla="*/ 1921072 h 6689084"/>
              <a:gd name="connsiteX2229" fmla="*/ 2768873 w 6689088"/>
              <a:gd name="connsiteY2229" fmla="*/ 1919620 h 6689084"/>
              <a:gd name="connsiteX2230" fmla="*/ 2922454 w 6689088"/>
              <a:gd name="connsiteY2230" fmla="*/ 1918895 h 6689084"/>
              <a:gd name="connsiteX2231" fmla="*/ 2924635 w 6689088"/>
              <a:gd name="connsiteY2231" fmla="*/ 1921076 h 6689084"/>
              <a:gd name="connsiteX2232" fmla="*/ 2922454 w 6689088"/>
              <a:gd name="connsiteY2232" fmla="*/ 1923252 h 6689084"/>
              <a:gd name="connsiteX2233" fmla="*/ 2920278 w 6689088"/>
              <a:gd name="connsiteY2233" fmla="*/ 1921076 h 6689084"/>
              <a:gd name="connsiteX2234" fmla="*/ 2922454 w 6689088"/>
              <a:gd name="connsiteY2234" fmla="*/ 1918895 h 6689084"/>
              <a:gd name="connsiteX2235" fmla="*/ 3076406 w 6689088"/>
              <a:gd name="connsiteY2235" fmla="*/ 1918167 h 6689084"/>
              <a:gd name="connsiteX2236" fmla="*/ 3079672 w 6689088"/>
              <a:gd name="connsiteY2236" fmla="*/ 1921434 h 6689084"/>
              <a:gd name="connsiteX2237" fmla="*/ 3076406 w 6689088"/>
              <a:gd name="connsiteY2237" fmla="*/ 1924701 h 6689084"/>
              <a:gd name="connsiteX2238" fmla="*/ 3073135 w 6689088"/>
              <a:gd name="connsiteY2238" fmla="*/ 1921434 h 6689084"/>
              <a:gd name="connsiteX2239" fmla="*/ 3076406 w 6689088"/>
              <a:gd name="connsiteY2239" fmla="*/ 1918167 h 6689084"/>
              <a:gd name="connsiteX2240" fmla="*/ 3230353 w 6689088"/>
              <a:gd name="connsiteY2240" fmla="*/ 1916715 h 6689084"/>
              <a:gd name="connsiteX2241" fmla="*/ 3234710 w 6689088"/>
              <a:gd name="connsiteY2241" fmla="*/ 1921072 h 6689084"/>
              <a:gd name="connsiteX2242" fmla="*/ 3230353 w 6689088"/>
              <a:gd name="connsiteY2242" fmla="*/ 1925429 h 6689084"/>
              <a:gd name="connsiteX2243" fmla="*/ 3225996 w 6689088"/>
              <a:gd name="connsiteY2243" fmla="*/ 1921072 h 6689084"/>
              <a:gd name="connsiteX2244" fmla="*/ 3230353 w 6689088"/>
              <a:gd name="connsiteY2244" fmla="*/ 1916715 h 6689084"/>
              <a:gd name="connsiteX2245" fmla="*/ 3383938 w 6689088"/>
              <a:gd name="connsiteY2245" fmla="*/ 1915625 h 6689084"/>
              <a:gd name="connsiteX2246" fmla="*/ 3389748 w 6689088"/>
              <a:gd name="connsiteY2246" fmla="*/ 1921434 h 6689084"/>
              <a:gd name="connsiteX2247" fmla="*/ 3383938 w 6689088"/>
              <a:gd name="connsiteY2247" fmla="*/ 1927243 h 6689084"/>
              <a:gd name="connsiteX2248" fmla="*/ 3378129 w 6689088"/>
              <a:gd name="connsiteY2248" fmla="*/ 1921434 h 6689084"/>
              <a:gd name="connsiteX2249" fmla="*/ 3383938 w 6689088"/>
              <a:gd name="connsiteY2249" fmla="*/ 1915625 h 6689084"/>
              <a:gd name="connsiteX2250" fmla="*/ 3537882 w 6689088"/>
              <a:gd name="connsiteY2250" fmla="*/ 1913810 h 6689084"/>
              <a:gd name="connsiteX2251" fmla="*/ 3545143 w 6689088"/>
              <a:gd name="connsiteY2251" fmla="*/ 1921072 h 6689084"/>
              <a:gd name="connsiteX2252" fmla="*/ 3537882 w 6689088"/>
              <a:gd name="connsiteY2252" fmla="*/ 1928334 h 6689084"/>
              <a:gd name="connsiteX2253" fmla="*/ 3530620 w 6689088"/>
              <a:gd name="connsiteY2253" fmla="*/ 1921072 h 6689084"/>
              <a:gd name="connsiteX2254" fmla="*/ 3537882 w 6689088"/>
              <a:gd name="connsiteY2254" fmla="*/ 1913810 h 6689084"/>
              <a:gd name="connsiteX2255" fmla="*/ 3691467 w 6689088"/>
              <a:gd name="connsiteY2255" fmla="*/ 1911996 h 6689084"/>
              <a:gd name="connsiteX2256" fmla="*/ 3700547 w 6689088"/>
              <a:gd name="connsiteY2256" fmla="*/ 1921072 h 6689084"/>
              <a:gd name="connsiteX2257" fmla="*/ 3691467 w 6689088"/>
              <a:gd name="connsiteY2257" fmla="*/ 1930152 h 6689084"/>
              <a:gd name="connsiteX2258" fmla="*/ 3682391 w 6689088"/>
              <a:gd name="connsiteY2258" fmla="*/ 1921072 h 6689084"/>
              <a:gd name="connsiteX2259" fmla="*/ 3691467 w 6689088"/>
              <a:gd name="connsiteY2259" fmla="*/ 1911996 h 6689084"/>
              <a:gd name="connsiteX2260" fmla="*/ 3845414 w 6689088"/>
              <a:gd name="connsiteY2260" fmla="*/ 1911268 h 6689084"/>
              <a:gd name="connsiteX2261" fmla="*/ 3855581 w 6689088"/>
              <a:gd name="connsiteY2261" fmla="*/ 1921434 h 6689084"/>
              <a:gd name="connsiteX2262" fmla="*/ 3845414 w 6689088"/>
              <a:gd name="connsiteY2262" fmla="*/ 1931600 h 6689084"/>
              <a:gd name="connsiteX2263" fmla="*/ 3835248 w 6689088"/>
              <a:gd name="connsiteY2263" fmla="*/ 1921434 h 6689084"/>
              <a:gd name="connsiteX2264" fmla="*/ 3845414 w 6689088"/>
              <a:gd name="connsiteY2264" fmla="*/ 1911268 h 6689084"/>
              <a:gd name="connsiteX2265" fmla="*/ 3999000 w 6689088"/>
              <a:gd name="connsiteY2265" fmla="*/ 1909091 h 6689084"/>
              <a:gd name="connsiteX2266" fmla="*/ 4010984 w 6689088"/>
              <a:gd name="connsiteY2266" fmla="*/ 1921072 h 6689084"/>
              <a:gd name="connsiteX2267" fmla="*/ 3999000 w 6689088"/>
              <a:gd name="connsiteY2267" fmla="*/ 1933053 h 6689084"/>
              <a:gd name="connsiteX2268" fmla="*/ 3987019 w 6689088"/>
              <a:gd name="connsiteY2268" fmla="*/ 1921072 h 6689084"/>
              <a:gd name="connsiteX2269" fmla="*/ 3999000 w 6689088"/>
              <a:gd name="connsiteY2269" fmla="*/ 1909091 h 6689084"/>
              <a:gd name="connsiteX2270" fmla="*/ 4152951 w 6689088"/>
              <a:gd name="connsiteY2270" fmla="*/ 1907277 h 6689084"/>
              <a:gd name="connsiteX2271" fmla="*/ 4166746 w 6689088"/>
              <a:gd name="connsiteY2271" fmla="*/ 1921076 h 6689084"/>
              <a:gd name="connsiteX2272" fmla="*/ 4152951 w 6689088"/>
              <a:gd name="connsiteY2272" fmla="*/ 1934871 h 6689084"/>
              <a:gd name="connsiteX2273" fmla="*/ 4139152 w 6689088"/>
              <a:gd name="connsiteY2273" fmla="*/ 1921076 h 6689084"/>
              <a:gd name="connsiteX2274" fmla="*/ 4152951 w 6689088"/>
              <a:gd name="connsiteY2274" fmla="*/ 1907277 h 6689084"/>
              <a:gd name="connsiteX2275" fmla="*/ 4306528 w 6689088"/>
              <a:gd name="connsiteY2275" fmla="*/ 1905824 h 6689084"/>
              <a:gd name="connsiteX2276" fmla="*/ 4321780 w 6689088"/>
              <a:gd name="connsiteY2276" fmla="*/ 1921072 h 6689084"/>
              <a:gd name="connsiteX2277" fmla="*/ 4306528 w 6689088"/>
              <a:gd name="connsiteY2277" fmla="*/ 1936323 h 6689084"/>
              <a:gd name="connsiteX2278" fmla="*/ 4291281 w 6689088"/>
              <a:gd name="connsiteY2278" fmla="*/ 1921072 h 6689084"/>
              <a:gd name="connsiteX2279" fmla="*/ 4306528 w 6689088"/>
              <a:gd name="connsiteY2279" fmla="*/ 1905824 h 6689084"/>
              <a:gd name="connsiteX2280" fmla="*/ 4460480 w 6689088"/>
              <a:gd name="connsiteY2280" fmla="*/ 1904006 h 6689084"/>
              <a:gd name="connsiteX2281" fmla="*/ 4477546 w 6689088"/>
              <a:gd name="connsiteY2281" fmla="*/ 1921072 h 6689084"/>
              <a:gd name="connsiteX2282" fmla="*/ 4460480 w 6689088"/>
              <a:gd name="connsiteY2282" fmla="*/ 1938138 h 6689084"/>
              <a:gd name="connsiteX2283" fmla="*/ 4443414 w 6689088"/>
              <a:gd name="connsiteY2283" fmla="*/ 1921072 h 6689084"/>
              <a:gd name="connsiteX2284" fmla="*/ 4460480 w 6689088"/>
              <a:gd name="connsiteY2284" fmla="*/ 1904006 h 6689084"/>
              <a:gd name="connsiteX2285" fmla="*/ 4614061 w 6689088"/>
              <a:gd name="connsiteY2285" fmla="*/ 1901830 h 6689084"/>
              <a:gd name="connsiteX2286" fmla="*/ 4633304 w 6689088"/>
              <a:gd name="connsiteY2286" fmla="*/ 1921072 h 6689084"/>
              <a:gd name="connsiteX2287" fmla="*/ 4614061 w 6689088"/>
              <a:gd name="connsiteY2287" fmla="*/ 1940314 h 6689084"/>
              <a:gd name="connsiteX2288" fmla="*/ 4594818 w 6689088"/>
              <a:gd name="connsiteY2288" fmla="*/ 1921072 h 6689084"/>
              <a:gd name="connsiteX2289" fmla="*/ 4614061 w 6689088"/>
              <a:gd name="connsiteY2289" fmla="*/ 1901830 h 6689084"/>
              <a:gd name="connsiteX2290" fmla="*/ 4768012 w 6689088"/>
              <a:gd name="connsiteY2290" fmla="*/ 1899649 h 6689084"/>
              <a:gd name="connsiteX2291" fmla="*/ 4789432 w 6689088"/>
              <a:gd name="connsiteY2291" fmla="*/ 1921072 h 6689084"/>
              <a:gd name="connsiteX2292" fmla="*/ 4768012 w 6689088"/>
              <a:gd name="connsiteY2292" fmla="*/ 1942495 h 6689084"/>
              <a:gd name="connsiteX2293" fmla="*/ 4746590 w 6689088"/>
              <a:gd name="connsiteY2293" fmla="*/ 1921072 h 6689084"/>
              <a:gd name="connsiteX2294" fmla="*/ 4768012 w 6689088"/>
              <a:gd name="connsiteY2294" fmla="*/ 1899649 h 6689084"/>
              <a:gd name="connsiteX2295" fmla="*/ 4921594 w 6689088"/>
              <a:gd name="connsiteY2295" fmla="*/ 1898563 h 6689084"/>
              <a:gd name="connsiteX2296" fmla="*/ 4944469 w 6689088"/>
              <a:gd name="connsiteY2296" fmla="*/ 1921438 h 6689084"/>
              <a:gd name="connsiteX2297" fmla="*/ 4921594 w 6689088"/>
              <a:gd name="connsiteY2297" fmla="*/ 1944309 h 6689084"/>
              <a:gd name="connsiteX2298" fmla="*/ 4898718 w 6689088"/>
              <a:gd name="connsiteY2298" fmla="*/ 1921438 h 6689084"/>
              <a:gd name="connsiteX2299" fmla="*/ 4921594 w 6689088"/>
              <a:gd name="connsiteY2299" fmla="*/ 1898563 h 6689084"/>
              <a:gd name="connsiteX2300" fmla="*/ 5075541 w 6689088"/>
              <a:gd name="connsiteY2300" fmla="*/ 1896382 h 6689084"/>
              <a:gd name="connsiteX2301" fmla="*/ 5100597 w 6689088"/>
              <a:gd name="connsiteY2301" fmla="*/ 1921434 h 6689084"/>
              <a:gd name="connsiteX2302" fmla="*/ 5075541 w 6689088"/>
              <a:gd name="connsiteY2302" fmla="*/ 1946490 h 6689084"/>
              <a:gd name="connsiteX2303" fmla="*/ 5050490 w 6689088"/>
              <a:gd name="connsiteY2303" fmla="*/ 1921434 h 6689084"/>
              <a:gd name="connsiteX2304" fmla="*/ 5075541 w 6689088"/>
              <a:gd name="connsiteY2304" fmla="*/ 1896382 h 6689084"/>
              <a:gd name="connsiteX2305" fmla="*/ 5229126 w 6689088"/>
              <a:gd name="connsiteY2305" fmla="*/ 1894206 h 6689084"/>
              <a:gd name="connsiteX2306" fmla="*/ 5256358 w 6689088"/>
              <a:gd name="connsiteY2306" fmla="*/ 1921438 h 6689084"/>
              <a:gd name="connsiteX2307" fmla="*/ 5229126 w 6689088"/>
              <a:gd name="connsiteY2307" fmla="*/ 1948670 h 6689084"/>
              <a:gd name="connsiteX2308" fmla="*/ 5201894 w 6689088"/>
              <a:gd name="connsiteY2308" fmla="*/ 1921438 h 6689084"/>
              <a:gd name="connsiteX2309" fmla="*/ 5229126 w 6689088"/>
              <a:gd name="connsiteY2309" fmla="*/ 1894206 h 6689084"/>
              <a:gd name="connsiteX2310" fmla="*/ 5383074 w 6689088"/>
              <a:gd name="connsiteY2310" fmla="*/ 1891301 h 6689084"/>
              <a:gd name="connsiteX2311" fmla="*/ 5412848 w 6689088"/>
              <a:gd name="connsiteY2311" fmla="*/ 1921072 h 6689084"/>
              <a:gd name="connsiteX2312" fmla="*/ 5383074 w 6689088"/>
              <a:gd name="connsiteY2312" fmla="*/ 1950847 h 6689084"/>
              <a:gd name="connsiteX2313" fmla="*/ 5353303 w 6689088"/>
              <a:gd name="connsiteY2313" fmla="*/ 1921072 h 6689084"/>
              <a:gd name="connsiteX2314" fmla="*/ 5383074 w 6689088"/>
              <a:gd name="connsiteY2314" fmla="*/ 1891301 h 6689084"/>
              <a:gd name="connsiteX2315" fmla="*/ 5536659 w 6689088"/>
              <a:gd name="connsiteY2315" fmla="*/ 1889121 h 6689084"/>
              <a:gd name="connsiteX2316" fmla="*/ 5568610 w 6689088"/>
              <a:gd name="connsiteY2316" fmla="*/ 1921072 h 6689084"/>
              <a:gd name="connsiteX2317" fmla="*/ 5536659 w 6689088"/>
              <a:gd name="connsiteY2317" fmla="*/ 1953023 h 6689084"/>
              <a:gd name="connsiteX2318" fmla="*/ 5504708 w 6689088"/>
              <a:gd name="connsiteY2318" fmla="*/ 1921072 h 6689084"/>
              <a:gd name="connsiteX2319" fmla="*/ 5536659 w 6689088"/>
              <a:gd name="connsiteY2319" fmla="*/ 1889121 h 6689084"/>
              <a:gd name="connsiteX2320" fmla="*/ 5690606 w 6689088"/>
              <a:gd name="connsiteY2320" fmla="*/ 1887306 h 6689084"/>
              <a:gd name="connsiteX2321" fmla="*/ 5724376 w 6689088"/>
              <a:gd name="connsiteY2321" fmla="*/ 1921072 h 6689084"/>
              <a:gd name="connsiteX2322" fmla="*/ 5690606 w 6689088"/>
              <a:gd name="connsiteY2322" fmla="*/ 1954842 h 6689084"/>
              <a:gd name="connsiteX2323" fmla="*/ 5656840 w 6689088"/>
              <a:gd name="connsiteY2323" fmla="*/ 1921072 h 6689084"/>
              <a:gd name="connsiteX2324" fmla="*/ 5690606 w 6689088"/>
              <a:gd name="connsiteY2324" fmla="*/ 1887306 h 6689084"/>
              <a:gd name="connsiteX2325" fmla="*/ 5844554 w 6689088"/>
              <a:gd name="connsiteY2325" fmla="*/ 1884764 h 6689084"/>
              <a:gd name="connsiteX2326" fmla="*/ 5880862 w 6689088"/>
              <a:gd name="connsiteY2326" fmla="*/ 1921072 h 6689084"/>
              <a:gd name="connsiteX2327" fmla="*/ 5844554 w 6689088"/>
              <a:gd name="connsiteY2327" fmla="*/ 1957380 h 6689084"/>
              <a:gd name="connsiteX2328" fmla="*/ 5808246 w 6689088"/>
              <a:gd name="connsiteY2328" fmla="*/ 1921072 h 6689084"/>
              <a:gd name="connsiteX2329" fmla="*/ 5844554 w 6689088"/>
              <a:gd name="connsiteY2329" fmla="*/ 1884764 h 6689084"/>
              <a:gd name="connsiteX2330" fmla="*/ 5998139 w 6689088"/>
              <a:gd name="connsiteY2330" fmla="*/ 1882225 h 6689084"/>
              <a:gd name="connsiteX2331" fmla="*/ 6036990 w 6689088"/>
              <a:gd name="connsiteY2331" fmla="*/ 1921076 h 6689084"/>
              <a:gd name="connsiteX2332" fmla="*/ 5998139 w 6689088"/>
              <a:gd name="connsiteY2332" fmla="*/ 1959923 h 6689084"/>
              <a:gd name="connsiteX2333" fmla="*/ 5959288 w 6689088"/>
              <a:gd name="connsiteY2333" fmla="*/ 1921076 h 6689084"/>
              <a:gd name="connsiteX2334" fmla="*/ 5998139 w 6689088"/>
              <a:gd name="connsiteY2334" fmla="*/ 1882225 h 6689084"/>
              <a:gd name="connsiteX2335" fmla="*/ 6152083 w 6689088"/>
              <a:gd name="connsiteY2335" fmla="*/ 1880045 h 6689084"/>
              <a:gd name="connsiteX2336" fmla="*/ 6193114 w 6689088"/>
              <a:gd name="connsiteY2336" fmla="*/ 1921072 h 6689084"/>
              <a:gd name="connsiteX2337" fmla="*/ 6152083 w 6689088"/>
              <a:gd name="connsiteY2337" fmla="*/ 1962103 h 6689084"/>
              <a:gd name="connsiteX2338" fmla="*/ 6111056 w 6689088"/>
              <a:gd name="connsiteY2338" fmla="*/ 1921072 h 6689084"/>
              <a:gd name="connsiteX2339" fmla="*/ 6152083 w 6689088"/>
              <a:gd name="connsiteY2339" fmla="*/ 1880045 h 6689084"/>
              <a:gd name="connsiteX2340" fmla="*/ 6305668 w 6689088"/>
              <a:gd name="connsiteY2340" fmla="*/ 1877502 h 6689084"/>
              <a:gd name="connsiteX2341" fmla="*/ 6349238 w 6689088"/>
              <a:gd name="connsiteY2341" fmla="*/ 1921072 h 6689084"/>
              <a:gd name="connsiteX2342" fmla="*/ 6305668 w 6689088"/>
              <a:gd name="connsiteY2342" fmla="*/ 1964642 h 6689084"/>
              <a:gd name="connsiteX2343" fmla="*/ 6262098 w 6689088"/>
              <a:gd name="connsiteY2343" fmla="*/ 1921072 h 6689084"/>
              <a:gd name="connsiteX2344" fmla="*/ 6305668 w 6689088"/>
              <a:gd name="connsiteY2344" fmla="*/ 1877502 h 6689084"/>
              <a:gd name="connsiteX2345" fmla="*/ 6459616 w 6689088"/>
              <a:gd name="connsiteY2345" fmla="*/ 1874959 h 6689084"/>
              <a:gd name="connsiteX2346" fmla="*/ 6505728 w 6689088"/>
              <a:gd name="connsiteY2346" fmla="*/ 1921072 h 6689084"/>
              <a:gd name="connsiteX2347" fmla="*/ 6459616 w 6689088"/>
              <a:gd name="connsiteY2347" fmla="*/ 1967184 h 6689084"/>
              <a:gd name="connsiteX2348" fmla="*/ 6413503 w 6689088"/>
              <a:gd name="connsiteY2348" fmla="*/ 1921072 h 6689084"/>
              <a:gd name="connsiteX2349" fmla="*/ 6459616 w 6689088"/>
              <a:gd name="connsiteY2349" fmla="*/ 1874959 h 6689084"/>
              <a:gd name="connsiteX2350" fmla="*/ 6613200 w 6689088"/>
              <a:gd name="connsiteY2350" fmla="*/ 1872421 h 6689084"/>
              <a:gd name="connsiteX2351" fmla="*/ 6661856 w 6689088"/>
              <a:gd name="connsiteY2351" fmla="*/ 1921076 h 6689084"/>
              <a:gd name="connsiteX2352" fmla="*/ 6613200 w 6689088"/>
              <a:gd name="connsiteY2352" fmla="*/ 1969727 h 6689084"/>
              <a:gd name="connsiteX2353" fmla="*/ 6564550 w 6689088"/>
              <a:gd name="connsiteY2353" fmla="*/ 1921076 h 6689084"/>
              <a:gd name="connsiteX2354" fmla="*/ 6613200 w 6689088"/>
              <a:gd name="connsiteY2354" fmla="*/ 1872421 h 6689084"/>
              <a:gd name="connsiteX2355" fmla="*/ 2461340 w 6689088"/>
              <a:gd name="connsiteY2355" fmla="*/ 1767125 h 6689084"/>
              <a:gd name="connsiteX2356" fmla="*/ 2461702 w 6689088"/>
              <a:gd name="connsiteY2356" fmla="*/ 1767487 h 6689084"/>
              <a:gd name="connsiteX2357" fmla="*/ 2461340 w 6689088"/>
              <a:gd name="connsiteY2357" fmla="*/ 1767853 h 6689084"/>
              <a:gd name="connsiteX2358" fmla="*/ 2460978 w 6689088"/>
              <a:gd name="connsiteY2358" fmla="*/ 1767487 h 6689084"/>
              <a:gd name="connsiteX2359" fmla="*/ 2461340 w 6689088"/>
              <a:gd name="connsiteY2359" fmla="*/ 1767125 h 6689084"/>
              <a:gd name="connsiteX2360" fmla="*/ 1999860 w 6689088"/>
              <a:gd name="connsiteY2360" fmla="*/ 1767125 h 6689084"/>
              <a:gd name="connsiteX2361" fmla="*/ 2000222 w 6689088"/>
              <a:gd name="connsiteY2361" fmla="*/ 1767487 h 6689084"/>
              <a:gd name="connsiteX2362" fmla="*/ 1999860 w 6689088"/>
              <a:gd name="connsiteY2362" fmla="*/ 1767853 h 6689084"/>
              <a:gd name="connsiteX2363" fmla="*/ 1999498 w 6689088"/>
              <a:gd name="connsiteY2363" fmla="*/ 1767487 h 6689084"/>
              <a:gd name="connsiteX2364" fmla="*/ 1999860 w 6689088"/>
              <a:gd name="connsiteY2364" fmla="*/ 1767125 h 6689084"/>
              <a:gd name="connsiteX2365" fmla="*/ 1846279 w 6689088"/>
              <a:gd name="connsiteY2365" fmla="*/ 1767125 h 6689084"/>
              <a:gd name="connsiteX2366" fmla="*/ 1846641 w 6689088"/>
              <a:gd name="connsiteY2366" fmla="*/ 1767487 h 6689084"/>
              <a:gd name="connsiteX2367" fmla="*/ 1846279 w 6689088"/>
              <a:gd name="connsiteY2367" fmla="*/ 1767853 h 6689084"/>
              <a:gd name="connsiteX2368" fmla="*/ 1845917 w 6689088"/>
              <a:gd name="connsiteY2368" fmla="*/ 1767487 h 6689084"/>
              <a:gd name="connsiteX2369" fmla="*/ 1846279 w 6689088"/>
              <a:gd name="connsiteY2369" fmla="*/ 1767125 h 6689084"/>
              <a:gd name="connsiteX2370" fmla="*/ 1692328 w 6689088"/>
              <a:gd name="connsiteY2370" fmla="*/ 1766762 h 6689084"/>
              <a:gd name="connsiteX2371" fmla="*/ 1693056 w 6689088"/>
              <a:gd name="connsiteY2371" fmla="*/ 1767491 h 6689084"/>
              <a:gd name="connsiteX2372" fmla="*/ 1692328 w 6689088"/>
              <a:gd name="connsiteY2372" fmla="*/ 1768215 h 6689084"/>
              <a:gd name="connsiteX2373" fmla="*/ 1691603 w 6689088"/>
              <a:gd name="connsiteY2373" fmla="*/ 1767491 h 6689084"/>
              <a:gd name="connsiteX2374" fmla="*/ 1692328 w 6689088"/>
              <a:gd name="connsiteY2374" fmla="*/ 1766762 h 6689084"/>
              <a:gd name="connsiteX2375" fmla="*/ 2614925 w 6689088"/>
              <a:gd name="connsiteY2375" fmla="*/ 1765672 h 6689084"/>
              <a:gd name="connsiteX2376" fmla="*/ 2616378 w 6689088"/>
              <a:gd name="connsiteY2376" fmla="*/ 1767125 h 6689084"/>
              <a:gd name="connsiteX2377" fmla="*/ 2614925 w 6689088"/>
              <a:gd name="connsiteY2377" fmla="*/ 1768577 h 6689084"/>
              <a:gd name="connsiteX2378" fmla="*/ 2613473 w 6689088"/>
              <a:gd name="connsiteY2378" fmla="*/ 1767125 h 6689084"/>
              <a:gd name="connsiteX2379" fmla="*/ 2614925 w 6689088"/>
              <a:gd name="connsiteY2379" fmla="*/ 1765672 h 6689084"/>
              <a:gd name="connsiteX2380" fmla="*/ 2768873 w 6689088"/>
              <a:gd name="connsiteY2380" fmla="*/ 1765310 h 6689084"/>
              <a:gd name="connsiteX2381" fmla="*/ 2771049 w 6689088"/>
              <a:gd name="connsiteY2381" fmla="*/ 1767491 h 6689084"/>
              <a:gd name="connsiteX2382" fmla="*/ 2768873 w 6689088"/>
              <a:gd name="connsiteY2382" fmla="*/ 1769667 h 6689084"/>
              <a:gd name="connsiteX2383" fmla="*/ 2766692 w 6689088"/>
              <a:gd name="connsiteY2383" fmla="*/ 1767491 h 6689084"/>
              <a:gd name="connsiteX2384" fmla="*/ 2768873 w 6689088"/>
              <a:gd name="connsiteY2384" fmla="*/ 1765310 h 6689084"/>
              <a:gd name="connsiteX2385" fmla="*/ 2922454 w 6689088"/>
              <a:gd name="connsiteY2385" fmla="*/ 1764220 h 6689084"/>
              <a:gd name="connsiteX2386" fmla="*/ 2925721 w 6689088"/>
              <a:gd name="connsiteY2386" fmla="*/ 1767487 h 6689084"/>
              <a:gd name="connsiteX2387" fmla="*/ 2922454 w 6689088"/>
              <a:gd name="connsiteY2387" fmla="*/ 1770757 h 6689084"/>
              <a:gd name="connsiteX2388" fmla="*/ 2919188 w 6689088"/>
              <a:gd name="connsiteY2388" fmla="*/ 1767487 h 6689084"/>
              <a:gd name="connsiteX2389" fmla="*/ 2922454 w 6689088"/>
              <a:gd name="connsiteY2389" fmla="*/ 1764220 h 6689084"/>
              <a:gd name="connsiteX2390" fmla="*/ 3076406 w 6689088"/>
              <a:gd name="connsiteY2390" fmla="*/ 1763134 h 6689084"/>
              <a:gd name="connsiteX2391" fmla="*/ 3080762 w 6689088"/>
              <a:gd name="connsiteY2391" fmla="*/ 1767491 h 6689084"/>
              <a:gd name="connsiteX2392" fmla="*/ 3076406 w 6689088"/>
              <a:gd name="connsiteY2392" fmla="*/ 1771848 h 6689084"/>
              <a:gd name="connsiteX2393" fmla="*/ 3072048 w 6689088"/>
              <a:gd name="connsiteY2393" fmla="*/ 1767491 h 6689084"/>
              <a:gd name="connsiteX2394" fmla="*/ 3076406 w 6689088"/>
              <a:gd name="connsiteY2394" fmla="*/ 1763134 h 6689084"/>
              <a:gd name="connsiteX2395" fmla="*/ 3230353 w 6689088"/>
              <a:gd name="connsiteY2395" fmla="*/ 1761681 h 6689084"/>
              <a:gd name="connsiteX2396" fmla="*/ 3236162 w 6689088"/>
              <a:gd name="connsiteY2396" fmla="*/ 1767491 h 6689084"/>
              <a:gd name="connsiteX2397" fmla="*/ 3230353 w 6689088"/>
              <a:gd name="connsiteY2397" fmla="*/ 1773300 h 6689084"/>
              <a:gd name="connsiteX2398" fmla="*/ 3224544 w 6689088"/>
              <a:gd name="connsiteY2398" fmla="*/ 1767491 h 6689084"/>
              <a:gd name="connsiteX2399" fmla="*/ 3230353 w 6689088"/>
              <a:gd name="connsiteY2399" fmla="*/ 1761681 h 6689084"/>
              <a:gd name="connsiteX2400" fmla="*/ 3383938 w 6689088"/>
              <a:gd name="connsiteY2400" fmla="*/ 1760225 h 6689084"/>
              <a:gd name="connsiteX2401" fmla="*/ 3391200 w 6689088"/>
              <a:gd name="connsiteY2401" fmla="*/ 1767487 h 6689084"/>
              <a:gd name="connsiteX2402" fmla="*/ 3383938 w 6689088"/>
              <a:gd name="connsiteY2402" fmla="*/ 1774748 h 6689084"/>
              <a:gd name="connsiteX2403" fmla="*/ 3376676 w 6689088"/>
              <a:gd name="connsiteY2403" fmla="*/ 1767487 h 6689084"/>
              <a:gd name="connsiteX2404" fmla="*/ 3383938 w 6689088"/>
              <a:gd name="connsiteY2404" fmla="*/ 1760225 h 6689084"/>
              <a:gd name="connsiteX2405" fmla="*/ 3537882 w 6689088"/>
              <a:gd name="connsiteY2405" fmla="*/ 1758411 h 6689084"/>
              <a:gd name="connsiteX2406" fmla="*/ 3546962 w 6689088"/>
              <a:gd name="connsiteY2406" fmla="*/ 1767487 h 6689084"/>
              <a:gd name="connsiteX2407" fmla="*/ 3537882 w 6689088"/>
              <a:gd name="connsiteY2407" fmla="*/ 1776567 h 6689084"/>
              <a:gd name="connsiteX2408" fmla="*/ 3528806 w 6689088"/>
              <a:gd name="connsiteY2408" fmla="*/ 1767487 h 6689084"/>
              <a:gd name="connsiteX2409" fmla="*/ 3537882 w 6689088"/>
              <a:gd name="connsiteY2409" fmla="*/ 1758411 h 6689084"/>
              <a:gd name="connsiteX2410" fmla="*/ 3691467 w 6689088"/>
              <a:gd name="connsiteY2410" fmla="*/ 1757324 h 6689084"/>
              <a:gd name="connsiteX2411" fmla="*/ 3701633 w 6689088"/>
              <a:gd name="connsiteY2411" fmla="*/ 1767491 h 6689084"/>
              <a:gd name="connsiteX2412" fmla="*/ 3691467 w 6689088"/>
              <a:gd name="connsiteY2412" fmla="*/ 1777657 h 6689084"/>
              <a:gd name="connsiteX2413" fmla="*/ 3681300 w 6689088"/>
              <a:gd name="connsiteY2413" fmla="*/ 1767491 h 6689084"/>
              <a:gd name="connsiteX2414" fmla="*/ 3691467 w 6689088"/>
              <a:gd name="connsiteY2414" fmla="*/ 1757324 h 6689084"/>
              <a:gd name="connsiteX2415" fmla="*/ 3845414 w 6689088"/>
              <a:gd name="connsiteY2415" fmla="*/ 1755506 h 6689084"/>
              <a:gd name="connsiteX2416" fmla="*/ 3857399 w 6689088"/>
              <a:gd name="connsiteY2416" fmla="*/ 1767487 h 6689084"/>
              <a:gd name="connsiteX2417" fmla="*/ 3845414 w 6689088"/>
              <a:gd name="connsiteY2417" fmla="*/ 1779468 h 6689084"/>
              <a:gd name="connsiteX2418" fmla="*/ 3833434 w 6689088"/>
              <a:gd name="connsiteY2418" fmla="*/ 1767487 h 6689084"/>
              <a:gd name="connsiteX2419" fmla="*/ 3845414 w 6689088"/>
              <a:gd name="connsiteY2419" fmla="*/ 1755506 h 6689084"/>
              <a:gd name="connsiteX2420" fmla="*/ 3999000 w 6689088"/>
              <a:gd name="connsiteY2420" fmla="*/ 1753329 h 6689084"/>
              <a:gd name="connsiteX2421" fmla="*/ 4012799 w 6689088"/>
              <a:gd name="connsiteY2421" fmla="*/ 1767125 h 6689084"/>
              <a:gd name="connsiteX2422" fmla="*/ 3999000 w 6689088"/>
              <a:gd name="connsiteY2422" fmla="*/ 1780924 h 6689084"/>
              <a:gd name="connsiteX2423" fmla="*/ 3985204 w 6689088"/>
              <a:gd name="connsiteY2423" fmla="*/ 1767125 h 6689084"/>
              <a:gd name="connsiteX2424" fmla="*/ 3999000 w 6689088"/>
              <a:gd name="connsiteY2424" fmla="*/ 1753329 h 6689084"/>
              <a:gd name="connsiteX2425" fmla="*/ 4152947 w 6689088"/>
              <a:gd name="connsiteY2425" fmla="*/ 1752239 h 6689084"/>
              <a:gd name="connsiteX2426" fmla="*/ 4168198 w 6689088"/>
              <a:gd name="connsiteY2426" fmla="*/ 1767491 h 6689084"/>
              <a:gd name="connsiteX2427" fmla="*/ 4152947 w 6689088"/>
              <a:gd name="connsiteY2427" fmla="*/ 1782738 h 6689084"/>
              <a:gd name="connsiteX2428" fmla="*/ 4137700 w 6689088"/>
              <a:gd name="connsiteY2428" fmla="*/ 1767491 h 6689084"/>
              <a:gd name="connsiteX2429" fmla="*/ 4152947 w 6689088"/>
              <a:gd name="connsiteY2429" fmla="*/ 1752239 h 6689084"/>
              <a:gd name="connsiteX2430" fmla="*/ 4306532 w 6689088"/>
              <a:gd name="connsiteY2430" fmla="*/ 1750425 h 6689084"/>
              <a:gd name="connsiteX2431" fmla="*/ 4323598 w 6689088"/>
              <a:gd name="connsiteY2431" fmla="*/ 1767491 h 6689084"/>
              <a:gd name="connsiteX2432" fmla="*/ 4306532 w 6689088"/>
              <a:gd name="connsiteY2432" fmla="*/ 1784556 h 6689084"/>
              <a:gd name="connsiteX2433" fmla="*/ 4289466 w 6689088"/>
              <a:gd name="connsiteY2433" fmla="*/ 1767491 h 6689084"/>
              <a:gd name="connsiteX2434" fmla="*/ 4306532 w 6689088"/>
              <a:gd name="connsiteY2434" fmla="*/ 1750425 h 6689084"/>
              <a:gd name="connsiteX2435" fmla="*/ 4460480 w 6689088"/>
              <a:gd name="connsiteY2435" fmla="*/ 1748244 h 6689084"/>
              <a:gd name="connsiteX2436" fmla="*/ 4479726 w 6689088"/>
              <a:gd name="connsiteY2436" fmla="*/ 1767487 h 6689084"/>
              <a:gd name="connsiteX2437" fmla="*/ 4460480 w 6689088"/>
              <a:gd name="connsiteY2437" fmla="*/ 1786729 h 6689084"/>
              <a:gd name="connsiteX2438" fmla="*/ 4441237 w 6689088"/>
              <a:gd name="connsiteY2438" fmla="*/ 1767487 h 6689084"/>
              <a:gd name="connsiteX2439" fmla="*/ 4460480 w 6689088"/>
              <a:gd name="connsiteY2439" fmla="*/ 1748244 h 6689084"/>
              <a:gd name="connsiteX2440" fmla="*/ 4614065 w 6689088"/>
              <a:gd name="connsiteY2440" fmla="*/ 1746068 h 6689084"/>
              <a:gd name="connsiteX2441" fmla="*/ 4635484 w 6689088"/>
              <a:gd name="connsiteY2441" fmla="*/ 1767491 h 6689084"/>
              <a:gd name="connsiteX2442" fmla="*/ 4614065 w 6689088"/>
              <a:gd name="connsiteY2442" fmla="*/ 1788913 h 6689084"/>
              <a:gd name="connsiteX2443" fmla="*/ 4592642 w 6689088"/>
              <a:gd name="connsiteY2443" fmla="*/ 1767491 h 6689084"/>
              <a:gd name="connsiteX2444" fmla="*/ 4614065 w 6689088"/>
              <a:gd name="connsiteY2444" fmla="*/ 1746068 h 6689084"/>
              <a:gd name="connsiteX2445" fmla="*/ 4768012 w 6689088"/>
              <a:gd name="connsiteY2445" fmla="*/ 1744615 h 6689084"/>
              <a:gd name="connsiteX2446" fmla="*/ 4790884 w 6689088"/>
              <a:gd name="connsiteY2446" fmla="*/ 1767491 h 6689084"/>
              <a:gd name="connsiteX2447" fmla="*/ 4768012 w 6689088"/>
              <a:gd name="connsiteY2447" fmla="*/ 1790366 h 6689084"/>
              <a:gd name="connsiteX2448" fmla="*/ 4745137 w 6689088"/>
              <a:gd name="connsiteY2448" fmla="*/ 1767491 h 6689084"/>
              <a:gd name="connsiteX2449" fmla="*/ 4768012 w 6689088"/>
              <a:gd name="connsiteY2449" fmla="*/ 1744615 h 6689084"/>
              <a:gd name="connsiteX2450" fmla="*/ 4921594 w 6689088"/>
              <a:gd name="connsiteY2450" fmla="*/ 1742435 h 6689084"/>
              <a:gd name="connsiteX2451" fmla="*/ 4946650 w 6689088"/>
              <a:gd name="connsiteY2451" fmla="*/ 1767487 h 6689084"/>
              <a:gd name="connsiteX2452" fmla="*/ 4921594 w 6689088"/>
              <a:gd name="connsiteY2452" fmla="*/ 1792538 h 6689084"/>
              <a:gd name="connsiteX2453" fmla="*/ 4896542 w 6689088"/>
              <a:gd name="connsiteY2453" fmla="*/ 1767487 h 6689084"/>
              <a:gd name="connsiteX2454" fmla="*/ 4921594 w 6689088"/>
              <a:gd name="connsiteY2454" fmla="*/ 1742435 h 6689084"/>
              <a:gd name="connsiteX2455" fmla="*/ 5075545 w 6689088"/>
              <a:gd name="connsiteY2455" fmla="*/ 1740258 h 6689084"/>
              <a:gd name="connsiteX2456" fmla="*/ 5102777 w 6689088"/>
              <a:gd name="connsiteY2456" fmla="*/ 1767491 h 6689084"/>
              <a:gd name="connsiteX2457" fmla="*/ 5075545 w 6689088"/>
              <a:gd name="connsiteY2457" fmla="*/ 1794723 h 6689084"/>
              <a:gd name="connsiteX2458" fmla="*/ 5048313 w 6689088"/>
              <a:gd name="connsiteY2458" fmla="*/ 1767491 h 6689084"/>
              <a:gd name="connsiteX2459" fmla="*/ 5075545 w 6689088"/>
              <a:gd name="connsiteY2459" fmla="*/ 1740258 h 6689084"/>
              <a:gd name="connsiteX2460" fmla="*/ 5229126 w 6689088"/>
              <a:gd name="connsiteY2460" fmla="*/ 1737716 h 6689084"/>
              <a:gd name="connsiteX2461" fmla="*/ 5258901 w 6689088"/>
              <a:gd name="connsiteY2461" fmla="*/ 1767491 h 6689084"/>
              <a:gd name="connsiteX2462" fmla="*/ 5229126 w 6689088"/>
              <a:gd name="connsiteY2462" fmla="*/ 1797261 h 6689084"/>
              <a:gd name="connsiteX2463" fmla="*/ 5199356 w 6689088"/>
              <a:gd name="connsiteY2463" fmla="*/ 1767491 h 6689084"/>
              <a:gd name="connsiteX2464" fmla="*/ 5229126 w 6689088"/>
              <a:gd name="connsiteY2464" fmla="*/ 1737716 h 6689084"/>
              <a:gd name="connsiteX2465" fmla="*/ 5383074 w 6689088"/>
              <a:gd name="connsiteY2465" fmla="*/ 1735535 h 6689084"/>
              <a:gd name="connsiteX2466" fmla="*/ 5415025 w 6689088"/>
              <a:gd name="connsiteY2466" fmla="*/ 1767487 h 6689084"/>
              <a:gd name="connsiteX2467" fmla="*/ 5383074 w 6689088"/>
              <a:gd name="connsiteY2467" fmla="*/ 1799438 h 6689084"/>
              <a:gd name="connsiteX2468" fmla="*/ 5351122 w 6689088"/>
              <a:gd name="connsiteY2468" fmla="*/ 1767487 h 6689084"/>
              <a:gd name="connsiteX2469" fmla="*/ 5383074 w 6689088"/>
              <a:gd name="connsiteY2469" fmla="*/ 1735535 h 6689084"/>
              <a:gd name="connsiteX2470" fmla="*/ 5537025 w 6689088"/>
              <a:gd name="connsiteY2470" fmla="*/ 1733721 h 6689084"/>
              <a:gd name="connsiteX2471" fmla="*/ 5570791 w 6689088"/>
              <a:gd name="connsiteY2471" fmla="*/ 1767487 h 6689084"/>
              <a:gd name="connsiteX2472" fmla="*/ 5537025 w 6689088"/>
              <a:gd name="connsiteY2472" fmla="*/ 1801256 h 6689084"/>
              <a:gd name="connsiteX2473" fmla="*/ 5503256 w 6689088"/>
              <a:gd name="connsiteY2473" fmla="*/ 1767487 h 6689084"/>
              <a:gd name="connsiteX2474" fmla="*/ 5537025 w 6689088"/>
              <a:gd name="connsiteY2474" fmla="*/ 1733721 h 6689084"/>
              <a:gd name="connsiteX2475" fmla="*/ 5690606 w 6689088"/>
              <a:gd name="connsiteY2475" fmla="*/ 1731182 h 6689084"/>
              <a:gd name="connsiteX2476" fmla="*/ 5726915 w 6689088"/>
              <a:gd name="connsiteY2476" fmla="*/ 1767491 h 6689084"/>
              <a:gd name="connsiteX2477" fmla="*/ 5690606 w 6689088"/>
              <a:gd name="connsiteY2477" fmla="*/ 1803799 h 6689084"/>
              <a:gd name="connsiteX2478" fmla="*/ 5654298 w 6689088"/>
              <a:gd name="connsiteY2478" fmla="*/ 1767491 h 6689084"/>
              <a:gd name="connsiteX2479" fmla="*/ 5690606 w 6689088"/>
              <a:gd name="connsiteY2479" fmla="*/ 1731182 h 6689084"/>
              <a:gd name="connsiteX2480" fmla="*/ 5844554 w 6689088"/>
              <a:gd name="connsiteY2480" fmla="*/ 1728640 h 6689084"/>
              <a:gd name="connsiteX2481" fmla="*/ 5883405 w 6689088"/>
              <a:gd name="connsiteY2481" fmla="*/ 1767491 h 6689084"/>
              <a:gd name="connsiteX2482" fmla="*/ 5844554 w 6689088"/>
              <a:gd name="connsiteY2482" fmla="*/ 1806338 h 6689084"/>
              <a:gd name="connsiteX2483" fmla="*/ 5805703 w 6689088"/>
              <a:gd name="connsiteY2483" fmla="*/ 1767491 h 6689084"/>
              <a:gd name="connsiteX2484" fmla="*/ 5844554 w 6689088"/>
              <a:gd name="connsiteY2484" fmla="*/ 1728640 h 6689084"/>
              <a:gd name="connsiteX2485" fmla="*/ 5998136 w 6689088"/>
              <a:gd name="connsiteY2485" fmla="*/ 1726459 h 6689084"/>
              <a:gd name="connsiteX2486" fmla="*/ 6039166 w 6689088"/>
              <a:gd name="connsiteY2486" fmla="*/ 1767487 h 6689084"/>
              <a:gd name="connsiteX2487" fmla="*/ 5998136 w 6689088"/>
              <a:gd name="connsiteY2487" fmla="*/ 1808518 h 6689084"/>
              <a:gd name="connsiteX2488" fmla="*/ 5957108 w 6689088"/>
              <a:gd name="connsiteY2488" fmla="*/ 1767487 h 6689084"/>
              <a:gd name="connsiteX2489" fmla="*/ 5998136 w 6689088"/>
              <a:gd name="connsiteY2489" fmla="*/ 1726459 h 6689084"/>
              <a:gd name="connsiteX2490" fmla="*/ 6152086 w 6689088"/>
              <a:gd name="connsiteY2490" fmla="*/ 1723917 h 6689084"/>
              <a:gd name="connsiteX2491" fmla="*/ 6195656 w 6689088"/>
              <a:gd name="connsiteY2491" fmla="*/ 1767487 h 6689084"/>
              <a:gd name="connsiteX2492" fmla="*/ 6152086 w 6689088"/>
              <a:gd name="connsiteY2492" fmla="*/ 1811057 h 6689084"/>
              <a:gd name="connsiteX2493" fmla="*/ 6108516 w 6689088"/>
              <a:gd name="connsiteY2493" fmla="*/ 1767487 h 6689084"/>
              <a:gd name="connsiteX2494" fmla="*/ 6152086 w 6689088"/>
              <a:gd name="connsiteY2494" fmla="*/ 1723917 h 6689084"/>
              <a:gd name="connsiteX2495" fmla="*/ 6305668 w 6689088"/>
              <a:gd name="connsiteY2495" fmla="*/ 1721378 h 6689084"/>
              <a:gd name="connsiteX2496" fmla="*/ 6351777 w 6689088"/>
              <a:gd name="connsiteY2496" fmla="*/ 1767491 h 6689084"/>
              <a:gd name="connsiteX2497" fmla="*/ 6305668 w 6689088"/>
              <a:gd name="connsiteY2497" fmla="*/ 1813603 h 6689084"/>
              <a:gd name="connsiteX2498" fmla="*/ 6259556 w 6689088"/>
              <a:gd name="connsiteY2498" fmla="*/ 1767491 h 6689084"/>
              <a:gd name="connsiteX2499" fmla="*/ 6305668 w 6689088"/>
              <a:gd name="connsiteY2499" fmla="*/ 1721378 h 6689084"/>
              <a:gd name="connsiteX2500" fmla="*/ 6459619 w 6689088"/>
              <a:gd name="connsiteY2500" fmla="*/ 1718835 h 6689084"/>
              <a:gd name="connsiteX2501" fmla="*/ 6508270 w 6689088"/>
              <a:gd name="connsiteY2501" fmla="*/ 1767491 h 6689084"/>
              <a:gd name="connsiteX2502" fmla="*/ 6459619 w 6689088"/>
              <a:gd name="connsiteY2502" fmla="*/ 1816142 h 6689084"/>
              <a:gd name="connsiteX2503" fmla="*/ 6410964 w 6689088"/>
              <a:gd name="connsiteY2503" fmla="*/ 1767491 h 6689084"/>
              <a:gd name="connsiteX2504" fmla="*/ 6459619 w 6689088"/>
              <a:gd name="connsiteY2504" fmla="*/ 1718835 h 6689084"/>
              <a:gd name="connsiteX2505" fmla="*/ 6613200 w 6689088"/>
              <a:gd name="connsiteY2505" fmla="*/ 1716293 h 6689084"/>
              <a:gd name="connsiteX2506" fmla="*/ 6664398 w 6689088"/>
              <a:gd name="connsiteY2506" fmla="*/ 1767487 h 6689084"/>
              <a:gd name="connsiteX2507" fmla="*/ 6613200 w 6689088"/>
              <a:gd name="connsiteY2507" fmla="*/ 1818681 h 6689084"/>
              <a:gd name="connsiteX2508" fmla="*/ 6562007 w 6689088"/>
              <a:gd name="connsiteY2508" fmla="*/ 1767487 h 6689084"/>
              <a:gd name="connsiteX2509" fmla="*/ 6613200 w 6689088"/>
              <a:gd name="connsiteY2509" fmla="*/ 1716293 h 6689084"/>
              <a:gd name="connsiteX2510" fmla="*/ 2307393 w 6689088"/>
              <a:gd name="connsiteY2510" fmla="*/ 1613539 h 6689084"/>
              <a:gd name="connsiteX2511" fmla="*/ 2307755 w 6689088"/>
              <a:gd name="connsiteY2511" fmla="*/ 1613901 h 6689084"/>
              <a:gd name="connsiteX2512" fmla="*/ 2307393 w 6689088"/>
              <a:gd name="connsiteY2512" fmla="*/ 1614267 h 6689084"/>
              <a:gd name="connsiteX2513" fmla="*/ 2307031 w 6689088"/>
              <a:gd name="connsiteY2513" fmla="*/ 1613901 h 6689084"/>
              <a:gd name="connsiteX2514" fmla="*/ 2307393 w 6689088"/>
              <a:gd name="connsiteY2514" fmla="*/ 1613539 h 6689084"/>
              <a:gd name="connsiteX2515" fmla="*/ 1846279 w 6689088"/>
              <a:gd name="connsiteY2515" fmla="*/ 1613539 h 6689084"/>
              <a:gd name="connsiteX2516" fmla="*/ 1846641 w 6689088"/>
              <a:gd name="connsiteY2516" fmla="*/ 1613901 h 6689084"/>
              <a:gd name="connsiteX2517" fmla="*/ 1846279 w 6689088"/>
              <a:gd name="connsiteY2517" fmla="*/ 1614267 h 6689084"/>
              <a:gd name="connsiteX2518" fmla="*/ 1845917 w 6689088"/>
              <a:gd name="connsiteY2518" fmla="*/ 1613901 h 6689084"/>
              <a:gd name="connsiteX2519" fmla="*/ 1846279 w 6689088"/>
              <a:gd name="connsiteY2519" fmla="*/ 1613539 h 6689084"/>
              <a:gd name="connsiteX2520" fmla="*/ 1692331 w 6689088"/>
              <a:gd name="connsiteY2520" fmla="*/ 1613539 h 6689084"/>
              <a:gd name="connsiteX2521" fmla="*/ 1692694 w 6689088"/>
              <a:gd name="connsiteY2521" fmla="*/ 1613901 h 6689084"/>
              <a:gd name="connsiteX2522" fmla="*/ 1692331 w 6689088"/>
              <a:gd name="connsiteY2522" fmla="*/ 1614267 h 6689084"/>
              <a:gd name="connsiteX2523" fmla="*/ 1691969 w 6689088"/>
              <a:gd name="connsiteY2523" fmla="*/ 1613901 h 6689084"/>
              <a:gd name="connsiteX2524" fmla="*/ 1692331 w 6689088"/>
              <a:gd name="connsiteY2524" fmla="*/ 1613539 h 6689084"/>
              <a:gd name="connsiteX2525" fmla="*/ 1538746 w 6689088"/>
              <a:gd name="connsiteY2525" fmla="*/ 1613177 h 6689084"/>
              <a:gd name="connsiteX2526" fmla="*/ 1539470 w 6689088"/>
              <a:gd name="connsiteY2526" fmla="*/ 1613905 h 6689084"/>
              <a:gd name="connsiteX2527" fmla="*/ 1538746 w 6689088"/>
              <a:gd name="connsiteY2527" fmla="*/ 1614630 h 6689084"/>
              <a:gd name="connsiteX2528" fmla="*/ 1538018 w 6689088"/>
              <a:gd name="connsiteY2528" fmla="*/ 1613905 h 6689084"/>
              <a:gd name="connsiteX2529" fmla="*/ 1538746 w 6689088"/>
              <a:gd name="connsiteY2529" fmla="*/ 1613177 h 6689084"/>
              <a:gd name="connsiteX2530" fmla="*/ 2461340 w 6689088"/>
              <a:gd name="connsiteY2530" fmla="*/ 1612091 h 6689084"/>
              <a:gd name="connsiteX2531" fmla="*/ 2462793 w 6689088"/>
              <a:gd name="connsiteY2531" fmla="*/ 1613543 h 6689084"/>
              <a:gd name="connsiteX2532" fmla="*/ 2461340 w 6689088"/>
              <a:gd name="connsiteY2532" fmla="*/ 1614995 h 6689084"/>
              <a:gd name="connsiteX2533" fmla="*/ 2459888 w 6689088"/>
              <a:gd name="connsiteY2533" fmla="*/ 1613543 h 6689084"/>
              <a:gd name="connsiteX2534" fmla="*/ 2461340 w 6689088"/>
              <a:gd name="connsiteY2534" fmla="*/ 1612091 h 6689084"/>
              <a:gd name="connsiteX2535" fmla="*/ 2614922 w 6689088"/>
              <a:gd name="connsiteY2535" fmla="*/ 1611363 h 6689084"/>
              <a:gd name="connsiteX2536" fmla="*/ 2617102 w 6689088"/>
              <a:gd name="connsiteY2536" fmla="*/ 1613539 h 6689084"/>
              <a:gd name="connsiteX2537" fmla="*/ 2614922 w 6689088"/>
              <a:gd name="connsiteY2537" fmla="*/ 1615720 h 6689084"/>
              <a:gd name="connsiteX2538" fmla="*/ 2612745 w 6689088"/>
              <a:gd name="connsiteY2538" fmla="*/ 1613539 h 6689084"/>
              <a:gd name="connsiteX2539" fmla="*/ 2614922 w 6689088"/>
              <a:gd name="connsiteY2539" fmla="*/ 1611363 h 6689084"/>
              <a:gd name="connsiteX2540" fmla="*/ 2768877 w 6689088"/>
              <a:gd name="connsiteY2540" fmla="*/ 1610638 h 6689084"/>
              <a:gd name="connsiteX2541" fmla="*/ 2772144 w 6689088"/>
              <a:gd name="connsiteY2541" fmla="*/ 1613905 h 6689084"/>
              <a:gd name="connsiteX2542" fmla="*/ 2768877 w 6689088"/>
              <a:gd name="connsiteY2542" fmla="*/ 1617176 h 6689084"/>
              <a:gd name="connsiteX2543" fmla="*/ 2765606 w 6689088"/>
              <a:gd name="connsiteY2543" fmla="*/ 1613905 h 6689084"/>
              <a:gd name="connsiteX2544" fmla="*/ 2768877 w 6689088"/>
              <a:gd name="connsiteY2544" fmla="*/ 1610638 h 6689084"/>
              <a:gd name="connsiteX2545" fmla="*/ 2922458 w 6689088"/>
              <a:gd name="connsiteY2545" fmla="*/ 1609182 h 6689084"/>
              <a:gd name="connsiteX2546" fmla="*/ 2926815 w 6689088"/>
              <a:gd name="connsiteY2546" fmla="*/ 1613539 h 6689084"/>
              <a:gd name="connsiteX2547" fmla="*/ 2922458 w 6689088"/>
              <a:gd name="connsiteY2547" fmla="*/ 1617896 h 6689084"/>
              <a:gd name="connsiteX2548" fmla="*/ 2918101 w 6689088"/>
              <a:gd name="connsiteY2548" fmla="*/ 1613539 h 6689084"/>
              <a:gd name="connsiteX2549" fmla="*/ 2922458 w 6689088"/>
              <a:gd name="connsiteY2549" fmla="*/ 1609182 h 6689084"/>
              <a:gd name="connsiteX2550" fmla="*/ 3076406 w 6689088"/>
              <a:gd name="connsiteY2550" fmla="*/ 1608096 h 6689084"/>
              <a:gd name="connsiteX2551" fmla="*/ 3082215 w 6689088"/>
              <a:gd name="connsiteY2551" fmla="*/ 1613905 h 6689084"/>
              <a:gd name="connsiteX2552" fmla="*/ 3076406 w 6689088"/>
              <a:gd name="connsiteY2552" fmla="*/ 1619715 h 6689084"/>
              <a:gd name="connsiteX2553" fmla="*/ 3070596 w 6689088"/>
              <a:gd name="connsiteY2553" fmla="*/ 1613905 h 6689084"/>
              <a:gd name="connsiteX2554" fmla="*/ 3076406 w 6689088"/>
              <a:gd name="connsiteY2554" fmla="*/ 1608096 h 6689084"/>
              <a:gd name="connsiteX2555" fmla="*/ 3230353 w 6689088"/>
              <a:gd name="connsiteY2555" fmla="*/ 1606281 h 6689084"/>
              <a:gd name="connsiteX2556" fmla="*/ 3237614 w 6689088"/>
              <a:gd name="connsiteY2556" fmla="*/ 1613543 h 6689084"/>
              <a:gd name="connsiteX2557" fmla="*/ 3230353 w 6689088"/>
              <a:gd name="connsiteY2557" fmla="*/ 1620805 h 6689084"/>
              <a:gd name="connsiteX2558" fmla="*/ 3223091 w 6689088"/>
              <a:gd name="connsiteY2558" fmla="*/ 1613543 h 6689084"/>
              <a:gd name="connsiteX2559" fmla="*/ 3230353 w 6689088"/>
              <a:gd name="connsiteY2559" fmla="*/ 1606281 h 6689084"/>
              <a:gd name="connsiteX2560" fmla="*/ 3383934 w 6689088"/>
              <a:gd name="connsiteY2560" fmla="*/ 1604463 h 6689084"/>
              <a:gd name="connsiteX2561" fmla="*/ 3393014 w 6689088"/>
              <a:gd name="connsiteY2561" fmla="*/ 1613539 h 6689084"/>
              <a:gd name="connsiteX2562" fmla="*/ 3383934 w 6689088"/>
              <a:gd name="connsiteY2562" fmla="*/ 1622619 h 6689084"/>
              <a:gd name="connsiteX2563" fmla="*/ 3374858 w 6689088"/>
              <a:gd name="connsiteY2563" fmla="*/ 1613539 h 6689084"/>
              <a:gd name="connsiteX2564" fmla="*/ 3383934 w 6689088"/>
              <a:gd name="connsiteY2564" fmla="*/ 1604463 h 6689084"/>
              <a:gd name="connsiteX2565" fmla="*/ 3537886 w 6689088"/>
              <a:gd name="connsiteY2565" fmla="*/ 1603739 h 6689084"/>
              <a:gd name="connsiteX2566" fmla="*/ 3548052 w 6689088"/>
              <a:gd name="connsiteY2566" fmla="*/ 1613905 h 6689084"/>
              <a:gd name="connsiteX2567" fmla="*/ 3537886 w 6689088"/>
              <a:gd name="connsiteY2567" fmla="*/ 1624072 h 6689084"/>
              <a:gd name="connsiteX2568" fmla="*/ 3527719 w 6689088"/>
              <a:gd name="connsiteY2568" fmla="*/ 1613905 h 6689084"/>
              <a:gd name="connsiteX2569" fmla="*/ 3537886 w 6689088"/>
              <a:gd name="connsiteY2569" fmla="*/ 1603739 h 6689084"/>
              <a:gd name="connsiteX2570" fmla="*/ 3691467 w 6689088"/>
              <a:gd name="connsiteY2570" fmla="*/ 1601559 h 6689084"/>
              <a:gd name="connsiteX2571" fmla="*/ 3703452 w 6689088"/>
              <a:gd name="connsiteY2571" fmla="*/ 1613539 h 6689084"/>
              <a:gd name="connsiteX2572" fmla="*/ 3691467 w 6689088"/>
              <a:gd name="connsiteY2572" fmla="*/ 1625520 h 6689084"/>
              <a:gd name="connsiteX2573" fmla="*/ 3679486 w 6689088"/>
              <a:gd name="connsiteY2573" fmla="*/ 1613539 h 6689084"/>
              <a:gd name="connsiteX2574" fmla="*/ 3691467 w 6689088"/>
              <a:gd name="connsiteY2574" fmla="*/ 1601559 h 6689084"/>
              <a:gd name="connsiteX2575" fmla="*/ 3845418 w 6689088"/>
              <a:gd name="connsiteY2575" fmla="*/ 1599744 h 6689084"/>
              <a:gd name="connsiteX2576" fmla="*/ 3859214 w 6689088"/>
              <a:gd name="connsiteY2576" fmla="*/ 1613539 h 6689084"/>
              <a:gd name="connsiteX2577" fmla="*/ 3845418 w 6689088"/>
              <a:gd name="connsiteY2577" fmla="*/ 1627338 h 6689084"/>
              <a:gd name="connsiteX2578" fmla="*/ 3831619 w 6689088"/>
              <a:gd name="connsiteY2578" fmla="*/ 1613539 h 6689084"/>
              <a:gd name="connsiteX2579" fmla="*/ 3845418 w 6689088"/>
              <a:gd name="connsiteY2579" fmla="*/ 1599744 h 6689084"/>
              <a:gd name="connsiteX2580" fmla="*/ 3999000 w 6689088"/>
              <a:gd name="connsiteY2580" fmla="*/ 1598654 h 6689084"/>
              <a:gd name="connsiteX2581" fmla="*/ 4014251 w 6689088"/>
              <a:gd name="connsiteY2581" fmla="*/ 1613905 h 6689084"/>
              <a:gd name="connsiteX2582" fmla="*/ 3999000 w 6689088"/>
              <a:gd name="connsiteY2582" fmla="*/ 1629153 h 6689084"/>
              <a:gd name="connsiteX2583" fmla="*/ 3983752 w 6689088"/>
              <a:gd name="connsiteY2583" fmla="*/ 1613905 h 6689084"/>
              <a:gd name="connsiteX2584" fmla="*/ 3999000 w 6689088"/>
              <a:gd name="connsiteY2584" fmla="*/ 1598654 h 6689084"/>
              <a:gd name="connsiteX2585" fmla="*/ 4152947 w 6689088"/>
              <a:gd name="connsiteY2585" fmla="*/ 1596477 h 6689084"/>
              <a:gd name="connsiteX2586" fmla="*/ 4170013 w 6689088"/>
              <a:gd name="connsiteY2586" fmla="*/ 1613543 h 6689084"/>
              <a:gd name="connsiteX2587" fmla="*/ 4152947 w 6689088"/>
              <a:gd name="connsiteY2587" fmla="*/ 1630605 h 6689084"/>
              <a:gd name="connsiteX2588" fmla="*/ 4135881 w 6689088"/>
              <a:gd name="connsiteY2588" fmla="*/ 1613543 h 6689084"/>
              <a:gd name="connsiteX2589" fmla="*/ 4152947 w 6689088"/>
              <a:gd name="connsiteY2589" fmla="*/ 1596477 h 6689084"/>
              <a:gd name="connsiteX2590" fmla="*/ 4306528 w 6689088"/>
              <a:gd name="connsiteY2590" fmla="*/ 1594297 h 6689084"/>
              <a:gd name="connsiteX2591" fmla="*/ 4325771 w 6689088"/>
              <a:gd name="connsiteY2591" fmla="*/ 1613539 h 6689084"/>
              <a:gd name="connsiteX2592" fmla="*/ 4306528 w 6689088"/>
              <a:gd name="connsiteY2592" fmla="*/ 1632786 h 6689084"/>
              <a:gd name="connsiteX2593" fmla="*/ 4287286 w 6689088"/>
              <a:gd name="connsiteY2593" fmla="*/ 1613539 h 6689084"/>
              <a:gd name="connsiteX2594" fmla="*/ 4306528 w 6689088"/>
              <a:gd name="connsiteY2594" fmla="*/ 1594297 h 6689084"/>
              <a:gd name="connsiteX2595" fmla="*/ 4460480 w 6689088"/>
              <a:gd name="connsiteY2595" fmla="*/ 1592120 h 6689084"/>
              <a:gd name="connsiteX2596" fmla="*/ 4481898 w 6689088"/>
              <a:gd name="connsiteY2596" fmla="*/ 1613543 h 6689084"/>
              <a:gd name="connsiteX2597" fmla="*/ 4460480 w 6689088"/>
              <a:gd name="connsiteY2597" fmla="*/ 1634966 h 6689084"/>
              <a:gd name="connsiteX2598" fmla="*/ 4439057 w 6689088"/>
              <a:gd name="connsiteY2598" fmla="*/ 1613543 h 6689084"/>
              <a:gd name="connsiteX2599" fmla="*/ 4460480 w 6689088"/>
              <a:gd name="connsiteY2599" fmla="*/ 1592120 h 6689084"/>
              <a:gd name="connsiteX2600" fmla="*/ 4614065 w 6689088"/>
              <a:gd name="connsiteY2600" fmla="*/ 1591030 h 6689084"/>
              <a:gd name="connsiteX2601" fmla="*/ 4636940 w 6689088"/>
              <a:gd name="connsiteY2601" fmla="*/ 1613905 h 6689084"/>
              <a:gd name="connsiteX2602" fmla="*/ 4614065 w 6689088"/>
              <a:gd name="connsiteY2602" fmla="*/ 1636780 h 6689084"/>
              <a:gd name="connsiteX2603" fmla="*/ 4591190 w 6689088"/>
              <a:gd name="connsiteY2603" fmla="*/ 1613905 h 6689084"/>
              <a:gd name="connsiteX2604" fmla="*/ 4614065 w 6689088"/>
              <a:gd name="connsiteY2604" fmla="*/ 1591030 h 6689084"/>
              <a:gd name="connsiteX2605" fmla="*/ 4768008 w 6689088"/>
              <a:gd name="connsiteY2605" fmla="*/ 1588850 h 6689084"/>
              <a:gd name="connsiteX2606" fmla="*/ 4793064 w 6689088"/>
              <a:gd name="connsiteY2606" fmla="*/ 1613901 h 6689084"/>
              <a:gd name="connsiteX2607" fmla="*/ 4768008 w 6689088"/>
              <a:gd name="connsiteY2607" fmla="*/ 1638957 h 6689084"/>
              <a:gd name="connsiteX2608" fmla="*/ 4742956 w 6689088"/>
              <a:gd name="connsiteY2608" fmla="*/ 1613901 h 6689084"/>
              <a:gd name="connsiteX2609" fmla="*/ 4768008 w 6689088"/>
              <a:gd name="connsiteY2609" fmla="*/ 1588850 h 6689084"/>
              <a:gd name="connsiteX2610" fmla="*/ 4921594 w 6689088"/>
              <a:gd name="connsiteY2610" fmla="*/ 1586673 h 6689084"/>
              <a:gd name="connsiteX2611" fmla="*/ 4948826 w 6689088"/>
              <a:gd name="connsiteY2611" fmla="*/ 1613905 h 6689084"/>
              <a:gd name="connsiteX2612" fmla="*/ 4921594 w 6689088"/>
              <a:gd name="connsiteY2612" fmla="*/ 1641137 h 6689084"/>
              <a:gd name="connsiteX2613" fmla="*/ 4894362 w 6689088"/>
              <a:gd name="connsiteY2613" fmla="*/ 1613905 h 6689084"/>
              <a:gd name="connsiteX2614" fmla="*/ 4921594 w 6689088"/>
              <a:gd name="connsiteY2614" fmla="*/ 1586673 h 6689084"/>
              <a:gd name="connsiteX2615" fmla="*/ 5075545 w 6689088"/>
              <a:gd name="connsiteY2615" fmla="*/ 1584131 h 6689084"/>
              <a:gd name="connsiteX2616" fmla="*/ 5105316 w 6689088"/>
              <a:gd name="connsiteY2616" fmla="*/ 1613901 h 6689084"/>
              <a:gd name="connsiteX2617" fmla="*/ 5075545 w 6689088"/>
              <a:gd name="connsiteY2617" fmla="*/ 1643676 h 6689084"/>
              <a:gd name="connsiteX2618" fmla="*/ 5045770 w 6689088"/>
              <a:gd name="connsiteY2618" fmla="*/ 1613901 h 6689084"/>
              <a:gd name="connsiteX2619" fmla="*/ 5075545 w 6689088"/>
              <a:gd name="connsiteY2619" fmla="*/ 1584131 h 6689084"/>
              <a:gd name="connsiteX2620" fmla="*/ 5229126 w 6689088"/>
              <a:gd name="connsiteY2620" fmla="*/ 1581592 h 6689084"/>
              <a:gd name="connsiteX2621" fmla="*/ 5261078 w 6689088"/>
              <a:gd name="connsiteY2621" fmla="*/ 1613543 h 6689084"/>
              <a:gd name="connsiteX2622" fmla="*/ 5229126 w 6689088"/>
              <a:gd name="connsiteY2622" fmla="*/ 1645494 h 6689084"/>
              <a:gd name="connsiteX2623" fmla="*/ 5197175 w 6689088"/>
              <a:gd name="connsiteY2623" fmla="*/ 1613543 h 6689084"/>
              <a:gd name="connsiteX2624" fmla="*/ 5229126 w 6689088"/>
              <a:gd name="connsiteY2624" fmla="*/ 1581592 h 6689084"/>
              <a:gd name="connsiteX2625" fmla="*/ 5383074 w 6689088"/>
              <a:gd name="connsiteY2625" fmla="*/ 1579773 h 6689084"/>
              <a:gd name="connsiteX2626" fmla="*/ 5416844 w 6689088"/>
              <a:gd name="connsiteY2626" fmla="*/ 1613539 h 6689084"/>
              <a:gd name="connsiteX2627" fmla="*/ 5383074 w 6689088"/>
              <a:gd name="connsiteY2627" fmla="*/ 1647309 h 6689084"/>
              <a:gd name="connsiteX2628" fmla="*/ 5349308 w 6689088"/>
              <a:gd name="connsiteY2628" fmla="*/ 1613539 h 6689084"/>
              <a:gd name="connsiteX2629" fmla="*/ 5383074 w 6689088"/>
              <a:gd name="connsiteY2629" fmla="*/ 1579773 h 6689084"/>
              <a:gd name="connsiteX2630" fmla="*/ 5536659 w 6689088"/>
              <a:gd name="connsiteY2630" fmla="*/ 1577231 h 6689084"/>
              <a:gd name="connsiteX2631" fmla="*/ 5572968 w 6689088"/>
              <a:gd name="connsiteY2631" fmla="*/ 1613539 h 6689084"/>
              <a:gd name="connsiteX2632" fmla="*/ 5536659 w 6689088"/>
              <a:gd name="connsiteY2632" fmla="*/ 1649848 h 6689084"/>
              <a:gd name="connsiteX2633" fmla="*/ 5500351 w 6689088"/>
              <a:gd name="connsiteY2633" fmla="*/ 1613539 h 6689084"/>
              <a:gd name="connsiteX2634" fmla="*/ 5536659 w 6689088"/>
              <a:gd name="connsiteY2634" fmla="*/ 1577231 h 6689084"/>
              <a:gd name="connsiteX2635" fmla="*/ 5690606 w 6689088"/>
              <a:gd name="connsiteY2635" fmla="*/ 1574692 h 6689084"/>
              <a:gd name="connsiteX2636" fmla="*/ 5729458 w 6689088"/>
              <a:gd name="connsiteY2636" fmla="*/ 1613543 h 6689084"/>
              <a:gd name="connsiteX2637" fmla="*/ 5690606 w 6689088"/>
              <a:gd name="connsiteY2637" fmla="*/ 1652390 h 6689084"/>
              <a:gd name="connsiteX2638" fmla="*/ 5651756 w 6689088"/>
              <a:gd name="connsiteY2638" fmla="*/ 1613543 h 6689084"/>
              <a:gd name="connsiteX2639" fmla="*/ 5690606 w 6689088"/>
              <a:gd name="connsiteY2639" fmla="*/ 1574692 h 6689084"/>
              <a:gd name="connsiteX2640" fmla="*/ 5844554 w 6689088"/>
              <a:gd name="connsiteY2640" fmla="*/ 1572512 h 6689084"/>
              <a:gd name="connsiteX2641" fmla="*/ 5885585 w 6689088"/>
              <a:gd name="connsiteY2641" fmla="*/ 1613539 h 6689084"/>
              <a:gd name="connsiteX2642" fmla="*/ 5844554 w 6689088"/>
              <a:gd name="connsiteY2642" fmla="*/ 1654567 h 6689084"/>
              <a:gd name="connsiteX2643" fmla="*/ 5803526 w 6689088"/>
              <a:gd name="connsiteY2643" fmla="*/ 1613539 h 6689084"/>
              <a:gd name="connsiteX2644" fmla="*/ 5844554 w 6689088"/>
              <a:gd name="connsiteY2644" fmla="*/ 1572512 h 6689084"/>
              <a:gd name="connsiteX2645" fmla="*/ 5998136 w 6689088"/>
              <a:gd name="connsiteY2645" fmla="*/ 1569973 h 6689084"/>
              <a:gd name="connsiteX2646" fmla="*/ 6041706 w 6689088"/>
              <a:gd name="connsiteY2646" fmla="*/ 1613543 h 6689084"/>
              <a:gd name="connsiteX2647" fmla="*/ 5998136 w 6689088"/>
              <a:gd name="connsiteY2647" fmla="*/ 1657113 h 6689084"/>
              <a:gd name="connsiteX2648" fmla="*/ 5954566 w 6689088"/>
              <a:gd name="connsiteY2648" fmla="*/ 1613543 h 6689084"/>
              <a:gd name="connsiteX2649" fmla="*/ 5998136 w 6689088"/>
              <a:gd name="connsiteY2649" fmla="*/ 1569973 h 6689084"/>
              <a:gd name="connsiteX2650" fmla="*/ 6152083 w 6689088"/>
              <a:gd name="connsiteY2650" fmla="*/ 1567431 h 6689084"/>
              <a:gd name="connsiteX2651" fmla="*/ 6198196 w 6689088"/>
              <a:gd name="connsiteY2651" fmla="*/ 1613543 h 6689084"/>
              <a:gd name="connsiteX2652" fmla="*/ 6152083 w 6689088"/>
              <a:gd name="connsiteY2652" fmla="*/ 1659656 h 6689084"/>
              <a:gd name="connsiteX2653" fmla="*/ 6105974 w 6689088"/>
              <a:gd name="connsiteY2653" fmla="*/ 1613543 h 6689084"/>
              <a:gd name="connsiteX2654" fmla="*/ 6152083 w 6689088"/>
              <a:gd name="connsiteY2654" fmla="*/ 1567431 h 6689084"/>
              <a:gd name="connsiteX2655" fmla="*/ 6305672 w 6689088"/>
              <a:gd name="connsiteY2655" fmla="*/ 1564888 h 6689084"/>
              <a:gd name="connsiteX2656" fmla="*/ 6354323 w 6689088"/>
              <a:gd name="connsiteY2656" fmla="*/ 1613543 h 6689084"/>
              <a:gd name="connsiteX2657" fmla="*/ 6305672 w 6689088"/>
              <a:gd name="connsiteY2657" fmla="*/ 1662194 h 6689084"/>
              <a:gd name="connsiteX2658" fmla="*/ 6257016 w 6689088"/>
              <a:gd name="connsiteY2658" fmla="*/ 1613543 h 6689084"/>
              <a:gd name="connsiteX2659" fmla="*/ 6305672 w 6689088"/>
              <a:gd name="connsiteY2659" fmla="*/ 1564888 h 6689084"/>
              <a:gd name="connsiteX2660" fmla="*/ 6459619 w 6689088"/>
              <a:gd name="connsiteY2660" fmla="*/ 1562346 h 6689084"/>
              <a:gd name="connsiteX2661" fmla="*/ 6510813 w 6689088"/>
              <a:gd name="connsiteY2661" fmla="*/ 1613539 h 6689084"/>
              <a:gd name="connsiteX2662" fmla="*/ 6459619 w 6689088"/>
              <a:gd name="connsiteY2662" fmla="*/ 1664733 h 6689084"/>
              <a:gd name="connsiteX2663" fmla="*/ 6408422 w 6689088"/>
              <a:gd name="connsiteY2663" fmla="*/ 1613539 h 6689084"/>
              <a:gd name="connsiteX2664" fmla="*/ 6459619 w 6689088"/>
              <a:gd name="connsiteY2664" fmla="*/ 1562346 h 6689084"/>
              <a:gd name="connsiteX2665" fmla="*/ 6613197 w 6689088"/>
              <a:gd name="connsiteY2665" fmla="*/ 1560169 h 6689084"/>
              <a:gd name="connsiteX2666" fmla="*/ 6666575 w 6689088"/>
              <a:gd name="connsiteY2666" fmla="*/ 1613543 h 6689084"/>
              <a:gd name="connsiteX2667" fmla="*/ 6613197 w 6689088"/>
              <a:gd name="connsiteY2667" fmla="*/ 1666914 h 6689084"/>
              <a:gd name="connsiteX2668" fmla="*/ 6559826 w 6689088"/>
              <a:gd name="connsiteY2668" fmla="*/ 1613543 h 6689084"/>
              <a:gd name="connsiteX2669" fmla="*/ 6613197 w 6689088"/>
              <a:gd name="connsiteY2669" fmla="*/ 1560169 h 6689084"/>
              <a:gd name="connsiteX2670" fmla="*/ 2153808 w 6689088"/>
              <a:gd name="connsiteY2670" fmla="*/ 1459596 h 6689084"/>
              <a:gd name="connsiteX2671" fmla="*/ 2154170 w 6689088"/>
              <a:gd name="connsiteY2671" fmla="*/ 1459958 h 6689084"/>
              <a:gd name="connsiteX2672" fmla="*/ 2153808 w 6689088"/>
              <a:gd name="connsiteY2672" fmla="*/ 1460324 h 6689084"/>
              <a:gd name="connsiteX2673" fmla="*/ 2153445 w 6689088"/>
              <a:gd name="connsiteY2673" fmla="*/ 1459958 h 6689084"/>
              <a:gd name="connsiteX2674" fmla="*/ 2153808 w 6689088"/>
              <a:gd name="connsiteY2674" fmla="*/ 1459596 h 6689084"/>
              <a:gd name="connsiteX2675" fmla="*/ 1692331 w 6689088"/>
              <a:gd name="connsiteY2675" fmla="*/ 1459596 h 6689084"/>
              <a:gd name="connsiteX2676" fmla="*/ 1692694 w 6689088"/>
              <a:gd name="connsiteY2676" fmla="*/ 1459958 h 6689084"/>
              <a:gd name="connsiteX2677" fmla="*/ 1692331 w 6689088"/>
              <a:gd name="connsiteY2677" fmla="*/ 1460324 h 6689084"/>
              <a:gd name="connsiteX2678" fmla="*/ 1691969 w 6689088"/>
              <a:gd name="connsiteY2678" fmla="*/ 1459958 h 6689084"/>
              <a:gd name="connsiteX2679" fmla="*/ 1692331 w 6689088"/>
              <a:gd name="connsiteY2679" fmla="*/ 1459596 h 6689084"/>
              <a:gd name="connsiteX2680" fmla="*/ 1538746 w 6689088"/>
              <a:gd name="connsiteY2680" fmla="*/ 1459596 h 6689084"/>
              <a:gd name="connsiteX2681" fmla="*/ 1539108 w 6689088"/>
              <a:gd name="connsiteY2681" fmla="*/ 1459958 h 6689084"/>
              <a:gd name="connsiteX2682" fmla="*/ 1538746 w 6689088"/>
              <a:gd name="connsiteY2682" fmla="*/ 1460324 h 6689084"/>
              <a:gd name="connsiteX2683" fmla="*/ 1538384 w 6689088"/>
              <a:gd name="connsiteY2683" fmla="*/ 1459958 h 6689084"/>
              <a:gd name="connsiteX2684" fmla="*/ 1538746 w 6689088"/>
              <a:gd name="connsiteY2684" fmla="*/ 1459596 h 6689084"/>
              <a:gd name="connsiteX2685" fmla="*/ 1384795 w 6689088"/>
              <a:gd name="connsiteY2685" fmla="*/ 1459230 h 6689084"/>
              <a:gd name="connsiteX2686" fmla="*/ 1385523 w 6689088"/>
              <a:gd name="connsiteY2686" fmla="*/ 1459958 h 6689084"/>
              <a:gd name="connsiteX2687" fmla="*/ 1384795 w 6689088"/>
              <a:gd name="connsiteY2687" fmla="*/ 1460682 h 6689084"/>
              <a:gd name="connsiteX2688" fmla="*/ 1384071 w 6689088"/>
              <a:gd name="connsiteY2688" fmla="*/ 1459958 h 6689084"/>
              <a:gd name="connsiteX2689" fmla="*/ 1384795 w 6689088"/>
              <a:gd name="connsiteY2689" fmla="*/ 1459230 h 6689084"/>
              <a:gd name="connsiteX2690" fmla="*/ 2307393 w 6689088"/>
              <a:gd name="connsiteY2690" fmla="*/ 1458140 h 6689084"/>
              <a:gd name="connsiteX2691" fmla="*/ 2308845 w 6689088"/>
              <a:gd name="connsiteY2691" fmla="*/ 1459592 h 6689084"/>
              <a:gd name="connsiteX2692" fmla="*/ 2307393 w 6689088"/>
              <a:gd name="connsiteY2692" fmla="*/ 1461044 h 6689084"/>
              <a:gd name="connsiteX2693" fmla="*/ 2305941 w 6689088"/>
              <a:gd name="connsiteY2693" fmla="*/ 1459592 h 6689084"/>
              <a:gd name="connsiteX2694" fmla="*/ 2307393 w 6689088"/>
              <a:gd name="connsiteY2694" fmla="*/ 1458140 h 6689084"/>
              <a:gd name="connsiteX2695" fmla="*/ 2461340 w 6689088"/>
              <a:gd name="connsiteY2695" fmla="*/ 1457777 h 6689084"/>
              <a:gd name="connsiteX2696" fmla="*/ 2463521 w 6689088"/>
              <a:gd name="connsiteY2696" fmla="*/ 1459954 h 6689084"/>
              <a:gd name="connsiteX2697" fmla="*/ 2461340 w 6689088"/>
              <a:gd name="connsiteY2697" fmla="*/ 1462134 h 6689084"/>
              <a:gd name="connsiteX2698" fmla="*/ 2459164 w 6689088"/>
              <a:gd name="connsiteY2698" fmla="*/ 1459954 h 6689084"/>
              <a:gd name="connsiteX2699" fmla="*/ 2461340 w 6689088"/>
              <a:gd name="connsiteY2699" fmla="*/ 1457777 h 6689084"/>
              <a:gd name="connsiteX2700" fmla="*/ 2614925 w 6689088"/>
              <a:gd name="connsiteY2700" fmla="*/ 1456687 h 6689084"/>
              <a:gd name="connsiteX2701" fmla="*/ 2618192 w 6689088"/>
              <a:gd name="connsiteY2701" fmla="*/ 1459954 h 6689084"/>
              <a:gd name="connsiteX2702" fmla="*/ 2614925 w 6689088"/>
              <a:gd name="connsiteY2702" fmla="*/ 1463225 h 6689084"/>
              <a:gd name="connsiteX2703" fmla="*/ 2611659 w 6689088"/>
              <a:gd name="connsiteY2703" fmla="*/ 1459954 h 6689084"/>
              <a:gd name="connsiteX2704" fmla="*/ 2614925 w 6689088"/>
              <a:gd name="connsiteY2704" fmla="*/ 1456687 h 6689084"/>
              <a:gd name="connsiteX2705" fmla="*/ 2768873 w 6689088"/>
              <a:gd name="connsiteY2705" fmla="*/ 1455601 h 6689084"/>
              <a:gd name="connsiteX2706" fmla="*/ 2773230 w 6689088"/>
              <a:gd name="connsiteY2706" fmla="*/ 1459958 h 6689084"/>
              <a:gd name="connsiteX2707" fmla="*/ 2768873 w 6689088"/>
              <a:gd name="connsiteY2707" fmla="*/ 1464315 h 6689084"/>
              <a:gd name="connsiteX2708" fmla="*/ 2764516 w 6689088"/>
              <a:gd name="connsiteY2708" fmla="*/ 1459958 h 6689084"/>
              <a:gd name="connsiteX2709" fmla="*/ 2768873 w 6689088"/>
              <a:gd name="connsiteY2709" fmla="*/ 1455601 h 6689084"/>
              <a:gd name="connsiteX2710" fmla="*/ 2922458 w 6689088"/>
              <a:gd name="connsiteY2710" fmla="*/ 1454149 h 6689084"/>
              <a:gd name="connsiteX2711" fmla="*/ 2928267 w 6689088"/>
              <a:gd name="connsiteY2711" fmla="*/ 1459958 h 6689084"/>
              <a:gd name="connsiteX2712" fmla="*/ 2922458 w 6689088"/>
              <a:gd name="connsiteY2712" fmla="*/ 1465767 h 6689084"/>
              <a:gd name="connsiteX2713" fmla="*/ 2916649 w 6689088"/>
              <a:gd name="connsiteY2713" fmla="*/ 1459958 h 6689084"/>
              <a:gd name="connsiteX2714" fmla="*/ 2922458 w 6689088"/>
              <a:gd name="connsiteY2714" fmla="*/ 1454149 h 6689084"/>
              <a:gd name="connsiteX2715" fmla="*/ 3076406 w 6689088"/>
              <a:gd name="connsiteY2715" fmla="*/ 1452696 h 6689084"/>
              <a:gd name="connsiteX2716" fmla="*/ 3083667 w 6689088"/>
              <a:gd name="connsiteY2716" fmla="*/ 1459958 h 6689084"/>
              <a:gd name="connsiteX2717" fmla="*/ 3076406 w 6689088"/>
              <a:gd name="connsiteY2717" fmla="*/ 1467220 h 6689084"/>
              <a:gd name="connsiteX2718" fmla="*/ 3069144 w 6689088"/>
              <a:gd name="connsiteY2718" fmla="*/ 1459958 h 6689084"/>
              <a:gd name="connsiteX2719" fmla="*/ 3076406 w 6689088"/>
              <a:gd name="connsiteY2719" fmla="*/ 1452696 h 6689084"/>
              <a:gd name="connsiteX2720" fmla="*/ 3230353 w 6689088"/>
              <a:gd name="connsiteY2720" fmla="*/ 1450516 h 6689084"/>
              <a:gd name="connsiteX2721" fmla="*/ 3239433 w 6689088"/>
              <a:gd name="connsiteY2721" fmla="*/ 1459592 h 6689084"/>
              <a:gd name="connsiteX2722" fmla="*/ 3230353 w 6689088"/>
              <a:gd name="connsiteY2722" fmla="*/ 1468672 h 6689084"/>
              <a:gd name="connsiteX2723" fmla="*/ 3221277 w 6689088"/>
              <a:gd name="connsiteY2723" fmla="*/ 1459592 h 6689084"/>
              <a:gd name="connsiteX2724" fmla="*/ 3230353 w 6689088"/>
              <a:gd name="connsiteY2724" fmla="*/ 1450516 h 6689084"/>
              <a:gd name="connsiteX2725" fmla="*/ 3383934 w 6689088"/>
              <a:gd name="connsiteY2725" fmla="*/ 1449791 h 6689084"/>
              <a:gd name="connsiteX2726" fmla="*/ 3394100 w 6689088"/>
              <a:gd name="connsiteY2726" fmla="*/ 1459958 h 6689084"/>
              <a:gd name="connsiteX2727" fmla="*/ 3383934 w 6689088"/>
              <a:gd name="connsiteY2727" fmla="*/ 1470124 h 6689084"/>
              <a:gd name="connsiteX2728" fmla="*/ 3373768 w 6689088"/>
              <a:gd name="connsiteY2728" fmla="*/ 1459958 h 6689084"/>
              <a:gd name="connsiteX2729" fmla="*/ 3383934 w 6689088"/>
              <a:gd name="connsiteY2729" fmla="*/ 1449791 h 6689084"/>
              <a:gd name="connsiteX2730" fmla="*/ 3537882 w 6689088"/>
              <a:gd name="connsiteY2730" fmla="*/ 1447977 h 6689084"/>
              <a:gd name="connsiteX2731" fmla="*/ 3549866 w 6689088"/>
              <a:gd name="connsiteY2731" fmla="*/ 1459958 h 6689084"/>
              <a:gd name="connsiteX2732" fmla="*/ 3537882 w 6689088"/>
              <a:gd name="connsiteY2732" fmla="*/ 1471939 h 6689084"/>
              <a:gd name="connsiteX2733" fmla="*/ 3525901 w 6689088"/>
              <a:gd name="connsiteY2733" fmla="*/ 1459958 h 6689084"/>
              <a:gd name="connsiteX2734" fmla="*/ 3537882 w 6689088"/>
              <a:gd name="connsiteY2734" fmla="*/ 1447977 h 6689084"/>
              <a:gd name="connsiteX2735" fmla="*/ 3691467 w 6689088"/>
              <a:gd name="connsiteY2735" fmla="*/ 1445797 h 6689084"/>
              <a:gd name="connsiteX2736" fmla="*/ 3705266 w 6689088"/>
              <a:gd name="connsiteY2736" fmla="*/ 1459596 h 6689084"/>
              <a:gd name="connsiteX2737" fmla="*/ 3691467 w 6689088"/>
              <a:gd name="connsiteY2737" fmla="*/ 1473391 h 6689084"/>
              <a:gd name="connsiteX2738" fmla="*/ 3677672 w 6689088"/>
              <a:gd name="connsiteY2738" fmla="*/ 1459596 h 6689084"/>
              <a:gd name="connsiteX2739" fmla="*/ 3691467 w 6689088"/>
              <a:gd name="connsiteY2739" fmla="*/ 1445797 h 6689084"/>
              <a:gd name="connsiteX2740" fmla="*/ 3845414 w 6689088"/>
              <a:gd name="connsiteY2740" fmla="*/ 1444706 h 6689084"/>
              <a:gd name="connsiteX2741" fmla="*/ 3860666 w 6689088"/>
              <a:gd name="connsiteY2741" fmla="*/ 1459954 h 6689084"/>
              <a:gd name="connsiteX2742" fmla="*/ 3845414 w 6689088"/>
              <a:gd name="connsiteY2742" fmla="*/ 1475205 h 6689084"/>
              <a:gd name="connsiteX2743" fmla="*/ 3830167 w 6689088"/>
              <a:gd name="connsiteY2743" fmla="*/ 1459954 h 6689084"/>
              <a:gd name="connsiteX2744" fmla="*/ 3845414 w 6689088"/>
              <a:gd name="connsiteY2744" fmla="*/ 1444706 h 6689084"/>
              <a:gd name="connsiteX2745" fmla="*/ 3999000 w 6689088"/>
              <a:gd name="connsiteY2745" fmla="*/ 1442892 h 6689084"/>
              <a:gd name="connsiteX2746" fmla="*/ 4016066 w 6689088"/>
              <a:gd name="connsiteY2746" fmla="*/ 1459958 h 6689084"/>
              <a:gd name="connsiteX2747" fmla="*/ 3999000 w 6689088"/>
              <a:gd name="connsiteY2747" fmla="*/ 1477020 h 6689084"/>
              <a:gd name="connsiteX2748" fmla="*/ 3981934 w 6689088"/>
              <a:gd name="connsiteY2748" fmla="*/ 1459958 h 6689084"/>
              <a:gd name="connsiteX2749" fmla="*/ 3999000 w 6689088"/>
              <a:gd name="connsiteY2749" fmla="*/ 1442892 h 6689084"/>
              <a:gd name="connsiteX2750" fmla="*/ 4152947 w 6689088"/>
              <a:gd name="connsiteY2750" fmla="*/ 1440715 h 6689084"/>
              <a:gd name="connsiteX2751" fmla="*/ 4172194 w 6689088"/>
              <a:gd name="connsiteY2751" fmla="*/ 1459958 h 6689084"/>
              <a:gd name="connsiteX2752" fmla="*/ 4152947 w 6689088"/>
              <a:gd name="connsiteY2752" fmla="*/ 1479200 h 6689084"/>
              <a:gd name="connsiteX2753" fmla="*/ 4133704 w 6689088"/>
              <a:gd name="connsiteY2753" fmla="*/ 1459958 h 6689084"/>
              <a:gd name="connsiteX2754" fmla="*/ 4152947 w 6689088"/>
              <a:gd name="connsiteY2754" fmla="*/ 1440715 h 6689084"/>
              <a:gd name="connsiteX2755" fmla="*/ 4306532 w 6689088"/>
              <a:gd name="connsiteY2755" fmla="*/ 1438535 h 6689084"/>
              <a:gd name="connsiteX2756" fmla="*/ 4327952 w 6689088"/>
              <a:gd name="connsiteY2756" fmla="*/ 1459958 h 6689084"/>
              <a:gd name="connsiteX2757" fmla="*/ 4306532 w 6689088"/>
              <a:gd name="connsiteY2757" fmla="*/ 1481381 h 6689084"/>
              <a:gd name="connsiteX2758" fmla="*/ 4285110 w 6689088"/>
              <a:gd name="connsiteY2758" fmla="*/ 1459958 h 6689084"/>
              <a:gd name="connsiteX2759" fmla="*/ 4306532 w 6689088"/>
              <a:gd name="connsiteY2759" fmla="*/ 1438535 h 6689084"/>
              <a:gd name="connsiteX2760" fmla="*/ 4460480 w 6689088"/>
              <a:gd name="connsiteY2760" fmla="*/ 1437083 h 6689084"/>
              <a:gd name="connsiteX2761" fmla="*/ 4483355 w 6689088"/>
              <a:gd name="connsiteY2761" fmla="*/ 1459958 h 6689084"/>
              <a:gd name="connsiteX2762" fmla="*/ 4460480 w 6689088"/>
              <a:gd name="connsiteY2762" fmla="*/ 1482833 h 6689084"/>
              <a:gd name="connsiteX2763" fmla="*/ 4437604 w 6689088"/>
              <a:gd name="connsiteY2763" fmla="*/ 1459958 h 6689084"/>
              <a:gd name="connsiteX2764" fmla="*/ 4460480 w 6689088"/>
              <a:gd name="connsiteY2764" fmla="*/ 1437083 h 6689084"/>
              <a:gd name="connsiteX2765" fmla="*/ 4614061 w 6689088"/>
              <a:gd name="connsiteY2765" fmla="*/ 1434906 h 6689084"/>
              <a:gd name="connsiteX2766" fmla="*/ 4639116 w 6689088"/>
              <a:gd name="connsiteY2766" fmla="*/ 1459958 h 6689084"/>
              <a:gd name="connsiteX2767" fmla="*/ 4614061 w 6689088"/>
              <a:gd name="connsiteY2767" fmla="*/ 1485013 h 6689084"/>
              <a:gd name="connsiteX2768" fmla="*/ 4589010 w 6689088"/>
              <a:gd name="connsiteY2768" fmla="*/ 1459958 h 6689084"/>
              <a:gd name="connsiteX2769" fmla="*/ 4614061 w 6689088"/>
              <a:gd name="connsiteY2769" fmla="*/ 1434906 h 6689084"/>
              <a:gd name="connsiteX2770" fmla="*/ 4768012 w 6689088"/>
              <a:gd name="connsiteY2770" fmla="*/ 1432726 h 6689084"/>
              <a:gd name="connsiteX2771" fmla="*/ 4795244 w 6689088"/>
              <a:gd name="connsiteY2771" fmla="*/ 1459958 h 6689084"/>
              <a:gd name="connsiteX2772" fmla="*/ 4768012 w 6689088"/>
              <a:gd name="connsiteY2772" fmla="*/ 1487190 h 6689084"/>
              <a:gd name="connsiteX2773" fmla="*/ 4740780 w 6689088"/>
              <a:gd name="connsiteY2773" fmla="*/ 1459958 h 6689084"/>
              <a:gd name="connsiteX2774" fmla="*/ 4768012 w 6689088"/>
              <a:gd name="connsiteY2774" fmla="*/ 1432726 h 6689084"/>
              <a:gd name="connsiteX2775" fmla="*/ 4921594 w 6689088"/>
              <a:gd name="connsiteY2775" fmla="*/ 1430183 h 6689084"/>
              <a:gd name="connsiteX2776" fmla="*/ 4951368 w 6689088"/>
              <a:gd name="connsiteY2776" fmla="*/ 1459954 h 6689084"/>
              <a:gd name="connsiteX2777" fmla="*/ 4921594 w 6689088"/>
              <a:gd name="connsiteY2777" fmla="*/ 1489729 h 6689084"/>
              <a:gd name="connsiteX2778" fmla="*/ 4891823 w 6689088"/>
              <a:gd name="connsiteY2778" fmla="*/ 1459954 h 6689084"/>
              <a:gd name="connsiteX2779" fmla="*/ 4921594 w 6689088"/>
              <a:gd name="connsiteY2779" fmla="*/ 1430183 h 6689084"/>
              <a:gd name="connsiteX2780" fmla="*/ 5075541 w 6689088"/>
              <a:gd name="connsiteY2780" fmla="*/ 1428007 h 6689084"/>
              <a:gd name="connsiteX2781" fmla="*/ 5107492 w 6689088"/>
              <a:gd name="connsiteY2781" fmla="*/ 1459958 h 6689084"/>
              <a:gd name="connsiteX2782" fmla="*/ 5075541 w 6689088"/>
              <a:gd name="connsiteY2782" fmla="*/ 1491909 h 6689084"/>
              <a:gd name="connsiteX2783" fmla="*/ 5043590 w 6689088"/>
              <a:gd name="connsiteY2783" fmla="*/ 1459958 h 6689084"/>
              <a:gd name="connsiteX2784" fmla="*/ 5075541 w 6689088"/>
              <a:gd name="connsiteY2784" fmla="*/ 1428007 h 6689084"/>
              <a:gd name="connsiteX2785" fmla="*/ 5229126 w 6689088"/>
              <a:gd name="connsiteY2785" fmla="*/ 1426192 h 6689084"/>
              <a:gd name="connsiteX2786" fmla="*/ 5262892 w 6689088"/>
              <a:gd name="connsiteY2786" fmla="*/ 1459958 h 6689084"/>
              <a:gd name="connsiteX2787" fmla="*/ 5229126 w 6689088"/>
              <a:gd name="connsiteY2787" fmla="*/ 1493724 h 6689084"/>
              <a:gd name="connsiteX2788" fmla="*/ 5195360 w 6689088"/>
              <a:gd name="connsiteY2788" fmla="*/ 1459958 h 6689084"/>
              <a:gd name="connsiteX2789" fmla="*/ 5229126 w 6689088"/>
              <a:gd name="connsiteY2789" fmla="*/ 1426192 h 6689084"/>
              <a:gd name="connsiteX2790" fmla="*/ 5383074 w 6689088"/>
              <a:gd name="connsiteY2790" fmla="*/ 1423650 h 6689084"/>
              <a:gd name="connsiteX2791" fmla="*/ 5419382 w 6689088"/>
              <a:gd name="connsiteY2791" fmla="*/ 1459958 h 6689084"/>
              <a:gd name="connsiteX2792" fmla="*/ 5383074 w 6689088"/>
              <a:gd name="connsiteY2792" fmla="*/ 1496266 h 6689084"/>
              <a:gd name="connsiteX2793" fmla="*/ 5346766 w 6689088"/>
              <a:gd name="connsiteY2793" fmla="*/ 1459958 h 6689084"/>
              <a:gd name="connsiteX2794" fmla="*/ 5383074 w 6689088"/>
              <a:gd name="connsiteY2794" fmla="*/ 1423650 h 6689084"/>
              <a:gd name="connsiteX2795" fmla="*/ 5536659 w 6689088"/>
              <a:gd name="connsiteY2795" fmla="*/ 1421107 h 6689084"/>
              <a:gd name="connsiteX2796" fmla="*/ 5575506 w 6689088"/>
              <a:gd name="connsiteY2796" fmla="*/ 1459958 h 6689084"/>
              <a:gd name="connsiteX2797" fmla="*/ 5536659 w 6689088"/>
              <a:gd name="connsiteY2797" fmla="*/ 1498805 h 6689084"/>
              <a:gd name="connsiteX2798" fmla="*/ 5497808 w 6689088"/>
              <a:gd name="connsiteY2798" fmla="*/ 1459958 h 6689084"/>
              <a:gd name="connsiteX2799" fmla="*/ 5536659 w 6689088"/>
              <a:gd name="connsiteY2799" fmla="*/ 1421107 h 6689084"/>
              <a:gd name="connsiteX2800" fmla="*/ 5690606 w 6689088"/>
              <a:gd name="connsiteY2800" fmla="*/ 1418930 h 6689084"/>
              <a:gd name="connsiteX2801" fmla="*/ 5731638 w 6689088"/>
              <a:gd name="connsiteY2801" fmla="*/ 1459958 h 6689084"/>
              <a:gd name="connsiteX2802" fmla="*/ 5690606 w 6689088"/>
              <a:gd name="connsiteY2802" fmla="*/ 1500985 h 6689084"/>
              <a:gd name="connsiteX2803" fmla="*/ 5649579 w 6689088"/>
              <a:gd name="connsiteY2803" fmla="*/ 1459958 h 6689084"/>
              <a:gd name="connsiteX2804" fmla="*/ 5690606 w 6689088"/>
              <a:gd name="connsiteY2804" fmla="*/ 1418930 h 6689084"/>
              <a:gd name="connsiteX2805" fmla="*/ 5844554 w 6689088"/>
              <a:gd name="connsiteY2805" fmla="*/ 1416388 h 6689084"/>
              <a:gd name="connsiteX2806" fmla="*/ 5888124 w 6689088"/>
              <a:gd name="connsiteY2806" fmla="*/ 1459958 h 6689084"/>
              <a:gd name="connsiteX2807" fmla="*/ 5844554 w 6689088"/>
              <a:gd name="connsiteY2807" fmla="*/ 1503528 h 6689084"/>
              <a:gd name="connsiteX2808" fmla="*/ 5800984 w 6689088"/>
              <a:gd name="connsiteY2808" fmla="*/ 1459958 h 6689084"/>
              <a:gd name="connsiteX2809" fmla="*/ 5844554 w 6689088"/>
              <a:gd name="connsiteY2809" fmla="*/ 1416388 h 6689084"/>
              <a:gd name="connsiteX2810" fmla="*/ 5998136 w 6689088"/>
              <a:gd name="connsiteY2810" fmla="*/ 1413845 h 6689084"/>
              <a:gd name="connsiteX2811" fmla="*/ 6044248 w 6689088"/>
              <a:gd name="connsiteY2811" fmla="*/ 1459958 h 6689084"/>
              <a:gd name="connsiteX2812" fmla="*/ 5998136 w 6689088"/>
              <a:gd name="connsiteY2812" fmla="*/ 1506070 h 6689084"/>
              <a:gd name="connsiteX2813" fmla="*/ 5952026 w 6689088"/>
              <a:gd name="connsiteY2813" fmla="*/ 1459958 h 6689084"/>
              <a:gd name="connsiteX2814" fmla="*/ 5998136 w 6689088"/>
              <a:gd name="connsiteY2814" fmla="*/ 1413845 h 6689084"/>
              <a:gd name="connsiteX2815" fmla="*/ 6152083 w 6689088"/>
              <a:gd name="connsiteY2815" fmla="*/ 1411303 h 6689084"/>
              <a:gd name="connsiteX2816" fmla="*/ 6200738 w 6689088"/>
              <a:gd name="connsiteY2816" fmla="*/ 1459958 h 6689084"/>
              <a:gd name="connsiteX2817" fmla="*/ 6152083 w 6689088"/>
              <a:gd name="connsiteY2817" fmla="*/ 1508609 h 6689084"/>
              <a:gd name="connsiteX2818" fmla="*/ 6103432 w 6689088"/>
              <a:gd name="connsiteY2818" fmla="*/ 1459958 h 6689084"/>
              <a:gd name="connsiteX2819" fmla="*/ 6152083 w 6689088"/>
              <a:gd name="connsiteY2819" fmla="*/ 1411303 h 6689084"/>
              <a:gd name="connsiteX2820" fmla="*/ 6305672 w 6689088"/>
              <a:gd name="connsiteY2820" fmla="*/ 1408760 h 6689084"/>
              <a:gd name="connsiteX2821" fmla="*/ 6356866 w 6689088"/>
              <a:gd name="connsiteY2821" fmla="*/ 1459954 h 6689084"/>
              <a:gd name="connsiteX2822" fmla="*/ 6305672 w 6689088"/>
              <a:gd name="connsiteY2822" fmla="*/ 1511148 h 6689084"/>
              <a:gd name="connsiteX2823" fmla="*/ 6254474 w 6689088"/>
              <a:gd name="connsiteY2823" fmla="*/ 1459954 h 6689084"/>
              <a:gd name="connsiteX2824" fmla="*/ 6305672 w 6689088"/>
              <a:gd name="connsiteY2824" fmla="*/ 1408760 h 6689084"/>
              <a:gd name="connsiteX2825" fmla="*/ 6459616 w 6689088"/>
              <a:gd name="connsiteY2825" fmla="*/ 1406584 h 6689084"/>
              <a:gd name="connsiteX2826" fmla="*/ 6512990 w 6689088"/>
              <a:gd name="connsiteY2826" fmla="*/ 1459958 h 6689084"/>
              <a:gd name="connsiteX2827" fmla="*/ 6459616 w 6689088"/>
              <a:gd name="connsiteY2827" fmla="*/ 1513328 h 6689084"/>
              <a:gd name="connsiteX2828" fmla="*/ 6406241 w 6689088"/>
              <a:gd name="connsiteY2828" fmla="*/ 1459958 h 6689084"/>
              <a:gd name="connsiteX2829" fmla="*/ 6459616 w 6689088"/>
              <a:gd name="connsiteY2829" fmla="*/ 1406584 h 6689084"/>
              <a:gd name="connsiteX2830" fmla="*/ 6613200 w 6689088"/>
              <a:gd name="connsiteY2830" fmla="*/ 1403679 h 6689084"/>
              <a:gd name="connsiteX2831" fmla="*/ 6669476 w 6689088"/>
              <a:gd name="connsiteY2831" fmla="*/ 1459958 h 6689084"/>
              <a:gd name="connsiteX2832" fmla="*/ 6613200 w 6689088"/>
              <a:gd name="connsiteY2832" fmla="*/ 1516233 h 6689084"/>
              <a:gd name="connsiteX2833" fmla="*/ 6556922 w 6689088"/>
              <a:gd name="connsiteY2833" fmla="*/ 1459958 h 6689084"/>
              <a:gd name="connsiteX2834" fmla="*/ 6613200 w 6689088"/>
              <a:gd name="connsiteY2834" fmla="*/ 1403679 h 6689084"/>
              <a:gd name="connsiteX2835" fmla="*/ 1999860 w 6689088"/>
              <a:gd name="connsiteY2835" fmla="*/ 1305645 h 6689084"/>
              <a:gd name="connsiteX2836" fmla="*/ 2000222 w 6689088"/>
              <a:gd name="connsiteY2836" fmla="*/ 1306007 h 6689084"/>
              <a:gd name="connsiteX2837" fmla="*/ 1999860 w 6689088"/>
              <a:gd name="connsiteY2837" fmla="*/ 1306373 h 6689084"/>
              <a:gd name="connsiteX2838" fmla="*/ 1999498 w 6689088"/>
              <a:gd name="connsiteY2838" fmla="*/ 1306007 h 6689084"/>
              <a:gd name="connsiteX2839" fmla="*/ 1999860 w 6689088"/>
              <a:gd name="connsiteY2839" fmla="*/ 1305645 h 6689084"/>
              <a:gd name="connsiteX2840" fmla="*/ 1538746 w 6689088"/>
              <a:gd name="connsiteY2840" fmla="*/ 1305645 h 6689084"/>
              <a:gd name="connsiteX2841" fmla="*/ 1539108 w 6689088"/>
              <a:gd name="connsiteY2841" fmla="*/ 1306007 h 6689084"/>
              <a:gd name="connsiteX2842" fmla="*/ 1538746 w 6689088"/>
              <a:gd name="connsiteY2842" fmla="*/ 1306373 h 6689084"/>
              <a:gd name="connsiteX2843" fmla="*/ 1538384 w 6689088"/>
              <a:gd name="connsiteY2843" fmla="*/ 1306007 h 6689084"/>
              <a:gd name="connsiteX2844" fmla="*/ 1538746 w 6689088"/>
              <a:gd name="connsiteY2844" fmla="*/ 1305645 h 6689084"/>
              <a:gd name="connsiteX2845" fmla="*/ 1384799 w 6689088"/>
              <a:gd name="connsiteY2845" fmla="*/ 1305645 h 6689084"/>
              <a:gd name="connsiteX2846" fmla="*/ 1385161 w 6689088"/>
              <a:gd name="connsiteY2846" fmla="*/ 1306007 h 6689084"/>
              <a:gd name="connsiteX2847" fmla="*/ 1384799 w 6689088"/>
              <a:gd name="connsiteY2847" fmla="*/ 1306373 h 6689084"/>
              <a:gd name="connsiteX2848" fmla="*/ 1384437 w 6689088"/>
              <a:gd name="connsiteY2848" fmla="*/ 1306007 h 6689084"/>
              <a:gd name="connsiteX2849" fmla="*/ 1384799 w 6689088"/>
              <a:gd name="connsiteY2849" fmla="*/ 1305645 h 6689084"/>
              <a:gd name="connsiteX2850" fmla="*/ 1231217 w 6689088"/>
              <a:gd name="connsiteY2850" fmla="*/ 1305282 h 6689084"/>
              <a:gd name="connsiteX2851" fmla="*/ 1231942 w 6689088"/>
              <a:gd name="connsiteY2851" fmla="*/ 1306010 h 6689084"/>
              <a:gd name="connsiteX2852" fmla="*/ 1231217 w 6689088"/>
              <a:gd name="connsiteY2852" fmla="*/ 1306735 h 6689084"/>
              <a:gd name="connsiteX2853" fmla="*/ 1230489 w 6689088"/>
              <a:gd name="connsiteY2853" fmla="*/ 1306010 h 6689084"/>
              <a:gd name="connsiteX2854" fmla="*/ 1231217 w 6689088"/>
              <a:gd name="connsiteY2854" fmla="*/ 1305282 h 6689084"/>
              <a:gd name="connsiteX2855" fmla="*/ 2153811 w 6689088"/>
              <a:gd name="connsiteY2855" fmla="*/ 1304558 h 6689084"/>
              <a:gd name="connsiteX2856" fmla="*/ 2155264 w 6689088"/>
              <a:gd name="connsiteY2856" fmla="*/ 1306010 h 6689084"/>
              <a:gd name="connsiteX2857" fmla="*/ 2153811 w 6689088"/>
              <a:gd name="connsiteY2857" fmla="*/ 1307463 h 6689084"/>
              <a:gd name="connsiteX2858" fmla="*/ 2152359 w 6689088"/>
              <a:gd name="connsiteY2858" fmla="*/ 1306010 h 6689084"/>
              <a:gd name="connsiteX2859" fmla="*/ 2153811 w 6689088"/>
              <a:gd name="connsiteY2859" fmla="*/ 1304558 h 6689084"/>
              <a:gd name="connsiteX2860" fmla="*/ 2307393 w 6689088"/>
              <a:gd name="connsiteY2860" fmla="*/ 1303830 h 6689084"/>
              <a:gd name="connsiteX2861" fmla="*/ 2309573 w 6689088"/>
              <a:gd name="connsiteY2861" fmla="*/ 1306010 h 6689084"/>
              <a:gd name="connsiteX2862" fmla="*/ 2307393 w 6689088"/>
              <a:gd name="connsiteY2862" fmla="*/ 1308187 h 6689084"/>
              <a:gd name="connsiteX2863" fmla="*/ 2305216 w 6689088"/>
              <a:gd name="connsiteY2863" fmla="*/ 1306010 h 6689084"/>
              <a:gd name="connsiteX2864" fmla="*/ 2307393 w 6689088"/>
              <a:gd name="connsiteY2864" fmla="*/ 1303830 h 6689084"/>
              <a:gd name="connsiteX2865" fmla="*/ 2461344 w 6689088"/>
              <a:gd name="connsiteY2865" fmla="*/ 1303106 h 6689084"/>
              <a:gd name="connsiteX2866" fmla="*/ 2464611 w 6689088"/>
              <a:gd name="connsiteY2866" fmla="*/ 1306373 h 6689084"/>
              <a:gd name="connsiteX2867" fmla="*/ 2461344 w 6689088"/>
              <a:gd name="connsiteY2867" fmla="*/ 1309643 h 6689084"/>
              <a:gd name="connsiteX2868" fmla="*/ 2458073 w 6689088"/>
              <a:gd name="connsiteY2868" fmla="*/ 1306373 h 6689084"/>
              <a:gd name="connsiteX2869" fmla="*/ 2461344 w 6689088"/>
              <a:gd name="connsiteY2869" fmla="*/ 1303106 h 6689084"/>
              <a:gd name="connsiteX2870" fmla="*/ 2614925 w 6689088"/>
              <a:gd name="connsiteY2870" fmla="*/ 1301653 h 6689084"/>
              <a:gd name="connsiteX2871" fmla="*/ 2619283 w 6689088"/>
              <a:gd name="connsiteY2871" fmla="*/ 1306010 h 6689084"/>
              <a:gd name="connsiteX2872" fmla="*/ 2614925 w 6689088"/>
              <a:gd name="connsiteY2872" fmla="*/ 1310367 h 6689084"/>
              <a:gd name="connsiteX2873" fmla="*/ 2610568 w 6689088"/>
              <a:gd name="connsiteY2873" fmla="*/ 1306010 h 6689084"/>
              <a:gd name="connsiteX2874" fmla="*/ 2614925 w 6689088"/>
              <a:gd name="connsiteY2874" fmla="*/ 1301653 h 6689084"/>
              <a:gd name="connsiteX2875" fmla="*/ 2768873 w 6689088"/>
              <a:gd name="connsiteY2875" fmla="*/ 1300563 h 6689084"/>
              <a:gd name="connsiteX2876" fmla="*/ 2774682 w 6689088"/>
              <a:gd name="connsiteY2876" fmla="*/ 1306373 h 6689084"/>
              <a:gd name="connsiteX2877" fmla="*/ 2768873 w 6689088"/>
              <a:gd name="connsiteY2877" fmla="*/ 1312182 h 6689084"/>
              <a:gd name="connsiteX2878" fmla="*/ 2763064 w 6689088"/>
              <a:gd name="connsiteY2878" fmla="*/ 1306373 h 6689084"/>
              <a:gd name="connsiteX2879" fmla="*/ 2768873 w 6689088"/>
              <a:gd name="connsiteY2879" fmla="*/ 1300563 h 6689084"/>
              <a:gd name="connsiteX2880" fmla="*/ 2922458 w 6689088"/>
              <a:gd name="connsiteY2880" fmla="*/ 1298749 h 6689084"/>
              <a:gd name="connsiteX2881" fmla="*/ 2929720 w 6689088"/>
              <a:gd name="connsiteY2881" fmla="*/ 1306010 h 6689084"/>
              <a:gd name="connsiteX2882" fmla="*/ 2922458 w 6689088"/>
              <a:gd name="connsiteY2882" fmla="*/ 1313272 h 6689084"/>
              <a:gd name="connsiteX2883" fmla="*/ 2915196 w 6689088"/>
              <a:gd name="connsiteY2883" fmla="*/ 1306010 h 6689084"/>
              <a:gd name="connsiteX2884" fmla="*/ 2922458 w 6689088"/>
              <a:gd name="connsiteY2884" fmla="*/ 1298749 h 6689084"/>
              <a:gd name="connsiteX2885" fmla="*/ 3076406 w 6689088"/>
              <a:gd name="connsiteY2885" fmla="*/ 1296934 h 6689084"/>
              <a:gd name="connsiteX2886" fmla="*/ 3085486 w 6689088"/>
              <a:gd name="connsiteY2886" fmla="*/ 1306010 h 6689084"/>
              <a:gd name="connsiteX2887" fmla="*/ 3076406 w 6689088"/>
              <a:gd name="connsiteY2887" fmla="*/ 1315090 h 6689084"/>
              <a:gd name="connsiteX2888" fmla="*/ 3067329 w 6689088"/>
              <a:gd name="connsiteY2888" fmla="*/ 1306010 h 6689084"/>
              <a:gd name="connsiteX2889" fmla="*/ 3076406 w 6689088"/>
              <a:gd name="connsiteY2889" fmla="*/ 1296934 h 6689084"/>
              <a:gd name="connsiteX2890" fmla="*/ 3230353 w 6689088"/>
              <a:gd name="connsiteY2890" fmla="*/ 1295844 h 6689084"/>
              <a:gd name="connsiteX2891" fmla="*/ 3240519 w 6689088"/>
              <a:gd name="connsiteY2891" fmla="*/ 1306010 h 6689084"/>
              <a:gd name="connsiteX2892" fmla="*/ 3230353 w 6689088"/>
              <a:gd name="connsiteY2892" fmla="*/ 1316177 h 6689084"/>
              <a:gd name="connsiteX2893" fmla="*/ 3220186 w 6689088"/>
              <a:gd name="connsiteY2893" fmla="*/ 1306010 h 6689084"/>
              <a:gd name="connsiteX2894" fmla="*/ 3230353 w 6689088"/>
              <a:gd name="connsiteY2894" fmla="*/ 1295844 h 6689084"/>
              <a:gd name="connsiteX2895" fmla="*/ 3383934 w 6689088"/>
              <a:gd name="connsiteY2895" fmla="*/ 1294026 h 6689084"/>
              <a:gd name="connsiteX2896" fmla="*/ 3395919 w 6689088"/>
              <a:gd name="connsiteY2896" fmla="*/ 1306007 h 6689084"/>
              <a:gd name="connsiteX2897" fmla="*/ 3383934 w 6689088"/>
              <a:gd name="connsiteY2897" fmla="*/ 1317987 h 6689084"/>
              <a:gd name="connsiteX2898" fmla="*/ 3371954 w 6689088"/>
              <a:gd name="connsiteY2898" fmla="*/ 1306007 h 6689084"/>
              <a:gd name="connsiteX2899" fmla="*/ 3383934 w 6689088"/>
              <a:gd name="connsiteY2899" fmla="*/ 1294026 h 6689084"/>
              <a:gd name="connsiteX2900" fmla="*/ 3537886 w 6689088"/>
              <a:gd name="connsiteY2900" fmla="*/ 1292211 h 6689084"/>
              <a:gd name="connsiteX2901" fmla="*/ 3551681 w 6689088"/>
              <a:gd name="connsiteY2901" fmla="*/ 1306010 h 6689084"/>
              <a:gd name="connsiteX2902" fmla="*/ 3537886 w 6689088"/>
              <a:gd name="connsiteY2902" fmla="*/ 1319806 h 6689084"/>
              <a:gd name="connsiteX2903" fmla="*/ 3524086 w 6689088"/>
              <a:gd name="connsiteY2903" fmla="*/ 1306010 h 6689084"/>
              <a:gd name="connsiteX2904" fmla="*/ 3537886 w 6689088"/>
              <a:gd name="connsiteY2904" fmla="*/ 1292211 h 6689084"/>
              <a:gd name="connsiteX2905" fmla="*/ 3691467 w 6689088"/>
              <a:gd name="connsiteY2905" fmla="*/ 1290759 h 6689084"/>
              <a:gd name="connsiteX2906" fmla="*/ 3706718 w 6689088"/>
              <a:gd name="connsiteY2906" fmla="*/ 1306010 h 6689084"/>
              <a:gd name="connsiteX2907" fmla="*/ 3691467 w 6689088"/>
              <a:gd name="connsiteY2907" fmla="*/ 1321258 h 6689084"/>
              <a:gd name="connsiteX2908" fmla="*/ 3676219 w 6689088"/>
              <a:gd name="connsiteY2908" fmla="*/ 1306010 h 6689084"/>
              <a:gd name="connsiteX2909" fmla="*/ 3691467 w 6689088"/>
              <a:gd name="connsiteY2909" fmla="*/ 1290759 h 6689084"/>
              <a:gd name="connsiteX2910" fmla="*/ 3845418 w 6689088"/>
              <a:gd name="connsiteY2910" fmla="*/ 1288945 h 6689084"/>
              <a:gd name="connsiteX2911" fmla="*/ 3862484 w 6689088"/>
              <a:gd name="connsiteY2911" fmla="*/ 1306010 h 6689084"/>
              <a:gd name="connsiteX2912" fmla="*/ 3845418 w 6689088"/>
              <a:gd name="connsiteY2912" fmla="*/ 1323072 h 6689084"/>
              <a:gd name="connsiteX2913" fmla="*/ 3828352 w 6689088"/>
              <a:gd name="connsiteY2913" fmla="*/ 1306010 h 6689084"/>
              <a:gd name="connsiteX2914" fmla="*/ 3845418 w 6689088"/>
              <a:gd name="connsiteY2914" fmla="*/ 1288945 h 6689084"/>
              <a:gd name="connsiteX2915" fmla="*/ 3999000 w 6689088"/>
              <a:gd name="connsiteY2915" fmla="*/ 1286768 h 6689084"/>
              <a:gd name="connsiteX2916" fmla="*/ 4018242 w 6689088"/>
              <a:gd name="connsiteY2916" fmla="*/ 1306010 h 6689084"/>
              <a:gd name="connsiteX2917" fmla="*/ 3999000 w 6689088"/>
              <a:gd name="connsiteY2917" fmla="*/ 1325257 h 6689084"/>
              <a:gd name="connsiteX2918" fmla="*/ 3979757 w 6689088"/>
              <a:gd name="connsiteY2918" fmla="*/ 1306010 h 6689084"/>
              <a:gd name="connsiteX2919" fmla="*/ 3999000 w 6689088"/>
              <a:gd name="connsiteY2919" fmla="*/ 1286768 h 6689084"/>
              <a:gd name="connsiteX2920" fmla="*/ 4152947 w 6689088"/>
              <a:gd name="connsiteY2920" fmla="*/ 1284588 h 6689084"/>
              <a:gd name="connsiteX2921" fmla="*/ 4174366 w 6689088"/>
              <a:gd name="connsiteY2921" fmla="*/ 1306010 h 6689084"/>
              <a:gd name="connsiteX2922" fmla="*/ 4152947 w 6689088"/>
              <a:gd name="connsiteY2922" fmla="*/ 1327433 h 6689084"/>
              <a:gd name="connsiteX2923" fmla="*/ 4131524 w 6689088"/>
              <a:gd name="connsiteY2923" fmla="*/ 1306010 h 6689084"/>
              <a:gd name="connsiteX2924" fmla="*/ 4152947 w 6689088"/>
              <a:gd name="connsiteY2924" fmla="*/ 1284588 h 6689084"/>
              <a:gd name="connsiteX2925" fmla="*/ 4306532 w 6689088"/>
              <a:gd name="connsiteY2925" fmla="*/ 1283135 h 6689084"/>
              <a:gd name="connsiteX2926" fmla="*/ 4329404 w 6689088"/>
              <a:gd name="connsiteY2926" fmla="*/ 1306010 h 6689084"/>
              <a:gd name="connsiteX2927" fmla="*/ 4306532 w 6689088"/>
              <a:gd name="connsiteY2927" fmla="*/ 1328886 h 6689084"/>
              <a:gd name="connsiteX2928" fmla="*/ 4283657 w 6689088"/>
              <a:gd name="connsiteY2928" fmla="*/ 1306010 h 6689084"/>
              <a:gd name="connsiteX2929" fmla="*/ 4306532 w 6689088"/>
              <a:gd name="connsiteY2929" fmla="*/ 1283135 h 6689084"/>
              <a:gd name="connsiteX2930" fmla="*/ 4460480 w 6689088"/>
              <a:gd name="connsiteY2930" fmla="*/ 1281321 h 6689084"/>
              <a:gd name="connsiteX2931" fmla="*/ 4485536 w 6689088"/>
              <a:gd name="connsiteY2931" fmla="*/ 1306373 h 6689084"/>
              <a:gd name="connsiteX2932" fmla="*/ 4460480 w 6689088"/>
              <a:gd name="connsiteY2932" fmla="*/ 1331424 h 6689084"/>
              <a:gd name="connsiteX2933" fmla="*/ 4435428 w 6689088"/>
              <a:gd name="connsiteY2933" fmla="*/ 1306373 h 6689084"/>
              <a:gd name="connsiteX2934" fmla="*/ 4460480 w 6689088"/>
              <a:gd name="connsiteY2934" fmla="*/ 1281321 h 6689084"/>
              <a:gd name="connsiteX2935" fmla="*/ 4614065 w 6689088"/>
              <a:gd name="connsiteY2935" fmla="*/ 1278778 h 6689084"/>
              <a:gd name="connsiteX2936" fmla="*/ 4641297 w 6689088"/>
              <a:gd name="connsiteY2936" fmla="*/ 1306010 h 6689084"/>
              <a:gd name="connsiteX2937" fmla="*/ 4614065 w 6689088"/>
              <a:gd name="connsiteY2937" fmla="*/ 1333243 h 6689084"/>
              <a:gd name="connsiteX2938" fmla="*/ 4586832 w 6689088"/>
              <a:gd name="connsiteY2938" fmla="*/ 1306010 h 6689084"/>
              <a:gd name="connsiteX2939" fmla="*/ 4614065 w 6689088"/>
              <a:gd name="connsiteY2939" fmla="*/ 1278778 h 6689084"/>
              <a:gd name="connsiteX2940" fmla="*/ 4768008 w 6689088"/>
              <a:gd name="connsiteY2940" fmla="*/ 1276236 h 6689084"/>
              <a:gd name="connsiteX2941" fmla="*/ 4797784 w 6689088"/>
              <a:gd name="connsiteY2941" fmla="*/ 1306010 h 6689084"/>
              <a:gd name="connsiteX2942" fmla="*/ 4768008 w 6689088"/>
              <a:gd name="connsiteY2942" fmla="*/ 1335781 h 6689084"/>
              <a:gd name="connsiteX2943" fmla="*/ 4738238 w 6689088"/>
              <a:gd name="connsiteY2943" fmla="*/ 1306010 h 6689084"/>
              <a:gd name="connsiteX2944" fmla="*/ 4768008 w 6689088"/>
              <a:gd name="connsiteY2944" fmla="*/ 1276236 h 6689084"/>
              <a:gd name="connsiteX2945" fmla="*/ 4921594 w 6689088"/>
              <a:gd name="connsiteY2945" fmla="*/ 1274059 h 6689084"/>
              <a:gd name="connsiteX2946" fmla="*/ 4953545 w 6689088"/>
              <a:gd name="connsiteY2946" fmla="*/ 1306010 h 6689084"/>
              <a:gd name="connsiteX2947" fmla="*/ 4921594 w 6689088"/>
              <a:gd name="connsiteY2947" fmla="*/ 1337962 h 6689084"/>
              <a:gd name="connsiteX2948" fmla="*/ 4889642 w 6689088"/>
              <a:gd name="connsiteY2948" fmla="*/ 1306010 h 6689084"/>
              <a:gd name="connsiteX2949" fmla="*/ 4921594 w 6689088"/>
              <a:gd name="connsiteY2949" fmla="*/ 1274059 h 6689084"/>
              <a:gd name="connsiteX2950" fmla="*/ 5075541 w 6689088"/>
              <a:gd name="connsiteY2950" fmla="*/ 1272245 h 6689084"/>
              <a:gd name="connsiteX2951" fmla="*/ 5109311 w 6689088"/>
              <a:gd name="connsiteY2951" fmla="*/ 1306010 h 6689084"/>
              <a:gd name="connsiteX2952" fmla="*/ 5075541 w 6689088"/>
              <a:gd name="connsiteY2952" fmla="*/ 1339780 h 6689084"/>
              <a:gd name="connsiteX2953" fmla="*/ 5041776 w 6689088"/>
              <a:gd name="connsiteY2953" fmla="*/ 1306010 h 6689084"/>
              <a:gd name="connsiteX2954" fmla="*/ 5075541 w 6689088"/>
              <a:gd name="connsiteY2954" fmla="*/ 1272245 h 6689084"/>
              <a:gd name="connsiteX2955" fmla="*/ 5229126 w 6689088"/>
              <a:gd name="connsiteY2955" fmla="*/ 1269702 h 6689084"/>
              <a:gd name="connsiteX2956" fmla="*/ 5265435 w 6689088"/>
              <a:gd name="connsiteY2956" fmla="*/ 1306010 h 6689084"/>
              <a:gd name="connsiteX2957" fmla="*/ 5229126 w 6689088"/>
              <a:gd name="connsiteY2957" fmla="*/ 1342319 h 6689084"/>
              <a:gd name="connsiteX2958" fmla="*/ 5192818 w 6689088"/>
              <a:gd name="connsiteY2958" fmla="*/ 1306010 h 6689084"/>
              <a:gd name="connsiteX2959" fmla="*/ 5229126 w 6689088"/>
              <a:gd name="connsiteY2959" fmla="*/ 1269702 h 6689084"/>
              <a:gd name="connsiteX2960" fmla="*/ 5383074 w 6689088"/>
              <a:gd name="connsiteY2960" fmla="*/ 1267160 h 6689084"/>
              <a:gd name="connsiteX2961" fmla="*/ 5421921 w 6689088"/>
              <a:gd name="connsiteY2961" fmla="*/ 1306010 h 6689084"/>
              <a:gd name="connsiteX2962" fmla="*/ 5383074 w 6689088"/>
              <a:gd name="connsiteY2962" fmla="*/ 1344858 h 6689084"/>
              <a:gd name="connsiteX2963" fmla="*/ 5344223 w 6689088"/>
              <a:gd name="connsiteY2963" fmla="*/ 1306010 h 6689084"/>
              <a:gd name="connsiteX2964" fmla="*/ 5383074 w 6689088"/>
              <a:gd name="connsiteY2964" fmla="*/ 1267160 h 6689084"/>
              <a:gd name="connsiteX2965" fmla="*/ 5536659 w 6689088"/>
              <a:gd name="connsiteY2965" fmla="*/ 1264983 h 6689084"/>
              <a:gd name="connsiteX2966" fmla="*/ 5577690 w 6689088"/>
              <a:gd name="connsiteY2966" fmla="*/ 1306010 h 6689084"/>
              <a:gd name="connsiteX2967" fmla="*/ 5536659 w 6689088"/>
              <a:gd name="connsiteY2967" fmla="*/ 1347038 h 6689084"/>
              <a:gd name="connsiteX2968" fmla="*/ 5495632 w 6689088"/>
              <a:gd name="connsiteY2968" fmla="*/ 1306010 h 6689084"/>
              <a:gd name="connsiteX2969" fmla="*/ 5536659 w 6689088"/>
              <a:gd name="connsiteY2969" fmla="*/ 1264983 h 6689084"/>
              <a:gd name="connsiteX2970" fmla="*/ 5690606 w 6689088"/>
              <a:gd name="connsiteY2970" fmla="*/ 1262440 h 6689084"/>
              <a:gd name="connsiteX2971" fmla="*/ 5734176 w 6689088"/>
              <a:gd name="connsiteY2971" fmla="*/ 1306010 h 6689084"/>
              <a:gd name="connsiteX2972" fmla="*/ 5690606 w 6689088"/>
              <a:gd name="connsiteY2972" fmla="*/ 1349581 h 6689084"/>
              <a:gd name="connsiteX2973" fmla="*/ 5647036 w 6689088"/>
              <a:gd name="connsiteY2973" fmla="*/ 1306010 h 6689084"/>
              <a:gd name="connsiteX2974" fmla="*/ 5690606 w 6689088"/>
              <a:gd name="connsiteY2974" fmla="*/ 1262440 h 6689084"/>
              <a:gd name="connsiteX2975" fmla="*/ 5844554 w 6689088"/>
              <a:gd name="connsiteY2975" fmla="*/ 1259898 h 6689084"/>
              <a:gd name="connsiteX2976" fmla="*/ 5890666 w 6689088"/>
              <a:gd name="connsiteY2976" fmla="*/ 1306010 h 6689084"/>
              <a:gd name="connsiteX2977" fmla="*/ 5844554 w 6689088"/>
              <a:gd name="connsiteY2977" fmla="*/ 1352123 h 6689084"/>
              <a:gd name="connsiteX2978" fmla="*/ 5798442 w 6689088"/>
              <a:gd name="connsiteY2978" fmla="*/ 1306010 h 6689084"/>
              <a:gd name="connsiteX2979" fmla="*/ 5844554 w 6689088"/>
              <a:gd name="connsiteY2979" fmla="*/ 1259898 h 6689084"/>
              <a:gd name="connsiteX2980" fmla="*/ 5998136 w 6689088"/>
              <a:gd name="connsiteY2980" fmla="*/ 1257355 h 6689084"/>
              <a:gd name="connsiteX2981" fmla="*/ 6046790 w 6689088"/>
              <a:gd name="connsiteY2981" fmla="*/ 1306010 h 6689084"/>
              <a:gd name="connsiteX2982" fmla="*/ 5998136 w 6689088"/>
              <a:gd name="connsiteY2982" fmla="*/ 1354662 h 6689084"/>
              <a:gd name="connsiteX2983" fmla="*/ 5949484 w 6689088"/>
              <a:gd name="connsiteY2983" fmla="*/ 1306010 h 6689084"/>
              <a:gd name="connsiteX2984" fmla="*/ 5998136 w 6689088"/>
              <a:gd name="connsiteY2984" fmla="*/ 1257355 h 6689084"/>
              <a:gd name="connsiteX2985" fmla="*/ 6152083 w 6689088"/>
              <a:gd name="connsiteY2985" fmla="*/ 1254817 h 6689084"/>
              <a:gd name="connsiteX2986" fmla="*/ 6203280 w 6689088"/>
              <a:gd name="connsiteY2986" fmla="*/ 1306010 h 6689084"/>
              <a:gd name="connsiteX2987" fmla="*/ 6152083 w 6689088"/>
              <a:gd name="connsiteY2987" fmla="*/ 1357204 h 6689084"/>
              <a:gd name="connsiteX2988" fmla="*/ 6100889 w 6689088"/>
              <a:gd name="connsiteY2988" fmla="*/ 1306010 h 6689084"/>
              <a:gd name="connsiteX2989" fmla="*/ 6152083 w 6689088"/>
              <a:gd name="connsiteY2989" fmla="*/ 1254817 h 6689084"/>
              <a:gd name="connsiteX2990" fmla="*/ 6305668 w 6689088"/>
              <a:gd name="connsiteY2990" fmla="*/ 1252636 h 6689084"/>
              <a:gd name="connsiteX2991" fmla="*/ 6359042 w 6689088"/>
              <a:gd name="connsiteY2991" fmla="*/ 1306010 h 6689084"/>
              <a:gd name="connsiteX2992" fmla="*/ 6305668 w 6689088"/>
              <a:gd name="connsiteY2992" fmla="*/ 1359381 h 6689084"/>
              <a:gd name="connsiteX2993" fmla="*/ 6252294 w 6689088"/>
              <a:gd name="connsiteY2993" fmla="*/ 1306010 h 6689084"/>
              <a:gd name="connsiteX2994" fmla="*/ 6305668 w 6689088"/>
              <a:gd name="connsiteY2994" fmla="*/ 1252636 h 6689084"/>
              <a:gd name="connsiteX2995" fmla="*/ 6459619 w 6689088"/>
              <a:gd name="connsiteY2995" fmla="*/ 1249732 h 6689084"/>
              <a:gd name="connsiteX2996" fmla="*/ 6515894 w 6689088"/>
              <a:gd name="connsiteY2996" fmla="*/ 1306010 h 6689084"/>
              <a:gd name="connsiteX2997" fmla="*/ 6459619 w 6689088"/>
              <a:gd name="connsiteY2997" fmla="*/ 1362289 h 6689084"/>
              <a:gd name="connsiteX2998" fmla="*/ 6403340 w 6689088"/>
              <a:gd name="connsiteY2998" fmla="*/ 1306010 h 6689084"/>
              <a:gd name="connsiteX2999" fmla="*/ 6459619 w 6689088"/>
              <a:gd name="connsiteY2999" fmla="*/ 1249732 h 6689084"/>
              <a:gd name="connsiteX3000" fmla="*/ 6613197 w 6689088"/>
              <a:gd name="connsiteY3000" fmla="*/ 1247189 h 6689084"/>
              <a:gd name="connsiteX3001" fmla="*/ 6672018 w 6689088"/>
              <a:gd name="connsiteY3001" fmla="*/ 1306010 h 6689084"/>
              <a:gd name="connsiteX3002" fmla="*/ 6613197 w 6689088"/>
              <a:gd name="connsiteY3002" fmla="*/ 1364828 h 6689084"/>
              <a:gd name="connsiteX3003" fmla="*/ 6554380 w 6689088"/>
              <a:gd name="connsiteY3003" fmla="*/ 1306010 h 6689084"/>
              <a:gd name="connsiteX3004" fmla="*/ 6613197 w 6689088"/>
              <a:gd name="connsiteY3004" fmla="*/ 1247189 h 6689084"/>
              <a:gd name="connsiteX3005" fmla="*/ 1846279 w 6689088"/>
              <a:gd name="connsiteY3005" fmla="*/ 1152063 h 6689084"/>
              <a:gd name="connsiteX3006" fmla="*/ 1846641 w 6689088"/>
              <a:gd name="connsiteY3006" fmla="*/ 1152425 h 6689084"/>
              <a:gd name="connsiteX3007" fmla="*/ 1846279 w 6689088"/>
              <a:gd name="connsiteY3007" fmla="*/ 1152791 h 6689084"/>
              <a:gd name="connsiteX3008" fmla="*/ 1845917 w 6689088"/>
              <a:gd name="connsiteY3008" fmla="*/ 1152425 h 6689084"/>
              <a:gd name="connsiteX3009" fmla="*/ 1846279 w 6689088"/>
              <a:gd name="connsiteY3009" fmla="*/ 1152063 h 6689084"/>
              <a:gd name="connsiteX3010" fmla="*/ 1384799 w 6689088"/>
              <a:gd name="connsiteY3010" fmla="*/ 1152063 h 6689084"/>
              <a:gd name="connsiteX3011" fmla="*/ 1385161 w 6689088"/>
              <a:gd name="connsiteY3011" fmla="*/ 1152425 h 6689084"/>
              <a:gd name="connsiteX3012" fmla="*/ 1384799 w 6689088"/>
              <a:gd name="connsiteY3012" fmla="*/ 1152791 h 6689084"/>
              <a:gd name="connsiteX3013" fmla="*/ 1384437 w 6689088"/>
              <a:gd name="connsiteY3013" fmla="*/ 1152425 h 6689084"/>
              <a:gd name="connsiteX3014" fmla="*/ 1384799 w 6689088"/>
              <a:gd name="connsiteY3014" fmla="*/ 1152063 h 6689084"/>
              <a:gd name="connsiteX3015" fmla="*/ 1231213 w 6689088"/>
              <a:gd name="connsiteY3015" fmla="*/ 1152063 h 6689084"/>
              <a:gd name="connsiteX3016" fmla="*/ 1231576 w 6689088"/>
              <a:gd name="connsiteY3016" fmla="*/ 1152425 h 6689084"/>
              <a:gd name="connsiteX3017" fmla="*/ 1231213 w 6689088"/>
              <a:gd name="connsiteY3017" fmla="*/ 1152791 h 6689084"/>
              <a:gd name="connsiteX3018" fmla="*/ 1230851 w 6689088"/>
              <a:gd name="connsiteY3018" fmla="*/ 1152425 h 6689084"/>
              <a:gd name="connsiteX3019" fmla="*/ 1231213 w 6689088"/>
              <a:gd name="connsiteY3019" fmla="*/ 1152063 h 6689084"/>
              <a:gd name="connsiteX3020" fmla="*/ 1077270 w 6689088"/>
              <a:gd name="connsiteY3020" fmla="*/ 1151701 h 6689084"/>
              <a:gd name="connsiteX3021" fmla="*/ 1077994 w 6689088"/>
              <a:gd name="connsiteY3021" fmla="*/ 1152425 h 6689084"/>
              <a:gd name="connsiteX3022" fmla="*/ 1077270 w 6689088"/>
              <a:gd name="connsiteY3022" fmla="*/ 1153153 h 6689084"/>
              <a:gd name="connsiteX3023" fmla="*/ 1076542 w 6689088"/>
              <a:gd name="connsiteY3023" fmla="*/ 1152425 h 6689084"/>
              <a:gd name="connsiteX3024" fmla="*/ 1077270 w 6689088"/>
              <a:gd name="connsiteY3024" fmla="*/ 1151701 h 6689084"/>
              <a:gd name="connsiteX3025" fmla="*/ 1999864 w 6689088"/>
              <a:gd name="connsiteY3025" fmla="*/ 1150611 h 6689084"/>
              <a:gd name="connsiteX3026" fmla="*/ 2001316 w 6689088"/>
              <a:gd name="connsiteY3026" fmla="*/ 1152063 h 6689084"/>
              <a:gd name="connsiteX3027" fmla="*/ 1999864 w 6689088"/>
              <a:gd name="connsiteY3027" fmla="*/ 1153515 h 6689084"/>
              <a:gd name="connsiteX3028" fmla="*/ 1998412 w 6689088"/>
              <a:gd name="connsiteY3028" fmla="*/ 1152063 h 6689084"/>
              <a:gd name="connsiteX3029" fmla="*/ 1999864 w 6689088"/>
              <a:gd name="connsiteY3029" fmla="*/ 1150611 h 6689084"/>
              <a:gd name="connsiteX3030" fmla="*/ 2153808 w 6689088"/>
              <a:gd name="connsiteY3030" fmla="*/ 1150249 h 6689084"/>
              <a:gd name="connsiteX3031" fmla="*/ 2155988 w 6689088"/>
              <a:gd name="connsiteY3031" fmla="*/ 1152425 h 6689084"/>
              <a:gd name="connsiteX3032" fmla="*/ 2153808 w 6689088"/>
              <a:gd name="connsiteY3032" fmla="*/ 1154606 h 6689084"/>
              <a:gd name="connsiteX3033" fmla="*/ 2151631 w 6689088"/>
              <a:gd name="connsiteY3033" fmla="*/ 1152425 h 6689084"/>
              <a:gd name="connsiteX3034" fmla="*/ 2153808 w 6689088"/>
              <a:gd name="connsiteY3034" fmla="*/ 1150249 h 6689084"/>
              <a:gd name="connsiteX3035" fmla="*/ 2307393 w 6689088"/>
              <a:gd name="connsiteY3035" fmla="*/ 1149158 h 6689084"/>
              <a:gd name="connsiteX3036" fmla="*/ 2310660 w 6689088"/>
              <a:gd name="connsiteY3036" fmla="*/ 1152425 h 6689084"/>
              <a:gd name="connsiteX3037" fmla="*/ 2307393 w 6689088"/>
              <a:gd name="connsiteY3037" fmla="*/ 1155696 h 6689084"/>
              <a:gd name="connsiteX3038" fmla="*/ 2304126 w 6689088"/>
              <a:gd name="connsiteY3038" fmla="*/ 1152425 h 6689084"/>
              <a:gd name="connsiteX3039" fmla="*/ 2307393 w 6689088"/>
              <a:gd name="connsiteY3039" fmla="*/ 1149158 h 6689084"/>
              <a:gd name="connsiteX3040" fmla="*/ 2461340 w 6689088"/>
              <a:gd name="connsiteY3040" fmla="*/ 1147706 h 6689084"/>
              <a:gd name="connsiteX3041" fmla="*/ 2465697 w 6689088"/>
              <a:gd name="connsiteY3041" fmla="*/ 1152063 h 6689084"/>
              <a:gd name="connsiteX3042" fmla="*/ 2461340 w 6689088"/>
              <a:gd name="connsiteY3042" fmla="*/ 1156420 h 6689084"/>
              <a:gd name="connsiteX3043" fmla="*/ 2456983 w 6689088"/>
              <a:gd name="connsiteY3043" fmla="*/ 1152063 h 6689084"/>
              <a:gd name="connsiteX3044" fmla="*/ 2461340 w 6689088"/>
              <a:gd name="connsiteY3044" fmla="*/ 1147706 h 6689084"/>
              <a:gd name="connsiteX3045" fmla="*/ 2614925 w 6689088"/>
              <a:gd name="connsiteY3045" fmla="*/ 1146616 h 6689084"/>
              <a:gd name="connsiteX3046" fmla="*/ 2620735 w 6689088"/>
              <a:gd name="connsiteY3046" fmla="*/ 1152425 h 6689084"/>
              <a:gd name="connsiteX3047" fmla="*/ 2614925 w 6689088"/>
              <a:gd name="connsiteY3047" fmla="*/ 1158234 h 6689084"/>
              <a:gd name="connsiteX3048" fmla="*/ 2609116 w 6689088"/>
              <a:gd name="connsiteY3048" fmla="*/ 1152425 h 6689084"/>
              <a:gd name="connsiteX3049" fmla="*/ 2614925 w 6689088"/>
              <a:gd name="connsiteY3049" fmla="*/ 1146616 h 6689084"/>
              <a:gd name="connsiteX3050" fmla="*/ 2768873 w 6689088"/>
              <a:gd name="connsiteY3050" fmla="*/ 1145164 h 6689084"/>
              <a:gd name="connsiteX3051" fmla="*/ 2776135 w 6689088"/>
              <a:gd name="connsiteY3051" fmla="*/ 1152425 h 6689084"/>
              <a:gd name="connsiteX3052" fmla="*/ 2768873 w 6689088"/>
              <a:gd name="connsiteY3052" fmla="*/ 1159687 h 6689084"/>
              <a:gd name="connsiteX3053" fmla="*/ 2761611 w 6689088"/>
              <a:gd name="connsiteY3053" fmla="*/ 1152425 h 6689084"/>
              <a:gd name="connsiteX3054" fmla="*/ 2768873 w 6689088"/>
              <a:gd name="connsiteY3054" fmla="*/ 1145164 h 6689084"/>
              <a:gd name="connsiteX3055" fmla="*/ 2922454 w 6689088"/>
              <a:gd name="connsiteY3055" fmla="*/ 1142983 h 6689084"/>
              <a:gd name="connsiteX3056" fmla="*/ 2931534 w 6689088"/>
              <a:gd name="connsiteY3056" fmla="*/ 1152059 h 6689084"/>
              <a:gd name="connsiteX3057" fmla="*/ 2922454 w 6689088"/>
              <a:gd name="connsiteY3057" fmla="*/ 1161139 h 6689084"/>
              <a:gd name="connsiteX3058" fmla="*/ 2913378 w 6689088"/>
              <a:gd name="connsiteY3058" fmla="*/ 1152059 h 6689084"/>
              <a:gd name="connsiteX3059" fmla="*/ 2922454 w 6689088"/>
              <a:gd name="connsiteY3059" fmla="*/ 1142983 h 6689084"/>
              <a:gd name="connsiteX3060" fmla="*/ 3076406 w 6689088"/>
              <a:gd name="connsiteY3060" fmla="*/ 1142259 h 6689084"/>
              <a:gd name="connsiteX3061" fmla="*/ 3086572 w 6689088"/>
              <a:gd name="connsiteY3061" fmla="*/ 1152425 h 6689084"/>
              <a:gd name="connsiteX3062" fmla="*/ 3076406 w 6689088"/>
              <a:gd name="connsiteY3062" fmla="*/ 1162592 h 6689084"/>
              <a:gd name="connsiteX3063" fmla="*/ 3066239 w 6689088"/>
              <a:gd name="connsiteY3063" fmla="*/ 1152425 h 6689084"/>
              <a:gd name="connsiteX3064" fmla="*/ 3076406 w 6689088"/>
              <a:gd name="connsiteY3064" fmla="*/ 1142259 h 6689084"/>
              <a:gd name="connsiteX3065" fmla="*/ 3230349 w 6689088"/>
              <a:gd name="connsiteY3065" fmla="*/ 1140444 h 6689084"/>
              <a:gd name="connsiteX3066" fmla="*/ 3242334 w 6689088"/>
              <a:gd name="connsiteY3066" fmla="*/ 1152425 h 6689084"/>
              <a:gd name="connsiteX3067" fmla="*/ 3230349 w 6689088"/>
              <a:gd name="connsiteY3067" fmla="*/ 1164406 h 6689084"/>
              <a:gd name="connsiteX3068" fmla="*/ 3218368 w 6689088"/>
              <a:gd name="connsiteY3068" fmla="*/ 1152425 h 6689084"/>
              <a:gd name="connsiteX3069" fmla="*/ 3230349 w 6689088"/>
              <a:gd name="connsiteY3069" fmla="*/ 1140444 h 6689084"/>
              <a:gd name="connsiteX3070" fmla="*/ 3383934 w 6689088"/>
              <a:gd name="connsiteY3070" fmla="*/ 1138264 h 6689084"/>
              <a:gd name="connsiteX3071" fmla="*/ 3397733 w 6689088"/>
              <a:gd name="connsiteY3071" fmla="*/ 1152059 h 6689084"/>
              <a:gd name="connsiteX3072" fmla="*/ 3383934 w 6689088"/>
              <a:gd name="connsiteY3072" fmla="*/ 1165858 h 6689084"/>
              <a:gd name="connsiteX3073" fmla="*/ 3370139 w 6689088"/>
              <a:gd name="connsiteY3073" fmla="*/ 1152059 h 6689084"/>
              <a:gd name="connsiteX3074" fmla="*/ 3383934 w 6689088"/>
              <a:gd name="connsiteY3074" fmla="*/ 1138264 h 6689084"/>
              <a:gd name="connsiteX3075" fmla="*/ 3537882 w 6689088"/>
              <a:gd name="connsiteY3075" fmla="*/ 1137178 h 6689084"/>
              <a:gd name="connsiteX3076" fmla="*/ 3553133 w 6689088"/>
              <a:gd name="connsiteY3076" fmla="*/ 1152425 h 6689084"/>
              <a:gd name="connsiteX3077" fmla="*/ 3537882 w 6689088"/>
              <a:gd name="connsiteY3077" fmla="*/ 1167677 h 6689084"/>
              <a:gd name="connsiteX3078" fmla="*/ 3522634 w 6689088"/>
              <a:gd name="connsiteY3078" fmla="*/ 1152425 h 6689084"/>
              <a:gd name="connsiteX3079" fmla="*/ 3537882 w 6689088"/>
              <a:gd name="connsiteY3079" fmla="*/ 1137178 h 6689084"/>
              <a:gd name="connsiteX3080" fmla="*/ 3691467 w 6689088"/>
              <a:gd name="connsiteY3080" fmla="*/ 1135359 h 6689084"/>
              <a:gd name="connsiteX3081" fmla="*/ 3708533 w 6689088"/>
              <a:gd name="connsiteY3081" fmla="*/ 1152425 h 6689084"/>
              <a:gd name="connsiteX3082" fmla="*/ 3691467 w 6689088"/>
              <a:gd name="connsiteY3082" fmla="*/ 1169487 h 6689084"/>
              <a:gd name="connsiteX3083" fmla="*/ 3674401 w 6689088"/>
              <a:gd name="connsiteY3083" fmla="*/ 1152425 h 6689084"/>
              <a:gd name="connsiteX3084" fmla="*/ 3691467 w 6689088"/>
              <a:gd name="connsiteY3084" fmla="*/ 1135359 h 6689084"/>
              <a:gd name="connsiteX3085" fmla="*/ 3845414 w 6689088"/>
              <a:gd name="connsiteY3085" fmla="*/ 1133183 h 6689084"/>
              <a:gd name="connsiteX3086" fmla="*/ 3864661 w 6689088"/>
              <a:gd name="connsiteY3086" fmla="*/ 1152425 h 6689084"/>
              <a:gd name="connsiteX3087" fmla="*/ 3845414 w 6689088"/>
              <a:gd name="connsiteY3087" fmla="*/ 1171672 h 6689084"/>
              <a:gd name="connsiteX3088" fmla="*/ 3826172 w 6689088"/>
              <a:gd name="connsiteY3088" fmla="*/ 1152425 h 6689084"/>
              <a:gd name="connsiteX3089" fmla="*/ 3845414 w 6689088"/>
              <a:gd name="connsiteY3089" fmla="*/ 1133183 h 6689084"/>
              <a:gd name="connsiteX3090" fmla="*/ 3999000 w 6689088"/>
              <a:gd name="connsiteY3090" fmla="*/ 1131002 h 6689084"/>
              <a:gd name="connsiteX3091" fmla="*/ 4020422 w 6689088"/>
              <a:gd name="connsiteY3091" fmla="*/ 1152425 h 6689084"/>
              <a:gd name="connsiteX3092" fmla="*/ 3999000 w 6689088"/>
              <a:gd name="connsiteY3092" fmla="*/ 1173844 h 6689084"/>
              <a:gd name="connsiteX3093" fmla="*/ 3977577 w 6689088"/>
              <a:gd name="connsiteY3093" fmla="*/ 1152425 h 6689084"/>
              <a:gd name="connsiteX3094" fmla="*/ 3999000 w 6689088"/>
              <a:gd name="connsiteY3094" fmla="*/ 1131002 h 6689084"/>
              <a:gd name="connsiteX3095" fmla="*/ 4152947 w 6689088"/>
              <a:gd name="connsiteY3095" fmla="*/ 1129550 h 6689084"/>
              <a:gd name="connsiteX3096" fmla="*/ 4175822 w 6689088"/>
              <a:gd name="connsiteY3096" fmla="*/ 1152425 h 6689084"/>
              <a:gd name="connsiteX3097" fmla="*/ 4152947 w 6689088"/>
              <a:gd name="connsiteY3097" fmla="*/ 1175297 h 6689084"/>
              <a:gd name="connsiteX3098" fmla="*/ 4130072 w 6689088"/>
              <a:gd name="connsiteY3098" fmla="*/ 1152425 h 6689084"/>
              <a:gd name="connsiteX3099" fmla="*/ 4152947 w 6689088"/>
              <a:gd name="connsiteY3099" fmla="*/ 1129550 h 6689084"/>
              <a:gd name="connsiteX3100" fmla="*/ 4306532 w 6689088"/>
              <a:gd name="connsiteY3100" fmla="*/ 1127373 h 6689084"/>
              <a:gd name="connsiteX3101" fmla="*/ 4331584 w 6689088"/>
              <a:gd name="connsiteY3101" fmla="*/ 1152425 h 6689084"/>
              <a:gd name="connsiteX3102" fmla="*/ 4306532 w 6689088"/>
              <a:gd name="connsiteY3102" fmla="*/ 1177481 h 6689084"/>
              <a:gd name="connsiteX3103" fmla="*/ 4281480 w 6689088"/>
              <a:gd name="connsiteY3103" fmla="*/ 1152425 h 6689084"/>
              <a:gd name="connsiteX3104" fmla="*/ 4306532 w 6689088"/>
              <a:gd name="connsiteY3104" fmla="*/ 1127373 h 6689084"/>
              <a:gd name="connsiteX3105" fmla="*/ 4460480 w 6689088"/>
              <a:gd name="connsiteY3105" fmla="*/ 1125193 h 6689084"/>
              <a:gd name="connsiteX3106" fmla="*/ 4487712 w 6689088"/>
              <a:gd name="connsiteY3106" fmla="*/ 1152425 h 6689084"/>
              <a:gd name="connsiteX3107" fmla="*/ 4460480 w 6689088"/>
              <a:gd name="connsiteY3107" fmla="*/ 1179657 h 6689084"/>
              <a:gd name="connsiteX3108" fmla="*/ 4433248 w 6689088"/>
              <a:gd name="connsiteY3108" fmla="*/ 1152425 h 6689084"/>
              <a:gd name="connsiteX3109" fmla="*/ 4460480 w 6689088"/>
              <a:gd name="connsiteY3109" fmla="*/ 1125193 h 6689084"/>
              <a:gd name="connsiteX3110" fmla="*/ 4614061 w 6689088"/>
              <a:gd name="connsiteY3110" fmla="*/ 1122654 h 6689084"/>
              <a:gd name="connsiteX3111" fmla="*/ 4643836 w 6689088"/>
              <a:gd name="connsiteY3111" fmla="*/ 1152425 h 6689084"/>
              <a:gd name="connsiteX3112" fmla="*/ 4614061 w 6689088"/>
              <a:gd name="connsiteY3112" fmla="*/ 1182200 h 6689084"/>
              <a:gd name="connsiteX3113" fmla="*/ 4584290 w 6689088"/>
              <a:gd name="connsiteY3113" fmla="*/ 1152429 h 6689084"/>
              <a:gd name="connsiteX3114" fmla="*/ 4614061 w 6689088"/>
              <a:gd name="connsiteY3114" fmla="*/ 1122654 h 6689084"/>
              <a:gd name="connsiteX3115" fmla="*/ 4768012 w 6689088"/>
              <a:gd name="connsiteY3115" fmla="*/ 1120474 h 6689084"/>
              <a:gd name="connsiteX3116" fmla="*/ 4799964 w 6689088"/>
              <a:gd name="connsiteY3116" fmla="*/ 1152425 h 6689084"/>
              <a:gd name="connsiteX3117" fmla="*/ 4768012 w 6689088"/>
              <a:gd name="connsiteY3117" fmla="*/ 1184377 h 6689084"/>
              <a:gd name="connsiteX3118" fmla="*/ 4736061 w 6689088"/>
              <a:gd name="connsiteY3118" fmla="*/ 1152425 h 6689084"/>
              <a:gd name="connsiteX3119" fmla="*/ 4768012 w 6689088"/>
              <a:gd name="connsiteY3119" fmla="*/ 1120474 h 6689084"/>
              <a:gd name="connsiteX3120" fmla="*/ 4921594 w 6689088"/>
              <a:gd name="connsiteY3120" fmla="*/ 1118659 h 6689084"/>
              <a:gd name="connsiteX3121" fmla="*/ 4955364 w 6689088"/>
              <a:gd name="connsiteY3121" fmla="*/ 1152425 h 6689084"/>
              <a:gd name="connsiteX3122" fmla="*/ 4921594 w 6689088"/>
              <a:gd name="connsiteY3122" fmla="*/ 1186191 h 6689084"/>
              <a:gd name="connsiteX3123" fmla="*/ 4887828 w 6689088"/>
              <a:gd name="connsiteY3123" fmla="*/ 1152425 h 6689084"/>
              <a:gd name="connsiteX3124" fmla="*/ 4921594 w 6689088"/>
              <a:gd name="connsiteY3124" fmla="*/ 1118659 h 6689084"/>
              <a:gd name="connsiteX3125" fmla="*/ 5075541 w 6689088"/>
              <a:gd name="connsiteY3125" fmla="*/ 1116117 h 6689084"/>
              <a:gd name="connsiteX3126" fmla="*/ 5111850 w 6689088"/>
              <a:gd name="connsiteY3126" fmla="*/ 1152425 h 6689084"/>
              <a:gd name="connsiteX3127" fmla="*/ 5075541 w 6689088"/>
              <a:gd name="connsiteY3127" fmla="*/ 1188734 h 6689084"/>
              <a:gd name="connsiteX3128" fmla="*/ 5039233 w 6689088"/>
              <a:gd name="connsiteY3128" fmla="*/ 1152425 h 6689084"/>
              <a:gd name="connsiteX3129" fmla="*/ 5075541 w 6689088"/>
              <a:gd name="connsiteY3129" fmla="*/ 1116117 h 6689084"/>
              <a:gd name="connsiteX3130" fmla="*/ 5229126 w 6689088"/>
              <a:gd name="connsiteY3130" fmla="*/ 1113574 h 6689084"/>
              <a:gd name="connsiteX3131" fmla="*/ 5267978 w 6689088"/>
              <a:gd name="connsiteY3131" fmla="*/ 1152425 h 6689084"/>
              <a:gd name="connsiteX3132" fmla="*/ 5229126 w 6689088"/>
              <a:gd name="connsiteY3132" fmla="*/ 1191276 h 6689084"/>
              <a:gd name="connsiteX3133" fmla="*/ 5190276 w 6689088"/>
              <a:gd name="connsiteY3133" fmla="*/ 1152425 h 6689084"/>
              <a:gd name="connsiteX3134" fmla="*/ 5229126 w 6689088"/>
              <a:gd name="connsiteY3134" fmla="*/ 1113574 h 6689084"/>
              <a:gd name="connsiteX3135" fmla="*/ 5383074 w 6689088"/>
              <a:gd name="connsiteY3135" fmla="*/ 1111036 h 6689084"/>
              <a:gd name="connsiteX3136" fmla="*/ 5424102 w 6689088"/>
              <a:gd name="connsiteY3136" fmla="*/ 1152063 h 6689084"/>
              <a:gd name="connsiteX3137" fmla="*/ 5383074 w 6689088"/>
              <a:gd name="connsiteY3137" fmla="*/ 1193094 h 6689084"/>
              <a:gd name="connsiteX3138" fmla="*/ 5342046 w 6689088"/>
              <a:gd name="connsiteY3138" fmla="*/ 1152063 h 6689084"/>
              <a:gd name="connsiteX3139" fmla="*/ 5383074 w 6689088"/>
              <a:gd name="connsiteY3139" fmla="*/ 1111036 h 6689084"/>
              <a:gd name="connsiteX3140" fmla="*/ 5536659 w 6689088"/>
              <a:gd name="connsiteY3140" fmla="*/ 1108855 h 6689084"/>
              <a:gd name="connsiteX3141" fmla="*/ 5580229 w 6689088"/>
              <a:gd name="connsiteY3141" fmla="*/ 1152425 h 6689084"/>
              <a:gd name="connsiteX3142" fmla="*/ 5536659 w 6689088"/>
              <a:gd name="connsiteY3142" fmla="*/ 1195995 h 6689084"/>
              <a:gd name="connsiteX3143" fmla="*/ 5493089 w 6689088"/>
              <a:gd name="connsiteY3143" fmla="*/ 1152425 h 6689084"/>
              <a:gd name="connsiteX3144" fmla="*/ 5536659 w 6689088"/>
              <a:gd name="connsiteY3144" fmla="*/ 1108855 h 6689084"/>
              <a:gd name="connsiteX3145" fmla="*/ 5690602 w 6689088"/>
              <a:gd name="connsiteY3145" fmla="*/ 1106313 h 6689084"/>
              <a:gd name="connsiteX3146" fmla="*/ 5736716 w 6689088"/>
              <a:gd name="connsiteY3146" fmla="*/ 1152425 h 6689084"/>
              <a:gd name="connsiteX3147" fmla="*/ 5690602 w 6689088"/>
              <a:gd name="connsiteY3147" fmla="*/ 1198534 h 6689084"/>
              <a:gd name="connsiteX3148" fmla="*/ 5644490 w 6689088"/>
              <a:gd name="connsiteY3148" fmla="*/ 1152425 h 6689084"/>
              <a:gd name="connsiteX3149" fmla="*/ 5690602 w 6689088"/>
              <a:gd name="connsiteY3149" fmla="*/ 1106313 h 6689084"/>
              <a:gd name="connsiteX3150" fmla="*/ 5844554 w 6689088"/>
              <a:gd name="connsiteY3150" fmla="*/ 1103770 h 6689084"/>
              <a:gd name="connsiteX3151" fmla="*/ 5893205 w 6689088"/>
              <a:gd name="connsiteY3151" fmla="*/ 1152425 h 6689084"/>
              <a:gd name="connsiteX3152" fmla="*/ 5844554 w 6689088"/>
              <a:gd name="connsiteY3152" fmla="*/ 1201077 h 6689084"/>
              <a:gd name="connsiteX3153" fmla="*/ 5795899 w 6689088"/>
              <a:gd name="connsiteY3153" fmla="*/ 1152425 h 6689084"/>
              <a:gd name="connsiteX3154" fmla="*/ 5844554 w 6689088"/>
              <a:gd name="connsiteY3154" fmla="*/ 1103770 h 6689084"/>
              <a:gd name="connsiteX3155" fmla="*/ 5998136 w 6689088"/>
              <a:gd name="connsiteY3155" fmla="*/ 1101231 h 6689084"/>
              <a:gd name="connsiteX3156" fmla="*/ 6049333 w 6689088"/>
              <a:gd name="connsiteY3156" fmla="*/ 1152425 h 6689084"/>
              <a:gd name="connsiteX3157" fmla="*/ 5998136 w 6689088"/>
              <a:gd name="connsiteY3157" fmla="*/ 1203623 h 6689084"/>
              <a:gd name="connsiteX3158" fmla="*/ 5946942 w 6689088"/>
              <a:gd name="connsiteY3158" fmla="*/ 1152425 h 6689084"/>
              <a:gd name="connsiteX3159" fmla="*/ 5998136 w 6689088"/>
              <a:gd name="connsiteY3159" fmla="*/ 1101231 h 6689084"/>
              <a:gd name="connsiteX3160" fmla="*/ 6152083 w 6689088"/>
              <a:gd name="connsiteY3160" fmla="*/ 1099051 h 6689084"/>
              <a:gd name="connsiteX3161" fmla="*/ 6205461 w 6689088"/>
              <a:gd name="connsiteY3161" fmla="*/ 1152425 h 6689084"/>
              <a:gd name="connsiteX3162" fmla="*/ 6152083 w 6689088"/>
              <a:gd name="connsiteY3162" fmla="*/ 1205796 h 6689084"/>
              <a:gd name="connsiteX3163" fmla="*/ 6098712 w 6689088"/>
              <a:gd name="connsiteY3163" fmla="*/ 1152425 h 6689084"/>
              <a:gd name="connsiteX3164" fmla="*/ 6152083 w 6689088"/>
              <a:gd name="connsiteY3164" fmla="*/ 1099051 h 6689084"/>
              <a:gd name="connsiteX3165" fmla="*/ 6305672 w 6689088"/>
              <a:gd name="connsiteY3165" fmla="*/ 1096146 h 6689084"/>
              <a:gd name="connsiteX3166" fmla="*/ 6361947 w 6689088"/>
              <a:gd name="connsiteY3166" fmla="*/ 1152425 h 6689084"/>
              <a:gd name="connsiteX3167" fmla="*/ 6305672 w 6689088"/>
              <a:gd name="connsiteY3167" fmla="*/ 1208704 h 6689084"/>
              <a:gd name="connsiteX3168" fmla="*/ 6249393 w 6689088"/>
              <a:gd name="connsiteY3168" fmla="*/ 1152425 h 6689084"/>
              <a:gd name="connsiteX3169" fmla="*/ 6305672 w 6689088"/>
              <a:gd name="connsiteY3169" fmla="*/ 1096146 h 6689084"/>
              <a:gd name="connsiteX3170" fmla="*/ 6459616 w 6689088"/>
              <a:gd name="connsiteY3170" fmla="*/ 1093608 h 6689084"/>
              <a:gd name="connsiteX3171" fmla="*/ 6518437 w 6689088"/>
              <a:gd name="connsiteY3171" fmla="*/ 1152425 h 6689084"/>
              <a:gd name="connsiteX3172" fmla="*/ 6459616 w 6689088"/>
              <a:gd name="connsiteY3172" fmla="*/ 1211247 h 6689084"/>
              <a:gd name="connsiteX3173" fmla="*/ 6400798 w 6689088"/>
              <a:gd name="connsiteY3173" fmla="*/ 1152425 h 6689084"/>
              <a:gd name="connsiteX3174" fmla="*/ 6459616 w 6689088"/>
              <a:gd name="connsiteY3174" fmla="*/ 1093608 h 6689084"/>
              <a:gd name="connsiteX3175" fmla="*/ 6613200 w 6689088"/>
              <a:gd name="connsiteY3175" fmla="*/ 1090703 h 6689084"/>
              <a:gd name="connsiteX3176" fmla="*/ 6674923 w 6689088"/>
              <a:gd name="connsiteY3176" fmla="*/ 1152425 h 6689084"/>
              <a:gd name="connsiteX3177" fmla="*/ 6613200 w 6689088"/>
              <a:gd name="connsiteY3177" fmla="*/ 1214151 h 6689084"/>
              <a:gd name="connsiteX3178" fmla="*/ 6551474 w 6689088"/>
              <a:gd name="connsiteY3178" fmla="*/ 1152425 h 6689084"/>
              <a:gd name="connsiteX3179" fmla="*/ 6613200 w 6689088"/>
              <a:gd name="connsiteY3179" fmla="*/ 1090703 h 6689084"/>
              <a:gd name="connsiteX3180" fmla="*/ 1692331 w 6689088"/>
              <a:gd name="connsiteY3180" fmla="*/ 998116 h 6689084"/>
              <a:gd name="connsiteX3181" fmla="*/ 1692694 w 6689088"/>
              <a:gd name="connsiteY3181" fmla="*/ 998478 h 6689084"/>
              <a:gd name="connsiteX3182" fmla="*/ 1692331 w 6689088"/>
              <a:gd name="connsiteY3182" fmla="*/ 998844 h 6689084"/>
              <a:gd name="connsiteX3183" fmla="*/ 1691969 w 6689088"/>
              <a:gd name="connsiteY3183" fmla="*/ 998478 h 6689084"/>
              <a:gd name="connsiteX3184" fmla="*/ 1692331 w 6689088"/>
              <a:gd name="connsiteY3184" fmla="*/ 998116 h 6689084"/>
              <a:gd name="connsiteX3185" fmla="*/ 1231213 w 6689088"/>
              <a:gd name="connsiteY3185" fmla="*/ 998116 h 6689084"/>
              <a:gd name="connsiteX3186" fmla="*/ 1231576 w 6689088"/>
              <a:gd name="connsiteY3186" fmla="*/ 998478 h 6689084"/>
              <a:gd name="connsiteX3187" fmla="*/ 1231213 w 6689088"/>
              <a:gd name="connsiteY3187" fmla="*/ 998844 h 6689084"/>
              <a:gd name="connsiteX3188" fmla="*/ 1230851 w 6689088"/>
              <a:gd name="connsiteY3188" fmla="*/ 998478 h 6689084"/>
              <a:gd name="connsiteX3189" fmla="*/ 1231213 w 6689088"/>
              <a:gd name="connsiteY3189" fmla="*/ 998116 h 6689084"/>
              <a:gd name="connsiteX3190" fmla="*/ 1077266 w 6689088"/>
              <a:gd name="connsiteY3190" fmla="*/ 998116 h 6689084"/>
              <a:gd name="connsiteX3191" fmla="*/ 1077628 w 6689088"/>
              <a:gd name="connsiteY3191" fmla="*/ 998478 h 6689084"/>
              <a:gd name="connsiteX3192" fmla="*/ 1077266 w 6689088"/>
              <a:gd name="connsiteY3192" fmla="*/ 998844 h 6689084"/>
              <a:gd name="connsiteX3193" fmla="*/ 1076904 w 6689088"/>
              <a:gd name="connsiteY3193" fmla="*/ 998478 h 6689084"/>
              <a:gd name="connsiteX3194" fmla="*/ 1077266 w 6689088"/>
              <a:gd name="connsiteY3194" fmla="*/ 998116 h 6689084"/>
              <a:gd name="connsiteX3195" fmla="*/ 923685 w 6689088"/>
              <a:gd name="connsiteY3195" fmla="*/ 997754 h 6689084"/>
              <a:gd name="connsiteX3196" fmla="*/ 924409 w 6689088"/>
              <a:gd name="connsiteY3196" fmla="*/ 998482 h 6689084"/>
              <a:gd name="connsiteX3197" fmla="*/ 923685 w 6689088"/>
              <a:gd name="connsiteY3197" fmla="*/ 999206 h 6689084"/>
              <a:gd name="connsiteX3198" fmla="*/ 922957 w 6689088"/>
              <a:gd name="connsiteY3198" fmla="*/ 998482 h 6689084"/>
              <a:gd name="connsiteX3199" fmla="*/ 923685 w 6689088"/>
              <a:gd name="connsiteY3199" fmla="*/ 997754 h 6689084"/>
              <a:gd name="connsiteX3200" fmla="*/ 1846279 w 6689088"/>
              <a:gd name="connsiteY3200" fmla="*/ 997025 h 6689084"/>
              <a:gd name="connsiteX3201" fmla="*/ 1847731 w 6689088"/>
              <a:gd name="connsiteY3201" fmla="*/ 998478 h 6689084"/>
              <a:gd name="connsiteX3202" fmla="*/ 1846279 w 6689088"/>
              <a:gd name="connsiteY3202" fmla="*/ 999930 h 6689084"/>
              <a:gd name="connsiteX3203" fmla="*/ 1844826 w 6689088"/>
              <a:gd name="connsiteY3203" fmla="*/ 998478 h 6689084"/>
              <a:gd name="connsiteX3204" fmla="*/ 1846279 w 6689088"/>
              <a:gd name="connsiteY3204" fmla="*/ 997025 h 6689084"/>
              <a:gd name="connsiteX3205" fmla="*/ 1999860 w 6689088"/>
              <a:gd name="connsiteY3205" fmla="*/ 996301 h 6689084"/>
              <a:gd name="connsiteX3206" fmla="*/ 2002041 w 6689088"/>
              <a:gd name="connsiteY3206" fmla="*/ 998478 h 6689084"/>
              <a:gd name="connsiteX3207" fmla="*/ 1999860 w 6689088"/>
              <a:gd name="connsiteY3207" fmla="*/ 1000658 h 6689084"/>
              <a:gd name="connsiteX3208" fmla="*/ 1997684 w 6689088"/>
              <a:gd name="connsiteY3208" fmla="*/ 998478 h 6689084"/>
              <a:gd name="connsiteX3209" fmla="*/ 1999860 w 6689088"/>
              <a:gd name="connsiteY3209" fmla="*/ 996301 h 6689084"/>
              <a:gd name="connsiteX3210" fmla="*/ 2153808 w 6689088"/>
              <a:gd name="connsiteY3210" fmla="*/ 995573 h 6689084"/>
              <a:gd name="connsiteX3211" fmla="*/ 2157074 w 6689088"/>
              <a:gd name="connsiteY3211" fmla="*/ 998840 h 6689084"/>
              <a:gd name="connsiteX3212" fmla="*/ 2153808 w 6689088"/>
              <a:gd name="connsiteY3212" fmla="*/ 1002110 h 6689084"/>
              <a:gd name="connsiteX3213" fmla="*/ 2150541 w 6689088"/>
              <a:gd name="connsiteY3213" fmla="*/ 998840 h 6689084"/>
              <a:gd name="connsiteX3214" fmla="*/ 2153808 w 6689088"/>
              <a:gd name="connsiteY3214" fmla="*/ 995573 h 6689084"/>
              <a:gd name="connsiteX3215" fmla="*/ 2307393 w 6689088"/>
              <a:gd name="connsiteY3215" fmla="*/ 994121 h 6689084"/>
              <a:gd name="connsiteX3216" fmla="*/ 2311750 w 6689088"/>
              <a:gd name="connsiteY3216" fmla="*/ 998478 h 6689084"/>
              <a:gd name="connsiteX3217" fmla="*/ 2307393 w 6689088"/>
              <a:gd name="connsiteY3217" fmla="*/ 1002835 h 6689084"/>
              <a:gd name="connsiteX3218" fmla="*/ 2303036 w 6689088"/>
              <a:gd name="connsiteY3218" fmla="*/ 998478 h 6689084"/>
              <a:gd name="connsiteX3219" fmla="*/ 2307393 w 6689088"/>
              <a:gd name="connsiteY3219" fmla="*/ 994121 h 6689084"/>
              <a:gd name="connsiteX3220" fmla="*/ 2461340 w 6689088"/>
              <a:gd name="connsiteY3220" fmla="*/ 993031 h 6689084"/>
              <a:gd name="connsiteX3221" fmla="*/ 2467150 w 6689088"/>
              <a:gd name="connsiteY3221" fmla="*/ 998840 h 6689084"/>
              <a:gd name="connsiteX3222" fmla="*/ 2461340 w 6689088"/>
              <a:gd name="connsiteY3222" fmla="*/ 1004649 h 6689084"/>
              <a:gd name="connsiteX3223" fmla="*/ 2455531 w 6689088"/>
              <a:gd name="connsiteY3223" fmla="*/ 998840 h 6689084"/>
              <a:gd name="connsiteX3224" fmla="*/ 2461340 w 6689088"/>
              <a:gd name="connsiteY3224" fmla="*/ 993031 h 6689084"/>
              <a:gd name="connsiteX3225" fmla="*/ 2614925 w 6689088"/>
              <a:gd name="connsiteY3225" fmla="*/ 991216 h 6689084"/>
              <a:gd name="connsiteX3226" fmla="*/ 2622187 w 6689088"/>
              <a:gd name="connsiteY3226" fmla="*/ 998478 h 6689084"/>
              <a:gd name="connsiteX3227" fmla="*/ 2614925 w 6689088"/>
              <a:gd name="connsiteY3227" fmla="*/ 1005739 h 6689084"/>
              <a:gd name="connsiteX3228" fmla="*/ 2607664 w 6689088"/>
              <a:gd name="connsiteY3228" fmla="*/ 998478 h 6689084"/>
              <a:gd name="connsiteX3229" fmla="*/ 2614925 w 6689088"/>
              <a:gd name="connsiteY3229" fmla="*/ 991216 h 6689084"/>
              <a:gd name="connsiteX3230" fmla="*/ 2768873 w 6689088"/>
              <a:gd name="connsiteY3230" fmla="*/ 989402 h 6689084"/>
              <a:gd name="connsiteX3231" fmla="*/ 2777953 w 6689088"/>
              <a:gd name="connsiteY3231" fmla="*/ 998478 h 6689084"/>
              <a:gd name="connsiteX3232" fmla="*/ 2768873 w 6689088"/>
              <a:gd name="connsiteY3232" fmla="*/ 1007558 h 6689084"/>
              <a:gd name="connsiteX3233" fmla="*/ 2759797 w 6689088"/>
              <a:gd name="connsiteY3233" fmla="*/ 998478 h 6689084"/>
              <a:gd name="connsiteX3234" fmla="*/ 2768873 w 6689088"/>
              <a:gd name="connsiteY3234" fmla="*/ 989402 h 6689084"/>
              <a:gd name="connsiteX3235" fmla="*/ 2922458 w 6689088"/>
              <a:gd name="connsiteY3235" fmla="*/ 988311 h 6689084"/>
              <a:gd name="connsiteX3236" fmla="*/ 2932624 w 6689088"/>
              <a:gd name="connsiteY3236" fmla="*/ 998478 h 6689084"/>
              <a:gd name="connsiteX3237" fmla="*/ 2922458 w 6689088"/>
              <a:gd name="connsiteY3237" fmla="*/ 1008644 h 6689084"/>
              <a:gd name="connsiteX3238" fmla="*/ 2912292 w 6689088"/>
              <a:gd name="connsiteY3238" fmla="*/ 998478 h 6689084"/>
              <a:gd name="connsiteX3239" fmla="*/ 2922458 w 6689088"/>
              <a:gd name="connsiteY3239" fmla="*/ 988311 h 6689084"/>
              <a:gd name="connsiteX3240" fmla="*/ 3076402 w 6689088"/>
              <a:gd name="connsiteY3240" fmla="*/ 986497 h 6689084"/>
              <a:gd name="connsiteX3241" fmla="*/ 3088386 w 6689088"/>
              <a:gd name="connsiteY3241" fmla="*/ 998478 h 6689084"/>
              <a:gd name="connsiteX3242" fmla="*/ 3076402 w 6689088"/>
              <a:gd name="connsiteY3242" fmla="*/ 1010459 h 6689084"/>
              <a:gd name="connsiteX3243" fmla="*/ 3064421 w 6689088"/>
              <a:gd name="connsiteY3243" fmla="*/ 998478 h 6689084"/>
              <a:gd name="connsiteX3244" fmla="*/ 3076402 w 6689088"/>
              <a:gd name="connsiteY3244" fmla="*/ 986497 h 6689084"/>
              <a:gd name="connsiteX3245" fmla="*/ 3230353 w 6689088"/>
              <a:gd name="connsiteY3245" fmla="*/ 984683 h 6689084"/>
              <a:gd name="connsiteX3246" fmla="*/ 3244148 w 6689088"/>
              <a:gd name="connsiteY3246" fmla="*/ 998482 h 6689084"/>
              <a:gd name="connsiteX3247" fmla="*/ 3230353 w 6689088"/>
              <a:gd name="connsiteY3247" fmla="*/ 1012277 h 6689084"/>
              <a:gd name="connsiteX3248" fmla="*/ 3216554 w 6689088"/>
              <a:gd name="connsiteY3248" fmla="*/ 998482 h 6689084"/>
              <a:gd name="connsiteX3249" fmla="*/ 3230353 w 6689088"/>
              <a:gd name="connsiteY3249" fmla="*/ 984683 h 6689084"/>
              <a:gd name="connsiteX3250" fmla="*/ 3383934 w 6689088"/>
              <a:gd name="connsiteY3250" fmla="*/ 983230 h 6689084"/>
              <a:gd name="connsiteX3251" fmla="*/ 3399186 w 6689088"/>
              <a:gd name="connsiteY3251" fmla="*/ 998482 h 6689084"/>
              <a:gd name="connsiteX3252" fmla="*/ 3383934 w 6689088"/>
              <a:gd name="connsiteY3252" fmla="*/ 1013729 h 6689084"/>
              <a:gd name="connsiteX3253" fmla="*/ 3368687 w 6689088"/>
              <a:gd name="connsiteY3253" fmla="*/ 998482 h 6689084"/>
              <a:gd name="connsiteX3254" fmla="*/ 3383934 w 6689088"/>
              <a:gd name="connsiteY3254" fmla="*/ 983230 h 6689084"/>
              <a:gd name="connsiteX3255" fmla="*/ 3537886 w 6689088"/>
              <a:gd name="connsiteY3255" fmla="*/ 981412 h 6689084"/>
              <a:gd name="connsiteX3256" fmla="*/ 3554951 w 6689088"/>
              <a:gd name="connsiteY3256" fmla="*/ 998478 h 6689084"/>
              <a:gd name="connsiteX3257" fmla="*/ 3537886 w 6689088"/>
              <a:gd name="connsiteY3257" fmla="*/ 1015540 h 6689084"/>
              <a:gd name="connsiteX3258" fmla="*/ 3520820 w 6689088"/>
              <a:gd name="connsiteY3258" fmla="*/ 998478 h 6689084"/>
              <a:gd name="connsiteX3259" fmla="*/ 3537886 w 6689088"/>
              <a:gd name="connsiteY3259" fmla="*/ 981412 h 6689084"/>
              <a:gd name="connsiteX3260" fmla="*/ 3691467 w 6689088"/>
              <a:gd name="connsiteY3260" fmla="*/ 979235 h 6689084"/>
              <a:gd name="connsiteX3261" fmla="*/ 3710710 w 6689088"/>
              <a:gd name="connsiteY3261" fmla="*/ 998478 h 6689084"/>
              <a:gd name="connsiteX3262" fmla="*/ 3691467 w 6689088"/>
              <a:gd name="connsiteY3262" fmla="*/ 1017724 h 6689084"/>
              <a:gd name="connsiteX3263" fmla="*/ 3672224 w 6689088"/>
              <a:gd name="connsiteY3263" fmla="*/ 998478 h 6689084"/>
              <a:gd name="connsiteX3264" fmla="*/ 3691467 w 6689088"/>
              <a:gd name="connsiteY3264" fmla="*/ 979235 h 6689084"/>
              <a:gd name="connsiteX3265" fmla="*/ 3845418 w 6689088"/>
              <a:gd name="connsiteY3265" fmla="*/ 977055 h 6689084"/>
              <a:gd name="connsiteX3266" fmla="*/ 3866841 w 6689088"/>
              <a:gd name="connsiteY3266" fmla="*/ 998478 h 6689084"/>
              <a:gd name="connsiteX3267" fmla="*/ 3845418 w 6689088"/>
              <a:gd name="connsiteY3267" fmla="*/ 1019901 h 6689084"/>
              <a:gd name="connsiteX3268" fmla="*/ 3823995 w 6689088"/>
              <a:gd name="connsiteY3268" fmla="*/ 998478 h 6689084"/>
              <a:gd name="connsiteX3269" fmla="*/ 3845418 w 6689088"/>
              <a:gd name="connsiteY3269" fmla="*/ 977055 h 6689084"/>
              <a:gd name="connsiteX3270" fmla="*/ 3999000 w 6689088"/>
              <a:gd name="connsiteY3270" fmla="*/ 975603 h 6689084"/>
              <a:gd name="connsiteX3271" fmla="*/ 4021871 w 6689088"/>
              <a:gd name="connsiteY3271" fmla="*/ 998478 h 6689084"/>
              <a:gd name="connsiteX3272" fmla="*/ 3999000 w 6689088"/>
              <a:gd name="connsiteY3272" fmla="*/ 1021349 h 6689084"/>
              <a:gd name="connsiteX3273" fmla="*/ 3976124 w 6689088"/>
              <a:gd name="connsiteY3273" fmla="*/ 998478 h 6689084"/>
              <a:gd name="connsiteX3274" fmla="*/ 3999000 w 6689088"/>
              <a:gd name="connsiteY3274" fmla="*/ 975603 h 6689084"/>
              <a:gd name="connsiteX3275" fmla="*/ 4152947 w 6689088"/>
              <a:gd name="connsiteY3275" fmla="*/ 973426 h 6689084"/>
              <a:gd name="connsiteX3276" fmla="*/ 4178002 w 6689088"/>
              <a:gd name="connsiteY3276" fmla="*/ 998478 h 6689084"/>
              <a:gd name="connsiteX3277" fmla="*/ 4152947 w 6689088"/>
              <a:gd name="connsiteY3277" fmla="*/ 1023533 h 6689084"/>
              <a:gd name="connsiteX3278" fmla="*/ 4127895 w 6689088"/>
              <a:gd name="connsiteY3278" fmla="*/ 998478 h 6689084"/>
              <a:gd name="connsiteX3279" fmla="*/ 4152947 w 6689088"/>
              <a:gd name="connsiteY3279" fmla="*/ 973426 h 6689084"/>
              <a:gd name="connsiteX3280" fmla="*/ 4306532 w 6689088"/>
              <a:gd name="connsiteY3280" fmla="*/ 971246 h 6689084"/>
              <a:gd name="connsiteX3281" fmla="*/ 4333764 w 6689088"/>
              <a:gd name="connsiteY3281" fmla="*/ 998478 h 6689084"/>
              <a:gd name="connsiteX3282" fmla="*/ 4306532 w 6689088"/>
              <a:gd name="connsiteY3282" fmla="*/ 1025710 h 6689084"/>
              <a:gd name="connsiteX3283" fmla="*/ 4279300 w 6689088"/>
              <a:gd name="connsiteY3283" fmla="*/ 998478 h 6689084"/>
              <a:gd name="connsiteX3284" fmla="*/ 4306532 w 6689088"/>
              <a:gd name="connsiteY3284" fmla="*/ 971246 h 6689084"/>
              <a:gd name="connsiteX3285" fmla="*/ 4460476 w 6689088"/>
              <a:gd name="connsiteY3285" fmla="*/ 968707 h 6689084"/>
              <a:gd name="connsiteX3286" fmla="*/ 4490250 w 6689088"/>
              <a:gd name="connsiteY3286" fmla="*/ 998482 h 6689084"/>
              <a:gd name="connsiteX3287" fmla="*/ 4460476 w 6689088"/>
              <a:gd name="connsiteY3287" fmla="*/ 1028252 h 6689084"/>
              <a:gd name="connsiteX3288" fmla="*/ 4430705 w 6689088"/>
              <a:gd name="connsiteY3288" fmla="*/ 998482 h 6689084"/>
              <a:gd name="connsiteX3289" fmla="*/ 4460476 w 6689088"/>
              <a:gd name="connsiteY3289" fmla="*/ 968707 h 6689084"/>
              <a:gd name="connsiteX3290" fmla="*/ 4614061 w 6689088"/>
              <a:gd name="connsiteY3290" fmla="*/ 966526 h 6689084"/>
              <a:gd name="connsiteX3291" fmla="*/ 4646012 w 6689088"/>
              <a:gd name="connsiteY3291" fmla="*/ 998478 h 6689084"/>
              <a:gd name="connsiteX3292" fmla="*/ 4614061 w 6689088"/>
              <a:gd name="connsiteY3292" fmla="*/ 1030429 h 6689084"/>
              <a:gd name="connsiteX3293" fmla="*/ 4582110 w 6689088"/>
              <a:gd name="connsiteY3293" fmla="*/ 998478 h 6689084"/>
              <a:gd name="connsiteX3294" fmla="*/ 4614061 w 6689088"/>
              <a:gd name="connsiteY3294" fmla="*/ 966526 h 6689084"/>
              <a:gd name="connsiteX3295" fmla="*/ 4768008 w 6689088"/>
              <a:gd name="connsiteY3295" fmla="*/ 964712 h 6689084"/>
              <a:gd name="connsiteX3296" fmla="*/ 4801778 w 6689088"/>
              <a:gd name="connsiteY3296" fmla="*/ 998478 h 6689084"/>
              <a:gd name="connsiteX3297" fmla="*/ 4768008 w 6689088"/>
              <a:gd name="connsiteY3297" fmla="*/ 1032247 h 6689084"/>
              <a:gd name="connsiteX3298" fmla="*/ 4734242 w 6689088"/>
              <a:gd name="connsiteY3298" fmla="*/ 998478 h 6689084"/>
              <a:gd name="connsiteX3299" fmla="*/ 4768008 w 6689088"/>
              <a:gd name="connsiteY3299" fmla="*/ 964712 h 6689084"/>
              <a:gd name="connsiteX3300" fmla="*/ 4921594 w 6689088"/>
              <a:gd name="connsiteY3300" fmla="*/ 962169 h 6689084"/>
              <a:gd name="connsiteX3301" fmla="*/ 4957902 w 6689088"/>
              <a:gd name="connsiteY3301" fmla="*/ 998478 h 6689084"/>
              <a:gd name="connsiteX3302" fmla="*/ 4921594 w 6689088"/>
              <a:gd name="connsiteY3302" fmla="*/ 1034786 h 6689084"/>
              <a:gd name="connsiteX3303" fmla="*/ 4885286 w 6689088"/>
              <a:gd name="connsiteY3303" fmla="*/ 998478 h 6689084"/>
              <a:gd name="connsiteX3304" fmla="*/ 4921594 w 6689088"/>
              <a:gd name="connsiteY3304" fmla="*/ 962169 h 6689084"/>
              <a:gd name="connsiteX3305" fmla="*/ 5075545 w 6689088"/>
              <a:gd name="connsiteY3305" fmla="*/ 959627 h 6689084"/>
              <a:gd name="connsiteX3306" fmla="*/ 5114392 w 6689088"/>
              <a:gd name="connsiteY3306" fmla="*/ 998478 h 6689084"/>
              <a:gd name="connsiteX3307" fmla="*/ 5075545 w 6689088"/>
              <a:gd name="connsiteY3307" fmla="*/ 1037325 h 6689084"/>
              <a:gd name="connsiteX3308" fmla="*/ 5036694 w 6689088"/>
              <a:gd name="connsiteY3308" fmla="*/ 998478 h 6689084"/>
              <a:gd name="connsiteX3309" fmla="*/ 5075545 w 6689088"/>
              <a:gd name="connsiteY3309" fmla="*/ 959627 h 6689084"/>
              <a:gd name="connsiteX3310" fmla="*/ 5229126 w 6689088"/>
              <a:gd name="connsiteY3310" fmla="*/ 957450 h 6689084"/>
              <a:gd name="connsiteX3311" fmla="*/ 5270158 w 6689088"/>
              <a:gd name="connsiteY3311" fmla="*/ 998478 h 6689084"/>
              <a:gd name="connsiteX3312" fmla="*/ 5229126 w 6689088"/>
              <a:gd name="connsiteY3312" fmla="*/ 1039505 h 6689084"/>
              <a:gd name="connsiteX3313" fmla="*/ 5188099 w 6689088"/>
              <a:gd name="connsiteY3313" fmla="*/ 998478 h 6689084"/>
              <a:gd name="connsiteX3314" fmla="*/ 5229126 w 6689088"/>
              <a:gd name="connsiteY3314" fmla="*/ 957450 h 6689084"/>
              <a:gd name="connsiteX3315" fmla="*/ 5383074 w 6689088"/>
              <a:gd name="connsiteY3315" fmla="*/ 954908 h 6689084"/>
              <a:gd name="connsiteX3316" fmla="*/ 5426644 w 6689088"/>
              <a:gd name="connsiteY3316" fmla="*/ 998478 h 6689084"/>
              <a:gd name="connsiteX3317" fmla="*/ 5383074 w 6689088"/>
              <a:gd name="connsiteY3317" fmla="*/ 1042048 h 6689084"/>
              <a:gd name="connsiteX3318" fmla="*/ 5339504 w 6689088"/>
              <a:gd name="connsiteY3318" fmla="*/ 998478 h 6689084"/>
              <a:gd name="connsiteX3319" fmla="*/ 5383074 w 6689088"/>
              <a:gd name="connsiteY3319" fmla="*/ 954908 h 6689084"/>
              <a:gd name="connsiteX3320" fmla="*/ 5537018 w 6689088"/>
              <a:gd name="connsiteY3320" fmla="*/ 952365 h 6689084"/>
              <a:gd name="connsiteX3321" fmla="*/ 5583130 w 6689088"/>
              <a:gd name="connsiteY3321" fmla="*/ 998478 h 6689084"/>
              <a:gd name="connsiteX3322" fmla="*/ 5537018 w 6689088"/>
              <a:gd name="connsiteY3322" fmla="*/ 1044590 h 6689084"/>
              <a:gd name="connsiteX3323" fmla="*/ 5490908 w 6689088"/>
              <a:gd name="connsiteY3323" fmla="*/ 998478 h 6689084"/>
              <a:gd name="connsiteX3324" fmla="*/ 5537018 w 6689088"/>
              <a:gd name="connsiteY3324" fmla="*/ 952365 h 6689084"/>
              <a:gd name="connsiteX3325" fmla="*/ 5690606 w 6689088"/>
              <a:gd name="connsiteY3325" fmla="*/ 949823 h 6689084"/>
              <a:gd name="connsiteX3326" fmla="*/ 5739258 w 6689088"/>
              <a:gd name="connsiteY3326" fmla="*/ 998478 h 6689084"/>
              <a:gd name="connsiteX3327" fmla="*/ 5690606 w 6689088"/>
              <a:gd name="connsiteY3327" fmla="*/ 1047129 h 6689084"/>
              <a:gd name="connsiteX3328" fmla="*/ 5641952 w 6689088"/>
              <a:gd name="connsiteY3328" fmla="*/ 998478 h 6689084"/>
              <a:gd name="connsiteX3329" fmla="*/ 5690606 w 6689088"/>
              <a:gd name="connsiteY3329" fmla="*/ 949823 h 6689084"/>
              <a:gd name="connsiteX3330" fmla="*/ 5844554 w 6689088"/>
              <a:gd name="connsiteY3330" fmla="*/ 947284 h 6689084"/>
              <a:gd name="connsiteX3331" fmla="*/ 5895748 w 6689088"/>
              <a:gd name="connsiteY3331" fmla="*/ 998478 h 6689084"/>
              <a:gd name="connsiteX3332" fmla="*/ 5844554 w 6689088"/>
              <a:gd name="connsiteY3332" fmla="*/ 1049672 h 6689084"/>
              <a:gd name="connsiteX3333" fmla="*/ 5793360 w 6689088"/>
              <a:gd name="connsiteY3333" fmla="*/ 998478 h 6689084"/>
              <a:gd name="connsiteX3334" fmla="*/ 5844554 w 6689088"/>
              <a:gd name="connsiteY3334" fmla="*/ 947284 h 6689084"/>
              <a:gd name="connsiteX3335" fmla="*/ 5998136 w 6689088"/>
              <a:gd name="connsiteY3335" fmla="*/ 945104 h 6689084"/>
              <a:gd name="connsiteX3336" fmla="*/ 6051514 w 6689088"/>
              <a:gd name="connsiteY3336" fmla="*/ 998478 h 6689084"/>
              <a:gd name="connsiteX3337" fmla="*/ 5998136 w 6689088"/>
              <a:gd name="connsiteY3337" fmla="*/ 1051848 h 6689084"/>
              <a:gd name="connsiteX3338" fmla="*/ 5944765 w 6689088"/>
              <a:gd name="connsiteY3338" fmla="*/ 998478 h 6689084"/>
              <a:gd name="connsiteX3339" fmla="*/ 5998136 w 6689088"/>
              <a:gd name="connsiteY3339" fmla="*/ 945104 h 6689084"/>
              <a:gd name="connsiteX3340" fmla="*/ 6152086 w 6689088"/>
              <a:gd name="connsiteY3340" fmla="*/ 942199 h 6689084"/>
              <a:gd name="connsiteX3341" fmla="*/ 6208366 w 6689088"/>
              <a:gd name="connsiteY3341" fmla="*/ 998478 h 6689084"/>
              <a:gd name="connsiteX3342" fmla="*/ 6152086 w 6689088"/>
              <a:gd name="connsiteY3342" fmla="*/ 1054753 h 6689084"/>
              <a:gd name="connsiteX3343" fmla="*/ 6095808 w 6689088"/>
              <a:gd name="connsiteY3343" fmla="*/ 998478 h 6689084"/>
              <a:gd name="connsiteX3344" fmla="*/ 6152086 w 6689088"/>
              <a:gd name="connsiteY3344" fmla="*/ 942199 h 6689084"/>
              <a:gd name="connsiteX3345" fmla="*/ 6305672 w 6689088"/>
              <a:gd name="connsiteY3345" fmla="*/ 939660 h 6689084"/>
              <a:gd name="connsiteX3346" fmla="*/ 6364490 w 6689088"/>
              <a:gd name="connsiteY3346" fmla="*/ 998482 h 6689084"/>
              <a:gd name="connsiteX3347" fmla="*/ 6305672 w 6689088"/>
              <a:gd name="connsiteY3347" fmla="*/ 1057299 h 6689084"/>
              <a:gd name="connsiteX3348" fmla="*/ 6246850 w 6689088"/>
              <a:gd name="connsiteY3348" fmla="*/ 998482 h 6689084"/>
              <a:gd name="connsiteX3349" fmla="*/ 6305672 w 6689088"/>
              <a:gd name="connsiteY3349" fmla="*/ 939660 h 6689084"/>
              <a:gd name="connsiteX3350" fmla="*/ 6459619 w 6689088"/>
              <a:gd name="connsiteY3350" fmla="*/ 937118 h 6689084"/>
              <a:gd name="connsiteX3351" fmla="*/ 6521342 w 6689088"/>
              <a:gd name="connsiteY3351" fmla="*/ 998844 h 6689084"/>
              <a:gd name="connsiteX3352" fmla="*/ 6459619 w 6689088"/>
              <a:gd name="connsiteY3352" fmla="*/ 1060566 h 6689084"/>
              <a:gd name="connsiteX3353" fmla="*/ 6397893 w 6689088"/>
              <a:gd name="connsiteY3353" fmla="*/ 998844 h 6689084"/>
              <a:gd name="connsiteX3354" fmla="*/ 6459619 w 6689088"/>
              <a:gd name="connsiteY3354" fmla="*/ 937118 h 6689084"/>
              <a:gd name="connsiteX3355" fmla="*/ 6613200 w 6689088"/>
              <a:gd name="connsiteY3355" fmla="*/ 934213 h 6689084"/>
              <a:gd name="connsiteX3356" fmla="*/ 6677470 w 6689088"/>
              <a:gd name="connsiteY3356" fmla="*/ 998478 h 6689084"/>
              <a:gd name="connsiteX3357" fmla="*/ 6613200 w 6689088"/>
              <a:gd name="connsiteY3357" fmla="*/ 1062746 h 6689084"/>
              <a:gd name="connsiteX3358" fmla="*/ 6548936 w 6689088"/>
              <a:gd name="connsiteY3358" fmla="*/ 998478 h 6689084"/>
              <a:gd name="connsiteX3359" fmla="*/ 6613200 w 6689088"/>
              <a:gd name="connsiteY3359" fmla="*/ 934213 h 6689084"/>
              <a:gd name="connsiteX3360" fmla="*/ 1538746 w 6689088"/>
              <a:gd name="connsiteY3360" fmla="*/ 844530 h 6689084"/>
              <a:gd name="connsiteX3361" fmla="*/ 1539108 w 6689088"/>
              <a:gd name="connsiteY3361" fmla="*/ 844893 h 6689084"/>
              <a:gd name="connsiteX3362" fmla="*/ 1538746 w 6689088"/>
              <a:gd name="connsiteY3362" fmla="*/ 845258 h 6689084"/>
              <a:gd name="connsiteX3363" fmla="*/ 1538384 w 6689088"/>
              <a:gd name="connsiteY3363" fmla="*/ 844893 h 6689084"/>
              <a:gd name="connsiteX3364" fmla="*/ 1538746 w 6689088"/>
              <a:gd name="connsiteY3364" fmla="*/ 844530 h 6689084"/>
              <a:gd name="connsiteX3365" fmla="*/ 1077266 w 6689088"/>
              <a:gd name="connsiteY3365" fmla="*/ 844530 h 6689084"/>
              <a:gd name="connsiteX3366" fmla="*/ 1077628 w 6689088"/>
              <a:gd name="connsiteY3366" fmla="*/ 844893 h 6689084"/>
              <a:gd name="connsiteX3367" fmla="*/ 1077266 w 6689088"/>
              <a:gd name="connsiteY3367" fmla="*/ 845258 h 6689084"/>
              <a:gd name="connsiteX3368" fmla="*/ 1076904 w 6689088"/>
              <a:gd name="connsiteY3368" fmla="*/ 844893 h 6689084"/>
              <a:gd name="connsiteX3369" fmla="*/ 1077266 w 6689088"/>
              <a:gd name="connsiteY3369" fmla="*/ 844530 h 6689084"/>
              <a:gd name="connsiteX3370" fmla="*/ 923681 w 6689088"/>
              <a:gd name="connsiteY3370" fmla="*/ 844530 h 6689084"/>
              <a:gd name="connsiteX3371" fmla="*/ 924043 w 6689088"/>
              <a:gd name="connsiteY3371" fmla="*/ 844893 h 6689084"/>
              <a:gd name="connsiteX3372" fmla="*/ 923681 w 6689088"/>
              <a:gd name="connsiteY3372" fmla="*/ 845258 h 6689084"/>
              <a:gd name="connsiteX3373" fmla="*/ 923319 w 6689088"/>
              <a:gd name="connsiteY3373" fmla="*/ 844893 h 6689084"/>
              <a:gd name="connsiteX3374" fmla="*/ 923681 w 6689088"/>
              <a:gd name="connsiteY3374" fmla="*/ 844530 h 6689084"/>
              <a:gd name="connsiteX3375" fmla="*/ 769737 w 6689088"/>
              <a:gd name="connsiteY3375" fmla="*/ 844168 h 6689084"/>
              <a:gd name="connsiteX3376" fmla="*/ 770461 w 6689088"/>
              <a:gd name="connsiteY3376" fmla="*/ 844896 h 6689084"/>
              <a:gd name="connsiteX3377" fmla="*/ 769737 w 6689088"/>
              <a:gd name="connsiteY3377" fmla="*/ 845621 h 6689084"/>
              <a:gd name="connsiteX3378" fmla="*/ 769009 w 6689088"/>
              <a:gd name="connsiteY3378" fmla="*/ 844896 h 6689084"/>
              <a:gd name="connsiteX3379" fmla="*/ 769737 w 6689088"/>
              <a:gd name="connsiteY3379" fmla="*/ 844168 h 6689084"/>
              <a:gd name="connsiteX3380" fmla="*/ 1692331 w 6689088"/>
              <a:gd name="connsiteY3380" fmla="*/ 843078 h 6689084"/>
              <a:gd name="connsiteX3381" fmla="*/ 1693784 w 6689088"/>
              <a:gd name="connsiteY3381" fmla="*/ 844530 h 6689084"/>
              <a:gd name="connsiteX3382" fmla="*/ 1692331 w 6689088"/>
              <a:gd name="connsiteY3382" fmla="*/ 845983 h 6689084"/>
              <a:gd name="connsiteX3383" fmla="*/ 1690879 w 6689088"/>
              <a:gd name="connsiteY3383" fmla="*/ 844530 h 6689084"/>
              <a:gd name="connsiteX3384" fmla="*/ 1692331 w 6689088"/>
              <a:gd name="connsiteY3384" fmla="*/ 843078 h 6689084"/>
              <a:gd name="connsiteX3385" fmla="*/ 1846279 w 6689088"/>
              <a:gd name="connsiteY3385" fmla="*/ 842716 h 6689084"/>
              <a:gd name="connsiteX3386" fmla="*/ 1848455 w 6689088"/>
              <a:gd name="connsiteY3386" fmla="*/ 844896 h 6689084"/>
              <a:gd name="connsiteX3387" fmla="*/ 1846279 w 6689088"/>
              <a:gd name="connsiteY3387" fmla="*/ 847073 h 6689084"/>
              <a:gd name="connsiteX3388" fmla="*/ 1844098 w 6689088"/>
              <a:gd name="connsiteY3388" fmla="*/ 844896 h 6689084"/>
              <a:gd name="connsiteX3389" fmla="*/ 1846279 w 6689088"/>
              <a:gd name="connsiteY3389" fmla="*/ 842716 h 6689084"/>
              <a:gd name="connsiteX3390" fmla="*/ 1999860 w 6689088"/>
              <a:gd name="connsiteY3390" fmla="*/ 841626 h 6689084"/>
              <a:gd name="connsiteX3391" fmla="*/ 2003127 w 6689088"/>
              <a:gd name="connsiteY3391" fmla="*/ 844893 h 6689084"/>
              <a:gd name="connsiteX3392" fmla="*/ 1999860 w 6689088"/>
              <a:gd name="connsiteY3392" fmla="*/ 848163 h 6689084"/>
              <a:gd name="connsiteX3393" fmla="*/ 1996593 w 6689088"/>
              <a:gd name="connsiteY3393" fmla="*/ 844893 h 6689084"/>
              <a:gd name="connsiteX3394" fmla="*/ 1999860 w 6689088"/>
              <a:gd name="connsiteY3394" fmla="*/ 841626 h 6689084"/>
              <a:gd name="connsiteX3395" fmla="*/ 2153808 w 6689088"/>
              <a:gd name="connsiteY3395" fmla="*/ 840173 h 6689084"/>
              <a:gd name="connsiteX3396" fmla="*/ 2158165 w 6689088"/>
              <a:gd name="connsiteY3396" fmla="*/ 844530 h 6689084"/>
              <a:gd name="connsiteX3397" fmla="*/ 2153808 w 6689088"/>
              <a:gd name="connsiteY3397" fmla="*/ 848887 h 6689084"/>
              <a:gd name="connsiteX3398" fmla="*/ 2149451 w 6689088"/>
              <a:gd name="connsiteY3398" fmla="*/ 844530 h 6689084"/>
              <a:gd name="connsiteX3399" fmla="*/ 2153808 w 6689088"/>
              <a:gd name="connsiteY3399" fmla="*/ 840173 h 6689084"/>
              <a:gd name="connsiteX3400" fmla="*/ 2307393 w 6689088"/>
              <a:gd name="connsiteY3400" fmla="*/ 839083 h 6689084"/>
              <a:gd name="connsiteX3401" fmla="*/ 2313202 w 6689088"/>
              <a:gd name="connsiteY3401" fmla="*/ 844893 h 6689084"/>
              <a:gd name="connsiteX3402" fmla="*/ 2307393 w 6689088"/>
              <a:gd name="connsiteY3402" fmla="*/ 850702 h 6689084"/>
              <a:gd name="connsiteX3403" fmla="*/ 2301583 w 6689088"/>
              <a:gd name="connsiteY3403" fmla="*/ 844893 h 6689084"/>
              <a:gd name="connsiteX3404" fmla="*/ 2307393 w 6689088"/>
              <a:gd name="connsiteY3404" fmla="*/ 839083 h 6689084"/>
              <a:gd name="connsiteX3405" fmla="*/ 2461340 w 6689088"/>
              <a:gd name="connsiteY3405" fmla="*/ 837631 h 6689084"/>
              <a:gd name="connsiteX3406" fmla="*/ 2468602 w 6689088"/>
              <a:gd name="connsiteY3406" fmla="*/ 844893 h 6689084"/>
              <a:gd name="connsiteX3407" fmla="*/ 2461340 w 6689088"/>
              <a:gd name="connsiteY3407" fmla="*/ 852154 h 6689084"/>
              <a:gd name="connsiteX3408" fmla="*/ 2454079 w 6689088"/>
              <a:gd name="connsiteY3408" fmla="*/ 844893 h 6689084"/>
              <a:gd name="connsiteX3409" fmla="*/ 2461340 w 6689088"/>
              <a:gd name="connsiteY3409" fmla="*/ 837631 h 6689084"/>
              <a:gd name="connsiteX3410" fmla="*/ 2614925 w 6689088"/>
              <a:gd name="connsiteY3410" fmla="*/ 835454 h 6689084"/>
              <a:gd name="connsiteX3411" fmla="*/ 2624005 w 6689088"/>
              <a:gd name="connsiteY3411" fmla="*/ 844530 h 6689084"/>
              <a:gd name="connsiteX3412" fmla="*/ 2614925 w 6689088"/>
              <a:gd name="connsiteY3412" fmla="*/ 853610 h 6689084"/>
              <a:gd name="connsiteX3413" fmla="*/ 2605849 w 6689088"/>
              <a:gd name="connsiteY3413" fmla="*/ 844530 h 6689084"/>
              <a:gd name="connsiteX3414" fmla="*/ 2614925 w 6689088"/>
              <a:gd name="connsiteY3414" fmla="*/ 835454 h 6689084"/>
              <a:gd name="connsiteX3415" fmla="*/ 2768873 w 6689088"/>
              <a:gd name="connsiteY3415" fmla="*/ 834726 h 6689084"/>
              <a:gd name="connsiteX3416" fmla="*/ 2779039 w 6689088"/>
              <a:gd name="connsiteY3416" fmla="*/ 844893 h 6689084"/>
              <a:gd name="connsiteX3417" fmla="*/ 2768873 w 6689088"/>
              <a:gd name="connsiteY3417" fmla="*/ 855059 h 6689084"/>
              <a:gd name="connsiteX3418" fmla="*/ 2758707 w 6689088"/>
              <a:gd name="connsiteY3418" fmla="*/ 844893 h 6689084"/>
              <a:gd name="connsiteX3419" fmla="*/ 2768873 w 6689088"/>
              <a:gd name="connsiteY3419" fmla="*/ 834726 h 6689084"/>
              <a:gd name="connsiteX3420" fmla="*/ 2922458 w 6689088"/>
              <a:gd name="connsiteY3420" fmla="*/ 832912 h 6689084"/>
              <a:gd name="connsiteX3421" fmla="*/ 2934443 w 6689088"/>
              <a:gd name="connsiteY3421" fmla="*/ 844893 h 6689084"/>
              <a:gd name="connsiteX3422" fmla="*/ 2922458 w 6689088"/>
              <a:gd name="connsiteY3422" fmla="*/ 856873 h 6689084"/>
              <a:gd name="connsiteX3423" fmla="*/ 2910477 w 6689088"/>
              <a:gd name="connsiteY3423" fmla="*/ 844893 h 6689084"/>
              <a:gd name="connsiteX3424" fmla="*/ 2922458 w 6689088"/>
              <a:gd name="connsiteY3424" fmla="*/ 832912 h 6689084"/>
              <a:gd name="connsiteX3425" fmla="*/ 3076402 w 6689088"/>
              <a:gd name="connsiteY3425" fmla="*/ 831097 h 6689084"/>
              <a:gd name="connsiteX3426" fmla="*/ 3090201 w 6689088"/>
              <a:gd name="connsiteY3426" fmla="*/ 844896 h 6689084"/>
              <a:gd name="connsiteX3427" fmla="*/ 3076402 w 6689088"/>
              <a:gd name="connsiteY3427" fmla="*/ 858692 h 6689084"/>
              <a:gd name="connsiteX3428" fmla="*/ 3062606 w 6689088"/>
              <a:gd name="connsiteY3428" fmla="*/ 844896 h 6689084"/>
              <a:gd name="connsiteX3429" fmla="*/ 3076402 w 6689088"/>
              <a:gd name="connsiteY3429" fmla="*/ 831097 h 6689084"/>
              <a:gd name="connsiteX3430" fmla="*/ 3230349 w 6689088"/>
              <a:gd name="connsiteY3430" fmla="*/ 829645 h 6689084"/>
              <a:gd name="connsiteX3431" fmla="*/ 3245600 w 6689088"/>
              <a:gd name="connsiteY3431" fmla="*/ 844896 h 6689084"/>
              <a:gd name="connsiteX3432" fmla="*/ 3230349 w 6689088"/>
              <a:gd name="connsiteY3432" fmla="*/ 860144 h 6689084"/>
              <a:gd name="connsiteX3433" fmla="*/ 3215102 w 6689088"/>
              <a:gd name="connsiteY3433" fmla="*/ 844896 h 6689084"/>
              <a:gd name="connsiteX3434" fmla="*/ 3230349 w 6689088"/>
              <a:gd name="connsiteY3434" fmla="*/ 829645 h 6689084"/>
              <a:gd name="connsiteX3435" fmla="*/ 3383938 w 6689088"/>
              <a:gd name="connsiteY3435" fmla="*/ 827830 h 6689084"/>
              <a:gd name="connsiteX3436" fmla="*/ 3401000 w 6689088"/>
              <a:gd name="connsiteY3436" fmla="*/ 844896 h 6689084"/>
              <a:gd name="connsiteX3437" fmla="*/ 3383938 w 6689088"/>
              <a:gd name="connsiteY3437" fmla="*/ 861958 h 6689084"/>
              <a:gd name="connsiteX3438" fmla="*/ 3366872 w 6689088"/>
              <a:gd name="connsiteY3438" fmla="*/ 844896 h 6689084"/>
              <a:gd name="connsiteX3439" fmla="*/ 3383938 w 6689088"/>
              <a:gd name="connsiteY3439" fmla="*/ 827830 h 6689084"/>
              <a:gd name="connsiteX3440" fmla="*/ 3537882 w 6689088"/>
              <a:gd name="connsiteY3440" fmla="*/ 825650 h 6689084"/>
              <a:gd name="connsiteX3441" fmla="*/ 3557128 w 6689088"/>
              <a:gd name="connsiteY3441" fmla="*/ 844893 h 6689084"/>
              <a:gd name="connsiteX3442" fmla="*/ 3537882 w 6689088"/>
              <a:gd name="connsiteY3442" fmla="*/ 864139 h 6689084"/>
              <a:gd name="connsiteX3443" fmla="*/ 3518639 w 6689088"/>
              <a:gd name="connsiteY3443" fmla="*/ 844893 h 6689084"/>
              <a:gd name="connsiteX3444" fmla="*/ 3537882 w 6689088"/>
              <a:gd name="connsiteY3444" fmla="*/ 825650 h 6689084"/>
              <a:gd name="connsiteX3445" fmla="*/ 3691471 w 6689088"/>
              <a:gd name="connsiteY3445" fmla="*/ 823473 h 6689084"/>
              <a:gd name="connsiteX3446" fmla="*/ 3712894 w 6689088"/>
              <a:gd name="connsiteY3446" fmla="*/ 844896 h 6689084"/>
              <a:gd name="connsiteX3447" fmla="*/ 3691471 w 6689088"/>
              <a:gd name="connsiteY3447" fmla="*/ 866319 h 6689084"/>
              <a:gd name="connsiteX3448" fmla="*/ 3670048 w 6689088"/>
              <a:gd name="connsiteY3448" fmla="*/ 844896 h 6689084"/>
              <a:gd name="connsiteX3449" fmla="*/ 3691471 w 6689088"/>
              <a:gd name="connsiteY3449" fmla="*/ 823473 h 6689084"/>
              <a:gd name="connsiteX3450" fmla="*/ 3845418 w 6689088"/>
              <a:gd name="connsiteY3450" fmla="*/ 822021 h 6689084"/>
              <a:gd name="connsiteX3451" fmla="*/ 3868293 w 6689088"/>
              <a:gd name="connsiteY3451" fmla="*/ 844896 h 6689084"/>
              <a:gd name="connsiteX3452" fmla="*/ 3845418 w 6689088"/>
              <a:gd name="connsiteY3452" fmla="*/ 867768 h 6689084"/>
              <a:gd name="connsiteX3453" fmla="*/ 3822543 w 6689088"/>
              <a:gd name="connsiteY3453" fmla="*/ 844896 h 6689084"/>
              <a:gd name="connsiteX3454" fmla="*/ 3845418 w 6689088"/>
              <a:gd name="connsiteY3454" fmla="*/ 822021 h 6689084"/>
              <a:gd name="connsiteX3455" fmla="*/ 3999000 w 6689088"/>
              <a:gd name="connsiteY3455" fmla="*/ 819841 h 6689084"/>
              <a:gd name="connsiteX3456" fmla="*/ 4024052 w 6689088"/>
              <a:gd name="connsiteY3456" fmla="*/ 844893 h 6689084"/>
              <a:gd name="connsiteX3457" fmla="*/ 3999000 w 6689088"/>
              <a:gd name="connsiteY3457" fmla="*/ 869948 h 6689084"/>
              <a:gd name="connsiteX3458" fmla="*/ 3973948 w 6689088"/>
              <a:gd name="connsiteY3458" fmla="*/ 844893 h 6689084"/>
              <a:gd name="connsiteX3459" fmla="*/ 3999000 w 6689088"/>
              <a:gd name="connsiteY3459" fmla="*/ 819841 h 6689084"/>
              <a:gd name="connsiteX3460" fmla="*/ 4152947 w 6689088"/>
              <a:gd name="connsiteY3460" fmla="*/ 817664 h 6689084"/>
              <a:gd name="connsiteX3461" fmla="*/ 4180179 w 6689088"/>
              <a:gd name="connsiteY3461" fmla="*/ 844896 h 6689084"/>
              <a:gd name="connsiteX3462" fmla="*/ 4152947 w 6689088"/>
              <a:gd name="connsiteY3462" fmla="*/ 872129 h 6689084"/>
              <a:gd name="connsiteX3463" fmla="*/ 4125715 w 6689088"/>
              <a:gd name="connsiteY3463" fmla="*/ 844896 h 6689084"/>
              <a:gd name="connsiteX3464" fmla="*/ 4152947 w 6689088"/>
              <a:gd name="connsiteY3464" fmla="*/ 817664 h 6689084"/>
              <a:gd name="connsiteX3465" fmla="*/ 4306528 w 6689088"/>
              <a:gd name="connsiteY3465" fmla="*/ 815122 h 6689084"/>
              <a:gd name="connsiteX3466" fmla="*/ 4336303 w 6689088"/>
              <a:gd name="connsiteY3466" fmla="*/ 844896 h 6689084"/>
              <a:gd name="connsiteX3467" fmla="*/ 4306528 w 6689088"/>
              <a:gd name="connsiteY3467" fmla="*/ 874667 h 6689084"/>
              <a:gd name="connsiteX3468" fmla="*/ 4276758 w 6689088"/>
              <a:gd name="connsiteY3468" fmla="*/ 844896 h 6689084"/>
              <a:gd name="connsiteX3469" fmla="*/ 4306528 w 6689088"/>
              <a:gd name="connsiteY3469" fmla="*/ 815122 h 6689084"/>
              <a:gd name="connsiteX3470" fmla="*/ 4460480 w 6689088"/>
              <a:gd name="connsiteY3470" fmla="*/ 812941 h 6689084"/>
              <a:gd name="connsiteX3471" fmla="*/ 4492431 w 6689088"/>
              <a:gd name="connsiteY3471" fmla="*/ 844893 h 6689084"/>
              <a:gd name="connsiteX3472" fmla="*/ 4460480 w 6689088"/>
              <a:gd name="connsiteY3472" fmla="*/ 876844 h 6689084"/>
              <a:gd name="connsiteX3473" fmla="*/ 4428528 w 6689088"/>
              <a:gd name="connsiteY3473" fmla="*/ 844893 h 6689084"/>
              <a:gd name="connsiteX3474" fmla="*/ 4460480 w 6689088"/>
              <a:gd name="connsiteY3474" fmla="*/ 812941 h 6689084"/>
              <a:gd name="connsiteX3475" fmla="*/ 4614061 w 6689088"/>
              <a:gd name="connsiteY3475" fmla="*/ 811127 h 6689084"/>
              <a:gd name="connsiteX3476" fmla="*/ 4647831 w 6689088"/>
              <a:gd name="connsiteY3476" fmla="*/ 844893 h 6689084"/>
              <a:gd name="connsiteX3477" fmla="*/ 4614061 w 6689088"/>
              <a:gd name="connsiteY3477" fmla="*/ 878662 h 6689084"/>
              <a:gd name="connsiteX3478" fmla="*/ 4580296 w 6689088"/>
              <a:gd name="connsiteY3478" fmla="*/ 844893 h 6689084"/>
              <a:gd name="connsiteX3479" fmla="*/ 4614061 w 6689088"/>
              <a:gd name="connsiteY3479" fmla="*/ 811127 h 6689084"/>
              <a:gd name="connsiteX3480" fmla="*/ 4768012 w 6689088"/>
              <a:gd name="connsiteY3480" fmla="*/ 808584 h 6689084"/>
              <a:gd name="connsiteX3481" fmla="*/ 4804320 w 6689088"/>
              <a:gd name="connsiteY3481" fmla="*/ 844893 h 6689084"/>
              <a:gd name="connsiteX3482" fmla="*/ 4768012 w 6689088"/>
              <a:gd name="connsiteY3482" fmla="*/ 881201 h 6689084"/>
              <a:gd name="connsiteX3483" fmla="*/ 4731704 w 6689088"/>
              <a:gd name="connsiteY3483" fmla="*/ 844893 h 6689084"/>
              <a:gd name="connsiteX3484" fmla="*/ 4768012 w 6689088"/>
              <a:gd name="connsiteY3484" fmla="*/ 808584 h 6689084"/>
              <a:gd name="connsiteX3485" fmla="*/ 4921598 w 6689088"/>
              <a:gd name="connsiteY3485" fmla="*/ 806045 h 6689084"/>
              <a:gd name="connsiteX3486" fmla="*/ 4960444 w 6689088"/>
              <a:gd name="connsiteY3486" fmla="*/ 844896 h 6689084"/>
              <a:gd name="connsiteX3487" fmla="*/ 4921598 w 6689088"/>
              <a:gd name="connsiteY3487" fmla="*/ 883743 h 6689084"/>
              <a:gd name="connsiteX3488" fmla="*/ 4882746 w 6689088"/>
              <a:gd name="connsiteY3488" fmla="*/ 844896 h 6689084"/>
              <a:gd name="connsiteX3489" fmla="*/ 4921598 w 6689088"/>
              <a:gd name="connsiteY3489" fmla="*/ 806045 h 6689084"/>
              <a:gd name="connsiteX3490" fmla="*/ 5075541 w 6689088"/>
              <a:gd name="connsiteY3490" fmla="*/ 803503 h 6689084"/>
              <a:gd name="connsiteX3491" fmla="*/ 5116568 w 6689088"/>
              <a:gd name="connsiteY3491" fmla="*/ 844530 h 6689084"/>
              <a:gd name="connsiteX3492" fmla="*/ 5075541 w 6689088"/>
              <a:gd name="connsiteY3492" fmla="*/ 885562 h 6689084"/>
              <a:gd name="connsiteX3493" fmla="*/ 5034514 w 6689088"/>
              <a:gd name="connsiteY3493" fmla="*/ 844530 h 6689084"/>
              <a:gd name="connsiteX3494" fmla="*/ 5075541 w 6689088"/>
              <a:gd name="connsiteY3494" fmla="*/ 803503 h 6689084"/>
              <a:gd name="connsiteX3495" fmla="*/ 5229126 w 6689088"/>
              <a:gd name="connsiteY3495" fmla="*/ 800960 h 6689084"/>
              <a:gd name="connsiteX3496" fmla="*/ 5272696 w 6689088"/>
              <a:gd name="connsiteY3496" fmla="*/ 844530 h 6689084"/>
              <a:gd name="connsiteX3497" fmla="*/ 5229126 w 6689088"/>
              <a:gd name="connsiteY3497" fmla="*/ 888100 h 6689084"/>
              <a:gd name="connsiteX3498" fmla="*/ 5185556 w 6689088"/>
              <a:gd name="connsiteY3498" fmla="*/ 844530 h 6689084"/>
              <a:gd name="connsiteX3499" fmla="*/ 5229126 w 6689088"/>
              <a:gd name="connsiteY3499" fmla="*/ 800960 h 6689084"/>
              <a:gd name="connsiteX3500" fmla="*/ 5383074 w 6689088"/>
              <a:gd name="connsiteY3500" fmla="*/ 798784 h 6689084"/>
              <a:gd name="connsiteX3501" fmla="*/ 5429186 w 6689088"/>
              <a:gd name="connsiteY3501" fmla="*/ 844896 h 6689084"/>
              <a:gd name="connsiteX3502" fmla="*/ 5383074 w 6689088"/>
              <a:gd name="connsiteY3502" fmla="*/ 891009 h 6689084"/>
              <a:gd name="connsiteX3503" fmla="*/ 5336962 w 6689088"/>
              <a:gd name="connsiteY3503" fmla="*/ 844896 h 6689084"/>
              <a:gd name="connsiteX3504" fmla="*/ 5383074 w 6689088"/>
              <a:gd name="connsiteY3504" fmla="*/ 798784 h 6689084"/>
              <a:gd name="connsiteX3505" fmla="*/ 5536659 w 6689088"/>
              <a:gd name="connsiteY3505" fmla="*/ 796241 h 6689084"/>
              <a:gd name="connsiteX3506" fmla="*/ 5585310 w 6689088"/>
              <a:gd name="connsiteY3506" fmla="*/ 844896 h 6689084"/>
              <a:gd name="connsiteX3507" fmla="*/ 5536659 w 6689088"/>
              <a:gd name="connsiteY3507" fmla="*/ 893548 h 6689084"/>
              <a:gd name="connsiteX3508" fmla="*/ 5488004 w 6689088"/>
              <a:gd name="connsiteY3508" fmla="*/ 844896 h 6689084"/>
              <a:gd name="connsiteX3509" fmla="*/ 5536659 w 6689088"/>
              <a:gd name="connsiteY3509" fmla="*/ 796241 h 6689084"/>
              <a:gd name="connsiteX3510" fmla="*/ 5690606 w 6689088"/>
              <a:gd name="connsiteY3510" fmla="*/ 793699 h 6689084"/>
              <a:gd name="connsiteX3511" fmla="*/ 5741800 w 6689088"/>
              <a:gd name="connsiteY3511" fmla="*/ 844893 h 6689084"/>
              <a:gd name="connsiteX3512" fmla="*/ 5690606 w 6689088"/>
              <a:gd name="connsiteY3512" fmla="*/ 896090 h 6689084"/>
              <a:gd name="connsiteX3513" fmla="*/ 5639412 w 6689088"/>
              <a:gd name="connsiteY3513" fmla="*/ 844893 h 6689084"/>
              <a:gd name="connsiteX3514" fmla="*/ 5690606 w 6689088"/>
              <a:gd name="connsiteY3514" fmla="*/ 793699 h 6689084"/>
              <a:gd name="connsiteX3515" fmla="*/ 5844554 w 6689088"/>
              <a:gd name="connsiteY3515" fmla="*/ 791156 h 6689084"/>
              <a:gd name="connsiteX3516" fmla="*/ 5897928 w 6689088"/>
              <a:gd name="connsiteY3516" fmla="*/ 844530 h 6689084"/>
              <a:gd name="connsiteX3517" fmla="*/ 5844554 w 6689088"/>
              <a:gd name="connsiteY3517" fmla="*/ 897901 h 6689084"/>
              <a:gd name="connsiteX3518" fmla="*/ 5791180 w 6689088"/>
              <a:gd name="connsiteY3518" fmla="*/ 844530 h 6689084"/>
              <a:gd name="connsiteX3519" fmla="*/ 5844554 w 6689088"/>
              <a:gd name="connsiteY3519" fmla="*/ 791156 h 6689084"/>
              <a:gd name="connsiteX3520" fmla="*/ 5998139 w 6689088"/>
              <a:gd name="connsiteY3520" fmla="*/ 788614 h 6689084"/>
              <a:gd name="connsiteX3521" fmla="*/ 6054414 w 6689088"/>
              <a:gd name="connsiteY3521" fmla="*/ 844893 h 6689084"/>
              <a:gd name="connsiteX3522" fmla="*/ 5998139 w 6689088"/>
              <a:gd name="connsiteY3522" fmla="*/ 901171 h 6689084"/>
              <a:gd name="connsiteX3523" fmla="*/ 5941860 w 6689088"/>
              <a:gd name="connsiteY3523" fmla="*/ 844893 h 6689084"/>
              <a:gd name="connsiteX3524" fmla="*/ 5998139 w 6689088"/>
              <a:gd name="connsiteY3524" fmla="*/ 788614 h 6689084"/>
              <a:gd name="connsiteX3525" fmla="*/ 6152083 w 6689088"/>
              <a:gd name="connsiteY3525" fmla="*/ 786075 h 6689084"/>
              <a:gd name="connsiteX3526" fmla="*/ 6210904 w 6689088"/>
              <a:gd name="connsiteY3526" fmla="*/ 844896 h 6689084"/>
              <a:gd name="connsiteX3527" fmla="*/ 6152083 w 6689088"/>
              <a:gd name="connsiteY3527" fmla="*/ 903714 h 6689084"/>
              <a:gd name="connsiteX3528" fmla="*/ 6093265 w 6689088"/>
              <a:gd name="connsiteY3528" fmla="*/ 844896 h 6689084"/>
              <a:gd name="connsiteX3529" fmla="*/ 6152083 w 6689088"/>
              <a:gd name="connsiteY3529" fmla="*/ 786075 h 6689084"/>
              <a:gd name="connsiteX3530" fmla="*/ 6305672 w 6689088"/>
              <a:gd name="connsiteY3530" fmla="*/ 783170 h 6689084"/>
              <a:gd name="connsiteX3531" fmla="*/ 6367394 w 6689088"/>
              <a:gd name="connsiteY3531" fmla="*/ 844896 h 6689084"/>
              <a:gd name="connsiteX3532" fmla="*/ 6305672 w 6689088"/>
              <a:gd name="connsiteY3532" fmla="*/ 906619 h 6689084"/>
              <a:gd name="connsiteX3533" fmla="*/ 6243946 w 6689088"/>
              <a:gd name="connsiteY3533" fmla="*/ 844896 h 6689084"/>
              <a:gd name="connsiteX3534" fmla="*/ 6305672 w 6689088"/>
              <a:gd name="connsiteY3534" fmla="*/ 783170 h 6689084"/>
              <a:gd name="connsiteX3535" fmla="*/ 6459616 w 6689088"/>
              <a:gd name="connsiteY3535" fmla="*/ 780628 h 6689084"/>
              <a:gd name="connsiteX3536" fmla="*/ 6523884 w 6689088"/>
              <a:gd name="connsiteY3536" fmla="*/ 844893 h 6689084"/>
              <a:gd name="connsiteX3537" fmla="*/ 6459616 w 6689088"/>
              <a:gd name="connsiteY3537" fmla="*/ 909161 h 6689084"/>
              <a:gd name="connsiteX3538" fmla="*/ 6395350 w 6689088"/>
              <a:gd name="connsiteY3538" fmla="*/ 844893 h 6689084"/>
              <a:gd name="connsiteX3539" fmla="*/ 6459616 w 6689088"/>
              <a:gd name="connsiteY3539" fmla="*/ 780628 h 6689084"/>
              <a:gd name="connsiteX3540" fmla="*/ 6613197 w 6689088"/>
              <a:gd name="connsiteY3540" fmla="*/ 777361 h 6689084"/>
              <a:gd name="connsiteX3541" fmla="*/ 6680732 w 6689088"/>
              <a:gd name="connsiteY3541" fmla="*/ 844896 h 6689084"/>
              <a:gd name="connsiteX3542" fmla="*/ 6613197 w 6689088"/>
              <a:gd name="connsiteY3542" fmla="*/ 912428 h 6689084"/>
              <a:gd name="connsiteX3543" fmla="*/ 6545666 w 6689088"/>
              <a:gd name="connsiteY3543" fmla="*/ 844896 h 6689084"/>
              <a:gd name="connsiteX3544" fmla="*/ 6613197 w 6689088"/>
              <a:gd name="connsiteY3544" fmla="*/ 777361 h 6689084"/>
              <a:gd name="connsiteX3545" fmla="*/ 1384799 w 6689088"/>
              <a:gd name="connsiteY3545" fmla="*/ 690583 h 6689084"/>
              <a:gd name="connsiteX3546" fmla="*/ 1385161 w 6689088"/>
              <a:gd name="connsiteY3546" fmla="*/ 690945 h 6689084"/>
              <a:gd name="connsiteX3547" fmla="*/ 1384799 w 6689088"/>
              <a:gd name="connsiteY3547" fmla="*/ 691311 h 6689084"/>
              <a:gd name="connsiteX3548" fmla="*/ 1384437 w 6689088"/>
              <a:gd name="connsiteY3548" fmla="*/ 690945 h 6689084"/>
              <a:gd name="connsiteX3549" fmla="*/ 1384799 w 6689088"/>
              <a:gd name="connsiteY3549" fmla="*/ 690583 h 6689084"/>
              <a:gd name="connsiteX3550" fmla="*/ 923681 w 6689088"/>
              <a:gd name="connsiteY3550" fmla="*/ 690583 h 6689084"/>
              <a:gd name="connsiteX3551" fmla="*/ 924043 w 6689088"/>
              <a:gd name="connsiteY3551" fmla="*/ 690945 h 6689084"/>
              <a:gd name="connsiteX3552" fmla="*/ 923681 w 6689088"/>
              <a:gd name="connsiteY3552" fmla="*/ 691311 h 6689084"/>
              <a:gd name="connsiteX3553" fmla="*/ 923319 w 6689088"/>
              <a:gd name="connsiteY3553" fmla="*/ 690945 h 6689084"/>
              <a:gd name="connsiteX3554" fmla="*/ 923681 w 6689088"/>
              <a:gd name="connsiteY3554" fmla="*/ 690583 h 6689084"/>
              <a:gd name="connsiteX3555" fmla="*/ 769733 w 6689088"/>
              <a:gd name="connsiteY3555" fmla="*/ 690583 h 6689084"/>
              <a:gd name="connsiteX3556" fmla="*/ 770096 w 6689088"/>
              <a:gd name="connsiteY3556" fmla="*/ 690945 h 6689084"/>
              <a:gd name="connsiteX3557" fmla="*/ 769733 w 6689088"/>
              <a:gd name="connsiteY3557" fmla="*/ 691311 h 6689084"/>
              <a:gd name="connsiteX3558" fmla="*/ 769371 w 6689088"/>
              <a:gd name="connsiteY3558" fmla="*/ 690945 h 6689084"/>
              <a:gd name="connsiteX3559" fmla="*/ 769733 w 6689088"/>
              <a:gd name="connsiteY3559" fmla="*/ 690583 h 6689084"/>
              <a:gd name="connsiteX3560" fmla="*/ 616152 w 6689088"/>
              <a:gd name="connsiteY3560" fmla="*/ 690221 h 6689084"/>
              <a:gd name="connsiteX3561" fmla="*/ 616876 w 6689088"/>
              <a:gd name="connsiteY3561" fmla="*/ 690949 h 6689084"/>
              <a:gd name="connsiteX3562" fmla="*/ 616152 w 6689088"/>
              <a:gd name="connsiteY3562" fmla="*/ 691673 h 6689084"/>
              <a:gd name="connsiteX3563" fmla="*/ 615424 w 6689088"/>
              <a:gd name="connsiteY3563" fmla="*/ 690949 h 6689084"/>
              <a:gd name="connsiteX3564" fmla="*/ 616152 w 6689088"/>
              <a:gd name="connsiteY3564" fmla="*/ 690221 h 6689084"/>
              <a:gd name="connsiteX3565" fmla="*/ 1538746 w 6689088"/>
              <a:gd name="connsiteY3565" fmla="*/ 689493 h 6689084"/>
              <a:gd name="connsiteX3566" fmla="*/ 1540198 w 6689088"/>
              <a:gd name="connsiteY3566" fmla="*/ 690945 h 6689084"/>
              <a:gd name="connsiteX3567" fmla="*/ 1538746 w 6689088"/>
              <a:gd name="connsiteY3567" fmla="*/ 692397 h 6689084"/>
              <a:gd name="connsiteX3568" fmla="*/ 1537294 w 6689088"/>
              <a:gd name="connsiteY3568" fmla="*/ 690945 h 6689084"/>
              <a:gd name="connsiteX3569" fmla="*/ 1538746 w 6689088"/>
              <a:gd name="connsiteY3569" fmla="*/ 689493 h 6689084"/>
              <a:gd name="connsiteX3570" fmla="*/ 1692328 w 6689088"/>
              <a:gd name="connsiteY3570" fmla="*/ 688768 h 6689084"/>
              <a:gd name="connsiteX3571" fmla="*/ 1694508 w 6689088"/>
              <a:gd name="connsiteY3571" fmla="*/ 690949 h 6689084"/>
              <a:gd name="connsiteX3572" fmla="*/ 1692328 w 6689088"/>
              <a:gd name="connsiteY3572" fmla="*/ 693126 h 6689084"/>
              <a:gd name="connsiteX3573" fmla="*/ 1690151 w 6689088"/>
              <a:gd name="connsiteY3573" fmla="*/ 690949 h 6689084"/>
              <a:gd name="connsiteX3574" fmla="*/ 1692328 w 6689088"/>
              <a:gd name="connsiteY3574" fmla="*/ 688768 h 6689084"/>
              <a:gd name="connsiteX3575" fmla="*/ 1846279 w 6689088"/>
              <a:gd name="connsiteY3575" fmla="*/ 688040 h 6689084"/>
              <a:gd name="connsiteX3576" fmla="*/ 1849546 w 6689088"/>
              <a:gd name="connsiteY3576" fmla="*/ 691307 h 6689084"/>
              <a:gd name="connsiteX3577" fmla="*/ 1846279 w 6689088"/>
              <a:gd name="connsiteY3577" fmla="*/ 694574 h 6689084"/>
              <a:gd name="connsiteX3578" fmla="*/ 1843012 w 6689088"/>
              <a:gd name="connsiteY3578" fmla="*/ 691307 h 6689084"/>
              <a:gd name="connsiteX3579" fmla="*/ 1846279 w 6689088"/>
              <a:gd name="connsiteY3579" fmla="*/ 688040 h 6689084"/>
              <a:gd name="connsiteX3580" fmla="*/ 1999860 w 6689088"/>
              <a:gd name="connsiteY3580" fmla="*/ 686588 h 6689084"/>
              <a:gd name="connsiteX3581" fmla="*/ 2004217 w 6689088"/>
              <a:gd name="connsiteY3581" fmla="*/ 690945 h 6689084"/>
              <a:gd name="connsiteX3582" fmla="*/ 1999860 w 6689088"/>
              <a:gd name="connsiteY3582" fmla="*/ 695302 h 6689084"/>
              <a:gd name="connsiteX3583" fmla="*/ 1995503 w 6689088"/>
              <a:gd name="connsiteY3583" fmla="*/ 690945 h 6689084"/>
              <a:gd name="connsiteX3584" fmla="*/ 1999860 w 6689088"/>
              <a:gd name="connsiteY3584" fmla="*/ 686588 h 6689084"/>
              <a:gd name="connsiteX3585" fmla="*/ 2153811 w 6689088"/>
              <a:gd name="connsiteY3585" fmla="*/ 685498 h 6689084"/>
              <a:gd name="connsiteX3586" fmla="*/ 2159621 w 6689088"/>
              <a:gd name="connsiteY3586" fmla="*/ 691307 h 6689084"/>
              <a:gd name="connsiteX3587" fmla="*/ 2153811 w 6689088"/>
              <a:gd name="connsiteY3587" fmla="*/ 697117 h 6689084"/>
              <a:gd name="connsiteX3588" fmla="*/ 2148002 w 6689088"/>
              <a:gd name="connsiteY3588" fmla="*/ 691307 h 6689084"/>
              <a:gd name="connsiteX3589" fmla="*/ 2153811 w 6689088"/>
              <a:gd name="connsiteY3589" fmla="*/ 685498 h 6689084"/>
              <a:gd name="connsiteX3590" fmla="*/ 2307393 w 6689088"/>
              <a:gd name="connsiteY3590" fmla="*/ 683683 h 6689084"/>
              <a:gd name="connsiteX3591" fmla="*/ 2314655 w 6689088"/>
              <a:gd name="connsiteY3591" fmla="*/ 690945 h 6689084"/>
              <a:gd name="connsiteX3592" fmla="*/ 2307393 w 6689088"/>
              <a:gd name="connsiteY3592" fmla="*/ 698207 h 6689084"/>
              <a:gd name="connsiteX3593" fmla="*/ 2300131 w 6689088"/>
              <a:gd name="connsiteY3593" fmla="*/ 690945 h 6689084"/>
              <a:gd name="connsiteX3594" fmla="*/ 2307393 w 6689088"/>
              <a:gd name="connsiteY3594" fmla="*/ 683683 h 6689084"/>
              <a:gd name="connsiteX3595" fmla="*/ 2461340 w 6689088"/>
              <a:gd name="connsiteY3595" fmla="*/ 681869 h 6689084"/>
              <a:gd name="connsiteX3596" fmla="*/ 2470420 w 6689088"/>
              <a:gd name="connsiteY3596" fmla="*/ 690945 h 6689084"/>
              <a:gd name="connsiteX3597" fmla="*/ 2461340 w 6689088"/>
              <a:gd name="connsiteY3597" fmla="*/ 700025 h 6689084"/>
              <a:gd name="connsiteX3598" fmla="*/ 2452264 w 6689088"/>
              <a:gd name="connsiteY3598" fmla="*/ 690945 h 6689084"/>
              <a:gd name="connsiteX3599" fmla="*/ 2461340 w 6689088"/>
              <a:gd name="connsiteY3599" fmla="*/ 681869 h 6689084"/>
              <a:gd name="connsiteX3600" fmla="*/ 2614925 w 6689088"/>
              <a:gd name="connsiteY3600" fmla="*/ 680779 h 6689084"/>
              <a:gd name="connsiteX3601" fmla="*/ 2625092 w 6689088"/>
              <a:gd name="connsiteY3601" fmla="*/ 690945 h 6689084"/>
              <a:gd name="connsiteX3602" fmla="*/ 2614925 w 6689088"/>
              <a:gd name="connsiteY3602" fmla="*/ 701111 h 6689084"/>
              <a:gd name="connsiteX3603" fmla="*/ 2604759 w 6689088"/>
              <a:gd name="connsiteY3603" fmla="*/ 690945 h 6689084"/>
              <a:gd name="connsiteX3604" fmla="*/ 2614925 w 6689088"/>
              <a:gd name="connsiteY3604" fmla="*/ 680779 h 6689084"/>
              <a:gd name="connsiteX3605" fmla="*/ 2768873 w 6689088"/>
              <a:gd name="connsiteY3605" fmla="*/ 678964 h 6689084"/>
              <a:gd name="connsiteX3606" fmla="*/ 2780858 w 6689088"/>
              <a:gd name="connsiteY3606" fmla="*/ 690945 h 6689084"/>
              <a:gd name="connsiteX3607" fmla="*/ 2768873 w 6689088"/>
              <a:gd name="connsiteY3607" fmla="*/ 702926 h 6689084"/>
              <a:gd name="connsiteX3608" fmla="*/ 2756892 w 6689088"/>
              <a:gd name="connsiteY3608" fmla="*/ 690945 h 6689084"/>
              <a:gd name="connsiteX3609" fmla="*/ 2768873 w 6689088"/>
              <a:gd name="connsiteY3609" fmla="*/ 678964 h 6689084"/>
              <a:gd name="connsiteX3610" fmla="*/ 2922824 w 6689088"/>
              <a:gd name="connsiteY3610" fmla="*/ 677150 h 6689084"/>
              <a:gd name="connsiteX3611" fmla="*/ 2936619 w 6689088"/>
              <a:gd name="connsiteY3611" fmla="*/ 690949 h 6689084"/>
              <a:gd name="connsiteX3612" fmla="*/ 2922824 w 6689088"/>
              <a:gd name="connsiteY3612" fmla="*/ 704744 h 6689084"/>
              <a:gd name="connsiteX3613" fmla="*/ 2909025 w 6689088"/>
              <a:gd name="connsiteY3613" fmla="*/ 690949 h 6689084"/>
              <a:gd name="connsiteX3614" fmla="*/ 2922824 w 6689088"/>
              <a:gd name="connsiteY3614" fmla="*/ 677150 h 6689084"/>
              <a:gd name="connsiteX3615" fmla="*/ 3076402 w 6689088"/>
              <a:gd name="connsiteY3615" fmla="*/ 675697 h 6689084"/>
              <a:gd name="connsiteX3616" fmla="*/ 3091653 w 6689088"/>
              <a:gd name="connsiteY3616" fmla="*/ 690949 h 6689084"/>
              <a:gd name="connsiteX3617" fmla="*/ 3076402 w 6689088"/>
              <a:gd name="connsiteY3617" fmla="*/ 706197 h 6689084"/>
              <a:gd name="connsiteX3618" fmla="*/ 3061154 w 6689088"/>
              <a:gd name="connsiteY3618" fmla="*/ 690949 h 6689084"/>
              <a:gd name="connsiteX3619" fmla="*/ 3076402 w 6689088"/>
              <a:gd name="connsiteY3619" fmla="*/ 675697 h 6689084"/>
              <a:gd name="connsiteX3620" fmla="*/ 3230353 w 6689088"/>
              <a:gd name="connsiteY3620" fmla="*/ 673883 h 6689084"/>
              <a:gd name="connsiteX3621" fmla="*/ 3247419 w 6689088"/>
              <a:gd name="connsiteY3621" fmla="*/ 690949 h 6689084"/>
              <a:gd name="connsiteX3622" fmla="*/ 3230353 w 6689088"/>
              <a:gd name="connsiteY3622" fmla="*/ 708015 h 6689084"/>
              <a:gd name="connsiteX3623" fmla="*/ 3213287 w 6689088"/>
              <a:gd name="connsiteY3623" fmla="*/ 690949 h 6689084"/>
              <a:gd name="connsiteX3624" fmla="*/ 3230353 w 6689088"/>
              <a:gd name="connsiteY3624" fmla="*/ 673883 h 6689084"/>
              <a:gd name="connsiteX3625" fmla="*/ 3383934 w 6689088"/>
              <a:gd name="connsiteY3625" fmla="*/ 671703 h 6689084"/>
              <a:gd name="connsiteX3626" fmla="*/ 3403180 w 6689088"/>
              <a:gd name="connsiteY3626" fmla="*/ 690945 h 6689084"/>
              <a:gd name="connsiteX3627" fmla="*/ 3383934 w 6689088"/>
              <a:gd name="connsiteY3627" fmla="*/ 710191 h 6689084"/>
              <a:gd name="connsiteX3628" fmla="*/ 3364692 w 6689088"/>
              <a:gd name="connsiteY3628" fmla="*/ 690945 h 6689084"/>
              <a:gd name="connsiteX3629" fmla="*/ 3383934 w 6689088"/>
              <a:gd name="connsiteY3629" fmla="*/ 671703 h 6689084"/>
              <a:gd name="connsiteX3630" fmla="*/ 3537886 w 6689088"/>
              <a:gd name="connsiteY3630" fmla="*/ 669526 h 6689084"/>
              <a:gd name="connsiteX3631" fmla="*/ 3559308 w 6689088"/>
              <a:gd name="connsiteY3631" fmla="*/ 690949 h 6689084"/>
              <a:gd name="connsiteX3632" fmla="*/ 3537886 w 6689088"/>
              <a:gd name="connsiteY3632" fmla="*/ 712372 h 6689084"/>
              <a:gd name="connsiteX3633" fmla="*/ 3516462 w 6689088"/>
              <a:gd name="connsiteY3633" fmla="*/ 690949 h 6689084"/>
              <a:gd name="connsiteX3634" fmla="*/ 3537886 w 6689088"/>
              <a:gd name="connsiteY3634" fmla="*/ 669526 h 6689084"/>
              <a:gd name="connsiteX3635" fmla="*/ 3691471 w 6689088"/>
              <a:gd name="connsiteY3635" fmla="*/ 668074 h 6689084"/>
              <a:gd name="connsiteX3636" fmla="*/ 3714342 w 6689088"/>
              <a:gd name="connsiteY3636" fmla="*/ 690949 h 6689084"/>
              <a:gd name="connsiteX3637" fmla="*/ 3691471 w 6689088"/>
              <a:gd name="connsiteY3637" fmla="*/ 713820 h 6689084"/>
              <a:gd name="connsiteX3638" fmla="*/ 3668596 w 6689088"/>
              <a:gd name="connsiteY3638" fmla="*/ 690949 h 6689084"/>
              <a:gd name="connsiteX3639" fmla="*/ 3691471 w 6689088"/>
              <a:gd name="connsiteY3639" fmla="*/ 668074 h 6689084"/>
              <a:gd name="connsiteX3640" fmla="*/ 3845414 w 6689088"/>
              <a:gd name="connsiteY3640" fmla="*/ 665893 h 6689084"/>
              <a:gd name="connsiteX3641" fmla="*/ 3870470 w 6689088"/>
              <a:gd name="connsiteY3641" fmla="*/ 690945 h 6689084"/>
              <a:gd name="connsiteX3642" fmla="*/ 3845414 w 6689088"/>
              <a:gd name="connsiteY3642" fmla="*/ 716001 h 6689084"/>
              <a:gd name="connsiteX3643" fmla="*/ 3820362 w 6689088"/>
              <a:gd name="connsiteY3643" fmla="*/ 690945 h 6689084"/>
              <a:gd name="connsiteX3644" fmla="*/ 3845414 w 6689088"/>
              <a:gd name="connsiteY3644" fmla="*/ 665893 h 6689084"/>
              <a:gd name="connsiteX3645" fmla="*/ 3999000 w 6689088"/>
              <a:gd name="connsiteY3645" fmla="*/ 663717 h 6689084"/>
              <a:gd name="connsiteX3646" fmla="*/ 4026232 w 6689088"/>
              <a:gd name="connsiteY3646" fmla="*/ 690949 h 6689084"/>
              <a:gd name="connsiteX3647" fmla="*/ 3999000 w 6689088"/>
              <a:gd name="connsiteY3647" fmla="*/ 718181 h 6689084"/>
              <a:gd name="connsiteX3648" fmla="*/ 3971768 w 6689088"/>
              <a:gd name="connsiteY3648" fmla="*/ 690949 h 6689084"/>
              <a:gd name="connsiteX3649" fmla="*/ 3999000 w 6689088"/>
              <a:gd name="connsiteY3649" fmla="*/ 663717 h 6689084"/>
              <a:gd name="connsiteX3650" fmla="*/ 4152947 w 6689088"/>
              <a:gd name="connsiteY3650" fmla="*/ 661174 h 6689084"/>
              <a:gd name="connsiteX3651" fmla="*/ 4182722 w 6689088"/>
              <a:gd name="connsiteY3651" fmla="*/ 690949 h 6689084"/>
              <a:gd name="connsiteX3652" fmla="*/ 4152947 w 6689088"/>
              <a:gd name="connsiteY3652" fmla="*/ 720720 h 6689084"/>
              <a:gd name="connsiteX3653" fmla="*/ 4123176 w 6689088"/>
              <a:gd name="connsiteY3653" fmla="*/ 690949 h 6689084"/>
              <a:gd name="connsiteX3654" fmla="*/ 4152947 w 6689088"/>
              <a:gd name="connsiteY3654" fmla="*/ 661174 h 6689084"/>
              <a:gd name="connsiteX3655" fmla="*/ 4306532 w 6689088"/>
              <a:gd name="connsiteY3655" fmla="*/ 658994 h 6689084"/>
              <a:gd name="connsiteX3656" fmla="*/ 4338484 w 6689088"/>
              <a:gd name="connsiteY3656" fmla="*/ 690945 h 6689084"/>
              <a:gd name="connsiteX3657" fmla="*/ 4306532 w 6689088"/>
              <a:gd name="connsiteY3657" fmla="*/ 722896 h 6689084"/>
              <a:gd name="connsiteX3658" fmla="*/ 4274581 w 6689088"/>
              <a:gd name="connsiteY3658" fmla="*/ 690945 h 6689084"/>
              <a:gd name="connsiteX3659" fmla="*/ 4306532 w 6689088"/>
              <a:gd name="connsiteY3659" fmla="*/ 658994 h 6689084"/>
              <a:gd name="connsiteX3660" fmla="*/ 4460480 w 6689088"/>
              <a:gd name="connsiteY3660" fmla="*/ 657179 h 6689084"/>
              <a:gd name="connsiteX3661" fmla="*/ 4494250 w 6689088"/>
              <a:gd name="connsiteY3661" fmla="*/ 690945 h 6689084"/>
              <a:gd name="connsiteX3662" fmla="*/ 4460480 w 6689088"/>
              <a:gd name="connsiteY3662" fmla="*/ 724715 h 6689084"/>
              <a:gd name="connsiteX3663" fmla="*/ 4426714 w 6689088"/>
              <a:gd name="connsiteY3663" fmla="*/ 690945 h 6689084"/>
              <a:gd name="connsiteX3664" fmla="*/ 4460480 w 6689088"/>
              <a:gd name="connsiteY3664" fmla="*/ 657179 h 6689084"/>
              <a:gd name="connsiteX3665" fmla="*/ 4614061 w 6689088"/>
              <a:gd name="connsiteY3665" fmla="*/ 654637 h 6689084"/>
              <a:gd name="connsiteX3666" fmla="*/ 4650370 w 6689088"/>
              <a:gd name="connsiteY3666" fmla="*/ 690945 h 6689084"/>
              <a:gd name="connsiteX3667" fmla="*/ 4614061 w 6689088"/>
              <a:gd name="connsiteY3667" fmla="*/ 727253 h 6689084"/>
              <a:gd name="connsiteX3668" fmla="*/ 4577753 w 6689088"/>
              <a:gd name="connsiteY3668" fmla="*/ 690945 h 6689084"/>
              <a:gd name="connsiteX3669" fmla="*/ 4614061 w 6689088"/>
              <a:gd name="connsiteY3669" fmla="*/ 654637 h 6689084"/>
              <a:gd name="connsiteX3670" fmla="*/ 4768012 w 6689088"/>
              <a:gd name="connsiteY3670" fmla="*/ 652094 h 6689084"/>
              <a:gd name="connsiteX3671" fmla="*/ 4806860 w 6689088"/>
              <a:gd name="connsiteY3671" fmla="*/ 690945 h 6689084"/>
              <a:gd name="connsiteX3672" fmla="*/ 4768012 w 6689088"/>
              <a:gd name="connsiteY3672" fmla="*/ 729796 h 6689084"/>
              <a:gd name="connsiteX3673" fmla="*/ 4729162 w 6689088"/>
              <a:gd name="connsiteY3673" fmla="*/ 690945 h 6689084"/>
              <a:gd name="connsiteX3674" fmla="*/ 4768012 w 6689088"/>
              <a:gd name="connsiteY3674" fmla="*/ 652094 h 6689084"/>
              <a:gd name="connsiteX3675" fmla="*/ 4921594 w 6689088"/>
              <a:gd name="connsiteY3675" fmla="*/ 649918 h 6689084"/>
              <a:gd name="connsiteX3676" fmla="*/ 4962625 w 6689088"/>
              <a:gd name="connsiteY3676" fmla="*/ 690945 h 6689084"/>
              <a:gd name="connsiteX3677" fmla="*/ 4921594 w 6689088"/>
              <a:gd name="connsiteY3677" fmla="*/ 731976 h 6689084"/>
              <a:gd name="connsiteX3678" fmla="*/ 4880566 w 6689088"/>
              <a:gd name="connsiteY3678" fmla="*/ 690945 h 6689084"/>
              <a:gd name="connsiteX3679" fmla="*/ 4921594 w 6689088"/>
              <a:gd name="connsiteY3679" fmla="*/ 649918 h 6689084"/>
              <a:gd name="connsiteX3680" fmla="*/ 5075541 w 6689088"/>
              <a:gd name="connsiteY3680" fmla="*/ 647375 h 6689084"/>
              <a:gd name="connsiteX3681" fmla="*/ 5119111 w 6689088"/>
              <a:gd name="connsiteY3681" fmla="*/ 690945 h 6689084"/>
              <a:gd name="connsiteX3682" fmla="*/ 5075541 w 6689088"/>
              <a:gd name="connsiteY3682" fmla="*/ 734515 h 6689084"/>
              <a:gd name="connsiteX3683" fmla="*/ 5031971 w 6689088"/>
              <a:gd name="connsiteY3683" fmla="*/ 690945 h 6689084"/>
              <a:gd name="connsiteX3684" fmla="*/ 5075541 w 6689088"/>
              <a:gd name="connsiteY3684" fmla="*/ 647375 h 6689084"/>
              <a:gd name="connsiteX3685" fmla="*/ 5229126 w 6689088"/>
              <a:gd name="connsiteY3685" fmla="*/ 644836 h 6689084"/>
              <a:gd name="connsiteX3686" fmla="*/ 5275239 w 6689088"/>
              <a:gd name="connsiteY3686" fmla="*/ 690949 h 6689084"/>
              <a:gd name="connsiteX3687" fmla="*/ 5229126 w 6689088"/>
              <a:gd name="connsiteY3687" fmla="*/ 737058 h 6689084"/>
              <a:gd name="connsiteX3688" fmla="*/ 5183014 w 6689088"/>
              <a:gd name="connsiteY3688" fmla="*/ 690949 h 6689084"/>
              <a:gd name="connsiteX3689" fmla="*/ 5229126 w 6689088"/>
              <a:gd name="connsiteY3689" fmla="*/ 644836 h 6689084"/>
              <a:gd name="connsiteX3690" fmla="*/ 5383074 w 6689088"/>
              <a:gd name="connsiteY3690" fmla="*/ 642294 h 6689084"/>
              <a:gd name="connsiteX3691" fmla="*/ 5431725 w 6689088"/>
              <a:gd name="connsiteY3691" fmla="*/ 690949 h 6689084"/>
              <a:gd name="connsiteX3692" fmla="*/ 5383074 w 6689088"/>
              <a:gd name="connsiteY3692" fmla="*/ 739600 h 6689084"/>
              <a:gd name="connsiteX3693" fmla="*/ 5334419 w 6689088"/>
              <a:gd name="connsiteY3693" fmla="*/ 690949 h 6689084"/>
              <a:gd name="connsiteX3694" fmla="*/ 5383074 w 6689088"/>
              <a:gd name="connsiteY3694" fmla="*/ 642294 h 6689084"/>
              <a:gd name="connsiteX3695" fmla="*/ 5536659 w 6689088"/>
              <a:gd name="connsiteY3695" fmla="*/ 639751 h 6689084"/>
              <a:gd name="connsiteX3696" fmla="*/ 5587853 w 6689088"/>
              <a:gd name="connsiteY3696" fmla="*/ 690945 h 6689084"/>
              <a:gd name="connsiteX3697" fmla="*/ 5536659 w 6689088"/>
              <a:gd name="connsiteY3697" fmla="*/ 742139 h 6689084"/>
              <a:gd name="connsiteX3698" fmla="*/ 5485462 w 6689088"/>
              <a:gd name="connsiteY3698" fmla="*/ 690945 h 6689084"/>
              <a:gd name="connsiteX3699" fmla="*/ 5536659 w 6689088"/>
              <a:gd name="connsiteY3699" fmla="*/ 639751 h 6689084"/>
              <a:gd name="connsiteX3700" fmla="*/ 5690606 w 6689088"/>
              <a:gd name="connsiteY3700" fmla="*/ 637571 h 6689084"/>
              <a:gd name="connsiteX3701" fmla="*/ 5743980 w 6689088"/>
              <a:gd name="connsiteY3701" fmla="*/ 690945 h 6689084"/>
              <a:gd name="connsiteX3702" fmla="*/ 5690606 w 6689088"/>
              <a:gd name="connsiteY3702" fmla="*/ 744319 h 6689084"/>
              <a:gd name="connsiteX3703" fmla="*/ 5637232 w 6689088"/>
              <a:gd name="connsiteY3703" fmla="*/ 690945 h 6689084"/>
              <a:gd name="connsiteX3704" fmla="*/ 5690606 w 6689088"/>
              <a:gd name="connsiteY3704" fmla="*/ 637571 h 6689084"/>
              <a:gd name="connsiteX3705" fmla="*/ 5844554 w 6689088"/>
              <a:gd name="connsiteY3705" fmla="*/ 634666 h 6689084"/>
              <a:gd name="connsiteX3706" fmla="*/ 5900829 w 6689088"/>
              <a:gd name="connsiteY3706" fmla="*/ 690945 h 6689084"/>
              <a:gd name="connsiteX3707" fmla="*/ 5844554 w 6689088"/>
              <a:gd name="connsiteY3707" fmla="*/ 747224 h 6689084"/>
              <a:gd name="connsiteX3708" fmla="*/ 5788275 w 6689088"/>
              <a:gd name="connsiteY3708" fmla="*/ 690945 h 6689084"/>
              <a:gd name="connsiteX3709" fmla="*/ 5844554 w 6689088"/>
              <a:gd name="connsiteY3709" fmla="*/ 634666 h 6689084"/>
              <a:gd name="connsiteX3710" fmla="*/ 5998136 w 6689088"/>
              <a:gd name="connsiteY3710" fmla="*/ 632128 h 6689084"/>
              <a:gd name="connsiteX3711" fmla="*/ 6056957 w 6689088"/>
              <a:gd name="connsiteY3711" fmla="*/ 690949 h 6689084"/>
              <a:gd name="connsiteX3712" fmla="*/ 5998136 w 6689088"/>
              <a:gd name="connsiteY3712" fmla="*/ 749767 h 6689084"/>
              <a:gd name="connsiteX3713" fmla="*/ 5939318 w 6689088"/>
              <a:gd name="connsiteY3713" fmla="*/ 690949 h 6689084"/>
              <a:gd name="connsiteX3714" fmla="*/ 5998136 w 6689088"/>
              <a:gd name="connsiteY3714" fmla="*/ 632128 h 6689084"/>
              <a:gd name="connsiteX3715" fmla="*/ 6152083 w 6689088"/>
              <a:gd name="connsiteY3715" fmla="*/ 629223 h 6689084"/>
              <a:gd name="connsiteX3716" fmla="*/ 6213809 w 6689088"/>
              <a:gd name="connsiteY3716" fmla="*/ 690949 h 6689084"/>
              <a:gd name="connsiteX3717" fmla="*/ 6152083 w 6689088"/>
              <a:gd name="connsiteY3717" fmla="*/ 752671 h 6689084"/>
              <a:gd name="connsiteX3718" fmla="*/ 6090360 w 6689088"/>
              <a:gd name="connsiteY3718" fmla="*/ 690949 h 6689084"/>
              <a:gd name="connsiteX3719" fmla="*/ 6152083 w 6689088"/>
              <a:gd name="connsiteY3719" fmla="*/ 629223 h 6689084"/>
              <a:gd name="connsiteX3720" fmla="*/ 6305668 w 6689088"/>
              <a:gd name="connsiteY3720" fmla="*/ 626680 h 6689084"/>
              <a:gd name="connsiteX3721" fmla="*/ 6369933 w 6689088"/>
              <a:gd name="connsiteY3721" fmla="*/ 690945 h 6689084"/>
              <a:gd name="connsiteX3722" fmla="*/ 6305668 w 6689088"/>
              <a:gd name="connsiteY3722" fmla="*/ 755214 h 6689084"/>
              <a:gd name="connsiteX3723" fmla="*/ 6241400 w 6689088"/>
              <a:gd name="connsiteY3723" fmla="*/ 690945 h 6689084"/>
              <a:gd name="connsiteX3724" fmla="*/ 6305668 w 6689088"/>
              <a:gd name="connsiteY3724" fmla="*/ 626680 h 6689084"/>
              <a:gd name="connsiteX3725" fmla="*/ 6459619 w 6689088"/>
              <a:gd name="connsiteY3725" fmla="*/ 623414 h 6689084"/>
              <a:gd name="connsiteX3726" fmla="*/ 6527151 w 6689088"/>
              <a:gd name="connsiteY3726" fmla="*/ 690949 h 6689084"/>
              <a:gd name="connsiteX3727" fmla="*/ 6459619 w 6689088"/>
              <a:gd name="connsiteY3727" fmla="*/ 758481 h 6689084"/>
              <a:gd name="connsiteX3728" fmla="*/ 6392084 w 6689088"/>
              <a:gd name="connsiteY3728" fmla="*/ 690949 h 6689084"/>
              <a:gd name="connsiteX3729" fmla="*/ 6459619 w 6689088"/>
              <a:gd name="connsiteY3729" fmla="*/ 623414 h 6689084"/>
              <a:gd name="connsiteX3730" fmla="*/ 6613200 w 6689088"/>
              <a:gd name="connsiteY3730" fmla="*/ 620871 h 6689084"/>
              <a:gd name="connsiteX3731" fmla="*/ 6683275 w 6689088"/>
              <a:gd name="connsiteY3731" fmla="*/ 690945 h 6689084"/>
              <a:gd name="connsiteX3732" fmla="*/ 6613200 w 6689088"/>
              <a:gd name="connsiteY3732" fmla="*/ 761023 h 6689084"/>
              <a:gd name="connsiteX3733" fmla="*/ 6543126 w 6689088"/>
              <a:gd name="connsiteY3733" fmla="*/ 690945 h 6689084"/>
              <a:gd name="connsiteX3734" fmla="*/ 6613200 w 6689088"/>
              <a:gd name="connsiteY3734" fmla="*/ 620871 h 6689084"/>
              <a:gd name="connsiteX3735" fmla="*/ 1231213 w 6689088"/>
              <a:gd name="connsiteY3735" fmla="*/ 536998 h 6689084"/>
              <a:gd name="connsiteX3736" fmla="*/ 1231576 w 6689088"/>
              <a:gd name="connsiteY3736" fmla="*/ 537360 h 6689084"/>
              <a:gd name="connsiteX3737" fmla="*/ 1231213 w 6689088"/>
              <a:gd name="connsiteY3737" fmla="*/ 537726 h 6689084"/>
              <a:gd name="connsiteX3738" fmla="*/ 1230851 w 6689088"/>
              <a:gd name="connsiteY3738" fmla="*/ 537360 h 6689084"/>
              <a:gd name="connsiteX3739" fmla="*/ 1231213 w 6689088"/>
              <a:gd name="connsiteY3739" fmla="*/ 536998 h 6689084"/>
              <a:gd name="connsiteX3740" fmla="*/ 769733 w 6689088"/>
              <a:gd name="connsiteY3740" fmla="*/ 536998 h 6689084"/>
              <a:gd name="connsiteX3741" fmla="*/ 770096 w 6689088"/>
              <a:gd name="connsiteY3741" fmla="*/ 537360 h 6689084"/>
              <a:gd name="connsiteX3742" fmla="*/ 769733 w 6689088"/>
              <a:gd name="connsiteY3742" fmla="*/ 537726 h 6689084"/>
              <a:gd name="connsiteX3743" fmla="*/ 769371 w 6689088"/>
              <a:gd name="connsiteY3743" fmla="*/ 537360 h 6689084"/>
              <a:gd name="connsiteX3744" fmla="*/ 769733 w 6689088"/>
              <a:gd name="connsiteY3744" fmla="*/ 536998 h 6689084"/>
              <a:gd name="connsiteX3745" fmla="*/ 616148 w 6689088"/>
              <a:gd name="connsiteY3745" fmla="*/ 536998 h 6689084"/>
              <a:gd name="connsiteX3746" fmla="*/ 616514 w 6689088"/>
              <a:gd name="connsiteY3746" fmla="*/ 537360 h 6689084"/>
              <a:gd name="connsiteX3747" fmla="*/ 616148 w 6689088"/>
              <a:gd name="connsiteY3747" fmla="*/ 537726 h 6689084"/>
              <a:gd name="connsiteX3748" fmla="*/ 615786 w 6689088"/>
              <a:gd name="connsiteY3748" fmla="*/ 537360 h 6689084"/>
              <a:gd name="connsiteX3749" fmla="*/ 616148 w 6689088"/>
              <a:gd name="connsiteY3749" fmla="*/ 536998 h 6689084"/>
              <a:gd name="connsiteX3750" fmla="*/ 462205 w 6689088"/>
              <a:gd name="connsiteY3750" fmla="*/ 536636 h 6689084"/>
              <a:gd name="connsiteX3751" fmla="*/ 462929 w 6689088"/>
              <a:gd name="connsiteY3751" fmla="*/ 537364 h 6689084"/>
              <a:gd name="connsiteX3752" fmla="*/ 462205 w 6689088"/>
              <a:gd name="connsiteY3752" fmla="*/ 538088 h 6689084"/>
              <a:gd name="connsiteX3753" fmla="*/ 461476 w 6689088"/>
              <a:gd name="connsiteY3753" fmla="*/ 537364 h 6689084"/>
              <a:gd name="connsiteX3754" fmla="*/ 462205 w 6689088"/>
              <a:gd name="connsiteY3754" fmla="*/ 536636 h 6689084"/>
              <a:gd name="connsiteX3755" fmla="*/ 1384799 w 6689088"/>
              <a:gd name="connsiteY3755" fmla="*/ 535911 h 6689084"/>
              <a:gd name="connsiteX3756" fmla="*/ 1386251 w 6689088"/>
              <a:gd name="connsiteY3756" fmla="*/ 537364 h 6689084"/>
              <a:gd name="connsiteX3757" fmla="*/ 1384799 w 6689088"/>
              <a:gd name="connsiteY3757" fmla="*/ 538816 h 6689084"/>
              <a:gd name="connsiteX3758" fmla="*/ 1383346 w 6689088"/>
              <a:gd name="connsiteY3758" fmla="*/ 537364 h 6689084"/>
              <a:gd name="connsiteX3759" fmla="*/ 1384799 w 6689088"/>
              <a:gd name="connsiteY3759" fmla="*/ 535911 h 6689084"/>
              <a:gd name="connsiteX3760" fmla="*/ 308257 w 6689088"/>
              <a:gd name="connsiteY3760" fmla="*/ 535545 h 6689084"/>
              <a:gd name="connsiteX3761" fmla="*/ 309710 w 6689088"/>
              <a:gd name="connsiteY3761" fmla="*/ 536998 h 6689084"/>
              <a:gd name="connsiteX3762" fmla="*/ 309634 w 6689088"/>
              <a:gd name="connsiteY3762" fmla="*/ 537073 h 6689084"/>
              <a:gd name="connsiteX3763" fmla="*/ 308175 w 6689088"/>
              <a:gd name="connsiteY3763" fmla="*/ 535627 h 6689084"/>
              <a:gd name="connsiteX3764" fmla="*/ 1538750 w 6689088"/>
              <a:gd name="connsiteY3764" fmla="*/ 535183 h 6689084"/>
              <a:gd name="connsiteX3765" fmla="*/ 1540927 w 6689088"/>
              <a:gd name="connsiteY3765" fmla="*/ 537364 h 6689084"/>
              <a:gd name="connsiteX3766" fmla="*/ 1538750 w 6689088"/>
              <a:gd name="connsiteY3766" fmla="*/ 539540 h 6689084"/>
              <a:gd name="connsiteX3767" fmla="*/ 1536570 w 6689088"/>
              <a:gd name="connsiteY3767" fmla="*/ 537364 h 6689084"/>
              <a:gd name="connsiteX3768" fmla="*/ 1538750 w 6689088"/>
              <a:gd name="connsiteY3768" fmla="*/ 535183 h 6689084"/>
              <a:gd name="connsiteX3769" fmla="*/ 1692328 w 6689088"/>
              <a:gd name="connsiteY3769" fmla="*/ 534093 h 6689084"/>
              <a:gd name="connsiteX3770" fmla="*/ 1695594 w 6689088"/>
              <a:gd name="connsiteY3770" fmla="*/ 537360 h 6689084"/>
              <a:gd name="connsiteX3771" fmla="*/ 1692328 w 6689088"/>
              <a:gd name="connsiteY3771" fmla="*/ 540630 h 6689084"/>
              <a:gd name="connsiteX3772" fmla="*/ 1689061 w 6689088"/>
              <a:gd name="connsiteY3772" fmla="*/ 537360 h 6689084"/>
              <a:gd name="connsiteX3773" fmla="*/ 1692328 w 6689088"/>
              <a:gd name="connsiteY3773" fmla="*/ 534093 h 6689084"/>
              <a:gd name="connsiteX3774" fmla="*/ 1846279 w 6689088"/>
              <a:gd name="connsiteY3774" fmla="*/ 532641 h 6689084"/>
              <a:gd name="connsiteX3775" fmla="*/ 1850636 w 6689088"/>
              <a:gd name="connsiteY3775" fmla="*/ 536998 h 6689084"/>
              <a:gd name="connsiteX3776" fmla="*/ 1846279 w 6689088"/>
              <a:gd name="connsiteY3776" fmla="*/ 541355 h 6689084"/>
              <a:gd name="connsiteX3777" fmla="*/ 1841922 w 6689088"/>
              <a:gd name="connsiteY3777" fmla="*/ 536998 h 6689084"/>
              <a:gd name="connsiteX3778" fmla="*/ 1846279 w 6689088"/>
              <a:gd name="connsiteY3778" fmla="*/ 532641 h 6689084"/>
              <a:gd name="connsiteX3779" fmla="*/ 1999860 w 6689088"/>
              <a:gd name="connsiteY3779" fmla="*/ 531554 h 6689084"/>
              <a:gd name="connsiteX3780" fmla="*/ 2005670 w 6689088"/>
              <a:gd name="connsiteY3780" fmla="*/ 537364 h 6689084"/>
              <a:gd name="connsiteX3781" fmla="*/ 1999860 w 6689088"/>
              <a:gd name="connsiteY3781" fmla="*/ 543173 h 6689084"/>
              <a:gd name="connsiteX3782" fmla="*/ 1994051 w 6689088"/>
              <a:gd name="connsiteY3782" fmla="*/ 537364 h 6689084"/>
              <a:gd name="connsiteX3783" fmla="*/ 1999860 w 6689088"/>
              <a:gd name="connsiteY3783" fmla="*/ 531554 h 6689084"/>
              <a:gd name="connsiteX3784" fmla="*/ 2153808 w 6689088"/>
              <a:gd name="connsiteY3784" fmla="*/ 530102 h 6689084"/>
              <a:gd name="connsiteX3785" fmla="*/ 2161069 w 6689088"/>
              <a:gd name="connsiteY3785" fmla="*/ 537364 h 6689084"/>
              <a:gd name="connsiteX3786" fmla="*/ 2153808 w 6689088"/>
              <a:gd name="connsiteY3786" fmla="*/ 544625 h 6689084"/>
              <a:gd name="connsiteX3787" fmla="*/ 2146546 w 6689088"/>
              <a:gd name="connsiteY3787" fmla="*/ 537364 h 6689084"/>
              <a:gd name="connsiteX3788" fmla="*/ 2153808 w 6689088"/>
              <a:gd name="connsiteY3788" fmla="*/ 530102 h 6689084"/>
              <a:gd name="connsiteX3789" fmla="*/ 2307393 w 6689088"/>
              <a:gd name="connsiteY3789" fmla="*/ 527922 h 6689084"/>
              <a:gd name="connsiteX3790" fmla="*/ 2316473 w 6689088"/>
              <a:gd name="connsiteY3790" fmla="*/ 536998 h 6689084"/>
              <a:gd name="connsiteX3791" fmla="*/ 2307393 w 6689088"/>
              <a:gd name="connsiteY3791" fmla="*/ 546078 h 6689084"/>
              <a:gd name="connsiteX3792" fmla="*/ 2298317 w 6689088"/>
              <a:gd name="connsiteY3792" fmla="*/ 536998 h 6689084"/>
              <a:gd name="connsiteX3793" fmla="*/ 2307393 w 6689088"/>
              <a:gd name="connsiteY3793" fmla="*/ 527922 h 6689084"/>
              <a:gd name="connsiteX3794" fmla="*/ 2461340 w 6689088"/>
              <a:gd name="connsiteY3794" fmla="*/ 527197 h 6689084"/>
              <a:gd name="connsiteX3795" fmla="*/ 2471507 w 6689088"/>
              <a:gd name="connsiteY3795" fmla="*/ 537364 h 6689084"/>
              <a:gd name="connsiteX3796" fmla="*/ 2461340 w 6689088"/>
              <a:gd name="connsiteY3796" fmla="*/ 547530 h 6689084"/>
              <a:gd name="connsiteX3797" fmla="*/ 2451174 w 6689088"/>
              <a:gd name="connsiteY3797" fmla="*/ 537364 h 6689084"/>
              <a:gd name="connsiteX3798" fmla="*/ 2461340 w 6689088"/>
              <a:gd name="connsiteY3798" fmla="*/ 527197 h 6689084"/>
              <a:gd name="connsiteX3799" fmla="*/ 2614925 w 6689088"/>
              <a:gd name="connsiteY3799" fmla="*/ 525379 h 6689084"/>
              <a:gd name="connsiteX3800" fmla="*/ 2626910 w 6689088"/>
              <a:gd name="connsiteY3800" fmla="*/ 537360 h 6689084"/>
              <a:gd name="connsiteX3801" fmla="*/ 2614925 w 6689088"/>
              <a:gd name="connsiteY3801" fmla="*/ 549341 h 6689084"/>
              <a:gd name="connsiteX3802" fmla="*/ 2602945 w 6689088"/>
              <a:gd name="connsiteY3802" fmla="*/ 537360 h 6689084"/>
              <a:gd name="connsiteX3803" fmla="*/ 2614925 w 6689088"/>
              <a:gd name="connsiteY3803" fmla="*/ 525379 h 6689084"/>
              <a:gd name="connsiteX3804" fmla="*/ 2768877 w 6689088"/>
              <a:gd name="connsiteY3804" fmla="*/ 523202 h 6689084"/>
              <a:gd name="connsiteX3805" fmla="*/ 2782672 w 6689088"/>
              <a:gd name="connsiteY3805" fmla="*/ 537002 h 6689084"/>
              <a:gd name="connsiteX3806" fmla="*/ 2768877 w 6689088"/>
              <a:gd name="connsiteY3806" fmla="*/ 550797 h 6689084"/>
              <a:gd name="connsiteX3807" fmla="*/ 2755078 w 6689088"/>
              <a:gd name="connsiteY3807" fmla="*/ 537002 h 6689084"/>
              <a:gd name="connsiteX3808" fmla="*/ 2768877 w 6689088"/>
              <a:gd name="connsiteY3808" fmla="*/ 523202 h 6689084"/>
              <a:gd name="connsiteX3809" fmla="*/ 2922454 w 6689088"/>
              <a:gd name="connsiteY3809" fmla="*/ 522112 h 6689084"/>
              <a:gd name="connsiteX3810" fmla="*/ 2937706 w 6689088"/>
              <a:gd name="connsiteY3810" fmla="*/ 537364 h 6689084"/>
              <a:gd name="connsiteX3811" fmla="*/ 2922454 w 6689088"/>
              <a:gd name="connsiteY3811" fmla="*/ 552611 h 6689084"/>
              <a:gd name="connsiteX3812" fmla="*/ 2907207 w 6689088"/>
              <a:gd name="connsiteY3812" fmla="*/ 537364 h 6689084"/>
              <a:gd name="connsiteX3813" fmla="*/ 2922454 w 6689088"/>
              <a:gd name="connsiteY3813" fmla="*/ 522112 h 6689084"/>
              <a:gd name="connsiteX3814" fmla="*/ 3076406 w 6689088"/>
              <a:gd name="connsiteY3814" fmla="*/ 520298 h 6689084"/>
              <a:gd name="connsiteX3815" fmla="*/ 3093468 w 6689088"/>
              <a:gd name="connsiteY3815" fmla="*/ 537364 h 6689084"/>
              <a:gd name="connsiteX3816" fmla="*/ 3076406 w 6689088"/>
              <a:gd name="connsiteY3816" fmla="*/ 554430 h 6689084"/>
              <a:gd name="connsiteX3817" fmla="*/ 3059340 w 6689088"/>
              <a:gd name="connsiteY3817" fmla="*/ 537364 h 6689084"/>
              <a:gd name="connsiteX3818" fmla="*/ 3076406 w 6689088"/>
              <a:gd name="connsiteY3818" fmla="*/ 520298 h 6689084"/>
              <a:gd name="connsiteX3819" fmla="*/ 3230353 w 6689088"/>
              <a:gd name="connsiteY3819" fmla="*/ 518117 h 6689084"/>
              <a:gd name="connsiteX3820" fmla="*/ 3249599 w 6689088"/>
              <a:gd name="connsiteY3820" fmla="*/ 537360 h 6689084"/>
              <a:gd name="connsiteX3821" fmla="*/ 3230353 w 6689088"/>
              <a:gd name="connsiteY3821" fmla="*/ 556602 h 6689084"/>
              <a:gd name="connsiteX3822" fmla="*/ 3211110 w 6689088"/>
              <a:gd name="connsiteY3822" fmla="*/ 537360 h 6689084"/>
              <a:gd name="connsiteX3823" fmla="*/ 3230353 w 6689088"/>
              <a:gd name="connsiteY3823" fmla="*/ 518117 h 6689084"/>
              <a:gd name="connsiteX3824" fmla="*/ 3383938 w 6689088"/>
              <a:gd name="connsiteY3824" fmla="*/ 515941 h 6689084"/>
              <a:gd name="connsiteX3825" fmla="*/ 3405361 w 6689088"/>
              <a:gd name="connsiteY3825" fmla="*/ 537364 h 6689084"/>
              <a:gd name="connsiteX3826" fmla="*/ 3383938 w 6689088"/>
              <a:gd name="connsiteY3826" fmla="*/ 558787 h 6689084"/>
              <a:gd name="connsiteX3827" fmla="*/ 3362515 w 6689088"/>
              <a:gd name="connsiteY3827" fmla="*/ 537364 h 6689084"/>
              <a:gd name="connsiteX3828" fmla="*/ 3383938 w 6689088"/>
              <a:gd name="connsiteY3828" fmla="*/ 515941 h 6689084"/>
              <a:gd name="connsiteX3829" fmla="*/ 3537886 w 6689088"/>
              <a:gd name="connsiteY3829" fmla="*/ 514489 h 6689084"/>
              <a:gd name="connsiteX3830" fmla="*/ 3560761 w 6689088"/>
              <a:gd name="connsiteY3830" fmla="*/ 537364 h 6689084"/>
              <a:gd name="connsiteX3831" fmla="*/ 3537886 w 6689088"/>
              <a:gd name="connsiteY3831" fmla="*/ 560239 h 6689084"/>
              <a:gd name="connsiteX3832" fmla="*/ 3515010 w 6689088"/>
              <a:gd name="connsiteY3832" fmla="*/ 537364 h 6689084"/>
              <a:gd name="connsiteX3833" fmla="*/ 3537886 w 6689088"/>
              <a:gd name="connsiteY3833" fmla="*/ 514489 h 6689084"/>
              <a:gd name="connsiteX3834" fmla="*/ 3691467 w 6689088"/>
              <a:gd name="connsiteY3834" fmla="*/ 512308 h 6689084"/>
              <a:gd name="connsiteX3835" fmla="*/ 3716519 w 6689088"/>
              <a:gd name="connsiteY3835" fmla="*/ 537360 h 6689084"/>
              <a:gd name="connsiteX3836" fmla="*/ 3691467 w 6689088"/>
              <a:gd name="connsiteY3836" fmla="*/ 562412 h 6689084"/>
              <a:gd name="connsiteX3837" fmla="*/ 3666415 w 6689088"/>
              <a:gd name="connsiteY3837" fmla="*/ 537360 h 6689084"/>
              <a:gd name="connsiteX3838" fmla="*/ 3691467 w 6689088"/>
              <a:gd name="connsiteY3838" fmla="*/ 512308 h 6689084"/>
              <a:gd name="connsiteX3839" fmla="*/ 3845418 w 6689088"/>
              <a:gd name="connsiteY3839" fmla="*/ 510131 h 6689084"/>
              <a:gd name="connsiteX3840" fmla="*/ 3872650 w 6689088"/>
              <a:gd name="connsiteY3840" fmla="*/ 537364 h 6689084"/>
              <a:gd name="connsiteX3841" fmla="*/ 3845418 w 6689088"/>
              <a:gd name="connsiteY3841" fmla="*/ 564596 h 6689084"/>
              <a:gd name="connsiteX3842" fmla="*/ 3818186 w 6689088"/>
              <a:gd name="connsiteY3842" fmla="*/ 537364 h 6689084"/>
              <a:gd name="connsiteX3843" fmla="*/ 3845418 w 6689088"/>
              <a:gd name="connsiteY3843" fmla="*/ 510131 h 6689084"/>
              <a:gd name="connsiteX3844" fmla="*/ 3999000 w 6689088"/>
              <a:gd name="connsiteY3844" fmla="*/ 507589 h 6689084"/>
              <a:gd name="connsiteX3845" fmla="*/ 4028774 w 6689088"/>
              <a:gd name="connsiteY3845" fmla="*/ 537364 h 6689084"/>
              <a:gd name="connsiteX3846" fmla="*/ 3999000 w 6689088"/>
              <a:gd name="connsiteY3846" fmla="*/ 567135 h 6689084"/>
              <a:gd name="connsiteX3847" fmla="*/ 3969229 w 6689088"/>
              <a:gd name="connsiteY3847" fmla="*/ 537364 h 6689084"/>
              <a:gd name="connsiteX3848" fmla="*/ 3999000 w 6689088"/>
              <a:gd name="connsiteY3848" fmla="*/ 507589 h 6689084"/>
              <a:gd name="connsiteX3849" fmla="*/ 4152947 w 6689088"/>
              <a:gd name="connsiteY3849" fmla="*/ 505412 h 6689084"/>
              <a:gd name="connsiteX3850" fmla="*/ 4184898 w 6689088"/>
              <a:gd name="connsiteY3850" fmla="*/ 537364 h 6689084"/>
              <a:gd name="connsiteX3851" fmla="*/ 4152947 w 6689088"/>
              <a:gd name="connsiteY3851" fmla="*/ 569315 h 6689084"/>
              <a:gd name="connsiteX3852" fmla="*/ 4120996 w 6689088"/>
              <a:gd name="connsiteY3852" fmla="*/ 537364 h 6689084"/>
              <a:gd name="connsiteX3853" fmla="*/ 4152947 w 6689088"/>
              <a:gd name="connsiteY3853" fmla="*/ 505412 h 6689084"/>
              <a:gd name="connsiteX3854" fmla="*/ 4306532 w 6689088"/>
              <a:gd name="connsiteY3854" fmla="*/ 503594 h 6689084"/>
              <a:gd name="connsiteX3855" fmla="*/ 4340302 w 6689088"/>
              <a:gd name="connsiteY3855" fmla="*/ 537360 h 6689084"/>
              <a:gd name="connsiteX3856" fmla="*/ 4306532 w 6689088"/>
              <a:gd name="connsiteY3856" fmla="*/ 571130 h 6689084"/>
              <a:gd name="connsiteX3857" fmla="*/ 4272766 w 6689088"/>
              <a:gd name="connsiteY3857" fmla="*/ 537360 h 6689084"/>
              <a:gd name="connsiteX3858" fmla="*/ 4306532 w 6689088"/>
              <a:gd name="connsiteY3858" fmla="*/ 503594 h 6689084"/>
              <a:gd name="connsiteX3859" fmla="*/ 4460480 w 6689088"/>
              <a:gd name="connsiteY3859" fmla="*/ 500689 h 6689084"/>
              <a:gd name="connsiteX3860" fmla="*/ 4496788 w 6689088"/>
              <a:gd name="connsiteY3860" fmla="*/ 536998 h 6689084"/>
              <a:gd name="connsiteX3861" fmla="*/ 4460480 w 6689088"/>
              <a:gd name="connsiteY3861" fmla="*/ 573306 h 6689084"/>
              <a:gd name="connsiteX3862" fmla="*/ 4424172 w 6689088"/>
              <a:gd name="connsiteY3862" fmla="*/ 536998 h 6689084"/>
              <a:gd name="connsiteX3863" fmla="*/ 4460480 w 6689088"/>
              <a:gd name="connsiteY3863" fmla="*/ 500689 h 6689084"/>
              <a:gd name="connsiteX3864" fmla="*/ 4614065 w 6689088"/>
              <a:gd name="connsiteY3864" fmla="*/ 498513 h 6689084"/>
              <a:gd name="connsiteX3865" fmla="*/ 4652912 w 6689088"/>
              <a:gd name="connsiteY3865" fmla="*/ 537364 h 6689084"/>
              <a:gd name="connsiteX3866" fmla="*/ 4614065 w 6689088"/>
              <a:gd name="connsiteY3866" fmla="*/ 576215 h 6689084"/>
              <a:gd name="connsiteX3867" fmla="*/ 4575214 w 6689088"/>
              <a:gd name="connsiteY3867" fmla="*/ 537364 h 6689084"/>
              <a:gd name="connsiteX3868" fmla="*/ 4614065 w 6689088"/>
              <a:gd name="connsiteY3868" fmla="*/ 498513 h 6689084"/>
              <a:gd name="connsiteX3869" fmla="*/ 4768008 w 6689088"/>
              <a:gd name="connsiteY3869" fmla="*/ 495970 h 6689084"/>
              <a:gd name="connsiteX3870" fmla="*/ 4809036 w 6689088"/>
              <a:gd name="connsiteY3870" fmla="*/ 536998 h 6689084"/>
              <a:gd name="connsiteX3871" fmla="*/ 4768008 w 6689088"/>
              <a:gd name="connsiteY3871" fmla="*/ 578029 h 6689084"/>
              <a:gd name="connsiteX3872" fmla="*/ 4726981 w 6689088"/>
              <a:gd name="connsiteY3872" fmla="*/ 536998 h 6689084"/>
              <a:gd name="connsiteX3873" fmla="*/ 4768008 w 6689088"/>
              <a:gd name="connsiteY3873" fmla="*/ 495970 h 6689084"/>
              <a:gd name="connsiteX3874" fmla="*/ 4921594 w 6689088"/>
              <a:gd name="connsiteY3874" fmla="*/ 493428 h 6689084"/>
              <a:gd name="connsiteX3875" fmla="*/ 4965164 w 6689088"/>
              <a:gd name="connsiteY3875" fmla="*/ 536998 h 6689084"/>
              <a:gd name="connsiteX3876" fmla="*/ 4921594 w 6689088"/>
              <a:gd name="connsiteY3876" fmla="*/ 580568 h 6689084"/>
              <a:gd name="connsiteX3877" fmla="*/ 4878024 w 6689088"/>
              <a:gd name="connsiteY3877" fmla="*/ 536998 h 6689084"/>
              <a:gd name="connsiteX3878" fmla="*/ 4921594 w 6689088"/>
              <a:gd name="connsiteY3878" fmla="*/ 493428 h 6689084"/>
              <a:gd name="connsiteX3879" fmla="*/ 5075541 w 6689088"/>
              <a:gd name="connsiteY3879" fmla="*/ 490889 h 6689084"/>
              <a:gd name="connsiteX3880" fmla="*/ 5121654 w 6689088"/>
              <a:gd name="connsiteY3880" fmla="*/ 537002 h 6689084"/>
              <a:gd name="connsiteX3881" fmla="*/ 5075541 w 6689088"/>
              <a:gd name="connsiteY3881" fmla="*/ 583110 h 6689084"/>
              <a:gd name="connsiteX3882" fmla="*/ 5029428 w 6689088"/>
              <a:gd name="connsiteY3882" fmla="*/ 537002 h 6689084"/>
              <a:gd name="connsiteX3883" fmla="*/ 5075541 w 6689088"/>
              <a:gd name="connsiteY3883" fmla="*/ 490889 h 6689084"/>
              <a:gd name="connsiteX3884" fmla="*/ 5229122 w 6689088"/>
              <a:gd name="connsiteY3884" fmla="*/ 488709 h 6689084"/>
              <a:gd name="connsiteX3885" fmla="*/ 5277778 w 6689088"/>
              <a:gd name="connsiteY3885" fmla="*/ 537364 h 6689084"/>
              <a:gd name="connsiteX3886" fmla="*/ 5229122 w 6689088"/>
              <a:gd name="connsiteY3886" fmla="*/ 586015 h 6689084"/>
              <a:gd name="connsiteX3887" fmla="*/ 5180472 w 6689088"/>
              <a:gd name="connsiteY3887" fmla="*/ 537364 h 6689084"/>
              <a:gd name="connsiteX3888" fmla="*/ 5229122 w 6689088"/>
              <a:gd name="connsiteY3888" fmla="*/ 488709 h 6689084"/>
              <a:gd name="connsiteX3889" fmla="*/ 5383074 w 6689088"/>
              <a:gd name="connsiteY3889" fmla="*/ 486166 h 6689084"/>
              <a:gd name="connsiteX3890" fmla="*/ 5434268 w 6689088"/>
              <a:gd name="connsiteY3890" fmla="*/ 537360 h 6689084"/>
              <a:gd name="connsiteX3891" fmla="*/ 5383074 w 6689088"/>
              <a:gd name="connsiteY3891" fmla="*/ 588554 h 6689084"/>
              <a:gd name="connsiteX3892" fmla="*/ 5331880 w 6689088"/>
              <a:gd name="connsiteY3892" fmla="*/ 537360 h 6689084"/>
              <a:gd name="connsiteX3893" fmla="*/ 5383074 w 6689088"/>
              <a:gd name="connsiteY3893" fmla="*/ 486166 h 6689084"/>
              <a:gd name="connsiteX3894" fmla="*/ 5536659 w 6689088"/>
              <a:gd name="connsiteY3894" fmla="*/ 483624 h 6689084"/>
              <a:gd name="connsiteX3895" fmla="*/ 5590034 w 6689088"/>
              <a:gd name="connsiteY3895" fmla="*/ 536998 h 6689084"/>
              <a:gd name="connsiteX3896" fmla="*/ 5536659 w 6689088"/>
              <a:gd name="connsiteY3896" fmla="*/ 590372 h 6689084"/>
              <a:gd name="connsiteX3897" fmla="*/ 5483285 w 6689088"/>
              <a:gd name="connsiteY3897" fmla="*/ 536998 h 6689084"/>
              <a:gd name="connsiteX3898" fmla="*/ 5536659 w 6689088"/>
              <a:gd name="connsiteY3898" fmla="*/ 483624 h 6689084"/>
              <a:gd name="connsiteX3899" fmla="*/ 5690606 w 6689088"/>
              <a:gd name="connsiteY3899" fmla="*/ 481085 h 6689084"/>
              <a:gd name="connsiteX3900" fmla="*/ 5746882 w 6689088"/>
              <a:gd name="connsiteY3900" fmla="*/ 537364 h 6689084"/>
              <a:gd name="connsiteX3901" fmla="*/ 5690606 w 6689088"/>
              <a:gd name="connsiteY3901" fmla="*/ 593643 h 6689084"/>
              <a:gd name="connsiteX3902" fmla="*/ 5634328 w 6689088"/>
              <a:gd name="connsiteY3902" fmla="*/ 537364 h 6689084"/>
              <a:gd name="connsiteX3903" fmla="*/ 5690606 w 6689088"/>
              <a:gd name="connsiteY3903" fmla="*/ 481085 h 6689084"/>
              <a:gd name="connsiteX3904" fmla="*/ 5844554 w 6689088"/>
              <a:gd name="connsiteY3904" fmla="*/ 478542 h 6689084"/>
              <a:gd name="connsiteX3905" fmla="*/ 5903372 w 6689088"/>
              <a:gd name="connsiteY3905" fmla="*/ 537364 h 6689084"/>
              <a:gd name="connsiteX3906" fmla="*/ 5844554 w 6689088"/>
              <a:gd name="connsiteY3906" fmla="*/ 596181 h 6689084"/>
              <a:gd name="connsiteX3907" fmla="*/ 5785732 w 6689088"/>
              <a:gd name="connsiteY3907" fmla="*/ 537364 h 6689084"/>
              <a:gd name="connsiteX3908" fmla="*/ 5844554 w 6689088"/>
              <a:gd name="connsiteY3908" fmla="*/ 478542 h 6689084"/>
              <a:gd name="connsiteX3909" fmla="*/ 5998136 w 6689088"/>
              <a:gd name="connsiteY3909" fmla="*/ 475638 h 6689084"/>
              <a:gd name="connsiteX3910" fmla="*/ 6059862 w 6689088"/>
              <a:gd name="connsiteY3910" fmla="*/ 537364 h 6689084"/>
              <a:gd name="connsiteX3911" fmla="*/ 5998136 w 6689088"/>
              <a:gd name="connsiteY3911" fmla="*/ 599086 h 6689084"/>
              <a:gd name="connsiteX3912" fmla="*/ 5936413 w 6689088"/>
              <a:gd name="connsiteY3912" fmla="*/ 537364 h 6689084"/>
              <a:gd name="connsiteX3913" fmla="*/ 5998136 w 6689088"/>
              <a:gd name="connsiteY3913" fmla="*/ 475638 h 6689084"/>
              <a:gd name="connsiteX3914" fmla="*/ 6152083 w 6689088"/>
              <a:gd name="connsiteY3914" fmla="*/ 473095 h 6689084"/>
              <a:gd name="connsiteX3915" fmla="*/ 6216348 w 6689088"/>
              <a:gd name="connsiteY3915" fmla="*/ 537360 h 6689084"/>
              <a:gd name="connsiteX3916" fmla="*/ 6152083 w 6689088"/>
              <a:gd name="connsiteY3916" fmla="*/ 601625 h 6689084"/>
              <a:gd name="connsiteX3917" fmla="*/ 6087818 w 6689088"/>
              <a:gd name="connsiteY3917" fmla="*/ 537360 h 6689084"/>
              <a:gd name="connsiteX3918" fmla="*/ 6152083 w 6689088"/>
              <a:gd name="connsiteY3918" fmla="*/ 473095 h 6689084"/>
              <a:gd name="connsiteX3919" fmla="*/ 6305672 w 6689088"/>
              <a:gd name="connsiteY3919" fmla="*/ 469828 h 6689084"/>
              <a:gd name="connsiteX3920" fmla="*/ 6373204 w 6689088"/>
              <a:gd name="connsiteY3920" fmla="*/ 537364 h 6689084"/>
              <a:gd name="connsiteX3921" fmla="*/ 6305672 w 6689088"/>
              <a:gd name="connsiteY3921" fmla="*/ 604895 h 6689084"/>
              <a:gd name="connsiteX3922" fmla="*/ 6238136 w 6689088"/>
              <a:gd name="connsiteY3922" fmla="*/ 537364 h 6689084"/>
              <a:gd name="connsiteX3923" fmla="*/ 6305672 w 6689088"/>
              <a:gd name="connsiteY3923" fmla="*/ 469828 h 6689084"/>
              <a:gd name="connsiteX3924" fmla="*/ 6459616 w 6689088"/>
              <a:gd name="connsiteY3924" fmla="*/ 467286 h 6689084"/>
              <a:gd name="connsiteX3925" fmla="*/ 6529694 w 6689088"/>
              <a:gd name="connsiteY3925" fmla="*/ 537360 h 6689084"/>
              <a:gd name="connsiteX3926" fmla="*/ 6459616 w 6689088"/>
              <a:gd name="connsiteY3926" fmla="*/ 607434 h 6689084"/>
              <a:gd name="connsiteX3927" fmla="*/ 6389542 w 6689088"/>
              <a:gd name="connsiteY3927" fmla="*/ 537360 h 6689084"/>
              <a:gd name="connsiteX3928" fmla="*/ 6459616 w 6689088"/>
              <a:gd name="connsiteY3928" fmla="*/ 467286 h 6689084"/>
              <a:gd name="connsiteX3929" fmla="*/ 6613200 w 6689088"/>
              <a:gd name="connsiteY3929" fmla="*/ 464381 h 6689084"/>
              <a:gd name="connsiteX3930" fmla="*/ 6686180 w 6689088"/>
              <a:gd name="connsiteY3930" fmla="*/ 537360 h 6689084"/>
              <a:gd name="connsiteX3931" fmla="*/ 6613200 w 6689088"/>
              <a:gd name="connsiteY3931" fmla="*/ 610339 h 6689084"/>
              <a:gd name="connsiteX3932" fmla="*/ 6540222 w 6689088"/>
              <a:gd name="connsiteY3932" fmla="*/ 537360 h 6689084"/>
              <a:gd name="connsiteX3933" fmla="*/ 6613200 w 6689088"/>
              <a:gd name="connsiteY3933" fmla="*/ 464381 h 6689084"/>
              <a:gd name="connsiteX3934" fmla="*/ 1077266 w 6689088"/>
              <a:gd name="connsiteY3934" fmla="*/ 383050 h 6689084"/>
              <a:gd name="connsiteX3935" fmla="*/ 1077628 w 6689088"/>
              <a:gd name="connsiteY3935" fmla="*/ 383412 h 6689084"/>
              <a:gd name="connsiteX3936" fmla="*/ 1077266 w 6689088"/>
              <a:gd name="connsiteY3936" fmla="*/ 383778 h 6689084"/>
              <a:gd name="connsiteX3937" fmla="*/ 1076904 w 6689088"/>
              <a:gd name="connsiteY3937" fmla="*/ 383412 h 6689084"/>
              <a:gd name="connsiteX3938" fmla="*/ 1077266 w 6689088"/>
              <a:gd name="connsiteY3938" fmla="*/ 383050 h 6689084"/>
              <a:gd name="connsiteX3939" fmla="*/ 616148 w 6689088"/>
              <a:gd name="connsiteY3939" fmla="*/ 383050 h 6689084"/>
              <a:gd name="connsiteX3940" fmla="*/ 616514 w 6689088"/>
              <a:gd name="connsiteY3940" fmla="*/ 383412 h 6689084"/>
              <a:gd name="connsiteX3941" fmla="*/ 616148 w 6689088"/>
              <a:gd name="connsiteY3941" fmla="*/ 383775 h 6689084"/>
              <a:gd name="connsiteX3942" fmla="*/ 615786 w 6689088"/>
              <a:gd name="connsiteY3942" fmla="*/ 383412 h 6689084"/>
              <a:gd name="connsiteX3943" fmla="*/ 616148 w 6689088"/>
              <a:gd name="connsiteY3943" fmla="*/ 383050 h 6689084"/>
              <a:gd name="connsiteX3944" fmla="*/ 462205 w 6689088"/>
              <a:gd name="connsiteY3944" fmla="*/ 383050 h 6689084"/>
              <a:gd name="connsiteX3945" fmla="*/ 462567 w 6689088"/>
              <a:gd name="connsiteY3945" fmla="*/ 383412 h 6689084"/>
              <a:gd name="connsiteX3946" fmla="*/ 462205 w 6689088"/>
              <a:gd name="connsiteY3946" fmla="*/ 383775 h 6689084"/>
              <a:gd name="connsiteX3947" fmla="*/ 461842 w 6689088"/>
              <a:gd name="connsiteY3947" fmla="*/ 383412 h 6689084"/>
              <a:gd name="connsiteX3948" fmla="*/ 462205 w 6689088"/>
              <a:gd name="connsiteY3948" fmla="*/ 383050 h 6689084"/>
              <a:gd name="connsiteX3949" fmla="*/ 308623 w 6689088"/>
              <a:gd name="connsiteY3949" fmla="*/ 382688 h 6689084"/>
              <a:gd name="connsiteX3950" fmla="*/ 309347 w 6689088"/>
              <a:gd name="connsiteY3950" fmla="*/ 383416 h 6689084"/>
              <a:gd name="connsiteX3951" fmla="*/ 308623 w 6689088"/>
              <a:gd name="connsiteY3951" fmla="*/ 384141 h 6689084"/>
              <a:gd name="connsiteX3952" fmla="*/ 307895 w 6689088"/>
              <a:gd name="connsiteY3952" fmla="*/ 383416 h 6689084"/>
              <a:gd name="connsiteX3953" fmla="*/ 308623 w 6689088"/>
              <a:gd name="connsiteY3953" fmla="*/ 382688 h 6689084"/>
              <a:gd name="connsiteX3954" fmla="*/ 1231213 w 6689088"/>
              <a:gd name="connsiteY3954" fmla="*/ 381964 h 6689084"/>
              <a:gd name="connsiteX3955" fmla="*/ 1232666 w 6689088"/>
              <a:gd name="connsiteY3955" fmla="*/ 383416 h 6689084"/>
              <a:gd name="connsiteX3956" fmla="*/ 1231213 w 6689088"/>
              <a:gd name="connsiteY3956" fmla="*/ 384869 h 6689084"/>
              <a:gd name="connsiteX3957" fmla="*/ 1229761 w 6689088"/>
              <a:gd name="connsiteY3957" fmla="*/ 383416 h 6689084"/>
              <a:gd name="connsiteX3958" fmla="*/ 1231213 w 6689088"/>
              <a:gd name="connsiteY3958" fmla="*/ 381964 h 6689084"/>
              <a:gd name="connsiteX3959" fmla="*/ 154672 w 6689088"/>
              <a:gd name="connsiteY3959" fmla="*/ 381964 h 6689084"/>
              <a:gd name="connsiteX3960" fmla="*/ 156124 w 6689088"/>
              <a:gd name="connsiteY3960" fmla="*/ 383416 h 6689084"/>
              <a:gd name="connsiteX3961" fmla="*/ 155343 w 6689088"/>
              <a:gd name="connsiteY3961" fmla="*/ 384197 h 6689084"/>
              <a:gd name="connsiteX3962" fmla="*/ 153884 w 6689088"/>
              <a:gd name="connsiteY3962" fmla="*/ 382752 h 6689084"/>
              <a:gd name="connsiteX3963" fmla="*/ 1384799 w 6689088"/>
              <a:gd name="connsiteY3963" fmla="*/ 381236 h 6689084"/>
              <a:gd name="connsiteX3964" fmla="*/ 1386979 w 6689088"/>
              <a:gd name="connsiteY3964" fmla="*/ 383416 h 6689084"/>
              <a:gd name="connsiteX3965" fmla="*/ 1384799 w 6689088"/>
              <a:gd name="connsiteY3965" fmla="*/ 385593 h 6689084"/>
              <a:gd name="connsiteX3966" fmla="*/ 1382622 w 6689088"/>
              <a:gd name="connsiteY3966" fmla="*/ 383416 h 6689084"/>
              <a:gd name="connsiteX3967" fmla="*/ 1384799 w 6689088"/>
              <a:gd name="connsiteY3967" fmla="*/ 381236 h 6689084"/>
              <a:gd name="connsiteX3968" fmla="*/ 1538746 w 6689088"/>
              <a:gd name="connsiteY3968" fmla="*/ 380508 h 6689084"/>
              <a:gd name="connsiteX3969" fmla="*/ 1542013 w 6689088"/>
              <a:gd name="connsiteY3969" fmla="*/ 383775 h 6689084"/>
              <a:gd name="connsiteX3970" fmla="*/ 1538746 w 6689088"/>
              <a:gd name="connsiteY3970" fmla="*/ 387045 h 6689084"/>
              <a:gd name="connsiteX3971" fmla="*/ 1535479 w 6689088"/>
              <a:gd name="connsiteY3971" fmla="*/ 383775 h 6689084"/>
              <a:gd name="connsiteX3972" fmla="*/ 1538746 w 6689088"/>
              <a:gd name="connsiteY3972" fmla="*/ 380508 h 6689084"/>
              <a:gd name="connsiteX3973" fmla="*/ 1692331 w 6689088"/>
              <a:gd name="connsiteY3973" fmla="*/ 379055 h 6689084"/>
              <a:gd name="connsiteX3974" fmla="*/ 1696688 w 6689088"/>
              <a:gd name="connsiteY3974" fmla="*/ 383412 h 6689084"/>
              <a:gd name="connsiteX3975" fmla="*/ 1692331 w 6689088"/>
              <a:gd name="connsiteY3975" fmla="*/ 387770 h 6689084"/>
              <a:gd name="connsiteX3976" fmla="*/ 1687974 w 6689088"/>
              <a:gd name="connsiteY3976" fmla="*/ 383412 h 6689084"/>
              <a:gd name="connsiteX3977" fmla="*/ 1692331 w 6689088"/>
              <a:gd name="connsiteY3977" fmla="*/ 379055 h 6689084"/>
              <a:gd name="connsiteX3978" fmla="*/ 1846279 w 6689088"/>
              <a:gd name="connsiteY3978" fmla="*/ 377607 h 6689084"/>
              <a:gd name="connsiteX3979" fmla="*/ 1852088 w 6689088"/>
              <a:gd name="connsiteY3979" fmla="*/ 383416 h 6689084"/>
              <a:gd name="connsiteX3980" fmla="*/ 1846279 w 6689088"/>
              <a:gd name="connsiteY3980" fmla="*/ 389226 h 6689084"/>
              <a:gd name="connsiteX3981" fmla="*/ 1840469 w 6689088"/>
              <a:gd name="connsiteY3981" fmla="*/ 383416 h 6689084"/>
              <a:gd name="connsiteX3982" fmla="*/ 1846279 w 6689088"/>
              <a:gd name="connsiteY3982" fmla="*/ 377607 h 6689084"/>
              <a:gd name="connsiteX3983" fmla="*/ 1999864 w 6689088"/>
              <a:gd name="connsiteY3983" fmla="*/ 376151 h 6689084"/>
              <a:gd name="connsiteX3984" fmla="*/ 2007126 w 6689088"/>
              <a:gd name="connsiteY3984" fmla="*/ 383412 h 6689084"/>
              <a:gd name="connsiteX3985" fmla="*/ 1999864 w 6689088"/>
              <a:gd name="connsiteY3985" fmla="*/ 390674 h 6689084"/>
              <a:gd name="connsiteX3986" fmla="*/ 1992602 w 6689088"/>
              <a:gd name="connsiteY3986" fmla="*/ 383412 h 6689084"/>
              <a:gd name="connsiteX3987" fmla="*/ 1999864 w 6689088"/>
              <a:gd name="connsiteY3987" fmla="*/ 376151 h 6689084"/>
              <a:gd name="connsiteX3988" fmla="*/ 2153808 w 6689088"/>
              <a:gd name="connsiteY3988" fmla="*/ 374336 h 6689084"/>
              <a:gd name="connsiteX3989" fmla="*/ 2162888 w 6689088"/>
              <a:gd name="connsiteY3989" fmla="*/ 383412 h 6689084"/>
              <a:gd name="connsiteX3990" fmla="*/ 2153808 w 6689088"/>
              <a:gd name="connsiteY3990" fmla="*/ 392492 h 6689084"/>
              <a:gd name="connsiteX3991" fmla="*/ 2144731 w 6689088"/>
              <a:gd name="connsiteY3991" fmla="*/ 383412 h 6689084"/>
              <a:gd name="connsiteX3992" fmla="*/ 2153808 w 6689088"/>
              <a:gd name="connsiteY3992" fmla="*/ 374336 h 6689084"/>
              <a:gd name="connsiteX3993" fmla="*/ 2307393 w 6689088"/>
              <a:gd name="connsiteY3993" fmla="*/ 373246 h 6689084"/>
              <a:gd name="connsiteX3994" fmla="*/ 2317559 w 6689088"/>
              <a:gd name="connsiteY3994" fmla="*/ 383412 h 6689084"/>
              <a:gd name="connsiteX3995" fmla="*/ 2307393 w 6689088"/>
              <a:gd name="connsiteY3995" fmla="*/ 393579 h 6689084"/>
              <a:gd name="connsiteX3996" fmla="*/ 2297226 w 6689088"/>
              <a:gd name="connsiteY3996" fmla="*/ 383412 h 6689084"/>
              <a:gd name="connsiteX3997" fmla="*/ 2307393 w 6689088"/>
              <a:gd name="connsiteY3997" fmla="*/ 373246 h 6689084"/>
              <a:gd name="connsiteX3998" fmla="*/ 2461340 w 6689088"/>
              <a:gd name="connsiteY3998" fmla="*/ 371432 h 6689084"/>
              <a:gd name="connsiteX3999" fmla="*/ 2473325 w 6689088"/>
              <a:gd name="connsiteY3999" fmla="*/ 383412 h 6689084"/>
              <a:gd name="connsiteX4000" fmla="*/ 2461340 w 6689088"/>
              <a:gd name="connsiteY4000" fmla="*/ 395397 h 6689084"/>
              <a:gd name="connsiteX4001" fmla="*/ 2449359 w 6689088"/>
              <a:gd name="connsiteY4001" fmla="*/ 383412 h 6689084"/>
              <a:gd name="connsiteX4002" fmla="*/ 2461340 w 6689088"/>
              <a:gd name="connsiteY4002" fmla="*/ 371432 h 6689084"/>
              <a:gd name="connsiteX4003" fmla="*/ 2614925 w 6689088"/>
              <a:gd name="connsiteY4003" fmla="*/ 369617 h 6689084"/>
              <a:gd name="connsiteX4004" fmla="*/ 2628721 w 6689088"/>
              <a:gd name="connsiteY4004" fmla="*/ 383416 h 6689084"/>
              <a:gd name="connsiteX4005" fmla="*/ 2614925 w 6689088"/>
              <a:gd name="connsiteY4005" fmla="*/ 397212 h 6689084"/>
              <a:gd name="connsiteX4006" fmla="*/ 2601126 w 6689088"/>
              <a:gd name="connsiteY4006" fmla="*/ 383416 h 6689084"/>
              <a:gd name="connsiteX4007" fmla="*/ 2614925 w 6689088"/>
              <a:gd name="connsiteY4007" fmla="*/ 369617 h 6689084"/>
              <a:gd name="connsiteX4008" fmla="*/ 2768873 w 6689088"/>
              <a:gd name="connsiteY4008" fmla="*/ 368165 h 6689084"/>
              <a:gd name="connsiteX4009" fmla="*/ 2784124 w 6689088"/>
              <a:gd name="connsiteY4009" fmla="*/ 383416 h 6689084"/>
              <a:gd name="connsiteX4010" fmla="*/ 2768873 w 6689088"/>
              <a:gd name="connsiteY4010" fmla="*/ 398664 h 6689084"/>
              <a:gd name="connsiteX4011" fmla="*/ 2753625 w 6689088"/>
              <a:gd name="connsiteY4011" fmla="*/ 383416 h 6689084"/>
              <a:gd name="connsiteX4012" fmla="*/ 2768873 w 6689088"/>
              <a:gd name="connsiteY4012" fmla="*/ 368165 h 6689084"/>
              <a:gd name="connsiteX4013" fmla="*/ 2922458 w 6689088"/>
              <a:gd name="connsiteY4013" fmla="*/ 366350 h 6689084"/>
              <a:gd name="connsiteX4014" fmla="*/ 2939524 w 6689088"/>
              <a:gd name="connsiteY4014" fmla="*/ 383416 h 6689084"/>
              <a:gd name="connsiteX4015" fmla="*/ 2922458 w 6689088"/>
              <a:gd name="connsiteY4015" fmla="*/ 400478 h 6689084"/>
              <a:gd name="connsiteX4016" fmla="*/ 2905392 w 6689088"/>
              <a:gd name="connsiteY4016" fmla="*/ 383416 h 6689084"/>
              <a:gd name="connsiteX4017" fmla="*/ 2922458 w 6689088"/>
              <a:gd name="connsiteY4017" fmla="*/ 366350 h 6689084"/>
              <a:gd name="connsiteX4018" fmla="*/ 3076406 w 6689088"/>
              <a:gd name="connsiteY4018" fmla="*/ 364170 h 6689084"/>
              <a:gd name="connsiteX4019" fmla="*/ 3095652 w 6689088"/>
              <a:gd name="connsiteY4019" fmla="*/ 383412 h 6689084"/>
              <a:gd name="connsiteX4020" fmla="*/ 3076406 w 6689088"/>
              <a:gd name="connsiteY4020" fmla="*/ 402659 h 6689084"/>
              <a:gd name="connsiteX4021" fmla="*/ 3057163 w 6689088"/>
              <a:gd name="connsiteY4021" fmla="*/ 383412 h 6689084"/>
              <a:gd name="connsiteX4022" fmla="*/ 3076406 w 6689088"/>
              <a:gd name="connsiteY4022" fmla="*/ 364170 h 6689084"/>
              <a:gd name="connsiteX4023" fmla="*/ 3230353 w 6689088"/>
              <a:gd name="connsiteY4023" fmla="*/ 361993 h 6689084"/>
              <a:gd name="connsiteX4024" fmla="*/ 3251776 w 6689088"/>
              <a:gd name="connsiteY4024" fmla="*/ 383416 h 6689084"/>
              <a:gd name="connsiteX4025" fmla="*/ 3230353 w 6689088"/>
              <a:gd name="connsiteY4025" fmla="*/ 404839 h 6689084"/>
              <a:gd name="connsiteX4026" fmla="*/ 3208930 w 6689088"/>
              <a:gd name="connsiteY4026" fmla="*/ 383416 h 6689084"/>
              <a:gd name="connsiteX4027" fmla="*/ 3230353 w 6689088"/>
              <a:gd name="connsiteY4027" fmla="*/ 361993 h 6689084"/>
              <a:gd name="connsiteX4028" fmla="*/ 3383938 w 6689088"/>
              <a:gd name="connsiteY4028" fmla="*/ 360541 h 6689084"/>
              <a:gd name="connsiteX4029" fmla="*/ 3406810 w 6689088"/>
              <a:gd name="connsiteY4029" fmla="*/ 383416 h 6689084"/>
              <a:gd name="connsiteX4030" fmla="*/ 3383938 w 6689088"/>
              <a:gd name="connsiteY4030" fmla="*/ 406292 h 6689084"/>
              <a:gd name="connsiteX4031" fmla="*/ 3361063 w 6689088"/>
              <a:gd name="connsiteY4031" fmla="*/ 383416 h 6689084"/>
              <a:gd name="connsiteX4032" fmla="*/ 3383938 w 6689088"/>
              <a:gd name="connsiteY4032" fmla="*/ 360541 h 6689084"/>
              <a:gd name="connsiteX4033" fmla="*/ 3537882 w 6689088"/>
              <a:gd name="connsiteY4033" fmla="*/ 358361 h 6689084"/>
              <a:gd name="connsiteX4034" fmla="*/ 3562937 w 6689088"/>
              <a:gd name="connsiteY4034" fmla="*/ 383412 h 6689084"/>
              <a:gd name="connsiteX4035" fmla="*/ 3537882 w 6689088"/>
              <a:gd name="connsiteY4035" fmla="*/ 408468 h 6689084"/>
              <a:gd name="connsiteX4036" fmla="*/ 3512830 w 6689088"/>
              <a:gd name="connsiteY4036" fmla="*/ 383412 h 6689084"/>
              <a:gd name="connsiteX4037" fmla="*/ 3537882 w 6689088"/>
              <a:gd name="connsiteY4037" fmla="*/ 358361 h 6689084"/>
              <a:gd name="connsiteX4038" fmla="*/ 3691471 w 6689088"/>
              <a:gd name="connsiteY4038" fmla="*/ 356184 h 6689084"/>
              <a:gd name="connsiteX4039" fmla="*/ 3718699 w 6689088"/>
              <a:gd name="connsiteY4039" fmla="*/ 383416 h 6689084"/>
              <a:gd name="connsiteX4040" fmla="*/ 3691471 w 6689088"/>
              <a:gd name="connsiteY4040" fmla="*/ 410648 h 6689084"/>
              <a:gd name="connsiteX4041" fmla="*/ 3664238 w 6689088"/>
              <a:gd name="connsiteY4041" fmla="*/ 383416 h 6689084"/>
              <a:gd name="connsiteX4042" fmla="*/ 3691471 w 6689088"/>
              <a:gd name="connsiteY4042" fmla="*/ 356184 h 6689084"/>
              <a:gd name="connsiteX4043" fmla="*/ 3845418 w 6689088"/>
              <a:gd name="connsiteY4043" fmla="*/ 353642 h 6689084"/>
              <a:gd name="connsiteX4044" fmla="*/ 3875189 w 6689088"/>
              <a:gd name="connsiteY4044" fmla="*/ 383416 h 6689084"/>
              <a:gd name="connsiteX4045" fmla="*/ 3845418 w 6689088"/>
              <a:gd name="connsiteY4045" fmla="*/ 413187 h 6689084"/>
              <a:gd name="connsiteX4046" fmla="*/ 3815644 w 6689088"/>
              <a:gd name="connsiteY4046" fmla="*/ 383416 h 6689084"/>
              <a:gd name="connsiteX4047" fmla="*/ 3845418 w 6689088"/>
              <a:gd name="connsiteY4047" fmla="*/ 353642 h 6689084"/>
              <a:gd name="connsiteX4048" fmla="*/ 3999000 w 6689088"/>
              <a:gd name="connsiteY4048" fmla="*/ 351465 h 6689084"/>
              <a:gd name="connsiteX4049" fmla="*/ 4030951 w 6689088"/>
              <a:gd name="connsiteY4049" fmla="*/ 383416 h 6689084"/>
              <a:gd name="connsiteX4050" fmla="*/ 3999000 w 6689088"/>
              <a:gd name="connsiteY4050" fmla="*/ 415368 h 6689084"/>
              <a:gd name="connsiteX4051" fmla="*/ 3967048 w 6689088"/>
              <a:gd name="connsiteY4051" fmla="*/ 383416 h 6689084"/>
              <a:gd name="connsiteX4052" fmla="*/ 3999000 w 6689088"/>
              <a:gd name="connsiteY4052" fmla="*/ 351465 h 6689084"/>
              <a:gd name="connsiteX4053" fmla="*/ 4152947 w 6689088"/>
              <a:gd name="connsiteY4053" fmla="*/ 349647 h 6689084"/>
              <a:gd name="connsiteX4054" fmla="*/ 4186716 w 6689088"/>
              <a:gd name="connsiteY4054" fmla="*/ 383412 h 6689084"/>
              <a:gd name="connsiteX4055" fmla="*/ 4152947 w 6689088"/>
              <a:gd name="connsiteY4055" fmla="*/ 417182 h 6689084"/>
              <a:gd name="connsiteX4056" fmla="*/ 4119181 w 6689088"/>
              <a:gd name="connsiteY4056" fmla="*/ 383412 h 6689084"/>
              <a:gd name="connsiteX4057" fmla="*/ 4152947 w 6689088"/>
              <a:gd name="connsiteY4057" fmla="*/ 349647 h 6689084"/>
              <a:gd name="connsiteX4058" fmla="*/ 4306532 w 6689088"/>
              <a:gd name="connsiteY4058" fmla="*/ 347108 h 6689084"/>
              <a:gd name="connsiteX4059" fmla="*/ 4342840 w 6689088"/>
              <a:gd name="connsiteY4059" fmla="*/ 383416 h 6689084"/>
              <a:gd name="connsiteX4060" fmla="*/ 4306532 w 6689088"/>
              <a:gd name="connsiteY4060" fmla="*/ 419725 h 6689084"/>
              <a:gd name="connsiteX4061" fmla="*/ 4270224 w 6689088"/>
              <a:gd name="connsiteY4061" fmla="*/ 383416 h 6689084"/>
              <a:gd name="connsiteX4062" fmla="*/ 4306532 w 6689088"/>
              <a:gd name="connsiteY4062" fmla="*/ 347108 h 6689084"/>
              <a:gd name="connsiteX4063" fmla="*/ 4460480 w 6689088"/>
              <a:gd name="connsiteY4063" fmla="*/ 344565 h 6689084"/>
              <a:gd name="connsiteX4064" fmla="*/ 4499326 w 6689088"/>
              <a:gd name="connsiteY4064" fmla="*/ 383416 h 6689084"/>
              <a:gd name="connsiteX4065" fmla="*/ 4460480 w 6689088"/>
              <a:gd name="connsiteY4065" fmla="*/ 422267 h 6689084"/>
              <a:gd name="connsiteX4066" fmla="*/ 4421629 w 6689088"/>
              <a:gd name="connsiteY4066" fmla="*/ 383416 h 6689084"/>
              <a:gd name="connsiteX4067" fmla="*/ 4460480 w 6689088"/>
              <a:gd name="connsiteY4067" fmla="*/ 344565 h 6689084"/>
              <a:gd name="connsiteX4068" fmla="*/ 4614061 w 6689088"/>
              <a:gd name="connsiteY4068" fmla="*/ 342385 h 6689084"/>
              <a:gd name="connsiteX4069" fmla="*/ 4655092 w 6689088"/>
              <a:gd name="connsiteY4069" fmla="*/ 383412 h 6689084"/>
              <a:gd name="connsiteX4070" fmla="*/ 4614061 w 6689088"/>
              <a:gd name="connsiteY4070" fmla="*/ 424440 h 6689084"/>
              <a:gd name="connsiteX4071" fmla="*/ 4573034 w 6689088"/>
              <a:gd name="connsiteY4071" fmla="*/ 383412 h 6689084"/>
              <a:gd name="connsiteX4072" fmla="*/ 4614061 w 6689088"/>
              <a:gd name="connsiteY4072" fmla="*/ 342385 h 6689084"/>
              <a:gd name="connsiteX4073" fmla="*/ 4768008 w 6689088"/>
              <a:gd name="connsiteY4073" fmla="*/ 339842 h 6689084"/>
              <a:gd name="connsiteX4074" fmla="*/ 4811578 w 6689088"/>
              <a:gd name="connsiteY4074" fmla="*/ 383412 h 6689084"/>
              <a:gd name="connsiteX4075" fmla="*/ 4768008 w 6689088"/>
              <a:gd name="connsiteY4075" fmla="*/ 426982 h 6689084"/>
              <a:gd name="connsiteX4076" fmla="*/ 4724438 w 6689088"/>
              <a:gd name="connsiteY4076" fmla="*/ 383412 h 6689084"/>
              <a:gd name="connsiteX4077" fmla="*/ 4768008 w 6689088"/>
              <a:gd name="connsiteY4077" fmla="*/ 339842 h 6689084"/>
              <a:gd name="connsiteX4078" fmla="*/ 4921598 w 6689088"/>
              <a:gd name="connsiteY4078" fmla="*/ 337304 h 6689084"/>
              <a:gd name="connsiteX4079" fmla="*/ 4967710 w 6689088"/>
              <a:gd name="connsiteY4079" fmla="*/ 383416 h 6689084"/>
              <a:gd name="connsiteX4080" fmla="*/ 4921598 w 6689088"/>
              <a:gd name="connsiteY4080" fmla="*/ 429529 h 6689084"/>
              <a:gd name="connsiteX4081" fmla="*/ 4875485 w 6689088"/>
              <a:gd name="connsiteY4081" fmla="*/ 383416 h 6689084"/>
              <a:gd name="connsiteX4082" fmla="*/ 4921598 w 6689088"/>
              <a:gd name="connsiteY4082" fmla="*/ 337304 h 6689084"/>
              <a:gd name="connsiteX4083" fmla="*/ 5075545 w 6689088"/>
              <a:gd name="connsiteY4083" fmla="*/ 334761 h 6689084"/>
              <a:gd name="connsiteX4084" fmla="*/ 5124196 w 6689088"/>
              <a:gd name="connsiteY4084" fmla="*/ 383416 h 6689084"/>
              <a:gd name="connsiteX4085" fmla="*/ 5075545 w 6689088"/>
              <a:gd name="connsiteY4085" fmla="*/ 432068 h 6689084"/>
              <a:gd name="connsiteX4086" fmla="*/ 5026890 w 6689088"/>
              <a:gd name="connsiteY4086" fmla="*/ 383416 h 6689084"/>
              <a:gd name="connsiteX4087" fmla="*/ 5075545 w 6689088"/>
              <a:gd name="connsiteY4087" fmla="*/ 334761 h 6689084"/>
              <a:gd name="connsiteX4088" fmla="*/ 5229126 w 6689088"/>
              <a:gd name="connsiteY4088" fmla="*/ 332219 h 6689084"/>
              <a:gd name="connsiteX4089" fmla="*/ 5280324 w 6689088"/>
              <a:gd name="connsiteY4089" fmla="*/ 383412 h 6689084"/>
              <a:gd name="connsiteX4090" fmla="*/ 5229126 w 6689088"/>
              <a:gd name="connsiteY4090" fmla="*/ 434610 h 6689084"/>
              <a:gd name="connsiteX4091" fmla="*/ 5177932 w 6689088"/>
              <a:gd name="connsiteY4091" fmla="*/ 383412 h 6689084"/>
              <a:gd name="connsiteX4092" fmla="*/ 5229126 w 6689088"/>
              <a:gd name="connsiteY4092" fmla="*/ 332219 h 6689084"/>
              <a:gd name="connsiteX4093" fmla="*/ 5383074 w 6689088"/>
              <a:gd name="connsiteY4093" fmla="*/ 330042 h 6689084"/>
              <a:gd name="connsiteX4094" fmla="*/ 5436448 w 6689088"/>
              <a:gd name="connsiteY4094" fmla="*/ 383416 h 6689084"/>
              <a:gd name="connsiteX4095" fmla="*/ 5383074 w 6689088"/>
              <a:gd name="connsiteY4095" fmla="*/ 436787 h 6689084"/>
              <a:gd name="connsiteX4096" fmla="*/ 5329700 w 6689088"/>
              <a:gd name="connsiteY4096" fmla="*/ 383416 h 6689084"/>
              <a:gd name="connsiteX4097" fmla="*/ 5383074 w 6689088"/>
              <a:gd name="connsiteY4097" fmla="*/ 330042 h 6689084"/>
              <a:gd name="connsiteX4098" fmla="*/ 5536659 w 6689088"/>
              <a:gd name="connsiteY4098" fmla="*/ 327137 h 6689084"/>
              <a:gd name="connsiteX4099" fmla="*/ 5592938 w 6689088"/>
              <a:gd name="connsiteY4099" fmla="*/ 383416 h 6689084"/>
              <a:gd name="connsiteX4100" fmla="*/ 5536659 w 6689088"/>
              <a:gd name="connsiteY4100" fmla="*/ 439691 h 6689084"/>
              <a:gd name="connsiteX4101" fmla="*/ 5480380 w 6689088"/>
              <a:gd name="connsiteY4101" fmla="*/ 383416 h 6689084"/>
              <a:gd name="connsiteX4102" fmla="*/ 5536659 w 6689088"/>
              <a:gd name="connsiteY4102" fmla="*/ 327137 h 6689084"/>
              <a:gd name="connsiteX4103" fmla="*/ 5690606 w 6689088"/>
              <a:gd name="connsiteY4103" fmla="*/ 324595 h 6689084"/>
              <a:gd name="connsiteX4104" fmla="*/ 5749424 w 6689088"/>
              <a:gd name="connsiteY4104" fmla="*/ 383416 h 6689084"/>
              <a:gd name="connsiteX4105" fmla="*/ 5690606 w 6689088"/>
              <a:gd name="connsiteY4105" fmla="*/ 442234 h 6689084"/>
              <a:gd name="connsiteX4106" fmla="*/ 5631785 w 6689088"/>
              <a:gd name="connsiteY4106" fmla="*/ 383416 h 6689084"/>
              <a:gd name="connsiteX4107" fmla="*/ 5690606 w 6689088"/>
              <a:gd name="connsiteY4107" fmla="*/ 324595 h 6689084"/>
              <a:gd name="connsiteX4108" fmla="*/ 5844554 w 6689088"/>
              <a:gd name="connsiteY4108" fmla="*/ 321690 h 6689084"/>
              <a:gd name="connsiteX4109" fmla="*/ 5906276 w 6689088"/>
              <a:gd name="connsiteY4109" fmla="*/ 383416 h 6689084"/>
              <a:gd name="connsiteX4110" fmla="*/ 5844554 w 6689088"/>
              <a:gd name="connsiteY4110" fmla="*/ 445139 h 6689084"/>
              <a:gd name="connsiteX4111" fmla="*/ 5782828 w 6689088"/>
              <a:gd name="connsiteY4111" fmla="*/ 383416 h 6689084"/>
              <a:gd name="connsiteX4112" fmla="*/ 5844554 w 6689088"/>
              <a:gd name="connsiteY4112" fmla="*/ 321690 h 6689084"/>
              <a:gd name="connsiteX4113" fmla="*/ 5998136 w 6689088"/>
              <a:gd name="connsiteY4113" fmla="*/ 319148 h 6689084"/>
              <a:gd name="connsiteX4114" fmla="*/ 6062404 w 6689088"/>
              <a:gd name="connsiteY4114" fmla="*/ 383412 h 6689084"/>
              <a:gd name="connsiteX4115" fmla="*/ 5998136 w 6689088"/>
              <a:gd name="connsiteY4115" fmla="*/ 447681 h 6689084"/>
              <a:gd name="connsiteX4116" fmla="*/ 5933870 w 6689088"/>
              <a:gd name="connsiteY4116" fmla="*/ 383412 h 6689084"/>
              <a:gd name="connsiteX4117" fmla="*/ 5998136 w 6689088"/>
              <a:gd name="connsiteY4117" fmla="*/ 319148 h 6689084"/>
              <a:gd name="connsiteX4118" fmla="*/ 6152086 w 6689088"/>
              <a:gd name="connsiteY4118" fmla="*/ 315881 h 6689084"/>
              <a:gd name="connsiteX4119" fmla="*/ 6219618 w 6689088"/>
              <a:gd name="connsiteY4119" fmla="*/ 383416 h 6689084"/>
              <a:gd name="connsiteX4120" fmla="*/ 6152086 w 6689088"/>
              <a:gd name="connsiteY4120" fmla="*/ 450948 h 6689084"/>
              <a:gd name="connsiteX4121" fmla="*/ 6084551 w 6689088"/>
              <a:gd name="connsiteY4121" fmla="*/ 383416 h 6689084"/>
              <a:gd name="connsiteX4122" fmla="*/ 6152086 w 6689088"/>
              <a:gd name="connsiteY4122" fmla="*/ 315881 h 6689084"/>
              <a:gd name="connsiteX4123" fmla="*/ 6305668 w 6689088"/>
              <a:gd name="connsiteY4123" fmla="*/ 313338 h 6689084"/>
              <a:gd name="connsiteX4124" fmla="*/ 6375746 w 6689088"/>
              <a:gd name="connsiteY4124" fmla="*/ 383412 h 6689084"/>
              <a:gd name="connsiteX4125" fmla="*/ 6305668 w 6689088"/>
              <a:gd name="connsiteY4125" fmla="*/ 453490 h 6689084"/>
              <a:gd name="connsiteX4126" fmla="*/ 6235594 w 6689088"/>
              <a:gd name="connsiteY4126" fmla="*/ 383412 h 6689084"/>
              <a:gd name="connsiteX4127" fmla="*/ 6305668 w 6689088"/>
              <a:gd name="connsiteY4127" fmla="*/ 313338 h 6689084"/>
              <a:gd name="connsiteX4128" fmla="*/ 6459616 w 6689088"/>
              <a:gd name="connsiteY4128" fmla="*/ 310434 h 6689084"/>
              <a:gd name="connsiteX4129" fmla="*/ 6532598 w 6689088"/>
              <a:gd name="connsiteY4129" fmla="*/ 383412 h 6689084"/>
              <a:gd name="connsiteX4130" fmla="*/ 6459616 w 6689088"/>
              <a:gd name="connsiteY4130" fmla="*/ 456395 h 6689084"/>
              <a:gd name="connsiteX4131" fmla="*/ 6386636 w 6689088"/>
              <a:gd name="connsiteY4131" fmla="*/ 383412 h 6689084"/>
              <a:gd name="connsiteX4132" fmla="*/ 6459616 w 6689088"/>
              <a:gd name="connsiteY4132" fmla="*/ 310434 h 6689084"/>
              <a:gd name="connsiteX4133" fmla="*/ 6613200 w 6689088"/>
              <a:gd name="connsiteY4133" fmla="*/ 307891 h 6689084"/>
              <a:gd name="connsiteX4134" fmla="*/ 6688722 w 6689088"/>
              <a:gd name="connsiteY4134" fmla="*/ 383412 h 6689084"/>
              <a:gd name="connsiteX4135" fmla="*/ 6613200 w 6689088"/>
              <a:gd name="connsiteY4135" fmla="*/ 458934 h 6689084"/>
              <a:gd name="connsiteX4136" fmla="*/ 6537680 w 6689088"/>
              <a:gd name="connsiteY4136" fmla="*/ 383412 h 6689084"/>
              <a:gd name="connsiteX4137" fmla="*/ 6613200 w 6689088"/>
              <a:gd name="connsiteY4137" fmla="*/ 307891 h 6689084"/>
              <a:gd name="connsiteX4138" fmla="*/ 923681 w 6689088"/>
              <a:gd name="connsiteY4138" fmla="*/ 229469 h 6689084"/>
              <a:gd name="connsiteX4139" fmla="*/ 924043 w 6689088"/>
              <a:gd name="connsiteY4139" fmla="*/ 229831 h 6689084"/>
              <a:gd name="connsiteX4140" fmla="*/ 923681 w 6689088"/>
              <a:gd name="connsiteY4140" fmla="*/ 230193 h 6689084"/>
              <a:gd name="connsiteX4141" fmla="*/ 923319 w 6689088"/>
              <a:gd name="connsiteY4141" fmla="*/ 229831 h 6689084"/>
              <a:gd name="connsiteX4142" fmla="*/ 923681 w 6689088"/>
              <a:gd name="connsiteY4142" fmla="*/ 229469 h 6689084"/>
              <a:gd name="connsiteX4143" fmla="*/ 462205 w 6689088"/>
              <a:gd name="connsiteY4143" fmla="*/ 229469 h 6689084"/>
              <a:gd name="connsiteX4144" fmla="*/ 462567 w 6689088"/>
              <a:gd name="connsiteY4144" fmla="*/ 229831 h 6689084"/>
              <a:gd name="connsiteX4145" fmla="*/ 462205 w 6689088"/>
              <a:gd name="connsiteY4145" fmla="*/ 230193 h 6689084"/>
              <a:gd name="connsiteX4146" fmla="*/ 461842 w 6689088"/>
              <a:gd name="connsiteY4146" fmla="*/ 229831 h 6689084"/>
              <a:gd name="connsiteX4147" fmla="*/ 462205 w 6689088"/>
              <a:gd name="connsiteY4147" fmla="*/ 229469 h 6689084"/>
              <a:gd name="connsiteX4148" fmla="*/ 308257 w 6689088"/>
              <a:gd name="connsiteY4148" fmla="*/ 229469 h 6689084"/>
              <a:gd name="connsiteX4149" fmla="*/ 308619 w 6689088"/>
              <a:gd name="connsiteY4149" fmla="*/ 229831 h 6689084"/>
              <a:gd name="connsiteX4150" fmla="*/ 308257 w 6689088"/>
              <a:gd name="connsiteY4150" fmla="*/ 230193 h 6689084"/>
              <a:gd name="connsiteX4151" fmla="*/ 307895 w 6689088"/>
              <a:gd name="connsiteY4151" fmla="*/ 229831 h 6689084"/>
              <a:gd name="connsiteX4152" fmla="*/ 308257 w 6689088"/>
              <a:gd name="connsiteY4152" fmla="*/ 229469 h 6689084"/>
              <a:gd name="connsiteX4153" fmla="*/ 154676 w 6689088"/>
              <a:gd name="connsiteY4153" fmla="*/ 229103 h 6689084"/>
              <a:gd name="connsiteX4154" fmla="*/ 155400 w 6689088"/>
              <a:gd name="connsiteY4154" fmla="*/ 229827 h 6689084"/>
              <a:gd name="connsiteX4155" fmla="*/ 154676 w 6689088"/>
              <a:gd name="connsiteY4155" fmla="*/ 230555 h 6689084"/>
              <a:gd name="connsiteX4156" fmla="*/ 153948 w 6689088"/>
              <a:gd name="connsiteY4156" fmla="*/ 229827 h 6689084"/>
              <a:gd name="connsiteX4157" fmla="*/ 154676 w 6689088"/>
              <a:gd name="connsiteY4157" fmla="*/ 229103 h 6689084"/>
              <a:gd name="connsiteX4158" fmla="*/ 725 w 6689088"/>
              <a:gd name="connsiteY4158" fmla="*/ 229103 h 6689084"/>
              <a:gd name="connsiteX4159" fmla="*/ 1453 w 6689088"/>
              <a:gd name="connsiteY4159" fmla="*/ 229827 h 6689084"/>
              <a:gd name="connsiteX4160" fmla="*/ 725 w 6689088"/>
              <a:gd name="connsiteY4160" fmla="*/ 230555 h 6689084"/>
              <a:gd name="connsiteX4161" fmla="*/ 0 w 6689088"/>
              <a:gd name="connsiteY4161" fmla="*/ 229827 h 6689084"/>
              <a:gd name="connsiteX4162" fmla="*/ 725 w 6689088"/>
              <a:gd name="connsiteY4162" fmla="*/ 229103 h 6689084"/>
              <a:gd name="connsiteX4163" fmla="*/ 1077266 w 6689088"/>
              <a:gd name="connsiteY4163" fmla="*/ 228379 h 6689084"/>
              <a:gd name="connsiteX4164" fmla="*/ 1078718 w 6689088"/>
              <a:gd name="connsiteY4164" fmla="*/ 229831 h 6689084"/>
              <a:gd name="connsiteX4165" fmla="*/ 1077266 w 6689088"/>
              <a:gd name="connsiteY4165" fmla="*/ 231283 h 6689084"/>
              <a:gd name="connsiteX4166" fmla="*/ 1075814 w 6689088"/>
              <a:gd name="connsiteY4166" fmla="*/ 229831 h 6689084"/>
              <a:gd name="connsiteX4167" fmla="*/ 1077266 w 6689088"/>
              <a:gd name="connsiteY4167" fmla="*/ 228379 h 6689084"/>
              <a:gd name="connsiteX4168" fmla="*/ 1231217 w 6689088"/>
              <a:gd name="connsiteY4168" fmla="*/ 227651 h 6689084"/>
              <a:gd name="connsiteX4169" fmla="*/ 1233394 w 6689088"/>
              <a:gd name="connsiteY4169" fmla="*/ 229827 h 6689084"/>
              <a:gd name="connsiteX4170" fmla="*/ 1231217 w 6689088"/>
              <a:gd name="connsiteY4170" fmla="*/ 232008 h 6689084"/>
              <a:gd name="connsiteX4171" fmla="*/ 1229037 w 6689088"/>
              <a:gd name="connsiteY4171" fmla="*/ 229827 h 6689084"/>
              <a:gd name="connsiteX4172" fmla="*/ 1231217 w 6689088"/>
              <a:gd name="connsiteY4172" fmla="*/ 227651 h 6689084"/>
              <a:gd name="connsiteX4173" fmla="*/ 1384799 w 6689088"/>
              <a:gd name="connsiteY4173" fmla="*/ 226560 h 6689084"/>
              <a:gd name="connsiteX4174" fmla="*/ 1388069 w 6689088"/>
              <a:gd name="connsiteY4174" fmla="*/ 229827 h 6689084"/>
              <a:gd name="connsiteX4175" fmla="*/ 1384799 w 6689088"/>
              <a:gd name="connsiteY4175" fmla="*/ 233098 h 6689084"/>
              <a:gd name="connsiteX4176" fmla="*/ 1381532 w 6689088"/>
              <a:gd name="connsiteY4176" fmla="*/ 229827 h 6689084"/>
              <a:gd name="connsiteX4177" fmla="*/ 1384799 w 6689088"/>
              <a:gd name="connsiteY4177" fmla="*/ 226560 h 6689084"/>
              <a:gd name="connsiteX4178" fmla="*/ 1538746 w 6689088"/>
              <a:gd name="connsiteY4178" fmla="*/ 225108 h 6689084"/>
              <a:gd name="connsiteX4179" fmla="*/ 1543103 w 6689088"/>
              <a:gd name="connsiteY4179" fmla="*/ 229465 h 6689084"/>
              <a:gd name="connsiteX4180" fmla="*/ 1538746 w 6689088"/>
              <a:gd name="connsiteY4180" fmla="*/ 233822 h 6689084"/>
              <a:gd name="connsiteX4181" fmla="*/ 1534389 w 6689088"/>
              <a:gd name="connsiteY4181" fmla="*/ 229465 h 6689084"/>
              <a:gd name="connsiteX4182" fmla="*/ 1538746 w 6689088"/>
              <a:gd name="connsiteY4182" fmla="*/ 225108 h 6689084"/>
              <a:gd name="connsiteX4183" fmla="*/ 1692331 w 6689088"/>
              <a:gd name="connsiteY4183" fmla="*/ 224022 h 6689084"/>
              <a:gd name="connsiteX4184" fmla="*/ 1698141 w 6689088"/>
              <a:gd name="connsiteY4184" fmla="*/ 229831 h 6689084"/>
              <a:gd name="connsiteX4185" fmla="*/ 1692331 w 6689088"/>
              <a:gd name="connsiteY4185" fmla="*/ 235640 h 6689084"/>
              <a:gd name="connsiteX4186" fmla="*/ 1686522 w 6689088"/>
              <a:gd name="connsiteY4186" fmla="*/ 229831 h 6689084"/>
              <a:gd name="connsiteX4187" fmla="*/ 1692331 w 6689088"/>
              <a:gd name="connsiteY4187" fmla="*/ 224022 h 6689084"/>
              <a:gd name="connsiteX4188" fmla="*/ 1846279 w 6689088"/>
              <a:gd name="connsiteY4188" fmla="*/ 222569 h 6689084"/>
              <a:gd name="connsiteX4189" fmla="*/ 1853540 w 6689088"/>
              <a:gd name="connsiteY4189" fmla="*/ 229831 h 6689084"/>
              <a:gd name="connsiteX4190" fmla="*/ 1846279 w 6689088"/>
              <a:gd name="connsiteY4190" fmla="*/ 237093 h 6689084"/>
              <a:gd name="connsiteX4191" fmla="*/ 1839017 w 6689088"/>
              <a:gd name="connsiteY4191" fmla="*/ 229831 h 6689084"/>
              <a:gd name="connsiteX4192" fmla="*/ 1846279 w 6689088"/>
              <a:gd name="connsiteY4192" fmla="*/ 222569 h 6689084"/>
              <a:gd name="connsiteX4193" fmla="*/ 1999860 w 6689088"/>
              <a:gd name="connsiteY4193" fmla="*/ 220389 h 6689084"/>
              <a:gd name="connsiteX4194" fmla="*/ 2008940 w 6689088"/>
              <a:gd name="connsiteY4194" fmla="*/ 229465 h 6689084"/>
              <a:gd name="connsiteX4195" fmla="*/ 1999860 w 6689088"/>
              <a:gd name="connsiteY4195" fmla="*/ 238545 h 6689084"/>
              <a:gd name="connsiteX4196" fmla="*/ 1990784 w 6689088"/>
              <a:gd name="connsiteY4196" fmla="*/ 229465 h 6689084"/>
              <a:gd name="connsiteX4197" fmla="*/ 1999860 w 6689088"/>
              <a:gd name="connsiteY4197" fmla="*/ 220389 h 6689084"/>
              <a:gd name="connsiteX4198" fmla="*/ 2153811 w 6689088"/>
              <a:gd name="connsiteY4198" fmla="*/ 219665 h 6689084"/>
              <a:gd name="connsiteX4199" fmla="*/ 2163978 w 6689088"/>
              <a:gd name="connsiteY4199" fmla="*/ 229831 h 6689084"/>
              <a:gd name="connsiteX4200" fmla="*/ 2153811 w 6689088"/>
              <a:gd name="connsiteY4200" fmla="*/ 239997 h 6689084"/>
              <a:gd name="connsiteX4201" fmla="*/ 2143645 w 6689088"/>
              <a:gd name="connsiteY4201" fmla="*/ 229831 h 6689084"/>
              <a:gd name="connsiteX4202" fmla="*/ 2153811 w 6689088"/>
              <a:gd name="connsiteY4202" fmla="*/ 219665 h 6689084"/>
              <a:gd name="connsiteX4203" fmla="*/ 2307393 w 6689088"/>
              <a:gd name="connsiteY4203" fmla="*/ 217484 h 6689084"/>
              <a:gd name="connsiteX4204" fmla="*/ 2319377 w 6689088"/>
              <a:gd name="connsiteY4204" fmla="*/ 229465 h 6689084"/>
              <a:gd name="connsiteX4205" fmla="*/ 2307393 w 6689088"/>
              <a:gd name="connsiteY4205" fmla="*/ 241450 h 6689084"/>
              <a:gd name="connsiteX4206" fmla="*/ 2295412 w 6689088"/>
              <a:gd name="connsiteY4206" fmla="*/ 229465 h 6689084"/>
              <a:gd name="connsiteX4207" fmla="*/ 2307393 w 6689088"/>
              <a:gd name="connsiteY4207" fmla="*/ 217484 h 6689084"/>
              <a:gd name="connsiteX4208" fmla="*/ 2461344 w 6689088"/>
              <a:gd name="connsiteY4208" fmla="*/ 215670 h 6689084"/>
              <a:gd name="connsiteX4209" fmla="*/ 2475139 w 6689088"/>
              <a:gd name="connsiteY4209" fmla="*/ 229469 h 6689084"/>
              <a:gd name="connsiteX4210" fmla="*/ 2461344 w 6689088"/>
              <a:gd name="connsiteY4210" fmla="*/ 243264 h 6689084"/>
              <a:gd name="connsiteX4211" fmla="*/ 2447545 w 6689088"/>
              <a:gd name="connsiteY4211" fmla="*/ 229469 h 6689084"/>
              <a:gd name="connsiteX4212" fmla="*/ 2461344 w 6689088"/>
              <a:gd name="connsiteY4212" fmla="*/ 215670 h 6689084"/>
              <a:gd name="connsiteX4213" fmla="*/ 2614925 w 6689088"/>
              <a:gd name="connsiteY4213" fmla="*/ 214580 h 6689084"/>
              <a:gd name="connsiteX4214" fmla="*/ 2630177 w 6689088"/>
              <a:gd name="connsiteY4214" fmla="*/ 229827 h 6689084"/>
              <a:gd name="connsiteX4215" fmla="*/ 2614925 w 6689088"/>
              <a:gd name="connsiteY4215" fmla="*/ 245079 h 6689084"/>
              <a:gd name="connsiteX4216" fmla="*/ 2599678 w 6689088"/>
              <a:gd name="connsiteY4216" fmla="*/ 229827 h 6689084"/>
              <a:gd name="connsiteX4217" fmla="*/ 2614925 w 6689088"/>
              <a:gd name="connsiteY4217" fmla="*/ 214580 h 6689084"/>
              <a:gd name="connsiteX4218" fmla="*/ 2768873 w 6689088"/>
              <a:gd name="connsiteY4218" fmla="*/ 212765 h 6689084"/>
              <a:gd name="connsiteX4219" fmla="*/ 2785939 w 6689088"/>
              <a:gd name="connsiteY4219" fmla="*/ 229831 h 6689084"/>
              <a:gd name="connsiteX4220" fmla="*/ 2768873 w 6689088"/>
              <a:gd name="connsiteY4220" fmla="*/ 246897 h 6689084"/>
              <a:gd name="connsiteX4221" fmla="*/ 2751807 w 6689088"/>
              <a:gd name="connsiteY4221" fmla="*/ 229831 h 6689084"/>
              <a:gd name="connsiteX4222" fmla="*/ 2768873 w 6689088"/>
              <a:gd name="connsiteY4222" fmla="*/ 212765 h 6689084"/>
              <a:gd name="connsiteX4223" fmla="*/ 2922458 w 6689088"/>
              <a:gd name="connsiteY4223" fmla="*/ 210589 h 6689084"/>
              <a:gd name="connsiteX4224" fmla="*/ 2941700 w 6689088"/>
              <a:gd name="connsiteY4224" fmla="*/ 229831 h 6689084"/>
              <a:gd name="connsiteX4225" fmla="*/ 2922458 w 6689088"/>
              <a:gd name="connsiteY4225" fmla="*/ 249077 h 6689084"/>
              <a:gd name="connsiteX4226" fmla="*/ 2903216 w 6689088"/>
              <a:gd name="connsiteY4226" fmla="*/ 229831 h 6689084"/>
              <a:gd name="connsiteX4227" fmla="*/ 2922458 w 6689088"/>
              <a:gd name="connsiteY4227" fmla="*/ 210589 h 6689084"/>
              <a:gd name="connsiteX4228" fmla="*/ 3076406 w 6689088"/>
              <a:gd name="connsiteY4228" fmla="*/ 208408 h 6689084"/>
              <a:gd name="connsiteX4229" fmla="*/ 3097828 w 6689088"/>
              <a:gd name="connsiteY4229" fmla="*/ 229831 h 6689084"/>
              <a:gd name="connsiteX4230" fmla="*/ 3076406 w 6689088"/>
              <a:gd name="connsiteY4230" fmla="*/ 251254 h 6689084"/>
              <a:gd name="connsiteX4231" fmla="*/ 3054982 w 6689088"/>
              <a:gd name="connsiteY4231" fmla="*/ 229831 h 6689084"/>
              <a:gd name="connsiteX4232" fmla="*/ 3076406 w 6689088"/>
              <a:gd name="connsiteY4232" fmla="*/ 208408 h 6689084"/>
              <a:gd name="connsiteX4233" fmla="*/ 3230353 w 6689088"/>
              <a:gd name="connsiteY4233" fmla="*/ 206956 h 6689084"/>
              <a:gd name="connsiteX4234" fmla="*/ 3253228 w 6689088"/>
              <a:gd name="connsiteY4234" fmla="*/ 229831 h 6689084"/>
              <a:gd name="connsiteX4235" fmla="*/ 3230353 w 6689088"/>
              <a:gd name="connsiteY4235" fmla="*/ 252706 h 6689084"/>
              <a:gd name="connsiteX4236" fmla="*/ 3207478 w 6689088"/>
              <a:gd name="connsiteY4236" fmla="*/ 229831 h 6689084"/>
              <a:gd name="connsiteX4237" fmla="*/ 3230353 w 6689088"/>
              <a:gd name="connsiteY4237" fmla="*/ 206956 h 6689084"/>
              <a:gd name="connsiteX4238" fmla="*/ 3383934 w 6689088"/>
              <a:gd name="connsiteY4238" fmla="*/ 204779 h 6689084"/>
              <a:gd name="connsiteX4239" fmla="*/ 3408986 w 6689088"/>
              <a:gd name="connsiteY4239" fmla="*/ 229831 h 6689084"/>
              <a:gd name="connsiteX4240" fmla="*/ 3383934 w 6689088"/>
              <a:gd name="connsiteY4240" fmla="*/ 254887 h 6689084"/>
              <a:gd name="connsiteX4241" fmla="*/ 3358882 w 6689088"/>
              <a:gd name="connsiteY4241" fmla="*/ 229831 h 6689084"/>
              <a:gd name="connsiteX4242" fmla="*/ 3383934 w 6689088"/>
              <a:gd name="connsiteY4242" fmla="*/ 204779 h 6689084"/>
              <a:gd name="connsiteX4243" fmla="*/ 3537886 w 6689088"/>
              <a:gd name="connsiteY4243" fmla="*/ 202599 h 6689084"/>
              <a:gd name="connsiteX4244" fmla="*/ 3565118 w 6689088"/>
              <a:gd name="connsiteY4244" fmla="*/ 229831 h 6689084"/>
              <a:gd name="connsiteX4245" fmla="*/ 3537886 w 6689088"/>
              <a:gd name="connsiteY4245" fmla="*/ 257059 h 6689084"/>
              <a:gd name="connsiteX4246" fmla="*/ 3510653 w 6689088"/>
              <a:gd name="connsiteY4246" fmla="*/ 229831 h 6689084"/>
              <a:gd name="connsiteX4247" fmla="*/ 3537886 w 6689088"/>
              <a:gd name="connsiteY4247" fmla="*/ 202599 h 6689084"/>
              <a:gd name="connsiteX4248" fmla="*/ 3691467 w 6689088"/>
              <a:gd name="connsiteY4248" fmla="*/ 200056 h 6689084"/>
              <a:gd name="connsiteX4249" fmla="*/ 3721242 w 6689088"/>
              <a:gd name="connsiteY4249" fmla="*/ 229827 h 6689084"/>
              <a:gd name="connsiteX4250" fmla="*/ 3691467 w 6689088"/>
              <a:gd name="connsiteY4250" fmla="*/ 259602 h 6689084"/>
              <a:gd name="connsiteX4251" fmla="*/ 3661696 w 6689088"/>
              <a:gd name="connsiteY4251" fmla="*/ 229827 h 6689084"/>
              <a:gd name="connsiteX4252" fmla="*/ 3691467 w 6689088"/>
              <a:gd name="connsiteY4252" fmla="*/ 200056 h 6689084"/>
              <a:gd name="connsiteX4253" fmla="*/ 3845414 w 6689088"/>
              <a:gd name="connsiteY4253" fmla="*/ 197880 h 6689084"/>
              <a:gd name="connsiteX4254" fmla="*/ 3877366 w 6689088"/>
              <a:gd name="connsiteY4254" fmla="*/ 229831 h 6689084"/>
              <a:gd name="connsiteX4255" fmla="*/ 3845414 w 6689088"/>
              <a:gd name="connsiteY4255" fmla="*/ 261782 h 6689084"/>
              <a:gd name="connsiteX4256" fmla="*/ 3813463 w 6689088"/>
              <a:gd name="connsiteY4256" fmla="*/ 229831 h 6689084"/>
              <a:gd name="connsiteX4257" fmla="*/ 3845414 w 6689088"/>
              <a:gd name="connsiteY4257" fmla="*/ 197880 h 6689084"/>
              <a:gd name="connsiteX4258" fmla="*/ 3999000 w 6689088"/>
              <a:gd name="connsiteY4258" fmla="*/ 196065 h 6689084"/>
              <a:gd name="connsiteX4259" fmla="*/ 4032769 w 6689088"/>
              <a:gd name="connsiteY4259" fmla="*/ 229831 h 6689084"/>
              <a:gd name="connsiteX4260" fmla="*/ 3999000 w 6689088"/>
              <a:gd name="connsiteY4260" fmla="*/ 263597 h 6689084"/>
              <a:gd name="connsiteX4261" fmla="*/ 3965234 w 6689088"/>
              <a:gd name="connsiteY4261" fmla="*/ 229831 h 6689084"/>
              <a:gd name="connsiteX4262" fmla="*/ 3999000 w 6689088"/>
              <a:gd name="connsiteY4262" fmla="*/ 196065 h 6689084"/>
              <a:gd name="connsiteX4263" fmla="*/ 4152947 w 6689088"/>
              <a:gd name="connsiteY4263" fmla="*/ 193523 h 6689084"/>
              <a:gd name="connsiteX4264" fmla="*/ 4189256 w 6689088"/>
              <a:gd name="connsiteY4264" fmla="*/ 229831 h 6689084"/>
              <a:gd name="connsiteX4265" fmla="*/ 4152947 w 6689088"/>
              <a:gd name="connsiteY4265" fmla="*/ 266139 h 6689084"/>
              <a:gd name="connsiteX4266" fmla="*/ 4116638 w 6689088"/>
              <a:gd name="connsiteY4266" fmla="*/ 229831 h 6689084"/>
              <a:gd name="connsiteX4267" fmla="*/ 4152947 w 6689088"/>
              <a:gd name="connsiteY4267" fmla="*/ 193523 h 6689084"/>
              <a:gd name="connsiteX4268" fmla="*/ 4306532 w 6689088"/>
              <a:gd name="connsiteY4268" fmla="*/ 190618 h 6689084"/>
              <a:gd name="connsiteX4269" fmla="*/ 4345380 w 6689088"/>
              <a:gd name="connsiteY4269" fmla="*/ 229469 h 6689084"/>
              <a:gd name="connsiteX4270" fmla="*/ 4306532 w 6689088"/>
              <a:gd name="connsiteY4270" fmla="*/ 268316 h 6689084"/>
              <a:gd name="connsiteX4271" fmla="*/ 4267682 w 6689088"/>
              <a:gd name="connsiteY4271" fmla="*/ 229469 h 6689084"/>
              <a:gd name="connsiteX4272" fmla="*/ 4306532 w 6689088"/>
              <a:gd name="connsiteY4272" fmla="*/ 190618 h 6689084"/>
              <a:gd name="connsiteX4273" fmla="*/ 4460480 w 6689088"/>
              <a:gd name="connsiteY4273" fmla="*/ 188438 h 6689084"/>
              <a:gd name="connsiteX4274" fmla="*/ 4501511 w 6689088"/>
              <a:gd name="connsiteY4274" fmla="*/ 229465 h 6689084"/>
              <a:gd name="connsiteX4275" fmla="*/ 4460480 w 6689088"/>
              <a:gd name="connsiteY4275" fmla="*/ 270493 h 6689084"/>
              <a:gd name="connsiteX4276" fmla="*/ 4419452 w 6689088"/>
              <a:gd name="connsiteY4276" fmla="*/ 229465 h 6689084"/>
              <a:gd name="connsiteX4277" fmla="*/ 4460480 w 6689088"/>
              <a:gd name="connsiteY4277" fmla="*/ 188438 h 6689084"/>
              <a:gd name="connsiteX4278" fmla="*/ 4614065 w 6689088"/>
              <a:gd name="connsiteY4278" fmla="*/ 185895 h 6689084"/>
              <a:gd name="connsiteX4279" fmla="*/ 4657635 w 6689088"/>
              <a:gd name="connsiteY4279" fmla="*/ 229465 h 6689084"/>
              <a:gd name="connsiteX4280" fmla="*/ 4614065 w 6689088"/>
              <a:gd name="connsiteY4280" fmla="*/ 273035 h 6689084"/>
              <a:gd name="connsiteX4281" fmla="*/ 4570495 w 6689088"/>
              <a:gd name="connsiteY4281" fmla="*/ 229465 h 6689084"/>
              <a:gd name="connsiteX4282" fmla="*/ 4614065 w 6689088"/>
              <a:gd name="connsiteY4282" fmla="*/ 185895 h 6689084"/>
              <a:gd name="connsiteX4283" fmla="*/ 4768012 w 6689088"/>
              <a:gd name="connsiteY4283" fmla="*/ 183356 h 6689084"/>
              <a:gd name="connsiteX4284" fmla="*/ 4814125 w 6689088"/>
              <a:gd name="connsiteY4284" fmla="*/ 229469 h 6689084"/>
              <a:gd name="connsiteX4285" fmla="*/ 4768012 w 6689088"/>
              <a:gd name="connsiteY4285" fmla="*/ 275581 h 6689084"/>
              <a:gd name="connsiteX4286" fmla="*/ 4721900 w 6689088"/>
              <a:gd name="connsiteY4286" fmla="*/ 229469 h 6689084"/>
              <a:gd name="connsiteX4287" fmla="*/ 4768012 w 6689088"/>
              <a:gd name="connsiteY4287" fmla="*/ 183356 h 6689084"/>
              <a:gd name="connsiteX4288" fmla="*/ 4921594 w 6689088"/>
              <a:gd name="connsiteY4288" fmla="*/ 180814 h 6689084"/>
              <a:gd name="connsiteX4289" fmla="*/ 4970249 w 6689088"/>
              <a:gd name="connsiteY4289" fmla="*/ 229469 h 6689084"/>
              <a:gd name="connsiteX4290" fmla="*/ 4921594 w 6689088"/>
              <a:gd name="connsiteY4290" fmla="*/ 278120 h 6689084"/>
              <a:gd name="connsiteX4291" fmla="*/ 4872942 w 6689088"/>
              <a:gd name="connsiteY4291" fmla="*/ 229469 h 6689084"/>
              <a:gd name="connsiteX4292" fmla="*/ 4921594 w 6689088"/>
              <a:gd name="connsiteY4292" fmla="*/ 180814 h 6689084"/>
              <a:gd name="connsiteX4293" fmla="*/ 5075541 w 6689088"/>
              <a:gd name="connsiteY4293" fmla="*/ 178637 h 6689084"/>
              <a:gd name="connsiteX4294" fmla="*/ 5126735 w 6689088"/>
              <a:gd name="connsiteY4294" fmla="*/ 229831 h 6689084"/>
              <a:gd name="connsiteX4295" fmla="*/ 5075541 w 6689088"/>
              <a:gd name="connsiteY4295" fmla="*/ 281025 h 6689084"/>
              <a:gd name="connsiteX4296" fmla="*/ 5024348 w 6689088"/>
              <a:gd name="connsiteY4296" fmla="*/ 229831 h 6689084"/>
              <a:gd name="connsiteX4297" fmla="*/ 5075541 w 6689088"/>
              <a:gd name="connsiteY4297" fmla="*/ 178637 h 6689084"/>
              <a:gd name="connsiteX4298" fmla="*/ 5229126 w 6689088"/>
              <a:gd name="connsiteY4298" fmla="*/ 176095 h 6689084"/>
              <a:gd name="connsiteX4299" fmla="*/ 5282500 w 6689088"/>
              <a:gd name="connsiteY4299" fmla="*/ 229469 h 6689084"/>
              <a:gd name="connsiteX4300" fmla="*/ 5229126 w 6689088"/>
              <a:gd name="connsiteY4300" fmla="*/ 282843 h 6689084"/>
              <a:gd name="connsiteX4301" fmla="*/ 5175752 w 6689088"/>
              <a:gd name="connsiteY4301" fmla="*/ 229469 h 6689084"/>
              <a:gd name="connsiteX4302" fmla="*/ 5229126 w 6689088"/>
              <a:gd name="connsiteY4302" fmla="*/ 176095 h 6689084"/>
              <a:gd name="connsiteX4303" fmla="*/ 5383074 w 6689088"/>
              <a:gd name="connsiteY4303" fmla="*/ 173552 h 6689084"/>
              <a:gd name="connsiteX4304" fmla="*/ 5439352 w 6689088"/>
              <a:gd name="connsiteY4304" fmla="*/ 229831 h 6689084"/>
              <a:gd name="connsiteX4305" fmla="*/ 5383074 w 6689088"/>
              <a:gd name="connsiteY4305" fmla="*/ 286110 h 6689084"/>
              <a:gd name="connsiteX4306" fmla="*/ 5326795 w 6689088"/>
              <a:gd name="connsiteY4306" fmla="*/ 229831 h 6689084"/>
              <a:gd name="connsiteX4307" fmla="*/ 5383074 w 6689088"/>
              <a:gd name="connsiteY4307" fmla="*/ 173552 h 6689084"/>
              <a:gd name="connsiteX4308" fmla="*/ 5536659 w 6689088"/>
              <a:gd name="connsiteY4308" fmla="*/ 171010 h 6689084"/>
              <a:gd name="connsiteX4309" fmla="*/ 5595476 w 6689088"/>
              <a:gd name="connsiteY4309" fmla="*/ 229827 h 6689084"/>
              <a:gd name="connsiteX4310" fmla="*/ 5536659 w 6689088"/>
              <a:gd name="connsiteY4310" fmla="*/ 288649 h 6689084"/>
              <a:gd name="connsiteX4311" fmla="*/ 5477838 w 6689088"/>
              <a:gd name="connsiteY4311" fmla="*/ 229827 h 6689084"/>
              <a:gd name="connsiteX4312" fmla="*/ 5536659 w 6689088"/>
              <a:gd name="connsiteY4312" fmla="*/ 171010 h 6689084"/>
              <a:gd name="connsiteX4313" fmla="*/ 5690606 w 6689088"/>
              <a:gd name="connsiteY4313" fmla="*/ 168105 h 6689084"/>
              <a:gd name="connsiteX4314" fmla="*/ 5752329 w 6689088"/>
              <a:gd name="connsiteY4314" fmla="*/ 229827 h 6689084"/>
              <a:gd name="connsiteX4315" fmla="*/ 5690606 w 6689088"/>
              <a:gd name="connsiteY4315" fmla="*/ 291553 h 6689084"/>
              <a:gd name="connsiteX4316" fmla="*/ 5628880 w 6689088"/>
              <a:gd name="connsiteY4316" fmla="*/ 229827 h 6689084"/>
              <a:gd name="connsiteX4317" fmla="*/ 5690606 w 6689088"/>
              <a:gd name="connsiteY4317" fmla="*/ 168105 h 6689084"/>
              <a:gd name="connsiteX4318" fmla="*/ 5844554 w 6689088"/>
              <a:gd name="connsiteY4318" fmla="*/ 165566 h 6689084"/>
              <a:gd name="connsiteX4319" fmla="*/ 5908822 w 6689088"/>
              <a:gd name="connsiteY4319" fmla="*/ 229831 h 6689084"/>
              <a:gd name="connsiteX4320" fmla="*/ 5844554 w 6689088"/>
              <a:gd name="connsiteY4320" fmla="*/ 294100 h 6689084"/>
              <a:gd name="connsiteX4321" fmla="*/ 5780289 w 6689088"/>
              <a:gd name="connsiteY4321" fmla="*/ 229831 h 6689084"/>
              <a:gd name="connsiteX4322" fmla="*/ 5844554 w 6689088"/>
              <a:gd name="connsiteY4322" fmla="*/ 165566 h 6689084"/>
              <a:gd name="connsiteX4323" fmla="*/ 5998136 w 6689088"/>
              <a:gd name="connsiteY4323" fmla="*/ 162296 h 6689084"/>
              <a:gd name="connsiteX4324" fmla="*/ 6065671 w 6689088"/>
              <a:gd name="connsiteY4324" fmla="*/ 229831 h 6689084"/>
              <a:gd name="connsiteX4325" fmla="*/ 5998136 w 6689088"/>
              <a:gd name="connsiteY4325" fmla="*/ 297363 h 6689084"/>
              <a:gd name="connsiteX4326" fmla="*/ 5930604 w 6689088"/>
              <a:gd name="connsiteY4326" fmla="*/ 229827 h 6689084"/>
              <a:gd name="connsiteX4327" fmla="*/ 5998136 w 6689088"/>
              <a:gd name="connsiteY4327" fmla="*/ 162296 h 6689084"/>
              <a:gd name="connsiteX4328" fmla="*/ 6152086 w 6689088"/>
              <a:gd name="connsiteY4328" fmla="*/ 159757 h 6689084"/>
              <a:gd name="connsiteX4329" fmla="*/ 6222160 w 6689088"/>
              <a:gd name="connsiteY4329" fmla="*/ 229831 h 6689084"/>
              <a:gd name="connsiteX4330" fmla="*/ 6152086 w 6689088"/>
              <a:gd name="connsiteY4330" fmla="*/ 299909 h 6689084"/>
              <a:gd name="connsiteX4331" fmla="*/ 6082008 w 6689088"/>
              <a:gd name="connsiteY4331" fmla="*/ 229831 h 6689084"/>
              <a:gd name="connsiteX4332" fmla="*/ 6152086 w 6689088"/>
              <a:gd name="connsiteY4332" fmla="*/ 159757 h 6689084"/>
              <a:gd name="connsiteX4333" fmla="*/ 6305668 w 6689088"/>
              <a:gd name="connsiteY4333" fmla="*/ 156852 h 6689084"/>
              <a:gd name="connsiteX4334" fmla="*/ 6378650 w 6689088"/>
              <a:gd name="connsiteY4334" fmla="*/ 229831 h 6689084"/>
              <a:gd name="connsiteX4335" fmla="*/ 6305668 w 6689088"/>
              <a:gd name="connsiteY4335" fmla="*/ 302814 h 6689084"/>
              <a:gd name="connsiteX4336" fmla="*/ 6232689 w 6689088"/>
              <a:gd name="connsiteY4336" fmla="*/ 229831 h 6689084"/>
              <a:gd name="connsiteX4337" fmla="*/ 6305668 w 6689088"/>
              <a:gd name="connsiteY4337" fmla="*/ 156852 h 6689084"/>
              <a:gd name="connsiteX4338" fmla="*/ 6613200 w 6689088"/>
              <a:gd name="connsiteY4338" fmla="*/ 153947 h 6689084"/>
              <a:gd name="connsiteX4339" fmla="*/ 6689088 w 6689088"/>
              <a:gd name="connsiteY4339" fmla="*/ 229831 h 6689084"/>
              <a:gd name="connsiteX4340" fmla="*/ 6613200 w 6689088"/>
              <a:gd name="connsiteY4340" fmla="*/ 305718 h 6689084"/>
              <a:gd name="connsiteX4341" fmla="*/ 6537317 w 6689088"/>
              <a:gd name="connsiteY4341" fmla="*/ 229831 h 6689084"/>
              <a:gd name="connsiteX4342" fmla="*/ 6613200 w 6689088"/>
              <a:gd name="connsiteY4342" fmla="*/ 153947 h 6689084"/>
              <a:gd name="connsiteX4343" fmla="*/ 6459616 w 6689088"/>
              <a:gd name="connsiteY4343" fmla="*/ 153944 h 6689084"/>
              <a:gd name="connsiteX4344" fmla="*/ 6535137 w 6689088"/>
              <a:gd name="connsiteY4344" fmla="*/ 229465 h 6689084"/>
              <a:gd name="connsiteX4345" fmla="*/ 6459616 w 6689088"/>
              <a:gd name="connsiteY4345" fmla="*/ 304986 h 6689084"/>
              <a:gd name="connsiteX4346" fmla="*/ 6384094 w 6689088"/>
              <a:gd name="connsiteY4346" fmla="*/ 229465 h 6689084"/>
              <a:gd name="connsiteX4347" fmla="*/ 6459616 w 6689088"/>
              <a:gd name="connsiteY4347" fmla="*/ 153944 h 6689084"/>
              <a:gd name="connsiteX4348" fmla="*/ 923681 w 6689088"/>
              <a:gd name="connsiteY4348" fmla="*/ 75518 h 6689084"/>
              <a:gd name="connsiteX4349" fmla="*/ 924043 w 6689088"/>
              <a:gd name="connsiteY4349" fmla="*/ 75880 h 6689084"/>
              <a:gd name="connsiteX4350" fmla="*/ 923681 w 6689088"/>
              <a:gd name="connsiteY4350" fmla="*/ 76242 h 6689084"/>
              <a:gd name="connsiteX4351" fmla="*/ 923319 w 6689088"/>
              <a:gd name="connsiteY4351" fmla="*/ 75880 h 6689084"/>
              <a:gd name="connsiteX4352" fmla="*/ 923681 w 6689088"/>
              <a:gd name="connsiteY4352" fmla="*/ 75518 h 6689084"/>
              <a:gd name="connsiteX4353" fmla="*/ 462205 w 6689088"/>
              <a:gd name="connsiteY4353" fmla="*/ 75518 h 6689084"/>
              <a:gd name="connsiteX4354" fmla="*/ 462567 w 6689088"/>
              <a:gd name="connsiteY4354" fmla="*/ 75880 h 6689084"/>
              <a:gd name="connsiteX4355" fmla="*/ 462205 w 6689088"/>
              <a:gd name="connsiteY4355" fmla="*/ 76242 h 6689084"/>
              <a:gd name="connsiteX4356" fmla="*/ 461842 w 6689088"/>
              <a:gd name="connsiteY4356" fmla="*/ 75880 h 6689084"/>
              <a:gd name="connsiteX4357" fmla="*/ 462205 w 6689088"/>
              <a:gd name="connsiteY4357" fmla="*/ 75518 h 6689084"/>
              <a:gd name="connsiteX4358" fmla="*/ 308257 w 6689088"/>
              <a:gd name="connsiteY4358" fmla="*/ 75518 h 6689084"/>
              <a:gd name="connsiteX4359" fmla="*/ 308619 w 6689088"/>
              <a:gd name="connsiteY4359" fmla="*/ 75880 h 6689084"/>
              <a:gd name="connsiteX4360" fmla="*/ 308257 w 6689088"/>
              <a:gd name="connsiteY4360" fmla="*/ 76242 h 6689084"/>
              <a:gd name="connsiteX4361" fmla="*/ 307895 w 6689088"/>
              <a:gd name="connsiteY4361" fmla="*/ 75880 h 6689084"/>
              <a:gd name="connsiteX4362" fmla="*/ 308257 w 6689088"/>
              <a:gd name="connsiteY4362" fmla="*/ 75518 h 6689084"/>
              <a:gd name="connsiteX4363" fmla="*/ 154676 w 6689088"/>
              <a:gd name="connsiteY4363" fmla="*/ 75155 h 6689084"/>
              <a:gd name="connsiteX4364" fmla="*/ 155400 w 6689088"/>
              <a:gd name="connsiteY4364" fmla="*/ 75880 h 6689084"/>
              <a:gd name="connsiteX4365" fmla="*/ 154676 w 6689088"/>
              <a:gd name="connsiteY4365" fmla="*/ 76608 h 6689084"/>
              <a:gd name="connsiteX4366" fmla="*/ 153948 w 6689088"/>
              <a:gd name="connsiteY4366" fmla="*/ 75880 h 6689084"/>
              <a:gd name="connsiteX4367" fmla="*/ 154676 w 6689088"/>
              <a:gd name="connsiteY4367" fmla="*/ 75155 h 6689084"/>
              <a:gd name="connsiteX4368" fmla="*/ 725 w 6689088"/>
              <a:gd name="connsiteY4368" fmla="*/ 75155 h 6689084"/>
              <a:gd name="connsiteX4369" fmla="*/ 1453 w 6689088"/>
              <a:gd name="connsiteY4369" fmla="*/ 75880 h 6689084"/>
              <a:gd name="connsiteX4370" fmla="*/ 725 w 6689088"/>
              <a:gd name="connsiteY4370" fmla="*/ 76608 h 6689084"/>
              <a:gd name="connsiteX4371" fmla="*/ 0 w 6689088"/>
              <a:gd name="connsiteY4371" fmla="*/ 75880 h 6689084"/>
              <a:gd name="connsiteX4372" fmla="*/ 725 w 6689088"/>
              <a:gd name="connsiteY4372" fmla="*/ 75155 h 6689084"/>
              <a:gd name="connsiteX4373" fmla="*/ 1077266 w 6689088"/>
              <a:gd name="connsiteY4373" fmla="*/ 74431 h 6689084"/>
              <a:gd name="connsiteX4374" fmla="*/ 1078718 w 6689088"/>
              <a:gd name="connsiteY4374" fmla="*/ 75884 h 6689084"/>
              <a:gd name="connsiteX4375" fmla="*/ 1077266 w 6689088"/>
              <a:gd name="connsiteY4375" fmla="*/ 77336 h 6689084"/>
              <a:gd name="connsiteX4376" fmla="*/ 1075814 w 6689088"/>
              <a:gd name="connsiteY4376" fmla="*/ 75884 h 6689084"/>
              <a:gd name="connsiteX4377" fmla="*/ 1077266 w 6689088"/>
              <a:gd name="connsiteY4377" fmla="*/ 74431 h 6689084"/>
              <a:gd name="connsiteX4378" fmla="*/ 1231217 w 6689088"/>
              <a:gd name="connsiteY4378" fmla="*/ 73703 h 6689084"/>
              <a:gd name="connsiteX4379" fmla="*/ 1233394 w 6689088"/>
              <a:gd name="connsiteY4379" fmla="*/ 75880 h 6689084"/>
              <a:gd name="connsiteX4380" fmla="*/ 1231217 w 6689088"/>
              <a:gd name="connsiteY4380" fmla="*/ 78060 h 6689084"/>
              <a:gd name="connsiteX4381" fmla="*/ 1229037 w 6689088"/>
              <a:gd name="connsiteY4381" fmla="*/ 75880 h 6689084"/>
              <a:gd name="connsiteX4382" fmla="*/ 1231217 w 6689088"/>
              <a:gd name="connsiteY4382" fmla="*/ 73703 h 6689084"/>
              <a:gd name="connsiteX4383" fmla="*/ 1384799 w 6689088"/>
              <a:gd name="connsiteY4383" fmla="*/ 72617 h 6689084"/>
              <a:gd name="connsiteX4384" fmla="*/ 1388069 w 6689088"/>
              <a:gd name="connsiteY4384" fmla="*/ 75884 h 6689084"/>
              <a:gd name="connsiteX4385" fmla="*/ 1384799 w 6689088"/>
              <a:gd name="connsiteY4385" fmla="*/ 79154 h 6689084"/>
              <a:gd name="connsiteX4386" fmla="*/ 1381532 w 6689088"/>
              <a:gd name="connsiteY4386" fmla="*/ 75884 h 6689084"/>
              <a:gd name="connsiteX4387" fmla="*/ 1384799 w 6689088"/>
              <a:gd name="connsiteY4387" fmla="*/ 72617 h 6689084"/>
              <a:gd name="connsiteX4388" fmla="*/ 1538746 w 6689088"/>
              <a:gd name="connsiteY4388" fmla="*/ 71527 h 6689084"/>
              <a:gd name="connsiteX4389" fmla="*/ 1543103 w 6689088"/>
              <a:gd name="connsiteY4389" fmla="*/ 75884 h 6689084"/>
              <a:gd name="connsiteX4390" fmla="*/ 1538746 w 6689088"/>
              <a:gd name="connsiteY4390" fmla="*/ 80241 h 6689084"/>
              <a:gd name="connsiteX4391" fmla="*/ 1534389 w 6689088"/>
              <a:gd name="connsiteY4391" fmla="*/ 75884 h 6689084"/>
              <a:gd name="connsiteX4392" fmla="*/ 1538746 w 6689088"/>
              <a:gd name="connsiteY4392" fmla="*/ 71527 h 6689084"/>
              <a:gd name="connsiteX4393" fmla="*/ 1692331 w 6689088"/>
              <a:gd name="connsiteY4393" fmla="*/ 70074 h 6689084"/>
              <a:gd name="connsiteX4394" fmla="*/ 1698141 w 6689088"/>
              <a:gd name="connsiteY4394" fmla="*/ 75884 h 6689084"/>
              <a:gd name="connsiteX4395" fmla="*/ 1692331 w 6689088"/>
              <a:gd name="connsiteY4395" fmla="*/ 81693 h 6689084"/>
              <a:gd name="connsiteX4396" fmla="*/ 1686522 w 6689088"/>
              <a:gd name="connsiteY4396" fmla="*/ 75884 h 6689084"/>
              <a:gd name="connsiteX4397" fmla="*/ 1692331 w 6689088"/>
              <a:gd name="connsiteY4397" fmla="*/ 70074 h 6689084"/>
              <a:gd name="connsiteX4398" fmla="*/ 1846279 w 6689088"/>
              <a:gd name="connsiteY4398" fmla="*/ 68622 h 6689084"/>
              <a:gd name="connsiteX4399" fmla="*/ 1853540 w 6689088"/>
              <a:gd name="connsiteY4399" fmla="*/ 75884 h 6689084"/>
              <a:gd name="connsiteX4400" fmla="*/ 1846279 w 6689088"/>
              <a:gd name="connsiteY4400" fmla="*/ 83145 h 6689084"/>
              <a:gd name="connsiteX4401" fmla="*/ 1839017 w 6689088"/>
              <a:gd name="connsiteY4401" fmla="*/ 75884 h 6689084"/>
              <a:gd name="connsiteX4402" fmla="*/ 1846279 w 6689088"/>
              <a:gd name="connsiteY4402" fmla="*/ 68622 h 6689084"/>
              <a:gd name="connsiteX4403" fmla="*/ 1999860 w 6689088"/>
              <a:gd name="connsiteY4403" fmla="*/ 66807 h 6689084"/>
              <a:gd name="connsiteX4404" fmla="*/ 2008940 w 6689088"/>
              <a:gd name="connsiteY4404" fmla="*/ 75884 h 6689084"/>
              <a:gd name="connsiteX4405" fmla="*/ 1999860 w 6689088"/>
              <a:gd name="connsiteY4405" fmla="*/ 84960 h 6689084"/>
              <a:gd name="connsiteX4406" fmla="*/ 1990784 w 6689088"/>
              <a:gd name="connsiteY4406" fmla="*/ 75884 h 6689084"/>
              <a:gd name="connsiteX4407" fmla="*/ 1999860 w 6689088"/>
              <a:gd name="connsiteY4407" fmla="*/ 66807 h 6689084"/>
              <a:gd name="connsiteX4408" fmla="*/ 2153811 w 6689088"/>
              <a:gd name="connsiteY4408" fmla="*/ 65717 h 6689084"/>
              <a:gd name="connsiteX4409" fmla="*/ 2163978 w 6689088"/>
              <a:gd name="connsiteY4409" fmla="*/ 75884 h 6689084"/>
              <a:gd name="connsiteX4410" fmla="*/ 2153811 w 6689088"/>
              <a:gd name="connsiteY4410" fmla="*/ 86050 h 6689084"/>
              <a:gd name="connsiteX4411" fmla="*/ 2143645 w 6689088"/>
              <a:gd name="connsiteY4411" fmla="*/ 75884 h 6689084"/>
              <a:gd name="connsiteX4412" fmla="*/ 2153811 w 6689088"/>
              <a:gd name="connsiteY4412" fmla="*/ 65717 h 6689084"/>
              <a:gd name="connsiteX4413" fmla="*/ 2307393 w 6689088"/>
              <a:gd name="connsiteY4413" fmla="*/ 63899 h 6689084"/>
              <a:gd name="connsiteX4414" fmla="*/ 2319377 w 6689088"/>
              <a:gd name="connsiteY4414" fmla="*/ 75880 h 6689084"/>
              <a:gd name="connsiteX4415" fmla="*/ 2307393 w 6689088"/>
              <a:gd name="connsiteY4415" fmla="*/ 87864 h 6689084"/>
              <a:gd name="connsiteX4416" fmla="*/ 2295412 w 6689088"/>
              <a:gd name="connsiteY4416" fmla="*/ 75880 h 6689084"/>
              <a:gd name="connsiteX4417" fmla="*/ 2307393 w 6689088"/>
              <a:gd name="connsiteY4417" fmla="*/ 63899 h 6689084"/>
              <a:gd name="connsiteX4418" fmla="*/ 2461344 w 6689088"/>
              <a:gd name="connsiteY4418" fmla="*/ 62085 h 6689084"/>
              <a:gd name="connsiteX4419" fmla="*/ 2475139 w 6689088"/>
              <a:gd name="connsiteY4419" fmla="*/ 75880 h 6689084"/>
              <a:gd name="connsiteX4420" fmla="*/ 2461344 w 6689088"/>
              <a:gd name="connsiteY4420" fmla="*/ 89679 h 6689084"/>
              <a:gd name="connsiteX4421" fmla="*/ 2447545 w 6689088"/>
              <a:gd name="connsiteY4421" fmla="*/ 75880 h 6689084"/>
              <a:gd name="connsiteX4422" fmla="*/ 2461344 w 6689088"/>
              <a:gd name="connsiteY4422" fmla="*/ 62085 h 6689084"/>
              <a:gd name="connsiteX4423" fmla="*/ 2614925 w 6689088"/>
              <a:gd name="connsiteY4423" fmla="*/ 60632 h 6689084"/>
              <a:gd name="connsiteX4424" fmla="*/ 2630177 w 6689088"/>
              <a:gd name="connsiteY4424" fmla="*/ 75880 h 6689084"/>
              <a:gd name="connsiteX4425" fmla="*/ 2614925 w 6689088"/>
              <a:gd name="connsiteY4425" fmla="*/ 91131 h 6689084"/>
              <a:gd name="connsiteX4426" fmla="*/ 2599678 w 6689088"/>
              <a:gd name="connsiteY4426" fmla="*/ 75880 h 6689084"/>
              <a:gd name="connsiteX4427" fmla="*/ 2614925 w 6689088"/>
              <a:gd name="connsiteY4427" fmla="*/ 60632 h 6689084"/>
              <a:gd name="connsiteX4428" fmla="*/ 2768873 w 6689088"/>
              <a:gd name="connsiteY4428" fmla="*/ 58818 h 6689084"/>
              <a:gd name="connsiteX4429" fmla="*/ 2785939 w 6689088"/>
              <a:gd name="connsiteY4429" fmla="*/ 75884 h 6689084"/>
              <a:gd name="connsiteX4430" fmla="*/ 2768873 w 6689088"/>
              <a:gd name="connsiteY4430" fmla="*/ 92946 h 6689084"/>
              <a:gd name="connsiteX4431" fmla="*/ 2751807 w 6689088"/>
              <a:gd name="connsiteY4431" fmla="*/ 75884 h 6689084"/>
              <a:gd name="connsiteX4432" fmla="*/ 2768873 w 6689088"/>
              <a:gd name="connsiteY4432" fmla="*/ 58818 h 6689084"/>
              <a:gd name="connsiteX4433" fmla="*/ 2922458 w 6689088"/>
              <a:gd name="connsiteY4433" fmla="*/ 56641 h 6689084"/>
              <a:gd name="connsiteX4434" fmla="*/ 2941700 w 6689088"/>
              <a:gd name="connsiteY4434" fmla="*/ 75884 h 6689084"/>
              <a:gd name="connsiteX4435" fmla="*/ 2922458 w 6689088"/>
              <a:gd name="connsiteY4435" fmla="*/ 95126 h 6689084"/>
              <a:gd name="connsiteX4436" fmla="*/ 2903216 w 6689088"/>
              <a:gd name="connsiteY4436" fmla="*/ 75884 h 6689084"/>
              <a:gd name="connsiteX4437" fmla="*/ 2922458 w 6689088"/>
              <a:gd name="connsiteY4437" fmla="*/ 56641 h 6689084"/>
              <a:gd name="connsiteX4438" fmla="*/ 3076406 w 6689088"/>
              <a:gd name="connsiteY4438" fmla="*/ 54461 h 6689084"/>
              <a:gd name="connsiteX4439" fmla="*/ 3097828 w 6689088"/>
              <a:gd name="connsiteY4439" fmla="*/ 75884 h 6689084"/>
              <a:gd name="connsiteX4440" fmla="*/ 3076406 w 6689088"/>
              <a:gd name="connsiteY4440" fmla="*/ 97303 h 6689084"/>
              <a:gd name="connsiteX4441" fmla="*/ 3054982 w 6689088"/>
              <a:gd name="connsiteY4441" fmla="*/ 75884 h 6689084"/>
              <a:gd name="connsiteX4442" fmla="*/ 3076406 w 6689088"/>
              <a:gd name="connsiteY4442" fmla="*/ 54461 h 6689084"/>
              <a:gd name="connsiteX4443" fmla="*/ 3230353 w 6689088"/>
              <a:gd name="connsiteY4443" fmla="*/ 53008 h 6689084"/>
              <a:gd name="connsiteX4444" fmla="*/ 3253228 w 6689088"/>
              <a:gd name="connsiteY4444" fmla="*/ 75884 h 6689084"/>
              <a:gd name="connsiteX4445" fmla="*/ 3230353 w 6689088"/>
              <a:gd name="connsiteY4445" fmla="*/ 98759 h 6689084"/>
              <a:gd name="connsiteX4446" fmla="*/ 3207478 w 6689088"/>
              <a:gd name="connsiteY4446" fmla="*/ 75884 h 6689084"/>
              <a:gd name="connsiteX4447" fmla="*/ 3230353 w 6689088"/>
              <a:gd name="connsiteY4447" fmla="*/ 53008 h 6689084"/>
              <a:gd name="connsiteX4448" fmla="*/ 3383934 w 6689088"/>
              <a:gd name="connsiteY4448" fmla="*/ 50832 h 6689084"/>
              <a:gd name="connsiteX4449" fmla="*/ 3408986 w 6689088"/>
              <a:gd name="connsiteY4449" fmla="*/ 75884 h 6689084"/>
              <a:gd name="connsiteX4450" fmla="*/ 3383934 w 6689088"/>
              <a:gd name="connsiteY4450" fmla="*/ 100939 h 6689084"/>
              <a:gd name="connsiteX4451" fmla="*/ 3358882 w 6689088"/>
              <a:gd name="connsiteY4451" fmla="*/ 75884 h 6689084"/>
              <a:gd name="connsiteX4452" fmla="*/ 3383934 w 6689088"/>
              <a:gd name="connsiteY4452" fmla="*/ 50832 h 6689084"/>
              <a:gd name="connsiteX4453" fmla="*/ 3537886 w 6689088"/>
              <a:gd name="connsiteY4453" fmla="*/ 48651 h 6689084"/>
              <a:gd name="connsiteX4454" fmla="*/ 3565118 w 6689088"/>
              <a:gd name="connsiteY4454" fmla="*/ 75884 h 6689084"/>
              <a:gd name="connsiteX4455" fmla="*/ 3537886 w 6689088"/>
              <a:gd name="connsiteY4455" fmla="*/ 103112 h 6689084"/>
              <a:gd name="connsiteX4456" fmla="*/ 3510653 w 6689088"/>
              <a:gd name="connsiteY4456" fmla="*/ 75884 h 6689084"/>
              <a:gd name="connsiteX4457" fmla="*/ 3537886 w 6689088"/>
              <a:gd name="connsiteY4457" fmla="*/ 48651 h 6689084"/>
              <a:gd name="connsiteX4458" fmla="*/ 3691467 w 6689088"/>
              <a:gd name="connsiteY4458" fmla="*/ 46109 h 6689084"/>
              <a:gd name="connsiteX4459" fmla="*/ 3721242 w 6689088"/>
              <a:gd name="connsiteY4459" fmla="*/ 75880 h 6689084"/>
              <a:gd name="connsiteX4460" fmla="*/ 3691467 w 6689088"/>
              <a:gd name="connsiteY4460" fmla="*/ 105655 h 6689084"/>
              <a:gd name="connsiteX4461" fmla="*/ 3661696 w 6689088"/>
              <a:gd name="connsiteY4461" fmla="*/ 75880 h 6689084"/>
              <a:gd name="connsiteX4462" fmla="*/ 3691467 w 6689088"/>
              <a:gd name="connsiteY4462" fmla="*/ 46109 h 6689084"/>
              <a:gd name="connsiteX4463" fmla="*/ 3845414 w 6689088"/>
              <a:gd name="connsiteY4463" fmla="*/ 43932 h 6689084"/>
              <a:gd name="connsiteX4464" fmla="*/ 3877366 w 6689088"/>
              <a:gd name="connsiteY4464" fmla="*/ 75884 h 6689084"/>
              <a:gd name="connsiteX4465" fmla="*/ 3845414 w 6689088"/>
              <a:gd name="connsiteY4465" fmla="*/ 107835 h 6689084"/>
              <a:gd name="connsiteX4466" fmla="*/ 3813463 w 6689088"/>
              <a:gd name="connsiteY4466" fmla="*/ 75884 h 6689084"/>
              <a:gd name="connsiteX4467" fmla="*/ 3845414 w 6689088"/>
              <a:gd name="connsiteY4467" fmla="*/ 43932 h 6689084"/>
              <a:gd name="connsiteX4468" fmla="*/ 3999000 w 6689088"/>
              <a:gd name="connsiteY4468" fmla="*/ 42118 h 6689084"/>
              <a:gd name="connsiteX4469" fmla="*/ 4032769 w 6689088"/>
              <a:gd name="connsiteY4469" fmla="*/ 75884 h 6689084"/>
              <a:gd name="connsiteX4470" fmla="*/ 3999000 w 6689088"/>
              <a:gd name="connsiteY4470" fmla="*/ 109653 h 6689084"/>
              <a:gd name="connsiteX4471" fmla="*/ 3965234 w 6689088"/>
              <a:gd name="connsiteY4471" fmla="*/ 75884 h 6689084"/>
              <a:gd name="connsiteX4472" fmla="*/ 3999000 w 6689088"/>
              <a:gd name="connsiteY4472" fmla="*/ 42118 h 6689084"/>
              <a:gd name="connsiteX4473" fmla="*/ 4152947 w 6689088"/>
              <a:gd name="connsiteY4473" fmla="*/ 39575 h 6689084"/>
              <a:gd name="connsiteX4474" fmla="*/ 4189256 w 6689088"/>
              <a:gd name="connsiteY4474" fmla="*/ 75884 h 6689084"/>
              <a:gd name="connsiteX4475" fmla="*/ 4152947 w 6689088"/>
              <a:gd name="connsiteY4475" fmla="*/ 112192 h 6689084"/>
              <a:gd name="connsiteX4476" fmla="*/ 4116638 w 6689088"/>
              <a:gd name="connsiteY4476" fmla="*/ 75884 h 6689084"/>
              <a:gd name="connsiteX4477" fmla="*/ 4152947 w 6689088"/>
              <a:gd name="connsiteY4477" fmla="*/ 39575 h 6689084"/>
              <a:gd name="connsiteX4478" fmla="*/ 4306532 w 6689088"/>
              <a:gd name="connsiteY4478" fmla="*/ 37033 h 6689084"/>
              <a:gd name="connsiteX4479" fmla="*/ 4345380 w 6689088"/>
              <a:gd name="connsiteY4479" fmla="*/ 75884 h 6689084"/>
              <a:gd name="connsiteX4480" fmla="*/ 4306532 w 6689088"/>
              <a:gd name="connsiteY4480" fmla="*/ 114735 h 6689084"/>
              <a:gd name="connsiteX4481" fmla="*/ 4267682 w 6689088"/>
              <a:gd name="connsiteY4481" fmla="*/ 75884 h 6689084"/>
              <a:gd name="connsiteX4482" fmla="*/ 4306532 w 6689088"/>
              <a:gd name="connsiteY4482" fmla="*/ 37033 h 6689084"/>
              <a:gd name="connsiteX4483" fmla="*/ 4460480 w 6689088"/>
              <a:gd name="connsiteY4483" fmla="*/ 34852 h 6689084"/>
              <a:gd name="connsiteX4484" fmla="*/ 4501511 w 6689088"/>
              <a:gd name="connsiteY4484" fmla="*/ 75880 h 6689084"/>
              <a:gd name="connsiteX4485" fmla="*/ 4460480 w 6689088"/>
              <a:gd name="connsiteY4485" fmla="*/ 116911 h 6689084"/>
              <a:gd name="connsiteX4486" fmla="*/ 4419452 w 6689088"/>
              <a:gd name="connsiteY4486" fmla="*/ 75880 h 6689084"/>
              <a:gd name="connsiteX4487" fmla="*/ 4460480 w 6689088"/>
              <a:gd name="connsiteY4487" fmla="*/ 34852 h 6689084"/>
              <a:gd name="connsiteX4488" fmla="*/ 4614065 w 6689088"/>
              <a:gd name="connsiteY4488" fmla="*/ 32314 h 6689084"/>
              <a:gd name="connsiteX4489" fmla="*/ 4657635 w 6689088"/>
              <a:gd name="connsiteY4489" fmla="*/ 75884 h 6689084"/>
              <a:gd name="connsiteX4490" fmla="*/ 4614065 w 6689088"/>
              <a:gd name="connsiteY4490" fmla="*/ 119454 h 6689084"/>
              <a:gd name="connsiteX4491" fmla="*/ 4570495 w 6689088"/>
              <a:gd name="connsiteY4491" fmla="*/ 75884 h 6689084"/>
              <a:gd name="connsiteX4492" fmla="*/ 4614065 w 6689088"/>
              <a:gd name="connsiteY4492" fmla="*/ 32314 h 6689084"/>
              <a:gd name="connsiteX4493" fmla="*/ 4768012 w 6689088"/>
              <a:gd name="connsiteY4493" fmla="*/ 29771 h 6689084"/>
              <a:gd name="connsiteX4494" fmla="*/ 4814125 w 6689088"/>
              <a:gd name="connsiteY4494" fmla="*/ 75884 h 6689084"/>
              <a:gd name="connsiteX4495" fmla="*/ 4768012 w 6689088"/>
              <a:gd name="connsiteY4495" fmla="*/ 121996 h 6689084"/>
              <a:gd name="connsiteX4496" fmla="*/ 4721900 w 6689088"/>
              <a:gd name="connsiteY4496" fmla="*/ 75884 h 6689084"/>
              <a:gd name="connsiteX4497" fmla="*/ 4768012 w 6689088"/>
              <a:gd name="connsiteY4497" fmla="*/ 29771 h 6689084"/>
              <a:gd name="connsiteX4498" fmla="*/ 4921594 w 6689088"/>
              <a:gd name="connsiteY4498" fmla="*/ 27228 h 6689084"/>
              <a:gd name="connsiteX4499" fmla="*/ 4970249 w 6689088"/>
              <a:gd name="connsiteY4499" fmla="*/ 75880 h 6689084"/>
              <a:gd name="connsiteX4500" fmla="*/ 4921594 w 6689088"/>
              <a:gd name="connsiteY4500" fmla="*/ 124535 h 6689084"/>
              <a:gd name="connsiteX4501" fmla="*/ 4872942 w 6689088"/>
              <a:gd name="connsiteY4501" fmla="*/ 75880 h 6689084"/>
              <a:gd name="connsiteX4502" fmla="*/ 4921594 w 6689088"/>
              <a:gd name="connsiteY4502" fmla="*/ 27228 h 6689084"/>
              <a:gd name="connsiteX4503" fmla="*/ 5075541 w 6689088"/>
              <a:gd name="connsiteY4503" fmla="*/ 24690 h 6689084"/>
              <a:gd name="connsiteX4504" fmla="*/ 5126735 w 6689088"/>
              <a:gd name="connsiteY4504" fmla="*/ 75884 h 6689084"/>
              <a:gd name="connsiteX4505" fmla="*/ 5075541 w 6689088"/>
              <a:gd name="connsiteY4505" fmla="*/ 127081 h 6689084"/>
              <a:gd name="connsiteX4506" fmla="*/ 5024348 w 6689088"/>
              <a:gd name="connsiteY4506" fmla="*/ 75884 h 6689084"/>
              <a:gd name="connsiteX4507" fmla="*/ 5075541 w 6689088"/>
              <a:gd name="connsiteY4507" fmla="*/ 24690 h 6689084"/>
              <a:gd name="connsiteX4508" fmla="*/ 5229126 w 6689088"/>
              <a:gd name="connsiteY4508" fmla="*/ 22509 h 6689084"/>
              <a:gd name="connsiteX4509" fmla="*/ 5282500 w 6689088"/>
              <a:gd name="connsiteY4509" fmla="*/ 75884 h 6689084"/>
              <a:gd name="connsiteX4510" fmla="*/ 5229126 w 6689088"/>
              <a:gd name="connsiteY4510" fmla="*/ 129258 h 6689084"/>
              <a:gd name="connsiteX4511" fmla="*/ 5175752 w 6689088"/>
              <a:gd name="connsiteY4511" fmla="*/ 75884 h 6689084"/>
              <a:gd name="connsiteX4512" fmla="*/ 5229126 w 6689088"/>
              <a:gd name="connsiteY4512" fmla="*/ 22509 h 6689084"/>
              <a:gd name="connsiteX4513" fmla="*/ 5383074 w 6689088"/>
              <a:gd name="connsiteY4513" fmla="*/ 19605 h 6689084"/>
              <a:gd name="connsiteX4514" fmla="*/ 5439352 w 6689088"/>
              <a:gd name="connsiteY4514" fmla="*/ 75884 h 6689084"/>
              <a:gd name="connsiteX4515" fmla="*/ 5383074 w 6689088"/>
              <a:gd name="connsiteY4515" fmla="*/ 132162 h 6689084"/>
              <a:gd name="connsiteX4516" fmla="*/ 5326795 w 6689088"/>
              <a:gd name="connsiteY4516" fmla="*/ 75884 h 6689084"/>
              <a:gd name="connsiteX4517" fmla="*/ 5383074 w 6689088"/>
              <a:gd name="connsiteY4517" fmla="*/ 19605 h 6689084"/>
              <a:gd name="connsiteX4518" fmla="*/ 5536659 w 6689088"/>
              <a:gd name="connsiteY4518" fmla="*/ 17062 h 6689084"/>
              <a:gd name="connsiteX4519" fmla="*/ 5595476 w 6689088"/>
              <a:gd name="connsiteY4519" fmla="*/ 75880 h 6689084"/>
              <a:gd name="connsiteX4520" fmla="*/ 5536659 w 6689088"/>
              <a:gd name="connsiteY4520" fmla="*/ 134701 h 6689084"/>
              <a:gd name="connsiteX4521" fmla="*/ 5477838 w 6689088"/>
              <a:gd name="connsiteY4521" fmla="*/ 75880 h 6689084"/>
              <a:gd name="connsiteX4522" fmla="*/ 5536659 w 6689088"/>
              <a:gd name="connsiteY4522" fmla="*/ 17062 h 6689084"/>
              <a:gd name="connsiteX4523" fmla="*/ 5690606 w 6689088"/>
              <a:gd name="connsiteY4523" fmla="*/ 14157 h 6689084"/>
              <a:gd name="connsiteX4524" fmla="*/ 5752329 w 6689088"/>
              <a:gd name="connsiteY4524" fmla="*/ 75880 h 6689084"/>
              <a:gd name="connsiteX4525" fmla="*/ 5690606 w 6689088"/>
              <a:gd name="connsiteY4525" fmla="*/ 137606 h 6689084"/>
              <a:gd name="connsiteX4526" fmla="*/ 5628880 w 6689088"/>
              <a:gd name="connsiteY4526" fmla="*/ 75880 h 6689084"/>
              <a:gd name="connsiteX4527" fmla="*/ 5690606 w 6689088"/>
              <a:gd name="connsiteY4527" fmla="*/ 14157 h 6689084"/>
              <a:gd name="connsiteX4528" fmla="*/ 5844554 w 6689088"/>
              <a:gd name="connsiteY4528" fmla="*/ 11619 h 6689084"/>
              <a:gd name="connsiteX4529" fmla="*/ 5908822 w 6689088"/>
              <a:gd name="connsiteY4529" fmla="*/ 75884 h 6689084"/>
              <a:gd name="connsiteX4530" fmla="*/ 5844554 w 6689088"/>
              <a:gd name="connsiteY4530" fmla="*/ 140152 h 6689084"/>
              <a:gd name="connsiteX4531" fmla="*/ 5780289 w 6689088"/>
              <a:gd name="connsiteY4531" fmla="*/ 75884 h 6689084"/>
              <a:gd name="connsiteX4532" fmla="*/ 5844554 w 6689088"/>
              <a:gd name="connsiteY4532" fmla="*/ 11619 h 6689084"/>
              <a:gd name="connsiteX4533" fmla="*/ 5998136 w 6689088"/>
              <a:gd name="connsiteY4533" fmla="*/ 8348 h 6689084"/>
              <a:gd name="connsiteX4534" fmla="*/ 6065671 w 6689088"/>
              <a:gd name="connsiteY4534" fmla="*/ 75884 h 6689084"/>
              <a:gd name="connsiteX4535" fmla="*/ 5998136 w 6689088"/>
              <a:gd name="connsiteY4535" fmla="*/ 143415 h 6689084"/>
              <a:gd name="connsiteX4536" fmla="*/ 5930604 w 6689088"/>
              <a:gd name="connsiteY4536" fmla="*/ 75884 h 6689084"/>
              <a:gd name="connsiteX4537" fmla="*/ 5998136 w 6689088"/>
              <a:gd name="connsiteY4537" fmla="*/ 8348 h 6689084"/>
              <a:gd name="connsiteX4538" fmla="*/ 6152086 w 6689088"/>
              <a:gd name="connsiteY4538" fmla="*/ 5809 h 6689084"/>
              <a:gd name="connsiteX4539" fmla="*/ 6222160 w 6689088"/>
              <a:gd name="connsiteY4539" fmla="*/ 75884 h 6689084"/>
              <a:gd name="connsiteX4540" fmla="*/ 6152086 w 6689088"/>
              <a:gd name="connsiteY4540" fmla="*/ 145962 h 6689084"/>
              <a:gd name="connsiteX4541" fmla="*/ 6082008 w 6689088"/>
              <a:gd name="connsiteY4541" fmla="*/ 75884 h 6689084"/>
              <a:gd name="connsiteX4542" fmla="*/ 6152086 w 6689088"/>
              <a:gd name="connsiteY4542" fmla="*/ 5809 h 6689084"/>
              <a:gd name="connsiteX4543" fmla="*/ 6305668 w 6689088"/>
              <a:gd name="connsiteY4543" fmla="*/ 2905 h 6689084"/>
              <a:gd name="connsiteX4544" fmla="*/ 6378650 w 6689088"/>
              <a:gd name="connsiteY4544" fmla="*/ 75884 h 6689084"/>
              <a:gd name="connsiteX4545" fmla="*/ 6305668 w 6689088"/>
              <a:gd name="connsiteY4545" fmla="*/ 148866 h 6689084"/>
              <a:gd name="connsiteX4546" fmla="*/ 6232689 w 6689088"/>
              <a:gd name="connsiteY4546" fmla="*/ 75884 h 6689084"/>
              <a:gd name="connsiteX4547" fmla="*/ 6305668 w 6689088"/>
              <a:gd name="connsiteY4547" fmla="*/ 2905 h 6689084"/>
              <a:gd name="connsiteX4548" fmla="*/ 6459616 w 6689088"/>
              <a:gd name="connsiteY4548" fmla="*/ 362 h 6689084"/>
              <a:gd name="connsiteX4549" fmla="*/ 6535137 w 6689088"/>
              <a:gd name="connsiteY4549" fmla="*/ 75884 h 6689084"/>
              <a:gd name="connsiteX4550" fmla="*/ 6459616 w 6689088"/>
              <a:gd name="connsiteY4550" fmla="*/ 151405 h 6689084"/>
              <a:gd name="connsiteX4551" fmla="*/ 6384094 w 6689088"/>
              <a:gd name="connsiteY4551" fmla="*/ 75884 h 6689084"/>
              <a:gd name="connsiteX4552" fmla="*/ 6459616 w 6689088"/>
              <a:gd name="connsiteY4552" fmla="*/ 362 h 6689084"/>
              <a:gd name="connsiteX4553" fmla="*/ 6613200 w 6689088"/>
              <a:gd name="connsiteY4553" fmla="*/ 0 h 6689084"/>
              <a:gd name="connsiteX4554" fmla="*/ 6689088 w 6689088"/>
              <a:gd name="connsiteY4554" fmla="*/ 75884 h 6689084"/>
              <a:gd name="connsiteX4555" fmla="*/ 6613200 w 6689088"/>
              <a:gd name="connsiteY4555" fmla="*/ 151771 h 6689084"/>
              <a:gd name="connsiteX4556" fmla="*/ 6537317 w 6689088"/>
              <a:gd name="connsiteY4556" fmla="*/ 75884 h 6689084"/>
              <a:gd name="connsiteX4557" fmla="*/ 6613200 w 6689088"/>
              <a:gd name="connsiteY4557" fmla="*/ 0 h 6689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Lst>
            <a:rect l="l" t="t" r="r" b="b"/>
            <a:pathLst>
              <a:path w="6689088" h="6689084">
                <a:moveTo>
                  <a:pt x="6613200" y="6687632"/>
                </a:moveTo>
                <a:cubicBezTo>
                  <a:pt x="6613563" y="6687632"/>
                  <a:pt x="6613929" y="6687994"/>
                  <a:pt x="6613929" y="6688360"/>
                </a:cubicBezTo>
                <a:cubicBezTo>
                  <a:pt x="6613929" y="6688722"/>
                  <a:pt x="6613200" y="6689084"/>
                  <a:pt x="6613200" y="6689084"/>
                </a:cubicBezTo>
                <a:cubicBezTo>
                  <a:pt x="6612838" y="6689084"/>
                  <a:pt x="6612476" y="6688722"/>
                  <a:pt x="6612476" y="6688360"/>
                </a:cubicBezTo>
                <a:cubicBezTo>
                  <a:pt x="6612476" y="6687994"/>
                  <a:pt x="6612838" y="6687632"/>
                  <a:pt x="6613200" y="6687632"/>
                </a:cubicBezTo>
                <a:close/>
                <a:moveTo>
                  <a:pt x="6613200" y="6534050"/>
                </a:moveTo>
                <a:cubicBezTo>
                  <a:pt x="6613566" y="6534050"/>
                  <a:pt x="6613566" y="6534050"/>
                  <a:pt x="6613566" y="6534413"/>
                </a:cubicBezTo>
                <a:cubicBezTo>
                  <a:pt x="6613566" y="6534775"/>
                  <a:pt x="6613200" y="6534775"/>
                  <a:pt x="6613200" y="6534775"/>
                </a:cubicBezTo>
                <a:cubicBezTo>
                  <a:pt x="6612838" y="6534775"/>
                  <a:pt x="6612838" y="6534775"/>
                  <a:pt x="6612838" y="6534413"/>
                </a:cubicBezTo>
                <a:cubicBezTo>
                  <a:pt x="6612838" y="6534050"/>
                  <a:pt x="6612838" y="6534050"/>
                  <a:pt x="6613200" y="6534050"/>
                </a:cubicBezTo>
                <a:close/>
                <a:moveTo>
                  <a:pt x="6459619" y="6533684"/>
                </a:moveTo>
                <a:cubicBezTo>
                  <a:pt x="6460020" y="6533684"/>
                  <a:pt x="6460344" y="6534009"/>
                  <a:pt x="6460344" y="6534413"/>
                </a:cubicBezTo>
                <a:cubicBezTo>
                  <a:pt x="6460344" y="6534813"/>
                  <a:pt x="6460020" y="6535137"/>
                  <a:pt x="6459619" y="6535137"/>
                </a:cubicBezTo>
                <a:cubicBezTo>
                  <a:pt x="6459215" y="6535137"/>
                  <a:pt x="6458891" y="6534813"/>
                  <a:pt x="6458891" y="6534413"/>
                </a:cubicBezTo>
                <a:cubicBezTo>
                  <a:pt x="6458891" y="6534009"/>
                  <a:pt x="6459215" y="6533684"/>
                  <a:pt x="6459619" y="6533684"/>
                </a:cubicBezTo>
                <a:close/>
                <a:moveTo>
                  <a:pt x="6613200" y="6380465"/>
                </a:moveTo>
                <a:cubicBezTo>
                  <a:pt x="6613566" y="6380465"/>
                  <a:pt x="6613566" y="6380465"/>
                  <a:pt x="6613566" y="6380827"/>
                </a:cubicBezTo>
                <a:cubicBezTo>
                  <a:pt x="6613566" y="6381193"/>
                  <a:pt x="6613200" y="6381193"/>
                  <a:pt x="6613200" y="6381193"/>
                </a:cubicBezTo>
                <a:cubicBezTo>
                  <a:pt x="6612838" y="6381193"/>
                  <a:pt x="6612838" y="6381193"/>
                  <a:pt x="6612838" y="6380827"/>
                </a:cubicBezTo>
                <a:cubicBezTo>
                  <a:pt x="6612838" y="6380465"/>
                  <a:pt x="6612838" y="6380465"/>
                  <a:pt x="6613200" y="6380465"/>
                </a:cubicBezTo>
                <a:close/>
                <a:moveTo>
                  <a:pt x="6459616" y="6380465"/>
                </a:moveTo>
                <a:cubicBezTo>
                  <a:pt x="6459982" y="6380465"/>
                  <a:pt x="6459982" y="6380465"/>
                  <a:pt x="6459982" y="6380827"/>
                </a:cubicBezTo>
                <a:cubicBezTo>
                  <a:pt x="6459982" y="6381193"/>
                  <a:pt x="6459616" y="6381193"/>
                  <a:pt x="6459616" y="6381193"/>
                </a:cubicBezTo>
                <a:cubicBezTo>
                  <a:pt x="6459254" y="6381193"/>
                  <a:pt x="6459254" y="6381193"/>
                  <a:pt x="6459254" y="6380827"/>
                </a:cubicBezTo>
                <a:cubicBezTo>
                  <a:pt x="6459254" y="6380465"/>
                  <a:pt x="6459254" y="6380465"/>
                  <a:pt x="6459616" y="6380465"/>
                </a:cubicBezTo>
                <a:close/>
                <a:moveTo>
                  <a:pt x="6305668" y="6380103"/>
                </a:moveTo>
                <a:cubicBezTo>
                  <a:pt x="6306068" y="6380103"/>
                  <a:pt x="6306396" y="6380427"/>
                  <a:pt x="6306396" y="6380831"/>
                </a:cubicBezTo>
                <a:cubicBezTo>
                  <a:pt x="6306396" y="6381231"/>
                  <a:pt x="6306068" y="6381555"/>
                  <a:pt x="6305668" y="6381555"/>
                </a:cubicBezTo>
                <a:cubicBezTo>
                  <a:pt x="6305268" y="6381555"/>
                  <a:pt x="6304940" y="6381231"/>
                  <a:pt x="6304940" y="6380831"/>
                </a:cubicBezTo>
                <a:cubicBezTo>
                  <a:pt x="6304940" y="6380427"/>
                  <a:pt x="6305268" y="6380103"/>
                  <a:pt x="6305668" y="6380103"/>
                </a:cubicBezTo>
                <a:close/>
                <a:moveTo>
                  <a:pt x="6459616" y="6226518"/>
                </a:moveTo>
                <a:cubicBezTo>
                  <a:pt x="6459982" y="6226518"/>
                  <a:pt x="6459982" y="6226518"/>
                  <a:pt x="6459982" y="6226880"/>
                </a:cubicBezTo>
                <a:cubicBezTo>
                  <a:pt x="6459982" y="6227242"/>
                  <a:pt x="6459616" y="6227242"/>
                  <a:pt x="6459616" y="6227242"/>
                </a:cubicBezTo>
                <a:cubicBezTo>
                  <a:pt x="6459254" y="6227242"/>
                  <a:pt x="6459254" y="6227242"/>
                  <a:pt x="6459254" y="6226880"/>
                </a:cubicBezTo>
                <a:cubicBezTo>
                  <a:pt x="6459254" y="6226518"/>
                  <a:pt x="6459254" y="6226518"/>
                  <a:pt x="6459616" y="6226518"/>
                </a:cubicBezTo>
                <a:close/>
                <a:moveTo>
                  <a:pt x="6305668" y="6226518"/>
                </a:moveTo>
                <a:cubicBezTo>
                  <a:pt x="6306034" y="6226518"/>
                  <a:pt x="6306034" y="6226518"/>
                  <a:pt x="6306034" y="6226880"/>
                </a:cubicBezTo>
                <a:cubicBezTo>
                  <a:pt x="6306034" y="6227242"/>
                  <a:pt x="6305668" y="6227242"/>
                  <a:pt x="6305668" y="6227242"/>
                </a:cubicBezTo>
                <a:cubicBezTo>
                  <a:pt x="6305306" y="6227242"/>
                  <a:pt x="6305306" y="6227242"/>
                  <a:pt x="6305306" y="6226880"/>
                </a:cubicBezTo>
                <a:cubicBezTo>
                  <a:pt x="6305306" y="6226518"/>
                  <a:pt x="6305306" y="6226518"/>
                  <a:pt x="6305668" y="6226518"/>
                </a:cubicBezTo>
                <a:close/>
                <a:moveTo>
                  <a:pt x="6152083" y="6226156"/>
                </a:moveTo>
                <a:cubicBezTo>
                  <a:pt x="6152483" y="6226156"/>
                  <a:pt x="6152811" y="6226480"/>
                  <a:pt x="6152811" y="6226884"/>
                </a:cubicBezTo>
                <a:cubicBezTo>
                  <a:pt x="6152811" y="6227284"/>
                  <a:pt x="6152483" y="6227608"/>
                  <a:pt x="6152083" y="6227608"/>
                </a:cubicBezTo>
                <a:cubicBezTo>
                  <a:pt x="6151682" y="6227608"/>
                  <a:pt x="6151358" y="6227284"/>
                  <a:pt x="6151358" y="6226884"/>
                </a:cubicBezTo>
                <a:cubicBezTo>
                  <a:pt x="6151358" y="6226480"/>
                  <a:pt x="6151682" y="6226156"/>
                  <a:pt x="6152083" y="6226156"/>
                </a:cubicBezTo>
                <a:close/>
                <a:moveTo>
                  <a:pt x="6305668" y="6072933"/>
                </a:moveTo>
                <a:cubicBezTo>
                  <a:pt x="6306034" y="6072933"/>
                  <a:pt x="6306034" y="6072933"/>
                  <a:pt x="6306034" y="6073295"/>
                </a:cubicBezTo>
                <a:cubicBezTo>
                  <a:pt x="6306034" y="6073661"/>
                  <a:pt x="6305668" y="6073661"/>
                  <a:pt x="6305668" y="6073661"/>
                </a:cubicBezTo>
                <a:cubicBezTo>
                  <a:pt x="6305306" y="6073661"/>
                  <a:pt x="6305306" y="6073661"/>
                  <a:pt x="6305306" y="6073295"/>
                </a:cubicBezTo>
                <a:cubicBezTo>
                  <a:pt x="6305306" y="6072933"/>
                  <a:pt x="6305306" y="6072933"/>
                  <a:pt x="6305668" y="6072933"/>
                </a:cubicBezTo>
                <a:close/>
                <a:moveTo>
                  <a:pt x="6152086" y="6072933"/>
                </a:moveTo>
                <a:cubicBezTo>
                  <a:pt x="6152448" y="6072933"/>
                  <a:pt x="6152448" y="6072933"/>
                  <a:pt x="6152448" y="6073295"/>
                </a:cubicBezTo>
                <a:cubicBezTo>
                  <a:pt x="6152448" y="6073661"/>
                  <a:pt x="6152086" y="6073661"/>
                  <a:pt x="6152086" y="6073661"/>
                </a:cubicBezTo>
                <a:cubicBezTo>
                  <a:pt x="6151724" y="6073661"/>
                  <a:pt x="6151724" y="6073661"/>
                  <a:pt x="6151724" y="6073295"/>
                </a:cubicBezTo>
                <a:cubicBezTo>
                  <a:pt x="6151724" y="6072933"/>
                  <a:pt x="6151724" y="6072933"/>
                  <a:pt x="6152086" y="6072933"/>
                </a:cubicBezTo>
                <a:close/>
                <a:moveTo>
                  <a:pt x="5998136" y="6072570"/>
                </a:moveTo>
                <a:cubicBezTo>
                  <a:pt x="5998540" y="6072570"/>
                  <a:pt x="5998864" y="6072894"/>
                  <a:pt x="5998864" y="6073298"/>
                </a:cubicBezTo>
                <a:cubicBezTo>
                  <a:pt x="5998864" y="6073699"/>
                  <a:pt x="5998540" y="6074023"/>
                  <a:pt x="5998136" y="6074023"/>
                </a:cubicBezTo>
                <a:cubicBezTo>
                  <a:pt x="5997735" y="6074023"/>
                  <a:pt x="5997411" y="6073699"/>
                  <a:pt x="5997411" y="6073298"/>
                </a:cubicBezTo>
                <a:cubicBezTo>
                  <a:pt x="5997411" y="6072894"/>
                  <a:pt x="5997735" y="6072570"/>
                  <a:pt x="5998136" y="6072570"/>
                </a:cubicBezTo>
                <a:close/>
                <a:moveTo>
                  <a:pt x="6613200" y="5918985"/>
                </a:moveTo>
                <a:cubicBezTo>
                  <a:pt x="6613566" y="5918985"/>
                  <a:pt x="6613566" y="5918985"/>
                  <a:pt x="6613566" y="5919347"/>
                </a:cubicBezTo>
                <a:cubicBezTo>
                  <a:pt x="6613566" y="5919709"/>
                  <a:pt x="6613200" y="5919709"/>
                  <a:pt x="6613200" y="5919709"/>
                </a:cubicBezTo>
                <a:cubicBezTo>
                  <a:pt x="6612838" y="5919709"/>
                  <a:pt x="6612838" y="5919709"/>
                  <a:pt x="6612838" y="5919347"/>
                </a:cubicBezTo>
                <a:cubicBezTo>
                  <a:pt x="6612838" y="5918985"/>
                  <a:pt x="6612838" y="5918985"/>
                  <a:pt x="6613200" y="5918985"/>
                </a:cubicBezTo>
                <a:close/>
                <a:moveTo>
                  <a:pt x="6152086" y="5918985"/>
                </a:moveTo>
                <a:cubicBezTo>
                  <a:pt x="6152448" y="5918985"/>
                  <a:pt x="6152448" y="5918985"/>
                  <a:pt x="6152448" y="5919347"/>
                </a:cubicBezTo>
                <a:cubicBezTo>
                  <a:pt x="6152448" y="5919709"/>
                  <a:pt x="6152086" y="5919709"/>
                  <a:pt x="6152086" y="5919709"/>
                </a:cubicBezTo>
                <a:cubicBezTo>
                  <a:pt x="6151724" y="5919709"/>
                  <a:pt x="6151724" y="5919709"/>
                  <a:pt x="6151724" y="5919347"/>
                </a:cubicBezTo>
                <a:cubicBezTo>
                  <a:pt x="6151724" y="5918985"/>
                  <a:pt x="6151724" y="5918985"/>
                  <a:pt x="6152086" y="5918985"/>
                </a:cubicBezTo>
                <a:close/>
                <a:moveTo>
                  <a:pt x="5998136" y="5918985"/>
                </a:moveTo>
                <a:cubicBezTo>
                  <a:pt x="5998502" y="5918985"/>
                  <a:pt x="5998502" y="5918985"/>
                  <a:pt x="5998502" y="5919347"/>
                </a:cubicBezTo>
                <a:cubicBezTo>
                  <a:pt x="5998502" y="5919709"/>
                  <a:pt x="5998136" y="5919709"/>
                  <a:pt x="5998136" y="5919709"/>
                </a:cubicBezTo>
                <a:cubicBezTo>
                  <a:pt x="5997773" y="5919709"/>
                  <a:pt x="5997773" y="5919709"/>
                  <a:pt x="5997773" y="5919347"/>
                </a:cubicBezTo>
                <a:cubicBezTo>
                  <a:pt x="5997773" y="5918985"/>
                  <a:pt x="5997773" y="5918985"/>
                  <a:pt x="5998136" y="5918985"/>
                </a:cubicBezTo>
                <a:close/>
                <a:moveTo>
                  <a:pt x="5844554" y="5918623"/>
                </a:moveTo>
                <a:cubicBezTo>
                  <a:pt x="5844954" y="5918623"/>
                  <a:pt x="5845278" y="5918947"/>
                  <a:pt x="5845278" y="5919347"/>
                </a:cubicBezTo>
                <a:cubicBezTo>
                  <a:pt x="5845278" y="5919751"/>
                  <a:pt x="5844954" y="5920075"/>
                  <a:pt x="5844554" y="5920075"/>
                </a:cubicBezTo>
                <a:cubicBezTo>
                  <a:pt x="5844150" y="5920075"/>
                  <a:pt x="5843826" y="5919751"/>
                  <a:pt x="5843826" y="5919347"/>
                </a:cubicBezTo>
                <a:cubicBezTo>
                  <a:pt x="5843826" y="5918947"/>
                  <a:pt x="5844150" y="5918623"/>
                  <a:pt x="5844554" y="5918623"/>
                </a:cubicBezTo>
                <a:close/>
                <a:moveTo>
                  <a:pt x="6459616" y="5765400"/>
                </a:moveTo>
                <a:cubicBezTo>
                  <a:pt x="6459982" y="5765400"/>
                  <a:pt x="6459982" y="5765400"/>
                  <a:pt x="6459982" y="5765762"/>
                </a:cubicBezTo>
                <a:cubicBezTo>
                  <a:pt x="6459982" y="5766128"/>
                  <a:pt x="6459616" y="5766128"/>
                  <a:pt x="6459616" y="5766128"/>
                </a:cubicBezTo>
                <a:cubicBezTo>
                  <a:pt x="6459254" y="5766128"/>
                  <a:pt x="6459254" y="5766128"/>
                  <a:pt x="6459254" y="5765762"/>
                </a:cubicBezTo>
                <a:cubicBezTo>
                  <a:pt x="6459254" y="5765400"/>
                  <a:pt x="6459254" y="5765400"/>
                  <a:pt x="6459616" y="5765400"/>
                </a:cubicBezTo>
                <a:close/>
                <a:moveTo>
                  <a:pt x="5998136" y="5765400"/>
                </a:moveTo>
                <a:cubicBezTo>
                  <a:pt x="5998502" y="5765400"/>
                  <a:pt x="5998502" y="5765400"/>
                  <a:pt x="5998502" y="5765762"/>
                </a:cubicBezTo>
                <a:cubicBezTo>
                  <a:pt x="5998502" y="5766128"/>
                  <a:pt x="5998136" y="5766128"/>
                  <a:pt x="5998136" y="5766128"/>
                </a:cubicBezTo>
                <a:cubicBezTo>
                  <a:pt x="5997773" y="5766128"/>
                  <a:pt x="5997773" y="5766128"/>
                  <a:pt x="5997773" y="5765762"/>
                </a:cubicBezTo>
                <a:cubicBezTo>
                  <a:pt x="5997773" y="5765400"/>
                  <a:pt x="5997773" y="5765400"/>
                  <a:pt x="5998136" y="5765400"/>
                </a:cubicBezTo>
                <a:close/>
                <a:moveTo>
                  <a:pt x="5844550" y="5765400"/>
                </a:moveTo>
                <a:cubicBezTo>
                  <a:pt x="5844916" y="5765400"/>
                  <a:pt x="5844916" y="5765400"/>
                  <a:pt x="5844916" y="5765762"/>
                </a:cubicBezTo>
                <a:cubicBezTo>
                  <a:pt x="5844916" y="5766128"/>
                  <a:pt x="5844550" y="5766128"/>
                  <a:pt x="5844550" y="5766128"/>
                </a:cubicBezTo>
                <a:cubicBezTo>
                  <a:pt x="5844188" y="5766128"/>
                  <a:pt x="5844188" y="5766128"/>
                  <a:pt x="5844188" y="5765762"/>
                </a:cubicBezTo>
                <a:cubicBezTo>
                  <a:pt x="5844188" y="5765400"/>
                  <a:pt x="5844188" y="5765400"/>
                  <a:pt x="5844550" y="5765400"/>
                </a:cubicBezTo>
                <a:close/>
                <a:moveTo>
                  <a:pt x="5690602" y="5765038"/>
                </a:moveTo>
                <a:cubicBezTo>
                  <a:pt x="5691003" y="5765038"/>
                  <a:pt x="5691331" y="5765362"/>
                  <a:pt x="5691331" y="5765766"/>
                </a:cubicBezTo>
                <a:cubicBezTo>
                  <a:pt x="5691331" y="5766166"/>
                  <a:pt x="5691003" y="5766490"/>
                  <a:pt x="5690602" y="5766490"/>
                </a:cubicBezTo>
                <a:cubicBezTo>
                  <a:pt x="5690202" y="5766490"/>
                  <a:pt x="5689874" y="5766166"/>
                  <a:pt x="5689874" y="5765766"/>
                </a:cubicBezTo>
                <a:cubicBezTo>
                  <a:pt x="5689874" y="5765362"/>
                  <a:pt x="5690202" y="5765038"/>
                  <a:pt x="5690602" y="5765038"/>
                </a:cubicBezTo>
                <a:close/>
                <a:moveTo>
                  <a:pt x="6613200" y="5764313"/>
                </a:moveTo>
                <a:cubicBezTo>
                  <a:pt x="6614005" y="5764313"/>
                  <a:pt x="6614653" y="5764965"/>
                  <a:pt x="6614653" y="5765766"/>
                </a:cubicBezTo>
                <a:cubicBezTo>
                  <a:pt x="6614653" y="5766566"/>
                  <a:pt x="6614005" y="5767218"/>
                  <a:pt x="6613200" y="5767218"/>
                </a:cubicBezTo>
                <a:cubicBezTo>
                  <a:pt x="6612400" y="5767218"/>
                  <a:pt x="6611752" y="5766566"/>
                  <a:pt x="6611752" y="5765766"/>
                </a:cubicBezTo>
                <a:cubicBezTo>
                  <a:pt x="6611752" y="5764965"/>
                  <a:pt x="6612400" y="5764313"/>
                  <a:pt x="6613200" y="5764313"/>
                </a:cubicBezTo>
                <a:close/>
                <a:moveTo>
                  <a:pt x="6305668" y="5611452"/>
                </a:moveTo>
                <a:cubicBezTo>
                  <a:pt x="6305870" y="5611452"/>
                  <a:pt x="6306034" y="5611616"/>
                  <a:pt x="6306034" y="5611815"/>
                </a:cubicBezTo>
                <a:cubicBezTo>
                  <a:pt x="6306034" y="5612017"/>
                  <a:pt x="6305870" y="5612177"/>
                  <a:pt x="6305668" y="5612177"/>
                </a:cubicBezTo>
                <a:cubicBezTo>
                  <a:pt x="6305470" y="5612177"/>
                  <a:pt x="6305306" y="5612017"/>
                  <a:pt x="6305306" y="5611815"/>
                </a:cubicBezTo>
                <a:cubicBezTo>
                  <a:pt x="6305306" y="5611616"/>
                  <a:pt x="6305470" y="5611452"/>
                  <a:pt x="6305668" y="5611452"/>
                </a:cubicBezTo>
                <a:close/>
                <a:moveTo>
                  <a:pt x="5844550" y="5611452"/>
                </a:moveTo>
                <a:cubicBezTo>
                  <a:pt x="5844916" y="5611452"/>
                  <a:pt x="5844916" y="5611452"/>
                  <a:pt x="5844916" y="5611815"/>
                </a:cubicBezTo>
                <a:cubicBezTo>
                  <a:pt x="5844916" y="5612181"/>
                  <a:pt x="5844550" y="5612181"/>
                  <a:pt x="5844550" y="5612181"/>
                </a:cubicBezTo>
                <a:cubicBezTo>
                  <a:pt x="5844188" y="5612181"/>
                  <a:pt x="5844188" y="5612181"/>
                  <a:pt x="5844188" y="5611815"/>
                </a:cubicBezTo>
                <a:cubicBezTo>
                  <a:pt x="5844188" y="5611452"/>
                  <a:pt x="5844188" y="5611452"/>
                  <a:pt x="5844550" y="5611452"/>
                </a:cubicBezTo>
                <a:close/>
                <a:moveTo>
                  <a:pt x="5690606" y="5611452"/>
                </a:moveTo>
                <a:cubicBezTo>
                  <a:pt x="5690972" y="5611452"/>
                  <a:pt x="5690972" y="5611452"/>
                  <a:pt x="5690972" y="5611815"/>
                </a:cubicBezTo>
                <a:cubicBezTo>
                  <a:pt x="5690972" y="5612181"/>
                  <a:pt x="5690606" y="5612181"/>
                  <a:pt x="5690606" y="5612181"/>
                </a:cubicBezTo>
                <a:cubicBezTo>
                  <a:pt x="5690244" y="5612181"/>
                  <a:pt x="5690244" y="5612181"/>
                  <a:pt x="5690244" y="5611815"/>
                </a:cubicBezTo>
                <a:cubicBezTo>
                  <a:pt x="5690244" y="5611452"/>
                  <a:pt x="5690244" y="5611452"/>
                  <a:pt x="5690606" y="5611452"/>
                </a:cubicBezTo>
                <a:close/>
                <a:moveTo>
                  <a:pt x="5537021" y="5611090"/>
                </a:moveTo>
                <a:cubicBezTo>
                  <a:pt x="5537422" y="5611090"/>
                  <a:pt x="5537750" y="5611414"/>
                  <a:pt x="5537750" y="5611815"/>
                </a:cubicBezTo>
                <a:cubicBezTo>
                  <a:pt x="5537750" y="5612219"/>
                  <a:pt x="5537422" y="5612543"/>
                  <a:pt x="5537021" y="5612543"/>
                </a:cubicBezTo>
                <a:cubicBezTo>
                  <a:pt x="5536621" y="5612543"/>
                  <a:pt x="5536297" y="5612219"/>
                  <a:pt x="5536297" y="5611815"/>
                </a:cubicBezTo>
                <a:cubicBezTo>
                  <a:pt x="5536297" y="5611414"/>
                  <a:pt x="5536621" y="5611090"/>
                  <a:pt x="5537021" y="5611090"/>
                </a:cubicBezTo>
                <a:close/>
                <a:moveTo>
                  <a:pt x="6459616" y="5610366"/>
                </a:moveTo>
                <a:cubicBezTo>
                  <a:pt x="6460420" y="5610366"/>
                  <a:pt x="6461068" y="5611018"/>
                  <a:pt x="6461068" y="5611818"/>
                </a:cubicBezTo>
                <a:cubicBezTo>
                  <a:pt x="6461068" y="5612619"/>
                  <a:pt x="6460420" y="5613271"/>
                  <a:pt x="6459616" y="5613271"/>
                </a:cubicBezTo>
                <a:cubicBezTo>
                  <a:pt x="6458815" y="5613271"/>
                  <a:pt x="6458163" y="5612619"/>
                  <a:pt x="6458163" y="5611818"/>
                </a:cubicBezTo>
                <a:cubicBezTo>
                  <a:pt x="6458163" y="5611018"/>
                  <a:pt x="6458815" y="5610366"/>
                  <a:pt x="6459616" y="5610366"/>
                </a:cubicBezTo>
                <a:close/>
                <a:moveTo>
                  <a:pt x="6613200" y="5609638"/>
                </a:moveTo>
                <a:cubicBezTo>
                  <a:pt x="6614406" y="5609638"/>
                  <a:pt x="6615381" y="5610614"/>
                  <a:pt x="6615381" y="5611815"/>
                </a:cubicBezTo>
                <a:cubicBezTo>
                  <a:pt x="6615381" y="5613019"/>
                  <a:pt x="6614406" y="5613995"/>
                  <a:pt x="6613200" y="5613995"/>
                </a:cubicBezTo>
                <a:cubicBezTo>
                  <a:pt x="6612000" y="5613995"/>
                  <a:pt x="6611024" y="5613019"/>
                  <a:pt x="6611024" y="5611815"/>
                </a:cubicBezTo>
                <a:cubicBezTo>
                  <a:pt x="6611024" y="5610614"/>
                  <a:pt x="6612000" y="5609638"/>
                  <a:pt x="6613200" y="5609638"/>
                </a:cubicBezTo>
                <a:close/>
                <a:moveTo>
                  <a:pt x="6152086" y="5457871"/>
                </a:moveTo>
                <a:cubicBezTo>
                  <a:pt x="6152448" y="5457871"/>
                  <a:pt x="6152448" y="5457871"/>
                  <a:pt x="6152448" y="5458233"/>
                </a:cubicBezTo>
                <a:cubicBezTo>
                  <a:pt x="6152448" y="5458595"/>
                  <a:pt x="6152086" y="5458595"/>
                  <a:pt x="6152086" y="5458595"/>
                </a:cubicBezTo>
                <a:cubicBezTo>
                  <a:pt x="6151724" y="5458595"/>
                  <a:pt x="6151724" y="5458595"/>
                  <a:pt x="6151724" y="5458233"/>
                </a:cubicBezTo>
                <a:cubicBezTo>
                  <a:pt x="6151724" y="5457871"/>
                  <a:pt x="6151724" y="5457871"/>
                  <a:pt x="6152086" y="5457871"/>
                </a:cubicBezTo>
                <a:close/>
                <a:moveTo>
                  <a:pt x="5690606" y="5457871"/>
                </a:moveTo>
                <a:cubicBezTo>
                  <a:pt x="5690972" y="5457871"/>
                  <a:pt x="5690972" y="5457871"/>
                  <a:pt x="5690972" y="5458233"/>
                </a:cubicBezTo>
                <a:cubicBezTo>
                  <a:pt x="5690972" y="5458595"/>
                  <a:pt x="5690606" y="5458595"/>
                  <a:pt x="5690606" y="5458595"/>
                </a:cubicBezTo>
                <a:cubicBezTo>
                  <a:pt x="5690244" y="5458595"/>
                  <a:pt x="5690244" y="5458595"/>
                  <a:pt x="5690244" y="5458233"/>
                </a:cubicBezTo>
                <a:cubicBezTo>
                  <a:pt x="5690244" y="5457871"/>
                  <a:pt x="5690244" y="5457871"/>
                  <a:pt x="5690606" y="5457871"/>
                </a:cubicBezTo>
                <a:close/>
                <a:moveTo>
                  <a:pt x="5536659" y="5457871"/>
                </a:moveTo>
                <a:cubicBezTo>
                  <a:pt x="5537021" y="5457871"/>
                  <a:pt x="5537021" y="5457871"/>
                  <a:pt x="5537021" y="5458233"/>
                </a:cubicBezTo>
                <a:cubicBezTo>
                  <a:pt x="5537021" y="5458595"/>
                  <a:pt x="5536659" y="5458595"/>
                  <a:pt x="5536659" y="5458595"/>
                </a:cubicBezTo>
                <a:cubicBezTo>
                  <a:pt x="5536297" y="5458595"/>
                  <a:pt x="5536297" y="5458595"/>
                  <a:pt x="5536297" y="5458233"/>
                </a:cubicBezTo>
                <a:cubicBezTo>
                  <a:pt x="5536297" y="5457871"/>
                  <a:pt x="5536297" y="5457871"/>
                  <a:pt x="5536659" y="5457871"/>
                </a:cubicBezTo>
                <a:close/>
                <a:moveTo>
                  <a:pt x="5383078" y="5457505"/>
                </a:moveTo>
                <a:cubicBezTo>
                  <a:pt x="5383478" y="5457505"/>
                  <a:pt x="5383802" y="5457829"/>
                  <a:pt x="5383802" y="5458233"/>
                </a:cubicBezTo>
                <a:cubicBezTo>
                  <a:pt x="5383802" y="5458633"/>
                  <a:pt x="5383478" y="5458957"/>
                  <a:pt x="5383078" y="5458957"/>
                </a:cubicBezTo>
                <a:cubicBezTo>
                  <a:pt x="5382674" y="5458957"/>
                  <a:pt x="5382350" y="5458633"/>
                  <a:pt x="5382350" y="5458233"/>
                </a:cubicBezTo>
                <a:cubicBezTo>
                  <a:pt x="5382350" y="5457829"/>
                  <a:pt x="5382674" y="5457505"/>
                  <a:pt x="5383078" y="5457505"/>
                </a:cubicBezTo>
                <a:close/>
                <a:moveTo>
                  <a:pt x="6305668" y="5456781"/>
                </a:moveTo>
                <a:cubicBezTo>
                  <a:pt x="6306472" y="5456781"/>
                  <a:pt x="6307120" y="5457433"/>
                  <a:pt x="6307120" y="5458233"/>
                </a:cubicBezTo>
                <a:cubicBezTo>
                  <a:pt x="6307120" y="5459034"/>
                  <a:pt x="6306472" y="5459685"/>
                  <a:pt x="6305668" y="5459685"/>
                </a:cubicBezTo>
                <a:cubicBezTo>
                  <a:pt x="6304868" y="5459685"/>
                  <a:pt x="6304216" y="5459034"/>
                  <a:pt x="6304216" y="5458233"/>
                </a:cubicBezTo>
                <a:cubicBezTo>
                  <a:pt x="6304216" y="5457433"/>
                  <a:pt x="6304868" y="5456781"/>
                  <a:pt x="6305668" y="5456781"/>
                </a:cubicBezTo>
                <a:close/>
                <a:moveTo>
                  <a:pt x="6459619" y="5456053"/>
                </a:moveTo>
                <a:cubicBezTo>
                  <a:pt x="6460820" y="5456053"/>
                  <a:pt x="6461796" y="5457029"/>
                  <a:pt x="6461796" y="5458233"/>
                </a:cubicBezTo>
                <a:cubicBezTo>
                  <a:pt x="6461796" y="5459434"/>
                  <a:pt x="6460820" y="5460410"/>
                  <a:pt x="6459619" y="5460410"/>
                </a:cubicBezTo>
                <a:cubicBezTo>
                  <a:pt x="6458414" y="5460410"/>
                  <a:pt x="6457439" y="5459434"/>
                  <a:pt x="6457439" y="5458233"/>
                </a:cubicBezTo>
                <a:cubicBezTo>
                  <a:pt x="6457439" y="5457029"/>
                  <a:pt x="6458414" y="5456053"/>
                  <a:pt x="6459619" y="5456053"/>
                </a:cubicBezTo>
                <a:close/>
                <a:moveTo>
                  <a:pt x="6613200" y="5454966"/>
                </a:moveTo>
                <a:cubicBezTo>
                  <a:pt x="6615015" y="5454966"/>
                  <a:pt x="6616468" y="5456419"/>
                  <a:pt x="6616468" y="5458233"/>
                </a:cubicBezTo>
                <a:cubicBezTo>
                  <a:pt x="6616468" y="5460048"/>
                  <a:pt x="6615015" y="5461500"/>
                  <a:pt x="6613200" y="5461500"/>
                </a:cubicBezTo>
                <a:cubicBezTo>
                  <a:pt x="6611386" y="5461500"/>
                  <a:pt x="6609934" y="5460048"/>
                  <a:pt x="6609934" y="5458233"/>
                </a:cubicBezTo>
                <a:cubicBezTo>
                  <a:pt x="6609934" y="5456419"/>
                  <a:pt x="6611386" y="5454966"/>
                  <a:pt x="6613200" y="5454966"/>
                </a:cubicBezTo>
                <a:close/>
                <a:moveTo>
                  <a:pt x="5998136" y="5303924"/>
                </a:moveTo>
                <a:cubicBezTo>
                  <a:pt x="5998502" y="5303924"/>
                  <a:pt x="5998502" y="5303924"/>
                  <a:pt x="5998502" y="5304286"/>
                </a:cubicBezTo>
                <a:cubicBezTo>
                  <a:pt x="5998502" y="5304652"/>
                  <a:pt x="5998136" y="5304652"/>
                  <a:pt x="5998136" y="5304652"/>
                </a:cubicBezTo>
                <a:cubicBezTo>
                  <a:pt x="5997773" y="5304652"/>
                  <a:pt x="5997773" y="5304652"/>
                  <a:pt x="5997773" y="5304286"/>
                </a:cubicBezTo>
                <a:cubicBezTo>
                  <a:pt x="5997773" y="5303924"/>
                  <a:pt x="5997773" y="5303924"/>
                  <a:pt x="5998136" y="5303924"/>
                </a:cubicBezTo>
                <a:close/>
                <a:moveTo>
                  <a:pt x="5536659" y="5303924"/>
                </a:moveTo>
                <a:cubicBezTo>
                  <a:pt x="5537021" y="5303924"/>
                  <a:pt x="5537021" y="5303924"/>
                  <a:pt x="5537021" y="5304286"/>
                </a:cubicBezTo>
                <a:cubicBezTo>
                  <a:pt x="5537021" y="5304652"/>
                  <a:pt x="5536659" y="5304652"/>
                  <a:pt x="5536659" y="5304652"/>
                </a:cubicBezTo>
                <a:cubicBezTo>
                  <a:pt x="5536297" y="5304652"/>
                  <a:pt x="5536297" y="5304652"/>
                  <a:pt x="5536297" y="5304286"/>
                </a:cubicBezTo>
                <a:cubicBezTo>
                  <a:pt x="5536297" y="5303924"/>
                  <a:pt x="5536297" y="5303924"/>
                  <a:pt x="5536659" y="5303924"/>
                </a:cubicBezTo>
                <a:close/>
                <a:moveTo>
                  <a:pt x="5383074" y="5303924"/>
                </a:moveTo>
                <a:cubicBezTo>
                  <a:pt x="5383436" y="5303924"/>
                  <a:pt x="5383436" y="5303924"/>
                  <a:pt x="5383436" y="5304286"/>
                </a:cubicBezTo>
                <a:cubicBezTo>
                  <a:pt x="5383436" y="5304652"/>
                  <a:pt x="5383074" y="5304652"/>
                  <a:pt x="5383074" y="5304652"/>
                </a:cubicBezTo>
                <a:cubicBezTo>
                  <a:pt x="5382712" y="5304652"/>
                  <a:pt x="5382712" y="5304652"/>
                  <a:pt x="5382712" y="5304286"/>
                </a:cubicBezTo>
                <a:cubicBezTo>
                  <a:pt x="5382712" y="5303924"/>
                  <a:pt x="5382712" y="5303924"/>
                  <a:pt x="5383074" y="5303924"/>
                </a:cubicBezTo>
                <a:close/>
                <a:moveTo>
                  <a:pt x="5229126" y="5303558"/>
                </a:moveTo>
                <a:cubicBezTo>
                  <a:pt x="5229492" y="5303558"/>
                  <a:pt x="5229854" y="5303920"/>
                  <a:pt x="5229854" y="5304282"/>
                </a:cubicBezTo>
                <a:cubicBezTo>
                  <a:pt x="5229854" y="5304648"/>
                  <a:pt x="5229126" y="5305010"/>
                  <a:pt x="5229126" y="5305010"/>
                </a:cubicBezTo>
                <a:cubicBezTo>
                  <a:pt x="5228764" y="5305010"/>
                  <a:pt x="5228402" y="5304648"/>
                  <a:pt x="5228402" y="5304282"/>
                </a:cubicBezTo>
                <a:cubicBezTo>
                  <a:pt x="5228402" y="5303920"/>
                  <a:pt x="5228764" y="5303558"/>
                  <a:pt x="5229126" y="5303558"/>
                </a:cubicBezTo>
                <a:close/>
                <a:moveTo>
                  <a:pt x="6152086" y="5302833"/>
                </a:moveTo>
                <a:cubicBezTo>
                  <a:pt x="6152891" y="5302833"/>
                  <a:pt x="6153539" y="5303485"/>
                  <a:pt x="6153539" y="5304286"/>
                </a:cubicBezTo>
                <a:cubicBezTo>
                  <a:pt x="6153539" y="5305086"/>
                  <a:pt x="6152891" y="5305738"/>
                  <a:pt x="6152086" y="5305738"/>
                </a:cubicBezTo>
                <a:cubicBezTo>
                  <a:pt x="6151286" y="5305738"/>
                  <a:pt x="6150638" y="5305086"/>
                  <a:pt x="6150638" y="5304286"/>
                </a:cubicBezTo>
                <a:cubicBezTo>
                  <a:pt x="6150638" y="5303485"/>
                  <a:pt x="6151286" y="5302833"/>
                  <a:pt x="6152086" y="5302833"/>
                </a:cubicBezTo>
                <a:close/>
                <a:moveTo>
                  <a:pt x="6305672" y="5302105"/>
                </a:moveTo>
                <a:cubicBezTo>
                  <a:pt x="6306872" y="5302105"/>
                  <a:pt x="6307848" y="5303081"/>
                  <a:pt x="6307848" y="5304282"/>
                </a:cubicBezTo>
                <a:cubicBezTo>
                  <a:pt x="6307848" y="5305487"/>
                  <a:pt x="6306872" y="5306462"/>
                  <a:pt x="6305672" y="5306462"/>
                </a:cubicBezTo>
                <a:cubicBezTo>
                  <a:pt x="6304468" y="5306462"/>
                  <a:pt x="6303492" y="5305487"/>
                  <a:pt x="6303492" y="5304282"/>
                </a:cubicBezTo>
                <a:cubicBezTo>
                  <a:pt x="6303492" y="5303081"/>
                  <a:pt x="6304468" y="5302105"/>
                  <a:pt x="6305672" y="5302105"/>
                </a:cubicBezTo>
                <a:close/>
                <a:moveTo>
                  <a:pt x="6459619" y="5301019"/>
                </a:moveTo>
                <a:cubicBezTo>
                  <a:pt x="6461434" y="5301019"/>
                  <a:pt x="6462882" y="5302471"/>
                  <a:pt x="6462882" y="5304286"/>
                </a:cubicBezTo>
                <a:cubicBezTo>
                  <a:pt x="6462882" y="5306100"/>
                  <a:pt x="6461434" y="5307553"/>
                  <a:pt x="6459619" y="5307553"/>
                </a:cubicBezTo>
                <a:cubicBezTo>
                  <a:pt x="6457801" y="5307553"/>
                  <a:pt x="6456348" y="5306100"/>
                  <a:pt x="6456348" y="5304286"/>
                </a:cubicBezTo>
                <a:cubicBezTo>
                  <a:pt x="6456348" y="5302471"/>
                  <a:pt x="6457801" y="5301019"/>
                  <a:pt x="6459619" y="5301019"/>
                </a:cubicBezTo>
                <a:close/>
                <a:moveTo>
                  <a:pt x="6613200" y="5299929"/>
                </a:moveTo>
                <a:cubicBezTo>
                  <a:pt x="6615743" y="5299929"/>
                  <a:pt x="6617558" y="5301743"/>
                  <a:pt x="6617558" y="5304286"/>
                </a:cubicBezTo>
                <a:cubicBezTo>
                  <a:pt x="6617558" y="5306828"/>
                  <a:pt x="6615378" y="5308643"/>
                  <a:pt x="6613200" y="5308643"/>
                </a:cubicBezTo>
                <a:cubicBezTo>
                  <a:pt x="6610658" y="5308643"/>
                  <a:pt x="6608844" y="5306828"/>
                  <a:pt x="6608844" y="5304286"/>
                </a:cubicBezTo>
                <a:cubicBezTo>
                  <a:pt x="6608844" y="5301743"/>
                  <a:pt x="6610658" y="5299929"/>
                  <a:pt x="6613200" y="5299929"/>
                </a:cubicBezTo>
                <a:close/>
                <a:moveTo>
                  <a:pt x="5844550" y="5150338"/>
                </a:moveTo>
                <a:cubicBezTo>
                  <a:pt x="5844916" y="5150338"/>
                  <a:pt x="5844916" y="5150338"/>
                  <a:pt x="5844916" y="5150700"/>
                </a:cubicBezTo>
                <a:cubicBezTo>
                  <a:pt x="5844916" y="5151063"/>
                  <a:pt x="5844550" y="5151063"/>
                  <a:pt x="5844550" y="5151063"/>
                </a:cubicBezTo>
                <a:cubicBezTo>
                  <a:pt x="5844188" y="5151063"/>
                  <a:pt x="5844188" y="5151063"/>
                  <a:pt x="5844188" y="5150700"/>
                </a:cubicBezTo>
                <a:cubicBezTo>
                  <a:pt x="5844188" y="5150338"/>
                  <a:pt x="5844188" y="5150338"/>
                  <a:pt x="5844550" y="5150338"/>
                </a:cubicBezTo>
                <a:close/>
                <a:moveTo>
                  <a:pt x="5383074" y="5150338"/>
                </a:moveTo>
                <a:cubicBezTo>
                  <a:pt x="5383436" y="5150338"/>
                  <a:pt x="5383436" y="5150338"/>
                  <a:pt x="5383436" y="5150700"/>
                </a:cubicBezTo>
                <a:cubicBezTo>
                  <a:pt x="5383436" y="5151063"/>
                  <a:pt x="5383074" y="5151063"/>
                  <a:pt x="5383074" y="5151063"/>
                </a:cubicBezTo>
                <a:cubicBezTo>
                  <a:pt x="5382712" y="5151063"/>
                  <a:pt x="5382712" y="5151063"/>
                  <a:pt x="5382712" y="5150700"/>
                </a:cubicBezTo>
                <a:cubicBezTo>
                  <a:pt x="5382712" y="5150338"/>
                  <a:pt x="5382712" y="5150338"/>
                  <a:pt x="5383074" y="5150338"/>
                </a:cubicBezTo>
                <a:close/>
                <a:moveTo>
                  <a:pt x="5229126" y="5150338"/>
                </a:moveTo>
                <a:cubicBezTo>
                  <a:pt x="5229488" y="5150338"/>
                  <a:pt x="5229488" y="5150338"/>
                  <a:pt x="5229488" y="5150700"/>
                </a:cubicBezTo>
                <a:cubicBezTo>
                  <a:pt x="5229488" y="5151063"/>
                  <a:pt x="5229126" y="5151063"/>
                  <a:pt x="5229126" y="5151063"/>
                </a:cubicBezTo>
                <a:cubicBezTo>
                  <a:pt x="5228764" y="5151063"/>
                  <a:pt x="5228764" y="5151063"/>
                  <a:pt x="5228764" y="5150700"/>
                </a:cubicBezTo>
                <a:cubicBezTo>
                  <a:pt x="5228764" y="5150338"/>
                  <a:pt x="5228764" y="5150338"/>
                  <a:pt x="5229126" y="5150338"/>
                </a:cubicBezTo>
                <a:close/>
                <a:moveTo>
                  <a:pt x="5075545" y="5149972"/>
                </a:moveTo>
                <a:cubicBezTo>
                  <a:pt x="5075907" y="5149972"/>
                  <a:pt x="5076270" y="5150335"/>
                  <a:pt x="5076270" y="5150700"/>
                </a:cubicBezTo>
                <a:cubicBezTo>
                  <a:pt x="5076270" y="5151063"/>
                  <a:pt x="5075545" y="5151425"/>
                  <a:pt x="5075545" y="5151425"/>
                </a:cubicBezTo>
                <a:cubicBezTo>
                  <a:pt x="5075179" y="5151425"/>
                  <a:pt x="5074817" y="5151063"/>
                  <a:pt x="5074817" y="5150700"/>
                </a:cubicBezTo>
                <a:cubicBezTo>
                  <a:pt x="5074817" y="5150335"/>
                  <a:pt x="5075179" y="5149972"/>
                  <a:pt x="5075545" y="5149972"/>
                </a:cubicBezTo>
                <a:close/>
                <a:moveTo>
                  <a:pt x="5998139" y="5149248"/>
                </a:moveTo>
                <a:cubicBezTo>
                  <a:pt x="5998944" y="5149248"/>
                  <a:pt x="5999592" y="5149900"/>
                  <a:pt x="5999592" y="5150700"/>
                </a:cubicBezTo>
                <a:cubicBezTo>
                  <a:pt x="5999592" y="5151501"/>
                  <a:pt x="5998944" y="5152153"/>
                  <a:pt x="5998139" y="5152153"/>
                </a:cubicBezTo>
                <a:cubicBezTo>
                  <a:pt x="5997338" y="5152153"/>
                  <a:pt x="5996690" y="5151501"/>
                  <a:pt x="5996690" y="5150700"/>
                </a:cubicBezTo>
                <a:cubicBezTo>
                  <a:pt x="5996690" y="5149900"/>
                  <a:pt x="5997338" y="5149248"/>
                  <a:pt x="5998139" y="5149248"/>
                </a:cubicBezTo>
                <a:close/>
                <a:moveTo>
                  <a:pt x="6152083" y="5148524"/>
                </a:moveTo>
                <a:cubicBezTo>
                  <a:pt x="6153288" y="5148524"/>
                  <a:pt x="6154263" y="5149500"/>
                  <a:pt x="6154263" y="5150704"/>
                </a:cubicBezTo>
                <a:cubicBezTo>
                  <a:pt x="6154263" y="5151905"/>
                  <a:pt x="6153288" y="5152881"/>
                  <a:pt x="6152083" y="5152881"/>
                </a:cubicBezTo>
                <a:cubicBezTo>
                  <a:pt x="6150882" y="5152881"/>
                  <a:pt x="6149906" y="5151905"/>
                  <a:pt x="6149906" y="5150704"/>
                </a:cubicBezTo>
                <a:cubicBezTo>
                  <a:pt x="6149906" y="5149500"/>
                  <a:pt x="6150882" y="5148524"/>
                  <a:pt x="6152083" y="5148524"/>
                </a:cubicBezTo>
                <a:close/>
                <a:moveTo>
                  <a:pt x="6305672" y="5147434"/>
                </a:moveTo>
                <a:cubicBezTo>
                  <a:pt x="6307486" y="5147434"/>
                  <a:pt x="6308935" y="5148886"/>
                  <a:pt x="6308935" y="5150700"/>
                </a:cubicBezTo>
                <a:cubicBezTo>
                  <a:pt x="6308935" y="5152515"/>
                  <a:pt x="6307486" y="5153967"/>
                  <a:pt x="6305672" y="5153967"/>
                </a:cubicBezTo>
                <a:cubicBezTo>
                  <a:pt x="6303854" y="5153967"/>
                  <a:pt x="6302401" y="5152515"/>
                  <a:pt x="6302401" y="5150700"/>
                </a:cubicBezTo>
                <a:cubicBezTo>
                  <a:pt x="6302401" y="5148886"/>
                  <a:pt x="6303854" y="5147434"/>
                  <a:pt x="6305672" y="5147434"/>
                </a:cubicBezTo>
                <a:close/>
                <a:moveTo>
                  <a:pt x="6459616" y="5145981"/>
                </a:moveTo>
                <a:cubicBezTo>
                  <a:pt x="6462158" y="5145981"/>
                  <a:pt x="6463972" y="5147796"/>
                  <a:pt x="6463972" y="5150338"/>
                </a:cubicBezTo>
                <a:cubicBezTo>
                  <a:pt x="6463972" y="5152881"/>
                  <a:pt x="6461792" y="5154695"/>
                  <a:pt x="6459616" y="5154695"/>
                </a:cubicBezTo>
                <a:cubicBezTo>
                  <a:pt x="6457073" y="5154695"/>
                  <a:pt x="6455258" y="5152881"/>
                  <a:pt x="6455258" y="5150338"/>
                </a:cubicBezTo>
                <a:cubicBezTo>
                  <a:pt x="6455258" y="5147796"/>
                  <a:pt x="6457073" y="5145981"/>
                  <a:pt x="6459616" y="5145981"/>
                </a:cubicBezTo>
                <a:close/>
                <a:moveTo>
                  <a:pt x="6613200" y="5144891"/>
                </a:moveTo>
                <a:cubicBezTo>
                  <a:pt x="6616410" y="5144891"/>
                  <a:pt x="6619010" y="5147491"/>
                  <a:pt x="6619010" y="5150700"/>
                </a:cubicBezTo>
                <a:cubicBezTo>
                  <a:pt x="6619010" y="5153910"/>
                  <a:pt x="6616410" y="5156510"/>
                  <a:pt x="6613200" y="5156510"/>
                </a:cubicBezTo>
                <a:cubicBezTo>
                  <a:pt x="6609995" y="5156510"/>
                  <a:pt x="6607395" y="5153910"/>
                  <a:pt x="6607395" y="5150700"/>
                </a:cubicBezTo>
                <a:cubicBezTo>
                  <a:pt x="6607395" y="5147491"/>
                  <a:pt x="6609995" y="5144891"/>
                  <a:pt x="6613200" y="5144891"/>
                </a:cubicBezTo>
                <a:close/>
                <a:moveTo>
                  <a:pt x="5690606" y="4996391"/>
                </a:moveTo>
                <a:cubicBezTo>
                  <a:pt x="5690972" y="4996391"/>
                  <a:pt x="5690972" y="4996391"/>
                  <a:pt x="5690972" y="4996753"/>
                </a:cubicBezTo>
                <a:cubicBezTo>
                  <a:pt x="5690972" y="4997119"/>
                  <a:pt x="5690606" y="4997119"/>
                  <a:pt x="5690606" y="4997119"/>
                </a:cubicBezTo>
                <a:cubicBezTo>
                  <a:pt x="5690244" y="4997119"/>
                  <a:pt x="5690244" y="4997119"/>
                  <a:pt x="5690244" y="4996753"/>
                </a:cubicBezTo>
                <a:cubicBezTo>
                  <a:pt x="5690244" y="4996391"/>
                  <a:pt x="5690244" y="4996391"/>
                  <a:pt x="5690606" y="4996391"/>
                </a:cubicBezTo>
                <a:close/>
                <a:moveTo>
                  <a:pt x="5229126" y="4996391"/>
                </a:moveTo>
                <a:cubicBezTo>
                  <a:pt x="5229488" y="4996391"/>
                  <a:pt x="5229488" y="4996391"/>
                  <a:pt x="5229488" y="4996753"/>
                </a:cubicBezTo>
                <a:cubicBezTo>
                  <a:pt x="5229488" y="4997119"/>
                  <a:pt x="5229126" y="4997119"/>
                  <a:pt x="5229126" y="4997119"/>
                </a:cubicBezTo>
                <a:cubicBezTo>
                  <a:pt x="5228764" y="4997119"/>
                  <a:pt x="5228764" y="4997119"/>
                  <a:pt x="5228764" y="4996753"/>
                </a:cubicBezTo>
                <a:cubicBezTo>
                  <a:pt x="5228764" y="4996391"/>
                  <a:pt x="5228764" y="4996391"/>
                  <a:pt x="5229126" y="4996391"/>
                </a:cubicBezTo>
                <a:close/>
                <a:moveTo>
                  <a:pt x="5075541" y="4996391"/>
                </a:moveTo>
                <a:cubicBezTo>
                  <a:pt x="5075904" y="4996391"/>
                  <a:pt x="5075904" y="4996391"/>
                  <a:pt x="5075904" y="4996753"/>
                </a:cubicBezTo>
                <a:cubicBezTo>
                  <a:pt x="5075904" y="4997119"/>
                  <a:pt x="5075541" y="4997119"/>
                  <a:pt x="5075541" y="4997119"/>
                </a:cubicBezTo>
                <a:cubicBezTo>
                  <a:pt x="5075179" y="4997119"/>
                  <a:pt x="5075179" y="4997119"/>
                  <a:pt x="5075179" y="4996753"/>
                </a:cubicBezTo>
                <a:cubicBezTo>
                  <a:pt x="5075179" y="4996391"/>
                  <a:pt x="5075179" y="4996391"/>
                  <a:pt x="5075541" y="4996391"/>
                </a:cubicBezTo>
                <a:close/>
                <a:moveTo>
                  <a:pt x="4921594" y="4996029"/>
                </a:moveTo>
                <a:cubicBezTo>
                  <a:pt x="4921960" y="4996029"/>
                  <a:pt x="4922322" y="4996391"/>
                  <a:pt x="4922322" y="4996753"/>
                </a:cubicBezTo>
                <a:cubicBezTo>
                  <a:pt x="4922322" y="4997119"/>
                  <a:pt x="4921594" y="4997481"/>
                  <a:pt x="4921594" y="4997481"/>
                </a:cubicBezTo>
                <a:cubicBezTo>
                  <a:pt x="4921232" y="4997481"/>
                  <a:pt x="4920870" y="4997119"/>
                  <a:pt x="4920870" y="4996753"/>
                </a:cubicBezTo>
                <a:cubicBezTo>
                  <a:pt x="4920870" y="4996391"/>
                  <a:pt x="4921232" y="4996029"/>
                  <a:pt x="4921594" y="4996029"/>
                </a:cubicBezTo>
                <a:close/>
                <a:moveTo>
                  <a:pt x="5844554" y="4995301"/>
                </a:moveTo>
                <a:cubicBezTo>
                  <a:pt x="5845278" y="4995301"/>
                  <a:pt x="5846006" y="4996029"/>
                  <a:pt x="5846006" y="4996753"/>
                </a:cubicBezTo>
                <a:cubicBezTo>
                  <a:pt x="5846006" y="4997477"/>
                  <a:pt x="5844554" y="4998205"/>
                  <a:pt x="5844554" y="4998205"/>
                </a:cubicBezTo>
                <a:cubicBezTo>
                  <a:pt x="5843826" y="4998205"/>
                  <a:pt x="5843102" y="4997477"/>
                  <a:pt x="5843102" y="4996753"/>
                </a:cubicBezTo>
                <a:cubicBezTo>
                  <a:pt x="5843102" y="4996029"/>
                  <a:pt x="5843826" y="4995301"/>
                  <a:pt x="5844554" y="4995301"/>
                </a:cubicBezTo>
                <a:close/>
                <a:moveTo>
                  <a:pt x="5998136" y="4994577"/>
                </a:moveTo>
                <a:cubicBezTo>
                  <a:pt x="5999340" y="4994577"/>
                  <a:pt x="6000316" y="4995552"/>
                  <a:pt x="6000316" y="4996753"/>
                </a:cubicBezTo>
                <a:cubicBezTo>
                  <a:pt x="6000316" y="4997958"/>
                  <a:pt x="5999340" y="4998934"/>
                  <a:pt x="5998136" y="4998934"/>
                </a:cubicBezTo>
                <a:cubicBezTo>
                  <a:pt x="5996934" y="4998934"/>
                  <a:pt x="5995959" y="4997958"/>
                  <a:pt x="5995959" y="4996753"/>
                </a:cubicBezTo>
                <a:cubicBezTo>
                  <a:pt x="5995959" y="4995552"/>
                  <a:pt x="5996934" y="4994577"/>
                  <a:pt x="5998136" y="4994577"/>
                </a:cubicBezTo>
                <a:close/>
                <a:moveTo>
                  <a:pt x="6152083" y="4993486"/>
                </a:moveTo>
                <a:cubicBezTo>
                  <a:pt x="6153901" y="4993486"/>
                  <a:pt x="6155350" y="4994939"/>
                  <a:pt x="6155350" y="4996753"/>
                </a:cubicBezTo>
                <a:cubicBezTo>
                  <a:pt x="6155350" y="4998568"/>
                  <a:pt x="6153901" y="5000024"/>
                  <a:pt x="6152083" y="5000024"/>
                </a:cubicBezTo>
                <a:cubicBezTo>
                  <a:pt x="6150268" y="5000024"/>
                  <a:pt x="6148816" y="4998568"/>
                  <a:pt x="6148816" y="4996753"/>
                </a:cubicBezTo>
                <a:cubicBezTo>
                  <a:pt x="6148816" y="4994939"/>
                  <a:pt x="6150268" y="4993486"/>
                  <a:pt x="6152083" y="4993486"/>
                </a:cubicBezTo>
                <a:close/>
                <a:moveTo>
                  <a:pt x="6305668" y="4992396"/>
                </a:moveTo>
                <a:cubicBezTo>
                  <a:pt x="6308210" y="4992396"/>
                  <a:pt x="6310025" y="4994211"/>
                  <a:pt x="6310025" y="4996753"/>
                </a:cubicBezTo>
                <a:cubicBezTo>
                  <a:pt x="6310025" y="4999296"/>
                  <a:pt x="6307844" y="5001110"/>
                  <a:pt x="6305668" y="5001110"/>
                </a:cubicBezTo>
                <a:cubicBezTo>
                  <a:pt x="6303126" y="5001110"/>
                  <a:pt x="6301311" y="4999296"/>
                  <a:pt x="6301311" y="4996753"/>
                </a:cubicBezTo>
                <a:cubicBezTo>
                  <a:pt x="6301311" y="4994211"/>
                  <a:pt x="6303126" y="4992396"/>
                  <a:pt x="6305668" y="4992396"/>
                </a:cubicBezTo>
                <a:close/>
                <a:moveTo>
                  <a:pt x="6459616" y="4990944"/>
                </a:moveTo>
                <a:cubicBezTo>
                  <a:pt x="6462825" y="4990944"/>
                  <a:pt x="6465425" y="4993543"/>
                  <a:pt x="6465425" y="4996753"/>
                </a:cubicBezTo>
                <a:cubicBezTo>
                  <a:pt x="6465425" y="4999963"/>
                  <a:pt x="6462821" y="5002562"/>
                  <a:pt x="6459616" y="5002562"/>
                </a:cubicBezTo>
                <a:cubicBezTo>
                  <a:pt x="6456406" y="5002562"/>
                  <a:pt x="6453806" y="4999963"/>
                  <a:pt x="6453806" y="4996753"/>
                </a:cubicBezTo>
                <a:cubicBezTo>
                  <a:pt x="6453806" y="4993543"/>
                  <a:pt x="6456410" y="4990944"/>
                  <a:pt x="6459616" y="4990944"/>
                </a:cubicBezTo>
                <a:close/>
                <a:moveTo>
                  <a:pt x="6613200" y="4989491"/>
                </a:moveTo>
                <a:cubicBezTo>
                  <a:pt x="6617196" y="4989491"/>
                  <a:pt x="6620462" y="4992758"/>
                  <a:pt x="6620462" y="4996753"/>
                </a:cubicBezTo>
                <a:cubicBezTo>
                  <a:pt x="6620462" y="5000748"/>
                  <a:pt x="6617196" y="5004015"/>
                  <a:pt x="6613200" y="5004015"/>
                </a:cubicBezTo>
                <a:cubicBezTo>
                  <a:pt x="6609210" y="5004015"/>
                  <a:pt x="6605939" y="5000748"/>
                  <a:pt x="6605939" y="4996753"/>
                </a:cubicBezTo>
                <a:cubicBezTo>
                  <a:pt x="6605939" y="4992758"/>
                  <a:pt x="6609210" y="4989491"/>
                  <a:pt x="6613200" y="4989491"/>
                </a:cubicBezTo>
                <a:close/>
                <a:moveTo>
                  <a:pt x="5536659" y="4842806"/>
                </a:moveTo>
                <a:cubicBezTo>
                  <a:pt x="5537021" y="4842806"/>
                  <a:pt x="5537021" y="4842806"/>
                  <a:pt x="5537021" y="4843168"/>
                </a:cubicBezTo>
                <a:cubicBezTo>
                  <a:pt x="5537021" y="4843530"/>
                  <a:pt x="5536659" y="4843530"/>
                  <a:pt x="5536659" y="4843530"/>
                </a:cubicBezTo>
                <a:cubicBezTo>
                  <a:pt x="5536297" y="4843530"/>
                  <a:pt x="5536297" y="4843530"/>
                  <a:pt x="5536297" y="4843168"/>
                </a:cubicBezTo>
                <a:cubicBezTo>
                  <a:pt x="5536297" y="4842806"/>
                  <a:pt x="5536297" y="4842806"/>
                  <a:pt x="5536659" y="4842806"/>
                </a:cubicBezTo>
                <a:close/>
                <a:moveTo>
                  <a:pt x="5075541" y="4842806"/>
                </a:moveTo>
                <a:cubicBezTo>
                  <a:pt x="5075904" y="4842806"/>
                  <a:pt x="5075904" y="4842806"/>
                  <a:pt x="5075904" y="4843168"/>
                </a:cubicBezTo>
                <a:cubicBezTo>
                  <a:pt x="5075904" y="4843530"/>
                  <a:pt x="5075541" y="4843530"/>
                  <a:pt x="5075541" y="4843530"/>
                </a:cubicBezTo>
                <a:cubicBezTo>
                  <a:pt x="5075179" y="4843530"/>
                  <a:pt x="5075179" y="4843530"/>
                  <a:pt x="5075179" y="4843168"/>
                </a:cubicBezTo>
                <a:cubicBezTo>
                  <a:pt x="5075179" y="4842806"/>
                  <a:pt x="5075179" y="4842806"/>
                  <a:pt x="5075541" y="4842806"/>
                </a:cubicBezTo>
                <a:close/>
                <a:moveTo>
                  <a:pt x="4921594" y="4842806"/>
                </a:moveTo>
                <a:cubicBezTo>
                  <a:pt x="4921956" y="4842806"/>
                  <a:pt x="4921956" y="4842806"/>
                  <a:pt x="4921956" y="4843168"/>
                </a:cubicBezTo>
                <a:cubicBezTo>
                  <a:pt x="4921956" y="4843530"/>
                  <a:pt x="4921594" y="4843530"/>
                  <a:pt x="4921594" y="4843530"/>
                </a:cubicBezTo>
                <a:cubicBezTo>
                  <a:pt x="4921232" y="4843530"/>
                  <a:pt x="4921232" y="4843530"/>
                  <a:pt x="4921232" y="4843168"/>
                </a:cubicBezTo>
                <a:cubicBezTo>
                  <a:pt x="4921232" y="4842806"/>
                  <a:pt x="4921232" y="4842806"/>
                  <a:pt x="4921594" y="4842806"/>
                </a:cubicBezTo>
                <a:close/>
                <a:moveTo>
                  <a:pt x="4768012" y="4842444"/>
                </a:moveTo>
                <a:cubicBezTo>
                  <a:pt x="4768374" y="4842444"/>
                  <a:pt x="4768736" y="4842806"/>
                  <a:pt x="4768736" y="4843172"/>
                </a:cubicBezTo>
                <a:cubicBezTo>
                  <a:pt x="4768736" y="4843534"/>
                  <a:pt x="4768012" y="4843896"/>
                  <a:pt x="4768012" y="4843896"/>
                </a:cubicBezTo>
                <a:cubicBezTo>
                  <a:pt x="4767646" y="4843896"/>
                  <a:pt x="4767284" y="4843534"/>
                  <a:pt x="4767284" y="4843172"/>
                </a:cubicBezTo>
                <a:cubicBezTo>
                  <a:pt x="4767284" y="4842806"/>
                  <a:pt x="4767646" y="4842444"/>
                  <a:pt x="4768012" y="4842444"/>
                </a:cubicBezTo>
                <a:close/>
                <a:moveTo>
                  <a:pt x="5690606" y="4841353"/>
                </a:moveTo>
                <a:cubicBezTo>
                  <a:pt x="5691331" y="4841353"/>
                  <a:pt x="5692059" y="4842081"/>
                  <a:pt x="5692059" y="4842806"/>
                </a:cubicBezTo>
                <a:cubicBezTo>
                  <a:pt x="5692059" y="4843530"/>
                  <a:pt x="5690606" y="4844258"/>
                  <a:pt x="5690606" y="4844258"/>
                </a:cubicBezTo>
                <a:cubicBezTo>
                  <a:pt x="5689882" y="4844258"/>
                  <a:pt x="5689154" y="4843530"/>
                  <a:pt x="5689154" y="4842806"/>
                </a:cubicBezTo>
                <a:cubicBezTo>
                  <a:pt x="5689154" y="4842081"/>
                  <a:pt x="5689882" y="4841353"/>
                  <a:pt x="5690606" y="4841353"/>
                </a:cubicBezTo>
                <a:close/>
                <a:moveTo>
                  <a:pt x="5844554" y="4840629"/>
                </a:moveTo>
                <a:cubicBezTo>
                  <a:pt x="5845754" y="4840629"/>
                  <a:pt x="5846730" y="4841605"/>
                  <a:pt x="5846730" y="4842810"/>
                </a:cubicBezTo>
                <a:cubicBezTo>
                  <a:pt x="5846730" y="4844010"/>
                  <a:pt x="5845754" y="4844986"/>
                  <a:pt x="5844554" y="4844986"/>
                </a:cubicBezTo>
                <a:cubicBezTo>
                  <a:pt x="5843350" y="4844986"/>
                  <a:pt x="5842374" y="4844010"/>
                  <a:pt x="5842374" y="4842810"/>
                </a:cubicBezTo>
                <a:cubicBezTo>
                  <a:pt x="5842374" y="4841605"/>
                  <a:pt x="5843350" y="4840629"/>
                  <a:pt x="5844554" y="4840629"/>
                </a:cubicBezTo>
                <a:close/>
                <a:moveTo>
                  <a:pt x="5998136" y="4839901"/>
                </a:moveTo>
                <a:cubicBezTo>
                  <a:pt x="5999950" y="4839901"/>
                  <a:pt x="6001402" y="4841353"/>
                  <a:pt x="6001402" y="4843168"/>
                </a:cubicBezTo>
                <a:cubicBezTo>
                  <a:pt x="6001402" y="4844982"/>
                  <a:pt x="5999950" y="4846435"/>
                  <a:pt x="5998136" y="4846435"/>
                </a:cubicBezTo>
                <a:cubicBezTo>
                  <a:pt x="5996321" y="4846435"/>
                  <a:pt x="5994868" y="4844982"/>
                  <a:pt x="5994868" y="4843168"/>
                </a:cubicBezTo>
                <a:cubicBezTo>
                  <a:pt x="5994868" y="4841353"/>
                  <a:pt x="5996321" y="4839901"/>
                  <a:pt x="5998136" y="4839901"/>
                </a:cubicBezTo>
                <a:close/>
                <a:moveTo>
                  <a:pt x="6152083" y="4838449"/>
                </a:moveTo>
                <a:cubicBezTo>
                  <a:pt x="6154626" y="4838449"/>
                  <a:pt x="6156440" y="4840263"/>
                  <a:pt x="6156440" y="4842806"/>
                </a:cubicBezTo>
                <a:cubicBezTo>
                  <a:pt x="6156440" y="4845348"/>
                  <a:pt x="6154260" y="4847163"/>
                  <a:pt x="6152083" y="4847163"/>
                </a:cubicBezTo>
                <a:cubicBezTo>
                  <a:pt x="6149544" y="4847163"/>
                  <a:pt x="6147726" y="4845348"/>
                  <a:pt x="6147726" y="4842806"/>
                </a:cubicBezTo>
                <a:cubicBezTo>
                  <a:pt x="6147726" y="4840263"/>
                  <a:pt x="6149544" y="4838449"/>
                  <a:pt x="6152083" y="4838449"/>
                </a:cubicBezTo>
                <a:close/>
                <a:moveTo>
                  <a:pt x="6305668" y="4836996"/>
                </a:moveTo>
                <a:cubicBezTo>
                  <a:pt x="6308878" y="4836996"/>
                  <a:pt x="6311478" y="4839596"/>
                  <a:pt x="6311478" y="4842806"/>
                </a:cubicBezTo>
                <a:cubicBezTo>
                  <a:pt x="6311478" y="4846015"/>
                  <a:pt x="6308874" y="4848615"/>
                  <a:pt x="6305668" y="4848615"/>
                </a:cubicBezTo>
                <a:cubicBezTo>
                  <a:pt x="6302458" y="4848615"/>
                  <a:pt x="6299858" y="4846015"/>
                  <a:pt x="6299858" y="4842806"/>
                </a:cubicBezTo>
                <a:cubicBezTo>
                  <a:pt x="6299858" y="4839596"/>
                  <a:pt x="6302462" y="4836996"/>
                  <a:pt x="6305668" y="4836996"/>
                </a:cubicBezTo>
                <a:close/>
                <a:moveTo>
                  <a:pt x="6459616" y="4835544"/>
                </a:moveTo>
                <a:cubicBezTo>
                  <a:pt x="6463610" y="4835544"/>
                  <a:pt x="6466877" y="4838811"/>
                  <a:pt x="6466877" y="4842806"/>
                </a:cubicBezTo>
                <a:cubicBezTo>
                  <a:pt x="6466877" y="4846801"/>
                  <a:pt x="6463610" y="4850067"/>
                  <a:pt x="6459616" y="4850067"/>
                </a:cubicBezTo>
                <a:cubicBezTo>
                  <a:pt x="6455624" y="4850067"/>
                  <a:pt x="6452354" y="4846801"/>
                  <a:pt x="6452354" y="4842806"/>
                </a:cubicBezTo>
                <a:cubicBezTo>
                  <a:pt x="6452354" y="4838811"/>
                  <a:pt x="6455624" y="4835544"/>
                  <a:pt x="6459616" y="4835544"/>
                </a:cubicBezTo>
                <a:close/>
                <a:moveTo>
                  <a:pt x="6613200" y="4833730"/>
                </a:moveTo>
                <a:cubicBezTo>
                  <a:pt x="6618286" y="4833730"/>
                  <a:pt x="6622280" y="4837724"/>
                  <a:pt x="6622280" y="4842806"/>
                </a:cubicBezTo>
                <a:cubicBezTo>
                  <a:pt x="6622280" y="4847891"/>
                  <a:pt x="6618286" y="4851886"/>
                  <a:pt x="6613200" y="4851886"/>
                </a:cubicBezTo>
                <a:cubicBezTo>
                  <a:pt x="6608120" y="4851886"/>
                  <a:pt x="6604124" y="4847891"/>
                  <a:pt x="6604124" y="4842806"/>
                </a:cubicBezTo>
                <a:cubicBezTo>
                  <a:pt x="6604124" y="4837724"/>
                  <a:pt x="6608120" y="4833730"/>
                  <a:pt x="6613200" y="4833730"/>
                </a:cubicBezTo>
                <a:close/>
                <a:moveTo>
                  <a:pt x="5383074" y="4688858"/>
                </a:moveTo>
                <a:cubicBezTo>
                  <a:pt x="5383436" y="4688858"/>
                  <a:pt x="5383436" y="4688858"/>
                  <a:pt x="5383436" y="4689220"/>
                </a:cubicBezTo>
                <a:cubicBezTo>
                  <a:pt x="5383436" y="4689586"/>
                  <a:pt x="5383074" y="4689586"/>
                  <a:pt x="5383074" y="4689586"/>
                </a:cubicBezTo>
                <a:cubicBezTo>
                  <a:pt x="5382712" y="4689586"/>
                  <a:pt x="5382712" y="4689586"/>
                  <a:pt x="5382712" y="4689220"/>
                </a:cubicBezTo>
                <a:cubicBezTo>
                  <a:pt x="5382712" y="4688858"/>
                  <a:pt x="5382712" y="4688858"/>
                  <a:pt x="5383074" y="4688858"/>
                </a:cubicBezTo>
                <a:close/>
                <a:moveTo>
                  <a:pt x="4921594" y="4688858"/>
                </a:moveTo>
                <a:cubicBezTo>
                  <a:pt x="4921956" y="4688858"/>
                  <a:pt x="4921956" y="4688858"/>
                  <a:pt x="4921956" y="4689220"/>
                </a:cubicBezTo>
                <a:cubicBezTo>
                  <a:pt x="4921956" y="4689586"/>
                  <a:pt x="4921594" y="4689586"/>
                  <a:pt x="4921594" y="4689586"/>
                </a:cubicBezTo>
                <a:cubicBezTo>
                  <a:pt x="4921232" y="4689586"/>
                  <a:pt x="4921232" y="4689586"/>
                  <a:pt x="4921232" y="4689220"/>
                </a:cubicBezTo>
                <a:cubicBezTo>
                  <a:pt x="4921232" y="4688858"/>
                  <a:pt x="4921232" y="4688858"/>
                  <a:pt x="4921594" y="4688858"/>
                </a:cubicBezTo>
                <a:close/>
                <a:moveTo>
                  <a:pt x="4768008" y="4688858"/>
                </a:moveTo>
                <a:cubicBezTo>
                  <a:pt x="4768370" y="4688858"/>
                  <a:pt x="4768370" y="4688858"/>
                  <a:pt x="4768370" y="4689220"/>
                </a:cubicBezTo>
                <a:cubicBezTo>
                  <a:pt x="4768370" y="4689586"/>
                  <a:pt x="4768008" y="4689586"/>
                  <a:pt x="4768008" y="4689586"/>
                </a:cubicBezTo>
                <a:cubicBezTo>
                  <a:pt x="4767646" y="4689586"/>
                  <a:pt x="4767646" y="4689586"/>
                  <a:pt x="4767646" y="4689220"/>
                </a:cubicBezTo>
                <a:cubicBezTo>
                  <a:pt x="4767646" y="4688858"/>
                  <a:pt x="4767646" y="4688858"/>
                  <a:pt x="4768008" y="4688858"/>
                </a:cubicBezTo>
                <a:close/>
                <a:moveTo>
                  <a:pt x="4614065" y="4688496"/>
                </a:moveTo>
                <a:cubicBezTo>
                  <a:pt x="4614465" y="4688496"/>
                  <a:pt x="4614789" y="4688820"/>
                  <a:pt x="4614789" y="4689220"/>
                </a:cubicBezTo>
                <a:cubicBezTo>
                  <a:pt x="4614789" y="4689625"/>
                  <a:pt x="4614465" y="4689949"/>
                  <a:pt x="4614065" y="4689949"/>
                </a:cubicBezTo>
                <a:cubicBezTo>
                  <a:pt x="4613661" y="4689949"/>
                  <a:pt x="4613337" y="4689625"/>
                  <a:pt x="4613337" y="4689220"/>
                </a:cubicBezTo>
                <a:cubicBezTo>
                  <a:pt x="4613337" y="4688820"/>
                  <a:pt x="4613661" y="4688496"/>
                  <a:pt x="4614065" y="4688496"/>
                </a:cubicBezTo>
                <a:close/>
                <a:moveTo>
                  <a:pt x="5536659" y="4687406"/>
                </a:moveTo>
                <a:cubicBezTo>
                  <a:pt x="5537384" y="4687406"/>
                  <a:pt x="5538112" y="4688130"/>
                  <a:pt x="5538112" y="4688858"/>
                </a:cubicBezTo>
                <a:cubicBezTo>
                  <a:pt x="5538112" y="4689583"/>
                  <a:pt x="5536659" y="4690311"/>
                  <a:pt x="5536659" y="4690311"/>
                </a:cubicBezTo>
                <a:cubicBezTo>
                  <a:pt x="5535935" y="4690311"/>
                  <a:pt x="5535207" y="4689583"/>
                  <a:pt x="5535207" y="4688858"/>
                </a:cubicBezTo>
                <a:cubicBezTo>
                  <a:pt x="5535207" y="4688130"/>
                  <a:pt x="5535935" y="4687406"/>
                  <a:pt x="5536659" y="4687406"/>
                </a:cubicBezTo>
                <a:close/>
                <a:moveTo>
                  <a:pt x="5690602" y="4687044"/>
                </a:moveTo>
                <a:cubicBezTo>
                  <a:pt x="5691693" y="4687044"/>
                  <a:pt x="5692783" y="4688134"/>
                  <a:pt x="5692783" y="4689220"/>
                </a:cubicBezTo>
                <a:cubicBezTo>
                  <a:pt x="5692783" y="4690311"/>
                  <a:pt x="5690602" y="4691401"/>
                  <a:pt x="5690602" y="4691401"/>
                </a:cubicBezTo>
                <a:cubicBezTo>
                  <a:pt x="5689512" y="4691401"/>
                  <a:pt x="5688426" y="4690311"/>
                  <a:pt x="5688426" y="4689220"/>
                </a:cubicBezTo>
                <a:cubicBezTo>
                  <a:pt x="5688426" y="4688134"/>
                  <a:pt x="5689512" y="4687044"/>
                  <a:pt x="5690602" y="4687044"/>
                </a:cubicBezTo>
                <a:close/>
                <a:moveTo>
                  <a:pt x="5844554" y="4685954"/>
                </a:moveTo>
                <a:cubicBezTo>
                  <a:pt x="5846368" y="4685954"/>
                  <a:pt x="5847817" y="4687406"/>
                  <a:pt x="5847817" y="4689220"/>
                </a:cubicBezTo>
                <a:cubicBezTo>
                  <a:pt x="5847817" y="4691035"/>
                  <a:pt x="5846368" y="4692491"/>
                  <a:pt x="5844554" y="4692491"/>
                </a:cubicBezTo>
                <a:cubicBezTo>
                  <a:pt x="5842736" y="4692491"/>
                  <a:pt x="5841284" y="4691035"/>
                  <a:pt x="5841284" y="4689220"/>
                </a:cubicBezTo>
                <a:cubicBezTo>
                  <a:pt x="5841284" y="4687406"/>
                  <a:pt x="5842736" y="4685954"/>
                  <a:pt x="5844554" y="4685954"/>
                </a:cubicBezTo>
                <a:close/>
                <a:moveTo>
                  <a:pt x="5998136" y="4684863"/>
                </a:moveTo>
                <a:cubicBezTo>
                  <a:pt x="6000678" y="4684863"/>
                  <a:pt x="6002492" y="4686678"/>
                  <a:pt x="6002492" y="4689220"/>
                </a:cubicBezTo>
                <a:cubicBezTo>
                  <a:pt x="6002492" y="4691763"/>
                  <a:pt x="6000312" y="4693577"/>
                  <a:pt x="5998136" y="4693577"/>
                </a:cubicBezTo>
                <a:cubicBezTo>
                  <a:pt x="5995593" y="4693577"/>
                  <a:pt x="5993778" y="4691763"/>
                  <a:pt x="5993778" y="4689220"/>
                </a:cubicBezTo>
                <a:cubicBezTo>
                  <a:pt x="5993778" y="4686678"/>
                  <a:pt x="5995593" y="4684863"/>
                  <a:pt x="5998136" y="4684863"/>
                </a:cubicBezTo>
                <a:close/>
                <a:moveTo>
                  <a:pt x="6152086" y="4683411"/>
                </a:moveTo>
                <a:cubicBezTo>
                  <a:pt x="6155354" y="4683411"/>
                  <a:pt x="6157896" y="4685954"/>
                  <a:pt x="6157896" y="4689220"/>
                </a:cubicBezTo>
                <a:cubicBezTo>
                  <a:pt x="6157896" y="4692487"/>
                  <a:pt x="6155354" y="4695030"/>
                  <a:pt x="6152086" y="4695030"/>
                </a:cubicBezTo>
                <a:cubicBezTo>
                  <a:pt x="6148820" y="4695030"/>
                  <a:pt x="6146277" y="4692487"/>
                  <a:pt x="6146277" y="4689220"/>
                </a:cubicBezTo>
                <a:cubicBezTo>
                  <a:pt x="6146277" y="4685954"/>
                  <a:pt x="6148820" y="4683411"/>
                  <a:pt x="6152086" y="4683411"/>
                </a:cubicBezTo>
                <a:close/>
                <a:moveTo>
                  <a:pt x="6305668" y="4681959"/>
                </a:moveTo>
                <a:cubicBezTo>
                  <a:pt x="6309663" y="4681959"/>
                  <a:pt x="6312930" y="4685226"/>
                  <a:pt x="6312930" y="4689220"/>
                </a:cubicBezTo>
                <a:cubicBezTo>
                  <a:pt x="6312930" y="4693215"/>
                  <a:pt x="6309663" y="4696482"/>
                  <a:pt x="6305668" y="4696482"/>
                </a:cubicBezTo>
                <a:cubicBezTo>
                  <a:pt x="6301673" y="4696482"/>
                  <a:pt x="6298406" y="4693215"/>
                  <a:pt x="6298406" y="4689220"/>
                </a:cubicBezTo>
                <a:cubicBezTo>
                  <a:pt x="6298406" y="4685226"/>
                  <a:pt x="6301673" y="4681959"/>
                  <a:pt x="6305668" y="4681959"/>
                </a:cubicBezTo>
                <a:close/>
                <a:moveTo>
                  <a:pt x="6459616" y="4680144"/>
                </a:moveTo>
                <a:cubicBezTo>
                  <a:pt x="6464700" y="4680144"/>
                  <a:pt x="6468696" y="4684139"/>
                  <a:pt x="6468696" y="4689220"/>
                </a:cubicBezTo>
                <a:cubicBezTo>
                  <a:pt x="6468696" y="4694306"/>
                  <a:pt x="6464700" y="4698300"/>
                  <a:pt x="6459616" y="4698300"/>
                </a:cubicBezTo>
                <a:cubicBezTo>
                  <a:pt x="6454534" y="4698300"/>
                  <a:pt x="6450540" y="4694306"/>
                  <a:pt x="6450540" y="4689220"/>
                </a:cubicBezTo>
                <a:cubicBezTo>
                  <a:pt x="6450540" y="4684139"/>
                  <a:pt x="6454534" y="4680144"/>
                  <a:pt x="6459616" y="4680144"/>
                </a:cubicBezTo>
                <a:close/>
                <a:moveTo>
                  <a:pt x="6613200" y="4679054"/>
                </a:moveTo>
                <a:cubicBezTo>
                  <a:pt x="6618648" y="4679054"/>
                  <a:pt x="6623367" y="4683773"/>
                  <a:pt x="6623367" y="4689220"/>
                </a:cubicBezTo>
                <a:cubicBezTo>
                  <a:pt x="6623367" y="4694668"/>
                  <a:pt x="6619010" y="4699387"/>
                  <a:pt x="6613200" y="4699387"/>
                </a:cubicBezTo>
                <a:cubicBezTo>
                  <a:pt x="6607754" y="4699387"/>
                  <a:pt x="6603034" y="4694668"/>
                  <a:pt x="6603034" y="4689220"/>
                </a:cubicBezTo>
                <a:cubicBezTo>
                  <a:pt x="6603034" y="4683773"/>
                  <a:pt x="6607754" y="4679054"/>
                  <a:pt x="6613200" y="4679054"/>
                </a:cubicBezTo>
                <a:close/>
                <a:moveTo>
                  <a:pt x="5229126" y="4535273"/>
                </a:moveTo>
                <a:cubicBezTo>
                  <a:pt x="5229488" y="4535273"/>
                  <a:pt x="5229488" y="4535273"/>
                  <a:pt x="5229488" y="4535635"/>
                </a:cubicBezTo>
                <a:cubicBezTo>
                  <a:pt x="5229488" y="4535997"/>
                  <a:pt x="5229126" y="4535997"/>
                  <a:pt x="5229126" y="4535997"/>
                </a:cubicBezTo>
                <a:cubicBezTo>
                  <a:pt x="5228764" y="4535997"/>
                  <a:pt x="5228764" y="4535997"/>
                  <a:pt x="5228764" y="4535635"/>
                </a:cubicBezTo>
                <a:cubicBezTo>
                  <a:pt x="5228764" y="4535273"/>
                  <a:pt x="5228764" y="4535273"/>
                  <a:pt x="5229126" y="4535273"/>
                </a:cubicBezTo>
                <a:close/>
                <a:moveTo>
                  <a:pt x="4768008" y="4535273"/>
                </a:moveTo>
                <a:cubicBezTo>
                  <a:pt x="4768370" y="4535273"/>
                  <a:pt x="4768370" y="4535273"/>
                  <a:pt x="4768370" y="4535635"/>
                </a:cubicBezTo>
                <a:cubicBezTo>
                  <a:pt x="4768370" y="4535997"/>
                  <a:pt x="4768008" y="4535997"/>
                  <a:pt x="4768008" y="4535997"/>
                </a:cubicBezTo>
                <a:cubicBezTo>
                  <a:pt x="4767646" y="4535997"/>
                  <a:pt x="4767646" y="4535997"/>
                  <a:pt x="4767646" y="4535635"/>
                </a:cubicBezTo>
                <a:cubicBezTo>
                  <a:pt x="4767646" y="4535273"/>
                  <a:pt x="4767646" y="4535273"/>
                  <a:pt x="4768008" y="4535273"/>
                </a:cubicBezTo>
                <a:close/>
                <a:moveTo>
                  <a:pt x="4614061" y="4535273"/>
                </a:moveTo>
                <a:cubicBezTo>
                  <a:pt x="4614424" y="4535273"/>
                  <a:pt x="4614424" y="4535273"/>
                  <a:pt x="4614424" y="4535635"/>
                </a:cubicBezTo>
                <a:cubicBezTo>
                  <a:pt x="4614424" y="4535997"/>
                  <a:pt x="4614061" y="4535997"/>
                  <a:pt x="4614061" y="4535997"/>
                </a:cubicBezTo>
                <a:cubicBezTo>
                  <a:pt x="4613699" y="4535997"/>
                  <a:pt x="4613699" y="4535997"/>
                  <a:pt x="4613699" y="4535635"/>
                </a:cubicBezTo>
                <a:cubicBezTo>
                  <a:pt x="4613699" y="4535273"/>
                  <a:pt x="4613699" y="4535273"/>
                  <a:pt x="4614061" y="4535273"/>
                </a:cubicBezTo>
                <a:close/>
                <a:moveTo>
                  <a:pt x="4460480" y="4534911"/>
                </a:moveTo>
                <a:cubicBezTo>
                  <a:pt x="4460842" y="4534911"/>
                  <a:pt x="4461204" y="4535273"/>
                  <a:pt x="4461204" y="4535635"/>
                </a:cubicBezTo>
                <a:cubicBezTo>
                  <a:pt x="4461204" y="4536001"/>
                  <a:pt x="4460480" y="4536363"/>
                  <a:pt x="4460480" y="4536363"/>
                </a:cubicBezTo>
                <a:cubicBezTo>
                  <a:pt x="4460114" y="4536363"/>
                  <a:pt x="4459752" y="4536001"/>
                  <a:pt x="4459752" y="4535635"/>
                </a:cubicBezTo>
                <a:cubicBezTo>
                  <a:pt x="4459752" y="4535273"/>
                  <a:pt x="4460114" y="4534911"/>
                  <a:pt x="4460480" y="4534911"/>
                </a:cubicBezTo>
                <a:close/>
                <a:moveTo>
                  <a:pt x="5383074" y="4533821"/>
                </a:moveTo>
                <a:cubicBezTo>
                  <a:pt x="5383798" y="4533821"/>
                  <a:pt x="5384526" y="4534545"/>
                  <a:pt x="5384526" y="4535273"/>
                </a:cubicBezTo>
                <a:cubicBezTo>
                  <a:pt x="5384526" y="4535997"/>
                  <a:pt x="5383074" y="4536725"/>
                  <a:pt x="5383074" y="4536725"/>
                </a:cubicBezTo>
                <a:cubicBezTo>
                  <a:pt x="5382346" y="4536725"/>
                  <a:pt x="5381622" y="4535997"/>
                  <a:pt x="5381622" y="4535273"/>
                </a:cubicBezTo>
                <a:cubicBezTo>
                  <a:pt x="5381622" y="4534545"/>
                  <a:pt x="5382346" y="4533821"/>
                  <a:pt x="5383074" y="4533821"/>
                </a:cubicBezTo>
                <a:close/>
                <a:moveTo>
                  <a:pt x="5536659" y="4533096"/>
                </a:moveTo>
                <a:cubicBezTo>
                  <a:pt x="5537750" y="4533096"/>
                  <a:pt x="5538840" y="4534187"/>
                  <a:pt x="5538840" y="4535277"/>
                </a:cubicBezTo>
                <a:cubicBezTo>
                  <a:pt x="5538840" y="4536363"/>
                  <a:pt x="5536659" y="4537453"/>
                  <a:pt x="5536659" y="4537453"/>
                </a:cubicBezTo>
                <a:cubicBezTo>
                  <a:pt x="5535569" y="4537453"/>
                  <a:pt x="5534482" y="4536363"/>
                  <a:pt x="5534482" y="4535277"/>
                </a:cubicBezTo>
                <a:cubicBezTo>
                  <a:pt x="5534482" y="4534187"/>
                  <a:pt x="5535569" y="4533096"/>
                  <a:pt x="5536659" y="4533096"/>
                </a:cubicBezTo>
                <a:close/>
                <a:moveTo>
                  <a:pt x="5690606" y="4532368"/>
                </a:moveTo>
                <a:cubicBezTo>
                  <a:pt x="5692421" y="4532368"/>
                  <a:pt x="5693870" y="4533821"/>
                  <a:pt x="5693870" y="4535635"/>
                </a:cubicBezTo>
                <a:cubicBezTo>
                  <a:pt x="5693870" y="4537450"/>
                  <a:pt x="5692421" y="4538906"/>
                  <a:pt x="5690606" y="4538906"/>
                </a:cubicBezTo>
                <a:cubicBezTo>
                  <a:pt x="5688788" y="4538906"/>
                  <a:pt x="5687336" y="4537450"/>
                  <a:pt x="5687336" y="4535635"/>
                </a:cubicBezTo>
                <a:cubicBezTo>
                  <a:pt x="5687336" y="4533821"/>
                  <a:pt x="5688788" y="4532368"/>
                  <a:pt x="5690606" y="4532368"/>
                </a:cubicBezTo>
                <a:close/>
                <a:moveTo>
                  <a:pt x="5844554" y="4530916"/>
                </a:moveTo>
                <a:cubicBezTo>
                  <a:pt x="5847096" y="4530916"/>
                  <a:pt x="5848911" y="4532731"/>
                  <a:pt x="5848911" y="4535273"/>
                </a:cubicBezTo>
                <a:cubicBezTo>
                  <a:pt x="5848911" y="4537816"/>
                  <a:pt x="5846730" y="4539630"/>
                  <a:pt x="5844554" y="4539630"/>
                </a:cubicBezTo>
                <a:cubicBezTo>
                  <a:pt x="5842012" y="4539630"/>
                  <a:pt x="5840197" y="4537816"/>
                  <a:pt x="5840197" y="4535273"/>
                </a:cubicBezTo>
                <a:cubicBezTo>
                  <a:pt x="5840197" y="4532731"/>
                  <a:pt x="5842012" y="4530916"/>
                  <a:pt x="5844554" y="4530916"/>
                </a:cubicBezTo>
                <a:close/>
                <a:moveTo>
                  <a:pt x="5998139" y="4529830"/>
                </a:moveTo>
                <a:cubicBezTo>
                  <a:pt x="6001406" y="4529830"/>
                  <a:pt x="6003948" y="4532372"/>
                  <a:pt x="6003948" y="4535639"/>
                </a:cubicBezTo>
                <a:cubicBezTo>
                  <a:pt x="6003948" y="4538906"/>
                  <a:pt x="6001406" y="4541448"/>
                  <a:pt x="5998139" y="4541448"/>
                </a:cubicBezTo>
                <a:cubicBezTo>
                  <a:pt x="5994872" y="4541448"/>
                  <a:pt x="5992330" y="4538906"/>
                  <a:pt x="5992330" y="4535639"/>
                </a:cubicBezTo>
                <a:cubicBezTo>
                  <a:pt x="5992330" y="4532372"/>
                  <a:pt x="5994872" y="4529830"/>
                  <a:pt x="5998139" y="4529830"/>
                </a:cubicBezTo>
                <a:close/>
                <a:moveTo>
                  <a:pt x="6152086" y="4528011"/>
                </a:moveTo>
                <a:cubicBezTo>
                  <a:pt x="6156082" y="4528011"/>
                  <a:pt x="6159348" y="4531278"/>
                  <a:pt x="6159348" y="4535273"/>
                </a:cubicBezTo>
                <a:cubicBezTo>
                  <a:pt x="6159348" y="4539268"/>
                  <a:pt x="6156082" y="4542535"/>
                  <a:pt x="6152086" y="4542535"/>
                </a:cubicBezTo>
                <a:cubicBezTo>
                  <a:pt x="6148092" y="4542535"/>
                  <a:pt x="6144825" y="4539268"/>
                  <a:pt x="6144825" y="4535273"/>
                </a:cubicBezTo>
                <a:cubicBezTo>
                  <a:pt x="6144825" y="4531278"/>
                  <a:pt x="6148092" y="4528011"/>
                  <a:pt x="6152086" y="4528011"/>
                </a:cubicBezTo>
                <a:close/>
                <a:moveTo>
                  <a:pt x="6305668" y="4526197"/>
                </a:moveTo>
                <a:cubicBezTo>
                  <a:pt x="6310750" y="4526197"/>
                  <a:pt x="6314748" y="4530192"/>
                  <a:pt x="6314748" y="4535273"/>
                </a:cubicBezTo>
                <a:cubicBezTo>
                  <a:pt x="6314748" y="4540358"/>
                  <a:pt x="6310750" y="4544353"/>
                  <a:pt x="6305668" y="4544353"/>
                </a:cubicBezTo>
                <a:cubicBezTo>
                  <a:pt x="6300587" y="4544353"/>
                  <a:pt x="6296592" y="4540358"/>
                  <a:pt x="6296592" y="4535273"/>
                </a:cubicBezTo>
                <a:cubicBezTo>
                  <a:pt x="6296592" y="4530192"/>
                  <a:pt x="6300587" y="4526197"/>
                  <a:pt x="6305668" y="4526197"/>
                </a:cubicBezTo>
                <a:close/>
                <a:moveTo>
                  <a:pt x="6459616" y="4525469"/>
                </a:moveTo>
                <a:cubicBezTo>
                  <a:pt x="6465062" y="4525469"/>
                  <a:pt x="6469782" y="4530188"/>
                  <a:pt x="6469782" y="4535635"/>
                </a:cubicBezTo>
                <a:cubicBezTo>
                  <a:pt x="6469782" y="4541082"/>
                  <a:pt x="6465425" y="4545802"/>
                  <a:pt x="6459616" y="4545802"/>
                </a:cubicBezTo>
                <a:cubicBezTo>
                  <a:pt x="6454168" y="4545802"/>
                  <a:pt x="6449449" y="4541082"/>
                  <a:pt x="6449449" y="4535635"/>
                </a:cubicBezTo>
                <a:cubicBezTo>
                  <a:pt x="6449449" y="4530188"/>
                  <a:pt x="6454168" y="4525469"/>
                  <a:pt x="6459616" y="4525469"/>
                </a:cubicBezTo>
                <a:close/>
                <a:moveTo>
                  <a:pt x="6613197" y="4523292"/>
                </a:moveTo>
                <a:cubicBezTo>
                  <a:pt x="6619734" y="4523292"/>
                  <a:pt x="6625182" y="4528739"/>
                  <a:pt x="6625182" y="4535273"/>
                </a:cubicBezTo>
                <a:cubicBezTo>
                  <a:pt x="6625182" y="4541810"/>
                  <a:pt x="6619734" y="4547254"/>
                  <a:pt x="6613197" y="4547254"/>
                </a:cubicBezTo>
                <a:cubicBezTo>
                  <a:pt x="6606664" y="4547254"/>
                  <a:pt x="6601216" y="4541810"/>
                  <a:pt x="6601216" y="4535273"/>
                </a:cubicBezTo>
                <a:cubicBezTo>
                  <a:pt x="6601216" y="4528739"/>
                  <a:pt x="6606664" y="4523292"/>
                  <a:pt x="6613197" y="4523292"/>
                </a:cubicBezTo>
                <a:close/>
                <a:moveTo>
                  <a:pt x="5075541" y="4381326"/>
                </a:moveTo>
                <a:cubicBezTo>
                  <a:pt x="5075904" y="4381326"/>
                  <a:pt x="5075904" y="4381326"/>
                  <a:pt x="5075904" y="4381688"/>
                </a:cubicBezTo>
                <a:cubicBezTo>
                  <a:pt x="5075904" y="4382054"/>
                  <a:pt x="5075541" y="4382054"/>
                  <a:pt x="5075541" y="4382054"/>
                </a:cubicBezTo>
                <a:cubicBezTo>
                  <a:pt x="5075179" y="4382054"/>
                  <a:pt x="5075179" y="4382054"/>
                  <a:pt x="5075179" y="4381688"/>
                </a:cubicBezTo>
                <a:cubicBezTo>
                  <a:pt x="5075179" y="4381326"/>
                  <a:pt x="5075179" y="4381326"/>
                  <a:pt x="5075541" y="4381326"/>
                </a:cubicBezTo>
                <a:close/>
                <a:moveTo>
                  <a:pt x="4614061" y="4381326"/>
                </a:moveTo>
                <a:cubicBezTo>
                  <a:pt x="4614424" y="4381326"/>
                  <a:pt x="4614424" y="4381326"/>
                  <a:pt x="4614424" y="4381688"/>
                </a:cubicBezTo>
                <a:cubicBezTo>
                  <a:pt x="4614424" y="4382054"/>
                  <a:pt x="4614061" y="4382054"/>
                  <a:pt x="4614061" y="4382054"/>
                </a:cubicBezTo>
                <a:cubicBezTo>
                  <a:pt x="4613699" y="4382054"/>
                  <a:pt x="4613699" y="4382054"/>
                  <a:pt x="4613699" y="4381688"/>
                </a:cubicBezTo>
                <a:cubicBezTo>
                  <a:pt x="4613699" y="4381326"/>
                  <a:pt x="4613699" y="4381326"/>
                  <a:pt x="4614061" y="4381326"/>
                </a:cubicBezTo>
                <a:close/>
                <a:moveTo>
                  <a:pt x="4460480" y="4381326"/>
                </a:moveTo>
                <a:cubicBezTo>
                  <a:pt x="4460842" y="4381326"/>
                  <a:pt x="4460842" y="4381326"/>
                  <a:pt x="4460842" y="4381688"/>
                </a:cubicBezTo>
                <a:cubicBezTo>
                  <a:pt x="4460842" y="4382054"/>
                  <a:pt x="4460480" y="4382054"/>
                  <a:pt x="4460480" y="4382054"/>
                </a:cubicBezTo>
                <a:cubicBezTo>
                  <a:pt x="4460118" y="4382054"/>
                  <a:pt x="4460118" y="4382054"/>
                  <a:pt x="4460118" y="4381688"/>
                </a:cubicBezTo>
                <a:cubicBezTo>
                  <a:pt x="4460118" y="4381326"/>
                  <a:pt x="4460118" y="4381326"/>
                  <a:pt x="4460480" y="4381326"/>
                </a:cubicBezTo>
                <a:close/>
                <a:moveTo>
                  <a:pt x="4306528" y="4380964"/>
                </a:moveTo>
                <a:cubicBezTo>
                  <a:pt x="4306894" y="4380964"/>
                  <a:pt x="4307256" y="4381326"/>
                  <a:pt x="4307256" y="4381688"/>
                </a:cubicBezTo>
                <a:cubicBezTo>
                  <a:pt x="4307256" y="4382054"/>
                  <a:pt x="4306528" y="4382416"/>
                  <a:pt x="4306528" y="4382416"/>
                </a:cubicBezTo>
                <a:cubicBezTo>
                  <a:pt x="4306166" y="4382416"/>
                  <a:pt x="4305804" y="4382054"/>
                  <a:pt x="4305804" y="4381688"/>
                </a:cubicBezTo>
                <a:cubicBezTo>
                  <a:pt x="4305804" y="4381326"/>
                  <a:pt x="4306166" y="4380964"/>
                  <a:pt x="4306528" y="4380964"/>
                </a:cubicBezTo>
                <a:close/>
                <a:moveTo>
                  <a:pt x="5229126" y="4379873"/>
                </a:moveTo>
                <a:cubicBezTo>
                  <a:pt x="5229850" y="4379873"/>
                  <a:pt x="5230579" y="4380601"/>
                  <a:pt x="5230579" y="4381326"/>
                </a:cubicBezTo>
                <a:cubicBezTo>
                  <a:pt x="5230579" y="4382054"/>
                  <a:pt x="5229126" y="4382778"/>
                  <a:pt x="5229126" y="4382778"/>
                </a:cubicBezTo>
                <a:cubicBezTo>
                  <a:pt x="5228398" y="4382778"/>
                  <a:pt x="5227674" y="4382054"/>
                  <a:pt x="5227674" y="4381326"/>
                </a:cubicBezTo>
                <a:cubicBezTo>
                  <a:pt x="5227674" y="4380601"/>
                  <a:pt x="5228398" y="4379873"/>
                  <a:pt x="5229126" y="4379873"/>
                </a:cubicBezTo>
                <a:close/>
                <a:moveTo>
                  <a:pt x="5383074" y="4379511"/>
                </a:moveTo>
                <a:cubicBezTo>
                  <a:pt x="5384164" y="4379511"/>
                  <a:pt x="5385250" y="4380601"/>
                  <a:pt x="5385250" y="4381688"/>
                </a:cubicBezTo>
                <a:cubicBezTo>
                  <a:pt x="5385250" y="4382778"/>
                  <a:pt x="5383074" y="4383868"/>
                  <a:pt x="5383074" y="4383868"/>
                </a:cubicBezTo>
                <a:cubicBezTo>
                  <a:pt x="5381984" y="4383868"/>
                  <a:pt x="5380894" y="4382778"/>
                  <a:pt x="5380894" y="4381688"/>
                </a:cubicBezTo>
                <a:cubicBezTo>
                  <a:pt x="5380894" y="4380601"/>
                  <a:pt x="5381984" y="4379511"/>
                  <a:pt x="5383074" y="4379511"/>
                </a:cubicBezTo>
                <a:close/>
                <a:moveTo>
                  <a:pt x="5536659" y="4378421"/>
                </a:moveTo>
                <a:cubicBezTo>
                  <a:pt x="5538474" y="4378421"/>
                  <a:pt x="5539922" y="4379873"/>
                  <a:pt x="5539922" y="4381688"/>
                </a:cubicBezTo>
                <a:cubicBezTo>
                  <a:pt x="5539922" y="4383506"/>
                  <a:pt x="5538474" y="4384958"/>
                  <a:pt x="5536659" y="4384958"/>
                </a:cubicBezTo>
                <a:cubicBezTo>
                  <a:pt x="5534841" y="4384958"/>
                  <a:pt x="5533388" y="4383506"/>
                  <a:pt x="5533388" y="4381688"/>
                </a:cubicBezTo>
                <a:cubicBezTo>
                  <a:pt x="5533388" y="4379873"/>
                  <a:pt x="5534841" y="4378421"/>
                  <a:pt x="5536659" y="4378421"/>
                </a:cubicBezTo>
                <a:close/>
                <a:moveTo>
                  <a:pt x="5690606" y="4377331"/>
                </a:moveTo>
                <a:cubicBezTo>
                  <a:pt x="5693149" y="4377331"/>
                  <a:pt x="5694964" y="4379145"/>
                  <a:pt x="5694964" y="4381688"/>
                </a:cubicBezTo>
                <a:cubicBezTo>
                  <a:pt x="5694964" y="4384230"/>
                  <a:pt x="5692783" y="4386045"/>
                  <a:pt x="5690606" y="4386045"/>
                </a:cubicBezTo>
                <a:cubicBezTo>
                  <a:pt x="5688064" y="4386045"/>
                  <a:pt x="5686250" y="4384230"/>
                  <a:pt x="5686250" y="4381688"/>
                </a:cubicBezTo>
                <a:cubicBezTo>
                  <a:pt x="5686250" y="4379145"/>
                  <a:pt x="5688064" y="4377331"/>
                  <a:pt x="5690606" y="4377331"/>
                </a:cubicBezTo>
                <a:close/>
                <a:moveTo>
                  <a:pt x="5844550" y="4375878"/>
                </a:moveTo>
                <a:cubicBezTo>
                  <a:pt x="5847817" y="4375878"/>
                  <a:pt x="5850360" y="4378421"/>
                  <a:pt x="5850360" y="4381688"/>
                </a:cubicBezTo>
                <a:cubicBezTo>
                  <a:pt x="5850360" y="4384955"/>
                  <a:pt x="5847817" y="4387497"/>
                  <a:pt x="5844550" y="4387497"/>
                </a:cubicBezTo>
                <a:cubicBezTo>
                  <a:pt x="5841284" y="4387497"/>
                  <a:pt x="5838741" y="4384955"/>
                  <a:pt x="5838741" y="4381688"/>
                </a:cubicBezTo>
                <a:cubicBezTo>
                  <a:pt x="5838741" y="4378421"/>
                  <a:pt x="5841284" y="4375878"/>
                  <a:pt x="5844550" y="4375878"/>
                </a:cubicBezTo>
                <a:close/>
                <a:moveTo>
                  <a:pt x="5998136" y="4374430"/>
                </a:moveTo>
                <a:cubicBezTo>
                  <a:pt x="6002130" y="4374430"/>
                  <a:pt x="6005397" y="4377697"/>
                  <a:pt x="6005397" y="4381692"/>
                </a:cubicBezTo>
                <a:cubicBezTo>
                  <a:pt x="6005397" y="4385686"/>
                  <a:pt x="6002130" y="4388953"/>
                  <a:pt x="5998136" y="4388953"/>
                </a:cubicBezTo>
                <a:cubicBezTo>
                  <a:pt x="5994144" y="4388953"/>
                  <a:pt x="5990874" y="4385686"/>
                  <a:pt x="5990874" y="4381692"/>
                </a:cubicBezTo>
                <a:cubicBezTo>
                  <a:pt x="5990874" y="4377697"/>
                  <a:pt x="5994144" y="4374430"/>
                  <a:pt x="5998136" y="4374430"/>
                </a:cubicBezTo>
                <a:close/>
                <a:moveTo>
                  <a:pt x="6152083" y="4372612"/>
                </a:moveTo>
                <a:cubicBezTo>
                  <a:pt x="6157168" y="4372612"/>
                  <a:pt x="6161162" y="4376607"/>
                  <a:pt x="6161162" y="4381688"/>
                </a:cubicBezTo>
                <a:cubicBezTo>
                  <a:pt x="6161162" y="4386773"/>
                  <a:pt x="6157168" y="4390768"/>
                  <a:pt x="6152083" y="4390768"/>
                </a:cubicBezTo>
                <a:cubicBezTo>
                  <a:pt x="6147002" y="4390768"/>
                  <a:pt x="6143006" y="4386773"/>
                  <a:pt x="6143006" y="4381688"/>
                </a:cubicBezTo>
                <a:cubicBezTo>
                  <a:pt x="6143006" y="4376607"/>
                  <a:pt x="6147002" y="4372612"/>
                  <a:pt x="6152083" y="4372612"/>
                </a:cubicBezTo>
                <a:close/>
                <a:moveTo>
                  <a:pt x="6305668" y="4371525"/>
                </a:moveTo>
                <a:cubicBezTo>
                  <a:pt x="6311115" y="4371525"/>
                  <a:pt x="6315834" y="4376244"/>
                  <a:pt x="6315834" y="4381692"/>
                </a:cubicBezTo>
                <a:cubicBezTo>
                  <a:pt x="6315834" y="4387139"/>
                  <a:pt x="6311478" y="4391858"/>
                  <a:pt x="6305668" y="4391858"/>
                </a:cubicBezTo>
                <a:cubicBezTo>
                  <a:pt x="6300221" y="4391858"/>
                  <a:pt x="6295502" y="4387139"/>
                  <a:pt x="6295502" y="4381692"/>
                </a:cubicBezTo>
                <a:cubicBezTo>
                  <a:pt x="6295502" y="4376244"/>
                  <a:pt x="6300221" y="4371525"/>
                  <a:pt x="6305668" y="4371525"/>
                </a:cubicBezTo>
                <a:close/>
                <a:moveTo>
                  <a:pt x="6459616" y="4369707"/>
                </a:moveTo>
                <a:cubicBezTo>
                  <a:pt x="6466153" y="4369707"/>
                  <a:pt x="6471600" y="4375154"/>
                  <a:pt x="6471600" y="4381688"/>
                </a:cubicBezTo>
                <a:cubicBezTo>
                  <a:pt x="6471600" y="4388225"/>
                  <a:pt x="6466153" y="4393672"/>
                  <a:pt x="6459616" y="4393672"/>
                </a:cubicBezTo>
                <a:cubicBezTo>
                  <a:pt x="6453082" y="4393672"/>
                  <a:pt x="6447634" y="4388225"/>
                  <a:pt x="6447634" y="4381688"/>
                </a:cubicBezTo>
                <a:cubicBezTo>
                  <a:pt x="6447634" y="4375154"/>
                  <a:pt x="6453082" y="4369707"/>
                  <a:pt x="6459616" y="4369707"/>
                </a:cubicBezTo>
                <a:close/>
                <a:moveTo>
                  <a:pt x="6613200" y="4367530"/>
                </a:moveTo>
                <a:cubicBezTo>
                  <a:pt x="6620824" y="4367530"/>
                  <a:pt x="6626996" y="4373702"/>
                  <a:pt x="6626996" y="4381326"/>
                </a:cubicBezTo>
                <a:cubicBezTo>
                  <a:pt x="6626996" y="4388953"/>
                  <a:pt x="6620824" y="4395125"/>
                  <a:pt x="6613200" y="4395125"/>
                </a:cubicBezTo>
                <a:cubicBezTo>
                  <a:pt x="6605577" y="4395125"/>
                  <a:pt x="6599402" y="4388953"/>
                  <a:pt x="6599402" y="4381326"/>
                </a:cubicBezTo>
                <a:cubicBezTo>
                  <a:pt x="6599402" y="4373702"/>
                  <a:pt x="6605577" y="4367530"/>
                  <a:pt x="6613200" y="4367530"/>
                </a:cubicBezTo>
                <a:close/>
                <a:moveTo>
                  <a:pt x="4921594" y="4227744"/>
                </a:moveTo>
                <a:cubicBezTo>
                  <a:pt x="4921956" y="4227744"/>
                  <a:pt x="4921956" y="4227744"/>
                  <a:pt x="4921956" y="4228106"/>
                </a:cubicBezTo>
                <a:cubicBezTo>
                  <a:pt x="4921956" y="4228468"/>
                  <a:pt x="4921594" y="4228468"/>
                  <a:pt x="4921594" y="4228468"/>
                </a:cubicBezTo>
                <a:cubicBezTo>
                  <a:pt x="4921232" y="4228468"/>
                  <a:pt x="4921232" y="4228468"/>
                  <a:pt x="4921232" y="4228106"/>
                </a:cubicBezTo>
                <a:cubicBezTo>
                  <a:pt x="4921232" y="4227744"/>
                  <a:pt x="4921232" y="4227744"/>
                  <a:pt x="4921594" y="4227744"/>
                </a:cubicBezTo>
                <a:close/>
                <a:moveTo>
                  <a:pt x="4460480" y="4227744"/>
                </a:moveTo>
                <a:cubicBezTo>
                  <a:pt x="4460842" y="4227744"/>
                  <a:pt x="4460842" y="4227744"/>
                  <a:pt x="4460842" y="4228106"/>
                </a:cubicBezTo>
                <a:cubicBezTo>
                  <a:pt x="4460842" y="4228468"/>
                  <a:pt x="4460480" y="4228468"/>
                  <a:pt x="4460480" y="4228468"/>
                </a:cubicBezTo>
                <a:cubicBezTo>
                  <a:pt x="4460118" y="4228468"/>
                  <a:pt x="4460118" y="4228468"/>
                  <a:pt x="4460118" y="4228106"/>
                </a:cubicBezTo>
                <a:cubicBezTo>
                  <a:pt x="4460118" y="4227744"/>
                  <a:pt x="4460118" y="4227744"/>
                  <a:pt x="4460480" y="4227744"/>
                </a:cubicBezTo>
                <a:close/>
                <a:moveTo>
                  <a:pt x="4306532" y="4227744"/>
                </a:moveTo>
                <a:cubicBezTo>
                  <a:pt x="4306894" y="4227744"/>
                  <a:pt x="4306894" y="4227744"/>
                  <a:pt x="4306894" y="4228106"/>
                </a:cubicBezTo>
                <a:cubicBezTo>
                  <a:pt x="4306894" y="4228468"/>
                  <a:pt x="4306532" y="4228468"/>
                  <a:pt x="4306532" y="4228468"/>
                </a:cubicBezTo>
                <a:cubicBezTo>
                  <a:pt x="4306170" y="4228468"/>
                  <a:pt x="4306170" y="4228468"/>
                  <a:pt x="4306170" y="4228106"/>
                </a:cubicBezTo>
                <a:cubicBezTo>
                  <a:pt x="4306170" y="4227744"/>
                  <a:pt x="4306170" y="4227744"/>
                  <a:pt x="4306532" y="4227744"/>
                </a:cubicBezTo>
                <a:close/>
                <a:moveTo>
                  <a:pt x="4152947" y="4227378"/>
                </a:moveTo>
                <a:cubicBezTo>
                  <a:pt x="4153309" y="4227378"/>
                  <a:pt x="4153672" y="4227740"/>
                  <a:pt x="4153672" y="4228103"/>
                </a:cubicBezTo>
                <a:cubicBezTo>
                  <a:pt x="4153672" y="4228468"/>
                  <a:pt x="4152947" y="4228831"/>
                  <a:pt x="4152947" y="4228831"/>
                </a:cubicBezTo>
                <a:cubicBezTo>
                  <a:pt x="4152581" y="4228831"/>
                  <a:pt x="4152219" y="4228468"/>
                  <a:pt x="4152219" y="4228103"/>
                </a:cubicBezTo>
                <a:cubicBezTo>
                  <a:pt x="4152219" y="4227740"/>
                  <a:pt x="4152581" y="4227378"/>
                  <a:pt x="4152947" y="4227378"/>
                </a:cubicBezTo>
                <a:close/>
                <a:moveTo>
                  <a:pt x="5075541" y="4226292"/>
                </a:moveTo>
                <a:cubicBezTo>
                  <a:pt x="5076266" y="4226292"/>
                  <a:pt x="5076994" y="4227016"/>
                  <a:pt x="5076994" y="4227744"/>
                </a:cubicBezTo>
                <a:cubicBezTo>
                  <a:pt x="5076994" y="4228468"/>
                  <a:pt x="5075541" y="4229197"/>
                  <a:pt x="5075541" y="4229197"/>
                </a:cubicBezTo>
                <a:cubicBezTo>
                  <a:pt x="5074813" y="4229197"/>
                  <a:pt x="5074089" y="4228468"/>
                  <a:pt x="5074089" y="4227744"/>
                </a:cubicBezTo>
                <a:cubicBezTo>
                  <a:pt x="5074089" y="4227016"/>
                  <a:pt x="5074813" y="4226292"/>
                  <a:pt x="5075541" y="4226292"/>
                </a:cubicBezTo>
                <a:close/>
                <a:moveTo>
                  <a:pt x="5229122" y="4225564"/>
                </a:moveTo>
                <a:cubicBezTo>
                  <a:pt x="5230213" y="4225564"/>
                  <a:pt x="5231303" y="4226654"/>
                  <a:pt x="5231303" y="4227744"/>
                </a:cubicBezTo>
                <a:cubicBezTo>
                  <a:pt x="5231303" y="4228831"/>
                  <a:pt x="5229122" y="4229921"/>
                  <a:pt x="5229122" y="4229921"/>
                </a:cubicBezTo>
                <a:cubicBezTo>
                  <a:pt x="5228036" y="4229921"/>
                  <a:pt x="5226946" y="4228831"/>
                  <a:pt x="5226946" y="4227744"/>
                </a:cubicBezTo>
                <a:cubicBezTo>
                  <a:pt x="5226946" y="4226654"/>
                  <a:pt x="5228036" y="4225564"/>
                  <a:pt x="5229122" y="4225564"/>
                </a:cubicBezTo>
                <a:close/>
                <a:moveTo>
                  <a:pt x="5383078" y="4224840"/>
                </a:moveTo>
                <a:cubicBezTo>
                  <a:pt x="5384892" y="4224840"/>
                  <a:pt x="5386344" y="4226292"/>
                  <a:pt x="5386344" y="4228106"/>
                </a:cubicBezTo>
                <a:cubicBezTo>
                  <a:pt x="5386344" y="4229921"/>
                  <a:pt x="5384892" y="4231377"/>
                  <a:pt x="5383078" y="4231377"/>
                </a:cubicBezTo>
                <a:cubicBezTo>
                  <a:pt x="5381260" y="4231377"/>
                  <a:pt x="5379807" y="4229921"/>
                  <a:pt x="5379807" y="4228106"/>
                </a:cubicBezTo>
                <a:cubicBezTo>
                  <a:pt x="5379807" y="4226292"/>
                  <a:pt x="5381260" y="4224840"/>
                  <a:pt x="5383078" y="4224840"/>
                </a:cubicBezTo>
                <a:close/>
                <a:moveTo>
                  <a:pt x="5536659" y="4223383"/>
                </a:moveTo>
                <a:cubicBezTo>
                  <a:pt x="5539198" y="4223383"/>
                  <a:pt x="5541016" y="4225198"/>
                  <a:pt x="5541016" y="4227740"/>
                </a:cubicBezTo>
                <a:cubicBezTo>
                  <a:pt x="5541016" y="4230283"/>
                  <a:pt x="5538836" y="4232097"/>
                  <a:pt x="5536659" y="4232097"/>
                </a:cubicBezTo>
                <a:cubicBezTo>
                  <a:pt x="5534116" y="4232097"/>
                  <a:pt x="5532302" y="4230283"/>
                  <a:pt x="5532302" y="4227740"/>
                </a:cubicBezTo>
                <a:cubicBezTo>
                  <a:pt x="5532302" y="4225198"/>
                  <a:pt x="5534116" y="4223383"/>
                  <a:pt x="5536659" y="4223383"/>
                </a:cubicBezTo>
                <a:close/>
                <a:moveTo>
                  <a:pt x="5690606" y="4222297"/>
                </a:moveTo>
                <a:cubicBezTo>
                  <a:pt x="5693874" y="4222297"/>
                  <a:pt x="5696416" y="4224840"/>
                  <a:pt x="5696416" y="4228106"/>
                </a:cubicBezTo>
                <a:cubicBezTo>
                  <a:pt x="5696416" y="4231373"/>
                  <a:pt x="5693874" y="4233916"/>
                  <a:pt x="5690606" y="4233916"/>
                </a:cubicBezTo>
                <a:cubicBezTo>
                  <a:pt x="5687340" y="4233916"/>
                  <a:pt x="5684797" y="4231373"/>
                  <a:pt x="5684797" y="4228106"/>
                </a:cubicBezTo>
                <a:cubicBezTo>
                  <a:pt x="5684797" y="4224840"/>
                  <a:pt x="5687340" y="4222297"/>
                  <a:pt x="5690606" y="4222297"/>
                </a:cubicBezTo>
                <a:close/>
                <a:moveTo>
                  <a:pt x="5844554" y="4220479"/>
                </a:moveTo>
                <a:cubicBezTo>
                  <a:pt x="5848549" y="4220479"/>
                  <a:pt x="5851816" y="4223746"/>
                  <a:pt x="5851816" y="4227740"/>
                </a:cubicBezTo>
                <a:cubicBezTo>
                  <a:pt x="5851816" y="4231735"/>
                  <a:pt x="5848549" y="4235002"/>
                  <a:pt x="5844554" y="4235002"/>
                </a:cubicBezTo>
                <a:cubicBezTo>
                  <a:pt x="5840563" y="4235002"/>
                  <a:pt x="5837292" y="4231735"/>
                  <a:pt x="5837292" y="4227740"/>
                </a:cubicBezTo>
                <a:cubicBezTo>
                  <a:pt x="5837292" y="4223746"/>
                  <a:pt x="5840563" y="4220479"/>
                  <a:pt x="5844554" y="4220479"/>
                </a:cubicBezTo>
                <a:close/>
                <a:moveTo>
                  <a:pt x="5998136" y="4218664"/>
                </a:moveTo>
                <a:cubicBezTo>
                  <a:pt x="6003220" y="4218664"/>
                  <a:pt x="6007216" y="4222659"/>
                  <a:pt x="6007216" y="4227740"/>
                </a:cubicBezTo>
                <a:cubicBezTo>
                  <a:pt x="6007216" y="4232825"/>
                  <a:pt x="6003220" y="4236820"/>
                  <a:pt x="5998136" y="4236820"/>
                </a:cubicBezTo>
                <a:cubicBezTo>
                  <a:pt x="5993054" y="4236820"/>
                  <a:pt x="5989059" y="4232825"/>
                  <a:pt x="5989059" y="4227740"/>
                </a:cubicBezTo>
                <a:cubicBezTo>
                  <a:pt x="5989059" y="4222659"/>
                  <a:pt x="5993054" y="4218664"/>
                  <a:pt x="5998136" y="4218664"/>
                </a:cubicBezTo>
                <a:close/>
                <a:moveTo>
                  <a:pt x="6152086" y="4217940"/>
                </a:moveTo>
                <a:cubicBezTo>
                  <a:pt x="6157534" y="4217940"/>
                  <a:pt x="6162253" y="4222659"/>
                  <a:pt x="6162253" y="4228106"/>
                </a:cubicBezTo>
                <a:cubicBezTo>
                  <a:pt x="6162253" y="4233554"/>
                  <a:pt x="6157896" y="4238273"/>
                  <a:pt x="6152086" y="4238273"/>
                </a:cubicBezTo>
                <a:cubicBezTo>
                  <a:pt x="6146640" y="4238273"/>
                  <a:pt x="6141920" y="4233554"/>
                  <a:pt x="6141920" y="4228106"/>
                </a:cubicBezTo>
                <a:cubicBezTo>
                  <a:pt x="6141920" y="4222659"/>
                  <a:pt x="6146640" y="4217940"/>
                  <a:pt x="6152086" y="4217940"/>
                </a:cubicBezTo>
                <a:close/>
                <a:moveTo>
                  <a:pt x="6305668" y="4215760"/>
                </a:moveTo>
                <a:cubicBezTo>
                  <a:pt x="6312206" y="4215760"/>
                  <a:pt x="6317649" y="4221207"/>
                  <a:pt x="6317649" y="4227740"/>
                </a:cubicBezTo>
                <a:cubicBezTo>
                  <a:pt x="6317649" y="4234278"/>
                  <a:pt x="6312206" y="4239721"/>
                  <a:pt x="6305668" y="4239721"/>
                </a:cubicBezTo>
                <a:cubicBezTo>
                  <a:pt x="6299134" y="4239721"/>
                  <a:pt x="6293687" y="4234278"/>
                  <a:pt x="6293687" y="4227740"/>
                </a:cubicBezTo>
                <a:cubicBezTo>
                  <a:pt x="6293687" y="4221207"/>
                  <a:pt x="6299134" y="4215760"/>
                  <a:pt x="6305668" y="4215760"/>
                </a:cubicBezTo>
                <a:close/>
                <a:moveTo>
                  <a:pt x="6459619" y="4213945"/>
                </a:moveTo>
                <a:cubicBezTo>
                  <a:pt x="6467243" y="4213945"/>
                  <a:pt x="6473414" y="4220117"/>
                  <a:pt x="6473414" y="4227744"/>
                </a:cubicBezTo>
                <a:cubicBezTo>
                  <a:pt x="6473414" y="4235368"/>
                  <a:pt x="6467243" y="4241539"/>
                  <a:pt x="6459619" y="4241539"/>
                </a:cubicBezTo>
                <a:cubicBezTo>
                  <a:pt x="6451992" y="4241539"/>
                  <a:pt x="6445820" y="4235368"/>
                  <a:pt x="6445820" y="4227744"/>
                </a:cubicBezTo>
                <a:cubicBezTo>
                  <a:pt x="6445820" y="4220117"/>
                  <a:pt x="6451992" y="4213945"/>
                  <a:pt x="6459619" y="4213945"/>
                </a:cubicBezTo>
                <a:close/>
                <a:moveTo>
                  <a:pt x="6613200" y="4212855"/>
                </a:moveTo>
                <a:cubicBezTo>
                  <a:pt x="6621552" y="4212855"/>
                  <a:pt x="6628452" y="4219754"/>
                  <a:pt x="6628452" y="4228103"/>
                </a:cubicBezTo>
                <a:cubicBezTo>
                  <a:pt x="6628452" y="4236454"/>
                  <a:pt x="6621552" y="4243354"/>
                  <a:pt x="6613200" y="4243354"/>
                </a:cubicBezTo>
                <a:cubicBezTo>
                  <a:pt x="6604852" y="4243354"/>
                  <a:pt x="6597953" y="4236454"/>
                  <a:pt x="6597953" y="4228103"/>
                </a:cubicBezTo>
                <a:cubicBezTo>
                  <a:pt x="6597953" y="4219754"/>
                  <a:pt x="6604852" y="4212855"/>
                  <a:pt x="6613200" y="4212855"/>
                </a:cubicBezTo>
                <a:close/>
                <a:moveTo>
                  <a:pt x="4768008" y="4073793"/>
                </a:moveTo>
                <a:cubicBezTo>
                  <a:pt x="4768370" y="4073793"/>
                  <a:pt x="4768370" y="4073793"/>
                  <a:pt x="4768370" y="4074155"/>
                </a:cubicBezTo>
                <a:cubicBezTo>
                  <a:pt x="4768370" y="4074521"/>
                  <a:pt x="4768008" y="4074521"/>
                  <a:pt x="4768008" y="4074521"/>
                </a:cubicBezTo>
                <a:cubicBezTo>
                  <a:pt x="4767646" y="4074521"/>
                  <a:pt x="4767646" y="4074521"/>
                  <a:pt x="4767646" y="4074155"/>
                </a:cubicBezTo>
                <a:cubicBezTo>
                  <a:pt x="4767646" y="4073793"/>
                  <a:pt x="4767646" y="4073793"/>
                  <a:pt x="4768008" y="4073793"/>
                </a:cubicBezTo>
                <a:close/>
                <a:moveTo>
                  <a:pt x="4306532" y="4073793"/>
                </a:moveTo>
                <a:cubicBezTo>
                  <a:pt x="4306894" y="4073793"/>
                  <a:pt x="4306894" y="4073793"/>
                  <a:pt x="4306894" y="4074155"/>
                </a:cubicBezTo>
                <a:cubicBezTo>
                  <a:pt x="4306894" y="4074521"/>
                  <a:pt x="4306532" y="4074521"/>
                  <a:pt x="4306532" y="4074521"/>
                </a:cubicBezTo>
                <a:cubicBezTo>
                  <a:pt x="4306170" y="4074521"/>
                  <a:pt x="4306170" y="4074521"/>
                  <a:pt x="4306170" y="4074155"/>
                </a:cubicBezTo>
                <a:cubicBezTo>
                  <a:pt x="4306170" y="4073793"/>
                  <a:pt x="4306170" y="4073793"/>
                  <a:pt x="4306532" y="4073793"/>
                </a:cubicBezTo>
                <a:close/>
                <a:moveTo>
                  <a:pt x="4152947" y="4073793"/>
                </a:moveTo>
                <a:cubicBezTo>
                  <a:pt x="4153309" y="4073793"/>
                  <a:pt x="4153309" y="4073793"/>
                  <a:pt x="4153309" y="4074155"/>
                </a:cubicBezTo>
                <a:cubicBezTo>
                  <a:pt x="4153309" y="4074521"/>
                  <a:pt x="4152947" y="4074521"/>
                  <a:pt x="4152947" y="4074521"/>
                </a:cubicBezTo>
                <a:cubicBezTo>
                  <a:pt x="4152585" y="4074521"/>
                  <a:pt x="4152585" y="4074521"/>
                  <a:pt x="4152585" y="4074155"/>
                </a:cubicBezTo>
                <a:cubicBezTo>
                  <a:pt x="4152585" y="4073793"/>
                  <a:pt x="4152585" y="4073793"/>
                  <a:pt x="4152947" y="4073793"/>
                </a:cubicBezTo>
                <a:close/>
                <a:moveTo>
                  <a:pt x="3998996" y="4073431"/>
                </a:moveTo>
                <a:cubicBezTo>
                  <a:pt x="3999362" y="4073431"/>
                  <a:pt x="3999724" y="4073793"/>
                  <a:pt x="3999724" y="4074155"/>
                </a:cubicBezTo>
                <a:cubicBezTo>
                  <a:pt x="3999724" y="4074521"/>
                  <a:pt x="3998996" y="4074883"/>
                  <a:pt x="3998996" y="4074883"/>
                </a:cubicBezTo>
                <a:cubicBezTo>
                  <a:pt x="3998634" y="4074883"/>
                  <a:pt x="3998272" y="4074521"/>
                  <a:pt x="3998272" y="4074155"/>
                </a:cubicBezTo>
                <a:cubicBezTo>
                  <a:pt x="3998272" y="4073793"/>
                  <a:pt x="3998634" y="4073431"/>
                  <a:pt x="3998996" y="4073431"/>
                </a:cubicBezTo>
                <a:close/>
                <a:moveTo>
                  <a:pt x="4921594" y="4072344"/>
                </a:moveTo>
                <a:cubicBezTo>
                  <a:pt x="4922318" y="4072344"/>
                  <a:pt x="4923046" y="4073069"/>
                  <a:pt x="4923046" y="4073797"/>
                </a:cubicBezTo>
                <a:cubicBezTo>
                  <a:pt x="4923046" y="4074521"/>
                  <a:pt x="4921594" y="4075249"/>
                  <a:pt x="4921594" y="4075249"/>
                </a:cubicBezTo>
                <a:cubicBezTo>
                  <a:pt x="4920866" y="4075249"/>
                  <a:pt x="4920142" y="4074521"/>
                  <a:pt x="4920142" y="4073797"/>
                </a:cubicBezTo>
                <a:cubicBezTo>
                  <a:pt x="4920142" y="4073069"/>
                  <a:pt x="4920866" y="4072344"/>
                  <a:pt x="4921594" y="4072344"/>
                </a:cubicBezTo>
                <a:close/>
                <a:moveTo>
                  <a:pt x="5075541" y="4071978"/>
                </a:moveTo>
                <a:cubicBezTo>
                  <a:pt x="5076632" y="4071978"/>
                  <a:pt x="5077722" y="4073069"/>
                  <a:pt x="5077722" y="4074155"/>
                </a:cubicBezTo>
                <a:cubicBezTo>
                  <a:pt x="5077722" y="4075245"/>
                  <a:pt x="5075541" y="4076335"/>
                  <a:pt x="5075541" y="4076335"/>
                </a:cubicBezTo>
                <a:cubicBezTo>
                  <a:pt x="5074455" y="4076335"/>
                  <a:pt x="5073364" y="4075245"/>
                  <a:pt x="5073364" y="4074155"/>
                </a:cubicBezTo>
                <a:cubicBezTo>
                  <a:pt x="5073364" y="4073069"/>
                  <a:pt x="5074455" y="4071978"/>
                  <a:pt x="5075541" y="4071978"/>
                </a:cubicBezTo>
                <a:close/>
                <a:moveTo>
                  <a:pt x="5229126" y="4070892"/>
                </a:moveTo>
                <a:cubicBezTo>
                  <a:pt x="5230944" y="4070892"/>
                  <a:pt x="5232394" y="4072344"/>
                  <a:pt x="5232394" y="4074159"/>
                </a:cubicBezTo>
                <a:cubicBezTo>
                  <a:pt x="5232394" y="4075973"/>
                  <a:pt x="5230944" y="4077429"/>
                  <a:pt x="5229126" y="4077429"/>
                </a:cubicBezTo>
                <a:cubicBezTo>
                  <a:pt x="5227312" y="4077429"/>
                  <a:pt x="5225860" y="4075973"/>
                  <a:pt x="5225860" y="4074159"/>
                </a:cubicBezTo>
                <a:cubicBezTo>
                  <a:pt x="5225860" y="4072344"/>
                  <a:pt x="5227312" y="4070892"/>
                  <a:pt x="5229126" y="4070892"/>
                </a:cubicBezTo>
                <a:close/>
                <a:moveTo>
                  <a:pt x="5383074" y="4069802"/>
                </a:moveTo>
                <a:cubicBezTo>
                  <a:pt x="5385616" y="4069802"/>
                  <a:pt x="5387431" y="4071616"/>
                  <a:pt x="5387431" y="4074159"/>
                </a:cubicBezTo>
                <a:cubicBezTo>
                  <a:pt x="5387431" y="4076701"/>
                  <a:pt x="5385254" y="4078516"/>
                  <a:pt x="5383074" y="4078516"/>
                </a:cubicBezTo>
                <a:cubicBezTo>
                  <a:pt x="5380532" y="4078516"/>
                  <a:pt x="5378717" y="4076701"/>
                  <a:pt x="5378717" y="4074159"/>
                </a:cubicBezTo>
                <a:cubicBezTo>
                  <a:pt x="5378717" y="4071616"/>
                  <a:pt x="5380532" y="4069802"/>
                  <a:pt x="5383074" y="4069802"/>
                </a:cubicBezTo>
                <a:close/>
                <a:moveTo>
                  <a:pt x="5536659" y="4068349"/>
                </a:moveTo>
                <a:cubicBezTo>
                  <a:pt x="5539926" y="4068349"/>
                  <a:pt x="5542468" y="4070892"/>
                  <a:pt x="5542468" y="4074159"/>
                </a:cubicBezTo>
                <a:cubicBezTo>
                  <a:pt x="5542468" y="4077426"/>
                  <a:pt x="5539926" y="4079968"/>
                  <a:pt x="5536659" y="4079968"/>
                </a:cubicBezTo>
                <a:cubicBezTo>
                  <a:pt x="5533392" y="4079968"/>
                  <a:pt x="5530850" y="4077426"/>
                  <a:pt x="5530850" y="4074159"/>
                </a:cubicBezTo>
                <a:cubicBezTo>
                  <a:pt x="5530850" y="4070892"/>
                  <a:pt x="5533392" y="4068349"/>
                  <a:pt x="5536659" y="4068349"/>
                </a:cubicBezTo>
                <a:close/>
                <a:moveTo>
                  <a:pt x="5690606" y="4066897"/>
                </a:moveTo>
                <a:cubicBezTo>
                  <a:pt x="5694602" y="4066897"/>
                  <a:pt x="5697868" y="4070164"/>
                  <a:pt x="5697868" y="4074159"/>
                </a:cubicBezTo>
                <a:cubicBezTo>
                  <a:pt x="5697868" y="4078154"/>
                  <a:pt x="5694602" y="4081420"/>
                  <a:pt x="5690606" y="4081420"/>
                </a:cubicBezTo>
                <a:cubicBezTo>
                  <a:pt x="5686616" y="4081420"/>
                  <a:pt x="5683345" y="4078154"/>
                  <a:pt x="5683345" y="4074159"/>
                </a:cubicBezTo>
                <a:cubicBezTo>
                  <a:pt x="5683345" y="4070164"/>
                  <a:pt x="5686616" y="4066897"/>
                  <a:pt x="5690606" y="4066897"/>
                </a:cubicBezTo>
                <a:close/>
                <a:moveTo>
                  <a:pt x="5844554" y="4064717"/>
                </a:moveTo>
                <a:cubicBezTo>
                  <a:pt x="5849639" y="4064717"/>
                  <a:pt x="5853634" y="4068712"/>
                  <a:pt x="5853634" y="4073793"/>
                </a:cubicBezTo>
                <a:cubicBezTo>
                  <a:pt x="5853634" y="4078878"/>
                  <a:pt x="5849639" y="4082873"/>
                  <a:pt x="5844554" y="4082873"/>
                </a:cubicBezTo>
                <a:cubicBezTo>
                  <a:pt x="5839472" y="4082873"/>
                  <a:pt x="5835478" y="4078878"/>
                  <a:pt x="5835478" y="4073793"/>
                </a:cubicBezTo>
                <a:cubicBezTo>
                  <a:pt x="5835478" y="4068712"/>
                  <a:pt x="5839472" y="4064717"/>
                  <a:pt x="5844554" y="4064717"/>
                </a:cubicBezTo>
                <a:close/>
                <a:moveTo>
                  <a:pt x="5998139" y="4063992"/>
                </a:moveTo>
                <a:cubicBezTo>
                  <a:pt x="6003586" y="4063992"/>
                  <a:pt x="6008306" y="4068712"/>
                  <a:pt x="6008306" y="4074159"/>
                </a:cubicBezTo>
                <a:cubicBezTo>
                  <a:pt x="6008306" y="4079606"/>
                  <a:pt x="6003948" y="4084325"/>
                  <a:pt x="5998139" y="4084325"/>
                </a:cubicBezTo>
                <a:cubicBezTo>
                  <a:pt x="5992692" y="4084325"/>
                  <a:pt x="5987973" y="4079606"/>
                  <a:pt x="5987973" y="4074159"/>
                </a:cubicBezTo>
                <a:cubicBezTo>
                  <a:pt x="5987973" y="4068712"/>
                  <a:pt x="5992692" y="4063992"/>
                  <a:pt x="5998139" y="4063992"/>
                </a:cubicBezTo>
                <a:close/>
                <a:moveTo>
                  <a:pt x="6152083" y="4062174"/>
                </a:moveTo>
                <a:cubicBezTo>
                  <a:pt x="6158620" y="4062174"/>
                  <a:pt x="6164064" y="4067621"/>
                  <a:pt x="6164064" y="4074155"/>
                </a:cubicBezTo>
                <a:cubicBezTo>
                  <a:pt x="6164064" y="4080692"/>
                  <a:pt x="6158620" y="4086140"/>
                  <a:pt x="6152083" y="4086140"/>
                </a:cubicBezTo>
                <a:cubicBezTo>
                  <a:pt x="6145546" y="4086140"/>
                  <a:pt x="6140102" y="4080692"/>
                  <a:pt x="6140102" y="4074155"/>
                </a:cubicBezTo>
                <a:cubicBezTo>
                  <a:pt x="6140102" y="4067621"/>
                  <a:pt x="6145546" y="4062174"/>
                  <a:pt x="6152083" y="4062174"/>
                </a:cubicBezTo>
                <a:close/>
                <a:moveTo>
                  <a:pt x="6305672" y="4059998"/>
                </a:moveTo>
                <a:cubicBezTo>
                  <a:pt x="6313292" y="4059998"/>
                  <a:pt x="6319467" y="4066169"/>
                  <a:pt x="6319467" y="4073793"/>
                </a:cubicBezTo>
                <a:cubicBezTo>
                  <a:pt x="6319467" y="4081420"/>
                  <a:pt x="6313292" y="4087592"/>
                  <a:pt x="6305672" y="4087592"/>
                </a:cubicBezTo>
                <a:cubicBezTo>
                  <a:pt x="6298044" y="4087592"/>
                  <a:pt x="6291873" y="4081420"/>
                  <a:pt x="6291873" y="4073793"/>
                </a:cubicBezTo>
                <a:cubicBezTo>
                  <a:pt x="6291873" y="4066169"/>
                  <a:pt x="6298044" y="4059998"/>
                  <a:pt x="6305672" y="4059998"/>
                </a:cubicBezTo>
                <a:close/>
                <a:moveTo>
                  <a:pt x="6459619" y="4058907"/>
                </a:moveTo>
                <a:cubicBezTo>
                  <a:pt x="6468040" y="4058907"/>
                  <a:pt x="6474867" y="4065735"/>
                  <a:pt x="6474867" y="4074155"/>
                </a:cubicBezTo>
                <a:cubicBezTo>
                  <a:pt x="6474867" y="4082579"/>
                  <a:pt x="6468040" y="4089406"/>
                  <a:pt x="6459619" y="4089406"/>
                </a:cubicBezTo>
                <a:cubicBezTo>
                  <a:pt x="6451195" y="4089406"/>
                  <a:pt x="6444368" y="4082579"/>
                  <a:pt x="6444368" y="4074155"/>
                </a:cubicBezTo>
                <a:cubicBezTo>
                  <a:pt x="6444368" y="4065735"/>
                  <a:pt x="6451195" y="4058907"/>
                  <a:pt x="6459619" y="4058907"/>
                </a:cubicBezTo>
                <a:close/>
                <a:moveTo>
                  <a:pt x="6613197" y="4057093"/>
                </a:moveTo>
                <a:cubicBezTo>
                  <a:pt x="6622639" y="4057093"/>
                  <a:pt x="6630266" y="4064717"/>
                  <a:pt x="6630266" y="4074159"/>
                </a:cubicBezTo>
                <a:cubicBezTo>
                  <a:pt x="6630266" y="4083597"/>
                  <a:pt x="6622639" y="4091225"/>
                  <a:pt x="6613197" y="4091225"/>
                </a:cubicBezTo>
                <a:cubicBezTo>
                  <a:pt x="6603758" y="4091225"/>
                  <a:pt x="6596135" y="4083597"/>
                  <a:pt x="6596135" y="4074159"/>
                </a:cubicBezTo>
                <a:cubicBezTo>
                  <a:pt x="6596135" y="4064717"/>
                  <a:pt x="6603758" y="4057093"/>
                  <a:pt x="6613197" y="4057093"/>
                </a:cubicBezTo>
                <a:close/>
                <a:moveTo>
                  <a:pt x="4614061" y="3919845"/>
                </a:moveTo>
                <a:cubicBezTo>
                  <a:pt x="4614424" y="3919845"/>
                  <a:pt x="4614424" y="3919845"/>
                  <a:pt x="4614424" y="3920208"/>
                </a:cubicBezTo>
                <a:cubicBezTo>
                  <a:pt x="4614424" y="3920574"/>
                  <a:pt x="4614061" y="3920574"/>
                  <a:pt x="4614061" y="3920574"/>
                </a:cubicBezTo>
                <a:cubicBezTo>
                  <a:pt x="4613699" y="3920574"/>
                  <a:pt x="4613699" y="3920574"/>
                  <a:pt x="4613699" y="3920208"/>
                </a:cubicBezTo>
                <a:cubicBezTo>
                  <a:pt x="4613699" y="3919845"/>
                  <a:pt x="4613699" y="3919845"/>
                  <a:pt x="4614061" y="3919845"/>
                </a:cubicBezTo>
                <a:close/>
                <a:moveTo>
                  <a:pt x="4152947" y="3919845"/>
                </a:moveTo>
                <a:cubicBezTo>
                  <a:pt x="4153309" y="3919845"/>
                  <a:pt x="4153309" y="3919845"/>
                  <a:pt x="4153309" y="3920208"/>
                </a:cubicBezTo>
                <a:cubicBezTo>
                  <a:pt x="4153309" y="3920574"/>
                  <a:pt x="4152947" y="3920574"/>
                  <a:pt x="4152947" y="3920574"/>
                </a:cubicBezTo>
                <a:cubicBezTo>
                  <a:pt x="4152585" y="3920574"/>
                  <a:pt x="4152585" y="3920574"/>
                  <a:pt x="4152585" y="3920208"/>
                </a:cubicBezTo>
                <a:cubicBezTo>
                  <a:pt x="4152585" y="3919845"/>
                  <a:pt x="4152585" y="3919845"/>
                  <a:pt x="4152947" y="3919845"/>
                </a:cubicBezTo>
                <a:close/>
                <a:moveTo>
                  <a:pt x="3999000" y="3919845"/>
                </a:moveTo>
                <a:cubicBezTo>
                  <a:pt x="3999362" y="3919845"/>
                  <a:pt x="3999362" y="3919845"/>
                  <a:pt x="3999362" y="3920208"/>
                </a:cubicBezTo>
                <a:cubicBezTo>
                  <a:pt x="3999362" y="3920574"/>
                  <a:pt x="3999000" y="3920574"/>
                  <a:pt x="3999000" y="3920574"/>
                </a:cubicBezTo>
                <a:cubicBezTo>
                  <a:pt x="3998638" y="3920574"/>
                  <a:pt x="3998638" y="3920574"/>
                  <a:pt x="3998638" y="3920208"/>
                </a:cubicBezTo>
                <a:cubicBezTo>
                  <a:pt x="3998638" y="3919845"/>
                  <a:pt x="3998638" y="3919845"/>
                  <a:pt x="3999000" y="3919845"/>
                </a:cubicBezTo>
                <a:close/>
                <a:moveTo>
                  <a:pt x="3845418" y="3919483"/>
                </a:moveTo>
                <a:cubicBezTo>
                  <a:pt x="3845818" y="3919483"/>
                  <a:pt x="3846142" y="3919807"/>
                  <a:pt x="3846142" y="3920211"/>
                </a:cubicBezTo>
                <a:cubicBezTo>
                  <a:pt x="3846142" y="3920612"/>
                  <a:pt x="3845818" y="3920936"/>
                  <a:pt x="3845418" y="3920936"/>
                </a:cubicBezTo>
                <a:cubicBezTo>
                  <a:pt x="3845014" y="3920936"/>
                  <a:pt x="3844690" y="3920612"/>
                  <a:pt x="3844690" y="3920211"/>
                </a:cubicBezTo>
                <a:cubicBezTo>
                  <a:pt x="3844690" y="3919807"/>
                  <a:pt x="3845014" y="3919483"/>
                  <a:pt x="3845418" y="3919483"/>
                </a:cubicBezTo>
                <a:close/>
                <a:moveTo>
                  <a:pt x="4768012" y="3918759"/>
                </a:moveTo>
                <a:cubicBezTo>
                  <a:pt x="4768736" y="3918759"/>
                  <a:pt x="4769464" y="3919483"/>
                  <a:pt x="4769464" y="3920211"/>
                </a:cubicBezTo>
                <a:cubicBezTo>
                  <a:pt x="4769464" y="3920936"/>
                  <a:pt x="4768012" y="3921664"/>
                  <a:pt x="4768012" y="3921664"/>
                </a:cubicBezTo>
                <a:cubicBezTo>
                  <a:pt x="4767284" y="3921664"/>
                  <a:pt x="4766560" y="3920936"/>
                  <a:pt x="4766560" y="3920211"/>
                </a:cubicBezTo>
                <a:cubicBezTo>
                  <a:pt x="4766560" y="3919483"/>
                  <a:pt x="4767284" y="3918759"/>
                  <a:pt x="4768012" y="3918759"/>
                </a:cubicBezTo>
                <a:close/>
                <a:moveTo>
                  <a:pt x="4921594" y="3918031"/>
                </a:moveTo>
                <a:cubicBezTo>
                  <a:pt x="4922684" y="3918031"/>
                  <a:pt x="4923774" y="3919121"/>
                  <a:pt x="4923774" y="3920208"/>
                </a:cubicBezTo>
                <a:cubicBezTo>
                  <a:pt x="4923774" y="3921298"/>
                  <a:pt x="4921594" y="3922388"/>
                  <a:pt x="4921594" y="3922388"/>
                </a:cubicBezTo>
                <a:cubicBezTo>
                  <a:pt x="4920508" y="3922388"/>
                  <a:pt x="4919417" y="3921298"/>
                  <a:pt x="4919417" y="3920208"/>
                </a:cubicBezTo>
                <a:cubicBezTo>
                  <a:pt x="4919417" y="3919121"/>
                  <a:pt x="4920508" y="3918031"/>
                  <a:pt x="4921594" y="3918031"/>
                </a:cubicBezTo>
                <a:close/>
                <a:moveTo>
                  <a:pt x="5075545" y="3917307"/>
                </a:moveTo>
                <a:cubicBezTo>
                  <a:pt x="5077360" y="3917307"/>
                  <a:pt x="5078812" y="3918759"/>
                  <a:pt x="5078812" y="3920574"/>
                </a:cubicBezTo>
                <a:cubicBezTo>
                  <a:pt x="5078812" y="3922388"/>
                  <a:pt x="5077360" y="3923844"/>
                  <a:pt x="5075545" y="3923844"/>
                </a:cubicBezTo>
                <a:cubicBezTo>
                  <a:pt x="5073726" y="3923844"/>
                  <a:pt x="5072274" y="3922388"/>
                  <a:pt x="5072274" y="3920574"/>
                </a:cubicBezTo>
                <a:cubicBezTo>
                  <a:pt x="5072274" y="3918759"/>
                  <a:pt x="5073726" y="3917307"/>
                  <a:pt x="5075545" y="3917307"/>
                </a:cubicBezTo>
                <a:close/>
                <a:moveTo>
                  <a:pt x="5229126" y="3915854"/>
                </a:moveTo>
                <a:cubicBezTo>
                  <a:pt x="5231669" y="3915854"/>
                  <a:pt x="5233484" y="3917669"/>
                  <a:pt x="5233484" y="3920211"/>
                </a:cubicBezTo>
                <a:cubicBezTo>
                  <a:pt x="5233484" y="3922754"/>
                  <a:pt x="5231303" y="3924568"/>
                  <a:pt x="5229126" y="3924568"/>
                </a:cubicBezTo>
                <a:cubicBezTo>
                  <a:pt x="5226584" y="3924568"/>
                  <a:pt x="5224770" y="3922754"/>
                  <a:pt x="5224770" y="3920211"/>
                </a:cubicBezTo>
                <a:cubicBezTo>
                  <a:pt x="5224770" y="3917669"/>
                  <a:pt x="5226584" y="3915854"/>
                  <a:pt x="5229126" y="3915854"/>
                </a:cubicBezTo>
                <a:close/>
                <a:moveTo>
                  <a:pt x="5383074" y="3914764"/>
                </a:moveTo>
                <a:cubicBezTo>
                  <a:pt x="5386340" y="3914764"/>
                  <a:pt x="5388883" y="3917307"/>
                  <a:pt x="5388883" y="3920574"/>
                </a:cubicBezTo>
                <a:cubicBezTo>
                  <a:pt x="5388883" y="3923840"/>
                  <a:pt x="5386340" y="3926383"/>
                  <a:pt x="5383074" y="3926383"/>
                </a:cubicBezTo>
                <a:cubicBezTo>
                  <a:pt x="5379807" y="3926383"/>
                  <a:pt x="5377264" y="3923840"/>
                  <a:pt x="5377264" y="3920574"/>
                </a:cubicBezTo>
                <a:cubicBezTo>
                  <a:pt x="5377264" y="3917307"/>
                  <a:pt x="5379807" y="3914764"/>
                  <a:pt x="5383074" y="3914764"/>
                </a:cubicBezTo>
                <a:close/>
                <a:moveTo>
                  <a:pt x="5536659" y="3912950"/>
                </a:moveTo>
                <a:cubicBezTo>
                  <a:pt x="5540654" y="3912950"/>
                  <a:pt x="5543921" y="3916217"/>
                  <a:pt x="5543921" y="3920211"/>
                </a:cubicBezTo>
                <a:cubicBezTo>
                  <a:pt x="5543921" y="3924206"/>
                  <a:pt x="5540654" y="3927473"/>
                  <a:pt x="5536659" y="3927473"/>
                </a:cubicBezTo>
                <a:cubicBezTo>
                  <a:pt x="5532664" y="3927473"/>
                  <a:pt x="5529398" y="3924206"/>
                  <a:pt x="5529398" y="3920211"/>
                </a:cubicBezTo>
                <a:cubicBezTo>
                  <a:pt x="5529398" y="3916217"/>
                  <a:pt x="5532664" y="3912950"/>
                  <a:pt x="5536659" y="3912950"/>
                </a:cubicBezTo>
                <a:close/>
                <a:moveTo>
                  <a:pt x="5690606" y="3911135"/>
                </a:moveTo>
                <a:cubicBezTo>
                  <a:pt x="5695692" y="3911135"/>
                  <a:pt x="5699686" y="3915130"/>
                  <a:pt x="5699686" y="3920211"/>
                </a:cubicBezTo>
                <a:cubicBezTo>
                  <a:pt x="5699686" y="3925297"/>
                  <a:pt x="5695692" y="3929291"/>
                  <a:pt x="5690606" y="3929291"/>
                </a:cubicBezTo>
                <a:cubicBezTo>
                  <a:pt x="5685526" y="3929291"/>
                  <a:pt x="5681530" y="3925297"/>
                  <a:pt x="5681530" y="3920211"/>
                </a:cubicBezTo>
                <a:cubicBezTo>
                  <a:pt x="5681530" y="3915130"/>
                  <a:pt x="5685526" y="3911135"/>
                  <a:pt x="5690606" y="3911135"/>
                </a:cubicBezTo>
                <a:close/>
                <a:moveTo>
                  <a:pt x="5844554" y="3910045"/>
                </a:moveTo>
                <a:cubicBezTo>
                  <a:pt x="5850001" y="3910045"/>
                  <a:pt x="5854720" y="3914764"/>
                  <a:pt x="5854720" y="3920211"/>
                </a:cubicBezTo>
                <a:cubicBezTo>
                  <a:pt x="5854720" y="3925659"/>
                  <a:pt x="5850363" y="3930378"/>
                  <a:pt x="5844554" y="3930378"/>
                </a:cubicBezTo>
                <a:cubicBezTo>
                  <a:pt x="5839106" y="3930378"/>
                  <a:pt x="5834388" y="3925659"/>
                  <a:pt x="5834388" y="3920211"/>
                </a:cubicBezTo>
                <a:cubicBezTo>
                  <a:pt x="5834388" y="3914764"/>
                  <a:pt x="5839106" y="3910045"/>
                  <a:pt x="5844554" y="3910045"/>
                </a:cubicBezTo>
                <a:close/>
                <a:moveTo>
                  <a:pt x="5998139" y="3908227"/>
                </a:moveTo>
                <a:cubicBezTo>
                  <a:pt x="6004673" y="3908227"/>
                  <a:pt x="6010120" y="3913674"/>
                  <a:pt x="6010120" y="3920208"/>
                </a:cubicBezTo>
                <a:cubicBezTo>
                  <a:pt x="6010120" y="3926745"/>
                  <a:pt x="6004673" y="3932192"/>
                  <a:pt x="5998139" y="3932192"/>
                </a:cubicBezTo>
                <a:cubicBezTo>
                  <a:pt x="5991602" y="3932192"/>
                  <a:pt x="5986158" y="3926745"/>
                  <a:pt x="5986158" y="3920208"/>
                </a:cubicBezTo>
                <a:cubicBezTo>
                  <a:pt x="5986158" y="3913674"/>
                  <a:pt x="5991602" y="3908227"/>
                  <a:pt x="5998139" y="3908227"/>
                </a:cubicBezTo>
                <a:close/>
                <a:moveTo>
                  <a:pt x="6152086" y="3906412"/>
                </a:moveTo>
                <a:cubicBezTo>
                  <a:pt x="6159710" y="3906412"/>
                  <a:pt x="6165882" y="3912584"/>
                  <a:pt x="6165882" y="3920211"/>
                </a:cubicBezTo>
                <a:cubicBezTo>
                  <a:pt x="6165882" y="3927835"/>
                  <a:pt x="6159710" y="3934007"/>
                  <a:pt x="6152086" y="3934007"/>
                </a:cubicBezTo>
                <a:cubicBezTo>
                  <a:pt x="6144463" y="3934007"/>
                  <a:pt x="6138288" y="3927835"/>
                  <a:pt x="6138288" y="3920211"/>
                </a:cubicBezTo>
                <a:cubicBezTo>
                  <a:pt x="6138288" y="3912584"/>
                  <a:pt x="6144463" y="3906412"/>
                  <a:pt x="6152086" y="3906412"/>
                </a:cubicBezTo>
                <a:close/>
                <a:moveTo>
                  <a:pt x="6305672" y="3904960"/>
                </a:moveTo>
                <a:cubicBezTo>
                  <a:pt x="6314092" y="3904960"/>
                  <a:pt x="6320920" y="3911787"/>
                  <a:pt x="6320920" y="3920211"/>
                </a:cubicBezTo>
                <a:cubicBezTo>
                  <a:pt x="6320920" y="3928632"/>
                  <a:pt x="6314092" y="3935459"/>
                  <a:pt x="6305672" y="3935459"/>
                </a:cubicBezTo>
                <a:cubicBezTo>
                  <a:pt x="6297248" y="3935459"/>
                  <a:pt x="6290420" y="3928632"/>
                  <a:pt x="6290420" y="3920211"/>
                </a:cubicBezTo>
                <a:cubicBezTo>
                  <a:pt x="6290420" y="3911787"/>
                  <a:pt x="6297248" y="3904960"/>
                  <a:pt x="6305672" y="3904960"/>
                </a:cubicBezTo>
                <a:close/>
                <a:moveTo>
                  <a:pt x="6459616" y="3903146"/>
                </a:moveTo>
                <a:cubicBezTo>
                  <a:pt x="6469058" y="3903146"/>
                  <a:pt x="6476682" y="3910769"/>
                  <a:pt x="6476682" y="3920211"/>
                </a:cubicBezTo>
                <a:cubicBezTo>
                  <a:pt x="6476682" y="3929650"/>
                  <a:pt x="6469058" y="3937277"/>
                  <a:pt x="6459616" y="3937277"/>
                </a:cubicBezTo>
                <a:cubicBezTo>
                  <a:pt x="6450174" y="3937277"/>
                  <a:pt x="6442550" y="3929650"/>
                  <a:pt x="6442550" y="3920211"/>
                </a:cubicBezTo>
                <a:cubicBezTo>
                  <a:pt x="6442550" y="3910769"/>
                  <a:pt x="6450174" y="3903146"/>
                  <a:pt x="6459616" y="3903146"/>
                </a:cubicBezTo>
                <a:close/>
                <a:moveTo>
                  <a:pt x="6613200" y="3900969"/>
                </a:moveTo>
                <a:cubicBezTo>
                  <a:pt x="6623828" y="3900969"/>
                  <a:pt x="6632447" y="3909584"/>
                  <a:pt x="6632447" y="3920211"/>
                </a:cubicBezTo>
                <a:cubicBezTo>
                  <a:pt x="6632447" y="3930839"/>
                  <a:pt x="6623828" y="3939458"/>
                  <a:pt x="6613200" y="3939458"/>
                </a:cubicBezTo>
                <a:cubicBezTo>
                  <a:pt x="6602573" y="3939458"/>
                  <a:pt x="6593958" y="3930839"/>
                  <a:pt x="6593958" y="3920211"/>
                </a:cubicBezTo>
                <a:cubicBezTo>
                  <a:pt x="6593958" y="3909584"/>
                  <a:pt x="6602573" y="3900969"/>
                  <a:pt x="6613200" y="3900969"/>
                </a:cubicBezTo>
                <a:close/>
                <a:moveTo>
                  <a:pt x="4460480" y="3766264"/>
                </a:moveTo>
                <a:cubicBezTo>
                  <a:pt x="4460842" y="3766264"/>
                  <a:pt x="4460842" y="3766264"/>
                  <a:pt x="4460842" y="3766626"/>
                </a:cubicBezTo>
                <a:cubicBezTo>
                  <a:pt x="4460842" y="3766988"/>
                  <a:pt x="4460480" y="3766988"/>
                  <a:pt x="4460480" y="3766988"/>
                </a:cubicBezTo>
                <a:cubicBezTo>
                  <a:pt x="4460118" y="3766988"/>
                  <a:pt x="4460118" y="3766988"/>
                  <a:pt x="4460118" y="3766626"/>
                </a:cubicBezTo>
                <a:cubicBezTo>
                  <a:pt x="4460118" y="3766264"/>
                  <a:pt x="4460118" y="3766264"/>
                  <a:pt x="4460480" y="3766264"/>
                </a:cubicBezTo>
                <a:close/>
                <a:moveTo>
                  <a:pt x="3999000" y="3766264"/>
                </a:moveTo>
                <a:cubicBezTo>
                  <a:pt x="3999362" y="3766264"/>
                  <a:pt x="3999362" y="3766264"/>
                  <a:pt x="3999362" y="3766626"/>
                </a:cubicBezTo>
                <a:cubicBezTo>
                  <a:pt x="3999362" y="3766988"/>
                  <a:pt x="3999000" y="3766988"/>
                  <a:pt x="3999000" y="3766988"/>
                </a:cubicBezTo>
                <a:cubicBezTo>
                  <a:pt x="3998638" y="3766988"/>
                  <a:pt x="3998638" y="3766988"/>
                  <a:pt x="3998638" y="3766626"/>
                </a:cubicBezTo>
                <a:cubicBezTo>
                  <a:pt x="3998638" y="3766264"/>
                  <a:pt x="3998638" y="3766264"/>
                  <a:pt x="3999000" y="3766264"/>
                </a:cubicBezTo>
                <a:close/>
                <a:moveTo>
                  <a:pt x="3845414" y="3766264"/>
                </a:moveTo>
                <a:cubicBezTo>
                  <a:pt x="3845776" y="3766264"/>
                  <a:pt x="3845776" y="3766264"/>
                  <a:pt x="3845776" y="3766626"/>
                </a:cubicBezTo>
                <a:cubicBezTo>
                  <a:pt x="3845776" y="3766988"/>
                  <a:pt x="3845414" y="3766988"/>
                  <a:pt x="3845414" y="3766988"/>
                </a:cubicBezTo>
                <a:cubicBezTo>
                  <a:pt x="3845052" y="3766988"/>
                  <a:pt x="3845052" y="3766988"/>
                  <a:pt x="3845052" y="3766626"/>
                </a:cubicBezTo>
                <a:cubicBezTo>
                  <a:pt x="3845052" y="3766264"/>
                  <a:pt x="3845052" y="3766264"/>
                  <a:pt x="3845414" y="3766264"/>
                </a:cubicBezTo>
                <a:close/>
                <a:moveTo>
                  <a:pt x="3691471" y="3765902"/>
                </a:moveTo>
                <a:cubicBezTo>
                  <a:pt x="3691871" y="3765902"/>
                  <a:pt x="3692195" y="3766226"/>
                  <a:pt x="3692195" y="3766626"/>
                </a:cubicBezTo>
                <a:cubicBezTo>
                  <a:pt x="3692195" y="3767030"/>
                  <a:pt x="3691871" y="3767354"/>
                  <a:pt x="3691471" y="3767354"/>
                </a:cubicBezTo>
                <a:cubicBezTo>
                  <a:pt x="3691067" y="3767354"/>
                  <a:pt x="3690743" y="3767030"/>
                  <a:pt x="3690743" y="3766626"/>
                </a:cubicBezTo>
                <a:cubicBezTo>
                  <a:pt x="3690743" y="3766226"/>
                  <a:pt x="3691067" y="3765902"/>
                  <a:pt x="3691471" y="3765902"/>
                </a:cubicBezTo>
                <a:close/>
                <a:moveTo>
                  <a:pt x="4614065" y="3764812"/>
                </a:moveTo>
                <a:cubicBezTo>
                  <a:pt x="4614789" y="3764812"/>
                  <a:pt x="4615518" y="3765536"/>
                  <a:pt x="4615518" y="3766264"/>
                </a:cubicBezTo>
                <a:cubicBezTo>
                  <a:pt x="4615518" y="3766988"/>
                  <a:pt x="4614065" y="3767716"/>
                  <a:pt x="4614065" y="3767716"/>
                </a:cubicBezTo>
                <a:cubicBezTo>
                  <a:pt x="4613337" y="3767716"/>
                  <a:pt x="4612612" y="3766988"/>
                  <a:pt x="4612612" y="3766264"/>
                </a:cubicBezTo>
                <a:cubicBezTo>
                  <a:pt x="4612612" y="3765536"/>
                  <a:pt x="4613337" y="3764812"/>
                  <a:pt x="4614065" y="3764812"/>
                </a:cubicBezTo>
                <a:close/>
                <a:moveTo>
                  <a:pt x="4768008" y="3764450"/>
                </a:moveTo>
                <a:cubicBezTo>
                  <a:pt x="4769098" y="3764450"/>
                  <a:pt x="4770189" y="3765540"/>
                  <a:pt x="4770189" y="3766626"/>
                </a:cubicBezTo>
                <a:cubicBezTo>
                  <a:pt x="4770189" y="3767716"/>
                  <a:pt x="4768008" y="3768807"/>
                  <a:pt x="4768008" y="3768807"/>
                </a:cubicBezTo>
                <a:cubicBezTo>
                  <a:pt x="4766922" y="3768807"/>
                  <a:pt x="4765832" y="3767716"/>
                  <a:pt x="4765832" y="3766626"/>
                </a:cubicBezTo>
                <a:cubicBezTo>
                  <a:pt x="4765832" y="3765540"/>
                  <a:pt x="4766922" y="3764450"/>
                  <a:pt x="4768008" y="3764450"/>
                </a:cubicBezTo>
                <a:close/>
                <a:moveTo>
                  <a:pt x="4921594" y="3763359"/>
                </a:moveTo>
                <a:cubicBezTo>
                  <a:pt x="4923412" y="3763359"/>
                  <a:pt x="4924860" y="3764812"/>
                  <a:pt x="4924860" y="3766626"/>
                </a:cubicBezTo>
                <a:cubicBezTo>
                  <a:pt x="4924860" y="3768441"/>
                  <a:pt x="4923412" y="3769897"/>
                  <a:pt x="4921594" y="3769897"/>
                </a:cubicBezTo>
                <a:cubicBezTo>
                  <a:pt x="4919780" y="3769897"/>
                  <a:pt x="4918327" y="3768441"/>
                  <a:pt x="4918327" y="3766626"/>
                </a:cubicBezTo>
                <a:cubicBezTo>
                  <a:pt x="4918327" y="3764812"/>
                  <a:pt x="4919780" y="3763359"/>
                  <a:pt x="4921594" y="3763359"/>
                </a:cubicBezTo>
                <a:close/>
                <a:moveTo>
                  <a:pt x="5075541" y="3762269"/>
                </a:moveTo>
                <a:cubicBezTo>
                  <a:pt x="5078084" y="3762269"/>
                  <a:pt x="5079898" y="3764084"/>
                  <a:pt x="5079898" y="3766626"/>
                </a:cubicBezTo>
                <a:cubicBezTo>
                  <a:pt x="5079898" y="3769169"/>
                  <a:pt x="5077722" y="3770983"/>
                  <a:pt x="5075541" y="3770983"/>
                </a:cubicBezTo>
                <a:cubicBezTo>
                  <a:pt x="5072998" y="3770983"/>
                  <a:pt x="5071184" y="3769169"/>
                  <a:pt x="5071184" y="3766626"/>
                </a:cubicBezTo>
                <a:cubicBezTo>
                  <a:pt x="5071184" y="3764084"/>
                  <a:pt x="5072998" y="3762269"/>
                  <a:pt x="5075541" y="3762269"/>
                </a:cubicBezTo>
                <a:close/>
                <a:moveTo>
                  <a:pt x="5229126" y="3760817"/>
                </a:moveTo>
                <a:cubicBezTo>
                  <a:pt x="5232394" y="3760817"/>
                  <a:pt x="5234936" y="3763359"/>
                  <a:pt x="5234936" y="3766626"/>
                </a:cubicBezTo>
                <a:cubicBezTo>
                  <a:pt x="5234936" y="3769893"/>
                  <a:pt x="5232394" y="3772436"/>
                  <a:pt x="5229126" y="3772436"/>
                </a:cubicBezTo>
                <a:cubicBezTo>
                  <a:pt x="5225860" y="3772436"/>
                  <a:pt x="5223317" y="3769893"/>
                  <a:pt x="5223317" y="3766626"/>
                </a:cubicBezTo>
                <a:cubicBezTo>
                  <a:pt x="5223317" y="3763359"/>
                  <a:pt x="5225860" y="3760817"/>
                  <a:pt x="5229126" y="3760817"/>
                </a:cubicBezTo>
                <a:close/>
                <a:moveTo>
                  <a:pt x="5383074" y="3759365"/>
                </a:moveTo>
                <a:cubicBezTo>
                  <a:pt x="5387068" y="3759365"/>
                  <a:pt x="5390336" y="3762631"/>
                  <a:pt x="5390336" y="3766626"/>
                </a:cubicBezTo>
                <a:cubicBezTo>
                  <a:pt x="5390336" y="3770621"/>
                  <a:pt x="5387068" y="3773888"/>
                  <a:pt x="5383074" y="3773888"/>
                </a:cubicBezTo>
                <a:cubicBezTo>
                  <a:pt x="5379079" y="3773888"/>
                  <a:pt x="5375812" y="3770621"/>
                  <a:pt x="5375812" y="3766626"/>
                </a:cubicBezTo>
                <a:cubicBezTo>
                  <a:pt x="5375812" y="3762631"/>
                  <a:pt x="5379079" y="3759365"/>
                  <a:pt x="5383074" y="3759365"/>
                </a:cubicBezTo>
                <a:close/>
                <a:moveTo>
                  <a:pt x="5536659" y="3757188"/>
                </a:moveTo>
                <a:cubicBezTo>
                  <a:pt x="5541740" y="3757188"/>
                  <a:pt x="5545739" y="3761183"/>
                  <a:pt x="5545739" y="3766264"/>
                </a:cubicBezTo>
                <a:cubicBezTo>
                  <a:pt x="5545739" y="3771349"/>
                  <a:pt x="5541740" y="3775344"/>
                  <a:pt x="5536659" y="3775344"/>
                </a:cubicBezTo>
                <a:cubicBezTo>
                  <a:pt x="5531578" y="3775344"/>
                  <a:pt x="5527583" y="3771349"/>
                  <a:pt x="5527583" y="3766264"/>
                </a:cubicBezTo>
                <a:cubicBezTo>
                  <a:pt x="5527583" y="3761183"/>
                  <a:pt x="5531578" y="3757188"/>
                  <a:pt x="5536659" y="3757188"/>
                </a:cubicBezTo>
                <a:close/>
                <a:moveTo>
                  <a:pt x="5690606" y="3756460"/>
                </a:moveTo>
                <a:cubicBezTo>
                  <a:pt x="5696054" y="3756460"/>
                  <a:pt x="5700773" y="3761179"/>
                  <a:pt x="5700773" y="3766626"/>
                </a:cubicBezTo>
                <a:cubicBezTo>
                  <a:pt x="5700773" y="3772073"/>
                  <a:pt x="5696416" y="3776793"/>
                  <a:pt x="5690606" y="3776793"/>
                </a:cubicBezTo>
                <a:cubicBezTo>
                  <a:pt x="5685160" y="3776793"/>
                  <a:pt x="5680440" y="3772073"/>
                  <a:pt x="5680440" y="3766626"/>
                </a:cubicBezTo>
                <a:cubicBezTo>
                  <a:pt x="5680440" y="3761179"/>
                  <a:pt x="5685160" y="3756460"/>
                  <a:pt x="5690606" y="3756460"/>
                </a:cubicBezTo>
                <a:close/>
                <a:moveTo>
                  <a:pt x="5844550" y="3754645"/>
                </a:moveTo>
                <a:cubicBezTo>
                  <a:pt x="5851088" y="3754645"/>
                  <a:pt x="5856534" y="3760093"/>
                  <a:pt x="5856534" y="3766626"/>
                </a:cubicBezTo>
                <a:cubicBezTo>
                  <a:pt x="5856534" y="3773164"/>
                  <a:pt x="5851088" y="3778607"/>
                  <a:pt x="5844550" y="3778607"/>
                </a:cubicBezTo>
                <a:cubicBezTo>
                  <a:pt x="5838016" y="3778607"/>
                  <a:pt x="5832570" y="3773164"/>
                  <a:pt x="5832570" y="3766626"/>
                </a:cubicBezTo>
                <a:cubicBezTo>
                  <a:pt x="5832570" y="3760093"/>
                  <a:pt x="5838016" y="3754645"/>
                  <a:pt x="5844550" y="3754645"/>
                </a:cubicBezTo>
                <a:close/>
                <a:moveTo>
                  <a:pt x="5998139" y="3752465"/>
                </a:moveTo>
                <a:cubicBezTo>
                  <a:pt x="6005763" y="3752465"/>
                  <a:pt x="6011934" y="3758636"/>
                  <a:pt x="6011934" y="3766264"/>
                </a:cubicBezTo>
                <a:cubicBezTo>
                  <a:pt x="6011934" y="3773888"/>
                  <a:pt x="6005763" y="3780059"/>
                  <a:pt x="5998139" y="3780059"/>
                </a:cubicBezTo>
                <a:cubicBezTo>
                  <a:pt x="5990516" y="3780059"/>
                  <a:pt x="5984340" y="3773888"/>
                  <a:pt x="5984340" y="3766264"/>
                </a:cubicBezTo>
                <a:cubicBezTo>
                  <a:pt x="5984340" y="3758636"/>
                  <a:pt x="5990516" y="3752465"/>
                  <a:pt x="5998139" y="3752465"/>
                </a:cubicBezTo>
                <a:close/>
                <a:moveTo>
                  <a:pt x="6152086" y="3751379"/>
                </a:moveTo>
                <a:cubicBezTo>
                  <a:pt x="6160507" y="3751379"/>
                  <a:pt x="6167334" y="3758206"/>
                  <a:pt x="6167334" y="3766626"/>
                </a:cubicBezTo>
                <a:cubicBezTo>
                  <a:pt x="6167334" y="3775050"/>
                  <a:pt x="6160507" y="3781878"/>
                  <a:pt x="6152086" y="3781878"/>
                </a:cubicBezTo>
                <a:cubicBezTo>
                  <a:pt x="6143666" y="3781878"/>
                  <a:pt x="6136839" y="3775050"/>
                  <a:pt x="6136839" y="3766626"/>
                </a:cubicBezTo>
                <a:cubicBezTo>
                  <a:pt x="6136839" y="3758206"/>
                  <a:pt x="6143666" y="3751379"/>
                  <a:pt x="6152086" y="3751379"/>
                </a:cubicBezTo>
                <a:close/>
                <a:moveTo>
                  <a:pt x="6305668" y="3749560"/>
                </a:moveTo>
                <a:cubicBezTo>
                  <a:pt x="6315110" y="3749560"/>
                  <a:pt x="6322734" y="3757184"/>
                  <a:pt x="6322734" y="3766626"/>
                </a:cubicBezTo>
                <a:cubicBezTo>
                  <a:pt x="6322734" y="3776064"/>
                  <a:pt x="6315110" y="3783692"/>
                  <a:pt x="6305668" y="3783692"/>
                </a:cubicBezTo>
                <a:cubicBezTo>
                  <a:pt x="6296226" y="3783692"/>
                  <a:pt x="6288602" y="3776064"/>
                  <a:pt x="6288602" y="3766626"/>
                </a:cubicBezTo>
                <a:cubicBezTo>
                  <a:pt x="6288602" y="3757184"/>
                  <a:pt x="6296226" y="3749560"/>
                  <a:pt x="6305668" y="3749560"/>
                </a:cubicBezTo>
                <a:close/>
                <a:moveTo>
                  <a:pt x="6459616" y="3747384"/>
                </a:moveTo>
                <a:cubicBezTo>
                  <a:pt x="6470243" y="3747384"/>
                  <a:pt x="6478858" y="3755999"/>
                  <a:pt x="6478858" y="3766626"/>
                </a:cubicBezTo>
                <a:cubicBezTo>
                  <a:pt x="6478858" y="3777254"/>
                  <a:pt x="6470243" y="3785869"/>
                  <a:pt x="6459616" y="3785869"/>
                </a:cubicBezTo>
                <a:cubicBezTo>
                  <a:pt x="6448988" y="3785869"/>
                  <a:pt x="6440369" y="3777254"/>
                  <a:pt x="6440369" y="3766626"/>
                </a:cubicBezTo>
                <a:cubicBezTo>
                  <a:pt x="6440369" y="3755999"/>
                  <a:pt x="6448988" y="3747384"/>
                  <a:pt x="6459616" y="3747384"/>
                </a:cubicBezTo>
                <a:close/>
                <a:moveTo>
                  <a:pt x="6613200" y="3745203"/>
                </a:moveTo>
                <a:cubicBezTo>
                  <a:pt x="6625033" y="3745203"/>
                  <a:pt x="6634624" y="3754794"/>
                  <a:pt x="6634624" y="3766626"/>
                </a:cubicBezTo>
                <a:cubicBezTo>
                  <a:pt x="6634624" y="3778454"/>
                  <a:pt x="6625033" y="3788045"/>
                  <a:pt x="6613200" y="3788045"/>
                </a:cubicBezTo>
                <a:cubicBezTo>
                  <a:pt x="6601368" y="3788045"/>
                  <a:pt x="6591778" y="3778454"/>
                  <a:pt x="6591778" y="3766626"/>
                </a:cubicBezTo>
                <a:cubicBezTo>
                  <a:pt x="6591778" y="3754794"/>
                  <a:pt x="6601368" y="3745203"/>
                  <a:pt x="6613200" y="3745203"/>
                </a:cubicBezTo>
                <a:close/>
                <a:moveTo>
                  <a:pt x="4306532" y="3612317"/>
                </a:moveTo>
                <a:cubicBezTo>
                  <a:pt x="4306894" y="3612317"/>
                  <a:pt x="4306894" y="3612317"/>
                  <a:pt x="4306894" y="3612679"/>
                </a:cubicBezTo>
                <a:cubicBezTo>
                  <a:pt x="4306894" y="3613045"/>
                  <a:pt x="4306532" y="3613045"/>
                  <a:pt x="4306532" y="3613045"/>
                </a:cubicBezTo>
                <a:cubicBezTo>
                  <a:pt x="4306170" y="3613045"/>
                  <a:pt x="4306170" y="3613045"/>
                  <a:pt x="4306170" y="3612679"/>
                </a:cubicBezTo>
                <a:cubicBezTo>
                  <a:pt x="4306170" y="3612317"/>
                  <a:pt x="4306170" y="3612317"/>
                  <a:pt x="4306532" y="3612317"/>
                </a:cubicBezTo>
                <a:close/>
                <a:moveTo>
                  <a:pt x="3845414" y="3612317"/>
                </a:moveTo>
                <a:cubicBezTo>
                  <a:pt x="3845776" y="3612317"/>
                  <a:pt x="3845776" y="3612317"/>
                  <a:pt x="3845776" y="3612679"/>
                </a:cubicBezTo>
                <a:cubicBezTo>
                  <a:pt x="3845776" y="3613045"/>
                  <a:pt x="3845414" y="3613045"/>
                  <a:pt x="3845414" y="3613045"/>
                </a:cubicBezTo>
                <a:cubicBezTo>
                  <a:pt x="3845052" y="3613045"/>
                  <a:pt x="3845052" y="3613045"/>
                  <a:pt x="3845052" y="3612679"/>
                </a:cubicBezTo>
                <a:cubicBezTo>
                  <a:pt x="3845052" y="3612317"/>
                  <a:pt x="3845052" y="3612317"/>
                  <a:pt x="3845414" y="3612317"/>
                </a:cubicBezTo>
                <a:close/>
                <a:moveTo>
                  <a:pt x="3691467" y="3612317"/>
                </a:moveTo>
                <a:cubicBezTo>
                  <a:pt x="3691829" y="3612317"/>
                  <a:pt x="3691829" y="3612317"/>
                  <a:pt x="3691829" y="3612679"/>
                </a:cubicBezTo>
                <a:cubicBezTo>
                  <a:pt x="3691829" y="3613045"/>
                  <a:pt x="3691467" y="3613045"/>
                  <a:pt x="3691467" y="3613045"/>
                </a:cubicBezTo>
                <a:cubicBezTo>
                  <a:pt x="3691105" y="3613045"/>
                  <a:pt x="3691105" y="3613045"/>
                  <a:pt x="3691105" y="3612679"/>
                </a:cubicBezTo>
                <a:cubicBezTo>
                  <a:pt x="3691105" y="3612317"/>
                  <a:pt x="3691105" y="3612317"/>
                  <a:pt x="3691467" y="3612317"/>
                </a:cubicBezTo>
                <a:close/>
                <a:moveTo>
                  <a:pt x="3537886" y="3611955"/>
                </a:moveTo>
                <a:cubicBezTo>
                  <a:pt x="3538286" y="3611955"/>
                  <a:pt x="3538610" y="3612279"/>
                  <a:pt x="3538610" y="3612683"/>
                </a:cubicBezTo>
                <a:cubicBezTo>
                  <a:pt x="3538610" y="3613083"/>
                  <a:pt x="3538286" y="3613407"/>
                  <a:pt x="3537886" y="3613407"/>
                </a:cubicBezTo>
                <a:cubicBezTo>
                  <a:pt x="3537482" y="3613407"/>
                  <a:pt x="3537158" y="3613083"/>
                  <a:pt x="3537158" y="3612683"/>
                </a:cubicBezTo>
                <a:cubicBezTo>
                  <a:pt x="3537158" y="3612279"/>
                  <a:pt x="3537482" y="3611955"/>
                  <a:pt x="3537886" y="3611955"/>
                </a:cubicBezTo>
                <a:close/>
                <a:moveTo>
                  <a:pt x="4460480" y="3611226"/>
                </a:moveTo>
                <a:cubicBezTo>
                  <a:pt x="4461204" y="3611226"/>
                  <a:pt x="4461932" y="3611955"/>
                  <a:pt x="4461932" y="3612679"/>
                </a:cubicBezTo>
                <a:cubicBezTo>
                  <a:pt x="4461932" y="3613403"/>
                  <a:pt x="4460480" y="3614131"/>
                  <a:pt x="4460480" y="3614131"/>
                </a:cubicBezTo>
                <a:cubicBezTo>
                  <a:pt x="4459752" y="3614131"/>
                  <a:pt x="4459028" y="3613403"/>
                  <a:pt x="4459028" y="3612679"/>
                </a:cubicBezTo>
                <a:cubicBezTo>
                  <a:pt x="4459028" y="3611955"/>
                  <a:pt x="4459752" y="3611226"/>
                  <a:pt x="4460480" y="3611226"/>
                </a:cubicBezTo>
                <a:close/>
                <a:moveTo>
                  <a:pt x="4614061" y="3610502"/>
                </a:moveTo>
                <a:cubicBezTo>
                  <a:pt x="4615152" y="3610502"/>
                  <a:pt x="4616242" y="3611592"/>
                  <a:pt x="4616242" y="3612679"/>
                </a:cubicBezTo>
                <a:cubicBezTo>
                  <a:pt x="4616242" y="3613769"/>
                  <a:pt x="4614061" y="3614859"/>
                  <a:pt x="4614061" y="3614859"/>
                </a:cubicBezTo>
                <a:cubicBezTo>
                  <a:pt x="4612974" y="3614859"/>
                  <a:pt x="4611884" y="3613769"/>
                  <a:pt x="4611884" y="3612679"/>
                </a:cubicBezTo>
                <a:cubicBezTo>
                  <a:pt x="4611884" y="3611592"/>
                  <a:pt x="4612974" y="3610502"/>
                  <a:pt x="4614061" y="3610502"/>
                </a:cubicBezTo>
                <a:close/>
                <a:moveTo>
                  <a:pt x="4768008" y="3609774"/>
                </a:moveTo>
                <a:cubicBezTo>
                  <a:pt x="4769823" y="3609774"/>
                  <a:pt x="4771276" y="3611226"/>
                  <a:pt x="4771276" y="3613041"/>
                </a:cubicBezTo>
                <a:cubicBezTo>
                  <a:pt x="4771276" y="3614855"/>
                  <a:pt x="4769823" y="3616312"/>
                  <a:pt x="4768008" y="3616312"/>
                </a:cubicBezTo>
                <a:cubicBezTo>
                  <a:pt x="4766194" y="3616312"/>
                  <a:pt x="4764742" y="3614855"/>
                  <a:pt x="4764742" y="3613041"/>
                </a:cubicBezTo>
                <a:cubicBezTo>
                  <a:pt x="4764742" y="3611226"/>
                  <a:pt x="4766194" y="3609774"/>
                  <a:pt x="4768008" y="3609774"/>
                </a:cubicBezTo>
                <a:close/>
                <a:moveTo>
                  <a:pt x="4921594" y="3608322"/>
                </a:moveTo>
                <a:cubicBezTo>
                  <a:pt x="4924136" y="3608322"/>
                  <a:pt x="4925951" y="3610136"/>
                  <a:pt x="4925951" y="3612679"/>
                </a:cubicBezTo>
                <a:cubicBezTo>
                  <a:pt x="4925951" y="3615221"/>
                  <a:pt x="4923770" y="3617036"/>
                  <a:pt x="4921594" y="3617036"/>
                </a:cubicBezTo>
                <a:cubicBezTo>
                  <a:pt x="4919052" y="3617036"/>
                  <a:pt x="4917237" y="3615221"/>
                  <a:pt x="4917237" y="3612679"/>
                </a:cubicBezTo>
                <a:cubicBezTo>
                  <a:pt x="4917237" y="3610136"/>
                  <a:pt x="4919052" y="3608322"/>
                  <a:pt x="4921594" y="3608322"/>
                </a:cubicBezTo>
                <a:close/>
                <a:moveTo>
                  <a:pt x="5075541" y="3607232"/>
                </a:moveTo>
                <a:cubicBezTo>
                  <a:pt x="5078808" y="3607232"/>
                  <a:pt x="5081350" y="3609774"/>
                  <a:pt x="5081350" y="3613041"/>
                </a:cubicBezTo>
                <a:cubicBezTo>
                  <a:pt x="5081350" y="3616308"/>
                  <a:pt x="5078808" y="3618850"/>
                  <a:pt x="5075541" y="3618850"/>
                </a:cubicBezTo>
                <a:cubicBezTo>
                  <a:pt x="5072274" y="3618850"/>
                  <a:pt x="5069732" y="3616308"/>
                  <a:pt x="5069732" y="3613041"/>
                </a:cubicBezTo>
                <a:cubicBezTo>
                  <a:pt x="5069732" y="3609774"/>
                  <a:pt x="5072274" y="3607232"/>
                  <a:pt x="5075541" y="3607232"/>
                </a:cubicBezTo>
                <a:close/>
                <a:moveTo>
                  <a:pt x="5229126" y="3605417"/>
                </a:moveTo>
                <a:cubicBezTo>
                  <a:pt x="5233122" y="3605417"/>
                  <a:pt x="5236388" y="3608684"/>
                  <a:pt x="5236388" y="3612679"/>
                </a:cubicBezTo>
                <a:cubicBezTo>
                  <a:pt x="5236388" y="3616674"/>
                  <a:pt x="5233122" y="3619940"/>
                  <a:pt x="5229126" y="3619940"/>
                </a:cubicBezTo>
                <a:cubicBezTo>
                  <a:pt x="5225132" y="3619940"/>
                  <a:pt x="5221865" y="3616674"/>
                  <a:pt x="5221865" y="3612679"/>
                </a:cubicBezTo>
                <a:cubicBezTo>
                  <a:pt x="5221865" y="3608684"/>
                  <a:pt x="5225132" y="3605417"/>
                  <a:pt x="5229126" y="3605417"/>
                </a:cubicBezTo>
                <a:close/>
                <a:moveTo>
                  <a:pt x="5383074" y="3603603"/>
                </a:moveTo>
                <a:cubicBezTo>
                  <a:pt x="5388159" y="3603603"/>
                  <a:pt x="5392154" y="3607598"/>
                  <a:pt x="5392154" y="3612679"/>
                </a:cubicBezTo>
                <a:cubicBezTo>
                  <a:pt x="5392154" y="3617764"/>
                  <a:pt x="5388159" y="3621759"/>
                  <a:pt x="5383074" y="3621759"/>
                </a:cubicBezTo>
                <a:cubicBezTo>
                  <a:pt x="5377992" y="3621759"/>
                  <a:pt x="5373998" y="3617764"/>
                  <a:pt x="5373998" y="3612679"/>
                </a:cubicBezTo>
                <a:cubicBezTo>
                  <a:pt x="5373998" y="3607598"/>
                  <a:pt x="5377992" y="3603603"/>
                  <a:pt x="5383074" y="3603603"/>
                </a:cubicBezTo>
                <a:close/>
                <a:moveTo>
                  <a:pt x="5536659" y="3602512"/>
                </a:moveTo>
                <a:cubicBezTo>
                  <a:pt x="5542106" y="3602512"/>
                  <a:pt x="5546826" y="3607232"/>
                  <a:pt x="5546826" y="3612679"/>
                </a:cubicBezTo>
                <a:cubicBezTo>
                  <a:pt x="5546826" y="3618126"/>
                  <a:pt x="5542468" y="3622845"/>
                  <a:pt x="5536659" y="3622845"/>
                </a:cubicBezTo>
                <a:cubicBezTo>
                  <a:pt x="5531212" y="3622845"/>
                  <a:pt x="5526493" y="3618126"/>
                  <a:pt x="5526493" y="3612679"/>
                </a:cubicBezTo>
                <a:cubicBezTo>
                  <a:pt x="5526493" y="3607232"/>
                  <a:pt x="5531212" y="3602512"/>
                  <a:pt x="5536659" y="3602512"/>
                </a:cubicBezTo>
                <a:close/>
                <a:moveTo>
                  <a:pt x="5690602" y="3600698"/>
                </a:moveTo>
                <a:cubicBezTo>
                  <a:pt x="5697140" y="3600698"/>
                  <a:pt x="5702584" y="3606145"/>
                  <a:pt x="5702584" y="3612679"/>
                </a:cubicBezTo>
                <a:cubicBezTo>
                  <a:pt x="5702584" y="3619216"/>
                  <a:pt x="5697140" y="3624663"/>
                  <a:pt x="5690602" y="3624663"/>
                </a:cubicBezTo>
                <a:cubicBezTo>
                  <a:pt x="5684069" y="3624663"/>
                  <a:pt x="5678622" y="3619216"/>
                  <a:pt x="5678622" y="3612679"/>
                </a:cubicBezTo>
                <a:cubicBezTo>
                  <a:pt x="5678622" y="3606145"/>
                  <a:pt x="5684069" y="3600698"/>
                  <a:pt x="5690602" y="3600698"/>
                </a:cubicBezTo>
                <a:close/>
                <a:moveTo>
                  <a:pt x="5844554" y="3598884"/>
                </a:moveTo>
                <a:cubicBezTo>
                  <a:pt x="5852170" y="3598884"/>
                  <a:pt x="5858349" y="3605063"/>
                  <a:pt x="5858349" y="3612683"/>
                </a:cubicBezTo>
                <a:cubicBezTo>
                  <a:pt x="5858349" y="3620303"/>
                  <a:pt x="5852174" y="3626478"/>
                  <a:pt x="5844554" y="3626478"/>
                </a:cubicBezTo>
                <a:cubicBezTo>
                  <a:pt x="5836934" y="3626478"/>
                  <a:pt x="5830755" y="3620299"/>
                  <a:pt x="5830755" y="3612683"/>
                </a:cubicBezTo>
                <a:cubicBezTo>
                  <a:pt x="5830755" y="3605059"/>
                  <a:pt x="5836930" y="3598884"/>
                  <a:pt x="5844554" y="3598884"/>
                </a:cubicBezTo>
                <a:close/>
                <a:moveTo>
                  <a:pt x="5998139" y="3597431"/>
                </a:moveTo>
                <a:cubicBezTo>
                  <a:pt x="6006560" y="3597431"/>
                  <a:pt x="6013387" y="3604258"/>
                  <a:pt x="6013387" y="3612683"/>
                </a:cubicBezTo>
                <a:cubicBezTo>
                  <a:pt x="6013387" y="3621103"/>
                  <a:pt x="6006560" y="3627930"/>
                  <a:pt x="5998139" y="3627930"/>
                </a:cubicBezTo>
                <a:cubicBezTo>
                  <a:pt x="5989718" y="3627930"/>
                  <a:pt x="5982892" y="3621103"/>
                  <a:pt x="5982892" y="3612683"/>
                </a:cubicBezTo>
                <a:cubicBezTo>
                  <a:pt x="5982892" y="3604258"/>
                  <a:pt x="5989718" y="3597431"/>
                  <a:pt x="5998139" y="3597431"/>
                </a:cubicBezTo>
                <a:close/>
                <a:moveTo>
                  <a:pt x="6152083" y="3595613"/>
                </a:moveTo>
                <a:cubicBezTo>
                  <a:pt x="6161525" y="3595613"/>
                  <a:pt x="6169152" y="3603237"/>
                  <a:pt x="6169152" y="3612679"/>
                </a:cubicBezTo>
                <a:cubicBezTo>
                  <a:pt x="6169152" y="3622117"/>
                  <a:pt x="6161525" y="3629745"/>
                  <a:pt x="6152083" y="3629745"/>
                </a:cubicBezTo>
                <a:cubicBezTo>
                  <a:pt x="6142644" y="3629745"/>
                  <a:pt x="6135020" y="3622117"/>
                  <a:pt x="6135020" y="3612679"/>
                </a:cubicBezTo>
                <a:cubicBezTo>
                  <a:pt x="6135020" y="3603237"/>
                  <a:pt x="6142644" y="3595613"/>
                  <a:pt x="6152083" y="3595613"/>
                </a:cubicBezTo>
                <a:close/>
                <a:moveTo>
                  <a:pt x="6305668" y="3593436"/>
                </a:moveTo>
                <a:cubicBezTo>
                  <a:pt x="6316296" y="3593436"/>
                  <a:pt x="6324910" y="3602051"/>
                  <a:pt x="6324910" y="3612679"/>
                </a:cubicBezTo>
                <a:cubicBezTo>
                  <a:pt x="6324910" y="3623306"/>
                  <a:pt x="6316296" y="3631921"/>
                  <a:pt x="6305668" y="3631921"/>
                </a:cubicBezTo>
                <a:cubicBezTo>
                  <a:pt x="6295040" y="3631921"/>
                  <a:pt x="6286422" y="3623306"/>
                  <a:pt x="6286422" y="3612679"/>
                </a:cubicBezTo>
                <a:cubicBezTo>
                  <a:pt x="6286422" y="3602051"/>
                  <a:pt x="6295040" y="3593436"/>
                  <a:pt x="6305668" y="3593436"/>
                </a:cubicBezTo>
                <a:close/>
                <a:moveTo>
                  <a:pt x="6459616" y="3591256"/>
                </a:moveTo>
                <a:cubicBezTo>
                  <a:pt x="6471448" y="3591256"/>
                  <a:pt x="6481038" y="3600847"/>
                  <a:pt x="6481038" y="3612679"/>
                </a:cubicBezTo>
                <a:cubicBezTo>
                  <a:pt x="6481038" y="3624507"/>
                  <a:pt x="6471448" y="3634098"/>
                  <a:pt x="6459616" y="3634098"/>
                </a:cubicBezTo>
                <a:cubicBezTo>
                  <a:pt x="6447784" y="3634098"/>
                  <a:pt x="6438192" y="3624507"/>
                  <a:pt x="6438192" y="3612679"/>
                </a:cubicBezTo>
                <a:cubicBezTo>
                  <a:pt x="6438192" y="3600847"/>
                  <a:pt x="6447784" y="3591256"/>
                  <a:pt x="6459616" y="3591256"/>
                </a:cubicBezTo>
                <a:close/>
                <a:moveTo>
                  <a:pt x="6613200" y="3589804"/>
                </a:moveTo>
                <a:cubicBezTo>
                  <a:pt x="6625834" y="3589804"/>
                  <a:pt x="6636072" y="3600046"/>
                  <a:pt x="6636072" y="3612679"/>
                </a:cubicBezTo>
                <a:cubicBezTo>
                  <a:pt x="6636072" y="3625311"/>
                  <a:pt x="6625834" y="3635550"/>
                  <a:pt x="6613200" y="3635550"/>
                </a:cubicBezTo>
                <a:cubicBezTo>
                  <a:pt x="6600564" y="3635550"/>
                  <a:pt x="6590326" y="3625311"/>
                  <a:pt x="6590326" y="3612679"/>
                </a:cubicBezTo>
                <a:cubicBezTo>
                  <a:pt x="6590326" y="3600046"/>
                  <a:pt x="6600564" y="3589804"/>
                  <a:pt x="6613200" y="3589804"/>
                </a:cubicBezTo>
                <a:close/>
                <a:moveTo>
                  <a:pt x="4152947" y="3458731"/>
                </a:moveTo>
                <a:cubicBezTo>
                  <a:pt x="4153309" y="3458731"/>
                  <a:pt x="4153309" y="3458731"/>
                  <a:pt x="4153309" y="3459094"/>
                </a:cubicBezTo>
                <a:cubicBezTo>
                  <a:pt x="4153309" y="3459456"/>
                  <a:pt x="4152947" y="3459456"/>
                  <a:pt x="4152947" y="3459456"/>
                </a:cubicBezTo>
                <a:cubicBezTo>
                  <a:pt x="4152585" y="3459456"/>
                  <a:pt x="4152585" y="3459456"/>
                  <a:pt x="4152585" y="3459094"/>
                </a:cubicBezTo>
                <a:cubicBezTo>
                  <a:pt x="4152585" y="3458731"/>
                  <a:pt x="4152585" y="3458731"/>
                  <a:pt x="4152947" y="3458731"/>
                </a:cubicBezTo>
                <a:close/>
                <a:moveTo>
                  <a:pt x="3691467" y="3458731"/>
                </a:moveTo>
                <a:cubicBezTo>
                  <a:pt x="3691829" y="3458731"/>
                  <a:pt x="3691829" y="3458731"/>
                  <a:pt x="3691829" y="3459094"/>
                </a:cubicBezTo>
                <a:cubicBezTo>
                  <a:pt x="3691829" y="3459456"/>
                  <a:pt x="3691467" y="3459456"/>
                  <a:pt x="3691467" y="3459456"/>
                </a:cubicBezTo>
                <a:cubicBezTo>
                  <a:pt x="3691105" y="3459456"/>
                  <a:pt x="3691105" y="3459456"/>
                  <a:pt x="3691105" y="3459094"/>
                </a:cubicBezTo>
                <a:cubicBezTo>
                  <a:pt x="3691105" y="3458731"/>
                  <a:pt x="3691105" y="3458731"/>
                  <a:pt x="3691467" y="3458731"/>
                </a:cubicBezTo>
                <a:close/>
                <a:moveTo>
                  <a:pt x="3537882" y="3458731"/>
                </a:moveTo>
                <a:cubicBezTo>
                  <a:pt x="3538244" y="3458731"/>
                  <a:pt x="3538244" y="3458731"/>
                  <a:pt x="3538244" y="3459094"/>
                </a:cubicBezTo>
                <a:cubicBezTo>
                  <a:pt x="3538244" y="3459456"/>
                  <a:pt x="3537882" y="3459456"/>
                  <a:pt x="3537882" y="3459456"/>
                </a:cubicBezTo>
                <a:cubicBezTo>
                  <a:pt x="3537520" y="3459456"/>
                  <a:pt x="3537520" y="3459456"/>
                  <a:pt x="3537520" y="3459094"/>
                </a:cubicBezTo>
                <a:cubicBezTo>
                  <a:pt x="3537520" y="3458731"/>
                  <a:pt x="3537520" y="3458731"/>
                  <a:pt x="3537882" y="3458731"/>
                </a:cubicBezTo>
                <a:close/>
                <a:moveTo>
                  <a:pt x="3383938" y="3458369"/>
                </a:moveTo>
                <a:cubicBezTo>
                  <a:pt x="3384338" y="3458369"/>
                  <a:pt x="3384662" y="3458693"/>
                  <a:pt x="3384662" y="3459094"/>
                </a:cubicBezTo>
                <a:cubicBezTo>
                  <a:pt x="3384662" y="3459498"/>
                  <a:pt x="3384338" y="3459822"/>
                  <a:pt x="3383938" y="3459822"/>
                </a:cubicBezTo>
                <a:cubicBezTo>
                  <a:pt x="3383534" y="3459822"/>
                  <a:pt x="3383210" y="3459498"/>
                  <a:pt x="3383210" y="3459094"/>
                </a:cubicBezTo>
                <a:cubicBezTo>
                  <a:pt x="3383210" y="3458693"/>
                  <a:pt x="3383534" y="3458369"/>
                  <a:pt x="3383938" y="3458369"/>
                </a:cubicBezTo>
                <a:close/>
                <a:moveTo>
                  <a:pt x="4306532" y="3457279"/>
                </a:moveTo>
                <a:cubicBezTo>
                  <a:pt x="4307256" y="3457279"/>
                  <a:pt x="4307984" y="3458003"/>
                  <a:pt x="4307984" y="3458731"/>
                </a:cubicBezTo>
                <a:cubicBezTo>
                  <a:pt x="4307984" y="3459456"/>
                  <a:pt x="4306532" y="3460184"/>
                  <a:pt x="4306532" y="3460184"/>
                </a:cubicBezTo>
                <a:cubicBezTo>
                  <a:pt x="4305804" y="3460184"/>
                  <a:pt x="4305080" y="3459456"/>
                  <a:pt x="4305080" y="3458731"/>
                </a:cubicBezTo>
                <a:cubicBezTo>
                  <a:pt x="4305080" y="3458003"/>
                  <a:pt x="4305804" y="3457279"/>
                  <a:pt x="4306532" y="3457279"/>
                </a:cubicBezTo>
                <a:close/>
                <a:moveTo>
                  <a:pt x="4460480" y="3456917"/>
                </a:moveTo>
                <a:cubicBezTo>
                  <a:pt x="4461680" y="3456917"/>
                  <a:pt x="4462656" y="3457893"/>
                  <a:pt x="4462656" y="3459094"/>
                </a:cubicBezTo>
                <a:cubicBezTo>
                  <a:pt x="4462656" y="3460298"/>
                  <a:pt x="4461680" y="3461274"/>
                  <a:pt x="4460480" y="3461274"/>
                </a:cubicBezTo>
                <a:cubicBezTo>
                  <a:pt x="4459275" y="3461274"/>
                  <a:pt x="4458300" y="3460298"/>
                  <a:pt x="4458300" y="3459094"/>
                </a:cubicBezTo>
                <a:cubicBezTo>
                  <a:pt x="4458300" y="3457893"/>
                  <a:pt x="4459275" y="3456917"/>
                  <a:pt x="4460480" y="3456917"/>
                </a:cubicBezTo>
                <a:close/>
                <a:moveTo>
                  <a:pt x="4614061" y="3455827"/>
                </a:moveTo>
                <a:cubicBezTo>
                  <a:pt x="4615880" y="3455827"/>
                  <a:pt x="4617328" y="3457279"/>
                  <a:pt x="4617328" y="3459094"/>
                </a:cubicBezTo>
                <a:cubicBezTo>
                  <a:pt x="4617328" y="3460908"/>
                  <a:pt x="4615880" y="3462364"/>
                  <a:pt x="4614061" y="3462364"/>
                </a:cubicBezTo>
                <a:cubicBezTo>
                  <a:pt x="4612246" y="3462364"/>
                  <a:pt x="4610794" y="3460908"/>
                  <a:pt x="4610794" y="3459094"/>
                </a:cubicBezTo>
                <a:cubicBezTo>
                  <a:pt x="4610794" y="3457279"/>
                  <a:pt x="4612246" y="3455827"/>
                  <a:pt x="4614061" y="3455827"/>
                </a:cubicBezTo>
                <a:close/>
                <a:moveTo>
                  <a:pt x="4768008" y="3454374"/>
                </a:moveTo>
                <a:cubicBezTo>
                  <a:pt x="4770551" y="3454374"/>
                  <a:pt x="4772366" y="3456189"/>
                  <a:pt x="4772366" y="3458731"/>
                </a:cubicBezTo>
                <a:cubicBezTo>
                  <a:pt x="4772366" y="3461274"/>
                  <a:pt x="4770189" y="3463088"/>
                  <a:pt x="4768008" y="3463088"/>
                </a:cubicBezTo>
                <a:cubicBezTo>
                  <a:pt x="4765466" y="3463088"/>
                  <a:pt x="4763652" y="3461274"/>
                  <a:pt x="4763652" y="3458731"/>
                </a:cubicBezTo>
                <a:cubicBezTo>
                  <a:pt x="4763652" y="3456189"/>
                  <a:pt x="4765466" y="3454374"/>
                  <a:pt x="4768008" y="3454374"/>
                </a:cubicBezTo>
                <a:close/>
                <a:moveTo>
                  <a:pt x="4921594" y="3453284"/>
                </a:moveTo>
                <a:cubicBezTo>
                  <a:pt x="4924860" y="3453284"/>
                  <a:pt x="4927403" y="3455827"/>
                  <a:pt x="4927403" y="3459094"/>
                </a:cubicBezTo>
                <a:cubicBezTo>
                  <a:pt x="4927403" y="3462360"/>
                  <a:pt x="4924860" y="3464903"/>
                  <a:pt x="4921594" y="3464903"/>
                </a:cubicBezTo>
                <a:cubicBezTo>
                  <a:pt x="4918327" y="3464903"/>
                  <a:pt x="4915784" y="3462360"/>
                  <a:pt x="4915784" y="3459094"/>
                </a:cubicBezTo>
                <a:cubicBezTo>
                  <a:pt x="4915784" y="3455827"/>
                  <a:pt x="4918327" y="3453284"/>
                  <a:pt x="4921594" y="3453284"/>
                </a:cubicBezTo>
                <a:close/>
                <a:moveTo>
                  <a:pt x="5075541" y="3451832"/>
                </a:moveTo>
                <a:cubicBezTo>
                  <a:pt x="5079536" y="3451832"/>
                  <a:pt x="5082803" y="3455099"/>
                  <a:pt x="5082803" y="3459094"/>
                </a:cubicBezTo>
                <a:cubicBezTo>
                  <a:pt x="5082803" y="3463088"/>
                  <a:pt x="5079536" y="3466355"/>
                  <a:pt x="5075541" y="3466355"/>
                </a:cubicBezTo>
                <a:cubicBezTo>
                  <a:pt x="5071546" y="3466355"/>
                  <a:pt x="5068280" y="3463088"/>
                  <a:pt x="5068280" y="3459094"/>
                </a:cubicBezTo>
                <a:cubicBezTo>
                  <a:pt x="5068280" y="3455099"/>
                  <a:pt x="5071546" y="3451832"/>
                  <a:pt x="5075541" y="3451832"/>
                </a:cubicBezTo>
                <a:close/>
                <a:moveTo>
                  <a:pt x="5229126" y="3449655"/>
                </a:moveTo>
                <a:cubicBezTo>
                  <a:pt x="5234212" y="3449655"/>
                  <a:pt x="5238206" y="3453650"/>
                  <a:pt x="5238206" y="3458731"/>
                </a:cubicBezTo>
                <a:cubicBezTo>
                  <a:pt x="5238206" y="3463816"/>
                  <a:pt x="5234212" y="3467811"/>
                  <a:pt x="5229126" y="3467811"/>
                </a:cubicBezTo>
                <a:cubicBezTo>
                  <a:pt x="5224045" y="3467811"/>
                  <a:pt x="5220050" y="3463816"/>
                  <a:pt x="5220050" y="3458731"/>
                </a:cubicBezTo>
                <a:cubicBezTo>
                  <a:pt x="5220050" y="3453650"/>
                  <a:pt x="5224045" y="3449655"/>
                  <a:pt x="5229126" y="3449655"/>
                </a:cubicBezTo>
                <a:close/>
                <a:moveTo>
                  <a:pt x="5383074" y="3448927"/>
                </a:moveTo>
                <a:cubicBezTo>
                  <a:pt x="5388521" y="3448927"/>
                  <a:pt x="5393240" y="3453646"/>
                  <a:pt x="5393240" y="3459094"/>
                </a:cubicBezTo>
                <a:cubicBezTo>
                  <a:pt x="5393240" y="3464541"/>
                  <a:pt x="5388883" y="3469260"/>
                  <a:pt x="5383074" y="3469260"/>
                </a:cubicBezTo>
                <a:cubicBezTo>
                  <a:pt x="5377626" y="3469260"/>
                  <a:pt x="5372908" y="3464541"/>
                  <a:pt x="5372908" y="3459094"/>
                </a:cubicBezTo>
                <a:cubicBezTo>
                  <a:pt x="5372908" y="3453646"/>
                  <a:pt x="5377626" y="3448927"/>
                  <a:pt x="5383074" y="3448927"/>
                </a:cubicBezTo>
                <a:close/>
                <a:moveTo>
                  <a:pt x="5536659" y="3447113"/>
                </a:moveTo>
                <a:cubicBezTo>
                  <a:pt x="5543196" y="3447113"/>
                  <a:pt x="5548640" y="3452560"/>
                  <a:pt x="5548640" y="3459094"/>
                </a:cubicBezTo>
                <a:cubicBezTo>
                  <a:pt x="5548640" y="3465631"/>
                  <a:pt x="5543196" y="3471074"/>
                  <a:pt x="5536659" y="3471074"/>
                </a:cubicBezTo>
                <a:cubicBezTo>
                  <a:pt x="5530122" y="3471074"/>
                  <a:pt x="5524678" y="3465631"/>
                  <a:pt x="5524678" y="3459094"/>
                </a:cubicBezTo>
                <a:cubicBezTo>
                  <a:pt x="5524678" y="3452560"/>
                  <a:pt x="5530122" y="3447113"/>
                  <a:pt x="5536659" y="3447113"/>
                </a:cubicBezTo>
                <a:close/>
                <a:moveTo>
                  <a:pt x="5690606" y="3445298"/>
                </a:moveTo>
                <a:cubicBezTo>
                  <a:pt x="5698222" y="3445298"/>
                  <a:pt x="5704402" y="3451477"/>
                  <a:pt x="5704402" y="3459094"/>
                </a:cubicBezTo>
                <a:cubicBezTo>
                  <a:pt x="5704402" y="3466714"/>
                  <a:pt x="5698226" y="3472893"/>
                  <a:pt x="5690606" y="3472893"/>
                </a:cubicBezTo>
                <a:cubicBezTo>
                  <a:pt x="5682986" y="3472893"/>
                  <a:pt x="5676808" y="3466714"/>
                  <a:pt x="5676808" y="3459094"/>
                </a:cubicBezTo>
                <a:cubicBezTo>
                  <a:pt x="5676808" y="3451474"/>
                  <a:pt x="5682982" y="3445298"/>
                  <a:pt x="5690606" y="3445298"/>
                </a:cubicBezTo>
                <a:close/>
                <a:moveTo>
                  <a:pt x="5844554" y="3443846"/>
                </a:moveTo>
                <a:cubicBezTo>
                  <a:pt x="5852974" y="3443846"/>
                  <a:pt x="5859802" y="3450673"/>
                  <a:pt x="5859802" y="3459094"/>
                </a:cubicBezTo>
                <a:cubicBezTo>
                  <a:pt x="5859802" y="3467518"/>
                  <a:pt x="5852974" y="3474345"/>
                  <a:pt x="5844554" y="3474345"/>
                </a:cubicBezTo>
                <a:cubicBezTo>
                  <a:pt x="5836130" y="3474345"/>
                  <a:pt x="5829302" y="3467518"/>
                  <a:pt x="5829302" y="3459094"/>
                </a:cubicBezTo>
                <a:cubicBezTo>
                  <a:pt x="5829302" y="3450673"/>
                  <a:pt x="5836130" y="3443846"/>
                  <a:pt x="5844554" y="3443846"/>
                </a:cubicBezTo>
                <a:close/>
                <a:moveTo>
                  <a:pt x="5998139" y="3442031"/>
                </a:moveTo>
                <a:cubicBezTo>
                  <a:pt x="6007566" y="3442031"/>
                  <a:pt x="6015205" y="3449670"/>
                  <a:pt x="6015205" y="3459097"/>
                </a:cubicBezTo>
                <a:cubicBezTo>
                  <a:pt x="6015205" y="3468520"/>
                  <a:pt x="6007562" y="3476159"/>
                  <a:pt x="5998139" y="3476159"/>
                </a:cubicBezTo>
                <a:cubicBezTo>
                  <a:pt x="5988716" y="3476159"/>
                  <a:pt x="5981077" y="3468520"/>
                  <a:pt x="5981077" y="3459097"/>
                </a:cubicBezTo>
                <a:cubicBezTo>
                  <a:pt x="5981077" y="3449670"/>
                  <a:pt x="5988716" y="3442031"/>
                  <a:pt x="5998139" y="3442031"/>
                </a:cubicBezTo>
                <a:close/>
                <a:moveTo>
                  <a:pt x="6152083" y="3439851"/>
                </a:moveTo>
                <a:cubicBezTo>
                  <a:pt x="6162710" y="3439851"/>
                  <a:pt x="6171329" y="3448466"/>
                  <a:pt x="6171329" y="3459094"/>
                </a:cubicBezTo>
                <a:cubicBezTo>
                  <a:pt x="6171329" y="3469721"/>
                  <a:pt x="6162710" y="3478336"/>
                  <a:pt x="6152083" y="3478336"/>
                </a:cubicBezTo>
                <a:cubicBezTo>
                  <a:pt x="6141455" y="3478336"/>
                  <a:pt x="6132836" y="3469721"/>
                  <a:pt x="6132836" y="3459094"/>
                </a:cubicBezTo>
                <a:cubicBezTo>
                  <a:pt x="6132836" y="3448466"/>
                  <a:pt x="6141455" y="3439851"/>
                  <a:pt x="6152083" y="3439851"/>
                </a:cubicBezTo>
                <a:close/>
                <a:moveTo>
                  <a:pt x="6305668" y="3437674"/>
                </a:moveTo>
                <a:cubicBezTo>
                  <a:pt x="6317500" y="3437674"/>
                  <a:pt x="6327091" y="3447265"/>
                  <a:pt x="6327091" y="3459097"/>
                </a:cubicBezTo>
                <a:cubicBezTo>
                  <a:pt x="6327091" y="3470926"/>
                  <a:pt x="6317500" y="3480516"/>
                  <a:pt x="6305668" y="3480516"/>
                </a:cubicBezTo>
                <a:cubicBezTo>
                  <a:pt x="6293836" y="3480516"/>
                  <a:pt x="6284245" y="3470926"/>
                  <a:pt x="6284245" y="3459097"/>
                </a:cubicBezTo>
                <a:cubicBezTo>
                  <a:pt x="6284245" y="3447265"/>
                  <a:pt x="6293836" y="3437674"/>
                  <a:pt x="6305668" y="3437674"/>
                </a:cubicBezTo>
                <a:close/>
                <a:moveTo>
                  <a:pt x="6459619" y="3436222"/>
                </a:moveTo>
                <a:cubicBezTo>
                  <a:pt x="6472252" y="3436222"/>
                  <a:pt x="6482494" y="3446465"/>
                  <a:pt x="6482494" y="3459097"/>
                </a:cubicBezTo>
                <a:cubicBezTo>
                  <a:pt x="6482494" y="3471730"/>
                  <a:pt x="6472252" y="3481969"/>
                  <a:pt x="6459619" y="3481969"/>
                </a:cubicBezTo>
                <a:cubicBezTo>
                  <a:pt x="6446983" y="3481969"/>
                  <a:pt x="6436744" y="3471730"/>
                  <a:pt x="6436744" y="3459097"/>
                </a:cubicBezTo>
                <a:cubicBezTo>
                  <a:pt x="6436744" y="3446465"/>
                  <a:pt x="6446983" y="3436222"/>
                  <a:pt x="6459619" y="3436222"/>
                </a:cubicBezTo>
                <a:close/>
                <a:moveTo>
                  <a:pt x="6613200" y="3434042"/>
                </a:moveTo>
                <a:cubicBezTo>
                  <a:pt x="6627038" y="3434042"/>
                  <a:pt x="6638252" y="3445256"/>
                  <a:pt x="6638252" y="3459094"/>
                </a:cubicBezTo>
                <a:cubicBezTo>
                  <a:pt x="6638252" y="3472931"/>
                  <a:pt x="6627038" y="3484145"/>
                  <a:pt x="6613200" y="3484145"/>
                </a:cubicBezTo>
                <a:cubicBezTo>
                  <a:pt x="6599364" y="3484145"/>
                  <a:pt x="6588149" y="3472931"/>
                  <a:pt x="6588149" y="3459094"/>
                </a:cubicBezTo>
                <a:cubicBezTo>
                  <a:pt x="6588149" y="3445256"/>
                  <a:pt x="6599364" y="3434042"/>
                  <a:pt x="6613200" y="3434042"/>
                </a:cubicBezTo>
                <a:close/>
                <a:moveTo>
                  <a:pt x="3999000" y="3304784"/>
                </a:moveTo>
                <a:cubicBezTo>
                  <a:pt x="3999362" y="3304784"/>
                  <a:pt x="3999362" y="3304784"/>
                  <a:pt x="3999362" y="3305146"/>
                </a:cubicBezTo>
                <a:cubicBezTo>
                  <a:pt x="3999362" y="3305512"/>
                  <a:pt x="3999000" y="3305512"/>
                  <a:pt x="3999000" y="3305512"/>
                </a:cubicBezTo>
                <a:cubicBezTo>
                  <a:pt x="3998638" y="3305512"/>
                  <a:pt x="3998638" y="3305512"/>
                  <a:pt x="3998638" y="3305146"/>
                </a:cubicBezTo>
                <a:cubicBezTo>
                  <a:pt x="3998638" y="3304784"/>
                  <a:pt x="3998638" y="3304784"/>
                  <a:pt x="3999000" y="3304784"/>
                </a:cubicBezTo>
                <a:close/>
                <a:moveTo>
                  <a:pt x="3537882" y="3304784"/>
                </a:moveTo>
                <a:cubicBezTo>
                  <a:pt x="3538244" y="3304784"/>
                  <a:pt x="3538244" y="3304784"/>
                  <a:pt x="3538244" y="3305146"/>
                </a:cubicBezTo>
                <a:cubicBezTo>
                  <a:pt x="3538244" y="3305512"/>
                  <a:pt x="3537882" y="3305512"/>
                  <a:pt x="3537882" y="3305512"/>
                </a:cubicBezTo>
                <a:cubicBezTo>
                  <a:pt x="3537520" y="3305512"/>
                  <a:pt x="3537520" y="3305512"/>
                  <a:pt x="3537520" y="3305146"/>
                </a:cubicBezTo>
                <a:cubicBezTo>
                  <a:pt x="3537520" y="3304784"/>
                  <a:pt x="3537520" y="3304784"/>
                  <a:pt x="3537882" y="3304784"/>
                </a:cubicBezTo>
                <a:close/>
                <a:moveTo>
                  <a:pt x="3383934" y="3304784"/>
                </a:moveTo>
                <a:cubicBezTo>
                  <a:pt x="3384296" y="3304784"/>
                  <a:pt x="3384296" y="3304784"/>
                  <a:pt x="3384296" y="3305146"/>
                </a:cubicBezTo>
                <a:cubicBezTo>
                  <a:pt x="3384296" y="3305512"/>
                  <a:pt x="3383934" y="3305512"/>
                  <a:pt x="3383934" y="3305512"/>
                </a:cubicBezTo>
                <a:cubicBezTo>
                  <a:pt x="3383572" y="3305512"/>
                  <a:pt x="3383572" y="3305512"/>
                  <a:pt x="3383572" y="3305146"/>
                </a:cubicBezTo>
                <a:cubicBezTo>
                  <a:pt x="3383572" y="3304784"/>
                  <a:pt x="3383572" y="3304784"/>
                  <a:pt x="3383934" y="3304784"/>
                </a:cubicBezTo>
                <a:close/>
                <a:moveTo>
                  <a:pt x="3230353" y="3304422"/>
                </a:moveTo>
                <a:cubicBezTo>
                  <a:pt x="3230753" y="3304422"/>
                  <a:pt x="3231077" y="3304746"/>
                  <a:pt x="3231077" y="3305146"/>
                </a:cubicBezTo>
                <a:cubicBezTo>
                  <a:pt x="3231077" y="3305550"/>
                  <a:pt x="3230753" y="3305874"/>
                  <a:pt x="3230353" y="3305874"/>
                </a:cubicBezTo>
                <a:cubicBezTo>
                  <a:pt x="3229949" y="3305874"/>
                  <a:pt x="3229625" y="3305550"/>
                  <a:pt x="3229625" y="3305146"/>
                </a:cubicBezTo>
                <a:cubicBezTo>
                  <a:pt x="3229625" y="3304746"/>
                  <a:pt x="3229949" y="3304422"/>
                  <a:pt x="3230353" y="3304422"/>
                </a:cubicBezTo>
                <a:close/>
                <a:moveTo>
                  <a:pt x="4152947" y="3303694"/>
                </a:moveTo>
                <a:cubicBezTo>
                  <a:pt x="4153748" y="3303694"/>
                  <a:pt x="4154400" y="3304346"/>
                  <a:pt x="4154400" y="3305146"/>
                </a:cubicBezTo>
                <a:cubicBezTo>
                  <a:pt x="4154400" y="3305947"/>
                  <a:pt x="4153748" y="3306598"/>
                  <a:pt x="4152947" y="3306598"/>
                </a:cubicBezTo>
                <a:cubicBezTo>
                  <a:pt x="4152142" y="3306598"/>
                  <a:pt x="4151494" y="3305947"/>
                  <a:pt x="4151494" y="3305146"/>
                </a:cubicBezTo>
                <a:cubicBezTo>
                  <a:pt x="4151494" y="3304346"/>
                  <a:pt x="4152142" y="3303694"/>
                  <a:pt x="4152947" y="3303694"/>
                </a:cubicBezTo>
                <a:close/>
                <a:moveTo>
                  <a:pt x="4306528" y="3302970"/>
                </a:moveTo>
                <a:cubicBezTo>
                  <a:pt x="4307733" y="3302970"/>
                  <a:pt x="4308709" y="3303945"/>
                  <a:pt x="4308709" y="3305146"/>
                </a:cubicBezTo>
                <a:cubicBezTo>
                  <a:pt x="4308709" y="3306351"/>
                  <a:pt x="4307733" y="3307327"/>
                  <a:pt x="4306528" y="3307327"/>
                </a:cubicBezTo>
                <a:cubicBezTo>
                  <a:pt x="4305328" y="3307327"/>
                  <a:pt x="4304352" y="3306351"/>
                  <a:pt x="4304352" y="3305146"/>
                </a:cubicBezTo>
                <a:cubicBezTo>
                  <a:pt x="4304352" y="3303945"/>
                  <a:pt x="4305328" y="3302970"/>
                  <a:pt x="4306528" y="3302970"/>
                </a:cubicBezTo>
                <a:close/>
                <a:moveTo>
                  <a:pt x="4460480" y="3302241"/>
                </a:moveTo>
                <a:cubicBezTo>
                  <a:pt x="4462294" y="3302241"/>
                  <a:pt x="4463746" y="3303694"/>
                  <a:pt x="4463746" y="3305508"/>
                </a:cubicBezTo>
                <a:cubicBezTo>
                  <a:pt x="4463746" y="3307323"/>
                  <a:pt x="4462294" y="3308779"/>
                  <a:pt x="4460480" y="3308779"/>
                </a:cubicBezTo>
                <a:cubicBezTo>
                  <a:pt x="4458665" y="3308779"/>
                  <a:pt x="4457213" y="3307323"/>
                  <a:pt x="4457213" y="3305508"/>
                </a:cubicBezTo>
                <a:cubicBezTo>
                  <a:pt x="4457213" y="3303694"/>
                  <a:pt x="4458665" y="3302241"/>
                  <a:pt x="4460480" y="3302241"/>
                </a:cubicBezTo>
                <a:close/>
                <a:moveTo>
                  <a:pt x="4614061" y="3300789"/>
                </a:moveTo>
                <a:cubicBezTo>
                  <a:pt x="4616604" y="3300789"/>
                  <a:pt x="4618418" y="3302604"/>
                  <a:pt x="4618418" y="3305146"/>
                </a:cubicBezTo>
                <a:cubicBezTo>
                  <a:pt x="4618418" y="3307689"/>
                  <a:pt x="4616238" y="3309503"/>
                  <a:pt x="4614061" y="3309503"/>
                </a:cubicBezTo>
                <a:cubicBezTo>
                  <a:pt x="4611518" y="3309503"/>
                  <a:pt x="4609704" y="3307689"/>
                  <a:pt x="4609704" y="3305146"/>
                </a:cubicBezTo>
                <a:cubicBezTo>
                  <a:pt x="4609704" y="3302604"/>
                  <a:pt x="4611518" y="3300789"/>
                  <a:pt x="4614061" y="3300789"/>
                </a:cubicBezTo>
                <a:close/>
                <a:moveTo>
                  <a:pt x="4768012" y="3299699"/>
                </a:moveTo>
                <a:cubicBezTo>
                  <a:pt x="4771279" y="3299699"/>
                  <a:pt x="4773822" y="3302241"/>
                  <a:pt x="4773822" y="3305508"/>
                </a:cubicBezTo>
                <a:cubicBezTo>
                  <a:pt x="4773822" y="3308775"/>
                  <a:pt x="4771279" y="3311318"/>
                  <a:pt x="4768012" y="3311318"/>
                </a:cubicBezTo>
                <a:cubicBezTo>
                  <a:pt x="4764746" y="3311318"/>
                  <a:pt x="4762203" y="3308775"/>
                  <a:pt x="4762203" y="3305508"/>
                </a:cubicBezTo>
                <a:cubicBezTo>
                  <a:pt x="4762203" y="3302241"/>
                  <a:pt x="4764746" y="3299699"/>
                  <a:pt x="4768012" y="3299699"/>
                </a:cubicBezTo>
                <a:close/>
                <a:moveTo>
                  <a:pt x="4921594" y="3297885"/>
                </a:moveTo>
                <a:cubicBezTo>
                  <a:pt x="4925588" y="3297885"/>
                  <a:pt x="4928856" y="3301151"/>
                  <a:pt x="4928856" y="3305146"/>
                </a:cubicBezTo>
                <a:cubicBezTo>
                  <a:pt x="4928856" y="3309141"/>
                  <a:pt x="4925588" y="3312408"/>
                  <a:pt x="4921594" y="3312408"/>
                </a:cubicBezTo>
                <a:cubicBezTo>
                  <a:pt x="4917599" y="3312408"/>
                  <a:pt x="4914332" y="3309141"/>
                  <a:pt x="4914332" y="3305146"/>
                </a:cubicBezTo>
                <a:cubicBezTo>
                  <a:pt x="4914332" y="3301151"/>
                  <a:pt x="4917599" y="3297885"/>
                  <a:pt x="4921594" y="3297885"/>
                </a:cubicBezTo>
                <a:close/>
                <a:moveTo>
                  <a:pt x="5075541" y="3296070"/>
                </a:moveTo>
                <a:cubicBezTo>
                  <a:pt x="5080626" y="3296070"/>
                  <a:pt x="5084621" y="3300065"/>
                  <a:pt x="5084621" y="3305146"/>
                </a:cubicBezTo>
                <a:cubicBezTo>
                  <a:pt x="5084621" y="3310231"/>
                  <a:pt x="5080626" y="3314226"/>
                  <a:pt x="5075541" y="3314226"/>
                </a:cubicBezTo>
                <a:cubicBezTo>
                  <a:pt x="5070460" y="3314226"/>
                  <a:pt x="5066465" y="3310231"/>
                  <a:pt x="5066465" y="3305146"/>
                </a:cubicBezTo>
                <a:cubicBezTo>
                  <a:pt x="5066465" y="3300065"/>
                  <a:pt x="5070460" y="3296070"/>
                  <a:pt x="5075541" y="3296070"/>
                </a:cubicBezTo>
                <a:close/>
                <a:moveTo>
                  <a:pt x="5229126" y="3294980"/>
                </a:moveTo>
                <a:cubicBezTo>
                  <a:pt x="5234574" y="3294980"/>
                  <a:pt x="5239293" y="3299699"/>
                  <a:pt x="5239293" y="3305146"/>
                </a:cubicBezTo>
                <a:cubicBezTo>
                  <a:pt x="5239293" y="3310593"/>
                  <a:pt x="5234936" y="3315312"/>
                  <a:pt x="5229126" y="3315312"/>
                </a:cubicBezTo>
                <a:cubicBezTo>
                  <a:pt x="5223679" y="3315312"/>
                  <a:pt x="5218960" y="3310593"/>
                  <a:pt x="5218960" y="3305146"/>
                </a:cubicBezTo>
                <a:cubicBezTo>
                  <a:pt x="5218960" y="3299699"/>
                  <a:pt x="5223679" y="3294980"/>
                  <a:pt x="5229126" y="3294980"/>
                </a:cubicBezTo>
                <a:close/>
                <a:moveTo>
                  <a:pt x="5383074" y="3293165"/>
                </a:moveTo>
                <a:cubicBezTo>
                  <a:pt x="5389612" y="3293165"/>
                  <a:pt x="5395058" y="3298613"/>
                  <a:pt x="5395058" y="3305146"/>
                </a:cubicBezTo>
                <a:cubicBezTo>
                  <a:pt x="5395058" y="3311684"/>
                  <a:pt x="5389612" y="3317131"/>
                  <a:pt x="5383074" y="3317131"/>
                </a:cubicBezTo>
                <a:cubicBezTo>
                  <a:pt x="5376540" y="3317131"/>
                  <a:pt x="5371093" y="3311684"/>
                  <a:pt x="5371093" y="3305146"/>
                </a:cubicBezTo>
                <a:cubicBezTo>
                  <a:pt x="5371093" y="3298613"/>
                  <a:pt x="5376540" y="3293165"/>
                  <a:pt x="5383074" y="3293165"/>
                </a:cubicBezTo>
                <a:close/>
                <a:moveTo>
                  <a:pt x="5537021" y="3291351"/>
                </a:moveTo>
                <a:cubicBezTo>
                  <a:pt x="5544641" y="3291351"/>
                  <a:pt x="5550820" y="3297530"/>
                  <a:pt x="5550820" y="3305146"/>
                </a:cubicBezTo>
                <a:cubicBezTo>
                  <a:pt x="5550820" y="3312766"/>
                  <a:pt x="5544645" y="3318945"/>
                  <a:pt x="5537021" y="3318945"/>
                </a:cubicBezTo>
                <a:cubicBezTo>
                  <a:pt x="5529405" y="3318945"/>
                  <a:pt x="5523226" y="3312766"/>
                  <a:pt x="5523226" y="3305146"/>
                </a:cubicBezTo>
                <a:cubicBezTo>
                  <a:pt x="5523226" y="3297526"/>
                  <a:pt x="5529402" y="3291351"/>
                  <a:pt x="5537021" y="3291351"/>
                </a:cubicBezTo>
                <a:close/>
                <a:moveTo>
                  <a:pt x="5690606" y="3289899"/>
                </a:moveTo>
                <a:cubicBezTo>
                  <a:pt x="5699027" y="3289899"/>
                  <a:pt x="5705854" y="3296726"/>
                  <a:pt x="5705854" y="3305146"/>
                </a:cubicBezTo>
                <a:cubicBezTo>
                  <a:pt x="5705854" y="3313570"/>
                  <a:pt x="5699027" y="3320398"/>
                  <a:pt x="5690606" y="3320398"/>
                </a:cubicBezTo>
                <a:cubicBezTo>
                  <a:pt x="5682182" y="3320398"/>
                  <a:pt x="5675355" y="3313570"/>
                  <a:pt x="5675355" y="3305146"/>
                </a:cubicBezTo>
                <a:cubicBezTo>
                  <a:pt x="5675355" y="3296726"/>
                  <a:pt x="5682182" y="3289899"/>
                  <a:pt x="5690606" y="3289899"/>
                </a:cubicBezTo>
                <a:close/>
                <a:moveTo>
                  <a:pt x="5844554" y="3288084"/>
                </a:moveTo>
                <a:cubicBezTo>
                  <a:pt x="5853977" y="3288084"/>
                  <a:pt x="5861616" y="3295723"/>
                  <a:pt x="5861616" y="3305150"/>
                </a:cubicBezTo>
                <a:cubicBezTo>
                  <a:pt x="5861616" y="3314573"/>
                  <a:pt x="5853977" y="3322216"/>
                  <a:pt x="5844554" y="3322216"/>
                </a:cubicBezTo>
                <a:cubicBezTo>
                  <a:pt x="5835127" y="3322216"/>
                  <a:pt x="5827488" y="3314573"/>
                  <a:pt x="5827488" y="3305150"/>
                </a:cubicBezTo>
                <a:cubicBezTo>
                  <a:pt x="5827488" y="3295723"/>
                  <a:pt x="5835131" y="3288084"/>
                  <a:pt x="5844554" y="3288084"/>
                </a:cubicBezTo>
                <a:close/>
                <a:moveTo>
                  <a:pt x="5998136" y="3285904"/>
                </a:moveTo>
                <a:cubicBezTo>
                  <a:pt x="6008763" y="3285904"/>
                  <a:pt x="6017382" y="3294519"/>
                  <a:pt x="6017382" y="3305146"/>
                </a:cubicBezTo>
                <a:cubicBezTo>
                  <a:pt x="6017382" y="3315774"/>
                  <a:pt x="6008763" y="3324389"/>
                  <a:pt x="5998136" y="3324389"/>
                </a:cubicBezTo>
                <a:cubicBezTo>
                  <a:pt x="5987508" y="3324389"/>
                  <a:pt x="5978893" y="3315774"/>
                  <a:pt x="5978893" y="3305146"/>
                </a:cubicBezTo>
                <a:cubicBezTo>
                  <a:pt x="5978893" y="3294519"/>
                  <a:pt x="5987508" y="3285904"/>
                  <a:pt x="5998136" y="3285904"/>
                </a:cubicBezTo>
                <a:close/>
                <a:moveTo>
                  <a:pt x="6152086" y="3283727"/>
                </a:moveTo>
                <a:cubicBezTo>
                  <a:pt x="6163915" y="3283727"/>
                  <a:pt x="6173510" y="3293318"/>
                  <a:pt x="6173510" y="3305150"/>
                </a:cubicBezTo>
                <a:cubicBezTo>
                  <a:pt x="6173510" y="3316979"/>
                  <a:pt x="6163915" y="3326569"/>
                  <a:pt x="6152086" y="3326569"/>
                </a:cubicBezTo>
                <a:cubicBezTo>
                  <a:pt x="6140254" y="3326569"/>
                  <a:pt x="6130664" y="3316979"/>
                  <a:pt x="6130664" y="3305150"/>
                </a:cubicBezTo>
                <a:cubicBezTo>
                  <a:pt x="6130664" y="3293318"/>
                  <a:pt x="6140254" y="3283727"/>
                  <a:pt x="6152086" y="3283727"/>
                </a:cubicBezTo>
                <a:close/>
                <a:moveTo>
                  <a:pt x="6305672" y="3282275"/>
                </a:moveTo>
                <a:cubicBezTo>
                  <a:pt x="6318304" y="3282275"/>
                  <a:pt x="6328547" y="3292517"/>
                  <a:pt x="6328547" y="3305150"/>
                </a:cubicBezTo>
                <a:cubicBezTo>
                  <a:pt x="6328547" y="3317783"/>
                  <a:pt x="6318304" y="3328021"/>
                  <a:pt x="6305672" y="3328021"/>
                </a:cubicBezTo>
                <a:cubicBezTo>
                  <a:pt x="6293039" y="3328021"/>
                  <a:pt x="6282796" y="3317783"/>
                  <a:pt x="6282796" y="3305150"/>
                </a:cubicBezTo>
                <a:cubicBezTo>
                  <a:pt x="6282796" y="3292517"/>
                  <a:pt x="6293039" y="3282275"/>
                  <a:pt x="6305672" y="3282275"/>
                </a:cubicBezTo>
                <a:close/>
                <a:moveTo>
                  <a:pt x="6459616" y="3280094"/>
                </a:moveTo>
                <a:cubicBezTo>
                  <a:pt x="6473452" y="3280094"/>
                  <a:pt x="6484671" y="3291309"/>
                  <a:pt x="6484671" y="3305146"/>
                </a:cubicBezTo>
                <a:cubicBezTo>
                  <a:pt x="6484671" y="3318984"/>
                  <a:pt x="6473452" y="3330202"/>
                  <a:pt x="6459616" y="3330202"/>
                </a:cubicBezTo>
                <a:cubicBezTo>
                  <a:pt x="6445778" y="3330202"/>
                  <a:pt x="6434564" y="3318984"/>
                  <a:pt x="6434564" y="3305146"/>
                </a:cubicBezTo>
                <a:cubicBezTo>
                  <a:pt x="6434564" y="3291313"/>
                  <a:pt x="6445778" y="3280094"/>
                  <a:pt x="6459616" y="3280094"/>
                </a:cubicBezTo>
                <a:close/>
                <a:moveTo>
                  <a:pt x="6613200" y="3277914"/>
                </a:moveTo>
                <a:cubicBezTo>
                  <a:pt x="6628086" y="3277914"/>
                  <a:pt x="6640433" y="3290261"/>
                  <a:pt x="6640433" y="3305146"/>
                </a:cubicBezTo>
                <a:cubicBezTo>
                  <a:pt x="6640433" y="3320032"/>
                  <a:pt x="6628448" y="3332378"/>
                  <a:pt x="6613200" y="3332378"/>
                </a:cubicBezTo>
                <a:cubicBezTo>
                  <a:pt x="6598315" y="3332378"/>
                  <a:pt x="6585968" y="3320032"/>
                  <a:pt x="6585968" y="3305146"/>
                </a:cubicBezTo>
                <a:cubicBezTo>
                  <a:pt x="6585968" y="3290261"/>
                  <a:pt x="6598315" y="3277914"/>
                  <a:pt x="6613200" y="3277914"/>
                </a:cubicBezTo>
                <a:close/>
                <a:moveTo>
                  <a:pt x="3845414" y="3151199"/>
                </a:moveTo>
                <a:cubicBezTo>
                  <a:pt x="3845776" y="3151199"/>
                  <a:pt x="3845776" y="3151199"/>
                  <a:pt x="3845776" y="3151561"/>
                </a:cubicBezTo>
                <a:cubicBezTo>
                  <a:pt x="3845776" y="3151923"/>
                  <a:pt x="3845414" y="3151923"/>
                  <a:pt x="3845414" y="3151923"/>
                </a:cubicBezTo>
                <a:cubicBezTo>
                  <a:pt x="3845052" y="3151923"/>
                  <a:pt x="3845052" y="3151923"/>
                  <a:pt x="3845052" y="3151561"/>
                </a:cubicBezTo>
                <a:cubicBezTo>
                  <a:pt x="3845052" y="3151199"/>
                  <a:pt x="3845052" y="3151199"/>
                  <a:pt x="3845414" y="3151199"/>
                </a:cubicBezTo>
                <a:close/>
                <a:moveTo>
                  <a:pt x="3383934" y="3151199"/>
                </a:moveTo>
                <a:cubicBezTo>
                  <a:pt x="3384296" y="3151199"/>
                  <a:pt x="3384296" y="3151199"/>
                  <a:pt x="3384296" y="3151561"/>
                </a:cubicBezTo>
                <a:cubicBezTo>
                  <a:pt x="3384296" y="3151923"/>
                  <a:pt x="3383934" y="3151923"/>
                  <a:pt x="3383934" y="3151923"/>
                </a:cubicBezTo>
                <a:cubicBezTo>
                  <a:pt x="3383572" y="3151923"/>
                  <a:pt x="3383572" y="3151923"/>
                  <a:pt x="3383572" y="3151561"/>
                </a:cubicBezTo>
                <a:cubicBezTo>
                  <a:pt x="3383572" y="3151199"/>
                  <a:pt x="3383572" y="3151199"/>
                  <a:pt x="3383934" y="3151199"/>
                </a:cubicBezTo>
                <a:close/>
                <a:moveTo>
                  <a:pt x="3230349" y="3151199"/>
                </a:moveTo>
                <a:cubicBezTo>
                  <a:pt x="3230715" y="3151199"/>
                  <a:pt x="3230715" y="3151199"/>
                  <a:pt x="3230715" y="3151561"/>
                </a:cubicBezTo>
                <a:cubicBezTo>
                  <a:pt x="3230715" y="3151923"/>
                  <a:pt x="3230349" y="3151923"/>
                  <a:pt x="3230349" y="3151923"/>
                </a:cubicBezTo>
                <a:cubicBezTo>
                  <a:pt x="3229987" y="3151923"/>
                  <a:pt x="3229987" y="3151923"/>
                  <a:pt x="3229987" y="3151561"/>
                </a:cubicBezTo>
                <a:cubicBezTo>
                  <a:pt x="3229987" y="3151199"/>
                  <a:pt x="3229987" y="3151199"/>
                  <a:pt x="3230349" y="3151199"/>
                </a:cubicBezTo>
                <a:close/>
                <a:moveTo>
                  <a:pt x="3076406" y="3150837"/>
                </a:moveTo>
                <a:cubicBezTo>
                  <a:pt x="3076806" y="3150837"/>
                  <a:pt x="3077130" y="3151161"/>
                  <a:pt x="3077130" y="3151565"/>
                </a:cubicBezTo>
                <a:cubicBezTo>
                  <a:pt x="3077130" y="3151965"/>
                  <a:pt x="3076806" y="3152289"/>
                  <a:pt x="3076406" y="3152289"/>
                </a:cubicBezTo>
                <a:cubicBezTo>
                  <a:pt x="3076001" y="3152289"/>
                  <a:pt x="3075677" y="3151965"/>
                  <a:pt x="3075677" y="3151565"/>
                </a:cubicBezTo>
                <a:cubicBezTo>
                  <a:pt x="3075677" y="3151161"/>
                  <a:pt x="3076001" y="3150837"/>
                  <a:pt x="3076406" y="3150837"/>
                </a:cubicBezTo>
                <a:close/>
                <a:moveTo>
                  <a:pt x="3999000" y="3150112"/>
                </a:moveTo>
                <a:cubicBezTo>
                  <a:pt x="3999800" y="3150112"/>
                  <a:pt x="4000452" y="3150764"/>
                  <a:pt x="4000452" y="3151565"/>
                </a:cubicBezTo>
                <a:cubicBezTo>
                  <a:pt x="4000452" y="3152365"/>
                  <a:pt x="3999800" y="3153017"/>
                  <a:pt x="3999000" y="3153017"/>
                </a:cubicBezTo>
                <a:cubicBezTo>
                  <a:pt x="3998195" y="3153017"/>
                  <a:pt x="3997547" y="3152365"/>
                  <a:pt x="3997547" y="3151565"/>
                </a:cubicBezTo>
                <a:cubicBezTo>
                  <a:pt x="3997547" y="3150764"/>
                  <a:pt x="3998195" y="3150112"/>
                  <a:pt x="3999000" y="3150112"/>
                </a:cubicBezTo>
                <a:close/>
                <a:moveTo>
                  <a:pt x="4152951" y="3149384"/>
                </a:moveTo>
                <a:cubicBezTo>
                  <a:pt x="4154152" y="3149384"/>
                  <a:pt x="4155128" y="3150360"/>
                  <a:pt x="4155128" y="3151565"/>
                </a:cubicBezTo>
                <a:cubicBezTo>
                  <a:pt x="4155128" y="3152766"/>
                  <a:pt x="4154152" y="3153741"/>
                  <a:pt x="4152951" y="3153741"/>
                </a:cubicBezTo>
                <a:cubicBezTo>
                  <a:pt x="4151746" y="3153741"/>
                  <a:pt x="4150770" y="3152766"/>
                  <a:pt x="4150770" y="3151565"/>
                </a:cubicBezTo>
                <a:cubicBezTo>
                  <a:pt x="4150770" y="3150360"/>
                  <a:pt x="4151746" y="3149384"/>
                  <a:pt x="4152951" y="3149384"/>
                </a:cubicBezTo>
                <a:close/>
                <a:moveTo>
                  <a:pt x="4306528" y="3148294"/>
                </a:moveTo>
                <a:cubicBezTo>
                  <a:pt x="4308346" y="3148294"/>
                  <a:pt x="4309796" y="3149746"/>
                  <a:pt x="4309796" y="3151561"/>
                </a:cubicBezTo>
                <a:cubicBezTo>
                  <a:pt x="4309796" y="3153375"/>
                  <a:pt x="4308346" y="3154831"/>
                  <a:pt x="4306528" y="3154831"/>
                </a:cubicBezTo>
                <a:cubicBezTo>
                  <a:pt x="4304714" y="3154831"/>
                  <a:pt x="4303262" y="3153375"/>
                  <a:pt x="4303262" y="3151561"/>
                </a:cubicBezTo>
                <a:cubicBezTo>
                  <a:pt x="4303262" y="3149746"/>
                  <a:pt x="4304714" y="3148294"/>
                  <a:pt x="4306528" y="3148294"/>
                </a:cubicBezTo>
                <a:close/>
                <a:moveTo>
                  <a:pt x="4460480" y="3146842"/>
                </a:moveTo>
                <a:cubicBezTo>
                  <a:pt x="4463018" y="3146842"/>
                  <a:pt x="4464836" y="3148656"/>
                  <a:pt x="4464836" y="3151199"/>
                </a:cubicBezTo>
                <a:cubicBezTo>
                  <a:pt x="4464836" y="3153741"/>
                  <a:pt x="4462656" y="3155556"/>
                  <a:pt x="4460480" y="3155556"/>
                </a:cubicBezTo>
                <a:cubicBezTo>
                  <a:pt x="4457937" y="3155556"/>
                  <a:pt x="4456122" y="3153741"/>
                  <a:pt x="4456122" y="3151199"/>
                </a:cubicBezTo>
                <a:cubicBezTo>
                  <a:pt x="4456122" y="3148656"/>
                  <a:pt x="4457937" y="3146842"/>
                  <a:pt x="4460480" y="3146842"/>
                </a:cubicBezTo>
                <a:close/>
                <a:moveTo>
                  <a:pt x="4614061" y="3145752"/>
                </a:moveTo>
                <a:cubicBezTo>
                  <a:pt x="4617328" y="3145752"/>
                  <a:pt x="4619870" y="3148294"/>
                  <a:pt x="4619870" y="3151561"/>
                </a:cubicBezTo>
                <a:cubicBezTo>
                  <a:pt x="4619870" y="3154828"/>
                  <a:pt x="4617328" y="3157370"/>
                  <a:pt x="4614061" y="3157370"/>
                </a:cubicBezTo>
                <a:cubicBezTo>
                  <a:pt x="4610794" y="3157370"/>
                  <a:pt x="4608252" y="3154828"/>
                  <a:pt x="4608252" y="3151561"/>
                </a:cubicBezTo>
                <a:cubicBezTo>
                  <a:pt x="4608252" y="3148294"/>
                  <a:pt x="4610794" y="3145752"/>
                  <a:pt x="4614061" y="3145752"/>
                </a:cubicBezTo>
                <a:close/>
                <a:moveTo>
                  <a:pt x="4768008" y="3144299"/>
                </a:moveTo>
                <a:cubicBezTo>
                  <a:pt x="4772004" y="3144299"/>
                  <a:pt x="4775270" y="3147566"/>
                  <a:pt x="4775270" y="3151561"/>
                </a:cubicBezTo>
                <a:cubicBezTo>
                  <a:pt x="4775270" y="3155556"/>
                  <a:pt x="4772004" y="3158823"/>
                  <a:pt x="4768008" y="3158823"/>
                </a:cubicBezTo>
                <a:cubicBezTo>
                  <a:pt x="4764014" y="3158823"/>
                  <a:pt x="4760747" y="3155556"/>
                  <a:pt x="4760747" y="3151561"/>
                </a:cubicBezTo>
                <a:cubicBezTo>
                  <a:pt x="4760747" y="3147566"/>
                  <a:pt x="4764014" y="3144299"/>
                  <a:pt x="4768008" y="3144299"/>
                </a:cubicBezTo>
                <a:close/>
                <a:moveTo>
                  <a:pt x="4921594" y="3142123"/>
                </a:moveTo>
                <a:cubicBezTo>
                  <a:pt x="4926679" y="3142123"/>
                  <a:pt x="4930674" y="3146118"/>
                  <a:pt x="4930674" y="3151199"/>
                </a:cubicBezTo>
                <a:cubicBezTo>
                  <a:pt x="4930674" y="3156284"/>
                  <a:pt x="4926679" y="3160279"/>
                  <a:pt x="4921594" y="3160279"/>
                </a:cubicBezTo>
                <a:cubicBezTo>
                  <a:pt x="4916512" y="3160279"/>
                  <a:pt x="4912518" y="3156284"/>
                  <a:pt x="4912518" y="3151199"/>
                </a:cubicBezTo>
                <a:cubicBezTo>
                  <a:pt x="4912518" y="3146118"/>
                  <a:pt x="4916512" y="3142123"/>
                  <a:pt x="4921594" y="3142123"/>
                </a:cubicBezTo>
                <a:close/>
                <a:moveTo>
                  <a:pt x="5075541" y="3141395"/>
                </a:moveTo>
                <a:cubicBezTo>
                  <a:pt x="5080988" y="3141395"/>
                  <a:pt x="5085708" y="3146114"/>
                  <a:pt x="5085708" y="3151561"/>
                </a:cubicBezTo>
                <a:cubicBezTo>
                  <a:pt x="5085708" y="3157008"/>
                  <a:pt x="5081350" y="3161727"/>
                  <a:pt x="5075541" y="3161727"/>
                </a:cubicBezTo>
                <a:cubicBezTo>
                  <a:pt x="5070094" y="3161727"/>
                  <a:pt x="5065375" y="3157008"/>
                  <a:pt x="5065375" y="3151561"/>
                </a:cubicBezTo>
                <a:cubicBezTo>
                  <a:pt x="5065375" y="3146114"/>
                  <a:pt x="5070094" y="3141395"/>
                  <a:pt x="5075541" y="3141395"/>
                </a:cubicBezTo>
                <a:close/>
                <a:moveTo>
                  <a:pt x="5229126" y="3139580"/>
                </a:moveTo>
                <a:cubicBezTo>
                  <a:pt x="5235664" y="3139580"/>
                  <a:pt x="5241111" y="3145028"/>
                  <a:pt x="5241111" y="3151561"/>
                </a:cubicBezTo>
                <a:cubicBezTo>
                  <a:pt x="5241111" y="3158099"/>
                  <a:pt x="5235664" y="3163542"/>
                  <a:pt x="5229126" y="3163542"/>
                </a:cubicBezTo>
                <a:cubicBezTo>
                  <a:pt x="5222593" y="3163542"/>
                  <a:pt x="5217146" y="3158099"/>
                  <a:pt x="5217146" y="3151561"/>
                </a:cubicBezTo>
                <a:cubicBezTo>
                  <a:pt x="5217146" y="3145028"/>
                  <a:pt x="5222593" y="3139580"/>
                  <a:pt x="5229126" y="3139580"/>
                </a:cubicBezTo>
                <a:close/>
                <a:moveTo>
                  <a:pt x="5383078" y="3137403"/>
                </a:moveTo>
                <a:cubicBezTo>
                  <a:pt x="5390702" y="3137403"/>
                  <a:pt x="5396873" y="3143575"/>
                  <a:pt x="5396873" y="3151199"/>
                </a:cubicBezTo>
                <a:cubicBezTo>
                  <a:pt x="5396873" y="3158827"/>
                  <a:pt x="5390702" y="3164998"/>
                  <a:pt x="5383078" y="3164998"/>
                </a:cubicBezTo>
                <a:cubicBezTo>
                  <a:pt x="5375450" y="3164998"/>
                  <a:pt x="5369278" y="3158827"/>
                  <a:pt x="5369278" y="3151199"/>
                </a:cubicBezTo>
                <a:cubicBezTo>
                  <a:pt x="5369278" y="3143575"/>
                  <a:pt x="5375450" y="3137403"/>
                  <a:pt x="5383078" y="3137403"/>
                </a:cubicBezTo>
                <a:close/>
                <a:moveTo>
                  <a:pt x="5536659" y="3136313"/>
                </a:moveTo>
                <a:cubicBezTo>
                  <a:pt x="5545080" y="3136313"/>
                  <a:pt x="5551906" y="3143140"/>
                  <a:pt x="5551906" y="3151565"/>
                </a:cubicBezTo>
                <a:cubicBezTo>
                  <a:pt x="5551906" y="3159985"/>
                  <a:pt x="5545080" y="3166812"/>
                  <a:pt x="5536659" y="3166812"/>
                </a:cubicBezTo>
                <a:cubicBezTo>
                  <a:pt x="5528238" y="3166812"/>
                  <a:pt x="5521408" y="3159985"/>
                  <a:pt x="5521408" y="3151565"/>
                </a:cubicBezTo>
                <a:cubicBezTo>
                  <a:pt x="5521408" y="3143140"/>
                  <a:pt x="5528238" y="3136313"/>
                  <a:pt x="5536659" y="3136313"/>
                </a:cubicBezTo>
                <a:close/>
                <a:moveTo>
                  <a:pt x="5690606" y="3134499"/>
                </a:moveTo>
                <a:cubicBezTo>
                  <a:pt x="5700048" y="3134499"/>
                  <a:pt x="5707672" y="3142123"/>
                  <a:pt x="5707672" y="3151565"/>
                </a:cubicBezTo>
                <a:cubicBezTo>
                  <a:pt x="5707672" y="3161003"/>
                  <a:pt x="5700048" y="3168627"/>
                  <a:pt x="5690606" y="3168627"/>
                </a:cubicBezTo>
                <a:cubicBezTo>
                  <a:pt x="5681164" y="3168627"/>
                  <a:pt x="5673540" y="3161003"/>
                  <a:pt x="5673540" y="3151565"/>
                </a:cubicBezTo>
                <a:cubicBezTo>
                  <a:pt x="5673540" y="3142123"/>
                  <a:pt x="5681164" y="3134499"/>
                  <a:pt x="5690606" y="3134499"/>
                </a:cubicBezTo>
                <a:close/>
                <a:moveTo>
                  <a:pt x="5844554" y="3132318"/>
                </a:moveTo>
                <a:cubicBezTo>
                  <a:pt x="5855182" y="3132318"/>
                  <a:pt x="5863796" y="3140933"/>
                  <a:pt x="5863796" y="3151561"/>
                </a:cubicBezTo>
                <a:cubicBezTo>
                  <a:pt x="5863796" y="3162188"/>
                  <a:pt x="5855182" y="3170807"/>
                  <a:pt x="5844554" y="3170807"/>
                </a:cubicBezTo>
                <a:cubicBezTo>
                  <a:pt x="5833926" y="3170807"/>
                  <a:pt x="5825308" y="3162188"/>
                  <a:pt x="5825308" y="3151561"/>
                </a:cubicBezTo>
                <a:cubicBezTo>
                  <a:pt x="5825308" y="3140933"/>
                  <a:pt x="5833926" y="3132318"/>
                  <a:pt x="5844554" y="3132318"/>
                </a:cubicBezTo>
                <a:close/>
                <a:moveTo>
                  <a:pt x="5998139" y="3130142"/>
                </a:moveTo>
                <a:cubicBezTo>
                  <a:pt x="6009968" y="3130142"/>
                  <a:pt x="6019562" y="3139733"/>
                  <a:pt x="6019562" y="3151565"/>
                </a:cubicBezTo>
                <a:cubicBezTo>
                  <a:pt x="6019562" y="3163397"/>
                  <a:pt x="6009968" y="3172984"/>
                  <a:pt x="5998139" y="3172984"/>
                </a:cubicBezTo>
                <a:cubicBezTo>
                  <a:pt x="5986307" y="3172984"/>
                  <a:pt x="5976716" y="3163393"/>
                  <a:pt x="5976716" y="3151565"/>
                </a:cubicBezTo>
                <a:cubicBezTo>
                  <a:pt x="5976716" y="3139733"/>
                  <a:pt x="5986307" y="3130142"/>
                  <a:pt x="5998139" y="3130142"/>
                </a:cubicBezTo>
                <a:close/>
                <a:moveTo>
                  <a:pt x="6152086" y="3128689"/>
                </a:moveTo>
                <a:cubicBezTo>
                  <a:pt x="6164719" y="3128689"/>
                  <a:pt x="6174958" y="3138932"/>
                  <a:pt x="6174958" y="3151565"/>
                </a:cubicBezTo>
                <a:cubicBezTo>
                  <a:pt x="6174958" y="3164197"/>
                  <a:pt x="6164719" y="3174440"/>
                  <a:pt x="6152086" y="3174440"/>
                </a:cubicBezTo>
                <a:cubicBezTo>
                  <a:pt x="6139450" y="3174440"/>
                  <a:pt x="6129212" y="3164197"/>
                  <a:pt x="6129212" y="3151565"/>
                </a:cubicBezTo>
                <a:cubicBezTo>
                  <a:pt x="6129212" y="3138932"/>
                  <a:pt x="6139450" y="3128689"/>
                  <a:pt x="6152086" y="3128689"/>
                </a:cubicBezTo>
                <a:close/>
                <a:moveTo>
                  <a:pt x="6305668" y="3126509"/>
                </a:moveTo>
                <a:cubicBezTo>
                  <a:pt x="6319505" y="3126509"/>
                  <a:pt x="6330724" y="3137724"/>
                  <a:pt x="6330724" y="3151561"/>
                </a:cubicBezTo>
                <a:cubicBezTo>
                  <a:pt x="6330724" y="3165398"/>
                  <a:pt x="6319505" y="3176616"/>
                  <a:pt x="6305668" y="3176616"/>
                </a:cubicBezTo>
                <a:cubicBezTo>
                  <a:pt x="6291831" y="3176616"/>
                  <a:pt x="6280616" y="3165398"/>
                  <a:pt x="6280616" y="3151561"/>
                </a:cubicBezTo>
                <a:cubicBezTo>
                  <a:pt x="6280616" y="3137728"/>
                  <a:pt x="6291831" y="3126509"/>
                  <a:pt x="6305668" y="3126509"/>
                </a:cubicBezTo>
                <a:close/>
                <a:moveTo>
                  <a:pt x="6459619" y="3124332"/>
                </a:moveTo>
                <a:cubicBezTo>
                  <a:pt x="6474657" y="3124332"/>
                  <a:pt x="6486852" y="3136523"/>
                  <a:pt x="6486852" y="3151565"/>
                </a:cubicBezTo>
                <a:cubicBezTo>
                  <a:pt x="6486852" y="3166603"/>
                  <a:pt x="6474657" y="3178797"/>
                  <a:pt x="6459619" y="3178797"/>
                </a:cubicBezTo>
                <a:cubicBezTo>
                  <a:pt x="6444582" y="3178797"/>
                  <a:pt x="6432387" y="3166603"/>
                  <a:pt x="6432387" y="3151565"/>
                </a:cubicBezTo>
                <a:cubicBezTo>
                  <a:pt x="6432387" y="3136523"/>
                  <a:pt x="6444582" y="3124332"/>
                  <a:pt x="6459619" y="3124332"/>
                </a:cubicBezTo>
                <a:close/>
                <a:moveTo>
                  <a:pt x="6613197" y="3121790"/>
                </a:moveTo>
                <a:cubicBezTo>
                  <a:pt x="6629642" y="3121790"/>
                  <a:pt x="6642972" y="3135120"/>
                  <a:pt x="6642972" y="3151565"/>
                </a:cubicBezTo>
                <a:cubicBezTo>
                  <a:pt x="6642972" y="3168005"/>
                  <a:pt x="6629642" y="3181336"/>
                  <a:pt x="6613197" y="3181336"/>
                </a:cubicBezTo>
                <a:cubicBezTo>
                  <a:pt x="6596756" y="3181336"/>
                  <a:pt x="6583426" y="3168005"/>
                  <a:pt x="6583426" y="3151565"/>
                </a:cubicBezTo>
                <a:cubicBezTo>
                  <a:pt x="6583426" y="3135120"/>
                  <a:pt x="6596756" y="3121790"/>
                  <a:pt x="6613197" y="3121790"/>
                </a:cubicBezTo>
                <a:close/>
                <a:moveTo>
                  <a:pt x="3691467" y="2997252"/>
                </a:moveTo>
                <a:cubicBezTo>
                  <a:pt x="3691669" y="2997252"/>
                  <a:pt x="3691829" y="2997415"/>
                  <a:pt x="3691829" y="2997613"/>
                </a:cubicBezTo>
                <a:cubicBezTo>
                  <a:pt x="3691829" y="2997816"/>
                  <a:pt x="3691669" y="2997976"/>
                  <a:pt x="3691467" y="2997976"/>
                </a:cubicBezTo>
                <a:cubicBezTo>
                  <a:pt x="3691269" y="2997976"/>
                  <a:pt x="3691105" y="2997816"/>
                  <a:pt x="3691105" y="2997613"/>
                </a:cubicBezTo>
                <a:cubicBezTo>
                  <a:pt x="3691105" y="2997415"/>
                  <a:pt x="3691269" y="2997252"/>
                  <a:pt x="3691467" y="2997252"/>
                </a:cubicBezTo>
                <a:close/>
                <a:moveTo>
                  <a:pt x="3230349" y="2997252"/>
                </a:moveTo>
                <a:cubicBezTo>
                  <a:pt x="3230715" y="2997252"/>
                  <a:pt x="3230715" y="2997252"/>
                  <a:pt x="3230715" y="2997613"/>
                </a:cubicBezTo>
                <a:cubicBezTo>
                  <a:pt x="3230715" y="2997976"/>
                  <a:pt x="3230349" y="2997976"/>
                  <a:pt x="3230349" y="2997976"/>
                </a:cubicBezTo>
                <a:cubicBezTo>
                  <a:pt x="3229987" y="2997976"/>
                  <a:pt x="3229987" y="2997976"/>
                  <a:pt x="3229987" y="2997613"/>
                </a:cubicBezTo>
                <a:cubicBezTo>
                  <a:pt x="3229987" y="2997252"/>
                  <a:pt x="3229987" y="2997252"/>
                  <a:pt x="3230349" y="2997252"/>
                </a:cubicBezTo>
                <a:close/>
                <a:moveTo>
                  <a:pt x="3076406" y="2997252"/>
                </a:moveTo>
                <a:cubicBezTo>
                  <a:pt x="3076768" y="2997252"/>
                  <a:pt x="3076768" y="2997252"/>
                  <a:pt x="3076768" y="2997613"/>
                </a:cubicBezTo>
                <a:cubicBezTo>
                  <a:pt x="3076768" y="2997976"/>
                  <a:pt x="3076406" y="2997976"/>
                  <a:pt x="3076406" y="2997976"/>
                </a:cubicBezTo>
                <a:cubicBezTo>
                  <a:pt x="3076043" y="2997976"/>
                  <a:pt x="3076043" y="2997976"/>
                  <a:pt x="3076043" y="2997613"/>
                </a:cubicBezTo>
                <a:cubicBezTo>
                  <a:pt x="3076043" y="2997252"/>
                  <a:pt x="3076043" y="2997252"/>
                  <a:pt x="3076406" y="2997252"/>
                </a:cubicBezTo>
                <a:close/>
                <a:moveTo>
                  <a:pt x="2922824" y="2996889"/>
                </a:moveTo>
                <a:cubicBezTo>
                  <a:pt x="2923224" y="2996889"/>
                  <a:pt x="2923548" y="2997213"/>
                  <a:pt x="2923548" y="2997613"/>
                </a:cubicBezTo>
                <a:cubicBezTo>
                  <a:pt x="2923548" y="2998018"/>
                  <a:pt x="2923224" y="2998342"/>
                  <a:pt x="2922824" y="2998342"/>
                </a:cubicBezTo>
                <a:cubicBezTo>
                  <a:pt x="2922420" y="2998342"/>
                  <a:pt x="2922096" y="2998018"/>
                  <a:pt x="2922096" y="2997613"/>
                </a:cubicBezTo>
                <a:cubicBezTo>
                  <a:pt x="2922096" y="2997213"/>
                  <a:pt x="2922420" y="2996889"/>
                  <a:pt x="2922824" y="2996889"/>
                </a:cubicBezTo>
                <a:close/>
                <a:moveTo>
                  <a:pt x="3845414" y="2996165"/>
                </a:moveTo>
                <a:cubicBezTo>
                  <a:pt x="3846215" y="2996165"/>
                  <a:pt x="3846867" y="2996817"/>
                  <a:pt x="3846867" y="2997617"/>
                </a:cubicBezTo>
                <a:cubicBezTo>
                  <a:pt x="3846867" y="2998418"/>
                  <a:pt x="3846215" y="2999070"/>
                  <a:pt x="3845414" y="2999070"/>
                </a:cubicBezTo>
                <a:cubicBezTo>
                  <a:pt x="3844610" y="2999070"/>
                  <a:pt x="3843962" y="2998418"/>
                  <a:pt x="3843962" y="2997617"/>
                </a:cubicBezTo>
                <a:cubicBezTo>
                  <a:pt x="3843962" y="2996817"/>
                  <a:pt x="3844610" y="2996165"/>
                  <a:pt x="3845414" y="2996165"/>
                </a:cubicBezTo>
                <a:close/>
                <a:moveTo>
                  <a:pt x="3999000" y="2995437"/>
                </a:moveTo>
                <a:cubicBezTo>
                  <a:pt x="4000204" y="2995437"/>
                  <a:pt x="4001180" y="2996413"/>
                  <a:pt x="4001180" y="2997613"/>
                </a:cubicBezTo>
                <a:cubicBezTo>
                  <a:pt x="4001180" y="2998818"/>
                  <a:pt x="4000204" y="2999794"/>
                  <a:pt x="3999000" y="2999794"/>
                </a:cubicBezTo>
                <a:cubicBezTo>
                  <a:pt x="3997799" y="2999794"/>
                  <a:pt x="3996823" y="2998818"/>
                  <a:pt x="3996823" y="2997613"/>
                </a:cubicBezTo>
                <a:cubicBezTo>
                  <a:pt x="3996823" y="2996413"/>
                  <a:pt x="3997799" y="2995437"/>
                  <a:pt x="3999000" y="2995437"/>
                </a:cubicBezTo>
                <a:close/>
                <a:moveTo>
                  <a:pt x="4152947" y="2994713"/>
                </a:moveTo>
                <a:cubicBezTo>
                  <a:pt x="4154762" y="2994713"/>
                  <a:pt x="4156214" y="2996165"/>
                  <a:pt x="4156214" y="2997979"/>
                </a:cubicBezTo>
                <a:cubicBezTo>
                  <a:pt x="4156214" y="2999794"/>
                  <a:pt x="4154762" y="3001250"/>
                  <a:pt x="4152947" y="3001250"/>
                </a:cubicBezTo>
                <a:cubicBezTo>
                  <a:pt x="4151132" y="3001250"/>
                  <a:pt x="4149680" y="2999794"/>
                  <a:pt x="4149680" y="2997979"/>
                </a:cubicBezTo>
                <a:cubicBezTo>
                  <a:pt x="4149680" y="2996165"/>
                  <a:pt x="4151132" y="2994713"/>
                  <a:pt x="4152947" y="2994713"/>
                </a:cubicBezTo>
                <a:close/>
                <a:moveTo>
                  <a:pt x="4306532" y="2993261"/>
                </a:moveTo>
                <a:cubicBezTo>
                  <a:pt x="4309075" y="2993261"/>
                  <a:pt x="4310890" y="2995075"/>
                  <a:pt x="4310890" y="2997617"/>
                </a:cubicBezTo>
                <a:cubicBezTo>
                  <a:pt x="4310890" y="3000160"/>
                  <a:pt x="4308709" y="3001974"/>
                  <a:pt x="4306532" y="3001974"/>
                </a:cubicBezTo>
                <a:cubicBezTo>
                  <a:pt x="4303990" y="3001974"/>
                  <a:pt x="4302176" y="3000160"/>
                  <a:pt x="4302176" y="2997617"/>
                </a:cubicBezTo>
                <a:cubicBezTo>
                  <a:pt x="4302176" y="2995075"/>
                  <a:pt x="4303990" y="2993261"/>
                  <a:pt x="4306532" y="2993261"/>
                </a:cubicBezTo>
                <a:close/>
                <a:moveTo>
                  <a:pt x="4460480" y="2991808"/>
                </a:moveTo>
                <a:cubicBezTo>
                  <a:pt x="4463690" y="2991808"/>
                  <a:pt x="4466289" y="2994408"/>
                  <a:pt x="4466289" y="2997617"/>
                </a:cubicBezTo>
                <a:cubicBezTo>
                  <a:pt x="4466289" y="3000827"/>
                  <a:pt x="4463690" y="3003427"/>
                  <a:pt x="4460480" y="3003427"/>
                </a:cubicBezTo>
                <a:cubicBezTo>
                  <a:pt x="4457270" y="3003427"/>
                  <a:pt x="4454670" y="3000827"/>
                  <a:pt x="4454670" y="2997617"/>
                </a:cubicBezTo>
                <a:cubicBezTo>
                  <a:pt x="4454670" y="2994408"/>
                  <a:pt x="4457270" y="2991808"/>
                  <a:pt x="4460480" y="2991808"/>
                </a:cubicBezTo>
                <a:close/>
                <a:moveTo>
                  <a:pt x="4614065" y="2990356"/>
                </a:moveTo>
                <a:cubicBezTo>
                  <a:pt x="4618060" y="2990356"/>
                  <a:pt x="4621326" y="2993622"/>
                  <a:pt x="4621326" y="2997617"/>
                </a:cubicBezTo>
                <a:cubicBezTo>
                  <a:pt x="4621326" y="3001612"/>
                  <a:pt x="4618060" y="3004879"/>
                  <a:pt x="4614065" y="3004879"/>
                </a:cubicBezTo>
                <a:cubicBezTo>
                  <a:pt x="4610070" y="3004879"/>
                  <a:pt x="4606804" y="3001612"/>
                  <a:pt x="4606804" y="2997617"/>
                </a:cubicBezTo>
                <a:cubicBezTo>
                  <a:pt x="4606804" y="2993622"/>
                  <a:pt x="4610070" y="2990356"/>
                  <a:pt x="4614065" y="2990356"/>
                </a:cubicBezTo>
                <a:close/>
                <a:moveTo>
                  <a:pt x="4768008" y="2988537"/>
                </a:moveTo>
                <a:cubicBezTo>
                  <a:pt x="4773094" y="2988537"/>
                  <a:pt x="4777088" y="2992532"/>
                  <a:pt x="4777088" y="2997613"/>
                </a:cubicBezTo>
                <a:cubicBezTo>
                  <a:pt x="4777088" y="3002699"/>
                  <a:pt x="4773094" y="3006693"/>
                  <a:pt x="4768008" y="3006693"/>
                </a:cubicBezTo>
                <a:cubicBezTo>
                  <a:pt x="4762928" y="3006693"/>
                  <a:pt x="4758932" y="3002699"/>
                  <a:pt x="4758932" y="2997613"/>
                </a:cubicBezTo>
                <a:cubicBezTo>
                  <a:pt x="4758932" y="2992532"/>
                  <a:pt x="4762928" y="2988537"/>
                  <a:pt x="4768008" y="2988537"/>
                </a:cubicBezTo>
                <a:close/>
                <a:moveTo>
                  <a:pt x="4921594" y="2987447"/>
                </a:moveTo>
                <a:cubicBezTo>
                  <a:pt x="4927041" y="2987447"/>
                  <a:pt x="4931760" y="2992166"/>
                  <a:pt x="4931760" y="2997613"/>
                </a:cubicBezTo>
                <a:cubicBezTo>
                  <a:pt x="4931760" y="3003061"/>
                  <a:pt x="4927403" y="3007780"/>
                  <a:pt x="4921594" y="3007780"/>
                </a:cubicBezTo>
                <a:cubicBezTo>
                  <a:pt x="4916146" y="3007780"/>
                  <a:pt x="4911428" y="3003061"/>
                  <a:pt x="4911428" y="2997613"/>
                </a:cubicBezTo>
                <a:cubicBezTo>
                  <a:pt x="4911428" y="2992166"/>
                  <a:pt x="4916146" y="2987447"/>
                  <a:pt x="4921594" y="2987447"/>
                </a:cubicBezTo>
                <a:close/>
                <a:moveTo>
                  <a:pt x="5075541" y="2985633"/>
                </a:moveTo>
                <a:cubicBezTo>
                  <a:pt x="5082078" y="2985633"/>
                  <a:pt x="5087526" y="2991080"/>
                  <a:pt x="5087526" y="2997613"/>
                </a:cubicBezTo>
                <a:cubicBezTo>
                  <a:pt x="5087526" y="3004151"/>
                  <a:pt x="5082078" y="3009594"/>
                  <a:pt x="5075541" y="3009594"/>
                </a:cubicBezTo>
                <a:cubicBezTo>
                  <a:pt x="5069008" y="3009594"/>
                  <a:pt x="5063560" y="3004151"/>
                  <a:pt x="5063560" y="2997613"/>
                </a:cubicBezTo>
                <a:cubicBezTo>
                  <a:pt x="5063560" y="2991080"/>
                  <a:pt x="5069008" y="2985633"/>
                  <a:pt x="5075541" y="2985633"/>
                </a:cubicBezTo>
                <a:close/>
                <a:moveTo>
                  <a:pt x="5229126" y="2983818"/>
                </a:moveTo>
                <a:cubicBezTo>
                  <a:pt x="5236750" y="2983818"/>
                  <a:pt x="5242922" y="2989990"/>
                  <a:pt x="5242922" y="2997613"/>
                </a:cubicBezTo>
                <a:cubicBezTo>
                  <a:pt x="5242922" y="3005241"/>
                  <a:pt x="5236750" y="3011413"/>
                  <a:pt x="5229126" y="3011413"/>
                </a:cubicBezTo>
                <a:cubicBezTo>
                  <a:pt x="5221499" y="3011413"/>
                  <a:pt x="5215328" y="3005241"/>
                  <a:pt x="5215328" y="2997613"/>
                </a:cubicBezTo>
                <a:cubicBezTo>
                  <a:pt x="5215328" y="2989990"/>
                  <a:pt x="5221499" y="2983818"/>
                  <a:pt x="5229126" y="2983818"/>
                </a:cubicBezTo>
                <a:close/>
                <a:moveTo>
                  <a:pt x="5383074" y="2982366"/>
                </a:moveTo>
                <a:cubicBezTo>
                  <a:pt x="5391498" y="2982366"/>
                  <a:pt x="5398326" y="2989193"/>
                  <a:pt x="5398326" y="2997613"/>
                </a:cubicBezTo>
                <a:cubicBezTo>
                  <a:pt x="5398326" y="3006038"/>
                  <a:pt x="5391498" y="3012865"/>
                  <a:pt x="5383074" y="3012865"/>
                </a:cubicBezTo>
                <a:cubicBezTo>
                  <a:pt x="5374654" y="3012865"/>
                  <a:pt x="5367826" y="3006038"/>
                  <a:pt x="5367826" y="2997613"/>
                </a:cubicBezTo>
                <a:cubicBezTo>
                  <a:pt x="5367826" y="2989193"/>
                  <a:pt x="5374654" y="2982366"/>
                  <a:pt x="5383074" y="2982366"/>
                </a:cubicBezTo>
                <a:close/>
                <a:moveTo>
                  <a:pt x="5536659" y="2980551"/>
                </a:moveTo>
                <a:cubicBezTo>
                  <a:pt x="5546098" y="2980551"/>
                  <a:pt x="5553725" y="2988175"/>
                  <a:pt x="5553725" y="2997617"/>
                </a:cubicBezTo>
                <a:cubicBezTo>
                  <a:pt x="5553725" y="3007056"/>
                  <a:pt x="5546098" y="3014683"/>
                  <a:pt x="5536659" y="3014683"/>
                </a:cubicBezTo>
                <a:cubicBezTo>
                  <a:pt x="5527217" y="3014683"/>
                  <a:pt x="5519593" y="3007056"/>
                  <a:pt x="5519593" y="2997617"/>
                </a:cubicBezTo>
                <a:cubicBezTo>
                  <a:pt x="5519593" y="2988175"/>
                  <a:pt x="5527217" y="2980551"/>
                  <a:pt x="5536659" y="2980551"/>
                </a:cubicBezTo>
                <a:close/>
                <a:moveTo>
                  <a:pt x="5690606" y="2978371"/>
                </a:moveTo>
                <a:cubicBezTo>
                  <a:pt x="5701234" y="2978371"/>
                  <a:pt x="5709849" y="2986986"/>
                  <a:pt x="5709849" y="2997613"/>
                </a:cubicBezTo>
                <a:cubicBezTo>
                  <a:pt x="5709849" y="3008241"/>
                  <a:pt x="5701234" y="3016856"/>
                  <a:pt x="5690606" y="3016856"/>
                </a:cubicBezTo>
                <a:cubicBezTo>
                  <a:pt x="5679979" y="3016856"/>
                  <a:pt x="5671360" y="3008241"/>
                  <a:pt x="5671360" y="2997613"/>
                </a:cubicBezTo>
                <a:cubicBezTo>
                  <a:pt x="5671360" y="2986986"/>
                  <a:pt x="5679979" y="2978371"/>
                  <a:pt x="5690606" y="2978371"/>
                </a:cubicBezTo>
                <a:close/>
                <a:moveTo>
                  <a:pt x="5844550" y="2976195"/>
                </a:moveTo>
                <a:cubicBezTo>
                  <a:pt x="5856382" y="2976195"/>
                  <a:pt x="5865973" y="2985785"/>
                  <a:pt x="5865973" y="2997617"/>
                </a:cubicBezTo>
                <a:cubicBezTo>
                  <a:pt x="5865973" y="3009446"/>
                  <a:pt x="5856382" y="3019036"/>
                  <a:pt x="5844550" y="3019036"/>
                </a:cubicBezTo>
                <a:cubicBezTo>
                  <a:pt x="5832718" y="3019036"/>
                  <a:pt x="5823127" y="3009446"/>
                  <a:pt x="5823127" y="2997617"/>
                </a:cubicBezTo>
                <a:cubicBezTo>
                  <a:pt x="5823127" y="2985785"/>
                  <a:pt x="5832718" y="2976195"/>
                  <a:pt x="5844550" y="2976195"/>
                </a:cubicBezTo>
                <a:close/>
                <a:moveTo>
                  <a:pt x="5998139" y="2974742"/>
                </a:moveTo>
                <a:cubicBezTo>
                  <a:pt x="6010772" y="2974742"/>
                  <a:pt x="6021010" y="2984985"/>
                  <a:pt x="6021010" y="2997617"/>
                </a:cubicBezTo>
                <a:cubicBezTo>
                  <a:pt x="6021010" y="3010250"/>
                  <a:pt x="6010772" y="3020489"/>
                  <a:pt x="5998139" y="3020489"/>
                </a:cubicBezTo>
                <a:cubicBezTo>
                  <a:pt x="5985502" y="3020489"/>
                  <a:pt x="5975264" y="3010250"/>
                  <a:pt x="5975264" y="2997617"/>
                </a:cubicBezTo>
                <a:cubicBezTo>
                  <a:pt x="5975264" y="2984985"/>
                  <a:pt x="5985502" y="2974742"/>
                  <a:pt x="5998139" y="2974742"/>
                </a:cubicBezTo>
                <a:close/>
                <a:moveTo>
                  <a:pt x="6152083" y="2972562"/>
                </a:moveTo>
                <a:cubicBezTo>
                  <a:pt x="6165920" y="2972562"/>
                  <a:pt x="6177134" y="2983776"/>
                  <a:pt x="6177134" y="2997613"/>
                </a:cubicBezTo>
                <a:cubicBezTo>
                  <a:pt x="6177134" y="3011451"/>
                  <a:pt x="6165920" y="3022669"/>
                  <a:pt x="6152083" y="3022669"/>
                </a:cubicBezTo>
                <a:cubicBezTo>
                  <a:pt x="6138246" y="3022669"/>
                  <a:pt x="6127031" y="3011451"/>
                  <a:pt x="6127031" y="2997613"/>
                </a:cubicBezTo>
                <a:cubicBezTo>
                  <a:pt x="6127031" y="2983780"/>
                  <a:pt x="6138246" y="2972562"/>
                  <a:pt x="6152083" y="2972562"/>
                </a:cubicBezTo>
                <a:close/>
                <a:moveTo>
                  <a:pt x="6305672" y="2970385"/>
                </a:moveTo>
                <a:cubicBezTo>
                  <a:pt x="6320710" y="2970385"/>
                  <a:pt x="6332904" y="2982576"/>
                  <a:pt x="6332904" y="2997617"/>
                </a:cubicBezTo>
                <a:cubicBezTo>
                  <a:pt x="6332904" y="3012655"/>
                  <a:pt x="6320710" y="3024846"/>
                  <a:pt x="6305672" y="3024846"/>
                </a:cubicBezTo>
                <a:cubicBezTo>
                  <a:pt x="6290634" y="3024846"/>
                  <a:pt x="6278440" y="3012655"/>
                  <a:pt x="6278440" y="2997617"/>
                </a:cubicBezTo>
                <a:cubicBezTo>
                  <a:pt x="6278440" y="2982576"/>
                  <a:pt x="6290634" y="2970385"/>
                  <a:pt x="6305672" y="2970385"/>
                </a:cubicBezTo>
                <a:close/>
                <a:moveTo>
                  <a:pt x="6459619" y="2967843"/>
                </a:moveTo>
                <a:cubicBezTo>
                  <a:pt x="6476060" y="2967843"/>
                  <a:pt x="6489390" y="2981173"/>
                  <a:pt x="6489390" y="2997613"/>
                </a:cubicBezTo>
                <a:cubicBezTo>
                  <a:pt x="6489390" y="3014058"/>
                  <a:pt x="6476060" y="3027388"/>
                  <a:pt x="6459619" y="3027388"/>
                </a:cubicBezTo>
                <a:cubicBezTo>
                  <a:pt x="6443174" y="3027388"/>
                  <a:pt x="6429844" y="3014058"/>
                  <a:pt x="6429844" y="2997613"/>
                </a:cubicBezTo>
                <a:cubicBezTo>
                  <a:pt x="6429844" y="2981173"/>
                  <a:pt x="6443174" y="2967843"/>
                  <a:pt x="6459619" y="2967843"/>
                </a:cubicBezTo>
                <a:close/>
                <a:moveTo>
                  <a:pt x="6613200" y="2965666"/>
                </a:moveTo>
                <a:cubicBezTo>
                  <a:pt x="6630846" y="2965666"/>
                  <a:pt x="6645152" y="2979972"/>
                  <a:pt x="6645152" y="2997617"/>
                </a:cubicBezTo>
                <a:cubicBezTo>
                  <a:pt x="6645152" y="3015263"/>
                  <a:pt x="6630846" y="3029569"/>
                  <a:pt x="6613200" y="3029569"/>
                </a:cubicBezTo>
                <a:cubicBezTo>
                  <a:pt x="6595556" y="3029569"/>
                  <a:pt x="6581250" y="3015263"/>
                  <a:pt x="6581250" y="2997617"/>
                </a:cubicBezTo>
                <a:cubicBezTo>
                  <a:pt x="6581250" y="2979972"/>
                  <a:pt x="6595556" y="2965666"/>
                  <a:pt x="6613200" y="2965666"/>
                </a:cubicBezTo>
                <a:close/>
                <a:moveTo>
                  <a:pt x="3537882" y="2843666"/>
                </a:moveTo>
                <a:cubicBezTo>
                  <a:pt x="3538244" y="2843666"/>
                  <a:pt x="3538244" y="2843666"/>
                  <a:pt x="3538244" y="2844028"/>
                </a:cubicBezTo>
                <a:cubicBezTo>
                  <a:pt x="3538244" y="2844390"/>
                  <a:pt x="3537882" y="2844390"/>
                  <a:pt x="3537882" y="2844390"/>
                </a:cubicBezTo>
                <a:cubicBezTo>
                  <a:pt x="3537520" y="2844390"/>
                  <a:pt x="3537520" y="2844390"/>
                  <a:pt x="3537520" y="2844028"/>
                </a:cubicBezTo>
                <a:cubicBezTo>
                  <a:pt x="3537520" y="2843666"/>
                  <a:pt x="3537520" y="2843666"/>
                  <a:pt x="3537882" y="2843666"/>
                </a:cubicBezTo>
                <a:close/>
                <a:moveTo>
                  <a:pt x="3076406" y="2843666"/>
                </a:moveTo>
                <a:cubicBezTo>
                  <a:pt x="3076768" y="2843666"/>
                  <a:pt x="3076768" y="2843666"/>
                  <a:pt x="3076768" y="2844028"/>
                </a:cubicBezTo>
                <a:cubicBezTo>
                  <a:pt x="3076768" y="2844390"/>
                  <a:pt x="3076406" y="2844390"/>
                  <a:pt x="3076406" y="2844390"/>
                </a:cubicBezTo>
                <a:cubicBezTo>
                  <a:pt x="3076043" y="2844390"/>
                  <a:pt x="3076043" y="2844390"/>
                  <a:pt x="3076043" y="2844028"/>
                </a:cubicBezTo>
                <a:cubicBezTo>
                  <a:pt x="3076043" y="2843666"/>
                  <a:pt x="3076043" y="2843666"/>
                  <a:pt x="3076406" y="2843666"/>
                </a:cubicBezTo>
                <a:close/>
                <a:moveTo>
                  <a:pt x="2922458" y="2843666"/>
                </a:moveTo>
                <a:cubicBezTo>
                  <a:pt x="2922820" y="2843666"/>
                  <a:pt x="2922820" y="2843666"/>
                  <a:pt x="2922820" y="2844028"/>
                </a:cubicBezTo>
                <a:cubicBezTo>
                  <a:pt x="2922820" y="2844390"/>
                  <a:pt x="2922458" y="2844390"/>
                  <a:pt x="2922458" y="2844390"/>
                </a:cubicBezTo>
                <a:cubicBezTo>
                  <a:pt x="2922096" y="2844390"/>
                  <a:pt x="2922096" y="2844390"/>
                  <a:pt x="2922096" y="2844028"/>
                </a:cubicBezTo>
                <a:cubicBezTo>
                  <a:pt x="2922096" y="2843666"/>
                  <a:pt x="2922096" y="2843666"/>
                  <a:pt x="2922458" y="2843666"/>
                </a:cubicBezTo>
                <a:close/>
                <a:moveTo>
                  <a:pt x="2768877" y="2843304"/>
                </a:moveTo>
                <a:cubicBezTo>
                  <a:pt x="2769277" y="2843304"/>
                  <a:pt x="2769601" y="2843628"/>
                  <a:pt x="2769601" y="2844032"/>
                </a:cubicBezTo>
                <a:cubicBezTo>
                  <a:pt x="2769601" y="2844432"/>
                  <a:pt x="2769277" y="2844756"/>
                  <a:pt x="2768877" y="2844756"/>
                </a:cubicBezTo>
                <a:cubicBezTo>
                  <a:pt x="2768473" y="2844756"/>
                  <a:pt x="2768149" y="2844432"/>
                  <a:pt x="2768149" y="2844032"/>
                </a:cubicBezTo>
                <a:cubicBezTo>
                  <a:pt x="2768149" y="2843628"/>
                  <a:pt x="2768473" y="2843304"/>
                  <a:pt x="2768877" y="2843304"/>
                </a:cubicBezTo>
                <a:close/>
                <a:moveTo>
                  <a:pt x="3691467" y="2842580"/>
                </a:moveTo>
                <a:cubicBezTo>
                  <a:pt x="3692268" y="2842580"/>
                  <a:pt x="3692919" y="2843232"/>
                  <a:pt x="3692919" y="2844032"/>
                </a:cubicBezTo>
                <a:cubicBezTo>
                  <a:pt x="3692919" y="2844833"/>
                  <a:pt x="3692268" y="2845485"/>
                  <a:pt x="3691467" y="2845485"/>
                </a:cubicBezTo>
                <a:cubicBezTo>
                  <a:pt x="3690663" y="2845485"/>
                  <a:pt x="3690014" y="2844833"/>
                  <a:pt x="3690014" y="2844032"/>
                </a:cubicBezTo>
                <a:cubicBezTo>
                  <a:pt x="3690014" y="2843232"/>
                  <a:pt x="3690663" y="2842580"/>
                  <a:pt x="3691467" y="2842580"/>
                </a:cubicBezTo>
                <a:close/>
                <a:moveTo>
                  <a:pt x="3845418" y="2841852"/>
                </a:moveTo>
                <a:cubicBezTo>
                  <a:pt x="3846619" y="2841852"/>
                  <a:pt x="3847595" y="2842828"/>
                  <a:pt x="3847595" y="2844032"/>
                </a:cubicBezTo>
                <a:cubicBezTo>
                  <a:pt x="3847595" y="2845233"/>
                  <a:pt x="3846619" y="2846209"/>
                  <a:pt x="3845418" y="2846209"/>
                </a:cubicBezTo>
                <a:cubicBezTo>
                  <a:pt x="3844214" y="2846209"/>
                  <a:pt x="3843238" y="2845233"/>
                  <a:pt x="3843238" y="2844032"/>
                </a:cubicBezTo>
                <a:cubicBezTo>
                  <a:pt x="3843238" y="2842828"/>
                  <a:pt x="3844214" y="2841852"/>
                  <a:pt x="3845418" y="2841852"/>
                </a:cubicBezTo>
                <a:close/>
                <a:moveTo>
                  <a:pt x="3999000" y="2840761"/>
                </a:moveTo>
                <a:cubicBezTo>
                  <a:pt x="4000818" y="2840761"/>
                  <a:pt x="4002270" y="2842214"/>
                  <a:pt x="4002270" y="2844028"/>
                </a:cubicBezTo>
                <a:cubicBezTo>
                  <a:pt x="4002270" y="2845843"/>
                  <a:pt x="4000818" y="2847299"/>
                  <a:pt x="3999000" y="2847299"/>
                </a:cubicBezTo>
                <a:cubicBezTo>
                  <a:pt x="3997185" y="2847299"/>
                  <a:pt x="3995733" y="2845843"/>
                  <a:pt x="3995733" y="2844028"/>
                </a:cubicBezTo>
                <a:cubicBezTo>
                  <a:pt x="3995733" y="2842214"/>
                  <a:pt x="3997185" y="2840761"/>
                  <a:pt x="3999000" y="2840761"/>
                </a:cubicBezTo>
                <a:close/>
                <a:moveTo>
                  <a:pt x="4152947" y="2839309"/>
                </a:moveTo>
                <a:cubicBezTo>
                  <a:pt x="4155486" y="2839309"/>
                  <a:pt x="4157304" y="2841124"/>
                  <a:pt x="4157304" y="2843666"/>
                </a:cubicBezTo>
                <a:cubicBezTo>
                  <a:pt x="4157304" y="2846209"/>
                  <a:pt x="4155124" y="2848023"/>
                  <a:pt x="4152947" y="2848023"/>
                </a:cubicBezTo>
                <a:cubicBezTo>
                  <a:pt x="4150404" y="2848023"/>
                  <a:pt x="4148590" y="2846209"/>
                  <a:pt x="4148590" y="2843666"/>
                </a:cubicBezTo>
                <a:cubicBezTo>
                  <a:pt x="4148590" y="2841124"/>
                  <a:pt x="4150404" y="2839309"/>
                  <a:pt x="4152947" y="2839309"/>
                </a:cubicBezTo>
                <a:close/>
                <a:moveTo>
                  <a:pt x="4306532" y="2838223"/>
                </a:moveTo>
                <a:cubicBezTo>
                  <a:pt x="4309742" y="2838223"/>
                  <a:pt x="4312342" y="2840823"/>
                  <a:pt x="4312342" y="2844032"/>
                </a:cubicBezTo>
                <a:cubicBezTo>
                  <a:pt x="4312342" y="2847242"/>
                  <a:pt x="4309742" y="2849841"/>
                  <a:pt x="4306532" y="2849841"/>
                </a:cubicBezTo>
                <a:cubicBezTo>
                  <a:pt x="4303322" y="2849841"/>
                  <a:pt x="4300723" y="2847242"/>
                  <a:pt x="4300723" y="2844032"/>
                </a:cubicBezTo>
                <a:cubicBezTo>
                  <a:pt x="4300723" y="2840823"/>
                  <a:pt x="4303322" y="2838223"/>
                  <a:pt x="4306532" y="2838223"/>
                </a:cubicBezTo>
                <a:close/>
                <a:moveTo>
                  <a:pt x="4460480" y="2836770"/>
                </a:moveTo>
                <a:cubicBezTo>
                  <a:pt x="4464474" y="2836770"/>
                  <a:pt x="4467742" y="2840037"/>
                  <a:pt x="4467742" y="2844032"/>
                </a:cubicBezTo>
                <a:cubicBezTo>
                  <a:pt x="4467742" y="2848027"/>
                  <a:pt x="4464474" y="2851294"/>
                  <a:pt x="4460480" y="2851294"/>
                </a:cubicBezTo>
                <a:cubicBezTo>
                  <a:pt x="4456485" y="2851294"/>
                  <a:pt x="4453218" y="2848027"/>
                  <a:pt x="4453218" y="2844032"/>
                </a:cubicBezTo>
                <a:cubicBezTo>
                  <a:pt x="4453218" y="2840037"/>
                  <a:pt x="4456485" y="2836770"/>
                  <a:pt x="4460480" y="2836770"/>
                </a:cubicBezTo>
                <a:close/>
                <a:moveTo>
                  <a:pt x="4614061" y="2834590"/>
                </a:moveTo>
                <a:cubicBezTo>
                  <a:pt x="4619146" y="2834590"/>
                  <a:pt x="4623141" y="2838585"/>
                  <a:pt x="4623141" y="2843666"/>
                </a:cubicBezTo>
                <a:cubicBezTo>
                  <a:pt x="4623141" y="2848751"/>
                  <a:pt x="4619146" y="2852746"/>
                  <a:pt x="4614061" y="2852746"/>
                </a:cubicBezTo>
                <a:cubicBezTo>
                  <a:pt x="4608980" y="2852746"/>
                  <a:pt x="4604985" y="2848751"/>
                  <a:pt x="4604985" y="2843666"/>
                </a:cubicBezTo>
                <a:cubicBezTo>
                  <a:pt x="4604985" y="2838585"/>
                  <a:pt x="4608980" y="2834590"/>
                  <a:pt x="4614061" y="2834590"/>
                </a:cubicBezTo>
                <a:close/>
                <a:moveTo>
                  <a:pt x="4768012" y="2833866"/>
                </a:moveTo>
                <a:cubicBezTo>
                  <a:pt x="4773460" y="2833866"/>
                  <a:pt x="4778178" y="2838585"/>
                  <a:pt x="4778178" y="2844032"/>
                </a:cubicBezTo>
                <a:cubicBezTo>
                  <a:pt x="4778178" y="2849479"/>
                  <a:pt x="4773822" y="2854198"/>
                  <a:pt x="4768012" y="2854198"/>
                </a:cubicBezTo>
                <a:cubicBezTo>
                  <a:pt x="4762565" y="2854198"/>
                  <a:pt x="4757846" y="2849479"/>
                  <a:pt x="4757846" y="2844032"/>
                </a:cubicBezTo>
                <a:cubicBezTo>
                  <a:pt x="4757846" y="2838585"/>
                  <a:pt x="4762565" y="2833866"/>
                  <a:pt x="4768012" y="2833866"/>
                </a:cubicBezTo>
                <a:close/>
                <a:moveTo>
                  <a:pt x="4921594" y="2831685"/>
                </a:moveTo>
                <a:cubicBezTo>
                  <a:pt x="4928131" y="2831685"/>
                  <a:pt x="4933578" y="2837132"/>
                  <a:pt x="4933578" y="2843666"/>
                </a:cubicBezTo>
                <a:cubicBezTo>
                  <a:pt x="4933578" y="2850203"/>
                  <a:pt x="4928131" y="2855651"/>
                  <a:pt x="4921594" y="2855651"/>
                </a:cubicBezTo>
                <a:cubicBezTo>
                  <a:pt x="4915060" y="2855651"/>
                  <a:pt x="4909613" y="2850203"/>
                  <a:pt x="4909613" y="2843666"/>
                </a:cubicBezTo>
                <a:cubicBezTo>
                  <a:pt x="4909613" y="2837132"/>
                  <a:pt x="4915060" y="2831685"/>
                  <a:pt x="4921594" y="2831685"/>
                </a:cubicBezTo>
                <a:close/>
                <a:moveTo>
                  <a:pt x="5075545" y="2829871"/>
                </a:moveTo>
                <a:cubicBezTo>
                  <a:pt x="5083169" y="2829871"/>
                  <a:pt x="5089340" y="2836042"/>
                  <a:pt x="5089340" y="2843666"/>
                </a:cubicBezTo>
                <a:cubicBezTo>
                  <a:pt x="5089340" y="2851294"/>
                  <a:pt x="5083169" y="2857465"/>
                  <a:pt x="5075545" y="2857465"/>
                </a:cubicBezTo>
                <a:cubicBezTo>
                  <a:pt x="5067918" y="2857465"/>
                  <a:pt x="5061746" y="2851294"/>
                  <a:pt x="5061746" y="2843666"/>
                </a:cubicBezTo>
                <a:cubicBezTo>
                  <a:pt x="5061746" y="2836042"/>
                  <a:pt x="5067918" y="2829871"/>
                  <a:pt x="5075545" y="2829871"/>
                </a:cubicBezTo>
                <a:close/>
                <a:moveTo>
                  <a:pt x="5229126" y="2828781"/>
                </a:moveTo>
                <a:cubicBezTo>
                  <a:pt x="5237551" y="2828781"/>
                  <a:pt x="5244378" y="2835608"/>
                  <a:pt x="5244378" y="2844032"/>
                </a:cubicBezTo>
                <a:cubicBezTo>
                  <a:pt x="5244378" y="2852453"/>
                  <a:pt x="5237551" y="2859280"/>
                  <a:pt x="5229126" y="2859280"/>
                </a:cubicBezTo>
                <a:cubicBezTo>
                  <a:pt x="5220706" y="2859280"/>
                  <a:pt x="5213879" y="2852453"/>
                  <a:pt x="5213879" y="2844032"/>
                </a:cubicBezTo>
                <a:cubicBezTo>
                  <a:pt x="5213879" y="2835608"/>
                  <a:pt x="5220706" y="2828781"/>
                  <a:pt x="5229126" y="2828781"/>
                </a:cubicBezTo>
                <a:close/>
                <a:moveTo>
                  <a:pt x="5383074" y="2826966"/>
                </a:moveTo>
                <a:cubicBezTo>
                  <a:pt x="5392512" y="2826966"/>
                  <a:pt x="5400140" y="2834590"/>
                  <a:pt x="5400140" y="2844032"/>
                </a:cubicBezTo>
                <a:cubicBezTo>
                  <a:pt x="5400140" y="2853471"/>
                  <a:pt x="5392512" y="2861098"/>
                  <a:pt x="5383074" y="2861098"/>
                </a:cubicBezTo>
                <a:cubicBezTo>
                  <a:pt x="5373632" y="2861098"/>
                  <a:pt x="5366008" y="2853471"/>
                  <a:pt x="5366008" y="2844032"/>
                </a:cubicBezTo>
                <a:cubicBezTo>
                  <a:pt x="5366008" y="2834590"/>
                  <a:pt x="5373632" y="2826966"/>
                  <a:pt x="5383074" y="2826966"/>
                </a:cubicBezTo>
                <a:close/>
                <a:moveTo>
                  <a:pt x="5536659" y="2824790"/>
                </a:moveTo>
                <a:cubicBezTo>
                  <a:pt x="5547286" y="2824790"/>
                  <a:pt x="5555902" y="2833404"/>
                  <a:pt x="5555902" y="2844032"/>
                </a:cubicBezTo>
                <a:cubicBezTo>
                  <a:pt x="5555902" y="2854660"/>
                  <a:pt x="5547286" y="2863279"/>
                  <a:pt x="5536659" y="2863279"/>
                </a:cubicBezTo>
                <a:cubicBezTo>
                  <a:pt x="5526032" y="2863279"/>
                  <a:pt x="5517413" y="2854660"/>
                  <a:pt x="5517413" y="2844032"/>
                </a:cubicBezTo>
                <a:cubicBezTo>
                  <a:pt x="5517413" y="2833404"/>
                  <a:pt x="5526032" y="2824790"/>
                  <a:pt x="5536659" y="2824790"/>
                </a:cubicBezTo>
                <a:close/>
                <a:moveTo>
                  <a:pt x="5690602" y="2822609"/>
                </a:moveTo>
                <a:cubicBezTo>
                  <a:pt x="5702435" y="2822609"/>
                  <a:pt x="5712026" y="2832200"/>
                  <a:pt x="5712026" y="2844032"/>
                </a:cubicBezTo>
                <a:cubicBezTo>
                  <a:pt x="5712026" y="2855864"/>
                  <a:pt x="5702435" y="2865451"/>
                  <a:pt x="5690602" y="2865451"/>
                </a:cubicBezTo>
                <a:cubicBezTo>
                  <a:pt x="5678770" y="2865451"/>
                  <a:pt x="5669180" y="2855860"/>
                  <a:pt x="5669180" y="2844032"/>
                </a:cubicBezTo>
                <a:cubicBezTo>
                  <a:pt x="5669180" y="2832200"/>
                  <a:pt x="5678770" y="2822609"/>
                  <a:pt x="5690602" y="2822609"/>
                </a:cubicBezTo>
                <a:close/>
                <a:moveTo>
                  <a:pt x="5844554" y="2821157"/>
                </a:moveTo>
                <a:cubicBezTo>
                  <a:pt x="5857186" y="2821157"/>
                  <a:pt x="5867429" y="2831399"/>
                  <a:pt x="5867429" y="2844032"/>
                </a:cubicBezTo>
                <a:cubicBezTo>
                  <a:pt x="5867429" y="2856665"/>
                  <a:pt x="5857186" y="2866903"/>
                  <a:pt x="5844554" y="2866903"/>
                </a:cubicBezTo>
                <a:cubicBezTo>
                  <a:pt x="5831918" y="2866903"/>
                  <a:pt x="5821678" y="2856665"/>
                  <a:pt x="5821678" y="2844032"/>
                </a:cubicBezTo>
                <a:cubicBezTo>
                  <a:pt x="5821678" y="2831399"/>
                  <a:pt x="5831918" y="2821157"/>
                  <a:pt x="5844554" y="2821157"/>
                </a:cubicBezTo>
                <a:close/>
                <a:moveTo>
                  <a:pt x="5998136" y="2818980"/>
                </a:moveTo>
                <a:cubicBezTo>
                  <a:pt x="6011972" y="2818980"/>
                  <a:pt x="6023187" y="2830195"/>
                  <a:pt x="6023187" y="2844032"/>
                </a:cubicBezTo>
                <a:cubicBezTo>
                  <a:pt x="6023187" y="2857869"/>
                  <a:pt x="6011972" y="2869088"/>
                  <a:pt x="5998136" y="2869088"/>
                </a:cubicBezTo>
                <a:cubicBezTo>
                  <a:pt x="5984298" y="2869088"/>
                  <a:pt x="5973084" y="2857869"/>
                  <a:pt x="5973084" y="2844032"/>
                </a:cubicBezTo>
                <a:cubicBezTo>
                  <a:pt x="5973084" y="2830199"/>
                  <a:pt x="5984298" y="2818980"/>
                  <a:pt x="5998136" y="2818980"/>
                </a:cubicBezTo>
                <a:close/>
                <a:moveTo>
                  <a:pt x="6152086" y="2816800"/>
                </a:moveTo>
                <a:cubicBezTo>
                  <a:pt x="6167124" y="2816800"/>
                  <a:pt x="6179315" y="2828990"/>
                  <a:pt x="6179315" y="2844032"/>
                </a:cubicBezTo>
                <a:cubicBezTo>
                  <a:pt x="6179315" y="2859070"/>
                  <a:pt x="6167124" y="2871264"/>
                  <a:pt x="6152086" y="2871264"/>
                </a:cubicBezTo>
                <a:cubicBezTo>
                  <a:pt x="6137045" y="2871264"/>
                  <a:pt x="6124854" y="2859070"/>
                  <a:pt x="6124854" y="2844032"/>
                </a:cubicBezTo>
                <a:cubicBezTo>
                  <a:pt x="6124854" y="2828990"/>
                  <a:pt x="6137045" y="2816800"/>
                  <a:pt x="6152086" y="2816800"/>
                </a:cubicBezTo>
                <a:close/>
                <a:moveTo>
                  <a:pt x="6305672" y="2814257"/>
                </a:moveTo>
                <a:cubicBezTo>
                  <a:pt x="6322112" y="2814257"/>
                  <a:pt x="6335443" y="2827587"/>
                  <a:pt x="6335443" y="2844032"/>
                </a:cubicBezTo>
                <a:cubicBezTo>
                  <a:pt x="6335443" y="2860473"/>
                  <a:pt x="6322112" y="2873803"/>
                  <a:pt x="6305672" y="2873803"/>
                </a:cubicBezTo>
                <a:cubicBezTo>
                  <a:pt x="6289228" y="2873803"/>
                  <a:pt x="6275897" y="2860473"/>
                  <a:pt x="6275897" y="2844032"/>
                </a:cubicBezTo>
                <a:cubicBezTo>
                  <a:pt x="6275897" y="2827587"/>
                  <a:pt x="6289228" y="2814257"/>
                  <a:pt x="6305672" y="2814257"/>
                </a:cubicBezTo>
                <a:close/>
                <a:moveTo>
                  <a:pt x="6459616" y="2812081"/>
                </a:moveTo>
                <a:cubicBezTo>
                  <a:pt x="6477260" y="2812081"/>
                  <a:pt x="6491567" y="2826387"/>
                  <a:pt x="6491567" y="2844032"/>
                </a:cubicBezTo>
                <a:cubicBezTo>
                  <a:pt x="6491567" y="2861677"/>
                  <a:pt x="6477260" y="2875983"/>
                  <a:pt x="6459616" y="2875983"/>
                </a:cubicBezTo>
                <a:cubicBezTo>
                  <a:pt x="6441970" y="2875983"/>
                  <a:pt x="6427664" y="2861677"/>
                  <a:pt x="6427664" y="2844032"/>
                </a:cubicBezTo>
                <a:cubicBezTo>
                  <a:pt x="6427664" y="2826387"/>
                  <a:pt x="6441970" y="2812081"/>
                  <a:pt x="6459616" y="2812081"/>
                </a:cubicBezTo>
                <a:close/>
                <a:moveTo>
                  <a:pt x="6613200" y="2810266"/>
                </a:moveTo>
                <a:cubicBezTo>
                  <a:pt x="6631848" y="2810266"/>
                  <a:pt x="6646966" y="2825384"/>
                  <a:pt x="6646966" y="2844032"/>
                </a:cubicBezTo>
                <a:cubicBezTo>
                  <a:pt x="6646966" y="2862684"/>
                  <a:pt x="6631848" y="2877802"/>
                  <a:pt x="6613200" y="2877802"/>
                </a:cubicBezTo>
                <a:cubicBezTo>
                  <a:pt x="6594553" y="2877802"/>
                  <a:pt x="6579435" y="2862684"/>
                  <a:pt x="6579435" y="2844032"/>
                </a:cubicBezTo>
                <a:cubicBezTo>
                  <a:pt x="6579435" y="2825384"/>
                  <a:pt x="6594553" y="2810266"/>
                  <a:pt x="6613200" y="2810266"/>
                </a:cubicBezTo>
                <a:close/>
                <a:moveTo>
                  <a:pt x="3383934" y="2689722"/>
                </a:moveTo>
                <a:cubicBezTo>
                  <a:pt x="3384296" y="2689722"/>
                  <a:pt x="3384296" y="2689722"/>
                  <a:pt x="3384296" y="2690085"/>
                </a:cubicBezTo>
                <a:cubicBezTo>
                  <a:pt x="3384296" y="2690447"/>
                  <a:pt x="3383934" y="2690447"/>
                  <a:pt x="3383934" y="2690447"/>
                </a:cubicBezTo>
                <a:cubicBezTo>
                  <a:pt x="3383572" y="2690447"/>
                  <a:pt x="3383572" y="2690447"/>
                  <a:pt x="3383572" y="2690085"/>
                </a:cubicBezTo>
                <a:cubicBezTo>
                  <a:pt x="3383572" y="2689722"/>
                  <a:pt x="3383572" y="2689722"/>
                  <a:pt x="3383934" y="2689722"/>
                </a:cubicBezTo>
                <a:close/>
                <a:moveTo>
                  <a:pt x="2922458" y="2689722"/>
                </a:moveTo>
                <a:cubicBezTo>
                  <a:pt x="2922820" y="2689722"/>
                  <a:pt x="2922820" y="2689722"/>
                  <a:pt x="2922820" y="2690085"/>
                </a:cubicBezTo>
                <a:cubicBezTo>
                  <a:pt x="2922820" y="2690447"/>
                  <a:pt x="2922458" y="2690447"/>
                  <a:pt x="2922458" y="2690447"/>
                </a:cubicBezTo>
                <a:cubicBezTo>
                  <a:pt x="2922096" y="2690447"/>
                  <a:pt x="2922096" y="2690447"/>
                  <a:pt x="2922096" y="2690085"/>
                </a:cubicBezTo>
                <a:cubicBezTo>
                  <a:pt x="2922096" y="2689722"/>
                  <a:pt x="2922096" y="2689722"/>
                  <a:pt x="2922458" y="2689722"/>
                </a:cubicBezTo>
                <a:close/>
                <a:moveTo>
                  <a:pt x="2768873" y="2689722"/>
                </a:moveTo>
                <a:cubicBezTo>
                  <a:pt x="2769235" y="2689722"/>
                  <a:pt x="2769235" y="2689722"/>
                  <a:pt x="2769235" y="2690085"/>
                </a:cubicBezTo>
                <a:cubicBezTo>
                  <a:pt x="2769235" y="2690447"/>
                  <a:pt x="2768873" y="2690447"/>
                  <a:pt x="2768873" y="2690447"/>
                </a:cubicBezTo>
                <a:cubicBezTo>
                  <a:pt x="2768511" y="2690447"/>
                  <a:pt x="2768511" y="2690447"/>
                  <a:pt x="2768511" y="2690085"/>
                </a:cubicBezTo>
                <a:cubicBezTo>
                  <a:pt x="2768511" y="2689722"/>
                  <a:pt x="2768511" y="2689722"/>
                  <a:pt x="2768873" y="2689722"/>
                </a:cubicBezTo>
                <a:close/>
                <a:moveTo>
                  <a:pt x="2614925" y="2689357"/>
                </a:moveTo>
                <a:cubicBezTo>
                  <a:pt x="2615291" y="2689357"/>
                  <a:pt x="2615654" y="2689719"/>
                  <a:pt x="2615654" y="2690081"/>
                </a:cubicBezTo>
                <a:cubicBezTo>
                  <a:pt x="2615654" y="2690447"/>
                  <a:pt x="2614925" y="2690809"/>
                  <a:pt x="2614925" y="2690809"/>
                </a:cubicBezTo>
                <a:cubicBezTo>
                  <a:pt x="2614563" y="2690809"/>
                  <a:pt x="2614201" y="2690447"/>
                  <a:pt x="2614201" y="2690081"/>
                </a:cubicBezTo>
                <a:cubicBezTo>
                  <a:pt x="2614201" y="2689719"/>
                  <a:pt x="2614563" y="2689357"/>
                  <a:pt x="2614925" y="2689357"/>
                </a:cubicBezTo>
                <a:close/>
                <a:moveTo>
                  <a:pt x="3537886" y="2688633"/>
                </a:moveTo>
                <a:cubicBezTo>
                  <a:pt x="3538690" y="2688633"/>
                  <a:pt x="3539338" y="2689284"/>
                  <a:pt x="3539338" y="2690085"/>
                </a:cubicBezTo>
                <a:cubicBezTo>
                  <a:pt x="3539338" y="2690885"/>
                  <a:pt x="3538690" y="2691537"/>
                  <a:pt x="3537886" y="2691537"/>
                </a:cubicBezTo>
                <a:cubicBezTo>
                  <a:pt x="3537085" y="2691537"/>
                  <a:pt x="3536433" y="2690885"/>
                  <a:pt x="3536433" y="2690085"/>
                </a:cubicBezTo>
                <a:cubicBezTo>
                  <a:pt x="3536433" y="2689284"/>
                  <a:pt x="3537085" y="2688633"/>
                  <a:pt x="3537886" y="2688633"/>
                </a:cubicBezTo>
                <a:close/>
                <a:moveTo>
                  <a:pt x="3691471" y="2687904"/>
                </a:moveTo>
                <a:cubicBezTo>
                  <a:pt x="3692672" y="2687904"/>
                  <a:pt x="3693647" y="2688880"/>
                  <a:pt x="3693647" y="2690081"/>
                </a:cubicBezTo>
                <a:cubicBezTo>
                  <a:pt x="3693647" y="2691286"/>
                  <a:pt x="3692672" y="2692261"/>
                  <a:pt x="3691471" y="2692261"/>
                </a:cubicBezTo>
                <a:cubicBezTo>
                  <a:pt x="3690266" y="2692261"/>
                  <a:pt x="3689290" y="2691286"/>
                  <a:pt x="3689290" y="2690081"/>
                </a:cubicBezTo>
                <a:cubicBezTo>
                  <a:pt x="3689290" y="2688880"/>
                  <a:pt x="3690266" y="2687904"/>
                  <a:pt x="3691471" y="2687904"/>
                </a:cubicBezTo>
                <a:close/>
                <a:moveTo>
                  <a:pt x="3845414" y="2686818"/>
                </a:moveTo>
                <a:cubicBezTo>
                  <a:pt x="3847229" y="2686818"/>
                  <a:pt x="3848681" y="2688270"/>
                  <a:pt x="3848681" y="2690085"/>
                </a:cubicBezTo>
                <a:cubicBezTo>
                  <a:pt x="3848681" y="2691899"/>
                  <a:pt x="3847229" y="2693355"/>
                  <a:pt x="3845414" y="2693355"/>
                </a:cubicBezTo>
                <a:cubicBezTo>
                  <a:pt x="3843600" y="2693355"/>
                  <a:pt x="3842148" y="2691899"/>
                  <a:pt x="3842148" y="2690085"/>
                </a:cubicBezTo>
                <a:cubicBezTo>
                  <a:pt x="3842148" y="2688270"/>
                  <a:pt x="3843600" y="2686818"/>
                  <a:pt x="3845414" y="2686818"/>
                </a:cubicBezTo>
                <a:close/>
                <a:moveTo>
                  <a:pt x="3999000" y="2685728"/>
                </a:moveTo>
                <a:cubicBezTo>
                  <a:pt x="4001542" y="2685728"/>
                  <a:pt x="4003356" y="2687542"/>
                  <a:pt x="4003356" y="2690085"/>
                </a:cubicBezTo>
                <a:cubicBezTo>
                  <a:pt x="4003356" y="2692627"/>
                  <a:pt x="4001176" y="2694442"/>
                  <a:pt x="3999000" y="2694442"/>
                </a:cubicBezTo>
                <a:cubicBezTo>
                  <a:pt x="3996457" y="2694442"/>
                  <a:pt x="3994642" y="2692627"/>
                  <a:pt x="3994642" y="2690085"/>
                </a:cubicBezTo>
                <a:cubicBezTo>
                  <a:pt x="3994642" y="2687542"/>
                  <a:pt x="3996457" y="2685728"/>
                  <a:pt x="3999000" y="2685728"/>
                </a:cubicBezTo>
                <a:close/>
                <a:moveTo>
                  <a:pt x="4152947" y="2684275"/>
                </a:moveTo>
                <a:cubicBezTo>
                  <a:pt x="4156156" y="2684275"/>
                  <a:pt x="4158756" y="2686875"/>
                  <a:pt x="4158756" y="2690085"/>
                </a:cubicBezTo>
                <a:cubicBezTo>
                  <a:pt x="4158756" y="2693294"/>
                  <a:pt x="4156156" y="2695894"/>
                  <a:pt x="4152947" y="2695894"/>
                </a:cubicBezTo>
                <a:cubicBezTo>
                  <a:pt x="4149738" y="2695894"/>
                  <a:pt x="4147138" y="2693294"/>
                  <a:pt x="4147138" y="2690085"/>
                </a:cubicBezTo>
                <a:cubicBezTo>
                  <a:pt x="4147138" y="2686875"/>
                  <a:pt x="4149738" y="2684275"/>
                  <a:pt x="4152947" y="2684275"/>
                </a:cubicBezTo>
                <a:close/>
                <a:moveTo>
                  <a:pt x="4306532" y="2682823"/>
                </a:moveTo>
                <a:cubicBezTo>
                  <a:pt x="4310527" y="2682823"/>
                  <a:pt x="4313794" y="2686090"/>
                  <a:pt x="4313794" y="2690085"/>
                </a:cubicBezTo>
                <a:cubicBezTo>
                  <a:pt x="4313794" y="2694079"/>
                  <a:pt x="4310527" y="2697346"/>
                  <a:pt x="4306532" y="2697346"/>
                </a:cubicBezTo>
                <a:cubicBezTo>
                  <a:pt x="4302538" y="2697346"/>
                  <a:pt x="4299270" y="2694079"/>
                  <a:pt x="4299270" y="2690085"/>
                </a:cubicBezTo>
                <a:cubicBezTo>
                  <a:pt x="4299270" y="2686090"/>
                  <a:pt x="4302538" y="2682823"/>
                  <a:pt x="4306532" y="2682823"/>
                </a:cubicBezTo>
                <a:close/>
                <a:moveTo>
                  <a:pt x="4460480" y="2681005"/>
                </a:moveTo>
                <a:cubicBezTo>
                  <a:pt x="4465564" y="2681005"/>
                  <a:pt x="4469560" y="2685000"/>
                  <a:pt x="4469560" y="2690081"/>
                </a:cubicBezTo>
                <a:cubicBezTo>
                  <a:pt x="4469560" y="2695166"/>
                  <a:pt x="4465564" y="2699161"/>
                  <a:pt x="4460480" y="2699161"/>
                </a:cubicBezTo>
                <a:cubicBezTo>
                  <a:pt x="4455398" y="2699161"/>
                  <a:pt x="4451404" y="2695166"/>
                  <a:pt x="4451404" y="2690081"/>
                </a:cubicBezTo>
                <a:cubicBezTo>
                  <a:pt x="4451404" y="2685000"/>
                  <a:pt x="4455398" y="2681005"/>
                  <a:pt x="4460480" y="2681005"/>
                </a:cubicBezTo>
                <a:close/>
                <a:moveTo>
                  <a:pt x="4614061" y="2679918"/>
                </a:moveTo>
                <a:cubicBezTo>
                  <a:pt x="4619508" y="2679918"/>
                  <a:pt x="4624228" y="2684638"/>
                  <a:pt x="4624228" y="2690085"/>
                </a:cubicBezTo>
                <a:cubicBezTo>
                  <a:pt x="4624228" y="2695532"/>
                  <a:pt x="4619870" y="2700251"/>
                  <a:pt x="4614061" y="2700251"/>
                </a:cubicBezTo>
                <a:cubicBezTo>
                  <a:pt x="4608614" y="2700251"/>
                  <a:pt x="4603895" y="2695532"/>
                  <a:pt x="4603895" y="2690085"/>
                </a:cubicBezTo>
                <a:cubicBezTo>
                  <a:pt x="4603895" y="2684638"/>
                  <a:pt x="4608614" y="2679918"/>
                  <a:pt x="4614061" y="2679918"/>
                </a:cubicBezTo>
                <a:close/>
                <a:moveTo>
                  <a:pt x="4768008" y="2678104"/>
                </a:moveTo>
                <a:cubicBezTo>
                  <a:pt x="4774546" y="2678104"/>
                  <a:pt x="4779993" y="2683551"/>
                  <a:pt x="4779993" y="2690085"/>
                </a:cubicBezTo>
                <a:cubicBezTo>
                  <a:pt x="4779993" y="2696622"/>
                  <a:pt x="4774546" y="2702065"/>
                  <a:pt x="4768008" y="2702065"/>
                </a:cubicBezTo>
                <a:cubicBezTo>
                  <a:pt x="4761475" y="2702065"/>
                  <a:pt x="4756028" y="2696622"/>
                  <a:pt x="4756028" y="2690085"/>
                </a:cubicBezTo>
                <a:cubicBezTo>
                  <a:pt x="4756028" y="2683551"/>
                  <a:pt x="4761475" y="2678104"/>
                  <a:pt x="4768008" y="2678104"/>
                </a:cubicBezTo>
                <a:close/>
                <a:moveTo>
                  <a:pt x="4921598" y="2676286"/>
                </a:moveTo>
                <a:cubicBezTo>
                  <a:pt x="4929222" y="2676286"/>
                  <a:pt x="4935393" y="2682457"/>
                  <a:pt x="4935393" y="2690081"/>
                </a:cubicBezTo>
                <a:cubicBezTo>
                  <a:pt x="4935393" y="2697709"/>
                  <a:pt x="4929222" y="2703880"/>
                  <a:pt x="4921598" y="2703880"/>
                </a:cubicBezTo>
                <a:cubicBezTo>
                  <a:pt x="4913970" y="2703880"/>
                  <a:pt x="4907798" y="2697709"/>
                  <a:pt x="4907798" y="2690081"/>
                </a:cubicBezTo>
                <a:cubicBezTo>
                  <a:pt x="4907798" y="2682457"/>
                  <a:pt x="4913970" y="2676286"/>
                  <a:pt x="4921598" y="2676286"/>
                </a:cubicBezTo>
                <a:close/>
                <a:moveTo>
                  <a:pt x="5075545" y="2674833"/>
                </a:moveTo>
                <a:cubicBezTo>
                  <a:pt x="5083893" y="2674833"/>
                  <a:pt x="5090792" y="2681733"/>
                  <a:pt x="5090792" y="2690081"/>
                </a:cubicBezTo>
                <a:cubicBezTo>
                  <a:pt x="5090792" y="2698433"/>
                  <a:pt x="5083893" y="2705332"/>
                  <a:pt x="5075545" y="2705332"/>
                </a:cubicBezTo>
                <a:cubicBezTo>
                  <a:pt x="5067193" y="2705332"/>
                  <a:pt x="5060294" y="2698433"/>
                  <a:pt x="5060294" y="2690081"/>
                </a:cubicBezTo>
                <a:cubicBezTo>
                  <a:pt x="5060294" y="2681733"/>
                  <a:pt x="5067193" y="2674833"/>
                  <a:pt x="5075545" y="2674833"/>
                </a:cubicBezTo>
                <a:close/>
                <a:moveTo>
                  <a:pt x="5229126" y="2673019"/>
                </a:moveTo>
                <a:cubicBezTo>
                  <a:pt x="5238564" y="2673019"/>
                  <a:pt x="5246192" y="2680643"/>
                  <a:pt x="5246192" y="2690085"/>
                </a:cubicBezTo>
                <a:cubicBezTo>
                  <a:pt x="5246192" y="2699523"/>
                  <a:pt x="5238564" y="2707147"/>
                  <a:pt x="5229126" y="2707147"/>
                </a:cubicBezTo>
                <a:cubicBezTo>
                  <a:pt x="5219684" y="2707147"/>
                  <a:pt x="5212060" y="2699523"/>
                  <a:pt x="5212060" y="2690085"/>
                </a:cubicBezTo>
                <a:cubicBezTo>
                  <a:pt x="5212060" y="2680643"/>
                  <a:pt x="5219684" y="2673019"/>
                  <a:pt x="5229126" y="2673019"/>
                </a:cubicBezTo>
                <a:close/>
                <a:moveTo>
                  <a:pt x="5383074" y="2670842"/>
                </a:moveTo>
                <a:cubicBezTo>
                  <a:pt x="5393705" y="2670842"/>
                  <a:pt x="5402320" y="2679457"/>
                  <a:pt x="5402320" y="2690085"/>
                </a:cubicBezTo>
                <a:cubicBezTo>
                  <a:pt x="5402320" y="2700712"/>
                  <a:pt x="5393705" y="2709327"/>
                  <a:pt x="5383074" y="2709327"/>
                </a:cubicBezTo>
                <a:cubicBezTo>
                  <a:pt x="5372446" y="2709327"/>
                  <a:pt x="5363832" y="2700712"/>
                  <a:pt x="5363832" y="2690085"/>
                </a:cubicBezTo>
                <a:cubicBezTo>
                  <a:pt x="5363832" y="2679457"/>
                  <a:pt x="5372446" y="2670842"/>
                  <a:pt x="5383074" y="2670842"/>
                </a:cubicBezTo>
                <a:close/>
                <a:moveTo>
                  <a:pt x="5536656" y="2668662"/>
                </a:moveTo>
                <a:cubicBezTo>
                  <a:pt x="5548488" y="2668662"/>
                  <a:pt x="5558078" y="2678252"/>
                  <a:pt x="5558078" y="2690085"/>
                </a:cubicBezTo>
                <a:cubicBezTo>
                  <a:pt x="5558078" y="2701913"/>
                  <a:pt x="5548488" y="2711504"/>
                  <a:pt x="5536656" y="2711504"/>
                </a:cubicBezTo>
                <a:cubicBezTo>
                  <a:pt x="5524827" y="2711504"/>
                  <a:pt x="5515232" y="2701913"/>
                  <a:pt x="5515232" y="2690085"/>
                </a:cubicBezTo>
                <a:cubicBezTo>
                  <a:pt x="5515232" y="2678252"/>
                  <a:pt x="5524827" y="2668662"/>
                  <a:pt x="5536656" y="2668662"/>
                </a:cubicBezTo>
                <a:close/>
                <a:moveTo>
                  <a:pt x="5690606" y="2667209"/>
                </a:moveTo>
                <a:cubicBezTo>
                  <a:pt x="5703239" y="2667209"/>
                  <a:pt x="5713482" y="2677452"/>
                  <a:pt x="5713482" y="2690085"/>
                </a:cubicBezTo>
                <a:cubicBezTo>
                  <a:pt x="5713482" y="2702717"/>
                  <a:pt x="5703239" y="2712956"/>
                  <a:pt x="5690606" y="2712956"/>
                </a:cubicBezTo>
                <a:cubicBezTo>
                  <a:pt x="5677974" y="2712956"/>
                  <a:pt x="5667732" y="2702717"/>
                  <a:pt x="5667732" y="2690085"/>
                </a:cubicBezTo>
                <a:cubicBezTo>
                  <a:pt x="5667732" y="2677452"/>
                  <a:pt x="5677974" y="2667209"/>
                  <a:pt x="5690606" y="2667209"/>
                </a:cubicBezTo>
                <a:close/>
                <a:moveTo>
                  <a:pt x="5844550" y="2665033"/>
                </a:moveTo>
                <a:cubicBezTo>
                  <a:pt x="5858388" y="2665033"/>
                  <a:pt x="5869606" y="2676247"/>
                  <a:pt x="5869606" y="2690085"/>
                </a:cubicBezTo>
                <a:cubicBezTo>
                  <a:pt x="5869606" y="2703922"/>
                  <a:pt x="5858388" y="2715136"/>
                  <a:pt x="5844550" y="2715136"/>
                </a:cubicBezTo>
                <a:cubicBezTo>
                  <a:pt x="5830713" y="2715136"/>
                  <a:pt x="5819498" y="2703922"/>
                  <a:pt x="5819498" y="2690085"/>
                </a:cubicBezTo>
                <a:cubicBezTo>
                  <a:pt x="5819498" y="2676247"/>
                  <a:pt x="5830713" y="2665033"/>
                  <a:pt x="5844550" y="2665033"/>
                </a:cubicBezTo>
                <a:close/>
                <a:moveTo>
                  <a:pt x="5998139" y="2662852"/>
                </a:moveTo>
                <a:cubicBezTo>
                  <a:pt x="6013024" y="2662852"/>
                  <a:pt x="6025372" y="2675199"/>
                  <a:pt x="6025372" y="2690085"/>
                </a:cubicBezTo>
                <a:cubicBezTo>
                  <a:pt x="6025372" y="2704970"/>
                  <a:pt x="6013390" y="2717317"/>
                  <a:pt x="5998139" y="2717317"/>
                </a:cubicBezTo>
                <a:cubicBezTo>
                  <a:pt x="5983254" y="2717317"/>
                  <a:pt x="5970907" y="2704970"/>
                  <a:pt x="5970907" y="2690085"/>
                </a:cubicBezTo>
                <a:cubicBezTo>
                  <a:pt x="5970907" y="2675199"/>
                  <a:pt x="5983254" y="2662852"/>
                  <a:pt x="5998139" y="2662852"/>
                </a:cubicBezTo>
                <a:close/>
                <a:moveTo>
                  <a:pt x="6152083" y="2660310"/>
                </a:moveTo>
                <a:cubicBezTo>
                  <a:pt x="6168528" y="2660310"/>
                  <a:pt x="6181858" y="2673640"/>
                  <a:pt x="6181858" y="2690081"/>
                </a:cubicBezTo>
                <a:cubicBezTo>
                  <a:pt x="6181858" y="2706525"/>
                  <a:pt x="6168528" y="2719856"/>
                  <a:pt x="6152083" y="2719856"/>
                </a:cubicBezTo>
                <a:cubicBezTo>
                  <a:pt x="6135642" y="2719856"/>
                  <a:pt x="6122312" y="2706525"/>
                  <a:pt x="6122312" y="2690081"/>
                </a:cubicBezTo>
                <a:cubicBezTo>
                  <a:pt x="6122312" y="2673640"/>
                  <a:pt x="6135642" y="2660310"/>
                  <a:pt x="6152083" y="2660310"/>
                </a:cubicBezTo>
                <a:close/>
                <a:moveTo>
                  <a:pt x="6305668" y="2658133"/>
                </a:moveTo>
                <a:cubicBezTo>
                  <a:pt x="6323317" y="2658133"/>
                  <a:pt x="6337620" y="2672439"/>
                  <a:pt x="6337620" y="2690085"/>
                </a:cubicBezTo>
                <a:cubicBezTo>
                  <a:pt x="6337620" y="2707730"/>
                  <a:pt x="6323317" y="2722036"/>
                  <a:pt x="6305668" y="2722036"/>
                </a:cubicBezTo>
                <a:cubicBezTo>
                  <a:pt x="6288022" y="2722036"/>
                  <a:pt x="6273716" y="2707730"/>
                  <a:pt x="6273716" y="2690085"/>
                </a:cubicBezTo>
                <a:cubicBezTo>
                  <a:pt x="6273716" y="2672439"/>
                  <a:pt x="6288022" y="2658133"/>
                  <a:pt x="6305668" y="2658133"/>
                </a:cubicBezTo>
                <a:close/>
                <a:moveTo>
                  <a:pt x="6459616" y="2656319"/>
                </a:moveTo>
                <a:cubicBezTo>
                  <a:pt x="6478263" y="2656319"/>
                  <a:pt x="6493385" y="2671437"/>
                  <a:pt x="6493385" y="2690085"/>
                </a:cubicBezTo>
                <a:cubicBezTo>
                  <a:pt x="6493385" y="2708736"/>
                  <a:pt x="6478263" y="2723850"/>
                  <a:pt x="6459616" y="2723850"/>
                </a:cubicBezTo>
                <a:cubicBezTo>
                  <a:pt x="6440968" y="2723850"/>
                  <a:pt x="6425850" y="2708736"/>
                  <a:pt x="6425850" y="2690085"/>
                </a:cubicBezTo>
                <a:cubicBezTo>
                  <a:pt x="6425850" y="2671437"/>
                  <a:pt x="6440968" y="2656319"/>
                  <a:pt x="6459616" y="2656319"/>
                </a:cubicBezTo>
                <a:close/>
                <a:moveTo>
                  <a:pt x="6613200" y="2653777"/>
                </a:moveTo>
                <a:cubicBezTo>
                  <a:pt x="6633255" y="2653777"/>
                  <a:pt x="6649509" y="2670030"/>
                  <a:pt x="6649509" y="2690085"/>
                </a:cubicBezTo>
                <a:cubicBezTo>
                  <a:pt x="6649509" y="2710135"/>
                  <a:pt x="6633255" y="2726393"/>
                  <a:pt x="6613200" y="2726393"/>
                </a:cubicBezTo>
                <a:cubicBezTo>
                  <a:pt x="6593146" y="2726393"/>
                  <a:pt x="6576892" y="2710135"/>
                  <a:pt x="6576892" y="2690085"/>
                </a:cubicBezTo>
                <a:cubicBezTo>
                  <a:pt x="6576892" y="2670030"/>
                  <a:pt x="6593146" y="2653777"/>
                  <a:pt x="6613200" y="2653777"/>
                </a:cubicBezTo>
                <a:close/>
                <a:moveTo>
                  <a:pt x="3230349" y="2536137"/>
                </a:moveTo>
                <a:cubicBezTo>
                  <a:pt x="3230715" y="2536137"/>
                  <a:pt x="3230715" y="2536137"/>
                  <a:pt x="3230715" y="2536499"/>
                </a:cubicBezTo>
                <a:cubicBezTo>
                  <a:pt x="3230715" y="2536866"/>
                  <a:pt x="3230349" y="2536866"/>
                  <a:pt x="3230349" y="2536866"/>
                </a:cubicBezTo>
                <a:cubicBezTo>
                  <a:pt x="3229987" y="2536866"/>
                  <a:pt x="3229987" y="2536866"/>
                  <a:pt x="3229987" y="2536499"/>
                </a:cubicBezTo>
                <a:cubicBezTo>
                  <a:pt x="3229987" y="2536137"/>
                  <a:pt x="3229987" y="2536137"/>
                  <a:pt x="3230349" y="2536137"/>
                </a:cubicBezTo>
                <a:close/>
                <a:moveTo>
                  <a:pt x="2768873" y="2536137"/>
                </a:moveTo>
                <a:cubicBezTo>
                  <a:pt x="2769235" y="2536137"/>
                  <a:pt x="2769235" y="2536137"/>
                  <a:pt x="2769235" y="2536499"/>
                </a:cubicBezTo>
                <a:cubicBezTo>
                  <a:pt x="2769235" y="2536866"/>
                  <a:pt x="2768873" y="2536866"/>
                  <a:pt x="2768873" y="2536866"/>
                </a:cubicBezTo>
                <a:cubicBezTo>
                  <a:pt x="2768511" y="2536866"/>
                  <a:pt x="2768511" y="2536866"/>
                  <a:pt x="2768511" y="2536499"/>
                </a:cubicBezTo>
                <a:cubicBezTo>
                  <a:pt x="2768511" y="2536137"/>
                  <a:pt x="2768511" y="2536137"/>
                  <a:pt x="2768873" y="2536137"/>
                </a:cubicBezTo>
                <a:close/>
                <a:moveTo>
                  <a:pt x="2614925" y="2536137"/>
                </a:moveTo>
                <a:cubicBezTo>
                  <a:pt x="2615288" y="2536137"/>
                  <a:pt x="2615288" y="2536137"/>
                  <a:pt x="2615288" y="2536499"/>
                </a:cubicBezTo>
                <a:cubicBezTo>
                  <a:pt x="2615288" y="2536866"/>
                  <a:pt x="2614925" y="2536866"/>
                  <a:pt x="2614925" y="2536866"/>
                </a:cubicBezTo>
                <a:cubicBezTo>
                  <a:pt x="2614563" y="2536866"/>
                  <a:pt x="2614563" y="2536866"/>
                  <a:pt x="2614563" y="2536499"/>
                </a:cubicBezTo>
                <a:cubicBezTo>
                  <a:pt x="2614563" y="2536137"/>
                  <a:pt x="2614563" y="2536137"/>
                  <a:pt x="2614925" y="2536137"/>
                </a:cubicBezTo>
                <a:close/>
                <a:moveTo>
                  <a:pt x="2461344" y="2535771"/>
                </a:moveTo>
                <a:cubicBezTo>
                  <a:pt x="2461706" y="2535771"/>
                  <a:pt x="2462068" y="2536133"/>
                  <a:pt x="2462068" y="2536499"/>
                </a:cubicBezTo>
                <a:cubicBezTo>
                  <a:pt x="2462068" y="2536862"/>
                  <a:pt x="2461344" y="2537224"/>
                  <a:pt x="2461344" y="2537224"/>
                </a:cubicBezTo>
                <a:cubicBezTo>
                  <a:pt x="2460978" y="2537224"/>
                  <a:pt x="2460616" y="2536862"/>
                  <a:pt x="2460616" y="2536499"/>
                </a:cubicBezTo>
                <a:cubicBezTo>
                  <a:pt x="2460616" y="2536133"/>
                  <a:pt x="2460978" y="2535771"/>
                  <a:pt x="2461344" y="2535771"/>
                </a:cubicBezTo>
                <a:close/>
                <a:moveTo>
                  <a:pt x="3383938" y="2535047"/>
                </a:moveTo>
                <a:cubicBezTo>
                  <a:pt x="3384738" y="2535047"/>
                  <a:pt x="3385390" y="2535699"/>
                  <a:pt x="3385390" y="2536499"/>
                </a:cubicBezTo>
                <a:cubicBezTo>
                  <a:pt x="3385390" y="2537300"/>
                  <a:pt x="3384738" y="2537952"/>
                  <a:pt x="3383938" y="2537952"/>
                </a:cubicBezTo>
                <a:cubicBezTo>
                  <a:pt x="3383134" y="2537952"/>
                  <a:pt x="3382486" y="2537300"/>
                  <a:pt x="3382486" y="2536499"/>
                </a:cubicBezTo>
                <a:cubicBezTo>
                  <a:pt x="3382486" y="2535699"/>
                  <a:pt x="3383134" y="2535047"/>
                  <a:pt x="3383938" y="2535047"/>
                </a:cubicBezTo>
                <a:close/>
                <a:moveTo>
                  <a:pt x="3537886" y="2534323"/>
                </a:moveTo>
                <a:cubicBezTo>
                  <a:pt x="3539086" y="2534323"/>
                  <a:pt x="3540062" y="2535299"/>
                  <a:pt x="3540062" y="2536503"/>
                </a:cubicBezTo>
                <a:cubicBezTo>
                  <a:pt x="3540062" y="2537704"/>
                  <a:pt x="3539086" y="2538680"/>
                  <a:pt x="3537886" y="2538680"/>
                </a:cubicBezTo>
                <a:cubicBezTo>
                  <a:pt x="3536681" y="2538680"/>
                  <a:pt x="3535705" y="2537704"/>
                  <a:pt x="3535705" y="2536503"/>
                </a:cubicBezTo>
                <a:cubicBezTo>
                  <a:pt x="3535705" y="2535299"/>
                  <a:pt x="3536681" y="2534323"/>
                  <a:pt x="3537886" y="2534323"/>
                </a:cubicBezTo>
                <a:close/>
                <a:moveTo>
                  <a:pt x="3691467" y="2533233"/>
                </a:moveTo>
                <a:cubicBezTo>
                  <a:pt x="3693285" y="2533233"/>
                  <a:pt x="3694738" y="2534685"/>
                  <a:pt x="3694738" y="2536499"/>
                </a:cubicBezTo>
                <a:cubicBezTo>
                  <a:pt x="3694738" y="2538318"/>
                  <a:pt x="3693285" y="2539770"/>
                  <a:pt x="3691467" y="2539770"/>
                </a:cubicBezTo>
                <a:cubicBezTo>
                  <a:pt x="3689652" y="2539770"/>
                  <a:pt x="3688200" y="2538318"/>
                  <a:pt x="3688200" y="2536499"/>
                </a:cubicBezTo>
                <a:cubicBezTo>
                  <a:pt x="3688200" y="2534685"/>
                  <a:pt x="3689652" y="2533233"/>
                  <a:pt x="3691467" y="2533233"/>
                </a:cubicBezTo>
                <a:close/>
                <a:moveTo>
                  <a:pt x="3845414" y="2531780"/>
                </a:moveTo>
                <a:cubicBezTo>
                  <a:pt x="3847957" y="2531780"/>
                  <a:pt x="3849771" y="2533595"/>
                  <a:pt x="3849771" y="2536137"/>
                </a:cubicBezTo>
                <a:cubicBezTo>
                  <a:pt x="3849771" y="2538680"/>
                  <a:pt x="3847591" y="2540494"/>
                  <a:pt x="3845414" y="2540494"/>
                </a:cubicBezTo>
                <a:cubicBezTo>
                  <a:pt x="3842872" y="2540494"/>
                  <a:pt x="3841057" y="2538680"/>
                  <a:pt x="3841057" y="2536137"/>
                </a:cubicBezTo>
                <a:cubicBezTo>
                  <a:pt x="3841057" y="2533595"/>
                  <a:pt x="3842872" y="2531780"/>
                  <a:pt x="3845414" y="2531780"/>
                </a:cubicBezTo>
                <a:close/>
                <a:moveTo>
                  <a:pt x="3999000" y="2530690"/>
                </a:moveTo>
                <a:cubicBezTo>
                  <a:pt x="4002209" y="2530690"/>
                  <a:pt x="4004809" y="2533290"/>
                  <a:pt x="4004809" y="2536499"/>
                </a:cubicBezTo>
                <a:cubicBezTo>
                  <a:pt x="4004809" y="2539709"/>
                  <a:pt x="4002209" y="2542309"/>
                  <a:pt x="3999000" y="2542309"/>
                </a:cubicBezTo>
                <a:cubicBezTo>
                  <a:pt x="3995790" y="2542309"/>
                  <a:pt x="3993190" y="2539709"/>
                  <a:pt x="3993190" y="2536499"/>
                </a:cubicBezTo>
                <a:cubicBezTo>
                  <a:pt x="3993190" y="2533290"/>
                  <a:pt x="3995790" y="2530690"/>
                  <a:pt x="3999000" y="2530690"/>
                </a:cubicBezTo>
                <a:close/>
                <a:moveTo>
                  <a:pt x="4152947" y="2528876"/>
                </a:moveTo>
                <a:cubicBezTo>
                  <a:pt x="4156942" y="2528876"/>
                  <a:pt x="4160208" y="2532142"/>
                  <a:pt x="4160208" y="2536137"/>
                </a:cubicBezTo>
                <a:cubicBezTo>
                  <a:pt x="4160208" y="2540132"/>
                  <a:pt x="4156942" y="2543399"/>
                  <a:pt x="4152947" y="2543399"/>
                </a:cubicBezTo>
                <a:cubicBezTo>
                  <a:pt x="4148952" y="2543399"/>
                  <a:pt x="4145686" y="2540132"/>
                  <a:pt x="4145686" y="2536137"/>
                </a:cubicBezTo>
                <a:cubicBezTo>
                  <a:pt x="4145686" y="2532142"/>
                  <a:pt x="4148952" y="2528876"/>
                  <a:pt x="4152947" y="2528876"/>
                </a:cubicBezTo>
                <a:close/>
                <a:moveTo>
                  <a:pt x="4306528" y="2527058"/>
                </a:moveTo>
                <a:cubicBezTo>
                  <a:pt x="4311614" y="2527058"/>
                  <a:pt x="4315608" y="2531052"/>
                  <a:pt x="4315608" y="2536133"/>
                </a:cubicBezTo>
                <a:cubicBezTo>
                  <a:pt x="4315608" y="2541218"/>
                  <a:pt x="4311614" y="2545213"/>
                  <a:pt x="4306528" y="2545213"/>
                </a:cubicBezTo>
                <a:cubicBezTo>
                  <a:pt x="4301447" y="2545213"/>
                  <a:pt x="4297452" y="2541218"/>
                  <a:pt x="4297452" y="2536133"/>
                </a:cubicBezTo>
                <a:cubicBezTo>
                  <a:pt x="4297452" y="2531052"/>
                  <a:pt x="4301447" y="2527058"/>
                  <a:pt x="4306528" y="2527058"/>
                </a:cubicBezTo>
                <a:close/>
                <a:moveTo>
                  <a:pt x="4460480" y="2526333"/>
                </a:moveTo>
                <a:cubicBezTo>
                  <a:pt x="4465927" y="2526333"/>
                  <a:pt x="4470646" y="2531052"/>
                  <a:pt x="4470646" y="2536499"/>
                </a:cubicBezTo>
                <a:cubicBezTo>
                  <a:pt x="4470646" y="2541947"/>
                  <a:pt x="4466289" y="2546666"/>
                  <a:pt x="4460480" y="2546666"/>
                </a:cubicBezTo>
                <a:cubicBezTo>
                  <a:pt x="4455032" y="2546666"/>
                  <a:pt x="4450314" y="2541947"/>
                  <a:pt x="4450314" y="2536499"/>
                </a:cubicBezTo>
                <a:cubicBezTo>
                  <a:pt x="4450314" y="2531052"/>
                  <a:pt x="4455032" y="2526333"/>
                  <a:pt x="4460480" y="2526333"/>
                </a:cubicBezTo>
                <a:close/>
                <a:moveTo>
                  <a:pt x="4614061" y="2524153"/>
                </a:moveTo>
                <a:cubicBezTo>
                  <a:pt x="4620598" y="2524153"/>
                  <a:pt x="4626046" y="2529600"/>
                  <a:pt x="4626046" y="2536133"/>
                </a:cubicBezTo>
                <a:cubicBezTo>
                  <a:pt x="4626046" y="2542671"/>
                  <a:pt x="4620598" y="2548118"/>
                  <a:pt x="4614061" y="2548118"/>
                </a:cubicBezTo>
                <a:cubicBezTo>
                  <a:pt x="4607528" y="2548118"/>
                  <a:pt x="4602080" y="2542671"/>
                  <a:pt x="4602080" y="2536133"/>
                </a:cubicBezTo>
                <a:cubicBezTo>
                  <a:pt x="4602080" y="2529600"/>
                  <a:pt x="4607528" y="2524153"/>
                  <a:pt x="4614061" y="2524153"/>
                </a:cubicBezTo>
                <a:close/>
                <a:moveTo>
                  <a:pt x="4768012" y="2522338"/>
                </a:moveTo>
                <a:cubicBezTo>
                  <a:pt x="4775636" y="2522338"/>
                  <a:pt x="4781808" y="2528510"/>
                  <a:pt x="4781808" y="2536133"/>
                </a:cubicBezTo>
                <a:cubicBezTo>
                  <a:pt x="4781808" y="2543761"/>
                  <a:pt x="4775636" y="2549933"/>
                  <a:pt x="4768012" y="2549933"/>
                </a:cubicBezTo>
                <a:cubicBezTo>
                  <a:pt x="4760384" y="2549933"/>
                  <a:pt x="4754214" y="2543761"/>
                  <a:pt x="4754214" y="2536133"/>
                </a:cubicBezTo>
                <a:cubicBezTo>
                  <a:pt x="4754214" y="2528510"/>
                  <a:pt x="4760384" y="2522338"/>
                  <a:pt x="4768012" y="2522338"/>
                </a:cubicBezTo>
                <a:close/>
                <a:moveTo>
                  <a:pt x="4921594" y="2521252"/>
                </a:moveTo>
                <a:cubicBezTo>
                  <a:pt x="4930018" y="2521252"/>
                  <a:pt x="4936845" y="2528079"/>
                  <a:pt x="4936845" y="2536503"/>
                </a:cubicBezTo>
                <a:cubicBezTo>
                  <a:pt x="4936845" y="2544924"/>
                  <a:pt x="4930018" y="2551751"/>
                  <a:pt x="4921594" y="2551751"/>
                </a:cubicBezTo>
                <a:cubicBezTo>
                  <a:pt x="4913174" y="2551751"/>
                  <a:pt x="4906346" y="2544924"/>
                  <a:pt x="4906346" y="2536503"/>
                </a:cubicBezTo>
                <a:cubicBezTo>
                  <a:pt x="4906346" y="2528079"/>
                  <a:pt x="4913174" y="2521252"/>
                  <a:pt x="4921594" y="2521252"/>
                </a:cubicBezTo>
                <a:close/>
                <a:moveTo>
                  <a:pt x="5075545" y="2519071"/>
                </a:moveTo>
                <a:cubicBezTo>
                  <a:pt x="5084984" y="2519071"/>
                  <a:pt x="5092611" y="2526695"/>
                  <a:pt x="5092611" y="2536137"/>
                </a:cubicBezTo>
                <a:cubicBezTo>
                  <a:pt x="5092611" y="2545575"/>
                  <a:pt x="5084984" y="2553203"/>
                  <a:pt x="5075545" y="2553203"/>
                </a:cubicBezTo>
                <a:cubicBezTo>
                  <a:pt x="5066103" y="2553203"/>
                  <a:pt x="5058479" y="2545575"/>
                  <a:pt x="5058479" y="2536137"/>
                </a:cubicBezTo>
                <a:cubicBezTo>
                  <a:pt x="5058479" y="2526695"/>
                  <a:pt x="5066103" y="2519071"/>
                  <a:pt x="5075545" y="2519071"/>
                </a:cubicBezTo>
                <a:close/>
                <a:moveTo>
                  <a:pt x="5229126" y="2517257"/>
                </a:moveTo>
                <a:cubicBezTo>
                  <a:pt x="5239754" y="2517257"/>
                  <a:pt x="5248369" y="2525872"/>
                  <a:pt x="5248369" y="2536499"/>
                </a:cubicBezTo>
                <a:cubicBezTo>
                  <a:pt x="5248369" y="2547127"/>
                  <a:pt x="5239754" y="2555742"/>
                  <a:pt x="5229126" y="2555742"/>
                </a:cubicBezTo>
                <a:cubicBezTo>
                  <a:pt x="5218499" y="2555742"/>
                  <a:pt x="5209884" y="2547127"/>
                  <a:pt x="5209884" y="2536499"/>
                </a:cubicBezTo>
                <a:cubicBezTo>
                  <a:pt x="5209884" y="2525872"/>
                  <a:pt x="5218499" y="2517257"/>
                  <a:pt x="5229126" y="2517257"/>
                </a:cubicBezTo>
                <a:close/>
                <a:moveTo>
                  <a:pt x="5383074" y="2514714"/>
                </a:moveTo>
                <a:cubicBezTo>
                  <a:pt x="5395054" y="2514714"/>
                  <a:pt x="5404496" y="2524153"/>
                  <a:pt x="5404496" y="2536137"/>
                </a:cubicBezTo>
                <a:cubicBezTo>
                  <a:pt x="5404496" y="2548118"/>
                  <a:pt x="5394692" y="2557560"/>
                  <a:pt x="5383074" y="2557560"/>
                </a:cubicBezTo>
                <a:cubicBezTo>
                  <a:pt x="5371093" y="2557560"/>
                  <a:pt x="5361651" y="2548118"/>
                  <a:pt x="5361651" y="2536137"/>
                </a:cubicBezTo>
                <a:cubicBezTo>
                  <a:pt x="5361651" y="2524153"/>
                  <a:pt x="5371093" y="2514714"/>
                  <a:pt x="5383074" y="2514714"/>
                </a:cubicBezTo>
                <a:close/>
                <a:moveTo>
                  <a:pt x="5536659" y="2513624"/>
                </a:moveTo>
                <a:cubicBezTo>
                  <a:pt x="5549292" y="2513624"/>
                  <a:pt x="5559534" y="2523867"/>
                  <a:pt x="5559534" y="2536499"/>
                </a:cubicBezTo>
                <a:cubicBezTo>
                  <a:pt x="5559534" y="2549132"/>
                  <a:pt x="5549292" y="2559371"/>
                  <a:pt x="5536659" y="2559371"/>
                </a:cubicBezTo>
                <a:cubicBezTo>
                  <a:pt x="5524026" y="2559371"/>
                  <a:pt x="5513784" y="2549132"/>
                  <a:pt x="5513784" y="2536499"/>
                </a:cubicBezTo>
                <a:cubicBezTo>
                  <a:pt x="5513784" y="2523867"/>
                  <a:pt x="5524026" y="2513624"/>
                  <a:pt x="5536659" y="2513624"/>
                </a:cubicBezTo>
                <a:close/>
                <a:moveTo>
                  <a:pt x="5690602" y="2511448"/>
                </a:moveTo>
                <a:cubicBezTo>
                  <a:pt x="5704440" y="2511448"/>
                  <a:pt x="5715658" y="2522662"/>
                  <a:pt x="5715658" y="2536499"/>
                </a:cubicBezTo>
                <a:cubicBezTo>
                  <a:pt x="5715658" y="2550337"/>
                  <a:pt x="5704440" y="2561555"/>
                  <a:pt x="5690602" y="2561555"/>
                </a:cubicBezTo>
                <a:cubicBezTo>
                  <a:pt x="5676766" y="2561555"/>
                  <a:pt x="5665551" y="2550337"/>
                  <a:pt x="5665551" y="2536499"/>
                </a:cubicBezTo>
                <a:cubicBezTo>
                  <a:pt x="5665551" y="2522666"/>
                  <a:pt x="5676766" y="2511448"/>
                  <a:pt x="5690602" y="2511448"/>
                </a:cubicBezTo>
                <a:close/>
                <a:moveTo>
                  <a:pt x="5844554" y="2509267"/>
                </a:moveTo>
                <a:cubicBezTo>
                  <a:pt x="5859440" y="2509267"/>
                  <a:pt x="5871786" y="2521610"/>
                  <a:pt x="5871786" y="2536499"/>
                </a:cubicBezTo>
                <a:cubicBezTo>
                  <a:pt x="5871786" y="2551385"/>
                  <a:pt x="5859802" y="2563732"/>
                  <a:pt x="5844554" y="2563732"/>
                </a:cubicBezTo>
                <a:cubicBezTo>
                  <a:pt x="5829664" y="2563732"/>
                  <a:pt x="5817322" y="2551385"/>
                  <a:pt x="5817322" y="2536499"/>
                </a:cubicBezTo>
                <a:cubicBezTo>
                  <a:pt x="5817322" y="2521610"/>
                  <a:pt x="5829664" y="2509267"/>
                  <a:pt x="5844554" y="2509267"/>
                </a:cubicBezTo>
                <a:close/>
                <a:moveTo>
                  <a:pt x="5998136" y="2506729"/>
                </a:moveTo>
                <a:cubicBezTo>
                  <a:pt x="6014580" y="2506729"/>
                  <a:pt x="6027910" y="2520059"/>
                  <a:pt x="6027910" y="2536503"/>
                </a:cubicBezTo>
                <a:cubicBezTo>
                  <a:pt x="6027910" y="2552944"/>
                  <a:pt x="6014580" y="2566274"/>
                  <a:pt x="5998136" y="2566274"/>
                </a:cubicBezTo>
                <a:cubicBezTo>
                  <a:pt x="5981694" y="2566274"/>
                  <a:pt x="5968364" y="2552944"/>
                  <a:pt x="5968364" y="2536503"/>
                </a:cubicBezTo>
                <a:cubicBezTo>
                  <a:pt x="5968364" y="2520059"/>
                  <a:pt x="5981694" y="2506729"/>
                  <a:pt x="5998136" y="2506729"/>
                </a:cubicBezTo>
                <a:close/>
                <a:moveTo>
                  <a:pt x="6152086" y="2504548"/>
                </a:moveTo>
                <a:cubicBezTo>
                  <a:pt x="6169732" y="2504548"/>
                  <a:pt x="6184038" y="2518854"/>
                  <a:pt x="6184038" y="2536499"/>
                </a:cubicBezTo>
                <a:cubicBezTo>
                  <a:pt x="6184038" y="2554145"/>
                  <a:pt x="6169732" y="2568451"/>
                  <a:pt x="6152086" y="2568451"/>
                </a:cubicBezTo>
                <a:cubicBezTo>
                  <a:pt x="6134438" y="2568451"/>
                  <a:pt x="6120135" y="2554145"/>
                  <a:pt x="6120135" y="2536499"/>
                </a:cubicBezTo>
                <a:cubicBezTo>
                  <a:pt x="6120135" y="2518854"/>
                  <a:pt x="6134438" y="2504548"/>
                  <a:pt x="6152086" y="2504548"/>
                </a:cubicBezTo>
                <a:close/>
                <a:moveTo>
                  <a:pt x="6305668" y="2502734"/>
                </a:moveTo>
                <a:cubicBezTo>
                  <a:pt x="6324320" y="2502734"/>
                  <a:pt x="6339438" y="2517852"/>
                  <a:pt x="6339438" y="2536499"/>
                </a:cubicBezTo>
                <a:cubicBezTo>
                  <a:pt x="6339438" y="2555151"/>
                  <a:pt x="6324320" y="2570269"/>
                  <a:pt x="6305668" y="2570269"/>
                </a:cubicBezTo>
                <a:cubicBezTo>
                  <a:pt x="6287020" y="2570269"/>
                  <a:pt x="6271902" y="2555151"/>
                  <a:pt x="6271902" y="2536499"/>
                </a:cubicBezTo>
                <a:cubicBezTo>
                  <a:pt x="6271902" y="2517852"/>
                  <a:pt x="6287020" y="2502734"/>
                  <a:pt x="6305668" y="2502734"/>
                </a:cubicBezTo>
                <a:close/>
                <a:moveTo>
                  <a:pt x="6459616" y="2500191"/>
                </a:moveTo>
                <a:cubicBezTo>
                  <a:pt x="6479670" y="2500191"/>
                  <a:pt x="6495924" y="2516445"/>
                  <a:pt x="6495924" y="2536499"/>
                </a:cubicBezTo>
                <a:cubicBezTo>
                  <a:pt x="6495924" y="2556554"/>
                  <a:pt x="6479670" y="2572808"/>
                  <a:pt x="6459616" y="2572808"/>
                </a:cubicBezTo>
                <a:cubicBezTo>
                  <a:pt x="6439561" y="2572808"/>
                  <a:pt x="6423307" y="2556554"/>
                  <a:pt x="6423307" y="2536499"/>
                </a:cubicBezTo>
                <a:cubicBezTo>
                  <a:pt x="6423307" y="2516445"/>
                  <a:pt x="6439561" y="2500191"/>
                  <a:pt x="6459616" y="2500191"/>
                </a:cubicBezTo>
                <a:close/>
                <a:moveTo>
                  <a:pt x="6613200" y="2497648"/>
                </a:moveTo>
                <a:cubicBezTo>
                  <a:pt x="6634654" y="2497648"/>
                  <a:pt x="6652048" y="2515042"/>
                  <a:pt x="6652048" y="2536499"/>
                </a:cubicBezTo>
                <a:cubicBezTo>
                  <a:pt x="6652048" y="2557953"/>
                  <a:pt x="6634654" y="2575350"/>
                  <a:pt x="6613200" y="2575350"/>
                </a:cubicBezTo>
                <a:cubicBezTo>
                  <a:pt x="6591744" y="2575350"/>
                  <a:pt x="6574350" y="2557953"/>
                  <a:pt x="6574350" y="2536499"/>
                </a:cubicBezTo>
                <a:cubicBezTo>
                  <a:pt x="6574350" y="2515042"/>
                  <a:pt x="6591744" y="2497648"/>
                  <a:pt x="6613200" y="2497648"/>
                </a:cubicBezTo>
                <a:close/>
                <a:moveTo>
                  <a:pt x="3076406" y="2382190"/>
                </a:moveTo>
                <a:cubicBezTo>
                  <a:pt x="3076768" y="2382190"/>
                  <a:pt x="3076768" y="2382190"/>
                  <a:pt x="3076768" y="2382552"/>
                </a:cubicBezTo>
                <a:cubicBezTo>
                  <a:pt x="3076768" y="2382914"/>
                  <a:pt x="3076406" y="2382914"/>
                  <a:pt x="3076406" y="2382914"/>
                </a:cubicBezTo>
                <a:cubicBezTo>
                  <a:pt x="3076043" y="2382914"/>
                  <a:pt x="3076043" y="2382914"/>
                  <a:pt x="3076043" y="2382552"/>
                </a:cubicBezTo>
                <a:cubicBezTo>
                  <a:pt x="3076043" y="2382190"/>
                  <a:pt x="3076043" y="2382190"/>
                  <a:pt x="3076406" y="2382190"/>
                </a:cubicBezTo>
                <a:close/>
                <a:moveTo>
                  <a:pt x="2614925" y="2382190"/>
                </a:moveTo>
                <a:cubicBezTo>
                  <a:pt x="2615288" y="2382190"/>
                  <a:pt x="2615288" y="2382190"/>
                  <a:pt x="2615288" y="2382552"/>
                </a:cubicBezTo>
                <a:cubicBezTo>
                  <a:pt x="2615288" y="2382914"/>
                  <a:pt x="2614925" y="2382914"/>
                  <a:pt x="2614925" y="2382914"/>
                </a:cubicBezTo>
                <a:cubicBezTo>
                  <a:pt x="2614563" y="2382914"/>
                  <a:pt x="2614563" y="2382914"/>
                  <a:pt x="2614563" y="2382552"/>
                </a:cubicBezTo>
                <a:cubicBezTo>
                  <a:pt x="2614563" y="2382190"/>
                  <a:pt x="2614563" y="2382190"/>
                  <a:pt x="2614925" y="2382190"/>
                </a:cubicBezTo>
                <a:close/>
                <a:moveTo>
                  <a:pt x="2461340" y="2382190"/>
                </a:moveTo>
                <a:cubicBezTo>
                  <a:pt x="2461702" y="2382190"/>
                  <a:pt x="2461702" y="2382190"/>
                  <a:pt x="2461702" y="2382552"/>
                </a:cubicBezTo>
                <a:cubicBezTo>
                  <a:pt x="2461702" y="2382914"/>
                  <a:pt x="2461340" y="2382914"/>
                  <a:pt x="2461340" y="2382914"/>
                </a:cubicBezTo>
                <a:cubicBezTo>
                  <a:pt x="2460978" y="2382914"/>
                  <a:pt x="2460978" y="2382914"/>
                  <a:pt x="2460978" y="2382552"/>
                </a:cubicBezTo>
                <a:cubicBezTo>
                  <a:pt x="2460978" y="2382190"/>
                  <a:pt x="2460978" y="2382190"/>
                  <a:pt x="2461340" y="2382190"/>
                </a:cubicBezTo>
                <a:close/>
                <a:moveTo>
                  <a:pt x="2307393" y="2381824"/>
                </a:moveTo>
                <a:cubicBezTo>
                  <a:pt x="2307759" y="2381824"/>
                  <a:pt x="2308121" y="2382186"/>
                  <a:pt x="2308121" y="2382552"/>
                </a:cubicBezTo>
                <a:cubicBezTo>
                  <a:pt x="2308121" y="2382914"/>
                  <a:pt x="2307393" y="2383276"/>
                  <a:pt x="2307393" y="2383276"/>
                </a:cubicBezTo>
                <a:cubicBezTo>
                  <a:pt x="2307031" y="2383276"/>
                  <a:pt x="2306669" y="2382914"/>
                  <a:pt x="2306669" y="2382552"/>
                </a:cubicBezTo>
                <a:cubicBezTo>
                  <a:pt x="2306669" y="2382186"/>
                  <a:pt x="2307031" y="2381824"/>
                  <a:pt x="2307393" y="2381824"/>
                </a:cubicBezTo>
                <a:close/>
                <a:moveTo>
                  <a:pt x="3230353" y="2381100"/>
                </a:moveTo>
                <a:cubicBezTo>
                  <a:pt x="3231077" y="2381100"/>
                  <a:pt x="3231805" y="2381824"/>
                  <a:pt x="3231805" y="2382552"/>
                </a:cubicBezTo>
                <a:cubicBezTo>
                  <a:pt x="3231805" y="2383276"/>
                  <a:pt x="3230353" y="2384005"/>
                  <a:pt x="3230353" y="2384005"/>
                </a:cubicBezTo>
                <a:cubicBezTo>
                  <a:pt x="3229625" y="2384005"/>
                  <a:pt x="3228900" y="2383276"/>
                  <a:pt x="3228900" y="2382552"/>
                </a:cubicBezTo>
                <a:cubicBezTo>
                  <a:pt x="3228900" y="2381824"/>
                  <a:pt x="3229625" y="2381100"/>
                  <a:pt x="3230353" y="2381100"/>
                </a:cubicBezTo>
                <a:close/>
                <a:moveTo>
                  <a:pt x="3383938" y="2380375"/>
                </a:moveTo>
                <a:cubicBezTo>
                  <a:pt x="3385139" y="2380375"/>
                  <a:pt x="3386115" y="2381351"/>
                  <a:pt x="3386115" y="2382556"/>
                </a:cubicBezTo>
                <a:cubicBezTo>
                  <a:pt x="3386115" y="2383757"/>
                  <a:pt x="3385139" y="2384732"/>
                  <a:pt x="3383938" y="2384732"/>
                </a:cubicBezTo>
                <a:cubicBezTo>
                  <a:pt x="3382734" y="2384732"/>
                  <a:pt x="3381758" y="2383757"/>
                  <a:pt x="3381758" y="2382556"/>
                </a:cubicBezTo>
                <a:cubicBezTo>
                  <a:pt x="3381758" y="2381351"/>
                  <a:pt x="3382734" y="2380375"/>
                  <a:pt x="3383938" y="2380375"/>
                </a:cubicBezTo>
                <a:close/>
                <a:moveTo>
                  <a:pt x="3537882" y="2379285"/>
                </a:moveTo>
                <a:cubicBezTo>
                  <a:pt x="3539696" y="2379285"/>
                  <a:pt x="3541148" y="2380738"/>
                  <a:pt x="3541148" y="2382552"/>
                </a:cubicBezTo>
                <a:cubicBezTo>
                  <a:pt x="3541148" y="2384366"/>
                  <a:pt x="3539696" y="2385823"/>
                  <a:pt x="3537882" y="2385823"/>
                </a:cubicBezTo>
                <a:cubicBezTo>
                  <a:pt x="3536067" y="2385823"/>
                  <a:pt x="3534615" y="2384366"/>
                  <a:pt x="3534615" y="2382552"/>
                </a:cubicBezTo>
                <a:cubicBezTo>
                  <a:pt x="3534615" y="2380738"/>
                  <a:pt x="3536067" y="2379285"/>
                  <a:pt x="3537882" y="2379285"/>
                </a:cubicBezTo>
                <a:close/>
                <a:moveTo>
                  <a:pt x="3691467" y="2378195"/>
                </a:moveTo>
                <a:cubicBezTo>
                  <a:pt x="3694010" y="2378195"/>
                  <a:pt x="3695824" y="2380010"/>
                  <a:pt x="3695824" y="2382552"/>
                </a:cubicBezTo>
                <a:cubicBezTo>
                  <a:pt x="3695824" y="2385095"/>
                  <a:pt x="3693647" y="2386909"/>
                  <a:pt x="3691467" y="2386909"/>
                </a:cubicBezTo>
                <a:cubicBezTo>
                  <a:pt x="3688924" y="2386909"/>
                  <a:pt x="3687110" y="2385095"/>
                  <a:pt x="3687110" y="2382552"/>
                </a:cubicBezTo>
                <a:cubicBezTo>
                  <a:pt x="3687110" y="2380010"/>
                  <a:pt x="3688924" y="2378195"/>
                  <a:pt x="3691467" y="2378195"/>
                </a:cubicBezTo>
                <a:close/>
                <a:moveTo>
                  <a:pt x="3845414" y="2376743"/>
                </a:moveTo>
                <a:cubicBezTo>
                  <a:pt x="3848624" y="2376743"/>
                  <a:pt x="3851224" y="2379343"/>
                  <a:pt x="3851224" y="2382552"/>
                </a:cubicBezTo>
                <a:cubicBezTo>
                  <a:pt x="3851224" y="2385762"/>
                  <a:pt x="3848624" y="2388361"/>
                  <a:pt x="3845414" y="2388361"/>
                </a:cubicBezTo>
                <a:cubicBezTo>
                  <a:pt x="3842205" y="2388361"/>
                  <a:pt x="3839605" y="2385762"/>
                  <a:pt x="3839605" y="2382552"/>
                </a:cubicBezTo>
                <a:cubicBezTo>
                  <a:pt x="3839605" y="2379343"/>
                  <a:pt x="3842205" y="2376743"/>
                  <a:pt x="3845414" y="2376743"/>
                </a:cubicBezTo>
                <a:close/>
                <a:moveTo>
                  <a:pt x="3999000" y="2375290"/>
                </a:moveTo>
                <a:cubicBezTo>
                  <a:pt x="4002994" y="2375290"/>
                  <a:pt x="4006261" y="2378557"/>
                  <a:pt x="4006261" y="2382552"/>
                </a:cubicBezTo>
                <a:cubicBezTo>
                  <a:pt x="4006261" y="2386547"/>
                  <a:pt x="4002994" y="2389814"/>
                  <a:pt x="3999000" y="2389814"/>
                </a:cubicBezTo>
                <a:cubicBezTo>
                  <a:pt x="3995005" y="2389814"/>
                  <a:pt x="3991738" y="2386547"/>
                  <a:pt x="3991738" y="2382552"/>
                </a:cubicBezTo>
                <a:cubicBezTo>
                  <a:pt x="3991738" y="2378557"/>
                  <a:pt x="3995005" y="2375290"/>
                  <a:pt x="3999000" y="2375290"/>
                </a:cubicBezTo>
                <a:close/>
                <a:moveTo>
                  <a:pt x="4152947" y="2373476"/>
                </a:moveTo>
                <a:cubicBezTo>
                  <a:pt x="4158032" y="2373476"/>
                  <a:pt x="4162027" y="2377471"/>
                  <a:pt x="4162027" y="2382552"/>
                </a:cubicBezTo>
                <a:cubicBezTo>
                  <a:pt x="4162027" y="2387637"/>
                  <a:pt x="4158032" y="2391632"/>
                  <a:pt x="4152947" y="2391632"/>
                </a:cubicBezTo>
                <a:cubicBezTo>
                  <a:pt x="4147866" y="2391632"/>
                  <a:pt x="4143871" y="2387637"/>
                  <a:pt x="4143871" y="2382552"/>
                </a:cubicBezTo>
                <a:cubicBezTo>
                  <a:pt x="4143871" y="2377471"/>
                  <a:pt x="4147866" y="2373476"/>
                  <a:pt x="4152947" y="2373476"/>
                </a:cubicBezTo>
                <a:close/>
                <a:moveTo>
                  <a:pt x="4306532" y="2372386"/>
                </a:moveTo>
                <a:cubicBezTo>
                  <a:pt x="4311980" y="2372386"/>
                  <a:pt x="4316698" y="2377105"/>
                  <a:pt x="4316698" y="2382552"/>
                </a:cubicBezTo>
                <a:cubicBezTo>
                  <a:pt x="4316698" y="2387999"/>
                  <a:pt x="4312342" y="2392718"/>
                  <a:pt x="4306532" y="2392718"/>
                </a:cubicBezTo>
                <a:cubicBezTo>
                  <a:pt x="4301085" y="2392718"/>
                  <a:pt x="4296366" y="2387999"/>
                  <a:pt x="4296366" y="2382552"/>
                </a:cubicBezTo>
                <a:cubicBezTo>
                  <a:pt x="4296366" y="2377105"/>
                  <a:pt x="4301085" y="2372386"/>
                  <a:pt x="4306532" y="2372386"/>
                </a:cubicBezTo>
                <a:close/>
                <a:moveTo>
                  <a:pt x="4460476" y="2370571"/>
                </a:moveTo>
                <a:cubicBezTo>
                  <a:pt x="4467014" y="2370571"/>
                  <a:pt x="4472460" y="2376019"/>
                  <a:pt x="4472460" y="2382552"/>
                </a:cubicBezTo>
                <a:cubicBezTo>
                  <a:pt x="4472460" y="2389090"/>
                  <a:pt x="4467014" y="2394533"/>
                  <a:pt x="4460476" y="2394533"/>
                </a:cubicBezTo>
                <a:cubicBezTo>
                  <a:pt x="4453942" y="2394533"/>
                  <a:pt x="4448495" y="2389090"/>
                  <a:pt x="4448495" y="2382552"/>
                </a:cubicBezTo>
                <a:cubicBezTo>
                  <a:pt x="4448495" y="2376019"/>
                  <a:pt x="4453942" y="2370571"/>
                  <a:pt x="4460476" y="2370571"/>
                </a:cubicBezTo>
                <a:close/>
                <a:moveTo>
                  <a:pt x="4614065" y="2368753"/>
                </a:moveTo>
                <a:cubicBezTo>
                  <a:pt x="4621688" y="2368753"/>
                  <a:pt x="4627860" y="2374924"/>
                  <a:pt x="4627860" y="2382552"/>
                </a:cubicBezTo>
                <a:cubicBezTo>
                  <a:pt x="4627860" y="2390176"/>
                  <a:pt x="4621688" y="2396347"/>
                  <a:pt x="4614065" y="2396347"/>
                </a:cubicBezTo>
                <a:cubicBezTo>
                  <a:pt x="4606438" y="2396347"/>
                  <a:pt x="4600266" y="2390176"/>
                  <a:pt x="4600266" y="2382552"/>
                </a:cubicBezTo>
                <a:cubicBezTo>
                  <a:pt x="4600266" y="2374924"/>
                  <a:pt x="4606438" y="2368753"/>
                  <a:pt x="4614065" y="2368753"/>
                </a:cubicBezTo>
                <a:close/>
                <a:moveTo>
                  <a:pt x="4768008" y="2367304"/>
                </a:moveTo>
                <a:cubicBezTo>
                  <a:pt x="4776433" y="2367304"/>
                  <a:pt x="4783260" y="2374131"/>
                  <a:pt x="4783260" y="2382556"/>
                </a:cubicBezTo>
                <a:cubicBezTo>
                  <a:pt x="4783260" y="2390976"/>
                  <a:pt x="4776433" y="2397803"/>
                  <a:pt x="4768008" y="2397803"/>
                </a:cubicBezTo>
                <a:cubicBezTo>
                  <a:pt x="4759588" y="2397803"/>
                  <a:pt x="4752761" y="2390976"/>
                  <a:pt x="4752761" y="2382556"/>
                </a:cubicBezTo>
                <a:cubicBezTo>
                  <a:pt x="4752761" y="2374131"/>
                  <a:pt x="4759588" y="2367304"/>
                  <a:pt x="4768008" y="2367304"/>
                </a:cubicBezTo>
                <a:close/>
                <a:moveTo>
                  <a:pt x="4921594" y="2365486"/>
                </a:moveTo>
                <a:cubicBezTo>
                  <a:pt x="4931032" y="2365486"/>
                  <a:pt x="4938660" y="2373110"/>
                  <a:pt x="4938660" y="2382552"/>
                </a:cubicBezTo>
                <a:cubicBezTo>
                  <a:pt x="4938660" y="2391990"/>
                  <a:pt x="4931032" y="2399614"/>
                  <a:pt x="4921594" y="2399614"/>
                </a:cubicBezTo>
                <a:cubicBezTo>
                  <a:pt x="4912152" y="2399614"/>
                  <a:pt x="4904528" y="2391990"/>
                  <a:pt x="4904528" y="2382552"/>
                </a:cubicBezTo>
                <a:cubicBezTo>
                  <a:pt x="4904528" y="2373110"/>
                  <a:pt x="4912152" y="2365486"/>
                  <a:pt x="4921594" y="2365486"/>
                </a:cubicBezTo>
                <a:close/>
                <a:moveTo>
                  <a:pt x="5075541" y="2363309"/>
                </a:moveTo>
                <a:cubicBezTo>
                  <a:pt x="5086070" y="2363309"/>
                  <a:pt x="5094784" y="2372024"/>
                  <a:pt x="5094784" y="2382552"/>
                </a:cubicBezTo>
                <a:cubicBezTo>
                  <a:pt x="5094784" y="2393084"/>
                  <a:pt x="5086070" y="2401799"/>
                  <a:pt x="5075541" y="2401799"/>
                </a:cubicBezTo>
                <a:cubicBezTo>
                  <a:pt x="5065012" y="2401799"/>
                  <a:pt x="5056298" y="2393084"/>
                  <a:pt x="5056298" y="2382552"/>
                </a:cubicBezTo>
                <a:cubicBezTo>
                  <a:pt x="5056298" y="2372024"/>
                  <a:pt x="5065012" y="2363309"/>
                  <a:pt x="5075541" y="2363309"/>
                </a:cubicBezTo>
                <a:close/>
                <a:moveTo>
                  <a:pt x="5229126" y="2361129"/>
                </a:moveTo>
                <a:cubicBezTo>
                  <a:pt x="5241108" y="2361129"/>
                  <a:pt x="5250546" y="2370571"/>
                  <a:pt x="5250546" y="2382552"/>
                </a:cubicBezTo>
                <a:cubicBezTo>
                  <a:pt x="5250546" y="2394533"/>
                  <a:pt x="5240745" y="2403975"/>
                  <a:pt x="5229126" y="2403975"/>
                </a:cubicBezTo>
                <a:cubicBezTo>
                  <a:pt x="5217146" y="2403975"/>
                  <a:pt x="5207704" y="2394533"/>
                  <a:pt x="5207704" y="2382552"/>
                </a:cubicBezTo>
                <a:cubicBezTo>
                  <a:pt x="5207704" y="2370571"/>
                  <a:pt x="5217146" y="2361129"/>
                  <a:pt x="5229126" y="2361129"/>
                </a:cubicBezTo>
                <a:close/>
                <a:moveTo>
                  <a:pt x="5383074" y="2359677"/>
                </a:moveTo>
                <a:cubicBezTo>
                  <a:pt x="5395706" y="2359677"/>
                  <a:pt x="5405946" y="2369919"/>
                  <a:pt x="5405946" y="2382552"/>
                </a:cubicBezTo>
                <a:cubicBezTo>
                  <a:pt x="5405946" y="2395185"/>
                  <a:pt x="5395706" y="2405427"/>
                  <a:pt x="5383074" y="2405427"/>
                </a:cubicBezTo>
                <a:cubicBezTo>
                  <a:pt x="5370441" y="2405427"/>
                  <a:pt x="5360198" y="2395185"/>
                  <a:pt x="5360198" y="2382552"/>
                </a:cubicBezTo>
                <a:cubicBezTo>
                  <a:pt x="5360198" y="2369919"/>
                  <a:pt x="5370441" y="2359677"/>
                  <a:pt x="5383074" y="2359677"/>
                </a:cubicBezTo>
                <a:close/>
                <a:moveTo>
                  <a:pt x="5536656" y="2357500"/>
                </a:moveTo>
                <a:cubicBezTo>
                  <a:pt x="5550492" y="2357500"/>
                  <a:pt x="5561711" y="2368715"/>
                  <a:pt x="5561711" y="2382552"/>
                </a:cubicBezTo>
                <a:cubicBezTo>
                  <a:pt x="5561711" y="2396389"/>
                  <a:pt x="5550492" y="2407608"/>
                  <a:pt x="5536656" y="2407608"/>
                </a:cubicBezTo>
                <a:cubicBezTo>
                  <a:pt x="5522818" y="2407608"/>
                  <a:pt x="5511604" y="2396389"/>
                  <a:pt x="5511604" y="2382552"/>
                </a:cubicBezTo>
                <a:cubicBezTo>
                  <a:pt x="5511604" y="2368719"/>
                  <a:pt x="5522818" y="2357500"/>
                  <a:pt x="5536656" y="2357500"/>
                </a:cubicBezTo>
                <a:close/>
                <a:moveTo>
                  <a:pt x="5690606" y="2355320"/>
                </a:moveTo>
                <a:cubicBezTo>
                  <a:pt x="5705492" y="2355320"/>
                  <a:pt x="5717838" y="2367663"/>
                  <a:pt x="5717838" y="2382552"/>
                </a:cubicBezTo>
                <a:cubicBezTo>
                  <a:pt x="5717838" y="2397437"/>
                  <a:pt x="5705854" y="2409784"/>
                  <a:pt x="5690606" y="2409784"/>
                </a:cubicBezTo>
                <a:cubicBezTo>
                  <a:pt x="5675717" y="2409784"/>
                  <a:pt x="5663374" y="2397437"/>
                  <a:pt x="5663374" y="2382552"/>
                </a:cubicBezTo>
                <a:cubicBezTo>
                  <a:pt x="5663374" y="2367663"/>
                  <a:pt x="5675717" y="2355320"/>
                  <a:pt x="5690606" y="2355320"/>
                </a:cubicBezTo>
                <a:close/>
                <a:moveTo>
                  <a:pt x="5844554" y="2352781"/>
                </a:moveTo>
                <a:cubicBezTo>
                  <a:pt x="5860994" y="2352781"/>
                  <a:pt x="5874325" y="2366111"/>
                  <a:pt x="5874325" y="2382556"/>
                </a:cubicBezTo>
                <a:cubicBezTo>
                  <a:pt x="5874325" y="2398997"/>
                  <a:pt x="5860994" y="2412327"/>
                  <a:pt x="5844554" y="2412327"/>
                </a:cubicBezTo>
                <a:cubicBezTo>
                  <a:pt x="5828110" y="2412327"/>
                  <a:pt x="5814779" y="2398997"/>
                  <a:pt x="5814779" y="2382556"/>
                </a:cubicBezTo>
                <a:cubicBezTo>
                  <a:pt x="5814779" y="2366111"/>
                  <a:pt x="5828110" y="2352781"/>
                  <a:pt x="5844554" y="2352781"/>
                </a:cubicBezTo>
                <a:close/>
                <a:moveTo>
                  <a:pt x="5998139" y="2350601"/>
                </a:moveTo>
                <a:cubicBezTo>
                  <a:pt x="6015784" y="2350601"/>
                  <a:pt x="6030090" y="2364907"/>
                  <a:pt x="6030090" y="2382552"/>
                </a:cubicBezTo>
                <a:cubicBezTo>
                  <a:pt x="6030090" y="2400197"/>
                  <a:pt x="6015784" y="2414503"/>
                  <a:pt x="5998139" y="2414503"/>
                </a:cubicBezTo>
                <a:cubicBezTo>
                  <a:pt x="5980490" y="2414503"/>
                  <a:pt x="5966188" y="2400197"/>
                  <a:pt x="5966188" y="2382552"/>
                </a:cubicBezTo>
                <a:cubicBezTo>
                  <a:pt x="5966188" y="2364907"/>
                  <a:pt x="5980490" y="2350601"/>
                  <a:pt x="5998139" y="2350601"/>
                </a:cubicBezTo>
                <a:close/>
                <a:moveTo>
                  <a:pt x="6152086" y="2348786"/>
                </a:moveTo>
                <a:cubicBezTo>
                  <a:pt x="6170734" y="2348786"/>
                  <a:pt x="6185852" y="2363904"/>
                  <a:pt x="6185852" y="2382552"/>
                </a:cubicBezTo>
                <a:cubicBezTo>
                  <a:pt x="6185852" y="2401204"/>
                  <a:pt x="6170734" y="2416322"/>
                  <a:pt x="6152086" y="2416322"/>
                </a:cubicBezTo>
                <a:cubicBezTo>
                  <a:pt x="6133435" y="2416322"/>
                  <a:pt x="6118317" y="2401204"/>
                  <a:pt x="6118317" y="2382552"/>
                </a:cubicBezTo>
                <a:cubicBezTo>
                  <a:pt x="6118317" y="2363904"/>
                  <a:pt x="6133435" y="2348786"/>
                  <a:pt x="6152086" y="2348786"/>
                </a:cubicBezTo>
                <a:close/>
                <a:moveTo>
                  <a:pt x="6305668" y="2346244"/>
                </a:moveTo>
                <a:cubicBezTo>
                  <a:pt x="6325638" y="2346244"/>
                  <a:pt x="6341976" y="2362581"/>
                  <a:pt x="6341976" y="2382552"/>
                </a:cubicBezTo>
                <a:cubicBezTo>
                  <a:pt x="6341976" y="2402523"/>
                  <a:pt x="6325638" y="2418860"/>
                  <a:pt x="6305668" y="2418860"/>
                </a:cubicBezTo>
                <a:cubicBezTo>
                  <a:pt x="6285698" y="2418860"/>
                  <a:pt x="6269360" y="2402523"/>
                  <a:pt x="6269360" y="2382552"/>
                </a:cubicBezTo>
                <a:cubicBezTo>
                  <a:pt x="6269360" y="2362581"/>
                  <a:pt x="6285698" y="2346244"/>
                  <a:pt x="6305668" y="2346244"/>
                </a:cubicBezTo>
                <a:close/>
                <a:moveTo>
                  <a:pt x="6459619" y="2343701"/>
                </a:moveTo>
                <a:cubicBezTo>
                  <a:pt x="6481038" y="2343701"/>
                  <a:pt x="6498470" y="2361129"/>
                  <a:pt x="6498470" y="2382552"/>
                </a:cubicBezTo>
                <a:cubicBezTo>
                  <a:pt x="6498470" y="2403971"/>
                  <a:pt x="6481038" y="2421399"/>
                  <a:pt x="6459619" y="2421399"/>
                </a:cubicBezTo>
                <a:cubicBezTo>
                  <a:pt x="6438196" y="2421399"/>
                  <a:pt x="6420768" y="2403971"/>
                  <a:pt x="6420768" y="2382552"/>
                </a:cubicBezTo>
                <a:cubicBezTo>
                  <a:pt x="6420768" y="2361129"/>
                  <a:pt x="6438196" y="2343701"/>
                  <a:pt x="6459619" y="2343701"/>
                </a:cubicBezTo>
                <a:close/>
                <a:moveTo>
                  <a:pt x="6613200" y="2341524"/>
                </a:moveTo>
                <a:cubicBezTo>
                  <a:pt x="6636076" y="2341524"/>
                  <a:pt x="6654232" y="2359681"/>
                  <a:pt x="6654232" y="2382552"/>
                </a:cubicBezTo>
                <a:cubicBezTo>
                  <a:pt x="6654232" y="2405427"/>
                  <a:pt x="6635714" y="2423583"/>
                  <a:pt x="6613200" y="2423583"/>
                </a:cubicBezTo>
                <a:cubicBezTo>
                  <a:pt x="6590330" y="2423583"/>
                  <a:pt x="6572173" y="2405427"/>
                  <a:pt x="6572173" y="2382552"/>
                </a:cubicBezTo>
                <a:cubicBezTo>
                  <a:pt x="6572173" y="2359681"/>
                  <a:pt x="6590330" y="2341524"/>
                  <a:pt x="6613200" y="2341524"/>
                </a:cubicBezTo>
                <a:close/>
                <a:moveTo>
                  <a:pt x="2922458" y="2228605"/>
                </a:moveTo>
                <a:cubicBezTo>
                  <a:pt x="2922820" y="2228605"/>
                  <a:pt x="2922820" y="2228605"/>
                  <a:pt x="2922820" y="2228967"/>
                </a:cubicBezTo>
                <a:cubicBezTo>
                  <a:pt x="2922820" y="2229333"/>
                  <a:pt x="2922458" y="2229333"/>
                  <a:pt x="2922458" y="2229333"/>
                </a:cubicBezTo>
                <a:cubicBezTo>
                  <a:pt x="2922096" y="2229333"/>
                  <a:pt x="2922096" y="2229333"/>
                  <a:pt x="2922096" y="2228967"/>
                </a:cubicBezTo>
                <a:cubicBezTo>
                  <a:pt x="2922096" y="2228605"/>
                  <a:pt x="2922096" y="2228605"/>
                  <a:pt x="2922458" y="2228605"/>
                </a:cubicBezTo>
                <a:close/>
                <a:moveTo>
                  <a:pt x="2461340" y="2228605"/>
                </a:moveTo>
                <a:cubicBezTo>
                  <a:pt x="2461702" y="2228605"/>
                  <a:pt x="2461702" y="2228605"/>
                  <a:pt x="2461702" y="2228967"/>
                </a:cubicBezTo>
                <a:cubicBezTo>
                  <a:pt x="2461702" y="2229333"/>
                  <a:pt x="2461340" y="2229333"/>
                  <a:pt x="2461340" y="2229333"/>
                </a:cubicBezTo>
                <a:cubicBezTo>
                  <a:pt x="2460978" y="2229333"/>
                  <a:pt x="2460978" y="2229333"/>
                  <a:pt x="2460978" y="2228967"/>
                </a:cubicBezTo>
                <a:cubicBezTo>
                  <a:pt x="2460978" y="2228605"/>
                  <a:pt x="2460978" y="2228605"/>
                  <a:pt x="2461340" y="2228605"/>
                </a:cubicBezTo>
                <a:close/>
                <a:moveTo>
                  <a:pt x="2307393" y="2228605"/>
                </a:moveTo>
                <a:cubicBezTo>
                  <a:pt x="2307755" y="2228605"/>
                  <a:pt x="2307755" y="2228605"/>
                  <a:pt x="2307755" y="2228967"/>
                </a:cubicBezTo>
                <a:cubicBezTo>
                  <a:pt x="2307755" y="2229333"/>
                  <a:pt x="2307393" y="2229333"/>
                  <a:pt x="2307393" y="2229333"/>
                </a:cubicBezTo>
                <a:cubicBezTo>
                  <a:pt x="2307031" y="2229333"/>
                  <a:pt x="2307031" y="2229333"/>
                  <a:pt x="2307031" y="2228967"/>
                </a:cubicBezTo>
                <a:cubicBezTo>
                  <a:pt x="2307031" y="2228605"/>
                  <a:pt x="2307031" y="2228605"/>
                  <a:pt x="2307393" y="2228605"/>
                </a:cubicBezTo>
                <a:close/>
                <a:moveTo>
                  <a:pt x="2153811" y="2228243"/>
                </a:moveTo>
                <a:cubicBezTo>
                  <a:pt x="2154174" y="2228243"/>
                  <a:pt x="2154536" y="2228605"/>
                  <a:pt x="2154536" y="2228971"/>
                </a:cubicBezTo>
                <a:cubicBezTo>
                  <a:pt x="2154536" y="2229333"/>
                  <a:pt x="2153811" y="2229695"/>
                  <a:pt x="2153811" y="2229695"/>
                </a:cubicBezTo>
                <a:cubicBezTo>
                  <a:pt x="2153445" y="2229695"/>
                  <a:pt x="2153083" y="2229333"/>
                  <a:pt x="2153083" y="2228971"/>
                </a:cubicBezTo>
                <a:cubicBezTo>
                  <a:pt x="2153083" y="2228605"/>
                  <a:pt x="2153445" y="2228243"/>
                  <a:pt x="2153811" y="2228243"/>
                </a:cubicBezTo>
                <a:close/>
                <a:moveTo>
                  <a:pt x="3076406" y="2227152"/>
                </a:moveTo>
                <a:cubicBezTo>
                  <a:pt x="3077130" y="2227152"/>
                  <a:pt x="3077858" y="2227880"/>
                  <a:pt x="3077858" y="2228605"/>
                </a:cubicBezTo>
                <a:cubicBezTo>
                  <a:pt x="3077858" y="2229333"/>
                  <a:pt x="3076406" y="2230057"/>
                  <a:pt x="3076406" y="2230057"/>
                </a:cubicBezTo>
                <a:cubicBezTo>
                  <a:pt x="3075677" y="2230057"/>
                  <a:pt x="3074953" y="2229333"/>
                  <a:pt x="3074953" y="2228605"/>
                </a:cubicBezTo>
                <a:cubicBezTo>
                  <a:pt x="3074953" y="2227880"/>
                  <a:pt x="3075677" y="2227152"/>
                  <a:pt x="3076406" y="2227152"/>
                </a:cubicBezTo>
                <a:close/>
                <a:moveTo>
                  <a:pt x="3230353" y="2226428"/>
                </a:moveTo>
                <a:cubicBezTo>
                  <a:pt x="3231554" y="2226428"/>
                  <a:pt x="3232530" y="2227404"/>
                  <a:pt x="3232530" y="2228608"/>
                </a:cubicBezTo>
                <a:cubicBezTo>
                  <a:pt x="3232530" y="2229809"/>
                  <a:pt x="3231554" y="2230785"/>
                  <a:pt x="3230353" y="2230785"/>
                </a:cubicBezTo>
                <a:cubicBezTo>
                  <a:pt x="3229148" y="2230785"/>
                  <a:pt x="3228172" y="2229809"/>
                  <a:pt x="3228172" y="2228608"/>
                </a:cubicBezTo>
                <a:cubicBezTo>
                  <a:pt x="3228172" y="2227404"/>
                  <a:pt x="3229148" y="2226428"/>
                  <a:pt x="3230353" y="2226428"/>
                </a:cubicBezTo>
                <a:close/>
                <a:moveTo>
                  <a:pt x="3383934" y="2225700"/>
                </a:moveTo>
                <a:cubicBezTo>
                  <a:pt x="3385752" y="2225700"/>
                  <a:pt x="3387205" y="2227152"/>
                  <a:pt x="3387205" y="2228967"/>
                </a:cubicBezTo>
                <a:cubicBezTo>
                  <a:pt x="3387205" y="2230781"/>
                  <a:pt x="3385752" y="2232238"/>
                  <a:pt x="3383934" y="2232238"/>
                </a:cubicBezTo>
                <a:cubicBezTo>
                  <a:pt x="3382120" y="2232238"/>
                  <a:pt x="3380668" y="2230781"/>
                  <a:pt x="3380668" y="2228967"/>
                </a:cubicBezTo>
                <a:cubicBezTo>
                  <a:pt x="3380668" y="2227152"/>
                  <a:pt x="3382120" y="2225700"/>
                  <a:pt x="3383934" y="2225700"/>
                </a:cubicBezTo>
                <a:close/>
                <a:moveTo>
                  <a:pt x="3537886" y="2224248"/>
                </a:moveTo>
                <a:cubicBezTo>
                  <a:pt x="3540428" y="2224248"/>
                  <a:pt x="3542242" y="2226062"/>
                  <a:pt x="3542242" y="2228605"/>
                </a:cubicBezTo>
                <a:cubicBezTo>
                  <a:pt x="3542242" y="2231147"/>
                  <a:pt x="3540062" y="2232962"/>
                  <a:pt x="3537886" y="2232962"/>
                </a:cubicBezTo>
                <a:cubicBezTo>
                  <a:pt x="3535343" y="2232962"/>
                  <a:pt x="3533528" y="2231147"/>
                  <a:pt x="3533528" y="2228605"/>
                </a:cubicBezTo>
                <a:cubicBezTo>
                  <a:pt x="3533528" y="2226062"/>
                  <a:pt x="3535343" y="2224248"/>
                  <a:pt x="3537886" y="2224248"/>
                </a:cubicBezTo>
                <a:close/>
                <a:moveTo>
                  <a:pt x="3691467" y="2222795"/>
                </a:moveTo>
                <a:cubicBezTo>
                  <a:pt x="3694676" y="2222795"/>
                  <a:pt x="3697276" y="2225395"/>
                  <a:pt x="3697276" y="2228605"/>
                </a:cubicBezTo>
                <a:cubicBezTo>
                  <a:pt x="3697276" y="2231814"/>
                  <a:pt x="3694676" y="2234414"/>
                  <a:pt x="3691467" y="2234414"/>
                </a:cubicBezTo>
                <a:cubicBezTo>
                  <a:pt x="3688257" y="2234414"/>
                  <a:pt x="3685658" y="2231814"/>
                  <a:pt x="3685658" y="2228605"/>
                </a:cubicBezTo>
                <a:cubicBezTo>
                  <a:pt x="3685658" y="2225395"/>
                  <a:pt x="3688257" y="2222795"/>
                  <a:pt x="3691467" y="2222795"/>
                </a:cubicBezTo>
                <a:close/>
                <a:moveTo>
                  <a:pt x="3845414" y="2221343"/>
                </a:moveTo>
                <a:cubicBezTo>
                  <a:pt x="3849409" y="2221343"/>
                  <a:pt x="3852676" y="2224610"/>
                  <a:pt x="3852676" y="2228605"/>
                </a:cubicBezTo>
                <a:cubicBezTo>
                  <a:pt x="3852676" y="2232599"/>
                  <a:pt x="3849409" y="2235866"/>
                  <a:pt x="3845414" y="2235866"/>
                </a:cubicBezTo>
                <a:cubicBezTo>
                  <a:pt x="3841420" y="2235866"/>
                  <a:pt x="3838153" y="2232599"/>
                  <a:pt x="3838153" y="2228605"/>
                </a:cubicBezTo>
                <a:cubicBezTo>
                  <a:pt x="3838153" y="2224610"/>
                  <a:pt x="3841420" y="2221343"/>
                  <a:pt x="3845414" y="2221343"/>
                </a:cubicBezTo>
                <a:close/>
                <a:moveTo>
                  <a:pt x="3999000" y="2219528"/>
                </a:moveTo>
                <a:cubicBezTo>
                  <a:pt x="4004085" y="2219528"/>
                  <a:pt x="4008080" y="2223523"/>
                  <a:pt x="4008080" y="2228605"/>
                </a:cubicBezTo>
                <a:cubicBezTo>
                  <a:pt x="4008080" y="2233690"/>
                  <a:pt x="4004085" y="2237685"/>
                  <a:pt x="3999000" y="2237685"/>
                </a:cubicBezTo>
                <a:cubicBezTo>
                  <a:pt x="3993918" y="2237685"/>
                  <a:pt x="3989924" y="2233690"/>
                  <a:pt x="3989924" y="2228605"/>
                </a:cubicBezTo>
                <a:cubicBezTo>
                  <a:pt x="3989924" y="2223523"/>
                  <a:pt x="3993918" y="2219528"/>
                  <a:pt x="3999000" y="2219528"/>
                </a:cubicBezTo>
                <a:close/>
                <a:moveTo>
                  <a:pt x="4152947" y="2218800"/>
                </a:moveTo>
                <a:cubicBezTo>
                  <a:pt x="4158394" y="2218800"/>
                  <a:pt x="4163114" y="2223520"/>
                  <a:pt x="4163114" y="2228967"/>
                </a:cubicBezTo>
                <a:cubicBezTo>
                  <a:pt x="4163114" y="2234414"/>
                  <a:pt x="4158756" y="2239133"/>
                  <a:pt x="4152947" y="2239133"/>
                </a:cubicBezTo>
                <a:cubicBezTo>
                  <a:pt x="4147500" y="2239133"/>
                  <a:pt x="4142780" y="2234414"/>
                  <a:pt x="4142780" y="2228967"/>
                </a:cubicBezTo>
                <a:cubicBezTo>
                  <a:pt x="4142780" y="2223520"/>
                  <a:pt x="4147500" y="2218800"/>
                  <a:pt x="4152947" y="2218800"/>
                </a:cubicBezTo>
                <a:close/>
                <a:moveTo>
                  <a:pt x="4306532" y="2216624"/>
                </a:moveTo>
                <a:cubicBezTo>
                  <a:pt x="4313070" y="2216624"/>
                  <a:pt x="4318517" y="2222071"/>
                  <a:pt x="4318517" y="2228605"/>
                </a:cubicBezTo>
                <a:cubicBezTo>
                  <a:pt x="4318517" y="2235142"/>
                  <a:pt x="4313070" y="2240585"/>
                  <a:pt x="4306532" y="2240585"/>
                </a:cubicBezTo>
                <a:cubicBezTo>
                  <a:pt x="4299998" y="2240585"/>
                  <a:pt x="4294552" y="2235142"/>
                  <a:pt x="4294552" y="2228605"/>
                </a:cubicBezTo>
                <a:cubicBezTo>
                  <a:pt x="4294552" y="2222071"/>
                  <a:pt x="4299998" y="2216624"/>
                  <a:pt x="4306532" y="2216624"/>
                </a:cubicBezTo>
                <a:close/>
                <a:moveTo>
                  <a:pt x="4460480" y="2214809"/>
                </a:moveTo>
                <a:cubicBezTo>
                  <a:pt x="4468100" y="2214809"/>
                  <a:pt x="4474275" y="2220989"/>
                  <a:pt x="4474275" y="2228608"/>
                </a:cubicBezTo>
                <a:cubicBezTo>
                  <a:pt x="4474275" y="2236229"/>
                  <a:pt x="4468100" y="2242404"/>
                  <a:pt x="4460480" y="2242404"/>
                </a:cubicBezTo>
                <a:cubicBezTo>
                  <a:pt x="4452860" y="2242404"/>
                  <a:pt x="4446680" y="2236229"/>
                  <a:pt x="4446680" y="2228608"/>
                </a:cubicBezTo>
                <a:cubicBezTo>
                  <a:pt x="4446680" y="2220989"/>
                  <a:pt x="4452860" y="2214809"/>
                  <a:pt x="4460480" y="2214809"/>
                </a:cubicBezTo>
                <a:close/>
                <a:moveTo>
                  <a:pt x="4614061" y="2213357"/>
                </a:moveTo>
                <a:cubicBezTo>
                  <a:pt x="4622486" y="2213357"/>
                  <a:pt x="4629312" y="2220184"/>
                  <a:pt x="4629312" y="2228608"/>
                </a:cubicBezTo>
                <a:cubicBezTo>
                  <a:pt x="4629312" y="2237029"/>
                  <a:pt x="4622486" y="2243856"/>
                  <a:pt x="4614061" y="2243856"/>
                </a:cubicBezTo>
                <a:cubicBezTo>
                  <a:pt x="4605640" y="2243856"/>
                  <a:pt x="4598814" y="2237029"/>
                  <a:pt x="4598814" y="2228608"/>
                </a:cubicBezTo>
                <a:cubicBezTo>
                  <a:pt x="4598814" y="2220184"/>
                  <a:pt x="4605640" y="2213357"/>
                  <a:pt x="4614061" y="2213357"/>
                </a:cubicBezTo>
                <a:close/>
                <a:moveTo>
                  <a:pt x="4768012" y="2211539"/>
                </a:moveTo>
                <a:cubicBezTo>
                  <a:pt x="4777450" y="2211539"/>
                  <a:pt x="4785078" y="2219163"/>
                  <a:pt x="4785078" y="2228605"/>
                </a:cubicBezTo>
                <a:cubicBezTo>
                  <a:pt x="4785078" y="2238043"/>
                  <a:pt x="4777450" y="2245667"/>
                  <a:pt x="4768012" y="2245667"/>
                </a:cubicBezTo>
                <a:cubicBezTo>
                  <a:pt x="4758570" y="2245667"/>
                  <a:pt x="4750946" y="2238043"/>
                  <a:pt x="4750946" y="2228605"/>
                </a:cubicBezTo>
                <a:cubicBezTo>
                  <a:pt x="4750946" y="2219163"/>
                  <a:pt x="4758570" y="2211539"/>
                  <a:pt x="4768012" y="2211539"/>
                </a:cubicBezTo>
                <a:close/>
                <a:moveTo>
                  <a:pt x="4921594" y="2209362"/>
                </a:moveTo>
                <a:cubicBezTo>
                  <a:pt x="4932126" y="2209362"/>
                  <a:pt x="4940836" y="2218076"/>
                  <a:pt x="4940836" y="2228605"/>
                </a:cubicBezTo>
                <a:cubicBezTo>
                  <a:pt x="4940836" y="2239133"/>
                  <a:pt x="4932126" y="2247851"/>
                  <a:pt x="4921594" y="2247851"/>
                </a:cubicBezTo>
                <a:cubicBezTo>
                  <a:pt x="4911066" y="2247851"/>
                  <a:pt x="4902352" y="2239133"/>
                  <a:pt x="4902352" y="2228605"/>
                </a:cubicBezTo>
                <a:cubicBezTo>
                  <a:pt x="4902352" y="2218076"/>
                  <a:pt x="4911066" y="2209362"/>
                  <a:pt x="4921594" y="2209362"/>
                </a:cubicBezTo>
                <a:close/>
                <a:moveTo>
                  <a:pt x="5075541" y="2207182"/>
                </a:moveTo>
                <a:cubicBezTo>
                  <a:pt x="5087522" y="2207182"/>
                  <a:pt x="5096964" y="2216620"/>
                  <a:pt x="5096964" y="2228605"/>
                </a:cubicBezTo>
                <a:cubicBezTo>
                  <a:pt x="5096964" y="2240585"/>
                  <a:pt x="5087160" y="2250027"/>
                  <a:pt x="5075541" y="2250027"/>
                </a:cubicBezTo>
                <a:cubicBezTo>
                  <a:pt x="5063560" y="2250027"/>
                  <a:pt x="5054118" y="2240585"/>
                  <a:pt x="5054118" y="2228605"/>
                </a:cubicBezTo>
                <a:cubicBezTo>
                  <a:pt x="5054118" y="2216620"/>
                  <a:pt x="5063560" y="2207182"/>
                  <a:pt x="5075541" y="2207182"/>
                </a:cubicBezTo>
                <a:close/>
                <a:moveTo>
                  <a:pt x="5229126" y="2205729"/>
                </a:moveTo>
                <a:cubicBezTo>
                  <a:pt x="5241759" y="2205729"/>
                  <a:pt x="5251998" y="2215972"/>
                  <a:pt x="5251998" y="2228605"/>
                </a:cubicBezTo>
                <a:cubicBezTo>
                  <a:pt x="5251998" y="2241237"/>
                  <a:pt x="5241759" y="2251480"/>
                  <a:pt x="5229126" y="2251480"/>
                </a:cubicBezTo>
                <a:cubicBezTo>
                  <a:pt x="5216494" y="2251480"/>
                  <a:pt x="5206251" y="2241237"/>
                  <a:pt x="5206251" y="2228605"/>
                </a:cubicBezTo>
                <a:cubicBezTo>
                  <a:pt x="5206251" y="2215972"/>
                  <a:pt x="5216494" y="2205729"/>
                  <a:pt x="5229126" y="2205729"/>
                </a:cubicBezTo>
                <a:close/>
                <a:moveTo>
                  <a:pt x="5383074" y="2203915"/>
                </a:moveTo>
                <a:cubicBezTo>
                  <a:pt x="5396873" y="2203915"/>
                  <a:pt x="5408126" y="2215172"/>
                  <a:pt x="5408126" y="2228967"/>
                </a:cubicBezTo>
                <a:cubicBezTo>
                  <a:pt x="5408126" y="2242766"/>
                  <a:pt x="5396873" y="2254023"/>
                  <a:pt x="5383074" y="2254023"/>
                </a:cubicBezTo>
                <a:cubicBezTo>
                  <a:pt x="5369278" y="2254023"/>
                  <a:pt x="5358022" y="2242766"/>
                  <a:pt x="5358022" y="2228967"/>
                </a:cubicBezTo>
                <a:cubicBezTo>
                  <a:pt x="5358022" y="2215172"/>
                  <a:pt x="5369278" y="2203915"/>
                  <a:pt x="5383074" y="2203915"/>
                </a:cubicBezTo>
                <a:close/>
                <a:moveTo>
                  <a:pt x="5536659" y="2201734"/>
                </a:moveTo>
                <a:cubicBezTo>
                  <a:pt x="5551544" y="2201734"/>
                  <a:pt x="5563892" y="2214081"/>
                  <a:pt x="5563892" y="2228967"/>
                </a:cubicBezTo>
                <a:cubicBezTo>
                  <a:pt x="5563892" y="2243852"/>
                  <a:pt x="5551906" y="2256199"/>
                  <a:pt x="5536659" y="2256199"/>
                </a:cubicBezTo>
                <a:cubicBezTo>
                  <a:pt x="5521770" y="2256199"/>
                  <a:pt x="5509427" y="2243852"/>
                  <a:pt x="5509427" y="2228967"/>
                </a:cubicBezTo>
                <a:cubicBezTo>
                  <a:pt x="5509427" y="2214081"/>
                  <a:pt x="5521770" y="2201734"/>
                  <a:pt x="5536659" y="2201734"/>
                </a:cubicBezTo>
                <a:close/>
                <a:moveTo>
                  <a:pt x="5690606" y="2198834"/>
                </a:moveTo>
                <a:cubicBezTo>
                  <a:pt x="5707047" y="2198834"/>
                  <a:pt x="5720378" y="2212164"/>
                  <a:pt x="5720378" y="2228608"/>
                </a:cubicBezTo>
                <a:cubicBezTo>
                  <a:pt x="5720378" y="2245049"/>
                  <a:pt x="5707047" y="2258379"/>
                  <a:pt x="5690606" y="2258379"/>
                </a:cubicBezTo>
                <a:cubicBezTo>
                  <a:pt x="5674162" y="2258379"/>
                  <a:pt x="5660832" y="2245049"/>
                  <a:pt x="5660832" y="2228608"/>
                </a:cubicBezTo>
                <a:cubicBezTo>
                  <a:pt x="5660832" y="2212164"/>
                  <a:pt x="5674162" y="2198834"/>
                  <a:pt x="5690606" y="2198834"/>
                </a:cubicBezTo>
                <a:close/>
                <a:moveTo>
                  <a:pt x="5844554" y="2197015"/>
                </a:moveTo>
                <a:cubicBezTo>
                  <a:pt x="5862344" y="2197015"/>
                  <a:pt x="5876506" y="2211177"/>
                  <a:pt x="5876506" y="2228967"/>
                </a:cubicBezTo>
                <a:cubicBezTo>
                  <a:pt x="5876506" y="2246757"/>
                  <a:pt x="5862344" y="2260918"/>
                  <a:pt x="5844554" y="2260918"/>
                </a:cubicBezTo>
                <a:cubicBezTo>
                  <a:pt x="5826764" y="2260918"/>
                  <a:pt x="5812602" y="2246757"/>
                  <a:pt x="5812602" y="2228967"/>
                </a:cubicBezTo>
                <a:cubicBezTo>
                  <a:pt x="5812602" y="2211177"/>
                  <a:pt x="5826764" y="2197015"/>
                  <a:pt x="5844554" y="2197015"/>
                </a:cubicBezTo>
                <a:close/>
                <a:moveTo>
                  <a:pt x="5998136" y="2194839"/>
                </a:moveTo>
                <a:cubicBezTo>
                  <a:pt x="6016783" y="2194839"/>
                  <a:pt x="6031901" y="2209957"/>
                  <a:pt x="6031901" y="2228605"/>
                </a:cubicBezTo>
                <a:cubicBezTo>
                  <a:pt x="6031901" y="2247256"/>
                  <a:pt x="6016783" y="2262374"/>
                  <a:pt x="5998136" y="2262374"/>
                </a:cubicBezTo>
                <a:cubicBezTo>
                  <a:pt x="5979488" y="2262374"/>
                  <a:pt x="5964370" y="2247256"/>
                  <a:pt x="5964370" y="2228605"/>
                </a:cubicBezTo>
                <a:cubicBezTo>
                  <a:pt x="5964370" y="2209957"/>
                  <a:pt x="5979488" y="2194839"/>
                  <a:pt x="5998136" y="2194839"/>
                </a:cubicBezTo>
                <a:close/>
                <a:moveTo>
                  <a:pt x="6152083" y="2192296"/>
                </a:moveTo>
                <a:cubicBezTo>
                  <a:pt x="6172054" y="2192296"/>
                  <a:pt x="6188391" y="2208634"/>
                  <a:pt x="6188391" y="2228605"/>
                </a:cubicBezTo>
                <a:cubicBezTo>
                  <a:pt x="6188391" y="2248575"/>
                  <a:pt x="6172054" y="2264913"/>
                  <a:pt x="6152083" y="2264913"/>
                </a:cubicBezTo>
                <a:cubicBezTo>
                  <a:pt x="6132112" y="2264913"/>
                  <a:pt x="6115774" y="2248575"/>
                  <a:pt x="6115774" y="2228605"/>
                </a:cubicBezTo>
                <a:cubicBezTo>
                  <a:pt x="6115774" y="2208634"/>
                  <a:pt x="6132112" y="2192296"/>
                  <a:pt x="6152083" y="2192296"/>
                </a:cubicBezTo>
                <a:close/>
                <a:moveTo>
                  <a:pt x="6305672" y="2189754"/>
                </a:moveTo>
                <a:cubicBezTo>
                  <a:pt x="6327091" y="2189754"/>
                  <a:pt x="6344522" y="2207182"/>
                  <a:pt x="6344522" y="2228605"/>
                </a:cubicBezTo>
                <a:cubicBezTo>
                  <a:pt x="6344522" y="2250024"/>
                  <a:pt x="6327091" y="2267452"/>
                  <a:pt x="6305672" y="2267452"/>
                </a:cubicBezTo>
                <a:cubicBezTo>
                  <a:pt x="6284249" y="2267452"/>
                  <a:pt x="6266821" y="2250024"/>
                  <a:pt x="6266821" y="2228605"/>
                </a:cubicBezTo>
                <a:cubicBezTo>
                  <a:pt x="6266821" y="2207182"/>
                  <a:pt x="6284249" y="2189754"/>
                  <a:pt x="6305672" y="2189754"/>
                </a:cubicBezTo>
                <a:close/>
                <a:moveTo>
                  <a:pt x="6459616" y="2187577"/>
                </a:moveTo>
                <a:cubicBezTo>
                  <a:pt x="6482490" y="2187577"/>
                  <a:pt x="6500646" y="2205733"/>
                  <a:pt x="6500646" y="2228605"/>
                </a:cubicBezTo>
                <a:cubicBezTo>
                  <a:pt x="6500646" y="2251480"/>
                  <a:pt x="6482128" y="2269632"/>
                  <a:pt x="6459616" y="2269632"/>
                </a:cubicBezTo>
                <a:cubicBezTo>
                  <a:pt x="6436744" y="2269632"/>
                  <a:pt x="6418588" y="2251480"/>
                  <a:pt x="6418588" y="2228605"/>
                </a:cubicBezTo>
                <a:cubicBezTo>
                  <a:pt x="6418588" y="2205733"/>
                  <a:pt x="6436744" y="2187577"/>
                  <a:pt x="6459616" y="2187577"/>
                </a:cubicBezTo>
                <a:close/>
                <a:moveTo>
                  <a:pt x="6613200" y="2185035"/>
                </a:moveTo>
                <a:cubicBezTo>
                  <a:pt x="6637262" y="2185035"/>
                  <a:pt x="6656770" y="2204540"/>
                  <a:pt x="6656770" y="2228605"/>
                </a:cubicBezTo>
                <a:cubicBezTo>
                  <a:pt x="6656770" y="2252669"/>
                  <a:pt x="6637265" y="2272175"/>
                  <a:pt x="6613200" y="2272175"/>
                </a:cubicBezTo>
                <a:cubicBezTo>
                  <a:pt x="6589136" y="2272175"/>
                  <a:pt x="6569630" y="2252669"/>
                  <a:pt x="6569630" y="2228605"/>
                </a:cubicBezTo>
                <a:cubicBezTo>
                  <a:pt x="6569630" y="2204540"/>
                  <a:pt x="6589136" y="2185035"/>
                  <a:pt x="6613200" y="2185035"/>
                </a:cubicBezTo>
                <a:close/>
                <a:moveTo>
                  <a:pt x="2768873" y="2074657"/>
                </a:moveTo>
                <a:cubicBezTo>
                  <a:pt x="2769235" y="2074657"/>
                  <a:pt x="2769235" y="2074657"/>
                  <a:pt x="2769235" y="2075019"/>
                </a:cubicBezTo>
                <a:cubicBezTo>
                  <a:pt x="2769235" y="2075385"/>
                  <a:pt x="2768873" y="2075385"/>
                  <a:pt x="2768873" y="2075385"/>
                </a:cubicBezTo>
                <a:cubicBezTo>
                  <a:pt x="2768511" y="2075385"/>
                  <a:pt x="2768511" y="2075385"/>
                  <a:pt x="2768511" y="2075019"/>
                </a:cubicBezTo>
                <a:cubicBezTo>
                  <a:pt x="2768511" y="2074657"/>
                  <a:pt x="2768511" y="2074657"/>
                  <a:pt x="2768873" y="2074657"/>
                </a:cubicBezTo>
                <a:close/>
                <a:moveTo>
                  <a:pt x="2307393" y="2074657"/>
                </a:moveTo>
                <a:cubicBezTo>
                  <a:pt x="2307755" y="2074657"/>
                  <a:pt x="2307755" y="2074657"/>
                  <a:pt x="2307755" y="2075019"/>
                </a:cubicBezTo>
                <a:cubicBezTo>
                  <a:pt x="2307755" y="2075385"/>
                  <a:pt x="2307393" y="2075385"/>
                  <a:pt x="2307393" y="2075385"/>
                </a:cubicBezTo>
                <a:cubicBezTo>
                  <a:pt x="2307031" y="2075385"/>
                  <a:pt x="2307031" y="2075385"/>
                  <a:pt x="2307031" y="2075019"/>
                </a:cubicBezTo>
                <a:cubicBezTo>
                  <a:pt x="2307031" y="2074657"/>
                  <a:pt x="2307031" y="2074657"/>
                  <a:pt x="2307393" y="2074657"/>
                </a:cubicBezTo>
                <a:close/>
                <a:moveTo>
                  <a:pt x="2153808" y="2074657"/>
                </a:moveTo>
                <a:cubicBezTo>
                  <a:pt x="2154170" y="2074657"/>
                  <a:pt x="2154170" y="2074657"/>
                  <a:pt x="2154170" y="2075019"/>
                </a:cubicBezTo>
                <a:cubicBezTo>
                  <a:pt x="2154170" y="2075385"/>
                  <a:pt x="2153808" y="2075385"/>
                  <a:pt x="2153808" y="2075385"/>
                </a:cubicBezTo>
                <a:cubicBezTo>
                  <a:pt x="2153445" y="2075385"/>
                  <a:pt x="2153445" y="2075385"/>
                  <a:pt x="2153445" y="2075019"/>
                </a:cubicBezTo>
                <a:cubicBezTo>
                  <a:pt x="2153445" y="2074657"/>
                  <a:pt x="2153445" y="2074657"/>
                  <a:pt x="2153808" y="2074657"/>
                </a:cubicBezTo>
                <a:close/>
                <a:moveTo>
                  <a:pt x="1999864" y="2074295"/>
                </a:moveTo>
                <a:cubicBezTo>
                  <a:pt x="2000264" y="2074295"/>
                  <a:pt x="2000588" y="2074619"/>
                  <a:pt x="2000588" y="2075023"/>
                </a:cubicBezTo>
                <a:cubicBezTo>
                  <a:pt x="2000588" y="2075423"/>
                  <a:pt x="2000264" y="2075747"/>
                  <a:pt x="1999864" y="2075747"/>
                </a:cubicBezTo>
                <a:cubicBezTo>
                  <a:pt x="1999460" y="2075747"/>
                  <a:pt x="1999136" y="2075423"/>
                  <a:pt x="1999136" y="2075023"/>
                </a:cubicBezTo>
                <a:cubicBezTo>
                  <a:pt x="1999136" y="2074619"/>
                  <a:pt x="1999460" y="2074295"/>
                  <a:pt x="1999864" y="2074295"/>
                </a:cubicBezTo>
                <a:close/>
                <a:moveTo>
                  <a:pt x="2922458" y="2073205"/>
                </a:moveTo>
                <a:cubicBezTo>
                  <a:pt x="2923186" y="2073205"/>
                  <a:pt x="2923910" y="2073933"/>
                  <a:pt x="2923910" y="2074657"/>
                </a:cubicBezTo>
                <a:cubicBezTo>
                  <a:pt x="2923910" y="2075385"/>
                  <a:pt x="2922458" y="2076110"/>
                  <a:pt x="2922458" y="2076110"/>
                </a:cubicBezTo>
                <a:cubicBezTo>
                  <a:pt x="2921734" y="2076110"/>
                  <a:pt x="2921006" y="2075385"/>
                  <a:pt x="2921006" y="2074657"/>
                </a:cubicBezTo>
                <a:cubicBezTo>
                  <a:pt x="2921006" y="2073933"/>
                  <a:pt x="2921734" y="2073205"/>
                  <a:pt x="2922458" y="2073205"/>
                </a:cubicBezTo>
                <a:close/>
                <a:moveTo>
                  <a:pt x="3076406" y="2072843"/>
                </a:moveTo>
                <a:cubicBezTo>
                  <a:pt x="3077496" y="2072843"/>
                  <a:pt x="3078582" y="2073933"/>
                  <a:pt x="3078582" y="2075023"/>
                </a:cubicBezTo>
                <a:cubicBezTo>
                  <a:pt x="3078582" y="2076110"/>
                  <a:pt x="3076406" y="2077200"/>
                  <a:pt x="3076406" y="2077200"/>
                </a:cubicBezTo>
                <a:cubicBezTo>
                  <a:pt x="3075315" y="2077200"/>
                  <a:pt x="3074225" y="2076110"/>
                  <a:pt x="3074225" y="2075023"/>
                </a:cubicBezTo>
                <a:cubicBezTo>
                  <a:pt x="3074225" y="2073933"/>
                  <a:pt x="3075315" y="2072843"/>
                  <a:pt x="3076406" y="2072843"/>
                </a:cubicBezTo>
                <a:close/>
                <a:moveTo>
                  <a:pt x="3230353" y="2071753"/>
                </a:moveTo>
                <a:cubicBezTo>
                  <a:pt x="3232167" y="2071753"/>
                  <a:pt x="3233620" y="2073205"/>
                  <a:pt x="3233620" y="2075019"/>
                </a:cubicBezTo>
                <a:cubicBezTo>
                  <a:pt x="3233620" y="2076834"/>
                  <a:pt x="3232167" y="2078290"/>
                  <a:pt x="3230353" y="2078290"/>
                </a:cubicBezTo>
                <a:cubicBezTo>
                  <a:pt x="3228538" y="2078290"/>
                  <a:pt x="3227086" y="2076834"/>
                  <a:pt x="3227086" y="2075019"/>
                </a:cubicBezTo>
                <a:cubicBezTo>
                  <a:pt x="3227086" y="2073205"/>
                  <a:pt x="3228538" y="2071753"/>
                  <a:pt x="3230353" y="2071753"/>
                </a:cubicBezTo>
                <a:close/>
                <a:moveTo>
                  <a:pt x="3383934" y="2070662"/>
                </a:moveTo>
                <a:cubicBezTo>
                  <a:pt x="3386477" y="2070662"/>
                  <a:pt x="3388291" y="2072477"/>
                  <a:pt x="3388291" y="2075019"/>
                </a:cubicBezTo>
                <a:cubicBezTo>
                  <a:pt x="3388291" y="2077562"/>
                  <a:pt x="3386115" y="2079376"/>
                  <a:pt x="3383934" y="2079376"/>
                </a:cubicBezTo>
                <a:cubicBezTo>
                  <a:pt x="3381392" y="2079376"/>
                  <a:pt x="3379577" y="2077562"/>
                  <a:pt x="3379577" y="2075019"/>
                </a:cubicBezTo>
                <a:cubicBezTo>
                  <a:pt x="3379577" y="2072477"/>
                  <a:pt x="3381392" y="2070662"/>
                  <a:pt x="3383934" y="2070662"/>
                </a:cubicBezTo>
                <a:close/>
                <a:moveTo>
                  <a:pt x="3537886" y="2069210"/>
                </a:moveTo>
                <a:cubicBezTo>
                  <a:pt x="3541152" y="2069210"/>
                  <a:pt x="3543695" y="2071753"/>
                  <a:pt x="3543695" y="2075019"/>
                </a:cubicBezTo>
                <a:cubicBezTo>
                  <a:pt x="3543695" y="2078286"/>
                  <a:pt x="3541152" y="2080829"/>
                  <a:pt x="3537886" y="2080829"/>
                </a:cubicBezTo>
                <a:cubicBezTo>
                  <a:pt x="3534619" y="2080829"/>
                  <a:pt x="3532076" y="2078286"/>
                  <a:pt x="3532076" y="2075019"/>
                </a:cubicBezTo>
                <a:cubicBezTo>
                  <a:pt x="3532076" y="2071753"/>
                  <a:pt x="3534619" y="2069210"/>
                  <a:pt x="3537886" y="2069210"/>
                </a:cubicBezTo>
                <a:close/>
                <a:moveTo>
                  <a:pt x="3691467" y="2067758"/>
                </a:moveTo>
                <a:cubicBezTo>
                  <a:pt x="3695462" y="2067758"/>
                  <a:pt x="3698728" y="2071025"/>
                  <a:pt x="3698728" y="2075019"/>
                </a:cubicBezTo>
                <a:cubicBezTo>
                  <a:pt x="3698728" y="2079014"/>
                  <a:pt x="3695462" y="2082281"/>
                  <a:pt x="3691467" y="2082281"/>
                </a:cubicBezTo>
                <a:cubicBezTo>
                  <a:pt x="3687472" y="2082281"/>
                  <a:pt x="3684205" y="2079014"/>
                  <a:pt x="3684205" y="2075019"/>
                </a:cubicBezTo>
                <a:cubicBezTo>
                  <a:pt x="3684205" y="2071025"/>
                  <a:pt x="3687472" y="2067758"/>
                  <a:pt x="3691467" y="2067758"/>
                </a:cubicBezTo>
                <a:close/>
                <a:moveTo>
                  <a:pt x="3845414" y="2065943"/>
                </a:moveTo>
                <a:cubicBezTo>
                  <a:pt x="3850500" y="2065943"/>
                  <a:pt x="3854494" y="2069938"/>
                  <a:pt x="3854494" y="2075019"/>
                </a:cubicBezTo>
                <a:cubicBezTo>
                  <a:pt x="3854494" y="2080104"/>
                  <a:pt x="3850500" y="2084099"/>
                  <a:pt x="3845414" y="2084099"/>
                </a:cubicBezTo>
                <a:cubicBezTo>
                  <a:pt x="3840333" y="2084099"/>
                  <a:pt x="3836338" y="2080104"/>
                  <a:pt x="3836338" y="2075019"/>
                </a:cubicBezTo>
                <a:cubicBezTo>
                  <a:pt x="3836338" y="2069938"/>
                  <a:pt x="3840333" y="2065943"/>
                  <a:pt x="3845414" y="2065943"/>
                </a:cubicBezTo>
                <a:close/>
                <a:moveTo>
                  <a:pt x="3999000" y="2064853"/>
                </a:moveTo>
                <a:cubicBezTo>
                  <a:pt x="4004447" y="2064853"/>
                  <a:pt x="4009166" y="2069572"/>
                  <a:pt x="4009166" y="2075019"/>
                </a:cubicBezTo>
                <a:cubicBezTo>
                  <a:pt x="4009166" y="2080467"/>
                  <a:pt x="4004809" y="2085186"/>
                  <a:pt x="3999000" y="2085186"/>
                </a:cubicBezTo>
                <a:cubicBezTo>
                  <a:pt x="3993552" y="2085186"/>
                  <a:pt x="3988833" y="2080467"/>
                  <a:pt x="3988833" y="2075019"/>
                </a:cubicBezTo>
                <a:cubicBezTo>
                  <a:pt x="3988833" y="2069572"/>
                  <a:pt x="3993552" y="2064853"/>
                  <a:pt x="3999000" y="2064853"/>
                </a:cubicBezTo>
                <a:close/>
                <a:moveTo>
                  <a:pt x="4152947" y="2063038"/>
                </a:moveTo>
                <a:cubicBezTo>
                  <a:pt x="4159484" y="2063038"/>
                  <a:pt x="4164932" y="2068486"/>
                  <a:pt x="4164932" y="2075019"/>
                </a:cubicBezTo>
                <a:cubicBezTo>
                  <a:pt x="4164932" y="2081557"/>
                  <a:pt x="4159484" y="2087000"/>
                  <a:pt x="4152947" y="2087000"/>
                </a:cubicBezTo>
                <a:cubicBezTo>
                  <a:pt x="4146414" y="2087000"/>
                  <a:pt x="4140966" y="2081557"/>
                  <a:pt x="4140966" y="2075019"/>
                </a:cubicBezTo>
                <a:cubicBezTo>
                  <a:pt x="4140966" y="2068486"/>
                  <a:pt x="4146414" y="2063038"/>
                  <a:pt x="4152947" y="2063038"/>
                </a:cubicBezTo>
                <a:close/>
                <a:moveTo>
                  <a:pt x="4306528" y="2061224"/>
                </a:moveTo>
                <a:cubicBezTo>
                  <a:pt x="4314156" y="2061224"/>
                  <a:pt x="4320328" y="2067396"/>
                  <a:pt x="4320328" y="2075023"/>
                </a:cubicBezTo>
                <a:cubicBezTo>
                  <a:pt x="4320328" y="2082647"/>
                  <a:pt x="4314156" y="2088818"/>
                  <a:pt x="4306528" y="2088818"/>
                </a:cubicBezTo>
                <a:cubicBezTo>
                  <a:pt x="4298904" y="2088818"/>
                  <a:pt x="4292733" y="2082647"/>
                  <a:pt x="4292733" y="2075023"/>
                </a:cubicBezTo>
                <a:cubicBezTo>
                  <a:pt x="4292733" y="2067396"/>
                  <a:pt x="4298904" y="2061224"/>
                  <a:pt x="4306528" y="2061224"/>
                </a:cubicBezTo>
                <a:close/>
                <a:moveTo>
                  <a:pt x="4460476" y="2059772"/>
                </a:moveTo>
                <a:cubicBezTo>
                  <a:pt x="4468900" y="2059772"/>
                  <a:pt x="4475728" y="2066599"/>
                  <a:pt x="4475728" y="2075023"/>
                </a:cubicBezTo>
                <a:cubicBezTo>
                  <a:pt x="4475728" y="2083444"/>
                  <a:pt x="4468900" y="2090271"/>
                  <a:pt x="4460476" y="2090271"/>
                </a:cubicBezTo>
                <a:cubicBezTo>
                  <a:pt x="4452056" y="2090271"/>
                  <a:pt x="4445228" y="2083444"/>
                  <a:pt x="4445228" y="2075023"/>
                </a:cubicBezTo>
                <a:cubicBezTo>
                  <a:pt x="4445228" y="2066599"/>
                  <a:pt x="4452056" y="2059772"/>
                  <a:pt x="4460476" y="2059772"/>
                </a:cubicBezTo>
                <a:close/>
                <a:moveTo>
                  <a:pt x="4614065" y="2057957"/>
                </a:moveTo>
                <a:cubicBezTo>
                  <a:pt x="4623503" y="2057957"/>
                  <a:pt x="4631131" y="2065581"/>
                  <a:pt x="4631131" y="2075023"/>
                </a:cubicBezTo>
                <a:cubicBezTo>
                  <a:pt x="4631131" y="2084461"/>
                  <a:pt x="4623503" y="2092085"/>
                  <a:pt x="4614065" y="2092085"/>
                </a:cubicBezTo>
                <a:cubicBezTo>
                  <a:pt x="4604623" y="2092085"/>
                  <a:pt x="4596999" y="2084461"/>
                  <a:pt x="4596999" y="2075023"/>
                </a:cubicBezTo>
                <a:cubicBezTo>
                  <a:pt x="4596999" y="2065581"/>
                  <a:pt x="4604623" y="2057957"/>
                  <a:pt x="4614065" y="2057957"/>
                </a:cubicBezTo>
                <a:close/>
                <a:moveTo>
                  <a:pt x="4768008" y="2055777"/>
                </a:moveTo>
                <a:cubicBezTo>
                  <a:pt x="4778640" y="2055777"/>
                  <a:pt x="4787255" y="2064392"/>
                  <a:pt x="4787255" y="2075019"/>
                </a:cubicBezTo>
                <a:cubicBezTo>
                  <a:pt x="4787255" y="2085647"/>
                  <a:pt x="4778640" y="2094266"/>
                  <a:pt x="4768008" y="2094266"/>
                </a:cubicBezTo>
                <a:cubicBezTo>
                  <a:pt x="4757381" y="2094266"/>
                  <a:pt x="4748766" y="2085647"/>
                  <a:pt x="4748766" y="2075019"/>
                </a:cubicBezTo>
                <a:cubicBezTo>
                  <a:pt x="4748766" y="2064392"/>
                  <a:pt x="4757381" y="2055777"/>
                  <a:pt x="4768008" y="2055777"/>
                </a:cubicBezTo>
                <a:close/>
                <a:moveTo>
                  <a:pt x="4921594" y="2053600"/>
                </a:moveTo>
                <a:cubicBezTo>
                  <a:pt x="4933574" y="2053600"/>
                  <a:pt x="4943013" y="2063038"/>
                  <a:pt x="4943013" y="2075023"/>
                </a:cubicBezTo>
                <a:cubicBezTo>
                  <a:pt x="4943013" y="2087004"/>
                  <a:pt x="4933212" y="2096446"/>
                  <a:pt x="4921594" y="2096446"/>
                </a:cubicBezTo>
                <a:cubicBezTo>
                  <a:pt x="4909613" y="2096446"/>
                  <a:pt x="4900171" y="2087004"/>
                  <a:pt x="4900171" y="2075023"/>
                </a:cubicBezTo>
                <a:cubicBezTo>
                  <a:pt x="4900171" y="2063038"/>
                  <a:pt x="4909613" y="2053600"/>
                  <a:pt x="4921594" y="2053600"/>
                </a:cubicBezTo>
                <a:close/>
                <a:moveTo>
                  <a:pt x="5075545" y="2052148"/>
                </a:moveTo>
                <a:cubicBezTo>
                  <a:pt x="5088250" y="2052148"/>
                  <a:pt x="5098416" y="2062314"/>
                  <a:pt x="5098416" y="2075023"/>
                </a:cubicBezTo>
                <a:cubicBezTo>
                  <a:pt x="5098416" y="2087728"/>
                  <a:pt x="5088250" y="2097895"/>
                  <a:pt x="5075545" y="2097895"/>
                </a:cubicBezTo>
                <a:cubicBezTo>
                  <a:pt x="5062836" y="2097895"/>
                  <a:pt x="5052670" y="2087728"/>
                  <a:pt x="5052670" y="2075023"/>
                </a:cubicBezTo>
                <a:cubicBezTo>
                  <a:pt x="5052670" y="2062314"/>
                  <a:pt x="5062836" y="2052148"/>
                  <a:pt x="5075545" y="2052148"/>
                </a:cubicBezTo>
                <a:close/>
                <a:moveTo>
                  <a:pt x="5229126" y="2049968"/>
                </a:moveTo>
                <a:cubicBezTo>
                  <a:pt x="5242926" y="2049968"/>
                  <a:pt x="5254182" y="2061224"/>
                  <a:pt x="5254182" y="2075019"/>
                </a:cubicBezTo>
                <a:cubicBezTo>
                  <a:pt x="5254182" y="2088818"/>
                  <a:pt x="5242926" y="2100075"/>
                  <a:pt x="5229126" y="2100075"/>
                </a:cubicBezTo>
                <a:cubicBezTo>
                  <a:pt x="5215331" y="2100075"/>
                  <a:pt x="5204074" y="2088818"/>
                  <a:pt x="5204074" y="2075019"/>
                </a:cubicBezTo>
                <a:cubicBezTo>
                  <a:pt x="5204074" y="2061224"/>
                  <a:pt x="5215331" y="2049968"/>
                  <a:pt x="5229126" y="2049968"/>
                </a:cubicBezTo>
                <a:close/>
                <a:moveTo>
                  <a:pt x="5383074" y="2047791"/>
                </a:moveTo>
                <a:cubicBezTo>
                  <a:pt x="5397960" y="2047791"/>
                  <a:pt x="5410306" y="2060138"/>
                  <a:pt x="5410306" y="2075023"/>
                </a:cubicBezTo>
                <a:cubicBezTo>
                  <a:pt x="5410306" y="2089909"/>
                  <a:pt x="5398322" y="2102256"/>
                  <a:pt x="5383074" y="2102256"/>
                </a:cubicBezTo>
                <a:cubicBezTo>
                  <a:pt x="5368184" y="2102256"/>
                  <a:pt x="5355842" y="2089909"/>
                  <a:pt x="5355842" y="2075023"/>
                </a:cubicBezTo>
                <a:cubicBezTo>
                  <a:pt x="5355842" y="2060138"/>
                  <a:pt x="5368184" y="2047791"/>
                  <a:pt x="5383074" y="2047791"/>
                </a:cubicBezTo>
                <a:close/>
                <a:moveTo>
                  <a:pt x="5537018" y="2045248"/>
                </a:moveTo>
                <a:cubicBezTo>
                  <a:pt x="5553462" y="2045248"/>
                  <a:pt x="5566792" y="2058579"/>
                  <a:pt x="5566792" y="2075023"/>
                </a:cubicBezTo>
                <a:cubicBezTo>
                  <a:pt x="5566792" y="2091464"/>
                  <a:pt x="5553462" y="2104794"/>
                  <a:pt x="5537018" y="2104794"/>
                </a:cubicBezTo>
                <a:cubicBezTo>
                  <a:pt x="5520576" y="2104794"/>
                  <a:pt x="5507246" y="2091464"/>
                  <a:pt x="5507246" y="2075023"/>
                </a:cubicBezTo>
                <a:cubicBezTo>
                  <a:pt x="5507246" y="2058579"/>
                  <a:pt x="5520576" y="2045248"/>
                  <a:pt x="5537018" y="2045248"/>
                </a:cubicBezTo>
                <a:close/>
                <a:moveTo>
                  <a:pt x="5690606" y="2043068"/>
                </a:moveTo>
                <a:cubicBezTo>
                  <a:pt x="5708396" y="2043068"/>
                  <a:pt x="5722558" y="2057229"/>
                  <a:pt x="5722558" y="2075019"/>
                </a:cubicBezTo>
                <a:cubicBezTo>
                  <a:pt x="5722558" y="2092810"/>
                  <a:pt x="5708396" y="2106971"/>
                  <a:pt x="5690606" y="2106971"/>
                </a:cubicBezTo>
                <a:cubicBezTo>
                  <a:pt x="5672816" y="2106971"/>
                  <a:pt x="5658655" y="2092810"/>
                  <a:pt x="5658655" y="2075019"/>
                </a:cubicBezTo>
                <a:cubicBezTo>
                  <a:pt x="5658655" y="2057229"/>
                  <a:pt x="5672816" y="2043068"/>
                  <a:pt x="5690606" y="2043068"/>
                </a:cubicBezTo>
                <a:close/>
                <a:moveTo>
                  <a:pt x="5844554" y="2041254"/>
                </a:moveTo>
                <a:cubicBezTo>
                  <a:pt x="5863202" y="2041254"/>
                  <a:pt x="5878320" y="2056372"/>
                  <a:pt x="5878320" y="2075019"/>
                </a:cubicBezTo>
                <a:cubicBezTo>
                  <a:pt x="5878320" y="2093671"/>
                  <a:pt x="5863202" y="2108789"/>
                  <a:pt x="5844554" y="2108789"/>
                </a:cubicBezTo>
                <a:cubicBezTo>
                  <a:pt x="5825906" y="2108789"/>
                  <a:pt x="5810788" y="2093671"/>
                  <a:pt x="5810788" y="2075019"/>
                </a:cubicBezTo>
                <a:cubicBezTo>
                  <a:pt x="5810788" y="2056372"/>
                  <a:pt x="5825906" y="2041254"/>
                  <a:pt x="5844554" y="2041254"/>
                </a:cubicBezTo>
                <a:close/>
                <a:moveTo>
                  <a:pt x="5998136" y="2038711"/>
                </a:moveTo>
                <a:cubicBezTo>
                  <a:pt x="6018106" y="2038711"/>
                  <a:pt x="6034444" y="2055049"/>
                  <a:pt x="6034444" y="2075019"/>
                </a:cubicBezTo>
                <a:cubicBezTo>
                  <a:pt x="6034444" y="2094990"/>
                  <a:pt x="6018106" y="2111328"/>
                  <a:pt x="5998136" y="2111328"/>
                </a:cubicBezTo>
                <a:cubicBezTo>
                  <a:pt x="5978165" y="2111328"/>
                  <a:pt x="5961827" y="2094990"/>
                  <a:pt x="5961827" y="2075019"/>
                </a:cubicBezTo>
                <a:cubicBezTo>
                  <a:pt x="5961827" y="2055049"/>
                  <a:pt x="5978165" y="2038711"/>
                  <a:pt x="5998136" y="2038711"/>
                </a:cubicBezTo>
                <a:close/>
                <a:moveTo>
                  <a:pt x="6152083" y="2036172"/>
                </a:moveTo>
                <a:cubicBezTo>
                  <a:pt x="6173506" y="2036172"/>
                  <a:pt x="6190934" y="2053600"/>
                  <a:pt x="6190934" y="2075023"/>
                </a:cubicBezTo>
                <a:cubicBezTo>
                  <a:pt x="6190934" y="2096442"/>
                  <a:pt x="6173506" y="2113870"/>
                  <a:pt x="6152083" y="2113870"/>
                </a:cubicBezTo>
                <a:cubicBezTo>
                  <a:pt x="6130664" y="2113870"/>
                  <a:pt x="6113236" y="2096442"/>
                  <a:pt x="6113236" y="2075023"/>
                </a:cubicBezTo>
                <a:cubicBezTo>
                  <a:pt x="6113236" y="2053600"/>
                  <a:pt x="6130664" y="2036172"/>
                  <a:pt x="6152083" y="2036172"/>
                </a:cubicBezTo>
                <a:close/>
                <a:moveTo>
                  <a:pt x="6305668" y="2033992"/>
                </a:moveTo>
                <a:cubicBezTo>
                  <a:pt x="6328543" y="2033992"/>
                  <a:pt x="6346700" y="2052148"/>
                  <a:pt x="6346700" y="2075019"/>
                </a:cubicBezTo>
                <a:cubicBezTo>
                  <a:pt x="6346700" y="2097895"/>
                  <a:pt x="6328181" y="2116047"/>
                  <a:pt x="6305668" y="2116047"/>
                </a:cubicBezTo>
                <a:cubicBezTo>
                  <a:pt x="6282796" y="2116047"/>
                  <a:pt x="6264640" y="2097895"/>
                  <a:pt x="6264640" y="2075019"/>
                </a:cubicBezTo>
                <a:cubicBezTo>
                  <a:pt x="6264640" y="2052148"/>
                  <a:pt x="6282796" y="2033992"/>
                  <a:pt x="6305668" y="2033992"/>
                </a:cubicBezTo>
                <a:close/>
                <a:moveTo>
                  <a:pt x="6459616" y="2031449"/>
                </a:moveTo>
                <a:cubicBezTo>
                  <a:pt x="6483577" y="2031449"/>
                  <a:pt x="6503186" y="2051058"/>
                  <a:pt x="6503186" y="2075019"/>
                </a:cubicBezTo>
                <a:cubicBezTo>
                  <a:pt x="6503186" y="2098985"/>
                  <a:pt x="6483577" y="2118590"/>
                  <a:pt x="6459616" y="2118590"/>
                </a:cubicBezTo>
                <a:cubicBezTo>
                  <a:pt x="6435650" y="2118590"/>
                  <a:pt x="6416046" y="2098985"/>
                  <a:pt x="6416046" y="2075019"/>
                </a:cubicBezTo>
                <a:cubicBezTo>
                  <a:pt x="6416046" y="2051058"/>
                  <a:pt x="6435650" y="2031449"/>
                  <a:pt x="6459616" y="2031449"/>
                </a:cubicBezTo>
                <a:close/>
                <a:moveTo>
                  <a:pt x="6613200" y="2028911"/>
                </a:moveTo>
                <a:cubicBezTo>
                  <a:pt x="6638668" y="2028911"/>
                  <a:pt x="6659313" y="2049556"/>
                  <a:pt x="6659313" y="2075023"/>
                </a:cubicBezTo>
                <a:cubicBezTo>
                  <a:pt x="6659313" y="2100490"/>
                  <a:pt x="6638668" y="2121136"/>
                  <a:pt x="6613200" y="2121136"/>
                </a:cubicBezTo>
                <a:cubicBezTo>
                  <a:pt x="6587734" y="2121136"/>
                  <a:pt x="6567088" y="2100490"/>
                  <a:pt x="6567088" y="2075023"/>
                </a:cubicBezTo>
                <a:cubicBezTo>
                  <a:pt x="6567088" y="2049556"/>
                  <a:pt x="6587734" y="2028911"/>
                  <a:pt x="6613200" y="2028911"/>
                </a:cubicBezTo>
                <a:close/>
                <a:moveTo>
                  <a:pt x="2614925" y="1921072"/>
                </a:moveTo>
                <a:cubicBezTo>
                  <a:pt x="2615288" y="1921072"/>
                  <a:pt x="2615288" y="1921072"/>
                  <a:pt x="2615288" y="1921434"/>
                </a:cubicBezTo>
                <a:cubicBezTo>
                  <a:pt x="2615288" y="1921800"/>
                  <a:pt x="2614925" y="1921800"/>
                  <a:pt x="2614925" y="1921800"/>
                </a:cubicBezTo>
                <a:cubicBezTo>
                  <a:pt x="2614563" y="1921800"/>
                  <a:pt x="2614563" y="1921800"/>
                  <a:pt x="2614563" y="1921434"/>
                </a:cubicBezTo>
                <a:cubicBezTo>
                  <a:pt x="2614563" y="1921072"/>
                  <a:pt x="2614563" y="1921072"/>
                  <a:pt x="2614925" y="1921072"/>
                </a:cubicBezTo>
                <a:close/>
                <a:moveTo>
                  <a:pt x="2153808" y="1921072"/>
                </a:moveTo>
                <a:cubicBezTo>
                  <a:pt x="2154170" y="1921072"/>
                  <a:pt x="2154170" y="1921072"/>
                  <a:pt x="2154170" y="1921434"/>
                </a:cubicBezTo>
                <a:cubicBezTo>
                  <a:pt x="2154170" y="1921800"/>
                  <a:pt x="2153808" y="1921800"/>
                  <a:pt x="2153808" y="1921800"/>
                </a:cubicBezTo>
                <a:cubicBezTo>
                  <a:pt x="2153445" y="1921800"/>
                  <a:pt x="2153445" y="1921800"/>
                  <a:pt x="2153445" y="1921434"/>
                </a:cubicBezTo>
                <a:cubicBezTo>
                  <a:pt x="2153445" y="1921072"/>
                  <a:pt x="2153445" y="1921072"/>
                  <a:pt x="2153808" y="1921072"/>
                </a:cubicBezTo>
                <a:close/>
                <a:moveTo>
                  <a:pt x="1999860" y="1921072"/>
                </a:moveTo>
                <a:cubicBezTo>
                  <a:pt x="2000222" y="1921072"/>
                  <a:pt x="2000222" y="1921072"/>
                  <a:pt x="2000222" y="1921434"/>
                </a:cubicBezTo>
                <a:cubicBezTo>
                  <a:pt x="2000222" y="1921800"/>
                  <a:pt x="1999860" y="1921800"/>
                  <a:pt x="1999860" y="1921800"/>
                </a:cubicBezTo>
                <a:cubicBezTo>
                  <a:pt x="1999498" y="1921800"/>
                  <a:pt x="1999498" y="1921800"/>
                  <a:pt x="1999498" y="1921434"/>
                </a:cubicBezTo>
                <a:cubicBezTo>
                  <a:pt x="1999498" y="1921072"/>
                  <a:pt x="1999498" y="1921072"/>
                  <a:pt x="1999860" y="1921072"/>
                </a:cubicBezTo>
                <a:close/>
                <a:moveTo>
                  <a:pt x="1846279" y="1920710"/>
                </a:moveTo>
                <a:cubicBezTo>
                  <a:pt x="1846641" y="1920710"/>
                  <a:pt x="1847003" y="1921072"/>
                  <a:pt x="1847003" y="1921434"/>
                </a:cubicBezTo>
                <a:cubicBezTo>
                  <a:pt x="1847003" y="1921800"/>
                  <a:pt x="1846279" y="1922162"/>
                  <a:pt x="1846279" y="1922162"/>
                </a:cubicBezTo>
                <a:cubicBezTo>
                  <a:pt x="1845913" y="1922162"/>
                  <a:pt x="1845551" y="1921800"/>
                  <a:pt x="1845551" y="1921434"/>
                </a:cubicBezTo>
                <a:cubicBezTo>
                  <a:pt x="1845551" y="1921072"/>
                  <a:pt x="1845913" y="1920710"/>
                  <a:pt x="1846279" y="1920710"/>
                </a:cubicBezTo>
                <a:close/>
                <a:moveTo>
                  <a:pt x="2768873" y="1919620"/>
                </a:moveTo>
                <a:cubicBezTo>
                  <a:pt x="2769597" y="1919620"/>
                  <a:pt x="2770325" y="1920348"/>
                  <a:pt x="2770325" y="1921072"/>
                </a:cubicBezTo>
                <a:cubicBezTo>
                  <a:pt x="2770325" y="1921800"/>
                  <a:pt x="2768873" y="1922524"/>
                  <a:pt x="2768873" y="1922524"/>
                </a:cubicBezTo>
                <a:cubicBezTo>
                  <a:pt x="2768145" y="1922524"/>
                  <a:pt x="2767421" y="1921800"/>
                  <a:pt x="2767421" y="1921072"/>
                </a:cubicBezTo>
                <a:cubicBezTo>
                  <a:pt x="2767421" y="1920348"/>
                  <a:pt x="2768145" y="1919620"/>
                  <a:pt x="2768873" y="1919620"/>
                </a:cubicBezTo>
                <a:close/>
                <a:moveTo>
                  <a:pt x="2922454" y="1918895"/>
                </a:moveTo>
                <a:cubicBezTo>
                  <a:pt x="2923544" y="1918895"/>
                  <a:pt x="2924635" y="1919986"/>
                  <a:pt x="2924635" y="1921076"/>
                </a:cubicBezTo>
                <a:cubicBezTo>
                  <a:pt x="2924635" y="1922162"/>
                  <a:pt x="2922454" y="1923252"/>
                  <a:pt x="2922454" y="1923252"/>
                </a:cubicBezTo>
                <a:cubicBezTo>
                  <a:pt x="2921368" y="1923252"/>
                  <a:pt x="2920278" y="1922162"/>
                  <a:pt x="2920278" y="1921076"/>
                </a:cubicBezTo>
                <a:cubicBezTo>
                  <a:pt x="2920278" y="1919986"/>
                  <a:pt x="2921368" y="1918895"/>
                  <a:pt x="2922454" y="1918895"/>
                </a:cubicBezTo>
                <a:close/>
                <a:moveTo>
                  <a:pt x="3076406" y="1918167"/>
                </a:moveTo>
                <a:cubicBezTo>
                  <a:pt x="3078220" y="1918167"/>
                  <a:pt x="3079672" y="1919620"/>
                  <a:pt x="3079672" y="1921434"/>
                </a:cubicBezTo>
                <a:cubicBezTo>
                  <a:pt x="3079672" y="1923249"/>
                  <a:pt x="3078220" y="1924701"/>
                  <a:pt x="3076406" y="1924701"/>
                </a:cubicBezTo>
                <a:cubicBezTo>
                  <a:pt x="3074587" y="1924701"/>
                  <a:pt x="3073135" y="1923249"/>
                  <a:pt x="3073135" y="1921434"/>
                </a:cubicBezTo>
                <a:cubicBezTo>
                  <a:pt x="3073135" y="1919620"/>
                  <a:pt x="3074587" y="1918167"/>
                  <a:pt x="3076406" y="1918167"/>
                </a:cubicBezTo>
                <a:close/>
                <a:moveTo>
                  <a:pt x="3230353" y="1916715"/>
                </a:moveTo>
                <a:cubicBezTo>
                  <a:pt x="3232895" y="1916715"/>
                  <a:pt x="3234710" y="1918529"/>
                  <a:pt x="3234710" y="1921072"/>
                </a:cubicBezTo>
                <a:cubicBezTo>
                  <a:pt x="3234710" y="1923615"/>
                  <a:pt x="3232530" y="1925429"/>
                  <a:pt x="3230353" y="1925429"/>
                </a:cubicBezTo>
                <a:cubicBezTo>
                  <a:pt x="3227810" y="1925429"/>
                  <a:pt x="3225996" y="1923615"/>
                  <a:pt x="3225996" y="1921072"/>
                </a:cubicBezTo>
                <a:cubicBezTo>
                  <a:pt x="3225996" y="1918529"/>
                  <a:pt x="3227810" y="1916715"/>
                  <a:pt x="3230353" y="1916715"/>
                </a:cubicBezTo>
                <a:close/>
                <a:moveTo>
                  <a:pt x="3383938" y="1915625"/>
                </a:moveTo>
                <a:cubicBezTo>
                  <a:pt x="3387205" y="1915625"/>
                  <a:pt x="3389748" y="1918167"/>
                  <a:pt x="3389748" y="1921434"/>
                </a:cubicBezTo>
                <a:cubicBezTo>
                  <a:pt x="3389748" y="1924701"/>
                  <a:pt x="3387205" y="1927243"/>
                  <a:pt x="3383938" y="1927243"/>
                </a:cubicBezTo>
                <a:cubicBezTo>
                  <a:pt x="3380671" y="1927243"/>
                  <a:pt x="3378129" y="1924701"/>
                  <a:pt x="3378129" y="1921434"/>
                </a:cubicBezTo>
                <a:cubicBezTo>
                  <a:pt x="3378129" y="1918167"/>
                  <a:pt x="3380671" y="1915625"/>
                  <a:pt x="3383938" y="1915625"/>
                </a:cubicBezTo>
                <a:close/>
                <a:moveTo>
                  <a:pt x="3537882" y="1913810"/>
                </a:moveTo>
                <a:cubicBezTo>
                  <a:pt x="3541876" y="1913810"/>
                  <a:pt x="3545143" y="1917077"/>
                  <a:pt x="3545143" y="1921072"/>
                </a:cubicBezTo>
                <a:cubicBezTo>
                  <a:pt x="3545143" y="1925067"/>
                  <a:pt x="3541876" y="1928334"/>
                  <a:pt x="3537882" y="1928334"/>
                </a:cubicBezTo>
                <a:cubicBezTo>
                  <a:pt x="3533887" y="1928334"/>
                  <a:pt x="3530620" y="1925067"/>
                  <a:pt x="3530620" y="1921072"/>
                </a:cubicBezTo>
                <a:cubicBezTo>
                  <a:pt x="3530620" y="1917077"/>
                  <a:pt x="3533887" y="1913810"/>
                  <a:pt x="3537882" y="1913810"/>
                </a:cubicBezTo>
                <a:close/>
                <a:moveTo>
                  <a:pt x="3691467" y="1911996"/>
                </a:moveTo>
                <a:cubicBezTo>
                  <a:pt x="3696552" y="1911996"/>
                  <a:pt x="3700547" y="1915991"/>
                  <a:pt x="3700547" y="1921072"/>
                </a:cubicBezTo>
                <a:cubicBezTo>
                  <a:pt x="3700547" y="1926157"/>
                  <a:pt x="3696552" y="1930152"/>
                  <a:pt x="3691467" y="1930152"/>
                </a:cubicBezTo>
                <a:cubicBezTo>
                  <a:pt x="3686386" y="1930152"/>
                  <a:pt x="3682391" y="1926157"/>
                  <a:pt x="3682391" y="1921072"/>
                </a:cubicBezTo>
                <a:cubicBezTo>
                  <a:pt x="3682391" y="1915991"/>
                  <a:pt x="3686386" y="1911996"/>
                  <a:pt x="3691467" y="1911996"/>
                </a:cubicBezTo>
                <a:close/>
                <a:moveTo>
                  <a:pt x="3845414" y="1911268"/>
                </a:moveTo>
                <a:cubicBezTo>
                  <a:pt x="3850862" y="1911268"/>
                  <a:pt x="3855581" y="1915987"/>
                  <a:pt x="3855581" y="1921434"/>
                </a:cubicBezTo>
                <a:cubicBezTo>
                  <a:pt x="3855581" y="1926881"/>
                  <a:pt x="3851224" y="1931600"/>
                  <a:pt x="3845414" y="1931600"/>
                </a:cubicBezTo>
                <a:cubicBezTo>
                  <a:pt x="3839967" y="1931600"/>
                  <a:pt x="3835248" y="1926881"/>
                  <a:pt x="3835248" y="1921434"/>
                </a:cubicBezTo>
                <a:cubicBezTo>
                  <a:pt x="3835248" y="1915987"/>
                  <a:pt x="3839967" y="1911268"/>
                  <a:pt x="3845414" y="1911268"/>
                </a:cubicBezTo>
                <a:close/>
                <a:moveTo>
                  <a:pt x="3999000" y="1909091"/>
                </a:moveTo>
                <a:cubicBezTo>
                  <a:pt x="4005537" y="1909091"/>
                  <a:pt x="4010984" y="1914538"/>
                  <a:pt x="4010984" y="1921072"/>
                </a:cubicBezTo>
                <a:cubicBezTo>
                  <a:pt x="4010984" y="1927609"/>
                  <a:pt x="4005537" y="1933053"/>
                  <a:pt x="3999000" y="1933053"/>
                </a:cubicBezTo>
                <a:cubicBezTo>
                  <a:pt x="3992466" y="1933053"/>
                  <a:pt x="3987019" y="1927609"/>
                  <a:pt x="3987019" y="1921072"/>
                </a:cubicBezTo>
                <a:cubicBezTo>
                  <a:pt x="3987019" y="1914538"/>
                  <a:pt x="3992466" y="1909091"/>
                  <a:pt x="3999000" y="1909091"/>
                </a:cubicBezTo>
                <a:close/>
                <a:moveTo>
                  <a:pt x="4152951" y="1907277"/>
                </a:moveTo>
                <a:cubicBezTo>
                  <a:pt x="4160574" y="1907277"/>
                  <a:pt x="4166746" y="1913448"/>
                  <a:pt x="4166746" y="1921076"/>
                </a:cubicBezTo>
                <a:cubicBezTo>
                  <a:pt x="4166746" y="1928700"/>
                  <a:pt x="4160574" y="1934871"/>
                  <a:pt x="4152951" y="1934871"/>
                </a:cubicBezTo>
                <a:cubicBezTo>
                  <a:pt x="4145323" y="1934871"/>
                  <a:pt x="4139152" y="1928700"/>
                  <a:pt x="4139152" y="1921076"/>
                </a:cubicBezTo>
                <a:cubicBezTo>
                  <a:pt x="4139152" y="1913448"/>
                  <a:pt x="4145323" y="1907277"/>
                  <a:pt x="4152951" y="1907277"/>
                </a:cubicBezTo>
                <a:close/>
                <a:moveTo>
                  <a:pt x="4306528" y="1905824"/>
                </a:moveTo>
                <a:cubicBezTo>
                  <a:pt x="4314953" y="1905824"/>
                  <a:pt x="4321780" y="1912651"/>
                  <a:pt x="4321780" y="1921072"/>
                </a:cubicBezTo>
                <a:cubicBezTo>
                  <a:pt x="4321780" y="1929496"/>
                  <a:pt x="4314953" y="1936323"/>
                  <a:pt x="4306528" y="1936323"/>
                </a:cubicBezTo>
                <a:cubicBezTo>
                  <a:pt x="4298108" y="1936323"/>
                  <a:pt x="4291281" y="1929496"/>
                  <a:pt x="4291281" y="1921072"/>
                </a:cubicBezTo>
                <a:cubicBezTo>
                  <a:pt x="4291281" y="1912651"/>
                  <a:pt x="4298108" y="1905824"/>
                  <a:pt x="4306528" y="1905824"/>
                </a:cubicBezTo>
                <a:close/>
                <a:moveTo>
                  <a:pt x="4460480" y="1904006"/>
                </a:moveTo>
                <a:cubicBezTo>
                  <a:pt x="4469918" y="1904006"/>
                  <a:pt x="4477546" y="1911630"/>
                  <a:pt x="4477546" y="1921072"/>
                </a:cubicBezTo>
                <a:cubicBezTo>
                  <a:pt x="4477546" y="1930510"/>
                  <a:pt x="4469918" y="1938138"/>
                  <a:pt x="4460480" y="1938138"/>
                </a:cubicBezTo>
                <a:cubicBezTo>
                  <a:pt x="4451038" y="1938138"/>
                  <a:pt x="4443414" y="1930510"/>
                  <a:pt x="4443414" y="1921072"/>
                </a:cubicBezTo>
                <a:cubicBezTo>
                  <a:pt x="4443414" y="1911630"/>
                  <a:pt x="4451038" y="1904006"/>
                  <a:pt x="4460480" y="1904006"/>
                </a:cubicBezTo>
                <a:close/>
                <a:moveTo>
                  <a:pt x="4614061" y="1901830"/>
                </a:moveTo>
                <a:cubicBezTo>
                  <a:pt x="4624688" y="1901830"/>
                  <a:pt x="4633304" y="1910444"/>
                  <a:pt x="4633304" y="1921072"/>
                </a:cubicBezTo>
                <a:cubicBezTo>
                  <a:pt x="4633304" y="1931699"/>
                  <a:pt x="4624688" y="1940314"/>
                  <a:pt x="4614061" y="1940314"/>
                </a:cubicBezTo>
                <a:cubicBezTo>
                  <a:pt x="4603434" y="1940314"/>
                  <a:pt x="4594818" y="1931699"/>
                  <a:pt x="4594818" y="1921072"/>
                </a:cubicBezTo>
                <a:cubicBezTo>
                  <a:pt x="4594818" y="1910444"/>
                  <a:pt x="4603434" y="1901830"/>
                  <a:pt x="4614061" y="1901830"/>
                </a:cubicBezTo>
                <a:close/>
                <a:moveTo>
                  <a:pt x="4768012" y="1899649"/>
                </a:moveTo>
                <a:cubicBezTo>
                  <a:pt x="4779993" y="1899649"/>
                  <a:pt x="4789432" y="1909091"/>
                  <a:pt x="4789432" y="1921072"/>
                </a:cubicBezTo>
                <a:cubicBezTo>
                  <a:pt x="4789432" y="1933053"/>
                  <a:pt x="4779627" y="1942495"/>
                  <a:pt x="4768012" y="1942495"/>
                </a:cubicBezTo>
                <a:cubicBezTo>
                  <a:pt x="4756028" y="1942495"/>
                  <a:pt x="4746590" y="1933053"/>
                  <a:pt x="4746590" y="1921072"/>
                </a:cubicBezTo>
                <a:cubicBezTo>
                  <a:pt x="4746590" y="1909091"/>
                  <a:pt x="4756028" y="1899649"/>
                  <a:pt x="4768012" y="1899649"/>
                </a:cubicBezTo>
                <a:close/>
                <a:moveTo>
                  <a:pt x="4921594" y="1898563"/>
                </a:moveTo>
                <a:cubicBezTo>
                  <a:pt x="4934302" y="1898563"/>
                  <a:pt x="4944469" y="1908729"/>
                  <a:pt x="4944469" y="1921438"/>
                </a:cubicBezTo>
                <a:cubicBezTo>
                  <a:pt x="4944469" y="1934143"/>
                  <a:pt x="4934302" y="1944309"/>
                  <a:pt x="4921594" y="1944309"/>
                </a:cubicBezTo>
                <a:cubicBezTo>
                  <a:pt x="4908885" y="1944309"/>
                  <a:pt x="4898718" y="1934143"/>
                  <a:pt x="4898718" y="1921438"/>
                </a:cubicBezTo>
                <a:cubicBezTo>
                  <a:pt x="4898718" y="1908729"/>
                  <a:pt x="4908885" y="1898563"/>
                  <a:pt x="4921594" y="1898563"/>
                </a:cubicBezTo>
                <a:close/>
                <a:moveTo>
                  <a:pt x="5075541" y="1896382"/>
                </a:moveTo>
                <a:cubicBezTo>
                  <a:pt x="5089340" y="1896382"/>
                  <a:pt x="5100597" y="1907639"/>
                  <a:pt x="5100597" y="1921434"/>
                </a:cubicBezTo>
                <a:cubicBezTo>
                  <a:pt x="5100597" y="1935233"/>
                  <a:pt x="5089340" y="1946490"/>
                  <a:pt x="5075541" y="1946490"/>
                </a:cubicBezTo>
                <a:cubicBezTo>
                  <a:pt x="5061746" y="1946490"/>
                  <a:pt x="5050490" y="1935233"/>
                  <a:pt x="5050490" y="1921434"/>
                </a:cubicBezTo>
                <a:cubicBezTo>
                  <a:pt x="5050490" y="1907639"/>
                  <a:pt x="5061746" y="1896382"/>
                  <a:pt x="5075541" y="1896382"/>
                </a:cubicBezTo>
                <a:close/>
                <a:moveTo>
                  <a:pt x="5229126" y="1894206"/>
                </a:moveTo>
                <a:cubicBezTo>
                  <a:pt x="5244012" y="1894206"/>
                  <a:pt x="5256358" y="1906552"/>
                  <a:pt x="5256358" y="1921438"/>
                </a:cubicBezTo>
                <a:cubicBezTo>
                  <a:pt x="5256358" y="1936323"/>
                  <a:pt x="5244374" y="1948670"/>
                  <a:pt x="5229126" y="1948670"/>
                </a:cubicBezTo>
                <a:cubicBezTo>
                  <a:pt x="5214237" y="1948670"/>
                  <a:pt x="5201894" y="1936323"/>
                  <a:pt x="5201894" y="1921438"/>
                </a:cubicBezTo>
                <a:cubicBezTo>
                  <a:pt x="5201894" y="1906552"/>
                  <a:pt x="5214237" y="1894206"/>
                  <a:pt x="5229126" y="1894206"/>
                </a:cubicBezTo>
                <a:close/>
                <a:moveTo>
                  <a:pt x="5383074" y="1891301"/>
                </a:moveTo>
                <a:cubicBezTo>
                  <a:pt x="5399518" y="1891301"/>
                  <a:pt x="5412848" y="1904631"/>
                  <a:pt x="5412848" y="1921072"/>
                </a:cubicBezTo>
                <a:cubicBezTo>
                  <a:pt x="5412848" y="1937517"/>
                  <a:pt x="5399518" y="1950847"/>
                  <a:pt x="5383074" y="1950847"/>
                </a:cubicBezTo>
                <a:cubicBezTo>
                  <a:pt x="5366633" y="1950847"/>
                  <a:pt x="5353303" y="1937517"/>
                  <a:pt x="5353303" y="1921072"/>
                </a:cubicBezTo>
                <a:cubicBezTo>
                  <a:pt x="5353303" y="1904631"/>
                  <a:pt x="5366633" y="1891301"/>
                  <a:pt x="5383074" y="1891301"/>
                </a:cubicBezTo>
                <a:close/>
                <a:moveTo>
                  <a:pt x="5536659" y="1889121"/>
                </a:moveTo>
                <a:cubicBezTo>
                  <a:pt x="5554450" y="1889121"/>
                  <a:pt x="5568610" y="1903282"/>
                  <a:pt x="5568610" y="1921072"/>
                </a:cubicBezTo>
                <a:cubicBezTo>
                  <a:pt x="5568610" y="1938862"/>
                  <a:pt x="5554450" y="1953023"/>
                  <a:pt x="5536659" y="1953023"/>
                </a:cubicBezTo>
                <a:cubicBezTo>
                  <a:pt x="5518865" y="1953023"/>
                  <a:pt x="5504708" y="1938862"/>
                  <a:pt x="5504708" y="1921072"/>
                </a:cubicBezTo>
                <a:cubicBezTo>
                  <a:pt x="5504708" y="1903282"/>
                  <a:pt x="5518865" y="1889121"/>
                  <a:pt x="5536659" y="1889121"/>
                </a:cubicBezTo>
                <a:close/>
                <a:moveTo>
                  <a:pt x="5690606" y="1887306"/>
                </a:moveTo>
                <a:cubicBezTo>
                  <a:pt x="5709258" y="1887306"/>
                  <a:pt x="5724376" y="1902424"/>
                  <a:pt x="5724376" y="1921072"/>
                </a:cubicBezTo>
                <a:cubicBezTo>
                  <a:pt x="5724376" y="1939724"/>
                  <a:pt x="5709258" y="1954842"/>
                  <a:pt x="5690606" y="1954842"/>
                </a:cubicBezTo>
                <a:cubicBezTo>
                  <a:pt x="5671958" y="1954842"/>
                  <a:pt x="5656840" y="1939724"/>
                  <a:pt x="5656840" y="1921072"/>
                </a:cubicBezTo>
                <a:cubicBezTo>
                  <a:pt x="5656840" y="1902424"/>
                  <a:pt x="5671958" y="1887306"/>
                  <a:pt x="5690606" y="1887306"/>
                </a:cubicBezTo>
                <a:close/>
                <a:moveTo>
                  <a:pt x="5844554" y="1884764"/>
                </a:moveTo>
                <a:cubicBezTo>
                  <a:pt x="5864524" y="1884764"/>
                  <a:pt x="5880862" y="1901101"/>
                  <a:pt x="5880862" y="1921072"/>
                </a:cubicBezTo>
                <a:cubicBezTo>
                  <a:pt x="5880862" y="1941043"/>
                  <a:pt x="5864524" y="1957380"/>
                  <a:pt x="5844554" y="1957380"/>
                </a:cubicBezTo>
                <a:cubicBezTo>
                  <a:pt x="5824584" y="1957380"/>
                  <a:pt x="5808246" y="1941043"/>
                  <a:pt x="5808246" y="1921072"/>
                </a:cubicBezTo>
                <a:cubicBezTo>
                  <a:pt x="5808246" y="1901101"/>
                  <a:pt x="5824584" y="1884764"/>
                  <a:pt x="5844554" y="1884764"/>
                </a:cubicBezTo>
                <a:close/>
                <a:moveTo>
                  <a:pt x="5998139" y="1882225"/>
                </a:moveTo>
                <a:cubicBezTo>
                  <a:pt x="6019562" y="1882225"/>
                  <a:pt x="6036990" y="1899653"/>
                  <a:pt x="6036990" y="1921076"/>
                </a:cubicBezTo>
                <a:cubicBezTo>
                  <a:pt x="6036990" y="1942495"/>
                  <a:pt x="6019562" y="1959923"/>
                  <a:pt x="5998139" y="1959923"/>
                </a:cubicBezTo>
                <a:cubicBezTo>
                  <a:pt x="5976716" y="1959923"/>
                  <a:pt x="5959288" y="1942495"/>
                  <a:pt x="5959288" y="1921076"/>
                </a:cubicBezTo>
                <a:cubicBezTo>
                  <a:pt x="5959288" y="1899653"/>
                  <a:pt x="5976716" y="1882225"/>
                  <a:pt x="5998139" y="1882225"/>
                </a:cubicBezTo>
                <a:close/>
                <a:moveTo>
                  <a:pt x="6152083" y="1880045"/>
                </a:moveTo>
                <a:cubicBezTo>
                  <a:pt x="6174958" y="1880045"/>
                  <a:pt x="6193114" y="1898200"/>
                  <a:pt x="6193114" y="1921072"/>
                </a:cubicBezTo>
                <a:cubicBezTo>
                  <a:pt x="6193114" y="1943947"/>
                  <a:pt x="6174596" y="1962103"/>
                  <a:pt x="6152083" y="1962103"/>
                </a:cubicBezTo>
                <a:cubicBezTo>
                  <a:pt x="6129212" y="1962103"/>
                  <a:pt x="6111056" y="1943947"/>
                  <a:pt x="6111056" y="1921072"/>
                </a:cubicBezTo>
                <a:cubicBezTo>
                  <a:pt x="6111056" y="1898200"/>
                  <a:pt x="6129212" y="1880045"/>
                  <a:pt x="6152083" y="1880045"/>
                </a:cubicBezTo>
                <a:close/>
                <a:moveTo>
                  <a:pt x="6305668" y="1877502"/>
                </a:moveTo>
                <a:cubicBezTo>
                  <a:pt x="6329630" y="1877502"/>
                  <a:pt x="6349238" y="1897110"/>
                  <a:pt x="6349238" y="1921072"/>
                </a:cubicBezTo>
                <a:cubicBezTo>
                  <a:pt x="6349238" y="1945037"/>
                  <a:pt x="6329630" y="1964642"/>
                  <a:pt x="6305668" y="1964642"/>
                </a:cubicBezTo>
                <a:cubicBezTo>
                  <a:pt x="6281702" y="1964642"/>
                  <a:pt x="6262098" y="1945037"/>
                  <a:pt x="6262098" y="1921072"/>
                </a:cubicBezTo>
                <a:cubicBezTo>
                  <a:pt x="6262098" y="1897110"/>
                  <a:pt x="6281702" y="1877502"/>
                  <a:pt x="6305668" y="1877502"/>
                </a:cubicBezTo>
                <a:close/>
                <a:moveTo>
                  <a:pt x="6459616" y="1874959"/>
                </a:moveTo>
                <a:cubicBezTo>
                  <a:pt x="6485033" y="1874959"/>
                  <a:pt x="6505728" y="1895654"/>
                  <a:pt x="6505728" y="1921072"/>
                </a:cubicBezTo>
                <a:cubicBezTo>
                  <a:pt x="6505728" y="1946486"/>
                  <a:pt x="6485033" y="1967184"/>
                  <a:pt x="6459616" y="1967184"/>
                </a:cubicBezTo>
                <a:cubicBezTo>
                  <a:pt x="6434198" y="1967184"/>
                  <a:pt x="6413503" y="1946486"/>
                  <a:pt x="6413503" y="1921072"/>
                </a:cubicBezTo>
                <a:cubicBezTo>
                  <a:pt x="6413503" y="1895654"/>
                  <a:pt x="6434198" y="1874959"/>
                  <a:pt x="6459616" y="1874959"/>
                </a:cubicBezTo>
                <a:close/>
                <a:moveTo>
                  <a:pt x="6613200" y="1872421"/>
                </a:moveTo>
                <a:cubicBezTo>
                  <a:pt x="6640071" y="1872421"/>
                  <a:pt x="6661856" y="1894206"/>
                  <a:pt x="6661856" y="1921076"/>
                </a:cubicBezTo>
                <a:cubicBezTo>
                  <a:pt x="6661856" y="1947942"/>
                  <a:pt x="6640071" y="1969727"/>
                  <a:pt x="6613200" y="1969727"/>
                </a:cubicBezTo>
                <a:cubicBezTo>
                  <a:pt x="6586334" y="1969727"/>
                  <a:pt x="6564550" y="1947942"/>
                  <a:pt x="6564550" y="1921076"/>
                </a:cubicBezTo>
                <a:cubicBezTo>
                  <a:pt x="6564550" y="1894206"/>
                  <a:pt x="6586334" y="1872421"/>
                  <a:pt x="6613200" y="1872421"/>
                </a:cubicBezTo>
                <a:close/>
                <a:moveTo>
                  <a:pt x="2461340" y="1767125"/>
                </a:moveTo>
                <a:cubicBezTo>
                  <a:pt x="2461702" y="1767125"/>
                  <a:pt x="2461702" y="1767125"/>
                  <a:pt x="2461702" y="1767487"/>
                </a:cubicBezTo>
                <a:cubicBezTo>
                  <a:pt x="2461702" y="1767853"/>
                  <a:pt x="2461340" y="1767853"/>
                  <a:pt x="2461340" y="1767853"/>
                </a:cubicBezTo>
                <a:cubicBezTo>
                  <a:pt x="2460978" y="1767853"/>
                  <a:pt x="2460978" y="1767853"/>
                  <a:pt x="2460978" y="1767487"/>
                </a:cubicBezTo>
                <a:cubicBezTo>
                  <a:pt x="2460978" y="1767125"/>
                  <a:pt x="2460978" y="1767125"/>
                  <a:pt x="2461340" y="1767125"/>
                </a:cubicBezTo>
                <a:close/>
                <a:moveTo>
                  <a:pt x="1999860" y="1767125"/>
                </a:moveTo>
                <a:cubicBezTo>
                  <a:pt x="2000222" y="1767125"/>
                  <a:pt x="2000222" y="1767125"/>
                  <a:pt x="2000222" y="1767487"/>
                </a:cubicBezTo>
                <a:cubicBezTo>
                  <a:pt x="2000222" y="1767853"/>
                  <a:pt x="1999860" y="1767853"/>
                  <a:pt x="1999860" y="1767853"/>
                </a:cubicBezTo>
                <a:cubicBezTo>
                  <a:pt x="1999498" y="1767853"/>
                  <a:pt x="1999498" y="1767853"/>
                  <a:pt x="1999498" y="1767487"/>
                </a:cubicBezTo>
                <a:cubicBezTo>
                  <a:pt x="1999498" y="1767125"/>
                  <a:pt x="1999498" y="1767125"/>
                  <a:pt x="1999860" y="1767125"/>
                </a:cubicBezTo>
                <a:close/>
                <a:moveTo>
                  <a:pt x="1846279" y="1767125"/>
                </a:moveTo>
                <a:cubicBezTo>
                  <a:pt x="1846641" y="1767125"/>
                  <a:pt x="1846641" y="1767125"/>
                  <a:pt x="1846641" y="1767487"/>
                </a:cubicBezTo>
                <a:cubicBezTo>
                  <a:pt x="1846641" y="1767853"/>
                  <a:pt x="1846279" y="1767853"/>
                  <a:pt x="1846279" y="1767853"/>
                </a:cubicBezTo>
                <a:cubicBezTo>
                  <a:pt x="1845917" y="1767853"/>
                  <a:pt x="1845917" y="1767853"/>
                  <a:pt x="1845917" y="1767487"/>
                </a:cubicBezTo>
                <a:cubicBezTo>
                  <a:pt x="1845917" y="1767125"/>
                  <a:pt x="1845917" y="1767125"/>
                  <a:pt x="1846279" y="1767125"/>
                </a:cubicBezTo>
                <a:close/>
                <a:moveTo>
                  <a:pt x="1692328" y="1766762"/>
                </a:moveTo>
                <a:cubicBezTo>
                  <a:pt x="1692694" y="1766762"/>
                  <a:pt x="1693056" y="1767125"/>
                  <a:pt x="1693056" y="1767491"/>
                </a:cubicBezTo>
                <a:cubicBezTo>
                  <a:pt x="1693056" y="1767853"/>
                  <a:pt x="1692328" y="1768215"/>
                  <a:pt x="1692328" y="1768215"/>
                </a:cubicBezTo>
                <a:cubicBezTo>
                  <a:pt x="1691965" y="1768215"/>
                  <a:pt x="1691603" y="1767853"/>
                  <a:pt x="1691603" y="1767491"/>
                </a:cubicBezTo>
                <a:cubicBezTo>
                  <a:pt x="1691603" y="1767125"/>
                  <a:pt x="1691965" y="1766762"/>
                  <a:pt x="1692328" y="1766762"/>
                </a:cubicBezTo>
                <a:close/>
                <a:moveTo>
                  <a:pt x="2614925" y="1765672"/>
                </a:moveTo>
                <a:cubicBezTo>
                  <a:pt x="2615650" y="1765672"/>
                  <a:pt x="2616378" y="1766400"/>
                  <a:pt x="2616378" y="1767125"/>
                </a:cubicBezTo>
                <a:cubicBezTo>
                  <a:pt x="2616378" y="1767849"/>
                  <a:pt x="2614925" y="1768577"/>
                  <a:pt x="2614925" y="1768577"/>
                </a:cubicBezTo>
                <a:cubicBezTo>
                  <a:pt x="2614197" y="1768577"/>
                  <a:pt x="2613473" y="1767849"/>
                  <a:pt x="2613473" y="1767125"/>
                </a:cubicBezTo>
                <a:cubicBezTo>
                  <a:pt x="2613473" y="1766400"/>
                  <a:pt x="2614197" y="1765672"/>
                  <a:pt x="2614925" y="1765672"/>
                </a:cubicBezTo>
                <a:close/>
                <a:moveTo>
                  <a:pt x="2768873" y="1765310"/>
                </a:moveTo>
                <a:cubicBezTo>
                  <a:pt x="2769963" y="1765310"/>
                  <a:pt x="2771049" y="1766400"/>
                  <a:pt x="2771049" y="1767491"/>
                </a:cubicBezTo>
                <a:cubicBezTo>
                  <a:pt x="2771049" y="1768577"/>
                  <a:pt x="2768873" y="1769667"/>
                  <a:pt x="2768873" y="1769667"/>
                </a:cubicBezTo>
                <a:cubicBezTo>
                  <a:pt x="2767783" y="1769667"/>
                  <a:pt x="2766692" y="1768577"/>
                  <a:pt x="2766692" y="1767491"/>
                </a:cubicBezTo>
                <a:cubicBezTo>
                  <a:pt x="2766692" y="1766400"/>
                  <a:pt x="2767783" y="1765310"/>
                  <a:pt x="2768873" y="1765310"/>
                </a:cubicBezTo>
                <a:close/>
                <a:moveTo>
                  <a:pt x="2922454" y="1764220"/>
                </a:moveTo>
                <a:cubicBezTo>
                  <a:pt x="2924272" y="1764220"/>
                  <a:pt x="2925721" y="1765672"/>
                  <a:pt x="2925721" y="1767487"/>
                </a:cubicBezTo>
                <a:cubicBezTo>
                  <a:pt x="2925721" y="1769301"/>
                  <a:pt x="2924272" y="1770757"/>
                  <a:pt x="2922454" y="1770757"/>
                </a:cubicBezTo>
                <a:cubicBezTo>
                  <a:pt x="2920640" y="1770757"/>
                  <a:pt x="2919188" y="1769301"/>
                  <a:pt x="2919188" y="1767487"/>
                </a:cubicBezTo>
                <a:cubicBezTo>
                  <a:pt x="2919188" y="1765672"/>
                  <a:pt x="2920640" y="1764220"/>
                  <a:pt x="2922454" y="1764220"/>
                </a:cubicBezTo>
                <a:close/>
                <a:moveTo>
                  <a:pt x="3076406" y="1763134"/>
                </a:moveTo>
                <a:cubicBezTo>
                  <a:pt x="3078948" y="1763134"/>
                  <a:pt x="3080762" y="1764948"/>
                  <a:pt x="3080762" y="1767491"/>
                </a:cubicBezTo>
                <a:cubicBezTo>
                  <a:pt x="3080762" y="1770033"/>
                  <a:pt x="3078586" y="1771848"/>
                  <a:pt x="3076406" y="1771848"/>
                </a:cubicBezTo>
                <a:cubicBezTo>
                  <a:pt x="3073863" y="1771848"/>
                  <a:pt x="3072048" y="1770033"/>
                  <a:pt x="3072048" y="1767491"/>
                </a:cubicBezTo>
                <a:cubicBezTo>
                  <a:pt x="3072048" y="1764948"/>
                  <a:pt x="3073863" y="1763134"/>
                  <a:pt x="3076406" y="1763134"/>
                </a:cubicBezTo>
                <a:close/>
                <a:moveTo>
                  <a:pt x="3230353" y="1761681"/>
                </a:moveTo>
                <a:cubicBezTo>
                  <a:pt x="3233620" y="1761681"/>
                  <a:pt x="3236162" y="1764224"/>
                  <a:pt x="3236162" y="1767491"/>
                </a:cubicBezTo>
                <a:cubicBezTo>
                  <a:pt x="3236162" y="1770757"/>
                  <a:pt x="3233620" y="1773300"/>
                  <a:pt x="3230353" y="1773300"/>
                </a:cubicBezTo>
                <a:cubicBezTo>
                  <a:pt x="3227086" y="1773300"/>
                  <a:pt x="3224544" y="1770757"/>
                  <a:pt x="3224544" y="1767491"/>
                </a:cubicBezTo>
                <a:cubicBezTo>
                  <a:pt x="3224544" y="1764224"/>
                  <a:pt x="3227086" y="1761681"/>
                  <a:pt x="3230353" y="1761681"/>
                </a:cubicBezTo>
                <a:close/>
                <a:moveTo>
                  <a:pt x="3383938" y="1760225"/>
                </a:moveTo>
                <a:cubicBezTo>
                  <a:pt x="3387933" y="1760225"/>
                  <a:pt x="3391200" y="1763492"/>
                  <a:pt x="3391200" y="1767487"/>
                </a:cubicBezTo>
                <a:cubicBezTo>
                  <a:pt x="3391200" y="1771481"/>
                  <a:pt x="3387933" y="1774748"/>
                  <a:pt x="3383938" y="1774748"/>
                </a:cubicBezTo>
                <a:cubicBezTo>
                  <a:pt x="3379943" y="1774748"/>
                  <a:pt x="3376676" y="1771481"/>
                  <a:pt x="3376676" y="1767487"/>
                </a:cubicBezTo>
                <a:cubicBezTo>
                  <a:pt x="3376676" y="1763492"/>
                  <a:pt x="3379943" y="1760225"/>
                  <a:pt x="3383938" y="1760225"/>
                </a:cubicBezTo>
                <a:close/>
                <a:moveTo>
                  <a:pt x="3537882" y="1758411"/>
                </a:moveTo>
                <a:cubicBezTo>
                  <a:pt x="3542967" y="1758411"/>
                  <a:pt x="3546962" y="1762405"/>
                  <a:pt x="3546962" y="1767487"/>
                </a:cubicBezTo>
                <a:cubicBezTo>
                  <a:pt x="3546962" y="1772572"/>
                  <a:pt x="3542967" y="1776567"/>
                  <a:pt x="3537882" y="1776567"/>
                </a:cubicBezTo>
                <a:cubicBezTo>
                  <a:pt x="3532800" y="1776567"/>
                  <a:pt x="3528806" y="1772572"/>
                  <a:pt x="3528806" y="1767487"/>
                </a:cubicBezTo>
                <a:cubicBezTo>
                  <a:pt x="3528806" y="1762405"/>
                  <a:pt x="3532800" y="1758411"/>
                  <a:pt x="3537882" y="1758411"/>
                </a:cubicBezTo>
                <a:close/>
                <a:moveTo>
                  <a:pt x="3691467" y="1757324"/>
                </a:moveTo>
                <a:cubicBezTo>
                  <a:pt x="3696914" y="1757324"/>
                  <a:pt x="3701633" y="1762043"/>
                  <a:pt x="3701633" y="1767491"/>
                </a:cubicBezTo>
                <a:cubicBezTo>
                  <a:pt x="3701633" y="1772938"/>
                  <a:pt x="3697276" y="1777657"/>
                  <a:pt x="3691467" y="1777657"/>
                </a:cubicBezTo>
                <a:cubicBezTo>
                  <a:pt x="3686020" y="1777657"/>
                  <a:pt x="3681300" y="1772938"/>
                  <a:pt x="3681300" y="1767491"/>
                </a:cubicBezTo>
                <a:cubicBezTo>
                  <a:pt x="3681300" y="1762043"/>
                  <a:pt x="3686020" y="1757324"/>
                  <a:pt x="3691467" y="1757324"/>
                </a:cubicBezTo>
                <a:close/>
                <a:moveTo>
                  <a:pt x="3845414" y="1755506"/>
                </a:moveTo>
                <a:cubicBezTo>
                  <a:pt x="3851952" y="1755506"/>
                  <a:pt x="3857399" y="1760953"/>
                  <a:pt x="3857399" y="1767487"/>
                </a:cubicBezTo>
                <a:cubicBezTo>
                  <a:pt x="3857399" y="1774024"/>
                  <a:pt x="3851952" y="1779468"/>
                  <a:pt x="3845414" y="1779468"/>
                </a:cubicBezTo>
                <a:cubicBezTo>
                  <a:pt x="3838881" y="1779468"/>
                  <a:pt x="3833434" y="1774024"/>
                  <a:pt x="3833434" y="1767487"/>
                </a:cubicBezTo>
                <a:cubicBezTo>
                  <a:pt x="3833434" y="1760953"/>
                  <a:pt x="3838881" y="1755506"/>
                  <a:pt x="3845414" y="1755506"/>
                </a:cubicBezTo>
                <a:close/>
                <a:moveTo>
                  <a:pt x="3999000" y="1753329"/>
                </a:moveTo>
                <a:cubicBezTo>
                  <a:pt x="4006627" y="1753329"/>
                  <a:pt x="4012799" y="1759501"/>
                  <a:pt x="4012799" y="1767125"/>
                </a:cubicBezTo>
                <a:cubicBezTo>
                  <a:pt x="4012799" y="1774752"/>
                  <a:pt x="4006627" y="1780924"/>
                  <a:pt x="3999000" y="1780924"/>
                </a:cubicBezTo>
                <a:cubicBezTo>
                  <a:pt x="3991376" y="1780924"/>
                  <a:pt x="3985204" y="1774752"/>
                  <a:pt x="3985204" y="1767125"/>
                </a:cubicBezTo>
                <a:cubicBezTo>
                  <a:pt x="3985204" y="1759501"/>
                  <a:pt x="3991376" y="1753329"/>
                  <a:pt x="3999000" y="1753329"/>
                </a:cubicBezTo>
                <a:close/>
                <a:moveTo>
                  <a:pt x="4152947" y="1752239"/>
                </a:moveTo>
                <a:cubicBezTo>
                  <a:pt x="4161372" y="1752239"/>
                  <a:pt x="4168198" y="1759066"/>
                  <a:pt x="4168198" y="1767491"/>
                </a:cubicBezTo>
                <a:cubicBezTo>
                  <a:pt x="4168198" y="1775911"/>
                  <a:pt x="4161372" y="1782738"/>
                  <a:pt x="4152947" y="1782738"/>
                </a:cubicBezTo>
                <a:cubicBezTo>
                  <a:pt x="4144526" y="1782738"/>
                  <a:pt x="4137700" y="1775911"/>
                  <a:pt x="4137700" y="1767491"/>
                </a:cubicBezTo>
                <a:cubicBezTo>
                  <a:pt x="4137700" y="1759066"/>
                  <a:pt x="4144526" y="1752239"/>
                  <a:pt x="4152947" y="1752239"/>
                </a:cubicBezTo>
                <a:close/>
                <a:moveTo>
                  <a:pt x="4306532" y="1750425"/>
                </a:moveTo>
                <a:cubicBezTo>
                  <a:pt x="4315970" y="1750425"/>
                  <a:pt x="4323598" y="1758048"/>
                  <a:pt x="4323598" y="1767491"/>
                </a:cubicBezTo>
                <a:cubicBezTo>
                  <a:pt x="4323598" y="1776929"/>
                  <a:pt x="4315970" y="1784556"/>
                  <a:pt x="4306532" y="1784556"/>
                </a:cubicBezTo>
                <a:cubicBezTo>
                  <a:pt x="4297090" y="1784556"/>
                  <a:pt x="4289466" y="1776929"/>
                  <a:pt x="4289466" y="1767491"/>
                </a:cubicBezTo>
                <a:cubicBezTo>
                  <a:pt x="4289466" y="1758048"/>
                  <a:pt x="4297090" y="1750425"/>
                  <a:pt x="4306532" y="1750425"/>
                </a:cubicBezTo>
                <a:close/>
                <a:moveTo>
                  <a:pt x="4460480" y="1748244"/>
                </a:moveTo>
                <a:cubicBezTo>
                  <a:pt x="4471111" y="1748244"/>
                  <a:pt x="4479726" y="1756859"/>
                  <a:pt x="4479726" y="1767487"/>
                </a:cubicBezTo>
                <a:cubicBezTo>
                  <a:pt x="4479726" y="1778114"/>
                  <a:pt x="4471111" y="1786729"/>
                  <a:pt x="4460480" y="1786729"/>
                </a:cubicBezTo>
                <a:cubicBezTo>
                  <a:pt x="4449852" y="1786729"/>
                  <a:pt x="4441237" y="1778114"/>
                  <a:pt x="4441237" y="1767487"/>
                </a:cubicBezTo>
                <a:cubicBezTo>
                  <a:pt x="4441237" y="1756859"/>
                  <a:pt x="4449852" y="1748244"/>
                  <a:pt x="4460480" y="1748244"/>
                </a:cubicBezTo>
                <a:close/>
                <a:moveTo>
                  <a:pt x="4614065" y="1746068"/>
                </a:moveTo>
                <a:cubicBezTo>
                  <a:pt x="4626046" y="1746068"/>
                  <a:pt x="4635484" y="1755506"/>
                  <a:pt x="4635484" y="1767491"/>
                </a:cubicBezTo>
                <a:cubicBezTo>
                  <a:pt x="4635484" y="1779471"/>
                  <a:pt x="4625684" y="1788913"/>
                  <a:pt x="4614065" y="1788913"/>
                </a:cubicBezTo>
                <a:cubicBezTo>
                  <a:pt x="4602084" y="1788913"/>
                  <a:pt x="4592642" y="1779471"/>
                  <a:pt x="4592642" y="1767491"/>
                </a:cubicBezTo>
                <a:cubicBezTo>
                  <a:pt x="4592642" y="1755506"/>
                  <a:pt x="4602084" y="1746068"/>
                  <a:pt x="4614065" y="1746068"/>
                </a:cubicBezTo>
                <a:close/>
                <a:moveTo>
                  <a:pt x="4768012" y="1744615"/>
                </a:moveTo>
                <a:cubicBezTo>
                  <a:pt x="4780718" y="1744615"/>
                  <a:pt x="4790884" y="1754782"/>
                  <a:pt x="4790884" y="1767491"/>
                </a:cubicBezTo>
                <a:cubicBezTo>
                  <a:pt x="4790884" y="1780196"/>
                  <a:pt x="4780718" y="1790366"/>
                  <a:pt x="4768012" y="1790366"/>
                </a:cubicBezTo>
                <a:cubicBezTo>
                  <a:pt x="4755304" y="1790366"/>
                  <a:pt x="4745137" y="1780196"/>
                  <a:pt x="4745137" y="1767491"/>
                </a:cubicBezTo>
                <a:cubicBezTo>
                  <a:pt x="4745137" y="1754782"/>
                  <a:pt x="4755304" y="1744615"/>
                  <a:pt x="4768012" y="1744615"/>
                </a:cubicBezTo>
                <a:close/>
                <a:moveTo>
                  <a:pt x="4921594" y="1742435"/>
                </a:moveTo>
                <a:cubicBezTo>
                  <a:pt x="4935393" y="1742435"/>
                  <a:pt x="4946650" y="1753691"/>
                  <a:pt x="4946650" y="1767487"/>
                </a:cubicBezTo>
                <a:cubicBezTo>
                  <a:pt x="4946650" y="1781286"/>
                  <a:pt x="4935393" y="1792538"/>
                  <a:pt x="4921594" y="1792538"/>
                </a:cubicBezTo>
                <a:cubicBezTo>
                  <a:pt x="4907798" y="1792538"/>
                  <a:pt x="4896542" y="1781286"/>
                  <a:pt x="4896542" y="1767487"/>
                </a:cubicBezTo>
                <a:cubicBezTo>
                  <a:pt x="4896542" y="1753691"/>
                  <a:pt x="4907798" y="1742435"/>
                  <a:pt x="4921594" y="1742435"/>
                </a:cubicBezTo>
                <a:close/>
                <a:moveTo>
                  <a:pt x="5075545" y="1740258"/>
                </a:moveTo>
                <a:cubicBezTo>
                  <a:pt x="5090430" y="1740258"/>
                  <a:pt x="5102777" y="1752605"/>
                  <a:pt x="5102777" y="1767491"/>
                </a:cubicBezTo>
                <a:cubicBezTo>
                  <a:pt x="5102777" y="1782376"/>
                  <a:pt x="5090792" y="1794723"/>
                  <a:pt x="5075545" y="1794723"/>
                </a:cubicBezTo>
                <a:cubicBezTo>
                  <a:pt x="5060656" y="1794723"/>
                  <a:pt x="5048313" y="1782376"/>
                  <a:pt x="5048313" y="1767491"/>
                </a:cubicBezTo>
                <a:cubicBezTo>
                  <a:pt x="5048313" y="1752605"/>
                  <a:pt x="5060656" y="1740258"/>
                  <a:pt x="5075545" y="1740258"/>
                </a:cubicBezTo>
                <a:close/>
                <a:moveTo>
                  <a:pt x="5229126" y="1737716"/>
                </a:moveTo>
                <a:cubicBezTo>
                  <a:pt x="5245571" y="1737716"/>
                  <a:pt x="5258901" y="1751046"/>
                  <a:pt x="5258901" y="1767491"/>
                </a:cubicBezTo>
                <a:cubicBezTo>
                  <a:pt x="5258901" y="1783931"/>
                  <a:pt x="5245571" y="1797261"/>
                  <a:pt x="5229126" y="1797261"/>
                </a:cubicBezTo>
                <a:cubicBezTo>
                  <a:pt x="5212686" y="1797261"/>
                  <a:pt x="5199356" y="1783931"/>
                  <a:pt x="5199356" y="1767491"/>
                </a:cubicBezTo>
                <a:cubicBezTo>
                  <a:pt x="5199356" y="1751046"/>
                  <a:pt x="5212686" y="1737716"/>
                  <a:pt x="5229126" y="1737716"/>
                </a:cubicBezTo>
                <a:close/>
                <a:moveTo>
                  <a:pt x="5383074" y="1735535"/>
                </a:moveTo>
                <a:cubicBezTo>
                  <a:pt x="5400864" y="1735535"/>
                  <a:pt x="5415025" y="1749697"/>
                  <a:pt x="5415025" y="1767487"/>
                </a:cubicBezTo>
                <a:cubicBezTo>
                  <a:pt x="5415025" y="1785277"/>
                  <a:pt x="5400864" y="1799438"/>
                  <a:pt x="5383074" y="1799438"/>
                </a:cubicBezTo>
                <a:cubicBezTo>
                  <a:pt x="5365284" y="1799438"/>
                  <a:pt x="5351122" y="1785277"/>
                  <a:pt x="5351122" y="1767487"/>
                </a:cubicBezTo>
                <a:cubicBezTo>
                  <a:pt x="5351122" y="1749697"/>
                  <a:pt x="5365284" y="1735535"/>
                  <a:pt x="5383074" y="1735535"/>
                </a:cubicBezTo>
                <a:close/>
                <a:moveTo>
                  <a:pt x="5537025" y="1733721"/>
                </a:moveTo>
                <a:cubicBezTo>
                  <a:pt x="5555673" y="1733721"/>
                  <a:pt x="5570791" y="1748839"/>
                  <a:pt x="5570791" y="1767487"/>
                </a:cubicBezTo>
                <a:cubicBezTo>
                  <a:pt x="5570791" y="1786138"/>
                  <a:pt x="5555673" y="1801256"/>
                  <a:pt x="5537025" y="1801256"/>
                </a:cubicBezTo>
                <a:cubicBezTo>
                  <a:pt x="5518374" y="1801256"/>
                  <a:pt x="5503256" y="1786138"/>
                  <a:pt x="5503256" y="1767487"/>
                </a:cubicBezTo>
                <a:cubicBezTo>
                  <a:pt x="5503256" y="1748839"/>
                  <a:pt x="5518374" y="1733721"/>
                  <a:pt x="5537025" y="1733721"/>
                </a:cubicBezTo>
                <a:close/>
                <a:moveTo>
                  <a:pt x="5690606" y="1731182"/>
                </a:moveTo>
                <a:cubicBezTo>
                  <a:pt x="5710577" y="1731182"/>
                  <a:pt x="5726915" y="1747520"/>
                  <a:pt x="5726915" y="1767491"/>
                </a:cubicBezTo>
                <a:cubicBezTo>
                  <a:pt x="5726915" y="1787461"/>
                  <a:pt x="5710577" y="1803799"/>
                  <a:pt x="5690606" y="1803799"/>
                </a:cubicBezTo>
                <a:cubicBezTo>
                  <a:pt x="5670636" y="1803799"/>
                  <a:pt x="5654298" y="1787461"/>
                  <a:pt x="5654298" y="1767491"/>
                </a:cubicBezTo>
                <a:cubicBezTo>
                  <a:pt x="5654298" y="1747520"/>
                  <a:pt x="5670636" y="1731182"/>
                  <a:pt x="5690606" y="1731182"/>
                </a:cubicBezTo>
                <a:close/>
                <a:moveTo>
                  <a:pt x="5844554" y="1728640"/>
                </a:moveTo>
                <a:cubicBezTo>
                  <a:pt x="5865973" y="1728640"/>
                  <a:pt x="5883405" y="1746068"/>
                  <a:pt x="5883405" y="1767491"/>
                </a:cubicBezTo>
                <a:cubicBezTo>
                  <a:pt x="5883405" y="1788910"/>
                  <a:pt x="5865973" y="1806338"/>
                  <a:pt x="5844554" y="1806338"/>
                </a:cubicBezTo>
                <a:cubicBezTo>
                  <a:pt x="5823131" y="1806338"/>
                  <a:pt x="5805703" y="1788910"/>
                  <a:pt x="5805703" y="1767491"/>
                </a:cubicBezTo>
                <a:cubicBezTo>
                  <a:pt x="5805703" y="1746068"/>
                  <a:pt x="5823131" y="1728640"/>
                  <a:pt x="5844554" y="1728640"/>
                </a:cubicBezTo>
                <a:close/>
                <a:moveTo>
                  <a:pt x="5998136" y="1726459"/>
                </a:moveTo>
                <a:cubicBezTo>
                  <a:pt x="6021010" y="1726459"/>
                  <a:pt x="6039166" y="1744615"/>
                  <a:pt x="6039166" y="1767487"/>
                </a:cubicBezTo>
                <a:cubicBezTo>
                  <a:pt x="6039166" y="1790362"/>
                  <a:pt x="6020648" y="1808518"/>
                  <a:pt x="5998136" y="1808518"/>
                </a:cubicBezTo>
                <a:cubicBezTo>
                  <a:pt x="5975264" y="1808518"/>
                  <a:pt x="5957108" y="1790362"/>
                  <a:pt x="5957108" y="1767487"/>
                </a:cubicBezTo>
                <a:cubicBezTo>
                  <a:pt x="5957108" y="1744615"/>
                  <a:pt x="5975264" y="1726459"/>
                  <a:pt x="5998136" y="1726459"/>
                </a:cubicBezTo>
                <a:close/>
                <a:moveTo>
                  <a:pt x="6152086" y="1723917"/>
                </a:moveTo>
                <a:cubicBezTo>
                  <a:pt x="6176048" y="1723917"/>
                  <a:pt x="6195656" y="1743525"/>
                  <a:pt x="6195656" y="1767487"/>
                </a:cubicBezTo>
                <a:cubicBezTo>
                  <a:pt x="6195656" y="1791452"/>
                  <a:pt x="6176048" y="1811057"/>
                  <a:pt x="6152086" y="1811057"/>
                </a:cubicBezTo>
                <a:cubicBezTo>
                  <a:pt x="6128121" y="1811057"/>
                  <a:pt x="6108516" y="1791452"/>
                  <a:pt x="6108516" y="1767487"/>
                </a:cubicBezTo>
                <a:cubicBezTo>
                  <a:pt x="6108516" y="1743525"/>
                  <a:pt x="6128121" y="1723917"/>
                  <a:pt x="6152086" y="1723917"/>
                </a:cubicBezTo>
                <a:close/>
                <a:moveTo>
                  <a:pt x="6305668" y="1721378"/>
                </a:moveTo>
                <a:cubicBezTo>
                  <a:pt x="6331086" y="1721378"/>
                  <a:pt x="6351777" y="1742073"/>
                  <a:pt x="6351777" y="1767491"/>
                </a:cubicBezTo>
                <a:cubicBezTo>
                  <a:pt x="6351777" y="1792904"/>
                  <a:pt x="6331086" y="1813603"/>
                  <a:pt x="6305668" y="1813603"/>
                </a:cubicBezTo>
                <a:cubicBezTo>
                  <a:pt x="6280250" y="1813603"/>
                  <a:pt x="6259556" y="1792904"/>
                  <a:pt x="6259556" y="1767491"/>
                </a:cubicBezTo>
                <a:cubicBezTo>
                  <a:pt x="6259556" y="1742073"/>
                  <a:pt x="6280250" y="1721378"/>
                  <a:pt x="6305668" y="1721378"/>
                </a:cubicBezTo>
                <a:close/>
                <a:moveTo>
                  <a:pt x="6459619" y="1718835"/>
                </a:moveTo>
                <a:cubicBezTo>
                  <a:pt x="6486486" y="1718835"/>
                  <a:pt x="6508270" y="1740620"/>
                  <a:pt x="6508270" y="1767491"/>
                </a:cubicBezTo>
                <a:cubicBezTo>
                  <a:pt x="6508270" y="1794357"/>
                  <a:pt x="6486486" y="1816142"/>
                  <a:pt x="6459619" y="1816142"/>
                </a:cubicBezTo>
                <a:cubicBezTo>
                  <a:pt x="6432749" y="1816142"/>
                  <a:pt x="6410964" y="1794357"/>
                  <a:pt x="6410964" y="1767491"/>
                </a:cubicBezTo>
                <a:cubicBezTo>
                  <a:pt x="6410964" y="1740620"/>
                  <a:pt x="6432749" y="1718835"/>
                  <a:pt x="6459619" y="1718835"/>
                </a:cubicBezTo>
                <a:close/>
                <a:moveTo>
                  <a:pt x="6613200" y="1716293"/>
                </a:moveTo>
                <a:cubicBezTo>
                  <a:pt x="6641523" y="1716293"/>
                  <a:pt x="6664398" y="1739168"/>
                  <a:pt x="6664398" y="1767487"/>
                </a:cubicBezTo>
                <a:cubicBezTo>
                  <a:pt x="6664398" y="1795809"/>
                  <a:pt x="6641523" y="1818681"/>
                  <a:pt x="6613200" y="1818681"/>
                </a:cubicBezTo>
                <a:cubicBezTo>
                  <a:pt x="6584882" y="1818681"/>
                  <a:pt x="6562007" y="1795809"/>
                  <a:pt x="6562007" y="1767487"/>
                </a:cubicBezTo>
                <a:cubicBezTo>
                  <a:pt x="6562007" y="1739168"/>
                  <a:pt x="6584882" y="1716293"/>
                  <a:pt x="6613200" y="1716293"/>
                </a:cubicBezTo>
                <a:close/>
                <a:moveTo>
                  <a:pt x="2307393" y="1613539"/>
                </a:moveTo>
                <a:cubicBezTo>
                  <a:pt x="2307755" y="1613539"/>
                  <a:pt x="2307755" y="1613539"/>
                  <a:pt x="2307755" y="1613901"/>
                </a:cubicBezTo>
                <a:cubicBezTo>
                  <a:pt x="2307755" y="1614267"/>
                  <a:pt x="2307393" y="1614267"/>
                  <a:pt x="2307393" y="1614267"/>
                </a:cubicBezTo>
                <a:cubicBezTo>
                  <a:pt x="2307031" y="1614267"/>
                  <a:pt x="2307031" y="1614267"/>
                  <a:pt x="2307031" y="1613901"/>
                </a:cubicBezTo>
                <a:cubicBezTo>
                  <a:pt x="2307031" y="1613539"/>
                  <a:pt x="2307031" y="1613539"/>
                  <a:pt x="2307393" y="1613539"/>
                </a:cubicBezTo>
                <a:close/>
                <a:moveTo>
                  <a:pt x="1846279" y="1613539"/>
                </a:moveTo>
                <a:cubicBezTo>
                  <a:pt x="1846641" y="1613539"/>
                  <a:pt x="1846641" y="1613539"/>
                  <a:pt x="1846641" y="1613901"/>
                </a:cubicBezTo>
                <a:cubicBezTo>
                  <a:pt x="1846641" y="1614267"/>
                  <a:pt x="1846279" y="1614267"/>
                  <a:pt x="1846279" y="1614267"/>
                </a:cubicBezTo>
                <a:cubicBezTo>
                  <a:pt x="1845917" y="1614267"/>
                  <a:pt x="1845917" y="1614267"/>
                  <a:pt x="1845917" y="1613901"/>
                </a:cubicBezTo>
                <a:cubicBezTo>
                  <a:pt x="1845917" y="1613539"/>
                  <a:pt x="1845917" y="1613539"/>
                  <a:pt x="1846279" y="1613539"/>
                </a:cubicBezTo>
                <a:close/>
                <a:moveTo>
                  <a:pt x="1692331" y="1613539"/>
                </a:moveTo>
                <a:cubicBezTo>
                  <a:pt x="1692694" y="1613539"/>
                  <a:pt x="1692694" y="1613539"/>
                  <a:pt x="1692694" y="1613901"/>
                </a:cubicBezTo>
                <a:cubicBezTo>
                  <a:pt x="1692694" y="1614267"/>
                  <a:pt x="1692331" y="1614267"/>
                  <a:pt x="1692331" y="1614267"/>
                </a:cubicBezTo>
                <a:cubicBezTo>
                  <a:pt x="1691969" y="1614267"/>
                  <a:pt x="1691969" y="1614267"/>
                  <a:pt x="1691969" y="1613901"/>
                </a:cubicBezTo>
                <a:cubicBezTo>
                  <a:pt x="1691969" y="1613539"/>
                  <a:pt x="1691969" y="1613539"/>
                  <a:pt x="1692331" y="1613539"/>
                </a:cubicBezTo>
                <a:close/>
                <a:moveTo>
                  <a:pt x="1538746" y="1613177"/>
                </a:moveTo>
                <a:cubicBezTo>
                  <a:pt x="1539108" y="1613177"/>
                  <a:pt x="1539470" y="1613539"/>
                  <a:pt x="1539470" y="1613905"/>
                </a:cubicBezTo>
                <a:cubicBezTo>
                  <a:pt x="1539470" y="1614267"/>
                  <a:pt x="1538746" y="1614630"/>
                  <a:pt x="1538746" y="1614630"/>
                </a:cubicBezTo>
                <a:cubicBezTo>
                  <a:pt x="1538380" y="1614630"/>
                  <a:pt x="1538018" y="1614267"/>
                  <a:pt x="1538018" y="1613905"/>
                </a:cubicBezTo>
                <a:cubicBezTo>
                  <a:pt x="1538018" y="1613539"/>
                  <a:pt x="1538380" y="1613177"/>
                  <a:pt x="1538746" y="1613177"/>
                </a:cubicBezTo>
                <a:close/>
                <a:moveTo>
                  <a:pt x="2461340" y="1612091"/>
                </a:moveTo>
                <a:cubicBezTo>
                  <a:pt x="2462064" y="1612091"/>
                  <a:pt x="2462793" y="1612815"/>
                  <a:pt x="2462793" y="1613543"/>
                </a:cubicBezTo>
                <a:cubicBezTo>
                  <a:pt x="2462793" y="1614267"/>
                  <a:pt x="2461340" y="1614995"/>
                  <a:pt x="2461340" y="1614995"/>
                </a:cubicBezTo>
                <a:cubicBezTo>
                  <a:pt x="2460612" y="1614995"/>
                  <a:pt x="2459888" y="1614267"/>
                  <a:pt x="2459888" y="1613543"/>
                </a:cubicBezTo>
                <a:cubicBezTo>
                  <a:pt x="2459888" y="1612815"/>
                  <a:pt x="2460612" y="1612091"/>
                  <a:pt x="2461340" y="1612091"/>
                </a:cubicBezTo>
                <a:close/>
                <a:moveTo>
                  <a:pt x="2614922" y="1611363"/>
                </a:moveTo>
                <a:cubicBezTo>
                  <a:pt x="2616012" y="1611363"/>
                  <a:pt x="2617102" y="1612453"/>
                  <a:pt x="2617102" y="1613539"/>
                </a:cubicBezTo>
                <a:cubicBezTo>
                  <a:pt x="2617102" y="1614630"/>
                  <a:pt x="2614922" y="1615720"/>
                  <a:pt x="2614922" y="1615720"/>
                </a:cubicBezTo>
                <a:cubicBezTo>
                  <a:pt x="2613835" y="1615720"/>
                  <a:pt x="2612745" y="1614630"/>
                  <a:pt x="2612745" y="1613539"/>
                </a:cubicBezTo>
                <a:cubicBezTo>
                  <a:pt x="2612745" y="1612453"/>
                  <a:pt x="2613835" y="1611363"/>
                  <a:pt x="2614922" y="1611363"/>
                </a:cubicBezTo>
                <a:close/>
                <a:moveTo>
                  <a:pt x="2768877" y="1610638"/>
                </a:moveTo>
                <a:cubicBezTo>
                  <a:pt x="2770691" y="1610638"/>
                  <a:pt x="2772144" y="1612091"/>
                  <a:pt x="2772144" y="1613905"/>
                </a:cubicBezTo>
                <a:cubicBezTo>
                  <a:pt x="2772144" y="1615720"/>
                  <a:pt x="2770691" y="1617176"/>
                  <a:pt x="2768877" y="1617176"/>
                </a:cubicBezTo>
                <a:cubicBezTo>
                  <a:pt x="2767058" y="1617176"/>
                  <a:pt x="2765606" y="1615720"/>
                  <a:pt x="2765606" y="1613905"/>
                </a:cubicBezTo>
                <a:cubicBezTo>
                  <a:pt x="2765606" y="1612091"/>
                  <a:pt x="2767058" y="1610638"/>
                  <a:pt x="2768877" y="1610638"/>
                </a:cubicBezTo>
                <a:close/>
                <a:moveTo>
                  <a:pt x="2922458" y="1609182"/>
                </a:moveTo>
                <a:cubicBezTo>
                  <a:pt x="2925000" y="1609182"/>
                  <a:pt x="2926815" y="1610997"/>
                  <a:pt x="2926815" y="1613539"/>
                </a:cubicBezTo>
                <a:cubicBezTo>
                  <a:pt x="2926815" y="1616082"/>
                  <a:pt x="2924635" y="1617896"/>
                  <a:pt x="2922458" y="1617896"/>
                </a:cubicBezTo>
                <a:cubicBezTo>
                  <a:pt x="2919916" y="1617896"/>
                  <a:pt x="2918101" y="1616082"/>
                  <a:pt x="2918101" y="1613539"/>
                </a:cubicBezTo>
                <a:cubicBezTo>
                  <a:pt x="2918101" y="1610997"/>
                  <a:pt x="2919916" y="1609182"/>
                  <a:pt x="2922458" y="1609182"/>
                </a:cubicBezTo>
                <a:close/>
                <a:moveTo>
                  <a:pt x="3076406" y="1608096"/>
                </a:moveTo>
                <a:cubicBezTo>
                  <a:pt x="3079672" y="1608096"/>
                  <a:pt x="3082215" y="1610638"/>
                  <a:pt x="3082215" y="1613905"/>
                </a:cubicBezTo>
                <a:cubicBezTo>
                  <a:pt x="3082215" y="1617172"/>
                  <a:pt x="3079672" y="1619715"/>
                  <a:pt x="3076406" y="1619715"/>
                </a:cubicBezTo>
                <a:cubicBezTo>
                  <a:pt x="3073139" y="1619715"/>
                  <a:pt x="3070596" y="1617172"/>
                  <a:pt x="3070596" y="1613905"/>
                </a:cubicBezTo>
                <a:cubicBezTo>
                  <a:pt x="3070596" y="1610638"/>
                  <a:pt x="3073139" y="1608096"/>
                  <a:pt x="3076406" y="1608096"/>
                </a:cubicBezTo>
                <a:close/>
                <a:moveTo>
                  <a:pt x="3230353" y="1606281"/>
                </a:moveTo>
                <a:cubicBezTo>
                  <a:pt x="3234348" y="1606281"/>
                  <a:pt x="3237614" y="1609548"/>
                  <a:pt x="3237614" y="1613543"/>
                </a:cubicBezTo>
                <a:cubicBezTo>
                  <a:pt x="3237614" y="1617538"/>
                  <a:pt x="3234348" y="1620805"/>
                  <a:pt x="3230353" y="1620805"/>
                </a:cubicBezTo>
                <a:cubicBezTo>
                  <a:pt x="3226358" y="1620805"/>
                  <a:pt x="3223091" y="1617538"/>
                  <a:pt x="3223091" y="1613543"/>
                </a:cubicBezTo>
                <a:cubicBezTo>
                  <a:pt x="3223091" y="1609548"/>
                  <a:pt x="3226358" y="1606281"/>
                  <a:pt x="3230353" y="1606281"/>
                </a:cubicBezTo>
                <a:close/>
                <a:moveTo>
                  <a:pt x="3383934" y="1604463"/>
                </a:moveTo>
                <a:cubicBezTo>
                  <a:pt x="3389019" y="1604463"/>
                  <a:pt x="3393014" y="1608458"/>
                  <a:pt x="3393014" y="1613539"/>
                </a:cubicBezTo>
                <a:cubicBezTo>
                  <a:pt x="3393014" y="1618624"/>
                  <a:pt x="3389019" y="1622619"/>
                  <a:pt x="3383934" y="1622619"/>
                </a:cubicBezTo>
                <a:cubicBezTo>
                  <a:pt x="3378853" y="1622619"/>
                  <a:pt x="3374858" y="1618624"/>
                  <a:pt x="3374858" y="1613539"/>
                </a:cubicBezTo>
                <a:cubicBezTo>
                  <a:pt x="3374858" y="1608458"/>
                  <a:pt x="3378853" y="1604463"/>
                  <a:pt x="3383934" y="1604463"/>
                </a:cubicBezTo>
                <a:close/>
                <a:moveTo>
                  <a:pt x="3537886" y="1603739"/>
                </a:moveTo>
                <a:cubicBezTo>
                  <a:pt x="3543333" y="1603739"/>
                  <a:pt x="3548052" y="1608458"/>
                  <a:pt x="3548052" y="1613905"/>
                </a:cubicBezTo>
                <a:cubicBezTo>
                  <a:pt x="3548052" y="1619352"/>
                  <a:pt x="3543695" y="1624072"/>
                  <a:pt x="3537886" y="1624072"/>
                </a:cubicBezTo>
                <a:cubicBezTo>
                  <a:pt x="3532438" y="1624072"/>
                  <a:pt x="3527719" y="1619352"/>
                  <a:pt x="3527719" y="1613905"/>
                </a:cubicBezTo>
                <a:cubicBezTo>
                  <a:pt x="3527719" y="1608458"/>
                  <a:pt x="3532438" y="1603739"/>
                  <a:pt x="3537886" y="1603739"/>
                </a:cubicBezTo>
                <a:close/>
                <a:moveTo>
                  <a:pt x="3691467" y="1601559"/>
                </a:moveTo>
                <a:cubicBezTo>
                  <a:pt x="3698004" y="1601559"/>
                  <a:pt x="3703452" y="1607006"/>
                  <a:pt x="3703452" y="1613539"/>
                </a:cubicBezTo>
                <a:cubicBezTo>
                  <a:pt x="3703452" y="1620077"/>
                  <a:pt x="3698004" y="1625520"/>
                  <a:pt x="3691467" y="1625520"/>
                </a:cubicBezTo>
                <a:cubicBezTo>
                  <a:pt x="3684933" y="1625520"/>
                  <a:pt x="3679486" y="1620077"/>
                  <a:pt x="3679486" y="1613539"/>
                </a:cubicBezTo>
                <a:cubicBezTo>
                  <a:pt x="3679486" y="1607006"/>
                  <a:pt x="3684933" y="1601559"/>
                  <a:pt x="3691467" y="1601559"/>
                </a:cubicBezTo>
                <a:close/>
                <a:moveTo>
                  <a:pt x="3845418" y="1599744"/>
                </a:moveTo>
                <a:cubicBezTo>
                  <a:pt x="3853042" y="1599744"/>
                  <a:pt x="3859214" y="1605916"/>
                  <a:pt x="3859214" y="1613539"/>
                </a:cubicBezTo>
                <a:cubicBezTo>
                  <a:pt x="3859214" y="1621167"/>
                  <a:pt x="3853042" y="1627338"/>
                  <a:pt x="3845418" y="1627338"/>
                </a:cubicBezTo>
                <a:cubicBezTo>
                  <a:pt x="3837790" y="1627338"/>
                  <a:pt x="3831619" y="1621167"/>
                  <a:pt x="3831619" y="1613539"/>
                </a:cubicBezTo>
                <a:cubicBezTo>
                  <a:pt x="3831619" y="1605916"/>
                  <a:pt x="3837790" y="1599744"/>
                  <a:pt x="3845418" y="1599744"/>
                </a:cubicBezTo>
                <a:close/>
                <a:moveTo>
                  <a:pt x="3999000" y="1598654"/>
                </a:moveTo>
                <a:cubicBezTo>
                  <a:pt x="4007352" y="1598654"/>
                  <a:pt x="4014251" y="1605553"/>
                  <a:pt x="4014251" y="1613905"/>
                </a:cubicBezTo>
                <a:cubicBezTo>
                  <a:pt x="4014251" y="1622253"/>
                  <a:pt x="4007352" y="1629153"/>
                  <a:pt x="3999000" y="1629153"/>
                </a:cubicBezTo>
                <a:cubicBezTo>
                  <a:pt x="3990652" y="1629153"/>
                  <a:pt x="3983752" y="1622253"/>
                  <a:pt x="3983752" y="1613905"/>
                </a:cubicBezTo>
                <a:cubicBezTo>
                  <a:pt x="3983752" y="1605553"/>
                  <a:pt x="3990652" y="1598654"/>
                  <a:pt x="3999000" y="1598654"/>
                </a:cubicBezTo>
                <a:close/>
                <a:moveTo>
                  <a:pt x="4152947" y="1596477"/>
                </a:moveTo>
                <a:cubicBezTo>
                  <a:pt x="4162386" y="1596477"/>
                  <a:pt x="4170013" y="1604101"/>
                  <a:pt x="4170013" y="1613543"/>
                </a:cubicBezTo>
                <a:cubicBezTo>
                  <a:pt x="4170013" y="1622981"/>
                  <a:pt x="4162386" y="1630605"/>
                  <a:pt x="4152947" y="1630605"/>
                </a:cubicBezTo>
                <a:cubicBezTo>
                  <a:pt x="4143505" y="1630605"/>
                  <a:pt x="4135881" y="1622981"/>
                  <a:pt x="4135881" y="1613543"/>
                </a:cubicBezTo>
                <a:cubicBezTo>
                  <a:pt x="4135881" y="1604101"/>
                  <a:pt x="4143505" y="1596477"/>
                  <a:pt x="4152947" y="1596477"/>
                </a:cubicBezTo>
                <a:close/>
                <a:moveTo>
                  <a:pt x="4306528" y="1594297"/>
                </a:moveTo>
                <a:cubicBezTo>
                  <a:pt x="4317060" y="1594297"/>
                  <a:pt x="4325771" y="1603011"/>
                  <a:pt x="4325771" y="1613539"/>
                </a:cubicBezTo>
                <a:cubicBezTo>
                  <a:pt x="4325771" y="1624068"/>
                  <a:pt x="4317060" y="1632786"/>
                  <a:pt x="4306528" y="1632786"/>
                </a:cubicBezTo>
                <a:cubicBezTo>
                  <a:pt x="4296000" y="1632786"/>
                  <a:pt x="4287286" y="1624068"/>
                  <a:pt x="4287286" y="1613539"/>
                </a:cubicBezTo>
                <a:cubicBezTo>
                  <a:pt x="4287286" y="1603011"/>
                  <a:pt x="4296000" y="1594297"/>
                  <a:pt x="4306528" y="1594297"/>
                </a:cubicBezTo>
                <a:close/>
                <a:moveTo>
                  <a:pt x="4460480" y="1592120"/>
                </a:moveTo>
                <a:cubicBezTo>
                  <a:pt x="4472460" y="1592120"/>
                  <a:pt x="4481898" y="1601562"/>
                  <a:pt x="4481898" y="1613543"/>
                </a:cubicBezTo>
                <a:cubicBezTo>
                  <a:pt x="4481898" y="1625524"/>
                  <a:pt x="4472094" y="1634966"/>
                  <a:pt x="4460480" y="1634966"/>
                </a:cubicBezTo>
                <a:cubicBezTo>
                  <a:pt x="4448495" y="1634966"/>
                  <a:pt x="4439057" y="1625524"/>
                  <a:pt x="4439057" y="1613543"/>
                </a:cubicBezTo>
                <a:cubicBezTo>
                  <a:pt x="4439057" y="1601562"/>
                  <a:pt x="4448495" y="1592120"/>
                  <a:pt x="4460480" y="1592120"/>
                </a:cubicBezTo>
                <a:close/>
                <a:moveTo>
                  <a:pt x="4614065" y="1591030"/>
                </a:moveTo>
                <a:cubicBezTo>
                  <a:pt x="4626774" y="1591030"/>
                  <a:pt x="4636940" y="1601196"/>
                  <a:pt x="4636940" y="1613905"/>
                </a:cubicBezTo>
                <a:cubicBezTo>
                  <a:pt x="4636940" y="1626610"/>
                  <a:pt x="4626774" y="1636780"/>
                  <a:pt x="4614065" y="1636780"/>
                </a:cubicBezTo>
                <a:cubicBezTo>
                  <a:pt x="4601356" y="1636780"/>
                  <a:pt x="4591190" y="1626610"/>
                  <a:pt x="4591190" y="1613905"/>
                </a:cubicBezTo>
                <a:cubicBezTo>
                  <a:pt x="4591190" y="1601196"/>
                  <a:pt x="4601356" y="1591030"/>
                  <a:pt x="4614065" y="1591030"/>
                </a:cubicBezTo>
                <a:close/>
                <a:moveTo>
                  <a:pt x="4768008" y="1588850"/>
                </a:moveTo>
                <a:cubicBezTo>
                  <a:pt x="4781808" y="1588850"/>
                  <a:pt x="4793064" y="1600106"/>
                  <a:pt x="4793064" y="1613901"/>
                </a:cubicBezTo>
                <a:cubicBezTo>
                  <a:pt x="4793064" y="1627700"/>
                  <a:pt x="4781808" y="1638957"/>
                  <a:pt x="4768008" y="1638957"/>
                </a:cubicBezTo>
                <a:cubicBezTo>
                  <a:pt x="4754214" y="1638957"/>
                  <a:pt x="4742956" y="1627700"/>
                  <a:pt x="4742956" y="1613901"/>
                </a:cubicBezTo>
                <a:cubicBezTo>
                  <a:pt x="4742956" y="1600106"/>
                  <a:pt x="4754214" y="1588850"/>
                  <a:pt x="4768008" y="1588850"/>
                </a:cubicBezTo>
                <a:close/>
                <a:moveTo>
                  <a:pt x="4921594" y="1586673"/>
                </a:moveTo>
                <a:cubicBezTo>
                  <a:pt x="4936480" y="1586673"/>
                  <a:pt x="4948826" y="1599020"/>
                  <a:pt x="4948826" y="1613905"/>
                </a:cubicBezTo>
                <a:cubicBezTo>
                  <a:pt x="4948826" y="1628791"/>
                  <a:pt x="4936842" y="1641137"/>
                  <a:pt x="4921594" y="1641137"/>
                </a:cubicBezTo>
                <a:cubicBezTo>
                  <a:pt x="4906704" y="1641137"/>
                  <a:pt x="4894362" y="1628791"/>
                  <a:pt x="4894362" y="1613905"/>
                </a:cubicBezTo>
                <a:cubicBezTo>
                  <a:pt x="4894362" y="1599020"/>
                  <a:pt x="4906704" y="1586673"/>
                  <a:pt x="4921594" y="1586673"/>
                </a:cubicBezTo>
                <a:close/>
                <a:moveTo>
                  <a:pt x="5075545" y="1584131"/>
                </a:moveTo>
                <a:cubicBezTo>
                  <a:pt x="5091883" y="1584131"/>
                  <a:pt x="5105316" y="1597564"/>
                  <a:pt x="5105316" y="1613901"/>
                </a:cubicBezTo>
                <a:cubicBezTo>
                  <a:pt x="5105316" y="1630243"/>
                  <a:pt x="5091883" y="1643676"/>
                  <a:pt x="5075545" y="1643676"/>
                </a:cubicBezTo>
                <a:cubicBezTo>
                  <a:pt x="5059204" y="1643676"/>
                  <a:pt x="5045770" y="1630243"/>
                  <a:pt x="5045770" y="1613901"/>
                </a:cubicBezTo>
                <a:cubicBezTo>
                  <a:pt x="5045770" y="1597564"/>
                  <a:pt x="5059204" y="1584131"/>
                  <a:pt x="5075545" y="1584131"/>
                </a:cubicBezTo>
                <a:close/>
                <a:moveTo>
                  <a:pt x="5229126" y="1581592"/>
                </a:moveTo>
                <a:cubicBezTo>
                  <a:pt x="5246916" y="1581592"/>
                  <a:pt x="5261078" y="1595753"/>
                  <a:pt x="5261078" y="1613543"/>
                </a:cubicBezTo>
                <a:cubicBezTo>
                  <a:pt x="5261078" y="1631333"/>
                  <a:pt x="5246916" y="1645494"/>
                  <a:pt x="5229126" y="1645494"/>
                </a:cubicBezTo>
                <a:cubicBezTo>
                  <a:pt x="5211336" y="1645494"/>
                  <a:pt x="5197175" y="1631333"/>
                  <a:pt x="5197175" y="1613543"/>
                </a:cubicBezTo>
                <a:cubicBezTo>
                  <a:pt x="5197175" y="1595753"/>
                  <a:pt x="5211336" y="1581592"/>
                  <a:pt x="5229126" y="1581592"/>
                </a:cubicBezTo>
                <a:close/>
                <a:moveTo>
                  <a:pt x="5383074" y="1579773"/>
                </a:moveTo>
                <a:cubicBezTo>
                  <a:pt x="5401592" y="1579773"/>
                  <a:pt x="5416844" y="1595025"/>
                  <a:pt x="5416844" y="1613539"/>
                </a:cubicBezTo>
                <a:cubicBezTo>
                  <a:pt x="5416844" y="1632058"/>
                  <a:pt x="5401592" y="1647309"/>
                  <a:pt x="5383074" y="1647309"/>
                </a:cubicBezTo>
                <a:cubicBezTo>
                  <a:pt x="5364560" y="1647309"/>
                  <a:pt x="5349308" y="1632058"/>
                  <a:pt x="5349308" y="1613539"/>
                </a:cubicBezTo>
                <a:cubicBezTo>
                  <a:pt x="5349308" y="1595025"/>
                  <a:pt x="5364560" y="1579773"/>
                  <a:pt x="5383074" y="1579773"/>
                </a:cubicBezTo>
                <a:close/>
                <a:moveTo>
                  <a:pt x="5536659" y="1577231"/>
                </a:moveTo>
                <a:cubicBezTo>
                  <a:pt x="5556630" y="1577231"/>
                  <a:pt x="5572968" y="1593569"/>
                  <a:pt x="5572968" y="1613539"/>
                </a:cubicBezTo>
                <a:cubicBezTo>
                  <a:pt x="5572968" y="1633510"/>
                  <a:pt x="5556630" y="1649848"/>
                  <a:pt x="5536659" y="1649848"/>
                </a:cubicBezTo>
                <a:cubicBezTo>
                  <a:pt x="5516688" y="1649848"/>
                  <a:pt x="5500351" y="1633510"/>
                  <a:pt x="5500351" y="1613539"/>
                </a:cubicBezTo>
                <a:cubicBezTo>
                  <a:pt x="5500351" y="1593569"/>
                  <a:pt x="5516688" y="1577231"/>
                  <a:pt x="5536659" y="1577231"/>
                </a:cubicBezTo>
                <a:close/>
                <a:moveTo>
                  <a:pt x="5690606" y="1574692"/>
                </a:moveTo>
                <a:cubicBezTo>
                  <a:pt x="5712026" y="1574692"/>
                  <a:pt x="5729458" y="1592120"/>
                  <a:pt x="5729458" y="1613543"/>
                </a:cubicBezTo>
                <a:cubicBezTo>
                  <a:pt x="5729458" y="1634962"/>
                  <a:pt x="5712026" y="1652390"/>
                  <a:pt x="5690606" y="1652390"/>
                </a:cubicBezTo>
                <a:cubicBezTo>
                  <a:pt x="5669184" y="1652390"/>
                  <a:pt x="5651756" y="1634962"/>
                  <a:pt x="5651756" y="1613543"/>
                </a:cubicBezTo>
                <a:cubicBezTo>
                  <a:pt x="5651756" y="1592120"/>
                  <a:pt x="5669184" y="1574692"/>
                  <a:pt x="5690606" y="1574692"/>
                </a:cubicBezTo>
                <a:close/>
                <a:moveTo>
                  <a:pt x="5844554" y="1572512"/>
                </a:moveTo>
                <a:cubicBezTo>
                  <a:pt x="5867429" y="1572512"/>
                  <a:pt x="5885585" y="1590668"/>
                  <a:pt x="5885585" y="1613539"/>
                </a:cubicBezTo>
                <a:cubicBezTo>
                  <a:pt x="5885585" y="1636415"/>
                  <a:pt x="5867067" y="1654567"/>
                  <a:pt x="5844554" y="1654567"/>
                </a:cubicBezTo>
                <a:cubicBezTo>
                  <a:pt x="5821682" y="1654567"/>
                  <a:pt x="5803526" y="1636415"/>
                  <a:pt x="5803526" y="1613539"/>
                </a:cubicBezTo>
                <a:cubicBezTo>
                  <a:pt x="5803526" y="1590668"/>
                  <a:pt x="5821682" y="1572512"/>
                  <a:pt x="5844554" y="1572512"/>
                </a:cubicBezTo>
                <a:close/>
                <a:moveTo>
                  <a:pt x="5998136" y="1569973"/>
                </a:moveTo>
                <a:cubicBezTo>
                  <a:pt x="6022101" y="1569973"/>
                  <a:pt x="6041706" y="1589578"/>
                  <a:pt x="6041706" y="1613543"/>
                </a:cubicBezTo>
                <a:cubicBezTo>
                  <a:pt x="6041706" y="1637505"/>
                  <a:pt x="6022101" y="1657113"/>
                  <a:pt x="5998136" y="1657113"/>
                </a:cubicBezTo>
                <a:cubicBezTo>
                  <a:pt x="5974174" y="1657113"/>
                  <a:pt x="5954566" y="1637505"/>
                  <a:pt x="5954566" y="1613543"/>
                </a:cubicBezTo>
                <a:cubicBezTo>
                  <a:pt x="5954566" y="1589578"/>
                  <a:pt x="5974174" y="1569973"/>
                  <a:pt x="5998136" y="1569973"/>
                </a:cubicBezTo>
                <a:close/>
                <a:moveTo>
                  <a:pt x="6152083" y="1567431"/>
                </a:moveTo>
                <a:cubicBezTo>
                  <a:pt x="6177500" y="1567431"/>
                  <a:pt x="6198196" y="1588125"/>
                  <a:pt x="6198196" y="1613543"/>
                </a:cubicBezTo>
                <a:cubicBezTo>
                  <a:pt x="6198196" y="1638957"/>
                  <a:pt x="6177500" y="1659656"/>
                  <a:pt x="6152083" y="1659656"/>
                </a:cubicBezTo>
                <a:cubicBezTo>
                  <a:pt x="6126669" y="1659656"/>
                  <a:pt x="6105974" y="1638957"/>
                  <a:pt x="6105974" y="1613543"/>
                </a:cubicBezTo>
                <a:cubicBezTo>
                  <a:pt x="6105974" y="1588125"/>
                  <a:pt x="6126669" y="1567431"/>
                  <a:pt x="6152083" y="1567431"/>
                </a:cubicBezTo>
                <a:close/>
                <a:moveTo>
                  <a:pt x="6305672" y="1564888"/>
                </a:moveTo>
                <a:cubicBezTo>
                  <a:pt x="6332538" y="1564888"/>
                  <a:pt x="6354323" y="1586673"/>
                  <a:pt x="6354323" y="1613543"/>
                </a:cubicBezTo>
                <a:cubicBezTo>
                  <a:pt x="6354323" y="1640409"/>
                  <a:pt x="6332538" y="1662194"/>
                  <a:pt x="6305672" y="1662194"/>
                </a:cubicBezTo>
                <a:cubicBezTo>
                  <a:pt x="6278802" y="1662194"/>
                  <a:pt x="6257016" y="1640409"/>
                  <a:pt x="6257016" y="1613543"/>
                </a:cubicBezTo>
                <a:cubicBezTo>
                  <a:pt x="6257016" y="1586673"/>
                  <a:pt x="6278802" y="1564888"/>
                  <a:pt x="6305672" y="1564888"/>
                </a:cubicBezTo>
                <a:close/>
                <a:moveTo>
                  <a:pt x="6459619" y="1562346"/>
                </a:moveTo>
                <a:cubicBezTo>
                  <a:pt x="6487938" y="1562346"/>
                  <a:pt x="6510813" y="1585221"/>
                  <a:pt x="6510813" y="1613539"/>
                </a:cubicBezTo>
                <a:cubicBezTo>
                  <a:pt x="6510813" y="1641862"/>
                  <a:pt x="6487938" y="1664733"/>
                  <a:pt x="6459619" y="1664733"/>
                </a:cubicBezTo>
                <a:cubicBezTo>
                  <a:pt x="6431297" y="1664733"/>
                  <a:pt x="6408422" y="1641862"/>
                  <a:pt x="6408422" y="1613539"/>
                </a:cubicBezTo>
                <a:cubicBezTo>
                  <a:pt x="6408422" y="1585221"/>
                  <a:pt x="6431297" y="1562346"/>
                  <a:pt x="6459619" y="1562346"/>
                </a:cubicBezTo>
                <a:close/>
                <a:moveTo>
                  <a:pt x="6613197" y="1560169"/>
                </a:moveTo>
                <a:cubicBezTo>
                  <a:pt x="6642610" y="1560169"/>
                  <a:pt x="6666575" y="1584131"/>
                  <a:pt x="6666575" y="1613543"/>
                </a:cubicBezTo>
                <a:cubicBezTo>
                  <a:pt x="6666575" y="1642952"/>
                  <a:pt x="6642610" y="1666914"/>
                  <a:pt x="6613197" y="1666914"/>
                </a:cubicBezTo>
                <a:cubicBezTo>
                  <a:pt x="6583788" y="1666914"/>
                  <a:pt x="6559826" y="1642952"/>
                  <a:pt x="6559826" y="1613543"/>
                </a:cubicBezTo>
                <a:cubicBezTo>
                  <a:pt x="6559826" y="1584131"/>
                  <a:pt x="6583788" y="1560169"/>
                  <a:pt x="6613197" y="1560169"/>
                </a:cubicBezTo>
                <a:close/>
                <a:moveTo>
                  <a:pt x="2153808" y="1459596"/>
                </a:moveTo>
                <a:cubicBezTo>
                  <a:pt x="2154170" y="1459596"/>
                  <a:pt x="2154170" y="1459596"/>
                  <a:pt x="2154170" y="1459958"/>
                </a:cubicBezTo>
                <a:cubicBezTo>
                  <a:pt x="2154170" y="1460324"/>
                  <a:pt x="2153808" y="1460324"/>
                  <a:pt x="2153808" y="1460324"/>
                </a:cubicBezTo>
                <a:cubicBezTo>
                  <a:pt x="2153445" y="1460324"/>
                  <a:pt x="2153445" y="1460324"/>
                  <a:pt x="2153445" y="1459958"/>
                </a:cubicBezTo>
                <a:cubicBezTo>
                  <a:pt x="2153445" y="1459596"/>
                  <a:pt x="2153445" y="1459596"/>
                  <a:pt x="2153808" y="1459596"/>
                </a:cubicBezTo>
                <a:close/>
                <a:moveTo>
                  <a:pt x="1692331" y="1459596"/>
                </a:moveTo>
                <a:cubicBezTo>
                  <a:pt x="1692694" y="1459596"/>
                  <a:pt x="1692694" y="1459596"/>
                  <a:pt x="1692694" y="1459958"/>
                </a:cubicBezTo>
                <a:cubicBezTo>
                  <a:pt x="1692694" y="1460324"/>
                  <a:pt x="1692331" y="1460324"/>
                  <a:pt x="1692331" y="1460324"/>
                </a:cubicBezTo>
                <a:cubicBezTo>
                  <a:pt x="1691969" y="1460324"/>
                  <a:pt x="1691969" y="1460324"/>
                  <a:pt x="1691969" y="1459958"/>
                </a:cubicBezTo>
                <a:cubicBezTo>
                  <a:pt x="1691969" y="1459596"/>
                  <a:pt x="1691969" y="1459596"/>
                  <a:pt x="1692331" y="1459596"/>
                </a:cubicBezTo>
                <a:close/>
                <a:moveTo>
                  <a:pt x="1538746" y="1459596"/>
                </a:moveTo>
                <a:cubicBezTo>
                  <a:pt x="1539108" y="1459596"/>
                  <a:pt x="1539108" y="1459596"/>
                  <a:pt x="1539108" y="1459958"/>
                </a:cubicBezTo>
                <a:cubicBezTo>
                  <a:pt x="1539108" y="1460324"/>
                  <a:pt x="1538746" y="1460324"/>
                  <a:pt x="1538746" y="1460324"/>
                </a:cubicBezTo>
                <a:cubicBezTo>
                  <a:pt x="1538384" y="1460324"/>
                  <a:pt x="1538384" y="1460324"/>
                  <a:pt x="1538384" y="1459958"/>
                </a:cubicBezTo>
                <a:cubicBezTo>
                  <a:pt x="1538384" y="1459596"/>
                  <a:pt x="1538384" y="1459596"/>
                  <a:pt x="1538746" y="1459596"/>
                </a:cubicBezTo>
                <a:close/>
                <a:moveTo>
                  <a:pt x="1384795" y="1459230"/>
                </a:moveTo>
                <a:cubicBezTo>
                  <a:pt x="1385161" y="1459230"/>
                  <a:pt x="1385523" y="1459592"/>
                  <a:pt x="1385523" y="1459958"/>
                </a:cubicBezTo>
                <a:cubicBezTo>
                  <a:pt x="1385523" y="1460320"/>
                  <a:pt x="1384795" y="1460682"/>
                  <a:pt x="1384795" y="1460682"/>
                </a:cubicBezTo>
                <a:cubicBezTo>
                  <a:pt x="1384433" y="1460682"/>
                  <a:pt x="1384071" y="1460320"/>
                  <a:pt x="1384071" y="1459958"/>
                </a:cubicBezTo>
                <a:cubicBezTo>
                  <a:pt x="1384071" y="1459592"/>
                  <a:pt x="1384433" y="1459230"/>
                  <a:pt x="1384795" y="1459230"/>
                </a:cubicBezTo>
                <a:close/>
                <a:moveTo>
                  <a:pt x="2307393" y="1458140"/>
                </a:moveTo>
                <a:cubicBezTo>
                  <a:pt x="2308117" y="1458140"/>
                  <a:pt x="2308845" y="1458868"/>
                  <a:pt x="2308845" y="1459592"/>
                </a:cubicBezTo>
                <a:cubicBezTo>
                  <a:pt x="2308845" y="1460320"/>
                  <a:pt x="2307393" y="1461044"/>
                  <a:pt x="2307393" y="1461044"/>
                </a:cubicBezTo>
                <a:cubicBezTo>
                  <a:pt x="2306665" y="1461044"/>
                  <a:pt x="2305941" y="1460320"/>
                  <a:pt x="2305941" y="1459592"/>
                </a:cubicBezTo>
                <a:cubicBezTo>
                  <a:pt x="2305941" y="1458868"/>
                  <a:pt x="2306665" y="1458140"/>
                  <a:pt x="2307393" y="1458140"/>
                </a:cubicBezTo>
                <a:close/>
                <a:moveTo>
                  <a:pt x="2461340" y="1457777"/>
                </a:moveTo>
                <a:cubicBezTo>
                  <a:pt x="2462430" y="1457777"/>
                  <a:pt x="2463521" y="1458868"/>
                  <a:pt x="2463521" y="1459954"/>
                </a:cubicBezTo>
                <a:cubicBezTo>
                  <a:pt x="2463521" y="1461044"/>
                  <a:pt x="2461340" y="1462134"/>
                  <a:pt x="2461340" y="1462134"/>
                </a:cubicBezTo>
                <a:cubicBezTo>
                  <a:pt x="2460254" y="1462134"/>
                  <a:pt x="2459164" y="1461044"/>
                  <a:pt x="2459164" y="1459954"/>
                </a:cubicBezTo>
                <a:cubicBezTo>
                  <a:pt x="2459164" y="1458868"/>
                  <a:pt x="2460254" y="1457777"/>
                  <a:pt x="2461340" y="1457777"/>
                </a:cubicBezTo>
                <a:close/>
                <a:moveTo>
                  <a:pt x="2614925" y="1456687"/>
                </a:moveTo>
                <a:cubicBezTo>
                  <a:pt x="2616744" y="1456687"/>
                  <a:pt x="2618192" y="1458140"/>
                  <a:pt x="2618192" y="1459954"/>
                </a:cubicBezTo>
                <a:cubicBezTo>
                  <a:pt x="2618192" y="1461769"/>
                  <a:pt x="2616744" y="1463225"/>
                  <a:pt x="2614925" y="1463225"/>
                </a:cubicBezTo>
                <a:cubicBezTo>
                  <a:pt x="2613111" y="1463225"/>
                  <a:pt x="2611659" y="1461769"/>
                  <a:pt x="2611659" y="1459954"/>
                </a:cubicBezTo>
                <a:cubicBezTo>
                  <a:pt x="2611659" y="1458140"/>
                  <a:pt x="2613111" y="1456687"/>
                  <a:pt x="2614925" y="1456687"/>
                </a:cubicBezTo>
                <a:close/>
                <a:moveTo>
                  <a:pt x="2768873" y="1455601"/>
                </a:moveTo>
                <a:cubicBezTo>
                  <a:pt x="2771415" y="1455601"/>
                  <a:pt x="2773230" y="1457415"/>
                  <a:pt x="2773230" y="1459958"/>
                </a:cubicBezTo>
                <a:cubicBezTo>
                  <a:pt x="2773230" y="1462500"/>
                  <a:pt x="2771053" y="1464315"/>
                  <a:pt x="2768873" y="1464315"/>
                </a:cubicBezTo>
                <a:cubicBezTo>
                  <a:pt x="2766330" y="1464315"/>
                  <a:pt x="2764516" y="1462500"/>
                  <a:pt x="2764516" y="1459958"/>
                </a:cubicBezTo>
                <a:cubicBezTo>
                  <a:pt x="2764516" y="1457415"/>
                  <a:pt x="2766330" y="1455601"/>
                  <a:pt x="2768873" y="1455601"/>
                </a:cubicBezTo>
                <a:close/>
                <a:moveTo>
                  <a:pt x="2922458" y="1454149"/>
                </a:moveTo>
                <a:cubicBezTo>
                  <a:pt x="2925725" y="1454149"/>
                  <a:pt x="2928267" y="1456691"/>
                  <a:pt x="2928267" y="1459958"/>
                </a:cubicBezTo>
                <a:cubicBezTo>
                  <a:pt x="2928267" y="1463225"/>
                  <a:pt x="2925725" y="1465767"/>
                  <a:pt x="2922458" y="1465767"/>
                </a:cubicBezTo>
                <a:cubicBezTo>
                  <a:pt x="2919191" y="1465767"/>
                  <a:pt x="2916649" y="1463225"/>
                  <a:pt x="2916649" y="1459958"/>
                </a:cubicBezTo>
                <a:cubicBezTo>
                  <a:pt x="2916649" y="1456691"/>
                  <a:pt x="2919191" y="1454149"/>
                  <a:pt x="2922458" y="1454149"/>
                </a:cubicBezTo>
                <a:close/>
                <a:moveTo>
                  <a:pt x="3076406" y="1452696"/>
                </a:moveTo>
                <a:cubicBezTo>
                  <a:pt x="3080400" y="1452696"/>
                  <a:pt x="3083667" y="1455963"/>
                  <a:pt x="3083667" y="1459958"/>
                </a:cubicBezTo>
                <a:cubicBezTo>
                  <a:pt x="3083667" y="1463953"/>
                  <a:pt x="3080400" y="1467220"/>
                  <a:pt x="3076406" y="1467220"/>
                </a:cubicBezTo>
                <a:cubicBezTo>
                  <a:pt x="3072410" y="1467220"/>
                  <a:pt x="3069144" y="1463953"/>
                  <a:pt x="3069144" y="1459958"/>
                </a:cubicBezTo>
                <a:cubicBezTo>
                  <a:pt x="3069144" y="1455963"/>
                  <a:pt x="3072410" y="1452696"/>
                  <a:pt x="3076406" y="1452696"/>
                </a:cubicBezTo>
                <a:close/>
                <a:moveTo>
                  <a:pt x="3230353" y="1450516"/>
                </a:moveTo>
                <a:cubicBezTo>
                  <a:pt x="3235438" y="1450516"/>
                  <a:pt x="3239433" y="1454511"/>
                  <a:pt x="3239433" y="1459592"/>
                </a:cubicBezTo>
                <a:cubicBezTo>
                  <a:pt x="3239433" y="1464677"/>
                  <a:pt x="3235438" y="1468672"/>
                  <a:pt x="3230353" y="1468672"/>
                </a:cubicBezTo>
                <a:cubicBezTo>
                  <a:pt x="3225272" y="1468672"/>
                  <a:pt x="3221277" y="1464677"/>
                  <a:pt x="3221277" y="1459592"/>
                </a:cubicBezTo>
                <a:cubicBezTo>
                  <a:pt x="3221277" y="1454511"/>
                  <a:pt x="3225272" y="1450516"/>
                  <a:pt x="3230353" y="1450516"/>
                </a:cubicBezTo>
                <a:close/>
                <a:moveTo>
                  <a:pt x="3383934" y="1449791"/>
                </a:moveTo>
                <a:cubicBezTo>
                  <a:pt x="3389382" y="1449791"/>
                  <a:pt x="3394100" y="1454511"/>
                  <a:pt x="3394100" y="1459958"/>
                </a:cubicBezTo>
                <a:cubicBezTo>
                  <a:pt x="3394100" y="1465405"/>
                  <a:pt x="3389744" y="1470124"/>
                  <a:pt x="3383934" y="1470124"/>
                </a:cubicBezTo>
                <a:cubicBezTo>
                  <a:pt x="3378487" y="1470124"/>
                  <a:pt x="3373768" y="1465405"/>
                  <a:pt x="3373768" y="1459958"/>
                </a:cubicBezTo>
                <a:cubicBezTo>
                  <a:pt x="3373768" y="1454511"/>
                  <a:pt x="3378487" y="1449791"/>
                  <a:pt x="3383934" y="1449791"/>
                </a:cubicBezTo>
                <a:close/>
                <a:moveTo>
                  <a:pt x="3537882" y="1447977"/>
                </a:moveTo>
                <a:cubicBezTo>
                  <a:pt x="3544419" y="1447977"/>
                  <a:pt x="3549866" y="1453424"/>
                  <a:pt x="3549866" y="1459958"/>
                </a:cubicBezTo>
                <a:cubicBezTo>
                  <a:pt x="3549866" y="1466495"/>
                  <a:pt x="3544419" y="1471939"/>
                  <a:pt x="3537882" y="1471939"/>
                </a:cubicBezTo>
                <a:cubicBezTo>
                  <a:pt x="3531348" y="1471939"/>
                  <a:pt x="3525901" y="1466495"/>
                  <a:pt x="3525901" y="1459958"/>
                </a:cubicBezTo>
                <a:cubicBezTo>
                  <a:pt x="3525901" y="1453424"/>
                  <a:pt x="3531348" y="1447977"/>
                  <a:pt x="3537882" y="1447977"/>
                </a:cubicBezTo>
                <a:close/>
                <a:moveTo>
                  <a:pt x="3691467" y="1445797"/>
                </a:moveTo>
                <a:cubicBezTo>
                  <a:pt x="3699094" y="1445797"/>
                  <a:pt x="3705266" y="1451968"/>
                  <a:pt x="3705266" y="1459596"/>
                </a:cubicBezTo>
                <a:cubicBezTo>
                  <a:pt x="3705266" y="1467220"/>
                  <a:pt x="3699094" y="1473391"/>
                  <a:pt x="3691467" y="1473391"/>
                </a:cubicBezTo>
                <a:cubicBezTo>
                  <a:pt x="3683843" y="1473391"/>
                  <a:pt x="3677672" y="1467220"/>
                  <a:pt x="3677672" y="1459596"/>
                </a:cubicBezTo>
                <a:cubicBezTo>
                  <a:pt x="3677672" y="1451968"/>
                  <a:pt x="3683843" y="1445797"/>
                  <a:pt x="3691467" y="1445797"/>
                </a:cubicBezTo>
                <a:close/>
                <a:moveTo>
                  <a:pt x="3845414" y="1444706"/>
                </a:moveTo>
                <a:cubicBezTo>
                  <a:pt x="3853839" y="1444706"/>
                  <a:pt x="3860666" y="1451534"/>
                  <a:pt x="3860666" y="1459954"/>
                </a:cubicBezTo>
                <a:cubicBezTo>
                  <a:pt x="3860666" y="1468378"/>
                  <a:pt x="3853839" y="1475205"/>
                  <a:pt x="3845414" y="1475205"/>
                </a:cubicBezTo>
                <a:cubicBezTo>
                  <a:pt x="3836994" y="1475205"/>
                  <a:pt x="3830167" y="1468378"/>
                  <a:pt x="3830167" y="1459954"/>
                </a:cubicBezTo>
                <a:cubicBezTo>
                  <a:pt x="3830167" y="1451534"/>
                  <a:pt x="3836994" y="1444706"/>
                  <a:pt x="3845414" y="1444706"/>
                </a:cubicBezTo>
                <a:close/>
                <a:moveTo>
                  <a:pt x="3999000" y="1442892"/>
                </a:moveTo>
                <a:cubicBezTo>
                  <a:pt x="4008438" y="1442892"/>
                  <a:pt x="4016066" y="1450516"/>
                  <a:pt x="4016066" y="1459958"/>
                </a:cubicBezTo>
                <a:cubicBezTo>
                  <a:pt x="4016066" y="1469396"/>
                  <a:pt x="4008438" y="1477020"/>
                  <a:pt x="3999000" y="1477020"/>
                </a:cubicBezTo>
                <a:cubicBezTo>
                  <a:pt x="3989558" y="1477020"/>
                  <a:pt x="3981934" y="1469396"/>
                  <a:pt x="3981934" y="1459958"/>
                </a:cubicBezTo>
                <a:cubicBezTo>
                  <a:pt x="3981934" y="1450516"/>
                  <a:pt x="3989558" y="1442892"/>
                  <a:pt x="3999000" y="1442892"/>
                </a:cubicBezTo>
                <a:close/>
                <a:moveTo>
                  <a:pt x="4152947" y="1440715"/>
                </a:moveTo>
                <a:cubicBezTo>
                  <a:pt x="4163578" y="1440715"/>
                  <a:pt x="4172194" y="1449330"/>
                  <a:pt x="4172194" y="1459958"/>
                </a:cubicBezTo>
                <a:cubicBezTo>
                  <a:pt x="4172194" y="1470585"/>
                  <a:pt x="4163578" y="1479200"/>
                  <a:pt x="4152947" y="1479200"/>
                </a:cubicBezTo>
                <a:cubicBezTo>
                  <a:pt x="4142320" y="1479200"/>
                  <a:pt x="4133704" y="1470585"/>
                  <a:pt x="4133704" y="1459958"/>
                </a:cubicBezTo>
                <a:cubicBezTo>
                  <a:pt x="4133704" y="1449330"/>
                  <a:pt x="4142320" y="1440715"/>
                  <a:pt x="4152947" y="1440715"/>
                </a:cubicBezTo>
                <a:close/>
                <a:moveTo>
                  <a:pt x="4306532" y="1438535"/>
                </a:moveTo>
                <a:cubicBezTo>
                  <a:pt x="4318513" y="1438535"/>
                  <a:pt x="4327952" y="1447977"/>
                  <a:pt x="4327952" y="1459958"/>
                </a:cubicBezTo>
                <a:cubicBezTo>
                  <a:pt x="4327952" y="1471939"/>
                  <a:pt x="4318151" y="1481381"/>
                  <a:pt x="4306532" y="1481381"/>
                </a:cubicBezTo>
                <a:cubicBezTo>
                  <a:pt x="4294552" y="1481381"/>
                  <a:pt x="4285110" y="1471939"/>
                  <a:pt x="4285110" y="1459958"/>
                </a:cubicBezTo>
                <a:cubicBezTo>
                  <a:pt x="4285110" y="1447977"/>
                  <a:pt x="4294552" y="1438535"/>
                  <a:pt x="4306532" y="1438535"/>
                </a:cubicBezTo>
                <a:close/>
                <a:moveTo>
                  <a:pt x="4460480" y="1437083"/>
                </a:moveTo>
                <a:cubicBezTo>
                  <a:pt x="4473112" y="1437083"/>
                  <a:pt x="4483355" y="1447325"/>
                  <a:pt x="4483355" y="1459958"/>
                </a:cubicBezTo>
                <a:cubicBezTo>
                  <a:pt x="4483355" y="1472591"/>
                  <a:pt x="4473112" y="1482833"/>
                  <a:pt x="4460480" y="1482833"/>
                </a:cubicBezTo>
                <a:cubicBezTo>
                  <a:pt x="4447847" y="1482833"/>
                  <a:pt x="4437604" y="1472591"/>
                  <a:pt x="4437604" y="1459958"/>
                </a:cubicBezTo>
                <a:cubicBezTo>
                  <a:pt x="4437604" y="1447325"/>
                  <a:pt x="4447847" y="1437083"/>
                  <a:pt x="4460480" y="1437083"/>
                </a:cubicBezTo>
                <a:close/>
                <a:moveTo>
                  <a:pt x="4614061" y="1434906"/>
                </a:moveTo>
                <a:cubicBezTo>
                  <a:pt x="4627860" y="1434906"/>
                  <a:pt x="4639116" y="1446163"/>
                  <a:pt x="4639116" y="1459958"/>
                </a:cubicBezTo>
                <a:cubicBezTo>
                  <a:pt x="4639116" y="1473757"/>
                  <a:pt x="4627860" y="1485013"/>
                  <a:pt x="4614061" y="1485013"/>
                </a:cubicBezTo>
                <a:cubicBezTo>
                  <a:pt x="4600266" y="1485013"/>
                  <a:pt x="4589010" y="1473757"/>
                  <a:pt x="4589010" y="1459958"/>
                </a:cubicBezTo>
                <a:cubicBezTo>
                  <a:pt x="4589010" y="1446163"/>
                  <a:pt x="4600266" y="1434906"/>
                  <a:pt x="4614061" y="1434906"/>
                </a:cubicBezTo>
                <a:close/>
                <a:moveTo>
                  <a:pt x="4768012" y="1432726"/>
                </a:moveTo>
                <a:cubicBezTo>
                  <a:pt x="4782898" y="1432726"/>
                  <a:pt x="4795244" y="1445072"/>
                  <a:pt x="4795244" y="1459958"/>
                </a:cubicBezTo>
                <a:cubicBezTo>
                  <a:pt x="4795244" y="1474843"/>
                  <a:pt x="4783260" y="1487190"/>
                  <a:pt x="4768012" y="1487190"/>
                </a:cubicBezTo>
                <a:cubicBezTo>
                  <a:pt x="4753123" y="1487190"/>
                  <a:pt x="4740780" y="1474843"/>
                  <a:pt x="4740780" y="1459958"/>
                </a:cubicBezTo>
                <a:cubicBezTo>
                  <a:pt x="4740780" y="1445072"/>
                  <a:pt x="4753123" y="1432726"/>
                  <a:pt x="4768012" y="1432726"/>
                </a:cubicBezTo>
                <a:close/>
                <a:moveTo>
                  <a:pt x="4921594" y="1430183"/>
                </a:moveTo>
                <a:cubicBezTo>
                  <a:pt x="4938038" y="1430183"/>
                  <a:pt x="4951368" y="1443513"/>
                  <a:pt x="4951368" y="1459954"/>
                </a:cubicBezTo>
                <a:cubicBezTo>
                  <a:pt x="4951368" y="1476399"/>
                  <a:pt x="4938038" y="1489729"/>
                  <a:pt x="4921594" y="1489729"/>
                </a:cubicBezTo>
                <a:cubicBezTo>
                  <a:pt x="4905153" y="1489729"/>
                  <a:pt x="4891823" y="1476399"/>
                  <a:pt x="4891823" y="1459954"/>
                </a:cubicBezTo>
                <a:cubicBezTo>
                  <a:pt x="4891823" y="1443513"/>
                  <a:pt x="4905153" y="1430183"/>
                  <a:pt x="4921594" y="1430183"/>
                </a:cubicBezTo>
                <a:close/>
                <a:moveTo>
                  <a:pt x="5075541" y="1428007"/>
                </a:moveTo>
                <a:cubicBezTo>
                  <a:pt x="5093332" y="1428007"/>
                  <a:pt x="5107492" y="1442168"/>
                  <a:pt x="5107492" y="1459958"/>
                </a:cubicBezTo>
                <a:cubicBezTo>
                  <a:pt x="5107492" y="1477748"/>
                  <a:pt x="5093332" y="1491909"/>
                  <a:pt x="5075541" y="1491909"/>
                </a:cubicBezTo>
                <a:cubicBezTo>
                  <a:pt x="5057751" y="1491909"/>
                  <a:pt x="5043590" y="1477748"/>
                  <a:pt x="5043590" y="1459958"/>
                </a:cubicBezTo>
                <a:cubicBezTo>
                  <a:pt x="5043590" y="1442168"/>
                  <a:pt x="5057751" y="1428007"/>
                  <a:pt x="5075541" y="1428007"/>
                </a:cubicBezTo>
                <a:close/>
                <a:moveTo>
                  <a:pt x="5229126" y="1426192"/>
                </a:moveTo>
                <a:cubicBezTo>
                  <a:pt x="5247774" y="1426192"/>
                  <a:pt x="5262892" y="1441310"/>
                  <a:pt x="5262892" y="1459958"/>
                </a:cubicBezTo>
                <a:cubicBezTo>
                  <a:pt x="5262892" y="1478610"/>
                  <a:pt x="5247774" y="1493724"/>
                  <a:pt x="5229126" y="1493724"/>
                </a:cubicBezTo>
                <a:cubicBezTo>
                  <a:pt x="5210478" y="1493724"/>
                  <a:pt x="5195360" y="1478610"/>
                  <a:pt x="5195360" y="1459958"/>
                </a:cubicBezTo>
                <a:cubicBezTo>
                  <a:pt x="5195360" y="1441310"/>
                  <a:pt x="5210478" y="1426192"/>
                  <a:pt x="5229126" y="1426192"/>
                </a:cubicBezTo>
                <a:close/>
                <a:moveTo>
                  <a:pt x="5383074" y="1423650"/>
                </a:moveTo>
                <a:cubicBezTo>
                  <a:pt x="5403044" y="1423650"/>
                  <a:pt x="5419382" y="1439987"/>
                  <a:pt x="5419382" y="1459958"/>
                </a:cubicBezTo>
                <a:cubicBezTo>
                  <a:pt x="5419382" y="1479928"/>
                  <a:pt x="5403044" y="1496266"/>
                  <a:pt x="5383074" y="1496266"/>
                </a:cubicBezTo>
                <a:cubicBezTo>
                  <a:pt x="5363104" y="1496266"/>
                  <a:pt x="5346766" y="1479928"/>
                  <a:pt x="5346766" y="1459958"/>
                </a:cubicBezTo>
                <a:cubicBezTo>
                  <a:pt x="5346766" y="1439987"/>
                  <a:pt x="5363104" y="1423650"/>
                  <a:pt x="5383074" y="1423650"/>
                </a:cubicBezTo>
                <a:close/>
                <a:moveTo>
                  <a:pt x="5536659" y="1421107"/>
                </a:moveTo>
                <a:cubicBezTo>
                  <a:pt x="5558078" y="1421107"/>
                  <a:pt x="5575506" y="1438535"/>
                  <a:pt x="5575506" y="1459958"/>
                </a:cubicBezTo>
                <a:cubicBezTo>
                  <a:pt x="5575506" y="1481377"/>
                  <a:pt x="5558078" y="1498805"/>
                  <a:pt x="5536659" y="1498805"/>
                </a:cubicBezTo>
                <a:cubicBezTo>
                  <a:pt x="5515236" y="1498805"/>
                  <a:pt x="5497808" y="1481377"/>
                  <a:pt x="5497808" y="1459958"/>
                </a:cubicBezTo>
                <a:cubicBezTo>
                  <a:pt x="5497808" y="1438535"/>
                  <a:pt x="5515236" y="1421107"/>
                  <a:pt x="5536659" y="1421107"/>
                </a:cubicBezTo>
                <a:close/>
                <a:moveTo>
                  <a:pt x="5690606" y="1418930"/>
                </a:moveTo>
                <a:cubicBezTo>
                  <a:pt x="5713482" y="1418930"/>
                  <a:pt x="5731638" y="1437086"/>
                  <a:pt x="5731638" y="1459958"/>
                </a:cubicBezTo>
                <a:cubicBezTo>
                  <a:pt x="5731638" y="1482833"/>
                  <a:pt x="5713120" y="1500985"/>
                  <a:pt x="5690606" y="1500985"/>
                </a:cubicBezTo>
                <a:cubicBezTo>
                  <a:pt x="5667735" y="1500985"/>
                  <a:pt x="5649579" y="1482833"/>
                  <a:pt x="5649579" y="1459958"/>
                </a:cubicBezTo>
                <a:cubicBezTo>
                  <a:pt x="5649579" y="1437086"/>
                  <a:pt x="5667735" y="1418930"/>
                  <a:pt x="5690606" y="1418930"/>
                </a:cubicBezTo>
                <a:close/>
                <a:moveTo>
                  <a:pt x="5844554" y="1416388"/>
                </a:moveTo>
                <a:cubicBezTo>
                  <a:pt x="5868516" y="1416388"/>
                  <a:pt x="5888124" y="1435996"/>
                  <a:pt x="5888124" y="1459958"/>
                </a:cubicBezTo>
                <a:cubicBezTo>
                  <a:pt x="5888124" y="1483923"/>
                  <a:pt x="5868516" y="1503528"/>
                  <a:pt x="5844554" y="1503528"/>
                </a:cubicBezTo>
                <a:cubicBezTo>
                  <a:pt x="5820588" y="1503528"/>
                  <a:pt x="5800984" y="1483923"/>
                  <a:pt x="5800984" y="1459958"/>
                </a:cubicBezTo>
                <a:cubicBezTo>
                  <a:pt x="5800984" y="1435996"/>
                  <a:pt x="5820588" y="1416388"/>
                  <a:pt x="5844554" y="1416388"/>
                </a:cubicBezTo>
                <a:close/>
                <a:moveTo>
                  <a:pt x="5998136" y="1413845"/>
                </a:moveTo>
                <a:cubicBezTo>
                  <a:pt x="6023553" y="1413845"/>
                  <a:pt x="6044248" y="1434540"/>
                  <a:pt x="6044248" y="1459958"/>
                </a:cubicBezTo>
                <a:cubicBezTo>
                  <a:pt x="6044248" y="1485372"/>
                  <a:pt x="6023553" y="1506070"/>
                  <a:pt x="5998136" y="1506070"/>
                </a:cubicBezTo>
                <a:cubicBezTo>
                  <a:pt x="5972722" y="1506070"/>
                  <a:pt x="5952026" y="1485372"/>
                  <a:pt x="5952026" y="1459958"/>
                </a:cubicBezTo>
                <a:cubicBezTo>
                  <a:pt x="5952026" y="1434540"/>
                  <a:pt x="5972722" y="1413845"/>
                  <a:pt x="5998136" y="1413845"/>
                </a:cubicBezTo>
                <a:close/>
                <a:moveTo>
                  <a:pt x="6152083" y="1411303"/>
                </a:moveTo>
                <a:cubicBezTo>
                  <a:pt x="6178953" y="1411303"/>
                  <a:pt x="6200738" y="1433088"/>
                  <a:pt x="6200738" y="1459958"/>
                </a:cubicBezTo>
                <a:cubicBezTo>
                  <a:pt x="6200738" y="1486824"/>
                  <a:pt x="6178953" y="1508609"/>
                  <a:pt x="6152083" y="1508609"/>
                </a:cubicBezTo>
                <a:cubicBezTo>
                  <a:pt x="6125216" y="1508609"/>
                  <a:pt x="6103432" y="1486824"/>
                  <a:pt x="6103432" y="1459958"/>
                </a:cubicBezTo>
                <a:cubicBezTo>
                  <a:pt x="6103432" y="1433088"/>
                  <a:pt x="6125216" y="1411303"/>
                  <a:pt x="6152083" y="1411303"/>
                </a:cubicBezTo>
                <a:close/>
                <a:moveTo>
                  <a:pt x="6305672" y="1408760"/>
                </a:moveTo>
                <a:cubicBezTo>
                  <a:pt x="6333990" y="1408760"/>
                  <a:pt x="6356866" y="1431635"/>
                  <a:pt x="6356866" y="1459954"/>
                </a:cubicBezTo>
                <a:cubicBezTo>
                  <a:pt x="6356866" y="1488276"/>
                  <a:pt x="6333990" y="1511148"/>
                  <a:pt x="6305672" y="1511148"/>
                </a:cubicBezTo>
                <a:cubicBezTo>
                  <a:pt x="6277350" y="1511148"/>
                  <a:pt x="6254474" y="1488276"/>
                  <a:pt x="6254474" y="1459954"/>
                </a:cubicBezTo>
                <a:cubicBezTo>
                  <a:pt x="6254474" y="1431635"/>
                  <a:pt x="6277350" y="1408760"/>
                  <a:pt x="6305672" y="1408760"/>
                </a:cubicBezTo>
                <a:close/>
                <a:moveTo>
                  <a:pt x="6459616" y="1406584"/>
                </a:moveTo>
                <a:cubicBezTo>
                  <a:pt x="6489024" y="1406584"/>
                  <a:pt x="6512990" y="1430545"/>
                  <a:pt x="6512990" y="1459958"/>
                </a:cubicBezTo>
                <a:cubicBezTo>
                  <a:pt x="6512990" y="1489367"/>
                  <a:pt x="6489024" y="1513328"/>
                  <a:pt x="6459616" y="1513328"/>
                </a:cubicBezTo>
                <a:cubicBezTo>
                  <a:pt x="6430206" y="1513328"/>
                  <a:pt x="6406241" y="1489367"/>
                  <a:pt x="6406241" y="1459958"/>
                </a:cubicBezTo>
                <a:cubicBezTo>
                  <a:pt x="6406241" y="1430545"/>
                  <a:pt x="6430206" y="1406584"/>
                  <a:pt x="6459616" y="1406584"/>
                </a:cubicBezTo>
                <a:close/>
                <a:moveTo>
                  <a:pt x="6613200" y="1403679"/>
                </a:moveTo>
                <a:cubicBezTo>
                  <a:pt x="6644424" y="1403679"/>
                  <a:pt x="6669476" y="1428731"/>
                  <a:pt x="6669476" y="1459958"/>
                </a:cubicBezTo>
                <a:cubicBezTo>
                  <a:pt x="6669476" y="1491181"/>
                  <a:pt x="6644424" y="1516233"/>
                  <a:pt x="6613200" y="1516233"/>
                </a:cubicBezTo>
                <a:cubicBezTo>
                  <a:pt x="6581974" y="1516233"/>
                  <a:pt x="6556922" y="1491181"/>
                  <a:pt x="6556922" y="1459958"/>
                </a:cubicBezTo>
                <a:cubicBezTo>
                  <a:pt x="6556922" y="1428731"/>
                  <a:pt x="6581974" y="1403679"/>
                  <a:pt x="6613200" y="1403679"/>
                </a:cubicBezTo>
                <a:close/>
                <a:moveTo>
                  <a:pt x="1999860" y="1305645"/>
                </a:moveTo>
                <a:cubicBezTo>
                  <a:pt x="2000222" y="1305645"/>
                  <a:pt x="2000222" y="1305645"/>
                  <a:pt x="2000222" y="1306007"/>
                </a:cubicBezTo>
                <a:cubicBezTo>
                  <a:pt x="2000222" y="1306373"/>
                  <a:pt x="1999860" y="1306373"/>
                  <a:pt x="1999860" y="1306373"/>
                </a:cubicBezTo>
                <a:cubicBezTo>
                  <a:pt x="1999498" y="1306373"/>
                  <a:pt x="1999498" y="1306373"/>
                  <a:pt x="1999498" y="1306007"/>
                </a:cubicBezTo>
                <a:cubicBezTo>
                  <a:pt x="1999498" y="1305645"/>
                  <a:pt x="1999498" y="1305645"/>
                  <a:pt x="1999860" y="1305645"/>
                </a:cubicBezTo>
                <a:close/>
                <a:moveTo>
                  <a:pt x="1538746" y="1305645"/>
                </a:moveTo>
                <a:cubicBezTo>
                  <a:pt x="1539108" y="1305645"/>
                  <a:pt x="1539108" y="1305645"/>
                  <a:pt x="1539108" y="1306007"/>
                </a:cubicBezTo>
                <a:cubicBezTo>
                  <a:pt x="1539108" y="1306373"/>
                  <a:pt x="1538746" y="1306373"/>
                  <a:pt x="1538746" y="1306373"/>
                </a:cubicBezTo>
                <a:cubicBezTo>
                  <a:pt x="1538384" y="1306373"/>
                  <a:pt x="1538384" y="1306373"/>
                  <a:pt x="1538384" y="1306007"/>
                </a:cubicBezTo>
                <a:cubicBezTo>
                  <a:pt x="1538384" y="1305645"/>
                  <a:pt x="1538384" y="1305645"/>
                  <a:pt x="1538746" y="1305645"/>
                </a:cubicBezTo>
                <a:close/>
                <a:moveTo>
                  <a:pt x="1384799" y="1305645"/>
                </a:moveTo>
                <a:cubicBezTo>
                  <a:pt x="1385161" y="1305645"/>
                  <a:pt x="1385161" y="1305645"/>
                  <a:pt x="1385161" y="1306007"/>
                </a:cubicBezTo>
                <a:cubicBezTo>
                  <a:pt x="1385161" y="1306373"/>
                  <a:pt x="1384799" y="1306373"/>
                  <a:pt x="1384799" y="1306373"/>
                </a:cubicBezTo>
                <a:cubicBezTo>
                  <a:pt x="1384437" y="1306373"/>
                  <a:pt x="1384437" y="1306373"/>
                  <a:pt x="1384437" y="1306007"/>
                </a:cubicBezTo>
                <a:cubicBezTo>
                  <a:pt x="1384437" y="1305645"/>
                  <a:pt x="1384437" y="1305645"/>
                  <a:pt x="1384799" y="1305645"/>
                </a:cubicBezTo>
                <a:close/>
                <a:moveTo>
                  <a:pt x="1231217" y="1305282"/>
                </a:moveTo>
                <a:cubicBezTo>
                  <a:pt x="1231618" y="1305282"/>
                  <a:pt x="1231942" y="1305606"/>
                  <a:pt x="1231942" y="1306010"/>
                </a:cubicBezTo>
                <a:cubicBezTo>
                  <a:pt x="1231942" y="1306411"/>
                  <a:pt x="1231618" y="1306735"/>
                  <a:pt x="1231217" y="1306735"/>
                </a:cubicBezTo>
                <a:cubicBezTo>
                  <a:pt x="1230813" y="1306735"/>
                  <a:pt x="1230489" y="1306411"/>
                  <a:pt x="1230489" y="1306010"/>
                </a:cubicBezTo>
                <a:cubicBezTo>
                  <a:pt x="1230489" y="1305606"/>
                  <a:pt x="1230813" y="1305282"/>
                  <a:pt x="1231217" y="1305282"/>
                </a:cubicBezTo>
                <a:close/>
                <a:moveTo>
                  <a:pt x="2153811" y="1304558"/>
                </a:moveTo>
                <a:cubicBezTo>
                  <a:pt x="2154536" y="1304558"/>
                  <a:pt x="2155264" y="1305286"/>
                  <a:pt x="2155264" y="1306010"/>
                </a:cubicBezTo>
                <a:cubicBezTo>
                  <a:pt x="2155264" y="1306739"/>
                  <a:pt x="2153811" y="1307463"/>
                  <a:pt x="2153811" y="1307463"/>
                </a:cubicBezTo>
                <a:cubicBezTo>
                  <a:pt x="2153083" y="1307463"/>
                  <a:pt x="2152359" y="1306739"/>
                  <a:pt x="2152359" y="1306010"/>
                </a:cubicBezTo>
                <a:cubicBezTo>
                  <a:pt x="2152359" y="1305286"/>
                  <a:pt x="2153083" y="1304558"/>
                  <a:pt x="2153811" y="1304558"/>
                </a:cubicBezTo>
                <a:close/>
                <a:moveTo>
                  <a:pt x="2307393" y="1303830"/>
                </a:moveTo>
                <a:cubicBezTo>
                  <a:pt x="2308483" y="1303830"/>
                  <a:pt x="2309573" y="1304920"/>
                  <a:pt x="2309573" y="1306010"/>
                </a:cubicBezTo>
                <a:cubicBezTo>
                  <a:pt x="2309573" y="1307097"/>
                  <a:pt x="2307393" y="1308187"/>
                  <a:pt x="2307393" y="1308187"/>
                </a:cubicBezTo>
                <a:cubicBezTo>
                  <a:pt x="2306306" y="1308187"/>
                  <a:pt x="2305216" y="1307097"/>
                  <a:pt x="2305216" y="1306010"/>
                </a:cubicBezTo>
                <a:cubicBezTo>
                  <a:pt x="2305216" y="1304920"/>
                  <a:pt x="2306306" y="1303830"/>
                  <a:pt x="2307393" y="1303830"/>
                </a:cubicBezTo>
                <a:close/>
                <a:moveTo>
                  <a:pt x="2461344" y="1303106"/>
                </a:moveTo>
                <a:cubicBezTo>
                  <a:pt x="2463159" y="1303106"/>
                  <a:pt x="2464611" y="1304558"/>
                  <a:pt x="2464611" y="1306373"/>
                </a:cubicBezTo>
                <a:cubicBezTo>
                  <a:pt x="2464611" y="1308187"/>
                  <a:pt x="2463159" y="1309643"/>
                  <a:pt x="2461344" y="1309643"/>
                </a:cubicBezTo>
                <a:cubicBezTo>
                  <a:pt x="2459526" y="1309643"/>
                  <a:pt x="2458073" y="1308187"/>
                  <a:pt x="2458073" y="1306373"/>
                </a:cubicBezTo>
                <a:cubicBezTo>
                  <a:pt x="2458073" y="1304558"/>
                  <a:pt x="2459526" y="1303106"/>
                  <a:pt x="2461344" y="1303106"/>
                </a:cubicBezTo>
                <a:close/>
                <a:moveTo>
                  <a:pt x="2614925" y="1301653"/>
                </a:moveTo>
                <a:cubicBezTo>
                  <a:pt x="2617468" y="1301653"/>
                  <a:pt x="2619283" y="1303468"/>
                  <a:pt x="2619283" y="1306010"/>
                </a:cubicBezTo>
                <a:cubicBezTo>
                  <a:pt x="2619283" y="1308553"/>
                  <a:pt x="2617102" y="1310367"/>
                  <a:pt x="2614925" y="1310367"/>
                </a:cubicBezTo>
                <a:cubicBezTo>
                  <a:pt x="2612383" y="1310367"/>
                  <a:pt x="2610568" y="1308553"/>
                  <a:pt x="2610568" y="1306010"/>
                </a:cubicBezTo>
                <a:cubicBezTo>
                  <a:pt x="2610568" y="1303468"/>
                  <a:pt x="2612383" y="1301653"/>
                  <a:pt x="2614925" y="1301653"/>
                </a:cubicBezTo>
                <a:close/>
                <a:moveTo>
                  <a:pt x="2768873" y="1300563"/>
                </a:moveTo>
                <a:cubicBezTo>
                  <a:pt x="2772140" y="1300563"/>
                  <a:pt x="2774682" y="1303106"/>
                  <a:pt x="2774682" y="1306373"/>
                </a:cubicBezTo>
                <a:cubicBezTo>
                  <a:pt x="2774682" y="1309639"/>
                  <a:pt x="2772140" y="1312182"/>
                  <a:pt x="2768873" y="1312182"/>
                </a:cubicBezTo>
                <a:cubicBezTo>
                  <a:pt x="2765606" y="1312182"/>
                  <a:pt x="2763064" y="1309639"/>
                  <a:pt x="2763064" y="1306373"/>
                </a:cubicBezTo>
                <a:cubicBezTo>
                  <a:pt x="2763064" y="1303106"/>
                  <a:pt x="2765606" y="1300563"/>
                  <a:pt x="2768873" y="1300563"/>
                </a:cubicBezTo>
                <a:close/>
                <a:moveTo>
                  <a:pt x="2922458" y="1298749"/>
                </a:moveTo>
                <a:cubicBezTo>
                  <a:pt x="2926453" y="1298749"/>
                  <a:pt x="2929720" y="1302015"/>
                  <a:pt x="2929720" y="1306010"/>
                </a:cubicBezTo>
                <a:cubicBezTo>
                  <a:pt x="2929720" y="1310005"/>
                  <a:pt x="2926453" y="1313272"/>
                  <a:pt x="2922458" y="1313272"/>
                </a:cubicBezTo>
                <a:cubicBezTo>
                  <a:pt x="2918463" y="1313272"/>
                  <a:pt x="2915196" y="1310005"/>
                  <a:pt x="2915196" y="1306010"/>
                </a:cubicBezTo>
                <a:cubicBezTo>
                  <a:pt x="2915196" y="1302015"/>
                  <a:pt x="2918463" y="1298749"/>
                  <a:pt x="2922458" y="1298749"/>
                </a:cubicBezTo>
                <a:close/>
                <a:moveTo>
                  <a:pt x="3076406" y="1296934"/>
                </a:moveTo>
                <a:cubicBezTo>
                  <a:pt x="3081490" y="1296934"/>
                  <a:pt x="3085486" y="1300929"/>
                  <a:pt x="3085486" y="1306010"/>
                </a:cubicBezTo>
                <a:cubicBezTo>
                  <a:pt x="3085486" y="1311096"/>
                  <a:pt x="3081490" y="1315090"/>
                  <a:pt x="3076406" y="1315090"/>
                </a:cubicBezTo>
                <a:cubicBezTo>
                  <a:pt x="3071324" y="1315090"/>
                  <a:pt x="3067329" y="1311096"/>
                  <a:pt x="3067329" y="1306010"/>
                </a:cubicBezTo>
                <a:cubicBezTo>
                  <a:pt x="3067329" y="1300929"/>
                  <a:pt x="3071324" y="1296934"/>
                  <a:pt x="3076406" y="1296934"/>
                </a:cubicBezTo>
                <a:close/>
                <a:moveTo>
                  <a:pt x="3230353" y="1295844"/>
                </a:moveTo>
                <a:cubicBezTo>
                  <a:pt x="3235800" y="1295844"/>
                  <a:pt x="3240519" y="1300563"/>
                  <a:pt x="3240519" y="1306010"/>
                </a:cubicBezTo>
                <a:cubicBezTo>
                  <a:pt x="3240519" y="1311458"/>
                  <a:pt x="3236162" y="1316177"/>
                  <a:pt x="3230353" y="1316177"/>
                </a:cubicBezTo>
                <a:cubicBezTo>
                  <a:pt x="3224906" y="1316177"/>
                  <a:pt x="3220186" y="1311458"/>
                  <a:pt x="3220186" y="1306010"/>
                </a:cubicBezTo>
                <a:cubicBezTo>
                  <a:pt x="3220186" y="1300563"/>
                  <a:pt x="3224906" y="1295844"/>
                  <a:pt x="3230353" y="1295844"/>
                </a:cubicBezTo>
                <a:close/>
                <a:moveTo>
                  <a:pt x="3383934" y="1294026"/>
                </a:moveTo>
                <a:cubicBezTo>
                  <a:pt x="3390472" y="1294026"/>
                  <a:pt x="3395919" y="1299473"/>
                  <a:pt x="3395919" y="1306007"/>
                </a:cubicBezTo>
                <a:cubicBezTo>
                  <a:pt x="3395919" y="1312544"/>
                  <a:pt x="3390472" y="1317987"/>
                  <a:pt x="3383934" y="1317987"/>
                </a:cubicBezTo>
                <a:cubicBezTo>
                  <a:pt x="3377401" y="1317987"/>
                  <a:pt x="3371954" y="1312544"/>
                  <a:pt x="3371954" y="1306007"/>
                </a:cubicBezTo>
                <a:cubicBezTo>
                  <a:pt x="3371954" y="1299473"/>
                  <a:pt x="3377401" y="1294026"/>
                  <a:pt x="3383934" y="1294026"/>
                </a:cubicBezTo>
                <a:close/>
                <a:moveTo>
                  <a:pt x="3537886" y="1292211"/>
                </a:moveTo>
                <a:cubicBezTo>
                  <a:pt x="3545509" y="1292211"/>
                  <a:pt x="3551681" y="1298383"/>
                  <a:pt x="3551681" y="1306010"/>
                </a:cubicBezTo>
                <a:cubicBezTo>
                  <a:pt x="3551681" y="1313634"/>
                  <a:pt x="3545509" y="1319806"/>
                  <a:pt x="3537886" y="1319806"/>
                </a:cubicBezTo>
                <a:cubicBezTo>
                  <a:pt x="3530258" y="1319806"/>
                  <a:pt x="3524086" y="1313634"/>
                  <a:pt x="3524086" y="1306010"/>
                </a:cubicBezTo>
                <a:cubicBezTo>
                  <a:pt x="3524086" y="1298383"/>
                  <a:pt x="3530258" y="1292211"/>
                  <a:pt x="3537886" y="1292211"/>
                </a:cubicBezTo>
                <a:close/>
                <a:moveTo>
                  <a:pt x="3691467" y="1290759"/>
                </a:moveTo>
                <a:cubicBezTo>
                  <a:pt x="3699891" y="1290759"/>
                  <a:pt x="3706718" y="1297586"/>
                  <a:pt x="3706718" y="1306010"/>
                </a:cubicBezTo>
                <a:cubicBezTo>
                  <a:pt x="3706718" y="1314431"/>
                  <a:pt x="3699891" y="1321258"/>
                  <a:pt x="3691467" y="1321258"/>
                </a:cubicBezTo>
                <a:cubicBezTo>
                  <a:pt x="3683046" y="1321258"/>
                  <a:pt x="3676219" y="1314431"/>
                  <a:pt x="3676219" y="1306010"/>
                </a:cubicBezTo>
                <a:cubicBezTo>
                  <a:pt x="3676219" y="1297586"/>
                  <a:pt x="3683046" y="1290759"/>
                  <a:pt x="3691467" y="1290759"/>
                </a:cubicBezTo>
                <a:close/>
                <a:moveTo>
                  <a:pt x="3845418" y="1288945"/>
                </a:moveTo>
                <a:cubicBezTo>
                  <a:pt x="3854856" y="1288945"/>
                  <a:pt x="3862484" y="1296568"/>
                  <a:pt x="3862484" y="1306010"/>
                </a:cubicBezTo>
                <a:cubicBezTo>
                  <a:pt x="3862484" y="1315449"/>
                  <a:pt x="3854856" y="1323072"/>
                  <a:pt x="3845418" y="1323072"/>
                </a:cubicBezTo>
                <a:cubicBezTo>
                  <a:pt x="3835976" y="1323072"/>
                  <a:pt x="3828352" y="1315449"/>
                  <a:pt x="3828352" y="1306010"/>
                </a:cubicBezTo>
                <a:cubicBezTo>
                  <a:pt x="3828352" y="1296568"/>
                  <a:pt x="3835976" y="1288945"/>
                  <a:pt x="3845418" y="1288945"/>
                </a:cubicBezTo>
                <a:close/>
                <a:moveTo>
                  <a:pt x="3999000" y="1286768"/>
                </a:moveTo>
                <a:cubicBezTo>
                  <a:pt x="4009627" y="1286768"/>
                  <a:pt x="4018242" y="1295383"/>
                  <a:pt x="4018242" y="1306010"/>
                </a:cubicBezTo>
                <a:cubicBezTo>
                  <a:pt x="4018242" y="1316638"/>
                  <a:pt x="4009627" y="1325257"/>
                  <a:pt x="3999000" y="1325257"/>
                </a:cubicBezTo>
                <a:cubicBezTo>
                  <a:pt x="3988372" y="1325257"/>
                  <a:pt x="3979757" y="1316638"/>
                  <a:pt x="3979757" y="1306010"/>
                </a:cubicBezTo>
                <a:cubicBezTo>
                  <a:pt x="3979757" y="1295383"/>
                  <a:pt x="3988372" y="1286768"/>
                  <a:pt x="3999000" y="1286768"/>
                </a:cubicBezTo>
                <a:close/>
                <a:moveTo>
                  <a:pt x="4152947" y="1284588"/>
                </a:moveTo>
                <a:cubicBezTo>
                  <a:pt x="4164928" y="1284588"/>
                  <a:pt x="4174366" y="1294026"/>
                  <a:pt x="4174366" y="1306010"/>
                </a:cubicBezTo>
                <a:cubicBezTo>
                  <a:pt x="4174366" y="1317991"/>
                  <a:pt x="4164562" y="1327433"/>
                  <a:pt x="4152947" y="1327433"/>
                </a:cubicBezTo>
                <a:cubicBezTo>
                  <a:pt x="4140962" y="1327433"/>
                  <a:pt x="4131524" y="1317991"/>
                  <a:pt x="4131524" y="1306010"/>
                </a:cubicBezTo>
                <a:cubicBezTo>
                  <a:pt x="4131524" y="1294026"/>
                  <a:pt x="4140962" y="1284588"/>
                  <a:pt x="4152947" y="1284588"/>
                </a:cubicBezTo>
                <a:close/>
                <a:moveTo>
                  <a:pt x="4306532" y="1283135"/>
                </a:moveTo>
                <a:cubicBezTo>
                  <a:pt x="4319165" y="1283135"/>
                  <a:pt x="4329404" y="1293378"/>
                  <a:pt x="4329404" y="1306010"/>
                </a:cubicBezTo>
                <a:cubicBezTo>
                  <a:pt x="4329404" y="1318643"/>
                  <a:pt x="4319165" y="1328886"/>
                  <a:pt x="4306532" y="1328886"/>
                </a:cubicBezTo>
                <a:cubicBezTo>
                  <a:pt x="4293900" y="1328886"/>
                  <a:pt x="4283657" y="1318643"/>
                  <a:pt x="4283657" y="1306010"/>
                </a:cubicBezTo>
                <a:cubicBezTo>
                  <a:pt x="4283657" y="1293378"/>
                  <a:pt x="4293900" y="1283135"/>
                  <a:pt x="4306532" y="1283135"/>
                </a:cubicBezTo>
                <a:close/>
                <a:moveTo>
                  <a:pt x="4460480" y="1281321"/>
                </a:moveTo>
                <a:cubicBezTo>
                  <a:pt x="4474279" y="1281321"/>
                  <a:pt x="4485536" y="1292577"/>
                  <a:pt x="4485536" y="1306373"/>
                </a:cubicBezTo>
                <a:cubicBezTo>
                  <a:pt x="4485536" y="1320172"/>
                  <a:pt x="4474279" y="1331424"/>
                  <a:pt x="4460480" y="1331424"/>
                </a:cubicBezTo>
                <a:cubicBezTo>
                  <a:pt x="4446684" y="1331424"/>
                  <a:pt x="4435428" y="1320172"/>
                  <a:pt x="4435428" y="1306373"/>
                </a:cubicBezTo>
                <a:cubicBezTo>
                  <a:pt x="4435428" y="1292577"/>
                  <a:pt x="4446684" y="1281321"/>
                  <a:pt x="4460480" y="1281321"/>
                </a:cubicBezTo>
                <a:close/>
                <a:moveTo>
                  <a:pt x="4614065" y="1278778"/>
                </a:moveTo>
                <a:cubicBezTo>
                  <a:pt x="4628950" y="1278778"/>
                  <a:pt x="4641297" y="1291125"/>
                  <a:pt x="4641297" y="1306010"/>
                </a:cubicBezTo>
                <a:cubicBezTo>
                  <a:pt x="4641297" y="1320896"/>
                  <a:pt x="4629312" y="1333243"/>
                  <a:pt x="4614065" y="1333243"/>
                </a:cubicBezTo>
                <a:cubicBezTo>
                  <a:pt x="4599176" y="1333243"/>
                  <a:pt x="4586832" y="1320896"/>
                  <a:pt x="4586832" y="1306010"/>
                </a:cubicBezTo>
                <a:cubicBezTo>
                  <a:pt x="4586832" y="1291125"/>
                  <a:pt x="4599176" y="1278778"/>
                  <a:pt x="4614065" y="1278778"/>
                </a:cubicBezTo>
                <a:close/>
                <a:moveTo>
                  <a:pt x="4768008" y="1276236"/>
                </a:moveTo>
                <a:cubicBezTo>
                  <a:pt x="4784453" y="1276236"/>
                  <a:pt x="4797784" y="1289566"/>
                  <a:pt x="4797784" y="1306010"/>
                </a:cubicBezTo>
                <a:cubicBezTo>
                  <a:pt x="4797784" y="1322451"/>
                  <a:pt x="4784453" y="1335781"/>
                  <a:pt x="4768008" y="1335781"/>
                </a:cubicBezTo>
                <a:cubicBezTo>
                  <a:pt x="4751568" y="1335781"/>
                  <a:pt x="4738238" y="1322451"/>
                  <a:pt x="4738238" y="1306010"/>
                </a:cubicBezTo>
                <a:cubicBezTo>
                  <a:pt x="4738238" y="1289566"/>
                  <a:pt x="4751568" y="1276236"/>
                  <a:pt x="4768008" y="1276236"/>
                </a:cubicBezTo>
                <a:close/>
                <a:moveTo>
                  <a:pt x="4921594" y="1274059"/>
                </a:moveTo>
                <a:cubicBezTo>
                  <a:pt x="4939384" y="1274059"/>
                  <a:pt x="4953545" y="1288220"/>
                  <a:pt x="4953545" y="1306010"/>
                </a:cubicBezTo>
                <a:cubicBezTo>
                  <a:pt x="4953545" y="1323801"/>
                  <a:pt x="4939384" y="1337962"/>
                  <a:pt x="4921594" y="1337962"/>
                </a:cubicBezTo>
                <a:cubicBezTo>
                  <a:pt x="4903804" y="1337962"/>
                  <a:pt x="4889642" y="1323801"/>
                  <a:pt x="4889642" y="1306010"/>
                </a:cubicBezTo>
                <a:cubicBezTo>
                  <a:pt x="4889642" y="1288220"/>
                  <a:pt x="4903804" y="1274059"/>
                  <a:pt x="4921594" y="1274059"/>
                </a:cubicBezTo>
                <a:close/>
                <a:moveTo>
                  <a:pt x="5075541" y="1272245"/>
                </a:moveTo>
                <a:cubicBezTo>
                  <a:pt x="5094060" y="1272245"/>
                  <a:pt x="5109311" y="1287492"/>
                  <a:pt x="5109311" y="1306010"/>
                </a:cubicBezTo>
                <a:cubicBezTo>
                  <a:pt x="5109311" y="1324529"/>
                  <a:pt x="5094060" y="1339780"/>
                  <a:pt x="5075541" y="1339780"/>
                </a:cubicBezTo>
                <a:cubicBezTo>
                  <a:pt x="5057027" y="1339780"/>
                  <a:pt x="5041776" y="1324529"/>
                  <a:pt x="5041776" y="1306010"/>
                </a:cubicBezTo>
                <a:cubicBezTo>
                  <a:pt x="5041776" y="1287492"/>
                  <a:pt x="5057027" y="1272245"/>
                  <a:pt x="5075541" y="1272245"/>
                </a:cubicBezTo>
                <a:close/>
                <a:moveTo>
                  <a:pt x="5229126" y="1269702"/>
                </a:moveTo>
                <a:cubicBezTo>
                  <a:pt x="5249097" y="1269702"/>
                  <a:pt x="5265435" y="1286040"/>
                  <a:pt x="5265435" y="1306010"/>
                </a:cubicBezTo>
                <a:cubicBezTo>
                  <a:pt x="5265435" y="1325981"/>
                  <a:pt x="5249097" y="1342319"/>
                  <a:pt x="5229126" y="1342319"/>
                </a:cubicBezTo>
                <a:cubicBezTo>
                  <a:pt x="5209156" y="1342319"/>
                  <a:pt x="5192818" y="1325981"/>
                  <a:pt x="5192818" y="1306010"/>
                </a:cubicBezTo>
                <a:cubicBezTo>
                  <a:pt x="5192818" y="1286040"/>
                  <a:pt x="5209156" y="1269702"/>
                  <a:pt x="5229126" y="1269702"/>
                </a:cubicBezTo>
                <a:close/>
                <a:moveTo>
                  <a:pt x="5383074" y="1267160"/>
                </a:moveTo>
                <a:cubicBezTo>
                  <a:pt x="5404496" y="1267160"/>
                  <a:pt x="5421921" y="1284588"/>
                  <a:pt x="5421921" y="1306010"/>
                </a:cubicBezTo>
                <a:cubicBezTo>
                  <a:pt x="5421921" y="1327430"/>
                  <a:pt x="5404496" y="1344858"/>
                  <a:pt x="5383074" y="1344858"/>
                </a:cubicBezTo>
                <a:cubicBezTo>
                  <a:pt x="5361651" y="1344858"/>
                  <a:pt x="5344223" y="1327430"/>
                  <a:pt x="5344223" y="1306010"/>
                </a:cubicBezTo>
                <a:cubicBezTo>
                  <a:pt x="5344223" y="1284588"/>
                  <a:pt x="5361651" y="1267160"/>
                  <a:pt x="5383074" y="1267160"/>
                </a:cubicBezTo>
                <a:close/>
                <a:moveTo>
                  <a:pt x="5536659" y="1264983"/>
                </a:moveTo>
                <a:cubicBezTo>
                  <a:pt x="5559534" y="1264983"/>
                  <a:pt x="5577690" y="1283139"/>
                  <a:pt x="5577690" y="1306010"/>
                </a:cubicBezTo>
                <a:cubicBezTo>
                  <a:pt x="5577690" y="1328886"/>
                  <a:pt x="5559172" y="1347038"/>
                  <a:pt x="5536659" y="1347038"/>
                </a:cubicBezTo>
                <a:cubicBezTo>
                  <a:pt x="5513788" y="1347038"/>
                  <a:pt x="5495632" y="1328886"/>
                  <a:pt x="5495632" y="1306010"/>
                </a:cubicBezTo>
                <a:cubicBezTo>
                  <a:pt x="5495632" y="1283139"/>
                  <a:pt x="5513788" y="1264983"/>
                  <a:pt x="5536659" y="1264983"/>
                </a:cubicBezTo>
                <a:close/>
                <a:moveTo>
                  <a:pt x="5690606" y="1262440"/>
                </a:moveTo>
                <a:cubicBezTo>
                  <a:pt x="5714568" y="1262440"/>
                  <a:pt x="5734176" y="1282049"/>
                  <a:pt x="5734176" y="1306010"/>
                </a:cubicBezTo>
                <a:cubicBezTo>
                  <a:pt x="5734176" y="1329976"/>
                  <a:pt x="5714568" y="1349581"/>
                  <a:pt x="5690606" y="1349581"/>
                </a:cubicBezTo>
                <a:cubicBezTo>
                  <a:pt x="5666641" y="1349581"/>
                  <a:pt x="5647036" y="1329976"/>
                  <a:pt x="5647036" y="1306010"/>
                </a:cubicBezTo>
                <a:cubicBezTo>
                  <a:pt x="5647036" y="1282049"/>
                  <a:pt x="5666641" y="1262440"/>
                  <a:pt x="5690606" y="1262440"/>
                </a:cubicBezTo>
                <a:close/>
                <a:moveTo>
                  <a:pt x="5844554" y="1259898"/>
                </a:moveTo>
                <a:cubicBezTo>
                  <a:pt x="5870021" y="1259898"/>
                  <a:pt x="5890666" y="1280543"/>
                  <a:pt x="5890666" y="1306010"/>
                </a:cubicBezTo>
                <a:cubicBezTo>
                  <a:pt x="5890666" y="1331478"/>
                  <a:pt x="5870021" y="1352123"/>
                  <a:pt x="5844554" y="1352123"/>
                </a:cubicBezTo>
                <a:cubicBezTo>
                  <a:pt x="5819086" y="1352123"/>
                  <a:pt x="5798442" y="1331478"/>
                  <a:pt x="5798442" y="1306010"/>
                </a:cubicBezTo>
                <a:cubicBezTo>
                  <a:pt x="5798442" y="1280543"/>
                  <a:pt x="5819086" y="1259898"/>
                  <a:pt x="5844554" y="1259898"/>
                </a:cubicBezTo>
                <a:close/>
                <a:moveTo>
                  <a:pt x="5998136" y="1257355"/>
                </a:moveTo>
                <a:cubicBezTo>
                  <a:pt x="6025006" y="1257355"/>
                  <a:pt x="6046790" y="1279140"/>
                  <a:pt x="6046790" y="1306010"/>
                </a:cubicBezTo>
                <a:cubicBezTo>
                  <a:pt x="6046790" y="1332877"/>
                  <a:pt x="6025006" y="1354662"/>
                  <a:pt x="5998136" y="1354662"/>
                </a:cubicBezTo>
                <a:cubicBezTo>
                  <a:pt x="5971269" y="1354662"/>
                  <a:pt x="5949484" y="1332877"/>
                  <a:pt x="5949484" y="1306010"/>
                </a:cubicBezTo>
                <a:cubicBezTo>
                  <a:pt x="5949484" y="1279140"/>
                  <a:pt x="5971269" y="1257355"/>
                  <a:pt x="5998136" y="1257355"/>
                </a:cubicBezTo>
                <a:close/>
                <a:moveTo>
                  <a:pt x="6152083" y="1254817"/>
                </a:moveTo>
                <a:cubicBezTo>
                  <a:pt x="6180405" y="1254817"/>
                  <a:pt x="6203280" y="1277692"/>
                  <a:pt x="6203280" y="1306010"/>
                </a:cubicBezTo>
                <a:cubicBezTo>
                  <a:pt x="6203280" y="1334333"/>
                  <a:pt x="6180405" y="1357204"/>
                  <a:pt x="6152083" y="1357204"/>
                </a:cubicBezTo>
                <a:cubicBezTo>
                  <a:pt x="6123764" y="1357204"/>
                  <a:pt x="6100889" y="1334333"/>
                  <a:pt x="6100889" y="1306010"/>
                </a:cubicBezTo>
                <a:cubicBezTo>
                  <a:pt x="6100889" y="1277692"/>
                  <a:pt x="6123764" y="1254817"/>
                  <a:pt x="6152083" y="1254817"/>
                </a:cubicBezTo>
                <a:close/>
                <a:moveTo>
                  <a:pt x="6305668" y="1252636"/>
                </a:moveTo>
                <a:cubicBezTo>
                  <a:pt x="6335077" y="1252636"/>
                  <a:pt x="6359042" y="1276598"/>
                  <a:pt x="6359042" y="1306010"/>
                </a:cubicBezTo>
                <a:cubicBezTo>
                  <a:pt x="6359042" y="1335419"/>
                  <a:pt x="6335077" y="1359381"/>
                  <a:pt x="6305668" y="1359381"/>
                </a:cubicBezTo>
                <a:cubicBezTo>
                  <a:pt x="6276259" y="1359381"/>
                  <a:pt x="6252294" y="1335419"/>
                  <a:pt x="6252294" y="1306010"/>
                </a:cubicBezTo>
                <a:cubicBezTo>
                  <a:pt x="6252294" y="1276598"/>
                  <a:pt x="6276259" y="1252636"/>
                  <a:pt x="6305668" y="1252636"/>
                </a:cubicBezTo>
                <a:close/>
                <a:moveTo>
                  <a:pt x="6459619" y="1249732"/>
                </a:moveTo>
                <a:cubicBezTo>
                  <a:pt x="6490842" y="1249732"/>
                  <a:pt x="6515894" y="1274783"/>
                  <a:pt x="6515894" y="1306010"/>
                </a:cubicBezTo>
                <a:cubicBezTo>
                  <a:pt x="6515894" y="1337234"/>
                  <a:pt x="6490842" y="1362289"/>
                  <a:pt x="6459619" y="1362289"/>
                </a:cubicBezTo>
                <a:cubicBezTo>
                  <a:pt x="6428392" y="1362289"/>
                  <a:pt x="6403340" y="1337234"/>
                  <a:pt x="6403340" y="1306010"/>
                </a:cubicBezTo>
                <a:cubicBezTo>
                  <a:pt x="6403340" y="1274783"/>
                  <a:pt x="6428392" y="1249732"/>
                  <a:pt x="6459619" y="1249732"/>
                </a:cubicBezTo>
                <a:close/>
                <a:moveTo>
                  <a:pt x="6613197" y="1247189"/>
                </a:moveTo>
                <a:cubicBezTo>
                  <a:pt x="6645514" y="1247189"/>
                  <a:pt x="6672018" y="1273693"/>
                  <a:pt x="6672018" y="1306010"/>
                </a:cubicBezTo>
                <a:cubicBezTo>
                  <a:pt x="6672018" y="1338324"/>
                  <a:pt x="6645876" y="1364828"/>
                  <a:pt x="6613197" y="1364828"/>
                </a:cubicBezTo>
                <a:cubicBezTo>
                  <a:pt x="6580884" y="1364828"/>
                  <a:pt x="6554380" y="1338324"/>
                  <a:pt x="6554380" y="1306010"/>
                </a:cubicBezTo>
                <a:cubicBezTo>
                  <a:pt x="6554380" y="1273693"/>
                  <a:pt x="6580884" y="1247189"/>
                  <a:pt x="6613197" y="1247189"/>
                </a:cubicBezTo>
                <a:close/>
                <a:moveTo>
                  <a:pt x="1846279" y="1152063"/>
                </a:moveTo>
                <a:cubicBezTo>
                  <a:pt x="1846641" y="1152063"/>
                  <a:pt x="1846641" y="1152063"/>
                  <a:pt x="1846641" y="1152425"/>
                </a:cubicBezTo>
                <a:cubicBezTo>
                  <a:pt x="1846641" y="1152791"/>
                  <a:pt x="1846279" y="1152791"/>
                  <a:pt x="1846279" y="1152791"/>
                </a:cubicBezTo>
                <a:cubicBezTo>
                  <a:pt x="1845917" y="1152791"/>
                  <a:pt x="1845917" y="1152791"/>
                  <a:pt x="1845917" y="1152425"/>
                </a:cubicBezTo>
                <a:cubicBezTo>
                  <a:pt x="1845917" y="1152063"/>
                  <a:pt x="1845917" y="1152063"/>
                  <a:pt x="1846279" y="1152063"/>
                </a:cubicBezTo>
                <a:close/>
                <a:moveTo>
                  <a:pt x="1384799" y="1152063"/>
                </a:moveTo>
                <a:cubicBezTo>
                  <a:pt x="1385161" y="1152063"/>
                  <a:pt x="1385161" y="1152063"/>
                  <a:pt x="1385161" y="1152425"/>
                </a:cubicBezTo>
                <a:cubicBezTo>
                  <a:pt x="1385161" y="1152791"/>
                  <a:pt x="1384799" y="1152791"/>
                  <a:pt x="1384799" y="1152791"/>
                </a:cubicBezTo>
                <a:cubicBezTo>
                  <a:pt x="1384437" y="1152791"/>
                  <a:pt x="1384437" y="1152791"/>
                  <a:pt x="1384437" y="1152425"/>
                </a:cubicBezTo>
                <a:cubicBezTo>
                  <a:pt x="1384437" y="1152063"/>
                  <a:pt x="1384437" y="1152063"/>
                  <a:pt x="1384799" y="1152063"/>
                </a:cubicBezTo>
                <a:close/>
                <a:moveTo>
                  <a:pt x="1231213" y="1152063"/>
                </a:moveTo>
                <a:cubicBezTo>
                  <a:pt x="1231576" y="1152063"/>
                  <a:pt x="1231576" y="1152063"/>
                  <a:pt x="1231576" y="1152425"/>
                </a:cubicBezTo>
                <a:cubicBezTo>
                  <a:pt x="1231576" y="1152791"/>
                  <a:pt x="1231213" y="1152791"/>
                  <a:pt x="1231213" y="1152791"/>
                </a:cubicBezTo>
                <a:cubicBezTo>
                  <a:pt x="1230851" y="1152791"/>
                  <a:pt x="1230851" y="1152791"/>
                  <a:pt x="1230851" y="1152425"/>
                </a:cubicBezTo>
                <a:cubicBezTo>
                  <a:pt x="1230851" y="1152063"/>
                  <a:pt x="1230851" y="1152063"/>
                  <a:pt x="1231213" y="1152063"/>
                </a:cubicBezTo>
                <a:close/>
                <a:moveTo>
                  <a:pt x="1077270" y="1151701"/>
                </a:moveTo>
                <a:cubicBezTo>
                  <a:pt x="1077670" y="1151701"/>
                  <a:pt x="1077994" y="1152025"/>
                  <a:pt x="1077994" y="1152425"/>
                </a:cubicBezTo>
                <a:cubicBezTo>
                  <a:pt x="1077994" y="1152829"/>
                  <a:pt x="1077670" y="1153153"/>
                  <a:pt x="1077270" y="1153153"/>
                </a:cubicBezTo>
                <a:cubicBezTo>
                  <a:pt x="1076866" y="1153153"/>
                  <a:pt x="1076542" y="1152829"/>
                  <a:pt x="1076542" y="1152425"/>
                </a:cubicBezTo>
                <a:cubicBezTo>
                  <a:pt x="1076542" y="1152025"/>
                  <a:pt x="1076866" y="1151701"/>
                  <a:pt x="1077270" y="1151701"/>
                </a:cubicBezTo>
                <a:close/>
                <a:moveTo>
                  <a:pt x="1999864" y="1150611"/>
                </a:moveTo>
                <a:cubicBezTo>
                  <a:pt x="2000588" y="1150611"/>
                  <a:pt x="2001316" y="1151335"/>
                  <a:pt x="2001316" y="1152063"/>
                </a:cubicBezTo>
                <a:cubicBezTo>
                  <a:pt x="2001316" y="1152787"/>
                  <a:pt x="1999864" y="1153515"/>
                  <a:pt x="1999864" y="1153515"/>
                </a:cubicBezTo>
                <a:cubicBezTo>
                  <a:pt x="1999136" y="1153515"/>
                  <a:pt x="1998412" y="1152787"/>
                  <a:pt x="1998412" y="1152063"/>
                </a:cubicBezTo>
                <a:cubicBezTo>
                  <a:pt x="1998412" y="1151335"/>
                  <a:pt x="1999136" y="1150611"/>
                  <a:pt x="1999864" y="1150611"/>
                </a:cubicBezTo>
                <a:close/>
                <a:moveTo>
                  <a:pt x="2153808" y="1150249"/>
                </a:moveTo>
                <a:cubicBezTo>
                  <a:pt x="2154898" y="1150249"/>
                  <a:pt x="2155988" y="1151339"/>
                  <a:pt x="2155988" y="1152425"/>
                </a:cubicBezTo>
                <a:cubicBezTo>
                  <a:pt x="2155988" y="1153515"/>
                  <a:pt x="2153808" y="1154606"/>
                  <a:pt x="2153808" y="1154606"/>
                </a:cubicBezTo>
                <a:cubicBezTo>
                  <a:pt x="2152721" y="1154606"/>
                  <a:pt x="2151631" y="1153515"/>
                  <a:pt x="2151631" y="1152425"/>
                </a:cubicBezTo>
                <a:cubicBezTo>
                  <a:pt x="2151631" y="1151339"/>
                  <a:pt x="2152721" y="1150249"/>
                  <a:pt x="2153808" y="1150249"/>
                </a:cubicBezTo>
                <a:close/>
                <a:moveTo>
                  <a:pt x="2307393" y="1149158"/>
                </a:moveTo>
                <a:cubicBezTo>
                  <a:pt x="2309211" y="1149158"/>
                  <a:pt x="2310660" y="1150611"/>
                  <a:pt x="2310660" y="1152425"/>
                </a:cubicBezTo>
                <a:cubicBezTo>
                  <a:pt x="2310660" y="1154244"/>
                  <a:pt x="2309211" y="1155696"/>
                  <a:pt x="2307393" y="1155696"/>
                </a:cubicBezTo>
                <a:cubicBezTo>
                  <a:pt x="2305578" y="1155696"/>
                  <a:pt x="2304126" y="1154244"/>
                  <a:pt x="2304126" y="1152425"/>
                </a:cubicBezTo>
                <a:cubicBezTo>
                  <a:pt x="2304126" y="1150611"/>
                  <a:pt x="2305578" y="1149158"/>
                  <a:pt x="2307393" y="1149158"/>
                </a:cubicBezTo>
                <a:close/>
                <a:moveTo>
                  <a:pt x="2461340" y="1147706"/>
                </a:moveTo>
                <a:cubicBezTo>
                  <a:pt x="2463883" y="1147706"/>
                  <a:pt x="2465697" y="1149521"/>
                  <a:pt x="2465697" y="1152063"/>
                </a:cubicBezTo>
                <a:cubicBezTo>
                  <a:pt x="2465697" y="1154606"/>
                  <a:pt x="2463521" y="1156420"/>
                  <a:pt x="2461340" y="1156420"/>
                </a:cubicBezTo>
                <a:cubicBezTo>
                  <a:pt x="2458798" y="1156420"/>
                  <a:pt x="2456983" y="1154606"/>
                  <a:pt x="2456983" y="1152063"/>
                </a:cubicBezTo>
                <a:cubicBezTo>
                  <a:pt x="2456983" y="1149521"/>
                  <a:pt x="2458798" y="1147706"/>
                  <a:pt x="2461340" y="1147706"/>
                </a:cubicBezTo>
                <a:close/>
                <a:moveTo>
                  <a:pt x="2614925" y="1146616"/>
                </a:moveTo>
                <a:cubicBezTo>
                  <a:pt x="2618192" y="1146616"/>
                  <a:pt x="2620735" y="1149158"/>
                  <a:pt x="2620735" y="1152425"/>
                </a:cubicBezTo>
                <a:cubicBezTo>
                  <a:pt x="2620735" y="1155692"/>
                  <a:pt x="2618192" y="1158234"/>
                  <a:pt x="2614925" y="1158234"/>
                </a:cubicBezTo>
                <a:cubicBezTo>
                  <a:pt x="2611659" y="1158234"/>
                  <a:pt x="2609116" y="1155692"/>
                  <a:pt x="2609116" y="1152425"/>
                </a:cubicBezTo>
                <a:cubicBezTo>
                  <a:pt x="2609116" y="1149158"/>
                  <a:pt x="2611659" y="1146616"/>
                  <a:pt x="2614925" y="1146616"/>
                </a:cubicBezTo>
                <a:close/>
                <a:moveTo>
                  <a:pt x="2768873" y="1145164"/>
                </a:moveTo>
                <a:cubicBezTo>
                  <a:pt x="2772868" y="1145164"/>
                  <a:pt x="2776135" y="1148430"/>
                  <a:pt x="2776135" y="1152425"/>
                </a:cubicBezTo>
                <a:cubicBezTo>
                  <a:pt x="2776135" y="1156420"/>
                  <a:pt x="2772868" y="1159687"/>
                  <a:pt x="2768873" y="1159687"/>
                </a:cubicBezTo>
                <a:cubicBezTo>
                  <a:pt x="2764878" y="1159687"/>
                  <a:pt x="2761611" y="1156420"/>
                  <a:pt x="2761611" y="1152425"/>
                </a:cubicBezTo>
                <a:cubicBezTo>
                  <a:pt x="2761611" y="1148430"/>
                  <a:pt x="2764878" y="1145164"/>
                  <a:pt x="2768873" y="1145164"/>
                </a:cubicBezTo>
                <a:close/>
                <a:moveTo>
                  <a:pt x="2922454" y="1142983"/>
                </a:moveTo>
                <a:cubicBezTo>
                  <a:pt x="2927539" y="1142983"/>
                  <a:pt x="2931534" y="1146978"/>
                  <a:pt x="2931534" y="1152059"/>
                </a:cubicBezTo>
                <a:cubicBezTo>
                  <a:pt x="2931534" y="1157144"/>
                  <a:pt x="2927539" y="1161139"/>
                  <a:pt x="2922454" y="1161139"/>
                </a:cubicBezTo>
                <a:cubicBezTo>
                  <a:pt x="2917373" y="1161139"/>
                  <a:pt x="2913378" y="1157144"/>
                  <a:pt x="2913378" y="1152059"/>
                </a:cubicBezTo>
                <a:cubicBezTo>
                  <a:pt x="2913378" y="1146978"/>
                  <a:pt x="2917373" y="1142983"/>
                  <a:pt x="2922454" y="1142983"/>
                </a:cubicBezTo>
                <a:close/>
                <a:moveTo>
                  <a:pt x="3076406" y="1142259"/>
                </a:moveTo>
                <a:cubicBezTo>
                  <a:pt x="3081853" y="1142259"/>
                  <a:pt x="3086572" y="1146978"/>
                  <a:pt x="3086572" y="1152425"/>
                </a:cubicBezTo>
                <a:cubicBezTo>
                  <a:pt x="3086572" y="1157872"/>
                  <a:pt x="3082215" y="1162592"/>
                  <a:pt x="3076406" y="1162592"/>
                </a:cubicBezTo>
                <a:cubicBezTo>
                  <a:pt x="3070958" y="1162592"/>
                  <a:pt x="3066239" y="1157872"/>
                  <a:pt x="3066239" y="1152425"/>
                </a:cubicBezTo>
                <a:cubicBezTo>
                  <a:pt x="3066239" y="1146978"/>
                  <a:pt x="3070958" y="1142259"/>
                  <a:pt x="3076406" y="1142259"/>
                </a:cubicBezTo>
                <a:close/>
                <a:moveTo>
                  <a:pt x="3230349" y="1140444"/>
                </a:moveTo>
                <a:cubicBezTo>
                  <a:pt x="3236886" y="1140444"/>
                  <a:pt x="3242334" y="1145892"/>
                  <a:pt x="3242334" y="1152425"/>
                </a:cubicBezTo>
                <a:cubicBezTo>
                  <a:pt x="3242334" y="1158963"/>
                  <a:pt x="3236886" y="1164406"/>
                  <a:pt x="3230349" y="1164406"/>
                </a:cubicBezTo>
                <a:cubicBezTo>
                  <a:pt x="3223816" y="1164406"/>
                  <a:pt x="3218368" y="1158963"/>
                  <a:pt x="3218368" y="1152425"/>
                </a:cubicBezTo>
                <a:cubicBezTo>
                  <a:pt x="3218368" y="1145892"/>
                  <a:pt x="3223816" y="1140444"/>
                  <a:pt x="3230349" y="1140444"/>
                </a:cubicBezTo>
                <a:close/>
                <a:moveTo>
                  <a:pt x="3383934" y="1138264"/>
                </a:moveTo>
                <a:cubicBezTo>
                  <a:pt x="3391562" y="1138264"/>
                  <a:pt x="3397733" y="1144435"/>
                  <a:pt x="3397733" y="1152059"/>
                </a:cubicBezTo>
                <a:cubicBezTo>
                  <a:pt x="3397733" y="1159687"/>
                  <a:pt x="3391562" y="1165858"/>
                  <a:pt x="3383934" y="1165858"/>
                </a:cubicBezTo>
                <a:cubicBezTo>
                  <a:pt x="3376310" y="1165858"/>
                  <a:pt x="3370139" y="1159687"/>
                  <a:pt x="3370139" y="1152059"/>
                </a:cubicBezTo>
                <a:cubicBezTo>
                  <a:pt x="3370139" y="1144435"/>
                  <a:pt x="3376310" y="1138264"/>
                  <a:pt x="3383934" y="1138264"/>
                </a:cubicBezTo>
                <a:close/>
                <a:moveTo>
                  <a:pt x="3537882" y="1137178"/>
                </a:moveTo>
                <a:cubicBezTo>
                  <a:pt x="3546306" y="1137178"/>
                  <a:pt x="3553133" y="1144005"/>
                  <a:pt x="3553133" y="1152425"/>
                </a:cubicBezTo>
                <a:cubicBezTo>
                  <a:pt x="3553133" y="1160849"/>
                  <a:pt x="3546306" y="1167677"/>
                  <a:pt x="3537882" y="1167677"/>
                </a:cubicBezTo>
                <a:cubicBezTo>
                  <a:pt x="3529461" y="1167677"/>
                  <a:pt x="3522634" y="1160849"/>
                  <a:pt x="3522634" y="1152425"/>
                </a:cubicBezTo>
                <a:cubicBezTo>
                  <a:pt x="3522634" y="1144005"/>
                  <a:pt x="3529461" y="1137178"/>
                  <a:pt x="3537882" y="1137178"/>
                </a:cubicBezTo>
                <a:close/>
                <a:moveTo>
                  <a:pt x="3691467" y="1135359"/>
                </a:moveTo>
                <a:cubicBezTo>
                  <a:pt x="3700905" y="1135359"/>
                  <a:pt x="3708533" y="1142983"/>
                  <a:pt x="3708533" y="1152425"/>
                </a:cubicBezTo>
                <a:cubicBezTo>
                  <a:pt x="3708533" y="1161863"/>
                  <a:pt x="3700905" y="1169487"/>
                  <a:pt x="3691467" y="1169487"/>
                </a:cubicBezTo>
                <a:cubicBezTo>
                  <a:pt x="3682025" y="1169487"/>
                  <a:pt x="3674401" y="1161863"/>
                  <a:pt x="3674401" y="1152425"/>
                </a:cubicBezTo>
                <a:cubicBezTo>
                  <a:pt x="3674401" y="1142983"/>
                  <a:pt x="3682025" y="1135359"/>
                  <a:pt x="3691467" y="1135359"/>
                </a:cubicBezTo>
                <a:close/>
                <a:moveTo>
                  <a:pt x="3845414" y="1133183"/>
                </a:moveTo>
                <a:cubicBezTo>
                  <a:pt x="3856046" y="1133183"/>
                  <a:pt x="3864661" y="1141798"/>
                  <a:pt x="3864661" y="1152425"/>
                </a:cubicBezTo>
                <a:cubicBezTo>
                  <a:pt x="3864661" y="1163053"/>
                  <a:pt x="3856046" y="1171672"/>
                  <a:pt x="3845414" y="1171672"/>
                </a:cubicBezTo>
                <a:cubicBezTo>
                  <a:pt x="3834787" y="1171672"/>
                  <a:pt x="3826172" y="1163053"/>
                  <a:pt x="3826172" y="1152425"/>
                </a:cubicBezTo>
                <a:cubicBezTo>
                  <a:pt x="3826172" y="1141798"/>
                  <a:pt x="3834787" y="1133183"/>
                  <a:pt x="3845414" y="1133183"/>
                </a:cubicBezTo>
                <a:close/>
                <a:moveTo>
                  <a:pt x="3999000" y="1131002"/>
                </a:moveTo>
                <a:cubicBezTo>
                  <a:pt x="4010832" y="1131002"/>
                  <a:pt x="4020422" y="1140593"/>
                  <a:pt x="4020422" y="1152425"/>
                </a:cubicBezTo>
                <a:cubicBezTo>
                  <a:pt x="4020422" y="1164254"/>
                  <a:pt x="4010832" y="1173844"/>
                  <a:pt x="3999000" y="1173844"/>
                </a:cubicBezTo>
                <a:cubicBezTo>
                  <a:pt x="3987168" y="1173844"/>
                  <a:pt x="3977577" y="1164254"/>
                  <a:pt x="3977577" y="1152425"/>
                </a:cubicBezTo>
                <a:cubicBezTo>
                  <a:pt x="3977577" y="1140593"/>
                  <a:pt x="3987168" y="1131002"/>
                  <a:pt x="3999000" y="1131002"/>
                </a:cubicBezTo>
                <a:close/>
                <a:moveTo>
                  <a:pt x="4152947" y="1129550"/>
                </a:moveTo>
                <a:cubicBezTo>
                  <a:pt x="4165580" y="1129550"/>
                  <a:pt x="4175822" y="1139792"/>
                  <a:pt x="4175822" y="1152425"/>
                </a:cubicBezTo>
                <a:cubicBezTo>
                  <a:pt x="4175822" y="1165058"/>
                  <a:pt x="4165580" y="1175297"/>
                  <a:pt x="4152947" y="1175297"/>
                </a:cubicBezTo>
                <a:cubicBezTo>
                  <a:pt x="4140314" y="1175297"/>
                  <a:pt x="4130072" y="1165058"/>
                  <a:pt x="4130072" y="1152425"/>
                </a:cubicBezTo>
                <a:cubicBezTo>
                  <a:pt x="4130072" y="1139792"/>
                  <a:pt x="4140314" y="1129550"/>
                  <a:pt x="4152947" y="1129550"/>
                </a:cubicBezTo>
                <a:close/>
                <a:moveTo>
                  <a:pt x="4306532" y="1127373"/>
                </a:moveTo>
                <a:cubicBezTo>
                  <a:pt x="4320370" y="1127373"/>
                  <a:pt x="4331584" y="1138588"/>
                  <a:pt x="4331584" y="1152425"/>
                </a:cubicBezTo>
                <a:cubicBezTo>
                  <a:pt x="4331584" y="1166262"/>
                  <a:pt x="4320370" y="1177481"/>
                  <a:pt x="4306532" y="1177481"/>
                </a:cubicBezTo>
                <a:cubicBezTo>
                  <a:pt x="4292695" y="1177481"/>
                  <a:pt x="4281480" y="1166262"/>
                  <a:pt x="4281480" y="1152425"/>
                </a:cubicBezTo>
                <a:cubicBezTo>
                  <a:pt x="4281480" y="1138588"/>
                  <a:pt x="4292695" y="1127373"/>
                  <a:pt x="4306532" y="1127373"/>
                </a:cubicBezTo>
                <a:close/>
                <a:moveTo>
                  <a:pt x="4460480" y="1125193"/>
                </a:moveTo>
                <a:cubicBezTo>
                  <a:pt x="4475365" y="1125193"/>
                  <a:pt x="4487712" y="1137540"/>
                  <a:pt x="4487712" y="1152425"/>
                </a:cubicBezTo>
                <a:cubicBezTo>
                  <a:pt x="4487712" y="1167311"/>
                  <a:pt x="4475728" y="1179657"/>
                  <a:pt x="4460480" y="1179657"/>
                </a:cubicBezTo>
                <a:cubicBezTo>
                  <a:pt x="4445590" y="1179657"/>
                  <a:pt x="4433248" y="1167311"/>
                  <a:pt x="4433248" y="1152425"/>
                </a:cubicBezTo>
                <a:cubicBezTo>
                  <a:pt x="4433248" y="1137540"/>
                  <a:pt x="4445590" y="1125193"/>
                  <a:pt x="4460480" y="1125193"/>
                </a:cubicBezTo>
                <a:close/>
                <a:moveTo>
                  <a:pt x="4614061" y="1122654"/>
                </a:moveTo>
                <a:cubicBezTo>
                  <a:pt x="4630506" y="1122654"/>
                  <a:pt x="4643836" y="1135985"/>
                  <a:pt x="4643836" y="1152425"/>
                </a:cubicBezTo>
                <a:cubicBezTo>
                  <a:pt x="4643836" y="1168870"/>
                  <a:pt x="4630506" y="1182200"/>
                  <a:pt x="4614061" y="1182200"/>
                </a:cubicBezTo>
                <a:cubicBezTo>
                  <a:pt x="4597620" y="1182200"/>
                  <a:pt x="4584290" y="1168870"/>
                  <a:pt x="4584290" y="1152429"/>
                </a:cubicBezTo>
                <a:cubicBezTo>
                  <a:pt x="4584290" y="1135985"/>
                  <a:pt x="4597620" y="1122654"/>
                  <a:pt x="4614061" y="1122654"/>
                </a:cubicBezTo>
                <a:close/>
                <a:moveTo>
                  <a:pt x="4768012" y="1120474"/>
                </a:moveTo>
                <a:cubicBezTo>
                  <a:pt x="4785802" y="1120474"/>
                  <a:pt x="4799964" y="1134635"/>
                  <a:pt x="4799964" y="1152425"/>
                </a:cubicBezTo>
                <a:cubicBezTo>
                  <a:pt x="4799964" y="1170215"/>
                  <a:pt x="4785802" y="1184377"/>
                  <a:pt x="4768012" y="1184377"/>
                </a:cubicBezTo>
                <a:cubicBezTo>
                  <a:pt x="4750222" y="1184377"/>
                  <a:pt x="4736061" y="1170215"/>
                  <a:pt x="4736061" y="1152425"/>
                </a:cubicBezTo>
                <a:cubicBezTo>
                  <a:pt x="4736061" y="1134635"/>
                  <a:pt x="4750222" y="1120474"/>
                  <a:pt x="4768012" y="1120474"/>
                </a:cubicBezTo>
                <a:close/>
                <a:moveTo>
                  <a:pt x="4921594" y="1118659"/>
                </a:moveTo>
                <a:cubicBezTo>
                  <a:pt x="4940246" y="1118659"/>
                  <a:pt x="4955364" y="1133777"/>
                  <a:pt x="4955364" y="1152425"/>
                </a:cubicBezTo>
                <a:cubicBezTo>
                  <a:pt x="4955364" y="1171077"/>
                  <a:pt x="4940246" y="1186191"/>
                  <a:pt x="4921594" y="1186191"/>
                </a:cubicBezTo>
                <a:cubicBezTo>
                  <a:pt x="4902946" y="1186191"/>
                  <a:pt x="4887828" y="1171077"/>
                  <a:pt x="4887828" y="1152425"/>
                </a:cubicBezTo>
                <a:cubicBezTo>
                  <a:pt x="4887828" y="1133777"/>
                  <a:pt x="4902946" y="1118659"/>
                  <a:pt x="4921594" y="1118659"/>
                </a:cubicBezTo>
                <a:close/>
                <a:moveTo>
                  <a:pt x="5075541" y="1116117"/>
                </a:moveTo>
                <a:cubicBezTo>
                  <a:pt x="5095512" y="1116117"/>
                  <a:pt x="5111850" y="1132455"/>
                  <a:pt x="5111850" y="1152425"/>
                </a:cubicBezTo>
                <a:cubicBezTo>
                  <a:pt x="5111850" y="1172396"/>
                  <a:pt x="5095512" y="1188734"/>
                  <a:pt x="5075541" y="1188734"/>
                </a:cubicBezTo>
                <a:cubicBezTo>
                  <a:pt x="5055570" y="1188734"/>
                  <a:pt x="5039233" y="1172396"/>
                  <a:pt x="5039233" y="1152425"/>
                </a:cubicBezTo>
                <a:cubicBezTo>
                  <a:pt x="5039233" y="1132455"/>
                  <a:pt x="5055570" y="1116117"/>
                  <a:pt x="5075541" y="1116117"/>
                </a:cubicBezTo>
                <a:close/>
                <a:moveTo>
                  <a:pt x="5229126" y="1113574"/>
                </a:moveTo>
                <a:cubicBezTo>
                  <a:pt x="5250550" y="1113574"/>
                  <a:pt x="5267978" y="1131002"/>
                  <a:pt x="5267978" y="1152425"/>
                </a:cubicBezTo>
                <a:cubicBezTo>
                  <a:pt x="5267978" y="1173848"/>
                  <a:pt x="5250550" y="1191276"/>
                  <a:pt x="5229126" y="1191276"/>
                </a:cubicBezTo>
                <a:cubicBezTo>
                  <a:pt x="5207704" y="1191276"/>
                  <a:pt x="5190276" y="1173848"/>
                  <a:pt x="5190276" y="1152425"/>
                </a:cubicBezTo>
                <a:cubicBezTo>
                  <a:pt x="5190276" y="1131002"/>
                  <a:pt x="5207704" y="1113574"/>
                  <a:pt x="5229126" y="1113574"/>
                </a:cubicBezTo>
                <a:close/>
                <a:moveTo>
                  <a:pt x="5383074" y="1111036"/>
                </a:moveTo>
                <a:cubicBezTo>
                  <a:pt x="5405949" y="1111036"/>
                  <a:pt x="5424102" y="1129192"/>
                  <a:pt x="5424102" y="1152063"/>
                </a:cubicBezTo>
                <a:cubicBezTo>
                  <a:pt x="5424102" y="1174938"/>
                  <a:pt x="5405587" y="1193094"/>
                  <a:pt x="5383074" y="1193094"/>
                </a:cubicBezTo>
                <a:cubicBezTo>
                  <a:pt x="5360202" y="1193094"/>
                  <a:pt x="5342046" y="1174938"/>
                  <a:pt x="5342046" y="1152063"/>
                </a:cubicBezTo>
                <a:cubicBezTo>
                  <a:pt x="5342046" y="1129192"/>
                  <a:pt x="5360202" y="1111036"/>
                  <a:pt x="5383074" y="1111036"/>
                </a:cubicBezTo>
                <a:close/>
                <a:moveTo>
                  <a:pt x="5536659" y="1108855"/>
                </a:moveTo>
                <a:cubicBezTo>
                  <a:pt x="5560620" y="1108855"/>
                  <a:pt x="5580229" y="1128460"/>
                  <a:pt x="5580229" y="1152425"/>
                </a:cubicBezTo>
                <a:cubicBezTo>
                  <a:pt x="5580229" y="1176391"/>
                  <a:pt x="5560620" y="1195995"/>
                  <a:pt x="5536659" y="1195995"/>
                </a:cubicBezTo>
                <a:cubicBezTo>
                  <a:pt x="5512694" y="1195995"/>
                  <a:pt x="5493089" y="1176391"/>
                  <a:pt x="5493089" y="1152425"/>
                </a:cubicBezTo>
                <a:cubicBezTo>
                  <a:pt x="5493089" y="1128460"/>
                  <a:pt x="5512694" y="1108855"/>
                  <a:pt x="5536659" y="1108855"/>
                </a:cubicBezTo>
                <a:close/>
                <a:moveTo>
                  <a:pt x="5690602" y="1106313"/>
                </a:moveTo>
                <a:cubicBezTo>
                  <a:pt x="5716070" y="1106313"/>
                  <a:pt x="5736716" y="1126958"/>
                  <a:pt x="5736716" y="1152425"/>
                </a:cubicBezTo>
                <a:cubicBezTo>
                  <a:pt x="5736716" y="1177893"/>
                  <a:pt x="5716070" y="1198534"/>
                  <a:pt x="5690602" y="1198534"/>
                </a:cubicBezTo>
                <a:cubicBezTo>
                  <a:pt x="5665136" y="1198534"/>
                  <a:pt x="5644490" y="1177893"/>
                  <a:pt x="5644490" y="1152425"/>
                </a:cubicBezTo>
                <a:cubicBezTo>
                  <a:pt x="5644490" y="1126958"/>
                  <a:pt x="5665136" y="1106313"/>
                  <a:pt x="5690602" y="1106313"/>
                </a:cubicBezTo>
                <a:close/>
                <a:moveTo>
                  <a:pt x="5844554" y="1103770"/>
                </a:moveTo>
                <a:cubicBezTo>
                  <a:pt x="5871420" y="1103770"/>
                  <a:pt x="5893205" y="1125555"/>
                  <a:pt x="5893205" y="1152425"/>
                </a:cubicBezTo>
                <a:cubicBezTo>
                  <a:pt x="5893205" y="1179291"/>
                  <a:pt x="5871420" y="1201077"/>
                  <a:pt x="5844554" y="1201077"/>
                </a:cubicBezTo>
                <a:cubicBezTo>
                  <a:pt x="5817684" y="1201077"/>
                  <a:pt x="5795899" y="1179291"/>
                  <a:pt x="5795899" y="1152425"/>
                </a:cubicBezTo>
                <a:cubicBezTo>
                  <a:pt x="5795899" y="1125555"/>
                  <a:pt x="5817684" y="1103770"/>
                  <a:pt x="5844554" y="1103770"/>
                </a:cubicBezTo>
                <a:close/>
                <a:moveTo>
                  <a:pt x="5998136" y="1101231"/>
                </a:moveTo>
                <a:cubicBezTo>
                  <a:pt x="6026458" y="1101231"/>
                  <a:pt x="6049333" y="1124107"/>
                  <a:pt x="6049333" y="1152425"/>
                </a:cubicBezTo>
                <a:cubicBezTo>
                  <a:pt x="6049333" y="1180748"/>
                  <a:pt x="6026458" y="1203623"/>
                  <a:pt x="5998136" y="1203623"/>
                </a:cubicBezTo>
                <a:cubicBezTo>
                  <a:pt x="5969817" y="1203623"/>
                  <a:pt x="5946942" y="1180748"/>
                  <a:pt x="5946942" y="1152425"/>
                </a:cubicBezTo>
                <a:cubicBezTo>
                  <a:pt x="5946942" y="1124107"/>
                  <a:pt x="5969817" y="1101231"/>
                  <a:pt x="5998136" y="1101231"/>
                </a:cubicBezTo>
                <a:close/>
                <a:moveTo>
                  <a:pt x="6152083" y="1099051"/>
                </a:moveTo>
                <a:cubicBezTo>
                  <a:pt x="6181496" y="1099051"/>
                  <a:pt x="6205461" y="1123013"/>
                  <a:pt x="6205461" y="1152425"/>
                </a:cubicBezTo>
                <a:cubicBezTo>
                  <a:pt x="6205461" y="1181834"/>
                  <a:pt x="6181496" y="1205796"/>
                  <a:pt x="6152083" y="1205796"/>
                </a:cubicBezTo>
                <a:cubicBezTo>
                  <a:pt x="6122674" y="1205796"/>
                  <a:pt x="6098712" y="1181834"/>
                  <a:pt x="6098712" y="1152425"/>
                </a:cubicBezTo>
                <a:cubicBezTo>
                  <a:pt x="6098712" y="1123013"/>
                  <a:pt x="6122674" y="1099051"/>
                  <a:pt x="6152083" y="1099051"/>
                </a:cubicBezTo>
                <a:close/>
                <a:moveTo>
                  <a:pt x="6305672" y="1096146"/>
                </a:moveTo>
                <a:cubicBezTo>
                  <a:pt x="6336895" y="1096146"/>
                  <a:pt x="6361947" y="1121198"/>
                  <a:pt x="6361947" y="1152425"/>
                </a:cubicBezTo>
                <a:cubicBezTo>
                  <a:pt x="6361947" y="1183648"/>
                  <a:pt x="6336895" y="1208704"/>
                  <a:pt x="6305672" y="1208704"/>
                </a:cubicBezTo>
                <a:cubicBezTo>
                  <a:pt x="6274445" y="1208704"/>
                  <a:pt x="6249393" y="1183648"/>
                  <a:pt x="6249393" y="1152425"/>
                </a:cubicBezTo>
                <a:cubicBezTo>
                  <a:pt x="6249393" y="1121198"/>
                  <a:pt x="6274445" y="1096146"/>
                  <a:pt x="6305672" y="1096146"/>
                </a:cubicBezTo>
                <a:close/>
                <a:moveTo>
                  <a:pt x="6459616" y="1093608"/>
                </a:moveTo>
                <a:cubicBezTo>
                  <a:pt x="6491932" y="1093608"/>
                  <a:pt x="6518437" y="1120112"/>
                  <a:pt x="6518437" y="1152425"/>
                </a:cubicBezTo>
                <a:cubicBezTo>
                  <a:pt x="6518437" y="1184743"/>
                  <a:pt x="6492295" y="1211247"/>
                  <a:pt x="6459616" y="1211247"/>
                </a:cubicBezTo>
                <a:cubicBezTo>
                  <a:pt x="6427302" y="1211247"/>
                  <a:pt x="6400798" y="1184743"/>
                  <a:pt x="6400798" y="1152425"/>
                </a:cubicBezTo>
                <a:cubicBezTo>
                  <a:pt x="6400798" y="1120112"/>
                  <a:pt x="6427302" y="1093608"/>
                  <a:pt x="6459616" y="1093608"/>
                </a:cubicBezTo>
                <a:close/>
                <a:moveTo>
                  <a:pt x="6613200" y="1090703"/>
                </a:moveTo>
                <a:cubicBezTo>
                  <a:pt x="6647328" y="1090703"/>
                  <a:pt x="6674923" y="1118297"/>
                  <a:pt x="6674923" y="1152425"/>
                </a:cubicBezTo>
                <a:cubicBezTo>
                  <a:pt x="6674923" y="1186557"/>
                  <a:pt x="6647328" y="1214151"/>
                  <a:pt x="6613200" y="1214151"/>
                </a:cubicBezTo>
                <a:cubicBezTo>
                  <a:pt x="6579069" y="1214151"/>
                  <a:pt x="6551474" y="1186557"/>
                  <a:pt x="6551474" y="1152425"/>
                </a:cubicBezTo>
                <a:cubicBezTo>
                  <a:pt x="6551474" y="1118297"/>
                  <a:pt x="6579069" y="1090703"/>
                  <a:pt x="6613200" y="1090703"/>
                </a:cubicBezTo>
                <a:close/>
                <a:moveTo>
                  <a:pt x="1692331" y="998116"/>
                </a:moveTo>
                <a:cubicBezTo>
                  <a:pt x="1692694" y="998116"/>
                  <a:pt x="1692694" y="998116"/>
                  <a:pt x="1692694" y="998478"/>
                </a:cubicBezTo>
                <a:cubicBezTo>
                  <a:pt x="1692694" y="998844"/>
                  <a:pt x="1692331" y="998844"/>
                  <a:pt x="1692331" y="998844"/>
                </a:cubicBezTo>
                <a:cubicBezTo>
                  <a:pt x="1691969" y="998844"/>
                  <a:pt x="1691969" y="998844"/>
                  <a:pt x="1691969" y="998478"/>
                </a:cubicBezTo>
                <a:cubicBezTo>
                  <a:pt x="1691969" y="998116"/>
                  <a:pt x="1691969" y="998116"/>
                  <a:pt x="1692331" y="998116"/>
                </a:cubicBezTo>
                <a:close/>
                <a:moveTo>
                  <a:pt x="1231213" y="998116"/>
                </a:moveTo>
                <a:cubicBezTo>
                  <a:pt x="1231576" y="998116"/>
                  <a:pt x="1231576" y="998116"/>
                  <a:pt x="1231576" y="998478"/>
                </a:cubicBezTo>
                <a:cubicBezTo>
                  <a:pt x="1231576" y="998844"/>
                  <a:pt x="1231213" y="998844"/>
                  <a:pt x="1231213" y="998844"/>
                </a:cubicBezTo>
                <a:cubicBezTo>
                  <a:pt x="1230851" y="998844"/>
                  <a:pt x="1230851" y="998844"/>
                  <a:pt x="1230851" y="998478"/>
                </a:cubicBezTo>
                <a:cubicBezTo>
                  <a:pt x="1230851" y="998116"/>
                  <a:pt x="1230851" y="998116"/>
                  <a:pt x="1231213" y="998116"/>
                </a:cubicBezTo>
                <a:close/>
                <a:moveTo>
                  <a:pt x="1077266" y="998116"/>
                </a:moveTo>
                <a:cubicBezTo>
                  <a:pt x="1077628" y="998116"/>
                  <a:pt x="1077628" y="998116"/>
                  <a:pt x="1077628" y="998478"/>
                </a:cubicBezTo>
                <a:cubicBezTo>
                  <a:pt x="1077628" y="998844"/>
                  <a:pt x="1077266" y="998844"/>
                  <a:pt x="1077266" y="998844"/>
                </a:cubicBezTo>
                <a:cubicBezTo>
                  <a:pt x="1076904" y="998844"/>
                  <a:pt x="1076904" y="998844"/>
                  <a:pt x="1076904" y="998478"/>
                </a:cubicBezTo>
                <a:cubicBezTo>
                  <a:pt x="1076904" y="998116"/>
                  <a:pt x="1076904" y="998116"/>
                  <a:pt x="1077266" y="998116"/>
                </a:cubicBezTo>
                <a:close/>
                <a:moveTo>
                  <a:pt x="923685" y="997754"/>
                </a:moveTo>
                <a:cubicBezTo>
                  <a:pt x="924085" y="997754"/>
                  <a:pt x="924409" y="998077"/>
                  <a:pt x="924409" y="998482"/>
                </a:cubicBezTo>
                <a:cubicBezTo>
                  <a:pt x="924409" y="998882"/>
                  <a:pt x="924085" y="999206"/>
                  <a:pt x="923685" y="999206"/>
                </a:cubicBezTo>
                <a:cubicBezTo>
                  <a:pt x="923281" y="999206"/>
                  <a:pt x="922957" y="998882"/>
                  <a:pt x="922957" y="998482"/>
                </a:cubicBezTo>
                <a:cubicBezTo>
                  <a:pt x="922957" y="998077"/>
                  <a:pt x="923281" y="997754"/>
                  <a:pt x="923685" y="997754"/>
                </a:cubicBezTo>
                <a:close/>
                <a:moveTo>
                  <a:pt x="1846279" y="997025"/>
                </a:moveTo>
                <a:cubicBezTo>
                  <a:pt x="1847003" y="997025"/>
                  <a:pt x="1847731" y="997754"/>
                  <a:pt x="1847731" y="998478"/>
                </a:cubicBezTo>
                <a:cubicBezTo>
                  <a:pt x="1847731" y="999206"/>
                  <a:pt x="1846279" y="999930"/>
                  <a:pt x="1846279" y="999930"/>
                </a:cubicBezTo>
                <a:cubicBezTo>
                  <a:pt x="1845551" y="999930"/>
                  <a:pt x="1844826" y="999206"/>
                  <a:pt x="1844826" y="998478"/>
                </a:cubicBezTo>
                <a:cubicBezTo>
                  <a:pt x="1844826" y="997754"/>
                  <a:pt x="1845551" y="997025"/>
                  <a:pt x="1846279" y="997025"/>
                </a:cubicBezTo>
                <a:close/>
                <a:moveTo>
                  <a:pt x="1999860" y="996301"/>
                </a:moveTo>
                <a:cubicBezTo>
                  <a:pt x="2000950" y="996301"/>
                  <a:pt x="2002041" y="997391"/>
                  <a:pt x="2002041" y="998478"/>
                </a:cubicBezTo>
                <a:cubicBezTo>
                  <a:pt x="2002041" y="999568"/>
                  <a:pt x="1999860" y="1000658"/>
                  <a:pt x="1999860" y="1000658"/>
                </a:cubicBezTo>
                <a:cubicBezTo>
                  <a:pt x="1998774" y="1000658"/>
                  <a:pt x="1997684" y="999568"/>
                  <a:pt x="1997684" y="998478"/>
                </a:cubicBezTo>
                <a:cubicBezTo>
                  <a:pt x="1997684" y="997391"/>
                  <a:pt x="1998774" y="996301"/>
                  <a:pt x="1999860" y="996301"/>
                </a:cubicBezTo>
                <a:close/>
                <a:moveTo>
                  <a:pt x="2153808" y="995573"/>
                </a:moveTo>
                <a:cubicBezTo>
                  <a:pt x="2155622" y="995573"/>
                  <a:pt x="2157074" y="997025"/>
                  <a:pt x="2157074" y="998840"/>
                </a:cubicBezTo>
                <a:cubicBezTo>
                  <a:pt x="2157074" y="1000654"/>
                  <a:pt x="2155622" y="1002110"/>
                  <a:pt x="2153808" y="1002110"/>
                </a:cubicBezTo>
                <a:cubicBezTo>
                  <a:pt x="2151993" y="1002110"/>
                  <a:pt x="2150541" y="1000654"/>
                  <a:pt x="2150541" y="998840"/>
                </a:cubicBezTo>
                <a:cubicBezTo>
                  <a:pt x="2150541" y="997025"/>
                  <a:pt x="2151993" y="995573"/>
                  <a:pt x="2153808" y="995573"/>
                </a:cubicBezTo>
                <a:close/>
                <a:moveTo>
                  <a:pt x="2307393" y="994121"/>
                </a:moveTo>
                <a:cubicBezTo>
                  <a:pt x="2309935" y="994121"/>
                  <a:pt x="2311750" y="995935"/>
                  <a:pt x="2311750" y="998478"/>
                </a:cubicBezTo>
                <a:cubicBezTo>
                  <a:pt x="2311750" y="1001020"/>
                  <a:pt x="2309569" y="1002835"/>
                  <a:pt x="2307393" y="1002835"/>
                </a:cubicBezTo>
                <a:cubicBezTo>
                  <a:pt x="2304850" y="1002835"/>
                  <a:pt x="2303036" y="1001020"/>
                  <a:pt x="2303036" y="998478"/>
                </a:cubicBezTo>
                <a:cubicBezTo>
                  <a:pt x="2303036" y="995935"/>
                  <a:pt x="2304850" y="994121"/>
                  <a:pt x="2307393" y="994121"/>
                </a:cubicBezTo>
                <a:close/>
                <a:moveTo>
                  <a:pt x="2461340" y="993031"/>
                </a:moveTo>
                <a:cubicBezTo>
                  <a:pt x="2464607" y="993031"/>
                  <a:pt x="2467150" y="995573"/>
                  <a:pt x="2467150" y="998840"/>
                </a:cubicBezTo>
                <a:cubicBezTo>
                  <a:pt x="2467150" y="1002107"/>
                  <a:pt x="2464607" y="1004649"/>
                  <a:pt x="2461340" y="1004649"/>
                </a:cubicBezTo>
                <a:cubicBezTo>
                  <a:pt x="2458073" y="1004649"/>
                  <a:pt x="2455531" y="1002107"/>
                  <a:pt x="2455531" y="998840"/>
                </a:cubicBezTo>
                <a:cubicBezTo>
                  <a:pt x="2455531" y="995573"/>
                  <a:pt x="2458073" y="993031"/>
                  <a:pt x="2461340" y="993031"/>
                </a:cubicBezTo>
                <a:close/>
                <a:moveTo>
                  <a:pt x="2614925" y="991216"/>
                </a:moveTo>
                <a:cubicBezTo>
                  <a:pt x="2618920" y="991216"/>
                  <a:pt x="2622187" y="994483"/>
                  <a:pt x="2622187" y="998478"/>
                </a:cubicBezTo>
                <a:cubicBezTo>
                  <a:pt x="2622187" y="1002473"/>
                  <a:pt x="2618920" y="1005739"/>
                  <a:pt x="2614925" y="1005739"/>
                </a:cubicBezTo>
                <a:cubicBezTo>
                  <a:pt x="2610931" y="1005739"/>
                  <a:pt x="2607664" y="1002473"/>
                  <a:pt x="2607664" y="998478"/>
                </a:cubicBezTo>
                <a:cubicBezTo>
                  <a:pt x="2607664" y="994483"/>
                  <a:pt x="2610931" y="991216"/>
                  <a:pt x="2614925" y="991216"/>
                </a:cubicBezTo>
                <a:close/>
                <a:moveTo>
                  <a:pt x="2768873" y="989402"/>
                </a:moveTo>
                <a:cubicBezTo>
                  <a:pt x="2773958" y="989402"/>
                  <a:pt x="2777953" y="993396"/>
                  <a:pt x="2777953" y="998478"/>
                </a:cubicBezTo>
                <a:cubicBezTo>
                  <a:pt x="2777953" y="1003563"/>
                  <a:pt x="2773958" y="1007558"/>
                  <a:pt x="2768873" y="1007558"/>
                </a:cubicBezTo>
                <a:cubicBezTo>
                  <a:pt x="2763792" y="1007558"/>
                  <a:pt x="2759797" y="1003563"/>
                  <a:pt x="2759797" y="998478"/>
                </a:cubicBezTo>
                <a:cubicBezTo>
                  <a:pt x="2759797" y="993396"/>
                  <a:pt x="2763792" y="989402"/>
                  <a:pt x="2768873" y="989402"/>
                </a:cubicBezTo>
                <a:close/>
                <a:moveTo>
                  <a:pt x="2922458" y="988311"/>
                </a:moveTo>
                <a:cubicBezTo>
                  <a:pt x="2927905" y="988311"/>
                  <a:pt x="2932624" y="993031"/>
                  <a:pt x="2932624" y="998478"/>
                </a:cubicBezTo>
                <a:cubicBezTo>
                  <a:pt x="2932624" y="1003925"/>
                  <a:pt x="2928267" y="1008644"/>
                  <a:pt x="2922458" y="1008644"/>
                </a:cubicBezTo>
                <a:cubicBezTo>
                  <a:pt x="2917011" y="1008644"/>
                  <a:pt x="2912292" y="1003925"/>
                  <a:pt x="2912292" y="998478"/>
                </a:cubicBezTo>
                <a:cubicBezTo>
                  <a:pt x="2912292" y="993031"/>
                  <a:pt x="2917011" y="988311"/>
                  <a:pt x="2922458" y="988311"/>
                </a:cubicBezTo>
                <a:close/>
                <a:moveTo>
                  <a:pt x="3076402" y="986497"/>
                </a:moveTo>
                <a:cubicBezTo>
                  <a:pt x="3082939" y="986497"/>
                  <a:pt x="3088386" y="991944"/>
                  <a:pt x="3088386" y="998478"/>
                </a:cubicBezTo>
                <a:cubicBezTo>
                  <a:pt x="3088386" y="1005015"/>
                  <a:pt x="3082939" y="1010459"/>
                  <a:pt x="3076402" y="1010459"/>
                </a:cubicBezTo>
                <a:cubicBezTo>
                  <a:pt x="3069868" y="1010459"/>
                  <a:pt x="3064421" y="1005015"/>
                  <a:pt x="3064421" y="998478"/>
                </a:cubicBezTo>
                <a:cubicBezTo>
                  <a:pt x="3064421" y="991944"/>
                  <a:pt x="3069868" y="986497"/>
                  <a:pt x="3076402" y="986497"/>
                </a:cubicBezTo>
                <a:close/>
                <a:moveTo>
                  <a:pt x="3230353" y="984683"/>
                </a:moveTo>
                <a:cubicBezTo>
                  <a:pt x="3237973" y="984683"/>
                  <a:pt x="3244148" y="990862"/>
                  <a:pt x="3244148" y="998482"/>
                </a:cubicBezTo>
                <a:cubicBezTo>
                  <a:pt x="3244148" y="1006098"/>
                  <a:pt x="3237973" y="1012277"/>
                  <a:pt x="3230353" y="1012277"/>
                </a:cubicBezTo>
                <a:cubicBezTo>
                  <a:pt x="3222733" y="1012277"/>
                  <a:pt x="3216554" y="1006098"/>
                  <a:pt x="3216554" y="998482"/>
                </a:cubicBezTo>
                <a:cubicBezTo>
                  <a:pt x="3216554" y="990862"/>
                  <a:pt x="3222733" y="984683"/>
                  <a:pt x="3230353" y="984683"/>
                </a:cubicBezTo>
                <a:close/>
                <a:moveTo>
                  <a:pt x="3383934" y="983230"/>
                </a:moveTo>
                <a:cubicBezTo>
                  <a:pt x="3392358" y="983230"/>
                  <a:pt x="3399186" y="990057"/>
                  <a:pt x="3399186" y="998482"/>
                </a:cubicBezTo>
                <a:cubicBezTo>
                  <a:pt x="3399186" y="1006902"/>
                  <a:pt x="3392358" y="1013729"/>
                  <a:pt x="3383934" y="1013729"/>
                </a:cubicBezTo>
                <a:cubicBezTo>
                  <a:pt x="3375514" y="1013729"/>
                  <a:pt x="3368687" y="1006902"/>
                  <a:pt x="3368687" y="998482"/>
                </a:cubicBezTo>
                <a:cubicBezTo>
                  <a:pt x="3368687" y="990057"/>
                  <a:pt x="3375514" y="983230"/>
                  <a:pt x="3383934" y="983230"/>
                </a:cubicBezTo>
                <a:close/>
                <a:moveTo>
                  <a:pt x="3537886" y="981412"/>
                </a:moveTo>
                <a:cubicBezTo>
                  <a:pt x="3547324" y="981412"/>
                  <a:pt x="3554951" y="989036"/>
                  <a:pt x="3554951" y="998478"/>
                </a:cubicBezTo>
                <a:cubicBezTo>
                  <a:pt x="3554951" y="1007916"/>
                  <a:pt x="3547324" y="1015540"/>
                  <a:pt x="3537886" y="1015540"/>
                </a:cubicBezTo>
                <a:cubicBezTo>
                  <a:pt x="3528444" y="1015540"/>
                  <a:pt x="3520820" y="1007916"/>
                  <a:pt x="3520820" y="998478"/>
                </a:cubicBezTo>
                <a:cubicBezTo>
                  <a:pt x="3520820" y="989036"/>
                  <a:pt x="3528444" y="981412"/>
                  <a:pt x="3537886" y="981412"/>
                </a:cubicBezTo>
                <a:close/>
                <a:moveTo>
                  <a:pt x="3691467" y="979235"/>
                </a:moveTo>
                <a:cubicBezTo>
                  <a:pt x="3702094" y="979235"/>
                  <a:pt x="3710710" y="987850"/>
                  <a:pt x="3710710" y="998478"/>
                </a:cubicBezTo>
                <a:cubicBezTo>
                  <a:pt x="3710710" y="1009105"/>
                  <a:pt x="3702094" y="1017724"/>
                  <a:pt x="3691467" y="1017724"/>
                </a:cubicBezTo>
                <a:cubicBezTo>
                  <a:pt x="3680839" y="1017724"/>
                  <a:pt x="3672224" y="1009105"/>
                  <a:pt x="3672224" y="998478"/>
                </a:cubicBezTo>
                <a:cubicBezTo>
                  <a:pt x="3672224" y="987850"/>
                  <a:pt x="3680839" y="979235"/>
                  <a:pt x="3691467" y="979235"/>
                </a:cubicBezTo>
                <a:close/>
                <a:moveTo>
                  <a:pt x="3845418" y="977055"/>
                </a:moveTo>
                <a:cubicBezTo>
                  <a:pt x="3857246" y="977055"/>
                  <a:pt x="3866841" y="986646"/>
                  <a:pt x="3866841" y="998478"/>
                </a:cubicBezTo>
                <a:cubicBezTo>
                  <a:pt x="3866841" y="1010306"/>
                  <a:pt x="3857246" y="1019901"/>
                  <a:pt x="3845418" y="1019901"/>
                </a:cubicBezTo>
                <a:cubicBezTo>
                  <a:pt x="3833586" y="1019901"/>
                  <a:pt x="3823995" y="1010306"/>
                  <a:pt x="3823995" y="998478"/>
                </a:cubicBezTo>
                <a:cubicBezTo>
                  <a:pt x="3823995" y="986646"/>
                  <a:pt x="3833586" y="977055"/>
                  <a:pt x="3845418" y="977055"/>
                </a:cubicBezTo>
                <a:close/>
                <a:moveTo>
                  <a:pt x="3999000" y="975603"/>
                </a:moveTo>
                <a:cubicBezTo>
                  <a:pt x="4011632" y="975603"/>
                  <a:pt x="4021871" y="985845"/>
                  <a:pt x="4021871" y="998478"/>
                </a:cubicBezTo>
                <a:cubicBezTo>
                  <a:pt x="4021871" y="1011110"/>
                  <a:pt x="4011632" y="1021349"/>
                  <a:pt x="3999000" y="1021349"/>
                </a:cubicBezTo>
                <a:cubicBezTo>
                  <a:pt x="3986367" y="1021349"/>
                  <a:pt x="3976124" y="1011110"/>
                  <a:pt x="3976124" y="998478"/>
                </a:cubicBezTo>
                <a:cubicBezTo>
                  <a:pt x="3976124" y="985845"/>
                  <a:pt x="3986367" y="975603"/>
                  <a:pt x="3999000" y="975603"/>
                </a:cubicBezTo>
                <a:close/>
                <a:moveTo>
                  <a:pt x="4152947" y="973426"/>
                </a:moveTo>
                <a:cubicBezTo>
                  <a:pt x="4166784" y="973426"/>
                  <a:pt x="4178002" y="984641"/>
                  <a:pt x="4178002" y="998478"/>
                </a:cubicBezTo>
                <a:cubicBezTo>
                  <a:pt x="4178002" y="1012315"/>
                  <a:pt x="4166784" y="1023533"/>
                  <a:pt x="4152947" y="1023533"/>
                </a:cubicBezTo>
                <a:cubicBezTo>
                  <a:pt x="4139114" y="1023533"/>
                  <a:pt x="4127895" y="1012315"/>
                  <a:pt x="4127895" y="998478"/>
                </a:cubicBezTo>
                <a:cubicBezTo>
                  <a:pt x="4127895" y="984641"/>
                  <a:pt x="4139114" y="973426"/>
                  <a:pt x="4152947" y="973426"/>
                </a:cubicBezTo>
                <a:close/>
                <a:moveTo>
                  <a:pt x="4306532" y="971246"/>
                </a:moveTo>
                <a:cubicBezTo>
                  <a:pt x="4321418" y="971246"/>
                  <a:pt x="4333764" y="983592"/>
                  <a:pt x="4333764" y="998478"/>
                </a:cubicBezTo>
                <a:cubicBezTo>
                  <a:pt x="4333764" y="1013363"/>
                  <a:pt x="4321780" y="1025710"/>
                  <a:pt x="4306532" y="1025710"/>
                </a:cubicBezTo>
                <a:cubicBezTo>
                  <a:pt x="4291643" y="1025710"/>
                  <a:pt x="4279300" y="1013363"/>
                  <a:pt x="4279300" y="998478"/>
                </a:cubicBezTo>
                <a:cubicBezTo>
                  <a:pt x="4279300" y="983592"/>
                  <a:pt x="4291643" y="971246"/>
                  <a:pt x="4306532" y="971246"/>
                </a:cubicBezTo>
                <a:close/>
                <a:moveTo>
                  <a:pt x="4460476" y="968707"/>
                </a:moveTo>
                <a:cubicBezTo>
                  <a:pt x="4476920" y="968707"/>
                  <a:pt x="4490250" y="982037"/>
                  <a:pt x="4490250" y="998482"/>
                </a:cubicBezTo>
                <a:cubicBezTo>
                  <a:pt x="4490250" y="1014922"/>
                  <a:pt x="4476920" y="1028252"/>
                  <a:pt x="4460476" y="1028252"/>
                </a:cubicBezTo>
                <a:cubicBezTo>
                  <a:pt x="4444035" y="1028252"/>
                  <a:pt x="4430705" y="1014922"/>
                  <a:pt x="4430705" y="998482"/>
                </a:cubicBezTo>
                <a:cubicBezTo>
                  <a:pt x="4430705" y="982037"/>
                  <a:pt x="4444035" y="968707"/>
                  <a:pt x="4460476" y="968707"/>
                </a:cubicBezTo>
                <a:close/>
                <a:moveTo>
                  <a:pt x="4614061" y="966526"/>
                </a:moveTo>
                <a:cubicBezTo>
                  <a:pt x="4631852" y="966526"/>
                  <a:pt x="4646012" y="980688"/>
                  <a:pt x="4646012" y="998478"/>
                </a:cubicBezTo>
                <a:cubicBezTo>
                  <a:pt x="4646012" y="1016268"/>
                  <a:pt x="4631852" y="1030429"/>
                  <a:pt x="4614061" y="1030429"/>
                </a:cubicBezTo>
                <a:cubicBezTo>
                  <a:pt x="4596271" y="1030429"/>
                  <a:pt x="4582110" y="1016268"/>
                  <a:pt x="4582110" y="998478"/>
                </a:cubicBezTo>
                <a:cubicBezTo>
                  <a:pt x="4582110" y="980688"/>
                  <a:pt x="4596271" y="966526"/>
                  <a:pt x="4614061" y="966526"/>
                </a:cubicBezTo>
                <a:close/>
                <a:moveTo>
                  <a:pt x="4768008" y="964712"/>
                </a:moveTo>
                <a:cubicBezTo>
                  <a:pt x="4786656" y="964712"/>
                  <a:pt x="4801778" y="979830"/>
                  <a:pt x="4801778" y="998478"/>
                </a:cubicBezTo>
                <a:cubicBezTo>
                  <a:pt x="4801778" y="1017129"/>
                  <a:pt x="4786656" y="1032247"/>
                  <a:pt x="4768008" y="1032247"/>
                </a:cubicBezTo>
                <a:cubicBezTo>
                  <a:pt x="4749360" y="1032247"/>
                  <a:pt x="4734242" y="1017129"/>
                  <a:pt x="4734242" y="998478"/>
                </a:cubicBezTo>
                <a:cubicBezTo>
                  <a:pt x="4734242" y="979830"/>
                  <a:pt x="4749360" y="964712"/>
                  <a:pt x="4768008" y="964712"/>
                </a:cubicBezTo>
                <a:close/>
                <a:moveTo>
                  <a:pt x="4921594" y="962169"/>
                </a:moveTo>
                <a:cubicBezTo>
                  <a:pt x="4941564" y="962169"/>
                  <a:pt x="4957902" y="978507"/>
                  <a:pt x="4957902" y="998478"/>
                </a:cubicBezTo>
                <a:cubicBezTo>
                  <a:pt x="4957902" y="1018448"/>
                  <a:pt x="4941564" y="1034786"/>
                  <a:pt x="4921594" y="1034786"/>
                </a:cubicBezTo>
                <a:cubicBezTo>
                  <a:pt x="4901623" y="1034786"/>
                  <a:pt x="4885286" y="1018448"/>
                  <a:pt x="4885286" y="998478"/>
                </a:cubicBezTo>
                <a:cubicBezTo>
                  <a:pt x="4885286" y="978507"/>
                  <a:pt x="4901623" y="962169"/>
                  <a:pt x="4921594" y="962169"/>
                </a:cubicBezTo>
                <a:close/>
                <a:moveTo>
                  <a:pt x="5075545" y="959627"/>
                </a:moveTo>
                <a:cubicBezTo>
                  <a:pt x="5096968" y="959627"/>
                  <a:pt x="5114392" y="977055"/>
                  <a:pt x="5114392" y="998478"/>
                </a:cubicBezTo>
                <a:cubicBezTo>
                  <a:pt x="5114392" y="1019897"/>
                  <a:pt x="5096968" y="1037325"/>
                  <a:pt x="5075545" y="1037325"/>
                </a:cubicBezTo>
                <a:cubicBezTo>
                  <a:pt x="5054122" y="1037325"/>
                  <a:pt x="5036694" y="1019897"/>
                  <a:pt x="5036694" y="998478"/>
                </a:cubicBezTo>
                <a:cubicBezTo>
                  <a:pt x="5036694" y="977055"/>
                  <a:pt x="5054122" y="959627"/>
                  <a:pt x="5075545" y="959627"/>
                </a:cubicBezTo>
                <a:close/>
                <a:moveTo>
                  <a:pt x="5229126" y="957450"/>
                </a:moveTo>
                <a:cubicBezTo>
                  <a:pt x="5252002" y="957450"/>
                  <a:pt x="5270158" y="975606"/>
                  <a:pt x="5270158" y="998478"/>
                </a:cubicBezTo>
                <a:cubicBezTo>
                  <a:pt x="5270158" y="1021353"/>
                  <a:pt x="5251640" y="1039505"/>
                  <a:pt x="5229126" y="1039505"/>
                </a:cubicBezTo>
                <a:cubicBezTo>
                  <a:pt x="5206255" y="1039505"/>
                  <a:pt x="5188099" y="1021353"/>
                  <a:pt x="5188099" y="998478"/>
                </a:cubicBezTo>
                <a:cubicBezTo>
                  <a:pt x="5188099" y="975606"/>
                  <a:pt x="5206255" y="957450"/>
                  <a:pt x="5229126" y="957450"/>
                </a:cubicBezTo>
                <a:close/>
                <a:moveTo>
                  <a:pt x="5383074" y="954908"/>
                </a:moveTo>
                <a:cubicBezTo>
                  <a:pt x="5407036" y="954908"/>
                  <a:pt x="5426644" y="974516"/>
                  <a:pt x="5426644" y="998478"/>
                </a:cubicBezTo>
                <a:cubicBezTo>
                  <a:pt x="5426644" y="1022443"/>
                  <a:pt x="5407036" y="1042048"/>
                  <a:pt x="5383074" y="1042048"/>
                </a:cubicBezTo>
                <a:cubicBezTo>
                  <a:pt x="5359112" y="1042048"/>
                  <a:pt x="5339504" y="1022443"/>
                  <a:pt x="5339504" y="998478"/>
                </a:cubicBezTo>
                <a:cubicBezTo>
                  <a:pt x="5339504" y="974516"/>
                  <a:pt x="5359112" y="954908"/>
                  <a:pt x="5383074" y="954908"/>
                </a:cubicBezTo>
                <a:close/>
                <a:moveTo>
                  <a:pt x="5537018" y="952365"/>
                </a:moveTo>
                <a:cubicBezTo>
                  <a:pt x="5562484" y="952365"/>
                  <a:pt x="5583130" y="973010"/>
                  <a:pt x="5583130" y="998478"/>
                </a:cubicBezTo>
                <a:cubicBezTo>
                  <a:pt x="5583130" y="1023945"/>
                  <a:pt x="5562484" y="1044590"/>
                  <a:pt x="5537018" y="1044590"/>
                </a:cubicBezTo>
                <a:cubicBezTo>
                  <a:pt x="5511554" y="1044590"/>
                  <a:pt x="5490908" y="1023945"/>
                  <a:pt x="5490908" y="998478"/>
                </a:cubicBezTo>
                <a:cubicBezTo>
                  <a:pt x="5490908" y="973010"/>
                  <a:pt x="5511554" y="952365"/>
                  <a:pt x="5537018" y="952365"/>
                </a:cubicBezTo>
                <a:close/>
                <a:moveTo>
                  <a:pt x="5690606" y="949823"/>
                </a:moveTo>
                <a:cubicBezTo>
                  <a:pt x="5717473" y="949823"/>
                  <a:pt x="5739258" y="971608"/>
                  <a:pt x="5739258" y="998478"/>
                </a:cubicBezTo>
                <a:cubicBezTo>
                  <a:pt x="5739258" y="1025344"/>
                  <a:pt x="5717473" y="1047129"/>
                  <a:pt x="5690606" y="1047129"/>
                </a:cubicBezTo>
                <a:cubicBezTo>
                  <a:pt x="5663736" y="1047129"/>
                  <a:pt x="5641952" y="1025344"/>
                  <a:pt x="5641952" y="998478"/>
                </a:cubicBezTo>
                <a:cubicBezTo>
                  <a:pt x="5641952" y="971608"/>
                  <a:pt x="5663736" y="949823"/>
                  <a:pt x="5690606" y="949823"/>
                </a:cubicBezTo>
                <a:close/>
                <a:moveTo>
                  <a:pt x="5844554" y="947284"/>
                </a:moveTo>
                <a:cubicBezTo>
                  <a:pt x="5872830" y="947284"/>
                  <a:pt x="5895748" y="970205"/>
                  <a:pt x="5895748" y="998478"/>
                </a:cubicBezTo>
                <a:cubicBezTo>
                  <a:pt x="5895748" y="1026754"/>
                  <a:pt x="5872827" y="1049672"/>
                  <a:pt x="5844554" y="1049672"/>
                </a:cubicBezTo>
                <a:cubicBezTo>
                  <a:pt x="5816281" y="1049672"/>
                  <a:pt x="5793360" y="1026754"/>
                  <a:pt x="5793360" y="998478"/>
                </a:cubicBezTo>
                <a:cubicBezTo>
                  <a:pt x="5793360" y="970205"/>
                  <a:pt x="5816281" y="947284"/>
                  <a:pt x="5844554" y="947284"/>
                </a:cubicBezTo>
                <a:close/>
                <a:moveTo>
                  <a:pt x="5998136" y="945104"/>
                </a:moveTo>
                <a:cubicBezTo>
                  <a:pt x="6027548" y="945104"/>
                  <a:pt x="6051514" y="969065"/>
                  <a:pt x="6051514" y="998478"/>
                </a:cubicBezTo>
                <a:cubicBezTo>
                  <a:pt x="6051514" y="1027887"/>
                  <a:pt x="6027548" y="1051848"/>
                  <a:pt x="5998136" y="1051848"/>
                </a:cubicBezTo>
                <a:cubicBezTo>
                  <a:pt x="5968726" y="1051848"/>
                  <a:pt x="5944765" y="1027887"/>
                  <a:pt x="5944765" y="998478"/>
                </a:cubicBezTo>
                <a:cubicBezTo>
                  <a:pt x="5944765" y="969065"/>
                  <a:pt x="5968726" y="945104"/>
                  <a:pt x="5998136" y="945104"/>
                </a:cubicBezTo>
                <a:close/>
                <a:moveTo>
                  <a:pt x="6152086" y="942199"/>
                </a:moveTo>
                <a:cubicBezTo>
                  <a:pt x="6183314" y="942199"/>
                  <a:pt x="6208366" y="967251"/>
                  <a:pt x="6208366" y="998478"/>
                </a:cubicBezTo>
                <a:cubicBezTo>
                  <a:pt x="6208366" y="1029701"/>
                  <a:pt x="6183314" y="1054753"/>
                  <a:pt x="6152086" y="1054753"/>
                </a:cubicBezTo>
                <a:cubicBezTo>
                  <a:pt x="6120860" y="1054753"/>
                  <a:pt x="6095808" y="1029701"/>
                  <a:pt x="6095808" y="998478"/>
                </a:cubicBezTo>
                <a:cubicBezTo>
                  <a:pt x="6095808" y="967251"/>
                  <a:pt x="6120860" y="942199"/>
                  <a:pt x="6152086" y="942199"/>
                </a:cubicBezTo>
                <a:close/>
                <a:moveTo>
                  <a:pt x="6305672" y="939660"/>
                </a:moveTo>
                <a:cubicBezTo>
                  <a:pt x="6338157" y="939660"/>
                  <a:pt x="6364490" y="965993"/>
                  <a:pt x="6364490" y="998482"/>
                </a:cubicBezTo>
                <a:cubicBezTo>
                  <a:pt x="6364490" y="1030967"/>
                  <a:pt x="6338157" y="1057299"/>
                  <a:pt x="6305672" y="1057299"/>
                </a:cubicBezTo>
                <a:cubicBezTo>
                  <a:pt x="6273187" y="1057299"/>
                  <a:pt x="6246850" y="1030967"/>
                  <a:pt x="6246850" y="998482"/>
                </a:cubicBezTo>
                <a:cubicBezTo>
                  <a:pt x="6246850" y="965993"/>
                  <a:pt x="6273187" y="939660"/>
                  <a:pt x="6305672" y="939660"/>
                </a:cubicBezTo>
                <a:close/>
                <a:moveTo>
                  <a:pt x="6459619" y="937118"/>
                </a:moveTo>
                <a:cubicBezTo>
                  <a:pt x="6493747" y="937118"/>
                  <a:pt x="6521342" y="964712"/>
                  <a:pt x="6521342" y="998844"/>
                </a:cubicBezTo>
                <a:cubicBezTo>
                  <a:pt x="6521342" y="1032972"/>
                  <a:pt x="6493747" y="1060566"/>
                  <a:pt x="6459619" y="1060566"/>
                </a:cubicBezTo>
                <a:cubicBezTo>
                  <a:pt x="6425488" y="1060566"/>
                  <a:pt x="6397893" y="1032972"/>
                  <a:pt x="6397893" y="998844"/>
                </a:cubicBezTo>
                <a:cubicBezTo>
                  <a:pt x="6397893" y="964712"/>
                  <a:pt x="6425488" y="937118"/>
                  <a:pt x="6459619" y="937118"/>
                </a:cubicBezTo>
                <a:close/>
                <a:moveTo>
                  <a:pt x="6613200" y="934213"/>
                </a:moveTo>
                <a:cubicBezTo>
                  <a:pt x="6648694" y="934213"/>
                  <a:pt x="6677470" y="962985"/>
                  <a:pt x="6677470" y="998478"/>
                </a:cubicBezTo>
                <a:cubicBezTo>
                  <a:pt x="6677470" y="1033970"/>
                  <a:pt x="6648694" y="1062746"/>
                  <a:pt x="6613200" y="1062746"/>
                </a:cubicBezTo>
                <a:cubicBezTo>
                  <a:pt x="6577708" y="1062746"/>
                  <a:pt x="6548936" y="1033970"/>
                  <a:pt x="6548936" y="998478"/>
                </a:cubicBezTo>
                <a:cubicBezTo>
                  <a:pt x="6548936" y="962985"/>
                  <a:pt x="6577708" y="934213"/>
                  <a:pt x="6613200" y="934213"/>
                </a:cubicBezTo>
                <a:close/>
                <a:moveTo>
                  <a:pt x="1538746" y="844530"/>
                </a:moveTo>
                <a:cubicBezTo>
                  <a:pt x="1539108" y="844530"/>
                  <a:pt x="1539108" y="844530"/>
                  <a:pt x="1539108" y="844893"/>
                </a:cubicBezTo>
                <a:cubicBezTo>
                  <a:pt x="1539108" y="845258"/>
                  <a:pt x="1538746" y="845258"/>
                  <a:pt x="1538746" y="845258"/>
                </a:cubicBezTo>
                <a:cubicBezTo>
                  <a:pt x="1538384" y="845258"/>
                  <a:pt x="1538384" y="845258"/>
                  <a:pt x="1538384" y="844893"/>
                </a:cubicBezTo>
                <a:cubicBezTo>
                  <a:pt x="1538384" y="844530"/>
                  <a:pt x="1538384" y="844530"/>
                  <a:pt x="1538746" y="844530"/>
                </a:cubicBezTo>
                <a:close/>
                <a:moveTo>
                  <a:pt x="1077266" y="844530"/>
                </a:moveTo>
                <a:cubicBezTo>
                  <a:pt x="1077628" y="844530"/>
                  <a:pt x="1077628" y="844530"/>
                  <a:pt x="1077628" y="844893"/>
                </a:cubicBezTo>
                <a:cubicBezTo>
                  <a:pt x="1077628" y="845258"/>
                  <a:pt x="1077266" y="845258"/>
                  <a:pt x="1077266" y="845258"/>
                </a:cubicBezTo>
                <a:cubicBezTo>
                  <a:pt x="1076904" y="845258"/>
                  <a:pt x="1076904" y="845258"/>
                  <a:pt x="1076904" y="844893"/>
                </a:cubicBezTo>
                <a:cubicBezTo>
                  <a:pt x="1076904" y="844530"/>
                  <a:pt x="1076904" y="844530"/>
                  <a:pt x="1077266" y="844530"/>
                </a:cubicBezTo>
                <a:close/>
                <a:moveTo>
                  <a:pt x="923681" y="844530"/>
                </a:moveTo>
                <a:cubicBezTo>
                  <a:pt x="924043" y="844530"/>
                  <a:pt x="924043" y="844530"/>
                  <a:pt x="924043" y="844893"/>
                </a:cubicBezTo>
                <a:cubicBezTo>
                  <a:pt x="924043" y="845258"/>
                  <a:pt x="923681" y="845258"/>
                  <a:pt x="923681" y="845258"/>
                </a:cubicBezTo>
                <a:cubicBezTo>
                  <a:pt x="923319" y="845258"/>
                  <a:pt x="923319" y="845258"/>
                  <a:pt x="923319" y="844893"/>
                </a:cubicBezTo>
                <a:cubicBezTo>
                  <a:pt x="923319" y="844530"/>
                  <a:pt x="923319" y="844530"/>
                  <a:pt x="923681" y="844530"/>
                </a:cubicBezTo>
                <a:close/>
                <a:moveTo>
                  <a:pt x="769737" y="844168"/>
                </a:moveTo>
                <a:cubicBezTo>
                  <a:pt x="770137" y="844168"/>
                  <a:pt x="770461" y="844492"/>
                  <a:pt x="770461" y="844896"/>
                </a:cubicBezTo>
                <a:cubicBezTo>
                  <a:pt x="770461" y="845297"/>
                  <a:pt x="770137" y="845621"/>
                  <a:pt x="769737" y="845621"/>
                </a:cubicBezTo>
                <a:cubicBezTo>
                  <a:pt x="769333" y="845621"/>
                  <a:pt x="769009" y="845297"/>
                  <a:pt x="769009" y="844896"/>
                </a:cubicBezTo>
                <a:cubicBezTo>
                  <a:pt x="769009" y="844492"/>
                  <a:pt x="769333" y="844168"/>
                  <a:pt x="769737" y="844168"/>
                </a:cubicBezTo>
                <a:close/>
                <a:moveTo>
                  <a:pt x="1692331" y="843078"/>
                </a:moveTo>
                <a:cubicBezTo>
                  <a:pt x="1693056" y="843078"/>
                  <a:pt x="1693784" y="843806"/>
                  <a:pt x="1693784" y="844530"/>
                </a:cubicBezTo>
                <a:cubicBezTo>
                  <a:pt x="1693784" y="845258"/>
                  <a:pt x="1692331" y="845983"/>
                  <a:pt x="1692331" y="845983"/>
                </a:cubicBezTo>
                <a:cubicBezTo>
                  <a:pt x="1691603" y="845983"/>
                  <a:pt x="1690879" y="845258"/>
                  <a:pt x="1690879" y="844530"/>
                </a:cubicBezTo>
                <a:cubicBezTo>
                  <a:pt x="1690879" y="843806"/>
                  <a:pt x="1691603" y="843078"/>
                  <a:pt x="1692331" y="843078"/>
                </a:cubicBezTo>
                <a:close/>
                <a:moveTo>
                  <a:pt x="1846279" y="842716"/>
                </a:moveTo>
                <a:cubicBezTo>
                  <a:pt x="1847480" y="842716"/>
                  <a:pt x="1848455" y="843692"/>
                  <a:pt x="1848455" y="844896"/>
                </a:cubicBezTo>
                <a:cubicBezTo>
                  <a:pt x="1848455" y="846097"/>
                  <a:pt x="1847480" y="847073"/>
                  <a:pt x="1846279" y="847073"/>
                </a:cubicBezTo>
                <a:cubicBezTo>
                  <a:pt x="1845074" y="847073"/>
                  <a:pt x="1844098" y="846097"/>
                  <a:pt x="1844098" y="844896"/>
                </a:cubicBezTo>
                <a:cubicBezTo>
                  <a:pt x="1844098" y="843692"/>
                  <a:pt x="1845074" y="842716"/>
                  <a:pt x="1846279" y="842716"/>
                </a:cubicBezTo>
                <a:close/>
                <a:moveTo>
                  <a:pt x="1999860" y="841626"/>
                </a:moveTo>
                <a:cubicBezTo>
                  <a:pt x="2001679" y="841626"/>
                  <a:pt x="2003127" y="843078"/>
                  <a:pt x="2003127" y="844893"/>
                </a:cubicBezTo>
                <a:cubicBezTo>
                  <a:pt x="2003127" y="846707"/>
                  <a:pt x="2001679" y="848163"/>
                  <a:pt x="1999860" y="848163"/>
                </a:cubicBezTo>
                <a:cubicBezTo>
                  <a:pt x="1998046" y="848163"/>
                  <a:pt x="1996593" y="846707"/>
                  <a:pt x="1996593" y="844893"/>
                </a:cubicBezTo>
                <a:cubicBezTo>
                  <a:pt x="1996593" y="843078"/>
                  <a:pt x="1998046" y="841626"/>
                  <a:pt x="1999860" y="841626"/>
                </a:cubicBezTo>
                <a:close/>
                <a:moveTo>
                  <a:pt x="2153808" y="840173"/>
                </a:moveTo>
                <a:cubicBezTo>
                  <a:pt x="2156350" y="840173"/>
                  <a:pt x="2158165" y="841988"/>
                  <a:pt x="2158165" y="844530"/>
                </a:cubicBezTo>
                <a:cubicBezTo>
                  <a:pt x="2158165" y="847073"/>
                  <a:pt x="2155988" y="848887"/>
                  <a:pt x="2153808" y="848887"/>
                </a:cubicBezTo>
                <a:cubicBezTo>
                  <a:pt x="2151265" y="848887"/>
                  <a:pt x="2149451" y="847073"/>
                  <a:pt x="2149451" y="844530"/>
                </a:cubicBezTo>
                <a:cubicBezTo>
                  <a:pt x="2149451" y="841988"/>
                  <a:pt x="2151265" y="840173"/>
                  <a:pt x="2153808" y="840173"/>
                </a:cubicBezTo>
                <a:close/>
                <a:moveTo>
                  <a:pt x="2307393" y="839083"/>
                </a:moveTo>
                <a:cubicBezTo>
                  <a:pt x="2310660" y="839083"/>
                  <a:pt x="2313202" y="841626"/>
                  <a:pt x="2313202" y="844893"/>
                </a:cubicBezTo>
                <a:cubicBezTo>
                  <a:pt x="2313202" y="848159"/>
                  <a:pt x="2310660" y="850702"/>
                  <a:pt x="2307393" y="850702"/>
                </a:cubicBezTo>
                <a:cubicBezTo>
                  <a:pt x="2304126" y="850702"/>
                  <a:pt x="2301583" y="848159"/>
                  <a:pt x="2301583" y="844893"/>
                </a:cubicBezTo>
                <a:cubicBezTo>
                  <a:pt x="2301583" y="841626"/>
                  <a:pt x="2304126" y="839083"/>
                  <a:pt x="2307393" y="839083"/>
                </a:cubicBezTo>
                <a:close/>
                <a:moveTo>
                  <a:pt x="2461340" y="837631"/>
                </a:moveTo>
                <a:cubicBezTo>
                  <a:pt x="2465335" y="837631"/>
                  <a:pt x="2468602" y="840898"/>
                  <a:pt x="2468602" y="844893"/>
                </a:cubicBezTo>
                <a:cubicBezTo>
                  <a:pt x="2468602" y="848887"/>
                  <a:pt x="2465335" y="852154"/>
                  <a:pt x="2461340" y="852154"/>
                </a:cubicBezTo>
                <a:cubicBezTo>
                  <a:pt x="2457345" y="852154"/>
                  <a:pt x="2454079" y="848887"/>
                  <a:pt x="2454079" y="844893"/>
                </a:cubicBezTo>
                <a:cubicBezTo>
                  <a:pt x="2454079" y="840898"/>
                  <a:pt x="2457345" y="837631"/>
                  <a:pt x="2461340" y="837631"/>
                </a:cubicBezTo>
                <a:close/>
                <a:moveTo>
                  <a:pt x="2614925" y="835454"/>
                </a:moveTo>
                <a:cubicBezTo>
                  <a:pt x="2620011" y="835454"/>
                  <a:pt x="2624005" y="839449"/>
                  <a:pt x="2624005" y="844530"/>
                </a:cubicBezTo>
                <a:cubicBezTo>
                  <a:pt x="2624005" y="849615"/>
                  <a:pt x="2620011" y="853610"/>
                  <a:pt x="2614925" y="853610"/>
                </a:cubicBezTo>
                <a:cubicBezTo>
                  <a:pt x="2609844" y="853610"/>
                  <a:pt x="2605849" y="849615"/>
                  <a:pt x="2605849" y="844530"/>
                </a:cubicBezTo>
                <a:cubicBezTo>
                  <a:pt x="2605849" y="839449"/>
                  <a:pt x="2609844" y="835454"/>
                  <a:pt x="2614925" y="835454"/>
                </a:cubicBezTo>
                <a:close/>
                <a:moveTo>
                  <a:pt x="2768873" y="834726"/>
                </a:moveTo>
                <a:cubicBezTo>
                  <a:pt x="2774320" y="834726"/>
                  <a:pt x="2779039" y="839445"/>
                  <a:pt x="2779039" y="844893"/>
                </a:cubicBezTo>
                <a:cubicBezTo>
                  <a:pt x="2779039" y="850340"/>
                  <a:pt x="2774682" y="855059"/>
                  <a:pt x="2768873" y="855059"/>
                </a:cubicBezTo>
                <a:cubicBezTo>
                  <a:pt x="2763426" y="855059"/>
                  <a:pt x="2758707" y="850340"/>
                  <a:pt x="2758707" y="844893"/>
                </a:cubicBezTo>
                <a:cubicBezTo>
                  <a:pt x="2758707" y="839445"/>
                  <a:pt x="2763426" y="834726"/>
                  <a:pt x="2768873" y="834726"/>
                </a:cubicBezTo>
                <a:close/>
                <a:moveTo>
                  <a:pt x="2922458" y="832912"/>
                </a:moveTo>
                <a:cubicBezTo>
                  <a:pt x="2928996" y="832912"/>
                  <a:pt x="2934443" y="838359"/>
                  <a:pt x="2934443" y="844893"/>
                </a:cubicBezTo>
                <a:cubicBezTo>
                  <a:pt x="2934443" y="851430"/>
                  <a:pt x="2928996" y="856873"/>
                  <a:pt x="2922458" y="856873"/>
                </a:cubicBezTo>
                <a:cubicBezTo>
                  <a:pt x="2915924" y="856873"/>
                  <a:pt x="2910477" y="851430"/>
                  <a:pt x="2910477" y="844893"/>
                </a:cubicBezTo>
                <a:cubicBezTo>
                  <a:pt x="2910477" y="838359"/>
                  <a:pt x="2915924" y="832912"/>
                  <a:pt x="2922458" y="832912"/>
                </a:cubicBezTo>
                <a:close/>
                <a:moveTo>
                  <a:pt x="3076402" y="831097"/>
                </a:moveTo>
                <a:cubicBezTo>
                  <a:pt x="3084022" y="831097"/>
                  <a:pt x="3090201" y="837276"/>
                  <a:pt x="3090201" y="844896"/>
                </a:cubicBezTo>
                <a:cubicBezTo>
                  <a:pt x="3090201" y="852513"/>
                  <a:pt x="3084022" y="858692"/>
                  <a:pt x="3076402" y="858692"/>
                </a:cubicBezTo>
                <a:cubicBezTo>
                  <a:pt x="3068782" y="858692"/>
                  <a:pt x="3062606" y="852513"/>
                  <a:pt x="3062606" y="844896"/>
                </a:cubicBezTo>
                <a:cubicBezTo>
                  <a:pt x="3062606" y="837276"/>
                  <a:pt x="3068782" y="831097"/>
                  <a:pt x="3076402" y="831097"/>
                </a:cubicBezTo>
                <a:close/>
                <a:moveTo>
                  <a:pt x="3230349" y="829645"/>
                </a:moveTo>
                <a:cubicBezTo>
                  <a:pt x="3238773" y="829645"/>
                  <a:pt x="3245600" y="836472"/>
                  <a:pt x="3245600" y="844896"/>
                </a:cubicBezTo>
                <a:cubicBezTo>
                  <a:pt x="3245600" y="853317"/>
                  <a:pt x="3238773" y="860144"/>
                  <a:pt x="3230349" y="860144"/>
                </a:cubicBezTo>
                <a:cubicBezTo>
                  <a:pt x="3221928" y="860144"/>
                  <a:pt x="3215102" y="853317"/>
                  <a:pt x="3215102" y="844896"/>
                </a:cubicBezTo>
                <a:cubicBezTo>
                  <a:pt x="3215102" y="836472"/>
                  <a:pt x="3221928" y="829645"/>
                  <a:pt x="3230349" y="829645"/>
                </a:cubicBezTo>
                <a:close/>
                <a:moveTo>
                  <a:pt x="3383938" y="827830"/>
                </a:moveTo>
                <a:cubicBezTo>
                  <a:pt x="3393361" y="827830"/>
                  <a:pt x="3401000" y="835470"/>
                  <a:pt x="3401000" y="844896"/>
                </a:cubicBezTo>
                <a:cubicBezTo>
                  <a:pt x="3401000" y="854319"/>
                  <a:pt x="3393361" y="861958"/>
                  <a:pt x="3383938" y="861958"/>
                </a:cubicBezTo>
                <a:cubicBezTo>
                  <a:pt x="3374511" y="861958"/>
                  <a:pt x="3366872" y="854319"/>
                  <a:pt x="3366872" y="844896"/>
                </a:cubicBezTo>
                <a:cubicBezTo>
                  <a:pt x="3366872" y="835470"/>
                  <a:pt x="3374511" y="827830"/>
                  <a:pt x="3383938" y="827830"/>
                </a:cubicBezTo>
                <a:close/>
                <a:moveTo>
                  <a:pt x="3537882" y="825650"/>
                </a:moveTo>
                <a:cubicBezTo>
                  <a:pt x="3548513" y="825650"/>
                  <a:pt x="3557128" y="834265"/>
                  <a:pt x="3557128" y="844893"/>
                </a:cubicBezTo>
                <a:cubicBezTo>
                  <a:pt x="3557128" y="855520"/>
                  <a:pt x="3548513" y="864139"/>
                  <a:pt x="3537882" y="864139"/>
                </a:cubicBezTo>
                <a:cubicBezTo>
                  <a:pt x="3527254" y="864139"/>
                  <a:pt x="3518639" y="855520"/>
                  <a:pt x="3518639" y="844893"/>
                </a:cubicBezTo>
                <a:cubicBezTo>
                  <a:pt x="3518639" y="834265"/>
                  <a:pt x="3527254" y="825650"/>
                  <a:pt x="3537882" y="825650"/>
                </a:cubicBezTo>
                <a:close/>
                <a:moveTo>
                  <a:pt x="3691471" y="823473"/>
                </a:moveTo>
                <a:cubicBezTo>
                  <a:pt x="3703303" y="823473"/>
                  <a:pt x="3712894" y="833064"/>
                  <a:pt x="3712894" y="844896"/>
                </a:cubicBezTo>
                <a:cubicBezTo>
                  <a:pt x="3712894" y="856725"/>
                  <a:pt x="3703303" y="866319"/>
                  <a:pt x="3691471" y="866319"/>
                </a:cubicBezTo>
                <a:cubicBezTo>
                  <a:pt x="3679638" y="866319"/>
                  <a:pt x="3670048" y="856725"/>
                  <a:pt x="3670048" y="844896"/>
                </a:cubicBezTo>
                <a:cubicBezTo>
                  <a:pt x="3670048" y="833064"/>
                  <a:pt x="3679638" y="823473"/>
                  <a:pt x="3691471" y="823473"/>
                </a:cubicBezTo>
                <a:close/>
                <a:moveTo>
                  <a:pt x="3845418" y="822021"/>
                </a:moveTo>
                <a:cubicBezTo>
                  <a:pt x="3858051" y="822021"/>
                  <a:pt x="3868293" y="832264"/>
                  <a:pt x="3868293" y="844896"/>
                </a:cubicBezTo>
                <a:cubicBezTo>
                  <a:pt x="3868293" y="857529"/>
                  <a:pt x="3858051" y="867768"/>
                  <a:pt x="3845418" y="867768"/>
                </a:cubicBezTo>
                <a:cubicBezTo>
                  <a:pt x="3832786" y="867768"/>
                  <a:pt x="3822543" y="857529"/>
                  <a:pt x="3822543" y="844896"/>
                </a:cubicBezTo>
                <a:cubicBezTo>
                  <a:pt x="3822543" y="832264"/>
                  <a:pt x="3832786" y="822021"/>
                  <a:pt x="3845418" y="822021"/>
                </a:cubicBezTo>
                <a:close/>
                <a:moveTo>
                  <a:pt x="3999000" y="819841"/>
                </a:moveTo>
                <a:cubicBezTo>
                  <a:pt x="4012837" y="819841"/>
                  <a:pt x="4024052" y="831055"/>
                  <a:pt x="4024052" y="844893"/>
                </a:cubicBezTo>
                <a:cubicBezTo>
                  <a:pt x="4024052" y="858730"/>
                  <a:pt x="4012837" y="869948"/>
                  <a:pt x="3999000" y="869948"/>
                </a:cubicBezTo>
                <a:cubicBezTo>
                  <a:pt x="3985162" y="869948"/>
                  <a:pt x="3973948" y="858730"/>
                  <a:pt x="3973948" y="844893"/>
                </a:cubicBezTo>
                <a:cubicBezTo>
                  <a:pt x="3973948" y="831055"/>
                  <a:pt x="3985162" y="819841"/>
                  <a:pt x="3999000" y="819841"/>
                </a:cubicBezTo>
                <a:close/>
                <a:moveTo>
                  <a:pt x="4152947" y="817664"/>
                </a:moveTo>
                <a:cubicBezTo>
                  <a:pt x="4167832" y="817664"/>
                  <a:pt x="4180179" y="830011"/>
                  <a:pt x="4180179" y="844896"/>
                </a:cubicBezTo>
                <a:cubicBezTo>
                  <a:pt x="4180179" y="859782"/>
                  <a:pt x="4168194" y="872129"/>
                  <a:pt x="4152947" y="872129"/>
                </a:cubicBezTo>
                <a:cubicBezTo>
                  <a:pt x="4138058" y="872129"/>
                  <a:pt x="4125715" y="859782"/>
                  <a:pt x="4125715" y="844896"/>
                </a:cubicBezTo>
                <a:cubicBezTo>
                  <a:pt x="4125715" y="830011"/>
                  <a:pt x="4138058" y="817664"/>
                  <a:pt x="4152947" y="817664"/>
                </a:cubicBezTo>
                <a:close/>
                <a:moveTo>
                  <a:pt x="4306528" y="815122"/>
                </a:moveTo>
                <a:cubicBezTo>
                  <a:pt x="4322973" y="815122"/>
                  <a:pt x="4336303" y="828452"/>
                  <a:pt x="4336303" y="844896"/>
                </a:cubicBezTo>
                <a:cubicBezTo>
                  <a:pt x="4336303" y="861337"/>
                  <a:pt x="4322973" y="874667"/>
                  <a:pt x="4306528" y="874667"/>
                </a:cubicBezTo>
                <a:cubicBezTo>
                  <a:pt x="4290088" y="874667"/>
                  <a:pt x="4276758" y="861337"/>
                  <a:pt x="4276758" y="844896"/>
                </a:cubicBezTo>
                <a:cubicBezTo>
                  <a:pt x="4276758" y="828452"/>
                  <a:pt x="4290088" y="815122"/>
                  <a:pt x="4306528" y="815122"/>
                </a:cubicBezTo>
                <a:close/>
                <a:moveTo>
                  <a:pt x="4460480" y="812941"/>
                </a:moveTo>
                <a:cubicBezTo>
                  <a:pt x="4478270" y="812941"/>
                  <a:pt x="4492431" y="827102"/>
                  <a:pt x="4492431" y="844893"/>
                </a:cubicBezTo>
                <a:cubicBezTo>
                  <a:pt x="4492431" y="862683"/>
                  <a:pt x="4478270" y="876844"/>
                  <a:pt x="4460480" y="876844"/>
                </a:cubicBezTo>
                <a:cubicBezTo>
                  <a:pt x="4442690" y="876844"/>
                  <a:pt x="4428528" y="862683"/>
                  <a:pt x="4428528" y="844893"/>
                </a:cubicBezTo>
                <a:cubicBezTo>
                  <a:pt x="4428528" y="827102"/>
                  <a:pt x="4442690" y="812941"/>
                  <a:pt x="4460480" y="812941"/>
                </a:cubicBezTo>
                <a:close/>
                <a:moveTo>
                  <a:pt x="4614061" y="811127"/>
                </a:moveTo>
                <a:cubicBezTo>
                  <a:pt x="4632713" y="811127"/>
                  <a:pt x="4647831" y="826245"/>
                  <a:pt x="4647831" y="844893"/>
                </a:cubicBezTo>
                <a:cubicBezTo>
                  <a:pt x="4647831" y="863544"/>
                  <a:pt x="4632713" y="878662"/>
                  <a:pt x="4614061" y="878662"/>
                </a:cubicBezTo>
                <a:cubicBezTo>
                  <a:pt x="4595414" y="878662"/>
                  <a:pt x="4580296" y="863544"/>
                  <a:pt x="4580296" y="844893"/>
                </a:cubicBezTo>
                <a:cubicBezTo>
                  <a:pt x="4580296" y="826245"/>
                  <a:pt x="4595414" y="811127"/>
                  <a:pt x="4614061" y="811127"/>
                </a:cubicBezTo>
                <a:close/>
                <a:moveTo>
                  <a:pt x="4768012" y="808584"/>
                </a:moveTo>
                <a:cubicBezTo>
                  <a:pt x="4787983" y="808584"/>
                  <a:pt x="4804320" y="824922"/>
                  <a:pt x="4804320" y="844893"/>
                </a:cubicBezTo>
                <a:cubicBezTo>
                  <a:pt x="4804320" y="864863"/>
                  <a:pt x="4787983" y="881201"/>
                  <a:pt x="4768012" y="881201"/>
                </a:cubicBezTo>
                <a:cubicBezTo>
                  <a:pt x="4748042" y="881201"/>
                  <a:pt x="4731704" y="864863"/>
                  <a:pt x="4731704" y="844893"/>
                </a:cubicBezTo>
                <a:cubicBezTo>
                  <a:pt x="4731704" y="824922"/>
                  <a:pt x="4748042" y="808584"/>
                  <a:pt x="4768012" y="808584"/>
                </a:cubicBezTo>
                <a:close/>
                <a:moveTo>
                  <a:pt x="4921598" y="806045"/>
                </a:moveTo>
                <a:cubicBezTo>
                  <a:pt x="4943016" y="806045"/>
                  <a:pt x="4960444" y="823473"/>
                  <a:pt x="4960444" y="844896"/>
                </a:cubicBezTo>
                <a:cubicBezTo>
                  <a:pt x="4960444" y="866315"/>
                  <a:pt x="4943016" y="883743"/>
                  <a:pt x="4921598" y="883743"/>
                </a:cubicBezTo>
                <a:cubicBezTo>
                  <a:pt x="4900174" y="883743"/>
                  <a:pt x="4882746" y="866315"/>
                  <a:pt x="4882746" y="844896"/>
                </a:cubicBezTo>
                <a:cubicBezTo>
                  <a:pt x="4882746" y="823473"/>
                  <a:pt x="4900174" y="806045"/>
                  <a:pt x="4921598" y="806045"/>
                </a:cubicBezTo>
                <a:close/>
                <a:moveTo>
                  <a:pt x="5075541" y="803503"/>
                </a:moveTo>
                <a:cubicBezTo>
                  <a:pt x="5098416" y="803503"/>
                  <a:pt x="5116568" y="821659"/>
                  <a:pt x="5116568" y="844530"/>
                </a:cubicBezTo>
                <a:cubicBezTo>
                  <a:pt x="5116568" y="867406"/>
                  <a:pt x="5098054" y="885562"/>
                  <a:pt x="5075541" y="885562"/>
                </a:cubicBezTo>
                <a:cubicBezTo>
                  <a:pt x="5052670" y="885562"/>
                  <a:pt x="5034514" y="867406"/>
                  <a:pt x="5034514" y="844530"/>
                </a:cubicBezTo>
                <a:cubicBezTo>
                  <a:pt x="5034514" y="821659"/>
                  <a:pt x="5052670" y="803503"/>
                  <a:pt x="5075541" y="803503"/>
                </a:cubicBezTo>
                <a:close/>
                <a:moveTo>
                  <a:pt x="5229126" y="800960"/>
                </a:moveTo>
                <a:cubicBezTo>
                  <a:pt x="5253088" y="800960"/>
                  <a:pt x="5272696" y="820569"/>
                  <a:pt x="5272696" y="844530"/>
                </a:cubicBezTo>
                <a:cubicBezTo>
                  <a:pt x="5272696" y="868496"/>
                  <a:pt x="5253088" y="888100"/>
                  <a:pt x="5229126" y="888100"/>
                </a:cubicBezTo>
                <a:cubicBezTo>
                  <a:pt x="5205161" y="888100"/>
                  <a:pt x="5185556" y="868496"/>
                  <a:pt x="5185556" y="844530"/>
                </a:cubicBezTo>
                <a:cubicBezTo>
                  <a:pt x="5185556" y="820569"/>
                  <a:pt x="5205161" y="800960"/>
                  <a:pt x="5229126" y="800960"/>
                </a:cubicBezTo>
                <a:close/>
                <a:moveTo>
                  <a:pt x="5383074" y="798784"/>
                </a:moveTo>
                <a:cubicBezTo>
                  <a:pt x="5408541" y="798784"/>
                  <a:pt x="5429186" y="819429"/>
                  <a:pt x="5429186" y="844896"/>
                </a:cubicBezTo>
                <a:cubicBezTo>
                  <a:pt x="5429186" y="870364"/>
                  <a:pt x="5408541" y="891009"/>
                  <a:pt x="5383074" y="891009"/>
                </a:cubicBezTo>
                <a:cubicBezTo>
                  <a:pt x="5357606" y="891009"/>
                  <a:pt x="5336962" y="870364"/>
                  <a:pt x="5336962" y="844896"/>
                </a:cubicBezTo>
                <a:cubicBezTo>
                  <a:pt x="5336962" y="819429"/>
                  <a:pt x="5357606" y="798784"/>
                  <a:pt x="5383074" y="798784"/>
                </a:cubicBezTo>
                <a:close/>
                <a:moveTo>
                  <a:pt x="5536659" y="796241"/>
                </a:moveTo>
                <a:cubicBezTo>
                  <a:pt x="5563526" y="796241"/>
                  <a:pt x="5585310" y="818026"/>
                  <a:pt x="5585310" y="844896"/>
                </a:cubicBezTo>
                <a:cubicBezTo>
                  <a:pt x="5585310" y="871763"/>
                  <a:pt x="5563526" y="893548"/>
                  <a:pt x="5536659" y="893548"/>
                </a:cubicBezTo>
                <a:cubicBezTo>
                  <a:pt x="5509789" y="893548"/>
                  <a:pt x="5488004" y="871763"/>
                  <a:pt x="5488004" y="844896"/>
                </a:cubicBezTo>
                <a:cubicBezTo>
                  <a:pt x="5488004" y="818026"/>
                  <a:pt x="5509789" y="796241"/>
                  <a:pt x="5536659" y="796241"/>
                </a:cubicBezTo>
                <a:close/>
                <a:moveTo>
                  <a:pt x="5690606" y="793699"/>
                </a:moveTo>
                <a:cubicBezTo>
                  <a:pt x="5718883" y="793699"/>
                  <a:pt x="5741800" y="816620"/>
                  <a:pt x="5741800" y="844893"/>
                </a:cubicBezTo>
                <a:cubicBezTo>
                  <a:pt x="5741800" y="873169"/>
                  <a:pt x="5718880" y="896090"/>
                  <a:pt x="5690606" y="896090"/>
                </a:cubicBezTo>
                <a:cubicBezTo>
                  <a:pt x="5662334" y="896090"/>
                  <a:pt x="5639412" y="873169"/>
                  <a:pt x="5639412" y="844893"/>
                </a:cubicBezTo>
                <a:cubicBezTo>
                  <a:pt x="5639412" y="816620"/>
                  <a:pt x="5662334" y="793699"/>
                  <a:pt x="5690606" y="793699"/>
                </a:cubicBezTo>
                <a:close/>
                <a:moveTo>
                  <a:pt x="5844554" y="791156"/>
                </a:moveTo>
                <a:cubicBezTo>
                  <a:pt x="5873962" y="791156"/>
                  <a:pt x="5897928" y="815118"/>
                  <a:pt x="5897928" y="844530"/>
                </a:cubicBezTo>
                <a:cubicBezTo>
                  <a:pt x="5897928" y="873939"/>
                  <a:pt x="5873962" y="897901"/>
                  <a:pt x="5844554" y="897901"/>
                </a:cubicBezTo>
                <a:cubicBezTo>
                  <a:pt x="5815145" y="897901"/>
                  <a:pt x="5791180" y="873939"/>
                  <a:pt x="5791180" y="844530"/>
                </a:cubicBezTo>
                <a:cubicBezTo>
                  <a:pt x="5791180" y="815118"/>
                  <a:pt x="5815145" y="791156"/>
                  <a:pt x="5844554" y="791156"/>
                </a:cubicBezTo>
                <a:close/>
                <a:moveTo>
                  <a:pt x="5998139" y="788614"/>
                </a:moveTo>
                <a:cubicBezTo>
                  <a:pt x="6029362" y="788614"/>
                  <a:pt x="6054414" y="813665"/>
                  <a:pt x="6054414" y="844893"/>
                </a:cubicBezTo>
                <a:cubicBezTo>
                  <a:pt x="6054414" y="876116"/>
                  <a:pt x="6029362" y="901171"/>
                  <a:pt x="5998139" y="901171"/>
                </a:cubicBezTo>
                <a:cubicBezTo>
                  <a:pt x="5966912" y="901171"/>
                  <a:pt x="5941860" y="876116"/>
                  <a:pt x="5941860" y="844893"/>
                </a:cubicBezTo>
                <a:cubicBezTo>
                  <a:pt x="5941860" y="813665"/>
                  <a:pt x="5966912" y="788614"/>
                  <a:pt x="5998139" y="788614"/>
                </a:cubicBezTo>
                <a:close/>
                <a:moveTo>
                  <a:pt x="6152083" y="786075"/>
                </a:moveTo>
                <a:cubicBezTo>
                  <a:pt x="6184568" y="786075"/>
                  <a:pt x="6210904" y="812407"/>
                  <a:pt x="6210904" y="844896"/>
                </a:cubicBezTo>
                <a:cubicBezTo>
                  <a:pt x="6210904" y="877381"/>
                  <a:pt x="6184568" y="903714"/>
                  <a:pt x="6152083" y="903714"/>
                </a:cubicBezTo>
                <a:cubicBezTo>
                  <a:pt x="6119598" y="903714"/>
                  <a:pt x="6093265" y="877381"/>
                  <a:pt x="6093265" y="844896"/>
                </a:cubicBezTo>
                <a:cubicBezTo>
                  <a:pt x="6093265" y="812407"/>
                  <a:pt x="6119598" y="786075"/>
                  <a:pt x="6152083" y="786075"/>
                </a:cubicBezTo>
                <a:close/>
                <a:moveTo>
                  <a:pt x="6305672" y="783170"/>
                </a:moveTo>
                <a:cubicBezTo>
                  <a:pt x="6339762" y="783170"/>
                  <a:pt x="6367394" y="810807"/>
                  <a:pt x="6367394" y="844896"/>
                </a:cubicBezTo>
                <a:cubicBezTo>
                  <a:pt x="6367394" y="878982"/>
                  <a:pt x="6339762" y="906619"/>
                  <a:pt x="6305672" y="906619"/>
                </a:cubicBezTo>
                <a:cubicBezTo>
                  <a:pt x="6271582" y="906619"/>
                  <a:pt x="6243946" y="878982"/>
                  <a:pt x="6243946" y="844896"/>
                </a:cubicBezTo>
                <a:cubicBezTo>
                  <a:pt x="6243946" y="810807"/>
                  <a:pt x="6271582" y="783170"/>
                  <a:pt x="6305672" y="783170"/>
                </a:cubicBezTo>
                <a:close/>
                <a:moveTo>
                  <a:pt x="6459616" y="780628"/>
                </a:moveTo>
                <a:cubicBezTo>
                  <a:pt x="6495108" y="780628"/>
                  <a:pt x="6523884" y="809400"/>
                  <a:pt x="6523884" y="844893"/>
                </a:cubicBezTo>
                <a:cubicBezTo>
                  <a:pt x="6523884" y="880385"/>
                  <a:pt x="6495108" y="909161"/>
                  <a:pt x="6459616" y="909161"/>
                </a:cubicBezTo>
                <a:cubicBezTo>
                  <a:pt x="6424123" y="909161"/>
                  <a:pt x="6395350" y="880385"/>
                  <a:pt x="6395350" y="844893"/>
                </a:cubicBezTo>
                <a:cubicBezTo>
                  <a:pt x="6395350" y="809400"/>
                  <a:pt x="6424123" y="780628"/>
                  <a:pt x="6459616" y="780628"/>
                </a:cubicBezTo>
                <a:close/>
                <a:moveTo>
                  <a:pt x="6613197" y="777361"/>
                </a:moveTo>
                <a:cubicBezTo>
                  <a:pt x="6650496" y="777361"/>
                  <a:pt x="6680732" y="807597"/>
                  <a:pt x="6680732" y="844896"/>
                </a:cubicBezTo>
                <a:cubicBezTo>
                  <a:pt x="6680732" y="882192"/>
                  <a:pt x="6650496" y="912428"/>
                  <a:pt x="6613197" y="912428"/>
                </a:cubicBezTo>
                <a:cubicBezTo>
                  <a:pt x="6575902" y="912428"/>
                  <a:pt x="6545666" y="882192"/>
                  <a:pt x="6545666" y="844896"/>
                </a:cubicBezTo>
                <a:cubicBezTo>
                  <a:pt x="6545666" y="807597"/>
                  <a:pt x="6575902" y="777361"/>
                  <a:pt x="6613197" y="777361"/>
                </a:cubicBezTo>
                <a:close/>
                <a:moveTo>
                  <a:pt x="1384799" y="690583"/>
                </a:moveTo>
                <a:cubicBezTo>
                  <a:pt x="1385161" y="690583"/>
                  <a:pt x="1385161" y="690583"/>
                  <a:pt x="1385161" y="690945"/>
                </a:cubicBezTo>
                <a:cubicBezTo>
                  <a:pt x="1385161" y="691311"/>
                  <a:pt x="1384799" y="691311"/>
                  <a:pt x="1384799" y="691311"/>
                </a:cubicBezTo>
                <a:cubicBezTo>
                  <a:pt x="1384437" y="691311"/>
                  <a:pt x="1384437" y="691311"/>
                  <a:pt x="1384437" y="690945"/>
                </a:cubicBezTo>
                <a:cubicBezTo>
                  <a:pt x="1384437" y="690583"/>
                  <a:pt x="1384437" y="690583"/>
                  <a:pt x="1384799" y="690583"/>
                </a:cubicBezTo>
                <a:close/>
                <a:moveTo>
                  <a:pt x="923681" y="690583"/>
                </a:moveTo>
                <a:cubicBezTo>
                  <a:pt x="924043" y="690583"/>
                  <a:pt x="924043" y="690583"/>
                  <a:pt x="924043" y="690945"/>
                </a:cubicBezTo>
                <a:cubicBezTo>
                  <a:pt x="924043" y="691311"/>
                  <a:pt x="923681" y="691311"/>
                  <a:pt x="923681" y="691311"/>
                </a:cubicBezTo>
                <a:cubicBezTo>
                  <a:pt x="923319" y="691311"/>
                  <a:pt x="923319" y="691311"/>
                  <a:pt x="923319" y="690945"/>
                </a:cubicBezTo>
                <a:cubicBezTo>
                  <a:pt x="923319" y="690583"/>
                  <a:pt x="923319" y="690583"/>
                  <a:pt x="923681" y="690583"/>
                </a:cubicBezTo>
                <a:close/>
                <a:moveTo>
                  <a:pt x="769733" y="690583"/>
                </a:moveTo>
                <a:cubicBezTo>
                  <a:pt x="770096" y="690583"/>
                  <a:pt x="770096" y="690583"/>
                  <a:pt x="770096" y="690945"/>
                </a:cubicBezTo>
                <a:cubicBezTo>
                  <a:pt x="770096" y="691311"/>
                  <a:pt x="769733" y="691311"/>
                  <a:pt x="769733" y="691311"/>
                </a:cubicBezTo>
                <a:cubicBezTo>
                  <a:pt x="769371" y="691311"/>
                  <a:pt x="769371" y="691311"/>
                  <a:pt x="769371" y="690945"/>
                </a:cubicBezTo>
                <a:cubicBezTo>
                  <a:pt x="769371" y="690583"/>
                  <a:pt x="769371" y="690583"/>
                  <a:pt x="769733" y="690583"/>
                </a:cubicBezTo>
                <a:close/>
                <a:moveTo>
                  <a:pt x="616152" y="690221"/>
                </a:moveTo>
                <a:cubicBezTo>
                  <a:pt x="616552" y="690221"/>
                  <a:pt x="616876" y="690545"/>
                  <a:pt x="616876" y="690949"/>
                </a:cubicBezTo>
                <a:cubicBezTo>
                  <a:pt x="616876" y="691349"/>
                  <a:pt x="616552" y="691673"/>
                  <a:pt x="616152" y="691673"/>
                </a:cubicBezTo>
                <a:cubicBezTo>
                  <a:pt x="615748" y="691673"/>
                  <a:pt x="615424" y="691349"/>
                  <a:pt x="615424" y="690949"/>
                </a:cubicBezTo>
                <a:cubicBezTo>
                  <a:pt x="615424" y="690545"/>
                  <a:pt x="615748" y="690221"/>
                  <a:pt x="616152" y="690221"/>
                </a:cubicBezTo>
                <a:close/>
                <a:moveTo>
                  <a:pt x="1538746" y="689493"/>
                </a:moveTo>
                <a:cubicBezTo>
                  <a:pt x="1539547" y="689493"/>
                  <a:pt x="1540198" y="690145"/>
                  <a:pt x="1540198" y="690945"/>
                </a:cubicBezTo>
                <a:cubicBezTo>
                  <a:pt x="1540198" y="691746"/>
                  <a:pt x="1539547" y="692397"/>
                  <a:pt x="1538746" y="692397"/>
                </a:cubicBezTo>
                <a:cubicBezTo>
                  <a:pt x="1537942" y="692397"/>
                  <a:pt x="1537294" y="691746"/>
                  <a:pt x="1537294" y="690945"/>
                </a:cubicBezTo>
                <a:cubicBezTo>
                  <a:pt x="1537294" y="690145"/>
                  <a:pt x="1537942" y="689493"/>
                  <a:pt x="1538746" y="689493"/>
                </a:cubicBezTo>
                <a:close/>
                <a:moveTo>
                  <a:pt x="1692328" y="688768"/>
                </a:moveTo>
                <a:cubicBezTo>
                  <a:pt x="1693532" y="688768"/>
                  <a:pt x="1694508" y="689744"/>
                  <a:pt x="1694508" y="690949"/>
                </a:cubicBezTo>
                <a:cubicBezTo>
                  <a:pt x="1694508" y="692150"/>
                  <a:pt x="1693532" y="693126"/>
                  <a:pt x="1692328" y="693126"/>
                </a:cubicBezTo>
                <a:cubicBezTo>
                  <a:pt x="1691127" y="693126"/>
                  <a:pt x="1690151" y="692150"/>
                  <a:pt x="1690151" y="690949"/>
                </a:cubicBezTo>
                <a:cubicBezTo>
                  <a:pt x="1690151" y="689744"/>
                  <a:pt x="1691127" y="688768"/>
                  <a:pt x="1692328" y="688768"/>
                </a:cubicBezTo>
                <a:close/>
                <a:moveTo>
                  <a:pt x="1846279" y="688040"/>
                </a:moveTo>
                <a:cubicBezTo>
                  <a:pt x="1848093" y="688040"/>
                  <a:pt x="1849546" y="689493"/>
                  <a:pt x="1849546" y="691307"/>
                </a:cubicBezTo>
                <a:cubicBezTo>
                  <a:pt x="1849546" y="693122"/>
                  <a:pt x="1848093" y="694574"/>
                  <a:pt x="1846279" y="694574"/>
                </a:cubicBezTo>
                <a:cubicBezTo>
                  <a:pt x="1844464" y="694574"/>
                  <a:pt x="1843012" y="693122"/>
                  <a:pt x="1843012" y="691307"/>
                </a:cubicBezTo>
                <a:cubicBezTo>
                  <a:pt x="1843012" y="689493"/>
                  <a:pt x="1844464" y="688040"/>
                  <a:pt x="1846279" y="688040"/>
                </a:cubicBezTo>
                <a:close/>
                <a:moveTo>
                  <a:pt x="1999860" y="686588"/>
                </a:moveTo>
                <a:cubicBezTo>
                  <a:pt x="2002403" y="686588"/>
                  <a:pt x="2004217" y="688403"/>
                  <a:pt x="2004217" y="690945"/>
                </a:cubicBezTo>
                <a:cubicBezTo>
                  <a:pt x="2004217" y="693488"/>
                  <a:pt x="2002037" y="695302"/>
                  <a:pt x="1999860" y="695302"/>
                </a:cubicBezTo>
                <a:cubicBezTo>
                  <a:pt x="1997318" y="695302"/>
                  <a:pt x="1995503" y="693488"/>
                  <a:pt x="1995503" y="690945"/>
                </a:cubicBezTo>
                <a:cubicBezTo>
                  <a:pt x="1995503" y="688403"/>
                  <a:pt x="1997318" y="686588"/>
                  <a:pt x="1999860" y="686588"/>
                </a:cubicBezTo>
                <a:close/>
                <a:moveTo>
                  <a:pt x="2153811" y="685498"/>
                </a:moveTo>
                <a:cubicBezTo>
                  <a:pt x="2157078" y="685498"/>
                  <a:pt x="2159621" y="688040"/>
                  <a:pt x="2159621" y="691307"/>
                </a:cubicBezTo>
                <a:cubicBezTo>
                  <a:pt x="2159621" y="694574"/>
                  <a:pt x="2157078" y="697117"/>
                  <a:pt x="2153811" y="697117"/>
                </a:cubicBezTo>
                <a:cubicBezTo>
                  <a:pt x="2150545" y="697117"/>
                  <a:pt x="2148002" y="694574"/>
                  <a:pt x="2148002" y="691307"/>
                </a:cubicBezTo>
                <a:cubicBezTo>
                  <a:pt x="2148002" y="688040"/>
                  <a:pt x="2150545" y="685498"/>
                  <a:pt x="2153811" y="685498"/>
                </a:cubicBezTo>
                <a:close/>
                <a:moveTo>
                  <a:pt x="2307393" y="683683"/>
                </a:moveTo>
                <a:cubicBezTo>
                  <a:pt x="2311388" y="683683"/>
                  <a:pt x="2314655" y="686950"/>
                  <a:pt x="2314655" y="690945"/>
                </a:cubicBezTo>
                <a:cubicBezTo>
                  <a:pt x="2314655" y="694940"/>
                  <a:pt x="2311388" y="698207"/>
                  <a:pt x="2307393" y="698207"/>
                </a:cubicBezTo>
                <a:cubicBezTo>
                  <a:pt x="2303398" y="698207"/>
                  <a:pt x="2300131" y="694940"/>
                  <a:pt x="2300131" y="690945"/>
                </a:cubicBezTo>
                <a:cubicBezTo>
                  <a:pt x="2300131" y="686950"/>
                  <a:pt x="2303398" y="683683"/>
                  <a:pt x="2307393" y="683683"/>
                </a:cubicBezTo>
                <a:close/>
                <a:moveTo>
                  <a:pt x="2461340" y="681869"/>
                </a:moveTo>
                <a:cubicBezTo>
                  <a:pt x="2466425" y="681869"/>
                  <a:pt x="2470420" y="685864"/>
                  <a:pt x="2470420" y="690945"/>
                </a:cubicBezTo>
                <a:cubicBezTo>
                  <a:pt x="2470420" y="696030"/>
                  <a:pt x="2466425" y="700025"/>
                  <a:pt x="2461340" y="700025"/>
                </a:cubicBezTo>
                <a:cubicBezTo>
                  <a:pt x="2456259" y="700025"/>
                  <a:pt x="2452264" y="696030"/>
                  <a:pt x="2452264" y="690945"/>
                </a:cubicBezTo>
                <a:cubicBezTo>
                  <a:pt x="2452264" y="685864"/>
                  <a:pt x="2456259" y="681869"/>
                  <a:pt x="2461340" y="681869"/>
                </a:cubicBezTo>
                <a:close/>
                <a:moveTo>
                  <a:pt x="2614925" y="680779"/>
                </a:moveTo>
                <a:cubicBezTo>
                  <a:pt x="2620373" y="680779"/>
                  <a:pt x="2625092" y="685498"/>
                  <a:pt x="2625092" y="690945"/>
                </a:cubicBezTo>
                <a:cubicBezTo>
                  <a:pt x="2625092" y="696392"/>
                  <a:pt x="2620735" y="701111"/>
                  <a:pt x="2614925" y="701111"/>
                </a:cubicBezTo>
                <a:cubicBezTo>
                  <a:pt x="2609478" y="701111"/>
                  <a:pt x="2604759" y="696392"/>
                  <a:pt x="2604759" y="690945"/>
                </a:cubicBezTo>
                <a:cubicBezTo>
                  <a:pt x="2604759" y="685498"/>
                  <a:pt x="2609478" y="680779"/>
                  <a:pt x="2614925" y="680779"/>
                </a:cubicBezTo>
                <a:close/>
                <a:moveTo>
                  <a:pt x="2768873" y="678964"/>
                </a:moveTo>
                <a:cubicBezTo>
                  <a:pt x="2775410" y="678964"/>
                  <a:pt x="2780858" y="684412"/>
                  <a:pt x="2780858" y="690945"/>
                </a:cubicBezTo>
                <a:cubicBezTo>
                  <a:pt x="2780858" y="697482"/>
                  <a:pt x="2775410" y="702926"/>
                  <a:pt x="2768873" y="702926"/>
                </a:cubicBezTo>
                <a:cubicBezTo>
                  <a:pt x="2762339" y="702926"/>
                  <a:pt x="2756892" y="697482"/>
                  <a:pt x="2756892" y="690945"/>
                </a:cubicBezTo>
                <a:cubicBezTo>
                  <a:pt x="2756892" y="684412"/>
                  <a:pt x="2762339" y="678964"/>
                  <a:pt x="2768873" y="678964"/>
                </a:cubicBezTo>
                <a:close/>
                <a:moveTo>
                  <a:pt x="2922824" y="677150"/>
                </a:moveTo>
                <a:cubicBezTo>
                  <a:pt x="2930444" y="677150"/>
                  <a:pt x="2936619" y="683329"/>
                  <a:pt x="2936619" y="690949"/>
                </a:cubicBezTo>
                <a:cubicBezTo>
                  <a:pt x="2936619" y="698565"/>
                  <a:pt x="2930444" y="704744"/>
                  <a:pt x="2922824" y="704744"/>
                </a:cubicBezTo>
                <a:cubicBezTo>
                  <a:pt x="2915204" y="704744"/>
                  <a:pt x="2909025" y="698565"/>
                  <a:pt x="2909025" y="690949"/>
                </a:cubicBezTo>
                <a:cubicBezTo>
                  <a:pt x="2909025" y="683329"/>
                  <a:pt x="2915204" y="677150"/>
                  <a:pt x="2922824" y="677150"/>
                </a:cubicBezTo>
                <a:close/>
                <a:moveTo>
                  <a:pt x="3076402" y="675697"/>
                </a:moveTo>
                <a:cubicBezTo>
                  <a:pt x="3084826" y="675697"/>
                  <a:pt x="3091653" y="682525"/>
                  <a:pt x="3091653" y="690949"/>
                </a:cubicBezTo>
                <a:cubicBezTo>
                  <a:pt x="3091653" y="699369"/>
                  <a:pt x="3084826" y="706197"/>
                  <a:pt x="3076402" y="706197"/>
                </a:cubicBezTo>
                <a:cubicBezTo>
                  <a:pt x="3067981" y="706197"/>
                  <a:pt x="3061154" y="699369"/>
                  <a:pt x="3061154" y="690949"/>
                </a:cubicBezTo>
                <a:cubicBezTo>
                  <a:pt x="3061154" y="682525"/>
                  <a:pt x="3067981" y="675697"/>
                  <a:pt x="3076402" y="675697"/>
                </a:cubicBezTo>
                <a:close/>
                <a:moveTo>
                  <a:pt x="3230353" y="673883"/>
                </a:moveTo>
                <a:cubicBezTo>
                  <a:pt x="3239776" y="673883"/>
                  <a:pt x="3247419" y="681522"/>
                  <a:pt x="3247419" y="690949"/>
                </a:cubicBezTo>
                <a:cubicBezTo>
                  <a:pt x="3247419" y="700372"/>
                  <a:pt x="3239776" y="708015"/>
                  <a:pt x="3230353" y="708015"/>
                </a:cubicBezTo>
                <a:cubicBezTo>
                  <a:pt x="3220926" y="708015"/>
                  <a:pt x="3213287" y="700372"/>
                  <a:pt x="3213287" y="690949"/>
                </a:cubicBezTo>
                <a:cubicBezTo>
                  <a:pt x="3213287" y="681522"/>
                  <a:pt x="3220926" y="673883"/>
                  <a:pt x="3230353" y="673883"/>
                </a:cubicBezTo>
                <a:close/>
                <a:moveTo>
                  <a:pt x="3383934" y="671703"/>
                </a:moveTo>
                <a:cubicBezTo>
                  <a:pt x="3394566" y="671703"/>
                  <a:pt x="3403180" y="680318"/>
                  <a:pt x="3403180" y="690945"/>
                </a:cubicBezTo>
                <a:cubicBezTo>
                  <a:pt x="3403180" y="701573"/>
                  <a:pt x="3394566" y="710191"/>
                  <a:pt x="3383934" y="710191"/>
                </a:cubicBezTo>
                <a:cubicBezTo>
                  <a:pt x="3373307" y="710191"/>
                  <a:pt x="3364692" y="701573"/>
                  <a:pt x="3364692" y="690945"/>
                </a:cubicBezTo>
                <a:cubicBezTo>
                  <a:pt x="3364692" y="680318"/>
                  <a:pt x="3373307" y="671703"/>
                  <a:pt x="3383934" y="671703"/>
                </a:cubicBezTo>
                <a:close/>
                <a:moveTo>
                  <a:pt x="3537886" y="669526"/>
                </a:moveTo>
                <a:cubicBezTo>
                  <a:pt x="3549714" y="669526"/>
                  <a:pt x="3559308" y="679117"/>
                  <a:pt x="3559308" y="690949"/>
                </a:cubicBezTo>
                <a:cubicBezTo>
                  <a:pt x="3559308" y="702777"/>
                  <a:pt x="3549714" y="712372"/>
                  <a:pt x="3537886" y="712372"/>
                </a:cubicBezTo>
                <a:cubicBezTo>
                  <a:pt x="3526053" y="712372"/>
                  <a:pt x="3516462" y="702777"/>
                  <a:pt x="3516462" y="690949"/>
                </a:cubicBezTo>
                <a:cubicBezTo>
                  <a:pt x="3516462" y="679117"/>
                  <a:pt x="3526053" y="669526"/>
                  <a:pt x="3537886" y="669526"/>
                </a:cubicBezTo>
                <a:close/>
                <a:moveTo>
                  <a:pt x="3691471" y="668074"/>
                </a:moveTo>
                <a:cubicBezTo>
                  <a:pt x="3704104" y="668074"/>
                  <a:pt x="3714342" y="678316"/>
                  <a:pt x="3714342" y="690949"/>
                </a:cubicBezTo>
                <a:cubicBezTo>
                  <a:pt x="3714342" y="703582"/>
                  <a:pt x="3704104" y="713820"/>
                  <a:pt x="3691471" y="713820"/>
                </a:cubicBezTo>
                <a:cubicBezTo>
                  <a:pt x="3678838" y="713820"/>
                  <a:pt x="3668596" y="703582"/>
                  <a:pt x="3668596" y="690949"/>
                </a:cubicBezTo>
                <a:cubicBezTo>
                  <a:pt x="3668596" y="678316"/>
                  <a:pt x="3678838" y="668074"/>
                  <a:pt x="3691471" y="668074"/>
                </a:cubicBezTo>
                <a:close/>
                <a:moveTo>
                  <a:pt x="3845414" y="665893"/>
                </a:moveTo>
                <a:cubicBezTo>
                  <a:pt x="3859252" y="665893"/>
                  <a:pt x="3870470" y="677112"/>
                  <a:pt x="3870470" y="690945"/>
                </a:cubicBezTo>
                <a:cubicBezTo>
                  <a:pt x="3870470" y="704782"/>
                  <a:pt x="3859252" y="716001"/>
                  <a:pt x="3845414" y="716001"/>
                </a:cubicBezTo>
                <a:cubicBezTo>
                  <a:pt x="3831581" y="716001"/>
                  <a:pt x="3820362" y="704782"/>
                  <a:pt x="3820362" y="690945"/>
                </a:cubicBezTo>
                <a:cubicBezTo>
                  <a:pt x="3820362" y="677112"/>
                  <a:pt x="3831581" y="665893"/>
                  <a:pt x="3845414" y="665893"/>
                </a:cubicBezTo>
                <a:close/>
                <a:moveTo>
                  <a:pt x="3999000" y="663717"/>
                </a:moveTo>
                <a:cubicBezTo>
                  <a:pt x="4013885" y="663717"/>
                  <a:pt x="4026232" y="676063"/>
                  <a:pt x="4026232" y="690949"/>
                </a:cubicBezTo>
                <a:cubicBezTo>
                  <a:pt x="4026232" y="705834"/>
                  <a:pt x="4014247" y="718181"/>
                  <a:pt x="3999000" y="718181"/>
                </a:cubicBezTo>
                <a:cubicBezTo>
                  <a:pt x="3984114" y="718181"/>
                  <a:pt x="3971768" y="705834"/>
                  <a:pt x="3971768" y="690949"/>
                </a:cubicBezTo>
                <a:cubicBezTo>
                  <a:pt x="3971768" y="676063"/>
                  <a:pt x="3984114" y="663717"/>
                  <a:pt x="3999000" y="663717"/>
                </a:cubicBezTo>
                <a:close/>
                <a:moveTo>
                  <a:pt x="4152947" y="661174"/>
                </a:moveTo>
                <a:cubicBezTo>
                  <a:pt x="4169392" y="661174"/>
                  <a:pt x="4182722" y="674504"/>
                  <a:pt x="4182722" y="690949"/>
                </a:cubicBezTo>
                <a:cubicBezTo>
                  <a:pt x="4182722" y="707390"/>
                  <a:pt x="4169392" y="720720"/>
                  <a:pt x="4152947" y="720720"/>
                </a:cubicBezTo>
                <a:cubicBezTo>
                  <a:pt x="4136506" y="720720"/>
                  <a:pt x="4123176" y="707390"/>
                  <a:pt x="4123176" y="690949"/>
                </a:cubicBezTo>
                <a:cubicBezTo>
                  <a:pt x="4123176" y="674504"/>
                  <a:pt x="4136506" y="661174"/>
                  <a:pt x="4152947" y="661174"/>
                </a:cubicBezTo>
                <a:close/>
                <a:moveTo>
                  <a:pt x="4306532" y="658994"/>
                </a:moveTo>
                <a:cubicBezTo>
                  <a:pt x="4324178" y="658994"/>
                  <a:pt x="4338484" y="673300"/>
                  <a:pt x="4338484" y="690945"/>
                </a:cubicBezTo>
                <a:cubicBezTo>
                  <a:pt x="4338484" y="708590"/>
                  <a:pt x="4324178" y="722896"/>
                  <a:pt x="4306532" y="722896"/>
                </a:cubicBezTo>
                <a:cubicBezTo>
                  <a:pt x="4288887" y="722896"/>
                  <a:pt x="4274581" y="708590"/>
                  <a:pt x="4274581" y="690945"/>
                </a:cubicBezTo>
                <a:cubicBezTo>
                  <a:pt x="4274581" y="673300"/>
                  <a:pt x="4288887" y="658994"/>
                  <a:pt x="4306532" y="658994"/>
                </a:cubicBezTo>
                <a:close/>
                <a:moveTo>
                  <a:pt x="4460480" y="657179"/>
                </a:moveTo>
                <a:cubicBezTo>
                  <a:pt x="4479128" y="657179"/>
                  <a:pt x="4494250" y="672297"/>
                  <a:pt x="4494250" y="690945"/>
                </a:cubicBezTo>
                <a:cubicBezTo>
                  <a:pt x="4494250" y="709597"/>
                  <a:pt x="4479128" y="724715"/>
                  <a:pt x="4460480" y="724715"/>
                </a:cubicBezTo>
                <a:cubicBezTo>
                  <a:pt x="4441832" y="724715"/>
                  <a:pt x="4426714" y="709597"/>
                  <a:pt x="4426714" y="690945"/>
                </a:cubicBezTo>
                <a:cubicBezTo>
                  <a:pt x="4426714" y="672297"/>
                  <a:pt x="4441832" y="657179"/>
                  <a:pt x="4460480" y="657179"/>
                </a:cubicBezTo>
                <a:close/>
                <a:moveTo>
                  <a:pt x="4614061" y="654637"/>
                </a:moveTo>
                <a:cubicBezTo>
                  <a:pt x="4634032" y="654637"/>
                  <a:pt x="4650370" y="670975"/>
                  <a:pt x="4650370" y="690945"/>
                </a:cubicBezTo>
                <a:cubicBezTo>
                  <a:pt x="4650370" y="710916"/>
                  <a:pt x="4634032" y="727253"/>
                  <a:pt x="4614061" y="727253"/>
                </a:cubicBezTo>
                <a:cubicBezTo>
                  <a:pt x="4594090" y="727253"/>
                  <a:pt x="4577753" y="710916"/>
                  <a:pt x="4577753" y="690945"/>
                </a:cubicBezTo>
                <a:cubicBezTo>
                  <a:pt x="4577753" y="670975"/>
                  <a:pt x="4594090" y="654637"/>
                  <a:pt x="4614061" y="654637"/>
                </a:cubicBezTo>
                <a:close/>
                <a:moveTo>
                  <a:pt x="4768012" y="652094"/>
                </a:moveTo>
                <a:cubicBezTo>
                  <a:pt x="4789435" y="652094"/>
                  <a:pt x="4806860" y="669522"/>
                  <a:pt x="4806860" y="690945"/>
                </a:cubicBezTo>
                <a:cubicBezTo>
                  <a:pt x="4806860" y="712368"/>
                  <a:pt x="4789435" y="729796"/>
                  <a:pt x="4768012" y="729796"/>
                </a:cubicBezTo>
                <a:cubicBezTo>
                  <a:pt x="4746590" y="729796"/>
                  <a:pt x="4729162" y="712368"/>
                  <a:pt x="4729162" y="690945"/>
                </a:cubicBezTo>
                <a:cubicBezTo>
                  <a:pt x="4729162" y="669522"/>
                  <a:pt x="4746590" y="652094"/>
                  <a:pt x="4768012" y="652094"/>
                </a:cubicBezTo>
                <a:close/>
                <a:moveTo>
                  <a:pt x="4921594" y="649918"/>
                </a:moveTo>
                <a:cubicBezTo>
                  <a:pt x="4944469" y="649918"/>
                  <a:pt x="4962625" y="668074"/>
                  <a:pt x="4962625" y="690945"/>
                </a:cubicBezTo>
                <a:cubicBezTo>
                  <a:pt x="4962625" y="713820"/>
                  <a:pt x="4944107" y="731976"/>
                  <a:pt x="4921594" y="731976"/>
                </a:cubicBezTo>
                <a:cubicBezTo>
                  <a:pt x="4898722" y="731976"/>
                  <a:pt x="4880566" y="713820"/>
                  <a:pt x="4880566" y="690945"/>
                </a:cubicBezTo>
                <a:cubicBezTo>
                  <a:pt x="4880566" y="668074"/>
                  <a:pt x="4898722" y="649918"/>
                  <a:pt x="4921594" y="649918"/>
                </a:cubicBezTo>
                <a:close/>
                <a:moveTo>
                  <a:pt x="5075541" y="647375"/>
                </a:moveTo>
                <a:cubicBezTo>
                  <a:pt x="5099503" y="647375"/>
                  <a:pt x="5119111" y="666984"/>
                  <a:pt x="5119111" y="690945"/>
                </a:cubicBezTo>
                <a:cubicBezTo>
                  <a:pt x="5119111" y="714911"/>
                  <a:pt x="5099503" y="734515"/>
                  <a:pt x="5075541" y="734515"/>
                </a:cubicBezTo>
                <a:cubicBezTo>
                  <a:pt x="5051580" y="734515"/>
                  <a:pt x="5031971" y="714911"/>
                  <a:pt x="5031971" y="690945"/>
                </a:cubicBezTo>
                <a:cubicBezTo>
                  <a:pt x="5031971" y="666984"/>
                  <a:pt x="5051580" y="647375"/>
                  <a:pt x="5075541" y="647375"/>
                </a:cubicBezTo>
                <a:close/>
                <a:moveTo>
                  <a:pt x="5229126" y="644836"/>
                </a:moveTo>
                <a:cubicBezTo>
                  <a:pt x="5254540" y="644836"/>
                  <a:pt x="5275239" y="665531"/>
                  <a:pt x="5275239" y="690949"/>
                </a:cubicBezTo>
                <a:cubicBezTo>
                  <a:pt x="5275239" y="716363"/>
                  <a:pt x="5254540" y="737058"/>
                  <a:pt x="5229126" y="737058"/>
                </a:cubicBezTo>
                <a:cubicBezTo>
                  <a:pt x="5203708" y="737058"/>
                  <a:pt x="5183014" y="716363"/>
                  <a:pt x="5183014" y="690949"/>
                </a:cubicBezTo>
                <a:cubicBezTo>
                  <a:pt x="5183014" y="665531"/>
                  <a:pt x="5203708" y="644836"/>
                  <a:pt x="5229126" y="644836"/>
                </a:cubicBezTo>
                <a:close/>
                <a:moveTo>
                  <a:pt x="5383074" y="642294"/>
                </a:moveTo>
                <a:cubicBezTo>
                  <a:pt x="5409940" y="642294"/>
                  <a:pt x="5431725" y="664079"/>
                  <a:pt x="5431725" y="690949"/>
                </a:cubicBezTo>
                <a:cubicBezTo>
                  <a:pt x="5431725" y="717815"/>
                  <a:pt x="5409940" y="739600"/>
                  <a:pt x="5383074" y="739600"/>
                </a:cubicBezTo>
                <a:cubicBezTo>
                  <a:pt x="5356204" y="739600"/>
                  <a:pt x="5334419" y="717815"/>
                  <a:pt x="5334419" y="690949"/>
                </a:cubicBezTo>
                <a:cubicBezTo>
                  <a:pt x="5334419" y="664079"/>
                  <a:pt x="5356204" y="642294"/>
                  <a:pt x="5383074" y="642294"/>
                </a:cubicBezTo>
                <a:close/>
                <a:moveTo>
                  <a:pt x="5536659" y="639751"/>
                </a:moveTo>
                <a:cubicBezTo>
                  <a:pt x="5564978" y="639751"/>
                  <a:pt x="5587853" y="662626"/>
                  <a:pt x="5587853" y="690945"/>
                </a:cubicBezTo>
                <a:cubicBezTo>
                  <a:pt x="5587853" y="719268"/>
                  <a:pt x="5564978" y="742139"/>
                  <a:pt x="5536659" y="742139"/>
                </a:cubicBezTo>
                <a:cubicBezTo>
                  <a:pt x="5508336" y="742139"/>
                  <a:pt x="5485462" y="719268"/>
                  <a:pt x="5485462" y="690945"/>
                </a:cubicBezTo>
                <a:cubicBezTo>
                  <a:pt x="5485462" y="662626"/>
                  <a:pt x="5508336" y="639751"/>
                  <a:pt x="5536659" y="639751"/>
                </a:cubicBezTo>
                <a:close/>
                <a:moveTo>
                  <a:pt x="5690606" y="637571"/>
                </a:moveTo>
                <a:cubicBezTo>
                  <a:pt x="5720016" y="637571"/>
                  <a:pt x="5743980" y="661533"/>
                  <a:pt x="5743980" y="690945"/>
                </a:cubicBezTo>
                <a:cubicBezTo>
                  <a:pt x="5743980" y="720354"/>
                  <a:pt x="5720016" y="744319"/>
                  <a:pt x="5690606" y="744319"/>
                </a:cubicBezTo>
                <a:cubicBezTo>
                  <a:pt x="5661198" y="744319"/>
                  <a:pt x="5637232" y="720354"/>
                  <a:pt x="5637232" y="690945"/>
                </a:cubicBezTo>
                <a:cubicBezTo>
                  <a:pt x="5637232" y="661533"/>
                  <a:pt x="5661198" y="637571"/>
                  <a:pt x="5690606" y="637571"/>
                </a:cubicBezTo>
                <a:close/>
                <a:moveTo>
                  <a:pt x="5844554" y="634666"/>
                </a:moveTo>
                <a:cubicBezTo>
                  <a:pt x="5875777" y="634666"/>
                  <a:pt x="5900829" y="659718"/>
                  <a:pt x="5900829" y="690945"/>
                </a:cubicBezTo>
                <a:cubicBezTo>
                  <a:pt x="5900829" y="722168"/>
                  <a:pt x="5875777" y="747224"/>
                  <a:pt x="5844554" y="747224"/>
                </a:cubicBezTo>
                <a:cubicBezTo>
                  <a:pt x="5813327" y="747224"/>
                  <a:pt x="5788275" y="722168"/>
                  <a:pt x="5788275" y="690945"/>
                </a:cubicBezTo>
                <a:cubicBezTo>
                  <a:pt x="5788275" y="659718"/>
                  <a:pt x="5813327" y="634666"/>
                  <a:pt x="5844554" y="634666"/>
                </a:cubicBezTo>
                <a:close/>
                <a:moveTo>
                  <a:pt x="5998136" y="632128"/>
                </a:moveTo>
                <a:cubicBezTo>
                  <a:pt x="6030624" y="632128"/>
                  <a:pt x="6056957" y="658460"/>
                  <a:pt x="6056957" y="690949"/>
                </a:cubicBezTo>
                <a:cubicBezTo>
                  <a:pt x="6056957" y="723434"/>
                  <a:pt x="6030624" y="749767"/>
                  <a:pt x="5998136" y="749767"/>
                </a:cubicBezTo>
                <a:cubicBezTo>
                  <a:pt x="5965650" y="749767"/>
                  <a:pt x="5939318" y="723434"/>
                  <a:pt x="5939318" y="690949"/>
                </a:cubicBezTo>
                <a:cubicBezTo>
                  <a:pt x="5939318" y="658460"/>
                  <a:pt x="5965650" y="632128"/>
                  <a:pt x="5998136" y="632128"/>
                </a:cubicBezTo>
                <a:close/>
                <a:moveTo>
                  <a:pt x="6152083" y="629223"/>
                </a:moveTo>
                <a:cubicBezTo>
                  <a:pt x="6186172" y="629223"/>
                  <a:pt x="6213809" y="656859"/>
                  <a:pt x="6213809" y="690949"/>
                </a:cubicBezTo>
                <a:cubicBezTo>
                  <a:pt x="6213809" y="725035"/>
                  <a:pt x="6186172" y="752671"/>
                  <a:pt x="6152083" y="752671"/>
                </a:cubicBezTo>
                <a:cubicBezTo>
                  <a:pt x="6117993" y="752671"/>
                  <a:pt x="6090360" y="725035"/>
                  <a:pt x="6090360" y="690949"/>
                </a:cubicBezTo>
                <a:cubicBezTo>
                  <a:pt x="6090360" y="656859"/>
                  <a:pt x="6117993" y="629223"/>
                  <a:pt x="6152083" y="629223"/>
                </a:cubicBezTo>
                <a:close/>
                <a:moveTo>
                  <a:pt x="6305668" y="626680"/>
                </a:moveTo>
                <a:cubicBezTo>
                  <a:pt x="6341160" y="626680"/>
                  <a:pt x="6369933" y="655452"/>
                  <a:pt x="6369933" y="690945"/>
                </a:cubicBezTo>
                <a:cubicBezTo>
                  <a:pt x="6369933" y="726438"/>
                  <a:pt x="6341160" y="755214"/>
                  <a:pt x="6305668" y="755214"/>
                </a:cubicBezTo>
                <a:cubicBezTo>
                  <a:pt x="6270176" y="755214"/>
                  <a:pt x="6241400" y="726438"/>
                  <a:pt x="6241400" y="690945"/>
                </a:cubicBezTo>
                <a:cubicBezTo>
                  <a:pt x="6241400" y="655452"/>
                  <a:pt x="6270176" y="626680"/>
                  <a:pt x="6305668" y="626680"/>
                </a:cubicBezTo>
                <a:close/>
                <a:moveTo>
                  <a:pt x="6459619" y="623414"/>
                </a:moveTo>
                <a:cubicBezTo>
                  <a:pt x="6496915" y="623414"/>
                  <a:pt x="6527151" y="653650"/>
                  <a:pt x="6527151" y="690949"/>
                </a:cubicBezTo>
                <a:cubicBezTo>
                  <a:pt x="6527151" y="728245"/>
                  <a:pt x="6496915" y="758481"/>
                  <a:pt x="6459619" y="758481"/>
                </a:cubicBezTo>
                <a:cubicBezTo>
                  <a:pt x="6422320" y="758481"/>
                  <a:pt x="6392084" y="728245"/>
                  <a:pt x="6392084" y="690949"/>
                </a:cubicBezTo>
                <a:cubicBezTo>
                  <a:pt x="6392084" y="653650"/>
                  <a:pt x="6422320" y="623414"/>
                  <a:pt x="6459619" y="623414"/>
                </a:cubicBezTo>
                <a:close/>
                <a:moveTo>
                  <a:pt x="6613200" y="620871"/>
                </a:moveTo>
                <a:cubicBezTo>
                  <a:pt x="6651903" y="620871"/>
                  <a:pt x="6683275" y="652243"/>
                  <a:pt x="6683275" y="690945"/>
                </a:cubicBezTo>
                <a:cubicBezTo>
                  <a:pt x="6683275" y="729647"/>
                  <a:pt x="6651903" y="761023"/>
                  <a:pt x="6613200" y="761023"/>
                </a:cubicBezTo>
                <a:cubicBezTo>
                  <a:pt x="6574498" y="761023"/>
                  <a:pt x="6543126" y="729647"/>
                  <a:pt x="6543126" y="690945"/>
                </a:cubicBezTo>
                <a:cubicBezTo>
                  <a:pt x="6543126" y="652243"/>
                  <a:pt x="6574498" y="620871"/>
                  <a:pt x="6613200" y="620871"/>
                </a:cubicBezTo>
                <a:close/>
                <a:moveTo>
                  <a:pt x="1231213" y="536998"/>
                </a:moveTo>
                <a:cubicBezTo>
                  <a:pt x="1231576" y="536998"/>
                  <a:pt x="1231576" y="536998"/>
                  <a:pt x="1231576" y="537360"/>
                </a:cubicBezTo>
                <a:cubicBezTo>
                  <a:pt x="1231576" y="537726"/>
                  <a:pt x="1231213" y="537726"/>
                  <a:pt x="1231213" y="537726"/>
                </a:cubicBezTo>
                <a:cubicBezTo>
                  <a:pt x="1230851" y="537726"/>
                  <a:pt x="1230851" y="537726"/>
                  <a:pt x="1230851" y="537360"/>
                </a:cubicBezTo>
                <a:cubicBezTo>
                  <a:pt x="1230851" y="536998"/>
                  <a:pt x="1230851" y="536998"/>
                  <a:pt x="1231213" y="536998"/>
                </a:cubicBezTo>
                <a:close/>
                <a:moveTo>
                  <a:pt x="769733" y="536998"/>
                </a:moveTo>
                <a:cubicBezTo>
                  <a:pt x="770096" y="536998"/>
                  <a:pt x="770096" y="536998"/>
                  <a:pt x="770096" y="537360"/>
                </a:cubicBezTo>
                <a:cubicBezTo>
                  <a:pt x="770096" y="537726"/>
                  <a:pt x="769733" y="537726"/>
                  <a:pt x="769733" y="537726"/>
                </a:cubicBezTo>
                <a:cubicBezTo>
                  <a:pt x="769371" y="537726"/>
                  <a:pt x="769371" y="537726"/>
                  <a:pt x="769371" y="537360"/>
                </a:cubicBezTo>
                <a:cubicBezTo>
                  <a:pt x="769371" y="536998"/>
                  <a:pt x="769371" y="536998"/>
                  <a:pt x="769733" y="536998"/>
                </a:cubicBezTo>
                <a:close/>
                <a:moveTo>
                  <a:pt x="616148" y="536998"/>
                </a:moveTo>
                <a:cubicBezTo>
                  <a:pt x="616514" y="536998"/>
                  <a:pt x="616514" y="536998"/>
                  <a:pt x="616514" y="537360"/>
                </a:cubicBezTo>
                <a:cubicBezTo>
                  <a:pt x="616514" y="537726"/>
                  <a:pt x="616148" y="537726"/>
                  <a:pt x="616148" y="537726"/>
                </a:cubicBezTo>
                <a:cubicBezTo>
                  <a:pt x="615786" y="537726"/>
                  <a:pt x="615786" y="537726"/>
                  <a:pt x="615786" y="537360"/>
                </a:cubicBezTo>
                <a:cubicBezTo>
                  <a:pt x="615786" y="536998"/>
                  <a:pt x="615786" y="536998"/>
                  <a:pt x="616148" y="536998"/>
                </a:cubicBezTo>
                <a:close/>
                <a:moveTo>
                  <a:pt x="462205" y="536636"/>
                </a:moveTo>
                <a:cubicBezTo>
                  <a:pt x="462605" y="536636"/>
                  <a:pt x="462929" y="536960"/>
                  <a:pt x="462929" y="537364"/>
                </a:cubicBezTo>
                <a:cubicBezTo>
                  <a:pt x="462929" y="537764"/>
                  <a:pt x="462605" y="538088"/>
                  <a:pt x="462205" y="538088"/>
                </a:cubicBezTo>
                <a:cubicBezTo>
                  <a:pt x="461801" y="538088"/>
                  <a:pt x="461476" y="537764"/>
                  <a:pt x="461476" y="537364"/>
                </a:cubicBezTo>
                <a:cubicBezTo>
                  <a:pt x="461476" y="536960"/>
                  <a:pt x="461801" y="536636"/>
                  <a:pt x="462205" y="536636"/>
                </a:cubicBezTo>
                <a:close/>
                <a:moveTo>
                  <a:pt x="1384799" y="535911"/>
                </a:moveTo>
                <a:cubicBezTo>
                  <a:pt x="1385599" y="535911"/>
                  <a:pt x="1386251" y="536563"/>
                  <a:pt x="1386251" y="537364"/>
                </a:cubicBezTo>
                <a:cubicBezTo>
                  <a:pt x="1386251" y="538164"/>
                  <a:pt x="1385599" y="538816"/>
                  <a:pt x="1384799" y="538816"/>
                </a:cubicBezTo>
                <a:cubicBezTo>
                  <a:pt x="1383994" y="538816"/>
                  <a:pt x="1383346" y="538164"/>
                  <a:pt x="1383346" y="537364"/>
                </a:cubicBezTo>
                <a:cubicBezTo>
                  <a:pt x="1383346" y="536563"/>
                  <a:pt x="1383994" y="535911"/>
                  <a:pt x="1384799" y="535911"/>
                </a:cubicBezTo>
                <a:close/>
                <a:moveTo>
                  <a:pt x="308257" y="535545"/>
                </a:moveTo>
                <a:cubicBezTo>
                  <a:pt x="308985" y="535545"/>
                  <a:pt x="309710" y="536273"/>
                  <a:pt x="309710" y="536998"/>
                </a:cubicBezTo>
                <a:lnTo>
                  <a:pt x="309634" y="537073"/>
                </a:lnTo>
                <a:lnTo>
                  <a:pt x="308175" y="535627"/>
                </a:lnTo>
                <a:close/>
                <a:moveTo>
                  <a:pt x="1538750" y="535183"/>
                </a:moveTo>
                <a:cubicBezTo>
                  <a:pt x="1539951" y="535183"/>
                  <a:pt x="1540927" y="536159"/>
                  <a:pt x="1540927" y="537364"/>
                </a:cubicBezTo>
                <a:cubicBezTo>
                  <a:pt x="1540927" y="538564"/>
                  <a:pt x="1539951" y="539540"/>
                  <a:pt x="1538750" y="539540"/>
                </a:cubicBezTo>
                <a:cubicBezTo>
                  <a:pt x="1537545" y="539540"/>
                  <a:pt x="1536570" y="538564"/>
                  <a:pt x="1536570" y="537364"/>
                </a:cubicBezTo>
                <a:cubicBezTo>
                  <a:pt x="1536570" y="536159"/>
                  <a:pt x="1537545" y="535183"/>
                  <a:pt x="1538750" y="535183"/>
                </a:cubicBezTo>
                <a:close/>
                <a:moveTo>
                  <a:pt x="1692328" y="534093"/>
                </a:moveTo>
                <a:cubicBezTo>
                  <a:pt x="1694146" y="534093"/>
                  <a:pt x="1695594" y="535545"/>
                  <a:pt x="1695594" y="537360"/>
                </a:cubicBezTo>
                <a:cubicBezTo>
                  <a:pt x="1695594" y="539178"/>
                  <a:pt x="1694146" y="540630"/>
                  <a:pt x="1692328" y="540630"/>
                </a:cubicBezTo>
                <a:cubicBezTo>
                  <a:pt x="1690513" y="540630"/>
                  <a:pt x="1689061" y="539178"/>
                  <a:pt x="1689061" y="537360"/>
                </a:cubicBezTo>
                <a:cubicBezTo>
                  <a:pt x="1689061" y="535545"/>
                  <a:pt x="1690513" y="534093"/>
                  <a:pt x="1692328" y="534093"/>
                </a:cubicBezTo>
                <a:close/>
                <a:moveTo>
                  <a:pt x="1846279" y="532641"/>
                </a:moveTo>
                <a:cubicBezTo>
                  <a:pt x="1848818" y="532641"/>
                  <a:pt x="1850636" y="534455"/>
                  <a:pt x="1850636" y="536998"/>
                </a:cubicBezTo>
                <a:cubicBezTo>
                  <a:pt x="1850636" y="539540"/>
                  <a:pt x="1848455" y="541355"/>
                  <a:pt x="1846279" y="541355"/>
                </a:cubicBezTo>
                <a:cubicBezTo>
                  <a:pt x="1843736" y="541355"/>
                  <a:pt x="1841922" y="539540"/>
                  <a:pt x="1841922" y="536998"/>
                </a:cubicBezTo>
                <a:cubicBezTo>
                  <a:pt x="1841922" y="534455"/>
                  <a:pt x="1843736" y="532641"/>
                  <a:pt x="1846279" y="532641"/>
                </a:cubicBezTo>
                <a:close/>
                <a:moveTo>
                  <a:pt x="1999860" y="531554"/>
                </a:moveTo>
                <a:cubicBezTo>
                  <a:pt x="2003127" y="531554"/>
                  <a:pt x="2005670" y="534097"/>
                  <a:pt x="2005670" y="537364"/>
                </a:cubicBezTo>
                <a:cubicBezTo>
                  <a:pt x="2005670" y="540630"/>
                  <a:pt x="2003127" y="543173"/>
                  <a:pt x="1999860" y="543173"/>
                </a:cubicBezTo>
                <a:cubicBezTo>
                  <a:pt x="1996593" y="543173"/>
                  <a:pt x="1994051" y="540630"/>
                  <a:pt x="1994051" y="537364"/>
                </a:cubicBezTo>
                <a:cubicBezTo>
                  <a:pt x="1994051" y="534097"/>
                  <a:pt x="1996593" y="531554"/>
                  <a:pt x="1999860" y="531554"/>
                </a:cubicBezTo>
                <a:close/>
                <a:moveTo>
                  <a:pt x="2153808" y="530102"/>
                </a:moveTo>
                <a:cubicBezTo>
                  <a:pt x="2157802" y="530102"/>
                  <a:pt x="2161069" y="533369"/>
                  <a:pt x="2161069" y="537364"/>
                </a:cubicBezTo>
                <a:cubicBezTo>
                  <a:pt x="2161069" y="541359"/>
                  <a:pt x="2157802" y="544625"/>
                  <a:pt x="2153808" y="544625"/>
                </a:cubicBezTo>
                <a:cubicBezTo>
                  <a:pt x="2149813" y="544625"/>
                  <a:pt x="2146546" y="541359"/>
                  <a:pt x="2146546" y="537364"/>
                </a:cubicBezTo>
                <a:cubicBezTo>
                  <a:pt x="2146546" y="533369"/>
                  <a:pt x="2149813" y="530102"/>
                  <a:pt x="2153808" y="530102"/>
                </a:cubicBezTo>
                <a:close/>
                <a:moveTo>
                  <a:pt x="2307393" y="527922"/>
                </a:moveTo>
                <a:cubicBezTo>
                  <a:pt x="2312478" y="527922"/>
                  <a:pt x="2316473" y="531916"/>
                  <a:pt x="2316473" y="536998"/>
                </a:cubicBezTo>
                <a:cubicBezTo>
                  <a:pt x="2316473" y="542083"/>
                  <a:pt x="2312478" y="546078"/>
                  <a:pt x="2307393" y="546078"/>
                </a:cubicBezTo>
                <a:cubicBezTo>
                  <a:pt x="2302312" y="546078"/>
                  <a:pt x="2298317" y="542083"/>
                  <a:pt x="2298317" y="536998"/>
                </a:cubicBezTo>
                <a:cubicBezTo>
                  <a:pt x="2298317" y="531916"/>
                  <a:pt x="2302312" y="527922"/>
                  <a:pt x="2307393" y="527922"/>
                </a:cubicBezTo>
                <a:close/>
                <a:moveTo>
                  <a:pt x="2461340" y="527197"/>
                </a:moveTo>
                <a:cubicBezTo>
                  <a:pt x="2466787" y="527197"/>
                  <a:pt x="2471507" y="531916"/>
                  <a:pt x="2471507" y="537364"/>
                </a:cubicBezTo>
                <a:cubicBezTo>
                  <a:pt x="2471507" y="542811"/>
                  <a:pt x="2467150" y="547530"/>
                  <a:pt x="2461340" y="547530"/>
                </a:cubicBezTo>
                <a:cubicBezTo>
                  <a:pt x="2455893" y="547530"/>
                  <a:pt x="2451174" y="542811"/>
                  <a:pt x="2451174" y="537364"/>
                </a:cubicBezTo>
                <a:cubicBezTo>
                  <a:pt x="2451174" y="531916"/>
                  <a:pt x="2455893" y="527197"/>
                  <a:pt x="2461340" y="527197"/>
                </a:cubicBezTo>
                <a:close/>
                <a:moveTo>
                  <a:pt x="2614925" y="525379"/>
                </a:moveTo>
                <a:cubicBezTo>
                  <a:pt x="2621463" y="525379"/>
                  <a:pt x="2626910" y="530826"/>
                  <a:pt x="2626910" y="537360"/>
                </a:cubicBezTo>
                <a:cubicBezTo>
                  <a:pt x="2626910" y="543897"/>
                  <a:pt x="2621463" y="549341"/>
                  <a:pt x="2614925" y="549341"/>
                </a:cubicBezTo>
                <a:cubicBezTo>
                  <a:pt x="2608392" y="549341"/>
                  <a:pt x="2602945" y="543897"/>
                  <a:pt x="2602945" y="537360"/>
                </a:cubicBezTo>
                <a:cubicBezTo>
                  <a:pt x="2602945" y="530826"/>
                  <a:pt x="2608392" y="525379"/>
                  <a:pt x="2614925" y="525379"/>
                </a:cubicBezTo>
                <a:close/>
                <a:moveTo>
                  <a:pt x="2768877" y="523202"/>
                </a:moveTo>
                <a:cubicBezTo>
                  <a:pt x="2776501" y="523202"/>
                  <a:pt x="2782672" y="529374"/>
                  <a:pt x="2782672" y="537002"/>
                </a:cubicBezTo>
                <a:cubicBezTo>
                  <a:pt x="2782672" y="544625"/>
                  <a:pt x="2776501" y="550797"/>
                  <a:pt x="2768877" y="550797"/>
                </a:cubicBezTo>
                <a:cubicBezTo>
                  <a:pt x="2761249" y="550797"/>
                  <a:pt x="2755078" y="544625"/>
                  <a:pt x="2755078" y="537002"/>
                </a:cubicBezTo>
                <a:cubicBezTo>
                  <a:pt x="2755078" y="529374"/>
                  <a:pt x="2761249" y="523202"/>
                  <a:pt x="2768877" y="523202"/>
                </a:cubicBezTo>
                <a:close/>
                <a:moveTo>
                  <a:pt x="2922454" y="522112"/>
                </a:moveTo>
                <a:cubicBezTo>
                  <a:pt x="2930878" y="522112"/>
                  <a:pt x="2937706" y="528939"/>
                  <a:pt x="2937706" y="537364"/>
                </a:cubicBezTo>
                <a:cubicBezTo>
                  <a:pt x="2937706" y="545784"/>
                  <a:pt x="2930878" y="552611"/>
                  <a:pt x="2922454" y="552611"/>
                </a:cubicBezTo>
                <a:cubicBezTo>
                  <a:pt x="2914034" y="552611"/>
                  <a:pt x="2907207" y="545784"/>
                  <a:pt x="2907207" y="537364"/>
                </a:cubicBezTo>
                <a:cubicBezTo>
                  <a:pt x="2907207" y="528939"/>
                  <a:pt x="2914034" y="522112"/>
                  <a:pt x="2922454" y="522112"/>
                </a:cubicBezTo>
                <a:close/>
                <a:moveTo>
                  <a:pt x="3076406" y="520298"/>
                </a:moveTo>
                <a:cubicBezTo>
                  <a:pt x="3085844" y="520298"/>
                  <a:pt x="3093468" y="527922"/>
                  <a:pt x="3093468" y="537364"/>
                </a:cubicBezTo>
                <a:cubicBezTo>
                  <a:pt x="3093468" y="546802"/>
                  <a:pt x="3085844" y="554430"/>
                  <a:pt x="3076406" y="554430"/>
                </a:cubicBezTo>
                <a:cubicBezTo>
                  <a:pt x="3066963" y="554430"/>
                  <a:pt x="3059340" y="546802"/>
                  <a:pt x="3059340" y="537364"/>
                </a:cubicBezTo>
                <a:cubicBezTo>
                  <a:pt x="3059340" y="527922"/>
                  <a:pt x="3066963" y="520298"/>
                  <a:pt x="3076406" y="520298"/>
                </a:cubicBezTo>
                <a:close/>
                <a:moveTo>
                  <a:pt x="3230353" y="518117"/>
                </a:moveTo>
                <a:cubicBezTo>
                  <a:pt x="3240980" y="518117"/>
                  <a:pt x="3249599" y="526732"/>
                  <a:pt x="3249599" y="537360"/>
                </a:cubicBezTo>
                <a:cubicBezTo>
                  <a:pt x="3249599" y="547987"/>
                  <a:pt x="3240980" y="556602"/>
                  <a:pt x="3230353" y="556602"/>
                </a:cubicBezTo>
                <a:cubicBezTo>
                  <a:pt x="3219725" y="556602"/>
                  <a:pt x="3211110" y="547987"/>
                  <a:pt x="3211110" y="537360"/>
                </a:cubicBezTo>
                <a:cubicBezTo>
                  <a:pt x="3211110" y="526732"/>
                  <a:pt x="3219725" y="518117"/>
                  <a:pt x="3230353" y="518117"/>
                </a:cubicBezTo>
                <a:close/>
                <a:moveTo>
                  <a:pt x="3383938" y="515941"/>
                </a:moveTo>
                <a:cubicBezTo>
                  <a:pt x="3395766" y="515941"/>
                  <a:pt x="3405361" y="525532"/>
                  <a:pt x="3405361" y="537364"/>
                </a:cubicBezTo>
                <a:cubicBezTo>
                  <a:pt x="3405361" y="549192"/>
                  <a:pt x="3395766" y="558787"/>
                  <a:pt x="3383938" y="558787"/>
                </a:cubicBezTo>
                <a:cubicBezTo>
                  <a:pt x="3372106" y="558787"/>
                  <a:pt x="3362515" y="549192"/>
                  <a:pt x="3362515" y="537364"/>
                </a:cubicBezTo>
                <a:cubicBezTo>
                  <a:pt x="3362515" y="525532"/>
                  <a:pt x="3372106" y="515941"/>
                  <a:pt x="3383938" y="515941"/>
                </a:cubicBezTo>
                <a:close/>
                <a:moveTo>
                  <a:pt x="3537886" y="514489"/>
                </a:moveTo>
                <a:cubicBezTo>
                  <a:pt x="3550518" y="514489"/>
                  <a:pt x="3560761" y="524731"/>
                  <a:pt x="3560761" y="537364"/>
                </a:cubicBezTo>
                <a:cubicBezTo>
                  <a:pt x="3560761" y="549996"/>
                  <a:pt x="3550518" y="560239"/>
                  <a:pt x="3537886" y="560239"/>
                </a:cubicBezTo>
                <a:cubicBezTo>
                  <a:pt x="3525253" y="560239"/>
                  <a:pt x="3515010" y="549996"/>
                  <a:pt x="3515010" y="537364"/>
                </a:cubicBezTo>
                <a:cubicBezTo>
                  <a:pt x="3515010" y="524731"/>
                  <a:pt x="3525253" y="514489"/>
                  <a:pt x="3537886" y="514489"/>
                </a:cubicBezTo>
                <a:close/>
                <a:moveTo>
                  <a:pt x="3691467" y="512308"/>
                </a:moveTo>
                <a:cubicBezTo>
                  <a:pt x="3705304" y="512308"/>
                  <a:pt x="3716519" y="523526"/>
                  <a:pt x="3716519" y="537360"/>
                </a:cubicBezTo>
                <a:cubicBezTo>
                  <a:pt x="3716519" y="551197"/>
                  <a:pt x="3705304" y="562412"/>
                  <a:pt x="3691467" y="562412"/>
                </a:cubicBezTo>
                <a:cubicBezTo>
                  <a:pt x="3677630" y="562412"/>
                  <a:pt x="3666415" y="551197"/>
                  <a:pt x="3666415" y="537360"/>
                </a:cubicBezTo>
                <a:cubicBezTo>
                  <a:pt x="3666415" y="523523"/>
                  <a:pt x="3677630" y="512308"/>
                  <a:pt x="3691467" y="512308"/>
                </a:cubicBezTo>
                <a:close/>
                <a:moveTo>
                  <a:pt x="3845418" y="510131"/>
                </a:moveTo>
                <a:cubicBezTo>
                  <a:pt x="3860456" y="510131"/>
                  <a:pt x="3872650" y="522322"/>
                  <a:pt x="3872650" y="537364"/>
                </a:cubicBezTo>
                <a:cubicBezTo>
                  <a:pt x="3872650" y="552402"/>
                  <a:pt x="3860456" y="564596"/>
                  <a:pt x="3845418" y="564596"/>
                </a:cubicBezTo>
                <a:cubicBezTo>
                  <a:pt x="3830376" y="564596"/>
                  <a:pt x="3818186" y="552402"/>
                  <a:pt x="3818186" y="537364"/>
                </a:cubicBezTo>
                <a:cubicBezTo>
                  <a:pt x="3818186" y="522322"/>
                  <a:pt x="3830376" y="510131"/>
                  <a:pt x="3845418" y="510131"/>
                </a:cubicBezTo>
                <a:close/>
                <a:moveTo>
                  <a:pt x="3999000" y="507589"/>
                </a:moveTo>
                <a:cubicBezTo>
                  <a:pt x="4015444" y="507589"/>
                  <a:pt x="4028774" y="520919"/>
                  <a:pt x="4028774" y="537364"/>
                </a:cubicBezTo>
                <a:cubicBezTo>
                  <a:pt x="4028774" y="553804"/>
                  <a:pt x="4015444" y="567135"/>
                  <a:pt x="3999000" y="567135"/>
                </a:cubicBezTo>
                <a:cubicBezTo>
                  <a:pt x="3982559" y="567135"/>
                  <a:pt x="3969229" y="553804"/>
                  <a:pt x="3969229" y="537364"/>
                </a:cubicBezTo>
                <a:cubicBezTo>
                  <a:pt x="3969229" y="520919"/>
                  <a:pt x="3982559" y="507589"/>
                  <a:pt x="3999000" y="507589"/>
                </a:cubicBezTo>
                <a:close/>
                <a:moveTo>
                  <a:pt x="4152947" y="505412"/>
                </a:moveTo>
                <a:cubicBezTo>
                  <a:pt x="4170592" y="505412"/>
                  <a:pt x="4184898" y="519718"/>
                  <a:pt x="4184898" y="537364"/>
                </a:cubicBezTo>
                <a:cubicBezTo>
                  <a:pt x="4184898" y="555009"/>
                  <a:pt x="4170592" y="569315"/>
                  <a:pt x="4152947" y="569315"/>
                </a:cubicBezTo>
                <a:cubicBezTo>
                  <a:pt x="4135302" y="569315"/>
                  <a:pt x="4120996" y="555009"/>
                  <a:pt x="4120996" y="537364"/>
                </a:cubicBezTo>
                <a:cubicBezTo>
                  <a:pt x="4120996" y="519718"/>
                  <a:pt x="4135302" y="505412"/>
                  <a:pt x="4152947" y="505412"/>
                </a:cubicBezTo>
                <a:close/>
                <a:moveTo>
                  <a:pt x="4306532" y="503594"/>
                </a:moveTo>
                <a:cubicBezTo>
                  <a:pt x="4325184" y="503594"/>
                  <a:pt x="4340302" y="518712"/>
                  <a:pt x="4340302" y="537360"/>
                </a:cubicBezTo>
                <a:cubicBezTo>
                  <a:pt x="4340302" y="556012"/>
                  <a:pt x="4325184" y="571130"/>
                  <a:pt x="4306532" y="571130"/>
                </a:cubicBezTo>
                <a:cubicBezTo>
                  <a:pt x="4287884" y="571130"/>
                  <a:pt x="4272766" y="556012"/>
                  <a:pt x="4272766" y="537360"/>
                </a:cubicBezTo>
                <a:cubicBezTo>
                  <a:pt x="4272766" y="518712"/>
                  <a:pt x="4287884" y="503594"/>
                  <a:pt x="4306532" y="503594"/>
                </a:cubicBezTo>
                <a:close/>
                <a:moveTo>
                  <a:pt x="4460480" y="500689"/>
                </a:moveTo>
                <a:cubicBezTo>
                  <a:pt x="4480450" y="500689"/>
                  <a:pt x="4496788" y="517027"/>
                  <a:pt x="4496788" y="536998"/>
                </a:cubicBezTo>
                <a:cubicBezTo>
                  <a:pt x="4496788" y="556968"/>
                  <a:pt x="4480450" y="573306"/>
                  <a:pt x="4460480" y="573306"/>
                </a:cubicBezTo>
                <a:cubicBezTo>
                  <a:pt x="4440509" y="573306"/>
                  <a:pt x="4424172" y="556968"/>
                  <a:pt x="4424172" y="536998"/>
                </a:cubicBezTo>
                <a:cubicBezTo>
                  <a:pt x="4424172" y="517027"/>
                  <a:pt x="4440509" y="500689"/>
                  <a:pt x="4460480" y="500689"/>
                </a:cubicBezTo>
                <a:close/>
                <a:moveTo>
                  <a:pt x="4614065" y="498513"/>
                </a:moveTo>
                <a:cubicBezTo>
                  <a:pt x="4635484" y="498513"/>
                  <a:pt x="4652912" y="515941"/>
                  <a:pt x="4652912" y="537364"/>
                </a:cubicBezTo>
                <a:cubicBezTo>
                  <a:pt x="4652912" y="558787"/>
                  <a:pt x="4635484" y="576215"/>
                  <a:pt x="4614065" y="576215"/>
                </a:cubicBezTo>
                <a:cubicBezTo>
                  <a:pt x="4592642" y="576215"/>
                  <a:pt x="4575214" y="558787"/>
                  <a:pt x="4575214" y="537364"/>
                </a:cubicBezTo>
                <a:cubicBezTo>
                  <a:pt x="4575214" y="515941"/>
                  <a:pt x="4592642" y="498513"/>
                  <a:pt x="4614065" y="498513"/>
                </a:cubicBezTo>
                <a:close/>
                <a:moveTo>
                  <a:pt x="4768008" y="495970"/>
                </a:moveTo>
                <a:cubicBezTo>
                  <a:pt x="4790884" y="495970"/>
                  <a:pt x="4809036" y="514126"/>
                  <a:pt x="4809036" y="536998"/>
                </a:cubicBezTo>
                <a:cubicBezTo>
                  <a:pt x="4809036" y="559873"/>
                  <a:pt x="4790522" y="578029"/>
                  <a:pt x="4768008" y="578029"/>
                </a:cubicBezTo>
                <a:cubicBezTo>
                  <a:pt x="4745137" y="578029"/>
                  <a:pt x="4726981" y="559873"/>
                  <a:pt x="4726981" y="536998"/>
                </a:cubicBezTo>
                <a:cubicBezTo>
                  <a:pt x="4726981" y="514126"/>
                  <a:pt x="4745137" y="495970"/>
                  <a:pt x="4768008" y="495970"/>
                </a:cubicBezTo>
                <a:close/>
                <a:moveTo>
                  <a:pt x="4921594" y="493428"/>
                </a:moveTo>
                <a:cubicBezTo>
                  <a:pt x="4945556" y="493428"/>
                  <a:pt x="4965164" y="513032"/>
                  <a:pt x="4965164" y="536998"/>
                </a:cubicBezTo>
                <a:cubicBezTo>
                  <a:pt x="4965164" y="560959"/>
                  <a:pt x="4945556" y="580568"/>
                  <a:pt x="4921594" y="580568"/>
                </a:cubicBezTo>
                <a:cubicBezTo>
                  <a:pt x="4897628" y="580568"/>
                  <a:pt x="4878024" y="560959"/>
                  <a:pt x="4878024" y="536998"/>
                </a:cubicBezTo>
                <a:cubicBezTo>
                  <a:pt x="4878024" y="513032"/>
                  <a:pt x="4897628" y="493428"/>
                  <a:pt x="4921594" y="493428"/>
                </a:cubicBezTo>
                <a:close/>
                <a:moveTo>
                  <a:pt x="5075541" y="490889"/>
                </a:moveTo>
                <a:cubicBezTo>
                  <a:pt x="5100955" y="490889"/>
                  <a:pt x="5121654" y="511584"/>
                  <a:pt x="5121654" y="537002"/>
                </a:cubicBezTo>
                <a:cubicBezTo>
                  <a:pt x="5121654" y="562416"/>
                  <a:pt x="5100955" y="583110"/>
                  <a:pt x="5075541" y="583110"/>
                </a:cubicBezTo>
                <a:cubicBezTo>
                  <a:pt x="5050124" y="583110"/>
                  <a:pt x="5029428" y="562416"/>
                  <a:pt x="5029428" y="537002"/>
                </a:cubicBezTo>
                <a:cubicBezTo>
                  <a:pt x="5029428" y="511584"/>
                  <a:pt x="5050124" y="490889"/>
                  <a:pt x="5075541" y="490889"/>
                </a:cubicBezTo>
                <a:close/>
                <a:moveTo>
                  <a:pt x="5229122" y="488709"/>
                </a:moveTo>
                <a:cubicBezTo>
                  <a:pt x="5255992" y="488709"/>
                  <a:pt x="5277778" y="510494"/>
                  <a:pt x="5277778" y="537364"/>
                </a:cubicBezTo>
                <a:cubicBezTo>
                  <a:pt x="5277778" y="564230"/>
                  <a:pt x="5255992" y="586015"/>
                  <a:pt x="5229122" y="586015"/>
                </a:cubicBezTo>
                <a:cubicBezTo>
                  <a:pt x="5202256" y="586015"/>
                  <a:pt x="5180472" y="564230"/>
                  <a:pt x="5180472" y="537364"/>
                </a:cubicBezTo>
                <a:cubicBezTo>
                  <a:pt x="5180472" y="510494"/>
                  <a:pt x="5202256" y="488709"/>
                  <a:pt x="5229122" y="488709"/>
                </a:cubicBezTo>
                <a:close/>
                <a:moveTo>
                  <a:pt x="5383074" y="486166"/>
                </a:moveTo>
                <a:cubicBezTo>
                  <a:pt x="5411396" y="486166"/>
                  <a:pt x="5434268" y="509041"/>
                  <a:pt x="5434268" y="537360"/>
                </a:cubicBezTo>
                <a:cubicBezTo>
                  <a:pt x="5434268" y="565682"/>
                  <a:pt x="5411396" y="588554"/>
                  <a:pt x="5383074" y="588554"/>
                </a:cubicBezTo>
                <a:cubicBezTo>
                  <a:pt x="5354755" y="588554"/>
                  <a:pt x="5331880" y="565682"/>
                  <a:pt x="5331880" y="537360"/>
                </a:cubicBezTo>
                <a:cubicBezTo>
                  <a:pt x="5331880" y="509041"/>
                  <a:pt x="5354755" y="486166"/>
                  <a:pt x="5383074" y="486166"/>
                </a:cubicBezTo>
                <a:close/>
                <a:moveTo>
                  <a:pt x="5536659" y="483624"/>
                </a:moveTo>
                <a:cubicBezTo>
                  <a:pt x="5566068" y="483624"/>
                  <a:pt x="5590034" y="507585"/>
                  <a:pt x="5590034" y="536998"/>
                </a:cubicBezTo>
                <a:cubicBezTo>
                  <a:pt x="5590034" y="566407"/>
                  <a:pt x="5566068" y="590372"/>
                  <a:pt x="5536659" y="590372"/>
                </a:cubicBezTo>
                <a:cubicBezTo>
                  <a:pt x="5507250" y="590372"/>
                  <a:pt x="5483285" y="566407"/>
                  <a:pt x="5483285" y="536998"/>
                </a:cubicBezTo>
                <a:cubicBezTo>
                  <a:pt x="5483285" y="507585"/>
                  <a:pt x="5507250" y="483624"/>
                  <a:pt x="5536659" y="483624"/>
                </a:cubicBezTo>
                <a:close/>
                <a:moveTo>
                  <a:pt x="5690606" y="481085"/>
                </a:moveTo>
                <a:cubicBezTo>
                  <a:pt x="5721830" y="481085"/>
                  <a:pt x="5746882" y="506137"/>
                  <a:pt x="5746882" y="537364"/>
                </a:cubicBezTo>
                <a:cubicBezTo>
                  <a:pt x="5746882" y="568587"/>
                  <a:pt x="5721830" y="593643"/>
                  <a:pt x="5690606" y="593643"/>
                </a:cubicBezTo>
                <a:cubicBezTo>
                  <a:pt x="5659380" y="593643"/>
                  <a:pt x="5634328" y="568587"/>
                  <a:pt x="5634328" y="537364"/>
                </a:cubicBezTo>
                <a:cubicBezTo>
                  <a:pt x="5634328" y="506137"/>
                  <a:pt x="5659380" y="481085"/>
                  <a:pt x="5690606" y="481085"/>
                </a:cubicBezTo>
                <a:close/>
                <a:moveTo>
                  <a:pt x="5844554" y="478542"/>
                </a:moveTo>
                <a:cubicBezTo>
                  <a:pt x="5877039" y="478542"/>
                  <a:pt x="5903372" y="504875"/>
                  <a:pt x="5903372" y="537364"/>
                </a:cubicBezTo>
                <a:cubicBezTo>
                  <a:pt x="5903372" y="569849"/>
                  <a:pt x="5877039" y="596181"/>
                  <a:pt x="5844554" y="596181"/>
                </a:cubicBezTo>
                <a:cubicBezTo>
                  <a:pt x="5812065" y="596181"/>
                  <a:pt x="5785732" y="569849"/>
                  <a:pt x="5785732" y="537364"/>
                </a:cubicBezTo>
                <a:cubicBezTo>
                  <a:pt x="5785732" y="504875"/>
                  <a:pt x="5812065" y="478542"/>
                  <a:pt x="5844554" y="478542"/>
                </a:cubicBezTo>
                <a:close/>
                <a:moveTo>
                  <a:pt x="5998136" y="475638"/>
                </a:moveTo>
                <a:cubicBezTo>
                  <a:pt x="6032225" y="475638"/>
                  <a:pt x="6059862" y="503274"/>
                  <a:pt x="6059862" y="537364"/>
                </a:cubicBezTo>
                <a:cubicBezTo>
                  <a:pt x="6059862" y="571450"/>
                  <a:pt x="6032225" y="599086"/>
                  <a:pt x="5998136" y="599086"/>
                </a:cubicBezTo>
                <a:cubicBezTo>
                  <a:pt x="5964046" y="599086"/>
                  <a:pt x="5936413" y="571450"/>
                  <a:pt x="5936413" y="537364"/>
                </a:cubicBezTo>
                <a:cubicBezTo>
                  <a:pt x="5936413" y="503274"/>
                  <a:pt x="5964046" y="475638"/>
                  <a:pt x="5998136" y="475638"/>
                </a:cubicBezTo>
                <a:close/>
                <a:moveTo>
                  <a:pt x="6152083" y="473095"/>
                </a:moveTo>
                <a:cubicBezTo>
                  <a:pt x="6187576" y="473095"/>
                  <a:pt x="6216348" y="501867"/>
                  <a:pt x="6216348" y="537360"/>
                </a:cubicBezTo>
                <a:cubicBezTo>
                  <a:pt x="6216348" y="572852"/>
                  <a:pt x="6187576" y="601625"/>
                  <a:pt x="6152083" y="601625"/>
                </a:cubicBezTo>
                <a:cubicBezTo>
                  <a:pt x="6116590" y="601625"/>
                  <a:pt x="6087818" y="572852"/>
                  <a:pt x="6087818" y="537360"/>
                </a:cubicBezTo>
                <a:cubicBezTo>
                  <a:pt x="6087818" y="501867"/>
                  <a:pt x="6116590" y="473095"/>
                  <a:pt x="6152083" y="473095"/>
                </a:cubicBezTo>
                <a:close/>
                <a:moveTo>
                  <a:pt x="6305672" y="469828"/>
                </a:moveTo>
                <a:cubicBezTo>
                  <a:pt x="6342968" y="469828"/>
                  <a:pt x="6373204" y="500064"/>
                  <a:pt x="6373204" y="537364"/>
                </a:cubicBezTo>
                <a:cubicBezTo>
                  <a:pt x="6373204" y="574659"/>
                  <a:pt x="6342968" y="604895"/>
                  <a:pt x="6305672" y="604895"/>
                </a:cubicBezTo>
                <a:cubicBezTo>
                  <a:pt x="6268372" y="604895"/>
                  <a:pt x="6238136" y="574659"/>
                  <a:pt x="6238136" y="537364"/>
                </a:cubicBezTo>
                <a:cubicBezTo>
                  <a:pt x="6238136" y="500064"/>
                  <a:pt x="6268372" y="469828"/>
                  <a:pt x="6305672" y="469828"/>
                </a:cubicBezTo>
                <a:close/>
                <a:moveTo>
                  <a:pt x="6459616" y="467286"/>
                </a:moveTo>
                <a:cubicBezTo>
                  <a:pt x="6498318" y="467286"/>
                  <a:pt x="6529694" y="498658"/>
                  <a:pt x="6529694" y="537360"/>
                </a:cubicBezTo>
                <a:cubicBezTo>
                  <a:pt x="6529694" y="576062"/>
                  <a:pt x="6498318" y="607434"/>
                  <a:pt x="6459616" y="607434"/>
                </a:cubicBezTo>
                <a:cubicBezTo>
                  <a:pt x="6420913" y="607434"/>
                  <a:pt x="6389542" y="576062"/>
                  <a:pt x="6389542" y="537360"/>
                </a:cubicBezTo>
                <a:cubicBezTo>
                  <a:pt x="6389542" y="498658"/>
                  <a:pt x="6420913" y="467286"/>
                  <a:pt x="6459616" y="467286"/>
                </a:cubicBezTo>
                <a:close/>
                <a:moveTo>
                  <a:pt x="6613200" y="464381"/>
                </a:moveTo>
                <a:cubicBezTo>
                  <a:pt x="6653508" y="464381"/>
                  <a:pt x="6686180" y="497057"/>
                  <a:pt x="6686180" y="537360"/>
                </a:cubicBezTo>
                <a:cubicBezTo>
                  <a:pt x="6686180" y="577667"/>
                  <a:pt x="6653508" y="610339"/>
                  <a:pt x="6613200" y="610339"/>
                </a:cubicBezTo>
                <a:cubicBezTo>
                  <a:pt x="6572894" y="610339"/>
                  <a:pt x="6540222" y="577667"/>
                  <a:pt x="6540222" y="537360"/>
                </a:cubicBezTo>
                <a:cubicBezTo>
                  <a:pt x="6540222" y="497057"/>
                  <a:pt x="6572894" y="464381"/>
                  <a:pt x="6613200" y="464381"/>
                </a:cubicBezTo>
                <a:close/>
                <a:moveTo>
                  <a:pt x="1077266" y="383050"/>
                </a:moveTo>
                <a:cubicBezTo>
                  <a:pt x="1077468" y="383050"/>
                  <a:pt x="1077628" y="383214"/>
                  <a:pt x="1077628" y="383412"/>
                </a:cubicBezTo>
                <a:cubicBezTo>
                  <a:pt x="1077628" y="383614"/>
                  <a:pt x="1077468" y="383778"/>
                  <a:pt x="1077266" y="383778"/>
                </a:cubicBezTo>
                <a:cubicBezTo>
                  <a:pt x="1077068" y="383778"/>
                  <a:pt x="1076904" y="383614"/>
                  <a:pt x="1076904" y="383412"/>
                </a:cubicBezTo>
                <a:cubicBezTo>
                  <a:pt x="1076904" y="383214"/>
                  <a:pt x="1077068" y="383050"/>
                  <a:pt x="1077266" y="383050"/>
                </a:cubicBezTo>
                <a:close/>
                <a:moveTo>
                  <a:pt x="616148" y="383050"/>
                </a:moveTo>
                <a:cubicBezTo>
                  <a:pt x="616514" y="383050"/>
                  <a:pt x="616514" y="383050"/>
                  <a:pt x="616514" y="383412"/>
                </a:cubicBezTo>
                <a:cubicBezTo>
                  <a:pt x="616514" y="383775"/>
                  <a:pt x="616148" y="383775"/>
                  <a:pt x="616148" y="383775"/>
                </a:cubicBezTo>
                <a:cubicBezTo>
                  <a:pt x="615786" y="383775"/>
                  <a:pt x="615786" y="383775"/>
                  <a:pt x="615786" y="383412"/>
                </a:cubicBezTo>
                <a:cubicBezTo>
                  <a:pt x="615786" y="383050"/>
                  <a:pt x="615786" y="383050"/>
                  <a:pt x="616148" y="383050"/>
                </a:cubicBezTo>
                <a:close/>
                <a:moveTo>
                  <a:pt x="462205" y="383050"/>
                </a:moveTo>
                <a:cubicBezTo>
                  <a:pt x="462567" y="383050"/>
                  <a:pt x="462567" y="383050"/>
                  <a:pt x="462567" y="383412"/>
                </a:cubicBezTo>
                <a:cubicBezTo>
                  <a:pt x="462567" y="383775"/>
                  <a:pt x="462205" y="383775"/>
                  <a:pt x="462205" y="383775"/>
                </a:cubicBezTo>
                <a:cubicBezTo>
                  <a:pt x="461842" y="383775"/>
                  <a:pt x="461842" y="383775"/>
                  <a:pt x="461842" y="383412"/>
                </a:cubicBezTo>
                <a:cubicBezTo>
                  <a:pt x="461842" y="383050"/>
                  <a:pt x="461842" y="383050"/>
                  <a:pt x="462205" y="383050"/>
                </a:cubicBezTo>
                <a:close/>
                <a:moveTo>
                  <a:pt x="308623" y="382688"/>
                </a:moveTo>
                <a:cubicBezTo>
                  <a:pt x="309023" y="382688"/>
                  <a:pt x="309347" y="383012"/>
                  <a:pt x="309347" y="383416"/>
                </a:cubicBezTo>
                <a:cubicBezTo>
                  <a:pt x="309347" y="383817"/>
                  <a:pt x="309023" y="384141"/>
                  <a:pt x="308623" y="384141"/>
                </a:cubicBezTo>
                <a:cubicBezTo>
                  <a:pt x="308219" y="384141"/>
                  <a:pt x="307895" y="383817"/>
                  <a:pt x="307895" y="383416"/>
                </a:cubicBezTo>
                <a:cubicBezTo>
                  <a:pt x="307895" y="383012"/>
                  <a:pt x="308219" y="382688"/>
                  <a:pt x="308623" y="382688"/>
                </a:cubicBezTo>
                <a:close/>
                <a:moveTo>
                  <a:pt x="1231213" y="381964"/>
                </a:moveTo>
                <a:cubicBezTo>
                  <a:pt x="1232014" y="381964"/>
                  <a:pt x="1232666" y="382616"/>
                  <a:pt x="1232666" y="383416"/>
                </a:cubicBezTo>
                <a:cubicBezTo>
                  <a:pt x="1232666" y="384217"/>
                  <a:pt x="1232014" y="384869"/>
                  <a:pt x="1231213" y="384869"/>
                </a:cubicBezTo>
                <a:cubicBezTo>
                  <a:pt x="1230409" y="384869"/>
                  <a:pt x="1229761" y="384217"/>
                  <a:pt x="1229761" y="383416"/>
                </a:cubicBezTo>
                <a:cubicBezTo>
                  <a:pt x="1229761" y="382616"/>
                  <a:pt x="1230409" y="381964"/>
                  <a:pt x="1231213" y="381964"/>
                </a:cubicBezTo>
                <a:close/>
                <a:moveTo>
                  <a:pt x="154672" y="381964"/>
                </a:moveTo>
                <a:cubicBezTo>
                  <a:pt x="155396" y="381964"/>
                  <a:pt x="156124" y="382688"/>
                  <a:pt x="156124" y="383416"/>
                </a:cubicBezTo>
                <a:lnTo>
                  <a:pt x="155343" y="384197"/>
                </a:lnTo>
                <a:lnTo>
                  <a:pt x="153884" y="382752"/>
                </a:lnTo>
                <a:close/>
                <a:moveTo>
                  <a:pt x="1384799" y="381236"/>
                </a:moveTo>
                <a:cubicBezTo>
                  <a:pt x="1386003" y="381236"/>
                  <a:pt x="1386979" y="382212"/>
                  <a:pt x="1386979" y="383416"/>
                </a:cubicBezTo>
                <a:cubicBezTo>
                  <a:pt x="1386979" y="384617"/>
                  <a:pt x="1386003" y="385593"/>
                  <a:pt x="1384799" y="385593"/>
                </a:cubicBezTo>
                <a:cubicBezTo>
                  <a:pt x="1383598" y="385593"/>
                  <a:pt x="1382622" y="384617"/>
                  <a:pt x="1382622" y="383416"/>
                </a:cubicBezTo>
                <a:cubicBezTo>
                  <a:pt x="1382622" y="382212"/>
                  <a:pt x="1383598" y="381236"/>
                  <a:pt x="1384799" y="381236"/>
                </a:cubicBezTo>
                <a:close/>
                <a:moveTo>
                  <a:pt x="1538746" y="380508"/>
                </a:moveTo>
                <a:cubicBezTo>
                  <a:pt x="1540561" y="380508"/>
                  <a:pt x="1542013" y="381960"/>
                  <a:pt x="1542013" y="383775"/>
                </a:cubicBezTo>
                <a:cubicBezTo>
                  <a:pt x="1542013" y="385593"/>
                  <a:pt x="1540561" y="387045"/>
                  <a:pt x="1538746" y="387045"/>
                </a:cubicBezTo>
                <a:cubicBezTo>
                  <a:pt x="1536932" y="387045"/>
                  <a:pt x="1535479" y="385593"/>
                  <a:pt x="1535479" y="383775"/>
                </a:cubicBezTo>
                <a:cubicBezTo>
                  <a:pt x="1535479" y="381960"/>
                  <a:pt x="1536932" y="380508"/>
                  <a:pt x="1538746" y="380508"/>
                </a:cubicBezTo>
                <a:close/>
                <a:moveTo>
                  <a:pt x="1692331" y="379055"/>
                </a:moveTo>
                <a:cubicBezTo>
                  <a:pt x="1694874" y="379055"/>
                  <a:pt x="1696688" y="380870"/>
                  <a:pt x="1696688" y="383412"/>
                </a:cubicBezTo>
                <a:cubicBezTo>
                  <a:pt x="1696688" y="385955"/>
                  <a:pt x="1694508" y="387770"/>
                  <a:pt x="1692331" y="387770"/>
                </a:cubicBezTo>
                <a:cubicBezTo>
                  <a:pt x="1689789" y="387770"/>
                  <a:pt x="1687974" y="385955"/>
                  <a:pt x="1687974" y="383412"/>
                </a:cubicBezTo>
                <a:cubicBezTo>
                  <a:pt x="1687974" y="380870"/>
                  <a:pt x="1689789" y="379055"/>
                  <a:pt x="1692331" y="379055"/>
                </a:cubicBezTo>
                <a:close/>
                <a:moveTo>
                  <a:pt x="1846279" y="377607"/>
                </a:moveTo>
                <a:cubicBezTo>
                  <a:pt x="1849488" y="377607"/>
                  <a:pt x="1852088" y="380207"/>
                  <a:pt x="1852088" y="383416"/>
                </a:cubicBezTo>
                <a:cubicBezTo>
                  <a:pt x="1852088" y="386626"/>
                  <a:pt x="1849488" y="389226"/>
                  <a:pt x="1846279" y="389226"/>
                </a:cubicBezTo>
                <a:cubicBezTo>
                  <a:pt x="1843069" y="389226"/>
                  <a:pt x="1840469" y="386626"/>
                  <a:pt x="1840469" y="383416"/>
                </a:cubicBezTo>
                <a:cubicBezTo>
                  <a:pt x="1840469" y="380207"/>
                  <a:pt x="1843069" y="377607"/>
                  <a:pt x="1846279" y="377607"/>
                </a:cubicBezTo>
                <a:close/>
                <a:moveTo>
                  <a:pt x="1999864" y="376151"/>
                </a:moveTo>
                <a:cubicBezTo>
                  <a:pt x="2003859" y="376151"/>
                  <a:pt x="2007126" y="379418"/>
                  <a:pt x="2007126" y="383412"/>
                </a:cubicBezTo>
                <a:cubicBezTo>
                  <a:pt x="2007126" y="387407"/>
                  <a:pt x="2003859" y="390674"/>
                  <a:pt x="1999864" y="390674"/>
                </a:cubicBezTo>
                <a:cubicBezTo>
                  <a:pt x="1995869" y="390674"/>
                  <a:pt x="1992602" y="387407"/>
                  <a:pt x="1992602" y="383412"/>
                </a:cubicBezTo>
                <a:cubicBezTo>
                  <a:pt x="1992602" y="379418"/>
                  <a:pt x="1995869" y="376151"/>
                  <a:pt x="1999864" y="376151"/>
                </a:cubicBezTo>
                <a:close/>
                <a:moveTo>
                  <a:pt x="2153808" y="374336"/>
                </a:moveTo>
                <a:cubicBezTo>
                  <a:pt x="2158893" y="374336"/>
                  <a:pt x="2162888" y="378331"/>
                  <a:pt x="2162888" y="383412"/>
                </a:cubicBezTo>
                <a:cubicBezTo>
                  <a:pt x="2162888" y="388498"/>
                  <a:pt x="2158893" y="392492"/>
                  <a:pt x="2153808" y="392492"/>
                </a:cubicBezTo>
                <a:cubicBezTo>
                  <a:pt x="2148726" y="392492"/>
                  <a:pt x="2144731" y="388498"/>
                  <a:pt x="2144731" y="383412"/>
                </a:cubicBezTo>
                <a:cubicBezTo>
                  <a:pt x="2144731" y="378331"/>
                  <a:pt x="2148726" y="374336"/>
                  <a:pt x="2153808" y="374336"/>
                </a:cubicBezTo>
                <a:close/>
                <a:moveTo>
                  <a:pt x="2307393" y="373246"/>
                </a:moveTo>
                <a:cubicBezTo>
                  <a:pt x="2312840" y="373246"/>
                  <a:pt x="2317559" y="377965"/>
                  <a:pt x="2317559" y="383412"/>
                </a:cubicBezTo>
                <a:cubicBezTo>
                  <a:pt x="2317559" y="388860"/>
                  <a:pt x="2313202" y="393579"/>
                  <a:pt x="2307393" y="393579"/>
                </a:cubicBezTo>
                <a:cubicBezTo>
                  <a:pt x="2301946" y="393579"/>
                  <a:pt x="2297226" y="388860"/>
                  <a:pt x="2297226" y="383412"/>
                </a:cubicBezTo>
                <a:cubicBezTo>
                  <a:pt x="2297226" y="377965"/>
                  <a:pt x="2301946" y="373246"/>
                  <a:pt x="2307393" y="373246"/>
                </a:cubicBezTo>
                <a:close/>
                <a:moveTo>
                  <a:pt x="2461340" y="371432"/>
                </a:moveTo>
                <a:cubicBezTo>
                  <a:pt x="2467878" y="371432"/>
                  <a:pt x="2473325" y="376879"/>
                  <a:pt x="2473325" y="383412"/>
                </a:cubicBezTo>
                <a:cubicBezTo>
                  <a:pt x="2473325" y="389950"/>
                  <a:pt x="2467878" y="395397"/>
                  <a:pt x="2461340" y="395397"/>
                </a:cubicBezTo>
                <a:cubicBezTo>
                  <a:pt x="2454807" y="395397"/>
                  <a:pt x="2449359" y="389950"/>
                  <a:pt x="2449359" y="383412"/>
                </a:cubicBezTo>
                <a:cubicBezTo>
                  <a:pt x="2449359" y="376879"/>
                  <a:pt x="2454807" y="371432"/>
                  <a:pt x="2461340" y="371432"/>
                </a:cubicBezTo>
                <a:close/>
                <a:moveTo>
                  <a:pt x="2614925" y="369617"/>
                </a:moveTo>
                <a:cubicBezTo>
                  <a:pt x="2622549" y="369617"/>
                  <a:pt x="2628721" y="375789"/>
                  <a:pt x="2628721" y="383416"/>
                </a:cubicBezTo>
                <a:cubicBezTo>
                  <a:pt x="2628721" y="391040"/>
                  <a:pt x="2622549" y="397212"/>
                  <a:pt x="2614925" y="397212"/>
                </a:cubicBezTo>
                <a:cubicBezTo>
                  <a:pt x="2607298" y="397212"/>
                  <a:pt x="2601126" y="391040"/>
                  <a:pt x="2601126" y="383416"/>
                </a:cubicBezTo>
                <a:cubicBezTo>
                  <a:pt x="2601126" y="375789"/>
                  <a:pt x="2607298" y="369617"/>
                  <a:pt x="2614925" y="369617"/>
                </a:cubicBezTo>
                <a:close/>
                <a:moveTo>
                  <a:pt x="2768873" y="368165"/>
                </a:moveTo>
                <a:cubicBezTo>
                  <a:pt x="2777297" y="368165"/>
                  <a:pt x="2784124" y="374992"/>
                  <a:pt x="2784124" y="383416"/>
                </a:cubicBezTo>
                <a:cubicBezTo>
                  <a:pt x="2784124" y="391837"/>
                  <a:pt x="2777297" y="398664"/>
                  <a:pt x="2768873" y="398664"/>
                </a:cubicBezTo>
                <a:cubicBezTo>
                  <a:pt x="2760452" y="398664"/>
                  <a:pt x="2753625" y="391837"/>
                  <a:pt x="2753625" y="383416"/>
                </a:cubicBezTo>
                <a:cubicBezTo>
                  <a:pt x="2753625" y="374992"/>
                  <a:pt x="2760452" y="368165"/>
                  <a:pt x="2768873" y="368165"/>
                </a:cubicBezTo>
                <a:close/>
                <a:moveTo>
                  <a:pt x="2922458" y="366350"/>
                </a:moveTo>
                <a:cubicBezTo>
                  <a:pt x="2931896" y="366350"/>
                  <a:pt x="2939524" y="373974"/>
                  <a:pt x="2939524" y="383416"/>
                </a:cubicBezTo>
                <a:cubicBezTo>
                  <a:pt x="2939524" y="392854"/>
                  <a:pt x="2931896" y="400478"/>
                  <a:pt x="2922458" y="400478"/>
                </a:cubicBezTo>
                <a:cubicBezTo>
                  <a:pt x="2913016" y="400478"/>
                  <a:pt x="2905392" y="392854"/>
                  <a:pt x="2905392" y="383416"/>
                </a:cubicBezTo>
                <a:cubicBezTo>
                  <a:pt x="2905392" y="373974"/>
                  <a:pt x="2913016" y="366350"/>
                  <a:pt x="2922458" y="366350"/>
                </a:cubicBezTo>
                <a:close/>
                <a:moveTo>
                  <a:pt x="3076406" y="364170"/>
                </a:moveTo>
                <a:cubicBezTo>
                  <a:pt x="3087037" y="364170"/>
                  <a:pt x="3095652" y="372785"/>
                  <a:pt x="3095652" y="383412"/>
                </a:cubicBezTo>
                <a:cubicBezTo>
                  <a:pt x="3095652" y="394040"/>
                  <a:pt x="3087037" y="402659"/>
                  <a:pt x="3076406" y="402659"/>
                </a:cubicBezTo>
                <a:cubicBezTo>
                  <a:pt x="3065778" y="402659"/>
                  <a:pt x="3057163" y="394040"/>
                  <a:pt x="3057163" y="383412"/>
                </a:cubicBezTo>
                <a:cubicBezTo>
                  <a:pt x="3057163" y="372785"/>
                  <a:pt x="3065778" y="364170"/>
                  <a:pt x="3076406" y="364170"/>
                </a:cubicBezTo>
                <a:close/>
                <a:moveTo>
                  <a:pt x="3230353" y="361993"/>
                </a:moveTo>
                <a:cubicBezTo>
                  <a:pt x="3242181" y="361993"/>
                  <a:pt x="3251776" y="371584"/>
                  <a:pt x="3251776" y="383416"/>
                </a:cubicBezTo>
                <a:cubicBezTo>
                  <a:pt x="3251776" y="395245"/>
                  <a:pt x="3242181" y="404839"/>
                  <a:pt x="3230353" y="404839"/>
                </a:cubicBezTo>
                <a:cubicBezTo>
                  <a:pt x="3218521" y="404839"/>
                  <a:pt x="3208930" y="395245"/>
                  <a:pt x="3208930" y="383416"/>
                </a:cubicBezTo>
                <a:cubicBezTo>
                  <a:pt x="3208930" y="371584"/>
                  <a:pt x="3218521" y="361993"/>
                  <a:pt x="3230353" y="361993"/>
                </a:cubicBezTo>
                <a:close/>
                <a:moveTo>
                  <a:pt x="3383938" y="360541"/>
                </a:moveTo>
                <a:cubicBezTo>
                  <a:pt x="3396571" y="360541"/>
                  <a:pt x="3406810" y="370784"/>
                  <a:pt x="3406810" y="383416"/>
                </a:cubicBezTo>
                <a:cubicBezTo>
                  <a:pt x="3406810" y="396049"/>
                  <a:pt x="3396571" y="406292"/>
                  <a:pt x="3383938" y="406292"/>
                </a:cubicBezTo>
                <a:cubicBezTo>
                  <a:pt x="3371306" y="406292"/>
                  <a:pt x="3361063" y="396049"/>
                  <a:pt x="3361063" y="383416"/>
                </a:cubicBezTo>
                <a:cubicBezTo>
                  <a:pt x="3361063" y="370784"/>
                  <a:pt x="3371306" y="360541"/>
                  <a:pt x="3383938" y="360541"/>
                </a:cubicBezTo>
                <a:close/>
                <a:moveTo>
                  <a:pt x="3537882" y="358361"/>
                </a:moveTo>
                <a:cubicBezTo>
                  <a:pt x="3551719" y="358361"/>
                  <a:pt x="3562937" y="369579"/>
                  <a:pt x="3562937" y="383412"/>
                </a:cubicBezTo>
                <a:cubicBezTo>
                  <a:pt x="3562937" y="397250"/>
                  <a:pt x="3551719" y="408468"/>
                  <a:pt x="3537882" y="408468"/>
                </a:cubicBezTo>
                <a:cubicBezTo>
                  <a:pt x="3524048" y="408468"/>
                  <a:pt x="3512830" y="397250"/>
                  <a:pt x="3512830" y="383412"/>
                </a:cubicBezTo>
                <a:cubicBezTo>
                  <a:pt x="3512830" y="369575"/>
                  <a:pt x="3524048" y="358361"/>
                  <a:pt x="3537882" y="358361"/>
                </a:cubicBezTo>
                <a:close/>
                <a:moveTo>
                  <a:pt x="3691471" y="356184"/>
                </a:moveTo>
                <a:cubicBezTo>
                  <a:pt x="3706509" y="356184"/>
                  <a:pt x="3718699" y="368374"/>
                  <a:pt x="3718699" y="383416"/>
                </a:cubicBezTo>
                <a:cubicBezTo>
                  <a:pt x="3718699" y="398454"/>
                  <a:pt x="3706509" y="410648"/>
                  <a:pt x="3691471" y="410648"/>
                </a:cubicBezTo>
                <a:cubicBezTo>
                  <a:pt x="3676429" y="410648"/>
                  <a:pt x="3664238" y="398454"/>
                  <a:pt x="3664238" y="383416"/>
                </a:cubicBezTo>
                <a:cubicBezTo>
                  <a:pt x="3664238" y="368374"/>
                  <a:pt x="3676429" y="356184"/>
                  <a:pt x="3691471" y="356184"/>
                </a:cubicBezTo>
                <a:close/>
                <a:moveTo>
                  <a:pt x="3845418" y="353642"/>
                </a:moveTo>
                <a:cubicBezTo>
                  <a:pt x="3861859" y="353642"/>
                  <a:pt x="3875189" y="366972"/>
                  <a:pt x="3875189" y="383416"/>
                </a:cubicBezTo>
                <a:cubicBezTo>
                  <a:pt x="3875189" y="399857"/>
                  <a:pt x="3861859" y="413187"/>
                  <a:pt x="3845418" y="413187"/>
                </a:cubicBezTo>
                <a:cubicBezTo>
                  <a:pt x="3828974" y="413187"/>
                  <a:pt x="3815644" y="399857"/>
                  <a:pt x="3815644" y="383416"/>
                </a:cubicBezTo>
                <a:cubicBezTo>
                  <a:pt x="3815644" y="366972"/>
                  <a:pt x="3828974" y="353642"/>
                  <a:pt x="3845418" y="353642"/>
                </a:cubicBezTo>
                <a:close/>
                <a:moveTo>
                  <a:pt x="3999000" y="351465"/>
                </a:moveTo>
                <a:cubicBezTo>
                  <a:pt x="4016645" y="351465"/>
                  <a:pt x="4030951" y="365771"/>
                  <a:pt x="4030951" y="383416"/>
                </a:cubicBezTo>
                <a:cubicBezTo>
                  <a:pt x="4030951" y="401062"/>
                  <a:pt x="4016645" y="415368"/>
                  <a:pt x="3999000" y="415368"/>
                </a:cubicBezTo>
                <a:cubicBezTo>
                  <a:pt x="3981354" y="415368"/>
                  <a:pt x="3967048" y="401062"/>
                  <a:pt x="3967048" y="383416"/>
                </a:cubicBezTo>
                <a:cubicBezTo>
                  <a:pt x="3967048" y="365771"/>
                  <a:pt x="3981354" y="351465"/>
                  <a:pt x="3999000" y="351465"/>
                </a:cubicBezTo>
                <a:close/>
                <a:moveTo>
                  <a:pt x="4152947" y="349647"/>
                </a:moveTo>
                <a:cubicBezTo>
                  <a:pt x="4171595" y="349647"/>
                  <a:pt x="4186716" y="364765"/>
                  <a:pt x="4186716" y="383412"/>
                </a:cubicBezTo>
                <a:cubicBezTo>
                  <a:pt x="4186716" y="402064"/>
                  <a:pt x="4171595" y="417182"/>
                  <a:pt x="4152947" y="417182"/>
                </a:cubicBezTo>
                <a:cubicBezTo>
                  <a:pt x="4134299" y="417182"/>
                  <a:pt x="4119181" y="402064"/>
                  <a:pt x="4119181" y="383412"/>
                </a:cubicBezTo>
                <a:cubicBezTo>
                  <a:pt x="4119181" y="364765"/>
                  <a:pt x="4134299" y="349647"/>
                  <a:pt x="4152947" y="349647"/>
                </a:cubicBezTo>
                <a:close/>
                <a:moveTo>
                  <a:pt x="4306532" y="347108"/>
                </a:moveTo>
                <a:cubicBezTo>
                  <a:pt x="4326503" y="347108"/>
                  <a:pt x="4342840" y="363446"/>
                  <a:pt x="4342840" y="383416"/>
                </a:cubicBezTo>
                <a:cubicBezTo>
                  <a:pt x="4342840" y="403387"/>
                  <a:pt x="4326503" y="419725"/>
                  <a:pt x="4306532" y="419725"/>
                </a:cubicBezTo>
                <a:cubicBezTo>
                  <a:pt x="4286562" y="419725"/>
                  <a:pt x="4270224" y="403387"/>
                  <a:pt x="4270224" y="383416"/>
                </a:cubicBezTo>
                <a:cubicBezTo>
                  <a:pt x="4270224" y="363446"/>
                  <a:pt x="4286562" y="347108"/>
                  <a:pt x="4306532" y="347108"/>
                </a:cubicBezTo>
                <a:close/>
                <a:moveTo>
                  <a:pt x="4460480" y="344565"/>
                </a:moveTo>
                <a:cubicBezTo>
                  <a:pt x="4481902" y="344565"/>
                  <a:pt x="4499326" y="361993"/>
                  <a:pt x="4499326" y="383416"/>
                </a:cubicBezTo>
                <a:cubicBezTo>
                  <a:pt x="4499326" y="404835"/>
                  <a:pt x="4481902" y="422267"/>
                  <a:pt x="4460480" y="422267"/>
                </a:cubicBezTo>
                <a:cubicBezTo>
                  <a:pt x="4439057" y="422267"/>
                  <a:pt x="4421629" y="404835"/>
                  <a:pt x="4421629" y="383416"/>
                </a:cubicBezTo>
                <a:cubicBezTo>
                  <a:pt x="4421629" y="361993"/>
                  <a:pt x="4439057" y="344565"/>
                  <a:pt x="4460480" y="344565"/>
                </a:cubicBezTo>
                <a:close/>
                <a:moveTo>
                  <a:pt x="4614061" y="342385"/>
                </a:moveTo>
                <a:cubicBezTo>
                  <a:pt x="4636936" y="342385"/>
                  <a:pt x="4655092" y="360541"/>
                  <a:pt x="4655092" y="383412"/>
                </a:cubicBezTo>
                <a:cubicBezTo>
                  <a:pt x="4655092" y="406288"/>
                  <a:pt x="4636574" y="424440"/>
                  <a:pt x="4614061" y="424440"/>
                </a:cubicBezTo>
                <a:cubicBezTo>
                  <a:pt x="4591190" y="424440"/>
                  <a:pt x="4573034" y="406288"/>
                  <a:pt x="4573034" y="383412"/>
                </a:cubicBezTo>
                <a:cubicBezTo>
                  <a:pt x="4573034" y="360541"/>
                  <a:pt x="4591190" y="342385"/>
                  <a:pt x="4614061" y="342385"/>
                </a:cubicBezTo>
                <a:close/>
                <a:moveTo>
                  <a:pt x="4768008" y="339842"/>
                </a:moveTo>
                <a:cubicBezTo>
                  <a:pt x="4791974" y="339842"/>
                  <a:pt x="4811578" y="359447"/>
                  <a:pt x="4811578" y="383412"/>
                </a:cubicBezTo>
                <a:cubicBezTo>
                  <a:pt x="4811578" y="407378"/>
                  <a:pt x="4791974" y="426982"/>
                  <a:pt x="4768008" y="426982"/>
                </a:cubicBezTo>
                <a:cubicBezTo>
                  <a:pt x="4744047" y="426982"/>
                  <a:pt x="4724438" y="407378"/>
                  <a:pt x="4724438" y="383412"/>
                </a:cubicBezTo>
                <a:cubicBezTo>
                  <a:pt x="4724438" y="359447"/>
                  <a:pt x="4744047" y="339842"/>
                  <a:pt x="4768008" y="339842"/>
                </a:cubicBezTo>
                <a:close/>
                <a:moveTo>
                  <a:pt x="4921598" y="337304"/>
                </a:moveTo>
                <a:cubicBezTo>
                  <a:pt x="4947012" y="337304"/>
                  <a:pt x="4967710" y="357998"/>
                  <a:pt x="4967710" y="383416"/>
                </a:cubicBezTo>
                <a:cubicBezTo>
                  <a:pt x="4967710" y="408830"/>
                  <a:pt x="4947012" y="429529"/>
                  <a:pt x="4921598" y="429529"/>
                </a:cubicBezTo>
                <a:cubicBezTo>
                  <a:pt x="4896180" y="429529"/>
                  <a:pt x="4875485" y="408830"/>
                  <a:pt x="4875485" y="383416"/>
                </a:cubicBezTo>
                <a:cubicBezTo>
                  <a:pt x="4875485" y="357998"/>
                  <a:pt x="4896180" y="337304"/>
                  <a:pt x="4921598" y="337304"/>
                </a:cubicBezTo>
                <a:close/>
                <a:moveTo>
                  <a:pt x="5075545" y="334761"/>
                </a:moveTo>
                <a:cubicBezTo>
                  <a:pt x="5102412" y="334761"/>
                  <a:pt x="5124196" y="356546"/>
                  <a:pt x="5124196" y="383416"/>
                </a:cubicBezTo>
                <a:cubicBezTo>
                  <a:pt x="5124196" y="410283"/>
                  <a:pt x="5102412" y="432068"/>
                  <a:pt x="5075545" y="432068"/>
                </a:cubicBezTo>
                <a:cubicBezTo>
                  <a:pt x="5048675" y="432068"/>
                  <a:pt x="5026890" y="410283"/>
                  <a:pt x="5026890" y="383416"/>
                </a:cubicBezTo>
                <a:cubicBezTo>
                  <a:pt x="5026890" y="356546"/>
                  <a:pt x="5048675" y="334761"/>
                  <a:pt x="5075545" y="334761"/>
                </a:cubicBezTo>
                <a:close/>
                <a:moveTo>
                  <a:pt x="5229126" y="332219"/>
                </a:moveTo>
                <a:cubicBezTo>
                  <a:pt x="5257449" y="332219"/>
                  <a:pt x="5280324" y="355094"/>
                  <a:pt x="5280324" y="383412"/>
                </a:cubicBezTo>
                <a:cubicBezTo>
                  <a:pt x="5280324" y="411735"/>
                  <a:pt x="5257449" y="434610"/>
                  <a:pt x="5229126" y="434610"/>
                </a:cubicBezTo>
                <a:cubicBezTo>
                  <a:pt x="5200808" y="434610"/>
                  <a:pt x="5177932" y="411735"/>
                  <a:pt x="5177932" y="383412"/>
                </a:cubicBezTo>
                <a:cubicBezTo>
                  <a:pt x="5177932" y="355094"/>
                  <a:pt x="5200808" y="332219"/>
                  <a:pt x="5229126" y="332219"/>
                </a:cubicBezTo>
                <a:close/>
                <a:moveTo>
                  <a:pt x="5383074" y="330042"/>
                </a:moveTo>
                <a:cubicBezTo>
                  <a:pt x="5412482" y="330042"/>
                  <a:pt x="5436448" y="354004"/>
                  <a:pt x="5436448" y="383416"/>
                </a:cubicBezTo>
                <a:cubicBezTo>
                  <a:pt x="5436448" y="412825"/>
                  <a:pt x="5412482" y="436787"/>
                  <a:pt x="5383074" y="436787"/>
                </a:cubicBezTo>
                <a:cubicBezTo>
                  <a:pt x="5353661" y="436787"/>
                  <a:pt x="5329700" y="412825"/>
                  <a:pt x="5329700" y="383416"/>
                </a:cubicBezTo>
                <a:cubicBezTo>
                  <a:pt x="5329700" y="354004"/>
                  <a:pt x="5353661" y="330042"/>
                  <a:pt x="5383074" y="330042"/>
                </a:cubicBezTo>
                <a:close/>
                <a:moveTo>
                  <a:pt x="5536659" y="327137"/>
                </a:moveTo>
                <a:cubicBezTo>
                  <a:pt x="5567886" y="327137"/>
                  <a:pt x="5592938" y="352189"/>
                  <a:pt x="5592938" y="383416"/>
                </a:cubicBezTo>
                <a:cubicBezTo>
                  <a:pt x="5592938" y="414640"/>
                  <a:pt x="5567886" y="439691"/>
                  <a:pt x="5536659" y="439691"/>
                </a:cubicBezTo>
                <a:cubicBezTo>
                  <a:pt x="5505432" y="439691"/>
                  <a:pt x="5480380" y="414640"/>
                  <a:pt x="5480380" y="383416"/>
                </a:cubicBezTo>
                <a:cubicBezTo>
                  <a:pt x="5480380" y="352189"/>
                  <a:pt x="5505432" y="327137"/>
                  <a:pt x="5536659" y="327137"/>
                </a:cubicBezTo>
                <a:close/>
                <a:moveTo>
                  <a:pt x="5690606" y="324595"/>
                </a:moveTo>
                <a:cubicBezTo>
                  <a:pt x="5723092" y="324595"/>
                  <a:pt x="5749424" y="350927"/>
                  <a:pt x="5749424" y="383416"/>
                </a:cubicBezTo>
                <a:cubicBezTo>
                  <a:pt x="5749424" y="415901"/>
                  <a:pt x="5723092" y="442234"/>
                  <a:pt x="5690606" y="442234"/>
                </a:cubicBezTo>
                <a:cubicBezTo>
                  <a:pt x="5658118" y="442234"/>
                  <a:pt x="5631785" y="415901"/>
                  <a:pt x="5631785" y="383416"/>
                </a:cubicBezTo>
                <a:cubicBezTo>
                  <a:pt x="5631785" y="350927"/>
                  <a:pt x="5658118" y="324595"/>
                  <a:pt x="5690606" y="324595"/>
                </a:cubicBezTo>
                <a:close/>
                <a:moveTo>
                  <a:pt x="5844554" y="321690"/>
                </a:moveTo>
                <a:cubicBezTo>
                  <a:pt x="5878644" y="321690"/>
                  <a:pt x="5906276" y="349326"/>
                  <a:pt x="5906276" y="383416"/>
                </a:cubicBezTo>
                <a:cubicBezTo>
                  <a:pt x="5906276" y="417502"/>
                  <a:pt x="5878644" y="445139"/>
                  <a:pt x="5844554" y="445139"/>
                </a:cubicBezTo>
                <a:cubicBezTo>
                  <a:pt x="5810460" y="445139"/>
                  <a:pt x="5782828" y="417502"/>
                  <a:pt x="5782828" y="383416"/>
                </a:cubicBezTo>
                <a:cubicBezTo>
                  <a:pt x="5782828" y="349326"/>
                  <a:pt x="5810460" y="321690"/>
                  <a:pt x="5844554" y="321690"/>
                </a:cubicBezTo>
                <a:close/>
                <a:moveTo>
                  <a:pt x="5998136" y="319148"/>
                </a:moveTo>
                <a:cubicBezTo>
                  <a:pt x="6033628" y="319148"/>
                  <a:pt x="6062404" y="347920"/>
                  <a:pt x="6062404" y="383412"/>
                </a:cubicBezTo>
                <a:cubicBezTo>
                  <a:pt x="6062404" y="418905"/>
                  <a:pt x="6033628" y="447681"/>
                  <a:pt x="5998136" y="447681"/>
                </a:cubicBezTo>
                <a:cubicBezTo>
                  <a:pt x="5962643" y="447681"/>
                  <a:pt x="5933870" y="418905"/>
                  <a:pt x="5933870" y="383412"/>
                </a:cubicBezTo>
                <a:cubicBezTo>
                  <a:pt x="5933870" y="347920"/>
                  <a:pt x="5962643" y="319148"/>
                  <a:pt x="5998136" y="319148"/>
                </a:cubicBezTo>
                <a:close/>
                <a:moveTo>
                  <a:pt x="6152086" y="315881"/>
                </a:moveTo>
                <a:cubicBezTo>
                  <a:pt x="6189382" y="315881"/>
                  <a:pt x="6219618" y="346117"/>
                  <a:pt x="6219618" y="383416"/>
                </a:cubicBezTo>
                <a:cubicBezTo>
                  <a:pt x="6219618" y="420712"/>
                  <a:pt x="6189382" y="450948"/>
                  <a:pt x="6152086" y="450948"/>
                </a:cubicBezTo>
                <a:cubicBezTo>
                  <a:pt x="6114791" y="450948"/>
                  <a:pt x="6084551" y="420712"/>
                  <a:pt x="6084551" y="383416"/>
                </a:cubicBezTo>
                <a:cubicBezTo>
                  <a:pt x="6084551" y="346117"/>
                  <a:pt x="6114791" y="315881"/>
                  <a:pt x="6152086" y="315881"/>
                </a:cubicBezTo>
                <a:close/>
                <a:moveTo>
                  <a:pt x="6305668" y="313338"/>
                </a:moveTo>
                <a:cubicBezTo>
                  <a:pt x="6344370" y="313338"/>
                  <a:pt x="6375746" y="344710"/>
                  <a:pt x="6375746" y="383412"/>
                </a:cubicBezTo>
                <a:cubicBezTo>
                  <a:pt x="6375746" y="422115"/>
                  <a:pt x="6344370" y="453490"/>
                  <a:pt x="6305668" y="453490"/>
                </a:cubicBezTo>
                <a:cubicBezTo>
                  <a:pt x="6266970" y="453490"/>
                  <a:pt x="6235594" y="422115"/>
                  <a:pt x="6235594" y="383412"/>
                </a:cubicBezTo>
                <a:cubicBezTo>
                  <a:pt x="6235594" y="344710"/>
                  <a:pt x="6266970" y="313338"/>
                  <a:pt x="6305668" y="313338"/>
                </a:cubicBezTo>
                <a:close/>
                <a:moveTo>
                  <a:pt x="6459616" y="310434"/>
                </a:moveTo>
                <a:cubicBezTo>
                  <a:pt x="6499922" y="310434"/>
                  <a:pt x="6532598" y="343109"/>
                  <a:pt x="6532598" y="383412"/>
                </a:cubicBezTo>
                <a:cubicBezTo>
                  <a:pt x="6532598" y="423719"/>
                  <a:pt x="6499922" y="456395"/>
                  <a:pt x="6459616" y="456395"/>
                </a:cubicBezTo>
                <a:cubicBezTo>
                  <a:pt x="6419312" y="456395"/>
                  <a:pt x="6386636" y="423719"/>
                  <a:pt x="6386636" y="383412"/>
                </a:cubicBezTo>
                <a:cubicBezTo>
                  <a:pt x="6386636" y="343109"/>
                  <a:pt x="6419312" y="310434"/>
                  <a:pt x="6459616" y="310434"/>
                </a:cubicBezTo>
                <a:close/>
                <a:moveTo>
                  <a:pt x="6613200" y="307891"/>
                </a:moveTo>
                <a:cubicBezTo>
                  <a:pt x="6654956" y="307891"/>
                  <a:pt x="6688722" y="341657"/>
                  <a:pt x="6688722" y="383412"/>
                </a:cubicBezTo>
                <a:cubicBezTo>
                  <a:pt x="6688722" y="425168"/>
                  <a:pt x="6654956" y="458934"/>
                  <a:pt x="6613200" y="458934"/>
                </a:cubicBezTo>
                <a:cubicBezTo>
                  <a:pt x="6571449" y="458934"/>
                  <a:pt x="6537680" y="425168"/>
                  <a:pt x="6537680" y="383412"/>
                </a:cubicBezTo>
                <a:cubicBezTo>
                  <a:pt x="6537680" y="341657"/>
                  <a:pt x="6571449" y="307891"/>
                  <a:pt x="6613200" y="307891"/>
                </a:cubicBezTo>
                <a:close/>
                <a:moveTo>
                  <a:pt x="923681" y="229469"/>
                </a:moveTo>
                <a:cubicBezTo>
                  <a:pt x="924043" y="229469"/>
                  <a:pt x="924043" y="229469"/>
                  <a:pt x="924043" y="229831"/>
                </a:cubicBezTo>
                <a:cubicBezTo>
                  <a:pt x="924043" y="230193"/>
                  <a:pt x="923681" y="230193"/>
                  <a:pt x="923681" y="230193"/>
                </a:cubicBezTo>
                <a:cubicBezTo>
                  <a:pt x="923319" y="230193"/>
                  <a:pt x="923319" y="230193"/>
                  <a:pt x="923319" y="229831"/>
                </a:cubicBezTo>
                <a:cubicBezTo>
                  <a:pt x="923319" y="229469"/>
                  <a:pt x="923319" y="229469"/>
                  <a:pt x="923681" y="229469"/>
                </a:cubicBezTo>
                <a:close/>
                <a:moveTo>
                  <a:pt x="462205" y="229469"/>
                </a:moveTo>
                <a:cubicBezTo>
                  <a:pt x="462567" y="229469"/>
                  <a:pt x="462567" y="229469"/>
                  <a:pt x="462567" y="229831"/>
                </a:cubicBezTo>
                <a:cubicBezTo>
                  <a:pt x="462567" y="230193"/>
                  <a:pt x="462205" y="230193"/>
                  <a:pt x="462205" y="230193"/>
                </a:cubicBezTo>
                <a:cubicBezTo>
                  <a:pt x="461842" y="230193"/>
                  <a:pt x="461842" y="230193"/>
                  <a:pt x="461842" y="229831"/>
                </a:cubicBezTo>
                <a:cubicBezTo>
                  <a:pt x="461842" y="229469"/>
                  <a:pt x="461842" y="229469"/>
                  <a:pt x="462205" y="229469"/>
                </a:cubicBezTo>
                <a:close/>
                <a:moveTo>
                  <a:pt x="308257" y="229469"/>
                </a:moveTo>
                <a:cubicBezTo>
                  <a:pt x="308619" y="229469"/>
                  <a:pt x="308619" y="229469"/>
                  <a:pt x="308619" y="229831"/>
                </a:cubicBezTo>
                <a:cubicBezTo>
                  <a:pt x="308619" y="230193"/>
                  <a:pt x="308257" y="230193"/>
                  <a:pt x="308257" y="230193"/>
                </a:cubicBezTo>
                <a:cubicBezTo>
                  <a:pt x="307895" y="230193"/>
                  <a:pt x="307895" y="230193"/>
                  <a:pt x="307895" y="229831"/>
                </a:cubicBezTo>
                <a:cubicBezTo>
                  <a:pt x="307895" y="229469"/>
                  <a:pt x="307895" y="229469"/>
                  <a:pt x="308257" y="229469"/>
                </a:cubicBezTo>
                <a:close/>
                <a:moveTo>
                  <a:pt x="154676" y="229103"/>
                </a:moveTo>
                <a:cubicBezTo>
                  <a:pt x="155076" y="229103"/>
                  <a:pt x="155400" y="229427"/>
                  <a:pt x="155400" y="229827"/>
                </a:cubicBezTo>
                <a:cubicBezTo>
                  <a:pt x="155400" y="230231"/>
                  <a:pt x="155076" y="230555"/>
                  <a:pt x="154676" y="230555"/>
                </a:cubicBezTo>
                <a:cubicBezTo>
                  <a:pt x="154272" y="230555"/>
                  <a:pt x="153948" y="230231"/>
                  <a:pt x="153948" y="229827"/>
                </a:cubicBezTo>
                <a:cubicBezTo>
                  <a:pt x="153948" y="229427"/>
                  <a:pt x="154272" y="229103"/>
                  <a:pt x="154676" y="229103"/>
                </a:cubicBezTo>
                <a:close/>
                <a:moveTo>
                  <a:pt x="725" y="229103"/>
                </a:moveTo>
                <a:cubicBezTo>
                  <a:pt x="1090" y="229103"/>
                  <a:pt x="1453" y="229465"/>
                  <a:pt x="1453" y="229827"/>
                </a:cubicBezTo>
                <a:cubicBezTo>
                  <a:pt x="1453" y="230193"/>
                  <a:pt x="725" y="230555"/>
                  <a:pt x="725" y="230555"/>
                </a:cubicBezTo>
                <a:cubicBezTo>
                  <a:pt x="362" y="230555"/>
                  <a:pt x="0" y="230193"/>
                  <a:pt x="0" y="229827"/>
                </a:cubicBezTo>
                <a:cubicBezTo>
                  <a:pt x="0" y="229465"/>
                  <a:pt x="362" y="229103"/>
                  <a:pt x="725" y="229103"/>
                </a:cubicBezTo>
                <a:close/>
                <a:moveTo>
                  <a:pt x="1077266" y="228379"/>
                </a:moveTo>
                <a:cubicBezTo>
                  <a:pt x="1078067" y="228379"/>
                  <a:pt x="1078718" y="229031"/>
                  <a:pt x="1078718" y="229831"/>
                </a:cubicBezTo>
                <a:cubicBezTo>
                  <a:pt x="1078718" y="230631"/>
                  <a:pt x="1078067" y="231283"/>
                  <a:pt x="1077266" y="231283"/>
                </a:cubicBezTo>
                <a:cubicBezTo>
                  <a:pt x="1076462" y="231283"/>
                  <a:pt x="1075814" y="230631"/>
                  <a:pt x="1075814" y="229831"/>
                </a:cubicBezTo>
                <a:cubicBezTo>
                  <a:pt x="1075814" y="229031"/>
                  <a:pt x="1076462" y="228379"/>
                  <a:pt x="1077266" y="228379"/>
                </a:cubicBezTo>
                <a:close/>
                <a:moveTo>
                  <a:pt x="1231217" y="227651"/>
                </a:moveTo>
                <a:cubicBezTo>
                  <a:pt x="1232418" y="227651"/>
                  <a:pt x="1233394" y="228626"/>
                  <a:pt x="1233394" y="229827"/>
                </a:cubicBezTo>
                <a:cubicBezTo>
                  <a:pt x="1233394" y="231032"/>
                  <a:pt x="1232418" y="232008"/>
                  <a:pt x="1231217" y="232008"/>
                </a:cubicBezTo>
                <a:cubicBezTo>
                  <a:pt x="1230013" y="232008"/>
                  <a:pt x="1229037" y="231032"/>
                  <a:pt x="1229037" y="229827"/>
                </a:cubicBezTo>
                <a:cubicBezTo>
                  <a:pt x="1229037" y="228626"/>
                  <a:pt x="1230013" y="227651"/>
                  <a:pt x="1231217" y="227651"/>
                </a:cubicBezTo>
                <a:close/>
                <a:moveTo>
                  <a:pt x="1384799" y="226560"/>
                </a:moveTo>
                <a:cubicBezTo>
                  <a:pt x="1386617" y="226560"/>
                  <a:pt x="1388069" y="228013"/>
                  <a:pt x="1388069" y="229827"/>
                </a:cubicBezTo>
                <a:cubicBezTo>
                  <a:pt x="1388069" y="231645"/>
                  <a:pt x="1386617" y="233098"/>
                  <a:pt x="1384799" y="233098"/>
                </a:cubicBezTo>
                <a:cubicBezTo>
                  <a:pt x="1382984" y="233098"/>
                  <a:pt x="1381532" y="231645"/>
                  <a:pt x="1381532" y="229827"/>
                </a:cubicBezTo>
                <a:cubicBezTo>
                  <a:pt x="1381532" y="228013"/>
                  <a:pt x="1382984" y="226560"/>
                  <a:pt x="1384799" y="226560"/>
                </a:cubicBezTo>
                <a:close/>
                <a:moveTo>
                  <a:pt x="1538746" y="225108"/>
                </a:moveTo>
                <a:cubicBezTo>
                  <a:pt x="1541285" y="225108"/>
                  <a:pt x="1543103" y="226923"/>
                  <a:pt x="1543103" y="229465"/>
                </a:cubicBezTo>
                <a:cubicBezTo>
                  <a:pt x="1543103" y="232008"/>
                  <a:pt x="1540923" y="233822"/>
                  <a:pt x="1538746" y="233822"/>
                </a:cubicBezTo>
                <a:cubicBezTo>
                  <a:pt x="1536204" y="233822"/>
                  <a:pt x="1534389" y="232008"/>
                  <a:pt x="1534389" y="229465"/>
                </a:cubicBezTo>
                <a:cubicBezTo>
                  <a:pt x="1534389" y="226923"/>
                  <a:pt x="1536204" y="225108"/>
                  <a:pt x="1538746" y="225108"/>
                </a:cubicBezTo>
                <a:close/>
                <a:moveTo>
                  <a:pt x="1692331" y="224022"/>
                </a:moveTo>
                <a:cubicBezTo>
                  <a:pt x="1695541" y="224022"/>
                  <a:pt x="1698141" y="226621"/>
                  <a:pt x="1698141" y="229831"/>
                </a:cubicBezTo>
                <a:cubicBezTo>
                  <a:pt x="1698141" y="233041"/>
                  <a:pt x="1695541" y="235640"/>
                  <a:pt x="1692331" y="235640"/>
                </a:cubicBezTo>
                <a:cubicBezTo>
                  <a:pt x="1689122" y="235640"/>
                  <a:pt x="1686522" y="233041"/>
                  <a:pt x="1686522" y="229831"/>
                </a:cubicBezTo>
                <a:cubicBezTo>
                  <a:pt x="1686522" y="226621"/>
                  <a:pt x="1689122" y="224022"/>
                  <a:pt x="1692331" y="224022"/>
                </a:cubicBezTo>
                <a:close/>
                <a:moveTo>
                  <a:pt x="1846279" y="222569"/>
                </a:moveTo>
                <a:cubicBezTo>
                  <a:pt x="1850274" y="222569"/>
                  <a:pt x="1853540" y="225836"/>
                  <a:pt x="1853540" y="229831"/>
                </a:cubicBezTo>
                <a:cubicBezTo>
                  <a:pt x="1853540" y="233826"/>
                  <a:pt x="1850274" y="237093"/>
                  <a:pt x="1846279" y="237093"/>
                </a:cubicBezTo>
                <a:cubicBezTo>
                  <a:pt x="1842284" y="237093"/>
                  <a:pt x="1839017" y="233826"/>
                  <a:pt x="1839017" y="229831"/>
                </a:cubicBezTo>
                <a:cubicBezTo>
                  <a:pt x="1839017" y="225836"/>
                  <a:pt x="1842284" y="222569"/>
                  <a:pt x="1846279" y="222569"/>
                </a:cubicBezTo>
                <a:close/>
                <a:moveTo>
                  <a:pt x="1999860" y="220389"/>
                </a:moveTo>
                <a:cubicBezTo>
                  <a:pt x="2004945" y="220389"/>
                  <a:pt x="2008940" y="224384"/>
                  <a:pt x="2008940" y="229465"/>
                </a:cubicBezTo>
                <a:cubicBezTo>
                  <a:pt x="2008940" y="234550"/>
                  <a:pt x="2004945" y="238545"/>
                  <a:pt x="1999860" y="238545"/>
                </a:cubicBezTo>
                <a:cubicBezTo>
                  <a:pt x="1994779" y="238545"/>
                  <a:pt x="1990784" y="234550"/>
                  <a:pt x="1990784" y="229465"/>
                </a:cubicBezTo>
                <a:cubicBezTo>
                  <a:pt x="1990784" y="224384"/>
                  <a:pt x="1994779" y="220389"/>
                  <a:pt x="1999860" y="220389"/>
                </a:cubicBezTo>
                <a:close/>
                <a:moveTo>
                  <a:pt x="2153811" y="219665"/>
                </a:moveTo>
                <a:cubicBezTo>
                  <a:pt x="2159259" y="219665"/>
                  <a:pt x="2163978" y="224384"/>
                  <a:pt x="2163978" y="229831"/>
                </a:cubicBezTo>
                <a:cubicBezTo>
                  <a:pt x="2163978" y="235278"/>
                  <a:pt x="2159621" y="239997"/>
                  <a:pt x="2153811" y="239997"/>
                </a:cubicBezTo>
                <a:cubicBezTo>
                  <a:pt x="2148364" y="239997"/>
                  <a:pt x="2143645" y="235278"/>
                  <a:pt x="2143645" y="229831"/>
                </a:cubicBezTo>
                <a:cubicBezTo>
                  <a:pt x="2143645" y="224384"/>
                  <a:pt x="2148364" y="219665"/>
                  <a:pt x="2153811" y="219665"/>
                </a:cubicBezTo>
                <a:close/>
                <a:moveTo>
                  <a:pt x="2307393" y="217484"/>
                </a:moveTo>
                <a:cubicBezTo>
                  <a:pt x="2313930" y="217484"/>
                  <a:pt x="2319377" y="222931"/>
                  <a:pt x="2319377" y="229465"/>
                </a:cubicBezTo>
                <a:cubicBezTo>
                  <a:pt x="2319377" y="236002"/>
                  <a:pt x="2313930" y="241450"/>
                  <a:pt x="2307393" y="241450"/>
                </a:cubicBezTo>
                <a:cubicBezTo>
                  <a:pt x="2300859" y="241450"/>
                  <a:pt x="2295412" y="236002"/>
                  <a:pt x="2295412" y="229465"/>
                </a:cubicBezTo>
                <a:cubicBezTo>
                  <a:pt x="2295412" y="222931"/>
                  <a:pt x="2300859" y="217484"/>
                  <a:pt x="2307393" y="217484"/>
                </a:cubicBezTo>
                <a:close/>
                <a:moveTo>
                  <a:pt x="2461344" y="215670"/>
                </a:moveTo>
                <a:cubicBezTo>
                  <a:pt x="2468968" y="215670"/>
                  <a:pt x="2475139" y="221841"/>
                  <a:pt x="2475139" y="229469"/>
                </a:cubicBezTo>
                <a:cubicBezTo>
                  <a:pt x="2475139" y="237093"/>
                  <a:pt x="2468968" y="243264"/>
                  <a:pt x="2461344" y="243264"/>
                </a:cubicBezTo>
                <a:cubicBezTo>
                  <a:pt x="2453716" y="243264"/>
                  <a:pt x="2447545" y="237093"/>
                  <a:pt x="2447545" y="229469"/>
                </a:cubicBezTo>
                <a:cubicBezTo>
                  <a:pt x="2447545" y="221841"/>
                  <a:pt x="2453716" y="215670"/>
                  <a:pt x="2461344" y="215670"/>
                </a:cubicBezTo>
                <a:close/>
                <a:moveTo>
                  <a:pt x="2614925" y="214580"/>
                </a:moveTo>
                <a:cubicBezTo>
                  <a:pt x="2623350" y="214580"/>
                  <a:pt x="2630177" y="221407"/>
                  <a:pt x="2630177" y="229827"/>
                </a:cubicBezTo>
                <a:cubicBezTo>
                  <a:pt x="2630177" y="238252"/>
                  <a:pt x="2623350" y="245079"/>
                  <a:pt x="2614925" y="245079"/>
                </a:cubicBezTo>
                <a:cubicBezTo>
                  <a:pt x="2606505" y="245079"/>
                  <a:pt x="2599678" y="238252"/>
                  <a:pt x="2599678" y="229827"/>
                </a:cubicBezTo>
                <a:cubicBezTo>
                  <a:pt x="2599678" y="221407"/>
                  <a:pt x="2606505" y="214580"/>
                  <a:pt x="2614925" y="214580"/>
                </a:cubicBezTo>
                <a:close/>
                <a:moveTo>
                  <a:pt x="2768873" y="212765"/>
                </a:moveTo>
                <a:cubicBezTo>
                  <a:pt x="2778311" y="212765"/>
                  <a:pt x="2785939" y="220389"/>
                  <a:pt x="2785939" y="229831"/>
                </a:cubicBezTo>
                <a:cubicBezTo>
                  <a:pt x="2785939" y="239269"/>
                  <a:pt x="2778311" y="246897"/>
                  <a:pt x="2768873" y="246897"/>
                </a:cubicBezTo>
                <a:cubicBezTo>
                  <a:pt x="2759431" y="246897"/>
                  <a:pt x="2751807" y="239269"/>
                  <a:pt x="2751807" y="229831"/>
                </a:cubicBezTo>
                <a:cubicBezTo>
                  <a:pt x="2751807" y="220389"/>
                  <a:pt x="2759431" y="212765"/>
                  <a:pt x="2768873" y="212765"/>
                </a:cubicBezTo>
                <a:close/>
                <a:moveTo>
                  <a:pt x="2922458" y="210589"/>
                </a:moveTo>
                <a:cubicBezTo>
                  <a:pt x="2933086" y="210589"/>
                  <a:pt x="2941700" y="219203"/>
                  <a:pt x="2941700" y="229831"/>
                </a:cubicBezTo>
                <a:cubicBezTo>
                  <a:pt x="2941700" y="240459"/>
                  <a:pt x="2933086" y="249077"/>
                  <a:pt x="2922458" y="249077"/>
                </a:cubicBezTo>
                <a:cubicBezTo>
                  <a:pt x="2911830" y="249077"/>
                  <a:pt x="2903216" y="240459"/>
                  <a:pt x="2903216" y="229831"/>
                </a:cubicBezTo>
                <a:cubicBezTo>
                  <a:pt x="2903216" y="219203"/>
                  <a:pt x="2911830" y="210589"/>
                  <a:pt x="2922458" y="210589"/>
                </a:cubicBezTo>
                <a:close/>
                <a:moveTo>
                  <a:pt x="3076406" y="208408"/>
                </a:moveTo>
                <a:cubicBezTo>
                  <a:pt x="3088234" y="208408"/>
                  <a:pt x="3097828" y="217999"/>
                  <a:pt x="3097828" y="229831"/>
                </a:cubicBezTo>
                <a:cubicBezTo>
                  <a:pt x="3097828" y="241659"/>
                  <a:pt x="3088234" y="251254"/>
                  <a:pt x="3076406" y="251254"/>
                </a:cubicBezTo>
                <a:cubicBezTo>
                  <a:pt x="3064573" y="251254"/>
                  <a:pt x="3054982" y="241659"/>
                  <a:pt x="3054982" y="229831"/>
                </a:cubicBezTo>
                <a:cubicBezTo>
                  <a:pt x="3054982" y="217999"/>
                  <a:pt x="3064573" y="208408"/>
                  <a:pt x="3076406" y="208408"/>
                </a:cubicBezTo>
                <a:close/>
                <a:moveTo>
                  <a:pt x="3230353" y="206956"/>
                </a:moveTo>
                <a:cubicBezTo>
                  <a:pt x="3242986" y="206956"/>
                  <a:pt x="3253228" y="217198"/>
                  <a:pt x="3253228" y="229831"/>
                </a:cubicBezTo>
                <a:cubicBezTo>
                  <a:pt x="3253228" y="242464"/>
                  <a:pt x="3242986" y="252706"/>
                  <a:pt x="3230353" y="252706"/>
                </a:cubicBezTo>
                <a:cubicBezTo>
                  <a:pt x="3217720" y="252706"/>
                  <a:pt x="3207478" y="242464"/>
                  <a:pt x="3207478" y="229831"/>
                </a:cubicBezTo>
                <a:cubicBezTo>
                  <a:pt x="3207478" y="217198"/>
                  <a:pt x="3217720" y="206956"/>
                  <a:pt x="3230353" y="206956"/>
                </a:cubicBezTo>
                <a:close/>
                <a:moveTo>
                  <a:pt x="3383934" y="204779"/>
                </a:moveTo>
                <a:cubicBezTo>
                  <a:pt x="3397772" y="204779"/>
                  <a:pt x="3408986" y="215994"/>
                  <a:pt x="3408986" y="229831"/>
                </a:cubicBezTo>
                <a:cubicBezTo>
                  <a:pt x="3408986" y="243668"/>
                  <a:pt x="3397772" y="254887"/>
                  <a:pt x="3383934" y="254887"/>
                </a:cubicBezTo>
                <a:cubicBezTo>
                  <a:pt x="3370097" y="254887"/>
                  <a:pt x="3358882" y="243668"/>
                  <a:pt x="3358882" y="229831"/>
                </a:cubicBezTo>
                <a:cubicBezTo>
                  <a:pt x="3358882" y="215994"/>
                  <a:pt x="3370097" y="204779"/>
                  <a:pt x="3383934" y="204779"/>
                </a:cubicBezTo>
                <a:close/>
                <a:moveTo>
                  <a:pt x="3537886" y="202599"/>
                </a:moveTo>
                <a:cubicBezTo>
                  <a:pt x="3552924" y="202599"/>
                  <a:pt x="3565118" y="214789"/>
                  <a:pt x="3565118" y="229831"/>
                </a:cubicBezTo>
                <a:cubicBezTo>
                  <a:pt x="3565118" y="244869"/>
                  <a:pt x="3552924" y="257059"/>
                  <a:pt x="3537886" y="257059"/>
                </a:cubicBezTo>
                <a:cubicBezTo>
                  <a:pt x="3522844" y="257059"/>
                  <a:pt x="3510653" y="244869"/>
                  <a:pt x="3510653" y="229831"/>
                </a:cubicBezTo>
                <a:cubicBezTo>
                  <a:pt x="3510653" y="214789"/>
                  <a:pt x="3522844" y="202599"/>
                  <a:pt x="3537886" y="202599"/>
                </a:cubicBezTo>
                <a:close/>
                <a:moveTo>
                  <a:pt x="3691467" y="200056"/>
                </a:moveTo>
                <a:cubicBezTo>
                  <a:pt x="3707912" y="200056"/>
                  <a:pt x="3721242" y="213386"/>
                  <a:pt x="3721242" y="229827"/>
                </a:cubicBezTo>
                <a:cubicBezTo>
                  <a:pt x="3721242" y="246272"/>
                  <a:pt x="3707912" y="259602"/>
                  <a:pt x="3691467" y="259602"/>
                </a:cubicBezTo>
                <a:cubicBezTo>
                  <a:pt x="3675026" y="259602"/>
                  <a:pt x="3661696" y="246272"/>
                  <a:pt x="3661696" y="229827"/>
                </a:cubicBezTo>
                <a:cubicBezTo>
                  <a:pt x="3661696" y="213386"/>
                  <a:pt x="3675026" y="200056"/>
                  <a:pt x="3691467" y="200056"/>
                </a:cubicBezTo>
                <a:close/>
                <a:moveTo>
                  <a:pt x="3845414" y="197880"/>
                </a:moveTo>
                <a:cubicBezTo>
                  <a:pt x="3863060" y="197880"/>
                  <a:pt x="3877366" y="212186"/>
                  <a:pt x="3877366" y="229831"/>
                </a:cubicBezTo>
                <a:cubicBezTo>
                  <a:pt x="3877366" y="247476"/>
                  <a:pt x="3863060" y="261782"/>
                  <a:pt x="3845414" y="261782"/>
                </a:cubicBezTo>
                <a:cubicBezTo>
                  <a:pt x="3827769" y="261782"/>
                  <a:pt x="3813463" y="247476"/>
                  <a:pt x="3813463" y="229831"/>
                </a:cubicBezTo>
                <a:cubicBezTo>
                  <a:pt x="3813463" y="212186"/>
                  <a:pt x="3827769" y="197880"/>
                  <a:pt x="3845414" y="197880"/>
                </a:cubicBezTo>
                <a:close/>
                <a:moveTo>
                  <a:pt x="3999000" y="196065"/>
                </a:moveTo>
                <a:cubicBezTo>
                  <a:pt x="4017651" y="196065"/>
                  <a:pt x="4032769" y="211183"/>
                  <a:pt x="4032769" y="229831"/>
                </a:cubicBezTo>
                <a:cubicBezTo>
                  <a:pt x="4032769" y="248483"/>
                  <a:pt x="4017651" y="263597"/>
                  <a:pt x="3999000" y="263597"/>
                </a:cubicBezTo>
                <a:cubicBezTo>
                  <a:pt x="3980352" y="263597"/>
                  <a:pt x="3965234" y="248483"/>
                  <a:pt x="3965234" y="229831"/>
                </a:cubicBezTo>
                <a:cubicBezTo>
                  <a:pt x="3965234" y="211183"/>
                  <a:pt x="3980352" y="196065"/>
                  <a:pt x="3999000" y="196065"/>
                </a:cubicBezTo>
                <a:close/>
                <a:moveTo>
                  <a:pt x="4152947" y="193523"/>
                </a:moveTo>
                <a:cubicBezTo>
                  <a:pt x="4173002" y="193523"/>
                  <a:pt x="4189256" y="209777"/>
                  <a:pt x="4189256" y="229831"/>
                </a:cubicBezTo>
                <a:cubicBezTo>
                  <a:pt x="4189256" y="249885"/>
                  <a:pt x="4173002" y="266139"/>
                  <a:pt x="4152947" y="266139"/>
                </a:cubicBezTo>
                <a:cubicBezTo>
                  <a:pt x="4132896" y="266139"/>
                  <a:pt x="4116638" y="249885"/>
                  <a:pt x="4116638" y="229831"/>
                </a:cubicBezTo>
                <a:cubicBezTo>
                  <a:pt x="4116638" y="209777"/>
                  <a:pt x="4132896" y="193523"/>
                  <a:pt x="4152947" y="193523"/>
                </a:cubicBezTo>
                <a:close/>
                <a:moveTo>
                  <a:pt x="4306532" y="190618"/>
                </a:moveTo>
                <a:cubicBezTo>
                  <a:pt x="4327952" y="190618"/>
                  <a:pt x="4345380" y="208046"/>
                  <a:pt x="4345380" y="229469"/>
                </a:cubicBezTo>
                <a:cubicBezTo>
                  <a:pt x="4345380" y="250888"/>
                  <a:pt x="4327952" y="268316"/>
                  <a:pt x="4306532" y="268316"/>
                </a:cubicBezTo>
                <a:cubicBezTo>
                  <a:pt x="4285110" y="268316"/>
                  <a:pt x="4267682" y="250888"/>
                  <a:pt x="4267682" y="229469"/>
                </a:cubicBezTo>
                <a:cubicBezTo>
                  <a:pt x="4267682" y="208046"/>
                  <a:pt x="4285110" y="190618"/>
                  <a:pt x="4306532" y="190618"/>
                </a:cubicBezTo>
                <a:close/>
                <a:moveTo>
                  <a:pt x="4460480" y="188438"/>
                </a:moveTo>
                <a:cubicBezTo>
                  <a:pt x="4483355" y="188438"/>
                  <a:pt x="4501511" y="206594"/>
                  <a:pt x="4501511" y="229465"/>
                </a:cubicBezTo>
                <a:cubicBezTo>
                  <a:pt x="4501511" y="252340"/>
                  <a:pt x="4482993" y="270493"/>
                  <a:pt x="4460480" y="270493"/>
                </a:cubicBezTo>
                <a:cubicBezTo>
                  <a:pt x="4437608" y="270493"/>
                  <a:pt x="4419452" y="252340"/>
                  <a:pt x="4419452" y="229465"/>
                </a:cubicBezTo>
                <a:cubicBezTo>
                  <a:pt x="4419452" y="206594"/>
                  <a:pt x="4437608" y="188438"/>
                  <a:pt x="4460480" y="188438"/>
                </a:cubicBezTo>
                <a:close/>
                <a:moveTo>
                  <a:pt x="4614065" y="185895"/>
                </a:moveTo>
                <a:cubicBezTo>
                  <a:pt x="4638026" y="185895"/>
                  <a:pt x="4657635" y="205500"/>
                  <a:pt x="4657635" y="229465"/>
                </a:cubicBezTo>
                <a:cubicBezTo>
                  <a:pt x="4657635" y="253430"/>
                  <a:pt x="4638026" y="273035"/>
                  <a:pt x="4614065" y="273035"/>
                </a:cubicBezTo>
                <a:cubicBezTo>
                  <a:pt x="4590100" y="273035"/>
                  <a:pt x="4570495" y="253430"/>
                  <a:pt x="4570495" y="229465"/>
                </a:cubicBezTo>
                <a:cubicBezTo>
                  <a:pt x="4570495" y="205500"/>
                  <a:pt x="4590100" y="185895"/>
                  <a:pt x="4614065" y="185895"/>
                </a:cubicBezTo>
                <a:close/>
                <a:moveTo>
                  <a:pt x="4768012" y="183356"/>
                </a:moveTo>
                <a:cubicBezTo>
                  <a:pt x="4793426" y="183356"/>
                  <a:pt x="4814125" y="204051"/>
                  <a:pt x="4814125" y="229469"/>
                </a:cubicBezTo>
                <a:cubicBezTo>
                  <a:pt x="4814125" y="254883"/>
                  <a:pt x="4793426" y="275581"/>
                  <a:pt x="4768012" y="275581"/>
                </a:cubicBezTo>
                <a:cubicBezTo>
                  <a:pt x="4742594" y="275581"/>
                  <a:pt x="4721900" y="254883"/>
                  <a:pt x="4721900" y="229469"/>
                </a:cubicBezTo>
                <a:cubicBezTo>
                  <a:pt x="4721900" y="204051"/>
                  <a:pt x="4742594" y="183356"/>
                  <a:pt x="4768012" y="183356"/>
                </a:cubicBezTo>
                <a:close/>
                <a:moveTo>
                  <a:pt x="4921594" y="180814"/>
                </a:moveTo>
                <a:cubicBezTo>
                  <a:pt x="4948464" y="180814"/>
                  <a:pt x="4970249" y="202599"/>
                  <a:pt x="4970249" y="229469"/>
                </a:cubicBezTo>
                <a:cubicBezTo>
                  <a:pt x="4970249" y="256335"/>
                  <a:pt x="4948464" y="278120"/>
                  <a:pt x="4921594" y="278120"/>
                </a:cubicBezTo>
                <a:cubicBezTo>
                  <a:pt x="4894728" y="278120"/>
                  <a:pt x="4872942" y="256335"/>
                  <a:pt x="4872942" y="229469"/>
                </a:cubicBezTo>
                <a:cubicBezTo>
                  <a:pt x="4872942" y="202599"/>
                  <a:pt x="4894728" y="180814"/>
                  <a:pt x="4921594" y="180814"/>
                </a:cubicBezTo>
                <a:close/>
                <a:moveTo>
                  <a:pt x="5075541" y="178637"/>
                </a:moveTo>
                <a:cubicBezTo>
                  <a:pt x="5103864" y="178637"/>
                  <a:pt x="5126735" y="201512"/>
                  <a:pt x="5126735" y="229831"/>
                </a:cubicBezTo>
                <a:cubicBezTo>
                  <a:pt x="5126735" y="258153"/>
                  <a:pt x="5103864" y="281025"/>
                  <a:pt x="5075541" y="281025"/>
                </a:cubicBezTo>
                <a:cubicBezTo>
                  <a:pt x="5047222" y="281025"/>
                  <a:pt x="5024348" y="258153"/>
                  <a:pt x="5024348" y="229831"/>
                </a:cubicBezTo>
                <a:cubicBezTo>
                  <a:pt x="5024348" y="201512"/>
                  <a:pt x="5047222" y="178637"/>
                  <a:pt x="5075541" y="178637"/>
                </a:cubicBezTo>
                <a:close/>
                <a:moveTo>
                  <a:pt x="5229126" y="176095"/>
                </a:moveTo>
                <a:cubicBezTo>
                  <a:pt x="5258536" y="176095"/>
                  <a:pt x="5282500" y="200060"/>
                  <a:pt x="5282500" y="229469"/>
                </a:cubicBezTo>
                <a:cubicBezTo>
                  <a:pt x="5282500" y="258878"/>
                  <a:pt x="5258536" y="282843"/>
                  <a:pt x="5229126" y="282843"/>
                </a:cubicBezTo>
                <a:cubicBezTo>
                  <a:pt x="5199718" y="282843"/>
                  <a:pt x="5175752" y="258878"/>
                  <a:pt x="5175752" y="229469"/>
                </a:cubicBezTo>
                <a:cubicBezTo>
                  <a:pt x="5175752" y="200060"/>
                  <a:pt x="5199718" y="176095"/>
                  <a:pt x="5229126" y="176095"/>
                </a:cubicBezTo>
                <a:close/>
                <a:moveTo>
                  <a:pt x="5383074" y="173552"/>
                </a:moveTo>
                <a:cubicBezTo>
                  <a:pt x="5414297" y="173552"/>
                  <a:pt x="5439352" y="198604"/>
                  <a:pt x="5439352" y="229831"/>
                </a:cubicBezTo>
                <a:cubicBezTo>
                  <a:pt x="5439352" y="261054"/>
                  <a:pt x="5414297" y="286110"/>
                  <a:pt x="5383074" y="286110"/>
                </a:cubicBezTo>
                <a:cubicBezTo>
                  <a:pt x="5351847" y="286110"/>
                  <a:pt x="5326795" y="261054"/>
                  <a:pt x="5326795" y="229831"/>
                </a:cubicBezTo>
                <a:cubicBezTo>
                  <a:pt x="5326795" y="198604"/>
                  <a:pt x="5351847" y="173552"/>
                  <a:pt x="5383074" y="173552"/>
                </a:cubicBezTo>
                <a:close/>
                <a:moveTo>
                  <a:pt x="5536659" y="171010"/>
                </a:moveTo>
                <a:cubicBezTo>
                  <a:pt x="5569144" y="171010"/>
                  <a:pt x="5595476" y="197342"/>
                  <a:pt x="5595476" y="229827"/>
                </a:cubicBezTo>
                <a:cubicBezTo>
                  <a:pt x="5595476" y="262316"/>
                  <a:pt x="5569144" y="288649"/>
                  <a:pt x="5536659" y="288649"/>
                </a:cubicBezTo>
                <a:cubicBezTo>
                  <a:pt x="5504174" y="288649"/>
                  <a:pt x="5477838" y="262316"/>
                  <a:pt x="5477838" y="229827"/>
                </a:cubicBezTo>
                <a:cubicBezTo>
                  <a:pt x="5477838" y="197342"/>
                  <a:pt x="5504174" y="171010"/>
                  <a:pt x="5536659" y="171010"/>
                </a:cubicBezTo>
                <a:close/>
                <a:moveTo>
                  <a:pt x="5690606" y="168105"/>
                </a:moveTo>
                <a:cubicBezTo>
                  <a:pt x="5724734" y="168105"/>
                  <a:pt x="5752329" y="195699"/>
                  <a:pt x="5752329" y="229827"/>
                </a:cubicBezTo>
                <a:cubicBezTo>
                  <a:pt x="5752329" y="263959"/>
                  <a:pt x="5724734" y="291553"/>
                  <a:pt x="5690606" y="291553"/>
                </a:cubicBezTo>
                <a:cubicBezTo>
                  <a:pt x="5656475" y="291553"/>
                  <a:pt x="5628880" y="263959"/>
                  <a:pt x="5628880" y="229827"/>
                </a:cubicBezTo>
                <a:cubicBezTo>
                  <a:pt x="5628880" y="195699"/>
                  <a:pt x="5656475" y="168105"/>
                  <a:pt x="5690606" y="168105"/>
                </a:cubicBezTo>
                <a:close/>
                <a:moveTo>
                  <a:pt x="5844554" y="165566"/>
                </a:moveTo>
                <a:cubicBezTo>
                  <a:pt x="5880046" y="165566"/>
                  <a:pt x="5908822" y="194338"/>
                  <a:pt x="5908822" y="229831"/>
                </a:cubicBezTo>
                <a:cubicBezTo>
                  <a:pt x="5908822" y="265324"/>
                  <a:pt x="5880046" y="294100"/>
                  <a:pt x="5844554" y="294100"/>
                </a:cubicBezTo>
                <a:cubicBezTo>
                  <a:pt x="5809062" y="294100"/>
                  <a:pt x="5780289" y="265324"/>
                  <a:pt x="5780289" y="229831"/>
                </a:cubicBezTo>
                <a:cubicBezTo>
                  <a:pt x="5780289" y="194338"/>
                  <a:pt x="5809062" y="165566"/>
                  <a:pt x="5844554" y="165566"/>
                </a:cubicBezTo>
                <a:close/>
                <a:moveTo>
                  <a:pt x="5998136" y="162296"/>
                </a:moveTo>
                <a:cubicBezTo>
                  <a:pt x="6035435" y="162296"/>
                  <a:pt x="6065671" y="192532"/>
                  <a:pt x="6065671" y="229831"/>
                </a:cubicBezTo>
                <a:cubicBezTo>
                  <a:pt x="6065671" y="267127"/>
                  <a:pt x="6035435" y="297363"/>
                  <a:pt x="5998136" y="297363"/>
                </a:cubicBezTo>
                <a:cubicBezTo>
                  <a:pt x="5960840" y="297363"/>
                  <a:pt x="5930604" y="267127"/>
                  <a:pt x="5930604" y="229827"/>
                </a:cubicBezTo>
                <a:cubicBezTo>
                  <a:pt x="5930604" y="192532"/>
                  <a:pt x="5960840" y="162296"/>
                  <a:pt x="5998136" y="162296"/>
                </a:cubicBezTo>
                <a:close/>
                <a:moveTo>
                  <a:pt x="6152086" y="159757"/>
                </a:moveTo>
                <a:cubicBezTo>
                  <a:pt x="6190785" y="159757"/>
                  <a:pt x="6222160" y="191129"/>
                  <a:pt x="6222160" y="229831"/>
                </a:cubicBezTo>
                <a:cubicBezTo>
                  <a:pt x="6222160" y="268533"/>
                  <a:pt x="6190785" y="299909"/>
                  <a:pt x="6152086" y="299909"/>
                </a:cubicBezTo>
                <a:cubicBezTo>
                  <a:pt x="6113384" y="299909"/>
                  <a:pt x="6082008" y="268533"/>
                  <a:pt x="6082008" y="229831"/>
                </a:cubicBezTo>
                <a:cubicBezTo>
                  <a:pt x="6082008" y="191129"/>
                  <a:pt x="6113384" y="159757"/>
                  <a:pt x="6152086" y="159757"/>
                </a:cubicBezTo>
                <a:close/>
                <a:moveTo>
                  <a:pt x="6305668" y="156852"/>
                </a:moveTo>
                <a:cubicBezTo>
                  <a:pt x="6345975" y="156852"/>
                  <a:pt x="6378650" y="189528"/>
                  <a:pt x="6378650" y="229831"/>
                </a:cubicBezTo>
                <a:cubicBezTo>
                  <a:pt x="6378650" y="270138"/>
                  <a:pt x="6345975" y="302814"/>
                  <a:pt x="6305668" y="302814"/>
                </a:cubicBezTo>
                <a:cubicBezTo>
                  <a:pt x="6265365" y="302814"/>
                  <a:pt x="6232689" y="270138"/>
                  <a:pt x="6232689" y="229831"/>
                </a:cubicBezTo>
                <a:cubicBezTo>
                  <a:pt x="6232689" y="189528"/>
                  <a:pt x="6265365" y="156852"/>
                  <a:pt x="6305668" y="156852"/>
                </a:cubicBezTo>
                <a:close/>
                <a:moveTo>
                  <a:pt x="6613200" y="153947"/>
                </a:moveTo>
                <a:cubicBezTo>
                  <a:pt x="6655112" y="153947"/>
                  <a:pt x="6689088" y="187923"/>
                  <a:pt x="6689088" y="229831"/>
                </a:cubicBezTo>
                <a:cubicBezTo>
                  <a:pt x="6689088" y="271743"/>
                  <a:pt x="6655112" y="305718"/>
                  <a:pt x="6613200" y="305718"/>
                </a:cubicBezTo>
                <a:cubicBezTo>
                  <a:pt x="6571289" y="305718"/>
                  <a:pt x="6537317" y="271743"/>
                  <a:pt x="6537317" y="229831"/>
                </a:cubicBezTo>
                <a:cubicBezTo>
                  <a:pt x="6537317" y="187923"/>
                  <a:pt x="6571289" y="153947"/>
                  <a:pt x="6613200" y="153947"/>
                </a:cubicBezTo>
                <a:close/>
                <a:moveTo>
                  <a:pt x="6459616" y="153944"/>
                </a:moveTo>
                <a:cubicBezTo>
                  <a:pt x="6501371" y="153944"/>
                  <a:pt x="6535137" y="187710"/>
                  <a:pt x="6535137" y="229465"/>
                </a:cubicBezTo>
                <a:cubicBezTo>
                  <a:pt x="6535137" y="271221"/>
                  <a:pt x="6501371" y="304986"/>
                  <a:pt x="6459616" y="304986"/>
                </a:cubicBezTo>
                <a:cubicBezTo>
                  <a:pt x="6417860" y="304986"/>
                  <a:pt x="6384094" y="271221"/>
                  <a:pt x="6384094" y="229465"/>
                </a:cubicBezTo>
                <a:cubicBezTo>
                  <a:pt x="6384094" y="187710"/>
                  <a:pt x="6417860" y="153944"/>
                  <a:pt x="6459616" y="153944"/>
                </a:cubicBezTo>
                <a:close/>
                <a:moveTo>
                  <a:pt x="923681" y="75518"/>
                </a:moveTo>
                <a:cubicBezTo>
                  <a:pt x="924043" y="75518"/>
                  <a:pt x="924043" y="75518"/>
                  <a:pt x="924043" y="75880"/>
                </a:cubicBezTo>
                <a:cubicBezTo>
                  <a:pt x="924043" y="76242"/>
                  <a:pt x="923681" y="76242"/>
                  <a:pt x="923681" y="76242"/>
                </a:cubicBezTo>
                <a:cubicBezTo>
                  <a:pt x="923319" y="76242"/>
                  <a:pt x="923319" y="76242"/>
                  <a:pt x="923319" y="75880"/>
                </a:cubicBezTo>
                <a:cubicBezTo>
                  <a:pt x="923319" y="75518"/>
                  <a:pt x="923319" y="75518"/>
                  <a:pt x="923681" y="75518"/>
                </a:cubicBezTo>
                <a:close/>
                <a:moveTo>
                  <a:pt x="462205" y="75518"/>
                </a:moveTo>
                <a:cubicBezTo>
                  <a:pt x="462567" y="75518"/>
                  <a:pt x="462567" y="75518"/>
                  <a:pt x="462567" y="75880"/>
                </a:cubicBezTo>
                <a:cubicBezTo>
                  <a:pt x="462567" y="76242"/>
                  <a:pt x="462205" y="76242"/>
                  <a:pt x="462205" y="76242"/>
                </a:cubicBezTo>
                <a:cubicBezTo>
                  <a:pt x="461842" y="76242"/>
                  <a:pt x="461842" y="76242"/>
                  <a:pt x="461842" y="75880"/>
                </a:cubicBezTo>
                <a:cubicBezTo>
                  <a:pt x="461842" y="75518"/>
                  <a:pt x="461842" y="75518"/>
                  <a:pt x="462205" y="75518"/>
                </a:cubicBezTo>
                <a:close/>
                <a:moveTo>
                  <a:pt x="308257" y="75518"/>
                </a:moveTo>
                <a:cubicBezTo>
                  <a:pt x="308619" y="75518"/>
                  <a:pt x="308619" y="75518"/>
                  <a:pt x="308619" y="75880"/>
                </a:cubicBezTo>
                <a:cubicBezTo>
                  <a:pt x="308619" y="76242"/>
                  <a:pt x="308257" y="76242"/>
                  <a:pt x="308257" y="76242"/>
                </a:cubicBezTo>
                <a:cubicBezTo>
                  <a:pt x="307895" y="76242"/>
                  <a:pt x="307895" y="76242"/>
                  <a:pt x="307895" y="75880"/>
                </a:cubicBezTo>
                <a:cubicBezTo>
                  <a:pt x="307895" y="75518"/>
                  <a:pt x="307895" y="75518"/>
                  <a:pt x="308257" y="75518"/>
                </a:cubicBezTo>
                <a:close/>
                <a:moveTo>
                  <a:pt x="154676" y="75155"/>
                </a:moveTo>
                <a:cubicBezTo>
                  <a:pt x="155076" y="75155"/>
                  <a:pt x="155400" y="75480"/>
                  <a:pt x="155400" y="75880"/>
                </a:cubicBezTo>
                <a:cubicBezTo>
                  <a:pt x="155400" y="76284"/>
                  <a:pt x="155076" y="76608"/>
                  <a:pt x="154676" y="76608"/>
                </a:cubicBezTo>
                <a:cubicBezTo>
                  <a:pt x="154272" y="76608"/>
                  <a:pt x="153948" y="76284"/>
                  <a:pt x="153948" y="75880"/>
                </a:cubicBezTo>
                <a:cubicBezTo>
                  <a:pt x="153948" y="75480"/>
                  <a:pt x="154272" y="75155"/>
                  <a:pt x="154676" y="75155"/>
                </a:cubicBezTo>
                <a:close/>
                <a:moveTo>
                  <a:pt x="725" y="75155"/>
                </a:moveTo>
                <a:cubicBezTo>
                  <a:pt x="1090" y="75155"/>
                  <a:pt x="1453" y="75518"/>
                  <a:pt x="1453" y="75880"/>
                </a:cubicBezTo>
                <a:cubicBezTo>
                  <a:pt x="1453" y="76246"/>
                  <a:pt x="725" y="76608"/>
                  <a:pt x="725" y="76608"/>
                </a:cubicBezTo>
                <a:cubicBezTo>
                  <a:pt x="362" y="76608"/>
                  <a:pt x="0" y="76246"/>
                  <a:pt x="0" y="75880"/>
                </a:cubicBezTo>
                <a:cubicBezTo>
                  <a:pt x="0" y="75518"/>
                  <a:pt x="362" y="75155"/>
                  <a:pt x="725" y="75155"/>
                </a:cubicBezTo>
                <a:close/>
                <a:moveTo>
                  <a:pt x="1077266" y="74431"/>
                </a:moveTo>
                <a:cubicBezTo>
                  <a:pt x="1078067" y="74431"/>
                  <a:pt x="1078718" y="75083"/>
                  <a:pt x="1078718" y="75884"/>
                </a:cubicBezTo>
                <a:cubicBezTo>
                  <a:pt x="1078718" y="76684"/>
                  <a:pt x="1078067" y="77336"/>
                  <a:pt x="1077266" y="77336"/>
                </a:cubicBezTo>
                <a:cubicBezTo>
                  <a:pt x="1076462" y="77336"/>
                  <a:pt x="1075814" y="76684"/>
                  <a:pt x="1075814" y="75884"/>
                </a:cubicBezTo>
                <a:cubicBezTo>
                  <a:pt x="1075814" y="75083"/>
                  <a:pt x="1076462" y="74431"/>
                  <a:pt x="1077266" y="74431"/>
                </a:cubicBezTo>
                <a:close/>
                <a:moveTo>
                  <a:pt x="1231217" y="73703"/>
                </a:moveTo>
                <a:cubicBezTo>
                  <a:pt x="1232418" y="73703"/>
                  <a:pt x="1233394" y="74679"/>
                  <a:pt x="1233394" y="75880"/>
                </a:cubicBezTo>
                <a:cubicBezTo>
                  <a:pt x="1233394" y="77084"/>
                  <a:pt x="1232418" y="78060"/>
                  <a:pt x="1231217" y="78060"/>
                </a:cubicBezTo>
                <a:cubicBezTo>
                  <a:pt x="1230013" y="78060"/>
                  <a:pt x="1229037" y="77084"/>
                  <a:pt x="1229037" y="75880"/>
                </a:cubicBezTo>
                <a:cubicBezTo>
                  <a:pt x="1229037" y="74679"/>
                  <a:pt x="1230013" y="73703"/>
                  <a:pt x="1231217" y="73703"/>
                </a:cubicBezTo>
                <a:close/>
                <a:moveTo>
                  <a:pt x="1384799" y="72617"/>
                </a:moveTo>
                <a:cubicBezTo>
                  <a:pt x="1386617" y="72617"/>
                  <a:pt x="1388069" y="74069"/>
                  <a:pt x="1388069" y="75884"/>
                </a:cubicBezTo>
                <a:cubicBezTo>
                  <a:pt x="1388069" y="77702"/>
                  <a:pt x="1386617" y="79154"/>
                  <a:pt x="1384799" y="79154"/>
                </a:cubicBezTo>
                <a:cubicBezTo>
                  <a:pt x="1382984" y="79154"/>
                  <a:pt x="1381532" y="77702"/>
                  <a:pt x="1381532" y="75884"/>
                </a:cubicBezTo>
                <a:cubicBezTo>
                  <a:pt x="1381532" y="74069"/>
                  <a:pt x="1382984" y="72617"/>
                  <a:pt x="1384799" y="72617"/>
                </a:cubicBezTo>
                <a:close/>
                <a:moveTo>
                  <a:pt x="1538746" y="71527"/>
                </a:moveTo>
                <a:cubicBezTo>
                  <a:pt x="1541285" y="71527"/>
                  <a:pt x="1543103" y="73341"/>
                  <a:pt x="1543103" y="75884"/>
                </a:cubicBezTo>
                <a:cubicBezTo>
                  <a:pt x="1543103" y="78426"/>
                  <a:pt x="1540923" y="80241"/>
                  <a:pt x="1538746" y="80241"/>
                </a:cubicBezTo>
                <a:cubicBezTo>
                  <a:pt x="1536204" y="80241"/>
                  <a:pt x="1534389" y="78426"/>
                  <a:pt x="1534389" y="75884"/>
                </a:cubicBezTo>
                <a:cubicBezTo>
                  <a:pt x="1534389" y="73341"/>
                  <a:pt x="1536204" y="71527"/>
                  <a:pt x="1538746" y="71527"/>
                </a:cubicBezTo>
                <a:close/>
                <a:moveTo>
                  <a:pt x="1692331" y="70074"/>
                </a:moveTo>
                <a:cubicBezTo>
                  <a:pt x="1695541" y="70074"/>
                  <a:pt x="1698141" y="72674"/>
                  <a:pt x="1698141" y="75884"/>
                </a:cubicBezTo>
                <a:cubicBezTo>
                  <a:pt x="1698141" y="79093"/>
                  <a:pt x="1695541" y="81693"/>
                  <a:pt x="1692331" y="81693"/>
                </a:cubicBezTo>
                <a:cubicBezTo>
                  <a:pt x="1689122" y="81693"/>
                  <a:pt x="1686522" y="79093"/>
                  <a:pt x="1686522" y="75884"/>
                </a:cubicBezTo>
                <a:cubicBezTo>
                  <a:pt x="1686522" y="72674"/>
                  <a:pt x="1689122" y="70074"/>
                  <a:pt x="1692331" y="70074"/>
                </a:cubicBezTo>
                <a:close/>
                <a:moveTo>
                  <a:pt x="1846279" y="68622"/>
                </a:moveTo>
                <a:cubicBezTo>
                  <a:pt x="1850274" y="68622"/>
                  <a:pt x="1853540" y="71889"/>
                  <a:pt x="1853540" y="75884"/>
                </a:cubicBezTo>
                <a:cubicBezTo>
                  <a:pt x="1853540" y="79879"/>
                  <a:pt x="1850274" y="83145"/>
                  <a:pt x="1846279" y="83145"/>
                </a:cubicBezTo>
                <a:cubicBezTo>
                  <a:pt x="1842284" y="83145"/>
                  <a:pt x="1839017" y="79879"/>
                  <a:pt x="1839017" y="75884"/>
                </a:cubicBezTo>
                <a:cubicBezTo>
                  <a:pt x="1839017" y="71889"/>
                  <a:pt x="1842284" y="68622"/>
                  <a:pt x="1846279" y="68622"/>
                </a:cubicBezTo>
                <a:close/>
                <a:moveTo>
                  <a:pt x="1999860" y="66807"/>
                </a:moveTo>
                <a:cubicBezTo>
                  <a:pt x="2004945" y="66807"/>
                  <a:pt x="2008940" y="70802"/>
                  <a:pt x="2008940" y="75884"/>
                </a:cubicBezTo>
                <a:cubicBezTo>
                  <a:pt x="2008940" y="80969"/>
                  <a:pt x="2004945" y="84960"/>
                  <a:pt x="1999860" y="84960"/>
                </a:cubicBezTo>
                <a:cubicBezTo>
                  <a:pt x="1994779" y="84960"/>
                  <a:pt x="1990784" y="80969"/>
                  <a:pt x="1990784" y="75884"/>
                </a:cubicBezTo>
                <a:cubicBezTo>
                  <a:pt x="1990784" y="70802"/>
                  <a:pt x="1994779" y="66807"/>
                  <a:pt x="1999860" y="66807"/>
                </a:cubicBezTo>
                <a:close/>
                <a:moveTo>
                  <a:pt x="2153811" y="65717"/>
                </a:moveTo>
                <a:cubicBezTo>
                  <a:pt x="2159259" y="65717"/>
                  <a:pt x="2163978" y="70436"/>
                  <a:pt x="2163978" y="75884"/>
                </a:cubicBezTo>
                <a:cubicBezTo>
                  <a:pt x="2163978" y="81331"/>
                  <a:pt x="2159621" y="86050"/>
                  <a:pt x="2153811" y="86050"/>
                </a:cubicBezTo>
                <a:cubicBezTo>
                  <a:pt x="2148364" y="86050"/>
                  <a:pt x="2143645" y="81331"/>
                  <a:pt x="2143645" y="75884"/>
                </a:cubicBezTo>
                <a:cubicBezTo>
                  <a:pt x="2143645" y="70436"/>
                  <a:pt x="2148364" y="65717"/>
                  <a:pt x="2153811" y="65717"/>
                </a:cubicBezTo>
                <a:close/>
                <a:moveTo>
                  <a:pt x="2307393" y="63899"/>
                </a:moveTo>
                <a:cubicBezTo>
                  <a:pt x="2313930" y="63899"/>
                  <a:pt x="2319377" y="69346"/>
                  <a:pt x="2319377" y="75880"/>
                </a:cubicBezTo>
                <a:cubicBezTo>
                  <a:pt x="2319377" y="82417"/>
                  <a:pt x="2313930" y="87864"/>
                  <a:pt x="2307393" y="87864"/>
                </a:cubicBezTo>
                <a:cubicBezTo>
                  <a:pt x="2300859" y="87864"/>
                  <a:pt x="2295412" y="82417"/>
                  <a:pt x="2295412" y="75880"/>
                </a:cubicBezTo>
                <a:cubicBezTo>
                  <a:pt x="2295412" y="69346"/>
                  <a:pt x="2300859" y="63899"/>
                  <a:pt x="2307393" y="63899"/>
                </a:cubicBezTo>
                <a:close/>
                <a:moveTo>
                  <a:pt x="2461344" y="62085"/>
                </a:moveTo>
                <a:cubicBezTo>
                  <a:pt x="2468968" y="62085"/>
                  <a:pt x="2475139" y="68256"/>
                  <a:pt x="2475139" y="75880"/>
                </a:cubicBezTo>
                <a:cubicBezTo>
                  <a:pt x="2475139" y="83507"/>
                  <a:pt x="2468968" y="89679"/>
                  <a:pt x="2461344" y="89679"/>
                </a:cubicBezTo>
                <a:cubicBezTo>
                  <a:pt x="2453716" y="89679"/>
                  <a:pt x="2447545" y="83507"/>
                  <a:pt x="2447545" y="75880"/>
                </a:cubicBezTo>
                <a:cubicBezTo>
                  <a:pt x="2447545" y="68256"/>
                  <a:pt x="2453716" y="62085"/>
                  <a:pt x="2461344" y="62085"/>
                </a:cubicBezTo>
                <a:close/>
                <a:moveTo>
                  <a:pt x="2614925" y="60632"/>
                </a:moveTo>
                <a:cubicBezTo>
                  <a:pt x="2623350" y="60632"/>
                  <a:pt x="2630177" y="67459"/>
                  <a:pt x="2630177" y="75880"/>
                </a:cubicBezTo>
                <a:cubicBezTo>
                  <a:pt x="2630177" y="84304"/>
                  <a:pt x="2623350" y="91131"/>
                  <a:pt x="2614925" y="91131"/>
                </a:cubicBezTo>
                <a:cubicBezTo>
                  <a:pt x="2606505" y="91131"/>
                  <a:pt x="2599678" y="84304"/>
                  <a:pt x="2599678" y="75880"/>
                </a:cubicBezTo>
                <a:cubicBezTo>
                  <a:pt x="2599678" y="67459"/>
                  <a:pt x="2606505" y="60632"/>
                  <a:pt x="2614925" y="60632"/>
                </a:cubicBezTo>
                <a:close/>
                <a:moveTo>
                  <a:pt x="2768873" y="58818"/>
                </a:moveTo>
                <a:cubicBezTo>
                  <a:pt x="2778311" y="58818"/>
                  <a:pt x="2785939" y="66442"/>
                  <a:pt x="2785939" y="75884"/>
                </a:cubicBezTo>
                <a:cubicBezTo>
                  <a:pt x="2785939" y="85322"/>
                  <a:pt x="2778311" y="92946"/>
                  <a:pt x="2768873" y="92946"/>
                </a:cubicBezTo>
                <a:cubicBezTo>
                  <a:pt x="2759431" y="92946"/>
                  <a:pt x="2751807" y="85322"/>
                  <a:pt x="2751807" y="75884"/>
                </a:cubicBezTo>
                <a:cubicBezTo>
                  <a:pt x="2751807" y="66442"/>
                  <a:pt x="2759431" y="58818"/>
                  <a:pt x="2768873" y="58818"/>
                </a:cubicBezTo>
                <a:close/>
                <a:moveTo>
                  <a:pt x="2922458" y="56641"/>
                </a:moveTo>
                <a:cubicBezTo>
                  <a:pt x="2933086" y="56641"/>
                  <a:pt x="2941700" y="65256"/>
                  <a:pt x="2941700" y="75884"/>
                </a:cubicBezTo>
                <a:cubicBezTo>
                  <a:pt x="2941700" y="86511"/>
                  <a:pt x="2933086" y="95126"/>
                  <a:pt x="2922458" y="95126"/>
                </a:cubicBezTo>
                <a:cubicBezTo>
                  <a:pt x="2911830" y="95126"/>
                  <a:pt x="2903216" y="86511"/>
                  <a:pt x="2903216" y="75884"/>
                </a:cubicBezTo>
                <a:cubicBezTo>
                  <a:pt x="2903216" y="65256"/>
                  <a:pt x="2911830" y="56641"/>
                  <a:pt x="2922458" y="56641"/>
                </a:cubicBezTo>
                <a:close/>
                <a:moveTo>
                  <a:pt x="3076406" y="54461"/>
                </a:moveTo>
                <a:cubicBezTo>
                  <a:pt x="3088234" y="54461"/>
                  <a:pt x="3097828" y="64051"/>
                  <a:pt x="3097828" y="75884"/>
                </a:cubicBezTo>
                <a:cubicBezTo>
                  <a:pt x="3097828" y="87712"/>
                  <a:pt x="3088234" y="97303"/>
                  <a:pt x="3076406" y="97303"/>
                </a:cubicBezTo>
                <a:cubicBezTo>
                  <a:pt x="3064573" y="97303"/>
                  <a:pt x="3054982" y="87712"/>
                  <a:pt x="3054982" y="75884"/>
                </a:cubicBezTo>
                <a:cubicBezTo>
                  <a:pt x="3054982" y="64051"/>
                  <a:pt x="3064573" y="54461"/>
                  <a:pt x="3076406" y="54461"/>
                </a:cubicBezTo>
                <a:close/>
                <a:moveTo>
                  <a:pt x="3230353" y="53008"/>
                </a:moveTo>
                <a:cubicBezTo>
                  <a:pt x="3242986" y="53008"/>
                  <a:pt x="3253228" y="63251"/>
                  <a:pt x="3253228" y="75884"/>
                </a:cubicBezTo>
                <a:cubicBezTo>
                  <a:pt x="3253228" y="88516"/>
                  <a:pt x="3242986" y="98759"/>
                  <a:pt x="3230353" y="98759"/>
                </a:cubicBezTo>
                <a:cubicBezTo>
                  <a:pt x="3217720" y="98759"/>
                  <a:pt x="3207478" y="88516"/>
                  <a:pt x="3207478" y="75884"/>
                </a:cubicBezTo>
                <a:cubicBezTo>
                  <a:pt x="3207478" y="63251"/>
                  <a:pt x="3217720" y="53008"/>
                  <a:pt x="3230353" y="53008"/>
                </a:cubicBezTo>
                <a:close/>
                <a:moveTo>
                  <a:pt x="3383934" y="50832"/>
                </a:moveTo>
                <a:cubicBezTo>
                  <a:pt x="3397772" y="50832"/>
                  <a:pt x="3408986" y="62046"/>
                  <a:pt x="3408986" y="75884"/>
                </a:cubicBezTo>
                <a:cubicBezTo>
                  <a:pt x="3408986" y="89721"/>
                  <a:pt x="3397772" y="100939"/>
                  <a:pt x="3383934" y="100939"/>
                </a:cubicBezTo>
                <a:cubicBezTo>
                  <a:pt x="3370097" y="100939"/>
                  <a:pt x="3358882" y="89721"/>
                  <a:pt x="3358882" y="75884"/>
                </a:cubicBezTo>
                <a:cubicBezTo>
                  <a:pt x="3358882" y="62046"/>
                  <a:pt x="3370097" y="50832"/>
                  <a:pt x="3383934" y="50832"/>
                </a:cubicBezTo>
                <a:close/>
                <a:moveTo>
                  <a:pt x="3537886" y="48651"/>
                </a:moveTo>
                <a:cubicBezTo>
                  <a:pt x="3552924" y="48651"/>
                  <a:pt x="3565118" y="60842"/>
                  <a:pt x="3565118" y="75884"/>
                </a:cubicBezTo>
                <a:cubicBezTo>
                  <a:pt x="3565118" y="90921"/>
                  <a:pt x="3552924" y="103112"/>
                  <a:pt x="3537886" y="103112"/>
                </a:cubicBezTo>
                <a:cubicBezTo>
                  <a:pt x="3522844" y="103112"/>
                  <a:pt x="3510653" y="90921"/>
                  <a:pt x="3510653" y="75884"/>
                </a:cubicBezTo>
                <a:cubicBezTo>
                  <a:pt x="3510653" y="60842"/>
                  <a:pt x="3522844" y="48651"/>
                  <a:pt x="3537886" y="48651"/>
                </a:cubicBezTo>
                <a:close/>
                <a:moveTo>
                  <a:pt x="3691467" y="46109"/>
                </a:moveTo>
                <a:cubicBezTo>
                  <a:pt x="3707912" y="46109"/>
                  <a:pt x="3721242" y="59439"/>
                  <a:pt x="3721242" y="75880"/>
                </a:cubicBezTo>
                <a:cubicBezTo>
                  <a:pt x="3721242" y="92324"/>
                  <a:pt x="3707912" y="105655"/>
                  <a:pt x="3691467" y="105655"/>
                </a:cubicBezTo>
                <a:cubicBezTo>
                  <a:pt x="3675026" y="105655"/>
                  <a:pt x="3661696" y="92324"/>
                  <a:pt x="3661696" y="75880"/>
                </a:cubicBezTo>
                <a:cubicBezTo>
                  <a:pt x="3661696" y="59439"/>
                  <a:pt x="3675026" y="46109"/>
                  <a:pt x="3691467" y="46109"/>
                </a:cubicBezTo>
                <a:close/>
                <a:moveTo>
                  <a:pt x="3845414" y="43932"/>
                </a:moveTo>
                <a:cubicBezTo>
                  <a:pt x="3863060" y="43932"/>
                  <a:pt x="3877366" y="58238"/>
                  <a:pt x="3877366" y="75884"/>
                </a:cubicBezTo>
                <a:cubicBezTo>
                  <a:pt x="3877366" y="93529"/>
                  <a:pt x="3863060" y="107835"/>
                  <a:pt x="3845414" y="107835"/>
                </a:cubicBezTo>
                <a:cubicBezTo>
                  <a:pt x="3827769" y="107835"/>
                  <a:pt x="3813463" y="93529"/>
                  <a:pt x="3813463" y="75884"/>
                </a:cubicBezTo>
                <a:cubicBezTo>
                  <a:pt x="3813463" y="58238"/>
                  <a:pt x="3827769" y="43932"/>
                  <a:pt x="3845414" y="43932"/>
                </a:cubicBezTo>
                <a:close/>
                <a:moveTo>
                  <a:pt x="3999000" y="42118"/>
                </a:moveTo>
                <a:cubicBezTo>
                  <a:pt x="4017651" y="42118"/>
                  <a:pt x="4032769" y="57236"/>
                  <a:pt x="4032769" y="75884"/>
                </a:cubicBezTo>
                <a:cubicBezTo>
                  <a:pt x="4032769" y="94535"/>
                  <a:pt x="4017651" y="109653"/>
                  <a:pt x="3999000" y="109653"/>
                </a:cubicBezTo>
                <a:cubicBezTo>
                  <a:pt x="3980352" y="109653"/>
                  <a:pt x="3965234" y="94535"/>
                  <a:pt x="3965234" y="75884"/>
                </a:cubicBezTo>
                <a:cubicBezTo>
                  <a:pt x="3965234" y="57236"/>
                  <a:pt x="3980352" y="42118"/>
                  <a:pt x="3999000" y="42118"/>
                </a:cubicBezTo>
                <a:close/>
                <a:moveTo>
                  <a:pt x="4152947" y="39575"/>
                </a:moveTo>
                <a:cubicBezTo>
                  <a:pt x="4173002" y="39575"/>
                  <a:pt x="4189256" y="55829"/>
                  <a:pt x="4189256" y="75884"/>
                </a:cubicBezTo>
                <a:cubicBezTo>
                  <a:pt x="4189256" y="95938"/>
                  <a:pt x="4173002" y="112192"/>
                  <a:pt x="4152947" y="112192"/>
                </a:cubicBezTo>
                <a:cubicBezTo>
                  <a:pt x="4132896" y="112192"/>
                  <a:pt x="4116638" y="95938"/>
                  <a:pt x="4116638" y="75884"/>
                </a:cubicBezTo>
                <a:cubicBezTo>
                  <a:pt x="4116638" y="55829"/>
                  <a:pt x="4132896" y="39575"/>
                  <a:pt x="4152947" y="39575"/>
                </a:cubicBezTo>
                <a:close/>
                <a:moveTo>
                  <a:pt x="4306532" y="37033"/>
                </a:moveTo>
                <a:cubicBezTo>
                  <a:pt x="4327952" y="37033"/>
                  <a:pt x="4345380" y="54461"/>
                  <a:pt x="4345380" y="75884"/>
                </a:cubicBezTo>
                <a:cubicBezTo>
                  <a:pt x="4345380" y="97306"/>
                  <a:pt x="4327952" y="114735"/>
                  <a:pt x="4306532" y="114735"/>
                </a:cubicBezTo>
                <a:cubicBezTo>
                  <a:pt x="4285110" y="114735"/>
                  <a:pt x="4267682" y="97306"/>
                  <a:pt x="4267682" y="75884"/>
                </a:cubicBezTo>
                <a:cubicBezTo>
                  <a:pt x="4267682" y="54461"/>
                  <a:pt x="4285110" y="37033"/>
                  <a:pt x="4306532" y="37033"/>
                </a:cubicBezTo>
                <a:close/>
                <a:moveTo>
                  <a:pt x="4460480" y="34852"/>
                </a:moveTo>
                <a:cubicBezTo>
                  <a:pt x="4483355" y="34852"/>
                  <a:pt x="4501511" y="53008"/>
                  <a:pt x="4501511" y="75880"/>
                </a:cubicBezTo>
                <a:cubicBezTo>
                  <a:pt x="4501511" y="98755"/>
                  <a:pt x="4482993" y="116911"/>
                  <a:pt x="4460480" y="116911"/>
                </a:cubicBezTo>
                <a:cubicBezTo>
                  <a:pt x="4437608" y="116911"/>
                  <a:pt x="4419452" y="98755"/>
                  <a:pt x="4419452" y="75880"/>
                </a:cubicBezTo>
                <a:cubicBezTo>
                  <a:pt x="4419452" y="53008"/>
                  <a:pt x="4437608" y="34852"/>
                  <a:pt x="4460480" y="34852"/>
                </a:cubicBezTo>
                <a:close/>
                <a:moveTo>
                  <a:pt x="4614065" y="32314"/>
                </a:moveTo>
                <a:cubicBezTo>
                  <a:pt x="4638026" y="32314"/>
                  <a:pt x="4657635" y="51918"/>
                  <a:pt x="4657635" y="75884"/>
                </a:cubicBezTo>
                <a:cubicBezTo>
                  <a:pt x="4657635" y="99849"/>
                  <a:pt x="4638026" y="119454"/>
                  <a:pt x="4614065" y="119454"/>
                </a:cubicBezTo>
                <a:cubicBezTo>
                  <a:pt x="4590100" y="119454"/>
                  <a:pt x="4570495" y="99849"/>
                  <a:pt x="4570495" y="75884"/>
                </a:cubicBezTo>
                <a:cubicBezTo>
                  <a:pt x="4570495" y="51918"/>
                  <a:pt x="4590100" y="32314"/>
                  <a:pt x="4614065" y="32314"/>
                </a:cubicBezTo>
                <a:close/>
                <a:moveTo>
                  <a:pt x="4768012" y="29771"/>
                </a:moveTo>
                <a:cubicBezTo>
                  <a:pt x="4793426" y="29771"/>
                  <a:pt x="4814125" y="50466"/>
                  <a:pt x="4814125" y="75884"/>
                </a:cubicBezTo>
                <a:cubicBezTo>
                  <a:pt x="4814125" y="101298"/>
                  <a:pt x="4793426" y="121996"/>
                  <a:pt x="4768012" y="121996"/>
                </a:cubicBezTo>
                <a:cubicBezTo>
                  <a:pt x="4742594" y="121996"/>
                  <a:pt x="4721900" y="101298"/>
                  <a:pt x="4721900" y="75884"/>
                </a:cubicBezTo>
                <a:cubicBezTo>
                  <a:pt x="4721900" y="50466"/>
                  <a:pt x="4742594" y="29771"/>
                  <a:pt x="4768012" y="29771"/>
                </a:cubicBezTo>
                <a:close/>
                <a:moveTo>
                  <a:pt x="4921594" y="27228"/>
                </a:moveTo>
                <a:cubicBezTo>
                  <a:pt x="4948464" y="27228"/>
                  <a:pt x="4970249" y="49014"/>
                  <a:pt x="4970249" y="75880"/>
                </a:cubicBezTo>
                <a:cubicBezTo>
                  <a:pt x="4970249" y="102750"/>
                  <a:pt x="4948464" y="124535"/>
                  <a:pt x="4921594" y="124535"/>
                </a:cubicBezTo>
                <a:cubicBezTo>
                  <a:pt x="4894728" y="124535"/>
                  <a:pt x="4872942" y="102750"/>
                  <a:pt x="4872942" y="75880"/>
                </a:cubicBezTo>
                <a:cubicBezTo>
                  <a:pt x="4872942" y="49014"/>
                  <a:pt x="4894728" y="27228"/>
                  <a:pt x="4921594" y="27228"/>
                </a:cubicBezTo>
                <a:close/>
                <a:moveTo>
                  <a:pt x="5075541" y="24690"/>
                </a:moveTo>
                <a:cubicBezTo>
                  <a:pt x="5103864" y="24690"/>
                  <a:pt x="5126735" y="47565"/>
                  <a:pt x="5126735" y="75884"/>
                </a:cubicBezTo>
                <a:cubicBezTo>
                  <a:pt x="5126735" y="104206"/>
                  <a:pt x="5103864" y="127081"/>
                  <a:pt x="5075541" y="127081"/>
                </a:cubicBezTo>
                <a:cubicBezTo>
                  <a:pt x="5047222" y="127081"/>
                  <a:pt x="5024348" y="104206"/>
                  <a:pt x="5024348" y="75884"/>
                </a:cubicBezTo>
                <a:cubicBezTo>
                  <a:pt x="5024348" y="47565"/>
                  <a:pt x="5047222" y="24690"/>
                  <a:pt x="5075541" y="24690"/>
                </a:cubicBezTo>
                <a:close/>
                <a:moveTo>
                  <a:pt x="5229126" y="22509"/>
                </a:moveTo>
                <a:cubicBezTo>
                  <a:pt x="5258536" y="22509"/>
                  <a:pt x="5282500" y="46471"/>
                  <a:pt x="5282500" y="75884"/>
                </a:cubicBezTo>
                <a:cubicBezTo>
                  <a:pt x="5282500" y="105292"/>
                  <a:pt x="5258536" y="129258"/>
                  <a:pt x="5229126" y="129258"/>
                </a:cubicBezTo>
                <a:cubicBezTo>
                  <a:pt x="5199718" y="129258"/>
                  <a:pt x="5175752" y="105292"/>
                  <a:pt x="5175752" y="75884"/>
                </a:cubicBezTo>
                <a:cubicBezTo>
                  <a:pt x="5175752" y="46471"/>
                  <a:pt x="5199718" y="22509"/>
                  <a:pt x="5229126" y="22509"/>
                </a:cubicBezTo>
                <a:close/>
                <a:moveTo>
                  <a:pt x="5383074" y="19605"/>
                </a:moveTo>
                <a:cubicBezTo>
                  <a:pt x="5414297" y="19605"/>
                  <a:pt x="5439352" y="44657"/>
                  <a:pt x="5439352" y="75884"/>
                </a:cubicBezTo>
                <a:cubicBezTo>
                  <a:pt x="5439352" y="107107"/>
                  <a:pt x="5414297" y="132162"/>
                  <a:pt x="5383074" y="132162"/>
                </a:cubicBezTo>
                <a:cubicBezTo>
                  <a:pt x="5351847" y="132162"/>
                  <a:pt x="5326795" y="107107"/>
                  <a:pt x="5326795" y="75884"/>
                </a:cubicBezTo>
                <a:cubicBezTo>
                  <a:pt x="5326795" y="44657"/>
                  <a:pt x="5351847" y="19605"/>
                  <a:pt x="5383074" y="19605"/>
                </a:cubicBezTo>
                <a:close/>
                <a:moveTo>
                  <a:pt x="5536659" y="17062"/>
                </a:moveTo>
                <a:cubicBezTo>
                  <a:pt x="5569144" y="17062"/>
                  <a:pt x="5595476" y="43395"/>
                  <a:pt x="5595476" y="75880"/>
                </a:cubicBezTo>
                <a:cubicBezTo>
                  <a:pt x="5595476" y="108369"/>
                  <a:pt x="5569144" y="134701"/>
                  <a:pt x="5536659" y="134701"/>
                </a:cubicBezTo>
                <a:cubicBezTo>
                  <a:pt x="5504174" y="134701"/>
                  <a:pt x="5477838" y="108369"/>
                  <a:pt x="5477838" y="75880"/>
                </a:cubicBezTo>
                <a:cubicBezTo>
                  <a:pt x="5477838" y="43395"/>
                  <a:pt x="5504174" y="17062"/>
                  <a:pt x="5536659" y="17062"/>
                </a:cubicBezTo>
                <a:close/>
                <a:moveTo>
                  <a:pt x="5690606" y="14157"/>
                </a:moveTo>
                <a:cubicBezTo>
                  <a:pt x="5724734" y="14157"/>
                  <a:pt x="5752329" y="41752"/>
                  <a:pt x="5752329" y="75880"/>
                </a:cubicBezTo>
                <a:cubicBezTo>
                  <a:pt x="5752329" y="110012"/>
                  <a:pt x="5724734" y="137606"/>
                  <a:pt x="5690606" y="137606"/>
                </a:cubicBezTo>
                <a:cubicBezTo>
                  <a:pt x="5656475" y="137606"/>
                  <a:pt x="5628880" y="110012"/>
                  <a:pt x="5628880" y="75880"/>
                </a:cubicBezTo>
                <a:cubicBezTo>
                  <a:pt x="5628880" y="41752"/>
                  <a:pt x="5656475" y="14157"/>
                  <a:pt x="5690606" y="14157"/>
                </a:cubicBezTo>
                <a:close/>
                <a:moveTo>
                  <a:pt x="5844554" y="11619"/>
                </a:moveTo>
                <a:cubicBezTo>
                  <a:pt x="5880046" y="11619"/>
                  <a:pt x="5908822" y="40391"/>
                  <a:pt x="5908822" y="75884"/>
                </a:cubicBezTo>
                <a:cubicBezTo>
                  <a:pt x="5908822" y="111376"/>
                  <a:pt x="5880046" y="140152"/>
                  <a:pt x="5844554" y="140152"/>
                </a:cubicBezTo>
                <a:cubicBezTo>
                  <a:pt x="5809062" y="140152"/>
                  <a:pt x="5780289" y="111376"/>
                  <a:pt x="5780289" y="75884"/>
                </a:cubicBezTo>
                <a:cubicBezTo>
                  <a:pt x="5780289" y="40391"/>
                  <a:pt x="5809062" y="11619"/>
                  <a:pt x="5844554" y="11619"/>
                </a:cubicBezTo>
                <a:close/>
                <a:moveTo>
                  <a:pt x="5998136" y="8348"/>
                </a:moveTo>
                <a:cubicBezTo>
                  <a:pt x="6035435" y="8348"/>
                  <a:pt x="6065671" y="38584"/>
                  <a:pt x="6065671" y="75884"/>
                </a:cubicBezTo>
                <a:cubicBezTo>
                  <a:pt x="6065671" y="113179"/>
                  <a:pt x="6035435" y="143415"/>
                  <a:pt x="5998136" y="143415"/>
                </a:cubicBezTo>
                <a:cubicBezTo>
                  <a:pt x="5960840" y="143415"/>
                  <a:pt x="5930604" y="113179"/>
                  <a:pt x="5930604" y="75884"/>
                </a:cubicBezTo>
                <a:cubicBezTo>
                  <a:pt x="5930604" y="38584"/>
                  <a:pt x="5960840" y="8348"/>
                  <a:pt x="5998136" y="8348"/>
                </a:cubicBezTo>
                <a:close/>
                <a:moveTo>
                  <a:pt x="6152086" y="5809"/>
                </a:moveTo>
                <a:cubicBezTo>
                  <a:pt x="6190785" y="5809"/>
                  <a:pt x="6222160" y="37181"/>
                  <a:pt x="6222160" y="75884"/>
                </a:cubicBezTo>
                <a:cubicBezTo>
                  <a:pt x="6222160" y="114586"/>
                  <a:pt x="6190785" y="145962"/>
                  <a:pt x="6152086" y="145962"/>
                </a:cubicBezTo>
                <a:cubicBezTo>
                  <a:pt x="6113384" y="145962"/>
                  <a:pt x="6082008" y="114586"/>
                  <a:pt x="6082008" y="75884"/>
                </a:cubicBezTo>
                <a:cubicBezTo>
                  <a:pt x="6082008" y="37181"/>
                  <a:pt x="6113384" y="5809"/>
                  <a:pt x="6152086" y="5809"/>
                </a:cubicBezTo>
                <a:close/>
                <a:moveTo>
                  <a:pt x="6305668" y="2905"/>
                </a:moveTo>
                <a:cubicBezTo>
                  <a:pt x="6345975" y="2905"/>
                  <a:pt x="6378650" y="35580"/>
                  <a:pt x="6378650" y="75884"/>
                </a:cubicBezTo>
                <a:cubicBezTo>
                  <a:pt x="6378650" y="116191"/>
                  <a:pt x="6345975" y="148866"/>
                  <a:pt x="6305668" y="148866"/>
                </a:cubicBezTo>
                <a:cubicBezTo>
                  <a:pt x="6265365" y="148866"/>
                  <a:pt x="6232689" y="116191"/>
                  <a:pt x="6232689" y="75884"/>
                </a:cubicBezTo>
                <a:cubicBezTo>
                  <a:pt x="6232689" y="35580"/>
                  <a:pt x="6265365" y="2905"/>
                  <a:pt x="6305668" y="2905"/>
                </a:cubicBezTo>
                <a:close/>
                <a:moveTo>
                  <a:pt x="6459616" y="362"/>
                </a:moveTo>
                <a:cubicBezTo>
                  <a:pt x="6501371" y="362"/>
                  <a:pt x="6535137" y="34128"/>
                  <a:pt x="6535137" y="75884"/>
                </a:cubicBezTo>
                <a:cubicBezTo>
                  <a:pt x="6535137" y="117639"/>
                  <a:pt x="6501371" y="151405"/>
                  <a:pt x="6459616" y="151405"/>
                </a:cubicBezTo>
                <a:cubicBezTo>
                  <a:pt x="6417860" y="151405"/>
                  <a:pt x="6384094" y="117639"/>
                  <a:pt x="6384094" y="75884"/>
                </a:cubicBezTo>
                <a:cubicBezTo>
                  <a:pt x="6384094" y="34128"/>
                  <a:pt x="6417860" y="362"/>
                  <a:pt x="6459616" y="362"/>
                </a:cubicBezTo>
                <a:close/>
                <a:moveTo>
                  <a:pt x="6613200" y="0"/>
                </a:moveTo>
                <a:cubicBezTo>
                  <a:pt x="6655112" y="0"/>
                  <a:pt x="6689088" y="33976"/>
                  <a:pt x="6689088" y="75884"/>
                </a:cubicBezTo>
                <a:cubicBezTo>
                  <a:pt x="6689088" y="117795"/>
                  <a:pt x="6655112" y="151771"/>
                  <a:pt x="6613200" y="151771"/>
                </a:cubicBezTo>
                <a:cubicBezTo>
                  <a:pt x="6571289" y="151771"/>
                  <a:pt x="6537317" y="117795"/>
                  <a:pt x="6537317" y="75884"/>
                </a:cubicBezTo>
                <a:cubicBezTo>
                  <a:pt x="6537317" y="33976"/>
                  <a:pt x="6571289" y="0"/>
                  <a:pt x="6613200" y="0"/>
                </a:cubicBezTo>
                <a:close/>
              </a:path>
            </a:pathLst>
          </a:custGeom>
          <a:gradFill>
            <a:gsLst>
              <a:gs pos="14000">
                <a:schemeClr val="tx2">
                  <a:lumMod val="75000"/>
                </a:schemeClr>
              </a:gs>
              <a:gs pos="100000">
                <a:schemeClr val="accent1"/>
              </a:gs>
            </a:gsLst>
            <a:lin ang="8100000" scaled="1"/>
          </a:gra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pic>
        <p:nvPicPr>
          <p:cNvPr id="2" name="Picture 1" descr="A picture containing sky">
            <a:extLst>
              <a:ext uri="{FF2B5EF4-FFF2-40B4-BE49-F238E27FC236}">
                <a16:creationId xmlns:a16="http://schemas.microsoft.com/office/drawing/2014/main" id="{FCAE7170-A443-1107-BE26-C643F2CB17D9}"/>
              </a:ext>
            </a:extLst>
          </p:cNvPr>
          <p:cNvPicPr>
            <a:picLocks noChangeAspect="1"/>
          </p:cNvPicPr>
          <p:nvPr userDrawn="1"/>
        </p:nvPicPr>
        <p:blipFill rotWithShape="1">
          <a:blip r:embed="rId2">
            <a:duotone>
              <a:prstClr val="black"/>
              <a:schemeClr val="accent1">
                <a:tint val="45000"/>
                <a:satMod val="400000"/>
              </a:schemeClr>
            </a:duotone>
            <a:alphaModFix amt="5000"/>
          </a:blip>
          <a:srcRect b="6250"/>
          <a:stretch/>
        </p:blipFill>
        <p:spPr>
          <a:xfrm>
            <a:off x="0" y="0"/>
            <a:ext cx="12192000" cy="6858000"/>
          </a:xfrm>
          <a:prstGeom prst="rect">
            <a:avLst/>
          </a:prstGeom>
        </p:spPr>
      </p:pic>
    </p:spTree>
    <p:extLst>
      <p:ext uri="{BB962C8B-B14F-4D97-AF65-F5344CB8AC3E}">
        <p14:creationId xmlns:p14="http://schemas.microsoft.com/office/powerpoint/2010/main" val="18748590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0">
          <p15:clr>
            <a:srgbClr val="5ACBF0"/>
          </p15:clr>
        </p15:guide>
        <p15:guide id="4" orient="horz" pos="2160">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itle Slide Left Title Black Bkg">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1800"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Picture 1" descr="A picture containing sky">
            <a:extLst>
              <a:ext uri="{FF2B5EF4-FFF2-40B4-BE49-F238E27FC236}">
                <a16:creationId xmlns:a16="http://schemas.microsoft.com/office/drawing/2014/main" id="{4CA02B53-3D76-AA62-DD1E-B21C4814B186}"/>
              </a:ext>
            </a:extLst>
          </p:cNvPr>
          <p:cNvPicPr>
            <a:picLocks noChangeAspect="1"/>
          </p:cNvPicPr>
          <p:nvPr userDrawn="1"/>
        </p:nvPicPr>
        <p:blipFill rotWithShape="1">
          <a:blip r:embed="rId2">
            <a:duotone>
              <a:prstClr val="black"/>
              <a:schemeClr val="accent1">
                <a:tint val="45000"/>
                <a:satMod val="400000"/>
              </a:schemeClr>
            </a:duotone>
            <a:alphaModFix amt="5000"/>
          </a:blip>
          <a:srcRect b="6250"/>
          <a:stretch/>
        </p:blipFill>
        <p:spPr>
          <a:xfrm>
            <a:off x="0" y="0"/>
            <a:ext cx="12192000" cy="6858000"/>
          </a:xfrm>
          <a:prstGeom prst="rect">
            <a:avLst/>
          </a:prstGeom>
        </p:spPr>
      </p:pic>
      <p:grpSp>
        <p:nvGrpSpPr>
          <p:cNvPr id="3" name="Group 2">
            <a:extLst>
              <a:ext uri="{FF2B5EF4-FFF2-40B4-BE49-F238E27FC236}">
                <a16:creationId xmlns:a16="http://schemas.microsoft.com/office/drawing/2014/main" id="{9F44062F-08FB-D91A-0403-66BDB680C914}"/>
              </a:ext>
            </a:extLst>
          </p:cNvPr>
          <p:cNvGrpSpPr/>
          <p:nvPr userDrawn="1"/>
        </p:nvGrpSpPr>
        <p:grpSpPr>
          <a:xfrm>
            <a:off x="584200" y="480060"/>
            <a:ext cx="3626271" cy="510281"/>
            <a:chOff x="584200" y="480060"/>
            <a:chExt cx="3626271" cy="510281"/>
          </a:xfrm>
        </p:grpSpPr>
        <p:pic>
          <p:nvPicPr>
            <p:cNvPr id="7" name="MS logo white - EMF" descr="Microsoft logo white text version">
              <a:extLst>
                <a:ext uri="{FF2B5EF4-FFF2-40B4-BE49-F238E27FC236}">
                  <a16:creationId xmlns:a16="http://schemas.microsoft.com/office/drawing/2014/main" id="{5C3ED87D-CA78-5700-94B3-6B1C9C1D145C}"/>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cxnSp>
          <p:nvCxnSpPr>
            <p:cNvPr id="11" name="Straight Connector 10">
              <a:extLst>
                <a:ext uri="{FF2B5EF4-FFF2-40B4-BE49-F238E27FC236}">
                  <a16:creationId xmlns:a16="http://schemas.microsoft.com/office/drawing/2014/main" id="{1EE368A1-E6B9-2FE8-E83F-10FC4818BD5C}"/>
                </a:ext>
              </a:extLst>
            </p:cNvPr>
            <p:cNvCxnSpPr>
              <a:cxnSpLocks/>
            </p:cNvCxnSpPr>
            <p:nvPr userDrawn="1"/>
          </p:nvCxnSpPr>
          <p:spPr>
            <a:xfrm>
              <a:off x="2246692" y="480060"/>
              <a:ext cx="0" cy="510281"/>
            </a:xfrm>
            <a:prstGeom prst="line">
              <a:avLst/>
            </a:prstGeom>
            <a:noFill/>
            <a:ln w="6350" cap="flat" cmpd="sng" algn="ctr">
              <a:solidFill>
                <a:srgbClr val="FFFFFF"/>
              </a:solidFill>
              <a:prstDash val="solid"/>
              <a:headEnd type="none" w="lg" len="med"/>
              <a:tailEnd type="none" w="lg" len="med"/>
            </a:ln>
            <a:effectLst/>
          </p:spPr>
        </p:cxnSp>
        <p:pic>
          <p:nvPicPr>
            <p:cNvPr id="12" name="Picture 11">
              <a:extLst>
                <a:ext uri="{FF2B5EF4-FFF2-40B4-BE49-F238E27FC236}">
                  <a16:creationId xmlns:a16="http://schemas.microsoft.com/office/drawing/2014/main" id="{255E6870-9E05-D676-06E9-D14AADF49814}"/>
                </a:ext>
              </a:extLst>
            </p:cNvPr>
            <p:cNvPicPr>
              <a:picLocks noChangeAspect="1"/>
            </p:cNvPicPr>
            <p:nvPr userDrawn="1"/>
          </p:nvPicPr>
          <p:blipFill>
            <a:blip r:embed="rId4"/>
            <a:srcRect t="17334" b="17334"/>
            <a:stretch/>
          </p:blipFill>
          <p:spPr>
            <a:xfrm>
              <a:off x="2397310" y="480060"/>
              <a:ext cx="1813161" cy="482010"/>
            </a:xfrm>
            <a:prstGeom prst="rect">
              <a:avLst/>
            </a:prstGeom>
          </p:spPr>
        </p:pic>
      </p:grpSp>
    </p:spTree>
    <p:extLst>
      <p:ext uri="{BB962C8B-B14F-4D97-AF65-F5344CB8AC3E}">
        <p14:creationId xmlns:p14="http://schemas.microsoft.com/office/powerpoint/2010/main" val="34147246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0">
          <p15:clr>
            <a:srgbClr val="5ACBF0"/>
          </p15:clr>
        </p15:guide>
        <p15:guide id="4" orient="horz" pos="2160">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End Slide Color Bkg">
    <p:bg>
      <p:bgPr>
        <a:gradFill>
          <a:gsLst>
            <a:gs pos="0">
              <a:schemeClr val="tx2">
                <a:lumMod val="75000"/>
              </a:schemeClr>
            </a:gs>
            <a:gs pos="85000">
              <a:schemeClr val="tx2">
                <a:lumMod val="50000"/>
              </a:schemeClr>
            </a:gs>
          </a:gsLst>
          <a:lin ang="0" scaled="1"/>
        </a:gra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D2479CAC-FE5A-DED3-8660-1EF1A7F70088}"/>
              </a:ext>
            </a:extLst>
          </p:cNvPr>
          <p:cNvSpPr/>
          <p:nvPr userDrawn="1"/>
        </p:nvSpPr>
        <p:spPr bwMode="auto">
          <a:xfrm>
            <a:off x="0" y="0"/>
            <a:ext cx="12192000" cy="6858000"/>
          </a:xfrm>
          <a:prstGeom prst="rect">
            <a:avLst/>
          </a:prstGeom>
          <a:gradFill>
            <a:gsLst>
              <a:gs pos="0">
                <a:srgbClr val="243A5E">
                  <a:lumMod val="75000"/>
                </a:srgbClr>
              </a:gs>
              <a:gs pos="85000">
                <a:srgbClr val="243A5E">
                  <a:lumMod val="50000"/>
                </a:srgbClr>
              </a:gs>
            </a:gsLst>
            <a:lin ang="0" scaled="1"/>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3" name="Freeform: Shape 12">
            <a:extLst>
              <a:ext uri="{FF2B5EF4-FFF2-40B4-BE49-F238E27FC236}">
                <a16:creationId xmlns:a16="http://schemas.microsoft.com/office/drawing/2014/main" id="{CD218E4C-F034-C7D5-4A71-C25FCE73ADCE}"/>
              </a:ext>
            </a:extLst>
          </p:cNvPr>
          <p:cNvSpPr/>
          <p:nvPr/>
        </p:nvSpPr>
        <p:spPr>
          <a:xfrm>
            <a:off x="6315753" y="0"/>
            <a:ext cx="5876245" cy="6068780"/>
          </a:xfrm>
          <a:custGeom>
            <a:avLst/>
            <a:gdLst>
              <a:gd name="connsiteX0" fmla="*/ 95928 w 5876245"/>
              <a:gd name="connsiteY0" fmla="*/ 0 h 6068780"/>
              <a:gd name="connsiteX1" fmla="*/ 5876245 w 5876245"/>
              <a:gd name="connsiteY1" fmla="*/ 0 h 6068780"/>
              <a:gd name="connsiteX2" fmla="*/ 5876245 w 5876245"/>
              <a:gd name="connsiteY2" fmla="*/ 5882128 h 6068780"/>
              <a:gd name="connsiteX3" fmla="*/ 5809084 w 5876245"/>
              <a:gd name="connsiteY3" fmla="*/ 5913694 h 6068780"/>
              <a:gd name="connsiteX4" fmla="*/ 3664207 w 5876245"/>
              <a:gd name="connsiteY4" fmla="*/ 5274514 h 6068780"/>
              <a:gd name="connsiteX5" fmla="*/ 2915605 w 5876245"/>
              <a:gd name="connsiteY5" fmla="*/ 4002342 h 6068780"/>
              <a:gd name="connsiteX6" fmla="*/ 595032 w 5876245"/>
              <a:gd name="connsiteY6" fmla="*/ 2143479 h 6068780"/>
              <a:gd name="connsiteX7" fmla="*/ 67618 w 5876245"/>
              <a:gd name="connsiteY7" fmla="*/ 95578 h 6068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76245" h="6068780">
                <a:moveTo>
                  <a:pt x="95928" y="0"/>
                </a:moveTo>
                <a:lnTo>
                  <a:pt x="5876245" y="0"/>
                </a:lnTo>
                <a:lnTo>
                  <a:pt x="5876245" y="5882128"/>
                </a:lnTo>
                <a:lnTo>
                  <a:pt x="5809084" y="5913694"/>
                </a:lnTo>
                <a:cubicBezTo>
                  <a:pt x="5033168" y="6236286"/>
                  <a:pt x="4221134" y="6070728"/>
                  <a:pt x="3664207" y="5274514"/>
                </a:cubicBezTo>
                <a:cubicBezTo>
                  <a:pt x="3309481" y="4767224"/>
                  <a:pt x="3028875" y="4209830"/>
                  <a:pt x="2915605" y="4002342"/>
                </a:cubicBezTo>
                <a:cubicBezTo>
                  <a:pt x="2293189" y="2862231"/>
                  <a:pt x="1362125" y="2823486"/>
                  <a:pt x="595032" y="2143479"/>
                </a:cubicBezTo>
                <a:cubicBezTo>
                  <a:pt x="93083" y="1698534"/>
                  <a:pt x="-120532" y="862688"/>
                  <a:pt x="67618" y="95578"/>
                </a:cubicBezTo>
                <a:close/>
              </a:path>
            </a:pathLst>
          </a:custGeom>
          <a:gradFill flip="none" rotWithShape="1">
            <a:gsLst>
              <a:gs pos="0">
                <a:srgbClr val="243A5E">
                  <a:lumMod val="50000"/>
                </a:srgbClr>
              </a:gs>
              <a:gs pos="99000">
                <a:schemeClr val="bg2">
                  <a:lumMod val="75000"/>
                </a:schemeClr>
              </a:gs>
            </a:gsLst>
            <a:lin ang="16200000" scaled="1"/>
            <a:tileRect/>
          </a:gradFill>
          <a:ln w="214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000000"/>
              </a:solidFill>
              <a:effectLst/>
              <a:uLnTx/>
              <a:uFillTx/>
            </a:endParaRPr>
          </a:p>
        </p:txBody>
      </p:sp>
      <p:sp>
        <p:nvSpPr>
          <p:cNvPr id="14" name="Freeform: Shape 13">
            <a:extLst>
              <a:ext uri="{FF2B5EF4-FFF2-40B4-BE49-F238E27FC236}">
                <a16:creationId xmlns:a16="http://schemas.microsoft.com/office/drawing/2014/main" id="{BF1CF8F7-8101-8CDB-ADDF-9CE1C731DB28}"/>
              </a:ext>
            </a:extLst>
          </p:cNvPr>
          <p:cNvSpPr/>
          <p:nvPr/>
        </p:nvSpPr>
        <p:spPr>
          <a:xfrm flipV="1">
            <a:off x="5302306" y="3206809"/>
            <a:ext cx="6889692" cy="3651191"/>
          </a:xfrm>
          <a:custGeom>
            <a:avLst/>
            <a:gdLst>
              <a:gd name="connsiteX0" fmla="*/ 0 w 6889692"/>
              <a:gd name="connsiteY0" fmla="*/ 0 h 3651191"/>
              <a:gd name="connsiteX1" fmla="*/ 6889692 w 6889692"/>
              <a:gd name="connsiteY1" fmla="*/ 0 h 3651191"/>
              <a:gd name="connsiteX2" fmla="*/ 6889692 w 6889692"/>
              <a:gd name="connsiteY2" fmla="*/ 3651191 h 3651191"/>
              <a:gd name="connsiteX3" fmla="*/ 6864916 w 6889692"/>
              <a:gd name="connsiteY3" fmla="*/ 3622079 h 3651191"/>
              <a:gd name="connsiteX4" fmla="*/ 6346554 w 6889692"/>
              <a:gd name="connsiteY4" fmla="*/ 3338289 h 3651191"/>
              <a:gd name="connsiteX5" fmla="*/ 3294832 w 6889692"/>
              <a:gd name="connsiteY5" fmla="*/ 2501988 h 3651191"/>
              <a:gd name="connsiteX6" fmla="*/ 431501 w 6889692"/>
              <a:gd name="connsiteY6" fmla="*/ 250284 h 3651191"/>
              <a:gd name="connsiteX7" fmla="*/ 431559 w 6889692"/>
              <a:gd name="connsiteY7" fmla="*/ 250284 h 3651191"/>
              <a:gd name="connsiteX8" fmla="*/ 24892 w 6889692"/>
              <a:gd name="connsiteY8" fmla="*/ 18948 h 3651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89692" h="3651191">
                <a:moveTo>
                  <a:pt x="0" y="0"/>
                </a:moveTo>
                <a:lnTo>
                  <a:pt x="6889692" y="0"/>
                </a:lnTo>
                <a:lnTo>
                  <a:pt x="6889692" y="3651191"/>
                </a:lnTo>
                <a:lnTo>
                  <a:pt x="6864916" y="3622079"/>
                </a:lnTo>
                <a:cubicBezTo>
                  <a:pt x="6741099" y="3492174"/>
                  <a:pt x="6574262" y="3392139"/>
                  <a:pt x="6346554" y="3338289"/>
                </a:cubicBezTo>
                <a:cubicBezTo>
                  <a:pt x="5167714" y="3059467"/>
                  <a:pt x="4531806" y="3796263"/>
                  <a:pt x="3294832" y="2501988"/>
                </a:cubicBezTo>
                <a:cubicBezTo>
                  <a:pt x="2099512" y="1251301"/>
                  <a:pt x="2610418" y="1274588"/>
                  <a:pt x="431501" y="250284"/>
                </a:cubicBezTo>
                <a:lnTo>
                  <a:pt x="431559" y="250284"/>
                </a:lnTo>
                <a:cubicBezTo>
                  <a:pt x="287818" y="182709"/>
                  <a:pt x="151204" y="105869"/>
                  <a:pt x="24892" y="18948"/>
                </a:cubicBezTo>
                <a:close/>
              </a:path>
            </a:pathLst>
          </a:custGeom>
          <a:solidFill>
            <a:srgbClr val="243A5E">
              <a:lumMod val="50000"/>
            </a:srgbClr>
          </a:solidFill>
          <a:ln w="2142" cap="flat">
            <a:noFill/>
            <a:prstDash val="solid"/>
            <a:miter/>
          </a:ln>
          <a:effectLst>
            <a:outerShdw blurRad="25400" dist="25400" dir="8100000" algn="tr" rotWithShape="0">
              <a:prstClr val="black">
                <a:alpha val="58000"/>
              </a:prst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000000"/>
              </a:solidFill>
              <a:effectLst/>
              <a:uLnTx/>
              <a:uFillTx/>
            </a:endParaRPr>
          </a:p>
        </p:txBody>
      </p:sp>
      <p:sp>
        <p:nvSpPr>
          <p:cNvPr id="15" name="Freeform: Shape 14">
            <a:extLst>
              <a:ext uri="{FF2B5EF4-FFF2-40B4-BE49-F238E27FC236}">
                <a16:creationId xmlns:a16="http://schemas.microsoft.com/office/drawing/2014/main" id="{A6A22A41-F759-C60B-85DA-6A1D39718784}"/>
              </a:ext>
            </a:extLst>
          </p:cNvPr>
          <p:cNvSpPr/>
          <p:nvPr/>
        </p:nvSpPr>
        <p:spPr>
          <a:xfrm flipH="1">
            <a:off x="3541486" y="4548054"/>
            <a:ext cx="8650510" cy="2309944"/>
          </a:xfrm>
          <a:custGeom>
            <a:avLst/>
            <a:gdLst>
              <a:gd name="connsiteX0" fmla="*/ 795455 w 10215358"/>
              <a:gd name="connsiteY0" fmla="*/ 462 h 2727805"/>
              <a:gd name="connsiteX1" fmla="*/ 499463 w 10215358"/>
              <a:gd name="connsiteY1" fmla="*/ 24353 h 2727805"/>
              <a:gd name="connsiteX2" fmla="*/ 95236 w 10215358"/>
              <a:gd name="connsiteY2" fmla="*/ 119650 h 2727805"/>
              <a:gd name="connsiteX3" fmla="*/ 0 w 10215358"/>
              <a:gd name="connsiteY3" fmla="*/ 157430 h 2727805"/>
              <a:gd name="connsiteX4" fmla="*/ 0 w 10215358"/>
              <a:gd name="connsiteY4" fmla="*/ 2727805 h 2727805"/>
              <a:gd name="connsiteX5" fmla="*/ 10215358 w 10215358"/>
              <a:gd name="connsiteY5" fmla="*/ 2727805 h 2727805"/>
              <a:gd name="connsiteX6" fmla="*/ 10144639 w 10215358"/>
              <a:gd name="connsiteY6" fmla="*/ 2558390 h 2727805"/>
              <a:gd name="connsiteX7" fmla="*/ 7779224 w 10215358"/>
              <a:gd name="connsiteY7" fmla="*/ 1469756 h 2727805"/>
              <a:gd name="connsiteX8" fmla="*/ 4355227 w 10215358"/>
              <a:gd name="connsiteY8" fmla="*/ 2122885 h 2727805"/>
              <a:gd name="connsiteX9" fmla="*/ 795455 w 10215358"/>
              <a:gd name="connsiteY9" fmla="*/ 462 h 2727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215358" h="2727805">
                <a:moveTo>
                  <a:pt x="795455" y="462"/>
                </a:moveTo>
                <a:cubicBezTo>
                  <a:pt x="698656" y="2360"/>
                  <a:pt x="600035" y="10149"/>
                  <a:pt x="499463" y="24353"/>
                </a:cubicBezTo>
                <a:cubicBezTo>
                  <a:pt x="355761" y="44646"/>
                  <a:pt x="220974" y="76809"/>
                  <a:pt x="95236" y="119650"/>
                </a:cubicBezTo>
                <a:lnTo>
                  <a:pt x="0" y="157430"/>
                </a:lnTo>
                <a:lnTo>
                  <a:pt x="0" y="2727805"/>
                </a:lnTo>
                <a:lnTo>
                  <a:pt x="10215358" y="2727805"/>
                </a:lnTo>
                <a:lnTo>
                  <a:pt x="10144639" y="2558390"/>
                </a:lnTo>
                <a:cubicBezTo>
                  <a:pt x="9781843" y="1762373"/>
                  <a:pt x="8946083" y="1086740"/>
                  <a:pt x="7779224" y="1469756"/>
                </a:cubicBezTo>
                <a:cubicBezTo>
                  <a:pt x="6647424" y="1841299"/>
                  <a:pt x="5731723" y="3225843"/>
                  <a:pt x="4355227" y="2122885"/>
                </a:cubicBezTo>
                <a:cubicBezTo>
                  <a:pt x="3289527" y="1268936"/>
                  <a:pt x="2247448" y="-28013"/>
                  <a:pt x="795455" y="462"/>
                </a:cubicBezTo>
                <a:close/>
              </a:path>
            </a:pathLst>
          </a:custGeom>
          <a:gradFill flip="none" rotWithShape="1">
            <a:gsLst>
              <a:gs pos="0">
                <a:srgbClr val="243A5E">
                  <a:lumMod val="50000"/>
                </a:srgbClr>
              </a:gs>
              <a:gs pos="99000">
                <a:srgbClr val="0078D4">
                  <a:alpha val="78000"/>
                </a:srgbClr>
              </a:gs>
            </a:gsLst>
            <a:lin ang="10800000" scaled="1"/>
            <a:tileRect/>
          </a:gradFill>
          <a:ln w="2142" cap="flat">
            <a:noFill/>
            <a:prstDash val="solid"/>
            <a:miter/>
          </a:ln>
        </p:spPr>
        <p:txBody>
          <a:bodyPr rtlCol="0" anchor="ctr"/>
          <a:lstStyle/>
          <a:p>
            <a:pPr marR="0" lvl="0" indent="0" defTabSz="914400" fontAlgn="auto">
              <a:lnSpc>
                <a:spcPct val="100000"/>
              </a:lnSpc>
              <a:spcBef>
                <a:spcPts val="0"/>
              </a:spcBef>
              <a:spcAft>
                <a:spcPts val="0"/>
              </a:spcAft>
              <a:buClrTx/>
              <a:buSzTx/>
              <a:buFontTx/>
              <a:buNone/>
              <a:tabLst/>
            </a:pPr>
            <a:endParaRPr kumimoji="0" lang="en-IN" sz="1800" b="0" i="0" u="none" strike="noStrike" kern="0" cap="none" spc="0" normalizeH="0" baseline="0" noProof="0">
              <a:ln>
                <a:noFill/>
              </a:ln>
              <a:solidFill>
                <a:srgbClr val="000000"/>
              </a:solidFill>
              <a:effectLst/>
              <a:uLnTx/>
              <a:uFillTx/>
            </a:endParaRPr>
          </a:p>
        </p:txBody>
      </p:sp>
      <p:sp>
        <p:nvSpPr>
          <p:cNvPr id="16" name="Freeform: Shape 15">
            <a:extLst>
              <a:ext uri="{FF2B5EF4-FFF2-40B4-BE49-F238E27FC236}">
                <a16:creationId xmlns:a16="http://schemas.microsoft.com/office/drawing/2014/main" id="{23F591A5-17D2-0B89-10B5-87EDF2B37E5B}"/>
              </a:ext>
            </a:extLst>
          </p:cNvPr>
          <p:cNvSpPr/>
          <p:nvPr/>
        </p:nvSpPr>
        <p:spPr>
          <a:xfrm rot="5400000" flipH="1" flipV="1">
            <a:off x="-1" y="1"/>
            <a:ext cx="4122057" cy="4122055"/>
          </a:xfrm>
          <a:custGeom>
            <a:avLst/>
            <a:gdLst>
              <a:gd name="connsiteX0" fmla="*/ 6613200 w 6689088"/>
              <a:gd name="connsiteY0" fmla="*/ 6687632 h 6689084"/>
              <a:gd name="connsiteX1" fmla="*/ 6613929 w 6689088"/>
              <a:gd name="connsiteY1" fmla="*/ 6688360 h 6689084"/>
              <a:gd name="connsiteX2" fmla="*/ 6613200 w 6689088"/>
              <a:gd name="connsiteY2" fmla="*/ 6689084 h 6689084"/>
              <a:gd name="connsiteX3" fmla="*/ 6612476 w 6689088"/>
              <a:gd name="connsiteY3" fmla="*/ 6688360 h 6689084"/>
              <a:gd name="connsiteX4" fmla="*/ 6613200 w 6689088"/>
              <a:gd name="connsiteY4" fmla="*/ 6687632 h 6689084"/>
              <a:gd name="connsiteX5" fmla="*/ 6613200 w 6689088"/>
              <a:gd name="connsiteY5" fmla="*/ 6534050 h 6689084"/>
              <a:gd name="connsiteX6" fmla="*/ 6613566 w 6689088"/>
              <a:gd name="connsiteY6" fmla="*/ 6534413 h 6689084"/>
              <a:gd name="connsiteX7" fmla="*/ 6613200 w 6689088"/>
              <a:gd name="connsiteY7" fmla="*/ 6534775 h 6689084"/>
              <a:gd name="connsiteX8" fmla="*/ 6612838 w 6689088"/>
              <a:gd name="connsiteY8" fmla="*/ 6534413 h 6689084"/>
              <a:gd name="connsiteX9" fmla="*/ 6613200 w 6689088"/>
              <a:gd name="connsiteY9" fmla="*/ 6534050 h 6689084"/>
              <a:gd name="connsiteX10" fmla="*/ 6459619 w 6689088"/>
              <a:gd name="connsiteY10" fmla="*/ 6533684 h 6689084"/>
              <a:gd name="connsiteX11" fmla="*/ 6460344 w 6689088"/>
              <a:gd name="connsiteY11" fmla="*/ 6534413 h 6689084"/>
              <a:gd name="connsiteX12" fmla="*/ 6459619 w 6689088"/>
              <a:gd name="connsiteY12" fmla="*/ 6535137 h 6689084"/>
              <a:gd name="connsiteX13" fmla="*/ 6458891 w 6689088"/>
              <a:gd name="connsiteY13" fmla="*/ 6534413 h 6689084"/>
              <a:gd name="connsiteX14" fmla="*/ 6459619 w 6689088"/>
              <a:gd name="connsiteY14" fmla="*/ 6533684 h 6689084"/>
              <a:gd name="connsiteX15" fmla="*/ 6613200 w 6689088"/>
              <a:gd name="connsiteY15" fmla="*/ 6380465 h 6689084"/>
              <a:gd name="connsiteX16" fmla="*/ 6613566 w 6689088"/>
              <a:gd name="connsiteY16" fmla="*/ 6380827 h 6689084"/>
              <a:gd name="connsiteX17" fmla="*/ 6613200 w 6689088"/>
              <a:gd name="connsiteY17" fmla="*/ 6381193 h 6689084"/>
              <a:gd name="connsiteX18" fmla="*/ 6612838 w 6689088"/>
              <a:gd name="connsiteY18" fmla="*/ 6380827 h 6689084"/>
              <a:gd name="connsiteX19" fmla="*/ 6613200 w 6689088"/>
              <a:gd name="connsiteY19" fmla="*/ 6380465 h 6689084"/>
              <a:gd name="connsiteX20" fmla="*/ 6459616 w 6689088"/>
              <a:gd name="connsiteY20" fmla="*/ 6380465 h 6689084"/>
              <a:gd name="connsiteX21" fmla="*/ 6459982 w 6689088"/>
              <a:gd name="connsiteY21" fmla="*/ 6380827 h 6689084"/>
              <a:gd name="connsiteX22" fmla="*/ 6459616 w 6689088"/>
              <a:gd name="connsiteY22" fmla="*/ 6381193 h 6689084"/>
              <a:gd name="connsiteX23" fmla="*/ 6459254 w 6689088"/>
              <a:gd name="connsiteY23" fmla="*/ 6380827 h 6689084"/>
              <a:gd name="connsiteX24" fmla="*/ 6459616 w 6689088"/>
              <a:gd name="connsiteY24" fmla="*/ 6380465 h 6689084"/>
              <a:gd name="connsiteX25" fmla="*/ 6305668 w 6689088"/>
              <a:gd name="connsiteY25" fmla="*/ 6380103 h 6689084"/>
              <a:gd name="connsiteX26" fmla="*/ 6306396 w 6689088"/>
              <a:gd name="connsiteY26" fmla="*/ 6380831 h 6689084"/>
              <a:gd name="connsiteX27" fmla="*/ 6305668 w 6689088"/>
              <a:gd name="connsiteY27" fmla="*/ 6381555 h 6689084"/>
              <a:gd name="connsiteX28" fmla="*/ 6304940 w 6689088"/>
              <a:gd name="connsiteY28" fmla="*/ 6380831 h 6689084"/>
              <a:gd name="connsiteX29" fmla="*/ 6305668 w 6689088"/>
              <a:gd name="connsiteY29" fmla="*/ 6380103 h 6689084"/>
              <a:gd name="connsiteX30" fmla="*/ 6459616 w 6689088"/>
              <a:gd name="connsiteY30" fmla="*/ 6226518 h 6689084"/>
              <a:gd name="connsiteX31" fmla="*/ 6459982 w 6689088"/>
              <a:gd name="connsiteY31" fmla="*/ 6226880 h 6689084"/>
              <a:gd name="connsiteX32" fmla="*/ 6459616 w 6689088"/>
              <a:gd name="connsiteY32" fmla="*/ 6227242 h 6689084"/>
              <a:gd name="connsiteX33" fmla="*/ 6459254 w 6689088"/>
              <a:gd name="connsiteY33" fmla="*/ 6226880 h 6689084"/>
              <a:gd name="connsiteX34" fmla="*/ 6459616 w 6689088"/>
              <a:gd name="connsiteY34" fmla="*/ 6226518 h 6689084"/>
              <a:gd name="connsiteX35" fmla="*/ 6305668 w 6689088"/>
              <a:gd name="connsiteY35" fmla="*/ 6226518 h 6689084"/>
              <a:gd name="connsiteX36" fmla="*/ 6306034 w 6689088"/>
              <a:gd name="connsiteY36" fmla="*/ 6226880 h 6689084"/>
              <a:gd name="connsiteX37" fmla="*/ 6305668 w 6689088"/>
              <a:gd name="connsiteY37" fmla="*/ 6227242 h 6689084"/>
              <a:gd name="connsiteX38" fmla="*/ 6305306 w 6689088"/>
              <a:gd name="connsiteY38" fmla="*/ 6226880 h 6689084"/>
              <a:gd name="connsiteX39" fmla="*/ 6305668 w 6689088"/>
              <a:gd name="connsiteY39" fmla="*/ 6226518 h 6689084"/>
              <a:gd name="connsiteX40" fmla="*/ 6152083 w 6689088"/>
              <a:gd name="connsiteY40" fmla="*/ 6226156 h 6689084"/>
              <a:gd name="connsiteX41" fmla="*/ 6152811 w 6689088"/>
              <a:gd name="connsiteY41" fmla="*/ 6226884 h 6689084"/>
              <a:gd name="connsiteX42" fmla="*/ 6152083 w 6689088"/>
              <a:gd name="connsiteY42" fmla="*/ 6227608 h 6689084"/>
              <a:gd name="connsiteX43" fmla="*/ 6151358 w 6689088"/>
              <a:gd name="connsiteY43" fmla="*/ 6226884 h 6689084"/>
              <a:gd name="connsiteX44" fmla="*/ 6152083 w 6689088"/>
              <a:gd name="connsiteY44" fmla="*/ 6226156 h 6689084"/>
              <a:gd name="connsiteX45" fmla="*/ 6305668 w 6689088"/>
              <a:gd name="connsiteY45" fmla="*/ 6072933 h 6689084"/>
              <a:gd name="connsiteX46" fmla="*/ 6306034 w 6689088"/>
              <a:gd name="connsiteY46" fmla="*/ 6073295 h 6689084"/>
              <a:gd name="connsiteX47" fmla="*/ 6305668 w 6689088"/>
              <a:gd name="connsiteY47" fmla="*/ 6073661 h 6689084"/>
              <a:gd name="connsiteX48" fmla="*/ 6305306 w 6689088"/>
              <a:gd name="connsiteY48" fmla="*/ 6073295 h 6689084"/>
              <a:gd name="connsiteX49" fmla="*/ 6305668 w 6689088"/>
              <a:gd name="connsiteY49" fmla="*/ 6072933 h 6689084"/>
              <a:gd name="connsiteX50" fmla="*/ 6152086 w 6689088"/>
              <a:gd name="connsiteY50" fmla="*/ 6072933 h 6689084"/>
              <a:gd name="connsiteX51" fmla="*/ 6152448 w 6689088"/>
              <a:gd name="connsiteY51" fmla="*/ 6073295 h 6689084"/>
              <a:gd name="connsiteX52" fmla="*/ 6152086 w 6689088"/>
              <a:gd name="connsiteY52" fmla="*/ 6073661 h 6689084"/>
              <a:gd name="connsiteX53" fmla="*/ 6151724 w 6689088"/>
              <a:gd name="connsiteY53" fmla="*/ 6073295 h 6689084"/>
              <a:gd name="connsiteX54" fmla="*/ 6152086 w 6689088"/>
              <a:gd name="connsiteY54" fmla="*/ 6072933 h 6689084"/>
              <a:gd name="connsiteX55" fmla="*/ 5998136 w 6689088"/>
              <a:gd name="connsiteY55" fmla="*/ 6072570 h 6689084"/>
              <a:gd name="connsiteX56" fmla="*/ 5998864 w 6689088"/>
              <a:gd name="connsiteY56" fmla="*/ 6073298 h 6689084"/>
              <a:gd name="connsiteX57" fmla="*/ 5998136 w 6689088"/>
              <a:gd name="connsiteY57" fmla="*/ 6074023 h 6689084"/>
              <a:gd name="connsiteX58" fmla="*/ 5997411 w 6689088"/>
              <a:gd name="connsiteY58" fmla="*/ 6073298 h 6689084"/>
              <a:gd name="connsiteX59" fmla="*/ 5998136 w 6689088"/>
              <a:gd name="connsiteY59" fmla="*/ 6072570 h 6689084"/>
              <a:gd name="connsiteX60" fmla="*/ 6613200 w 6689088"/>
              <a:gd name="connsiteY60" fmla="*/ 5918985 h 6689084"/>
              <a:gd name="connsiteX61" fmla="*/ 6613566 w 6689088"/>
              <a:gd name="connsiteY61" fmla="*/ 5919347 h 6689084"/>
              <a:gd name="connsiteX62" fmla="*/ 6613200 w 6689088"/>
              <a:gd name="connsiteY62" fmla="*/ 5919709 h 6689084"/>
              <a:gd name="connsiteX63" fmla="*/ 6612838 w 6689088"/>
              <a:gd name="connsiteY63" fmla="*/ 5919347 h 6689084"/>
              <a:gd name="connsiteX64" fmla="*/ 6613200 w 6689088"/>
              <a:gd name="connsiteY64" fmla="*/ 5918985 h 6689084"/>
              <a:gd name="connsiteX65" fmla="*/ 6152086 w 6689088"/>
              <a:gd name="connsiteY65" fmla="*/ 5918985 h 6689084"/>
              <a:gd name="connsiteX66" fmla="*/ 6152448 w 6689088"/>
              <a:gd name="connsiteY66" fmla="*/ 5919347 h 6689084"/>
              <a:gd name="connsiteX67" fmla="*/ 6152086 w 6689088"/>
              <a:gd name="connsiteY67" fmla="*/ 5919709 h 6689084"/>
              <a:gd name="connsiteX68" fmla="*/ 6151724 w 6689088"/>
              <a:gd name="connsiteY68" fmla="*/ 5919347 h 6689084"/>
              <a:gd name="connsiteX69" fmla="*/ 6152086 w 6689088"/>
              <a:gd name="connsiteY69" fmla="*/ 5918985 h 6689084"/>
              <a:gd name="connsiteX70" fmla="*/ 5998136 w 6689088"/>
              <a:gd name="connsiteY70" fmla="*/ 5918985 h 6689084"/>
              <a:gd name="connsiteX71" fmla="*/ 5998502 w 6689088"/>
              <a:gd name="connsiteY71" fmla="*/ 5919347 h 6689084"/>
              <a:gd name="connsiteX72" fmla="*/ 5998136 w 6689088"/>
              <a:gd name="connsiteY72" fmla="*/ 5919709 h 6689084"/>
              <a:gd name="connsiteX73" fmla="*/ 5997773 w 6689088"/>
              <a:gd name="connsiteY73" fmla="*/ 5919347 h 6689084"/>
              <a:gd name="connsiteX74" fmla="*/ 5998136 w 6689088"/>
              <a:gd name="connsiteY74" fmla="*/ 5918985 h 6689084"/>
              <a:gd name="connsiteX75" fmla="*/ 5844554 w 6689088"/>
              <a:gd name="connsiteY75" fmla="*/ 5918623 h 6689084"/>
              <a:gd name="connsiteX76" fmla="*/ 5845278 w 6689088"/>
              <a:gd name="connsiteY76" fmla="*/ 5919347 h 6689084"/>
              <a:gd name="connsiteX77" fmla="*/ 5844554 w 6689088"/>
              <a:gd name="connsiteY77" fmla="*/ 5920075 h 6689084"/>
              <a:gd name="connsiteX78" fmla="*/ 5843826 w 6689088"/>
              <a:gd name="connsiteY78" fmla="*/ 5919347 h 6689084"/>
              <a:gd name="connsiteX79" fmla="*/ 5844554 w 6689088"/>
              <a:gd name="connsiteY79" fmla="*/ 5918623 h 6689084"/>
              <a:gd name="connsiteX80" fmla="*/ 6459616 w 6689088"/>
              <a:gd name="connsiteY80" fmla="*/ 5765400 h 6689084"/>
              <a:gd name="connsiteX81" fmla="*/ 6459982 w 6689088"/>
              <a:gd name="connsiteY81" fmla="*/ 5765762 h 6689084"/>
              <a:gd name="connsiteX82" fmla="*/ 6459616 w 6689088"/>
              <a:gd name="connsiteY82" fmla="*/ 5766128 h 6689084"/>
              <a:gd name="connsiteX83" fmla="*/ 6459254 w 6689088"/>
              <a:gd name="connsiteY83" fmla="*/ 5765762 h 6689084"/>
              <a:gd name="connsiteX84" fmla="*/ 6459616 w 6689088"/>
              <a:gd name="connsiteY84" fmla="*/ 5765400 h 6689084"/>
              <a:gd name="connsiteX85" fmla="*/ 5998136 w 6689088"/>
              <a:gd name="connsiteY85" fmla="*/ 5765400 h 6689084"/>
              <a:gd name="connsiteX86" fmla="*/ 5998502 w 6689088"/>
              <a:gd name="connsiteY86" fmla="*/ 5765762 h 6689084"/>
              <a:gd name="connsiteX87" fmla="*/ 5998136 w 6689088"/>
              <a:gd name="connsiteY87" fmla="*/ 5766128 h 6689084"/>
              <a:gd name="connsiteX88" fmla="*/ 5997773 w 6689088"/>
              <a:gd name="connsiteY88" fmla="*/ 5765762 h 6689084"/>
              <a:gd name="connsiteX89" fmla="*/ 5998136 w 6689088"/>
              <a:gd name="connsiteY89" fmla="*/ 5765400 h 6689084"/>
              <a:gd name="connsiteX90" fmla="*/ 5844550 w 6689088"/>
              <a:gd name="connsiteY90" fmla="*/ 5765400 h 6689084"/>
              <a:gd name="connsiteX91" fmla="*/ 5844916 w 6689088"/>
              <a:gd name="connsiteY91" fmla="*/ 5765762 h 6689084"/>
              <a:gd name="connsiteX92" fmla="*/ 5844550 w 6689088"/>
              <a:gd name="connsiteY92" fmla="*/ 5766128 h 6689084"/>
              <a:gd name="connsiteX93" fmla="*/ 5844188 w 6689088"/>
              <a:gd name="connsiteY93" fmla="*/ 5765762 h 6689084"/>
              <a:gd name="connsiteX94" fmla="*/ 5844550 w 6689088"/>
              <a:gd name="connsiteY94" fmla="*/ 5765400 h 6689084"/>
              <a:gd name="connsiteX95" fmla="*/ 5690602 w 6689088"/>
              <a:gd name="connsiteY95" fmla="*/ 5765038 h 6689084"/>
              <a:gd name="connsiteX96" fmla="*/ 5691331 w 6689088"/>
              <a:gd name="connsiteY96" fmla="*/ 5765766 h 6689084"/>
              <a:gd name="connsiteX97" fmla="*/ 5690602 w 6689088"/>
              <a:gd name="connsiteY97" fmla="*/ 5766490 h 6689084"/>
              <a:gd name="connsiteX98" fmla="*/ 5689874 w 6689088"/>
              <a:gd name="connsiteY98" fmla="*/ 5765766 h 6689084"/>
              <a:gd name="connsiteX99" fmla="*/ 5690602 w 6689088"/>
              <a:gd name="connsiteY99" fmla="*/ 5765038 h 6689084"/>
              <a:gd name="connsiteX100" fmla="*/ 6613200 w 6689088"/>
              <a:gd name="connsiteY100" fmla="*/ 5764313 h 6689084"/>
              <a:gd name="connsiteX101" fmla="*/ 6614653 w 6689088"/>
              <a:gd name="connsiteY101" fmla="*/ 5765766 h 6689084"/>
              <a:gd name="connsiteX102" fmla="*/ 6613200 w 6689088"/>
              <a:gd name="connsiteY102" fmla="*/ 5767218 h 6689084"/>
              <a:gd name="connsiteX103" fmla="*/ 6611752 w 6689088"/>
              <a:gd name="connsiteY103" fmla="*/ 5765766 h 6689084"/>
              <a:gd name="connsiteX104" fmla="*/ 6613200 w 6689088"/>
              <a:gd name="connsiteY104" fmla="*/ 5764313 h 6689084"/>
              <a:gd name="connsiteX105" fmla="*/ 6305668 w 6689088"/>
              <a:gd name="connsiteY105" fmla="*/ 5611452 h 6689084"/>
              <a:gd name="connsiteX106" fmla="*/ 6306034 w 6689088"/>
              <a:gd name="connsiteY106" fmla="*/ 5611815 h 6689084"/>
              <a:gd name="connsiteX107" fmla="*/ 6305668 w 6689088"/>
              <a:gd name="connsiteY107" fmla="*/ 5612177 h 6689084"/>
              <a:gd name="connsiteX108" fmla="*/ 6305306 w 6689088"/>
              <a:gd name="connsiteY108" fmla="*/ 5611815 h 6689084"/>
              <a:gd name="connsiteX109" fmla="*/ 6305668 w 6689088"/>
              <a:gd name="connsiteY109" fmla="*/ 5611452 h 6689084"/>
              <a:gd name="connsiteX110" fmla="*/ 5844550 w 6689088"/>
              <a:gd name="connsiteY110" fmla="*/ 5611452 h 6689084"/>
              <a:gd name="connsiteX111" fmla="*/ 5844916 w 6689088"/>
              <a:gd name="connsiteY111" fmla="*/ 5611815 h 6689084"/>
              <a:gd name="connsiteX112" fmla="*/ 5844550 w 6689088"/>
              <a:gd name="connsiteY112" fmla="*/ 5612181 h 6689084"/>
              <a:gd name="connsiteX113" fmla="*/ 5844188 w 6689088"/>
              <a:gd name="connsiteY113" fmla="*/ 5611815 h 6689084"/>
              <a:gd name="connsiteX114" fmla="*/ 5844550 w 6689088"/>
              <a:gd name="connsiteY114" fmla="*/ 5611452 h 6689084"/>
              <a:gd name="connsiteX115" fmla="*/ 5690606 w 6689088"/>
              <a:gd name="connsiteY115" fmla="*/ 5611452 h 6689084"/>
              <a:gd name="connsiteX116" fmla="*/ 5690972 w 6689088"/>
              <a:gd name="connsiteY116" fmla="*/ 5611815 h 6689084"/>
              <a:gd name="connsiteX117" fmla="*/ 5690606 w 6689088"/>
              <a:gd name="connsiteY117" fmla="*/ 5612181 h 6689084"/>
              <a:gd name="connsiteX118" fmla="*/ 5690244 w 6689088"/>
              <a:gd name="connsiteY118" fmla="*/ 5611815 h 6689084"/>
              <a:gd name="connsiteX119" fmla="*/ 5690606 w 6689088"/>
              <a:gd name="connsiteY119" fmla="*/ 5611452 h 6689084"/>
              <a:gd name="connsiteX120" fmla="*/ 5537021 w 6689088"/>
              <a:gd name="connsiteY120" fmla="*/ 5611090 h 6689084"/>
              <a:gd name="connsiteX121" fmla="*/ 5537750 w 6689088"/>
              <a:gd name="connsiteY121" fmla="*/ 5611815 h 6689084"/>
              <a:gd name="connsiteX122" fmla="*/ 5537021 w 6689088"/>
              <a:gd name="connsiteY122" fmla="*/ 5612543 h 6689084"/>
              <a:gd name="connsiteX123" fmla="*/ 5536297 w 6689088"/>
              <a:gd name="connsiteY123" fmla="*/ 5611815 h 6689084"/>
              <a:gd name="connsiteX124" fmla="*/ 5537021 w 6689088"/>
              <a:gd name="connsiteY124" fmla="*/ 5611090 h 6689084"/>
              <a:gd name="connsiteX125" fmla="*/ 6459616 w 6689088"/>
              <a:gd name="connsiteY125" fmla="*/ 5610366 h 6689084"/>
              <a:gd name="connsiteX126" fmla="*/ 6461068 w 6689088"/>
              <a:gd name="connsiteY126" fmla="*/ 5611818 h 6689084"/>
              <a:gd name="connsiteX127" fmla="*/ 6459616 w 6689088"/>
              <a:gd name="connsiteY127" fmla="*/ 5613271 h 6689084"/>
              <a:gd name="connsiteX128" fmla="*/ 6458163 w 6689088"/>
              <a:gd name="connsiteY128" fmla="*/ 5611818 h 6689084"/>
              <a:gd name="connsiteX129" fmla="*/ 6459616 w 6689088"/>
              <a:gd name="connsiteY129" fmla="*/ 5610366 h 6689084"/>
              <a:gd name="connsiteX130" fmla="*/ 6613200 w 6689088"/>
              <a:gd name="connsiteY130" fmla="*/ 5609638 h 6689084"/>
              <a:gd name="connsiteX131" fmla="*/ 6615381 w 6689088"/>
              <a:gd name="connsiteY131" fmla="*/ 5611815 h 6689084"/>
              <a:gd name="connsiteX132" fmla="*/ 6613200 w 6689088"/>
              <a:gd name="connsiteY132" fmla="*/ 5613995 h 6689084"/>
              <a:gd name="connsiteX133" fmla="*/ 6611024 w 6689088"/>
              <a:gd name="connsiteY133" fmla="*/ 5611815 h 6689084"/>
              <a:gd name="connsiteX134" fmla="*/ 6613200 w 6689088"/>
              <a:gd name="connsiteY134" fmla="*/ 5609638 h 6689084"/>
              <a:gd name="connsiteX135" fmla="*/ 6152086 w 6689088"/>
              <a:gd name="connsiteY135" fmla="*/ 5457871 h 6689084"/>
              <a:gd name="connsiteX136" fmla="*/ 6152448 w 6689088"/>
              <a:gd name="connsiteY136" fmla="*/ 5458233 h 6689084"/>
              <a:gd name="connsiteX137" fmla="*/ 6152086 w 6689088"/>
              <a:gd name="connsiteY137" fmla="*/ 5458595 h 6689084"/>
              <a:gd name="connsiteX138" fmla="*/ 6151724 w 6689088"/>
              <a:gd name="connsiteY138" fmla="*/ 5458233 h 6689084"/>
              <a:gd name="connsiteX139" fmla="*/ 6152086 w 6689088"/>
              <a:gd name="connsiteY139" fmla="*/ 5457871 h 6689084"/>
              <a:gd name="connsiteX140" fmla="*/ 5690606 w 6689088"/>
              <a:gd name="connsiteY140" fmla="*/ 5457871 h 6689084"/>
              <a:gd name="connsiteX141" fmla="*/ 5690972 w 6689088"/>
              <a:gd name="connsiteY141" fmla="*/ 5458233 h 6689084"/>
              <a:gd name="connsiteX142" fmla="*/ 5690606 w 6689088"/>
              <a:gd name="connsiteY142" fmla="*/ 5458595 h 6689084"/>
              <a:gd name="connsiteX143" fmla="*/ 5690244 w 6689088"/>
              <a:gd name="connsiteY143" fmla="*/ 5458233 h 6689084"/>
              <a:gd name="connsiteX144" fmla="*/ 5690606 w 6689088"/>
              <a:gd name="connsiteY144" fmla="*/ 5457871 h 6689084"/>
              <a:gd name="connsiteX145" fmla="*/ 5536659 w 6689088"/>
              <a:gd name="connsiteY145" fmla="*/ 5457871 h 6689084"/>
              <a:gd name="connsiteX146" fmla="*/ 5537021 w 6689088"/>
              <a:gd name="connsiteY146" fmla="*/ 5458233 h 6689084"/>
              <a:gd name="connsiteX147" fmla="*/ 5536659 w 6689088"/>
              <a:gd name="connsiteY147" fmla="*/ 5458595 h 6689084"/>
              <a:gd name="connsiteX148" fmla="*/ 5536297 w 6689088"/>
              <a:gd name="connsiteY148" fmla="*/ 5458233 h 6689084"/>
              <a:gd name="connsiteX149" fmla="*/ 5536659 w 6689088"/>
              <a:gd name="connsiteY149" fmla="*/ 5457871 h 6689084"/>
              <a:gd name="connsiteX150" fmla="*/ 5383078 w 6689088"/>
              <a:gd name="connsiteY150" fmla="*/ 5457505 h 6689084"/>
              <a:gd name="connsiteX151" fmla="*/ 5383802 w 6689088"/>
              <a:gd name="connsiteY151" fmla="*/ 5458233 h 6689084"/>
              <a:gd name="connsiteX152" fmla="*/ 5383078 w 6689088"/>
              <a:gd name="connsiteY152" fmla="*/ 5458957 h 6689084"/>
              <a:gd name="connsiteX153" fmla="*/ 5382350 w 6689088"/>
              <a:gd name="connsiteY153" fmla="*/ 5458233 h 6689084"/>
              <a:gd name="connsiteX154" fmla="*/ 5383078 w 6689088"/>
              <a:gd name="connsiteY154" fmla="*/ 5457505 h 6689084"/>
              <a:gd name="connsiteX155" fmla="*/ 6305668 w 6689088"/>
              <a:gd name="connsiteY155" fmla="*/ 5456781 h 6689084"/>
              <a:gd name="connsiteX156" fmla="*/ 6307120 w 6689088"/>
              <a:gd name="connsiteY156" fmla="*/ 5458233 h 6689084"/>
              <a:gd name="connsiteX157" fmla="*/ 6305668 w 6689088"/>
              <a:gd name="connsiteY157" fmla="*/ 5459685 h 6689084"/>
              <a:gd name="connsiteX158" fmla="*/ 6304216 w 6689088"/>
              <a:gd name="connsiteY158" fmla="*/ 5458233 h 6689084"/>
              <a:gd name="connsiteX159" fmla="*/ 6305668 w 6689088"/>
              <a:gd name="connsiteY159" fmla="*/ 5456781 h 6689084"/>
              <a:gd name="connsiteX160" fmla="*/ 6459619 w 6689088"/>
              <a:gd name="connsiteY160" fmla="*/ 5456053 h 6689084"/>
              <a:gd name="connsiteX161" fmla="*/ 6461796 w 6689088"/>
              <a:gd name="connsiteY161" fmla="*/ 5458233 h 6689084"/>
              <a:gd name="connsiteX162" fmla="*/ 6459619 w 6689088"/>
              <a:gd name="connsiteY162" fmla="*/ 5460410 h 6689084"/>
              <a:gd name="connsiteX163" fmla="*/ 6457439 w 6689088"/>
              <a:gd name="connsiteY163" fmla="*/ 5458233 h 6689084"/>
              <a:gd name="connsiteX164" fmla="*/ 6459619 w 6689088"/>
              <a:gd name="connsiteY164" fmla="*/ 5456053 h 6689084"/>
              <a:gd name="connsiteX165" fmla="*/ 6613200 w 6689088"/>
              <a:gd name="connsiteY165" fmla="*/ 5454966 h 6689084"/>
              <a:gd name="connsiteX166" fmla="*/ 6616468 w 6689088"/>
              <a:gd name="connsiteY166" fmla="*/ 5458233 h 6689084"/>
              <a:gd name="connsiteX167" fmla="*/ 6613200 w 6689088"/>
              <a:gd name="connsiteY167" fmla="*/ 5461500 h 6689084"/>
              <a:gd name="connsiteX168" fmla="*/ 6609934 w 6689088"/>
              <a:gd name="connsiteY168" fmla="*/ 5458233 h 6689084"/>
              <a:gd name="connsiteX169" fmla="*/ 6613200 w 6689088"/>
              <a:gd name="connsiteY169" fmla="*/ 5454966 h 6689084"/>
              <a:gd name="connsiteX170" fmla="*/ 5998136 w 6689088"/>
              <a:gd name="connsiteY170" fmla="*/ 5303924 h 6689084"/>
              <a:gd name="connsiteX171" fmla="*/ 5998502 w 6689088"/>
              <a:gd name="connsiteY171" fmla="*/ 5304286 h 6689084"/>
              <a:gd name="connsiteX172" fmla="*/ 5998136 w 6689088"/>
              <a:gd name="connsiteY172" fmla="*/ 5304652 h 6689084"/>
              <a:gd name="connsiteX173" fmla="*/ 5997773 w 6689088"/>
              <a:gd name="connsiteY173" fmla="*/ 5304286 h 6689084"/>
              <a:gd name="connsiteX174" fmla="*/ 5998136 w 6689088"/>
              <a:gd name="connsiteY174" fmla="*/ 5303924 h 6689084"/>
              <a:gd name="connsiteX175" fmla="*/ 5536659 w 6689088"/>
              <a:gd name="connsiteY175" fmla="*/ 5303924 h 6689084"/>
              <a:gd name="connsiteX176" fmla="*/ 5537021 w 6689088"/>
              <a:gd name="connsiteY176" fmla="*/ 5304286 h 6689084"/>
              <a:gd name="connsiteX177" fmla="*/ 5536659 w 6689088"/>
              <a:gd name="connsiteY177" fmla="*/ 5304652 h 6689084"/>
              <a:gd name="connsiteX178" fmla="*/ 5536297 w 6689088"/>
              <a:gd name="connsiteY178" fmla="*/ 5304286 h 6689084"/>
              <a:gd name="connsiteX179" fmla="*/ 5536659 w 6689088"/>
              <a:gd name="connsiteY179" fmla="*/ 5303924 h 6689084"/>
              <a:gd name="connsiteX180" fmla="*/ 5383074 w 6689088"/>
              <a:gd name="connsiteY180" fmla="*/ 5303924 h 6689084"/>
              <a:gd name="connsiteX181" fmla="*/ 5383436 w 6689088"/>
              <a:gd name="connsiteY181" fmla="*/ 5304286 h 6689084"/>
              <a:gd name="connsiteX182" fmla="*/ 5383074 w 6689088"/>
              <a:gd name="connsiteY182" fmla="*/ 5304652 h 6689084"/>
              <a:gd name="connsiteX183" fmla="*/ 5382712 w 6689088"/>
              <a:gd name="connsiteY183" fmla="*/ 5304286 h 6689084"/>
              <a:gd name="connsiteX184" fmla="*/ 5383074 w 6689088"/>
              <a:gd name="connsiteY184" fmla="*/ 5303924 h 6689084"/>
              <a:gd name="connsiteX185" fmla="*/ 5229126 w 6689088"/>
              <a:gd name="connsiteY185" fmla="*/ 5303558 h 6689084"/>
              <a:gd name="connsiteX186" fmla="*/ 5229854 w 6689088"/>
              <a:gd name="connsiteY186" fmla="*/ 5304282 h 6689084"/>
              <a:gd name="connsiteX187" fmla="*/ 5229126 w 6689088"/>
              <a:gd name="connsiteY187" fmla="*/ 5305010 h 6689084"/>
              <a:gd name="connsiteX188" fmla="*/ 5228402 w 6689088"/>
              <a:gd name="connsiteY188" fmla="*/ 5304282 h 6689084"/>
              <a:gd name="connsiteX189" fmla="*/ 5229126 w 6689088"/>
              <a:gd name="connsiteY189" fmla="*/ 5303558 h 6689084"/>
              <a:gd name="connsiteX190" fmla="*/ 6152086 w 6689088"/>
              <a:gd name="connsiteY190" fmla="*/ 5302833 h 6689084"/>
              <a:gd name="connsiteX191" fmla="*/ 6153539 w 6689088"/>
              <a:gd name="connsiteY191" fmla="*/ 5304286 h 6689084"/>
              <a:gd name="connsiteX192" fmla="*/ 6152086 w 6689088"/>
              <a:gd name="connsiteY192" fmla="*/ 5305738 h 6689084"/>
              <a:gd name="connsiteX193" fmla="*/ 6150638 w 6689088"/>
              <a:gd name="connsiteY193" fmla="*/ 5304286 h 6689084"/>
              <a:gd name="connsiteX194" fmla="*/ 6152086 w 6689088"/>
              <a:gd name="connsiteY194" fmla="*/ 5302833 h 6689084"/>
              <a:gd name="connsiteX195" fmla="*/ 6305672 w 6689088"/>
              <a:gd name="connsiteY195" fmla="*/ 5302105 h 6689084"/>
              <a:gd name="connsiteX196" fmla="*/ 6307848 w 6689088"/>
              <a:gd name="connsiteY196" fmla="*/ 5304282 h 6689084"/>
              <a:gd name="connsiteX197" fmla="*/ 6305672 w 6689088"/>
              <a:gd name="connsiteY197" fmla="*/ 5306462 h 6689084"/>
              <a:gd name="connsiteX198" fmla="*/ 6303492 w 6689088"/>
              <a:gd name="connsiteY198" fmla="*/ 5304282 h 6689084"/>
              <a:gd name="connsiteX199" fmla="*/ 6305672 w 6689088"/>
              <a:gd name="connsiteY199" fmla="*/ 5302105 h 6689084"/>
              <a:gd name="connsiteX200" fmla="*/ 6459619 w 6689088"/>
              <a:gd name="connsiteY200" fmla="*/ 5301019 h 6689084"/>
              <a:gd name="connsiteX201" fmla="*/ 6462882 w 6689088"/>
              <a:gd name="connsiteY201" fmla="*/ 5304286 h 6689084"/>
              <a:gd name="connsiteX202" fmla="*/ 6459619 w 6689088"/>
              <a:gd name="connsiteY202" fmla="*/ 5307553 h 6689084"/>
              <a:gd name="connsiteX203" fmla="*/ 6456348 w 6689088"/>
              <a:gd name="connsiteY203" fmla="*/ 5304286 h 6689084"/>
              <a:gd name="connsiteX204" fmla="*/ 6459619 w 6689088"/>
              <a:gd name="connsiteY204" fmla="*/ 5301019 h 6689084"/>
              <a:gd name="connsiteX205" fmla="*/ 6613200 w 6689088"/>
              <a:gd name="connsiteY205" fmla="*/ 5299929 h 6689084"/>
              <a:gd name="connsiteX206" fmla="*/ 6617558 w 6689088"/>
              <a:gd name="connsiteY206" fmla="*/ 5304286 h 6689084"/>
              <a:gd name="connsiteX207" fmla="*/ 6613200 w 6689088"/>
              <a:gd name="connsiteY207" fmla="*/ 5308643 h 6689084"/>
              <a:gd name="connsiteX208" fmla="*/ 6608844 w 6689088"/>
              <a:gd name="connsiteY208" fmla="*/ 5304286 h 6689084"/>
              <a:gd name="connsiteX209" fmla="*/ 6613200 w 6689088"/>
              <a:gd name="connsiteY209" fmla="*/ 5299929 h 6689084"/>
              <a:gd name="connsiteX210" fmla="*/ 5844550 w 6689088"/>
              <a:gd name="connsiteY210" fmla="*/ 5150338 h 6689084"/>
              <a:gd name="connsiteX211" fmla="*/ 5844916 w 6689088"/>
              <a:gd name="connsiteY211" fmla="*/ 5150700 h 6689084"/>
              <a:gd name="connsiteX212" fmla="*/ 5844550 w 6689088"/>
              <a:gd name="connsiteY212" fmla="*/ 5151063 h 6689084"/>
              <a:gd name="connsiteX213" fmla="*/ 5844188 w 6689088"/>
              <a:gd name="connsiteY213" fmla="*/ 5150700 h 6689084"/>
              <a:gd name="connsiteX214" fmla="*/ 5844550 w 6689088"/>
              <a:gd name="connsiteY214" fmla="*/ 5150338 h 6689084"/>
              <a:gd name="connsiteX215" fmla="*/ 5383074 w 6689088"/>
              <a:gd name="connsiteY215" fmla="*/ 5150338 h 6689084"/>
              <a:gd name="connsiteX216" fmla="*/ 5383436 w 6689088"/>
              <a:gd name="connsiteY216" fmla="*/ 5150700 h 6689084"/>
              <a:gd name="connsiteX217" fmla="*/ 5383074 w 6689088"/>
              <a:gd name="connsiteY217" fmla="*/ 5151063 h 6689084"/>
              <a:gd name="connsiteX218" fmla="*/ 5382712 w 6689088"/>
              <a:gd name="connsiteY218" fmla="*/ 5150700 h 6689084"/>
              <a:gd name="connsiteX219" fmla="*/ 5383074 w 6689088"/>
              <a:gd name="connsiteY219" fmla="*/ 5150338 h 6689084"/>
              <a:gd name="connsiteX220" fmla="*/ 5229126 w 6689088"/>
              <a:gd name="connsiteY220" fmla="*/ 5150338 h 6689084"/>
              <a:gd name="connsiteX221" fmla="*/ 5229488 w 6689088"/>
              <a:gd name="connsiteY221" fmla="*/ 5150700 h 6689084"/>
              <a:gd name="connsiteX222" fmla="*/ 5229126 w 6689088"/>
              <a:gd name="connsiteY222" fmla="*/ 5151063 h 6689084"/>
              <a:gd name="connsiteX223" fmla="*/ 5228764 w 6689088"/>
              <a:gd name="connsiteY223" fmla="*/ 5150700 h 6689084"/>
              <a:gd name="connsiteX224" fmla="*/ 5229126 w 6689088"/>
              <a:gd name="connsiteY224" fmla="*/ 5150338 h 6689084"/>
              <a:gd name="connsiteX225" fmla="*/ 5075545 w 6689088"/>
              <a:gd name="connsiteY225" fmla="*/ 5149972 h 6689084"/>
              <a:gd name="connsiteX226" fmla="*/ 5076270 w 6689088"/>
              <a:gd name="connsiteY226" fmla="*/ 5150700 h 6689084"/>
              <a:gd name="connsiteX227" fmla="*/ 5075545 w 6689088"/>
              <a:gd name="connsiteY227" fmla="*/ 5151425 h 6689084"/>
              <a:gd name="connsiteX228" fmla="*/ 5074817 w 6689088"/>
              <a:gd name="connsiteY228" fmla="*/ 5150700 h 6689084"/>
              <a:gd name="connsiteX229" fmla="*/ 5075545 w 6689088"/>
              <a:gd name="connsiteY229" fmla="*/ 5149972 h 6689084"/>
              <a:gd name="connsiteX230" fmla="*/ 5998139 w 6689088"/>
              <a:gd name="connsiteY230" fmla="*/ 5149248 h 6689084"/>
              <a:gd name="connsiteX231" fmla="*/ 5999592 w 6689088"/>
              <a:gd name="connsiteY231" fmla="*/ 5150700 h 6689084"/>
              <a:gd name="connsiteX232" fmla="*/ 5998139 w 6689088"/>
              <a:gd name="connsiteY232" fmla="*/ 5152153 h 6689084"/>
              <a:gd name="connsiteX233" fmla="*/ 5996690 w 6689088"/>
              <a:gd name="connsiteY233" fmla="*/ 5150700 h 6689084"/>
              <a:gd name="connsiteX234" fmla="*/ 5998139 w 6689088"/>
              <a:gd name="connsiteY234" fmla="*/ 5149248 h 6689084"/>
              <a:gd name="connsiteX235" fmla="*/ 6152083 w 6689088"/>
              <a:gd name="connsiteY235" fmla="*/ 5148524 h 6689084"/>
              <a:gd name="connsiteX236" fmla="*/ 6154263 w 6689088"/>
              <a:gd name="connsiteY236" fmla="*/ 5150704 h 6689084"/>
              <a:gd name="connsiteX237" fmla="*/ 6152083 w 6689088"/>
              <a:gd name="connsiteY237" fmla="*/ 5152881 h 6689084"/>
              <a:gd name="connsiteX238" fmla="*/ 6149906 w 6689088"/>
              <a:gd name="connsiteY238" fmla="*/ 5150704 h 6689084"/>
              <a:gd name="connsiteX239" fmla="*/ 6152083 w 6689088"/>
              <a:gd name="connsiteY239" fmla="*/ 5148524 h 6689084"/>
              <a:gd name="connsiteX240" fmla="*/ 6305672 w 6689088"/>
              <a:gd name="connsiteY240" fmla="*/ 5147434 h 6689084"/>
              <a:gd name="connsiteX241" fmla="*/ 6308935 w 6689088"/>
              <a:gd name="connsiteY241" fmla="*/ 5150700 h 6689084"/>
              <a:gd name="connsiteX242" fmla="*/ 6305672 w 6689088"/>
              <a:gd name="connsiteY242" fmla="*/ 5153967 h 6689084"/>
              <a:gd name="connsiteX243" fmla="*/ 6302401 w 6689088"/>
              <a:gd name="connsiteY243" fmla="*/ 5150700 h 6689084"/>
              <a:gd name="connsiteX244" fmla="*/ 6305672 w 6689088"/>
              <a:gd name="connsiteY244" fmla="*/ 5147434 h 6689084"/>
              <a:gd name="connsiteX245" fmla="*/ 6459616 w 6689088"/>
              <a:gd name="connsiteY245" fmla="*/ 5145981 h 6689084"/>
              <a:gd name="connsiteX246" fmla="*/ 6463972 w 6689088"/>
              <a:gd name="connsiteY246" fmla="*/ 5150338 h 6689084"/>
              <a:gd name="connsiteX247" fmla="*/ 6459616 w 6689088"/>
              <a:gd name="connsiteY247" fmla="*/ 5154695 h 6689084"/>
              <a:gd name="connsiteX248" fmla="*/ 6455258 w 6689088"/>
              <a:gd name="connsiteY248" fmla="*/ 5150338 h 6689084"/>
              <a:gd name="connsiteX249" fmla="*/ 6459616 w 6689088"/>
              <a:gd name="connsiteY249" fmla="*/ 5145981 h 6689084"/>
              <a:gd name="connsiteX250" fmla="*/ 6613200 w 6689088"/>
              <a:gd name="connsiteY250" fmla="*/ 5144891 h 6689084"/>
              <a:gd name="connsiteX251" fmla="*/ 6619010 w 6689088"/>
              <a:gd name="connsiteY251" fmla="*/ 5150700 h 6689084"/>
              <a:gd name="connsiteX252" fmla="*/ 6613200 w 6689088"/>
              <a:gd name="connsiteY252" fmla="*/ 5156510 h 6689084"/>
              <a:gd name="connsiteX253" fmla="*/ 6607395 w 6689088"/>
              <a:gd name="connsiteY253" fmla="*/ 5150700 h 6689084"/>
              <a:gd name="connsiteX254" fmla="*/ 6613200 w 6689088"/>
              <a:gd name="connsiteY254" fmla="*/ 5144891 h 6689084"/>
              <a:gd name="connsiteX255" fmla="*/ 5690606 w 6689088"/>
              <a:gd name="connsiteY255" fmla="*/ 4996391 h 6689084"/>
              <a:gd name="connsiteX256" fmla="*/ 5690972 w 6689088"/>
              <a:gd name="connsiteY256" fmla="*/ 4996753 h 6689084"/>
              <a:gd name="connsiteX257" fmla="*/ 5690606 w 6689088"/>
              <a:gd name="connsiteY257" fmla="*/ 4997119 h 6689084"/>
              <a:gd name="connsiteX258" fmla="*/ 5690244 w 6689088"/>
              <a:gd name="connsiteY258" fmla="*/ 4996753 h 6689084"/>
              <a:gd name="connsiteX259" fmla="*/ 5690606 w 6689088"/>
              <a:gd name="connsiteY259" fmla="*/ 4996391 h 6689084"/>
              <a:gd name="connsiteX260" fmla="*/ 5229126 w 6689088"/>
              <a:gd name="connsiteY260" fmla="*/ 4996391 h 6689084"/>
              <a:gd name="connsiteX261" fmla="*/ 5229488 w 6689088"/>
              <a:gd name="connsiteY261" fmla="*/ 4996753 h 6689084"/>
              <a:gd name="connsiteX262" fmla="*/ 5229126 w 6689088"/>
              <a:gd name="connsiteY262" fmla="*/ 4997119 h 6689084"/>
              <a:gd name="connsiteX263" fmla="*/ 5228764 w 6689088"/>
              <a:gd name="connsiteY263" fmla="*/ 4996753 h 6689084"/>
              <a:gd name="connsiteX264" fmla="*/ 5229126 w 6689088"/>
              <a:gd name="connsiteY264" fmla="*/ 4996391 h 6689084"/>
              <a:gd name="connsiteX265" fmla="*/ 5075541 w 6689088"/>
              <a:gd name="connsiteY265" fmla="*/ 4996391 h 6689084"/>
              <a:gd name="connsiteX266" fmla="*/ 5075904 w 6689088"/>
              <a:gd name="connsiteY266" fmla="*/ 4996753 h 6689084"/>
              <a:gd name="connsiteX267" fmla="*/ 5075541 w 6689088"/>
              <a:gd name="connsiteY267" fmla="*/ 4997119 h 6689084"/>
              <a:gd name="connsiteX268" fmla="*/ 5075179 w 6689088"/>
              <a:gd name="connsiteY268" fmla="*/ 4996753 h 6689084"/>
              <a:gd name="connsiteX269" fmla="*/ 5075541 w 6689088"/>
              <a:gd name="connsiteY269" fmla="*/ 4996391 h 6689084"/>
              <a:gd name="connsiteX270" fmla="*/ 4921594 w 6689088"/>
              <a:gd name="connsiteY270" fmla="*/ 4996029 h 6689084"/>
              <a:gd name="connsiteX271" fmla="*/ 4922322 w 6689088"/>
              <a:gd name="connsiteY271" fmla="*/ 4996753 h 6689084"/>
              <a:gd name="connsiteX272" fmla="*/ 4921594 w 6689088"/>
              <a:gd name="connsiteY272" fmla="*/ 4997481 h 6689084"/>
              <a:gd name="connsiteX273" fmla="*/ 4920870 w 6689088"/>
              <a:gd name="connsiteY273" fmla="*/ 4996753 h 6689084"/>
              <a:gd name="connsiteX274" fmla="*/ 4921594 w 6689088"/>
              <a:gd name="connsiteY274" fmla="*/ 4996029 h 6689084"/>
              <a:gd name="connsiteX275" fmla="*/ 5844554 w 6689088"/>
              <a:gd name="connsiteY275" fmla="*/ 4995301 h 6689084"/>
              <a:gd name="connsiteX276" fmla="*/ 5846006 w 6689088"/>
              <a:gd name="connsiteY276" fmla="*/ 4996753 h 6689084"/>
              <a:gd name="connsiteX277" fmla="*/ 5844554 w 6689088"/>
              <a:gd name="connsiteY277" fmla="*/ 4998205 h 6689084"/>
              <a:gd name="connsiteX278" fmla="*/ 5843102 w 6689088"/>
              <a:gd name="connsiteY278" fmla="*/ 4996753 h 6689084"/>
              <a:gd name="connsiteX279" fmla="*/ 5844554 w 6689088"/>
              <a:gd name="connsiteY279" fmla="*/ 4995301 h 6689084"/>
              <a:gd name="connsiteX280" fmla="*/ 5998136 w 6689088"/>
              <a:gd name="connsiteY280" fmla="*/ 4994577 h 6689084"/>
              <a:gd name="connsiteX281" fmla="*/ 6000316 w 6689088"/>
              <a:gd name="connsiteY281" fmla="*/ 4996753 h 6689084"/>
              <a:gd name="connsiteX282" fmla="*/ 5998136 w 6689088"/>
              <a:gd name="connsiteY282" fmla="*/ 4998934 h 6689084"/>
              <a:gd name="connsiteX283" fmla="*/ 5995959 w 6689088"/>
              <a:gd name="connsiteY283" fmla="*/ 4996753 h 6689084"/>
              <a:gd name="connsiteX284" fmla="*/ 5998136 w 6689088"/>
              <a:gd name="connsiteY284" fmla="*/ 4994577 h 6689084"/>
              <a:gd name="connsiteX285" fmla="*/ 6152083 w 6689088"/>
              <a:gd name="connsiteY285" fmla="*/ 4993486 h 6689084"/>
              <a:gd name="connsiteX286" fmla="*/ 6155350 w 6689088"/>
              <a:gd name="connsiteY286" fmla="*/ 4996753 h 6689084"/>
              <a:gd name="connsiteX287" fmla="*/ 6152083 w 6689088"/>
              <a:gd name="connsiteY287" fmla="*/ 5000024 h 6689084"/>
              <a:gd name="connsiteX288" fmla="*/ 6148816 w 6689088"/>
              <a:gd name="connsiteY288" fmla="*/ 4996753 h 6689084"/>
              <a:gd name="connsiteX289" fmla="*/ 6152083 w 6689088"/>
              <a:gd name="connsiteY289" fmla="*/ 4993486 h 6689084"/>
              <a:gd name="connsiteX290" fmla="*/ 6305668 w 6689088"/>
              <a:gd name="connsiteY290" fmla="*/ 4992396 h 6689084"/>
              <a:gd name="connsiteX291" fmla="*/ 6310025 w 6689088"/>
              <a:gd name="connsiteY291" fmla="*/ 4996753 h 6689084"/>
              <a:gd name="connsiteX292" fmla="*/ 6305668 w 6689088"/>
              <a:gd name="connsiteY292" fmla="*/ 5001110 h 6689084"/>
              <a:gd name="connsiteX293" fmla="*/ 6301311 w 6689088"/>
              <a:gd name="connsiteY293" fmla="*/ 4996753 h 6689084"/>
              <a:gd name="connsiteX294" fmla="*/ 6305668 w 6689088"/>
              <a:gd name="connsiteY294" fmla="*/ 4992396 h 6689084"/>
              <a:gd name="connsiteX295" fmla="*/ 6459616 w 6689088"/>
              <a:gd name="connsiteY295" fmla="*/ 4990944 h 6689084"/>
              <a:gd name="connsiteX296" fmla="*/ 6465425 w 6689088"/>
              <a:gd name="connsiteY296" fmla="*/ 4996753 h 6689084"/>
              <a:gd name="connsiteX297" fmla="*/ 6459616 w 6689088"/>
              <a:gd name="connsiteY297" fmla="*/ 5002562 h 6689084"/>
              <a:gd name="connsiteX298" fmla="*/ 6453806 w 6689088"/>
              <a:gd name="connsiteY298" fmla="*/ 4996753 h 6689084"/>
              <a:gd name="connsiteX299" fmla="*/ 6459616 w 6689088"/>
              <a:gd name="connsiteY299" fmla="*/ 4990944 h 6689084"/>
              <a:gd name="connsiteX300" fmla="*/ 6613200 w 6689088"/>
              <a:gd name="connsiteY300" fmla="*/ 4989491 h 6689084"/>
              <a:gd name="connsiteX301" fmla="*/ 6620462 w 6689088"/>
              <a:gd name="connsiteY301" fmla="*/ 4996753 h 6689084"/>
              <a:gd name="connsiteX302" fmla="*/ 6613200 w 6689088"/>
              <a:gd name="connsiteY302" fmla="*/ 5004015 h 6689084"/>
              <a:gd name="connsiteX303" fmla="*/ 6605939 w 6689088"/>
              <a:gd name="connsiteY303" fmla="*/ 4996753 h 6689084"/>
              <a:gd name="connsiteX304" fmla="*/ 6613200 w 6689088"/>
              <a:gd name="connsiteY304" fmla="*/ 4989491 h 6689084"/>
              <a:gd name="connsiteX305" fmla="*/ 5536659 w 6689088"/>
              <a:gd name="connsiteY305" fmla="*/ 4842806 h 6689084"/>
              <a:gd name="connsiteX306" fmla="*/ 5537021 w 6689088"/>
              <a:gd name="connsiteY306" fmla="*/ 4843168 h 6689084"/>
              <a:gd name="connsiteX307" fmla="*/ 5536659 w 6689088"/>
              <a:gd name="connsiteY307" fmla="*/ 4843530 h 6689084"/>
              <a:gd name="connsiteX308" fmla="*/ 5536297 w 6689088"/>
              <a:gd name="connsiteY308" fmla="*/ 4843168 h 6689084"/>
              <a:gd name="connsiteX309" fmla="*/ 5536659 w 6689088"/>
              <a:gd name="connsiteY309" fmla="*/ 4842806 h 6689084"/>
              <a:gd name="connsiteX310" fmla="*/ 5075541 w 6689088"/>
              <a:gd name="connsiteY310" fmla="*/ 4842806 h 6689084"/>
              <a:gd name="connsiteX311" fmla="*/ 5075904 w 6689088"/>
              <a:gd name="connsiteY311" fmla="*/ 4843168 h 6689084"/>
              <a:gd name="connsiteX312" fmla="*/ 5075541 w 6689088"/>
              <a:gd name="connsiteY312" fmla="*/ 4843530 h 6689084"/>
              <a:gd name="connsiteX313" fmla="*/ 5075179 w 6689088"/>
              <a:gd name="connsiteY313" fmla="*/ 4843168 h 6689084"/>
              <a:gd name="connsiteX314" fmla="*/ 5075541 w 6689088"/>
              <a:gd name="connsiteY314" fmla="*/ 4842806 h 6689084"/>
              <a:gd name="connsiteX315" fmla="*/ 4921594 w 6689088"/>
              <a:gd name="connsiteY315" fmla="*/ 4842806 h 6689084"/>
              <a:gd name="connsiteX316" fmla="*/ 4921956 w 6689088"/>
              <a:gd name="connsiteY316" fmla="*/ 4843168 h 6689084"/>
              <a:gd name="connsiteX317" fmla="*/ 4921594 w 6689088"/>
              <a:gd name="connsiteY317" fmla="*/ 4843530 h 6689084"/>
              <a:gd name="connsiteX318" fmla="*/ 4921232 w 6689088"/>
              <a:gd name="connsiteY318" fmla="*/ 4843168 h 6689084"/>
              <a:gd name="connsiteX319" fmla="*/ 4921594 w 6689088"/>
              <a:gd name="connsiteY319" fmla="*/ 4842806 h 6689084"/>
              <a:gd name="connsiteX320" fmla="*/ 4768012 w 6689088"/>
              <a:gd name="connsiteY320" fmla="*/ 4842444 h 6689084"/>
              <a:gd name="connsiteX321" fmla="*/ 4768736 w 6689088"/>
              <a:gd name="connsiteY321" fmla="*/ 4843172 h 6689084"/>
              <a:gd name="connsiteX322" fmla="*/ 4768012 w 6689088"/>
              <a:gd name="connsiteY322" fmla="*/ 4843896 h 6689084"/>
              <a:gd name="connsiteX323" fmla="*/ 4767284 w 6689088"/>
              <a:gd name="connsiteY323" fmla="*/ 4843172 h 6689084"/>
              <a:gd name="connsiteX324" fmla="*/ 4768012 w 6689088"/>
              <a:gd name="connsiteY324" fmla="*/ 4842444 h 6689084"/>
              <a:gd name="connsiteX325" fmla="*/ 5690606 w 6689088"/>
              <a:gd name="connsiteY325" fmla="*/ 4841353 h 6689084"/>
              <a:gd name="connsiteX326" fmla="*/ 5692059 w 6689088"/>
              <a:gd name="connsiteY326" fmla="*/ 4842806 h 6689084"/>
              <a:gd name="connsiteX327" fmla="*/ 5690606 w 6689088"/>
              <a:gd name="connsiteY327" fmla="*/ 4844258 h 6689084"/>
              <a:gd name="connsiteX328" fmla="*/ 5689154 w 6689088"/>
              <a:gd name="connsiteY328" fmla="*/ 4842806 h 6689084"/>
              <a:gd name="connsiteX329" fmla="*/ 5690606 w 6689088"/>
              <a:gd name="connsiteY329" fmla="*/ 4841353 h 6689084"/>
              <a:gd name="connsiteX330" fmla="*/ 5844554 w 6689088"/>
              <a:gd name="connsiteY330" fmla="*/ 4840629 h 6689084"/>
              <a:gd name="connsiteX331" fmla="*/ 5846730 w 6689088"/>
              <a:gd name="connsiteY331" fmla="*/ 4842810 h 6689084"/>
              <a:gd name="connsiteX332" fmla="*/ 5844554 w 6689088"/>
              <a:gd name="connsiteY332" fmla="*/ 4844986 h 6689084"/>
              <a:gd name="connsiteX333" fmla="*/ 5842374 w 6689088"/>
              <a:gd name="connsiteY333" fmla="*/ 4842810 h 6689084"/>
              <a:gd name="connsiteX334" fmla="*/ 5844554 w 6689088"/>
              <a:gd name="connsiteY334" fmla="*/ 4840629 h 6689084"/>
              <a:gd name="connsiteX335" fmla="*/ 5998136 w 6689088"/>
              <a:gd name="connsiteY335" fmla="*/ 4839901 h 6689084"/>
              <a:gd name="connsiteX336" fmla="*/ 6001402 w 6689088"/>
              <a:gd name="connsiteY336" fmla="*/ 4843168 h 6689084"/>
              <a:gd name="connsiteX337" fmla="*/ 5998136 w 6689088"/>
              <a:gd name="connsiteY337" fmla="*/ 4846435 h 6689084"/>
              <a:gd name="connsiteX338" fmla="*/ 5994868 w 6689088"/>
              <a:gd name="connsiteY338" fmla="*/ 4843168 h 6689084"/>
              <a:gd name="connsiteX339" fmla="*/ 5998136 w 6689088"/>
              <a:gd name="connsiteY339" fmla="*/ 4839901 h 6689084"/>
              <a:gd name="connsiteX340" fmla="*/ 6152083 w 6689088"/>
              <a:gd name="connsiteY340" fmla="*/ 4838449 h 6689084"/>
              <a:gd name="connsiteX341" fmla="*/ 6156440 w 6689088"/>
              <a:gd name="connsiteY341" fmla="*/ 4842806 h 6689084"/>
              <a:gd name="connsiteX342" fmla="*/ 6152083 w 6689088"/>
              <a:gd name="connsiteY342" fmla="*/ 4847163 h 6689084"/>
              <a:gd name="connsiteX343" fmla="*/ 6147726 w 6689088"/>
              <a:gd name="connsiteY343" fmla="*/ 4842806 h 6689084"/>
              <a:gd name="connsiteX344" fmla="*/ 6152083 w 6689088"/>
              <a:gd name="connsiteY344" fmla="*/ 4838449 h 6689084"/>
              <a:gd name="connsiteX345" fmla="*/ 6305668 w 6689088"/>
              <a:gd name="connsiteY345" fmla="*/ 4836996 h 6689084"/>
              <a:gd name="connsiteX346" fmla="*/ 6311478 w 6689088"/>
              <a:gd name="connsiteY346" fmla="*/ 4842806 h 6689084"/>
              <a:gd name="connsiteX347" fmla="*/ 6305668 w 6689088"/>
              <a:gd name="connsiteY347" fmla="*/ 4848615 h 6689084"/>
              <a:gd name="connsiteX348" fmla="*/ 6299858 w 6689088"/>
              <a:gd name="connsiteY348" fmla="*/ 4842806 h 6689084"/>
              <a:gd name="connsiteX349" fmla="*/ 6305668 w 6689088"/>
              <a:gd name="connsiteY349" fmla="*/ 4836996 h 6689084"/>
              <a:gd name="connsiteX350" fmla="*/ 6459616 w 6689088"/>
              <a:gd name="connsiteY350" fmla="*/ 4835544 h 6689084"/>
              <a:gd name="connsiteX351" fmla="*/ 6466877 w 6689088"/>
              <a:gd name="connsiteY351" fmla="*/ 4842806 h 6689084"/>
              <a:gd name="connsiteX352" fmla="*/ 6459616 w 6689088"/>
              <a:gd name="connsiteY352" fmla="*/ 4850067 h 6689084"/>
              <a:gd name="connsiteX353" fmla="*/ 6452354 w 6689088"/>
              <a:gd name="connsiteY353" fmla="*/ 4842806 h 6689084"/>
              <a:gd name="connsiteX354" fmla="*/ 6459616 w 6689088"/>
              <a:gd name="connsiteY354" fmla="*/ 4835544 h 6689084"/>
              <a:gd name="connsiteX355" fmla="*/ 6613200 w 6689088"/>
              <a:gd name="connsiteY355" fmla="*/ 4833730 h 6689084"/>
              <a:gd name="connsiteX356" fmla="*/ 6622280 w 6689088"/>
              <a:gd name="connsiteY356" fmla="*/ 4842806 h 6689084"/>
              <a:gd name="connsiteX357" fmla="*/ 6613200 w 6689088"/>
              <a:gd name="connsiteY357" fmla="*/ 4851886 h 6689084"/>
              <a:gd name="connsiteX358" fmla="*/ 6604124 w 6689088"/>
              <a:gd name="connsiteY358" fmla="*/ 4842806 h 6689084"/>
              <a:gd name="connsiteX359" fmla="*/ 6613200 w 6689088"/>
              <a:gd name="connsiteY359" fmla="*/ 4833730 h 6689084"/>
              <a:gd name="connsiteX360" fmla="*/ 5383074 w 6689088"/>
              <a:gd name="connsiteY360" fmla="*/ 4688858 h 6689084"/>
              <a:gd name="connsiteX361" fmla="*/ 5383436 w 6689088"/>
              <a:gd name="connsiteY361" fmla="*/ 4689220 h 6689084"/>
              <a:gd name="connsiteX362" fmla="*/ 5383074 w 6689088"/>
              <a:gd name="connsiteY362" fmla="*/ 4689586 h 6689084"/>
              <a:gd name="connsiteX363" fmla="*/ 5382712 w 6689088"/>
              <a:gd name="connsiteY363" fmla="*/ 4689220 h 6689084"/>
              <a:gd name="connsiteX364" fmla="*/ 5383074 w 6689088"/>
              <a:gd name="connsiteY364" fmla="*/ 4688858 h 6689084"/>
              <a:gd name="connsiteX365" fmla="*/ 4921594 w 6689088"/>
              <a:gd name="connsiteY365" fmla="*/ 4688858 h 6689084"/>
              <a:gd name="connsiteX366" fmla="*/ 4921956 w 6689088"/>
              <a:gd name="connsiteY366" fmla="*/ 4689220 h 6689084"/>
              <a:gd name="connsiteX367" fmla="*/ 4921594 w 6689088"/>
              <a:gd name="connsiteY367" fmla="*/ 4689586 h 6689084"/>
              <a:gd name="connsiteX368" fmla="*/ 4921232 w 6689088"/>
              <a:gd name="connsiteY368" fmla="*/ 4689220 h 6689084"/>
              <a:gd name="connsiteX369" fmla="*/ 4921594 w 6689088"/>
              <a:gd name="connsiteY369" fmla="*/ 4688858 h 6689084"/>
              <a:gd name="connsiteX370" fmla="*/ 4768008 w 6689088"/>
              <a:gd name="connsiteY370" fmla="*/ 4688858 h 6689084"/>
              <a:gd name="connsiteX371" fmla="*/ 4768370 w 6689088"/>
              <a:gd name="connsiteY371" fmla="*/ 4689220 h 6689084"/>
              <a:gd name="connsiteX372" fmla="*/ 4768008 w 6689088"/>
              <a:gd name="connsiteY372" fmla="*/ 4689586 h 6689084"/>
              <a:gd name="connsiteX373" fmla="*/ 4767646 w 6689088"/>
              <a:gd name="connsiteY373" fmla="*/ 4689220 h 6689084"/>
              <a:gd name="connsiteX374" fmla="*/ 4768008 w 6689088"/>
              <a:gd name="connsiteY374" fmla="*/ 4688858 h 6689084"/>
              <a:gd name="connsiteX375" fmla="*/ 4614065 w 6689088"/>
              <a:gd name="connsiteY375" fmla="*/ 4688496 h 6689084"/>
              <a:gd name="connsiteX376" fmla="*/ 4614789 w 6689088"/>
              <a:gd name="connsiteY376" fmla="*/ 4689220 h 6689084"/>
              <a:gd name="connsiteX377" fmla="*/ 4614065 w 6689088"/>
              <a:gd name="connsiteY377" fmla="*/ 4689949 h 6689084"/>
              <a:gd name="connsiteX378" fmla="*/ 4613337 w 6689088"/>
              <a:gd name="connsiteY378" fmla="*/ 4689220 h 6689084"/>
              <a:gd name="connsiteX379" fmla="*/ 4614065 w 6689088"/>
              <a:gd name="connsiteY379" fmla="*/ 4688496 h 6689084"/>
              <a:gd name="connsiteX380" fmla="*/ 5536659 w 6689088"/>
              <a:gd name="connsiteY380" fmla="*/ 4687406 h 6689084"/>
              <a:gd name="connsiteX381" fmla="*/ 5538112 w 6689088"/>
              <a:gd name="connsiteY381" fmla="*/ 4688858 h 6689084"/>
              <a:gd name="connsiteX382" fmla="*/ 5536659 w 6689088"/>
              <a:gd name="connsiteY382" fmla="*/ 4690311 h 6689084"/>
              <a:gd name="connsiteX383" fmla="*/ 5535207 w 6689088"/>
              <a:gd name="connsiteY383" fmla="*/ 4688858 h 6689084"/>
              <a:gd name="connsiteX384" fmla="*/ 5536659 w 6689088"/>
              <a:gd name="connsiteY384" fmla="*/ 4687406 h 6689084"/>
              <a:gd name="connsiteX385" fmla="*/ 5690602 w 6689088"/>
              <a:gd name="connsiteY385" fmla="*/ 4687044 h 6689084"/>
              <a:gd name="connsiteX386" fmla="*/ 5692783 w 6689088"/>
              <a:gd name="connsiteY386" fmla="*/ 4689220 h 6689084"/>
              <a:gd name="connsiteX387" fmla="*/ 5690602 w 6689088"/>
              <a:gd name="connsiteY387" fmla="*/ 4691401 h 6689084"/>
              <a:gd name="connsiteX388" fmla="*/ 5688426 w 6689088"/>
              <a:gd name="connsiteY388" fmla="*/ 4689220 h 6689084"/>
              <a:gd name="connsiteX389" fmla="*/ 5690602 w 6689088"/>
              <a:gd name="connsiteY389" fmla="*/ 4687044 h 6689084"/>
              <a:gd name="connsiteX390" fmla="*/ 5844554 w 6689088"/>
              <a:gd name="connsiteY390" fmla="*/ 4685954 h 6689084"/>
              <a:gd name="connsiteX391" fmla="*/ 5847817 w 6689088"/>
              <a:gd name="connsiteY391" fmla="*/ 4689220 h 6689084"/>
              <a:gd name="connsiteX392" fmla="*/ 5844554 w 6689088"/>
              <a:gd name="connsiteY392" fmla="*/ 4692491 h 6689084"/>
              <a:gd name="connsiteX393" fmla="*/ 5841284 w 6689088"/>
              <a:gd name="connsiteY393" fmla="*/ 4689220 h 6689084"/>
              <a:gd name="connsiteX394" fmla="*/ 5844554 w 6689088"/>
              <a:gd name="connsiteY394" fmla="*/ 4685954 h 6689084"/>
              <a:gd name="connsiteX395" fmla="*/ 5998136 w 6689088"/>
              <a:gd name="connsiteY395" fmla="*/ 4684863 h 6689084"/>
              <a:gd name="connsiteX396" fmla="*/ 6002492 w 6689088"/>
              <a:gd name="connsiteY396" fmla="*/ 4689220 h 6689084"/>
              <a:gd name="connsiteX397" fmla="*/ 5998136 w 6689088"/>
              <a:gd name="connsiteY397" fmla="*/ 4693577 h 6689084"/>
              <a:gd name="connsiteX398" fmla="*/ 5993778 w 6689088"/>
              <a:gd name="connsiteY398" fmla="*/ 4689220 h 6689084"/>
              <a:gd name="connsiteX399" fmla="*/ 5998136 w 6689088"/>
              <a:gd name="connsiteY399" fmla="*/ 4684863 h 6689084"/>
              <a:gd name="connsiteX400" fmla="*/ 6152086 w 6689088"/>
              <a:gd name="connsiteY400" fmla="*/ 4683411 h 6689084"/>
              <a:gd name="connsiteX401" fmla="*/ 6157896 w 6689088"/>
              <a:gd name="connsiteY401" fmla="*/ 4689220 h 6689084"/>
              <a:gd name="connsiteX402" fmla="*/ 6152086 w 6689088"/>
              <a:gd name="connsiteY402" fmla="*/ 4695030 h 6689084"/>
              <a:gd name="connsiteX403" fmla="*/ 6146277 w 6689088"/>
              <a:gd name="connsiteY403" fmla="*/ 4689220 h 6689084"/>
              <a:gd name="connsiteX404" fmla="*/ 6152086 w 6689088"/>
              <a:gd name="connsiteY404" fmla="*/ 4683411 h 6689084"/>
              <a:gd name="connsiteX405" fmla="*/ 6305668 w 6689088"/>
              <a:gd name="connsiteY405" fmla="*/ 4681959 h 6689084"/>
              <a:gd name="connsiteX406" fmla="*/ 6312930 w 6689088"/>
              <a:gd name="connsiteY406" fmla="*/ 4689220 h 6689084"/>
              <a:gd name="connsiteX407" fmla="*/ 6305668 w 6689088"/>
              <a:gd name="connsiteY407" fmla="*/ 4696482 h 6689084"/>
              <a:gd name="connsiteX408" fmla="*/ 6298406 w 6689088"/>
              <a:gd name="connsiteY408" fmla="*/ 4689220 h 6689084"/>
              <a:gd name="connsiteX409" fmla="*/ 6305668 w 6689088"/>
              <a:gd name="connsiteY409" fmla="*/ 4681959 h 6689084"/>
              <a:gd name="connsiteX410" fmla="*/ 6459616 w 6689088"/>
              <a:gd name="connsiteY410" fmla="*/ 4680144 h 6689084"/>
              <a:gd name="connsiteX411" fmla="*/ 6468696 w 6689088"/>
              <a:gd name="connsiteY411" fmla="*/ 4689220 h 6689084"/>
              <a:gd name="connsiteX412" fmla="*/ 6459616 w 6689088"/>
              <a:gd name="connsiteY412" fmla="*/ 4698300 h 6689084"/>
              <a:gd name="connsiteX413" fmla="*/ 6450540 w 6689088"/>
              <a:gd name="connsiteY413" fmla="*/ 4689220 h 6689084"/>
              <a:gd name="connsiteX414" fmla="*/ 6459616 w 6689088"/>
              <a:gd name="connsiteY414" fmla="*/ 4680144 h 6689084"/>
              <a:gd name="connsiteX415" fmla="*/ 6613200 w 6689088"/>
              <a:gd name="connsiteY415" fmla="*/ 4679054 h 6689084"/>
              <a:gd name="connsiteX416" fmla="*/ 6623367 w 6689088"/>
              <a:gd name="connsiteY416" fmla="*/ 4689220 h 6689084"/>
              <a:gd name="connsiteX417" fmla="*/ 6613200 w 6689088"/>
              <a:gd name="connsiteY417" fmla="*/ 4699387 h 6689084"/>
              <a:gd name="connsiteX418" fmla="*/ 6603034 w 6689088"/>
              <a:gd name="connsiteY418" fmla="*/ 4689220 h 6689084"/>
              <a:gd name="connsiteX419" fmla="*/ 6613200 w 6689088"/>
              <a:gd name="connsiteY419" fmla="*/ 4679054 h 6689084"/>
              <a:gd name="connsiteX420" fmla="*/ 5229126 w 6689088"/>
              <a:gd name="connsiteY420" fmla="*/ 4535273 h 6689084"/>
              <a:gd name="connsiteX421" fmla="*/ 5229488 w 6689088"/>
              <a:gd name="connsiteY421" fmla="*/ 4535635 h 6689084"/>
              <a:gd name="connsiteX422" fmla="*/ 5229126 w 6689088"/>
              <a:gd name="connsiteY422" fmla="*/ 4535997 h 6689084"/>
              <a:gd name="connsiteX423" fmla="*/ 5228764 w 6689088"/>
              <a:gd name="connsiteY423" fmla="*/ 4535635 h 6689084"/>
              <a:gd name="connsiteX424" fmla="*/ 5229126 w 6689088"/>
              <a:gd name="connsiteY424" fmla="*/ 4535273 h 6689084"/>
              <a:gd name="connsiteX425" fmla="*/ 4768008 w 6689088"/>
              <a:gd name="connsiteY425" fmla="*/ 4535273 h 6689084"/>
              <a:gd name="connsiteX426" fmla="*/ 4768370 w 6689088"/>
              <a:gd name="connsiteY426" fmla="*/ 4535635 h 6689084"/>
              <a:gd name="connsiteX427" fmla="*/ 4768008 w 6689088"/>
              <a:gd name="connsiteY427" fmla="*/ 4535997 h 6689084"/>
              <a:gd name="connsiteX428" fmla="*/ 4767646 w 6689088"/>
              <a:gd name="connsiteY428" fmla="*/ 4535635 h 6689084"/>
              <a:gd name="connsiteX429" fmla="*/ 4768008 w 6689088"/>
              <a:gd name="connsiteY429" fmla="*/ 4535273 h 6689084"/>
              <a:gd name="connsiteX430" fmla="*/ 4614061 w 6689088"/>
              <a:gd name="connsiteY430" fmla="*/ 4535273 h 6689084"/>
              <a:gd name="connsiteX431" fmla="*/ 4614424 w 6689088"/>
              <a:gd name="connsiteY431" fmla="*/ 4535635 h 6689084"/>
              <a:gd name="connsiteX432" fmla="*/ 4614061 w 6689088"/>
              <a:gd name="connsiteY432" fmla="*/ 4535997 h 6689084"/>
              <a:gd name="connsiteX433" fmla="*/ 4613699 w 6689088"/>
              <a:gd name="connsiteY433" fmla="*/ 4535635 h 6689084"/>
              <a:gd name="connsiteX434" fmla="*/ 4614061 w 6689088"/>
              <a:gd name="connsiteY434" fmla="*/ 4535273 h 6689084"/>
              <a:gd name="connsiteX435" fmla="*/ 4460480 w 6689088"/>
              <a:gd name="connsiteY435" fmla="*/ 4534911 h 6689084"/>
              <a:gd name="connsiteX436" fmla="*/ 4461204 w 6689088"/>
              <a:gd name="connsiteY436" fmla="*/ 4535635 h 6689084"/>
              <a:gd name="connsiteX437" fmla="*/ 4460480 w 6689088"/>
              <a:gd name="connsiteY437" fmla="*/ 4536363 h 6689084"/>
              <a:gd name="connsiteX438" fmla="*/ 4459752 w 6689088"/>
              <a:gd name="connsiteY438" fmla="*/ 4535635 h 6689084"/>
              <a:gd name="connsiteX439" fmla="*/ 4460480 w 6689088"/>
              <a:gd name="connsiteY439" fmla="*/ 4534911 h 6689084"/>
              <a:gd name="connsiteX440" fmla="*/ 5383074 w 6689088"/>
              <a:gd name="connsiteY440" fmla="*/ 4533821 h 6689084"/>
              <a:gd name="connsiteX441" fmla="*/ 5384526 w 6689088"/>
              <a:gd name="connsiteY441" fmla="*/ 4535273 h 6689084"/>
              <a:gd name="connsiteX442" fmla="*/ 5383074 w 6689088"/>
              <a:gd name="connsiteY442" fmla="*/ 4536725 h 6689084"/>
              <a:gd name="connsiteX443" fmla="*/ 5381622 w 6689088"/>
              <a:gd name="connsiteY443" fmla="*/ 4535273 h 6689084"/>
              <a:gd name="connsiteX444" fmla="*/ 5383074 w 6689088"/>
              <a:gd name="connsiteY444" fmla="*/ 4533821 h 6689084"/>
              <a:gd name="connsiteX445" fmla="*/ 5536659 w 6689088"/>
              <a:gd name="connsiteY445" fmla="*/ 4533096 h 6689084"/>
              <a:gd name="connsiteX446" fmla="*/ 5538840 w 6689088"/>
              <a:gd name="connsiteY446" fmla="*/ 4535277 h 6689084"/>
              <a:gd name="connsiteX447" fmla="*/ 5536659 w 6689088"/>
              <a:gd name="connsiteY447" fmla="*/ 4537453 h 6689084"/>
              <a:gd name="connsiteX448" fmla="*/ 5534482 w 6689088"/>
              <a:gd name="connsiteY448" fmla="*/ 4535277 h 6689084"/>
              <a:gd name="connsiteX449" fmla="*/ 5536659 w 6689088"/>
              <a:gd name="connsiteY449" fmla="*/ 4533096 h 6689084"/>
              <a:gd name="connsiteX450" fmla="*/ 5690606 w 6689088"/>
              <a:gd name="connsiteY450" fmla="*/ 4532368 h 6689084"/>
              <a:gd name="connsiteX451" fmla="*/ 5693870 w 6689088"/>
              <a:gd name="connsiteY451" fmla="*/ 4535635 h 6689084"/>
              <a:gd name="connsiteX452" fmla="*/ 5690606 w 6689088"/>
              <a:gd name="connsiteY452" fmla="*/ 4538906 h 6689084"/>
              <a:gd name="connsiteX453" fmla="*/ 5687336 w 6689088"/>
              <a:gd name="connsiteY453" fmla="*/ 4535635 h 6689084"/>
              <a:gd name="connsiteX454" fmla="*/ 5690606 w 6689088"/>
              <a:gd name="connsiteY454" fmla="*/ 4532368 h 6689084"/>
              <a:gd name="connsiteX455" fmla="*/ 5844554 w 6689088"/>
              <a:gd name="connsiteY455" fmla="*/ 4530916 h 6689084"/>
              <a:gd name="connsiteX456" fmla="*/ 5848911 w 6689088"/>
              <a:gd name="connsiteY456" fmla="*/ 4535273 h 6689084"/>
              <a:gd name="connsiteX457" fmla="*/ 5844554 w 6689088"/>
              <a:gd name="connsiteY457" fmla="*/ 4539630 h 6689084"/>
              <a:gd name="connsiteX458" fmla="*/ 5840197 w 6689088"/>
              <a:gd name="connsiteY458" fmla="*/ 4535273 h 6689084"/>
              <a:gd name="connsiteX459" fmla="*/ 5844554 w 6689088"/>
              <a:gd name="connsiteY459" fmla="*/ 4530916 h 6689084"/>
              <a:gd name="connsiteX460" fmla="*/ 5998139 w 6689088"/>
              <a:gd name="connsiteY460" fmla="*/ 4529830 h 6689084"/>
              <a:gd name="connsiteX461" fmla="*/ 6003948 w 6689088"/>
              <a:gd name="connsiteY461" fmla="*/ 4535639 h 6689084"/>
              <a:gd name="connsiteX462" fmla="*/ 5998139 w 6689088"/>
              <a:gd name="connsiteY462" fmla="*/ 4541448 h 6689084"/>
              <a:gd name="connsiteX463" fmla="*/ 5992330 w 6689088"/>
              <a:gd name="connsiteY463" fmla="*/ 4535639 h 6689084"/>
              <a:gd name="connsiteX464" fmla="*/ 5998139 w 6689088"/>
              <a:gd name="connsiteY464" fmla="*/ 4529830 h 6689084"/>
              <a:gd name="connsiteX465" fmla="*/ 6152086 w 6689088"/>
              <a:gd name="connsiteY465" fmla="*/ 4528011 h 6689084"/>
              <a:gd name="connsiteX466" fmla="*/ 6159348 w 6689088"/>
              <a:gd name="connsiteY466" fmla="*/ 4535273 h 6689084"/>
              <a:gd name="connsiteX467" fmla="*/ 6152086 w 6689088"/>
              <a:gd name="connsiteY467" fmla="*/ 4542535 h 6689084"/>
              <a:gd name="connsiteX468" fmla="*/ 6144825 w 6689088"/>
              <a:gd name="connsiteY468" fmla="*/ 4535273 h 6689084"/>
              <a:gd name="connsiteX469" fmla="*/ 6152086 w 6689088"/>
              <a:gd name="connsiteY469" fmla="*/ 4528011 h 6689084"/>
              <a:gd name="connsiteX470" fmla="*/ 6305668 w 6689088"/>
              <a:gd name="connsiteY470" fmla="*/ 4526197 h 6689084"/>
              <a:gd name="connsiteX471" fmla="*/ 6314748 w 6689088"/>
              <a:gd name="connsiteY471" fmla="*/ 4535273 h 6689084"/>
              <a:gd name="connsiteX472" fmla="*/ 6305668 w 6689088"/>
              <a:gd name="connsiteY472" fmla="*/ 4544353 h 6689084"/>
              <a:gd name="connsiteX473" fmla="*/ 6296592 w 6689088"/>
              <a:gd name="connsiteY473" fmla="*/ 4535273 h 6689084"/>
              <a:gd name="connsiteX474" fmla="*/ 6305668 w 6689088"/>
              <a:gd name="connsiteY474" fmla="*/ 4526197 h 6689084"/>
              <a:gd name="connsiteX475" fmla="*/ 6459616 w 6689088"/>
              <a:gd name="connsiteY475" fmla="*/ 4525469 h 6689084"/>
              <a:gd name="connsiteX476" fmla="*/ 6469782 w 6689088"/>
              <a:gd name="connsiteY476" fmla="*/ 4535635 h 6689084"/>
              <a:gd name="connsiteX477" fmla="*/ 6459616 w 6689088"/>
              <a:gd name="connsiteY477" fmla="*/ 4545802 h 6689084"/>
              <a:gd name="connsiteX478" fmla="*/ 6449449 w 6689088"/>
              <a:gd name="connsiteY478" fmla="*/ 4535635 h 6689084"/>
              <a:gd name="connsiteX479" fmla="*/ 6459616 w 6689088"/>
              <a:gd name="connsiteY479" fmla="*/ 4525469 h 6689084"/>
              <a:gd name="connsiteX480" fmla="*/ 6613197 w 6689088"/>
              <a:gd name="connsiteY480" fmla="*/ 4523292 h 6689084"/>
              <a:gd name="connsiteX481" fmla="*/ 6625182 w 6689088"/>
              <a:gd name="connsiteY481" fmla="*/ 4535273 h 6689084"/>
              <a:gd name="connsiteX482" fmla="*/ 6613197 w 6689088"/>
              <a:gd name="connsiteY482" fmla="*/ 4547254 h 6689084"/>
              <a:gd name="connsiteX483" fmla="*/ 6601216 w 6689088"/>
              <a:gd name="connsiteY483" fmla="*/ 4535273 h 6689084"/>
              <a:gd name="connsiteX484" fmla="*/ 6613197 w 6689088"/>
              <a:gd name="connsiteY484" fmla="*/ 4523292 h 6689084"/>
              <a:gd name="connsiteX485" fmla="*/ 5075541 w 6689088"/>
              <a:gd name="connsiteY485" fmla="*/ 4381326 h 6689084"/>
              <a:gd name="connsiteX486" fmla="*/ 5075904 w 6689088"/>
              <a:gd name="connsiteY486" fmla="*/ 4381688 h 6689084"/>
              <a:gd name="connsiteX487" fmla="*/ 5075541 w 6689088"/>
              <a:gd name="connsiteY487" fmla="*/ 4382054 h 6689084"/>
              <a:gd name="connsiteX488" fmla="*/ 5075179 w 6689088"/>
              <a:gd name="connsiteY488" fmla="*/ 4381688 h 6689084"/>
              <a:gd name="connsiteX489" fmla="*/ 5075541 w 6689088"/>
              <a:gd name="connsiteY489" fmla="*/ 4381326 h 6689084"/>
              <a:gd name="connsiteX490" fmla="*/ 4614061 w 6689088"/>
              <a:gd name="connsiteY490" fmla="*/ 4381326 h 6689084"/>
              <a:gd name="connsiteX491" fmla="*/ 4614424 w 6689088"/>
              <a:gd name="connsiteY491" fmla="*/ 4381688 h 6689084"/>
              <a:gd name="connsiteX492" fmla="*/ 4614061 w 6689088"/>
              <a:gd name="connsiteY492" fmla="*/ 4382054 h 6689084"/>
              <a:gd name="connsiteX493" fmla="*/ 4613699 w 6689088"/>
              <a:gd name="connsiteY493" fmla="*/ 4381688 h 6689084"/>
              <a:gd name="connsiteX494" fmla="*/ 4614061 w 6689088"/>
              <a:gd name="connsiteY494" fmla="*/ 4381326 h 6689084"/>
              <a:gd name="connsiteX495" fmla="*/ 4460480 w 6689088"/>
              <a:gd name="connsiteY495" fmla="*/ 4381326 h 6689084"/>
              <a:gd name="connsiteX496" fmla="*/ 4460842 w 6689088"/>
              <a:gd name="connsiteY496" fmla="*/ 4381688 h 6689084"/>
              <a:gd name="connsiteX497" fmla="*/ 4460480 w 6689088"/>
              <a:gd name="connsiteY497" fmla="*/ 4382054 h 6689084"/>
              <a:gd name="connsiteX498" fmla="*/ 4460118 w 6689088"/>
              <a:gd name="connsiteY498" fmla="*/ 4381688 h 6689084"/>
              <a:gd name="connsiteX499" fmla="*/ 4460480 w 6689088"/>
              <a:gd name="connsiteY499" fmla="*/ 4381326 h 6689084"/>
              <a:gd name="connsiteX500" fmla="*/ 4306528 w 6689088"/>
              <a:gd name="connsiteY500" fmla="*/ 4380964 h 6689084"/>
              <a:gd name="connsiteX501" fmla="*/ 4307256 w 6689088"/>
              <a:gd name="connsiteY501" fmla="*/ 4381688 h 6689084"/>
              <a:gd name="connsiteX502" fmla="*/ 4306528 w 6689088"/>
              <a:gd name="connsiteY502" fmla="*/ 4382416 h 6689084"/>
              <a:gd name="connsiteX503" fmla="*/ 4305804 w 6689088"/>
              <a:gd name="connsiteY503" fmla="*/ 4381688 h 6689084"/>
              <a:gd name="connsiteX504" fmla="*/ 4306528 w 6689088"/>
              <a:gd name="connsiteY504" fmla="*/ 4380964 h 6689084"/>
              <a:gd name="connsiteX505" fmla="*/ 5229126 w 6689088"/>
              <a:gd name="connsiteY505" fmla="*/ 4379873 h 6689084"/>
              <a:gd name="connsiteX506" fmla="*/ 5230579 w 6689088"/>
              <a:gd name="connsiteY506" fmla="*/ 4381326 h 6689084"/>
              <a:gd name="connsiteX507" fmla="*/ 5229126 w 6689088"/>
              <a:gd name="connsiteY507" fmla="*/ 4382778 h 6689084"/>
              <a:gd name="connsiteX508" fmla="*/ 5227674 w 6689088"/>
              <a:gd name="connsiteY508" fmla="*/ 4381326 h 6689084"/>
              <a:gd name="connsiteX509" fmla="*/ 5229126 w 6689088"/>
              <a:gd name="connsiteY509" fmla="*/ 4379873 h 6689084"/>
              <a:gd name="connsiteX510" fmla="*/ 5383074 w 6689088"/>
              <a:gd name="connsiteY510" fmla="*/ 4379511 h 6689084"/>
              <a:gd name="connsiteX511" fmla="*/ 5385250 w 6689088"/>
              <a:gd name="connsiteY511" fmla="*/ 4381688 h 6689084"/>
              <a:gd name="connsiteX512" fmla="*/ 5383074 w 6689088"/>
              <a:gd name="connsiteY512" fmla="*/ 4383868 h 6689084"/>
              <a:gd name="connsiteX513" fmla="*/ 5380894 w 6689088"/>
              <a:gd name="connsiteY513" fmla="*/ 4381688 h 6689084"/>
              <a:gd name="connsiteX514" fmla="*/ 5383074 w 6689088"/>
              <a:gd name="connsiteY514" fmla="*/ 4379511 h 6689084"/>
              <a:gd name="connsiteX515" fmla="*/ 5536659 w 6689088"/>
              <a:gd name="connsiteY515" fmla="*/ 4378421 h 6689084"/>
              <a:gd name="connsiteX516" fmla="*/ 5539922 w 6689088"/>
              <a:gd name="connsiteY516" fmla="*/ 4381688 h 6689084"/>
              <a:gd name="connsiteX517" fmla="*/ 5536659 w 6689088"/>
              <a:gd name="connsiteY517" fmla="*/ 4384958 h 6689084"/>
              <a:gd name="connsiteX518" fmla="*/ 5533388 w 6689088"/>
              <a:gd name="connsiteY518" fmla="*/ 4381688 h 6689084"/>
              <a:gd name="connsiteX519" fmla="*/ 5536659 w 6689088"/>
              <a:gd name="connsiteY519" fmla="*/ 4378421 h 6689084"/>
              <a:gd name="connsiteX520" fmla="*/ 5690606 w 6689088"/>
              <a:gd name="connsiteY520" fmla="*/ 4377331 h 6689084"/>
              <a:gd name="connsiteX521" fmla="*/ 5694964 w 6689088"/>
              <a:gd name="connsiteY521" fmla="*/ 4381688 h 6689084"/>
              <a:gd name="connsiteX522" fmla="*/ 5690606 w 6689088"/>
              <a:gd name="connsiteY522" fmla="*/ 4386045 h 6689084"/>
              <a:gd name="connsiteX523" fmla="*/ 5686250 w 6689088"/>
              <a:gd name="connsiteY523" fmla="*/ 4381688 h 6689084"/>
              <a:gd name="connsiteX524" fmla="*/ 5690606 w 6689088"/>
              <a:gd name="connsiteY524" fmla="*/ 4377331 h 6689084"/>
              <a:gd name="connsiteX525" fmla="*/ 5844550 w 6689088"/>
              <a:gd name="connsiteY525" fmla="*/ 4375878 h 6689084"/>
              <a:gd name="connsiteX526" fmla="*/ 5850360 w 6689088"/>
              <a:gd name="connsiteY526" fmla="*/ 4381688 h 6689084"/>
              <a:gd name="connsiteX527" fmla="*/ 5844550 w 6689088"/>
              <a:gd name="connsiteY527" fmla="*/ 4387497 h 6689084"/>
              <a:gd name="connsiteX528" fmla="*/ 5838741 w 6689088"/>
              <a:gd name="connsiteY528" fmla="*/ 4381688 h 6689084"/>
              <a:gd name="connsiteX529" fmla="*/ 5844550 w 6689088"/>
              <a:gd name="connsiteY529" fmla="*/ 4375878 h 6689084"/>
              <a:gd name="connsiteX530" fmla="*/ 5998136 w 6689088"/>
              <a:gd name="connsiteY530" fmla="*/ 4374430 h 6689084"/>
              <a:gd name="connsiteX531" fmla="*/ 6005397 w 6689088"/>
              <a:gd name="connsiteY531" fmla="*/ 4381692 h 6689084"/>
              <a:gd name="connsiteX532" fmla="*/ 5998136 w 6689088"/>
              <a:gd name="connsiteY532" fmla="*/ 4388953 h 6689084"/>
              <a:gd name="connsiteX533" fmla="*/ 5990874 w 6689088"/>
              <a:gd name="connsiteY533" fmla="*/ 4381692 h 6689084"/>
              <a:gd name="connsiteX534" fmla="*/ 5998136 w 6689088"/>
              <a:gd name="connsiteY534" fmla="*/ 4374430 h 6689084"/>
              <a:gd name="connsiteX535" fmla="*/ 6152083 w 6689088"/>
              <a:gd name="connsiteY535" fmla="*/ 4372612 h 6689084"/>
              <a:gd name="connsiteX536" fmla="*/ 6161162 w 6689088"/>
              <a:gd name="connsiteY536" fmla="*/ 4381688 h 6689084"/>
              <a:gd name="connsiteX537" fmla="*/ 6152083 w 6689088"/>
              <a:gd name="connsiteY537" fmla="*/ 4390768 h 6689084"/>
              <a:gd name="connsiteX538" fmla="*/ 6143006 w 6689088"/>
              <a:gd name="connsiteY538" fmla="*/ 4381688 h 6689084"/>
              <a:gd name="connsiteX539" fmla="*/ 6152083 w 6689088"/>
              <a:gd name="connsiteY539" fmla="*/ 4372612 h 6689084"/>
              <a:gd name="connsiteX540" fmla="*/ 6305668 w 6689088"/>
              <a:gd name="connsiteY540" fmla="*/ 4371525 h 6689084"/>
              <a:gd name="connsiteX541" fmla="*/ 6315834 w 6689088"/>
              <a:gd name="connsiteY541" fmla="*/ 4381692 h 6689084"/>
              <a:gd name="connsiteX542" fmla="*/ 6305668 w 6689088"/>
              <a:gd name="connsiteY542" fmla="*/ 4391858 h 6689084"/>
              <a:gd name="connsiteX543" fmla="*/ 6295502 w 6689088"/>
              <a:gd name="connsiteY543" fmla="*/ 4381692 h 6689084"/>
              <a:gd name="connsiteX544" fmla="*/ 6305668 w 6689088"/>
              <a:gd name="connsiteY544" fmla="*/ 4371525 h 6689084"/>
              <a:gd name="connsiteX545" fmla="*/ 6459616 w 6689088"/>
              <a:gd name="connsiteY545" fmla="*/ 4369707 h 6689084"/>
              <a:gd name="connsiteX546" fmla="*/ 6471600 w 6689088"/>
              <a:gd name="connsiteY546" fmla="*/ 4381688 h 6689084"/>
              <a:gd name="connsiteX547" fmla="*/ 6459616 w 6689088"/>
              <a:gd name="connsiteY547" fmla="*/ 4393672 h 6689084"/>
              <a:gd name="connsiteX548" fmla="*/ 6447634 w 6689088"/>
              <a:gd name="connsiteY548" fmla="*/ 4381688 h 6689084"/>
              <a:gd name="connsiteX549" fmla="*/ 6459616 w 6689088"/>
              <a:gd name="connsiteY549" fmla="*/ 4369707 h 6689084"/>
              <a:gd name="connsiteX550" fmla="*/ 6613200 w 6689088"/>
              <a:gd name="connsiteY550" fmla="*/ 4367530 h 6689084"/>
              <a:gd name="connsiteX551" fmla="*/ 6626996 w 6689088"/>
              <a:gd name="connsiteY551" fmla="*/ 4381326 h 6689084"/>
              <a:gd name="connsiteX552" fmla="*/ 6613200 w 6689088"/>
              <a:gd name="connsiteY552" fmla="*/ 4395125 h 6689084"/>
              <a:gd name="connsiteX553" fmla="*/ 6599402 w 6689088"/>
              <a:gd name="connsiteY553" fmla="*/ 4381326 h 6689084"/>
              <a:gd name="connsiteX554" fmla="*/ 6613200 w 6689088"/>
              <a:gd name="connsiteY554" fmla="*/ 4367530 h 6689084"/>
              <a:gd name="connsiteX555" fmla="*/ 4921594 w 6689088"/>
              <a:gd name="connsiteY555" fmla="*/ 4227744 h 6689084"/>
              <a:gd name="connsiteX556" fmla="*/ 4921956 w 6689088"/>
              <a:gd name="connsiteY556" fmla="*/ 4228106 h 6689084"/>
              <a:gd name="connsiteX557" fmla="*/ 4921594 w 6689088"/>
              <a:gd name="connsiteY557" fmla="*/ 4228468 h 6689084"/>
              <a:gd name="connsiteX558" fmla="*/ 4921232 w 6689088"/>
              <a:gd name="connsiteY558" fmla="*/ 4228106 h 6689084"/>
              <a:gd name="connsiteX559" fmla="*/ 4921594 w 6689088"/>
              <a:gd name="connsiteY559" fmla="*/ 4227744 h 6689084"/>
              <a:gd name="connsiteX560" fmla="*/ 4460480 w 6689088"/>
              <a:gd name="connsiteY560" fmla="*/ 4227744 h 6689084"/>
              <a:gd name="connsiteX561" fmla="*/ 4460842 w 6689088"/>
              <a:gd name="connsiteY561" fmla="*/ 4228106 h 6689084"/>
              <a:gd name="connsiteX562" fmla="*/ 4460480 w 6689088"/>
              <a:gd name="connsiteY562" fmla="*/ 4228468 h 6689084"/>
              <a:gd name="connsiteX563" fmla="*/ 4460118 w 6689088"/>
              <a:gd name="connsiteY563" fmla="*/ 4228106 h 6689084"/>
              <a:gd name="connsiteX564" fmla="*/ 4460480 w 6689088"/>
              <a:gd name="connsiteY564" fmla="*/ 4227744 h 6689084"/>
              <a:gd name="connsiteX565" fmla="*/ 4306532 w 6689088"/>
              <a:gd name="connsiteY565" fmla="*/ 4227744 h 6689084"/>
              <a:gd name="connsiteX566" fmla="*/ 4306894 w 6689088"/>
              <a:gd name="connsiteY566" fmla="*/ 4228106 h 6689084"/>
              <a:gd name="connsiteX567" fmla="*/ 4306532 w 6689088"/>
              <a:gd name="connsiteY567" fmla="*/ 4228468 h 6689084"/>
              <a:gd name="connsiteX568" fmla="*/ 4306170 w 6689088"/>
              <a:gd name="connsiteY568" fmla="*/ 4228106 h 6689084"/>
              <a:gd name="connsiteX569" fmla="*/ 4306532 w 6689088"/>
              <a:gd name="connsiteY569" fmla="*/ 4227744 h 6689084"/>
              <a:gd name="connsiteX570" fmla="*/ 4152947 w 6689088"/>
              <a:gd name="connsiteY570" fmla="*/ 4227378 h 6689084"/>
              <a:gd name="connsiteX571" fmla="*/ 4153672 w 6689088"/>
              <a:gd name="connsiteY571" fmla="*/ 4228103 h 6689084"/>
              <a:gd name="connsiteX572" fmla="*/ 4152947 w 6689088"/>
              <a:gd name="connsiteY572" fmla="*/ 4228831 h 6689084"/>
              <a:gd name="connsiteX573" fmla="*/ 4152219 w 6689088"/>
              <a:gd name="connsiteY573" fmla="*/ 4228103 h 6689084"/>
              <a:gd name="connsiteX574" fmla="*/ 4152947 w 6689088"/>
              <a:gd name="connsiteY574" fmla="*/ 4227378 h 6689084"/>
              <a:gd name="connsiteX575" fmla="*/ 5075541 w 6689088"/>
              <a:gd name="connsiteY575" fmla="*/ 4226292 h 6689084"/>
              <a:gd name="connsiteX576" fmla="*/ 5076994 w 6689088"/>
              <a:gd name="connsiteY576" fmla="*/ 4227744 h 6689084"/>
              <a:gd name="connsiteX577" fmla="*/ 5075541 w 6689088"/>
              <a:gd name="connsiteY577" fmla="*/ 4229197 h 6689084"/>
              <a:gd name="connsiteX578" fmla="*/ 5074089 w 6689088"/>
              <a:gd name="connsiteY578" fmla="*/ 4227744 h 6689084"/>
              <a:gd name="connsiteX579" fmla="*/ 5075541 w 6689088"/>
              <a:gd name="connsiteY579" fmla="*/ 4226292 h 6689084"/>
              <a:gd name="connsiteX580" fmla="*/ 5229122 w 6689088"/>
              <a:gd name="connsiteY580" fmla="*/ 4225564 h 6689084"/>
              <a:gd name="connsiteX581" fmla="*/ 5231303 w 6689088"/>
              <a:gd name="connsiteY581" fmla="*/ 4227744 h 6689084"/>
              <a:gd name="connsiteX582" fmla="*/ 5229122 w 6689088"/>
              <a:gd name="connsiteY582" fmla="*/ 4229921 h 6689084"/>
              <a:gd name="connsiteX583" fmla="*/ 5226946 w 6689088"/>
              <a:gd name="connsiteY583" fmla="*/ 4227744 h 6689084"/>
              <a:gd name="connsiteX584" fmla="*/ 5229122 w 6689088"/>
              <a:gd name="connsiteY584" fmla="*/ 4225564 h 6689084"/>
              <a:gd name="connsiteX585" fmla="*/ 5383078 w 6689088"/>
              <a:gd name="connsiteY585" fmla="*/ 4224840 h 6689084"/>
              <a:gd name="connsiteX586" fmla="*/ 5386344 w 6689088"/>
              <a:gd name="connsiteY586" fmla="*/ 4228106 h 6689084"/>
              <a:gd name="connsiteX587" fmla="*/ 5383078 w 6689088"/>
              <a:gd name="connsiteY587" fmla="*/ 4231377 h 6689084"/>
              <a:gd name="connsiteX588" fmla="*/ 5379807 w 6689088"/>
              <a:gd name="connsiteY588" fmla="*/ 4228106 h 6689084"/>
              <a:gd name="connsiteX589" fmla="*/ 5383078 w 6689088"/>
              <a:gd name="connsiteY589" fmla="*/ 4224840 h 6689084"/>
              <a:gd name="connsiteX590" fmla="*/ 5536659 w 6689088"/>
              <a:gd name="connsiteY590" fmla="*/ 4223383 h 6689084"/>
              <a:gd name="connsiteX591" fmla="*/ 5541016 w 6689088"/>
              <a:gd name="connsiteY591" fmla="*/ 4227740 h 6689084"/>
              <a:gd name="connsiteX592" fmla="*/ 5536659 w 6689088"/>
              <a:gd name="connsiteY592" fmla="*/ 4232097 h 6689084"/>
              <a:gd name="connsiteX593" fmla="*/ 5532302 w 6689088"/>
              <a:gd name="connsiteY593" fmla="*/ 4227740 h 6689084"/>
              <a:gd name="connsiteX594" fmla="*/ 5536659 w 6689088"/>
              <a:gd name="connsiteY594" fmla="*/ 4223383 h 6689084"/>
              <a:gd name="connsiteX595" fmla="*/ 5690606 w 6689088"/>
              <a:gd name="connsiteY595" fmla="*/ 4222297 h 6689084"/>
              <a:gd name="connsiteX596" fmla="*/ 5696416 w 6689088"/>
              <a:gd name="connsiteY596" fmla="*/ 4228106 h 6689084"/>
              <a:gd name="connsiteX597" fmla="*/ 5690606 w 6689088"/>
              <a:gd name="connsiteY597" fmla="*/ 4233916 h 6689084"/>
              <a:gd name="connsiteX598" fmla="*/ 5684797 w 6689088"/>
              <a:gd name="connsiteY598" fmla="*/ 4228106 h 6689084"/>
              <a:gd name="connsiteX599" fmla="*/ 5690606 w 6689088"/>
              <a:gd name="connsiteY599" fmla="*/ 4222297 h 6689084"/>
              <a:gd name="connsiteX600" fmla="*/ 5844554 w 6689088"/>
              <a:gd name="connsiteY600" fmla="*/ 4220479 h 6689084"/>
              <a:gd name="connsiteX601" fmla="*/ 5851816 w 6689088"/>
              <a:gd name="connsiteY601" fmla="*/ 4227740 h 6689084"/>
              <a:gd name="connsiteX602" fmla="*/ 5844554 w 6689088"/>
              <a:gd name="connsiteY602" fmla="*/ 4235002 h 6689084"/>
              <a:gd name="connsiteX603" fmla="*/ 5837292 w 6689088"/>
              <a:gd name="connsiteY603" fmla="*/ 4227740 h 6689084"/>
              <a:gd name="connsiteX604" fmla="*/ 5844554 w 6689088"/>
              <a:gd name="connsiteY604" fmla="*/ 4220479 h 6689084"/>
              <a:gd name="connsiteX605" fmla="*/ 5998136 w 6689088"/>
              <a:gd name="connsiteY605" fmla="*/ 4218664 h 6689084"/>
              <a:gd name="connsiteX606" fmla="*/ 6007216 w 6689088"/>
              <a:gd name="connsiteY606" fmla="*/ 4227740 h 6689084"/>
              <a:gd name="connsiteX607" fmla="*/ 5998136 w 6689088"/>
              <a:gd name="connsiteY607" fmla="*/ 4236820 h 6689084"/>
              <a:gd name="connsiteX608" fmla="*/ 5989059 w 6689088"/>
              <a:gd name="connsiteY608" fmla="*/ 4227740 h 6689084"/>
              <a:gd name="connsiteX609" fmla="*/ 5998136 w 6689088"/>
              <a:gd name="connsiteY609" fmla="*/ 4218664 h 6689084"/>
              <a:gd name="connsiteX610" fmla="*/ 6152086 w 6689088"/>
              <a:gd name="connsiteY610" fmla="*/ 4217940 h 6689084"/>
              <a:gd name="connsiteX611" fmla="*/ 6162253 w 6689088"/>
              <a:gd name="connsiteY611" fmla="*/ 4228106 h 6689084"/>
              <a:gd name="connsiteX612" fmla="*/ 6152086 w 6689088"/>
              <a:gd name="connsiteY612" fmla="*/ 4238273 h 6689084"/>
              <a:gd name="connsiteX613" fmla="*/ 6141920 w 6689088"/>
              <a:gd name="connsiteY613" fmla="*/ 4228106 h 6689084"/>
              <a:gd name="connsiteX614" fmla="*/ 6152086 w 6689088"/>
              <a:gd name="connsiteY614" fmla="*/ 4217940 h 6689084"/>
              <a:gd name="connsiteX615" fmla="*/ 6305668 w 6689088"/>
              <a:gd name="connsiteY615" fmla="*/ 4215760 h 6689084"/>
              <a:gd name="connsiteX616" fmla="*/ 6317649 w 6689088"/>
              <a:gd name="connsiteY616" fmla="*/ 4227740 h 6689084"/>
              <a:gd name="connsiteX617" fmla="*/ 6305668 w 6689088"/>
              <a:gd name="connsiteY617" fmla="*/ 4239721 h 6689084"/>
              <a:gd name="connsiteX618" fmla="*/ 6293687 w 6689088"/>
              <a:gd name="connsiteY618" fmla="*/ 4227740 h 6689084"/>
              <a:gd name="connsiteX619" fmla="*/ 6305668 w 6689088"/>
              <a:gd name="connsiteY619" fmla="*/ 4215760 h 6689084"/>
              <a:gd name="connsiteX620" fmla="*/ 6459619 w 6689088"/>
              <a:gd name="connsiteY620" fmla="*/ 4213945 h 6689084"/>
              <a:gd name="connsiteX621" fmla="*/ 6473414 w 6689088"/>
              <a:gd name="connsiteY621" fmla="*/ 4227744 h 6689084"/>
              <a:gd name="connsiteX622" fmla="*/ 6459619 w 6689088"/>
              <a:gd name="connsiteY622" fmla="*/ 4241539 h 6689084"/>
              <a:gd name="connsiteX623" fmla="*/ 6445820 w 6689088"/>
              <a:gd name="connsiteY623" fmla="*/ 4227744 h 6689084"/>
              <a:gd name="connsiteX624" fmla="*/ 6459619 w 6689088"/>
              <a:gd name="connsiteY624" fmla="*/ 4213945 h 6689084"/>
              <a:gd name="connsiteX625" fmla="*/ 6613200 w 6689088"/>
              <a:gd name="connsiteY625" fmla="*/ 4212855 h 6689084"/>
              <a:gd name="connsiteX626" fmla="*/ 6628452 w 6689088"/>
              <a:gd name="connsiteY626" fmla="*/ 4228103 h 6689084"/>
              <a:gd name="connsiteX627" fmla="*/ 6613200 w 6689088"/>
              <a:gd name="connsiteY627" fmla="*/ 4243354 h 6689084"/>
              <a:gd name="connsiteX628" fmla="*/ 6597953 w 6689088"/>
              <a:gd name="connsiteY628" fmla="*/ 4228103 h 6689084"/>
              <a:gd name="connsiteX629" fmla="*/ 6613200 w 6689088"/>
              <a:gd name="connsiteY629" fmla="*/ 4212855 h 6689084"/>
              <a:gd name="connsiteX630" fmla="*/ 4768008 w 6689088"/>
              <a:gd name="connsiteY630" fmla="*/ 4073793 h 6689084"/>
              <a:gd name="connsiteX631" fmla="*/ 4768370 w 6689088"/>
              <a:gd name="connsiteY631" fmla="*/ 4074155 h 6689084"/>
              <a:gd name="connsiteX632" fmla="*/ 4768008 w 6689088"/>
              <a:gd name="connsiteY632" fmla="*/ 4074521 h 6689084"/>
              <a:gd name="connsiteX633" fmla="*/ 4767646 w 6689088"/>
              <a:gd name="connsiteY633" fmla="*/ 4074155 h 6689084"/>
              <a:gd name="connsiteX634" fmla="*/ 4768008 w 6689088"/>
              <a:gd name="connsiteY634" fmla="*/ 4073793 h 6689084"/>
              <a:gd name="connsiteX635" fmla="*/ 4306532 w 6689088"/>
              <a:gd name="connsiteY635" fmla="*/ 4073793 h 6689084"/>
              <a:gd name="connsiteX636" fmla="*/ 4306894 w 6689088"/>
              <a:gd name="connsiteY636" fmla="*/ 4074155 h 6689084"/>
              <a:gd name="connsiteX637" fmla="*/ 4306532 w 6689088"/>
              <a:gd name="connsiteY637" fmla="*/ 4074521 h 6689084"/>
              <a:gd name="connsiteX638" fmla="*/ 4306170 w 6689088"/>
              <a:gd name="connsiteY638" fmla="*/ 4074155 h 6689084"/>
              <a:gd name="connsiteX639" fmla="*/ 4306532 w 6689088"/>
              <a:gd name="connsiteY639" fmla="*/ 4073793 h 6689084"/>
              <a:gd name="connsiteX640" fmla="*/ 4152947 w 6689088"/>
              <a:gd name="connsiteY640" fmla="*/ 4073793 h 6689084"/>
              <a:gd name="connsiteX641" fmla="*/ 4153309 w 6689088"/>
              <a:gd name="connsiteY641" fmla="*/ 4074155 h 6689084"/>
              <a:gd name="connsiteX642" fmla="*/ 4152947 w 6689088"/>
              <a:gd name="connsiteY642" fmla="*/ 4074521 h 6689084"/>
              <a:gd name="connsiteX643" fmla="*/ 4152585 w 6689088"/>
              <a:gd name="connsiteY643" fmla="*/ 4074155 h 6689084"/>
              <a:gd name="connsiteX644" fmla="*/ 4152947 w 6689088"/>
              <a:gd name="connsiteY644" fmla="*/ 4073793 h 6689084"/>
              <a:gd name="connsiteX645" fmla="*/ 3998996 w 6689088"/>
              <a:gd name="connsiteY645" fmla="*/ 4073431 h 6689084"/>
              <a:gd name="connsiteX646" fmla="*/ 3999724 w 6689088"/>
              <a:gd name="connsiteY646" fmla="*/ 4074155 h 6689084"/>
              <a:gd name="connsiteX647" fmla="*/ 3998996 w 6689088"/>
              <a:gd name="connsiteY647" fmla="*/ 4074883 h 6689084"/>
              <a:gd name="connsiteX648" fmla="*/ 3998272 w 6689088"/>
              <a:gd name="connsiteY648" fmla="*/ 4074155 h 6689084"/>
              <a:gd name="connsiteX649" fmla="*/ 3998996 w 6689088"/>
              <a:gd name="connsiteY649" fmla="*/ 4073431 h 6689084"/>
              <a:gd name="connsiteX650" fmla="*/ 4921594 w 6689088"/>
              <a:gd name="connsiteY650" fmla="*/ 4072344 h 6689084"/>
              <a:gd name="connsiteX651" fmla="*/ 4923046 w 6689088"/>
              <a:gd name="connsiteY651" fmla="*/ 4073797 h 6689084"/>
              <a:gd name="connsiteX652" fmla="*/ 4921594 w 6689088"/>
              <a:gd name="connsiteY652" fmla="*/ 4075249 h 6689084"/>
              <a:gd name="connsiteX653" fmla="*/ 4920142 w 6689088"/>
              <a:gd name="connsiteY653" fmla="*/ 4073797 h 6689084"/>
              <a:gd name="connsiteX654" fmla="*/ 4921594 w 6689088"/>
              <a:gd name="connsiteY654" fmla="*/ 4072344 h 6689084"/>
              <a:gd name="connsiteX655" fmla="*/ 5075541 w 6689088"/>
              <a:gd name="connsiteY655" fmla="*/ 4071978 h 6689084"/>
              <a:gd name="connsiteX656" fmla="*/ 5077722 w 6689088"/>
              <a:gd name="connsiteY656" fmla="*/ 4074155 h 6689084"/>
              <a:gd name="connsiteX657" fmla="*/ 5075541 w 6689088"/>
              <a:gd name="connsiteY657" fmla="*/ 4076335 h 6689084"/>
              <a:gd name="connsiteX658" fmla="*/ 5073364 w 6689088"/>
              <a:gd name="connsiteY658" fmla="*/ 4074155 h 6689084"/>
              <a:gd name="connsiteX659" fmla="*/ 5075541 w 6689088"/>
              <a:gd name="connsiteY659" fmla="*/ 4071978 h 6689084"/>
              <a:gd name="connsiteX660" fmla="*/ 5229126 w 6689088"/>
              <a:gd name="connsiteY660" fmla="*/ 4070892 h 6689084"/>
              <a:gd name="connsiteX661" fmla="*/ 5232394 w 6689088"/>
              <a:gd name="connsiteY661" fmla="*/ 4074159 h 6689084"/>
              <a:gd name="connsiteX662" fmla="*/ 5229126 w 6689088"/>
              <a:gd name="connsiteY662" fmla="*/ 4077429 h 6689084"/>
              <a:gd name="connsiteX663" fmla="*/ 5225860 w 6689088"/>
              <a:gd name="connsiteY663" fmla="*/ 4074159 h 6689084"/>
              <a:gd name="connsiteX664" fmla="*/ 5229126 w 6689088"/>
              <a:gd name="connsiteY664" fmla="*/ 4070892 h 6689084"/>
              <a:gd name="connsiteX665" fmla="*/ 5383074 w 6689088"/>
              <a:gd name="connsiteY665" fmla="*/ 4069802 h 6689084"/>
              <a:gd name="connsiteX666" fmla="*/ 5387431 w 6689088"/>
              <a:gd name="connsiteY666" fmla="*/ 4074159 h 6689084"/>
              <a:gd name="connsiteX667" fmla="*/ 5383074 w 6689088"/>
              <a:gd name="connsiteY667" fmla="*/ 4078516 h 6689084"/>
              <a:gd name="connsiteX668" fmla="*/ 5378717 w 6689088"/>
              <a:gd name="connsiteY668" fmla="*/ 4074159 h 6689084"/>
              <a:gd name="connsiteX669" fmla="*/ 5383074 w 6689088"/>
              <a:gd name="connsiteY669" fmla="*/ 4069802 h 6689084"/>
              <a:gd name="connsiteX670" fmla="*/ 5536659 w 6689088"/>
              <a:gd name="connsiteY670" fmla="*/ 4068349 h 6689084"/>
              <a:gd name="connsiteX671" fmla="*/ 5542468 w 6689088"/>
              <a:gd name="connsiteY671" fmla="*/ 4074159 h 6689084"/>
              <a:gd name="connsiteX672" fmla="*/ 5536659 w 6689088"/>
              <a:gd name="connsiteY672" fmla="*/ 4079968 h 6689084"/>
              <a:gd name="connsiteX673" fmla="*/ 5530850 w 6689088"/>
              <a:gd name="connsiteY673" fmla="*/ 4074159 h 6689084"/>
              <a:gd name="connsiteX674" fmla="*/ 5536659 w 6689088"/>
              <a:gd name="connsiteY674" fmla="*/ 4068349 h 6689084"/>
              <a:gd name="connsiteX675" fmla="*/ 5690606 w 6689088"/>
              <a:gd name="connsiteY675" fmla="*/ 4066897 h 6689084"/>
              <a:gd name="connsiteX676" fmla="*/ 5697868 w 6689088"/>
              <a:gd name="connsiteY676" fmla="*/ 4074159 h 6689084"/>
              <a:gd name="connsiteX677" fmla="*/ 5690606 w 6689088"/>
              <a:gd name="connsiteY677" fmla="*/ 4081420 h 6689084"/>
              <a:gd name="connsiteX678" fmla="*/ 5683345 w 6689088"/>
              <a:gd name="connsiteY678" fmla="*/ 4074159 h 6689084"/>
              <a:gd name="connsiteX679" fmla="*/ 5690606 w 6689088"/>
              <a:gd name="connsiteY679" fmla="*/ 4066897 h 6689084"/>
              <a:gd name="connsiteX680" fmla="*/ 5844554 w 6689088"/>
              <a:gd name="connsiteY680" fmla="*/ 4064717 h 6689084"/>
              <a:gd name="connsiteX681" fmla="*/ 5853634 w 6689088"/>
              <a:gd name="connsiteY681" fmla="*/ 4073793 h 6689084"/>
              <a:gd name="connsiteX682" fmla="*/ 5844554 w 6689088"/>
              <a:gd name="connsiteY682" fmla="*/ 4082873 h 6689084"/>
              <a:gd name="connsiteX683" fmla="*/ 5835478 w 6689088"/>
              <a:gd name="connsiteY683" fmla="*/ 4073793 h 6689084"/>
              <a:gd name="connsiteX684" fmla="*/ 5844554 w 6689088"/>
              <a:gd name="connsiteY684" fmla="*/ 4064717 h 6689084"/>
              <a:gd name="connsiteX685" fmla="*/ 5998139 w 6689088"/>
              <a:gd name="connsiteY685" fmla="*/ 4063992 h 6689084"/>
              <a:gd name="connsiteX686" fmla="*/ 6008306 w 6689088"/>
              <a:gd name="connsiteY686" fmla="*/ 4074159 h 6689084"/>
              <a:gd name="connsiteX687" fmla="*/ 5998139 w 6689088"/>
              <a:gd name="connsiteY687" fmla="*/ 4084325 h 6689084"/>
              <a:gd name="connsiteX688" fmla="*/ 5987973 w 6689088"/>
              <a:gd name="connsiteY688" fmla="*/ 4074159 h 6689084"/>
              <a:gd name="connsiteX689" fmla="*/ 5998139 w 6689088"/>
              <a:gd name="connsiteY689" fmla="*/ 4063992 h 6689084"/>
              <a:gd name="connsiteX690" fmla="*/ 6152083 w 6689088"/>
              <a:gd name="connsiteY690" fmla="*/ 4062174 h 6689084"/>
              <a:gd name="connsiteX691" fmla="*/ 6164064 w 6689088"/>
              <a:gd name="connsiteY691" fmla="*/ 4074155 h 6689084"/>
              <a:gd name="connsiteX692" fmla="*/ 6152083 w 6689088"/>
              <a:gd name="connsiteY692" fmla="*/ 4086140 h 6689084"/>
              <a:gd name="connsiteX693" fmla="*/ 6140102 w 6689088"/>
              <a:gd name="connsiteY693" fmla="*/ 4074155 h 6689084"/>
              <a:gd name="connsiteX694" fmla="*/ 6152083 w 6689088"/>
              <a:gd name="connsiteY694" fmla="*/ 4062174 h 6689084"/>
              <a:gd name="connsiteX695" fmla="*/ 6305672 w 6689088"/>
              <a:gd name="connsiteY695" fmla="*/ 4059998 h 6689084"/>
              <a:gd name="connsiteX696" fmla="*/ 6319467 w 6689088"/>
              <a:gd name="connsiteY696" fmla="*/ 4073793 h 6689084"/>
              <a:gd name="connsiteX697" fmla="*/ 6305672 w 6689088"/>
              <a:gd name="connsiteY697" fmla="*/ 4087592 h 6689084"/>
              <a:gd name="connsiteX698" fmla="*/ 6291873 w 6689088"/>
              <a:gd name="connsiteY698" fmla="*/ 4073793 h 6689084"/>
              <a:gd name="connsiteX699" fmla="*/ 6305672 w 6689088"/>
              <a:gd name="connsiteY699" fmla="*/ 4059998 h 6689084"/>
              <a:gd name="connsiteX700" fmla="*/ 6459619 w 6689088"/>
              <a:gd name="connsiteY700" fmla="*/ 4058907 h 6689084"/>
              <a:gd name="connsiteX701" fmla="*/ 6474867 w 6689088"/>
              <a:gd name="connsiteY701" fmla="*/ 4074155 h 6689084"/>
              <a:gd name="connsiteX702" fmla="*/ 6459619 w 6689088"/>
              <a:gd name="connsiteY702" fmla="*/ 4089406 h 6689084"/>
              <a:gd name="connsiteX703" fmla="*/ 6444368 w 6689088"/>
              <a:gd name="connsiteY703" fmla="*/ 4074155 h 6689084"/>
              <a:gd name="connsiteX704" fmla="*/ 6459619 w 6689088"/>
              <a:gd name="connsiteY704" fmla="*/ 4058907 h 6689084"/>
              <a:gd name="connsiteX705" fmla="*/ 6613197 w 6689088"/>
              <a:gd name="connsiteY705" fmla="*/ 4057093 h 6689084"/>
              <a:gd name="connsiteX706" fmla="*/ 6630266 w 6689088"/>
              <a:gd name="connsiteY706" fmla="*/ 4074159 h 6689084"/>
              <a:gd name="connsiteX707" fmla="*/ 6613197 w 6689088"/>
              <a:gd name="connsiteY707" fmla="*/ 4091225 h 6689084"/>
              <a:gd name="connsiteX708" fmla="*/ 6596135 w 6689088"/>
              <a:gd name="connsiteY708" fmla="*/ 4074159 h 6689084"/>
              <a:gd name="connsiteX709" fmla="*/ 6613197 w 6689088"/>
              <a:gd name="connsiteY709" fmla="*/ 4057093 h 6689084"/>
              <a:gd name="connsiteX710" fmla="*/ 4614061 w 6689088"/>
              <a:gd name="connsiteY710" fmla="*/ 3919845 h 6689084"/>
              <a:gd name="connsiteX711" fmla="*/ 4614424 w 6689088"/>
              <a:gd name="connsiteY711" fmla="*/ 3920208 h 6689084"/>
              <a:gd name="connsiteX712" fmla="*/ 4614061 w 6689088"/>
              <a:gd name="connsiteY712" fmla="*/ 3920574 h 6689084"/>
              <a:gd name="connsiteX713" fmla="*/ 4613699 w 6689088"/>
              <a:gd name="connsiteY713" fmla="*/ 3920208 h 6689084"/>
              <a:gd name="connsiteX714" fmla="*/ 4614061 w 6689088"/>
              <a:gd name="connsiteY714" fmla="*/ 3919845 h 6689084"/>
              <a:gd name="connsiteX715" fmla="*/ 4152947 w 6689088"/>
              <a:gd name="connsiteY715" fmla="*/ 3919845 h 6689084"/>
              <a:gd name="connsiteX716" fmla="*/ 4153309 w 6689088"/>
              <a:gd name="connsiteY716" fmla="*/ 3920208 h 6689084"/>
              <a:gd name="connsiteX717" fmla="*/ 4152947 w 6689088"/>
              <a:gd name="connsiteY717" fmla="*/ 3920574 h 6689084"/>
              <a:gd name="connsiteX718" fmla="*/ 4152585 w 6689088"/>
              <a:gd name="connsiteY718" fmla="*/ 3920208 h 6689084"/>
              <a:gd name="connsiteX719" fmla="*/ 4152947 w 6689088"/>
              <a:gd name="connsiteY719" fmla="*/ 3919845 h 6689084"/>
              <a:gd name="connsiteX720" fmla="*/ 3999000 w 6689088"/>
              <a:gd name="connsiteY720" fmla="*/ 3919845 h 6689084"/>
              <a:gd name="connsiteX721" fmla="*/ 3999362 w 6689088"/>
              <a:gd name="connsiteY721" fmla="*/ 3920208 h 6689084"/>
              <a:gd name="connsiteX722" fmla="*/ 3999000 w 6689088"/>
              <a:gd name="connsiteY722" fmla="*/ 3920574 h 6689084"/>
              <a:gd name="connsiteX723" fmla="*/ 3998638 w 6689088"/>
              <a:gd name="connsiteY723" fmla="*/ 3920208 h 6689084"/>
              <a:gd name="connsiteX724" fmla="*/ 3999000 w 6689088"/>
              <a:gd name="connsiteY724" fmla="*/ 3919845 h 6689084"/>
              <a:gd name="connsiteX725" fmla="*/ 3845418 w 6689088"/>
              <a:gd name="connsiteY725" fmla="*/ 3919483 h 6689084"/>
              <a:gd name="connsiteX726" fmla="*/ 3846142 w 6689088"/>
              <a:gd name="connsiteY726" fmla="*/ 3920211 h 6689084"/>
              <a:gd name="connsiteX727" fmla="*/ 3845418 w 6689088"/>
              <a:gd name="connsiteY727" fmla="*/ 3920936 h 6689084"/>
              <a:gd name="connsiteX728" fmla="*/ 3844690 w 6689088"/>
              <a:gd name="connsiteY728" fmla="*/ 3920211 h 6689084"/>
              <a:gd name="connsiteX729" fmla="*/ 3845418 w 6689088"/>
              <a:gd name="connsiteY729" fmla="*/ 3919483 h 6689084"/>
              <a:gd name="connsiteX730" fmla="*/ 4768012 w 6689088"/>
              <a:gd name="connsiteY730" fmla="*/ 3918759 h 6689084"/>
              <a:gd name="connsiteX731" fmla="*/ 4769464 w 6689088"/>
              <a:gd name="connsiteY731" fmla="*/ 3920211 h 6689084"/>
              <a:gd name="connsiteX732" fmla="*/ 4768012 w 6689088"/>
              <a:gd name="connsiteY732" fmla="*/ 3921664 h 6689084"/>
              <a:gd name="connsiteX733" fmla="*/ 4766560 w 6689088"/>
              <a:gd name="connsiteY733" fmla="*/ 3920211 h 6689084"/>
              <a:gd name="connsiteX734" fmla="*/ 4768012 w 6689088"/>
              <a:gd name="connsiteY734" fmla="*/ 3918759 h 6689084"/>
              <a:gd name="connsiteX735" fmla="*/ 4921594 w 6689088"/>
              <a:gd name="connsiteY735" fmla="*/ 3918031 h 6689084"/>
              <a:gd name="connsiteX736" fmla="*/ 4923774 w 6689088"/>
              <a:gd name="connsiteY736" fmla="*/ 3920208 h 6689084"/>
              <a:gd name="connsiteX737" fmla="*/ 4921594 w 6689088"/>
              <a:gd name="connsiteY737" fmla="*/ 3922388 h 6689084"/>
              <a:gd name="connsiteX738" fmla="*/ 4919417 w 6689088"/>
              <a:gd name="connsiteY738" fmla="*/ 3920208 h 6689084"/>
              <a:gd name="connsiteX739" fmla="*/ 4921594 w 6689088"/>
              <a:gd name="connsiteY739" fmla="*/ 3918031 h 6689084"/>
              <a:gd name="connsiteX740" fmla="*/ 5075545 w 6689088"/>
              <a:gd name="connsiteY740" fmla="*/ 3917307 h 6689084"/>
              <a:gd name="connsiteX741" fmla="*/ 5078812 w 6689088"/>
              <a:gd name="connsiteY741" fmla="*/ 3920574 h 6689084"/>
              <a:gd name="connsiteX742" fmla="*/ 5075545 w 6689088"/>
              <a:gd name="connsiteY742" fmla="*/ 3923844 h 6689084"/>
              <a:gd name="connsiteX743" fmla="*/ 5072274 w 6689088"/>
              <a:gd name="connsiteY743" fmla="*/ 3920574 h 6689084"/>
              <a:gd name="connsiteX744" fmla="*/ 5075545 w 6689088"/>
              <a:gd name="connsiteY744" fmla="*/ 3917307 h 6689084"/>
              <a:gd name="connsiteX745" fmla="*/ 5229126 w 6689088"/>
              <a:gd name="connsiteY745" fmla="*/ 3915854 h 6689084"/>
              <a:gd name="connsiteX746" fmla="*/ 5233484 w 6689088"/>
              <a:gd name="connsiteY746" fmla="*/ 3920211 h 6689084"/>
              <a:gd name="connsiteX747" fmla="*/ 5229126 w 6689088"/>
              <a:gd name="connsiteY747" fmla="*/ 3924568 h 6689084"/>
              <a:gd name="connsiteX748" fmla="*/ 5224770 w 6689088"/>
              <a:gd name="connsiteY748" fmla="*/ 3920211 h 6689084"/>
              <a:gd name="connsiteX749" fmla="*/ 5229126 w 6689088"/>
              <a:gd name="connsiteY749" fmla="*/ 3915854 h 6689084"/>
              <a:gd name="connsiteX750" fmla="*/ 5383074 w 6689088"/>
              <a:gd name="connsiteY750" fmla="*/ 3914764 h 6689084"/>
              <a:gd name="connsiteX751" fmla="*/ 5388883 w 6689088"/>
              <a:gd name="connsiteY751" fmla="*/ 3920574 h 6689084"/>
              <a:gd name="connsiteX752" fmla="*/ 5383074 w 6689088"/>
              <a:gd name="connsiteY752" fmla="*/ 3926383 h 6689084"/>
              <a:gd name="connsiteX753" fmla="*/ 5377264 w 6689088"/>
              <a:gd name="connsiteY753" fmla="*/ 3920574 h 6689084"/>
              <a:gd name="connsiteX754" fmla="*/ 5383074 w 6689088"/>
              <a:gd name="connsiteY754" fmla="*/ 3914764 h 6689084"/>
              <a:gd name="connsiteX755" fmla="*/ 5536659 w 6689088"/>
              <a:gd name="connsiteY755" fmla="*/ 3912950 h 6689084"/>
              <a:gd name="connsiteX756" fmla="*/ 5543921 w 6689088"/>
              <a:gd name="connsiteY756" fmla="*/ 3920211 h 6689084"/>
              <a:gd name="connsiteX757" fmla="*/ 5536659 w 6689088"/>
              <a:gd name="connsiteY757" fmla="*/ 3927473 h 6689084"/>
              <a:gd name="connsiteX758" fmla="*/ 5529398 w 6689088"/>
              <a:gd name="connsiteY758" fmla="*/ 3920211 h 6689084"/>
              <a:gd name="connsiteX759" fmla="*/ 5536659 w 6689088"/>
              <a:gd name="connsiteY759" fmla="*/ 3912950 h 6689084"/>
              <a:gd name="connsiteX760" fmla="*/ 5690606 w 6689088"/>
              <a:gd name="connsiteY760" fmla="*/ 3911135 h 6689084"/>
              <a:gd name="connsiteX761" fmla="*/ 5699686 w 6689088"/>
              <a:gd name="connsiteY761" fmla="*/ 3920211 h 6689084"/>
              <a:gd name="connsiteX762" fmla="*/ 5690606 w 6689088"/>
              <a:gd name="connsiteY762" fmla="*/ 3929291 h 6689084"/>
              <a:gd name="connsiteX763" fmla="*/ 5681530 w 6689088"/>
              <a:gd name="connsiteY763" fmla="*/ 3920211 h 6689084"/>
              <a:gd name="connsiteX764" fmla="*/ 5690606 w 6689088"/>
              <a:gd name="connsiteY764" fmla="*/ 3911135 h 6689084"/>
              <a:gd name="connsiteX765" fmla="*/ 5844554 w 6689088"/>
              <a:gd name="connsiteY765" fmla="*/ 3910045 h 6689084"/>
              <a:gd name="connsiteX766" fmla="*/ 5854720 w 6689088"/>
              <a:gd name="connsiteY766" fmla="*/ 3920211 h 6689084"/>
              <a:gd name="connsiteX767" fmla="*/ 5844554 w 6689088"/>
              <a:gd name="connsiteY767" fmla="*/ 3930378 h 6689084"/>
              <a:gd name="connsiteX768" fmla="*/ 5834388 w 6689088"/>
              <a:gd name="connsiteY768" fmla="*/ 3920211 h 6689084"/>
              <a:gd name="connsiteX769" fmla="*/ 5844554 w 6689088"/>
              <a:gd name="connsiteY769" fmla="*/ 3910045 h 6689084"/>
              <a:gd name="connsiteX770" fmla="*/ 5998139 w 6689088"/>
              <a:gd name="connsiteY770" fmla="*/ 3908227 h 6689084"/>
              <a:gd name="connsiteX771" fmla="*/ 6010120 w 6689088"/>
              <a:gd name="connsiteY771" fmla="*/ 3920208 h 6689084"/>
              <a:gd name="connsiteX772" fmla="*/ 5998139 w 6689088"/>
              <a:gd name="connsiteY772" fmla="*/ 3932192 h 6689084"/>
              <a:gd name="connsiteX773" fmla="*/ 5986158 w 6689088"/>
              <a:gd name="connsiteY773" fmla="*/ 3920208 h 6689084"/>
              <a:gd name="connsiteX774" fmla="*/ 5998139 w 6689088"/>
              <a:gd name="connsiteY774" fmla="*/ 3908227 h 6689084"/>
              <a:gd name="connsiteX775" fmla="*/ 6152086 w 6689088"/>
              <a:gd name="connsiteY775" fmla="*/ 3906412 h 6689084"/>
              <a:gd name="connsiteX776" fmla="*/ 6165882 w 6689088"/>
              <a:gd name="connsiteY776" fmla="*/ 3920211 h 6689084"/>
              <a:gd name="connsiteX777" fmla="*/ 6152086 w 6689088"/>
              <a:gd name="connsiteY777" fmla="*/ 3934007 h 6689084"/>
              <a:gd name="connsiteX778" fmla="*/ 6138288 w 6689088"/>
              <a:gd name="connsiteY778" fmla="*/ 3920211 h 6689084"/>
              <a:gd name="connsiteX779" fmla="*/ 6152086 w 6689088"/>
              <a:gd name="connsiteY779" fmla="*/ 3906412 h 6689084"/>
              <a:gd name="connsiteX780" fmla="*/ 6305672 w 6689088"/>
              <a:gd name="connsiteY780" fmla="*/ 3904960 h 6689084"/>
              <a:gd name="connsiteX781" fmla="*/ 6320920 w 6689088"/>
              <a:gd name="connsiteY781" fmla="*/ 3920211 h 6689084"/>
              <a:gd name="connsiteX782" fmla="*/ 6305672 w 6689088"/>
              <a:gd name="connsiteY782" fmla="*/ 3935459 h 6689084"/>
              <a:gd name="connsiteX783" fmla="*/ 6290420 w 6689088"/>
              <a:gd name="connsiteY783" fmla="*/ 3920211 h 6689084"/>
              <a:gd name="connsiteX784" fmla="*/ 6305672 w 6689088"/>
              <a:gd name="connsiteY784" fmla="*/ 3904960 h 6689084"/>
              <a:gd name="connsiteX785" fmla="*/ 6459616 w 6689088"/>
              <a:gd name="connsiteY785" fmla="*/ 3903146 h 6689084"/>
              <a:gd name="connsiteX786" fmla="*/ 6476682 w 6689088"/>
              <a:gd name="connsiteY786" fmla="*/ 3920211 h 6689084"/>
              <a:gd name="connsiteX787" fmla="*/ 6459616 w 6689088"/>
              <a:gd name="connsiteY787" fmla="*/ 3937277 h 6689084"/>
              <a:gd name="connsiteX788" fmla="*/ 6442550 w 6689088"/>
              <a:gd name="connsiteY788" fmla="*/ 3920211 h 6689084"/>
              <a:gd name="connsiteX789" fmla="*/ 6459616 w 6689088"/>
              <a:gd name="connsiteY789" fmla="*/ 3903146 h 6689084"/>
              <a:gd name="connsiteX790" fmla="*/ 6613200 w 6689088"/>
              <a:gd name="connsiteY790" fmla="*/ 3900969 h 6689084"/>
              <a:gd name="connsiteX791" fmla="*/ 6632447 w 6689088"/>
              <a:gd name="connsiteY791" fmla="*/ 3920211 h 6689084"/>
              <a:gd name="connsiteX792" fmla="*/ 6613200 w 6689088"/>
              <a:gd name="connsiteY792" fmla="*/ 3939458 h 6689084"/>
              <a:gd name="connsiteX793" fmla="*/ 6593958 w 6689088"/>
              <a:gd name="connsiteY793" fmla="*/ 3920211 h 6689084"/>
              <a:gd name="connsiteX794" fmla="*/ 6613200 w 6689088"/>
              <a:gd name="connsiteY794" fmla="*/ 3900969 h 6689084"/>
              <a:gd name="connsiteX795" fmla="*/ 4460480 w 6689088"/>
              <a:gd name="connsiteY795" fmla="*/ 3766264 h 6689084"/>
              <a:gd name="connsiteX796" fmla="*/ 4460842 w 6689088"/>
              <a:gd name="connsiteY796" fmla="*/ 3766626 h 6689084"/>
              <a:gd name="connsiteX797" fmla="*/ 4460480 w 6689088"/>
              <a:gd name="connsiteY797" fmla="*/ 3766988 h 6689084"/>
              <a:gd name="connsiteX798" fmla="*/ 4460118 w 6689088"/>
              <a:gd name="connsiteY798" fmla="*/ 3766626 h 6689084"/>
              <a:gd name="connsiteX799" fmla="*/ 4460480 w 6689088"/>
              <a:gd name="connsiteY799" fmla="*/ 3766264 h 6689084"/>
              <a:gd name="connsiteX800" fmla="*/ 3999000 w 6689088"/>
              <a:gd name="connsiteY800" fmla="*/ 3766264 h 6689084"/>
              <a:gd name="connsiteX801" fmla="*/ 3999362 w 6689088"/>
              <a:gd name="connsiteY801" fmla="*/ 3766626 h 6689084"/>
              <a:gd name="connsiteX802" fmla="*/ 3999000 w 6689088"/>
              <a:gd name="connsiteY802" fmla="*/ 3766988 h 6689084"/>
              <a:gd name="connsiteX803" fmla="*/ 3998638 w 6689088"/>
              <a:gd name="connsiteY803" fmla="*/ 3766626 h 6689084"/>
              <a:gd name="connsiteX804" fmla="*/ 3999000 w 6689088"/>
              <a:gd name="connsiteY804" fmla="*/ 3766264 h 6689084"/>
              <a:gd name="connsiteX805" fmla="*/ 3845414 w 6689088"/>
              <a:gd name="connsiteY805" fmla="*/ 3766264 h 6689084"/>
              <a:gd name="connsiteX806" fmla="*/ 3845776 w 6689088"/>
              <a:gd name="connsiteY806" fmla="*/ 3766626 h 6689084"/>
              <a:gd name="connsiteX807" fmla="*/ 3845414 w 6689088"/>
              <a:gd name="connsiteY807" fmla="*/ 3766988 h 6689084"/>
              <a:gd name="connsiteX808" fmla="*/ 3845052 w 6689088"/>
              <a:gd name="connsiteY808" fmla="*/ 3766626 h 6689084"/>
              <a:gd name="connsiteX809" fmla="*/ 3845414 w 6689088"/>
              <a:gd name="connsiteY809" fmla="*/ 3766264 h 6689084"/>
              <a:gd name="connsiteX810" fmla="*/ 3691471 w 6689088"/>
              <a:gd name="connsiteY810" fmla="*/ 3765902 h 6689084"/>
              <a:gd name="connsiteX811" fmla="*/ 3692195 w 6689088"/>
              <a:gd name="connsiteY811" fmla="*/ 3766626 h 6689084"/>
              <a:gd name="connsiteX812" fmla="*/ 3691471 w 6689088"/>
              <a:gd name="connsiteY812" fmla="*/ 3767354 h 6689084"/>
              <a:gd name="connsiteX813" fmla="*/ 3690743 w 6689088"/>
              <a:gd name="connsiteY813" fmla="*/ 3766626 h 6689084"/>
              <a:gd name="connsiteX814" fmla="*/ 3691471 w 6689088"/>
              <a:gd name="connsiteY814" fmla="*/ 3765902 h 6689084"/>
              <a:gd name="connsiteX815" fmla="*/ 4614065 w 6689088"/>
              <a:gd name="connsiteY815" fmla="*/ 3764812 h 6689084"/>
              <a:gd name="connsiteX816" fmla="*/ 4615518 w 6689088"/>
              <a:gd name="connsiteY816" fmla="*/ 3766264 h 6689084"/>
              <a:gd name="connsiteX817" fmla="*/ 4614065 w 6689088"/>
              <a:gd name="connsiteY817" fmla="*/ 3767716 h 6689084"/>
              <a:gd name="connsiteX818" fmla="*/ 4612612 w 6689088"/>
              <a:gd name="connsiteY818" fmla="*/ 3766264 h 6689084"/>
              <a:gd name="connsiteX819" fmla="*/ 4614065 w 6689088"/>
              <a:gd name="connsiteY819" fmla="*/ 3764812 h 6689084"/>
              <a:gd name="connsiteX820" fmla="*/ 4768008 w 6689088"/>
              <a:gd name="connsiteY820" fmla="*/ 3764450 h 6689084"/>
              <a:gd name="connsiteX821" fmla="*/ 4770189 w 6689088"/>
              <a:gd name="connsiteY821" fmla="*/ 3766626 h 6689084"/>
              <a:gd name="connsiteX822" fmla="*/ 4768008 w 6689088"/>
              <a:gd name="connsiteY822" fmla="*/ 3768807 h 6689084"/>
              <a:gd name="connsiteX823" fmla="*/ 4765832 w 6689088"/>
              <a:gd name="connsiteY823" fmla="*/ 3766626 h 6689084"/>
              <a:gd name="connsiteX824" fmla="*/ 4768008 w 6689088"/>
              <a:gd name="connsiteY824" fmla="*/ 3764450 h 6689084"/>
              <a:gd name="connsiteX825" fmla="*/ 4921594 w 6689088"/>
              <a:gd name="connsiteY825" fmla="*/ 3763359 h 6689084"/>
              <a:gd name="connsiteX826" fmla="*/ 4924860 w 6689088"/>
              <a:gd name="connsiteY826" fmla="*/ 3766626 h 6689084"/>
              <a:gd name="connsiteX827" fmla="*/ 4921594 w 6689088"/>
              <a:gd name="connsiteY827" fmla="*/ 3769897 h 6689084"/>
              <a:gd name="connsiteX828" fmla="*/ 4918327 w 6689088"/>
              <a:gd name="connsiteY828" fmla="*/ 3766626 h 6689084"/>
              <a:gd name="connsiteX829" fmla="*/ 4921594 w 6689088"/>
              <a:gd name="connsiteY829" fmla="*/ 3763359 h 6689084"/>
              <a:gd name="connsiteX830" fmla="*/ 5075541 w 6689088"/>
              <a:gd name="connsiteY830" fmla="*/ 3762269 h 6689084"/>
              <a:gd name="connsiteX831" fmla="*/ 5079898 w 6689088"/>
              <a:gd name="connsiteY831" fmla="*/ 3766626 h 6689084"/>
              <a:gd name="connsiteX832" fmla="*/ 5075541 w 6689088"/>
              <a:gd name="connsiteY832" fmla="*/ 3770983 h 6689084"/>
              <a:gd name="connsiteX833" fmla="*/ 5071184 w 6689088"/>
              <a:gd name="connsiteY833" fmla="*/ 3766626 h 6689084"/>
              <a:gd name="connsiteX834" fmla="*/ 5075541 w 6689088"/>
              <a:gd name="connsiteY834" fmla="*/ 3762269 h 6689084"/>
              <a:gd name="connsiteX835" fmla="*/ 5229126 w 6689088"/>
              <a:gd name="connsiteY835" fmla="*/ 3760817 h 6689084"/>
              <a:gd name="connsiteX836" fmla="*/ 5234936 w 6689088"/>
              <a:gd name="connsiteY836" fmla="*/ 3766626 h 6689084"/>
              <a:gd name="connsiteX837" fmla="*/ 5229126 w 6689088"/>
              <a:gd name="connsiteY837" fmla="*/ 3772436 h 6689084"/>
              <a:gd name="connsiteX838" fmla="*/ 5223317 w 6689088"/>
              <a:gd name="connsiteY838" fmla="*/ 3766626 h 6689084"/>
              <a:gd name="connsiteX839" fmla="*/ 5229126 w 6689088"/>
              <a:gd name="connsiteY839" fmla="*/ 3760817 h 6689084"/>
              <a:gd name="connsiteX840" fmla="*/ 5383074 w 6689088"/>
              <a:gd name="connsiteY840" fmla="*/ 3759365 h 6689084"/>
              <a:gd name="connsiteX841" fmla="*/ 5390336 w 6689088"/>
              <a:gd name="connsiteY841" fmla="*/ 3766626 h 6689084"/>
              <a:gd name="connsiteX842" fmla="*/ 5383074 w 6689088"/>
              <a:gd name="connsiteY842" fmla="*/ 3773888 h 6689084"/>
              <a:gd name="connsiteX843" fmla="*/ 5375812 w 6689088"/>
              <a:gd name="connsiteY843" fmla="*/ 3766626 h 6689084"/>
              <a:gd name="connsiteX844" fmla="*/ 5383074 w 6689088"/>
              <a:gd name="connsiteY844" fmla="*/ 3759365 h 6689084"/>
              <a:gd name="connsiteX845" fmla="*/ 5536659 w 6689088"/>
              <a:gd name="connsiteY845" fmla="*/ 3757188 h 6689084"/>
              <a:gd name="connsiteX846" fmla="*/ 5545739 w 6689088"/>
              <a:gd name="connsiteY846" fmla="*/ 3766264 h 6689084"/>
              <a:gd name="connsiteX847" fmla="*/ 5536659 w 6689088"/>
              <a:gd name="connsiteY847" fmla="*/ 3775344 h 6689084"/>
              <a:gd name="connsiteX848" fmla="*/ 5527583 w 6689088"/>
              <a:gd name="connsiteY848" fmla="*/ 3766264 h 6689084"/>
              <a:gd name="connsiteX849" fmla="*/ 5536659 w 6689088"/>
              <a:gd name="connsiteY849" fmla="*/ 3757188 h 6689084"/>
              <a:gd name="connsiteX850" fmla="*/ 5690606 w 6689088"/>
              <a:gd name="connsiteY850" fmla="*/ 3756460 h 6689084"/>
              <a:gd name="connsiteX851" fmla="*/ 5700773 w 6689088"/>
              <a:gd name="connsiteY851" fmla="*/ 3766626 h 6689084"/>
              <a:gd name="connsiteX852" fmla="*/ 5690606 w 6689088"/>
              <a:gd name="connsiteY852" fmla="*/ 3776793 h 6689084"/>
              <a:gd name="connsiteX853" fmla="*/ 5680440 w 6689088"/>
              <a:gd name="connsiteY853" fmla="*/ 3766626 h 6689084"/>
              <a:gd name="connsiteX854" fmla="*/ 5690606 w 6689088"/>
              <a:gd name="connsiteY854" fmla="*/ 3756460 h 6689084"/>
              <a:gd name="connsiteX855" fmla="*/ 5844550 w 6689088"/>
              <a:gd name="connsiteY855" fmla="*/ 3754645 h 6689084"/>
              <a:gd name="connsiteX856" fmla="*/ 5856534 w 6689088"/>
              <a:gd name="connsiteY856" fmla="*/ 3766626 h 6689084"/>
              <a:gd name="connsiteX857" fmla="*/ 5844550 w 6689088"/>
              <a:gd name="connsiteY857" fmla="*/ 3778607 h 6689084"/>
              <a:gd name="connsiteX858" fmla="*/ 5832570 w 6689088"/>
              <a:gd name="connsiteY858" fmla="*/ 3766626 h 6689084"/>
              <a:gd name="connsiteX859" fmla="*/ 5844550 w 6689088"/>
              <a:gd name="connsiteY859" fmla="*/ 3754645 h 6689084"/>
              <a:gd name="connsiteX860" fmla="*/ 5998139 w 6689088"/>
              <a:gd name="connsiteY860" fmla="*/ 3752465 h 6689084"/>
              <a:gd name="connsiteX861" fmla="*/ 6011934 w 6689088"/>
              <a:gd name="connsiteY861" fmla="*/ 3766264 h 6689084"/>
              <a:gd name="connsiteX862" fmla="*/ 5998139 w 6689088"/>
              <a:gd name="connsiteY862" fmla="*/ 3780059 h 6689084"/>
              <a:gd name="connsiteX863" fmla="*/ 5984340 w 6689088"/>
              <a:gd name="connsiteY863" fmla="*/ 3766264 h 6689084"/>
              <a:gd name="connsiteX864" fmla="*/ 5998139 w 6689088"/>
              <a:gd name="connsiteY864" fmla="*/ 3752465 h 6689084"/>
              <a:gd name="connsiteX865" fmla="*/ 6152086 w 6689088"/>
              <a:gd name="connsiteY865" fmla="*/ 3751379 h 6689084"/>
              <a:gd name="connsiteX866" fmla="*/ 6167334 w 6689088"/>
              <a:gd name="connsiteY866" fmla="*/ 3766626 h 6689084"/>
              <a:gd name="connsiteX867" fmla="*/ 6152086 w 6689088"/>
              <a:gd name="connsiteY867" fmla="*/ 3781878 h 6689084"/>
              <a:gd name="connsiteX868" fmla="*/ 6136839 w 6689088"/>
              <a:gd name="connsiteY868" fmla="*/ 3766626 h 6689084"/>
              <a:gd name="connsiteX869" fmla="*/ 6152086 w 6689088"/>
              <a:gd name="connsiteY869" fmla="*/ 3751379 h 6689084"/>
              <a:gd name="connsiteX870" fmla="*/ 6305668 w 6689088"/>
              <a:gd name="connsiteY870" fmla="*/ 3749560 h 6689084"/>
              <a:gd name="connsiteX871" fmla="*/ 6322734 w 6689088"/>
              <a:gd name="connsiteY871" fmla="*/ 3766626 h 6689084"/>
              <a:gd name="connsiteX872" fmla="*/ 6305668 w 6689088"/>
              <a:gd name="connsiteY872" fmla="*/ 3783692 h 6689084"/>
              <a:gd name="connsiteX873" fmla="*/ 6288602 w 6689088"/>
              <a:gd name="connsiteY873" fmla="*/ 3766626 h 6689084"/>
              <a:gd name="connsiteX874" fmla="*/ 6305668 w 6689088"/>
              <a:gd name="connsiteY874" fmla="*/ 3749560 h 6689084"/>
              <a:gd name="connsiteX875" fmla="*/ 6459616 w 6689088"/>
              <a:gd name="connsiteY875" fmla="*/ 3747384 h 6689084"/>
              <a:gd name="connsiteX876" fmla="*/ 6478858 w 6689088"/>
              <a:gd name="connsiteY876" fmla="*/ 3766626 h 6689084"/>
              <a:gd name="connsiteX877" fmla="*/ 6459616 w 6689088"/>
              <a:gd name="connsiteY877" fmla="*/ 3785869 h 6689084"/>
              <a:gd name="connsiteX878" fmla="*/ 6440369 w 6689088"/>
              <a:gd name="connsiteY878" fmla="*/ 3766626 h 6689084"/>
              <a:gd name="connsiteX879" fmla="*/ 6459616 w 6689088"/>
              <a:gd name="connsiteY879" fmla="*/ 3747384 h 6689084"/>
              <a:gd name="connsiteX880" fmla="*/ 6613200 w 6689088"/>
              <a:gd name="connsiteY880" fmla="*/ 3745203 h 6689084"/>
              <a:gd name="connsiteX881" fmla="*/ 6634624 w 6689088"/>
              <a:gd name="connsiteY881" fmla="*/ 3766626 h 6689084"/>
              <a:gd name="connsiteX882" fmla="*/ 6613200 w 6689088"/>
              <a:gd name="connsiteY882" fmla="*/ 3788045 h 6689084"/>
              <a:gd name="connsiteX883" fmla="*/ 6591778 w 6689088"/>
              <a:gd name="connsiteY883" fmla="*/ 3766626 h 6689084"/>
              <a:gd name="connsiteX884" fmla="*/ 6613200 w 6689088"/>
              <a:gd name="connsiteY884" fmla="*/ 3745203 h 6689084"/>
              <a:gd name="connsiteX885" fmla="*/ 4306532 w 6689088"/>
              <a:gd name="connsiteY885" fmla="*/ 3612317 h 6689084"/>
              <a:gd name="connsiteX886" fmla="*/ 4306894 w 6689088"/>
              <a:gd name="connsiteY886" fmla="*/ 3612679 h 6689084"/>
              <a:gd name="connsiteX887" fmla="*/ 4306532 w 6689088"/>
              <a:gd name="connsiteY887" fmla="*/ 3613045 h 6689084"/>
              <a:gd name="connsiteX888" fmla="*/ 4306170 w 6689088"/>
              <a:gd name="connsiteY888" fmla="*/ 3612679 h 6689084"/>
              <a:gd name="connsiteX889" fmla="*/ 4306532 w 6689088"/>
              <a:gd name="connsiteY889" fmla="*/ 3612317 h 6689084"/>
              <a:gd name="connsiteX890" fmla="*/ 3845414 w 6689088"/>
              <a:gd name="connsiteY890" fmla="*/ 3612317 h 6689084"/>
              <a:gd name="connsiteX891" fmla="*/ 3845776 w 6689088"/>
              <a:gd name="connsiteY891" fmla="*/ 3612679 h 6689084"/>
              <a:gd name="connsiteX892" fmla="*/ 3845414 w 6689088"/>
              <a:gd name="connsiteY892" fmla="*/ 3613045 h 6689084"/>
              <a:gd name="connsiteX893" fmla="*/ 3845052 w 6689088"/>
              <a:gd name="connsiteY893" fmla="*/ 3612679 h 6689084"/>
              <a:gd name="connsiteX894" fmla="*/ 3845414 w 6689088"/>
              <a:gd name="connsiteY894" fmla="*/ 3612317 h 6689084"/>
              <a:gd name="connsiteX895" fmla="*/ 3691467 w 6689088"/>
              <a:gd name="connsiteY895" fmla="*/ 3612317 h 6689084"/>
              <a:gd name="connsiteX896" fmla="*/ 3691829 w 6689088"/>
              <a:gd name="connsiteY896" fmla="*/ 3612679 h 6689084"/>
              <a:gd name="connsiteX897" fmla="*/ 3691467 w 6689088"/>
              <a:gd name="connsiteY897" fmla="*/ 3613045 h 6689084"/>
              <a:gd name="connsiteX898" fmla="*/ 3691105 w 6689088"/>
              <a:gd name="connsiteY898" fmla="*/ 3612679 h 6689084"/>
              <a:gd name="connsiteX899" fmla="*/ 3691467 w 6689088"/>
              <a:gd name="connsiteY899" fmla="*/ 3612317 h 6689084"/>
              <a:gd name="connsiteX900" fmla="*/ 3537886 w 6689088"/>
              <a:gd name="connsiteY900" fmla="*/ 3611955 h 6689084"/>
              <a:gd name="connsiteX901" fmla="*/ 3538610 w 6689088"/>
              <a:gd name="connsiteY901" fmla="*/ 3612683 h 6689084"/>
              <a:gd name="connsiteX902" fmla="*/ 3537886 w 6689088"/>
              <a:gd name="connsiteY902" fmla="*/ 3613407 h 6689084"/>
              <a:gd name="connsiteX903" fmla="*/ 3537158 w 6689088"/>
              <a:gd name="connsiteY903" fmla="*/ 3612683 h 6689084"/>
              <a:gd name="connsiteX904" fmla="*/ 3537886 w 6689088"/>
              <a:gd name="connsiteY904" fmla="*/ 3611955 h 6689084"/>
              <a:gd name="connsiteX905" fmla="*/ 4460480 w 6689088"/>
              <a:gd name="connsiteY905" fmla="*/ 3611226 h 6689084"/>
              <a:gd name="connsiteX906" fmla="*/ 4461932 w 6689088"/>
              <a:gd name="connsiteY906" fmla="*/ 3612679 h 6689084"/>
              <a:gd name="connsiteX907" fmla="*/ 4460480 w 6689088"/>
              <a:gd name="connsiteY907" fmla="*/ 3614131 h 6689084"/>
              <a:gd name="connsiteX908" fmla="*/ 4459028 w 6689088"/>
              <a:gd name="connsiteY908" fmla="*/ 3612679 h 6689084"/>
              <a:gd name="connsiteX909" fmla="*/ 4460480 w 6689088"/>
              <a:gd name="connsiteY909" fmla="*/ 3611226 h 6689084"/>
              <a:gd name="connsiteX910" fmla="*/ 4614061 w 6689088"/>
              <a:gd name="connsiteY910" fmla="*/ 3610502 h 6689084"/>
              <a:gd name="connsiteX911" fmla="*/ 4616242 w 6689088"/>
              <a:gd name="connsiteY911" fmla="*/ 3612679 h 6689084"/>
              <a:gd name="connsiteX912" fmla="*/ 4614061 w 6689088"/>
              <a:gd name="connsiteY912" fmla="*/ 3614859 h 6689084"/>
              <a:gd name="connsiteX913" fmla="*/ 4611884 w 6689088"/>
              <a:gd name="connsiteY913" fmla="*/ 3612679 h 6689084"/>
              <a:gd name="connsiteX914" fmla="*/ 4614061 w 6689088"/>
              <a:gd name="connsiteY914" fmla="*/ 3610502 h 6689084"/>
              <a:gd name="connsiteX915" fmla="*/ 4768008 w 6689088"/>
              <a:gd name="connsiteY915" fmla="*/ 3609774 h 6689084"/>
              <a:gd name="connsiteX916" fmla="*/ 4771276 w 6689088"/>
              <a:gd name="connsiteY916" fmla="*/ 3613041 h 6689084"/>
              <a:gd name="connsiteX917" fmla="*/ 4768008 w 6689088"/>
              <a:gd name="connsiteY917" fmla="*/ 3616312 h 6689084"/>
              <a:gd name="connsiteX918" fmla="*/ 4764742 w 6689088"/>
              <a:gd name="connsiteY918" fmla="*/ 3613041 h 6689084"/>
              <a:gd name="connsiteX919" fmla="*/ 4768008 w 6689088"/>
              <a:gd name="connsiteY919" fmla="*/ 3609774 h 6689084"/>
              <a:gd name="connsiteX920" fmla="*/ 4921594 w 6689088"/>
              <a:gd name="connsiteY920" fmla="*/ 3608322 h 6689084"/>
              <a:gd name="connsiteX921" fmla="*/ 4925951 w 6689088"/>
              <a:gd name="connsiteY921" fmla="*/ 3612679 h 6689084"/>
              <a:gd name="connsiteX922" fmla="*/ 4921594 w 6689088"/>
              <a:gd name="connsiteY922" fmla="*/ 3617036 h 6689084"/>
              <a:gd name="connsiteX923" fmla="*/ 4917237 w 6689088"/>
              <a:gd name="connsiteY923" fmla="*/ 3612679 h 6689084"/>
              <a:gd name="connsiteX924" fmla="*/ 4921594 w 6689088"/>
              <a:gd name="connsiteY924" fmla="*/ 3608322 h 6689084"/>
              <a:gd name="connsiteX925" fmla="*/ 5075541 w 6689088"/>
              <a:gd name="connsiteY925" fmla="*/ 3607232 h 6689084"/>
              <a:gd name="connsiteX926" fmla="*/ 5081350 w 6689088"/>
              <a:gd name="connsiteY926" fmla="*/ 3613041 h 6689084"/>
              <a:gd name="connsiteX927" fmla="*/ 5075541 w 6689088"/>
              <a:gd name="connsiteY927" fmla="*/ 3618850 h 6689084"/>
              <a:gd name="connsiteX928" fmla="*/ 5069732 w 6689088"/>
              <a:gd name="connsiteY928" fmla="*/ 3613041 h 6689084"/>
              <a:gd name="connsiteX929" fmla="*/ 5075541 w 6689088"/>
              <a:gd name="connsiteY929" fmla="*/ 3607232 h 6689084"/>
              <a:gd name="connsiteX930" fmla="*/ 5229126 w 6689088"/>
              <a:gd name="connsiteY930" fmla="*/ 3605417 h 6689084"/>
              <a:gd name="connsiteX931" fmla="*/ 5236388 w 6689088"/>
              <a:gd name="connsiteY931" fmla="*/ 3612679 h 6689084"/>
              <a:gd name="connsiteX932" fmla="*/ 5229126 w 6689088"/>
              <a:gd name="connsiteY932" fmla="*/ 3619940 h 6689084"/>
              <a:gd name="connsiteX933" fmla="*/ 5221865 w 6689088"/>
              <a:gd name="connsiteY933" fmla="*/ 3612679 h 6689084"/>
              <a:gd name="connsiteX934" fmla="*/ 5229126 w 6689088"/>
              <a:gd name="connsiteY934" fmla="*/ 3605417 h 6689084"/>
              <a:gd name="connsiteX935" fmla="*/ 5383074 w 6689088"/>
              <a:gd name="connsiteY935" fmla="*/ 3603603 h 6689084"/>
              <a:gd name="connsiteX936" fmla="*/ 5392154 w 6689088"/>
              <a:gd name="connsiteY936" fmla="*/ 3612679 h 6689084"/>
              <a:gd name="connsiteX937" fmla="*/ 5383074 w 6689088"/>
              <a:gd name="connsiteY937" fmla="*/ 3621759 h 6689084"/>
              <a:gd name="connsiteX938" fmla="*/ 5373998 w 6689088"/>
              <a:gd name="connsiteY938" fmla="*/ 3612679 h 6689084"/>
              <a:gd name="connsiteX939" fmla="*/ 5383074 w 6689088"/>
              <a:gd name="connsiteY939" fmla="*/ 3603603 h 6689084"/>
              <a:gd name="connsiteX940" fmla="*/ 5536659 w 6689088"/>
              <a:gd name="connsiteY940" fmla="*/ 3602512 h 6689084"/>
              <a:gd name="connsiteX941" fmla="*/ 5546826 w 6689088"/>
              <a:gd name="connsiteY941" fmla="*/ 3612679 h 6689084"/>
              <a:gd name="connsiteX942" fmla="*/ 5536659 w 6689088"/>
              <a:gd name="connsiteY942" fmla="*/ 3622845 h 6689084"/>
              <a:gd name="connsiteX943" fmla="*/ 5526493 w 6689088"/>
              <a:gd name="connsiteY943" fmla="*/ 3612679 h 6689084"/>
              <a:gd name="connsiteX944" fmla="*/ 5536659 w 6689088"/>
              <a:gd name="connsiteY944" fmla="*/ 3602512 h 6689084"/>
              <a:gd name="connsiteX945" fmla="*/ 5690602 w 6689088"/>
              <a:gd name="connsiteY945" fmla="*/ 3600698 h 6689084"/>
              <a:gd name="connsiteX946" fmla="*/ 5702584 w 6689088"/>
              <a:gd name="connsiteY946" fmla="*/ 3612679 h 6689084"/>
              <a:gd name="connsiteX947" fmla="*/ 5690602 w 6689088"/>
              <a:gd name="connsiteY947" fmla="*/ 3624663 h 6689084"/>
              <a:gd name="connsiteX948" fmla="*/ 5678622 w 6689088"/>
              <a:gd name="connsiteY948" fmla="*/ 3612679 h 6689084"/>
              <a:gd name="connsiteX949" fmla="*/ 5690602 w 6689088"/>
              <a:gd name="connsiteY949" fmla="*/ 3600698 h 6689084"/>
              <a:gd name="connsiteX950" fmla="*/ 5844554 w 6689088"/>
              <a:gd name="connsiteY950" fmla="*/ 3598884 h 6689084"/>
              <a:gd name="connsiteX951" fmla="*/ 5858349 w 6689088"/>
              <a:gd name="connsiteY951" fmla="*/ 3612683 h 6689084"/>
              <a:gd name="connsiteX952" fmla="*/ 5844554 w 6689088"/>
              <a:gd name="connsiteY952" fmla="*/ 3626478 h 6689084"/>
              <a:gd name="connsiteX953" fmla="*/ 5830755 w 6689088"/>
              <a:gd name="connsiteY953" fmla="*/ 3612683 h 6689084"/>
              <a:gd name="connsiteX954" fmla="*/ 5844554 w 6689088"/>
              <a:gd name="connsiteY954" fmla="*/ 3598884 h 6689084"/>
              <a:gd name="connsiteX955" fmla="*/ 5998139 w 6689088"/>
              <a:gd name="connsiteY955" fmla="*/ 3597431 h 6689084"/>
              <a:gd name="connsiteX956" fmla="*/ 6013387 w 6689088"/>
              <a:gd name="connsiteY956" fmla="*/ 3612683 h 6689084"/>
              <a:gd name="connsiteX957" fmla="*/ 5998139 w 6689088"/>
              <a:gd name="connsiteY957" fmla="*/ 3627930 h 6689084"/>
              <a:gd name="connsiteX958" fmla="*/ 5982892 w 6689088"/>
              <a:gd name="connsiteY958" fmla="*/ 3612683 h 6689084"/>
              <a:gd name="connsiteX959" fmla="*/ 5998139 w 6689088"/>
              <a:gd name="connsiteY959" fmla="*/ 3597431 h 6689084"/>
              <a:gd name="connsiteX960" fmla="*/ 6152083 w 6689088"/>
              <a:gd name="connsiteY960" fmla="*/ 3595613 h 6689084"/>
              <a:gd name="connsiteX961" fmla="*/ 6169152 w 6689088"/>
              <a:gd name="connsiteY961" fmla="*/ 3612679 h 6689084"/>
              <a:gd name="connsiteX962" fmla="*/ 6152083 w 6689088"/>
              <a:gd name="connsiteY962" fmla="*/ 3629745 h 6689084"/>
              <a:gd name="connsiteX963" fmla="*/ 6135020 w 6689088"/>
              <a:gd name="connsiteY963" fmla="*/ 3612679 h 6689084"/>
              <a:gd name="connsiteX964" fmla="*/ 6152083 w 6689088"/>
              <a:gd name="connsiteY964" fmla="*/ 3595613 h 6689084"/>
              <a:gd name="connsiteX965" fmla="*/ 6305668 w 6689088"/>
              <a:gd name="connsiteY965" fmla="*/ 3593436 h 6689084"/>
              <a:gd name="connsiteX966" fmla="*/ 6324910 w 6689088"/>
              <a:gd name="connsiteY966" fmla="*/ 3612679 h 6689084"/>
              <a:gd name="connsiteX967" fmla="*/ 6305668 w 6689088"/>
              <a:gd name="connsiteY967" fmla="*/ 3631921 h 6689084"/>
              <a:gd name="connsiteX968" fmla="*/ 6286422 w 6689088"/>
              <a:gd name="connsiteY968" fmla="*/ 3612679 h 6689084"/>
              <a:gd name="connsiteX969" fmla="*/ 6305668 w 6689088"/>
              <a:gd name="connsiteY969" fmla="*/ 3593436 h 6689084"/>
              <a:gd name="connsiteX970" fmla="*/ 6459616 w 6689088"/>
              <a:gd name="connsiteY970" fmla="*/ 3591256 h 6689084"/>
              <a:gd name="connsiteX971" fmla="*/ 6481038 w 6689088"/>
              <a:gd name="connsiteY971" fmla="*/ 3612679 h 6689084"/>
              <a:gd name="connsiteX972" fmla="*/ 6459616 w 6689088"/>
              <a:gd name="connsiteY972" fmla="*/ 3634098 h 6689084"/>
              <a:gd name="connsiteX973" fmla="*/ 6438192 w 6689088"/>
              <a:gd name="connsiteY973" fmla="*/ 3612679 h 6689084"/>
              <a:gd name="connsiteX974" fmla="*/ 6459616 w 6689088"/>
              <a:gd name="connsiteY974" fmla="*/ 3591256 h 6689084"/>
              <a:gd name="connsiteX975" fmla="*/ 6613200 w 6689088"/>
              <a:gd name="connsiteY975" fmla="*/ 3589804 h 6689084"/>
              <a:gd name="connsiteX976" fmla="*/ 6636072 w 6689088"/>
              <a:gd name="connsiteY976" fmla="*/ 3612679 h 6689084"/>
              <a:gd name="connsiteX977" fmla="*/ 6613200 w 6689088"/>
              <a:gd name="connsiteY977" fmla="*/ 3635550 h 6689084"/>
              <a:gd name="connsiteX978" fmla="*/ 6590326 w 6689088"/>
              <a:gd name="connsiteY978" fmla="*/ 3612679 h 6689084"/>
              <a:gd name="connsiteX979" fmla="*/ 6613200 w 6689088"/>
              <a:gd name="connsiteY979" fmla="*/ 3589804 h 6689084"/>
              <a:gd name="connsiteX980" fmla="*/ 4152947 w 6689088"/>
              <a:gd name="connsiteY980" fmla="*/ 3458731 h 6689084"/>
              <a:gd name="connsiteX981" fmla="*/ 4153309 w 6689088"/>
              <a:gd name="connsiteY981" fmla="*/ 3459094 h 6689084"/>
              <a:gd name="connsiteX982" fmla="*/ 4152947 w 6689088"/>
              <a:gd name="connsiteY982" fmla="*/ 3459456 h 6689084"/>
              <a:gd name="connsiteX983" fmla="*/ 4152585 w 6689088"/>
              <a:gd name="connsiteY983" fmla="*/ 3459094 h 6689084"/>
              <a:gd name="connsiteX984" fmla="*/ 4152947 w 6689088"/>
              <a:gd name="connsiteY984" fmla="*/ 3458731 h 6689084"/>
              <a:gd name="connsiteX985" fmla="*/ 3691467 w 6689088"/>
              <a:gd name="connsiteY985" fmla="*/ 3458731 h 6689084"/>
              <a:gd name="connsiteX986" fmla="*/ 3691829 w 6689088"/>
              <a:gd name="connsiteY986" fmla="*/ 3459094 h 6689084"/>
              <a:gd name="connsiteX987" fmla="*/ 3691467 w 6689088"/>
              <a:gd name="connsiteY987" fmla="*/ 3459456 h 6689084"/>
              <a:gd name="connsiteX988" fmla="*/ 3691105 w 6689088"/>
              <a:gd name="connsiteY988" fmla="*/ 3459094 h 6689084"/>
              <a:gd name="connsiteX989" fmla="*/ 3691467 w 6689088"/>
              <a:gd name="connsiteY989" fmla="*/ 3458731 h 6689084"/>
              <a:gd name="connsiteX990" fmla="*/ 3537882 w 6689088"/>
              <a:gd name="connsiteY990" fmla="*/ 3458731 h 6689084"/>
              <a:gd name="connsiteX991" fmla="*/ 3538244 w 6689088"/>
              <a:gd name="connsiteY991" fmla="*/ 3459094 h 6689084"/>
              <a:gd name="connsiteX992" fmla="*/ 3537882 w 6689088"/>
              <a:gd name="connsiteY992" fmla="*/ 3459456 h 6689084"/>
              <a:gd name="connsiteX993" fmla="*/ 3537520 w 6689088"/>
              <a:gd name="connsiteY993" fmla="*/ 3459094 h 6689084"/>
              <a:gd name="connsiteX994" fmla="*/ 3537882 w 6689088"/>
              <a:gd name="connsiteY994" fmla="*/ 3458731 h 6689084"/>
              <a:gd name="connsiteX995" fmla="*/ 3383938 w 6689088"/>
              <a:gd name="connsiteY995" fmla="*/ 3458369 h 6689084"/>
              <a:gd name="connsiteX996" fmla="*/ 3384662 w 6689088"/>
              <a:gd name="connsiteY996" fmla="*/ 3459094 h 6689084"/>
              <a:gd name="connsiteX997" fmla="*/ 3383938 w 6689088"/>
              <a:gd name="connsiteY997" fmla="*/ 3459822 h 6689084"/>
              <a:gd name="connsiteX998" fmla="*/ 3383210 w 6689088"/>
              <a:gd name="connsiteY998" fmla="*/ 3459094 h 6689084"/>
              <a:gd name="connsiteX999" fmla="*/ 3383938 w 6689088"/>
              <a:gd name="connsiteY999" fmla="*/ 3458369 h 6689084"/>
              <a:gd name="connsiteX1000" fmla="*/ 4306532 w 6689088"/>
              <a:gd name="connsiteY1000" fmla="*/ 3457279 h 6689084"/>
              <a:gd name="connsiteX1001" fmla="*/ 4307984 w 6689088"/>
              <a:gd name="connsiteY1001" fmla="*/ 3458731 h 6689084"/>
              <a:gd name="connsiteX1002" fmla="*/ 4306532 w 6689088"/>
              <a:gd name="connsiteY1002" fmla="*/ 3460184 h 6689084"/>
              <a:gd name="connsiteX1003" fmla="*/ 4305080 w 6689088"/>
              <a:gd name="connsiteY1003" fmla="*/ 3458731 h 6689084"/>
              <a:gd name="connsiteX1004" fmla="*/ 4306532 w 6689088"/>
              <a:gd name="connsiteY1004" fmla="*/ 3457279 h 6689084"/>
              <a:gd name="connsiteX1005" fmla="*/ 4460480 w 6689088"/>
              <a:gd name="connsiteY1005" fmla="*/ 3456917 h 6689084"/>
              <a:gd name="connsiteX1006" fmla="*/ 4462656 w 6689088"/>
              <a:gd name="connsiteY1006" fmla="*/ 3459094 h 6689084"/>
              <a:gd name="connsiteX1007" fmla="*/ 4460480 w 6689088"/>
              <a:gd name="connsiteY1007" fmla="*/ 3461274 h 6689084"/>
              <a:gd name="connsiteX1008" fmla="*/ 4458300 w 6689088"/>
              <a:gd name="connsiteY1008" fmla="*/ 3459094 h 6689084"/>
              <a:gd name="connsiteX1009" fmla="*/ 4460480 w 6689088"/>
              <a:gd name="connsiteY1009" fmla="*/ 3456917 h 6689084"/>
              <a:gd name="connsiteX1010" fmla="*/ 4614061 w 6689088"/>
              <a:gd name="connsiteY1010" fmla="*/ 3455827 h 6689084"/>
              <a:gd name="connsiteX1011" fmla="*/ 4617328 w 6689088"/>
              <a:gd name="connsiteY1011" fmla="*/ 3459094 h 6689084"/>
              <a:gd name="connsiteX1012" fmla="*/ 4614061 w 6689088"/>
              <a:gd name="connsiteY1012" fmla="*/ 3462364 h 6689084"/>
              <a:gd name="connsiteX1013" fmla="*/ 4610794 w 6689088"/>
              <a:gd name="connsiteY1013" fmla="*/ 3459094 h 6689084"/>
              <a:gd name="connsiteX1014" fmla="*/ 4614061 w 6689088"/>
              <a:gd name="connsiteY1014" fmla="*/ 3455827 h 6689084"/>
              <a:gd name="connsiteX1015" fmla="*/ 4768008 w 6689088"/>
              <a:gd name="connsiteY1015" fmla="*/ 3454374 h 6689084"/>
              <a:gd name="connsiteX1016" fmla="*/ 4772366 w 6689088"/>
              <a:gd name="connsiteY1016" fmla="*/ 3458731 h 6689084"/>
              <a:gd name="connsiteX1017" fmla="*/ 4768008 w 6689088"/>
              <a:gd name="connsiteY1017" fmla="*/ 3463088 h 6689084"/>
              <a:gd name="connsiteX1018" fmla="*/ 4763652 w 6689088"/>
              <a:gd name="connsiteY1018" fmla="*/ 3458731 h 6689084"/>
              <a:gd name="connsiteX1019" fmla="*/ 4768008 w 6689088"/>
              <a:gd name="connsiteY1019" fmla="*/ 3454374 h 6689084"/>
              <a:gd name="connsiteX1020" fmla="*/ 4921594 w 6689088"/>
              <a:gd name="connsiteY1020" fmla="*/ 3453284 h 6689084"/>
              <a:gd name="connsiteX1021" fmla="*/ 4927403 w 6689088"/>
              <a:gd name="connsiteY1021" fmla="*/ 3459094 h 6689084"/>
              <a:gd name="connsiteX1022" fmla="*/ 4921594 w 6689088"/>
              <a:gd name="connsiteY1022" fmla="*/ 3464903 h 6689084"/>
              <a:gd name="connsiteX1023" fmla="*/ 4915784 w 6689088"/>
              <a:gd name="connsiteY1023" fmla="*/ 3459094 h 6689084"/>
              <a:gd name="connsiteX1024" fmla="*/ 4921594 w 6689088"/>
              <a:gd name="connsiteY1024" fmla="*/ 3453284 h 6689084"/>
              <a:gd name="connsiteX1025" fmla="*/ 5075541 w 6689088"/>
              <a:gd name="connsiteY1025" fmla="*/ 3451832 h 6689084"/>
              <a:gd name="connsiteX1026" fmla="*/ 5082803 w 6689088"/>
              <a:gd name="connsiteY1026" fmla="*/ 3459094 h 6689084"/>
              <a:gd name="connsiteX1027" fmla="*/ 5075541 w 6689088"/>
              <a:gd name="connsiteY1027" fmla="*/ 3466355 h 6689084"/>
              <a:gd name="connsiteX1028" fmla="*/ 5068280 w 6689088"/>
              <a:gd name="connsiteY1028" fmla="*/ 3459094 h 6689084"/>
              <a:gd name="connsiteX1029" fmla="*/ 5075541 w 6689088"/>
              <a:gd name="connsiteY1029" fmla="*/ 3451832 h 6689084"/>
              <a:gd name="connsiteX1030" fmla="*/ 5229126 w 6689088"/>
              <a:gd name="connsiteY1030" fmla="*/ 3449655 h 6689084"/>
              <a:gd name="connsiteX1031" fmla="*/ 5238206 w 6689088"/>
              <a:gd name="connsiteY1031" fmla="*/ 3458731 h 6689084"/>
              <a:gd name="connsiteX1032" fmla="*/ 5229126 w 6689088"/>
              <a:gd name="connsiteY1032" fmla="*/ 3467811 h 6689084"/>
              <a:gd name="connsiteX1033" fmla="*/ 5220050 w 6689088"/>
              <a:gd name="connsiteY1033" fmla="*/ 3458731 h 6689084"/>
              <a:gd name="connsiteX1034" fmla="*/ 5229126 w 6689088"/>
              <a:gd name="connsiteY1034" fmla="*/ 3449655 h 6689084"/>
              <a:gd name="connsiteX1035" fmla="*/ 5383074 w 6689088"/>
              <a:gd name="connsiteY1035" fmla="*/ 3448927 h 6689084"/>
              <a:gd name="connsiteX1036" fmla="*/ 5393240 w 6689088"/>
              <a:gd name="connsiteY1036" fmla="*/ 3459094 h 6689084"/>
              <a:gd name="connsiteX1037" fmla="*/ 5383074 w 6689088"/>
              <a:gd name="connsiteY1037" fmla="*/ 3469260 h 6689084"/>
              <a:gd name="connsiteX1038" fmla="*/ 5372908 w 6689088"/>
              <a:gd name="connsiteY1038" fmla="*/ 3459094 h 6689084"/>
              <a:gd name="connsiteX1039" fmla="*/ 5383074 w 6689088"/>
              <a:gd name="connsiteY1039" fmla="*/ 3448927 h 6689084"/>
              <a:gd name="connsiteX1040" fmla="*/ 5536659 w 6689088"/>
              <a:gd name="connsiteY1040" fmla="*/ 3447113 h 6689084"/>
              <a:gd name="connsiteX1041" fmla="*/ 5548640 w 6689088"/>
              <a:gd name="connsiteY1041" fmla="*/ 3459094 h 6689084"/>
              <a:gd name="connsiteX1042" fmla="*/ 5536659 w 6689088"/>
              <a:gd name="connsiteY1042" fmla="*/ 3471074 h 6689084"/>
              <a:gd name="connsiteX1043" fmla="*/ 5524678 w 6689088"/>
              <a:gd name="connsiteY1043" fmla="*/ 3459094 h 6689084"/>
              <a:gd name="connsiteX1044" fmla="*/ 5536659 w 6689088"/>
              <a:gd name="connsiteY1044" fmla="*/ 3447113 h 6689084"/>
              <a:gd name="connsiteX1045" fmla="*/ 5690606 w 6689088"/>
              <a:gd name="connsiteY1045" fmla="*/ 3445298 h 6689084"/>
              <a:gd name="connsiteX1046" fmla="*/ 5704402 w 6689088"/>
              <a:gd name="connsiteY1046" fmla="*/ 3459094 h 6689084"/>
              <a:gd name="connsiteX1047" fmla="*/ 5690606 w 6689088"/>
              <a:gd name="connsiteY1047" fmla="*/ 3472893 h 6689084"/>
              <a:gd name="connsiteX1048" fmla="*/ 5676808 w 6689088"/>
              <a:gd name="connsiteY1048" fmla="*/ 3459094 h 6689084"/>
              <a:gd name="connsiteX1049" fmla="*/ 5690606 w 6689088"/>
              <a:gd name="connsiteY1049" fmla="*/ 3445298 h 6689084"/>
              <a:gd name="connsiteX1050" fmla="*/ 5844554 w 6689088"/>
              <a:gd name="connsiteY1050" fmla="*/ 3443846 h 6689084"/>
              <a:gd name="connsiteX1051" fmla="*/ 5859802 w 6689088"/>
              <a:gd name="connsiteY1051" fmla="*/ 3459094 h 6689084"/>
              <a:gd name="connsiteX1052" fmla="*/ 5844554 w 6689088"/>
              <a:gd name="connsiteY1052" fmla="*/ 3474345 h 6689084"/>
              <a:gd name="connsiteX1053" fmla="*/ 5829302 w 6689088"/>
              <a:gd name="connsiteY1053" fmla="*/ 3459094 h 6689084"/>
              <a:gd name="connsiteX1054" fmla="*/ 5844554 w 6689088"/>
              <a:gd name="connsiteY1054" fmla="*/ 3443846 h 6689084"/>
              <a:gd name="connsiteX1055" fmla="*/ 5998139 w 6689088"/>
              <a:gd name="connsiteY1055" fmla="*/ 3442031 h 6689084"/>
              <a:gd name="connsiteX1056" fmla="*/ 6015205 w 6689088"/>
              <a:gd name="connsiteY1056" fmla="*/ 3459097 h 6689084"/>
              <a:gd name="connsiteX1057" fmla="*/ 5998139 w 6689088"/>
              <a:gd name="connsiteY1057" fmla="*/ 3476159 h 6689084"/>
              <a:gd name="connsiteX1058" fmla="*/ 5981077 w 6689088"/>
              <a:gd name="connsiteY1058" fmla="*/ 3459097 h 6689084"/>
              <a:gd name="connsiteX1059" fmla="*/ 5998139 w 6689088"/>
              <a:gd name="connsiteY1059" fmla="*/ 3442031 h 6689084"/>
              <a:gd name="connsiteX1060" fmla="*/ 6152083 w 6689088"/>
              <a:gd name="connsiteY1060" fmla="*/ 3439851 h 6689084"/>
              <a:gd name="connsiteX1061" fmla="*/ 6171329 w 6689088"/>
              <a:gd name="connsiteY1061" fmla="*/ 3459094 h 6689084"/>
              <a:gd name="connsiteX1062" fmla="*/ 6152083 w 6689088"/>
              <a:gd name="connsiteY1062" fmla="*/ 3478336 h 6689084"/>
              <a:gd name="connsiteX1063" fmla="*/ 6132836 w 6689088"/>
              <a:gd name="connsiteY1063" fmla="*/ 3459094 h 6689084"/>
              <a:gd name="connsiteX1064" fmla="*/ 6152083 w 6689088"/>
              <a:gd name="connsiteY1064" fmla="*/ 3439851 h 6689084"/>
              <a:gd name="connsiteX1065" fmla="*/ 6305668 w 6689088"/>
              <a:gd name="connsiteY1065" fmla="*/ 3437674 h 6689084"/>
              <a:gd name="connsiteX1066" fmla="*/ 6327091 w 6689088"/>
              <a:gd name="connsiteY1066" fmla="*/ 3459097 h 6689084"/>
              <a:gd name="connsiteX1067" fmla="*/ 6305668 w 6689088"/>
              <a:gd name="connsiteY1067" fmla="*/ 3480516 h 6689084"/>
              <a:gd name="connsiteX1068" fmla="*/ 6284245 w 6689088"/>
              <a:gd name="connsiteY1068" fmla="*/ 3459097 h 6689084"/>
              <a:gd name="connsiteX1069" fmla="*/ 6305668 w 6689088"/>
              <a:gd name="connsiteY1069" fmla="*/ 3437674 h 6689084"/>
              <a:gd name="connsiteX1070" fmla="*/ 6459619 w 6689088"/>
              <a:gd name="connsiteY1070" fmla="*/ 3436222 h 6689084"/>
              <a:gd name="connsiteX1071" fmla="*/ 6482494 w 6689088"/>
              <a:gd name="connsiteY1071" fmla="*/ 3459097 h 6689084"/>
              <a:gd name="connsiteX1072" fmla="*/ 6459619 w 6689088"/>
              <a:gd name="connsiteY1072" fmla="*/ 3481969 h 6689084"/>
              <a:gd name="connsiteX1073" fmla="*/ 6436744 w 6689088"/>
              <a:gd name="connsiteY1073" fmla="*/ 3459097 h 6689084"/>
              <a:gd name="connsiteX1074" fmla="*/ 6459619 w 6689088"/>
              <a:gd name="connsiteY1074" fmla="*/ 3436222 h 6689084"/>
              <a:gd name="connsiteX1075" fmla="*/ 6613200 w 6689088"/>
              <a:gd name="connsiteY1075" fmla="*/ 3434042 h 6689084"/>
              <a:gd name="connsiteX1076" fmla="*/ 6638252 w 6689088"/>
              <a:gd name="connsiteY1076" fmla="*/ 3459094 h 6689084"/>
              <a:gd name="connsiteX1077" fmla="*/ 6613200 w 6689088"/>
              <a:gd name="connsiteY1077" fmla="*/ 3484145 h 6689084"/>
              <a:gd name="connsiteX1078" fmla="*/ 6588149 w 6689088"/>
              <a:gd name="connsiteY1078" fmla="*/ 3459094 h 6689084"/>
              <a:gd name="connsiteX1079" fmla="*/ 6613200 w 6689088"/>
              <a:gd name="connsiteY1079" fmla="*/ 3434042 h 6689084"/>
              <a:gd name="connsiteX1080" fmla="*/ 3999000 w 6689088"/>
              <a:gd name="connsiteY1080" fmla="*/ 3304784 h 6689084"/>
              <a:gd name="connsiteX1081" fmla="*/ 3999362 w 6689088"/>
              <a:gd name="connsiteY1081" fmla="*/ 3305146 h 6689084"/>
              <a:gd name="connsiteX1082" fmla="*/ 3999000 w 6689088"/>
              <a:gd name="connsiteY1082" fmla="*/ 3305512 h 6689084"/>
              <a:gd name="connsiteX1083" fmla="*/ 3998638 w 6689088"/>
              <a:gd name="connsiteY1083" fmla="*/ 3305146 h 6689084"/>
              <a:gd name="connsiteX1084" fmla="*/ 3999000 w 6689088"/>
              <a:gd name="connsiteY1084" fmla="*/ 3304784 h 6689084"/>
              <a:gd name="connsiteX1085" fmla="*/ 3537882 w 6689088"/>
              <a:gd name="connsiteY1085" fmla="*/ 3304784 h 6689084"/>
              <a:gd name="connsiteX1086" fmla="*/ 3538244 w 6689088"/>
              <a:gd name="connsiteY1086" fmla="*/ 3305146 h 6689084"/>
              <a:gd name="connsiteX1087" fmla="*/ 3537882 w 6689088"/>
              <a:gd name="connsiteY1087" fmla="*/ 3305512 h 6689084"/>
              <a:gd name="connsiteX1088" fmla="*/ 3537520 w 6689088"/>
              <a:gd name="connsiteY1088" fmla="*/ 3305146 h 6689084"/>
              <a:gd name="connsiteX1089" fmla="*/ 3537882 w 6689088"/>
              <a:gd name="connsiteY1089" fmla="*/ 3304784 h 6689084"/>
              <a:gd name="connsiteX1090" fmla="*/ 3383934 w 6689088"/>
              <a:gd name="connsiteY1090" fmla="*/ 3304784 h 6689084"/>
              <a:gd name="connsiteX1091" fmla="*/ 3384296 w 6689088"/>
              <a:gd name="connsiteY1091" fmla="*/ 3305146 h 6689084"/>
              <a:gd name="connsiteX1092" fmla="*/ 3383934 w 6689088"/>
              <a:gd name="connsiteY1092" fmla="*/ 3305512 h 6689084"/>
              <a:gd name="connsiteX1093" fmla="*/ 3383572 w 6689088"/>
              <a:gd name="connsiteY1093" fmla="*/ 3305146 h 6689084"/>
              <a:gd name="connsiteX1094" fmla="*/ 3383934 w 6689088"/>
              <a:gd name="connsiteY1094" fmla="*/ 3304784 h 6689084"/>
              <a:gd name="connsiteX1095" fmla="*/ 3230353 w 6689088"/>
              <a:gd name="connsiteY1095" fmla="*/ 3304422 h 6689084"/>
              <a:gd name="connsiteX1096" fmla="*/ 3231077 w 6689088"/>
              <a:gd name="connsiteY1096" fmla="*/ 3305146 h 6689084"/>
              <a:gd name="connsiteX1097" fmla="*/ 3230353 w 6689088"/>
              <a:gd name="connsiteY1097" fmla="*/ 3305874 h 6689084"/>
              <a:gd name="connsiteX1098" fmla="*/ 3229625 w 6689088"/>
              <a:gd name="connsiteY1098" fmla="*/ 3305146 h 6689084"/>
              <a:gd name="connsiteX1099" fmla="*/ 3230353 w 6689088"/>
              <a:gd name="connsiteY1099" fmla="*/ 3304422 h 6689084"/>
              <a:gd name="connsiteX1100" fmla="*/ 4152947 w 6689088"/>
              <a:gd name="connsiteY1100" fmla="*/ 3303694 h 6689084"/>
              <a:gd name="connsiteX1101" fmla="*/ 4154400 w 6689088"/>
              <a:gd name="connsiteY1101" fmla="*/ 3305146 h 6689084"/>
              <a:gd name="connsiteX1102" fmla="*/ 4152947 w 6689088"/>
              <a:gd name="connsiteY1102" fmla="*/ 3306598 h 6689084"/>
              <a:gd name="connsiteX1103" fmla="*/ 4151494 w 6689088"/>
              <a:gd name="connsiteY1103" fmla="*/ 3305146 h 6689084"/>
              <a:gd name="connsiteX1104" fmla="*/ 4152947 w 6689088"/>
              <a:gd name="connsiteY1104" fmla="*/ 3303694 h 6689084"/>
              <a:gd name="connsiteX1105" fmla="*/ 4306528 w 6689088"/>
              <a:gd name="connsiteY1105" fmla="*/ 3302970 h 6689084"/>
              <a:gd name="connsiteX1106" fmla="*/ 4308709 w 6689088"/>
              <a:gd name="connsiteY1106" fmla="*/ 3305146 h 6689084"/>
              <a:gd name="connsiteX1107" fmla="*/ 4306528 w 6689088"/>
              <a:gd name="connsiteY1107" fmla="*/ 3307327 h 6689084"/>
              <a:gd name="connsiteX1108" fmla="*/ 4304352 w 6689088"/>
              <a:gd name="connsiteY1108" fmla="*/ 3305146 h 6689084"/>
              <a:gd name="connsiteX1109" fmla="*/ 4306528 w 6689088"/>
              <a:gd name="connsiteY1109" fmla="*/ 3302970 h 6689084"/>
              <a:gd name="connsiteX1110" fmla="*/ 4460480 w 6689088"/>
              <a:gd name="connsiteY1110" fmla="*/ 3302241 h 6689084"/>
              <a:gd name="connsiteX1111" fmla="*/ 4463746 w 6689088"/>
              <a:gd name="connsiteY1111" fmla="*/ 3305508 h 6689084"/>
              <a:gd name="connsiteX1112" fmla="*/ 4460480 w 6689088"/>
              <a:gd name="connsiteY1112" fmla="*/ 3308779 h 6689084"/>
              <a:gd name="connsiteX1113" fmla="*/ 4457213 w 6689088"/>
              <a:gd name="connsiteY1113" fmla="*/ 3305508 h 6689084"/>
              <a:gd name="connsiteX1114" fmla="*/ 4460480 w 6689088"/>
              <a:gd name="connsiteY1114" fmla="*/ 3302241 h 6689084"/>
              <a:gd name="connsiteX1115" fmla="*/ 4614061 w 6689088"/>
              <a:gd name="connsiteY1115" fmla="*/ 3300789 h 6689084"/>
              <a:gd name="connsiteX1116" fmla="*/ 4618418 w 6689088"/>
              <a:gd name="connsiteY1116" fmla="*/ 3305146 h 6689084"/>
              <a:gd name="connsiteX1117" fmla="*/ 4614061 w 6689088"/>
              <a:gd name="connsiteY1117" fmla="*/ 3309503 h 6689084"/>
              <a:gd name="connsiteX1118" fmla="*/ 4609704 w 6689088"/>
              <a:gd name="connsiteY1118" fmla="*/ 3305146 h 6689084"/>
              <a:gd name="connsiteX1119" fmla="*/ 4614061 w 6689088"/>
              <a:gd name="connsiteY1119" fmla="*/ 3300789 h 6689084"/>
              <a:gd name="connsiteX1120" fmla="*/ 4768012 w 6689088"/>
              <a:gd name="connsiteY1120" fmla="*/ 3299699 h 6689084"/>
              <a:gd name="connsiteX1121" fmla="*/ 4773822 w 6689088"/>
              <a:gd name="connsiteY1121" fmla="*/ 3305508 h 6689084"/>
              <a:gd name="connsiteX1122" fmla="*/ 4768012 w 6689088"/>
              <a:gd name="connsiteY1122" fmla="*/ 3311318 h 6689084"/>
              <a:gd name="connsiteX1123" fmla="*/ 4762203 w 6689088"/>
              <a:gd name="connsiteY1123" fmla="*/ 3305508 h 6689084"/>
              <a:gd name="connsiteX1124" fmla="*/ 4768012 w 6689088"/>
              <a:gd name="connsiteY1124" fmla="*/ 3299699 h 6689084"/>
              <a:gd name="connsiteX1125" fmla="*/ 4921594 w 6689088"/>
              <a:gd name="connsiteY1125" fmla="*/ 3297885 h 6689084"/>
              <a:gd name="connsiteX1126" fmla="*/ 4928856 w 6689088"/>
              <a:gd name="connsiteY1126" fmla="*/ 3305146 h 6689084"/>
              <a:gd name="connsiteX1127" fmla="*/ 4921594 w 6689088"/>
              <a:gd name="connsiteY1127" fmla="*/ 3312408 h 6689084"/>
              <a:gd name="connsiteX1128" fmla="*/ 4914332 w 6689088"/>
              <a:gd name="connsiteY1128" fmla="*/ 3305146 h 6689084"/>
              <a:gd name="connsiteX1129" fmla="*/ 4921594 w 6689088"/>
              <a:gd name="connsiteY1129" fmla="*/ 3297885 h 6689084"/>
              <a:gd name="connsiteX1130" fmla="*/ 5075541 w 6689088"/>
              <a:gd name="connsiteY1130" fmla="*/ 3296070 h 6689084"/>
              <a:gd name="connsiteX1131" fmla="*/ 5084621 w 6689088"/>
              <a:gd name="connsiteY1131" fmla="*/ 3305146 h 6689084"/>
              <a:gd name="connsiteX1132" fmla="*/ 5075541 w 6689088"/>
              <a:gd name="connsiteY1132" fmla="*/ 3314226 h 6689084"/>
              <a:gd name="connsiteX1133" fmla="*/ 5066465 w 6689088"/>
              <a:gd name="connsiteY1133" fmla="*/ 3305146 h 6689084"/>
              <a:gd name="connsiteX1134" fmla="*/ 5075541 w 6689088"/>
              <a:gd name="connsiteY1134" fmla="*/ 3296070 h 6689084"/>
              <a:gd name="connsiteX1135" fmla="*/ 5229126 w 6689088"/>
              <a:gd name="connsiteY1135" fmla="*/ 3294980 h 6689084"/>
              <a:gd name="connsiteX1136" fmla="*/ 5239293 w 6689088"/>
              <a:gd name="connsiteY1136" fmla="*/ 3305146 h 6689084"/>
              <a:gd name="connsiteX1137" fmla="*/ 5229126 w 6689088"/>
              <a:gd name="connsiteY1137" fmla="*/ 3315312 h 6689084"/>
              <a:gd name="connsiteX1138" fmla="*/ 5218960 w 6689088"/>
              <a:gd name="connsiteY1138" fmla="*/ 3305146 h 6689084"/>
              <a:gd name="connsiteX1139" fmla="*/ 5229126 w 6689088"/>
              <a:gd name="connsiteY1139" fmla="*/ 3294980 h 6689084"/>
              <a:gd name="connsiteX1140" fmla="*/ 5383074 w 6689088"/>
              <a:gd name="connsiteY1140" fmla="*/ 3293165 h 6689084"/>
              <a:gd name="connsiteX1141" fmla="*/ 5395058 w 6689088"/>
              <a:gd name="connsiteY1141" fmla="*/ 3305146 h 6689084"/>
              <a:gd name="connsiteX1142" fmla="*/ 5383074 w 6689088"/>
              <a:gd name="connsiteY1142" fmla="*/ 3317131 h 6689084"/>
              <a:gd name="connsiteX1143" fmla="*/ 5371093 w 6689088"/>
              <a:gd name="connsiteY1143" fmla="*/ 3305146 h 6689084"/>
              <a:gd name="connsiteX1144" fmla="*/ 5383074 w 6689088"/>
              <a:gd name="connsiteY1144" fmla="*/ 3293165 h 6689084"/>
              <a:gd name="connsiteX1145" fmla="*/ 5537021 w 6689088"/>
              <a:gd name="connsiteY1145" fmla="*/ 3291351 h 6689084"/>
              <a:gd name="connsiteX1146" fmla="*/ 5550820 w 6689088"/>
              <a:gd name="connsiteY1146" fmla="*/ 3305146 h 6689084"/>
              <a:gd name="connsiteX1147" fmla="*/ 5537021 w 6689088"/>
              <a:gd name="connsiteY1147" fmla="*/ 3318945 h 6689084"/>
              <a:gd name="connsiteX1148" fmla="*/ 5523226 w 6689088"/>
              <a:gd name="connsiteY1148" fmla="*/ 3305146 h 6689084"/>
              <a:gd name="connsiteX1149" fmla="*/ 5537021 w 6689088"/>
              <a:gd name="connsiteY1149" fmla="*/ 3291351 h 6689084"/>
              <a:gd name="connsiteX1150" fmla="*/ 5690606 w 6689088"/>
              <a:gd name="connsiteY1150" fmla="*/ 3289899 h 6689084"/>
              <a:gd name="connsiteX1151" fmla="*/ 5705854 w 6689088"/>
              <a:gd name="connsiteY1151" fmla="*/ 3305146 h 6689084"/>
              <a:gd name="connsiteX1152" fmla="*/ 5690606 w 6689088"/>
              <a:gd name="connsiteY1152" fmla="*/ 3320398 h 6689084"/>
              <a:gd name="connsiteX1153" fmla="*/ 5675355 w 6689088"/>
              <a:gd name="connsiteY1153" fmla="*/ 3305146 h 6689084"/>
              <a:gd name="connsiteX1154" fmla="*/ 5690606 w 6689088"/>
              <a:gd name="connsiteY1154" fmla="*/ 3289899 h 6689084"/>
              <a:gd name="connsiteX1155" fmla="*/ 5844554 w 6689088"/>
              <a:gd name="connsiteY1155" fmla="*/ 3288084 h 6689084"/>
              <a:gd name="connsiteX1156" fmla="*/ 5861616 w 6689088"/>
              <a:gd name="connsiteY1156" fmla="*/ 3305150 h 6689084"/>
              <a:gd name="connsiteX1157" fmla="*/ 5844554 w 6689088"/>
              <a:gd name="connsiteY1157" fmla="*/ 3322216 h 6689084"/>
              <a:gd name="connsiteX1158" fmla="*/ 5827488 w 6689088"/>
              <a:gd name="connsiteY1158" fmla="*/ 3305150 h 6689084"/>
              <a:gd name="connsiteX1159" fmla="*/ 5844554 w 6689088"/>
              <a:gd name="connsiteY1159" fmla="*/ 3288084 h 6689084"/>
              <a:gd name="connsiteX1160" fmla="*/ 5998136 w 6689088"/>
              <a:gd name="connsiteY1160" fmla="*/ 3285904 h 6689084"/>
              <a:gd name="connsiteX1161" fmla="*/ 6017382 w 6689088"/>
              <a:gd name="connsiteY1161" fmla="*/ 3305146 h 6689084"/>
              <a:gd name="connsiteX1162" fmla="*/ 5998136 w 6689088"/>
              <a:gd name="connsiteY1162" fmla="*/ 3324389 h 6689084"/>
              <a:gd name="connsiteX1163" fmla="*/ 5978893 w 6689088"/>
              <a:gd name="connsiteY1163" fmla="*/ 3305146 h 6689084"/>
              <a:gd name="connsiteX1164" fmla="*/ 5998136 w 6689088"/>
              <a:gd name="connsiteY1164" fmla="*/ 3285904 h 6689084"/>
              <a:gd name="connsiteX1165" fmla="*/ 6152086 w 6689088"/>
              <a:gd name="connsiteY1165" fmla="*/ 3283727 h 6689084"/>
              <a:gd name="connsiteX1166" fmla="*/ 6173510 w 6689088"/>
              <a:gd name="connsiteY1166" fmla="*/ 3305150 h 6689084"/>
              <a:gd name="connsiteX1167" fmla="*/ 6152086 w 6689088"/>
              <a:gd name="connsiteY1167" fmla="*/ 3326569 h 6689084"/>
              <a:gd name="connsiteX1168" fmla="*/ 6130664 w 6689088"/>
              <a:gd name="connsiteY1168" fmla="*/ 3305150 h 6689084"/>
              <a:gd name="connsiteX1169" fmla="*/ 6152086 w 6689088"/>
              <a:gd name="connsiteY1169" fmla="*/ 3283727 h 6689084"/>
              <a:gd name="connsiteX1170" fmla="*/ 6305672 w 6689088"/>
              <a:gd name="connsiteY1170" fmla="*/ 3282275 h 6689084"/>
              <a:gd name="connsiteX1171" fmla="*/ 6328547 w 6689088"/>
              <a:gd name="connsiteY1171" fmla="*/ 3305150 h 6689084"/>
              <a:gd name="connsiteX1172" fmla="*/ 6305672 w 6689088"/>
              <a:gd name="connsiteY1172" fmla="*/ 3328021 h 6689084"/>
              <a:gd name="connsiteX1173" fmla="*/ 6282796 w 6689088"/>
              <a:gd name="connsiteY1173" fmla="*/ 3305150 h 6689084"/>
              <a:gd name="connsiteX1174" fmla="*/ 6305672 w 6689088"/>
              <a:gd name="connsiteY1174" fmla="*/ 3282275 h 6689084"/>
              <a:gd name="connsiteX1175" fmla="*/ 6459616 w 6689088"/>
              <a:gd name="connsiteY1175" fmla="*/ 3280094 h 6689084"/>
              <a:gd name="connsiteX1176" fmla="*/ 6484671 w 6689088"/>
              <a:gd name="connsiteY1176" fmla="*/ 3305146 h 6689084"/>
              <a:gd name="connsiteX1177" fmla="*/ 6459616 w 6689088"/>
              <a:gd name="connsiteY1177" fmla="*/ 3330202 h 6689084"/>
              <a:gd name="connsiteX1178" fmla="*/ 6434564 w 6689088"/>
              <a:gd name="connsiteY1178" fmla="*/ 3305146 h 6689084"/>
              <a:gd name="connsiteX1179" fmla="*/ 6459616 w 6689088"/>
              <a:gd name="connsiteY1179" fmla="*/ 3280094 h 6689084"/>
              <a:gd name="connsiteX1180" fmla="*/ 6613200 w 6689088"/>
              <a:gd name="connsiteY1180" fmla="*/ 3277914 h 6689084"/>
              <a:gd name="connsiteX1181" fmla="*/ 6640433 w 6689088"/>
              <a:gd name="connsiteY1181" fmla="*/ 3305146 h 6689084"/>
              <a:gd name="connsiteX1182" fmla="*/ 6613200 w 6689088"/>
              <a:gd name="connsiteY1182" fmla="*/ 3332378 h 6689084"/>
              <a:gd name="connsiteX1183" fmla="*/ 6585968 w 6689088"/>
              <a:gd name="connsiteY1183" fmla="*/ 3305146 h 6689084"/>
              <a:gd name="connsiteX1184" fmla="*/ 6613200 w 6689088"/>
              <a:gd name="connsiteY1184" fmla="*/ 3277914 h 6689084"/>
              <a:gd name="connsiteX1185" fmla="*/ 3845414 w 6689088"/>
              <a:gd name="connsiteY1185" fmla="*/ 3151199 h 6689084"/>
              <a:gd name="connsiteX1186" fmla="*/ 3845776 w 6689088"/>
              <a:gd name="connsiteY1186" fmla="*/ 3151561 h 6689084"/>
              <a:gd name="connsiteX1187" fmla="*/ 3845414 w 6689088"/>
              <a:gd name="connsiteY1187" fmla="*/ 3151923 h 6689084"/>
              <a:gd name="connsiteX1188" fmla="*/ 3845052 w 6689088"/>
              <a:gd name="connsiteY1188" fmla="*/ 3151561 h 6689084"/>
              <a:gd name="connsiteX1189" fmla="*/ 3845414 w 6689088"/>
              <a:gd name="connsiteY1189" fmla="*/ 3151199 h 6689084"/>
              <a:gd name="connsiteX1190" fmla="*/ 3383934 w 6689088"/>
              <a:gd name="connsiteY1190" fmla="*/ 3151199 h 6689084"/>
              <a:gd name="connsiteX1191" fmla="*/ 3384296 w 6689088"/>
              <a:gd name="connsiteY1191" fmla="*/ 3151561 h 6689084"/>
              <a:gd name="connsiteX1192" fmla="*/ 3383934 w 6689088"/>
              <a:gd name="connsiteY1192" fmla="*/ 3151923 h 6689084"/>
              <a:gd name="connsiteX1193" fmla="*/ 3383572 w 6689088"/>
              <a:gd name="connsiteY1193" fmla="*/ 3151561 h 6689084"/>
              <a:gd name="connsiteX1194" fmla="*/ 3383934 w 6689088"/>
              <a:gd name="connsiteY1194" fmla="*/ 3151199 h 6689084"/>
              <a:gd name="connsiteX1195" fmla="*/ 3230349 w 6689088"/>
              <a:gd name="connsiteY1195" fmla="*/ 3151199 h 6689084"/>
              <a:gd name="connsiteX1196" fmla="*/ 3230715 w 6689088"/>
              <a:gd name="connsiteY1196" fmla="*/ 3151561 h 6689084"/>
              <a:gd name="connsiteX1197" fmla="*/ 3230349 w 6689088"/>
              <a:gd name="connsiteY1197" fmla="*/ 3151923 h 6689084"/>
              <a:gd name="connsiteX1198" fmla="*/ 3229987 w 6689088"/>
              <a:gd name="connsiteY1198" fmla="*/ 3151561 h 6689084"/>
              <a:gd name="connsiteX1199" fmla="*/ 3230349 w 6689088"/>
              <a:gd name="connsiteY1199" fmla="*/ 3151199 h 6689084"/>
              <a:gd name="connsiteX1200" fmla="*/ 3076406 w 6689088"/>
              <a:gd name="connsiteY1200" fmla="*/ 3150837 h 6689084"/>
              <a:gd name="connsiteX1201" fmla="*/ 3077130 w 6689088"/>
              <a:gd name="connsiteY1201" fmla="*/ 3151565 h 6689084"/>
              <a:gd name="connsiteX1202" fmla="*/ 3076406 w 6689088"/>
              <a:gd name="connsiteY1202" fmla="*/ 3152289 h 6689084"/>
              <a:gd name="connsiteX1203" fmla="*/ 3075677 w 6689088"/>
              <a:gd name="connsiteY1203" fmla="*/ 3151565 h 6689084"/>
              <a:gd name="connsiteX1204" fmla="*/ 3076406 w 6689088"/>
              <a:gd name="connsiteY1204" fmla="*/ 3150837 h 6689084"/>
              <a:gd name="connsiteX1205" fmla="*/ 3999000 w 6689088"/>
              <a:gd name="connsiteY1205" fmla="*/ 3150112 h 6689084"/>
              <a:gd name="connsiteX1206" fmla="*/ 4000452 w 6689088"/>
              <a:gd name="connsiteY1206" fmla="*/ 3151565 h 6689084"/>
              <a:gd name="connsiteX1207" fmla="*/ 3999000 w 6689088"/>
              <a:gd name="connsiteY1207" fmla="*/ 3153017 h 6689084"/>
              <a:gd name="connsiteX1208" fmla="*/ 3997547 w 6689088"/>
              <a:gd name="connsiteY1208" fmla="*/ 3151565 h 6689084"/>
              <a:gd name="connsiteX1209" fmla="*/ 3999000 w 6689088"/>
              <a:gd name="connsiteY1209" fmla="*/ 3150112 h 6689084"/>
              <a:gd name="connsiteX1210" fmla="*/ 4152951 w 6689088"/>
              <a:gd name="connsiteY1210" fmla="*/ 3149384 h 6689084"/>
              <a:gd name="connsiteX1211" fmla="*/ 4155128 w 6689088"/>
              <a:gd name="connsiteY1211" fmla="*/ 3151565 h 6689084"/>
              <a:gd name="connsiteX1212" fmla="*/ 4152951 w 6689088"/>
              <a:gd name="connsiteY1212" fmla="*/ 3153741 h 6689084"/>
              <a:gd name="connsiteX1213" fmla="*/ 4150770 w 6689088"/>
              <a:gd name="connsiteY1213" fmla="*/ 3151565 h 6689084"/>
              <a:gd name="connsiteX1214" fmla="*/ 4152951 w 6689088"/>
              <a:gd name="connsiteY1214" fmla="*/ 3149384 h 6689084"/>
              <a:gd name="connsiteX1215" fmla="*/ 4306528 w 6689088"/>
              <a:gd name="connsiteY1215" fmla="*/ 3148294 h 6689084"/>
              <a:gd name="connsiteX1216" fmla="*/ 4309796 w 6689088"/>
              <a:gd name="connsiteY1216" fmla="*/ 3151561 h 6689084"/>
              <a:gd name="connsiteX1217" fmla="*/ 4306528 w 6689088"/>
              <a:gd name="connsiteY1217" fmla="*/ 3154831 h 6689084"/>
              <a:gd name="connsiteX1218" fmla="*/ 4303262 w 6689088"/>
              <a:gd name="connsiteY1218" fmla="*/ 3151561 h 6689084"/>
              <a:gd name="connsiteX1219" fmla="*/ 4306528 w 6689088"/>
              <a:gd name="connsiteY1219" fmla="*/ 3148294 h 6689084"/>
              <a:gd name="connsiteX1220" fmla="*/ 4460480 w 6689088"/>
              <a:gd name="connsiteY1220" fmla="*/ 3146842 h 6689084"/>
              <a:gd name="connsiteX1221" fmla="*/ 4464836 w 6689088"/>
              <a:gd name="connsiteY1221" fmla="*/ 3151199 h 6689084"/>
              <a:gd name="connsiteX1222" fmla="*/ 4460480 w 6689088"/>
              <a:gd name="connsiteY1222" fmla="*/ 3155556 h 6689084"/>
              <a:gd name="connsiteX1223" fmla="*/ 4456122 w 6689088"/>
              <a:gd name="connsiteY1223" fmla="*/ 3151199 h 6689084"/>
              <a:gd name="connsiteX1224" fmla="*/ 4460480 w 6689088"/>
              <a:gd name="connsiteY1224" fmla="*/ 3146842 h 6689084"/>
              <a:gd name="connsiteX1225" fmla="*/ 4614061 w 6689088"/>
              <a:gd name="connsiteY1225" fmla="*/ 3145752 h 6689084"/>
              <a:gd name="connsiteX1226" fmla="*/ 4619870 w 6689088"/>
              <a:gd name="connsiteY1226" fmla="*/ 3151561 h 6689084"/>
              <a:gd name="connsiteX1227" fmla="*/ 4614061 w 6689088"/>
              <a:gd name="connsiteY1227" fmla="*/ 3157370 h 6689084"/>
              <a:gd name="connsiteX1228" fmla="*/ 4608252 w 6689088"/>
              <a:gd name="connsiteY1228" fmla="*/ 3151561 h 6689084"/>
              <a:gd name="connsiteX1229" fmla="*/ 4614061 w 6689088"/>
              <a:gd name="connsiteY1229" fmla="*/ 3145752 h 6689084"/>
              <a:gd name="connsiteX1230" fmla="*/ 4768008 w 6689088"/>
              <a:gd name="connsiteY1230" fmla="*/ 3144299 h 6689084"/>
              <a:gd name="connsiteX1231" fmla="*/ 4775270 w 6689088"/>
              <a:gd name="connsiteY1231" fmla="*/ 3151561 h 6689084"/>
              <a:gd name="connsiteX1232" fmla="*/ 4768008 w 6689088"/>
              <a:gd name="connsiteY1232" fmla="*/ 3158823 h 6689084"/>
              <a:gd name="connsiteX1233" fmla="*/ 4760747 w 6689088"/>
              <a:gd name="connsiteY1233" fmla="*/ 3151561 h 6689084"/>
              <a:gd name="connsiteX1234" fmla="*/ 4768008 w 6689088"/>
              <a:gd name="connsiteY1234" fmla="*/ 3144299 h 6689084"/>
              <a:gd name="connsiteX1235" fmla="*/ 4921594 w 6689088"/>
              <a:gd name="connsiteY1235" fmla="*/ 3142123 h 6689084"/>
              <a:gd name="connsiteX1236" fmla="*/ 4930674 w 6689088"/>
              <a:gd name="connsiteY1236" fmla="*/ 3151199 h 6689084"/>
              <a:gd name="connsiteX1237" fmla="*/ 4921594 w 6689088"/>
              <a:gd name="connsiteY1237" fmla="*/ 3160279 h 6689084"/>
              <a:gd name="connsiteX1238" fmla="*/ 4912518 w 6689088"/>
              <a:gd name="connsiteY1238" fmla="*/ 3151199 h 6689084"/>
              <a:gd name="connsiteX1239" fmla="*/ 4921594 w 6689088"/>
              <a:gd name="connsiteY1239" fmla="*/ 3142123 h 6689084"/>
              <a:gd name="connsiteX1240" fmla="*/ 5075541 w 6689088"/>
              <a:gd name="connsiteY1240" fmla="*/ 3141395 h 6689084"/>
              <a:gd name="connsiteX1241" fmla="*/ 5085708 w 6689088"/>
              <a:gd name="connsiteY1241" fmla="*/ 3151561 h 6689084"/>
              <a:gd name="connsiteX1242" fmla="*/ 5075541 w 6689088"/>
              <a:gd name="connsiteY1242" fmla="*/ 3161727 h 6689084"/>
              <a:gd name="connsiteX1243" fmla="*/ 5065375 w 6689088"/>
              <a:gd name="connsiteY1243" fmla="*/ 3151561 h 6689084"/>
              <a:gd name="connsiteX1244" fmla="*/ 5075541 w 6689088"/>
              <a:gd name="connsiteY1244" fmla="*/ 3141395 h 6689084"/>
              <a:gd name="connsiteX1245" fmla="*/ 5229126 w 6689088"/>
              <a:gd name="connsiteY1245" fmla="*/ 3139580 h 6689084"/>
              <a:gd name="connsiteX1246" fmla="*/ 5241111 w 6689088"/>
              <a:gd name="connsiteY1246" fmla="*/ 3151561 h 6689084"/>
              <a:gd name="connsiteX1247" fmla="*/ 5229126 w 6689088"/>
              <a:gd name="connsiteY1247" fmla="*/ 3163542 h 6689084"/>
              <a:gd name="connsiteX1248" fmla="*/ 5217146 w 6689088"/>
              <a:gd name="connsiteY1248" fmla="*/ 3151561 h 6689084"/>
              <a:gd name="connsiteX1249" fmla="*/ 5229126 w 6689088"/>
              <a:gd name="connsiteY1249" fmla="*/ 3139580 h 6689084"/>
              <a:gd name="connsiteX1250" fmla="*/ 5383078 w 6689088"/>
              <a:gd name="connsiteY1250" fmla="*/ 3137403 h 6689084"/>
              <a:gd name="connsiteX1251" fmla="*/ 5396873 w 6689088"/>
              <a:gd name="connsiteY1251" fmla="*/ 3151199 h 6689084"/>
              <a:gd name="connsiteX1252" fmla="*/ 5383078 w 6689088"/>
              <a:gd name="connsiteY1252" fmla="*/ 3164998 h 6689084"/>
              <a:gd name="connsiteX1253" fmla="*/ 5369278 w 6689088"/>
              <a:gd name="connsiteY1253" fmla="*/ 3151199 h 6689084"/>
              <a:gd name="connsiteX1254" fmla="*/ 5383078 w 6689088"/>
              <a:gd name="connsiteY1254" fmla="*/ 3137403 h 6689084"/>
              <a:gd name="connsiteX1255" fmla="*/ 5536659 w 6689088"/>
              <a:gd name="connsiteY1255" fmla="*/ 3136313 h 6689084"/>
              <a:gd name="connsiteX1256" fmla="*/ 5551906 w 6689088"/>
              <a:gd name="connsiteY1256" fmla="*/ 3151565 h 6689084"/>
              <a:gd name="connsiteX1257" fmla="*/ 5536659 w 6689088"/>
              <a:gd name="connsiteY1257" fmla="*/ 3166812 h 6689084"/>
              <a:gd name="connsiteX1258" fmla="*/ 5521408 w 6689088"/>
              <a:gd name="connsiteY1258" fmla="*/ 3151565 h 6689084"/>
              <a:gd name="connsiteX1259" fmla="*/ 5536659 w 6689088"/>
              <a:gd name="connsiteY1259" fmla="*/ 3136313 h 6689084"/>
              <a:gd name="connsiteX1260" fmla="*/ 5690606 w 6689088"/>
              <a:gd name="connsiteY1260" fmla="*/ 3134499 h 6689084"/>
              <a:gd name="connsiteX1261" fmla="*/ 5707672 w 6689088"/>
              <a:gd name="connsiteY1261" fmla="*/ 3151565 h 6689084"/>
              <a:gd name="connsiteX1262" fmla="*/ 5690606 w 6689088"/>
              <a:gd name="connsiteY1262" fmla="*/ 3168627 h 6689084"/>
              <a:gd name="connsiteX1263" fmla="*/ 5673540 w 6689088"/>
              <a:gd name="connsiteY1263" fmla="*/ 3151565 h 6689084"/>
              <a:gd name="connsiteX1264" fmla="*/ 5690606 w 6689088"/>
              <a:gd name="connsiteY1264" fmla="*/ 3134499 h 6689084"/>
              <a:gd name="connsiteX1265" fmla="*/ 5844554 w 6689088"/>
              <a:gd name="connsiteY1265" fmla="*/ 3132318 h 6689084"/>
              <a:gd name="connsiteX1266" fmla="*/ 5863796 w 6689088"/>
              <a:gd name="connsiteY1266" fmla="*/ 3151561 h 6689084"/>
              <a:gd name="connsiteX1267" fmla="*/ 5844554 w 6689088"/>
              <a:gd name="connsiteY1267" fmla="*/ 3170807 h 6689084"/>
              <a:gd name="connsiteX1268" fmla="*/ 5825308 w 6689088"/>
              <a:gd name="connsiteY1268" fmla="*/ 3151561 h 6689084"/>
              <a:gd name="connsiteX1269" fmla="*/ 5844554 w 6689088"/>
              <a:gd name="connsiteY1269" fmla="*/ 3132318 h 6689084"/>
              <a:gd name="connsiteX1270" fmla="*/ 5998139 w 6689088"/>
              <a:gd name="connsiteY1270" fmla="*/ 3130142 h 6689084"/>
              <a:gd name="connsiteX1271" fmla="*/ 6019562 w 6689088"/>
              <a:gd name="connsiteY1271" fmla="*/ 3151565 h 6689084"/>
              <a:gd name="connsiteX1272" fmla="*/ 5998139 w 6689088"/>
              <a:gd name="connsiteY1272" fmla="*/ 3172984 h 6689084"/>
              <a:gd name="connsiteX1273" fmla="*/ 5976716 w 6689088"/>
              <a:gd name="connsiteY1273" fmla="*/ 3151565 h 6689084"/>
              <a:gd name="connsiteX1274" fmla="*/ 5998139 w 6689088"/>
              <a:gd name="connsiteY1274" fmla="*/ 3130142 h 6689084"/>
              <a:gd name="connsiteX1275" fmla="*/ 6152086 w 6689088"/>
              <a:gd name="connsiteY1275" fmla="*/ 3128689 h 6689084"/>
              <a:gd name="connsiteX1276" fmla="*/ 6174958 w 6689088"/>
              <a:gd name="connsiteY1276" fmla="*/ 3151565 h 6689084"/>
              <a:gd name="connsiteX1277" fmla="*/ 6152086 w 6689088"/>
              <a:gd name="connsiteY1277" fmla="*/ 3174440 h 6689084"/>
              <a:gd name="connsiteX1278" fmla="*/ 6129212 w 6689088"/>
              <a:gd name="connsiteY1278" fmla="*/ 3151565 h 6689084"/>
              <a:gd name="connsiteX1279" fmla="*/ 6152086 w 6689088"/>
              <a:gd name="connsiteY1279" fmla="*/ 3128689 h 6689084"/>
              <a:gd name="connsiteX1280" fmla="*/ 6305668 w 6689088"/>
              <a:gd name="connsiteY1280" fmla="*/ 3126509 h 6689084"/>
              <a:gd name="connsiteX1281" fmla="*/ 6330724 w 6689088"/>
              <a:gd name="connsiteY1281" fmla="*/ 3151561 h 6689084"/>
              <a:gd name="connsiteX1282" fmla="*/ 6305668 w 6689088"/>
              <a:gd name="connsiteY1282" fmla="*/ 3176616 h 6689084"/>
              <a:gd name="connsiteX1283" fmla="*/ 6280616 w 6689088"/>
              <a:gd name="connsiteY1283" fmla="*/ 3151561 h 6689084"/>
              <a:gd name="connsiteX1284" fmla="*/ 6305668 w 6689088"/>
              <a:gd name="connsiteY1284" fmla="*/ 3126509 h 6689084"/>
              <a:gd name="connsiteX1285" fmla="*/ 6459619 w 6689088"/>
              <a:gd name="connsiteY1285" fmla="*/ 3124332 h 6689084"/>
              <a:gd name="connsiteX1286" fmla="*/ 6486852 w 6689088"/>
              <a:gd name="connsiteY1286" fmla="*/ 3151565 h 6689084"/>
              <a:gd name="connsiteX1287" fmla="*/ 6459619 w 6689088"/>
              <a:gd name="connsiteY1287" fmla="*/ 3178797 h 6689084"/>
              <a:gd name="connsiteX1288" fmla="*/ 6432387 w 6689088"/>
              <a:gd name="connsiteY1288" fmla="*/ 3151565 h 6689084"/>
              <a:gd name="connsiteX1289" fmla="*/ 6459619 w 6689088"/>
              <a:gd name="connsiteY1289" fmla="*/ 3124332 h 6689084"/>
              <a:gd name="connsiteX1290" fmla="*/ 6613197 w 6689088"/>
              <a:gd name="connsiteY1290" fmla="*/ 3121790 h 6689084"/>
              <a:gd name="connsiteX1291" fmla="*/ 6642972 w 6689088"/>
              <a:gd name="connsiteY1291" fmla="*/ 3151565 h 6689084"/>
              <a:gd name="connsiteX1292" fmla="*/ 6613197 w 6689088"/>
              <a:gd name="connsiteY1292" fmla="*/ 3181336 h 6689084"/>
              <a:gd name="connsiteX1293" fmla="*/ 6583426 w 6689088"/>
              <a:gd name="connsiteY1293" fmla="*/ 3151565 h 6689084"/>
              <a:gd name="connsiteX1294" fmla="*/ 6613197 w 6689088"/>
              <a:gd name="connsiteY1294" fmla="*/ 3121790 h 6689084"/>
              <a:gd name="connsiteX1295" fmla="*/ 3691467 w 6689088"/>
              <a:gd name="connsiteY1295" fmla="*/ 2997252 h 6689084"/>
              <a:gd name="connsiteX1296" fmla="*/ 3691829 w 6689088"/>
              <a:gd name="connsiteY1296" fmla="*/ 2997613 h 6689084"/>
              <a:gd name="connsiteX1297" fmla="*/ 3691467 w 6689088"/>
              <a:gd name="connsiteY1297" fmla="*/ 2997976 h 6689084"/>
              <a:gd name="connsiteX1298" fmla="*/ 3691105 w 6689088"/>
              <a:gd name="connsiteY1298" fmla="*/ 2997613 h 6689084"/>
              <a:gd name="connsiteX1299" fmla="*/ 3691467 w 6689088"/>
              <a:gd name="connsiteY1299" fmla="*/ 2997252 h 6689084"/>
              <a:gd name="connsiteX1300" fmla="*/ 3230349 w 6689088"/>
              <a:gd name="connsiteY1300" fmla="*/ 2997252 h 6689084"/>
              <a:gd name="connsiteX1301" fmla="*/ 3230715 w 6689088"/>
              <a:gd name="connsiteY1301" fmla="*/ 2997613 h 6689084"/>
              <a:gd name="connsiteX1302" fmla="*/ 3230349 w 6689088"/>
              <a:gd name="connsiteY1302" fmla="*/ 2997976 h 6689084"/>
              <a:gd name="connsiteX1303" fmla="*/ 3229987 w 6689088"/>
              <a:gd name="connsiteY1303" fmla="*/ 2997613 h 6689084"/>
              <a:gd name="connsiteX1304" fmla="*/ 3230349 w 6689088"/>
              <a:gd name="connsiteY1304" fmla="*/ 2997252 h 6689084"/>
              <a:gd name="connsiteX1305" fmla="*/ 3076406 w 6689088"/>
              <a:gd name="connsiteY1305" fmla="*/ 2997252 h 6689084"/>
              <a:gd name="connsiteX1306" fmla="*/ 3076768 w 6689088"/>
              <a:gd name="connsiteY1306" fmla="*/ 2997613 h 6689084"/>
              <a:gd name="connsiteX1307" fmla="*/ 3076406 w 6689088"/>
              <a:gd name="connsiteY1307" fmla="*/ 2997976 h 6689084"/>
              <a:gd name="connsiteX1308" fmla="*/ 3076043 w 6689088"/>
              <a:gd name="connsiteY1308" fmla="*/ 2997613 h 6689084"/>
              <a:gd name="connsiteX1309" fmla="*/ 3076406 w 6689088"/>
              <a:gd name="connsiteY1309" fmla="*/ 2997252 h 6689084"/>
              <a:gd name="connsiteX1310" fmla="*/ 2922824 w 6689088"/>
              <a:gd name="connsiteY1310" fmla="*/ 2996889 h 6689084"/>
              <a:gd name="connsiteX1311" fmla="*/ 2923548 w 6689088"/>
              <a:gd name="connsiteY1311" fmla="*/ 2997613 h 6689084"/>
              <a:gd name="connsiteX1312" fmla="*/ 2922824 w 6689088"/>
              <a:gd name="connsiteY1312" fmla="*/ 2998342 h 6689084"/>
              <a:gd name="connsiteX1313" fmla="*/ 2922096 w 6689088"/>
              <a:gd name="connsiteY1313" fmla="*/ 2997613 h 6689084"/>
              <a:gd name="connsiteX1314" fmla="*/ 2922824 w 6689088"/>
              <a:gd name="connsiteY1314" fmla="*/ 2996889 h 6689084"/>
              <a:gd name="connsiteX1315" fmla="*/ 3845414 w 6689088"/>
              <a:gd name="connsiteY1315" fmla="*/ 2996165 h 6689084"/>
              <a:gd name="connsiteX1316" fmla="*/ 3846867 w 6689088"/>
              <a:gd name="connsiteY1316" fmla="*/ 2997617 h 6689084"/>
              <a:gd name="connsiteX1317" fmla="*/ 3845414 w 6689088"/>
              <a:gd name="connsiteY1317" fmla="*/ 2999070 h 6689084"/>
              <a:gd name="connsiteX1318" fmla="*/ 3843962 w 6689088"/>
              <a:gd name="connsiteY1318" fmla="*/ 2997617 h 6689084"/>
              <a:gd name="connsiteX1319" fmla="*/ 3845414 w 6689088"/>
              <a:gd name="connsiteY1319" fmla="*/ 2996165 h 6689084"/>
              <a:gd name="connsiteX1320" fmla="*/ 3999000 w 6689088"/>
              <a:gd name="connsiteY1320" fmla="*/ 2995437 h 6689084"/>
              <a:gd name="connsiteX1321" fmla="*/ 4001180 w 6689088"/>
              <a:gd name="connsiteY1321" fmla="*/ 2997613 h 6689084"/>
              <a:gd name="connsiteX1322" fmla="*/ 3999000 w 6689088"/>
              <a:gd name="connsiteY1322" fmla="*/ 2999794 h 6689084"/>
              <a:gd name="connsiteX1323" fmla="*/ 3996823 w 6689088"/>
              <a:gd name="connsiteY1323" fmla="*/ 2997613 h 6689084"/>
              <a:gd name="connsiteX1324" fmla="*/ 3999000 w 6689088"/>
              <a:gd name="connsiteY1324" fmla="*/ 2995437 h 6689084"/>
              <a:gd name="connsiteX1325" fmla="*/ 4152947 w 6689088"/>
              <a:gd name="connsiteY1325" fmla="*/ 2994713 h 6689084"/>
              <a:gd name="connsiteX1326" fmla="*/ 4156214 w 6689088"/>
              <a:gd name="connsiteY1326" fmla="*/ 2997979 h 6689084"/>
              <a:gd name="connsiteX1327" fmla="*/ 4152947 w 6689088"/>
              <a:gd name="connsiteY1327" fmla="*/ 3001250 h 6689084"/>
              <a:gd name="connsiteX1328" fmla="*/ 4149680 w 6689088"/>
              <a:gd name="connsiteY1328" fmla="*/ 2997979 h 6689084"/>
              <a:gd name="connsiteX1329" fmla="*/ 4152947 w 6689088"/>
              <a:gd name="connsiteY1329" fmla="*/ 2994713 h 6689084"/>
              <a:gd name="connsiteX1330" fmla="*/ 4306532 w 6689088"/>
              <a:gd name="connsiteY1330" fmla="*/ 2993261 h 6689084"/>
              <a:gd name="connsiteX1331" fmla="*/ 4310890 w 6689088"/>
              <a:gd name="connsiteY1331" fmla="*/ 2997617 h 6689084"/>
              <a:gd name="connsiteX1332" fmla="*/ 4306532 w 6689088"/>
              <a:gd name="connsiteY1332" fmla="*/ 3001974 h 6689084"/>
              <a:gd name="connsiteX1333" fmla="*/ 4302176 w 6689088"/>
              <a:gd name="connsiteY1333" fmla="*/ 2997617 h 6689084"/>
              <a:gd name="connsiteX1334" fmla="*/ 4306532 w 6689088"/>
              <a:gd name="connsiteY1334" fmla="*/ 2993261 h 6689084"/>
              <a:gd name="connsiteX1335" fmla="*/ 4460480 w 6689088"/>
              <a:gd name="connsiteY1335" fmla="*/ 2991808 h 6689084"/>
              <a:gd name="connsiteX1336" fmla="*/ 4466289 w 6689088"/>
              <a:gd name="connsiteY1336" fmla="*/ 2997617 h 6689084"/>
              <a:gd name="connsiteX1337" fmla="*/ 4460480 w 6689088"/>
              <a:gd name="connsiteY1337" fmla="*/ 3003427 h 6689084"/>
              <a:gd name="connsiteX1338" fmla="*/ 4454670 w 6689088"/>
              <a:gd name="connsiteY1338" fmla="*/ 2997617 h 6689084"/>
              <a:gd name="connsiteX1339" fmla="*/ 4460480 w 6689088"/>
              <a:gd name="connsiteY1339" fmla="*/ 2991808 h 6689084"/>
              <a:gd name="connsiteX1340" fmla="*/ 4614065 w 6689088"/>
              <a:gd name="connsiteY1340" fmla="*/ 2990356 h 6689084"/>
              <a:gd name="connsiteX1341" fmla="*/ 4621326 w 6689088"/>
              <a:gd name="connsiteY1341" fmla="*/ 2997617 h 6689084"/>
              <a:gd name="connsiteX1342" fmla="*/ 4614065 w 6689088"/>
              <a:gd name="connsiteY1342" fmla="*/ 3004879 h 6689084"/>
              <a:gd name="connsiteX1343" fmla="*/ 4606804 w 6689088"/>
              <a:gd name="connsiteY1343" fmla="*/ 2997617 h 6689084"/>
              <a:gd name="connsiteX1344" fmla="*/ 4614065 w 6689088"/>
              <a:gd name="connsiteY1344" fmla="*/ 2990356 h 6689084"/>
              <a:gd name="connsiteX1345" fmla="*/ 4768008 w 6689088"/>
              <a:gd name="connsiteY1345" fmla="*/ 2988537 h 6689084"/>
              <a:gd name="connsiteX1346" fmla="*/ 4777088 w 6689088"/>
              <a:gd name="connsiteY1346" fmla="*/ 2997613 h 6689084"/>
              <a:gd name="connsiteX1347" fmla="*/ 4768008 w 6689088"/>
              <a:gd name="connsiteY1347" fmla="*/ 3006693 h 6689084"/>
              <a:gd name="connsiteX1348" fmla="*/ 4758932 w 6689088"/>
              <a:gd name="connsiteY1348" fmla="*/ 2997613 h 6689084"/>
              <a:gd name="connsiteX1349" fmla="*/ 4768008 w 6689088"/>
              <a:gd name="connsiteY1349" fmla="*/ 2988537 h 6689084"/>
              <a:gd name="connsiteX1350" fmla="*/ 4921594 w 6689088"/>
              <a:gd name="connsiteY1350" fmla="*/ 2987447 h 6689084"/>
              <a:gd name="connsiteX1351" fmla="*/ 4931760 w 6689088"/>
              <a:gd name="connsiteY1351" fmla="*/ 2997613 h 6689084"/>
              <a:gd name="connsiteX1352" fmla="*/ 4921594 w 6689088"/>
              <a:gd name="connsiteY1352" fmla="*/ 3007780 h 6689084"/>
              <a:gd name="connsiteX1353" fmla="*/ 4911428 w 6689088"/>
              <a:gd name="connsiteY1353" fmla="*/ 2997613 h 6689084"/>
              <a:gd name="connsiteX1354" fmla="*/ 4921594 w 6689088"/>
              <a:gd name="connsiteY1354" fmla="*/ 2987447 h 6689084"/>
              <a:gd name="connsiteX1355" fmla="*/ 5075541 w 6689088"/>
              <a:gd name="connsiteY1355" fmla="*/ 2985633 h 6689084"/>
              <a:gd name="connsiteX1356" fmla="*/ 5087526 w 6689088"/>
              <a:gd name="connsiteY1356" fmla="*/ 2997613 h 6689084"/>
              <a:gd name="connsiteX1357" fmla="*/ 5075541 w 6689088"/>
              <a:gd name="connsiteY1357" fmla="*/ 3009594 h 6689084"/>
              <a:gd name="connsiteX1358" fmla="*/ 5063560 w 6689088"/>
              <a:gd name="connsiteY1358" fmla="*/ 2997613 h 6689084"/>
              <a:gd name="connsiteX1359" fmla="*/ 5075541 w 6689088"/>
              <a:gd name="connsiteY1359" fmla="*/ 2985633 h 6689084"/>
              <a:gd name="connsiteX1360" fmla="*/ 5229126 w 6689088"/>
              <a:gd name="connsiteY1360" fmla="*/ 2983818 h 6689084"/>
              <a:gd name="connsiteX1361" fmla="*/ 5242922 w 6689088"/>
              <a:gd name="connsiteY1361" fmla="*/ 2997613 h 6689084"/>
              <a:gd name="connsiteX1362" fmla="*/ 5229126 w 6689088"/>
              <a:gd name="connsiteY1362" fmla="*/ 3011413 h 6689084"/>
              <a:gd name="connsiteX1363" fmla="*/ 5215328 w 6689088"/>
              <a:gd name="connsiteY1363" fmla="*/ 2997613 h 6689084"/>
              <a:gd name="connsiteX1364" fmla="*/ 5229126 w 6689088"/>
              <a:gd name="connsiteY1364" fmla="*/ 2983818 h 6689084"/>
              <a:gd name="connsiteX1365" fmla="*/ 5383074 w 6689088"/>
              <a:gd name="connsiteY1365" fmla="*/ 2982366 h 6689084"/>
              <a:gd name="connsiteX1366" fmla="*/ 5398326 w 6689088"/>
              <a:gd name="connsiteY1366" fmla="*/ 2997613 h 6689084"/>
              <a:gd name="connsiteX1367" fmla="*/ 5383074 w 6689088"/>
              <a:gd name="connsiteY1367" fmla="*/ 3012865 h 6689084"/>
              <a:gd name="connsiteX1368" fmla="*/ 5367826 w 6689088"/>
              <a:gd name="connsiteY1368" fmla="*/ 2997613 h 6689084"/>
              <a:gd name="connsiteX1369" fmla="*/ 5383074 w 6689088"/>
              <a:gd name="connsiteY1369" fmla="*/ 2982366 h 6689084"/>
              <a:gd name="connsiteX1370" fmla="*/ 5536659 w 6689088"/>
              <a:gd name="connsiteY1370" fmla="*/ 2980551 h 6689084"/>
              <a:gd name="connsiteX1371" fmla="*/ 5553725 w 6689088"/>
              <a:gd name="connsiteY1371" fmla="*/ 2997617 h 6689084"/>
              <a:gd name="connsiteX1372" fmla="*/ 5536659 w 6689088"/>
              <a:gd name="connsiteY1372" fmla="*/ 3014683 h 6689084"/>
              <a:gd name="connsiteX1373" fmla="*/ 5519593 w 6689088"/>
              <a:gd name="connsiteY1373" fmla="*/ 2997617 h 6689084"/>
              <a:gd name="connsiteX1374" fmla="*/ 5536659 w 6689088"/>
              <a:gd name="connsiteY1374" fmla="*/ 2980551 h 6689084"/>
              <a:gd name="connsiteX1375" fmla="*/ 5690606 w 6689088"/>
              <a:gd name="connsiteY1375" fmla="*/ 2978371 h 6689084"/>
              <a:gd name="connsiteX1376" fmla="*/ 5709849 w 6689088"/>
              <a:gd name="connsiteY1376" fmla="*/ 2997613 h 6689084"/>
              <a:gd name="connsiteX1377" fmla="*/ 5690606 w 6689088"/>
              <a:gd name="connsiteY1377" fmla="*/ 3016856 h 6689084"/>
              <a:gd name="connsiteX1378" fmla="*/ 5671360 w 6689088"/>
              <a:gd name="connsiteY1378" fmla="*/ 2997613 h 6689084"/>
              <a:gd name="connsiteX1379" fmla="*/ 5690606 w 6689088"/>
              <a:gd name="connsiteY1379" fmla="*/ 2978371 h 6689084"/>
              <a:gd name="connsiteX1380" fmla="*/ 5844550 w 6689088"/>
              <a:gd name="connsiteY1380" fmla="*/ 2976195 h 6689084"/>
              <a:gd name="connsiteX1381" fmla="*/ 5865973 w 6689088"/>
              <a:gd name="connsiteY1381" fmla="*/ 2997617 h 6689084"/>
              <a:gd name="connsiteX1382" fmla="*/ 5844550 w 6689088"/>
              <a:gd name="connsiteY1382" fmla="*/ 3019036 h 6689084"/>
              <a:gd name="connsiteX1383" fmla="*/ 5823127 w 6689088"/>
              <a:gd name="connsiteY1383" fmla="*/ 2997617 h 6689084"/>
              <a:gd name="connsiteX1384" fmla="*/ 5844550 w 6689088"/>
              <a:gd name="connsiteY1384" fmla="*/ 2976195 h 6689084"/>
              <a:gd name="connsiteX1385" fmla="*/ 5998139 w 6689088"/>
              <a:gd name="connsiteY1385" fmla="*/ 2974742 h 6689084"/>
              <a:gd name="connsiteX1386" fmla="*/ 6021010 w 6689088"/>
              <a:gd name="connsiteY1386" fmla="*/ 2997617 h 6689084"/>
              <a:gd name="connsiteX1387" fmla="*/ 5998139 w 6689088"/>
              <a:gd name="connsiteY1387" fmla="*/ 3020489 h 6689084"/>
              <a:gd name="connsiteX1388" fmla="*/ 5975264 w 6689088"/>
              <a:gd name="connsiteY1388" fmla="*/ 2997617 h 6689084"/>
              <a:gd name="connsiteX1389" fmla="*/ 5998139 w 6689088"/>
              <a:gd name="connsiteY1389" fmla="*/ 2974742 h 6689084"/>
              <a:gd name="connsiteX1390" fmla="*/ 6152083 w 6689088"/>
              <a:gd name="connsiteY1390" fmla="*/ 2972562 h 6689084"/>
              <a:gd name="connsiteX1391" fmla="*/ 6177134 w 6689088"/>
              <a:gd name="connsiteY1391" fmla="*/ 2997613 h 6689084"/>
              <a:gd name="connsiteX1392" fmla="*/ 6152083 w 6689088"/>
              <a:gd name="connsiteY1392" fmla="*/ 3022669 h 6689084"/>
              <a:gd name="connsiteX1393" fmla="*/ 6127031 w 6689088"/>
              <a:gd name="connsiteY1393" fmla="*/ 2997613 h 6689084"/>
              <a:gd name="connsiteX1394" fmla="*/ 6152083 w 6689088"/>
              <a:gd name="connsiteY1394" fmla="*/ 2972562 h 6689084"/>
              <a:gd name="connsiteX1395" fmla="*/ 6305672 w 6689088"/>
              <a:gd name="connsiteY1395" fmla="*/ 2970385 h 6689084"/>
              <a:gd name="connsiteX1396" fmla="*/ 6332904 w 6689088"/>
              <a:gd name="connsiteY1396" fmla="*/ 2997617 h 6689084"/>
              <a:gd name="connsiteX1397" fmla="*/ 6305672 w 6689088"/>
              <a:gd name="connsiteY1397" fmla="*/ 3024846 h 6689084"/>
              <a:gd name="connsiteX1398" fmla="*/ 6278440 w 6689088"/>
              <a:gd name="connsiteY1398" fmla="*/ 2997617 h 6689084"/>
              <a:gd name="connsiteX1399" fmla="*/ 6305672 w 6689088"/>
              <a:gd name="connsiteY1399" fmla="*/ 2970385 h 6689084"/>
              <a:gd name="connsiteX1400" fmla="*/ 6459619 w 6689088"/>
              <a:gd name="connsiteY1400" fmla="*/ 2967843 h 6689084"/>
              <a:gd name="connsiteX1401" fmla="*/ 6489390 w 6689088"/>
              <a:gd name="connsiteY1401" fmla="*/ 2997613 h 6689084"/>
              <a:gd name="connsiteX1402" fmla="*/ 6459619 w 6689088"/>
              <a:gd name="connsiteY1402" fmla="*/ 3027388 h 6689084"/>
              <a:gd name="connsiteX1403" fmla="*/ 6429844 w 6689088"/>
              <a:gd name="connsiteY1403" fmla="*/ 2997613 h 6689084"/>
              <a:gd name="connsiteX1404" fmla="*/ 6459619 w 6689088"/>
              <a:gd name="connsiteY1404" fmla="*/ 2967843 h 6689084"/>
              <a:gd name="connsiteX1405" fmla="*/ 6613200 w 6689088"/>
              <a:gd name="connsiteY1405" fmla="*/ 2965666 h 6689084"/>
              <a:gd name="connsiteX1406" fmla="*/ 6645152 w 6689088"/>
              <a:gd name="connsiteY1406" fmla="*/ 2997617 h 6689084"/>
              <a:gd name="connsiteX1407" fmla="*/ 6613200 w 6689088"/>
              <a:gd name="connsiteY1407" fmla="*/ 3029569 h 6689084"/>
              <a:gd name="connsiteX1408" fmla="*/ 6581250 w 6689088"/>
              <a:gd name="connsiteY1408" fmla="*/ 2997617 h 6689084"/>
              <a:gd name="connsiteX1409" fmla="*/ 6613200 w 6689088"/>
              <a:gd name="connsiteY1409" fmla="*/ 2965666 h 6689084"/>
              <a:gd name="connsiteX1410" fmla="*/ 3537882 w 6689088"/>
              <a:gd name="connsiteY1410" fmla="*/ 2843666 h 6689084"/>
              <a:gd name="connsiteX1411" fmla="*/ 3538244 w 6689088"/>
              <a:gd name="connsiteY1411" fmla="*/ 2844028 h 6689084"/>
              <a:gd name="connsiteX1412" fmla="*/ 3537882 w 6689088"/>
              <a:gd name="connsiteY1412" fmla="*/ 2844390 h 6689084"/>
              <a:gd name="connsiteX1413" fmla="*/ 3537520 w 6689088"/>
              <a:gd name="connsiteY1413" fmla="*/ 2844028 h 6689084"/>
              <a:gd name="connsiteX1414" fmla="*/ 3537882 w 6689088"/>
              <a:gd name="connsiteY1414" fmla="*/ 2843666 h 6689084"/>
              <a:gd name="connsiteX1415" fmla="*/ 3076406 w 6689088"/>
              <a:gd name="connsiteY1415" fmla="*/ 2843666 h 6689084"/>
              <a:gd name="connsiteX1416" fmla="*/ 3076768 w 6689088"/>
              <a:gd name="connsiteY1416" fmla="*/ 2844028 h 6689084"/>
              <a:gd name="connsiteX1417" fmla="*/ 3076406 w 6689088"/>
              <a:gd name="connsiteY1417" fmla="*/ 2844390 h 6689084"/>
              <a:gd name="connsiteX1418" fmla="*/ 3076043 w 6689088"/>
              <a:gd name="connsiteY1418" fmla="*/ 2844028 h 6689084"/>
              <a:gd name="connsiteX1419" fmla="*/ 3076406 w 6689088"/>
              <a:gd name="connsiteY1419" fmla="*/ 2843666 h 6689084"/>
              <a:gd name="connsiteX1420" fmla="*/ 2922458 w 6689088"/>
              <a:gd name="connsiteY1420" fmla="*/ 2843666 h 6689084"/>
              <a:gd name="connsiteX1421" fmla="*/ 2922820 w 6689088"/>
              <a:gd name="connsiteY1421" fmla="*/ 2844028 h 6689084"/>
              <a:gd name="connsiteX1422" fmla="*/ 2922458 w 6689088"/>
              <a:gd name="connsiteY1422" fmla="*/ 2844390 h 6689084"/>
              <a:gd name="connsiteX1423" fmla="*/ 2922096 w 6689088"/>
              <a:gd name="connsiteY1423" fmla="*/ 2844028 h 6689084"/>
              <a:gd name="connsiteX1424" fmla="*/ 2922458 w 6689088"/>
              <a:gd name="connsiteY1424" fmla="*/ 2843666 h 6689084"/>
              <a:gd name="connsiteX1425" fmla="*/ 2768877 w 6689088"/>
              <a:gd name="connsiteY1425" fmla="*/ 2843304 h 6689084"/>
              <a:gd name="connsiteX1426" fmla="*/ 2769601 w 6689088"/>
              <a:gd name="connsiteY1426" fmla="*/ 2844032 h 6689084"/>
              <a:gd name="connsiteX1427" fmla="*/ 2768877 w 6689088"/>
              <a:gd name="connsiteY1427" fmla="*/ 2844756 h 6689084"/>
              <a:gd name="connsiteX1428" fmla="*/ 2768149 w 6689088"/>
              <a:gd name="connsiteY1428" fmla="*/ 2844032 h 6689084"/>
              <a:gd name="connsiteX1429" fmla="*/ 2768877 w 6689088"/>
              <a:gd name="connsiteY1429" fmla="*/ 2843304 h 6689084"/>
              <a:gd name="connsiteX1430" fmla="*/ 3691467 w 6689088"/>
              <a:gd name="connsiteY1430" fmla="*/ 2842580 h 6689084"/>
              <a:gd name="connsiteX1431" fmla="*/ 3692919 w 6689088"/>
              <a:gd name="connsiteY1431" fmla="*/ 2844032 h 6689084"/>
              <a:gd name="connsiteX1432" fmla="*/ 3691467 w 6689088"/>
              <a:gd name="connsiteY1432" fmla="*/ 2845485 h 6689084"/>
              <a:gd name="connsiteX1433" fmla="*/ 3690014 w 6689088"/>
              <a:gd name="connsiteY1433" fmla="*/ 2844032 h 6689084"/>
              <a:gd name="connsiteX1434" fmla="*/ 3691467 w 6689088"/>
              <a:gd name="connsiteY1434" fmla="*/ 2842580 h 6689084"/>
              <a:gd name="connsiteX1435" fmla="*/ 3845418 w 6689088"/>
              <a:gd name="connsiteY1435" fmla="*/ 2841852 h 6689084"/>
              <a:gd name="connsiteX1436" fmla="*/ 3847595 w 6689088"/>
              <a:gd name="connsiteY1436" fmla="*/ 2844032 h 6689084"/>
              <a:gd name="connsiteX1437" fmla="*/ 3845418 w 6689088"/>
              <a:gd name="connsiteY1437" fmla="*/ 2846209 h 6689084"/>
              <a:gd name="connsiteX1438" fmla="*/ 3843238 w 6689088"/>
              <a:gd name="connsiteY1438" fmla="*/ 2844032 h 6689084"/>
              <a:gd name="connsiteX1439" fmla="*/ 3845418 w 6689088"/>
              <a:gd name="connsiteY1439" fmla="*/ 2841852 h 6689084"/>
              <a:gd name="connsiteX1440" fmla="*/ 3999000 w 6689088"/>
              <a:gd name="connsiteY1440" fmla="*/ 2840761 h 6689084"/>
              <a:gd name="connsiteX1441" fmla="*/ 4002270 w 6689088"/>
              <a:gd name="connsiteY1441" fmla="*/ 2844028 h 6689084"/>
              <a:gd name="connsiteX1442" fmla="*/ 3999000 w 6689088"/>
              <a:gd name="connsiteY1442" fmla="*/ 2847299 h 6689084"/>
              <a:gd name="connsiteX1443" fmla="*/ 3995733 w 6689088"/>
              <a:gd name="connsiteY1443" fmla="*/ 2844028 h 6689084"/>
              <a:gd name="connsiteX1444" fmla="*/ 3999000 w 6689088"/>
              <a:gd name="connsiteY1444" fmla="*/ 2840761 h 6689084"/>
              <a:gd name="connsiteX1445" fmla="*/ 4152947 w 6689088"/>
              <a:gd name="connsiteY1445" fmla="*/ 2839309 h 6689084"/>
              <a:gd name="connsiteX1446" fmla="*/ 4157304 w 6689088"/>
              <a:gd name="connsiteY1446" fmla="*/ 2843666 h 6689084"/>
              <a:gd name="connsiteX1447" fmla="*/ 4152947 w 6689088"/>
              <a:gd name="connsiteY1447" fmla="*/ 2848023 h 6689084"/>
              <a:gd name="connsiteX1448" fmla="*/ 4148590 w 6689088"/>
              <a:gd name="connsiteY1448" fmla="*/ 2843666 h 6689084"/>
              <a:gd name="connsiteX1449" fmla="*/ 4152947 w 6689088"/>
              <a:gd name="connsiteY1449" fmla="*/ 2839309 h 6689084"/>
              <a:gd name="connsiteX1450" fmla="*/ 4306532 w 6689088"/>
              <a:gd name="connsiteY1450" fmla="*/ 2838223 h 6689084"/>
              <a:gd name="connsiteX1451" fmla="*/ 4312342 w 6689088"/>
              <a:gd name="connsiteY1451" fmla="*/ 2844032 h 6689084"/>
              <a:gd name="connsiteX1452" fmla="*/ 4306532 w 6689088"/>
              <a:gd name="connsiteY1452" fmla="*/ 2849841 h 6689084"/>
              <a:gd name="connsiteX1453" fmla="*/ 4300723 w 6689088"/>
              <a:gd name="connsiteY1453" fmla="*/ 2844032 h 6689084"/>
              <a:gd name="connsiteX1454" fmla="*/ 4306532 w 6689088"/>
              <a:gd name="connsiteY1454" fmla="*/ 2838223 h 6689084"/>
              <a:gd name="connsiteX1455" fmla="*/ 4460480 w 6689088"/>
              <a:gd name="connsiteY1455" fmla="*/ 2836770 h 6689084"/>
              <a:gd name="connsiteX1456" fmla="*/ 4467742 w 6689088"/>
              <a:gd name="connsiteY1456" fmla="*/ 2844032 h 6689084"/>
              <a:gd name="connsiteX1457" fmla="*/ 4460480 w 6689088"/>
              <a:gd name="connsiteY1457" fmla="*/ 2851294 h 6689084"/>
              <a:gd name="connsiteX1458" fmla="*/ 4453218 w 6689088"/>
              <a:gd name="connsiteY1458" fmla="*/ 2844032 h 6689084"/>
              <a:gd name="connsiteX1459" fmla="*/ 4460480 w 6689088"/>
              <a:gd name="connsiteY1459" fmla="*/ 2836770 h 6689084"/>
              <a:gd name="connsiteX1460" fmla="*/ 4614061 w 6689088"/>
              <a:gd name="connsiteY1460" fmla="*/ 2834590 h 6689084"/>
              <a:gd name="connsiteX1461" fmla="*/ 4623141 w 6689088"/>
              <a:gd name="connsiteY1461" fmla="*/ 2843666 h 6689084"/>
              <a:gd name="connsiteX1462" fmla="*/ 4614061 w 6689088"/>
              <a:gd name="connsiteY1462" fmla="*/ 2852746 h 6689084"/>
              <a:gd name="connsiteX1463" fmla="*/ 4604985 w 6689088"/>
              <a:gd name="connsiteY1463" fmla="*/ 2843666 h 6689084"/>
              <a:gd name="connsiteX1464" fmla="*/ 4614061 w 6689088"/>
              <a:gd name="connsiteY1464" fmla="*/ 2834590 h 6689084"/>
              <a:gd name="connsiteX1465" fmla="*/ 4768012 w 6689088"/>
              <a:gd name="connsiteY1465" fmla="*/ 2833866 h 6689084"/>
              <a:gd name="connsiteX1466" fmla="*/ 4778178 w 6689088"/>
              <a:gd name="connsiteY1466" fmla="*/ 2844032 h 6689084"/>
              <a:gd name="connsiteX1467" fmla="*/ 4768012 w 6689088"/>
              <a:gd name="connsiteY1467" fmla="*/ 2854198 h 6689084"/>
              <a:gd name="connsiteX1468" fmla="*/ 4757846 w 6689088"/>
              <a:gd name="connsiteY1468" fmla="*/ 2844032 h 6689084"/>
              <a:gd name="connsiteX1469" fmla="*/ 4768012 w 6689088"/>
              <a:gd name="connsiteY1469" fmla="*/ 2833866 h 6689084"/>
              <a:gd name="connsiteX1470" fmla="*/ 4921594 w 6689088"/>
              <a:gd name="connsiteY1470" fmla="*/ 2831685 h 6689084"/>
              <a:gd name="connsiteX1471" fmla="*/ 4933578 w 6689088"/>
              <a:gd name="connsiteY1471" fmla="*/ 2843666 h 6689084"/>
              <a:gd name="connsiteX1472" fmla="*/ 4921594 w 6689088"/>
              <a:gd name="connsiteY1472" fmla="*/ 2855651 h 6689084"/>
              <a:gd name="connsiteX1473" fmla="*/ 4909613 w 6689088"/>
              <a:gd name="connsiteY1473" fmla="*/ 2843666 h 6689084"/>
              <a:gd name="connsiteX1474" fmla="*/ 4921594 w 6689088"/>
              <a:gd name="connsiteY1474" fmla="*/ 2831685 h 6689084"/>
              <a:gd name="connsiteX1475" fmla="*/ 5075545 w 6689088"/>
              <a:gd name="connsiteY1475" fmla="*/ 2829871 h 6689084"/>
              <a:gd name="connsiteX1476" fmla="*/ 5089340 w 6689088"/>
              <a:gd name="connsiteY1476" fmla="*/ 2843666 h 6689084"/>
              <a:gd name="connsiteX1477" fmla="*/ 5075545 w 6689088"/>
              <a:gd name="connsiteY1477" fmla="*/ 2857465 h 6689084"/>
              <a:gd name="connsiteX1478" fmla="*/ 5061746 w 6689088"/>
              <a:gd name="connsiteY1478" fmla="*/ 2843666 h 6689084"/>
              <a:gd name="connsiteX1479" fmla="*/ 5075545 w 6689088"/>
              <a:gd name="connsiteY1479" fmla="*/ 2829871 h 6689084"/>
              <a:gd name="connsiteX1480" fmla="*/ 5229126 w 6689088"/>
              <a:gd name="connsiteY1480" fmla="*/ 2828781 h 6689084"/>
              <a:gd name="connsiteX1481" fmla="*/ 5244378 w 6689088"/>
              <a:gd name="connsiteY1481" fmla="*/ 2844032 h 6689084"/>
              <a:gd name="connsiteX1482" fmla="*/ 5229126 w 6689088"/>
              <a:gd name="connsiteY1482" fmla="*/ 2859280 h 6689084"/>
              <a:gd name="connsiteX1483" fmla="*/ 5213879 w 6689088"/>
              <a:gd name="connsiteY1483" fmla="*/ 2844032 h 6689084"/>
              <a:gd name="connsiteX1484" fmla="*/ 5229126 w 6689088"/>
              <a:gd name="connsiteY1484" fmla="*/ 2828781 h 6689084"/>
              <a:gd name="connsiteX1485" fmla="*/ 5383074 w 6689088"/>
              <a:gd name="connsiteY1485" fmla="*/ 2826966 h 6689084"/>
              <a:gd name="connsiteX1486" fmla="*/ 5400140 w 6689088"/>
              <a:gd name="connsiteY1486" fmla="*/ 2844032 h 6689084"/>
              <a:gd name="connsiteX1487" fmla="*/ 5383074 w 6689088"/>
              <a:gd name="connsiteY1487" fmla="*/ 2861098 h 6689084"/>
              <a:gd name="connsiteX1488" fmla="*/ 5366008 w 6689088"/>
              <a:gd name="connsiteY1488" fmla="*/ 2844032 h 6689084"/>
              <a:gd name="connsiteX1489" fmla="*/ 5383074 w 6689088"/>
              <a:gd name="connsiteY1489" fmla="*/ 2826966 h 6689084"/>
              <a:gd name="connsiteX1490" fmla="*/ 5536659 w 6689088"/>
              <a:gd name="connsiteY1490" fmla="*/ 2824790 h 6689084"/>
              <a:gd name="connsiteX1491" fmla="*/ 5555902 w 6689088"/>
              <a:gd name="connsiteY1491" fmla="*/ 2844032 h 6689084"/>
              <a:gd name="connsiteX1492" fmla="*/ 5536659 w 6689088"/>
              <a:gd name="connsiteY1492" fmla="*/ 2863279 h 6689084"/>
              <a:gd name="connsiteX1493" fmla="*/ 5517413 w 6689088"/>
              <a:gd name="connsiteY1493" fmla="*/ 2844032 h 6689084"/>
              <a:gd name="connsiteX1494" fmla="*/ 5536659 w 6689088"/>
              <a:gd name="connsiteY1494" fmla="*/ 2824790 h 6689084"/>
              <a:gd name="connsiteX1495" fmla="*/ 5690602 w 6689088"/>
              <a:gd name="connsiteY1495" fmla="*/ 2822609 h 6689084"/>
              <a:gd name="connsiteX1496" fmla="*/ 5712026 w 6689088"/>
              <a:gd name="connsiteY1496" fmla="*/ 2844032 h 6689084"/>
              <a:gd name="connsiteX1497" fmla="*/ 5690602 w 6689088"/>
              <a:gd name="connsiteY1497" fmla="*/ 2865451 h 6689084"/>
              <a:gd name="connsiteX1498" fmla="*/ 5669180 w 6689088"/>
              <a:gd name="connsiteY1498" fmla="*/ 2844032 h 6689084"/>
              <a:gd name="connsiteX1499" fmla="*/ 5690602 w 6689088"/>
              <a:gd name="connsiteY1499" fmla="*/ 2822609 h 6689084"/>
              <a:gd name="connsiteX1500" fmla="*/ 5844554 w 6689088"/>
              <a:gd name="connsiteY1500" fmla="*/ 2821157 h 6689084"/>
              <a:gd name="connsiteX1501" fmla="*/ 5867429 w 6689088"/>
              <a:gd name="connsiteY1501" fmla="*/ 2844032 h 6689084"/>
              <a:gd name="connsiteX1502" fmla="*/ 5844554 w 6689088"/>
              <a:gd name="connsiteY1502" fmla="*/ 2866903 h 6689084"/>
              <a:gd name="connsiteX1503" fmla="*/ 5821678 w 6689088"/>
              <a:gd name="connsiteY1503" fmla="*/ 2844032 h 6689084"/>
              <a:gd name="connsiteX1504" fmla="*/ 5844554 w 6689088"/>
              <a:gd name="connsiteY1504" fmla="*/ 2821157 h 6689084"/>
              <a:gd name="connsiteX1505" fmla="*/ 5998136 w 6689088"/>
              <a:gd name="connsiteY1505" fmla="*/ 2818980 h 6689084"/>
              <a:gd name="connsiteX1506" fmla="*/ 6023187 w 6689088"/>
              <a:gd name="connsiteY1506" fmla="*/ 2844032 h 6689084"/>
              <a:gd name="connsiteX1507" fmla="*/ 5998136 w 6689088"/>
              <a:gd name="connsiteY1507" fmla="*/ 2869088 h 6689084"/>
              <a:gd name="connsiteX1508" fmla="*/ 5973084 w 6689088"/>
              <a:gd name="connsiteY1508" fmla="*/ 2844032 h 6689084"/>
              <a:gd name="connsiteX1509" fmla="*/ 5998136 w 6689088"/>
              <a:gd name="connsiteY1509" fmla="*/ 2818980 h 6689084"/>
              <a:gd name="connsiteX1510" fmla="*/ 6152086 w 6689088"/>
              <a:gd name="connsiteY1510" fmla="*/ 2816800 h 6689084"/>
              <a:gd name="connsiteX1511" fmla="*/ 6179315 w 6689088"/>
              <a:gd name="connsiteY1511" fmla="*/ 2844032 h 6689084"/>
              <a:gd name="connsiteX1512" fmla="*/ 6152086 w 6689088"/>
              <a:gd name="connsiteY1512" fmla="*/ 2871264 h 6689084"/>
              <a:gd name="connsiteX1513" fmla="*/ 6124854 w 6689088"/>
              <a:gd name="connsiteY1513" fmla="*/ 2844032 h 6689084"/>
              <a:gd name="connsiteX1514" fmla="*/ 6152086 w 6689088"/>
              <a:gd name="connsiteY1514" fmla="*/ 2816800 h 6689084"/>
              <a:gd name="connsiteX1515" fmla="*/ 6305672 w 6689088"/>
              <a:gd name="connsiteY1515" fmla="*/ 2814257 h 6689084"/>
              <a:gd name="connsiteX1516" fmla="*/ 6335443 w 6689088"/>
              <a:gd name="connsiteY1516" fmla="*/ 2844032 h 6689084"/>
              <a:gd name="connsiteX1517" fmla="*/ 6305672 w 6689088"/>
              <a:gd name="connsiteY1517" fmla="*/ 2873803 h 6689084"/>
              <a:gd name="connsiteX1518" fmla="*/ 6275897 w 6689088"/>
              <a:gd name="connsiteY1518" fmla="*/ 2844032 h 6689084"/>
              <a:gd name="connsiteX1519" fmla="*/ 6305672 w 6689088"/>
              <a:gd name="connsiteY1519" fmla="*/ 2814257 h 6689084"/>
              <a:gd name="connsiteX1520" fmla="*/ 6459616 w 6689088"/>
              <a:gd name="connsiteY1520" fmla="*/ 2812081 h 6689084"/>
              <a:gd name="connsiteX1521" fmla="*/ 6491567 w 6689088"/>
              <a:gd name="connsiteY1521" fmla="*/ 2844032 h 6689084"/>
              <a:gd name="connsiteX1522" fmla="*/ 6459616 w 6689088"/>
              <a:gd name="connsiteY1522" fmla="*/ 2875983 h 6689084"/>
              <a:gd name="connsiteX1523" fmla="*/ 6427664 w 6689088"/>
              <a:gd name="connsiteY1523" fmla="*/ 2844032 h 6689084"/>
              <a:gd name="connsiteX1524" fmla="*/ 6459616 w 6689088"/>
              <a:gd name="connsiteY1524" fmla="*/ 2812081 h 6689084"/>
              <a:gd name="connsiteX1525" fmla="*/ 6613200 w 6689088"/>
              <a:gd name="connsiteY1525" fmla="*/ 2810266 h 6689084"/>
              <a:gd name="connsiteX1526" fmla="*/ 6646966 w 6689088"/>
              <a:gd name="connsiteY1526" fmla="*/ 2844032 h 6689084"/>
              <a:gd name="connsiteX1527" fmla="*/ 6613200 w 6689088"/>
              <a:gd name="connsiteY1527" fmla="*/ 2877802 h 6689084"/>
              <a:gd name="connsiteX1528" fmla="*/ 6579435 w 6689088"/>
              <a:gd name="connsiteY1528" fmla="*/ 2844032 h 6689084"/>
              <a:gd name="connsiteX1529" fmla="*/ 6613200 w 6689088"/>
              <a:gd name="connsiteY1529" fmla="*/ 2810266 h 6689084"/>
              <a:gd name="connsiteX1530" fmla="*/ 3383934 w 6689088"/>
              <a:gd name="connsiteY1530" fmla="*/ 2689722 h 6689084"/>
              <a:gd name="connsiteX1531" fmla="*/ 3384296 w 6689088"/>
              <a:gd name="connsiteY1531" fmla="*/ 2690085 h 6689084"/>
              <a:gd name="connsiteX1532" fmla="*/ 3383934 w 6689088"/>
              <a:gd name="connsiteY1532" fmla="*/ 2690447 h 6689084"/>
              <a:gd name="connsiteX1533" fmla="*/ 3383572 w 6689088"/>
              <a:gd name="connsiteY1533" fmla="*/ 2690085 h 6689084"/>
              <a:gd name="connsiteX1534" fmla="*/ 3383934 w 6689088"/>
              <a:gd name="connsiteY1534" fmla="*/ 2689722 h 6689084"/>
              <a:gd name="connsiteX1535" fmla="*/ 2922458 w 6689088"/>
              <a:gd name="connsiteY1535" fmla="*/ 2689722 h 6689084"/>
              <a:gd name="connsiteX1536" fmla="*/ 2922820 w 6689088"/>
              <a:gd name="connsiteY1536" fmla="*/ 2690085 h 6689084"/>
              <a:gd name="connsiteX1537" fmla="*/ 2922458 w 6689088"/>
              <a:gd name="connsiteY1537" fmla="*/ 2690447 h 6689084"/>
              <a:gd name="connsiteX1538" fmla="*/ 2922096 w 6689088"/>
              <a:gd name="connsiteY1538" fmla="*/ 2690085 h 6689084"/>
              <a:gd name="connsiteX1539" fmla="*/ 2922458 w 6689088"/>
              <a:gd name="connsiteY1539" fmla="*/ 2689722 h 6689084"/>
              <a:gd name="connsiteX1540" fmla="*/ 2768873 w 6689088"/>
              <a:gd name="connsiteY1540" fmla="*/ 2689722 h 6689084"/>
              <a:gd name="connsiteX1541" fmla="*/ 2769235 w 6689088"/>
              <a:gd name="connsiteY1541" fmla="*/ 2690085 h 6689084"/>
              <a:gd name="connsiteX1542" fmla="*/ 2768873 w 6689088"/>
              <a:gd name="connsiteY1542" fmla="*/ 2690447 h 6689084"/>
              <a:gd name="connsiteX1543" fmla="*/ 2768511 w 6689088"/>
              <a:gd name="connsiteY1543" fmla="*/ 2690085 h 6689084"/>
              <a:gd name="connsiteX1544" fmla="*/ 2768873 w 6689088"/>
              <a:gd name="connsiteY1544" fmla="*/ 2689722 h 6689084"/>
              <a:gd name="connsiteX1545" fmla="*/ 2614925 w 6689088"/>
              <a:gd name="connsiteY1545" fmla="*/ 2689357 h 6689084"/>
              <a:gd name="connsiteX1546" fmla="*/ 2615654 w 6689088"/>
              <a:gd name="connsiteY1546" fmla="*/ 2690081 h 6689084"/>
              <a:gd name="connsiteX1547" fmla="*/ 2614925 w 6689088"/>
              <a:gd name="connsiteY1547" fmla="*/ 2690809 h 6689084"/>
              <a:gd name="connsiteX1548" fmla="*/ 2614201 w 6689088"/>
              <a:gd name="connsiteY1548" fmla="*/ 2690081 h 6689084"/>
              <a:gd name="connsiteX1549" fmla="*/ 2614925 w 6689088"/>
              <a:gd name="connsiteY1549" fmla="*/ 2689357 h 6689084"/>
              <a:gd name="connsiteX1550" fmla="*/ 3537886 w 6689088"/>
              <a:gd name="connsiteY1550" fmla="*/ 2688633 h 6689084"/>
              <a:gd name="connsiteX1551" fmla="*/ 3539338 w 6689088"/>
              <a:gd name="connsiteY1551" fmla="*/ 2690085 h 6689084"/>
              <a:gd name="connsiteX1552" fmla="*/ 3537886 w 6689088"/>
              <a:gd name="connsiteY1552" fmla="*/ 2691537 h 6689084"/>
              <a:gd name="connsiteX1553" fmla="*/ 3536433 w 6689088"/>
              <a:gd name="connsiteY1553" fmla="*/ 2690085 h 6689084"/>
              <a:gd name="connsiteX1554" fmla="*/ 3537886 w 6689088"/>
              <a:gd name="connsiteY1554" fmla="*/ 2688633 h 6689084"/>
              <a:gd name="connsiteX1555" fmla="*/ 3691471 w 6689088"/>
              <a:gd name="connsiteY1555" fmla="*/ 2687904 h 6689084"/>
              <a:gd name="connsiteX1556" fmla="*/ 3693647 w 6689088"/>
              <a:gd name="connsiteY1556" fmla="*/ 2690081 h 6689084"/>
              <a:gd name="connsiteX1557" fmla="*/ 3691471 w 6689088"/>
              <a:gd name="connsiteY1557" fmla="*/ 2692261 h 6689084"/>
              <a:gd name="connsiteX1558" fmla="*/ 3689290 w 6689088"/>
              <a:gd name="connsiteY1558" fmla="*/ 2690081 h 6689084"/>
              <a:gd name="connsiteX1559" fmla="*/ 3691471 w 6689088"/>
              <a:gd name="connsiteY1559" fmla="*/ 2687904 h 6689084"/>
              <a:gd name="connsiteX1560" fmla="*/ 3845414 w 6689088"/>
              <a:gd name="connsiteY1560" fmla="*/ 2686818 h 6689084"/>
              <a:gd name="connsiteX1561" fmla="*/ 3848681 w 6689088"/>
              <a:gd name="connsiteY1561" fmla="*/ 2690085 h 6689084"/>
              <a:gd name="connsiteX1562" fmla="*/ 3845414 w 6689088"/>
              <a:gd name="connsiteY1562" fmla="*/ 2693355 h 6689084"/>
              <a:gd name="connsiteX1563" fmla="*/ 3842148 w 6689088"/>
              <a:gd name="connsiteY1563" fmla="*/ 2690085 h 6689084"/>
              <a:gd name="connsiteX1564" fmla="*/ 3845414 w 6689088"/>
              <a:gd name="connsiteY1564" fmla="*/ 2686818 h 6689084"/>
              <a:gd name="connsiteX1565" fmla="*/ 3999000 w 6689088"/>
              <a:gd name="connsiteY1565" fmla="*/ 2685728 h 6689084"/>
              <a:gd name="connsiteX1566" fmla="*/ 4003356 w 6689088"/>
              <a:gd name="connsiteY1566" fmla="*/ 2690085 h 6689084"/>
              <a:gd name="connsiteX1567" fmla="*/ 3999000 w 6689088"/>
              <a:gd name="connsiteY1567" fmla="*/ 2694442 h 6689084"/>
              <a:gd name="connsiteX1568" fmla="*/ 3994642 w 6689088"/>
              <a:gd name="connsiteY1568" fmla="*/ 2690085 h 6689084"/>
              <a:gd name="connsiteX1569" fmla="*/ 3999000 w 6689088"/>
              <a:gd name="connsiteY1569" fmla="*/ 2685728 h 6689084"/>
              <a:gd name="connsiteX1570" fmla="*/ 4152947 w 6689088"/>
              <a:gd name="connsiteY1570" fmla="*/ 2684275 h 6689084"/>
              <a:gd name="connsiteX1571" fmla="*/ 4158756 w 6689088"/>
              <a:gd name="connsiteY1571" fmla="*/ 2690085 h 6689084"/>
              <a:gd name="connsiteX1572" fmla="*/ 4152947 w 6689088"/>
              <a:gd name="connsiteY1572" fmla="*/ 2695894 h 6689084"/>
              <a:gd name="connsiteX1573" fmla="*/ 4147138 w 6689088"/>
              <a:gd name="connsiteY1573" fmla="*/ 2690085 h 6689084"/>
              <a:gd name="connsiteX1574" fmla="*/ 4152947 w 6689088"/>
              <a:gd name="connsiteY1574" fmla="*/ 2684275 h 6689084"/>
              <a:gd name="connsiteX1575" fmla="*/ 4306532 w 6689088"/>
              <a:gd name="connsiteY1575" fmla="*/ 2682823 h 6689084"/>
              <a:gd name="connsiteX1576" fmla="*/ 4313794 w 6689088"/>
              <a:gd name="connsiteY1576" fmla="*/ 2690085 h 6689084"/>
              <a:gd name="connsiteX1577" fmla="*/ 4306532 w 6689088"/>
              <a:gd name="connsiteY1577" fmla="*/ 2697346 h 6689084"/>
              <a:gd name="connsiteX1578" fmla="*/ 4299270 w 6689088"/>
              <a:gd name="connsiteY1578" fmla="*/ 2690085 h 6689084"/>
              <a:gd name="connsiteX1579" fmla="*/ 4306532 w 6689088"/>
              <a:gd name="connsiteY1579" fmla="*/ 2682823 h 6689084"/>
              <a:gd name="connsiteX1580" fmla="*/ 4460480 w 6689088"/>
              <a:gd name="connsiteY1580" fmla="*/ 2681005 h 6689084"/>
              <a:gd name="connsiteX1581" fmla="*/ 4469560 w 6689088"/>
              <a:gd name="connsiteY1581" fmla="*/ 2690081 h 6689084"/>
              <a:gd name="connsiteX1582" fmla="*/ 4460480 w 6689088"/>
              <a:gd name="connsiteY1582" fmla="*/ 2699161 h 6689084"/>
              <a:gd name="connsiteX1583" fmla="*/ 4451404 w 6689088"/>
              <a:gd name="connsiteY1583" fmla="*/ 2690081 h 6689084"/>
              <a:gd name="connsiteX1584" fmla="*/ 4460480 w 6689088"/>
              <a:gd name="connsiteY1584" fmla="*/ 2681005 h 6689084"/>
              <a:gd name="connsiteX1585" fmla="*/ 4614061 w 6689088"/>
              <a:gd name="connsiteY1585" fmla="*/ 2679918 h 6689084"/>
              <a:gd name="connsiteX1586" fmla="*/ 4624228 w 6689088"/>
              <a:gd name="connsiteY1586" fmla="*/ 2690085 h 6689084"/>
              <a:gd name="connsiteX1587" fmla="*/ 4614061 w 6689088"/>
              <a:gd name="connsiteY1587" fmla="*/ 2700251 h 6689084"/>
              <a:gd name="connsiteX1588" fmla="*/ 4603895 w 6689088"/>
              <a:gd name="connsiteY1588" fmla="*/ 2690085 h 6689084"/>
              <a:gd name="connsiteX1589" fmla="*/ 4614061 w 6689088"/>
              <a:gd name="connsiteY1589" fmla="*/ 2679918 h 6689084"/>
              <a:gd name="connsiteX1590" fmla="*/ 4768008 w 6689088"/>
              <a:gd name="connsiteY1590" fmla="*/ 2678104 h 6689084"/>
              <a:gd name="connsiteX1591" fmla="*/ 4779993 w 6689088"/>
              <a:gd name="connsiteY1591" fmla="*/ 2690085 h 6689084"/>
              <a:gd name="connsiteX1592" fmla="*/ 4768008 w 6689088"/>
              <a:gd name="connsiteY1592" fmla="*/ 2702065 h 6689084"/>
              <a:gd name="connsiteX1593" fmla="*/ 4756028 w 6689088"/>
              <a:gd name="connsiteY1593" fmla="*/ 2690085 h 6689084"/>
              <a:gd name="connsiteX1594" fmla="*/ 4768008 w 6689088"/>
              <a:gd name="connsiteY1594" fmla="*/ 2678104 h 6689084"/>
              <a:gd name="connsiteX1595" fmla="*/ 4921598 w 6689088"/>
              <a:gd name="connsiteY1595" fmla="*/ 2676286 h 6689084"/>
              <a:gd name="connsiteX1596" fmla="*/ 4935393 w 6689088"/>
              <a:gd name="connsiteY1596" fmla="*/ 2690081 h 6689084"/>
              <a:gd name="connsiteX1597" fmla="*/ 4921598 w 6689088"/>
              <a:gd name="connsiteY1597" fmla="*/ 2703880 h 6689084"/>
              <a:gd name="connsiteX1598" fmla="*/ 4907798 w 6689088"/>
              <a:gd name="connsiteY1598" fmla="*/ 2690081 h 6689084"/>
              <a:gd name="connsiteX1599" fmla="*/ 4921598 w 6689088"/>
              <a:gd name="connsiteY1599" fmla="*/ 2676286 h 6689084"/>
              <a:gd name="connsiteX1600" fmla="*/ 5075545 w 6689088"/>
              <a:gd name="connsiteY1600" fmla="*/ 2674833 h 6689084"/>
              <a:gd name="connsiteX1601" fmla="*/ 5090792 w 6689088"/>
              <a:gd name="connsiteY1601" fmla="*/ 2690081 h 6689084"/>
              <a:gd name="connsiteX1602" fmla="*/ 5075545 w 6689088"/>
              <a:gd name="connsiteY1602" fmla="*/ 2705332 h 6689084"/>
              <a:gd name="connsiteX1603" fmla="*/ 5060294 w 6689088"/>
              <a:gd name="connsiteY1603" fmla="*/ 2690081 h 6689084"/>
              <a:gd name="connsiteX1604" fmla="*/ 5075545 w 6689088"/>
              <a:gd name="connsiteY1604" fmla="*/ 2674833 h 6689084"/>
              <a:gd name="connsiteX1605" fmla="*/ 5229126 w 6689088"/>
              <a:gd name="connsiteY1605" fmla="*/ 2673019 h 6689084"/>
              <a:gd name="connsiteX1606" fmla="*/ 5246192 w 6689088"/>
              <a:gd name="connsiteY1606" fmla="*/ 2690085 h 6689084"/>
              <a:gd name="connsiteX1607" fmla="*/ 5229126 w 6689088"/>
              <a:gd name="connsiteY1607" fmla="*/ 2707147 h 6689084"/>
              <a:gd name="connsiteX1608" fmla="*/ 5212060 w 6689088"/>
              <a:gd name="connsiteY1608" fmla="*/ 2690085 h 6689084"/>
              <a:gd name="connsiteX1609" fmla="*/ 5229126 w 6689088"/>
              <a:gd name="connsiteY1609" fmla="*/ 2673019 h 6689084"/>
              <a:gd name="connsiteX1610" fmla="*/ 5383074 w 6689088"/>
              <a:gd name="connsiteY1610" fmla="*/ 2670842 h 6689084"/>
              <a:gd name="connsiteX1611" fmla="*/ 5402320 w 6689088"/>
              <a:gd name="connsiteY1611" fmla="*/ 2690085 h 6689084"/>
              <a:gd name="connsiteX1612" fmla="*/ 5383074 w 6689088"/>
              <a:gd name="connsiteY1612" fmla="*/ 2709327 h 6689084"/>
              <a:gd name="connsiteX1613" fmla="*/ 5363832 w 6689088"/>
              <a:gd name="connsiteY1613" fmla="*/ 2690085 h 6689084"/>
              <a:gd name="connsiteX1614" fmla="*/ 5383074 w 6689088"/>
              <a:gd name="connsiteY1614" fmla="*/ 2670842 h 6689084"/>
              <a:gd name="connsiteX1615" fmla="*/ 5536656 w 6689088"/>
              <a:gd name="connsiteY1615" fmla="*/ 2668662 h 6689084"/>
              <a:gd name="connsiteX1616" fmla="*/ 5558078 w 6689088"/>
              <a:gd name="connsiteY1616" fmla="*/ 2690085 h 6689084"/>
              <a:gd name="connsiteX1617" fmla="*/ 5536656 w 6689088"/>
              <a:gd name="connsiteY1617" fmla="*/ 2711504 h 6689084"/>
              <a:gd name="connsiteX1618" fmla="*/ 5515232 w 6689088"/>
              <a:gd name="connsiteY1618" fmla="*/ 2690085 h 6689084"/>
              <a:gd name="connsiteX1619" fmla="*/ 5536656 w 6689088"/>
              <a:gd name="connsiteY1619" fmla="*/ 2668662 h 6689084"/>
              <a:gd name="connsiteX1620" fmla="*/ 5690606 w 6689088"/>
              <a:gd name="connsiteY1620" fmla="*/ 2667209 h 6689084"/>
              <a:gd name="connsiteX1621" fmla="*/ 5713482 w 6689088"/>
              <a:gd name="connsiteY1621" fmla="*/ 2690085 h 6689084"/>
              <a:gd name="connsiteX1622" fmla="*/ 5690606 w 6689088"/>
              <a:gd name="connsiteY1622" fmla="*/ 2712956 h 6689084"/>
              <a:gd name="connsiteX1623" fmla="*/ 5667732 w 6689088"/>
              <a:gd name="connsiteY1623" fmla="*/ 2690085 h 6689084"/>
              <a:gd name="connsiteX1624" fmla="*/ 5690606 w 6689088"/>
              <a:gd name="connsiteY1624" fmla="*/ 2667209 h 6689084"/>
              <a:gd name="connsiteX1625" fmla="*/ 5844550 w 6689088"/>
              <a:gd name="connsiteY1625" fmla="*/ 2665033 h 6689084"/>
              <a:gd name="connsiteX1626" fmla="*/ 5869606 w 6689088"/>
              <a:gd name="connsiteY1626" fmla="*/ 2690085 h 6689084"/>
              <a:gd name="connsiteX1627" fmla="*/ 5844550 w 6689088"/>
              <a:gd name="connsiteY1627" fmla="*/ 2715136 h 6689084"/>
              <a:gd name="connsiteX1628" fmla="*/ 5819498 w 6689088"/>
              <a:gd name="connsiteY1628" fmla="*/ 2690085 h 6689084"/>
              <a:gd name="connsiteX1629" fmla="*/ 5844550 w 6689088"/>
              <a:gd name="connsiteY1629" fmla="*/ 2665033 h 6689084"/>
              <a:gd name="connsiteX1630" fmla="*/ 5998139 w 6689088"/>
              <a:gd name="connsiteY1630" fmla="*/ 2662852 h 6689084"/>
              <a:gd name="connsiteX1631" fmla="*/ 6025372 w 6689088"/>
              <a:gd name="connsiteY1631" fmla="*/ 2690085 h 6689084"/>
              <a:gd name="connsiteX1632" fmla="*/ 5998139 w 6689088"/>
              <a:gd name="connsiteY1632" fmla="*/ 2717317 h 6689084"/>
              <a:gd name="connsiteX1633" fmla="*/ 5970907 w 6689088"/>
              <a:gd name="connsiteY1633" fmla="*/ 2690085 h 6689084"/>
              <a:gd name="connsiteX1634" fmla="*/ 5998139 w 6689088"/>
              <a:gd name="connsiteY1634" fmla="*/ 2662852 h 6689084"/>
              <a:gd name="connsiteX1635" fmla="*/ 6152083 w 6689088"/>
              <a:gd name="connsiteY1635" fmla="*/ 2660310 h 6689084"/>
              <a:gd name="connsiteX1636" fmla="*/ 6181858 w 6689088"/>
              <a:gd name="connsiteY1636" fmla="*/ 2690081 h 6689084"/>
              <a:gd name="connsiteX1637" fmla="*/ 6152083 w 6689088"/>
              <a:gd name="connsiteY1637" fmla="*/ 2719856 h 6689084"/>
              <a:gd name="connsiteX1638" fmla="*/ 6122312 w 6689088"/>
              <a:gd name="connsiteY1638" fmla="*/ 2690081 h 6689084"/>
              <a:gd name="connsiteX1639" fmla="*/ 6152083 w 6689088"/>
              <a:gd name="connsiteY1639" fmla="*/ 2660310 h 6689084"/>
              <a:gd name="connsiteX1640" fmla="*/ 6305668 w 6689088"/>
              <a:gd name="connsiteY1640" fmla="*/ 2658133 h 6689084"/>
              <a:gd name="connsiteX1641" fmla="*/ 6337620 w 6689088"/>
              <a:gd name="connsiteY1641" fmla="*/ 2690085 h 6689084"/>
              <a:gd name="connsiteX1642" fmla="*/ 6305668 w 6689088"/>
              <a:gd name="connsiteY1642" fmla="*/ 2722036 h 6689084"/>
              <a:gd name="connsiteX1643" fmla="*/ 6273716 w 6689088"/>
              <a:gd name="connsiteY1643" fmla="*/ 2690085 h 6689084"/>
              <a:gd name="connsiteX1644" fmla="*/ 6305668 w 6689088"/>
              <a:gd name="connsiteY1644" fmla="*/ 2658133 h 6689084"/>
              <a:gd name="connsiteX1645" fmla="*/ 6459616 w 6689088"/>
              <a:gd name="connsiteY1645" fmla="*/ 2656319 h 6689084"/>
              <a:gd name="connsiteX1646" fmla="*/ 6493385 w 6689088"/>
              <a:gd name="connsiteY1646" fmla="*/ 2690085 h 6689084"/>
              <a:gd name="connsiteX1647" fmla="*/ 6459616 w 6689088"/>
              <a:gd name="connsiteY1647" fmla="*/ 2723850 h 6689084"/>
              <a:gd name="connsiteX1648" fmla="*/ 6425850 w 6689088"/>
              <a:gd name="connsiteY1648" fmla="*/ 2690085 h 6689084"/>
              <a:gd name="connsiteX1649" fmla="*/ 6459616 w 6689088"/>
              <a:gd name="connsiteY1649" fmla="*/ 2656319 h 6689084"/>
              <a:gd name="connsiteX1650" fmla="*/ 6613200 w 6689088"/>
              <a:gd name="connsiteY1650" fmla="*/ 2653777 h 6689084"/>
              <a:gd name="connsiteX1651" fmla="*/ 6649509 w 6689088"/>
              <a:gd name="connsiteY1651" fmla="*/ 2690085 h 6689084"/>
              <a:gd name="connsiteX1652" fmla="*/ 6613200 w 6689088"/>
              <a:gd name="connsiteY1652" fmla="*/ 2726393 h 6689084"/>
              <a:gd name="connsiteX1653" fmla="*/ 6576892 w 6689088"/>
              <a:gd name="connsiteY1653" fmla="*/ 2690085 h 6689084"/>
              <a:gd name="connsiteX1654" fmla="*/ 6613200 w 6689088"/>
              <a:gd name="connsiteY1654" fmla="*/ 2653777 h 6689084"/>
              <a:gd name="connsiteX1655" fmla="*/ 3230349 w 6689088"/>
              <a:gd name="connsiteY1655" fmla="*/ 2536137 h 6689084"/>
              <a:gd name="connsiteX1656" fmla="*/ 3230715 w 6689088"/>
              <a:gd name="connsiteY1656" fmla="*/ 2536499 h 6689084"/>
              <a:gd name="connsiteX1657" fmla="*/ 3230349 w 6689088"/>
              <a:gd name="connsiteY1657" fmla="*/ 2536866 h 6689084"/>
              <a:gd name="connsiteX1658" fmla="*/ 3229987 w 6689088"/>
              <a:gd name="connsiteY1658" fmla="*/ 2536499 h 6689084"/>
              <a:gd name="connsiteX1659" fmla="*/ 3230349 w 6689088"/>
              <a:gd name="connsiteY1659" fmla="*/ 2536137 h 6689084"/>
              <a:gd name="connsiteX1660" fmla="*/ 2768873 w 6689088"/>
              <a:gd name="connsiteY1660" fmla="*/ 2536137 h 6689084"/>
              <a:gd name="connsiteX1661" fmla="*/ 2769235 w 6689088"/>
              <a:gd name="connsiteY1661" fmla="*/ 2536499 h 6689084"/>
              <a:gd name="connsiteX1662" fmla="*/ 2768873 w 6689088"/>
              <a:gd name="connsiteY1662" fmla="*/ 2536866 h 6689084"/>
              <a:gd name="connsiteX1663" fmla="*/ 2768511 w 6689088"/>
              <a:gd name="connsiteY1663" fmla="*/ 2536499 h 6689084"/>
              <a:gd name="connsiteX1664" fmla="*/ 2768873 w 6689088"/>
              <a:gd name="connsiteY1664" fmla="*/ 2536137 h 6689084"/>
              <a:gd name="connsiteX1665" fmla="*/ 2614925 w 6689088"/>
              <a:gd name="connsiteY1665" fmla="*/ 2536137 h 6689084"/>
              <a:gd name="connsiteX1666" fmla="*/ 2615288 w 6689088"/>
              <a:gd name="connsiteY1666" fmla="*/ 2536499 h 6689084"/>
              <a:gd name="connsiteX1667" fmla="*/ 2614925 w 6689088"/>
              <a:gd name="connsiteY1667" fmla="*/ 2536866 h 6689084"/>
              <a:gd name="connsiteX1668" fmla="*/ 2614563 w 6689088"/>
              <a:gd name="connsiteY1668" fmla="*/ 2536499 h 6689084"/>
              <a:gd name="connsiteX1669" fmla="*/ 2614925 w 6689088"/>
              <a:gd name="connsiteY1669" fmla="*/ 2536137 h 6689084"/>
              <a:gd name="connsiteX1670" fmla="*/ 2461344 w 6689088"/>
              <a:gd name="connsiteY1670" fmla="*/ 2535771 h 6689084"/>
              <a:gd name="connsiteX1671" fmla="*/ 2462068 w 6689088"/>
              <a:gd name="connsiteY1671" fmla="*/ 2536499 h 6689084"/>
              <a:gd name="connsiteX1672" fmla="*/ 2461344 w 6689088"/>
              <a:gd name="connsiteY1672" fmla="*/ 2537224 h 6689084"/>
              <a:gd name="connsiteX1673" fmla="*/ 2460616 w 6689088"/>
              <a:gd name="connsiteY1673" fmla="*/ 2536499 h 6689084"/>
              <a:gd name="connsiteX1674" fmla="*/ 2461344 w 6689088"/>
              <a:gd name="connsiteY1674" fmla="*/ 2535771 h 6689084"/>
              <a:gd name="connsiteX1675" fmla="*/ 3383938 w 6689088"/>
              <a:gd name="connsiteY1675" fmla="*/ 2535047 h 6689084"/>
              <a:gd name="connsiteX1676" fmla="*/ 3385390 w 6689088"/>
              <a:gd name="connsiteY1676" fmla="*/ 2536499 h 6689084"/>
              <a:gd name="connsiteX1677" fmla="*/ 3383938 w 6689088"/>
              <a:gd name="connsiteY1677" fmla="*/ 2537952 h 6689084"/>
              <a:gd name="connsiteX1678" fmla="*/ 3382486 w 6689088"/>
              <a:gd name="connsiteY1678" fmla="*/ 2536499 h 6689084"/>
              <a:gd name="connsiteX1679" fmla="*/ 3383938 w 6689088"/>
              <a:gd name="connsiteY1679" fmla="*/ 2535047 h 6689084"/>
              <a:gd name="connsiteX1680" fmla="*/ 3537886 w 6689088"/>
              <a:gd name="connsiteY1680" fmla="*/ 2534323 h 6689084"/>
              <a:gd name="connsiteX1681" fmla="*/ 3540062 w 6689088"/>
              <a:gd name="connsiteY1681" fmla="*/ 2536503 h 6689084"/>
              <a:gd name="connsiteX1682" fmla="*/ 3537886 w 6689088"/>
              <a:gd name="connsiteY1682" fmla="*/ 2538680 h 6689084"/>
              <a:gd name="connsiteX1683" fmla="*/ 3535705 w 6689088"/>
              <a:gd name="connsiteY1683" fmla="*/ 2536503 h 6689084"/>
              <a:gd name="connsiteX1684" fmla="*/ 3537886 w 6689088"/>
              <a:gd name="connsiteY1684" fmla="*/ 2534323 h 6689084"/>
              <a:gd name="connsiteX1685" fmla="*/ 3691467 w 6689088"/>
              <a:gd name="connsiteY1685" fmla="*/ 2533233 h 6689084"/>
              <a:gd name="connsiteX1686" fmla="*/ 3694738 w 6689088"/>
              <a:gd name="connsiteY1686" fmla="*/ 2536499 h 6689084"/>
              <a:gd name="connsiteX1687" fmla="*/ 3691467 w 6689088"/>
              <a:gd name="connsiteY1687" fmla="*/ 2539770 h 6689084"/>
              <a:gd name="connsiteX1688" fmla="*/ 3688200 w 6689088"/>
              <a:gd name="connsiteY1688" fmla="*/ 2536499 h 6689084"/>
              <a:gd name="connsiteX1689" fmla="*/ 3691467 w 6689088"/>
              <a:gd name="connsiteY1689" fmla="*/ 2533233 h 6689084"/>
              <a:gd name="connsiteX1690" fmla="*/ 3845414 w 6689088"/>
              <a:gd name="connsiteY1690" fmla="*/ 2531780 h 6689084"/>
              <a:gd name="connsiteX1691" fmla="*/ 3849771 w 6689088"/>
              <a:gd name="connsiteY1691" fmla="*/ 2536137 h 6689084"/>
              <a:gd name="connsiteX1692" fmla="*/ 3845414 w 6689088"/>
              <a:gd name="connsiteY1692" fmla="*/ 2540494 h 6689084"/>
              <a:gd name="connsiteX1693" fmla="*/ 3841057 w 6689088"/>
              <a:gd name="connsiteY1693" fmla="*/ 2536137 h 6689084"/>
              <a:gd name="connsiteX1694" fmla="*/ 3845414 w 6689088"/>
              <a:gd name="connsiteY1694" fmla="*/ 2531780 h 6689084"/>
              <a:gd name="connsiteX1695" fmla="*/ 3999000 w 6689088"/>
              <a:gd name="connsiteY1695" fmla="*/ 2530690 h 6689084"/>
              <a:gd name="connsiteX1696" fmla="*/ 4004809 w 6689088"/>
              <a:gd name="connsiteY1696" fmla="*/ 2536499 h 6689084"/>
              <a:gd name="connsiteX1697" fmla="*/ 3999000 w 6689088"/>
              <a:gd name="connsiteY1697" fmla="*/ 2542309 h 6689084"/>
              <a:gd name="connsiteX1698" fmla="*/ 3993190 w 6689088"/>
              <a:gd name="connsiteY1698" fmla="*/ 2536499 h 6689084"/>
              <a:gd name="connsiteX1699" fmla="*/ 3999000 w 6689088"/>
              <a:gd name="connsiteY1699" fmla="*/ 2530690 h 6689084"/>
              <a:gd name="connsiteX1700" fmla="*/ 4152947 w 6689088"/>
              <a:gd name="connsiteY1700" fmla="*/ 2528876 h 6689084"/>
              <a:gd name="connsiteX1701" fmla="*/ 4160208 w 6689088"/>
              <a:gd name="connsiteY1701" fmla="*/ 2536137 h 6689084"/>
              <a:gd name="connsiteX1702" fmla="*/ 4152947 w 6689088"/>
              <a:gd name="connsiteY1702" fmla="*/ 2543399 h 6689084"/>
              <a:gd name="connsiteX1703" fmla="*/ 4145686 w 6689088"/>
              <a:gd name="connsiteY1703" fmla="*/ 2536137 h 6689084"/>
              <a:gd name="connsiteX1704" fmla="*/ 4152947 w 6689088"/>
              <a:gd name="connsiteY1704" fmla="*/ 2528876 h 6689084"/>
              <a:gd name="connsiteX1705" fmla="*/ 4306528 w 6689088"/>
              <a:gd name="connsiteY1705" fmla="*/ 2527058 h 6689084"/>
              <a:gd name="connsiteX1706" fmla="*/ 4315608 w 6689088"/>
              <a:gd name="connsiteY1706" fmla="*/ 2536133 h 6689084"/>
              <a:gd name="connsiteX1707" fmla="*/ 4306528 w 6689088"/>
              <a:gd name="connsiteY1707" fmla="*/ 2545213 h 6689084"/>
              <a:gd name="connsiteX1708" fmla="*/ 4297452 w 6689088"/>
              <a:gd name="connsiteY1708" fmla="*/ 2536133 h 6689084"/>
              <a:gd name="connsiteX1709" fmla="*/ 4306528 w 6689088"/>
              <a:gd name="connsiteY1709" fmla="*/ 2527058 h 6689084"/>
              <a:gd name="connsiteX1710" fmla="*/ 4460480 w 6689088"/>
              <a:gd name="connsiteY1710" fmla="*/ 2526333 h 6689084"/>
              <a:gd name="connsiteX1711" fmla="*/ 4470646 w 6689088"/>
              <a:gd name="connsiteY1711" fmla="*/ 2536499 h 6689084"/>
              <a:gd name="connsiteX1712" fmla="*/ 4460480 w 6689088"/>
              <a:gd name="connsiteY1712" fmla="*/ 2546666 h 6689084"/>
              <a:gd name="connsiteX1713" fmla="*/ 4450314 w 6689088"/>
              <a:gd name="connsiteY1713" fmla="*/ 2536499 h 6689084"/>
              <a:gd name="connsiteX1714" fmla="*/ 4460480 w 6689088"/>
              <a:gd name="connsiteY1714" fmla="*/ 2526333 h 6689084"/>
              <a:gd name="connsiteX1715" fmla="*/ 4614061 w 6689088"/>
              <a:gd name="connsiteY1715" fmla="*/ 2524153 h 6689084"/>
              <a:gd name="connsiteX1716" fmla="*/ 4626046 w 6689088"/>
              <a:gd name="connsiteY1716" fmla="*/ 2536133 h 6689084"/>
              <a:gd name="connsiteX1717" fmla="*/ 4614061 w 6689088"/>
              <a:gd name="connsiteY1717" fmla="*/ 2548118 h 6689084"/>
              <a:gd name="connsiteX1718" fmla="*/ 4602080 w 6689088"/>
              <a:gd name="connsiteY1718" fmla="*/ 2536133 h 6689084"/>
              <a:gd name="connsiteX1719" fmla="*/ 4614061 w 6689088"/>
              <a:gd name="connsiteY1719" fmla="*/ 2524153 h 6689084"/>
              <a:gd name="connsiteX1720" fmla="*/ 4768012 w 6689088"/>
              <a:gd name="connsiteY1720" fmla="*/ 2522338 h 6689084"/>
              <a:gd name="connsiteX1721" fmla="*/ 4781808 w 6689088"/>
              <a:gd name="connsiteY1721" fmla="*/ 2536133 h 6689084"/>
              <a:gd name="connsiteX1722" fmla="*/ 4768012 w 6689088"/>
              <a:gd name="connsiteY1722" fmla="*/ 2549933 h 6689084"/>
              <a:gd name="connsiteX1723" fmla="*/ 4754214 w 6689088"/>
              <a:gd name="connsiteY1723" fmla="*/ 2536133 h 6689084"/>
              <a:gd name="connsiteX1724" fmla="*/ 4768012 w 6689088"/>
              <a:gd name="connsiteY1724" fmla="*/ 2522338 h 6689084"/>
              <a:gd name="connsiteX1725" fmla="*/ 4921594 w 6689088"/>
              <a:gd name="connsiteY1725" fmla="*/ 2521252 h 6689084"/>
              <a:gd name="connsiteX1726" fmla="*/ 4936845 w 6689088"/>
              <a:gd name="connsiteY1726" fmla="*/ 2536503 h 6689084"/>
              <a:gd name="connsiteX1727" fmla="*/ 4921594 w 6689088"/>
              <a:gd name="connsiteY1727" fmla="*/ 2551751 h 6689084"/>
              <a:gd name="connsiteX1728" fmla="*/ 4906346 w 6689088"/>
              <a:gd name="connsiteY1728" fmla="*/ 2536503 h 6689084"/>
              <a:gd name="connsiteX1729" fmla="*/ 4921594 w 6689088"/>
              <a:gd name="connsiteY1729" fmla="*/ 2521252 h 6689084"/>
              <a:gd name="connsiteX1730" fmla="*/ 5075545 w 6689088"/>
              <a:gd name="connsiteY1730" fmla="*/ 2519071 h 6689084"/>
              <a:gd name="connsiteX1731" fmla="*/ 5092611 w 6689088"/>
              <a:gd name="connsiteY1731" fmla="*/ 2536137 h 6689084"/>
              <a:gd name="connsiteX1732" fmla="*/ 5075545 w 6689088"/>
              <a:gd name="connsiteY1732" fmla="*/ 2553203 h 6689084"/>
              <a:gd name="connsiteX1733" fmla="*/ 5058479 w 6689088"/>
              <a:gd name="connsiteY1733" fmla="*/ 2536137 h 6689084"/>
              <a:gd name="connsiteX1734" fmla="*/ 5075545 w 6689088"/>
              <a:gd name="connsiteY1734" fmla="*/ 2519071 h 6689084"/>
              <a:gd name="connsiteX1735" fmla="*/ 5229126 w 6689088"/>
              <a:gd name="connsiteY1735" fmla="*/ 2517257 h 6689084"/>
              <a:gd name="connsiteX1736" fmla="*/ 5248369 w 6689088"/>
              <a:gd name="connsiteY1736" fmla="*/ 2536499 h 6689084"/>
              <a:gd name="connsiteX1737" fmla="*/ 5229126 w 6689088"/>
              <a:gd name="connsiteY1737" fmla="*/ 2555742 h 6689084"/>
              <a:gd name="connsiteX1738" fmla="*/ 5209884 w 6689088"/>
              <a:gd name="connsiteY1738" fmla="*/ 2536499 h 6689084"/>
              <a:gd name="connsiteX1739" fmla="*/ 5229126 w 6689088"/>
              <a:gd name="connsiteY1739" fmla="*/ 2517257 h 6689084"/>
              <a:gd name="connsiteX1740" fmla="*/ 5383074 w 6689088"/>
              <a:gd name="connsiteY1740" fmla="*/ 2514714 h 6689084"/>
              <a:gd name="connsiteX1741" fmla="*/ 5404496 w 6689088"/>
              <a:gd name="connsiteY1741" fmla="*/ 2536137 h 6689084"/>
              <a:gd name="connsiteX1742" fmla="*/ 5383074 w 6689088"/>
              <a:gd name="connsiteY1742" fmla="*/ 2557560 h 6689084"/>
              <a:gd name="connsiteX1743" fmla="*/ 5361651 w 6689088"/>
              <a:gd name="connsiteY1743" fmla="*/ 2536137 h 6689084"/>
              <a:gd name="connsiteX1744" fmla="*/ 5383074 w 6689088"/>
              <a:gd name="connsiteY1744" fmla="*/ 2514714 h 6689084"/>
              <a:gd name="connsiteX1745" fmla="*/ 5536659 w 6689088"/>
              <a:gd name="connsiteY1745" fmla="*/ 2513624 h 6689084"/>
              <a:gd name="connsiteX1746" fmla="*/ 5559534 w 6689088"/>
              <a:gd name="connsiteY1746" fmla="*/ 2536499 h 6689084"/>
              <a:gd name="connsiteX1747" fmla="*/ 5536659 w 6689088"/>
              <a:gd name="connsiteY1747" fmla="*/ 2559371 h 6689084"/>
              <a:gd name="connsiteX1748" fmla="*/ 5513784 w 6689088"/>
              <a:gd name="connsiteY1748" fmla="*/ 2536499 h 6689084"/>
              <a:gd name="connsiteX1749" fmla="*/ 5536659 w 6689088"/>
              <a:gd name="connsiteY1749" fmla="*/ 2513624 h 6689084"/>
              <a:gd name="connsiteX1750" fmla="*/ 5690602 w 6689088"/>
              <a:gd name="connsiteY1750" fmla="*/ 2511448 h 6689084"/>
              <a:gd name="connsiteX1751" fmla="*/ 5715658 w 6689088"/>
              <a:gd name="connsiteY1751" fmla="*/ 2536499 h 6689084"/>
              <a:gd name="connsiteX1752" fmla="*/ 5690602 w 6689088"/>
              <a:gd name="connsiteY1752" fmla="*/ 2561555 h 6689084"/>
              <a:gd name="connsiteX1753" fmla="*/ 5665551 w 6689088"/>
              <a:gd name="connsiteY1753" fmla="*/ 2536499 h 6689084"/>
              <a:gd name="connsiteX1754" fmla="*/ 5690602 w 6689088"/>
              <a:gd name="connsiteY1754" fmla="*/ 2511448 h 6689084"/>
              <a:gd name="connsiteX1755" fmla="*/ 5844554 w 6689088"/>
              <a:gd name="connsiteY1755" fmla="*/ 2509267 h 6689084"/>
              <a:gd name="connsiteX1756" fmla="*/ 5871786 w 6689088"/>
              <a:gd name="connsiteY1756" fmla="*/ 2536499 h 6689084"/>
              <a:gd name="connsiteX1757" fmla="*/ 5844554 w 6689088"/>
              <a:gd name="connsiteY1757" fmla="*/ 2563732 h 6689084"/>
              <a:gd name="connsiteX1758" fmla="*/ 5817322 w 6689088"/>
              <a:gd name="connsiteY1758" fmla="*/ 2536499 h 6689084"/>
              <a:gd name="connsiteX1759" fmla="*/ 5844554 w 6689088"/>
              <a:gd name="connsiteY1759" fmla="*/ 2509267 h 6689084"/>
              <a:gd name="connsiteX1760" fmla="*/ 5998136 w 6689088"/>
              <a:gd name="connsiteY1760" fmla="*/ 2506729 h 6689084"/>
              <a:gd name="connsiteX1761" fmla="*/ 6027910 w 6689088"/>
              <a:gd name="connsiteY1761" fmla="*/ 2536503 h 6689084"/>
              <a:gd name="connsiteX1762" fmla="*/ 5998136 w 6689088"/>
              <a:gd name="connsiteY1762" fmla="*/ 2566274 h 6689084"/>
              <a:gd name="connsiteX1763" fmla="*/ 5968364 w 6689088"/>
              <a:gd name="connsiteY1763" fmla="*/ 2536503 h 6689084"/>
              <a:gd name="connsiteX1764" fmla="*/ 5998136 w 6689088"/>
              <a:gd name="connsiteY1764" fmla="*/ 2506729 h 6689084"/>
              <a:gd name="connsiteX1765" fmla="*/ 6152086 w 6689088"/>
              <a:gd name="connsiteY1765" fmla="*/ 2504548 h 6689084"/>
              <a:gd name="connsiteX1766" fmla="*/ 6184038 w 6689088"/>
              <a:gd name="connsiteY1766" fmla="*/ 2536499 h 6689084"/>
              <a:gd name="connsiteX1767" fmla="*/ 6152086 w 6689088"/>
              <a:gd name="connsiteY1767" fmla="*/ 2568451 h 6689084"/>
              <a:gd name="connsiteX1768" fmla="*/ 6120135 w 6689088"/>
              <a:gd name="connsiteY1768" fmla="*/ 2536499 h 6689084"/>
              <a:gd name="connsiteX1769" fmla="*/ 6152086 w 6689088"/>
              <a:gd name="connsiteY1769" fmla="*/ 2504548 h 6689084"/>
              <a:gd name="connsiteX1770" fmla="*/ 6305668 w 6689088"/>
              <a:gd name="connsiteY1770" fmla="*/ 2502734 h 6689084"/>
              <a:gd name="connsiteX1771" fmla="*/ 6339438 w 6689088"/>
              <a:gd name="connsiteY1771" fmla="*/ 2536499 h 6689084"/>
              <a:gd name="connsiteX1772" fmla="*/ 6305668 w 6689088"/>
              <a:gd name="connsiteY1772" fmla="*/ 2570269 h 6689084"/>
              <a:gd name="connsiteX1773" fmla="*/ 6271902 w 6689088"/>
              <a:gd name="connsiteY1773" fmla="*/ 2536499 h 6689084"/>
              <a:gd name="connsiteX1774" fmla="*/ 6305668 w 6689088"/>
              <a:gd name="connsiteY1774" fmla="*/ 2502734 h 6689084"/>
              <a:gd name="connsiteX1775" fmla="*/ 6459616 w 6689088"/>
              <a:gd name="connsiteY1775" fmla="*/ 2500191 h 6689084"/>
              <a:gd name="connsiteX1776" fmla="*/ 6495924 w 6689088"/>
              <a:gd name="connsiteY1776" fmla="*/ 2536499 h 6689084"/>
              <a:gd name="connsiteX1777" fmla="*/ 6459616 w 6689088"/>
              <a:gd name="connsiteY1777" fmla="*/ 2572808 h 6689084"/>
              <a:gd name="connsiteX1778" fmla="*/ 6423307 w 6689088"/>
              <a:gd name="connsiteY1778" fmla="*/ 2536499 h 6689084"/>
              <a:gd name="connsiteX1779" fmla="*/ 6459616 w 6689088"/>
              <a:gd name="connsiteY1779" fmla="*/ 2500191 h 6689084"/>
              <a:gd name="connsiteX1780" fmla="*/ 6613200 w 6689088"/>
              <a:gd name="connsiteY1780" fmla="*/ 2497648 h 6689084"/>
              <a:gd name="connsiteX1781" fmla="*/ 6652048 w 6689088"/>
              <a:gd name="connsiteY1781" fmla="*/ 2536499 h 6689084"/>
              <a:gd name="connsiteX1782" fmla="*/ 6613200 w 6689088"/>
              <a:gd name="connsiteY1782" fmla="*/ 2575350 h 6689084"/>
              <a:gd name="connsiteX1783" fmla="*/ 6574350 w 6689088"/>
              <a:gd name="connsiteY1783" fmla="*/ 2536499 h 6689084"/>
              <a:gd name="connsiteX1784" fmla="*/ 6613200 w 6689088"/>
              <a:gd name="connsiteY1784" fmla="*/ 2497648 h 6689084"/>
              <a:gd name="connsiteX1785" fmla="*/ 3076406 w 6689088"/>
              <a:gd name="connsiteY1785" fmla="*/ 2382190 h 6689084"/>
              <a:gd name="connsiteX1786" fmla="*/ 3076768 w 6689088"/>
              <a:gd name="connsiteY1786" fmla="*/ 2382552 h 6689084"/>
              <a:gd name="connsiteX1787" fmla="*/ 3076406 w 6689088"/>
              <a:gd name="connsiteY1787" fmla="*/ 2382914 h 6689084"/>
              <a:gd name="connsiteX1788" fmla="*/ 3076043 w 6689088"/>
              <a:gd name="connsiteY1788" fmla="*/ 2382552 h 6689084"/>
              <a:gd name="connsiteX1789" fmla="*/ 3076406 w 6689088"/>
              <a:gd name="connsiteY1789" fmla="*/ 2382190 h 6689084"/>
              <a:gd name="connsiteX1790" fmla="*/ 2614925 w 6689088"/>
              <a:gd name="connsiteY1790" fmla="*/ 2382190 h 6689084"/>
              <a:gd name="connsiteX1791" fmla="*/ 2615288 w 6689088"/>
              <a:gd name="connsiteY1791" fmla="*/ 2382552 h 6689084"/>
              <a:gd name="connsiteX1792" fmla="*/ 2614925 w 6689088"/>
              <a:gd name="connsiteY1792" fmla="*/ 2382914 h 6689084"/>
              <a:gd name="connsiteX1793" fmla="*/ 2614563 w 6689088"/>
              <a:gd name="connsiteY1793" fmla="*/ 2382552 h 6689084"/>
              <a:gd name="connsiteX1794" fmla="*/ 2614925 w 6689088"/>
              <a:gd name="connsiteY1794" fmla="*/ 2382190 h 6689084"/>
              <a:gd name="connsiteX1795" fmla="*/ 2461340 w 6689088"/>
              <a:gd name="connsiteY1795" fmla="*/ 2382190 h 6689084"/>
              <a:gd name="connsiteX1796" fmla="*/ 2461702 w 6689088"/>
              <a:gd name="connsiteY1796" fmla="*/ 2382552 h 6689084"/>
              <a:gd name="connsiteX1797" fmla="*/ 2461340 w 6689088"/>
              <a:gd name="connsiteY1797" fmla="*/ 2382914 h 6689084"/>
              <a:gd name="connsiteX1798" fmla="*/ 2460978 w 6689088"/>
              <a:gd name="connsiteY1798" fmla="*/ 2382552 h 6689084"/>
              <a:gd name="connsiteX1799" fmla="*/ 2461340 w 6689088"/>
              <a:gd name="connsiteY1799" fmla="*/ 2382190 h 6689084"/>
              <a:gd name="connsiteX1800" fmla="*/ 2307393 w 6689088"/>
              <a:gd name="connsiteY1800" fmla="*/ 2381824 h 6689084"/>
              <a:gd name="connsiteX1801" fmla="*/ 2308121 w 6689088"/>
              <a:gd name="connsiteY1801" fmla="*/ 2382552 h 6689084"/>
              <a:gd name="connsiteX1802" fmla="*/ 2307393 w 6689088"/>
              <a:gd name="connsiteY1802" fmla="*/ 2383276 h 6689084"/>
              <a:gd name="connsiteX1803" fmla="*/ 2306669 w 6689088"/>
              <a:gd name="connsiteY1803" fmla="*/ 2382552 h 6689084"/>
              <a:gd name="connsiteX1804" fmla="*/ 2307393 w 6689088"/>
              <a:gd name="connsiteY1804" fmla="*/ 2381824 h 6689084"/>
              <a:gd name="connsiteX1805" fmla="*/ 3230353 w 6689088"/>
              <a:gd name="connsiteY1805" fmla="*/ 2381100 h 6689084"/>
              <a:gd name="connsiteX1806" fmla="*/ 3231805 w 6689088"/>
              <a:gd name="connsiteY1806" fmla="*/ 2382552 h 6689084"/>
              <a:gd name="connsiteX1807" fmla="*/ 3230353 w 6689088"/>
              <a:gd name="connsiteY1807" fmla="*/ 2384005 h 6689084"/>
              <a:gd name="connsiteX1808" fmla="*/ 3228900 w 6689088"/>
              <a:gd name="connsiteY1808" fmla="*/ 2382552 h 6689084"/>
              <a:gd name="connsiteX1809" fmla="*/ 3230353 w 6689088"/>
              <a:gd name="connsiteY1809" fmla="*/ 2381100 h 6689084"/>
              <a:gd name="connsiteX1810" fmla="*/ 3383938 w 6689088"/>
              <a:gd name="connsiteY1810" fmla="*/ 2380375 h 6689084"/>
              <a:gd name="connsiteX1811" fmla="*/ 3386115 w 6689088"/>
              <a:gd name="connsiteY1811" fmla="*/ 2382556 h 6689084"/>
              <a:gd name="connsiteX1812" fmla="*/ 3383938 w 6689088"/>
              <a:gd name="connsiteY1812" fmla="*/ 2384732 h 6689084"/>
              <a:gd name="connsiteX1813" fmla="*/ 3381758 w 6689088"/>
              <a:gd name="connsiteY1813" fmla="*/ 2382556 h 6689084"/>
              <a:gd name="connsiteX1814" fmla="*/ 3383938 w 6689088"/>
              <a:gd name="connsiteY1814" fmla="*/ 2380375 h 6689084"/>
              <a:gd name="connsiteX1815" fmla="*/ 3537882 w 6689088"/>
              <a:gd name="connsiteY1815" fmla="*/ 2379285 h 6689084"/>
              <a:gd name="connsiteX1816" fmla="*/ 3541148 w 6689088"/>
              <a:gd name="connsiteY1816" fmla="*/ 2382552 h 6689084"/>
              <a:gd name="connsiteX1817" fmla="*/ 3537882 w 6689088"/>
              <a:gd name="connsiteY1817" fmla="*/ 2385823 h 6689084"/>
              <a:gd name="connsiteX1818" fmla="*/ 3534615 w 6689088"/>
              <a:gd name="connsiteY1818" fmla="*/ 2382552 h 6689084"/>
              <a:gd name="connsiteX1819" fmla="*/ 3537882 w 6689088"/>
              <a:gd name="connsiteY1819" fmla="*/ 2379285 h 6689084"/>
              <a:gd name="connsiteX1820" fmla="*/ 3691467 w 6689088"/>
              <a:gd name="connsiteY1820" fmla="*/ 2378195 h 6689084"/>
              <a:gd name="connsiteX1821" fmla="*/ 3695824 w 6689088"/>
              <a:gd name="connsiteY1821" fmla="*/ 2382552 h 6689084"/>
              <a:gd name="connsiteX1822" fmla="*/ 3691467 w 6689088"/>
              <a:gd name="connsiteY1822" fmla="*/ 2386909 h 6689084"/>
              <a:gd name="connsiteX1823" fmla="*/ 3687110 w 6689088"/>
              <a:gd name="connsiteY1823" fmla="*/ 2382552 h 6689084"/>
              <a:gd name="connsiteX1824" fmla="*/ 3691467 w 6689088"/>
              <a:gd name="connsiteY1824" fmla="*/ 2378195 h 6689084"/>
              <a:gd name="connsiteX1825" fmla="*/ 3845414 w 6689088"/>
              <a:gd name="connsiteY1825" fmla="*/ 2376743 h 6689084"/>
              <a:gd name="connsiteX1826" fmla="*/ 3851224 w 6689088"/>
              <a:gd name="connsiteY1826" fmla="*/ 2382552 h 6689084"/>
              <a:gd name="connsiteX1827" fmla="*/ 3845414 w 6689088"/>
              <a:gd name="connsiteY1827" fmla="*/ 2388361 h 6689084"/>
              <a:gd name="connsiteX1828" fmla="*/ 3839605 w 6689088"/>
              <a:gd name="connsiteY1828" fmla="*/ 2382552 h 6689084"/>
              <a:gd name="connsiteX1829" fmla="*/ 3845414 w 6689088"/>
              <a:gd name="connsiteY1829" fmla="*/ 2376743 h 6689084"/>
              <a:gd name="connsiteX1830" fmla="*/ 3999000 w 6689088"/>
              <a:gd name="connsiteY1830" fmla="*/ 2375290 h 6689084"/>
              <a:gd name="connsiteX1831" fmla="*/ 4006261 w 6689088"/>
              <a:gd name="connsiteY1831" fmla="*/ 2382552 h 6689084"/>
              <a:gd name="connsiteX1832" fmla="*/ 3999000 w 6689088"/>
              <a:gd name="connsiteY1832" fmla="*/ 2389814 h 6689084"/>
              <a:gd name="connsiteX1833" fmla="*/ 3991738 w 6689088"/>
              <a:gd name="connsiteY1833" fmla="*/ 2382552 h 6689084"/>
              <a:gd name="connsiteX1834" fmla="*/ 3999000 w 6689088"/>
              <a:gd name="connsiteY1834" fmla="*/ 2375290 h 6689084"/>
              <a:gd name="connsiteX1835" fmla="*/ 4152947 w 6689088"/>
              <a:gd name="connsiteY1835" fmla="*/ 2373476 h 6689084"/>
              <a:gd name="connsiteX1836" fmla="*/ 4162027 w 6689088"/>
              <a:gd name="connsiteY1836" fmla="*/ 2382552 h 6689084"/>
              <a:gd name="connsiteX1837" fmla="*/ 4152947 w 6689088"/>
              <a:gd name="connsiteY1837" fmla="*/ 2391632 h 6689084"/>
              <a:gd name="connsiteX1838" fmla="*/ 4143871 w 6689088"/>
              <a:gd name="connsiteY1838" fmla="*/ 2382552 h 6689084"/>
              <a:gd name="connsiteX1839" fmla="*/ 4152947 w 6689088"/>
              <a:gd name="connsiteY1839" fmla="*/ 2373476 h 6689084"/>
              <a:gd name="connsiteX1840" fmla="*/ 4306532 w 6689088"/>
              <a:gd name="connsiteY1840" fmla="*/ 2372386 h 6689084"/>
              <a:gd name="connsiteX1841" fmla="*/ 4316698 w 6689088"/>
              <a:gd name="connsiteY1841" fmla="*/ 2382552 h 6689084"/>
              <a:gd name="connsiteX1842" fmla="*/ 4306532 w 6689088"/>
              <a:gd name="connsiteY1842" fmla="*/ 2392718 h 6689084"/>
              <a:gd name="connsiteX1843" fmla="*/ 4296366 w 6689088"/>
              <a:gd name="connsiteY1843" fmla="*/ 2382552 h 6689084"/>
              <a:gd name="connsiteX1844" fmla="*/ 4306532 w 6689088"/>
              <a:gd name="connsiteY1844" fmla="*/ 2372386 h 6689084"/>
              <a:gd name="connsiteX1845" fmla="*/ 4460476 w 6689088"/>
              <a:gd name="connsiteY1845" fmla="*/ 2370571 h 6689084"/>
              <a:gd name="connsiteX1846" fmla="*/ 4472460 w 6689088"/>
              <a:gd name="connsiteY1846" fmla="*/ 2382552 h 6689084"/>
              <a:gd name="connsiteX1847" fmla="*/ 4460476 w 6689088"/>
              <a:gd name="connsiteY1847" fmla="*/ 2394533 h 6689084"/>
              <a:gd name="connsiteX1848" fmla="*/ 4448495 w 6689088"/>
              <a:gd name="connsiteY1848" fmla="*/ 2382552 h 6689084"/>
              <a:gd name="connsiteX1849" fmla="*/ 4460476 w 6689088"/>
              <a:gd name="connsiteY1849" fmla="*/ 2370571 h 6689084"/>
              <a:gd name="connsiteX1850" fmla="*/ 4614065 w 6689088"/>
              <a:gd name="connsiteY1850" fmla="*/ 2368753 h 6689084"/>
              <a:gd name="connsiteX1851" fmla="*/ 4627860 w 6689088"/>
              <a:gd name="connsiteY1851" fmla="*/ 2382552 h 6689084"/>
              <a:gd name="connsiteX1852" fmla="*/ 4614065 w 6689088"/>
              <a:gd name="connsiteY1852" fmla="*/ 2396347 h 6689084"/>
              <a:gd name="connsiteX1853" fmla="*/ 4600266 w 6689088"/>
              <a:gd name="connsiteY1853" fmla="*/ 2382552 h 6689084"/>
              <a:gd name="connsiteX1854" fmla="*/ 4614065 w 6689088"/>
              <a:gd name="connsiteY1854" fmla="*/ 2368753 h 6689084"/>
              <a:gd name="connsiteX1855" fmla="*/ 4768008 w 6689088"/>
              <a:gd name="connsiteY1855" fmla="*/ 2367304 h 6689084"/>
              <a:gd name="connsiteX1856" fmla="*/ 4783260 w 6689088"/>
              <a:gd name="connsiteY1856" fmla="*/ 2382556 h 6689084"/>
              <a:gd name="connsiteX1857" fmla="*/ 4768008 w 6689088"/>
              <a:gd name="connsiteY1857" fmla="*/ 2397803 h 6689084"/>
              <a:gd name="connsiteX1858" fmla="*/ 4752761 w 6689088"/>
              <a:gd name="connsiteY1858" fmla="*/ 2382556 h 6689084"/>
              <a:gd name="connsiteX1859" fmla="*/ 4768008 w 6689088"/>
              <a:gd name="connsiteY1859" fmla="*/ 2367304 h 6689084"/>
              <a:gd name="connsiteX1860" fmla="*/ 4921594 w 6689088"/>
              <a:gd name="connsiteY1860" fmla="*/ 2365486 h 6689084"/>
              <a:gd name="connsiteX1861" fmla="*/ 4938660 w 6689088"/>
              <a:gd name="connsiteY1861" fmla="*/ 2382552 h 6689084"/>
              <a:gd name="connsiteX1862" fmla="*/ 4921594 w 6689088"/>
              <a:gd name="connsiteY1862" fmla="*/ 2399614 h 6689084"/>
              <a:gd name="connsiteX1863" fmla="*/ 4904528 w 6689088"/>
              <a:gd name="connsiteY1863" fmla="*/ 2382552 h 6689084"/>
              <a:gd name="connsiteX1864" fmla="*/ 4921594 w 6689088"/>
              <a:gd name="connsiteY1864" fmla="*/ 2365486 h 6689084"/>
              <a:gd name="connsiteX1865" fmla="*/ 5075541 w 6689088"/>
              <a:gd name="connsiteY1865" fmla="*/ 2363309 h 6689084"/>
              <a:gd name="connsiteX1866" fmla="*/ 5094784 w 6689088"/>
              <a:gd name="connsiteY1866" fmla="*/ 2382552 h 6689084"/>
              <a:gd name="connsiteX1867" fmla="*/ 5075541 w 6689088"/>
              <a:gd name="connsiteY1867" fmla="*/ 2401799 h 6689084"/>
              <a:gd name="connsiteX1868" fmla="*/ 5056298 w 6689088"/>
              <a:gd name="connsiteY1868" fmla="*/ 2382552 h 6689084"/>
              <a:gd name="connsiteX1869" fmla="*/ 5075541 w 6689088"/>
              <a:gd name="connsiteY1869" fmla="*/ 2363309 h 6689084"/>
              <a:gd name="connsiteX1870" fmla="*/ 5229126 w 6689088"/>
              <a:gd name="connsiteY1870" fmla="*/ 2361129 h 6689084"/>
              <a:gd name="connsiteX1871" fmla="*/ 5250546 w 6689088"/>
              <a:gd name="connsiteY1871" fmla="*/ 2382552 h 6689084"/>
              <a:gd name="connsiteX1872" fmla="*/ 5229126 w 6689088"/>
              <a:gd name="connsiteY1872" fmla="*/ 2403975 h 6689084"/>
              <a:gd name="connsiteX1873" fmla="*/ 5207704 w 6689088"/>
              <a:gd name="connsiteY1873" fmla="*/ 2382552 h 6689084"/>
              <a:gd name="connsiteX1874" fmla="*/ 5229126 w 6689088"/>
              <a:gd name="connsiteY1874" fmla="*/ 2361129 h 6689084"/>
              <a:gd name="connsiteX1875" fmla="*/ 5383074 w 6689088"/>
              <a:gd name="connsiteY1875" fmla="*/ 2359677 h 6689084"/>
              <a:gd name="connsiteX1876" fmla="*/ 5405946 w 6689088"/>
              <a:gd name="connsiteY1876" fmla="*/ 2382552 h 6689084"/>
              <a:gd name="connsiteX1877" fmla="*/ 5383074 w 6689088"/>
              <a:gd name="connsiteY1877" fmla="*/ 2405427 h 6689084"/>
              <a:gd name="connsiteX1878" fmla="*/ 5360198 w 6689088"/>
              <a:gd name="connsiteY1878" fmla="*/ 2382552 h 6689084"/>
              <a:gd name="connsiteX1879" fmla="*/ 5383074 w 6689088"/>
              <a:gd name="connsiteY1879" fmla="*/ 2359677 h 6689084"/>
              <a:gd name="connsiteX1880" fmla="*/ 5536656 w 6689088"/>
              <a:gd name="connsiteY1880" fmla="*/ 2357500 h 6689084"/>
              <a:gd name="connsiteX1881" fmla="*/ 5561711 w 6689088"/>
              <a:gd name="connsiteY1881" fmla="*/ 2382552 h 6689084"/>
              <a:gd name="connsiteX1882" fmla="*/ 5536656 w 6689088"/>
              <a:gd name="connsiteY1882" fmla="*/ 2407608 h 6689084"/>
              <a:gd name="connsiteX1883" fmla="*/ 5511604 w 6689088"/>
              <a:gd name="connsiteY1883" fmla="*/ 2382552 h 6689084"/>
              <a:gd name="connsiteX1884" fmla="*/ 5536656 w 6689088"/>
              <a:gd name="connsiteY1884" fmla="*/ 2357500 h 6689084"/>
              <a:gd name="connsiteX1885" fmla="*/ 5690606 w 6689088"/>
              <a:gd name="connsiteY1885" fmla="*/ 2355320 h 6689084"/>
              <a:gd name="connsiteX1886" fmla="*/ 5717838 w 6689088"/>
              <a:gd name="connsiteY1886" fmla="*/ 2382552 h 6689084"/>
              <a:gd name="connsiteX1887" fmla="*/ 5690606 w 6689088"/>
              <a:gd name="connsiteY1887" fmla="*/ 2409784 h 6689084"/>
              <a:gd name="connsiteX1888" fmla="*/ 5663374 w 6689088"/>
              <a:gd name="connsiteY1888" fmla="*/ 2382552 h 6689084"/>
              <a:gd name="connsiteX1889" fmla="*/ 5690606 w 6689088"/>
              <a:gd name="connsiteY1889" fmla="*/ 2355320 h 6689084"/>
              <a:gd name="connsiteX1890" fmla="*/ 5844554 w 6689088"/>
              <a:gd name="connsiteY1890" fmla="*/ 2352781 h 6689084"/>
              <a:gd name="connsiteX1891" fmla="*/ 5874325 w 6689088"/>
              <a:gd name="connsiteY1891" fmla="*/ 2382556 h 6689084"/>
              <a:gd name="connsiteX1892" fmla="*/ 5844554 w 6689088"/>
              <a:gd name="connsiteY1892" fmla="*/ 2412327 h 6689084"/>
              <a:gd name="connsiteX1893" fmla="*/ 5814779 w 6689088"/>
              <a:gd name="connsiteY1893" fmla="*/ 2382556 h 6689084"/>
              <a:gd name="connsiteX1894" fmla="*/ 5844554 w 6689088"/>
              <a:gd name="connsiteY1894" fmla="*/ 2352781 h 6689084"/>
              <a:gd name="connsiteX1895" fmla="*/ 5998139 w 6689088"/>
              <a:gd name="connsiteY1895" fmla="*/ 2350601 h 6689084"/>
              <a:gd name="connsiteX1896" fmla="*/ 6030090 w 6689088"/>
              <a:gd name="connsiteY1896" fmla="*/ 2382552 h 6689084"/>
              <a:gd name="connsiteX1897" fmla="*/ 5998139 w 6689088"/>
              <a:gd name="connsiteY1897" fmla="*/ 2414503 h 6689084"/>
              <a:gd name="connsiteX1898" fmla="*/ 5966188 w 6689088"/>
              <a:gd name="connsiteY1898" fmla="*/ 2382552 h 6689084"/>
              <a:gd name="connsiteX1899" fmla="*/ 5998139 w 6689088"/>
              <a:gd name="connsiteY1899" fmla="*/ 2350601 h 6689084"/>
              <a:gd name="connsiteX1900" fmla="*/ 6152086 w 6689088"/>
              <a:gd name="connsiteY1900" fmla="*/ 2348786 h 6689084"/>
              <a:gd name="connsiteX1901" fmla="*/ 6185852 w 6689088"/>
              <a:gd name="connsiteY1901" fmla="*/ 2382552 h 6689084"/>
              <a:gd name="connsiteX1902" fmla="*/ 6152086 w 6689088"/>
              <a:gd name="connsiteY1902" fmla="*/ 2416322 h 6689084"/>
              <a:gd name="connsiteX1903" fmla="*/ 6118317 w 6689088"/>
              <a:gd name="connsiteY1903" fmla="*/ 2382552 h 6689084"/>
              <a:gd name="connsiteX1904" fmla="*/ 6152086 w 6689088"/>
              <a:gd name="connsiteY1904" fmla="*/ 2348786 h 6689084"/>
              <a:gd name="connsiteX1905" fmla="*/ 6305668 w 6689088"/>
              <a:gd name="connsiteY1905" fmla="*/ 2346244 h 6689084"/>
              <a:gd name="connsiteX1906" fmla="*/ 6341976 w 6689088"/>
              <a:gd name="connsiteY1906" fmla="*/ 2382552 h 6689084"/>
              <a:gd name="connsiteX1907" fmla="*/ 6305668 w 6689088"/>
              <a:gd name="connsiteY1907" fmla="*/ 2418860 h 6689084"/>
              <a:gd name="connsiteX1908" fmla="*/ 6269360 w 6689088"/>
              <a:gd name="connsiteY1908" fmla="*/ 2382552 h 6689084"/>
              <a:gd name="connsiteX1909" fmla="*/ 6305668 w 6689088"/>
              <a:gd name="connsiteY1909" fmla="*/ 2346244 h 6689084"/>
              <a:gd name="connsiteX1910" fmla="*/ 6459619 w 6689088"/>
              <a:gd name="connsiteY1910" fmla="*/ 2343701 h 6689084"/>
              <a:gd name="connsiteX1911" fmla="*/ 6498470 w 6689088"/>
              <a:gd name="connsiteY1911" fmla="*/ 2382552 h 6689084"/>
              <a:gd name="connsiteX1912" fmla="*/ 6459619 w 6689088"/>
              <a:gd name="connsiteY1912" fmla="*/ 2421399 h 6689084"/>
              <a:gd name="connsiteX1913" fmla="*/ 6420768 w 6689088"/>
              <a:gd name="connsiteY1913" fmla="*/ 2382552 h 6689084"/>
              <a:gd name="connsiteX1914" fmla="*/ 6459619 w 6689088"/>
              <a:gd name="connsiteY1914" fmla="*/ 2343701 h 6689084"/>
              <a:gd name="connsiteX1915" fmla="*/ 6613200 w 6689088"/>
              <a:gd name="connsiteY1915" fmla="*/ 2341524 h 6689084"/>
              <a:gd name="connsiteX1916" fmla="*/ 6654232 w 6689088"/>
              <a:gd name="connsiteY1916" fmla="*/ 2382552 h 6689084"/>
              <a:gd name="connsiteX1917" fmla="*/ 6613200 w 6689088"/>
              <a:gd name="connsiteY1917" fmla="*/ 2423583 h 6689084"/>
              <a:gd name="connsiteX1918" fmla="*/ 6572173 w 6689088"/>
              <a:gd name="connsiteY1918" fmla="*/ 2382552 h 6689084"/>
              <a:gd name="connsiteX1919" fmla="*/ 6613200 w 6689088"/>
              <a:gd name="connsiteY1919" fmla="*/ 2341524 h 6689084"/>
              <a:gd name="connsiteX1920" fmla="*/ 2922458 w 6689088"/>
              <a:gd name="connsiteY1920" fmla="*/ 2228605 h 6689084"/>
              <a:gd name="connsiteX1921" fmla="*/ 2922820 w 6689088"/>
              <a:gd name="connsiteY1921" fmla="*/ 2228967 h 6689084"/>
              <a:gd name="connsiteX1922" fmla="*/ 2922458 w 6689088"/>
              <a:gd name="connsiteY1922" fmla="*/ 2229333 h 6689084"/>
              <a:gd name="connsiteX1923" fmla="*/ 2922096 w 6689088"/>
              <a:gd name="connsiteY1923" fmla="*/ 2228967 h 6689084"/>
              <a:gd name="connsiteX1924" fmla="*/ 2922458 w 6689088"/>
              <a:gd name="connsiteY1924" fmla="*/ 2228605 h 6689084"/>
              <a:gd name="connsiteX1925" fmla="*/ 2461340 w 6689088"/>
              <a:gd name="connsiteY1925" fmla="*/ 2228605 h 6689084"/>
              <a:gd name="connsiteX1926" fmla="*/ 2461702 w 6689088"/>
              <a:gd name="connsiteY1926" fmla="*/ 2228967 h 6689084"/>
              <a:gd name="connsiteX1927" fmla="*/ 2461340 w 6689088"/>
              <a:gd name="connsiteY1927" fmla="*/ 2229333 h 6689084"/>
              <a:gd name="connsiteX1928" fmla="*/ 2460978 w 6689088"/>
              <a:gd name="connsiteY1928" fmla="*/ 2228967 h 6689084"/>
              <a:gd name="connsiteX1929" fmla="*/ 2461340 w 6689088"/>
              <a:gd name="connsiteY1929" fmla="*/ 2228605 h 6689084"/>
              <a:gd name="connsiteX1930" fmla="*/ 2307393 w 6689088"/>
              <a:gd name="connsiteY1930" fmla="*/ 2228605 h 6689084"/>
              <a:gd name="connsiteX1931" fmla="*/ 2307755 w 6689088"/>
              <a:gd name="connsiteY1931" fmla="*/ 2228967 h 6689084"/>
              <a:gd name="connsiteX1932" fmla="*/ 2307393 w 6689088"/>
              <a:gd name="connsiteY1932" fmla="*/ 2229333 h 6689084"/>
              <a:gd name="connsiteX1933" fmla="*/ 2307031 w 6689088"/>
              <a:gd name="connsiteY1933" fmla="*/ 2228967 h 6689084"/>
              <a:gd name="connsiteX1934" fmla="*/ 2307393 w 6689088"/>
              <a:gd name="connsiteY1934" fmla="*/ 2228605 h 6689084"/>
              <a:gd name="connsiteX1935" fmla="*/ 2153811 w 6689088"/>
              <a:gd name="connsiteY1935" fmla="*/ 2228243 h 6689084"/>
              <a:gd name="connsiteX1936" fmla="*/ 2154536 w 6689088"/>
              <a:gd name="connsiteY1936" fmla="*/ 2228971 h 6689084"/>
              <a:gd name="connsiteX1937" fmla="*/ 2153811 w 6689088"/>
              <a:gd name="connsiteY1937" fmla="*/ 2229695 h 6689084"/>
              <a:gd name="connsiteX1938" fmla="*/ 2153083 w 6689088"/>
              <a:gd name="connsiteY1938" fmla="*/ 2228971 h 6689084"/>
              <a:gd name="connsiteX1939" fmla="*/ 2153811 w 6689088"/>
              <a:gd name="connsiteY1939" fmla="*/ 2228243 h 6689084"/>
              <a:gd name="connsiteX1940" fmla="*/ 3076406 w 6689088"/>
              <a:gd name="connsiteY1940" fmla="*/ 2227152 h 6689084"/>
              <a:gd name="connsiteX1941" fmla="*/ 3077858 w 6689088"/>
              <a:gd name="connsiteY1941" fmla="*/ 2228605 h 6689084"/>
              <a:gd name="connsiteX1942" fmla="*/ 3076406 w 6689088"/>
              <a:gd name="connsiteY1942" fmla="*/ 2230057 h 6689084"/>
              <a:gd name="connsiteX1943" fmla="*/ 3074953 w 6689088"/>
              <a:gd name="connsiteY1943" fmla="*/ 2228605 h 6689084"/>
              <a:gd name="connsiteX1944" fmla="*/ 3076406 w 6689088"/>
              <a:gd name="connsiteY1944" fmla="*/ 2227152 h 6689084"/>
              <a:gd name="connsiteX1945" fmla="*/ 3230353 w 6689088"/>
              <a:gd name="connsiteY1945" fmla="*/ 2226428 h 6689084"/>
              <a:gd name="connsiteX1946" fmla="*/ 3232530 w 6689088"/>
              <a:gd name="connsiteY1946" fmla="*/ 2228608 h 6689084"/>
              <a:gd name="connsiteX1947" fmla="*/ 3230353 w 6689088"/>
              <a:gd name="connsiteY1947" fmla="*/ 2230785 h 6689084"/>
              <a:gd name="connsiteX1948" fmla="*/ 3228172 w 6689088"/>
              <a:gd name="connsiteY1948" fmla="*/ 2228608 h 6689084"/>
              <a:gd name="connsiteX1949" fmla="*/ 3230353 w 6689088"/>
              <a:gd name="connsiteY1949" fmla="*/ 2226428 h 6689084"/>
              <a:gd name="connsiteX1950" fmla="*/ 3383934 w 6689088"/>
              <a:gd name="connsiteY1950" fmla="*/ 2225700 h 6689084"/>
              <a:gd name="connsiteX1951" fmla="*/ 3387205 w 6689088"/>
              <a:gd name="connsiteY1951" fmla="*/ 2228967 h 6689084"/>
              <a:gd name="connsiteX1952" fmla="*/ 3383934 w 6689088"/>
              <a:gd name="connsiteY1952" fmla="*/ 2232238 h 6689084"/>
              <a:gd name="connsiteX1953" fmla="*/ 3380668 w 6689088"/>
              <a:gd name="connsiteY1953" fmla="*/ 2228967 h 6689084"/>
              <a:gd name="connsiteX1954" fmla="*/ 3383934 w 6689088"/>
              <a:gd name="connsiteY1954" fmla="*/ 2225700 h 6689084"/>
              <a:gd name="connsiteX1955" fmla="*/ 3537886 w 6689088"/>
              <a:gd name="connsiteY1955" fmla="*/ 2224248 h 6689084"/>
              <a:gd name="connsiteX1956" fmla="*/ 3542242 w 6689088"/>
              <a:gd name="connsiteY1956" fmla="*/ 2228605 h 6689084"/>
              <a:gd name="connsiteX1957" fmla="*/ 3537886 w 6689088"/>
              <a:gd name="connsiteY1957" fmla="*/ 2232962 h 6689084"/>
              <a:gd name="connsiteX1958" fmla="*/ 3533528 w 6689088"/>
              <a:gd name="connsiteY1958" fmla="*/ 2228605 h 6689084"/>
              <a:gd name="connsiteX1959" fmla="*/ 3537886 w 6689088"/>
              <a:gd name="connsiteY1959" fmla="*/ 2224248 h 6689084"/>
              <a:gd name="connsiteX1960" fmla="*/ 3691467 w 6689088"/>
              <a:gd name="connsiteY1960" fmla="*/ 2222795 h 6689084"/>
              <a:gd name="connsiteX1961" fmla="*/ 3697276 w 6689088"/>
              <a:gd name="connsiteY1961" fmla="*/ 2228605 h 6689084"/>
              <a:gd name="connsiteX1962" fmla="*/ 3691467 w 6689088"/>
              <a:gd name="connsiteY1962" fmla="*/ 2234414 h 6689084"/>
              <a:gd name="connsiteX1963" fmla="*/ 3685658 w 6689088"/>
              <a:gd name="connsiteY1963" fmla="*/ 2228605 h 6689084"/>
              <a:gd name="connsiteX1964" fmla="*/ 3691467 w 6689088"/>
              <a:gd name="connsiteY1964" fmla="*/ 2222795 h 6689084"/>
              <a:gd name="connsiteX1965" fmla="*/ 3845414 w 6689088"/>
              <a:gd name="connsiteY1965" fmla="*/ 2221343 h 6689084"/>
              <a:gd name="connsiteX1966" fmla="*/ 3852676 w 6689088"/>
              <a:gd name="connsiteY1966" fmla="*/ 2228605 h 6689084"/>
              <a:gd name="connsiteX1967" fmla="*/ 3845414 w 6689088"/>
              <a:gd name="connsiteY1967" fmla="*/ 2235866 h 6689084"/>
              <a:gd name="connsiteX1968" fmla="*/ 3838153 w 6689088"/>
              <a:gd name="connsiteY1968" fmla="*/ 2228605 h 6689084"/>
              <a:gd name="connsiteX1969" fmla="*/ 3845414 w 6689088"/>
              <a:gd name="connsiteY1969" fmla="*/ 2221343 h 6689084"/>
              <a:gd name="connsiteX1970" fmla="*/ 3999000 w 6689088"/>
              <a:gd name="connsiteY1970" fmla="*/ 2219528 h 6689084"/>
              <a:gd name="connsiteX1971" fmla="*/ 4008080 w 6689088"/>
              <a:gd name="connsiteY1971" fmla="*/ 2228605 h 6689084"/>
              <a:gd name="connsiteX1972" fmla="*/ 3999000 w 6689088"/>
              <a:gd name="connsiteY1972" fmla="*/ 2237685 h 6689084"/>
              <a:gd name="connsiteX1973" fmla="*/ 3989924 w 6689088"/>
              <a:gd name="connsiteY1973" fmla="*/ 2228605 h 6689084"/>
              <a:gd name="connsiteX1974" fmla="*/ 3999000 w 6689088"/>
              <a:gd name="connsiteY1974" fmla="*/ 2219528 h 6689084"/>
              <a:gd name="connsiteX1975" fmla="*/ 4152947 w 6689088"/>
              <a:gd name="connsiteY1975" fmla="*/ 2218800 h 6689084"/>
              <a:gd name="connsiteX1976" fmla="*/ 4163114 w 6689088"/>
              <a:gd name="connsiteY1976" fmla="*/ 2228967 h 6689084"/>
              <a:gd name="connsiteX1977" fmla="*/ 4152947 w 6689088"/>
              <a:gd name="connsiteY1977" fmla="*/ 2239133 h 6689084"/>
              <a:gd name="connsiteX1978" fmla="*/ 4142780 w 6689088"/>
              <a:gd name="connsiteY1978" fmla="*/ 2228967 h 6689084"/>
              <a:gd name="connsiteX1979" fmla="*/ 4152947 w 6689088"/>
              <a:gd name="connsiteY1979" fmla="*/ 2218800 h 6689084"/>
              <a:gd name="connsiteX1980" fmla="*/ 4306532 w 6689088"/>
              <a:gd name="connsiteY1980" fmla="*/ 2216624 h 6689084"/>
              <a:gd name="connsiteX1981" fmla="*/ 4318517 w 6689088"/>
              <a:gd name="connsiteY1981" fmla="*/ 2228605 h 6689084"/>
              <a:gd name="connsiteX1982" fmla="*/ 4306532 w 6689088"/>
              <a:gd name="connsiteY1982" fmla="*/ 2240585 h 6689084"/>
              <a:gd name="connsiteX1983" fmla="*/ 4294552 w 6689088"/>
              <a:gd name="connsiteY1983" fmla="*/ 2228605 h 6689084"/>
              <a:gd name="connsiteX1984" fmla="*/ 4306532 w 6689088"/>
              <a:gd name="connsiteY1984" fmla="*/ 2216624 h 6689084"/>
              <a:gd name="connsiteX1985" fmla="*/ 4460480 w 6689088"/>
              <a:gd name="connsiteY1985" fmla="*/ 2214809 h 6689084"/>
              <a:gd name="connsiteX1986" fmla="*/ 4474275 w 6689088"/>
              <a:gd name="connsiteY1986" fmla="*/ 2228608 h 6689084"/>
              <a:gd name="connsiteX1987" fmla="*/ 4460480 w 6689088"/>
              <a:gd name="connsiteY1987" fmla="*/ 2242404 h 6689084"/>
              <a:gd name="connsiteX1988" fmla="*/ 4446680 w 6689088"/>
              <a:gd name="connsiteY1988" fmla="*/ 2228608 h 6689084"/>
              <a:gd name="connsiteX1989" fmla="*/ 4460480 w 6689088"/>
              <a:gd name="connsiteY1989" fmla="*/ 2214809 h 6689084"/>
              <a:gd name="connsiteX1990" fmla="*/ 4614061 w 6689088"/>
              <a:gd name="connsiteY1990" fmla="*/ 2213357 h 6689084"/>
              <a:gd name="connsiteX1991" fmla="*/ 4629312 w 6689088"/>
              <a:gd name="connsiteY1991" fmla="*/ 2228608 h 6689084"/>
              <a:gd name="connsiteX1992" fmla="*/ 4614061 w 6689088"/>
              <a:gd name="connsiteY1992" fmla="*/ 2243856 h 6689084"/>
              <a:gd name="connsiteX1993" fmla="*/ 4598814 w 6689088"/>
              <a:gd name="connsiteY1993" fmla="*/ 2228608 h 6689084"/>
              <a:gd name="connsiteX1994" fmla="*/ 4614061 w 6689088"/>
              <a:gd name="connsiteY1994" fmla="*/ 2213357 h 6689084"/>
              <a:gd name="connsiteX1995" fmla="*/ 4768012 w 6689088"/>
              <a:gd name="connsiteY1995" fmla="*/ 2211539 h 6689084"/>
              <a:gd name="connsiteX1996" fmla="*/ 4785078 w 6689088"/>
              <a:gd name="connsiteY1996" fmla="*/ 2228605 h 6689084"/>
              <a:gd name="connsiteX1997" fmla="*/ 4768012 w 6689088"/>
              <a:gd name="connsiteY1997" fmla="*/ 2245667 h 6689084"/>
              <a:gd name="connsiteX1998" fmla="*/ 4750946 w 6689088"/>
              <a:gd name="connsiteY1998" fmla="*/ 2228605 h 6689084"/>
              <a:gd name="connsiteX1999" fmla="*/ 4768012 w 6689088"/>
              <a:gd name="connsiteY1999" fmla="*/ 2211539 h 6689084"/>
              <a:gd name="connsiteX2000" fmla="*/ 4921594 w 6689088"/>
              <a:gd name="connsiteY2000" fmla="*/ 2209362 h 6689084"/>
              <a:gd name="connsiteX2001" fmla="*/ 4940836 w 6689088"/>
              <a:gd name="connsiteY2001" fmla="*/ 2228605 h 6689084"/>
              <a:gd name="connsiteX2002" fmla="*/ 4921594 w 6689088"/>
              <a:gd name="connsiteY2002" fmla="*/ 2247851 h 6689084"/>
              <a:gd name="connsiteX2003" fmla="*/ 4902352 w 6689088"/>
              <a:gd name="connsiteY2003" fmla="*/ 2228605 h 6689084"/>
              <a:gd name="connsiteX2004" fmla="*/ 4921594 w 6689088"/>
              <a:gd name="connsiteY2004" fmla="*/ 2209362 h 6689084"/>
              <a:gd name="connsiteX2005" fmla="*/ 5075541 w 6689088"/>
              <a:gd name="connsiteY2005" fmla="*/ 2207182 h 6689084"/>
              <a:gd name="connsiteX2006" fmla="*/ 5096964 w 6689088"/>
              <a:gd name="connsiteY2006" fmla="*/ 2228605 h 6689084"/>
              <a:gd name="connsiteX2007" fmla="*/ 5075541 w 6689088"/>
              <a:gd name="connsiteY2007" fmla="*/ 2250027 h 6689084"/>
              <a:gd name="connsiteX2008" fmla="*/ 5054118 w 6689088"/>
              <a:gd name="connsiteY2008" fmla="*/ 2228605 h 6689084"/>
              <a:gd name="connsiteX2009" fmla="*/ 5075541 w 6689088"/>
              <a:gd name="connsiteY2009" fmla="*/ 2207182 h 6689084"/>
              <a:gd name="connsiteX2010" fmla="*/ 5229126 w 6689088"/>
              <a:gd name="connsiteY2010" fmla="*/ 2205729 h 6689084"/>
              <a:gd name="connsiteX2011" fmla="*/ 5251998 w 6689088"/>
              <a:gd name="connsiteY2011" fmla="*/ 2228605 h 6689084"/>
              <a:gd name="connsiteX2012" fmla="*/ 5229126 w 6689088"/>
              <a:gd name="connsiteY2012" fmla="*/ 2251480 h 6689084"/>
              <a:gd name="connsiteX2013" fmla="*/ 5206251 w 6689088"/>
              <a:gd name="connsiteY2013" fmla="*/ 2228605 h 6689084"/>
              <a:gd name="connsiteX2014" fmla="*/ 5229126 w 6689088"/>
              <a:gd name="connsiteY2014" fmla="*/ 2205729 h 6689084"/>
              <a:gd name="connsiteX2015" fmla="*/ 5383074 w 6689088"/>
              <a:gd name="connsiteY2015" fmla="*/ 2203915 h 6689084"/>
              <a:gd name="connsiteX2016" fmla="*/ 5408126 w 6689088"/>
              <a:gd name="connsiteY2016" fmla="*/ 2228967 h 6689084"/>
              <a:gd name="connsiteX2017" fmla="*/ 5383074 w 6689088"/>
              <a:gd name="connsiteY2017" fmla="*/ 2254023 h 6689084"/>
              <a:gd name="connsiteX2018" fmla="*/ 5358022 w 6689088"/>
              <a:gd name="connsiteY2018" fmla="*/ 2228967 h 6689084"/>
              <a:gd name="connsiteX2019" fmla="*/ 5383074 w 6689088"/>
              <a:gd name="connsiteY2019" fmla="*/ 2203915 h 6689084"/>
              <a:gd name="connsiteX2020" fmla="*/ 5536659 w 6689088"/>
              <a:gd name="connsiteY2020" fmla="*/ 2201734 h 6689084"/>
              <a:gd name="connsiteX2021" fmla="*/ 5563892 w 6689088"/>
              <a:gd name="connsiteY2021" fmla="*/ 2228967 h 6689084"/>
              <a:gd name="connsiteX2022" fmla="*/ 5536659 w 6689088"/>
              <a:gd name="connsiteY2022" fmla="*/ 2256199 h 6689084"/>
              <a:gd name="connsiteX2023" fmla="*/ 5509427 w 6689088"/>
              <a:gd name="connsiteY2023" fmla="*/ 2228967 h 6689084"/>
              <a:gd name="connsiteX2024" fmla="*/ 5536659 w 6689088"/>
              <a:gd name="connsiteY2024" fmla="*/ 2201734 h 6689084"/>
              <a:gd name="connsiteX2025" fmla="*/ 5690606 w 6689088"/>
              <a:gd name="connsiteY2025" fmla="*/ 2198834 h 6689084"/>
              <a:gd name="connsiteX2026" fmla="*/ 5720378 w 6689088"/>
              <a:gd name="connsiteY2026" fmla="*/ 2228608 h 6689084"/>
              <a:gd name="connsiteX2027" fmla="*/ 5690606 w 6689088"/>
              <a:gd name="connsiteY2027" fmla="*/ 2258379 h 6689084"/>
              <a:gd name="connsiteX2028" fmla="*/ 5660832 w 6689088"/>
              <a:gd name="connsiteY2028" fmla="*/ 2228608 h 6689084"/>
              <a:gd name="connsiteX2029" fmla="*/ 5690606 w 6689088"/>
              <a:gd name="connsiteY2029" fmla="*/ 2198834 h 6689084"/>
              <a:gd name="connsiteX2030" fmla="*/ 5844554 w 6689088"/>
              <a:gd name="connsiteY2030" fmla="*/ 2197015 h 6689084"/>
              <a:gd name="connsiteX2031" fmla="*/ 5876506 w 6689088"/>
              <a:gd name="connsiteY2031" fmla="*/ 2228967 h 6689084"/>
              <a:gd name="connsiteX2032" fmla="*/ 5844554 w 6689088"/>
              <a:gd name="connsiteY2032" fmla="*/ 2260918 h 6689084"/>
              <a:gd name="connsiteX2033" fmla="*/ 5812602 w 6689088"/>
              <a:gd name="connsiteY2033" fmla="*/ 2228967 h 6689084"/>
              <a:gd name="connsiteX2034" fmla="*/ 5844554 w 6689088"/>
              <a:gd name="connsiteY2034" fmla="*/ 2197015 h 6689084"/>
              <a:gd name="connsiteX2035" fmla="*/ 5998136 w 6689088"/>
              <a:gd name="connsiteY2035" fmla="*/ 2194839 h 6689084"/>
              <a:gd name="connsiteX2036" fmla="*/ 6031901 w 6689088"/>
              <a:gd name="connsiteY2036" fmla="*/ 2228605 h 6689084"/>
              <a:gd name="connsiteX2037" fmla="*/ 5998136 w 6689088"/>
              <a:gd name="connsiteY2037" fmla="*/ 2262374 h 6689084"/>
              <a:gd name="connsiteX2038" fmla="*/ 5964370 w 6689088"/>
              <a:gd name="connsiteY2038" fmla="*/ 2228605 h 6689084"/>
              <a:gd name="connsiteX2039" fmla="*/ 5998136 w 6689088"/>
              <a:gd name="connsiteY2039" fmla="*/ 2194839 h 6689084"/>
              <a:gd name="connsiteX2040" fmla="*/ 6152083 w 6689088"/>
              <a:gd name="connsiteY2040" fmla="*/ 2192296 h 6689084"/>
              <a:gd name="connsiteX2041" fmla="*/ 6188391 w 6689088"/>
              <a:gd name="connsiteY2041" fmla="*/ 2228605 h 6689084"/>
              <a:gd name="connsiteX2042" fmla="*/ 6152083 w 6689088"/>
              <a:gd name="connsiteY2042" fmla="*/ 2264913 h 6689084"/>
              <a:gd name="connsiteX2043" fmla="*/ 6115774 w 6689088"/>
              <a:gd name="connsiteY2043" fmla="*/ 2228605 h 6689084"/>
              <a:gd name="connsiteX2044" fmla="*/ 6152083 w 6689088"/>
              <a:gd name="connsiteY2044" fmla="*/ 2192296 h 6689084"/>
              <a:gd name="connsiteX2045" fmla="*/ 6305672 w 6689088"/>
              <a:gd name="connsiteY2045" fmla="*/ 2189754 h 6689084"/>
              <a:gd name="connsiteX2046" fmla="*/ 6344522 w 6689088"/>
              <a:gd name="connsiteY2046" fmla="*/ 2228605 h 6689084"/>
              <a:gd name="connsiteX2047" fmla="*/ 6305672 w 6689088"/>
              <a:gd name="connsiteY2047" fmla="*/ 2267452 h 6689084"/>
              <a:gd name="connsiteX2048" fmla="*/ 6266821 w 6689088"/>
              <a:gd name="connsiteY2048" fmla="*/ 2228605 h 6689084"/>
              <a:gd name="connsiteX2049" fmla="*/ 6305672 w 6689088"/>
              <a:gd name="connsiteY2049" fmla="*/ 2189754 h 6689084"/>
              <a:gd name="connsiteX2050" fmla="*/ 6459616 w 6689088"/>
              <a:gd name="connsiteY2050" fmla="*/ 2187577 h 6689084"/>
              <a:gd name="connsiteX2051" fmla="*/ 6500646 w 6689088"/>
              <a:gd name="connsiteY2051" fmla="*/ 2228605 h 6689084"/>
              <a:gd name="connsiteX2052" fmla="*/ 6459616 w 6689088"/>
              <a:gd name="connsiteY2052" fmla="*/ 2269632 h 6689084"/>
              <a:gd name="connsiteX2053" fmla="*/ 6418588 w 6689088"/>
              <a:gd name="connsiteY2053" fmla="*/ 2228605 h 6689084"/>
              <a:gd name="connsiteX2054" fmla="*/ 6459616 w 6689088"/>
              <a:gd name="connsiteY2054" fmla="*/ 2187577 h 6689084"/>
              <a:gd name="connsiteX2055" fmla="*/ 6613200 w 6689088"/>
              <a:gd name="connsiteY2055" fmla="*/ 2185035 h 6689084"/>
              <a:gd name="connsiteX2056" fmla="*/ 6656770 w 6689088"/>
              <a:gd name="connsiteY2056" fmla="*/ 2228605 h 6689084"/>
              <a:gd name="connsiteX2057" fmla="*/ 6613200 w 6689088"/>
              <a:gd name="connsiteY2057" fmla="*/ 2272175 h 6689084"/>
              <a:gd name="connsiteX2058" fmla="*/ 6569630 w 6689088"/>
              <a:gd name="connsiteY2058" fmla="*/ 2228605 h 6689084"/>
              <a:gd name="connsiteX2059" fmla="*/ 6613200 w 6689088"/>
              <a:gd name="connsiteY2059" fmla="*/ 2185035 h 6689084"/>
              <a:gd name="connsiteX2060" fmla="*/ 2768873 w 6689088"/>
              <a:gd name="connsiteY2060" fmla="*/ 2074657 h 6689084"/>
              <a:gd name="connsiteX2061" fmla="*/ 2769235 w 6689088"/>
              <a:gd name="connsiteY2061" fmla="*/ 2075019 h 6689084"/>
              <a:gd name="connsiteX2062" fmla="*/ 2768873 w 6689088"/>
              <a:gd name="connsiteY2062" fmla="*/ 2075385 h 6689084"/>
              <a:gd name="connsiteX2063" fmla="*/ 2768511 w 6689088"/>
              <a:gd name="connsiteY2063" fmla="*/ 2075019 h 6689084"/>
              <a:gd name="connsiteX2064" fmla="*/ 2768873 w 6689088"/>
              <a:gd name="connsiteY2064" fmla="*/ 2074657 h 6689084"/>
              <a:gd name="connsiteX2065" fmla="*/ 2307393 w 6689088"/>
              <a:gd name="connsiteY2065" fmla="*/ 2074657 h 6689084"/>
              <a:gd name="connsiteX2066" fmla="*/ 2307755 w 6689088"/>
              <a:gd name="connsiteY2066" fmla="*/ 2075019 h 6689084"/>
              <a:gd name="connsiteX2067" fmla="*/ 2307393 w 6689088"/>
              <a:gd name="connsiteY2067" fmla="*/ 2075385 h 6689084"/>
              <a:gd name="connsiteX2068" fmla="*/ 2307031 w 6689088"/>
              <a:gd name="connsiteY2068" fmla="*/ 2075019 h 6689084"/>
              <a:gd name="connsiteX2069" fmla="*/ 2307393 w 6689088"/>
              <a:gd name="connsiteY2069" fmla="*/ 2074657 h 6689084"/>
              <a:gd name="connsiteX2070" fmla="*/ 2153808 w 6689088"/>
              <a:gd name="connsiteY2070" fmla="*/ 2074657 h 6689084"/>
              <a:gd name="connsiteX2071" fmla="*/ 2154170 w 6689088"/>
              <a:gd name="connsiteY2071" fmla="*/ 2075019 h 6689084"/>
              <a:gd name="connsiteX2072" fmla="*/ 2153808 w 6689088"/>
              <a:gd name="connsiteY2072" fmla="*/ 2075385 h 6689084"/>
              <a:gd name="connsiteX2073" fmla="*/ 2153445 w 6689088"/>
              <a:gd name="connsiteY2073" fmla="*/ 2075019 h 6689084"/>
              <a:gd name="connsiteX2074" fmla="*/ 2153808 w 6689088"/>
              <a:gd name="connsiteY2074" fmla="*/ 2074657 h 6689084"/>
              <a:gd name="connsiteX2075" fmla="*/ 1999864 w 6689088"/>
              <a:gd name="connsiteY2075" fmla="*/ 2074295 h 6689084"/>
              <a:gd name="connsiteX2076" fmla="*/ 2000588 w 6689088"/>
              <a:gd name="connsiteY2076" fmla="*/ 2075023 h 6689084"/>
              <a:gd name="connsiteX2077" fmla="*/ 1999864 w 6689088"/>
              <a:gd name="connsiteY2077" fmla="*/ 2075747 h 6689084"/>
              <a:gd name="connsiteX2078" fmla="*/ 1999136 w 6689088"/>
              <a:gd name="connsiteY2078" fmla="*/ 2075023 h 6689084"/>
              <a:gd name="connsiteX2079" fmla="*/ 1999864 w 6689088"/>
              <a:gd name="connsiteY2079" fmla="*/ 2074295 h 6689084"/>
              <a:gd name="connsiteX2080" fmla="*/ 2922458 w 6689088"/>
              <a:gd name="connsiteY2080" fmla="*/ 2073205 h 6689084"/>
              <a:gd name="connsiteX2081" fmla="*/ 2923910 w 6689088"/>
              <a:gd name="connsiteY2081" fmla="*/ 2074657 h 6689084"/>
              <a:gd name="connsiteX2082" fmla="*/ 2922458 w 6689088"/>
              <a:gd name="connsiteY2082" fmla="*/ 2076110 h 6689084"/>
              <a:gd name="connsiteX2083" fmla="*/ 2921006 w 6689088"/>
              <a:gd name="connsiteY2083" fmla="*/ 2074657 h 6689084"/>
              <a:gd name="connsiteX2084" fmla="*/ 2922458 w 6689088"/>
              <a:gd name="connsiteY2084" fmla="*/ 2073205 h 6689084"/>
              <a:gd name="connsiteX2085" fmla="*/ 3076406 w 6689088"/>
              <a:gd name="connsiteY2085" fmla="*/ 2072843 h 6689084"/>
              <a:gd name="connsiteX2086" fmla="*/ 3078582 w 6689088"/>
              <a:gd name="connsiteY2086" fmla="*/ 2075023 h 6689084"/>
              <a:gd name="connsiteX2087" fmla="*/ 3076406 w 6689088"/>
              <a:gd name="connsiteY2087" fmla="*/ 2077200 h 6689084"/>
              <a:gd name="connsiteX2088" fmla="*/ 3074225 w 6689088"/>
              <a:gd name="connsiteY2088" fmla="*/ 2075023 h 6689084"/>
              <a:gd name="connsiteX2089" fmla="*/ 3076406 w 6689088"/>
              <a:gd name="connsiteY2089" fmla="*/ 2072843 h 6689084"/>
              <a:gd name="connsiteX2090" fmla="*/ 3230353 w 6689088"/>
              <a:gd name="connsiteY2090" fmla="*/ 2071753 h 6689084"/>
              <a:gd name="connsiteX2091" fmla="*/ 3233620 w 6689088"/>
              <a:gd name="connsiteY2091" fmla="*/ 2075019 h 6689084"/>
              <a:gd name="connsiteX2092" fmla="*/ 3230353 w 6689088"/>
              <a:gd name="connsiteY2092" fmla="*/ 2078290 h 6689084"/>
              <a:gd name="connsiteX2093" fmla="*/ 3227086 w 6689088"/>
              <a:gd name="connsiteY2093" fmla="*/ 2075019 h 6689084"/>
              <a:gd name="connsiteX2094" fmla="*/ 3230353 w 6689088"/>
              <a:gd name="connsiteY2094" fmla="*/ 2071753 h 6689084"/>
              <a:gd name="connsiteX2095" fmla="*/ 3383934 w 6689088"/>
              <a:gd name="connsiteY2095" fmla="*/ 2070662 h 6689084"/>
              <a:gd name="connsiteX2096" fmla="*/ 3388291 w 6689088"/>
              <a:gd name="connsiteY2096" fmla="*/ 2075019 h 6689084"/>
              <a:gd name="connsiteX2097" fmla="*/ 3383934 w 6689088"/>
              <a:gd name="connsiteY2097" fmla="*/ 2079376 h 6689084"/>
              <a:gd name="connsiteX2098" fmla="*/ 3379577 w 6689088"/>
              <a:gd name="connsiteY2098" fmla="*/ 2075019 h 6689084"/>
              <a:gd name="connsiteX2099" fmla="*/ 3383934 w 6689088"/>
              <a:gd name="connsiteY2099" fmla="*/ 2070662 h 6689084"/>
              <a:gd name="connsiteX2100" fmla="*/ 3537886 w 6689088"/>
              <a:gd name="connsiteY2100" fmla="*/ 2069210 h 6689084"/>
              <a:gd name="connsiteX2101" fmla="*/ 3543695 w 6689088"/>
              <a:gd name="connsiteY2101" fmla="*/ 2075019 h 6689084"/>
              <a:gd name="connsiteX2102" fmla="*/ 3537886 w 6689088"/>
              <a:gd name="connsiteY2102" fmla="*/ 2080829 h 6689084"/>
              <a:gd name="connsiteX2103" fmla="*/ 3532076 w 6689088"/>
              <a:gd name="connsiteY2103" fmla="*/ 2075019 h 6689084"/>
              <a:gd name="connsiteX2104" fmla="*/ 3537886 w 6689088"/>
              <a:gd name="connsiteY2104" fmla="*/ 2069210 h 6689084"/>
              <a:gd name="connsiteX2105" fmla="*/ 3691467 w 6689088"/>
              <a:gd name="connsiteY2105" fmla="*/ 2067758 h 6689084"/>
              <a:gd name="connsiteX2106" fmla="*/ 3698728 w 6689088"/>
              <a:gd name="connsiteY2106" fmla="*/ 2075019 h 6689084"/>
              <a:gd name="connsiteX2107" fmla="*/ 3691467 w 6689088"/>
              <a:gd name="connsiteY2107" fmla="*/ 2082281 h 6689084"/>
              <a:gd name="connsiteX2108" fmla="*/ 3684205 w 6689088"/>
              <a:gd name="connsiteY2108" fmla="*/ 2075019 h 6689084"/>
              <a:gd name="connsiteX2109" fmla="*/ 3691467 w 6689088"/>
              <a:gd name="connsiteY2109" fmla="*/ 2067758 h 6689084"/>
              <a:gd name="connsiteX2110" fmla="*/ 3845414 w 6689088"/>
              <a:gd name="connsiteY2110" fmla="*/ 2065943 h 6689084"/>
              <a:gd name="connsiteX2111" fmla="*/ 3854494 w 6689088"/>
              <a:gd name="connsiteY2111" fmla="*/ 2075019 h 6689084"/>
              <a:gd name="connsiteX2112" fmla="*/ 3845414 w 6689088"/>
              <a:gd name="connsiteY2112" fmla="*/ 2084099 h 6689084"/>
              <a:gd name="connsiteX2113" fmla="*/ 3836338 w 6689088"/>
              <a:gd name="connsiteY2113" fmla="*/ 2075019 h 6689084"/>
              <a:gd name="connsiteX2114" fmla="*/ 3845414 w 6689088"/>
              <a:gd name="connsiteY2114" fmla="*/ 2065943 h 6689084"/>
              <a:gd name="connsiteX2115" fmla="*/ 3999000 w 6689088"/>
              <a:gd name="connsiteY2115" fmla="*/ 2064853 h 6689084"/>
              <a:gd name="connsiteX2116" fmla="*/ 4009166 w 6689088"/>
              <a:gd name="connsiteY2116" fmla="*/ 2075019 h 6689084"/>
              <a:gd name="connsiteX2117" fmla="*/ 3999000 w 6689088"/>
              <a:gd name="connsiteY2117" fmla="*/ 2085186 h 6689084"/>
              <a:gd name="connsiteX2118" fmla="*/ 3988833 w 6689088"/>
              <a:gd name="connsiteY2118" fmla="*/ 2075019 h 6689084"/>
              <a:gd name="connsiteX2119" fmla="*/ 3999000 w 6689088"/>
              <a:gd name="connsiteY2119" fmla="*/ 2064853 h 6689084"/>
              <a:gd name="connsiteX2120" fmla="*/ 4152947 w 6689088"/>
              <a:gd name="connsiteY2120" fmla="*/ 2063038 h 6689084"/>
              <a:gd name="connsiteX2121" fmla="*/ 4164932 w 6689088"/>
              <a:gd name="connsiteY2121" fmla="*/ 2075019 h 6689084"/>
              <a:gd name="connsiteX2122" fmla="*/ 4152947 w 6689088"/>
              <a:gd name="connsiteY2122" fmla="*/ 2087000 h 6689084"/>
              <a:gd name="connsiteX2123" fmla="*/ 4140966 w 6689088"/>
              <a:gd name="connsiteY2123" fmla="*/ 2075019 h 6689084"/>
              <a:gd name="connsiteX2124" fmla="*/ 4152947 w 6689088"/>
              <a:gd name="connsiteY2124" fmla="*/ 2063038 h 6689084"/>
              <a:gd name="connsiteX2125" fmla="*/ 4306528 w 6689088"/>
              <a:gd name="connsiteY2125" fmla="*/ 2061224 h 6689084"/>
              <a:gd name="connsiteX2126" fmla="*/ 4320328 w 6689088"/>
              <a:gd name="connsiteY2126" fmla="*/ 2075023 h 6689084"/>
              <a:gd name="connsiteX2127" fmla="*/ 4306528 w 6689088"/>
              <a:gd name="connsiteY2127" fmla="*/ 2088818 h 6689084"/>
              <a:gd name="connsiteX2128" fmla="*/ 4292733 w 6689088"/>
              <a:gd name="connsiteY2128" fmla="*/ 2075023 h 6689084"/>
              <a:gd name="connsiteX2129" fmla="*/ 4306528 w 6689088"/>
              <a:gd name="connsiteY2129" fmla="*/ 2061224 h 6689084"/>
              <a:gd name="connsiteX2130" fmla="*/ 4460476 w 6689088"/>
              <a:gd name="connsiteY2130" fmla="*/ 2059772 h 6689084"/>
              <a:gd name="connsiteX2131" fmla="*/ 4475728 w 6689088"/>
              <a:gd name="connsiteY2131" fmla="*/ 2075023 h 6689084"/>
              <a:gd name="connsiteX2132" fmla="*/ 4460476 w 6689088"/>
              <a:gd name="connsiteY2132" fmla="*/ 2090271 h 6689084"/>
              <a:gd name="connsiteX2133" fmla="*/ 4445228 w 6689088"/>
              <a:gd name="connsiteY2133" fmla="*/ 2075023 h 6689084"/>
              <a:gd name="connsiteX2134" fmla="*/ 4460476 w 6689088"/>
              <a:gd name="connsiteY2134" fmla="*/ 2059772 h 6689084"/>
              <a:gd name="connsiteX2135" fmla="*/ 4614065 w 6689088"/>
              <a:gd name="connsiteY2135" fmla="*/ 2057957 h 6689084"/>
              <a:gd name="connsiteX2136" fmla="*/ 4631131 w 6689088"/>
              <a:gd name="connsiteY2136" fmla="*/ 2075023 h 6689084"/>
              <a:gd name="connsiteX2137" fmla="*/ 4614065 w 6689088"/>
              <a:gd name="connsiteY2137" fmla="*/ 2092085 h 6689084"/>
              <a:gd name="connsiteX2138" fmla="*/ 4596999 w 6689088"/>
              <a:gd name="connsiteY2138" fmla="*/ 2075023 h 6689084"/>
              <a:gd name="connsiteX2139" fmla="*/ 4614065 w 6689088"/>
              <a:gd name="connsiteY2139" fmla="*/ 2057957 h 6689084"/>
              <a:gd name="connsiteX2140" fmla="*/ 4768008 w 6689088"/>
              <a:gd name="connsiteY2140" fmla="*/ 2055777 h 6689084"/>
              <a:gd name="connsiteX2141" fmla="*/ 4787255 w 6689088"/>
              <a:gd name="connsiteY2141" fmla="*/ 2075019 h 6689084"/>
              <a:gd name="connsiteX2142" fmla="*/ 4768008 w 6689088"/>
              <a:gd name="connsiteY2142" fmla="*/ 2094266 h 6689084"/>
              <a:gd name="connsiteX2143" fmla="*/ 4748766 w 6689088"/>
              <a:gd name="connsiteY2143" fmla="*/ 2075019 h 6689084"/>
              <a:gd name="connsiteX2144" fmla="*/ 4768008 w 6689088"/>
              <a:gd name="connsiteY2144" fmla="*/ 2055777 h 6689084"/>
              <a:gd name="connsiteX2145" fmla="*/ 4921594 w 6689088"/>
              <a:gd name="connsiteY2145" fmla="*/ 2053600 h 6689084"/>
              <a:gd name="connsiteX2146" fmla="*/ 4943013 w 6689088"/>
              <a:gd name="connsiteY2146" fmla="*/ 2075023 h 6689084"/>
              <a:gd name="connsiteX2147" fmla="*/ 4921594 w 6689088"/>
              <a:gd name="connsiteY2147" fmla="*/ 2096446 h 6689084"/>
              <a:gd name="connsiteX2148" fmla="*/ 4900171 w 6689088"/>
              <a:gd name="connsiteY2148" fmla="*/ 2075023 h 6689084"/>
              <a:gd name="connsiteX2149" fmla="*/ 4921594 w 6689088"/>
              <a:gd name="connsiteY2149" fmla="*/ 2053600 h 6689084"/>
              <a:gd name="connsiteX2150" fmla="*/ 5075545 w 6689088"/>
              <a:gd name="connsiteY2150" fmla="*/ 2052148 h 6689084"/>
              <a:gd name="connsiteX2151" fmla="*/ 5098416 w 6689088"/>
              <a:gd name="connsiteY2151" fmla="*/ 2075023 h 6689084"/>
              <a:gd name="connsiteX2152" fmla="*/ 5075545 w 6689088"/>
              <a:gd name="connsiteY2152" fmla="*/ 2097895 h 6689084"/>
              <a:gd name="connsiteX2153" fmla="*/ 5052670 w 6689088"/>
              <a:gd name="connsiteY2153" fmla="*/ 2075023 h 6689084"/>
              <a:gd name="connsiteX2154" fmla="*/ 5075545 w 6689088"/>
              <a:gd name="connsiteY2154" fmla="*/ 2052148 h 6689084"/>
              <a:gd name="connsiteX2155" fmla="*/ 5229126 w 6689088"/>
              <a:gd name="connsiteY2155" fmla="*/ 2049968 h 6689084"/>
              <a:gd name="connsiteX2156" fmla="*/ 5254182 w 6689088"/>
              <a:gd name="connsiteY2156" fmla="*/ 2075019 h 6689084"/>
              <a:gd name="connsiteX2157" fmla="*/ 5229126 w 6689088"/>
              <a:gd name="connsiteY2157" fmla="*/ 2100075 h 6689084"/>
              <a:gd name="connsiteX2158" fmla="*/ 5204074 w 6689088"/>
              <a:gd name="connsiteY2158" fmla="*/ 2075019 h 6689084"/>
              <a:gd name="connsiteX2159" fmla="*/ 5229126 w 6689088"/>
              <a:gd name="connsiteY2159" fmla="*/ 2049968 h 6689084"/>
              <a:gd name="connsiteX2160" fmla="*/ 5383074 w 6689088"/>
              <a:gd name="connsiteY2160" fmla="*/ 2047791 h 6689084"/>
              <a:gd name="connsiteX2161" fmla="*/ 5410306 w 6689088"/>
              <a:gd name="connsiteY2161" fmla="*/ 2075023 h 6689084"/>
              <a:gd name="connsiteX2162" fmla="*/ 5383074 w 6689088"/>
              <a:gd name="connsiteY2162" fmla="*/ 2102256 h 6689084"/>
              <a:gd name="connsiteX2163" fmla="*/ 5355842 w 6689088"/>
              <a:gd name="connsiteY2163" fmla="*/ 2075023 h 6689084"/>
              <a:gd name="connsiteX2164" fmla="*/ 5383074 w 6689088"/>
              <a:gd name="connsiteY2164" fmla="*/ 2047791 h 6689084"/>
              <a:gd name="connsiteX2165" fmla="*/ 5537018 w 6689088"/>
              <a:gd name="connsiteY2165" fmla="*/ 2045248 h 6689084"/>
              <a:gd name="connsiteX2166" fmla="*/ 5566792 w 6689088"/>
              <a:gd name="connsiteY2166" fmla="*/ 2075023 h 6689084"/>
              <a:gd name="connsiteX2167" fmla="*/ 5537018 w 6689088"/>
              <a:gd name="connsiteY2167" fmla="*/ 2104794 h 6689084"/>
              <a:gd name="connsiteX2168" fmla="*/ 5507246 w 6689088"/>
              <a:gd name="connsiteY2168" fmla="*/ 2075023 h 6689084"/>
              <a:gd name="connsiteX2169" fmla="*/ 5537018 w 6689088"/>
              <a:gd name="connsiteY2169" fmla="*/ 2045248 h 6689084"/>
              <a:gd name="connsiteX2170" fmla="*/ 5690606 w 6689088"/>
              <a:gd name="connsiteY2170" fmla="*/ 2043068 h 6689084"/>
              <a:gd name="connsiteX2171" fmla="*/ 5722558 w 6689088"/>
              <a:gd name="connsiteY2171" fmla="*/ 2075019 h 6689084"/>
              <a:gd name="connsiteX2172" fmla="*/ 5690606 w 6689088"/>
              <a:gd name="connsiteY2172" fmla="*/ 2106971 h 6689084"/>
              <a:gd name="connsiteX2173" fmla="*/ 5658655 w 6689088"/>
              <a:gd name="connsiteY2173" fmla="*/ 2075019 h 6689084"/>
              <a:gd name="connsiteX2174" fmla="*/ 5690606 w 6689088"/>
              <a:gd name="connsiteY2174" fmla="*/ 2043068 h 6689084"/>
              <a:gd name="connsiteX2175" fmla="*/ 5844554 w 6689088"/>
              <a:gd name="connsiteY2175" fmla="*/ 2041254 h 6689084"/>
              <a:gd name="connsiteX2176" fmla="*/ 5878320 w 6689088"/>
              <a:gd name="connsiteY2176" fmla="*/ 2075019 h 6689084"/>
              <a:gd name="connsiteX2177" fmla="*/ 5844554 w 6689088"/>
              <a:gd name="connsiteY2177" fmla="*/ 2108789 h 6689084"/>
              <a:gd name="connsiteX2178" fmla="*/ 5810788 w 6689088"/>
              <a:gd name="connsiteY2178" fmla="*/ 2075019 h 6689084"/>
              <a:gd name="connsiteX2179" fmla="*/ 5844554 w 6689088"/>
              <a:gd name="connsiteY2179" fmla="*/ 2041254 h 6689084"/>
              <a:gd name="connsiteX2180" fmla="*/ 5998136 w 6689088"/>
              <a:gd name="connsiteY2180" fmla="*/ 2038711 h 6689084"/>
              <a:gd name="connsiteX2181" fmla="*/ 6034444 w 6689088"/>
              <a:gd name="connsiteY2181" fmla="*/ 2075019 h 6689084"/>
              <a:gd name="connsiteX2182" fmla="*/ 5998136 w 6689088"/>
              <a:gd name="connsiteY2182" fmla="*/ 2111328 h 6689084"/>
              <a:gd name="connsiteX2183" fmla="*/ 5961827 w 6689088"/>
              <a:gd name="connsiteY2183" fmla="*/ 2075019 h 6689084"/>
              <a:gd name="connsiteX2184" fmla="*/ 5998136 w 6689088"/>
              <a:gd name="connsiteY2184" fmla="*/ 2038711 h 6689084"/>
              <a:gd name="connsiteX2185" fmla="*/ 6152083 w 6689088"/>
              <a:gd name="connsiteY2185" fmla="*/ 2036172 h 6689084"/>
              <a:gd name="connsiteX2186" fmla="*/ 6190934 w 6689088"/>
              <a:gd name="connsiteY2186" fmla="*/ 2075023 h 6689084"/>
              <a:gd name="connsiteX2187" fmla="*/ 6152083 w 6689088"/>
              <a:gd name="connsiteY2187" fmla="*/ 2113870 h 6689084"/>
              <a:gd name="connsiteX2188" fmla="*/ 6113236 w 6689088"/>
              <a:gd name="connsiteY2188" fmla="*/ 2075023 h 6689084"/>
              <a:gd name="connsiteX2189" fmla="*/ 6152083 w 6689088"/>
              <a:gd name="connsiteY2189" fmla="*/ 2036172 h 6689084"/>
              <a:gd name="connsiteX2190" fmla="*/ 6305668 w 6689088"/>
              <a:gd name="connsiteY2190" fmla="*/ 2033992 h 6689084"/>
              <a:gd name="connsiteX2191" fmla="*/ 6346700 w 6689088"/>
              <a:gd name="connsiteY2191" fmla="*/ 2075019 h 6689084"/>
              <a:gd name="connsiteX2192" fmla="*/ 6305668 w 6689088"/>
              <a:gd name="connsiteY2192" fmla="*/ 2116047 h 6689084"/>
              <a:gd name="connsiteX2193" fmla="*/ 6264640 w 6689088"/>
              <a:gd name="connsiteY2193" fmla="*/ 2075019 h 6689084"/>
              <a:gd name="connsiteX2194" fmla="*/ 6305668 w 6689088"/>
              <a:gd name="connsiteY2194" fmla="*/ 2033992 h 6689084"/>
              <a:gd name="connsiteX2195" fmla="*/ 6459616 w 6689088"/>
              <a:gd name="connsiteY2195" fmla="*/ 2031449 h 6689084"/>
              <a:gd name="connsiteX2196" fmla="*/ 6503186 w 6689088"/>
              <a:gd name="connsiteY2196" fmla="*/ 2075019 h 6689084"/>
              <a:gd name="connsiteX2197" fmla="*/ 6459616 w 6689088"/>
              <a:gd name="connsiteY2197" fmla="*/ 2118590 h 6689084"/>
              <a:gd name="connsiteX2198" fmla="*/ 6416046 w 6689088"/>
              <a:gd name="connsiteY2198" fmla="*/ 2075019 h 6689084"/>
              <a:gd name="connsiteX2199" fmla="*/ 6459616 w 6689088"/>
              <a:gd name="connsiteY2199" fmla="*/ 2031449 h 6689084"/>
              <a:gd name="connsiteX2200" fmla="*/ 6613200 w 6689088"/>
              <a:gd name="connsiteY2200" fmla="*/ 2028911 h 6689084"/>
              <a:gd name="connsiteX2201" fmla="*/ 6659313 w 6689088"/>
              <a:gd name="connsiteY2201" fmla="*/ 2075023 h 6689084"/>
              <a:gd name="connsiteX2202" fmla="*/ 6613200 w 6689088"/>
              <a:gd name="connsiteY2202" fmla="*/ 2121136 h 6689084"/>
              <a:gd name="connsiteX2203" fmla="*/ 6567088 w 6689088"/>
              <a:gd name="connsiteY2203" fmla="*/ 2075023 h 6689084"/>
              <a:gd name="connsiteX2204" fmla="*/ 6613200 w 6689088"/>
              <a:gd name="connsiteY2204" fmla="*/ 2028911 h 6689084"/>
              <a:gd name="connsiteX2205" fmla="*/ 2614925 w 6689088"/>
              <a:gd name="connsiteY2205" fmla="*/ 1921072 h 6689084"/>
              <a:gd name="connsiteX2206" fmla="*/ 2615288 w 6689088"/>
              <a:gd name="connsiteY2206" fmla="*/ 1921434 h 6689084"/>
              <a:gd name="connsiteX2207" fmla="*/ 2614925 w 6689088"/>
              <a:gd name="connsiteY2207" fmla="*/ 1921800 h 6689084"/>
              <a:gd name="connsiteX2208" fmla="*/ 2614563 w 6689088"/>
              <a:gd name="connsiteY2208" fmla="*/ 1921434 h 6689084"/>
              <a:gd name="connsiteX2209" fmla="*/ 2614925 w 6689088"/>
              <a:gd name="connsiteY2209" fmla="*/ 1921072 h 6689084"/>
              <a:gd name="connsiteX2210" fmla="*/ 2153808 w 6689088"/>
              <a:gd name="connsiteY2210" fmla="*/ 1921072 h 6689084"/>
              <a:gd name="connsiteX2211" fmla="*/ 2154170 w 6689088"/>
              <a:gd name="connsiteY2211" fmla="*/ 1921434 h 6689084"/>
              <a:gd name="connsiteX2212" fmla="*/ 2153808 w 6689088"/>
              <a:gd name="connsiteY2212" fmla="*/ 1921800 h 6689084"/>
              <a:gd name="connsiteX2213" fmla="*/ 2153445 w 6689088"/>
              <a:gd name="connsiteY2213" fmla="*/ 1921434 h 6689084"/>
              <a:gd name="connsiteX2214" fmla="*/ 2153808 w 6689088"/>
              <a:gd name="connsiteY2214" fmla="*/ 1921072 h 6689084"/>
              <a:gd name="connsiteX2215" fmla="*/ 1999860 w 6689088"/>
              <a:gd name="connsiteY2215" fmla="*/ 1921072 h 6689084"/>
              <a:gd name="connsiteX2216" fmla="*/ 2000222 w 6689088"/>
              <a:gd name="connsiteY2216" fmla="*/ 1921434 h 6689084"/>
              <a:gd name="connsiteX2217" fmla="*/ 1999860 w 6689088"/>
              <a:gd name="connsiteY2217" fmla="*/ 1921800 h 6689084"/>
              <a:gd name="connsiteX2218" fmla="*/ 1999498 w 6689088"/>
              <a:gd name="connsiteY2218" fmla="*/ 1921434 h 6689084"/>
              <a:gd name="connsiteX2219" fmla="*/ 1999860 w 6689088"/>
              <a:gd name="connsiteY2219" fmla="*/ 1921072 h 6689084"/>
              <a:gd name="connsiteX2220" fmla="*/ 1846279 w 6689088"/>
              <a:gd name="connsiteY2220" fmla="*/ 1920710 h 6689084"/>
              <a:gd name="connsiteX2221" fmla="*/ 1847003 w 6689088"/>
              <a:gd name="connsiteY2221" fmla="*/ 1921434 h 6689084"/>
              <a:gd name="connsiteX2222" fmla="*/ 1846279 w 6689088"/>
              <a:gd name="connsiteY2222" fmla="*/ 1922162 h 6689084"/>
              <a:gd name="connsiteX2223" fmla="*/ 1845551 w 6689088"/>
              <a:gd name="connsiteY2223" fmla="*/ 1921434 h 6689084"/>
              <a:gd name="connsiteX2224" fmla="*/ 1846279 w 6689088"/>
              <a:gd name="connsiteY2224" fmla="*/ 1920710 h 6689084"/>
              <a:gd name="connsiteX2225" fmla="*/ 2768873 w 6689088"/>
              <a:gd name="connsiteY2225" fmla="*/ 1919620 h 6689084"/>
              <a:gd name="connsiteX2226" fmla="*/ 2770325 w 6689088"/>
              <a:gd name="connsiteY2226" fmla="*/ 1921072 h 6689084"/>
              <a:gd name="connsiteX2227" fmla="*/ 2768873 w 6689088"/>
              <a:gd name="connsiteY2227" fmla="*/ 1922524 h 6689084"/>
              <a:gd name="connsiteX2228" fmla="*/ 2767421 w 6689088"/>
              <a:gd name="connsiteY2228" fmla="*/ 1921072 h 6689084"/>
              <a:gd name="connsiteX2229" fmla="*/ 2768873 w 6689088"/>
              <a:gd name="connsiteY2229" fmla="*/ 1919620 h 6689084"/>
              <a:gd name="connsiteX2230" fmla="*/ 2922454 w 6689088"/>
              <a:gd name="connsiteY2230" fmla="*/ 1918895 h 6689084"/>
              <a:gd name="connsiteX2231" fmla="*/ 2924635 w 6689088"/>
              <a:gd name="connsiteY2231" fmla="*/ 1921076 h 6689084"/>
              <a:gd name="connsiteX2232" fmla="*/ 2922454 w 6689088"/>
              <a:gd name="connsiteY2232" fmla="*/ 1923252 h 6689084"/>
              <a:gd name="connsiteX2233" fmla="*/ 2920278 w 6689088"/>
              <a:gd name="connsiteY2233" fmla="*/ 1921076 h 6689084"/>
              <a:gd name="connsiteX2234" fmla="*/ 2922454 w 6689088"/>
              <a:gd name="connsiteY2234" fmla="*/ 1918895 h 6689084"/>
              <a:gd name="connsiteX2235" fmla="*/ 3076406 w 6689088"/>
              <a:gd name="connsiteY2235" fmla="*/ 1918167 h 6689084"/>
              <a:gd name="connsiteX2236" fmla="*/ 3079672 w 6689088"/>
              <a:gd name="connsiteY2236" fmla="*/ 1921434 h 6689084"/>
              <a:gd name="connsiteX2237" fmla="*/ 3076406 w 6689088"/>
              <a:gd name="connsiteY2237" fmla="*/ 1924701 h 6689084"/>
              <a:gd name="connsiteX2238" fmla="*/ 3073135 w 6689088"/>
              <a:gd name="connsiteY2238" fmla="*/ 1921434 h 6689084"/>
              <a:gd name="connsiteX2239" fmla="*/ 3076406 w 6689088"/>
              <a:gd name="connsiteY2239" fmla="*/ 1918167 h 6689084"/>
              <a:gd name="connsiteX2240" fmla="*/ 3230353 w 6689088"/>
              <a:gd name="connsiteY2240" fmla="*/ 1916715 h 6689084"/>
              <a:gd name="connsiteX2241" fmla="*/ 3234710 w 6689088"/>
              <a:gd name="connsiteY2241" fmla="*/ 1921072 h 6689084"/>
              <a:gd name="connsiteX2242" fmla="*/ 3230353 w 6689088"/>
              <a:gd name="connsiteY2242" fmla="*/ 1925429 h 6689084"/>
              <a:gd name="connsiteX2243" fmla="*/ 3225996 w 6689088"/>
              <a:gd name="connsiteY2243" fmla="*/ 1921072 h 6689084"/>
              <a:gd name="connsiteX2244" fmla="*/ 3230353 w 6689088"/>
              <a:gd name="connsiteY2244" fmla="*/ 1916715 h 6689084"/>
              <a:gd name="connsiteX2245" fmla="*/ 3383938 w 6689088"/>
              <a:gd name="connsiteY2245" fmla="*/ 1915625 h 6689084"/>
              <a:gd name="connsiteX2246" fmla="*/ 3389748 w 6689088"/>
              <a:gd name="connsiteY2246" fmla="*/ 1921434 h 6689084"/>
              <a:gd name="connsiteX2247" fmla="*/ 3383938 w 6689088"/>
              <a:gd name="connsiteY2247" fmla="*/ 1927243 h 6689084"/>
              <a:gd name="connsiteX2248" fmla="*/ 3378129 w 6689088"/>
              <a:gd name="connsiteY2248" fmla="*/ 1921434 h 6689084"/>
              <a:gd name="connsiteX2249" fmla="*/ 3383938 w 6689088"/>
              <a:gd name="connsiteY2249" fmla="*/ 1915625 h 6689084"/>
              <a:gd name="connsiteX2250" fmla="*/ 3537882 w 6689088"/>
              <a:gd name="connsiteY2250" fmla="*/ 1913810 h 6689084"/>
              <a:gd name="connsiteX2251" fmla="*/ 3545143 w 6689088"/>
              <a:gd name="connsiteY2251" fmla="*/ 1921072 h 6689084"/>
              <a:gd name="connsiteX2252" fmla="*/ 3537882 w 6689088"/>
              <a:gd name="connsiteY2252" fmla="*/ 1928334 h 6689084"/>
              <a:gd name="connsiteX2253" fmla="*/ 3530620 w 6689088"/>
              <a:gd name="connsiteY2253" fmla="*/ 1921072 h 6689084"/>
              <a:gd name="connsiteX2254" fmla="*/ 3537882 w 6689088"/>
              <a:gd name="connsiteY2254" fmla="*/ 1913810 h 6689084"/>
              <a:gd name="connsiteX2255" fmla="*/ 3691467 w 6689088"/>
              <a:gd name="connsiteY2255" fmla="*/ 1911996 h 6689084"/>
              <a:gd name="connsiteX2256" fmla="*/ 3700547 w 6689088"/>
              <a:gd name="connsiteY2256" fmla="*/ 1921072 h 6689084"/>
              <a:gd name="connsiteX2257" fmla="*/ 3691467 w 6689088"/>
              <a:gd name="connsiteY2257" fmla="*/ 1930152 h 6689084"/>
              <a:gd name="connsiteX2258" fmla="*/ 3682391 w 6689088"/>
              <a:gd name="connsiteY2258" fmla="*/ 1921072 h 6689084"/>
              <a:gd name="connsiteX2259" fmla="*/ 3691467 w 6689088"/>
              <a:gd name="connsiteY2259" fmla="*/ 1911996 h 6689084"/>
              <a:gd name="connsiteX2260" fmla="*/ 3845414 w 6689088"/>
              <a:gd name="connsiteY2260" fmla="*/ 1911268 h 6689084"/>
              <a:gd name="connsiteX2261" fmla="*/ 3855581 w 6689088"/>
              <a:gd name="connsiteY2261" fmla="*/ 1921434 h 6689084"/>
              <a:gd name="connsiteX2262" fmla="*/ 3845414 w 6689088"/>
              <a:gd name="connsiteY2262" fmla="*/ 1931600 h 6689084"/>
              <a:gd name="connsiteX2263" fmla="*/ 3835248 w 6689088"/>
              <a:gd name="connsiteY2263" fmla="*/ 1921434 h 6689084"/>
              <a:gd name="connsiteX2264" fmla="*/ 3845414 w 6689088"/>
              <a:gd name="connsiteY2264" fmla="*/ 1911268 h 6689084"/>
              <a:gd name="connsiteX2265" fmla="*/ 3999000 w 6689088"/>
              <a:gd name="connsiteY2265" fmla="*/ 1909091 h 6689084"/>
              <a:gd name="connsiteX2266" fmla="*/ 4010984 w 6689088"/>
              <a:gd name="connsiteY2266" fmla="*/ 1921072 h 6689084"/>
              <a:gd name="connsiteX2267" fmla="*/ 3999000 w 6689088"/>
              <a:gd name="connsiteY2267" fmla="*/ 1933053 h 6689084"/>
              <a:gd name="connsiteX2268" fmla="*/ 3987019 w 6689088"/>
              <a:gd name="connsiteY2268" fmla="*/ 1921072 h 6689084"/>
              <a:gd name="connsiteX2269" fmla="*/ 3999000 w 6689088"/>
              <a:gd name="connsiteY2269" fmla="*/ 1909091 h 6689084"/>
              <a:gd name="connsiteX2270" fmla="*/ 4152951 w 6689088"/>
              <a:gd name="connsiteY2270" fmla="*/ 1907277 h 6689084"/>
              <a:gd name="connsiteX2271" fmla="*/ 4166746 w 6689088"/>
              <a:gd name="connsiteY2271" fmla="*/ 1921076 h 6689084"/>
              <a:gd name="connsiteX2272" fmla="*/ 4152951 w 6689088"/>
              <a:gd name="connsiteY2272" fmla="*/ 1934871 h 6689084"/>
              <a:gd name="connsiteX2273" fmla="*/ 4139152 w 6689088"/>
              <a:gd name="connsiteY2273" fmla="*/ 1921076 h 6689084"/>
              <a:gd name="connsiteX2274" fmla="*/ 4152951 w 6689088"/>
              <a:gd name="connsiteY2274" fmla="*/ 1907277 h 6689084"/>
              <a:gd name="connsiteX2275" fmla="*/ 4306528 w 6689088"/>
              <a:gd name="connsiteY2275" fmla="*/ 1905824 h 6689084"/>
              <a:gd name="connsiteX2276" fmla="*/ 4321780 w 6689088"/>
              <a:gd name="connsiteY2276" fmla="*/ 1921072 h 6689084"/>
              <a:gd name="connsiteX2277" fmla="*/ 4306528 w 6689088"/>
              <a:gd name="connsiteY2277" fmla="*/ 1936323 h 6689084"/>
              <a:gd name="connsiteX2278" fmla="*/ 4291281 w 6689088"/>
              <a:gd name="connsiteY2278" fmla="*/ 1921072 h 6689084"/>
              <a:gd name="connsiteX2279" fmla="*/ 4306528 w 6689088"/>
              <a:gd name="connsiteY2279" fmla="*/ 1905824 h 6689084"/>
              <a:gd name="connsiteX2280" fmla="*/ 4460480 w 6689088"/>
              <a:gd name="connsiteY2280" fmla="*/ 1904006 h 6689084"/>
              <a:gd name="connsiteX2281" fmla="*/ 4477546 w 6689088"/>
              <a:gd name="connsiteY2281" fmla="*/ 1921072 h 6689084"/>
              <a:gd name="connsiteX2282" fmla="*/ 4460480 w 6689088"/>
              <a:gd name="connsiteY2282" fmla="*/ 1938138 h 6689084"/>
              <a:gd name="connsiteX2283" fmla="*/ 4443414 w 6689088"/>
              <a:gd name="connsiteY2283" fmla="*/ 1921072 h 6689084"/>
              <a:gd name="connsiteX2284" fmla="*/ 4460480 w 6689088"/>
              <a:gd name="connsiteY2284" fmla="*/ 1904006 h 6689084"/>
              <a:gd name="connsiteX2285" fmla="*/ 4614061 w 6689088"/>
              <a:gd name="connsiteY2285" fmla="*/ 1901830 h 6689084"/>
              <a:gd name="connsiteX2286" fmla="*/ 4633304 w 6689088"/>
              <a:gd name="connsiteY2286" fmla="*/ 1921072 h 6689084"/>
              <a:gd name="connsiteX2287" fmla="*/ 4614061 w 6689088"/>
              <a:gd name="connsiteY2287" fmla="*/ 1940314 h 6689084"/>
              <a:gd name="connsiteX2288" fmla="*/ 4594818 w 6689088"/>
              <a:gd name="connsiteY2288" fmla="*/ 1921072 h 6689084"/>
              <a:gd name="connsiteX2289" fmla="*/ 4614061 w 6689088"/>
              <a:gd name="connsiteY2289" fmla="*/ 1901830 h 6689084"/>
              <a:gd name="connsiteX2290" fmla="*/ 4768012 w 6689088"/>
              <a:gd name="connsiteY2290" fmla="*/ 1899649 h 6689084"/>
              <a:gd name="connsiteX2291" fmla="*/ 4789432 w 6689088"/>
              <a:gd name="connsiteY2291" fmla="*/ 1921072 h 6689084"/>
              <a:gd name="connsiteX2292" fmla="*/ 4768012 w 6689088"/>
              <a:gd name="connsiteY2292" fmla="*/ 1942495 h 6689084"/>
              <a:gd name="connsiteX2293" fmla="*/ 4746590 w 6689088"/>
              <a:gd name="connsiteY2293" fmla="*/ 1921072 h 6689084"/>
              <a:gd name="connsiteX2294" fmla="*/ 4768012 w 6689088"/>
              <a:gd name="connsiteY2294" fmla="*/ 1899649 h 6689084"/>
              <a:gd name="connsiteX2295" fmla="*/ 4921594 w 6689088"/>
              <a:gd name="connsiteY2295" fmla="*/ 1898563 h 6689084"/>
              <a:gd name="connsiteX2296" fmla="*/ 4944469 w 6689088"/>
              <a:gd name="connsiteY2296" fmla="*/ 1921438 h 6689084"/>
              <a:gd name="connsiteX2297" fmla="*/ 4921594 w 6689088"/>
              <a:gd name="connsiteY2297" fmla="*/ 1944309 h 6689084"/>
              <a:gd name="connsiteX2298" fmla="*/ 4898718 w 6689088"/>
              <a:gd name="connsiteY2298" fmla="*/ 1921438 h 6689084"/>
              <a:gd name="connsiteX2299" fmla="*/ 4921594 w 6689088"/>
              <a:gd name="connsiteY2299" fmla="*/ 1898563 h 6689084"/>
              <a:gd name="connsiteX2300" fmla="*/ 5075541 w 6689088"/>
              <a:gd name="connsiteY2300" fmla="*/ 1896382 h 6689084"/>
              <a:gd name="connsiteX2301" fmla="*/ 5100597 w 6689088"/>
              <a:gd name="connsiteY2301" fmla="*/ 1921434 h 6689084"/>
              <a:gd name="connsiteX2302" fmla="*/ 5075541 w 6689088"/>
              <a:gd name="connsiteY2302" fmla="*/ 1946490 h 6689084"/>
              <a:gd name="connsiteX2303" fmla="*/ 5050490 w 6689088"/>
              <a:gd name="connsiteY2303" fmla="*/ 1921434 h 6689084"/>
              <a:gd name="connsiteX2304" fmla="*/ 5075541 w 6689088"/>
              <a:gd name="connsiteY2304" fmla="*/ 1896382 h 6689084"/>
              <a:gd name="connsiteX2305" fmla="*/ 5229126 w 6689088"/>
              <a:gd name="connsiteY2305" fmla="*/ 1894206 h 6689084"/>
              <a:gd name="connsiteX2306" fmla="*/ 5256358 w 6689088"/>
              <a:gd name="connsiteY2306" fmla="*/ 1921438 h 6689084"/>
              <a:gd name="connsiteX2307" fmla="*/ 5229126 w 6689088"/>
              <a:gd name="connsiteY2307" fmla="*/ 1948670 h 6689084"/>
              <a:gd name="connsiteX2308" fmla="*/ 5201894 w 6689088"/>
              <a:gd name="connsiteY2308" fmla="*/ 1921438 h 6689084"/>
              <a:gd name="connsiteX2309" fmla="*/ 5229126 w 6689088"/>
              <a:gd name="connsiteY2309" fmla="*/ 1894206 h 6689084"/>
              <a:gd name="connsiteX2310" fmla="*/ 5383074 w 6689088"/>
              <a:gd name="connsiteY2310" fmla="*/ 1891301 h 6689084"/>
              <a:gd name="connsiteX2311" fmla="*/ 5412848 w 6689088"/>
              <a:gd name="connsiteY2311" fmla="*/ 1921072 h 6689084"/>
              <a:gd name="connsiteX2312" fmla="*/ 5383074 w 6689088"/>
              <a:gd name="connsiteY2312" fmla="*/ 1950847 h 6689084"/>
              <a:gd name="connsiteX2313" fmla="*/ 5353303 w 6689088"/>
              <a:gd name="connsiteY2313" fmla="*/ 1921072 h 6689084"/>
              <a:gd name="connsiteX2314" fmla="*/ 5383074 w 6689088"/>
              <a:gd name="connsiteY2314" fmla="*/ 1891301 h 6689084"/>
              <a:gd name="connsiteX2315" fmla="*/ 5536659 w 6689088"/>
              <a:gd name="connsiteY2315" fmla="*/ 1889121 h 6689084"/>
              <a:gd name="connsiteX2316" fmla="*/ 5568610 w 6689088"/>
              <a:gd name="connsiteY2316" fmla="*/ 1921072 h 6689084"/>
              <a:gd name="connsiteX2317" fmla="*/ 5536659 w 6689088"/>
              <a:gd name="connsiteY2317" fmla="*/ 1953023 h 6689084"/>
              <a:gd name="connsiteX2318" fmla="*/ 5504708 w 6689088"/>
              <a:gd name="connsiteY2318" fmla="*/ 1921072 h 6689084"/>
              <a:gd name="connsiteX2319" fmla="*/ 5536659 w 6689088"/>
              <a:gd name="connsiteY2319" fmla="*/ 1889121 h 6689084"/>
              <a:gd name="connsiteX2320" fmla="*/ 5690606 w 6689088"/>
              <a:gd name="connsiteY2320" fmla="*/ 1887306 h 6689084"/>
              <a:gd name="connsiteX2321" fmla="*/ 5724376 w 6689088"/>
              <a:gd name="connsiteY2321" fmla="*/ 1921072 h 6689084"/>
              <a:gd name="connsiteX2322" fmla="*/ 5690606 w 6689088"/>
              <a:gd name="connsiteY2322" fmla="*/ 1954842 h 6689084"/>
              <a:gd name="connsiteX2323" fmla="*/ 5656840 w 6689088"/>
              <a:gd name="connsiteY2323" fmla="*/ 1921072 h 6689084"/>
              <a:gd name="connsiteX2324" fmla="*/ 5690606 w 6689088"/>
              <a:gd name="connsiteY2324" fmla="*/ 1887306 h 6689084"/>
              <a:gd name="connsiteX2325" fmla="*/ 5844554 w 6689088"/>
              <a:gd name="connsiteY2325" fmla="*/ 1884764 h 6689084"/>
              <a:gd name="connsiteX2326" fmla="*/ 5880862 w 6689088"/>
              <a:gd name="connsiteY2326" fmla="*/ 1921072 h 6689084"/>
              <a:gd name="connsiteX2327" fmla="*/ 5844554 w 6689088"/>
              <a:gd name="connsiteY2327" fmla="*/ 1957380 h 6689084"/>
              <a:gd name="connsiteX2328" fmla="*/ 5808246 w 6689088"/>
              <a:gd name="connsiteY2328" fmla="*/ 1921072 h 6689084"/>
              <a:gd name="connsiteX2329" fmla="*/ 5844554 w 6689088"/>
              <a:gd name="connsiteY2329" fmla="*/ 1884764 h 6689084"/>
              <a:gd name="connsiteX2330" fmla="*/ 5998139 w 6689088"/>
              <a:gd name="connsiteY2330" fmla="*/ 1882225 h 6689084"/>
              <a:gd name="connsiteX2331" fmla="*/ 6036990 w 6689088"/>
              <a:gd name="connsiteY2331" fmla="*/ 1921076 h 6689084"/>
              <a:gd name="connsiteX2332" fmla="*/ 5998139 w 6689088"/>
              <a:gd name="connsiteY2332" fmla="*/ 1959923 h 6689084"/>
              <a:gd name="connsiteX2333" fmla="*/ 5959288 w 6689088"/>
              <a:gd name="connsiteY2333" fmla="*/ 1921076 h 6689084"/>
              <a:gd name="connsiteX2334" fmla="*/ 5998139 w 6689088"/>
              <a:gd name="connsiteY2334" fmla="*/ 1882225 h 6689084"/>
              <a:gd name="connsiteX2335" fmla="*/ 6152083 w 6689088"/>
              <a:gd name="connsiteY2335" fmla="*/ 1880045 h 6689084"/>
              <a:gd name="connsiteX2336" fmla="*/ 6193114 w 6689088"/>
              <a:gd name="connsiteY2336" fmla="*/ 1921072 h 6689084"/>
              <a:gd name="connsiteX2337" fmla="*/ 6152083 w 6689088"/>
              <a:gd name="connsiteY2337" fmla="*/ 1962103 h 6689084"/>
              <a:gd name="connsiteX2338" fmla="*/ 6111056 w 6689088"/>
              <a:gd name="connsiteY2338" fmla="*/ 1921072 h 6689084"/>
              <a:gd name="connsiteX2339" fmla="*/ 6152083 w 6689088"/>
              <a:gd name="connsiteY2339" fmla="*/ 1880045 h 6689084"/>
              <a:gd name="connsiteX2340" fmla="*/ 6305668 w 6689088"/>
              <a:gd name="connsiteY2340" fmla="*/ 1877502 h 6689084"/>
              <a:gd name="connsiteX2341" fmla="*/ 6349238 w 6689088"/>
              <a:gd name="connsiteY2341" fmla="*/ 1921072 h 6689084"/>
              <a:gd name="connsiteX2342" fmla="*/ 6305668 w 6689088"/>
              <a:gd name="connsiteY2342" fmla="*/ 1964642 h 6689084"/>
              <a:gd name="connsiteX2343" fmla="*/ 6262098 w 6689088"/>
              <a:gd name="connsiteY2343" fmla="*/ 1921072 h 6689084"/>
              <a:gd name="connsiteX2344" fmla="*/ 6305668 w 6689088"/>
              <a:gd name="connsiteY2344" fmla="*/ 1877502 h 6689084"/>
              <a:gd name="connsiteX2345" fmla="*/ 6459616 w 6689088"/>
              <a:gd name="connsiteY2345" fmla="*/ 1874959 h 6689084"/>
              <a:gd name="connsiteX2346" fmla="*/ 6505728 w 6689088"/>
              <a:gd name="connsiteY2346" fmla="*/ 1921072 h 6689084"/>
              <a:gd name="connsiteX2347" fmla="*/ 6459616 w 6689088"/>
              <a:gd name="connsiteY2347" fmla="*/ 1967184 h 6689084"/>
              <a:gd name="connsiteX2348" fmla="*/ 6413503 w 6689088"/>
              <a:gd name="connsiteY2348" fmla="*/ 1921072 h 6689084"/>
              <a:gd name="connsiteX2349" fmla="*/ 6459616 w 6689088"/>
              <a:gd name="connsiteY2349" fmla="*/ 1874959 h 6689084"/>
              <a:gd name="connsiteX2350" fmla="*/ 6613200 w 6689088"/>
              <a:gd name="connsiteY2350" fmla="*/ 1872421 h 6689084"/>
              <a:gd name="connsiteX2351" fmla="*/ 6661856 w 6689088"/>
              <a:gd name="connsiteY2351" fmla="*/ 1921076 h 6689084"/>
              <a:gd name="connsiteX2352" fmla="*/ 6613200 w 6689088"/>
              <a:gd name="connsiteY2352" fmla="*/ 1969727 h 6689084"/>
              <a:gd name="connsiteX2353" fmla="*/ 6564550 w 6689088"/>
              <a:gd name="connsiteY2353" fmla="*/ 1921076 h 6689084"/>
              <a:gd name="connsiteX2354" fmla="*/ 6613200 w 6689088"/>
              <a:gd name="connsiteY2354" fmla="*/ 1872421 h 6689084"/>
              <a:gd name="connsiteX2355" fmla="*/ 2461340 w 6689088"/>
              <a:gd name="connsiteY2355" fmla="*/ 1767125 h 6689084"/>
              <a:gd name="connsiteX2356" fmla="*/ 2461702 w 6689088"/>
              <a:gd name="connsiteY2356" fmla="*/ 1767487 h 6689084"/>
              <a:gd name="connsiteX2357" fmla="*/ 2461340 w 6689088"/>
              <a:gd name="connsiteY2357" fmla="*/ 1767853 h 6689084"/>
              <a:gd name="connsiteX2358" fmla="*/ 2460978 w 6689088"/>
              <a:gd name="connsiteY2358" fmla="*/ 1767487 h 6689084"/>
              <a:gd name="connsiteX2359" fmla="*/ 2461340 w 6689088"/>
              <a:gd name="connsiteY2359" fmla="*/ 1767125 h 6689084"/>
              <a:gd name="connsiteX2360" fmla="*/ 1999860 w 6689088"/>
              <a:gd name="connsiteY2360" fmla="*/ 1767125 h 6689084"/>
              <a:gd name="connsiteX2361" fmla="*/ 2000222 w 6689088"/>
              <a:gd name="connsiteY2361" fmla="*/ 1767487 h 6689084"/>
              <a:gd name="connsiteX2362" fmla="*/ 1999860 w 6689088"/>
              <a:gd name="connsiteY2362" fmla="*/ 1767853 h 6689084"/>
              <a:gd name="connsiteX2363" fmla="*/ 1999498 w 6689088"/>
              <a:gd name="connsiteY2363" fmla="*/ 1767487 h 6689084"/>
              <a:gd name="connsiteX2364" fmla="*/ 1999860 w 6689088"/>
              <a:gd name="connsiteY2364" fmla="*/ 1767125 h 6689084"/>
              <a:gd name="connsiteX2365" fmla="*/ 1846279 w 6689088"/>
              <a:gd name="connsiteY2365" fmla="*/ 1767125 h 6689084"/>
              <a:gd name="connsiteX2366" fmla="*/ 1846641 w 6689088"/>
              <a:gd name="connsiteY2366" fmla="*/ 1767487 h 6689084"/>
              <a:gd name="connsiteX2367" fmla="*/ 1846279 w 6689088"/>
              <a:gd name="connsiteY2367" fmla="*/ 1767853 h 6689084"/>
              <a:gd name="connsiteX2368" fmla="*/ 1845917 w 6689088"/>
              <a:gd name="connsiteY2368" fmla="*/ 1767487 h 6689084"/>
              <a:gd name="connsiteX2369" fmla="*/ 1846279 w 6689088"/>
              <a:gd name="connsiteY2369" fmla="*/ 1767125 h 6689084"/>
              <a:gd name="connsiteX2370" fmla="*/ 1692328 w 6689088"/>
              <a:gd name="connsiteY2370" fmla="*/ 1766762 h 6689084"/>
              <a:gd name="connsiteX2371" fmla="*/ 1693056 w 6689088"/>
              <a:gd name="connsiteY2371" fmla="*/ 1767491 h 6689084"/>
              <a:gd name="connsiteX2372" fmla="*/ 1692328 w 6689088"/>
              <a:gd name="connsiteY2372" fmla="*/ 1768215 h 6689084"/>
              <a:gd name="connsiteX2373" fmla="*/ 1691603 w 6689088"/>
              <a:gd name="connsiteY2373" fmla="*/ 1767491 h 6689084"/>
              <a:gd name="connsiteX2374" fmla="*/ 1692328 w 6689088"/>
              <a:gd name="connsiteY2374" fmla="*/ 1766762 h 6689084"/>
              <a:gd name="connsiteX2375" fmla="*/ 2614925 w 6689088"/>
              <a:gd name="connsiteY2375" fmla="*/ 1765672 h 6689084"/>
              <a:gd name="connsiteX2376" fmla="*/ 2616378 w 6689088"/>
              <a:gd name="connsiteY2376" fmla="*/ 1767125 h 6689084"/>
              <a:gd name="connsiteX2377" fmla="*/ 2614925 w 6689088"/>
              <a:gd name="connsiteY2377" fmla="*/ 1768577 h 6689084"/>
              <a:gd name="connsiteX2378" fmla="*/ 2613473 w 6689088"/>
              <a:gd name="connsiteY2378" fmla="*/ 1767125 h 6689084"/>
              <a:gd name="connsiteX2379" fmla="*/ 2614925 w 6689088"/>
              <a:gd name="connsiteY2379" fmla="*/ 1765672 h 6689084"/>
              <a:gd name="connsiteX2380" fmla="*/ 2768873 w 6689088"/>
              <a:gd name="connsiteY2380" fmla="*/ 1765310 h 6689084"/>
              <a:gd name="connsiteX2381" fmla="*/ 2771049 w 6689088"/>
              <a:gd name="connsiteY2381" fmla="*/ 1767491 h 6689084"/>
              <a:gd name="connsiteX2382" fmla="*/ 2768873 w 6689088"/>
              <a:gd name="connsiteY2382" fmla="*/ 1769667 h 6689084"/>
              <a:gd name="connsiteX2383" fmla="*/ 2766692 w 6689088"/>
              <a:gd name="connsiteY2383" fmla="*/ 1767491 h 6689084"/>
              <a:gd name="connsiteX2384" fmla="*/ 2768873 w 6689088"/>
              <a:gd name="connsiteY2384" fmla="*/ 1765310 h 6689084"/>
              <a:gd name="connsiteX2385" fmla="*/ 2922454 w 6689088"/>
              <a:gd name="connsiteY2385" fmla="*/ 1764220 h 6689084"/>
              <a:gd name="connsiteX2386" fmla="*/ 2925721 w 6689088"/>
              <a:gd name="connsiteY2386" fmla="*/ 1767487 h 6689084"/>
              <a:gd name="connsiteX2387" fmla="*/ 2922454 w 6689088"/>
              <a:gd name="connsiteY2387" fmla="*/ 1770757 h 6689084"/>
              <a:gd name="connsiteX2388" fmla="*/ 2919188 w 6689088"/>
              <a:gd name="connsiteY2388" fmla="*/ 1767487 h 6689084"/>
              <a:gd name="connsiteX2389" fmla="*/ 2922454 w 6689088"/>
              <a:gd name="connsiteY2389" fmla="*/ 1764220 h 6689084"/>
              <a:gd name="connsiteX2390" fmla="*/ 3076406 w 6689088"/>
              <a:gd name="connsiteY2390" fmla="*/ 1763134 h 6689084"/>
              <a:gd name="connsiteX2391" fmla="*/ 3080762 w 6689088"/>
              <a:gd name="connsiteY2391" fmla="*/ 1767491 h 6689084"/>
              <a:gd name="connsiteX2392" fmla="*/ 3076406 w 6689088"/>
              <a:gd name="connsiteY2392" fmla="*/ 1771848 h 6689084"/>
              <a:gd name="connsiteX2393" fmla="*/ 3072048 w 6689088"/>
              <a:gd name="connsiteY2393" fmla="*/ 1767491 h 6689084"/>
              <a:gd name="connsiteX2394" fmla="*/ 3076406 w 6689088"/>
              <a:gd name="connsiteY2394" fmla="*/ 1763134 h 6689084"/>
              <a:gd name="connsiteX2395" fmla="*/ 3230353 w 6689088"/>
              <a:gd name="connsiteY2395" fmla="*/ 1761681 h 6689084"/>
              <a:gd name="connsiteX2396" fmla="*/ 3236162 w 6689088"/>
              <a:gd name="connsiteY2396" fmla="*/ 1767491 h 6689084"/>
              <a:gd name="connsiteX2397" fmla="*/ 3230353 w 6689088"/>
              <a:gd name="connsiteY2397" fmla="*/ 1773300 h 6689084"/>
              <a:gd name="connsiteX2398" fmla="*/ 3224544 w 6689088"/>
              <a:gd name="connsiteY2398" fmla="*/ 1767491 h 6689084"/>
              <a:gd name="connsiteX2399" fmla="*/ 3230353 w 6689088"/>
              <a:gd name="connsiteY2399" fmla="*/ 1761681 h 6689084"/>
              <a:gd name="connsiteX2400" fmla="*/ 3383938 w 6689088"/>
              <a:gd name="connsiteY2400" fmla="*/ 1760225 h 6689084"/>
              <a:gd name="connsiteX2401" fmla="*/ 3391200 w 6689088"/>
              <a:gd name="connsiteY2401" fmla="*/ 1767487 h 6689084"/>
              <a:gd name="connsiteX2402" fmla="*/ 3383938 w 6689088"/>
              <a:gd name="connsiteY2402" fmla="*/ 1774748 h 6689084"/>
              <a:gd name="connsiteX2403" fmla="*/ 3376676 w 6689088"/>
              <a:gd name="connsiteY2403" fmla="*/ 1767487 h 6689084"/>
              <a:gd name="connsiteX2404" fmla="*/ 3383938 w 6689088"/>
              <a:gd name="connsiteY2404" fmla="*/ 1760225 h 6689084"/>
              <a:gd name="connsiteX2405" fmla="*/ 3537882 w 6689088"/>
              <a:gd name="connsiteY2405" fmla="*/ 1758411 h 6689084"/>
              <a:gd name="connsiteX2406" fmla="*/ 3546962 w 6689088"/>
              <a:gd name="connsiteY2406" fmla="*/ 1767487 h 6689084"/>
              <a:gd name="connsiteX2407" fmla="*/ 3537882 w 6689088"/>
              <a:gd name="connsiteY2407" fmla="*/ 1776567 h 6689084"/>
              <a:gd name="connsiteX2408" fmla="*/ 3528806 w 6689088"/>
              <a:gd name="connsiteY2408" fmla="*/ 1767487 h 6689084"/>
              <a:gd name="connsiteX2409" fmla="*/ 3537882 w 6689088"/>
              <a:gd name="connsiteY2409" fmla="*/ 1758411 h 6689084"/>
              <a:gd name="connsiteX2410" fmla="*/ 3691467 w 6689088"/>
              <a:gd name="connsiteY2410" fmla="*/ 1757324 h 6689084"/>
              <a:gd name="connsiteX2411" fmla="*/ 3701633 w 6689088"/>
              <a:gd name="connsiteY2411" fmla="*/ 1767491 h 6689084"/>
              <a:gd name="connsiteX2412" fmla="*/ 3691467 w 6689088"/>
              <a:gd name="connsiteY2412" fmla="*/ 1777657 h 6689084"/>
              <a:gd name="connsiteX2413" fmla="*/ 3681300 w 6689088"/>
              <a:gd name="connsiteY2413" fmla="*/ 1767491 h 6689084"/>
              <a:gd name="connsiteX2414" fmla="*/ 3691467 w 6689088"/>
              <a:gd name="connsiteY2414" fmla="*/ 1757324 h 6689084"/>
              <a:gd name="connsiteX2415" fmla="*/ 3845414 w 6689088"/>
              <a:gd name="connsiteY2415" fmla="*/ 1755506 h 6689084"/>
              <a:gd name="connsiteX2416" fmla="*/ 3857399 w 6689088"/>
              <a:gd name="connsiteY2416" fmla="*/ 1767487 h 6689084"/>
              <a:gd name="connsiteX2417" fmla="*/ 3845414 w 6689088"/>
              <a:gd name="connsiteY2417" fmla="*/ 1779468 h 6689084"/>
              <a:gd name="connsiteX2418" fmla="*/ 3833434 w 6689088"/>
              <a:gd name="connsiteY2418" fmla="*/ 1767487 h 6689084"/>
              <a:gd name="connsiteX2419" fmla="*/ 3845414 w 6689088"/>
              <a:gd name="connsiteY2419" fmla="*/ 1755506 h 6689084"/>
              <a:gd name="connsiteX2420" fmla="*/ 3999000 w 6689088"/>
              <a:gd name="connsiteY2420" fmla="*/ 1753329 h 6689084"/>
              <a:gd name="connsiteX2421" fmla="*/ 4012799 w 6689088"/>
              <a:gd name="connsiteY2421" fmla="*/ 1767125 h 6689084"/>
              <a:gd name="connsiteX2422" fmla="*/ 3999000 w 6689088"/>
              <a:gd name="connsiteY2422" fmla="*/ 1780924 h 6689084"/>
              <a:gd name="connsiteX2423" fmla="*/ 3985204 w 6689088"/>
              <a:gd name="connsiteY2423" fmla="*/ 1767125 h 6689084"/>
              <a:gd name="connsiteX2424" fmla="*/ 3999000 w 6689088"/>
              <a:gd name="connsiteY2424" fmla="*/ 1753329 h 6689084"/>
              <a:gd name="connsiteX2425" fmla="*/ 4152947 w 6689088"/>
              <a:gd name="connsiteY2425" fmla="*/ 1752239 h 6689084"/>
              <a:gd name="connsiteX2426" fmla="*/ 4168198 w 6689088"/>
              <a:gd name="connsiteY2426" fmla="*/ 1767491 h 6689084"/>
              <a:gd name="connsiteX2427" fmla="*/ 4152947 w 6689088"/>
              <a:gd name="connsiteY2427" fmla="*/ 1782738 h 6689084"/>
              <a:gd name="connsiteX2428" fmla="*/ 4137700 w 6689088"/>
              <a:gd name="connsiteY2428" fmla="*/ 1767491 h 6689084"/>
              <a:gd name="connsiteX2429" fmla="*/ 4152947 w 6689088"/>
              <a:gd name="connsiteY2429" fmla="*/ 1752239 h 6689084"/>
              <a:gd name="connsiteX2430" fmla="*/ 4306532 w 6689088"/>
              <a:gd name="connsiteY2430" fmla="*/ 1750425 h 6689084"/>
              <a:gd name="connsiteX2431" fmla="*/ 4323598 w 6689088"/>
              <a:gd name="connsiteY2431" fmla="*/ 1767491 h 6689084"/>
              <a:gd name="connsiteX2432" fmla="*/ 4306532 w 6689088"/>
              <a:gd name="connsiteY2432" fmla="*/ 1784556 h 6689084"/>
              <a:gd name="connsiteX2433" fmla="*/ 4289466 w 6689088"/>
              <a:gd name="connsiteY2433" fmla="*/ 1767491 h 6689084"/>
              <a:gd name="connsiteX2434" fmla="*/ 4306532 w 6689088"/>
              <a:gd name="connsiteY2434" fmla="*/ 1750425 h 6689084"/>
              <a:gd name="connsiteX2435" fmla="*/ 4460480 w 6689088"/>
              <a:gd name="connsiteY2435" fmla="*/ 1748244 h 6689084"/>
              <a:gd name="connsiteX2436" fmla="*/ 4479726 w 6689088"/>
              <a:gd name="connsiteY2436" fmla="*/ 1767487 h 6689084"/>
              <a:gd name="connsiteX2437" fmla="*/ 4460480 w 6689088"/>
              <a:gd name="connsiteY2437" fmla="*/ 1786729 h 6689084"/>
              <a:gd name="connsiteX2438" fmla="*/ 4441237 w 6689088"/>
              <a:gd name="connsiteY2438" fmla="*/ 1767487 h 6689084"/>
              <a:gd name="connsiteX2439" fmla="*/ 4460480 w 6689088"/>
              <a:gd name="connsiteY2439" fmla="*/ 1748244 h 6689084"/>
              <a:gd name="connsiteX2440" fmla="*/ 4614065 w 6689088"/>
              <a:gd name="connsiteY2440" fmla="*/ 1746068 h 6689084"/>
              <a:gd name="connsiteX2441" fmla="*/ 4635484 w 6689088"/>
              <a:gd name="connsiteY2441" fmla="*/ 1767491 h 6689084"/>
              <a:gd name="connsiteX2442" fmla="*/ 4614065 w 6689088"/>
              <a:gd name="connsiteY2442" fmla="*/ 1788913 h 6689084"/>
              <a:gd name="connsiteX2443" fmla="*/ 4592642 w 6689088"/>
              <a:gd name="connsiteY2443" fmla="*/ 1767491 h 6689084"/>
              <a:gd name="connsiteX2444" fmla="*/ 4614065 w 6689088"/>
              <a:gd name="connsiteY2444" fmla="*/ 1746068 h 6689084"/>
              <a:gd name="connsiteX2445" fmla="*/ 4768012 w 6689088"/>
              <a:gd name="connsiteY2445" fmla="*/ 1744615 h 6689084"/>
              <a:gd name="connsiteX2446" fmla="*/ 4790884 w 6689088"/>
              <a:gd name="connsiteY2446" fmla="*/ 1767491 h 6689084"/>
              <a:gd name="connsiteX2447" fmla="*/ 4768012 w 6689088"/>
              <a:gd name="connsiteY2447" fmla="*/ 1790366 h 6689084"/>
              <a:gd name="connsiteX2448" fmla="*/ 4745137 w 6689088"/>
              <a:gd name="connsiteY2448" fmla="*/ 1767491 h 6689084"/>
              <a:gd name="connsiteX2449" fmla="*/ 4768012 w 6689088"/>
              <a:gd name="connsiteY2449" fmla="*/ 1744615 h 6689084"/>
              <a:gd name="connsiteX2450" fmla="*/ 4921594 w 6689088"/>
              <a:gd name="connsiteY2450" fmla="*/ 1742435 h 6689084"/>
              <a:gd name="connsiteX2451" fmla="*/ 4946650 w 6689088"/>
              <a:gd name="connsiteY2451" fmla="*/ 1767487 h 6689084"/>
              <a:gd name="connsiteX2452" fmla="*/ 4921594 w 6689088"/>
              <a:gd name="connsiteY2452" fmla="*/ 1792538 h 6689084"/>
              <a:gd name="connsiteX2453" fmla="*/ 4896542 w 6689088"/>
              <a:gd name="connsiteY2453" fmla="*/ 1767487 h 6689084"/>
              <a:gd name="connsiteX2454" fmla="*/ 4921594 w 6689088"/>
              <a:gd name="connsiteY2454" fmla="*/ 1742435 h 6689084"/>
              <a:gd name="connsiteX2455" fmla="*/ 5075545 w 6689088"/>
              <a:gd name="connsiteY2455" fmla="*/ 1740258 h 6689084"/>
              <a:gd name="connsiteX2456" fmla="*/ 5102777 w 6689088"/>
              <a:gd name="connsiteY2456" fmla="*/ 1767491 h 6689084"/>
              <a:gd name="connsiteX2457" fmla="*/ 5075545 w 6689088"/>
              <a:gd name="connsiteY2457" fmla="*/ 1794723 h 6689084"/>
              <a:gd name="connsiteX2458" fmla="*/ 5048313 w 6689088"/>
              <a:gd name="connsiteY2458" fmla="*/ 1767491 h 6689084"/>
              <a:gd name="connsiteX2459" fmla="*/ 5075545 w 6689088"/>
              <a:gd name="connsiteY2459" fmla="*/ 1740258 h 6689084"/>
              <a:gd name="connsiteX2460" fmla="*/ 5229126 w 6689088"/>
              <a:gd name="connsiteY2460" fmla="*/ 1737716 h 6689084"/>
              <a:gd name="connsiteX2461" fmla="*/ 5258901 w 6689088"/>
              <a:gd name="connsiteY2461" fmla="*/ 1767491 h 6689084"/>
              <a:gd name="connsiteX2462" fmla="*/ 5229126 w 6689088"/>
              <a:gd name="connsiteY2462" fmla="*/ 1797261 h 6689084"/>
              <a:gd name="connsiteX2463" fmla="*/ 5199356 w 6689088"/>
              <a:gd name="connsiteY2463" fmla="*/ 1767491 h 6689084"/>
              <a:gd name="connsiteX2464" fmla="*/ 5229126 w 6689088"/>
              <a:gd name="connsiteY2464" fmla="*/ 1737716 h 6689084"/>
              <a:gd name="connsiteX2465" fmla="*/ 5383074 w 6689088"/>
              <a:gd name="connsiteY2465" fmla="*/ 1735535 h 6689084"/>
              <a:gd name="connsiteX2466" fmla="*/ 5415025 w 6689088"/>
              <a:gd name="connsiteY2466" fmla="*/ 1767487 h 6689084"/>
              <a:gd name="connsiteX2467" fmla="*/ 5383074 w 6689088"/>
              <a:gd name="connsiteY2467" fmla="*/ 1799438 h 6689084"/>
              <a:gd name="connsiteX2468" fmla="*/ 5351122 w 6689088"/>
              <a:gd name="connsiteY2468" fmla="*/ 1767487 h 6689084"/>
              <a:gd name="connsiteX2469" fmla="*/ 5383074 w 6689088"/>
              <a:gd name="connsiteY2469" fmla="*/ 1735535 h 6689084"/>
              <a:gd name="connsiteX2470" fmla="*/ 5537025 w 6689088"/>
              <a:gd name="connsiteY2470" fmla="*/ 1733721 h 6689084"/>
              <a:gd name="connsiteX2471" fmla="*/ 5570791 w 6689088"/>
              <a:gd name="connsiteY2471" fmla="*/ 1767487 h 6689084"/>
              <a:gd name="connsiteX2472" fmla="*/ 5537025 w 6689088"/>
              <a:gd name="connsiteY2472" fmla="*/ 1801256 h 6689084"/>
              <a:gd name="connsiteX2473" fmla="*/ 5503256 w 6689088"/>
              <a:gd name="connsiteY2473" fmla="*/ 1767487 h 6689084"/>
              <a:gd name="connsiteX2474" fmla="*/ 5537025 w 6689088"/>
              <a:gd name="connsiteY2474" fmla="*/ 1733721 h 6689084"/>
              <a:gd name="connsiteX2475" fmla="*/ 5690606 w 6689088"/>
              <a:gd name="connsiteY2475" fmla="*/ 1731182 h 6689084"/>
              <a:gd name="connsiteX2476" fmla="*/ 5726915 w 6689088"/>
              <a:gd name="connsiteY2476" fmla="*/ 1767491 h 6689084"/>
              <a:gd name="connsiteX2477" fmla="*/ 5690606 w 6689088"/>
              <a:gd name="connsiteY2477" fmla="*/ 1803799 h 6689084"/>
              <a:gd name="connsiteX2478" fmla="*/ 5654298 w 6689088"/>
              <a:gd name="connsiteY2478" fmla="*/ 1767491 h 6689084"/>
              <a:gd name="connsiteX2479" fmla="*/ 5690606 w 6689088"/>
              <a:gd name="connsiteY2479" fmla="*/ 1731182 h 6689084"/>
              <a:gd name="connsiteX2480" fmla="*/ 5844554 w 6689088"/>
              <a:gd name="connsiteY2480" fmla="*/ 1728640 h 6689084"/>
              <a:gd name="connsiteX2481" fmla="*/ 5883405 w 6689088"/>
              <a:gd name="connsiteY2481" fmla="*/ 1767491 h 6689084"/>
              <a:gd name="connsiteX2482" fmla="*/ 5844554 w 6689088"/>
              <a:gd name="connsiteY2482" fmla="*/ 1806338 h 6689084"/>
              <a:gd name="connsiteX2483" fmla="*/ 5805703 w 6689088"/>
              <a:gd name="connsiteY2483" fmla="*/ 1767491 h 6689084"/>
              <a:gd name="connsiteX2484" fmla="*/ 5844554 w 6689088"/>
              <a:gd name="connsiteY2484" fmla="*/ 1728640 h 6689084"/>
              <a:gd name="connsiteX2485" fmla="*/ 5998136 w 6689088"/>
              <a:gd name="connsiteY2485" fmla="*/ 1726459 h 6689084"/>
              <a:gd name="connsiteX2486" fmla="*/ 6039166 w 6689088"/>
              <a:gd name="connsiteY2486" fmla="*/ 1767487 h 6689084"/>
              <a:gd name="connsiteX2487" fmla="*/ 5998136 w 6689088"/>
              <a:gd name="connsiteY2487" fmla="*/ 1808518 h 6689084"/>
              <a:gd name="connsiteX2488" fmla="*/ 5957108 w 6689088"/>
              <a:gd name="connsiteY2488" fmla="*/ 1767487 h 6689084"/>
              <a:gd name="connsiteX2489" fmla="*/ 5998136 w 6689088"/>
              <a:gd name="connsiteY2489" fmla="*/ 1726459 h 6689084"/>
              <a:gd name="connsiteX2490" fmla="*/ 6152086 w 6689088"/>
              <a:gd name="connsiteY2490" fmla="*/ 1723917 h 6689084"/>
              <a:gd name="connsiteX2491" fmla="*/ 6195656 w 6689088"/>
              <a:gd name="connsiteY2491" fmla="*/ 1767487 h 6689084"/>
              <a:gd name="connsiteX2492" fmla="*/ 6152086 w 6689088"/>
              <a:gd name="connsiteY2492" fmla="*/ 1811057 h 6689084"/>
              <a:gd name="connsiteX2493" fmla="*/ 6108516 w 6689088"/>
              <a:gd name="connsiteY2493" fmla="*/ 1767487 h 6689084"/>
              <a:gd name="connsiteX2494" fmla="*/ 6152086 w 6689088"/>
              <a:gd name="connsiteY2494" fmla="*/ 1723917 h 6689084"/>
              <a:gd name="connsiteX2495" fmla="*/ 6305668 w 6689088"/>
              <a:gd name="connsiteY2495" fmla="*/ 1721378 h 6689084"/>
              <a:gd name="connsiteX2496" fmla="*/ 6351777 w 6689088"/>
              <a:gd name="connsiteY2496" fmla="*/ 1767491 h 6689084"/>
              <a:gd name="connsiteX2497" fmla="*/ 6305668 w 6689088"/>
              <a:gd name="connsiteY2497" fmla="*/ 1813603 h 6689084"/>
              <a:gd name="connsiteX2498" fmla="*/ 6259556 w 6689088"/>
              <a:gd name="connsiteY2498" fmla="*/ 1767491 h 6689084"/>
              <a:gd name="connsiteX2499" fmla="*/ 6305668 w 6689088"/>
              <a:gd name="connsiteY2499" fmla="*/ 1721378 h 6689084"/>
              <a:gd name="connsiteX2500" fmla="*/ 6459619 w 6689088"/>
              <a:gd name="connsiteY2500" fmla="*/ 1718835 h 6689084"/>
              <a:gd name="connsiteX2501" fmla="*/ 6508270 w 6689088"/>
              <a:gd name="connsiteY2501" fmla="*/ 1767491 h 6689084"/>
              <a:gd name="connsiteX2502" fmla="*/ 6459619 w 6689088"/>
              <a:gd name="connsiteY2502" fmla="*/ 1816142 h 6689084"/>
              <a:gd name="connsiteX2503" fmla="*/ 6410964 w 6689088"/>
              <a:gd name="connsiteY2503" fmla="*/ 1767491 h 6689084"/>
              <a:gd name="connsiteX2504" fmla="*/ 6459619 w 6689088"/>
              <a:gd name="connsiteY2504" fmla="*/ 1718835 h 6689084"/>
              <a:gd name="connsiteX2505" fmla="*/ 6613200 w 6689088"/>
              <a:gd name="connsiteY2505" fmla="*/ 1716293 h 6689084"/>
              <a:gd name="connsiteX2506" fmla="*/ 6664398 w 6689088"/>
              <a:gd name="connsiteY2506" fmla="*/ 1767487 h 6689084"/>
              <a:gd name="connsiteX2507" fmla="*/ 6613200 w 6689088"/>
              <a:gd name="connsiteY2507" fmla="*/ 1818681 h 6689084"/>
              <a:gd name="connsiteX2508" fmla="*/ 6562007 w 6689088"/>
              <a:gd name="connsiteY2508" fmla="*/ 1767487 h 6689084"/>
              <a:gd name="connsiteX2509" fmla="*/ 6613200 w 6689088"/>
              <a:gd name="connsiteY2509" fmla="*/ 1716293 h 6689084"/>
              <a:gd name="connsiteX2510" fmla="*/ 2307393 w 6689088"/>
              <a:gd name="connsiteY2510" fmla="*/ 1613539 h 6689084"/>
              <a:gd name="connsiteX2511" fmla="*/ 2307755 w 6689088"/>
              <a:gd name="connsiteY2511" fmla="*/ 1613901 h 6689084"/>
              <a:gd name="connsiteX2512" fmla="*/ 2307393 w 6689088"/>
              <a:gd name="connsiteY2512" fmla="*/ 1614267 h 6689084"/>
              <a:gd name="connsiteX2513" fmla="*/ 2307031 w 6689088"/>
              <a:gd name="connsiteY2513" fmla="*/ 1613901 h 6689084"/>
              <a:gd name="connsiteX2514" fmla="*/ 2307393 w 6689088"/>
              <a:gd name="connsiteY2514" fmla="*/ 1613539 h 6689084"/>
              <a:gd name="connsiteX2515" fmla="*/ 1846279 w 6689088"/>
              <a:gd name="connsiteY2515" fmla="*/ 1613539 h 6689084"/>
              <a:gd name="connsiteX2516" fmla="*/ 1846641 w 6689088"/>
              <a:gd name="connsiteY2516" fmla="*/ 1613901 h 6689084"/>
              <a:gd name="connsiteX2517" fmla="*/ 1846279 w 6689088"/>
              <a:gd name="connsiteY2517" fmla="*/ 1614267 h 6689084"/>
              <a:gd name="connsiteX2518" fmla="*/ 1845917 w 6689088"/>
              <a:gd name="connsiteY2518" fmla="*/ 1613901 h 6689084"/>
              <a:gd name="connsiteX2519" fmla="*/ 1846279 w 6689088"/>
              <a:gd name="connsiteY2519" fmla="*/ 1613539 h 6689084"/>
              <a:gd name="connsiteX2520" fmla="*/ 1692331 w 6689088"/>
              <a:gd name="connsiteY2520" fmla="*/ 1613539 h 6689084"/>
              <a:gd name="connsiteX2521" fmla="*/ 1692694 w 6689088"/>
              <a:gd name="connsiteY2521" fmla="*/ 1613901 h 6689084"/>
              <a:gd name="connsiteX2522" fmla="*/ 1692331 w 6689088"/>
              <a:gd name="connsiteY2522" fmla="*/ 1614267 h 6689084"/>
              <a:gd name="connsiteX2523" fmla="*/ 1691969 w 6689088"/>
              <a:gd name="connsiteY2523" fmla="*/ 1613901 h 6689084"/>
              <a:gd name="connsiteX2524" fmla="*/ 1692331 w 6689088"/>
              <a:gd name="connsiteY2524" fmla="*/ 1613539 h 6689084"/>
              <a:gd name="connsiteX2525" fmla="*/ 1538746 w 6689088"/>
              <a:gd name="connsiteY2525" fmla="*/ 1613177 h 6689084"/>
              <a:gd name="connsiteX2526" fmla="*/ 1539470 w 6689088"/>
              <a:gd name="connsiteY2526" fmla="*/ 1613905 h 6689084"/>
              <a:gd name="connsiteX2527" fmla="*/ 1538746 w 6689088"/>
              <a:gd name="connsiteY2527" fmla="*/ 1614630 h 6689084"/>
              <a:gd name="connsiteX2528" fmla="*/ 1538018 w 6689088"/>
              <a:gd name="connsiteY2528" fmla="*/ 1613905 h 6689084"/>
              <a:gd name="connsiteX2529" fmla="*/ 1538746 w 6689088"/>
              <a:gd name="connsiteY2529" fmla="*/ 1613177 h 6689084"/>
              <a:gd name="connsiteX2530" fmla="*/ 2461340 w 6689088"/>
              <a:gd name="connsiteY2530" fmla="*/ 1612091 h 6689084"/>
              <a:gd name="connsiteX2531" fmla="*/ 2462793 w 6689088"/>
              <a:gd name="connsiteY2531" fmla="*/ 1613543 h 6689084"/>
              <a:gd name="connsiteX2532" fmla="*/ 2461340 w 6689088"/>
              <a:gd name="connsiteY2532" fmla="*/ 1614995 h 6689084"/>
              <a:gd name="connsiteX2533" fmla="*/ 2459888 w 6689088"/>
              <a:gd name="connsiteY2533" fmla="*/ 1613543 h 6689084"/>
              <a:gd name="connsiteX2534" fmla="*/ 2461340 w 6689088"/>
              <a:gd name="connsiteY2534" fmla="*/ 1612091 h 6689084"/>
              <a:gd name="connsiteX2535" fmla="*/ 2614922 w 6689088"/>
              <a:gd name="connsiteY2535" fmla="*/ 1611363 h 6689084"/>
              <a:gd name="connsiteX2536" fmla="*/ 2617102 w 6689088"/>
              <a:gd name="connsiteY2536" fmla="*/ 1613539 h 6689084"/>
              <a:gd name="connsiteX2537" fmla="*/ 2614922 w 6689088"/>
              <a:gd name="connsiteY2537" fmla="*/ 1615720 h 6689084"/>
              <a:gd name="connsiteX2538" fmla="*/ 2612745 w 6689088"/>
              <a:gd name="connsiteY2538" fmla="*/ 1613539 h 6689084"/>
              <a:gd name="connsiteX2539" fmla="*/ 2614922 w 6689088"/>
              <a:gd name="connsiteY2539" fmla="*/ 1611363 h 6689084"/>
              <a:gd name="connsiteX2540" fmla="*/ 2768877 w 6689088"/>
              <a:gd name="connsiteY2540" fmla="*/ 1610638 h 6689084"/>
              <a:gd name="connsiteX2541" fmla="*/ 2772144 w 6689088"/>
              <a:gd name="connsiteY2541" fmla="*/ 1613905 h 6689084"/>
              <a:gd name="connsiteX2542" fmla="*/ 2768877 w 6689088"/>
              <a:gd name="connsiteY2542" fmla="*/ 1617176 h 6689084"/>
              <a:gd name="connsiteX2543" fmla="*/ 2765606 w 6689088"/>
              <a:gd name="connsiteY2543" fmla="*/ 1613905 h 6689084"/>
              <a:gd name="connsiteX2544" fmla="*/ 2768877 w 6689088"/>
              <a:gd name="connsiteY2544" fmla="*/ 1610638 h 6689084"/>
              <a:gd name="connsiteX2545" fmla="*/ 2922458 w 6689088"/>
              <a:gd name="connsiteY2545" fmla="*/ 1609182 h 6689084"/>
              <a:gd name="connsiteX2546" fmla="*/ 2926815 w 6689088"/>
              <a:gd name="connsiteY2546" fmla="*/ 1613539 h 6689084"/>
              <a:gd name="connsiteX2547" fmla="*/ 2922458 w 6689088"/>
              <a:gd name="connsiteY2547" fmla="*/ 1617896 h 6689084"/>
              <a:gd name="connsiteX2548" fmla="*/ 2918101 w 6689088"/>
              <a:gd name="connsiteY2548" fmla="*/ 1613539 h 6689084"/>
              <a:gd name="connsiteX2549" fmla="*/ 2922458 w 6689088"/>
              <a:gd name="connsiteY2549" fmla="*/ 1609182 h 6689084"/>
              <a:gd name="connsiteX2550" fmla="*/ 3076406 w 6689088"/>
              <a:gd name="connsiteY2550" fmla="*/ 1608096 h 6689084"/>
              <a:gd name="connsiteX2551" fmla="*/ 3082215 w 6689088"/>
              <a:gd name="connsiteY2551" fmla="*/ 1613905 h 6689084"/>
              <a:gd name="connsiteX2552" fmla="*/ 3076406 w 6689088"/>
              <a:gd name="connsiteY2552" fmla="*/ 1619715 h 6689084"/>
              <a:gd name="connsiteX2553" fmla="*/ 3070596 w 6689088"/>
              <a:gd name="connsiteY2553" fmla="*/ 1613905 h 6689084"/>
              <a:gd name="connsiteX2554" fmla="*/ 3076406 w 6689088"/>
              <a:gd name="connsiteY2554" fmla="*/ 1608096 h 6689084"/>
              <a:gd name="connsiteX2555" fmla="*/ 3230353 w 6689088"/>
              <a:gd name="connsiteY2555" fmla="*/ 1606281 h 6689084"/>
              <a:gd name="connsiteX2556" fmla="*/ 3237614 w 6689088"/>
              <a:gd name="connsiteY2556" fmla="*/ 1613543 h 6689084"/>
              <a:gd name="connsiteX2557" fmla="*/ 3230353 w 6689088"/>
              <a:gd name="connsiteY2557" fmla="*/ 1620805 h 6689084"/>
              <a:gd name="connsiteX2558" fmla="*/ 3223091 w 6689088"/>
              <a:gd name="connsiteY2558" fmla="*/ 1613543 h 6689084"/>
              <a:gd name="connsiteX2559" fmla="*/ 3230353 w 6689088"/>
              <a:gd name="connsiteY2559" fmla="*/ 1606281 h 6689084"/>
              <a:gd name="connsiteX2560" fmla="*/ 3383934 w 6689088"/>
              <a:gd name="connsiteY2560" fmla="*/ 1604463 h 6689084"/>
              <a:gd name="connsiteX2561" fmla="*/ 3393014 w 6689088"/>
              <a:gd name="connsiteY2561" fmla="*/ 1613539 h 6689084"/>
              <a:gd name="connsiteX2562" fmla="*/ 3383934 w 6689088"/>
              <a:gd name="connsiteY2562" fmla="*/ 1622619 h 6689084"/>
              <a:gd name="connsiteX2563" fmla="*/ 3374858 w 6689088"/>
              <a:gd name="connsiteY2563" fmla="*/ 1613539 h 6689084"/>
              <a:gd name="connsiteX2564" fmla="*/ 3383934 w 6689088"/>
              <a:gd name="connsiteY2564" fmla="*/ 1604463 h 6689084"/>
              <a:gd name="connsiteX2565" fmla="*/ 3537886 w 6689088"/>
              <a:gd name="connsiteY2565" fmla="*/ 1603739 h 6689084"/>
              <a:gd name="connsiteX2566" fmla="*/ 3548052 w 6689088"/>
              <a:gd name="connsiteY2566" fmla="*/ 1613905 h 6689084"/>
              <a:gd name="connsiteX2567" fmla="*/ 3537886 w 6689088"/>
              <a:gd name="connsiteY2567" fmla="*/ 1624072 h 6689084"/>
              <a:gd name="connsiteX2568" fmla="*/ 3527719 w 6689088"/>
              <a:gd name="connsiteY2568" fmla="*/ 1613905 h 6689084"/>
              <a:gd name="connsiteX2569" fmla="*/ 3537886 w 6689088"/>
              <a:gd name="connsiteY2569" fmla="*/ 1603739 h 6689084"/>
              <a:gd name="connsiteX2570" fmla="*/ 3691467 w 6689088"/>
              <a:gd name="connsiteY2570" fmla="*/ 1601559 h 6689084"/>
              <a:gd name="connsiteX2571" fmla="*/ 3703452 w 6689088"/>
              <a:gd name="connsiteY2571" fmla="*/ 1613539 h 6689084"/>
              <a:gd name="connsiteX2572" fmla="*/ 3691467 w 6689088"/>
              <a:gd name="connsiteY2572" fmla="*/ 1625520 h 6689084"/>
              <a:gd name="connsiteX2573" fmla="*/ 3679486 w 6689088"/>
              <a:gd name="connsiteY2573" fmla="*/ 1613539 h 6689084"/>
              <a:gd name="connsiteX2574" fmla="*/ 3691467 w 6689088"/>
              <a:gd name="connsiteY2574" fmla="*/ 1601559 h 6689084"/>
              <a:gd name="connsiteX2575" fmla="*/ 3845418 w 6689088"/>
              <a:gd name="connsiteY2575" fmla="*/ 1599744 h 6689084"/>
              <a:gd name="connsiteX2576" fmla="*/ 3859214 w 6689088"/>
              <a:gd name="connsiteY2576" fmla="*/ 1613539 h 6689084"/>
              <a:gd name="connsiteX2577" fmla="*/ 3845418 w 6689088"/>
              <a:gd name="connsiteY2577" fmla="*/ 1627338 h 6689084"/>
              <a:gd name="connsiteX2578" fmla="*/ 3831619 w 6689088"/>
              <a:gd name="connsiteY2578" fmla="*/ 1613539 h 6689084"/>
              <a:gd name="connsiteX2579" fmla="*/ 3845418 w 6689088"/>
              <a:gd name="connsiteY2579" fmla="*/ 1599744 h 6689084"/>
              <a:gd name="connsiteX2580" fmla="*/ 3999000 w 6689088"/>
              <a:gd name="connsiteY2580" fmla="*/ 1598654 h 6689084"/>
              <a:gd name="connsiteX2581" fmla="*/ 4014251 w 6689088"/>
              <a:gd name="connsiteY2581" fmla="*/ 1613905 h 6689084"/>
              <a:gd name="connsiteX2582" fmla="*/ 3999000 w 6689088"/>
              <a:gd name="connsiteY2582" fmla="*/ 1629153 h 6689084"/>
              <a:gd name="connsiteX2583" fmla="*/ 3983752 w 6689088"/>
              <a:gd name="connsiteY2583" fmla="*/ 1613905 h 6689084"/>
              <a:gd name="connsiteX2584" fmla="*/ 3999000 w 6689088"/>
              <a:gd name="connsiteY2584" fmla="*/ 1598654 h 6689084"/>
              <a:gd name="connsiteX2585" fmla="*/ 4152947 w 6689088"/>
              <a:gd name="connsiteY2585" fmla="*/ 1596477 h 6689084"/>
              <a:gd name="connsiteX2586" fmla="*/ 4170013 w 6689088"/>
              <a:gd name="connsiteY2586" fmla="*/ 1613543 h 6689084"/>
              <a:gd name="connsiteX2587" fmla="*/ 4152947 w 6689088"/>
              <a:gd name="connsiteY2587" fmla="*/ 1630605 h 6689084"/>
              <a:gd name="connsiteX2588" fmla="*/ 4135881 w 6689088"/>
              <a:gd name="connsiteY2588" fmla="*/ 1613543 h 6689084"/>
              <a:gd name="connsiteX2589" fmla="*/ 4152947 w 6689088"/>
              <a:gd name="connsiteY2589" fmla="*/ 1596477 h 6689084"/>
              <a:gd name="connsiteX2590" fmla="*/ 4306528 w 6689088"/>
              <a:gd name="connsiteY2590" fmla="*/ 1594297 h 6689084"/>
              <a:gd name="connsiteX2591" fmla="*/ 4325771 w 6689088"/>
              <a:gd name="connsiteY2591" fmla="*/ 1613539 h 6689084"/>
              <a:gd name="connsiteX2592" fmla="*/ 4306528 w 6689088"/>
              <a:gd name="connsiteY2592" fmla="*/ 1632786 h 6689084"/>
              <a:gd name="connsiteX2593" fmla="*/ 4287286 w 6689088"/>
              <a:gd name="connsiteY2593" fmla="*/ 1613539 h 6689084"/>
              <a:gd name="connsiteX2594" fmla="*/ 4306528 w 6689088"/>
              <a:gd name="connsiteY2594" fmla="*/ 1594297 h 6689084"/>
              <a:gd name="connsiteX2595" fmla="*/ 4460480 w 6689088"/>
              <a:gd name="connsiteY2595" fmla="*/ 1592120 h 6689084"/>
              <a:gd name="connsiteX2596" fmla="*/ 4481898 w 6689088"/>
              <a:gd name="connsiteY2596" fmla="*/ 1613543 h 6689084"/>
              <a:gd name="connsiteX2597" fmla="*/ 4460480 w 6689088"/>
              <a:gd name="connsiteY2597" fmla="*/ 1634966 h 6689084"/>
              <a:gd name="connsiteX2598" fmla="*/ 4439057 w 6689088"/>
              <a:gd name="connsiteY2598" fmla="*/ 1613543 h 6689084"/>
              <a:gd name="connsiteX2599" fmla="*/ 4460480 w 6689088"/>
              <a:gd name="connsiteY2599" fmla="*/ 1592120 h 6689084"/>
              <a:gd name="connsiteX2600" fmla="*/ 4614065 w 6689088"/>
              <a:gd name="connsiteY2600" fmla="*/ 1591030 h 6689084"/>
              <a:gd name="connsiteX2601" fmla="*/ 4636940 w 6689088"/>
              <a:gd name="connsiteY2601" fmla="*/ 1613905 h 6689084"/>
              <a:gd name="connsiteX2602" fmla="*/ 4614065 w 6689088"/>
              <a:gd name="connsiteY2602" fmla="*/ 1636780 h 6689084"/>
              <a:gd name="connsiteX2603" fmla="*/ 4591190 w 6689088"/>
              <a:gd name="connsiteY2603" fmla="*/ 1613905 h 6689084"/>
              <a:gd name="connsiteX2604" fmla="*/ 4614065 w 6689088"/>
              <a:gd name="connsiteY2604" fmla="*/ 1591030 h 6689084"/>
              <a:gd name="connsiteX2605" fmla="*/ 4768008 w 6689088"/>
              <a:gd name="connsiteY2605" fmla="*/ 1588850 h 6689084"/>
              <a:gd name="connsiteX2606" fmla="*/ 4793064 w 6689088"/>
              <a:gd name="connsiteY2606" fmla="*/ 1613901 h 6689084"/>
              <a:gd name="connsiteX2607" fmla="*/ 4768008 w 6689088"/>
              <a:gd name="connsiteY2607" fmla="*/ 1638957 h 6689084"/>
              <a:gd name="connsiteX2608" fmla="*/ 4742956 w 6689088"/>
              <a:gd name="connsiteY2608" fmla="*/ 1613901 h 6689084"/>
              <a:gd name="connsiteX2609" fmla="*/ 4768008 w 6689088"/>
              <a:gd name="connsiteY2609" fmla="*/ 1588850 h 6689084"/>
              <a:gd name="connsiteX2610" fmla="*/ 4921594 w 6689088"/>
              <a:gd name="connsiteY2610" fmla="*/ 1586673 h 6689084"/>
              <a:gd name="connsiteX2611" fmla="*/ 4948826 w 6689088"/>
              <a:gd name="connsiteY2611" fmla="*/ 1613905 h 6689084"/>
              <a:gd name="connsiteX2612" fmla="*/ 4921594 w 6689088"/>
              <a:gd name="connsiteY2612" fmla="*/ 1641137 h 6689084"/>
              <a:gd name="connsiteX2613" fmla="*/ 4894362 w 6689088"/>
              <a:gd name="connsiteY2613" fmla="*/ 1613905 h 6689084"/>
              <a:gd name="connsiteX2614" fmla="*/ 4921594 w 6689088"/>
              <a:gd name="connsiteY2614" fmla="*/ 1586673 h 6689084"/>
              <a:gd name="connsiteX2615" fmla="*/ 5075545 w 6689088"/>
              <a:gd name="connsiteY2615" fmla="*/ 1584131 h 6689084"/>
              <a:gd name="connsiteX2616" fmla="*/ 5105316 w 6689088"/>
              <a:gd name="connsiteY2616" fmla="*/ 1613901 h 6689084"/>
              <a:gd name="connsiteX2617" fmla="*/ 5075545 w 6689088"/>
              <a:gd name="connsiteY2617" fmla="*/ 1643676 h 6689084"/>
              <a:gd name="connsiteX2618" fmla="*/ 5045770 w 6689088"/>
              <a:gd name="connsiteY2618" fmla="*/ 1613901 h 6689084"/>
              <a:gd name="connsiteX2619" fmla="*/ 5075545 w 6689088"/>
              <a:gd name="connsiteY2619" fmla="*/ 1584131 h 6689084"/>
              <a:gd name="connsiteX2620" fmla="*/ 5229126 w 6689088"/>
              <a:gd name="connsiteY2620" fmla="*/ 1581592 h 6689084"/>
              <a:gd name="connsiteX2621" fmla="*/ 5261078 w 6689088"/>
              <a:gd name="connsiteY2621" fmla="*/ 1613543 h 6689084"/>
              <a:gd name="connsiteX2622" fmla="*/ 5229126 w 6689088"/>
              <a:gd name="connsiteY2622" fmla="*/ 1645494 h 6689084"/>
              <a:gd name="connsiteX2623" fmla="*/ 5197175 w 6689088"/>
              <a:gd name="connsiteY2623" fmla="*/ 1613543 h 6689084"/>
              <a:gd name="connsiteX2624" fmla="*/ 5229126 w 6689088"/>
              <a:gd name="connsiteY2624" fmla="*/ 1581592 h 6689084"/>
              <a:gd name="connsiteX2625" fmla="*/ 5383074 w 6689088"/>
              <a:gd name="connsiteY2625" fmla="*/ 1579773 h 6689084"/>
              <a:gd name="connsiteX2626" fmla="*/ 5416844 w 6689088"/>
              <a:gd name="connsiteY2626" fmla="*/ 1613539 h 6689084"/>
              <a:gd name="connsiteX2627" fmla="*/ 5383074 w 6689088"/>
              <a:gd name="connsiteY2627" fmla="*/ 1647309 h 6689084"/>
              <a:gd name="connsiteX2628" fmla="*/ 5349308 w 6689088"/>
              <a:gd name="connsiteY2628" fmla="*/ 1613539 h 6689084"/>
              <a:gd name="connsiteX2629" fmla="*/ 5383074 w 6689088"/>
              <a:gd name="connsiteY2629" fmla="*/ 1579773 h 6689084"/>
              <a:gd name="connsiteX2630" fmla="*/ 5536659 w 6689088"/>
              <a:gd name="connsiteY2630" fmla="*/ 1577231 h 6689084"/>
              <a:gd name="connsiteX2631" fmla="*/ 5572968 w 6689088"/>
              <a:gd name="connsiteY2631" fmla="*/ 1613539 h 6689084"/>
              <a:gd name="connsiteX2632" fmla="*/ 5536659 w 6689088"/>
              <a:gd name="connsiteY2632" fmla="*/ 1649848 h 6689084"/>
              <a:gd name="connsiteX2633" fmla="*/ 5500351 w 6689088"/>
              <a:gd name="connsiteY2633" fmla="*/ 1613539 h 6689084"/>
              <a:gd name="connsiteX2634" fmla="*/ 5536659 w 6689088"/>
              <a:gd name="connsiteY2634" fmla="*/ 1577231 h 6689084"/>
              <a:gd name="connsiteX2635" fmla="*/ 5690606 w 6689088"/>
              <a:gd name="connsiteY2635" fmla="*/ 1574692 h 6689084"/>
              <a:gd name="connsiteX2636" fmla="*/ 5729458 w 6689088"/>
              <a:gd name="connsiteY2636" fmla="*/ 1613543 h 6689084"/>
              <a:gd name="connsiteX2637" fmla="*/ 5690606 w 6689088"/>
              <a:gd name="connsiteY2637" fmla="*/ 1652390 h 6689084"/>
              <a:gd name="connsiteX2638" fmla="*/ 5651756 w 6689088"/>
              <a:gd name="connsiteY2638" fmla="*/ 1613543 h 6689084"/>
              <a:gd name="connsiteX2639" fmla="*/ 5690606 w 6689088"/>
              <a:gd name="connsiteY2639" fmla="*/ 1574692 h 6689084"/>
              <a:gd name="connsiteX2640" fmla="*/ 5844554 w 6689088"/>
              <a:gd name="connsiteY2640" fmla="*/ 1572512 h 6689084"/>
              <a:gd name="connsiteX2641" fmla="*/ 5885585 w 6689088"/>
              <a:gd name="connsiteY2641" fmla="*/ 1613539 h 6689084"/>
              <a:gd name="connsiteX2642" fmla="*/ 5844554 w 6689088"/>
              <a:gd name="connsiteY2642" fmla="*/ 1654567 h 6689084"/>
              <a:gd name="connsiteX2643" fmla="*/ 5803526 w 6689088"/>
              <a:gd name="connsiteY2643" fmla="*/ 1613539 h 6689084"/>
              <a:gd name="connsiteX2644" fmla="*/ 5844554 w 6689088"/>
              <a:gd name="connsiteY2644" fmla="*/ 1572512 h 6689084"/>
              <a:gd name="connsiteX2645" fmla="*/ 5998136 w 6689088"/>
              <a:gd name="connsiteY2645" fmla="*/ 1569973 h 6689084"/>
              <a:gd name="connsiteX2646" fmla="*/ 6041706 w 6689088"/>
              <a:gd name="connsiteY2646" fmla="*/ 1613543 h 6689084"/>
              <a:gd name="connsiteX2647" fmla="*/ 5998136 w 6689088"/>
              <a:gd name="connsiteY2647" fmla="*/ 1657113 h 6689084"/>
              <a:gd name="connsiteX2648" fmla="*/ 5954566 w 6689088"/>
              <a:gd name="connsiteY2648" fmla="*/ 1613543 h 6689084"/>
              <a:gd name="connsiteX2649" fmla="*/ 5998136 w 6689088"/>
              <a:gd name="connsiteY2649" fmla="*/ 1569973 h 6689084"/>
              <a:gd name="connsiteX2650" fmla="*/ 6152083 w 6689088"/>
              <a:gd name="connsiteY2650" fmla="*/ 1567431 h 6689084"/>
              <a:gd name="connsiteX2651" fmla="*/ 6198196 w 6689088"/>
              <a:gd name="connsiteY2651" fmla="*/ 1613543 h 6689084"/>
              <a:gd name="connsiteX2652" fmla="*/ 6152083 w 6689088"/>
              <a:gd name="connsiteY2652" fmla="*/ 1659656 h 6689084"/>
              <a:gd name="connsiteX2653" fmla="*/ 6105974 w 6689088"/>
              <a:gd name="connsiteY2653" fmla="*/ 1613543 h 6689084"/>
              <a:gd name="connsiteX2654" fmla="*/ 6152083 w 6689088"/>
              <a:gd name="connsiteY2654" fmla="*/ 1567431 h 6689084"/>
              <a:gd name="connsiteX2655" fmla="*/ 6305672 w 6689088"/>
              <a:gd name="connsiteY2655" fmla="*/ 1564888 h 6689084"/>
              <a:gd name="connsiteX2656" fmla="*/ 6354323 w 6689088"/>
              <a:gd name="connsiteY2656" fmla="*/ 1613543 h 6689084"/>
              <a:gd name="connsiteX2657" fmla="*/ 6305672 w 6689088"/>
              <a:gd name="connsiteY2657" fmla="*/ 1662194 h 6689084"/>
              <a:gd name="connsiteX2658" fmla="*/ 6257016 w 6689088"/>
              <a:gd name="connsiteY2658" fmla="*/ 1613543 h 6689084"/>
              <a:gd name="connsiteX2659" fmla="*/ 6305672 w 6689088"/>
              <a:gd name="connsiteY2659" fmla="*/ 1564888 h 6689084"/>
              <a:gd name="connsiteX2660" fmla="*/ 6459619 w 6689088"/>
              <a:gd name="connsiteY2660" fmla="*/ 1562346 h 6689084"/>
              <a:gd name="connsiteX2661" fmla="*/ 6510813 w 6689088"/>
              <a:gd name="connsiteY2661" fmla="*/ 1613539 h 6689084"/>
              <a:gd name="connsiteX2662" fmla="*/ 6459619 w 6689088"/>
              <a:gd name="connsiteY2662" fmla="*/ 1664733 h 6689084"/>
              <a:gd name="connsiteX2663" fmla="*/ 6408422 w 6689088"/>
              <a:gd name="connsiteY2663" fmla="*/ 1613539 h 6689084"/>
              <a:gd name="connsiteX2664" fmla="*/ 6459619 w 6689088"/>
              <a:gd name="connsiteY2664" fmla="*/ 1562346 h 6689084"/>
              <a:gd name="connsiteX2665" fmla="*/ 6613197 w 6689088"/>
              <a:gd name="connsiteY2665" fmla="*/ 1560169 h 6689084"/>
              <a:gd name="connsiteX2666" fmla="*/ 6666575 w 6689088"/>
              <a:gd name="connsiteY2666" fmla="*/ 1613543 h 6689084"/>
              <a:gd name="connsiteX2667" fmla="*/ 6613197 w 6689088"/>
              <a:gd name="connsiteY2667" fmla="*/ 1666914 h 6689084"/>
              <a:gd name="connsiteX2668" fmla="*/ 6559826 w 6689088"/>
              <a:gd name="connsiteY2668" fmla="*/ 1613543 h 6689084"/>
              <a:gd name="connsiteX2669" fmla="*/ 6613197 w 6689088"/>
              <a:gd name="connsiteY2669" fmla="*/ 1560169 h 6689084"/>
              <a:gd name="connsiteX2670" fmla="*/ 2153808 w 6689088"/>
              <a:gd name="connsiteY2670" fmla="*/ 1459596 h 6689084"/>
              <a:gd name="connsiteX2671" fmla="*/ 2154170 w 6689088"/>
              <a:gd name="connsiteY2671" fmla="*/ 1459958 h 6689084"/>
              <a:gd name="connsiteX2672" fmla="*/ 2153808 w 6689088"/>
              <a:gd name="connsiteY2672" fmla="*/ 1460324 h 6689084"/>
              <a:gd name="connsiteX2673" fmla="*/ 2153445 w 6689088"/>
              <a:gd name="connsiteY2673" fmla="*/ 1459958 h 6689084"/>
              <a:gd name="connsiteX2674" fmla="*/ 2153808 w 6689088"/>
              <a:gd name="connsiteY2674" fmla="*/ 1459596 h 6689084"/>
              <a:gd name="connsiteX2675" fmla="*/ 1692331 w 6689088"/>
              <a:gd name="connsiteY2675" fmla="*/ 1459596 h 6689084"/>
              <a:gd name="connsiteX2676" fmla="*/ 1692694 w 6689088"/>
              <a:gd name="connsiteY2676" fmla="*/ 1459958 h 6689084"/>
              <a:gd name="connsiteX2677" fmla="*/ 1692331 w 6689088"/>
              <a:gd name="connsiteY2677" fmla="*/ 1460324 h 6689084"/>
              <a:gd name="connsiteX2678" fmla="*/ 1691969 w 6689088"/>
              <a:gd name="connsiteY2678" fmla="*/ 1459958 h 6689084"/>
              <a:gd name="connsiteX2679" fmla="*/ 1692331 w 6689088"/>
              <a:gd name="connsiteY2679" fmla="*/ 1459596 h 6689084"/>
              <a:gd name="connsiteX2680" fmla="*/ 1538746 w 6689088"/>
              <a:gd name="connsiteY2680" fmla="*/ 1459596 h 6689084"/>
              <a:gd name="connsiteX2681" fmla="*/ 1539108 w 6689088"/>
              <a:gd name="connsiteY2681" fmla="*/ 1459958 h 6689084"/>
              <a:gd name="connsiteX2682" fmla="*/ 1538746 w 6689088"/>
              <a:gd name="connsiteY2682" fmla="*/ 1460324 h 6689084"/>
              <a:gd name="connsiteX2683" fmla="*/ 1538384 w 6689088"/>
              <a:gd name="connsiteY2683" fmla="*/ 1459958 h 6689084"/>
              <a:gd name="connsiteX2684" fmla="*/ 1538746 w 6689088"/>
              <a:gd name="connsiteY2684" fmla="*/ 1459596 h 6689084"/>
              <a:gd name="connsiteX2685" fmla="*/ 1384795 w 6689088"/>
              <a:gd name="connsiteY2685" fmla="*/ 1459230 h 6689084"/>
              <a:gd name="connsiteX2686" fmla="*/ 1385523 w 6689088"/>
              <a:gd name="connsiteY2686" fmla="*/ 1459958 h 6689084"/>
              <a:gd name="connsiteX2687" fmla="*/ 1384795 w 6689088"/>
              <a:gd name="connsiteY2687" fmla="*/ 1460682 h 6689084"/>
              <a:gd name="connsiteX2688" fmla="*/ 1384071 w 6689088"/>
              <a:gd name="connsiteY2688" fmla="*/ 1459958 h 6689084"/>
              <a:gd name="connsiteX2689" fmla="*/ 1384795 w 6689088"/>
              <a:gd name="connsiteY2689" fmla="*/ 1459230 h 6689084"/>
              <a:gd name="connsiteX2690" fmla="*/ 2307393 w 6689088"/>
              <a:gd name="connsiteY2690" fmla="*/ 1458140 h 6689084"/>
              <a:gd name="connsiteX2691" fmla="*/ 2308845 w 6689088"/>
              <a:gd name="connsiteY2691" fmla="*/ 1459592 h 6689084"/>
              <a:gd name="connsiteX2692" fmla="*/ 2307393 w 6689088"/>
              <a:gd name="connsiteY2692" fmla="*/ 1461044 h 6689084"/>
              <a:gd name="connsiteX2693" fmla="*/ 2305941 w 6689088"/>
              <a:gd name="connsiteY2693" fmla="*/ 1459592 h 6689084"/>
              <a:gd name="connsiteX2694" fmla="*/ 2307393 w 6689088"/>
              <a:gd name="connsiteY2694" fmla="*/ 1458140 h 6689084"/>
              <a:gd name="connsiteX2695" fmla="*/ 2461340 w 6689088"/>
              <a:gd name="connsiteY2695" fmla="*/ 1457777 h 6689084"/>
              <a:gd name="connsiteX2696" fmla="*/ 2463521 w 6689088"/>
              <a:gd name="connsiteY2696" fmla="*/ 1459954 h 6689084"/>
              <a:gd name="connsiteX2697" fmla="*/ 2461340 w 6689088"/>
              <a:gd name="connsiteY2697" fmla="*/ 1462134 h 6689084"/>
              <a:gd name="connsiteX2698" fmla="*/ 2459164 w 6689088"/>
              <a:gd name="connsiteY2698" fmla="*/ 1459954 h 6689084"/>
              <a:gd name="connsiteX2699" fmla="*/ 2461340 w 6689088"/>
              <a:gd name="connsiteY2699" fmla="*/ 1457777 h 6689084"/>
              <a:gd name="connsiteX2700" fmla="*/ 2614925 w 6689088"/>
              <a:gd name="connsiteY2700" fmla="*/ 1456687 h 6689084"/>
              <a:gd name="connsiteX2701" fmla="*/ 2618192 w 6689088"/>
              <a:gd name="connsiteY2701" fmla="*/ 1459954 h 6689084"/>
              <a:gd name="connsiteX2702" fmla="*/ 2614925 w 6689088"/>
              <a:gd name="connsiteY2702" fmla="*/ 1463225 h 6689084"/>
              <a:gd name="connsiteX2703" fmla="*/ 2611659 w 6689088"/>
              <a:gd name="connsiteY2703" fmla="*/ 1459954 h 6689084"/>
              <a:gd name="connsiteX2704" fmla="*/ 2614925 w 6689088"/>
              <a:gd name="connsiteY2704" fmla="*/ 1456687 h 6689084"/>
              <a:gd name="connsiteX2705" fmla="*/ 2768873 w 6689088"/>
              <a:gd name="connsiteY2705" fmla="*/ 1455601 h 6689084"/>
              <a:gd name="connsiteX2706" fmla="*/ 2773230 w 6689088"/>
              <a:gd name="connsiteY2706" fmla="*/ 1459958 h 6689084"/>
              <a:gd name="connsiteX2707" fmla="*/ 2768873 w 6689088"/>
              <a:gd name="connsiteY2707" fmla="*/ 1464315 h 6689084"/>
              <a:gd name="connsiteX2708" fmla="*/ 2764516 w 6689088"/>
              <a:gd name="connsiteY2708" fmla="*/ 1459958 h 6689084"/>
              <a:gd name="connsiteX2709" fmla="*/ 2768873 w 6689088"/>
              <a:gd name="connsiteY2709" fmla="*/ 1455601 h 6689084"/>
              <a:gd name="connsiteX2710" fmla="*/ 2922458 w 6689088"/>
              <a:gd name="connsiteY2710" fmla="*/ 1454149 h 6689084"/>
              <a:gd name="connsiteX2711" fmla="*/ 2928267 w 6689088"/>
              <a:gd name="connsiteY2711" fmla="*/ 1459958 h 6689084"/>
              <a:gd name="connsiteX2712" fmla="*/ 2922458 w 6689088"/>
              <a:gd name="connsiteY2712" fmla="*/ 1465767 h 6689084"/>
              <a:gd name="connsiteX2713" fmla="*/ 2916649 w 6689088"/>
              <a:gd name="connsiteY2713" fmla="*/ 1459958 h 6689084"/>
              <a:gd name="connsiteX2714" fmla="*/ 2922458 w 6689088"/>
              <a:gd name="connsiteY2714" fmla="*/ 1454149 h 6689084"/>
              <a:gd name="connsiteX2715" fmla="*/ 3076406 w 6689088"/>
              <a:gd name="connsiteY2715" fmla="*/ 1452696 h 6689084"/>
              <a:gd name="connsiteX2716" fmla="*/ 3083667 w 6689088"/>
              <a:gd name="connsiteY2716" fmla="*/ 1459958 h 6689084"/>
              <a:gd name="connsiteX2717" fmla="*/ 3076406 w 6689088"/>
              <a:gd name="connsiteY2717" fmla="*/ 1467220 h 6689084"/>
              <a:gd name="connsiteX2718" fmla="*/ 3069144 w 6689088"/>
              <a:gd name="connsiteY2718" fmla="*/ 1459958 h 6689084"/>
              <a:gd name="connsiteX2719" fmla="*/ 3076406 w 6689088"/>
              <a:gd name="connsiteY2719" fmla="*/ 1452696 h 6689084"/>
              <a:gd name="connsiteX2720" fmla="*/ 3230353 w 6689088"/>
              <a:gd name="connsiteY2720" fmla="*/ 1450516 h 6689084"/>
              <a:gd name="connsiteX2721" fmla="*/ 3239433 w 6689088"/>
              <a:gd name="connsiteY2721" fmla="*/ 1459592 h 6689084"/>
              <a:gd name="connsiteX2722" fmla="*/ 3230353 w 6689088"/>
              <a:gd name="connsiteY2722" fmla="*/ 1468672 h 6689084"/>
              <a:gd name="connsiteX2723" fmla="*/ 3221277 w 6689088"/>
              <a:gd name="connsiteY2723" fmla="*/ 1459592 h 6689084"/>
              <a:gd name="connsiteX2724" fmla="*/ 3230353 w 6689088"/>
              <a:gd name="connsiteY2724" fmla="*/ 1450516 h 6689084"/>
              <a:gd name="connsiteX2725" fmla="*/ 3383934 w 6689088"/>
              <a:gd name="connsiteY2725" fmla="*/ 1449791 h 6689084"/>
              <a:gd name="connsiteX2726" fmla="*/ 3394100 w 6689088"/>
              <a:gd name="connsiteY2726" fmla="*/ 1459958 h 6689084"/>
              <a:gd name="connsiteX2727" fmla="*/ 3383934 w 6689088"/>
              <a:gd name="connsiteY2727" fmla="*/ 1470124 h 6689084"/>
              <a:gd name="connsiteX2728" fmla="*/ 3373768 w 6689088"/>
              <a:gd name="connsiteY2728" fmla="*/ 1459958 h 6689084"/>
              <a:gd name="connsiteX2729" fmla="*/ 3383934 w 6689088"/>
              <a:gd name="connsiteY2729" fmla="*/ 1449791 h 6689084"/>
              <a:gd name="connsiteX2730" fmla="*/ 3537882 w 6689088"/>
              <a:gd name="connsiteY2730" fmla="*/ 1447977 h 6689084"/>
              <a:gd name="connsiteX2731" fmla="*/ 3549866 w 6689088"/>
              <a:gd name="connsiteY2731" fmla="*/ 1459958 h 6689084"/>
              <a:gd name="connsiteX2732" fmla="*/ 3537882 w 6689088"/>
              <a:gd name="connsiteY2732" fmla="*/ 1471939 h 6689084"/>
              <a:gd name="connsiteX2733" fmla="*/ 3525901 w 6689088"/>
              <a:gd name="connsiteY2733" fmla="*/ 1459958 h 6689084"/>
              <a:gd name="connsiteX2734" fmla="*/ 3537882 w 6689088"/>
              <a:gd name="connsiteY2734" fmla="*/ 1447977 h 6689084"/>
              <a:gd name="connsiteX2735" fmla="*/ 3691467 w 6689088"/>
              <a:gd name="connsiteY2735" fmla="*/ 1445797 h 6689084"/>
              <a:gd name="connsiteX2736" fmla="*/ 3705266 w 6689088"/>
              <a:gd name="connsiteY2736" fmla="*/ 1459596 h 6689084"/>
              <a:gd name="connsiteX2737" fmla="*/ 3691467 w 6689088"/>
              <a:gd name="connsiteY2737" fmla="*/ 1473391 h 6689084"/>
              <a:gd name="connsiteX2738" fmla="*/ 3677672 w 6689088"/>
              <a:gd name="connsiteY2738" fmla="*/ 1459596 h 6689084"/>
              <a:gd name="connsiteX2739" fmla="*/ 3691467 w 6689088"/>
              <a:gd name="connsiteY2739" fmla="*/ 1445797 h 6689084"/>
              <a:gd name="connsiteX2740" fmla="*/ 3845414 w 6689088"/>
              <a:gd name="connsiteY2740" fmla="*/ 1444706 h 6689084"/>
              <a:gd name="connsiteX2741" fmla="*/ 3860666 w 6689088"/>
              <a:gd name="connsiteY2741" fmla="*/ 1459954 h 6689084"/>
              <a:gd name="connsiteX2742" fmla="*/ 3845414 w 6689088"/>
              <a:gd name="connsiteY2742" fmla="*/ 1475205 h 6689084"/>
              <a:gd name="connsiteX2743" fmla="*/ 3830167 w 6689088"/>
              <a:gd name="connsiteY2743" fmla="*/ 1459954 h 6689084"/>
              <a:gd name="connsiteX2744" fmla="*/ 3845414 w 6689088"/>
              <a:gd name="connsiteY2744" fmla="*/ 1444706 h 6689084"/>
              <a:gd name="connsiteX2745" fmla="*/ 3999000 w 6689088"/>
              <a:gd name="connsiteY2745" fmla="*/ 1442892 h 6689084"/>
              <a:gd name="connsiteX2746" fmla="*/ 4016066 w 6689088"/>
              <a:gd name="connsiteY2746" fmla="*/ 1459958 h 6689084"/>
              <a:gd name="connsiteX2747" fmla="*/ 3999000 w 6689088"/>
              <a:gd name="connsiteY2747" fmla="*/ 1477020 h 6689084"/>
              <a:gd name="connsiteX2748" fmla="*/ 3981934 w 6689088"/>
              <a:gd name="connsiteY2748" fmla="*/ 1459958 h 6689084"/>
              <a:gd name="connsiteX2749" fmla="*/ 3999000 w 6689088"/>
              <a:gd name="connsiteY2749" fmla="*/ 1442892 h 6689084"/>
              <a:gd name="connsiteX2750" fmla="*/ 4152947 w 6689088"/>
              <a:gd name="connsiteY2750" fmla="*/ 1440715 h 6689084"/>
              <a:gd name="connsiteX2751" fmla="*/ 4172194 w 6689088"/>
              <a:gd name="connsiteY2751" fmla="*/ 1459958 h 6689084"/>
              <a:gd name="connsiteX2752" fmla="*/ 4152947 w 6689088"/>
              <a:gd name="connsiteY2752" fmla="*/ 1479200 h 6689084"/>
              <a:gd name="connsiteX2753" fmla="*/ 4133704 w 6689088"/>
              <a:gd name="connsiteY2753" fmla="*/ 1459958 h 6689084"/>
              <a:gd name="connsiteX2754" fmla="*/ 4152947 w 6689088"/>
              <a:gd name="connsiteY2754" fmla="*/ 1440715 h 6689084"/>
              <a:gd name="connsiteX2755" fmla="*/ 4306532 w 6689088"/>
              <a:gd name="connsiteY2755" fmla="*/ 1438535 h 6689084"/>
              <a:gd name="connsiteX2756" fmla="*/ 4327952 w 6689088"/>
              <a:gd name="connsiteY2756" fmla="*/ 1459958 h 6689084"/>
              <a:gd name="connsiteX2757" fmla="*/ 4306532 w 6689088"/>
              <a:gd name="connsiteY2757" fmla="*/ 1481381 h 6689084"/>
              <a:gd name="connsiteX2758" fmla="*/ 4285110 w 6689088"/>
              <a:gd name="connsiteY2758" fmla="*/ 1459958 h 6689084"/>
              <a:gd name="connsiteX2759" fmla="*/ 4306532 w 6689088"/>
              <a:gd name="connsiteY2759" fmla="*/ 1438535 h 6689084"/>
              <a:gd name="connsiteX2760" fmla="*/ 4460480 w 6689088"/>
              <a:gd name="connsiteY2760" fmla="*/ 1437083 h 6689084"/>
              <a:gd name="connsiteX2761" fmla="*/ 4483355 w 6689088"/>
              <a:gd name="connsiteY2761" fmla="*/ 1459958 h 6689084"/>
              <a:gd name="connsiteX2762" fmla="*/ 4460480 w 6689088"/>
              <a:gd name="connsiteY2762" fmla="*/ 1482833 h 6689084"/>
              <a:gd name="connsiteX2763" fmla="*/ 4437604 w 6689088"/>
              <a:gd name="connsiteY2763" fmla="*/ 1459958 h 6689084"/>
              <a:gd name="connsiteX2764" fmla="*/ 4460480 w 6689088"/>
              <a:gd name="connsiteY2764" fmla="*/ 1437083 h 6689084"/>
              <a:gd name="connsiteX2765" fmla="*/ 4614061 w 6689088"/>
              <a:gd name="connsiteY2765" fmla="*/ 1434906 h 6689084"/>
              <a:gd name="connsiteX2766" fmla="*/ 4639116 w 6689088"/>
              <a:gd name="connsiteY2766" fmla="*/ 1459958 h 6689084"/>
              <a:gd name="connsiteX2767" fmla="*/ 4614061 w 6689088"/>
              <a:gd name="connsiteY2767" fmla="*/ 1485013 h 6689084"/>
              <a:gd name="connsiteX2768" fmla="*/ 4589010 w 6689088"/>
              <a:gd name="connsiteY2768" fmla="*/ 1459958 h 6689084"/>
              <a:gd name="connsiteX2769" fmla="*/ 4614061 w 6689088"/>
              <a:gd name="connsiteY2769" fmla="*/ 1434906 h 6689084"/>
              <a:gd name="connsiteX2770" fmla="*/ 4768012 w 6689088"/>
              <a:gd name="connsiteY2770" fmla="*/ 1432726 h 6689084"/>
              <a:gd name="connsiteX2771" fmla="*/ 4795244 w 6689088"/>
              <a:gd name="connsiteY2771" fmla="*/ 1459958 h 6689084"/>
              <a:gd name="connsiteX2772" fmla="*/ 4768012 w 6689088"/>
              <a:gd name="connsiteY2772" fmla="*/ 1487190 h 6689084"/>
              <a:gd name="connsiteX2773" fmla="*/ 4740780 w 6689088"/>
              <a:gd name="connsiteY2773" fmla="*/ 1459958 h 6689084"/>
              <a:gd name="connsiteX2774" fmla="*/ 4768012 w 6689088"/>
              <a:gd name="connsiteY2774" fmla="*/ 1432726 h 6689084"/>
              <a:gd name="connsiteX2775" fmla="*/ 4921594 w 6689088"/>
              <a:gd name="connsiteY2775" fmla="*/ 1430183 h 6689084"/>
              <a:gd name="connsiteX2776" fmla="*/ 4951368 w 6689088"/>
              <a:gd name="connsiteY2776" fmla="*/ 1459954 h 6689084"/>
              <a:gd name="connsiteX2777" fmla="*/ 4921594 w 6689088"/>
              <a:gd name="connsiteY2777" fmla="*/ 1489729 h 6689084"/>
              <a:gd name="connsiteX2778" fmla="*/ 4891823 w 6689088"/>
              <a:gd name="connsiteY2778" fmla="*/ 1459954 h 6689084"/>
              <a:gd name="connsiteX2779" fmla="*/ 4921594 w 6689088"/>
              <a:gd name="connsiteY2779" fmla="*/ 1430183 h 6689084"/>
              <a:gd name="connsiteX2780" fmla="*/ 5075541 w 6689088"/>
              <a:gd name="connsiteY2780" fmla="*/ 1428007 h 6689084"/>
              <a:gd name="connsiteX2781" fmla="*/ 5107492 w 6689088"/>
              <a:gd name="connsiteY2781" fmla="*/ 1459958 h 6689084"/>
              <a:gd name="connsiteX2782" fmla="*/ 5075541 w 6689088"/>
              <a:gd name="connsiteY2782" fmla="*/ 1491909 h 6689084"/>
              <a:gd name="connsiteX2783" fmla="*/ 5043590 w 6689088"/>
              <a:gd name="connsiteY2783" fmla="*/ 1459958 h 6689084"/>
              <a:gd name="connsiteX2784" fmla="*/ 5075541 w 6689088"/>
              <a:gd name="connsiteY2784" fmla="*/ 1428007 h 6689084"/>
              <a:gd name="connsiteX2785" fmla="*/ 5229126 w 6689088"/>
              <a:gd name="connsiteY2785" fmla="*/ 1426192 h 6689084"/>
              <a:gd name="connsiteX2786" fmla="*/ 5262892 w 6689088"/>
              <a:gd name="connsiteY2786" fmla="*/ 1459958 h 6689084"/>
              <a:gd name="connsiteX2787" fmla="*/ 5229126 w 6689088"/>
              <a:gd name="connsiteY2787" fmla="*/ 1493724 h 6689084"/>
              <a:gd name="connsiteX2788" fmla="*/ 5195360 w 6689088"/>
              <a:gd name="connsiteY2788" fmla="*/ 1459958 h 6689084"/>
              <a:gd name="connsiteX2789" fmla="*/ 5229126 w 6689088"/>
              <a:gd name="connsiteY2789" fmla="*/ 1426192 h 6689084"/>
              <a:gd name="connsiteX2790" fmla="*/ 5383074 w 6689088"/>
              <a:gd name="connsiteY2790" fmla="*/ 1423650 h 6689084"/>
              <a:gd name="connsiteX2791" fmla="*/ 5419382 w 6689088"/>
              <a:gd name="connsiteY2791" fmla="*/ 1459958 h 6689084"/>
              <a:gd name="connsiteX2792" fmla="*/ 5383074 w 6689088"/>
              <a:gd name="connsiteY2792" fmla="*/ 1496266 h 6689084"/>
              <a:gd name="connsiteX2793" fmla="*/ 5346766 w 6689088"/>
              <a:gd name="connsiteY2793" fmla="*/ 1459958 h 6689084"/>
              <a:gd name="connsiteX2794" fmla="*/ 5383074 w 6689088"/>
              <a:gd name="connsiteY2794" fmla="*/ 1423650 h 6689084"/>
              <a:gd name="connsiteX2795" fmla="*/ 5536659 w 6689088"/>
              <a:gd name="connsiteY2795" fmla="*/ 1421107 h 6689084"/>
              <a:gd name="connsiteX2796" fmla="*/ 5575506 w 6689088"/>
              <a:gd name="connsiteY2796" fmla="*/ 1459958 h 6689084"/>
              <a:gd name="connsiteX2797" fmla="*/ 5536659 w 6689088"/>
              <a:gd name="connsiteY2797" fmla="*/ 1498805 h 6689084"/>
              <a:gd name="connsiteX2798" fmla="*/ 5497808 w 6689088"/>
              <a:gd name="connsiteY2798" fmla="*/ 1459958 h 6689084"/>
              <a:gd name="connsiteX2799" fmla="*/ 5536659 w 6689088"/>
              <a:gd name="connsiteY2799" fmla="*/ 1421107 h 6689084"/>
              <a:gd name="connsiteX2800" fmla="*/ 5690606 w 6689088"/>
              <a:gd name="connsiteY2800" fmla="*/ 1418930 h 6689084"/>
              <a:gd name="connsiteX2801" fmla="*/ 5731638 w 6689088"/>
              <a:gd name="connsiteY2801" fmla="*/ 1459958 h 6689084"/>
              <a:gd name="connsiteX2802" fmla="*/ 5690606 w 6689088"/>
              <a:gd name="connsiteY2802" fmla="*/ 1500985 h 6689084"/>
              <a:gd name="connsiteX2803" fmla="*/ 5649579 w 6689088"/>
              <a:gd name="connsiteY2803" fmla="*/ 1459958 h 6689084"/>
              <a:gd name="connsiteX2804" fmla="*/ 5690606 w 6689088"/>
              <a:gd name="connsiteY2804" fmla="*/ 1418930 h 6689084"/>
              <a:gd name="connsiteX2805" fmla="*/ 5844554 w 6689088"/>
              <a:gd name="connsiteY2805" fmla="*/ 1416388 h 6689084"/>
              <a:gd name="connsiteX2806" fmla="*/ 5888124 w 6689088"/>
              <a:gd name="connsiteY2806" fmla="*/ 1459958 h 6689084"/>
              <a:gd name="connsiteX2807" fmla="*/ 5844554 w 6689088"/>
              <a:gd name="connsiteY2807" fmla="*/ 1503528 h 6689084"/>
              <a:gd name="connsiteX2808" fmla="*/ 5800984 w 6689088"/>
              <a:gd name="connsiteY2808" fmla="*/ 1459958 h 6689084"/>
              <a:gd name="connsiteX2809" fmla="*/ 5844554 w 6689088"/>
              <a:gd name="connsiteY2809" fmla="*/ 1416388 h 6689084"/>
              <a:gd name="connsiteX2810" fmla="*/ 5998136 w 6689088"/>
              <a:gd name="connsiteY2810" fmla="*/ 1413845 h 6689084"/>
              <a:gd name="connsiteX2811" fmla="*/ 6044248 w 6689088"/>
              <a:gd name="connsiteY2811" fmla="*/ 1459958 h 6689084"/>
              <a:gd name="connsiteX2812" fmla="*/ 5998136 w 6689088"/>
              <a:gd name="connsiteY2812" fmla="*/ 1506070 h 6689084"/>
              <a:gd name="connsiteX2813" fmla="*/ 5952026 w 6689088"/>
              <a:gd name="connsiteY2813" fmla="*/ 1459958 h 6689084"/>
              <a:gd name="connsiteX2814" fmla="*/ 5998136 w 6689088"/>
              <a:gd name="connsiteY2814" fmla="*/ 1413845 h 6689084"/>
              <a:gd name="connsiteX2815" fmla="*/ 6152083 w 6689088"/>
              <a:gd name="connsiteY2815" fmla="*/ 1411303 h 6689084"/>
              <a:gd name="connsiteX2816" fmla="*/ 6200738 w 6689088"/>
              <a:gd name="connsiteY2816" fmla="*/ 1459958 h 6689084"/>
              <a:gd name="connsiteX2817" fmla="*/ 6152083 w 6689088"/>
              <a:gd name="connsiteY2817" fmla="*/ 1508609 h 6689084"/>
              <a:gd name="connsiteX2818" fmla="*/ 6103432 w 6689088"/>
              <a:gd name="connsiteY2818" fmla="*/ 1459958 h 6689084"/>
              <a:gd name="connsiteX2819" fmla="*/ 6152083 w 6689088"/>
              <a:gd name="connsiteY2819" fmla="*/ 1411303 h 6689084"/>
              <a:gd name="connsiteX2820" fmla="*/ 6305672 w 6689088"/>
              <a:gd name="connsiteY2820" fmla="*/ 1408760 h 6689084"/>
              <a:gd name="connsiteX2821" fmla="*/ 6356866 w 6689088"/>
              <a:gd name="connsiteY2821" fmla="*/ 1459954 h 6689084"/>
              <a:gd name="connsiteX2822" fmla="*/ 6305672 w 6689088"/>
              <a:gd name="connsiteY2822" fmla="*/ 1511148 h 6689084"/>
              <a:gd name="connsiteX2823" fmla="*/ 6254474 w 6689088"/>
              <a:gd name="connsiteY2823" fmla="*/ 1459954 h 6689084"/>
              <a:gd name="connsiteX2824" fmla="*/ 6305672 w 6689088"/>
              <a:gd name="connsiteY2824" fmla="*/ 1408760 h 6689084"/>
              <a:gd name="connsiteX2825" fmla="*/ 6459616 w 6689088"/>
              <a:gd name="connsiteY2825" fmla="*/ 1406584 h 6689084"/>
              <a:gd name="connsiteX2826" fmla="*/ 6512990 w 6689088"/>
              <a:gd name="connsiteY2826" fmla="*/ 1459958 h 6689084"/>
              <a:gd name="connsiteX2827" fmla="*/ 6459616 w 6689088"/>
              <a:gd name="connsiteY2827" fmla="*/ 1513328 h 6689084"/>
              <a:gd name="connsiteX2828" fmla="*/ 6406241 w 6689088"/>
              <a:gd name="connsiteY2828" fmla="*/ 1459958 h 6689084"/>
              <a:gd name="connsiteX2829" fmla="*/ 6459616 w 6689088"/>
              <a:gd name="connsiteY2829" fmla="*/ 1406584 h 6689084"/>
              <a:gd name="connsiteX2830" fmla="*/ 6613200 w 6689088"/>
              <a:gd name="connsiteY2830" fmla="*/ 1403679 h 6689084"/>
              <a:gd name="connsiteX2831" fmla="*/ 6669476 w 6689088"/>
              <a:gd name="connsiteY2831" fmla="*/ 1459958 h 6689084"/>
              <a:gd name="connsiteX2832" fmla="*/ 6613200 w 6689088"/>
              <a:gd name="connsiteY2832" fmla="*/ 1516233 h 6689084"/>
              <a:gd name="connsiteX2833" fmla="*/ 6556922 w 6689088"/>
              <a:gd name="connsiteY2833" fmla="*/ 1459958 h 6689084"/>
              <a:gd name="connsiteX2834" fmla="*/ 6613200 w 6689088"/>
              <a:gd name="connsiteY2834" fmla="*/ 1403679 h 6689084"/>
              <a:gd name="connsiteX2835" fmla="*/ 1999860 w 6689088"/>
              <a:gd name="connsiteY2835" fmla="*/ 1305645 h 6689084"/>
              <a:gd name="connsiteX2836" fmla="*/ 2000222 w 6689088"/>
              <a:gd name="connsiteY2836" fmla="*/ 1306007 h 6689084"/>
              <a:gd name="connsiteX2837" fmla="*/ 1999860 w 6689088"/>
              <a:gd name="connsiteY2837" fmla="*/ 1306373 h 6689084"/>
              <a:gd name="connsiteX2838" fmla="*/ 1999498 w 6689088"/>
              <a:gd name="connsiteY2838" fmla="*/ 1306007 h 6689084"/>
              <a:gd name="connsiteX2839" fmla="*/ 1999860 w 6689088"/>
              <a:gd name="connsiteY2839" fmla="*/ 1305645 h 6689084"/>
              <a:gd name="connsiteX2840" fmla="*/ 1538746 w 6689088"/>
              <a:gd name="connsiteY2840" fmla="*/ 1305645 h 6689084"/>
              <a:gd name="connsiteX2841" fmla="*/ 1539108 w 6689088"/>
              <a:gd name="connsiteY2841" fmla="*/ 1306007 h 6689084"/>
              <a:gd name="connsiteX2842" fmla="*/ 1538746 w 6689088"/>
              <a:gd name="connsiteY2842" fmla="*/ 1306373 h 6689084"/>
              <a:gd name="connsiteX2843" fmla="*/ 1538384 w 6689088"/>
              <a:gd name="connsiteY2843" fmla="*/ 1306007 h 6689084"/>
              <a:gd name="connsiteX2844" fmla="*/ 1538746 w 6689088"/>
              <a:gd name="connsiteY2844" fmla="*/ 1305645 h 6689084"/>
              <a:gd name="connsiteX2845" fmla="*/ 1384799 w 6689088"/>
              <a:gd name="connsiteY2845" fmla="*/ 1305645 h 6689084"/>
              <a:gd name="connsiteX2846" fmla="*/ 1385161 w 6689088"/>
              <a:gd name="connsiteY2846" fmla="*/ 1306007 h 6689084"/>
              <a:gd name="connsiteX2847" fmla="*/ 1384799 w 6689088"/>
              <a:gd name="connsiteY2847" fmla="*/ 1306373 h 6689084"/>
              <a:gd name="connsiteX2848" fmla="*/ 1384437 w 6689088"/>
              <a:gd name="connsiteY2848" fmla="*/ 1306007 h 6689084"/>
              <a:gd name="connsiteX2849" fmla="*/ 1384799 w 6689088"/>
              <a:gd name="connsiteY2849" fmla="*/ 1305645 h 6689084"/>
              <a:gd name="connsiteX2850" fmla="*/ 1231217 w 6689088"/>
              <a:gd name="connsiteY2850" fmla="*/ 1305282 h 6689084"/>
              <a:gd name="connsiteX2851" fmla="*/ 1231942 w 6689088"/>
              <a:gd name="connsiteY2851" fmla="*/ 1306010 h 6689084"/>
              <a:gd name="connsiteX2852" fmla="*/ 1231217 w 6689088"/>
              <a:gd name="connsiteY2852" fmla="*/ 1306735 h 6689084"/>
              <a:gd name="connsiteX2853" fmla="*/ 1230489 w 6689088"/>
              <a:gd name="connsiteY2853" fmla="*/ 1306010 h 6689084"/>
              <a:gd name="connsiteX2854" fmla="*/ 1231217 w 6689088"/>
              <a:gd name="connsiteY2854" fmla="*/ 1305282 h 6689084"/>
              <a:gd name="connsiteX2855" fmla="*/ 2153811 w 6689088"/>
              <a:gd name="connsiteY2855" fmla="*/ 1304558 h 6689084"/>
              <a:gd name="connsiteX2856" fmla="*/ 2155264 w 6689088"/>
              <a:gd name="connsiteY2856" fmla="*/ 1306010 h 6689084"/>
              <a:gd name="connsiteX2857" fmla="*/ 2153811 w 6689088"/>
              <a:gd name="connsiteY2857" fmla="*/ 1307463 h 6689084"/>
              <a:gd name="connsiteX2858" fmla="*/ 2152359 w 6689088"/>
              <a:gd name="connsiteY2858" fmla="*/ 1306010 h 6689084"/>
              <a:gd name="connsiteX2859" fmla="*/ 2153811 w 6689088"/>
              <a:gd name="connsiteY2859" fmla="*/ 1304558 h 6689084"/>
              <a:gd name="connsiteX2860" fmla="*/ 2307393 w 6689088"/>
              <a:gd name="connsiteY2860" fmla="*/ 1303830 h 6689084"/>
              <a:gd name="connsiteX2861" fmla="*/ 2309573 w 6689088"/>
              <a:gd name="connsiteY2861" fmla="*/ 1306010 h 6689084"/>
              <a:gd name="connsiteX2862" fmla="*/ 2307393 w 6689088"/>
              <a:gd name="connsiteY2862" fmla="*/ 1308187 h 6689084"/>
              <a:gd name="connsiteX2863" fmla="*/ 2305216 w 6689088"/>
              <a:gd name="connsiteY2863" fmla="*/ 1306010 h 6689084"/>
              <a:gd name="connsiteX2864" fmla="*/ 2307393 w 6689088"/>
              <a:gd name="connsiteY2864" fmla="*/ 1303830 h 6689084"/>
              <a:gd name="connsiteX2865" fmla="*/ 2461344 w 6689088"/>
              <a:gd name="connsiteY2865" fmla="*/ 1303106 h 6689084"/>
              <a:gd name="connsiteX2866" fmla="*/ 2464611 w 6689088"/>
              <a:gd name="connsiteY2866" fmla="*/ 1306373 h 6689084"/>
              <a:gd name="connsiteX2867" fmla="*/ 2461344 w 6689088"/>
              <a:gd name="connsiteY2867" fmla="*/ 1309643 h 6689084"/>
              <a:gd name="connsiteX2868" fmla="*/ 2458073 w 6689088"/>
              <a:gd name="connsiteY2868" fmla="*/ 1306373 h 6689084"/>
              <a:gd name="connsiteX2869" fmla="*/ 2461344 w 6689088"/>
              <a:gd name="connsiteY2869" fmla="*/ 1303106 h 6689084"/>
              <a:gd name="connsiteX2870" fmla="*/ 2614925 w 6689088"/>
              <a:gd name="connsiteY2870" fmla="*/ 1301653 h 6689084"/>
              <a:gd name="connsiteX2871" fmla="*/ 2619283 w 6689088"/>
              <a:gd name="connsiteY2871" fmla="*/ 1306010 h 6689084"/>
              <a:gd name="connsiteX2872" fmla="*/ 2614925 w 6689088"/>
              <a:gd name="connsiteY2872" fmla="*/ 1310367 h 6689084"/>
              <a:gd name="connsiteX2873" fmla="*/ 2610568 w 6689088"/>
              <a:gd name="connsiteY2873" fmla="*/ 1306010 h 6689084"/>
              <a:gd name="connsiteX2874" fmla="*/ 2614925 w 6689088"/>
              <a:gd name="connsiteY2874" fmla="*/ 1301653 h 6689084"/>
              <a:gd name="connsiteX2875" fmla="*/ 2768873 w 6689088"/>
              <a:gd name="connsiteY2875" fmla="*/ 1300563 h 6689084"/>
              <a:gd name="connsiteX2876" fmla="*/ 2774682 w 6689088"/>
              <a:gd name="connsiteY2876" fmla="*/ 1306373 h 6689084"/>
              <a:gd name="connsiteX2877" fmla="*/ 2768873 w 6689088"/>
              <a:gd name="connsiteY2877" fmla="*/ 1312182 h 6689084"/>
              <a:gd name="connsiteX2878" fmla="*/ 2763064 w 6689088"/>
              <a:gd name="connsiteY2878" fmla="*/ 1306373 h 6689084"/>
              <a:gd name="connsiteX2879" fmla="*/ 2768873 w 6689088"/>
              <a:gd name="connsiteY2879" fmla="*/ 1300563 h 6689084"/>
              <a:gd name="connsiteX2880" fmla="*/ 2922458 w 6689088"/>
              <a:gd name="connsiteY2880" fmla="*/ 1298749 h 6689084"/>
              <a:gd name="connsiteX2881" fmla="*/ 2929720 w 6689088"/>
              <a:gd name="connsiteY2881" fmla="*/ 1306010 h 6689084"/>
              <a:gd name="connsiteX2882" fmla="*/ 2922458 w 6689088"/>
              <a:gd name="connsiteY2882" fmla="*/ 1313272 h 6689084"/>
              <a:gd name="connsiteX2883" fmla="*/ 2915196 w 6689088"/>
              <a:gd name="connsiteY2883" fmla="*/ 1306010 h 6689084"/>
              <a:gd name="connsiteX2884" fmla="*/ 2922458 w 6689088"/>
              <a:gd name="connsiteY2884" fmla="*/ 1298749 h 6689084"/>
              <a:gd name="connsiteX2885" fmla="*/ 3076406 w 6689088"/>
              <a:gd name="connsiteY2885" fmla="*/ 1296934 h 6689084"/>
              <a:gd name="connsiteX2886" fmla="*/ 3085486 w 6689088"/>
              <a:gd name="connsiteY2886" fmla="*/ 1306010 h 6689084"/>
              <a:gd name="connsiteX2887" fmla="*/ 3076406 w 6689088"/>
              <a:gd name="connsiteY2887" fmla="*/ 1315090 h 6689084"/>
              <a:gd name="connsiteX2888" fmla="*/ 3067329 w 6689088"/>
              <a:gd name="connsiteY2888" fmla="*/ 1306010 h 6689084"/>
              <a:gd name="connsiteX2889" fmla="*/ 3076406 w 6689088"/>
              <a:gd name="connsiteY2889" fmla="*/ 1296934 h 6689084"/>
              <a:gd name="connsiteX2890" fmla="*/ 3230353 w 6689088"/>
              <a:gd name="connsiteY2890" fmla="*/ 1295844 h 6689084"/>
              <a:gd name="connsiteX2891" fmla="*/ 3240519 w 6689088"/>
              <a:gd name="connsiteY2891" fmla="*/ 1306010 h 6689084"/>
              <a:gd name="connsiteX2892" fmla="*/ 3230353 w 6689088"/>
              <a:gd name="connsiteY2892" fmla="*/ 1316177 h 6689084"/>
              <a:gd name="connsiteX2893" fmla="*/ 3220186 w 6689088"/>
              <a:gd name="connsiteY2893" fmla="*/ 1306010 h 6689084"/>
              <a:gd name="connsiteX2894" fmla="*/ 3230353 w 6689088"/>
              <a:gd name="connsiteY2894" fmla="*/ 1295844 h 6689084"/>
              <a:gd name="connsiteX2895" fmla="*/ 3383934 w 6689088"/>
              <a:gd name="connsiteY2895" fmla="*/ 1294026 h 6689084"/>
              <a:gd name="connsiteX2896" fmla="*/ 3395919 w 6689088"/>
              <a:gd name="connsiteY2896" fmla="*/ 1306007 h 6689084"/>
              <a:gd name="connsiteX2897" fmla="*/ 3383934 w 6689088"/>
              <a:gd name="connsiteY2897" fmla="*/ 1317987 h 6689084"/>
              <a:gd name="connsiteX2898" fmla="*/ 3371954 w 6689088"/>
              <a:gd name="connsiteY2898" fmla="*/ 1306007 h 6689084"/>
              <a:gd name="connsiteX2899" fmla="*/ 3383934 w 6689088"/>
              <a:gd name="connsiteY2899" fmla="*/ 1294026 h 6689084"/>
              <a:gd name="connsiteX2900" fmla="*/ 3537886 w 6689088"/>
              <a:gd name="connsiteY2900" fmla="*/ 1292211 h 6689084"/>
              <a:gd name="connsiteX2901" fmla="*/ 3551681 w 6689088"/>
              <a:gd name="connsiteY2901" fmla="*/ 1306010 h 6689084"/>
              <a:gd name="connsiteX2902" fmla="*/ 3537886 w 6689088"/>
              <a:gd name="connsiteY2902" fmla="*/ 1319806 h 6689084"/>
              <a:gd name="connsiteX2903" fmla="*/ 3524086 w 6689088"/>
              <a:gd name="connsiteY2903" fmla="*/ 1306010 h 6689084"/>
              <a:gd name="connsiteX2904" fmla="*/ 3537886 w 6689088"/>
              <a:gd name="connsiteY2904" fmla="*/ 1292211 h 6689084"/>
              <a:gd name="connsiteX2905" fmla="*/ 3691467 w 6689088"/>
              <a:gd name="connsiteY2905" fmla="*/ 1290759 h 6689084"/>
              <a:gd name="connsiteX2906" fmla="*/ 3706718 w 6689088"/>
              <a:gd name="connsiteY2906" fmla="*/ 1306010 h 6689084"/>
              <a:gd name="connsiteX2907" fmla="*/ 3691467 w 6689088"/>
              <a:gd name="connsiteY2907" fmla="*/ 1321258 h 6689084"/>
              <a:gd name="connsiteX2908" fmla="*/ 3676219 w 6689088"/>
              <a:gd name="connsiteY2908" fmla="*/ 1306010 h 6689084"/>
              <a:gd name="connsiteX2909" fmla="*/ 3691467 w 6689088"/>
              <a:gd name="connsiteY2909" fmla="*/ 1290759 h 6689084"/>
              <a:gd name="connsiteX2910" fmla="*/ 3845418 w 6689088"/>
              <a:gd name="connsiteY2910" fmla="*/ 1288945 h 6689084"/>
              <a:gd name="connsiteX2911" fmla="*/ 3862484 w 6689088"/>
              <a:gd name="connsiteY2911" fmla="*/ 1306010 h 6689084"/>
              <a:gd name="connsiteX2912" fmla="*/ 3845418 w 6689088"/>
              <a:gd name="connsiteY2912" fmla="*/ 1323072 h 6689084"/>
              <a:gd name="connsiteX2913" fmla="*/ 3828352 w 6689088"/>
              <a:gd name="connsiteY2913" fmla="*/ 1306010 h 6689084"/>
              <a:gd name="connsiteX2914" fmla="*/ 3845418 w 6689088"/>
              <a:gd name="connsiteY2914" fmla="*/ 1288945 h 6689084"/>
              <a:gd name="connsiteX2915" fmla="*/ 3999000 w 6689088"/>
              <a:gd name="connsiteY2915" fmla="*/ 1286768 h 6689084"/>
              <a:gd name="connsiteX2916" fmla="*/ 4018242 w 6689088"/>
              <a:gd name="connsiteY2916" fmla="*/ 1306010 h 6689084"/>
              <a:gd name="connsiteX2917" fmla="*/ 3999000 w 6689088"/>
              <a:gd name="connsiteY2917" fmla="*/ 1325257 h 6689084"/>
              <a:gd name="connsiteX2918" fmla="*/ 3979757 w 6689088"/>
              <a:gd name="connsiteY2918" fmla="*/ 1306010 h 6689084"/>
              <a:gd name="connsiteX2919" fmla="*/ 3999000 w 6689088"/>
              <a:gd name="connsiteY2919" fmla="*/ 1286768 h 6689084"/>
              <a:gd name="connsiteX2920" fmla="*/ 4152947 w 6689088"/>
              <a:gd name="connsiteY2920" fmla="*/ 1284588 h 6689084"/>
              <a:gd name="connsiteX2921" fmla="*/ 4174366 w 6689088"/>
              <a:gd name="connsiteY2921" fmla="*/ 1306010 h 6689084"/>
              <a:gd name="connsiteX2922" fmla="*/ 4152947 w 6689088"/>
              <a:gd name="connsiteY2922" fmla="*/ 1327433 h 6689084"/>
              <a:gd name="connsiteX2923" fmla="*/ 4131524 w 6689088"/>
              <a:gd name="connsiteY2923" fmla="*/ 1306010 h 6689084"/>
              <a:gd name="connsiteX2924" fmla="*/ 4152947 w 6689088"/>
              <a:gd name="connsiteY2924" fmla="*/ 1284588 h 6689084"/>
              <a:gd name="connsiteX2925" fmla="*/ 4306532 w 6689088"/>
              <a:gd name="connsiteY2925" fmla="*/ 1283135 h 6689084"/>
              <a:gd name="connsiteX2926" fmla="*/ 4329404 w 6689088"/>
              <a:gd name="connsiteY2926" fmla="*/ 1306010 h 6689084"/>
              <a:gd name="connsiteX2927" fmla="*/ 4306532 w 6689088"/>
              <a:gd name="connsiteY2927" fmla="*/ 1328886 h 6689084"/>
              <a:gd name="connsiteX2928" fmla="*/ 4283657 w 6689088"/>
              <a:gd name="connsiteY2928" fmla="*/ 1306010 h 6689084"/>
              <a:gd name="connsiteX2929" fmla="*/ 4306532 w 6689088"/>
              <a:gd name="connsiteY2929" fmla="*/ 1283135 h 6689084"/>
              <a:gd name="connsiteX2930" fmla="*/ 4460480 w 6689088"/>
              <a:gd name="connsiteY2930" fmla="*/ 1281321 h 6689084"/>
              <a:gd name="connsiteX2931" fmla="*/ 4485536 w 6689088"/>
              <a:gd name="connsiteY2931" fmla="*/ 1306373 h 6689084"/>
              <a:gd name="connsiteX2932" fmla="*/ 4460480 w 6689088"/>
              <a:gd name="connsiteY2932" fmla="*/ 1331424 h 6689084"/>
              <a:gd name="connsiteX2933" fmla="*/ 4435428 w 6689088"/>
              <a:gd name="connsiteY2933" fmla="*/ 1306373 h 6689084"/>
              <a:gd name="connsiteX2934" fmla="*/ 4460480 w 6689088"/>
              <a:gd name="connsiteY2934" fmla="*/ 1281321 h 6689084"/>
              <a:gd name="connsiteX2935" fmla="*/ 4614065 w 6689088"/>
              <a:gd name="connsiteY2935" fmla="*/ 1278778 h 6689084"/>
              <a:gd name="connsiteX2936" fmla="*/ 4641297 w 6689088"/>
              <a:gd name="connsiteY2936" fmla="*/ 1306010 h 6689084"/>
              <a:gd name="connsiteX2937" fmla="*/ 4614065 w 6689088"/>
              <a:gd name="connsiteY2937" fmla="*/ 1333243 h 6689084"/>
              <a:gd name="connsiteX2938" fmla="*/ 4586832 w 6689088"/>
              <a:gd name="connsiteY2938" fmla="*/ 1306010 h 6689084"/>
              <a:gd name="connsiteX2939" fmla="*/ 4614065 w 6689088"/>
              <a:gd name="connsiteY2939" fmla="*/ 1278778 h 6689084"/>
              <a:gd name="connsiteX2940" fmla="*/ 4768008 w 6689088"/>
              <a:gd name="connsiteY2940" fmla="*/ 1276236 h 6689084"/>
              <a:gd name="connsiteX2941" fmla="*/ 4797784 w 6689088"/>
              <a:gd name="connsiteY2941" fmla="*/ 1306010 h 6689084"/>
              <a:gd name="connsiteX2942" fmla="*/ 4768008 w 6689088"/>
              <a:gd name="connsiteY2942" fmla="*/ 1335781 h 6689084"/>
              <a:gd name="connsiteX2943" fmla="*/ 4738238 w 6689088"/>
              <a:gd name="connsiteY2943" fmla="*/ 1306010 h 6689084"/>
              <a:gd name="connsiteX2944" fmla="*/ 4768008 w 6689088"/>
              <a:gd name="connsiteY2944" fmla="*/ 1276236 h 6689084"/>
              <a:gd name="connsiteX2945" fmla="*/ 4921594 w 6689088"/>
              <a:gd name="connsiteY2945" fmla="*/ 1274059 h 6689084"/>
              <a:gd name="connsiteX2946" fmla="*/ 4953545 w 6689088"/>
              <a:gd name="connsiteY2946" fmla="*/ 1306010 h 6689084"/>
              <a:gd name="connsiteX2947" fmla="*/ 4921594 w 6689088"/>
              <a:gd name="connsiteY2947" fmla="*/ 1337962 h 6689084"/>
              <a:gd name="connsiteX2948" fmla="*/ 4889642 w 6689088"/>
              <a:gd name="connsiteY2948" fmla="*/ 1306010 h 6689084"/>
              <a:gd name="connsiteX2949" fmla="*/ 4921594 w 6689088"/>
              <a:gd name="connsiteY2949" fmla="*/ 1274059 h 6689084"/>
              <a:gd name="connsiteX2950" fmla="*/ 5075541 w 6689088"/>
              <a:gd name="connsiteY2950" fmla="*/ 1272245 h 6689084"/>
              <a:gd name="connsiteX2951" fmla="*/ 5109311 w 6689088"/>
              <a:gd name="connsiteY2951" fmla="*/ 1306010 h 6689084"/>
              <a:gd name="connsiteX2952" fmla="*/ 5075541 w 6689088"/>
              <a:gd name="connsiteY2952" fmla="*/ 1339780 h 6689084"/>
              <a:gd name="connsiteX2953" fmla="*/ 5041776 w 6689088"/>
              <a:gd name="connsiteY2953" fmla="*/ 1306010 h 6689084"/>
              <a:gd name="connsiteX2954" fmla="*/ 5075541 w 6689088"/>
              <a:gd name="connsiteY2954" fmla="*/ 1272245 h 6689084"/>
              <a:gd name="connsiteX2955" fmla="*/ 5229126 w 6689088"/>
              <a:gd name="connsiteY2955" fmla="*/ 1269702 h 6689084"/>
              <a:gd name="connsiteX2956" fmla="*/ 5265435 w 6689088"/>
              <a:gd name="connsiteY2956" fmla="*/ 1306010 h 6689084"/>
              <a:gd name="connsiteX2957" fmla="*/ 5229126 w 6689088"/>
              <a:gd name="connsiteY2957" fmla="*/ 1342319 h 6689084"/>
              <a:gd name="connsiteX2958" fmla="*/ 5192818 w 6689088"/>
              <a:gd name="connsiteY2958" fmla="*/ 1306010 h 6689084"/>
              <a:gd name="connsiteX2959" fmla="*/ 5229126 w 6689088"/>
              <a:gd name="connsiteY2959" fmla="*/ 1269702 h 6689084"/>
              <a:gd name="connsiteX2960" fmla="*/ 5383074 w 6689088"/>
              <a:gd name="connsiteY2960" fmla="*/ 1267160 h 6689084"/>
              <a:gd name="connsiteX2961" fmla="*/ 5421921 w 6689088"/>
              <a:gd name="connsiteY2961" fmla="*/ 1306010 h 6689084"/>
              <a:gd name="connsiteX2962" fmla="*/ 5383074 w 6689088"/>
              <a:gd name="connsiteY2962" fmla="*/ 1344858 h 6689084"/>
              <a:gd name="connsiteX2963" fmla="*/ 5344223 w 6689088"/>
              <a:gd name="connsiteY2963" fmla="*/ 1306010 h 6689084"/>
              <a:gd name="connsiteX2964" fmla="*/ 5383074 w 6689088"/>
              <a:gd name="connsiteY2964" fmla="*/ 1267160 h 6689084"/>
              <a:gd name="connsiteX2965" fmla="*/ 5536659 w 6689088"/>
              <a:gd name="connsiteY2965" fmla="*/ 1264983 h 6689084"/>
              <a:gd name="connsiteX2966" fmla="*/ 5577690 w 6689088"/>
              <a:gd name="connsiteY2966" fmla="*/ 1306010 h 6689084"/>
              <a:gd name="connsiteX2967" fmla="*/ 5536659 w 6689088"/>
              <a:gd name="connsiteY2967" fmla="*/ 1347038 h 6689084"/>
              <a:gd name="connsiteX2968" fmla="*/ 5495632 w 6689088"/>
              <a:gd name="connsiteY2968" fmla="*/ 1306010 h 6689084"/>
              <a:gd name="connsiteX2969" fmla="*/ 5536659 w 6689088"/>
              <a:gd name="connsiteY2969" fmla="*/ 1264983 h 6689084"/>
              <a:gd name="connsiteX2970" fmla="*/ 5690606 w 6689088"/>
              <a:gd name="connsiteY2970" fmla="*/ 1262440 h 6689084"/>
              <a:gd name="connsiteX2971" fmla="*/ 5734176 w 6689088"/>
              <a:gd name="connsiteY2971" fmla="*/ 1306010 h 6689084"/>
              <a:gd name="connsiteX2972" fmla="*/ 5690606 w 6689088"/>
              <a:gd name="connsiteY2972" fmla="*/ 1349581 h 6689084"/>
              <a:gd name="connsiteX2973" fmla="*/ 5647036 w 6689088"/>
              <a:gd name="connsiteY2973" fmla="*/ 1306010 h 6689084"/>
              <a:gd name="connsiteX2974" fmla="*/ 5690606 w 6689088"/>
              <a:gd name="connsiteY2974" fmla="*/ 1262440 h 6689084"/>
              <a:gd name="connsiteX2975" fmla="*/ 5844554 w 6689088"/>
              <a:gd name="connsiteY2975" fmla="*/ 1259898 h 6689084"/>
              <a:gd name="connsiteX2976" fmla="*/ 5890666 w 6689088"/>
              <a:gd name="connsiteY2976" fmla="*/ 1306010 h 6689084"/>
              <a:gd name="connsiteX2977" fmla="*/ 5844554 w 6689088"/>
              <a:gd name="connsiteY2977" fmla="*/ 1352123 h 6689084"/>
              <a:gd name="connsiteX2978" fmla="*/ 5798442 w 6689088"/>
              <a:gd name="connsiteY2978" fmla="*/ 1306010 h 6689084"/>
              <a:gd name="connsiteX2979" fmla="*/ 5844554 w 6689088"/>
              <a:gd name="connsiteY2979" fmla="*/ 1259898 h 6689084"/>
              <a:gd name="connsiteX2980" fmla="*/ 5998136 w 6689088"/>
              <a:gd name="connsiteY2980" fmla="*/ 1257355 h 6689084"/>
              <a:gd name="connsiteX2981" fmla="*/ 6046790 w 6689088"/>
              <a:gd name="connsiteY2981" fmla="*/ 1306010 h 6689084"/>
              <a:gd name="connsiteX2982" fmla="*/ 5998136 w 6689088"/>
              <a:gd name="connsiteY2982" fmla="*/ 1354662 h 6689084"/>
              <a:gd name="connsiteX2983" fmla="*/ 5949484 w 6689088"/>
              <a:gd name="connsiteY2983" fmla="*/ 1306010 h 6689084"/>
              <a:gd name="connsiteX2984" fmla="*/ 5998136 w 6689088"/>
              <a:gd name="connsiteY2984" fmla="*/ 1257355 h 6689084"/>
              <a:gd name="connsiteX2985" fmla="*/ 6152083 w 6689088"/>
              <a:gd name="connsiteY2985" fmla="*/ 1254817 h 6689084"/>
              <a:gd name="connsiteX2986" fmla="*/ 6203280 w 6689088"/>
              <a:gd name="connsiteY2986" fmla="*/ 1306010 h 6689084"/>
              <a:gd name="connsiteX2987" fmla="*/ 6152083 w 6689088"/>
              <a:gd name="connsiteY2987" fmla="*/ 1357204 h 6689084"/>
              <a:gd name="connsiteX2988" fmla="*/ 6100889 w 6689088"/>
              <a:gd name="connsiteY2988" fmla="*/ 1306010 h 6689084"/>
              <a:gd name="connsiteX2989" fmla="*/ 6152083 w 6689088"/>
              <a:gd name="connsiteY2989" fmla="*/ 1254817 h 6689084"/>
              <a:gd name="connsiteX2990" fmla="*/ 6305668 w 6689088"/>
              <a:gd name="connsiteY2990" fmla="*/ 1252636 h 6689084"/>
              <a:gd name="connsiteX2991" fmla="*/ 6359042 w 6689088"/>
              <a:gd name="connsiteY2991" fmla="*/ 1306010 h 6689084"/>
              <a:gd name="connsiteX2992" fmla="*/ 6305668 w 6689088"/>
              <a:gd name="connsiteY2992" fmla="*/ 1359381 h 6689084"/>
              <a:gd name="connsiteX2993" fmla="*/ 6252294 w 6689088"/>
              <a:gd name="connsiteY2993" fmla="*/ 1306010 h 6689084"/>
              <a:gd name="connsiteX2994" fmla="*/ 6305668 w 6689088"/>
              <a:gd name="connsiteY2994" fmla="*/ 1252636 h 6689084"/>
              <a:gd name="connsiteX2995" fmla="*/ 6459619 w 6689088"/>
              <a:gd name="connsiteY2995" fmla="*/ 1249732 h 6689084"/>
              <a:gd name="connsiteX2996" fmla="*/ 6515894 w 6689088"/>
              <a:gd name="connsiteY2996" fmla="*/ 1306010 h 6689084"/>
              <a:gd name="connsiteX2997" fmla="*/ 6459619 w 6689088"/>
              <a:gd name="connsiteY2997" fmla="*/ 1362289 h 6689084"/>
              <a:gd name="connsiteX2998" fmla="*/ 6403340 w 6689088"/>
              <a:gd name="connsiteY2998" fmla="*/ 1306010 h 6689084"/>
              <a:gd name="connsiteX2999" fmla="*/ 6459619 w 6689088"/>
              <a:gd name="connsiteY2999" fmla="*/ 1249732 h 6689084"/>
              <a:gd name="connsiteX3000" fmla="*/ 6613197 w 6689088"/>
              <a:gd name="connsiteY3000" fmla="*/ 1247189 h 6689084"/>
              <a:gd name="connsiteX3001" fmla="*/ 6672018 w 6689088"/>
              <a:gd name="connsiteY3001" fmla="*/ 1306010 h 6689084"/>
              <a:gd name="connsiteX3002" fmla="*/ 6613197 w 6689088"/>
              <a:gd name="connsiteY3002" fmla="*/ 1364828 h 6689084"/>
              <a:gd name="connsiteX3003" fmla="*/ 6554380 w 6689088"/>
              <a:gd name="connsiteY3003" fmla="*/ 1306010 h 6689084"/>
              <a:gd name="connsiteX3004" fmla="*/ 6613197 w 6689088"/>
              <a:gd name="connsiteY3004" fmla="*/ 1247189 h 6689084"/>
              <a:gd name="connsiteX3005" fmla="*/ 1846279 w 6689088"/>
              <a:gd name="connsiteY3005" fmla="*/ 1152063 h 6689084"/>
              <a:gd name="connsiteX3006" fmla="*/ 1846641 w 6689088"/>
              <a:gd name="connsiteY3006" fmla="*/ 1152425 h 6689084"/>
              <a:gd name="connsiteX3007" fmla="*/ 1846279 w 6689088"/>
              <a:gd name="connsiteY3007" fmla="*/ 1152791 h 6689084"/>
              <a:gd name="connsiteX3008" fmla="*/ 1845917 w 6689088"/>
              <a:gd name="connsiteY3008" fmla="*/ 1152425 h 6689084"/>
              <a:gd name="connsiteX3009" fmla="*/ 1846279 w 6689088"/>
              <a:gd name="connsiteY3009" fmla="*/ 1152063 h 6689084"/>
              <a:gd name="connsiteX3010" fmla="*/ 1384799 w 6689088"/>
              <a:gd name="connsiteY3010" fmla="*/ 1152063 h 6689084"/>
              <a:gd name="connsiteX3011" fmla="*/ 1385161 w 6689088"/>
              <a:gd name="connsiteY3011" fmla="*/ 1152425 h 6689084"/>
              <a:gd name="connsiteX3012" fmla="*/ 1384799 w 6689088"/>
              <a:gd name="connsiteY3012" fmla="*/ 1152791 h 6689084"/>
              <a:gd name="connsiteX3013" fmla="*/ 1384437 w 6689088"/>
              <a:gd name="connsiteY3013" fmla="*/ 1152425 h 6689084"/>
              <a:gd name="connsiteX3014" fmla="*/ 1384799 w 6689088"/>
              <a:gd name="connsiteY3014" fmla="*/ 1152063 h 6689084"/>
              <a:gd name="connsiteX3015" fmla="*/ 1231213 w 6689088"/>
              <a:gd name="connsiteY3015" fmla="*/ 1152063 h 6689084"/>
              <a:gd name="connsiteX3016" fmla="*/ 1231576 w 6689088"/>
              <a:gd name="connsiteY3016" fmla="*/ 1152425 h 6689084"/>
              <a:gd name="connsiteX3017" fmla="*/ 1231213 w 6689088"/>
              <a:gd name="connsiteY3017" fmla="*/ 1152791 h 6689084"/>
              <a:gd name="connsiteX3018" fmla="*/ 1230851 w 6689088"/>
              <a:gd name="connsiteY3018" fmla="*/ 1152425 h 6689084"/>
              <a:gd name="connsiteX3019" fmla="*/ 1231213 w 6689088"/>
              <a:gd name="connsiteY3019" fmla="*/ 1152063 h 6689084"/>
              <a:gd name="connsiteX3020" fmla="*/ 1077270 w 6689088"/>
              <a:gd name="connsiteY3020" fmla="*/ 1151701 h 6689084"/>
              <a:gd name="connsiteX3021" fmla="*/ 1077994 w 6689088"/>
              <a:gd name="connsiteY3021" fmla="*/ 1152425 h 6689084"/>
              <a:gd name="connsiteX3022" fmla="*/ 1077270 w 6689088"/>
              <a:gd name="connsiteY3022" fmla="*/ 1153153 h 6689084"/>
              <a:gd name="connsiteX3023" fmla="*/ 1076542 w 6689088"/>
              <a:gd name="connsiteY3023" fmla="*/ 1152425 h 6689084"/>
              <a:gd name="connsiteX3024" fmla="*/ 1077270 w 6689088"/>
              <a:gd name="connsiteY3024" fmla="*/ 1151701 h 6689084"/>
              <a:gd name="connsiteX3025" fmla="*/ 1999864 w 6689088"/>
              <a:gd name="connsiteY3025" fmla="*/ 1150611 h 6689084"/>
              <a:gd name="connsiteX3026" fmla="*/ 2001316 w 6689088"/>
              <a:gd name="connsiteY3026" fmla="*/ 1152063 h 6689084"/>
              <a:gd name="connsiteX3027" fmla="*/ 1999864 w 6689088"/>
              <a:gd name="connsiteY3027" fmla="*/ 1153515 h 6689084"/>
              <a:gd name="connsiteX3028" fmla="*/ 1998412 w 6689088"/>
              <a:gd name="connsiteY3028" fmla="*/ 1152063 h 6689084"/>
              <a:gd name="connsiteX3029" fmla="*/ 1999864 w 6689088"/>
              <a:gd name="connsiteY3029" fmla="*/ 1150611 h 6689084"/>
              <a:gd name="connsiteX3030" fmla="*/ 2153808 w 6689088"/>
              <a:gd name="connsiteY3030" fmla="*/ 1150249 h 6689084"/>
              <a:gd name="connsiteX3031" fmla="*/ 2155988 w 6689088"/>
              <a:gd name="connsiteY3031" fmla="*/ 1152425 h 6689084"/>
              <a:gd name="connsiteX3032" fmla="*/ 2153808 w 6689088"/>
              <a:gd name="connsiteY3032" fmla="*/ 1154606 h 6689084"/>
              <a:gd name="connsiteX3033" fmla="*/ 2151631 w 6689088"/>
              <a:gd name="connsiteY3033" fmla="*/ 1152425 h 6689084"/>
              <a:gd name="connsiteX3034" fmla="*/ 2153808 w 6689088"/>
              <a:gd name="connsiteY3034" fmla="*/ 1150249 h 6689084"/>
              <a:gd name="connsiteX3035" fmla="*/ 2307393 w 6689088"/>
              <a:gd name="connsiteY3035" fmla="*/ 1149158 h 6689084"/>
              <a:gd name="connsiteX3036" fmla="*/ 2310660 w 6689088"/>
              <a:gd name="connsiteY3036" fmla="*/ 1152425 h 6689084"/>
              <a:gd name="connsiteX3037" fmla="*/ 2307393 w 6689088"/>
              <a:gd name="connsiteY3037" fmla="*/ 1155696 h 6689084"/>
              <a:gd name="connsiteX3038" fmla="*/ 2304126 w 6689088"/>
              <a:gd name="connsiteY3038" fmla="*/ 1152425 h 6689084"/>
              <a:gd name="connsiteX3039" fmla="*/ 2307393 w 6689088"/>
              <a:gd name="connsiteY3039" fmla="*/ 1149158 h 6689084"/>
              <a:gd name="connsiteX3040" fmla="*/ 2461340 w 6689088"/>
              <a:gd name="connsiteY3040" fmla="*/ 1147706 h 6689084"/>
              <a:gd name="connsiteX3041" fmla="*/ 2465697 w 6689088"/>
              <a:gd name="connsiteY3041" fmla="*/ 1152063 h 6689084"/>
              <a:gd name="connsiteX3042" fmla="*/ 2461340 w 6689088"/>
              <a:gd name="connsiteY3042" fmla="*/ 1156420 h 6689084"/>
              <a:gd name="connsiteX3043" fmla="*/ 2456983 w 6689088"/>
              <a:gd name="connsiteY3043" fmla="*/ 1152063 h 6689084"/>
              <a:gd name="connsiteX3044" fmla="*/ 2461340 w 6689088"/>
              <a:gd name="connsiteY3044" fmla="*/ 1147706 h 6689084"/>
              <a:gd name="connsiteX3045" fmla="*/ 2614925 w 6689088"/>
              <a:gd name="connsiteY3045" fmla="*/ 1146616 h 6689084"/>
              <a:gd name="connsiteX3046" fmla="*/ 2620735 w 6689088"/>
              <a:gd name="connsiteY3046" fmla="*/ 1152425 h 6689084"/>
              <a:gd name="connsiteX3047" fmla="*/ 2614925 w 6689088"/>
              <a:gd name="connsiteY3047" fmla="*/ 1158234 h 6689084"/>
              <a:gd name="connsiteX3048" fmla="*/ 2609116 w 6689088"/>
              <a:gd name="connsiteY3048" fmla="*/ 1152425 h 6689084"/>
              <a:gd name="connsiteX3049" fmla="*/ 2614925 w 6689088"/>
              <a:gd name="connsiteY3049" fmla="*/ 1146616 h 6689084"/>
              <a:gd name="connsiteX3050" fmla="*/ 2768873 w 6689088"/>
              <a:gd name="connsiteY3050" fmla="*/ 1145164 h 6689084"/>
              <a:gd name="connsiteX3051" fmla="*/ 2776135 w 6689088"/>
              <a:gd name="connsiteY3051" fmla="*/ 1152425 h 6689084"/>
              <a:gd name="connsiteX3052" fmla="*/ 2768873 w 6689088"/>
              <a:gd name="connsiteY3052" fmla="*/ 1159687 h 6689084"/>
              <a:gd name="connsiteX3053" fmla="*/ 2761611 w 6689088"/>
              <a:gd name="connsiteY3053" fmla="*/ 1152425 h 6689084"/>
              <a:gd name="connsiteX3054" fmla="*/ 2768873 w 6689088"/>
              <a:gd name="connsiteY3054" fmla="*/ 1145164 h 6689084"/>
              <a:gd name="connsiteX3055" fmla="*/ 2922454 w 6689088"/>
              <a:gd name="connsiteY3055" fmla="*/ 1142983 h 6689084"/>
              <a:gd name="connsiteX3056" fmla="*/ 2931534 w 6689088"/>
              <a:gd name="connsiteY3056" fmla="*/ 1152059 h 6689084"/>
              <a:gd name="connsiteX3057" fmla="*/ 2922454 w 6689088"/>
              <a:gd name="connsiteY3057" fmla="*/ 1161139 h 6689084"/>
              <a:gd name="connsiteX3058" fmla="*/ 2913378 w 6689088"/>
              <a:gd name="connsiteY3058" fmla="*/ 1152059 h 6689084"/>
              <a:gd name="connsiteX3059" fmla="*/ 2922454 w 6689088"/>
              <a:gd name="connsiteY3059" fmla="*/ 1142983 h 6689084"/>
              <a:gd name="connsiteX3060" fmla="*/ 3076406 w 6689088"/>
              <a:gd name="connsiteY3060" fmla="*/ 1142259 h 6689084"/>
              <a:gd name="connsiteX3061" fmla="*/ 3086572 w 6689088"/>
              <a:gd name="connsiteY3061" fmla="*/ 1152425 h 6689084"/>
              <a:gd name="connsiteX3062" fmla="*/ 3076406 w 6689088"/>
              <a:gd name="connsiteY3062" fmla="*/ 1162592 h 6689084"/>
              <a:gd name="connsiteX3063" fmla="*/ 3066239 w 6689088"/>
              <a:gd name="connsiteY3063" fmla="*/ 1152425 h 6689084"/>
              <a:gd name="connsiteX3064" fmla="*/ 3076406 w 6689088"/>
              <a:gd name="connsiteY3064" fmla="*/ 1142259 h 6689084"/>
              <a:gd name="connsiteX3065" fmla="*/ 3230349 w 6689088"/>
              <a:gd name="connsiteY3065" fmla="*/ 1140444 h 6689084"/>
              <a:gd name="connsiteX3066" fmla="*/ 3242334 w 6689088"/>
              <a:gd name="connsiteY3066" fmla="*/ 1152425 h 6689084"/>
              <a:gd name="connsiteX3067" fmla="*/ 3230349 w 6689088"/>
              <a:gd name="connsiteY3067" fmla="*/ 1164406 h 6689084"/>
              <a:gd name="connsiteX3068" fmla="*/ 3218368 w 6689088"/>
              <a:gd name="connsiteY3068" fmla="*/ 1152425 h 6689084"/>
              <a:gd name="connsiteX3069" fmla="*/ 3230349 w 6689088"/>
              <a:gd name="connsiteY3069" fmla="*/ 1140444 h 6689084"/>
              <a:gd name="connsiteX3070" fmla="*/ 3383934 w 6689088"/>
              <a:gd name="connsiteY3070" fmla="*/ 1138264 h 6689084"/>
              <a:gd name="connsiteX3071" fmla="*/ 3397733 w 6689088"/>
              <a:gd name="connsiteY3071" fmla="*/ 1152059 h 6689084"/>
              <a:gd name="connsiteX3072" fmla="*/ 3383934 w 6689088"/>
              <a:gd name="connsiteY3072" fmla="*/ 1165858 h 6689084"/>
              <a:gd name="connsiteX3073" fmla="*/ 3370139 w 6689088"/>
              <a:gd name="connsiteY3073" fmla="*/ 1152059 h 6689084"/>
              <a:gd name="connsiteX3074" fmla="*/ 3383934 w 6689088"/>
              <a:gd name="connsiteY3074" fmla="*/ 1138264 h 6689084"/>
              <a:gd name="connsiteX3075" fmla="*/ 3537882 w 6689088"/>
              <a:gd name="connsiteY3075" fmla="*/ 1137178 h 6689084"/>
              <a:gd name="connsiteX3076" fmla="*/ 3553133 w 6689088"/>
              <a:gd name="connsiteY3076" fmla="*/ 1152425 h 6689084"/>
              <a:gd name="connsiteX3077" fmla="*/ 3537882 w 6689088"/>
              <a:gd name="connsiteY3077" fmla="*/ 1167677 h 6689084"/>
              <a:gd name="connsiteX3078" fmla="*/ 3522634 w 6689088"/>
              <a:gd name="connsiteY3078" fmla="*/ 1152425 h 6689084"/>
              <a:gd name="connsiteX3079" fmla="*/ 3537882 w 6689088"/>
              <a:gd name="connsiteY3079" fmla="*/ 1137178 h 6689084"/>
              <a:gd name="connsiteX3080" fmla="*/ 3691467 w 6689088"/>
              <a:gd name="connsiteY3080" fmla="*/ 1135359 h 6689084"/>
              <a:gd name="connsiteX3081" fmla="*/ 3708533 w 6689088"/>
              <a:gd name="connsiteY3081" fmla="*/ 1152425 h 6689084"/>
              <a:gd name="connsiteX3082" fmla="*/ 3691467 w 6689088"/>
              <a:gd name="connsiteY3082" fmla="*/ 1169487 h 6689084"/>
              <a:gd name="connsiteX3083" fmla="*/ 3674401 w 6689088"/>
              <a:gd name="connsiteY3083" fmla="*/ 1152425 h 6689084"/>
              <a:gd name="connsiteX3084" fmla="*/ 3691467 w 6689088"/>
              <a:gd name="connsiteY3084" fmla="*/ 1135359 h 6689084"/>
              <a:gd name="connsiteX3085" fmla="*/ 3845414 w 6689088"/>
              <a:gd name="connsiteY3085" fmla="*/ 1133183 h 6689084"/>
              <a:gd name="connsiteX3086" fmla="*/ 3864661 w 6689088"/>
              <a:gd name="connsiteY3086" fmla="*/ 1152425 h 6689084"/>
              <a:gd name="connsiteX3087" fmla="*/ 3845414 w 6689088"/>
              <a:gd name="connsiteY3087" fmla="*/ 1171672 h 6689084"/>
              <a:gd name="connsiteX3088" fmla="*/ 3826172 w 6689088"/>
              <a:gd name="connsiteY3088" fmla="*/ 1152425 h 6689084"/>
              <a:gd name="connsiteX3089" fmla="*/ 3845414 w 6689088"/>
              <a:gd name="connsiteY3089" fmla="*/ 1133183 h 6689084"/>
              <a:gd name="connsiteX3090" fmla="*/ 3999000 w 6689088"/>
              <a:gd name="connsiteY3090" fmla="*/ 1131002 h 6689084"/>
              <a:gd name="connsiteX3091" fmla="*/ 4020422 w 6689088"/>
              <a:gd name="connsiteY3091" fmla="*/ 1152425 h 6689084"/>
              <a:gd name="connsiteX3092" fmla="*/ 3999000 w 6689088"/>
              <a:gd name="connsiteY3092" fmla="*/ 1173844 h 6689084"/>
              <a:gd name="connsiteX3093" fmla="*/ 3977577 w 6689088"/>
              <a:gd name="connsiteY3093" fmla="*/ 1152425 h 6689084"/>
              <a:gd name="connsiteX3094" fmla="*/ 3999000 w 6689088"/>
              <a:gd name="connsiteY3094" fmla="*/ 1131002 h 6689084"/>
              <a:gd name="connsiteX3095" fmla="*/ 4152947 w 6689088"/>
              <a:gd name="connsiteY3095" fmla="*/ 1129550 h 6689084"/>
              <a:gd name="connsiteX3096" fmla="*/ 4175822 w 6689088"/>
              <a:gd name="connsiteY3096" fmla="*/ 1152425 h 6689084"/>
              <a:gd name="connsiteX3097" fmla="*/ 4152947 w 6689088"/>
              <a:gd name="connsiteY3097" fmla="*/ 1175297 h 6689084"/>
              <a:gd name="connsiteX3098" fmla="*/ 4130072 w 6689088"/>
              <a:gd name="connsiteY3098" fmla="*/ 1152425 h 6689084"/>
              <a:gd name="connsiteX3099" fmla="*/ 4152947 w 6689088"/>
              <a:gd name="connsiteY3099" fmla="*/ 1129550 h 6689084"/>
              <a:gd name="connsiteX3100" fmla="*/ 4306532 w 6689088"/>
              <a:gd name="connsiteY3100" fmla="*/ 1127373 h 6689084"/>
              <a:gd name="connsiteX3101" fmla="*/ 4331584 w 6689088"/>
              <a:gd name="connsiteY3101" fmla="*/ 1152425 h 6689084"/>
              <a:gd name="connsiteX3102" fmla="*/ 4306532 w 6689088"/>
              <a:gd name="connsiteY3102" fmla="*/ 1177481 h 6689084"/>
              <a:gd name="connsiteX3103" fmla="*/ 4281480 w 6689088"/>
              <a:gd name="connsiteY3103" fmla="*/ 1152425 h 6689084"/>
              <a:gd name="connsiteX3104" fmla="*/ 4306532 w 6689088"/>
              <a:gd name="connsiteY3104" fmla="*/ 1127373 h 6689084"/>
              <a:gd name="connsiteX3105" fmla="*/ 4460480 w 6689088"/>
              <a:gd name="connsiteY3105" fmla="*/ 1125193 h 6689084"/>
              <a:gd name="connsiteX3106" fmla="*/ 4487712 w 6689088"/>
              <a:gd name="connsiteY3106" fmla="*/ 1152425 h 6689084"/>
              <a:gd name="connsiteX3107" fmla="*/ 4460480 w 6689088"/>
              <a:gd name="connsiteY3107" fmla="*/ 1179657 h 6689084"/>
              <a:gd name="connsiteX3108" fmla="*/ 4433248 w 6689088"/>
              <a:gd name="connsiteY3108" fmla="*/ 1152425 h 6689084"/>
              <a:gd name="connsiteX3109" fmla="*/ 4460480 w 6689088"/>
              <a:gd name="connsiteY3109" fmla="*/ 1125193 h 6689084"/>
              <a:gd name="connsiteX3110" fmla="*/ 4614061 w 6689088"/>
              <a:gd name="connsiteY3110" fmla="*/ 1122654 h 6689084"/>
              <a:gd name="connsiteX3111" fmla="*/ 4643836 w 6689088"/>
              <a:gd name="connsiteY3111" fmla="*/ 1152425 h 6689084"/>
              <a:gd name="connsiteX3112" fmla="*/ 4614061 w 6689088"/>
              <a:gd name="connsiteY3112" fmla="*/ 1182200 h 6689084"/>
              <a:gd name="connsiteX3113" fmla="*/ 4584290 w 6689088"/>
              <a:gd name="connsiteY3113" fmla="*/ 1152429 h 6689084"/>
              <a:gd name="connsiteX3114" fmla="*/ 4614061 w 6689088"/>
              <a:gd name="connsiteY3114" fmla="*/ 1122654 h 6689084"/>
              <a:gd name="connsiteX3115" fmla="*/ 4768012 w 6689088"/>
              <a:gd name="connsiteY3115" fmla="*/ 1120474 h 6689084"/>
              <a:gd name="connsiteX3116" fmla="*/ 4799964 w 6689088"/>
              <a:gd name="connsiteY3116" fmla="*/ 1152425 h 6689084"/>
              <a:gd name="connsiteX3117" fmla="*/ 4768012 w 6689088"/>
              <a:gd name="connsiteY3117" fmla="*/ 1184377 h 6689084"/>
              <a:gd name="connsiteX3118" fmla="*/ 4736061 w 6689088"/>
              <a:gd name="connsiteY3118" fmla="*/ 1152425 h 6689084"/>
              <a:gd name="connsiteX3119" fmla="*/ 4768012 w 6689088"/>
              <a:gd name="connsiteY3119" fmla="*/ 1120474 h 6689084"/>
              <a:gd name="connsiteX3120" fmla="*/ 4921594 w 6689088"/>
              <a:gd name="connsiteY3120" fmla="*/ 1118659 h 6689084"/>
              <a:gd name="connsiteX3121" fmla="*/ 4955364 w 6689088"/>
              <a:gd name="connsiteY3121" fmla="*/ 1152425 h 6689084"/>
              <a:gd name="connsiteX3122" fmla="*/ 4921594 w 6689088"/>
              <a:gd name="connsiteY3122" fmla="*/ 1186191 h 6689084"/>
              <a:gd name="connsiteX3123" fmla="*/ 4887828 w 6689088"/>
              <a:gd name="connsiteY3123" fmla="*/ 1152425 h 6689084"/>
              <a:gd name="connsiteX3124" fmla="*/ 4921594 w 6689088"/>
              <a:gd name="connsiteY3124" fmla="*/ 1118659 h 6689084"/>
              <a:gd name="connsiteX3125" fmla="*/ 5075541 w 6689088"/>
              <a:gd name="connsiteY3125" fmla="*/ 1116117 h 6689084"/>
              <a:gd name="connsiteX3126" fmla="*/ 5111850 w 6689088"/>
              <a:gd name="connsiteY3126" fmla="*/ 1152425 h 6689084"/>
              <a:gd name="connsiteX3127" fmla="*/ 5075541 w 6689088"/>
              <a:gd name="connsiteY3127" fmla="*/ 1188734 h 6689084"/>
              <a:gd name="connsiteX3128" fmla="*/ 5039233 w 6689088"/>
              <a:gd name="connsiteY3128" fmla="*/ 1152425 h 6689084"/>
              <a:gd name="connsiteX3129" fmla="*/ 5075541 w 6689088"/>
              <a:gd name="connsiteY3129" fmla="*/ 1116117 h 6689084"/>
              <a:gd name="connsiteX3130" fmla="*/ 5229126 w 6689088"/>
              <a:gd name="connsiteY3130" fmla="*/ 1113574 h 6689084"/>
              <a:gd name="connsiteX3131" fmla="*/ 5267978 w 6689088"/>
              <a:gd name="connsiteY3131" fmla="*/ 1152425 h 6689084"/>
              <a:gd name="connsiteX3132" fmla="*/ 5229126 w 6689088"/>
              <a:gd name="connsiteY3132" fmla="*/ 1191276 h 6689084"/>
              <a:gd name="connsiteX3133" fmla="*/ 5190276 w 6689088"/>
              <a:gd name="connsiteY3133" fmla="*/ 1152425 h 6689084"/>
              <a:gd name="connsiteX3134" fmla="*/ 5229126 w 6689088"/>
              <a:gd name="connsiteY3134" fmla="*/ 1113574 h 6689084"/>
              <a:gd name="connsiteX3135" fmla="*/ 5383074 w 6689088"/>
              <a:gd name="connsiteY3135" fmla="*/ 1111036 h 6689084"/>
              <a:gd name="connsiteX3136" fmla="*/ 5424102 w 6689088"/>
              <a:gd name="connsiteY3136" fmla="*/ 1152063 h 6689084"/>
              <a:gd name="connsiteX3137" fmla="*/ 5383074 w 6689088"/>
              <a:gd name="connsiteY3137" fmla="*/ 1193094 h 6689084"/>
              <a:gd name="connsiteX3138" fmla="*/ 5342046 w 6689088"/>
              <a:gd name="connsiteY3138" fmla="*/ 1152063 h 6689084"/>
              <a:gd name="connsiteX3139" fmla="*/ 5383074 w 6689088"/>
              <a:gd name="connsiteY3139" fmla="*/ 1111036 h 6689084"/>
              <a:gd name="connsiteX3140" fmla="*/ 5536659 w 6689088"/>
              <a:gd name="connsiteY3140" fmla="*/ 1108855 h 6689084"/>
              <a:gd name="connsiteX3141" fmla="*/ 5580229 w 6689088"/>
              <a:gd name="connsiteY3141" fmla="*/ 1152425 h 6689084"/>
              <a:gd name="connsiteX3142" fmla="*/ 5536659 w 6689088"/>
              <a:gd name="connsiteY3142" fmla="*/ 1195995 h 6689084"/>
              <a:gd name="connsiteX3143" fmla="*/ 5493089 w 6689088"/>
              <a:gd name="connsiteY3143" fmla="*/ 1152425 h 6689084"/>
              <a:gd name="connsiteX3144" fmla="*/ 5536659 w 6689088"/>
              <a:gd name="connsiteY3144" fmla="*/ 1108855 h 6689084"/>
              <a:gd name="connsiteX3145" fmla="*/ 5690602 w 6689088"/>
              <a:gd name="connsiteY3145" fmla="*/ 1106313 h 6689084"/>
              <a:gd name="connsiteX3146" fmla="*/ 5736716 w 6689088"/>
              <a:gd name="connsiteY3146" fmla="*/ 1152425 h 6689084"/>
              <a:gd name="connsiteX3147" fmla="*/ 5690602 w 6689088"/>
              <a:gd name="connsiteY3147" fmla="*/ 1198534 h 6689084"/>
              <a:gd name="connsiteX3148" fmla="*/ 5644490 w 6689088"/>
              <a:gd name="connsiteY3148" fmla="*/ 1152425 h 6689084"/>
              <a:gd name="connsiteX3149" fmla="*/ 5690602 w 6689088"/>
              <a:gd name="connsiteY3149" fmla="*/ 1106313 h 6689084"/>
              <a:gd name="connsiteX3150" fmla="*/ 5844554 w 6689088"/>
              <a:gd name="connsiteY3150" fmla="*/ 1103770 h 6689084"/>
              <a:gd name="connsiteX3151" fmla="*/ 5893205 w 6689088"/>
              <a:gd name="connsiteY3151" fmla="*/ 1152425 h 6689084"/>
              <a:gd name="connsiteX3152" fmla="*/ 5844554 w 6689088"/>
              <a:gd name="connsiteY3152" fmla="*/ 1201077 h 6689084"/>
              <a:gd name="connsiteX3153" fmla="*/ 5795899 w 6689088"/>
              <a:gd name="connsiteY3153" fmla="*/ 1152425 h 6689084"/>
              <a:gd name="connsiteX3154" fmla="*/ 5844554 w 6689088"/>
              <a:gd name="connsiteY3154" fmla="*/ 1103770 h 6689084"/>
              <a:gd name="connsiteX3155" fmla="*/ 5998136 w 6689088"/>
              <a:gd name="connsiteY3155" fmla="*/ 1101231 h 6689084"/>
              <a:gd name="connsiteX3156" fmla="*/ 6049333 w 6689088"/>
              <a:gd name="connsiteY3156" fmla="*/ 1152425 h 6689084"/>
              <a:gd name="connsiteX3157" fmla="*/ 5998136 w 6689088"/>
              <a:gd name="connsiteY3157" fmla="*/ 1203623 h 6689084"/>
              <a:gd name="connsiteX3158" fmla="*/ 5946942 w 6689088"/>
              <a:gd name="connsiteY3158" fmla="*/ 1152425 h 6689084"/>
              <a:gd name="connsiteX3159" fmla="*/ 5998136 w 6689088"/>
              <a:gd name="connsiteY3159" fmla="*/ 1101231 h 6689084"/>
              <a:gd name="connsiteX3160" fmla="*/ 6152083 w 6689088"/>
              <a:gd name="connsiteY3160" fmla="*/ 1099051 h 6689084"/>
              <a:gd name="connsiteX3161" fmla="*/ 6205461 w 6689088"/>
              <a:gd name="connsiteY3161" fmla="*/ 1152425 h 6689084"/>
              <a:gd name="connsiteX3162" fmla="*/ 6152083 w 6689088"/>
              <a:gd name="connsiteY3162" fmla="*/ 1205796 h 6689084"/>
              <a:gd name="connsiteX3163" fmla="*/ 6098712 w 6689088"/>
              <a:gd name="connsiteY3163" fmla="*/ 1152425 h 6689084"/>
              <a:gd name="connsiteX3164" fmla="*/ 6152083 w 6689088"/>
              <a:gd name="connsiteY3164" fmla="*/ 1099051 h 6689084"/>
              <a:gd name="connsiteX3165" fmla="*/ 6305672 w 6689088"/>
              <a:gd name="connsiteY3165" fmla="*/ 1096146 h 6689084"/>
              <a:gd name="connsiteX3166" fmla="*/ 6361947 w 6689088"/>
              <a:gd name="connsiteY3166" fmla="*/ 1152425 h 6689084"/>
              <a:gd name="connsiteX3167" fmla="*/ 6305672 w 6689088"/>
              <a:gd name="connsiteY3167" fmla="*/ 1208704 h 6689084"/>
              <a:gd name="connsiteX3168" fmla="*/ 6249393 w 6689088"/>
              <a:gd name="connsiteY3168" fmla="*/ 1152425 h 6689084"/>
              <a:gd name="connsiteX3169" fmla="*/ 6305672 w 6689088"/>
              <a:gd name="connsiteY3169" fmla="*/ 1096146 h 6689084"/>
              <a:gd name="connsiteX3170" fmla="*/ 6459616 w 6689088"/>
              <a:gd name="connsiteY3170" fmla="*/ 1093608 h 6689084"/>
              <a:gd name="connsiteX3171" fmla="*/ 6518437 w 6689088"/>
              <a:gd name="connsiteY3171" fmla="*/ 1152425 h 6689084"/>
              <a:gd name="connsiteX3172" fmla="*/ 6459616 w 6689088"/>
              <a:gd name="connsiteY3172" fmla="*/ 1211247 h 6689084"/>
              <a:gd name="connsiteX3173" fmla="*/ 6400798 w 6689088"/>
              <a:gd name="connsiteY3173" fmla="*/ 1152425 h 6689084"/>
              <a:gd name="connsiteX3174" fmla="*/ 6459616 w 6689088"/>
              <a:gd name="connsiteY3174" fmla="*/ 1093608 h 6689084"/>
              <a:gd name="connsiteX3175" fmla="*/ 6613200 w 6689088"/>
              <a:gd name="connsiteY3175" fmla="*/ 1090703 h 6689084"/>
              <a:gd name="connsiteX3176" fmla="*/ 6674923 w 6689088"/>
              <a:gd name="connsiteY3176" fmla="*/ 1152425 h 6689084"/>
              <a:gd name="connsiteX3177" fmla="*/ 6613200 w 6689088"/>
              <a:gd name="connsiteY3177" fmla="*/ 1214151 h 6689084"/>
              <a:gd name="connsiteX3178" fmla="*/ 6551474 w 6689088"/>
              <a:gd name="connsiteY3178" fmla="*/ 1152425 h 6689084"/>
              <a:gd name="connsiteX3179" fmla="*/ 6613200 w 6689088"/>
              <a:gd name="connsiteY3179" fmla="*/ 1090703 h 6689084"/>
              <a:gd name="connsiteX3180" fmla="*/ 1692331 w 6689088"/>
              <a:gd name="connsiteY3180" fmla="*/ 998116 h 6689084"/>
              <a:gd name="connsiteX3181" fmla="*/ 1692694 w 6689088"/>
              <a:gd name="connsiteY3181" fmla="*/ 998478 h 6689084"/>
              <a:gd name="connsiteX3182" fmla="*/ 1692331 w 6689088"/>
              <a:gd name="connsiteY3182" fmla="*/ 998844 h 6689084"/>
              <a:gd name="connsiteX3183" fmla="*/ 1691969 w 6689088"/>
              <a:gd name="connsiteY3183" fmla="*/ 998478 h 6689084"/>
              <a:gd name="connsiteX3184" fmla="*/ 1692331 w 6689088"/>
              <a:gd name="connsiteY3184" fmla="*/ 998116 h 6689084"/>
              <a:gd name="connsiteX3185" fmla="*/ 1231213 w 6689088"/>
              <a:gd name="connsiteY3185" fmla="*/ 998116 h 6689084"/>
              <a:gd name="connsiteX3186" fmla="*/ 1231576 w 6689088"/>
              <a:gd name="connsiteY3186" fmla="*/ 998478 h 6689084"/>
              <a:gd name="connsiteX3187" fmla="*/ 1231213 w 6689088"/>
              <a:gd name="connsiteY3187" fmla="*/ 998844 h 6689084"/>
              <a:gd name="connsiteX3188" fmla="*/ 1230851 w 6689088"/>
              <a:gd name="connsiteY3188" fmla="*/ 998478 h 6689084"/>
              <a:gd name="connsiteX3189" fmla="*/ 1231213 w 6689088"/>
              <a:gd name="connsiteY3189" fmla="*/ 998116 h 6689084"/>
              <a:gd name="connsiteX3190" fmla="*/ 1077266 w 6689088"/>
              <a:gd name="connsiteY3190" fmla="*/ 998116 h 6689084"/>
              <a:gd name="connsiteX3191" fmla="*/ 1077628 w 6689088"/>
              <a:gd name="connsiteY3191" fmla="*/ 998478 h 6689084"/>
              <a:gd name="connsiteX3192" fmla="*/ 1077266 w 6689088"/>
              <a:gd name="connsiteY3192" fmla="*/ 998844 h 6689084"/>
              <a:gd name="connsiteX3193" fmla="*/ 1076904 w 6689088"/>
              <a:gd name="connsiteY3193" fmla="*/ 998478 h 6689084"/>
              <a:gd name="connsiteX3194" fmla="*/ 1077266 w 6689088"/>
              <a:gd name="connsiteY3194" fmla="*/ 998116 h 6689084"/>
              <a:gd name="connsiteX3195" fmla="*/ 923685 w 6689088"/>
              <a:gd name="connsiteY3195" fmla="*/ 997754 h 6689084"/>
              <a:gd name="connsiteX3196" fmla="*/ 924409 w 6689088"/>
              <a:gd name="connsiteY3196" fmla="*/ 998482 h 6689084"/>
              <a:gd name="connsiteX3197" fmla="*/ 923685 w 6689088"/>
              <a:gd name="connsiteY3197" fmla="*/ 999206 h 6689084"/>
              <a:gd name="connsiteX3198" fmla="*/ 922957 w 6689088"/>
              <a:gd name="connsiteY3198" fmla="*/ 998482 h 6689084"/>
              <a:gd name="connsiteX3199" fmla="*/ 923685 w 6689088"/>
              <a:gd name="connsiteY3199" fmla="*/ 997754 h 6689084"/>
              <a:gd name="connsiteX3200" fmla="*/ 1846279 w 6689088"/>
              <a:gd name="connsiteY3200" fmla="*/ 997025 h 6689084"/>
              <a:gd name="connsiteX3201" fmla="*/ 1847731 w 6689088"/>
              <a:gd name="connsiteY3201" fmla="*/ 998478 h 6689084"/>
              <a:gd name="connsiteX3202" fmla="*/ 1846279 w 6689088"/>
              <a:gd name="connsiteY3202" fmla="*/ 999930 h 6689084"/>
              <a:gd name="connsiteX3203" fmla="*/ 1844826 w 6689088"/>
              <a:gd name="connsiteY3203" fmla="*/ 998478 h 6689084"/>
              <a:gd name="connsiteX3204" fmla="*/ 1846279 w 6689088"/>
              <a:gd name="connsiteY3204" fmla="*/ 997025 h 6689084"/>
              <a:gd name="connsiteX3205" fmla="*/ 1999860 w 6689088"/>
              <a:gd name="connsiteY3205" fmla="*/ 996301 h 6689084"/>
              <a:gd name="connsiteX3206" fmla="*/ 2002041 w 6689088"/>
              <a:gd name="connsiteY3206" fmla="*/ 998478 h 6689084"/>
              <a:gd name="connsiteX3207" fmla="*/ 1999860 w 6689088"/>
              <a:gd name="connsiteY3207" fmla="*/ 1000658 h 6689084"/>
              <a:gd name="connsiteX3208" fmla="*/ 1997684 w 6689088"/>
              <a:gd name="connsiteY3208" fmla="*/ 998478 h 6689084"/>
              <a:gd name="connsiteX3209" fmla="*/ 1999860 w 6689088"/>
              <a:gd name="connsiteY3209" fmla="*/ 996301 h 6689084"/>
              <a:gd name="connsiteX3210" fmla="*/ 2153808 w 6689088"/>
              <a:gd name="connsiteY3210" fmla="*/ 995573 h 6689084"/>
              <a:gd name="connsiteX3211" fmla="*/ 2157074 w 6689088"/>
              <a:gd name="connsiteY3211" fmla="*/ 998840 h 6689084"/>
              <a:gd name="connsiteX3212" fmla="*/ 2153808 w 6689088"/>
              <a:gd name="connsiteY3212" fmla="*/ 1002110 h 6689084"/>
              <a:gd name="connsiteX3213" fmla="*/ 2150541 w 6689088"/>
              <a:gd name="connsiteY3213" fmla="*/ 998840 h 6689084"/>
              <a:gd name="connsiteX3214" fmla="*/ 2153808 w 6689088"/>
              <a:gd name="connsiteY3214" fmla="*/ 995573 h 6689084"/>
              <a:gd name="connsiteX3215" fmla="*/ 2307393 w 6689088"/>
              <a:gd name="connsiteY3215" fmla="*/ 994121 h 6689084"/>
              <a:gd name="connsiteX3216" fmla="*/ 2311750 w 6689088"/>
              <a:gd name="connsiteY3216" fmla="*/ 998478 h 6689084"/>
              <a:gd name="connsiteX3217" fmla="*/ 2307393 w 6689088"/>
              <a:gd name="connsiteY3217" fmla="*/ 1002835 h 6689084"/>
              <a:gd name="connsiteX3218" fmla="*/ 2303036 w 6689088"/>
              <a:gd name="connsiteY3218" fmla="*/ 998478 h 6689084"/>
              <a:gd name="connsiteX3219" fmla="*/ 2307393 w 6689088"/>
              <a:gd name="connsiteY3219" fmla="*/ 994121 h 6689084"/>
              <a:gd name="connsiteX3220" fmla="*/ 2461340 w 6689088"/>
              <a:gd name="connsiteY3220" fmla="*/ 993031 h 6689084"/>
              <a:gd name="connsiteX3221" fmla="*/ 2467150 w 6689088"/>
              <a:gd name="connsiteY3221" fmla="*/ 998840 h 6689084"/>
              <a:gd name="connsiteX3222" fmla="*/ 2461340 w 6689088"/>
              <a:gd name="connsiteY3222" fmla="*/ 1004649 h 6689084"/>
              <a:gd name="connsiteX3223" fmla="*/ 2455531 w 6689088"/>
              <a:gd name="connsiteY3223" fmla="*/ 998840 h 6689084"/>
              <a:gd name="connsiteX3224" fmla="*/ 2461340 w 6689088"/>
              <a:gd name="connsiteY3224" fmla="*/ 993031 h 6689084"/>
              <a:gd name="connsiteX3225" fmla="*/ 2614925 w 6689088"/>
              <a:gd name="connsiteY3225" fmla="*/ 991216 h 6689084"/>
              <a:gd name="connsiteX3226" fmla="*/ 2622187 w 6689088"/>
              <a:gd name="connsiteY3226" fmla="*/ 998478 h 6689084"/>
              <a:gd name="connsiteX3227" fmla="*/ 2614925 w 6689088"/>
              <a:gd name="connsiteY3227" fmla="*/ 1005739 h 6689084"/>
              <a:gd name="connsiteX3228" fmla="*/ 2607664 w 6689088"/>
              <a:gd name="connsiteY3228" fmla="*/ 998478 h 6689084"/>
              <a:gd name="connsiteX3229" fmla="*/ 2614925 w 6689088"/>
              <a:gd name="connsiteY3229" fmla="*/ 991216 h 6689084"/>
              <a:gd name="connsiteX3230" fmla="*/ 2768873 w 6689088"/>
              <a:gd name="connsiteY3230" fmla="*/ 989402 h 6689084"/>
              <a:gd name="connsiteX3231" fmla="*/ 2777953 w 6689088"/>
              <a:gd name="connsiteY3231" fmla="*/ 998478 h 6689084"/>
              <a:gd name="connsiteX3232" fmla="*/ 2768873 w 6689088"/>
              <a:gd name="connsiteY3232" fmla="*/ 1007558 h 6689084"/>
              <a:gd name="connsiteX3233" fmla="*/ 2759797 w 6689088"/>
              <a:gd name="connsiteY3233" fmla="*/ 998478 h 6689084"/>
              <a:gd name="connsiteX3234" fmla="*/ 2768873 w 6689088"/>
              <a:gd name="connsiteY3234" fmla="*/ 989402 h 6689084"/>
              <a:gd name="connsiteX3235" fmla="*/ 2922458 w 6689088"/>
              <a:gd name="connsiteY3235" fmla="*/ 988311 h 6689084"/>
              <a:gd name="connsiteX3236" fmla="*/ 2932624 w 6689088"/>
              <a:gd name="connsiteY3236" fmla="*/ 998478 h 6689084"/>
              <a:gd name="connsiteX3237" fmla="*/ 2922458 w 6689088"/>
              <a:gd name="connsiteY3237" fmla="*/ 1008644 h 6689084"/>
              <a:gd name="connsiteX3238" fmla="*/ 2912292 w 6689088"/>
              <a:gd name="connsiteY3238" fmla="*/ 998478 h 6689084"/>
              <a:gd name="connsiteX3239" fmla="*/ 2922458 w 6689088"/>
              <a:gd name="connsiteY3239" fmla="*/ 988311 h 6689084"/>
              <a:gd name="connsiteX3240" fmla="*/ 3076402 w 6689088"/>
              <a:gd name="connsiteY3240" fmla="*/ 986497 h 6689084"/>
              <a:gd name="connsiteX3241" fmla="*/ 3088386 w 6689088"/>
              <a:gd name="connsiteY3241" fmla="*/ 998478 h 6689084"/>
              <a:gd name="connsiteX3242" fmla="*/ 3076402 w 6689088"/>
              <a:gd name="connsiteY3242" fmla="*/ 1010459 h 6689084"/>
              <a:gd name="connsiteX3243" fmla="*/ 3064421 w 6689088"/>
              <a:gd name="connsiteY3243" fmla="*/ 998478 h 6689084"/>
              <a:gd name="connsiteX3244" fmla="*/ 3076402 w 6689088"/>
              <a:gd name="connsiteY3244" fmla="*/ 986497 h 6689084"/>
              <a:gd name="connsiteX3245" fmla="*/ 3230353 w 6689088"/>
              <a:gd name="connsiteY3245" fmla="*/ 984683 h 6689084"/>
              <a:gd name="connsiteX3246" fmla="*/ 3244148 w 6689088"/>
              <a:gd name="connsiteY3246" fmla="*/ 998482 h 6689084"/>
              <a:gd name="connsiteX3247" fmla="*/ 3230353 w 6689088"/>
              <a:gd name="connsiteY3247" fmla="*/ 1012277 h 6689084"/>
              <a:gd name="connsiteX3248" fmla="*/ 3216554 w 6689088"/>
              <a:gd name="connsiteY3248" fmla="*/ 998482 h 6689084"/>
              <a:gd name="connsiteX3249" fmla="*/ 3230353 w 6689088"/>
              <a:gd name="connsiteY3249" fmla="*/ 984683 h 6689084"/>
              <a:gd name="connsiteX3250" fmla="*/ 3383934 w 6689088"/>
              <a:gd name="connsiteY3250" fmla="*/ 983230 h 6689084"/>
              <a:gd name="connsiteX3251" fmla="*/ 3399186 w 6689088"/>
              <a:gd name="connsiteY3251" fmla="*/ 998482 h 6689084"/>
              <a:gd name="connsiteX3252" fmla="*/ 3383934 w 6689088"/>
              <a:gd name="connsiteY3252" fmla="*/ 1013729 h 6689084"/>
              <a:gd name="connsiteX3253" fmla="*/ 3368687 w 6689088"/>
              <a:gd name="connsiteY3253" fmla="*/ 998482 h 6689084"/>
              <a:gd name="connsiteX3254" fmla="*/ 3383934 w 6689088"/>
              <a:gd name="connsiteY3254" fmla="*/ 983230 h 6689084"/>
              <a:gd name="connsiteX3255" fmla="*/ 3537886 w 6689088"/>
              <a:gd name="connsiteY3255" fmla="*/ 981412 h 6689084"/>
              <a:gd name="connsiteX3256" fmla="*/ 3554951 w 6689088"/>
              <a:gd name="connsiteY3256" fmla="*/ 998478 h 6689084"/>
              <a:gd name="connsiteX3257" fmla="*/ 3537886 w 6689088"/>
              <a:gd name="connsiteY3257" fmla="*/ 1015540 h 6689084"/>
              <a:gd name="connsiteX3258" fmla="*/ 3520820 w 6689088"/>
              <a:gd name="connsiteY3258" fmla="*/ 998478 h 6689084"/>
              <a:gd name="connsiteX3259" fmla="*/ 3537886 w 6689088"/>
              <a:gd name="connsiteY3259" fmla="*/ 981412 h 6689084"/>
              <a:gd name="connsiteX3260" fmla="*/ 3691467 w 6689088"/>
              <a:gd name="connsiteY3260" fmla="*/ 979235 h 6689084"/>
              <a:gd name="connsiteX3261" fmla="*/ 3710710 w 6689088"/>
              <a:gd name="connsiteY3261" fmla="*/ 998478 h 6689084"/>
              <a:gd name="connsiteX3262" fmla="*/ 3691467 w 6689088"/>
              <a:gd name="connsiteY3262" fmla="*/ 1017724 h 6689084"/>
              <a:gd name="connsiteX3263" fmla="*/ 3672224 w 6689088"/>
              <a:gd name="connsiteY3263" fmla="*/ 998478 h 6689084"/>
              <a:gd name="connsiteX3264" fmla="*/ 3691467 w 6689088"/>
              <a:gd name="connsiteY3264" fmla="*/ 979235 h 6689084"/>
              <a:gd name="connsiteX3265" fmla="*/ 3845418 w 6689088"/>
              <a:gd name="connsiteY3265" fmla="*/ 977055 h 6689084"/>
              <a:gd name="connsiteX3266" fmla="*/ 3866841 w 6689088"/>
              <a:gd name="connsiteY3266" fmla="*/ 998478 h 6689084"/>
              <a:gd name="connsiteX3267" fmla="*/ 3845418 w 6689088"/>
              <a:gd name="connsiteY3267" fmla="*/ 1019901 h 6689084"/>
              <a:gd name="connsiteX3268" fmla="*/ 3823995 w 6689088"/>
              <a:gd name="connsiteY3268" fmla="*/ 998478 h 6689084"/>
              <a:gd name="connsiteX3269" fmla="*/ 3845418 w 6689088"/>
              <a:gd name="connsiteY3269" fmla="*/ 977055 h 6689084"/>
              <a:gd name="connsiteX3270" fmla="*/ 3999000 w 6689088"/>
              <a:gd name="connsiteY3270" fmla="*/ 975603 h 6689084"/>
              <a:gd name="connsiteX3271" fmla="*/ 4021871 w 6689088"/>
              <a:gd name="connsiteY3271" fmla="*/ 998478 h 6689084"/>
              <a:gd name="connsiteX3272" fmla="*/ 3999000 w 6689088"/>
              <a:gd name="connsiteY3272" fmla="*/ 1021349 h 6689084"/>
              <a:gd name="connsiteX3273" fmla="*/ 3976124 w 6689088"/>
              <a:gd name="connsiteY3273" fmla="*/ 998478 h 6689084"/>
              <a:gd name="connsiteX3274" fmla="*/ 3999000 w 6689088"/>
              <a:gd name="connsiteY3274" fmla="*/ 975603 h 6689084"/>
              <a:gd name="connsiteX3275" fmla="*/ 4152947 w 6689088"/>
              <a:gd name="connsiteY3275" fmla="*/ 973426 h 6689084"/>
              <a:gd name="connsiteX3276" fmla="*/ 4178002 w 6689088"/>
              <a:gd name="connsiteY3276" fmla="*/ 998478 h 6689084"/>
              <a:gd name="connsiteX3277" fmla="*/ 4152947 w 6689088"/>
              <a:gd name="connsiteY3277" fmla="*/ 1023533 h 6689084"/>
              <a:gd name="connsiteX3278" fmla="*/ 4127895 w 6689088"/>
              <a:gd name="connsiteY3278" fmla="*/ 998478 h 6689084"/>
              <a:gd name="connsiteX3279" fmla="*/ 4152947 w 6689088"/>
              <a:gd name="connsiteY3279" fmla="*/ 973426 h 6689084"/>
              <a:gd name="connsiteX3280" fmla="*/ 4306532 w 6689088"/>
              <a:gd name="connsiteY3280" fmla="*/ 971246 h 6689084"/>
              <a:gd name="connsiteX3281" fmla="*/ 4333764 w 6689088"/>
              <a:gd name="connsiteY3281" fmla="*/ 998478 h 6689084"/>
              <a:gd name="connsiteX3282" fmla="*/ 4306532 w 6689088"/>
              <a:gd name="connsiteY3282" fmla="*/ 1025710 h 6689084"/>
              <a:gd name="connsiteX3283" fmla="*/ 4279300 w 6689088"/>
              <a:gd name="connsiteY3283" fmla="*/ 998478 h 6689084"/>
              <a:gd name="connsiteX3284" fmla="*/ 4306532 w 6689088"/>
              <a:gd name="connsiteY3284" fmla="*/ 971246 h 6689084"/>
              <a:gd name="connsiteX3285" fmla="*/ 4460476 w 6689088"/>
              <a:gd name="connsiteY3285" fmla="*/ 968707 h 6689084"/>
              <a:gd name="connsiteX3286" fmla="*/ 4490250 w 6689088"/>
              <a:gd name="connsiteY3286" fmla="*/ 998482 h 6689084"/>
              <a:gd name="connsiteX3287" fmla="*/ 4460476 w 6689088"/>
              <a:gd name="connsiteY3287" fmla="*/ 1028252 h 6689084"/>
              <a:gd name="connsiteX3288" fmla="*/ 4430705 w 6689088"/>
              <a:gd name="connsiteY3288" fmla="*/ 998482 h 6689084"/>
              <a:gd name="connsiteX3289" fmla="*/ 4460476 w 6689088"/>
              <a:gd name="connsiteY3289" fmla="*/ 968707 h 6689084"/>
              <a:gd name="connsiteX3290" fmla="*/ 4614061 w 6689088"/>
              <a:gd name="connsiteY3290" fmla="*/ 966526 h 6689084"/>
              <a:gd name="connsiteX3291" fmla="*/ 4646012 w 6689088"/>
              <a:gd name="connsiteY3291" fmla="*/ 998478 h 6689084"/>
              <a:gd name="connsiteX3292" fmla="*/ 4614061 w 6689088"/>
              <a:gd name="connsiteY3292" fmla="*/ 1030429 h 6689084"/>
              <a:gd name="connsiteX3293" fmla="*/ 4582110 w 6689088"/>
              <a:gd name="connsiteY3293" fmla="*/ 998478 h 6689084"/>
              <a:gd name="connsiteX3294" fmla="*/ 4614061 w 6689088"/>
              <a:gd name="connsiteY3294" fmla="*/ 966526 h 6689084"/>
              <a:gd name="connsiteX3295" fmla="*/ 4768008 w 6689088"/>
              <a:gd name="connsiteY3295" fmla="*/ 964712 h 6689084"/>
              <a:gd name="connsiteX3296" fmla="*/ 4801778 w 6689088"/>
              <a:gd name="connsiteY3296" fmla="*/ 998478 h 6689084"/>
              <a:gd name="connsiteX3297" fmla="*/ 4768008 w 6689088"/>
              <a:gd name="connsiteY3297" fmla="*/ 1032247 h 6689084"/>
              <a:gd name="connsiteX3298" fmla="*/ 4734242 w 6689088"/>
              <a:gd name="connsiteY3298" fmla="*/ 998478 h 6689084"/>
              <a:gd name="connsiteX3299" fmla="*/ 4768008 w 6689088"/>
              <a:gd name="connsiteY3299" fmla="*/ 964712 h 6689084"/>
              <a:gd name="connsiteX3300" fmla="*/ 4921594 w 6689088"/>
              <a:gd name="connsiteY3300" fmla="*/ 962169 h 6689084"/>
              <a:gd name="connsiteX3301" fmla="*/ 4957902 w 6689088"/>
              <a:gd name="connsiteY3301" fmla="*/ 998478 h 6689084"/>
              <a:gd name="connsiteX3302" fmla="*/ 4921594 w 6689088"/>
              <a:gd name="connsiteY3302" fmla="*/ 1034786 h 6689084"/>
              <a:gd name="connsiteX3303" fmla="*/ 4885286 w 6689088"/>
              <a:gd name="connsiteY3303" fmla="*/ 998478 h 6689084"/>
              <a:gd name="connsiteX3304" fmla="*/ 4921594 w 6689088"/>
              <a:gd name="connsiteY3304" fmla="*/ 962169 h 6689084"/>
              <a:gd name="connsiteX3305" fmla="*/ 5075545 w 6689088"/>
              <a:gd name="connsiteY3305" fmla="*/ 959627 h 6689084"/>
              <a:gd name="connsiteX3306" fmla="*/ 5114392 w 6689088"/>
              <a:gd name="connsiteY3306" fmla="*/ 998478 h 6689084"/>
              <a:gd name="connsiteX3307" fmla="*/ 5075545 w 6689088"/>
              <a:gd name="connsiteY3307" fmla="*/ 1037325 h 6689084"/>
              <a:gd name="connsiteX3308" fmla="*/ 5036694 w 6689088"/>
              <a:gd name="connsiteY3308" fmla="*/ 998478 h 6689084"/>
              <a:gd name="connsiteX3309" fmla="*/ 5075545 w 6689088"/>
              <a:gd name="connsiteY3309" fmla="*/ 959627 h 6689084"/>
              <a:gd name="connsiteX3310" fmla="*/ 5229126 w 6689088"/>
              <a:gd name="connsiteY3310" fmla="*/ 957450 h 6689084"/>
              <a:gd name="connsiteX3311" fmla="*/ 5270158 w 6689088"/>
              <a:gd name="connsiteY3311" fmla="*/ 998478 h 6689084"/>
              <a:gd name="connsiteX3312" fmla="*/ 5229126 w 6689088"/>
              <a:gd name="connsiteY3312" fmla="*/ 1039505 h 6689084"/>
              <a:gd name="connsiteX3313" fmla="*/ 5188099 w 6689088"/>
              <a:gd name="connsiteY3313" fmla="*/ 998478 h 6689084"/>
              <a:gd name="connsiteX3314" fmla="*/ 5229126 w 6689088"/>
              <a:gd name="connsiteY3314" fmla="*/ 957450 h 6689084"/>
              <a:gd name="connsiteX3315" fmla="*/ 5383074 w 6689088"/>
              <a:gd name="connsiteY3315" fmla="*/ 954908 h 6689084"/>
              <a:gd name="connsiteX3316" fmla="*/ 5426644 w 6689088"/>
              <a:gd name="connsiteY3316" fmla="*/ 998478 h 6689084"/>
              <a:gd name="connsiteX3317" fmla="*/ 5383074 w 6689088"/>
              <a:gd name="connsiteY3317" fmla="*/ 1042048 h 6689084"/>
              <a:gd name="connsiteX3318" fmla="*/ 5339504 w 6689088"/>
              <a:gd name="connsiteY3318" fmla="*/ 998478 h 6689084"/>
              <a:gd name="connsiteX3319" fmla="*/ 5383074 w 6689088"/>
              <a:gd name="connsiteY3319" fmla="*/ 954908 h 6689084"/>
              <a:gd name="connsiteX3320" fmla="*/ 5537018 w 6689088"/>
              <a:gd name="connsiteY3320" fmla="*/ 952365 h 6689084"/>
              <a:gd name="connsiteX3321" fmla="*/ 5583130 w 6689088"/>
              <a:gd name="connsiteY3321" fmla="*/ 998478 h 6689084"/>
              <a:gd name="connsiteX3322" fmla="*/ 5537018 w 6689088"/>
              <a:gd name="connsiteY3322" fmla="*/ 1044590 h 6689084"/>
              <a:gd name="connsiteX3323" fmla="*/ 5490908 w 6689088"/>
              <a:gd name="connsiteY3323" fmla="*/ 998478 h 6689084"/>
              <a:gd name="connsiteX3324" fmla="*/ 5537018 w 6689088"/>
              <a:gd name="connsiteY3324" fmla="*/ 952365 h 6689084"/>
              <a:gd name="connsiteX3325" fmla="*/ 5690606 w 6689088"/>
              <a:gd name="connsiteY3325" fmla="*/ 949823 h 6689084"/>
              <a:gd name="connsiteX3326" fmla="*/ 5739258 w 6689088"/>
              <a:gd name="connsiteY3326" fmla="*/ 998478 h 6689084"/>
              <a:gd name="connsiteX3327" fmla="*/ 5690606 w 6689088"/>
              <a:gd name="connsiteY3327" fmla="*/ 1047129 h 6689084"/>
              <a:gd name="connsiteX3328" fmla="*/ 5641952 w 6689088"/>
              <a:gd name="connsiteY3328" fmla="*/ 998478 h 6689084"/>
              <a:gd name="connsiteX3329" fmla="*/ 5690606 w 6689088"/>
              <a:gd name="connsiteY3329" fmla="*/ 949823 h 6689084"/>
              <a:gd name="connsiteX3330" fmla="*/ 5844554 w 6689088"/>
              <a:gd name="connsiteY3330" fmla="*/ 947284 h 6689084"/>
              <a:gd name="connsiteX3331" fmla="*/ 5895748 w 6689088"/>
              <a:gd name="connsiteY3331" fmla="*/ 998478 h 6689084"/>
              <a:gd name="connsiteX3332" fmla="*/ 5844554 w 6689088"/>
              <a:gd name="connsiteY3332" fmla="*/ 1049672 h 6689084"/>
              <a:gd name="connsiteX3333" fmla="*/ 5793360 w 6689088"/>
              <a:gd name="connsiteY3333" fmla="*/ 998478 h 6689084"/>
              <a:gd name="connsiteX3334" fmla="*/ 5844554 w 6689088"/>
              <a:gd name="connsiteY3334" fmla="*/ 947284 h 6689084"/>
              <a:gd name="connsiteX3335" fmla="*/ 5998136 w 6689088"/>
              <a:gd name="connsiteY3335" fmla="*/ 945104 h 6689084"/>
              <a:gd name="connsiteX3336" fmla="*/ 6051514 w 6689088"/>
              <a:gd name="connsiteY3336" fmla="*/ 998478 h 6689084"/>
              <a:gd name="connsiteX3337" fmla="*/ 5998136 w 6689088"/>
              <a:gd name="connsiteY3337" fmla="*/ 1051848 h 6689084"/>
              <a:gd name="connsiteX3338" fmla="*/ 5944765 w 6689088"/>
              <a:gd name="connsiteY3338" fmla="*/ 998478 h 6689084"/>
              <a:gd name="connsiteX3339" fmla="*/ 5998136 w 6689088"/>
              <a:gd name="connsiteY3339" fmla="*/ 945104 h 6689084"/>
              <a:gd name="connsiteX3340" fmla="*/ 6152086 w 6689088"/>
              <a:gd name="connsiteY3340" fmla="*/ 942199 h 6689084"/>
              <a:gd name="connsiteX3341" fmla="*/ 6208366 w 6689088"/>
              <a:gd name="connsiteY3341" fmla="*/ 998478 h 6689084"/>
              <a:gd name="connsiteX3342" fmla="*/ 6152086 w 6689088"/>
              <a:gd name="connsiteY3342" fmla="*/ 1054753 h 6689084"/>
              <a:gd name="connsiteX3343" fmla="*/ 6095808 w 6689088"/>
              <a:gd name="connsiteY3343" fmla="*/ 998478 h 6689084"/>
              <a:gd name="connsiteX3344" fmla="*/ 6152086 w 6689088"/>
              <a:gd name="connsiteY3344" fmla="*/ 942199 h 6689084"/>
              <a:gd name="connsiteX3345" fmla="*/ 6305672 w 6689088"/>
              <a:gd name="connsiteY3345" fmla="*/ 939660 h 6689084"/>
              <a:gd name="connsiteX3346" fmla="*/ 6364490 w 6689088"/>
              <a:gd name="connsiteY3346" fmla="*/ 998482 h 6689084"/>
              <a:gd name="connsiteX3347" fmla="*/ 6305672 w 6689088"/>
              <a:gd name="connsiteY3347" fmla="*/ 1057299 h 6689084"/>
              <a:gd name="connsiteX3348" fmla="*/ 6246850 w 6689088"/>
              <a:gd name="connsiteY3348" fmla="*/ 998482 h 6689084"/>
              <a:gd name="connsiteX3349" fmla="*/ 6305672 w 6689088"/>
              <a:gd name="connsiteY3349" fmla="*/ 939660 h 6689084"/>
              <a:gd name="connsiteX3350" fmla="*/ 6459619 w 6689088"/>
              <a:gd name="connsiteY3350" fmla="*/ 937118 h 6689084"/>
              <a:gd name="connsiteX3351" fmla="*/ 6521342 w 6689088"/>
              <a:gd name="connsiteY3351" fmla="*/ 998844 h 6689084"/>
              <a:gd name="connsiteX3352" fmla="*/ 6459619 w 6689088"/>
              <a:gd name="connsiteY3352" fmla="*/ 1060566 h 6689084"/>
              <a:gd name="connsiteX3353" fmla="*/ 6397893 w 6689088"/>
              <a:gd name="connsiteY3353" fmla="*/ 998844 h 6689084"/>
              <a:gd name="connsiteX3354" fmla="*/ 6459619 w 6689088"/>
              <a:gd name="connsiteY3354" fmla="*/ 937118 h 6689084"/>
              <a:gd name="connsiteX3355" fmla="*/ 6613200 w 6689088"/>
              <a:gd name="connsiteY3355" fmla="*/ 934213 h 6689084"/>
              <a:gd name="connsiteX3356" fmla="*/ 6677470 w 6689088"/>
              <a:gd name="connsiteY3356" fmla="*/ 998478 h 6689084"/>
              <a:gd name="connsiteX3357" fmla="*/ 6613200 w 6689088"/>
              <a:gd name="connsiteY3357" fmla="*/ 1062746 h 6689084"/>
              <a:gd name="connsiteX3358" fmla="*/ 6548936 w 6689088"/>
              <a:gd name="connsiteY3358" fmla="*/ 998478 h 6689084"/>
              <a:gd name="connsiteX3359" fmla="*/ 6613200 w 6689088"/>
              <a:gd name="connsiteY3359" fmla="*/ 934213 h 6689084"/>
              <a:gd name="connsiteX3360" fmla="*/ 1538746 w 6689088"/>
              <a:gd name="connsiteY3360" fmla="*/ 844530 h 6689084"/>
              <a:gd name="connsiteX3361" fmla="*/ 1539108 w 6689088"/>
              <a:gd name="connsiteY3361" fmla="*/ 844893 h 6689084"/>
              <a:gd name="connsiteX3362" fmla="*/ 1538746 w 6689088"/>
              <a:gd name="connsiteY3362" fmla="*/ 845258 h 6689084"/>
              <a:gd name="connsiteX3363" fmla="*/ 1538384 w 6689088"/>
              <a:gd name="connsiteY3363" fmla="*/ 844893 h 6689084"/>
              <a:gd name="connsiteX3364" fmla="*/ 1538746 w 6689088"/>
              <a:gd name="connsiteY3364" fmla="*/ 844530 h 6689084"/>
              <a:gd name="connsiteX3365" fmla="*/ 1077266 w 6689088"/>
              <a:gd name="connsiteY3365" fmla="*/ 844530 h 6689084"/>
              <a:gd name="connsiteX3366" fmla="*/ 1077628 w 6689088"/>
              <a:gd name="connsiteY3366" fmla="*/ 844893 h 6689084"/>
              <a:gd name="connsiteX3367" fmla="*/ 1077266 w 6689088"/>
              <a:gd name="connsiteY3367" fmla="*/ 845258 h 6689084"/>
              <a:gd name="connsiteX3368" fmla="*/ 1076904 w 6689088"/>
              <a:gd name="connsiteY3368" fmla="*/ 844893 h 6689084"/>
              <a:gd name="connsiteX3369" fmla="*/ 1077266 w 6689088"/>
              <a:gd name="connsiteY3369" fmla="*/ 844530 h 6689084"/>
              <a:gd name="connsiteX3370" fmla="*/ 923681 w 6689088"/>
              <a:gd name="connsiteY3370" fmla="*/ 844530 h 6689084"/>
              <a:gd name="connsiteX3371" fmla="*/ 924043 w 6689088"/>
              <a:gd name="connsiteY3371" fmla="*/ 844893 h 6689084"/>
              <a:gd name="connsiteX3372" fmla="*/ 923681 w 6689088"/>
              <a:gd name="connsiteY3372" fmla="*/ 845258 h 6689084"/>
              <a:gd name="connsiteX3373" fmla="*/ 923319 w 6689088"/>
              <a:gd name="connsiteY3373" fmla="*/ 844893 h 6689084"/>
              <a:gd name="connsiteX3374" fmla="*/ 923681 w 6689088"/>
              <a:gd name="connsiteY3374" fmla="*/ 844530 h 6689084"/>
              <a:gd name="connsiteX3375" fmla="*/ 769737 w 6689088"/>
              <a:gd name="connsiteY3375" fmla="*/ 844168 h 6689084"/>
              <a:gd name="connsiteX3376" fmla="*/ 770461 w 6689088"/>
              <a:gd name="connsiteY3376" fmla="*/ 844896 h 6689084"/>
              <a:gd name="connsiteX3377" fmla="*/ 769737 w 6689088"/>
              <a:gd name="connsiteY3377" fmla="*/ 845621 h 6689084"/>
              <a:gd name="connsiteX3378" fmla="*/ 769009 w 6689088"/>
              <a:gd name="connsiteY3378" fmla="*/ 844896 h 6689084"/>
              <a:gd name="connsiteX3379" fmla="*/ 769737 w 6689088"/>
              <a:gd name="connsiteY3379" fmla="*/ 844168 h 6689084"/>
              <a:gd name="connsiteX3380" fmla="*/ 1692331 w 6689088"/>
              <a:gd name="connsiteY3380" fmla="*/ 843078 h 6689084"/>
              <a:gd name="connsiteX3381" fmla="*/ 1693784 w 6689088"/>
              <a:gd name="connsiteY3381" fmla="*/ 844530 h 6689084"/>
              <a:gd name="connsiteX3382" fmla="*/ 1692331 w 6689088"/>
              <a:gd name="connsiteY3382" fmla="*/ 845983 h 6689084"/>
              <a:gd name="connsiteX3383" fmla="*/ 1690879 w 6689088"/>
              <a:gd name="connsiteY3383" fmla="*/ 844530 h 6689084"/>
              <a:gd name="connsiteX3384" fmla="*/ 1692331 w 6689088"/>
              <a:gd name="connsiteY3384" fmla="*/ 843078 h 6689084"/>
              <a:gd name="connsiteX3385" fmla="*/ 1846279 w 6689088"/>
              <a:gd name="connsiteY3385" fmla="*/ 842716 h 6689084"/>
              <a:gd name="connsiteX3386" fmla="*/ 1848455 w 6689088"/>
              <a:gd name="connsiteY3386" fmla="*/ 844896 h 6689084"/>
              <a:gd name="connsiteX3387" fmla="*/ 1846279 w 6689088"/>
              <a:gd name="connsiteY3387" fmla="*/ 847073 h 6689084"/>
              <a:gd name="connsiteX3388" fmla="*/ 1844098 w 6689088"/>
              <a:gd name="connsiteY3388" fmla="*/ 844896 h 6689084"/>
              <a:gd name="connsiteX3389" fmla="*/ 1846279 w 6689088"/>
              <a:gd name="connsiteY3389" fmla="*/ 842716 h 6689084"/>
              <a:gd name="connsiteX3390" fmla="*/ 1999860 w 6689088"/>
              <a:gd name="connsiteY3390" fmla="*/ 841626 h 6689084"/>
              <a:gd name="connsiteX3391" fmla="*/ 2003127 w 6689088"/>
              <a:gd name="connsiteY3391" fmla="*/ 844893 h 6689084"/>
              <a:gd name="connsiteX3392" fmla="*/ 1999860 w 6689088"/>
              <a:gd name="connsiteY3392" fmla="*/ 848163 h 6689084"/>
              <a:gd name="connsiteX3393" fmla="*/ 1996593 w 6689088"/>
              <a:gd name="connsiteY3393" fmla="*/ 844893 h 6689084"/>
              <a:gd name="connsiteX3394" fmla="*/ 1999860 w 6689088"/>
              <a:gd name="connsiteY3394" fmla="*/ 841626 h 6689084"/>
              <a:gd name="connsiteX3395" fmla="*/ 2153808 w 6689088"/>
              <a:gd name="connsiteY3395" fmla="*/ 840173 h 6689084"/>
              <a:gd name="connsiteX3396" fmla="*/ 2158165 w 6689088"/>
              <a:gd name="connsiteY3396" fmla="*/ 844530 h 6689084"/>
              <a:gd name="connsiteX3397" fmla="*/ 2153808 w 6689088"/>
              <a:gd name="connsiteY3397" fmla="*/ 848887 h 6689084"/>
              <a:gd name="connsiteX3398" fmla="*/ 2149451 w 6689088"/>
              <a:gd name="connsiteY3398" fmla="*/ 844530 h 6689084"/>
              <a:gd name="connsiteX3399" fmla="*/ 2153808 w 6689088"/>
              <a:gd name="connsiteY3399" fmla="*/ 840173 h 6689084"/>
              <a:gd name="connsiteX3400" fmla="*/ 2307393 w 6689088"/>
              <a:gd name="connsiteY3400" fmla="*/ 839083 h 6689084"/>
              <a:gd name="connsiteX3401" fmla="*/ 2313202 w 6689088"/>
              <a:gd name="connsiteY3401" fmla="*/ 844893 h 6689084"/>
              <a:gd name="connsiteX3402" fmla="*/ 2307393 w 6689088"/>
              <a:gd name="connsiteY3402" fmla="*/ 850702 h 6689084"/>
              <a:gd name="connsiteX3403" fmla="*/ 2301583 w 6689088"/>
              <a:gd name="connsiteY3403" fmla="*/ 844893 h 6689084"/>
              <a:gd name="connsiteX3404" fmla="*/ 2307393 w 6689088"/>
              <a:gd name="connsiteY3404" fmla="*/ 839083 h 6689084"/>
              <a:gd name="connsiteX3405" fmla="*/ 2461340 w 6689088"/>
              <a:gd name="connsiteY3405" fmla="*/ 837631 h 6689084"/>
              <a:gd name="connsiteX3406" fmla="*/ 2468602 w 6689088"/>
              <a:gd name="connsiteY3406" fmla="*/ 844893 h 6689084"/>
              <a:gd name="connsiteX3407" fmla="*/ 2461340 w 6689088"/>
              <a:gd name="connsiteY3407" fmla="*/ 852154 h 6689084"/>
              <a:gd name="connsiteX3408" fmla="*/ 2454079 w 6689088"/>
              <a:gd name="connsiteY3408" fmla="*/ 844893 h 6689084"/>
              <a:gd name="connsiteX3409" fmla="*/ 2461340 w 6689088"/>
              <a:gd name="connsiteY3409" fmla="*/ 837631 h 6689084"/>
              <a:gd name="connsiteX3410" fmla="*/ 2614925 w 6689088"/>
              <a:gd name="connsiteY3410" fmla="*/ 835454 h 6689084"/>
              <a:gd name="connsiteX3411" fmla="*/ 2624005 w 6689088"/>
              <a:gd name="connsiteY3411" fmla="*/ 844530 h 6689084"/>
              <a:gd name="connsiteX3412" fmla="*/ 2614925 w 6689088"/>
              <a:gd name="connsiteY3412" fmla="*/ 853610 h 6689084"/>
              <a:gd name="connsiteX3413" fmla="*/ 2605849 w 6689088"/>
              <a:gd name="connsiteY3413" fmla="*/ 844530 h 6689084"/>
              <a:gd name="connsiteX3414" fmla="*/ 2614925 w 6689088"/>
              <a:gd name="connsiteY3414" fmla="*/ 835454 h 6689084"/>
              <a:gd name="connsiteX3415" fmla="*/ 2768873 w 6689088"/>
              <a:gd name="connsiteY3415" fmla="*/ 834726 h 6689084"/>
              <a:gd name="connsiteX3416" fmla="*/ 2779039 w 6689088"/>
              <a:gd name="connsiteY3416" fmla="*/ 844893 h 6689084"/>
              <a:gd name="connsiteX3417" fmla="*/ 2768873 w 6689088"/>
              <a:gd name="connsiteY3417" fmla="*/ 855059 h 6689084"/>
              <a:gd name="connsiteX3418" fmla="*/ 2758707 w 6689088"/>
              <a:gd name="connsiteY3418" fmla="*/ 844893 h 6689084"/>
              <a:gd name="connsiteX3419" fmla="*/ 2768873 w 6689088"/>
              <a:gd name="connsiteY3419" fmla="*/ 834726 h 6689084"/>
              <a:gd name="connsiteX3420" fmla="*/ 2922458 w 6689088"/>
              <a:gd name="connsiteY3420" fmla="*/ 832912 h 6689084"/>
              <a:gd name="connsiteX3421" fmla="*/ 2934443 w 6689088"/>
              <a:gd name="connsiteY3421" fmla="*/ 844893 h 6689084"/>
              <a:gd name="connsiteX3422" fmla="*/ 2922458 w 6689088"/>
              <a:gd name="connsiteY3422" fmla="*/ 856873 h 6689084"/>
              <a:gd name="connsiteX3423" fmla="*/ 2910477 w 6689088"/>
              <a:gd name="connsiteY3423" fmla="*/ 844893 h 6689084"/>
              <a:gd name="connsiteX3424" fmla="*/ 2922458 w 6689088"/>
              <a:gd name="connsiteY3424" fmla="*/ 832912 h 6689084"/>
              <a:gd name="connsiteX3425" fmla="*/ 3076402 w 6689088"/>
              <a:gd name="connsiteY3425" fmla="*/ 831097 h 6689084"/>
              <a:gd name="connsiteX3426" fmla="*/ 3090201 w 6689088"/>
              <a:gd name="connsiteY3426" fmla="*/ 844896 h 6689084"/>
              <a:gd name="connsiteX3427" fmla="*/ 3076402 w 6689088"/>
              <a:gd name="connsiteY3427" fmla="*/ 858692 h 6689084"/>
              <a:gd name="connsiteX3428" fmla="*/ 3062606 w 6689088"/>
              <a:gd name="connsiteY3428" fmla="*/ 844896 h 6689084"/>
              <a:gd name="connsiteX3429" fmla="*/ 3076402 w 6689088"/>
              <a:gd name="connsiteY3429" fmla="*/ 831097 h 6689084"/>
              <a:gd name="connsiteX3430" fmla="*/ 3230349 w 6689088"/>
              <a:gd name="connsiteY3430" fmla="*/ 829645 h 6689084"/>
              <a:gd name="connsiteX3431" fmla="*/ 3245600 w 6689088"/>
              <a:gd name="connsiteY3431" fmla="*/ 844896 h 6689084"/>
              <a:gd name="connsiteX3432" fmla="*/ 3230349 w 6689088"/>
              <a:gd name="connsiteY3432" fmla="*/ 860144 h 6689084"/>
              <a:gd name="connsiteX3433" fmla="*/ 3215102 w 6689088"/>
              <a:gd name="connsiteY3433" fmla="*/ 844896 h 6689084"/>
              <a:gd name="connsiteX3434" fmla="*/ 3230349 w 6689088"/>
              <a:gd name="connsiteY3434" fmla="*/ 829645 h 6689084"/>
              <a:gd name="connsiteX3435" fmla="*/ 3383938 w 6689088"/>
              <a:gd name="connsiteY3435" fmla="*/ 827830 h 6689084"/>
              <a:gd name="connsiteX3436" fmla="*/ 3401000 w 6689088"/>
              <a:gd name="connsiteY3436" fmla="*/ 844896 h 6689084"/>
              <a:gd name="connsiteX3437" fmla="*/ 3383938 w 6689088"/>
              <a:gd name="connsiteY3437" fmla="*/ 861958 h 6689084"/>
              <a:gd name="connsiteX3438" fmla="*/ 3366872 w 6689088"/>
              <a:gd name="connsiteY3438" fmla="*/ 844896 h 6689084"/>
              <a:gd name="connsiteX3439" fmla="*/ 3383938 w 6689088"/>
              <a:gd name="connsiteY3439" fmla="*/ 827830 h 6689084"/>
              <a:gd name="connsiteX3440" fmla="*/ 3537882 w 6689088"/>
              <a:gd name="connsiteY3440" fmla="*/ 825650 h 6689084"/>
              <a:gd name="connsiteX3441" fmla="*/ 3557128 w 6689088"/>
              <a:gd name="connsiteY3441" fmla="*/ 844893 h 6689084"/>
              <a:gd name="connsiteX3442" fmla="*/ 3537882 w 6689088"/>
              <a:gd name="connsiteY3442" fmla="*/ 864139 h 6689084"/>
              <a:gd name="connsiteX3443" fmla="*/ 3518639 w 6689088"/>
              <a:gd name="connsiteY3443" fmla="*/ 844893 h 6689084"/>
              <a:gd name="connsiteX3444" fmla="*/ 3537882 w 6689088"/>
              <a:gd name="connsiteY3444" fmla="*/ 825650 h 6689084"/>
              <a:gd name="connsiteX3445" fmla="*/ 3691471 w 6689088"/>
              <a:gd name="connsiteY3445" fmla="*/ 823473 h 6689084"/>
              <a:gd name="connsiteX3446" fmla="*/ 3712894 w 6689088"/>
              <a:gd name="connsiteY3446" fmla="*/ 844896 h 6689084"/>
              <a:gd name="connsiteX3447" fmla="*/ 3691471 w 6689088"/>
              <a:gd name="connsiteY3447" fmla="*/ 866319 h 6689084"/>
              <a:gd name="connsiteX3448" fmla="*/ 3670048 w 6689088"/>
              <a:gd name="connsiteY3448" fmla="*/ 844896 h 6689084"/>
              <a:gd name="connsiteX3449" fmla="*/ 3691471 w 6689088"/>
              <a:gd name="connsiteY3449" fmla="*/ 823473 h 6689084"/>
              <a:gd name="connsiteX3450" fmla="*/ 3845418 w 6689088"/>
              <a:gd name="connsiteY3450" fmla="*/ 822021 h 6689084"/>
              <a:gd name="connsiteX3451" fmla="*/ 3868293 w 6689088"/>
              <a:gd name="connsiteY3451" fmla="*/ 844896 h 6689084"/>
              <a:gd name="connsiteX3452" fmla="*/ 3845418 w 6689088"/>
              <a:gd name="connsiteY3452" fmla="*/ 867768 h 6689084"/>
              <a:gd name="connsiteX3453" fmla="*/ 3822543 w 6689088"/>
              <a:gd name="connsiteY3453" fmla="*/ 844896 h 6689084"/>
              <a:gd name="connsiteX3454" fmla="*/ 3845418 w 6689088"/>
              <a:gd name="connsiteY3454" fmla="*/ 822021 h 6689084"/>
              <a:gd name="connsiteX3455" fmla="*/ 3999000 w 6689088"/>
              <a:gd name="connsiteY3455" fmla="*/ 819841 h 6689084"/>
              <a:gd name="connsiteX3456" fmla="*/ 4024052 w 6689088"/>
              <a:gd name="connsiteY3456" fmla="*/ 844893 h 6689084"/>
              <a:gd name="connsiteX3457" fmla="*/ 3999000 w 6689088"/>
              <a:gd name="connsiteY3457" fmla="*/ 869948 h 6689084"/>
              <a:gd name="connsiteX3458" fmla="*/ 3973948 w 6689088"/>
              <a:gd name="connsiteY3458" fmla="*/ 844893 h 6689084"/>
              <a:gd name="connsiteX3459" fmla="*/ 3999000 w 6689088"/>
              <a:gd name="connsiteY3459" fmla="*/ 819841 h 6689084"/>
              <a:gd name="connsiteX3460" fmla="*/ 4152947 w 6689088"/>
              <a:gd name="connsiteY3460" fmla="*/ 817664 h 6689084"/>
              <a:gd name="connsiteX3461" fmla="*/ 4180179 w 6689088"/>
              <a:gd name="connsiteY3461" fmla="*/ 844896 h 6689084"/>
              <a:gd name="connsiteX3462" fmla="*/ 4152947 w 6689088"/>
              <a:gd name="connsiteY3462" fmla="*/ 872129 h 6689084"/>
              <a:gd name="connsiteX3463" fmla="*/ 4125715 w 6689088"/>
              <a:gd name="connsiteY3463" fmla="*/ 844896 h 6689084"/>
              <a:gd name="connsiteX3464" fmla="*/ 4152947 w 6689088"/>
              <a:gd name="connsiteY3464" fmla="*/ 817664 h 6689084"/>
              <a:gd name="connsiteX3465" fmla="*/ 4306528 w 6689088"/>
              <a:gd name="connsiteY3465" fmla="*/ 815122 h 6689084"/>
              <a:gd name="connsiteX3466" fmla="*/ 4336303 w 6689088"/>
              <a:gd name="connsiteY3466" fmla="*/ 844896 h 6689084"/>
              <a:gd name="connsiteX3467" fmla="*/ 4306528 w 6689088"/>
              <a:gd name="connsiteY3467" fmla="*/ 874667 h 6689084"/>
              <a:gd name="connsiteX3468" fmla="*/ 4276758 w 6689088"/>
              <a:gd name="connsiteY3468" fmla="*/ 844896 h 6689084"/>
              <a:gd name="connsiteX3469" fmla="*/ 4306528 w 6689088"/>
              <a:gd name="connsiteY3469" fmla="*/ 815122 h 6689084"/>
              <a:gd name="connsiteX3470" fmla="*/ 4460480 w 6689088"/>
              <a:gd name="connsiteY3470" fmla="*/ 812941 h 6689084"/>
              <a:gd name="connsiteX3471" fmla="*/ 4492431 w 6689088"/>
              <a:gd name="connsiteY3471" fmla="*/ 844893 h 6689084"/>
              <a:gd name="connsiteX3472" fmla="*/ 4460480 w 6689088"/>
              <a:gd name="connsiteY3472" fmla="*/ 876844 h 6689084"/>
              <a:gd name="connsiteX3473" fmla="*/ 4428528 w 6689088"/>
              <a:gd name="connsiteY3473" fmla="*/ 844893 h 6689084"/>
              <a:gd name="connsiteX3474" fmla="*/ 4460480 w 6689088"/>
              <a:gd name="connsiteY3474" fmla="*/ 812941 h 6689084"/>
              <a:gd name="connsiteX3475" fmla="*/ 4614061 w 6689088"/>
              <a:gd name="connsiteY3475" fmla="*/ 811127 h 6689084"/>
              <a:gd name="connsiteX3476" fmla="*/ 4647831 w 6689088"/>
              <a:gd name="connsiteY3476" fmla="*/ 844893 h 6689084"/>
              <a:gd name="connsiteX3477" fmla="*/ 4614061 w 6689088"/>
              <a:gd name="connsiteY3477" fmla="*/ 878662 h 6689084"/>
              <a:gd name="connsiteX3478" fmla="*/ 4580296 w 6689088"/>
              <a:gd name="connsiteY3478" fmla="*/ 844893 h 6689084"/>
              <a:gd name="connsiteX3479" fmla="*/ 4614061 w 6689088"/>
              <a:gd name="connsiteY3479" fmla="*/ 811127 h 6689084"/>
              <a:gd name="connsiteX3480" fmla="*/ 4768012 w 6689088"/>
              <a:gd name="connsiteY3480" fmla="*/ 808584 h 6689084"/>
              <a:gd name="connsiteX3481" fmla="*/ 4804320 w 6689088"/>
              <a:gd name="connsiteY3481" fmla="*/ 844893 h 6689084"/>
              <a:gd name="connsiteX3482" fmla="*/ 4768012 w 6689088"/>
              <a:gd name="connsiteY3482" fmla="*/ 881201 h 6689084"/>
              <a:gd name="connsiteX3483" fmla="*/ 4731704 w 6689088"/>
              <a:gd name="connsiteY3483" fmla="*/ 844893 h 6689084"/>
              <a:gd name="connsiteX3484" fmla="*/ 4768012 w 6689088"/>
              <a:gd name="connsiteY3484" fmla="*/ 808584 h 6689084"/>
              <a:gd name="connsiteX3485" fmla="*/ 4921598 w 6689088"/>
              <a:gd name="connsiteY3485" fmla="*/ 806045 h 6689084"/>
              <a:gd name="connsiteX3486" fmla="*/ 4960444 w 6689088"/>
              <a:gd name="connsiteY3486" fmla="*/ 844896 h 6689084"/>
              <a:gd name="connsiteX3487" fmla="*/ 4921598 w 6689088"/>
              <a:gd name="connsiteY3487" fmla="*/ 883743 h 6689084"/>
              <a:gd name="connsiteX3488" fmla="*/ 4882746 w 6689088"/>
              <a:gd name="connsiteY3488" fmla="*/ 844896 h 6689084"/>
              <a:gd name="connsiteX3489" fmla="*/ 4921598 w 6689088"/>
              <a:gd name="connsiteY3489" fmla="*/ 806045 h 6689084"/>
              <a:gd name="connsiteX3490" fmla="*/ 5075541 w 6689088"/>
              <a:gd name="connsiteY3490" fmla="*/ 803503 h 6689084"/>
              <a:gd name="connsiteX3491" fmla="*/ 5116568 w 6689088"/>
              <a:gd name="connsiteY3491" fmla="*/ 844530 h 6689084"/>
              <a:gd name="connsiteX3492" fmla="*/ 5075541 w 6689088"/>
              <a:gd name="connsiteY3492" fmla="*/ 885562 h 6689084"/>
              <a:gd name="connsiteX3493" fmla="*/ 5034514 w 6689088"/>
              <a:gd name="connsiteY3493" fmla="*/ 844530 h 6689084"/>
              <a:gd name="connsiteX3494" fmla="*/ 5075541 w 6689088"/>
              <a:gd name="connsiteY3494" fmla="*/ 803503 h 6689084"/>
              <a:gd name="connsiteX3495" fmla="*/ 5229126 w 6689088"/>
              <a:gd name="connsiteY3495" fmla="*/ 800960 h 6689084"/>
              <a:gd name="connsiteX3496" fmla="*/ 5272696 w 6689088"/>
              <a:gd name="connsiteY3496" fmla="*/ 844530 h 6689084"/>
              <a:gd name="connsiteX3497" fmla="*/ 5229126 w 6689088"/>
              <a:gd name="connsiteY3497" fmla="*/ 888100 h 6689084"/>
              <a:gd name="connsiteX3498" fmla="*/ 5185556 w 6689088"/>
              <a:gd name="connsiteY3498" fmla="*/ 844530 h 6689084"/>
              <a:gd name="connsiteX3499" fmla="*/ 5229126 w 6689088"/>
              <a:gd name="connsiteY3499" fmla="*/ 800960 h 6689084"/>
              <a:gd name="connsiteX3500" fmla="*/ 5383074 w 6689088"/>
              <a:gd name="connsiteY3500" fmla="*/ 798784 h 6689084"/>
              <a:gd name="connsiteX3501" fmla="*/ 5429186 w 6689088"/>
              <a:gd name="connsiteY3501" fmla="*/ 844896 h 6689084"/>
              <a:gd name="connsiteX3502" fmla="*/ 5383074 w 6689088"/>
              <a:gd name="connsiteY3502" fmla="*/ 891009 h 6689084"/>
              <a:gd name="connsiteX3503" fmla="*/ 5336962 w 6689088"/>
              <a:gd name="connsiteY3503" fmla="*/ 844896 h 6689084"/>
              <a:gd name="connsiteX3504" fmla="*/ 5383074 w 6689088"/>
              <a:gd name="connsiteY3504" fmla="*/ 798784 h 6689084"/>
              <a:gd name="connsiteX3505" fmla="*/ 5536659 w 6689088"/>
              <a:gd name="connsiteY3505" fmla="*/ 796241 h 6689084"/>
              <a:gd name="connsiteX3506" fmla="*/ 5585310 w 6689088"/>
              <a:gd name="connsiteY3506" fmla="*/ 844896 h 6689084"/>
              <a:gd name="connsiteX3507" fmla="*/ 5536659 w 6689088"/>
              <a:gd name="connsiteY3507" fmla="*/ 893548 h 6689084"/>
              <a:gd name="connsiteX3508" fmla="*/ 5488004 w 6689088"/>
              <a:gd name="connsiteY3508" fmla="*/ 844896 h 6689084"/>
              <a:gd name="connsiteX3509" fmla="*/ 5536659 w 6689088"/>
              <a:gd name="connsiteY3509" fmla="*/ 796241 h 6689084"/>
              <a:gd name="connsiteX3510" fmla="*/ 5690606 w 6689088"/>
              <a:gd name="connsiteY3510" fmla="*/ 793699 h 6689084"/>
              <a:gd name="connsiteX3511" fmla="*/ 5741800 w 6689088"/>
              <a:gd name="connsiteY3511" fmla="*/ 844893 h 6689084"/>
              <a:gd name="connsiteX3512" fmla="*/ 5690606 w 6689088"/>
              <a:gd name="connsiteY3512" fmla="*/ 896090 h 6689084"/>
              <a:gd name="connsiteX3513" fmla="*/ 5639412 w 6689088"/>
              <a:gd name="connsiteY3513" fmla="*/ 844893 h 6689084"/>
              <a:gd name="connsiteX3514" fmla="*/ 5690606 w 6689088"/>
              <a:gd name="connsiteY3514" fmla="*/ 793699 h 6689084"/>
              <a:gd name="connsiteX3515" fmla="*/ 5844554 w 6689088"/>
              <a:gd name="connsiteY3515" fmla="*/ 791156 h 6689084"/>
              <a:gd name="connsiteX3516" fmla="*/ 5897928 w 6689088"/>
              <a:gd name="connsiteY3516" fmla="*/ 844530 h 6689084"/>
              <a:gd name="connsiteX3517" fmla="*/ 5844554 w 6689088"/>
              <a:gd name="connsiteY3517" fmla="*/ 897901 h 6689084"/>
              <a:gd name="connsiteX3518" fmla="*/ 5791180 w 6689088"/>
              <a:gd name="connsiteY3518" fmla="*/ 844530 h 6689084"/>
              <a:gd name="connsiteX3519" fmla="*/ 5844554 w 6689088"/>
              <a:gd name="connsiteY3519" fmla="*/ 791156 h 6689084"/>
              <a:gd name="connsiteX3520" fmla="*/ 5998139 w 6689088"/>
              <a:gd name="connsiteY3520" fmla="*/ 788614 h 6689084"/>
              <a:gd name="connsiteX3521" fmla="*/ 6054414 w 6689088"/>
              <a:gd name="connsiteY3521" fmla="*/ 844893 h 6689084"/>
              <a:gd name="connsiteX3522" fmla="*/ 5998139 w 6689088"/>
              <a:gd name="connsiteY3522" fmla="*/ 901171 h 6689084"/>
              <a:gd name="connsiteX3523" fmla="*/ 5941860 w 6689088"/>
              <a:gd name="connsiteY3523" fmla="*/ 844893 h 6689084"/>
              <a:gd name="connsiteX3524" fmla="*/ 5998139 w 6689088"/>
              <a:gd name="connsiteY3524" fmla="*/ 788614 h 6689084"/>
              <a:gd name="connsiteX3525" fmla="*/ 6152083 w 6689088"/>
              <a:gd name="connsiteY3525" fmla="*/ 786075 h 6689084"/>
              <a:gd name="connsiteX3526" fmla="*/ 6210904 w 6689088"/>
              <a:gd name="connsiteY3526" fmla="*/ 844896 h 6689084"/>
              <a:gd name="connsiteX3527" fmla="*/ 6152083 w 6689088"/>
              <a:gd name="connsiteY3527" fmla="*/ 903714 h 6689084"/>
              <a:gd name="connsiteX3528" fmla="*/ 6093265 w 6689088"/>
              <a:gd name="connsiteY3528" fmla="*/ 844896 h 6689084"/>
              <a:gd name="connsiteX3529" fmla="*/ 6152083 w 6689088"/>
              <a:gd name="connsiteY3529" fmla="*/ 786075 h 6689084"/>
              <a:gd name="connsiteX3530" fmla="*/ 6305672 w 6689088"/>
              <a:gd name="connsiteY3530" fmla="*/ 783170 h 6689084"/>
              <a:gd name="connsiteX3531" fmla="*/ 6367394 w 6689088"/>
              <a:gd name="connsiteY3531" fmla="*/ 844896 h 6689084"/>
              <a:gd name="connsiteX3532" fmla="*/ 6305672 w 6689088"/>
              <a:gd name="connsiteY3532" fmla="*/ 906619 h 6689084"/>
              <a:gd name="connsiteX3533" fmla="*/ 6243946 w 6689088"/>
              <a:gd name="connsiteY3533" fmla="*/ 844896 h 6689084"/>
              <a:gd name="connsiteX3534" fmla="*/ 6305672 w 6689088"/>
              <a:gd name="connsiteY3534" fmla="*/ 783170 h 6689084"/>
              <a:gd name="connsiteX3535" fmla="*/ 6459616 w 6689088"/>
              <a:gd name="connsiteY3535" fmla="*/ 780628 h 6689084"/>
              <a:gd name="connsiteX3536" fmla="*/ 6523884 w 6689088"/>
              <a:gd name="connsiteY3536" fmla="*/ 844893 h 6689084"/>
              <a:gd name="connsiteX3537" fmla="*/ 6459616 w 6689088"/>
              <a:gd name="connsiteY3537" fmla="*/ 909161 h 6689084"/>
              <a:gd name="connsiteX3538" fmla="*/ 6395350 w 6689088"/>
              <a:gd name="connsiteY3538" fmla="*/ 844893 h 6689084"/>
              <a:gd name="connsiteX3539" fmla="*/ 6459616 w 6689088"/>
              <a:gd name="connsiteY3539" fmla="*/ 780628 h 6689084"/>
              <a:gd name="connsiteX3540" fmla="*/ 6613197 w 6689088"/>
              <a:gd name="connsiteY3540" fmla="*/ 777361 h 6689084"/>
              <a:gd name="connsiteX3541" fmla="*/ 6680732 w 6689088"/>
              <a:gd name="connsiteY3541" fmla="*/ 844896 h 6689084"/>
              <a:gd name="connsiteX3542" fmla="*/ 6613197 w 6689088"/>
              <a:gd name="connsiteY3542" fmla="*/ 912428 h 6689084"/>
              <a:gd name="connsiteX3543" fmla="*/ 6545666 w 6689088"/>
              <a:gd name="connsiteY3543" fmla="*/ 844896 h 6689084"/>
              <a:gd name="connsiteX3544" fmla="*/ 6613197 w 6689088"/>
              <a:gd name="connsiteY3544" fmla="*/ 777361 h 6689084"/>
              <a:gd name="connsiteX3545" fmla="*/ 1384799 w 6689088"/>
              <a:gd name="connsiteY3545" fmla="*/ 690583 h 6689084"/>
              <a:gd name="connsiteX3546" fmla="*/ 1385161 w 6689088"/>
              <a:gd name="connsiteY3546" fmla="*/ 690945 h 6689084"/>
              <a:gd name="connsiteX3547" fmla="*/ 1384799 w 6689088"/>
              <a:gd name="connsiteY3547" fmla="*/ 691311 h 6689084"/>
              <a:gd name="connsiteX3548" fmla="*/ 1384437 w 6689088"/>
              <a:gd name="connsiteY3548" fmla="*/ 690945 h 6689084"/>
              <a:gd name="connsiteX3549" fmla="*/ 1384799 w 6689088"/>
              <a:gd name="connsiteY3549" fmla="*/ 690583 h 6689084"/>
              <a:gd name="connsiteX3550" fmla="*/ 923681 w 6689088"/>
              <a:gd name="connsiteY3550" fmla="*/ 690583 h 6689084"/>
              <a:gd name="connsiteX3551" fmla="*/ 924043 w 6689088"/>
              <a:gd name="connsiteY3551" fmla="*/ 690945 h 6689084"/>
              <a:gd name="connsiteX3552" fmla="*/ 923681 w 6689088"/>
              <a:gd name="connsiteY3552" fmla="*/ 691311 h 6689084"/>
              <a:gd name="connsiteX3553" fmla="*/ 923319 w 6689088"/>
              <a:gd name="connsiteY3553" fmla="*/ 690945 h 6689084"/>
              <a:gd name="connsiteX3554" fmla="*/ 923681 w 6689088"/>
              <a:gd name="connsiteY3554" fmla="*/ 690583 h 6689084"/>
              <a:gd name="connsiteX3555" fmla="*/ 769733 w 6689088"/>
              <a:gd name="connsiteY3555" fmla="*/ 690583 h 6689084"/>
              <a:gd name="connsiteX3556" fmla="*/ 770096 w 6689088"/>
              <a:gd name="connsiteY3556" fmla="*/ 690945 h 6689084"/>
              <a:gd name="connsiteX3557" fmla="*/ 769733 w 6689088"/>
              <a:gd name="connsiteY3557" fmla="*/ 691311 h 6689084"/>
              <a:gd name="connsiteX3558" fmla="*/ 769371 w 6689088"/>
              <a:gd name="connsiteY3558" fmla="*/ 690945 h 6689084"/>
              <a:gd name="connsiteX3559" fmla="*/ 769733 w 6689088"/>
              <a:gd name="connsiteY3559" fmla="*/ 690583 h 6689084"/>
              <a:gd name="connsiteX3560" fmla="*/ 616152 w 6689088"/>
              <a:gd name="connsiteY3560" fmla="*/ 690221 h 6689084"/>
              <a:gd name="connsiteX3561" fmla="*/ 616876 w 6689088"/>
              <a:gd name="connsiteY3561" fmla="*/ 690949 h 6689084"/>
              <a:gd name="connsiteX3562" fmla="*/ 616152 w 6689088"/>
              <a:gd name="connsiteY3562" fmla="*/ 691673 h 6689084"/>
              <a:gd name="connsiteX3563" fmla="*/ 615424 w 6689088"/>
              <a:gd name="connsiteY3563" fmla="*/ 690949 h 6689084"/>
              <a:gd name="connsiteX3564" fmla="*/ 616152 w 6689088"/>
              <a:gd name="connsiteY3564" fmla="*/ 690221 h 6689084"/>
              <a:gd name="connsiteX3565" fmla="*/ 1538746 w 6689088"/>
              <a:gd name="connsiteY3565" fmla="*/ 689493 h 6689084"/>
              <a:gd name="connsiteX3566" fmla="*/ 1540198 w 6689088"/>
              <a:gd name="connsiteY3566" fmla="*/ 690945 h 6689084"/>
              <a:gd name="connsiteX3567" fmla="*/ 1538746 w 6689088"/>
              <a:gd name="connsiteY3567" fmla="*/ 692397 h 6689084"/>
              <a:gd name="connsiteX3568" fmla="*/ 1537294 w 6689088"/>
              <a:gd name="connsiteY3568" fmla="*/ 690945 h 6689084"/>
              <a:gd name="connsiteX3569" fmla="*/ 1538746 w 6689088"/>
              <a:gd name="connsiteY3569" fmla="*/ 689493 h 6689084"/>
              <a:gd name="connsiteX3570" fmla="*/ 1692328 w 6689088"/>
              <a:gd name="connsiteY3570" fmla="*/ 688768 h 6689084"/>
              <a:gd name="connsiteX3571" fmla="*/ 1694508 w 6689088"/>
              <a:gd name="connsiteY3571" fmla="*/ 690949 h 6689084"/>
              <a:gd name="connsiteX3572" fmla="*/ 1692328 w 6689088"/>
              <a:gd name="connsiteY3572" fmla="*/ 693126 h 6689084"/>
              <a:gd name="connsiteX3573" fmla="*/ 1690151 w 6689088"/>
              <a:gd name="connsiteY3573" fmla="*/ 690949 h 6689084"/>
              <a:gd name="connsiteX3574" fmla="*/ 1692328 w 6689088"/>
              <a:gd name="connsiteY3574" fmla="*/ 688768 h 6689084"/>
              <a:gd name="connsiteX3575" fmla="*/ 1846279 w 6689088"/>
              <a:gd name="connsiteY3575" fmla="*/ 688040 h 6689084"/>
              <a:gd name="connsiteX3576" fmla="*/ 1849546 w 6689088"/>
              <a:gd name="connsiteY3576" fmla="*/ 691307 h 6689084"/>
              <a:gd name="connsiteX3577" fmla="*/ 1846279 w 6689088"/>
              <a:gd name="connsiteY3577" fmla="*/ 694574 h 6689084"/>
              <a:gd name="connsiteX3578" fmla="*/ 1843012 w 6689088"/>
              <a:gd name="connsiteY3578" fmla="*/ 691307 h 6689084"/>
              <a:gd name="connsiteX3579" fmla="*/ 1846279 w 6689088"/>
              <a:gd name="connsiteY3579" fmla="*/ 688040 h 6689084"/>
              <a:gd name="connsiteX3580" fmla="*/ 1999860 w 6689088"/>
              <a:gd name="connsiteY3580" fmla="*/ 686588 h 6689084"/>
              <a:gd name="connsiteX3581" fmla="*/ 2004217 w 6689088"/>
              <a:gd name="connsiteY3581" fmla="*/ 690945 h 6689084"/>
              <a:gd name="connsiteX3582" fmla="*/ 1999860 w 6689088"/>
              <a:gd name="connsiteY3582" fmla="*/ 695302 h 6689084"/>
              <a:gd name="connsiteX3583" fmla="*/ 1995503 w 6689088"/>
              <a:gd name="connsiteY3583" fmla="*/ 690945 h 6689084"/>
              <a:gd name="connsiteX3584" fmla="*/ 1999860 w 6689088"/>
              <a:gd name="connsiteY3584" fmla="*/ 686588 h 6689084"/>
              <a:gd name="connsiteX3585" fmla="*/ 2153811 w 6689088"/>
              <a:gd name="connsiteY3585" fmla="*/ 685498 h 6689084"/>
              <a:gd name="connsiteX3586" fmla="*/ 2159621 w 6689088"/>
              <a:gd name="connsiteY3586" fmla="*/ 691307 h 6689084"/>
              <a:gd name="connsiteX3587" fmla="*/ 2153811 w 6689088"/>
              <a:gd name="connsiteY3587" fmla="*/ 697117 h 6689084"/>
              <a:gd name="connsiteX3588" fmla="*/ 2148002 w 6689088"/>
              <a:gd name="connsiteY3588" fmla="*/ 691307 h 6689084"/>
              <a:gd name="connsiteX3589" fmla="*/ 2153811 w 6689088"/>
              <a:gd name="connsiteY3589" fmla="*/ 685498 h 6689084"/>
              <a:gd name="connsiteX3590" fmla="*/ 2307393 w 6689088"/>
              <a:gd name="connsiteY3590" fmla="*/ 683683 h 6689084"/>
              <a:gd name="connsiteX3591" fmla="*/ 2314655 w 6689088"/>
              <a:gd name="connsiteY3591" fmla="*/ 690945 h 6689084"/>
              <a:gd name="connsiteX3592" fmla="*/ 2307393 w 6689088"/>
              <a:gd name="connsiteY3592" fmla="*/ 698207 h 6689084"/>
              <a:gd name="connsiteX3593" fmla="*/ 2300131 w 6689088"/>
              <a:gd name="connsiteY3593" fmla="*/ 690945 h 6689084"/>
              <a:gd name="connsiteX3594" fmla="*/ 2307393 w 6689088"/>
              <a:gd name="connsiteY3594" fmla="*/ 683683 h 6689084"/>
              <a:gd name="connsiteX3595" fmla="*/ 2461340 w 6689088"/>
              <a:gd name="connsiteY3595" fmla="*/ 681869 h 6689084"/>
              <a:gd name="connsiteX3596" fmla="*/ 2470420 w 6689088"/>
              <a:gd name="connsiteY3596" fmla="*/ 690945 h 6689084"/>
              <a:gd name="connsiteX3597" fmla="*/ 2461340 w 6689088"/>
              <a:gd name="connsiteY3597" fmla="*/ 700025 h 6689084"/>
              <a:gd name="connsiteX3598" fmla="*/ 2452264 w 6689088"/>
              <a:gd name="connsiteY3598" fmla="*/ 690945 h 6689084"/>
              <a:gd name="connsiteX3599" fmla="*/ 2461340 w 6689088"/>
              <a:gd name="connsiteY3599" fmla="*/ 681869 h 6689084"/>
              <a:gd name="connsiteX3600" fmla="*/ 2614925 w 6689088"/>
              <a:gd name="connsiteY3600" fmla="*/ 680779 h 6689084"/>
              <a:gd name="connsiteX3601" fmla="*/ 2625092 w 6689088"/>
              <a:gd name="connsiteY3601" fmla="*/ 690945 h 6689084"/>
              <a:gd name="connsiteX3602" fmla="*/ 2614925 w 6689088"/>
              <a:gd name="connsiteY3602" fmla="*/ 701111 h 6689084"/>
              <a:gd name="connsiteX3603" fmla="*/ 2604759 w 6689088"/>
              <a:gd name="connsiteY3603" fmla="*/ 690945 h 6689084"/>
              <a:gd name="connsiteX3604" fmla="*/ 2614925 w 6689088"/>
              <a:gd name="connsiteY3604" fmla="*/ 680779 h 6689084"/>
              <a:gd name="connsiteX3605" fmla="*/ 2768873 w 6689088"/>
              <a:gd name="connsiteY3605" fmla="*/ 678964 h 6689084"/>
              <a:gd name="connsiteX3606" fmla="*/ 2780858 w 6689088"/>
              <a:gd name="connsiteY3606" fmla="*/ 690945 h 6689084"/>
              <a:gd name="connsiteX3607" fmla="*/ 2768873 w 6689088"/>
              <a:gd name="connsiteY3607" fmla="*/ 702926 h 6689084"/>
              <a:gd name="connsiteX3608" fmla="*/ 2756892 w 6689088"/>
              <a:gd name="connsiteY3608" fmla="*/ 690945 h 6689084"/>
              <a:gd name="connsiteX3609" fmla="*/ 2768873 w 6689088"/>
              <a:gd name="connsiteY3609" fmla="*/ 678964 h 6689084"/>
              <a:gd name="connsiteX3610" fmla="*/ 2922824 w 6689088"/>
              <a:gd name="connsiteY3610" fmla="*/ 677150 h 6689084"/>
              <a:gd name="connsiteX3611" fmla="*/ 2936619 w 6689088"/>
              <a:gd name="connsiteY3611" fmla="*/ 690949 h 6689084"/>
              <a:gd name="connsiteX3612" fmla="*/ 2922824 w 6689088"/>
              <a:gd name="connsiteY3612" fmla="*/ 704744 h 6689084"/>
              <a:gd name="connsiteX3613" fmla="*/ 2909025 w 6689088"/>
              <a:gd name="connsiteY3613" fmla="*/ 690949 h 6689084"/>
              <a:gd name="connsiteX3614" fmla="*/ 2922824 w 6689088"/>
              <a:gd name="connsiteY3614" fmla="*/ 677150 h 6689084"/>
              <a:gd name="connsiteX3615" fmla="*/ 3076402 w 6689088"/>
              <a:gd name="connsiteY3615" fmla="*/ 675697 h 6689084"/>
              <a:gd name="connsiteX3616" fmla="*/ 3091653 w 6689088"/>
              <a:gd name="connsiteY3616" fmla="*/ 690949 h 6689084"/>
              <a:gd name="connsiteX3617" fmla="*/ 3076402 w 6689088"/>
              <a:gd name="connsiteY3617" fmla="*/ 706197 h 6689084"/>
              <a:gd name="connsiteX3618" fmla="*/ 3061154 w 6689088"/>
              <a:gd name="connsiteY3618" fmla="*/ 690949 h 6689084"/>
              <a:gd name="connsiteX3619" fmla="*/ 3076402 w 6689088"/>
              <a:gd name="connsiteY3619" fmla="*/ 675697 h 6689084"/>
              <a:gd name="connsiteX3620" fmla="*/ 3230353 w 6689088"/>
              <a:gd name="connsiteY3620" fmla="*/ 673883 h 6689084"/>
              <a:gd name="connsiteX3621" fmla="*/ 3247419 w 6689088"/>
              <a:gd name="connsiteY3621" fmla="*/ 690949 h 6689084"/>
              <a:gd name="connsiteX3622" fmla="*/ 3230353 w 6689088"/>
              <a:gd name="connsiteY3622" fmla="*/ 708015 h 6689084"/>
              <a:gd name="connsiteX3623" fmla="*/ 3213287 w 6689088"/>
              <a:gd name="connsiteY3623" fmla="*/ 690949 h 6689084"/>
              <a:gd name="connsiteX3624" fmla="*/ 3230353 w 6689088"/>
              <a:gd name="connsiteY3624" fmla="*/ 673883 h 6689084"/>
              <a:gd name="connsiteX3625" fmla="*/ 3383934 w 6689088"/>
              <a:gd name="connsiteY3625" fmla="*/ 671703 h 6689084"/>
              <a:gd name="connsiteX3626" fmla="*/ 3403180 w 6689088"/>
              <a:gd name="connsiteY3626" fmla="*/ 690945 h 6689084"/>
              <a:gd name="connsiteX3627" fmla="*/ 3383934 w 6689088"/>
              <a:gd name="connsiteY3627" fmla="*/ 710191 h 6689084"/>
              <a:gd name="connsiteX3628" fmla="*/ 3364692 w 6689088"/>
              <a:gd name="connsiteY3628" fmla="*/ 690945 h 6689084"/>
              <a:gd name="connsiteX3629" fmla="*/ 3383934 w 6689088"/>
              <a:gd name="connsiteY3629" fmla="*/ 671703 h 6689084"/>
              <a:gd name="connsiteX3630" fmla="*/ 3537886 w 6689088"/>
              <a:gd name="connsiteY3630" fmla="*/ 669526 h 6689084"/>
              <a:gd name="connsiteX3631" fmla="*/ 3559308 w 6689088"/>
              <a:gd name="connsiteY3631" fmla="*/ 690949 h 6689084"/>
              <a:gd name="connsiteX3632" fmla="*/ 3537886 w 6689088"/>
              <a:gd name="connsiteY3632" fmla="*/ 712372 h 6689084"/>
              <a:gd name="connsiteX3633" fmla="*/ 3516462 w 6689088"/>
              <a:gd name="connsiteY3633" fmla="*/ 690949 h 6689084"/>
              <a:gd name="connsiteX3634" fmla="*/ 3537886 w 6689088"/>
              <a:gd name="connsiteY3634" fmla="*/ 669526 h 6689084"/>
              <a:gd name="connsiteX3635" fmla="*/ 3691471 w 6689088"/>
              <a:gd name="connsiteY3635" fmla="*/ 668074 h 6689084"/>
              <a:gd name="connsiteX3636" fmla="*/ 3714342 w 6689088"/>
              <a:gd name="connsiteY3636" fmla="*/ 690949 h 6689084"/>
              <a:gd name="connsiteX3637" fmla="*/ 3691471 w 6689088"/>
              <a:gd name="connsiteY3637" fmla="*/ 713820 h 6689084"/>
              <a:gd name="connsiteX3638" fmla="*/ 3668596 w 6689088"/>
              <a:gd name="connsiteY3638" fmla="*/ 690949 h 6689084"/>
              <a:gd name="connsiteX3639" fmla="*/ 3691471 w 6689088"/>
              <a:gd name="connsiteY3639" fmla="*/ 668074 h 6689084"/>
              <a:gd name="connsiteX3640" fmla="*/ 3845414 w 6689088"/>
              <a:gd name="connsiteY3640" fmla="*/ 665893 h 6689084"/>
              <a:gd name="connsiteX3641" fmla="*/ 3870470 w 6689088"/>
              <a:gd name="connsiteY3641" fmla="*/ 690945 h 6689084"/>
              <a:gd name="connsiteX3642" fmla="*/ 3845414 w 6689088"/>
              <a:gd name="connsiteY3642" fmla="*/ 716001 h 6689084"/>
              <a:gd name="connsiteX3643" fmla="*/ 3820362 w 6689088"/>
              <a:gd name="connsiteY3643" fmla="*/ 690945 h 6689084"/>
              <a:gd name="connsiteX3644" fmla="*/ 3845414 w 6689088"/>
              <a:gd name="connsiteY3644" fmla="*/ 665893 h 6689084"/>
              <a:gd name="connsiteX3645" fmla="*/ 3999000 w 6689088"/>
              <a:gd name="connsiteY3645" fmla="*/ 663717 h 6689084"/>
              <a:gd name="connsiteX3646" fmla="*/ 4026232 w 6689088"/>
              <a:gd name="connsiteY3646" fmla="*/ 690949 h 6689084"/>
              <a:gd name="connsiteX3647" fmla="*/ 3999000 w 6689088"/>
              <a:gd name="connsiteY3647" fmla="*/ 718181 h 6689084"/>
              <a:gd name="connsiteX3648" fmla="*/ 3971768 w 6689088"/>
              <a:gd name="connsiteY3648" fmla="*/ 690949 h 6689084"/>
              <a:gd name="connsiteX3649" fmla="*/ 3999000 w 6689088"/>
              <a:gd name="connsiteY3649" fmla="*/ 663717 h 6689084"/>
              <a:gd name="connsiteX3650" fmla="*/ 4152947 w 6689088"/>
              <a:gd name="connsiteY3650" fmla="*/ 661174 h 6689084"/>
              <a:gd name="connsiteX3651" fmla="*/ 4182722 w 6689088"/>
              <a:gd name="connsiteY3651" fmla="*/ 690949 h 6689084"/>
              <a:gd name="connsiteX3652" fmla="*/ 4152947 w 6689088"/>
              <a:gd name="connsiteY3652" fmla="*/ 720720 h 6689084"/>
              <a:gd name="connsiteX3653" fmla="*/ 4123176 w 6689088"/>
              <a:gd name="connsiteY3653" fmla="*/ 690949 h 6689084"/>
              <a:gd name="connsiteX3654" fmla="*/ 4152947 w 6689088"/>
              <a:gd name="connsiteY3654" fmla="*/ 661174 h 6689084"/>
              <a:gd name="connsiteX3655" fmla="*/ 4306532 w 6689088"/>
              <a:gd name="connsiteY3655" fmla="*/ 658994 h 6689084"/>
              <a:gd name="connsiteX3656" fmla="*/ 4338484 w 6689088"/>
              <a:gd name="connsiteY3656" fmla="*/ 690945 h 6689084"/>
              <a:gd name="connsiteX3657" fmla="*/ 4306532 w 6689088"/>
              <a:gd name="connsiteY3657" fmla="*/ 722896 h 6689084"/>
              <a:gd name="connsiteX3658" fmla="*/ 4274581 w 6689088"/>
              <a:gd name="connsiteY3658" fmla="*/ 690945 h 6689084"/>
              <a:gd name="connsiteX3659" fmla="*/ 4306532 w 6689088"/>
              <a:gd name="connsiteY3659" fmla="*/ 658994 h 6689084"/>
              <a:gd name="connsiteX3660" fmla="*/ 4460480 w 6689088"/>
              <a:gd name="connsiteY3660" fmla="*/ 657179 h 6689084"/>
              <a:gd name="connsiteX3661" fmla="*/ 4494250 w 6689088"/>
              <a:gd name="connsiteY3661" fmla="*/ 690945 h 6689084"/>
              <a:gd name="connsiteX3662" fmla="*/ 4460480 w 6689088"/>
              <a:gd name="connsiteY3662" fmla="*/ 724715 h 6689084"/>
              <a:gd name="connsiteX3663" fmla="*/ 4426714 w 6689088"/>
              <a:gd name="connsiteY3663" fmla="*/ 690945 h 6689084"/>
              <a:gd name="connsiteX3664" fmla="*/ 4460480 w 6689088"/>
              <a:gd name="connsiteY3664" fmla="*/ 657179 h 6689084"/>
              <a:gd name="connsiteX3665" fmla="*/ 4614061 w 6689088"/>
              <a:gd name="connsiteY3665" fmla="*/ 654637 h 6689084"/>
              <a:gd name="connsiteX3666" fmla="*/ 4650370 w 6689088"/>
              <a:gd name="connsiteY3666" fmla="*/ 690945 h 6689084"/>
              <a:gd name="connsiteX3667" fmla="*/ 4614061 w 6689088"/>
              <a:gd name="connsiteY3667" fmla="*/ 727253 h 6689084"/>
              <a:gd name="connsiteX3668" fmla="*/ 4577753 w 6689088"/>
              <a:gd name="connsiteY3668" fmla="*/ 690945 h 6689084"/>
              <a:gd name="connsiteX3669" fmla="*/ 4614061 w 6689088"/>
              <a:gd name="connsiteY3669" fmla="*/ 654637 h 6689084"/>
              <a:gd name="connsiteX3670" fmla="*/ 4768012 w 6689088"/>
              <a:gd name="connsiteY3670" fmla="*/ 652094 h 6689084"/>
              <a:gd name="connsiteX3671" fmla="*/ 4806860 w 6689088"/>
              <a:gd name="connsiteY3671" fmla="*/ 690945 h 6689084"/>
              <a:gd name="connsiteX3672" fmla="*/ 4768012 w 6689088"/>
              <a:gd name="connsiteY3672" fmla="*/ 729796 h 6689084"/>
              <a:gd name="connsiteX3673" fmla="*/ 4729162 w 6689088"/>
              <a:gd name="connsiteY3673" fmla="*/ 690945 h 6689084"/>
              <a:gd name="connsiteX3674" fmla="*/ 4768012 w 6689088"/>
              <a:gd name="connsiteY3674" fmla="*/ 652094 h 6689084"/>
              <a:gd name="connsiteX3675" fmla="*/ 4921594 w 6689088"/>
              <a:gd name="connsiteY3675" fmla="*/ 649918 h 6689084"/>
              <a:gd name="connsiteX3676" fmla="*/ 4962625 w 6689088"/>
              <a:gd name="connsiteY3676" fmla="*/ 690945 h 6689084"/>
              <a:gd name="connsiteX3677" fmla="*/ 4921594 w 6689088"/>
              <a:gd name="connsiteY3677" fmla="*/ 731976 h 6689084"/>
              <a:gd name="connsiteX3678" fmla="*/ 4880566 w 6689088"/>
              <a:gd name="connsiteY3678" fmla="*/ 690945 h 6689084"/>
              <a:gd name="connsiteX3679" fmla="*/ 4921594 w 6689088"/>
              <a:gd name="connsiteY3679" fmla="*/ 649918 h 6689084"/>
              <a:gd name="connsiteX3680" fmla="*/ 5075541 w 6689088"/>
              <a:gd name="connsiteY3680" fmla="*/ 647375 h 6689084"/>
              <a:gd name="connsiteX3681" fmla="*/ 5119111 w 6689088"/>
              <a:gd name="connsiteY3681" fmla="*/ 690945 h 6689084"/>
              <a:gd name="connsiteX3682" fmla="*/ 5075541 w 6689088"/>
              <a:gd name="connsiteY3682" fmla="*/ 734515 h 6689084"/>
              <a:gd name="connsiteX3683" fmla="*/ 5031971 w 6689088"/>
              <a:gd name="connsiteY3683" fmla="*/ 690945 h 6689084"/>
              <a:gd name="connsiteX3684" fmla="*/ 5075541 w 6689088"/>
              <a:gd name="connsiteY3684" fmla="*/ 647375 h 6689084"/>
              <a:gd name="connsiteX3685" fmla="*/ 5229126 w 6689088"/>
              <a:gd name="connsiteY3685" fmla="*/ 644836 h 6689084"/>
              <a:gd name="connsiteX3686" fmla="*/ 5275239 w 6689088"/>
              <a:gd name="connsiteY3686" fmla="*/ 690949 h 6689084"/>
              <a:gd name="connsiteX3687" fmla="*/ 5229126 w 6689088"/>
              <a:gd name="connsiteY3687" fmla="*/ 737058 h 6689084"/>
              <a:gd name="connsiteX3688" fmla="*/ 5183014 w 6689088"/>
              <a:gd name="connsiteY3688" fmla="*/ 690949 h 6689084"/>
              <a:gd name="connsiteX3689" fmla="*/ 5229126 w 6689088"/>
              <a:gd name="connsiteY3689" fmla="*/ 644836 h 6689084"/>
              <a:gd name="connsiteX3690" fmla="*/ 5383074 w 6689088"/>
              <a:gd name="connsiteY3690" fmla="*/ 642294 h 6689084"/>
              <a:gd name="connsiteX3691" fmla="*/ 5431725 w 6689088"/>
              <a:gd name="connsiteY3691" fmla="*/ 690949 h 6689084"/>
              <a:gd name="connsiteX3692" fmla="*/ 5383074 w 6689088"/>
              <a:gd name="connsiteY3692" fmla="*/ 739600 h 6689084"/>
              <a:gd name="connsiteX3693" fmla="*/ 5334419 w 6689088"/>
              <a:gd name="connsiteY3693" fmla="*/ 690949 h 6689084"/>
              <a:gd name="connsiteX3694" fmla="*/ 5383074 w 6689088"/>
              <a:gd name="connsiteY3694" fmla="*/ 642294 h 6689084"/>
              <a:gd name="connsiteX3695" fmla="*/ 5536659 w 6689088"/>
              <a:gd name="connsiteY3695" fmla="*/ 639751 h 6689084"/>
              <a:gd name="connsiteX3696" fmla="*/ 5587853 w 6689088"/>
              <a:gd name="connsiteY3696" fmla="*/ 690945 h 6689084"/>
              <a:gd name="connsiteX3697" fmla="*/ 5536659 w 6689088"/>
              <a:gd name="connsiteY3697" fmla="*/ 742139 h 6689084"/>
              <a:gd name="connsiteX3698" fmla="*/ 5485462 w 6689088"/>
              <a:gd name="connsiteY3698" fmla="*/ 690945 h 6689084"/>
              <a:gd name="connsiteX3699" fmla="*/ 5536659 w 6689088"/>
              <a:gd name="connsiteY3699" fmla="*/ 639751 h 6689084"/>
              <a:gd name="connsiteX3700" fmla="*/ 5690606 w 6689088"/>
              <a:gd name="connsiteY3700" fmla="*/ 637571 h 6689084"/>
              <a:gd name="connsiteX3701" fmla="*/ 5743980 w 6689088"/>
              <a:gd name="connsiteY3701" fmla="*/ 690945 h 6689084"/>
              <a:gd name="connsiteX3702" fmla="*/ 5690606 w 6689088"/>
              <a:gd name="connsiteY3702" fmla="*/ 744319 h 6689084"/>
              <a:gd name="connsiteX3703" fmla="*/ 5637232 w 6689088"/>
              <a:gd name="connsiteY3703" fmla="*/ 690945 h 6689084"/>
              <a:gd name="connsiteX3704" fmla="*/ 5690606 w 6689088"/>
              <a:gd name="connsiteY3704" fmla="*/ 637571 h 6689084"/>
              <a:gd name="connsiteX3705" fmla="*/ 5844554 w 6689088"/>
              <a:gd name="connsiteY3705" fmla="*/ 634666 h 6689084"/>
              <a:gd name="connsiteX3706" fmla="*/ 5900829 w 6689088"/>
              <a:gd name="connsiteY3706" fmla="*/ 690945 h 6689084"/>
              <a:gd name="connsiteX3707" fmla="*/ 5844554 w 6689088"/>
              <a:gd name="connsiteY3707" fmla="*/ 747224 h 6689084"/>
              <a:gd name="connsiteX3708" fmla="*/ 5788275 w 6689088"/>
              <a:gd name="connsiteY3708" fmla="*/ 690945 h 6689084"/>
              <a:gd name="connsiteX3709" fmla="*/ 5844554 w 6689088"/>
              <a:gd name="connsiteY3709" fmla="*/ 634666 h 6689084"/>
              <a:gd name="connsiteX3710" fmla="*/ 5998136 w 6689088"/>
              <a:gd name="connsiteY3710" fmla="*/ 632128 h 6689084"/>
              <a:gd name="connsiteX3711" fmla="*/ 6056957 w 6689088"/>
              <a:gd name="connsiteY3711" fmla="*/ 690949 h 6689084"/>
              <a:gd name="connsiteX3712" fmla="*/ 5998136 w 6689088"/>
              <a:gd name="connsiteY3712" fmla="*/ 749767 h 6689084"/>
              <a:gd name="connsiteX3713" fmla="*/ 5939318 w 6689088"/>
              <a:gd name="connsiteY3713" fmla="*/ 690949 h 6689084"/>
              <a:gd name="connsiteX3714" fmla="*/ 5998136 w 6689088"/>
              <a:gd name="connsiteY3714" fmla="*/ 632128 h 6689084"/>
              <a:gd name="connsiteX3715" fmla="*/ 6152083 w 6689088"/>
              <a:gd name="connsiteY3715" fmla="*/ 629223 h 6689084"/>
              <a:gd name="connsiteX3716" fmla="*/ 6213809 w 6689088"/>
              <a:gd name="connsiteY3716" fmla="*/ 690949 h 6689084"/>
              <a:gd name="connsiteX3717" fmla="*/ 6152083 w 6689088"/>
              <a:gd name="connsiteY3717" fmla="*/ 752671 h 6689084"/>
              <a:gd name="connsiteX3718" fmla="*/ 6090360 w 6689088"/>
              <a:gd name="connsiteY3718" fmla="*/ 690949 h 6689084"/>
              <a:gd name="connsiteX3719" fmla="*/ 6152083 w 6689088"/>
              <a:gd name="connsiteY3719" fmla="*/ 629223 h 6689084"/>
              <a:gd name="connsiteX3720" fmla="*/ 6305668 w 6689088"/>
              <a:gd name="connsiteY3720" fmla="*/ 626680 h 6689084"/>
              <a:gd name="connsiteX3721" fmla="*/ 6369933 w 6689088"/>
              <a:gd name="connsiteY3721" fmla="*/ 690945 h 6689084"/>
              <a:gd name="connsiteX3722" fmla="*/ 6305668 w 6689088"/>
              <a:gd name="connsiteY3722" fmla="*/ 755214 h 6689084"/>
              <a:gd name="connsiteX3723" fmla="*/ 6241400 w 6689088"/>
              <a:gd name="connsiteY3723" fmla="*/ 690945 h 6689084"/>
              <a:gd name="connsiteX3724" fmla="*/ 6305668 w 6689088"/>
              <a:gd name="connsiteY3724" fmla="*/ 626680 h 6689084"/>
              <a:gd name="connsiteX3725" fmla="*/ 6459619 w 6689088"/>
              <a:gd name="connsiteY3725" fmla="*/ 623414 h 6689084"/>
              <a:gd name="connsiteX3726" fmla="*/ 6527151 w 6689088"/>
              <a:gd name="connsiteY3726" fmla="*/ 690949 h 6689084"/>
              <a:gd name="connsiteX3727" fmla="*/ 6459619 w 6689088"/>
              <a:gd name="connsiteY3727" fmla="*/ 758481 h 6689084"/>
              <a:gd name="connsiteX3728" fmla="*/ 6392084 w 6689088"/>
              <a:gd name="connsiteY3728" fmla="*/ 690949 h 6689084"/>
              <a:gd name="connsiteX3729" fmla="*/ 6459619 w 6689088"/>
              <a:gd name="connsiteY3729" fmla="*/ 623414 h 6689084"/>
              <a:gd name="connsiteX3730" fmla="*/ 6613200 w 6689088"/>
              <a:gd name="connsiteY3730" fmla="*/ 620871 h 6689084"/>
              <a:gd name="connsiteX3731" fmla="*/ 6683275 w 6689088"/>
              <a:gd name="connsiteY3731" fmla="*/ 690945 h 6689084"/>
              <a:gd name="connsiteX3732" fmla="*/ 6613200 w 6689088"/>
              <a:gd name="connsiteY3732" fmla="*/ 761023 h 6689084"/>
              <a:gd name="connsiteX3733" fmla="*/ 6543126 w 6689088"/>
              <a:gd name="connsiteY3733" fmla="*/ 690945 h 6689084"/>
              <a:gd name="connsiteX3734" fmla="*/ 6613200 w 6689088"/>
              <a:gd name="connsiteY3734" fmla="*/ 620871 h 6689084"/>
              <a:gd name="connsiteX3735" fmla="*/ 1231213 w 6689088"/>
              <a:gd name="connsiteY3735" fmla="*/ 536998 h 6689084"/>
              <a:gd name="connsiteX3736" fmla="*/ 1231576 w 6689088"/>
              <a:gd name="connsiteY3736" fmla="*/ 537360 h 6689084"/>
              <a:gd name="connsiteX3737" fmla="*/ 1231213 w 6689088"/>
              <a:gd name="connsiteY3737" fmla="*/ 537726 h 6689084"/>
              <a:gd name="connsiteX3738" fmla="*/ 1230851 w 6689088"/>
              <a:gd name="connsiteY3738" fmla="*/ 537360 h 6689084"/>
              <a:gd name="connsiteX3739" fmla="*/ 1231213 w 6689088"/>
              <a:gd name="connsiteY3739" fmla="*/ 536998 h 6689084"/>
              <a:gd name="connsiteX3740" fmla="*/ 769733 w 6689088"/>
              <a:gd name="connsiteY3740" fmla="*/ 536998 h 6689084"/>
              <a:gd name="connsiteX3741" fmla="*/ 770096 w 6689088"/>
              <a:gd name="connsiteY3741" fmla="*/ 537360 h 6689084"/>
              <a:gd name="connsiteX3742" fmla="*/ 769733 w 6689088"/>
              <a:gd name="connsiteY3742" fmla="*/ 537726 h 6689084"/>
              <a:gd name="connsiteX3743" fmla="*/ 769371 w 6689088"/>
              <a:gd name="connsiteY3743" fmla="*/ 537360 h 6689084"/>
              <a:gd name="connsiteX3744" fmla="*/ 769733 w 6689088"/>
              <a:gd name="connsiteY3744" fmla="*/ 536998 h 6689084"/>
              <a:gd name="connsiteX3745" fmla="*/ 616148 w 6689088"/>
              <a:gd name="connsiteY3745" fmla="*/ 536998 h 6689084"/>
              <a:gd name="connsiteX3746" fmla="*/ 616514 w 6689088"/>
              <a:gd name="connsiteY3746" fmla="*/ 537360 h 6689084"/>
              <a:gd name="connsiteX3747" fmla="*/ 616148 w 6689088"/>
              <a:gd name="connsiteY3747" fmla="*/ 537726 h 6689084"/>
              <a:gd name="connsiteX3748" fmla="*/ 615786 w 6689088"/>
              <a:gd name="connsiteY3748" fmla="*/ 537360 h 6689084"/>
              <a:gd name="connsiteX3749" fmla="*/ 616148 w 6689088"/>
              <a:gd name="connsiteY3749" fmla="*/ 536998 h 6689084"/>
              <a:gd name="connsiteX3750" fmla="*/ 462205 w 6689088"/>
              <a:gd name="connsiteY3750" fmla="*/ 536636 h 6689084"/>
              <a:gd name="connsiteX3751" fmla="*/ 462929 w 6689088"/>
              <a:gd name="connsiteY3751" fmla="*/ 537364 h 6689084"/>
              <a:gd name="connsiteX3752" fmla="*/ 462205 w 6689088"/>
              <a:gd name="connsiteY3752" fmla="*/ 538088 h 6689084"/>
              <a:gd name="connsiteX3753" fmla="*/ 461476 w 6689088"/>
              <a:gd name="connsiteY3753" fmla="*/ 537364 h 6689084"/>
              <a:gd name="connsiteX3754" fmla="*/ 462205 w 6689088"/>
              <a:gd name="connsiteY3754" fmla="*/ 536636 h 6689084"/>
              <a:gd name="connsiteX3755" fmla="*/ 1384799 w 6689088"/>
              <a:gd name="connsiteY3755" fmla="*/ 535911 h 6689084"/>
              <a:gd name="connsiteX3756" fmla="*/ 1386251 w 6689088"/>
              <a:gd name="connsiteY3756" fmla="*/ 537364 h 6689084"/>
              <a:gd name="connsiteX3757" fmla="*/ 1384799 w 6689088"/>
              <a:gd name="connsiteY3757" fmla="*/ 538816 h 6689084"/>
              <a:gd name="connsiteX3758" fmla="*/ 1383346 w 6689088"/>
              <a:gd name="connsiteY3758" fmla="*/ 537364 h 6689084"/>
              <a:gd name="connsiteX3759" fmla="*/ 1384799 w 6689088"/>
              <a:gd name="connsiteY3759" fmla="*/ 535911 h 6689084"/>
              <a:gd name="connsiteX3760" fmla="*/ 308257 w 6689088"/>
              <a:gd name="connsiteY3760" fmla="*/ 535545 h 6689084"/>
              <a:gd name="connsiteX3761" fmla="*/ 309710 w 6689088"/>
              <a:gd name="connsiteY3761" fmla="*/ 536998 h 6689084"/>
              <a:gd name="connsiteX3762" fmla="*/ 309634 w 6689088"/>
              <a:gd name="connsiteY3762" fmla="*/ 537073 h 6689084"/>
              <a:gd name="connsiteX3763" fmla="*/ 308175 w 6689088"/>
              <a:gd name="connsiteY3763" fmla="*/ 535627 h 6689084"/>
              <a:gd name="connsiteX3764" fmla="*/ 1538750 w 6689088"/>
              <a:gd name="connsiteY3764" fmla="*/ 535183 h 6689084"/>
              <a:gd name="connsiteX3765" fmla="*/ 1540927 w 6689088"/>
              <a:gd name="connsiteY3765" fmla="*/ 537364 h 6689084"/>
              <a:gd name="connsiteX3766" fmla="*/ 1538750 w 6689088"/>
              <a:gd name="connsiteY3766" fmla="*/ 539540 h 6689084"/>
              <a:gd name="connsiteX3767" fmla="*/ 1536570 w 6689088"/>
              <a:gd name="connsiteY3767" fmla="*/ 537364 h 6689084"/>
              <a:gd name="connsiteX3768" fmla="*/ 1538750 w 6689088"/>
              <a:gd name="connsiteY3768" fmla="*/ 535183 h 6689084"/>
              <a:gd name="connsiteX3769" fmla="*/ 1692328 w 6689088"/>
              <a:gd name="connsiteY3769" fmla="*/ 534093 h 6689084"/>
              <a:gd name="connsiteX3770" fmla="*/ 1695594 w 6689088"/>
              <a:gd name="connsiteY3770" fmla="*/ 537360 h 6689084"/>
              <a:gd name="connsiteX3771" fmla="*/ 1692328 w 6689088"/>
              <a:gd name="connsiteY3771" fmla="*/ 540630 h 6689084"/>
              <a:gd name="connsiteX3772" fmla="*/ 1689061 w 6689088"/>
              <a:gd name="connsiteY3772" fmla="*/ 537360 h 6689084"/>
              <a:gd name="connsiteX3773" fmla="*/ 1692328 w 6689088"/>
              <a:gd name="connsiteY3773" fmla="*/ 534093 h 6689084"/>
              <a:gd name="connsiteX3774" fmla="*/ 1846279 w 6689088"/>
              <a:gd name="connsiteY3774" fmla="*/ 532641 h 6689084"/>
              <a:gd name="connsiteX3775" fmla="*/ 1850636 w 6689088"/>
              <a:gd name="connsiteY3775" fmla="*/ 536998 h 6689084"/>
              <a:gd name="connsiteX3776" fmla="*/ 1846279 w 6689088"/>
              <a:gd name="connsiteY3776" fmla="*/ 541355 h 6689084"/>
              <a:gd name="connsiteX3777" fmla="*/ 1841922 w 6689088"/>
              <a:gd name="connsiteY3777" fmla="*/ 536998 h 6689084"/>
              <a:gd name="connsiteX3778" fmla="*/ 1846279 w 6689088"/>
              <a:gd name="connsiteY3778" fmla="*/ 532641 h 6689084"/>
              <a:gd name="connsiteX3779" fmla="*/ 1999860 w 6689088"/>
              <a:gd name="connsiteY3779" fmla="*/ 531554 h 6689084"/>
              <a:gd name="connsiteX3780" fmla="*/ 2005670 w 6689088"/>
              <a:gd name="connsiteY3780" fmla="*/ 537364 h 6689084"/>
              <a:gd name="connsiteX3781" fmla="*/ 1999860 w 6689088"/>
              <a:gd name="connsiteY3781" fmla="*/ 543173 h 6689084"/>
              <a:gd name="connsiteX3782" fmla="*/ 1994051 w 6689088"/>
              <a:gd name="connsiteY3782" fmla="*/ 537364 h 6689084"/>
              <a:gd name="connsiteX3783" fmla="*/ 1999860 w 6689088"/>
              <a:gd name="connsiteY3783" fmla="*/ 531554 h 6689084"/>
              <a:gd name="connsiteX3784" fmla="*/ 2153808 w 6689088"/>
              <a:gd name="connsiteY3784" fmla="*/ 530102 h 6689084"/>
              <a:gd name="connsiteX3785" fmla="*/ 2161069 w 6689088"/>
              <a:gd name="connsiteY3785" fmla="*/ 537364 h 6689084"/>
              <a:gd name="connsiteX3786" fmla="*/ 2153808 w 6689088"/>
              <a:gd name="connsiteY3786" fmla="*/ 544625 h 6689084"/>
              <a:gd name="connsiteX3787" fmla="*/ 2146546 w 6689088"/>
              <a:gd name="connsiteY3787" fmla="*/ 537364 h 6689084"/>
              <a:gd name="connsiteX3788" fmla="*/ 2153808 w 6689088"/>
              <a:gd name="connsiteY3788" fmla="*/ 530102 h 6689084"/>
              <a:gd name="connsiteX3789" fmla="*/ 2307393 w 6689088"/>
              <a:gd name="connsiteY3789" fmla="*/ 527922 h 6689084"/>
              <a:gd name="connsiteX3790" fmla="*/ 2316473 w 6689088"/>
              <a:gd name="connsiteY3790" fmla="*/ 536998 h 6689084"/>
              <a:gd name="connsiteX3791" fmla="*/ 2307393 w 6689088"/>
              <a:gd name="connsiteY3791" fmla="*/ 546078 h 6689084"/>
              <a:gd name="connsiteX3792" fmla="*/ 2298317 w 6689088"/>
              <a:gd name="connsiteY3792" fmla="*/ 536998 h 6689084"/>
              <a:gd name="connsiteX3793" fmla="*/ 2307393 w 6689088"/>
              <a:gd name="connsiteY3793" fmla="*/ 527922 h 6689084"/>
              <a:gd name="connsiteX3794" fmla="*/ 2461340 w 6689088"/>
              <a:gd name="connsiteY3794" fmla="*/ 527197 h 6689084"/>
              <a:gd name="connsiteX3795" fmla="*/ 2471507 w 6689088"/>
              <a:gd name="connsiteY3795" fmla="*/ 537364 h 6689084"/>
              <a:gd name="connsiteX3796" fmla="*/ 2461340 w 6689088"/>
              <a:gd name="connsiteY3796" fmla="*/ 547530 h 6689084"/>
              <a:gd name="connsiteX3797" fmla="*/ 2451174 w 6689088"/>
              <a:gd name="connsiteY3797" fmla="*/ 537364 h 6689084"/>
              <a:gd name="connsiteX3798" fmla="*/ 2461340 w 6689088"/>
              <a:gd name="connsiteY3798" fmla="*/ 527197 h 6689084"/>
              <a:gd name="connsiteX3799" fmla="*/ 2614925 w 6689088"/>
              <a:gd name="connsiteY3799" fmla="*/ 525379 h 6689084"/>
              <a:gd name="connsiteX3800" fmla="*/ 2626910 w 6689088"/>
              <a:gd name="connsiteY3800" fmla="*/ 537360 h 6689084"/>
              <a:gd name="connsiteX3801" fmla="*/ 2614925 w 6689088"/>
              <a:gd name="connsiteY3801" fmla="*/ 549341 h 6689084"/>
              <a:gd name="connsiteX3802" fmla="*/ 2602945 w 6689088"/>
              <a:gd name="connsiteY3802" fmla="*/ 537360 h 6689084"/>
              <a:gd name="connsiteX3803" fmla="*/ 2614925 w 6689088"/>
              <a:gd name="connsiteY3803" fmla="*/ 525379 h 6689084"/>
              <a:gd name="connsiteX3804" fmla="*/ 2768877 w 6689088"/>
              <a:gd name="connsiteY3804" fmla="*/ 523202 h 6689084"/>
              <a:gd name="connsiteX3805" fmla="*/ 2782672 w 6689088"/>
              <a:gd name="connsiteY3805" fmla="*/ 537002 h 6689084"/>
              <a:gd name="connsiteX3806" fmla="*/ 2768877 w 6689088"/>
              <a:gd name="connsiteY3806" fmla="*/ 550797 h 6689084"/>
              <a:gd name="connsiteX3807" fmla="*/ 2755078 w 6689088"/>
              <a:gd name="connsiteY3807" fmla="*/ 537002 h 6689084"/>
              <a:gd name="connsiteX3808" fmla="*/ 2768877 w 6689088"/>
              <a:gd name="connsiteY3808" fmla="*/ 523202 h 6689084"/>
              <a:gd name="connsiteX3809" fmla="*/ 2922454 w 6689088"/>
              <a:gd name="connsiteY3809" fmla="*/ 522112 h 6689084"/>
              <a:gd name="connsiteX3810" fmla="*/ 2937706 w 6689088"/>
              <a:gd name="connsiteY3810" fmla="*/ 537364 h 6689084"/>
              <a:gd name="connsiteX3811" fmla="*/ 2922454 w 6689088"/>
              <a:gd name="connsiteY3811" fmla="*/ 552611 h 6689084"/>
              <a:gd name="connsiteX3812" fmla="*/ 2907207 w 6689088"/>
              <a:gd name="connsiteY3812" fmla="*/ 537364 h 6689084"/>
              <a:gd name="connsiteX3813" fmla="*/ 2922454 w 6689088"/>
              <a:gd name="connsiteY3813" fmla="*/ 522112 h 6689084"/>
              <a:gd name="connsiteX3814" fmla="*/ 3076406 w 6689088"/>
              <a:gd name="connsiteY3814" fmla="*/ 520298 h 6689084"/>
              <a:gd name="connsiteX3815" fmla="*/ 3093468 w 6689088"/>
              <a:gd name="connsiteY3815" fmla="*/ 537364 h 6689084"/>
              <a:gd name="connsiteX3816" fmla="*/ 3076406 w 6689088"/>
              <a:gd name="connsiteY3816" fmla="*/ 554430 h 6689084"/>
              <a:gd name="connsiteX3817" fmla="*/ 3059340 w 6689088"/>
              <a:gd name="connsiteY3817" fmla="*/ 537364 h 6689084"/>
              <a:gd name="connsiteX3818" fmla="*/ 3076406 w 6689088"/>
              <a:gd name="connsiteY3818" fmla="*/ 520298 h 6689084"/>
              <a:gd name="connsiteX3819" fmla="*/ 3230353 w 6689088"/>
              <a:gd name="connsiteY3819" fmla="*/ 518117 h 6689084"/>
              <a:gd name="connsiteX3820" fmla="*/ 3249599 w 6689088"/>
              <a:gd name="connsiteY3820" fmla="*/ 537360 h 6689084"/>
              <a:gd name="connsiteX3821" fmla="*/ 3230353 w 6689088"/>
              <a:gd name="connsiteY3821" fmla="*/ 556602 h 6689084"/>
              <a:gd name="connsiteX3822" fmla="*/ 3211110 w 6689088"/>
              <a:gd name="connsiteY3822" fmla="*/ 537360 h 6689084"/>
              <a:gd name="connsiteX3823" fmla="*/ 3230353 w 6689088"/>
              <a:gd name="connsiteY3823" fmla="*/ 518117 h 6689084"/>
              <a:gd name="connsiteX3824" fmla="*/ 3383938 w 6689088"/>
              <a:gd name="connsiteY3824" fmla="*/ 515941 h 6689084"/>
              <a:gd name="connsiteX3825" fmla="*/ 3405361 w 6689088"/>
              <a:gd name="connsiteY3825" fmla="*/ 537364 h 6689084"/>
              <a:gd name="connsiteX3826" fmla="*/ 3383938 w 6689088"/>
              <a:gd name="connsiteY3826" fmla="*/ 558787 h 6689084"/>
              <a:gd name="connsiteX3827" fmla="*/ 3362515 w 6689088"/>
              <a:gd name="connsiteY3827" fmla="*/ 537364 h 6689084"/>
              <a:gd name="connsiteX3828" fmla="*/ 3383938 w 6689088"/>
              <a:gd name="connsiteY3828" fmla="*/ 515941 h 6689084"/>
              <a:gd name="connsiteX3829" fmla="*/ 3537886 w 6689088"/>
              <a:gd name="connsiteY3829" fmla="*/ 514489 h 6689084"/>
              <a:gd name="connsiteX3830" fmla="*/ 3560761 w 6689088"/>
              <a:gd name="connsiteY3830" fmla="*/ 537364 h 6689084"/>
              <a:gd name="connsiteX3831" fmla="*/ 3537886 w 6689088"/>
              <a:gd name="connsiteY3831" fmla="*/ 560239 h 6689084"/>
              <a:gd name="connsiteX3832" fmla="*/ 3515010 w 6689088"/>
              <a:gd name="connsiteY3832" fmla="*/ 537364 h 6689084"/>
              <a:gd name="connsiteX3833" fmla="*/ 3537886 w 6689088"/>
              <a:gd name="connsiteY3833" fmla="*/ 514489 h 6689084"/>
              <a:gd name="connsiteX3834" fmla="*/ 3691467 w 6689088"/>
              <a:gd name="connsiteY3834" fmla="*/ 512308 h 6689084"/>
              <a:gd name="connsiteX3835" fmla="*/ 3716519 w 6689088"/>
              <a:gd name="connsiteY3835" fmla="*/ 537360 h 6689084"/>
              <a:gd name="connsiteX3836" fmla="*/ 3691467 w 6689088"/>
              <a:gd name="connsiteY3836" fmla="*/ 562412 h 6689084"/>
              <a:gd name="connsiteX3837" fmla="*/ 3666415 w 6689088"/>
              <a:gd name="connsiteY3837" fmla="*/ 537360 h 6689084"/>
              <a:gd name="connsiteX3838" fmla="*/ 3691467 w 6689088"/>
              <a:gd name="connsiteY3838" fmla="*/ 512308 h 6689084"/>
              <a:gd name="connsiteX3839" fmla="*/ 3845418 w 6689088"/>
              <a:gd name="connsiteY3839" fmla="*/ 510131 h 6689084"/>
              <a:gd name="connsiteX3840" fmla="*/ 3872650 w 6689088"/>
              <a:gd name="connsiteY3840" fmla="*/ 537364 h 6689084"/>
              <a:gd name="connsiteX3841" fmla="*/ 3845418 w 6689088"/>
              <a:gd name="connsiteY3841" fmla="*/ 564596 h 6689084"/>
              <a:gd name="connsiteX3842" fmla="*/ 3818186 w 6689088"/>
              <a:gd name="connsiteY3842" fmla="*/ 537364 h 6689084"/>
              <a:gd name="connsiteX3843" fmla="*/ 3845418 w 6689088"/>
              <a:gd name="connsiteY3843" fmla="*/ 510131 h 6689084"/>
              <a:gd name="connsiteX3844" fmla="*/ 3999000 w 6689088"/>
              <a:gd name="connsiteY3844" fmla="*/ 507589 h 6689084"/>
              <a:gd name="connsiteX3845" fmla="*/ 4028774 w 6689088"/>
              <a:gd name="connsiteY3845" fmla="*/ 537364 h 6689084"/>
              <a:gd name="connsiteX3846" fmla="*/ 3999000 w 6689088"/>
              <a:gd name="connsiteY3846" fmla="*/ 567135 h 6689084"/>
              <a:gd name="connsiteX3847" fmla="*/ 3969229 w 6689088"/>
              <a:gd name="connsiteY3847" fmla="*/ 537364 h 6689084"/>
              <a:gd name="connsiteX3848" fmla="*/ 3999000 w 6689088"/>
              <a:gd name="connsiteY3848" fmla="*/ 507589 h 6689084"/>
              <a:gd name="connsiteX3849" fmla="*/ 4152947 w 6689088"/>
              <a:gd name="connsiteY3849" fmla="*/ 505412 h 6689084"/>
              <a:gd name="connsiteX3850" fmla="*/ 4184898 w 6689088"/>
              <a:gd name="connsiteY3850" fmla="*/ 537364 h 6689084"/>
              <a:gd name="connsiteX3851" fmla="*/ 4152947 w 6689088"/>
              <a:gd name="connsiteY3851" fmla="*/ 569315 h 6689084"/>
              <a:gd name="connsiteX3852" fmla="*/ 4120996 w 6689088"/>
              <a:gd name="connsiteY3852" fmla="*/ 537364 h 6689084"/>
              <a:gd name="connsiteX3853" fmla="*/ 4152947 w 6689088"/>
              <a:gd name="connsiteY3853" fmla="*/ 505412 h 6689084"/>
              <a:gd name="connsiteX3854" fmla="*/ 4306532 w 6689088"/>
              <a:gd name="connsiteY3854" fmla="*/ 503594 h 6689084"/>
              <a:gd name="connsiteX3855" fmla="*/ 4340302 w 6689088"/>
              <a:gd name="connsiteY3855" fmla="*/ 537360 h 6689084"/>
              <a:gd name="connsiteX3856" fmla="*/ 4306532 w 6689088"/>
              <a:gd name="connsiteY3856" fmla="*/ 571130 h 6689084"/>
              <a:gd name="connsiteX3857" fmla="*/ 4272766 w 6689088"/>
              <a:gd name="connsiteY3857" fmla="*/ 537360 h 6689084"/>
              <a:gd name="connsiteX3858" fmla="*/ 4306532 w 6689088"/>
              <a:gd name="connsiteY3858" fmla="*/ 503594 h 6689084"/>
              <a:gd name="connsiteX3859" fmla="*/ 4460480 w 6689088"/>
              <a:gd name="connsiteY3859" fmla="*/ 500689 h 6689084"/>
              <a:gd name="connsiteX3860" fmla="*/ 4496788 w 6689088"/>
              <a:gd name="connsiteY3860" fmla="*/ 536998 h 6689084"/>
              <a:gd name="connsiteX3861" fmla="*/ 4460480 w 6689088"/>
              <a:gd name="connsiteY3861" fmla="*/ 573306 h 6689084"/>
              <a:gd name="connsiteX3862" fmla="*/ 4424172 w 6689088"/>
              <a:gd name="connsiteY3862" fmla="*/ 536998 h 6689084"/>
              <a:gd name="connsiteX3863" fmla="*/ 4460480 w 6689088"/>
              <a:gd name="connsiteY3863" fmla="*/ 500689 h 6689084"/>
              <a:gd name="connsiteX3864" fmla="*/ 4614065 w 6689088"/>
              <a:gd name="connsiteY3864" fmla="*/ 498513 h 6689084"/>
              <a:gd name="connsiteX3865" fmla="*/ 4652912 w 6689088"/>
              <a:gd name="connsiteY3865" fmla="*/ 537364 h 6689084"/>
              <a:gd name="connsiteX3866" fmla="*/ 4614065 w 6689088"/>
              <a:gd name="connsiteY3866" fmla="*/ 576215 h 6689084"/>
              <a:gd name="connsiteX3867" fmla="*/ 4575214 w 6689088"/>
              <a:gd name="connsiteY3867" fmla="*/ 537364 h 6689084"/>
              <a:gd name="connsiteX3868" fmla="*/ 4614065 w 6689088"/>
              <a:gd name="connsiteY3868" fmla="*/ 498513 h 6689084"/>
              <a:gd name="connsiteX3869" fmla="*/ 4768008 w 6689088"/>
              <a:gd name="connsiteY3869" fmla="*/ 495970 h 6689084"/>
              <a:gd name="connsiteX3870" fmla="*/ 4809036 w 6689088"/>
              <a:gd name="connsiteY3870" fmla="*/ 536998 h 6689084"/>
              <a:gd name="connsiteX3871" fmla="*/ 4768008 w 6689088"/>
              <a:gd name="connsiteY3871" fmla="*/ 578029 h 6689084"/>
              <a:gd name="connsiteX3872" fmla="*/ 4726981 w 6689088"/>
              <a:gd name="connsiteY3872" fmla="*/ 536998 h 6689084"/>
              <a:gd name="connsiteX3873" fmla="*/ 4768008 w 6689088"/>
              <a:gd name="connsiteY3873" fmla="*/ 495970 h 6689084"/>
              <a:gd name="connsiteX3874" fmla="*/ 4921594 w 6689088"/>
              <a:gd name="connsiteY3874" fmla="*/ 493428 h 6689084"/>
              <a:gd name="connsiteX3875" fmla="*/ 4965164 w 6689088"/>
              <a:gd name="connsiteY3875" fmla="*/ 536998 h 6689084"/>
              <a:gd name="connsiteX3876" fmla="*/ 4921594 w 6689088"/>
              <a:gd name="connsiteY3876" fmla="*/ 580568 h 6689084"/>
              <a:gd name="connsiteX3877" fmla="*/ 4878024 w 6689088"/>
              <a:gd name="connsiteY3877" fmla="*/ 536998 h 6689084"/>
              <a:gd name="connsiteX3878" fmla="*/ 4921594 w 6689088"/>
              <a:gd name="connsiteY3878" fmla="*/ 493428 h 6689084"/>
              <a:gd name="connsiteX3879" fmla="*/ 5075541 w 6689088"/>
              <a:gd name="connsiteY3879" fmla="*/ 490889 h 6689084"/>
              <a:gd name="connsiteX3880" fmla="*/ 5121654 w 6689088"/>
              <a:gd name="connsiteY3880" fmla="*/ 537002 h 6689084"/>
              <a:gd name="connsiteX3881" fmla="*/ 5075541 w 6689088"/>
              <a:gd name="connsiteY3881" fmla="*/ 583110 h 6689084"/>
              <a:gd name="connsiteX3882" fmla="*/ 5029428 w 6689088"/>
              <a:gd name="connsiteY3882" fmla="*/ 537002 h 6689084"/>
              <a:gd name="connsiteX3883" fmla="*/ 5075541 w 6689088"/>
              <a:gd name="connsiteY3883" fmla="*/ 490889 h 6689084"/>
              <a:gd name="connsiteX3884" fmla="*/ 5229122 w 6689088"/>
              <a:gd name="connsiteY3884" fmla="*/ 488709 h 6689084"/>
              <a:gd name="connsiteX3885" fmla="*/ 5277778 w 6689088"/>
              <a:gd name="connsiteY3885" fmla="*/ 537364 h 6689084"/>
              <a:gd name="connsiteX3886" fmla="*/ 5229122 w 6689088"/>
              <a:gd name="connsiteY3886" fmla="*/ 586015 h 6689084"/>
              <a:gd name="connsiteX3887" fmla="*/ 5180472 w 6689088"/>
              <a:gd name="connsiteY3887" fmla="*/ 537364 h 6689084"/>
              <a:gd name="connsiteX3888" fmla="*/ 5229122 w 6689088"/>
              <a:gd name="connsiteY3888" fmla="*/ 488709 h 6689084"/>
              <a:gd name="connsiteX3889" fmla="*/ 5383074 w 6689088"/>
              <a:gd name="connsiteY3889" fmla="*/ 486166 h 6689084"/>
              <a:gd name="connsiteX3890" fmla="*/ 5434268 w 6689088"/>
              <a:gd name="connsiteY3890" fmla="*/ 537360 h 6689084"/>
              <a:gd name="connsiteX3891" fmla="*/ 5383074 w 6689088"/>
              <a:gd name="connsiteY3891" fmla="*/ 588554 h 6689084"/>
              <a:gd name="connsiteX3892" fmla="*/ 5331880 w 6689088"/>
              <a:gd name="connsiteY3892" fmla="*/ 537360 h 6689084"/>
              <a:gd name="connsiteX3893" fmla="*/ 5383074 w 6689088"/>
              <a:gd name="connsiteY3893" fmla="*/ 486166 h 6689084"/>
              <a:gd name="connsiteX3894" fmla="*/ 5536659 w 6689088"/>
              <a:gd name="connsiteY3894" fmla="*/ 483624 h 6689084"/>
              <a:gd name="connsiteX3895" fmla="*/ 5590034 w 6689088"/>
              <a:gd name="connsiteY3895" fmla="*/ 536998 h 6689084"/>
              <a:gd name="connsiteX3896" fmla="*/ 5536659 w 6689088"/>
              <a:gd name="connsiteY3896" fmla="*/ 590372 h 6689084"/>
              <a:gd name="connsiteX3897" fmla="*/ 5483285 w 6689088"/>
              <a:gd name="connsiteY3897" fmla="*/ 536998 h 6689084"/>
              <a:gd name="connsiteX3898" fmla="*/ 5536659 w 6689088"/>
              <a:gd name="connsiteY3898" fmla="*/ 483624 h 6689084"/>
              <a:gd name="connsiteX3899" fmla="*/ 5690606 w 6689088"/>
              <a:gd name="connsiteY3899" fmla="*/ 481085 h 6689084"/>
              <a:gd name="connsiteX3900" fmla="*/ 5746882 w 6689088"/>
              <a:gd name="connsiteY3900" fmla="*/ 537364 h 6689084"/>
              <a:gd name="connsiteX3901" fmla="*/ 5690606 w 6689088"/>
              <a:gd name="connsiteY3901" fmla="*/ 593643 h 6689084"/>
              <a:gd name="connsiteX3902" fmla="*/ 5634328 w 6689088"/>
              <a:gd name="connsiteY3902" fmla="*/ 537364 h 6689084"/>
              <a:gd name="connsiteX3903" fmla="*/ 5690606 w 6689088"/>
              <a:gd name="connsiteY3903" fmla="*/ 481085 h 6689084"/>
              <a:gd name="connsiteX3904" fmla="*/ 5844554 w 6689088"/>
              <a:gd name="connsiteY3904" fmla="*/ 478542 h 6689084"/>
              <a:gd name="connsiteX3905" fmla="*/ 5903372 w 6689088"/>
              <a:gd name="connsiteY3905" fmla="*/ 537364 h 6689084"/>
              <a:gd name="connsiteX3906" fmla="*/ 5844554 w 6689088"/>
              <a:gd name="connsiteY3906" fmla="*/ 596181 h 6689084"/>
              <a:gd name="connsiteX3907" fmla="*/ 5785732 w 6689088"/>
              <a:gd name="connsiteY3907" fmla="*/ 537364 h 6689084"/>
              <a:gd name="connsiteX3908" fmla="*/ 5844554 w 6689088"/>
              <a:gd name="connsiteY3908" fmla="*/ 478542 h 6689084"/>
              <a:gd name="connsiteX3909" fmla="*/ 5998136 w 6689088"/>
              <a:gd name="connsiteY3909" fmla="*/ 475638 h 6689084"/>
              <a:gd name="connsiteX3910" fmla="*/ 6059862 w 6689088"/>
              <a:gd name="connsiteY3910" fmla="*/ 537364 h 6689084"/>
              <a:gd name="connsiteX3911" fmla="*/ 5998136 w 6689088"/>
              <a:gd name="connsiteY3911" fmla="*/ 599086 h 6689084"/>
              <a:gd name="connsiteX3912" fmla="*/ 5936413 w 6689088"/>
              <a:gd name="connsiteY3912" fmla="*/ 537364 h 6689084"/>
              <a:gd name="connsiteX3913" fmla="*/ 5998136 w 6689088"/>
              <a:gd name="connsiteY3913" fmla="*/ 475638 h 6689084"/>
              <a:gd name="connsiteX3914" fmla="*/ 6152083 w 6689088"/>
              <a:gd name="connsiteY3914" fmla="*/ 473095 h 6689084"/>
              <a:gd name="connsiteX3915" fmla="*/ 6216348 w 6689088"/>
              <a:gd name="connsiteY3915" fmla="*/ 537360 h 6689084"/>
              <a:gd name="connsiteX3916" fmla="*/ 6152083 w 6689088"/>
              <a:gd name="connsiteY3916" fmla="*/ 601625 h 6689084"/>
              <a:gd name="connsiteX3917" fmla="*/ 6087818 w 6689088"/>
              <a:gd name="connsiteY3917" fmla="*/ 537360 h 6689084"/>
              <a:gd name="connsiteX3918" fmla="*/ 6152083 w 6689088"/>
              <a:gd name="connsiteY3918" fmla="*/ 473095 h 6689084"/>
              <a:gd name="connsiteX3919" fmla="*/ 6305672 w 6689088"/>
              <a:gd name="connsiteY3919" fmla="*/ 469828 h 6689084"/>
              <a:gd name="connsiteX3920" fmla="*/ 6373204 w 6689088"/>
              <a:gd name="connsiteY3920" fmla="*/ 537364 h 6689084"/>
              <a:gd name="connsiteX3921" fmla="*/ 6305672 w 6689088"/>
              <a:gd name="connsiteY3921" fmla="*/ 604895 h 6689084"/>
              <a:gd name="connsiteX3922" fmla="*/ 6238136 w 6689088"/>
              <a:gd name="connsiteY3922" fmla="*/ 537364 h 6689084"/>
              <a:gd name="connsiteX3923" fmla="*/ 6305672 w 6689088"/>
              <a:gd name="connsiteY3923" fmla="*/ 469828 h 6689084"/>
              <a:gd name="connsiteX3924" fmla="*/ 6459616 w 6689088"/>
              <a:gd name="connsiteY3924" fmla="*/ 467286 h 6689084"/>
              <a:gd name="connsiteX3925" fmla="*/ 6529694 w 6689088"/>
              <a:gd name="connsiteY3925" fmla="*/ 537360 h 6689084"/>
              <a:gd name="connsiteX3926" fmla="*/ 6459616 w 6689088"/>
              <a:gd name="connsiteY3926" fmla="*/ 607434 h 6689084"/>
              <a:gd name="connsiteX3927" fmla="*/ 6389542 w 6689088"/>
              <a:gd name="connsiteY3927" fmla="*/ 537360 h 6689084"/>
              <a:gd name="connsiteX3928" fmla="*/ 6459616 w 6689088"/>
              <a:gd name="connsiteY3928" fmla="*/ 467286 h 6689084"/>
              <a:gd name="connsiteX3929" fmla="*/ 6613200 w 6689088"/>
              <a:gd name="connsiteY3929" fmla="*/ 464381 h 6689084"/>
              <a:gd name="connsiteX3930" fmla="*/ 6686180 w 6689088"/>
              <a:gd name="connsiteY3930" fmla="*/ 537360 h 6689084"/>
              <a:gd name="connsiteX3931" fmla="*/ 6613200 w 6689088"/>
              <a:gd name="connsiteY3931" fmla="*/ 610339 h 6689084"/>
              <a:gd name="connsiteX3932" fmla="*/ 6540222 w 6689088"/>
              <a:gd name="connsiteY3932" fmla="*/ 537360 h 6689084"/>
              <a:gd name="connsiteX3933" fmla="*/ 6613200 w 6689088"/>
              <a:gd name="connsiteY3933" fmla="*/ 464381 h 6689084"/>
              <a:gd name="connsiteX3934" fmla="*/ 1077266 w 6689088"/>
              <a:gd name="connsiteY3934" fmla="*/ 383050 h 6689084"/>
              <a:gd name="connsiteX3935" fmla="*/ 1077628 w 6689088"/>
              <a:gd name="connsiteY3935" fmla="*/ 383412 h 6689084"/>
              <a:gd name="connsiteX3936" fmla="*/ 1077266 w 6689088"/>
              <a:gd name="connsiteY3936" fmla="*/ 383778 h 6689084"/>
              <a:gd name="connsiteX3937" fmla="*/ 1076904 w 6689088"/>
              <a:gd name="connsiteY3937" fmla="*/ 383412 h 6689084"/>
              <a:gd name="connsiteX3938" fmla="*/ 1077266 w 6689088"/>
              <a:gd name="connsiteY3938" fmla="*/ 383050 h 6689084"/>
              <a:gd name="connsiteX3939" fmla="*/ 616148 w 6689088"/>
              <a:gd name="connsiteY3939" fmla="*/ 383050 h 6689084"/>
              <a:gd name="connsiteX3940" fmla="*/ 616514 w 6689088"/>
              <a:gd name="connsiteY3940" fmla="*/ 383412 h 6689084"/>
              <a:gd name="connsiteX3941" fmla="*/ 616148 w 6689088"/>
              <a:gd name="connsiteY3941" fmla="*/ 383775 h 6689084"/>
              <a:gd name="connsiteX3942" fmla="*/ 615786 w 6689088"/>
              <a:gd name="connsiteY3942" fmla="*/ 383412 h 6689084"/>
              <a:gd name="connsiteX3943" fmla="*/ 616148 w 6689088"/>
              <a:gd name="connsiteY3943" fmla="*/ 383050 h 6689084"/>
              <a:gd name="connsiteX3944" fmla="*/ 462205 w 6689088"/>
              <a:gd name="connsiteY3944" fmla="*/ 383050 h 6689084"/>
              <a:gd name="connsiteX3945" fmla="*/ 462567 w 6689088"/>
              <a:gd name="connsiteY3945" fmla="*/ 383412 h 6689084"/>
              <a:gd name="connsiteX3946" fmla="*/ 462205 w 6689088"/>
              <a:gd name="connsiteY3946" fmla="*/ 383775 h 6689084"/>
              <a:gd name="connsiteX3947" fmla="*/ 461842 w 6689088"/>
              <a:gd name="connsiteY3947" fmla="*/ 383412 h 6689084"/>
              <a:gd name="connsiteX3948" fmla="*/ 462205 w 6689088"/>
              <a:gd name="connsiteY3948" fmla="*/ 383050 h 6689084"/>
              <a:gd name="connsiteX3949" fmla="*/ 308623 w 6689088"/>
              <a:gd name="connsiteY3949" fmla="*/ 382688 h 6689084"/>
              <a:gd name="connsiteX3950" fmla="*/ 309347 w 6689088"/>
              <a:gd name="connsiteY3950" fmla="*/ 383416 h 6689084"/>
              <a:gd name="connsiteX3951" fmla="*/ 308623 w 6689088"/>
              <a:gd name="connsiteY3951" fmla="*/ 384141 h 6689084"/>
              <a:gd name="connsiteX3952" fmla="*/ 307895 w 6689088"/>
              <a:gd name="connsiteY3952" fmla="*/ 383416 h 6689084"/>
              <a:gd name="connsiteX3953" fmla="*/ 308623 w 6689088"/>
              <a:gd name="connsiteY3953" fmla="*/ 382688 h 6689084"/>
              <a:gd name="connsiteX3954" fmla="*/ 1231213 w 6689088"/>
              <a:gd name="connsiteY3954" fmla="*/ 381964 h 6689084"/>
              <a:gd name="connsiteX3955" fmla="*/ 1232666 w 6689088"/>
              <a:gd name="connsiteY3955" fmla="*/ 383416 h 6689084"/>
              <a:gd name="connsiteX3956" fmla="*/ 1231213 w 6689088"/>
              <a:gd name="connsiteY3956" fmla="*/ 384869 h 6689084"/>
              <a:gd name="connsiteX3957" fmla="*/ 1229761 w 6689088"/>
              <a:gd name="connsiteY3957" fmla="*/ 383416 h 6689084"/>
              <a:gd name="connsiteX3958" fmla="*/ 1231213 w 6689088"/>
              <a:gd name="connsiteY3958" fmla="*/ 381964 h 6689084"/>
              <a:gd name="connsiteX3959" fmla="*/ 154672 w 6689088"/>
              <a:gd name="connsiteY3959" fmla="*/ 381964 h 6689084"/>
              <a:gd name="connsiteX3960" fmla="*/ 156124 w 6689088"/>
              <a:gd name="connsiteY3960" fmla="*/ 383416 h 6689084"/>
              <a:gd name="connsiteX3961" fmla="*/ 155343 w 6689088"/>
              <a:gd name="connsiteY3961" fmla="*/ 384197 h 6689084"/>
              <a:gd name="connsiteX3962" fmla="*/ 153884 w 6689088"/>
              <a:gd name="connsiteY3962" fmla="*/ 382752 h 6689084"/>
              <a:gd name="connsiteX3963" fmla="*/ 1384799 w 6689088"/>
              <a:gd name="connsiteY3963" fmla="*/ 381236 h 6689084"/>
              <a:gd name="connsiteX3964" fmla="*/ 1386979 w 6689088"/>
              <a:gd name="connsiteY3964" fmla="*/ 383416 h 6689084"/>
              <a:gd name="connsiteX3965" fmla="*/ 1384799 w 6689088"/>
              <a:gd name="connsiteY3965" fmla="*/ 385593 h 6689084"/>
              <a:gd name="connsiteX3966" fmla="*/ 1382622 w 6689088"/>
              <a:gd name="connsiteY3966" fmla="*/ 383416 h 6689084"/>
              <a:gd name="connsiteX3967" fmla="*/ 1384799 w 6689088"/>
              <a:gd name="connsiteY3967" fmla="*/ 381236 h 6689084"/>
              <a:gd name="connsiteX3968" fmla="*/ 1538746 w 6689088"/>
              <a:gd name="connsiteY3968" fmla="*/ 380508 h 6689084"/>
              <a:gd name="connsiteX3969" fmla="*/ 1542013 w 6689088"/>
              <a:gd name="connsiteY3969" fmla="*/ 383775 h 6689084"/>
              <a:gd name="connsiteX3970" fmla="*/ 1538746 w 6689088"/>
              <a:gd name="connsiteY3970" fmla="*/ 387045 h 6689084"/>
              <a:gd name="connsiteX3971" fmla="*/ 1535479 w 6689088"/>
              <a:gd name="connsiteY3971" fmla="*/ 383775 h 6689084"/>
              <a:gd name="connsiteX3972" fmla="*/ 1538746 w 6689088"/>
              <a:gd name="connsiteY3972" fmla="*/ 380508 h 6689084"/>
              <a:gd name="connsiteX3973" fmla="*/ 1692331 w 6689088"/>
              <a:gd name="connsiteY3973" fmla="*/ 379055 h 6689084"/>
              <a:gd name="connsiteX3974" fmla="*/ 1696688 w 6689088"/>
              <a:gd name="connsiteY3974" fmla="*/ 383412 h 6689084"/>
              <a:gd name="connsiteX3975" fmla="*/ 1692331 w 6689088"/>
              <a:gd name="connsiteY3975" fmla="*/ 387770 h 6689084"/>
              <a:gd name="connsiteX3976" fmla="*/ 1687974 w 6689088"/>
              <a:gd name="connsiteY3976" fmla="*/ 383412 h 6689084"/>
              <a:gd name="connsiteX3977" fmla="*/ 1692331 w 6689088"/>
              <a:gd name="connsiteY3977" fmla="*/ 379055 h 6689084"/>
              <a:gd name="connsiteX3978" fmla="*/ 1846279 w 6689088"/>
              <a:gd name="connsiteY3978" fmla="*/ 377607 h 6689084"/>
              <a:gd name="connsiteX3979" fmla="*/ 1852088 w 6689088"/>
              <a:gd name="connsiteY3979" fmla="*/ 383416 h 6689084"/>
              <a:gd name="connsiteX3980" fmla="*/ 1846279 w 6689088"/>
              <a:gd name="connsiteY3980" fmla="*/ 389226 h 6689084"/>
              <a:gd name="connsiteX3981" fmla="*/ 1840469 w 6689088"/>
              <a:gd name="connsiteY3981" fmla="*/ 383416 h 6689084"/>
              <a:gd name="connsiteX3982" fmla="*/ 1846279 w 6689088"/>
              <a:gd name="connsiteY3982" fmla="*/ 377607 h 6689084"/>
              <a:gd name="connsiteX3983" fmla="*/ 1999864 w 6689088"/>
              <a:gd name="connsiteY3983" fmla="*/ 376151 h 6689084"/>
              <a:gd name="connsiteX3984" fmla="*/ 2007126 w 6689088"/>
              <a:gd name="connsiteY3984" fmla="*/ 383412 h 6689084"/>
              <a:gd name="connsiteX3985" fmla="*/ 1999864 w 6689088"/>
              <a:gd name="connsiteY3985" fmla="*/ 390674 h 6689084"/>
              <a:gd name="connsiteX3986" fmla="*/ 1992602 w 6689088"/>
              <a:gd name="connsiteY3986" fmla="*/ 383412 h 6689084"/>
              <a:gd name="connsiteX3987" fmla="*/ 1999864 w 6689088"/>
              <a:gd name="connsiteY3987" fmla="*/ 376151 h 6689084"/>
              <a:gd name="connsiteX3988" fmla="*/ 2153808 w 6689088"/>
              <a:gd name="connsiteY3988" fmla="*/ 374336 h 6689084"/>
              <a:gd name="connsiteX3989" fmla="*/ 2162888 w 6689088"/>
              <a:gd name="connsiteY3989" fmla="*/ 383412 h 6689084"/>
              <a:gd name="connsiteX3990" fmla="*/ 2153808 w 6689088"/>
              <a:gd name="connsiteY3990" fmla="*/ 392492 h 6689084"/>
              <a:gd name="connsiteX3991" fmla="*/ 2144731 w 6689088"/>
              <a:gd name="connsiteY3991" fmla="*/ 383412 h 6689084"/>
              <a:gd name="connsiteX3992" fmla="*/ 2153808 w 6689088"/>
              <a:gd name="connsiteY3992" fmla="*/ 374336 h 6689084"/>
              <a:gd name="connsiteX3993" fmla="*/ 2307393 w 6689088"/>
              <a:gd name="connsiteY3993" fmla="*/ 373246 h 6689084"/>
              <a:gd name="connsiteX3994" fmla="*/ 2317559 w 6689088"/>
              <a:gd name="connsiteY3994" fmla="*/ 383412 h 6689084"/>
              <a:gd name="connsiteX3995" fmla="*/ 2307393 w 6689088"/>
              <a:gd name="connsiteY3995" fmla="*/ 393579 h 6689084"/>
              <a:gd name="connsiteX3996" fmla="*/ 2297226 w 6689088"/>
              <a:gd name="connsiteY3996" fmla="*/ 383412 h 6689084"/>
              <a:gd name="connsiteX3997" fmla="*/ 2307393 w 6689088"/>
              <a:gd name="connsiteY3997" fmla="*/ 373246 h 6689084"/>
              <a:gd name="connsiteX3998" fmla="*/ 2461340 w 6689088"/>
              <a:gd name="connsiteY3998" fmla="*/ 371432 h 6689084"/>
              <a:gd name="connsiteX3999" fmla="*/ 2473325 w 6689088"/>
              <a:gd name="connsiteY3999" fmla="*/ 383412 h 6689084"/>
              <a:gd name="connsiteX4000" fmla="*/ 2461340 w 6689088"/>
              <a:gd name="connsiteY4000" fmla="*/ 395397 h 6689084"/>
              <a:gd name="connsiteX4001" fmla="*/ 2449359 w 6689088"/>
              <a:gd name="connsiteY4001" fmla="*/ 383412 h 6689084"/>
              <a:gd name="connsiteX4002" fmla="*/ 2461340 w 6689088"/>
              <a:gd name="connsiteY4002" fmla="*/ 371432 h 6689084"/>
              <a:gd name="connsiteX4003" fmla="*/ 2614925 w 6689088"/>
              <a:gd name="connsiteY4003" fmla="*/ 369617 h 6689084"/>
              <a:gd name="connsiteX4004" fmla="*/ 2628721 w 6689088"/>
              <a:gd name="connsiteY4004" fmla="*/ 383416 h 6689084"/>
              <a:gd name="connsiteX4005" fmla="*/ 2614925 w 6689088"/>
              <a:gd name="connsiteY4005" fmla="*/ 397212 h 6689084"/>
              <a:gd name="connsiteX4006" fmla="*/ 2601126 w 6689088"/>
              <a:gd name="connsiteY4006" fmla="*/ 383416 h 6689084"/>
              <a:gd name="connsiteX4007" fmla="*/ 2614925 w 6689088"/>
              <a:gd name="connsiteY4007" fmla="*/ 369617 h 6689084"/>
              <a:gd name="connsiteX4008" fmla="*/ 2768873 w 6689088"/>
              <a:gd name="connsiteY4008" fmla="*/ 368165 h 6689084"/>
              <a:gd name="connsiteX4009" fmla="*/ 2784124 w 6689088"/>
              <a:gd name="connsiteY4009" fmla="*/ 383416 h 6689084"/>
              <a:gd name="connsiteX4010" fmla="*/ 2768873 w 6689088"/>
              <a:gd name="connsiteY4010" fmla="*/ 398664 h 6689084"/>
              <a:gd name="connsiteX4011" fmla="*/ 2753625 w 6689088"/>
              <a:gd name="connsiteY4011" fmla="*/ 383416 h 6689084"/>
              <a:gd name="connsiteX4012" fmla="*/ 2768873 w 6689088"/>
              <a:gd name="connsiteY4012" fmla="*/ 368165 h 6689084"/>
              <a:gd name="connsiteX4013" fmla="*/ 2922458 w 6689088"/>
              <a:gd name="connsiteY4013" fmla="*/ 366350 h 6689084"/>
              <a:gd name="connsiteX4014" fmla="*/ 2939524 w 6689088"/>
              <a:gd name="connsiteY4014" fmla="*/ 383416 h 6689084"/>
              <a:gd name="connsiteX4015" fmla="*/ 2922458 w 6689088"/>
              <a:gd name="connsiteY4015" fmla="*/ 400478 h 6689084"/>
              <a:gd name="connsiteX4016" fmla="*/ 2905392 w 6689088"/>
              <a:gd name="connsiteY4016" fmla="*/ 383416 h 6689084"/>
              <a:gd name="connsiteX4017" fmla="*/ 2922458 w 6689088"/>
              <a:gd name="connsiteY4017" fmla="*/ 366350 h 6689084"/>
              <a:gd name="connsiteX4018" fmla="*/ 3076406 w 6689088"/>
              <a:gd name="connsiteY4018" fmla="*/ 364170 h 6689084"/>
              <a:gd name="connsiteX4019" fmla="*/ 3095652 w 6689088"/>
              <a:gd name="connsiteY4019" fmla="*/ 383412 h 6689084"/>
              <a:gd name="connsiteX4020" fmla="*/ 3076406 w 6689088"/>
              <a:gd name="connsiteY4020" fmla="*/ 402659 h 6689084"/>
              <a:gd name="connsiteX4021" fmla="*/ 3057163 w 6689088"/>
              <a:gd name="connsiteY4021" fmla="*/ 383412 h 6689084"/>
              <a:gd name="connsiteX4022" fmla="*/ 3076406 w 6689088"/>
              <a:gd name="connsiteY4022" fmla="*/ 364170 h 6689084"/>
              <a:gd name="connsiteX4023" fmla="*/ 3230353 w 6689088"/>
              <a:gd name="connsiteY4023" fmla="*/ 361993 h 6689084"/>
              <a:gd name="connsiteX4024" fmla="*/ 3251776 w 6689088"/>
              <a:gd name="connsiteY4024" fmla="*/ 383416 h 6689084"/>
              <a:gd name="connsiteX4025" fmla="*/ 3230353 w 6689088"/>
              <a:gd name="connsiteY4025" fmla="*/ 404839 h 6689084"/>
              <a:gd name="connsiteX4026" fmla="*/ 3208930 w 6689088"/>
              <a:gd name="connsiteY4026" fmla="*/ 383416 h 6689084"/>
              <a:gd name="connsiteX4027" fmla="*/ 3230353 w 6689088"/>
              <a:gd name="connsiteY4027" fmla="*/ 361993 h 6689084"/>
              <a:gd name="connsiteX4028" fmla="*/ 3383938 w 6689088"/>
              <a:gd name="connsiteY4028" fmla="*/ 360541 h 6689084"/>
              <a:gd name="connsiteX4029" fmla="*/ 3406810 w 6689088"/>
              <a:gd name="connsiteY4029" fmla="*/ 383416 h 6689084"/>
              <a:gd name="connsiteX4030" fmla="*/ 3383938 w 6689088"/>
              <a:gd name="connsiteY4030" fmla="*/ 406292 h 6689084"/>
              <a:gd name="connsiteX4031" fmla="*/ 3361063 w 6689088"/>
              <a:gd name="connsiteY4031" fmla="*/ 383416 h 6689084"/>
              <a:gd name="connsiteX4032" fmla="*/ 3383938 w 6689088"/>
              <a:gd name="connsiteY4032" fmla="*/ 360541 h 6689084"/>
              <a:gd name="connsiteX4033" fmla="*/ 3537882 w 6689088"/>
              <a:gd name="connsiteY4033" fmla="*/ 358361 h 6689084"/>
              <a:gd name="connsiteX4034" fmla="*/ 3562937 w 6689088"/>
              <a:gd name="connsiteY4034" fmla="*/ 383412 h 6689084"/>
              <a:gd name="connsiteX4035" fmla="*/ 3537882 w 6689088"/>
              <a:gd name="connsiteY4035" fmla="*/ 408468 h 6689084"/>
              <a:gd name="connsiteX4036" fmla="*/ 3512830 w 6689088"/>
              <a:gd name="connsiteY4036" fmla="*/ 383412 h 6689084"/>
              <a:gd name="connsiteX4037" fmla="*/ 3537882 w 6689088"/>
              <a:gd name="connsiteY4037" fmla="*/ 358361 h 6689084"/>
              <a:gd name="connsiteX4038" fmla="*/ 3691471 w 6689088"/>
              <a:gd name="connsiteY4038" fmla="*/ 356184 h 6689084"/>
              <a:gd name="connsiteX4039" fmla="*/ 3718699 w 6689088"/>
              <a:gd name="connsiteY4039" fmla="*/ 383416 h 6689084"/>
              <a:gd name="connsiteX4040" fmla="*/ 3691471 w 6689088"/>
              <a:gd name="connsiteY4040" fmla="*/ 410648 h 6689084"/>
              <a:gd name="connsiteX4041" fmla="*/ 3664238 w 6689088"/>
              <a:gd name="connsiteY4041" fmla="*/ 383416 h 6689084"/>
              <a:gd name="connsiteX4042" fmla="*/ 3691471 w 6689088"/>
              <a:gd name="connsiteY4042" fmla="*/ 356184 h 6689084"/>
              <a:gd name="connsiteX4043" fmla="*/ 3845418 w 6689088"/>
              <a:gd name="connsiteY4043" fmla="*/ 353642 h 6689084"/>
              <a:gd name="connsiteX4044" fmla="*/ 3875189 w 6689088"/>
              <a:gd name="connsiteY4044" fmla="*/ 383416 h 6689084"/>
              <a:gd name="connsiteX4045" fmla="*/ 3845418 w 6689088"/>
              <a:gd name="connsiteY4045" fmla="*/ 413187 h 6689084"/>
              <a:gd name="connsiteX4046" fmla="*/ 3815644 w 6689088"/>
              <a:gd name="connsiteY4046" fmla="*/ 383416 h 6689084"/>
              <a:gd name="connsiteX4047" fmla="*/ 3845418 w 6689088"/>
              <a:gd name="connsiteY4047" fmla="*/ 353642 h 6689084"/>
              <a:gd name="connsiteX4048" fmla="*/ 3999000 w 6689088"/>
              <a:gd name="connsiteY4048" fmla="*/ 351465 h 6689084"/>
              <a:gd name="connsiteX4049" fmla="*/ 4030951 w 6689088"/>
              <a:gd name="connsiteY4049" fmla="*/ 383416 h 6689084"/>
              <a:gd name="connsiteX4050" fmla="*/ 3999000 w 6689088"/>
              <a:gd name="connsiteY4050" fmla="*/ 415368 h 6689084"/>
              <a:gd name="connsiteX4051" fmla="*/ 3967048 w 6689088"/>
              <a:gd name="connsiteY4051" fmla="*/ 383416 h 6689084"/>
              <a:gd name="connsiteX4052" fmla="*/ 3999000 w 6689088"/>
              <a:gd name="connsiteY4052" fmla="*/ 351465 h 6689084"/>
              <a:gd name="connsiteX4053" fmla="*/ 4152947 w 6689088"/>
              <a:gd name="connsiteY4053" fmla="*/ 349647 h 6689084"/>
              <a:gd name="connsiteX4054" fmla="*/ 4186716 w 6689088"/>
              <a:gd name="connsiteY4054" fmla="*/ 383412 h 6689084"/>
              <a:gd name="connsiteX4055" fmla="*/ 4152947 w 6689088"/>
              <a:gd name="connsiteY4055" fmla="*/ 417182 h 6689084"/>
              <a:gd name="connsiteX4056" fmla="*/ 4119181 w 6689088"/>
              <a:gd name="connsiteY4056" fmla="*/ 383412 h 6689084"/>
              <a:gd name="connsiteX4057" fmla="*/ 4152947 w 6689088"/>
              <a:gd name="connsiteY4057" fmla="*/ 349647 h 6689084"/>
              <a:gd name="connsiteX4058" fmla="*/ 4306532 w 6689088"/>
              <a:gd name="connsiteY4058" fmla="*/ 347108 h 6689084"/>
              <a:gd name="connsiteX4059" fmla="*/ 4342840 w 6689088"/>
              <a:gd name="connsiteY4059" fmla="*/ 383416 h 6689084"/>
              <a:gd name="connsiteX4060" fmla="*/ 4306532 w 6689088"/>
              <a:gd name="connsiteY4060" fmla="*/ 419725 h 6689084"/>
              <a:gd name="connsiteX4061" fmla="*/ 4270224 w 6689088"/>
              <a:gd name="connsiteY4061" fmla="*/ 383416 h 6689084"/>
              <a:gd name="connsiteX4062" fmla="*/ 4306532 w 6689088"/>
              <a:gd name="connsiteY4062" fmla="*/ 347108 h 6689084"/>
              <a:gd name="connsiteX4063" fmla="*/ 4460480 w 6689088"/>
              <a:gd name="connsiteY4063" fmla="*/ 344565 h 6689084"/>
              <a:gd name="connsiteX4064" fmla="*/ 4499326 w 6689088"/>
              <a:gd name="connsiteY4064" fmla="*/ 383416 h 6689084"/>
              <a:gd name="connsiteX4065" fmla="*/ 4460480 w 6689088"/>
              <a:gd name="connsiteY4065" fmla="*/ 422267 h 6689084"/>
              <a:gd name="connsiteX4066" fmla="*/ 4421629 w 6689088"/>
              <a:gd name="connsiteY4066" fmla="*/ 383416 h 6689084"/>
              <a:gd name="connsiteX4067" fmla="*/ 4460480 w 6689088"/>
              <a:gd name="connsiteY4067" fmla="*/ 344565 h 6689084"/>
              <a:gd name="connsiteX4068" fmla="*/ 4614061 w 6689088"/>
              <a:gd name="connsiteY4068" fmla="*/ 342385 h 6689084"/>
              <a:gd name="connsiteX4069" fmla="*/ 4655092 w 6689088"/>
              <a:gd name="connsiteY4069" fmla="*/ 383412 h 6689084"/>
              <a:gd name="connsiteX4070" fmla="*/ 4614061 w 6689088"/>
              <a:gd name="connsiteY4070" fmla="*/ 424440 h 6689084"/>
              <a:gd name="connsiteX4071" fmla="*/ 4573034 w 6689088"/>
              <a:gd name="connsiteY4071" fmla="*/ 383412 h 6689084"/>
              <a:gd name="connsiteX4072" fmla="*/ 4614061 w 6689088"/>
              <a:gd name="connsiteY4072" fmla="*/ 342385 h 6689084"/>
              <a:gd name="connsiteX4073" fmla="*/ 4768008 w 6689088"/>
              <a:gd name="connsiteY4073" fmla="*/ 339842 h 6689084"/>
              <a:gd name="connsiteX4074" fmla="*/ 4811578 w 6689088"/>
              <a:gd name="connsiteY4074" fmla="*/ 383412 h 6689084"/>
              <a:gd name="connsiteX4075" fmla="*/ 4768008 w 6689088"/>
              <a:gd name="connsiteY4075" fmla="*/ 426982 h 6689084"/>
              <a:gd name="connsiteX4076" fmla="*/ 4724438 w 6689088"/>
              <a:gd name="connsiteY4076" fmla="*/ 383412 h 6689084"/>
              <a:gd name="connsiteX4077" fmla="*/ 4768008 w 6689088"/>
              <a:gd name="connsiteY4077" fmla="*/ 339842 h 6689084"/>
              <a:gd name="connsiteX4078" fmla="*/ 4921598 w 6689088"/>
              <a:gd name="connsiteY4078" fmla="*/ 337304 h 6689084"/>
              <a:gd name="connsiteX4079" fmla="*/ 4967710 w 6689088"/>
              <a:gd name="connsiteY4079" fmla="*/ 383416 h 6689084"/>
              <a:gd name="connsiteX4080" fmla="*/ 4921598 w 6689088"/>
              <a:gd name="connsiteY4080" fmla="*/ 429529 h 6689084"/>
              <a:gd name="connsiteX4081" fmla="*/ 4875485 w 6689088"/>
              <a:gd name="connsiteY4081" fmla="*/ 383416 h 6689084"/>
              <a:gd name="connsiteX4082" fmla="*/ 4921598 w 6689088"/>
              <a:gd name="connsiteY4082" fmla="*/ 337304 h 6689084"/>
              <a:gd name="connsiteX4083" fmla="*/ 5075545 w 6689088"/>
              <a:gd name="connsiteY4083" fmla="*/ 334761 h 6689084"/>
              <a:gd name="connsiteX4084" fmla="*/ 5124196 w 6689088"/>
              <a:gd name="connsiteY4084" fmla="*/ 383416 h 6689084"/>
              <a:gd name="connsiteX4085" fmla="*/ 5075545 w 6689088"/>
              <a:gd name="connsiteY4085" fmla="*/ 432068 h 6689084"/>
              <a:gd name="connsiteX4086" fmla="*/ 5026890 w 6689088"/>
              <a:gd name="connsiteY4086" fmla="*/ 383416 h 6689084"/>
              <a:gd name="connsiteX4087" fmla="*/ 5075545 w 6689088"/>
              <a:gd name="connsiteY4087" fmla="*/ 334761 h 6689084"/>
              <a:gd name="connsiteX4088" fmla="*/ 5229126 w 6689088"/>
              <a:gd name="connsiteY4088" fmla="*/ 332219 h 6689084"/>
              <a:gd name="connsiteX4089" fmla="*/ 5280324 w 6689088"/>
              <a:gd name="connsiteY4089" fmla="*/ 383412 h 6689084"/>
              <a:gd name="connsiteX4090" fmla="*/ 5229126 w 6689088"/>
              <a:gd name="connsiteY4090" fmla="*/ 434610 h 6689084"/>
              <a:gd name="connsiteX4091" fmla="*/ 5177932 w 6689088"/>
              <a:gd name="connsiteY4091" fmla="*/ 383412 h 6689084"/>
              <a:gd name="connsiteX4092" fmla="*/ 5229126 w 6689088"/>
              <a:gd name="connsiteY4092" fmla="*/ 332219 h 6689084"/>
              <a:gd name="connsiteX4093" fmla="*/ 5383074 w 6689088"/>
              <a:gd name="connsiteY4093" fmla="*/ 330042 h 6689084"/>
              <a:gd name="connsiteX4094" fmla="*/ 5436448 w 6689088"/>
              <a:gd name="connsiteY4094" fmla="*/ 383416 h 6689084"/>
              <a:gd name="connsiteX4095" fmla="*/ 5383074 w 6689088"/>
              <a:gd name="connsiteY4095" fmla="*/ 436787 h 6689084"/>
              <a:gd name="connsiteX4096" fmla="*/ 5329700 w 6689088"/>
              <a:gd name="connsiteY4096" fmla="*/ 383416 h 6689084"/>
              <a:gd name="connsiteX4097" fmla="*/ 5383074 w 6689088"/>
              <a:gd name="connsiteY4097" fmla="*/ 330042 h 6689084"/>
              <a:gd name="connsiteX4098" fmla="*/ 5536659 w 6689088"/>
              <a:gd name="connsiteY4098" fmla="*/ 327137 h 6689084"/>
              <a:gd name="connsiteX4099" fmla="*/ 5592938 w 6689088"/>
              <a:gd name="connsiteY4099" fmla="*/ 383416 h 6689084"/>
              <a:gd name="connsiteX4100" fmla="*/ 5536659 w 6689088"/>
              <a:gd name="connsiteY4100" fmla="*/ 439691 h 6689084"/>
              <a:gd name="connsiteX4101" fmla="*/ 5480380 w 6689088"/>
              <a:gd name="connsiteY4101" fmla="*/ 383416 h 6689084"/>
              <a:gd name="connsiteX4102" fmla="*/ 5536659 w 6689088"/>
              <a:gd name="connsiteY4102" fmla="*/ 327137 h 6689084"/>
              <a:gd name="connsiteX4103" fmla="*/ 5690606 w 6689088"/>
              <a:gd name="connsiteY4103" fmla="*/ 324595 h 6689084"/>
              <a:gd name="connsiteX4104" fmla="*/ 5749424 w 6689088"/>
              <a:gd name="connsiteY4104" fmla="*/ 383416 h 6689084"/>
              <a:gd name="connsiteX4105" fmla="*/ 5690606 w 6689088"/>
              <a:gd name="connsiteY4105" fmla="*/ 442234 h 6689084"/>
              <a:gd name="connsiteX4106" fmla="*/ 5631785 w 6689088"/>
              <a:gd name="connsiteY4106" fmla="*/ 383416 h 6689084"/>
              <a:gd name="connsiteX4107" fmla="*/ 5690606 w 6689088"/>
              <a:gd name="connsiteY4107" fmla="*/ 324595 h 6689084"/>
              <a:gd name="connsiteX4108" fmla="*/ 5844554 w 6689088"/>
              <a:gd name="connsiteY4108" fmla="*/ 321690 h 6689084"/>
              <a:gd name="connsiteX4109" fmla="*/ 5906276 w 6689088"/>
              <a:gd name="connsiteY4109" fmla="*/ 383416 h 6689084"/>
              <a:gd name="connsiteX4110" fmla="*/ 5844554 w 6689088"/>
              <a:gd name="connsiteY4110" fmla="*/ 445139 h 6689084"/>
              <a:gd name="connsiteX4111" fmla="*/ 5782828 w 6689088"/>
              <a:gd name="connsiteY4111" fmla="*/ 383416 h 6689084"/>
              <a:gd name="connsiteX4112" fmla="*/ 5844554 w 6689088"/>
              <a:gd name="connsiteY4112" fmla="*/ 321690 h 6689084"/>
              <a:gd name="connsiteX4113" fmla="*/ 5998136 w 6689088"/>
              <a:gd name="connsiteY4113" fmla="*/ 319148 h 6689084"/>
              <a:gd name="connsiteX4114" fmla="*/ 6062404 w 6689088"/>
              <a:gd name="connsiteY4114" fmla="*/ 383412 h 6689084"/>
              <a:gd name="connsiteX4115" fmla="*/ 5998136 w 6689088"/>
              <a:gd name="connsiteY4115" fmla="*/ 447681 h 6689084"/>
              <a:gd name="connsiteX4116" fmla="*/ 5933870 w 6689088"/>
              <a:gd name="connsiteY4116" fmla="*/ 383412 h 6689084"/>
              <a:gd name="connsiteX4117" fmla="*/ 5998136 w 6689088"/>
              <a:gd name="connsiteY4117" fmla="*/ 319148 h 6689084"/>
              <a:gd name="connsiteX4118" fmla="*/ 6152086 w 6689088"/>
              <a:gd name="connsiteY4118" fmla="*/ 315881 h 6689084"/>
              <a:gd name="connsiteX4119" fmla="*/ 6219618 w 6689088"/>
              <a:gd name="connsiteY4119" fmla="*/ 383416 h 6689084"/>
              <a:gd name="connsiteX4120" fmla="*/ 6152086 w 6689088"/>
              <a:gd name="connsiteY4120" fmla="*/ 450948 h 6689084"/>
              <a:gd name="connsiteX4121" fmla="*/ 6084551 w 6689088"/>
              <a:gd name="connsiteY4121" fmla="*/ 383416 h 6689084"/>
              <a:gd name="connsiteX4122" fmla="*/ 6152086 w 6689088"/>
              <a:gd name="connsiteY4122" fmla="*/ 315881 h 6689084"/>
              <a:gd name="connsiteX4123" fmla="*/ 6305668 w 6689088"/>
              <a:gd name="connsiteY4123" fmla="*/ 313338 h 6689084"/>
              <a:gd name="connsiteX4124" fmla="*/ 6375746 w 6689088"/>
              <a:gd name="connsiteY4124" fmla="*/ 383412 h 6689084"/>
              <a:gd name="connsiteX4125" fmla="*/ 6305668 w 6689088"/>
              <a:gd name="connsiteY4125" fmla="*/ 453490 h 6689084"/>
              <a:gd name="connsiteX4126" fmla="*/ 6235594 w 6689088"/>
              <a:gd name="connsiteY4126" fmla="*/ 383412 h 6689084"/>
              <a:gd name="connsiteX4127" fmla="*/ 6305668 w 6689088"/>
              <a:gd name="connsiteY4127" fmla="*/ 313338 h 6689084"/>
              <a:gd name="connsiteX4128" fmla="*/ 6459616 w 6689088"/>
              <a:gd name="connsiteY4128" fmla="*/ 310434 h 6689084"/>
              <a:gd name="connsiteX4129" fmla="*/ 6532598 w 6689088"/>
              <a:gd name="connsiteY4129" fmla="*/ 383412 h 6689084"/>
              <a:gd name="connsiteX4130" fmla="*/ 6459616 w 6689088"/>
              <a:gd name="connsiteY4130" fmla="*/ 456395 h 6689084"/>
              <a:gd name="connsiteX4131" fmla="*/ 6386636 w 6689088"/>
              <a:gd name="connsiteY4131" fmla="*/ 383412 h 6689084"/>
              <a:gd name="connsiteX4132" fmla="*/ 6459616 w 6689088"/>
              <a:gd name="connsiteY4132" fmla="*/ 310434 h 6689084"/>
              <a:gd name="connsiteX4133" fmla="*/ 6613200 w 6689088"/>
              <a:gd name="connsiteY4133" fmla="*/ 307891 h 6689084"/>
              <a:gd name="connsiteX4134" fmla="*/ 6688722 w 6689088"/>
              <a:gd name="connsiteY4134" fmla="*/ 383412 h 6689084"/>
              <a:gd name="connsiteX4135" fmla="*/ 6613200 w 6689088"/>
              <a:gd name="connsiteY4135" fmla="*/ 458934 h 6689084"/>
              <a:gd name="connsiteX4136" fmla="*/ 6537680 w 6689088"/>
              <a:gd name="connsiteY4136" fmla="*/ 383412 h 6689084"/>
              <a:gd name="connsiteX4137" fmla="*/ 6613200 w 6689088"/>
              <a:gd name="connsiteY4137" fmla="*/ 307891 h 6689084"/>
              <a:gd name="connsiteX4138" fmla="*/ 923681 w 6689088"/>
              <a:gd name="connsiteY4138" fmla="*/ 229469 h 6689084"/>
              <a:gd name="connsiteX4139" fmla="*/ 924043 w 6689088"/>
              <a:gd name="connsiteY4139" fmla="*/ 229831 h 6689084"/>
              <a:gd name="connsiteX4140" fmla="*/ 923681 w 6689088"/>
              <a:gd name="connsiteY4140" fmla="*/ 230193 h 6689084"/>
              <a:gd name="connsiteX4141" fmla="*/ 923319 w 6689088"/>
              <a:gd name="connsiteY4141" fmla="*/ 229831 h 6689084"/>
              <a:gd name="connsiteX4142" fmla="*/ 923681 w 6689088"/>
              <a:gd name="connsiteY4142" fmla="*/ 229469 h 6689084"/>
              <a:gd name="connsiteX4143" fmla="*/ 462205 w 6689088"/>
              <a:gd name="connsiteY4143" fmla="*/ 229469 h 6689084"/>
              <a:gd name="connsiteX4144" fmla="*/ 462567 w 6689088"/>
              <a:gd name="connsiteY4144" fmla="*/ 229831 h 6689084"/>
              <a:gd name="connsiteX4145" fmla="*/ 462205 w 6689088"/>
              <a:gd name="connsiteY4145" fmla="*/ 230193 h 6689084"/>
              <a:gd name="connsiteX4146" fmla="*/ 461842 w 6689088"/>
              <a:gd name="connsiteY4146" fmla="*/ 229831 h 6689084"/>
              <a:gd name="connsiteX4147" fmla="*/ 462205 w 6689088"/>
              <a:gd name="connsiteY4147" fmla="*/ 229469 h 6689084"/>
              <a:gd name="connsiteX4148" fmla="*/ 308257 w 6689088"/>
              <a:gd name="connsiteY4148" fmla="*/ 229469 h 6689084"/>
              <a:gd name="connsiteX4149" fmla="*/ 308619 w 6689088"/>
              <a:gd name="connsiteY4149" fmla="*/ 229831 h 6689084"/>
              <a:gd name="connsiteX4150" fmla="*/ 308257 w 6689088"/>
              <a:gd name="connsiteY4150" fmla="*/ 230193 h 6689084"/>
              <a:gd name="connsiteX4151" fmla="*/ 307895 w 6689088"/>
              <a:gd name="connsiteY4151" fmla="*/ 229831 h 6689084"/>
              <a:gd name="connsiteX4152" fmla="*/ 308257 w 6689088"/>
              <a:gd name="connsiteY4152" fmla="*/ 229469 h 6689084"/>
              <a:gd name="connsiteX4153" fmla="*/ 154676 w 6689088"/>
              <a:gd name="connsiteY4153" fmla="*/ 229103 h 6689084"/>
              <a:gd name="connsiteX4154" fmla="*/ 155400 w 6689088"/>
              <a:gd name="connsiteY4154" fmla="*/ 229827 h 6689084"/>
              <a:gd name="connsiteX4155" fmla="*/ 154676 w 6689088"/>
              <a:gd name="connsiteY4155" fmla="*/ 230555 h 6689084"/>
              <a:gd name="connsiteX4156" fmla="*/ 153948 w 6689088"/>
              <a:gd name="connsiteY4156" fmla="*/ 229827 h 6689084"/>
              <a:gd name="connsiteX4157" fmla="*/ 154676 w 6689088"/>
              <a:gd name="connsiteY4157" fmla="*/ 229103 h 6689084"/>
              <a:gd name="connsiteX4158" fmla="*/ 725 w 6689088"/>
              <a:gd name="connsiteY4158" fmla="*/ 229103 h 6689084"/>
              <a:gd name="connsiteX4159" fmla="*/ 1453 w 6689088"/>
              <a:gd name="connsiteY4159" fmla="*/ 229827 h 6689084"/>
              <a:gd name="connsiteX4160" fmla="*/ 725 w 6689088"/>
              <a:gd name="connsiteY4160" fmla="*/ 230555 h 6689084"/>
              <a:gd name="connsiteX4161" fmla="*/ 0 w 6689088"/>
              <a:gd name="connsiteY4161" fmla="*/ 229827 h 6689084"/>
              <a:gd name="connsiteX4162" fmla="*/ 725 w 6689088"/>
              <a:gd name="connsiteY4162" fmla="*/ 229103 h 6689084"/>
              <a:gd name="connsiteX4163" fmla="*/ 1077266 w 6689088"/>
              <a:gd name="connsiteY4163" fmla="*/ 228379 h 6689084"/>
              <a:gd name="connsiteX4164" fmla="*/ 1078718 w 6689088"/>
              <a:gd name="connsiteY4164" fmla="*/ 229831 h 6689084"/>
              <a:gd name="connsiteX4165" fmla="*/ 1077266 w 6689088"/>
              <a:gd name="connsiteY4165" fmla="*/ 231283 h 6689084"/>
              <a:gd name="connsiteX4166" fmla="*/ 1075814 w 6689088"/>
              <a:gd name="connsiteY4166" fmla="*/ 229831 h 6689084"/>
              <a:gd name="connsiteX4167" fmla="*/ 1077266 w 6689088"/>
              <a:gd name="connsiteY4167" fmla="*/ 228379 h 6689084"/>
              <a:gd name="connsiteX4168" fmla="*/ 1231217 w 6689088"/>
              <a:gd name="connsiteY4168" fmla="*/ 227651 h 6689084"/>
              <a:gd name="connsiteX4169" fmla="*/ 1233394 w 6689088"/>
              <a:gd name="connsiteY4169" fmla="*/ 229827 h 6689084"/>
              <a:gd name="connsiteX4170" fmla="*/ 1231217 w 6689088"/>
              <a:gd name="connsiteY4170" fmla="*/ 232008 h 6689084"/>
              <a:gd name="connsiteX4171" fmla="*/ 1229037 w 6689088"/>
              <a:gd name="connsiteY4171" fmla="*/ 229827 h 6689084"/>
              <a:gd name="connsiteX4172" fmla="*/ 1231217 w 6689088"/>
              <a:gd name="connsiteY4172" fmla="*/ 227651 h 6689084"/>
              <a:gd name="connsiteX4173" fmla="*/ 1384799 w 6689088"/>
              <a:gd name="connsiteY4173" fmla="*/ 226560 h 6689084"/>
              <a:gd name="connsiteX4174" fmla="*/ 1388069 w 6689088"/>
              <a:gd name="connsiteY4174" fmla="*/ 229827 h 6689084"/>
              <a:gd name="connsiteX4175" fmla="*/ 1384799 w 6689088"/>
              <a:gd name="connsiteY4175" fmla="*/ 233098 h 6689084"/>
              <a:gd name="connsiteX4176" fmla="*/ 1381532 w 6689088"/>
              <a:gd name="connsiteY4176" fmla="*/ 229827 h 6689084"/>
              <a:gd name="connsiteX4177" fmla="*/ 1384799 w 6689088"/>
              <a:gd name="connsiteY4177" fmla="*/ 226560 h 6689084"/>
              <a:gd name="connsiteX4178" fmla="*/ 1538746 w 6689088"/>
              <a:gd name="connsiteY4178" fmla="*/ 225108 h 6689084"/>
              <a:gd name="connsiteX4179" fmla="*/ 1543103 w 6689088"/>
              <a:gd name="connsiteY4179" fmla="*/ 229465 h 6689084"/>
              <a:gd name="connsiteX4180" fmla="*/ 1538746 w 6689088"/>
              <a:gd name="connsiteY4180" fmla="*/ 233822 h 6689084"/>
              <a:gd name="connsiteX4181" fmla="*/ 1534389 w 6689088"/>
              <a:gd name="connsiteY4181" fmla="*/ 229465 h 6689084"/>
              <a:gd name="connsiteX4182" fmla="*/ 1538746 w 6689088"/>
              <a:gd name="connsiteY4182" fmla="*/ 225108 h 6689084"/>
              <a:gd name="connsiteX4183" fmla="*/ 1692331 w 6689088"/>
              <a:gd name="connsiteY4183" fmla="*/ 224022 h 6689084"/>
              <a:gd name="connsiteX4184" fmla="*/ 1698141 w 6689088"/>
              <a:gd name="connsiteY4184" fmla="*/ 229831 h 6689084"/>
              <a:gd name="connsiteX4185" fmla="*/ 1692331 w 6689088"/>
              <a:gd name="connsiteY4185" fmla="*/ 235640 h 6689084"/>
              <a:gd name="connsiteX4186" fmla="*/ 1686522 w 6689088"/>
              <a:gd name="connsiteY4186" fmla="*/ 229831 h 6689084"/>
              <a:gd name="connsiteX4187" fmla="*/ 1692331 w 6689088"/>
              <a:gd name="connsiteY4187" fmla="*/ 224022 h 6689084"/>
              <a:gd name="connsiteX4188" fmla="*/ 1846279 w 6689088"/>
              <a:gd name="connsiteY4188" fmla="*/ 222569 h 6689084"/>
              <a:gd name="connsiteX4189" fmla="*/ 1853540 w 6689088"/>
              <a:gd name="connsiteY4189" fmla="*/ 229831 h 6689084"/>
              <a:gd name="connsiteX4190" fmla="*/ 1846279 w 6689088"/>
              <a:gd name="connsiteY4190" fmla="*/ 237093 h 6689084"/>
              <a:gd name="connsiteX4191" fmla="*/ 1839017 w 6689088"/>
              <a:gd name="connsiteY4191" fmla="*/ 229831 h 6689084"/>
              <a:gd name="connsiteX4192" fmla="*/ 1846279 w 6689088"/>
              <a:gd name="connsiteY4192" fmla="*/ 222569 h 6689084"/>
              <a:gd name="connsiteX4193" fmla="*/ 1999860 w 6689088"/>
              <a:gd name="connsiteY4193" fmla="*/ 220389 h 6689084"/>
              <a:gd name="connsiteX4194" fmla="*/ 2008940 w 6689088"/>
              <a:gd name="connsiteY4194" fmla="*/ 229465 h 6689084"/>
              <a:gd name="connsiteX4195" fmla="*/ 1999860 w 6689088"/>
              <a:gd name="connsiteY4195" fmla="*/ 238545 h 6689084"/>
              <a:gd name="connsiteX4196" fmla="*/ 1990784 w 6689088"/>
              <a:gd name="connsiteY4196" fmla="*/ 229465 h 6689084"/>
              <a:gd name="connsiteX4197" fmla="*/ 1999860 w 6689088"/>
              <a:gd name="connsiteY4197" fmla="*/ 220389 h 6689084"/>
              <a:gd name="connsiteX4198" fmla="*/ 2153811 w 6689088"/>
              <a:gd name="connsiteY4198" fmla="*/ 219665 h 6689084"/>
              <a:gd name="connsiteX4199" fmla="*/ 2163978 w 6689088"/>
              <a:gd name="connsiteY4199" fmla="*/ 229831 h 6689084"/>
              <a:gd name="connsiteX4200" fmla="*/ 2153811 w 6689088"/>
              <a:gd name="connsiteY4200" fmla="*/ 239997 h 6689084"/>
              <a:gd name="connsiteX4201" fmla="*/ 2143645 w 6689088"/>
              <a:gd name="connsiteY4201" fmla="*/ 229831 h 6689084"/>
              <a:gd name="connsiteX4202" fmla="*/ 2153811 w 6689088"/>
              <a:gd name="connsiteY4202" fmla="*/ 219665 h 6689084"/>
              <a:gd name="connsiteX4203" fmla="*/ 2307393 w 6689088"/>
              <a:gd name="connsiteY4203" fmla="*/ 217484 h 6689084"/>
              <a:gd name="connsiteX4204" fmla="*/ 2319377 w 6689088"/>
              <a:gd name="connsiteY4204" fmla="*/ 229465 h 6689084"/>
              <a:gd name="connsiteX4205" fmla="*/ 2307393 w 6689088"/>
              <a:gd name="connsiteY4205" fmla="*/ 241450 h 6689084"/>
              <a:gd name="connsiteX4206" fmla="*/ 2295412 w 6689088"/>
              <a:gd name="connsiteY4206" fmla="*/ 229465 h 6689084"/>
              <a:gd name="connsiteX4207" fmla="*/ 2307393 w 6689088"/>
              <a:gd name="connsiteY4207" fmla="*/ 217484 h 6689084"/>
              <a:gd name="connsiteX4208" fmla="*/ 2461344 w 6689088"/>
              <a:gd name="connsiteY4208" fmla="*/ 215670 h 6689084"/>
              <a:gd name="connsiteX4209" fmla="*/ 2475139 w 6689088"/>
              <a:gd name="connsiteY4209" fmla="*/ 229469 h 6689084"/>
              <a:gd name="connsiteX4210" fmla="*/ 2461344 w 6689088"/>
              <a:gd name="connsiteY4210" fmla="*/ 243264 h 6689084"/>
              <a:gd name="connsiteX4211" fmla="*/ 2447545 w 6689088"/>
              <a:gd name="connsiteY4211" fmla="*/ 229469 h 6689084"/>
              <a:gd name="connsiteX4212" fmla="*/ 2461344 w 6689088"/>
              <a:gd name="connsiteY4212" fmla="*/ 215670 h 6689084"/>
              <a:gd name="connsiteX4213" fmla="*/ 2614925 w 6689088"/>
              <a:gd name="connsiteY4213" fmla="*/ 214580 h 6689084"/>
              <a:gd name="connsiteX4214" fmla="*/ 2630177 w 6689088"/>
              <a:gd name="connsiteY4214" fmla="*/ 229827 h 6689084"/>
              <a:gd name="connsiteX4215" fmla="*/ 2614925 w 6689088"/>
              <a:gd name="connsiteY4215" fmla="*/ 245079 h 6689084"/>
              <a:gd name="connsiteX4216" fmla="*/ 2599678 w 6689088"/>
              <a:gd name="connsiteY4216" fmla="*/ 229827 h 6689084"/>
              <a:gd name="connsiteX4217" fmla="*/ 2614925 w 6689088"/>
              <a:gd name="connsiteY4217" fmla="*/ 214580 h 6689084"/>
              <a:gd name="connsiteX4218" fmla="*/ 2768873 w 6689088"/>
              <a:gd name="connsiteY4218" fmla="*/ 212765 h 6689084"/>
              <a:gd name="connsiteX4219" fmla="*/ 2785939 w 6689088"/>
              <a:gd name="connsiteY4219" fmla="*/ 229831 h 6689084"/>
              <a:gd name="connsiteX4220" fmla="*/ 2768873 w 6689088"/>
              <a:gd name="connsiteY4220" fmla="*/ 246897 h 6689084"/>
              <a:gd name="connsiteX4221" fmla="*/ 2751807 w 6689088"/>
              <a:gd name="connsiteY4221" fmla="*/ 229831 h 6689084"/>
              <a:gd name="connsiteX4222" fmla="*/ 2768873 w 6689088"/>
              <a:gd name="connsiteY4222" fmla="*/ 212765 h 6689084"/>
              <a:gd name="connsiteX4223" fmla="*/ 2922458 w 6689088"/>
              <a:gd name="connsiteY4223" fmla="*/ 210589 h 6689084"/>
              <a:gd name="connsiteX4224" fmla="*/ 2941700 w 6689088"/>
              <a:gd name="connsiteY4224" fmla="*/ 229831 h 6689084"/>
              <a:gd name="connsiteX4225" fmla="*/ 2922458 w 6689088"/>
              <a:gd name="connsiteY4225" fmla="*/ 249077 h 6689084"/>
              <a:gd name="connsiteX4226" fmla="*/ 2903216 w 6689088"/>
              <a:gd name="connsiteY4226" fmla="*/ 229831 h 6689084"/>
              <a:gd name="connsiteX4227" fmla="*/ 2922458 w 6689088"/>
              <a:gd name="connsiteY4227" fmla="*/ 210589 h 6689084"/>
              <a:gd name="connsiteX4228" fmla="*/ 3076406 w 6689088"/>
              <a:gd name="connsiteY4228" fmla="*/ 208408 h 6689084"/>
              <a:gd name="connsiteX4229" fmla="*/ 3097828 w 6689088"/>
              <a:gd name="connsiteY4229" fmla="*/ 229831 h 6689084"/>
              <a:gd name="connsiteX4230" fmla="*/ 3076406 w 6689088"/>
              <a:gd name="connsiteY4230" fmla="*/ 251254 h 6689084"/>
              <a:gd name="connsiteX4231" fmla="*/ 3054982 w 6689088"/>
              <a:gd name="connsiteY4231" fmla="*/ 229831 h 6689084"/>
              <a:gd name="connsiteX4232" fmla="*/ 3076406 w 6689088"/>
              <a:gd name="connsiteY4232" fmla="*/ 208408 h 6689084"/>
              <a:gd name="connsiteX4233" fmla="*/ 3230353 w 6689088"/>
              <a:gd name="connsiteY4233" fmla="*/ 206956 h 6689084"/>
              <a:gd name="connsiteX4234" fmla="*/ 3253228 w 6689088"/>
              <a:gd name="connsiteY4234" fmla="*/ 229831 h 6689084"/>
              <a:gd name="connsiteX4235" fmla="*/ 3230353 w 6689088"/>
              <a:gd name="connsiteY4235" fmla="*/ 252706 h 6689084"/>
              <a:gd name="connsiteX4236" fmla="*/ 3207478 w 6689088"/>
              <a:gd name="connsiteY4236" fmla="*/ 229831 h 6689084"/>
              <a:gd name="connsiteX4237" fmla="*/ 3230353 w 6689088"/>
              <a:gd name="connsiteY4237" fmla="*/ 206956 h 6689084"/>
              <a:gd name="connsiteX4238" fmla="*/ 3383934 w 6689088"/>
              <a:gd name="connsiteY4238" fmla="*/ 204779 h 6689084"/>
              <a:gd name="connsiteX4239" fmla="*/ 3408986 w 6689088"/>
              <a:gd name="connsiteY4239" fmla="*/ 229831 h 6689084"/>
              <a:gd name="connsiteX4240" fmla="*/ 3383934 w 6689088"/>
              <a:gd name="connsiteY4240" fmla="*/ 254887 h 6689084"/>
              <a:gd name="connsiteX4241" fmla="*/ 3358882 w 6689088"/>
              <a:gd name="connsiteY4241" fmla="*/ 229831 h 6689084"/>
              <a:gd name="connsiteX4242" fmla="*/ 3383934 w 6689088"/>
              <a:gd name="connsiteY4242" fmla="*/ 204779 h 6689084"/>
              <a:gd name="connsiteX4243" fmla="*/ 3537886 w 6689088"/>
              <a:gd name="connsiteY4243" fmla="*/ 202599 h 6689084"/>
              <a:gd name="connsiteX4244" fmla="*/ 3565118 w 6689088"/>
              <a:gd name="connsiteY4244" fmla="*/ 229831 h 6689084"/>
              <a:gd name="connsiteX4245" fmla="*/ 3537886 w 6689088"/>
              <a:gd name="connsiteY4245" fmla="*/ 257059 h 6689084"/>
              <a:gd name="connsiteX4246" fmla="*/ 3510653 w 6689088"/>
              <a:gd name="connsiteY4246" fmla="*/ 229831 h 6689084"/>
              <a:gd name="connsiteX4247" fmla="*/ 3537886 w 6689088"/>
              <a:gd name="connsiteY4247" fmla="*/ 202599 h 6689084"/>
              <a:gd name="connsiteX4248" fmla="*/ 3691467 w 6689088"/>
              <a:gd name="connsiteY4248" fmla="*/ 200056 h 6689084"/>
              <a:gd name="connsiteX4249" fmla="*/ 3721242 w 6689088"/>
              <a:gd name="connsiteY4249" fmla="*/ 229827 h 6689084"/>
              <a:gd name="connsiteX4250" fmla="*/ 3691467 w 6689088"/>
              <a:gd name="connsiteY4250" fmla="*/ 259602 h 6689084"/>
              <a:gd name="connsiteX4251" fmla="*/ 3661696 w 6689088"/>
              <a:gd name="connsiteY4251" fmla="*/ 229827 h 6689084"/>
              <a:gd name="connsiteX4252" fmla="*/ 3691467 w 6689088"/>
              <a:gd name="connsiteY4252" fmla="*/ 200056 h 6689084"/>
              <a:gd name="connsiteX4253" fmla="*/ 3845414 w 6689088"/>
              <a:gd name="connsiteY4253" fmla="*/ 197880 h 6689084"/>
              <a:gd name="connsiteX4254" fmla="*/ 3877366 w 6689088"/>
              <a:gd name="connsiteY4254" fmla="*/ 229831 h 6689084"/>
              <a:gd name="connsiteX4255" fmla="*/ 3845414 w 6689088"/>
              <a:gd name="connsiteY4255" fmla="*/ 261782 h 6689084"/>
              <a:gd name="connsiteX4256" fmla="*/ 3813463 w 6689088"/>
              <a:gd name="connsiteY4256" fmla="*/ 229831 h 6689084"/>
              <a:gd name="connsiteX4257" fmla="*/ 3845414 w 6689088"/>
              <a:gd name="connsiteY4257" fmla="*/ 197880 h 6689084"/>
              <a:gd name="connsiteX4258" fmla="*/ 3999000 w 6689088"/>
              <a:gd name="connsiteY4258" fmla="*/ 196065 h 6689084"/>
              <a:gd name="connsiteX4259" fmla="*/ 4032769 w 6689088"/>
              <a:gd name="connsiteY4259" fmla="*/ 229831 h 6689084"/>
              <a:gd name="connsiteX4260" fmla="*/ 3999000 w 6689088"/>
              <a:gd name="connsiteY4260" fmla="*/ 263597 h 6689084"/>
              <a:gd name="connsiteX4261" fmla="*/ 3965234 w 6689088"/>
              <a:gd name="connsiteY4261" fmla="*/ 229831 h 6689084"/>
              <a:gd name="connsiteX4262" fmla="*/ 3999000 w 6689088"/>
              <a:gd name="connsiteY4262" fmla="*/ 196065 h 6689084"/>
              <a:gd name="connsiteX4263" fmla="*/ 4152947 w 6689088"/>
              <a:gd name="connsiteY4263" fmla="*/ 193523 h 6689084"/>
              <a:gd name="connsiteX4264" fmla="*/ 4189256 w 6689088"/>
              <a:gd name="connsiteY4264" fmla="*/ 229831 h 6689084"/>
              <a:gd name="connsiteX4265" fmla="*/ 4152947 w 6689088"/>
              <a:gd name="connsiteY4265" fmla="*/ 266139 h 6689084"/>
              <a:gd name="connsiteX4266" fmla="*/ 4116638 w 6689088"/>
              <a:gd name="connsiteY4266" fmla="*/ 229831 h 6689084"/>
              <a:gd name="connsiteX4267" fmla="*/ 4152947 w 6689088"/>
              <a:gd name="connsiteY4267" fmla="*/ 193523 h 6689084"/>
              <a:gd name="connsiteX4268" fmla="*/ 4306532 w 6689088"/>
              <a:gd name="connsiteY4268" fmla="*/ 190618 h 6689084"/>
              <a:gd name="connsiteX4269" fmla="*/ 4345380 w 6689088"/>
              <a:gd name="connsiteY4269" fmla="*/ 229469 h 6689084"/>
              <a:gd name="connsiteX4270" fmla="*/ 4306532 w 6689088"/>
              <a:gd name="connsiteY4270" fmla="*/ 268316 h 6689084"/>
              <a:gd name="connsiteX4271" fmla="*/ 4267682 w 6689088"/>
              <a:gd name="connsiteY4271" fmla="*/ 229469 h 6689084"/>
              <a:gd name="connsiteX4272" fmla="*/ 4306532 w 6689088"/>
              <a:gd name="connsiteY4272" fmla="*/ 190618 h 6689084"/>
              <a:gd name="connsiteX4273" fmla="*/ 4460480 w 6689088"/>
              <a:gd name="connsiteY4273" fmla="*/ 188438 h 6689084"/>
              <a:gd name="connsiteX4274" fmla="*/ 4501511 w 6689088"/>
              <a:gd name="connsiteY4274" fmla="*/ 229465 h 6689084"/>
              <a:gd name="connsiteX4275" fmla="*/ 4460480 w 6689088"/>
              <a:gd name="connsiteY4275" fmla="*/ 270493 h 6689084"/>
              <a:gd name="connsiteX4276" fmla="*/ 4419452 w 6689088"/>
              <a:gd name="connsiteY4276" fmla="*/ 229465 h 6689084"/>
              <a:gd name="connsiteX4277" fmla="*/ 4460480 w 6689088"/>
              <a:gd name="connsiteY4277" fmla="*/ 188438 h 6689084"/>
              <a:gd name="connsiteX4278" fmla="*/ 4614065 w 6689088"/>
              <a:gd name="connsiteY4278" fmla="*/ 185895 h 6689084"/>
              <a:gd name="connsiteX4279" fmla="*/ 4657635 w 6689088"/>
              <a:gd name="connsiteY4279" fmla="*/ 229465 h 6689084"/>
              <a:gd name="connsiteX4280" fmla="*/ 4614065 w 6689088"/>
              <a:gd name="connsiteY4280" fmla="*/ 273035 h 6689084"/>
              <a:gd name="connsiteX4281" fmla="*/ 4570495 w 6689088"/>
              <a:gd name="connsiteY4281" fmla="*/ 229465 h 6689084"/>
              <a:gd name="connsiteX4282" fmla="*/ 4614065 w 6689088"/>
              <a:gd name="connsiteY4282" fmla="*/ 185895 h 6689084"/>
              <a:gd name="connsiteX4283" fmla="*/ 4768012 w 6689088"/>
              <a:gd name="connsiteY4283" fmla="*/ 183356 h 6689084"/>
              <a:gd name="connsiteX4284" fmla="*/ 4814125 w 6689088"/>
              <a:gd name="connsiteY4284" fmla="*/ 229469 h 6689084"/>
              <a:gd name="connsiteX4285" fmla="*/ 4768012 w 6689088"/>
              <a:gd name="connsiteY4285" fmla="*/ 275581 h 6689084"/>
              <a:gd name="connsiteX4286" fmla="*/ 4721900 w 6689088"/>
              <a:gd name="connsiteY4286" fmla="*/ 229469 h 6689084"/>
              <a:gd name="connsiteX4287" fmla="*/ 4768012 w 6689088"/>
              <a:gd name="connsiteY4287" fmla="*/ 183356 h 6689084"/>
              <a:gd name="connsiteX4288" fmla="*/ 4921594 w 6689088"/>
              <a:gd name="connsiteY4288" fmla="*/ 180814 h 6689084"/>
              <a:gd name="connsiteX4289" fmla="*/ 4970249 w 6689088"/>
              <a:gd name="connsiteY4289" fmla="*/ 229469 h 6689084"/>
              <a:gd name="connsiteX4290" fmla="*/ 4921594 w 6689088"/>
              <a:gd name="connsiteY4290" fmla="*/ 278120 h 6689084"/>
              <a:gd name="connsiteX4291" fmla="*/ 4872942 w 6689088"/>
              <a:gd name="connsiteY4291" fmla="*/ 229469 h 6689084"/>
              <a:gd name="connsiteX4292" fmla="*/ 4921594 w 6689088"/>
              <a:gd name="connsiteY4292" fmla="*/ 180814 h 6689084"/>
              <a:gd name="connsiteX4293" fmla="*/ 5075541 w 6689088"/>
              <a:gd name="connsiteY4293" fmla="*/ 178637 h 6689084"/>
              <a:gd name="connsiteX4294" fmla="*/ 5126735 w 6689088"/>
              <a:gd name="connsiteY4294" fmla="*/ 229831 h 6689084"/>
              <a:gd name="connsiteX4295" fmla="*/ 5075541 w 6689088"/>
              <a:gd name="connsiteY4295" fmla="*/ 281025 h 6689084"/>
              <a:gd name="connsiteX4296" fmla="*/ 5024348 w 6689088"/>
              <a:gd name="connsiteY4296" fmla="*/ 229831 h 6689084"/>
              <a:gd name="connsiteX4297" fmla="*/ 5075541 w 6689088"/>
              <a:gd name="connsiteY4297" fmla="*/ 178637 h 6689084"/>
              <a:gd name="connsiteX4298" fmla="*/ 5229126 w 6689088"/>
              <a:gd name="connsiteY4298" fmla="*/ 176095 h 6689084"/>
              <a:gd name="connsiteX4299" fmla="*/ 5282500 w 6689088"/>
              <a:gd name="connsiteY4299" fmla="*/ 229469 h 6689084"/>
              <a:gd name="connsiteX4300" fmla="*/ 5229126 w 6689088"/>
              <a:gd name="connsiteY4300" fmla="*/ 282843 h 6689084"/>
              <a:gd name="connsiteX4301" fmla="*/ 5175752 w 6689088"/>
              <a:gd name="connsiteY4301" fmla="*/ 229469 h 6689084"/>
              <a:gd name="connsiteX4302" fmla="*/ 5229126 w 6689088"/>
              <a:gd name="connsiteY4302" fmla="*/ 176095 h 6689084"/>
              <a:gd name="connsiteX4303" fmla="*/ 5383074 w 6689088"/>
              <a:gd name="connsiteY4303" fmla="*/ 173552 h 6689084"/>
              <a:gd name="connsiteX4304" fmla="*/ 5439352 w 6689088"/>
              <a:gd name="connsiteY4304" fmla="*/ 229831 h 6689084"/>
              <a:gd name="connsiteX4305" fmla="*/ 5383074 w 6689088"/>
              <a:gd name="connsiteY4305" fmla="*/ 286110 h 6689084"/>
              <a:gd name="connsiteX4306" fmla="*/ 5326795 w 6689088"/>
              <a:gd name="connsiteY4306" fmla="*/ 229831 h 6689084"/>
              <a:gd name="connsiteX4307" fmla="*/ 5383074 w 6689088"/>
              <a:gd name="connsiteY4307" fmla="*/ 173552 h 6689084"/>
              <a:gd name="connsiteX4308" fmla="*/ 5536659 w 6689088"/>
              <a:gd name="connsiteY4308" fmla="*/ 171010 h 6689084"/>
              <a:gd name="connsiteX4309" fmla="*/ 5595476 w 6689088"/>
              <a:gd name="connsiteY4309" fmla="*/ 229827 h 6689084"/>
              <a:gd name="connsiteX4310" fmla="*/ 5536659 w 6689088"/>
              <a:gd name="connsiteY4310" fmla="*/ 288649 h 6689084"/>
              <a:gd name="connsiteX4311" fmla="*/ 5477838 w 6689088"/>
              <a:gd name="connsiteY4311" fmla="*/ 229827 h 6689084"/>
              <a:gd name="connsiteX4312" fmla="*/ 5536659 w 6689088"/>
              <a:gd name="connsiteY4312" fmla="*/ 171010 h 6689084"/>
              <a:gd name="connsiteX4313" fmla="*/ 5690606 w 6689088"/>
              <a:gd name="connsiteY4313" fmla="*/ 168105 h 6689084"/>
              <a:gd name="connsiteX4314" fmla="*/ 5752329 w 6689088"/>
              <a:gd name="connsiteY4314" fmla="*/ 229827 h 6689084"/>
              <a:gd name="connsiteX4315" fmla="*/ 5690606 w 6689088"/>
              <a:gd name="connsiteY4315" fmla="*/ 291553 h 6689084"/>
              <a:gd name="connsiteX4316" fmla="*/ 5628880 w 6689088"/>
              <a:gd name="connsiteY4316" fmla="*/ 229827 h 6689084"/>
              <a:gd name="connsiteX4317" fmla="*/ 5690606 w 6689088"/>
              <a:gd name="connsiteY4317" fmla="*/ 168105 h 6689084"/>
              <a:gd name="connsiteX4318" fmla="*/ 5844554 w 6689088"/>
              <a:gd name="connsiteY4318" fmla="*/ 165566 h 6689084"/>
              <a:gd name="connsiteX4319" fmla="*/ 5908822 w 6689088"/>
              <a:gd name="connsiteY4319" fmla="*/ 229831 h 6689084"/>
              <a:gd name="connsiteX4320" fmla="*/ 5844554 w 6689088"/>
              <a:gd name="connsiteY4320" fmla="*/ 294100 h 6689084"/>
              <a:gd name="connsiteX4321" fmla="*/ 5780289 w 6689088"/>
              <a:gd name="connsiteY4321" fmla="*/ 229831 h 6689084"/>
              <a:gd name="connsiteX4322" fmla="*/ 5844554 w 6689088"/>
              <a:gd name="connsiteY4322" fmla="*/ 165566 h 6689084"/>
              <a:gd name="connsiteX4323" fmla="*/ 5998136 w 6689088"/>
              <a:gd name="connsiteY4323" fmla="*/ 162296 h 6689084"/>
              <a:gd name="connsiteX4324" fmla="*/ 6065671 w 6689088"/>
              <a:gd name="connsiteY4324" fmla="*/ 229831 h 6689084"/>
              <a:gd name="connsiteX4325" fmla="*/ 5998136 w 6689088"/>
              <a:gd name="connsiteY4325" fmla="*/ 297363 h 6689084"/>
              <a:gd name="connsiteX4326" fmla="*/ 5930604 w 6689088"/>
              <a:gd name="connsiteY4326" fmla="*/ 229827 h 6689084"/>
              <a:gd name="connsiteX4327" fmla="*/ 5998136 w 6689088"/>
              <a:gd name="connsiteY4327" fmla="*/ 162296 h 6689084"/>
              <a:gd name="connsiteX4328" fmla="*/ 6152086 w 6689088"/>
              <a:gd name="connsiteY4328" fmla="*/ 159757 h 6689084"/>
              <a:gd name="connsiteX4329" fmla="*/ 6222160 w 6689088"/>
              <a:gd name="connsiteY4329" fmla="*/ 229831 h 6689084"/>
              <a:gd name="connsiteX4330" fmla="*/ 6152086 w 6689088"/>
              <a:gd name="connsiteY4330" fmla="*/ 299909 h 6689084"/>
              <a:gd name="connsiteX4331" fmla="*/ 6082008 w 6689088"/>
              <a:gd name="connsiteY4331" fmla="*/ 229831 h 6689084"/>
              <a:gd name="connsiteX4332" fmla="*/ 6152086 w 6689088"/>
              <a:gd name="connsiteY4332" fmla="*/ 159757 h 6689084"/>
              <a:gd name="connsiteX4333" fmla="*/ 6305668 w 6689088"/>
              <a:gd name="connsiteY4333" fmla="*/ 156852 h 6689084"/>
              <a:gd name="connsiteX4334" fmla="*/ 6378650 w 6689088"/>
              <a:gd name="connsiteY4334" fmla="*/ 229831 h 6689084"/>
              <a:gd name="connsiteX4335" fmla="*/ 6305668 w 6689088"/>
              <a:gd name="connsiteY4335" fmla="*/ 302814 h 6689084"/>
              <a:gd name="connsiteX4336" fmla="*/ 6232689 w 6689088"/>
              <a:gd name="connsiteY4336" fmla="*/ 229831 h 6689084"/>
              <a:gd name="connsiteX4337" fmla="*/ 6305668 w 6689088"/>
              <a:gd name="connsiteY4337" fmla="*/ 156852 h 6689084"/>
              <a:gd name="connsiteX4338" fmla="*/ 6613200 w 6689088"/>
              <a:gd name="connsiteY4338" fmla="*/ 153947 h 6689084"/>
              <a:gd name="connsiteX4339" fmla="*/ 6689088 w 6689088"/>
              <a:gd name="connsiteY4339" fmla="*/ 229831 h 6689084"/>
              <a:gd name="connsiteX4340" fmla="*/ 6613200 w 6689088"/>
              <a:gd name="connsiteY4340" fmla="*/ 305718 h 6689084"/>
              <a:gd name="connsiteX4341" fmla="*/ 6537317 w 6689088"/>
              <a:gd name="connsiteY4341" fmla="*/ 229831 h 6689084"/>
              <a:gd name="connsiteX4342" fmla="*/ 6613200 w 6689088"/>
              <a:gd name="connsiteY4342" fmla="*/ 153947 h 6689084"/>
              <a:gd name="connsiteX4343" fmla="*/ 6459616 w 6689088"/>
              <a:gd name="connsiteY4343" fmla="*/ 153944 h 6689084"/>
              <a:gd name="connsiteX4344" fmla="*/ 6535137 w 6689088"/>
              <a:gd name="connsiteY4344" fmla="*/ 229465 h 6689084"/>
              <a:gd name="connsiteX4345" fmla="*/ 6459616 w 6689088"/>
              <a:gd name="connsiteY4345" fmla="*/ 304986 h 6689084"/>
              <a:gd name="connsiteX4346" fmla="*/ 6384094 w 6689088"/>
              <a:gd name="connsiteY4346" fmla="*/ 229465 h 6689084"/>
              <a:gd name="connsiteX4347" fmla="*/ 6459616 w 6689088"/>
              <a:gd name="connsiteY4347" fmla="*/ 153944 h 6689084"/>
              <a:gd name="connsiteX4348" fmla="*/ 923681 w 6689088"/>
              <a:gd name="connsiteY4348" fmla="*/ 75518 h 6689084"/>
              <a:gd name="connsiteX4349" fmla="*/ 924043 w 6689088"/>
              <a:gd name="connsiteY4349" fmla="*/ 75880 h 6689084"/>
              <a:gd name="connsiteX4350" fmla="*/ 923681 w 6689088"/>
              <a:gd name="connsiteY4350" fmla="*/ 76242 h 6689084"/>
              <a:gd name="connsiteX4351" fmla="*/ 923319 w 6689088"/>
              <a:gd name="connsiteY4351" fmla="*/ 75880 h 6689084"/>
              <a:gd name="connsiteX4352" fmla="*/ 923681 w 6689088"/>
              <a:gd name="connsiteY4352" fmla="*/ 75518 h 6689084"/>
              <a:gd name="connsiteX4353" fmla="*/ 462205 w 6689088"/>
              <a:gd name="connsiteY4353" fmla="*/ 75518 h 6689084"/>
              <a:gd name="connsiteX4354" fmla="*/ 462567 w 6689088"/>
              <a:gd name="connsiteY4354" fmla="*/ 75880 h 6689084"/>
              <a:gd name="connsiteX4355" fmla="*/ 462205 w 6689088"/>
              <a:gd name="connsiteY4355" fmla="*/ 76242 h 6689084"/>
              <a:gd name="connsiteX4356" fmla="*/ 461842 w 6689088"/>
              <a:gd name="connsiteY4356" fmla="*/ 75880 h 6689084"/>
              <a:gd name="connsiteX4357" fmla="*/ 462205 w 6689088"/>
              <a:gd name="connsiteY4357" fmla="*/ 75518 h 6689084"/>
              <a:gd name="connsiteX4358" fmla="*/ 308257 w 6689088"/>
              <a:gd name="connsiteY4358" fmla="*/ 75518 h 6689084"/>
              <a:gd name="connsiteX4359" fmla="*/ 308619 w 6689088"/>
              <a:gd name="connsiteY4359" fmla="*/ 75880 h 6689084"/>
              <a:gd name="connsiteX4360" fmla="*/ 308257 w 6689088"/>
              <a:gd name="connsiteY4360" fmla="*/ 76242 h 6689084"/>
              <a:gd name="connsiteX4361" fmla="*/ 307895 w 6689088"/>
              <a:gd name="connsiteY4361" fmla="*/ 75880 h 6689084"/>
              <a:gd name="connsiteX4362" fmla="*/ 308257 w 6689088"/>
              <a:gd name="connsiteY4362" fmla="*/ 75518 h 6689084"/>
              <a:gd name="connsiteX4363" fmla="*/ 154676 w 6689088"/>
              <a:gd name="connsiteY4363" fmla="*/ 75155 h 6689084"/>
              <a:gd name="connsiteX4364" fmla="*/ 155400 w 6689088"/>
              <a:gd name="connsiteY4364" fmla="*/ 75880 h 6689084"/>
              <a:gd name="connsiteX4365" fmla="*/ 154676 w 6689088"/>
              <a:gd name="connsiteY4365" fmla="*/ 76608 h 6689084"/>
              <a:gd name="connsiteX4366" fmla="*/ 153948 w 6689088"/>
              <a:gd name="connsiteY4366" fmla="*/ 75880 h 6689084"/>
              <a:gd name="connsiteX4367" fmla="*/ 154676 w 6689088"/>
              <a:gd name="connsiteY4367" fmla="*/ 75155 h 6689084"/>
              <a:gd name="connsiteX4368" fmla="*/ 725 w 6689088"/>
              <a:gd name="connsiteY4368" fmla="*/ 75155 h 6689084"/>
              <a:gd name="connsiteX4369" fmla="*/ 1453 w 6689088"/>
              <a:gd name="connsiteY4369" fmla="*/ 75880 h 6689084"/>
              <a:gd name="connsiteX4370" fmla="*/ 725 w 6689088"/>
              <a:gd name="connsiteY4370" fmla="*/ 76608 h 6689084"/>
              <a:gd name="connsiteX4371" fmla="*/ 0 w 6689088"/>
              <a:gd name="connsiteY4371" fmla="*/ 75880 h 6689084"/>
              <a:gd name="connsiteX4372" fmla="*/ 725 w 6689088"/>
              <a:gd name="connsiteY4372" fmla="*/ 75155 h 6689084"/>
              <a:gd name="connsiteX4373" fmla="*/ 1077266 w 6689088"/>
              <a:gd name="connsiteY4373" fmla="*/ 74431 h 6689084"/>
              <a:gd name="connsiteX4374" fmla="*/ 1078718 w 6689088"/>
              <a:gd name="connsiteY4374" fmla="*/ 75884 h 6689084"/>
              <a:gd name="connsiteX4375" fmla="*/ 1077266 w 6689088"/>
              <a:gd name="connsiteY4375" fmla="*/ 77336 h 6689084"/>
              <a:gd name="connsiteX4376" fmla="*/ 1075814 w 6689088"/>
              <a:gd name="connsiteY4376" fmla="*/ 75884 h 6689084"/>
              <a:gd name="connsiteX4377" fmla="*/ 1077266 w 6689088"/>
              <a:gd name="connsiteY4377" fmla="*/ 74431 h 6689084"/>
              <a:gd name="connsiteX4378" fmla="*/ 1231217 w 6689088"/>
              <a:gd name="connsiteY4378" fmla="*/ 73703 h 6689084"/>
              <a:gd name="connsiteX4379" fmla="*/ 1233394 w 6689088"/>
              <a:gd name="connsiteY4379" fmla="*/ 75880 h 6689084"/>
              <a:gd name="connsiteX4380" fmla="*/ 1231217 w 6689088"/>
              <a:gd name="connsiteY4380" fmla="*/ 78060 h 6689084"/>
              <a:gd name="connsiteX4381" fmla="*/ 1229037 w 6689088"/>
              <a:gd name="connsiteY4381" fmla="*/ 75880 h 6689084"/>
              <a:gd name="connsiteX4382" fmla="*/ 1231217 w 6689088"/>
              <a:gd name="connsiteY4382" fmla="*/ 73703 h 6689084"/>
              <a:gd name="connsiteX4383" fmla="*/ 1384799 w 6689088"/>
              <a:gd name="connsiteY4383" fmla="*/ 72617 h 6689084"/>
              <a:gd name="connsiteX4384" fmla="*/ 1388069 w 6689088"/>
              <a:gd name="connsiteY4384" fmla="*/ 75884 h 6689084"/>
              <a:gd name="connsiteX4385" fmla="*/ 1384799 w 6689088"/>
              <a:gd name="connsiteY4385" fmla="*/ 79154 h 6689084"/>
              <a:gd name="connsiteX4386" fmla="*/ 1381532 w 6689088"/>
              <a:gd name="connsiteY4386" fmla="*/ 75884 h 6689084"/>
              <a:gd name="connsiteX4387" fmla="*/ 1384799 w 6689088"/>
              <a:gd name="connsiteY4387" fmla="*/ 72617 h 6689084"/>
              <a:gd name="connsiteX4388" fmla="*/ 1538746 w 6689088"/>
              <a:gd name="connsiteY4388" fmla="*/ 71527 h 6689084"/>
              <a:gd name="connsiteX4389" fmla="*/ 1543103 w 6689088"/>
              <a:gd name="connsiteY4389" fmla="*/ 75884 h 6689084"/>
              <a:gd name="connsiteX4390" fmla="*/ 1538746 w 6689088"/>
              <a:gd name="connsiteY4390" fmla="*/ 80241 h 6689084"/>
              <a:gd name="connsiteX4391" fmla="*/ 1534389 w 6689088"/>
              <a:gd name="connsiteY4391" fmla="*/ 75884 h 6689084"/>
              <a:gd name="connsiteX4392" fmla="*/ 1538746 w 6689088"/>
              <a:gd name="connsiteY4392" fmla="*/ 71527 h 6689084"/>
              <a:gd name="connsiteX4393" fmla="*/ 1692331 w 6689088"/>
              <a:gd name="connsiteY4393" fmla="*/ 70074 h 6689084"/>
              <a:gd name="connsiteX4394" fmla="*/ 1698141 w 6689088"/>
              <a:gd name="connsiteY4394" fmla="*/ 75884 h 6689084"/>
              <a:gd name="connsiteX4395" fmla="*/ 1692331 w 6689088"/>
              <a:gd name="connsiteY4395" fmla="*/ 81693 h 6689084"/>
              <a:gd name="connsiteX4396" fmla="*/ 1686522 w 6689088"/>
              <a:gd name="connsiteY4396" fmla="*/ 75884 h 6689084"/>
              <a:gd name="connsiteX4397" fmla="*/ 1692331 w 6689088"/>
              <a:gd name="connsiteY4397" fmla="*/ 70074 h 6689084"/>
              <a:gd name="connsiteX4398" fmla="*/ 1846279 w 6689088"/>
              <a:gd name="connsiteY4398" fmla="*/ 68622 h 6689084"/>
              <a:gd name="connsiteX4399" fmla="*/ 1853540 w 6689088"/>
              <a:gd name="connsiteY4399" fmla="*/ 75884 h 6689084"/>
              <a:gd name="connsiteX4400" fmla="*/ 1846279 w 6689088"/>
              <a:gd name="connsiteY4400" fmla="*/ 83145 h 6689084"/>
              <a:gd name="connsiteX4401" fmla="*/ 1839017 w 6689088"/>
              <a:gd name="connsiteY4401" fmla="*/ 75884 h 6689084"/>
              <a:gd name="connsiteX4402" fmla="*/ 1846279 w 6689088"/>
              <a:gd name="connsiteY4402" fmla="*/ 68622 h 6689084"/>
              <a:gd name="connsiteX4403" fmla="*/ 1999860 w 6689088"/>
              <a:gd name="connsiteY4403" fmla="*/ 66807 h 6689084"/>
              <a:gd name="connsiteX4404" fmla="*/ 2008940 w 6689088"/>
              <a:gd name="connsiteY4404" fmla="*/ 75884 h 6689084"/>
              <a:gd name="connsiteX4405" fmla="*/ 1999860 w 6689088"/>
              <a:gd name="connsiteY4405" fmla="*/ 84960 h 6689084"/>
              <a:gd name="connsiteX4406" fmla="*/ 1990784 w 6689088"/>
              <a:gd name="connsiteY4406" fmla="*/ 75884 h 6689084"/>
              <a:gd name="connsiteX4407" fmla="*/ 1999860 w 6689088"/>
              <a:gd name="connsiteY4407" fmla="*/ 66807 h 6689084"/>
              <a:gd name="connsiteX4408" fmla="*/ 2153811 w 6689088"/>
              <a:gd name="connsiteY4408" fmla="*/ 65717 h 6689084"/>
              <a:gd name="connsiteX4409" fmla="*/ 2163978 w 6689088"/>
              <a:gd name="connsiteY4409" fmla="*/ 75884 h 6689084"/>
              <a:gd name="connsiteX4410" fmla="*/ 2153811 w 6689088"/>
              <a:gd name="connsiteY4410" fmla="*/ 86050 h 6689084"/>
              <a:gd name="connsiteX4411" fmla="*/ 2143645 w 6689088"/>
              <a:gd name="connsiteY4411" fmla="*/ 75884 h 6689084"/>
              <a:gd name="connsiteX4412" fmla="*/ 2153811 w 6689088"/>
              <a:gd name="connsiteY4412" fmla="*/ 65717 h 6689084"/>
              <a:gd name="connsiteX4413" fmla="*/ 2307393 w 6689088"/>
              <a:gd name="connsiteY4413" fmla="*/ 63899 h 6689084"/>
              <a:gd name="connsiteX4414" fmla="*/ 2319377 w 6689088"/>
              <a:gd name="connsiteY4414" fmla="*/ 75880 h 6689084"/>
              <a:gd name="connsiteX4415" fmla="*/ 2307393 w 6689088"/>
              <a:gd name="connsiteY4415" fmla="*/ 87864 h 6689084"/>
              <a:gd name="connsiteX4416" fmla="*/ 2295412 w 6689088"/>
              <a:gd name="connsiteY4416" fmla="*/ 75880 h 6689084"/>
              <a:gd name="connsiteX4417" fmla="*/ 2307393 w 6689088"/>
              <a:gd name="connsiteY4417" fmla="*/ 63899 h 6689084"/>
              <a:gd name="connsiteX4418" fmla="*/ 2461344 w 6689088"/>
              <a:gd name="connsiteY4418" fmla="*/ 62085 h 6689084"/>
              <a:gd name="connsiteX4419" fmla="*/ 2475139 w 6689088"/>
              <a:gd name="connsiteY4419" fmla="*/ 75880 h 6689084"/>
              <a:gd name="connsiteX4420" fmla="*/ 2461344 w 6689088"/>
              <a:gd name="connsiteY4420" fmla="*/ 89679 h 6689084"/>
              <a:gd name="connsiteX4421" fmla="*/ 2447545 w 6689088"/>
              <a:gd name="connsiteY4421" fmla="*/ 75880 h 6689084"/>
              <a:gd name="connsiteX4422" fmla="*/ 2461344 w 6689088"/>
              <a:gd name="connsiteY4422" fmla="*/ 62085 h 6689084"/>
              <a:gd name="connsiteX4423" fmla="*/ 2614925 w 6689088"/>
              <a:gd name="connsiteY4423" fmla="*/ 60632 h 6689084"/>
              <a:gd name="connsiteX4424" fmla="*/ 2630177 w 6689088"/>
              <a:gd name="connsiteY4424" fmla="*/ 75880 h 6689084"/>
              <a:gd name="connsiteX4425" fmla="*/ 2614925 w 6689088"/>
              <a:gd name="connsiteY4425" fmla="*/ 91131 h 6689084"/>
              <a:gd name="connsiteX4426" fmla="*/ 2599678 w 6689088"/>
              <a:gd name="connsiteY4426" fmla="*/ 75880 h 6689084"/>
              <a:gd name="connsiteX4427" fmla="*/ 2614925 w 6689088"/>
              <a:gd name="connsiteY4427" fmla="*/ 60632 h 6689084"/>
              <a:gd name="connsiteX4428" fmla="*/ 2768873 w 6689088"/>
              <a:gd name="connsiteY4428" fmla="*/ 58818 h 6689084"/>
              <a:gd name="connsiteX4429" fmla="*/ 2785939 w 6689088"/>
              <a:gd name="connsiteY4429" fmla="*/ 75884 h 6689084"/>
              <a:gd name="connsiteX4430" fmla="*/ 2768873 w 6689088"/>
              <a:gd name="connsiteY4430" fmla="*/ 92946 h 6689084"/>
              <a:gd name="connsiteX4431" fmla="*/ 2751807 w 6689088"/>
              <a:gd name="connsiteY4431" fmla="*/ 75884 h 6689084"/>
              <a:gd name="connsiteX4432" fmla="*/ 2768873 w 6689088"/>
              <a:gd name="connsiteY4432" fmla="*/ 58818 h 6689084"/>
              <a:gd name="connsiteX4433" fmla="*/ 2922458 w 6689088"/>
              <a:gd name="connsiteY4433" fmla="*/ 56641 h 6689084"/>
              <a:gd name="connsiteX4434" fmla="*/ 2941700 w 6689088"/>
              <a:gd name="connsiteY4434" fmla="*/ 75884 h 6689084"/>
              <a:gd name="connsiteX4435" fmla="*/ 2922458 w 6689088"/>
              <a:gd name="connsiteY4435" fmla="*/ 95126 h 6689084"/>
              <a:gd name="connsiteX4436" fmla="*/ 2903216 w 6689088"/>
              <a:gd name="connsiteY4436" fmla="*/ 75884 h 6689084"/>
              <a:gd name="connsiteX4437" fmla="*/ 2922458 w 6689088"/>
              <a:gd name="connsiteY4437" fmla="*/ 56641 h 6689084"/>
              <a:gd name="connsiteX4438" fmla="*/ 3076406 w 6689088"/>
              <a:gd name="connsiteY4438" fmla="*/ 54461 h 6689084"/>
              <a:gd name="connsiteX4439" fmla="*/ 3097828 w 6689088"/>
              <a:gd name="connsiteY4439" fmla="*/ 75884 h 6689084"/>
              <a:gd name="connsiteX4440" fmla="*/ 3076406 w 6689088"/>
              <a:gd name="connsiteY4440" fmla="*/ 97303 h 6689084"/>
              <a:gd name="connsiteX4441" fmla="*/ 3054982 w 6689088"/>
              <a:gd name="connsiteY4441" fmla="*/ 75884 h 6689084"/>
              <a:gd name="connsiteX4442" fmla="*/ 3076406 w 6689088"/>
              <a:gd name="connsiteY4442" fmla="*/ 54461 h 6689084"/>
              <a:gd name="connsiteX4443" fmla="*/ 3230353 w 6689088"/>
              <a:gd name="connsiteY4443" fmla="*/ 53008 h 6689084"/>
              <a:gd name="connsiteX4444" fmla="*/ 3253228 w 6689088"/>
              <a:gd name="connsiteY4444" fmla="*/ 75884 h 6689084"/>
              <a:gd name="connsiteX4445" fmla="*/ 3230353 w 6689088"/>
              <a:gd name="connsiteY4445" fmla="*/ 98759 h 6689084"/>
              <a:gd name="connsiteX4446" fmla="*/ 3207478 w 6689088"/>
              <a:gd name="connsiteY4446" fmla="*/ 75884 h 6689084"/>
              <a:gd name="connsiteX4447" fmla="*/ 3230353 w 6689088"/>
              <a:gd name="connsiteY4447" fmla="*/ 53008 h 6689084"/>
              <a:gd name="connsiteX4448" fmla="*/ 3383934 w 6689088"/>
              <a:gd name="connsiteY4448" fmla="*/ 50832 h 6689084"/>
              <a:gd name="connsiteX4449" fmla="*/ 3408986 w 6689088"/>
              <a:gd name="connsiteY4449" fmla="*/ 75884 h 6689084"/>
              <a:gd name="connsiteX4450" fmla="*/ 3383934 w 6689088"/>
              <a:gd name="connsiteY4450" fmla="*/ 100939 h 6689084"/>
              <a:gd name="connsiteX4451" fmla="*/ 3358882 w 6689088"/>
              <a:gd name="connsiteY4451" fmla="*/ 75884 h 6689084"/>
              <a:gd name="connsiteX4452" fmla="*/ 3383934 w 6689088"/>
              <a:gd name="connsiteY4452" fmla="*/ 50832 h 6689084"/>
              <a:gd name="connsiteX4453" fmla="*/ 3537886 w 6689088"/>
              <a:gd name="connsiteY4453" fmla="*/ 48651 h 6689084"/>
              <a:gd name="connsiteX4454" fmla="*/ 3565118 w 6689088"/>
              <a:gd name="connsiteY4454" fmla="*/ 75884 h 6689084"/>
              <a:gd name="connsiteX4455" fmla="*/ 3537886 w 6689088"/>
              <a:gd name="connsiteY4455" fmla="*/ 103112 h 6689084"/>
              <a:gd name="connsiteX4456" fmla="*/ 3510653 w 6689088"/>
              <a:gd name="connsiteY4456" fmla="*/ 75884 h 6689084"/>
              <a:gd name="connsiteX4457" fmla="*/ 3537886 w 6689088"/>
              <a:gd name="connsiteY4457" fmla="*/ 48651 h 6689084"/>
              <a:gd name="connsiteX4458" fmla="*/ 3691467 w 6689088"/>
              <a:gd name="connsiteY4458" fmla="*/ 46109 h 6689084"/>
              <a:gd name="connsiteX4459" fmla="*/ 3721242 w 6689088"/>
              <a:gd name="connsiteY4459" fmla="*/ 75880 h 6689084"/>
              <a:gd name="connsiteX4460" fmla="*/ 3691467 w 6689088"/>
              <a:gd name="connsiteY4460" fmla="*/ 105655 h 6689084"/>
              <a:gd name="connsiteX4461" fmla="*/ 3661696 w 6689088"/>
              <a:gd name="connsiteY4461" fmla="*/ 75880 h 6689084"/>
              <a:gd name="connsiteX4462" fmla="*/ 3691467 w 6689088"/>
              <a:gd name="connsiteY4462" fmla="*/ 46109 h 6689084"/>
              <a:gd name="connsiteX4463" fmla="*/ 3845414 w 6689088"/>
              <a:gd name="connsiteY4463" fmla="*/ 43932 h 6689084"/>
              <a:gd name="connsiteX4464" fmla="*/ 3877366 w 6689088"/>
              <a:gd name="connsiteY4464" fmla="*/ 75884 h 6689084"/>
              <a:gd name="connsiteX4465" fmla="*/ 3845414 w 6689088"/>
              <a:gd name="connsiteY4465" fmla="*/ 107835 h 6689084"/>
              <a:gd name="connsiteX4466" fmla="*/ 3813463 w 6689088"/>
              <a:gd name="connsiteY4466" fmla="*/ 75884 h 6689084"/>
              <a:gd name="connsiteX4467" fmla="*/ 3845414 w 6689088"/>
              <a:gd name="connsiteY4467" fmla="*/ 43932 h 6689084"/>
              <a:gd name="connsiteX4468" fmla="*/ 3999000 w 6689088"/>
              <a:gd name="connsiteY4468" fmla="*/ 42118 h 6689084"/>
              <a:gd name="connsiteX4469" fmla="*/ 4032769 w 6689088"/>
              <a:gd name="connsiteY4469" fmla="*/ 75884 h 6689084"/>
              <a:gd name="connsiteX4470" fmla="*/ 3999000 w 6689088"/>
              <a:gd name="connsiteY4470" fmla="*/ 109653 h 6689084"/>
              <a:gd name="connsiteX4471" fmla="*/ 3965234 w 6689088"/>
              <a:gd name="connsiteY4471" fmla="*/ 75884 h 6689084"/>
              <a:gd name="connsiteX4472" fmla="*/ 3999000 w 6689088"/>
              <a:gd name="connsiteY4472" fmla="*/ 42118 h 6689084"/>
              <a:gd name="connsiteX4473" fmla="*/ 4152947 w 6689088"/>
              <a:gd name="connsiteY4473" fmla="*/ 39575 h 6689084"/>
              <a:gd name="connsiteX4474" fmla="*/ 4189256 w 6689088"/>
              <a:gd name="connsiteY4474" fmla="*/ 75884 h 6689084"/>
              <a:gd name="connsiteX4475" fmla="*/ 4152947 w 6689088"/>
              <a:gd name="connsiteY4475" fmla="*/ 112192 h 6689084"/>
              <a:gd name="connsiteX4476" fmla="*/ 4116638 w 6689088"/>
              <a:gd name="connsiteY4476" fmla="*/ 75884 h 6689084"/>
              <a:gd name="connsiteX4477" fmla="*/ 4152947 w 6689088"/>
              <a:gd name="connsiteY4477" fmla="*/ 39575 h 6689084"/>
              <a:gd name="connsiteX4478" fmla="*/ 4306532 w 6689088"/>
              <a:gd name="connsiteY4478" fmla="*/ 37033 h 6689084"/>
              <a:gd name="connsiteX4479" fmla="*/ 4345380 w 6689088"/>
              <a:gd name="connsiteY4479" fmla="*/ 75884 h 6689084"/>
              <a:gd name="connsiteX4480" fmla="*/ 4306532 w 6689088"/>
              <a:gd name="connsiteY4480" fmla="*/ 114735 h 6689084"/>
              <a:gd name="connsiteX4481" fmla="*/ 4267682 w 6689088"/>
              <a:gd name="connsiteY4481" fmla="*/ 75884 h 6689084"/>
              <a:gd name="connsiteX4482" fmla="*/ 4306532 w 6689088"/>
              <a:gd name="connsiteY4482" fmla="*/ 37033 h 6689084"/>
              <a:gd name="connsiteX4483" fmla="*/ 4460480 w 6689088"/>
              <a:gd name="connsiteY4483" fmla="*/ 34852 h 6689084"/>
              <a:gd name="connsiteX4484" fmla="*/ 4501511 w 6689088"/>
              <a:gd name="connsiteY4484" fmla="*/ 75880 h 6689084"/>
              <a:gd name="connsiteX4485" fmla="*/ 4460480 w 6689088"/>
              <a:gd name="connsiteY4485" fmla="*/ 116911 h 6689084"/>
              <a:gd name="connsiteX4486" fmla="*/ 4419452 w 6689088"/>
              <a:gd name="connsiteY4486" fmla="*/ 75880 h 6689084"/>
              <a:gd name="connsiteX4487" fmla="*/ 4460480 w 6689088"/>
              <a:gd name="connsiteY4487" fmla="*/ 34852 h 6689084"/>
              <a:gd name="connsiteX4488" fmla="*/ 4614065 w 6689088"/>
              <a:gd name="connsiteY4488" fmla="*/ 32314 h 6689084"/>
              <a:gd name="connsiteX4489" fmla="*/ 4657635 w 6689088"/>
              <a:gd name="connsiteY4489" fmla="*/ 75884 h 6689084"/>
              <a:gd name="connsiteX4490" fmla="*/ 4614065 w 6689088"/>
              <a:gd name="connsiteY4490" fmla="*/ 119454 h 6689084"/>
              <a:gd name="connsiteX4491" fmla="*/ 4570495 w 6689088"/>
              <a:gd name="connsiteY4491" fmla="*/ 75884 h 6689084"/>
              <a:gd name="connsiteX4492" fmla="*/ 4614065 w 6689088"/>
              <a:gd name="connsiteY4492" fmla="*/ 32314 h 6689084"/>
              <a:gd name="connsiteX4493" fmla="*/ 4768012 w 6689088"/>
              <a:gd name="connsiteY4493" fmla="*/ 29771 h 6689084"/>
              <a:gd name="connsiteX4494" fmla="*/ 4814125 w 6689088"/>
              <a:gd name="connsiteY4494" fmla="*/ 75884 h 6689084"/>
              <a:gd name="connsiteX4495" fmla="*/ 4768012 w 6689088"/>
              <a:gd name="connsiteY4495" fmla="*/ 121996 h 6689084"/>
              <a:gd name="connsiteX4496" fmla="*/ 4721900 w 6689088"/>
              <a:gd name="connsiteY4496" fmla="*/ 75884 h 6689084"/>
              <a:gd name="connsiteX4497" fmla="*/ 4768012 w 6689088"/>
              <a:gd name="connsiteY4497" fmla="*/ 29771 h 6689084"/>
              <a:gd name="connsiteX4498" fmla="*/ 4921594 w 6689088"/>
              <a:gd name="connsiteY4498" fmla="*/ 27228 h 6689084"/>
              <a:gd name="connsiteX4499" fmla="*/ 4970249 w 6689088"/>
              <a:gd name="connsiteY4499" fmla="*/ 75880 h 6689084"/>
              <a:gd name="connsiteX4500" fmla="*/ 4921594 w 6689088"/>
              <a:gd name="connsiteY4500" fmla="*/ 124535 h 6689084"/>
              <a:gd name="connsiteX4501" fmla="*/ 4872942 w 6689088"/>
              <a:gd name="connsiteY4501" fmla="*/ 75880 h 6689084"/>
              <a:gd name="connsiteX4502" fmla="*/ 4921594 w 6689088"/>
              <a:gd name="connsiteY4502" fmla="*/ 27228 h 6689084"/>
              <a:gd name="connsiteX4503" fmla="*/ 5075541 w 6689088"/>
              <a:gd name="connsiteY4503" fmla="*/ 24690 h 6689084"/>
              <a:gd name="connsiteX4504" fmla="*/ 5126735 w 6689088"/>
              <a:gd name="connsiteY4504" fmla="*/ 75884 h 6689084"/>
              <a:gd name="connsiteX4505" fmla="*/ 5075541 w 6689088"/>
              <a:gd name="connsiteY4505" fmla="*/ 127081 h 6689084"/>
              <a:gd name="connsiteX4506" fmla="*/ 5024348 w 6689088"/>
              <a:gd name="connsiteY4506" fmla="*/ 75884 h 6689084"/>
              <a:gd name="connsiteX4507" fmla="*/ 5075541 w 6689088"/>
              <a:gd name="connsiteY4507" fmla="*/ 24690 h 6689084"/>
              <a:gd name="connsiteX4508" fmla="*/ 5229126 w 6689088"/>
              <a:gd name="connsiteY4508" fmla="*/ 22509 h 6689084"/>
              <a:gd name="connsiteX4509" fmla="*/ 5282500 w 6689088"/>
              <a:gd name="connsiteY4509" fmla="*/ 75884 h 6689084"/>
              <a:gd name="connsiteX4510" fmla="*/ 5229126 w 6689088"/>
              <a:gd name="connsiteY4510" fmla="*/ 129258 h 6689084"/>
              <a:gd name="connsiteX4511" fmla="*/ 5175752 w 6689088"/>
              <a:gd name="connsiteY4511" fmla="*/ 75884 h 6689084"/>
              <a:gd name="connsiteX4512" fmla="*/ 5229126 w 6689088"/>
              <a:gd name="connsiteY4512" fmla="*/ 22509 h 6689084"/>
              <a:gd name="connsiteX4513" fmla="*/ 5383074 w 6689088"/>
              <a:gd name="connsiteY4513" fmla="*/ 19605 h 6689084"/>
              <a:gd name="connsiteX4514" fmla="*/ 5439352 w 6689088"/>
              <a:gd name="connsiteY4514" fmla="*/ 75884 h 6689084"/>
              <a:gd name="connsiteX4515" fmla="*/ 5383074 w 6689088"/>
              <a:gd name="connsiteY4515" fmla="*/ 132162 h 6689084"/>
              <a:gd name="connsiteX4516" fmla="*/ 5326795 w 6689088"/>
              <a:gd name="connsiteY4516" fmla="*/ 75884 h 6689084"/>
              <a:gd name="connsiteX4517" fmla="*/ 5383074 w 6689088"/>
              <a:gd name="connsiteY4517" fmla="*/ 19605 h 6689084"/>
              <a:gd name="connsiteX4518" fmla="*/ 5536659 w 6689088"/>
              <a:gd name="connsiteY4518" fmla="*/ 17062 h 6689084"/>
              <a:gd name="connsiteX4519" fmla="*/ 5595476 w 6689088"/>
              <a:gd name="connsiteY4519" fmla="*/ 75880 h 6689084"/>
              <a:gd name="connsiteX4520" fmla="*/ 5536659 w 6689088"/>
              <a:gd name="connsiteY4520" fmla="*/ 134701 h 6689084"/>
              <a:gd name="connsiteX4521" fmla="*/ 5477838 w 6689088"/>
              <a:gd name="connsiteY4521" fmla="*/ 75880 h 6689084"/>
              <a:gd name="connsiteX4522" fmla="*/ 5536659 w 6689088"/>
              <a:gd name="connsiteY4522" fmla="*/ 17062 h 6689084"/>
              <a:gd name="connsiteX4523" fmla="*/ 5690606 w 6689088"/>
              <a:gd name="connsiteY4523" fmla="*/ 14157 h 6689084"/>
              <a:gd name="connsiteX4524" fmla="*/ 5752329 w 6689088"/>
              <a:gd name="connsiteY4524" fmla="*/ 75880 h 6689084"/>
              <a:gd name="connsiteX4525" fmla="*/ 5690606 w 6689088"/>
              <a:gd name="connsiteY4525" fmla="*/ 137606 h 6689084"/>
              <a:gd name="connsiteX4526" fmla="*/ 5628880 w 6689088"/>
              <a:gd name="connsiteY4526" fmla="*/ 75880 h 6689084"/>
              <a:gd name="connsiteX4527" fmla="*/ 5690606 w 6689088"/>
              <a:gd name="connsiteY4527" fmla="*/ 14157 h 6689084"/>
              <a:gd name="connsiteX4528" fmla="*/ 5844554 w 6689088"/>
              <a:gd name="connsiteY4528" fmla="*/ 11619 h 6689084"/>
              <a:gd name="connsiteX4529" fmla="*/ 5908822 w 6689088"/>
              <a:gd name="connsiteY4529" fmla="*/ 75884 h 6689084"/>
              <a:gd name="connsiteX4530" fmla="*/ 5844554 w 6689088"/>
              <a:gd name="connsiteY4530" fmla="*/ 140152 h 6689084"/>
              <a:gd name="connsiteX4531" fmla="*/ 5780289 w 6689088"/>
              <a:gd name="connsiteY4531" fmla="*/ 75884 h 6689084"/>
              <a:gd name="connsiteX4532" fmla="*/ 5844554 w 6689088"/>
              <a:gd name="connsiteY4532" fmla="*/ 11619 h 6689084"/>
              <a:gd name="connsiteX4533" fmla="*/ 5998136 w 6689088"/>
              <a:gd name="connsiteY4533" fmla="*/ 8348 h 6689084"/>
              <a:gd name="connsiteX4534" fmla="*/ 6065671 w 6689088"/>
              <a:gd name="connsiteY4534" fmla="*/ 75884 h 6689084"/>
              <a:gd name="connsiteX4535" fmla="*/ 5998136 w 6689088"/>
              <a:gd name="connsiteY4535" fmla="*/ 143415 h 6689084"/>
              <a:gd name="connsiteX4536" fmla="*/ 5930604 w 6689088"/>
              <a:gd name="connsiteY4536" fmla="*/ 75884 h 6689084"/>
              <a:gd name="connsiteX4537" fmla="*/ 5998136 w 6689088"/>
              <a:gd name="connsiteY4537" fmla="*/ 8348 h 6689084"/>
              <a:gd name="connsiteX4538" fmla="*/ 6152086 w 6689088"/>
              <a:gd name="connsiteY4538" fmla="*/ 5809 h 6689084"/>
              <a:gd name="connsiteX4539" fmla="*/ 6222160 w 6689088"/>
              <a:gd name="connsiteY4539" fmla="*/ 75884 h 6689084"/>
              <a:gd name="connsiteX4540" fmla="*/ 6152086 w 6689088"/>
              <a:gd name="connsiteY4540" fmla="*/ 145962 h 6689084"/>
              <a:gd name="connsiteX4541" fmla="*/ 6082008 w 6689088"/>
              <a:gd name="connsiteY4541" fmla="*/ 75884 h 6689084"/>
              <a:gd name="connsiteX4542" fmla="*/ 6152086 w 6689088"/>
              <a:gd name="connsiteY4542" fmla="*/ 5809 h 6689084"/>
              <a:gd name="connsiteX4543" fmla="*/ 6305668 w 6689088"/>
              <a:gd name="connsiteY4543" fmla="*/ 2905 h 6689084"/>
              <a:gd name="connsiteX4544" fmla="*/ 6378650 w 6689088"/>
              <a:gd name="connsiteY4544" fmla="*/ 75884 h 6689084"/>
              <a:gd name="connsiteX4545" fmla="*/ 6305668 w 6689088"/>
              <a:gd name="connsiteY4545" fmla="*/ 148866 h 6689084"/>
              <a:gd name="connsiteX4546" fmla="*/ 6232689 w 6689088"/>
              <a:gd name="connsiteY4546" fmla="*/ 75884 h 6689084"/>
              <a:gd name="connsiteX4547" fmla="*/ 6305668 w 6689088"/>
              <a:gd name="connsiteY4547" fmla="*/ 2905 h 6689084"/>
              <a:gd name="connsiteX4548" fmla="*/ 6459616 w 6689088"/>
              <a:gd name="connsiteY4548" fmla="*/ 362 h 6689084"/>
              <a:gd name="connsiteX4549" fmla="*/ 6535137 w 6689088"/>
              <a:gd name="connsiteY4549" fmla="*/ 75884 h 6689084"/>
              <a:gd name="connsiteX4550" fmla="*/ 6459616 w 6689088"/>
              <a:gd name="connsiteY4550" fmla="*/ 151405 h 6689084"/>
              <a:gd name="connsiteX4551" fmla="*/ 6384094 w 6689088"/>
              <a:gd name="connsiteY4551" fmla="*/ 75884 h 6689084"/>
              <a:gd name="connsiteX4552" fmla="*/ 6459616 w 6689088"/>
              <a:gd name="connsiteY4552" fmla="*/ 362 h 6689084"/>
              <a:gd name="connsiteX4553" fmla="*/ 6613200 w 6689088"/>
              <a:gd name="connsiteY4553" fmla="*/ 0 h 6689084"/>
              <a:gd name="connsiteX4554" fmla="*/ 6689088 w 6689088"/>
              <a:gd name="connsiteY4554" fmla="*/ 75884 h 6689084"/>
              <a:gd name="connsiteX4555" fmla="*/ 6613200 w 6689088"/>
              <a:gd name="connsiteY4555" fmla="*/ 151771 h 6689084"/>
              <a:gd name="connsiteX4556" fmla="*/ 6537317 w 6689088"/>
              <a:gd name="connsiteY4556" fmla="*/ 75884 h 6689084"/>
              <a:gd name="connsiteX4557" fmla="*/ 6613200 w 6689088"/>
              <a:gd name="connsiteY4557" fmla="*/ 0 h 6689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Lst>
            <a:rect l="l" t="t" r="r" b="b"/>
            <a:pathLst>
              <a:path w="6689088" h="6689084">
                <a:moveTo>
                  <a:pt x="6613200" y="6687632"/>
                </a:moveTo>
                <a:cubicBezTo>
                  <a:pt x="6613563" y="6687632"/>
                  <a:pt x="6613929" y="6687994"/>
                  <a:pt x="6613929" y="6688360"/>
                </a:cubicBezTo>
                <a:cubicBezTo>
                  <a:pt x="6613929" y="6688722"/>
                  <a:pt x="6613200" y="6689084"/>
                  <a:pt x="6613200" y="6689084"/>
                </a:cubicBezTo>
                <a:cubicBezTo>
                  <a:pt x="6612838" y="6689084"/>
                  <a:pt x="6612476" y="6688722"/>
                  <a:pt x="6612476" y="6688360"/>
                </a:cubicBezTo>
                <a:cubicBezTo>
                  <a:pt x="6612476" y="6687994"/>
                  <a:pt x="6612838" y="6687632"/>
                  <a:pt x="6613200" y="6687632"/>
                </a:cubicBezTo>
                <a:close/>
                <a:moveTo>
                  <a:pt x="6613200" y="6534050"/>
                </a:moveTo>
                <a:cubicBezTo>
                  <a:pt x="6613566" y="6534050"/>
                  <a:pt x="6613566" y="6534050"/>
                  <a:pt x="6613566" y="6534413"/>
                </a:cubicBezTo>
                <a:cubicBezTo>
                  <a:pt x="6613566" y="6534775"/>
                  <a:pt x="6613200" y="6534775"/>
                  <a:pt x="6613200" y="6534775"/>
                </a:cubicBezTo>
                <a:cubicBezTo>
                  <a:pt x="6612838" y="6534775"/>
                  <a:pt x="6612838" y="6534775"/>
                  <a:pt x="6612838" y="6534413"/>
                </a:cubicBezTo>
                <a:cubicBezTo>
                  <a:pt x="6612838" y="6534050"/>
                  <a:pt x="6612838" y="6534050"/>
                  <a:pt x="6613200" y="6534050"/>
                </a:cubicBezTo>
                <a:close/>
                <a:moveTo>
                  <a:pt x="6459619" y="6533684"/>
                </a:moveTo>
                <a:cubicBezTo>
                  <a:pt x="6460020" y="6533684"/>
                  <a:pt x="6460344" y="6534009"/>
                  <a:pt x="6460344" y="6534413"/>
                </a:cubicBezTo>
                <a:cubicBezTo>
                  <a:pt x="6460344" y="6534813"/>
                  <a:pt x="6460020" y="6535137"/>
                  <a:pt x="6459619" y="6535137"/>
                </a:cubicBezTo>
                <a:cubicBezTo>
                  <a:pt x="6459215" y="6535137"/>
                  <a:pt x="6458891" y="6534813"/>
                  <a:pt x="6458891" y="6534413"/>
                </a:cubicBezTo>
                <a:cubicBezTo>
                  <a:pt x="6458891" y="6534009"/>
                  <a:pt x="6459215" y="6533684"/>
                  <a:pt x="6459619" y="6533684"/>
                </a:cubicBezTo>
                <a:close/>
                <a:moveTo>
                  <a:pt x="6613200" y="6380465"/>
                </a:moveTo>
                <a:cubicBezTo>
                  <a:pt x="6613566" y="6380465"/>
                  <a:pt x="6613566" y="6380465"/>
                  <a:pt x="6613566" y="6380827"/>
                </a:cubicBezTo>
                <a:cubicBezTo>
                  <a:pt x="6613566" y="6381193"/>
                  <a:pt x="6613200" y="6381193"/>
                  <a:pt x="6613200" y="6381193"/>
                </a:cubicBezTo>
                <a:cubicBezTo>
                  <a:pt x="6612838" y="6381193"/>
                  <a:pt x="6612838" y="6381193"/>
                  <a:pt x="6612838" y="6380827"/>
                </a:cubicBezTo>
                <a:cubicBezTo>
                  <a:pt x="6612838" y="6380465"/>
                  <a:pt x="6612838" y="6380465"/>
                  <a:pt x="6613200" y="6380465"/>
                </a:cubicBezTo>
                <a:close/>
                <a:moveTo>
                  <a:pt x="6459616" y="6380465"/>
                </a:moveTo>
                <a:cubicBezTo>
                  <a:pt x="6459982" y="6380465"/>
                  <a:pt x="6459982" y="6380465"/>
                  <a:pt x="6459982" y="6380827"/>
                </a:cubicBezTo>
                <a:cubicBezTo>
                  <a:pt x="6459982" y="6381193"/>
                  <a:pt x="6459616" y="6381193"/>
                  <a:pt x="6459616" y="6381193"/>
                </a:cubicBezTo>
                <a:cubicBezTo>
                  <a:pt x="6459254" y="6381193"/>
                  <a:pt x="6459254" y="6381193"/>
                  <a:pt x="6459254" y="6380827"/>
                </a:cubicBezTo>
                <a:cubicBezTo>
                  <a:pt x="6459254" y="6380465"/>
                  <a:pt x="6459254" y="6380465"/>
                  <a:pt x="6459616" y="6380465"/>
                </a:cubicBezTo>
                <a:close/>
                <a:moveTo>
                  <a:pt x="6305668" y="6380103"/>
                </a:moveTo>
                <a:cubicBezTo>
                  <a:pt x="6306068" y="6380103"/>
                  <a:pt x="6306396" y="6380427"/>
                  <a:pt x="6306396" y="6380831"/>
                </a:cubicBezTo>
                <a:cubicBezTo>
                  <a:pt x="6306396" y="6381231"/>
                  <a:pt x="6306068" y="6381555"/>
                  <a:pt x="6305668" y="6381555"/>
                </a:cubicBezTo>
                <a:cubicBezTo>
                  <a:pt x="6305268" y="6381555"/>
                  <a:pt x="6304940" y="6381231"/>
                  <a:pt x="6304940" y="6380831"/>
                </a:cubicBezTo>
                <a:cubicBezTo>
                  <a:pt x="6304940" y="6380427"/>
                  <a:pt x="6305268" y="6380103"/>
                  <a:pt x="6305668" y="6380103"/>
                </a:cubicBezTo>
                <a:close/>
                <a:moveTo>
                  <a:pt x="6459616" y="6226518"/>
                </a:moveTo>
                <a:cubicBezTo>
                  <a:pt x="6459982" y="6226518"/>
                  <a:pt x="6459982" y="6226518"/>
                  <a:pt x="6459982" y="6226880"/>
                </a:cubicBezTo>
                <a:cubicBezTo>
                  <a:pt x="6459982" y="6227242"/>
                  <a:pt x="6459616" y="6227242"/>
                  <a:pt x="6459616" y="6227242"/>
                </a:cubicBezTo>
                <a:cubicBezTo>
                  <a:pt x="6459254" y="6227242"/>
                  <a:pt x="6459254" y="6227242"/>
                  <a:pt x="6459254" y="6226880"/>
                </a:cubicBezTo>
                <a:cubicBezTo>
                  <a:pt x="6459254" y="6226518"/>
                  <a:pt x="6459254" y="6226518"/>
                  <a:pt x="6459616" y="6226518"/>
                </a:cubicBezTo>
                <a:close/>
                <a:moveTo>
                  <a:pt x="6305668" y="6226518"/>
                </a:moveTo>
                <a:cubicBezTo>
                  <a:pt x="6306034" y="6226518"/>
                  <a:pt x="6306034" y="6226518"/>
                  <a:pt x="6306034" y="6226880"/>
                </a:cubicBezTo>
                <a:cubicBezTo>
                  <a:pt x="6306034" y="6227242"/>
                  <a:pt x="6305668" y="6227242"/>
                  <a:pt x="6305668" y="6227242"/>
                </a:cubicBezTo>
                <a:cubicBezTo>
                  <a:pt x="6305306" y="6227242"/>
                  <a:pt x="6305306" y="6227242"/>
                  <a:pt x="6305306" y="6226880"/>
                </a:cubicBezTo>
                <a:cubicBezTo>
                  <a:pt x="6305306" y="6226518"/>
                  <a:pt x="6305306" y="6226518"/>
                  <a:pt x="6305668" y="6226518"/>
                </a:cubicBezTo>
                <a:close/>
                <a:moveTo>
                  <a:pt x="6152083" y="6226156"/>
                </a:moveTo>
                <a:cubicBezTo>
                  <a:pt x="6152483" y="6226156"/>
                  <a:pt x="6152811" y="6226480"/>
                  <a:pt x="6152811" y="6226884"/>
                </a:cubicBezTo>
                <a:cubicBezTo>
                  <a:pt x="6152811" y="6227284"/>
                  <a:pt x="6152483" y="6227608"/>
                  <a:pt x="6152083" y="6227608"/>
                </a:cubicBezTo>
                <a:cubicBezTo>
                  <a:pt x="6151682" y="6227608"/>
                  <a:pt x="6151358" y="6227284"/>
                  <a:pt x="6151358" y="6226884"/>
                </a:cubicBezTo>
                <a:cubicBezTo>
                  <a:pt x="6151358" y="6226480"/>
                  <a:pt x="6151682" y="6226156"/>
                  <a:pt x="6152083" y="6226156"/>
                </a:cubicBezTo>
                <a:close/>
                <a:moveTo>
                  <a:pt x="6305668" y="6072933"/>
                </a:moveTo>
                <a:cubicBezTo>
                  <a:pt x="6306034" y="6072933"/>
                  <a:pt x="6306034" y="6072933"/>
                  <a:pt x="6306034" y="6073295"/>
                </a:cubicBezTo>
                <a:cubicBezTo>
                  <a:pt x="6306034" y="6073661"/>
                  <a:pt x="6305668" y="6073661"/>
                  <a:pt x="6305668" y="6073661"/>
                </a:cubicBezTo>
                <a:cubicBezTo>
                  <a:pt x="6305306" y="6073661"/>
                  <a:pt x="6305306" y="6073661"/>
                  <a:pt x="6305306" y="6073295"/>
                </a:cubicBezTo>
                <a:cubicBezTo>
                  <a:pt x="6305306" y="6072933"/>
                  <a:pt x="6305306" y="6072933"/>
                  <a:pt x="6305668" y="6072933"/>
                </a:cubicBezTo>
                <a:close/>
                <a:moveTo>
                  <a:pt x="6152086" y="6072933"/>
                </a:moveTo>
                <a:cubicBezTo>
                  <a:pt x="6152448" y="6072933"/>
                  <a:pt x="6152448" y="6072933"/>
                  <a:pt x="6152448" y="6073295"/>
                </a:cubicBezTo>
                <a:cubicBezTo>
                  <a:pt x="6152448" y="6073661"/>
                  <a:pt x="6152086" y="6073661"/>
                  <a:pt x="6152086" y="6073661"/>
                </a:cubicBezTo>
                <a:cubicBezTo>
                  <a:pt x="6151724" y="6073661"/>
                  <a:pt x="6151724" y="6073661"/>
                  <a:pt x="6151724" y="6073295"/>
                </a:cubicBezTo>
                <a:cubicBezTo>
                  <a:pt x="6151724" y="6072933"/>
                  <a:pt x="6151724" y="6072933"/>
                  <a:pt x="6152086" y="6072933"/>
                </a:cubicBezTo>
                <a:close/>
                <a:moveTo>
                  <a:pt x="5998136" y="6072570"/>
                </a:moveTo>
                <a:cubicBezTo>
                  <a:pt x="5998540" y="6072570"/>
                  <a:pt x="5998864" y="6072894"/>
                  <a:pt x="5998864" y="6073298"/>
                </a:cubicBezTo>
                <a:cubicBezTo>
                  <a:pt x="5998864" y="6073699"/>
                  <a:pt x="5998540" y="6074023"/>
                  <a:pt x="5998136" y="6074023"/>
                </a:cubicBezTo>
                <a:cubicBezTo>
                  <a:pt x="5997735" y="6074023"/>
                  <a:pt x="5997411" y="6073699"/>
                  <a:pt x="5997411" y="6073298"/>
                </a:cubicBezTo>
                <a:cubicBezTo>
                  <a:pt x="5997411" y="6072894"/>
                  <a:pt x="5997735" y="6072570"/>
                  <a:pt x="5998136" y="6072570"/>
                </a:cubicBezTo>
                <a:close/>
                <a:moveTo>
                  <a:pt x="6613200" y="5918985"/>
                </a:moveTo>
                <a:cubicBezTo>
                  <a:pt x="6613566" y="5918985"/>
                  <a:pt x="6613566" y="5918985"/>
                  <a:pt x="6613566" y="5919347"/>
                </a:cubicBezTo>
                <a:cubicBezTo>
                  <a:pt x="6613566" y="5919709"/>
                  <a:pt x="6613200" y="5919709"/>
                  <a:pt x="6613200" y="5919709"/>
                </a:cubicBezTo>
                <a:cubicBezTo>
                  <a:pt x="6612838" y="5919709"/>
                  <a:pt x="6612838" y="5919709"/>
                  <a:pt x="6612838" y="5919347"/>
                </a:cubicBezTo>
                <a:cubicBezTo>
                  <a:pt x="6612838" y="5918985"/>
                  <a:pt x="6612838" y="5918985"/>
                  <a:pt x="6613200" y="5918985"/>
                </a:cubicBezTo>
                <a:close/>
                <a:moveTo>
                  <a:pt x="6152086" y="5918985"/>
                </a:moveTo>
                <a:cubicBezTo>
                  <a:pt x="6152448" y="5918985"/>
                  <a:pt x="6152448" y="5918985"/>
                  <a:pt x="6152448" y="5919347"/>
                </a:cubicBezTo>
                <a:cubicBezTo>
                  <a:pt x="6152448" y="5919709"/>
                  <a:pt x="6152086" y="5919709"/>
                  <a:pt x="6152086" y="5919709"/>
                </a:cubicBezTo>
                <a:cubicBezTo>
                  <a:pt x="6151724" y="5919709"/>
                  <a:pt x="6151724" y="5919709"/>
                  <a:pt x="6151724" y="5919347"/>
                </a:cubicBezTo>
                <a:cubicBezTo>
                  <a:pt x="6151724" y="5918985"/>
                  <a:pt x="6151724" y="5918985"/>
                  <a:pt x="6152086" y="5918985"/>
                </a:cubicBezTo>
                <a:close/>
                <a:moveTo>
                  <a:pt x="5998136" y="5918985"/>
                </a:moveTo>
                <a:cubicBezTo>
                  <a:pt x="5998502" y="5918985"/>
                  <a:pt x="5998502" y="5918985"/>
                  <a:pt x="5998502" y="5919347"/>
                </a:cubicBezTo>
                <a:cubicBezTo>
                  <a:pt x="5998502" y="5919709"/>
                  <a:pt x="5998136" y="5919709"/>
                  <a:pt x="5998136" y="5919709"/>
                </a:cubicBezTo>
                <a:cubicBezTo>
                  <a:pt x="5997773" y="5919709"/>
                  <a:pt x="5997773" y="5919709"/>
                  <a:pt x="5997773" y="5919347"/>
                </a:cubicBezTo>
                <a:cubicBezTo>
                  <a:pt x="5997773" y="5918985"/>
                  <a:pt x="5997773" y="5918985"/>
                  <a:pt x="5998136" y="5918985"/>
                </a:cubicBezTo>
                <a:close/>
                <a:moveTo>
                  <a:pt x="5844554" y="5918623"/>
                </a:moveTo>
                <a:cubicBezTo>
                  <a:pt x="5844954" y="5918623"/>
                  <a:pt x="5845278" y="5918947"/>
                  <a:pt x="5845278" y="5919347"/>
                </a:cubicBezTo>
                <a:cubicBezTo>
                  <a:pt x="5845278" y="5919751"/>
                  <a:pt x="5844954" y="5920075"/>
                  <a:pt x="5844554" y="5920075"/>
                </a:cubicBezTo>
                <a:cubicBezTo>
                  <a:pt x="5844150" y="5920075"/>
                  <a:pt x="5843826" y="5919751"/>
                  <a:pt x="5843826" y="5919347"/>
                </a:cubicBezTo>
                <a:cubicBezTo>
                  <a:pt x="5843826" y="5918947"/>
                  <a:pt x="5844150" y="5918623"/>
                  <a:pt x="5844554" y="5918623"/>
                </a:cubicBezTo>
                <a:close/>
                <a:moveTo>
                  <a:pt x="6459616" y="5765400"/>
                </a:moveTo>
                <a:cubicBezTo>
                  <a:pt x="6459982" y="5765400"/>
                  <a:pt x="6459982" y="5765400"/>
                  <a:pt x="6459982" y="5765762"/>
                </a:cubicBezTo>
                <a:cubicBezTo>
                  <a:pt x="6459982" y="5766128"/>
                  <a:pt x="6459616" y="5766128"/>
                  <a:pt x="6459616" y="5766128"/>
                </a:cubicBezTo>
                <a:cubicBezTo>
                  <a:pt x="6459254" y="5766128"/>
                  <a:pt x="6459254" y="5766128"/>
                  <a:pt x="6459254" y="5765762"/>
                </a:cubicBezTo>
                <a:cubicBezTo>
                  <a:pt x="6459254" y="5765400"/>
                  <a:pt x="6459254" y="5765400"/>
                  <a:pt x="6459616" y="5765400"/>
                </a:cubicBezTo>
                <a:close/>
                <a:moveTo>
                  <a:pt x="5998136" y="5765400"/>
                </a:moveTo>
                <a:cubicBezTo>
                  <a:pt x="5998502" y="5765400"/>
                  <a:pt x="5998502" y="5765400"/>
                  <a:pt x="5998502" y="5765762"/>
                </a:cubicBezTo>
                <a:cubicBezTo>
                  <a:pt x="5998502" y="5766128"/>
                  <a:pt x="5998136" y="5766128"/>
                  <a:pt x="5998136" y="5766128"/>
                </a:cubicBezTo>
                <a:cubicBezTo>
                  <a:pt x="5997773" y="5766128"/>
                  <a:pt x="5997773" y="5766128"/>
                  <a:pt x="5997773" y="5765762"/>
                </a:cubicBezTo>
                <a:cubicBezTo>
                  <a:pt x="5997773" y="5765400"/>
                  <a:pt x="5997773" y="5765400"/>
                  <a:pt x="5998136" y="5765400"/>
                </a:cubicBezTo>
                <a:close/>
                <a:moveTo>
                  <a:pt x="5844550" y="5765400"/>
                </a:moveTo>
                <a:cubicBezTo>
                  <a:pt x="5844916" y="5765400"/>
                  <a:pt x="5844916" y="5765400"/>
                  <a:pt x="5844916" y="5765762"/>
                </a:cubicBezTo>
                <a:cubicBezTo>
                  <a:pt x="5844916" y="5766128"/>
                  <a:pt x="5844550" y="5766128"/>
                  <a:pt x="5844550" y="5766128"/>
                </a:cubicBezTo>
                <a:cubicBezTo>
                  <a:pt x="5844188" y="5766128"/>
                  <a:pt x="5844188" y="5766128"/>
                  <a:pt x="5844188" y="5765762"/>
                </a:cubicBezTo>
                <a:cubicBezTo>
                  <a:pt x="5844188" y="5765400"/>
                  <a:pt x="5844188" y="5765400"/>
                  <a:pt x="5844550" y="5765400"/>
                </a:cubicBezTo>
                <a:close/>
                <a:moveTo>
                  <a:pt x="5690602" y="5765038"/>
                </a:moveTo>
                <a:cubicBezTo>
                  <a:pt x="5691003" y="5765038"/>
                  <a:pt x="5691331" y="5765362"/>
                  <a:pt x="5691331" y="5765766"/>
                </a:cubicBezTo>
                <a:cubicBezTo>
                  <a:pt x="5691331" y="5766166"/>
                  <a:pt x="5691003" y="5766490"/>
                  <a:pt x="5690602" y="5766490"/>
                </a:cubicBezTo>
                <a:cubicBezTo>
                  <a:pt x="5690202" y="5766490"/>
                  <a:pt x="5689874" y="5766166"/>
                  <a:pt x="5689874" y="5765766"/>
                </a:cubicBezTo>
                <a:cubicBezTo>
                  <a:pt x="5689874" y="5765362"/>
                  <a:pt x="5690202" y="5765038"/>
                  <a:pt x="5690602" y="5765038"/>
                </a:cubicBezTo>
                <a:close/>
                <a:moveTo>
                  <a:pt x="6613200" y="5764313"/>
                </a:moveTo>
                <a:cubicBezTo>
                  <a:pt x="6614005" y="5764313"/>
                  <a:pt x="6614653" y="5764965"/>
                  <a:pt x="6614653" y="5765766"/>
                </a:cubicBezTo>
                <a:cubicBezTo>
                  <a:pt x="6614653" y="5766566"/>
                  <a:pt x="6614005" y="5767218"/>
                  <a:pt x="6613200" y="5767218"/>
                </a:cubicBezTo>
                <a:cubicBezTo>
                  <a:pt x="6612400" y="5767218"/>
                  <a:pt x="6611752" y="5766566"/>
                  <a:pt x="6611752" y="5765766"/>
                </a:cubicBezTo>
                <a:cubicBezTo>
                  <a:pt x="6611752" y="5764965"/>
                  <a:pt x="6612400" y="5764313"/>
                  <a:pt x="6613200" y="5764313"/>
                </a:cubicBezTo>
                <a:close/>
                <a:moveTo>
                  <a:pt x="6305668" y="5611452"/>
                </a:moveTo>
                <a:cubicBezTo>
                  <a:pt x="6305870" y="5611452"/>
                  <a:pt x="6306034" y="5611616"/>
                  <a:pt x="6306034" y="5611815"/>
                </a:cubicBezTo>
                <a:cubicBezTo>
                  <a:pt x="6306034" y="5612017"/>
                  <a:pt x="6305870" y="5612177"/>
                  <a:pt x="6305668" y="5612177"/>
                </a:cubicBezTo>
                <a:cubicBezTo>
                  <a:pt x="6305470" y="5612177"/>
                  <a:pt x="6305306" y="5612017"/>
                  <a:pt x="6305306" y="5611815"/>
                </a:cubicBezTo>
                <a:cubicBezTo>
                  <a:pt x="6305306" y="5611616"/>
                  <a:pt x="6305470" y="5611452"/>
                  <a:pt x="6305668" y="5611452"/>
                </a:cubicBezTo>
                <a:close/>
                <a:moveTo>
                  <a:pt x="5844550" y="5611452"/>
                </a:moveTo>
                <a:cubicBezTo>
                  <a:pt x="5844916" y="5611452"/>
                  <a:pt x="5844916" y="5611452"/>
                  <a:pt x="5844916" y="5611815"/>
                </a:cubicBezTo>
                <a:cubicBezTo>
                  <a:pt x="5844916" y="5612181"/>
                  <a:pt x="5844550" y="5612181"/>
                  <a:pt x="5844550" y="5612181"/>
                </a:cubicBezTo>
                <a:cubicBezTo>
                  <a:pt x="5844188" y="5612181"/>
                  <a:pt x="5844188" y="5612181"/>
                  <a:pt x="5844188" y="5611815"/>
                </a:cubicBezTo>
                <a:cubicBezTo>
                  <a:pt x="5844188" y="5611452"/>
                  <a:pt x="5844188" y="5611452"/>
                  <a:pt x="5844550" y="5611452"/>
                </a:cubicBezTo>
                <a:close/>
                <a:moveTo>
                  <a:pt x="5690606" y="5611452"/>
                </a:moveTo>
                <a:cubicBezTo>
                  <a:pt x="5690972" y="5611452"/>
                  <a:pt x="5690972" y="5611452"/>
                  <a:pt x="5690972" y="5611815"/>
                </a:cubicBezTo>
                <a:cubicBezTo>
                  <a:pt x="5690972" y="5612181"/>
                  <a:pt x="5690606" y="5612181"/>
                  <a:pt x="5690606" y="5612181"/>
                </a:cubicBezTo>
                <a:cubicBezTo>
                  <a:pt x="5690244" y="5612181"/>
                  <a:pt x="5690244" y="5612181"/>
                  <a:pt x="5690244" y="5611815"/>
                </a:cubicBezTo>
                <a:cubicBezTo>
                  <a:pt x="5690244" y="5611452"/>
                  <a:pt x="5690244" y="5611452"/>
                  <a:pt x="5690606" y="5611452"/>
                </a:cubicBezTo>
                <a:close/>
                <a:moveTo>
                  <a:pt x="5537021" y="5611090"/>
                </a:moveTo>
                <a:cubicBezTo>
                  <a:pt x="5537422" y="5611090"/>
                  <a:pt x="5537750" y="5611414"/>
                  <a:pt x="5537750" y="5611815"/>
                </a:cubicBezTo>
                <a:cubicBezTo>
                  <a:pt x="5537750" y="5612219"/>
                  <a:pt x="5537422" y="5612543"/>
                  <a:pt x="5537021" y="5612543"/>
                </a:cubicBezTo>
                <a:cubicBezTo>
                  <a:pt x="5536621" y="5612543"/>
                  <a:pt x="5536297" y="5612219"/>
                  <a:pt x="5536297" y="5611815"/>
                </a:cubicBezTo>
                <a:cubicBezTo>
                  <a:pt x="5536297" y="5611414"/>
                  <a:pt x="5536621" y="5611090"/>
                  <a:pt x="5537021" y="5611090"/>
                </a:cubicBezTo>
                <a:close/>
                <a:moveTo>
                  <a:pt x="6459616" y="5610366"/>
                </a:moveTo>
                <a:cubicBezTo>
                  <a:pt x="6460420" y="5610366"/>
                  <a:pt x="6461068" y="5611018"/>
                  <a:pt x="6461068" y="5611818"/>
                </a:cubicBezTo>
                <a:cubicBezTo>
                  <a:pt x="6461068" y="5612619"/>
                  <a:pt x="6460420" y="5613271"/>
                  <a:pt x="6459616" y="5613271"/>
                </a:cubicBezTo>
                <a:cubicBezTo>
                  <a:pt x="6458815" y="5613271"/>
                  <a:pt x="6458163" y="5612619"/>
                  <a:pt x="6458163" y="5611818"/>
                </a:cubicBezTo>
                <a:cubicBezTo>
                  <a:pt x="6458163" y="5611018"/>
                  <a:pt x="6458815" y="5610366"/>
                  <a:pt x="6459616" y="5610366"/>
                </a:cubicBezTo>
                <a:close/>
                <a:moveTo>
                  <a:pt x="6613200" y="5609638"/>
                </a:moveTo>
                <a:cubicBezTo>
                  <a:pt x="6614406" y="5609638"/>
                  <a:pt x="6615381" y="5610614"/>
                  <a:pt x="6615381" y="5611815"/>
                </a:cubicBezTo>
                <a:cubicBezTo>
                  <a:pt x="6615381" y="5613019"/>
                  <a:pt x="6614406" y="5613995"/>
                  <a:pt x="6613200" y="5613995"/>
                </a:cubicBezTo>
                <a:cubicBezTo>
                  <a:pt x="6612000" y="5613995"/>
                  <a:pt x="6611024" y="5613019"/>
                  <a:pt x="6611024" y="5611815"/>
                </a:cubicBezTo>
                <a:cubicBezTo>
                  <a:pt x="6611024" y="5610614"/>
                  <a:pt x="6612000" y="5609638"/>
                  <a:pt x="6613200" y="5609638"/>
                </a:cubicBezTo>
                <a:close/>
                <a:moveTo>
                  <a:pt x="6152086" y="5457871"/>
                </a:moveTo>
                <a:cubicBezTo>
                  <a:pt x="6152448" y="5457871"/>
                  <a:pt x="6152448" y="5457871"/>
                  <a:pt x="6152448" y="5458233"/>
                </a:cubicBezTo>
                <a:cubicBezTo>
                  <a:pt x="6152448" y="5458595"/>
                  <a:pt x="6152086" y="5458595"/>
                  <a:pt x="6152086" y="5458595"/>
                </a:cubicBezTo>
                <a:cubicBezTo>
                  <a:pt x="6151724" y="5458595"/>
                  <a:pt x="6151724" y="5458595"/>
                  <a:pt x="6151724" y="5458233"/>
                </a:cubicBezTo>
                <a:cubicBezTo>
                  <a:pt x="6151724" y="5457871"/>
                  <a:pt x="6151724" y="5457871"/>
                  <a:pt x="6152086" y="5457871"/>
                </a:cubicBezTo>
                <a:close/>
                <a:moveTo>
                  <a:pt x="5690606" y="5457871"/>
                </a:moveTo>
                <a:cubicBezTo>
                  <a:pt x="5690972" y="5457871"/>
                  <a:pt x="5690972" y="5457871"/>
                  <a:pt x="5690972" y="5458233"/>
                </a:cubicBezTo>
                <a:cubicBezTo>
                  <a:pt x="5690972" y="5458595"/>
                  <a:pt x="5690606" y="5458595"/>
                  <a:pt x="5690606" y="5458595"/>
                </a:cubicBezTo>
                <a:cubicBezTo>
                  <a:pt x="5690244" y="5458595"/>
                  <a:pt x="5690244" y="5458595"/>
                  <a:pt x="5690244" y="5458233"/>
                </a:cubicBezTo>
                <a:cubicBezTo>
                  <a:pt x="5690244" y="5457871"/>
                  <a:pt x="5690244" y="5457871"/>
                  <a:pt x="5690606" y="5457871"/>
                </a:cubicBezTo>
                <a:close/>
                <a:moveTo>
                  <a:pt x="5536659" y="5457871"/>
                </a:moveTo>
                <a:cubicBezTo>
                  <a:pt x="5537021" y="5457871"/>
                  <a:pt x="5537021" y="5457871"/>
                  <a:pt x="5537021" y="5458233"/>
                </a:cubicBezTo>
                <a:cubicBezTo>
                  <a:pt x="5537021" y="5458595"/>
                  <a:pt x="5536659" y="5458595"/>
                  <a:pt x="5536659" y="5458595"/>
                </a:cubicBezTo>
                <a:cubicBezTo>
                  <a:pt x="5536297" y="5458595"/>
                  <a:pt x="5536297" y="5458595"/>
                  <a:pt x="5536297" y="5458233"/>
                </a:cubicBezTo>
                <a:cubicBezTo>
                  <a:pt x="5536297" y="5457871"/>
                  <a:pt x="5536297" y="5457871"/>
                  <a:pt x="5536659" y="5457871"/>
                </a:cubicBezTo>
                <a:close/>
                <a:moveTo>
                  <a:pt x="5383078" y="5457505"/>
                </a:moveTo>
                <a:cubicBezTo>
                  <a:pt x="5383478" y="5457505"/>
                  <a:pt x="5383802" y="5457829"/>
                  <a:pt x="5383802" y="5458233"/>
                </a:cubicBezTo>
                <a:cubicBezTo>
                  <a:pt x="5383802" y="5458633"/>
                  <a:pt x="5383478" y="5458957"/>
                  <a:pt x="5383078" y="5458957"/>
                </a:cubicBezTo>
                <a:cubicBezTo>
                  <a:pt x="5382674" y="5458957"/>
                  <a:pt x="5382350" y="5458633"/>
                  <a:pt x="5382350" y="5458233"/>
                </a:cubicBezTo>
                <a:cubicBezTo>
                  <a:pt x="5382350" y="5457829"/>
                  <a:pt x="5382674" y="5457505"/>
                  <a:pt x="5383078" y="5457505"/>
                </a:cubicBezTo>
                <a:close/>
                <a:moveTo>
                  <a:pt x="6305668" y="5456781"/>
                </a:moveTo>
                <a:cubicBezTo>
                  <a:pt x="6306472" y="5456781"/>
                  <a:pt x="6307120" y="5457433"/>
                  <a:pt x="6307120" y="5458233"/>
                </a:cubicBezTo>
                <a:cubicBezTo>
                  <a:pt x="6307120" y="5459034"/>
                  <a:pt x="6306472" y="5459685"/>
                  <a:pt x="6305668" y="5459685"/>
                </a:cubicBezTo>
                <a:cubicBezTo>
                  <a:pt x="6304868" y="5459685"/>
                  <a:pt x="6304216" y="5459034"/>
                  <a:pt x="6304216" y="5458233"/>
                </a:cubicBezTo>
                <a:cubicBezTo>
                  <a:pt x="6304216" y="5457433"/>
                  <a:pt x="6304868" y="5456781"/>
                  <a:pt x="6305668" y="5456781"/>
                </a:cubicBezTo>
                <a:close/>
                <a:moveTo>
                  <a:pt x="6459619" y="5456053"/>
                </a:moveTo>
                <a:cubicBezTo>
                  <a:pt x="6460820" y="5456053"/>
                  <a:pt x="6461796" y="5457029"/>
                  <a:pt x="6461796" y="5458233"/>
                </a:cubicBezTo>
                <a:cubicBezTo>
                  <a:pt x="6461796" y="5459434"/>
                  <a:pt x="6460820" y="5460410"/>
                  <a:pt x="6459619" y="5460410"/>
                </a:cubicBezTo>
                <a:cubicBezTo>
                  <a:pt x="6458414" y="5460410"/>
                  <a:pt x="6457439" y="5459434"/>
                  <a:pt x="6457439" y="5458233"/>
                </a:cubicBezTo>
                <a:cubicBezTo>
                  <a:pt x="6457439" y="5457029"/>
                  <a:pt x="6458414" y="5456053"/>
                  <a:pt x="6459619" y="5456053"/>
                </a:cubicBezTo>
                <a:close/>
                <a:moveTo>
                  <a:pt x="6613200" y="5454966"/>
                </a:moveTo>
                <a:cubicBezTo>
                  <a:pt x="6615015" y="5454966"/>
                  <a:pt x="6616468" y="5456419"/>
                  <a:pt x="6616468" y="5458233"/>
                </a:cubicBezTo>
                <a:cubicBezTo>
                  <a:pt x="6616468" y="5460048"/>
                  <a:pt x="6615015" y="5461500"/>
                  <a:pt x="6613200" y="5461500"/>
                </a:cubicBezTo>
                <a:cubicBezTo>
                  <a:pt x="6611386" y="5461500"/>
                  <a:pt x="6609934" y="5460048"/>
                  <a:pt x="6609934" y="5458233"/>
                </a:cubicBezTo>
                <a:cubicBezTo>
                  <a:pt x="6609934" y="5456419"/>
                  <a:pt x="6611386" y="5454966"/>
                  <a:pt x="6613200" y="5454966"/>
                </a:cubicBezTo>
                <a:close/>
                <a:moveTo>
                  <a:pt x="5998136" y="5303924"/>
                </a:moveTo>
                <a:cubicBezTo>
                  <a:pt x="5998502" y="5303924"/>
                  <a:pt x="5998502" y="5303924"/>
                  <a:pt x="5998502" y="5304286"/>
                </a:cubicBezTo>
                <a:cubicBezTo>
                  <a:pt x="5998502" y="5304652"/>
                  <a:pt x="5998136" y="5304652"/>
                  <a:pt x="5998136" y="5304652"/>
                </a:cubicBezTo>
                <a:cubicBezTo>
                  <a:pt x="5997773" y="5304652"/>
                  <a:pt x="5997773" y="5304652"/>
                  <a:pt x="5997773" y="5304286"/>
                </a:cubicBezTo>
                <a:cubicBezTo>
                  <a:pt x="5997773" y="5303924"/>
                  <a:pt x="5997773" y="5303924"/>
                  <a:pt x="5998136" y="5303924"/>
                </a:cubicBezTo>
                <a:close/>
                <a:moveTo>
                  <a:pt x="5536659" y="5303924"/>
                </a:moveTo>
                <a:cubicBezTo>
                  <a:pt x="5537021" y="5303924"/>
                  <a:pt x="5537021" y="5303924"/>
                  <a:pt x="5537021" y="5304286"/>
                </a:cubicBezTo>
                <a:cubicBezTo>
                  <a:pt x="5537021" y="5304652"/>
                  <a:pt x="5536659" y="5304652"/>
                  <a:pt x="5536659" y="5304652"/>
                </a:cubicBezTo>
                <a:cubicBezTo>
                  <a:pt x="5536297" y="5304652"/>
                  <a:pt x="5536297" y="5304652"/>
                  <a:pt x="5536297" y="5304286"/>
                </a:cubicBezTo>
                <a:cubicBezTo>
                  <a:pt x="5536297" y="5303924"/>
                  <a:pt x="5536297" y="5303924"/>
                  <a:pt x="5536659" y="5303924"/>
                </a:cubicBezTo>
                <a:close/>
                <a:moveTo>
                  <a:pt x="5383074" y="5303924"/>
                </a:moveTo>
                <a:cubicBezTo>
                  <a:pt x="5383436" y="5303924"/>
                  <a:pt x="5383436" y="5303924"/>
                  <a:pt x="5383436" y="5304286"/>
                </a:cubicBezTo>
                <a:cubicBezTo>
                  <a:pt x="5383436" y="5304652"/>
                  <a:pt x="5383074" y="5304652"/>
                  <a:pt x="5383074" y="5304652"/>
                </a:cubicBezTo>
                <a:cubicBezTo>
                  <a:pt x="5382712" y="5304652"/>
                  <a:pt x="5382712" y="5304652"/>
                  <a:pt x="5382712" y="5304286"/>
                </a:cubicBezTo>
                <a:cubicBezTo>
                  <a:pt x="5382712" y="5303924"/>
                  <a:pt x="5382712" y="5303924"/>
                  <a:pt x="5383074" y="5303924"/>
                </a:cubicBezTo>
                <a:close/>
                <a:moveTo>
                  <a:pt x="5229126" y="5303558"/>
                </a:moveTo>
                <a:cubicBezTo>
                  <a:pt x="5229492" y="5303558"/>
                  <a:pt x="5229854" y="5303920"/>
                  <a:pt x="5229854" y="5304282"/>
                </a:cubicBezTo>
                <a:cubicBezTo>
                  <a:pt x="5229854" y="5304648"/>
                  <a:pt x="5229126" y="5305010"/>
                  <a:pt x="5229126" y="5305010"/>
                </a:cubicBezTo>
                <a:cubicBezTo>
                  <a:pt x="5228764" y="5305010"/>
                  <a:pt x="5228402" y="5304648"/>
                  <a:pt x="5228402" y="5304282"/>
                </a:cubicBezTo>
                <a:cubicBezTo>
                  <a:pt x="5228402" y="5303920"/>
                  <a:pt x="5228764" y="5303558"/>
                  <a:pt x="5229126" y="5303558"/>
                </a:cubicBezTo>
                <a:close/>
                <a:moveTo>
                  <a:pt x="6152086" y="5302833"/>
                </a:moveTo>
                <a:cubicBezTo>
                  <a:pt x="6152891" y="5302833"/>
                  <a:pt x="6153539" y="5303485"/>
                  <a:pt x="6153539" y="5304286"/>
                </a:cubicBezTo>
                <a:cubicBezTo>
                  <a:pt x="6153539" y="5305086"/>
                  <a:pt x="6152891" y="5305738"/>
                  <a:pt x="6152086" y="5305738"/>
                </a:cubicBezTo>
                <a:cubicBezTo>
                  <a:pt x="6151286" y="5305738"/>
                  <a:pt x="6150638" y="5305086"/>
                  <a:pt x="6150638" y="5304286"/>
                </a:cubicBezTo>
                <a:cubicBezTo>
                  <a:pt x="6150638" y="5303485"/>
                  <a:pt x="6151286" y="5302833"/>
                  <a:pt x="6152086" y="5302833"/>
                </a:cubicBezTo>
                <a:close/>
                <a:moveTo>
                  <a:pt x="6305672" y="5302105"/>
                </a:moveTo>
                <a:cubicBezTo>
                  <a:pt x="6306872" y="5302105"/>
                  <a:pt x="6307848" y="5303081"/>
                  <a:pt x="6307848" y="5304282"/>
                </a:cubicBezTo>
                <a:cubicBezTo>
                  <a:pt x="6307848" y="5305487"/>
                  <a:pt x="6306872" y="5306462"/>
                  <a:pt x="6305672" y="5306462"/>
                </a:cubicBezTo>
                <a:cubicBezTo>
                  <a:pt x="6304468" y="5306462"/>
                  <a:pt x="6303492" y="5305487"/>
                  <a:pt x="6303492" y="5304282"/>
                </a:cubicBezTo>
                <a:cubicBezTo>
                  <a:pt x="6303492" y="5303081"/>
                  <a:pt x="6304468" y="5302105"/>
                  <a:pt x="6305672" y="5302105"/>
                </a:cubicBezTo>
                <a:close/>
                <a:moveTo>
                  <a:pt x="6459619" y="5301019"/>
                </a:moveTo>
                <a:cubicBezTo>
                  <a:pt x="6461434" y="5301019"/>
                  <a:pt x="6462882" y="5302471"/>
                  <a:pt x="6462882" y="5304286"/>
                </a:cubicBezTo>
                <a:cubicBezTo>
                  <a:pt x="6462882" y="5306100"/>
                  <a:pt x="6461434" y="5307553"/>
                  <a:pt x="6459619" y="5307553"/>
                </a:cubicBezTo>
                <a:cubicBezTo>
                  <a:pt x="6457801" y="5307553"/>
                  <a:pt x="6456348" y="5306100"/>
                  <a:pt x="6456348" y="5304286"/>
                </a:cubicBezTo>
                <a:cubicBezTo>
                  <a:pt x="6456348" y="5302471"/>
                  <a:pt x="6457801" y="5301019"/>
                  <a:pt x="6459619" y="5301019"/>
                </a:cubicBezTo>
                <a:close/>
                <a:moveTo>
                  <a:pt x="6613200" y="5299929"/>
                </a:moveTo>
                <a:cubicBezTo>
                  <a:pt x="6615743" y="5299929"/>
                  <a:pt x="6617558" y="5301743"/>
                  <a:pt x="6617558" y="5304286"/>
                </a:cubicBezTo>
                <a:cubicBezTo>
                  <a:pt x="6617558" y="5306828"/>
                  <a:pt x="6615378" y="5308643"/>
                  <a:pt x="6613200" y="5308643"/>
                </a:cubicBezTo>
                <a:cubicBezTo>
                  <a:pt x="6610658" y="5308643"/>
                  <a:pt x="6608844" y="5306828"/>
                  <a:pt x="6608844" y="5304286"/>
                </a:cubicBezTo>
                <a:cubicBezTo>
                  <a:pt x="6608844" y="5301743"/>
                  <a:pt x="6610658" y="5299929"/>
                  <a:pt x="6613200" y="5299929"/>
                </a:cubicBezTo>
                <a:close/>
                <a:moveTo>
                  <a:pt x="5844550" y="5150338"/>
                </a:moveTo>
                <a:cubicBezTo>
                  <a:pt x="5844916" y="5150338"/>
                  <a:pt x="5844916" y="5150338"/>
                  <a:pt x="5844916" y="5150700"/>
                </a:cubicBezTo>
                <a:cubicBezTo>
                  <a:pt x="5844916" y="5151063"/>
                  <a:pt x="5844550" y="5151063"/>
                  <a:pt x="5844550" y="5151063"/>
                </a:cubicBezTo>
                <a:cubicBezTo>
                  <a:pt x="5844188" y="5151063"/>
                  <a:pt x="5844188" y="5151063"/>
                  <a:pt x="5844188" y="5150700"/>
                </a:cubicBezTo>
                <a:cubicBezTo>
                  <a:pt x="5844188" y="5150338"/>
                  <a:pt x="5844188" y="5150338"/>
                  <a:pt x="5844550" y="5150338"/>
                </a:cubicBezTo>
                <a:close/>
                <a:moveTo>
                  <a:pt x="5383074" y="5150338"/>
                </a:moveTo>
                <a:cubicBezTo>
                  <a:pt x="5383436" y="5150338"/>
                  <a:pt x="5383436" y="5150338"/>
                  <a:pt x="5383436" y="5150700"/>
                </a:cubicBezTo>
                <a:cubicBezTo>
                  <a:pt x="5383436" y="5151063"/>
                  <a:pt x="5383074" y="5151063"/>
                  <a:pt x="5383074" y="5151063"/>
                </a:cubicBezTo>
                <a:cubicBezTo>
                  <a:pt x="5382712" y="5151063"/>
                  <a:pt x="5382712" y="5151063"/>
                  <a:pt x="5382712" y="5150700"/>
                </a:cubicBezTo>
                <a:cubicBezTo>
                  <a:pt x="5382712" y="5150338"/>
                  <a:pt x="5382712" y="5150338"/>
                  <a:pt x="5383074" y="5150338"/>
                </a:cubicBezTo>
                <a:close/>
                <a:moveTo>
                  <a:pt x="5229126" y="5150338"/>
                </a:moveTo>
                <a:cubicBezTo>
                  <a:pt x="5229488" y="5150338"/>
                  <a:pt x="5229488" y="5150338"/>
                  <a:pt x="5229488" y="5150700"/>
                </a:cubicBezTo>
                <a:cubicBezTo>
                  <a:pt x="5229488" y="5151063"/>
                  <a:pt x="5229126" y="5151063"/>
                  <a:pt x="5229126" y="5151063"/>
                </a:cubicBezTo>
                <a:cubicBezTo>
                  <a:pt x="5228764" y="5151063"/>
                  <a:pt x="5228764" y="5151063"/>
                  <a:pt x="5228764" y="5150700"/>
                </a:cubicBezTo>
                <a:cubicBezTo>
                  <a:pt x="5228764" y="5150338"/>
                  <a:pt x="5228764" y="5150338"/>
                  <a:pt x="5229126" y="5150338"/>
                </a:cubicBezTo>
                <a:close/>
                <a:moveTo>
                  <a:pt x="5075545" y="5149972"/>
                </a:moveTo>
                <a:cubicBezTo>
                  <a:pt x="5075907" y="5149972"/>
                  <a:pt x="5076270" y="5150335"/>
                  <a:pt x="5076270" y="5150700"/>
                </a:cubicBezTo>
                <a:cubicBezTo>
                  <a:pt x="5076270" y="5151063"/>
                  <a:pt x="5075545" y="5151425"/>
                  <a:pt x="5075545" y="5151425"/>
                </a:cubicBezTo>
                <a:cubicBezTo>
                  <a:pt x="5075179" y="5151425"/>
                  <a:pt x="5074817" y="5151063"/>
                  <a:pt x="5074817" y="5150700"/>
                </a:cubicBezTo>
                <a:cubicBezTo>
                  <a:pt x="5074817" y="5150335"/>
                  <a:pt x="5075179" y="5149972"/>
                  <a:pt x="5075545" y="5149972"/>
                </a:cubicBezTo>
                <a:close/>
                <a:moveTo>
                  <a:pt x="5998139" y="5149248"/>
                </a:moveTo>
                <a:cubicBezTo>
                  <a:pt x="5998944" y="5149248"/>
                  <a:pt x="5999592" y="5149900"/>
                  <a:pt x="5999592" y="5150700"/>
                </a:cubicBezTo>
                <a:cubicBezTo>
                  <a:pt x="5999592" y="5151501"/>
                  <a:pt x="5998944" y="5152153"/>
                  <a:pt x="5998139" y="5152153"/>
                </a:cubicBezTo>
                <a:cubicBezTo>
                  <a:pt x="5997338" y="5152153"/>
                  <a:pt x="5996690" y="5151501"/>
                  <a:pt x="5996690" y="5150700"/>
                </a:cubicBezTo>
                <a:cubicBezTo>
                  <a:pt x="5996690" y="5149900"/>
                  <a:pt x="5997338" y="5149248"/>
                  <a:pt x="5998139" y="5149248"/>
                </a:cubicBezTo>
                <a:close/>
                <a:moveTo>
                  <a:pt x="6152083" y="5148524"/>
                </a:moveTo>
                <a:cubicBezTo>
                  <a:pt x="6153288" y="5148524"/>
                  <a:pt x="6154263" y="5149500"/>
                  <a:pt x="6154263" y="5150704"/>
                </a:cubicBezTo>
                <a:cubicBezTo>
                  <a:pt x="6154263" y="5151905"/>
                  <a:pt x="6153288" y="5152881"/>
                  <a:pt x="6152083" y="5152881"/>
                </a:cubicBezTo>
                <a:cubicBezTo>
                  <a:pt x="6150882" y="5152881"/>
                  <a:pt x="6149906" y="5151905"/>
                  <a:pt x="6149906" y="5150704"/>
                </a:cubicBezTo>
                <a:cubicBezTo>
                  <a:pt x="6149906" y="5149500"/>
                  <a:pt x="6150882" y="5148524"/>
                  <a:pt x="6152083" y="5148524"/>
                </a:cubicBezTo>
                <a:close/>
                <a:moveTo>
                  <a:pt x="6305672" y="5147434"/>
                </a:moveTo>
                <a:cubicBezTo>
                  <a:pt x="6307486" y="5147434"/>
                  <a:pt x="6308935" y="5148886"/>
                  <a:pt x="6308935" y="5150700"/>
                </a:cubicBezTo>
                <a:cubicBezTo>
                  <a:pt x="6308935" y="5152515"/>
                  <a:pt x="6307486" y="5153967"/>
                  <a:pt x="6305672" y="5153967"/>
                </a:cubicBezTo>
                <a:cubicBezTo>
                  <a:pt x="6303854" y="5153967"/>
                  <a:pt x="6302401" y="5152515"/>
                  <a:pt x="6302401" y="5150700"/>
                </a:cubicBezTo>
                <a:cubicBezTo>
                  <a:pt x="6302401" y="5148886"/>
                  <a:pt x="6303854" y="5147434"/>
                  <a:pt x="6305672" y="5147434"/>
                </a:cubicBezTo>
                <a:close/>
                <a:moveTo>
                  <a:pt x="6459616" y="5145981"/>
                </a:moveTo>
                <a:cubicBezTo>
                  <a:pt x="6462158" y="5145981"/>
                  <a:pt x="6463972" y="5147796"/>
                  <a:pt x="6463972" y="5150338"/>
                </a:cubicBezTo>
                <a:cubicBezTo>
                  <a:pt x="6463972" y="5152881"/>
                  <a:pt x="6461792" y="5154695"/>
                  <a:pt x="6459616" y="5154695"/>
                </a:cubicBezTo>
                <a:cubicBezTo>
                  <a:pt x="6457073" y="5154695"/>
                  <a:pt x="6455258" y="5152881"/>
                  <a:pt x="6455258" y="5150338"/>
                </a:cubicBezTo>
                <a:cubicBezTo>
                  <a:pt x="6455258" y="5147796"/>
                  <a:pt x="6457073" y="5145981"/>
                  <a:pt x="6459616" y="5145981"/>
                </a:cubicBezTo>
                <a:close/>
                <a:moveTo>
                  <a:pt x="6613200" y="5144891"/>
                </a:moveTo>
                <a:cubicBezTo>
                  <a:pt x="6616410" y="5144891"/>
                  <a:pt x="6619010" y="5147491"/>
                  <a:pt x="6619010" y="5150700"/>
                </a:cubicBezTo>
                <a:cubicBezTo>
                  <a:pt x="6619010" y="5153910"/>
                  <a:pt x="6616410" y="5156510"/>
                  <a:pt x="6613200" y="5156510"/>
                </a:cubicBezTo>
                <a:cubicBezTo>
                  <a:pt x="6609995" y="5156510"/>
                  <a:pt x="6607395" y="5153910"/>
                  <a:pt x="6607395" y="5150700"/>
                </a:cubicBezTo>
                <a:cubicBezTo>
                  <a:pt x="6607395" y="5147491"/>
                  <a:pt x="6609995" y="5144891"/>
                  <a:pt x="6613200" y="5144891"/>
                </a:cubicBezTo>
                <a:close/>
                <a:moveTo>
                  <a:pt x="5690606" y="4996391"/>
                </a:moveTo>
                <a:cubicBezTo>
                  <a:pt x="5690972" y="4996391"/>
                  <a:pt x="5690972" y="4996391"/>
                  <a:pt x="5690972" y="4996753"/>
                </a:cubicBezTo>
                <a:cubicBezTo>
                  <a:pt x="5690972" y="4997119"/>
                  <a:pt x="5690606" y="4997119"/>
                  <a:pt x="5690606" y="4997119"/>
                </a:cubicBezTo>
                <a:cubicBezTo>
                  <a:pt x="5690244" y="4997119"/>
                  <a:pt x="5690244" y="4997119"/>
                  <a:pt x="5690244" y="4996753"/>
                </a:cubicBezTo>
                <a:cubicBezTo>
                  <a:pt x="5690244" y="4996391"/>
                  <a:pt x="5690244" y="4996391"/>
                  <a:pt x="5690606" y="4996391"/>
                </a:cubicBezTo>
                <a:close/>
                <a:moveTo>
                  <a:pt x="5229126" y="4996391"/>
                </a:moveTo>
                <a:cubicBezTo>
                  <a:pt x="5229488" y="4996391"/>
                  <a:pt x="5229488" y="4996391"/>
                  <a:pt x="5229488" y="4996753"/>
                </a:cubicBezTo>
                <a:cubicBezTo>
                  <a:pt x="5229488" y="4997119"/>
                  <a:pt x="5229126" y="4997119"/>
                  <a:pt x="5229126" y="4997119"/>
                </a:cubicBezTo>
                <a:cubicBezTo>
                  <a:pt x="5228764" y="4997119"/>
                  <a:pt x="5228764" y="4997119"/>
                  <a:pt x="5228764" y="4996753"/>
                </a:cubicBezTo>
                <a:cubicBezTo>
                  <a:pt x="5228764" y="4996391"/>
                  <a:pt x="5228764" y="4996391"/>
                  <a:pt x="5229126" y="4996391"/>
                </a:cubicBezTo>
                <a:close/>
                <a:moveTo>
                  <a:pt x="5075541" y="4996391"/>
                </a:moveTo>
                <a:cubicBezTo>
                  <a:pt x="5075904" y="4996391"/>
                  <a:pt x="5075904" y="4996391"/>
                  <a:pt x="5075904" y="4996753"/>
                </a:cubicBezTo>
                <a:cubicBezTo>
                  <a:pt x="5075904" y="4997119"/>
                  <a:pt x="5075541" y="4997119"/>
                  <a:pt x="5075541" y="4997119"/>
                </a:cubicBezTo>
                <a:cubicBezTo>
                  <a:pt x="5075179" y="4997119"/>
                  <a:pt x="5075179" y="4997119"/>
                  <a:pt x="5075179" y="4996753"/>
                </a:cubicBezTo>
                <a:cubicBezTo>
                  <a:pt x="5075179" y="4996391"/>
                  <a:pt x="5075179" y="4996391"/>
                  <a:pt x="5075541" y="4996391"/>
                </a:cubicBezTo>
                <a:close/>
                <a:moveTo>
                  <a:pt x="4921594" y="4996029"/>
                </a:moveTo>
                <a:cubicBezTo>
                  <a:pt x="4921960" y="4996029"/>
                  <a:pt x="4922322" y="4996391"/>
                  <a:pt x="4922322" y="4996753"/>
                </a:cubicBezTo>
                <a:cubicBezTo>
                  <a:pt x="4922322" y="4997119"/>
                  <a:pt x="4921594" y="4997481"/>
                  <a:pt x="4921594" y="4997481"/>
                </a:cubicBezTo>
                <a:cubicBezTo>
                  <a:pt x="4921232" y="4997481"/>
                  <a:pt x="4920870" y="4997119"/>
                  <a:pt x="4920870" y="4996753"/>
                </a:cubicBezTo>
                <a:cubicBezTo>
                  <a:pt x="4920870" y="4996391"/>
                  <a:pt x="4921232" y="4996029"/>
                  <a:pt x="4921594" y="4996029"/>
                </a:cubicBezTo>
                <a:close/>
                <a:moveTo>
                  <a:pt x="5844554" y="4995301"/>
                </a:moveTo>
                <a:cubicBezTo>
                  <a:pt x="5845278" y="4995301"/>
                  <a:pt x="5846006" y="4996029"/>
                  <a:pt x="5846006" y="4996753"/>
                </a:cubicBezTo>
                <a:cubicBezTo>
                  <a:pt x="5846006" y="4997477"/>
                  <a:pt x="5844554" y="4998205"/>
                  <a:pt x="5844554" y="4998205"/>
                </a:cubicBezTo>
                <a:cubicBezTo>
                  <a:pt x="5843826" y="4998205"/>
                  <a:pt x="5843102" y="4997477"/>
                  <a:pt x="5843102" y="4996753"/>
                </a:cubicBezTo>
                <a:cubicBezTo>
                  <a:pt x="5843102" y="4996029"/>
                  <a:pt x="5843826" y="4995301"/>
                  <a:pt x="5844554" y="4995301"/>
                </a:cubicBezTo>
                <a:close/>
                <a:moveTo>
                  <a:pt x="5998136" y="4994577"/>
                </a:moveTo>
                <a:cubicBezTo>
                  <a:pt x="5999340" y="4994577"/>
                  <a:pt x="6000316" y="4995552"/>
                  <a:pt x="6000316" y="4996753"/>
                </a:cubicBezTo>
                <a:cubicBezTo>
                  <a:pt x="6000316" y="4997958"/>
                  <a:pt x="5999340" y="4998934"/>
                  <a:pt x="5998136" y="4998934"/>
                </a:cubicBezTo>
                <a:cubicBezTo>
                  <a:pt x="5996934" y="4998934"/>
                  <a:pt x="5995959" y="4997958"/>
                  <a:pt x="5995959" y="4996753"/>
                </a:cubicBezTo>
                <a:cubicBezTo>
                  <a:pt x="5995959" y="4995552"/>
                  <a:pt x="5996934" y="4994577"/>
                  <a:pt x="5998136" y="4994577"/>
                </a:cubicBezTo>
                <a:close/>
                <a:moveTo>
                  <a:pt x="6152083" y="4993486"/>
                </a:moveTo>
                <a:cubicBezTo>
                  <a:pt x="6153901" y="4993486"/>
                  <a:pt x="6155350" y="4994939"/>
                  <a:pt x="6155350" y="4996753"/>
                </a:cubicBezTo>
                <a:cubicBezTo>
                  <a:pt x="6155350" y="4998568"/>
                  <a:pt x="6153901" y="5000024"/>
                  <a:pt x="6152083" y="5000024"/>
                </a:cubicBezTo>
                <a:cubicBezTo>
                  <a:pt x="6150268" y="5000024"/>
                  <a:pt x="6148816" y="4998568"/>
                  <a:pt x="6148816" y="4996753"/>
                </a:cubicBezTo>
                <a:cubicBezTo>
                  <a:pt x="6148816" y="4994939"/>
                  <a:pt x="6150268" y="4993486"/>
                  <a:pt x="6152083" y="4993486"/>
                </a:cubicBezTo>
                <a:close/>
                <a:moveTo>
                  <a:pt x="6305668" y="4992396"/>
                </a:moveTo>
                <a:cubicBezTo>
                  <a:pt x="6308210" y="4992396"/>
                  <a:pt x="6310025" y="4994211"/>
                  <a:pt x="6310025" y="4996753"/>
                </a:cubicBezTo>
                <a:cubicBezTo>
                  <a:pt x="6310025" y="4999296"/>
                  <a:pt x="6307844" y="5001110"/>
                  <a:pt x="6305668" y="5001110"/>
                </a:cubicBezTo>
                <a:cubicBezTo>
                  <a:pt x="6303126" y="5001110"/>
                  <a:pt x="6301311" y="4999296"/>
                  <a:pt x="6301311" y="4996753"/>
                </a:cubicBezTo>
                <a:cubicBezTo>
                  <a:pt x="6301311" y="4994211"/>
                  <a:pt x="6303126" y="4992396"/>
                  <a:pt x="6305668" y="4992396"/>
                </a:cubicBezTo>
                <a:close/>
                <a:moveTo>
                  <a:pt x="6459616" y="4990944"/>
                </a:moveTo>
                <a:cubicBezTo>
                  <a:pt x="6462825" y="4990944"/>
                  <a:pt x="6465425" y="4993543"/>
                  <a:pt x="6465425" y="4996753"/>
                </a:cubicBezTo>
                <a:cubicBezTo>
                  <a:pt x="6465425" y="4999963"/>
                  <a:pt x="6462821" y="5002562"/>
                  <a:pt x="6459616" y="5002562"/>
                </a:cubicBezTo>
                <a:cubicBezTo>
                  <a:pt x="6456406" y="5002562"/>
                  <a:pt x="6453806" y="4999963"/>
                  <a:pt x="6453806" y="4996753"/>
                </a:cubicBezTo>
                <a:cubicBezTo>
                  <a:pt x="6453806" y="4993543"/>
                  <a:pt x="6456410" y="4990944"/>
                  <a:pt x="6459616" y="4990944"/>
                </a:cubicBezTo>
                <a:close/>
                <a:moveTo>
                  <a:pt x="6613200" y="4989491"/>
                </a:moveTo>
                <a:cubicBezTo>
                  <a:pt x="6617196" y="4989491"/>
                  <a:pt x="6620462" y="4992758"/>
                  <a:pt x="6620462" y="4996753"/>
                </a:cubicBezTo>
                <a:cubicBezTo>
                  <a:pt x="6620462" y="5000748"/>
                  <a:pt x="6617196" y="5004015"/>
                  <a:pt x="6613200" y="5004015"/>
                </a:cubicBezTo>
                <a:cubicBezTo>
                  <a:pt x="6609210" y="5004015"/>
                  <a:pt x="6605939" y="5000748"/>
                  <a:pt x="6605939" y="4996753"/>
                </a:cubicBezTo>
                <a:cubicBezTo>
                  <a:pt x="6605939" y="4992758"/>
                  <a:pt x="6609210" y="4989491"/>
                  <a:pt x="6613200" y="4989491"/>
                </a:cubicBezTo>
                <a:close/>
                <a:moveTo>
                  <a:pt x="5536659" y="4842806"/>
                </a:moveTo>
                <a:cubicBezTo>
                  <a:pt x="5537021" y="4842806"/>
                  <a:pt x="5537021" y="4842806"/>
                  <a:pt x="5537021" y="4843168"/>
                </a:cubicBezTo>
                <a:cubicBezTo>
                  <a:pt x="5537021" y="4843530"/>
                  <a:pt x="5536659" y="4843530"/>
                  <a:pt x="5536659" y="4843530"/>
                </a:cubicBezTo>
                <a:cubicBezTo>
                  <a:pt x="5536297" y="4843530"/>
                  <a:pt x="5536297" y="4843530"/>
                  <a:pt x="5536297" y="4843168"/>
                </a:cubicBezTo>
                <a:cubicBezTo>
                  <a:pt x="5536297" y="4842806"/>
                  <a:pt x="5536297" y="4842806"/>
                  <a:pt x="5536659" y="4842806"/>
                </a:cubicBezTo>
                <a:close/>
                <a:moveTo>
                  <a:pt x="5075541" y="4842806"/>
                </a:moveTo>
                <a:cubicBezTo>
                  <a:pt x="5075904" y="4842806"/>
                  <a:pt x="5075904" y="4842806"/>
                  <a:pt x="5075904" y="4843168"/>
                </a:cubicBezTo>
                <a:cubicBezTo>
                  <a:pt x="5075904" y="4843530"/>
                  <a:pt x="5075541" y="4843530"/>
                  <a:pt x="5075541" y="4843530"/>
                </a:cubicBezTo>
                <a:cubicBezTo>
                  <a:pt x="5075179" y="4843530"/>
                  <a:pt x="5075179" y="4843530"/>
                  <a:pt x="5075179" y="4843168"/>
                </a:cubicBezTo>
                <a:cubicBezTo>
                  <a:pt x="5075179" y="4842806"/>
                  <a:pt x="5075179" y="4842806"/>
                  <a:pt x="5075541" y="4842806"/>
                </a:cubicBezTo>
                <a:close/>
                <a:moveTo>
                  <a:pt x="4921594" y="4842806"/>
                </a:moveTo>
                <a:cubicBezTo>
                  <a:pt x="4921956" y="4842806"/>
                  <a:pt x="4921956" y="4842806"/>
                  <a:pt x="4921956" y="4843168"/>
                </a:cubicBezTo>
                <a:cubicBezTo>
                  <a:pt x="4921956" y="4843530"/>
                  <a:pt x="4921594" y="4843530"/>
                  <a:pt x="4921594" y="4843530"/>
                </a:cubicBezTo>
                <a:cubicBezTo>
                  <a:pt x="4921232" y="4843530"/>
                  <a:pt x="4921232" y="4843530"/>
                  <a:pt x="4921232" y="4843168"/>
                </a:cubicBezTo>
                <a:cubicBezTo>
                  <a:pt x="4921232" y="4842806"/>
                  <a:pt x="4921232" y="4842806"/>
                  <a:pt x="4921594" y="4842806"/>
                </a:cubicBezTo>
                <a:close/>
                <a:moveTo>
                  <a:pt x="4768012" y="4842444"/>
                </a:moveTo>
                <a:cubicBezTo>
                  <a:pt x="4768374" y="4842444"/>
                  <a:pt x="4768736" y="4842806"/>
                  <a:pt x="4768736" y="4843172"/>
                </a:cubicBezTo>
                <a:cubicBezTo>
                  <a:pt x="4768736" y="4843534"/>
                  <a:pt x="4768012" y="4843896"/>
                  <a:pt x="4768012" y="4843896"/>
                </a:cubicBezTo>
                <a:cubicBezTo>
                  <a:pt x="4767646" y="4843896"/>
                  <a:pt x="4767284" y="4843534"/>
                  <a:pt x="4767284" y="4843172"/>
                </a:cubicBezTo>
                <a:cubicBezTo>
                  <a:pt x="4767284" y="4842806"/>
                  <a:pt x="4767646" y="4842444"/>
                  <a:pt x="4768012" y="4842444"/>
                </a:cubicBezTo>
                <a:close/>
                <a:moveTo>
                  <a:pt x="5690606" y="4841353"/>
                </a:moveTo>
                <a:cubicBezTo>
                  <a:pt x="5691331" y="4841353"/>
                  <a:pt x="5692059" y="4842081"/>
                  <a:pt x="5692059" y="4842806"/>
                </a:cubicBezTo>
                <a:cubicBezTo>
                  <a:pt x="5692059" y="4843530"/>
                  <a:pt x="5690606" y="4844258"/>
                  <a:pt x="5690606" y="4844258"/>
                </a:cubicBezTo>
                <a:cubicBezTo>
                  <a:pt x="5689882" y="4844258"/>
                  <a:pt x="5689154" y="4843530"/>
                  <a:pt x="5689154" y="4842806"/>
                </a:cubicBezTo>
                <a:cubicBezTo>
                  <a:pt x="5689154" y="4842081"/>
                  <a:pt x="5689882" y="4841353"/>
                  <a:pt x="5690606" y="4841353"/>
                </a:cubicBezTo>
                <a:close/>
                <a:moveTo>
                  <a:pt x="5844554" y="4840629"/>
                </a:moveTo>
                <a:cubicBezTo>
                  <a:pt x="5845754" y="4840629"/>
                  <a:pt x="5846730" y="4841605"/>
                  <a:pt x="5846730" y="4842810"/>
                </a:cubicBezTo>
                <a:cubicBezTo>
                  <a:pt x="5846730" y="4844010"/>
                  <a:pt x="5845754" y="4844986"/>
                  <a:pt x="5844554" y="4844986"/>
                </a:cubicBezTo>
                <a:cubicBezTo>
                  <a:pt x="5843350" y="4844986"/>
                  <a:pt x="5842374" y="4844010"/>
                  <a:pt x="5842374" y="4842810"/>
                </a:cubicBezTo>
                <a:cubicBezTo>
                  <a:pt x="5842374" y="4841605"/>
                  <a:pt x="5843350" y="4840629"/>
                  <a:pt x="5844554" y="4840629"/>
                </a:cubicBezTo>
                <a:close/>
                <a:moveTo>
                  <a:pt x="5998136" y="4839901"/>
                </a:moveTo>
                <a:cubicBezTo>
                  <a:pt x="5999950" y="4839901"/>
                  <a:pt x="6001402" y="4841353"/>
                  <a:pt x="6001402" y="4843168"/>
                </a:cubicBezTo>
                <a:cubicBezTo>
                  <a:pt x="6001402" y="4844982"/>
                  <a:pt x="5999950" y="4846435"/>
                  <a:pt x="5998136" y="4846435"/>
                </a:cubicBezTo>
                <a:cubicBezTo>
                  <a:pt x="5996321" y="4846435"/>
                  <a:pt x="5994868" y="4844982"/>
                  <a:pt x="5994868" y="4843168"/>
                </a:cubicBezTo>
                <a:cubicBezTo>
                  <a:pt x="5994868" y="4841353"/>
                  <a:pt x="5996321" y="4839901"/>
                  <a:pt x="5998136" y="4839901"/>
                </a:cubicBezTo>
                <a:close/>
                <a:moveTo>
                  <a:pt x="6152083" y="4838449"/>
                </a:moveTo>
                <a:cubicBezTo>
                  <a:pt x="6154626" y="4838449"/>
                  <a:pt x="6156440" y="4840263"/>
                  <a:pt x="6156440" y="4842806"/>
                </a:cubicBezTo>
                <a:cubicBezTo>
                  <a:pt x="6156440" y="4845348"/>
                  <a:pt x="6154260" y="4847163"/>
                  <a:pt x="6152083" y="4847163"/>
                </a:cubicBezTo>
                <a:cubicBezTo>
                  <a:pt x="6149544" y="4847163"/>
                  <a:pt x="6147726" y="4845348"/>
                  <a:pt x="6147726" y="4842806"/>
                </a:cubicBezTo>
                <a:cubicBezTo>
                  <a:pt x="6147726" y="4840263"/>
                  <a:pt x="6149544" y="4838449"/>
                  <a:pt x="6152083" y="4838449"/>
                </a:cubicBezTo>
                <a:close/>
                <a:moveTo>
                  <a:pt x="6305668" y="4836996"/>
                </a:moveTo>
                <a:cubicBezTo>
                  <a:pt x="6308878" y="4836996"/>
                  <a:pt x="6311478" y="4839596"/>
                  <a:pt x="6311478" y="4842806"/>
                </a:cubicBezTo>
                <a:cubicBezTo>
                  <a:pt x="6311478" y="4846015"/>
                  <a:pt x="6308874" y="4848615"/>
                  <a:pt x="6305668" y="4848615"/>
                </a:cubicBezTo>
                <a:cubicBezTo>
                  <a:pt x="6302458" y="4848615"/>
                  <a:pt x="6299858" y="4846015"/>
                  <a:pt x="6299858" y="4842806"/>
                </a:cubicBezTo>
                <a:cubicBezTo>
                  <a:pt x="6299858" y="4839596"/>
                  <a:pt x="6302462" y="4836996"/>
                  <a:pt x="6305668" y="4836996"/>
                </a:cubicBezTo>
                <a:close/>
                <a:moveTo>
                  <a:pt x="6459616" y="4835544"/>
                </a:moveTo>
                <a:cubicBezTo>
                  <a:pt x="6463610" y="4835544"/>
                  <a:pt x="6466877" y="4838811"/>
                  <a:pt x="6466877" y="4842806"/>
                </a:cubicBezTo>
                <a:cubicBezTo>
                  <a:pt x="6466877" y="4846801"/>
                  <a:pt x="6463610" y="4850067"/>
                  <a:pt x="6459616" y="4850067"/>
                </a:cubicBezTo>
                <a:cubicBezTo>
                  <a:pt x="6455624" y="4850067"/>
                  <a:pt x="6452354" y="4846801"/>
                  <a:pt x="6452354" y="4842806"/>
                </a:cubicBezTo>
                <a:cubicBezTo>
                  <a:pt x="6452354" y="4838811"/>
                  <a:pt x="6455624" y="4835544"/>
                  <a:pt x="6459616" y="4835544"/>
                </a:cubicBezTo>
                <a:close/>
                <a:moveTo>
                  <a:pt x="6613200" y="4833730"/>
                </a:moveTo>
                <a:cubicBezTo>
                  <a:pt x="6618286" y="4833730"/>
                  <a:pt x="6622280" y="4837724"/>
                  <a:pt x="6622280" y="4842806"/>
                </a:cubicBezTo>
                <a:cubicBezTo>
                  <a:pt x="6622280" y="4847891"/>
                  <a:pt x="6618286" y="4851886"/>
                  <a:pt x="6613200" y="4851886"/>
                </a:cubicBezTo>
                <a:cubicBezTo>
                  <a:pt x="6608120" y="4851886"/>
                  <a:pt x="6604124" y="4847891"/>
                  <a:pt x="6604124" y="4842806"/>
                </a:cubicBezTo>
                <a:cubicBezTo>
                  <a:pt x="6604124" y="4837724"/>
                  <a:pt x="6608120" y="4833730"/>
                  <a:pt x="6613200" y="4833730"/>
                </a:cubicBezTo>
                <a:close/>
                <a:moveTo>
                  <a:pt x="5383074" y="4688858"/>
                </a:moveTo>
                <a:cubicBezTo>
                  <a:pt x="5383436" y="4688858"/>
                  <a:pt x="5383436" y="4688858"/>
                  <a:pt x="5383436" y="4689220"/>
                </a:cubicBezTo>
                <a:cubicBezTo>
                  <a:pt x="5383436" y="4689586"/>
                  <a:pt x="5383074" y="4689586"/>
                  <a:pt x="5383074" y="4689586"/>
                </a:cubicBezTo>
                <a:cubicBezTo>
                  <a:pt x="5382712" y="4689586"/>
                  <a:pt x="5382712" y="4689586"/>
                  <a:pt x="5382712" y="4689220"/>
                </a:cubicBezTo>
                <a:cubicBezTo>
                  <a:pt x="5382712" y="4688858"/>
                  <a:pt x="5382712" y="4688858"/>
                  <a:pt x="5383074" y="4688858"/>
                </a:cubicBezTo>
                <a:close/>
                <a:moveTo>
                  <a:pt x="4921594" y="4688858"/>
                </a:moveTo>
                <a:cubicBezTo>
                  <a:pt x="4921956" y="4688858"/>
                  <a:pt x="4921956" y="4688858"/>
                  <a:pt x="4921956" y="4689220"/>
                </a:cubicBezTo>
                <a:cubicBezTo>
                  <a:pt x="4921956" y="4689586"/>
                  <a:pt x="4921594" y="4689586"/>
                  <a:pt x="4921594" y="4689586"/>
                </a:cubicBezTo>
                <a:cubicBezTo>
                  <a:pt x="4921232" y="4689586"/>
                  <a:pt x="4921232" y="4689586"/>
                  <a:pt x="4921232" y="4689220"/>
                </a:cubicBezTo>
                <a:cubicBezTo>
                  <a:pt x="4921232" y="4688858"/>
                  <a:pt x="4921232" y="4688858"/>
                  <a:pt x="4921594" y="4688858"/>
                </a:cubicBezTo>
                <a:close/>
                <a:moveTo>
                  <a:pt x="4768008" y="4688858"/>
                </a:moveTo>
                <a:cubicBezTo>
                  <a:pt x="4768370" y="4688858"/>
                  <a:pt x="4768370" y="4688858"/>
                  <a:pt x="4768370" y="4689220"/>
                </a:cubicBezTo>
                <a:cubicBezTo>
                  <a:pt x="4768370" y="4689586"/>
                  <a:pt x="4768008" y="4689586"/>
                  <a:pt x="4768008" y="4689586"/>
                </a:cubicBezTo>
                <a:cubicBezTo>
                  <a:pt x="4767646" y="4689586"/>
                  <a:pt x="4767646" y="4689586"/>
                  <a:pt x="4767646" y="4689220"/>
                </a:cubicBezTo>
                <a:cubicBezTo>
                  <a:pt x="4767646" y="4688858"/>
                  <a:pt x="4767646" y="4688858"/>
                  <a:pt x="4768008" y="4688858"/>
                </a:cubicBezTo>
                <a:close/>
                <a:moveTo>
                  <a:pt x="4614065" y="4688496"/>
                </a:moveTo>
                <a:cubicBezTo>
                  <a:pt x="4614465" y="4688496"/>
                  <a:pt x="4614789" y="4688820"/>
                  <a:pt x="4614789" y="4689220"/>
                </a:cubicBezTo>
                <a:cubicBezTo>
                  <a:pt x="4614789" y="4689625"/>
                  <a:pt x="4614465" y="4689949"/>
                  <a:pt x="4614065" y="4689949"/>
                </a:cubicBezTo>
                <a:cubicBezTo>
                  <a:pt x="4613661" y="4689949"/>
                  <a:pt x="4613337" y="4689625"/>
                  <a:pt x="4613337" y="4689220"/>
                </a:cubicBezTo>
                <a:cubicBezTo>
                  <a:pt x="4613337" y="4688820"/>
                  <a:pt x="4613661" y="4688496"/>
                  <a:pt x="4614065" y="4688496"/>
                </a:cubicBezTo>
                <a:close/>
                <a:moveTo>
                  <a:pt x="5536659" y="4687406"/>
                </a:moveTo>
                <a:cubicBezTo>
                  <a:pt x="5537384" y="4687406"/>
                  <a:pt x="5538112" y="4688130"/>
                  <a:pt x="5538112" y="4688858"/>
                </a:cubicBezTo>
                <a:cubicBezTo>
                  <a:pt x="5538112" y="4689583"/>
                  <a:pt x="5536659" y="4690311"/>
                  <a:pt x="5536659" y="4690311"/>
                </a:cubicBezTo>
                <a:cubicBezTo>
                  <a:pt x="5535935" y="4690311"/>
                  <a:pt x="5535207" y="4689583"/>
                  <a:pt x="5535207" y="4688858"/>
                </a:cubicBezTo>
                <a:cubicBezTo>
                  <a:pt x="5535207" y="4688130"/>
                  <a:pt x="5535935" y="4687406"/>
                  <a:pt x="5536659" y="4687406"/>
                </a:cubicBezTo>
                <a:close/>
                <a:moveTo>
                  <a:pt x="5690602" y="4687044"/>
                </a:moveTo>
                <a:cubicBezTo>
                  <a:pt x="5691693" y="4687044"/>
                  <a:pt x="5692783" y="4688134"/>
                  <a:pt x="5692783" y="4689220"/>
                </a:cubicBezTo>
                <a:cubicBezTo>
                  <a:pt x="5692783" y="4690311"/>
                  <a:pt x="5690602" y="4691401"/>
                  <a:pt x="5690602" y="4691401"/>
                </a:cubicBezTo>
                <a:cubicBezTo>
                  <a:pt x="5689512" y="4691401"/>
                  <a:pt x="5688426" y="4690311"/>
                  <a:pt x="5688426" y="4689220"/>
                </a:cubicBezTo>
                <a:cubicBezTo>
                  <a:pt x="5688426" y="4688134"/>
                  <a:pt x="5689512" y="4687044"/>
                  <a:pt x="5690602" y="4687044"/>
                </a:cubicBezTo>
                <a:close/>
                <a:moveTo>
                  <a:pt x="5844554" y="4685954"/>
                </a:moveTo>
                <a:cubicBezTo>
                  <a:pt x="5846368" y="4685954"/>
                  <a:pt x="5847817" y="4687406"/>
                  <a:pt x="5847817" y="4689220"/>
                </a:cubicBezTo>
                <a:cubicBezTo>
                  <a:pt x="5847817" y="4691035"/>
                  <a:pt x="5846368" y="4692491"/>
                  <a:pt x="5844554" y="4692491"/>
                </a:cubicBezTo>
                <a:cubicBezTo>
                  <a:pt x="5842736" y="4692491"/>
                  <a:pt x="5841284" y="4691035"/>
                  <a:pt x="5841284" y="4689220"/>
                </a:cubicBezTo>
                <a:cubicBezTo>
                  <a:pt x="5841284" y="4687406"/>
                  <a:pt x="5842736" y="4685954"/>
                  <a:pt x="5844554" y="4685954"/>
                </a:cubicBezTo>
                <a:close/>
                <a:moveTo>
                  <a:pt x="5998136" y="4684863"/>
                </a:moveTo>
                <a:cubicBezTo>
                  <a:pt x="6000678" y="4684863"/>
                  <a:pt x="6002492" y="4686678"/>
                  <a:pt x="6002492" y="4689220"/>
                </a:cubicBezTo>
                <a:cubicBezTo>
                  <a:pt x="6002492" y="4691763"/>
                  <a:pt x="6000312" y="4693577"/>
                  <a:pt x="5998136" y="4693577"/>
                </a:cubicBezTo>
                <a:cubicBezTo>
                  <a:pt x="5995593" y="4693577"/>
                  <a:pt x="5993778" y="4691763"/>
                  <a:pt x="5993778" y="4689220"/>
                </a:cubicBezTo>
                <a:cubicBezTo>
                  <a:pt x="5993778" y="4686678"/>
                  <a:pt x="5995593" y="4684863"/>
                  <a:pt x="5998136" y="4684863"/>
                </a:cubicBezTo>
                <a:close/>
                <a:moveTo>
                  <a:pt x="6152086" y="4683411"/>
                </a:moveTo>
                <a:cubicBezTo>
                  <a:pt x="6155354" y="4683411"/>
                  <a:pt x="6157896" y="4685954"/>
                  <a:pt x="6157896" y="4689220"/>
                </a:cubicBezTo>
                <a:cubicBezTo>
                  <a:pt x="6157896" y="4692487"/>
                  <a:pt x="6155354" y="4695030"/>
                  <a:pt x="6152086" y="4695030"/>
                </a:cubicBezTo>
                <a:cubicBezTo>
                  <a:pt x="6148820" y="4695030"/>
                  <a:pt x="6146277" y="4692487"/>
                  <a:pt x="6146277" y="4689220"/>
                </a:cubicBezTo>
                <a:cubicBezTo>
                  <a:pt x="6146277" y="4685954"/>
                  <a:pt x="6148820" y="4683411"/>
                  <a:pt x="6152086" y="4683411"/>
                </a:cubicBezTo>
                <a:close/>
                <a:moveTo>
                  <a:pt x="6305668" y="4681959"/>
                </a:moveTo>
                <a:cubicBezTo>
                  <a:pt x="6309663" y="4681959"/>
                  <a:pt x="6312930" y="4685226"/>
                  <a:pt x="6312930" y="4689220"/>
                </a:cubicBezTo>
                <a:cubicBezTo>
                  <a:pt x="6312930" y="4693215"/>
                  <a:pt x="6309663" y="4696482"/>
                  <a:pt x="6305668" y="4696482"/>
                </a:cubicBezTo>
                <a:cubicBezTo>
                  <a:pt x="6301673" y="4696482"/>
                  <a:pt x="6298406" y="4693215"/>
                  <a:pt x="6298406" y="4689220"/>
                </a:cubicBezTo>
                <a:cubicBezTo>
                  <a:pt x="6298406" y="4685226"/>
                  <a:pt x="6301673" y="4681959"/>
                  <a:pt x="6305668" y="4681959"/>
                </a:cubicBezTo>
                <a:close/>
                <a:moveTo>
                  <a:pt x="6459616" y="4680144"/>
                </a:moveTo>
                <a:cubicBezTo>
                  <a:pt x="6464700" y="4680144"/>
                  <a:pt x="6468696" y="4684139"/>
                  <a:pt x="6468696" y="4689220"/>
                </a:cubicBezTo>
                <a:cubicBezTo>
                  <a:pt x="6468696" y="4694306"/>
                  <a:pt x="6464700" y="4698300"/>
                  <a:pt x="6459616" y="4698300"/>
                </a:cubicBezTo>
                <a:cubicBezTo>
                  <a:pt x="6454534" y="4698300"/>
                  <a:pt x="6450540" y="4694306"/>
                  <a:pt x="6450540" y="4689220"/>
                </a:cubicBezTo>
                <a:cubicBezTo>
                  <a:pt x="6450540" y="4684139"/>
                  <a:pt x="6454534" y="4680144"/>
                  <a:pt x="6459616" y="4680144"/>
                </a:cubicBezTo>
                <a:close/>
                <a:moveTo>
                  <a:pt x="6613200" y="4679054"/>
                </a:moveTo>
                <a:cubicBezTo>
                  <a:pt x="6618648" y="4679054"/>
                  <a:pt x="6623367" y="4683773"/>
                  <a:pt x="6623367" y="4689220"/>
                </a:cubicBezTo>
                <a:cubicBezTo>
                  <a:pt x="6623367" y="4694668"/>
                  <a:pt x="6619010" y="4699387"/>
                  <a:pt x="6613200" y="4699387"/>
                </a:cubicBezTo>
                <a:cubicBezTo>
                  <a:pt x="6607754" y="4699387"/>
                  <a:pt x="6603034" y="4694668"/>
                  <a:pt x="6603034" y="4689220"/>
                </a:cubicBezTo>
                <a:cubicBezTo>
                  <a:pt x="6603034" y="4683773"/>
                  <a:pt x="6607754" y="4679054"/>
                  <a:pt x="6613200" y="4679054"/>
                </a:cubicBezTo>
                <a:close/>
                <a:moveTo>
                  <a:pt x="5229126" y="4535273"/>
                </a:moveTo>
                <a:cubicBezTo>
                  <a:pt x="5229488" y="4535273"/>
                  <a:pt x="5229488" y="4535273"/>
                  <a:pt x="5229488" y="4535635"/>
                </a:cubicBezTo>
                <a:cubicBezTo>
                  <a:pt x="5229488" y="4535997"/>
                  <a:pt x="5229126" y="4535997"/>
                  <a:pt x="5229126" y="4535997"/>
                </a:cubicBezTo>
                <a:cubicBezTo>
                  <a:pt x="5228764" y="4535997"/>
                  <a:pt x="5228764" y="4535997"/>
                  <a:pt x="5228764" y="4535635"/>
                </a:cubicBezTo>
                <a:cubicBezTo>
                  <a:pt x="5228764" y="4535273"/>
                  <a:pt x="5228764" y="4535273"/>
                  <a:pt x="5229126" y="4535273"/>
                </a:cubicBezTo>
                <a:close/>
                <a:moveTo>
                  <a:pt x="4768008" y="4535273"/>
                </a:moveTo>
                <a:cubicBezTo>
                  <a:pt x="4768370" y="4535273"/>
                  <a:pt x="4768370" y="4535273"/>
                  <a:pt x="4768370" y="4535635"/>
                </a:cubicBezTo>
                <a:cubicBezTo>
                  <a:pt x="4768370" y="4535997"/>
                  <a:pt x="4768008" y="4535997"/>
                  <a:pt x="4768008" y="4535997"/>
                </a:cubicBezTo>
                <a:cubicBezTo>
                  <a:pt x="4767646" y="4535997"/>
                  <a:pt x="4767646" y="4535997"/>
                  <a:pt x="4767646" y="4535635"/>
                </a:cubicBezTo>
                <a:cubicBezTo>
                  <a:pt x="4767646" y="4535273"/>
                  <a:pt x="4767646" y="4535273"/>
                  <a:pt x="4768008" y="4535273"/>
                </a:cubicBezTo>
                <a:close/>
                <a:moveTo>
                  <a:pt x="4614061" y="4535273"/>
                </a:moveTo>
                <a:cubicBezTo>
                  <a:pt x="4614424" y="4535273"/>
                  <a:pt x="4614424" y="4535273"/>
                  <a:pt x="4614424" y="4535635"/>
                </a:cubicBezTo>
                <a:cubicBezTo>
                  <a:pt x="4614424" y="4535997"/>
                  <a:pt x="4614061" y="4535997"/>
                  <a:pt x="4614061" y="4535997"/>
                </a:cubicBezTo>
                <a:cubicBezTo>
                  <a:pt x="4613699" y="4535997"/>
                  <a:pt x="4613699" y="4535997"/>
                  <a:pt x="4613699" y="4535635"/>
                </a:cubicBezTo>
                <a:cubicBezTo>
                  <a:pt x="4613699" y="4535273"/>
                  <a:pt x="4613699" y="4535273"/>
                  <a:pt x="4614061" y="4535273"/>
                </a:cubicBezTo>
                <a:close/>
                <a:moveTo>
                  <a:pt x="4460480" y="4534911"/>
                </a:moveTo>
                <a:cubicBezTo>
                  <a:pt x="4460842" y="4534911"/>
                  <a:pt x="4461204" y="4535273"/>
                  <a:pt x="4461204" y="4535635"/>
                </a:cubicBezTo>
                <a:cubicBezTo>
                  <a:pt x="4461204" y="4536001"/>
                  <a:pt x="4460480" y="4536363"/>
                  <a:pt x="4460480" y="4536363"/>
                </a:cubicBezTo>
                <a:cubicBezTo>
                  <a:pt x="4460114" y="4536363"/>
                  <a:pt x="4459752" y="4536001"/>
                  <a:pt x="4459752" y="4535635"/>
                </a:cubicBezTo>
                <a:cubicBezTo>
                  <a:pt x="4459752" y="4535273"/>
                  <a:pt x="4460114" y="4534911"/>
                  <a:pt x="4460480" y="4534911"/>
                </a:cubicBezTo>
                <a:close/>
                <a:moveTo>
                  <a:pt x="5383074" y="4533821"/>
                </a:moveTo>
                <a:cubicBezTo>
                  <a:pt x="5383798" y="4533821"/>
                  <a:pt x="5384526" y="4534545"/>
                  <a:pt x="5384526" y="4535273"/>
                </a:cubicBezTo>
                <a:cubicBezTo>
                  <a:pt x="5384526" y="4535997"/>
                  <a:pt x="5383074" y="4536725"/>
                  <a:pt x="5383074" y="4536725"/>
                </a:cubicBezTo>
                <a:cubicBezTo>
                  <a:pt x="5382346" y="4536725"/>
                  <a:pt x="5381622" y="4535997"/>
                  <a:pt x="5381622" y="4535273"/>
                </a:cubicBezTo>
                <a:cubicBezTo>
                  <a:pt x="5381622" y="4534545"/>
                  <a:pt x="5382346" y="4533821"/>
                  <a:pt x="5383074" y="4533821"/>
                </a:cubicBezTo>
                <a:close/>
                <a:moveTo>
                  <a:pt x="5536659" y="4533096"/>
                </a:moveTo>
                <a:cubicBezTo>
                  <a:pt x="5537750" y="4533096"/>
                  <a:pt x="5538840" y="4534187"/>
                  <a:pt x="5538840" y="4535277"/>
                </a:cubicBezTo>
                <a:cubicBezTo>
                  <a:pt x="5538840" y="4536363"/>
                  <a:pt x="5536659" y="4537453"/>
                  <a:pt x="5536659" y="4537453"/>
                </a:cubicBezTo>
                <a:cubicBezTo>
                  <a:pt x="5535569" y="4537453"/>
                  <a:pt x="5534482" y="4536363"/>
                  <a:pt x="5534482" y="4535277"/>
                </a:cubicBezTo>
                <a:cubicBezTo>
                  <a:pt x="5534482" y="4534187"/>
                  <a:pt x="5535569" y="4533096"/>
                  <a:pt x="5536659" y="4533096"/>
                </a:cubicBezTo>
                <a:close/>
                <a:moveTo>
                  <a:pt x="5690606" y="4532368"/>
                </a:moveTo>
                <a:cubicBezTo>
                  <a:pt x="5692421" y="4532368"/>
                  <a:pt x="5693870" y="4533821"/>
                  <a:pt x="5693870" y="4535635"/>
                </a:cubicBezTo>
                <a:cubicBezTo>
                  <a:pt x="5693870" y="4537450"/>
                  <a:pt x="5692421" y="4538906"/>
                  <a:pt x="5690606" y="4538906"/>
                </a:cubicBezTo>
                <a:cubicBezTo>
                  <a:pt x="5688788" y="4538906"/>
                  <a:pt x="5687336" y="4537450"/>
                  <a:pt x="5687336" y="4535635"/>
                </a:cubicBezTo>
                <a:cubicBezTo>
                  <a:pt x="5687336" y="4533821"/>
                  <a:pt x="5688788" y="4532368"/>
                  <a:pt x="5690606" y="4532368"/>
                </a:cubicBezTo>
                <a:close/>
                <a:moveTo>
                  <a:pt x="5844554" y="4530916"/>
                </a:moveTo>
                <a:cubicBezTo>
                  <a:pt x="5847096" y="4530916"/>
                  <a:pt x="5848911" y="4532731"/>
                  <a:pt x="5848911" y="4535273"/>
                </a:cubicBezTo>
                <a:cubicBezTo>
                  <a:pt x="5848911" y="4537816"/>
                  <a:pt x="5846730" y="4539630"/>
                  <a:pt x="5844554" y="4539630"/>
                </a:cubicBezTo>
                <a:cubicBezTo>
                  <a:pt x="5842012" y="4539630"/>
                  <a:pt x="5840197" y="4537816"/>
                  <a:pt x="5840197" y="4535273"/>
                </a:cubicBezTo>
                <a:cubicBezTo>
                  <a:pt x="5840197" y="4532731"/>
                  <a:pt x="5842012" y="4530916"/>
                  <a:pt x="5844554" y="4530916"/>
                </a:cubicBezTo>
                <a:close/>
                <a:moveTo>
                  <a:pt x="5998139" y="4529830"/>
                </a:moveTo>
                <a:cubicBezTo>
                  <a:pt x="6001406" y="4529830"/>
                  <a:pt x="6003948" y="4532372"/>
                  <a:pt x="6003948" y="4535639"/>
                </a:cubicBezTo>
                <a:cubicBezTo>
                  <a:pt x="6003948" y="4538906"/>
                  <a:pt x="6001406" y="4541448"/>
                  <a:pt x="5998139" y="4541448"/>
                </a:cubicBezTo>
                <a:cubicBezTo>
                  <a:pt x="5994872" y="4541448"/>
                  <a:pt x="5992330" y="4538906"/>
                  <a:pt x="5992330" y="4535639"/>
                </a:cubicBezTo>
                <a:cubicBezTo>
                  <a:pt x="5992330" y="4532372"/>
                  <a:pt x="5994872" y="4529830"/>
                  <a:pt x="5998139" y="4529830"/>
                </a:cubicBezTo>
                <a:close/>
                <a:moveTo>
                  <a:pt x="6152086" y="4528011"/>
                </a:moveTo>
                <a:cubicBezTo>
                  <a:pt x="6156082" y="4528011"/>
                  <a:pt x="6159348" y="4531278"/>
                  <a:pt x="6159348" y="4535273"/>
                </a:cubicBezTo>
                <a:cubicBezTo>
                  <a:pt x="6159348" y="4539268"/>
                  <a:pt x="6156082" y="4542535"/>
                  <a:pt x="6152086" y="4542535"/>
                </a:cubicBezTo>
                <a:cubicBezTo>
                  <a:pt x="6148092" y="4542535"/>
                  <a:pt x="6144825" y="4539268"/>
                  <a:pt x="6144825" y="4535273"/>
                </a:cubicBezTo>
                <a:cubicBezTo>
                  <a:pt x="6144825" y="4531278"/>
                  <a:pt x="6148092" y="4528011"/>
                  <a:pt x="6152086" y="4528011"/>
                </a:cubicBezTo>
                <a:close/>
                <a:moveTo>
                  <a:pt x="6305668" y="4526197"/>
                </a:moveTo>
                <a:cubicBezTo>
                  <a:pt x="6310750" y="4526197"/>
                  <a:pt x="6314748" y="4530192"/>
                  <a:pt x="6314748" y="4535273"/>
                </a:cubicBezTo>
                <a:cubicBezTo>
                  <a:pt x="6314748" y="4540358"/>
                  <a:pt x="6310750" y="4544353"/>
                  <a:pt x="6305668" y="4544353"/>
                </a:cubicBezTo>
                <a:cubicBezTo>
                  <a:pt x="6300587" y="4544353"/>
                  <a:pt x="6296592" y="4540358"/>
                  <a:pt x="6296592" y="4535273"/>
                </a:cubicBezTo>
                <a:cubicBezTo>
                  <a:pt x="6296592" y="4530192"/>
                  <a:pt x="6300587" y="4526197"/>
                  <a:pt x="6305668" y="4526197"/>
                </a:cubicBezTo>
                <a:close/>
                <a:moveTo>
                  <a:pt x="6459616" y="4525469"/>
                </a:moveTo>
                <a:cubicBezTo>
                  <a:pt x="6465062" y="4525469"/>
                  <a:pt x="6469782" y="4530188"/>
                  <a:pt x="6469782" y="4535635"/>
                </a:cubicBezTo>
                <a:cubicBezTo>
                  <a:pt x="6469782" y="4541082"/>
                  <a:pt x="6465425" y="4545802"/>
                  <a:pt x="6459616" y="4545802"/>
                </a:cubicBezTo>
                <a:cubicBezTo>
                  <a:pt x="6454168" y="4545802"/>
                  <a:pt x="6449449" y="4541082"/>
                  <a:pt x="6449449" y="4535635"/>
                </a:cubicBezTo>
                <a:cubicBezTo>
                  <a:pt x="6449449" y="4530188"/>
                  <a:pt x="6454168" y="4525469"/>
                  <a:pt x="6459616" y="4525469"/>
                </a:cubicBezTo>
                <a:close/>
                <a:moveTo>
                  <a:pt x="6613197" y="4523292"/>
                </a:moveTo>
                <a:cubicBezTo>
                  <a:pt x="6619734" y="4523292"/>
                  <a:pt x="6625182" y="4528739"/>
                  <a:pt x="6625182" y="4535273"/>
                </a:cubicBezTo>
                <a:cubicBezTo>
                  <a:pt x="6625182" y="4541810"/>
                  <a:pt x="6619734" y="4547254"/>
                  <a:pt x="6613197" y="4547254"/>
                </a:cubicBezTo>
                <a:cubicBezTo>
                  <a:pt x="6606664" y="4547254"/>
                  <a:pt x="6601216" y="4541810"/>
                  <a:pt x="6601216" y="4535273"/>
                </a:cubicBezTo>
                <a:cubicBezTo>
                  <a:pt x="6601216" y="4528739"/>
                  <a:pt x="6606664" y="4523292"/>
                  <a:pt x="6613197" y="4523292"/>
                </a:cubicBezTo>
                <a:close/>
                <a:moveTo>
                  <a:pt x="5075541" y="4381326"/>
                </a:moveTo>
                <a:cubicBezTo>
                  <a:pt x="5075904" y="4381326"/>
                  <a:pt x="5075904" y="4381326"/>
                  <a:pt x="5075904" y="4381688"/>
                </a:cubicBezTo>
                <a:cubicBezTo>
                  <a:pt x="5075904" y="4382054"/>
                  <a:pt x="5075541" y="4382054"/>
                  <a:pt x="5075541" y="4382054"/>
                </a:cubicBezTo>
                <a:cubicBezTo>
                  <a:pt x="5075179" y="4382054"/>
                  <a:pt x="5075179" y="4382054"/>
                  <a:pt x="5075179" y="4381688"/>
                </a:cubicBezTo>
                <a:cubicBezTo>
                  <a:pt x="5075179" y="4381326"/>
                  <a:pt x="5075179" y="4381326"/>
                  <a:pt x="5075541" y="4381326"/>
                </a:cubicBezTo>
                <a:close/>
                <a:moveTo>
                  <a:pt x="4614061" y="4381326"/>
                </a:moveTo>
                <a:cubicBezTo>
                  <a:pt x="4614424" y="4381326"/>
                  <a:pt x="4614424" y="4381326"/>
                  <a:pt x="4614424" y="4381688"/>
                </a:cubicBezTo>
                <a:cubicBezTo>
                  <a:pt x="4614424" y="4382054"/>
                  <a:pt x="4614061" y="4382054"/>
                  <a:pt x="4614061" y="4382054"/>
                </a:cubicBezTo>
                <a:cubicBezTo>
                  <a:pt x="4613699" y="4382054"/>
                  <a:pt x="4613699" y="4382054"/>
                  <a:pt x="4613699" y="4381688"/>
                </a:cubicBezTo>
                <a:cubicBezTo>
                  <a:pt x="4613699" y="4381326"/>
                  <a:pt x="4613699" y="4381326"/>
                  <a:pt x="4614061" y="4381326"/>
                </a:cubicBezTo>
                <a:close/>
                <a:moveTo>
                  <a:pt x="4460480" y="4381326"/>
                </a:moveTo>
                <a:cubicBezTo>
                  <a:pt x="4460842" y="4381326"/>
                  <a:pt x="4460842" y="4381326"/>
                  <a:pt x="4460842" y="4381688"/>
                </a:cubicBezTo>
                <a:cubicBezTo>
                  <a:pt x="4460842" y="4382054"/>
                  <a:pt x="4460480" y="4382054"/>
                  <a:pt x="4460480" y="4382054"/>
                </a:cubicBezTo>
                <a:cubicBezTo>
                  <a:pt x="4460118" y="4382054"/>
                  <a:pt x="4460118" y="4382054"/>
                  <a:pt x="4460118" y="4381688"/>
                </a:cubicBezTo>
                <a:cubicBezTo>
                  <a:pt x="4460118" y="4381326"/>
                  <a:pt x="4460118" y="4381326"/>
                  <a:pt x="4460480" y="4381326"/>
                </a:cubicBezTo>
                <a:close/>
                <a:moveTo>
                  <a:pt x="4306528" y="4380964"/>
                </a:moveTo>
                <a:cubicBezTo>
                  <a:pt x="4306894" y="4380964"/>
                  <a:pt x="4307256" y="4381326"/>
                  <a:pt x="4307256" y="4381688"/>
                </a:cubicBezTo>
                <a:cubicBezTo>
                  <a:pt x="4307256" y="4382054"/>
                  <a:pt x="4306528" y="4382416"/>
                  <a:pt x="4306528" y="4382416"/>
                </a:cubicBezTo>
                <a:cubicBezTo>
                  <a:pt x="4306166" y="4382416"/>
                  <a:pt x="4305804" y="4382054"/>
                  <a:pt x="4305804" y="4381688"/>
                </a:cubicBezTo>
                <a:cubicBezTo>
                  <a:pt x="4305804" y="4381326"/>
                  <a:pt x="4306166" y="4380964"/>
                  <a:pt x="4306528" y="4380964"/>
                </a:cubicBezTo>
                <a:close/>
                <a:moveTo>
                  <a:pt x="5229126" y="4379873"/>
                </a:moveTo>
                <a:cubicBezTo>
                  <a:pt x="5229850" y="4379873"/>
                  <a:pt x="5230579" y="4380601"/>
                  <a:pt x="5230579" y="4381326"/>
                </a:cubicBezTo>
                <a:cubicBezTo>
                  <a:pt x="5230579" y="4382054"/>
                  <a:pt x="5229126" y="4382778"/>
                  <a:pt x="5229126" y="4382778"/>
                </a:cubicBezTo>
                <a:cubicBezTo>
                  <a:pt x="5228398" y="4382778"/>
                  <a:pt x="5227674" y="4382054"/>
                  <a:pt x="5227674" y="4381326"/>
                </a:cubicBezTo>
                <a:cubicBezTo>
                  <a:pt x="5227674" y="4380601"/>
                  <a:pt x="5228398" y="4379873"/>
                  <a:pt x="5229126" y="4379873"/>
                </a:cubicBezTo>
                <a:close/>
                <a:moveTo>
                  <a:pt x="5383074" y="4379511"/>
                </a:moveTo>
                <a:cubicBezTo>
                  <a:pt x="5384164" y="4379511"/>
                  <a:pt x="5385250" y="4380601"/>
                  <a:pt x="5385250" y="4381688"/>
                </a:cubicBezTo>
                <a:cubicBezTo>
                  <a:pt x="5385250" y="4382778"/>
                  <a:pt x="5383074" y="4383868"/>
                  <a:pt x="5383074" y="4383868"/>
                </a:cubicBezTo>
                <a:cubicBezTo>
                  <a:pt x="5381984" y="4383868"/>
                  <a:pt x="5380894" y="4382778"/>
                  <a:pt x="5380894" y="4381688"/>
                </a:cubicBezTo>
                <a:cubicBezTo>
                  <a:pt x="5380894" y="4380601"/>
                  <a:pt x="5381984" y="4379511"/>
                  <a:pt x="5383074" y="4379511"/>
                </a:cubicBezTo>
                <a:close/>
                <a:moveTo>
                  <a:pt x="5536659" y="4378421"/>
                </a:moveTo>
                <a:cubicBezTo>
                  <a:pt x="5538474" y="4378421"/>
                  <a:pt x="5539922" y="4379873"/>
                  <a:pt x="5539922" y="4381688"/>
                </a:cubicBezTo>
                <a:cubicBezTo>
                  <a:pt x="5539922" y="4383506"/>
                  <a:pt x="5538474" y="4384958"/>
                  <a:pt x="5536659" y="4384958"/>
                </a:cubicBezTo>
                <a:cubicBezTo>
                  <a:pt x="5534841" y="4384958"/>
                  <a:pt x="5533388" y="4383506"/>
                  <a:pt x="5533388" y="4381688"/>
                </a:cubicBezTo>
                <a:cubicBezTo>
                  <a:pt x="5533388" y="4379873"/>
                  <a:pt x="5534841" y="4378421"/>
                  <a:pt x="5536659" y="4378421"/>
                </a:cubicBezTo>
                <a:close/>
                <a:moveTo>
                  <a:pt x="5690606" y="4377331"/>
                </a:moveTo>
                <a:cubicBezTo>
                  <a:pt x="5693149" y="4377331"/>
                  <a:pt x="5694964" y="4379145"/>
                  <a:pt x="5694964" y="4381688"/>
                </a:cubicBezTo>
                <a:cubicBezTo>
                  <a:pt x="5694964" y="4384230"/>
                  <a:pt x="5692783" y="4386045"/>
                  <a:pt x="5690606" y="4386045"/>
                </a:cubicBezTo>
                <a:cubicBezTo>
                  <a:pt x="5688064" y="4386045"/>
                  <a:pt x="5686250" y="4384230"/>
                  <a:pt x="5686250" y="4381688"/>
                </a:cubicBezTo>
                <a:cubicBezTo>
                  <a:pt x="5686250" y="4379145"/>
                  <a:pt x="5688064" y="4377331"/>
                  <a:pt x="5690606" y="4377331"/>
                </a:cubicBezTo>
                <a:close/>
                <a:moveTo>
                  <a:pt x="5844550" y="4375878"/>
                </a:moveTo>
                <a:cubicBezTo>
                  <a:pt x="5847817" y="4375878"/>
                  <a:pt x="5850360" y="4378421"/>
                  <a:pt x="5850360" y="4381688"/>
                </a:cubicBezTo>
                <a:cubicBezTo>
                  <a:pt x="5850360" y="4384955"/>
                  <a:pt x="5847817" y="4387497"/>
                  <a:pt x="5844550" y="4387497"/>
                </a:cubicBezTo>
                <a:cubicBezTo>
                  <a:pt x="5841284" y="4387497"/>
                  <a:pt x="5838741" y="4384955"/>
                  <a:pt x="5838741" y="4381688"/>
                </a:cubicBezTo>
                <a:cubicBezTo>
                  <a:pt x="5838741" y="4378421"/>
                  <a:pt x="5841284" y="4375878"/>
                  <a:pt x="5844550" y="4375878"/>
                </a:cubicBezTo>
                <a:close/>
                <a:moveTo>
                  <a:pt x="5998136" y="4374430"/>
                </a:moveTo>
                <a:cubicBezTo>
                  <a:pt x="6002130" y="4374430"/>
                  <a:pt x="6005397" y="4377697"/>
                  <a:pt x="6005397" y="4381692"/>
                </a:cubicBezTo>
                <a:cubicBezTo>
                  <a:pt x="6005397" y="4385686"/>
                  <a:pt x="6002130" y="4388953"/>
                  <a:pt x="5998136" y="4388953"/>
                </a:cubicBezTo>
                <a:cubicBezTo>
                  <a:pt x="5994144" y="4388953"/>
                  <a:pt x="5990874" y="4385686"/>
                  <a:pt x="5990874" y="4381692"/>
                </a:cubicBezTo>
                <a:cubicBezTo>
                  <a:pt x="5990874" y="4377697"/>
                  <a:pt x="5994144" y="4374430"/>
                  <a:pt x="5998136" y="4374430"/>
                </a:cubicBezTo>
                <a:close/>
                <a:moveTo>
                  <a:pt x="6152083" y="4372612"/>
                </a:moveTo>
                <a:cubicBezTo>
                  <a:pt x="6157168" y="4372612"/>
                  <a:pt x="6161162" y="4376607"/>
                  <a:pt x="6161162" y="4381688"/>
                </a:cubicBezTo>
                <a:cubicBezTo>
                  <a:pt x="6161162" y="4386773"/>
                  <a:pt x="6157168" y="4390768"/>
                  <a:pt x="6152083" y="4390768"/>
                </a:cubicBezTo>
                <a:cubicBezTo>
                  <a:pt x="6147002" y="4390768"/>
                  <a:pt x="6143006" y="4386773"/>
                  <a:pt x="6143006" y="4381688"/>
                </a:cubicBezTo>
                <a:cubicBezTo>
                  <a:pt x="6143006" y="4376607"/>
                  <a:pt x="6147002" y="4372612"/>
                  <a:pt x="6152083" y="4372612"/>
                </a:cubicBezTo>
                <a:close/>
                <a:moveTo>
                  <a:pt x="6305668" y="4371525"/>
                </a:moveTo>
                <a:cubicBezTo>
                  <a:pt x="6311115" y="4371525"/>
                  <a:pt x="6315834" y="4376244"/>
                  <a:pt x="6315834" y="4381692"/>
                </a:cubicBezTo>
                <a:cubicBezTo>
                  <a:pt x="6315834" y="4387139"/>
                  <a:pt x="6311478" y="4391858"/>
                  <a:pt x="6305668" y="4391858"/>
                </a:cubicBezTo>
                <a:cubicBezTo>
                  <a:pt x="6300221" y="4391858"/>
                  <a:pt x="6295502" y="4387139"/>
                  <a:pt x="6295502" y="4381692"/>
                </a:cubicBezTo>
                <a:cubicBezTo>
                  <a:pt x="6295502" y="4376244"/>
                  <a:pt x="6300221" y="4371525"/>
                  <a:pt x="6305668" y="4371525"/>
                </a:cubicBezTo>
                <a:close/>
                <a:moveTo>
                  <a:pt x="6459616" y="4369707"/>
                </a:moveTo>
                <a:cubicBezTo>
                  <a:pt x="6466153" y="4369707"/>
                  <a:pt x="6471600" y="4375154"/>
                  <a:pt x="6471600" y="4381688"/>
                </a:cubicBezTo>
                <a:cubicBezTo>
                  <a:pt x="6471600" y="4388225"/>
                  <a:pt x="6466153" y="4393672"/>
                  <a:pt x="6459616" y="4393672"/>
                </a:cubicBezTo>
                <a:cubicBezTo>
                  <a:pt x="6453082" y="4393672"/>
                  <a:pt x="6447634" y="4388225"/>
                  <a:pt x="6447634" y="4381688"/>
                </a:cubicBezTo>
                <a:cubicBezTo>
                  <a:pt x="6447634" y="4375154"/>
                  <a:pt x="6453082" y="4369707"/>
                  <a:pt x="6459616" y="4369707"/>
                </a:cubicBezTo>
                <a:close/>
                <a:moveTo>
                  <a:pt x="6613200" y="4367530"/>
                </a:moveTo>
                <a:cubicBezTo>
                  <a:pt x="6620824" y="4367530"/>
                  <a:pt x="6626996" y="4373702"/>
                  <a:pt x="6626996" y="4381326"/>
                </a:cubicBezTo>
                <a:cubicBezTo>
                  <a:pt x="6626996" y="4388953"/>
                  <a:pt x="6620824" y="4395125"/>
                  <a:pt x="6613200" y="4395125"/>
                </a:cubicBezTo>
                <a:cubicBezTo>
                  <a:pt x="6605577" y="4395125"/>
                  <a:pt x="6599402" y="4388953"/>
                  <a:pt x="6599402" y="4381326"/>
                </a:cubicBezTo>
                <a:cubicBezTo>
                  <a:pt x="6599402" y="4373702"/>
                  <a:pt x="6605577" y="4367530"/>
                  <a:pt x="6613200" y="4367530"/>
                </a:cubicBezTo>
                <a:close/>
                <a:moveTo>
                  <a:pt x="4921594" y="4227744"/>
                </a:moveTo>
                <a:cubicBezTo>
                  <a:pt x="4921956" y="4227744"/>
                  <a:pt x="4921956" y="4227744"/>
                  <a:pt x="4921956" y="4228106"/>
                </a:cubicBezTo>
                <a:cubicBezTo>
                  <a:pt x="4921956" y="4228468"/>
                  <a:pt x="4921594" y="4228468"/>
                  <a:pt x="4921594" y="4228468"/>
                </a:cubicBezTo>
                <a:cubicBezTo>
                  <a:pt x="4921232" y="4228468"/>
                  <a:pt x="4921232" y="4228468"/>
                  <a:pt x="4921232" y="4228106"/>
                </a:cubicBezTo>
                <a:cubicBezTo>
                  <a:pt x="4921232" y="4227744"/>
                  <a:pt x="4921232" y="4227744"/>
                  <a:pt x="4921594" y="4227744"/>
                </a:cubicBezTo>
                <a:close/>
                <a:moveTo>
                  <a:pt x="4460480" y="4227744"/>
                </a:moveTo>
                <a:cubicBezTo>
                  <a:pt x="4460842" y="4227744"/>
                  <a:pt x="4460842" y="4227744"/>
                  <a:pt x="4460842" y="4228106"/>
                </a:cubicBezTo>
                <a:cubicBezTo>
                  <a:pt x="4460842" y="4228468"/>
                  <a:pt x="4460480" y="4228468"/>
                  <a:pt x="4460480" y="4228468"/>
                </a:cubicBezTo>
                <a:cubicBezTo>
                  <a:pt x="4460118" y="4228468"/>
                  <a:pt x="4460118" y="4228468"/>
                  <a:pt x="4460118" y="4228106"/>
                </a:cubicBezTo>
                <a:cubicBezTo>
                  <a:pt x="4460118" y="4227744"/>
                  <a:pt x="4460118" y="4227744"/>
                  <a:pt x="4460480" y="4227744"/>
                </a:cubicBezTo>
                <a:close/>
                <a:moveTo>
                  <a:pt x="4306532" y="4227744"/>
                </a:moveTo>
                <a:cubicBezTo>
                  <a:pt x="4306894" y="4227744"/>
                  <a:pt x="4306894" y="4227744"/>
                  <a:pt x="4306894" y="4228106"/>
                </a:cubicBezTo>
                <a:cubicBezTo>
                  <a:pt x="4306894" y="4228468"/>
                  <a:pt x="4306532" y="4228468"/>
                  <a:pt x="4306532" y="4228468"/>
                </a:cubicBezTo>
                <a:cubicBezTo>
                  <a:pt x="4306170" y="4228468"/>
                  <a:pt x="4306170" y="4228468"/>
                  <a:pt x="4306170" y="4228106"/>
                </a:cubicBezTo>
                <a:cubicBezTo>
                  <a:pt x="4306170" y="4227744"/>
                  <a:pt x="4306170" y="4227744"/>
                  <a:pt x="4306532" y="4227744"/>
                </a:cubicBezTo>
                <a:close/>
                <a:moveTo>
                  <a:pt x="4152947" y="4227378"/>
                </a:moveTo>
                <a:cubicBezTo>
                  <a:pt x="4153309" y="4227378"/>
                  <a:pt x="4153672" y="4227740"/>
                  <a:pt x="4153672" y="4228103"/>
                </a:cubicBezTo>
                <a:cubicBezTo>
                  <a:pt x="4153672" y="4228468"/>
                  <a:pt x="4152947" y="4228831"/>
                  <a:pt x="4152947" y="4228831"/>
                </a:cubicBezTo>
                <a:cubicBezTo>
                  <a:pt x="4152581" y="4228831"/>
                  <a:pt x="4152219" y="4228468"/>
                  <a:pt x="4152219" y="4228103"/>
                </a:cubicBezTo>
                <a:cubicBezTo>
                  <a:pt x="4152219" y="4227740"/>
                  <a:pt x="4152581" y="4227378"/>
                  <a:pt x="4152947" y="4227378"/>
                </a:cubicBezTo>
                <a:close/>
                <a:moveTo>
                  <a:pt x="5075541" y="4226292"/>
                </a:moveTo>
                <a:cubicBezTo>
                  <a:pt x="5076266" y="4226292"/>
                  <a:pt x="5076994" y="4227016"/>
                  <a:pt x="5076994" y="4227744"/>
                </a:cubicBezTo>
                <a:cubicBezTo>
                  <a:pt x="5076994" y="4228468"/>
                  <a:pt x="5075541" y="4229197"/>
                  <a:pt x="5075541" y="4229197"/>
                </a:cubicBezTo>
                <a:cubicBezTo>
                  <a:pt x="5074813" y="4229197"/>
                  <a:pt x="5074089" y="4228468"/>
                  <a:pt x="5074089" y="4227744"/>
                </a:cubicBezTo>
                <a:cubicBezTo>
                  <a:pt x="5074089" y="4227016"/>
                  <a:pt x="5074813" y="4226292"/>
                  <a:pt x="5075541" y="4226292"/>
                </a:cubicBezTo>
                <a:close/>
                <a:moveTo>
                  <a:pt x="5229122" y="4225564"/>
                </a:moveTo>
                <a:cubicBezTo>
                  <a:pt x="5230213" y="4225564"/>
                  <a:pt x="5231303" y="4226654"/>
                  <a:pt x="5231303" y="4227744"/>
                </a:cubicBezTo>
                <a:cubicBezTo>
                  <a:pt x="5231303" y="4228831"/>
                  <a:pt x="5229122" y="4229921"/>
                  <a:pt x="5229122" y="4229921"/>
                </a:cubicBezTo>
                <a:cubicBezTo>
                  <a:pt x="5228036" y="4229921"/>
                  <a:pt x="5226946" y="4228831"/>
                  <a:pt x="5226946" y="4227744"/>
                </a:cubicBezTo>
                <a:cubicBezTo>
                  <a:pt x="5226946" y="4226654"/>
                  <a:pt x="5228036" y="4225564"/>
                  <a:pt x="5229122" y="4225564"/>
                </a:cubicBezTo>
                <a:close/>
                <a:moveTo>
                  <a:pt x="5383078" y="4224840"/>
                </a:moveTo>
                <a:cubicBezTo>
                  <a:pt x="5384892" y="4224840"/>
                  <a:pt x="5386344" y="4226292"/>
                  <a:pt x="5386344" y="4228106"/>
                </a:cubicBezTo>
                <a:cubicBezTo>
                  <a:pt x="5386344" y="4229921"/>
                  <a:pt x="5384892" y="4231377"/>
                  <a:pt x="5383078" y="4231377"/>
                </a:cubicBezTo>
                <a:cubicBezTo>
                  <a:pt x="5381260" y="4231377"/>
                  <a:pt x="5379807" y="4229921"/>
                  <a:pt x="5379807" y="4228106"/>
                </a:cubicBezTo>
                <a:cubicBezTo>
                  <a:pt x="5379807" y="4226292"/>
                  <a:pt x="5381260" y="4224840"/>
                  <a:pt x="5383078" y="4224840"/>
                </a:cubicBezTo>
                <a:close/>
                <a:moveTo>
                  <a:pt x="5536659" y="4223383"/>
                </a:moveTo>
                <a:cubicBezTo>
                  <a:pt x="5539198" y="4223383"/>
                  <a:pt x="5541016" y="4225198"/>
                  <a:pt x="5541016" y="4227740"/>
                </a:cubicBezTo>
                <a:cubicBezTo>
                  <a:pt x="5541016" y="4230283"/>
                  <a:pt x="5538836" y="4232097"/>
                  <a:pt x="5536659" y="4232097"/>
                </a:cubicBezTo>
                <a:cubicBezTo>
                  <a:pt x="5534116" y="4232097"/>
                  <a:pt x="5532302" y="4230283"/>
                  <a:pt x="5532302" y="4227740"/>
                </a:cubicBezTo>
                <a:cubicBezTo>
                  <a:pt x="5532302" y="4225198"/>
                  <a:pt x="5534116" y="4223383"/>
                  <a:pt x="5536659" y="4223383"/>
                </a:cubicBezTo>
                <a:close/>
                <a:moveTo>
                  <a:pt x="5690606" y="4222297"/>
                </a:moveTo>
                <a:cubicBezTo>
                  <a:pt x="5693874" y="4222297"/>
                  <a:pt x="5696416" y="4224840"/>
                  <a:pt x="5696416" y="4228106"/>
                </a:cubicBezTo>
                <a:cubicBezTo>
                  <a:pt x="5696416" y="4231373"/>
                  <a:pt x="5693874" y="4233916"/>
                  <a:pt x="5690606" y="4233916"/>
                </a:cubicBezTo>
                <a:cubicBezTo>
                  <a:pt x="5687340" y="4233916"/>
                  <a:pt x="5684797" y="4231373"/>
                  <a:pt x="5684797" y="4228106"/>
                </a:cubicBezTo>
                <a:cubicBezTo>
                  <a:pt x="5684797" y="4224840"/>
                  <a:pt x="5687340" y="4222297"/>
                  <a:pt x="5690606" y="4222297"/>
                </a:cubicBezTo>
                <a:close/>
                <a:moveTo>
                  <a:pt x="5844554" y="4220479"/>
                </a:moveTo>
                <a:cubicBezTo>
                  <a:pt x="5848549" y="4220479"/>
                  <a:pt x="5851816" y="4223746"/>
                  <a:pt x="5851816" y="4227740"/>
                </a:cubicBezTo>
                <a:cubicBezTo>
                  <a:pt x="5851816" y="4231735"/>
                  <a:pt x="5848549" y="4235002"/>
                  <a:pt x="5844554" y="4235002"/>
                </a:cubicBezTo>
                <a:cubicBezTo>
                  <a:pt x="5840563" y="4235002"/>
                  <a:pt x="5837292" y="4231735"/>
                  <a:pt x="5837292" y="4227740"/>
                </a:cubicBezTo>
                <a:cubicBezTo>
                  <a:pt x="5837292" y="4223746"/>
                  <a:pt x="5840563" y="4220479"/>
                  <a:pt x="5844554" y="4220479"/>
                </a:cubicBezTo>
                <a:close/>
                <a:moveTo>
                  <a:pt x="5998136" y="4218664"/>
                </a:moveTo>
                <a:cubicBezTo>
                  <a:pt x="6003220" y="4218664"/>
                  <a:pt x="6007216" y="4222659"/>
                  <a:pt x="6007216" y="4227740"/>
                </a:cubicBezTo>
                <a:cubicBezTo>
                  <a:pt x="6007216" y="4232825"/>
                  <a:pt x="6003220" y="4236820"/>
                  <a:pt x="5998136" y="4236820"/>
                </a:cubicBezTo>
                <a:cubicBezTo>
                  <a:pt x="5993054" y="4236820"/>
                  <a:pt x="5989059" y="4232825"/>
                  <a:pt x="5989059" y="4227740"/>
                </a:cubicBezTo>
                <a:cubicBezTo>
                  <a:pt x="5989059" y="4222659"/>
                  <a:pt x="5993054" y="4218664"/>
                  <a:pt x="5998136" y="4218664"/>
                </a:cubicBezTo>
                <a:close/>
                <a:moveTo>
                  <a:pt x="6152086" y="4217940"/>
                </a:moveTo>
                <a:cubicBezTo>
                  <a:pt x="6157534" y="4217940"/>
                  <a:pt x="6162253" y="4222659"/>
                  <a:pt x="6162253" y="4228106"/>
                </a:cubicBezTo>
                <a:cubicBezTo>
                  <a:pt x="6162253" y="4233554"/>
                  <a:pt x="6157896" y="4238273"/>
                  <a:pt x="6152086" y="4238273"/>
                </a:cubicBezTo>
                <a:cubicBezTo>
                  <a:pt x="6146640" y="4238273"/>
                  <a:pt x="6141920" y="4233554"/>
                  <a:pt x="6141920" y="4228106"/>
                </a:cubicBezTo>
                <a:cubicBezTo>
                  <a:pt x="6141920" y="4222659"/>
                  <a:pt x="6146640" y="4217940"/>
                  <a:pt x="6152086" y="4217940"/>
                </a:cubicBezTo>
                <a:close/>
                <a:moveTo>
                  <a:pt x="6305668" y="4215760"/>
                </a:moveTo>
                <a:cubicBezTo>
                  <a:pt x="6312206" y="4215760"/>
                  <a:pt x="6317649" y="4221207"/>
                  <a:pt x="6317649" y="4227740"/>
                </a:cubicBezTo>
                <a:cubicBezTo>
                  <a:pt x="6317649" y="4234278"/>
                  <a:pt x="6312206" y="4239721"/>
                  <a:pt x="6305668" y="4239721"/>
                </a:cubicBezTo>
                <a:cubicBezTo>
                  <a:pt x="6299134" y="4239721"/>
                  <a:pt x="6293687" y="4234278"/>
                  <a:pt x="6293687" y="4227740"/>
                </a:cubicBezTo>
                <a:cubicBezTo>
                  <a:pt x="6293687" y="4221207"/>
                  <a:pt x="6299134" y="4215760"/>
                  <a:pt x="6305668" y="4215760"/>
                </a:cubicBezTo>
                <a:close/>
                <a:moveTo>
                  <a:pt x="6459619" y="4213945"/>
                </a:moveTo>
                <a:cubicBezTo>
                  <a:pt x="6467243" y="4213945"/>
                  <a:pt x="6473414" y="4220117"/>
                  <a:pt x="6473414" y="4227744"/>
                </a:cubicBezTo>
                <a:cubicBezTo>
                  <a:pt x="6473414" y="4235368"/>
                  <a:pt x="6467243" y="4241539"/>
                  <a:pt x="6459619" y="4241539"/>
                </a:cubicBezTo>
                <a:cubicBezTo>
                  <a:pt x="6451992" y="4241539"/>
                  <a:pt x="6445820" y="4235368"/>
                  <a:pt x="6445820" y="4227744"/>
                </a:cubicBezTo>
                <a:cubicBezTo>
                  <a:pt x="6445820" y="4220117"/>
                  <a:pt x="6451992" y="4213945"/>
                  <a:pt x="6459619" y="4213945"/>
                </a:cubicBezTo>
                <a:close/>
                <a:moveTo>
                  <a:pt x="6613200" y="4212855"/>
                </a:moveTo>
                <a:cubicBezTo>
                  <a:pt x="6621552" y="4212855"/>
                  <a:pt x="6628452" y="4219754"/>
                  <a:pt x="6628452" y="4228103"/>
                </a:cubicBezTo>
                <a:cubicBezTo>
                  <a:pt x="6628452" y="4236454"/>
                  <a:pt x="6621552" y="4243354"/>
                  <a:pt x="6613200" y="4243354"/>
                </a:cubicBezTo>
                <a:cubicBezTo>
                  <a:pt x="6604852" y="4243354"/>
                  <a:pt x="6597953" y="4236454"/>
                  <a:pt x="6597953" y="4228103"/>
                </a:cubicBezTo>
                <a:cubicBezTo>
                  <a:pt x="6597953" y="4219754"/>
                  <a:pt x="6604852" y="4212855"/>
                  <a:pt x="6613200" y="4212855"/>
                </a:cubicBezTo>
                <a:close/>
                <a:moveTo>
                  <a:pt x="4768008" y="4073793"/>
                </a:moveTo>
                <a:cubicBezTo>
                  <a:pt x="4768370" y="4073793"/>
                  <a:pt x="4768370" y="4073793"/>
                  <a:pt x="4768370" y="4074155"/>
                </a:cubicBezTo>
                <a:cubicBezTo>
                  <a:pt x="4768370" y="4074521"/>
                  <a:pt x="4768008" y="4074521"/>
                  <a:pt x="4768008" y="4074521"/>
                </a:cubicBezTo>
                <a:cubicBezTo>
                  <a:pt x="4767646" y="4074521"/>
                  <a:pt x="4767646" y="4074521"/>
                  <a:pt x="4767646" y="4074155"/>
                </a:cubicBezTo>
                <a:cubicBezTo>
                  <a:pt x="4767646" y="4073793"/>
                  <a:pt x="4767646" y="4073793"/>
                  <a:pt x="4768008" y="4073793"/>
                </a:cubicBezTo>
                <a:close/>
                <a:moveTo>
                  <a:pt x="4306532" y="4073793"/>
                </a:moveTo>
                <a:cubicBezTo>
                  <a:pt x="4306894" y="4073793"/>
                  <a:pt x="4306894" y="4073793"/>
                  <a:pt x="4306894" y="4074155"/>
                </a:cubicBezTo>
                <a:cubicBezTo>
                  <a:pt x="4306894" y="4074521"/>
                  <a:pt x="4306532" y="4074521"/>
                  <a:pt x="4306532" y="4074521"/>
                </a:cubicBezTo>
                <a:cubicBezTo>
                  <a:pt x="4306170" y="4074521"/>
                  <a:pt x="4306170" y="4074521"/>
                  <a:pt x="4306170" y="4074155"/>
                </a:cubicBezTo>
                <a:cubicBezTo>
                  <a:pt x="4306170" y="4073793"/>
                  <a:pt x="4306170" y="4073793"/>
                  <a:pt x="4306532" y="4073793"/>
                </a:cubicBezTo>
                <a:close/>
                <a:moveTo>
                  <a:pt x="4152947" y="4073793"/>
                </a:moveTo>
                <a:cubicBezTo>
                  <a:pt x="4153309" y="4073793"/>
                  <a:pt x="4153309" y="4073793"/>
                  <a:pt x="4153309" y="4074155"/>
                </a:cubicBezTo>
                <a:cubicBezTo>
                  <a:pt x="4153309" y="4074521"/>
                  <a:pt x="4152947" y="4074521"/>
                  <a:pt x="4152947" y="4074521"/>
                </a:cubicBezTo>
                <a:cubicBezTo>
                  <a:pt x="4152585" y="4074521"/>
                  <a:pt x="4152585" y="4074521"/>
                  <a:pt x="4152585" y="4074155"/>
                </a:cubicBezTo>
                <a:cubicBezTo>
                  <a:pt x="4152585" y="4073793"/>
                  <a:pt x="4152585" y="4073793"/>
                  <a:pt x="4152947" y="4073793"/>
                </a:cubicBezTo>
                <a:close/>
                <a:moveTo>
                  <a:pt x="3998996" y="4073431"/>
                </a:moveTo>
                <a:cubicBezTo>
                  <a:pt x="3999362" y="4073431"/>
                  <a:pt x="3999724" y="4073793"/>
                  <a:pt x="3999724" y="4074155"/>
                </a:cubicBezTo>
                <a:cubicBezTo>
                  <a:pt x="3999724" y="4074521"/>
                  <a:pt x="3998996" y="4074883"/>
                  <a:pt x="3998996" y="4074883"/>
                </a:cubicBezTo>
                <a:cubicBezTo>
                  <a:pt x="3998634" y="4074883"/>
                  <a:pt x="3998272" y="4074521"/>
                  <a:pt x="3998272" y="4074155"/>
                </a:cubicBezTo>
                <a:cubicBezTo>
                  <a:pt x="3998272" y="4073793"/>
                  <a:pt x="3998634" y="4073431"/>
                  <a:pt x="3998996" y="4073431"/>
                </a:cubicBezTo>
                <a:close/>
                <a:moveTo>
                  <a:pt x="4921594" y="4072344"/>
                </a:moveTo>
                <a:cubicBezTo>
                  <a:pt x="4922318" y="4072344"/>
                  <a:pt x="4923046" y="4073069"/>
                  <a:pt x="4923046" y="4073797"/>
                </a:cubicBezTo>
                <a:cubicBezTo>
                  <a:pt x="4923046" y="4074521"/>
                  <a:pt x="4921594" y="4075249"/>
                  <a:pt x="4921594" y="4075249"/>
                </a:cubicBezTo>
                <a:cubicBezTo>
                  <a:pt x="4920866" y="4075249"/>
                  <a:pt x="4920142" y="4074521"/>
                  <a:pt x="4920142" y="4073797"/>
                </a:cubicBezTo>
                <a:cubicBezTo>
                  <a:pt x="4920142" y="4073069"/>
                  <a:pt x="4920866" y="4072344"/>
                  <a:pt x="4921594" y="4072344"/>
                </a:cubicBezTo>
                <a:close/>
                <a:moveTo>
                  <a:pt x="5075541" y="4071978"/>
                </a:moveTo>
                <a:cubicBezTo>
                  <a:pt x="5076632" y="4071978"/>
                  <a:pt x="5077722" y="4073069"/>
                  <a:pt x="5077722" y="4074155"/>
                </a:cubicBezTo>
                <a:cubicBezTo>
                  <a:pt x="5077722" y="4075245"/>
                  <a:pt x="5075541" y="4076335"/>
                  <a:pt x="5075541" y="4076335"/>
                </a:cubicBezTo>
                <a:cubicBezTo>
                  <a:pt x="5074455" y="4076335"/>
                  <a:pt x="5073364" y="4075245"/>
                  <a:pt x="5073364" y="4074155"/>
                </a:cubicBezTo>
                <a:cubicBezTo>
                  <a:pt x="5073364" y="4073069"/>
                  <a:pt x="5074455" y="4071978"/>
                  <a:pt x="5075541" y="4071978"/>
                </a:cubicBezTo>
                <a:close/>
                <a:moveTo>
                  <a:pt x="5229126" y="4070892"/>
                </a:moveTo>
                <a:cubicBezTo>
                  <a:pt x="5230944" y="4070892"/>
                  <a:pt x="5232394" y="4072344"/>
                  <a:pt x="5232394" y="4074159"/>
                </a:cubicBezTo>
                <a:cubicBezTo>
                  <a:pt x="5232394" y="4075973"/>
                  <a:pt x="5230944" y="4077429"/>
                  <a:pt x="5229126" y="4077429"/>
                </a:cubicBezTo>
                <a:cubicBezTo>
                  <a:pt x="5227312" y="4077429"/>
                  <a:pt x="5225860" y="4075973"/>
                  <a:pt x="5225860" y="4074159"/>
                </a:cubicBezTo>
                <a:cubicBezTo>
                  <a:pt x="5225860" y="4072344"/>
                  <a:pt x="5227312" y="4070892"/>
                  <a:pt x="5229126" y="4070892"/>
                </a:cubicBezTo>
                <a:close/>
                <a:moveTo>
                  <a:pt x="5383074" y="4069802"/>
                </a:moveTo>
                <a:cubicBezTo>
                  <a:pt x="5385616" y="4069802"/>
                  <a:pt x="5387431" y="4071616"/>
                  <a:pt x="5387431" y="4074159"/>
                </a:cubicBezTo>
                <a:cubicBezTo>
                  <a:pt x="5387431" y="4076701"/>
                  <a:pt x="5385254" y="4078516"/>
                  <a:pt x="5383074" y="4078516"/>
                </a:cubicBezTo>
                <a:cubicBezTo>
                  <a:pt x="5380532" y="4078516"/>
                  <a:pt x="5378717" y="4076701"/>
                  <a:pt x="5378717" y="4074159"/>
                </a:cubicBezTo>
                <a:cubicBezTo>
                  <a:pt x="5378717" y="4071616"/>
                  <a:pt x="5380532" y="4069802"/>
                  <a:pt x="5383074" y="4069802"/>
                </a:cubicBezTo>
                <a:close/>
                <a:moveTo>
                  <a:pt x="5536659" y="4068349"/>
                </a:moveTo>
                <a:cubicBezTo>
                  <a:pt x="5539926" y="4068349"/>
                  <a:pt x="5542468" y="4070892"/>
                  <a:pt x="5542468" y="4074159"/>
                </a:cubicBezTo>
                <a:cubicBezTo>
                  <a:pt x="5542468" y="4077426"/>
                  <a:pt x="5539926" y="4079968"/>
                  <a:pt x="5536659" y="4079968"/>
                </a:cubicBezTo>
                <a:cubicBezTo>
                  <a:pt x="5533392" y="4079968"/>
                  <a:pt x="5530850" y="4077426"/>
                  <a:pt x="5530850" y="4074159"/>
                </a:cubicBezTo>
                <a:cubicBezTo>
                  <a:pt x="5530850" y="4070892"/>
                  <a:pt x="5533392" y="4068349"/>
                  <a:pt x="5536659" y="4068349"/>
                </a:cubicBezTo>
                <a:close/>
                <a:moveTo>
                  <a:pt x="5690606" y="4066897"/>
                </a:moveTo>
                <a:cubicBezTo>
                  <a:pt x="5694602" y="4066897"/>
                  <a:pt x="5697868" y="4070164"/>
                  <a:pt x="5697868" y="4074159"/>
                </a:cubicBezTo>
                <a:cubicBezTo>
                  <a:pt x="5697868" y="4078154"/>
                  <a:pt x="5694602" y="4081420"/>
                  <a:pt x="5690606" y="4081420"/>
                </a:cubicBezTo>
                <a:cubicBezTo>
                  <a:pt x="5686616" y="4081420"/>
                  <a:pt x="5683345" y="4078154"/>
                  <a:pt x="5683345" y="4074159"/>
                </a:cubicBezTo>
                <a:cubicBezTo>
                  <a:pt x="5683345" y="4070164"/>
                  <a:pt x="5686616" y="4066897"/>
                  <a:pt x="5690606" y="4066897"/>
                </a:cubicBezTo>
                <a:close/>
                <a:moveTo>
                  <a:pt x="5844554" y="4064717"/>
                </a:moveTo>
                <a:cubicBezTo>
                  <a:pt x="5849639" y="4064717"/>
                  <a:pt x="5853634" y="4068712"/>
                  <a:pt x="5853634" y="4073793"/>
                </a:cubicBezTo>
                <a:cubicBezTo>
                  <a:pt x="5853634" y="4078878"/>
                  <a:pt x="5849639" y="4082873"/>
                  <a:pt x="5844554" y="4082873"/>
                </a:cubicBezTo>
                <a:cubicBezTo>
                  <a:pt x="5839472" y="4082873"/>
                  <a:pt x="5835478" y="4078878"/>
                  <a:pt x="5835478" y="4073793"/>
                </a:cubicBezTo>
                <a:cubicBezTo>
                  <a:pt x="5835478" y="4068712"/>
                  <a:pt x="5839472" y="4064717"/>
                  <a:pt x="5844554" y="4064717"/>
                </a:cubicBezTo>
                <a:close/>
                <a:moveTo>
                  <a:pt x="5998139" y="4063992"/>
                </a:moveTo>
                <a:cubicBezTo>
                  <a:pt x="6003586" y="4063992"/>
                  <a:pt x="6008306" y="4068712"/>
                  <a:pt x="6008306" y="4074159"/>
                </a:cubicBezTo>
                <a:cubicBezTo>
                  <a:pt x="6008306" y="4079606"/>
                  <a:pt x="6003948" y="4084325"/>
                  <a:pt x="5998139" y="4084325"/>
                </a:cubicBezTo>
                <a:cubicBezTo>
                  <a:pt x="5992692" y="4084325"/>
                  <a:pt x="5987973" y="4079606"/>
                  <a:pt x="5987973" y="4074159"/>
                </a:cubicBezTo>
                <a:cubicBezTo>
                  <a:pt x="5987973" y="4068712"/>
                  <a:pt x="5992692" y="4063992"/>
                  <a:pt x="5998139" y="4063992"/>
                </a:cubicBezTo>
                <a:close/>
                <a:moveTo>
                  <a:pt x="6152083" y="4062174"/>
                </a:moveTo>
                <a:cubicBezTo>
                  <a:pt x="6158620" y="4062174"/>
                  <a:pt x="6164064" y="4067621"/>
                  <a:pt x="6164064" y="4074155"/>
                </a:cubicBezTo>
                <a:cubicBezTo>
                  <a:pt x="6164064" y="4080692"/>
                  <a:pt x="6158620" y="4086140"/>
                  <a:pt x="6152083" y="4086140"/>
                </a:cubicBezTo>
                <a:cubicBezTo>
                  <a:pt x="6145546" y="4086140"/>
                  <a:pt x="6140102" y="4080692"/>
                  <a:pt x="6140102" y="4074155"/>
                </a:cubicBezTo>
                <a:cubicBezTo>
                  <a:pt x="6140102" y="4067621"/>
                  <a:pt x="6145546" y="4062174"/>
                  <a:pt x="6152083" y="4062174"/>
                </a:cubicBezTo>
                <a:close/>
                <a:moveTo>
                  <a:pt x="6305672" y="4059998"/>
                </a:moveTo>
                <a:cubicBezTo>
                  <a:pt x="6313292" y="4059998"/>
                  <a:pt x="6319467" y="4066169"/>
                  <a:pt x="6319467" y="4073793"/>
                </a:cubicBezTo>
                <a:cubicBezTo>
                  <a:pt x="6319467" y="4081420"/>
                  <a:pt x="6313292" y="4087592"/>
                  <a:pt x="6305672" y="4087592"/>
                </a:cubicBezTo>
                <a:cubicBezTo>
                  <a:pt x="6298044" y="4087592"/>
                  <a:pt x="6291873" y="4081420"/>
                  <a:pt x="6291873" y="4073793"/>
                </a:cubicBezTo>
                <a:cubicBezTo>
                  <a:pt x="6291873" y="4066169"/>
                  <a:pt x="6298044" y="4059998"/>
                  <a:pt x="6305672" y="4059998"/>
                </a:cubicBezTo>
                <a:close/>
                <a:moveTo>
                  <a:pt x="6459619" y="4058907"/>
                </a:moveTo>
                <a:cubicBezTo>
                  <a:pt x="6468040" y="4058907"/>
                  <a:pt x="6474867" y="4065735"/>
                  <a:pt x="6474867" y="4074155"/>
                </a:cubicBezTo>
                <a:cubicBezTo>
                  <a:pt x="6474867" y="4082579"/>
                  <a:pt x="6468040" y="4089406"/>
                  <a:pt x="6459619" y="4089406"/>
                </a:cubicBezTo>
                <a:cubicBezTo>
                  <a:pt x="6451195" y="4089406"/>
                  <a:pt x="6444368" y="4082579"/>
                  <a:pt x="6444368" y="4074155"/>
                </a:cubicBezTo>
                <a:cubicBezTo>
                  <a:pt x="6444368" y="4065735"/>
                  <a:pt x="6451195" y="4058907"/>
                  <a:pt x="6459619" y="4058907"/>
                </a:cubicBezTo>
                <a:close/>
                <a:moveTo>
                  <a:pt x="6613197" y="4057093"/>
                </a:moveTo>
                <a:cubicBezTo>
                  <a:pt x="6622639" y="4057093"/>
                  <a:pt x="6630266" y="4064717"/>
                  <a:pt x="6630266" y="4074159"/>
                </a:cubicBezTo>
                <a:cubicBezTo>
                  <a:pt x="6630266" y="4083597"/>
                  <a:pt x="6622639" y="4091225"/>
                  <a:pt x="6613197" y="4091225"/>
                </a:cubicBezTo>
                <a:cubicBezTo>
                  <a:pt x="6603758" y="4091225"/>
                  <a:pt x="6596135" y="4083597"/>
                  <a:pt x="6596135" y="4074159"/>
                </a:cubicBezTo>
                <a:cubicBezTo>
                  <a:pt x="6596135" y="4064717"/>
                  <a:pt x="6603758" y="4057093"/>
                  <a:pt x="6613197" y="4057093"/>
                </a:cubicBezTo>
                <a:close/>
                <a:moveTo>
                  <a:pt x="4614061" y="3919845"/>
                </a:moveTo>
                <a:cubicBezTo>
                  <a:pt x="4614424" y="3919845"/>
                  <a:pt x="4614424" y="3919845"/>
                  <a:pt x="4614424" y="3920208"/>
                </a:cubicBezTo>
                <a:cubicBezTo>
                  <a:pt x="4614424" y="3920574"/>
                  <a:pt x="4614061" y="3920574"/>
                  <a:pt x="4614061" y="3920574"/>
                </a:cubicBezTo>
                <a:cubicBezTo>
                  <a:pt x="4613699" y="3920574"/>
                  <a:pt x="4613699" y="3920574"/>
                  <a:pt x="4613699" y="3920208"/>
                </a:cubicBezTo>
                <a:cubicBezTo>
                  <a:pt x="4613699" y="3919845"/>
                  <a:pt x="4613699" y="3919845"/>
                  <a:pt x="4614061" y="3919845"/>
                </a:cubicBezTo>
                <a:close/>
                <a:moveTo>
                  <a:pt x="4152947" y="3919845"/>
                </a:moveTo>
                <a:cubicBezTo>
                  <a:pt x="4153309" y="3919845"/>
                  <a:pt x="4153309" y="3919845"/>
                  <a:pt x="4153309" y="3920208"/>
                </a:cubicBezTo>
                <a:cubicBezTo>
                  <a:pt x="4153309" y="3920574"/>
                  <a:pt x="4152947" y="3920574"/>
                  <a:pt x="4152947" y="3920574"/>
                </a:cubicBezTo>
                <a:cubicBezTo>
                  <a:pt x="4152585" y="3920574"/>
                  <a:pt x="4152585" y="3920574"/>
                  <a:pt x="4152585" y="3920208"/>
                </a:cubicBezTo>
                <a:cubicBezTo>
                  <a:pt x="4152585" y="3919845"/>
                  <a:pt x="4152585" y="3919845"/>
                  <a:pt x="4152947" y="3919845"/>
                </a:cubicBezTo>
                <a:close/>
                <a:moveTo>
                  <a:pt x="3999000" y="3919845"/>
                </a:moveTo>
                <a:cubicBezTo>
                  <a:pt x="3999362" y="3919845"/>
                  <a:pt x="3999362" y="3919845"/>
                  <a:pt x="3999362" y="3920208"/>
                </a:cubicBezTo>
                <a:cubicBezTo>
                  <a:pt x="3999362" y="3920574"/>
                  <a:pt x="3999000" y="3920574"/>
                  <a:pt x="3999000" y="3920574"/>
                </a:cubicBezTo>
                <a:cubicBezTo>
                  <a:pt x="3998638" y="3920574"/>
                  <a:pt x="3998638" y="3920574"/>
                  <a:pt x="3998638" y="3920208"/>
                </a:cubicBezTo>
                <a:cubicBezTo>
                  <a:pt x="3998638" y="3919845"/>
                  <a:pt x="3998638" y="3919845"/>
                  <a:pt x="3999000" y="3919845"/>
                </a:cubicBezTo>
                <a:close/>
                <a:moveTo>
                  <a:pt x="3845418" y="3919483"/>
                </a:moveTo>
                <a:cubicBezTo>
                  <a:pt x="3845818" y="3919483"/>
                  <a:pt x="3846142" y="3919807"/>
                  <a:pt x="3846142" y="3920211"/>
                </a:cubicBezTo>
                <a:cubicBezTo>
                  <a:pt x="3846142" y="3920612"/>
                  <a:pt x="3845818" y="3920936"/>
                  <a:pt x="3845418" y="3920936"/>
                </a:cubicBezTo>
                <a:cubicBezTo>
                  <a:pt x="3845014" y="3920936"/>
                  <a:pt x="3844690" y="3920612"/>
                  <a:pt x="3844690" y="3920211"/>
                </a:cubicBezTo>
                <a:cubicBezTo>
                  <a:pt x="3844690" y="3919807"/>
                  <a:pt x="3845014" y="3919483"/>
                  <a:pt x="3845418" y="3919483"/>
                </a:cubicBezTo>
                <a:close/>
                <a:moveTo>
                  <a:pt x="4768012" y="3918759"/>
                </a:moveTo>
                <a:cubicBezTo>
                  <a:pt x="4768736" y="3918759"/>
                  <a:pt x="4769464" y="3919483"/>
                  <a:pt x="4769464" y="3920211"/>
                </a:cubicBezTo>
                <a:cubicBezTo>
                  <a:pt x="4769464" y="3920936"/>
                  <a:pt x="4768012" y="3921664"/>
                  <a:pt x="4768012" y="3921664"/>
                </a:cubicBezTo>
                <a:cubicBezTo>
                  <a:pt x="4767284" y="3921664"/>
                  <a:pt x="4766560" y="3920936"/>
                  <a:pt x="4766560" y="3920211"/>
                </a:cubicBezTo>
                <a:cubicBezTo>
                  <a:pt x="4766560" y="3919483"/>
                  <a:pt x="4767284" y="3918759"/>
                  <a:pt x="4768012" y="3918759"/>
                </a:cubicBezTo>
                <a:close/>
                <a:moveTo>
                  <a:pt x="4921594" y="3918031"/>
                </a:moveTo>
                <a:cubicBezTo>
                  <a:pt x="4922684" y="3918031"/>
                  <a:pt x="4923774" y="3919121"/>
                  <a:pt x="4923774" y="3920208"/>
                </a:cubicBezTo>
                <a:cubicBezTo>
                  <a:pt x="4923774" y="3921298"/>
                  <a:pt x="4921594" y="3922388"/>
                  <a:pt x="4921594" y="3922388"/>
                </a:cubicBezTo>
                <a:cubicBezTo>
                  <a:pt x="4920508" y="3922388"/>
                  <a:pt x="4919417" y="3921298"/>
                  <a:pt x="4919417" y="3920208"/>
                </a:cubicBezTo>
                <a:cubicBezTo>
                  <a:pt x="4919417" y="3919121"/>
                  <a:pt x="4920508" y="3918031"/>
                  <a:pt x="4921594" y="3918031"/>
                </a:cubicBezTo>
                <a:close/>
                <a:moveTo>
                  <a:pt x="5075545" y="3917307"/>
                </a:moveTo>
                <a:cubicBezTo>
                  <a:pt x="5077360" y="3917307"/>
                  <a:pt x="5078812" y="3918759"/>
                  <a:pt x="5078812" y="3920574"/>
                </a:cubicBezTo>
                <a:cubicBezTo>
                  <a:pt x="5078812" y="3922388"/>
                  <a:pt x="5077360" y="3923844"/>
                  <a:pt x="5075545" y="3923844"/>
                </a:cubicBezTo>
                <a:cubicBezTo>
                  <a:pt x="5073726" y="3923844"/>
                  <a:pt x="5072274" y="3922388"/>
                  <a:pt x="5072274" y="3920574"/>
                </a:cubicBezTo>
                <a:cubicBezTo>
                  <a:pt x="5072274" y="3918759"/>
                  <a:pt x="5073726" y="3917307"/>
                  <a:pt x="5075545" y="3917307"/>
                </a:cubicBezTo>
                <a:close/>
                <a:moveTo>
                  <a:pt x="5229126" y="3915854"/>
                </a:moveTo>
                <a:cubicBezTo>
                  <a:pt x="5231669" y="3915854"/>
                  <a:pt x="5233484" y="3917669"/>
                  <a:pt x="5233484" y="3920211"/>
                </a:cubicBezTo>
                <a:cubicBezTo>
                  <a:pt x="5233484" y="3922754"/>
                  <a:pt x="5231303" y="3924568"/>
                  <a:pt x="5229126" y="3924568"/>
                </a:cubicBezTo>
                <a:cubicBezTo>
                  <a:pt x="5226584" y="3924568"/>
                  <a:pt x="5224770" y="3922754"/>
                  <a:pt x="5224770" y="3920211"/>
                </a:cubicBezTo>
                <a:cubicBezTo>
                  <a:pt x="5224770" y="3917669"/>
                  <a:pt x="5226584" y="3915854"/>
                  <a:pt x="5229126" y="3915854"/>
                </a:cubicBezTo>
                <a:close/>
                <a:moveTo>
                  <a:pt x="5383074" y="3914764"/>
                </a:moveTo>
                <a:cubicBezTo>
                  <a:pt x="5386340" y="3914764"/>
                  <a:pt x="5388883" y="3917307"/>
                  <a:pt x="5388883" y="3920574"/>
                </a:cubicBezTo>
                <a:cubicBezTo>
                  <a:pt x="5388883" y="3923840"/>
                  <a:pt x="5386340" y="3926383"/>
                  <a:pt x="5383074" y="3926383"/>
                </a:cubicBezTo>
                <a:cubicBezTo>
                  <a:pt x="5379807" y="3926383"/>
                  <a:pt x="5377264" y="3923840"/>
                  <a:pt x="5377264" y="3920574"/>
                </a:cubicBezTo>
                <a:cubicBezTo>
                  <a:pt x="5377264" y="3917307"/>
                  <a:pt x="5379807" y="3914764"/>
                  <a:pt x="5383074" y="3914764"/>
                </a:cubicBezTo>
                <a:close/>
                <a:moveTo>
                  <a:pt x="5536659" y="3912950"/>
                </a:moveTo>
                <a:cubicBezTo>
                  <a:pt x="5540654" y="3912950"/>
                  <a:pt x="5543921" y="3916217"/>
                  <a:pt x="5543921" y="3920211"/>
                </a:cubicBezTo>
                <a:cubicBezTo>
                  <a:pt x="5543921" y="3924206"/>
                  <a:pt x="5540654" y="3927473"/>
                  <a:pt x="5536659" y="3927473"/>
                </a:cubicBezTo>
                <a:cubicBezTo>
                  <a:pt x="5532664" y="3927473"/>
                  <a:pt x="5529398" y="3924206"/>
                  <a:pt x="5529398" y="3920211"/>
                </a:cubicBezTo>
                <a:cubicBezTo>
                  <a:pt x="5529398" y="3916217"/>
                  <a:pt x="5532664" y="3912950"/>
                  <a:pt x="5536659" y="3912950"/>
                </a:cubicBezTo>
                <a:close/>
                <a:moveTo>
                  <a:pt x="5690606" y="3911135"/>
                </a:moveTo>
                <a:cubicBezTo>
                  <a:pt x="5695692" y="3911135"/>
                  <a:pt x="5699686" y="3915130"/>
                  <a:pt x="5699686" y="3920211"/>
                </a:cubicBezTo>
                <a:cubicBezTo>
                  <a:pt x="5699686" y="3925297"/>
                  <a:pt x="5695692" y="3929291"/>
                  <a:pt x="5690606" y="3929291"/>
                </a:cubicBezTo>
                <a:cubicBezTo>
                  <a:pt x="5685526" y="3929291"/>
                  <a:pt x="5681530" y="3925297"/>
                  <a:pt x="5681530" y="3920211"/>
                </a:cubicBezTo>
                <a:cubicBezTo>
                  <a:pt x="5681530" y="3915130"/>
                  <a:pt x="5685526" y="3911135"/>
                  <a:pt x="5690606" y="3911135"/>
                </a:cubicBezTo>
                <a:close/>
                <a:moveTo>
                  <a:pt x="5844554" y="3910045"/>
                </a:moveTo>
                <a:cubicBezTo>
                  <a:pt x="5850001" y="3910045"/>
                  <a:pt x="5854720" y="3914764"/>
                  <a:pt x="5854720" y="3920211"/>
                </a:cubicBezTo>
                <a:cubicBezTo>
                  <a:pt x="5854720" y="3925659"/>
                  <a:pt x="5850363" y="3930378"/>
                  <a:pt x="5844554" y="3930378"/>
                </a:cubicBezTo>
                <a:cubicBezTo>
                  <a:pt x="5839106" y="3930378"/>
                  <a:pt x="5834388" y="3925659"/>
                  <a:pt x="5834388" y="3920211"/>
                </a:cubicBezTo>
                <a:cubicBezTo>
                  <a:pt x="5834388" y="3914764"/>
                  <a:pt x="5839106" y="3910045"/>
                  <a:pt x="5844554" y="3910045"/>
                </a:cubicBezTo>
                <a:close/>
                <a:moveTo>
                  <a:pt x="5998139" y="3908227"/>
                </a:moveTo>
                <a:cubicBezTo>
                  <a:pt x="6004673" y="3908227"/>
                  <a:pt x="6010120" y="3913674"/>
                  <a:pt x="6010120" y="3920208"/>
                </a:cubicBezTo>
                <a:cubicBezTo>
                  <a:pt x="6010120" y="3926745"/>
                  <a:pt x="6004673" y="3932192"/>
                  <a:pt x="5998139" y="3932192"/>
                </a:cubicBezTo>
                <a:cubicBezTo>
                  <a:pt x="5991602" y="3932192"/>
                  <a:pt x="5986158" y="3926745"/>
                  <a:pt x="5986158" y="3920208"/>
                </a:cubicBezTo>
                <a:cubicBezTo>
                  <a:pt x="5986158" y="3913674"/>
                  <a:pt x="5991602" y="3908227"/>
                  <a:pt x="5998139" y="3908227"/>
                </a:cubicBezTo>
                <a:close/>
                <a:moveTo>
                  <a:pt x="6152086" y="3906412"/>
                </a:moveTo>
                <a:cubicBezTo>
                  <a:pt x="6159710" y="3906412"/>
                  <a:pt x="6165882" y="3912584"/>
                  <a:pt x="6165882" y="3920211"/>
                </a:cubicBezTo>
                <a:cubicBezTo>
                  <a:pt x="6165882" y="3927835"/>
                  <a:pt x="6159710" y="3934007"/>
                  <a:pt x="6152086" y="3934007"/>
                </a:cubicBezTo>
                <a:cubicBezTo>
                  <a:pt x="6144463" y="3934007"/>
                  <a:pt x="6138288" y="3927835"/>
                  <a:pt x="6138288" y="3920211"/>
                </a:cubicBezTo>
                <a:cubicBezTo>
                  <a:pt x="6138288" y="3912584"/>
                  <a:pt x="6144463" y="3906412"/>
                  <a:pt x="6152086" y="3906412"/>
                </a:cubicBezTo>
                <a:close/>
                <a:moveTo>
                  <a:pt x="6305672" y="3904960"/>
                </a:moveTo>
                <a:cubicBezTo>
                  <a:pt x="6314092" y="3904960"/>
                  <a:pt x="6320920" y="3911787"/>
                  <a:pt x="6320920" y="3920211"/>
                </a:cubicBezTo>
                <a:cubicBezTo>
                  <a:pt x="6320920" y="3928632"/>
                  <a:pt x="6314092" y="3935459"/>
                  <a:pt x="6305672" y="3935459"/>
                </a:cubicBezTo>
                <a:cubicBezTo>
                  <a:pt x="6297248" y="3935459"/>
                  <a:pt x="6290420" y="3928632"/>
                  <a:pt x="6290420" y="3920211"/>
                </a:cubicBezTo>
                <a:cubicBezTo>
                  <a:pt x="6290420" y="3911787"/>
                  <a:pt x="6297248" y="3904960"/>
                  <a:pt x="6305672" y="3904960"/>
                </a:cubicBezTo>
                <a:close/>
                <a:moveTo>
                  <a:pt x="6459616" y="3903146"/>
                </a:moveTo>
                <a:cubicBezTo>
                  <a:pt x="6469058" y="3903146"/>
                  <a:pt x="6476682" y="3910769"/>
                  <a:pt x="6476682" y="3920211"/>
                </a:cubicBezTo>
                <a:cubicBezTo>
                  <a:pt x="6476682" y="3929650"/>
                  <a:pt x="6469058" y="3937277"/>
                  <a:pt x="6459616" y="3937277"/>
                </a:cubicBezTo>
                <a:cubicBezTo>
                  <a:pt x="6450174" y="3937277"/>
                  <a:pt x="6442550" y="3929650"/>
                  <a:pt x="6442550" y="3920211"/>
                </a:cubicBezTo>
                <a:cubicBezTo>
                  <a:pt x="6442550" y="3910769"/>
                  <a:pt x="6450174" y="3903146"/>
                  <a:pt x="6459616" y="3903146"/>
                </a:cubicBezTo>
                <a:close/>
                <a:moveTo>
                  <a:pt x="6613200" y="3900969"/>
                </a:moveTo>
                <a:cubicBezTo>
                  <a:pt x="6623828" y="3900969"/>
                  <a:pt x="6632447" y="3909584"/>
                  <a:pt x="6632447" y="3920211"/>
                </a:cubicBezTo>
                <a:cubicBezTo>
                  <a:pt x="6632447" y="3930839"/>
                  <a:pt x="6623828" y="3939458"/>
                  <a:pt x="6613200" y="3939458"/>
                </a:cubicBezTo>
                <a:cubicBezTo>
                  <a:pt x="6602573" y="3939458"/>
                  <a:pt x="6593958" y="3930839"/>
                  <a:pt x="6593958" y="3920211"/>
                </a:cubicBezTo>
                <a:cubicBezTo>
                  <a:pt x="6593958" y="3909584"/>
                  <a:pt x="6602573" y="3900969"/>
                  <a:pt x="6613200" y="3900969"/>
                </a:cubicBezTo>
                <a:close/>
                <a:moveTo>
                  <a:pt x="4460480" y="3766264"/>
                </a:moveTo>
                <a:cubicBezTo>
                  <a:pt x="4460842" y="3766264"/>
                  <a:pt x="4460842" y="3766264"/>
                  <a:pt x="4460842" y="3766626"/>
                </a:cubicBezTo>
                <a:cubicBezTo>
                  <a:pt x="4460842" y="3766988"/>
                  <a:pt x="4460480" y="3766988"/>
                  <a:pt x="4460480" y="3766988"/>
                </a:cubicBezTo>
                <a:cubicBezTo>
                  <a:pt x="4460118" y="3766988"/>
                  <a:pt x="4460118" y="3766988"/>
                  <a:pt x="4460118" y="3766626"/>
                </a:cubicBezTo>
                <a:cubicBezTo>
                  <a:pt x="4460118" y="3766264"/>
                  <a:pt x="4460118" y="3766264"/>
                  <a:pt x="4460480" y="3766264"/>
                </a:cubicBezTo>
                <a:close/>
                <a:moveTo>
                  <a:pt x="3999000" y="3766264"/>
                </a:moveTo>
                <a:cubicBezTo>
                  <a:pt x="3999362" y="3766264"/>
                  <a:pt x="3999362" y="3766264"/>
                  <a:pt x="3999362" y="3766626"/>
                </a:cubicBezTo>
                <a:cubicBezTo>
                  <a:pt x="3999362" y="3766988"/>
                  <a:pt x="3999000" y="3766988"/>
                  <a:pt x="3999000" y="3766988"/>
                </a:cubicBezTo>
                <a:cubicBezTo>
                  <a:pt x="3998638" y="3766988"/>
                  <a:pt x="3998638" y="3766988"/>
                  <a:pt x="3998638" y="3766626"/>
                </a:cubicBezTo>
                <a:cubicBezTo>
                  <a:pt x="3998638" y="3766264"/>
                  <a:pt x="3998638" y="3766264"/>
                  <a:pt x="3999000" y="3766264"/>
                </a:cubicBezTo>
                <a:close/>
                <a:moveTo>
                  <a:pt x="3845414" y="3766264"/>
                </a:moveTo>
                <a:cubicBezTo>
                  <a:pt x="3845776" y="3766264"/>
                  <a:pt x="3845776" y="3766264"/>
                  <a:pt x="3845776" y="3766626"/>
                </a:cubicBezTo>
                <a:cubicBezTo>
                  <a:pt x="3845776" y="3766988"/>
                  <a:pt x="3845414" y="3766988"/>
                  <a:pt x="3845414" y="3766988"/>
                </a:cubicBezTo>
                <a:cubicBezTo>
                  <a:pt x="3845052" y="3766988"/>
                  <a:pt x="3845052" y="3766988"/>
                  <a:pt x="3845052" y="3766626"/>
                </a:cubicBezTo>
                <a:cubicBezTo>
                  <a:pt x="3845052" y="3766264"/>
                  <a:pt x="3845052" y="3766264"/>
                  <a:pt x="3845414" y="3766264"/>
                </a:cubicBezTo>
                <a:close/>
                <a:moveTo>
                  <a:pt x="3691471" y="3765902"/>
                </a:moveTo>
                <a:cubicBezTo>
                  <a:pt x="3691871" y="3765902"/>
                  <a:pt x="3692195" y="3766226"/>
                  <a:pt x="3692195" y="3766626"/>
                </a:cubicBezTo>
                <a:cubicBezTo>
                  <a:pt x="3692195" y="3767030"/>
                  <a:pt x="3691871" y="3767354"/>
                  <a:pt x="3691471" y="3767354"/>
                </a:cubicBezTo>
                <a:cubicBezTo>
                  <a:pt x="3691067" y="3767354"/>
                  <a:pt x="3690743" y="3767030"/>
                  <a:pt x="3690743" y="3766626"/>
                </a:cubicBezTo>
                <a:cubicBezTo>
                  <a:pt x="3690743" y="3766226"/>
                  <a:pt x="3691067" y="3765902"/>
                  <a:pt x="3691471" y="3765902"/>
                </a:cubicBezTo>
                <a:close/>
                <a:moveTo>
                  <a:pt x="4614065" y="3764812"/>
                </a:moveTo>
                <a:cubicBezTo>
                  <a:pt x="4614789" y="3764812"/>
                  <a:pt x="4615518" y="3765536"/>
                  <a:pt x="4615518" y="3766264"/>
                </a:cubicBezTo>
                <a:cubicBezTo>
                  <a:pt x="4615518" y="3766988"/>
                  <a:pt x="4614065" y="3767716"/>
                  <a:pt x="4614065" y="3767716"/>
                </a:cubicBezTo>
                <a:cubicBezTo>
                  <a:pt x="4613337" y="3767716"/>
                  <a:pt x="4612612" y="3766988"/>
                  <a:pt x="4612612" y="3766264"/>
                </a:cubicBezTo>
                <a:cubicBezTo>
                  <a:pt x="4612612" y="3765536"/>
                  <a:pt x="4613337" y="3764812"/>
                  <a:pt x="4614065" y="3764812"/>
                </a:cubicBezTo>
                <a:close/>
                <a:moveTo>
                  <a:pt x="4768008" y="3764450"/>
                </a:moveTo>
                <a:cubicBezTo>
                  <a:pt x="4769098" y="3764450"/>
                  <a:pt x="4770189" y="3765540"/>
                  <a:pt x="4770189" y="3766626"/>
                </a:cubicBezTo>
                <a:cubicBezTo>
                  <a:pt x="4770189" y="3767716"/>
                  <a:pt x="4768008" y="3768807"/>
                  <a:pt x="4768008" y="3768807"/>
                </a:cubicBezTo>
                <a:cubicBezTo>
                  <a:pt x="4766922" y="3768807"/>
                  <a:pt x="4765832" y="3767716"/>
                  <a:pt x="4765832" y="3766626"/>
                </a:cubicBezTo>
                <a:cubicBezTo>
                  <a:pt x="4765832" y="3765540"/>
                  <a:pt x="4766922" y="3764450"/>
                  <a:pt x="4768008" y="3764450"/>
                </a:cubicBezTo>
                <a:close/>
                <a:moveTo>
                  <a:pt x="4921594" y="3763359"/>
                </a:moveTo>
                <a:cubicBezTo>
                  <a:pt x="4923412" y="3763359"/>
                  <a:pt x="4924860" y="3764812"/>
                  <a:pt x="4924860" y="3766626"/>
                </a:cubicBezTo>
                <a:cubicBezTo>
                  <a:pt x="4924860" y="3768441"/>
                  <a:pt x="4923412" y="3769897"/>
                  <a:pt x="4921594" y="3769897"/>
                </a:cubicBezTo>
                <a:cubicBezTo>
                  <a:pt x="4919780" y="3769897"/>
                  <a:pt x="4918327" y="3768441"/>
                  <a:pt x="4918327" y="3766626"/>
                </a:cubicBezTo>
                <a:cubicBezTo>
                  <a:pt x="4918327" y="3764812"/>
                  <a:pt x="4919780" y="3763359"/>
                  <a:pt x="4921594" y="3763359"/>
                </a:cubicBezTo>
                <a:close/>
                <a:moveTo>
                  <a:pt x="5075541" y="3762269"/>
                </a:moveTo>
                <a:cubicBezTo>
                  <a:pt x="5078084" y="3762269"/>
                  <a:pt x="5079898" y="3764084"/>
                  <a:pt x="5079898" y="3766626"/>
                </a:cubicBezTo>
                <a:cubicBezTo>
                  <a:pt x="5079898" y="3769169"/>
                  <a:pt x="5077722" y="3770983"/>
                  <a:pt x="5075541" y="3770983"/>
                </a:cubicBezTo>
                <a:cubicBezTo>
                  <a:pt x="5072998" y="3770983"/>
                  <a:pt x="5071184" y="3769169"/>
                  <a:pt x="5071184" y="3766626"/>
                </a:cubicBezTo>
                <a:cubicBezTo>
                  <a:pt x="5071184" y="3764084"/>
                  <a:pt x="5072998" y="3762269"/>
                  <a:pt x="5075541" y="3762269"/>
                </a:cubicBezTo>
                <a:close/>
                <a:moveTo>
                  <a:pt x="5229126" y="3760817"/>
                </a:moveTo>
                <a:cubicBezTo>
                  <a:pt x="5232394" y="3760817"/>
                  <a:pt x="5234936" y="3763359"/>
                  <a:pt x="5234936" y="3766626"/>
                </a:cubicBezTo>
                <a:cubicBezTo>
                  <a:pt x="5234936" y="3769893"/>
                  <a:pt x="5232394" y="3772436"/>
                  <a:pt x="5229126" y="3772436"/>
                </a:cubicBezTo>
                <a:cubicBezTo>
                  <a:pt x="5225860" y="3772436"/>
                  <a:pt x="5223317" y="3769893"/>
                  <a:pt x="5223317" y="3766626"/>
                </a:cubicBezTo>
                <a:cubicBezTo>
                  <a:pt x="5223317" y="3763359"/>
                  <a:pt x="5225860" y="3760817"/>
                  <a:pt x="5229126" y="3760817"/>
                </a:cubicBezTo>
                <a:close/>
                <a:moveTo>
                  <a:pt x="5383074" y="3759365"/>
                </a:moveTo>
                <a:cubicBezTo>
                  <a:pt x="5387068" y="3759365"/>
                  <a:pt x="5390336" y="3762631"/>
                  <a:pt x="5390336" y="3766626"/>
                </a:cubicBezTo>
                <a:cubicBezTo>
                  <a:pt x="5390336" y="3770621"/>
                  <a:pt x="5387068" y="3773888"/>
                  <a:pt x="5383074" y="3773888"/>
                </a:cubicBezTo>
                <a:cubicBezTo>
                  <a:pt x="5379079" y="3773888"/>
                  <a:pt x="5375812" y="3770621"/>
                  <a:pt x="5375812" y="3766626"/>
                </a:cubicBezTo>
                <a:cubicBezTo>
                  <a:pt x="5375812" y="3762631"/>
                  <a:pt x="5379079" y="3759365"/>
                  <a:pt x="5383074" y="3759365"/>
                </a:cubicBezTo>
                <a:close/>
                <a:moveTo>
                  <a:pt x="5536659" y="3757188"/>
                </a:moveTo>
                <a:cubicBezTo>
                  <a:pt x="5541740" y="3757188"/>
                  <a:pt x="5545739" y="3761183"/>
                  <a:pt x="5545739" y="3766264"/>
                </a:cubicBezTo>
                <a:cubicBezTo>
                  <a:pt x="5545739" y="3771349"/>
                  <a:pt x="5541740" y="3775344"/>
                  <a:pt x="5536659" y="3775344"/>
                </a:cubicBezTo>
                <a:cubicBezTo>
                  <a:pt x="5531578" y="3775344"/>
                  <a:pt x="5527583" y="3771349"/>
                  <a:pt x="5527583" y="3766264"/>
                </a:cubicBezTo>
                <a:cubicBezTo>
                  <a:pt x="5527583" y="3761183"/>
                  <a:pt x="5531578" y="3757188"/>
                  <a:pt x="5536659" y="3757188"/>
                </a:cubicBezTo>
                <a:close/>
                <a:moveTo>
                  <a:pt x="5690606" y="3756460"/>
                </a:moveTo>
                <a:cubicBezTo>
                  <a:pt x="5696054" y="3756460"/>
                  <a:pt x="5700773" y="3761179"/>
                  <a:pt x="5700773" y="3766626"/>
                </a:cubicBezTo>
                <a:cubicBezTo>
                  <a:pt x="5700773" y="3772073"/>
                  <a:pt x="5696416" y="3776793"/>
                  <a:pt x="5690606" y="3776793"/>
                </a:cubicBezTo>
                <a:cubicBezTo>
                  <a:pt x="5685160" y="3776793"/>
                  <a:pt x="5680440" y="3772073"/>
                  <a:pt x="5680440" y="3766626"/>
                </a:cubicBezTo>
                <a:cubicBezTo>
                  <a:pt x="5680440" y="3761179"/>
                  <a:pt x="5685160" y="3756460"/>
                  <a:pt x="5690606" y="3756460"/>
                </a:cubicBezTo>
                <a:close/>
                <a:moveTo>
                  <a:pt x="5844550" y="3754645"/>
                </a:moveTo>
                <a:cubicBezTo>
                  <a:pt x="5851088" y="3754645"/>
                  <a:pt x="5856534" y="3760093"/>
                  <a:pt x="5856534" y="3766626"/>
                </a:cubicBezTo>
                <a:cubicBezTo>
                  <a:pt x="5856534" y="3773164"/>
                  <a:pt x="5851088" y="3778607"/>
                  <a:pt x="5844550" y="3778607"/>
                </a:cubicBezTo>
                <a:cubicBezTo>
                  <a:pt x="5838016" y="3778607"/>
                  <a:pt x="5832570" y="3773164"/>
                  <a:pt x="5832570" y="3766626"/>
                </a:cubicBezTo>
                <a:cubicBezTo>
                  <a:pt x="5832570" y="3760093"/>
                  <a:pt x="5838016" y="3754645"/>
                  <a:pt x="5844550" y="3754645"/>
                </a:cubicBezTo>
                <a:close/>
                <a:moveTo>
                  <a:pt x="5998139" y="3752465"/>
                </a:moveTo>
                <a:cubicBezTo>
                  <a:pt x="6005763" y="3752465"/>
                  <a:pt x="6011934" y="3758636"/>
                  <a:pt x="6011934" y="3766264"/>
                </a:cubicBezTo>
                <a:cubicBezTo>
                  <a:pt x="6011934" y="3773888"/>
                  <a:pt x="6005763" y="3780059"/>
                  <a:pt x="5998139" y="3780059"/>
                </a:cubicBezTo>
                <a:cubicBezTo>
                  <a:pt x="5990516" y="3780059"/>
                  <a:pt x="5984340" y="3773888"/>
                  <a:pt x="5984340" y="3766264"/>
                </a:cubicBezTo>
                <a:cubicBezTo>
                  <a:pt x="5984340" y="3758636"/>
                  <a:pt x="5990516" y="3752465"/>
                  <a:pt x="5998139" y="3752465"/>
                </a:cubicBezTo>
                <a:close/>
                <a:moveTo>
                  <a:pt x="6152086" y="3751379"/>
                </a:moveTo>
                <a:cubicBezTo>
                  <a:pt x="6160507" y="3751379"/>
                  <a:pt x="6167334" y="3758206"/>
                  <a:pt x="6167334" y="3766626"/>
                </a:cubicBezTo>
                <a:cubicBezTo>
                  <a:pt x="6167334" y="3775050"/>
                  <a:pt x="6160507" y="3781878"/>
                  <a:pt x="6152086" y="3781878"/>
                </a:cubicBezTo>
                <a:cubicBezTo>
                  <a:pt x="6143666" y="3781878"/>
                  <a:pt x="6136839" y="3775050"/>
                  <a:pt x="6136839" y="3766626"/>
                </a:cubicBezTo>
                <a:cubicBezTo>
                  <a:pt x="6136839" y="3758206"/>
                  <a:pt x="6143666" y="3751379"/>
                  <a:pt x="6152086" y="3751379"/>
                </a:cubicBezTo>
                <a:close/>
                <a:moveTo>
                  <a:pt x="6305668" y="3749560"/>
                </a:moveTo>
                <a:cubicBezTo>
                  <a:pt x="6315110" y="3749560"/>
                  <a:pt x="6322734" y="3757184"/>
                  <a:pt x="6322734" y="3766626"/>
                </a:cubicBezTo>
                <a:cubicBezTo>
                  <a:pt x="6322734" y="3776064"/>
                  <a:pt x="6315110" y="3783692"/>
                  <a:pt x="6305668" y="3783692"/>
                </a:cubicBezTo>
                <a:cubicBezTo>
                  <a:pt x="6296226" y="3783692"/>
                  <a:pt x="6288602" y="3776064"/>
                  <a:pt x="6288602" y="3766626"/>
                </a:cubicBezTo>
                <a:cubicBezTo>
                  <a:pt x="6288602" y="3757184"/>
                  <a:pt x="6296226" y="3749560"/>
                  <a:pt x="6305668" y="3749560"/>
                </a:cubicBezTo>
                <a:close/>
                <a:moveTo>
                  <a:pt x="6459616" y="3747384"/>
                </a:moveTo>
                <a:cubicBezTo>
                  <a:pt x="6470243" y="3747384"/>
                  <a:pt x="6478858" y="3755999"/>
                  <a:pt x="6478858" y="3766626"/>
                </a:cubicBezTo>
                <a:cubicBezTo>
                  <a:pt x="6478858" y="3777254"/>
                  <a:pt x="6470243" y="3785869"/>
                  <a:pt x="6459616" y="3785869"/>
                </a:cubicBezTo>
                <a:cubicBezTo>
                  <a:pt x="6448988" y="3785869"/>
                  <a:pt x="6440369" y="3777254"/>
                  <a:pt x="6440369" y="3766626"/>
                </a:cubicBezTo>
                <a:cubicBezTo>
                  <a:pt x="6440369" y="3755999"/>
                  <a:pt x="6448988" y="3747384"/>
                  <a:pt x="6459616" y="3747384"/>
                </a:cubicBezTo>
                <a:close/>
                <a:moveTo>
                  <a:pt x="6613200" y="3745203"/>
                </a:moveTo>
                <a:cubicBezTo>
                  <a:pt x="6625033" y="3745203"/>
                  <a:pt x="6634624" y="3754794"/>
                  <a:pt x="6634624" y="3766626"/>
                </a:cubicBezTo>
                <a:cubicBezTo>
                  <a:pt x="6634624" y="3778454"/>
                  <a:pt x="6625033" y="3788045"/>
                  <a:pt x="6613200" y="3788045"/>
                </a:cubicBezTo>
                <a:cubicBezTo>
                  <a:pt x="6601368" y="3788045"/>
                  <a:pt x="6591778" y="3778454"/>
                  <a:pt x="6591778" y="3766626"/>
                </a:cubicBezTo>
                <a:cubicBezTo>
                  <a:pt x="6591778" y="3754794"/>
                  <a:pt x="6601368" y="3745203"/>
                  <a:pt x="6613200" y="3745203"/>
                </a:cubicBezTo>
                <a:close/>
                <a:moveTo>
                  <a:pt x="4306532" y="3612317"/>
                </a:moveTo>
                <a:cubicBezTo>
                  <a:pt x="4306894" y="3612317"/>
                  <a:pt x="4306894" y="3612317"/>
                  <a:pt x="4306894" y="3612679"/>
                </a:cubicBezTo>
                <a:cubicBezTo>
                  <a:pt x="4306894" y="3613045"/>
                  <a:pt x="4306532" y="3613045"/>
                  <a:pt x="4306532" y="3613045"/>
                </a:cubicBezTo>
                <a:cubicBezTo>
                  <a:pt x="4306170" y="3613045"/>
                  <a:pt x="4306170" y="3613045"/>
                  <a:pt x="4306170" y="3612679"/>
                </a:cubicBezTo>
                <a:cubicBezTo>
                  <a:pt x="4306170" y="3612317"/>
                  <a:pt x="4306170" y="3612317"/>
                  <a:pt x="4306532" y="3612317"/>
                </a:cubicBezTo>
                <a:close/>
                <a:moveTo>
                  <a:pt x="3845414" y="3612317"/>
                </a:moveTo>
                <a:cubicBezTo>
                  <a:pt x="3845776" y="3612317"/>
                  <a:pt x="3845776" y="3612317"/>
                  <a:pt x="3845776" y="3612679"/>
                </a:cubicBezTo>
                <a:cubicBezTo>
                  <a:pt x="3845776" y="3613045"/>
                  <a:pt x="3845414" y="3613045"/>
                  <a:pt x="3845414" y="3613045"/>
                </a:cubicBezTo>
                <a:cubicBezTo>
                  <a:pt x="3845052" y="3613045"/>
                  <a:pt x="3845052" y="3613045"/>
                  <a:pt x="3845052" y="3612679"/>
                </a:cubicBezTo>
                <a:cubicBezTo>
                  <a:pt x="3845052" y="3612317"/>
                  <a:pt x="3845052" y="3612317"/>
                  <a:pt x="3845414" y="3612317"/>
                </a:cubicBezTo>
                <a:close/>
                <a:moveTo>
                  <a:pt x="3691467" y="3612317"/>
                </a:moveTo>
                <a:cubicBezTo>
                  <a:pt x="3691829" y="3612317"/>
                  <a:pt x="3691829" y="3612317"/>
                  <a:pt x="3691829" y="3612679"/>
                </a:cubicBezTo>
                <a:cubicBezTo>
                  <a:pt x="3691829" y="3613045"/>
                  <a:pt x="3691467" y="3613045"/>
                  <a:pt x="3691467" y="3613045"/>
                </a:cubicBezTo>
                <a:cubicBezTo>
                  <a:pt x="3691105" y="3613045"/>
                  <a:pt x="3691105" y="3613045"/>
                  <a:pt x="3691105" y="3612679"/>
                </a:cubicBezTo>
                <a:cubicBezTo>
                  <a:pt x="3691105" y="3612317"/>
                  <a:pt x="3691105" y="3612317"/>
                  <a:pt x="3691467" y="3612317"/>
                </a:cubicBezTo>
                <a:close/>
                <a:moveTo>
                  <a:pt x="3537886" y="3611955"/>
                </a:moveTo>
                <a:cubicBezTo>
                  <a:pt x="3538286" y="3611955"/>
                  <a:pt x="3538610" y="3612279"/>
                  <a:pt x="3538610" y="3612683"/>
                </a:cubicBezTo>
                <a:cubicBezTo>
                  <a:pt x="3538610" y="3613083"/>
                  <a:pt x="3538286" y="3613407"/>
                  <a:pt x="3537886" y="3613407"/>
                </a:cubicBezTo>
                <a:cubicBezTo>
                  <a:pt x="3537482" y="3613407"/>
                  <a:pt x="3537158" y="3613083"/>
                  <a:pt x="3537158" y="3612683"/>
                </a:cubicBezTo>
                <a:cubicBezTo>
                  <a:pt x="3537158" y="3612279"/>
                  <a:pt x="3537482" y="3611955"/>
                  <a:pt x="3537886" y="3611955"/>
                </a:cubicBezTo>
                <a:close/>
                <a:moveTo>
                  <a:pt x="4460480" y="3611226"/>
                </a:moveTo>
                <a:cubicBezTo>
                  <a:pt x="4461204" y="3611226"/>
                  <a:pt x="4461932" y="3611955"/>
                  <a:pt x="4461932" y="3612679"/>
                </a:cubicBezTo>
                <a:cubicBezTo>
                  <a:pt x="4461932" y="3613403"/>
                  <a:pt x="4460480" y="3614131"/>
                  <a:pt x="4460480" y="3614131"/>
                </a:cubicBezTo>
                <a:cubicBezTo>
                  <a:pt x="4459752" y="3614131"/>
                  <a:pt x="4459028" y="3613403"/>
                  <a:pt x="4459028" y="3612679"/>
                </a:cubicBezTo>
                <a:cubicBezTo>
                  <a:pt x="4459028" y="3611955"/>
                  <a:pt x="4459752" y="3611226"/>
                  <a:pt x="4460480" y="3611226"/>
                </a:cubicBezTo>
                <a:close/>
                <a:moveTo>
                  <a:pt x="4614061" y="3610502"/>
                </a:moveTo>
                <a:cubicBezTo>
                  <a:pt x="4615152" y="3610502"/>
                  <a:pt x="4616242" y="3611592"/>
                  <a:pt x="4616242" y="3612679"/>
                </a:cubicBezTo>
                <a:cubicBezTo>
                  <a:pt x="4616242" y="3613769"/>
                  <a:pt x="4614061" y="3614859"/>
                  <a:pt x="4614061" y="3614859"/>
                </a:cubicBezTo>
                <a:cubicBezTo>
                  <a:pt x="4612974" y="3614859"/>
                  <a:pt x="4611884" y="3613769"/>
                  <a:pt x="4611884" y="3612679"/>
                </a:cubicBezTo>
                <a:cubicBezTo>
                  <a:pt x="4611884" y="3611592"/>
                  <a:pt x="4612974" y="3610502"/>
                  <a:pt x="4614061" y="3610502"/>
                </a:cubicBezTo>
                <a:close/>
                <a:moveTo>
                  <a:pt x="4768008" y="3609774"/>
                </a:moveTo>
                <a:cubicBezTo>
                  <a:pt x="4769823" y="3609774"/>
                  <a:pt x="4771276" y="3611226"/>
                  <a:pt x="4771276" y="3613041"/>
                </a:cubicBezTo>
                <a:cubicBezTo>
                  <a:pt x="4771276" y="3614855"/>
                  <a:pt x="4769823" y="3616312"/>
                  <a:pt x="4768008" y="3616312"/>
                </a:cubicBezTo>
                <a:cubicBezTo>
                  <a:pt x="4766194" y="3616312"/>
                  <a:pt x="4764742" y="3614855"/>
                  <a:pt x="4764742" y="3613041"/>
                </a:cubicBezTo>
                <a:cubicBezTo>
                  <a:pt x="4764742" y="3611226"/>
                  <a:pt x="4766194" y="3609774"/>
                  <a:pt x="4768008" y="3609774"/>
                </a:cubicBezTo>
                <a:close/>
                <a:moveTo>
                  <a:pt x="4921594" y="3608322"/>
                </a:moveTo>
                <a:cubicBezTo>
                  <a:pt x="4924136" y="3608322"/>
                  <a:pt x="4925951" y="3610136"/>
                  <a:pt x="4925951" y="3612679"/>
                </a:cubicBezTo>
                <a:cubicBezTo>
                  <a:pt x="4925951" y="3615221"/>
                  <a:pt x="4923770" y="3617036"/>
                  <a:pt x="4921594" y="3617036"/>
                </a:cubicBezTo>
                <a:cubicBezTo>
                  <a:pt x="4919052" y="3617036"/>
                  <a:pt x="4917237" y="3615221"/>
                  <a:pt x="4917237" y="3612679"/>
                </a:cubicBezTo>
                <a:cubicBezTo>
                  <a:pt x="4917237" y="3610136"/>
                  <a:pt x="4919052" y="3608322"/>
                  <a:pt x="4921594" y="3608322"/>
                </a:cubicBezTo>
                <a:close/>
                <a:moveTo>
                  <a:pt x="5075541" y="3607232"/>
                </a:moveTo>
                <a:cubicBezTo>
                  <a:pt x="5078808" y="3607232"/>
                  <a:pt x="5081350" y="3609774"/>
                  <a:pt x="5081350" y="3613041"/>
                </a:cubicBezTo>
                <a:cubicBezTo>
                  <a:pt x="5081350" y="3616308"/>
                  <a:pt x="5078808" y="3618850"/>
                  <a:pt x="5075541" y="3618850"/>
                </a:cubicBezTo>
                <a:cubicBezTo>
                  <a:pt x="5072274" y="3618850"/>
                  <a:pt x="5069732" y="3616308"/>
                  <a:pt x="5069732" y="3613041"/>
                </a:cubicBezTo>
                <a:cubicBezTo>
                  <a:pt x="5069732" y="3609774"/>
                  <a:pt x="5072274" y="3607232"/>
                  <a:pt x="5075541" y="3607232"/>
                </a:cubicBezTo>
                <a:close/>
                <a:moveTo>
                  <a:pt x="5229126" y="3605417"/>
                </a:moveTo>
                <a:cubicBezTo>
                  <a:pt x="5233122" y="3605417"/>
                  <a:pt x="5236388" y="3608684"/>
                  <a:pt x="5236388" y="3612679"/>
                </a:cubicBezTo>
                <a:cubicBezTo>
                  <a:pt x="5236388" y="3616674"/>
                  <a:pt x="5233122" y="3619940"/>
                  <a:pt x="5229126" y="3619940"/>
                </a:cubicBezTo>
                <a:cubicBezTo>
                  <a:pt x="5225132" y="3619940"/>
                  <a:pt x="5221865" y="3616674"/>
                  <a:pt x="5221865" y="3612679"/>
                </a:cubicBezTo>
                <a:cubicBezTo>
                  <a:pt x="5221865" y="3608684"/>
                  <a:pt x="5225132" y="3605417"/>
                  <a:pt x="5229126" y="3605417"/>
                </a:cubicBezTo>
                <a:close/>
                <a:moveTo>
                  <a:pt x="5383074" y="3603603"/>
                </a:moveTo>
                <a:cubicBezTo>
                  <a:pt x="5388159" y="3603603"/>
                  <a:pt x="5392154" y="3607598"/>
                  <a:pt x="5392154" y="3612679"/>
                </a:cubicBezTo>
                <a:cubicBezTo>
                  <a:pt x="5392154" y="3617764"/>
                  <a:pt x="5388159" y="3621759"/>
                  <a:pt x="5383074" y="3621759"/>
                </a:cubicBezTo>
                <a:cubicBezTo>
                  <a:pt x="5377992" y="3621759"/>
                  <a:pt x="5373998" y="3617764"/>
                  <a:pt x="5373998" y="3612679"/>
                </a:cubicBezTo>
                <a:cubicBezTo>
                  <a:pt x="5373998" y="3607598"/>
                  <a:pt x="5377992" y="3603603"/>
                  <a:pt x="5383074" y="3603603"/>
                </a:cubicBezTo>
                <a:close/>
                <a:moveTo>
                  <a:pt x="5536659" y="3602512"/>
                </a:moveTo>
                <a:cubicBezTo>
                  <a:pt x="5542106" y="3602512"/>
                  <a:pt x="5546826" y="3607232"/>
                  <a:pt x="5546826" y="3612679"/>
                </a:cubicBezTo>
                <a:cubicBezTo>
                  <a:pt x="5546826" y="3618126"/>
                  <a:pt x="5542468" y="3622845"/>
                  <a:pt x="5536659" y="3622845"/>
                </a:cubicBezTo>
                <a:cubicBezTo>
                  <a:pt x="5531212" y="3622845"/>
                  <a:pt x="5526493" y="3618126"/>
                  <a:pt x="5526493" y="3612679"/>
                </a:cubicBezTo>
                <a:cubicBezTo>
                  <a:pt x="5526493" y="3607232"/>
                  <a:pt x="5531212" y="3602512"/>
                  <a:pt x="5536659" y="3602512"/>
                </a:cubicBezTo>
                <a:close/>
                <a:moveTo>
                  <a:pt x="5690602" y="3600698"/>
                </a:moveTo>
                <a:cubicBezTo>
                  <a:pt x="5697140" y="3600698"/>
                  <a:pt x="5702584" y="3606145"/>
                  <a:pt x="5702584" y="3612679"/>
                </a:cubicBezTo>
                <a:cubicBezTo>
                  <a:pt x="5702584" y="3619216"/>
                  <a:pt x="5697140" y="3624663"/>
                  <a:pt x="5690602" y="3624663"/>
                </a:cubicBezTo>
                <a:cubicBezTo>
                  <a:pt x="5684069" y="3624663"/>
                  <a:pt x="5678622" y="3619216"/>
                  <a:pt x="5678622" y="3612679"/>
                </a:cubicBezTo>
                <a:cubicBezTo>
                  <a:pt x="5678622" y="3606145"/>
                  <a:pt x="5684069" y="3600698"/>
                  <a:pt x="5690602" y="3600698"/>
                </a:cubicBezTo>
                <a:close/>
                <a:moveTo>
                  <a:pt x="5844554" y="3598884"/>
                </a:moveTo>
                <a:cubicBezTo>
                  <a:pt x="5852170" y="3598884"/>
                  <a:pt x="5858349" y="3605063"/>
                  <a:pt x="5858349" y="3612683"/>
                </a:cubicBezTo>
                <a:cubicBezTo>
                  <a:pt x="5858349" y="3620303"/>
                  <a:pt x="5852174" y="3626478"/>
                  <a:pt x="5844554" y="3626478"/>
                </a:cubicBezTo>
                <a:cubicBezTo>
                  <a:pt x="5836934" y="3626478"/>
                  <a:pt x="5830755" y="3620299"/>
                  <a:pt x="5830755" y="3612683"/>
                </a:cubicBezTo>
                <a:cubicBezTo>
                  <a:pt x="5830755" y="3605059"/>
                  <a:pt x="5836930" y="3598884"/>
                  <a:pt x="5844554" y="3598884"/>
                </a:cubicBezTo>
                <a:close/>
                <a:moveTo>
                  <a:pt x="5998139" y="3597431"/>
                </a:moveTo>
                <a:cubicBezTo>
                  <a:pt x="6006560" y="3597431"/>
                  <a:pt x="6013387" y="3604258"/>
                  <a:pt x="6013387" y="3612683"/>
                </a:cubicBezTo>
                <a:cubicBezTo>
                  <a:pt x="6013387" y="3621103"/>
                  <a:pt x="6006560" y="3627930"/>
                  <a:pt x="5998139" y="3627930"/>
                </a:cubicBezTo>
                <a:cubicBezTo>
                  <a:pt x="5989718" y="3627930"/>
                  <a:pt x="5982892" y="3621103"/>
                  <a:pt x="5982892" y="3612683"/>
                </a:cubicBezTo>
                <a:cubicBezTo>
                  <a:pt x="5982892" y="3604258"/>
                  <a:pt x="5989718" y="3597431"/>
                  <a:pt x="5998139" y="3597431"/>
                </a:cubicBezTo>
                <a:close/>
                <a:moveTo>
                  <a:pt x="6152083" y="3595613"/>
                </a:moveTo>
                <a:cubicBezTo>
                  <a:pt x="6161525" y="3595613"/>
                  <a:pt x="6169152" y="3603237"/>
                  <a:pt x="6169152" y="3612679"/>
                </a:cubicBezTo>
                <a:cubicBezTo>
                  <a:pt x="6169152" y="3622117"/>
                  <a:pt x="6161525" y="3629745"/>
                  <a:pt x="6152083" y="3629745"/>
                </a:cubicBezTo>
                <a:cubicBezTo>
                  <a:pt x="6142644" y="3629745"/>
                  <a:pt x="6135020" y="3622117"/>
                  <a:pt x="6135020" y="3612679"/>
                </a:cubicBezTo>
                <a:cubicBezTo>
                  <a:pt x="6135020" y="3603237"/>
                  <a:pt x="6142644" y="3595613"/>
                  <a:pt x="6152083" y="3595613"/>
                </a:cubicBezTo>
                <a:close/>
                <a:moveTo>
                  <a:pt x="6305668" y="3593436"/>
                </a:moveTo>
                <a:cubicBezTo>
                  <a:pt x="6316296" y="3593436"/>
                  <a:pt x="6324910" y="3602051"/>
                  <a:pt x="6324910" y="3612679"/>
                </a:cubicBezTo>
                <a:cubicBezTo>
                  <a:pt x="6324910" y="3623306"/>
                  <a:pt x="6316296" y="3631921"/>
                  <a:pt x="6305668" y="3631921"/>
                </a:cubicBezTo>
                <a:cubicBezTo>
                  <a:pt x="6295040" y="3631921"/>
                  <a:pt x="6286422" y="3623306"/>
                  <a:pt x="6286422" y="3612679"/>
                </a:cubicBezTo>
                <a:cubicBezTo>
                  <a:pt x="6286422" y="3602051"/>
                  <a:pt x="6295040" y="3593436"/>
                  <a:pt x="6305668" y="3593436"/>
                </a:cubicBezTo>
                <a:close/>
                <a:moveTo>
                  <a:pt x="6459616" y="3591256"/>
                </a:moveTo>
                <a:cubicBezTo>
                  <a:pt x="6471448" y="3591256"/>
                  <a:pt x="6481038" y="3600847"/>
                  <a:pt x="6481038" y="3612679"/>
                </a:cubicBezTo>
                <a:cubicBezTo>
                  <a:pt x="6481038" y="3624507"/>
                  <a:pt x="6471448" y="3634098"/>
                  <a:pt x="6459616" y="3634098"/>
                </a:cubicBezTo>
                <a:cubicBezTo>
                  <a:pt x="6447784" y="3634098"/>
                  <a:pt x="6438192" y="3624507"/>
                  <a:pt x="6438192" y="3612679"/>
                </a:cubicBezTo>
                <a:cubicBezTo>
                  <a:pt x="6438192" y="3600847"/>
                  <a:pt x="6447784" y="3591256"/>
                  <a:pt x="6459616" y="3591256"/>
                </a:cubicBezTo>
                <a:close/>
                <a:moveTo>
                  <a:pt x="6613200" y="3589804"/>
                </a:moveTo>
                <a:cubicBezTo>
                  <a:pt x="6625834" y="3589804"/>
                  <a:pt x="6636072" y="3600046"/>
                  <a:pt x="6636072" y="3612679"/>
                </a:cubicBezTo>
                <a:cubicBezTo>
                  <a:pt x="6636072" y="3625311"/>
                  <a:pt x="6625834" y="3635550"/>
                  <a:pt x="6613200" y="3635550"/>
                </a:cubicBezTo>
                <a:cubicBezTo>
                  <a:pt x="6600564" y="3635550"/>
                  <a:pt x="6590326" y="3625311"/>
                  <a:pt x="6590326" y="3612679"/>
                </a:cubicBezTo>
                <a:cubicBezTo>
                  <a:pt x="6590326" y="3600046"/>
                  <a:pt x="6600564" y="3589804"/>
                  <a:pt x="6613200" y="3589804"/>
                </a:cubicBezTo>
                <a:close/>
                <a:moveTo>
                  <a:pt x="4152947" y="3458731"/>
                </a:moveTo>
                <a:cubicBezTo>
                  <a:pt x="4153309" y="3458731"/>
                  <a:pt x="4153309" y="3458731"/>
                  <a:pt x="4153309" y="3459094"/>
                </a:cubicBezTo>
                <a:cubicBezTo>
                  <a:pt x="4153309" y="3459456"/>
                  <a:pt x="4152947" y="3459456"/>
                  <a:pt x="4152947" y="3459456"/>
                </a:cubicBezTo>
                <a:cubicBezTo>
                  <a:pt x="4152585" y="3459456"/>
                  <a:pt x="4152585" y="3459456"/>
                  <a:pt x="4152585" y="3459094"/>
                </a:cubicBezTo>
                <a:cubicBezTo>
                  <a:pt x="4152585" y="3458731"/>
                  <a:pt x="4152585" y="3458731"/>
                  <a:pt x="4152947" y="3458731"/>
                </a:cubicBezTo>
                <a:close/>
                <a:moveTo>
                  <a:pt x="3691467" y="3458731"/>
                </a:moveTo>
                <a:cubicBezTo>
                  <a:pt x="3691829" y="3458731"/>
                  <a:pt x="3691829" y="3458731"/>
                  <a:pt x="3691829" y="3459094"/>
                </a:cubicBezTo>
                <a:cubicBezTo>
                  <a:pt x="3691829" y="3459456"/>
                  <a:pt x="3691467" y="3459456"/>
                  <a:pt x="3691467" y="3459456"/>
                </a:cubicBezTo>
                <a:cubicBezTo>
                  <a:pt x="3691105" y="3459456"/>
                  <a:pt x="3691105" y="3459456"/>
                  <a:pt x="3691105" y="3459094"/>
                </a:cubicBezTo>
                <a:cubicBezTo>
                  <a:pt x="3691105" y="3458731"/>
                  <a:pt x="3691105" y="3458731"/>
                  <a:pt x="3691467" y="3458731"/>
                </a:cubicBezTo>
                <a:close/>
                <a:moveTo>
                  <a:pt x="3537882" y="3458731"/>
                </a:moveTo>
                <a:cubicBezTo>
                  <a:pt x="3538244" y="3458731"/>
                  <a:pt x="3538244" y="3458731"/>
                  <a:pt x="3538244" y="3459094"/>
                </a:cubicBezTo>
                <a:cubicBezTo>
                  <a:pt x="3538244" y="3459456"/>
                  <a:pt x="3537882" y="3459456"/>
                  <a:pt x="3537882" y="3459456"/>
                </a:cubicBezTo>
                <a:cubicBezTo>
                  <a:pt x="3537520" y="3459456"/>
                  <a:pt x="3537520" y="3459456"/>
                  <a:pt x="3537520" y="3459094"/>
                </a:cubicBezTo>
                <a:cubicBezTo>
                  <a:pt x="3537520" y="3458731"/>
                  <a:pt x="3537520" y="3458731"/>
                  <a:pt x="3537882" y="3458731"/>
                </a:cubicBezTo>
                <a:close/>
                <a:moveTo>
                  <a:pt x="3383938" y="3458369"/>
                </a:moveTo>
                <a:cubicBezTo>
                  <a:pt x="3384338" y="3458369"/>
                  <a:pt x="3384662" y="3458693"/>
                  <a:pt x="3384662" y="3459094"/>
                </a:cubicBezTo>
                <a:cubicBezTo>
                  <a:pt x="3384662" y="3459498"/>
                  <a:pt x="3384338" y="3459822"/>
                  <a:pt x="3383938" y="3459822"/>
                </a:cubicBezTo>
                <a:cubicBezTo>
                  <a:pt x="3383534" y="3459822"/>
                  <a:pt x="3383210" y="3459498"/>
                  <a:pt x="3383210" y="3459094"/>
                </a:cubicBezTo>
                <a:cubicBezTo>
                  <a:pt x="3383210" y="3458693"/>
                  <a:pt x="3383534" y="3458369"/>
                  <a:pt x="3383938" y="3458369"/>
                </a:cubicBezTo>
                <a:close/>
                <a:moveTo>
                  <a:pt x="4306532" y="3457279"/>
                </a:moveTo>
                <a:cubicBezTo>
                  <a:pt x="4307256" y="3457279"/>
                  <a:pt x="4307984" y="3458003"/>
                  <a:pt x="4307984" y="3458731"/>
                </a:cubicBezTo>
                <a:cubicBezTo>
                  <a:pt x="4307984" y="3459456"/>
                  <a:pt x="4306532" y="3460184"/>
                  <a:pt x="4306532" y="3460184"/>
                </a:cubicBezTo>
                <a:cubicBezTo>
                  <a:pt x="4305804" y="3460184"/>
                  <a:pt x="4305080" y="3459456"/>
                  <a:pt x="4305080" y="3458731"/>
                </a:cubicBezTo>
                <a:cubicBezTo>
                  <a:pt x="4305080" y="3458003"/>
                  <a:pt x="4305804" y="3457279"/>
                  <a:pt x="4306532" y="3457279"/>
                </a:cubicBezTo>
                <a:close/>
                <a:moveTo>
                  <a:pt x="4460480" y="3456917"/>
                </a:moveTo>
                <a:cubicBezTo>
                  <a:pt x="4461680" y="3456917"/>
                  <a:pt x="4462656" y="3457893"/>
                  <a:pt x="4462656" y="3459094"/>
                </a:cubicBezTo>
                <a:cubicBezTo>
                  <a:pt x="4462656" y="3460298"/>
                  <a:pt x="4461680" y="3461274"/>
                  <a:pt x="4460480" y="3461274"/>
                </a:cubicBezTo>
                <a:cubicBezTo>
                  <a:pt x="4459275" y="3461274"/>
                  <a:pt x="4458300" y="3460298"/>
                  <a:pt x="4458300" y="3459094"/>
                </a:cubicBezTo>
                <a:cubicBezTo>
                  <a:pt x="4458300" y="3457893"/>
                  <a:pt x="4459275" y="3456917"/>
                  <a:pt x="4460480" y="3456917"/>
                </a:cubicBezTo>
                <a:close/>
                <a:moveTo>
                  <a:pt x="4614061" y="3455827"/>
                </a:moveTo>
                <a:cubicBezTo>
                  <a:pt x="4615880" y="3455827"/>
                  <a:pt x="4617328" y="3457279"/>
                  <a:pt x="4617328" y="3459094"/>
                </a:cubicBezTo>
                <a:cubicBezTo>
                  <a:pt x="4617328" y="3460908"/>
                  <a:pt x="4615880" y="3462364"/>
                  <a:pt x="4614061" y="3462364"/>
                </a:cubicBezTo>
                <a:cubicBezTo>
                  <a:pt x="4612246" y="3462364"/>
                  <a:pt x="4610794" y="3460908"/>
                  <a:pt x="4610794" y="3459094"/>
                </a:cubicBezTo>
                <a:cubicBezTo>
                  <a:pt x="4610794" y="3457279"/>
                  <a:pt x="4612246" y="3455827"/>
                  <a:pt x="4614061" y="3455827"/>
                </a:cubicBezTo>
                <a:close/>
                <a:moveTo>
                  <a:pt x="4768008" y="3454374"/>
                </a:moveTo>
                <a:cubicBezTo>
                  <a:pt x="4770551" y="3454374"/>
                  <a:pt x="4772366" y="3456189"/>
                  <a:pt x="4772366" y="3458731"/>
                </a:cubicBezTo>
                <a:cubicBezTo>
                  <a:pt x="4772366" y="3461274"/>
                  <a:pt x="4770189" y="3463088"/>
                  <a:pt x="4768008" y="3463088"/>
                </a:cubicBezTo>
                <a:cubicBezTo>
                  <a:pt x="4765466" y="3463088"/>
                  <a:pt x="4763652" y="3461274"/>
                  <a:pt x="4763652" y="3458731"/>
                </a:cubicBezTo>
                <a:cubicBezTo>
                  <a:pt x="4763652" y="3456189"/>
                  <a:pt x="4765466" y="3454374"/>
                  <a:pt x="4768008" y="3454374"/>
                </a:cubicBezTo>
                <a:close/>
                <a:moveTo>
                  <a:pt x="4921594" y="3453284"/>
                </a:moveTo>
                <a:cubicBezTo>
                  <a:pt x="4924860" y="3453284"/>
                  <a:pt x="4927403" y="3455827"/>
                  <a:pt x="4927403" y="3459094"/>
                </a:cubicBezTo>
                <a:cubicBezTo>
                  <a:pt x="4927403" y="3462360"/>
                  <a:pt x="4924860" y="3464903"/>
                  <a:pt x="4921594" y="3464903"/>
                </a:cubicBezTo>
                <a:cubicBezTo>
                  <a:pt x="4918327" y="3464903"/>
                  <a:pt x="4915784" y="3462360"/>
                  <a:pt x="4915784" y="3459094"/>
                </a:cubicBezTo>
                <a:cubicBezTo>
                  <a:pt x="4915784" y="3455827"/>
                  <a:pt x="4918327" y="3453284"/>
                  <a:pt x="4921594" y="3453284"/>
                </a:cubicBezTo>
                <a:close/>
                <a:moveTo>
                  <a:pt x="5075541" y="3451832"/>
                </a:moveTo>
                <a:cubicBezTo>
                  <a:pt x="5079536" y="3451832"/>
                  <a:pt x="5082803" y="3455099"/>
                  <a:pt x="5082803" y="3459094"/>
                </a:cubicBezTo>
                <a:cubicBezTo>
                  <a:pt x="5082803" y="3463088"/>
                  <a:pt x="5079536" y="3466355"/>
                  <a:pt x="5075541" y="3466355"/>
                </a:cubicBezTo>
                <a:cubicBezTo>
                  <a:pt x="5071546" y="3466355"/>
                  <a:pt x="5068280" y="3463088"/>
                  <a:pt x="5068280" y="3459094"/>
                </a:cubicBezTo>
                <a:cubicBezTo>
                  <a:pt x="5068280" y="3455099"/>
                  <a:pt x="5071546" y="3451832"/>
                  <a:pt x="5075541" y="3451832"/>
                </a:cubicBezTo>
                <a:close/>
                <a:moveTo>
                  <a:pt x="5229126" y="3449655"/>
                </a:moveTo>
                <a:cubicBezTo>
                  <a:pt x="5234212" y="3449655"/>
                  <a:pt x="5238206" y="3453650"/>
                  <a:pt x="5238206" y="3458731"/>
                </a:cubicBezTo>
                <a:cubicBezTo>
                  <a:pt x="5238206" y="3463816"/>
                  <a:pt x="5234212" y="3467811"/>
                  <a:pt x="5229126" y="3467811"/>
                </a:cubicBezTo>
                <a:cubicBezTo>
                  <a:pt x="5224045" y="3467811"/>
                  <a:pt x="5220050" y="3463816"/>
                  <a:pt x="5220050" y="3458731"/>
                </a:cubicBezTo>
                <a:cubicBezTo>
                  <a:pt x="5220050" y="3453650"/>
                  <a:pt x="5224045" y="3449655"/>
                  <a:pt x="5229126" y="3449655"/>
                </a:cubicBezTo>
                <a:close/>
                <a:moveTo>
                  <a:pt x="5383074" y="3448927"/>
                </a:moveTo>
                <a:cubicBezTo>
                  <a:pt x="5388521" y="3448927"/>
                  <a:pt x="5393240" y="3453646"/>
                  <a:pt x="5393240" y="3459094"/>
                </a:cubicBezTo>
                <a:cubicBezTo>
                  <a:pt x="5393240" y="3464541"/>
                  <a:pt x="5388883" y="3469260"/>
                  <a:pt x="5383074" y="3469260"/>
                </a:cubicBezTo>
                <a:cubicBezTo>
                  <a:pt x="5377626" y="3469260"/>
                  <a:pt x="5372908" y="3464541"/>
                  <a:pt x="5372908" y="3459094"/>
                </a:cubicBezTo>
                <a:cubicBezTo>
                  <a:pt x="5372908" y="3453646"/>
                  <a:pt x="5377626" y="3448927"/>
                  <a:pt x="5383074" y="3448927"/>
                </a:cubicBezTo>
                <a:close/>
                <a:moveTo>
                  <a:pt x="5536659" y="3447113"/>
                </a:moveTo>
                <a:cubicBezTo>
                  <a:pt x="5543196" y="3447113"/>
                  <a:pt x="5548640" y="3452560"/>
                  <a:pt x="5548640" y="3459094"/>
                </a:cubicBezTo>
                <a:cubicBezTo>
                  <a:pt x="5548640" y="3465631"/>
                  <a:pt x="5543196" y="3471074"/>
                  <a:pt x="5536659" y="3471074"/>
                </a:cubicBezTo>
                <a:cubicBezTo>
                  <a:pt x="5530122" y="3471074"/>
                  <a:pt x="5524678" y="3465631"/>
                  <a:pt x="5524678" y="3459094"/>
                </a:cubicBezTo>
                <a:cubicBezTo>
                  <a:pt x="5524678" y="3452560"/>
                  <a:pt x="5530122" y="3447113"/>
                  <a:pt x="5536659" y="3447113"/>
                </a:cubicBezTo>
                <a:close/>
                <a:moveTo>
                  <a:pt x="5690606" y="3445298"/>
                </a:moveTo>
                <a:cubicBezTo>
                  <a:pt x="5698222" y="3445298"/>
                  <a:pt x="5704402" y="3451477"/>
                  <a:pt x="5704402" y="3459094"/>
                </a:cubicBezTo>
                <a:cubicBezTo>
                  <a:pt x="5704402" y="3466714"/>
                  <a:pt x="5698226" y="3472893"/>
                  <a:pt x="5690606" y="3472893"/>
                </a:cubicBezTo>
                <a:cubicBezTo>
                  <a:pt x="5682986" y="3472893"/>
                  <a:pt x="5676808" y="3466714"/>
                  <a:pt x="5676808" y="3459094"/>
                </a:cubicBezTo>
                <a:cubicBezTo>
                  <a:pt x="5676808" y="3451474"/>
                  <a:pt x="5682982" y="3445298"/>
                  <a:pt x="5690606" y="3445298"/>
                </a:cubicBezTo>
                <a:close/>
                <a:moveTo>
                  <a:pt x="5844554" y="3443846"/>
                </a:moveTo>
                <a:cubicBezTo>
                  <a:pt x="5852974" y="3443846"/>
                  <a:pt x="5859802" y="3450673"/>
                  <a:pt x="5859802" y="3459094"/>
                </a:cubicBezTo>
                <a:cubicBezTo>
                  <a:pt x="5859802" y="3467518"/>
                  <a:pt x="5852974" y="3474345"/>
                  <a:pt x="5844554" y="3474345"/>
                </a:cubicBezTo>
                <a:cubicBezTo>
                  <a:pt x="5836130" y="3474345"/>
                  <a:pt x="5829302" y="3467518"/>
                  <a:pt x="5829302" y="3459094"/>
                </a:cubicBezTo>
                <a:cubicBezTo>
                  <a:pt x="5829302" y="3450673"/>
                  <a:pt x="5836130" y="3443846"/>
                  <a:pt x="5844554" y="3443846"/>
                </a:cubicBezTo>
                <a:close/>
                <a:moveTo>
                  <a:pt x="5998139" y="3442031"/>
                </a:moveTo>
                <a:cubicBezTo>
                  <a:pt x="6007566" y="3442031"/>
                  <a:pt x="6015205" y="3449670"/>
                  <a:pt x="6015205" y="3459097"/>
                </a:cubicBezTo>
                <a:cubicBezTo>
                  <a:pt x="6015205" y="3468520"/>
                  <a:pt x="6007562" y="3476159"/>
                  <a:pt x="5998139" y="3476159"/>
                </a:cubicBezTo>
                <a:cubicBezTo>
                  <a:pt x="5988716" y="3476159"/>
                  <a:pt x="5981077" y="3468520"/>
                  <a:pt x="5981077" y="3459097"/>
                </a:cubicBezTo>
                <a:cubicBezTo>
                  <a:pt x="5981077" y="3449670"/>
                  <a:pt x="5988716" y="3442031"/>
                  <a:pt x="5998139" y="3442031"/>
                </a:cubicBezTo>
                <a:close/>
                <a:moveTo>
                  <a:pt x="6152083" y="3439851"/>
                </a:moveTo>
                <a:cubicBezTo>
                  <a:pt x="6162710" y="3439851"/>
                  <a:pt x="6171329" y="3448466"/>
                  <a:pt x="6171329" y="3459094"/>
                </a:cubicBezTo>
                <a:cubicBezTo>
                  <a:pt x="6171329" y="3469721"/>
                  <a:pt x="6162710" y="3478336"/>
                  <a:pt x="6152083" y="3478336"/>
                </a:cubicBezTo>
                <a:cubicBezTo>
                  <a:pt x="6141455" y="3478336"/>
                  <a:pt x="6132836" y="3469721"/>
                  <a:pt x="6132836" y="3459094"/>
                </a:cubicBezTo>
                <a:cubicBezTo>
                  <a:pt x="6132836" y="3448466"/>
                  <a:pt x="6141455" y="3439851"/>
                  <a:pt x="6152083" y="3439851"/>
                </a:cubicBezTo>
                <a:close/>
                <a:moveTo>
                  <a:pt x="6305668" y="3437674"/>
                </a:moveTo>
                <a:cubicBezTo>
                  <a:pt x="6317500" y="3437674"/>
                  <a:pt x="6327091" y="3447265"/>
                  <a:pt x="6327091" y="3459097"/>
                </a:cubicBezTo>
                <a:cubicBezTo>
                  <a:pt x="6327091" y="3470926"/>
                  <a:pt x="6317500" y="3480516"/>
                  <a:pt x="6305668" y="3480516"/>
                </a:cubicBezTo>
                <a:cubicBezTo>
                  <a:pt x="6293836" y="3480516"/>
                  <a:pt x="6284245" y="3470926"/>
                  <a:pt x="6284245" y="3459097"/>
                </a:cubicBezTo>
                <a:cubicBezTo>
                  <a:pt x="6284245" y="3447265"/>
                  <a:pt x="6293836" y="3437674"/>
                  <a:pt x="6305668" y="3437674"/>
                </a:cubicBezTo>
                <a:close/>
                <a:moveTo>
                  <a:pt x="6459619" y="3436222"/>
                </a:moveTo>
                <a:cubicBezTo>
                  <a:pt x="6472252" y="3436222"/>
                  <a:pt x="6482494" y="3446465"/>
                  <a:pt x="6482494" y="3459097"/>
                </a:cubicBezTo>
                <a:cubicBezTo>
                  <a:pt x="6482494" y="3471730"/>
                  <a:pt x="6472252" y="3481969"/>
                  <a:pt x="6459619" y="3481969"/>
                </a:cubicBezTo>
                <a:cubicBezTo>
                  <a:pt x="6446983" y="3481969"/>
                  <a:pt x="6436744" y="3471730"/>
                  <a:pt x="6436744" y="3459097"/>
                </a:cubicBezTo>
                <a:cubicBezTo>
                  <a:pt x="6436744" y="3446465"/>
                  <a:pt x="6446983" y="3436222"/>
                  <a:pt x="6459619" y="3436222"/>
                </a:cubicBezTo>
                <a:close/>
                <a:moveTo>
                  <a:pt x="6613200" y="3434042"/>
                </a:moveTo>
                <a:cubicBezTo>
                  <a:pt x="6627038" y="3434042"/>
                  <a:pt x="6638252" y="3445256"/>
                  <a:pt x="6638252" y="3459094"/>
                </a:cubicBezTo>
                <a:cubicBezTo>
                  <a:pt x="6638252" y="3472931"/>
                  <a:pt x="6627038" y="3484145"/>
                  <a:pt x="6613200" y="3484145"/>
                </a:cubicBezTo>
                <a:cubicBezTo>
                  <a:pt x="6599364" y="3484145"/>
                  <a:pt x="6588149" y="3472931"/>
                  <a:pt x="6588149" y="3459094"/>
                </a:cubicBezTo>
                <a:cubicBezTo>
                  <a:pt x="6588149" y="3445256"/>
                  <a:pt x="6599364" y="3434042"/>
                  <a:pt x="6613200" y="3434042"/>
                </a:cubicBezTo>
                <a:close/>
                <a:moveTo>
                  <a:pt x="3999000" y="3304784"/>
                </a:moveTo>
                <a:cubicBezTo>
                  <a:pt x="3999362" y="3304784"/>
                  <a:pt x="3999362" y="3304784"/>
                  <a:pt x="3999362" y="3305146"/>
                </a:cubicBezTo>
                <a:cubicBezTo>
                  <a:pt x="3999362" y="3305512"/>
                  <a:pt x="3999000" y="3305512"/>
                  <a:pt x="3999000" y="3305512"/>
                </a:cubicBezTo>
                <a:cubicBezTo>
                  <a:pt x="3998638" y="3305512"/>
                  <a:pt x="3998638" y="3305512"/>
                  <a:pt x="3998638" y="3305146"/>
                </a:cubicBezTo>
                <a:cubicBezTo>
                  <a:pt x="3998638" y="3304784"/>
                  <a:pt x="3998638" y="3304784"/>
                  <a:pt x="3999000" y="3304784"/>
                </a:cubicBezTo>
                <a:close/>
                <a:moveTo>
                  <a:pt x="3537882" y="3304784"/>
                </a:moveTo>
                <a:cubicBezTo>
                  <a:pt x="3538244" y="3304784"/>
                  <a:pt x="3538244" y="3304784"/>
                  <a:pt x="3538244" y="3305146"/>
                </a:cubicBezTo>
                <a:cubicBezTo>
                  <a:pt x="3538244" y="3305512"/>
                  <a:pt x="3537882" y="3305512"/>
                  <a:pt x="3537882" y="3305512"/>
                </a:cubicBezTo>
                <a:cubicBezTo>
                  <a:pt x="3537520" y="3305512"/>
                  <a:pt x="3537520" y="3305512"/>
                  <a:pt x="3537520" y="3305146"/>
                </a:cubicBezTo>
                <a:cubicBezTo>
                  <a:pt x="3537520" y="3304784"/>
                  <a:pt x="3537520" y="3304784"/>
                  <a:pt x="3537882" y="3304784"/>
                </a:cubicBezTo>
                <a:close/>
                <a:moveTo>
                  <a:pt x="3383934" y="3304784"/>
                </a:moveTo>
                <a:cubicBezTo>
                  <a:pt x="3384296" y="3304784"/>
                  <a:pt x="3384296" y="3304784"/>
                  <a:pt x="3384296" y="3305146"/>
                </a:cubicBezTo>
                <a:cubicBezTo>
                  <a:pt x="3384296" y="3305512"/>
                  <a:pt x="3383934" y="3305512"/>
                  <a:pt x="3383934" y="3305512"/>
                </a:cubicBezTo>
                <a:cubicBezTo>
                  <a:pt x="3383572" y="3305512"/>
                  <a:pt x="3383572" y="3305512"/>
                  <a:pt x="3383572" y="3305146"/>
                </a:cubicBezTo>
                <a:cubicBezTo>
                  <a:pt x="3383572" y="3304784"/>
                  <a:pt x="3383572" y="3304784"/>
                  <a:pt x="3383934" y="3304784"/>
                </a:cubicBezTo>
                <a:close/>
                <a:moveTo>
                  <a:pt x="3230353" y="3304422"/>
                </a:moveTo>
                <a:cubicBezTo>
                  <a:pt x="3230753" y="3304422"/>
                  <a:pt x="3231077" y="3304746"/>
                  <a:pt x="3231077" y="3305146"/>
                </a:cubicBezTo>
                <a:cubicBezTo>
                  <a:pt x="3231077" y="3305550"/>
                  <a:pt x="3230753" y="3305874"/>
                  <a:pt x="3230353" y="3305874"/>
                </a:cubicBezTo>
                <a:cubicBezTo>
                  <a:pt x="3229949" y="3305874"/>
                  <a:pt x="3229625" y="3305550"/>
                  <a:pt x="3229625" y="3305146"/>
                </a:cubicBezTo>
                <a:cubicBezTo>
                  <a:pt x="3229625" y="3304746"/>
                  <a:pt x="3229949" y="3304422"/>
                  <a:pt x="3230353" y="3304422"/>
                </a:cubicBezTo>
                <a:close/>
                <a:moveTo>
                  <a:pt x="4152947" y="3303694"/>
                </a:moveTo>
                <a:cubicBezTo>
                  <a:pt x="4153748" y="3303694"/>
                  <a:pt x="4154400" y="3304346"/>
                  <a:pt x="4154400" y="3305146"/>
                </a:cubicBezTo>
                <a:cubicBezTo>
                  <a:pt x="4154400" y="3305947"/>
                  <a:pt x="4153748" y="3306598"/>
                  <a:pt x="4152947" y="3306598"/>
                </a:cubicBezTo>
                <a:cubicBezTo>
                  <a:pt x="4152142" y="3306598"/>
                  <a:pt x="4151494" y="3305947"/>
                  <a:pt x="4151494" y="3305146"/>
                </a:cubicBezTo>
                <a:cubicBezTo>
                  <a:pt x="4151494" y="3304346"/>
                  <a:pt x="4152142" y="3303694"/>
                  <a:pt x="4152947" y="3303694"/>
                </a:cubicBezTo>
                <a:close/>
                <a:moveTo>
                  <a:pt x="4306528" y="3302970"/>
                </a:moveTo>
                <a:cubicBezTo>
                  <a:pt x="4307733" y="3302970"/>
                  <a:pt x="4308709" y="3303945"/>
                  <a:pt x="4308709" y="3305146"/>
                </a:cubicBezTo>
                <a:cubicBezTo>
                  <a:pt x="4308709" y="3306351"/>
                  <a:pt x="4307733" y="3307327"/>
                  <a:pt x="4306528" y="3307327"/>
                </a:cubicBezTo>
                <a:cubicBezTo>
                  <a:pt x="4305328" y="3307327"/>
                  <a:pt x="4304352" y="3306351"/>
                  <a:pt x="4304352" y="3305146"/>
                </a:cubicBezTo>
                <a:cubicBezTo>
                  <a:pt x="4304352" y="3303945"/>
                  <a:pt x="4305328" y="3302970"/>
                  <a:pt x="4306528" y="3302970"/>
                </a:cubicBezTo>
                <a:close/>
                <a:moveTo>
                  <a:pt x="4460480" y="3302241"/>
                </a:moveTo>
                <a:cubicBezTo>
                  <a:pt x="4462294" y="3302241"/>
                  <a:pt x="4463746" y="3303694"/>
                  <a:pt x="4463746" y="3305508"/>
                </a:cubicBezTo>
                <a:cubicBezTo>
                  <a:pt x="4463746" y="3307323"/>
                  <a:pt x="4462294" y="3308779"/>
                  <a:pt x="4460480" y="3308779"/>
                </a:cubicBezTo>
                <a:cubicBezTo>
                  <a:pt x="4458665" y="3308779"/>
                  <a:pt x="4457213" y="3307323"/>
                  <a:pt x="4457213" y="3305508"/>
                </a:cubicBezTo>
                <a:cubicBezTo>
                  <a:pt x="4457213" y="3303694"/>
                  <a:pt x="4458665" y="3302241"/>
                  <a:pt x="4460480" y="3302241"/>
                </a:cubicBezTo>
                <a:close/>
                <a:moveTo>
                  <a:pt x="4614061" y="3300789"/>
                </a:moveTo>
                <a:cubicBezTo>
                  <a:pt x="4616604" y="3300789"/>
                  <a:pt x="4618418" y="3302604"/>
                  <a:pt x="4618418" y="3305146"/>
                </a:cubicBezTo>
                <a:cubicBezTo>
                  <a:pt x="4618418" y="3307689"/>
                  <a:pt x="4616238" y="3309503"/>
                  <a:pt x="4614061" y="3309503"/>
                </a:cubicBezTo>
                <a:cubicBezTo>
                  <a:pt x="4611518" y="3309503"/>
                  <a:pt x="4609704" y="3307689"/>
                  <a:pt x="4609704" y="3305146"/>
                </a:cubicBezTo>
                <a:cubicBezTo>
                  <a:pt x="4609704" y="3302604"/>
                  <a:pt x="4611518" y="3300789"/>
                  <a:pt x="4614061" y="3300789"/>
                </a:cubicBezTo>
                <a:close/>
                <a:moveTo>
                  <a:pt x="4768012" y="3299699"/>
                </a:moveTo>
                <a:cubicBezTo>
                  <a:pt x="4771279" y="3299699"/>
                  <a:pt x="4773822" y="3302241"/>
                  <a:pt x="4773822" y="3305508"/>
                </a:cubicBezTo>
                <a:cubicBezTo>
                  <a:pt x="4773822" y="3308775"/>
                  <a:pt x="4771279" y="3311318"/>
                  <a:pt x="4768012" y="3311318"/>
                </a:cubicBezTo>
                <a:cubicBezTo>
                  <a:pt x="4764746" y="3311318"/>
                  <a:pt x="4762203" y="3308775"/>
                  <a:pt x="4762203" y="3305508"/>
                </a:cubicBezTo>
                <a:cubicBezTo>
                  <a:pt x="4762203" y="3302241"/>
                  <a:pt x="4764746" y="3299699"/>
                  <a:pt x="4768012" y="3299699"/>
                </a:cubicBezTo>
                <a:close/>
                <a:moveTo>
                  <a:pt x="4921594" y="3297885"/>
                </a:moveTo>
                <a:cubicBezTo>
                  <a:pt x="4925588" y="3297885"/>
                  <a:pt x="4928856" y="3301151"/>
                  <a:pt x="4928856" y="3305146"/>
                </a:cubicBezTo>
                <a:cubicBezTo>
                  <a:pt x="4928856" y="3309141"/>
                  <a:pt x="4925588" y="3312408"/>
                  <a:pt x="4921594" y="3312408"/>
                </a:cubicBezTo>
                <a:cubicBezTo>
                  <a:pt x="4917599" y="3312408"/>
                  <a:pt x="4914332" y="3309141"/>
                  <a:pt x="4914332" y="3305146"/>
                </a:cubicBezTo>
                <a:cubicBezTo>
                  <a:pt x="4914332" y="3301151"/>
                  <a:pt x="4917599" y="3297885"/>
                  <a:pt x="4921594" y="3297885"/>
                </a:cubicBezTo>
                <a:close/>
                <a:moveTo>
                  <a:pt x="5075541" y="3296070"/>
                </a:moveTo>
                <a:cubicBezTo>
                  <a:pt x="5080626" y="3296070"/>
                  <a:pt x="5084621" y="3300065"/>
                  <a:pt x="5084621" y="3305146"/>
                </a:cubicBezTo>
                <a:cubicBezTo>
                  <a:pt x="5084621" y="3310231"/>
                  <a:pt x="5080626" y="3314226"/>
                  <a:pt x="5075541" y="3314226"/>
                </a:cubicBezTo>
                <a:cubicBezTo>
                  <a:pt x="5070460" y="3314226"/>
                  <a:pt x="5066465" y="3310231"/>
                  <a:pt x="5066465" y="3305146"/>
                </a:cubicBezTo>
                <a:cubicBezTo>
                  <a:pt x="5066465" y="3300065"/>
                  <a:pt x="5070460" y="3296070"/>
                  <a:pt x="5075541" y="3296070"/>
                </a:cubicBezTo>
                <a:close/>
                <a:moveTo>
                  <a:pt x="5229126" y="3294980"/>
                </a:moveTo>
                <a:cubicBezTo>
                  <a:pt x="5234574" y="3294980"/>
                  <a:pt x="5239293" y="3299699"/>
                  <a:pt x="5239293" y="3305146"/>
                </a:cubicBezTo>
                <a:cubicBezTo>
                  <a:pt x="5239293" y="3310593"/>
                  <a:pt x="5234936" y="3315312"/>
                  <a:pt x="5229126" y="3315312"/>
                </a:cubicBezTo>
                <a:cubicBezTo>
                  <a:pt x="5223679" y="3315312"/>
                  <a:pt x="5218960" y="3310593"/>
                  <a:pt x="5218960" y="3305146"/>
                </a:cubicBezTo>
                <a:cubicBezTo>
                  <a:pt x="5218960" y="3299699"/>
                  <a:pt x="5223679" y="3294980"/>
                  <a:pt x="5229126" y="3294980"/>
                </a:cubicBezTo>
                <a:close/>
                <a:moveTo>
                  <a:pt x="5383074" y="3293165"/>
                </a:moveTo>
                <a:cubicBezTo>
                  <a:pt x="5389612" y="3293165"/>
                  <a:pt x="5395058" y="3298613"/>
                  <a:pt x="5395058" y="3305146"/>
                </a:cubicBezTo>
                <a:cubicBezTo>
                  <a:pt x="5395058" y="3311684"/>
                  <a:pt x="5389612" y="3317131"/>
                  <a:pt x="5383074" y="3317131"/>
                </a:cubicBezTo>
                <a:cubicBezTo>
                  <a:pt x="5376540" y="3317131"/>
                  <a:pt x="5371093" y="3311684"/>
                  <a:pt x="5371093" y="3305146"/>
                </a:cubicBezTo>
                <a:cubicBezTo>
                  <a:pt x="5371093" y="3298613"/>
                  <a:pt x="5376540" y="3293165"/>
                  <a:pt x="5383074" y="3293165"/>
                </a:cubicBezTo>
                <a:close/>
                <a:moveTo>
                  <a:pt x="5537021" y="3291351"/>
                </a:moveTo>
                <a:cubicBezTo>
                  <a:pt x="5544641" y="3291351"/>
                  <a:pt x="5550820" y="3297530"/>
                  <a:pt x="5550820" y="3305146"/>
                </a:cubicBezTo>
                <a:cubicBezTo>
                  <a:pt x="5550820" y="3312766"/>
                  <a:pt x="5544645" y="3318945"/>
                  <a:pt x="5537021" y="3318945"/>
                </a:cubicBezTo>
                <a:cubicBezTo>
                  <a:pt x="5529405" y="3318945"/>
                  <a:pt x="5523226" y="3312766"/>
                  <a:pt x="5523226" y="3305146"/>
                </a:cubicBezTo>
                <a:cubicBezTo>
                  <a:pt x="5523226" y="3297526"/>
                  <a:pt x="5529402" y="3291351"/>
                  <a:pt x="5537021" y="3291351"/>
                </a:cubicBezTo>
                <a:close/>
                <a:moveTo>
                  <a:pt x="5690606" y="3289899"/>
                </a:moveTo>
                <a:cubicBezTo>
                  <a:pt x="5699027" y="3289899"/>
                  <a:pt x="5705854" y="3296726"/>
                  <a:pt x="5705854" y="3305146"/>
                </a:cubicBezTo>
                <a:cubicBezTo>
                  <a:pt x="5705854" y="3313570"/>
                  <a:pt x="5699027" y="3320398"/>
                  <a:pt x="5690606" y="3320398"/>
                </a:cubicBezTo>
                <a:cubicBezTo>
                  <a:pt x="5682182" y="3320398"/>
                  <a:pt x="5675355" y="3313570"/>
                  <a:pt x="5675355" y="3305146"/>
                </a:cubicBezTo>
                <a:cubicBezTo>
                  <a:pt x="5675355" y="3296726"/>
                  <a:pt x="5682182" y="3289899"/>
                  <a:pt x="5690606" y="3289899"/>
                </a:cubicBezTo>
                <a:close/>
                <a:moveTo>
                  <a:pt x="5844554" y="3288084"/>
                </a:moveTo>
                <a:cubicBezTo>
                  <a:pt x="5853977" y="3288084"/>
                  <a:pt x="5861616" y="3295723"/>
                  <a:pt x="5861616" y="3305150"/>
                </a:cubicBezTo>
                <a:cubicBezTo>
                  <a:pt x="5861616" y="3314573"/>
                  <a:pt x="5853977" y="3322216"/>
                  <a:pt x="5844554" y="3322216"/>
                </a:cubicBezTo>
                <a:cubicBezTo>
                  <a:pt x="5835127" y="3322216"/>
                  <a:pt x="5827488" y="3314573"/>
                  <a:pt x="5827488" y="3305150"/>
                </a:cubicBezTo>
                <a:cubicBezTo>
                  <a:pt x="5827488" y="3295723"/>
                  <a:pt x="5835131" y="3288084"/>
                  <a:pt x="5844554" y="3288084"/>
                </a:cubicBezTo>
                <a:close/>
                <a:moveTo>
                  <a:pt x="5998136" y="3285904"/>
                </a:moveTo>
                <a:cubicBezTo>
                  <a:pt x="6008763" y="3285904"/>
                  <a:pt x="6017382" y="3294519"/>
                  <a:pt x="6017382" y="3305146"/>
                </a:cubicBezTo>
                <a:cubicBezTo>
                  <a:pt x="6017382" y="3315774"/>
                  <a:pt x="6008763" y="3324389"/>
                  <a:pt x="5998136" y="3324389"/>
                </a:cubicBezTo>
                <a:cubicBezTo>
                  <a:pt x="5987508" y="3324389"/>
                  <a:pt x="5978893" y="3315774"/>
                  <a:pt x="5978893" y="3305146"/>
                </a:cubicBezTo>
                <a:cubicBezTo>
                  <a:pt x="5978893" y="3294519"/>
                  <a:pt x="5987508" y="3285904"/>
                  <a:pt x="5998136" y="3285904"/>
                </a:cubicBezTo>
                <a:close/>
                <a:moveTo>
                  <a:pt x="6152086" y="3283727"/>
                </a:moveTo>
                <a:cubicBezTo>
                  <a:pt x="6163915" y="3283727"/>
                  <a:pt x="6173510" y="3293318"/>
                  <a:pt x="6173510" y="3305150"/>
                </a:cubicBezTo>
                <a:cubicBezTo>
                  <a:pt x="6173510" y="3316979"/>
                  <a:pt x="6163915" y="3326569"/>
                  <a:pt x="6152086" y="3326569"/>
                </a:cubicBezTo>
                <a:cubicBezTo>
                  <a:pt x="6140254" y="3326569"/>
                  <a:pt x="6130664" y="3316979"/>
                  <a:pt x="6130664" y="3305150"/>
                </a:cubicBezTo>
                <a:cubicBezTo>
                  <a:pt x="6130664" y="3293318"/>
                  <a:pt x="6140254" y="3283727"/>
                  <a:pt x="6152086" y="3283727"/>
                </a:cubicBezTo>
                <a:close/>
                <a:moveTo>
                  <a:pt x="6305672" y="3282275"/>
                </a:moveTo>
                <a:cubicBezTo>
                  <a:pt x="6318304" y="3282275"/>
                  <a:pt x="6328547" y="3292517"/>
                  <a:pt x="6328547" y="3305150"/>
                </a:cubicBezTo>
                <a:cubicBezTo>
                  <a:pt x="6328547" y="3317783"/>
                  <a:pt x="6318304" y="3328021"/>
                  <a:pt x="6305672" y="3328021"/>
                </a:cubicBezTo>
                <a:cubicBezTo>
                  <a:pt x="6293039" y="3328021"/>
                  <a:pt x="6282796" y="3317783"/>
                  <a:pt x="6282796" y="3305150"/>
                </a:cubicBezTo>
                <a:cubicBezTo>
                  <a:pt x="6282796" y="3292517"/>
                  <a:pt x="6293039" y="3282275"/>
                  <a:pt x="6305672" y="3282275"/>
                </a:cubicBezTo>
                <a:close/>
                <a:moveTo>
                  <a:pt x="6459616" y="3280094"/>
                </a:moveTo>
                <a:cubicBezTo>
                  <a:pt x="6473452" y="3280094"/>
                  <a:pt x="6484671" y="3291309"/>
                  <a:pt x="6484671" y="3305146"/>
                </a:cubicBezTo>
                <a:cubicBezTo>
                  <a:pt x="6484671" y="3318984"/>
                  <a:pt x="6473452" y="3330202"/>
                  <a:pt x="6459616" y="3330202"/>
                </a:cubicBezTo>
                <a:cubicBezTo>
                  <a:pt x="6445778" y="3330202"/>
                  <a:pt x="6434564" y="3318984"/>
                  <a:pt x="6434564" y="3305146"/>
                </a:cubicBezTo>
                <a:cubicBezTo>
                  <a:pt x="6434564" y="3291313"/>
                  <a:pt x="6445778" y="3280094"/>
                  <a:pt x="6459616" y="3280094"/>
                </a:cubicBezTo>
                <a:close/>
                <a:moveTo>
                  <a:pt x="6613200" y="3277914"/>
                </a:moveTo>
                <a:cubicBezTo>
                  <a:pt x="6628086" y="3277914"/>
                  <a:pt x="6640433" y="3290261"/>
                  <a:pt x="6640433" y="3305146"/>
                </a:cubicBezTo>
                <a:cubicBezTo>
                  <a:pt x="6640433" y="3320032"/>
                  <a:pt x="6628448" y="3332378"/>
                  <a:pt x="6613200" y="3332378"/>
                </a:cubicBezTo>
                <a:cubicBezTo>
                  <a:pt x="6598315" y="3332378"/>
                  <a:pt x="6585968" y="3320032"/>
                  <a:pt x="6585968" y="3305146"/>
                </a:cubicBezTo>
                <a:cubicBezTo>
                  <a:pt x="6585968" y="3290261"/>
                  <a:pt x="6598315" y="3277914"/>
                  <a:pt x="6613200" y="3277914"/>
                </a:cubicBezTo>
                <a:close/>
                <a:moveTo>
                  <a:pt x="3845414" y="3151199"/>
                </a:moveTo>
                <a:cubicBezTo>
                  <a:pt x="3845776" y="3151199"/>
                  <a:pt x="3845776" y="3151199"/>
                  <a:pt x="3845776" y="3151561"/>
                </a:cubicBezTo>
                <a:cubicBezTo>
                  <a:pt x="3845776" y="3151923"/>
                  <a:pt x="3845414" y="3151923"/>
                  <a:pt x="3845414" y="3151923"/>
                </a:cubicBezTo>
                <a:cubicBezTo>
                  <a:pt x="3845052" y="3151923"/>
                  <a:pt x="3845052" y="3151923"/>
                  <a:pt x="3845052" y="3151561"/>
                </a:cubicBezTo>
                <a:cubicBezTo>
                  <a:pt x="3845052" y="3151199"/>
                  <a:pt x="3845052" y="3151199"/>
                  <a:pt x="3845414" y="3151199"/>
                </a:cubicBezTo>
                <a:close/>
                <a:moveTo>
                  <a:pt x="3383934" y="3151199"/>
                </a:moveTo>
                <a:cubicBezTo>
                  <a:pt x="3384296" y="3151199"/>
                  <a:pt x="3384296" y="3151199"/>
                  <a:pt x="3384296" y="3151561"/>
                </a:cubicBezTo>
                <a:cubicBezTo>
                  <a:pt x="3384296" y="3151923"/>
                  <a:pt x="3383934" y="3151923"/>
                  <a:pt x="3383934" y="3151923"/>
                </a:cubicBezTo>
                <a:cubicBezTo>
                  <a:pt x="3383572" y="3151923"/>
                  <a:pt x="3383572" y="3151923"/>
                  <a:pt x="3383572" y="3151561"/>
                </a:cubicBezTo>
                <a:cubicBezTo>
                  <a:pt x="3383572" y="3151199"/>
                  <a:pt x="3383572" y="3151199"/>
                  <a:pt x="3383934" y="3151199"/>
                </a:cubicBezTo>
                <a:close/>
                <a:moveTo>
                  <a:pt x="3230349" y="3151199"/>
                </a:moveTo>
                <a:cubicBezTo>
                  <a:pt x="3230715" y="3151199"/>
                  <a:pt x="3230715" y="3151199"/>
                  <a:pt x="3230715" y="3151561"/>
                </a:cubicBezTo>
                <a:cubicBezTo>
                  <a:pt x="3230715" y="3151923"/>
                  <a:pt x="3230349" y="3151923"/>
                  <a:pt x="3230349" y="3151923"/>
                </a:cubicBezTo>
                <a:cubicBezTo>
                  <a:pt x="3229987" y="3151923"/>
                  <a:pt x="3229987" y="3151923"/>
                  <a:pt x="3229987" y="3151561"/>
                </a:cubicBezTo>
                <a:cubicBezTo>
                  <a:pt x="3229987" y="3151199"/>
                  <a:pt x="3229987" y="3151199"/>
                  <a:pt x="3230349" y="3151199"/>
                </a:cubicBezTo>
                <a:close/>
                <a:moveTo>
                  <a:pt x="3076406" y="3150837"/>
                </a:moveTo>
                <a:cubicBezTo>
                  <a:pt x="3076806" y="3150837"/>
                  <a:pt x="3077130" y="3151161"/>
                  <a:pt x="3077130" y="3151565"/>
                </a:cubicBezTo>
                <a:cubicBezTo>
                  <a:pt x="3077130" y="3151965"/>
                  <a:pt x="3076806" y="3152289"/>
                  <a:pt x="3076406" y="3152289"/>
                </a:cubicBezTo>
                <a:cubicBezTo>
                  <a:pt x="3076001" y="3152289"/>
                  <a:pt x="3075677" y="3151965"/>
                  <a:pt x="3075677" y="3151565"/>
                </a:cubicBezTo>
                <a:cubicBezTo>
                  <a:pt x="3075677" y="3151161"/>
                  <a:pt x="3076001" y="3150837"/>
                  <a:pt x="3076406" y="3150837"/>
                </a:cubicBezTo>
                <a:close/>
                <a:moveTo>
                  <a:pt x="3999000" y="3150112"/>
                </a:moveTo>
                <a:cubicBezTo>
                  <a:pt x="3999800" y="3150112"/>
                  <a:pt x="4000452" y="3150764"/>
                  <a:pt x="4000452" y="3151565"/>
                </a:cubicBezTo>
                <a:cubicBezTo>
                  <a:pt x="4000452" y="3152365"/>
                  <a:pt x="3999800" y="3153017"/>
                  <a:pt x="3999000" y="3153017"/>
                </a:cubicBezTo>
                <a:cubicBezTo>
                  <a:pt x="3998195" y="3153017"/>
                  <a:pt x="3997547" y="3152365"/>
                  <a:pt x="3997547" y="3151565"/>
                </a:cubicBezTo>
                <a:cubicBezTo>
                  <a:pt x="3997547" y="3150764"/>
                  <a:pt x="3998195" y="3150112"/>
                  <a:pt x="3999000" y="3150112"/>
                </a:cubicBezTo>
                <a:close/>
                <a:moveTo>
                  <a:pt x="4152951" y="3149384"/>
                </a:moveTo>
                <a:cubicBezTo>
                  <a:pt x="4154152" y="3149384"/>
                  <a:pt x="4155128" y="3150360"/>
                  <a:pt x="4155128" y="3151565"/>
                </a:cubicBezTo>
                <a:cubicBezTo>
                  <a:pt x="4155128" y="3152766"/>
                  <a:pt x="4154152" y="3153741"/>
                  <a:pt x="4152951" y="3153741"/>
                </a:cubicBezTo>
                <a:cubicBezTo>
                  <a:pt x="4151746" y="3153741"/>
                  <a:pt x="4150770" y="3152766"/>
                  <a:pt x="4150770" y="3151565"/>
                </a:cubicBezTo>
                <a:cubicBezTo>
                  <a:pt x="4150770" y="3150360"/>
                  <a:pt x="4151746" y="3149384"/>
                  <a:pt x="4152951" y="3149384"/>
                </a:cubicBezTo>
                <a:close/>
                <a:moveTo>
                  <a:pt x="4306528" y="3148294"/>
                </a:moveTo>
                <a:cubicBezTo>
                  <a:pt x="4308346" y="3148294"/>
                  <a:pt x="4309796" y="3149746"/>
                  <a:pt x="4309796" y="3151561"/>
                </a:cubicBezTo>
                <a:cubicBezTo>
                  <a:pt x="4309796" y="3153375"/>
                  <a:pt x="4308346" y="3154831"/>
                  <a:pt x="4306528" y="3154831"/>
                </a:cubicBezTo>
                <a:cubicBezTo>
                  <a:pt x="4304714" y="3154831"/>
                  <a:pt x="4303262" y="3153375"/>
                  <a:pt x="4303262" y="3151561"/>
                </a:cubicBezTo>
                <a:cubicBezTo>
                  <a:pt x="4303262" y="3149746"/>
                  <a:pt x="4304714" y="3148294"/>
                  <a:pt x="4306528" y="3148294"/>
                </a:cubicBezTo>
                <a:close/>
                <a:moveTo>
                  <a:pt x="4460480" y="3146842"/>
                </a:moveTo>
                <a:cubicBezTo>
                  <a:pt x="4463018" y="3146842"/>
                  <a:pt x="4464836" y="3148656"/>
                  <a:pt x="4464836" y="3151199"/>
                </a:cubicBezTo>
                <a:cubicBezTo>
                  <a:pt x="4464836" y="3153741"/>
                  <a:pt x="4462656" y="3155556"/>
                  <a:pt x="4460480" y="3155556"/>
                </a:cubicBezTo>
                <a:cubicBezTo>
                  <a:pt x="4457937" y="3155556"/>
                  <a:pt x="4456122" y="3153741"/>
                  <a:pt x="4456122" y="3151199"/>
                </a:cubicBezTo>
                <a:cubicBezTo>
                  <a:pt x="4456122" y="3148656"/>
                  <a:pt x="4457937" y="3146842"/>
                  <a:pt x="4460480" y="3146842"/>
                </a:cubicBezTo>
                <a:close/>
                <a:moveTo>
                  <a:pt x="4614061" y="3145752"/>
                </a:moveTo>
                <a:cubicBezTo>
                  <a:pt x="4617328" y="3145752"/>
                  <a:pt x="4619870" y="3148294"/>
                  <a:pt x="4619870" y="3151561"/>
                </a:cubicBezTo>
                <a:cubicBezTo>
                  <a:pt x="4619870" y="3154828"/>
                  <a:pt x="4617328" y="3157370"/>
                  <a:pt x="4614061" y="3157370"/>
                </a:cubicBezTo>
                <a:cubicBezTo>
                  <a:pt x="4610794" y="3157370"/>
                  <a:pt x="4608252" y="3154828"/>
                  <a:pt x="4608252" y="3151561"/>
                </a:cubicBezTo>
                <a:cubicBezTo>
                  <a:pt x="4608252" y="3148294"/>
                  <a:pt x="4610794" y="3145752"/>
                  <a:pt x="4614061" y="3145752"/>
                </a:cubicBezTo>
                <a:close/>
                <a:moveTo>
                  <a:pt x="4768008" y="3144299"/>
                </a:moveTo>
                <a:cubicBezTo>
                  <a:pt x="4772004" y="3144299"/>
                  <a:pt x="4775270" y="3147566"/>
                  <a:pt x="4775270" y="3151561"/>
                </a:cubicBezTo>
                <a:cubicBezTo>
                  <a:pt x="4775270" y="3155556"/>
                  <a:pt x="4772004" y="3158823"/>
                  <a:pt x="4768008" y="3158823"/>
                </a:cubicBezTo>
                <a:cubicBezTo>
                  <a:pt x="4764014" y="3158823"/>
                  <a:pt x="4760747" y="3155556"/>
                  <a:pt x="4760747" y="3151561"/>
                </a:cubicBezTo>
                <a:cubicBezTo>
                  <a:pt x="4760747" y="3147566"/>
                  <a:pt x="4764014" y="3144299"/>
                  <a:pt x="4768008" y="3144299"/>
                </a:cubicBezTo>
                <a:close/>
                <a:moveTo>
                  <a:pt x="4921594" y="3142123"/>
                </a:moveTo>
                <a:cubicBezTo>
                  <a:pt x="4926679" y="3142123"/>
                  <a:pt x="4930674" y="3146118"/>
                  <a:pt x="4930674" y="3151199"/>
                </a:cubicBezTo>
                <a:cubicBezTo>
                  <a:pt x="4930674" y="3156284"/>
                  <a:pt x="4926679" y="3160279"/>
                  <a:pt x="4921594" y="3160279"/>
                </a:cubicBezTo>
                <a:cubicBezTo>
                  <a:pt x="4916512" y="3160279"/>
                  <a:pt x="4912518" y="3156284"/>
                  <a:pt x="4912518" y="3151199"/>
                </a:cubicBezTo>
                <a:cubicBezTo>
                  <a:pt x="4912518" y="3146118"/>
                  <a:pt x="4916512" y="3142123"/>
                  <a:pt x="4921594" y="3142123"/>
                </a:cubicBezTo>
                <a:close/>
                <a:moveTo>
                  <a:pt x="5075541" y="3141395"/>
                </a:moveTo>
                <a:cubicBezTo>
                  <a:pt x="5080988" y="3141395"/>
                  <a:pt x="5085708" y="3146114"/>
                  <a:pt x="5085708" y="3151561"/>
                </a:cubicBezTo>
                <a:cubicBezTo>
                  <a:pt x="5085708" y="3157008"/>
                  <a:pt x="5081350" y="3161727"/>
                  <a:pt x="5075541" y="3161727"/>
                </a:cubicBezTo>
                <a:cubicBezTo>
                  <a:pt x="5070094" y="3161727"/>
                  <a:pt x="5065375" y="3157008"/>
                  <a:pt x="5065375" y="3151561"/>
                </a:cubicBezTo>
                <a:cubicBezTo>
                  <a:pt x="5065375" y="3146114"/>
                  <a:pt x="5070094" y="3141395"/>
                  <a:pt x="5075541" y="3141395"/>
                </a:cubicBezTo>
                <a:close/>
                <a:moveTo>
                  <a:pt x="5229126" y="3139580"/>
                </a:moveTo>
                <a:cubicBezTo>
                  <a:pt x="5235664" y="3139580"/>
                  <a:pt x="5241111" y="3145028"/>
                  <a:pt x="5241111" y="3151561"/>
                </a:cubicBezTo>
                <a:cubicBezTo>
                  <a:pt x="5241111" y="3158099"/>
                  <a:pt x="5235664" y="3163542"/>
                  <a:pt x="5229126" y="3163542"/>
                </a:cubicBezTo>
                <a:cubicBezTo>
                  <a:pt x="5222593" y="3163542"/>
                  <a:pt x="5217146" y="3158099"/>
                  <a:pt x="5217146" y="3151561"/>
                </a:cubicBezTo>
                <a:cubicBezTo>
                  <a:pt x="5217146" y="3145028"/>
                  <a:pt x="5222593" y="3139580"/>
                  <a:pt x="5229126" y="3139580"/>
                </a:cubicBezTo>
                <a:close/>
                <a:moveTo>
                  <a:pt x="5383078" y="3137403"/>
                </a:moveTo>
                <a:cubicBezTo>
                  <a:pt x="5390702" y="3137403"/>
                  <a:pt x="5396873" y="3143575"/>
                  <a:pt x="5396873" y="3151199"/>
                </a:cubicBezTo>
                <a:cubicBezTo>
                  <a:pt x="5396873" y="3158827"/>
                  <a:pt x="5390702" y="3164998"/>
                  <a:pt x="5383078" y="3164998"/>
                </a:cubicBezTo>
                <a:cubicBezTo>
                  <a:pt x="5375450" y="3164998"/>
                  <a:pt x="5369278" y="3158827"/>
                  <a:pt x="5369278" y="3151199"/>
                </a:cubicBezTo>
                <a:cubicBezTo>
                  <a:pt x="5369278" y="3143575"/>
                  <a:pt x="5375450" y="3137403"/>
                  <a:pt x="5383078" y="3137403"/>
                </a:cubicBezTo>
                <a:close/>
                <a:moveTo>
                  <a:pt x="5536659" y="3136313"/>
                </a:moveTo>
                <a:cubicBezTo>
                  <a:pt x="5545080" y="3136313"/>
                  <a:pt x="5551906" y="3143140"/>
                  <a:pt x="5551906" y="3151565"/>
                </a:cubicBezTo>
                <a:cubicBezTo>
                  <a:pt x="5551906" y="3159985"/>
                  <a:pt x="5545080" y="3166812"/>
                  <a:pt x="5536659" y="3166812"/>
                </a:cubicBezTo>
                <a:cubicBezTo>
                  <a:pt x="5528238" y="3166812"/>
                  <a:pt x="5521408" y="3159985"/>
                  <a:pt x="5521408" y="3151565"/>
                </a:cubicBezTo>
                <a:cubicBezTo>
                  <a:pt x="5521408" y="3143140"/>
                  <a:pt x="5528238" y="3136313"/>
                  <a:pt x="5536659" y="3136313"/>
                </a:cubicBezTo>
                <a:close/>
                <a:moveTo>
                  <a:pt x="5690606" y="3134499"/>
                </a:moveTo>
                <a:cubicBezTo>
                  <a:pt x="5700048" y="3134499"/>
                  <a:pt x="5707672" y="3142123"/>
                  <a:pt x="5707672" y="3151565"/>
                </a:cubicBezTo>
                <a:cubicBezTo>
                  <a:pt x="5707672" y="3161003"/>
                  <a:pt x="5700048" y="3168627"/>
                  <a:pt x="5690606" y="3168627"/>
                </a:cubicBezTo>
                <a:cubicBezTo>
                  <a:pt x="5681164" y="3168627"/>
                  <a:pt x="5673540" y="3161003"/>
                  <a:pt x="5673540" y="3151565"/>
                </a:cubicBezTo>
                <a:cubicBezTo>
                  <a:pt x="5673540" y="3142123"/>
                  <a:pt x="5681164" y="3134499"/>
                  <a:pt x="5690606" y="3134499"/>
                </a:cubicBezTo>
                <a:close/>
                <a:moveTo>
                  <a:pt x="5844554" y="3132318"/>
                </a:moveTo>
                <a:cubicBezTo>
                  <a:pt x="5855182" y="3132318"/>
                  <a:pt x="5863796" y="3140933"/>
                  <a:pt x="5863796" y="3151561"/>
                </a:cubicBezTo>
                <a:cubicBezTo>
                  <a:pt x="5863796" y="3162188"/>
                  <a:pt x="5855182" y="3170807"/>
                  <a:pt x="5844554" y="3170807"/>
                </a:cubicBezTo>
                <a:cubicBezTo>
                  <a:pt x="5833926" y="3170807"/>
                  <a:pt x="5825308" y="3162188"/>
                  <a:pt x="5825308" y="3151561"/>
                </a:cubicBezTo>
                <a:cubicBezTo>
                  <a:pt x="5825308" y="3140933"/>
                  <a:pt x="5833926" y="3132318"/>
                  <a:pt x="5844554" y="3132318"/>
                </a:cubicBezTo>
                <a:close/>
                <a:moveTo>
                  <a:pt x="5998139" y="3130142"/>
                </a:moveTo>
                <a:cubicBezTo>
                  <a:pt x="6009968" y="3130142"/>
                  <a:pt x="6019562" y="3139733"/>
                  <a:pt x="6019562" y="3151565"/>
                </a:cubicBezTo>
                <a:cubicBezTo>
                  <a:pt x="6019562" y="3163397"/>
                  <a:pt x="6009968" y="3172984"/>
                  <a:pt x="5998139" y="3172984"/>
                </a:cubicBezTo>
                <a:cubicBezTo>
                  <a:pt x="5986307" y="3172984"/>
                  <a:pt x="5976716" y="3163393"/>
                  <a:pt x="5976716" y="3151565"/>
                </a:cubicBezTo>
                <a:cubicBezTo>
                  <a:pt x="5976716" y="3139733"/>
                  <a:pt x="5986307" y="3130142"/>
                  <a:pt x="5998139" y="3130142"/>
                </a:cubicBezTo>
                <a:close/>
                <a:moveTo>
                  <a:pt x="6152086" y="3128689"/>
                </a:moveTo>
                <a:cubicBezTo>
                  <a:pt x="6164719" y="3128689"/>
                  <a:pt x="6174958" y="3138932"/>
                  <a:pt x="6174958" y="3151565"/>
                </a:cubicBezTo>
                <a:cubicBezTo>
                  <a:pt x="6174958" y="3164197"/>
                  <a:pt x="6164719" y="3174440"/>
                  <a:pt x="6152086" y="3174440"/>
                </a:cubicBezTo>
                <a:cubicBezTo>
                  <a:pt x="6139450" y="3174440"/>
                  <a:pt x="6129212" y="3164197"/>
                  <a:pt x="6129212" y="3151565"/>
                </a:cubicBezTo>
                <a:cubicBezTo>
                  <a:pt x="6129212" y="3138932"/>
                  <a:pt x="6139450" y="3128689"/>
                  <a:pt x="6152086" y="3128689"/>
                </a:cubicBezTo>
                <a:close/>
                <a:moveTo>
                  <a:pt x="6305668" y="3126509"/>
                </a:moveTo>
                <a:cubicBezTo>
                  <a:pt x="6319505" y="3126509"/>
                  <a:pt x="6330724" y="3137724"/>
                  <a:pt x="6330724" y="3151561"/>
                </a:cubicBezTo>
                <a:cubicBezTo>
                  <a:pt x="6330724" y="3165398"/>
                  <a:pt x="6319505" y="3176616"/>
                  <a:pt x="6305668" y="3176616"/>
                </a:cubicBezTo>
                <a:cubicBezTo>
                  <a:pt x="6291831" y="3176616"/>
                  <a:pt x="6280616" y="3165398"/>
                  <a:pt x="6280616" y="3151561"/>
                </a:cubicBezTo>
                <a:cubicBezTo>
                  <a:pt x="6280616" y="3137728"/>
                  <a:pt x="6291831" y="3126509"/>
                  <a:pt x="6305668" y="3126509"/>
                </a:cubicBezTo>
                <a:close/>
                <a:moveTo>
                  <a:pt x="6459619" y="3124332"/>
                </a:moveTo>
                <a:cubicBezTo>
                  <a:pt x="6474657" y="3124332"/>
                  <a:pt x="6486852" y="3136523"/>
                  <a:pt x="6486852" y="3151565"/>
                </a:cubicBezTo>
                <a:cubicBezTo>
                  <a:pt x="6486852" y="3166603"/>
                  <a:pt x="6474657" y="3178797"/>
                  <a:pt x="6459619" y="3178797"/>
                </a:cubicBezTo>
                <a:cubicBezTo>
                  <a:pt x="6444582" y="3178797"/>
                  <a:pt x="6432387" y="3166603"/>
                  <a:pt x="6432387" y="3151565"/>
                </a:cubicBezTo>
                <a:cubicBezTo>
                  <a:pt x="6432387" y="3136523"/>
                  <a:pt x="6444582" y="3124332"/>
                  <a:pt x="6459619" y="3124332"/>
                </a:cubicBezTo>
                <a:close/>
                <a:moveTo>
                  <a:pt x="6613197" y="3121790"/>
                </a:moveTo>
                <a:cubicBezTo>
                  <a:pt x="6629642" y="3121790"/>
                  <a:pt x="6642972" y="3135120"/>
                  <a:pt x="6642972" y="3151565"/>
                </a:cubicBezTo>
                <a:cubicBezTo>
                  <a:pt x="6642972" y="3168005"/>
                  <a:pt x="6629642" y="3181336"/>
                  <a:pt x="6613197" y="3181336"/>
                </a:cubicBezTo>
                <a:cubicBezTo>
                  <a:pt x="6596756" y="3181336"/>
                  <a:pt x="6583426" y="3168005"/>
                  <a:pt x="6583426" y="3151565"/>
                </a:cubicBezTo>
                <a:cubicBezTo>
                  <a:pt x="6583426" y="3135120"/>
                  <a:pt x="6596756" y="3121790"/>
                  <a:pt x="6613197" y="3121790"/>
                </a:cubicBezTo>
                <a:close/>
                <a:moveTo>
                  <a:pt x="3691467" y="2997252"/>
                </a:moveTo>
                <a:cubicBezTo>
                  <a:pt x="3691669" y="2997252"/>
                  <a:pt x="3691829" y="2997415"/>
                  <a:pt x="3691829" y="2997613"/>
                </a:cubicBezTo>
                <a:cubicBezTo>
                  <a:pt x="3691829" y="2997816"/>
                  <a:pt x="3691669" y="2997976"/>
                  <a:pt x="3691467" y="2997976"/>
                </a:cubicBezTo>
                <a:cubicBezTo>
                  <a:pt x="3691269" y="2997976"/>
                  <a:pt x="3691105" y="2997816"/>
                  <a:pt x="3691105" y="2997613"/>
                </a:cubicBezTo>
                <a:cubicBezTo>
                  <a:pt x="3691105" y="2997415"/>
                  <a:pt x="3691269" y="2997252"/>
                  <a:pt x="3691467" y="2997252"/>
                </a:cubicBezTo>
                <a:close/>
                <a:moveTo>
                  <a:pt x="3230349" y="2997252"/>
                </a:moveTo>
                <a:cubicBezTo>
                  <a:pt x="3230715" y="2997252"/>
                  <a:pt x="3230715" y="2997252"/>
                  <a:pt x="3230715" y="2997613"/>
                </a:cubicBezTo>
                <a:cubicBezTo>
                  <a:pt x="3230715" y="2997976"/>
                  <a:pt x="3230349" y="2997976"/>
                  <a:pt x="3230349" y="2997976"/>
                </a:cubicBezTo>
                <a:cubicBezTo>
                  <a:pt x="3229987" y="2997976"/>
                  <a:pt x="3229987" y="2997976"/>
                  <a:pt x="3229987" y="2997613"/>
                </a:cubicBezTo>
                <a:cubicBezTo>
                  <a:pt x="3229987" y="2997252"/>
                  <a:pt x="3229987" y="2997252"/>
                  <a:pt x="3230349" y="2997252"/>
                </a:cubicBezTo>
                <a:close/>
                <a:moveTo>
                  <a:pt x="3076406" y="2997252"/>
                </a:moveTo>
                <a:cubicBezTo>
                  <a:pt x="3076768" y="2997252"/>
                  <a:pt x="3076768" y="2997252"/>
                  <a:pt x="3076768" y="2997613"/>
                </a:cubicBezTo>
                <a:cubicBezTo>
                  <a:pt x="3076768" y="2997976"/>
                  <a:pt x="3076406" y="2997976"/>
                  <a:pt x="3076406" y="2997976"/>
                </a:cubicBezTo>
                <a:cubicBezTo>
                  <a:pt x="3076043" y="2997976"/>
                  <a:pt x="3076043" y="2997976"/>
                  <a:pt x="3076043" y="2997613"/>
                </a:cubicBezTo>
                <a:cubicBezTo>
                  <a:pt x="3076043" y="2997252"/>
                  <a:pt x="3076043" y="2997252"/>
                  <a:pt x="3076406" y="2997252"/>
                </a:cubicBezTo>
                <a:close/>
                <a:moveTo>
                  <a:pt x="2922824" y="2996889"/>
                </a:moveTo>
                <a:cubicBezTo>
                  <a:pt x="2923224" y="2996889"/>
                  <a:pt x="2923548" y="2997213"/>
                  <a:pt x="2923548" y="2997613"/>
                </a:cubicBezTo>
                <a:cubicBezTo>
                  <a:pt x="2923548" y="2998018"/>
                  <a:pt x="2923224" y="2998342"/>
                  <a:pt x="2922824" y="2998342"/>
                </a:cubicBezTo>
                <a:cubicBezTo>
                  <a:pt x="2922420" y="2998342"/>
                  <a:pt x="2922096" y="2998018"/>
                  <a:pt x="2922096" y="2997613"/>
                </a:cubicBezTo>
                <a:cubicBezTo>
                  <a:pt x="2922096" y="2997213"/>
                  <a:pt x="2922420" y="2996889"/>
                  <a:pt x="2922824" y="2996889"/>
                </a:cubicBezTo>
                <a:close/>
                <a:moveTo>
                  <a:pt x="3845414" y="2996165"/>
                </a:moveTo>
                <a:cubicBezTo>
                  <a:pt x="3846215" y="2996165"/>
                  <a:pt x="3846867" y="2996817"/>
                  <a:pt x="3846867" y="2997617"/>
                </a:cubicBezTo>
                <a:cubicBezTo>
                  <a:pt x="3846867" y="2998418"/>
                  <a:pt x="3846215" y="2999070"/>
                  <a:pt x="3845414" y="2999070"/>
                </a:cubicBezTo>
                <a:cubicBezTo>
                  <a:pt x="3844610" y="2999070"/>
                  <a:pt x="3843962" y="2998418"/>
                  <a:pt x="3843962" y="2997617"/>
                </a:cubicBezTo>
                <a:cubicBezTo>
                  <a:pt x="3843962" y="2996817"/>
                  <a:pt x="3844610" y="2996165"/>
                  <a:pt x="3845414" y="2996165"/>
                </a:cubicBezTo>
                <a:close/>
                <a:moveTo>
                  <a:pt x="3999000" y="2995437"/>
                </a:moveTo>
                <a:cubicBezTo>
                  <a:pt x="4000204" y="2995437"/>
                  <a:pt x="4001180" y="2996413"/>
                  <a:pt x="4001180" y="2997613"/>
                </a:cubicBezTo>
                <a:cubicBezTo>
                  <a:pt x="4001180" y="2998818"/>
                  <a:pt x="4000204" y="2999794"/>
                  <a:pt x="3999000" y="2999794"/>
                </a:cubicBezTo>
                <a:cubicBezTo>
                  <a:pt x="3997799" y="2999794"/>
                  <a:pt x="3996823" y="2998818"/>
                  <a:pt x="3996823" y="2997613"/>
                </a:cubicBezTo>
                <a:cubicBezTo>
                  <a:pt x="3996823" y="2996413"/>
                  <a:pt x="3997799" y="2995437"/>
                  <a:pt x="3999000" y="2995437"/>
                </a:cubicBezTo>
                <a:close/>
                <a:moveTo>
                  <a:pt x="4152947" y="2994713"/>
                </a:moveTo>
                <a:cubicBezTo>
                  <a:pt x="4154762" y="2994713"/>
                  <a:pt x="4156214" y="2996165"/>
                  <a:pt x="4156214" y="2997979"/>
                </a:cubicBezTo>
                <a:cubicBezTo>
                  <a:pt x="4156214" y="2999794"/>
                  <a:pt x="4154762" y="3001250"/>
                  <a:pt x="4152947" y="3001250"/>
                </a:cubicBezTo>
                <a:cubicBezTo>
                  <a:pt x="4151132" y="3001250"/>
                  <a:pt x="4149680" y="2999794"/>
                  <a:pt x="4149680" y="2997979"/>
                </a:cubicBezTo>
                <a:cubicBezTo>
                  <a:pt x="4149680" y="2996165"/>
                  <a:pt x="4151132" y="2994713"/>
                  <a:pt x="4152947" y="2994713"/>
                </a:cubicBezTo>
                <a:close/>
                <a:moveTo>
                  <a:pt x="4306532" y="2993261"/>
                </a:moveTo>
                <a:cubicBezTo>
                  <a:pt x="4309075" y="2993261"/>
                  <a:pt x="4310890" y="2995075"/>
                  <a:pt x="4310890" y="2997617"/>
                </a:cubicBezTo>
                <a:cubicBezTo>
                  <a:pt x="4310890" y="3000160"/>
                  <a:pt x="4308709" y="3001974"/>
                  <a:pt x="4306532" y="3001974"/>
                </a:cubicBezTo>
                <a:cubicBezTo>
                  <a:pt x="4303990" y="3001974"/>
                  <a:pt x="4302176" y="3000160"/>
                  <a:pt x="4302176" y="2997617"/>
                </a:cubicBezTo>
                <a:cubicBezTo>
                  <a:pt x="4302176" y="2995075"/>
                  <a:pt x="4303990" y="2993261"/>
                  <a:pt x="4306532" y="2993261"/>
                </a:cubicBezTo>
                <a:close/>
                <a:moveTo>
                  <a:pt x="4460480" y="2991808"/>
                </a:moveTo>
                <a:cubicBezTo>
                  <a:pt x="4463690" y="2991808"/>
                  <a:pt x="4466289" y="2994408"/>
                  <a:pt x="4466289" y="2997617"/>
                </a:cubicBezTo>
                <a:cubicBezTo>
                  <a:pt x="4466289" y="3000827"/>
                  <a:pt x="4463690" y="3003427"/>
                  <a:pt x="4460480" y="3003427"/>
                </a:cubicBezTo>
                <a:cubicBezTo>
                  <a:pt x="4457270" y="3003427"/>
                  <a:pt x="4454670" y="3000827"/>
                  <a:pt x="4454670" y="2997617"/>
                </a:cubicBezTo>
                <a:cubicBezTo>
                  <a:pt x="4454670" y="2994408"/>
                  <a:pt x="4457270" y="2991808"/>
                  <a:pt x="4460480" y="2991808"/>
                </a:cubicBezTo>
                <a:close/>
                <a:moveTo>
                  <a:pt x="4614065" y="2990356"/>
                </a:moveTo>
                <a:cubicBezTo>
                  <a:pt x="4618060" y="2990356"/>
                  <a:pt x="4621326" y="2993622"/>
                  <a:pt x="4621326" y="2997617"/>
                </a:cubicBezTo>
                <a:cubicBezTo>
                  <a:pt x="4621326" y="3001612"/>
                  <a:pt x="4618060" y="3004879"/>
                  <a:pt x="4614065" y="3004879"/>
                </a:cubicBezTo>
                <a:cubicBezTo>
                  <a:pt x="4610070" y="3004879"/>
                  <a:pt x="4606804" y="3001612"/>
                  <a:pt x="4606804" y="2997617"/>
                </a:cubicBezTo>
                <a:cubicBezTo>
                  <a:pt x="4606804" y="2993622"/>
                  <a:pt x="4610070" y="2990356"/>
                  <a:pt x="4614065" y="2990356"/>
                </a:cubicBezTo>
                <a:close/>
                <a:moveTo>
                  <a:pt x="4768008" y="2988537"/>
                </a:moveTo>
                <a:cubicBezTo>
                  <a:pt x="4773094" y="2988537"/>
                  <a:pt x="4777088" y="2992532"/>
                  <a:pt x="4777088" y="2997613"/>
                </a:cubicBezTo>
                <a:cubicBezTo>
                  <a:pt x="4777088" y="3002699"/>
                  <a:pt x="4773094" y="3006693"/>
                  <a:pt x="4768008" y="3006693"/>
                </a:cubicBezTo>
                <a:cubicBezTo>
                  <a:pt x="4762928" y="3006693"/>
                  <a:pt x="4758932" y="3002699"/>
                  <a:pt x="4758932" y="2997613"/>
                </a:cubicBezTo>
                <a:cubicBezTo>
                  <a:pt x="4758932" y="2992532"/>
                  <a:pt x="4762928" y="2988537"/>
                  <a:pt x="4768008" y="2988537"/>
                </a:cubicBezTo>
                <a:close/>
                <a:moveTo>
                  <a:pt x="4921594" y="2987447"/>
                </a:moveTo>
                <a:cubicBezTo>
                  <a:pt x="4927041" y="2987447"/>
                  <a:pt x="4931760" y="2992166"/>
                  <a:pt x="4931760" y="2997613"/>
                </a:cubicBezTo>
                <a:cubicBezTo>
                  <a:pt x="4931760" y="3003061"/>
                  <a:pt x="4927403" y="3007780"/>
                  <a:pt x="4921594" y="3007780"/>
                </a:cubicBezTo>
                <a:cubicBezTo>
                  <a:pt x="4916146" y="3007780"/>
                  <a:pt x="4911428" y="3003061"/>
                  <a:pt x="4911428" y="2997613"/>
                </a:cubicBezTo>
                <a:cubicBezTo>
                  <a:pt x="4911428" y="2992166"/>
                  <a:pt x="4916146" y="2987447"/>
                  <a:pt x="4921594" y="2987447"/>
                </a:cubicBezTo>
                <a:close/>
                <a:moveTo>
                  <a:pt x="5075541" y="2985633"/>
                </a:moveTo>
                <a:cubicBezTo>
                  <a:pt x="5082078" y="2985633"/>
                  <a:pt x="5087526" y="2991080"/>
                  <a:pt x="5087526" y="2997613"/>
                </a:cubicBezTo>
                <a:cubicBezTo>
                  <a:pt x="5087526" y="3004151"/>
                  <a:pt x="5082078" y="3009594"/>
                  <a:pt x="5075541" y="3009594"/>
                </a:cubicBezTo>
                <a:cubicBezTo>
                  <a:pt x="5069008" y="3009594"/>
                  <a:pt x="5063560" y="3004151"/>
                  <a:pt x="5063560" y="2997613"/>
                </a:cubicBezTo>
                <a:cubicBezTo>
                  <a:pt x="5063560" y="2991080"/>
                  <a:pt x="5069008" y="2985633"/>
                  <a:pt x="5075541" y="2985633"/>
                </a:cubicBezTo>
                <a:close/>
                <a:moveTo>
                  <a:pt x="5229126" y="2983818"/>
                </a:moveTo>
                <a:cubicBezTo>
                  <a:pt x="5236750" y="2983818"/>
                  <a:pt x="5242922" y="2989990"/>
                  <a:pt x="5242922" y="2997613"/>
                </a:cubicBezTo>
                <a:cubicBezTo>
                  <a:pt x="5242922" y="3005241"/>
                  <a:pt x="5236750" y="3011413"/>
                  <a:pt x="5229126" y="3011413"/>
                </a:cubicBezTo>
                <a:cubicBezTo>
                  <a:pt x="5221499" y="3011413"/>
                  <a:pt x="5215328" y="3005241"/>
                  <a:pt x="5215328" y="2997613"/>
                </a:cubicBezTo>
                <a:cubicBezTo>
                  <a:pt x="5215328" y="2989990"/>
                  <a:pt x="5221499" y="2983818"/>
                  <a:pt x="5229126" y="2983818"/>
                </a:cubicBezTo>
                <a:close/>
                <a:moveTo>
                  <a:pt x="5383074" y="2982366"/>
                </a:moveTo>
                <a:cubicBezTo>
                  <a:pt x="5391498" y="2982366"/>
                  <a:pt x="5398326" y="2989193"/>
                  <a:pt x="5398326" y="2997613"/>
                </a:cubicBezTo>
                <a:cubicBezTo>
                  <a:pt x="5398326" y="3006038"/>
                  <a:pt x="5391498" y="3012865"/>
                  <a:pt x="5383074" y="3012865"/>
                </a:cubicBezTo>
                <a:cubicBezTo>
                  <a:pt x="5374654" y="3012865"/>
                  <a:pt x="5367826" y="3006038"/>
                  <a:pt x="5367826" y="2997613"/>
                </a:cubicBezTo>
                <a:cubicBezTo>
                  <a:pt x="5367826" y="2989193"/>
                  <a:pt x="5374654" y="2982366"/>
                  <a:pt x="5383074" y="2982366"/>
                </a:cubicBezTo>
                <a:close/>
                <a:moveTo>
                  <a:pt x="5536659" y="2980551"/>
                </a:moveTo>
                <a:cubicBezTo>
                  <a:pt x="5546098" y="2980551"/>
                  <a:pt x="5553725" y="2988175"/>
                  <a:pt x="5553725" y="2997617"/>
                </a:cubicBezTo>
                <a:cubicBezTo>
                  <a:pt x="5553725" y="3007056"/>
                  <a:pt x="5546098" y="3014683"/>
                  <a:pt x="5536659" y="3014683"/>
                </a:cubicBezTo>
                <a:cubicBezTo>
                  <a:pt x="5527217" y="3014683"/>
                  <a:pt x="5519593" y="3007056"/>
                  <a:pt x="5519593" y="2997617"/>
                </a:cubicBezTo>
                <a:cubicBezTo>
                  <a:pt x="5519593" y="2988175"/>
                  <a:pt x="5527217" y="2980551"/>
                  <a:pt x="5536659" y="2980551"/>
                </a:cubicBezTo>
                <a:close/>
                <a:moveTo>
                  <a:pt x="5690606" y="2978371"/>
                </a:moveTo>
                <a:cubicBezTo>
                  <a:pt x="5701234" y="2978371"/>
                  <a:pt x="5709849" y="2986986"/>
                  <a:pt x="5709849" y="2997613"/>
                </a:cubicBezTo>
                <a:cubicBezTo>
                  <a:pt x="5709849" y="3008241"/>
                  <a:pt x="5701234" y="3016856"/>
                  <a:pt x="5690606" y="3016856"/>
                </a:cubicBezTo>
                <a:cubicBezTo>
                  <a:pt x="5679979" y="3016856"/>
                  <a:pt x="5671360" y="3008241"/>
                  <a:pt x="5671360" y="2997613"/>
                </a:cubicBezTo>
                <a:cubicBezTo>
                  <a:pt x="5671360" y="2986986"/>
                  <a:pt x="5679979" y="2978371"/>
                  <a:pt x="5690606" y="2978371"/>
                </a:cubicBezTo>
                <a:close/>
                <a:moveTo>
                  <a:pt x="5844550" y="2976195"/>
                </a:moveTo>
                <a:cubicBezTo>
                  <a:pt x="5856382" y="2976195"/>
                  <a:pt x="5865973" y="2985785"/>
                  <a:pt x="5865973" y="2997617"/>
                </a:cubicBezTo>
                <a:cubicBezTo>
                  <a:pt x="5865973" y="3009446"/>
                  <a:pt x="5856382" y="3019036"/>
                  <a:pt x="5844550" y="3019036"/>
                </a:cubicBezTo>
                <a:cubicBezTo>
                  <a:pt x="5832718" y="3019036"/>
                  <a:pt x="5823127" y="3009446"/>
                  <a:pt x="5823127" y="2997617"/>
                </a:cubicBezTo>
                <a:cubicBezTo>
                  <a:pt x="5823127" y="2985785"/>
                  <a:pt x="5832718" y="2976195"/>
                  <a:pt x="5844550" y="2976195"/>
                </a:cubicBezTo>
                <a:close/>
                <a:moveTo>
                  <a:pt x="5998139" y="2974742"/>
                </a:moveTo>
                <a:cubicBezTo>
                  <a:pt x="6010772" y="2974742"/>
                  <a:pt x="6021010" y="2984985"/>
                  <a:pt x="6021010" y="2997617"/>
                </a:cubicBezTo>
                <a:cubicBezTo>
                  <a:pt x="6021010" y="3010250"/>
                  <a:pt x="6010772" y="3020489"/>
                  <a:pt x="5998139" y="3020489"/>
                </a:cubicBezTo>
                <a:cubicBezTo>
                  <a:pt x="5985502" y="3020489"/>
                  <a:pt x="5975264" y="3010250"/>
                  <a:pt x="5975264" y="2997617"/>
                </a:cubicBezTo>
                <a:cubicBezTo>
                  <a:pt x="5975264" y="2984985"/>
                  <a:pt x="5985502" y="2974742"/>
                  <a:pt x="5998139" y="2974742"/>
                </a:cubicBezTo>
                <a:close/>
                <a:moveTo>
                  <a:pt x="6152083" y="2972562"/>
                </a:moveTo>
                <a:cubicBezTo>
                  <a:pt x="6165920" y="2972562"/>
                  <a:pt x="6177134" y="2983776"/>
                  <a:pt x="6177134" y="2997613"/>
                </a:cubicBezTo>
                <a:cubicBezTo>
                  <a:pt x="6177134" y="3011451"/>
                  <a:pt x="6165920" y="3022669"/>
                  <a:pt x="6152083" y="3022669"/>
                </a:cubicBezTo>
                <a:cubicBezTo>
                  <a:pt x="6138246" y="3022669"/>
                  <a:pt x="6127031" y="3011451"/>
                  <a:pt x="6127031" y="2997613"/>
                </a:cubicBezTo>
                <a:cubicBezTo>
                  <a:pt x="6127031" y="2983780"/>
                  <a:pt x="6138246" y="2972562"/>
                  <a:pt x="6152083" y="2972562"/>
                </a:cubicBezTo>
                <a:close/>
                <a:moveTo>
                  <a:pt x="6305672" y="2970385"/>
                </a:moveTo>
                <a:cubicBezTo>
                  <a:pt x="6320710" y="2970385"/>
                  <a:pt x="6332904" y="2982576"/>
                  <a:pt x="6332904" y="2997617"/>
                </a:cubicBezTo>
                <a:cubicBezTo>
                  <a:pt x="6332904" y="3012655"/>
                  <a:pt x="6320710" y="3024846"/>
                  <a:pt x="6305672" y="3024846"/>
                </a:cubicBezTo>
                <a:cubicBezTo>
                  <a:pt x="6290634" y="3024846"/>
                  <a:pt x="6278440" y="3012655"/>
                  <a:pt x="6278440" y="2997617"/>
                </a:cubicBezTo>
                <a:cubicBezTo>
                  <a:pt x="6278440" y="2982576"/>
                  <a:pt x="6290634" y="2970385"/>
                  <a:pt x="6305672" y="2970385"/>
                </a:cubicBezTo>
                <a:close/>
                <a:moveTo>
                  <a:pt x="6459619" y="2967843"/>
                </a:moveTo>
                <a:cubicBezTo>
                  <a:pt x="6476060" y="2967843"/>
                  <a:pt x="6489390" y="2981173"/>
                  <a:pt x="6489390" y="2997613"/>
                </a:cubicBezTo>
                <a:cubicBezTo>
                  <a:pt x="6489390" y="3014058"/>
                  <a:pt x="6476060" y="3027388"/>
                  <a:pt x="6459619" y="3027388"/>
                </a:cubicBezTo>
                <a:cubicBezTo>
                  <a:pt x="6443174" y="3027388"/>
                  <a:pt x="6429844" y="3014058"/>
                  <a:pt x="6429844" y="2997613"/>
                </a:cubicBezTo>
                <a:cubicBezTo>
                  <a:pt x="6429844" y="2981173"/>
                  <a:pt x="6443174" y="2967843"/>
                  <a:pt x="6459619" y="2967843"/>
                </a:cubicBezTo>
                <a:close/>
                <a:moveTo>
                  <a:pt x="6613200" y="2965666"/>
                </a:moveTo>
                <a:cubicBezTo>
                  <a:pt x="6630846" y="2965666"/>
                  <a:pt x="6645152" y="2979972"/>
                  <a:pt x="6645152" y="2997617"/>
                </a:cubicBezTo>
                <a:cubicBezTo>
                  <a:pt x="6645152" y="3015263"/>
                  <a:pt x="6630846" y="3029569"/>
                  <a:pt x="6613200" y="3029569"/>
                </a:cubicBezTo>
                <a:cubicBezTo>
                  <a:pt x="6595556" y="3029569"/>
                  <a:pt x="6581250" y="3015263"/>
                  <a:pt x="6581250" y="2997617"/>
                </a:cubicBezTo>
                <a:cubicBezTo>
                  <a:pt x="6581250" y="2979972"/>
                  <a:pt x="6595556" y="2965666"/>
                  <a:pt x="6613200" y="2965666"/>
                </a:cubicBezTo>
                <a:close/>
                <a:moveTo>
                  <a:pt x="3537882" y="2843666"/>
                </a:moveTo>
                <a:cubicBezTo>
                  <a:pt x="3538244" y="2843666"/>
                  <a:pt x="3538244" y="2843666"/>
                  <a:pt x="3538244" y="2844028"/>
                </a:cubicBezTo>
                <a:cubicBezTo>
                  <a:pt x="3538244" y="2844390"/>
                  <a:pt x="3537882" y="2844390"/>
                  <a:pt x="3537882" y="2844390"/>
                </a:cubicBezTo>
                <a:cubicBezTo>
                  <a:pt x="3537520" y="2844390"/>
                  <a:pt x="3537520" y="2844390"/>
                  <a:pt x="3537520" y="2844028"/>
                </a:cubicBezTo>
                <a:cubicBezTo>
                  <a:pt x="3537520" y="2843666"/>
                  <a:pt x="3537520" y="2843666"/>
                  <a:pt x="3537882" y="2843666"/>
                </a:cubicBezTo>
                <a:close/>
                <a:moveTo>
                  <a:pt x="3076406" y="2843666"/>
                </a:moveTo>
                <a:cubicBezTo>
                  <a:pt x="3076768" y="2843666"/>
                  <a:pt x="3076768" y="2843666"/>
                  <a:pt x="3076768" y="2844028"/>
                </a:cubicBezTo>
                <a:cubicBezTo>
                  <a:pt x="3076768" y="2844390"/>
                  <a:pt x="3076406" y="2844390"/>
                  <a:pt x="3076406" y="2844390"/>
                </a:cubicBezTo>
                <a:cubicBezTo>
                  <a:pt x="3076043" y="2844390"/>
                  <a:pt x="3076043" y="2844390"/>
                  <a:pt x="3076043" y="2844028"/>
                </a:cubicBezTo>
                <a:cubicBezTo>
                  <a:pt x="3076043" y="2843666"/>
                  <a:pt x="3076043" y="2843666"/>
                  <a:pt x="3076406" y="2843666"/>
                </a:cubicBezTo>
                <a:close/>
                <a:moveTo>
                  <a:pt x="2922458" y="2843666"/>
                </a:moveTo>
                <a:cubicBezTo>
                  <a:pt x="2922820" y="2843666"/>
                  <a:pt x="2922820" y="2843666"/>
                  <a:pt x="2922820" y="2844028"/>
                </a:cubicBezTo>
                <a:cubicBezTo>
                  <a:pt x="2922820" y="2844390"/>
                  <a:pt x="2922458" y="2844390"/>
                  <a:pt x="2922458" y="2844390"/>
                </a:cubicBezTo>
                <a:cubicBezTo>
                  <a:pt x="2922096" y="2844390"/>
                  <a:pt x="2922096" y="2844390"/>
                  <a:pt x="2922096" y="2844028"/>
                </a:cubicBezTo>
                <a:cubicBezTo>
                  <a:pt x="2922096" y="2843666"/>
                  <a:pt x="2922096" y="2843666"/>
                  <a:pt x="2922458" y="2843666"/>
                </a:cubicBezTo>
                <a:close/>
                <a:moveTo>
                  <a:pt x="2768877" y="2843304"/>
                </a:moveTo>
                <a:cubicBezTo>
                  <a:pt x="2769277" y="2843304"/>
                  <a:pt x="2769601" y="2843628"/>
                  <a:pt x="2769601" y="2844032"/>
                </a:cubicBezTo>
                <a:cubicBezTo>
                  <a:pt x="2769601" y="2844432"/>
                  <a:pt x="2769277" y="2844756"/>
                  <a:pt x="2768877" y="2844756"/>
                </a:cubicBezTo>
                <a:cubicBezTo>
                  <a:pt x="2768473" y="2844756"/>
                  <a:pt x="2768149" y="2844432"/>
                  <a:pt x="2768149" y="2844032"/>
                </a:cubicBezTo>
                <a:cubicBezTo>
                  <a:pt x="2768149" y="2843628"/>
                  <a:pt x="2768473" y="2843304"/>
                  <a:pt x="2768877" y="2843304"/>
                </a:cubicBezTo>
                <a:close/>
                <a:moveTo>
                  <a:pt x="3691467" y="2842580"/>
                </a:moveTo>
                <a:cubicBezTo>
                  <a:pt x="3692268" y="2842580"/>
                  <a:pt x="3692919" y="2843232"/>
                  <a:pt x="3692919" y="2844032"/>
                </a:cubicBezTo>
                <a:cubicBezTo>
                  <a:pt x="3692919" y="2844833"/>
                  <a:pt x="3692268" y="2845485"/>
                  <a:pt x="3691467" y="2845485"/>
                </a:cubicBezTo>
                <a:cubicBezTo>
                  <a:pt x="3690663" y="2845485"/>
                  <a:pt x="3690014" y="2844833"/>
                  <a:pt x="3690014" y="2844032"/>
                </a:cubicBezTo>
                <a:cubicBezTo>
                  <a:pt x="3690014" y="2843232"/>
                  <a:pt x="3690663" y="2842580"/>
                  <a:pt x="3691467" y="2842580"/>
                </a:cubicBezTo>
                <a:close/>
                <a:moveTo>
                  <a:pt x="3845418" y="2841852"/>
                </a:moveTo>
                <a:cubicBezTo>
                  <a:pt x="3846619" y="2841852"/>
                  <a:pt x="3847595" y="2842828"/>
                  <a:pt x="3847595" y="2844032"/>
                </a:cubicBezTo>
                <a:cubicBezTo>
                  <a:pt x="3847595" y="2845233"/>
                  <a:pt x="3846619" y="2846209"/>
                  <a:pt x="3845418" y="2846209"/>
                </a:cubicBezTo>
                <a:cubicBezTo>
                  <a:pt x="3844214" y="2846209"/>
                  <a:pt x="3843238" y="2845233"/>
                  <a:pt x="3843238" y="2844032"/>
                </a:cubicBezTo>
                <a:cubicBezTo>
                  <a:pt x="3843238" y="2842828"/>
                  <a:pt x="3844214" y="2841852"/>
                  <a:pt x="3845418" y="2841852"/>
                </a:cubicBezTo>
                <a:close/>
                <a:moveTo>
                  <a:pt x="3999000" y="2840761"/>
                </a:moveTo>
                <a:cubicBezTo>
                  <a:pt x="4000818" y="2840761"/>
                  <a:pt x="4002270" y="2842214"/>
                  <a:pt x="4002270" y="2844028"/>
                </a:cubicBezTo>
                <a:cubicBezTo>
                  <a:pt x="4002270" y="2845843"/>
                  <a:pt x="4000818" y="2847299"/>
                  <a:pt x="3999000" y="2847299"/>
                </a:cubicBezTo>
                <a:cubicBezTo>
                  <a:pt x="3997185" y="2847299"/>
                  <a:pt x="3995733" y="2845843"/>
                  <a:pt x="3995733" y="2844028"/>
                </a:cubicBezTo>
                <a:cubicBezTo>
                  <a:pt x="3995733" y="2842214"/>
                  <a:pt x="3997185" y="2840761"/>
                  <a:pt x="3999000" y="2840761"/>
                </a:cubicBezTo>
                <a:close/>
                <a:moveTo>
                  <a:pt x="4152947" y="2839309"/>
                </a:moveTo>
                <a:cubicBezTo>
                  <a:pt x="4155486" y="2839309"/>
                  <a:pt x="4157304" y="2841124"/>
                  <a:pt x="4157304" y="2843666"/>
                </a:cubicBezTo>
                <a:cubicBezTo>
                  <a:pt x="4157304" y="2846209"/>
                  <a:pt x="4155124" y="2848023"/>
                  <a:pt x="4152947" y="2848023"/>
                </a:cubicBezTo>
                <a:cubicBezTo>
                  <a:pt x="4150404" y="2848023"/>
                  <a:pt x="4148590" y="2846209"/>
                  <a:pt x="4148590" y="2843666"/>
                </a:cubicBezTo>
                <a:cubicBezTo>
                  <a:pt x="4148590" y="2841124"/>
                  <a:pt x="4150404" y="2839309"/>
                  <a:pt x="4152947" y="2839309"/>
                </a:cubicBezTo>
                <a:close/>
                <a:moveTo>
                  <a:pt x="4306532" y="2838223"/>
                </a:moveTo>
                <a:cubicBezTo>
                  <a:pt x="4309742" y="2838223"/>
                  <a:pt x="4312342" y="2840823"/>
                  <a:pt x="4312342" y="2844032"/>
                </a:cubicBezTo>
                <a:cubicBezTo>
                  <a:pt x="4312342" y="2847242"/>
                  <a:pt x="4309742" y="2849841"/>
                  <a:pt x="4306532" y="2849841"/>
                </a:cubicBezTo>
                <a:cubicBezTo>
                  <a:pt x="4303322" y="2849841"/>
                  <a:pt x="4300723" y="2847242"/>
                  <a:pt x="4300723" y="2844032"/>
                </a:cubicBezTo>
                <a:cubicBezTo>
                  <a:pt x="4300723" y="2840823"/>
                  <a:pt x="4303322" y="2838223"/>
                  <a:pt x="4306532" y="2838223"/>
                </a:cubicBezTo>
                <a:close/>
                <a:moveTo>
                  <a:pt x="4460480" y="2836770"/>
                </a:moveTo>
                <a:cubicBezTo>
                  <a:pt x="4464474" y="2836770"/>
                  <a:pt x="4467742" y="2840037"/>
                  <a:pt x="4467742" y="2844032"/>
                </a:cubicBezTo>
                <a:cubicBezTo>
                  <a:pt x="4467742" y="2848027"/>
                  <a:pt x="4464474" y="2851294"/>
                  <a:pt x="4460480" y="2851294"/>
                </a:cubicBezTo>
                <a:cubicBezTo>
                  <a:pt x="4456485" y="2851294"/>
                  <a:pt x="4453218" y="2848027"/>
                  <a:pt x="4453218" y="2844032"/>
                </a:cubicBezTo>
                <a:cubicBezTo>
                  <a:pt x="4453218" y="2840037"/>
                  <a:pt x="4456485" y="2836770"/>
                  <a:pt x="4460480" y="2836770"/>
                </a:cubicBezTo>
                <a:close/>
                <a:moveTo>
                  <a:pt x="4614061" y="2834590"/>
                </a:moveTo>
                <a:cubicBezTo>
                  <a:pt x="4619146" y="2834590"/>
                  <a:pt x="4623141" y="2838585"/>
                  <a:pt x="4623141" y="2843666"/>
                </a:cubicBezTo>
                <a:cubicBezTo>
                  <a:pt x="4623141" y="2848751"/>
                  <a:pt x="4619146" y="2852746"/>
                  <a:pt x="4614061" y="2852746"/>
                </a:cubicBezTo>
                <a:cubicBezTo>
                  <a:pt x="4608980" y="2852746"/>
                  <a:pt x="4604985" y="2848751"/>
                  <a:pt x="4604985" y="2843666"/>
                </a:cubicBezTo>
                <a:cubicBezTo>
                  <a:pt x="4604985" y="2838585"/>
                  <a:pt x="4608980" y="2834590"/>
                  <a:pt x="4614061" y="2834590"/>
                </a:cubicBezTo>
                <a:close/>
                <a:moveTo>
                  <a:pt x="4768012" y="2833866"/>
                </a:moveTo>
                <a:cubicBezTo>
                  <a:pt x="4773460" y="2833866"/>
                  <a:pt x="4778178" y="2838585"/>
                  <a:pt x="4778178" y="2844032"/>
                </a:cubicBezTo>
                <a:cubicBezTo>
                  <a:pt x="4778178" y="2849479"/>
                  <a:pt x="4773822" y="2854198"/>
                  <a:pt x="4768012" y="2854198"/>
                </a:cubicBezTo>
                <a:cubicBezTo>
                  <a:pt x="4762565" y="2854198"/>
                  <a:pt x="4757846" y="2849479"/>
                  <a:pt x="4757846" y="2844032"/>
                </a:cubicBezTo>
                <a:cubicBezTo>
                  <a:pt x="4757846" y="2838585"/>
                  <a:pt x="4762565" y="2833866"/>
                  <a:pt x="4768012" y="2833866"/>
                </a:cubicBezTo>
                <a:close/>
                <a:moveTo>
                  <a:pt x="4921594" y="2831685"/>
                </a:moveTo>
                <a:cubicBezTo>
                  <a:pt x="4928131" y="2831685"/>
                  <a:pt x="4933578" y="2837132"/>
                  <a:pt x="4933578" y="2843666"/>
                </a:cubicBezTo>
                <a:cubicBezTo>
                  <a:pt x="4933578" y="2850203"/>
                  <a:pt x="4928131" y="2855651"/>
                  <a:pt x="4921594" y="2855651"/>
                </a:cubicBezTo>
                <a:cubicBezTo>
                  <a:pt x="4915060" y="2855651"/>
                  <a:pt x="4909613" y="2850203"/>
                  <a:pt x="4909613" y="2843666"/>
                </a:cubicBezTo>
                <a:cubicBezTo>
                  <a:pt x="4909613" y="2837132"/>
                  <a:pt x="4915060" y="2831685"/>
                  <a:pt x="4921594" y="2831685"/>
                </a:cubicBezTo>
                <a:close/>
                <a:moveTo>
                  <a:pt x="5075545" y="2829871"/>
                </a:moveTo>
                <a:cubicBezTo>
                  <a:pt x="5083169" y="2829871"/>
                  <a:pt x="5089340" y="2836042"/>
                  <a:pt x="5089340" y="2843666"/>
                </a:cubicBezTo>
                <a:cubicBezTo>
                  <a:pt x="5089340" y="2851294"/>
                  <a:pt x="5083169" y="2857465"/>
                  <a:pt x="5075545" y="2857465"/>
                </a:cubicBezTo>
                <a:cubicBezTo>
                  <a:pt x="5067918" y="2857465"/>
                  <a:pt x="5061746" y="2851294"/>
                  <a:pt x="5061746" y="2843666"/>
                </a:cubicBezTo>
                <a:cubicBezTo>
                  <a:pt x="5061746" y="2836042"/>
                  <a:pt x="5067918" y="2829871"/>
                  <a:pt x="5075545" y="2829871"/>
                </a:cubicBezTo>
                <a:close/>
                <a:moveTo>
                  <a:pt x="5229126" y="2828781"/>
                </a:moveTo>
                <a:cubicBezTo>
                  <a:pt x="5237551" y="2828781"/>
                  <a:pt x="5244378" y="2835608"/>
                  <a:pt x="5244378" y="2844032"/>
                </a:cubicBezTo>
                <a:cubicBezTo>
                  <a:pt x="5244378" y="2852453"/>
                  <a:pt x="5237551" y="2859280"/>
                  <a:pt x="5229126" y="2859280"/>
                </a:cubicBezTo>
                <a:cubicBezTo>
                  <a:pt x="5220706" y="2859280"/>
                  <a:pt x="5213879" y="2852453"/>
                  <a:pt x="5213879" y="2844032"/>
                </a:cubicBezTo>
                <a:cubicBezTo>
                  <a:pt x="5213879" y="2835608"/>
                  <a:pt x="5220706" y="2828781"/>
                  <a:pt x="5229126" y="2828781"/>
                </a:cubicBezTo>
                <a:close/>
                <a:moveTo>
                  <a:pt x="5383074" y="2826966"/>
                </a:moveTo>
                <a:cubicBezTo>
                  <a:pt x="5392512" y="2826966"/>
                  <a:pt x="5400140" y="2834590"/>
                  <a:pt x="5400140" y="2844032"/>
                </a:cubicBezTo>
                <a:cubicBezTo>
                  <a:pt x="5400140" y="2853471"/>
                  <a:pt x="5392512" y="2861098"/>
                  <a:pt x="5383074" y="2861098"/>
                </a:cubicBezTo>
                <a:cubicBezTo>
                  <a:pt x="5373632" y="2861098"/>
                  <a:pt x="5366008" y="2853471"/>
                  <a:pt x="5366008" y="2844032"/>
                </a:cubicBezTo>
                <a:cubicBezTo>
                  <a:pt x="5366008" y="2834590"/>
                  <a:pt x="5373632" y="2826966"/>
                  <a:pt x="5383074" y="2826966"/>
                </a:cubicBezTo>
                <a:close/>
                <a:moveTo>
                  <a:pt x="5536659" y="2824790"/>
                </a:moveTo>
                <a:cubicBezTo>
                  <a:pt x="5547286" y="2824790"/>
                  <a:pt x="5555902" y="2833404"/>
                  <a:pt x="5555902" y="2844032"/>
                </a:cubicBezTo>
                <a:cubicBezTo>
                  <a:pt x="5555902" y="2854660"/>
                  <a:pt x="5547286" y="2863279"/>
                  <a:pt x="5536659" y="2863279"/>
                </a:cubicBezTo>
                <a:cubicBezTo>
                  <a:pt x="5526032" y="2863279"/>
                  <a:pt x="5517413" y="2854660"/>
                  <a:pt x="5517413" y="2844032"/>
                </a:cubicBezTo>
                <a:cubicBezTo>
                  <a:pt x="5517413" y="2833404"/>
                  <a:pt x="5526032" y="2824790"/>
                  <a:pt x="5536659" y="2824790"/>
                </a:cubicBezTo>
                <a:close/>
                <a:moveTo>
                  <a:pt x="5690602" y="2822609"/>
                </a:moveTo>
                <a:cubicBezTo>
                  <a:pt x="5702435" y="2822609"/>
                  <a:pt x="5712026" y="2832200"/>
                  <a:pt x="5712026" y="2844032"/>
                </a:cubicBezTo>
                <a:cubicBezTo>
                  <a:pt x="5712026" y="2855864"/>
                  <a:pt x="5702435" y="2865451"/>
                  <a:pt x="5690602" y="2865451"/>
                </a:cubicBezTo>
                <a:cubicBezTo>
                  <a:pt x="5678770" y="2865451"/>
                  <a:pt x="5669180" y="2855860"/>
                  <a:pt x="5669180" y="2844032"/>
                </a:cubicBezTo>
                <a:cubicBezTo>
                  <a:pt x="5669180" y="2832200"/>
                  <a:pt x="5678770" y="2822609"/>
                  <a:pt x="5690602" y="2822609"/>
                </a:cubicBezTo>
                <a:close/>
                <a:moveTo>
                  <a:pt x="5844554" y="2821157"/>
                </a:moveTo>
                <a:cubicBezTo>
                  <a:pt x="5857186" y="2821157"/>
                  <a:pt x="5867429" y="2831399"/>
                  <a:pt x="5867429" y="2844032"/>
                </a:cubicBezTo>
                <a:cubicBezTo>
                  <a:pt x="5867429" y="2856665"/>
                  <a:pt x="5857186" y="2866903"/>
                  <a:pt x="5844554" y="2866903"/>
                </a:cubicBezTo>
                <a:cubicBezTo>
                  <a:pt x="5831918" y="2866903"/>
                  <a:pt x="5821678" y="2856665"/>
                  <a:pt x="5821678" y="2844032"/>
                </a:cubicBezTo>
                <a:cubicBezTo>
                  <a:pt x="5821678" y="2831399"/>
                  <a:pt x="5831918" y="2821157"/>
                  <a:pt x="5844554" y="2821157"/>
                </a:cubicBezTo>
                <a:close/>
                <a:moveTo>
                  <a:pt x="5998136" y="2818980"/>
                </a:moveTo>
                <a:cubicBezTo>
                  <a:pt x="6011972" y="2818980"/>
                  <a:pt x="6023187" y="2830195"/>
                  <a:pt x="6023187" y="2844032"/>
                </a:cubicBezTo>
                <a:cubicBezTo>
                  <a:pt x="6023187" y="2857869"/>
                  <a:pt x="6011972" y="2869088"/>
                  <a:pt x="5998136" y="2869088"/>
                </a:cubicBezTo>
                <a:cubicBezTo>
                  <a:pt x="5984298" y="2869088"/>
                  <a:pt x="5973084" y="2857869"/>
                  <a:pt x="5973084" y="2844032"/>
                </a:cubicBezTo>
                <a:cubicBezTo>
                  <a:pt x="5973084" y="2830199"/>
                  <a:pt x="5984298" y="2818980"/>
                  <a:pt x="5998136" y="2818980"/>
                </a:cubicBezTo>
                <a:close/>
                <a:moveTo>
                  <a:pt x="6152086" y="2816800"/>
                </a:moveTo>
                <a:cubicBezTo>
                  <a:pt x="6167124" y="2816800"/>
                  <a:pt x="6179315" y="2828990"/>
                  <a:pt x="6179315" y="2844032"/>
                </a:cubicBezTo>
                <a:cubicBezTo>
                  <a:pt x="6179315" y="2859070"/>
                  <a:pt x="6167124" y="2871264"/>
                  <a:pt x="6152086" y="2871264"/>
                </a:cubicBezTo>
                <a:cubicBezTo>
                  <a:pt x="6137045" y="2871264"/>
                  <a:pt x="6124854" y="2859070"/>
                  <a:pt x="6124854" y="2844032"/>
                </a:cubicBezTo>
                <a:cubicBezTo>
                  <a:pt x="6124854" y="2828990"/>
                  <a:pt x="6137045" y="2816800"/>
                  <a:pt x="6152086" y="2816800"/>
                </a:cubicBezTo>
                <a:close/>
                <a:moveTo>
                  <a:pt x="6305672" y="2814257"/>
                </a:moveTo>
                <a:cubicBezTo>
                  <a:pt x="6322112" y="2814257"/>
                  <a:pt x="6335443" y="2827587"/>
                  <a:pt x="6335443" y="2844032"/>
                </a:cubicBezTo>
                <a:cubicBezTo>
                  <a:pt x="6335443" y="2860473"/>
                  <a:pt x="6322112" y="2873803"/>
                  <a:pt x="6305672" y="2873803"/>
                </a:cubicBezTo>
                <a:cubicBezTo>
                  <a:pt x="6289228" y="2873803"/>
                  <a:pt x="6275897" y="2860473"/>
                  <a:pt x="6275897" y="2844032"/>
                </a:cubicBezTo>
                <a:cubicBezTo>
                  <a:pt x="6275897" y="2827587"/>
                  <a:pt x="6289228" y="2814257"/>
                  <a:pt x="6305672" y="2814257"/>
                </a:cubicBezTo>
                <a:close/>
                <a:moveTo>
                  <a:pt x="6459616" y="2812081"/>
                </a:moveTo>
                <a:cubicBezTo>
                  <a:pt x="6477260" y="2812081"/>
                  <a:pt x="6491567" y="2826387"/>
                  <a:pt x="6491567" y="2844032"/>
                </a:cubicBezTo>
                <a:cubicBezTo>
                  <a:pt x="6491567" y="2861677"/>
                  <a:pt x="6477260" y="2875983"/>
                  <a:pt x="6459616" y="2875983"/>
                </a:cubicBezTo>
                <a:cubicBezTo>
                  <a:pt x="6441970" y="2875983"/>
                  <a:pt x="6427664" y="2861677"/>
                  <a:pt x="6427664" y="2844032"/>
                </a:cubicBezTo>
                <a:cubicBezTo>
                  <a:pt x="6427664" y="2826387"/>
                  <a:pt x="6441970" y="2812081"/>
                  <a:pt x="6459616" y="2812081"/>
                </a:cubicBezTo>
                <a:close/>
                <a:moveTo>
                  <a:pt x="6613200" y="2810266"/>
                </a:moveTo>
                <a:cubicBezTo>
                  <a:pt x="6631848" y="2810266"/>
                  <a:pt x="6646966" y="2825384"/>
                  <a:pt x="6646966" y="2844032"/>
                </a:cubicBezTo>
                <a:cubicBezTo>
                  <a:pt x="6646966" y="2862684"/>
                  <a:pt x="6631848" y="2877802"/>
                  <a:pt x="6613200" y="2877802"/>
                </a:cubicBezTo>
                <a:cubicBezTo>
                  <a:pt x="6594553" y="2877802"/>
                  <a:pt x="6579435" y="2862684"/>
                  <a:pt x="6579435" y="2844032"/>
                </a:cubicBezTo>
                <a:cubicBezTo>
                  <a:pt x="6579435" y="2825384"/>
                  <a:pt x="6594553" y="2810266"/>
                  <a:pt x="6613200" y="2810266"/>
                </a:cubicBezTo>
                <a:close/>
                <a:moveTo>
                  <a:pt x="3383934" y="2689722"/>
                </a:moveTo>
                <a:cubicBezTo>
                  <a:pt x="3384296" y="2689722"/>
                  <a:pt x="3384296" y="2689722"/>
                  <a:pt x="3384296" y="2690085"/>
                </a:cubicBezTo>
                <a:cubicBezTo>
                  <a:pt x="3384296" y="2690447"/>
                  <a:pt x="3383934" y="2690447"/>
                  <a:pt x="3383934" y="2690447"/>
                </a:cubicBezTo>
                <a:cubicBezTo>
                  <a:pt x="3383572" y="2690447"/>
                  <a:pt x="3383572" y="2690447"/>
                  <a:pt x="3383572" y="2690085"/>
                </a:cubicBezTo>
                <a:cubicBezTo>
                  <a:pt x="3383572" y="2689722"/>
                  <a:pt x="3383572" y="2689722"/>
                  <a:pt x="3383934" y="2689722"/>
                </a:cubicBezTo>
                <a:close/>
                <a:moveTo>
                  <a:pt x="2922458" y="2689722"/>
                </a:moveTo>
                <a:cubicBezTo>
                  <a:pt x="2922820" y="2689722"/>
                  <a:pt x="2922820" y="2689722"/>
                  <a:pt x="2922820" y="2690085"/>
                </a:cubicBezTo>
                <a:cubicBezTo>
                  <a:pt x="2922820" y="2690447"/>
                  <a:pt x="2922458" y="2690447"/>
                  <a:pt x="2922458" y="2690447"/>
                </a:cubicBezTo>
                <a:cubicBezTo>
                  <a:pt x="2922096" y="2690447"/>
                  <a:pt x="2922096" y="2690447"/>
                  <a:pt x="2922096" y="2690085"/>
                </a:cubicBezTo>
                <a:cubicBezTo>
                  <a:pt x="2922096" y="2689722"/>
                  <a:pt x="2922096" y="2689722"/>
                  <a:pt x="2922458" y="2689722"/>
                </a:cubicBezTo>
                <a:close/>
                <a:moveTo>
                  <a:pt x="2768873" y="2689722"/>
                </a:moveTo>
                <a:cubicBezTo>
                  <a:pt x="2769235" y="2689722"/>
                  <a:pt x="2769235" y="2689722"/>
                  <a:pt x="2769235" y="2690085"/>
                </a:cubicBezTo>
                <a:cubicBezTo>
                  <a:pt x="2769235" y="2690447"/>
                  <a:pt x="2768873" y="2690447"/>
                  <a:pt x="2768873" y="2690447"/>
                </a:cubicBezTo>
                <a:cubicBezTo>
                  <a:pt x="2768511" y="2690447"/>
                  <a:pt x="2768511" y="2690447"/>
                  <a:pt x="2768511" y="2690085"/>
                </a:cubicBezTo>
                <a:cubicBezTo>
                  <a:pt x="2768511" y="2689722"/>
                  <a:pt x="2768511" y="2689722"/>
                  <a:pt x="2768873" y="2689722"/>
                </a:cubicBezTo>
                <a:close/>
                <a:moveTo>
                  <a:pt x="2614925" y="2689357"/>
                </a:moveTo>
                <a:cubicBezTo>
                  <a:pt x="2615291" y="2689357"/>
                  <a:pt x="2615654" y="2689719"/>
                  <a:pt x="2615654" y="2690081"/>
                </a:cubicBezTo>
                <a:cubicBezTo>
                  <a:pt x="2615654" y="2690447"/>
                  <a:pt x="2614925" y="2690809"/>
                  <a:pt x="2614925" y="2690809"/>
                </a:cubicBezTo>
                <a:cubicBezTo>
                  <a:pt x="2614563" y="2690809"/>
                  <a:pt x="2614201" y="2690447"/>
                  <a:pt x="2614201" y="2690081"/>
                </a:cubicBezTo>
                <a:cubicBezTo>
                  <a:pt x="2614201" y="2689719"/>
                  <a:pt x="2614563" y="2689357"/>
                  <a:pt x="2614925" y="2689357"/>
                </a:cubicBezTo>
                <a:close/>
                <a:moveTo>
                  <a:pt x="3537886" y="2688633"/>
                </a:moveTo>
                <a:cubicBezTo>
                  <a:pt x="3538690" y="2688633"/>
                  <a:pt x="3539338" y="2689284"/>
                  <a:pt x="3539338" y="2690085"/>
                </a:cubicBezTo>
                <a:cubicBezTo>
                  <a:pt x="3539338" y="2690885"/>
                  <a:pt x="3538690" y="2691537"/>
                  <a:pt x="3537886" y="2691537"/>
                </a:cubicBezTo>
                <a:cubicBezTo>
                  <a:pt x="3537085" y="2691537"/>
                  <a:pt x="3536433" y="2690885"/>
                  <a:pt x="3536433" y="2690085"/>
                </a:cubicBezTo>
                <a:cubicBezTo>
                  <a:pt x="3536433" y="2689284"/>
                  <a:pt x="3537085" y="2688633"/>
                  <a:pt x="3537886" y="2688633"/>
                </a:cubicBezTo>
                <a:close/>
                <a:moveTo>
                  <a:pt x="3691471" y="2687904"/>
                </a:moveTo>
                <a:cubicBezTo>
                  <a:pt x="3692672" y="2687904"/>
                  <a:pt x="3693647" y="2688880"/>
                  <a:pt x="3693647" y="2690081"/>
                </a:cubicBezTo>
                <a:cubicBezTo>
                  <a:pt x="3693647" y="2691286"/>
                  <a:pt x="3692672" y="2692261"/>
                  <a:pt x="3691471" y="2692261"/>
                </a:cubicBezTo>
                <a:cubicBezTo>
                  <a:pt x="3690266" y="2692261"/>
                  <a:pt x="3689290" y="2691286"/>
                  <a:pt x="3689290" y="2690081"/>
                </a:cubicBezTo>
                <a:cubicBezTo>
                  <a:pt x="3689290" y="2688880"/>
                  <a:pt x="3690266" y="2687904"/>
                  <a:pt x="3691471" y="2687904"/>
                </a:cubicBezTo>
                <a:close/>
                <a:moveTo>
                  <a:pt x="3845414" y="2686818"/>
                </a:moveTo>
                <a:cubicBezTo>
                  <a:pt x="3847229" y="2686818"/>
                  <a:pt x="3848681" y="2688270"/>
                  <a:pt x="3848681" y="2690085"/>
                </a:cubicBezTo>
                <a:cubicBezTo>
                  <a:pt x="3848681" y="2691899"/>
                  <a:pt x="3847229" y="2693355"/>
                  <a:pt x="3845414" y="2693355"/>
                </a:cubicBezTo>
                <a:cubicBezTo>
                  <a:pt x="3843600" y="2693355"/>
                  <a:pt x="3842148" y="2691899"/>
                  <a:pt x="3842148" y="2690085"/>
                </a:cubicBezTo>
                <a:cubicBezTo>
                  <a:pt x="3842148" y="2688270"/>
                  <a:pt x="3843600" y="2686818"/>
                  <a:pt x="3845414" y="2686818"/>
                </a:cubicBezTo>
                <a:close/>
                <a:moveTo>
                  <a:pt x="3999000" y="2685728"/>
                </a:moveTo>
                <a:cubicBezTo>
                  <a:pt x="4001542" y="2685728"/>
                  <a:pt x="4003356" y="2687542"/>
                  <a:pt x="4003356" y="2690085"/>
                </a:cubicBezTo>
                <a:cubicBezTo>
                  <a:pt x="4003356" y="2692627"/>
                  <a:pt x="4001176" y="2694442"/>
                  <a:pt x="3999000" y="2694442"/>
                </a:cubicBezTo>
                <a:cubicBezTo>
                  <a:pt x="3996457" y="2694442"/>
                  <a:pt x="3994642" y="2692627"/>
                  <a:pt x="3994642" y="2690085"/>
                </a:cubicBezTo>
                <a:cubicBezTo>
                  <a:pt x="3994642" y="2687542"/>
                  <a:pt x="3996457" y="2685728"/>
                  <a:pt x="3999000" y="2685728"/>
                </a:cubicBezTo>
                <a:close/>
                <a:moveTo>
                  <a:pt x="4152947" y="2684275"/>
                </a:moveTo>
                <a:cubicBezTo>
                  <a:pt x="4156156" y="2684275"/>
                  <a:pt x="4158756" y="2686875"/>
                  <a:pt x="4158756" y="2690085"/>
                </a:cubicBezTo>
                <a:cubicBezTo>
                  <a:pt x="4158756" y="2693294"/>
                  <a:pt x="4156156" y="2695894"/>
                  <a:pt x="4152947" y="2695894"/>
                </a:cubicBezTo>
                <a:cubicBezTo>
                  <a:pt x="4149738" y="2695894"/>
                  <a:pt x="4147138" y="2693294"/>
                  <a:pt x="4147138" y="2690085"/>
                </a:cubicBezTo>
                <a:cubicBezTo>
                  <a:pt x="4147138" y="2686875"/>
                  <a:pt x="4149738" y="2684275"/>
                  <a:pt x="4152947" y="2684275"/>
                </a:cubicBezTo>
                <a:close/>
                <a:moveTo>
                  <a:pt x="4306532" y="2682823"/>
                </a:moveTo>
                <a:cubicBezTo>
                  <a:pt x="4310527" y="2682823"/>
                  <a:pt x="4313794" y="2686090"/>
                  <a:pt x="4313794" y="2690085"/>
                </a:cubicBezTo>
                <a:cubicBezTo>
                  <a:pt x="4313794" y="2694079"/>
                  <a:pt x="4310527" y="2697346"/>
                  <a:pt x="4306532" y="2697346"/>
                </a:cubicBezTo>
                <a:cubicBezTo>
                  <a:pt x="4302538" y="2697346"/>
                  <a:pt x="4299270" y="2694079"/>
                  <a:pt x="4299270" y="2690085"/>
                </a:cubicBezTo>
                <a:cubicBezTo>
                  <a:pt x="4299270" y="2686090"/>
                  <a:pt x="4302538" y="2682823"/>
                  <a:pt x="4306532" y="2682823"/>
                </a:cubicBezTo>
                <a:close/>
                <a:moveTo>
                  <a:pt x="4460480" y="2681005"/>
                </a:moveTo>
                <a:cubicBezTo>
                  <a:pt x="4465564" y="2681005"/>
                  <a:pt x="4469560" y="2685000"/>
                  <a:pt x="4469560" y="2690081"/>
                </a:cubicBezTo>
                <a:cubicBezTo>
                  <a:pt x="4469560" y="2695166"/>
                  <a:pt x="4465564" y="2699161"/>
                  <a:pt x="4460480" y="2699161"/>
                </a:cubicBezTo>
                <a:cubicBezTo>
                  <a:pt x="4455398" y="2699161"/>
                  <a:pt x="4451404" y="2695166"/>
                  <a:pt x="4451404" y="2690081"/>
                </a:cubicBezTo>
                <a:cubicBezTo>
                  <a:pt x="4451404" y="2685000"/>
                  <a:pt x="4455398" y="2681005"/>
                  <a:pt x="4460480" y="2681005"/>
                </a:cubicBezTo>
                <a:close/>
                <a:moveTo>
                  <a:pt x="4614061" y="2679918"/>
                </a:moveTo>
                <a:cubicBezTo>
                  <a:pt x="4619508" y="2679918"/>
                  <a:pt x="4624228" y="2684638"/>
                  <a:pt x="4624228" y="2690085"/>
                </a:cubicBezTo>
                <a:cubicBezTo>
                  <a:pt x="4624228" y="2695532"/>
                  <a:pt x="4619870" y="2700251"/>
                  <a:pt x="4614061" y="2700251"/>
                </a:cubicBezTo>
                <a:cubicBezTo>
                  <a:pt x="4608614" y="2700251"/>
                  <a:pt x="4603895" y="2695532"/>
                  <a:pt x="4603895" y="2690085"/>
                </a:cubicBezTo>
                <a:cubicBezTo>
                  <a:pt x="4603895" y="2684638"/>
                  <a:pt x="4608614" y="2679918"/>
                  <a:pt x="4614061" y="2679918"/>
                </a:cubicBezTo>
                <a:close/>
                <a:moveTo>
                  <a:pt x="4768008" y="2678104"/>
                </a:moveTo>
                <a:cubicBezTo>
                  <a:pt x="4774546" y="2678104"/>
                  <a:pt x="4779993" y="2683551"/>
                  <a:pt x="4779993" y="2690085"/>
                </a:cubicBezTo>
                <a:cubicBezTo>
                  <a:pt x="4779993" y="2696622"/>
                  <a:pt x="4774546" y="2702065"/>
                  <a:pt x="4768008" y="2702065"/>
                </a:cubicBezTo>
                <a:cubicBezTo>
                  <a:pt x="4761475" y="2702065"/>
                  <a:pt x="4756028" y="2696622"/>
                  <a:pt x="4756028" y="2690085"/>
                </a:cubicBezTo>
                <a:cubicBezTo>
                  <a:pt x="4756028" y="2683551"/>
                  <a:pt x="4761475" y="2678104"/>
                  <a:pt x="4768008" y="2678104"/>
                </a:cubicBezTo>
                <a:close/>
                <a:moveTo>
                  <a:pt x="4921598" y="2676286"/>
                </a:moveTo>
                <a:cubicBezTo>
                  <a:pt x="4929222" y="2676286"/>
                  <a:pt x="4935393" y="2682457"/>
                  <a:pt x="4935393" y="2690081"/>
                </a:cubicBezTo>
                <a:cubicBezTo>
                  <a:pt x="4935393" y="2697709"/>
                  <a:pt x="4929222" y="2703880"/>
                  <a:pt x="4921598" y="2703880"/>
                </a:cubicBezTo>
                <a:cubicBezTo>
                  <a:pt x="4913970" y="2703880"/>
                  <a:pt x="4907798" y="2697709"/>
                  <a:pt x="4907798" y="2690081"/>
                </a:cubicBezTo>
                <a:cubicBezTo>
                  <a:pt x="4907798" y="2682457"/>
                  <a:pt x="4913970" y="2676286"/>
                  <a:pt x="4921598" y="2676286"/>
                </a:cubicBezTo>
                <a:close/>
                <a:moveTo>
                  <a:pt x="5075545" y="2674833"/>
                </a:moveTo>
                <a:cubicBezTo>
                  <a:pt x="5083893" y="2674833"/>
                  <a:pt x="5090792" y="2681733"/>
                  <a:pt x="5090792" y="2690081"/>
                </a:cubicBezTo>
                <a:cubicBezTo>
                  <a:pt x="5090792" y="2698433"/>
                  <a:pt x="5083893" y="2705332"/>
                  <a:pt x="5075545" y="2705332"/>
                </a:cubicBezTo>
                <a:cubicBezTo>
                  <a:pt x="5067193" y="2705332"/>
                  <a:pt x="5060294" y="2698433"/>
                  <a:pt x="5060294" y="2690081"/>
                </a:cubicBezTo>
                <a:cubicBezTo>
                  <a:pt x="5060294" y="2681733"/>
                  <a:pt x="5067193" y="2674833"/>
                  <a:pt x="5075545" y="2674833"/>
                </a:cubicBezTo>
                <a:close/>
                <a:moveTo>
                  <a:pt x="5229126" y="2673019"/>
                </a:moveTo>
                <a:cubicBezTo>
                  <a:pt x="5238564" y="2673019"/>
                  <a:pt x="5246192" y="2680643"/>
                  <a:pt x="5246192" y="2690085"/>
                </a:cubicBezTo>
                <a:cubicBezTo>
                  <a:pt x="5246192" y="2699523"/>
                  <a:pt x="5238564" y="2707147"/>
                  <a:pt x="5229126" y="2707147"/>
                </a:cubicBezTo>
                <a:cubicBezTo>
                  <a:pt x="5219684" y="2707147"/>
                  <a:pt x="5212060" y="2699523"/>
                  <a:pt x="5212060" y="2690085"/>
                </a:cubicBezTo>
                <a:cubicBezTo>
                  <a:pt x="5212060" y="2680643"/>
                  <a:pt x="5219684" y="2673019"/>
                  <a:pt x="5229126" y="2673019"/>
                </a:cubicBezTo>
                <a:close/>
                <a:moveTo>
                  <a:pt x="5383074" y="2670842"/>
                </a:moveTo>
                <a:cubicBezTo>
                  <a:pt x="5393705" y="2670842"/>
                  <a:pt x="5402320" y="2679457"/>
                  <a:pt x="5402320" y="2690085"/>
                </a:cubicBezTo>
                <a:cubicBezTo>
                  <a:pt x="5402320" y="2700712"/>
                  <a:pt x="5393705" y="2709327"/>
                  <a:pt x="5383074" y="2709327"/>
                </a:cubicBezTo>
                <a:cubicBezTo>
                  <a:pt x="5372446" y="2709327"/>
                  <a:pt x="5363832" y="2700712"/>
                  <a:pt x="5363832" y="2690085"/>
                </a:cubicBezTo>
                <a:cubicBezTo>
                  <a:pt x="5363832" y="2679457"/>
                  <a:pt x="5372446" y="2670842"/>
                  <a:pt x="5383074" y="2670842"/>
                </a:cubicBezTo>
                <a:close/>
                <a:moveTo>
                  <a:pt x="5536656" y="2668662"/>
                </a:moveTo>
                <a:cubicBezTo>
                  <a:pt x="5548488" y="2668662"/>
                  <a:pt x="5558078" y="2678252"/>
                  <a:pt x="5558078" y="2690085"/>
                </a:cubicBezTo>
                <a:cubicBezTo>
                  <a:pt x="5558078" y="2701913"/>
                  <a:pt x="5548488" y="2711504"/>
                  <a:pt x="5536656" y="2711504"/>
                </a:cubicBezTo>
                <a:cubicBezTo>
                  <a:pt x="5524827" y="2711504"/>
                  <a:pt x="5515232" y="2701913"/>
                  <a:pt x="5515232" y="2690085"/>
                </a:cubicBezTo>
                <a:cubicBezTo>
                  <a:pt x="5515232" y="2678252"/>
                  <a:pt x="5524827" y="2668662"/>
                  <a:pt x="5536656" y="2668662"/>
                </a:cubicBezTo>
                <a:close/>
                <a:moveTo>
                  <a:pt x="5690606" y="2667209"/>
                </a:moveTo>
                <a:cubicBezTo>
                  <a:pt x="5703239" y="2667209"/>
                  <a:pt x="5713482" y="2677452"/>
                  <a:pt x="5713482" y="2690085"/>
                </a:cubicBezTo>
                <a:cubicBezTo>
                  <a:pt x="5713482" y="2702717"/>
                  <a:pt x="5703239" y="2712956"/>
                  <a:pt x="5690606" y="2712956"/>
                </a:cubicBezTo>
                <a:cubicBezTo>
                  <a:pt x="5677974" y="2712956"/>
                  <a:pt x="5667732" y="2702717"/>
                  <a:pt x="5667732" y="2690085"/>
                </a:cubicBezTo>
                <a:cubicBezTo>
                  <a:pt x="5667732" y="2677452"/>
                  <a:pt x="5677974" y="2667209"/>
                  <a:pt x="5690606" y="2667209"/>
                </a:cubicBezTo>
                <a:close/>
                <a:moveTo>
                  <a:pt x="5844550" y="2665033"/>
                </a:moveTo>
                <a:cubicBezTo>
                  <a:pt x="5858388" y="2665033"/>
                  <a:pt x="5869606" y="2676247"/>
                  <a:pt x="5869606" y="2690085"/>
                </a:cubicBezTo>
                <a:cubicBezTo>
                  <a:pt x="5869606" y="2703922"/>
                  <a:pt x="5858388" y="2715136"/>
                  <a:pt x="5844550" y="2715136"/>
                </a:cubicBezTo>
                <a:cubicBezTo>
                  <a:pt x="5830713" y="2715136"/>
                  <a:pt x="5819498" y="2703922"/>
                  <a:pt x="5819498" y="2690085"/>
                </a:cubicBezTo>
                <a:cubicBezTo>
                  <a:pt x="5819498" y="2676247"/>
                  <a:pt x="5830713" y="2665033"/>
                  <a:pt x="5844550" y="2665033"/>
                </a:cubicBezTo>
                <a:close/>
                <a:moveTo>
                  <a:pt x="5998139" y="2662852"/>
                </a:moveTo>
                <a:cubicBezTo>
                  <a:pt x="6013024" y="2662852"/>
                  <a:pt x="6025372" y="2675199"/>
                  <a:pt x="6025372" y="2690085"/>
                </a:cubicBezTo>
                <a:cubicBezTo>
                  <a:pt x="6025372" y="2704970"/>
                  <a:pt x="6013390" y="2717317"/>
                  <a:pt x="5998139" y="2717317"/>
                </a:cubicBezTo>
                <a:cubicBezTo>
                  <a:pt x="5983254" y="2717317"/>
                  <a:pt x="5970907" y="2704970"/>
                  <a:pt x="5970907" y="2690085"/>
                </a:cubicBezTo>
                <a:cubicBezTo>
                  <a:pt x="5970907" y="2675199"/>
                  <a:pt x="5983254" y="2662852"/>
                  <a:pt x="5998139" y="2662852"/>
                </a:cubicBezTo>
                <a:close/>
                <a:moveTo>
                  <a:pt x="6152083" y="2660310"/>
                </a:moveTo>
                <a:cubicBezTo>
                  <a:pt x="6168528" y="2660310"/>
                  <a:pt x="6181858" y="2673640"/>
                  <a:pt x="6181858" y="2690081"/>
                </a:cubicBezTo>
                <a:cubicBezTo>
                  <a:pt x="6181858" y="2706525"/>
                  <a:pt x="6168528" y="2719856"/>
                  <a:pt x="6152083" y="2719856"/>
                </a:cubicBezTo>
                <a:cubicBezTo>
                  <a:pt x="6135642" y="2719856"/>
                  <a:pt x="6122312" y="2706525"/>
                  <a:pt x="6122312" y="2690081"/>
                </a:cubicBezTo>
                <a:cubicBezTo>
                  <a:pt x="6122312" y="2673640"/>
                  <a:pt x="6135642" y="2660310"/>
                  <a:pt x="6152083" y="2660310"/>
                </a:cubicBezTo>
                <a:close/>
                <a:moveTo>
                  <a:pt x="6305668" y="2658133"/>
                </a:moveTo>
                <a:cubicBezTo>
                  <a:pt x="6323317" y="2658133"/>
                  <a:pt x="6337620" y="2672439"/>
                  <a:pt x="6337620" y="2690085"/>
                </a:cubicBezTo>
                <a:cubicBezTo>
                  <a:pt x="6337620" y="2707730"/>
                  <a:pt x="6323317" y="2722036"/>
                  <a:pt x="6305668" y="2722036"/>
                </a:cubicBezTo>
                <a:cubicBezTo>
                  <a:pt x="6288022" y="2722036"/>
                  <a:pt x="6273716" y="2707730"/>
                  <a:pt x="6273716" y="2690085"/>
                </a:cubicBezTo>
                <a:cubicBezTo>
                  <a:pt x="6273716" y="2672439"/>
                  <a:pt x="6288022" y="2658133"/>
                  <a:pt x="6305668" y="2658133"/>
                </a:cubicBezTo>
                <a:close/>
                <a:moveTo>
                  <a:pt x="6459616" y="2656319"/>
                </a:moveTo>
                <a:cubicBezTo>
                  <a:pt x="6478263" y="2656319"/>
                  <a:pt x="6493385" y="2671437"/>
                  <a:pt x="6493385" y="2690085"/>
                </a:cubicBezTo>
                <a:cubicBezTo>
                  <a:pt x="6493385" y="2708736"/>
                  <a:pt x="6478263" y="2723850"/>
                  <a:pt x="6459616" y="2723850"/>
                </a:cubicBezTo>
                <a:cubicBezTo>
                  <a:pt x="6440968" y="2723850"/>
                  <a:pt x="6425850" y="2708736"/>
                  <a:pt x="6425850" y="2690085"/>
                </a:cubicBezTo>
                <a:cubicBezTo>
                  <a:pt x="6425850" y="2671437"/>
                  <a:pt x="6440968" y="2656319"/>
                  <a:pt x="6459616" y="2656319"/>
                </a:cubicBezTo>
                <a:close/>
                <a:moveTo>
                  <a:pt x="6613200" y="2653777"/>
                </a:moveTo>
                <a:cubicBezTo>
                  <a:pt x="6633255" y="2653777"/>
                  <a:pt x="6649509" y="2670030"/>
                  <a:pt x="6649509" y="2690085"/>
                </a:cubicBezTo>
                <a:cubicBezTo>
                  <a:pt x="6649509" y="2710135"/>
                  <a:pt x="6633255" y="2726393"/>
                  <a:pt x="6613200" y="2726393"/>
                </a:cubicBezTo>
                <a:cubicBezTo>
                  <a:pt x="6593146" y="2726393"/>
                  <a:pt x="6576892" y="2710135"/>
                  <a:pt x="6576892" y="2690085"/>
                </a:cubicBezTo>
                <a:cubicBezTo>
                  <a:pt x="6576892" y="2670030"/>
                  <a:pt x="6593146" y="2653777"/>
                  <a:pt x="6613200" y="2653777"/>
                </a:cubicBezTo>
                <a:close/>
                <a:moveTo>
                  <a:pt x="3230349" y="2536137"/>
                </a:moveTo>
                <a:cubicBezTo>
                  <a:pt x="3230715" y="2536137"/>
                  <a:pt x="3230715" y="2536137"/>
                  <a:pt x="3230715" y="2536499"/>
                </a:cubicBezTo>
                <a:cubicBezTo>
                  <a:pt x="3230715" y="2536866"/>
                  <a:pt x="3230349" y="2536866"/>
                  <a:pt x="3230349" y="2536866"/>
                </a:cubicBezTo>
                <a:cubicBezTo>
                  <a:pt x="3229987" y="2536866"/>
                  <a:pt x="3229987" y="2536866"/>
                  <a:pt x="3229987" y="2536499"/>
                </a:cubicBezTo>
                <a:cubicBezTo>
                  <a:pt x="3229987" y="2536137"/>
                  <a:pt x="3229987" y="2536137"/>
                  <a:pt x="3230349" y="2536137"/>
                </a:cubicBezTo>
                <a:close/>
                <a:moveTo>
                  <a:pt x="2768873" y="2536137"/>
                </a:moveTo>
                <a:cubicBezTo>
                  <a:pt x="2769235" y="2536137"/>
                  <a:pt x="2769235" y="2536137"/>
                  <a:pt x="2769235" y="2536499"/>
                </a:cubicBezTo>
                <a:cubicBezTo>
                  <a:pt x="2769235" y="2536866"/>
                  <a:pt x="2768873" y="2536866"/>
                  <a:pt x="2768873" y="2536866"/>
                </a:cubicBezTo>
                <a:cubicBezTo>
                  <a:pt x="2768511" y="2536866"/>
                  <a:pt x="2768511" y="2536866"/>
                  <a:pt x="2768511" y="2536499"/>
                </a:cubicBezTo>
                <a:cubicBezTo>
                  <a:pt x="2768511" y="2536137"/>
                  <a:pt x="2768511" y="2536137"/>
                  <a:pt x="2768873" y="2536137"/>
                </a:cubicBezTo>
                <a:close/>
                <a:moveTo>
                  <a:pt x="2614925" y="2536137"/>
                </a:moveTo>
                <a:cubicBezTo>
                  <a:pt x="2615288" y="2536137"/>
                  <a:pt x="2615288" y="2536137"/>
                  <a:pt x="2615288" y="2536499"/>
                </a:cubicBezTo>
                <a:cubicBezTo>
                  <a:pt x="2615288" y="2536866"/>
                  <a:pt x="2614925" y="2536866"/>
                  <a:pt x="2614925" y="2536866"/>
                </a:cubicBezTo>
                <a:cubicBezTo>
                  <a:pt x="2614563" y="2536866"/>
                  <a:pt x="2614563" y="2536866"/>
                  <a:pt x="2614563" y="2536499"/>
                </a:cubicBezTo>
                <a:cubicBezTo>
                  <a:pt x="2614563" y="2536137"/>
                  <a:pt x="2614563" y="2536137"/>
                  <a:pt x="2614925" y="2536137"/>
                </a:cubicBezTo>
                <a:close/>
                <a:moveTo>
                  <a:pt x="2461344" y="2535771"/>
                </a:moveTo>
                <a:cubicBezTo>
                  <a:pt x="2461706" y="2535771"/>
                  <a:pt x="2462068" y="2536133"/>
                  <a:pt x="2462068" y="2536499"/>
                </a:cubicBezTo>
                <a:cubicBezTo>
                  <a:pt x="2462068" y="2536862"/>
                  <a:pt x="2461344" y="2537224"/>
                  <a:pt x="2461344" y="2537224"/>
                </a:cubicBezTo>
                <a:cubicBezTo>
                  <a:pt x="2460978" y="2537224"/>
                  <a:pt x="2460616" y="2536862"/>
                  <a:pt x="2460616" y="2536499"/>
                </a:cubicBezTo>
                <a:cubicBezTo>
                  <a:pt x="2460616" y="2536133"/>
                  <a:pt x="2460978" y="2535771"/>
                  <a:pt x="2461344" y="2535771"/>
                </a:cubicBezTo>
                <a:close/>
                <a:moveTo>
                  <a:pt x="3383938" y="2535047"/>
                </a:moveTo>
                <a:cubicBezTo>
                  <a:pt x="3384738" y="2535047"/>
                  <a:pt x="3385390" y="2535699"/>
                  <a:pt x="3385390" y="2536499"/>
                </a:cubicBezTo>
                <a:cubicBezTo>
                  <a:pt x="3385390" y="2537300"/>
                  <a:pt x="3384738" y="2537952"/>
                  <a:pt x="3383938" y="2537952"/>
                </a:cubicBezTo>
                <a:cubicBezTo>
                  <a:pt x="3383134" y="2537952"/>
                  <a:pt x="3382486" y="2537300"/>
                  <a:pt x="3382486" y="2536499"/>
                </a:cubicBezTo>
                <a:cubicBezTo>
                  <a:pt x="3382486" y="2535699"/>
                  <a:pt x="3383134" y="2535047"/>
                  <a:pt x="3383938" y="2535047"/>
                </a:cubicBezTo>
                <a:close/>
                <a:moveTo>
                  <a:pt x="3537886" y="2534323"/>
                </a:moveTo>
                <a:cubicBezTo>
                  <a:pt x="3539086" y="2534323"/>
                  <a:pt x="3540062" y="2535299"/>
                  <a:pt x="3540062" y="2536503"/>
                </a:cubicBezTo>
                <a:cubicBezTo>
                  <a:pt x="3540062" y="2537704"/>
                  <a:pt x="3539086" y="2538680"/>
                  <a:pt x="3537886" y="2538680"/>
                </a:cubicBezTo>
                <a:cubicBezTo>
                  <a:pt x="3536681" y="2538680"/>
                  <a:pt x="3535705" y="2537704"/>
                  <a:pt x="3535705" y="2536503"/>
                </a:cubicBezTo>
                <a:cubicBezTo>
                  <a:pt x="3535705" y="2535299"/>
                  <a:pt x="3536681" y="2534323"/>
                  <a:pt x="3537886" y="2534323"/>
                </a:cubicBezTo>
                <a:close/>
                <a:moveTo>
                  <a:pt x="3691467" y="2533233"/>
                </a:moveTo>
                <a:cubicBezTo>
                  <a:pt x="3693285" y="2533233"/>
                  <a:pt x="3694738" y="2534685"/>
                  <a:pt x="3694738" y="2536499"/>
                </a:cubicBezTo>
                <a:cubicBezTo>
                  <a:pt x="3694738" y="2538318"/>
                  <a:pt x="3693285" y="2539770"/>
                  <a:pt x="3691467" y="2539770"/>
                </a:cubicBezTo>
                <a:cubicBezTo>
                  <a:pt x="3689652" y="2539770"/>
                  <a:pt x="3688200" y="2538318"/>
                  <a:pt x="3688200" y="2536499"/>
                </a:cubicBezTo>
                <a:cubicBezTo>
                  <a:pt x="3688200" y="2534685"/>
                  <a:pt x="3689652" y="2533233"/>
                  <a:pt x="3691467" y="2533233"/>
                </a:cubicBezTo>
                <a:close/>
                <a:moveTo>
                  <a:pt x="3845414" y="2531780"/>
                </a:moveTo>
                <a:cubicBezTo>
                  <a:pt x="3847957" y="2531780"/>
                  <a:pt x="3849771" y="2533595"/>
                  <a:pt x="3849771" y="2536137"/>
                </a:cubicBezTo>
                <a:cubicBezTo>
                  <a:pt x="3849771" y="2538680"/>
                  <a:pt x="3847591" y="2540494"/>
                  <a:pt x="3845414" y="2540494"/>
                </a:cubicBezTo>
                <a:cubicBezTo>
                  <a:pt x="3842872" y="2540494"/>
                  <a:pt x="3841057" y="2538680"/>
                  <a:pt x="3841057" y="2536137"/>
                </a:cubicBezTo>
                <a:cubicBezTo>
                  <a:pt x="3841057" y="2533595"/>
                  <a:pt x="3842872" y="2531780"/>
                  <a:pt x="3845414" y="2531780"/>
                </a:cubicBezTo>
                <a:close/>
                <a:moveTo>
                  <a:pt x="3999000" y="2530690"/>
                </a:moveTo>
                <a:cubicBezTo>
                  <a:pt x="4002209" y="2530690"/>
                  <a:pt x="4004809" y="2533290"/>
                  <a:pt x="4004809" y="2536499"/>
                </a:cubicBezTo>
                <a:cubicBezTo>
                  <a:pt x="4004809" y="2539709"/>
                  <a:pt x="4002209" y="2542309"/>
                  <a:pt x="3999000" y="2542309"/>
                </a:cubicBezTo>
                <a:cubicBezTo>
                  <a:pt x="3995790" y="2542309"/>
                  <a:pt x="3993190" y="2539709"/>
                  <a:pt x="3993190" y="2536499"/>
                </a:cubicBezTo>
                <a:cubicBezTo>
                  <a:pt x="3993190" y="2533290"/>
                  <a:pt x="3995790" y="2530690"/>
                  <a:pt x="3999000" y="2530690"/>
                </a:cubicBezTo>
                <a:close/>
                <a:moveTo>
                  <a:pt x="4152947" y="2528876"/>
                </a:moveTo>
                <a:cubicBezTo>
                  <a:pt x="4156942" y="2528876"/>
                  <a:pt x="4160208" y="2532142"/>
                  <a:pt x="4160208" y="2536137"/>
                </a:cubicBezTo>
                <a:cubicBezTo>
                  <a:pt x="4160208" y="2540132"/>
                  <a:pt x="4156942" y="2543399"/>
                  <a:pt x="4152947" y="2543399"/>
                </a:cubicBezTo>
                <a:cubicBezTo>
                  <a:pt x="4148952" y="2543399"/>
                  <a:pt x="4145686" y="2540132"/>
                  <a:pt x="4145686" y="2536137"/>
                </a:cubicBezTo>
                <a:cubicBezTo>
                  <a:pt x="4145686" y="2532142"/>
                  <a:pt x="4148952" y="2528876"/>
                  <a:pt x="4152947" y="2528876"/>
                </a:cubicBezTo>
                <a:close/>
                <a:moveTo>
                  <a:pt x="4306528" y="2527058"/>
                </a:moveTo>
                <a:cubicBezTo>
                  <a:pt x="4311614" y="2527058"/>
                  <a:pt x="4315608" y="2531052"/>
                  <a:pt x="4315608" y="2536133"/>
                </a:cubicBezTo>
                <a:cubicBezTo>
                  <a:pt x="4315608" y="2541218"/>
                  <a:pt x="4311614" y="2545213"/>
                  <a:pt x="4306528" y="2545213"/>
                </a:cubicBezTo>
                <a:cubicBezTo>
                  <a:pt x="4301447" y="2545213"/>
                  <a:pt x="4297452" y="2541218"/>
                  <a:pt x="4297452" y="2536133"/>
                </a:cubicBezTo>
                <a:cubicBezTo>
                  <a:pt x="4297452" y="2531052"/>
                  <a:pt x="4301447" y="2527058"/>
                  <a:pt x="4306528" y="2527058"/>
                </a:cubicBezTo>
                <a:close/>
                <a:moveTo>
                  <a:pt x="4460480" y="2526333"/>
                </a:moveTo>
                <a:cubicBezTo>
                  <a:pt x="4465927" y="2526333"/>
                  <a:pt x="4470646" y="2531052"/>
                  <a:pt x="4470646" y="2536499"/>
                </a:cubicBezTo>
                <a:cubicBezTo>
                  <a:pt x="4470646" y="2541947"/>
                  <a:pt x="4466289" y="2546666"/>
                  <a:pt x="4460480" y="2546666"/>
                </a:cubicBezTo>
                <a:cubicBezTo>
                  <a:pt x="4455032" y="2546666"/>
                  <a:pt x="4450314" y="2541947"/>
                  <a:pt x="4450314" y="2536499"/>
                </a:cubicBezTo>
                <a:cubicBezTo>
                  <a:pt x="4450314" y="2531052"/>
                  <a:pt x="4455032" y="2526333"/>
                  <a:pt x="4460480" y="2526333"/>
                </a:cubicBezTo>
                <a:close/>
                <a:moveTo>
                  <a:pt x="4614061" y="2524153"/>
                </a:moveTo>
                <a:cubicBezTo>
                  <a:pt x="4620598" y="2524153"/>
                  <a:pt x="4626046" y="2529600"/>
                  <a:pt x="4626046" y="2536133"/>
                </a:cubicBezTo>
                <a:cubicBezTo>
                  <a:pt x="4626046" y="2542671"/>
                  <a:pt x="4620598" y="2548118"/>
                  <a:pt x="4614061" y="2548118"/>
                </a:cubicBezTo>
                <a:cubicBezTo>
                  <a:pt x="4607528" y="2548118"/>
                  <a:pt x="4602080" y="2542671"/>
                  <a:pt x="4602080" y="2536133"/>
                </a:cubicBezTo>
                <a:cubicBezTo>
                  <a:pt x="4602080" y="2529600"/>
                  <a:pt x="4607528" y="2524153"/>
                  <a:pt x="4614061" y="2524153"/>
                </a:cubicBezTo>
                <a:close/>
                <a:moveTo>
                  <a:pt x="4768012" y="2522338"/>
                </a:moveTo>
                <a:cubicBezTo>
                  <a:pt x="4775636" y="2522338"/>
                  <a:pt x="4781808" y="2528510"/>
                  <a:pt x="4781808" y="2536133"/>
                </a:cubicBezTo>
                <a:cubicBezTo>
                  <a:pt x="4781808" y="2543761"/>
                  <a:pt x="4775636" y="2549933"/>
                  <a:pt x="4768012" y="2549933"/>
                </a:cubicBezTo>
                <a:cubicBezTo>
                  <a:pt x="4760384" y="2549933"/>
                  <a:pt x="4754214" y="2543761"/>
                  <a:pt x="4754214" y="2536133"/>
                </a:cubicBezTo>
                <a:cubicBezTo>
                  <a:pt x="4754214" y="2528510"/>
                  <a:pt x="4760384" y="2522338"/>
                  <a:pt x="4768012" y="2522338"/>
                </a:cubicBezTo>
                <a:close/>
                <a:moveTo>
                  <a:pt x="4921594" y="2521252"/>
                </a:moveTo>
                <a:cubicBezTo>
                  <a:pt x="4930018" y="2521252"/>
                  <a:pt x="4936845" y="2528079"/>
                  <a:pt x="4936845" y="2536503"/>
                </a:cubicBezTo>
                <a:cubicBezTo>
                  <a:pt x="4936845" y="2544924"/>
                  <a:pt x="4930018" y="2551751"/>
                  <a:pt x="4921594" y="2551751"/>
                </a:cubicBezTo>
                <a:cubicBezTo>
                  <a:pt x="4913174" y="2551751"/>
                  <a:pt x="4906346" y="2544924"/>
                  <a:pt x="4906346" y="2536503"/>
                </a:cubicBezTo>
                <a:cubicBezTo>
                  <a:pt x="4906346" y="2528079"/>
                  <a:pt x="4913174" y="2521252"/>
                  <a:pt x="4921594" y="2521252"/>
                </a:cubicBezTo>
                <a:close/>
                <a:moveTo>
                  <a:pt x="5075545" y="2519071"/>
                </a:moveTo>
                <a:cubicBezTo>
                  <a:pt x="5084984" y="2519071"/>
                  <a:pt x="5092611" y="2526695"/>
                  <a:pt x="5092611" y="2536137"/>
                </a:cubicBezTo>
                <a:cubicBezTo>
                  <a:pt x="5092611" y="2545575"/>
                  <a:pt x="5084984" y="2553203"/>
                  <a:pt x="5075545" y="2553203"/>
                </a:cubicBezTo>
                <a:cubicBezTo>
                  <a:pt x="5066103" y="2553203"/>
                  <a:pt x="5058479" y="2545575"/>
                  <a:pt x="5058479" y="2536137"/>
                </a:cubicBezTo>
                <a:cubicBezTo>
                  <a:pt x="5058479" y="2526695"/>
                  <a:pt x="5066103" y="2519071"/>
                  <a:pt x="5075545" y="2519071"/>
                </a:cubicBezTo>
                <a:close/>
                <a:moveTo>
                  <a:pt x="5229126" y="2517257"/>
                </a:moveTo>
                <a:cubicBezTo>
                  <a:pt x="5239754" y="2517257"/>
                  <a:pt x="5248369" y="2525872"/>
                  <a:pt x="5248369" y="2536499"/>
                </a:cubicBezTo>
                <a:cubicBezTo>
                  <a:pt x="5248369" y="2547127"/>
                  <a:pt x="5239754" y="2555742"/>
                  <a:pt x="5229126" y="2555742"/>
                </a:cubicBezTo>
                <a:cubicBezTo>
                  <a:pt x="5218499" y="2555742"/>
                  <a:pt x="5209884" y="2547127"/>
                  <a:pt x="5209884" y="2536499"/>
                </a:cubicBezTo>
                <a:cubicBezTo>
                  <a:pt x="5209884" y="2525872"/>
                  <a:pt x="5218499" y="2517257"/>
                  <a:pt x="5229126" y="2517257"/>
                </a:cubicBezTo>
                <a:close/>
                <a:moveTo>
                  <a:pt x="5383074" y="2514714"/>
                </a:moveTo>
                <a:cubicBezTo>
                  <a:pt x="5395054" y="2514714"/>
                  <a:pt x="5404496" y="2524153"/>
                  <a:pt x="5404496" y="2536137"/>
                </a:cubicBezTo>
                <a:cubicBezTo>
                  <a:pt x="5404496" y="2548118"/>
                  <a:pt x="5394692" y="2557560"/>
                  <a:pt x="5383074" y="2557560"/>
                </a:cubicBezTo>
                <a:cubicBezTo>
                  <a:pt x="5371093" y="2557560"/>
                  <a:pt x="5361651" y="2548118"/>
                  <a:pt x="5361651" y="2536137"/>
                </a:cubicBezTo>
                <a:cubicBezTo>
                  <a:pt x="5361651" y="2524153"/>
                  <a:pt x="5371093" y="2514714"/>
                  <a:pt x="5383074" y="2514714"/>
                </a:cubicBezTo>
                <a:close/>
                <a:moveTo>
                  <a:pt x="5536659" y="2513624"/>
                </a:moveTo>
                <a:cubicBezTo>
                  <a:pt x="5549292" y="2513624"/>
                  <a:pt x="5559534" y="2523867"/>
                  <a:pt x="5559534" y="2536499"/>
                </a:cubicBezTo>
                <a:cubicBezTo>
                  <a:pt x="5559534" y="2549132"/>
                  <a:pt x="5549292" y="2559371"/>
                  <a:pt x="5536659" y="2559371"/>
                </a:cubicBezTo>
                <a:cubicBezTo>
                  <a:pt x="5524026" y="2559371"/>
                  <a:pt x="5513784" y="2549132"/>
                  <a:pt x="5513784" y="2536499"/>
                </a:cubicBezTo>
                <a:cubicBezTo>
                  <a:pt x="5513784" y="2523867"/>
                  <a:pt x="5524026" y="2513624"/>
                  <a:pt x="5536659" y="2513624"/>
                </a:cubicBezTo>
                <a:close/>
                <a:moveTo>
                  <a:pt x="5690602" y="2511448"/>
                </a:moveTo>
                <a:cubicBezTo>
                  <a:pt x="5704440" y="2511448"/>
                  <a:pt x="5715658" y="2522662"/>
                  <a:pt x="5715658" y="2536499"/>
                </a:cubicBezTo>
                <a:cubicBezTo>
                  <a:pt x="5715658" y="2550337"/>
                  <a:pt x="5704440" y="2561555"/>
                  <a:pt x="5690602" y="2561555"/>
                </a:cubicBezTo>
                <a:cubicBezTo>
                  <a:pt x="5676766" y="2561555"/>
                  <a:pt x="5665551" y="2550337"/>
                  <a:pt x="5665551" y="2536499"/>
                </a:cubicBezTo>
                <a:cubicBezTo>
                  <a:pt x="5665551" y="2522666"/>
                  <a:pt x="5676766" y="2511448"/>
                  <a:pt x="5690602" y="2511448"/>
                </a:cubicBezTo>
                <a:close/>
                <a:moveTo>
                  <a:pt x="5844554" y="2509267"/>
                </a:moveTo>
                <a:cubicBezTo>
                  <a:pt x="5859440" y="2509267"/>
                  <a:pt x="5871786" y="2521610"/>
                  <a:pt x="5871786" y="2536499"/>
                </a:cubicBezTo>
                <a:cubicBezTo>
                  <a:pt x="5871786" y="2551385"/>
                  <a:pt x="5859802" y="2563732"/>
                  <a:pt x="5844554" y="2563732"/>
                </a:cubicBezTo>
                <a:cubicBezTo>
                  <a:pt x="5829664" y="2563732"/>
                  <a:pt x="5817322" y="2551385"/>
                  <a:pt x="5817322" y="2536499"/>
                </a:cubicBezTo>
                <a:cubicBezTo>
                  <a:pt x="5817322" y="2521610"/>
                  <a:pt x="5829664" y="2509267"/>
                  <a:pt x="5844554" y="2509267"/>
                </a:cubicBezTo>
                <a:close/>
                <a:moveTo>
                  <a:pt x="5998136" y="2506729"/>
                </a:moveTo>
                <a:cubicBezTo>
                  <a:pt x="6014580" y="2506729"/>
                  <a:pt x="6027910" y="2520059"/>
                  <a:pt x="6027910" y="2536503"/>
                </a:cubicBezTo>
                <a:cubicBezTo>
                  <a:pt x="6027910" y="2552944"/>
                  <a:pt x="6014580" y="2566274"/>
                  <a:pt x="5998136" y="2566274"/>
                </a:cubicBezTo>
                <a:cubicBezTo>
                  <a:pt x="5981694" y="2566274"/>
                  <a:pt x="5968364" y="2552944"/>
                  <a:pt x="5968364" y="2536503"/>
                </a:cubicBezTo>
                <a:cubicBezTo>
                  <a:pt x="5968364" y="2520059"/>
                  <a:pt x="5981694" y="2506729"/>
                  <a:pt x="5998136" y="2506729"/>
                </a:cubicBezTo>
                <a:close/>
                <a:moveTo>
                  <a:pt x="6152086" y="2504548"/>
                </a:moveTo>
                <a:cubicBezTo>
                  <a:pt x="6169732" y="2504548"/>
                  <a:pt x="6184038" y="2518854"/>
                  <a:pt x="6184038" y="2536499"/>
                </a:cubicBezTo>
                <a:cubicBezTo>
                  <a:pt x="6184038" y="2554145"/>
                  <a:pt x="6169732" y="2568451"/>
                  <a:pt x="6152086" y="2568451"/>
                </a:cubicBezTo>
                <a:cubicBezTo>
                  <a:pt x="6134438" y="2568451"/>
                  <a:pt x="6120135" y="2554145"/>
                  <a:pt x="6120135" y="2536499"/>
                </a:cubicBezTo>
                <a:cubicBezTo>
                  <a:pt x="6120135" y="2518854"/>
                  <a:pt x="6134438" y="2504548"/>
                  <a:pt x="6152086" y="2504548"/>
                </a:cubicBezTo>
                <a:close/>
                <a:moveTo>
                  <a:pt x="6305668" y="2502734"/>
                </a:moveTo>
                <a:cubicBezTo>
                  <a:pt x="6324320" y="2502734"/>
                  <a:pt x="6339438" y="2517852"/>
                  <a:pt x="6339438" y="2536499"/>
                </a:cubicBezTo>
                <a:cubicBezTo>
                  <a:pt x="6339438" y="2555151"/>
                  <a:pt x="6324320" y="2570269"/>
                  <a:pt x="6305668" y="2570269"/>
                </a:cubicBezTo>
                <a:cubicBezTo>
                  <a:pt x="6287020" y="2570269"/>
                  <a:pt x="6271902" y="2555151"/>
                  <a:pt x="6271902" y="2536499"/>
                </a:cubicBezTo>
                <a:cubicBezTo>
                  <a:pt x="6271902" y="2517852"/>
                  <a:pt x="6287020" y="2502734"/>
                  <a:pt x="6305668" y="2502734"/>
                </a:cubicBezTo>
                <a:close/>
                <a:moveTo>
                  <a:pt x="6459616" y="2500191"/>
                </a:moveTo>
                <a:cubicBezTo>
                  <a:pt x="6479670" y="2500191"/>
                  <a:pt x="6495924" y="2516445"/>
                  <a:pt x="6495924" y="2536499"/>
                </a:cubicBezTo>
                <a:cubicBezTo>
                  <a:pt x="6495924" y="2556554"/>
                  <a:pt x="6479670" y="2572808"/>
                  <a:pt x="6459616" y="2572808"/>
                </a:cubicBezTo>
                <a:cubicBezTo>
                  <a:pt x="6439561" y="2572808"/>
                  <a:pt x="6423307" y="2556554"/>
                  <a:pt x="6423307" y="2536499"/>
                </a:cubicBezTo>
                <a:cubicBezTo>
                  <a:pt x="6423307" y="2516445"/>
                  <a:pt x="6439561" y="2500191"/>
                  <a:pt x="6459616" y="2500191"/>
                </a:cubicBezTo>
                <a:close/>
                <a:moveTo>
                  <a:pt x="6613200" y="2497648"/>
                </a:moveTo>
                <a:cubicBezTo>
                  <a:pt x="6634654" y="2497648"/>
                  <a:pt x="6652048" y="2515042"/>
                  <a:pt x="6652048" y="2536499"/>
                </a:cubicBezTo>
                <a:cubicBezTo>
                  <a:pt x="6652048" y="2557953"/>
                  <a:pt x="6634654" y="2575350"/>
                  <a:pt x="6613200" y="2575350"/>
                </a:cubicBezTo>
                <a:cubicBezTo>
                  <a:pt x="6591744" y="2575350"/>
                  <a:pt x="6574350" y="2557953"/>
                  <a:pt x="6574350" y="2536499"/>
                </a:cubicBezTo>
                <a:cubicBezTo>
                  <a:pt x="6574350" y="2515042"/>
                  <a:pt x="6591744" y="2497648"/>
                  <a:pt x="6613200" y="2497648"/>
                </a:cubicBezTo>
                <a:close/>
                <a:moveTo>
                  <a:pt x="3076406" y="2382190"/>
                </a:moveTo>
                <a:cubicBezTo>
                  <a:pt x="3076768" y="2382190"/>
                  <a:pt x="3076768" y="2382190"/>
                  <a:pt x="3076768" y="2382552"/>
                </a:cubicBezTo>
                <a:cubicBezTo>
                  <a:pt x="3076768" y="2382914"/>
                  <a:pt x="3076406" y="2382914"/>
                  <a:pt x="3076406" y="2382914"/>
                </a:cubicBezTo>
                <a:cubicBezTo>
                  <a:pt x="3076043" y="2382914"/>
                  <a:pt x="3076043" y="2382914"/>
                  <a:pt x="3076043" y="2382552"/>
                </a:cubicBezTo>
                <a:cubicBezTo>
                  <a:pt x="3076043" y="2382190"/>
                  <a:pt x="3076043" y="2382190"/>
                  <a:pt x="3076406" y="2382190"/>
                </a:cubicBezTo>
                <a:close/>
                <a:moveTo>
                  <a:pt x="2614925" y="2382190"/>
                </a:moveTo>
                <a:cubicBezTo>
                  <a:pt x="2615288" y="2382190"/>
                  <a:pt x="2615288" y="2382190"/>
                  <a:pt x="2615288" y="2382552"/>
                </a:cubicBezTo>
                <a:cubicBezTo>
                  <a:pt x="2615288" y="2382914"/>
                  <a:pt x="2614925" y="2382914"/>
                  <a:pt x="2614925" y="2382914"/>
                </a:cubicBezTo>
                <a:cubicBezTo>
                  <a:pt x="2614563" y="2382914"/>
                  <a:pt x="2614563" y="2382914"/>
                  <a:pt x="2614563" y="2382552"/>
                </a:cubicBezTo>
                <a:cubicBezTo>
                  <a:pt x="2614563" y="2382190"/>
                  <a:pt x="2614563" y="2382190"/>
                  <a:pt x="2614925" y="2382190"/>
                </a:cubicBezTo>
                <a:close/>
                <a:moveTo>
                  <a:pt x="2461340" y="2382190"/>
                </a:moveTo>
                <a:cubicBezTo>
                  <a:pt x="2461702" y="2382190"/>
                  <a:pt x="2461702" y="2382190"/>
                  <a:pt x="2461702" y="2382552"/>
                </a:cubicBezTo>
                <a:cubicBezTo>
                  <a:pt x="2461702" y="2382914"/>
                  <a:pt x="2461340" y="2382914"/>
                  <a:pt x="2461340" y="2382914"/>
                </a:cubicBezTo>
                <a:cubicBezTo>
                  <a:pt x="2460978" y="2382914"/>
                  <a:pt x="2460978" y="2382914"/>
                  <a:pt x="2460978" y="2382552"/>
                </a:cubicBezTo>
                <a:cubicBezTo>
                  <a:pt x="2460978" y="2382190"/>
                  <a:pt x="2460978" y="2382190"/>
                  <a:pt x="2461340" y="2382190"/>
                </a:cubicBezTo>
                <a:close/>
                <a:moveTo>
                  <a:pt x="2307393" y="2381824"/>
                </a:moveTo>
                <a:cubicBezTo>
                  <a:pt x="2307759" y="2381824"/>
                  <a:pt x="2308121" y="2382186"/>
                  <a:pt x="2308121" y="2382552"/>
                </a:cubicBezTo>
                <a:cubicBezTo>
                  <a:pt x="2308121" y="2382914"/>
                  <a:pt x="2307393" y="2383276"/>
                  <a:pt x="2307393" y="2383276"/>
                </a:cubicBezTo>
                <a:cubicBezTo>
                  <a:pt x="2307031" y="2383276"/>
                  <a:pt x="2306669" y="2382914"/>
                  <a:pt x="2306669" y="2382552"/>
                </a:cubicBezTo>
                <a:cubicBezTo>
                  <a:pt x="2306669" y="2382186"/>
                  <a:pt x="2307031" y="2381824"/>
                  <a:pt x="2307393" y="2381824"/>
                </a:cubicBezTo>
                <a:close/>
                <a:moveTo>
                  <a:pt x="3230353" y="2381100"/>
                </a:moveTo>
                <a:cubicBezTo>
                  <a:pt x="3231077" y="2381100"/>
                  <a:pt x="3231805" y="2381824"/>
                  <a:pt x="3231805" y="2382552"/>
                </a:cubicBezTo>
                <a:cubicBezTo>
                  <a:pt x="3231805" y="2383276"/>
                  <a:pt x="3230353" y="2384005"/>
                  <a:pt x="3230353" y="2384005"/>
                </a:cubicBezTo>
                <a:cubicBezTo>
                  <a:pt x="3229625" y="2384005"/>
                  <a:pt x="3228900" y="2383276"/>
                  <a:pt x="3228900" y="2382552"/>
                </a:cubicBezTo>
                <a:cubicBezTo>
                  <a:pt x="3228900" y="2381824"/>
                  <a:pt x="3229625" y="2381100"/>
                  <a:pt x="3230353" y="2381100"/>
                </a:cubicBezTo>
                <a:close/>
                <a:moveTo>
                  <a:pt x="3383938" y="2380375"/>
                </a:moveTo>
                <a:cubicBezTo>
                  <a:pt x="3385139" y="2380375"/>
                  <a:pt x="3386115" y="2381351"/>
                  <a:pt x="3386115" y="2382556"/>
                </a:cubicBezTo>
                <a:cubicBezTo>
                  <a:pt x="3386115" y="2383757"/>
                  <a:pt x="3385139" y="2384732"/>
                  <a:pt x="3383938" y="2384732"/>
                </a:cubicBezTo>
                <a:cubicBezTo>
                  <a:pt x="3382734" y="2384732"/>
                  <a:pt x="3381758" y="2383757"/>
                  <a:pt x="3381758" y="2382556"/>
                </a:cubicBezTo>
                <a:cubicBezTo>
                  <a:pt x="3381758" y="2381351"/>
                  <a:pt x="3382734" y="2380375"/>
                  <a:pt x="3383938" y="2380375"/>
                </a:cubicBezTo>
                <a:close/>
                <a:moveTo>
                  <a:pt x="3537882" y="2379285"/>
                </a:moveTo>
                <a:cubicBezTo>
                  <a:pt x="3539696" y="2379285"/>
                  <a:pt x="3541148" y="2380738"/>
                  <a:pt x="3541148" y="2382552"/>
                </a:cubicBezTo>
                <a:cubicBezTo>
                  <a:pt x="3541148" y="2384366"/>
                  <a:pt x="3539696" y="2385823"/>
                  <a:pt x="3537882" y="2385823"/>
                </a:cubicBezTo>
                <a:cubicBezTo>
                  <a:pt x="3536067" y="2385823"/>
                  <a:pt x="3534615" y="2384366"/>
                  <a:pt x="3534615" y="2382552"/>
                </a:cubicBezTo>
                <a:cubicBezTo>
                  <a:pt x="3534615" y="2380738"/>
                  <a:pt x="3536067" y="2379285"/>
                  <a:pt x="3537882" y="2379285"/>
                </a:cubicBezTo>
                <a:close/>
                <a:moveTo>
                  <a:pt x="3691467" y="2378195"/>
                </a:moveTo>
                <a:cubicBezTo>
                  <a:pt x="3694010" y="2378195"/>
                  <a:pt x="3695824" y="2380010"/>
                  <a:pt x="3695824" y="2382552"/>
                </a:cubicBezTo>
                <a:cubicBezTo>
                  <a:pt x="3695824" y="2385095"/>
                  <a:pt x="3693647" y="2386909"/>
                  <a:pt x="3691467" y="2386909"/>
                </a:cubicBezTo>
                <a:cubicBezTo>
                  <a:pt x="3688924" y="2386909"/>
                  <a:pt x="3687110" y="2385095"/>
                  <a:pt x="3687110" y="2382552"/>
                </a:cubicBezTo>
                <a:cubicBezTo>
                  <a:pt x="3687110" y="2380010"/>
                  <a:pt x="3688924" y="2378195"/>
                  <a:pt x="3691467" y="2378195"/>
                </a:cubicBezTo>
                <a:close/>
                <a:moveTo>
                  <a:pt x="3845414" y="2376743"/>
                </a:moveTo>
                <a:cubicBezTo>
                  <a:pt x="3848624" y="2376743"/>
                  <a:pt x="3851224" y="2379343"/>
                  <a:pt x="3851224" y="2382552"/>
                </a:cubicBezTo>
                <a:cubicBezTo>
                  <a:pt x="3851224" y="2385762"/>
                  <a:pt x="3848624" y="2388361"/>
                  <a:pt x="3845414" y="2388361"/>
                </a:cubicBezTo>
                <a:cubicBezTo>
                  <a:pt x="3842205" y="2388361"/>
                  <a:pt x="3839605" y="2385762"/>
                  <a:pt x="3839605" y="2382552"/>
                </a:cubicBezTo>
                <a:cubicBezTo>
                  <a:pt x="3839605" y="2379343"/>
                  <a:pt x="3842205" y="2376743"/>
                  <a:pt x="3845414" y="2376743"/>
                </a:cubicBezTo>
                <a:close/>
                <a:moveTo>
                  <a:pt x="3999000" y="2375290"/>
                </a:moveTo>
                <a:cubicBezTo>
                  <a:pt x="4002994" y="2375290"/>
                  <a:pt x="4006261" y="2378557"/>
                  <a:pt x="4006261" y="2382552"/>
                </a:cubicBezTo>
                <a:cubicBezTo>
                  <a:pt x="4006261" y="2386547"/>
                  <a:pt x="4002994" y="2389814"/>
                  <a:pt x="3999000" y="2389814"/>
                </a:cubicBezTo>
                <a:cubicBezTo>
                  <a:pt x="3995005" y="2389814"/>
                  <a:pt x="3991738" y="2386547"/>
                  <a:pt x="3991738" y="2382552"/>
                </a:cubicBezTo>
                <a:cubicBezTo>
                  <a:pt x="3991738" y="2378557"/>
                  <a:pt x="3995005" y="2375290"/>
                  <a:pt x="3999000" y="2375290"/>
                </a:cubicBezTo>
                <a:close/>
                <a:moveTo>
                  <a:pt x="4152947" y="2373476"/>
                </a:moveTo>
                <a:cubicBezTo>
                  <a:pt x="4158032" y="2373476"/>
                  <a:pt x="4162027" y="2377471"/>
                  <a:pt x="4162027" y="2382552"/>
                </a:cubicBezTo>
                <a:cubicBezTo>
                  <a:pt x="4162027" y="2387637"/>
                  <a:pt x="4158032" y="2391632"/>
                  <a:pt x="4152947" y="2391632"/>
                </a:cubicBezTo>
                <a:cubicBezTo>
                  <a:pt x="4147866" y="2391632"/>
                  <a:pt x="4143871" y="2387637"/>
                  <a:pt x="4143871" y="2382552"/>
                </a:cubicBezTo>
                <a:cubicBezTo>
                  <a:pt x="4143871" y="2377471"/>
                  <a:pt x="4147866" y="2373476"/>
                  <a:pt x="4152947" y="2373476"/>
                </a:cubicBezTo>
                <a:close/>
                <a:moveTo>
                  <a:pt x="4306532" y="2372386"/>
                </a:moveTo>
                <a:cubicBezTo>
                  <a:pt x="4311980" y="2372386"/>
                  <a:pt x="4316698" y="2377105"/>
                  <a:pt x="4316698" y="2382552"/>
                </a:cubicBezTo>
                <a:cubicBezTo>
                  <a:pt x="4316698" y="2387999"/>
                  <a:pt x="4312342" y="2392718"/>
                  <a:pt x="4306532" y="2392718"/>
                </a:cubicBezTo>
                <a:cubicBezTo>
                  <a:pt x="4301085" y="2392718"/>
                  <a:pt x="4296366" y="2387999"/>
                  <a:pt x="4296366" y="2382552"/>
                </a:cubicBezTo>
                <a:cubicBezTo>
                  <a:pt x="4296366" y="2377105"/>
                  <a:pt x="4301085" y="2372386"/>
                  <a:pt x="4306532" y="2372386"/>
                </a:cubicBezTo>
                <a:close/>
                <a:moveTo>
                  <a:pt x="4460476" y="2370571"/>
                </a:moveTo>
                <a:cubicBezTo>
                  <a:pt x="4467014" y="2370571"/>
                  <a:pt x="4472460" y="2376019"/>
                  <a:pt x="4472460" y="2382552"/>
                </a:cubicBezTo>
                <a:cubicBezTo>
                  <a:pt x="4472460" y="2389090"/>
                  <a:pt x="4467014" y="2394533"/>
                  <a:pt x="4460476" y="2394533"/>
                </a:cubicBezTo>
                <a:cubicBezTo>
                  <a:pt x="4453942" y="2394533"/>
                  <a:pt x="4448495" y="2389090"/>
                  <a:pt x="4448495" y="2382552"/>
                </a:cubicBezTo>
                <a:cubicBezTo>
                  <a:pt x="4448495" y="2376019"/>
                  <a:pt x="4453942" y="2370571"/>
                  <a:pt x="4460476" y="2370571"/>
                </a:cubicBezTo>
                <a:close/>
                <a:moveTo>
                  <a:pt x="4614065" y="2368753"/>
                </a:moveTo>
                <a:cubicBezTo>
                  <a:pt x="4621688" y="2368753"/>
                  <a:pt x="4627860" y="2374924"/>
                  <a:pt x="4627860" y="2382552"/>
                </a:cubicBezTo>
                <a:cubicBezTo>
                  <a:pt x="4627860" y="2390176"/>
                  <a:pt x="4621688" y="2396347"/>
                  <a:pt x="4614065" y="2396347"/>
                </a:cubicBezTo>
                <a:cubicBezTo>
                  <a:pt x="4606438" y="2396347"/>
                  <a:pt x="4600266" y="2390176"/>
                  <a:pt x="4600266" y="2382552"/>
                </a:cubicBezTo>
                <a:cubicBezTo>
                  <a:pt x="4600266" y="2374924"/>
                  <a:pt x="4606438" y="2368753"/>
                  <a:pt x="4614065" y="2368753"/>
                </a:cubicBezTo>
                <a:close/>
                <a:moveTo>
                  <a:pt x="4768008" y="2367304"/>
                </a:moveTo>
                <a:cubicBezTo>
                  <a:pt x="4776433" y="2367304"/>
                  <a:pt x="4783260" y="2374131"/>
                  <a:pt x="4783260" y="2382556"/>
                </a:cubicBezTo>
                <a:cubicBezTo>
                  <a:pt x="4783260" y="2390976"/>
                  <a:pt x="4776433" y="2397803"/>
                  <a:pt x="4768008" y="2397803"/>
                </a:cubicBezTo>
                <a:cubicBezTo>
                  <a:pt x="4759588" y="2397803"/>
                  <a:pt x="4752761" y="2390976"/>
                  <a:pt x="4752761" y="2382556"/>
                </a:cubicBezTo>
                <a:cubicBezTo>
                  <a:pt x="4752761" y="2374131"/>
                  <a:pt x="4759588" y="2367304"/>
                  <a:pt x="4768008" y="2367304"/>
                </a:cubicBezTo>
                <a:close/>
                <a:moveTo>
                  <a:pt x="4921594" y="2365486"/>
                </a:moveTo>
                <a:cubicBezTo>
                  <a:pt x="4931032" y="2365486"/>
                  <a:pt x="4938660" y="2373110"/>
                  <a:pt x="4938660" y="2382552"/>
                </a:cubicBezTo>
                <a:cubicBezTo>
                  <a:pt x="4938660" y="2391990"/>
                  <a:pt x="4931032" y="2399614"/>
                  <a:pt x="4921594" y="2399614"/>
                </a:cubicBezTo>
                <a:cubicBezTo>
                  <a:pt x="4912152" y="2399614"/>
                  <a:pt x="4904528" y="2391990"/>
                  <a:pt x="4904528" y="2382552"/>
                </a:cubicBezTo>
                <a:cubicBezTo>
                  <a:pt x="4904528" y="2373110"/>
                  <a:pt x="4912152" y="2365486"/>
                  <a:pt x="4921594" y="2365486"/>
                </a:cubicBezTo>
                <a:close/>
                <a:moveTo>
                  <a:pt x="5075541" y="2363309"/>
                </a:moveTo>
                <a:cubicBezTo>
                  <a:pt x="5086070" y="2363309"/>
                  <a:pt x="5094784" y="2372024"/>
                  <a:pt x="5094784" y="2382552"/>
                </a:cubicBezTo>
                <a:cubicBezTo>
                  <a:pt x="5094784" y="2393084"/>
                  <a:pt x="5086070" y="2401799"/>
                  <a:pt x="5075541" y="2401799"/>
                </a:cubicBezTo>
                <a:cubicBezTo>
                  <a:pt x="5065012" y="2401799"/>
                  <a:pt x="5056298" y="2393084"/>
                  <a:pt x="5056298" y="2382552"/>
                </a:cubicBezTo>
                <a:cubicBezTo>
                  <a:pt x="5056298" y="2372024"/>
                  <a:pt x="5065012" y="2363309"/>
                  <a:pt x="5075541" y="2363309"/>
                </a:cubicBezTo>
                <a:close/>
                <a:moveTo>
                  <a:pt x="5229126" y="2361129"/>
                </a:moveTo>
                <a:cubicBezTo>
                  <a:pt x="5241108" y="2361129"/>
                  <a:pt x="5250546" y="2370571"/>
                  <a:pt x="5250546" y="2382552"/>
                </a:cubicBezTo>
                <a:cubicBezTo>
                  <a:pt x="5250546" y="2394533"/>
                  <a:pt x="5240745" y="2403975"/>
                  <a:pt x="5229126" y="2403975"/>
                </a:cubicBezTo>
                <a:cubicBezTo>
                  <a:pt x="5217146" y="2403975"/>
                  <a:pt x="5207704" y="2394533"/>
                  <a:pt x="5207704" y="2382552"/>
                </a:cubicBezTo>
                <a:cubicBezTo>
                  <a:pt x="5207704" y="2370571"/>
                  <a:pt x="5217146" y="2361129"/>
                  <a:pt x="5229126" y="2361129"/>
                </a:cubicBezTo>
                <a:close/>
                <a:moveTo>
                  <a:pt x="5383074" y="2359677"/>
                </a:moveTo>
                <a:cubicBezTo>
                  <a:pt x="5395706" y="2359677"/>
                  <a:pt x="5405946" y="2369919"/>
                  <a:pt x="5405946" y="2382552"/>
                </a:cubicBezTo>
                <a:cubicBezTo>
                  <a:pt x="5405946" y="2395185"/>
                  <a:pt x="5395706" y="2405427"/>
                  <a:pt x="5383074" y="2405427"/>
                </a:cubicBezTo>
                <a:cubicBezTo>
                  <a:pt x="5370441" y="2405427"/>
                  <a:pt x="5360198" y="2395185"/>
                  <a:pt x="5360198" y="2382552"/>
                </a:cubicBezTo>
                <a:cubicBezTo>
                  <a:pt x="5360198" y="2369919"/>
                  <a:pt x="5370441" y="2359677"/>
                  <a:pt x="5383074" y="2359677"/>
                </a:cubicBezTo>
                <a:close/>
                <a:moveTo>
                  <a:pt x="5536656" y="2357500"/>
                </a:moveTo>
                <a:cubicBezTo>
                  <a:pt x="5550492" y="2357500"/>
                  <a:pt x="5561711" y="2368715"/>
                  <a:pt x="5561711" y="2382552"/>
                </a:cubicBezTo>
                <a:cubicBezTo>
                  <a:pt x="5561711" y="2396389"/>
                  <a:pt x="5550492" y="2407608"/>
                  <a:pt x="5536656" y="2407608"/>
                </a:cubicBezTo>
                <a:cubicBezTo>
                  <a:pt x="5522818" y="2407608"/>
                  <a:pt x="5511604" y="2396389"/>
                  <a:pt x="5511604" y="2382552"/>
                </a:cubicBezTo>
                <a:cubicBezTo>
                  <a:pt x="5511604" y="2368719"/>
                  <a:pt x="5522818" y="2357500"/>
                  <a:pt x="5536656" y="2357500"/>
                </a:cubicBezTo>
                <a:close/>
                <a:moveTo>
                  <a:pt x="5690606" y="2355320"/>
                </a:moveTo>
                <a:cubicBezTo>
                  <a:pt x="5705492" y="2355320"/>
                  <a:pt x="5717838" y="2367663"/>
                  <a:pt x="5717838" y="2382552"/>
                </a:cubicBezTo>
                <a:cubicBezTo>
                  <a:pt x="5717838" y="2397437"/>
                  <a:pt x="5705854" y="2409784"/>
                  <a:pt x="5690606" y="2409784"/>
                </a:cubicBezTo>
                <a:cubicBezTo>
                  <a:pt x="5675717" y="2409784"/>
                  <a:pt x="5663374" y="2397437"/>
                  <a:pt x="5663374" y="2382552"/>
                </a:cubicBezTo>
                <a:cubicBezTo>
                  <a:pt x="5663374" y="2367663"/>
                  <a:pt x="5675717" y="2355320"/>
                  <a:pt x="5690606" y="2355320"/>
                </a:cubicBezTo>
                <a:close/>
                <a:moveTo>
                  <a:pt x="5844554" y="2352781"/>
                </a:moveTo>
                <a:cubicBezTo>
                  <a:pt x="5860994" y="2352781"/>
                  <a:pt x="5874325" y="2366111"/>
                  <a:pt x="5874325" y="2382556"/>
                </a:cubicBezTo>
                <a:cubicBezTo>
                  <a:pt x="5874325" y="2398997"/>
                  <a:pt x="5860994" y="2412327"/>
                  <a:pt x="5844554" y="2412327"/>
                </a:cubicBezTo>
                <a:cubicBezTo>
                  <a:pt x="5828110" y="2412327"/>
                  <a:pt x="5814779" y="2398997"/>
                  <a:pt x="5814779" y="2382556"/>
                </a:cubicBezTo>
                <a:cubicBezTo>
                  <a:pt x="5814779" y="2366111"/>
                  <a:pt x="5828110" y="2352781"/>
                  <a:pt x="5844554" y="2352781"/>
                </a:cubicBezTo>
                <a:close/>
                <a:moveTo>
                  <a:pt x="5998139" y="2350601"/>
                </a:moveTo>
                <a:cubicBezTo>
                  <a:pt x="6015784" y="2350601"/>
                  <a:pt x="6030090" y="2364907"/>
                  <a:pt x="6030090" y="2382552"/>
                </a:cubicBezTo>
                <a:cubicBezTo>
                  <a:pt x="6030090" y="2400197"/>
                  <a:pt x="6015784" y="2414503"/>
                  <a:pt x="5998139" y="2414503"/>
                </a:cubicBezTo>
                <a:cubicBezTo>
                  <a:pt x="5980490" y="2414503"/>
                  <a:pt x="5966188" y="2400197"/>
                  <a:pt x="5966188" y="2382552"/>
                </a:cubicBezTo>
                <a:cubicBezTo>
                  <a:pt x="5966188" y="2364907"/>
                  <a:pt x="5980490" y="2350601"/>
                  <a:pt x="5998139" y="2350601"/>
                </a:cubicBezTo>
                <a:close/>
                <a:moveTo>
                  <a:pt x="6152086" y="2348786"/>
                </a:moveTo>
                <a:cubicBezTo>
                  <a:pt x="6170734" y="2348786"/>
                  <a:pt x="6185852" y="2363904"/>
                  <a:pt x="6185852" y="2382552"/>
                </a:cubicBezTo>
                <a:cubicBezTo>
                  <a:pt x="6185852" y="2401204"/>
                  <a:pt x="6170734" y="2416322"/>
                  <a:pt x="6152086" y="2416322"/>
                </a:cubicBezTo>
                <a:cubicBezTo>
                  <a:pt x="6133435" y="2416322"/>
                  <a:pt x="6118317" y="2401204"/>
                  <a:pt x="6118317" y="2382552"/>
                </a:cubicBezTo>
                <a:cubicBezTo>
                  <a:pt x="6118317" y="2363904"/>
                  <a:pt x="6133435" y="2348786"/>
                  <a:pt x="6152086" y="2348786"/>
                </a:cubicBezTo>
                <a:close/>
                <a:moveTo>
                  <a:pt x="6305668" y="2346244"/>
                </a:moveTo>
                <a:cubicBezTo>
                  <a:pt x="6325638" y="2346244"/>
                  <a:pt x="6341976" y="2362581"/>
                  <a:pt x="6341976" y="2382552"/>
                </a:cubicBezTo>
                <a:cubicBezTo>
                  <a:pt x="6341976" y="2402523"/>
                  <a:pt x="6325638" y="2418860"/>
                  <a:pt x="6305668" y="2418860"/>
                </a:cubicBezTo>
                <a:cubicBezTo>
                  <a:pt x="6285698" y="2418860"/>
                  <a:pt x="6269360" y="2402523"/>
                  <a:pt x="6269360" y="2382552"/>
                </a:cubicBezTo>
                <a:cubicBezTo>
                  <a:pt x="6269360" y="2362581"/>
                  <a:pt x="6285698" y="2346244"/>
                  <a:pt x="6305668" y="2346244"/>
                </a:cubicBezTo>
                <a:close/>
                <a:moveTo>
                  <a:pt x="6459619" y="2343701"/>
                </a:moveTo>
                <a:cubicBezTo>
                  <a:pt x="6481038" y="2343701"/>
                  <a:pt x="6498470" y="2361129"/>
                  <a:pt x="6498470" y="2382552"/>
                </a:cubicBezTo>
                <a:cubicBezTo>
                  <a:pt x="6498470" y="2403971"/>
                  <a:pt x="6481038" y="2421399"/>
                  <a:pt x="6459619" y="2421399"/>
                </a:cubicBezTo>
                <a:cubicBezTo>
                  <a:pt x="6438196" y="2421399"/>
                  <a:pt x="6420768" y="2403971"/>
                  <a:pt x="6420768" y="2382552"/>
                </a:cubicBezTo>
                <a:cubicBezTo>
                  <a:pt x="6420768" y="2361129"/>
                  <a:pt x="6438196" y="2343701"/>
                  <a:pt x="6459619" y="2343701"/>
                </a:cubicBezTo>
                <a:close/>
                <a:moveTo>
                  <a:pt x="6613200" y="2341524"/>
                </a:moveTo>
                <a:cubicBezTo>
                  <a:pt x="6636076" y="2341524"/>
                  <a:pt x="6654232" y="2359681"/>
                  <a:pt x="6654232" y="2382552"/>
                </a:cubicBezTo>
                <a:cubicBezTo>
                  <a:pt x="6654232" y="2405427"/>
                  <a:pt x="6635714" y="2423583"/>
                  <a:pt x="6613200" y="2423583"/>
                </a:cubicBezTo>
                <a:cubicBezTo>
                  <a:pt x="6590330" y="2423583"/>
                  <a:pt x="6572173" y="2405427"/>
                  <a:pt x="6572173" y="2382552"/>
                </a:cubicBezTo>
                <a:cubicBezTo>
                  <a:pt x="6572173" y="2359681"/>
                  <a:pt x="6590330" y="2341524"/>
                  <a:pt x="6613200" y="2341524"/>
                </a:cubicBezTo>
                <a:close/>
                <a:moveTo>
                  <a:pt x="2922458" y="2228605"/>
                </a:moveTo>
                <a:cubicBezTo>
                  <a:pt x="2922820" y="2228605"/>
                  <a:pt x="2922820" y="2228605"/>
                  <a:pt x="2922820" y="2228967"/>
                </a:cubicBezTo>
                <a:cubicBezTo>
                  <a:pt x="2922820" y="2229333"/>
                  <a:pt x="2922458" y="2229333"/>
                  <a:pt x="2922458" y="2229333"/>
                </a:cubicBezTo>
                <a:cubicBezTo>
                  <a:pt x="2922096" y="2229333"/>
                  <a:pt x="2922096" y="2229333"/>
                  <a:pt x="2922096" y="2228967"/>
                </a:cubicBezTo>
                <a:cubicBezTo>
                  <a:pt x="2922096" y="2228605"/>
                  <a:pt x="2922096" y="2228605"/>
                  <a:pt x="2922458" y="2228605"/>
                </a:cubicBezTo>
                <a:close/>
                <a:moveTo>
                  <a:pt x="2461340" y="2228605"/>
                </a:moveTo>
                <a:cubicBezTo>
                  <a:pt x="2461702" y="2228605"/>
                  <a:pt x="2461702" y="2228605"/>
                  <a:pt x="2461702" y="2228967"/>
                </a:cubicBezTo>
                <a:cubicBezTo>
                  <a:pt x="2461702" y="2229333"/>
                  <a:pt x="2461340" y="2229333"/>
                  <a:pt x="2461340" y="2229333"/>
                </a:cubicBezTo>
                <a:cubicBezTo>
                  <a:pt x="2460978" y="2229333"/>
                  <a:pt x="2460978" y="2229333"/>
                  <a:pt x="2460978" y="2228967"/>
                </a:cubicBezTo>
                <a:cubicBezTo>
                  <a:pt x="2460978" y="2228605"/>
                  <a:pt x="2460978" y="2228605"/>
                  <a:pt x="2461340" y="2228605"/>
                </a:cubicBezTo>
                <a:close/>
                <a:moveTo>
                  <a:pt x="2307393" y="2228605"/>
                </a:moveTo>
                <a:cubicBezTo>
                  <a:pt x="2307755" y="2228605"/>
                  <a:pt x="2307755" y="2228605"/>
                  <a:pt x="2307755" y="2228967"/>
                </a:cubicBezTo>
                <a:cubicBezTo>
                  <a:pt x="2307755" y="2229333"/>
                  <a:pt x="2307393" y="2229333"/>
                  <a:pt x="2307393" y="2229333"/>
                </a:cubicBezTo>
                <a:cubicBezTo>
                  <a:pt x="2307031" y="2229333"/>
                  <a:pt x="2307031" y="2229333"/>
                  <a:pt x="2307031" y="2228967"/>
                </a:cubicBezTo>
                <a:cubicBezTo>
                  <a:pt x="2307031" y="2228605"/>
                  <a:pt x="2307031" y="2228605"/>
                  <a:pt x="2307393" y="2228605"/>
                </a:cubicBezTo>
                <a:close/>
                <a:moveTo>
                  <a:pt x="2153811" y="2228243"/>
                </a:moveTo>
                <a:cubicBezTo>
                  <a:pt x="2154174" y="2228243"/>
                  <a:pt x="2154536" y="2228605"/>
                  <a:pt x="2154536" y="2228971"/>
                </a:cubicBezTo>
                <a:cubicBezTo>
                  <a:pt x="2154536" y="2229333"/>
                  <a:pt x="2153811" y="2229695"/>
                  <a:pt x="2153811" y="2229695"/>
                </a:cubicBezTo>
                <a:cubicBezTo>
                  <a:pt x="2153445" y="2229695"/>
                  <a:pt x="2153083" y="2229333"/>
                  <a:pt x="2153083" y="2228971"/>
                </a:cubicBezTo>
                <a:cubicBezTo>
                  <a:pt x="2153083" y="2228605"/>
                  <a:pt x="2153445" y="2228243"/>
                  <a:pt x="2153811" y="2228243"/>
                </a:cubicBezTo>
                <a:close/>
                <a:moveTo>
                  <a:pt x="3076406" y="2227152"/>
                </a:moveTo>
                <a:cubicBezTo>
                  <a:pt x="3077130" y="2227152"/>
                  <a:pt x="3077858" y="2227880"/>
                  <a:pt x="3077858" y="2228605"/>
                </a:cubicBezTo>
                <a:cubicBezTo>
                  <a:pt x="3077858" y="2229333"/>
                  <a:pt x="3076406" y="2230057"/>
                  <a:pt x="3076406" y="2230057"/>
                </a:cubicBezTo>
                <a:cubicBezTo>
                  <a:pt x="3075677" y="2230057"/>
                  <a:pt x="3074953" y="2229333"/>
                  <a:pt x="3074953" y="2228605"/>
                </a:cubicBezTo>
                <a:cubicBezTo>
                  <a:pt x="3074953" y="2227880"/>
                  <a:pt x="3075677" y="2227152"/>
                  <a:pt x="3076406" y="2227152"/>
                </a:cubicBezTo>
                <a:close/>
                <a:moveTo>
                  <a:pt x="3230353" y="2226428"/>
                </a:moveTo>
                <a:cubicBezTo>
                  <a:pt x="3231554" y="2226428"/>
                  <a:pt x="3232530" y="2227404"/>
                  <a:pt x="3232530" y="2228608"/>
                </a:cubicBezTo>
                <a:cubicBezTo>
                  <a:pt x="3232530" y="2229809"/>
                  <a:pt x="3231554" y="2230785"/>
                  <a:pt x="3230353" y="2230785"/>
                </a:cubicBezTo>
                <a:cubicBezTo>
                  <a:pt x="3229148" y="2230785"/>
                  <a:pt x="3228172" y="2229809"/>
                  <a:pt x="3228172" y="2228608"/>
                </a:cubicBezTo>
                <a:cubicBezTo>
                  <a:pt x="3228172" y="2227404"/>
                  <a:pt x="3229148" y="2226428"/>
                  <a:pt x="3230353" y="2226428"/>
                </a:cubicBezTo>
                <a:close/>
                <a:moveTo>
                  <a:pt x="3383934" y="2225700"/>
                </a:moveTo>
                <a:cubicBezTo>
                  <a:pt x="3385752" y="2225700"/>
                  <a:pt x="3387205" y="2227152"/>
                  <a:pt x="3387205" y="2228967"/>
                </a:cubicBezTo>
                <a:cubicBezTo>
                  <a:pt x="3387205" y="2230781"/>
                  <a:pt x="3385752" y="2232238"/>
                  <a:pt x="3383934" y="2232238"/>
                </a:cubicBezTo>
                <a:cubicBezTo>
                  <a:pt x="3382120" y="2232238"/>
                  <a:pt x="3380668" y="2230781"/>
                  <a:pt x="3380668" y="2228967"/>
                </a:cubicBezTo>
                <a:cubicBezTo>
                  <a:pt x="3380668" y="2227152"/>
                  <a:pt x="3382120" y="2225700"/>
                  <a:pt x="3383934" y="2225700"/>
                </a:cubicBezTo>
                <a:close/>
                <a:moveTo>
                  <a:pt x="3537886" y="2224248"/>
                </a:moveTo>
                <a:cubicBezTo>
                  <a:pt x="3540428" y="2224248"/>
                  <a:pt x="3542242" y="2226062"/>
                  <a:pt x="3542242" y="2228605"/>
                </a:cubicBezTo>
                <a:cubicBezTo>
                  <a:pt x="3542242" y="2231147"/>
                  <a:pt x="3540062" y="2232962"/>
                  <a:pt x="3537886" y="2232962"/>
                </a:cubicBezTo>
                <a:cubicBezTo>
                  <a:pt x="3535343" y="2232962"/>
                  <a:pt x="3533528" y="2231147"/>
                  <a:pt x="3533528" y="2228605"/>
                </a:cubicBezTo>
                <a:cubicBezTo>
                  <a:pt x="3533528" y="2226062"/>
                  <a:pt x="3535343" y="2224248"/>
                  <a:pt x="3537886" y="2224248"/>
                </a:cubicBezTo>
                <a:close/>
                <a:moveTo>
                  <a:pt x="3691467" y="2222795"/>
                </a:moveTo>
                <a:cubicBezTo>
                  <a:pt x="3694676" y="2222795"/>
                  <a:pt x="3697276" y="2225395"/>
                  <a:pt x="3697276" y="2228605"/>
                </a:cubicBezTo>
                <a:cubicBezTo>
                  <a:pt x="3697276" y="2231814"/>
                  <a:pt x="3694676" y="2234414"/>
                  <a:pt x="3691467" y="2234414"/>
                </a:cubicBezTo>
                <a:cubicBezTo>
                  <a:pt x="3688257" y="2234414"/>
                  <a:pt x="3685658" y="2231814"/>
                  <a:pt x="3685658" y="2228605"/>
                </a:cubicBezTo>
                <a:cubicBezTo>
                  <a:pt x="3685658" y="2225395"/>
                  <a:pt x="3688257" y="2222795"/>
                  <a:pt x="3691467" y="2222795"/>
                </a:cubicBezTo>
                <a:close/>
                <a:moveTo>
                  <a:pt x="3845414" y="2221343"/>
                </a:moveTo>
                <a:cubicBezTo>
                  <a:pt x="3849409" y="2221343"/>
                  <a:pt x="3852676" y="2224610"/>
                  <a:pt x="3852676" y="2228605"/>
                </a:cubicBezTo>
                <a:cubicBezTo>
                  <a:pt x="3852676" y="2232599"/>
                  <a:pt x="3849409" y="2235866"/>
                  <a:pt x="3845414" y="2235866"/>
                </a:cubicBezTo>
                <a:cubicBezTo>
                  <a:pt x="3841420" y="2235866"/>
                  <a:pt x="3838153" y="2232599"/>
                  <a:pt x="3838153" y="2228605"/>
                </a:cubicBezTo>
                <a:cubicBezTo>
                  <a:pt x="3838153" y="2224610"/>
                  <a:pt x="3841420" y="2221343"/>
                  <a:pt x="3845414" y="2221343"/>
                </a:cubicBezTo>
                <a:close/>
                <a:moveTo>
                  <a:pt x="3999000" y="2219528"/>
                </a:moveTo>
                <a:cubicBezTo>
                  <a:pt x="4004085" y="2219528"/>
                  <a:pt x="4008080" y="2223523"/>
                  <a:pt x="4008080" y="2228605"/>
                </a:cubicBezTo>
                <a:cubicBezTo>
                  <a:pt x="4008080" y="2233690"/>
                  <a:pt x="4004085" y="2237685"/>
                  <a:pt x="3999000" y="2237685"/>
                </a:cubicBezTo>
                <a:cubicBezTo>
                  <a:pt x="3993918" y="2237685"/>
                  <a:pt x="3989924" y="2233690"/>
                  <a:pt x="3989924" y="2228605"/>
                </a:cubicBezTo>
                <a:cubicBezTo>
                  <a:pt x="3989924" y="2223523"/>
                  <a:pt x="3993918" y="2219528"/>
                  <a:pt x="3999000" y="2219528"/>
                </a:cubicBezTo>
                <a:close/>
                <a:moveTo>
                  <a:pt x="4152947" y="2218800"/>
                </a:moveTo>
                <a:cubicBezTo>
                  <a:pt x="4158394" y="2218800"/>
                  <a:pt x="4163114" y="2223520"/>
                  <a:pt x="4163114" y="2228967"/>
                </a:cubicBezTo>
                <a:cubicBezTo>
                  <a:pt x="4163114" y="2234414"/>
                  <a:pt x="4158756" y="2239133"/>
                  <a:pt x="4152947" y="2239133"/>
                </a:cubicBezTo>
                <a:cubicBezTo>
                  <a:pt x="4147500" y="2239133"/>
                  <a:pt x="4142780" y="2234414"/>
                  <a:pt x="4142780" y="2228967"/>
                </a:cubicBezTo>
                <a:cubicBezTo>
                  <a:pt x="4142780" y="2223520"/>
                  <a:pt x="4147500" y="2218800"/>
                  <a:pt x="4152947" y="2218800"/>
                </a:cubicBezTo>
                <a:close/>
                <a:moveTo>
                  <a:pt x="4306532" y="2216624"/>
                </a:moveTo>
                <a:cubicBezTo>
                  <a:pt x="4313070" y="2216624"/>
                  <a:pt x="4318517" y="2222071"/>
                  <a:pt x="4318517" y="2228605"/>
                </a:cubicBezTo>
                <a:cubicBezTo>
                  <a:pt x="4318517" y="2235142"/>
                  <a:pt x="4313070" y="2240585"/>
                  <a:pt x="4306532" y="2240585"/>
                </a:cubicBezTo>
                <a:cubicBezTo>
                  <a:pt x="4299998" y="2240585"/>
                  <a:pt x="4294552" y="2235142"/>
                  <a:pt x="4294552" y="2228605"/>
                </a:cubicBezTo>
                <a:cubicBezTo>
                  <a:pt x="4294552" y="2222071"/>
                  <a:pt x="4299998" y="2216624"/>
                  <a:pt x="4306532" y="2216624"/>
                </a:cubicBezTo>
                <a:close/>
                <a:moveTo>
                  <a:pt x="4460480" y="2214809"/>
                </a:moveTo>
                <a:cubicBezTo>
                  <a:pt x="4468100" y="2214809"/>
                  <a:pt x="4474275" y="2220989"/>
                  <a:pt x="4474275" y="2228608"/>
                </a:cubicBezTo>
                <a:cubicBezTo>
                  <a:pt x="4474275" y="2236229"/>
                  <a:pt x="4468100" y="2242404"/>
                  <a:pt x="4460480" y="2242404"/>
                </a:cubicBezTo>
                <a:cubicBezTo>
                  <a:pt x="4452860" y="2242404"/>
                  <a:pt x="4446680" y="2236229"/>
                  <a:pt x="4446680" y="2228608"/>
                </a:cubicBezTo>
                <a:cubicBezTo>
                  <a:pt x="4446680" y="2220989"/>
                  <a:pt x="4452860" y="2214809"/>
                  <a:pt x="4460480" y="2214809"/>
                </a:cubicBezTo>
                <a:close/>
                <a:moveTo>
                  <a:pt x="4614061" y="2213357"/>
                </a:moveTo>
                <a:cubicBezTo>
                  <a:pt x="4622486" y="2213357"/>
                  <a:pt x="4629312" y="2220184"/>
                  <a:pt x="4629312" y="2228608"/>
                </a:cubicBezTo>
                <a:cubicBezTo>
                  <a:pt x="4629312" y="2237029"/>
                  <a:pt x="4622486" y="2243856"/>
                  <a:pt x="4614061" y="2243856"/>
                </a:cubicBezTo>
                <a:cubicBezTo>
                  <a:pt x="4605640" y="2243856"/>
                  <a:pt x="4598814" y="2237029"/>
                  <a:pt x="4598814" y="2228608"/>
                </a:cubicBezTo>
                <a:cubicBezTo>
                  <a:pt x="4598814" y="2220184"/>
                  <a:pt x="4605640" y="2213357"/>
                  <a:pt x="4614061" y="2213357"/>
                </a:cubicBezTo>
                <a:close/>
                <a:moveTo>
                  <a:pt x="4768012" y="2211539"/>
                </a:moveTo>
                <a:cubicBezTo>
                  <a:pt x="4777450" y="2211539"/>
                  <a:pt x="4785078" y="2219163"/>
                  <a:pt x="4785078" y="2228605"/>
                </a:cubicBezTo>
                <a:cubicBezTo>
                  <a:pt x="4785078" y="2238043"/>
                  <a:pt x="4777450" y="2245667"/>
                  <a:pt x="4768012" y="2245667"/>
                </a:cubicBezTo>
                <a:cubicBezTo>
                  <a:pt x="4758570" y="2245667"/>
                  <a:pt x="4750946" y="2238043"/>
                  <a:pt x="4750946" y="2228605"/>
                </a:cubicBezTo>
                <a:cubicBezTo>
                  <a:pt x="4750946" y="2219163"/>
                  <a:pt x="4758570" y="2211539"/>
                  <a:pt x="4768012" y="2211539"/>
                </a:cubicBezTo>
                <a:close/>
                <a:moveTo>
                  <a:pt x="4921594" y="2209362"/>
                </a:moveTo>
                <a:cubicBezTo>
                  <a:pt x="4932126" y="2209362"/>
                  <a:pt x="4940836" y="2218076"/>
                  <a:pt x="4940836" y="2228605"/>
                </a:cubicBezTo>
                <a:cubicBezTo>
                  <a:pt x="4940836" y="2239133"/>
                  <a:pt x="4932126" y="2247851"/>
                  <a:pt x="4921594" y="2247851"/>
                </a:cubicBezTo>
                <a:cubicBezTo>
                  <a:pt x="4911066" y="2247851"/>
                  <a:pt x="4902352" y="2239133"/>
                  <a:pt x="4902352" y="2228605"/>
                </a:cubicBezTo>
                <a:cubicBezTo>
                  <a:pt x="4902352" y="2218076"/>
                  <a:pt x="4911066" y="2209362"/>
                  <a:pt x="4921594" y="2209362"/>
                </a:cubicBezTo>
                <a:close/>
                <a:moveTo>
                  <a:pt x="5075541" y="2207182"/>
                </a:moveTo>
                <a:cubicBezTo>
                  <a:pt x="5087522" y="2207182"/>
                  <a:pt x="5096964" y="2216620"/>
                  <a:pt x="5096964" y="2228605"/>
                </a:cubicBezTo>
                <a:cubicBezTo>
                  <a:pt x="5096964" y="2240585"/>
                  <a:pt x="5087160" y="2250027"/>
                  <a:pt x="5075541" y="2250027"/>
                </a:cubicBezTo>
                <a:cubicBezTo>
                  <a:pt x="5063560" y="2250027"/>
                  <a:pt x="5054118" y="2240585"/>
                  <a:pt x="5054118" y="2228605"/>
                </a:cubicBezTo>
                <a:cubicBezTo>
                  <a:pt x="5054118" y="2216620"/>
                  <a:pt x="5063560" y="2207182"/>
                  <a:pt x="5075541" y="2207182"/>
                </a:cubicBezTo>
                <a:close/>
                <a:moveTo>
                  <a:pt x="5229126" y="2205729"/>
                </a:moveTo>
                <a:cubicBezTo>
                  <a:pt x="5241759" y="2205729"/>
                  <a:pt x="5251998" y="2215972"/>
                  <a:pt x="5251998" y="2228605"/>
                </a:cubicBezTo>
                <a:cubicBezTo>
                  <a:pt x="5251998" y="2241237"/>
                  <a:pt x="5241759" y="2251480"/>
                  <a:pt x="5229126" y="2251480"/>
                </a:cubicBezTo>
                <a:cubicBezTo>
                  <a:pt x="5216494" y="2251480"/>
                  <a:pt x="5206251" y="2241237"/>
                  <a:pt x="5206251" y="2228605"/>
                </a:cubicBezTo>
                <a:cubicBezTo>
                  <a:pt x="5206251" y="2215972"/>
                  <a:pt x="5216494" y="2205729"/>
                  <a:pt x="5229126" y="2205729"/>
                </a:cubicBezTo>
                <a:close/>
                <a:moveTo>
                  <a:pt x="5383074" y="2203915"/>
                </a:moveTo>
                <a:cubicBezTo>
                  <a:pt x="5396873" y="2203915"/>
                  <a:pt x="5408126" y="2215172"/>
                  <a:pt x="5408126" y="2228967"/>
                </a:cubicBezTo>
                <a:cubicBezTo>
                  <a:pt x="5408126" y="2242766"/>
                  <a:pt x="5396873" y="2254023"/>
                  <a:pt x="5383074" y="2254023"/>
                </a:cubicBezTo>
                <a:cubicBezTo>
                  <a:pt x="5369278" y="2254023"/>
                  <a:pt x="5358022" y="2242766"/>
                  <a:pt x="5358022" y="2228967"/>
                </a:cubicBezTo>
                <a:cubicBezTo>
                  <a:pt x="5358022" y="2215172"/>
                  <a:pt x="5369278" y="2203915"/>
                  <a:pt x="5383074" y="2203915"/>
                </a:cubicBezTo>
                <a:close/>
                <a:moveTo>
                  <a:pt x="5536659" y="2201734"/>
                </a:moveTo>
                <a:cubicBezTo>
                  <a:pt x="5551544" y="2201734"/>
                  <a:pt x="5563892" y="2214081"/>
                  <a:pt x="5563892" y="2228967"/>
                </a:cubicBezTo>
                <a:cubicBezTo>
                  <a:pt x="5563892" y="2243852"/>
                  <a:pt x="5551906" y="2256199"/>
                  <a:pt x="5536659" y="2256199"/>
                </a:cubicBezTo>
                <a:cubicBezTo>
                  <a:pt x="5521770" y="2256199"/>
                  <a:pt x="5509427" y="2243852"/>
                  <a:pt x="5509427" y="2228967"/>
                </a:cubicBezTo>
                <a:cubicBezTo>
                  <a:pt x="5509427" y="2214081"/>
                  <a:pt x="5521770" y="2201734"/>
                  <a:pt x="5536659" y="2201734"/>
                </a:cubicBezTo>
                <a:close/>
                <a:moveTo>
                  <a:pt x="5690606" y="2198834"/>
                </a:moveTo>
                <a:cubicBezTo>
                  <a:pt x="5707047" y="2198834"/>
                  <a:pt x="5720378" y="2212164"/>
                  <a:pt x="5720378" y="2228608"/>
                </a:cubicBezTo>
                <a:cubicBezTo>
                  <a:pt x="5720378" y="2245049"/>
                  <a:pt x="5707047" y="2258379"/>
                  <a:pt x="5690606" y="2258379"/>
                </a:cubicBezTo>
                <a:cubicBezTo>
                  <a:pt x="5674162" y="2258379"/>
                  <a:pt x="5660832" y="2245049"/>
                  <a:pt x="5660832" y="2228608"/>
                </a:cubicBezTo>
                <a:cubicBezTo>
                  <a:pt x="5660832" y="2212164"/>
                  <a:pt x="5674162" y="2198834"/>
                  <a:pt x="5690606" y="2198834"/>
                </a:cubicBezTo>
                <a:close/>
                <a:moveTo>
                  <a:pt x="5844554" y="2197015"/>
                </a:moveTo>
                <a:cubicBezTo>
                  <a:pt x="5862344" y="2197015"/>
                  <a:pt x="5876506" y="2211177"/>
                  <a:pt x="5876506" y="2228967"/>
                </a:cubicBezTo>
                <a:cubicBezTo>
                  <a:pt x="5876506" y="2246757"/>
                  <a:pt x="5862344" y="2260918"/>
                  <a:pt x="5844554" y="2260918"/>
                </a:cubicBezTo>
                <a:cubicBezTo>
                  <a:pt x="5826764" y="2260918"/>
                  <a:pt x="5812602" y="2246757"/>
                  <a:pt x="5812602" y="2228967"/>
                </a:cubicBezTo>
                <a:cubicBezTo>
                  <a:pt x="5812602" y="2211177"/>
                  <a:pt x="5826764" y="2197015"/>
                  <a:pt x="5844554" y="2197015"/>
                </a:cubicBezTo>
                <a:close/>
                <a:moveTo>
                  <a:pt x="5998136" y="2194839"/>
                </a:moveTo>
                <a:cubicBezTo>
                  <a:pt x="6016783" y="2194839"/>
                  <a:pt x="6031901" y="2209957"/>
                  <a:pt x="6031901" y="2228605"/>
                </a:cubicBezTo>
                <a:cubicBezTo>
                  <a:pt x="6031901" y="2247256"/>
                  <a:pt x="6016783" y="2262374"/>
                  <a:pt x="5998136" y="2262374"/>
                </a:cubicBezTo>
                <a:cubicBezTo>
                  <a:pt x="5979488" y="2262374"/>
                  <a:pt x="5964370" y="2247256"/>
                  <a:pt x="5964370" y="2228605"/>
                </a:cubicBezTo>
                <a:cubicBezTo>
                  <a:pt x="5964370" y="2209957"/>
                  <a:pt x="5979488" y="2194839"/>
                  <a:pt x="5998136" y="2194839"/>
                </a:cubicBezTo>
                <a:close/>
                <a:moveTo>
                  <a:pt x="6152083" y="2192296"/>
                </a:moveTo>
                <a:cubicBezTo>
                  <a:pt x="6172054" y="2192296"/>
                  <a:pt x="6188391" y="2208634"/>
                  <a:pt x="6188391" y="2228605"/>
                </a:cubicBezTo>
                <a:cubicBezTo>
                  <a:pt x="6188391" y="2248575"/>
                  <a:pt x="6172054" y="2264913"/>
                  <a:pt x="6152083" y="2264913"/>
                </a:cubicBezTo>
                <a:cubicBezTo>
                  <a:pt x="6132112" y="2264913"/>
                  <a:pt x="6115774" y="2248575"/>
                  <a:pt x="6115774" y="2228605"/>
                </a:cubicBezTo>
                <a:cubicBezTo>
                  <a:pt x="6115774" y="2208634"/>
                  <a:pt x="6132112" y="2192296"/>
                  <a:pt x="6152083" y="2192296"/>
                </a:cubicBezTo>
                <a:close/>
                <a:moveTo>
                  <a:pt x="6305672" y="2189754"/>
                </a:moveTo>
                <a:cubicBezTo>
                  <a:pt x="6327091" y="2189754"/>
                  <a:pt x="6344522" y="2207182"/>
                  <a:pt x="6344522" y="2228605"/>
                </a:cubicBezTo>
                <a:cubicBezTo>
                  <a:pt x="6344522" y="2250024"/>
                  <a:pt x="6327091" y="2267452"/>
                  <a:pt x="6305672" y="2267452"/>
                </a:cubicBezTo>
                <a:cubicBezTo>
                  <a:pt x="6284249" y="2267452"/>
                  <a:pt x="6266821" y="2250024"/>
                  <a:pt x="6266821" y="2228605"/>
                </a:cubicBezTo>
                <a:cubicBezTo>
                  <a:pt x="6266821" y="2207182"/>
                  <a:pt x="6284249" y="2189754"/>
                  <a:pt x="6305672" y="2189754"/>
                </a:cubicBezTo>
                <a:close/>
                <a:moveTo>
                  <a:pt x="6459616" y="2187577"/>
                </a:moveTo>
                <a:cubicBezTo>
                  <a:pt x="6482490" y="2187577"/>
                  <a:pt x="6500646" y="2205733"/>
                  <a:pt x="6500646" y="2228605"/>
                </a:cubicBezTo>
                <a:cubicBezTo>
                  <a:pt x="6500646" y="2251480"/>
                  <a:pt x="6482128" y="2269632"/>
                  <a:pt x="6459616" y="2269632"/>
                </a:cubicBezTo>
                <a:cubicBezTo>
                  <a:pt x="6436744" y="2269632"/>
                  <a:pt x="6418588" y="2251480"/>
                  <a:pt x="6418588" y="2228605"/>
                </a:cubicBezTo>
                <a:cubicBezTo>
                  <a:pt x="6418588" y="2205733"/>
                  <a:pt x="6436744" y="2187577"/>
                  <a:pt x="6459616" y="2187577"/>
                </a:cubicBezTo>
                <a:close/>
                <a:moveTo>
                  <a:pt x="6613200" y="2185035"/>
                </a:moveTo>
                <a:cubicBezTo>
                  <a:pt x="6637262" y="2185035"/>
                  <a:pt x="6656770" y="2204540"/>
                  <a:pt x="6656770" y="2228605"/>
                </a:cubicBezTo>
                <a:cubicBezTo>
                  <a:pt x="6656770" y="2252669"/>
                  <a:pt x="6637265" y="2272175"/>
                  <a:pt x="6613200" y="2272175"/>
                </a:cubicBezTo>
                <a:cubicBezTo>
                  <a:pt x="6589136" y="2272175"/>
                  <a:pt x="6569630" y="2252669"/>
                  <a:pt x="6569630" y="2228605"/>
                </a:cubicBezTo>
                <a:cubicBezTo>
                  <a:pt x="6569630" y="2204540"/>
                  <a:pt x="6589136" y="2185035"/>
                  <a:pt x="6613200" y="2185035"/>
                </a:cubicBezTo>
                <a:close/>
                <a:moveTo>
                  <a:pt x="2768873" y="2074657"/>
                </a:moveTo>
                <a:cubicBezTo>
                  <a:pt x="2769235" y="2074657"/>
                  <a:pt x="2769235" y="2074657"/>
                  <a:pt x="2769235" y="2075019"/>
                </a:cubicBezTo>
                <a:cubicBezTo>
                  <a:pt x="2769235" y="2075385"/>
                  <a:pt x="2768873" y="2075385"/>
                  <a:pt x="2768873" y="2075385"/>
                </a:cubicBezTo>
                <a:cubicBezTo>
                  <a:pt x="2768511" y="2075385"/>
                  <a:pt x="2768511" y="2075385"/>
                  <a:pt x="2768511" y="2075019"/>
                </a:cubicBezTo>
                <a:cubicBezTo>
                  <a:pt x="2768511" y="2074657"/>
                  <a:pt x="2768511" y="2074657"/>
                  <a:pt x="2768873" y="2074657"/>
                </a:cubicBezTo>
                <a:close/>
                <a:moveTo>
                  <a:pt x="2307393" y="2074657"/>
                </a:moveTo>
                <a:cubicBezTo>
                  <a:pt x="2307755" y="2074657"/>
                  <a:pt x="2307755" y="2074657"/>
                  <a:pt x="2307755" y="2075019"/>
                </a:cubicBezTo>
                <a:cubicBezTo>
                  <a:pt x="2307755" y="2075385"/>
                  <a:pt x="2307393" y="2075385"/>
                  <a:pt x="2307393" y="2075385"/>
                </a:cubicBezTo>
                <a:cubicBezTo>
                  <a:pt x="2307031" y="2075385"/>
                  <a:pt x="2307031" y="2075385"/>
                  <a:pt x="2307031" y="2075019"/>
                </a:cubicBezTo>
                <a:cubicBezTo>
                  <a:pt x="2307031" y="2074657"/>
                  <a:pt x="2307031" y="2074657"/>
                  <a:pt x="2307393" y="2074657"/>
                </a:cubicBezTo>
                <a:close/>
                <a:moveTo>
                  <a:pt x="2153808" y="2074657"/>
                </a:moveTo>
                <a:cubicBezTo>
                  <a:pt x="2154170" y="2074657"/>
                  <a:pt x="2154170" y="2074657"/>
                  <a:pt x="2154170" y="2075019"/>
                </a:cubicBezTo>
                <a:cubicBezTo>
                  <a:pt x="2154170" y="2075385"/>
                  <a:pt x="2153808" y="2075385"/>
                  <a:pt x="2153808" y="2075385"/>
                </a:cubicBezTo>
                <a:cubicBezTo>
                  <a:pt x="2153445" y="2075385"/>
                  <a:pt x="2153445" y="2075385"/>
                  <a:pt x="2153445" y="2075019"/>
                </a:cubicBezTo>
                <a:cubicBezTo>
                  <a:pt x="2153445" y="2074657"/>
                  <a:pt x="2153445" y="2074657"/>
                  <a:pt x="2153808" y="2074657"/>
                </a:cubicBezTo>
                <a:close/>
                <a:moveTo>
                  <a:pt x="1999864" y="2074295"/>
                </a:moveTo>
                <a:cubicBezTo>
                  <a:pt x="2000264" y="2074295"/>
                  <a:pt x="2000588" y="2074619"/>
                  <a:pt x="2000588" y="2075023"/>
                </a:cubicBezTo>
                <a:cubicBezTo>
                  <a:pt x="2000588" y="2075423"/>
                  <a:pt x="2000264" y="2075747"/>
                  <a:pt x="1999864" y="2075747"/>
                </a:cubicBezTo>
                <a:cubicBezTo>
                  <a:pt x="1999460" y="2075747"/>
                  <a:pt x="1999136" y="2075423"/>
                  <a:pt x="1999136" y="2075023"/>
                </a:cubicBezTo>
                <a:cubicBezTo>
                  <a:pt x="1999136" y="2074619"/>
                  <a:pt x="1999460" y="2074295"/>
                  <a:pt x="1999864" y="2074295"/>
                </a:cubicBezTo>
                <a:close/>
                <a:moveTo>
                  <a:pt x="2922458" y="2073205"/>
                </a:moveTo>
                <a:cubicBezTo>
                  <a:pt x="2923186" y="2073205"/>
                  <a:pt x="2923910" y="2073933"/>
                  <a:pt x="2923910" y="2074657"/>
                </a:cubicBezTo>
                <a:cubicBezTo>
                  <a:pt x="2923910" y="2075385"/>
                  <a:pt x="2922458" y="2076110"/>
                  <a:pt x="2922458" y="2076110"/>
                </a:cubicBezTo>
                <a:cubicBezTo>
                  <a:pt x="2921734" y="2076110"/>
                  <a:pt x="2921006" y="2075385"/>
                  <a:pt x="2921006" y="2074657"/>
                </a:cubicBezTo>
                <a:cubicBezTo>
                  <a:pt x="2921006" y="2073933"/>
                  <a:pt x="2921734" y="2073205"/>
                  <a:pt x="2922458" y="2073205"/>
                </a:cubicBezTo>
                <a:close/>
                <a:moveTo>
                  <a:pt x="3076406" y="2072843"/>
                </a:moveTo>
                <a:cubicBezTo>
                  <a:pt x="3077496" y="2072843"/>
                  <a:pt x="3078582" y="2073933"/>
                  <a:pt x="3078582" y="2075023"/>
                </a:cubicBezTo>
                <a:cubicBezTo>
                  <a:pt x="3078582" y="2076110"/>
                  <a:pt x="3076406" y="2077200"/>
                  <a:pt x="3076406" y="2077200"/>
                </a:cubicBezTo>
                <a:cubicBezTo>
                  <a:pt x="3075315" y="2077200"/>
                  <a:pt x="3074225" y="2076110"/>
                  <a:pt x="3074225" y="2075023"/>
                </a:cubicBezTo>
                <a:cubicBezTo>
                  <a:pt x="3074225" y="2073933"/>
                  <a:pt x="3075315" y="2072843"/>
                  <a:pt x="3076406" y="2072843"/>
                </a:cubicBezTo>
                <a:close/>
                <a:moveTo>
                  <a:pt x="3230353" y="2071753"/>
                </a:moveTo>
                <a:cubicBezTo>
                  <a:pt x="3232167" y="2071753"/>
                  <a:pt x="3233620" y="2073205"/>
                  <a:pt x="3233620" y="2075019"/>
                </a:cubicBezTo>
                <a:cubicBezTo>
                  <a:pt x="3233620" y="2076834"/>
                  <a:pt x="3232167" y="2078290"/>
                  <a:pt x="3230353" y="2078290"/>
                </a:cubicBezTo>
                <a:cubicBezTo>
                  <a:pt x="3228538" y="2078290"/>
                  <a:pt x="3227086" y="2076834"/>
                  <a:pt x="3227086" y="2075019"/>
                </a:cubicBezTo>
                <a:cubicBezTo>
                  <a:pt x="3227086" y="2073205"/>
                  <a:pt x="3228538" y="2071753"/>
                  <a:pt x="3230353" y="2071753"/>
                </a:cubicBezTo>
                <a:close/>
                <a:moveTo>
                  <a:pt x="3383934" y="2070662"/>
                </a:moveTo>
                <a:cubicBezTo>
                  <a:pt x="3386477" y="2070662"/>
                  <a:pt x="3388291" y="2072477"/>
                  <a:pt x="3388291" y="2075019"/>
                </a:cubicBezTo>
                <a:cubicBezTo>
                  <a:pt x="3388291" y="2077562"/>
                  <a:pt x="3386115" y="2079376"/>
                  <a:pt x="3383934" y="2079376"/>
                </a:cubicBezTo>
                <a:cubicBezTo>
                  <a:pt x="3381392" y="2079376"/>
                  <a:pt x="3379577" y="2077562"/>
                  <a:pt x="3379577" y="2075019"/>
                </a:cubicBezTo>
                <a:cubicBezTo>
                  <a:pt x="3379577" y="2072477"/>
                  <a:pt x="3381392" y="2070662"/>
                  <a:pt x="3383934" y="2070662"/>
                </a:cubicBezTo>
                <a:close/>
                <a:moveTo>
                  <a:pt x="3537886" y="2069210"/>
                </a:moveTo>
                <a:cubicBezTo>
                  <a:pt x="3541152" y="2069210"/>
                  <a:pt x="3543695" y="2071753"/>
                  <a:pt x="3543695" y="2075019"/>
                </a:cubicBezTo>
                <a:cubicBezTo>
                  <a:pt x="3543695" y="2078286"/>
                  <a:pt x="3541152" y="2080829"/>
                  <a:pt x="3537886" y="2080829"/>
                </a:cubicBezTo>
                <a:cubicBezTo>
                  <a:pt x="3534619" y="2080829"/>
                  <a:pt x="3532076" y="2078286"/>
                  <a:pt x="3532076" y="2075019"/>
                </a:cubicBezTo>
                <a:cubicBezTo>
                  <a:pt x="3532076" y="2071753"/>
                  <a:pt x="3534619" y="2069210"/>
                  <a:pt x="3537886" y="2069210"/>
                </a:cubicBezTo>
                <a:close/>
                <a:moveTo>
                  <a:pt x="3691467" y="2067758"/>
                </a:moveTo>
                <a:cubicBezTo>
                  <a:pt x="3695462" y="2067758"/>
                  <a:pt x="3698728" y="2071025"/>
                  <a:pt x="3698728" y="2075019"/>
                </a:cubicBezTo>
                <a:cubicBezTo>
                  <a:pt x="3698728" y="2079014"/>
                  <a:pt x="3695462" y="2082281"/>
                  <a:pt x="3691467" y="2082281"/>
                </a:cubicBezTo>
                <a:cubicBezTo>
                  <a:pt x="3687472" y="2082281"/>
                  <a:pt x="3684205" y="2079014"/>
                  <a:pt x="3684205" y="2075019"/>
                </a:cubicBezTo>
                <a:cubicBezTo>
                  <a:pt x="3684205" y="2071025"/>
                  <a:pt x="3687472" y="2067758"/>
                  <a:pt x="3691467" y="2067758"/>
                </a:cubicBezTo>
                <a:close/>
                <a:moveTo>
                  <a:pt x="3845414" y="2065943"/>
                </a:moveTo>
                <a:cubicBezTo>
                  <a:pt x="3850500" y="2065943"/>
                  <a:pt x="3854494" y="2069938"/>
                  <a:pt x="3854494" y="2075019"/>
                </a:cubicBezTo>
                <a:cubicBezTo>
                  <a:pt x="3854494" y="2080104"/>
                  <a:pt x="3850500" y="2084099"/>
                  <a:pt x="3845414" y="2084099"/>
                </a:cubicBezTo>
                <a:cubicBezTo>
                  <a:pt x="3840333" y="2084099"/>
                  <a:pt x="3836338" y="2080104"/>
                  <a:pt x="3836338" y="2075019"/>
                </a:cubicBezTo>
                <a:cubicBezTo>
                  <a:pt x="3836338" y="2069938"/>
                  <a:pt x="3840333" y="2065943"/>
                  <a:pt x="3845414" y="2065943"/>
                </a:cubicBezTo>
                <a:close/>
                <a:moveTo>
                  <a:pt x="3999000" y="2064853"/>
                </a:moveTo>
                <a:cubicBezTo>
                  <a:pt x="4004447" y="2064853"/>
                  <a:pt x="4009166" y="2069572"/>
                  <a:pt x="4009166" y="2075019"/>
                </a:cubicBezTo>
                <a:cubicBezTo>
                  <a:pt x="4009166" y="2080467"/>
                  <a:pt x="4004809" y="2085186"/>
                  <a:pt x="3999000" y="2085186"/>
                </a:cubicBezTo>
                <a:cubicBezTo>
                  <a:pt x="3993552" y="2085186"/>
                  <a:pt x="3988833" y="2080467"/>
                  <a:pt x="3988833" y="2075019"/>
                </a:cubicBezTo>
                <a:cubicBezTo>
                  <a:pt x="3988833" y="2069572"/>
                  <a:pt x="3993552" y="2064853"/>
                  <a:pt x="3999000" y="2064853"/>
                </a:cubicBezTo>
                <a:close/>
                <a:moveTo>
                  <a:pt x="4152947" y="2063038"/>
                </a:moveTo>
                <a:cubicBezTo>
                  <a:pt x="4159484" y="2063038"/>
                  <a:pt x="4164932" y="2068486"/>
                  <a:pt x="4164932" y="2075019"/>
                </a:cubicBezTo>
                <a:cubicBezTo>
                  <a:pt x="4164932" y="2081557"/>
                  <a:pt x="4159484" y="2087000"/>
                  <a:pt x="4152947" y="2087000"/>
                </a:cubicBezTo>
                <a:cubicBezTo>
                  <a:pt x="4146414" y="2087000"/>
                  <a:pt x="4140966" y="2081557"/>
                  <a:pt x="4140966" y="2075019"/>
                </a:cubicBezTo>
                <a:cubicBezTo>
                  <a:pt x="4140966" y="2068486"/>
                  <a:pt x="4146414" y="2063038"/>
                  <a:pt x="4152947" y="2063038"/>
                </a:cubicBezTo>
                <a:close/>
                <a:moveTo>
                  <a:pt x="4306528" y="2061224"/>
                </a:moveTo>
                <a:cubicBezTo>
                  <a:pt x="4314156" y="2061224"/>
                  <a:pt x="4320328" y="2067396"/>
                  <a:pt x="4320328" y="2075023"/>
                </a:cubicBezTo>
                <a:cubicBezTo>
                  <a:pt x="4320328" y="2082647"/>
                  <a:pt x="4314156" y="2088818"/>
                  <a:pt x="4306528" y="2088818"/>
                </a:cubicBezTo>
                <a:cubicBezTo>
                  <a:pt x="4298904" y="2088818"/>
                  <a:pt x="4292733" y="2082647"/>
                  <a:pt x="4292733" y="2075023"/>
                </a:cubicBezTo>
                <a:cubicBezTo>
                  <a:pt x="4292733" y="2067396"/>
                  <a:pt x="4298904" y="2061224"/>
                  <a:pt x="4306528" y="2061224"/>
                </a:cubicBezTo>
                <a:close/>
                <a:moveTo>
                  <a:pt x="4460476" y="2059772"/>
                </a:moveTo>
                <a:cubicBezTo>
                  <a:pt x="4468900" y="2059772"/>
                  <a:pt x="4475728" y="2066599"/>
                  <a:pt x="4475728" y="2075023"/>
                </a:cubicBezTo>
                <a:cubicBezTo>
                  <a:pt x="4475728" y="2083444"/>
                  <a:pt x="4468900" y="2090271"/>
                  <a:pt x="4460476" y="2090271"/>
                </a:cubicBezTo>
                <a:cubicBezTo>
                  <a:pt x="4452056" y="2090271"/>
                  <a:pt x="4445228" y="2083444"/>
                  <a:pt x="4445228" y="2075023"/>
                </a:cubicBezTo>
                <a:cubicBezTo>
                  <a:pt x="4445228" y="2066599"/>
                  <a:pt x="4452056" y="2059772"/>
                  <a:pt x="4460476" y="2059772"/>
                </a:cubicBezTo>
                <a:close/>
                <a:moveTo>
                  <a:pt x="4614065" y="2057957"/>
                </a:moveTo>
                <a:cubicBezTo>
                  <a:pt x="4623503" y="2057957"/>
                  <a:pt x="4631131" y="2065581"/>
                  <a:pt x="4631131" y="2075023"/>
                </a:cubicBezTo>
                <a:cubicBezTo>
                  <a:pt x="4631131" y="2084461"/>
                  <a:pt x="4623503" y="2092085"/>
                  <a:pt x="4614065" y="2092085"/>
                </a:cubicBezTo>
                <a:cubicBezTo>
                  <a:pt x="4604623" y="2092085"/>
                  <a:pt x="4596999" y="2084461"/>
                  <a:pt x="4596999" y="2075023"/>
                </a:cubicBezTo>
                <a:cubicBezTo>
                  <a:pt x="4596999" y="2065581"/>
                  <a:pt x="4604623" y="2057957"/>
                  <a:pt x="4614065" y="2057957"/>
                </a:cubicBezTo>
                <a:close/>
                <a:moveTo>
                  <a:pt x="4768008" y="2055777"/>
                </a:moveTo>
                <a:cubicBezTo>
                  <a:pt x="4778640" y="2055777"/>
                  <a:pt x="4787255" y="2064392"/>
                  <a:pt x="4787255" y="2075019"/>
                </a:cubicBezTo>
                <a:cubicBezTo>
                  <a:pt x="4787255" y="2085647"/>
                  <a:pt x="4778640" y="2094266"/>
                  <a:pt x="4768008" y="2094266"/>
                </a:cubicBezTo>
                <a:cubicBezTo>
                  <a:pt x="4757381" y="2094266"/>
                  <a:pt x="4748766" y="2085647"/>
                  <a:pt x="4748766" y="2075019"/>
                </a:cubicBezTo>
                <a:cubicBezTo>
                  <a:pt x="4748766" y="2064392"/>
                  <a:pt x="4757381" y="2055777"/>
                  <a:pt x="4768008" y="2055777"/>
                </a:cubicBezTo>
                <a:close/>
                <a:moveTo>
                  <a:pt x="4921594" y="2053600"/>
                </a:moveTo>
                <a:cubicBezTo>
                  <a:pt x="4933574" y="2053600"/>
                  <a:pt x="4943013" y="2063038"/>
                  <a:pt x="4943013" y="2075023"/>
                </a:cubicBezTo>
                <a:cubicBezTo>
                  <a:pt x="4943013" y="2087004"/>
                  <a:pt x="4933212" y="2096446"/>
                  <a:pt x="4921594" y="2096446"/>
                </a:cubicBezTo>
                <a:cubicBezTo>
                  <a:pt x="4909613" y="2096446"/>
                  <a:pt x="4900171" y="2087004"/>
                  <a:pt x="4900171" y="2075023"/>
                </a:cubicBezTo>
                <a:cubicBezTo>
                  <a:pt x="4900171" y="2063038"/>
                  <a:pt x="4909613" y="2053600"/>
                  <a:pt x="4921594" y="2053600"/>
                </a:cubicBezTo>
                <a:close/>
                <a:moveTo>
                  <a:pt x="5075545" y="2052148"/>
                </a:moveTo>
                <a:cubicBezTo>
                  <a:pt x="5088250" y="2052148"/>
                  <a:pt x="5098416" y="2062314"/>
                  <a:pt x="5098416" y="2075023"/>
                </a:cubicBezTo>
                <a:cubicBezTo>
                  <a:pt x="5098416" y="2087728"/>
                  <a:pt x="5088250" y="2097895"/>
                  <a:pt x="5075545" y="2097895"/>
                </a:cubicBezTo>
                <a:cubicBezTo>
                  <a:pt x="5062836" y="2097895"/>
                  <a:pt x="5052670" y="2087728"/>
                  <a:pt x="5052670" y="2075023"/>
                </a:cubicBezTo>
                <a:cubicBezTo>
                  <a:pt x="5052670" y="2062314"/>
                  <a:pt x="5062836" y="2052148"/>
                  <a:pt x="5075545" y="2052148"/>
                </a:cubicBezTo>
                <a:close/>
                <a:moveTo>
                  <a:pt x="5229126" y="2049968"/>
                </a:moveTo>
                <a:cubicBezTo>
                  <a:pt x="5242926" y="2049968"/>
                  <a:pt x="5254182" y="2061224"/>
                  <a:pt x="5254182" y="2075019"/>
                </a:cubicBezTo>
                <a:cubicBezTo>
                  <a:pt x="5254182" y="2088818"/>
                  <a:pt x="5242926" y="2100075"/>
                  <a:pt x="5229126" y="2100075"/>
                </a:cubicBezTo>
                <a:cubicBezTo>
                  <a:pt x="5215331" y="2100075"/>
                  <a:pt x="5204074" y="2088818"/>
                  <a:pt x="5204074" y="2075019"/>
                </a:cubicBezTo>
                <a:cubicBezTo>
                  <a:pt x="5204074" y="2061224"/>
                  <a:pt x="5215331" y="2049968"/>
                  <a:pt x="5229126" y="2049968"/>
                </a:cubicBezTo>
                <a:close/>
                <a:moveTo>
                  <a:pt x="5383074" y="2047791"/>
                </a:moveTo>
                <a:cubicBezTo>
                  <a:pt x="5397960" y="2047791"/>
                  <a:pt x="5410306" y="2060138"/>
                  <a:pt x="5410306" y="2075023"/>
                </a:cubicBezTo>
                <a:cubicBezTo>
                  <a:pt x="5410306" y="2089909"/>
                  <a:pt x="5398322" y="2102256"/>
                  <a:pt x="5383074" y="2102256"/>
                </a:cubicBezTo>
                <a:cubicBezTo>
                  <a:pt x="5368184" y="2102256"/>
                  <a:pt x="5355842" y="2089909"/>
                  <a:pt x="5355842" y="2075023"/>
                </a:cubicBezTo>
                <a:cubicBezTo>
                  <a:pt x="5355842" y="2060138"/>
                  <a:pt x="5368184" y="2047791"/>
                  <a:pt x="5383074" y="2047791"/>
                </a:cubicBezTo>
                <a:close/>
                <a:moveTo>
                  <a:pt x="5537018" y="2045248"/>
                </a:moveTo>
                <a:cubicBezTo>
                  <a:pt x="5553462" y="2045248"/>
                  <a:pt x="5566792" y="2058579"/>
                  <a:pt x="5566792" y="2075023"/>
                </a:cubicBezTo>
                <a:cubicBezTo>
                  <a:pt x="5566792" y="2091464"/>
                  <a:pt x="5553462" y="2104794"/>
                  <a:pt x="5537018" y="2104794"/>
                </a:cubicBezTo>
                <a:cubicBezTo>
                  <a:pt x="5520576" y="2104794"/>
                  <a:pt x="5507246" y="2091464"/>
                  <a:pt x="5507246" y="2075023"/>
                </a:cubicBezTo>
                <a:cubicBezTo>
                  <a:pt x="5507246" y="2058579"/>
                  <a:pt x="5520576" y="2045248"/>
                  <a:pt x="5537018" y="2045248"/>
                </a:cubicBezTo>
                <a:close/>
                <a:moveTo>
                  <a:pt x="5690606" y="2043068"/>
                </a:moveTo>
                <a:cubicBezTo>
                  <a:pt x="5708396" y="2043068"/>
                  <a:pt x="5722558" y="2057229"/>
                  <a:pt x="5722558" y="2075019"/>
                </a:cubicBezTo>
                <a:cubicBezTo>
                  <a:pt x="5722558" y="2092810"/>
                  <a:pt x="5708396" y="2106971"/>
                  <a:pt x="5690606" y="2106971"/>
                </a:cubicBezTo>
                <a:cubicBezTo>
                  <a:pt x="5672816" y="2106971"/>
                  <a:pt x="5658655" y="2092810"/>
                  <a:pt x="5658655" y="2075019"/>
                </a:cubicBezTo>
                <a:cubicBezTo>
                  <a:pt x="5658655" y="2057229"/>
                  <a:pt x="5672816" y="2043068"/>
                  <a:pt x="5690606" y="2043068"/>
                </a:cubicBezTo>
                <a:close/>
                <a:moveTo>
                  <a:pt x="5844554" y="2041254"/>
                </a:moveTo>
                <a:cubicBezTo>
                  <a:pt x="5863202" y="2041254"/>
                  <a:pt x="5878320" y="2056372"/>
                  <a:pt x="5878320" y="2075019"/>
                </a:cubicBezTo>
                <a:cubicBezTo>
                  <a:pt x="5878320" y="2093671"/>
                  <a:pt x="5863202" y="2108789"/>
                  <a:pt x="5844554" y="2108789"/>
                </a:cubicBezTo>
                <a:cubicBezTo>
                  <a:pt x="5825906" y="2108789"/>
                  <a:pt x="5810788" y="2093671"/>
                  <a:pt x="5810788" y="2075019"/>
                </a:cubicBezTo>
                <a:cubicBezTo>
                  <a:pt x="5810788" y="2056372"/>
                  <a:pt x="5825906" y="2041254"/>
                  <a:pt x="5844554" y="2041254"/>
                </a:cubicBezTo>
                <a:close/>
                <a:moveTo>
                  <a:pt x="5998136" y="2038711"/>
                </a:moveTo>
                <a:cubicBezTo>
                  <a:pt x="6018106" y="2038711"/>
                  <a:pt x="6034444" y="2055049"/>
                  <a:pt x="6034444" y="2075019"/>
                </a:cubicBezTo>
                <a:cubicBezTo>
                  <a:pt x="6034444" y="2094990"/>
                  <a:pt x="6018106" y="2111328"/>
                  <a:pt x="5998136" y="2111328"/>
                </a:cubicBezTo>
                <a:cubicBezTo>
                  <a:pt x="5978165" y="2111328"/>
                  <a:pt x="5961827" y="2094990"/>
                  <a:pt x="5961827" y="2075019"/>
                </a:cubicBezTo>
                <a:cubicBezTo>
                  <a:pt x="5961827" y="2055049"/>
                  <a:pt x="5978165" y="2038711"/>
                  <a:pt x="5998136" y="2038711"/>
                </a:cubicBezTo>
                <a:close/>
                <a:moveTo>
                  <a:pt x="6152083" y="2036172"/>
                </a:moveTo>
                <a:cubicBezTo>
                  <a:pt x="6173506" y="2036172"/>
                  <a:pt x="6190934" y="2053600"/>
                  <a:pt x="6190934" y="2075023"/>
                </a:cubicBezTo>
                <a:cubicBezTo>
                  <a:pt x="6190934" y="2096442"/>
                  <a:pt x="6173506" y="2113870"/>
                  <a:pt x="6152083" y="2113870"/>
                </a:cubicBezTo>
                <a:cubicBezTo>
                  <a:pt x="6130664" y="2113870"/>
                  <a:pt x="6113236" y="2096442"/>
                  <a:pt x="6113236" y="2075023"/>
                </a:cubicBezTo>
                <a:cubicBezTo>
                  <a:pt x="6113236" y="2053600"/>
                  <a:pt x="6130664" y="2036172"/>
                  <a:pt x="6152083" y="2036172"/>
                </a:cubicBezTo>
                <a:close/>
                <a:moveTo>
                  <a:pt x="6305668" y="2033992"/>
                </a:moveTo>
                <a:cubicBezTo>
                  <a:pt x="6328543" y="2033992"/>
                  <a:pt x="6346700" y="2052148"/>
                  <a:pt x="6346700" y="2075019"/>
                </a:cubicBezTo>
                <a:cubicBezTo>
                  <a:pt x="6346700" y="2097895"/>
                  <a:pt x="6328181" y="2116047"/>
                  <a:pt x="6305668" y="2116047"/>
                </a:cubicBezTo>
                <a:cubicBezTo>
                  <a:pt x="6282796" y="2116047"/>
                  <a:pt x="6264640" y="2097895"/>
                  <a:pt x="6264640" y="2075019"/>
                </a:cubicBezTo>
                <a:cubicBezTo>
                  <a:pt x="6264640" y="2052148"/>
                  <a:pt x="6282796" y="2033992"/>
                  <a:pt x="6305668" y="2033992"/>
                </a:cubicBezTo>
                <a:close/>
                <a:moveTo>
                  <a:pt x="6459616" y="2031449"/>
                </a:moveTo>
                <a:cubicBezTo>
                  <a:pt x="6483577" y="2031449"/>
                  <a:pt x="6503186" y="2051058"/>
                  <a:pt x="6503186" y="2075019"/>
                </a:cubicBezTo>
                <a:cubicBezTo>
                  <a:pt x="6503186" y="2098985"/>
                  <a:pt x="6483577" y="2118590"/>
                  <a:pt x="6459616" y="2118590"/>
                </a:cubicBezTo>
                <a:cubicBezTo>
                  <a:pt x="6435650" y="2118590"/>
                  <a:pt x="6416046" y="2098985"/>
                  <a:pt x="6416046" y="2075019"/>
                </a:cubicBezTo>
                <a:cubicBezTo>
                  <a:pt x="6416046" y="2051058"/>
                  <a:pt x="6435650" y="2031449"/>
                  <a:pt x="6459616" y="2031449"/>
                </a:cubicBezTo>
                <a:close/>
                <a:moveTo>
                  <a:pt x="6613200" y="2028911"/>
                </a:moveTo>
                <a:cubicBezTo>
                  <a:pt x="6638668" y="2028911"/>
                  <a:pt x="6659313" y="2049556"/>
                  <a:pt x="6659313" y="2075023"/>
                </a:cubicBezTo>
                <a:cubicBezTo>
                  <a:pt x="6659313" y="2100490"/>
                  <a:pt x="6638668" y="2121136"/>
                  <a:pt x="6613200" y="2121136"/>
                </a:cubicBezTo>
                <a:cubicBezTo>
                  <a:pt x="6587734" y="2121136"/>
                  <a:pt x="6567088" y="2100490"/>
                  <a:pt x="6567088" y="2075023"/>
                </a:cubicBezTo>
                <a:cubicBezTo>
                  <a:pt x="6567088" y="2049556"/>
                  <a:pt x="6587734" y="2028911"/>
                  <a:pt x="6613200" y="2028911"/>
                </a:cubicBezTo>
                <a:close/>
                <a:moveTo>
                  <a:pt x="2614925" y="1921072"/>
                </a:moveTo>
                <a:cubicBezTo>
                  <a:pt x="2615288" y="1921072"/>
                  <a:pt x="2615288" y="1921072"/>
                  <a:pt x="2615288" y="1921434"/>
                </a:cubicBezTo>
                <a:cubicBezTo>
                  <a:pt x="2615288" y="1921800"/>
                  <a:pt x="2614925" y="1921800"/>
                  <a:pt x="2614925" y="1921800"/>
                </a:cubicBezTo>
                <a:cubicBezTo>
                  <a:pt x="2614563" y="1921800"/>
                  <a:pt x="2614563" y="1921800"/>
                  <a:pt x="2614563" y="1921434"/>
                </a:cubicBezTo>
                <a:cubicBezTo>
                  <a:pt x="2614563" y="1921072"/>
                  <a:pt x="2614563" y="1921072"/>
                  <a:pt x="2614925" y="1921072"/>
                </a:cubicBezTo>
                <a:close/>
                <a:moveTo>
                  <a:pt x="2153808" y="1921072"/>
                </a:moveTo>
                <a:cubicBezTo>
                  <a:pt x="2154170" y="1921072"/>
                  <a:pt x="2154170" y="1921072"/>
                  <a:pt x="2154170" y="1921434"/>
                </a:cubicBezTo>
                <a:cubicBezTo>
                  <a:pt x="2154170" y="1921800"/>
                  <a:pt x="2153808" y="1921800"/>
                  <a:pt x="2153808" y="1921800"/>
                </a:cubicBezTo>
                <a:cubicBezTo>
                  <a:pt x="2153445" y="1921800"/>
                  <a:pt x="2153445" y="1921800"/>
                  <a:pt x="2153445" y="1921434"/>
                </a:cubicBezTo>
                <a:cubicBezTo>
                  <a:pt x="2153445" y="1921072"/>
                  <a:pt x="2153445" y="1921072"/>
                  <a:pt x="2153808" y="1921072"/>
                </a:cubicBezTo>
                <a:close/>
                <a:moveTo>
                  <a:pt x="1999860" y="1921072"/>
                </a:moveTo>
                <a:cubicBezTo>
                  <a:pt x="2000222" y="1921072"/>
                  <a:pt x="2000222" y="1921072"/>
                  <a:pt x="2000222" y="1921434"/>
                </a:cubicBezTo>
                <a:cubicBezTo>
                  <a:pt x="2000222" y="1921800"/>
                  <a:pt x="1999860" y="1921800"/>
                  <a:pt x="1999860" y="1921800"/>
                </a:cubicBezTo>
                <a:cubicBezTo>
                  <a:pt x="1999498" y="1921800"/>
                  <a:pt x="1999498" y="1921800"/>
                  <a:pt x="1999498" y="1921434"/>
                </a:cubicBezTo>
                <a:cubicBezTo>
                  <a:pt x="1999498" y="1921072"/>
                  <a:pt x="1999498" y="1921072"/>
                  <a:pt x="1999860" y="1921072"/>
                </a:cubicBezTo>
                <a:close/>
                <a:moveTo>
                  <a:pt x="1846279" y="1920710"/>
                </a:moveTo>
                <a:cubicBezTo>
                  <a:pt x="1846641" y="1920710"/>
                  <a:pt x="1847003" y="1921072"/>
                  <a:pt x="1847003" y="1921434"/>
                </a:cubicBezTo>
                <a:cubicBezTo>
                  <a:pt x="1847003" y="1921800"/>
                  <a:pt x="1846279" y="1922162"/>
                  <a:pt x="1846279" y="1922162"/>
                </a:cubicBezTo>
                <a:cubicBezTo>
                  <a:pt x="1845913" y="1922162"/>
                  <a:pt x="1845551" y="1921800"/>
                  <a:pt x="1845551" y="1921434"/>
                </a:cubicBezTo>
                <a:cubicBezTo>
                  <a:pt x="1845551" y="1921072"/>
                  <a:pt x="1845913" y="1920710"/>
                  <a:pt x="1846279" y="1920710"/>
                </a:cubicBezTo>
                <a:close/>
                <a:moveTo>
                  <a:pt x="2768873" y="1919620"/>
                </a:moveTo>
                <a:cubicBezTo>
                  <a:pt x="2769597" y="1919620"/>
                  <a:pt x="2770325" y="1920348"/>
                  <a:pt x="2770325" y="1921072"/>
                </a:cubicBezTo>
                <a:cubicBezTo>
                  <a:pt x="2770325" y="1921800"/>
                  <a:pt x="2768873" y="1922524"/>
                  <a:pt x="2768873" y="1922524"/>
                </a:cubicBezTo>
                <a:cubicBezTo>
                  <a:pt x="2768145" y="1922524"/>
                  <a:pt x="2767421" y="1921800"/>
                  <a:pt x="2767421" y="1921072"/>
                </a:cubicBezTo>
                <a:cubicBezTo>
                  <a:pt x="2767421" y="1920348"/>
                  <a:pt x="2768145" y="1919620"/>
                  <a:pt x="2768873" y="1919620"/>
                </a:cubicBezTo>
                <a:close/>
                <a:moveTo>
                  <a:pt x="2922454" y="1918895"/>
                </a:moveTo>
                <a:cubicBezTo>
                  <a:pt x="2923544" y="1918895"/>
                  <a:pt x="2924635" y="1919986"/>
                  <a:pt x="2924635" y="1921076"/>
                </a:cubicBezTo>
                <a:cubicBezTo>
                  <a:pt x="2924635" y="1922162"/>
                  <a:pt x="2922454" y="1923252"/>
                  <a:pt x="2922454" y="1923252"/>
                </a:cubicBezTo>
                <a:cubicBezTo>
                  <a:pt x="2921368" y="1923252"/>
                  <a:pt x="2920278" y="1922162"/>
                  <a:pt x="2920278" y="1921076"/>
                </a:cubicBezTo>
                <a:cubicBezTo>
                  <a:pt x="2920278" y="1919986"/>
                  <a:pt x="2921368" y="1918895"/>
                  <a:pt x="2922454" y="1918895"/>
                </a:cubicBezTo>
                <a:close/>
                <a:moveTo>
                  <a:pt x="3076406" y="1918167"/>
                </a:moveTo>
                <a:cubicBezTo>
                  <a:pt x="3078220" y="1918167"/>
                  <a:pt x="3079672" y="1919620"/>
                  <a:pt x="3079672" y="1921434"/>
                </a:cubicBezTo>
                <a:cubicBezTo>
                  <a:pt x="3079672" y="1923249"/>
                  <a:pt x="3078220" y="1924701"/>
                  <a:pt x="3076406" y="1924701"/>
                </a:cubicBezTo>
                <a:cubicBezTo>
                  <a:pt x="3074587" y="1924701"/>
                  <a:pt x="3073135" y="1923249"/>
                  <a:pt x="3073135" y="1921434"/>
                </a:cubicBezTo>
                <a:cubicBezTo>
                  <a:pt x="3073135" y="1919620"/>
                  <a:pt x="3074587" y="1918167"/>
                  <a:pt x="3076406" y="1918167"/>
                </a:cubicBezTo>
                <a:close/>
                <a:moveTo>
                  <a:pt x="3230353" y="1916715"/>
                </a:moveTo>
                <a:cubicBezTo>
                  <a:pt x="3232895" y="1916715"/>
                  <a:pt x="3234710" y="1918529"/>
                  <a:pt x="3234710" y="1921072"/>
                </a:cubicBezTo>
                <a:cubicBezTo>
                  <a:pt x="3234710" y="1923615"/>
                  <a:pt x="3232530" y="1925429"/>
                  <a:pt x="3230353" y="1925429"/>
                </a:cubicBezTo>
                <a:cubicBezTo>
                  <a:pt x="3227810" y="1925429"/>
                  <a:pt x="3225996" y="1923615"/>
                  <a:pt x="3225996" y="1921072"/>
                </a:cubicBezTo>
                <a:cubicBezTo>
                  <a:pt x="3225996" y="1918529"/>
                  <a:pt x="3227810" y="1916715"/>
                  <a:pt x="3230353" y="1916715"/>
                </a:cubicBezTo>
                <a:close/>
                <a:moveTo>
                  <a:pt x="3383938" y="1915625"/>
                </a:moveTo>
                <a:cubicBezTo>
                  <a:pt x="3387205" y="1915625"/>
                  <a:pt x="3389748" y="1918167"/>
                  <a:pt x="3389748" y="1921434"/>
                </a:cubicBezTo>
                <a:cubicBezTo>
                  <a:pt x="3389748" y="1924701"/>
                  <a:pt x="3387205" y="1927243"/>
                  <a:pt x="3383938" y="1927243"/>
                </a:cubicBezTo>
                <a:cubicBezTo>
                  <a:pt x="3380671" y="1927243"/>
                  <a:pt x="3378129" y="1924701"/>
                  <a:pt x="3378129" y="1921434"/>
                </a:cubicBezTo>
                <a:cubicBezTo>
                  <a:pt x="3378129" y="1918167"/>
                  <a:pt x="3380671" y="1915625"/>
                  <a:pt x="3383938" y="1915625"/>
                </a:cubicBezTo>
                <a:close/>
                <a:moveTo>
                  <a:pt x="3537882" y="1913810"/>
                </a:moveTo>
                <a:cubicBezTo>
                  <a:pt x="3541876" y="1913810"/>
                  <a:pt x="3545143" y="1917077"/>
                  <a:pt x="3545143" y="1921072"/>
                </a:cubicBezTo>
                <a:cubicBezTo>
                  <a:pt x="3545143" y="1925067"/>
                  <a:pt x="3541876" y="1928334"/>
                  <a:pt x="3537882" y="1928334"/>
                </a:cubicBezTo>
                <a:cubicBezTo>
                  <a:pt x="3533887" y="1928334"/>
                  <a:pt x="3530620" y="1925067"/>
                  <a:pt x="3530620" y="1921072"/>
                </a:cubicBezTo>
                <a:cubicBezTo>
                  <a:pt x="3530620" y="1917077"/>
                  <a:pt x="3533887" y="1913810"/>
                  <a:pt x="3537882" y="1913810"/>
                </a:cubicBezTo>
                <a:close/>
                <a:moveTo>
                  <a:pt x="3691467" y="1911996"/>
                </a:moveTo>
                <a:cubicBezTo>
                  <a:pt x="3696552" y="1911996"/>
                  <a:pt x="3700547" y="1915991"/>
                  <a:pt x="3700547" y="1921072"/>
                </a:cubicBezTo>
                <a:cubicBezTo>
                  <a:pt x="3700547" y="1926157"/>
                  <a:pt x="3696552" y="1930152"/>
                  <a:pt x="3691467" y="1930152"/>
                </a:cubicBezTo>
                <a:cubicBezTo>
                  <a:pt x="3686386" y="1930152"/>
                  <a:pt x="3682391" y="1926157"/>
                  <a:pt x="3682391" y="1921072"/>
                </a:cubicBezTo>
                <a:cubicBezTo>
                  <a:pt x="3682391" y="1915991"/>
                  <a:pt x="3686386" y="1911996"/>
                  <a:pt x="3691467" y="1911996"/>
                </a:cubicBezTo>
                <a:close/>
                <a:moveTo>
                  <a:pt x="3845414" y="1911268"/>
                </a:moveTo>
                <a:cubicBezTo>
                  <a:pt x="3850862" y="1911268"/>
                  <a:pt x="3855581" y="1915987"/>
                  <a:pt x="3855581" y="1921434"/>
                </a:cubicBezTo>
                <a:cubicBezTo>
                  <a:pt x="3855581" y="1926881"/>
                  <a:pt x="3851224" y="1931600"/>
                  <a:pt x="3845414" y="1931600"/>
                </a:cubicBezTo>
                <a:cubicBezTo>
                  <a:pt x="3839967" y="1931600"/>
                  <a:pt x="3835248" y="1926881"/>
                  <a:pt x="3835248" y="1921434"/>
                </a:cubicBezTo>
                <a:cubicBezTo>
                  <a:pt x="3835248" y="1915987"/>
                  <a:pt x="3839967" y="1911268"/>
                  <a:pt x="3845414" y="1911268"/>
                </a:cubicBezTo>
                <a:close/>
                <a:moveTo>
                  <a:pt x="3999000" y="1909091"/>
                </a:moveTo>
                <a:cubicBezTo>
                  <a:pt x="4005537" y="1909091"/>
                  <a:pt x="4010984" y="1914538"/>
                  <a:pt x="4010984" y="1921072"/>
                </a:cubicBezTo>
                <a:cubicBezTo>
                  <a:pt x="4010984" y="1927609"/>
                  <a:pt x="4005537" y="1933053"/>
                  <a:pt x="3999000" y="1933053"/>
                </a:cubicBezTo>
                <a:cubicBezTo>
                  <a:pt x="3992466" y="1933053"/>
                  <a:pt x="3987019" y="1927609"/>
                  <a:pt x="3987019" y="1921072"/>
                </a:cubicBezTo>
                <a:cubicBezTo>
                  <a:pt x="3987019" y="1914538"/>
                  <a:pt x="3992466" y="1909091"/>
                  <a:pt x="3999000" y="1909091"/>
                </a:cubicBezTo>
                <a:close/>
                <a:moveTo>
                  <a:pt x="4152951" y="1907277"/>
                </a:moveTo>
                <a:cubicBezTo>
                  <a:pt x="4160574" y="1907277"/>
                  <a:pt x="4166746" y="1913448"/>
                  <a:pt x="4166746" y="1921076"/>
                </a:cubicBezTo>
                <a:cubicBezTo>
                  <a:pt x="4166746" y="1928700"/>
                  <a:pt x="4160574" y="1934871"/>
                  <a:pt x="4152951" y="1934871"/>
                </a:cubicBezTo>
                <a:cubicBezTo>
                  <a:pt x="4145323" y="1934871"/>
                  <a:pt x="4139152" y="1928700"/>
                  <a:pt x="4139152" y="1921076"/>
                </a:cubicBezTo>
                <a:cubicBezTo>
                  <a:pt x="4139152" y="1913448"/>
                  <a:pt x="4145323" y="1907277"/>
                  <a:pt x="4152951" y="1907277"/>
                </a:cubicBezTo>
                <a:close/>
                <a:moveTo>
                  <a:pt x="4306528" y="1905824"/>
                </a:moveTo>
                <a:cubicBezTo>
                  <a:pt x="4314953" y="1905824"/>
                  <a:pt x="4321780" y="1912651"/>
                  <a:pt x="4321780" y="1921072"/>
                </a:cubicBezTo>
                <a:cubicBezTo>
                  <a:pt x="4321780" y="1929496"/>
                  <a:pt x="4314953" y="1936323"/>
                  <a:pt x="4306528" y="1936323"/>
                </a:cubicBezTo>
                <a:cubicBezTo>
                  <a:pt x="4298108" y="1936323"/>
                  <a:pt x="4291281" y="1929496"/>
                  <a:pt x="4291281" y="1921072"/>
                </a:cubicBezTo>
                <a:cubicBezTo>
                  <a:pt x="4291281" y="1912651"/>
                  <a:pt x="4298108" y="1905824"/>
                  <a:pt x="4306528" y="1905824"/>
                </a:cubicBezTo>
                <a:close/>
                <a:moveTo>
                  <a:pt x="4460480" y="1904006"/>
                </a:moveTo>
                <a:cubicBezTo>
                  <a:pt x="4469918" y="1904006"/>
                  <a:pt x="4477546" y="1911630"/>
                  <a:pt x="4477546" y="1921072"/>
                </a:cubicBezTo>
                <a:cubicBezTo>
                  <a:pt x="4477546" y="1930510"/>
                  <a:pt x="4469918" y="1938138"/>
                  <a:pt x="4460480" y="1938138"/>
                </a:cubicBezTo>
                <a:cubicBezTo>
                  <a:pt x="4451038" y="1938138"/>
                  <a:pt x="4443414" y="1930510"/>
                  <a:pt x="4443414" y="1921072"/>
                </a:cubicBezTo>
                <a:cubicBezTo>
                  <a:pt x="4443414" y="1911630"/>
                  <a:pt x="4451038" y="1904006"/>
                  <a:pt x="4460480" y="1904006"/>
                </a:cubicBezTo>
                <a:close/>
                <a:moveTo>
                  <a:pt x="4614061" y="1901830"/>
                </a:moveTo>
                <a:cubicBezTo>
                  <a:pt x="4624688" y="1901830"/>
                  <a:pt x="4633304" y="1910444"/>
                  <a:pt x="4633304" y="1921072"/>
                </a:cubicBezTo>
                <a:cubicBezTo>
                  <a:pt x="4633304" y="1931699"/>
                  <a:pt x="4624688" y="1940314"/>
                  <a:pt x="4614061" y="1940314"/>
                </a:cubicBezTo>
                <a:cubicBezTo>
                  <a:pt x="4603434" y="1940314"/>
                  <a:pt x="4594818" y="1931699"/>
                  <a:pt x="4594818" y="1921072"/>
                </a:cubicBezTo>
                <a:cubicBezTo>
                  <a:pt x="4594818" y="1910444"/>
                  <a:pt x="4603434" y="1901830"/>
                  <a:pt x="4614061" y="1901830"/>
                </a:cubicBezTo>
                <a:close/>
                <a:moveTo>
                  <a:pt x="4768012" y="1899649"/>
                </a:moveTo>
                <a:cubicBezTo>
                  <a:pt x="4779993" y="1899649"/>
                  <a:pt x="4789432" y="1909091"/>
                  <a:pt x="4789432" y="1921072"/>
                </a:cubicBezTo>
                <a:cubicBezTo>
                  <a:pt x="4789432" y="1933053"/>
                  <a:pt x="4779627" y="1942495"/>
                  <a:pt x="4768012" y="1942495"/>
                </a:cubicBezTo>
                <a:cubicBezTo>
                  <a:pt x="4756028" y="1942495"/>
                  <a:pt x="4746590" y="1933053"/>
                  <a:pt x="4746590" y="1921072"/>
                </a:cubicBezTo>
                <a:cubicBezTo>
                  <a:pt x="4746590" y="1909091"/>
                  <a:pt x="4756028" y="1899649"/>
                  <a:pt x="4768012" y="1899649"/>
                </a:cubicBezTo>
                <a:close/>
                <a:moveTo>
                  <a:pt x="4921594" y="1898563"/>
                </a:moveTo>
                <a:cubicBezTo>
                  <a:pt x="4934302" y="1898563"/>
                  <a:pt x="4944469" y="1908729"/>
                  <a:pt x="4944469" y="1921438"/>
                </a:cubicBezTo>
                <a:cubicBezTo>
                  <a:pt x="4944469" y="1934143"/>
                  <a:pt x="4934302" y="1944309"/>
                  <a:pt x="4921594" y="1944309"/>
                </a:cubicBezTo>
                <a:cubicBezTo>
                  <a:pt x="4908885" y="1944309"/>
                  <a:pt x="4898718" y="1934143"/>
                  <a:pt x="4898718" y="1921438"/>
                </a:cubicBezTo>
                <a:cubicBezTo>
                  <a:pt x="4898718" y="1908729"/>
                  <a:pt x="4908885" y="1898563"/>
                  <a:pt x="4921594" y="1898563"/>
                </a:cubicBezTo>
                <a:close/>
                <a:moveTo>
                  <a:pt x="5075541" y="1896382"/>
                </a:moveTo>
                <a:cubicBezTo>
                  <a:pt x="5089340" y="1896382"/>
                  <a:pt x="5100597" y="1907639"/>
                  <a:pt x="5100597" y="1921434"/>
                </a:cubicBezTo>
                <a:cubicBezTo>
                  <a:pt x="5100597" y="1935233"/>
                  <a:pt x="5089340" y="1946490"/>
                  <a:pt x="5075541" y="1946490"/>
                </a:cubicBezTo>
                <a:cubicBezTo>
                  <a:pt x="5061746" y="1946490"/>
                  <a:pt x="5050490" y="1935233"/>
                  <a:pt x="5050490" y="1921434"/>
                </a:cubicBezTo>
                <a:cubicBezTo>
                  <a:pt x="5050490" y="1907639"/>
                  <a:pt x="5061746" y="1896382"/>
                  <a:pt x="5075541" y="1896382"/>
                </a:cubicBezTo>
                <a:close/>
                <a:moveTo>
                  <a:pt x="5229126" y="1894206"/>
                </a:moveTo>
                <a:cubicBezTo>
                  <a:pt x="5244012" y="1894206"/>
                  <a:pt x="5256358" y="1906552"/>
                  <a:pt x="5256358" y="1921438"/>
                </a:cubicBezTo>
                <a:cubicBezTo>
                  <a:pt x="5256358" y="1936323"/>
                  <a:pt x="5244374" y="1948670"/>
                  <a:pt x="5229126" y="1948670"/>
                </a:cubicBezTo>
                <a:cubicBezTo>
                  <a:pt x="5214237" y="1948670"/>
                  <a:pt x="5201894" y="1936323"/>
                  <a:pt x="5201894" y="1921438"/>
                </a:cubicBezTo>
                <a:cubicBezTo>
                  <a:pt x="5201894" y="1906552"/>
                  <a:pt x="5214237" y="1894206"/>
                  <a:pt x="5229126" y="1894206"/>
                </a:cubicBezTo>
                <a:close/>
                <a:moveTo>
                  <a:pt x="5383074" y="1891301"/>
                </a:moveTo>
                <a:cubicBezTo>
                  <a:pt x="5399518" y="1891301"/>
                  <a:pt x="5412848" y="1904631"/>
                  <a:pt x="5412848" y="1921072"/>
                </a:cubicBezTo>
                <a:cubicBezTo>
                  <a:pt x="5412848" y="1937517"/>
                  <a:pt x="5399518" y="1950847"/>
                  <a:pt x="5383074" y="1950847"/>
                </a:cubicBezTo>
                <a:cubicBezTo>
                  <a:pt x="5366633" y="1950847"/>
                  <a:pt x="5353303" y="1937517"/>
                  <a:pt x="5353303" y="1921072"/>
                </a:cubicBezTo>
                <a:cubicBezTo>
                  <a:pt x="5353303" y="1904631"/>
                  <a:pt x="5366633" y="1891301"/>
                  <a:pt x="5383074" y="1891301"/>
                </a:cubicBezTo>
                <a:close/>
                <a:moveTo>
                  <a:pt x="5536659" y="1889121"/>
                </a:moveTo>
                <a:cubicBezTo>
                  <a:pt x="5554450" y="1889121"/>
                  <a:pt x="5568610" y="1903282"/>
                  <a:pt x="5568610" y="1921072"/>
                </a:cubicBezTo>
                <a:cubicBezTo>
                  <a:pt x="5568610" y="1938862"/>
                  <a:pt x="5554450" y="1953023"/>
                  <a:pt x="5536659" y="1953023"/>
                </a:cubicBezTo>
                <a:cubicBezTo>
                  <a:pt x="5518865" y="1953023"/>
                  <a:pt x="5504708" y="1938862"/>
                  <a:pt x="5504708" y="1921072"/>
                </a:cubicBezTo>
                <a:cubicBezTo>
                  <a:pt x="5504708" y="1903282"/>
                  <a:pt x="5518865" y="1889121"/>
                  <a:pt x="5536659" y="1889121"/>
                </a:cubicBezTo>
                <a:close/>
                <a:moveTo>
                  <a:pt x="5690606" y="1887306"/>
                </a:moveTo>
                <a:cubicBezTo>
                  <a:pt x="5709258" y="1887306"/>
                  <a:pt x="5724376" y="1902424"/>
                  <a:pt x="5724376" y="1921072"/>
                </a:cubicBezTo>
                <a:cubicBezTo>
                  <a:pt x="5724376" y="1939724"/>
                  <a:pt x="5709258" y="1954842"/>
                  <a:pt x="5690606" y="1954842"/>
                </a:cubicBezTo>
                <a:cubicBezTo>
                  <a:pt x="5671958" y="1954842"/>
                  <a:pt x="5656840" y="1939724"/>
                  <a:pt x="5656840" y="1921072"/>
                </a:cubicBezTo>
                <a:cubicBezTo>
                  <a:pt x="5656840" y="1902424"/>
                  <a:pt x="5671958" y="1887306"/>
                  <a:pt x="5690606" y="1887306"/>
                </a:cubicBezTo>
                <a:close/>
                <a:moveTo>
                  <a:pt x="5844554" y="1884764"/>
                </a:moveTo>
                <a:cubicBezTo>
                  <a:pt x="5864524" y="1884764"/>
                  <a:pt x="5880862" y="1901101"/>
                  <a:pt x="5880862" y="1921072"/>
                </a:cubicBezTo>
                <a:cubicBezTo>
                  <a:pt x="5880862" y="1941043"/>
                  <a:pt x="5864524" y="1957380"/>
                  <a:pt x="5844554" y="1957380"/>
                </a:cubicBezTo>
                <a:cubicBezTo>
                  <a:pt x="5824584" y="1957380"/>
                  <a:pt x="5808246" y="1941043"/>
                  <a:pt x="5808246" y="1921072"/>
                </a:cubicBezTo>
                <a:cubicBezTo>
                  <a:pt x="5808246" y="1901101"/>
                  <a:pt x="5824584" y="1884764"/>
                  <a:pt x="5844554" y="1884764"/>
                </a:cubicBezTo>
                <a:close/>
                <a:moveTo>
                  <a:pt x="5998139" y="1882225"/>
                </a:moveTo>
                <a:cubicBezTo>
                  <a:pt x="6019562" y="1882225"/>
                  <a:pt x="6036990" y="1899653"/>
                  <a:pt x="6036990" y="1921076"/>
                </a:cubicBezTo>
                <a:cubicBezTo>
                  <a:pt x="6036990" y="1942495"/>
                  <a:pt x="6019562" y="1959923"/>
                  <a:pt x="5998139" y="1959923"/>
                </a:cubicBezTo>
                <a:cubicBezTo>
                  <a:pt x="5976716" y="1959923"/>
                  <a:pt x="5959288" y="1942495"/>
                  <a:pt x="5959288" y="1921076"/>
                </a:cubicBezTo>
                <a:cubicBezTo>
                  <a:pt x="5959288" y="1899653"/>
                  <a:pt x="5976716" y="1882225"/>
                  <a:pt x="5998139" y="1882225"/>
                </a:cubicBezTo>
                <a:close/>
                <a:moveTo>
                  <a:pt x="6152083" y="1880045"/>
                </a:moveTo>
                <a:cubicBezTo>
                  <a:pt x="6174958" y="1880045"/>
                  <a:pt x="6193114" y="1898200"/>
                  <a:pt x="6193114" y="1921072"/>
                </a:cubicBezTo>
                <a:cubicBezTo>
                  <a:pt x="6193114" y="1943947"/>
                  <a:pt x="6174596" y="1962103"/>
                  <a:pt x="6152083" y="1962103"/>
                </a:cubicBezTo>
                <a:cubicBezTo>
                  <a:pt x="6129212" y="1962103"/>
                  <a:pt x="6111056" y="1943947"/>
                  <a:pt x="6111056" y="1921072"/>
                </a:cubicBezTo>
                <a:cubicBezTo>
                  <a:pt x="6111056" y="1898200"/>
                  <a:pt x="6129212" y="1880045"/>
                  <a:pt x="6152083" y="1880045"/>
                </a:cubicBezTo>
                <a:close/>
                <a:moveTo>
                  <a:pt x="6305668" y="1877502"/>
                </a:moveTo>
                <a:cubicBezTo>
                  <a:pt x="6329630" y="1877502"/>
                  <a:pt x="6349238" y="1897110"/>
                  <a:pt x="6349238" y="1921072"/>
                </a:cubicBezTo>
                <a:cubicBezTo>
                  <a:pt x="6349238" y="1945037"/>
                  <a:pt x="6329630" y="1964642"/>
                  <a:pt x="6305668" y="1964642"/>
                </a:cubicBezTo>
                <a:cubicBezTo>
                  <a:pt x="6281702" y="1964642"/>
                  <a:pt x="6262098" y="1945037"/>
                  <a:pt x="6262098" y="1921072"/>
                </a:cubicBezTo>
                <a:cubicBezTo>
                  <a:pt x="6262098" y="1897110"/>
                  <a:pt x="6281702" y="1877502"/>
                  <a:pt x="6305668" y="1877502"/>
                </a:cubicBezTo>
                <a:close/>
                <a:moveTo>
                  <a:pt x="6459616" y="1874959"/>
                </a:moveTo>
                <a:cubicBezTo>
                  <a:pt x="6485033" y="1874959"/>
                  <a:pt x="6505728" y="1895654"/>
                  <a:pt x="6505728" y="1921072"/>
                </a:cubicBezTo>
                <a:cubicBezTo>
                  <a:pt x="6505728" y="1946486"/>
                  <a:pt x="6485033" y="1967184"/>
                  <a:pt x="6459616" y="1967184"/>
                </a:cubicBezTo>
                <a:cubicBezTo>
                  <a:pt x="6434198" y="1967184"/>
                  <a:pt x="6413503" y="1946486"/>
                  <a:pt x="6413503" y="1921072"/>
                </a:cubicBezTo>
                <a:cubicBezTo>
                  <a:pt x="6413503" y="1895654"/>
                  <a:pt x="6434198" y="1874959"/>
                  <a:pt x="6459616" y="1874959"/>
                </a:cubicBezTo>
                <a:close/>
                <a:moveTo>
                  <a:pt x="6613200" y="1872421"/>
                </a:moveTo>
                <a:cubicBezTo>
                  <a:pt x="6640071" y="1872421"/>
                  <a:pt x="6661856" y="1894206"/>
                  <a:pt x="6661856" y="1921076"/>
                </a:cubicBezTo>
                <a:cubicBezTo>
                  <a:pt x="6661856" y="1947942"/>
                  <a:pt x="6640071" y="1969727"/>
                  <a:pt x="6613200" y="1969727"/>
                </a:cubicBezTo>
                <a:cubicBezTo>
                  <a:pt x="6586334" y="1969727"/>
                  <a:pt x="6564550" y="1947942"/>
                  <a:pt x="6564550" y="1921076"/>
                </a:cubicBezTo>
                <a:cubicBezTo>
                  <a:pt x="6564550" y="1894206"/>
                  <a:pt x="6586334" y="1872421"/>
                  <a:pt x="6613200" y="1872421"/>
                </a:cubicBezTo>
                <a:close/>
                <a:moveTo>
                  <a:pt x="2461340" y="1767125"/>
                </a:moveTo>
                <a:cubicBezTo>
                  <a:pt x="2461702" y="1767125"/>
                  <a:pt x="2461702" y="1767125"/>
                  <a:pt x="2461702" y="1767487"/>
                </a:cubicBezTo>
                <a:cubicBezTo>
                  <a:pt x="2461702" y="1767853"/>
                  <a:pt x="2461340" y="1767853"/>
                  <a:pt x="2461340" y="1767853"/>
                </a:cubicBezTo>
                <a:cubicBezTo>
                  <a:pt x="2460978" y="1767853"/>
                  <a:pt x="2460978" y="1767853"/>
                  <a:pt x="2460978" y="1767487"/>
                </a:cubicBezTo>
                <a:cubicBezTo>
                  <a:pt x="2460978" y="1767125"/>
                  <a:pt x="2460978" y="1767125"/>
                  <a:pt x="2461340" y="1767125"/>
                </a:cubicBezTo>
                <a:close/>
                <a:moveTo>
                  <a:pt x="1999860" y="1767125"/>
                </a:moveTo>
                <a:cubicBezTo>
                  <a:pt x="2000222" y="1767125"/>
                  <a:pt x="2000222" y="1767125"/>
                  <a:pt x="2000222" y="1767487"/>
                </a:cubicBezTo>
                <a:cubicBezTo>
                  <a:pt x="2000222" y="1767853"/>
                  <a:pt x="1999860" y="1767853"/>
                  <a:pt x="1999860" y="1767853"/>
                </a:cubicBezTo>
                <a:cubicBezTo>
                  <a:pt x="1999498" y="1767853"/>
                  <a:pt x="1999498" y="1767853"/>
                  <a:pt x="1999498" y="1767487"/>
                </a:cubicBezTo>
                <a:cubicBezTo>
                  <a:pt x="1999498" y="1767125"/>
                  <a:pt x="1999498" y="1767125"/>
                  <a:pt x="1999860" y="1767125"/>
                </a:cubicBezTo>
                <a:close/>
                <a:moveTo>
                  <a:pt x="1846279" y="1767125"/>
                </a:moveTo>
                <a:cubicBezTo>
                  <a:pt x="1846641" y="1767125"/>
                  <a:pt x="1846641" y="1767125"/>
                  <a:pt x="1846641" y="1767487"/>
                </a:cubicBezTo>
                <a:cubicBezTo>
                  <a:pt x="1846641" y="1767853"/>
                  <a:pt x="1846279" y="1767853"/>
                  <a:pt x="1846279" y="1767853"/>
                </a:cubicBezTo>
                <a:cubicBezTo>
                  <a:pt x="1845917" y="1767853"/>
                  <a:pt x="1845917" y="1767853"/>
                  <a:pt x="1845917" y="1767487"/>
                </a:cubicBezTo>
                <a:cubicBezTo>
                  <a:pt x="1845917" y="1767125"/>
                  <a:pt x="1845917" y="1767125"/>
                  <a:pt x="1846279" y="1767125"/>
                </a:cubicBezTo>
                <a:close/>
                <a:moveTo>
                  <a:pt x="1692328" y="1766762"/>
                </a:moveTo>
                <a:cubicBezTo>
                  <a:pt x="1692694" y="1766762"/>
                  <a:pt x="1693056" y="1767125"/>
                  <a:pt x="1693056" y="1767491"/>
                </a:cubicBezTo>
                <a:cubicBezTo>
                  <a:pt x="1693056" y="1767853"/>
                  <a:pt x="1692328" y="1768215"/>
                  <a:pt x="1692328" y="1768215"/>
                </a:cubicBezTo>
                <a:cubicBezTo>
                  <a:pt x="1691965" y="1768215"/>
                  <a:pt x="1691603" y="1767853"/>
                  <a:pt x="1691603" y="1767491"/>
                </a:cubicBezTo>
                <a:cubicBezTo>
                  <a:pt x="1691603" y="1767125"/>
                  <a:pt x="1691965" y="1766762"/>
                  <a:pt x="1692328" y="1766762"/>
                </a:cubicBezTo>
                <a:close/>
                <a:moveTo>
                  <a:pt x="2614925" y="1765672"/>
                </a:moveTo>
                <a:cubicBezTo>
                  <a:pt x="2615650" y="1765672"/>
                  <a:pt x="2616378" y="1766400"/>
                  <a:pt x="2616378" y="1767125"/>
                </a:cubicBezTo>
                <a:cubicBezTo>
                  <a:pt x="2616378" y="1767849"/>
                  <a:pt x="2614925" y="1768577"/>
                  <a:pt x="2614925" y="1768577"/>
                </a:cubicBezTo>
                <a:cubicBezTo>
                  <a:pt x="2614197" y="1768577"/>
                  <a:pt x="2613473" y="1767849"/>
                  <a:pt x="2613473" y="1767125"/>
                </a:cubicBezTo>
                <a:cubicBezTo>
                  <a:pt x="2613473" y="1766400"/>
                  <a:pt x="2614197" y="1765672"/>
                  <a:pt x="2614925" y="1765672"/>
                </a:cubicBezTo>
                <a:close/>
                <a:moveTo>
                  <a:pt x="2768873" y="1765310"/>
                </a:moveTo>
                <a:cubicBezTo>
                  <a:pt x="2769963" y="1765310"/>
                  <a:pt x="2771049" y="1766400"/>
                  <a:pt x="2771049" y="1767491"/>
                </a:cubicBezTo>
                <a:cubicBezTo>
                  <a:pt x="2771049" y="1768577"/>
                  <a:pt x="2768873" y="1769667"/>
                  <a:pt x="2768873" y="1769667"/>
                </a:cubicBezTo>
                <a:cubicBezTo>
                  <a:pt x="2767783" y="1769667"/>
                  <a:pt x="2766692" y="1768577"/>
                  <a:pt x="2766692" y="1767491"/>
                </a:cubicBezTo>
                <a:cubicBezTo>
                  <a:pt x="2766692" y="1766400"/>
                  <a:pt x="2767783" y="1765310"/>
                  <a:pt x="2768873" y="1765310"/>
                </a:cubicBezTo>
                <a:close/>
                <a:moveTo>
                  <a:pt x="2922454" y="1764220"/>
                </a:moveTo>
                <a:cubicBezTo>
                  <a:pt x="2924272" y="1764220"/>
                  <a:pt x="2925721" y="1765672"/>
                  <a:pt x="2925721" y="1767487"/>
                </a:cubicBezTo>
                <a:cubicBezTo>
                  <a:pt x="2925721" y="1769301"/>
                  <a:pt x="2924272" y="1770757"/>
                  <a:pt x="2922454" y="1770757"/>
                </a:cubicBezTo>
                <a:cubicBezTo>
                  <a:pt x="2920640" y="1770757"/>
                  <a:pt x="2919188" y="1769301"/>
                  <a:pt x="2919188" y="1767487"/>
                </a:cubicBezTo>
                <a:cubicBezTo>
                  <a:pt x="2919188" y="1765672"/>
                  <a:pt x="2920640" y="1764220"/>
                  <a:pt x="2922454" y="1764220"/>
                </a:cubicBezTo>
                <a:close/>
                <a:moveTo>
                  <a:pt x="3076406" y="1763134"/>
                </a:moveTo>
                <a:cubicBezTo>
                  <a:pt x="3078948" y="1763134"/>
                  <a:pt x="3080762" y="1764948"/>
                  <a:pt x="3080762" y="1767491"/>
                </a:cubicBezTo>
                <a:cubicBezTo>
                  <a:pt x="3080762" y="1770033"/>
                  <a:pt x="3078586" y="1771848"/>
                  <a:pt x="3076406" y="1771848"/>
                </a:cubicBezTo>
                <a:cubicBezTo>
                  <a:pt x="3073863" y="1771848"/>
                  <a:pt x="3072048" y="1770033"/>
                  <a:pt x="3072048" y="1767491"/>
                </a:cubicBezTo>
                <a:cubicBezTo>
                  <a:pt x="3072048" y="1764948"/>
                  <a:pt x="3073863" y="1763134"/>
                  <a:pt x="3076406" y="1763134"/>
                </a:cubicBezTo>
                <a:close/>
                <a:moveTo>
                  <a:pt x="3230353" y="1761681"/>
                </a:moveTo>
                <a:cubicBezTo>
                  <a:pt x="3233620" y="1761681"/>
                  <a:pt x="3236162" y="1764224"/>
                  <a:pt x="3236162" y="1767491"/>
                </a:cubicBezTo>
                <a:cubicBezTo>
                  <a:pt x="3236162" y="1770757"/>
                  <a:pt x="3233620" y="1773300"/>
                  <a:pt x="3230353" y="1773300"/>
                </a:cubicBezTo>
                <a:cubicBezTo>
                  <a:pt x="3227086" y="1773300"/>
                  <a:pt x="3224544" y="1770757"/>
                  <a:pt x="3224544" y="1767491"/>
                </a:cubicBezTo>
                <a:cubicBezTo>
                  <a:pt x="3224544" y="1764224"/>
                  <a:pt x="3227086" y="1761681"/>
                  <a:pt x="3230353" y="1761681"/>
                </a:cubicBezTo>
                <a:close/>
                <a:moveTo>
                  <a:pt x="3383938" y="1760225"/>
                </a:moveTo>
                <a:cubicBezTo>
                  <a:pt x="3387933" y="1760225"/>
                  <a:pt x="3391200" y="1763492"/>
                  <a:pt x="3391200" y="1767487"/>
                </a:cubicBezTo>
                <a:cubicBezTo>
                  <a:pt x="3391200" y="1771481"/>
                  <a:pt x="3387933" y="1774748"/>
                  <a:pt x="3383938" y="1774748"/>
                </a:cubicBezTo>
                <a:cubicBezTo>
                  <a:pt x="3379943" y="1774748"/>
                  <a:pt x="3376676" y="1771481"/>
                  <a:pt x="3376676" y="1767487"/>
                </a:cubicBezTo>
                <a:cubicBezTo>
                  <a:pt x="3376676" y="1763492"/>
                  <a:pt x="3379943" y="1760225"/>
                  <a:pt x="3383938" y="1760225"/>
                </a:cubicBezTo>
                <a:close/>
                <a:moveTo>
                  <a:pt x="3537882" y="1758411"/>
                </a:moveTo>
                <a:cubicBezTo>
                  <a:pt x="3542967" y="1758411"/>
                  <a:pt x="3546962" y="1762405"/>
                  <a:pt x="3546962" y="1767487"/>
                </a:cubicBezTo>
                <a:cubicBezTo>
                  <a:pt x="3546962" y="1772572"/>
                  <a:pt x="3542967" y="1776567"/>
                  <a:pt x="3537882" y="1776567"/>
                </a:cubicBezTo>
                <a:cubicBezTo>
                  <a:pt x="3532800" y="1776567"/>
                  <a:pt x="3528806" y="1772572"/>
                  <a:pt x="3528806" y="1767487"/>
                </a:cubicBezTo>
                <a:cubicBezTo>
                  <a:pt x="3528806" y="1762405"/>
                  <a:pt x="3532800" y="1758411"/>
                  <a:pt x="3537882" y="1758411"/>
                </a:cubicBezTo>
                <a:close/>
                <a:moveTo>
                  <a:pt x="3691467" y="1757324"/>
                </a:moveTo>
                <a:cubicBezTo>
                  <a:pt x="3696914" y="1757324"/>
                  <a:pt x="3701633" y="1762043"/>
                  <a:pt x="3701633" y="1767491"/>
                </a:cubicBezTo>
                <a:cubicBezTo>
                  <a:pt x="3701633" y="1772938"/>
                  <a:pt x="3697276" y="1777657"/>
                  <a:pt x="3691467" y="1777657"/>
                </a:cubicBezTo>
                <a:cubicBezTo>
                  <a:pt x="3686020" y="1777657"/>
                  <a:pt x="3681300" y="1772938"/>
                  <a:pt x="3681300" y="1767491"/>
                </a:cubicBezTo>
                <a:cubicBezTo>
                  <a:pt x="3681300" y="1762043"/>
                  <a:pt x="3686020" y="1757324"/>
                  <a:pt x="3691467" y="1757324"/>
                </a:cubicBezTo>
                <a:close/>
                <a:moveTo>
                  <a:pt x="3845414" y="1755506"/>
                </a:moveTo>
                <a:cubicBezTo>
                  <a:pt x="3851952" y="1755506"/>
                  <a:pt x="3857399" y="1760953"/>
                  <a:pt x="3857399" y="1767487"/>
                </a:cubicBezTo>
                <a:cubicBezTo>
                  <a:pt x="3857399" y="1774024"/>
                  <a:pt x="3851952" y="1779468"/>
                  <a:pt x="3845414" y="1779468"/>
                </a:cubicBezTo>
                <a:cubicBezTo>
                  <a:pt x="3838881" y="1779468"/>
                  <a:pt x="3833434" y="1774024"/>
                  <a:pt x="3833434" y="1767487"/>
                </a:cubicBezTo>
                <a:cubicBezTo>
                  <a:pt x="3833434" y="1760953"/>
                  <a:pt x="3838881" y="1755506"/>
                  <a:pt x="3845414" y="1755506"/>
                </a:cubicBezTo>
                <a:close/>
                <a:moveTo>
                  <a:pt x="3999000" y="1753329"/>
                </a:moveTo>
                <a:cubicBezTo>
                  <a:pt x="4006627" y="1753329"/>
                  <a:pt x="4012799" y="1759501"/>
                  <a:pt x="4012799" y="1767125"/>
                </a:cubicBezTo>
                <a:cubicBezTo>
                  <a:pt x="4012799" y="1774752"/>
                  <a:pt x="4006627" y="1780924"/>
                  <a:pt x="3999000" y="1780924"/>
                </a:cubicBezTo>
                <a:cubicBezTo>
                  <a:pt x="3991376" y="1780924"/>
                  <a:pt x="3985204" y="1774752"/>
                  <a:pt x="3985204" y="1767125"/>
                </a:cubicBezTo>
                <a:cubicBezTo>
                  <a:pt x="3985204" y="1759501"/>
                  <a:pt x="3991376" y="1753329"/>
                  <a:pt x="3999000" y="1753329"/>
                </a:cubicBezTo>
                <a:close/>
                <a:moveTo>
                  <a:pt x="4152947" y="1752239"/>
                </a:moveTo>
                <a:cubicBezTo>
                  <a:pt x="4161372" y="1752239"/>
                  <a:pt x="4168198" y="1759066"/>
                  <a:pt x="4168198" y="1767491"/>
                </a:cubicBezTo>
                <a:cubicBezTo>
                  <a:pt x="4168198" y="1775911"/>
                  <a:pt x="4161372" y="1782738"/>
                  <a:pt x="4152947" y="1782738"/>
                </a:cubicBezTo>
                <a:cubicBezTo>
                  <a:pt x="4144526" y="1782738"/>
                  <a:pt x="4137700" y="1775911"/>
                  <a:pt x="4137700" y="1767491"/>
                </a:cubicBezTo>
                <a:cubicBezTo>
                  <a:pt x="4137700" y="1759066"/>
                  <a:pt x="4144526" y="1752239"/>
                  <a:pt x="4152947" y="1752239"/>
                </a:cubicBezTo>
                <a:close/>
                <a:moveTo>
                  <a:pt x="4306532" y="1750425"/>
                </a:moveTo>
                <a:cubicBezTo>
                  <a:pt x="4315970" y="1750425"/>
                  <a:pt x="4323598" y="1758048"/>
                  <a:pt x="4323598" y="1767491"/>
                </a:cubicBezTo>
                <a:cubicBezTo>
                  <a:pt x="4323598" y="1776929"/>
                  <a:pt x="4315970" y="1784556"/>
                  <a:pt x="4306532" y="1784556"/>
                </a:cubicBezTo>
                <a:cubicBezTo>
                  <a:pt x="4297090" y="1784556"/>
                  <a:pt x="4289466" y="1776929"/>
                  <a:pt x="4289466" y="1767491"/>
                </a:cubicBezTo>
                <a:cubicBezTo>
                  <a:pt x="4289466" y="1758048"/>
                  <a:pt x="4297090" y="1750425"/>
                  <a:pt x="4306532" y="1750425"/>
                </a:cubicBezTo>
                <a:close/>
                <a:moveTo>
                  <a:pt x="4460480" y="1748244"/>
                </a:moveTo>
                <a:cubicBezTo>
                  <a:pt x="4471111" y="1748244"/>
                  <a:pt x="4479726" y="1756859"/>
                  <a:pt x="4479726" y="1767487"/>
                </a:cubicBezTo>
                <a:cubicBezTo>
                  <a:pt x="4479726" y="1778114"/>
                  <a:pt x="4471111" y="1786729"/>
                  <a:pt x="4460480" y="1786729"/>
                </a:cubicBezTo>
                <a:cubicBezTo>
                  <a:pt x="4449852" y="1786729"/>
                  <a:pt x="4441237" y="1778114"/>
                  <a:pt x="4441237" y="1767487"/>
                </a:cubicBezTo>
                <a:cubicBezTo>
                  <a:pt x="4441237" y="1756859"/>
                  <a:pt x="4449852" y="1748244"/>
                  <a:pt x="4460480" y="1748244"/>
                </a:cubicBezTo>
                <a:close/>
                <a:moveTo>
                  <a:pt x="4614065" y="1746068"/>
                </a:moveTo>
                <a:cubicBezTo>
                  <a:pt x="4626046" y="1746068"/>
                  <a:pt x="4635484" y="1755506"/>
                  <a:pt x="4635484" y="1767491"/>
                </a:cubicBezTo>
                <a:cubicBezTo>
                  <a:pt x="4635484" y="1779471"/>
                  <a:pt x="4625684" y="1788913"/>
                  <a:pt x="4614065" y="1788913"/>
                </a:cubicBezTo>
                <a:cubicBezTo>
                  <a:pt x="4602084" y="1788913"/>
                  <a:pt x="4592642" y="1779471"/>
                  <a:pt x="4592642" y="1767491"/>
                </a:cubicBezTo>
                <a:cubicBezTo>
                  <a:pt x="4592642" y="1755506"/>
                  <a:pt x="4602084" y="1746068"/>
                  <a:pt x="4614065" y="1746068"/>
                </a:cubicBezTo>
                <a:close/>
                <a:moveTo>
                  <a:pt x="4768012" y="1744615"/>
                </a:moveTo>
                <a:cubicBezTo>
                  <a:pt x="4780718" y="1744615"/>
                  <a:pt x="4790884" y="1754782"/>
                  <a:pt x="4790884" y="1767491"/>
                </a:cubicBezTo>
                <a:cubicBezTo>
                  <a:pt x="4790884" y="1780196"/>
                  <a:pt x="4780718" y="1790366"/>
                  <a:pt x="4768012" y="1790366"/>
                </a:cubicBezTo>
                <a:cubicBezTo>
                  <a:pt x="4755304" y="1790366"/>
                  <a:pt x="4745137" y="1780196"/>
                  <a:pt x="4745137" y="1767491"/>
                </a:cubicBezTo>
                <a:cubicBezTo>
                  <a:pt x="4745137" y="1754782"/>
                  <a:pt x="4755304" y="1744615"/>
                  <a:pt x="4768012" y="1744615"/>
                </a:cubicBezTo>
                <a:close/>
                <a:moveTo>
                  <a:pt x="4921594" y="1742435"/>
                </a:moveTo>
                <a:cubicBezTo>
                  <a:pt x="4935393" y="1742435"/>
                  <a:pt x="4946650" y="1753691"/>
                  <a:pt x="4946650" y="1767487"/>
                </a:cubicBezTo>
                <a:cubicBezTo>
                  <a:pt x="4946650" y="1781286"/>
                  <a:pt x="4935393" y="1792538"/>
                  <a:pt x="4921594" y="1792538"/>
                </a:cubicBezTo>
                <a:cubicBezTo>
                  <a:pt x="4907798" y="1792538"/>
                  <a:pt x="4896542" y="1781286"/>
                  <a:pt x="4896542" y="1767487"/>
                </a:cubicBezTo>
                <a:cubicBezTo>
                  <a:pt x="4896542" y="1753691"/>
                  <a:pt x="4907798" y="1742435"/>
                  <a:pt x="4921594" y="1742435"/>
                </a:cubicBezTo>
                <a:close/>
                <a:moveTo>
                  <a:pt x="5075545" y="1740258"/>
                </a:moveTo>
                <a:cubicBezTo>
                  <a:pt x="5090430" y="1740258"/>
                  <a:pt x="5102777" y="1752605"/>
                  <a:pt x="5102777" y="1767491"/>
                </a:cubicBezTo>
                <a:cubicBezTo>
                  <a:pt x="5102777" y="1782376"/>
                  <a:pt x="5090792" y="1794723"/>
                  <a:pt x="5075545" y="1794723"/>
                </a:cubicBezTo>
                <a:cubicBezTo>
                  <a:pt x="5060656" y="1794723"/>
                  <a:pt x="5048313" y="1782376"/>
                  <a:pt x="5048313" y="1767491"/>
                </a:cubicBezTo>
                <a:cubicBezTo>
                  <a:pt x="5048313" y="1752605"/>
                  <a:pt x="5060656" y="1740258"/>
                  <a:pt x="5075545" y="1740258"/>
                </a:cubicBezTo>
                <a:close/>
                <a:moveTo>
                  <a:pt x="5229126" y="1737716"/>
                </a:moveTo>
                <a:cubicBezTo>
                  <a:pt x="5245571" y="1737716"/>
                  <a:pt x="5258901" y="1751046"/>
                  <a:pt x="5258901" y="1767491"/>
                </a:cubicBezTo>
                <a:cubicBezTo>
                  <a:pt x="5258901" y="1783931"/>
                  <a:pt x="5245571" y="1797261"/>
                  <a:pt x="5229126" y="1797261"/>
                </a:cubicBezTo>
                <a:cubicBezTo>
                  <a:pt x="5212686" y="1797261"/>
                  <a:pt x="5199356" y="1783931"/>
                  <a:pt x="5199356" y="1767491"/>
                </a:cubicBezTo>
                <a:cubicBezTo>
                  <a:pt x="5199356" y="1751046"/>
                  <a:pt x="5212686" y="1737716"/>
                  <a:pt x="5229126" y="1737716"/>
                </a:cubicBezTo>
                <a:close/>
                <a:moveTo>
                  <a:pt x="5383074" y="1735535"/>
                </a:moveTo>
                <a:cubicBezTo>
                  <a:pt x="5400864" y="1735535"/>
                  <a:pt x="5415025" y="1749697"/>
                  <a:pt x="5415025" y="1767487"/>
                </a:cubicBezTo>
                <a:cubicBezTo>
                  <a:pt x="5415025" y="1785277"/>
                  <a:pt x="5400864" y="1799438"/>
                  <a:pt x="5383074" y="1799438"/>
                </a:cubicBezTo>
                <a:cubicBezTo>
                  <a:pt x="5365284" y="1799438"/>
                  <a:pt x="5351122" y="1785277"/>
                  <a:pt x="5351122" y="1767487"/>
                </a:cubicBezTo>
                <a:cubicBezTo>
                  <a:pt x="5351122" y="1749697"/>
                  <a:pt x="5365284" y="1735535"/>
                  <a:pt x="5383074" y="1735535"/>
                </a:cubicBezTo>
                <a:close/>
                <a:moveTo>
                  <a:pt x="5537025" y="1733721"/>
                </a:moveTo>
                <a:cubicBezTo>
                  <a:pt x="5555673" y="1733721"/>
                  <a:pt x="5570791" y="1748839"/>
                  <a:pt x="5570791" y="1767487"/>
                </a:cubicBezTo>
                <a:cubicBezTo>
                  <a:pt x="5570791" y="1786138"/>
                  <a:pt x="5555673" y="1801256"/>
                  <a:pt x="5537025" y="1801256"/>
                </a:cubicBezTo>
                <a:cubicBezTo>
                  <a:pt x="5518374" y="1801256"/>
                  <a:pt x="5503256" y="1786138"/>
                  <a:pt x="5503256" y="1767487"/>
                </a:cubicBezTo>
                <a:cubicBezTo>
                  <a:pt x="5503256" y="1748839"/>
                  <a:pt x="5518374" y="1733721"/>
                  <a:pt x="5537025" y="1733721"/>
                </a:cubicBezTo>
                <a:close/>
                <a:moveTo>
                  <a:pt x="5690606" y="1731182"/>
                </a:moveTo>
                <a:cubicBezTo>
                  <a:pt x="5710577" y="1731182"/>
                  <a:pt x="5726915" y="1747520"/>
                  <a:pt x="5726915" y="1767491"/>
                </a:cubicBezTo>
                <a:cubicBezTo>
                  <a:pt x="5726915" y="1787461"/>
                  <a:pt x="5710577" y="1803799"/>
                  <a:pt x="5690606" y="1803799"/>
                </a:cubicBezTo>
                <a:cubicBezTo>
                  <a:pt x="5670636" y="1803799"/>
                  <a:pt x="5654298" y="1787461"/>
                  <a:pt x="5654298" y="1767491"/>
                </a:cubicBezTo>
                <a:cubicBezTo>
                  <a:pt x="5654298" y="1747520"/>
                  <a:pt x="5670636" y="1731182"/>
                  <a:pt x="5690606" y="1731182"/>
                </a:cubicBezTo>
                <a:close/>
                <a:moveTo>
                  <a:pt x="5844554" y="1728640"/>
                </a:moveTo>
                <a:cubicBezTo>
                  <a:pt x="5865973" y="1728640"/>
                  <a:pt x="5883405" y="1746068"/>
                  <a:pt x="5883405" y="1767491"/>
                </a:cubicBezTo>
                <a:cubicBezTo>
                  <a:pt x="5883405" y="1788910"/>
                  <a:pt x="5865973" y="1806338"/>
                  <a:pt x="5844554" y="1806338"/>
                </a:cubicBezTo>
                <a:cubicBezTo>
                  <a:pt x="5823131" y="1806338"/>
                  <a:pt x="5805703" y="1788910"/>
                  <a:pt x="5805703" y="1767491"/>
                </a:cubicBezTo>
                <a:cubicBezTo>
                  <a:pt x="5805703" y="1746068"/>
                  <a:pt x="5823131" y="1728640"/>
                  <a:pt x="5844554" y="1728640"/>
                </a:cubicBezTo>
                <a:close/>
                <a:moveTo>
                  <a:pt x="5998136" y="1726459"/>
                </a:moveTo>
                <a:cubicBezTo>
                  <a:pt x="6021010" y="1726459"/>
                  <a:pt x="6039166" y="1744615"/>
                  <a:pt x="6039166" y="1767487"/>
                </a:cubicBezTo>
                <a:cubicBezTo>
                  <a:pt x="6039166" y="1790362"/>
                  <a:pt x="6020648" y="1808518"/>
                  <a:pt x="5998136" y="1808518"/>
                </a:cubicBezTo>
                <a:cubicBezTo>
                  <a:pt x="5975264" y="1808518"/>
                  <a:pt x="5957108" y="1790362"/>
                  <a:pt x="5957108" y="1767487"/>
                </a:cubicBezTo>
                <a:cubicBezTo>
                  <a:pt x="5957108" y="1744615"/>
                  <a:pt x="5975264" y="1726459"/>
                  <a:pt x="5998136" y="1726459"/>
                </a:cubicBezTo>
                <a:close/>
                <a:moveTo>
                  <a:pt x="6152086" y="1723917"/>
                </a:moveTo>
                <a:cubicBezTo>
                  <a:pt x="6176048" y="1723917"/>
                  <a:pt x="6195656" y="1743525"/>
                  <a:pt x="6195656" y="1767487"/>
                </a:cubicBezTo>
                <a:cubicBezTo>
                  <a:pt x="6195656" y="1791452"/>
                  <a:pt x="6176048" y="1811057"/>
                  <a:pt x="6152086" y="1811057"/>
                </a:cubicBezTo>
                <a:cubicBezTo>
                  <a:pt x="6128121" y="1811057"/>
                  <a:pt x="6108516" y="1791452"/>
                  <a:pt x="6108516" y="1767487"/>
                </a:cubicBezTo>
                <a:cubicBezTo>
                  <a:pt x="6108516" y="1743525"/>
                  <a:pt x="6128121" y="1723917"/>
                  <a:pt x="6152086" y="1723917"/>
                </a:cubicBezTo>
                <a:close/>
                <a:moveTo>
                  <a:pt x="6305668" y="1721378"/>
                </a:moveTo>
                <a:cubicBezTo>
                  <a:pt x="6331086" y="1721378"/>
                  <a:pt x="6351777" y="1742073"/>
                  <a:pt x="6351777" y="1767491"/>
                </a:cubicBezTo>
                <a:cubicBezTo>
                  <a:pt x="6351777" y="1792904"/>
                  <a:pt x="6331086" y="1813603"/>
                  <a:pt x="6305668" y="1813603"/>
                </a:cubicBezTo>
                <a:cubicBezTo>
                  <a:pt x="6280250" y="1813603"/>
                  <a:pt x="6259556" y="1792904"/>
                  <a:pt x="6259556" y="1767491"/>
                </a:cubicBezTo>
                <a:cubicBezTo>
                  <a:pt x="6259556" y="1742073"/>
                  <a:pt x="6280250" y="1721378"/>
                  <a:pt x="6305668" y="1721378"/>
                </a:cubicBezTo>
                <a:close/>
                <a:moveTo>
                  <a:pt x="6459619" y="1718835"/>
                </a:moveTo>
                <a:cubicBezTo>
                  <a:pt x="6486486" y="1718835"/>
                  <a:pt x="6508270" y="1740620"/>
                  <a:pt x="6508270" y="1767491"/>
                </a:cubicBezTo>
                <a:cubicBezTo>
                  <a:pt x="6508270" y="1794357"/>
                  <a:pt x="6486486" y="1816142"/>
                  <a:pt x="6459619" y="1816142"/>
                </a:cubicBezTo>
                <a:cubicBezTo>
                  <a:pt x="6432749" y="1816142"/>
                  <a:pt x="6410964" y="1794357"/>
                  <a:pt x="6410964" y="1767491"/>
                </a:cubicBezTo>
                <a:cubicBezTo>
                  <a:pt x="6410964" y="1740620"/>
                  <a:pt x="6432749" y="1718835"/>
                  <a:pt x="6459619" y="1718835"/>
                </a:cubicBezTo>
                <a:close/>
                <a:moveTo>
                  <a:pt x="6613200" y="1716293"/>
                </a:moveTo>
                <a:cubicBezTo>
                  <a:pt x="6641523" y="1716293"/>
                  <a:pt x="6664398" y="1739168"/>
                  <a:pt x="6664398" y="1767487"/>
                </a:cubicBezTo>
                <a:cubicBezTo>
                  <a:pt x="6664398" y="1795809"/>
                  <a:pt x="6641523" y="1818681"/>
                  <a:pt x="6613200" y="1818681"/>
                </a:cubicBezTo>
                <a:cubicBezTo>
                  <a:pt x="6584882" y="1818681"/>
                  <a:pt x="6562007" y="1795809"/>
                  <a:pt x="6562007" y="1767487"/>
                </a:cubicBezTo>
                <a:cubicBezTo>
                  <a:pt x="6562007" y="1739168"/>
                  <a:pt x="6584882" y="1716293"/>
                  <a:pt x="6613200" y="1716293"/>
                </a:cubicBezTo>
                <a:close/>
                <a:moveTo>
                  <a:pt x="2307393" y="1613539"/>
                </a:moveTo>
                <a:cubicBezTo>
                  <a:pt x="2307755" y="1613539"/>
                  <a:pt x="2307755" y="1613539"/>
                  <a:pt x="2307755" y="1613901"/>
                </a:cubicBezTo>
                <a:cubicBezTo>
                  <a:pt x="2307755" y="1614267"/>
                  <a:pt x="2307393" y="1614267"/>
                  <a:pt x="2307393" y="1614267"/>
                </a:cubicBezTo>
                <a:cubicBezTo>
                  <a:pt x="2307031" y="1614267"/>
                  <a:pt x="2307031" y="1614267"/>
                  <a:pt x="2307031" y="1613901"/>
                </a:cubicBezTo>
                <a:cubicBezTo>
                  <a:pt x="2307031" y="1613539"/>
                  <a:pt x="2307031" y="1613539"/>
                  <a:pt x="2307393" y="1613539"/>
                </a:cubicBezTo>
                <a:close/>
                <a:moveTo>
                  <a:pt x="1846279" y="1613539"/>
                </a:moveTo>
                <a:cubicBezTo>
                  <a:pt x="1846641" y="1613539"/>
                  <a:pt x="1846641" y="1613539"/>
                  <a:pt x="1846641" y="1613901"/>
                </a:cubicBezTo>
                <a:cubicBezTo>
                  <a:pt x="1846641" y="1614267"/>
                  <a:pt x="1846279" y="1614267"/>
                  <a:pt x="1846279" y="1614267"/>
                </a:cubicBezTo>
                <a:cubicBezTo>
                  <a:pt x="1845917" y="1614267"/>
                  <a:pt x="1845917" y="1614267"/>
                  <a:pt x="1845917" y="1613901"/>
                </a:cubicBezTo>
                <a:cubicBezTo>
                  <a:pt x="1845917" y="1613539"/>
                  <a:pt x="1845917" y="1613539"/>
                  <a:pt x="1846279" y="1613539"/>
                </a:cubicBezTo>
                <a:close/>
                <a:moveTo>
                  <a:pt x="1692331" y="1613539"/>
                </a:moveTo>
                <a:cubicBezTo>
                  <a:pt x="1692694" y="1613539"/>
                  <a:pt x="1692694" y="1613539"/>
                  <a:pt x="1692694" y="1613901"/>
                </a:cubicBezTo>
                <a:cubicBezTo>
                  <a:pt x="1692694" y="1614267"/>
                  <a:pt x="1692331" y="1614267"/>
                  <a:pt x="1692331" y="1614267"/>
                </a:cubicBezTo>
                <a:cubicBezTo>
                  <a:pt x="1691969" y="1614267"/>
                  <a:pt x="1691969" y="1614267"/>
                  <a:pt x="1691969" y="1613901"/>
                </a:cubicBezTo>
                <a:cubicBezTo>
                  <a:pt x="1691969" y="1613539"/>
                  <a:pt x="1691969" y="1613539"/>
                  <a:pt x="1692331" y="1613539"/>
                </a:cubicBezTo>
                <a:close/>
                <a:moveTo>
                  <a:pt x="1538746" y="1613177"/>
                </a:moveTo>
                <a:cubicBezTo>
                  <a:pt x="1539108" y="1613177"/>
                  <a:pt x="1539470" y="1613539"/>
                  <a:pt x="1539470" y="1613905"/>
                </a:cubicBezTo>
                <a:cubicBezTo>
                  <a:pt x="1539470" y="1614267"/>
                  <a:pt x="1538746" y="1614630"/>
                  <a:pt x="1538746" y="1614630"/>
                </a:cubicBezTo>
                <a:cubicBezTo>
                  <a:pt x="1538380" y="1614630"/>
                  <a:pt x="1538018" y="1614267"/>
                  <a:pt x="1538018" y="1613905"/>
                </a:cubicBezTo>
                <a:cubicBezTo>
                  <a:pt x="1538018" y="1613539"/>
                  <a:pt x="1538380" y="1613177"/>
                  <a:pt x="1538746" y="1613177"/>
                </a:cubicBezTo>
                <a:close/>
                <a:moveTo>
                  <a:pt x="2461340" y="1612091"/>
                </a:moveTo>
                <a:cubicBezTo>
                  <a:pt x="2462064" y="1612091"/>
                  <a:pt x="2462793" y="1612815"/>
                  <a:pt x="2462793" y="1613543"/>
                </a:cubicBezTo>
                <a:cubicBezTo>
                  <a:pt x="2462793" y="1614267"/>
                  <a:pt x="2461340" y="1614995"/>
                  <a:pt x="2461340" y="1614995"/>
                </a:cubicBezTo>
                <a:cubicBezTo>
                  <a:pt x="2460612" y="1614995"/>
                  <a:pt x="2459888" y="1614267"/>
                  <a:pt x="2459888" y="1613543"/>
                </a:cubicBezTo>
                <a:cubicBezTo>
                  <a:pt x="2459888" y="1612815"/>
                  <a:pt x="2460612" y="1612091"/>
                  <a:pt x="2461340" y="1612091"/>
                </a:cubicBezTo>
                <a:close/>
                <a:moveTo>
                  <a:pt x="2614922" y="1611363"/>
                </a:moveTo>
                <a:cubicBezTo>
                  <a:pt x="2616012" y="1611363"/>
                  <a:pt x="2617102" y="1612453"/>
                  <a:pt x="2617102" y="1613539"/>
                </a:cubicBezTo>
                <a:cubicBezTo>
                  <a:pt x="2617102" y="1614630"/>
                  <a:pt x="2614922" y="1615720"/>
                  <a:pt x="2614922" y="1615720"/>
                </a:cubicBezTo>
                <a:cubicBezTo>
                  <a:pt x="2613835" y="1615720"/>
                  <a:pt x="2612745" y="1614630"/>
                  <a:pt x="2612745" y="1613539"/>
                </a:cubicBezTo>
                <a:cubicBezTo>
                  <a:pt x="2612745" y="1612453"/>
                  <a:pt x="2613835" y="1611363"/>
                  <a:pt x="2614922" y="1611363"/>
                </a:cubicBezTo>
                <a:close/>
                <a:moveTo>
                  <a:pt x="2768877" y="1610638"/>
                </a:moveTo>
                <a:cubicBezTo>
                  <a:pt x="2770691" y="1610638"/>
                  <a:pt x="2772144" y="1612091"/>
                  <a:pt x="2772144" y="1613905"/>
                </a:cubicBezTo>
                <a:cubicBezTo>
                  <a:pt x="2772144" y="1615720"/>
                  <a:pt x="2770691" y="1617176"/>
                  <a:pt x="2768877" y="1617176"/>
                </a:cubicBezTo>
                <a:cubicBezTo>
                  <a:pt x="2767058" y="1617176"/>
                  <a:pt x="2765606" y="1615720"/>
                  <a:pt x="2765606" y="1613905"/>
                </a:cubicBezTo>
                <a:cubicBezTo>
                  <a:pt x="2765606" y="1612091"/>
                  <a:pt x="2767058" y="1610638"/>
                  <a:pt x="2768877" y="1610638"/>
                </a:cubicBezTo>
                <a:close/>
                <a:moveTo>
                  <a:pt x="2922458" y="1609182"/>
                </a:moveTo>
                <a:cubicBezTo>
                  <a:pt x="2925000" y="1609182"/>
                  <a:pt x="2926815" y="1610997"/>
                  <a:pt x="2926815" y="1613539"/>
                </a:cubicBezTo>
                <a:cubicBezTo>
                  <a:pt x="2926815" y="1616082"/>
                  <a:pt x="2924635" y="1617896"/>
                  <a:pt x="2922458" y="1617896"/>
                </a:cubicBezTo>
                <a:cubicBezTo>
                  <a:pt x="2919916" y="1617896"/>
                  <a:pt x="2918101" y="1616082"/>
                  <a:pt x="2918101" y="1613539"/>
                </a:cubicBezTo>
                <a:cubicBezTo>
                  <a:pt x="2918101" y="1610997"/>
                  <a:pt x="2919916" y="1609182"/>
                  <a:pt x="2922458" y="1609182"/>
                </a:cubicBezTo>
                <a:close/>
                <a:moveTo>
                  <a:pt x="3076406" y="1608096"/>
                </a:moveTo>
                <a:cubicBezTo>
                  <a:pt x="3079672" y="1608096"/>
                  <a:pt x="3082215" y="1610638"/>
                  <a:pt x="3082215" y="1613905"/>
                </a:cubicBezTo>
                <a:cubicBezTo>
                  <a:pt x="3082215" y="1617172"/>
                  <a:pt x="3079672" y="1619715"/>
                  <a:pt x="3076406" y="1619715"/>
                </a:cubicBezTo>
                <a:cubicBezTo>
                  <a:pt x="3073139" y="1619715"/>
                  <a:pt x="3070596" y="1617172"/>
                  <a:pt x="3070596" y="1613905"/>
                </a:cubicBezTo>
                <a:cubicBezTo>
                  <a:pt x="3070596" y="1610638"/>
                  <a:pt x="3073139" y="1608096"/>
                  <a:pt x="3076406" y="1608096"/>
                </a:cubicBezTo>
                <a:close/>
                <a:moveTo>
                  <a:pt x="3230353" y="1606281"/>
                </a:moveTo>
                <a:cubicBezTo>
                  <a:pt x="3234348" y="1606281"/>
                  <a:pt x="3237614" y="1609548"/>
                  <a:pt x="3237614" y="1613543"/>
                </a:cubicBezTo>
                <a:cubicBezTo>
                  <a:pt x="3237614" y="1617538"/>
                  <a:pt x="3234348" y="1620805"/>
                  <a:pt x="3230353" y="1620805"/>
                </a:cubicBezTo>
                <a:cubicBezTo>
                  <a:pt x="3226358" y="1620805"/>
                  <a:pt x="3223091" y="1617538"/>
                  <a:pt x="3223091" y="1613543"/>
                </a:cubicBezTo>
                <a:cubicBezTo>
                  <a:pt x="3223091" y="1609548"/>
                  <a:pt x="3226358" y="1606281"/>
                  <a:pt x="3230353" y="1606281"/>
                </a:cubicBezTo>
                <a:close/>
                <a:moveTo>
                  <a:pt x="3383934" y="1604463"/>
                </a:moveTo>
                <a:cubicBezTo>
                  <a:pt x="3389019" y="1604463"/>
                  <a:pt x="3393014" y="1608458"/>
                  <a:pt x="3393014" y="1613539"/>
                </a:cubicBezTo>
                <a:cubicBezTo>
                  <a:pt x="3393014" y="1618624"/>
                  <a:pt x="3389019" y="1622619"/>
                  <a:pt x="3383934" y="1622619"/>
                </a:cubicBezTo>
                <a:cubicBezTo>
                  <a:pt x="3378853" y="1622619"/>
                  <a:pt x="3374858" y="1618624"/>
                  <a:pt x="3374858" y="1613539"/>
                </a:cubicBezTo>
                <a:cubicBezTo>
                  <a:pt x="3374858" y="1608458"/>
                  <a:pt x="3378853" y="1604463"/>
                  <a:pt x="3383934" y="1604463"/>
                </a:cubicBezTo>
                <a:close/>
                <a:moveTo>
                  <a:pt x="3537886" y="1603739"/>
                </a:moveTo>
                <a:cubicBezTo>
                  <a:pt x="3543333" y="1603739"/>
                  <a:pt x="3548052" y="1608458"/>
                  <a:pt x="3548052" y="1613905"/>
                </a:cubicBezTo>
                <a:cubicBezTo>
                  <a:pt x="3548052" y="1619352"/>
                  <a:pt x="3543695" y="1624072"/>
                  <a:pt x="3537886" y="1624072"/>
                </a:cubicBezTo>
                <a:cubicBezTo>
                  <a:pt x="3532438" y="1624072"/>
                  <a:pt x="3527719" y="1619352"/>
                  <a:pt x="3527719" y="1613905"/>
                </a:cubicBezTo>
                <a:cubicBezTo>
                  <a:pt x="3527719" y="1608458"/>
                  <a:pt x="3532438" y="1603739"/>
                  <a:pt x="3537886" y="1603739"/>
                </a:cubicBezTo>
                <a:close/>
                <a:moveTo>
                  <a:pt x="3691467" y="1601559"/>
                </a:moveTo>
                <a:cubicBezTo>
                  <a:pt x="3698004" y="1601559"/>
                  <a:pt x="3703452" y="1607006"/>
                  <a:pt x="3703452" y="1613539"/>
                </a:cubicBezTo>
                <a:cubicBezTo>
                  <a:pt x="3703452" y="1620077"/>
                  <a:pt x="3698004" y="1625520"/>
                  <a:pt x="3691467" y="1625520"/>
                </a:cubicBezTo>
                <a:cubicBezTo>
                  <a:pt x="3684933" y="1625520"/>
                  <a:pt x="3679486" y="1620077"/>
                  <a:pt x="3679486" y="1613539"/>
                </a:cubicBezTo>
                <a:cubicBezTo>
                  <a:pt x="3679486" y="1607006"/>
                  <a:pt x="3684933" y="1601559"/>
                  <a:pt x="3691467" y="1601559"/>
                </a:cubicBezTo>
                <a:close/>
                <a:moveTo>
                  <a:pt x="3845418" y="1599744"/>
                </a:moveTo>
                <a:cubicBezTo>
                  <a:pt x="3853042" y="1599744"/>
                  <a:pt x="3859214" y="1605916"/>
                  <a:pt x="3859214" y="1613539"/>
                </a:cubicBezTo>
                <a:cubicBezTo>
                  <a:pt x="3859214" y="1621167"/>
                  <a:pt x="3853042" y="1627338"/>
                  <a:pt x="3845418" y="1627338"/>
                </a:cubicBezTo>
                <a:cubicBezTo>
                  <a:pt x="3837790" y="1627338"/>
                  <a:pt x="3831619" y="1621167"/>
                  <a:pt x="3831619" y="1613539"/>
                </a:cubicBezTo>
                <a:cubicBezTo>
                  <a:pt x="3831619" y="1605916"/>
                  <a:pt x="3837790" y="1599744"/>
                  <a:pt x="3845418" y="1599744"/>
                </a:cubicBezTo>
                <a:close/>
                <a:moveTo>
                  <a:pt x="3999000" y="1598654"/>
                </a:moveTo>
                <a:cubicBezTo>
                  <a:pt x="4007352" y="1598654"/>
                  <a:pt x="4014251" y="1605553"/>
                  <a:pt x="4014251" y="1613905"/>
                </a:cubicBezTo>
                <a:cubicBezTo>
                  <a:pt x="4014251" y="1622253"/>
                  <a:pt x="4007352" y="1629153"/>
                  <a:pt x="3999000" y="1629153"/>
                </a:cubicBezTo>
                <a:cubicBezTo>
                  <a:pt x="3990652" y="1629153"/>
                  <a:pt x="3983752" y="1622253"/>
                  <a:pt x="3983752" y="1613905"/>
                </a:cubicBezTo>
                <a:cubicBezTo>
                  <a:pt x="3983752" y="1605553"/>
                  <a:pt x="3990652" y="1598654"/>
                  <a:pt x="3999000" y="1598654"/>
                </a:cubicBezTo>
                <a:close/>
                <a:moveTo>
                  <a:pt x="4152947" y="1596477"/>
                </a:moveTo>
                <a:cubicBezTo>
                  <a:pt x="4162386" y="1596477"/>
                  <a:pt x="4170013" y="1604101"/>
                  <a:pt x="4170013" y="1613543"/>
                </a:cubicBezTo>
                <a:cubicBezTo>
                  <a:pt x="4170013" y="1622981"/>
                  <a:pt x="4162386" y="1630605"/>
                  <a:pt x="4152947" y="1630605"/>
                </a:cubicBezTo>
                <a:cubicBezTo>
                  <a:pt x="4143505" y="1630605"/>
                  <a:pt x="4135881" y="1622981"/>
                  <a:pt x="4135881" y="1613543"/>
                </a:cubicBezTo>
                <a:cubicBezTo>
                  <a:pt x="4135881" y="1604101"/>
                  <a:pt x="4143505" y="1596477"/>
                  <a:pt x="4152947" y="1596477"/>
                </a:cubicBezTo>
                <a:close/>
                <a:moveTo>
                  <a:pt x="4306528" y="1594297"/>
                </a:moveTo>
                <a:cubicBezTo>
                  <a:pt x="4317060" y="1594297"/>
                  <a:pt x="4325771" y="1603011"/>
                  <a:pt x="4325771" y="1613539"/>
                </a:cubicBezTo>
                <a:cubicBezTo>
                  <a:pt x="4325771" y="1624068"/>
                  <a:pt x="4317060" y="1632786"/>
                  <a:pt x="4306528" y="1632786"/>
                </a:cubicBezTo>
                <a:cubicBezTo>
                  <a:pt x="4296000" y="1632786"/>
                  <a:pt x="4287286" y="1624068"/>
                  <a:pt x="4287286" y="1613539"/>
                </a:cubicBezTo>
                <a:cubicBezTo>
                  <a:pt x="4287286" y="1603011"/>
                  <a:pt x="4296000" y="1594297"/>
                  <a:pt x="4306528" y="1594297"/>
                </a:cubicBezTo>
                <a:close/>
                <a:moveTo>
                  <a:pt x="4460480" y="1592120"/>
                </a:moveTo>
                <a:cubicBezTo>
                  <a:pt x="4472460" y="1592120"/>
                  <a:pt x="4481898" y="1601562"/>
                  <a:pt x="4481898" y="1613543"/>
                </a:cubicBezTo>
                <a:cubicBezTo>
                  <a:pt x="4481898" y="1625524"/>
                  <a:pt x="4472094" y="1634966"/>
                  <a:pt x="4460480" y="1634966"/>
                </a:cubicBezTo>
                <a:cubicBezTo>
                  <a:pt x="4448495" y="1634966"/>
                  <a:pt x="4439057" y="1625524"/>
                  <a:pt x="4439057" y="1613543"/>
                </a:cubicBezTo>
                <a:cubicBezTo>
                  <a:pt x="4439057" y="1601562"/>
                  <a:pt x="4448495" y="1592120"/>
                  <a:pt x="4460480" y="1592120"/>
                </a:cubicBezTo>
                <a:close/>
                <a:moveTo>
                  <a:pt x="4614065" y="1591030"/>
                </a:moveTo>
                <a:cubicBezTo>
                  <a:pt x="4626774" y="1591030"/>
                  <a:pt x="4636940" y="1601196"/>
                  <a:pt x="4636940" y="1613905"/>
                </a:cubicBezTo>
                <a:cubicBezTo>
                  <a:pt x="4636940" y="1626610"/>
                  <a:pt x="4626774" y="1636780"/>
                  <a:pt x="4614065" y="1636780"/>
                </a:cubicBezTo>
                <a:cubicBezTo>
                  <a:pt x="4601356" y="1636780"/>
                  <a:pt x="4591190" y="1626610"/>
                  <a:pt x="4591190" y="1613905"/>
                </a:cubicBezTo>
                <a:cubicBezTo>
                  <a:pt x="4591190" y="1601196"/>
                  <a:pt x="4601356" y="1591030"/>
                  <a:pt x="4614065" y="1591030"/>
                </a:cubicBezTo>
                <a:close/>
                <a:moveTo>
                  <a:pt x="4768008" y="1588850"/>
                </a:moveTo>
                <a:cubicBezTo>
                  <a:pt x="4781808" y="1588850"/>
                  <a:pt x="4793064" y="1600106"/>
                  <a:pt x="4793064" y="1613901"/>
                </a:cubicBezTo>
                <a:cubicBezTo>
                  <a:pt x="4793064" y="1627700"/>
                  <a:pt x="4781808" y="1638957"/>
                  <a:pt x="4768008" y="1638957"/>
                </a:cubicBezTo>
                <a:cubicBezTo>
                  <a:pt x="4754214" y="1638957"/>
                  <a:pt x="4742956" y="1627700"/>
                  <a:pt x="4742956" y="1613901"/>
                </a:cubicBezTo>
                <a:cubicBezTo>
                  <a:pt x="4742956" y="1600106"/>
                  <a:pt x="4754214" y="1588850"/>
                  <a:pt x="4768008" y="1588850"/>
                </a:cubicBezTo>
                <a:close/>
                <a:moveTo>
                  <a:pt x="4921594" y="1586673"/>
                </a:moveTo>
                <a:cubicBezTo>
                  <a:pt x="4936480" y="1586673"/>
                  <a:pt x="4948826" y="1599020"/>
                  <a:pt x="4948826" y="1613905"/>
                </a:cubicBezTo>
                <a:cubicBezTo>
                  <a:pt x="4948826" y="1628791"/>
                  <a:pt x="4936842" y="1641137"/>
                  <a:pt x="4921594" y="1641137"/>
                </a:cubicBezTo>
                <a:cubicBezTo>
                  <a:pt x="4906704" y="1641137"/>
                  <a:pt x="4894362" y="1628791"/>
                  <a:pt x="4894362" y="1613905"/>
                </a:cubicBezTo>
                <a:cubicBezTo>
                  <a:pt x="4894362" y="1599020"/>
                  <a:pt x="4906704" y="1586673"/>
                  <a:pt x="4921594" y="1586673"/>
                </a:cubicBezTo>
                <a:close/>
                <a:moveTo>
                  <a:pt x="5075545" y="1584131"/>
                </a:moveTo>
                <a:cubicBezTo>
                  <a:pt x="5091883" y="1584131"/>
                  <a:pt x="5105316" y="1597564"/>
                  <a:pt x="5105316" y="1613901"/>
                </a:cubicBezTo>
                <a:cubicBezTo>
                  <a:pt x="5105316" y="1630243"/>
                  <a:pt x="5091883" y="1643676"/>
                  <a:pt x="5075545" y="1643676"/>
                </a:cubicBezTo>
                <a:cubicBezTo>
                  <a:pt x="5059204" y="1643676"/>
                  <a:pt x="5045770" y="1630243"/>
                  <a:pt x="5045770" y="1613901"/>
                </a:cubicBezTo>
                <a:cubicBezTo>
                  <a:pt x="5045770" y="1597564"/>
                  <a:pt x="5059204" y="1584131"/>
                  <a:pt x="5075545" y="1584131"/>
                </a:cubicBezTo>
                <a:close/>
                <a:moveTo>
                  <a:pt x="5229126" y="1581592"/>
                </a:moveTo>
                <a:cubicBezTo>
                  <a:pt x="5246916" y="1581592"/>
                  <a:pt x="5261078" y="1595753"/>
                  <a:pt x="5261078" y="1613543"/>
                </a:cubicBezTo>
                <a:cubicBezTo>
                  <a:pt x="5261078" y="1631333"/>
                  <a:pt x="5246916" y="1645494"/>
                  <a:pt x="5229126" y="1645494"/>
                </a:cubicBezTo>
                <a:cubicBezTo>
                  <a:pt x="5211336" y="1645494"/>
                  <a:pt x="5197175" y="1631333"/>
                  <a:pt x="5197175" y="1613543"/>
                </a:cubicBezTo>
                <a:cubicBezTo>
                  <a:pt x="5197175" y="1595753"/>
                  <a:pt x="5211336" y="1581592"/>
                  <a:pt x="5229126" y="1581592"/>
                </a:cubicBezTo>
                <a:close/>
                <a:moveTo>
                  <a:pt x="5383074" y="1579773"/>
                </a:moveTo>
                <a:cubicBezTo>
                  <a:pt x="5401592" y="1579773"/>
                  <a:pt x="5416844" y="1595025"/>
                  <a:pt x="5416844" y="1613539"/>
                </a:cubicBezTo>
                <a:cubicBezTo>
                  <a:pt x="5416844" y="1632058"/>
                  <a:pt x="5401592" y="1647309"/>
                  <a:pt x="5383074" y="1647309"/>
                </a:cubicBezTo>
                <a:cubicBezTo>
                  <a:pt x="5364560" y="1647309"/>
                  <a:pt x="5349308" y="1632058"/>
                  <a:pt x="5349308" y="1613539"/>
                </a:cubicBezTo>
                <a:cubicBezTo>
                  <a:pt x="5349308" y="1595025"/>
                  <a:pt x="5364560" y="1579773"/>
                  <a:pt x="5383074" y="1579773"/>
                </a:cubicBezTo>
                <a:close/>
                <a:moveTo>
                  <a:pt x="5536659" y="1577231"/>
                </a:moveTo>
                <a:cubicBezTo>
                  <a:pt x="5556630" y="1577231"/>
                  <a:pt x="5572968" y="1593569"/>
                  <a:pt x="5572968" y="1613539"/>
                </a:cubicBezTo>
                <a:cubicBezTo>
                  <a:pt x="5572968" y="1633510"/>
                  <a:pt x="5556630" y="1649848"/>
                  <a:pt x="5536659" y="1649848"/>
                </a:cubicBezTo>
                <a:cubicBezTo>
                  <a:pt x="5516688" y="1649848"/>
                  <a:pt x="5500351" y="1633510"/>
                  <a:pt x="5500351" y="1613539"/>
                </a:cubicBezTo>
                <a:cubicBezTo>
                  <a:pt x="5500351" y="1593569"/>
                  <a:pt x="5516688" y="1577231"/>
                  <a:pt x="5536659" y="1577231"/>
                </a:cubicBezTo>
                <a:close/>
                <a:moveTo>
                  <a:pt x="5690606" y="1574692"/>
                </a:moveTo>
                <a:cubicBezTo>
                  <a:pt x="5712026" y="1574692"/>
                  <a:pt x="5729458" y="1592120"/>
                  <a:pt x="5729458" y="1613543"/>
                </a:cubicBezTo>
                <a:cubicBezTo>
                  <a:pt x="5729458" y="1634962"/>
                  <a:pt x="5712026" y="1652390"/>
                  <a:pt x="5690606" y="1652390"/>
                </a:cubicBezTo>
                <a:cubicBezTo>
                  <a:pt x="5669184" y="1652390"/>
                  <a:pt x="5651756" y="1634962"/>
                  <a:pt x="5651756" y="1613543"/>
                </a:cubicBezTo>
                <a:cubicBezTo>
                  <a:pt x="5651756" y="1592120"/>
                  <a:pt x="5669184" y="1574692"/>
                  <a:pt x="5690606" y="1574692"/>
                </a:cubicBezTo>
                <a:close/>
                <a:moveTo>
                  <a:pt x="5844554" y="1572512"/>
                </a:moveTo>
                <a:cubicBezTo>
                  <a:pt x="5867429" y="1572512"/>
                  <a:pt x="5885585" y="1590668"/>
                  <a:pt x="5885585" y="1613539"/>
                </a:cubicBezTo>
                <a:cubicBezTo>
                  <a:pt x="5885585" y="1636415"/>
                  <a:pt x="5867067" y="1654567"/>
                  <a:pt x="5844554" y="1654567"/>
                </a:cubicBezTo>
                <a:cubicBezTo>
                  <a:pt x="5821682" y="1654567"/>
                  <a:pt x="5803526" y="1636415"/>
                  <a:pt x="5803526" y="1613539"/>
                </a:cubicBezTo>
                <a:cubicBezTo>
                  <a:pt x="5803526" y="1590668"/>
                  <a:pt x="5821682" y="1572512"/>
                  <a:pt x="5844554" y="1572512"/>
                </a:cubicBezTo>
                <a:close/>
                <a:moveTo>
                  <a:pt x="5998136" y="1569973"/>
                </a:moveTo>
                <a:cubicBezTo>
                  <a:pt x="6022101" y="1569973"/>
                  <a:pt x="6041706" y="1589578"/>
                  <a:pt x="6041706" y="1613543"/>
                </a:cubicBezTo>
                <a:cubicBezTo>
                  <a:pt x="6041706" y="1637505"/>
                  <a:pt x="6022101" y="1657113"/>
                  <a:pt x="5998136" y="1657113"/>
                </a:cubicBezTo>
                <a:cubicBezTo>
                  <a:pt x="5974174" y="1657113"/>
                  <a:pt x="5954566" y="1637505"/>
                  <a:pt x="5954566" y="1613543"/>
                </a:cubicBezTo>
                <a:cubicBezTo>
                  <a:pt x="5954566" y="1589578"/>
                  <a:pt x="5974174" y="1569973"/>
                  <a:pt x="5998136" y="1569973"/>
                </a:cubicBezTo>
                <a:close/>
                <a:moveTo>
                  <a:pt x="6152083" y="1567431"/>
                </a:moveTo>
                <a:cubicBezTo>
                  <a:pt x="6177500" y="1567431"/>
                  <a:pt x="6198196" y="1588125"/>
                  <a:pt x="6198196" y="1613543"/>
                </a:cubicBezTo>
                <a:cubicBezTo>
                  <a:pt x="6198196" y="1638957"/>
                  <a:pt x="6177500" y="1659656"/>
                  <a:pt x="6152083" y="1659656"/>
                </a:cubicBezTo>
                <a:cubicBezTo>
                  <a:pt x="6126669" y="1659656"/>
                  <a:pt x="6105974" y="1638957"/>
                  <a:pt x="6105974" y="1613543"/>
                </a:cubicBezTo>
                <a:cubicBezTo>
                  <a:pt x="6105974" y="1588125"/>
                  <a:pt x="6126669" y="1567431"/>
                  <a:pt x="6152083" y="1567431"/>
                </a:cubicBezTo>
                <a:close/>
                <a:moveTo>
                  <a:pt x="6305672" y="1564888"/>
                </a:moveTo>
                <a:cubicBezTo>
                  <a:pt x="6332538" y="1564888"/>
                  <a:pt x="6354323" y="1586673"/>
                  <a:pt x="6354323" y="1613543"/>
                </a:cubicBezTo>
                <a:cubicBezTo>
                  <a:pt x="6354323" y="1640409"/>
                  <a:pt x="6332538" y="1662194"/>
                  <a:pt x="6305672" y="1662194"/>
                </a:cubicBezTo>
                <a:cubicBezTo>
                  <a:pt x="6278802" y="1662194"/>
                  <a:pt x="6257016" y="1640409"/>
                  <a:pt x="6257016" y="1613543"/>
                </a:cubicBezTo>
                <a:cubicBezTo>
                  <a:pt x="6257016" y="1586673"/>
                  <a:pt x="6278802" y="1564888"/>
                  <a:pt x="6305672" y="1564888"/>
                </a:cubicBezTo>
                <a:close/>
                <a:moveTo>
                  <a:pt x="6459619" y="1562346"/>
                </a:moveTo>
                <a:cubicBezTo>
                  <a:pt x="6487938" y="1562346"/>
                  <a:pt x="6510813" y="1585221"/>
                  <a:pt x="6510813" y="1613539"/>
                </a:cubicBezTo>
                <a:cubicBezTo>
                  <a:pt x="6510813" y="1641862"/>
                  <a:pt x="6487938" y="1664733"/>
                  <a:pt x="6459619" y="1664733"/>
                </a:cubicBezTo>
                <a:cubicBezTo>
                  <a:pt x="6431297" y="1664733"/>
                  <a:pt x="6408422" y="1641862"/>
                  <a:pt x="6408422" y="1613539"/>
                </a:cubicBezTo>
                <a:cubicBezTo>
                  <a:pt x="6408422" y="1585221"/>
                  <a:pt x="6431297" y="1562346"/>
                  <a:pt x="6459619" y="1562346"/>
                </a:cubicBezTo>
                <a:close/>
                <a:moveTo>
                  <a:pt x="6613197" y="1560169"/>
                </a:moveTo>
                <a:cubicBezTo>
                  <a:pt x="6642610" y="1560169"/>
                  <a:pt x="6666575" y="1584131"/>
                  <a:pt x="6666575" y="1613543"/>
                </a:cubicBezTo>
                <a:cubicBezTo>
                  <a:pt x="6666575" y="1642952"/>
                  <a:pt x="6642610" y="1666914"/>
                  <a:pt x="6613197" y="1666914"/>
                </a:cubicBezTo>
                <a:cubicBezTo>
                  <a:pt x="6583788" y="1666914"/>
                  <a:pt x="6559826" y="1642952"/>
                  <a:pt x="6559826" y="1613543"/>
                </a:cubicBezTo>
                <a:cubicBezTo>
                  <a:pt x="6559826" y="1584131"/>
                  <a:pt x="6583788" y="1560169"/>
                  <a:pt x="6613197" y="1560169"/>
                </a:cubicBezTo>
                <a:close/>
                <a:moveTo>
                  <a:pt x="2153808" y="1459596"/>
                </a:moveTo>
                <a:cubicBezTo>
                  <a:pt x="2154170" y="1459596"/>
                  <a:pt x="2154170" y="1459596"/>
                  <a:pt x="2154170" y="1459958"/>
                </a:cubicBezTo>
                <a:cubicBezTo>
                  <a:pt x="2154170" y="1460324"/>
                  <a:pt x="2153808" y="1460324"/>
                  <a:pt x="2153808" y="1460324"/>
                </a:cubicBezTo>
                <a:cubicBezTo>
                  <a:pt x="2153445" y="1460324"/>
                  <a:pt x="2153445" y="1460324"/>
                  <a:pt x="2153445" y="1459958"/>
                </a:cubicBezTo>
                <a:cubicBezTo>
                  <a:pt x="2153445" y="1459596"/>
                  <a:pt x="2153445" y="1459596"/>
                  <a:pt x="2153808" y="1459596"/>
                </a:cubicBezTo>
                <a:close/>
                <a:moveTo>
                  <a:pt x="1692331" y="1459596"/>
                </a:moveTo>
                <a:cubicBezTo>
                  <a:pt x="1692694" y="1459596"/>
                  <a:pt x="1692694" y="1459596"/>
                  <a:pt x="1692694" y="1459958"/>
                </a:cubicBezTo>
                <a:cubicBezTo>
                  <a:pt x="1692694" y="1460324"/>
                  <a:pt x="1692331" y="1460324"/>
                  <a:pt x="1692331" y="1460324"/>
                </a:cubicBezTo>
                <a:cubicBezTo>
                  <a:pt x="1691969" y="1460324"/>
                  <a:pt x="1691969" y="1460324"/>
                  <a:pt x="1691969" y="1459958"/>
                </a:cubicBezTo>
                <a:cubicBezTo>
                  <a:pt x="1691969" y="1459596"/>
                  <a:pt x="1691969" y="1459596"/>
                  <a:pt x="1692331" y="1459596"/>
                </a:cubicBezTo>
                <a:close/>
                <a:moveTo>
                  <a:pt x="1538746" y="1459596"/>
                </a:moveTo>
                <a:cubicBezTo>
                  <a:pt x="1539108" y="1459596"/>
                  <a:pt x="1539108" y="1459596"/>
                  <a:pt x="1539108" y="1459958"/>
                </a:cubicBezTo>
                <a:cubicBezTo>
                  <a:pt x="1539108" y="1460324"/>
                  <a:pt x="1538746" y="1460324"/>
                  <a:pt x="1538746" y="1460324"/>
                </a:cubicBezTo>
                <a:cubicBezTo>
                  <a:pt x="1538384" y="1460324"/>
                  <a:pt x="1538384" y="1460324"/>
                  <a:pt x="1538384" y="1459958"/>
                </a:cubicBezTo>
                <a:cubicBezTo>
                  <a:pt x="1538384" y="1459596"/>
                  <a:pt x="1538384" y="1459596"/>
                  <a:pt x="1538746" y="1459596"/>
                </a:cubicBezTo>
                <a:close/>
                <a:moveTo>
                  <a:pt x="1384795" y="1459230"/>
                </a:moveTo>
                <a:cubicBezTo>
                  <a:pt x="1385161" y="1459230"/>
                  <a:pt x="1385523" y="1459592"/>
                  <a:pt x="1385523" y="1459958"/>
                </a:cubicBezTo>
                <a:cubicBezTo>
                  <a:pt x="1385523" y="1460320"/>
                  <a:pt x="1384795" y="1460682"/>
                  <a:pt x="1384795" y="1460682"/>
                </a:cubicBezTo>
                <a:cubicBezTo>
                  <a:pt x="1384433" y="1460682"/>
                  <a:pt x="1384071" y="1460320"/>
                  <a:pt x="1384071" y="1459958"/>
                </a:cubicBezTo>
                <a:cubicBezTo>
                  <a:pt x="1384071" y="1459592"/>
                  <a:pt x="1384433" y="1459230"/>
                  <a:pt x="1384795" y="1459230"/>
                </a:cubicBezTo>
                <a:close/>
                <a:moveTo>
                  <a:pt x="2307393" y="1458140"/>
                </a:moveTo>
                <a:cubicBezTo>
                  <a:pt x="2308117" y="1458140"/>
                  <a:pt x="2308845" y="1458868"/>
                  <a:pt x="2308845" y="1459592"/>
                </a:cubicBezTo>
                <a:cubicBezTo>
                  <a:pt x="2308845" y="1460320"/>
                  <a:pt x="2307393" y="1461044"/>
                  <a:pt x="2307393" y="1461044"/>
                </a:cubicBezTo>
                <a:cubicBezTo>
                  <a:pt x="2306665" y="1461044"/>
                  <a:pt x="2305941" y="1460320"/>
                  <a:pt x="2305941" y="1459592"/>
                </a:cubicBezTo>
                <a:cubicBezTo>
                  <a:pt x="2305941" y="1458868"/>
                  <a:pt x="2306665" y="1458140"/>
                  <a:pt x="2307393" y="1458140"/>
                </a:cubicBezTo>
                <a:close/>
                <a:moveTo>
                  <a:pt x="2461340" y="1457777"/>
                </a:moveTo>
                <a:cubicBezTo>
                  <a:pt x="2462430" y="1457777"/>
                  <a:pt x="2463521" y="1458868"/>
                  <a:pt x="2463521" y="1459954"/>
                </a:cubicBezTo>
                <a:cubicBezTo>
                  <a:pt x="2463521" y="1461044"/>
                  <a:pt x="2461340" y="1462134"/>
                  <a:pt x="2461340" y="1462134"/>
                </a:cubicBezTo>
                <a:cubicBezTo>
                  <a:pt x="2460254" y="1462134"/>
                  <a:pt x="2459164" y="1461044"/>
                  <a:pt x="2459164" y="1459954"/>
                </a:cubicBezTo>
                <a:cubicBezTo>
                  <a:pt x="2459164" y="1458868"/>
                  <a:pt x="2460254" y="1457777"/>
                  <a:pt x="2461340" y="1457777"/>
                </a:cubicBezTo>
                <a:close/>
                <a:moveTo>
                  <a:pt x="2614925" y="1456687"/>
                </a:moveTo>
                <a:cubicBezTo>
                  <a:pt x="2616744" y="1456687"/>
                  <a:pt x="2618192" y="1458140"/>
                  <a:pt x="2618192" y="1459954"/>
                </a:cubicBezTo>
                <a:cubicBezTo>
                  <a:pt x="2618192" y="1461769"/>
                  <a:pt x="2616744" y="1463225"/>
                  <a:pt x="2614925" y="1463225"/>
                </a:cubicBezTo>
                <a:cubicBezTo>
                  <a:pt x="2613111" y="1463225"/>
                  <a:pt x="2611659" y="1461769"/>
                  <a:pt x="2611659" y="1459954"/>
                </a:cubicBezTo>
                <a:cubicBezTo>
                  <a:pt x="2611659" y="1458140"/>
                  <a:pt x="2613111" y="1456687"/>
                  <a:pt x="2614925" y="1456687"/>
                </a:cubicBezTo>
                <a:close/>
                <a:moveTo>
                  <a:pt x="2768873" y="1455601"/>
                </a:moveTo>
                <a:cubicBezTo>
                  <a:pt x="2771415" y="1455601"/>
                  <a:pt x="2773230" y="1457415"/>
                  <a:pt x="2773230" y="1459958"/>
                </a:cubicBezTo>
                <a:cubicBezTo>
                  <a:pt x="2773230" y="1462500"/>
                  <a:pt x="2771053" y="1464315"/>
                  <a:pt x="2768873" y="1464315"/>
                </a:cubicBezTo>
                <a:cubicBezTo>
                  <a:pt x="2766330" y="1464315"/>
                  <a:pt x="2764516" y="1462500"/>
                  <a:pt x="2764516" y="1459958"/>
                </a:cubicBezTo>
                <a:cubicBezTo>
                  <a:pt x="2764516" y="1457415"/>
                  <a:pt x="2766330" y="1455601"/>
                  <a:pt x="2768873" y="1455601"/>
                </a:cubicBezTo>
                <a:close/>
                <a:moveTo>
                  <a:pt x="2922458" y="1454149"/>
                </a:moveTo>
                <a:cubicBezTo>
                  <a:pt x="2925725" y="1454149"/>
                  <a:pt x="2928267" y="1456691"/>
                  <a:pt x="2928267" y="1459958"/>
                </a:cubicBezTo>
                <a:cubicBezTo>
                  <a:pt x="2928267" y="1463225"/>
                  <a:pt x="2925725" y="1465767"/>
                  <a:pt x="2922458" y="1465767"/>
                </a:cubicBezTo>
                <a:cubicBezTo>
                  <a:pt x="2919191" y="1465767"/>
                  <a:pt x="2916649" y="1463225"/>
                  <a:pt x="2916649" y="1459958"/>
                </a:cubicBezTo>
                <a:cubicBezTo>
                  <a:pt x="2916649" y="1456691"/>
                  <a:pt x="2919191" y="1454149"/>
                  <a:pt x="2922458" y="1454149"/>
                </a:cubicBezTo>
                <a:close/>
                <a:moveTo>
                  <a:pt x="3076406" y="1452696"/>
                </a:moveTo>
                <a:cubicBezTo>
                  <a:pt x="3080400" y="1452696"/>
                  <a:pt x="3083667" y="1455963"/>
                  <a:pt x="3083667" y="1459958"/>
                </a:cubicBezTo>
                <a:cubicBezTo>
                  <a:pt x="3083667" y="1463953"/>
                  <a:pt x="3080400" y="1467220"/>
                  <a:pt x="3076406" y="1467220"/>
                </a:cubicBezTo>
                <a:cubicBezTo>
                  <a:pt x="3072410" y="1467220"/>
                  <a:pt x="3069144" y="1463953"/>
                  <a:pt x="3069144" y="1459958"/>
                </a:cubicBezTo>
                <a:cubicBezTo>
                  <a:pt x="3069144" y="1455963"/>
                  <a:pt x="3072410" y="1452696"/>
                  <a:pt x="3076406" y="1452696"/>
                </a:cubicBezTo>
                <a:close/>
                <a:moveTo>
                  <a:pt x="3230353" y="1450516"/>
                </a:moveTo>
                <a:cubicBezTo>
                  <a:pt x="3235438" y="1450516"/>
                  <a:pt x="3239433" y="1454511"/>
                  <a:pt x="3239433" y="1459592"/>
                </a:cubicBezTo>
                <a:cubicBezTo>
                  <a:pt x="3239433" y="1464677"/>
                  <a:pt x="3235438" y="1468672"/>
                  <a:pt x="3230353" y="1468672"/>
                </a:cubicBezTo>
                <a:cubicBezTo>
                  <a:pt x="3225272" y="1468672"/>
                  <a:pt x="3221277" y="1464677"/>
                  <a:pt x="3221277" y="1459592"/>
                </a:cubicBezTo>
                <a:cubicBezTo>
                  <a:pt x="3221277" y="1454511"/>
                  <a:pt x="3225272" y="1450516"/>
                  <a:pt x="3230353" y="1450516"/>
                </a:cubicBezTo>
                <a:close/>
                <a:moveTo>
                  <a:pt x="3383934" y="1449791"/>
                </a:moveTo>
                <a:cubicBezTo>
                  <a:pt x="3389382" y="1449791"/>
                  <a:pt x="3394100" y="1454511"/>
                  <a:pt x="3394100" y="1459958"/>
                </a:cubicBezTo>
                <a:cubicBezTo>
                  <a:pt x="3394100" y="1465405"/>
                  <a:pt x="3389744" y="1470124"/>
                  <a:pt x="3383934" y="1470124"/>
                </a:cubicBezTo>
                <a:cubicBezTo>
                  <a:pt x="3378487" y="1470124"/>
                  <a:pt x="3373768" y="1465405"/>
                  <a:pt x="3373768" y="1459958"/>
                </a:cubicBezTo>
                <a:cubicBezTo>
                  <a:pt x="3373768" y="1454511"/>
                  <a:pt x="3378487" y="1449791"/>
                  <a:pt x="3383934" y="1449791"/>
                </a:cubicBezTo>
                <a:close/>
                <a:moveTo>
                  <a:pt x="3537882" y="1447977"/>
                </a:moveTo>
                <a:cubicBezTo>
                  <a:pt x="3544419" y="1447977"/>
                  <a:pt x="3549866" y="1453424"/>
                  <a:pt x="3549866" y="1459958"/>
                </a:cubicBezTo>
                <a:cubicBezTo>
                  <a:pt x="3549866" y="1466495"/>
                  <a:pt x="3544419" y="1471939"/>
                  <a:pt x="3537882" y="1471939"/>
                </a:cubicBezTo>
                <a:cubicBezTo>
                  <a:pt x="3531348" y="1471939"/>
                  <a:pt x="3525901" y="1466495"/>
                  <a:pt x="3525901" y="1459958"/>
                </a:cubicBezTo>
                <a:cubicBezTo>
                  <a:pt x="3525901" y="1453424"/>
                  <a:pt x="3531348" y="1447977"/>
                  <a:pt x="3537882" y="1447977"/>
                </a:cubicBezTo>
                <a:close/>
                <a:moveTo>
                  <a:pt x="3691467" y="1445797"/>
                </a:moveTo>
                <a:cubicBezTo>
                  <a:pt x="3699094" y="1445797"/>
                  <a:pt x="3705266" y="1451968"/>
                  <a:pt x="3705266" y="1459596"/>
                </a:cubicBezTo>
                <a:cubicBezTo>
                  <a:pt x="3705266" y="1467220"/>
                  <a:pt x="3699094" y="1473391"/>
                  <a:pt x="3691467" y="1473391"/>
                </a:cubicBezTo>
                <a:cubicBezTo>
                  <a:pt x="3683843" y="1473391"/>
                  <a:pt x="3677672" y="1467220"/>
                  <a:pt x="3677672" y="1459596"/>
                </a:cubicBezTo>
                <a:cubicBezTo>
                  <a:pt x="3677672" y="1451968"/>
                  <a:pt x="3683843" y="1445797"/>
                  <a:pt x="3691467" y="1445797"/>
                </a:cubicBezTo>
                <a:close/>
                <a:moveTo>
                  <a:pt x="3845414" y="1444706"/>
                </a:moveTo>
                <a:cubicBezTo>
                  <a:pt x="3853839" y="1444706"/>
                  <a:pt x="3860666" y="1451534"/>
                  <a:pt x="3860666" y="1459954"/>
                </a:cubicBezTo>
                <a:cubicBezTo>
                  <a:pt x="3860666" y="1468378"/>
                  <a:pt x="3853839" y="1475205"/>
                  <a:pt x="3845414" y="1475205"/>
                </a:cubicBezTo>
                <a:cubicBezTo>
                  <a:pt x="3836994" y="1475205"/>
                  <a:pt x="3830167" y="1468378"/>
                  <a:pt x="3830167" y="1459954"/>
                </a:cubicBezTo>
                <a:cubicBezTo>
                  <a:pt x="3830167" y="1451534"/>
                  <a:pt x="3836994" y="1444706"/>
                  <a:pt x="3845414" y="1444706"/>
                </a:cubicBezTo>
                <a:close/>
                <a:moveTo>
                  <a:pt x="3999000" y="1442892"/>
                </a:moveTo>
                <a:cubicBezTo>
                  <a:pt x="4008438" y="1442892"/>
                  <a:pt x="4016066" y="1450516"/>
                  <a:pt x="4016066" y="1459958"/>
                </a:cubicBezTo>
                <a:cubicBezTo>
                  <a:pt x="4016066" y="1469396"/>
                  <a:pt x="4008438" y="1477020"/>
                  <a:pt x="3999000" y="1477020"/>
                </a:cubicBezTo>
                <a:cubicBezTo>
                  <a:pt x="3989558" y="1477020"/>
                  <a:pt x="3981934" y="1469396"/>
                  <a:pt x="3981934" y="1459958"/>
                </a:cubicBezTo>
                <a:cubicBezTo>
                  <a:pt x="3981934" y="1450516"/>
                  <a:pt x="3989558" y="1442892"/>
                  <a:pt x="3999000" y="1442892"/>
                </a:cubicBezTo>
                <a:close/>
                <a:moveTo>
                  <a:pt x="4152947" y="1440715"/>
                </a:moveTo>
                <a:cubicBezTo>
                  <a:pt x="4163578" y="1440715"/>
                  <a:pt x="4172194" y="1449330"/>
                  <a:pt x="4172194" y="1459958"/>
                </a:cubicBezTo>
                <a:cubicBezTo>
                  <a:pt x="4172194" y="1470585"/>
                  <a:pt x="4163578" y="1479200"/>
                  <a:pt x="4152947" y="1479200"/>
                </a:cubicBezTo>
                <a:cubicBezTo>
                  <a:pt x="4142320" y="1479200"/>
                  <a:pt x="4133704" y="1470585"/>
                  <a:pt x="4133704" y="1459958"/>
                </a:cubicBezTo>
                <a:cubicBezTo>
                  <a:pt x="4133704" y="1449330"/>
                  <a:pt x="4142320" y="1440715"/>
                  <a:pt x="4152947" y="1440715"/>
                </a:cubicBezTo>
                <a:close/>
                <a:moveTo>
                  <a:pt x="4306532" y="1438535"/>
                </a:moveTo>
                <a:cubicBezTo>
                  <a:pt x="4318513" y="1438535"/>
                  <a:pt x="4327952" y="1447977"/>
                  <a:pt x="4327952" y="1459958"/>
                </a:cubicBezTo>
                <a:cubicBezTo>
                  <a:pt x="4327952" y="1471939"/>
                  <a:pt x="4318151" y="1481381"/>
                  <a:pt x="4306532" y="1481381"/>
                </a:cubicBezTo>
                <a:cubicBezTo>
                  <a:pt x="4294552" y="1481381"/>
                  <a:pt x="4285110" y="1471939"/>
                  <a:pt x="4285110" y="1459958"/>
                </a:cubicBezTo>
                <a:cubicBezTo>
                  <a:pt x="4285110" y="1447977"/>
                  <a:pt x="4294552" y="1438535"/>
                  <a:pt x="4306532" y="1438535"/>
                </a:cubicBezTo>
                <a:close/>
                <a:moveTo>
                  <a:pt x="4460480" y="1437083"/>
                </a:moveTo>
                <a:cubicBezTo>
                  <a:pt x="4473112" y="1437083"/>
                  <a:pt x="4483355" y="1447325"/>
                  <a:pt x="4483355" y="1459958"/>
                </a:cubicBezTo>
                <a:cubicBezTo>
                  <a:pt x="4483355" y="1472591"/>
                  <a:pt x="4473112" y="1482833"/>
                  <a:pt x="4460480" y="1482833"/>
                </a:cubicBezTo>
                <a:cubicBezTo>
                  <a:pt x="4447847" y="1482833"/>
                  <a:pt x="4437604" y="1472591"/>
                  <a:pt x="4437604" y="1459958"/>
                </a:cubicBezTo>
                <a:cubicBezTo>
                  <a:pt x="4437604" y="1447325"/>
                  <a:pt x="4447847" y="1437083"/>
                  <a:pt x="4460480" y="1437083"/>
                </a:cubicBezTo>
                <a:close/>
                <a:moveTo>
                  <a:pt x="4614061" y="1434906"/>
                </a:moveTo>
                <a:cubicBezTo>
                  <a:pt x="4627860" y="1434906"/>
                  <a:pt x="4639116" y="1446163"/>
                  <a:pt x="4639116" y="1459958"/>
                </a:cubicBezTo>
                <a:cubicBezTo>
                  <a:pt x="4639116" y="1473757"/>
                  <a:pt x="4627860" y="1485013"/>
                  <a:pt x="4614061" y="1485013"/>
                </a:cubicBezTo>
                <a:cubicBezTo>
                  <a:pt x="4600266" y="1485013"/>
                  <a:pt x="4589010" y="1473757"/>
                  <a:pt x="4589010" y="1459958"/>
                </a:cubicBezTo>
                <a:cubicBezTo>
                  <a:pt x="4589010" y="1446163"/>
                  <a:pt x="4600266" y="1434906"/>
                  <a:pt x="4614061" y="1434906"/>
                </a:cubicBezTo>
                <a:close/>
                <a:moveTo>
                  <a:pt x="4768012" y="1432726"/>
                </a:moveTo>
                <a:cubicBezTo>
                  <a:pt x="4782898" y="1432726"/>
                  <a:pt x="4795244" y="1445072"/>
                  <a:pt x="4795244" y="1459958"/>
                </a:cubicBezTo>
                <a:cubicBezTo>
                  <a:pt x="4795244" y="1474843"/>
                  <a:pt x="4783260" y="1487190"/>
                  <a:pt x="4768012" y="1487190"/>
                </a:cubicBezTo>
                <a:cubicBezTo>
                  <a:pt x="4753123" y="1487190"/>
                  <a:pt x="4740780" y="1474843"/>
                  <a:pt x="4740780" y="1459958"/>
                </a:cubicBezTo>
                <a:cubicBezTo>
                  <a:pt x="4740780" y="1445072"/>
                  <a:pt x="4753123" y="1432726"/>
                  <a:pt x="4768012" y="1432726"/>
                </a:cubicBezTo>
                <a:close/>
                <a:moveTo>
                  <a:pt x="4921594" y="1430183"/>
                </a:moveTo>
                <a:cubicBezTo>
                  <a:pt x="4938038" y="1430183"/>
                  <a:pt x="4951368" y="1443513"/>
                  <a:pt x="4951368" y="1459954"/>
                </a:cubicBezTo>
                <a:cubicBezTo>
                  <a:pt x="4951368" y="1476399"/>
                  <a:pt x="4938038" y="1489729"/>
                  <a:pt x="4921594" y="1489729"/>
                </a:cubicBezTo>
                <a:cubicBezTo>
                  <a:pt x="4905153" y="1489729"/>
                  <a:pt x="4891823" y="1476399"/>
                  <a:pt x="4891823" y="1459954"/>
                </a:cubicBezTo>
                <a:cubicBezTo>
                  <a:pt x="4891823" y="1443513"/>
                  <a:pt x="4905153" y="1430183"/>
                  <a:pt x="4921594" y="1430183"/>
                </a:cubicBezTo>
                <a:close/>
                <a:moveTo>
                  <a:pt x="5075541" y="1428007"/>
                </a:moveTo>
                <a:cubicBezTo>
                  <a:pt x="5093332" y="1428007"/>
                  <a:pt x="5107492" y="1442168"/>
                  <a:pt x="5107492" y="1459958"/>
                </a:cubicBezTo>
                <a:cubicBezTo>
                  <a:pt x="5107492" y="1477748"/>
                  <a:pt x="5093332" y="1491909"/>
                  <a:pt x="5075541" y="1491909"/>
                </a:cubicBezTo>
                <a:cubicBezTo>
                  <a:pt x="5057751" y="1491909"/>
                  <a:pt x="5043590" y="1477748"/>
                  <a:pt x="5043590" y="1459958"/>
                </a:cubicBezTo>
                <a:cubicBezTo>
                  <a:pt x="5043590" y="1442168"/>
                  <a:pt x="5057751" y="1428007"/>
                  <a:pt x="5075541" y="1428007"/>
                </a:cubicBezTo>
                <a:close/>
                <a:moveTo>
                  <a:pt x="5229126" y="1426192"/>
                </a:moveTo>
                <a:cubicBezTo>
                  <a:pt x="5247774" y="1426192"/>
                  <a:pt x="5262892" y="1441310"/>
                  <a:pt x="5262892" y="1459958"/>
                </a:cubicBezTo>
                <a:cubicBezTo>
                  <a:pt x="5262892" y="1478610"/>
                  <a:pt x="5247774" y="1493724"/>
                  <a:pt x="5229126" y="1493724"/>
                </a:cubicBezTo>
                <a:cubicBezTo>
                  <a:pt x="5210478" y="1493724"/>
                  <a:pt x="5195360" y="1478610"/>
                  <a:pt x="5195360" y="1459958"/>
                </a:cubicBezTo>
                <a:cubicBezTo>
                  <a:pt x="5195360" y="1441310"/>
                  <a:pt x="5210478" y="1426192"/>
                  <a:pt x="5229126" y="1426192"/>
                </a:cubicBezTo>
                <a:close/>
                <a:moveTo>
                  <a:pt x="5383074" y="1423650"/>
                </a:moveTo>
                <a:cubicBezTo>
                  <a:pt x="5403044" y="1423650"/>
                  <a:pt x="5419382" y="1439987"/>
                  <a:pt x="5419382" y="1459958"/>
                </a:cubicBezTo>
                <a:cubicBezTo>
                  <a:pt x="5419382" y="1479928"/>
                  <a:pt x="5403044" y="1496266"/>
                  <a:pt x="5383074" y="1496266"/>
                </a:cubicBezTo>
                <a:cubicBezTo>
                  <a:pt x="5363104" y="1496266"/>
                  <a:pt x="5346766" y="1479928"/>
                  <a:pt x="5346766" y="1459958"/>
                </a:cubicBezTo>
                <a:cubicBezTo>
                  <a:pt x="5346766" y="1439987"/>
                  <a:pt x="5363104" y="1423650"/>
                  <a:pt x="5383074" y="1423650"/>
                </a:cubicBezTo>
                <a:close/>
                <a:moveTo>
                  <a:pt x="5536659" y="1421107"/>
                </a:moveTo>
                <a:cubicBezTo>
                  <a:pt x="5558078" y="1421107"/>
                  <a:pt x="5575506" y="1438535"/>
                  <a:pt x="5575506" y="1459958"/>
                </a:cubicBezTo>
                <a:cubicBezTo>
                  <a:pt x="5575506" y="1481377"/>
                  <a:pt x="5558078" y="1498805"/>
                  <a:pt x="5536659" y="1498805"/>
                </a:cubicBezTo>
                <a:cubicBezTo>
                  <a:pt x="5515236" y="1498805"/>
                  <a:pt x="5497808" y="1481377"/>
                  <a:pt x="5497808" y="1459958"/>
                </a:cubicBezTo>
                <a:cubicBezTo>
                  <a:pt x="5497808" y="1438535"/>
                  <a:pt x="5515236" y="1421107"/>
                  <a:pt x="5536659" y="1421107"/>
                </a:cubicBezTo>
                <a:close/>
                <a:moveTo>
                  <a:pt x="5690606" y="1418930"/>
                </a:moveTo>
                <a:cubicBezTo>
                  <a:pt x="5713482" y="1418930"/>
                  <a:pt x="5731638" y="1437086"/>
                  <a:pt x="5731638" y="1459958"/>
                </a:cubicBezTo>
                <a:cubicBezTo>
                  <a:pt x="5731638" y="1482833"/>
                  <a:pt x="5713120" y="1500985"/>
                  <a:pt x="5690606" y="1500985"/>
                </a:cubicBezTo>
                <a:cubicBezTo>
                  <a:pt x="5667735" y="1500985"/>
                  <a:pt x="5649579" y="1482833"/>
                  <a:pt x="5649579" y="1459958"/>
                </a:cubicBezTo>
                <a:cubicBezTo>
                  <a:pt x="5649579" y="1437086"/>
                  <a:pt x="5667735" y="1418930"/>
                  <a:pt x="5690606" y="1418930"/>
                </a:cubicBezTo>
                <a:close/>
                <a:moveTo>
                  <a:pt x="5844554" y="1416388"/>
                </a:moveTo>
                <a:cubicBezTo>
                  <a:pt x="5868516" y="1416388"/>
                  <a:pt x="5888124" y="1435996"/>
                  <a:pt x="5888124" y="1459958"/>
                </a:cubicBezTo>
                <a:cubicBezTo>
                  <a:pt x="5888124" y="1483923"/>
                  <a:pt x="5868516" y="1503528"/>
                  <a:pt x="5844554" y="1503528"/>
                </a:cubicBezTo>
                <a:cubicBezTo>
                  <a:pt x="5820588" y="1503528"/>
                  <a:pt x="5800984" y="1483923"/>
                  <a:pt x="5800984" y="1459958"/>
                </a:cubicBezTo>
                <a:cubicBezTo>
                  <a:pt x="5800984" y="1435996"/>
                  <a:pt x="5820588" y="1416388"/>
                  <a:pt x="5844554" y="1416388"/>
                </a:cubicBezTo>
                <a:close/>
                <a:moveTo>
                  <a:pt x="5998136" y="1413845"/>
                </a:moveTo>
                <a:cubicBezTo>
                  <a:pt x="6023553" y="1413845"/>
                  <a:pt x="6044248" y="1434540"/>
                  <a:pt x="6044248" y="1459958"/>
                </a:cubicBezTo>
                <a:cubicBezTo>
                  <a:pt x="6044248" y="1485372"/>
                  <a:pt x="6023553" y="1506070"/>
                  <a:pt x="5998136" y="1506070"/>
                </a:cubicBezTo>
                <a:cubicBezTo>
                  <a:pt x="5972722" y="1506070"/>
                  <a:pt x="5952026" y="1485372"/>
                  <a:pt x="5952026" y="1459958"/>
                </a:cubicBezTo>
                <a:cubicBezTo>
                  <a:pt x="5952026" y="1434540"/>
                  <a:pt x="5972722" y="1413845"/>
                  <a:pt x="5998136" y="1413845"/>
                </a:cubicBezTo>
                <a:close/>
                <a:moveTo>
                  <a:pt x="6152083" y="1411303"/>
                </a:moveTo>
                <a:cubicBezTo>
                  <a:pt x="6178953" y="1411303"/>
                  <a:pt x="6200738" y="1433088"/>
                  <a:pt x="6200738" y="1459958"/>
                </a:cubicBezTo>
                <a:cubicBezTo>
                  <a:pt x="6200738" y="1486824"/>
                  <a:pt x="6178953" y="1508609"/>
                  <a:pt x="6152083" y="1508609"/>
                </a:cubicBezTo>
                <a:cubicBezTo>
                  <a:pt x="6125216" y="1508609"/>
                  <a:pt x="6103432" y="1486824"/>
                  <a:pt x="6103432" y="1459958"/>
                </a:cubicBezTo>
                <a:cubicBezTo>
                  <a:pt x="6103432" y="1433088"/>
                  <a:pt x="6125216" y="1411303"/>
                  <a:pt x="6152083" y="1411303"/>
                </a:cubicBezTo>
                <a:close/>
                <a:moveTo>
                  <a:pt x="6305672" y="1408760"/>
                </a:moveTo>
                <a:cubicBezTo>
                  <a:pt x="6333990" y="1408760"/>
                  <a:pt x="6356866" y="1431635"/>
                  <a:pt x="6356866" y="1459954"/>
                </a:cubicBezTo>
                <a:cubicBezTo>
                  <a:pt x="6356866" y="1488276"/>
                  <a:pt x="6333990" y="1511148"/>
                  <a:pt x="6305672" y="1511148"/>
                </a:cubicBezTo>
                <a:cubicBezTo>
                  <a:pt x="6277350" y="1511148"/>
                  <a:pt x="6254474" y="1488276"/>
                  <a:pt x="6254474" y="1459954"/>
                </a:cubicBezTo>
                <a:cubicBezTo>
                  <a:pt x="6254474" y="1431635"/>
                  <a:pt x="6277350" y="1408760"/>
                  <a:pt x="6305672" y="1408760"/>
                </a:cubicBezTo>
                <a:close/>
                <a:moveTo>
                  <a:pt x="6459616" y="1406584"/>
                </a:moveTo>
                <a:cubicBezTo>
                  <a:pt x="6489024" y="1406584"/>
                  <a:pt x="6512990" y="1430545"/>
                  <a:pt x="6512990" y="1459958"/>
                </a:cubicBezTo>
                <a:cubicBezTo>
                  <a:pt x="6512990" y="1489367"/>
                  <a:pt x="6489024" y="1513328"/>
                  <a:pt x="6459616" y="1513328"/>
                </a:cubicBezTo>
                <a:cubicBezTo>
                  <a:pt x="6430206" y="1513328"/>
                  <a:pt x="6406241" y="1489367"/>
                  <a:pt x="6406241" y="1459958"/>
                </a:cubicBezTo>
                <a:cubicBezTo>
                  <a:pt x="6406241" y="1430545"/>
                  <a:pt x="6430206" y="1406584"/>
                  <a:pt x="6459616" y="1406584"/>
                </a:cubicBezTo>
                <a:close/>
                <a:moveTo>
                  <a:pt x="6613200" y="1403679"/>
                </a:moveTo>
                <a:cubicBezTo>
                  <a:pt x="6644424" y="1403679"/>
                  <a:pt x="6669476" y="1428731"/>
                  <a:pt x="6669476" y="1459958"/>
                </a:cubicBezTo>
                <a:cubicBezTo>
                  <a:pt x="6669476" y="1491181"/>
                  <a:pt x="6644424" y="1516233"/>
                  <a:pt x="6613200" y="1516233"/>
                </a:cubicBezTo>
                <a:cubicBezTo>
                  <a:pt x="6581974" y="1516233"/>
                  <a:pt x="6556922" y="1491181"/>
                  <a:pt x="6556922" y="1459958"/>
                </a:cubicBezTo>
                <a:cubicBezTo>
                  <a:pt x="6556922" y="1428731"/>
                  <a:pt x="6581974" y="1403679"/>
                  <a:pt x="6613200" y="1403679"/>
                </a:cubicBezTo>
                <a:close/>
                <a:moveTo>
                  <a:pt x="1999860" y="1305645"/>
                </a:moveTo>
                <a:cubicBezTo>
                  <a:pt x="2000222" y="1305645"/>
                  <a:pt x="2000222" y="1305645"/>
                  <a:pt x="2000222" y="1306007"/>
                </a:cubicBezTo>
                <a:cubicBezTo>
                  <a:pt x="2000222" y="1306373"/>
                  <a:pt x="1999860" y="1306373"/>
                  <a:pt x="1999860" y="1306373"/>
                </a:cubicBezTo>
                <a:cubicBezTo>
                  <a:pt x="1999498" y="1306373"/>
                  <a:pt x="1999498" y="1306373"/>
                  <a:pt x="1999498" y="1306007"/>
                </a:cubicBezTo>
                <a:cubicBezTo>
                  <a:pt x="1999498" y="1305645"/>
                  <a:pt x="1999498" y="1305645"/>
                  <a:pt x="1999860" y="1305645"/>
                </a:cubicBezTo>
                <a:close/>
                <a:moveTo>
                  <a:pt x="1538746" y="1305645"/>
                </a:moveTo>
                <a:cubicBezTo>
                  <a:pt x="1539108" y="1305645"/>
                  <a:pt x="1539108" y="1305645"/>
                  <a:pt x="1539108" y="1306007"/>
                </a:cubicBezTo>
                <a:cubicBezTo>
                  <a:pt x="1539108" y="1306373"/>
                  <a:pt x="1538746" y="1306373"/>
                  <a:pt x="1538746" y="1306373"/>
                </a:cubicBezTo>
                <a:cubicBezTo>
                  <a:pt x="1538384" y="1306373"/>
                  <a:pt x="1538384" y="1306373"/>
                  <a:pt x="1538384" y="1306007"/>
                </a:cubicBezTo>
                <a:cubicBezTo>
                  <a:pt x="1538384" y="1305645"/>
                  <a:pt x="1538384" y="1305645"/>
                  <a:pt x="1538746" y="1305645"/>
                </a:cubicBezTo>
                <a:close/>
                <a:moveTo>
                  <a:pt x="1384799" y="1305645"/>
                </a:moveTo>
                <a:cubicBezTo>
                  <a:pt x="1385161" y="1305645"/>
                  <a:pt x="1385161" y="1305645"/>
                  <a:pt x="1385161" y="1306007"/>
                </a:cubicBezTo>
                <a:cubicBezTo>
                  <a:pt x="1385161" y="1306373"/>
                  <a:pt x="1384799" y="1306373"/>
                  <a:pt x="1384799" y="1306373"/>
                </a:cubicBezTo>
                <a:cubicBezTo>
                  <a:pt x="1384437" y="1306373"/>
                  <a:pt x="1384437" y="1306373"/>
                  <a:pt x="1384437" y="1306007"/>
                </a:cubicBezTo>
                <a:cubicBezTo>
                  <a:pt x="1384437" y="1305645"/>
                  <a:pt x="1384437" y="1305645"/>
                  <a:pt x="1384799" y="1305645"/>
                </a:cubicBezTo>
                <a:close/>
                <a:moveTo>
                  <a:pt x="1231217" y="1305282"/>
                </a:moveTo>
                <a:cubicBezTo>
                  <a:pt x="1231618" y="1305282"/>
                  <a:pt x="1231942" y="1305606"/>
                  <a:pt x="1231942" y="1306010"/>
                </a:cubicBezTo>
                <a:cubicBezTo>
                  <a:pt x="1231942" y="1306411"/>
                  <a:pt x="1231618" y="1306735"/>
                  <a:pt x="1231217" y="1306735"/>
                </a:cubicBezTo>
                <a:cubicBezTo>
                  <a:pt x="1230813" y="1306735"/>
                  <a:pt x="1230489" y="1306411"/>
                  <a:pt x="1230489" y="1306010"/>
                </a:cubicBezTo>
                <a:cubicBezTo>
                  <a:pt x="1230489" y="1305606"/>
                  <a:pt x="1230813" y="1305282"/>
                  <a:pt x="1231217" y="1305282"/>
                </a:cubicBezTo>
                <a:close/>
                <a:moveTo>
                  <a:pt x="2153811" y="1304558"/>
                </a:moveTo>
                <a:cubicBezTo>
                  <a:pt x="2154536" y="1304558"/>
                  <a:pt x="2155264" y="1305286"/>
                  <a:pt x="2155264" y="1306010"/>
                </a:cubicBezTo>
                <a:cubicBezTo>
                  <a:pt x="2155264" y="1306739"/>
                  <a:pt x="2153811" y="1307463"/>
                  <a:pt x="2153811" y="1307463"/>
                </a:cubicBezTo>
                <a:cubicBezTo>
                  <a:pt x="2153083" y="1307463"/>
                  <a:pt x="2152359" y="1306739"/>
                  <a:pt x="2152359" y="1306010"/>
                </a:cubicBezTo>
                <a:cubicBezTo>
                  <a:pt x="2152359" y="1305286"/>
                  <a:pt x="2153083" y="1304558"/>
                  <a:pt x="2153811" y="1304558"/>
                </a:cubicBezTo>
                <a:close/>
                <a:moveTo>
                  <a:pt x="2307393" y="1303830"/>
                </a:moveTo>
                <a:cubicBezTo>
                  <a:pt x="2308483" y="1303830"/>
                  <a:pt x="2309573" y="1304920"/>
                  <a:pt x="2309573" y="1306010"/>
                </a:cubicBezTo>
                <a:cubicBezTo>
                  <a:pt x="2309573" y="1307097"/>
                  <a:pt x="2307393" y="1308187"/>
                  <a:pt x="2307393" y="1308187"/>
                </a:cubicBezTo>
                <a:cubicBezTo>
                  <a:pt x="2306306" y="1308187"/>
                  <a:pt x="2305216" y="1307097"/>
                  <a:pt x="2305216" y="1306010"/>
                </a:cubicBezTo>
                <a:cubicBezTo>
                  <a:pt x="2305216" y="1304920"/>
                  <a:pt x="2306306" y="1303830"/>
                  <a:pt x="2307393" y="1303830"/>
                </a:cubicBezTo>
                <a:close/>
                <a:moveTo>
                  <a:pt x="2461344" y="1303106"/>
                </a:moveTo>
                <a:cubicBezTo>
                  <a:pt x="2463159" y="1303106"/>
                  <a:pt x="2464611" y="1304558"/>
                  <a:pt x="2464611" y="1306373"/>
                </a:cubicBezTo>
                <a:cubicBezTo>
                  <a:pt x="2464611" y="1308187"/>
                  <a:pt x="2463159" y="1309643"/>
                  <a:pt x="2461344" y="1309643"/>
                </a:cubicBezTo>
                <a:cubicBezTo>
                  <a:pt x="2459526" y="1309643"/>
                  <a:pt x="2458073" y="1308187"/>
                  <a:pt x="2458073" y="1306373"/>
                </a:cubicBezTo>
                <a:cubicBezTo>
                  <a:pt x="2458073" y="1304558"/>
                  <a:pt x="2459526" y="1303106"/>
                  <a:pt x="2461344" y="1303106"/>
                </a:cubicBezTo>
                <a:close/>
                <a:moveTo>
                  <a:pt x="2614925" y="1301653"/>
                </a:moveTo>
                <a:cubicBezTo>
                  <a:pt x="2617468" y="1301653"/>
                  <a:pt x="2619283" y="1303468"/>
                  <a:pt x="2619283" y="1306010"/>
                </a:cubicBezTo>
                <a:cubicBezTo>
                  <a:pt x="2619283" y="1308553"/>
                  <a:pt x="2617102" y="1310367"/>
                  <a:pt x="2614925" y="1310367"/>
                </a:cubicBezTo>
                <a:cubicBezTo>
                  <a:pt x="2612383" y="1310367"/>
                  <a:pt x="2610568" y="1308553"/>
                  <a:pt x="2610568" y="1306010"/>
                </a:cubicBezTo>
                <a:cubicBezTo>
                  <a:pt x="2610568" y="1303468"/>
                  <a:pt x="2612383" y="1301653"/>
                  <a:pt x="2614925" y="1301653"/>
                </a:cubicBezTo>
                <a:close/>
                <a:moveTo>
                  <a:pt x="2768873" y="1300563"/>
                </a:moveTo>
                <a:cubicBezTo>
                  <a:pt x="2772140" y="1300563"/>
                  <a:pt x="2774682" y="1303106"/>
                  <a:pt x="2774682" y="1306373"/>
                </a:cubicBezTo>
                <a:cubicBezTo>
                  <a:pt x="2774682" y="1309639"/>
                  <a:pt x="2772140" y="1312182"/>
                  <a:pt x="2768873" y="1312182"/>
                </a:cubicBezTo>
                <a:cubicBezTo>
                  <a:pt x="2765606" y="1312182"/>
                  <a:pt x="2763064" y="1309639"/>
                  <a:pt x="2763064" y="1306373"/>
                </a:cubicBezTo>
                <a:cubicBezTo>
                  <a:pt x="2763064" y="1303106"/>
                  <a:pt x="2765606" y="1300563"/>
                  <a:pt x="2768873" y="1300563"/>
                </a:cubicBezTo>
                <a:close/>
                <a:moveTo>
                  <a:pt x="2922458" y="1298749"/>
                </a:moveTo>
                <a:cubicBezTo>
                  <a:pt x="2926453" y="1298749"/>
                  <a:pt x="2929720" y="1302015"/>
                  <a:pt x="2929720" y="1306010"/>
                </a:cubicBezTo>
                <a:cubicBezTo>
                  <a:pt x="2929720" y="1310005"/>
                  <a:pt x="2926453" y="1313272"/>
                  <a:pt x="2922458" y="1313272"/>
                </a:cubicBezTo>
                <a:cubicBezTo>
                  <a:pt x="2918463" y="1313272"/>
                  <a:pt x="2915196" y="1310005"/>
                  <a:pt x="2915196" y="1306010"/>
                </a:cubicBezTo>
                <a:cubicBezTo>
                  <a:pt x="2915196" y="1302015"/>
                  <a:pt x="2918463" y="1298749"/>
                  <a:pt x="2922458" y="1298749"/>
                </a:cubicBezTo>
                <a:close/>
                <a:moveTo>
                  <a:pt x="3076406" y="1296934"/>
                </a:moveTo>
                <a:cubicBezTo>
                  <a:pt x="3081490" y="1296934"/>
                  <a:pt x="3085486" y="1300929"/>
                  <a:pt x="3085486" y="1306010"/>
                </a:cubicBezTo>
                <a:cubicBezTo>
                  <a:pt x="3085486" y="1311096"/>
                  <a:pt x="3081490" y="1315090"/>
                  <a:pt x="3076406" y="1315090"/>
                </a:cubicBezTo>
                <a:cubicBezTo>
                  <a:pt x="3071324" y="1315090"/>
                  <a:pt x="3067329" y="1311096"/>
                  <a:pt x="3067329" y="1306010"/>
                </a:cubicBezTo>
                <a:cubicBezTo>
                  <a:pt x="3067329" y="1300929"/>
                  <a:pt x="3071324" y="1296934"/>
                  <a:pt x="3076406" y="1296934"/>
                </a:cubicBezTo>
                <a:close/>
                <a:moveTo>
                  <a:pt x="3230353" y="1295844"/>
                </a:moveTo>
                <a:cubicBezTo>
                  <a:pt x="3235800" y="1295844"/>
                  <a:pt x="3240519" y="1300563"/>
                  <a:pt x="3240519" y="1306010"/>
                </a:cubicBezTo>
                <a:cubicBezTo>
                  <a:pt x="3240519" y="1311458"/>
                  <a:pt x="3236162" y="1316177"/>
                  <a:pt x="3230353" y="1316177"/>
                </a:cubicBezTo>
                <a:cubicBezTo>
                  <a:pt x="3224906" y="1316177"/>
                  <a:pt x="3220186" y="1311458"/>
                  <a:pt x="3220186" y="1306010"/>
                </a:cubicBezTo>
                <a:cubicBezTo>
                  <a:pt x="3220186" y="1300563"/>
                  <a:pt x="3224906" y="1295844"/>
                  <a:pt x="3230353" y="1295844"/>
                </a:cubicBezTo>
                <a:close/>
                <a:moveTo>
                  <a:pt x="3383934" y="1294026"/>
                </a:moveTo>
                <a:cubicBezTo>
                  <a:pt x="3390472" y="1294026"/>
                  <a:pt x="3395919" y="1299473"/>
                  <a:pt x="3395919" y="1306007"/>
                </a:cubicBezTo>
                <a:cubicBezTo>
                  <a:pt x="3395919" y="1312544"/>
                  <a:pt x="3390472" y="1317987"/>
                  <a:pt x="3383934" y="1317987"/>
                </a:cubicBezTo>
                <a:cubicBezTo>
                  <a:pt x="3377401" y="1317987"/>
                  <a:pt x="3371954" y="1312544"/>
                  <a:pt x="3371954" y="1306007"/>
                </a:cubicBezTo>
                <a:cubicBezTo>
                  <a:pt x="3371954" y="1299473"/>
                  <a:pt x="3377401" y="1294026"/>
                  <a:pt x="3383934" y="1294026"/>
                </a:cubicBezTo>
                <a:close/>
                <a:moveTo>
                  <a:pt x="3537886" y="1292211"/>
                </a:moveTo>
                <a:cubicBezTo>
                  <a:pt x="3545509" y="1292211"/>
                  <a:pt x="3551681" y="1298383"/>
                  <a:pt x="3551681" y="1306010"/>
                </a:cubicBezTo>
                <a:cubicBezTo>
                  <a:pt x="3551681" y="1313634"/>
                  <a:pt x="3545509" y="1319806"/>
                  <a:pt x="3537886" y="1319806"/>
                </a:cubicBezTo>
                <a:cubicBezTo>
                  <a:pt x="3530258" y="1319806"/>
                  <a:pt x="3524086" y="1313634"/>
                  <a:pt x="3524086" y="1306010"/>
                </a:cubicBezTo>
                <a:cubicBezTo>
                  <a:pt x="3524086" y="1298383"/>
                  <a:pt x="3530258" y="1292211"/>
                  <a:pt x="3537886" y="1292211"/>
                </a:cubicBezTo>
                <a:close/>
                <a:moveTo>
                  <a:pt x="3691467" y="1290759"/>
                </a:moveTo>
                <a:cubicBezTo>
                  <a:pt x="3699891" y="1290759"/>
                  <a:pt x="3706718" y="1297586"/>
                  <a:pt x="3706718" y="1306010"/>
                </a:cubicBezTo>
                <a:cubicBezTo>
                  <a:pt x="3706718" y="1314431"/>
                  <a:pt x="3699891" y="1321258"/>
                  <a:pt x="3691467" y="1321258"/>
                </a:cubicBezTo>
                <a:cubicBezTo>
                  <a:pt x="3683046" y="1321258"/>
                  <a:pt x="3676219" y="1314431"/>
                  <a:pt x="3676219" y="1306010"/>
                </a:cubicBezTo>
                <a:cubicBezTo>
                  <a:pt x="3676219" y="1297586"/>
                  <a:pt x="3683046" y="1290759"/>
                  <a:pt x="3691467" y="1290759"/>
                </a:cubicBezTo>
                <a:close/>
                <a:moveTo>
                  <a:pt x="3845418" y="1288945"/>
                </a:moveTo>
                <a:cubicBezTo>
                  <a:pt x="3854856" y="1288945"/>
                  <a:pt x="3862484" y="1296568"/>
                  <a:pt x="3862484" y="1306010"/>
                </a:cubicBezTo>
                <a:cubicBezTo>
                  <a:pt x="3862484" y="1315449"/>
                  <a:pt x="3854856" y="1323072"/>
                  <a:pt x="3845418" y="1323072"/>
                </a:cubicBezTo>
                <a:cubicBezTo>
                  <a:pt x="3835976" y="1323072"/>
                  <a:pt x="3828352" y="1315449"/>
                  <a:pt x="3828352" y="1306010"/>
                </a:cubicBezTo>
                <a:cubicBezTo>
                  <a:pt x="3828352" y="1296568"/>
                  <a:pt x="3835976" y="1288945"/>
                  <a:pt x="3845418" y="1288945"/>
                </a:cubicBezTo>
                <a:close/>
                <a:moveTo>
                  <a:pt x="3999000" y="1286768"/>
                </a:moveTo>
                <a:cubicBezTo>
                  <a:pt x="4009627" y="1286768"/>
                  <a:pt x="4018242" y="1295383"/>
                  <a:pt x="4018242" y="1306010"/>
                </a:cubicBezTo>
                <a:cubicBezTo>
                  <a:pt x="4018242" y="1316638"/>
                  <a:pt x="4009627" y="1325257"/>
                  <a:pt x="3999000" y="1325257"/>
                </a:cubicBezTo>
                <a:cubicBezTo>
                  <a:pt x="3988372" y="1325257"/>
                  <a:pt x="3979757" y="1316638"/>
                  <a:pt x="3979757" y="1306010"/>
                </a:cubicBezTo>
                <a:cubicBezTo>
                  <a:pt x="3979757" y="1295383"/>
                  <a:pt x="3988372" y="1286768"/>
                  <a:pt x="3999000" y="1286768"/>
                </a:cubicBezTo>
                <a:close/>
                <a:moveTo>
                  <a:pt x="4152947" y="1284588"/>
                </a:moveTo>
                <a:cubicBezTo>
                  <a:pt x="4164928" y="1284588"/>
                  <a:pt x="4174366" y="1294026"/>
                  <a:pt x="4174366" y="1306010"/>
                </a:cubicBezTo>
                <a:cubicBezTo>
                  <a:pt x="4174366" y="1317991"/>
                  <a:pt x="4164562" y="1327433"/>
                  <a:pt x="4152947" y="1327433"/>
                </a:cubicBezTo>
                <a:cubicBezTo>
                  <a:pt x="4140962" y="1327433"/>
                  <a:pt x="4131524" y="1317991"/>
                  <a:pt x="4131524" y="1306010"/>
                </a:cubicBezTo>
                <a:cubicBezTo>
                  <a:pt x="4131524" y="1294026"/>
                  <a:pt x="4140962" y="1284588"/>
                  <a:pt x="4152947" y="1284588"/>
                </a:cubicBezTo>
                <a:close/>
                <a:moveTo>
                  <a:pt x="4306532" y="1283135"/>
                </a:moveTo>
                <a:cubicBezTo>
                  <a:pt x="4319165" y="1283135"/>
                  <a:pt x="4329404" y="1293378"/>
                  <a:pt x="4329404" y="1306010"/>
                </a:cubicBezTo>
                <a:cubicBezTo>
                  <a:pt x="4329404" y="1318643"/>
                  <a:pt x="4319165" y="1328886"/>
                  <a:pt x="4306532" y="1328886"/>
                </a:cubicBezTo>
                <a:cubicBezTo>
                  <a:pt x="4293900" y="1328886"/>
                  <a:pt x="4283657" y="1318643"/>
                  <a:pt x="4283657" y="1306010"/>
                </a:cubicBezTo>
                <a:cubicBezTo>
                  <a:pt x="4283657" y="1293378"/>
                  <a:pt x="4293900" y="1283135"/>
                  <a:pt x="4306532" y="1283135"/>
                </a:cubicBezTo>
                <a:close/>
                <a:moveTo>
                  <a:pt x="4460480" y="1281321"/>
                </a:moveTo>
                <a:cubicBezTo>
                  <a:pt x="4474279" y="1281321"/>
                  <a:pt x="4485536" y="1292577"/>
                  <a:pt x="4485536" y="1306373"/>
                </a:cubicBezTo>
                <a:cubicBezTo>
                  <a:pt x="4485536" y="1320172"/>
                  <a:pt x="4474279" y="1331424"/>
                  <a:pt x="4460480" y="1331424"/>
                </a:cubicBezTo>
                <a:cubicBezTo>
                  <a:pt x="4446684" y="1331424"/>
                  <a:pt x="4435428" y="1320172"/>
                  <a:pt x="4435428" y="1306373"/>
                </a:cubicBezTo>
                <a:cubicBezTo>
                  <a:pt x="4435428" y="1292577"/>
                  <a:pt x="4446684" y="1281321"/>
                  <a:pt x="4460480" y="1281321"/>
                </a:cubicBezTo>
                <a:close/>
                <a:moveTo>
                  <a:pt x="4614065" y="1278778"/>
                </a:moveTo>
                <a:cubicBezTo>
                  <a:pt x="4628950" y="1278778"/>
                  <a:pt x="4641297" y="1291125"/>
                  <a:pt x="4641297" y="1306010"/>
                </a:cubicBezTo>
                <a:cubicBezTo>
                  <a:pt x="4641297" y="1320896"/>
                  <a:pt x="4629312" y="1333243"/>
                  <a:pt x="4614065" y="1333243"/>
                </a:cubicBezTo>
                <a:cubicBezTo>
                  <a:pt x="4599176" y="1333243"/>
                  <a:pt x="4586832" y="1320896"/>
                  <a:pt x="4586832" y="1306010"/>
                </a:cubicBezTo>
                <a:cubicBezTo>
                  <a:pt x="4586832" y="1291125"/>
                  <a:pt x="4599176" y="1278778"/>
                  <a:pt x="4614065" y="1278778"/>
                </a:cubicBezTo>
                <a:close/>
                <a:moveTo>
                  <a:pt x="4768008" y="1276236"/>
                </a:moveTo>
                <a:cubicBezTo>
                  <a:pt x="4784453" y="1276236"/>
                  <a:pt x="4797784" y="1289566"/>
                  <a:pt x="4797784" y="1306010"/>
                </a:cubicBezTo>
                <a:cubicBezTo>
                  <a:pt x="4797784" y="1322451"/>
                  <a:pt x="4784453" y="1335781"/>
                  <a:pt x="4768008" y="1335781"/>
                </a:cubicBezTo>
                <a:cubicBezTo>
                  <a:pt x="4751568" y="1335781"/>
                  <a:pt x="4738238" y="1322451"/>
                  <a:pt x="4738238" y="1306010"/>
                </a:cubicBezTo>
                <a:cubicBezTo>
                  <a:pt x="4738238" y="1289566"/>
                  <a:pt x="4751568" y="1276236"/>
                  <a:pt x="4768008" y="1276236"/>
                </a:cubicBezTo>
                <a:close/>
                <a:moveTo>
                  <a:pt x="4921594" y="1274059"/>
                </a:moveTo>
                <a:cubicBezTo>
                  <a:pt x="4939384" y="1274059"/>
                  <a:pt x="4953545" y="1288220"/>
                  <a:pt x="4953545" y="1306010"/>
                </a:cubicBezTo>
                <a:cubicBezTo>
                  <a:pt x="4953545" y="1323801"/>
                  <a:pt x="4939384" y="1337962"/>
                  <a:pt x="4921594" y="1337962"/>
                </a:cubicBezTo>
                <a:cubicBezTo>
                  <a:pt x="4903804" y="1337962"/>
                  <a:pt x="4889642" y="1323801"/>
                  <a:pt x="4889642" y="1306010"/>
                </a:cubicBezTo>
                <a:cubicBezTo>
                  <a:pt x="4889642" y="1288220"/>
                  <a:pt x="4903804" y="1274059"/>
                  <a:pt x="4921594" y="1274059"/>
                </a:cubicBezTo>
                <a:close/>
                <a:moveTo>
                  <a:pt x="5075541" y="1272245"/>
                </a:moveTo>
                <a:cubicBezTo>
                  <a:pt x="5094060" y="1272245"/>
                  <a:pt x="5109311" y="1287492"/>
                  <a:pt x="5109311" y="1306010"/>
                </a:cubicBezTo>
                <a:cubicBezTo>
                  <a:pt x="5109311" y="1324529"/>
                  <a:pt x="5094060" y="1339780"/>
                  <a:pt x="5075541" y="1339780"/>
                </a:cubicBezTo>
                <a:cubicBezTo>
                  <a:pt x="5057027" y="1339780"/>
                  <a:pt x="5041776" y="1324529"/>
                  <a:pt x="5041776" y="1306010"/>
                </a:cubicBezTo>
                <a:cubicBezTo>
                  <a:pt x="5041776" y="1287492"/>
                  <a:pt x="5057027" y="1272245"/>
                  <a:pt x="5075541" y="1272245"/>
                </a:cubicBezTo>
                <a:close/>
                <a:moveTo>
                  <a:pt x="5229126" y="1269702"/>
                </a:moveTo>
                <a:cubicBezTo>
                  <a:pt x="5249097" y="1269702"/>
                  <a:pt x="5265435" y="1286040"/>
                  <a:pt x="5265435" y="1306010"/>
                </a:cubicBezTo>
                <a:cubicBezTo>
                  <a:pt x="5265435" y="1325981"/>
                  <a:pt x="5249097" y="1342319"/>
                  <a:pt x="5229126" y="1342319"/>
                </a:cubicBezTo>
                <a:cubicBezTo>
                  <a:pt x="5209156" y="1342319"/>
                  <a:pt x="5192818" y="1325981"/>
                  <a:pt x="5192818" y="1306010"/>
                </a:cubicBezTo>
                <a:cubicBezTo>
                  <a:pt x="5192818" y="1286040"/>
                  <a:pt x="5209156" y="1269702"/>
                  <a:pt x="5229126" y="1269702"/>
                </a:cubicBezTo>
                <a:close/>
                <a:moveTo>
                  <a:pt x="5383074" y="1267160"/>
                </a:moveTo>
                <a:cubicBezTo>
                  <a:pt x="5404496" y="1267160"/>
                  <a:pt x="5421921" y="1284588"/>
                  <a:pt x="5421921" y="1306010"/>
                </a:cubicBezTo>
                <a:cubicBezTo>
                  <a:pt x="5421921" y="1327430"/>
                  <a:pt x="5404496" y="1344858"/>
                  <a:pt x="5383074" y="1344858"/>
                </a:cubicBezTo>
                <a:cubicBezTo>
                  <a:pt x="5361651" y="1344858"/>
                  <a:pt x="5344223" y="1327430"/>
                  <a:pt x="5344223" y="1306010"/>
                </a:cubicBezTo>
                <a:cubicBezTo>
                  <a:pt x="5344223" y="1284588"/>
                  <a:pt x="5361651" y="1267160"/>
                  <a:pt x="5383074" y="1267160"/>
                </a:cubicBezTo>
                <a:close/>
                <a:moveTo>
                  <a:pt x="5536659" y="1264983"/>
                </a:moveTo>
                <a:cubicBezTo>
                  <a:pt x="5559534" y="1264983"/>
                  <a:pt x="5577690" y="1283139"/>
                  <a:pt x="5577690" y="1306010"/>
                </a:cubicBezTo>
                <a:cubicBezTo>
                  <a:pt x="5577690" y="1328886"/>
                  <a:pt x="5559172" y="1347038"/>
                  <a:pt x="5536659" y="1347038"/>
                </a:cubicBezTo>
                <a:cubicBezTo>
                  <a:pt x="5513788" y="1347038"/>
                  <a:pt x="5495632" y="1328886"/>
                  <a:pt x="5495632" y="1306010"/>
                </a:cubicBezTo>
                <a:cubicBezTo>
                  <a:pt x="5495632" y="1283139"/>
                  <a:pt x="5513788" y="1264983"/>
                  <a:pt x="5536659" y="1264983"/>
                </a:cubicBezTo>
                <a:close/>
                <a:moveTo>
                  <a:pt x="5690606" y="1262440"/>
                </a:moveTo>
                <a:cubicBezTo>
                  <a:pt x="5714568" y="1262440"/>
                  <a:pt x="5734176" y="1282049"/>
                  <a:pt x="5734176" y="1306010"/>
                </a:cubicBezTo>
                <a:cubicBezTo>
                  <a:pt x="5734176" y="1329976"/>
                  <a:pt x="5714568" y="1349581"/>
                  <a:pt x="5690606" y="1349581"/>
                </a:cubicBezTo>
                <a:cubicBezTo>
                  <a:pt x="5666641" y="1349581"/>
                  <a:pt x="5647036" y="1329976"/>
                  <a:pt x="5647036" y="1306010"/>
                </a:cubicBezTo>
                <a:cubicBezTo>
                  <a:pt x="5647036" y="1282049"/>
                  <a:pt x="5666641" y="1262440"/>
                  <a:pt x="5690606" y="1262440"/>
                </a:cubicBezTo>
                <a:close/>
                <a:moveTo>
                  <a:pt x="5844554" y="1259898"/>
                </a:moveTo>
                <a:cubicBezTo>
                  <a:pt x="5870021" y="1259898"/>
                  <a:pt x="5890666" y="1280543"/>
                  <a:pt x="5890666" y="1306010"/>
                </a:cubicBezTo>
                <a:cubicBezTo>
                  <a:pt x="5890666" y="1331478"/>
                  <a:pt x="5870021" y="1352123"/>
                  <a:pt x="5844554" y="1352123"/>
                </a:cubicBezTo>
                <a:cubicBezTo>
                  <a:pt x="5819086" y="1352123"/>
                  <a:pt x="5798442" y="1331478"/>
                  <a:pt x="5798442" y="1306010"/>
                </a:cubicBezTo>
                <a:cubicBezTo>
                  <a:pt x="5798442" y="1280543"/>
                  <a:pt x="5819086" y="1259898"/>
                  <a:pt x="5844554" y="1259898"/>
                </a:cubicBezTo>
                <a:close/>
                <a:moveTo>
                  <a:pt x="5998136" y="1257355"/>
                </a:moveTo>
                <a:cubicBezTo>
                  <a:pt x="6025006" y="1257355"/>
                  <a:pt x="6046790" y="1279140"/>
                  <a:pt x="6046790" y="1306010"/>
                </a:cubicBezTo>
                <a:cubicBezTo>
                  <a:pt x="6046790" y="1332877"/>
                  <a:pt x="6025006" y="1354662"/>
                  <a:pt x="5998136" y="1354662"/>
                </a:cubicBezTo>
                <a:cubicBezTo>
                  <a:pt x="5971269" y="1354662"/>
                  <a:pt x="5949484" y="1332877"/>
                  <a:pt x="5949484" y="1306010"/>
                </a:cubicBezTo>
                <a:cubicBezTo>
                  <a:pt x="5949484" y="1279140"/>
                  <a:pt x="5971269" y="1257355"/>
                  <a:pt x="5998136" y="1257355"/>
                </a:cubicBezTo>
                <a:close/>
                <a:moveTo>
                  <a:pt x="6152083" y="1254817"/>
                </a:moveTo>
                <a:cubicBezTo>
                  <a:pt x="6180405" y="1254817"/>
                  <a:pt x="6203280" y="1277692"/>
                  <a:pt x="6203280" y="1306010"/>
                </a:cubicBezTo>
                <a:cubicBezTo>
                  <a:pt x="6203280" y="1334333"/>
                  <a:pt x="6180405" y="1357204"/>
                  <a:pt x="6152083" y="1357204"/>
                </a:cubicBezTo>
                <a:cubicBezTo>
                  <a:pt x="6123764" y="1357204"/>
                  <a:pt x="6100889" y="1334333"/>
                  <a:pt x="6100889" y="1306010"/>
                </a:cubicBezTo>
                <a:cubicBezTo>
                  <a:pt x="6100889" y="1277692"/>
                  <a:pt x="6123764" y="1254817"/>
                  <a:pt x="6152083" y="1254817"/>
                </a:cubicBezTo>
                <a:close/>
                <a:moveTo>
                  <a:pt x="6305668" y="1252636"/>
                </a:moveTo>
                <a:cubicBezTo>
                  <a:pt x="6335077" y="1252636"/>
                  <a:pt x="6359042" y="1276598"/>
                  <a:pt x="6359042" y="1306010"/>
                </a:cubicBezTo>
                <a:cubicBezTo>
                  <a:pt x="6359042" y="1335419"/>
                  <a:pt x="6335077" y="1359381"/>
                  <a:pt x="6305668" y="1359381"/>
                </a:cubicBezTo>
                <a:cubicBezTo>
                  <a:pt x="6276259" y="1359381"/>
                  <a:pt x="6252294" y="1335419"/>
                  <a:pt x="6252294" y="1306010"/>
                </a:cubicBezTo>
                <a:cubicBezTo>
                  <a:pt x="6252294" y="1276598"/>
                  <a:pt x="6276259" y="1252636"/>
                  <a:pt x="6305668" y="1252636"/>
                </a:cubicBezTo>
                <a:close/>
                <a:moveTo>
                  <a:pt x="6459619" y="1249732"/>
                </a:moveTo>
                <a:cubicBezTo>
                  <a:pt x="6490842" y="1249732"/>
                  <a:pt x="6515894" y="1274783"/>
                  <a:pt x="6515894" y="1306010"/>
                </a:cubicBezTo>
                <a:cubicBezTo>
                  <a:pt x="6515894" y="1337234"/>
                  <a:pt x="6490842" y="1362289"/>
                  <a:pt x="6459619" y="1362289"/>
                </a:cubicBezTo>
                <a:cubicBezTo>
                  <a:pt x="6428392" y="1362289"/>
                  <a:pt x="6403340" y="1337234"/>
                  <a:pt x="6403340" y="1306010"/>
                </a:cubicBezTo>
                <a:cubicBezTo>
                  <a:pt x="6403340" y="1274783"/>
                  <a:pt x="6428392" y="1249732"/>
                  <a:pt x="6459619" y="1249732"/>
                </a:cubicBezTo>
                <a:close/>
                <a:moveTo>
                  <a:pt x="6613197" y="1247189"/>
                </a:moveTo>
                <a:cubicBezTo>
                  <a:pt x="6645514" y="1247189"/>
                  <a:pt x="6672018" y="1273693"/>
                  <a:pt x="6672018" y="1306010"/>
                </a:cubicBezTo>
                <a:cubicBezTo>
                  <a:pt x="6672018" y="1338324"/>
                  <a:pt x="6645876" y="1364828"/>
                  <a:pt x="6613197" y="1364828"/>
                </a:cubicBezTo>
                <a:cubicBezTo>
                  <a:pt x="6580884" y="1364828"/>
                  <a:pt x="6554380" y="1338324"/>
                  <a:pt x="6554380" y="1306010"/>
                </a:cubicBezTo>
                <a:cubicBezTo>
                  <a:pt x="6554380" y="1273693"/>
                  <a:pt x="6580884" y="1247189"/>
                  <a:pt x="6613197" y="1247189"/>
                </a:cubicBezTo>
                <a:close/>
                <a:moveTo>
                  <a:pt x="1846279" y="1152063"/>
                </a:moveTo>
                <a:cubicBezTo>
                  <a:pt x="1846641" y="1152063"/>
                  <a:pt x="1846641" y="1152063"/>
                  <a:pt x="1846641" y="1152425"/>
                </a:cubicBezTo>
                <a:cubicBezTo>
                  <a:pt x="1846641" y="1152791"/>
                  <a:pt x="1846279" y="1152791"/>
                  <a:pt x="1846279" y="1152791"/>
                </a:cubicBezTo>
                <a:cubicBezTo>
                  <a:pt x="1845917" y="1152791"/>
                  <a:pt x="1845917" y="1152791"/>
                  <a:pt x="1845917" y="1152425"/>
                </a:cubicBezTo>
                <a:cubicBezTo>
                  <a:pt x="1845917" y="1152063"/>
                  <a:pt x="1845917" y="1152063"/>
                  <a:pt x="1846279" y="1152063"/>
                </a:cubicBezTo>
                <a:close/>
                <a:moveTo>
                  <a:pt x="1384799" y="1152063"/>
                </a:moveTo>
                <a:cubicBezTo>
                  <a:pt x="1385161" y="1152063"/>
                  <a:pt x="1385161" y="1152063"/>
                  <a:pt x="1385161" y="1152425"/>
                </a:cubicBezTo>
                <a:cubicBezTo>
                  <a:pt x="1385161" y="1152791"/>
                  <a:pt x="1384799" y="1152791"/>
                  <a:pt x="1384799" y="1152791"/>
                </a:cubicBezTo>
                <a:cubicBezTo>
                  <a:pt x="1384437" y="1152791"/>
                  <a:pt x="1384437" y="1152791"/>
                  <a:pt x="1384437" y="1152425"/>
                </a:cubicBezTo>
                <a:cubicBezTo>
                  <a:pt x="1384437" y="1152063"/>
                  <a:pt x="1384437" y="1152063"/>
                  <a:pt x="1384799" y="1152063"/>
                </a:cubicBezTo>
                <a:close/>
                <a:moveTo>
                  <a:pt x="1231213" y="1152063"/>
                </a:moveTo>
                <a:cubicBezTo>
                  <a:pt x="1231576" y="1152063"/>
                  <a:pt x="1231576" y="1152063"/>
                  <a:pt x="1231576" y="1152425"/>
                </a:cubicBezTo>
                <a:cubicBezTo>
                  <a:pt x="1231576" y="1152791"/>
                  <a:pt x="1231213" y="1152791"/>
                  <a:pt x="1231213" y="1152791"/>
                </a:cubicBezTo>
                <a:cubicBezTo>
                  <a:pt x="1230851" y="1152791"/>
                  <a:pt x="1230851" y="1152791"/>
                  <a:pt x="1230851" y="1152425"/>
                </a:cubicBezTo>
                <a:cubicBezTo>
                  <a:pt x="1230851" y="1152063"/>
                  <a:pt x="1230851" y="1152063"/>
                  <a:pt x="1231213" y="1152063"/>
                </a:cubicBezTo>
                <a:close/>
                <a:moveTo>
                  <a:pt x="1077270" y="1151701"/>
                </a:moveTo>
                <a:cubicBezTo>
                  <a:pt x="1077670" y="1151701"/>
                  <a:pt x="1077994" y="1152025"/>
                  <a:pt x="1077994" y="1152425"/>
                </a:cubicBezTo>
                <a:cubicBezTo>
                  <a:pt x="1077994" y="1152829"/>
                  <a:pt x="1077670" y="1153153"/>
                  <a:pt x="1077270" y="1153153"/>
                </a:cubicBezTo>
                <a:cubicBezTo>
                  <a:pt x="1076866" y="1153153"/>
                  <a:pt x="1076542" y="1152829"/>
                  <a:pt x="1076542" y="1152425"/>
                </a:cubicBezTo>
                <a:cubicBezTo>
                  <a:pt x="1076542" y="1152025"/>
                  <a:pt x="1076866" y="1151701"/>
                  <a:pt x="1077270" y="1151701"/>
                </a:cubicBezTo>
                <a:close/>
                <a:moveTo>
                  <a:pt x="1999864" y="1150611"/>
                </a:moveTo>
                <a:cubicBezTo>
                  <a:pt x="2000588" y="1150611"/>
                  <a:pt x="2001316" y="1151335"/>
                  <a:pt x="2001316" y="1152063"/>
                </a:cubicBezTo>
                <a:cubicBezTo>
                  <a:pt x="2001316" y="1152787"/>
                  <a:pt x="1999864" y="1153515"/>
                  <a:pt x="1999864" y="1153515"/>
                </a:cubicBezTo>
                <a:cubicBezTo>
                  <a:pt x="1999136" y="1153515"/>
                  <a:pt x="1998412" y="1152787"/>
                  <a:pt x="1998412" y="1152063"/>
                </a:cubicBezTo>
                <a:cubicBezTo>
                  <a:pt x="1998412" y="1151335"/>
                  <a:pt x="1999136" y="1150611"/>
                  <a:pt x="1999864" y="1150611"/>
                </a:cubicBezTo>
                <a:close/>
                <a:moveTo>
                  <a:pt x="2153808" y="1150249"/>
                </a:moveTo>
                <a:cubicBezTo>
                  <a:pt x="2154898" y="1150249"/>
                  <a:pt x="2155988" y="1151339"/>
                  <a:pt x="2155988" y="1152425"/>
                </a:cubicBezTo>
                <a:cubicBezTo>
                  <a:pt x="2155988" y="1153515"/>
                  <a:pt x="2153808" y="1154606"/>
                  <a:pt x="2153808" y="1154606"/>
                </a:cubicBezTo>
                <a:cubicBezTo>
                  <a:pt x="2152721" y="1154606"/>
                  <a:pt x="2151631" y="1153515"/>
                  <a:pt x="2151631" y="1152425"/>
                </a:cubicBezTo>
                <a:cubicBezTo>
                  <a:pt x="2151631" y="1151339"/>
                  <a:pt x="2152721" y="1150249"/>
                  <a:pt x="2153808" y="1150249"/>
                </a:cubicBezTo>
                <a:close/>
                <a:moveTo>
                  <a:pt x="2307393" y="1149158"/>
                </a:moveTo>
                <a:cubicBezTo>
                  <a:pt x="2309211" y="1149158"/>
                  <a:pt x="2310660" y="1150611"/>
                  <a:pt x="2310660" y="1152425"/>
                </a:cubicBezTo>
                <a:cubicBezTo>
                  <a:pt x="2310660" y="1154244"/>
                  <a:pt x="2309211" y="1155696"/>
                  <a:pt x="2307393" y="1155696"/>
                </a:cubicBezTo>
                <a:cubicBezTo>
                  <a:pt x="2305578" y="1155696"/>
                  <a:pt x="2304126" y="1154244"/>
                  <a:pt x="2304126" y="1152425"/>
                </a:cubicBezTo>
                <a:cubicBezTo>
                  <a:pt x="2304126" y="1150611"/>
                  <a:pt x="2305578" y="1149158"/>
                  <a:pt x="2307393" y="1149158"/>
                </a:cubicBezTo>
                <a:close/>
                <a:moveTo>
                  <a:pt x="2461340" y="1147706"/>
                </a:moveTo>
                <a:cubicBezTo>
                  <a:pt x="2463883" y="1147706"/>
                  <a:pt x="2465697" y="1149521"/>
                  <a:pt x="2465697" y="1152063"/>
                </a:cubicBezTo>
                <a:cubicBezTo>
                  <a:pt x="2465697" y="1154606"/>
                  <a:pt x="2463521" y="1156420"/>
                  <a:pt x="2461340" y="1156420"/>
                </a:cubicBezTo>
                <a:cubicBezTo>
                  <a:pt x="2458798" y="1156420"/>
                  <a:pt x="2456983" y="1154606"/>
                  <a:pt x="2456983" y="1152063"/>
                </a:cubicBezTo>
                <a:cubicBezTo>
                  <a:pt x="2456983" y="1149521"/>
                  <a:pt x="2458798" y="1147706"/>
                  <a:pt x="2461340" y="1147706"/>
                </a:cubicBezTo>
                <a:close/>
                <a:moveTo>
                  <a:pt x="2614925" y="1146616"/>
                </a:moveTo>
                <a:cubicBezTo>
                  <a:pt x="2618192" y="1146616"/>
                  <a:pt x="2620735" y="1149158"/>
                  <a:pt x="2620735" y="1152425"/>
                </a:cubicBezTo>
                <a:cubicBezTo>
                  <a:pt x="2620735" y="1155692"/>
                  <a:pt x="2618192" y="1158234"/>
                  <a:pt x="2614925" y="1158234"/>
                </a:cubicBezTo>
                <a:cubicBezTo>
                  <a:pt x="2611659" y="1158234"/>
                  <a:pt x="2609116" y="1155692"/>
                  <a:pt x="2609116" y="1152425"/>
                </a:cubicBezTo>
                <a:cubicBezTo>
                  <a:pt x="2609116" y="1149158"/>
                  <a:pt x="2611659" y="1146616"/>
                  <a:pt x="2614925" y="1146616"/>
                </a:cubicBezTo>
                <a:close/>
                <a:moveTo>
                  <a:pt x="2768873" y="1145164"/>
                </a:moveTo>
                <a:cubicBezTo>
                  <a:pt x="2772868" y="1145164"/>
                  <a:pt x="2776135" y="1148430"/>
                  <a:pt x="2776135" y="1152425"/>
                </a:cubicBezTo>
                <a:cubicBezTo>
                  <a:pt x="2776135" y="1156420"/>
                  <a:pt x="2772868" y="1159687"/>
                  <a:pt x="2768873" y="1159687"/>
                </a:cubicBezTo>
                <a:cubicBezTo>
                  <a:pt x="2764878" y="1159687"/>
                  <a:pt x="2761611" y="1156420"/>
                  <a:pt x="2761611" y="1152425"/>
                </a:cubicBezTo>
                <a:cubicBezTo>
                  <a:pt x="2761611" y="1148430"/>
                  <a:pt x="2764878" y="1145164"/>
                  <a:pt x="2768873" y="1145164"/>
                </a:cubicBezTo>
                <a:close/>
                <a:moveTo>
                  <a:pt x="2922454" y="1142983"/>
                </a:moveTo>
                <a:cubicBezTo>
                  <a:pt x="2927539" y="1142983"/>
                  <a:pt x="2931534" y="1146978"/>
                  <a:pt x="2931534" y="1152059"/>
                </a:cubicBezTo>
                <a:cubicBezTo>
                  <a:pt x="2931534" y="1157144"/>
                  <a:pt x="2927539" y="1161139"/>
                  <a:pt x="2922454" y="1161139"/>
                </a:cubicBezTo>
                <a:cubicBezTo>
                  <a:pt x="2917373" y="1161139"/>
                  <a:pt x="2913378" y="1157144"/>
                  <a:pt x="2913378" y="1152059"/>
                </a:cubicBezTo>
                <a:cubicBezTo>
                  <a:pt x="2913378" y="1146978"/>
                  <a:pt x="2917373" y="1142983"/>
                  <a:pt x="2922454" y="1142983"/>
                </a:cubicBezTo>
                <a:close/>
                <a:moveTo>
                  <a:pt x="3076406" y="1142259"/>
                </a:moveTo>
                <a:cubicBezTo>
                  <a:pt x="3081853" y="1142259"/>
                  <a:pt x="3086572" y="1146978"/>
                  <a:pt x="3086572" y="1152425"/>
                </a:cubicBezTo>
                <a:cubicBezTo>
                  <a:pt x="3086572" y="1157872"/>
                  <a:pt x="3082215" y="1162592"/>
                  <a:pt x="3076406" y="1162592"/>
                </a:cubicBezTo>
                <a:cubicBezTo>
                  <a:pt x="3070958" y="1162592"/>
                  <a:pt x="3066239" y="1157872"/>
                  <a:pt x="3066239" y="1152425"/>
                </a:cubicBezTo>
                <a:cubicBezTo>
                  <a:pt x="3066239" y="1146978"/>
                  <a:pt x="3070958" y="1142259"/>
                  <a:pt x="3076406" y="1142259"/>
                </a:cubicBezTo>
                <a:close/>
                <a:moveTo>
                  <a:pt x="3230349" y="1140444"/>
                </a:moveTo>
                <a:cubicBezTo>
                  <a:pt x="3236886" y="1140444"/>
                  <a:pt x="3242334" y="1145892"/>
                  <a:pt x="3242334" y="1152425"/>
                </a:cubicBezTo>
                <a:cubicBezTo>
                  <a:pt x="3242334" y="1158963"/>
                  <a:pt x="3236886" y="1164406"/>
                  <a:pt x="3230349" y="1164406"/>
                </a:cubicBezTo>
                <a:cubicBezTo>
                  <a:pt x="3223816" y="1164406"/>
                  <a:pt x="3218368" y="1158963"/>
                  <a:pt x="3218368" y="1152425"/>
                </a:cubicBezTo>
                <a:cubicBezTo>
                  <a:pt x="3218368" y="1145892"/>
                  <a:pt x="3223816" y="1140444"/>
                  <a:pt x="3230349" y="1140444"/>
                </a:cubicBezTo>
                <a:close/>
                <a:moveTo>
                  <a:pt x="3383934" y="1138264"/>
                </a:moveTo>
                <a:cubicBezTo>
                  <a:pt x="3391562" y="1138264"/>
                  <a:pt x="3397733" y="1144435"/>
                  <a:pt x="3397733" y="1152059"/>
                </a:cubicBezTo>
                <a:cubicBezTo>
                  <a:pt x="3397733" y="1159687"/>
                  <a:pt x="3391562" y="1165858"/>
                  <a:pt x="3383934" y="1165858"/>
                </a:cubicBezTo>
                <a:cubicBezTo>
                  <a:pt x="3376310" y="1165858"/>
                  <a:pt x="3370139" y="1159687"/>
                  <a:pt x="3370139" y="1152059"/>
                </a:cubicBezTo>
                <a:cubicBezTo>
                  <a:pt x="3370139" y="1144435"/>
                  <a:pt x="3376310" y="1138264"/>
                  <a:pt x="3383934" y="1138264"/>
                </a:cubicBezTo>
                <a:close/>
                <a:moveTo>
                  <a:pt x="3537882" y="1137178"/>
                </a:moveTo>
                <a:cubicBezTo>
                  <a:pt x="3546306" y="1137178"/>
                  <a:pt x="3553133" y="1144005"/>
                  <a:pt x="3553133" y="1152425"/>
                </a:cubicBezTo>
                <a:cubicBezTo>
                  <a:pt x="3553133" y="1160849"/>
                  <a:pt x="3546306" y="1167677"/>
                  <a:pt x="3537882" y="1167677"/>
                </a:cubicBezTo>
                <a:cubicBezTo>
                  <a:pt x="3529461" y="1167677"/>
                  <a:pt x="3522634" y="1160849"/>
                  <a:pt x="3522634" y="1152425"/>
                </a:cubicBezTo>
                <a:cubicBezTo>
                  <a:pt x="3522634" y="1144005"/>
                  <a:pt x="3529461" y="1137178"/>
                  <a:pt x="3537882" y="1137178"/>
                </a:cubicBezTo>
                <a:close/>
                <a:moveTo>
                  <a:pt x="3691467" y="1135359"/>
                </a:moveTo>
                <a:cubicBezTo>
                  <a:pt x="3700905" y="1135359"/>
                  <a:pt x="3708533" y="1142983"/>
                  <a:pt x="3708533" y="1152425"/>
                </a:cubicBezTo>
                <a:cubicBezTo>
                  <a:pt x="3708533" y="1161863"/>
                  <a:pt x="3700905" y="1169487"/>
                  <a:pt x="3691467" y="1169487"/>
                </a:cubicBezTo>
                <a:cubicBezTo>
                  <a:pt x="3682025" y="1169487"/>
                  <a:pt x="3674401" y="1161863"/>
                  <a:pt x="3674401" y="1152425"/>
                </a:cubicBezTo>
                <a:cubicBezTo>
                  <a:pt x="3674401" y="1142983"/>
                  <a:pt x="3682025" y="1135359"/>
                  <a:pt x="3691467" y="1135359"/>
                </a:cubicBezTo>
                <a:close/>
                <a:moveTo>
                  <a:pt x="3845414" y="1133183"/>
                </a:moveTo>
                <a:cubicBezTo>
                  <a:pt x="3856046" y="1133183"/>
                  <a:pt x="3864661" y="1141798"/>
                  <a:pt x="3864661" y="1152425"/>
                </a:cubicBezTo>
                <a:cubicBezTo>
                  <a:pt x="3864661" y="1163053"/>
                  <a:pt x="3856046" y="1171672"/>
                  <a:pt x="3845414" y="1171672"/>
                </a:cubicBezTo>
                <a:cubicBezTo>
                  <a:pt x="3834787" y="1171672"/>
                  <a:pt x="3826172" y="1163053"/>
                  <a:pt x="3826172" y="1152425"/>
                </a:cubicBezTo>
                <a:cubicBezTo>
                  <a:pt x="3826172" y="1141798"/>
                  <a:pt x="3834787" y="1133183"/>
                  <a:pt x="3845414" y="1133183"/>
                </a:cubicBezTo>
                <a:close/>
                <a:moveTo>
                  <a:pt x="3999000" y="1131002"/>
                </a:moveTo>
                <a:cubicBezTo>
                  <a:pt x="4010832" y="1131002"/>
                  <a:pt x="4020422" y="1140593"/>
                  <a:pt x="4020422" y="1152425"/>
                </a:cubicBezTo>
                <a:cubicBezTo>
                  <a:pt x="4020422" y="1164254"/>
                  <a:pt x="4010832" y="1173844"/>
                  <a:pt x="3999000" y="1173844"/>
                </a:cubicBezTo>
                <a:cubicBezTo>
                  <a:pt x="3987168" y="1173844"/>
                  <a:pt x="3977577" y="1164254"/>
                  <a:pt x="3977577" y="1152425"/>
                </a:cubicBezTo>
                <a:cubicBezTo>
                  <a:pt x="3977577" y="1140593"/>
                  <a:pt x="3987168" y="1131002"/>
                  <a:pt x="3999000" y="1131002"/>
                </a:cubicBezTo>
                <a:close/>
                <a:moveTo>
                  <a:pt x="4152947" y="1129550"/>
                </a:moveTo>
                <a:cubicBezTo>
                  <a:pt x="4165580" y="1129550"/>
                  <a:pt x="4175822" y="1139792"/>
                  <a:pt x="4175822" y="1152425"/>
                </a:cubicBezTo>
                <a:cubicBezTo>
                  <a:pt x="4175822" y="1165058"/>
                  <a:pt x="4165580" y="1175297"/>
                  <a:pt x="4152947" y="1175297"/>
                </a:cubicBezTo>
                <a:cubicBezTo>
                  <a:pt x="4140314" y="1175297"/>
                  <a:pt x="4130072" y="1165058"/>
                  <a:pt x="4130072" y="1152425"/>
                </a:cubicBezTo>
                <a:cubicBezTo>
                  <a:pt x="4130072" y="1139792"/>
                  <a:pt x="4140314" y="1129550"/>
                  <a:pt x="4152947" y="1129550"/>
                </a:cubicBezTo>
                <a:close/>
                <a:moveTo>
                  <a:pt x="4306532" y="1127373"/>
                </a:moveTo>
                <a:cubicBezTo>
                  <a:pt x="4320370" y="1127373"/>
                  <a:pt x="4331584" y="1138588"/>
                  <a:pt x="4331584" y="1152425"/>
                </a:cubicBezTo>
                <a:cubicBezTo>
                  <a:pt x="4331584" y="1166262"/>
                  <a:pt x="4320370" y="1177481"/>
                  <a:pt x="4306532" y="1177481"/>
                </a:cubicBezTo>
                <a:cubicBezTo>
                  <a:pt x="4292695" y="1177481"/>
                  <a:pt x="4281480" y="1166262"/>
                  <a:pt x="4281480" y="1152425"/>
                </a:cubicBezTo>
                <a:cubicBezTo>
                  <a:pt x="4281480" y="1138588"/>
                  <a:pt x="4292695" y="1127373"/>
                  <a:pt x="4306532" y="1127373"/>
                </a:cubicBezTo>
                <a:close/>
                <a:moveTo>
                  <a:pt x="4460480" y="1125193"/>
                </a:moveTo>
                <a:cubicBezTo>
                  <a:pt x="4475365" y="1125193"/>
                  <a:pt x="4487712" y="1137540"/>
                  <a:pt x="4487712" y="1152425"/>
                </a:cubicBezTo>
                <a:cubicBezTo>
                  <a:pt x="4487712" y="1167311"/>
                  <a:pt x="4475728" y="1179657"/>
                  <a:pt x="4460480" y="1179657"/>
                </a:cubicBezTo>
                <a:cubicBezTo>
                  <a:pt x="4445590" y="1179657"/>
                  <a:pt x="4433248" y="1167311"/>
                  <a:pt x="4433248" y="1152425"/>
                </a:cubicBezTo>
                <a:cubicBezTo>
                  <a:pt x="4433248" y="1137540"/>
                  <a:pt x="4445590" y="1125193"/>
                  <a:pt x="4460480" y="1125193"/>
                </a:cubicBezTo>
                <a:close/>
                <a:moveTo>
                  <a:pt x="4614061" y="1122654"/>
                </a:moveTo>
                <a:cubicBezTo>
                  <a:pt x="4630506" y="1122654"/>
                  <a:pt x="4643836" y="1135985"/>
                  <a:pt x="4643836" y="1152425"/>
                </a:cubicBezTo>
                <a:cubicBezTo>
                  <a:pt x="4643836" y="1168870"/>
                  <a:pt x="4630506" y="1182200"/>
                  <a:pt x="4614061" y="1182200"/>
                </a:cubicBezTo>
                <a:cubicBezTo>
                  <a:pt x="4597620" y="1182200"/>
                  <a:pt x="4584290" y="1168870"/>
                  <a:pt x="4584290" y="1152429"/>
                </a:cubicBezTo>
                <a:cubicBezTo>
                  <a:pt x="4584290" y="1135985"/>
                  <a:pt x="4597620" y="1122654"/>
                  <a:pt x="4614061" y="1122654"/>
                </a:cubicBezTo>
                <a:close/>
                <a:moveTo>
                  <a:pt x="4768012" y="1120474"/>
                </a:moveTo>
                <a:cubicBezTo>
                  <a:pt x="4785802" y="1120474"/>
                  <a:pt x="4799964" y="1134635"/>
                  <a:pt x="4799964" y="1152425"/>
                </a:cubicBezTo>
                <a:cubicBezTo>
                  <a:pt x="4799964" y="1170215"/>
                  <a:pt x="4785802" y="1184377"/>
                  <a:pt x="4768012" y="1184377"/>
                </a:cubicBezTo>
                <a:cubicBezTo>
                  <a:pt x="4750222" y="1184377"/>
                  <a:pt x="4736061" y="1170215"/>
                  <a:pt x="4736061" y="1152425"/>
                </a:cubicBezTo>
                <a:cubicBezTo>
                  <a:pt x="4736061" y="1134635"/>
                  <a:pt x="4750222" y="1120474"/>
                  <a:pt x="4768012" y="1120474"/>
                </a:cubicBezTo>
                <a:close/>
                <a:moveTo>
                  <a:pt x="4921594" y="1118659"/>
                </a:moveTo>
                <a:cubicBezTo>
                  <a:pt x="4940246" y="1118659"/>
                  <a:pt x="4955364" y="1133777"/>
                  <a:pt x="4955364" y="1152425"/>
                </a:cubicBezTo>
                <a:cubicBezTo>
                  <a:pt x="4955364" y="1171077"/>
                  <a:pt x="4940246" y="1186191"/>
                  <a:pt x="4921594" y="1186191"/>
                </a:cubicBezTo>
                <a:cubicBezTo>
                  <a:pt x="4902946" y="1186191"/>
                  <a:pt x="4887828" y="1171077"/>
                  <a:pt x="4887828" y="1152425"/>
                </a:cubicBezTo>
                <a:cubicBezTo>
                  <a:pt x="4887828" y="1133777"/>
                  <a:pt x="4902946" y="1118659"/>
                  <a:pt x="4921594" y="1118659"/>
                </a:cubicBezTo>
                <a:close/>
                <a:moveTo>
                  <a:pt x="5075541" y="1116117"/>
                </a:moveTo>
                <a:cubicBezTo>
                  <a:pt x="5095512" y="1116117"/>
                  <a:pt x="5111850" y="1132455"/>
                  <a:pt x="5111850" y="1152425"/>
                </a:cubicBezTo>
                <a:cubicBezTo>
                  <a:pt x="5111850" y="1172396"/>
                  <a:pt x="5095512" y="1188734"/>
                  <a:pt x="5075541" y="1188734"/>
                </a:cubicBezTo>
                <a:cubicBezTo>
                  <a:pt x="5055570" y="1188734"/>
                  <a:pt x="5039233" y="1172396"/>
                  <a:pt x="5039233" y="1152425"/>
                </a:cubicBezTo>
                <a:cubicBezTo>
                  <a:pt x="5039233" y="1132455"/>
                  <a:pt x="5055570" y="1116117"/>
                  <a:pt x="5075541" y="1116117"/>
                </a:cubicBezTo>
                <a:close/>
                <a:moveTo>
                  <a:pt x="5229126" y="1113574"/>
                </a:moveTo>
                <a:cubicBezTo>
                  <a:pt x="5250550" y="1113574"/>
                  <a:pt x="5267978" y="1131002"/>
                  <a:pt x="5267978" y="1152425"/>
                </a:cubicBezTo>
                <a:cubicBezTo>
                  <a:pt x="5267978" y="1173848"/>
                  <a:pt x="5250550" y="1191276"/>
                  <a:pt x="5229126" y="1191276"/>
                </a:cubicBezTo>
                <a:cubicBezTo>
                  <a:pt x="5207704" y="1191276"/>
                  <a:pt x="5190276" y="1173848"/>
                  <a:pt x="5190276" y="1152425"/>
                </a:cubicBezTo>
                <a:cubicBezTo>
                  <a:pt x="5190276" y="1131002"/>
                  <a:pt x="5207704" y="1113574"/>
                  <a:pt x="5229126" y="1113574"/>
                </a:cubicBezTo>
                <a:close/>
                <a:moveTo>
                  <a:pt x="5383074" y="1111036"/>
                </a:moveTo>
                <a:cubicBezTo>
                  <a:pt x="5405949" y="1111036"/>
                  <a:pt x="5424102" y="1129192"/>
                  <a:pt x="5424102" y="1152063"/>
                </a:cubicBezTo>
                <a:cubicBezTo>
                  <a:pt x="5424102" y="1174938"/>
                  <a:pt x="5405587" y="1193094"/>
                  <a:pt x="5383074" y="1193094"/>
                </a:cubicBezTo>
                <a:cubicBezTo>
                  <a:pt x="5360202" y="1193094"/>
                  <a:pt x="5342046" y="1174938"/>
                  <a:pt x="5342046" y="1152063"/>
                </a:cubicBezTo>
                <a:cubicBezTo>
                  <a:pt x="5342046" y="1129192"/>
                  <a:pt x="5360202" y="1111036"/>
                  <a:pt x="5383074" y="1111036"/>
                </a:cubicBezTo>
                <a:close/>
                <a:moveTo>
                  <a:pt x="5536659" y="1108855"/>
                </a:moveTo>
                <a:cubicBezTo>
                  <a:pt x="5560620" y="1108855"/>
                  <a:pt x="5580229" y="1128460"/>
                  <a:pt x="5580229" y="1152425"/>
                </a:cubicBezTo>
                <a:cubicBezTo>
                  <a:pt x="5580229" y="1176391"/>
                  <a:pt x="5560620" y="1195995"/>
                  <a:pt x="5536659" y="1195995"/>
                </a:cubicBezTo>
                <a:cubicBezTo>
                  <a:pt x="5512694" y="1195995"/>
                  <a:pt x="5493089" y="1176391"/>
                  <a:pt x="5493089" y="1152425"/>
                </a:cubicBezTo>
                <a:cubicBezTo>
                  <a:pt x="5493089" y="1128460"/>
                  <a:pt x="5512694" y="1108855"/>
                  <a:pt x="5536659" y="1108855"/>
                </a:cubicBezTo>
                <a:close/>
                <a:moveTo>
                  <a:pt x="5690602" y="1106313"/>
                </a:moveTo>
                <a:cubicBezTo>
                  <a:pt x="5716070" y="1106313"/>
                  <a:pt x="5736716" y="1126958"/>
                  <a:pt x="5736716" y="1152425"/>
                </a:cubicBezTo>
                <a:cubicBezTo>
                  <a:pt x="5736716" y="1177893"/>
                  <a:pt x="5716070" y="1198534"/>
                  <a:pt x="5690602" y="1198534"/>
                </a:cubicBezTo>
                <a:cubicBezTo>
                  <a:pt x="5665136" y="1198534"/>
                  <a:pt x="5644490" y="1177893"/>
                  <a:pt x="5644490" y="1152425"/>
                </a:cubicBezTo>
                <a:cubicBezTo>
                  <a:pt x="5644490" y="1126958"/>
                  <a:pt x="5665136" y="1106313"/>
                  <a:pt x="5690602" y="1106313"/>
                </a:cubicBezTo>
                <a:close/>
                <a:moveTo>
                  <a:pt x="5844554" y="1103770"/>
                </a:moveTo>
                <a:cubicBezTo>
                  <a:pt x="5871420" y="1103770"/>
                  <a:pt x="5893205" y="1125555"/>
                  <a:pt x="5893205" y="1152425"/>
                </a:cubicBezTo>
                <a:cubicBezTo>
                  <a:pt x="5893205" y="1179291"/>
                  <a:pt x="5871420" y="1201077"/>
                  <a:pt x="5844554" y="1201077"/>
                </a:cubicBezTo>
                <a:cubicBezTo>
                  <a:pt x="5817684" y="1201077"/>
                  <a:pt x="5795899" y="1179291"/>
                  <a:pt x="5795899" y="1152425"/>
                </a:cubicBezTo>
                <a:cubicBezTo>
                  <a:pt x="5795899" y="1125555"/>
                  <a:pt x="5817684" y="1103770"/>
                  <a:pt x="5844554" y="1103770"/>
                </a:cubicBezTo>
                <a:close/>
                <a:moveTo>
                  <a:pt x="5998136" y="1101231"/>
                </a:moveTo>
                <a:cubicBezTo>
                  <a:pt x="6026458" y="1101231"/>
                  <a:pt x="6049333" y="1124107"/>
                  <a:pt x="6049333" y="1152425"/>
                </a:cubicBezTo>
                <a:cubicBezTo>
                  <a:pt x="6049333" y="1180748"/>
                  <a:pt x="6026458" y="1203623"/>
                  <a:pt x="5998136" y="1203623"/>
                </a:cubicBezTo>
                <a:cubicBezTo>
                  <a:pt x="5969817" y="1203623"/>
                  <a:pt x="5946942" y="1180748"/>
                  <a:pt x="5946942" y="1152425"/>
                </a:cubicBezTo>
                <a:cubicBezTo>
                  <a:pt x="5946942" y="1124107"/>
                  <a:pt x="5969817" y="1101231"/>
                  <a:pt x="5998136" y="1101231"/>
                </a:cubicBezTo>
                <a:close/>
                <a:moveTo>
                  <a:pt x="6152083" y="1099051"/>
                </a:moveTo>
                <a:cubicBezTo>
                  <a:pt x="6181496" y="1099051"/>
                  <a:pt x="6205461" y="1123013"/>
                  <a:pt x="6205461" y="1152425"/>
                </a:cubicBezTo>
                <a:cubicBezTo>
                  <a:pt x="6205461" y="1181834"/>
                  <a:pt x="6181496" y="1205796"/>
                  <a:pt x="6152083" y="1205796"/>
                </a:cubicBezTo>
                <a:cubicBezTo>
                  <a:pt x="6122674" y="1205796"/>
                  <a:pt x="6098712" y="1181834"/>
                  <a:pt x="6098712" y="1152425"/>
                </a:cubicBezTo>
                <a:cubicBezTo>
                  <a:pt x="6098712" y="1123013"/>
                  <a:pt x="6122674" y="1099051"/>
                  <a:pt x="6152083" y="1099051"/>
                </a:cubicBezTo>
                <a:close/>
                <a:moveTo>
                  <a:pt x="6305672" y="1096146"/>
                </a:moveTo>
                <a:cubicBezTo>
                  <a:pt x="6336895" y="1096146"/>
                  <a:pt x="6361947" y="1121198"/>
                  <a:pt x="6361947" y="1152425"/>
                </a:cubicBezTo>
                <a:cubicBezTo>
                  <a:pt x="6361947" y="1183648"/>
                  <a:pt x="6336895" y="1208704"/>
                  <a:pt x="6305672" y="1208704"/>
                </a:cubicBezTo>
                <a:cubicBezTo>
                  <a:pt x="6274445" y="1208704"/>
                  <a:pt x="6249393" y="1183648"/>
                  <a:pt x="6249393" y="1152425"/>
                </a:cubicBezTo>
                <a:cubicBezTo>
                  <a:pt x="6249393" y="1121198"/>
                  <a:pt x="6274445" y="1096146"/>
                  <a:pt x="6305672" y="1096146"/>
                </a:cubicBezTo>
                <a:close/>
                <a:moveTo>
                  <a:pt x="6459616" y="1093608"/>
                </a:moveTo>
                <a:cubicBezTo>
                  <a:pt x="6491932" y="1093608"/>
                  <a:pt x="6518437" y="1120112"/>
                  <a:pt x="6518437" y="1152425"/>
                </a:cubicBezTo>
                <a:cubicBezTo>
                  <a:pt x="6518437" y="1184743"/>
                  <a:pt x="6492295" y="1211247"/>
                  <a:pt x="6459616" y="1211247"/>
                </a:cubicBezTo>
                <a:cubicBezTo>
                  <a:pt x="6427302" y="1211247"/>
                  <a:pt x="6400798" y="1184743"/>
                  <a:pt x="6400798" y="1152425"/>
                </a:cubicBezTo>
                <a:cubicBezTo>
                  <a:pt x="6400798" y="1120112"/>
                  <a:pt x="6427302" y="1093608"/>
                  <a:pt x="6459616" y="1093608"/>
                </a:cubicBezTo>
                <a:close/>
                <a:moveTo>
                  <a:pt x="6613200" y="1090703"/>
                </a:moveTo>
                <a:cubicBezTo>
                  <a:pt x="6647328" y="1090703"/>
                  <a:pt x="6674923" y="1118297"/>
                  <a:pt x="6674923" y="1152425"/>
                </a:cubicBezTo>
                <a:cubicBezTo>
                  <a:pt x="6674923" y="1186557"/>
                  <a:pt x="6647328" y="1214151"/>
                  <a:pt x="6613200" y="1214151"/>
                </a:cubicBezTo>
                <a:cubicBezTo>
                  <a:pt x="6579069" y="1214151"/>
                  <a:pt x="6551474" y="1186557"/>
                  <a:pt x="6551474" y="1152425"/>
                </a:cubicBezTo>
                <a:cubicBezTo>
                  <a:pt x="6551474" y="1118297"/>
                  <a:pt x="6579069" y="1090703"/>
                  <a:pt x="6613200" y="1090703"/>
                </a:cubicBezTo>
                <a:close/>
                <a:moveTo>
                  <a:pt x="1692331" y="998116"/>
                </a:moveTo>
                <a:cubicBezTo>
                  <a:pt x="1692694" y="998116"/>
                  <a:pt x="1692694" y="998116"/>
                  <a:pt x="1692694" y="998478"/>
                </a:cubicBezTo>
                <a:cubicBezTo>
                  <a:pt x="1692694" y="998844"/>
                  <a:pt x="1692331" y="998844"/>
                  <a:pt x="1692331" y="998844"/>
                </a:cubicBezTo>
                <a:cubicBezTo>
                  <a:pt x="1691969" y="998844"/>
                  <a:pt x="1691969" y="998844"/>
                  <a:pt x="1691969" y="998478"/>
                </a:cubicBezTo>
                <a:cubicBezTo>
                  <a:pt x="1691969" y="998116"/>
                  <a:pt x="1691969" y="998116"/>
                  <a:pt x="1692331" y="998116"/>
                </a:cubicBezTo>
                <a:close/>
                <a:moveTo>
                  <a:pt x="1231213" y="998116"/>
                </a:moveTo>
                <a:cubicBezTo>
                  <a:pt x="1231576" y="998116"/>
                  <a:pt x="1231576" y="998116"/>
                  <a:pt x="1231576" y="998478"/>
                </a:cubicBezTo>
                <a:cubicBezTo>
                  <a:pt x="1231576" y="998844"/>
                  <a:pt x="1231213" y="998844"/>
                  <a:pt x="1231213" y="998844"/>
                </a:cubicBezTo>
                <a:cubicBezTo>
                  <a:pt x="1230851" y="998844"/>
                  <a:pt x="1230851" y="998844"/>
                  <a:pt x="1230851" y="998478"/>
                </a:cubicBezTo>
                <a:cubicBezTo>
                  <a:pt x="1230851" y="998116"/>
                  <a:pt x="1230851" y="998116"/>
                  <a:pt x="1231213" y="998116"/>
                </a:cubicBezTo>
                <a:close/>
                <a:moveTo>
                  <a:pt x="1077266" y="998116"/>
                </a:moveTo>
                <a:cubicBezTo>
                  <a:pt x="1077628" y="998116"/>
                  <a:pt x="1077628" y="998116"/>
                  <a:pt x="1077628" y="998478"/>
                </a:cubicBezTo>
                <a:cubicBezTo>
                  <a:pt x="1077628" y="998844"/>
                  <a:pt x="1077266" y="998844"/>
                  <a:pt x="1077266" y="998844"/>
                </a:cubicBezTo>
                <a:cubicBezTo>
                  <a:pt x="1076904" y="998844"/>
                  <a:pt x="1076904" y="998844"/>
                  <a:pt x="1076904" y="998478"/>
                </a:cubicBezTo>
                <a:cubicBezTo>
                  <a:pt x="1076904" y="998116"/>
                  <a:pt x="1076904" y="998116"/>
                  <a:pt x="1077266" y="998116"/>
                </a:cubicBezTo>
                <a:close/>
                <a:moveTo>
                  <a:pt x="923685" y="997754"/>
                </a:moveTo>
                <a:cubicBezTo>
                  <a:pt x="924085" y="997754"/>
                  <a:pt x="924409" y="998077"/>
                  <a:pt x="924409" y="998482"/>
                </a:cubicBezTo>
                <a:cubicBezTo>
                  <a:pt x="924409" y="998882"/>
                  <a:pt x="924085" y="999206"/>
                  <a:pt x="923685" y="999206"/>
                </a:cubicBezTo>
                <a:cubicBezTo>
                  <a:pt x="923281" y="999206"/>
                  <a:pt x="922957" y="998882"/>
                  <a:pt x="922957" y="998482"/>
                </a:cubicBezTo>
                <a:cubicBezTo>
                  <a:pt x="922957" y="998077"/>
                  <a:pt x="923281" y="997754"/>
                  <a:pt x="923685" y="997754"/>
                </a:cubicBezTo>
                <a:close/>
                <a:moveTo>
                  <a:pt x="1846279" y="997025"/>
                </a:moveTo>
                <a:cubicBezTo>
                  <a:pt x="1847003" y="997025"/>
                  <a:pt x="1847731" y="997754"/>
                  <a:pt x="1847731" y="998478"/>
                </a:cubicBezTo>
                <a:cubicBezTo>
                  <a:pt x="1847731" y="999206"/>
                  <a:pt x="1846279" y="999930"/>
                  <a:pt x="1846279" y="999930"/>
                </a:cubicBezTo>
                <a:cubicBezTo>
                  <a:pt x="1845551" y="999930"/>
                  <a:pt x="1844826" y="999206"/>
                  <a:pt x="1844826" y="998478"/>
                </a:cubicBezTo>
                <a:cubicBezTo>
                  <a:pt x="1844826" y="997754"/>
                  <a:pt x="1845551" y="997025"/>
                  <a:pt x="1846279" y="997025"/>
                </a:cubicBezTo>
                <a:close/>
                <a:moveTo>
                  <a:pt x="1999860" y="996301"/>
                </a:moveTo>
                <a:cubicBezTo>
                  <a:pt x="2000950" y="996301"/>
                  <a:pt x="2002041" y="997391"/>
                  <a:pt x="2002041" y="998478"/>
                </a:cubicBezTo>
                <a:cubicBezTo>
                  <a:pt x="2002041" y="999568"/>
                  <a:pt x="1999860" y="1000658"/>
                  <a:pt x="1999860" y="1000658"/>
                </a:cubicBezTo>
                <a:cubicBezTo>
                  <a:pt x="1998774" y="1000658"/>
                  <a:pt x="1997684" y="999568"/>
                  <a:pt x="1997684" y="998478"/>
                </a:cubicBezTo>
                <a:cubicBezTo>
                  <a:pt x="1997684" y="997391"/>
                  <a:pt x="1998774" y="996301"/>
                  <a:pt x="1999860" y="996301"/>
                </a:cubicBezTo>
                <a:close/>
                <a:moveTo>
                  <a:pt x="2153808" y="995573"/>
                </a:moveTo>
                <a:cubicBezTo>
                  <a:pt x="2155622" y="995573"/>
                  <a:pt x="2157074" y="997025"/>
                  <a:pt x="2157074" y="998840"/>
                </a:cubicBezTo>
                <a:cubicBezTo>
                  <a:pt x="2157074" y="1000654"/>
                  <a:pt x="2155622" y="1002110"/>
                  <a:pt x="2153808" y="1002110"/>
                </a:cubicBezTo>
                <a:cubicBezTo>
                  <a:pt x="2151993" y="1002110"/>
                  <a:pt x="2150541" y="1000654"/>
                  <a:pt x="2150541" y="998840"/>
                </a:cubicBezTo>
                <a:cubicBezTo>
                  <a:pt x="2150541" y="997025"/>
                  <a:pt x="2151993" y="995573"/>
                  <a:pt x="2153808" y="995573"/>
                </a:cubicBezTo>
                <a:close/>
                <a:moveTo>
                  <a:pt x="2307393" y="994121"/>
                </a:moveTo>
                <a:cubicBezTo>
                  <a:pt x="2309935" y="994121"/>
                  <a:pt x="2311750" y="995935"/>
                  <a:pt x="2311750" y="998478"/>
                </a:cubicBezTo>
                <a:cubicBezTo>
                  <a:pt x="2311750" y="1001020"/>
                  <a:pt x="2309569" y="1002835"/>
                  <a:pt x="2307393" y="1002835"/>
                </a:cubicBezTo>
                <a:cubicBezTo>
                  <a:pt x="2304850" y="1002835"/>
                  <a:pt x="2303036" y="1001020"/>
                  <a:pt x="2303036" y="998478"/>
                </a:cubicBezTo>
                <a:cubicBezTo>
                  <a:pt x="2303036" y="995935"/>
                  <a:pt x="2304850" y="994121"/>
                  <a:pt x="2307393" y="994121"/>
                </a:cubicBezTo>
                <a:close/>
                <a:moveTo>
                  <a:pt x="2461340" y="993031"/>
                </a:moveTo>
                <a:cubicBezTo>
                  <a:pt x="2464607" y="993031"/>
                  <a:pt x="2467150" y="995573"/>
                  <a:pt x="2467150" y="998840"/>
                </a:cubicBezTo>
                <a:cubicBezTo>
                  <a:pt x="2467150" y="1002107"/>
                  <a:pt x="2464607" y="1004649"/>
                  <a:pt x="2461340" y="1004649"/>
                </a:cubicBezTo>
                <a:cubicBezTo>
                  <a:pt x="2458073" y="1004649"/>
                  <a:pt x="2455531" y="1002107"/>
                  <a:pt x="2455531" y="998840"/>
                </a:cubicBezTo>
                <a:cubicBezTo>
                  <a:pt x="2455531" y="995573"/>
                  <a:pt x="2458073" y="993031"/>
                  <a:pt x="2461340" y="993031"/>
                </a:cubicBezTo>
                <a:close/>
                <a:moveTo>
                  <a:pt x="2614925" y="991216"/>
                </a:moveTo>
                <a:cubicBezTo>
                  <a:pt x="2618920" y="991216"/>
                  <a:pt x="2622187" y="994483"/>
                  <a:pt x="2622187" y="998478"/>
                </a:cubicBezTo>
                <a:cubicBezTo>
                  <a:pt x="2622187" y="1002473"/>
                  <a:pt x="2618920" y="1005739"/>
                  <a:pt x="2614925" y="1005739"/>
                </a:cubicBezTo>
                <a:cubicBezTo>
                  <a:pt x="2610931" y="1005739"/>
                  <a:pt x="2607664" y="1002473"/>
                  <a:pt x="2607664" y="998478"/>
                </a:cubicBezTo>
                <a:cubicBezTo>
                  <a:pt x="2607664" y="994483"/>
                  <a:pt x="2610931" y="991216"/>
                  <a:pt x="2614925" y="991216"/>
                </a:cubicBezTo>
                <a:close/>
                <a:moveTo>
                  <a:pt x="2768873" y="989402"/>
                </a:moveTo>
                <a:cubicBezTo>
                  <a:pt x="2773958" y="989402"/>
                  <a:pt x="2777953" y="993396"/>
                  <a:pt x="2777953" y="998478"/>
                </a:cubicBezTo>
                <a:cubicBezTo>
                  <a:pt x="2777953" y="1003563"/>
                  <a:pt x="2773958" y="1007558"/>
                  <a:pt x="2768873" y="1007558"/>
                </a:cubicBezTo>
                <a:cubicBezTo>
                  <a:pt x="2763792" y="1007558"/>
                  <a:pt x="2759797" y="1003563"/>
                  <a:pt x="2759797" y="998478"/>
                </a:cubicBezTo>
                <a:cubicBezTo>
                  <a:pt x="2759797" y="993396"/>
                  <a:pt x="2763792" y="989402"/>
                  <a:pt x="2768873" y="989402"/>
                </a:cubicBezTo>
                <a:close/>
                <a:moveTo>
                  <a:pt x="2922458" y="988311"/>
                </a:moveTo>
                <a:cubicBezTo>
                  <a:pt x="2927905" y="988311"/>
                  <a:pt x="2932624" y="993031"/>
                  <a:pt x="2932624" y="998478"/>
                </a:cubicBezTo>
                <a:cubicBezTo>
                  <a:pt x="2932624" y="1003925"/>
                  <a:pt x="2928267" y="1008644"/>
                  <a:pt x="2922458" y="1008644"/>
                </a:cubicBezTo>
                <a:cubicBezTo>
                  <a:pt x="2917011" y="1008644"/>
                  <a:pt x="2912292" y="1003925"/>
                  <a:pt x="2912292" y="998478"/>
                </a:cubicBezTo>
                <a:cubicBezTo>
                  <a:pt x="2912292" y="993031"/>
                  <a:pt x="2917011" y="988311"/>
                  <a:pt x="2922458" y="988311"/>
                </a:cubicBezTo>
                <a:close/>
                <a:moveTo>
                  <a:pt x="3076402" y="986497"/>
                </a:moveTo>
                <a:cubicBezTo>
                  <a:pt x="3082939" y="986497"/>
                  <a:pt x="3088386" y="991944"/>
                  <a:pt x="3088386" y="998478"/>
                </a:cubicBezTo>
                <a:cubicBezTo>
                  <a:pt x="3088386" y="1005015"/>
                  <a:pt x="3082939" y="1010459"/>
                  <a:pt x="3076402" y="1010459"/>
                </a:cubicBezTo>
                <a:cubicBezTo>
                  <a:pt x="3069868" y="1010459"/>
                  <a:pt x="3064421" y="1005015"/>
                  <a:pt x="3064421" y="998478"/>
                </a:cubicBezTo>
                <a:cubicBezTo>
                  <a:pt x="3064421" y="991944"/>
                  <a:pt x="3069868" y="986497"/>
                  <a:pt x="3076402" y="986497"/>
                </a:cubicBezTo>
                <a:close/>
                <a:moveTo>
                  <a:pt x="3230353" y="984683"/>
                </a:moveTo>
                <a:cubicBezTo>
                  <a:pt x="3237973" y="984683"/>
                  <a:pt x="3244148" y="990862"/>
                  <a:pt x="3244148" y="998482"/>
                </a:cubicBezTo>
                <a:cubicBezTo>
                  <a:pt x="3244148" y="1006098"/>
                  <a:pt x="3237973" y="1012277"/>
                  <a:pt x="3230353" y="1012277"/>
                </a:cubicBezTo>
                <a:cubicBezTo>
                  <a:pt x="3222733" y="1012277"/>
                  <a:pt x="3216554" y="1006098"/>
                  <a:pt x="3216554" y="998482"/>
                </a:cubicBezTo>
                <a:cubicBezTo>
                  <a:pt x="3216554" y="990862"/>
                  <a:pt x="3222733" y="984683"/>
                  <a:pt x="3230353" y="984683"/>
                </a:cubicBezTo>
                <a:close/>
                <a:moveTo>
                  <a:pt x="3383934" y="983230"/>
                </a:moveTo>
                <a:cubicBezTo>
                  <a:pt x="3392358" y="983230"/>
                  <a:pt x="3399186" y="990057"/>
                  <a:pt x="3399186" y="998482"/>
                </a:cubicBezTo>
                <a:cubicBezTo>
                  <a:pt x="3399186" y="1006902"/>
                  <a:pt x="3392358" y="1013729"/>
                  <a:pt x="3383934" y="1013729"/>
                </a:cubicBezTo>
                <a:cubicBezTo>
                  <a:pt x="3375514" y="1013729"/>
                  <a:pt x="3368687" y="1006902"/>
                  <a:pt x="3368687" y="998482"/>
                </a:cubicBezTo>
                <a:cubicBezTo>
                  <a:pt x="3368687" y="990057"/>
                  <a:pt x="3375514" y="983230"/>
                  <a:pt x="3383934" y="983230"/>
                </a:cubicBezTo>
                <a:close/>
                <a:moveTo>
                  <a:pt x="3537886" y="981412"/>
                </a:moveTo>
                <a:cubicBezTo>
                  <a:pt x="3547324" y="981412"/>
                  <a:pt x="3554951" y="989036"/>
                  <a:pt x="3554951" y="998478"/>
                </a:cubicBezTo>
                <a:cubicBezTo>
                  <a:pt x="3554951" y="1007916"/>
                  <a:pt x="3547324" y="1015540"/>
                  <a:pt x="3537886" y="1015540"/>
                </a:cubicBezTo>
                <a:cubicBezTo>
                  <a:pt x="3528444" y="1015540"/>
                  <a:pt x="3520820" y="1007916"/>
                  <a:pt x="3520820" y="998478"/>
                </a:cubicBezTo>
                <a:cubicBezTo>
                  <a:pt x="3520820" y="989036"/>
                  <a:pt x="3528444" y="981412"/>
                  <a:pt x="3537886" y="981412"/>
                </a:cubicBezTo>
                <a:close/>
                <a:moveTo>
                  <a:pt x="3691467" y="979235"/>
                </a:moveTo>
                <a:cubicBezTo>
                  <a:pt x="3702094" y="979235"/>
                  <a:pt x="3710710" y="987850"/>
                  <a:pt x="3710710" y="998478"/>
                </a:cubicBezTo>
                <a:cubicBezTo>
                  <a:pt x="3710710" y="1009105"/>
                  <a:pt x="3702094" y="1017724"/>
                  <a:pt x="3691467" y="1017724"/>
                </a:cubicBezTo>
                <a:cubicBezTo>
                  <a:pt x="3680839" y="1017724"/>
                  <a:pt x="3672224" y="1009105"/>
                  <a:pt x="3672224" y="998478"/>
                </a:cubicBezTo>
                <a:cubicBezTo>
                  <a:pt x="3672224" y="987850"/>
                  <a:pt x="3680839" y="979235"/>
                  <a:pt x="3691467" y="979235"/>
                </a:cubicBezTo>
                <a:close/>
                <a:moveTo>
                  <a:pt x="3845418" y="977055"/>
                </a:moveTo>
                <a:cubicBezTo>
                  <a:pt x="3857246" y="977055"/>
                  <a:pt x="3866841" y="986646"/>
                  <a:pt x="3866841" y="998478"/>
                </a:cubicBezTo>
                <a:cubicBezTo>
                  <a:pt x="3866841" y="1010306"/>
                  <a:pt x="3857246" y="1019901"/>
                  <a:pt x="3845418" y="1019901"/>
                </a:cubicBezTo>
                <a:cubicBezTo>
                  <a:pt x="3833586" y="1019901"/>
                  <a:pt x="3823995" y="1010306"/>
                  <a:pt x="3823995" y="998478"/>
                </a:cubicBezTo>
                <a:cubicBezTo>
                  <a:pt x="3823995" y="986646"/>
                  <a:pt x="3833586" y="977055"/>
                  <a:pt x="3845418" y="977055"/>
                </a:cubicBezTo>
                <a:close/>
                <a:moveTo>
                  <a:pt x="3999000" y="975603"/>
                </a:moveTo>
                <a:cubicBezTo>
                  <a:pt x="4011632" y="975603"/>
                  <a:pt x="4021871" y="985845"/>
                  <a:pt x="4021871" y="998478"/>
                </a:cubicBezTo>
                <a:cubicBezTo>
                  <a:pt x="4021871" y="1011110"/>
                  <a:pt x="4011632" y="1021349"/>
                  <a:pt x="3999000" y="1021349"/>
                </a:cubicBezTo>
                <a:cubicBezTo>
                  <a:pt x="3986367" y="1021349"/>
                  <a:pt x="3976124" y="1011110"/>
                  <a:pt x="3976124" y="998478"/>
                </a:cubicBezTo>
                <a:cubicBezTo>
                  <a:pt x="3976124" y="985845"/>
                  <a:pt x="3986367" y="975603"/>
                  <a:pt x="3999000" y="975603"/>
                </a:cubicBezTo>
                <a:close/>
                <a:moveTo>
                  <a:pt x="4152947" y="973426"/>
                </a:moveTo>
                <a:cubicBezTo>
                  <a:pt x="4166784" y="973426"/>
                  <a:pt x="4178002" y="984641"/>
                  <a:pt x="4178002" y="998478"/>
                </a:cubicBezTo>
                <a:cubicBezTo>
                  <a:pt x="4178002" y="1012315"/>
                  <a:pt x="4166784" y="1023533"/>
                  <a:pt x="4152947" y="1023533"/>
                </a:cubicBezTo>
                <a:cubicBezTo>
                  <a:pt x="4139114" y="1023533"/>
                  <a:pt x="4127895" y="1012315"/>
                  <a:pt x="4127895" y="998478"/>
                </a:cubicBezTo>
                <a:cubicBezTo>
                  <a:pt x="4127895" y="984641"/>
                  <a:pt x="4139114" y="973426"/>
                  <a:pt x="4152947" y="973426"/>
                </a:cubicBezTo>
                <a:close/>
                <a:moveTo>
                  <a:pt x="4306532" y="971246"/>
                </a:moveTo>
                <a:cubicBezTo>
                  <a:pt x="4321418" y="971246"/>
                  <a:pt x="4333764" y="983592"/>
                  <a:pt x="4333764" y="998478"/>
                </a:cubicBezTo>
                <a:cubicBezTo>
                  <a:pt x="4333764" y="1013363"/>
                  <a:pt x="4321780" y="1025710"/>
                  <a:pt x="4306532" y="1025710"/>
                </a:cubicBezTo>
                <a:cubicBezTo>
                  <a:pt x="4291643" y="1025710"/>
                  <a:pt x="4279300" y="1013363"/>
                  <a:pt x="4279300" y="998478"/>
                </a:cubicBezTo>
                <a:cubicBezTo>
                  <a:pt x="4279300" y="983592"/>
                  <a:pt x="4291643" y="971246"/>
                  <a:pt x="4306532" y="971246"/>
                </a:cubicBezTo>
                <a:close/>
                <a:moveTo>
                  <a:pt x="4460476" y="968707"/>
                </a:moveTo>
                <a:cubicBezTo>
                  <a:pt x="4476920" y="968707"/>
                  <a:pt x="4490250" y="982037"/>
                  <a:pt x="4490250" y="998482"/>
                </a:cubicBezTo>
                <a:cubicBezTo>
                  <a:pt x="4490250" y="1014922"/>
                  <a:pt x="4476920" y="1028252"/>
                  <a:pt x="4460476" y="1028252"/>
                </a:cubicBezTo>
                <a:cubicBezTo>
                  <a:pt x="4444035" y="1028252"/>
                  <a:pt x="4430705" y="1014922"/>
                  <a:pt x="4430705" y="998482"/>
                </a:cubicBezTo>
                <a:cubicBezTo>
                  <a:pt x="4430705" y="982037"/>
                  <a:pt x="4444035" y="968707"/>
                  <a:pt x="4460476" y="968707"/>
                </a:cubicBezTo>
                <a:close/>
                <a:moveTo>
                  <a:pt x="4614061" y="966526"/>
                </a:moveTo>
                <a:cubicBezTo>
                  <a:pt x="4631852" y="966526"/>
                  <a:pt x="4646012" y="980688"/>
                  <a:pt x="4646012" y="998478"/>
                </a:cubicBezTo>
                <a:cubicBezTo>
                  <a:pt x="4646012" y="1016268"/>
                  <a:pt x="4631852" y="1030429"/>
                  <a:pt x="4614061" y="1030429"/>
                </a:cubicBezTo>
                <a:cubicBezTo>
                  <a:pt x="4596271" y="1030429"/>
                  <a:pt x="4582110" y="1016268"/>
                  <a:pt x="4582110" y="998478"/>
                </a:cubicBezTo>
                <a:cubicBezTo>
                  <a:pt x="4582110" y="980688"/>
                  <a:pt x="4596271" y="966526"/>
                  <a:pt x="4614061" y="966526"/>
                </a:cubicBezTo>
                <a:close/>
                <a:moveTo>
                  <a:pt x="4768008" y="964712"/>
                </a:moveTo>
                <a:cubicBezTo>
                  <a:pt x="4786656" y="964712"/>
                  <a:pt x="4801778" y="979830"/>
                  <a:pt x="4801778" y="998478"/>
                </a:cubicBezTo>
                <a:cubicBezTo>
                  <a:pt x="4801778" y="1017129"/>
                  <a:pt x="4786656" y="1032247"/>
                  <a:pt x="4768008" y="1032247"/>
                </a:cubicBezTo>
                <a:cubicBezTo>
                  <a:pt x="4749360" y="1032247"/>
                  <a:pt x="4734242" y="1017129"/>
                  <a:pt x="4734242" y="998478"/>
                </a:cubicBezTo>
                <a:cubicBezTo>
                  <a:pt x="4734242" y="979830"/>
                  <a:pt x="4749360" y="964712"/>
                  <a:pt x="4768008" y="964712"/>
                </a:cubicBezTo>
                <a:close/>
                <a:moveTo>
                  <a:pt x="4921594" y="962169"/>
                </a:moveTo>
                <a:cubicBezTo>
                  <a:pt x="4941564" y="962169"/>
                  <a:pt x="4957902" y="978507"/>
                  <a:pt x="4957902" y="998478"/>
                </a:cubicBezTo>
                <a:cubicBezTo>
                  <a:pt x="4957902" y="1018448"/>
                  <a:pt x="4941564" y="1034786"/>
                  <a:pt x="4921594" y="1034786"/>
                </a:cubicBezTo>
                <a:cubicBezTo>
                  <a:pt x="4901623" y="1034786"/>
                  <a:pt x="4885286" y="1018448"/>
                  <a:pt x="4885286" y="998478"/>
                </a:cubicBezTo>
                <a:cubicBezTo>
                  <a:pt x="4885286" y="978507"/>
                  <a:pt x="4901623" y="962169"/>
                  <a:pt x="4921594" y="962169"/>
                </a:cubicBezTo>
                <a:close/>
                <a:moveTo>
                  <a:pt x="5075545" y="959627"/>
                </a:moveTo>
                <a:cubicBezTo>
                  <a:pt x="5096968" y="959627"/>
                  <a:pt x="5114392" y="977055"/>
                  <a:pt x="5114392" y="998478"/>
                </a:cubicBezTo>
                <a:cubicBezTo>
                  <a:pt x="5114392" y="1019897"/>
                  <a:pt x="5096968" y="1037325"/>
                  <a:pt x="5075545" y="1037325"/>
                </a:cubicBezTo>
                <a:cubicBezTo>
                  <a:pt x="5054122" y="1037325"/>
                  <a:pt x="5036694" y="1019897"/>
                  <a:pt x="5036694" y="998478"/>
                </a:cubicBezTo>
                <a:cubicBezTo>
                  <a:pt x="5036694" y="977055"/>
                  <a:pt x="5054122" y="959627"/>
                  <a:pt x="5075545" y="959627"/>
                </a:cubicBezTo>
                <a:close/>
                <a:moveTo>
                  <a:pt x="5229126" y="957450"/>
                </a:moveTo>
                <a:cubicBezTo>
                  <a:pt x="5252002" y="957450"/>
                  <a:pt x="5270158" y="975606"/>
                  <a:pt x="5270158" y="998478"/>
                </a:cubicBezTo>
                <a:cubicBezTo>
                  <a:pt x="5270158" y="1021353"/>
                  <a:pt x="5251640" y="1039505"/>
                  <a:pt x="5229126" y="1039505"/>
                </a:cubicBezTo>
                <a:cubicBezTo>
                  <a:pt x="5206255" y="1039505"/>
                  <a:pt x="5188099" y="1021353"/>
                  <a:pt x="5188099" y="998478"/>
                </a:cubicBezTo>
                <a:cubicBezTo>
                  <a:pt x="5188099" y="975606"/>
                  <a:pt x="5206255" y="957450"/>
                  <a:pt x="5229126" y="957450"/>
                </a:cubicBezTo>
                <a:close/>
                <a:moveTo>
                  <a:pt x="5383074" y="954908"/>
                </a:moveTo>
                <a:cubicBezTo>
                  <a:pt x="5407036" y="954908"/>
                  <a:pt x="5426644" y="974516"/>
                  <a:pt x="5426644" y="998478"/>
                </a:cubicBezTo>
                <a:cubicBezTo>
                  <a:pt x="5426644" y="1022443"/>
                  <a:pt x="5407036" y="1042048"/>
                  <a:pt x="5383074" y="1042048"/>
                </a:cubicBezTo>
                <a:cubicBezTo>
                  <a:pt x="5359112" y="1042048"/>
                  <a:pt x="5339504" y="1022443"/>
                  <a:pt x="5339504" y="998478"/>
                </a:cubicBezTo>
                <a:cubicBezTo>
                  <a:pt x="5339504" y="974516"/>
                  <a:pt x="5359112" y="954908"/>
                  <a:pt x="5383074" y="954908"/>
                </a:cubicBezTo>
                <a:close/>
                <a:moveTo>
                  <a:pt x="5537018" y="952365"/>
                </a:moveTo>
                <a:cubicBezTo>
                  <a:pt x="5562484" y="952365"/>
                  <a:pt x="5583130" y="973010"/>
                  <a:pt x="5583130" y="998478"/>
                </a:cubicBezTo>
                <a:cubicBezTo>
                  <a:pt x="5583130" y="1023945"/>
                  <a:pt x="5562484" y="1044590"/>
                  <a:pt x="5537018" y="1044590"/>
                </a:cubicBezTo>
                <a:cubicBezTo>
                  <a:pt x="5511554" y="1044590"/>
                  <a:pt x="5490908" y="1023945"/>
                  <a:pt x="5490908" y="998478"/>
                </a:cubicBezTo>
                <a:cubicBezTo>
                  <a:pt x="5490908" y="973010"/>
                  <a:pt x="5511554" y="952365"/>
                  <a:pt x="5537018" y="952365"/>
                </a:cubicBezTo>
                <a:close/>
                <a:moveTo>
                  <a:pt x="5690606" y="949823"/>
                </a:moveTo>
                <a:cubicBezTo>
                  <a:pt x="5717473" y="949823"/>
                  <a:pt x="5739258" y="971608"/>
                  <a:pt x="5739258" y="998478"/>
                </a:cubicBezTo>
                <a:cubicBezTo>
                  <a:pt x="5739258" y="1025344"/>
                  <a:pt x="5717473" y="1047129"/>
                  <a:pt x="5690606" y="1047129"/>
                </a:cubicBezTo>
                <a:cubicBezTo>
                  <a:pt x="5663736" y="1047129"/>
                  <a:pt x="5641952" y="1025344"/>
                  <a:pt x="5641952" y="998478"/>
                </a:cubicBezTo>
                <a:cubicBezTo>
                  <a:pt x="5641952" y="971608"/>
                  <a:pt x="5663736" y="949823"/>
                  <a:pt x="5690606" y="949823"/>
                </a:cubicBezTo>
                <a:close/>
                <a:moveTo>
                  <a:pt x="5844554" y="947284"/>
                </a:moveTo>
                <a:cubicBezTo>
                  <a:pt x="5872830" y="947284"/>
                  <a:pt x="5895748" y="970205"/>
                  <a:pt x="5895748" y="998478"/>
                </a:cubicBezTo>
                <a:cubicBezTo>
                  <a:pt x="5895748" y="1026754"/>
                  <a:pt x="5872827" y="1049672"/>
                  <a:pt x="5844554" y="1049672"/>
                </a:cubicBezTo>
                <a:cubicBezTo>
                  <a:pt x="5816281" y="1049672"/>
                  <a:pt x="5793360" y="1026754"/>
                  <a:pt x="5793360" y="998478"/>
                </a:cubicBezTo>
                <a:cubicBezTo>
                  <a:pt x="5793360" y="970205"/>
                  <a:pt x="5816281" y="947284"/>
                  <a:pt x="5844554" y="947284"/>
                </a:cubicBezTo>
                <a:close/>
                <a:moveTo>
                  <a:pt x="5998136" y="945104"/>
                </a:moveTo>
                <a:cubicBezTo>
                  <a:pt x="6027548" y="945104"/>
                  <a:pt x="6051514" y="969065"/>
                  <a:pt x="6051514" y="998478"/>
                </a:cubicBezTo>
                <a:cubicBezTo>
                  <a:pt x="6051514" y="1027887"/>
                  <a:pt x="6027548" y="1051848"/>
                  <a:pt x="5998136" y="1051848"/>
                </a:cubicBezTo>
                <a:cubicBezTo>
                  <a:pt x="5968726" y="1051848"/>
                  <a:pt x="5944765" y="1027887"/>
                  <a:pt x="5944765" y="998478"/>
                </a:cubicBezTo>
                <a:cubicBezTo>
                  <a:pt x="5944765" y="969065"/>
                  <a:pt x="5968726" y="945104"/>
                  <a:pt x="5998136" y="945104"/>
                </a:cubicBezTo>
                <a:close/>
                <a:moveTo>
                  <a:pt x="6152086" y="942199"/>
                </a:moveTo>
                <a:cubicBezTo>
                  <a:pt x="6183314" y="942199"/>
                  <a:pt x="6208366" y="967251"/>
                  <a:pt x="6208366" y="998478"/>
                </a:cubicBezTo>
                <a:cubicBezTo>
                  <a:pt x="6208366" y="1029701"/>
                  <a:pt x="6183314" y="1054753"/>
                  <a:pt x="6152086" y="1054753"/>
                </a:cubicBezTo>
                <a:cubicBezTo>
                  <a:pt x="6120860" y="1054753"/>
                  <a:pt x="6095808" y="1029701"/>
                  <a:pt x="6095808" y="998478"/>
                </a:cubicBezTo>
                <a:cubicBezTo>
                  <a:pt x="6095808" y="967251"/>
                  <a:pt x="6120860" y="942199"/>
                  <a:pt x="6152086" y="942199"/>
                </a:cubicBezTo>
                <a:close/>
                <a:moveTo>
                  <a:pt x="6305672" y="939660"/>
                </a:moveTo>
                <a:cubicBezTo>
                  <a:pt x="6338157" y="939660"/>
                  <a:pt x="6364490" y="965993"/>
                  <a:pt x="6364490" y="998482"/>
                </a:cubicBezTo>
                <a:cubicBezTo>
                  <a:pt x="6364490" y="1030967"/>
                  <a:pt x="6338157" y="1057299"/>
                  <a:pt x="6305672" y="1057299"/>
                </a:cubicBezTo>
                <a:cubicBezTo>
                  <a:pt x="6273187" y="1057299"/>
                  <a:pt x="6246850" y="1030967"/>
                  <a:pt x="6246850" y="998482"/>
                </a:cubicBezTo>
                <a:cubicBezTo>
                  <a:pt x="6246850" y="965993"/>
                  <a:pt x="6273187" y="939660"/>
                  <a:pt x="6305672" y="939660"/>
                </a:cubicBezTo>
                <a:close/>
                <a:moveTo>
                  <a:pt x="6459619" y="937118"/>
                </a:moveTo>
                <a:cubicBezTo>
                  <a:pt x="6493747" y="937118"/>
                  <a:pt x="6521342" y="964712"/>
                  <a:pt x="6521342" y="998844"/>
                </a:cubicBezTo>
                <a:cubicBezTo>
                  <a:pt x="6521342" y="1032972"/>
                  <a:pt x="6493747" y="1060566"/>
                  <a:pt x="6459619" y="1060566"/>
                </a:cubicBezTo>
                <a:cubicBezTo>
                  <a:pt x="6425488" y="1060566"/>
                  <a:pt x="6397893" y="1032972"/>
                  <a:pt x="6397893" y="998844"/>
                </a:cubicBezTo>
                <a:cubicBezTo>
                  <a:pt x="6397893" y="964712"/>
                  <a:pt x="6425488" y="937118"/>
                  <a:pt x="6459619" y="937118"/>
                </a:cubicBezTo>
                <a:close/>
                <a:moveTo>
                  <a:pt x="6613200" y="934213"/>
                </a:moveTo>
                <a:cubicBezTo>
                  <a:pt x="6648694" y="934213"/>
                  <a:pt x="6677470" y="962985"/>
                  <a:pt x="6677470" y="998478"/>
                </a:cubicBezTo>
                <a:cubicBezTo>
                  <a:pt x="6677470" y="1033970"/>
                  <a:pt x="6648694" y="1062746"/>
                  <a:pt x="6613200" y="1062746"/>
                </a:cubicBezTo>
                <a:cubicBezTo>
                  <a:pt x="6577708" y="1062746"/>
                  <a:pt x="6548936" y="1033970"/>
                  <a:pt x="6548936" y="998478"/>
                </a:cubicBezTo>
                <a:cubicBezTo>
                  <a:pt x="6548936" y="962985"/>
                  <a:pt x="6577708" y="934213"/>
                  <a:pt x="6613200" y="934213"/>
                </a:cubicBezTo>
                <a:close/>
                <a:moveTo>
                  <a:pt x="1538746" y="844530"/>
                </a:moveTo>
                <a:cubicBezTo>
                  <a:pt x="1539108" y="844530"/>
                  <a:pt x="1539108" y="844530"/>
                  <a:pt x="1539108" y="844893"/>
                </a:cubicBezTo>
                <a:cubicBezTo>
                  <a:pt x="1539108" y="845258"/>
                  <a:pt x="1538746" y="845258"/>
                  <a:pt x="1538746" y="845258"/>
                </a:cubicBezTo>
                <a:cubicBezTo>
                  <a:pt x="1538384" y="845258"/>
                  <a:pt x="1538384" y="845258"/>
                  <a:pt x="1538384" y="844893"/>
                </a:cubicBezTo>
                <a:cubicBezTo>
                  <a:pt x="1538384" y="844530"/>
                  <a:pt x="1538384" y="844530"/>
                  <a:pt x="1538746" y="844530"/>
                </a:cubicBezTo>
                <a:close/>
                <a:moveTo>
                  <a:pt x="1077266" y="844530"/>
                </a:moveTo>
                <a:cubicBezTo>
                  <a:pt x="1077628" y="844530"/>
                  <a:pt x="1077628" y="844530"/>
                  <a:pt x="1077628" y="844893"/>
                </a:cubicBezTo>
                <a:cubicBezTo>
                  <a:pt x="1077628" y="845258"/>
                  <a:pt x="1077266" y="845258"/>
                  <a:pt x="1077266" y="845258"/>
                </a:cubicBezTo>
                <a:cubicBezTo>
                  <a:pt x="1076904" y="845258"/>
                  <a:pt x="1076904" y="845258"/>
                  <a:pt x="1076904" y="844893"/>
                </a:cubicBezTo>
                <a:cubicBezTo>
                  <a:pt x="1076904" y="844530"/>
                  <a:pt x="1076904" y="844530"/>
                  <a:pt x="1077266" y="844530"/>
                </a:cubicBezTo>
                <a:close/>
                <a:moveTo>
                  <a:pt x="923681" y="844530"/>
                </a:moveTo>
                <a:cubicBezTo>
                  <a:pt x="924043" y="844530"/>
                  <a:pt x="924043" y="844530"/>
                  <a:pt x="924043" y="844893"/>
                </a:cubicBezTo>
                <a:cubicBezTo>
                  <a:pt x="924043" y="845258"/>
                  <a:pt x="923681" y="845258"/>
                  <a:pt x="923681" y="845258"/>
                </a:cubicBezTo>
                <a:cubicBezTo>
                  <a:pt x="923319" y="845258"/>
                  <a:pt x="923319" y="845258"/>
                  <a:pt x="923319" y="844893"/>
                </a:cubicBezTo>
                <a:cubicBezTo>
                  <a:pt x="923319" y="844530"/>
                  <a:pt x="923319" y="844530"/>
                  <a:pt x="923681" y="844530"/>
                </a:cubicBezTo>
                <a:close/>
                <a:moveTo>
                  <a:pt x="769737" y="844168"/>
                </a:moveTo>
                <a:cubicBezTo>
                  <a:pt x="770137" y="844168"/>
                  <a:pt x="770461" y="844492"/>
                  <a:pt x="770461" y="844896"/>
                </a:cubicBezTo>
                <a:cubicBezTo>
                  <a:pt x="770461" y="845297"/>
                  <a:pt x="770137" y="845621"/>
                  <a:pt x="769737" y="845621"/>
                </a:cubicBezTo>
                <a:cubicBezTo>
                  <a:pt x="769333" y="845621"/>
                  <a:pt x="769009" y="845297"/>
                  <a:pt x="769009" y="844896"/>
                </a:cubicBezTo>
                <a:cubicBezTo>
                  <a:pt x="769009" y="844492"/>
                  <a:pt x="769333" y="844168"/>
                  <a:pt x="769737" y="844168"/>
                </a:cubicBezTo>
                <a:close/>
                <a:moveTo>
                  <a:pt x="1692331" y="843078"/>
                </a:moveTo>
                <a:cubicBezTo>
                  <a:pt x="1693056" y="843078"/>
                  <a:pt x="1693784" y="843806"/>
                  <a:pt x="1693784" y="844530"/>
                </a:cubicBezTo>
                <a:cubicBezTo>
                  <a:pt x="1693784" y="845258"/>
                  <a:pt x="1692331" y="845983"/>
                  <a:pt x="1692331" y="845983"/>
                </a:cubicBezTo>
                <a:cubicBezTo>
                  <a:pt x="1691603" y="845983"/>
                  <a:pt x="1690879" y="845258"/>
                  <a:pt x="1690879" y="844530"/>
                </a:cubicBezTo>
                <a:cubicBezTo>
                  <a:pt x="1690879" y="843806"/>
                  <a:pt x="1691603" y="843078"/>
                  <a:pt x="1692331" y="843078"/>
                </a:cubicBezTo>
                <a:close/>
                <a:moveTo>
                  <a:pt x="1846279" y="842716"/>
                </a:moveTo>
                <a:cubicBezTo>
                  <a:pt x="1847480" y="842716"/>
                  <a:pt x="1848455" y="843692"/>
                  <a:pt x="1848455" y="844896"/>
                </a:cubicBezTo>
                <a:cubicBezTo>
                  <a:pt x="1848455" y="846097"/>
                  <a:pt x="1847480" y="847073"/>
                  <a:pt x="1846279" y="847073"/>
                </a:cubicBezTo>
                <a:cubicBezTo>
                  <a:pt x="1845074" y="847073"/>
                  <a:pt x="1844098" y="846097"/>
                  <a:pt x="1844098" y="844896"/>
                </a:cubicBezTo>
                <a:cubicBezTo>
                  <a:pt x="1844098" y="843692"/>
                  <a:pt x="1845074" y="842716"/>
                  <a:pt x="1846279" y="842716"/>
                </a:cubicBezTo>
                <a:close/>
                <a:moveTo>
                  <a:pt x="1999860" y="841626"/>
                </a:moveTo>
                <a:cubicBezTo>
                  <a:pt x="2001679" y="841626"/>
                  <a:pt x="2003127" y="843078"/>
                  <a:pt x="2003127" y="844893"/>
                </a:cubicBezTo>
                <a:cubicBezTo>
                  <a:pt x="2003127" y="846707"/>
                  <a:pt x="2001679" y="848163"/>
                  <a:pt x="1999860" y="848163"/>
                </a:cubicBezTo>
                <a:cubicBezTo>
                  <a:pt x="1998046" y="848163"/>
                  <a:pt x="1996593" y="846707"/>
                  <a:pt x="1996593" y="844893"/>
                </a:cubicBezTo>
                <a:cubicBezTo>
                  <a:pt x="1996593" y="843078"/>
                  <a:pt x="1998046" y="841626"/>
                  <a:pt x="1999860" y="841626"/>
                </a:cubicBezTo>
                <a:close/>
                <a:moveTo>
                  <a:pt x="2153808" y="840173"/>
                </a:moveTo>
                <a:cubicBezTo>
                  <a:pt x="2156350" y="840173"/>
                  <a:pt x="2158165" y="841988"/>
                  <a:pt x="2158165" y="844530"/>
                </a:cubicBezTo>
                <a:cubicBezTo>
                  <a:pt x="2158165" y="847073"/>
                  <a:pt x="2155988" y="848887"/>
                  <a:pt x="2153808" y="848887"/>
                </a:cubicBezTo>
                <a:cubicBezTo>
                  <a:pt x="2151265" y="848887"/>
                  <a:pt x="2149451" y="847073"/>
                  <a:pt x="2149451" y="844530"/>
                </a:cubicBezTo>
                <a:cubicBezTo>
                  <a:pt x="2149451" y="841988"/>
                  <a:pt x="2151265" y="840173"/>
                  <a:pt x="2153808" y="840173"/>
                </a:cubicBezTo>
                <a:close/>
                <a:moveTo>
                  <a:pt x="2307393" y="839083"/>
                </a:moveTo>
                <a:cubicBezTo>
                  <a:pt x="2310660" y="839083"/>
                  <a:pt x="2313202" y="841626"/>
                  <a:pt x="2313202" y="844893"/>
                </a:cubicBezTo>
                <a:cubicBezTo>
                  <a:pt x="2313202" y="848159"/>
                  <a:pt x="2310660" y="850702"/>
                  <a:pt x="2307393" y="850702"/>
                </a:cubicBezTo>
                <a:cubicBezTo>
                  <a:pt x="2304126" y="850702"/>
                  <a:pt x="2301583" y="848159"/>
                  <a:pt x="2301583" y="844893"/>
                </a:cubicBezTo>
                <a:cubicBezTo>
                  <a:pt x="2301583" y="841626"/>
                  <a:pt x="2304126" y="839083"/>
                  <a:pt x="2307393" y="839083"/>
                </a:cubicBezTo>
                <a:close/>
                <a:moveTo>
                  <a:pt x="2461340" y="837631"/>
                </a:moveTo>
                <a:cubicBezTo>
                  <a:pt x="2465335" y="837631"/>
                  <a:pt x="2468602" y="840898"/>
                  <a:pt x="2468602" y="844893"/>
                </a:cubicBezTo>
                <a:cubicBezTo>
                  <a:pt x="2468602" y="848887"/>
                  <a:pt x="2465335" y="852154"/>
                  <a:pt x="2461340" y="852154"/>
                </a:cubicBezTo>
                <a:cubicBezTo>
                  <a:pt x="2457345" y="852154"/>
                  <a:pt x="2454079" y="848887"/>
                  <a:pt x="2454079" y="844893"/>
                </a:cubicBezTo>
                <a:cubicBezTo>
                  <a:pt x="2454079" y="840898"/>
                  <a:pt x="2457345" y="837631"/>
                  <a:pt x="2461340" y="837631"/>
                </a:cubicBezTo>
                <a:close/>
                <a:moveTo>
                  <a:pt x="2614925" y="835454"/>
                </a:moveTo>
                <a:cubicBezTo>
                  <a:pt x="2620011" y="835454"/>
                  <a:pt x="2624005" y="839449"/>
                  <a:pt x="2624005" y="844530"/>
                </a:cubicBezTo>
                <a:cubicBezTo>
                  <a:pt x="2624005" y="849615"/>
                  <a:pt x="2620011" y="853610"/>
                  <a:pt x="2614925" y="853610"/>
                </a:cubicBezTo>
                <a:cubicBezTo>
                  <a:pt x="2609844" y="853610"/>
                  <a:pt x="2605849" y="849615"/>
                  <a:pt x="2605849" y="844530"/>
                </a:cubicBezTo>
                <a:cubicBezTo>
                  <a:pt x="2605849" y="839449"/>
                  <a:pt x="2609844" y="835454"/>
                  <a:pt x="2614925" y="835454"/>
                </a:cubicBezTo>
                <a:close/>
                <a:moveTo>
                  <a:pt x="2768873" y="834726"/>
                </a:moveTo>
                <a:cubicBezTo>
                  <a:pt x="2774320" y="834726"/>
                  <a:pt x="2779039" y="839445"/>
                  <a:pt x="2779039" y="844893"/>
                </a:cubicBezTo>
                <a:cubicBezTo>
                  <a:pt x="2779039" y="850340"/>
                  <a:pt x="2774682" y="855059"/>
                  <a:pt x="2768873" y="855059"/>
                </a:cubicBezTo>
                <a:cubicBezTo>
                  <a:pt x="2763426" y="855059"/>
                  <a:pt x="2758707" y="850340"/>
                  <a:pt x="2758707" y="844893"/>
                </a:cubicBezTo>
                <a:cubicBezTo>
                  <a:pt x="2758707" y="839445"/>
                  <a:pt x="2763426" y="834726"/>
                  <a:pt x="2768873" y="834726"/>
                </a:cubicBezTo>
                <a:close/>
                <a:moveTo>
                  <a:pt x="2922458" y="832912"/>
                </a:moveTo>
                <a:cubicBezTo>
                  <a:pt x="2928996" y="832912"/>
                  <a:pt x="2934443" y="838359"/>
                  <a:pt x="2934443" y="844893"/>
                </a:cubicBezTo>
                <a:cubicBezTo>
                  <a:pt x="2934443" y="851430"/>
                  <a:pt x="2928996" y="856873"/>
                  <a:pt x="2922458" y="856873"/>
                </a:cubicBezTo>
                <a:cubicBezTo>
                  <a:pt x="2915924" y="856873"/>
                  <a:pt x="2910477" y="851430"/>
                  <a:pt x="2910477" y="844893"/>
                </a:cubicBezTo>
                <a:cubicBezTo>
                  <a:pt x="2910477" y="838359"/>
                  <a:pt x="2915924" y="832912"/>
                  <a:pt x="2922458" y="832912"/>
                </a:cubicBezTo>
                <a:close/>
                <a:moveTo>
                  <a:pt x="3076402" y="831097"/>
                </a:moveTo>
                <a:cubicBezTo>
                  <a:pt x="3084022" y="831097"/>
                  <a:pt x="3090201" y="837276"/>
                  <a:pt x="3090201" y="844896"/>
                </a:cubicBezTo>
                <a:cubicBezTo>
                  <a:pt x="3090201" y="852513"/>
                  <a:pt x="3084022" y="858692"/>
                  <a:pt x="3076402" y="858692"/>
                </a:cubicBezTo>
                <a:cubicBezTo>
                  <a:pt x="3068782" y="858692"/>
                  <a:pt x="3062606" y="852513"/>
                  <a:pt x="3062606" y="844896"/>
                </a:cubicBezTo>
                <a:cubicBezTo>
                  <a:pt x="3062606" y="837276"/>
                  <a:pt x="3068782" y="831097"/>
                  <a:pt x="3076402" y="831097"/>
                </a:cubicBezTo>
                <a:close/>
                <a:moveTo>
                  <a:pt x="3230349" y="829645"/>
                </a:moveTo>
                <a:cubicBezTo>
                  <a:pt x="3238773" y="829645"/>
                  <a:pt x="3245600" y="836472"/>
                  <a:pt x="3245600" y="844896"/>
                </a:cubicBezTo>
                <a:cubicBezTo>
                  <a:pt x="3245600" y="853317"/>
                  <a:pt x="3238773" y="860144"/>
                  <a:pt x="3230349" y="860144"/>
                </a:cubicBezTo>
                <a:cubicBezTo>
                  <a:pt x="3221928" y="860144"/>
                  <a:pt x="3215102" y="853317"/>
                  <a:pt x="3215102" y="844896"/>
                </a:cubicBezTo>
                <a:cubicBezTo>
                  <a:pt x="3215102" y="836472"/>
                  <a:pt x="3221928" y="829645"/>
                  <a:pt x="3230349" y="829645"/>
                </a:cubicBezTo>
                <a:close/>
                <a:moveTo>
                  <a:pt x="3383938" y="827830"/>
                </a:moveTo>
                <a:cubicBezTo>
                  <a:pt x="3393361" y="827830"/>
                  <a:pt x="3401000" y="835470"/>
                  <a:pt x="3401000" y="844896"/>
                </a:cubicBezTo>
                <a:cubicBezTo>
                  <a:pt x="3401000" y="854319"/>
                  <a:pt x="3393361" y="861958"/>
                  <a:pt x="3383938" y="861958"/>
                </a:cubicBezTo>
                <a:cubicBezTo>
                  <a:pt x="3374511" y="861958"/>
                  <a:pt x="3366872" y="854319"/>
                  <a:pt x="3366872" y="844896"/>
                </a:cubicBezTo>
                <a:cubicBezTo>
                  <a:pt x="3366872" y="835470"/>
                  <a:pt x="3374511" y="827830"/>
                  <a:pt x="3383938" y="827830"/>
                </a:cubicBezTo>
                <a:close/>
                <a:moveTo>
                  <a:pt x="3537882" y="825650"/>
                </a:moveTo>
                <a:cubicBezTo>
                  <a:pt x="3548513" y="825650"/>
                  <a:pt x="3557128" y="834265"/>
                  <a:pt x="3557128" y="844893"/>
                </a:cubicBezTo>
                <a:cubicBezTo>
                  <a:pt x="3557128" y="855520"/>
                  <a:pt x="3548513" y="864139"/>
                  <a:pt x="3537882" y="864139"/>
                </a:cubicBezTo>
                <a:cubicBezTo>
                  <a:pt x="3527254" y="864139"/>
                  <a:pt x="3518639" y="855520"/>
                  <a:pt x="3518639" y="844893"/>
                </a:cubicBezTo>
                <a:cubicBezTo>
                  <a:pt x="3518639" y="834265"/>
                  <a:pt x="3527254" y="825650"/>
                  <a:pt x="3537882" y="825650"/>
                </a:cubicBezTo>
                <a:close/>
                <a:moveTo>
                  <a:pt x="3691471" y="823473"/>
                </a:moveTo>
                <a:cubicBezTo>
                  <a:pt x="3703303" y="823473"/>
                  <a:pt x="3712894" y="833064"/>
                  <a:pt x="3712894" y="844896"/>
                </a:cubicBezTo>
                <a:cubicBezTo>
                  <a:pt x="3712894" y="856725"/>
                  <a:pt x="3703303" y="866319"/>
                  <a:pt x="3691471" y="866319"/>
                </a:cubicBezTo>
                <a:cubicBezTo>
                  <a:pt x="3679638" y="866319"/>
                  <a:pt x="3670048" y="856725"/>
                  <a:pt x="3670048" y="844896"/>
                </a:cubicBezTo>
                <a:cubicBezTo>
                  <a:pt x="3670048" y="833064"/>
                  <a:pt x="3679638" y="823473"/>
                  <a:pt x="3691471" y="823473"/>
                </a:cubicBezTo>
                <a:close/>
                <a:moveTo>
                  <a:pt x="3845418" y="822021"/>
                </a:moveTo>
                <a:cubicBezTo>
                  <a:pt x="3858051" y="822021"/>
                  <a:pt x="3868293" y="832264"/>
                  <a:pt x="3868293" y="844896"/>
                </a:cubicBezTo>
                <a:cubicBezTo>
                  <a:pt x="3868293" y="857529"/>
                  <a:pt x="3858051" y="867768"/>
                  <a:pt x="3845418" y="867768"/>
                </a:cubicBezTo>
                <a:cubicBezTo>
                  <a:pt x="3832786" y="867768"/>
                  <a:pt x="3822543" y="857529"/>
                  <a:pt x="3822543" y="844896"/>
                </a:cubicBezTo>
                <a:cubicBezTo>
                  <a:pt x="3822543" y="832264"/>
                  <a:pt x="3832786" y="822021"/>
                  <a:pt x="3845418" y="822021"/>
                </a:cubicBezTo>
                <a:close/>
                <a:moveTo>
                  <a:pt x="3999000" y="819841"/>
                </a:moveTo>
                <a:cubicBezTo>
                  <a:pt x="4012837" y="819841"/>
                  <a:pt x="4024052" y="831055"/>
                  <a:pt x="4024052" y="844893"/>
                </a:cubicBezTo>
                <a:cubicBezTo>
                  <a:pt x="4024052" y="858730"/>
                  <a:pt x="4012837" y="869948"/>
                  <a:pt x="3999000" y="869948"/>
                </a:cubicBezTo>
                <a:cubicBezTo>
                  <a:pt x="3985162" y="869948"/>
                  <a:pt x="3973948" y="858730"/>
                  <a:pt x="3973948" y="844893"/>
                </a:cubicBezTo>
                <a:cubicBezTo>
                  <a:pt x="3973948" y="831055"/>
                  <a:pt x="3985162" y="819841"/>
                  <a:pt x="3999000" y="819841"/>
                </a:cubicBezTo>
                <a:close/>
                <a:moveTo>
                  <a:pt x="4152947" y="817664"/>
                </a:moveTo>
                <a:cubicBezTo>
                  <a:pt x="4167832" y="817664"/>
                  <a:pt x="4180179" y="830011"/>
                  <a:pt x="4180179" y="844896"/>
                </a:cubicBezTo>
                <a:cubicBezTo>
                  <a:pt x="4180179" y="859782"/>
                  <a:pt x="4168194" y="872129"/>
                  <a:pt x="4152947" y="872129"/>
                </a:cubicBezTo>
                <a:cubicBezTo>
                  <a:pt x="4138058" y="872129"/>
                  <a:pt x="4125715" y="859782"/>
                  <a:pt x="4125715" y="844896"/>
                </a:cubicBezTo>
                <a:cubicBezTo>
                  <a:pt x="4125715" y="830011"/>
                  <a:pt x="4138058" y="817664"/>
                  <a:pt x="4152947" y="817664"/>
                </a:cubicBezTo>
                <a:close/>
                <a:moveTo>
                  <a:pt x="4306528" y="815122"/>
                </a:moveTo>
                <a:cubicBezTo>
                  <a:pt x="4322973" y="815122"/>
                  <a:pt x="4336303" y="828452"/>
                  <a:pt x="4336303" y="844896"/>
                </a:cubicBezTo>
                <a:cubicBezTo>
                  <a:pt x="4336303" y="861337"/>
                  <a:pt x="4322973" y="874667"/>
                  <a:pt x="4306528" y="874667"/>
                </a:cubicBezTo>
                <a:cubicBezTo>
                  <a:pt x="4290088" y="874667"/>
                  <a:pt x="4276758" y="861337"/>
                  <a:pt x="4276758" y="844896"/>
                </a:cubicBezTo>
                <a:cubicBezTo>
                  <a:pt x="4276758" y="828452"/>
                  <a:pt x="4290088" y="815122"/>
                  <a:pt x="4306528" y="815122"/>
                </a:cubicBezTo>
                <a:close/>
                <a:moveTo>
                  <a:pt x="4460480" y="812941"/>
                </a:moveTo>
                <a:cubicBezTo>
                  <a:pt x="4478270" y="812941"/>
                  <a:pt x="4492431" y="827102"/>
                  <a:pt x="4492431" y="844893"/>
                </a:cubicBezTo>
                <a:cubicBezTo>
                  <a:pt x="4492431" y="862683"/>
                  <a:pt x="4478270" y="876844"/>
                  <a:pt x="4460480" y="876844"/>
                </a:cubicBezTo>
                <a:cubicBezTo>
                  <a:pt x="4442690" y="876844"/>
                  <a:pt x="4428528" y="862683"/>
                  <a:pt x="4428528" y="844893"/>
                </a:cubicBezTo>
                <a:cubicBezTo>
                  <a:pt x="4428528" y="827102"/>
                  <a:pt x="4442690" y="812941"/>
                  <a:pt x="4460480" y="812941"/>
                </a:cubicBezTo>
                <a:close/>
                <a:moveTo>
                  <a:pt x="4614061" y="811127"/>
                </a:moveTo>
                <a:cubicBezTo>
                  <a:pt x="4632713" y="811127"/>
                  <a:pt x="4647831" y="826245"/>
                  <a:pt x="4647831" y="844893"/>
                </a:cubicBezTo>
                <a:cubicBezTo>
                  <a:pt x="4647831" y="863544"/>
                  <a:pt x="4632713" y="878662"/>
                  <a:pt x="4614061" y="878662"/>
                </a:cubicBezTo>
                <a:cubicBezTo>
                  <a:pt x="4595414" y="878662"/>
                  <a:pt x="4580296" y="863544"/>
                  <a:pt x="4580296" y="844893"/>
                </a:cubicBezTo>
                <a:cubicBezTo>
                  <a:pt x="4580296" y="826245"/>
                  <a:pt x="4595414" y="811127"/>
                  <a:pt x="4614061" y="811127"/>
                </a:cubicBezTo>
                <a:close/>
                <a:moveTo>
                  <a:pt x="4768012" y="808584"/>
                </a:moveTo>
                <a:cubicBezTo>
                  <a:pt x="4787983" y="808584"/>
                  <a:pt x="4804320" y="824922"/>
                  <a:pt x="4804320" y="844893"/>
                </a:cubicBezTo>
                <a:cubicBezTo>
                  <a:pt x="4804320" y="864863"/>
                  <a:pt x="4787983" y="881201"/>
                  <a:pt x="4768012" y="881201"/>
                </a:cubicBezTo>
                <a:cubicBezTo>
                  <a:pt x="4748042" y="881201"/>
                  <a:pt x="4731704" y="864863"/>
                  <a:pt x="4731704" y="844893"/>
                </a:cubicBezTo>
                <a:cubicBezTo>
                  <a:pt x="4731704" y="824922"/>
                  <a:pt x="4748042" y="808584"/>
                  <a:pt x="4768012" y="808584"/>
                </a:cubicBezTo>
                <a:close/>
                <a:moveTo>
                  <a:pt x="4921598" y="806045"/>
                </a:moveTo>
                <a:cubicBezTo>
                  <a:pt x="4943016" y="806045"/>
                  <a:pt x="4960444" y="823473"/>
                  <a:pt x="4960444" y="844896"/>
                </a:cubicBezTo>
                <a:cubicBezTo>
                  <a:pt x="4960444" y="866315"/>
                  <a:pt x="4943016" y="883743"/>
                  <a:pt x="4921598" y="883743"/>
                </a:cubicBezTo>
                <a:cubicBezTo>
                  <a:pt x="4900174" y="883743"/>
                  <a:pt x="4882746" y="866315"/>
                  <a:pt x="4882746" y="844896"/>
                </a:cubicBezTo>
                <a:cubicBezTo>
                  <a:pt x="4882746" y="823473"/>
                  <a:pt x="4900174" y="806045"/>
                  <a:pt x="4921598" y="806045"/>
                </a:cubicBezTo>
                <a:close/>
                <a:moveTo>
                  <a:pt x="5075541" y="803503"/>
                </a:moveTo>
                <a:cubicBezTo>
                  <a:pt x="5098416" y="803503"/>
                  <a:pt x="5116568" y="821659"/>
                  <a:pt x="5116568" y="844530"/>
                </a:cubicBezTo>
                <a:cubicBezTo>
                  <a:pt x="5116568" y="867406"/>
                  <a:pt x="5098054" y="885562"/>
                  <a:pt x="5075541" y="885562"/>
                </a:cubicBezTo>
                <a:cubicBezTo>
                  <a:pt x="5052670" y="885562"/>
                  <a:pt x="5034514" y="867406"/>
                  <a:pt x="5034514" y="844530"/>
                </a:cubicBezTo>
                <a:cubicBezTo>
                  <a:pt x="5034514" y="821659"/>
                  <a:pt x="5052670" y="803503"/>
                  <a:pt x="5075541" y="803503"/>
                </a:cubicBezTo>
                <a:close/>
                <a:moveTo>
                  <a:pt x="5229126" y="800960"/>
                </a:moveTo>
                <a:cubicBezTo>
                  <a:pt x="5253088" y="800960"/>
                  <a:pt x="5272696" y="820569"/>
                  <a:pt x="5272696" y="844530"/>
                </a:cubicBezTo>
                <a:cubicBezTo>
                  <a:pt x="5272696" y="868496"/>
                  <a:pt x="5253088" y="888100"/>
                  <a:pt x="5229126" y="888100"/>
                </a:cubicBezTo>
                <a:cubicBezTo>
                  <a:pt x="5205161" y="888100"/>
                  <a:pt x="5185556" y="868496"/>
                  <a:pt x="5185556" y="844530"/>
                </a:cubicBezTo>
                <a:cubicBezTo>
                  <a:pt x="5185556" y="820569"/>
                  <a:pt x="5205161" y="800960"/>
                  <a:pt x="5229126" y="800960"/>
                </a:cubicBezTo>
                <a:close/>
                <a:moveTo>
                  <a:pt x="5383074" y="798784"/>
                </a:moveTo>
                <a:cubicBezTo>
                  <a:pt x="5408541" y="798784"/>
                  <a:pt x="5429186" y="819429"/>
                  <a:pt x="5429186" y="844896"/>
                </a:cubicBezTo>
                <a:cubicBezTo>
                  <a:pt x="5429186" y="870364"/>
                  <a:pt x="5408541" y="891009"/>
                  <a:pt x="5383074" y="891009"/>
                </a:cubicBezTo>
                <a:cubicBezTo>
                  <a:pt x="5357606" y="891009"/>
                  <a:pt x="5336962" y="870364"/>
                  <a:pt x="5336962" y="844896"/>
                </a:cubicBezTo>
                <a:cubicBezTo>
                  <a:pt x="5336962" y="819429"/>
                  <a:pt x="5357606" y="798784"/>
                  <a:pt x="5383074" y="798784"/>
                </a:cubicBezTo>
                <a:close/>
                <a:moveTo>
                  <a:pt x="5536659" y="796241"/>
                </a:moveTo>
                <a:cubicBezTo>
                  <a:pt x="5563526" y="796241"/>
                  <a:pt x="5585310" y="818026"/>
                  <a:pt x="5585310" y="844896"/>
                </a:cubicBezTo>
                <a:cubicBezTo>
                  <a:pt x="5585310" y="871763"/>
                  <a:pt x="5563526" y="893548"/>
                  <a:pt x="5536659" y="893548"/>
                </a:cubicBezTo>
                <a:cubicBezTo>
                  <a:pt x="5509789" y="893548"/>
                  <a:pt x="5488004" y="871763"/>
                  <a:pt x="5488004" y="844896"/>
                </a:cubicBezTo>
                <a:cubicBezTo>
                  <a:pt x="5488004" y="818026"/>
                  <a:pt x="5509789" y="796241"/>
                  <a:pt x="5536659" y="796241"/>
                </a:cubicBezTo>
                <a:close/>
                <a:moveTo>
                  <a:pt x="5690606" y="793699"/>
                </a:moveTo>
                <a:cubicBezTo>
                  <a:pt x="5718883" y="793699"/>
                  <a:pt x="5741800" y="816620"/>
                  <a:pt x="5741800" y="844893"/>
                </a:cubicBezTo>
                <a:cubicBezTo>
                  <a:pt x="5741800" y="873169"/>
                  <a:pt x="5718880" y="896090"/>
                  <a:pt x="5690606" y="896090"/>
                </a:cubicBezTo>
                <a:cubicBezTo>
                  <a:pt x="5662334" y="896090"/>
                  <a:pt x="5639412" y="873169"/>
                  <a:pt x="5639412" y="844893"/>
                </a:cubicBezTo>
                <a:cubicBezTo>
                  <a:pt x="5639412" y="816620"/>
                  <a:pt x="5662334" y="793699"/>
                  <a:pt x="5690606" y="793699"/>
                </a:cubicBezTo>
                <a:close/>
                <a:moveTo>
                  <a:pt x="5844554" y="791156"/>
                </a:moveTo>
                <a:cubicBezTo>
                  <a:pt x="5873962" y="791156"/>
                  <a:pt x="5897928" y="815118"/>
                  <a:pt x="5897928" y="844530"/>
                </a:cubicBezTo>
                <a:cubicBezTo>
                  <a:pt x="5897928" y="873939"/>
                  <a:pt x="5873962" y="897901"/>
                  <a:pt x="5844554" y="897901"/>
                </a:cubicBezTo>
                <a:cubicBezTo>
                  <a:pt x="5815145" y="897901"/>
                  <a:pt x="5791180" y="873939"/>
                  <a:pt x="5791180" y="844530"/>
                </a:cubicBezTo>
                <a:cubicBezTo>
                  <a:pt x="5791180" y="815118"/>
                  <a:pt x="5815145" y="791156"/>
                  <a:pt x="5844554" y="791156"/>
                </a:cubicBezTo>
                <a:close/>
                <a:moveTo>
                  <a:pt x="5998139" y="788614"/>
                </a:moveTo>
                <a:cubicBezTo>
                  <a:pt x="6029362" y="788614"/>
                  <a:pt x="6054414" y="813665"/>
                  <a:pt x="6054414" y="844893"/>
                </a:cubicBezTo>
                <a:cubicBezTo>
                  <a:pt x="6054414" y="876116"/>
                  <a:pt x="6029362" y="901171"/>
                  <a:pt x="5998139" y="901171"/>
                </a:cubicBezTo>
                <a:cubicBezTo>
                  <a:pt x="5966912" y="901171"/>
                  <a:pt x="5941860" y="876116"/>
                  <a:pt x="5941860" y="844893"/>
                </a:cubicBezTo>
                <a:cubicBezTo>
                  <a:pt x="5941860" y="813665"/>
                  <a:pt x="5966912" y="788614"/>
                  <a:pt x="5998139" y="788614"/>
                </a:cubicBezTo>
                <a:close/>
                <a:moveTo>
                  <a:pt x="6152083" y="786075"/>
                </a:moveTo>
                <a:cubicBezTo>
                  <a:pt x="6184568" y="786075"/>
                  <a:pt x="6210904" y="812407"/>
                  <a:pt x="6210904" y="844896"/>
                </a:cubicBezTo>
                <a:cubicBezTo>
                  <a:pt x="6210904" y="877381"/>
                  <a:pt x="6184568" y="903714"/>
                  <a:pt x="6152083" y="903714"/>
                </a:cubicBezTo>
                <a:cubicBezTo>
                  <a:pt x="6119598" y="903714"/>
                  <a:pt x="6093265" y="877381"/>
                  <a:pt x="6093265" y="844896"/>
                </a:cubicBezTo>
                <a:cubicBezTo>
                  <a:pt x="6093265" y="812407"/>
                  <a:pt x="6119598" y="786075"/>
                  <a:pt x="6152083" y="786075"/>
                </a:cubicBezTo>
                <a:close/>
                <a:moveTo>
                  <a:pt x="6305672" y="783170"/>
                </a:moveTo>
                <a:cubicBezTo>
                  <a:pt x="6339762" y="783170"/>
                  <a:pt x="6367394" y="810807"/>
                  <a:pt x="6367394" y="844896"/>
                </a:cubicBezTo>
                <a:cubicBezTo>
                  <a:pt x="6367394" y="878982"/>
                  <a:pt x="6339762" y="906619"/>
                  <a:pt x="6305672" y="906619"/>
                </a:cubicBezTo>
                <a:cubicBezTo>
                  <a:pt x="6271582" y="906619"/>
                  <a:pt x="6243946" y="878982"/>
                  <a:pt x="6243946" y="844896"/>
                </a:cubicBezTo>
                <a:cubicBezTo>
                  <a:pt x="6243946" y="810807"/>
                  <a:pt x="6271582" y="783170"/>
                  <a:pt x="6305672" y="783170"/>
                </a:cubicBezTo>
                <a:close/>
                <a:moveTo>
                  <a:pt x="6459616" y="780628"/>
                </a:moveTo>
                <a:cubicBezTo>
                  <a:pt x="6495108" y="780628"/>
                  <a:pt x="6523884" y="809400"/>
                  <a:pt x="6523884" y="844893"/>
                </a:cubicBezTo>
                <a:cubicBezTo>
                  <a:pt x="6523884" y="880385"/>
                  <a:pt x="6495108" y="909161"/>
                  <a:pt x="6459616" y="909161"/>
                </a:cubicBezTo>
                <a:cubicBezTo>
                  <a:pt x="6424123" y="909161"/>
                  <a:pt x="6395350" y="880385"/>
                  <a:pt x="6395350" y="844893"/>
                </a:cubicBezTo>
                <a:cubicBezTo>
                  <a:pt x="6395350" y="809400"/>
                  <a:pt x="6424123" y="780628"/>
                  <a:pt x="6459616" y="780628"/>
                </a:cubicBezTo>
                <a:close/>
                <a:moveTo>
                  <a:pt x="6613197" y="777361"/>
                </a:moveTo>
                <a:cubicBezTo>
                  <a:pt x="6650496" y="777361"/>
                  <a:pt x="6680732" y="807597"/>
                  <a:pt x="6680732" y="844896"/>
                </a:cubicBezTo>
                <a:cubicBezTo>
                  <a:pt x="6680732" y="882192"/>
                  <a:pt x="6650496" y="912428"/>
                  <a:pt x="6613197" y="912428"/>
                </a:cubicBezTo>
                <a:cubicBezTo>
                  <a:pt x="6575902" y="912428"/>
                  <a:pt x="6545666" y="882192"/>
                  <a:pt x="6545666" y="844896"/>
                </a:cubicBezTo>
                <a:cubicBezTo>
                  <a:pt x="6545666" y="807597"/>
                  <a:pt x="6575902" y="777361"/>
                  <a:pt x="6613197" y="777361"/>
                </a:cubicBezTo>
                <a:close/>
                <a:moveTo>
                  <a:pt x="1384799" y="690583"/>
                </a:moveTo>
                <a:cubicBezTo>
                  <a:pt x="1385161" y="690583"/>
                  <a:pt x="1385161" y="690583"/>
                  <a:pt x="1385161" y="690945"/>
                </a:cubicBezTo>
                <a:cubicBezTo>
                  <a:pt x="1385161" y="691311"/>
                  <a:pt x="1384799" y="691311"/>
                  <a:pt x="1384799" y="691311"/>
                </a:cubicBezTo>
                <a:cubicBezTo>
                  <a:pt x="1384437" y="691311"/>
                  <a:pt x="1384437" y="691311"/>
                  <a:pt x="1384437" y="690945"/>
                </a:cubicBezTo>
                <a:cubicBezTo>
                  <a:pt x="1384437" y="690583"/>
                  <a:pt x="1384437" y="690583"/>
                  <a:pt x="1384799" y="690583"/>
                </a:cubicBezTo>
                <a:close/>
                <a:moveTo>
                  <a:pt x="923681" y="690583"/>
                </a:moveTo>
                <a:cubicBezTo>
                  <a:pt x="924043" y="690583"/>
                  <a:pt x="924043" y="690583"/>
                  <a:pt x="924043" y="690945"/>
                </a:cubicBezTo>
                <a:cubicBezTo>
                  <a:pt x="924043" y="691311"/>
                  <a:pt x="923681" y="691311"/>
                  <a:pt x="923681" y="691311"/>
                </a:cubicBezTo>
                <a:cubicBezTo>
                  <a:pt x="923319" y="691311"/>
                  <a:pt x="923319" y="691311"/>
                  <a:pt x="923319" y="690945"/>
                </a:cubicBezTo>
                <a:cubicBezTo>
                  <a:pt x="923319" y="690583"/>
                  <a:pt x="923319" y="690583"/>
                  <a:pt x="923681" y="690583"/>
                </a:cubicBezTo>
                <a:close/>
                <a:moveTo>
                  <a:pt x="769733" y="690583"/>
                </a:moveTo>
                <a:cubicBezTo>
                  <a:pt x="770096" y="690583"/>
                  <a:pt x="770096" y="690583"/>
                  <a:pt x="770096" y="690945"/>
                </a:cubicBezTo>
                <a:cubicBezTo>
                  <a:pt x="770096" y="691311"/>
                  <a:pt x="769733" y="691311"/>
                  <a:pt x="769733" y="691311"/>
                </a:cubicBezTo>
                <a:cubicBezTo>
                  <a:pt x="769371" y="691311"/>
                  <a:pt x="769371" y="691311"/>
                  <a:pt x="769371" y="690945"/>
                </a:cubicBezTo>
                <a:cubicBezTo>
                  <a:pt x="769371" y="690583"/>
                  <a:pt x="769371" y="690583"/>
                  <a:pt x="769733" y="690583"/>
                </a:cubicBezTo>
                <a:close/>
                <a:moveTo>
                  <a:pt x="616152" y="690221"/>
                </a:moveTo>
                <a:cubicBezTo>
                  <a:pt x="616552" y="690221"/>
                  <a:pt x="616876" y="690545"/>
                  <a:pt x="616876" y="690949"/>
                </a:cubicBezTo>
                <a:cubicBezTo>
                  <a:pt x="616876" y="691349"/>
                  <a:pt x="616552" y="691673"/>
                  <a:pt x="616152" y="691673"/>
                </a:cubicBezTo>
                <a:cubicBezTo>
                  <a:pt x="615748" y="691673"/>
                  <a:pt x="615424" y="691349"/>
                  <a:pt x="615424" y="690949"/>
                </a:cubicBezTo>
                <a:cubicBezTo>
                  <a:pt x="615424" y="690545"/>
                  <a:pt x="615748" y="690221"/>
                  <a:pt x="616152" y="690221"/>
                </a:cubicBezTo>
                <a:close/>
                <a:moveTo>
                  <a:pt x="1538746" y="689493"/>
                </a:moveTo>
                <a:cubicBezTo>
                  <a:pt x="1539547" y="689493"/>
                  <a:pt x="1540198" y="690145"/>
                  <a:pt x="1540198" y="690945"/>
                </a:cubicBezTo>
                <a:cubicBezTo>
                  <a:pt x="1540198" y="691746"/>
                  <a:pt x="1539547" y="692397"/>
                  <a:pt x="1538746" y="692397"/>
                </a:cubicBezTo>
                <a:cubicBezTo>
                  <a:pt x="1537942" y="692397"/>
                  <a:pt x="1537294" y="691746"/>
                  <a:pt x="1537294" y="690945"/>
                </a:cubicBezTo>
                <a:cubicBezTo>
                  <a:pt x="1537294" y="690145"/>
                  <a:pt x="1537942" y="689493"/>
                  <a:pt x="1538746" y="689493"/>
                </a:cubicBezTo>
                <a:close/>
                <a:moveTo>
                  <a:pt x="1692328" y="688768"/>
                </a:moveTo>
                <a:cubicBezTo>
                  <a:pt x="1693532" y="688768"/>
                  <a:pt x="1694508" y="689744"/>
                  <a:pt x="1694508" y="690949"/>
                </a:cubicBezTo>
                <a:cubicBezTo>
                  <a:pt x="1694508" y="692150"/>
                  <a:pt x="1693532" y="693126"/>
                  <a:pt x="1692328" y="693126"/>
                </a:cubicBezTo>
                <a:cubicBezTo>
                  <a:pt x="1691127" y="693126"/>
                  <a:pt x="1690151" y="692150"/>
                  <a:pt x="1690151" y="690949"/>
                </a:cubicBezTo>
                <a:cubicBezTo>
                  <a:pt x="1690151" y="689744"/>
                  <a:pt x="1691127" y="688768"/>
                  <a:pt x="1692328" y="688768"/>
                </a:cubicBezTo>
                <a:close/>
                <a:moveTo>
                  <a:pt x="1846279" y="688040"/>
                </a:moveTo>
                <a:cubicBezTo>
                  <a:pt x="1848093" y="688040"/>
                  <a:pt x="1849546" y="689493"/>
                  <a:pt x="1849546" y="691307"/>
                </a:cubicBezTo>
                <a:cubicBezTo>
                  <a:pt x="1849546" y="693122"/>
                  <a:pt x="1848093" y="694574"/>
                  <a:pt x="1846279" y="694574"/>
                </a:cubicBezTo>
                <a:cubicBezTo>
                  <a:pt x="1844464" y="694574"/>
                  <a:pt x="1843012" y="693122"/>
                  <a:pt x="1843012" y="691307"/>
                </a:cubicBezTo>
                <a:cubicBezTo>
                  <a:pt x="1843012" y="689493"/>
                  <a:pt x="1844464" y="688040"/>
                  <a:pt x="1846279" y="688040"/>
                </a:cubicBezTo>
                <a:close/>
                <a:moveTo>
                  <a:pt x="1999860" y="686588"/>
                </a:moveTo>
                <a:cubicBezTo>
                  <a:pt x="2002403" y="686588"/>
                  <a:pt x="2004217" y="688403"/>
                  <a:pt x="2004217" y="690945"/>
                </a:cubicBezTo>
                <a:cubicBezTo>
                  <a:pt x="2004217" y="693488"/>
                  <a:pt x="2002037" y="695302"/>
                  <a:pt x="1999860" y="695302"/>
                </a:cubicBezTo>
                <a:cubicBezTo>
                  <a:pt x="1997318" y="695302"/>
                  <a:pt x="1995503" y="693488"/>
                  <a:pt x="1995503" y="690945"/>
                </a:cubicBezTo>
                <a:cubicBezTo>
                  <a:pt x="1995503" y="688403"/>
                  <a:pt x="1997318" y="686588"/>
                  <a:pt x="1999860" y="686588"/>
                </a:cubicBezTo>
                <a:close/>
                <a:moveTo>
                  <a:pt x="2153811" y="685498"/>
                </a:moveTo>
                <a:cubicBezTo>
                  <a:pt x="2157078" y="685498"/>
                  <a:pt x="2159621" y="688040"/>
                  <a:pt x="2159621" y="691307"/>
                </a:cubicBezTo>
                <a:cubicBezTo>
                  <a:pt x="2159621" y="694574"/>
                  <a:pt x="2157078" y="697117"/>
                  <a:pt x="2153811" y="697117"/>
                </a:cubicBezTo>
                <a:cubicBezTo>
                  <a:pt x="2150545" y="697117"/>
                  <a:pt x="2148002" y="694574"/>
                  <a:pt x="2148002" y="691307"/>
                </a:cubicBezTo>
                <a:cubicBezTo>
                  <a:pt x="2148002" y="688040"/>
                  <a:pt x="2150545" y="685498"/>
                  <a:pt x="2153811" y="685498"/>
                </a:cubicBezTo>
                <a:close/>
                <a:moveTo>
                  <a:pt x="2307393" y="683683"/>
                </a:moveTo>
                <a:cubicBezTo>
                  <a:pt x="2311388" y="683683"/>
                  <a:pt x="2314655" y="686950"/>
                  <a:pt x="2314655" y="690945"/>
                </a:cubicBezTo>
                <a:cubicBezTo>
                  <a:pt x="2314655" y="694940"/>
                  <a:pt x="2311388" y="698207"/>
                  <a:pt x="2307393" y="698207"/>
                </a:cubicBezTo>
                <a:cubicBezTo>
                  <a:pt x="2303398" y="698207"/>
                  <a:pt x="2300131" y="694940"/>
                  <a:pt x="2300131" y="690945"/>
                </a:cubicBezTo>
                <a:cubicBezTo>
                  <a:pt x="2300131" y="686950"/>
                  <a:pt x="2303398" y="683683"/>
                  <a:pt x="2307393" y="683683"/>
                </a:cubicBezTo>
                <a:close/>
                <a:moveTo>
                  <a:pt x="2461340" y="681869"/>
                </a:moveTo>
                <a:cubicBezTo>
                  <a:pt x="2466425" y="681869"/>
                  <a:pt x="2470420" y="685864"/>
                  <a:pt x="2470420" y="690945"/>
                </a:cubicBezTo>
                <a:cubicBezTo>
                  <a:pt x="2470420" y="696030"/>
                  <a:pt x="2466425" y="700025"/>
                  <a:pt x="2461340" y="700025"/>
                </a:cubicBezTo>
                <a:cubicBezTo>
                  <a:pt x="2456259" y="700025"/>
                  <a:pt x="2452264" y="696030"/>
                  <a:pt x="2452264" y="690945"/>
                </a:cubicBezTo>
                <a:cubicBezTo>
                  <a:pt x="2452264" y="685864"/>
                  <a:pt x="2456259" y="681869"/>
                  <a:pt x="2461340" y="681869"/>
                </a:cubicBezTo>
                <a:close/>
                <a:moveTo>
                  <a:pt x="2614925" y="680779"/>
                </a:moveTo>
                <a:cubicBezTo>
                  <a:pt x="2620373" y="680779"/>
                  <a:pt x="2625092" y="685498"/>
                  <a:pt x="2625092" y="690945"/>
                </a:cubicBezTo>
                <a:cubicBezTo>
                  <a:pt x="2625092" y="696392"/>
                  <a:pt x="2620735" y="701111"/>
                  <a:pt x="2614925" y="701111"/>
                </a:cubicBezTo>
                <a:cubicBezTo>
                  <a:pt x="2609478" y="701111"/>
                  <a:pt x="2604759" y="696392"/>
                  <a:pt x="2604759" y="690945"/>
                </a:cubicBezTo>
                <a:cubicBezTo>
                  <a:pt x="2604759" y="685498"/>
                  <a:pt x="2609478" y="680779"/>
                  <a:pt x="2614925" y="680779"/>
                </a:cubicBezTo>
                <a:close/>
                <a:moveTo>
                  <a:pt x="2768873" y="678964"/>
                </a:moveTo>
                <a:cubicBezTo>
                  <a:pt x="2775410" y="678964"/>
                  <a:pt x="2780858" y="684412"/>
                  <a:pt x="2780858" y="690945"/>
                </a:cubicBezTo>
                <a:cubicBezTo>
                  <a:pt x="2780858" y="697482"/>
                  <a:pt x="2775410" y="702926"/>
                  <a:pt x="2768873" y="702926"/>
                </a:cubicBezTo>
                <a:cubicBezTo>
                  <a:pt x="2762339" y="702926"/>
                  <a:pt x="2756892" y="697482"/>
                  <a:pt x="2756892" y="690945"/>
                </a:cubicBezTo>
                <a:cubicBezTo>
                  <a:pt x="2756892" y="684412"/>
                  <a:pt x="2762339" y="678964"/>
                  <a:pt x="2768873" y="678964"/>
                </a:cubicBezTo>
                <a:close/>
                <a:moveTo>
                  <a:pt x="2922824" y="677150"/>
                </a:moveTo>
                <a:cubicBezTo>
                  <a:pt x="2930444" y="677150"/>
                  <a:pt x="2936619" y="683329"/>
                  <a:pt x="2936619" y="690949"/>
                </a:cubicBezTo>
                <a:cubicBezTo>
                  <a:pt x="2936619" y="698565"/>
                  <a:pt x="2930444" y="704744"/>
                  <a:pt x="2922824" y="704744"/>
                </a:cubicBezTo>
                <a:cubicBezTo>
                  <a:pt x="2915204" y="704744"/>
                  <a:pt x="2909025" y="698565"/>
                  <a:pt x="2909025" y="690949"/>
                </a:cubicBezTo>
                <a:cubicBezTo>
                  <a:pt x="2909025" y="683329"/>
                  <a:pt x="2915204" y="677150"/>
                  <a:pt x="2922824" y="677150"/>
                </a:cubicBezTo>
                <a:close/>
                <a:moveTo>
                  <a:pt x="3076402" y="675697"/>
                </a:moveTo>
                <a:cubicBezTo>
                  <a:pt x="3084826" y="675697"/>
                  <a:pt x="3091653" y="682525"/>
                  <a:pt x="3091653" y="690949"/>
                </a:cubicBezTo>
                <a:cubicBezTo>
                  <a:pt x="3091653" y="699369"/>
                  <a:pt x="3084826" y="706197"/>
                  <a:pt x="3076402" y="706197"/>
                </a:cubicBezTo>
                <a:cubicBezTo>
                  <a:pt x="3067981" y="706197"/>
                  <a:pt x="3061154" y="699369"/>
                  <a:pt x="3061154" y="690949"/>
                </a:cubicBezTo>
                <a:cubicBezTo>
                  <a:pt x="3061154" y="682525"/>
                  <a:pt x="3067981" y="675697"/>
                  <a:pt x="3076402" y="675697"/>
                </a:cubicBezTo>
                <a:close/>
                <a:moveTo>
                  <a:pt x="3230353" y="673883"/>
                </a:moveTo>
                <a:cubicBezTo>
                  <a:pt x="3239776" y="673883"/>
                  <a:pt x="3247419" y="681522"/>
                  <a:pt x="3247419" y="690949"/>
                </a:cubicBezTo>
                <a:cubicBezTo>
                  <a:pt x="3247419" y="700372"/>
                  <a:pt x="3239776" y="708015"/>
                  <a:pt x="3230353" y="708015"/>
                </a:cubicBezTo>
                <a:cubicBezTo>
                  <a:pt x="3220926" y="708015"/>
                  <a:pt x="3213287" y="700372"/>
                  <a:pt x="3213287" y="690949"/>
                </a:cubicBezTo>
                <a:cubicBezTo>
                  <a:pt x="3213287" y="681522"/>
                  <a:pt x="3220926" y="673883"/>
                  <a:pt x="3230353" y="673883"/>
                </a:cubicBezTo>
                <a:close/>
                <a:moveTo>
                  <a:pt x="3383934" y="671703"/>
                </a:moveTo>
                <a:cubicBezTo>
                  <a:pt x="3394566" y="671703"/>
                  <a:pt x="3403180" y="680318"/>
                  <a:pt x="3403180" y="690945"/>
                </a:cubicBezTo>
                <a:cubicBezTo>
                  <a:pt x="3403180" y="701573"/>
                  <a:pt x="3394566" y="710191"/>
                  <a:pt x="3383934" y="710191"/>
                </a:cubicBezTo>
                <a:cubicBezTo>
                  <a:pt x="3373307" y="710191"/>
                  <a:pt x="3364692" y="701573"/>
                  <a:pt x="3364692" y="690945"/>
                </a:cubicBezTo>
                <a:cubicBezTo>
                  <a:pt x="3364692" y="680318"/>
                  <a:pt x="3373307" y="671703"/>
                  <a:pt x="3383934" y="671703"/>
                </a:cubicBezTo>
                <a:close/>
                <a:moveTo>
                  <a:pt x="3537886" y="669526"/>
                </a:moveTo>
                <a:cubicBezTo>
                  <a:pt x="3549714" y="669526"/>
                  <a:pt x="3559308" y="679117"/>
                  <a:pt x="3559308" y="690949"/>
                </a:cubicBezTo>
                <a:cubicBezTo>
                  <a:pt x="3559308" y="702777"/>
                  <a:pt x="3549714" y="712372"/>
                  <a:pt x="3537886" y="712372"/>
                </a:cubicBezTo>
                <a:cubicBezTo>
                  <a:pt x="3526053" y="712372"/>
                  <a:pt x="3516462" y="702777"/>
                  <a:pt x="3516462" y="690949"/>
                </a:cubicBezTo>
                <a:cubicBezTo>
                  <a:pt x="3516462" y="679117"/>
                  <a:pt x="3526053" y="669526"/>
                  <a:pt x="3537886" y="669526"/>
                </a:cubicBezTo>
                <a:close/>
                <a:moveTo>
                  <a:pt x="3691471" y="668074"/>
                </a:moveTo>
                <a:cubicBezTo>
                  <a:pt x="3704104" y="668074"/>
                  <a:pt x="3714342" y="678316"/>
                  <a:pt x="3714342" y="690949"/>
                </a:cubicBezTo>
                <a:cubicBezTo>
                  <a:pt x="3714342" y="703582"/>
                  <a:pt x="3704104" y="713820"/>
                  <a:pt x="3691471" y="713820"/>
                </a:cubicBezTo>
                <a:cubicBezTo>
                  <a:pt x="3678838" y="713820"/>
                  <a:pt x="3668596" y="703582"/>
                  <a:pt x="3668596" y="690949"/>
                </a:cubicBezTo>
                <a:cubicBezTo>
                  <a:pt x="3668596" y="678316"/>
                  <a:pt x="3678838" y="668074"/>
                  <a:pt x="3691471" y="668074"/>
                </a:cubicBezTo>
                <a:close/>
                <a:moveTo>
                  <a:pt x="3845414" y="665893"/>
                </a:moveTo>
                <a:cubicBezTo>
                  <a:pt x="3859252" y="665893"/>
                  <a:pt x="3870470" y="677112"/>
                  <a:pt x="3870470" y="690945"/>
                </a:cubicBezTo>
                <a:cubicBezTo>
                  <a:pt x="3870470" y="704782"/>
                  <a:pt x="3859252" y="716001"/>
                  <a:pt x="3845414" y="716001"/>
                </a:cubicBezTo>
                <a:cubicBezTo>
                  <a:pt x="3831581" y="716001"/>
                  <a:pt x="3820362" y="704782"/>
                  <a:pt x="3820362" y="690945"/>
                </a:cubicBezTo>
                <a:cubicBezTo>
                  <a:pt x="3820362" y="677112"/>
                  <a:pt x="3831581" y="665893"/>
                  <a:pt x="3845414" y="665893"/>
                </a:cubicBezTo>
                <a:close/>
                <a:moveTo>
                  <a:pt x="3999000" y="663717"/>
                </a:moveTo>
                <a:cubicBezTo>
                  <a:pt x="4013885" y="663717"/>
                  <a:pt x="4026232" y="676063"/>
                  <a:pt x="4026232" y="690949"/>
                </a:cubicBezTo>
                <a:cubicBezTo>
                  <a:pt x="4026232" y="705834"/>
                  <a:pt x="4014247" y="718181"/>
                  <a:pt x="3999000" y="718181"/>
                </a:cubicBezTo>
                <a:cubicBezTo>
                  <a:pt x="3984114" y="718181"/>
                  <a:pt x="3971768" y="705834"/>
                  <a:pt x="3971768" y="690949"/>
                </a:cubicBezTo>
                <a:cubicBezTo>
                  <a:pt x="3971768" y="676063"/>
                  <a:pt x="3984114" y="663717"/>
                  <a:pt x="3999000" y="663717"/>
                </a:cubicBezTo>
                <a:close/>
                <a:moveTo>
                  <a:pt x="4152947" y="661174"/>
                </a:moveTo>
                <a:cubicBezTo>
                  <a:pt x="4169392" y="661174"/>
                  <a:pt x="4182722" y="674504"/>
                  <a:pt x="4182722" y="690949"/>
                </a:cubicBezTo>
                <a:cubicBezTo>
                  <a:pt x="4182722" y="707390"/>
                  <a:pt x="4169392" y="720720"/>
                  <a:pt x="4152947" y="720720"/>
                </a:cubicBezTo>
                <a:cubicBezTo>
                  <a:pt x="4136506" y="720720"/>
                  <a:pt x="4123176" y="707390"/>
                  <a:pt x="4123176" y="690949"/>
                </a:cubicBezTo>
                <a:cubicBezTo>
                  <a:pt x="4123176" y="674504"/>
                  <a:pt x="4136506" y="661174"/>
                  <a:pt x="4152947" y="661174"/>
                </a:cubicBezTo>
                <a:close/>
                <a:moveTo>
                  <a:pt x="4306532" y="658994"/>
                </a:moveTo>
                <a:cubicBezTo>
                  <a:pt x="4324178" y="658994"/>
                  <a:pt x="4338484" y="673300"/>
                  <a:pt x="4338484" y="690945"/>
                </a:cubicBezTo>
                <a:cubicBezTo>
                  <a:pt x="4338484" y="708590"/>
                  <a:pt x="4324178" y="722896"/>
                  <a:pt x="4306532" y="722896"/>
                </a:cubicBezTo>
                <a:cubicBezTo>
                  <a:pt x="4288887" y="722896"/>
                  <a:pt x="4274581" y="708590"/>
                  <a:pt x="4274581" y="690945"/>
                </a:cubicBezTo>
                <a:cubicBezTo>
                  <a:pt x="4274581" y="673300"/>
                  <a:pt x="4288887" y="658994"/>
                  <a:pt x="4306532" y="658994"/>
                </a:cubicBezTo>
                <a:close/>
                <a:moveTo>
                  <a:pt x="4460480" y="657179"/>
                </a:moveTo>
                <a:cubicBezTo>
                  <a:pt x="4479128" y="657179"/>
                  <a:pt x="4494250" y="672297"/>
                  <a:pt x="4494250" y="690945"/>
                </a:cubicBezTo>
                <a:cubicBezTo>
                  <a:pt x="4494250" y="709597"/>
                  <a:pt x="4479128" y="724715"/>
                  <a:pt x="4460480" y="724715"/>
                </a:cubicBezTo>
                <a:cubicBezTo>
                  <a:pt x="4441832" y="724715"/>
                  <a:pt x="4426714" y="709597"/>
                  <a:pt x="4426714" y="690945"/>
                </a:cubicBezTo>
                <a:cubicBezTo>
                  <a:pt x="4426714" y="672297"/>
                  <a:pt x="4441832" y="657179"/>
                  <a:pt x="4460480" y="657179"/>
                </a:cubicBezTo>
                <a:close/>
                <a:moveTo>
                  <a:pt x="4614061" y="654637"/>
                </a:moveTo>
                <a:cubicBezTo>
                  <a:pt x="4634032" y="654637"/>
                  <a:pt x="4650370" y="670975"/>
                  <a:pt x="4650370" y="690945"/>
                </a:cubicBezTo>
                <a:cubicBezTo>
                  <a:pt x="4650370" y="710916"/>
                  <a:pt x="4634032" y="727253"/>
                  <a:pt x="4614061" y="727253"/>
                </a:cubicBezTo>
                <a:cubicBezTo>
                  <a:pt x="4594090" y="727253"/>
                  <a:pt x="4577753" y="710916"/>
                  <a:pt x="4577753" y="690945"/>
                </a:cubicBezTo>
                <a:cubicBezTo>
                  <a:pt x="4577753" y="670975"/>
                  <a:pt x="4594090" y="654637"/>
                  <a:pt x="4614061" y="654637"/>
                </a:cubicBezTo>
                <a:close/>
                <a:moveTo>
                  <a:pt x="4768012" y="652094"/>
                </a:moveTo>
                <a:cubicBezTo>
                  <a:pt x="4789435" y="652094"/>
                  <a:pt x="4806860" y="669522"/>
                  <a:pt x="4806860" y="690945"/>
                </a:cubicBezTo>
                <a:cubicBezTo>
                  <a:pt x="4806860" y="712368"/>
                  <a:pt x="4789435" y="729796"/>
                  <a:pt x="4768012" y="729796"/>
                </a:cubicBezTo>
                <a:cubicBezTo>
                  <a:pt x="4746590" y="729796"/>
                  <a:pt x="4729162" y="712368"/>
                  <a:pt x="4729162" y="690945"/>
                </a:cubicBezTo>
                <a:cubicBezTo>
                  <a:pt x="4729162" y="669522"/>
                  <a:pt x="4746590" y="652094"/>
                  <a:pt x="4768012" y="652094"/>
                </a:cubicBezTo>
                <a:close/>
                <a:moveTo>
                  <a:pt x="4921594" y="649918"/>
                </a:moveTo>
                <a:cubicBezTo>
                  <a:pt x="4944469" y="649918"/>
                  <a:pt x="4962625" y="668074"/>
                  <a:pt x="4962625" y="690945"/>
                </a:cubicBezTo>
                <a:cubicBezTo>
                  <a:pt x="4962625" y="713820"/>
                  <a:pt x="4944107" y="731976"/>
                  <a:pt x="4921594" y="731976"/>
                </a:cubicBezTo>
                <a:cubicBezTo>
                  <a:pt x="4898722" y="731976"/>
                  <a:pt x="4880566" y="713820"/>
                  <a:pt x="4880566" y="690945"/>
                </a:cubicBezTo>
                <a:cubicBezTo>
                  <a:pt x="4880566" y="668074"/>
                  <a:pt x="4898722" y="649918"/>
                  <a:pt x="4921594" y="649918"/>
                </a:cubicBezTo>
                <a:close/>
                <a:moveTo>
                  <a:pt x="5075541" y="647375"/>
                </a:moveTo>
                <a:cubicBezTo>
                  <a:pt x="5099503" y="647375"/>
                  <a:pt x="5119111" y="666984"/>
                  <a:pt x="5119111" y="690945"/>
                </a:cubicBezTo>
                <a:cubicBezTo>
                  <a:pt x="5119111" y="714911"/>
                  <a:pt x="5099503" y="734515"/>
                  <a:pt x="5075541" y="734515"/>
                </a:cubicBezTo>
                <a:cubicBezTo>
                  <a:pt x="5051580" y="734515"/>
                  <a:pt x="5031971" y="714911"/>
                  <a:pt x="5031971" y="690945"/>
                </a:cubicBezTo>
                <a:cubicBezTo>
                  <a:pt x="5031971" y="666984"/>
                  <a:pt x="5051580" y="647375"/>
                  <a:pt x="5075541" y="647375"/>
                </a:cubicBezTo>
                <a:close/>
                <a:moveTo>
                  <a:pt x="5229126" y="644836"/>
                </a:moveTo>
                <a:cubicBezTo>
                  <a:pt x="5254540" y="644836"/>
                  <a:pt x="5275239" y="665531"/>
                  <a:pt x="5275239" y="690949"/>
                </a:cubicBezTo>
                <a:cubicBezTo>
                  <a:pt x="5275239" y="716363"/>
                  <a:pt x="5254540" y="737058"/>
                  <a:pt x="5229126" y="737058"/>
                </a:cubicBezTo>
                <a:cubicBezTo>
                  <a:pt x="5203708" y="737058"/>
                  <a:pt x="5183014" y="716363"/>
                  <a:pt x="5183014" y="690949"/>
                </a:cubicBezTo>
                <a:cubicBezTo>
                  <a:pt x="5183014" y="665531"/>
                  <a:pt x="5203708" y="644836"/>
                  <a:pt x="5229126" y="644836"/>
                </a:cubicBezTo>
                <a:close/>
                <a:moveTo>
                  <a:pt x="5383074" y="642294"/>
                </a:moveTo>
                <a:cubicBezTo>
                  <a:pt x="5409940" y="642294"/>
                  <a:pt x="5431725" y="664079"/>
                  <a:pt x="5431725" y="690949"/>
                </a:cubicBezTo>
                <a:cubicBezTo>
                  <a:pt x="5431725" y="717815"/>
                  <a:pt x="5409940" y="739600"/>
                  <a:pt x="5383074" y="739600"/>
                </a:cubicBezTo>
                <a:cubicBezTo>
                  <a:pt x="5356204" y="739600"/>
                  <a:pt x="5334419" y="717815"/>
                  <a:pt x="5334419" y="690949"/>
                </a:cubicBezTo>
                <a:cubicBezTo>
                  <a:pt x="5334419" y="664079"/>
                  <a:pt x="5356204" y="642294"/>
                  <a:pt x="5383074" y="642294"/>
                </a:cubicBezTo>
                <a:close/>
                <a:moveTo>
                  <a:pt x="5536659" y="639751"/>
                </a:moveTo>
                <a:cubicBezTo>
                  <a:pt x="5564978" y="639751"/>
                  <a:pt x="5587853" y="662626"/>
                  <a:pt x="5587853" y="690945"/>
                </a:cubicBezTo>
                <a:cubicBezTo>
                  <a:pt x="5587853" y="719268"/>
                  <a:pt x="5564978" y="742139"/>
                  <a:pt x="5536659" y="742139"/>
                </a:cubicBezTo>
                <a:cubicBezTo>
                  <a:pt x="5508336" y="742139"/>
                  <a:pt x="5485462" y="719268"/>
                  <a:pt x="5485462" y="690945"/>
                </a:cubicBezTo>
                <a:cubicBezTo>
                  <a:pt x="5485462" y="662626"/>
                  <a:pt x="5508336" y="639751"/>
                  <a:pt x="5536659" y="639751"/>
                </a:cubicBezTo>
                <a:close/>
                <a:moveTo>
                  <a:pt x="5690606" y="637571"/>
                </a:moveTo>
                <a:cubicBezTo>
                  <a:pt x="5720016" y="637571"/>
                  <a:pt x="5743980" y="661533"/>
                  <a:pt x="5743980" y="690945"/>
                </a:cubicBezTo>
                <a:cubicBezTo>
                  <a:pt x="5743980" y="720354"/>
                  <a:pt x="5720016" y="744319"/>
                  <a:pt x="5690606" y="744319"/>
                </a:cubicBezTo>
                <a:cubicBezTo>
                  <a:pt x="5661198" y="744319"/>
                  <a:pt x="5637232" y="720354"/>
                  <a:pt x="5637232" y="690945"/>
                </a:cubicBezTo>
                <a:cubicBezTo>
                  <a:pt x="5637232" y="661533"/>
                  <a:pt x="5661198" y="637571"/>
                  <a:pt x="5690606" y="637571"/>
                </a:cubicBezTo>
                <a:close/>
                <a:moveTo>
                  <a:pt x="5844554" y="634666"/>
                </a:moveTo>
                <a:cubicBezTo>
                  <a:pt x="5875777" y="634666"/>
                  <a:pt x="5900829" y="659718"/>
                  <a:pt x="5900829" y="690945"/>
                </a:cubicBezTo>
                <a:cubicBezTo>
                  <a:pt x="5900829" y="722168"/>
                  <a:pt x="5875777" y="747224"/>
                  <a:pt x="5844554" y="747224"/>
                </a:cubicBezTo>
                <a:cubicBezTo>
                  <a:pt x="5813327" y="747224"/>
                  <a:pt x="5788275" y="722168"/>
                  <a:pt x="5788275" y="690945"/>
                </a:cubicBezTo>
                <a:cubicBezTo>
                  <a:pt x="5788275" y="659718"/>
                  <a:pt x="5813327" y="634666"/>
                  <a:pt x="5844554" y="634666"/>
                </a:cubicBezTo>
                <a:close/>
                <a:moveTo>
                  <a:pt x="5998136" y="632128"/>
                </a:moveTo>
                <a:cubicBezTo>
                  <a:pt x="6030624" y="632128"/>
                  <a:pt x="6056957" y="658460"/>
                  <a:pt x="6056957" y="690949"/>
                </a:cubicBezTo>
                <a:cubicBezTo>
                  <a:pt x="6056957" y="723434"/>
                  <a:pt x="6030624" y="749767"/>
                  <a:pt x="5998136" y="749767"/>
                </a:cubicBezTo>
                <a:cubicBezTo>
                  <a:pt x="5965650" y="749767"/>
                  <a:pt x="5939318" y="723434"/>
                  <a:pt x="5939318" y="690949"/>
                </a:cubicBezTo>
                <a:cubicBezTo>
                  <a:pt x="5939318" y="658460"/>
                  <a:pt x="5965650" y="632128"/>
                  <a:pt x="5998136" y="632128"/>
                </a:cubicBezTo>
                <a:close/>
                <a:moveTo>
                  <a:pt x="6152083" y="629223"/>
                </a:moveTo>
                <a:cubicBezTo>
                  <a:pt x="6186172" y="629223"/>
                  <a:pt x="6213809" y="656859"/>
                  <a:pt x="6213809" y="690949"/>
                </a:cubicBezTo>
                <a:cubicBezTo>
                  <a:pt x="6213809" y="725035"/>
                  <a:pt x="6186172" y="752671"/>
                  <a:pt x="6152083" y="752671"/>
                </a:cubicBezTo>
                <a:cubicBezTo>
                  <a:pt x="6117993" y="752671"/>
                  <a:pt x="6090360" y="725035"/>
                  <a:pt x="6090360" y="690949"/>
                </a:cubicBezTo>
                <a:cubicBezTo>
                  <a:pt x="6090360" y="656859"/>
                  <a:pt x="6117993" y="629223"/>
                  <a:pt x="6152083" y="629223"/>
                </a:cubicBezTo>
                <a:close/>
                <a:moveTo>
                  <a:pt x="6305668" y="626680"/>
                </a:moveTo>
                <a:cubicBezTo>
                  <a:pt x="6341160" y="626680"/>
                  <a:pt x="6369933" y="655452"/>
                  <a:pt x="6369933" y="690945"/>
                </a:cubicBezTo>
                <a:cubicBezTo>
                  <a:pt x="6369933" y="726438"/>
                  <a:pt x="6341160" y="755214"/>
                  <a:pt x="6305668" y="755214"/>
                </a:cubicBezTo>
                <a:cubicBezTo>
                  <a:pt x="6270176" y="755214"/>
                  <a:pt x="6241400" y="726438"/>
                  <a:pt x="6241400" y="690945"/>
                </a:cubicBezTo>
                <a:cubicBezTo>
                  <a:pt x="6241400" y="655452"/>
                  <a:pt x="6270176" y="626680"/>
                  <a:pt x="6305668" y="626680"/>
                </a:cubicBezTo>
                <a:close/>
                <a:moveTo>
                  <a:pt x="6459619" y="623414"/>
                </a:moveTo>
                <a:cubicBezTo>
                  <a:pt x="6496915" y="623414"/>
                  <a:pt x="6527151" y="653650"/>
                  <a:pt x="6527151" y="690949"/>
                </a:cubicBezTo>
                <a:cubicBezTo>
                  <a:pt x="6527151" y="728245"/>
                  <a:pt x="6496915" y="758481"/>
                  <a:pt x="6459619" y="758481"/>
                </a:cubicBezTo>
                <a:cubicBezTo>
                  <a:pt x="6422320" y="758481"/>
                  <a:pt x="6392084" y="728245"/>
                  <a:pt x="6392084" y="690949"/>
                </a:cubicBezTo>
                <a:cubicBezTo>
                  <a:pt x="6392084" y="653650"/>
                  <a:pt x="6422320" y="623414"/>
                  <a:pt x="6459619" y="623414"/>
                </a:cubicBezTo>
                <a:close/>
                <a:moveTo>
                  <a:pt x="6613200" y="620871"/>
                </a:moveTo>
                <a:cubicBezTo>
                  <a:pt x="6651903" y="620871"/>
                  <a:pt x="6683275" y="652243"/>
                  <a:pt x="6683275" y="690945"/>
                </a:cubicBezTo>
                <a:cubicBezTo>
                  <a:pt x="6683275" y="729647"/>
                  <a:pt x="6651903" y="761023"/>
                  <a:pt x="6613200" y="761023"/>
                </a:cubicBezTo>
                <a:cubicBezTo>
                  <a:pt x="6574498" y="761023"/>
                  <a:pt x="6543126" y="729647"/>
                  <a:pt x="6543126" y="690945"/>
                </a:cubicBezTo>
                <a:cubicBezTo>
                  <a:pt x="6543126" y="652243"/>
                  <a:pt x="6574498" y="620871"/>
                  <a:pt x="6613200" y="620871"/>
                </a:cubicBezTo>
                <a:close/>
                <a:moveTo>
                  <a:pt x="1231213" y="536998"/>
                </a:moveTo>
                <a:cubicBezTo>
                  <a:pt x="1231576" y="536998"/>
                  <a:pt x="1231576" y="536998"/>
                  <a:pt x="1231576" y="537360"/>
                </a:cubicBezTo>
                <a:cubicBezTo>
                  <a:pt x="1231576" y="537726"/>
                  <a:pt x="1231213" y="537726"/>
                  <a:pt x="1231213" y="537726"/>
                </a:cubicBezTo>
                <a:cubicBezTo>
                  <a:pt x="1230851" y="537726"/>
                  <a:pt x="1230851" y="537726"/>
                  <a:pt x="1230851" y="537360"/>
                </a:cubicBezTo>
                <a:cubicBezTo>
                  <a:pt x="1230851" y="536998"/>
                  <a:pt x="1230851" y="536998"/>
                  <a:pt x="1231213" y="536998"/>
                </a:cubicBezTo>
                <a:close/>
                <a:moveTo>
                  <a:pt x="769733" y="536998"/>
                </a:moveTo>
                <a:cubicBezTo>
                  <a:pt x="770096" y="536998"/>
                  <a:pt x="770096" y="536998"/>
                  <a:pt x="770096" y="537360"/>
                </a:cubicBezTo>
                <a:cubicBezTo>
                  <a:pt x="770096" y="537726"/>
                  <a:pt x="769733" y="537726"/>
                  <a:pt x="769733" y="537726"/>
                </a:cubicBezTo>
                <a:cubicBezTo>
                  <a:pt x="769371" y="537726"/>
                  <a:pt x="769371" y="537726"/>
                  <a:pt x="769371" y="537360"/>
                </a:cubicBezTo>
                <a:cubicBezTo>
                  <a:pt x="769371" y="536998"/>
                  <a:pt x="769371" y="536998"/>
                  <a:pt x="769733" y="536998"/>
                </a:cubicBezTo>
                <a:close/>
                <a:moveTo>
                  <a:pt x="616148" y="536998"/>
                </a:moveTo>
                <a:cubicBezTo>
                  <a:pt x="616514" y="536998"/>
                  <a:pt x="616514" y="536998"/>
                  <a:pt x="616514" y="537360"/>
                </a:cubicBezTo>
                <a:cubicBezTo>
                  <a:pt x="616514" y="537726"/>
                  <a:pt x="616148" y="537726"/>
                  <a:pt x="616148" y="537726"/>
                </a:cubicBezTo>
                <a:cubicBezTo>
                  <a:pt x="615786" y="537726"/>
                  <a:pt x="615786" y="537726"/>
                  <a:pt x="615786" y="537360"/>
                </a:cubicBezTo>
                <a:cubicBezTo>
                  <a:pt x="615786" y="536998"/>
                  <a:pt x="615786" y="536998"/>
                  <a:pt x="616148" y="536998"/>
                </a:cubicBezTo>
                <a:close/>
                <a:moveTo>
                  <a:pt x="462205" y="536636"/>
                </a:moveTo>
                <a:cubicBezTo>
                  <a:pt x="462605" y="536636"/>
                  <a:pt x="462929" y="536960"/>
                  <a:pt x="462929" y="537364"/>
                </a:cubicBezTo>
                <a:cubicBezTo>
                  <a:pt x="462929" y="537764"/>
                  <a:pt x="462605" y="538088"/>
                  <a:pt x="462205" y="538088"/>
                </a:cubicBezTo>
                <a:cubicBezTo>
                  <a:pt x="461801" y="538088"/>
                  <a:pt x="461476" y="537764"/>
                  <a:pt x="461476" y="537364"/>
                </a:cubicBezTo>
                <a:cubicBezTo>
                  <a:pt x="461476" y="536960"/>
                  <a:pt x="461801" y="536636"/>
                  <a:pt x="462205" y="536636"/>
                </a:cubicBezTo>
                <a:close/>
                <a:moveTo>
                  <a:pt x="1384799" y="535911"/>
                </a:moveTo>
                <a:cubicBezTo>
                  <a:pt x="1385599" y="535911"/>
                  <a:pt x="1386251" y="536563"/>
                  <a:pt x="1386251" y="537364"/>
                </a:cubicBezTo>
                <a:cubicBezTo>
                  <a:pt x="1386251" y="538164"/>
                  <a:pt x="1385599" y="538816"/>
                  <a:pt x="1384799" y="538816"/>
                </a:cubicBezTo>
                <a:cubicBezTo>
                  <a:pt x="1383994" y="538816"/>
                  <a:pt x="1383346" y="538164"/>
                  <a:pt x="1383346" y="537364"/>
                </a:cubicBezTo>
                <a:cubicBezTo>
                  <a:pt x="1383346" y="536563"/>
                  <a:pt x="1383994" y="535911"/>
                  <a:pt x="1384799" y="535911"/>
                </a:cubicBezTo>
                <a:close/>
                <a:moveTo>
                  <a:pt x="308257" y="535545"/>
                </a:moveTo>
                <a:cubicBezTo>
                  <a:pt x="308985" y="535545"/>
                  <a:pt x="309710" y="536273"/>
                  <a:pt x="309710" y="536998"/>
                </a:cubicBezTo>
                <a:lnTo>
                  <a:pt x="309634" y="537073"/>
                </a:lnTo>
                <a:lnTo>
                  <a:pt x="308175" y="535627"/>
                </a:lnTo>
                <a:close/>
                <a:moveTo>
                  <a:pt x="1538750" y="535183"/>
                </a:moveTo>
                <a:cubicBezTo>
                  <a:pt x="1539951" y="535183"/>
                  <a:pt x="1540927" y="536159"/>
                  <a:pt x="1540927" y="537364"/>
                </a:cubicBezTo>
                <a:cubicBezTo>
                  <a:pt x="1540927" y="538564"/>
                  <a:pt x="1539951" y="539540"/>
                  <a:pt x="1538750" y="539540"/>
                </a:cubicBezTo>
                <a:cubicBezTo>
                  <a:pt x="1537545" y="539540"/>
                  <a:pt x="1536570" y="538564"/>
                  <a:pt x="1536570" y="537364"/>
                </a:cubicBezTo>
                <a:cubicBezTo>
                  <a:pt x="1536570" y="536159"/>
                  <a:pt x="1537545" y="535183"/>
                  <a:pt x="1538750" y="535183"/>
                </a:cubicBezTo>
                <a:close/>
                <a:moveTo>
                  <a:pt x="1692328" y="534093"/>
                </a:moveTo>
                <a:cubicBezTo>
                  <a:pt x="1694146" y="534093"/>
                  <a:pt x="1695594" y="535545"/>
                  <a:pt x="1695594" y="537360"/>
                </a:cubicBezTo>
                <a:cubicBezTo>
                  <a:pt x="1695594" y="539178"/>
                  <a:pt x="1694146" y="540630"/>
                  <a:pt x="1692328" y="540630"/>
                </a:cubicBezTo>
                <a:cubicBezTo>
                  <a:pt x="1690513" y="540630"/>
                  <a:pt x="1689061" y="539178"/>
                  <a:pt x="1689061" y="537360"/>
                </a:cubicBezTo>
                <a:cubicBezTo>
                  <a:pt x="1689061" y="535545"/>
                  <a:pt x="1690513" y="534093"/>
                  <a:pt x="1692328" y="534093"/>
                </a:cubicBezTo>
                <a:close/>
                <a:moveTo>
                  <a:pt x="1846279" y="532641"/>
                </a:moveTo>
                <a:cubicBezTo>
                  <a:pt x="1848818" y="532641"/>
                  <a:pt x="1850636" y="534455"/>
                  <a:pt x="1850636" y="536998"/>
                </a:cubicBezTo>
                <a:cubicBezTo>
                  <a:pt x="1850636" y="539540"/>
                  <a:pt x="1848455" y="541355"/>
                  <a:pt x="1846279" y="541355"/>
                </a:cubicBezTo>
                <a:cubicBezTo>
                  <a:pt x="1843736" y="541355"/>
                  <a:pt x="1841922" y="539540"/>
                  <a:pt x="1841922" y="536998"/>
                </a:cubicBezTo>
                <a:cubicBezTo>
                  <a:pt x="1841922" y="534455"/>
                  <a:pt x="1843736" y="532641"/>
                  <a:pt x="1846279" y="532641"/>
                </a:cubicBezTo>
                <a:close/>
                <a:moveTo>
                  <a:pt x="1999860" y="531554"/>
                </a:moveTo>
                <a:cubicBezTo>
                  <a:pt x="2003127" y="531554"/>
                  <a:pt x="2005670" y="534097"/>
                  <a:pt x="2005670" y="537364"/>
                </a:cubicBezTo>
                <a:cubicBezTo>
                  <a:pt x="2005670" y="540630"/>
                  <a:pt x="2003127" y="543173"/>
                  <a:pt x="1999860" y="543173"/>
                </a:cubicBezTo>
                <a:cubicBezTo>
                  <a:pt x="1996593" y="543173"/>
                  <a:pt x="1994051" y="540630"/>
                  <a:pt x="1994051" y="537364"/>
                </a:cubicBezTo>
                <a:cubicBezTo>
                  <a:pt x="1994051" y="534097"/>
                  <a:pt x="1996593" y="531554"/>
                  <a:pt x="1999860" y="531554"/>
                </a:cubicBezTo>
                <a:close/>
                <a:moveTo>
                  <a:pt x="2153808" y="530102"/>
                </a:moveTo>
                <a:cubicBezTo>
                  <a:pt x="2157802" y="530102"/>
                  <a:pt x="2161069" y="533369"/>
                  <a:pt x="2161069" y="537364"/>
                </a:cubicBezTo>
                <a:cubicBezTo>
                  <a:pt x="2161069" y="541359"/>
                  <a:pt x="2157802" y="544625"/>
                  <a:pt x="2153808" y="544625"/>
                </a:cubicBezTo>
                <a:cubicBezTo>
                  <a:pt x="2149813" y="544625"/>
                  <a:pt x="2146546" y="541359"/>
                  <a:pt x="2146546" y="537364"/>
                </a:cubicBezTo>
                <a:cubicBezTo>
                  <a:pt x="2146546" y="533369"/>
                  <a:pt x="2149813" y="530102"/>
                  <a:pt x="2153808" y="530102"/>
                </a:cubicBezTo>
                <a:close/>
                <a:moveTo>
                  <a:pt x="2307393" y="527922"/>
                </a:moveTo>
                <a:cubicBezTo>
                  <a:pt x="2312478" y="527922"/>
                  <a:pt x="2316473" y="531916"/>
                  <a:pt x="2316473" y="536998"/>
                </a:cubicBezTo>
                <a:cubicBezTo>
                  <a:pt x="2316473" y="542083"/>
                  <a:pt x="2312478" y="546078"/>
                  <a:pt x="2307393" y="546078"/>
                </a:cubicBezTo>
                <a:cubicBezTo>
                  <a:pt x="2302312" y="546078"/>
                  <a:pt x="2298317" y="542083"/>
                  <a:pt x="2298317" y="536998"/>
                </a:cubicBezTo>
                <a:cubicBezTo>
                  <a:pt x="2298317" y="531916"/>
                  <a:pt x="2302312" y="527922"/>
                  <a:pt x="2307393" y="527922"/>
                </a:cubicBezTo>
                <a:close/>
                <a:moveTo>
                  <a:pt x="2461340" y="527197"/>
                </a:moveTo>
                <a:cubicBezTo>
                  <a:pt x="2466787" y="527197"/>
                  <a:pt x="2471507" y="531916"/>
                  <a:pt x="2471507" y="537364"/>
                </a:cubicBezTo>
                <a:cubicBezTo>
                  <a:pt x="2471507" y="542811"/>
                  <a:pt x="2467150" y="547530"/>
                  <a:pt x="2461340" y="547530"/>
                </a:cubicBezTo>
                <a:cubicBezTo>
                  <a:pt x="2455893" y="547530"/>
                  <a:pt x="2451174" y="542811"/>
                  <a:pt x="2451174" y="537364"/>
                </a:cubicBezTo>
                <a:cubicBezTo>
                  <a:pt x="2451174" y="531916"/>
                  <a:pt x="2455893" y="527197"/>
                  <a:pt x="2461340" y="527197"/>
                </a:cubicBezTo>
                <a:close/>
                <a:moveTo>
                  <a:pt x="2614925" y="525379"/>
                </a:moveTo>
                <a:cubicBezTo>
                  <a:pt x="2621463" y="525379"/>
                  <a:pt x="2626910" y="530826"/>
                  <a:pt x="2626910" y="537360"/>
                </a:cubicBezTo>
                <a:cubicBezTo>
                  <a:pt x="2626910" y="543897"/>
                  <a:pt x="2621463" y="549341"/>
                  <a:pt x="2614925" y="549341"/>
                </a:cubicBezTo>
                <a:cubicBezTo>
                  <a:pt x="2608392" y="549341"/>
                  <a:pt x="2602945" y="543897"/>
                  <a:pt x="2602945" y="537360"/>
                </a:cubicBezTo>
                <a:cubicBezTo>
                  <a:pt x="2602945" y="530826"/>
                  <a:pt x="2608392" y="525379"/>
                  <a:pt x="2614925" y="525379"/>
                </a:cubicBezTo>
                <a:close/>
                <a:moveTo>
                  <a:pt x="2768877" y="523202"/>
                </a:moveTo>
                <a:cubicBezTo>
                  <a:pt x="2776501" y="523202"/>
                  <a:pt x="2782672" y="529374"/>
                  <a:pt x="2782672" y="537002"/>
                </a:cubicBezTo>
                <a:cubicBezTo>
                  <a:pt x="2782672" y="544625"/>
                  <a:pt x="2776501" y="550797"/>
                  <a:pt x="2768877" y="550797"/>
                </a:cubicBezTo>
                <a:cubicBezTo>
                  <a:pt x="2761249" y="550797"/>
                  <a:pt x="2755078" y="544625"/>
                  <a:pt x="2755078" y="537002"/>
                </a:cubicBezTo>
                <a:cubicBezTo>
                  <a:pt x="2755078" y="529374"/>
                  <a:pt x="2761249" y="523202"/>
                  <a:pt x="2768877" y="523202"/>
                </a:cubicBezTo>
                <a:close/>
                <a:moveTo>
                  <a:pt x="2922454" y="522112"/>
                </a:moveTo>
                <a:cubicBezTo>
                  <a:pt x="2930878" y="522112"/>
                  <a:pt x="2937706" y="528939"/>
                  <a:pt x="2937706" y="537364"/>
                </a:cubicBezTo>
                <a:cubicBezTo>
                  <a:pt x="2937706" y="545784"/>
                  <a:pt x="2930878" y="552611"/>
                  <a:pt x="2922454" y="552611"/>
                </a:cubicBezTo>
                <a:cubicBezTo>
                  <a:pt x="2914034" y="552611"/>
                  <a:pt x="2907207" y="545784"/>
                  <a:pt x="2907207" y="537364"/>
                </a:cubicBezTo>
                <a:cubicBezTo>
                  <a:pt x="2907207" y="528939"/>
                  <a:pt x="2914034" y="522112"/>
                  <a:pt x="2922454" y="522112"/>
                </a:cubicBezTo>
                <a:close/>
                <a:moveTo>
                  <a:pt x="3076406" y="520298"/>
                </a:moveTo>
                <a:cubicBezTo>
                  <a:pt x="3085844" y="520298"/>
                  <a:pt x="3093468" y="527922"/>
                  <a:pt x="3093468" y="537364"/>
                </a:cubicBezTo>
                <a:cubicBezTo>
                  <a:pt x="3093468" y="546802"/>
                  <a:pt x="3085844" y="554430"/>
                  <a:pt x="3076406" y="554430"/>
                </a:cubicBezTo>
                <a:cubicBezTo>
                  <a:pt x="3066963" y="554430"/>
                  <a:pt x="3059340" y="546802"/>
                  <a:pt x="3059340" y="537364"/>
                </a:cubicBezTo>
                <a:cubicBezTo>
                  <a:pt x="3059340" y="527922"/>
                  <a:pt x="3066963" y="520298"/>
                  <a:pt x="3076406" y="520298"/>
                </a:cubicBezTo>
                <a:close/>
                <a:moveTo>
                  <a:pt x="3230353" y="518117"/>
                </a:moveTo>
                <a:cubicBezTo>
                  <a:pt x="3240980" y="518117"/>
                  <a:pt x="3249599" y="526732"/>
                  <a:pt x="3249599" y="537360"/>
                </a:cubicBezTo>
                <a:cubicBezTo>
                  <a:pt x="3249599" y="547987"/>
                  <a:pt x="3240980" y="556602"/>
                  <a:pt x="3230353" y="556602"/>
                </a:cubicBezTo>
                <a:cubicBezTo>
                  <a:pt x="3219725" y="556602"/>
                  <a:pt x="3211110" y="547987"/>
                  <a:pt x="3211110" y="537360"/>
                </a:cubicBezTo>
                <a:cubicBezTo>
                  <a:pt x="3211110" y="526732"/>
                  <a:pt x="3219725" y="518117"/>
                  <a:pt x="3230353" y="518117"/>
                </a:cubicBezTo>
                <a:close/>
                <a:moveTo>
                  <a:pt x="3383938" y="515941"/>
                </a:moveTo>
                <a:cubicBezTo>
                  <a:pt x="3395766" y="515941"/>
                  <a:pt x="3405361" y="525532"/>
                  <a:pt x="3405361" y="537364"/>
                </a:cubicBezTo>
                <a:cubicBezTo>
                  <a:pt x="3405361" y="549192"/>
                  <a:pt x="3395766" y="558787"/>
                  <a:pt x="3383938" y="558787"/>
                </a:cubicBezTo>
                <a:cubicBezTo>
                  <a:pt x="3372106" y="558787"/>
                  <a:pt x="3362515" y="549192"/>
                  <a:pt x="3362515" y="537364"/>
                </a:cubicBezTo>
                <a:cubicBezTo>
                  <a:pt x="3362515" y="525532"/>
                  <a:pt x="3372106" y="515941"/>
                  <a:pt x="3383938" y="515941"/>
                </a:cubicBezTo>
                <a:close/>
                <a:moveTo>
                  <a:pt x="3537886" y="514489"/>
                </a:moveTo>
                <a:cubicBezTo>
                  <a:pt x="3550518" y="514489"/>
                  <a:pt x="3560761" y="524731"/>
                  <a:pt x="3560761" y="537364"/>
                </a:cubicBezTo>
                <a:cubicBezTo>
                  <a:pt x="3560761" y="549996"/>
                  <a:pt x="3550518" y="560239"/>
                  <a:pt x="3537886" y="560239"/>
                </a:cubicBezTo>
                <a:cubicBezTo>
                  <a:pt x="3525253" y="560239"/>
                  <a:pt x="3515010" y="549996"/>
                  <a:pt x="3515010" y="537364"/>
                </a:cubicBezTo>
                <a:cubicBezTo>
                  <a:pt x="3515010" y="524731"/>
                  <a:pt x="3525253" y="514489"/>
                  <a:pt x="3537886" y="514489"/>
                </a:cubicBezTo>
                <a:close/>
                <a:moveTo>
                  <a:pt x="3691467" y="512308"/>
                </a:moveTo>
                <a:cubicBezTo>
                  <a:pt x="3705304" y="512308"/>
                  <a:pt x="3716519" y="523526"/>
                  <a:pt x="3716519" y="537360"/>
                </a:cubicBezTo>
                <a:cubicBezTo>
                  <a:pt x="3716519" y="551197"/>
                  <a:pt x="3705304" y="562412"/>
                  <a:pt x="3691467" y="562412"/>
                </a:cubicBezTo>
                <a:cubicBezTo>
                  <a:pt x="3677630" y="562412"/>
                  <a:pt x="3666415" y="551197"/>
                  <a:pt x="3666415" y="537360"/>
                </a:cubicBezTo>
                <a:cubicBezTo>
                  <a:pt x="3666415" y="523523"/>
                  <a:pt x="3677630" y="512308"/>
                  <a:pt x="3691467" y="512308"/>
                </a:cubicBezTo>
                <a:close/>
                <a:moveTo>
                  <a:pt x="3845418" y="510131"/>
                </a:moveTo>
                <a:cubicBezTo>
                  <a:pt x="3860456" y="510131"/>
                  <a:pt x="3872650" y="522322"/>
                  <a:pt x="3872650" y="537364"/>
                </a:cubicBezTo>
                <a:cubicBezTo>
                  <a:pt x="3872650" y="552402"/>
                  <a:pt x="3860456" y="564596"/>
                  <a:pt x="3845418" y="564596"/>
                </a:cubicBezTo>
                <a:cubicBezTo>
                  <a:pt x="3830376" y="564596"/>
                  <a:pt x="3818186" y="552402"/>
                  <a:pt x="3818186" y="537364"/>
                </a:cubicBezTo>
                <a:cubicBezTo>
                  <a:pt x="3818186" y="522322"/>
                  <a:pt x="3830376" y="510131"/>
                  <a:pt x="3845418" y="510131"/>
                </a:cubicBezTo>
                <a:close/>
                <a:moveTo>
                  <a:pt x="3999000" y="507589"/>
                </a:moveTo>
                <a:cubicBezTo>
                  <a:pt x="4015444" y="507589"/>
                  <a:pt x="4028774" y="520919"/>
                  <a:pt x="4028774" y="537364"/>
                </a:cubicBezTo>
                <a:cubicBezTo>
                  <a:pt x="4028774" y="553804"/>
                  <a:pt x="4015444" y="567135"/>
                  <a:pt x="3999000" y="567135"/>
                </a:cubicBezTo>
                <a:cubicBezTo>
                  <a:pt x="3982559" y="567135"/>
                  <a:pt x="3969229" y="553804"/>
                  <a:pt x="3969229" y="537364"/>
                </a:cubicBezTo>
                <a:cubicBezTo>
                  <a:pt x="3969229" y="520919"/>
                  <a:pt x="3982559" y="507589"/>
                  <a:pt x="3999000" y="507589"/>
                </a:cubicBezTo>
                <a:close/>
                <a:moveTo>
                  <a:pt x="4152947" y="505412"/>
                </a:moveTo>
                <a:cubicBezTo>
                  <a:pt x="4170592" y="505412"/>
                  <a:pt x="4184898" y="519718"/>
                  <a:pt x="4184898" y="537364"/>
                </a:cubicBezTo>
                <a:cubicBezTo>
                  <a:pt x="4184898" y="555009"/>
                  <a:pt x="4170592" y="569315"/>
                  <a:pt x="4152947" y="569315"/>
                </a:cubicBezTo>
                <a:cubicBezTo>
                  <a:pt x="4135302" y="569315"/>
                  <a:pt x="4120996" y="555009"/>
                  <a:pt x="4120996" y="537364"/>
                </a:cubicBezTo>
                <a:cubicBezTo>
                  <a:pt x="4120996" y="519718"/>
                  <a:pt x="4135302" y="505412"/>
                  <a:pt x="4152947" y="505412"/>
                </a:cubicBezTo>
                <a:close/>
                <a:moveTo>
                  <a:pt x="4306532" y="503594"/>
                </a:moveTo>
                <a:cubicBezTo>
                  <a:pt x="4325184" y="503594"/>
                  <a:pt x="4340302" y="518712"/>
                  <a:pt x="4340302" y="537360"/>
                </a:cubicBezTo>
                <a:cubicBezTo>
                  <a:pt x="4340302" y="556012"/>
                  <a:pt x="4325184" y="571130"/>
                  <a:pt x="4306532" y="571130"/>
                </a:cubicBezTo>
                <a:cubicBezTo>
                  <a:pt x="4287884" y="571130"/>
                  <a:pt x="4272766" y="556012"/>
                  <a:pt x="4272766" y="537360"/>
                </a:cubicBezTo>
                <a:cubicBezTo>
                  <a:pt x="4272766" y="518712"/>
                  <a:pt x="4287884" y="503594"/>
                  <a:pt x="4306532" y="503594"/>
                </a:cubicBezTo>
                <a:close/>
                <a:moveTo>
                  <a:pt x="4460480" y="500689"/>
                </a:moveTo>
                <a:cubicBezTo>
                  <a:pt x="4480450" y="500689"/>
                  <a:pt x="4496788" y="517027"/>
                  <a:pt x="4496788" y="536998"/>
                </a:cubicBezTo>
                <a:cubicBezTo>
                  <a:pt x="4496788" y="556968"/>
                  <a:pt x="4480450" y="573306"/>
                  <a:pt x="4460480" y="573306"/>
                </a:cubicBezTo>
                <a:cubicBezTo>
                  <a:pt x="4440509" y="573306"/>
                  <a:pt x="4424172" y="556968"/>
                  <a:pt x="4424172" y="536998"/>
                </a:cubicBezTo>
                <a:cubicBezTo>
                  <a:pt x="4424172" y="517027"/>
                  <a:pt x="4440509" y="500689"/>
                  <a:pt x="4460480" y="500689"/>
                </a:cubicBezTo>
                <a:close/>
                <a:moveTo>
                  <a:pt x="4614065" y="498513"/>
                </a:moveTo>
                <a:cubicBezTo>
                  <a:pt x="4635484" y="498513"/>
                  <a:pt x="4652912" y="515941"/>
                  <a:pt x="4652912" y="537364"/>
                </a:cubicBezTo>
                <a:cubicBezTo>
                  <a:pt x="4652912" y="558787"/>
                  <a:pt x="4635484" y="576215"/>
                  <a:pt x="4614065" y="576215"/>
                </a:cubicBezTo>
                <a:cubicBezTo>
                  <a:pt x="4592642" y="576215"/>
                  <a:pt x="4575214" y="558787"/>
                  <a:pt x="4575214" y="537364"/>
                </a:cubicBezTo>
                <a:cubicBezTo>
                  <a:pt x="4575214" y="515941"/>
                  <a:pt x="4592642" y="498513"/>
                  <a:pt x="4614065" y="498513"/>
                </a:cubicBezTo>
                <a:close/>
                <a:moveTo>
                  <a:pt x="4768008" y="495970"/>
                </a:moveTo>
                <a:cubicBezTo>
                  <a:pt x="4790884" y="495970"/>
                  <a:pt x="4809036" y="514126"/>
                  <a:pt x="4809036" y="536998"/>
                </a:cubicBezTo>
                <a:cubicBezTo>
                  <a:pt x="4809036" y="559873"/>
                  <a:pt x="4790522" y="578029"/>
                  <a:pt x="4768008" y="578029"/>
                </a:cubicBezTo>
                <a:cubicBezTo>
                  <a:pt x="4745137" y="578029"/>
                  <a:pt x="4726981" y="559873"/>
                  <a:pt x="4726981" y="536998"/>
                </a:cubicBezTo>
                <a:cubicBezTo>
                  <a:pt x="4726981" y="514126"/>
                  <a:pt x="4745137" y="495970"/>
                  <a:pt x="4768008" y="495970"/>
                </a:cubicBezTo>
                <a:close/>
                <a:moveTo>
                  <a:pt x="4921594" y="493428"/>
                </a:moveTo>
                <a:cubicBezTo>
                  <a:pt x="4945556" y="493428"/>
                  <a:pt x="4965164" y="513032"/>
                  <a:pt x="4965164" y="536998"/>
                </a:cubicBezTo>
                <a:cubicBezTo>
                  <a:pt x="4965164" y="560959"/>
                  <a:pt x="4945556" y="580568"/>
                  <a:pt x="4921594" y="580568"/>
                </a:cubicBezTo>
                <a:cubicBezTo>
                  <a:pt x="4897628" y="580568"/>
                  <a:pt x="4878024" y="560959"/>
                  <a:pt x="4878024" y="536998"/>
                </a:cubicBezTo>
                <a:cubicBezTo>
                  <a:pt x="4878024" y="513032"/>
                  <a:pt x="4897628" y="493428"/>
                  <a:pt x="4921594" y="493428"/>
                </a:cubicBezTo>
                <a:close/>
                <a:moveTo>
                  <a:pt x="5075541" y="490889"/>
                </a:moveTo>
                <a:cubicBezTo>
                  <a:pt x="5100955" y="490889"/>
                  <a:pt x="5121654" y="511584"/>
                  <a:pt x="5121654" y="537002"/>
                </a:cubicBezTo>
                <a:cubicBezTo>
                  <a:pt x="5121654" y="562416"/>
                  <a:pt x="5100955" y="583110"/>
                  <a:pt x="5075541" y="583110"/>
                </a:cubicBezTo>
                <a:cubicBezTo>
                  <a:pt x="5050124" y="583110"/>
                  <a:pt x="5029428" y="562416"/>
                  <a:pt x="5029428" y="537002"/>
                </a:cubicBezTo>
                <a:cubicBezTo>
                  <a:pt x="5029428" y="511584"/>
                  <a:pt x="5050124" y="490889"/>
                  <a:pt x="5075541" y="490889"/>
                </a:cubicBezTo>
                <a:close/>
                <a:moveTo>
                  <a:pt x="5229122" y="488709"/>
                </a:moveTo>
                <a:cubicBezTo>
                  <a:pt x="5255992" y="488709"/>
                  <a:pt x="5277778" y="510494"/>
                  <a:pt x="5277778" y="537364"/>
                </a:cubicBezTo>
                <a:cubicBezTo>
                  <a:pt x="5277778" y="564230"/>
                  <a:pt x="5255992" y="586015"/>
                  <a:pt x="5229122" y="586015"/>
                </a:cubicBezTo>
                <a:cubicBezTo>
                  <a:pt x="5202256" y="586015"/>
                  <a:pt x="5180472" y="564230"/>
                  <a:pt x="5180472" y="537364"/>
                </a:cubicBezTo>
                <a:cubicBezTo>
                  <a:pt x="5180472" y="510494"/>
                  <a:pt x="5202256" y="488709"/>
                  <a:pt x="5229122" y="488709"/>
                </a:cubicBezTo>
                <a:close/>
                <a:moveTo>
                  <a:pt x="5383074" y="486166"/>
                </a:moveTo>
                <a:cubicBezTo>
                  <a:pt x="5411396" y="486166"/>
                  <a:pt x="5434268" y="509041"/>
                  <a:pt x="5434268" y="537360"/>
                </a:cubicBezTo>
                <a:cubicBezTo>
                  <a:pt x="5434268" y="565682"/>
                  <a:pt x="5411396" y="588554"/>
                  <a:pt x="5383074" y="588554"/>
                </a:cubicBezTo>
                <a:cubicBezTo>
                  <a:pt x="5354755" y="588554"/>
                  <a:pt x="5331880" y="565682"/>
                  <a:pt x="5331880" y="537360"/>
                </a:cubicBezTo>
                <a:cubicBezTo>
                  <a:pt x="5331880" y="509041"/>
                  <a:pt x="5354755" y="486166"/>
                  <a:pt x="5383074" y="486166"/>
                </a:cubicBezTo>
                <a:close/>
                <a:moveTo>
                  <a:pt x="5536659" y="483624"/>
                </a:moveTo>
                <a:cubicBezTo>
                  <a:pt x="5566068" y="483624"/>
                  <a:pt x="5590034" y="507585"/>
                  <a:pt x="5590034" y="536998"/>
                </a:cubicBezTo>
                <a:cubicBezTo>
                  <a:pt x="5590034" y="566407"/>
                  <a:pt x="5566068" y="590372"/>
                  <a:pt x="5536659" y="590372"/>
                </a:cubicBezTo>
                <a:cubicBezTo>
                  <a:pt x="5507250" y="590372"/>
                  <a:pt x="5483285" y="566407"/>
                  <a:pt x="5483285" y="536998"/>
                </a:cubicBezTo>
                <a:cubicBezTo>
                  <a:pt x="5483285" y="507585"/>
                  <a:pt x="5507250" y="483624"/>
                  <a:pt x="5536659" y="483624"/>
                </a:cubicBezTo>
                <a:close/>
                <a:moveTo>
                  <a:pt x="5690606" y="481085"/>
                </a:moveTo>
                <a:cubicBezTo>
                  <a:pt x="5721830" y="481085"/>
                  <a:pt x="5746882" y="506137"/>
                  <a:pt x="5746882" y="537364"/>
                </a:cubicBezTo>
                <a:cubicBezTo>
                  <a:pt x="5746882" y="568587"/>
                  <a:pt x="5721830" y="593643"/>
                  <a:pt x="5690606" y="593643"/>
                </a:cubicBezTo>
                <a:cubicBezTo>
                  <a:pt x="5659380" y="593643"/>
                  <a:pt x="5634328" y="568587"/>
                  <a:pt x="5634328" y="537364"/>
                </a:cubicBezTo>
                <a:cubicBezTo>
                  <a:pt x="5634328" y="506137"/>
                  <a:pt x="5659380" y="481085"/>
                  <a:pt x="5690606" y="481085"/>
                </a:cubicBezTo>
                <a:close/>
                <a:moveTo>
                  <a:pt x="5844554" y="478542"/>
                </a:moveTo>
                <a:cubicBezTo>
                  <a:pt x="5877039" y="478542"/>
                  <a:pt x="5903372" y="504875"/>
                  <a:pt x="5903372" y="537364"/>
                </a:cubicBezTo>
                <a:cubicBezTo>
                  <a:pt x="5903372" y="569849"/>
                  <a:pt x="5877039" y="596181"/>
                  <a:pt x="5844554" y="596181"/>
                </a:cubicBezTo>
                <a:cubicBezTo>
                  <a:pt x="5812065" y="596181"/>
                  <a:pt x="5785732" y="569849"/>
                  <a:pt x="5785732" y="537364"/>
                </a:cubicBezTo>
                <a:cubicBezTo>
                  <a:pt x="5785732" y="504875"/>
                  <a:pt x="5812065" y="478542"/>
                  <a:pt x="5844554" y="478542"/>
                </a:cubicBezTo>
                <a:close/>
                <a:moveTo>
                  <a:pt x="5998136" y="475638"/>
                </a:moveTo>
                <a:cubicBezTo>
                  <a:pt x="6032225" y="475638"/>
                  <a:pt x="6059862" y="503274"/>
                  <a:pt x="6059862" y="537364"/>
                </a:cubicBezTo>
                <a:cubicBezTo>
                  <a:pt x="6059862" y="571450"/>
                  <a:pt x="6032225" y="599086"/>
                  <a:pt x="5998136" y="599086"/>
                </a:cubicBezTo>
                <a:cubicBezTo>
                  <a:pt x="5964046" y="599086"/>
                  <a:pt x="5936413" y="571450"/>
                  <a:pt x="5936413" y="537364"/>
                </a:cubicBezTo>
                <a:cubicBezTo>
                  <a:pt x="5936413" y="503274"/>
                  <a:pt x="5964046" y="475638"/>
                  <a:pt x="5998136" y="475638"/>
                </a:cubicBezTo>
                <a:close/>
                <a:moveTo>
                  <a:pt x="6152083" y="473095"/>
                </a:moveTo>
                <a:cubicBezTo>
                  <a:pt x="6187576" y="473095"/>
                  <a:pt x="6216348" y="501867"/>
                  <a:pt x="6216348" y="537360"/>
                </a:cubicBezTo>
                <a:cubicBezTo>
                  <a:pt x="6216348" y="572852"/>
                  <a:pt x="6187576" y="601625"/>
                  <a:pt x="6152083" y="601625"/>
                </a:cubicBezTo>
                <a:cubicBezTo>
                  <a:pt x="6116590" y="601625"/>
                  <a:pt x="6087818" y="572852"/>
                  <a:pt x="6087818" y="537360"/>
                </a:cubicBezTo>
                <a:cubicBezTo>
                  <a:pt x="6087818" y="501867"/>
                  <a:pt x="6116590" y="473095"/>
                  <a:pt x="6152083" y="473095"/>
                </a:cubicBezTo>
                <a:close/>
                <a:moveTo>
                  <a:pt x="6305672" y="469828"/>
                </a:moveTo>
                <a:cubicBezTo>
                  <a:pt x="6342968" y="469828"/>
                  <a:pt x="6373204" y="500064"/>
                  <a:pt x="6373204" y="537364"/>
                </a:cubicBezTo>
                <a:cubicBezTo>
                  <a:pt x="6373204" y="574659"/>
                  <a:pt x="6342968" y="604895"/>
                  <a:pt x="6305672" y="604895"/>
                </a:cubicBezTo>
                <a:cubicBezTo>
                  <a:pt x="6268372" y="604895"/>
                  <a:pt x="6238136" y="574659"/>
                  <a:pt x="6238136" y="537364"/>
                </a:cubicBezTo>
                <a:cubicBezTo>
                  <a:pt x="6238136" y="500064"/>
                  <a:pt x="6268372" y="469828"/>
                  <a:pt x="6305672" y="469828"/>
                </a:cubicBezTo>
                <a:close/>
                <a:moveTo>
                  <a:pt x="6459616" y="467286"/>
                </a:moveTo>
                <a:cubicBezTo>
                  <a:pt x="6498318" y="467286"/>
                  <a:pt x="6529694" y="498658"/>
                  <a:pt x="6529694" y="537360"/>
                </a:cubicBezTo>
                <a:cubicBezTo>
                  <a:pt x="6529694" y="576062"/>
                  <a:pt x="6498318" y="607434"/>
                  <a:pt x="6459616" y="607434"/>
                </a:cubicBezTo>
                <a:cubicBezTo>
                  <a:pt x="6420913" y="607434"/>
                  <a:pt x="6389542" y="576062"/>
                  <a:pt x="6389542" y="537360"/>
                </a:cubicBezTo>
                <a:cubicBezTo>
                  <a:pt x="6389542" y="498658"/>
                  <a:pt x="6420913" y="467286"/>
                  <a:pt x="6459616" y="467286"/>
                </a:cubicBezTo>
                <a:close/>
                <a:moveTo>
                  <a:pt x="6613200" y="464381"/>
                </a:moveTo>
                <a:cubicBezTo>
                  <a:pt x="6653508" y="464381"/>
                  <a:pt x="6686180" y="497057"/>
                  <a:pt x="6686180" y="537360"/>
                </a:cubicBezTo>
                <a:cubicBezTo>
                  <a:pt x="6686180" y="577667"/>
                  <a:pt x="6653508" y="610339"/>
                  <a:pt x="6613200" y="610339"/>
                </a:cubicBezTo>
                <a:cubicBezTo>
                  <a:pt x="6572894" y="610339"/>
                  <a:pt x="6540222" y="577667"/>
                  <a:pt x="6540222" y="537360"/>
                </a:cubicBezTo>
                <a:cubicBezTo>
                  <a:pt x="6540222" y="497057"/>
                  <a:pt x="6572894" y="464381"/>
                  <a:pt x="6613200" y="464381"/>
                </a:cubicBezTo>
                <a:close/>
                <a:moveTo>
                  <a:pt x="1077266" y="383050"/>
                </a:moveTo>
                <a:cubicBezTo>
                  <a:pt x="1077468" y="383050"/>
                  <a:pt x="1077628" y="383214"/>
                  <a:pt x="1077628" y="383412"/>
                </a:cubicBezTo>
                <a:cubicBezTo>
                  <a:pt x="1077628" y="383614"/>
                  <a:pt x="1077468" y="383778"/>
                  <a:pt x="1077266" y="383778"/>
                </a:cubicBezTo>
                <a:cubicBezTo>
                  <a:pt x="1077068" y="383778"/>
                  <a:pt x="1076904" y="383614"/>
                  <a:pt x="1076904" y="383412"/>
                </a:cubicBezTo>
                <a:cubicBezTo>
                  <a:pt x="1076904" y="383214"/>
                  <a:pt x="1077068" y="383050"/>
                  <a:pt x="1077266" y="383050"/>
                </a:cubicBezTo>
                <a:close/>
                <a:moveTo>
                  <a:pt x="616148" y="383050"/>
                </a:moveTo>
                <a:cubicBezTo>
                  <a:pt x="616514" y="383050"/>
                  <a:pt x="616514" y="383050"/>
                  <a:pt x="616514" y="383412"/>
                </a:cubicBezTo>
                <a:cubicBezTo>
                  <a:pt x="616514" y="383775"/>
                  <a:pt x="616148" y="383775"/>
                  <a:pt x="616148" y="383775"/>
                </a:cubicBezTo>
                <a:cubicBezTo>
                  <a:pt x="615786" y="383775"/>
                  <a:pt x="615786" y="383775"/>
                  <a:pt x="615786" y="383412"/>
                </a:cubicBezTo>
                <a:cubicBezTo>
                  <a:pt x="615786" y="383050"/>
                  <a:pt x="615786" y="383050"/>
                  <a:pt x="616148" y="383050"/>
                </a:cubicBezTo>
                <a:close/>
                <a:moveTo>
                  <a:pt x="462205" y="383050"/>
                </a:moveTo>
                <a:cubicBezTo>
                  <a:pt x="462567" y="383050"/>
                  <a:pt x="462567" y="383050"/>
                  <a:pt x="462567" y="383412"/>
                </a:cubicBezTo>
                <a:cubicBezTo>
                  <a:pt x="462567" y="383775"/>
                  <a:pt x="462205" y="383775"/>
                  <a:pt x="462205" y="383775"/>
                </a:cubicBezTo>
                <a:cubicBezTo>
                  <a:pt x="461842" y="383775"/>
                  <a:pt x="461842" y="383775"/>
                  <a:pt x="461842" y="383412"/>
                </a:cubicBezTo>
                <a:cubicBezTo>
                  <a:pt x="461842" y="383050"/>
                  <a:pt x="461842" y="383050"/>
                  <a:pt x="462205" y="383050"/>
                </a:cubicBezTo>
                <a:close/>
                <a:moveTo>
                  <a:pt x="308623" y="382688"/>
                </a:moveTo>
                <a:cubicBezTo>
                  <a:pt x="309023" y="382688"/>
                  <a:pt x="309347" y="383012"/>
                  <a:pt x="309347" y="383416"/>
                </a:cubicBezTo>
                <a:cubicBezTo>
                  <a:pt x="309347" y="383817"/>
                  <a:pt x="309023" y="384141"/>
                  <a:pt x="308623" y="384141"/>
                </a:cubicBezTo>
                <a:cubicBezTo>
                  <a:pt x="308219" y="384141"/>
                  <a:pt x="307895" y="383817"/>
                  <a:pt x="307895" y="383416"/>
                </a:cubicBezTo>
                <a:cubicBezTo>
                  <a:pt x="307895" y="383012"/>
                  <a:pt x="308219" y="382688"/>
                  <a:pt x="308623" y="382688"/>
                </a:cubicBezTo>
                <a:close/>
                <a:moveTo>
                  <a:pt x="1231213" y="381964"/>
                </a:moveTo>
                <a:cubicBezTo>
                  <a:pt x="1232014" y="381964"/>
                  <a:pt x="1232666" y="382616"/>
                  <a:pt x="1232666" y="383416"/>
                </a:cubicBezTo>
                <a:cubicBezTo>
                  <a:pt x="1232666" y="384217"/>
                  <a:pt x="1232014" y="384869"/>
                  <a:pt x="1231213" y="384869"/>
                </a:cubicBezTo>
                <a:cubicBezTo>
                  <a:pt x="1230409" y="384869"/>
                  <a:pt x="1229761" y="384217"/>
                  <a:pt x="1229761" y="383416"/>
                </a:cubicBezTo>
                <a:cubicBezTo>
                  <a:pt x="1229761" y="382616"/>
                  <a:pt x="1230409" y="381964"/>
                  <a:pt x="1231213" y="381964"/>
                </a:cubicBezTo>
                <a:close/>
                <a:moveTo>
                  <a:pt x="154672" y="381964"/>
                </a:moveTo>
                <a:cubicBezTo>
                  <a:pt x="155396" y="381964"/>
                  <a:pt x="156124" y="382688"/>
                  <a:pt x="156124" y="383416"/>
                </a:cubicBezTo>
                <a:lnTo>
                  <a:pt x="155343" y="384197"/>
                </a:lnTo>
                <a:lnTo>
                  <a:pt x="153884" y="382752"/>
                </a:lnTo>
                <a:close/>
                <a:moveTo>
                  <a:pt x="1384799" y="381236"/>
                </a:moveTo>
                <a:cubicBezTo>
                  <a:pt x="1386003" y="381236"/>
                  <a:pt x="1386979" y="382212"/>
                  <a:pt x="1386979" y="383416"/>
                </a:cubicBezTo>
                <a:cubicBezTo>
                  <a:pt x="1386979" y="384617"/>
                  <a:pt x="1386003" y="385593"/>
                  <a:pt x="1384799" y="385593"/>
                </a:cubicBezTo>
                <a:cubicBezTo>
                  <a:pt x="1383598" y="385593"/>
                  <a:pt x="1382622" y="384617"/>
                  <a:pt x="1382622" y="383416"/>
                </a:cubicBezTo>
                <a:cubicBezTo>
                  <a:pt x="1382622" y="382212"/>
                  <a:pt x="1383598" y="381236"/>
                  <a:pt x="1384799" y="381236"/>
                </a:cubicBezTo>
                <a:close/>
                <a:moveTo>
                  <a:pt x="1538746" y="380508"/>
                </a:moveTo>
                <a:cubicBezTo>
                  <a:pt x="1540561" y="380508"/>
                  <a:pt x="1542013" y="381960"/>
                  <a:pt x="1542013" y="383775"/>
                </a:cubicBezTo>
                <a:cubicBezTo>
                  <a:pt x="1542013" y="385593"/>
                  <a:pt x="1540561" y="387045"/>
                  <a:pt x="1538746" y="387045"/>
                </a:cubicBezTo>
                <a:cubicBezTo>
                  <a:pt x="1536932" y="387045"/>
                  <a:pt x="1535479" y="385593"/>
                  <a:pt x="1535479" y="383775"/>
                </a:cubicBezTo>
                <a:cubicBezTo>
                  <a:pt x="1535479" y="381960"/>
                  <a:pt x="1536932" y="380508"/>
                  <a:pt x="1538746" y="380508"/>
                </a:cubicBezTo>
                <a:close/>
                <a:moveTo>
                  <a:pt x="1692331" y="379055"/>
                </a:moveTo>
                <a:cubicBezTo>
                  <a:pt x="1694874" y="379055"/>
                  <a:pt x="1696688" y="380870"/>
                  <a:pt x="1696688" y="383412"/>
                </a:cubicBezTo>
                <a:cubicBezTo>
                  <a:pt x="1696688" y="385955"/>
                  <a:pt x="1694508" y="387770"/>
                  <a:pt x="1692331" y="387770"/>
                </a:cubicBezTo>
                <a:cubicBezTo>
                  <a:pt x="1689789" y="387770"/>
                  <a:pt x="1687974" y="385955"/>
                  <a:pt x="1687974" y="383412"/>
                </a:cubicBezTo>
                <a:cubicBezTo>
                  <a:pt x="1687974" y="380870"/>
                  <a:pt x="1689789" y="379055"/>
                  <a:pt x="1692331" y="379055"/>
                </a:cubicBezTo>
                <a:close/>
                <a:moveTo>
                  <a:pt x="1846279" y="377607"/>
                </a:moveTo>
                <a:cubicBezTo>
                  <a:pt x="1849488" y="377607"/>
                  <a:pt x="1852088" y="380207"/>
                  <a:pt x="1852088" y="383416"/>
                </a:cubicBezTo>
                <a:cubicBezTo>
                  <a:pt x="1852088" y="386626"/>
                  <a:pt x="1849488" y="389226"/>
                  <a:pt x="1846279" y="389226"/>
                </a:cubicBezTo>
                <a:cubicBezTo>
                  <a:pt x="1843069" y="389226"/>
                  <a:pt x="1840469" y="386626"/>
                  <a:pt x="1840469" y="383416"/>
                </a:cubicBezTo>
                <a:cubicBezTo>
                  <a:pt x="1840469" y="380207"/>
                  <a:pt x="1843069" y="377607"/>
                  <a:pt x="1846279" y="377607"/>
                </a:cubicBezTo>
                <a:close/>
                <a:moveTo>
                  <a:pt x="1999864" y="376151"/>
                </a:moveTo>
                <a:cubicBezTo>
                  <a:pt x="2003859" y="376151"/>
                  <a:pt x="2007126" y="379418"/>
                  <a:pt x="2007126" y="383412"/>
                </a:cubicBezTo>
                <a:cubicBezTo>
                  <a:pt x="2007126" y="387407"/>
                  <a:pt x="2003859" y="390674"/>
                  <a:pt x="1999864" y="390674"/>
                </a:cubicBezTo>
                <a:cubicBezTo>
                  <a:pt x="1995869" y="390674"/>
                  <a:pt x="1992602" y="387407"/>
                  <a:pt x="1992602" y="383412"/>
                </a:cubicBezTo>
                <a:cubicBezTo>
                  <a:pt x="1992602" y="379418"/>
                  <a:pt x="1995869" y="376151"/>
                  <a:pt x="1999864" y="376151"/>
                </a:cubicBezTo>
                <a:close/>
                <a:moveTo>
                  <a:pt x="2153808" y="374336"/>
                </a:moveTo>
                <a:cubicBezTo>
                  <a:pt x="2158893" y="374336"/>
                  <a:pt x="2162888" y="378331"/>
                  <a:pt x="2162888" y="383412"/>
                </a:cubicBezTo>
                <a:cubicBezTo>
                  <a:pt x="2162888" y="388498"/>
                  <a:pt x="2158893" y="392492"/>
                  <a:pt x="2153808" y="392492"/>
                </a:cubicBezTo>
                <a:cubicBezTo>
                  <a:pt x="2148726" y="392492"/>
                  <a:pt x="2144731" y="388498"/>
                  <a:pt x="2144731" y="383412"/>
                </a:cubicBezTo>
                <a:cubicBezTo>
                  <a:pt x="2144731" y="378331"/>
                  <a:pt x="2148726" y="374336"/>
                  <a:pt x="2153808" y="374336"/>
                </a:cubicBezTo>
                <a:close/>
                <a:moveTo>
                  <a:pt x="2307393" y="373246"/>
                </a:moveTo>
                <a:cubicBezTo>
                  <a:pt x="2312840" y="373246"/>
                  <a:pt x="2317559" y="377965"/>
                  <a:pt x="2317559" y="383412"/>
                </a:cubicBezTo>
                <a:cubicBezTo>
                  <a:pt x="2317559" y="388860"/>
                  <a:pt x="2313202" y="393579"/>
                  <a:pt x="2307393" y="393579"/>
                </a:cubicBezTo>
                <a:cubicBezTo>
                  <a:pt x="2301946" y="393579"/>
                  <a:pt x="2297226" y="388860"/>
                  <a:pt x="2297226" y="383412"/>
                </a:cubicBezTo>
                <a:cubicBezTo>
                  <a:pt x="2297226" y="377965"/>
                  <a:pt x="2301946" y="373246"/>
                  <a:pt x="2307393" y="373246"/>
                </a:cubicBezTo>
                <a:close/>
                <a:moveTo>
                  <a:pt x="2461340" y="371432"/>
                </a:moveTo>
                <a:cubicBezTo>
                  <a:pt x="2467878" y="371432"/>
                  <a:pt x="2473325" y="376879"/>
                  <a:pt x="2473325" y="383412"/>
                </a:cubicBezTo>
                <a:cubicBezTo>
                  <a:pt x="2473325" y="389950"/>
                  <a:pt x="2467878" y="395397"/>
                  <a:pt x="2461340" y="395397"/>
                </a:cubicBezTo>
                <a:cubicBezTo>
                  <a:pt x="2454807" y="395397"/>
                  <a:pt x="2449359" y="389950"/>
                  <a:pt x="2449359" y="383412"/>
                </a:cubicBezTo>
                <a:cubicBezTo>
                  <a:pt x="2449359" y="376879"/>
                  <a:pt x="2454807" y="371432"/>
                  <a:pt x="2461340" y="371432"/>
                </a:cubicBezTo>
                <a:close/>
                <a:moveTo>
                  <a:pt x="2614925" y="369617"/>
                </a:moveTo>
                <a:cubicBezTo>
                  <a:pt x="2622549" y="369617"/>
                  <a:pt x="2628721" y="375789"/>
                  <a:pt x="2628721" y="383416"/>
                </a:cubicBezTo>
                <a:cubicBezTo>
                  <a:pt x="2628721" y="391040"/>
                  <a:pt x="2622549" y="397212"/>
                  <a:pt x="2614925" y="397212"/>
                </a:cubicBezTo>
                <a:cubicBezTo>
                  <a:pt x="2607298" y="397212"/>
                  <a:pt x="2601126" y="391040"/>
                  <a:pt x="2601126" y="383416"/>
                </a:cubicBezTo>
                <a:cubicBezTo>
                  <a:pt x="2601126" y="375789"/>
                  <a:pt x="2607298" y="369617"/>
                  <a:pt x="2614925" y="369617"/>
                </a:cubicBezTo>
                <a:close/>
                <a:moveTo>
                  <a:pt x="2768873" y="368165"/>
                </a:moveTo>
                <a:cubicBezTo>
                  <a:pt x="2777297" y="368165"/>
                  <a:pt x="2784124" y="374992"/>
                  <a:pt x="2784124" y="383416"/>
                </a:cubicBezTo>
                <a:cubicBezTo>
                  <a:pt x="2784124" y="391837"/>
                  <a:pt x="2777297" y="398664"/>
                  <a:pt x="2768873" y="398664"/>
                </a:cubicBezTo>
                <a:cubicBezTo>
                  <a:pt x="2760452" y="398664"/>
                  <a:pt x="2753625" y="391837"/>
                  <a:pt x="2753625" y="383416"/>
                </a:cubicBezTo>
                <a:cubicBezTo>
                  <a:pt x="2753625" y="374992"/>
                  <a:pt x="2760452" y="368165"/>
                  <a:pt x="2768873" y="368165"/>
                </a:cubicBezTo>
                <a:close/>
                <a:moveTo>
                  <a:pt x="2922458" y="366350"/>
                </a:moveTo>
                <a:cubicBezTo>
                  <a:pt x="2931896" y="366350"/>
                  <a:pt x="2939524" y="373974"/>
                  <a:pt x="2939524" y="383416"/>
                </a:cubicBezTo>
                <a:cubicBezTo>
                  <a:pt x="2939524" y="392854"/>
                  <a:pt x="2931896" y="400478"/>
                  <a:pt x="2922458" y="400478"/>
                </a:cubicBezTo>
                <a:cubicBezTo>
                  <a:pt x="2913016" y="400478"/>
                  <a:pt x="2905392" y="392854"/>
                  <a:pt x="2905392" y="383416"/>
                </a:cubicBezTo>
                <a:cubicBezTo>
                  <a:pt x="2905392" y="373974"/>
                  <a:pt x="2913016" y="366350"/>
                  <a:pt x="2922458" y="366350"/>
                </a:cubicBezTo>
                <a:close/>
                <a:moveTo>
                  <a:pt x="3076406" y="364170"/>
                </a:moveTo>
                <a:cubicBezTo>
                  <a:pt x="3087037" y="364170"/>
                  <a:pt x="3095652" y="372785"/>
                  <a:pt x="3095652" y="383412"/>
                </a:cubicBezTo>
                <a:cubicBezTo>
                  <a:pt x="3095652" y="394040"/>
                  <a:pt x="3087037" y="402659"/>
                  <a:pt x="3076406" y="402659"/>
                </a:cubicBezTo>
                <a:cubicBezTo>
                  <a:pt x="3065778" y="402659"/>
                  <a:pt x="3057163" y="394040"/>
                  <a:pt x="3057163" y="383412"/>
                </a:cubicBezTo>
                <a:cubicBezTo>
                  <a:pt x="3057163" y="372785"/>
                  <a:pt x="3065778" y="364170"/>
                  <a:pt x="3076406" y="364170"/>
                </a:cubicBezTo>
                <a:close/>
                <a:moveTo>
                  <a:pt x="3230353" y="361993"/>
                </a:moveTo>
                <a:cubicBezTo>
                  <a:pt x="3242181" y="361993"/>
                  <a:pt x="3251776" y="371584"/>
                  <a:pt x="3251776" y="383416"/>
                </a:cubicBezTo>
                <a:cubicBezTo>
                  <a:pt x="3251776" y="395245"/>
                  <a:pt x="3242181" y="404839"/>
                  <a:pt x="3230353" y="404839"/>
                </a:cubicBezTo>
                <a:cubicBezTo>
                  <a:pt x="3218521" y="404839"/>
                  <a:pt x="3208930" y="395245"/>
                  <a:pt x="3208930" y="383416"/>
                </a:cubicBezTo>
                <a:cubicBezTo>
                  <a:pt x="3208930" y="371584"/>
                  <a:pt x="3218521" y="361993"/>
                  <a:pt x="3230353" y="361993"/>
                </a:cubicBezTo>
                <a:close/>
                <a:moveTo>
                  <a:pt x="3383938" y="360541"/>
                </a:moveTo>
                <a:cubicBezTo>
                  <a:pt x="3396571" y="360541"/>
                  <a:pt x="3406810" y="370784"/>
                  <a:pt x="3406810" y="383416"/>
                </a:cubicBezTo>
                <a:cubicBezTo>
                  <a:pt x="3406810" y="396049"/>
                  <a:pt x="3396571" y="406292"/>
                  <a:pt x="3383938" y="406292"/>
                </a:cubicBezTo>
                <a:cubicBezTo>
                  <a:pt x="3371306" y="406292"/>
                  <a:pt x="3361063" y="396049"/>
                  <a:pt x="3361063" y="383416"/>
                </a:cubicBezTo>
                <a:cubicBezTo>
                  <a:pt x="3361063" y="370784"/>
                  <a:pt x="3371306" y="360541"/>
                  <a:pt x="3383938" y="360541"/>
                </a:cubicBezTo>
                <a:close/>
                <a:moveTo>
                  <a:pt x="3537882" y="358361"/>
                </a:moveTo>
                <a:cubicBezTo>
                  <a:pt x="3551719" y="358361"/>
                  <a:pt x="3562937" y="369579"/>
                  <a:pt x="3562937" y="383412"/>
                </a:cubicBezTo>
                <a:cubicBezTo>
                  <a:pt x="3562937" y="397250"/>
                  <a:pt x="3551719" y="408468"/>
                  <a:pt x="3537882" y="408468"/>
                </a:cubicBezTo>
                <a:cubicBezTo>
                  <a:pt x="3524048" y="408468"/>
                  <a:pt x="3512830" y="397250"/>
                  <a:pt x="3512830" y="383412"/>
                </a:cubicBezTo>
                <a:cubicBezTo>
                  <a:pt x="3512830" y="369575"/>
                  <a:pt x="3524048" y="358361"/>
                  <a:pt x="3537882" y="358361"/>
                </a:cubicBezTo>
                <a:close/>
                <a:moveTo>
                  <a:pt x="3691471" y="356184"/>
                </a:moveTo>
                <a:cubicBezTo>
                  <a:pt x="3706509" y="356184"/>
                  <a:pt x="3718699" y="368374"/>
                  <a:pt x="3718699" y="383416"/>
                </a:cubicBezTo>
                <a:cubicBezTo>
                  <a:pt x="3718699" y="398454"/>
                  <a:pt x="3706509" y="410648"/>
                  <a:pt x="3691471" y="410648"/>
                </a:cubicBezTo>
                <a:cubicBezTo>
                  <a:pt x="3676429" y="410648"/>
                  <a:pt x="3664238" y="398454"/>
                  <a:pt x="3664238" y="383416"/>
                </a:cubicBezTo>
                <a:cubicBezTo>
                  <a:pt x="3664238" y="368374"/>
                  <a:pt x="3676429" y="356184"/>
                  <a:pt x="3691471" y="356184"/>
                </a:cubicBezTo>
                <a:close/>
                <a:moveTo>
                  <a:pt x="3845418" y="353642"/>
                </a:moveTo>
                <a:cubicBezTo>
                  <a:pt x="3861859" y="353642"/>
                  <a:pt x="3875189" y="366972"/>
                  <a:pt x="3875189" y="383416"/>
                </a:cubicBezTo>
                <a:cubicBezTo>
                  <a:pt x="3875189" y="399857"/>
                  <a:pt x="3861859" y="413187"/>
                  <a:pt x="3845418" y="413187"/>
                </a:cubicBezTo>
                <a:cubicBezTo>
                  <a:pt x="3828974" y="413187"/>
                  <a:pt x="3815644" y="399857"/>
                  <a:pt x="3815644" y="383416"/>
                </a:cubicBezTo>
                <a:cubicBezTo>
                  <a:pt x="3815644" y="366972"/>
                  <a:pt x="3828974" y="353642"/>
                  <a:pt x="3845418" y="353642"/>
                </a:cubicBezTo>
                <a:close/>
                <a:moveTo>
                  <a:pt x="3999000" y="351465"/>
                </a:moveTo>
                <a:cubicBezTo>
                  <a:pt x="4016645" y="351465"/>
                  <a:pt x="4030951" y="365771"/>
                  <a:pt x="4030951" y="383416"/>
                </a:cubicBezTo>
                <a:cubicBezTo>
                  <a:pt x="4030951" y="401062"/>
                  <a:pt x="4016645" y="415368"/>
                  <a:pt x="3999000" y="415368"/>
                </a:cubicBezTo>
                <a:cubicBezTo>
                  <a:pt x="3981354" y="415368"/>
                  <a:pt x="3967048" y="401062"/>
                  <a:pt x="3967048" y="383416"/>
                </a:cubicBezTo>
                <a:cubicBezTo>
                  <a:pt x="3967048" y="365771"/>
                  <a:pt x="3981354" y="351465"/>
                  <a:pt x="3999000" y="351465"/>
                </a:cubicBezTo>
                <a:close/>
                <a:moveTo>
                  <a:pt x="4152947" y="349647"/>
                </a:moveTo>
                <a:cubicBezTo>
                  <a:pt x="4171595" y="349647"/>
                  <a:pt x="4186716" y="364765"/>
                  <a:pt x="4186716" y="383412"/>
                </a:cubicBezTo>
                <a:cubicBezTo>
                  <a:pt x="4186716" y="402064"/>
                  <a:pt x="4171595" y="417182"/>
                  <a:pt x="4152947" y="417182"/>
                </a:cubicBezTo>
                <a:cubicBezTo>
                  <a:pt x="4134299" y="417182"/>
                  <a:pt x="4119181" y="402064"/>
                  <a:pt x="4119181" y="383412"/>
                </a:cubicBezTo>
                <a:cubicBezTo>
                  <a:pt x="4119181" y="364765"/>
                  <a:pt x="4134299" y="349647"/>
                  <a:pt x="4152947" y="349647"/>
                </a:cubicBezTo>
                <a:close/>
                <a:moveTo>
                  <a:pt x="4306532" y="347108"/>
                </a:moveTo>
                <a:cubicBezTo>
                  <a:pt x="4326503" y="347108"/>
                  <a:pt x="4342840" y="363446"/>
                  <a:pt x="4342840" y="383416"/>
                </a:cubicBezTo>
                <a:cubicBezTo>
                  <a:pt x="4342840" y="403387"/>
                  <a:pt x="4326503" y="419725"/>
                  <a:pt x="4306532" y="419725"/>
                </a:cubicBezTo>
                <a:cubicBezTo>
                  <a:pt x="4286562" y="419725"/>
                  <a:pt x="4270224" y="403387"/>
                  <a:pt x="4270224" y="383416"/>
                </a:cubicBezTo>
                <a:cubicBezTo>
                  <a:pt x="4270224" y="363446"/>
                  <a:pt x="4286562" y="347108"/>
                  <a:pt x="4306532" y="347108"/>
                </a:cubicBezTo>
                <a:close/>
                <a:moveTo>
                  <a:pt x="4460480" y="344565"/>
                </a:moveTo>
                <a:cubicBezTo>
                  <a:pt x="4481902" y="344565"/>
                  <a:pt x="4499326" y="361993"/>
                  <a:pt x="4499326" y="383416"/>
                </a:cubicBezTo>
                <a:cubicBezTo>
                  <a:pt x="4499326" y="404835"/>
                  <a:pt x="4481902" y="422267"/>
                  <a:pt x="4460480" y="422267"/>
                </a:cubicBezTo>
                <a:cubicBezTo>
                  <a:pt x="4439057" y="422267"/>
                  <a:pt x="4421629" y="404835"/>
                  <a:pt x="4421629" y="383416"/>
                </a:cubicBezTo>
                <a:cubicBezTo>
                  <a:pt x="4421629" y="361993"/>
                  <a:pt x="4439057" y="344565"/>
                  <a:pt x="4460480" y="344565"/>
                </a:cubicBezTo>
                <a:close/>
                <a:moveTo>
                  <a:pt x="4614061" y="342385"/>
                </a:moveTo>
                <a:cubicBezTo>
                  <a:pt x="4636936" y="342385"/>
                  <a:pt x="4655092" y="360541"/>
                  <a:pt x="4655092" y="383412"/>
                </a:cubicBezTo>
                <a:cubicBezTo>
                  <a:pt x="4655092" y="406288"/>
                  <a:pt x="4636574" y="424440"/>
                  <a:pt x="4614061" y="424440"/>
                </a:cubicBezTo>
                <a:cubicBezTo>
                  <a:pt x="4591190" y="424440"/>
                  <a:pt x="4573034" y="406288"/>
                  <a:pt x="4573034" y="383412"/>
                </a:cubicBezTo>
                <a:cubicBezTo>
                  <a:pt x="4573034" y="360541"/>
                  <a:pt x="4591190" y="342385"/>
                  <a:pt x="4614061" y="342385"/>
                </a:cubicBezTo>
                <a:close/>
                <a:moveTo>
                  <a:pt x="4768008" y="339842"/>
                </a:moveTo>
                <a:cubicBezTo>
                  <a:pt x="4791974" y="339842"/>
                  <a:pt x="4811578" y="359447"/>
                  <a:pt x="4811578" y="383412"/>
                </a:cubicBezTo>
                <a:cubicBezTo>
                  <a:pt x="4811578" y="407378"/>
                  <a:pt x="4791974" y="426982"/>
                  <a:pt x="4768008" y="426982"/>
                </a:cubicBezTo>
                <a:cubicBezTo>
                  <a:pt x="4744047" y="426982"/>
                  <a:pt x="4724438" y="407378"/>
                  <a:pt x="4724438" y="383412"/>
                </a:cubicBezTo>
                <a:cubicBezTo>
                  <a:pt x="4724438" y="359447"/>
                  <a:pt x="4744047" y="339842"/>
                  <a:pt x="4768008" y="339842"/>
                </a:cubicBezTo>
                <a:close/>
                <a:moveTo>
                  <a:pt x="4921598" y="337304"/>
                </a:moveTo>
                <a:cubicBezTo>
                  <a:pt x="4947012" y="337304"/>
                  <a:pt x="4967710" y="357998"/>
                  <a:pt x="4967710" y="383416"/>
                </a:cubicBezTo>
                <a:cubicBezTo>
                  <a:pt x="4967710" y="408830"/>
                  <a:pt x="4947012" y="429529"/>
                  <a:pt x="4921598" y="429529"/>
                </a:cubicBezTo>
                <a:cubicBezTo>
                  <a:pt x="4896180" y="429529"/>
                  <a:pt x="4875485" y="408830"/>
                  <a:pt x="4875485" y="383416"/>
                </a:cubicBezTo>
                <a:cubicBezTo>
                  <a:pt x="4875485" y="357998"/>
                  <a:pt x="4896180" y="337304"/>
                  <a:pt x="4921598" y="337304"/>
                </a:cubicBezTo>
                <a:close/>
                <a:moveTo>
                  <a:pt x="5075545" y="334761"/>
                </a:moveTo>
                <a:cubicBezTo>
                  <a:pt x="5102412" y="334761"/>
                  <a:pt x="5124196" y="356546"/>
                  <a:pt x="5124196" y="383416"/>
                </a:cubicBezTo>
                <a:cubicBezTo>
                  <a:pt x="5124196" y="410283"/>
                  <a:pt x="5102412" y="432068"/>
                  <a:pt x="5075545" y="432068"/>
                </a:cubicBezTo>
                <a:cubicBezTo>
                  <a:pt x="5048675" y="432068"/>
                  <a:pt x="5026890" y="410283"/>
                  <a:pt x="5026890" y="383416"/>
                </a:cubicBezTo>
                <a:cubicBezTo>
                  <a:pt x="5026890" y="356546"/>
                  <a:pt x="5048675" y="334761"/>
                  <a:pt x="5075545" y="334761"/>
                </a:cubicBezTo>
                <a:close/>
                <a:moveTo>
                  <a:pt x="5229126" y="332219"/>
                </a:moveTo>
                <a:cubicBezTo>
                  <a:pt x="5257449" y="332219"/>
                  <a:pt x="5280324" y="355094"/>
                  <a:pt x="5280324" y="383412"/>
                </a:cubicBezTo>
                <a:cubicBezTo>
                  <a:pt x="5280324" y="411735"/>
                  <a:pt x="5257449" y="434610"/>
                  <a:pt x="5229126" y="434610"/>
                </a:cubicBezTo>
                <a:cubicBezTo>
                  <a:pt x="5200808" y="434610"/>
                  <a:pt x="5177932" y="411735"/>
                  <a:pt x="5177932" y="383412"/>
                </a:cubicBezTo>
                <a:cubicBezTo>
                  <a:pt x="5177932" y="355094"/>
                  <a:pt x="5200808" y="332219"/>
                  <a:pt x="5229126" y="332219"/>
                </a:cubicBezTo>
                <a:close/>
                <a:moveTo>
                  <a:pt x="5383074" y="330042"/>
                </a:moveTo>
                <a:cubicBezTo>
                  <a:pt x="5412482" y="330042"/>
                  <a:pt x="5436448" y="354004"/>
                  <a:pt x="5436448" y="383416"/>
                </a:cubicBezTo>
                <a:cubicBezTo>
                  <a:pt x="5436448" y="412825"/>
                  <a:pt x="5412482" y="436787"/>
                  <a:pt x="5383074" y="436787"/>
                </a:cubicBezTo>
                <a:cubicBezTo>
                  <a:pt x="5353661" y="436787"/>
                  <a:pt x="5329700" y="412825"/>
                  <a:pt x="5329700" y="383416"/>
                </a:cubicBezTo>
                <a:cubicBezTo>
                  <a:pt x="5329700" y="354004"/>
                  <a:pt x="5353661" y="330042"/>
                  <a:pt x="5383074" y="330042"/>
                </a:cubicBezTo>
                <a:close/>
                <a:moveTo>
                  <a:pt x="5536659" y="327137"/>
                </a:moveTo>
                <a:cubicBezTo>
                  <a:pt x="5567886" y="327137"/>
                  <a:pt x="5592938" y="352189"/>
                  <a:pt x="5592938" y="383416"/>
                </a:cubicBezTo>
                <a:cubicBezTo>
                  <a:pt x="5592938" y="414640"/>
                  <a:pt x="5567886" y="439691"/>
                  <a:pt x="5536659" y="439691"/>
                </a:cubicBezTo>
                <a:cubicBezTo>
                  <a:pt x="5505432" y="439691"/>
                  <a:pt x="5480380" y="414640"/>
                  <a:pt x="5480380" y="383416"/>
                </a:cubicBezTo>
                <a:cubicBezTo>
                  <a:pt x="5480380" y="352189"/>
                  <a:pt x="5505432" y="327137"/>
                  <a:pt x="5536659" y="327137"/>
                </a:cubicBezTo>
                <a:close/>
                <a:moveTo>
                  <a:pt x="5690606" y="324595"/>
                </a:moveTo>
                <a:cubicBezTo>
                  <a:pt x="5723092" y="324595"/>
                  <a:pt x="5749424" y="350927"/>
                  <a:pt x="5749424" y="383416"/>
                </a:cubicBezTo>
                <a:cubicBezTo>
                  <a:pt x="5749424" y="415901"/>
                  <a:pt x="5723092" y="442234"/>
                  <a:pt x="5690606" y="442234"/>
                </a:cubicBezTo>
                <a:cubicBezTo>
                  <a:pt x="5658118" y="442234"/>
                  <a:pt x="5631785" y="415901"/>
                  <a:pt x="5631785" y="383416"/>
                </a:cubicBezTo>
                <a:cubicBezTo>
                  <a:pt x="5631785" y="350927"/>
                  <a:pt x="5658118" y="324595"/>
                  <a:pt x="5690606" y="324595"/>
                </a:cubicBezTo>
                <a:close/>
                <a:moveTo>
                  <a:pt x="5844554" y="321690"/>
                </a:moveTo>
                <a:cubicBezTo>
                  <a:pt x="5878644" y="321690"/>
                  <a:pt x="5906276" y="349326"/>
                  <a:pt x="5906276" y="383416"/>
                </a:cubicBezTo>
                <a:cubicBezTo>
                  <a:pt x="5906276" y="417502"/>
                  <a:pt x="5878644" y="445139"/>
                  <a:pt x="5844554" y="445139"/>
                </a:cubicBezTo>
                <a:cubicBezTo>
                  <a:pt x="5810460" y="445139"/>
                  <a:pt x="5782828" y="417502"/>
                  <a:pt x="5782828" y="383416"/>
                </a:cubicBezTo>
                <a:cubicBezTo>
                  <a:pt x="5782828" y="349326"/>
                  <a:pt x="5810460" y="321690"/>
                  <a:pt x="5844554" y="321690"/>
                </a:cubicBezTo>
                <a:close/>
                <a:moveTo>
                  <a:pt x="5998136" y="319148"/>
                </a:moveTo>
                <a:cubicBezTo>
                  <a:pt x="6033628" y="319148"/>
                  <a:pt x="6062404" y="347920"/>
                  <a:pt x="6062404" y="383412"/>
                </a:cubicBezTo>
                <a:cubicBezTo>
                  <a:pt x="6062404" y="418905"/>
                  <a:pt x="6033628" y="447681"/>
                  <a:pt x="5998136" y="447681"/>
                </a:cubicBezTo>
                <a:cubicBezTo>
                  <a:pt x="5962643" y="447681"/>
                  <a:pt x="5933870" y="418905"/>
                  <a:pt x="5933870" y="383412"/>
                </a:cubicBezTo>
                <a:cubicBezTo>
                  <a:pt x="5933870" y="347920"/>
                  <a:pt x="5962643" y="319148"/>
                  <a:pt x="5998136" y="319148"/>
                </a:cubicBezTo>
                <a:close/>
                <a:moveTo>
                  <a:pt x="6152086" y="315881"/>
                </a:moveTo>
                <a:cubicBezTo>
                  <a:pt x="6189382" y="315881"/>
                  <a:pt x="6219618" y="346117"/>
                  <a:pt x="6219618" y="383416"/>
                </a:cubicBezTo>
                <a:cubicBezTo>
                  <a:pt x="6219618" y="420712"/>
                  <a:pt x="6189382" y="450948"/>
                  <a:pt x="6152086" y="450948"/>
                </a:cubicBezTo>
                <a:cubicBezTo>
                  <a:pt x="6114791" y="450948"/>
                  <a:pt x="6084551" y="420712"/>
                  <a:pt x="6084551" y="383416"/>
                </a:cubicBezTo>
                <a:cubicBezTo>
                  <a:pt x="6084551" y="346117"/>
                  <a:pt x="6114791" y="315881"/>
                  <a:pt x="6152086" y="315881"/>
                </a:cubicBezTo>
                <a:close/>
                <a:moveTo>
                  <a:pt x="6305668" y="313338"/>
                </a:moveTo>
                <a:cubicBezTo>
                  <a:pt x="6344370" y="313338"/>
                  <a:pt x="6375746" y="344710"/>
                  <a:pt x="6375746" y="383412"/>
                </a:cubicBezTo>
                <a:cubicBezTo>
                  <a:pt x="6375746" y="422115"/>
                  <a:pt x="6344370" y="453490"/>
                  <a:pt x="6305668" y="453490"/>
                </a:cubicBezTo>
                <a:cubicBezTo>
                  <a:pt x="6266970" y="453490"/>
                  <a:pt x="6235594" y="422115"/>
                  <a:pt x="6235594" y="383412"/>
                </a:cubicBezTo>
                <a:cubicBezTo>
                  <a:pt x="6235594" y="344710"/>
                  <a:pt x="6266970" y="313338"/>
                  <a:pt x="6305668" y="313338"/>
                </a:cubicBezTo>
                <a:close/>
                <a:moveTo>
                  <a:pt x="6459616" y="310434"/>
                </a:moveTo>
                <a:cubicBezTo>
                  <a:pt x="6499922" y="310434"/>
                  <a:pt x="6532598" y="343109"/>
                  <a:pt x="6532598" y="383412"/>
                </a:cubicBezTo>
                <a:cubicBezTo>
                  <a:pt x="6532598" y="423719"/>
                  <a:pt x="6499922" y="456395"/>
                  <a:pt x="6459616" y="456395"/>
                </a:cubicBezTo>
                <a:cubicBezTo>
                  <a:pt x="6419312" y="456395"/>
                  <a:pt x="6386636" y="423719"/>
                  <a:pt x="6386636" y="383412"/>
                </a:cubicBezTo>
                <a:cubicBezTo>
                  <a:pt x="6386636" y="343109"/>
                  <a:pt x="6419312" y="310434"/>
                  <a:pt x="6459616" y="310434"/>
                </a:cubicBezTo>
                <a:close/>
                <a:moveTo>
                  <a:pt x="6613200" y="307891"/>
                </a:moveTo>
                <a:cubicBezTo>
                  <a:pt x="6654956" y="307891"/>
                  <a:pt x="6688722" y="341657"/>
                  <a:pt x="6688722" y="383412"/>
                </a:cubicBezTo>
                <a:cubicBezTo>
                  <a:pt x="6688722" y="425168"/>
                  <a:pt x="6654956" y="458934"/>
                  <a:pt x="6613200" y="458934"/>
                </a:cubicBezTo>
                <a:cubicBezTo>
                  <a:pt x="6571449" y="458934"/>
                  <a:pt x="6537680" y="425168"/>
                  <a:pt x="6537680" y="383412"/>
                </a:cubicBezTo>
                <a:cubicBezTo>
                  <a:pt x="6537680" y="341657"/>
                  <a:pt x="6571449" y="307891"/>
                  <a:pt x="6613200" y="307891"/>
                </a:cubicBezTo>
                <a:close/>
                <a:moveTo>
                  <a:pt x="923681" y="229469"/>
                </a:moveTo>
                <a:cubicBezTo>
                  <a:pt x="924043" y="229469"/>
                  <a:pt x="924043" y="229469"/>
                  <a:pt x="924043" y="229831"/>
                </a:cubicBezTo>
                <a:cubicBezTo>
                  <a:pt x="924043" y="230193"/>
                  <a:pt x="923681" y="230193"/>
                  <a:pt x="923681" y="230193"/>
                </a:cubicBezTo>
                <a:cubicBezTo>
                  <a:pt x="923319" y="230193"/>
                  <a:pt x="923319" y="230193"/>
                  <a:pt x="923319" y="229831"/>
                </a:cubicBezTo>
                <a:cubicBezTo>
                  <a:pt x="923319" y="229469"/>
                  <a:pt x="923319" y="229469"/>
                  <a:pt x="923681" y="229469"/>
                </a:cubicBezTo>
                <a:close/>
                <a:moveTo>
                  <a:pt x="462205" y="229469"/>
                </a:moveTo>
                <a:cubicBezTo>
                  <a:pt x="462567" y="229469"/>
                  <a:pt x="462567" y="229469"/>
                  <a:pt x="462567" y="229831"/>
                </a:cubicBezTo>
                <a:cubicBezTo>
                  <a:pt x="462567" y="230193"/>
                  <a:pt x="462205" y="230193"/>
                  <a:pt x="462205" y="230193"/>
                </a:cubicBezTo>
                <a:cubicBezTo>
                  <a:pt x="461842" y="230193"/>
                  <a:pt x="461842" y="230193"/>
                  <a:pt x="461842" y="229831"/>
                </a:cubicBezTo>
                <a:cubicBezTo>
                  <a:pt x="461842" y="229469"/>
                  <a:pt x="461842" y="229469"/>
                  <a:pt x="462205" y="229469"/>
                </a:cubicBezTo>
                <a:close/>
                <a:moveTo>
                  <a:pt x="308257" y="229469"/>
                </a:moveTo>
                <a:cubicBezTo>
                  <a:pt x="308619" y="229469"/>
                  <a:pt x="308619" y="229469"/>
                  <a:pt x="308619" y="229831"/>
                </a:cubicBezTo>
                <a:cubicBezTo>
                  <a:pt x="308619" y="230193"/>
                  <a:pt x="308257" y="230193"/>
                  <a:pt x="308257" y="230193"/>
                </a:cubicBezTo>
                <a:cubicBezTo>
                  <a:pt x="307895" y="230193"/>
                  <a:pt x="307895" y="230193"/>
                  <a:pt x="307895" y="229831"/>
                </a:cubicBezTo>
                <a:cubicBezTo>
                  <a:pt x="307895" y="229469"/>
                  <a:pt x="307895" y="229469"/>
                  <a:pt x="308257" y="229469"/>
                </a:cubicBezTo>
                <a:close/>
                <a:moveTo>
                  <a:pt x="154676" y="229103"/>
                </a:moveTo>
                <a:cubicBezTo>
                  <a:pt x="155076" y="229103"/>
                  <a:pt x="155400" y="229427"/>
                  <a:pt x="155400" y="229827"/>
                </a:cubicBezTo>
                <a:cubicBezTo>
                  <a:pt x="155400" y="230231"/>
                  <a:pt x="155076" y="230555"/>
                  <a:pt x="154676" y="230555"/>
                </a:cubicBezTo>
                <a:cubicBezTo>
                  <a:pt x="154272" y="230555"/>
                  <a:pt x="153948" y="230231"/>
                  <a:pt x="153948" y="229827"/>
                </a:cubicBezTo>
                <a:cubicBezTo>
                  <a:pt x="153948" y="229427"/>
                  <a:pt x="154272" y="229103"/>
                  <a:pt x="154676" y="229103"/>
                </a:cubicBezTo>
                <a:close/>
                <a:moveTo>
                  <a:pt x="725" y="229103"/>
                </a:moveTo>
                <a:cubicBezTo>
                  <a:pt x="1090" y="229103"/>
                  <a:pt x="1453" y="229465"/>
                  <a:pt x="1453" y="229827"/>
                </a:cubicBezTo>
                <a:cubicBezTo>
                  <a:pt x="1453" y="230193"/>
                  <a:pt x="725" y="230555"/>
                  <a:pt x="725" y="230555"/>
                </a:cubicBezTo>
                <a:cubicBezTo>
                  <a:pt x="362" y="230555"/>
                  <a:pt x="0" y="230193"/>
                  <a:pt x="0" y="229827"/>
                </a:cubicBezTo>
                <a:cubicBezTo>
                  <a:pt x="0" y="229465"/>
                  <a:pt x="362" y="229103"/>
                  <a:pt x="725" y="229103"/>
                </a:cubicBezTo>
                <a:close/>
                <a:moveTo>
                  <a:pt x="1077266" y="228379"/>
                </a:moveTo>
                <a:cubicBezTo>
                  <a:pt x="1078067" y="228379"/>
                  <a:pt x="1078718" y="229031"/>
                  <a:pt x="1078718" y="229831"/>
                </a:cubicBezTo>
                <a:cubicBezTo>
                  <a:pt x="1078718" y="230631"/>
                  <a:pt x="1078067" y="231283"/>
                  <a:pt x="1077266" y="231283"/>
                </a:cubicBezTo>
                <a:cubicBezTo>
                  <a:pt x="1076462" y="231283"/>
                  <a:pt x="1075814" y="230631"/>
                  <a:pt x="1075814" y="229831"/>
                </a:cubicBezTo>
                <a:cubicBezTo>
                  <a:pt x="1075814" y="229031"/>
                  <a:pt x="1076462" y="228379"/>
                  <a:pt x="1077266" y="228379"/>
                </a:cubicBezTo>
                <a:close/>
                <a:moveTo>
                  <a:pt x="1231217" y="227651"/>
                </a:moveTo>
                <a:cubicBezTo>
                  <a:pt x="1232418" y="227651"/>
                  <a:pt x="1233394" y="228626"/>
                  <a:pt x="1233394" y="229827"/>
                </a:cubicBezTo>
                <a:cubicBezTo>
                  <a:pt x="1233394" y="231032"/>
                  <a:pt x="1232418" y="232008"/>
                  <a:pt x="1231217" y="232008"/>
                </a:cubicBezTo>
                <a:cubicBezTo>
                  <a:pt x="1230013" y="232008"/>
                  <a:pt x="1229037" y="231032"/>
                  <a:pt x="1229037" y="229827"/>
                </a:cubicBezTo>
                <a:cubicBezTo>
                  <a:pt x="1229037" y="228626"/>
                  <a:pt x="1230013" y="227651"/>
                  <a:pt x="1231217" y="227651"/>
                </a:cubicBezTo>
                <a:close/>
                <a:moveTo>
                  <a:pt x="1384799" y="226560"/>
                </a:moveTo>
                <a:cubicBezTo>
                  <a:pt x="1386617" y="226560"/>
                  <a:pt x="1388069" y="228013"/>
                  <a:pt x="1388069" y="229827"/>
                </a:cubicBezTo>
                <a:cubicBezTo>
                  <a:pt x="1388069" y="231645"/>
                  <a:pt x="1386617" y="233098"/>
                  <a:pt x="1384799" y="233098"/>
                </a:cubicBezTo>
                <a:cubicBezTo>
                  <a:pt x="1382984" y="233098"/>
                  <a:pt x="1381532" y="231645"/>
                  <a:pt x="1381532" y="229827"/>
                </a:cubicBezTo>
                <a:cubicBezTo>
                  <a:pt x="1381532" y="228013"/>
                  <a:pt x="1382984" y="226560"/>
                  <a:pt x="1384799" y="226560"/>
                </a:cubicBezTo>
                <a:close/>
                <a:moveTo>
                  <a:pt x="1538746" y="225108"/>
                </a:moveTo>
                <a:cubicBezTo>
                  <a:pt x="1541285" y="225108"/>
                  <a:pt x="1543103" y="226923"/>
                  <a:pt x="1543103" y="229465"/>
                </a:cubicBezTo>
                <a:cubicBezTo>
                  <a:pt x="1543103" y="232008"/>
                  <a:pt x="1540923" y="233822"/>
                  <a:pt x="1538746" y="233822"/>
                </a:cubicBezTo>
                <a:cubicBezTo>
                  <a:pt x="1536204" y="233822"/>
                  <a:pt x="1534389" y="232008"/>
                  <a:pt x="1534389" y="229465"/>
                </a:cubicBezTo>
                <a:cubicBezTo>
                  <a:pt x="1534389" y="226923"/>
                  <a:pt x="1536204" y="225108"/>
                  <a:pt x="1538746" y="225108"/>
                </a:cubicBezTo>
                <a:close/>
                <a:moveTo>
                  <a:pt x="1692331" y="224022"/>
                </a:moveTo>
                <a:cubicBezTo>
                  <a:pt x="1695541" y="224022"/>
                  <a:pt x="1698141" y="226621"/>
                  <a:pt x="1698141" y="229831"/>
                </a:cubicBezTo>
                <a:cubicBezTo>
                  <a:pt x="1698141" y="233041"/>
                  <a:pt x="1695541" y="235640"/>
                  <a:pt x="1692331" y="235640"/>
                </a:cubicBezTo>
                <a:cubicBezTo>
                  <a:pt x="1689122" y="235640"/>
                  <a:pt x="1686522" y="233041"/>
                  <a:pt x="1686522" y="229831"/>
                </a:cubicBezTo>
                <a:cubicBezTo>
                  <a:pt x="1686522" y="226621"/>
                  <a:pt x="1689122" y="224022"/>
                  <a:pt x="1692331" y="224022"/>
                </a:cubicBezTo>
                <a:close/>
                <a:moveTo>
                  <a:pt x="1846279" y="222569"/>
                </a:moveTo>
                <a:cubicBezTo>
                  <a:pt x="1850274" y="222569"/>
                  <a:pt x="1853540" y="225836"/>
                  <a:pt x="1853540" y="229831"/>
                </a:cubicBezTo>
                <a:cubicBezTo>
                  <a:pt x="1853540" y="233826"/>
                  <a:pt x="1850274" y="237093"/>
                  <a:pt x="1846279" y="237093"/>
                </a:cubicBezTo>
                <a:cubicBezTo>
                  <a:pt x="1842284" y="237093"/>
                  <a:pt x="1839017" y="233826"/>
                  <a:pt x="1839017" y="229831"/>
                </a:cubicBezTo>
                <a:cubicBezTo>
                  <a:pt x="1839017" y="225836"/>
                  <a:pt x="1842284" y="222569"/>
                  <a:pt x="1846279" y="222569"/>
                </a:cubicBezTo>
                <a:close/>
                <a:moveTo>
                  <a:pt x="1999860" y="220389"/>
                </a:moveTo>
                <a:cubicBezTo>
                  <a:pt x="2004945" y="220389"/>
                  <a:pt x="2008940" y="224384"/>
                  <a:pt x="2008940" y="229465"/>
                </a:cubicBezTo>
                <a:cubicBezTo>
                  <a:pt x="2008940" y="234550"/>
                  <a:pt x="2004945" y="238545"/>
                  <a:pt x="1999860" y="238545"/>
                </a:cubicBezTo>
                <a:cubicBezTo>
                  <a:pt x="1994779" y="238545"/>
                  <a:pt x="1990784" y="234550"/>
                  <a:pt x="1990784" y="229465"/>
                </a:cubicBezTo>
                <a:cubicBezTo>
                  <a:pt x="1990784" y="224384"/>
                  <a:pt x="1994779" y="220389"/>
                  <a:pt x="1999860" y="220389"/>
                </a:cubicBezTo>
                <a:close/>
                <a:moveTo>
                  <a:pt x="2153811" y="219665"/>
                </a:moveTo>
                <a:cubicBezTo>
                  <a:pt x="2159259" y="219665"/>
                  <a:pt x="2163978" y="224384"/>
                  <a:pt x="2163978" y="229831"/>
                </a:cubicBezTo>
                <a:cubicBezTo>
                  <a:pt x="2163978" y="235278"/>
                  <a:pt x="2159621" y="239997"/>
                  <a:pt x="2153811" y="239997"/>
                </a:cubicBezTo>
                <a:cubicBezTo>
                  <a:pt x="2148364" y="239997"/>
                  <a:pt x="2143645" y="235278"/>
                  <a:pt x="2143645" y="229831"/>
                </a:cubicBezTo>
                <a:cubicBezTo>
                  <a:pt x="2143645" y="224384"/>
                  <a:pt x="2148364" y="219665"/>
                  <a:pt x="2153811" y="219665"/>
                </a:cubicBezTo>
                <a:close/>
                <a:moveTo>
                  <a:pt x="2307393" y="217484"/>
                </a:moveTo>
                <a:cubicBezTo>
                  <a:pt x="2313930" y="217484"/>
                  <a:pt x="2319377" y="222931"/>
                  <a:pt x="2319377" y="229465"/>
                </a:cubicBezTo>
                <a:cubicBezTo>
                  <a:pt x="2319377" y="236002"/>
                  <a:pt x="2313930" y="241450"/>
                  <a:pt x="2307393" y="241450"/>
                </a:cubicBezTo>
                <a:cubicBezTo>
                  <a:pt x="2300859" y="241450"/>
                  <a:pt x="2295412" y="236002"/>
                  <a:pt x="2295412" y="229465"/>
                </a:cubicBezTo>
                <a:cubicBezTo>
                  <a:pt x="2295412" y="222931"/>
                  <a:pt x="2300859" y="217484"/>
                  <a:pt x="2307393" y="217484"/>
                </a:cubicBezTo>
                <a:close/>
                <a:moveTo>
                  <a:pt x="2461344" y="215670"/>
                </a:moveTo>
                <a:cubicBezTo>
                  <a:pt x="2468968" y="215670"/>
                  <a:pt x="2475139" y="221841"/>
                  <a:pt x="2475139" y="229469"/>
                </a:cubicBezTo>
                <a:cubicBezTo>
                  <a:pt x="2475139" y="237093"/>
                  <a:pt x="2468968" y="243264"/>
                  <a:pt x="2461344" y="243264"/>
                </a:cubicBezTo>
                <a:cubicBezTo>
                  <a:pt x="2453716" y="243264"/>
                  <a:pt x="2447545" y="237093"/>
                  <a:pt x="2447545" y="229469"/>
                </a:cubicBezTo>
                <a:cubicBezTo>
                  <a:pt x="2447545" y="221841"/>
                  <a:pt x="2453716" y="215670"/>
                  <a:pt x="2461344" y="215670"/>
                </a:cubicBezTo>
                <a:close/>
                <a:moveTo>
                  <a:pt x="2614925" y="214580"/>
                </a:moveTo>
                <a:cubicBezTo>
                  <a:pt x="2623350" y="214580"/>
                  <a:pt x="2630177" y="221407"/>
                  <a:pt x="2630177" y="229827"/>
                </a:cubicBezTo>
                <a:cubicBezTo>
                  <a:pt x="2630177" y="238252"/>
                  <a:pt x="2623350" y="245079"/>
                  <a:pt x="2614925" y="245079"/>
                </a:cubicBezTo>
                <a:cubicBezTo>
                  <a:pt x="2606505" y="245079"/>
                  <a:pt x="2599678" y="238252"/>
                  <a:pt x="2599678" y="229827"/>
                </a:cubicBezTo>
                <a:cubicBezTo>
                  <a:pt x="2599678" y="221407"/>
                  <a:pt x="2606505" y="214580"/>
                  <a:pt x="2614925" y="214580"/>
                </a:cubicBezTo>
                <a:close/>
                <a:moveTo>
                  <a:pt x="2768873" y="212765"/>
                </a:moveTo>
                <a:cubicBezTo>
                  <a:pt x="2778311" y="212765"/>
                  <a:pt x="2785939" y="220389"/>
                  <a:pt x="2785939" y="229831"/>
                </a:cubicBezTo>
                <a:cubicBezTo>
                  <a:pt x="2785939" y="239269"/>
                  <a:pt x="2778311" y="246897"/>
                  <a:pt x="2768873" y="246897"/>
                </a:cubicBezTo>
                <a:cubicBezTo>
                  <a:pt x="2759431" y="246897"/>
                  <a:pt x="2751807" y="239269"/>
                  <a:pt x="2751807" y="229831"/>
                </a:cubicBezTo>
                <a:cubicBezTo>
                  <a:pt x="2751807" y="220389"/>
                  <a:pt x="2759431" y="212765"/>
                  <a:pt x="2768873" y="212765"/>
                </a:cubicBezTo>
                <a:close/>
                <a:moveTo>
                  <a:pt x="2922458" y="210589"/>
                </a:moveTo>
                <a:cubicBezTo>
                  <a:pt x="2933086" y="210589"/>
                  <a:pt x="2941700" y="219203"/>
                  <a:pt x="2941700" y="229831"/>
                </a:cubicBezTo>
                <a:cubicBezTo>
                  <a:pt x="2941700" y="240459"/>
                  <a:pt x="2933086" y="249077"/>
                  <a:pt x="2922458" y="249077"/>
                </a:cubicBezTo>
                <a:cubicBezTo>
                  <a:pt x="2911830" y="249077"/>
                  <a:pt x="2903216" y="240459"/>
                  <a:pt x="2903216" y="229831"/>
                </a:cubicBezTo>
                <a:cubicBezTo>
                  <a:pt x="2903216" y="219203"/>
                  <a:pt x="2911830" y="210589"/>
                  <a:pt x="2922458" y="210589"/>
                </a:cubicBezTo>
                <a:close/>
                <a:moveTo>
                  <a:pt x="3076406" y="208408"/>
                </a:moveTo>
                <a:cubicBezTo>
                  <a:pt x="3088234" y="208408"/>
                  <a:pt x="3097828" y="217999"/>
                  <a:pt x="3097828" y="229831"/>
                </a:cubicBezTo>
                <a:cubicBezTo>
                  <a:pt x="3097828" y="241659"/>
                  <a:pt x="3088234" y="251254"/>
                  <a:pt x="3076406" y="251254"/>
                </a:cubicBezTo>
                <a:cubicBezTo>
                  <a:pt x="3064573" y="251254"/>
                  <a:pt x="3054982" y="241659"/>
                  <a:pt x="3054982" y="229831"/>
                </a:cubicBezTo>
                <a:cubicBezTo>
                  <a:pt x="3054982" y="217999"/>
                  <a:pt x="3064573" y="208408"/>
                  <a:pt x="3076406" y="208408"/>
                </a:cubicBezTo>
                <a:close/>
                <a:moveTo>
                  <a:pt x="3230353" y="206956"/>
                </a:moveTo>
                <a:cubicBezTo>
                  <a:pt x="3242986" y="206956"/>
                  <a:pt x="3253228" y="217198"/>
                  <a:pt x="3253228" y="229831"/>
                </a:cubicBezTo>
                <a:cubicBezTo>
                  <a:pt x="3253228" y="242464"/>
                  <a:pt x="3242986" y="252706"/>
                  <a:pt x="3230353" y="252706"/>
                </a:cubicBezTo>
                <a:cubicBezTo>
                  <a:pt x="3217720" y="252706"/>
                  <a:pt x="3207478" y="242464"/>
                  <a:pt x="3207478" y="229831"/>
                </a:cubicBezTo>
                <a:cubicBezTo>
                  <a:pt x="3207478" y="217198"/>
                  <a:pt x="3217720" y="206956"/>
                  <a:pt x="3230353" y="206956"/>
                </a:cubicBezTo>
                <a:close/>
                <a:moveTo>
                  <a:pt x="3383934" y="204779"/>
                </a:moveTo>
                <a:cubicBezTo>
                  <a:pt x="3397772" y="204779"/>
                  <a:pt x="3408986" y="215994"/>
                  <a:pt x="3408986" y="229831"/>
                </a:cubicBezTo>
                <a:cubicBezTo>
                  <a:pt x="3408986" y="243668"/>
                  <a:pt x="3397772" y="254887"/>
                  <a:pt x="3383934" y="254887"/>
                </a:cubicBezTo>
                <a:cubicBezTo>
                  <a:pt x="3370097" y="254887"/>
                  <a:pt x="3358882" y="243668"/>
                  <a:pt x="3358882" y="229831"/>
                </a:cubicBezTo>
                <a:cubicBezTo>
                  <a:pt x="3358882" y="215994"/>
                  <a:pt x="3370097" y="204779"/>
                  <a:pt x="3383934" y="204779"/>
                </a:cubicBezTo>
                <a:close/>
                <a:moveTo>
                  <a:pt x="3537886" y="202599"/>
                </a:moveTo>
                <a:cubicBezTo>
                  <a:pt x="3552924" y="202599"/>
                  <a:pt x="3565118" y="214789"/>
                  <a:pt x="3565118" y="229831"/>
                </a:cubicBezTo>
                <a:cubicBezTo>
                  <a:pt x="3565118" y="244869"/>
                  <a:pt x="3552924" y="257059"/>
                  <a:pt x="3537886" y="257059"/>
                </a:cubicBezTo>
                <a:cubicBezTo>
                  <a:pt x="3522844" y="257059"/>
                  <a:pt x="3510653" y="244869"/>
                  <a:pt x="3510653" y="229831"/>
                </a:cubicBezTo>
                <a:cubicBezTo>
                  <a:pt x="3510653" y="214789"/>
                  <a:pt x="3522844" y="202599"/>
                  <a:pt x="3537886" y="202599"/>
                </a:cubicBezTo>
                <a:close/>
                <a:moveTo>
                  <a:pt x="3691467" y="200056"/>
                </a:moveTo>
                <a:cubicBezTo>
                  <a:pt x="3707912" y="200056"/>
                  <a:pt x="3721242" y="213386"/>
                  <a:pt x="3721242" y="229827"/>
                </a:cubicBezTo>
                <a:cubicBezTo>
                  <a:pt x="3721242" y="246272"/>
                  <a:pt x="3707912" y="259602"/>
                  <a:pt x="3691467" y="259602"/>
                </a:cubicBezTo>
                <a:cubicBezTo>
                  <a:pt x="3675026" y="259602"/>
                  <a:pt x="3661696" y="246272"/>
                  <a:pt x="3661696" y="229827"/>
                </a:cubicBezTo>
                <a:cubicBezTo>
                  <a:pt x="3661696" y="213386"/>
                  <a:pt x="3675026" y="200056"/>
                  <a:pt x="3691467" y="200056"/>
                </a:cubicBezTo>
                <a:close/>
                <a:moveTo>
                  <a:pt x="3845414" y="197880"/>
                </a:moveTo>
                <a:cubicBezTo>
                  <a:pt x="3863060" y="197880"/>
                  <a:pt x="3877366" y="212186"/>
                  <a:pt x="3877366" y="229831"/>
                </a:cubicBezTo>
                <a:cubicBezTo>
                  <a:pt x="3877366" y="247476"/>
                  <a:pt x="3863060" y="261782"/>
                  <a:pt x="3845414" y="261782"/>
                </a:cubicBezTo>
                <a:cubicBezTo>
                  <a:pt x="3827769" y="261782"/>
                  <a:pt x="3813463" y="247476"/>
                  <a:pt x="3813463" y="229831"/>
                </a:cubicBezTo>
                <a:cubicBezTo>
                  <a:pt x="3813463" y="212186"/>
                  <a:pt x="3827769" y="197880"/>
                  <a:pt x="3845414" y="197880"/>
                </a:cubicBezTo>
                <a:close/>
                <a:moveTo>
                  <a:pt x="3999000" y="196065"/>
                </a:moveTo>
                <a:cubicBezTo>
                  <a:pt x="4017651" y="196065"/>
                  <a:pt x="4032769" y="211183"/>
                  <a:pt x="4032769" y="229831"/>
                </a:cubicBezTo>
                <a:cubicBezTo>
                  <a:pt x="4032769" y="248483"/>
                  <a:pt x="4017651" y="263597"/>
                  <a:pt x="3999000" y="263597"/>
                </a:cubicBezTo>
                <a:cubicBezTo>
                  <a:pt x="3980352" y="263597"/>
                  <a:pt x="3965234" y="248483"/>
                  <a:pt x="3965234" y="229831"/>
                </a:cubicBezTo>
                <a:cubicBezTo>
                  <a:pt x="3965234" y="211183"/>
                  <a:pt x="3980352" y="196065"/>
                  <a:pt x="3999000" y="196065"/>
                </a:cubicBezTo>
                <a:close/>
                <a:moveTo>
                  <a:pt x="4152947" y="193523"/>
                </a:moveTo>
                <a:cubicBezTo>
                  <a:pt x="4173002" y="193523"/>
                  <a:pt x="4189256" y="209777"/>
                  <a:pt x="4189256" y="229831"/>
                </a:cubicBezTo>
                <a:cubicBezTo>
                  <a:pt x="4189256" y="249885"/>
                  <a:pt x="4173002" y="266139"/>
                  <a:pt x="4152947" y="266139"/>
                </a:cubicBezTo>
                <a:cubicBezTo>
                  <a:pt x="4132896" y="266139"/>
                  <a:pt x="4116638" y="249885"/>
                  <a:pt x="4116638" y="229831"/>
                </a:cubicBezTo>
                <a:cubicBezTo>
                  <a:pt x="4116638" y="209777"/>
                  <a:pt x="4132896" y="193523"/>
                  <a:pt x="4152947" y="193523"/>
                </a:cubicBezTo>
                <a:close/>
                <a:moveTo>
                  <a:pt x="4306532" y="190618"/>
                </a:moveTo>
                <a:cubicBezTo>
                  <a:pt x="4327952" y="190618"/>
                  <a:pt x="4345380" y="208046"/>
                  <a:pt x="4345380" y="229469"/>
                </a:cubicBezTo>
                <a:cubicBezTo>
                  <a:pt x="4345380" y="250888"/>
                  <a:pt x="4327952" y="268316"/>
                  <a:pt x="4306532" y="268316"/>
                </a:cubicBezTo>
                <a:cubicBezTo>
                  <a:pt x="4285110" y="268316"/>
                  <a:pt x="4267682" y="250888"/>
                  <a:pt x="4267682" y="229469"/>
                </a:cubicBezTo>
                <a:cubicBezTo>
                  <a:pt x="4267682" y="208046"/>
                  <a:pt x="4285110" y="190618"/>
                  <a:pt x="4306532" y="190618"/>
                </a:cubicBezTo>
                <a:close/>
                <a:moveTo>
                  <a:pt x="4460480" y="188438"/>
                </a:moveTo>
                <a:cubicBezTo>
                  <a:pt x="4483355" y="188438"/>
                  <a:pt x="4501511" y="206594"/>
                  <a:pt x="4501511" y="229465"/>
                </a:cubicBezTo>
                <a:cubicBezTo>
                  <a:pt x="4501511" y="252340"/>
                  <a:pt x="4482993" y="270493"/>
                  <a:pt x="4460480" y="270493"/>
                </a:cubicBezTo>
                <a:cubicBezTo>
                  <a:pt x="4437608" y="270493"/>
                  <a:pt x="4419452" y="252340"/>
                  <a:pt x="4419452" y="229465"/>
                </a:cubicBezTo>
                <a:cubicBezTo>
                  <a:pt x="4419452" y="206594"/>
                  <a:pt x="4437608" y="188438"/>
                  <a:pt x="4460480" y="188438"/>
                </a:cubicBezTo>
                <a:close/>
                <a:moveTo>
                  <a:pt x="4614065" y="185895"/>
                </a:moveTo>
                <a:cubicBezTo>
                  <a:pt x="4638026" y="185895"/>
                  <a:pt x="4657635" y="205500"/>
                  <a:pt x="4657635" y="229465"/>
                </a:cubicBezTo>
                <a:cubicBezTo>
                  <a:pt x="4657635" y="253430"/>
                  <a:pt x="4638026" y="273035"/>
                  <a:pt x="4614065" y="273035"/>
                </a:cubicBezTo>
                <a:cubicBezTo>
                  <a:pt x="4590100" y="273035"/>
                  <a:pt x="4570495" y="253430"/>
                  <a:pt x="4570495" y="229465"/>
                </a:cubicBezTo>
                <a:cubicBezTo>
                  <a:pt x="4570495" y="205500"/>
                  <a:pt x="4590100" y="185895"/>
                  <a:pt x="4614065" y="185895"/>
                </a:cubicBezTo>
                <a:close/>
                <a:moveTo>
                  <a:pt x="4768012" y="183356"/>
                </a:moveTo>
                <a:cubicBezTo>
                  <a:pt x="4793426" y="183356"/>
                  <a:pt x="4814125" y="204051"/>
                  <a:pt x="4814125" y="229469"/>
                </a:cubicBezTo>
                <a:cubicBezTo>
                  <a:pt x="4814125" y="254883"/>
                  <a:pt x="4793426" y="275581"/>
                  <a:pt x="4768012" y="275581"/>
                </a:cubicBezTo>
                <a:cubicBezTo>
                  <a:pt x="4742594" y="275581"/>
                  <a:pt x="4721900" y="254883"/>
                  <a:pt x="4721900" y="229469"/>
                </a:cubicBezTo>
                <a:cubicBezTo>
                  <a:pt x="4721900" y="204051"/>
                  <a:pt x="4742594" y="183356"/>
                  <a:pt x="4768012" y="183356"/>
                </a:cubicBezTo>
                <a:close/>
                <a:moveTo>
                  <a:pt x="4921594" y="180814"/>
                </a:moveTo>
                <a:cubicBezTo>
                  <a:pt x="4948464" y="180814"/>
                  <a:pt x="4970249" y="202599"/>
                  <a:pt x="4970249" y="229469"/>
                </a:cubicBezTo>
                <a:cubicBezTo>
                  <a:pt x="4970249" y="256335"/>
                  <a:pt x="4948464" y="278120"/>
                  <a:pt x="4921594" y="278120"/>
                </a:cubicBezTo>
                <a:cubicBezTo>
                  <a:pt x="4894728" y="278120"/>
                  <a:pt x="4872942" y="256335"/>
                  <a:pt x="4872942" y="229469"/>
                </a:cubicBezTo>
                <a:cubicBezTo>
                  <a:pt x="4872942" y="202599"/>
                  <a:pt x="4894728" y="180814"/>
                  <a:pt x="4921594" y="180814"/>
                </a:cubicBezTo>
                <a:close/>
                <a:moveTo>
                  <a:pt x="5075541" y="178637"/>
                </a:moveTo>
                <a:cubicBezTo>
                  <a:pt x="5103864" y="178637"/>
                  <a:pt x="5126735" y="201512"/>
                  <a:pt x="5126735" y="229831"/>
                </a:cubicBezTo>
                <a:cubicBezTo>
                  <a:pt x="5126735" y="258153"/>
                  <a:pt x="5103864" y="281025"/>
                  <a:pt x="5075541" y="281025"/>
                </a:cubicBezTo>
                <a:cubicBezTo>
                  <a:pt x="5047222" y="281025"/>
                  <a:pt x="5024348" y="258153"/>
                  <a:pt x="5024348" y="229831"/>
                </a:cubicBezTo>
                <a:cubicBezTo>
                  <a:pt x="5024348" y="201512"/>
                  <a:pt x="5047222" y="178637"/>
                  <a:pt x="5075541" y="178637"/>
                </a:cubicBezTo>
                <a:close/>
                <a:moveTo>
                  <a:pt x="5229126" y="176095"/>
                </a:moveTo>
                <a:cubicBezTo>
                  <a:pt x="5258536" y="176095"/>
                  <a:pt x="5282500" y="200060"/>
                  <a:pt x="5282500" y="229469"/>
                </a:cubicBezTo>
                <a:cubicBezTo>
                  <a:pt x="5282500" y="258878"/>
                  <a:pt x="5258536" y="282843"/>
                  <a:pt x="5229126" y="282843"/>
                </a:cubicBezTo>
                <a:cubicBezTo>
                  <a:pt x="5199718" y="282843"/>
                  <a:pt x="5175752" y="258878"/>
                  <a:pt x="5175752" y="229469"/>
                </a:cubicBezTo>
                <a:cubicBezTo>
                  <a:pt x="5175752" y="200060"/>
                  <a:pt x="5199718" y="176095"/>
                  <a:pt x="5229126" y="176095"/>
                </a:cubicBezTo>
                <a:close/>
                <a:moveTo>
                  <a:pt x="5383074" y="173552"/>
                </a:moveTo>
                <a:cubicBezTo>
                  <a:pt x="5414297" y="173552"/>
                  <a:pt x="5439352" y="198604"/>
                  <a:pt x="5439352" y="229831"/>
                </a:cubicBezTo>
                <a:cubicBezTo>
                  <a:pt x="5439352" y="261054"/>
                  <a:pt x="5414297" y="286110"/>
                  <a:pt x="5383074" y="286110"/>
                </a:cubicBezTo>
                <a:cubicBezTo>
                  <a:pt x="5351847" y="286110"/>
                  <a:pt x="5326795" y="261054"/>
                  <a:pt x="5326795" y="229831"/>
                </a:cubicBezTo>
                <a:cubicBezTo>
                  <a:pt x="5326795" y="198604"/>
                  <a:pt x="5351847" y="173552"/>
                  <a:pt x="5383074" y="173552"/>
                </a:cubicBezTo>
                <a:close/>
                <a:moveTo>
                  <a:pt x="5536659" y="171010"/>
                </a:moveTo>
                <a:cubicBezTo>
                  <a:pt x="5569144" y="171010"/>
                  <a:pt x="5595476" y="197342"/>
                  <a:pt x="5595476" y="229827"/>
                </a:cubicBezTo>
                <a:cubicBezTo>
                  <a:pt x="5595476" y="262316"/>
                  <a:pt x="5569144" y="288649"/>
                  <a:pt x="5536659" y="288649"/>
                </a:cubicBezTo>
                <a:cubicBezTo>
                  <a:pt x="5504174" y="288649"/>
                  <a:pt x="5477838" y="262316"/>
                  <a:pt x="5477838" y="229827"/>
                </a:cubicBezTo>
                <a:cubicBezTo>
                  <a:pt x="5477838" y="197342"/>
                  <a:pt x="5504174" y="171010"/>
                  <a:pt x="5536659" y="171010"/>
                </a:cubicBezTo>
                <a:close/>
                <a:moveTo>
                  <a:pt x="5690606" y="168105"/>
                </a:moveTo>
                <a:cubicBezTo>
                  <a:pt x="5724734" y="168105"/>
                  <a:pt x="5752329" y="195699"/>
                  <a:pt x="5752329" y="229827"/>
                </a:cubicBezTo>
                <a:cubicBezTo>
                  <a:pt x="5752329" y="263959"/>
                  <a:pt x="5724734" y="291553"/>
                  <a:pt x="5690606" y="291553"/>
                </a:cubicBezTo>
                <a:cubicBezTo>
                  <a:pt x="5656475" y="291553"/>
                  <a:pt x="5628880" y="263959"/>
                  <a:pt x="5628880" y="229827"/>
                </a:cubicBezTo>
                <a:cubicBezTo>
                  <a:pt x="5628880" y="195699"/>
                  <a:pt x="5656475" y="168105"/>
                  <a:pt x="5690606" y="168105"/>
                </a:cubicBezTo>
                <a:close/>
                <a:moveTo>
                  <a:pt x="5844554" y="165566"/>
                </a:moveTo>
                <a:cubicBezTo>
                  <a:pt x="5880046" y="165566"/>
                  <a:pt x="5908822" y="194338"/>
                  <a:pt x="5908822" y="229831"/>
                </a:cubicBezTo>
                <a:cubicBezTo>
                  <a:pt x="5908822" y="265324"/>
                  <a:pt x="5880046" y="294100"/>
                  <a:pt x="5844554" y="294100"/>
                </a:cubicBezTo>
                <a:cubicBezTo>
                  <a:pt x="5809062" y="294100"/>
                  <a:pt x="5780289" y="265324"/>
                  <a:pt x="5780289" y="229831"/>
                </a:cubicBezTo>
                <a:cubicBezTo>
                  <a:pt x="5780289" y="194338"/>
                  <a:pt x="5809062" y="165566"/>
                  <a:pt x="5844554" y="165566"/>
                </a:cubicBezTo>
                <a:close/>
                <a:moveTo>
                  <a:pt x="5998136" y="162296"/>
                </a:moveTo>
                <a:cubicBezTo>
                  <a:pt x="6035435" y="162296"/>
                  <a:pt x="6065671" y="192532"/>
                  <a:pt x="6065671" y="229831"/>
                </a:cubicBezTo>
                <a:cubicBezTo>
                  <a:pt x="6065671" y="267127"/>
                  <a:pt x="6035435" y="297363"/>
                  <a:pt x="5998136" y="297363"/>
                </a:cubicBezTo>
                <a:cubicBezTo>
                  <a:pt x="5960840" y="297363"/>
                  <a:pt x="5930604" y="267127"/>
                  <a:pt x="5930604" y="229827"/>
                </a:cubicBezTo>
                <a:cubicBezTo>
                  <a:pt x="5930604" y="192532"/>
                  <a:pt x="5960840" y="162296"/>
                  <a:pt x="5998136" y="162296"/>
                </a:cubicBezTo>
                <a:close/>
                <a:moveTo>
                  <a:pt x="6152086" y="159757"/>
                </a:moveTo>
                <a:cubicBezTo>
                  <a:pt x="6190785" y="159757"/>
                  <a:pt x="6222160" y="191129"/>
                  <a:pt x="6222160" y="229831"/>
                </a:cubicBezTo>
                <a:cubicBezTo>
                  <a:pt x="6222160" y="268533"/>
                  <a:pt x="6190785" y="299909"/>
                  <a:pt x="6152086" y="299909"/>
                </a:cubicBezTo>
                <a:cubicBezTo>
                  <a:pt x="6113384" y="299909"/>
                  <a:pt x="6082008" y="268533"/>
                  <a:pt x="6082008" y="229831"/>
                </a:cubicBezTo>
                <a:cubicBezTo>
                  <a:pt x="6082008" y="191129"/>
                  <a:pt x="6113384" y="159757"/>
                  <a:pt x="6152086" y="159757"/>
                </a:cubicBezTo>
                <a:close/>
                <a:moveTo>
                  <a:pt x="6305668" y="156852"/>
                </a:moveTo>
                <a:cubicBezTo>
                  <a:pt x="6345975" y="156852"/>
                  <a:pt x="6378650" y="189528"/>
                  <a:pt x="6378650" y="229831"/>
                </a:cubicBezTo>
                <a:cubicBezTo>
                  <a:pt x="6378650" y="270138"/>
                  <a:pt x="6345975" y="302814"/>
                  <a:pt x="6305668" y="302814"/>
                </a:cubicBezTo>
                <a:cubicBezTo>
                  <a:pt x="6265365" y="302814"/>
                  <a:pt x="6232689" y="270138"/>
                  <a:pt x="6232689" y="229831"/>
                </a:cubicBezTo>
                <a:cubicBezTo>
                  <a:pt x="6232689" y="189528"/>
                  <a:pt x="6265365" y="156852"/>
                  <a:pt x="6305668" y="156852"/>
                </a:cubicBezTo>
                <a:close/>
                <a:moveTo>
                  <a:pt x="6613200" y="153947"/>
                </a:moveTo>
                <a:cubicBezTo>
                  <a:pt x="6655112" y="153947"/>
                  <a:pt x="6689088" y="187923"/>
                  <a:pt x="6689088" y="229831"/>
                </a:cubicBezTo>
                <a:cubicBezTo>
                  <a:pt x="6689088" y="271743"/>
                  <a:pt x="6655112" y="305718"/>
                  <a:pt x="6613200" y="305718"/>
                </a:cubicBezTo>
                <a:cubicBezTo>
                  <a:pt x="6571289" y="305718"/>
                  <a:pt x="6537317" y="271743"/>
                  <a:pt x="6537317" y="229831"/>
                </a:cubicBezTo>
                <a:cubicBezTo>
                  <a:pt x="6537317" y="187923"/>
                  <a:pt x="6571289" y="153947"/>
                  <a:pt x="6613200" y="153947"/>
                </a:cubicBezTo>
                <a:close/>
                <a:moveTo>
                  <a:pt x="6459616" y="153944"/>
                </a:moveTo>
                <a:cubicBezTo>
                  <a:pt x="6501371" y="153944"/>
                  <a:pt x="6535137" y="187710"/>
                  <a:pt x="6535137" y="229465"/>
                </a:cubicBezTo>
                <a:cubicBezTo>
                  <a:pt x="6535137" y="271221"/>
                  <a:pt x="6501371" y="304986"/>
                  <a:pt x="6459616" y="304986"/>
                </a:cubicBezTo>
                <a:cubicBezTo>
                  <a:pt x="6417860" y="304986"/>
                  <a:pt x="6384094" y="271221"/>
                  <a:pt x="6384094" y="229465"/>
                </a:cubicBezTo>
                <a:cubicBezTo>
                  <a:pt x="6384094" y="187710"/>
                  <a:pt x="6417860" y="153944"/>
                  <a:pt x="6459616" y="153944"/>
                </a:cubicBezTo>
                <a:close/>
                <a:moveTo>
                  <a:pt x="923681" y="75518"/>
                </a:moveTo>
                <a:cubicBezTo>
                  <a:pt x="924043" y="75518"/>
                  <a:pt x="924043" y="75518"/>
                  <a:pt x="924043" y="75880"/>
                </a:cubicBezTo>
                <a:cubicBezTo>
                  <a:pt x="924043" y="76242"/>
                  <a:pt x="923681" y="76242"/>
                  <a:pt x="923681" y="76242"/>
                </a:cubicBezTo>
                <a:cubicBezTo>
                  <a:pt x="923319" y="76242"/>
                  <a:pt x="923319" y="76242"/>
                  <a:pt x="923319" y="75880"/>
                </a:cubicBezTo>
                <a:cubicBezTo>
                  <a:pt x="923319" y="75518"/>
                  <a:pt x="923319" y="75518"/>
                  <a:pt x="923681" y="75518"/>
                </a:cubicBezTo>
                <a:close/>
                <a:moveTo>
                  <a:pt x="462205" y="75518"/>
                </a:moveTo>
                <a:cubicBezTo>
                  <a:pt x="462567" y="75518"/>
                  <a:pt x="462567" y="75518"/>
                  <a:pt x="462567" y="75880"/>
                </a:cubicBezTo>
                <a:cubicBezTo>
                  <a:pt x="462567" y="76242"/>
                  <a:pt x="462205" y="76242"/>
                  <a:pt x="462205" y="76242"/>
                </a:cubicBezTo>
                <a:cubicBezTo>
                  <a:pt x="461842" y="76242"/>
                  <a:pt x="461842" y="76242"/>
                  <a:pt x="461842" y="75880"/>
                </a:cubicBezTo>
                <a:cubicBezTo>
                  <a:pt x="461842" y="75518"/>
                  <a:pt x="461842" y="75518"/>
                  <a:pt x="462205" y="75518"/>
                </a:cubicBezTo>
                <a:close/>
                <a:moveTo>
                  <a:pt x="308257" y="75518"/>
                </a:moveTo>
                <a:cubicBezTo>
                  <a:pt x="308619" y="75518"/>
                  <a:pt x="308619" y="75518"/>
                  <a:pt x="308619" y="75880"/>
                </a:cubicBezTo>
                <a:cubicBezTo>
                  <a:pt x="308619" y="76242"/>
                  <a:pt x="308257" y="76242"/>
                  <a:pt x="308257" y="76242"/>
                </a:cubicBezTo>
                <a:cubicBezTo>
                  <a:pt x="307895" y="76242"/>
                  <a:pt x="307895" y="76242"/>
                  <a:pt x="307895" y="75880"/>
                </a:cubicBezTo>
                <a:cubicBezTo>
                  <a:pt x="307895" y="75518"/>
                  <a:pt x="307895" y="75518"/>
                  <a:pt x="308257" y="75518"/>
                </a:cubicBezTo>
                <a:close/>
                <a:moveTo>
                  <a:pt x="154676" y="75155"/>
                </a:moveTo>
                <a:cubicBezTo>
                  <a:pt x="155076" y="75155"/>
                  <a:pt x="155400" y="75480"/>
                  <a:pt x="155400" y="75880"/>
                </a:cubicBezTo>
                <a:cubicBezTo>
                  <a:pt x="155400" y="76284"/>
                  <a:pt x="155076" y="76608"/>
                  <a:pt x="154676" y="76608"/>
                </a:cubicBezTo>
                <a:cubicBezTo>
                  <a:pt x="154272" y="76608"/>
                  <a:pt x="153948" y="76284"/>
                  <a:pt x="153948" y="75880"/>
                </a:cubicBezTo>
                <a:cubicBezTo>
                  <a:pt x="153948" y="75480"/>
                  <a:pt x="154272" y="75155"/>
                  <a:pt x="154676" y="75155"/>
                </a:cubicBezTo>
                <a:close/>
                <a:moveTo>
                  <a:pt x="725" y="75155"/>
                </a:moveTo>
                <a:cubicBezTo>
                  <a:pt x="1090" y="75155"/>
                  <a:pt x="1453" y="75518"/>
                  <a:pt x="1453" y="75880"/>
                </a:cubicBezTo>
                <a:cubicBezTo>
                  <a:pt x="1453" y="76246"/>
                  <a:pt x="725" y="76608"/>
                  <a:pt x="725" y="76608"/>
                </a:cubicBezTo>
                <a:cubicBezTo>
                  <a:pt x="362" y="76608"/>
                  <a:pt x="0" y="76246"/>
                  <a:pt x="0" y="75880"/>
                </a:cubicBezTo>
                <a:cubicBezTo>
                  <a:pt x="0" y="75518"/>
                  <a:pt x="362" y="75155"/>
                  <a:pt x="725" y="75155"/>
                </a:cubicBezTo>
                <a:close/>
                <a:moveTo>
                  <a:pt x="1077266" y="74431"/>
                </a:moveTo>
                <a:cubicBezTo>
                  <a:pt x="1078067" y="74431"/>
                  <a:pt x="1078718" y="75083"/>
                  <a:pt x="1078718" y="75884"/>
                </a:cubicBezTo>
                <a:cubicBezTo>
                  <a:pt x="1078718" y="76684"/>
                  <a:pt x="1078067" y="77336"/>
                  <a:pt x="1077266" y="77336"/>
                </a:cubicBezTo>
                <a:cubicBezTo>
                  <a:pt x="1076462" y="77336"/>
                  <a:pt x="1075814" y="76684"/>
                  <a:pt x="1075814" y="75884"/>
                </a:cubicBezTo>
                <a:cubicBezTo>
                  <a:pt x="1075814" y="75083"/>
                  <a:pt x="1076462" y="74431"/>
                  <a:pt x="1077266" y="74431"/>
                </a:cubicBezTo>
                <a:close/>
                <a:moveTo>
                  <a:pt x="1231217" y="73703"/>
                </a:moveTo>
                <a:cubicBezTo>
                  <a:pt x="1232418" y="73703"/>
                  <a:pt x="1233394" y="74679"/>
                  <a:pt x="1233394" y="75880"/>
                </a:cubicBezTo>
                <a:cubicBezTo>
                  <a:pt x="1233394" y="77084"/>
                  <a:pt x="1232418" y="78060"/>
                  <a:pt x="1231217" y="78060"/>
                </a:cubicBezTo>
                <a:cubicBezTo>
                  <a:pt x="1230013" y="78060"/>
                  <a:pt x="1229037" y="77084"/>
                  <a:pt x="1229037" y="75880"/>
                </a:cubicBezTo>
                <a:cubicBezTo>
                  <a:pt x="1229037" y="74679"/>
                  <a:pt x="1230013" y="73703"/>
                  <a:pt x="1231217" y="73703"/>
                </a:cubicBezTo>
                <a:close/>
                <a:moveTo>
                  <a:pt x="1384799" y="72617"/>
                </a:moveTo>
                <a:cubicBezTo>
                  <a:pt x="1386617" y="72617"/>
                  <a:pt x="1388069" y="74069"/>
                  <a:pt x="1388069" y="75884"/>
                </a:cubicBezTo>
                <a:cubicBezTo>
                  <a:pt x="1388069" y="77702"/>
                  <a:pt x="1386617" y="79154"/>
                  <a:pt x="1384799" y="79154"/>
                </a:cubicBezTo>
                <a:cubicBezTo>
                  <a:pt x="1382984" y="79154"/>
                  <a:pt x="1381532" y="77702"/>
                  <a:pt x="1381532" y="75884"/>
                </a:cubicBezTo>
                <a:cubicBezTo>
                  <a:pt x="1381532" y="74069"/>
                  <a:pt x="1382984" y="72617"/>
                  <a:pt x="1384799" y="72617"/>
                </a:cubicBezTo>
                <a:close/>
                <a:moveTo>
                  <a:pt x="1538746" y="71527"/>
                </a:moveTo>
                <a:cubicBezTo>
                  <a:pt x="1541285" y="71527"/>
                  <a:pt x="1543103" y="73341"/>
                  <a:pt x="1543103" y="75884"/>
                </a:cubicBezTo>
                <a:cubicBezTo>
                  <a:pt x="1543103" y="78426"/>
                  <a:pt x="1540923" y="80241"/>
                  <a:pt x="1538746" y="80241"/>
                </a:cubicBezTo>
                <a:cubicBezTo>
                  <a:pt x="1536204" y="80241"/>
                  <a:pt x="1534389" y="78426"/>
                  <a:pt x="1534389" y="75884"/>
                </a:cubicBezTo>
                <a:cubicBezTo>
                  <a:pt x="1534389" y="73341"/>
                  <a:pt x="1536204" y="71527"/>
                  <a:pt x="1538746" y="71527"/>
                </a:cubicBezTo>
                <a:close/>
                <a:moveTo>
                  <a:pt x="1692331" y="70074"/>
                </a:moveTo>
                <a:cubicBezTo>
                  <a:pt x="1695541" y="70074"/>
                  <a:pt x="1698141" y="72674"/>
                  <a:pt x="1698141" y="75884"/>
                </a:cubicBezTo>
                <a:cubicBezTo>
                  <a:pt x="1698141" y="79093"/>
                  <a:pt x="1695541" y="81693"/>
                  <a:pt x="1692331" y="81693"/>
                </a:cubicBezTo>
                <a:cubicBezTo>
                  <a:pt x="1689122" y="81693"/>
                  <a:pt x="1686522" y="79093"/>
                  <a:pt x="1686522" y="75884"/>
                </a:cubicBezTo>
                <a:cubicBezTo>
                  <a:pt x="1686522" y="72674"/>
                  <a:pt x="1689122" y="70074"/>
                  <a:pt x="1692331" y="70074"/>
                </a:cubicBezTo>
                <a:close/>
                <a:moveTo>
                  <a:pt x="1846279" y="68622"/>
                </a:moveTo>
                <a:cubicBezTo>
                  <a:pt x="1850274" y="68622"/>
                  <a:pt x="1853540" y="71889"/>
                  <a:pt x="1853540" y="75884"/>
                </a:cubicBezTo>
                <a:cubicBezTo>
                  <a:pt x="1853540" y="79879"/>
                  <a:pt x="1850274" y="83145"/>
                  <a:pt x="1846279" y="83145"/>
                </a:cubicBezTo>
                <a:cubicBezTo>
                  <a:pt x="1842284" y="83145"/>
                  <a:pt x="1839017" y="79879"/>
                  <a:pt x="1839017" y="75884"/>
                </a:cubicBezTo>
                <a:cubicBezTo>
                  <a:pt x="1839017" y="71889"/>
                  <a:pt x="1842284" y="68622"/>
                  <a:pt x="1846279" y="68622"/>
                </a:cubicBezTo>
                <a:close/>
                <a:moveTo>
                  <a:pt x="1999860" y="66807"/>
                </a:moveTo>
                <a:cubicBezTo>
                  <a:pt x="2004945" y="66807"/>
                  <a:pt x="2008940" y="70802"/>
                  <a:pt x="2008940" y="75884"/>
                </a:cubicBezTo>
                <a:cubicBezTo>
                  <a:pt x="2008940" y="80969"/>
                  <a:pt x="2004945" y="84960"/>
                  <a:pt x="1999860" y="84960"/>
                </a:cubicBezTo>
                <a:cubicBezTo>
                  <a:pt x="1994779" y="84960"/>
                  <a:pt x="1990784" y="80969"/>
                  <a:pt x="1990784" y="75884"/>
                </a:cubicBezTo>
                <a:cubicBezTo>
                  <a:pt x="1990784" y="70802"/>
                  <a:pt x="1994779" y="66807"/>
                  <a:pt x="1999860" y="66807"/>
                </a:cubicBezTo>
                <a:close/>
                <a:moveTo>
                  <a:pt x="2153811" y="65717"/>
                </a:moveTo>
                <a:cubicBezTo>
                  <a:pt x="2159259" y="65717"/>
                  <a:pt x="2163978" y="70436"/>
                  <a:pt x="2163978" y="75884"/>
                </a:cubicBezTo>
                <a:cubicBezTo>
                  <a:pt x="2163978" y="81331"/>
                  <a:pt x="2159621" y="86050"/>
                  <a:pt x="2153811" y="86050"/>
                </a:cubicBezTo>
                <a:cubicBezTo>
                  <a:pt x="2148364" y="86050"/>
                  <a:pt x="2143645" y="81331"/>
                  <a:pt x="2143645" y="75884"/>
                </a:cubicBezTo>
                <a:cubicBezTo>
                  <a:pt x="2143645" y="70436"/>
                  <a:pt x="2148364" y="65717"/>
                  <a:pt x="2153811" y="65717"/>
                </a:cubicBezTo>
                <a:close/>
                <a:moveTo>
                  <a:pt x="2307393" y="63899"/>
                </a:moveTo>
                <a:cubicBezTo>
                  <a:pt x="2313930" y="63899"/>
                  <a:pt x="2319377" y="69346"/>
                  <a:pt x="2319377" y="75880"/>
                </a:cubicBezTo>
                <a:cubicBezTo>
                  <a:pt x="2319377" y="82417"/>
                  <a:pt x="2313930" y="87864"/>
                  <a:pt x="2307393" y="87864"/>
                </a:cubicBezTo>
                <a:cubicBezTo>
                  <a:pt x="2300859" y="87864"/>
                  <a:pt x="2295412" y="82417"/>
                  <a:pt x="2295412" y="75880"/>
                </a:cubicBezTo>
                <a:cubicBezTo>
                  <a:pt x="2295412" y="69346"/>
                  <a:pt x="2300859" y="63899"/>
                  <a:pt x="2307393" y="63899"/>
                </a:cubicBezTo>
                <a:close/>
                <a:moveTo>
                  <a:pt x="2461344" y="62085"/>
                </a:moveTo>
                <a:cubicBezTo>
                  <a:pt x="2468968" y="62085"/>
                  <a:pt x="2475139" y="68256"/>
                  <a:pt x="2475139" y="75880"/>
                </a:cubicBezTo>
                <a:cubicBezTo>
                  <a:pt x="2475139" y="83507"/>
                  <a:pt x="2468968" y="89679"/>
                  <a:pt x="2461344" y="89679"/>
                </a:cubicBezTo>
                <a:cubicBezTo>
                  <a:pt x="2453716" y="89679"/>
                  <a:pt x="2447545" y="83507"/>
                  <a:pt x="2447545" y="75880"/>
                </a:cubicBezTo>
                <a:cubicBezTo>
                  <a:pt x="2447545" y="68256"/>
                  <a:pt x="2453716" y="62085"/>
                  <a:pt x="2461344" y="62085"/>
                </a:cubicBezTo>
                <a:close/>
                <a:moveTo>
                  <a:pt x="2614925" y="60632"/>
                </a:moveTo>
                <a:cubicBezTo>
                  <a:pt x="2623350" y="60632"/>
                  <a:pt x="2630177" y="67459"/>
                  <a:pt x="2630177" y="75880"/>
                </a:cubicBezTo>
                <a:cubicBezTo>
                  <a:pt x="2630177" y="84304"/>
                  <a:pt x="2623350" y="91131"/>
                  <a:pt x="2614925" y="91131"/>
                </a:cubicBezTo>
                <a:cubicBezTo>
                  <a:pt x="2606505" y="91131"/>
                  <a:pt x="2599678" y="84304"/>
                  <a:pt x="2599678" y="75880"/>
                </a:cubicBezTo>
                <a:cubicBezTo>
                  <a:pt x="2599678" y="67459"/>
                  <a:pt x="2606505" y="60632"/>
                  <a:pt x="2614925" y="60632"/>
                </a:cubicBezTo>
                <a:close/>
                <a:moveTo>
                  <a:pt x="2768873" y="58818"/>
                </a:moveTo>
                <a:cubicBezTo>
                  <a:pt x="2778311" y="58818"/>
                  <a:pt x="2785939" y="66442"/>
                  <a:pt x="2785939" y="75884"/>
                </a:cubicBezTo>
                <a:cubicBezTo>
                  <a:pt x="2785939" y="85322"/>
                  <a:pt x="2778311" y="92946"/>
                  <a:pt x="2768873" y="92946"/>
                </a:cubicBezTo>
                <a:cubicBezTo>
                  <a:pt x="2759431" y="92946"/>
                  <a:pt x="2751807" y="85322"/>
                  <a:pt x="2751807" y="75884"/>
                </a:cubicBezTo>
                <a:cubicBezTo>
                  <a:pt x="2751807" y="66442"/>
                  <a:pt x="2759431" y="58818"/>
                  <a:pt x="2768873" y="58818"/>
                </a:cubicBezTo>
                <a:close/>
                <a:moveTo>
                  <a:pt x="2922458" y="56641"/>
                </a:moveTo>
                <a:cubicBezTo>
                  <a:pt x="2933086" y="56641"/>
                  <a:pt x="2941700" y="65256"/>
                  <a:pt x="2941700" y="75884"/>
                </a:cubicBezTo>
                <a:cubicBezTo>
                  <a:pt x="2941700" y="86511"/>
                  <a:pt x="2933086" y="95126"/>
                  <a:pt x="2922458" y="95126"/>
                </a:cubicBezTo>
                <a:cubicBezTo>
                  <a:pt x="2911830" y="95126"/>
                  <a:pt x="2903216" y="86511"/>
                  <a:pt x="2903216" y="75884"/>
                </a:cubicBezTo>
                <a:cubicBezTo>
                  <a:pt x="2903216" y="65256"/>
                  <a:pt x="2911830" y="56641"/>
                  <a:pt x="2922458" y="56641"/>
                </a:cubicBezTo>
                <a:close/>
                <a:moveTo>
                  <a:pt x="3076406" y="54461"/>
                </a:moveTo>
                <a:cubicBezTo>
                  <a:pt x="3088234" y="54461"/>
                  <a:pt x="3097828" y="64051"/>
                  <a:pt x="3097828" y="75884"/>
                </a:cubicBezTo>
                <a:cubicBezTo>
                  <a:pt x="3097828" y="87712"/>
                  <a:pt x="3088234" y="97303"/>
                  <a:pt x="3076406" y="97303"/>
                </a:cubicBezTo>
                <a:cubicBezTo>
                  <a:pt x="3064573" y="97303"/>
                  <a:pt x="3054982" y="87712"/>
                  <a:pt x="3054982" y="75884"/>
                </a:cubicBezTo>
                <a:cubicBezTo>
                  <a:pt x="3054982" y="64051"/>
                  <a:pt x="3064573" y="54461"/>
                  <a:pt x="3076406" y="54461"/>
                </a:cubicBezTo>
                <a:close/>
                <a:moveTo>
                  <a:pt x="3230353" y="53008"/>
                </a:moveTo>
                <a:cubicBezTo>
                  <a:pt x="3242986" y="53008"/>
                  <a:pt x="3253228" y="63251"/>
                  <a:pt x="3253228" y="75884"/>
                </a:cubicBezTo>
                <a:cubicBezTo>
                  <a:pt x="3253228" y="88516"/>
                  <a:pt x="3242986" y="98759"/>
                  <a:pt x="3230353" y="98759"/>
                </a:cubicBezTo>
                <a:cubicBezTo>
                  <a:pt x="3217720" y="98759"/>
                  <a:pt x="3207478" y="88516"/>
                  <a:pt x="3207478" y="75884"/>
                </a:cubicBezTo>
                <a:cubicBezTo>
                  <a:pt x="3207478" y="63251"/>
                  <a:pt x="3217720" y="53008"/>
                  <a:pt x="3230353" y="53008"/>
                </a:cubicBezTo>
                <a:close/>
                <a:moveTo>
                  <a:pt x="3383934" y="50832"/>
                </a:moveTo>
                <a:cubicBezTo>
                  <a:pt x="3397772" y="50832"/>
                  <a:pt x="3408986" y="62046"/>
                  <a:pt x="3408986" y="75884"/>
                </a:cubicBezTo>
                <a:cubicBezTo>
                  <a:pt x="3408986" y="89721"/>
                  <a:pt x="3397772" y="100939"/>
                  <a:pt x="3383934" y="100939"/>
                </a:cubicBezTo>
                <a:cubicBezTo>
                  <a:pt x="3370097" y="100939"/>
                  <a:pt x="3358882" y="89721"/>
                  <a:pt x="3358882" y="75884"/>
                </a:cubicBezTo>
                <a:cubicBezTo>
                  <a:pt x="3358882" y="62046"/>
                  <a:pt x="3370097" y="50832"/>
                  <a:pt x="3383934" y="50832"/>
                </a:cubicBezTo>
                <a:close/>
                <a:moveTo>
                  <a:pt x="3537886" y="48651"/>
                </a:moveTo>
                <a:cubicBezTo>
                  <a:pt x="3552924" y="48651"/>
                  <a:pt x="3565118" y="60842"/>
                  <a:pt x="3565118" y="75884"/>
                </a:cubicBezTo>
                <a:cubicBezTo>
                  <a:pt x="3565118" y="90921"/>
                  <a:pt x="3552924" y="103112"/>
                  <a:pt x="3537886" y="103112"/>
                </a:cubicBezTo>
                <a:cubicBezTo>
                  <a:pt x="3522844" y="103112"/>
                  <a:pt x="3510653" y="90921"/>
                  <a:pt x="3510653" y="75884"/>
                </a:cubicBezTo>
                <a:cubicBezTo>
                  <a:pt x="3510653" y="60842"/>
                  <a:pt x="3522844" y="48651"/>
                  <a:pt x="3537886" y="48651"/>
                </a:cubicBezTo>
                <a:close/>
                <a:moveTo>
                  <a:pt x="3691467" y="46109"/>
                </a:moveTo>
                <a:cubicBezTo>
                  <a:pt x="3707912" y="46109"/>
                  <a:pt x="3721242" y="59439"/>
                  <a:pt x="3721242" y="75880"/>
                </a:cubicBezTo>
                <a:cubicBezTo>
                  <a:pt x="3721242" y="92324"/>
                  <a:pt x="3707912" y="105655"/>
                  <a:pt x="3691467" y="105655"/>
                </a:cubicBezTo>
                <a:cubicBezTo>
                  <a:pt x="3675026" y="105655"/>
                  <a:pt x="3661696" y="92324"/>
                  <a:pt x="3661696" y="75880"/>
                </a:cubicBezTo>
                <a:cubicBezTo>
                  <a:pt x="3661696" y="59439"/>
                  <a:pt x="3675026" y="46109"/>
                  <a:pt x="3691467" y="46109"/>
                </a:cubicBezTo>
                <a:close/>
                <a:moveTo>
                  <a:pt x="3845414" y="43932"/>
                </a:moveTo>
                <a:cubicBezTo>
                  <a:pt x="3863060" y="43932"/>
                  <a:pt x="3877366" y="58238"/>
                  <a:pt x="3877366" y="75884"/>
                </a:cubicBezTo>
                <a:cubicBezTo>
                  <a:pt x="3877366" y="93529"/>
                  <a:pt x="3863060" y="107835"/>
                  <a:pt x="3845414" y="107835"/>
                </a:cubicBezTo>
                <a:cubicBezTo>
                  <a:pt x="3827769" y="107835"/>
                  <a:pt x="3813463" y="93529"/>
                  <a:pt x="3813463" y="75884"/>
                </a:cubicBezTo>
                <a:cubicBezTo>
                  <a:pt x="3813463" y="58238"/>
                  <a:pt x="3827769" y="43932"/>
                  <a:pt x="3845414" y="43932"/>
                </a:cubicBezTo>
                <a:close/>
                <a:moveTo>
                  <a:pt x="3999000" y="42118"/>
                </a:moveTo>
                <a:cubicBezTo>
                  <a:pt x="4017651" y="42118"/>
                  <a:pt x="4032769" y="57236"/>
                  <a:pt x="4032769" y="75884"/>
                </a:cubicBezTo>
                <a:cubicBezTo>
                  <a:pt x="4032769" y="94535"/>
                  <a:pt x="4017651" y="109653"/>
                  <a:pt x="3999000" y="109653"/>
                </a:cubicBezTo>
                <a:cubicBezTo>
                  <a:pt x="3980352" y="109653"/>
                  <a:pt x="3965234" y="94535"/>
                  <a:pt x="3965234" y="75884"/>
                </a:cubicBezTo>
                <a:cubicBezTo>
                  <a:pt x="3965234" y="57236"/>
                  <a:pt x="3980352" y="42118"/>
                  <a:pt x="3999000" y="42118"/>
                </a:cubicBezTo>
                <a:close/>
                <a:moveTo>
                  <a:pt x="4152947" y="39575"/>
                </a:moveTo>
                <a:cubicBezTo>
                  <a:pt x="4173002" y="39575"/>
                  <a:pt x="4189256" y="55829"/>
                  <a:pt x="4189256" y="75884"/>
                </a:cubicBezTo>
                <a:cubicBezTo>
                  <a:pt x="4189256" y="95938"/>
                  <a:pt x="4173002" y="112192"/>
                  <a:pt x="4152947" y="112192"/>
                </a:cubicBezTo>
                <a:cubicBezTo>
                  <a:pt x="4132896" y="112192"/>
                  <a:pt x="4116638" y="95938"/>
                  <a:pt x="4116638" y="75884"/>
                </a:cubicBezTo>
                <a:cubicBezTo>
                  <a:pt x="4116638" y="55829"/>
                  <a:pt x="4132896" y="39575"/>
                  <a:pt x="4152947" y="39575"/>
                </a:cubicBezTo>
                <a:close/>
                <a:moveTo>
                  <a:pt x="4306532" y="37033"/>
                </a:moveTo>
                <a:cubicBezTo>
                  <a:pt x="4327952" y="37033"/>
                  <a:pt x="4345380" y="54461"/>
                  <a:pt x="4345380" y="75884"/>
                </a:cubicBezTo>
                <a:cubicBezTo>
                  <a:pt x="4345380" y="97306"/>
                  <a:pt x="4327952" y="114735"/>
                  <a:pt x="4306532" y="114735"/>
                </a:cubicBezTo>
                <a:cubicBezTo>
                  <a:pt x="4285110" y="114735"/>
                  <a:pt x="4267682" y="97306"/>
                  <a:pt x="4267682" y="75884"/>
                </a:cubicBezTo>
                <a:cubicBezTo>
                  <a:pt x="4267682" y="54461"/>
                  <a:pt x="4285110" y="37033"/>
                  <a:pt x="4306532" y="37033"/>
                </a:cubicBezTo>
                <a:close/>
                <a:moveTo>
                  <a:pt x="4460480" y="34852"/>
                </a:moveTo>
                <a:cubicBezTo>
                  <a:pt x="4483355" y="34852"/>
                  <a:pt x="4501511" y="53008"/>
                  <a:pt x="4501511" y="75880"/>
                </a:cubicBezTo>
                <a:cubicBezTo>
                  <a:pt x="4501511" y="98755"/>
                  <a:pt x="4482993" y="116911"/>
                  <a:pt x="4460480" y="116911"/>
                </a:cubicBezTo>
                <a:cubicBezTo>
                  <a:pt x="4437608" y="116911"/>
                  <a:pt x="4419452" y="98755"/>
                  <a:pt x="4419452" y="75880"/>
                </a:cubicBezTo>
                <a:cubicBezTo>
                  <a:pt x="4419452" y="53008"/>
                  <a:pt x="4437608" y="34852"/>
                  <a:pt x="4460480" y="34852"/>
                </a:cubicBezTo>
                <a:close/>
                <a:moveTo>
                  <a:pt x="4614065" y="32314"/>
                </a:moveTo>
                <a:cubicBezTo>
                  <a:pt x="4638026" y="32314"/>
                  <a:pt x="4657635" y="51918"/>
                  <a:pt x="4657635" y="75884"/>
                </a:cubicBezTo>
                <a:cubicBezTo>
                  <a:pt x="4657635" y="99849"/>
                  <a:pt x="4638026" y="119454"/>
                  <a:pt x="4614065" y="119454"/>
                </a:cubicBezTo>
                <a:cubicBezTo>
                  <a:pt x="4590100" y="119454"/>
                  <a:pt x="4570495" y="99849"/>
                  <a:pt x="4570495" y="75884"/>
                </a:cubicBezTo>
                <a:cubicBezTo>
                  <a:pt x="4570495" y="51918"/>
                  <a:pt x="4590100" y="32314"/>
                  <a:pt x="4614065" y="32314"/>
                </a:cubicBezTo>
                <a:close/>
                <a:moveTo>
                  <a:pt x="4768012" y="29771"/>
                </a:moveTo>
                <a:cubicBezTo>
                  <a:pt x="4793426" y="29771"/>
                  <a:pt x="4814125" y="50466"/>
                  <a:pt x="4814125" y="75884"/>
                </a:cubicBezTo>
                <a:cubicBezTo>
                  <a:pt x="4814125" y="101298"/>
                  <a:pt x="4793426" y="121996"/>
                  <a:pt x="4768012" y="121996"/>
                </a:cubicBezTo>
                <a:cubicBezTo>
                  <a:pt x="4742594" y="121996"/>
                  <a:pt x="4721900" y="101298"/>
                  <a:pt x="4721900" y="75884"/>
                </a:cubicBezTo>
                <a:cubicBezTo>
                  <a:pt x="4721900" y="50466"/>
                  <a:pt x="4742594" y="29771"/>
                  <a:pt x="4768012" y="29771"/>
                </a:cubicBezTo>
                <a:close/>
                <a:moveTo>
                  <a:pt x="4921594" y="27228"/>
                </a:moveTo>
                <a:cubicBezTo>
                  <a:pt x="4948464" y="27228"/>
                  <a:pt x="4970249" y="49014"/>
                  <a:pt x="4970249" y="75880"/>
                </a:cubicBezTo>
                <a:cubicBezTo>
                  <a:pt x="4970249" y="102750"/>
                  <a:pt x="4948464" y="124535"/>
                  <a:pt x="4921594" y="124535"/>
                </a:cubicBezTo>
                <a:cubicBezTo>
                  <a:pt x="4894728" y="124535"/>
                  <a:pt x="4872942" y="102750"/>
                  <a:pt x="4872942" y="75880"/>
                </a:cubicBezTo>
                <a:cubicBezTo>
                  <a:pt x="4872942" y="49014"/>
                  <a:pt x="4894728" y="27228"/>
                  <a:pt x="4921594" y="27228"/>
                </a:cubicBezTo>
                <a:close/>
                <a:moveTo>
                  <a:pt x="5075541" y="24690"/>
                </a:moveTo>
                <a:cubicBezTo>
                  <a:pt x="5103864" y="24690"/>
                  <a:pt x="5126735" y="47565"/>
                  <a:pt x="5126735" y="75884"/>
                </a:cubicBezTo>
                <a:cubicBezTo>
                  <a:pt x="5126735" y="104206"/>
                  <a:pt x="5103864" y="127081"/>
                  <a:pt x="5075541" y="127081"/>
                </a:cubicBezTo>
                <a:cubicBezTo>
                  <a:pt x="5047222" y="127081"/>
                  <a:pt x="5024348" y="104206"/>
                  <a:pt x="5024348" y="75884"/>
                </a:cubicBezTo>
                <a:cubicBezTo>
                  <a:pt x="5024348" y="47565"/>
                  <a:pt x="5047222" y="24690"/>
                  <a:pt x="5075541" y="24690"/>
                </a:cubicBezTo>
                <a:close/>
                <a:moveTo>
                  <a:pt x="5229126" y="22509"/>
                </a:moveTo>
                <a:cubicBezTo>
                  <a:pt x="5258536" y="22509"/>
                  <a:pt x="5282500" y="46471"/>
                  <a:pt x="5282500" y="75884"/>
                </a:cubicBezTo>
                <a:cubicBezTo>
                  <a:pt x="5282500" y="105292"/>
                  <a:pt x="5258536" y="129258"/>
                  <a:pt x="5229126" y="129258"/>
                </a:cubicBezTo>
                <a:cubicBezTo>
                  <a:pt x="5199718" y="129258"/>
                  <a:pt x="5175752" y="105292"/>
                  <a:pt x="5175752" y="75884"/>
                </a:cubicBezTo>
                <a:cubicBezTo>
                  <a:pt x="5175752" y="46471"/>
                  <a:pt x="5199718" y="22509"/>
                  <a:pt x="5229126" y="22509"/>
                </a:cubicBezTo>
                <a:close/>
                <a:moveTo>
                  <a:pt x="5383074" y="19605"/>
                </a:moveTo>
                <a:cubicBezTo>
                  <a:pt x="5414297" y="19605"/>
                  <a:pt x="5439352" y="44657"/>
                  <a:pt x="5439352" y="75884"/>
                </a:cubicBezTo>
                <a:cubicBezTo>
                  <a:pt x="5439352" y="107107"/>
                  <a:pt x="5414297" y="132162"/>
                  <a:pt x="5383074" y="132162"/>
                </a:cubicBezTo>
                <a:cubicBezTo>
                  <a:pt x="5351847" y="132162"/>
                  <a:pt x="5326795" y="107107"/>
                  <a:pt x="5326795" y="75884"/>
                </a:cubicBezTo>
                <a:cubicBezTo>
                  <a:pt x="5326795" y="44657"/>
                  <a:pt x="5351847" y="19605"/>
                  <a:pt x="5383074" y="19605"/>
                </a:cubicBezTo>
                <a:close/>
                <a:moveTo>
                  <a:pt x="5536659" y="17062"/>
                </a:moveTo>
                <a:cubicBezTo>
                  <a:pt x="5569144" y="17062"/>
                  <a:pt x="5595476" y="43395"/>
                  <a:pt x="5595476" y="75880"/>
                </a:cubicBezTo>
                <a:cubicBezTo>
                  <a:pt x="5595476" y="108369"/>
                  <a:pt x="5569144" y="134701"/>
                  <a:pt x="5536659" y="134701"/>
                </a:cubicBezTo>
                <a:cubicBezTo>
                  <a:pt x="5504174" y="134701"/>
                  <a:pt x="5477838" y="108369"/>
                  <a:pt x="5477838" y="75880"/>
                </a:cubicBezTo>
                <a:cubicBezTo>
                  <a:pt x="5477838" y="43395"/>
                  <a:pt x="5504174" y="17062"/>
                  <a:pt x="5536659" y="17062"/>
                </a:cubicBezTo>
                <a:close/>
                <a:moveTo>
                  <a:pt x="5690606" y="14157"/>
                </a:moveTo>
                <a:cubicBezTo>
                  <a:pt x="5724734" y="14157"/>
                  <a:pt x="5752329" y="41752"/>
                  <a:pt x="5752329" y="75880"/>
                </a:cubicBezTo>
                <a:cubicBezTo>
                  <a:pt x="5752329" y="110012"/>
                  <a:pt x="5724734" y="137606"/>
                  <a:pt x="5690606" y="137606"/>
                </a:cubicBezTo>
                <a:cubicBezTo>
                  <a:pt x="5656475" y="137606"/>
                  <a:pt x="5628880" y="110012"/>
                  <a:pt x="5628880" y="75880"/>
                </a:cubicBezTo>
                <a:cubicBezTo>
                  <a:pt x="5628880" y="41752"/>
                  <a:pt x="5656475" y="14157"/>
                  <a:pt x="5690606" y="14157"/>
                </a:cubicBezTo>
                <a:close/>
                <a:moveTo>
                  <a:pt x="5844554" y="11619"/>
                </a:moveTo>
                <a:cubicBezTo>
                  <a:pt x="5880046" y="11619"/>
                  <a:pt x="5908822" y="40391"/>
                  <a:pt x="5908822" y="75884"/>
                </a:cubicBezTo>
                <a:cubicBezTo>
                  <a:pt x="5908822" y="111376"/>
                  <a:pt x="5880046" y="140152"/>
                  <a:pt x="5844554" y="140152"/>
                </a:cubicBezTo>
                <a:cubicBezTo>
                  <a:pt x="5809062" y="140152"/>
                  <a:pt x="5780289" y="111376"/>
                  <a:pt x="5780289" y="75884"/>
                </a:cubicBezTo>
                <a:cubicBezTo>
                  <a:pt x="5780289" y="40391"/>
                  <a:pt x="5809062" y="11619"/>
                  <a:pt x="5844554" y="11619"/>
                </a:cubicBezTo>
                <a:close/>
                <a:moveTo>
                  <a:pt x="5998136" y="8348"/>
                </a:moveTo>
                <a:cubicBezTo>
                  <a:pt x="6035435" y="8348"/>
                  <a:pt x="6065671" y="38584"/>
                  <a:pt x="6065671" y="75884"/>
                </a:cubicBezTo>
                <a:cubicBezTo>
                  <a:pt x="6065671" y="113179"/>
                  <a:pt x="6035435" y="143415"/>
                  <a:pt x="5998136" y="143415"/>
                </a:cubicBezTo>
                <a:cubicBezTo>
                  <a:pt x="5960840" y="143415"/>
                  <a:pt x="5930604" y="113179"/>
                  <a:pt x="5930604" y="75884"/>
                </a:cubicBezTo>
                <a:cubicBezTo>
                  <a:pt x="5930604" y="38584"/>
                  <a:pt x="5960840" y="8348"/>
                  <a:pt x="5998136" y="8348"/>
                </a:cubicBezTo>
                <a:close/>
                <a:moveTo>
                  <a:pt x="6152086" y="5809"/>
                </a:moveTo>
                <a:cubicBezTo>
                  <a:pt x="6190785" y="5809"/>
                  <a:pt x="6222160" y="37181"/>
                  <a:pt x="6222160" y="75884"/>
                </a:cubicBezTo>
                <a:cubicBezTo>
                  <a:pt x="6222160" y="114586"/>
                  <a:pt x="6190785" y="145962"/>
                  <a:pt x="6152086" y="145962"/>
                </a:cubicBezTo>
                <a:cubicBezTo>
                  <a:pt x="6113384" y="145962"/>
                  <a:pt x="6082008" y="114586"/>
                  <a:pt x="6082008" y="75884"/>
                </a:cubicBezTo>
                <a:cubicBezTo>
                  <a:pt x="6082008" y="37181"/>
                  <a:pt x="6113384" y="5809"/>
                  <a:pt x="6152086" y="5809"/>
                </a:cubicBezTo>
                <a:close/>
                <a:moveTo>
                  <a:pt x="6305668" y="2905"/>
                </a:moveTo>
                <a:cubicBezTo>
                  <a:pt x="6345975" y="2905"/>
                  <a:pt x="6378650" y="35580"/>
                  <a:pt x="6378650" y="75884"/>
                </a:cubicBezTo>
                <a:cubicBezTo>
                  <a:pt x="6378650" y="116191"/>
                  <a:pt x="6345975" y="148866"/>
                  <a:pt x="6305668" y="148866"/>
                </a:cubicBezTo>
                <a:cubicBezTo>
                  <a:pt x="6265365" y="148866"/>
                  <a:pt x="6232689" y="116191"/>
                  <a:pt x="6232689" y="75884"/>
                </a:cubicBezTo>
                <a:cubicBezTo>
                  <a:pt x="6232689" y="35580"/>
                  <a:pt x="6265365" y="2905"/>
                  <a:pt x="6305668" y="2905"/>
                </a:cubicBezTo>
                <a:close/>
                <a:moveTo>
                  <a:pt x="6459616" y="362"/>
                </a:moveTo>
                <a:cubicBezTo>
                  <a:pt x="6501371" y="362"/>
                  <a:pt x="6535137" y="34128"/>
                  <a:pt x="6535137" y="75884"/>
                </a:cubicBezTo>
                <a:cubicBezTo>
                  <a:pt x="6535137" y="117639"/>
                  <a:pt x="6501371" y="151405"/>
                  <a:pt x="6459616" y="151405"/>
                </a:cubicBezTo>
                <a:cubicBezTo>
                  <a:pt x="6417860" y="151405"/>
                  <a:pt x="6384094" y="117639"/>
                  <a:pt x="6384094" y="75884"/>
                </a:cubicBezTo>
                <a:cubicBezTo>
                  <a:pt x="6384094" y="34128"/>
                  <a:pt x="6417860" y="362"/>
                  <a:pt x="6459616" y="362"/>
                </a:cubicBezTo>
                <a:close/>
                <a:moveTo>
                  <a:pt x="6613200" y="0"/>
                </a:moveTo>
                <a:cubicBezTo>
                  <a:pt x="6655112" y="0"/>
                  <a:pt x="6689088" y="33976"/>
                  <a:pt x="6689088" y="75884"/>
                </a:cubicBezTo>
                <a:cubicBezTo>
                  <a:pt x="6689088" y="117795"/>
                  <a:pt x="6655112" y="151771"/>
                  <a:pt x="6613200" y="151771"/>
                </a:cubicBezTo>
                <a:cubicBezTo>
                  <a:pt x="6571289" y="151771"/>
                  <a:pt x="6537317" y="117795"/>
                  <a:pt x="6537317" y="75884"/>
                </a:cubicBezTo>
                <a:cubicBezTo>
                  <a:pt x="6537317" y="33976"/>
                  <a:pt x="6571289" y="0"/>
                  <a:pt x="6613200" y="0"/>
                </a:cubicBezTo>
                <a:close/>
              </a:path>
            </a:pathLst>
          </a:custGeom>
          <a:gradFill>
            <a:gsLst>
              <a:gs pos="14000">
                <a:srgbClr val="243A5E">
                  <a:lumMod val="75000"/>
                </a:srgbClr>
              </a:gs>
              <a:gs pos="100000">
                <a:srgbClr val="0078D4"/>
              </a:gs>
            </a:gsLst>
            <a:lin ang="8100000" scaled="1"/>
          </a:gra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000000"/>
              </a:solidFill>
              <a:effectLst/>
              <a:uLnTx/>
              <a:uFillTx/>
            </a:endParaRPr>
          </a:p>
        </p:txBody>
      </p:sp>
      <p:sp>
        <p:nvSpPr>
          <p:cNvPr id="17" name="Freeform: Shape 16">
            <a:extLst>
              <a:ext uri="{FF2B5EF4-FFF2-40B4-BE49-F238E27FC236}">
                <a16:creationId xmlns:a16="http://schemas.microsoft.com/office/drawing/2014/main" id="{85E682C5-9112-4EE2-B906-617402F79903}"/>
              </a:ext>
            </a:extLst>
          </p:cNvPr>
          <p:cNvSpPr/>
          <p:nvPr/>
        </p:nvSpPr>
        <p:spPr>
          <a:xfrm flipV="1">
            <a:off x="5876248" y="4981454"/>
            <a:ext cx="6315752" cy="1876545"/>
          </a:xfrm>
          <a:custGeom>
            <a:avLst/>
            <a:gdLst>
              <a:gd name="connsiteX0" fmla="*/ 6317320 w 6805716"/>
              <a:gd name="connsiteY0" fmla="*/ 2022124 h 2022124"/>
              <a:gd name="connsiteX1" fmla="*/ 6235217 w 6805716"/>
              <a:gd name="connsiteY1" fmla="*/ 2019188 h 2022124"/>
              <a:gd name="connsiteX2" fmla="*/ 5644658 w 6805716"/>
              <a:gd name="connsiteY2" fmla="*/ 1846774 h 2022124"/>
              <a:gd name="connsiteX3" fmla="*/ 5175292 w 6805716"/>
              <a:gd name="connsiteY3" fmla="*/ 1561331 h 2022124"/>
              <a:gd name="connsiteX4" fmla="*/ 4599584 w 6805716"/>
              <a:gd name="connsiteY4" fmla="*/ 1225632 h 2022124"/>
              <a:gd name="connsiteX5" fmla="*/ 2890421 w 6805716"/>
              <a:gd name="connsiteY5" fmla="*/ 1055789 h 2022124"/>
              <a:gd name="connsiteX6" fmla="*/ 2629967 w 6805716"/>
              <a:gd name="connsiteY6" fmla="*/ 1080114 h 2022124"/>
              <a:gd name="connsiteX7" fmla="*/ 1157832 w 6805716"/>
              <a:gd name="connsiteY7" fmla="*/ 1087229 h 2022124"/>
              <a:gd name="connsiteX8" fmla="*/ 371584 w 6805716"/>
              <a:gd name="connsiteY8" fmla="*/ 750351 h 2022124"/>
              <a:gd name="connsiteX9" fmla="*/ 180 w 6805716"/>
              <a:gd name="connsiteY9" fmla="*/ 0 h 2022124"/>
              <a:gd name="connsiteX10" fmla="*/ 6138 w 6805716"/>
              <a:gd name="connsiteY10" fmla="*/ 129 h 2022124"/>
              <a:gd name="connsiteX11" fmla="*/ 375399 w 6805716"/>
              <a:gd name="connsiteY11" fmla="*/ 745765 h 2022124"/>
              <a:gd name="connsiteX12" fmla="*/ 1158904 w 6805716"/>
              <a:gd name="connsiteY12" fmla="*/ 1081357 h 2022124"/>
              <a:gd name="connsiteX13" fmla="*/ 2629388 w 6805716"/>
              <a:gd name="connsiteY13" fmla="*/ 1074156 h 2022124"/>
              <a:gd name="connsiteX14" fmla="*/ 2889906 w 6805716"/>
              <a:gd name="connsiteY14" fmla="*/ 1049831 h 2022124"/>
              <a:gd name="connsiteX15" fmla="*/ 4601984 w 6805716"/>
              <a:gd name="connsiteY15" fmla="*/ 1220167 h 2022124"/>
              <a:gd name="connsiteX16" fmla="*/ 5178571 w 6805716"/>
              <a:gd name="connsiteY16" fmla="*/ 1556337 h 2022124"/>
              <a:gd name="connsiteX17" fmla="*/ 5647358 w 6805716"/>
              <a:gd name="connsiteY17" fmla="*/ 1841437 h 2022124"/>
              <a:gd name="connsiteX18" fmla="*/ 6802331 w 6805716"/>
              <a:gd name="connsiteY18" fmla="*/ 1875256 h 2022124"/>
              <a:gd name="connsiteX19" fmla="*/ 6805717 w 6805716"/>
              <a:gd name="connsiteY19" fmla="*/ 1880163 h 2022124"/>
              <a:gd name="connsiteX20" fmla="*/ 6317342 w 6805716"/>
              <a:gd name="connsiteY20" fmla="*/ 2022103 h 2022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805716" h="2022124">
                <a:moveTo>
                  <a:pt x="6317320" y="2022124"/>
                </a:moveTo>
                <a:cubicBezTo>
                  <a:pt x="6290424" y="2022124"/>
                  <a:pt x="6263057" y="2021138"/>
                  <a:pt x="6235217" y="2019188"/>
                </a:cubicBezTo>
                <a:cubicBezTo>
                  <a:pt x="6044565" y="2005794"/>
                  <a:pt x="5840347" y="1946172"/>
                  <a:pt x="5644658" y="1846774"/>
                </a:cubicBezTo>
                <a:cubicBezTo>
                  <a:pt x="5481395" y="1763835"/>
                  <a:pt x="5325761" y="1660879"/>
                  <a:pt x="5175292" y="1561331"/>
                </a:cubicBezTo>
                <a:cubicBezTo>
                  <a:pt x="4992397" y="1440330"/>
                  <a:pt x="4803267" y="1315193"/>
                  <a:pt x="4599584" y="1225632"/>
                </a:cubicBezTo>
                <a:cubicBezTo>
                  <a:pt x="4066868" y="991388"/>
                  <a:pt x="3463278" y="1005576"/>
                  <a:pt x="2890421" y="1055789"/>
                </a:cubicBezTo>
                <a:cubicBezTo>
                  <a:pt x="2803752" y="1063397"/>
                  <a:pt x="2715391" y="1071884"/>
                  <a:pt x="2629967" y="1080114"/>
                </a:cubicBezTo>
                <a:cubicBezTo>
                  <a:pt x="2144548" y="1126812"/>
                  <a:pt x="1642650" y="1175118"/>
                  <a:pt x="1157832" y="1087229"/>
                </a:cubicBezTo>
                <a:cubicBezTo>
                  <a:pt x="834113" y="1028550"/>
                  <a:pt x="569566" y="915200"/>
                  <a:pt x="371584" y="750351"/>
                </a:cubicBezTo>
                <a:cubicBezTo>
                  <a:pt x="133119" y="551790"/>
                  <a:pt x="-5713" y="271298"/>
                  <a:pt x="180" y="0"/>
                </a:cubicBezTo>
                <a:lnTo>
                  <a:pt x="6138" y="129"/>
                </a:lnTo>
                <a:cubicBezTo>
                  <a:pt x="288" y="269627"/>
                  <a:pt x="138326" y="548361"/>
                  <a:pt x="375399" y="745765"/>
                </a:cubicBezTo>
                <a:cubicBezTo>
                  <a:pt x="572588" y="909949"/>
                  <a:pt x="836192" y="1022871"/>
                  <a:pt x="1158904" y="1081357"/>
                </a:cubicBezTo>
                <a:cubicBezTo>
                  <a:pt x="1642864" y="1169075"/>
                  <a:pt x="2144377" y="1120833"/>
                  <a:pt x="2629388" y="1074156"/>
                </a:cubicBezTo>
                <a:cubicBezTo>
                  <a:pt x="2714834" y="1065926"/>
                  <a:pt x="2803195" y="1057439"/>
                  <a:pt x="2889906" y="1049831"/>
                </a:cubicBezTo>
                <a:cubicBezTo>
                  <a:pt x="3463556" y="999554"/>
                  <a:pt x="4068046" y="985366"/>
                  <a:pt x="4601984" y="1220167"/>
                </a:cubicBezTo>
                <a:cubicBezTo>
                  <a:pt x="4806117" y="1309921"/>
                  <a:pt x="4995462" y="1435208"/>
                  <a:pt x="5178571" y="1556337"/>
                </a:cubicBezTo>
                <a:cubicBezTo>
                  <a:pt x="5328911" y="1655821"/>
                  <a:pt x="5484395" y="1758670"/>
                  <a:pt x="5647358" y="1841437"/>
                </a:cubicBezTo>
                <a:cubicBezTo>
                  <a:pt x="6081576" y="2061965"/>
                  <a:pt x="6513352" y="2074609"/>
                  <a:pt x="6802331" y="1875256"/>
                </a:cubicBezTo>
                <a:lnTo>
                  <a:pt x="6805717" y="1880163"/>
                </a:lnTo>
                <a:cubicBezTo>
                  <a:pt x="6668986" y="1974504"/>
                  <a:pt x="6504994" y="2022103"/>
                  <a:pt x="6317342" y="2022103"/>
                </a:cubicBezTo>
                <a:close/>
              </a:path>
            </a:pathLst>
          </a:custGeom>
          <a:solidFill>
            <a:srgbClr val="0078D4"/>
          </a:solidFill>
          <a:ln w="3175" cap="flat">
            <a:solidFill>
              <a:srgbClr val="0078D4"/>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000000"/>
              </a:solidFill>
              <a:effectLst/>
              <a:uLnTx/>
              <a:uFillTx/>
            </a:endParaRPr>
          </a:p>
        </p:txBody>
      </p:sp>
      <p:sp>
        <p:nvSpPr>
          <p:cNvPr id="18" name="Freeform: Shape 17">
            <a:extLst>
              <a:ext uri="{FF2B5EF4-FFF2-40B4-BE49-F238E27FC236}">
                <a16:creationId xmlns:a16="http://schemas.microsoft.com/office/drawing/2014/main" id="{3511B46B-6E2B-BFD8-DBC5-0917AAAC312F}"/>
              </a:ext>
            </a:extLst>
          </p:cNvPr>
          <p:cNvSpPr/>
          <p:nvPr/>
        </p:nvSpPr>
        <p:spPr>
          <a:xfrm>
            <a:off x="9296690" y="0"/>
            <a:ext cx="2895307" cy="2794000"/>
          </a:xfrm>
          <a:custGeom>
            <a:avLst/>
            <a:gdLst>
              <a:gd name="connsiteX0" fmla="*/ 1499186 w 2895307"/>
              <a:gd name="connsiteY0" fmla="*/ 550925 h 2794000"/>
              <a:gd name="connsiteX1" fmla="*/ 755297 w 2895307"/>
              <a:gd name="connsiteY1" fmla="*/ 1294842 h 2794000"/>
              <a:gd name="connsiteX2" fmla="*/ 1499186 w 2895307"/>
              <a:gd name="connsiteY2" fmla="*/ 2038730 h 2794000"/>
              <a:gd name="connsiteX3" fmla="*/ 2243102 w 2895307"/>
              <a:gd name="connsiteY3" fmla="*/ 1294842 h 2794000"/>
              <a:gd name="connsiteX4" fmla="*/ 1499186 w 2895307"/>
              <a:gd name="connsiteY4" fmla="*/ 550925 h 2794000"/>
              <a:gd name="connsiteX5" fmla="*/ 1499186 w 2895307"/>
              <a:gd name="connsiteY5" fmla="*/ 543329 h 2794000"/>
              <a:gd name="connsiteX6" fmla="*/ 2250671 w 2895307"/>
              <a:gd name="connsiteY6" fmla="*/ 1294814 h 2794000"/>
              <a:gd name="connsiteX7" fmla="*/ 1499186 w 2895307"/>
              <a:gd name="connsiteY7" fmla="*/ 2046299 h 2794000"/>
              <a:gd name="connsiteX8" fmla="*/ 747701 w 2895307"/>
              <a:gd name="connsiteY8" fmla="*/ 1294814 h 2794000"/>
              <a:gd name="connsiteX9" fmla="*/ 1499186 w 2895307"/>
              <a:gd name="connsiteY9" fmla="*/ 543329 h 2794000"/>
              <a:gd name="connsiteX10" fmla="*/ 1499186 w 2895307"/>
              <a:gd name="connsiteY10" fmla="*/ 363993 h 2794000"/>
              <a:gd name="connsiteX11" fmla="*/ 568365 w 2895307"/>
              <a:gd name="connsiteY11" fmla="*/ 1294814 h 2794000"/>
              <a:gd name="connsiteX12" fmla="*/ 1499186 w 2895307"/>
              <a:gd name="connsiteY12" fmla="*/ 2225636 h 2794000"/>
              <a:gd name="connsiteX13" fmla="*/ 2430007 w 2895307"/>
              <a:gd name="connsiteY13" fmla="*/ 1294814 h 2794000"/>
              <a:gd name="connsiteX14" fmla="*/ 1499186 w 2895307"/>
              <a:gd name="connsiteY14" fmla="*/ 363993 h 2794000"/>
              <a:gd name="connsiteX15" fmla="*/ 1499186 w 2895307"/>
              <a:gd name="connsiteY15" fmla="*/ 356424 h 2794000"/>
              <a:gd name="connsiteX16" fmla="*/ 2437576 w 2895307"/>
              <a:gd name="connsiteY16" fmla="*/ 1294841 h 2794000"/>
              <a:gd name="connsiteX17" fmla="*/ 1499186 w 2895307"/>
              <a:gd name="connsiteY17" fmla="*/ 2233231 h 2794000"/>
              <a:gd name="connsiteX18" fmla="*/ 560796 w 2895307"/>
              <a:gd name="connsiteY18" fmla="*/ 1294841 h 2794000"/>
              <a:gd name="connsiteX19" fmla="*/ 1499186 w 2895307"/>
              <a:gd name="connsiteY19" fmla="*/ 356424 h 2794000"/>
              <a:gd name="connsiteX20" fmla="*/ 1499186 w 2895307"/>
              <a:gd name="connsiteY20" fmla="*/ 177061 h 2794000"/>
              <a:gd name="connsiteX21" fmla="*/ 381433 w 2895307"/>
              <a:gd name="connsiteY21" fmla="*/ 1294814 h 2794000"/>
              <a:gd name="connsiteX22" fmla="*/ 1499186 w 2895307"/>
              <a:gd name="connsiteY22" fmla="*/ 2412567 h 2794000"/>
              <a:gd name="connsiteX23" fmla="*/ 2616939 w 2895307"/>
              <a:gd name="connsiteY23" fmla="*/ 1294814 h 2794000"/>
              <a:gd name="connsiteX24" fmla="*/ 1499186 w 2895307"/>
              <a:gd name="connsiteY24" fmla="*/ 177061 h 2794000"/>
              <a:gd name="connsiteX25" fmla="*/ 1499186 w 2895307"/>
              <a:gd name="connsiteY25" fmla="*/ 169492 h 2794000"/>
              <a:gd name="connsiteX26" fmla="*/ 2624508 w 2895307"/>
              <a:gd name="connsiteY26" fmla="*/ 1294814 h 2794000"/>
              <a:gd name="connsiteX27" fmla="*/ 1499186 w 2895307"/>
              <a:gd name="connsiteY27" fmla="*/ 2420136 h 2794000"/>
              <a:gd name="connsiteX28" fmla="*/ 373864 w 2895307"/>
              <a:gd name="connsiteY28" fmla="*/ 1294814 h 2794000"/>
              <a:gd name="connsiteX29" fmla="*/ 1499186 w 2895307"/>
              <a:gd name="connsiteY29" fmla="*/ 169492 h 2794000"/>
              <a:gd name="connsiteX30" fmla="*/ 2231234 w 2895307"/>
              <a:gd name="connsiteY30" fmla="*/ 0 h 2794000"/>
              <a:gd name="connsiteX31" fmla="*/ 2253259 w 2895307"/>
              <a:gd name="connsiteY31" fmla="*/ 0 h 2794000"/>
              <a:gd name="connsiteX32" fmla="*/ 2330809 w 2895307"/>
              <a:gd name="connsiteY32" fmla="*/ 46514 h 2794000"/>
              <a:gd name="connsiteX33" fmla="*/ 2559521 w 2895307"/>
              <a:gd name="connsiteY33" fmla="*/ 234480 h 2794000"/>
              <a:gd name="connsiteX34" fmla="*/ 2885066 w 2895307"/>
              <a:gd name="connsiteY34" fmla="*/ 720480 h 2794000"/>
              <a:gd name="connsiteX35" fmla="*/ 2895307 w 2895307"/>
              <a:gd name="connsiteY35" fmla="*/ 749146 h 2794000"/>
              <a:gd name="connsiteX36" fmla="*/ 2895307 w 2895307"/>
              <a:gd name="connsiteY36" fmla="*/ 774587 h 2794000"/>
              <a:gd name="connsiteX37" fmla="*/ 2873374 w 2895307"/>
              <a:gd name="connsiteY37" fmla="*/ 714777 h 2794000"/>
              <a:gd name="connsiteX38" fmla="*/ 2332568 w 2895307"/>
              <a:gd name="connsiteY38" fmla="*/ 58312 h 2794000"/>
              <a:gd name="connsiteX39" fmla="*/ 1295608 w 2895307"/>
              <a:gd name="connsiteY39" fmla="*/ 0 h 2794000"/>
              <a:gd name="connsiteX40" fmla="*/ 1345758 w 2895307"/>
              <a:gd name="connsiteY40" fmla="*/ 0 h 2794000"/>
              <a:gd name="connsiteX41" fmla="*/ 1236584 w 2895307"/>
              <a:gd name="connsiteY41" fmla="*/ 16710 h 2794000"/>
              <a:gd name="connsiteX42" fmla="*/ 194528 w 2895307"/>
              <a:gd name="connsiteY42" fmla="*/ 1294841 h 2794000"/>
              <a:gd name="connsiteX43" fmla="*/ 1499186 w 2895307"/>
              <a:gd name="connsiteY43" fmla="*/ 2599499 h 2794000"/>
              <a:gd name="connsiteX44" fmla="*/ 2803871 w 2895307"/>
              <a:gd name="connsiteY44" fmla="*/ 1294841 h 2794000"/>
              <a:gd name="connsiteX45" fmla="*/ 1761797 w 2895307"/>
              <a:gd name="connsiteY45" fmla="*/ 16711 h 2794000"/>
              <a:gd name="connsiteX46" fmla="*/ 1652616 w 2895307"/>
              <a:gd name="connsiteY46" fmla="*/ 0 h 2794000"/>
              <a:gd name="connsiteX47" fmla="*/ 1702764 w 2895307"/>
              <a:gd name="connsiteY47" fmla="*/ 0 h 2794000"/>
              <a:gd name="connsiteX48" fmla="*/ 1763318 w 2895307"/>
              <a:gd name="connsiteY48" fmla="*/ 9268 h 2794000"/>
              <a:gd name="connsiteX49" fmla="*/ 2811440 w 2895307"/>
              <a:gd name="connsiteY49" fmla="*/ 1294814 h 2794000"/>
              <a:gd name="connsiteX50" fmla="*/ 1499186 w 2895307"/>
              <a:gd name="connsiteY50" fmla="*/ 2607068 h 2794000"/>
              <a:gd name="connsiteX51" fmla="*/ 186932 w 2895307"/>
              <a:gd name="connsiteY51" fmla="*/ 1294814 h 2794000"/>
              <a:gd name="connsiteX52" fmla="*/ 1235054 w 2895307"/>
              <a:gd name="connsiteY52" fmla="*/ 9268 h 2794000"/>
              <a:gd name="connsiteX53" fmla="*/ 745123 w 2895307"/>
              <a:gd name="connsiteY53" fmla="*/ 0 h 2794000"/>
              <a:gd name="connsiteX54" fmla="*/ 761686 w 2895307"/>
              <a:gd name="connsiteY54" fmla="*/ 0 h 2794000"/>
              <a:gd name="connsiteX55" fmla="*/ 665804 w 2895307"/>
              <a:gd name="connsiteY55" fmla="*/ 58312 h 2794000"/>
              <a:gd name="connsiteX56" fmla="*/ 7596 w 2895307"/>
              <a:gd name="connsiteY56" fmla="*/ 1294814 h 2794000"/>
              <a:gd name="connsiteX57" fmla="*/ 1499186 w 2895307"/>
              <a:gd name="connsiteY57" fmla="*/ 2786404 h 2794000"/>
              <a:gd name="connsiteX58" fmla="*/ 2873374 w 2895307"/>
              <a:gd name="connsiteY58" fmla="*/ 1874851 h 2794000"/>
              <a:gd name="connsiteX59" fmla="*/ 2895307 w 2895307"/>
              <a:gd name="connsiteY59" fmla="*/ 1815041 h 2794000"/>
              <a:gd name="connsiteX60" fmla="*/ 2895307 w 2895307"/>
              <a:gd name="connsiteY60" fmla="*/ 1840473 h 2794000"/>
              <a:gd name="connsiteX61" fmla="*/ 2885066 w 2895307"/>
              <a:gd name="connsiteY61" fmla="*/ 1869138 h 2794000"/>
              <a:gd name="connsiteX62" fmla="*/ 2559521 w 2895307"/>
              <a:gd name="connsiteY62" fmla="*/ 2355148 h 2794000"/>
              <a:gd name="connsiteX63" fmla="*/ 1499186 w 2895307"/>
              <a:gd name="connsiteY63" fmla="*/ 2794000 h 2794000"/>
              <a:gd name="connsiteX64" fmla="*/ 438853 w 2895307"/>
              <a:gd name="connsiteY64" fmla="*/ 2355148 h 2794000"/>
              <a:gd name="connsiteX65" fmla="*/ 0 w 2895307"/>
              <a:gd name="connsiteY65" fmla="*/ 1294814 h 2794000"/>
              <a:gd name="connsiteX66" fmla="*/ 438853 w 2895307"/>
              <a:gd name="connsiteY66" fmla="*/ 234480 h 2794000"/>
              <a:gd name="connsiteX67" fmla="*/ 667553 w 2895307"/>
              <a:gd name="connsiteY67" fmla="*/ 46526 h 279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2895307" h="2794000">
                <a:moveTo>
                  <a:pt x="1499186" y="550925"/>
                </a:moveTo>
                <a:cubicBezTo>
                  <a:pt x="1089003" y="550925"/>
                  <a:pt x="755297" y="884631"/>
                  <a:pt x="755297" y="1294842"/>
                </a:cubicBezTo>
                <a:cubicBezTo>
                  <a:pt x="755297" y="1705051"/>
                  <a:pt x="1089003" y="2038730"/>
                  <a:pt x="1499186" y="2038730"/>
                </a:cubicBezTo>
                <a:cubicBezTo>
                  <a:pt x="1909368" y="2038730"/>
                  <a:pt x="2243102" y="1705024"/>
                  <a:pt x="2243102" y="1294842"/>
                </a:cubicBezTo>
                <a:cubicBezTo>
                  <a:pt x="2243102" y="884659"/>
                  <a:pt x="1909368" y="550925"/>
                  <a:pt x="1499186" y="550925"/>
                </a:cubicBezTo>
                <a:close/>
                <a:moveTo>
                  <a:pt x="1499186" y="543329"/>
                </a:moveTo>
                <a:cubicBezTo>
                  <a:pt x="1913562" y="543329"/>
                  <a:pt x="2250671" y="880439"/>
                  <a:pt x="2250671" y="1294814"/>
                </a:cubicBezTo>
                <a:cubicBezTo>
                  <a:pt x="2250671" y="1709190"/>
                  <a:pt x="1913562" y="2046299"/>
                  <a:pt x="1499186" y="2046299"/>
                </a:cubicBezTo>
                <a:cubicBezTo>
                  <a:pt x="1084837" y="2046299"/>
                  <a:pt x="747701" y="1709190"/>
                  <a:pt x="747701" y="1294814"/>
                </a:cubicBezTo>
                <a:cubicBezTo>
                  <a:pt x="747701" y="880439"/>
                  <a:pt x="1084810" y="543329"/>
                  <a:pt x="1499186" y="543329"/>
                </a:cubicBezTo>
                <a:close/>
                <a:moveTo>
                  <a:pt x="1499186" y="363993"/>
                </a:moveTo>
                <a:cubicBezTo>
                  <a:pt x="985926" y="363993"/>
                  <a:pt x="568365" y="781554"/>
                  <a:pt x="568365" y="1294814"/>
                </a:cubicBezTo>
                <a:cubicBezTo>
                  <a:pt x="568365" y="1808074"/>
                  <a:pt x="985926" y="2225636"/>
                  <a:pt x="1499186" y="2225636"/>
                </a:cubicBezTo>
                <a:cubicBezTo>
                  <a:pt x="2012446" y="2225636"/>
                  <a:pt x="2430007" y="1808074"/>
                  <a:pt x="2430007" y="1294814"/>
                </a:cubicBezTo>
                <a:cubicBezTo>
                  <a:pt x="2430007" y="781554"/>
                  <a:pt x="2012446" y="363993"/>
                  <a:pt x="1499186" y="363993"/>
                </a:cubicBezTo>
                <a:close/>
                <a:moveTo>
                  <a:pt x="1499186" y="356424"/>
                </a:moveTo>
                <a:cubicBezTo>
                  <a:pt x="2016612" y="356424"/>
                  <a:pt x="2437576" y="777389"/>
                  <a:pt x="2437576" y="1294841"/>
                </a:cubicBezTo>
                <a:cubicBezTo>
                  <a:pt x="2437576" y="1812294"/>
                  <a:pt x="2016612" y="2233231"/>
                  <a:pt x="1499186" y="2233231"/>
                </a:cubicBezTo>
                <a:cubicBezTo>
                  <a:pt x="981734" y="2233231"/>
                  <a:pt x="560796" y="1812266"/>
                  <a:pt x="560796" y="1294841"/>
                </a:cubicBezTo>
                <a:cubicBezTo>
                  <a:pt x="560796" y="777415"/>
                  <a:pt x="981761" y="356424"/>
                  <a:pt x="1499186" y="356424"/>
                </a:cubicBezTo>
                <a:close/>
                <a:moveTo>
                  <a:pt x="1499186" y="177061"/>
                </a:moveTo>
                <a:cubicBezTo>
                  <a:pt x="882849" y="177061"/>
                  <a:pt x="381433" y="678477"/>
                  <a:pt x="381433" y="1294814"/>
                </a:cubicBezTo>
                <a:cubicBezTo>
                  <a:pt x="381433" y="1911151"/>
                  <a:pt x="882849" y="2412567"/>
                  <a:pt x="1499186" y="2412567"/>
                </a:cubicBezTo>
                <a:cubicBezTo>
                  <a:pt x="2115523" y="2412567"/>
                  <a:pt x="2616939" y="1911151"/>
                  <a:pt x="2616939" y="1294814"/>
                </a:cubicBezTo>
                <a:cubicBezTo>
                  <a:pt x="2616939" y="678477"/>
                  <a:pt x="2115523" y="177061"/>
                  <a:pt x="1499186" y="177061"/>
                </a:cubicBezTo>
                <a:close/>
                <a:moveTo>
                  <a:pt x="1499186" y="169492"/>
                </a:moveTo>
                <a:cubicBezTo>
                  <a:pt x="2119689" y="169492"/>
                  <a:pt x="2624508" y="674312"/>
                  <a:pt x="2624508" y="1294814"/>
                </a:cubicBezTo>
                <a:cubicBezTo>
                  <a:pt x="2624508" y="1915315"/>
                  <a:pt x="2119689" y="2420136"/>
                  <a:pt x="1499186" y="2420136"/>
                </a:cubicBezTo>
                <a:cubicBezTo>
                  <a:pt x="878684" y="2420136"/>
                  <a:pt x="373864" y="1915315"/>
                  <a:pt x="373864" y="1294814"/>
                </a:cubicBezTo>
                <a:cubicBezTo>
                  <a:pt x="373864" y="674312"/>
                  <a:pt x="878684" y="169492"/>
                  <a:pt x="1499186" y="169492"/>
                </a:cubicBezTo>
                <a:close/>
                <a:moveTo>
                  <a:pt x="2231234" y="0"/>
                </a:moveTo>
                <a:lnTo>
                  <a:pt x="2253259" y="0"/>
                </a:lnTo>
                <a:lnTo>
                  <a:pt x="2330809" y="46514"/>
                </a:lnTo>
                <a:cubicBezTo>
                  <a:pt x="2412170" y="100922"/>
                  <a:pt x="2488768" y="163727"/>
                  <a:pt x="2559521" y="234480"/>
                </a:cubicBezTo>
                <a:cubicBezTo>
                  <a:pt x="2701013" y="375973"/>
                  <a:pt x="2810726" y="540865"/>
                  <a:pt x="2885066" y="720480"/>
                </a:cubicBezTo>
                <a:lnTo>
                  <a:pt x="2895307" y="749146"/>
                </a:lnTo>
                <a:lnTo>
                  <a:pt x="2895307" y="774587"/>
                </a:lnTo>
                <a:lnTo>
                  <a:pt x="2873374" y="714777"/>
                </a:lnTo>
                <a:cubicBezTo>
                  <a:pt x="2760001" y="447193"/>
                  <a:pt x="2570666" y="219304"/>
                  <a:pt x="2332568" y="58312"/>
                </a:cubicBezTo>
                <a:close/>
                <a:moveTo>
                  <a:pt x="1295608" y="0"/>
                </a:moveTo>
                <a:lnTo>
                  <a:pt x="1345758" y="0"/>
                </a:lnTo>
                <a:lnTo>
                  <a:pt x="1236584" y="16710"/>
                </a:lnTo>
                <a:cubicBezTo>
                  <a:pt x="642627" y="138570"/>
                  <a:pt x="194528" y="665355"/>
                  <a:pt x="194528" y="1294841"/>
                </a:cubicBezTo>
                <a:cubicBezTo>
                  <a:pt x="194528" y="2014255"/>
                  <a:pt x="779800" y="2599499"/>
                  <a:pt x="1499186" y="2599499"/>
                </a:cubicBezTo>
                <a:cubicBezTo>
                  <a:pt x="2218572" y="2599499"/>
                  <a:pt x="2803871" y="2014227"/>
                  <a:pt x="2803871" y="1294841"/>
                </a:cubicBezTo>
                <a:cubicBezTo>
                  <a:pt x="2803871" y="665378"/>
                  <a:pt x="2355772" y="138576"/>
                  <a:pt x="1761797" y="16711"/>
                </a:cubicBezTo>
                <a:lnTo>
                  <a:pt x="1652616" y="0"/>
                </a:lnTo>
                <a:lnTo>
                  <a:pt x="1702764" y="0"/>
                </a:lnTo>
                <a:lnTo>
                  <a:pt x="1763318" y="9268"/>
                </a:lnTo>
                <a:cubicBezTo>
                  <a:pt x="2360735" y="131837"/>
                  <a:pt x="2811440" y="661683"/>
                  <a:pt x="2811440" y="1294814"/>
                </a:cubicBezTo>
                <a:cubicBezTo>
                  <a:pt x="2811440" y="2018393"/>
                  <a:pt x="2222764" y="2607068"/>
                  <a:pt x="1499186" y="2607068"/>
                </a:cubicBezTo>
                <a:cubicBezTo>
                  <a:pt x="775607" y="2607068"/>
                  <a:pt x="186932" y="2018393"/>
                  <a:pt x="186932" y="1294814"/>
                </a:cubicBezTo>
                <a:cubicBezTo>
                  <a:pt x="186932" y="661683"/>
                  <a:pt x="637636" y="131837"/>
                  <a:pt x="1235054" y="9268"/>
                </a:cubicBezTo>
                <a:close/>
                <a:moveTo>
                  <a:pt x="745123" y="0"/>
                </a:moveTo>
                <a:lnTo>
                  <a:pt x="761686" y="0"/>
                </a:lnTo>
                <a:lnTo>
                  <a:pt x="665804" y="58312"/>
                </a:lnTo>
                <a:cubicBezTo>
                  <a:pt x="268974" y="326632"/>
                  <a:pt x="7596" y="780775"/>
                  <a:pt x="7596" y="1294814"/>
                </a:cubicBezTo>
                <a:cubicBezTo>
                  <a:pt x="7596" y="2117276"/>
                  <a:pt x="676723" y="2786404"/>
                  <a:pt x="1499186" y="2786404"/>
                </a:cubicBezTo>
                <a:cubicBezTo>
                  <a:pt x="2116033" y="2786404"/>
                  <a:pt x="2646629" y="2410020"/>
                  <a:pt x="2873374" y="1874851"/>
                </a:cubicBezTo>
                <a:lnTo>
                  <a:pt x="2895307" y="1815041"/>
                </a:lnTo>
                <a:lnTo>
                  <a:pt x="2895307" y="1840473"/>
                </a:lnTo>
                <a:lnTo>
                  <a:pt x="2885066" y="1869138"/>
                </a:lnTo>
                <a:cubicBezTo>
                  <a:pt x="2810726" y="2048750"/>
                  <a:pt x="2701013" y="2213643"/>
                  <a:pt x="2559521" y="2355148"/>
                </a:cubicBezTo>
                <a:cubicBezTo>
                  <a:pt x="2276536" y="2638133"/>
                  <a:pt x="1899977" y="2794000"/>
                  <a:pt x="1499186" y="2794000"/>
                </a:cubicBezTo>
                <a:cubicBezTo>
                  <a:pt x="1098423" y="2794000"/>
                  <a:pt x="721837" y="2638160"/>
                  <a:pt x="438853" y="2355148"/>
                </a:cubicBezTo>
                <a:cubicBezTo>
                  <a:pt x="155868" y="2072164"/>
                  <a:pt x="0" y="1695577"/>
                  <a:pt x="0" y="1294814"/>
                </a:cubicBezTo>
                <a:cubicBezTo>
                  <a:pt x="0" y="894051"/>
                  <a:pt x="155868" y="517491"/>
                  <a:pt x="438853" y="234480"/>
                </a:cubicBezTo>
                <a:cubicBezTo>
                  <a:pt x="509599" y="163734"/>
                  <a:pt x="586193" y="100933"/>
                  <a:pt x="667553" y="46526"/>
                </a:cubicBezTo>
                <a:close/>
              </a:path>
            </a:pathLst>
          </a:custGeom>
          <a:solidFill>
            <a:srgbClr val="243A5E">
              <a:alpha val="48000"/>
            </a:srgbClr>
          </a:solidFill>
          <a:ln w="2142" cap="flat">
            <a:noFill/>
            <a:prstDash val="solid"/>
            <a:miter/>
          </a:ln>
        </p:spPr>
        <p:txBody>
          <a:bodyPr wrap="square"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000000"/>
              </a:solidFill>
              <a:effectLst/>
              <a:uLnTx/>
              <a:uFillTx/>
            </a:endParaRPr>
          </a:p>
        </p:txBody>
      </p:sp>
      <p:sp>
        <p:nvSpPr>
          <p:cNvPr id="9" name="Title 1"/>
          <p:cNvSpPr>
            <a:spLocks noGrp="1"/>
          </p:cNvSpPr>
          <p:nvPr userDrawn="1">
            <p:ph type="title" hasCustomPrompt="1"/>
          </p:nvPr>
        </p:nvSpPr>
        <p:spPr>
          <a:xfrm>
            <a:off x="584200" y="5715040"/>
            <a:ext cx="9144000" cy="553998"/>
          </a:xfrm>
          <a:noFill/>
        </p:spPr>
        <p:txBody>
          <a:bodyPr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a:t>Thank you</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5094857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6132">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1_End Slide Color Bkg">
    <p:bg>
      <p:bgPr>
        <a:gradFill>
          <a:gsLst>
            <a:gs pos="0">
              <a:schemeClr val="tx2">
                <a:lumMod val="75000"/>
              </a:schemeClr>
            </a:gs>
            <a:gs pos="85000">
              <a:schemeClr val="tx2">
                <a:lumMod val="50000"/>
              </a:schemeClr>
            </a:gs>
          </a:gsLst>
          <a:lin ang="0" scaled="1"/>
        </a:gra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D2479CAC-FE5A-DED3-8660-1EF1A7F70088}"/>
              </a:ext>
            </a:extLst>
          </p:cNvPr>
          <p:cNvSpPr/>
          <p:nvPr userDrawn="1"/>
        </p:nvSpPr>
        <p:spPr bwMode="auto">
          <a:xfrm>
            <a:off x="0" y="0"/>
            <a:ext cx="12192000" cy="6858000"/>
          </a:xfrm>
          <a:prstGeom prst="rect">
            <a:avLst/>
          </a:prstGeom>
          <a:gradFill>
            <a:gsLst>
              <a:gs pos="0">
                <a:srgbClr val="243A5E">
                  <a:lumMod val="75000"/>
                </a:srgbClr>
              </a:gs>
              <a:gs pos="85000">
                <a:srgbClr val="243A5E">
                  <a:lumMod val="50000"/>
                </a:srgbClr>
              </a:gs>
            </a:gsLst>
            <a:lin ang="0" scaled="1"/>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2" name="Picture 1" descr="A picture containing sky">
            <a:extLst>
              <a:ext uri="{FF2B5EF4-FFF2-40B4-BE49-F238E27FC236}">
                <a16:creationId xmlns:a16="http://schemas.microsoft.com/office/drawing/2014/main" id="{5F38E612-0CE4-054D-31D9-6D1B2E312483}"/>
              </a:ext>
            </a:extLst>
          </p:cNvPr>
          <p:cNvPicPr>
            <a:picLocks noChangeAspect="1"/>
          </p:cNvPicPr>
          <p:nvPr userDrawn="1"/>
        </p:nvPicPr>
        <p:blipFill rotWithShape="1">
          <a:blip r:embed="rId2">
            <a:duotone>
              <a:prstClr val="black"/>
              <a:schemeClr val="accent1">
                <a:tint val="45000"/>
                <a:satMod val="400000"/>
              </a:schemeClr>
            </a:duotone>
            <a:alphaModFix amt="4000"/>
          </a:blip>
          <a:srcRect b="6250"/>
          <a:stretch/>
        </p:blipFill>
        <p:spPr>
          <a:xfrm flipH="1">
            <a:off x="0" y="-1"/>
            <a:ext cx="12192000" cy="6858000"/>
          </a:xfrm>
          <a:prstGeom prst="rect">
            <a:avLst/>
          </a:prstGeom>
        </p:spPr>
      </p:pic>
      <p:sp>
        <p:nvSpPr>
          <p:cNvPr id="16" name="Freeform: Shape 15">
            <a:extLst>
              <a:ext uri="{FF2B5EF4-FFF2-40B4-BE49-F238E27FC236}">
                <a16:creationId xmlns:a16="http://schemas.microsoft.com/office/drawing/2014/main" id="{23F591A5-17D2-0B89-10B5-87EDF2B37E5B}"/>
              </a:ext>
            </a:extLst>
          </p:cNvPr>
          <p:cNvSpPr/>
          <p:nvPr/>
        </p:nvSpPr>
        <p:spPr>
          <a:xfrm rot="5400000" flipH="1" flipV="1">
            <a:off x="-1" y="1"/>
            <a:ext cx="4122057" cy="4122055"/>
          </a:xfrm>
          <a:custGeom>
            <a:avLst/>
            <a:gdLst>
              <a:gd name="connsiteX0" fmla="*/ 6613200 w 6689088"/>
              <a:gd name="connsiteY0" fmla="*/ 6687632 h 6689084"/>
              <a:gd name="connsiteX1" fmla="*/ 6613929 w 6689088"/>
              <a:gd name="connsiteY1" fmla="*/ 6688360 h 6689084"/>
              <a:gd name="connsiteX2" fmla="*/ 6613200 w 6689088"/>
              <a:gd name="connsiteY2" fmla="*/ 6689084 h 6689084"/>
              <a:gd name="connsiteX3" fmla="*/ 6612476 w 6689088"/>
              <a:gd name="connsiteY3" fmla="*/ 6688360 h 6689084"/>
              <a:gd name="connsiteX4" fmla="*/ 6613200 w 6689088"/>
              <a:gd name="connsiteY4" fmla="*/ 6687632 h 6689084"/>
              <a:gd name="connsiteX5" fmla="*/ 6613200 w 6689088"/>
              <a:gd name="connsiteY5" fmla="*/ 6534050 h 6689084"/>
              <a:gd name="connsiteX6" fmla="*/ 6613566 w 6689088"/>
              <a:gd name="connsiteY6" fmla="*/ 6534413 h 6689084"/>
              <a:gd name="connsiteX7" fmla="*/ 6613200 w 6689088"/>
              <a:gd name="connsiteY7" fmla="*/ 6534775 h 6689084"/>
              <a:gd name="connsiteX8" fmla="*/ 6612838 w 6689088"/>
              <a:gd name="connsiteY8" fmla="*/ 6534413 h 6689084"/>
              <a:gd name="connsiteX9" fmla="*/ 6613200 w 6689088"/>
              <a:gd name="connsiteY9" fmla="*/ 6534050 h 6689084"/>
              <a:gd name="connsiteX10" fmla="*/ 6459619 w 6689088"/>
              <a:gd name="connsiteY10" fmla="*/ 6533684 h 6689084"/>
              <a:gd name="connsiteX11" fmla="*/ 6460344 w 6689088"/>
              <a:gd name="connsiteY11" fmla="*/ 6534413 h 6689084"/>
              <a:gd name="connsiteX12" fmla="*/ 6459619 w 6689088"/>
              <a:gd name="connsiteY12" fmla="*/ 6535137 h 6689084"/>
              <a:gd name="connsiteX13" fmla="*/ 6458891 w 6689088"/>
              <a:gd name="connsiteY13" fmla="*/ 6534413 h 6689084"/>
              <a:gd name="connsiteX14" fmla="*/ 6459619 w 6689088"/>
              <a:gd name="connsiteY14" fmla="*/ 6533684 h 6689084"/>
              <a:gd name="connsiteX15" fmla="*/ 6613200 w 6689088"/>
              <a:gd name="connsiteY15" fmla="*/ 6380465 h 6689084"/>
              <a:gd name="connsiteX16" fmla="*/ 6613566 w 6689088"/>
              <a:gd name="connsiteY16" fmla="*/ 6380827 h 6689084"/>
              <a:gd name="connsiteX17" fmla="*/ 6613200 w 6689088"/>
              <a:gd name="connsiteY17" fmla="*/ 6381193 h 6689084"/>
              <a:gd name="connsiteX18" fmla="*/ 6612838 w 6689088"/>
              <a:gd name="connsiteY18" fmla="*/ 6380827 h 6689084"/>
              <a:gd name="connsiteX19" fmla="*/ 6613200 w 6689088"/>
              <a:gd name="connsiteY19" fmla="*/ 6380465 h 6689084"/>
              <a:gd name="connsiteX20" fmla="*/ 6459616 w 6689088"/>
              <a:gd name="connsiteY20" fmla="*/ 6380465 h 6689084"/>
              <a:gd name="connsiteX21" fmla="*/ 6459982 w 6689088"/>
              <a:gd name="connsiteY21" fmla="*/ 6380827 h 6689084"/>
              <a:gd name="connsiteX22" fmla="*/ 6459616 w 6689088"/>
              <a:gd name="connsiteY22" fmla="*/ 6381193 h 6689084"/>
              <a:gd name="connsiteX23" fmla="*/ 6459254 w 6689088"/>
              <a:gd name="connsiteY23" fmla="*/ 6380827 h 6689084"/>
              <a:gd name="connsiteX24" fmla="*/ 6459616 w 6689088"/>
              <a:gd name="connsiteY24" fmla="*/ 6380465 h 6689084"/>
              <a:gd name="connsiteX25" fmla="*/ 6305668 w 6689088"/>
              <a:gd name="connsiteY25" fmla="*/ 6380103 h 6689084"/>
              <a:gd name="connsiteX26" fmla="*/ 6306396 w 6689088"/>
              <a:gd name="connsiteY26" fmla="*/ 6380831 h 6689084"/>
              <a:gd name="connsiteX27" fmla="*/ 6305668 w 6689088"/>
              <a:gd name="connsiteY27" fmla="*/ 6381555 h 6689084"/>
              <a:gd name="connsiteX28" fmla="*/ 6304940 w 6689088"/>
              <a:gd name="connsiteY28" fmla="*/ 6380831 h 6689084"/>
              <a:gd name="connsiteX29" fmla="*/ 6305668 w 6689088"/>
              <a:gd name="connsiteY29" fmla="*/ 6380103 h 6689084"/>
              <a:gd name="connsiteX30" fmla="*/ 6459616 w 6689088"/>
              <a:gd name="connsiteY30" fmla="*/ 6226518 h 6689084"/>
              <a:gd name="connsiteX31" fmla="*/ 6459982 w 6689088"/>
              <a:gd name="connsiteY31" fmla="*/ 6226880 h 6689084"/>
              <a:gd name="connsiteX32" fmla="*/ 6459616 w 6689088"/>
              <a:gd name="connsiteY32" fmla="*/ 6227242 h 6689084"/>
              <a:gd name="connsiteX33" fmla="*/ 6459254 w 6689088"/>
              <a:gd name="connsiteY33" fmla="*/ 6226880 h 6689084"/>
              <a:gd name="connsiteX34" fmla="*/ 6459616 w 6689088"/>
              <a:gd name="connsiteY34" fmla="*/ 6226518 h 6689084"/>
              <a:gd name="connsiteX35" fmla="*/ 6305668 w 6689088"/>
              <a:gd name="connsiteY35" fmla="*/ 6226518 h 6689084"/>
              <a:gd name="connsiteX36" fmla="*/ 6306034 w 6689088"/>
              <a:gd name="connsiteY36" fmla="*/ 6226880 h 6689084"/>
              <a:gd name="connsiteX37" fmla="*/ 6305668 w 6689088"/>
              <a:gd name="connsiteY37" fmla="*/ 6227242 h 6689084"/>
              <a:gd name="connsiteX38" fmla="*/ 6305306 w 6689088"/>
              <a:gd name="connsiteY38" fmla="*/ 6226880 h 6689084"/>
              <a:gd name="connsiteX39" fmla="*/ 6305668 w 6689088"/>
              <a:gd name="connsiteY39" fmla="*/ 6226518 h 6689084"/>
              <a:gd name="connsiteX40" fmla="*/ 6152083 w 6689088"/>
              <a:gd name="connsiteY40" fmla="*/ 6226156 h 6689084"/>
              <a:gd name="connsiteX41" fmla="*/ 6152811 w 6689088"/>
              <a:gd name="connsiteY41" fmla="*/ 6226884 h 6689084"/>
              <a:gd name="connsiteX42" fmla="*/ 6152083 w 6689088"/>
              <a:gd name="connsiteY42" fmla="*/ 6227608 h 6689084"/>
              <a:gd name="connsiteX43" fmla="*/ 6151358 w 6689088"/>
              <a:gd name="connsiteY43" fmla="*/ 6226884 h 6689084"/>
              <a:gd name="connsiteX44" fmla="*/ 6152083 w 6689088"/>
              <a:gd name="connsiteY44" fmla="*/ 6226156 h 6689084"/>
              <a:gd name="connsiteX45" fmla="*/ 6305668 w 6689088"/>
              <a:gd name="connsiteY45" fmla="*/ 6072933 h 6689084"/>
              <a:gd name="connsiteX46" fmla="*/ 6306034 w 6689088"/>
              <a:gd name="connsiteY46" fmla="*/ 6073295 h 6689084"/>
              <a:gd name="connsiteX47" fmla="*/ 6305668 w 6689088"/>
              <a:gd name="connsiteY47" fmla="*/ 6073661 h 6689084"/>
              <a:gd name="connsiteX48" fmla="*/ 6305306 w 6689088"/>
              <a:gd name="connsiteY48" fmla="*/ 6073295 h 6689084"/>
              <a:gd name="connsiteX49" fmla="*/ 6305668 w 6689088"/>
              <a:gd name="connsiteY49" fmla="*/ 6072933 h 6689084"/>
              <a:gd name="connsiteX50" fmla="*/ 6152086 w 6689088"/>
              <a:gd name="connsiteY50" fmla="*/ 6072933 h 6689084"/>
              <a:gd name="connsiteX51" fmla="*/ 6152448 w 6689088"/>
              <a:gd name="connsiteY51" fmla="*/ 6073295 h 6689084"/>
              <a:gd name="connsiteX52" fmla="*/ 6152086 w 6689088"/>
              <a:gd name="connsiteY52" fmla="*/ 6073661 h 6689084"/>
              <a:gd name="connsiteX53" fmla="*/ 6151724 w 6689088"/>
              <a:gd name="connsiteY53" fmla="*/ 6073295 h 6689084"/>
              <a:gd name="connsiteX54" fmla="*/ 6152086 w 6689088"/>
              <a:gd name="connsiteY54" fmla="*/ 6072933 h 6689084"/>
              <a:gd name="connsiteX55" fmla="*/ 5998136 w 6689088"/>
              <a:gd name="connsiteY55" fmla="*/ 6072570 h 6689084"/>
              <a:gd name="connsiteX56" fmla="*/ 5998864 w 6689088"/>
              <a:gd name="connsiteY56" fmla="*/ 6073298 h 6689084"/>
              <a:gd name="connsiteX57" fmla="*/ 5998136 w 6689088"/>
              <a:gd name="connsiteY57" fmla="*/ 6074023 h 6689084"/>
              <a:gd name="connsiteX58" fmla="*/ 5997411 w 6689088"/>
              <a:gd name="connsiteY58" fmla="*/ 6073298 h 6689084"/>
              <a:gd name="connsiteX59" fmla="*/ 5998136 w 6689088"/>
              <a:gd name="connsiteY59" fmla="*/ 6072570 h 6689084"/>
              <a:gd name="connsiteX60" fmla="*/ 6613200 w 6689088"/>
              <a:gd name="connsiteY60" fmla="*/ 5918985 h 6689084"/>
              <a:gd name="connsiteX61" fmla="*/ 6613566 w 6689088"/>
              <a:gd name="connsiteY61" fmla="*/ 5919347 h 6689084"/>
              <a:gd name="connsiteX62" fmla="*/ 6613200 w 6689088"/>
              <a:gd name="connsiteY62" fmla="*/ 5919709 h 6689084"/>
              <a:gd name="connsiteX63" fmla="*/ 6612838 w 6689088"/>
              <a:gd name="connsiteY63" fmla="*/ 5919347 h 6689084"/>
              <a:gd name="connsiteX64" fmla="*/ 6613200 w 6689088"/>
              <a:gd name="connsiteY64" fmla="*/ 5918985 h 6689084"/>
              <a:gd name="connsiteX65" fmla="*/ 6152086 w 6689088"/>
              <a:gd name="connsiteY65" fmla="*/ 5918985 h 6689084"/>
              <a:gd name="connsiteX66" fmla="*/ 6152448 w 6689088"/>
              <a:gd name="connsiteY66" fmla="*/ 5919347 h 6689084"/>
              <a:gd name="connsiteX67" fmla="*/ 6152086 w 6689088"/>
              <a:gd name="connsiteY67" fmla="*/ 5919709 h 6689084"/>
              <a:gd name="connsiteX68" fmla="*/ 6151724 w 6689088"/>
              <a:gd name="connsiteY68" fmla="*/ 5919347 h 6689084"/>
              <a:gd name="connsiteX69" fmla="*/ 6152086 w 6689088"/>
              <a:gd name="connsiteY69" fmla="*/ 5918985 h 6689084"/>
              <a:gd name="connsiteX70" fmla="*/ 5998136 w 6689088"/>
              <a:gd name="connsiteY70" fmla="*/ 5918985 h 6689084"/>
              <a:gd name="connsiteX71" fmla="*/ 5998502 w 6689088"/>
              <a:gd name="connsiteY71" fmla="*/ 5919347 h 6689084"/>
              <a:gd name="connsiteX72" fmla="*/ 5998136 w 6689088"/>
              <a:gd name="connsiteY72" fmla="*/ 5919709 h 6689084"/>
              <a:gd name="connsiteX73" fmla="*/ 5997773 w 6689088"/>
              <a:gd name="connsiteY73" fmla="*/ 5919347 h 6689084"/>
              <a:gd name="connsiteX74" fmla="*/ 5998136 w 6689088"/>
              <a:gd name="connsiteY74" fmla="*/ 5918985 h 6689084"/>
              <a:gd name="connsiteX75" fmla="*/ 5844554 w 6689088"/>
              <a:gd name="connsiteY75" fmla="*/ 5918623 h 6689084"/>
              <a:gd name="connsiteX76" fmla="*/ 5845278 w 6689088"/>
              <a:gd name="connsiteY76" fmla="*/ 5919347 h 6689084"/>
              <a:gd name="connsiteX77" fmla="*/ 5844554 w 6689088"/>
              <a:gd name="connsiteY77" fmla="*/ 5920075 h 6689084"/>
              <a:gd name="connsiteX78" fmla="*/ 5843826 w 6689088"/>
              <a:gd name="connsiteY78" fmla="*/ 5919347 h 6689084"/>
              <a:gd name="connsiteX79" fmla="*/ 5844554 w 6689088"/>
              <a:gd name="connsiteY79" fmla="*/ 5918623 h 6689084"/>
              <a:gd name="connsiteX80" fmla="*/ 6459616 w 6689088"/>
              <a:gd name="connsiteY80" fmla="*/ 5765400 h 6689084"/>
              <a:gd name="connsiteX81" fmla="*/ 6459982 w 6689088"/>
              <a:gd name="connsiteY81" fmla="*/ 5765762 h 6689084"/>
              <a:gd name="connsiteX82" fmla="*/ 6459616 w 6689088"/>
              <a:gd name="connsiteY82" fmla="*/ 5766128 h 6689084"/>
              <a:gd name="connsiteX83" fmla="*/ 6459254 w 6689088"/>
              <a:gd name="connsiteY83" fmla="*/ 5765762 h 6689084"/>
              <a:gd name="connsiteX84" fmla="*/ 6459616 w 6689088"/>
              <a:gd name="connsiteY84" fmla="*/ 5765400 h 6689084"/>
              <a:gd name="connsiteX85" fmla="*/ 5998136 w 6689088"/>
              <a:gd name="connsiteY85" fmla="*/ 5765400 h 6689084"/>
              <a:gd name="connsiteX86" fmla="*/ 5998502 w 6689088"/>
              <a:gd name="connsiteY86" fmla="*/ 5765762 h 6689084"/>
              <a:gd name="connsiteX87" fmla="*/ 5998136 w 6689088"/>
              <a:gd name="connsiteY87" fmla="*/ 5766128 h 6689084"/>
              <a:gd name="connsiteX88" fmla="*/ 5997773 w 6689088"/>
              <a:gd name="connsiteY88" fmla="*/ 5765762 h 6689084"/>
              <a:gd name="connsiteX89" fmla="*/ 5998136 w 6689088"/>
              <a:gd name="connsiteY89" fmla="*/ 5765400 h 6689084"/>
              <a:gd name="connsiteX90" fmla="*/ 5844550 w 6689088"/>
              <a:gd name="connsiteY90" fmla="*/ 5765400 h 6689084"/>
              <a:gd name="connsiteX91" fmla="*/ 5844916 w 6689088"/>
              <a:gd name="connsiteY91" fmla="*/ 5765762 h 6689084"/>
              <a:gd name="connsiteX92" fmla="*/ 5844550 w 6689088"/>
              <a:gd name="connsiteY92" fmla="*/ 5766128 h 6689084"/>
              <a:gd name="connsiteX93" fmla="*/ 5844188 w 6689088"/>
              <a:gd name="connsiteY93" fmla="*/ 5765762 h 6689084"/>
              <a:gd name="connsiteX94" fmla="*/ 5844550 w 6689088"/>
              <a:gd name="connsiteY94" fmla="*/ 5765400 h 6689084"/>
              <a:gd name="connsiteX95" fmla="*/ 5690602 w 6689088"/>
              <a:gd name="connsiteY95" fmla="*/ 5765038 h 6689084"/>
              <a:gd name="connsiteX96" fmla="*/ 5691331 w 6689088"/>
              <a:gd name="connsiteY96" fmla="*/ 5765766 h 6689084"/>
              <a:gd name="connsiteX97" fmla="*/ 5690602 w 6689088"/>
              <a:gd name="connsiteY97" fmla="*/ 5766490 h 6689084"/>
              <a:gd name="connsiteX98" fmla="*/ 5689874 w 6689088"/>
              <a:gd name="connsiteY98" fmla="*/ 5765766 h 6689084"/>
              <a:gd name="connsiteX99" fmla="*/ 5690602 w 6689088"/>
              <a:gd name="connsiteY99" fmla="*/ 5765038 h 6689084"/>
              <a:gd name="connsiteX100" fmla="*/ 6613200 w 6689088"/>
              <a:gd name="connsiteY100" fmla="*/ 5764313 h 6689084"/>
              <a:gd name="connsiteX101" fmla="*/ 6614653 w 6689088"/>
              <a:gd name="connsiteY101" fmla="*/ 5765766 h 6689084"/>
              <a:gd name="connsiteX102" fmla="*/ 6613200 w 6689088"/>
              <a:gd name="connsiteY102" fmla="*/ 5767218 h 6689084"/>
              <a:gd name="connsiteX103" fmla="*/ 6611752 w 6689088"/>
              <a:gd name="connsiteY103" fmla="*/ 5765766 h 6689084"/>
              <a:gd name="connsiteX104" fmla="*/ 6613200 w 6689088"/>
              <a:gd name="connsiteY104" fmla="*/ 5764313 h 6689084"/>
              <a:gd name="connsiteX105" fmla="*/ 6305668 w 6689088"/>
              <a:gd name="connsiteY105" fmla="*/ 5611452 h 6689084"/>
              <a:gd name="connsiteX106" fmla="*/ 6306034 w 6689088"/>
              <a:gd name="connsiteY106" fmla="*/ 5611815 h 6689084"/>
              <a:gd name="connsiteX107" fmla="*/ 6305668 w 6689088"/>
              <a:gd name="connsiteY107" fmla="*/ 5612177 h 6689084"/>
              <a:gd name="connsiteX108" fmla="*/ 6305306 w 6689088"/>
              <a:gd name="connsiteY108" fmla="*/ 5611815 h 6689084"/>
              <a:gd name="connsiteX109" fmla="*/ 6305668 w 6689088"/>
              <a:gd name="connsiteY109" fmla="*/ 5611452 h 6689084"/>
              <a:gd name="connsiteX110" fmla="*/ 5844550 w 6689088"/>
              <a:gd name="connsiteY110" fmla="*/ 5611452 h 6689084"/>
              <a:gd name="connsiteX111" fmla="*/ 5844916 w 6689088"/>
              <a:gd name="connsiteY111" fmla="*/ 5611815 h 6689084"/>
              <a:gd name="connsiteX112" fmla="*/ 5844550 w 6689088"/>
              <a:gd name="connsiteY112" fmla="*/ 5612181 h 6689084"/>
              <a:gd name="connsiteX113" fmla="*/ 5844188 w 6689088"/>
              <a:gd name="connsiteY113" fmla="*/ 5611815 h 6689084"/>
              <a:gd name="connsiteX114" fmla="*/ 5844550 w 6689088"/>
              <a:gd name="connsiteY114" fmla="*/ 5611452 h 6689084"/>
              <a:gd name="connsiteX115" fmla="*/ 5690606 w 6689088"/>
              <a:gd name="connsiteY115" fmla="*/ 5611452 h 6689084"/>
              <a:gd name="connsiteX116" fmla="*/ 5690972 w 6689088"/>
              <a:gd name="connsiteY116" fmla="*/ 5611815 h 6689084"/>
              <a:gd name="connsiteX117" fmla="*/ 5690606 w 6689088"/>
              <a:gd name="connsiteY117" fmla="*/ 5612181 h 6689084"/>
              <a:gd name="connsiteX118" fmla="*/ 5690244 w 6689088"/>
              <a:gd name="connsiteY118" fmla="*/ 5611815 h 6689084"/>
              <a:gd name="connsiteX119" fmla="*/ 5690606 w 6689088"/>
              <a:gd name="connsiteY119" fmla="*/ 5611452 h 6689084"/>
              <a:gd name="connsiteX120" fmla="*/ 5537021 w 6689088"/>
              <a:gd name="connsiteY120" fmla="*/ 5611090 h 6689084"/>
              <a:gd name="connsiteX121" fmla="*/ 5537750 w 6689088"/>
              <a:gd name="connsiteY121" fmla="*/ 5611815 h 6689084"/>
              <a:gd name="connsiteX122" fmla="*/ 5537021 w 6689088"/>
              <a:gd name="connsiteY122" fmla="*/ 5612543 h 6689084"/>
              <a:gd name="connsiteX123" fmla="*/ 5536297 w 6689088"/>
              <a:gd name="connsiteY123" fmla="*/ 5611815 h 6689084"/>
              <a:gd name="connsiteX124" fmla="*/ 5537021 w 6689088"/>
              <a:gd name="connsiteY124" fmla="*/ 5611090 h 6689084"/>
              <a:gd name="connsiteX125" fmla="*/ 6459616 w 6689088"/>
              <a:gd name="connsiteY125" fmla="*/ 5610366 h 6689084"/>
              <a:gd name="connsiteX126" fmla="*/ 6461068 w 6689088"/>
              <a:gd name="connsiteY126" fmla="*/ 5611818 h 6689084"/>
              <a:gd name="connsiteX127" fmla="*/ 6459616 w 6689088"/>
              <a:gd name="connsiteY127" fmla="*/ 5613271 h 6689084"/>
              <a:gd name="connsiteX128" fmla="*/ 6458163 w 6689088"/>
              <a:gd name="connsiteY128" fmla="*/ 5611818 h 6689084"/>
              <a:gd name="connsiteX129" fmla="*/ 6459616 w 6689088"/>
              <a:gd name="connsiteY129" fmla="*/ 5610366 h 6689084"/>
              <a:gd name="connsiteX130" fmla="*/ 6613200 w 6689088"/>
              <a:gd name="connsiteY130" fmla="*/ 5609638 h 6689084"/>
              <a:gd name="connsiteX131" fmla="*/ 6615381 w 6689088"/>
              <a:gd name="connsiteY131" fmla="*/ 5611815 h 6689084"/>
              <a:gd name="connsiteX132" fmla="*/ 6613200 w 6689088"/>
              <a:gd name="connsiteY132" fmla="*/ 5613995 h 6689084"/>
              <a:gd name="connsiteX133" fmla="*/ 6611024 w 6689088"/>
              <a:gd name="connsiteY133" fmla="*/ 5611815 h 6689084"/>
              <a:gd name="connsiteX134" fmla="*/ 6613200 w 6689088"/>
              <a:gd name="connsiteY134" fmla="*/ 5609638 h 6689084"/>
              <a:gd name="connsiteX135" fmla="*/ 6152086 w 6689088"/>
              <a:gd name="connsiteY135" fmla="*/ 5457871 h 6689084"/>
              <a:gd name="connsiteX136" fmla="*/ 6152448 w 6689088"/>
              <a:gd name="connsiteY136" fmla="*/ 5458233 h 6689084"/>
              <a:gd name="connsiteX137" fmla="*/ 6152086 w 6689088"/>
              <a:gd name="connsiteY137" fmla="*/ 5458595 h 6689084"/>
              <a:gd name="connsiteX138" fmla="*/ 6151724 w 6689088"/>
              <a:gd name="connsiteY138" fmla="*/ 5458233 h 6689084"/>
              <a:gd name="connsiteX139" fmla="*/ 6152086 w 6689088"/>
              <a:gd name="connsiteY139" fmla="*/ 5457871 h 6689084"/>
              <a:gd name="connsiteX140" fmla="*/ 5690606 w 6689088"/>
              <a:gd name="connsiteY140" fmla="*/ 5457871 h 6689084"/>
              <a:gd name="connsiteX141" fmla="*/ 5690972 w 6689088"/>
              <a:gd name="connsiteY141" fmla="*/ 5458233 h 6689084"/>
              <a:gd name="connsiteX142" fmla="*/ 5690606 w 6689088"/>
              <a:gd name="connsiteY142" fmla="*/ 5458595 h 6689084"/>
              <a:gd name="connsiteX143" fmla="*/ 5690244 w 6689088"/>
              <a:gd name="connsiteY143" fmla="*/ 5458233 h 6689084"/>
              <a:gd name="connsiteX144" fmla="*/ 5690606 w 6689088"/>
              <a:gd name="connsiteY144" fmla="*/ 5457871 h 6689084"/>
              <a:gd name="connsiteX145" fmla="*/ 5536659 w 6689088"/>
              <a:gd name="connsiteY145" fmla="*/ 5457871 h 6689084"/>
              <a:gd name="connsiteX146" fmla="*/ 5537021 w 6689088"/>
              <a:gd name="connsiteY146" fmla="*/ 5458233 h 6689084"/>
              <a:gd name="connsiteX147" fmla="*/ 5536659 w 6689088"/>
              <a:gd name="connsiteY147" fmla="*/ 5458595 h 6689084"/>
              <a:gd name="connsiteX148" fmla="*/ 5536297 w 6689088"/>
              <a:gd name="connsiteY148" fmla="*/ 5458233 h 6689084"/>
              <a:gd name="connsiteX149" fmla="*/ 5536659 w 6689088"/>
              <a:gd name="connsiteY149" fmla="*/ 5457871 h 6689084"/>
              <a:gd name="connsiteX150" fmla="*/ 5383078 w 6689088"/>
              <a:gd name="connsiteY150" fmla="*/ 5457505 h 6689084"/>
              <a:gd name="connsiteX151" fmla="*/ 5383802 w 6689088"/>
              <a:gd name="connsiteY151" fmla="*/ 5458233 h 6689084"/>
              <a:gd name="connsiteX152" fmla="*/ 5383078 w 6689088"/>
              <a:gd name="connsiteY152" fmla="*/ 5458957 h 6689084"/>
              <a:gd name="connsiteX153" fmla="*/ 5382350 w 6689088"/>
              <a:gd name="connsiteY153" fmla="*/ 5458233 h 6689084"/>
              <a:gd name="connsiteX154" fmla="*/ 5383078 w 6689088"/>
              <a:gd name="connsiteY154" fmla="*/ 5457505 h 6689084"/>
              <a:gd name="connsiteX155" fmla="*/ 6305668 w 6689088"/>
              <a:gd name="connsiteY155" fmla="*/ 5456781 h 6689084"/>
              <a:gd name="connsiteX156" fmla="*/ 6307120 w 6689088"/>
              <a:gd name="connsiteY156" fmla="*/ 5458233 h 6689084"/>
              <a:gd name="connsiteX157" fmla="*/ 6305668 w 6689088"/>
              <a:gd name="connsiteY157" fmla="*/ 5459685 h 6689084"/>
              <a:gd name="connsiteX158" fmla="*/ 6304216 w 6689088"/>
              <a:gd name="connsiteY158" fmla="*/ 5458233 h 6689084"/>
              <a:gd name="connsiteX159" fmla="*/ 6305668 w 6689088"/>
              <a:gd name="connsiteY159" fmla="*/ 5456781 h 6689084"/>
              <a:gd name="connsiteX160" fmla="*/ 6459619 w 6689088"/>
              <a:gd name="connsiteY160" fmla="*/ 5456053 h 6689084"/>
              <a:gd name="connsiteX161" fmla="*/ 6461796 w 6689088"/>
              <a:gd name="connsiteY161" fmla="*/ 5458233 h 6689084"/>
              <a:gd name="connsiteX162" fmla="*/ 6459619 w 6689088"/>
              <a:gd name="connsiteY162" fmla="*/ 5460410 h 6689084"/>
              <a:gd name="connsiteX163" fmla="*/ 6457439 w 6689088"/>
              <a:gd name="connsiteY163" fmla="*/ 5458233 h 6689084"/>
              <a:gd name="connsiteX164" fmla="*/ 6459619 w 6689088"/>
              <a:gd name="connsiteY164" fmla="*/ 5456053 h 6689084"/>
              <a:gd name="connsiteX165" fmla="*/ 6613200 w 6689088"/>
              <a:gd name="connsiteY165" fmla="*/ 5454966 h 6689084"/>
              <a:gd name="connsiteX166" fmla="*/ 6616468 w 6689088"/>
              <a:gd name="connsiteY166" fmla="*/ 5458233 h 6689084"/>
              <a:gd name="connsiteX167" fmla="*/ 6613200 w 6689088"/>
              <a:gd name="connsiteY167" fmla="*/ 5461500 h 6689084"/>
              <a:gd name="connsiteX168" fmla="*/ 6609934 w 6689088"/>
              <a:gd name="connsiteY168" fmla="*/ 5458233 h 6689084"/>
              <a:gd name="connsiteX169" fmla="*/ 6613200 w 6689088"/>
              <a:gd name="connsiteY169" fmla="*/ 5454966 h 6689084"/>
              <a:gd name="connsiteX170" fmla="*/ 5998136 w 6689088"/>
              <a:gd name="connsiteY170" fmla="*/ 5303924 h 6689084"/>
              <a:gd name="connsiteX171" fmla="*/ 5998502 w 6689088"/>
              <a:gd name="connsiteY171" fmla="*/ 5304286 h 6689084"/>
              <a:gd name="connsiteX172" fmla="*/ 5998136 w 6689088"/>
              <a:gd name="connsiteY172" fmla="*/ 5304652 h 6689084"/>
              <a:gd name="connsiteX173" fmla="*/ 5997773 w 6689088"/>
              <a:gd name="connsiteY173" fmla="*/ 5304286 h 6689084"/>
              <a:gd name="connsiteX174" fmla="*/ 5998136 w 6689088"/>
              <a:gd name="connsiteY174" fmla="*/ 5303924 h 6689084"/>
              <a:gd name="connsiteX175" fmla="*/ 5536659 w 6689088"/>
              <a:gd name="connsiteY175" fmla="*/ 5303924 h 6689084"/>
              <a:gd name="connsiteX176" fmla="*/ 5537021 w 6689088"/>
              <a:gd name="connsiteY176" fmla="*/ 5304286 h 6689084"/>
              <a:gd name="connsiteX177" fmla="*/ 5536659 w 6689088"/>
              <a:gd name="connsiteY177" fmla="*/ 5304652 h 6689084"/>
              <a:gd name="connsiteX178" fmla="*/ 5536297 w 6689088"/>
              <a:gd name="connsiteY178" fmla="*/ 5304286 h 6689084"/>
              <a:gd name="connsiteX179" fmla="*/ 5536659 w 6689088"/>
              <a:gd name="connsiteY179" fmla="*/ 5303924 h 6689084"/>
              <a:gd name="connsiteX180" fmla="*/ 5383074 w 6689088"/>
              <a:gd name="connsiteY180" fmla="*/ 5303924 h 6689084"/>
              <a:gd name="connsiteX181" fmla="*/ 5383436 w 6689088"/>
              <a:gd name="connsiteY181" fmla="*/ 5304286 h 6689084"/>
              <a:gd name="connsiteX182" fmla="*/ 5383074 w 6689088"/>
              <a:gd name="connsiteY182" fmla="*/ 5304652 h 6689084"/>
              <a:gd name="connsiteX183" fmla="*/ 5382712 w 6689088"/>
              <a:gd name="connsiteY183" fmla="*/ 5304286 h 6689084"/>
              <a:gd name="connsiteX184" fmla="*/ 5383074 w 6689088"/>
              <a:gd name="connsiteY184" fmla="*/ 5303924 h 6689084"/>
              <a:gd name="connsiteX185" fmla="*/ 5229126 w 6689088"/>
              <a:gd name="connsiteY185" fmla="*/ 5303558 h 6689084"/>
              <a:gd name="connsiteX186" fmla="*/ 5229854 w 6689088"/>
              <a:gd name="connsiteY186" fmla="*/ 5304282 h 6689084"/>
              <a:gd name="connsiteX187" fmla="*/ 5229126 w 6689088"/>
              <a:gd name="connsiteY187" fmla="*/ 5305010 h 6689084"/>
              <a:gd name="connsiteX188" fmla="*/ 5228402 w 6689088"/>
              <a:gd name="connsiteY188" fmla="*/ 5304282 h 6689084"/>
              <a:gd name="connsiteX189" fmla="*/ 5229126 w 6689088"/>
              <a:gd name="connsiteY189" fmla="*/ 5303558 h 6689084"/>
              <a:gd name="connsiteX190" fmla="*/ 6152086 w 6689088"/>
              <a:gd name="connsiteY190" fmla="*/ 5302833 h 6689084"/>
              <a:gd name="connsiteX191" fmla="*/ 6153539 w 6689088"/>
              <a:gd name="connsiteY191" fmla="*/ 5304286 h 6689084"/>
              <a:gd name="connsiteX192" fmla="*/ 6152086 w 6689088"/>
              <a:gd name="connsiteY192" fmla="*/ 5305738 h 6689084"/>
              <a:gd name="connsiteX193" fmla="*/ 6150638 w 6689088"/>
              <a:gd name="connsiteY193" fmla="*/ 5304286 h 6689084"/>
              <a:gd name="connsiteX194" fmla="*/ 6152086 w 6689088"/>
              <a:gd name="connsiteY194" fmla="*/ 5302833 h 6689084"/>
              <a:gd name="connsiteX195" fmla="*/ 6305672 w 6689088"/>
              <a:gd name="connsiteY195" fmla="*/ 5302105 h 6689084"/>
              <a:gd name="connsiteX196" fmla="*/ 6307848 w 6689088"/>
              <a:gd name="connsiteY196" fmla="*/ 5304282 h 6689084"/>
              <a:gd name="connsiteX197" fmla="*/ 6305672 w 6689088"/>
              <a:gd name="connsiteY197" fmla="*/ 5306462 h 6689084"/>
              <a:gd name="connsiteX198" fmla="*/ 6303492 w 6689088"/>
              <a:gd name="connsiteY198" fmla="*/ 5304282 h 6689084"/>
              <a:gd name="connsiteX199" fmla="*/ 6305672 w 6689088"/>
              <a:gd name="connsiteY199" fmla="*/ 5302105 h 6689084"/>
              <a:gd name="connsiteX200" fmla="*/ 6459619 w 6689088"/>
              <a:gd name="connsiteY200" fmla="*/ 5301019 h 6689084"/>
              <a:gd name="connsiteX201" fmla="*/ 6462882 w 6689088"/>
              <a:gd name="connsiteY201" fmla="*/ 5304286 h 6689084"/>
              <a:gd name="connsiteX202" fmla="*/ 6459619 w 6689088"/>
              <a:gd name="connsiteY202" fmla="*/ 5307553 h 6689084"/>
              <a:gd name="connsiteX203" fmla="*/ 6456348 w 6689088"/>
              <a:gd name="connsiteY203" fmla="*/ 5304286 h 6689084"/>
              <a:gd name="connsiteX204" fmla="*/ 6459619 w 6689088"/>
              <a:gd name="connsiteY204" fmla="*/ 5301019 h 6689084"/>
              <a:gd name="connsiteX205" fmla="*/ 6613200 w 6689088"/>
              <a:gd name="connsiteY205" fmla="*/ 5299929 h 6689084"/>
              <a:gd name="connsiteX206" fmla="*/ 6617558 w 6689088"/>
              <a:gd name="connsiteY206" fmla="*/ 5304286 h 6689084"/>
              <a:gd name="connsiteX207" fmla="*/ 6613200 w 6689088"/>
              <a:gd name="connsiteY207" fmla="*/ 5308643 h 6689084"/>
              <a:gd name="connsiteX208" fmla="*/ 6608844 w 6689088"/>
              <a:gd name="connsiteY208" fmla="*/ 5304286 h 6689084"/>
              <a:gd name="connsiteX209" fmla="*/ 6613200 w 6689088"/>
              <a:gd name="connsiteY209" fmla="*/ 5299929 h 6689084"/>
              <a:gd name="connsiteX210" fmla="*/ 5844550 w 6689088"/>
              <a:gd name="connsiteY210" fmla="*/ 5150338 h 6689084"/>
              <a:gd name="connsiteX211" fmla="*/ 5844916 w 6689088"/>
              <a:gd name="connsiteY211" fmla="*/ 5150700 h 6689084"/>
              <a:gd name="connsiteX212" fmla="*/ 5844550 w 6689088"/>
              <a:gd name="connsiteY212" fmla="*/ 5151063 h 6689084"/>
              <a:gd name="connsiteX213" fmla="*/ 5844188 w 6689088"/>
              <a:gd name="connsiteY213" fmla="*/ 5150700 h 6689084"/>
              <a:gd name="connsiteX214" fmla="*/ 5844550 w 6689088"/>
              <a:gd name="connsiteY214" fmla="*/ 5150338 h 6689084"/>
              <a:gd name="connsiteX215" fmla="*/ 5383074 w 6689088"/>
              <a:gd name="connsiteY215" fmla="*/ 5150338 h 6689084"/>
              <a:gd name="connsiteX216" fmla="*/ 5383436 w 6689088"/>
              <a:gd name="connsiteY216" fmla="*/ 5150700 h 6689084"/>
              <a:gd name="connsiteX217" fmla="*/ 5383074 w 6689088"/>
              <a:gd name="connsiteY217" fmla="*/ 5151063 h 6689084"/>
              <a:gd name="connsiteX218" fmla="*/ 5382712 w 6689088"/>
              <a:gd name="connsiteY218" fmla="*/ 5150700 h 6689084"/>
              <a:gd name="connsiteX219" fmla="*/ 5383074 w 6689088"/>
              <a:gd name="connsiteY219" fmla="*/ 5150338 h 6689084"/>
              <a:gd name="connsiteX220" fmla="*/ 5229126 w 6689088"/>
              <a:gd name="connsiteY220" fmla="*/ 5150338 h 6689084"/>
              <a:gd name="connsiteX221" fmla="*/ 5229488 w 6689088"/>
              <a:gd name="connsiteY221" fmla="*/ 5150700 h 6689084"/>
              <a:gd name="connsiteX222" fmla="*/ 5229126 w 6689088"/>
              <a:gd name="connsiteY222" fmla="*/ 5151063 h 6689084"/>
              <a:gd name="connsiteX223" fmla="*/ 5228764 w 6689088"/>
              <a:gd name="connsiteY223" fmla="*/ 5150700 h 6689084"/>
              <a:gd name="connsiteX224" fmla="*/ 5229126 w 6689088"/>
              <a:gd name="connsiteY224" fmla="*/ 5150338 h 6689084"/>
              <a:gd name="connsiteX225" fmla="*/ 5075545 w 6689088"/>
              <a:gd name="connsiteY225" fmla="*/ 5149972 h 6689084"/>
              <a:gd name="connsiteX226" fmla="*/ 5076270 w 6689088"/>
              <a:gd name="connsiteY226" fmla="*/ 5150700 h 6689084"/>
              <a:gd name="connsiteX227" fmla="*/ 5075545 w 6689088"/>
              <a:gd name="connsiteY227" fmla="*/ 5151425 h 6689084"/>
              <a:gd name="connsiteX228" fmla="*/ 5074817 w 6689088"/>
              <a:gd name="connsiteY228" fmla="*/ 5150700 h 6689084"/>
              <a:gd name="connsiteX229" fmla="*/ 5075545 w 6689088"/>
              <a:gd name="connsiteY229" fmla="*/ 5149972 h 6689084"/>
              <a:gd name="connsiteX230" fmla="*/ 5998139 w 6689088"/>
              <a:gd name="connsiteY230" fmla="*/ 5149248 h 6689084"/>
              <a:gd name="connsiteX231" fmla="*/ 5999592 w 6689088"/>
              <a:gd name="connsiteY231" fmla="*/ 5150700 h 6689084"/>
              <a:gd name="connsiteX232" fmla="*/ 5998139 w 6689088"/>
              <a:gd name="connsiteY232" fmla="*/ 5152153 h 6689084"/>
              <a:gd name="connsiteX233" fmla="*/ 5996690 w 6689088"/>
              <a:gd name="connsiteY233" fmla="*/ 5150700 h 6689084"/>
              <a:gd name="connsiteX234" fmla="*/ 5998139 w 6689088"/>
              <a:gd name="connsiteY234" fmla="*/ 5149248 h 6689084"/>
              <a:gd name="connsiteX235" fmla="*/ 6152083 w 6689088"/>
              <a:gd name="connsiteY235" fmla="*/ 5148524 h 6689084"/>
              <a:gd name="connsiteX236" fmla="*/ 6154263 w 6689088"/>
              <a:gd name="connsiteY236" fmla="*/ 5150704 h 6689084"/>
              <a:gd name="connsiteX237" fmla="*/ 6152083 w 6689088"/>
              <a:gd name="connsiteY237" fmla="*/ 5152881 h 6689084"/>
              <a:gd name="connsiteX238" fmla="*/ 6149906 w 6689088"/>
              <a:gd name="connsiteY238" fmla="*/ 5150704 h 6689084"/>
              <a:gd name="connsiteX239" fmla="*/ 6152083 w 6689088"/>
              <a:gd name="connsiteY239" fmla="*/ 5148524 h 6689084"/>
              <a:gd name="connsiteX240" fmla="*/ 6305672 w 6689088"/>
              <a:gd name="connsiteY240" fmla="*/ 5147434 h 6689084"/>
              <a:gd name="connsiteX241" fmla="*/ 6308935 w 6689088"/>
              <a:gd name="connsiteY241" fmla="*/ 5150700 h 6689084"/>
              <a:gd name="connsiteX242" fmla="*/ 6305672 w 6689088"/>
              <a:gd name="connsiteY242" fmla="*/ 5153967 h 6689084"/>
              <a:gd name="connsiteX243" fmla="*/ 6302401 w 6689088"/>
              <a:gd name="connsiteY243" fmla="*/ 5150700 h 6689084"/>
              <a:gd name="connsiteX244" fmla="*/ 6305672 w 6689088"/>
              <a:gd name="connsiteY244" fmla="*/ 5147434 h 6689084"/>
              <a:gd name="connsiteX245" fmla="*/ 6459616 w 6689088"/>
              <a:gd name="connsiteY245" fmla="*/ 5145981 h 6689084"/>
              <a:gd name="connsiteX246" fmla="*/ 6463972 w 6689088"/>
              <a:gd name="connsiteY246" fmla="*/ 5150338 h 6689084"/>
              <a:gd name="connsiteX247" fmla="*/ 6459616 w 6689088"/>
              <a:gd name="connsiteY247" fmla="*/ 5154695 h 6689084"/>
              <a:gd name="connsiteX248" fmla="*/ 6455258 w 6689088"/>
              <a:gd name="connsiteY248" fmla="*/ 5150338 h 6689084"/>
              <a:gd name="connsiteX249" fmla="*/ 6459616 w 6689088"/>
              <a:gd name="connsiteY249" fmla="*/ 5145981 h 6689084"/>
              <a:gd name="connsiteX250" fmla="*/ 6613200 w 6689088"/>
              <a:gd name="connsiteY250" fmla="*/ 5144891 h 6689084"/>
              <a:gd name="connsiteX251" fmla="*/ 6619010 w 6689088"/>
              <a:gd name="connsiteY251" fmla="*/ 5150700 h 6689084"/>
              <a:gd name="connsiteX252" fmla="*/ 6613200 w 6689088"/>
              <a:gd name="connsiteY252" fmla="*/ 5156510 h 6689084"/>
              <a:gd name="connsiteX253" fmla="*/ 6607395 w 6689088"/>
              <a:gd name="connsiteY253" fmla="*/ 5150700 h 6689084"/>
              <a:gd name="connsiteX254" fmla="*/ 6613200 w 6689088"/>
              <a:gd name="connsiteY254" fmla="*/ 5144891 h 6689084"/>
              <a:gd name="connsiteX255" fmla="*/ 5690606 w 6689088"/>
              <a:gd name="connsiteY255" fmla="*/ 4996391 h 6689084"/>
              <a:gd name="connsiteX256" fmla="*/ 5690972 w 6689088"/>
              <a:gd name="connsiteY256" fmla="*/ 4996753 h 6689084"/>
              <a:gd name="connsiteX257" fmla="*/ 5690606 w 6689088"/>
              <a:gd name="connsiteY257" fmla="*/ 4997119 h 6689084"/>
              <a:gd name="connsiteX258" fmla="*/ 5690244 w 6689088"/>
              <a:gd name="connsiteY258" fmla="*/ 4996753 h 6689084"/>
              <a:gd name="connsiteX259" fmla="*/ 5690606 w 6689088"/>
              <a:gd name="connsiteY259" fmla="*/ 4996391 h 6689084"/>
              <a:gd name="connsiteX260" fmla="*/ 5229126 w 6689088"/>
              <a:gd name="connsiteY260" fmla="*/ 4996391 h 6689084"/>
              <a:gd name="connsiteX261" fmla="*/ 5229488 w 6689088"/>
              <a:gd name="connsiteY261" fmla="*/ 4996753 h 6689084"/>
              <a:gd name="connsiteX262" fmla="*/ 5229126 w 6689088"/>
              <a:gd name="connsiteY262" fmla="*/ 4997119 h 6689084"/>
              <a:gd name="connsiteX263" fmla="*/ 5228764 w 6689088"/>
              <a:gd name="connsiteY263" fmla="*/ 4996753 h 6689084"/>
              <a:gd name="connsiteX264" fmla="*/ 5229126 w 6689088"/>
              <a:gd name="connsiteY264" fmla="*/ 4996391 h 6689084"/>
              <a:gd name="connsiteX265" fmla="*/ 5075541 w 6689088"/>
              <a:gd name="connsiteY265" fmla="*/ 4996391 h 6689084"/>
              <a:gd name="connsiteX266" fmla="*/ 5075904 w 6689088"/>
              <a:gd name="connsiteY266" fmla="*/ 4996753 h 6689084"/>
              <a:gd name="connsiteX267" fmla="*/ 5075541 w 6689088"/>
              <a:gd name="connsiteY267" fmla="*/ 4997119 h 6689084"/>
              <a:gd name="connsiteX268" fmla="*/ 5075179 w 6689088"/>
              <a:gd name="connsiteY268" fmla="*/ 4996753 h 6689084"/>
              <a:gd name="connsiteX269" fmla="*/ 5075541 w 6689088"/>
              <a:gd name="connsiteY269" fmla="*/ 4996391 h 6689084"/>
              <a:gd name="connsiteX270" fmla="*/ 4921594 w 6689088"/>
              <a:gd name="connsiteY270" fmla="*/ 4996029 h 6689084"/>
              <a:gd name="connsiteX271" fmla="*/ 4922322 w 6689088"/>
              <a:gd name="connsiteY271" fmla="*/ 4996753 h 6689084"/>
              <a:gd name="connsiteX272" fmla="*/ 4921594 w 6689088"/>
              <a:gd name="connsiteY272" fmla="*/ 4997481 h 6689084"/>
              <a:gd name="connsiteX273" fmla="*/ 4920870 w 6689088"/>
              <a:gd name="connsiteY273" fmla="*/ 4996753 h 6689084"/>
              <a:gd name="connsiteX274" fmla="*/ 4921594 w 6689088"/>
              <a:gd name="connsiteY274" fmla="*/ 4996029 h 6689084"/>
              <a:gd name="connsiteX275" fmla="*/ 5844554 w 6689088"/>
              <a:gd name="connsiteY275" fmla="*/ 4995301 h 6689084"/>
              <a:gd name="connsiteX276" fmla="*/ 5846006 w 6689088"/>
              <a:gd name="connsiteY276" fmla="*/ 4996753 h 6689084"/>
              <a:gd name="connsiteX277" fmla="*/ 5844554 w 6689088"/>
              <a:gd name="connsiteY277" fmla="*/ 4998205 h 6689084"/>
              <a:gd name="connsiteX278" fmla="*/ 5843102 w 6689088"/>
              <a:gd name="connsiteY278" fmla="*/ 4996753 h 6689084"/>
              <a:gd name="connsiteX279" fmla="*/ 5844554 w 6689088"/>
              <a:gd name="connsiteY279" fmla="*/ 4995301 h 6689084"/>
              <a:gd name="connsiteX280" fmla="*/ 5998136 w 6689088"/>
              <a:gd name="connsiteY280" fmla="*/ 4994577 h 6689084"/>
              <a:gd name="connsiteX281" fmla="*/ 6000316 w 6689088"/>
              <a:gd name="connsiteY281" fmla="*/ 4996753 h 6689084"/>
              <a:gd name="connsiteX282" fmla="*/ 5998136 w 6689088"/>
              <a:gd name="connsiteY282" fmla="*/ 4998934 h 6689084"/>
              <a:gd name="connsiteX283" fmla="*/ 5995959 w 6689088"/>
              <a:gd name="connsiteY283" fmla="*/ 4996753 h 6689084"/>
              <a:gd name="connsiteX284" fmla="*/ 5998136 w 6689088"/>
              <a:gd name="connsiteY284" fmla="*/ 4994577 h 6689084"/>
              <a:gd name="connsiteX285" fmla="*/ 6152083 w 6689088"/>
              <a:gd name="connsiteY285" fmla="*/ 4993486 h 6689084"/>
              <a:gd name="connsiteX286" fmla="*/ 6155350 w 6689088"/>
              <a:gd name="connsiteY286" fmla="*/ 4996753 h 6689084"/>
              <a:gd name="connsiteX287" fmla="*/ 6152083 w 6689088"/>
              <a:gd name="connsiteY287" fmla="*/ 5000024 h 6689084"/>
              <a:gd name="connsiteX288" fmla="*/ 6148816 w 6689088"/>
              <a:gd name="connsiteY288" fmla="*/ 4996753 h 6689084"/>
              <a:gd name="connsiteX289" fmla="*/ 6152083 w 6689088"/>
              <a:gd name="connsiteY289" fmla="*/ 4993486 h 6689084"/>
              <a:gd name="connsiteX290" fmla="*/ 6305668 w 6689088"/>
              <a:gd name="connsiteY290" fmla="*/ 4992396 h 6689084"/>
              <a:gd name="connsiteX291" fmla="*/ 6310025 w 6689088"/>
              <a:gd name="connsiteY291" fmla="*/ 4996753 h 6689084"/>
              <a:gd name="connsiteX292" fmla="*/ 6305668 w 6689088"/>
              <a:gd name="connsiteY292" fmla="*/ 5001110 h 6689084"/>
              <a:gd name="connsiteX293" fmla="*/ 6301311 w 6689088"/>
              <a:gd name="connsiteY293" fmla="*/ 4996753 h 6689084"/>
              <a:gd name="connsiteX294" fmla="*/ 6305668 w 6689088"/>
              <a:gd name="connsiteY294" fmla="*/ 4992396 h 6689084"/>
              <a:gd name="connsiteX295" fmla="*/ 6459616 w 6689088"/>
              <a:gd name="connsiteY295" fmla="*/ 4990944 h 6689084"/>
              <a:gd name="connsiteX296" fmla="*/ 6465425 w 6689088"/>
              <a:gd name="connsiteY296" fmla="*/ 4996753 h 6689084"/>
              <a:gd name="connsiteX297" fmla="*/ 6459616 w 6689088"/>
              <a:gd name="connsiteY297" fmla="*/ 5002562 h 6689084"/>
              <a:gd name="connsiteX298" fmla="*/ 6453806 w 6689088"/>
              <a:gd name="connsiteY298" fmla="*/ 4996753 h 6689084"/>
              <a:gd name="connsiteX299" fmla="*/ 6459616 w 6689088"/>
              <a:gd name="connsiteY299" fmla="*/ 4990944 h 6689084"/>
              <a:gd name="connsiteX300" fmla="*/ 6613200 w 6689088"/>
              <a:gd name="connsiteY300" fmla="*/ 4989491 h 6689084"/>
              <a:gd name="connsiteX301" fmla="*/ 6620462 w 6689088"/>
              <a:gd name="connsiteY301" fmla="*/ 4996753 h 6689084"/>
              <a:gd name="connsiteX302" fmla="*/ 6613200 w 6689088"/>
              <a:gd name="connsiteY302" fmla="*/ 5004015 h 6689084"/>
              <a:gd name="connsiteX303" fmla="*/ 6605939 w 6689088"/>
              <a:gd name="connsiteY303" fmla="*/ 4996753 h 6689084"/>
              <a:gd name="connsiteX304" fmla="*/ 6613200 w 6689088"/>
              <a:gd name="connsiteY304" fmla="*/ 4989491 h 6689084"/>
              <a:gd name="connsiteX305" fmla="*/ 5536659 w 6689088"/>
              <a:gd name="connsiteY305" fmla="*/ 4842806 h 6689084"/>
              <a:gd name="connsiteX306" fmla="*/ 5537021 w 6689088"/>
              <a:gd name="connsiteY306" fmla="*/ 4843168 h 6689084"/>
              <a:gd name="connsiteX307" fmla="*/ 5536659 w 6689088"/>
              <a:gd name="connsiteY307" fmla="*/ 4843530 h 6689084"/>
              <a:gd name="connsiteX308" fmla="*/ 5536297 w 6689088"/>
              <a:gd name="connsiteY308" fmla="*/ 4843168 h 6689084"/>
              <a:gd name="connsiteX309" fmla="*/ 5536659 w 6689088"/>
              <a:gd name="connsiteY309" fmla="*/ 4842806 h 6689084"/>
              <a:gd name="connsiteX310" fmla="*/ 5075541 w 6689088"/>
              <a:gd name="connsiteY310" fmla="*/ 4842806 h 6689084"/>
              <a:gd name="connsiteX311" fmla="*/ 5075904 w 6689088"/>
              <a:gd name="connsiteY311" fmla="*/ 4843168 h 6689084"/>
              <a:gd name="connsiteX312" fmla="*/ 5075541 w 6689088"/>
              <a:gd name="connsiteY312" fmla="*/ 4843530 h 6689084"/>
              <a:gd name="connsiteX313" fmla="*/ 5075179 w 6689088"/>
              <a:gd name="connsiteY313" fmla="*/ 4843168 h 6689084"/>
              <a:gd name="connsiteX314" fmla="*/ 5075541 w 6689088"/>
              <a:gd name="connsiteY314" fmla="*/ 4842806 h 6689084"/>
              <a:gd name="connsiteX315" fmla="*/ 4921594 w 6689088"/>
              <a:gd name="connsiteY315" fmla="*/ 4842806 h 6689084"/>
              <a:gd name="connsiteX316" fmla="*/ 4921956 w 6689088"/>
              <a:gd name="connsiteY316" fmla="*/ 4843168 h 6689084"/>
              <a:gd name="connsiteX317" fmla="*/ 4921594 w 6689088"/>
              <a:gd name="connsiteY317" fmla="*/ 4843530 h 6689084"/>
              <a:gd name="connsiteX318" fmla="*/ 4921232 w 6689088"/>
              <a:gd name="connsiteY318" fmla="*/ 4843168 h 6689084"/>
              <a:gd name="connsiteX319" fmla="*/ 4921594 w 6689088"/>
              <a:gd name="connsiteY319" fmla="*/ 4842806 h 6689084"/>
              <a:gd name="connsiteX320" fmla="*/ 4768012 w 6689088"/>
              <a:gd name="connsiteY320" fmla="*/ 4842444 h 6689084"/>
              <a:gd name="connsiteX321" fmla="*/ 4768736 w 6689088"/>
              <a:gd name="connsiteY321" fmla="*/ 4843172 h 6689084"/>
              <a:gd name="connsiteX322" fmla="*/ 4768012 w 6689088"/>
              <a:gd name="connsiteY322" fmla="*/ 4843896 h 6689084"/>
              <a:gd name="connsiteX323" fmla="*/ 4767284 w 6689088"/>
              <a:gd name="connsiteY323" fmla="*/ 4843172 h 6689084"/>
              <a:gd name="connsiteX324" fmla="*/ 4768012 w 6689088"/>
              <a:gd name="connsiteY324" fmla="*/ 4842444 h 6689084"/>
              <a:gd name="connsiteX325" fmla="*/ 5690606 w 6689088"/>
              <a:gd name="connsiteY325" fmla="*/ 4841353 h 6689084"/>
              <a:gd name="connsiteX326" fmla="*/ 5692059 w 6689088"/>
              <a:gd name="connsiteY326" fmla="*/ 4842806 h 6689084"/>
              <a:gd name="connsiteX327" fmla="*/ 5690606 w 6689088"/>
              <a:gd name="connsiteY327" fmla="*/ 4844258 h 6689084"/>
              <a:gd name="connsiteX328" fmla="*/ 5689154 w 6689088"/>
              <a:gd name="connsiteY328" fmla="*/ 4842806 h 6689084"/>
              <a:gd name="connsiteX329" fmla="*/ 5690606 w 6689088"/>
              <a:gd name="connsiteY329" fmla="*/ 4841353 h 6689084"/>
              <a:gd name="connsiteX330" fmla="*/ 5844554 w 6689088"/>
              <a:gd name="connsiteY330" fmla="*/ 4840629 h 6689084"/>
              <a:gd name="connsiteX331" fmla="*/ 5846730 w 6689088"/>
              <a:gd name="connsiteY331" fmla="*/ 4842810 h 6689084"/>
              <a:gd name="connsiteX332" fmla="*/ 5844554 w 6689088"/>
              <a:gd name="connsiteY332" fmla="*/ 4844986 h 6689084"/>
              <a:gd name="connsiteX333" fmla="*/ 5842374 w 6689088"/>
              <a:gd name="connsiteY333" fmla="*/ 4842810 h 6689084"/>
              <a:gd name="connsiteX334" fmla="*/ 5844554 w 6689088"/>
              <a:gd name="connsiteY334" fmla="*/ 4840629 h 6689084"/>
              <a:gd name="connsiteX335" fmla="*/ 5998136 w 6689088"/>
              <a:gd name="connsiteY335" fmla="*/ 4839901 h 6689084"/>
              <a:gd name="connsiteX336" fmla="*/ 6001402 w 6689088"/>
              <a:gd name="connsiteY336" fmla="*/ 4843168 h 6689084"/>
              <a:gd name="connsiteX337" fmla="*/ 5998136 w 6689088"/>
              <a:gd name="connsiteY337" fmla="*/ 4846435 h 6689084"/>
              <a:gd name="connsiteX338" fmla="*/ 5994868 w 6689088"/>
              <a:gd name="connsiteY338" fmla="*/ 4843168 h 6689084"/>
              <a:gd name="connsiteX339" fmla="*/ 5998136 w 6689088"/>
              <a:gd name="connsiteY339" fmla="*/ 4839901 h 6689084"/>
              <a:gd name="connsiteX340" fmla="*/ 6152083 w 6689088"/>
              <a:gd name="connsiteY340" fmla="*/ 4838449 h 6689084"/>
              <a:gd name="connsiteX341" fmla="*/ 6156440 w 6689088"/>
              <a:gd name="connsiteY341" fmla="*/ 4842806 h 6689084"/>
              <a:gd name="connsiteX342" fmla="*/ 6152083 w 6689088"/>
              <a:gd name="connsiteY342" fmla="*/ 4847163 h 6689084"/>
              <a:gd name="connsiteX343" fmla="*/ 6147726 w 6689088"/>
              <a:gd name="connsiteY343" fmla="*/ 4842806 h 6689084"/>
              <a:gd name="connsiteX344" fmla="*/ 6152083 w 6689088"/>
              <a:gd name="connsiteY344" fmla="*/ 4838449 h 6689084"/>
              <a:gd name="connsiteX345" fmla="*/ 6305668 w 6689088"/>
              <a:gd name="connsiteY345" fmla="*/ 4836996 h 6689084"/>
              <a:gd name="connsiteX346" fmla="*/ 6311478 w 6689088"/>
              <a:gd name="connsiteY346" fmla="*/ 4842806 h 6689084"/>
              <a:gd name="connsiteX347" fmla="*/ 6305668 w 6689088"/>
              <a:gd name="connsiteY347" fmla="*/ 4848615 h 6689084"/>
              <a:gd name="connsiteX348" fmla="*/ 6299858 w 6689088"/>
              <a:gd name="connsiteY348" fmla="*/ 4842806 h 6689084"/>
              <a:gd name="connsiteX349" fmla="*/ 6305668 w 6689088"/>
              <a:gd name="connsiteY349" fmla="*/ 4836996 h 6689084"/>
              <a:gd name="connsiteX350" fmla="*/ 6459616 w 6689088"/>
              <a:gd name="connsiteY350" fmla="*/ 4835544 h 6689084"/>
              <a:gd name="connsiteX351" fmla="*/ 6466877 w 6689088"/>
              <a:gd name="connsiteY351" fmla="*/ 4842806 h 6689084"/>
              <a:gd name="connsiteX352" fmla="*/ 6459616 w 6689088"/>
              <a:gd name="connsiteY352" fmla="*/ 4850067 h 6689084"/>
              <a:gd name="connsiteX353" fmla="*/ 6452354 w 6689088"/>
              <a:gd name="connsiteY353" fmla="*/ 4842806 h 6689084"/>
              <a:gd name="connsiteX354" fmla="*/ 6459616 w 6689088"/>
              <a:gd name="connsiteY354" fmla="*/ 4835544 h 6689084"/>
              <a:gd name="connsiteX355" fmla="*/ 6613200 w 6689088"/>
              <a:gd name="connsiteY355" fmla="*/ 4833730 h 6689084"/>
              <a:gd name="connsiteX356" fmla="*/ 6622280 w 6689088"/>
              <a:gd name="connsiteY356" fmla="*/ 4842806 h 6689084"/>
              <a:gd name="connsiteX357" fmla="*/ 6613200 w 6689088"/>
              <a:gd name="connsiteY357" fmla="*/ 4851886 h 6689084"/>
              <a:gd name="connsiteX358" fmla="*/ 6604124 w 6689088"/>
              <a:gd name="connsiteY358" fmla="*/ 4842806 h 6689084"/>
              <a:gd name="connsiteX359" fmla="*/ 6613200 w 6689088"/>
              <a:gd name="connsiteY359" fmla="*/ 4833730 h 6689084"/>
              <a:gd name="connsiteX360" fmla="*/ 5383074 w 6689088"/>
              <a:gd name="connsiteY360" fmla="*/ 4688858 h 6689084"/>
              <a:gd name="connsiteX361" fmla="*/ 5383436 w 6689088"/>
              <a:gd name="connsiteY361" fmla="*/ 4689220 h 6689084"/>
              <a:gd name="connsiteX362" fmla="*/ 5383074 w 6689088"/>
              <a:gd name="connsiteY362" fmla="*/ 4689586 h 6689084"/>
              <a:gd name="connsiteX363" fmla="*/ 5382712 w 6689088"/>
              <a:gd name="connsiteY363" fmla="*/ 4689220 h 6689084"/>
              <a:gd name="connsiteX364" fmla="*/ 5383074 w 6689088"/>
              <a:gd name="connsiteY364" fmla="*/ 4688858 h 6689084"/>
              <a:gd name="connsiteX365" fmla="*/ 4921594 w 6689088"/>
              <a:gd name="connsiteY365" fmla="*/ 4688858 h 6689084"/>
              <a:gd name="connsiteX366" fmla="*/ 4921956 w 6689088"/>
              <a:gd name="connsiteY366" fmla="*/ 4689220 h 6689084"/>
              <a:gd name="connsiteX367" fmla="*/ 4921594 w 6689088"/>
              <a:gd name="connsiteY367" fmla="*/ 4689586 h 6689084"/>
              <a:gd name="connsiteX368" fmla="*/ 4921232 w 6689088"/>
              <a:gd name="connsiteY368" fmla="*/ 4689220 h 6689084"/>
              <a:gd name="connsiteX369" fmla="*/ 4921594 w 6689088"/>
              <a:gd name="connsiteY369" fmla="*/ 4688858 h 6689084"/>
              <a:gd name="connsiteX370" fmla="*/ 4768008 w 6689088"/>
              <a:gd name="connsiteY370" fmla="*/ 4688858 h 6689084"/>
              <a:gd name="connsiteX371" fmla="*/ 4768370 w 6689088"/>
              <a:gd name="connsiteY371" fmla="*/ 4689220 h 6689084"/>
              <a:gd name="connsiteX372" fmla="*/ 4768008 w 6689088"/>
              <a:gd name="connsiteY372" fmla="*/ 4689586 h 6689084"/>
              <a:gd name="connsiteX373" fmla="*/ 4767646 w 6689088"/>
              <a:gd name="connsiteY373" fmla="*/ 4689220 h 6689084"/>
              <a:gd name="connsiteX374" fmla="*/ 4768008 w 6689088"/>
              <a:gd name="connsiteY374" fmla="*/ 4688858 h 6689084"/>
              <a:gd name="connsiteX375" fmla="*/ 4614065 w 6689088"/>
              <a:gd name="connsiteY375" fmla="*/ 4688496 h 6689084"/>
              <a:gd name="connsiteX376" fmla="*/ 4614789 w 6689088"/>
              <a:gd name="connsiteY376" fmla="*/ 4689220 h 6689084"/>
              <a:gd name="connsiteX377" fmla="*/ 4614065 w 6689088"/>
              <a:gd name="connsiteY377" fmla="*/ 4689949 h 6689084"/>
              <a:gd name="connsiteX378" fmla="*/ 4613337 w 6689088"/>
              <a:gd name="connsiteY378" fmla="*/ 4689220 h 6689084"/>
              <a:gd name="connsiteX379" fmla="*/ 4614065 w 6689088"/>
              <a:gd name="connsiteY379" fmla="*/ 4688496 h 6689084"/>
              <a:gd name="connsiteX380" fmla="*/ 5536659 w 6689088"/>
              <a:gd name="connsiteY380" fmla="*/ 4687406 h 6689084"/>
              <a:gd name="connsiteX381" fmla="*/ 5538112 w 6689088"/>
              <a:gd name="connsiteY381" fmla="*/ 4688858 h 6689084"/>
              <a:gd name="connsiteX382" fmla="*/ 5536659 w 6689088"/>
              <a:gd name="connsiteY382" fmla="*/ 4690311 h 6689084"/>
              <a:gd name="connsiteX383" fmla="*/ 5535207 w 6689088"/>
              <a:gd name="connsiteY383" fmla="*/ 4688858 h 6689084"/>
              <a:gd name="connsiteX384" fmla="*/ 5536659 w 6689088"/>
              <a:gd name="connsiteY384" fmla="*/ 4687406 h 6689084"/>
              <a:gd name="connsiteX385" fmla="*/ 5690602 w 6689088"/>
              <a:gd name="connsiteY385" fmla="*/ 4687044 h 6689084"/>
              <a:gd name="connsiteX386" fmla="*/ 5692783 w 6689088"/>
              <a:gd name="connsiteY386" fmla="*/ 4689220 h 6689084"/>
              <a:gd name="connsiteX387" fmla="*/ 5690602 w 6689088"/>
              <a:gd name="connsiteY387" fmla="*/ 4691401 h 6689084"/>
              <a:gd name="connsiteX388" fmla="*/ 5688426 w 6689088"/>
              <a:gd name="connsiteY388" fmla="*/ 4689220 h 6689084"/>
              <a:gd name="connsiteX389" fmla="*/ 5690602 w 6689088"/>
              <a:gd name="connsiteY389" fmla="*/ 4687044 h 6689084"/>
              <a:gd name="connsiteX390" fmla="*/ 5844554 w 6689088"/>
              <a:gd name="connsiteY390" fmla="*/ 4685954 h 6689084"/>
              <a:gd name="connsiteX391" fmla="*/ 5847817 w 6689088"/>
              <a:gd name="connsiteY391" fmla="*/ 4689220 h 6689084"/>
              <a:gd name="connsiteX392" fmla="*/ 5844554 w 6689088"/>
              <a:gd name="connsiteY392" fmla="*/ 4692491 h 6689084"/>
              <a:gd name="connsiteX393" fmla="*/ 5841284 w 6689088"/>
              <a:gd name="connsiteY393" fmla="*/ 4689220 h 6689084"/>
              <a:gd name="connsiteX394" fmla="*/ 5844554 w 6689088"/>
              <a:gd name="connsiteY394" fmla="*/ 4685954 h 6689084"/>
              <a:gd name="connsiteX395" fmla="*/ 5998136 w 6689088"/>
              <a:gd name="connsiteY395" fmla="*/ 4684863 h 6689084"/>
              <a:gd name="connsiteX396" fmla="*/ 6002492 w 6689088"/>
              <a:gd name="connsiteY396" fmla="*/ 4689220 h 6689084"/>
              <a:gd name="connsiteX397" fmla="*/ 5998136 w 6689088"/>
              <a:gd name="connsiteY397" fmla="*/ 4693577 h 6689084"/>
              <a:gd name="connsiteX398" fmla="*/ 5993778 w 6689088"/>
              <a:gd name="connsiteY398" fmla="*/ 4689220 h 6689084"/>
              <a:gd name="connsiteX399" fmla="*/ 5998136 w 6689088"/>
              <a:gd name="connsiteY399" fmla="*/ 4684863 h 6689084"/>
              <a:gd name="connsiteX400" fmla="*/ 6152086 w 6689088"/>
              <a:gd name="connsiteY400" fmla="*/ 4683411 h 6689084"/>
              <a:gd name="connsiteX401" fmla="*/ 6157896 w 6689088"/>
              <a:gd name="connsiteY401" fmla="*/ 4689220 h 6689084"/>
              <a:gd name="connsiteX402" fmla="*/ 6152086 w 6689088"/>
              <a:gd name="connsiteY402" fmla="*/ 4695030 h 6689084"/>
              <a:gd name="connsiteX403" fmla="*/ 6146277 w 6689088"/>
              <a:gd name="connsiteY403" fmla="*/ 4689220 h 6689084"/>
              <a:gd name="connsiteX404" fmla="*/ 6152086 w 6689088"/>
              <a:gd name="connsiteY404" fmla="*/ 4683411 h 6689084"/>
              <a:gd name="connsiteX405" fmla="*/ 6305668 w 6689088"/>
              <a:gd name="connsiteY405" fmla="*/ 4681959 h 6689084"/>
              <a:gd name="connsiteX406" fmla="*/ 6312930 w 6689088"/>
              <a:gd name="connsiteY406" fmla="*/ 4689220 h 6689084"/>
              <a:gd name="connsiteX407" fmla="*/ 6305668 w 6689088"/>
              <a:gd name="connsiteY407" fmla="*/ 4696482 h 6689084"/>
              <a:gd name="connsiteX408" fmla="*/ 6298406 w 6689088"/>
              <a:gd name="connsiteY408" fmla="*/ 4689220 h 6689084"/>
              <a:gd name="connsiteX409" fmla="*/ 6305668 w 6689088"/>
              <a:gd name="connsiteY409" fmla="*/ 4681959 h 6689084"/>
              <a:gd name="connsiteX410" fmla="*/ 6459616 w 6689088"/>
              <a:gd name="connsiteY410" fmla="*/ 4680144 h 6689084"/>
              <a:gd name="connsiteX411" fmla="*/ 6468696 w 6689088"/>
              <a:gd name="connsiteY411" fmla="*/ 4689220 h 6689084"/>
              <a:gd name="connsiteX412" fmla="*/ 6459616 w 6689088"/>
              <a:gd name="connsiteY412" fmla="*/ 4698300 h 6689084"/>
              <a:gd name="connsiteX413" fmla="*/ 6450540 w 6689088"/>
              <a:gd name="connsiteY413" fmla="*/ 4689220 h 6689084"/>
              <a:gd name="connsiteX414" fmla="*/ 6459616 w 6689088"/>
              <a:gd name="connsiteY414" fmla="*/ 4680144 h 6689084"/>
              <a:gd name="connsiteX415" fmla="*/ 6613200 w 6689088"/>
              <a:gd name="connsiteY415" fmla="*/ 4679054 h 6689084"/>
              <a:gd name="connsiteX416" fmla="*/ 6623367 w 6689088"/>
              <a:gd name="connsiteY416" fmla="*/ 4689220 h 6689084"/>
              <a:gd name="connsiteX417" fmla="*/ 6613200 w 6689088"/>
              <a:gd name="connsiteY417" fmla="*/ 4699387 h 6689084"/>
              <a:gd name="connsiteX418" fmla="*/ 6603034 w 6689088"/>
              <a:gd name="connsiteY418" fmla="*/ 4689220 h 6689084"/>
              <a:gd name="connsiteX419" fmla="*/ 6613200 w 6689088"/>
              <a:gd name="connsiteY419" fmla="*/ 4679054 h 6689084"/>
              <a:gd name="connsiteX420" fmla="*/ 5229126 w 6689088"/>
              <a:gd name="connsiteY420" fmla="*/ 4535273 h 6689084"/>
              <a:gd name="connsiteX421" fmla="*/ 5229488 w 6689088"/>
              <a:gd name="connsiteY421" fmla="*/ 4535635 h 6689084"/>
              <a:gd name="connsiteX422" fmla="*/ 5229126 w 6689088"/>
              <a:gd name="connsiteY422" fmla="*/ 4535997 h 6689084"/>
              <a:gd name="connsiteX423" fmla="*/ 5228764 w 6689088"/>
              <a:gd name="connsiteY423" fmla="*/ 4535635 h 6689084"/>
              <a:gd name="connsiteX424" fmla="*/ 5229126 w 6689088"/>
              <a:gd name="connsiteY424" fmla="*/ 4535273 h 6689084"/>
              <a:gd name="connsiteX425" fmla="*/ 4768008 w 6689088"/>
              <a:gd name="connsiteY425" fmla="*/ 4535273 h 6689084"/>
              <a:gd name="connsiteX426" fmla="*/ 4768370 w 6689088"/>
              <a:gd name="connsiteY426" fmla="*/ 4535635 h 6689084"/>
              <a:gd name="connsiteX427" fmla="*/ 4768008 w 6689088"/>
              <a:gd name="connsiteY427" fmla="*/ 4535997 h 6689084"/>
              <a:gd name="connsiteX428" fmla="*/ 4767646 w 6689088"/>
              <a:gd name="connsiteY428" fmla="*/ 4535635 h 6689084"/>
              <a:gd name="connsiteX429" fmla="*/ 4768008 w 6689088"/>
              <a:gd name="connsiteY429" fmla="*/ 4535273 h 6689084"/>
              <a:gd name="connsiteX430" fmla="*/ 4614061 w 6689088"/>
              <a:gd name="connsiteY430" fmla="*/ 4535273 h 6689084"/>
              <a:gd name="connsiteX431" fmla="*/ 4614424 w 6689088"/>
              <a:gd name="connsiteY431" fmla="*/ 4535635 h 6689084"/>
              <a:gd name="connsiteX432" fmla="*/ 4614061 w 6689088"/>
              <a:gd name="connsiteY432" fmla="*/ 4535997 h 6689084"/>
              <a:gd name="connsiteX433" fmla="*/ 4613699 w 6689088"/>
              <a:gd name="connsiteY433" fmla="*/ 4535635 h 6689084"/>
              <a:gd name="connsiteX434" fmla="*/ 4614061 w 6689088"/>
              <a:gd name="connsiteY434" fmla="*/ 4535273 h 6689084"/>
              <a:gd name="connsiteX435" fmla="*/ 4460480 w 6689088"/>
              <a:gd name="connsiteY435" fmla="*/ 4534911 h 6689084"/>
              <a:gd name="connsiteX436" fmla="*/ 4461204 w 6689088"/>
              <a:gd name="connsiteY436" fmla="*/ 4535635 h 6689084"/>
              <a:gd name="connsiteX437" fmla="*/ 4460480 w 6689088"/>
              <a:gd name="connsiteY437" fmla="*/ 4536363 h 6689084"/>
              <a:gd name="connsiteX438" fmla="*/ 4459752 w 6689088"/>
              <a:gd name="connsiteY438" fmla="*/ 4535635 h 6689084"/>
              <a:gd name="connsiteX439" fmla="*/ 4460480 w 6689088"/>
              <a:gd name="connsiteY439" fmla="*/ 4534911 h 6689084"/>
              <a:gd name="connsiteX440" fmla="*/ 5383074 w 6689088"/>
              <a:gd name="connsiteY440" fmla="*/ 4533821 h 6689084"/>
              <a:gd name="connsiteX441" fmla="*/ 5384526 w 6689088"/>
              <a:gd name="connsiteY441" fmla="*/ 4535273 h 6689084"/>
              <a:gd name="connsiteX442" fmla="*/ 5383074 w 6689088"/>
              <a:gd name="connsiteY442" fmla="*/ 4536725 h 6689084"/>
              <a:gd name="connsiteX443" fmla="*/ 5381622 w 6689088"/>
              <a:gd name="connsiteY443" fmla="*/ 4535273 h 6689084"/>
              <a:gd name="connsiteX444" fmla="*/ 5383074 w 6689088"/>
              <a:gd name="connsiteY444" fmla="*/ 4533821 h 6689084"/>
              <a:gd name="connsiteX445" fmla="*/ 5536659 w 6689088"/>
              <a:gd name="connsiteY445" fmla="*/ 4533096 h 6689084"/>
              <a:gd name="connsiteX446" fmla="*/ 5538840 w 6689088"/>
              <a:gd name="connsiteY446" fmla="*/ 4535277 h 6689084"/>
              <a:gd name="connsiteX447" fmla="*/ 5536659 w 6689088"/>
              <a:gd name="connsiteY447" fmla="*/ 4537453 h 6689084"/>
              <a:gd name="connsiteX448" fmla="*/ 5534482 w 6689088"/>
              <a:gd name="connsiteY448" fmla="*/ 4535277 h 6689084"/>
              <a:gd name="connsiteX449" fmla="*/ 5536659 w 6689088"/>
              <a:gd name="connsiteY449" fmla="*/ 4533096 h 6689084"/>
              <a:gd name="connsiteX450" fmla="*/ 5690606 w 6689088"/>
              <a:gd name="connsiteY450" fmla="*/ 4532368 h 6689084"/>
              <a:gd name="connsiteX451" fmla="*/ 5693870 w 6689088"/>
              <a:gd name="connsiteY451" fmla="*/ 4535635 h 6689084"/>
              <a:gd name="connsiteX452" fmla="*/ 5690606 w 6689088"/>
              <a:gd name="connsiteY452" fmla="*/ 4538906 h 6689084"/>
              <a:gd name="connsiteX453" fmla="*/ 5687336 w 6689088"/>
              <a:gd name="connsiteY453" fmla="*/ 4535635 h 6689084"/>
              <a:gd name="connsiteX454" fmla="*/ 5690606 w 6689088"/>
              <a:gd name="connsiteY454" fmla="*/ 4532368 h 6689084"/>
              <a:gd name="connsiteX455" fmla="*/ 5844554 w 6689088"/>
              <a:gd name="connsiteY455" fmla="*/ 4530916 h 6689084"/>
              <a:gd name="connsiteX456" fmla="*/ 5848911 w 6689088"/>
              <a:gd name="connsiteY456" fmla="*/ 4535273 h 6689084"/>
              <a:gd name="connsiteX457" fmla="*/ 5844554 w 6689088"/>
              <a:gd name="connsiteY457" fmla="*/ 4539630 h 6689084"/>
              <a:gd name="connsiteX458" fmla="*/ 5840197 w 6689088"/>
              <a:gd name="connsiteY458" fmla="*/ 4535273 h 6689084"/>
              <a:gd name="connsiteX459" fmla="*/ 5844554 w 6689088"/>
              <a:gd name="connsiteY459" fmla="*/ 4530916 h 6689084"/>
              <a:gd name="connsiteX460" fmla="*/ 5998139 w 6689088"/>
              <a:gd name="connsiteY460" fmla="*/ 4529830 h 6689084"/>
              <a:gd name="connsiteX461" fmla="*/ 6003948 w 6689088"/>
              <a:gd name="connsiteY461" fmla="*/ 4535639 h 6689084"/>
              <a:gd name="connsiteX462" fmla="*/ 5998139 w 6689088"/>
              <a:gd name="connsiteY462" fmla="*/ 4541448 h 6689084"/>
              <a:gd name="connsiteX463" fmla="*/ 5992330 w 6689088"/>
              <a:gd name="connsiteY463" fmla="*/ 4535639 h 6689084"/>
              <a:gd name="connsiteX464" fmla="*/ 5998139 w 6689088"/>
              <a:gd name="connsiteY464" fmla="*/ 4529830 h 6689084"/>
              <a:gd name="connsiteX465" fmla="*/ 6152086 w 6689088"/>
              <a:gd name="connsiteY465" fmla="*/ 4528011 h 6689084"/>
              <a:gd name="connsiteX466" fmla="*/ 6159348 w 6689088"/>
              <a:gd name="connsiteY466" fmla="*/ 4535273 h 6689084"/>
              <a:gd name="connsiteX467" fmla="*/ 6152086 w 6689088"/>
              <a:gd name="connsiteY467" fmla="*/ 4542535 h 6689084"/>
              <a:gd name="connsiteX468" fmla="*/ 6144825 w 6689088"/>
              <a:gd name="connsiteY468" fmla="*/ 4535273 h 6689084"/>
              <a:gd name="connsiteX469" fmla="*/ 6152086 w 6689088"/>
              <a:gd name="connsiteY469" fmla="*/ 4528011 h 6689084"/>
              <a:gd name="connsiteX470" fmla="*/ 6305668 w 6689088"/>
              <a:gd name="connsiteY470" fmla="*/ 4526197 h 6689084"/>
              <a:gd name="connsiteX471" fmla="*/ 6314748 w 6689088"/>
              <a:gd name="connsiteY471" fmla="*/ 4535273 h 6689084"/>
              <a:gd name="connsiteX472" fmla="*/ 6305668 w 6689088"/>
              <a:gd name="connsiteY472" fmla="*/ 4544353 h 6689084"/>
              <a:gd name="connsiteX473" fmla="*/ 6296592 w 6689088"/>
              <a:gd name="connsiteY473" fmla="*/ 4535273 h 6689084"/>
              <a:gd name="connsiteX474" fmla="*/ 6305668 w 6689088"/>
              <a:gd name="connsiteY474" fmla="*/ 4526197 h 6689084"/>
              <a:gd name="connsiteX475" fmla="*/ 6459616 w 6689088"/>
              <a:gd name="connsiteY475" fmla="*/ 4525469 h 6689084"/>
              <a:gd name="connsiteX476" fmla="*/ 6469782 w 6689088"/>
              <a:gd name="connsiteY476" fmla="*/ 4535635 h 6689084"/>
              <a:gd name="connsiteX477" fmla="*/ 6459616 w 6689088"/>
              <a:gd name="connsiteY477" fmla="*/ 4545802 h 6689084"/>
              <a:gd name="connsiteX478" fmla="*/ 6449449 w 6689088"/>
              <a:gd name="connsiteY478" fmla="*/ 4535635 h 6689084"/>
              <a:gd name="connsiteX479" fmla="*/ 6459616 w 6689088"/>
              <a:gd name="connsiteY479" fmla="*/ 4525469 h 6689084"/>
              <a:gd name="connsiteX480" fmla="*/ 6613197 w 6689088"/>
              <a:gd name="connsiteY480" fmla="*/ 4523292 h 6689084"/>
              <a:gd name="connsiteX481" fmla="*/ 6625182 w 6689088"/>
              <a:gd name="connsiteY481" fmla="*/ 4535273 h 6689084"/>
              <a:gd name="connsiteX482" fmla="*/ 6613197 w 6689088"/>
              <a:gd name="connsiteY482" fmla="*/ 4547254 h 6689084"/>
              <a:gd name="connsiteX483" fmla="*/ 6601216 w 6689088"/>
              <a:gd name="connsiteY483" fmla="*/ 4535273 h 6689084"/>
              <a:gd name="connsiteX484" fmla="*/ 6613197 w 6689088"/>
              <a:gd name="connsiteY484" fmla="*/ 4523292 h 6689084"/>
              <a:gd name="connsiteX485" fmla="*/ 5075541 w 6689088"/>
              <a:gd name="connsiteY485" fmla="*/ 4381326 h 6689084"/>
              <a:gd name="connsiteX486" fmla="*/ 5075904 w 6689088"/>
              <a:gd name="connsiteY486" fmla="*/ 4381688 h 6689084"/>
              <a:gd name="connsiteX487" fmla="*/ 5075541 w 6689088"/>
              <a:gd name="connsiteY487" fmla="*/ 4382054 h 6689084"/>
              <a:gd name="connsiteX488" fmla="*/ 5075179 w 6689088"/>
              <a:gd name="connsiteY488" fmla="*/ 4381688 h 6689084"/>
              <a:gd name="connsiteX489" fmla="*/ 5075541 w 6689088"/>
              <a:gd name="connsiteY489" fmla="*/ 4381326 h 6689084"/>
              <a:gd name="connsiteX490" fmla="*/ 4614061 w 6689088"/>
              <a:gd name="connsiteY490" fmla="*/ 4381326 h 6689084"/>
              <a:gd name="connsiteX491" fmla="*/ 4614424 w 6689088"/>
              <a:gd name="connsiteY491" fmla="*/ 4381688 h 6689084"/>
              <a:gd name="connsiteX492" fmla="*/ 4614061 w 6689088"/>
              <a:gd name="connsiteY492" fmla="*/ 4382054 h 6689084"/>
              <a:gd name="connsiteX493" fmla="*/ 4613699 w 6689088"/>
              <a:gd name="connsiteY493" fmla="*/ 4381688 h 6689084"/>
              <a:gd name="connsiteX494" fmla="*/ 4614061 w 6689088"/>
              <a:gd name="connsiteY494" fmla="*/ 4381326 h 6689084"/>
              <a:gd name="connsiteX495" fmla="*/ 4460480 w 6689088"/>
              <a:gd name="connsiteY495" fmla="*/ 4381326 h 6689084"/>
              <a:gd name="connsiteX496" fmla="*/ 4460842 w 6689088"/>
              <a:gd name="connsiteY496" fmla="*/ 4381688 h 6689084"/>
              <a:gd name="connsiteX497" fmla="*/ 4460480 w 6689088"/>
              <a:gd name="connsiteY497" fmla="*/ 4382054 h 6689084"/>
              <a:gd name="connsiteX498" fmla="*/ 4460118 w 6689088"/>
              <a:gd name="connsiteY498" fmla="*/ 4381688 h 6689084"/>
              <a:gd name="connsiteX499" fmla="*/ 4460480 w 6689088"/>
              <a:gd name="connsiteY499" fmla="*/ 4381326 h 6689084"/>
              <a:gd name="connsiteX500" fmla="*/ 4306528 w 6689088"/>
              <a:gd name="connsiteY500" fmla="*/ 4380964 h 6689084"/>
              <a:gd name="connsiteX501" fmla="*/ 4307256 w 6689088"/>
              <a:gd name="connsiteY501" fmla="*/ 4381688 h 6689084"/>
              <a:gd name="connsiteX502" fmla="*/ 4306528 w 6689088"/>
              <a:gd name="connsiteY502" fmla="*/ 4382416 h 6689084"/>
              <a:gd name="connsiteX503" fmla="*/ 4305804 w 6689088"/>
              <a:gd name="connsiteY503" fmla="*/ 4381688 h 6689084"/>
              <a:gd name="connsiteX504" fmla="*/ 4306528 w 6689088"/>
              <a:gd name="connsiteY504" fmla="*/ 4380964 h 6689084"/>
              <a:gd name="connsiteX505" fmla="*/ 5229126 w 6689088"/>
              <a:gd name="connsiteY505" fmla="*/ 4379873 h 6689084"/>
              <a:gd name="connsiteX506" fmla="*/ 5230579 w 6689088"/>
              <a:gd name="connsiteY506" fmla="*/ 4381326 h 6689084"/>
              <a:gd name="connsiteX507" fmla="*/ 5229126 w 6689088"/>
              <a:gd name="connsiteY507" fmla="*/ 4382778 h 6689084"/>
              <a:gd name="connsiteX508" fmla="*/ 5227674 w 6689088"/>
              <a:gd name="connsiteY508" fmla="*/ 4381326 h 6689084"/>
              <a:gd name="connsiteX509" fmla="*/ 5229126 w 6689088"/>
              <a:gd name="connsiteY509" fmla="*/ 4379873 h 6689084"/>
              <a:gd name="connsiteX510" fmla="*/ 5383074 w 6689088"/>
              <a:gd name="connsiteY510" fmla="*/ 4379511 h 6689084"/>
              <a:gd name="connsiteX511" fmla="*/ 5385250 w 6689088"/>
              <a:gd name="connsiteY511" fmla="*/ 4381688 h 6689084"/>
              <a:gd name="connsiteX512" fmla="*/ 5383074 w 6689088"/>
              <a:gd name="connsiteY512" fmla="*/ 4383868 h 6689084"/>
              <a:gd name="connsiteX513" fmla="*/ 5380894 w 6689088"/>
              <a:gd name="connsiteY513" fmla="*/ 4381688 h 6689084"/>
              <a:gd name="connsiteX514" fmla="*/ 5383074 w 6689088"/>
              <a:gd name="connsiteY514" fmla="*/ 4379511 h 6689084"/>
              <a:gd name="connsiteX515" fmla="*/ 5536659 w 6689088"/>
              <a:gd name="connsiteY515" fmla="*/ 4378421 h 6689084"/>
              <a:gd name="connsiteX516" fmla="*/ 5539922 w 6689088"/>
              <a:gd name="connsiteY516" fmla="*/ 4381688 h 6689084"/>
              <a:gd name="connsiteX517" fmla="*/ 5536659 w 6689088"/>
              <a:gd name="connsiteY517" fmla="*/ 4384958 h 6689084"/>
              <a:gd name="connsiteX518" fmla="*/ 5533388 w 6689088"/>
              <a:gd name="connsiteY518" fmla="*/ 4381688 h 6689084"/>
              <a:gd name="connsiteX519" fmla="*/ 5536659 w 6689088"/>
              <a:gd name="connsiteY519" fmla="*/ 4378421 h 6689084"/>
              <a:gd name="connsiteX520" fmla="*/ 5690606 w 6689088"/>
              <a:gd name="connsiteY520" fmla="*/ 4377331 h 6689084"/>
              <a:gd name="connsiteX521" fmla="*/ 5694964 w 6689088"/>
              <a:gd name="connsiteY521" fmla="*/ 4381688 h 6689084"/>
              <a:gd name="connsiteX522" fmla="*/ 5690606 w 6689088"/>
              <a:gd name="connsiteY522" fmla="*/ 4386045 h 6689084"/>
              <a:gd name="connsiteX523" fmla="*/ 5686250 w 6689088"/>
              <a:gd name="connsiteY523" fmla="*/ 4381688 h 6689084"/>
              <a:gd name="connsiteX524" fmla="*/ 5690606 w 6689088"/>
              <a:gd name="connsiteY524" fmla="*/ 4377331 h 6689084"/>
              <a:gd name="connsiteX525" fmla="*/ 5844550 w 6689088"/>
              <a:gd name="connsiteY525" fmla="*/ 4375878 h 6689084"/>
              <a:gd name="connsiteX526" fmla="*/ 5850360 w 6689088"/>
              <a:gd name="connsiteY526" fmla="*/ 4381688 h 6689084"/>
              <a:gd name="connsiteX527" fmla="*/ 5844550 w 6689088"/>
              <a:gd name="connsiteY527" fmla="*/ 4387497 h 6689084"/>
              <a:gd name="connsiteX528" fmla="*/ 5838741 w 6689088"/>
              <a:gd name="connsiteY528" fmla="*/ 4381688 h 6689084"/>
              <a:gd name="connsiteX529" fmla="*/ 5844550 w 6689088"/>
              <a:gd name="connsiteY529" fmla="*/ 4375878 h 6689084"/>
              <a:gd name="connsiteX530" fmla="*/ 5998136 w 6689088"/>
              <a:gd name="connsiteY530" fmla="*/ 4374430 h 6689084"/>
              <a:gd name="connsiteX531" fmla="*/ 6005397 w 6689088"/>
              <a:gd name="connsiteY531" fmla="*/ 4381692 h 6689084"/>
              <a:gd name="connsiteX532" fmla="*/ 5998136 w 6689088"/>
              <a:gd name="connsiteY532" fmla="*/ 4388953 h 6689084"/>
              <a:gd name="connsiteX533" fmla="*/ 5990874 w 6689088"/>
              <a:gd name="connsiteY533" fmla="*/ 4381692 h 6689084"/>
              <a:gd name="connsiteX534" fmla="*/ 5998136 w 6689088"/>
              <a:gd name="connsiteY534" fmla="*/ 4374430 h 6689084"/>
              <a:gd name="connsiteX535" fmla="*/ 6152083 w 6689088"/>
              <a:gd name="connsiteY535" fmla="*/ 4372612 h 6689084"/>
              <a:gd name="connsiteX536" fmla="*/ 6161162 w 6689088"/>
              <a:gd name="connsiteY536" fmla="*/ 4381688 h 6689084"/>
              <a:gd name="connsiteX537" fmla="*/ 6152083 w 6689088"/>
              <a:gd name="connsiteY537" fmla="*/ 4390768 h 6689084"/>
              <a:gd name="connsiteX538" fmla="*/ 6143006 w 6689088"/>
              <a:gd name="connsiteY538" fmla="*/ 4381688 h 6689084"/>
              <a:gd name="connsiteX539" fmla="*/ 6152083 w 6689088"/>
              <a:gd name="connsiteY539" fmla="*/ 4372612 h 6689084"/>
              <a:gd name="connsiteX540" fmla="*/ 6305668 w 6689088"/>
              <a:gd name="connsiteY540" fmla="*/ 4371525 h 6689084"/>
              <a:gd name="connsiteX541" fmla="*/ 6315834 w 6689088"/>
              <a:gd name="connsiteY541" fmla="*/ 4381692 h 6689084"/>
              <a:gd name="connsiteX542" fmla="*/ 6305668 w 6689088"/>
              <a:gd name="connsiteY542" fmla="*/ 4391858 h 6689084"/>
              <a:gd name="connsiteX543" fmla="*/ 6295502 w 6689088"/>
              <a:gd name="connsiteY543" fmla="*/ 4381692 h 6689084"/>
              <a:gd name="connsiteX544" fmla="*/ 6305668 w 6689088"/>
              <a:gd name="connsiteY544" fmla="*/ 4371525 h 6689084"/>
              <a:gd name="connsiteX545" fmla="*/ 6459616 w 6689088"/>
              <a:gd name="connsiteY545" fmla="*/ 4369707 h 6689084"/>
              <a:gd name="connsiteX546" fmla="*/ 6471600 w 6689088"/>
              <a:gd name="connsiteY546" fmla="*/ 4381688 h 6689084"/>
              <a:gd name="connsiteX547" fmla="*/ 6459616 w 6689088"/>
              <a:gd name="connsiteY547" fmla="*/ 4393672 h 6689084"/>
              <a:gd name="connsiteX548" fmla="*/ 6447634 w 6689088"/>
              <a:gd name="connsiteY548" fmla="*/ 4381688 h 6689084"/>
              <a:gd name="connsiteX549" fmla="*/ 6459616 w 6689088"/>
              <a:gd name="connsiteY549" fmla="*/ 4369707 h 6689084"/>
              <a:gd name="connsiteX550" fmla="*/ 6613200 w 6689088"/>
              <a:gd name="connsiteY550" fmla="*/ 4367530 h 6689084"/>
              <a:gd name="connsiteX551" fmla="*/ 6626996 w 6689088"/>
              <a:gd name="connsiteY551" fmla="*/ 4381326 h 6689084"/>
              <a:gd name="connsiteX552" fmla="*/ 6613200 w 6689088"/>
              <a:gd name="connsiteY552" fmla="*/ 4395125 h 6689084"/>
              <a:gd name="connsiteX553" fmla="*/ 6599402 w 6689088"/>
              <a:gd name="connsiteY553" fmla="*/ 4381326 h 6689084"/>
              <a:gd name="connsiteX554" fmla="*/ 6613200 w 6689088"/>
              <a:gd name="connsiteY554" fmla="*/ 4367530 h 6689084"/>
              <a:gd name="connsiteX555" fmla="*/ 4921594 w 6689088"/>
              <a:gd name="connsiteY555" fmla="*/ 4227744 h 6689084"/>
              <a:gd name="connsiteX556" fmla="*/ 4921956 w 6689088"/>
              <a:gd name="connsiteY556" fmla="*/ 4228106 h 6689084"/>
              <a:gd name="connsiteX557" fmla="*/ 4921594 w 6689088"/>
              <a:gd name="connsiteY557" fmla="*/ 4228468 h 6689084"/>
              <a:gd name="connsiteX558" fmla="*/ 4921232 w 6689088"/>
              <a:gd name="connsiteY558" fmla="*/ 4228106 h 6689084"/>
              <a:gd name="connsiteX559" fmla="*/ 4921594 w 6689088"/>
              <a:gd name="connsiteY559" fmla="*/ 4227744 h 6689084"/>
              <a:gd name="connsiteX560" fmla="*/ 4460480 w 6689088"/>
              <a:gd name="connsiteY560" fmla="*/ 4227744 h 6689084"/>
              <a:gd name="connsiteX561" fmla="*/ 4460842 w 6689088"/>
              <a:gd name="connsiteY561" fmla="*/ 4228106 h 6689084"/>
              <a:gd name="connsiteX562" fmla="*/ 4460480 w 6689088"/>
              <a:gd name="connsiteY562" fmla="*/ 4228468 h 6689084"/>
              <a:gd name="connsiteX563" fmla="*/ 4460118 w 6689088"/>
              <a:gd name="connsiteY563" fmla="*/ 4228106 h 6689084"/>
              <a:gd name="connsiteX564" fmla="*/ 4460480 w 6689088"/>
              <a:gd name="connsiteY564" fmla="*/ 4227744 h 6689084"/>
              <a:gd name="connsiteX565" fmla="*/ 4306532 w 6689088"/>
              <a:gd name="connsiteY565" fmla="*/ 4227744 h 6689084"/>
              <a:gd name="connsiteX566" fmla="*/ 4306894 w 6689088"/>
              <a:gd name="connsiteY566" fmla="*/ 4228106 h 6689084"/>
              <a:gd name="connsiteX567" fmla="*/ 4306532 w 6689088"/>
              <a:gd name="connsiteY567" fmla="*/ 4228468 h 6689084"/>
              <a:gd name="connsiteX568" fmla="*/ 4306170 w 6689088"/>
              <a:gd name="connsiteY568" fmla="*/ 4228106 h 6689084"/>
              <a:gd name="connsiteX569" fmla="*/ 4306532 w 6689088"/>
              <a:gd name="connsiteY569" fmla="*/ 4227744 h 6689084"/>
              <a:gd name="connsiteX570" fmla="*/ 4152947 w 6689088"/>
              <a:gd name="connsiteY570" fmla="*/ 4227378 h 6689084"/>
              <a:gd name="connsiteX571" fmla="*/ 4153672 w 6689088"/>
              <a:gd name="connsiteY571" fmla="*/ 4228103 h 6689084"/>
              <a:gd name="connsiteX572" fmla="*/ 4152947 w 6689088"/>
              <a:gd name="connsiteY572" fmla="*/ 4228831 h 6689084"/>
              <a:gd name="connsiteX573" fmla="*/ 4152219 w 6689088"/>
              <a:gd name="connsiteY573" fmla="*/ 4228103 h 6689084"/>
              <a:gd name="connsiteX574" fmla="*/ 4152947 w 6689088"/>
              <a:gd name="connsiteY574" fmla="*/ 4227378 h 6689084"/>
              <a:gd name="connsiteX575" fmla="*/ 5075541 w 6689088"/>
              <a:gd name="connsiteY575" fmla="*/ 4226292 h 6689084"/>
              <a:gd name="connsiteX576" fmla="*/ 5076994 w 6689088"/>
              <a:gd name="connsiteY576" fmla="*/ 4227744 h 6689084"/>
              <a:gd name="connsiteX577" fmla="*/ 5075541 w 6689088"/>
              <a:gd name="connsiteY577" fmla="*/ 4229197 h 6689084"/>
              <a:gd name="connsiteX578" fmla="*/ 5074089 w 6689088"/>
              <a:gd name="connsiteY578" fmla="*/ 4227744 h 6689084"/>
              <a:gd name="connsiteX579" fmla="*/ 5075541 w 6689088"/>
              <a:gd name="connsiteY579" fmla="*/ 4226292 h 6689084"/>
              <a:gd name="connsiteX580" fmla="*/ 5229122 w 6689088"/>
              <a:gd name="connsiteY580" fmla="*/ 4225564 h 6689084"/>
              <a:gd name="connsiteX581" fmla="*/ 5231303 w 6689088"/>
              <a:gd name="connsiteY581" fmla="*/ 4227744 h 6689084"/>
              <a:gd name="connsiteX582" fmla="*/ 5229122 w 6689088"/>
              <a:gd name="connsiteY582" fmla="*/ 4229921 h 6689084"/>
              <a:gd name="connsiteX583" fmla="*/ 5226946 w 6689088"/>
              <a:gd name="connsiteY583" fmla="*/ 4227744 h 6689084"/>
              <a:gd name="connsiteX584" fmla="*/ 5229122 w 6689088"/>
              <a:gd name="connsiteY584" fmla="*/ 4225564 h 6689084"/>
              <a:gd name="connsiteX585" fmla="*/ 5383078 w 6689088"/>
              <a:gd name="connsiteY585" fmla="*/ 4224840 h 6689084"/>
              <a:gd name="connsiteX586" fmla="*/ 5386344 w 6689088"/>
              <a:gd name="connsiteY586" fmla="*/ 4228106 h 6689084"/>
              <a:gd name="connsiteX587" fmla="*/ 5383078 w 6689088"/>
              <a:gd name="connsiteY587" fmla="*/ 4231377 h 6689084"/>
              <a:gd name="connsiteX588" fmla="*/ 5379807 w 6689088"/>
              <a:gd name="connsiteY588" fmla="*/ 4228106 h 6689084"/>
              <a:gd name="connsiteX589" fmla="*/ 5383078 w 6689088"/>
              <a:gd name="connsiteY589" fmla="*/ 4224840 h 6689084"/>
              <a:gd name="connsiteX590" fmla="*/ 5536659 w 6689088"/>
              <a:gd name="connsiteY590" fmla="*/ 4223383 h 6689084"/>
              <a:gd name="connsiteX591" fmla="*/ 5541016 w 6689088"/>
              <a:gd name="connsiteY591" fmla="*/ 4227740 h 6689084"/>
              <a:gd name="connsiteX592" fmla="*/ 5536659 w 6689088"/>
              <a:gd name="connsiteY592" fmla="*/ 4232097 h 6689084"/>
              <a:gd name="connsiteX593" fmla="*/ 5532302 w 6689088"/>
              <a:gd name="connsiteY593" fmla="*/ 4227740 h 6689084"/>
              <a:gd name="connsiteX594" fmla="*/ 5536659 w 6689088"/>
              <a:gd name="connsiteY594" fmla="*/ 4223383 h 6689084"/>
              <a:gd name="connsiteX595" fmla="*/ 5690606 w 6689088"/>
              <a:gd name="connsiteY595" fmla="*/ 4222297 h 6689084"/>
              <a:gd name="connsiteX596" fmla="*/ 5696416 w 6689088"/>
              <a:gd name="connsiteY596" fmla="*/ 4228106 h 6689084"/>
              <a:gd name="connsiteX597" fmla="*/ 5690606 w 6689088"/>
              <a:gd name="connsiteY597" fmla="*/ 4233916 h 6689084"/>
              <a:gd name="connsiteX598" fmla="*/ 5684797 w 6689088"/>
              <a:gd name="connsiteY598" fmla="*/ 4228106 h 6689084"/>
              <a:gd name="connsiteX599" fmla="*/ 5690606 w 6689088"/>
              <a:gd name="connsiteY599" fmla="*/ 4222297 h 6689084"/>
              <a:gd name="connsiteX600" fmla="*/ 5844554 w 6689088"/>
              <a:gd name="connsiteY600" fmla="*/ 4220479 h 6689084"/>
              <a:gd name="connsiteX601" fmla="*/ 5851816 w 6689088"/>
              <a:gd name="connsiteY601" fmla="*/ 4227740 h 6689084"/>
              <a:gd name="connsiteX602" fmla="*/ 5844554 w 6689088"/>
              <a:gd name="connsiteY602" fmla="*/ 4235002 h 6689084"/>
              <a:gd name="connsiteX603" fmla="*/ 5837292 w 6689088"/>
              <a:gd name="connsiteY603" fmla="*/ 4227740 h 6689084"/>
              <a:gd name="connsiteX604" fmla="*/ 5844554 w 6689088"/>
              <a:gd name="connsiteY604" fmla="*/ 4220479 h 6689084"/>
              <a:gd name="connsiteX605" fmla="*/ 5998136 w 6689088"/>
              <a:gd name="connsiteY605" fmla="*/ 4218664 h 6689084"/>
              <a:gd name="connsiteX606" fmla="*/ 6007216 w 6689088"/>
              <a:gd name="connsiteY606" fmla="*/ 4227740 h 6689084"/>
              <a:gd name="connsiteX607" fmla="*/ 5998136 w 6689088"/>
              <a:gd name="connsiteY607" fmla="*/ 4236820 h 6689084"/>
              <a:gd name="connsiteX608" fmla="*/ 5989059 w 6689088"/>
              <a:gd name="connsiteY608" fmla="*/ 4227740 h 6689084"/>
              <a:gd name="connsiteX609" fmla="*/ 5998136 w 6689088"/>
              <a:gd name="connsiteY609" fmla="*/ 4218664 h 6689084"/>
              <a:gd name="connsiteX610" fmla="*/ 6152086 w 6689088"/>
              <a:gd name="connsiteY610" fmla="*/ 4217940 h 6689084"/>
              <a:gd name="connsiteX611" fmla="*/ 6162253 w 6689088"/>
              <a:gd name="connsiteY611" fmla="*/ 4228106 h 6689084"/>
              <a:gd name="connsiteX612" fmla="*/ 6152086 w 6689088"/>
              <a:gd name="connsiteY612" fmla="*/ 4238273 h 6689084"/>
              <a:gd name="connsiteX613" fmla="*/ 6141920 w 6689088"/>
              <a:gd name="connsiteY613" fmla="*/ 4228106 h 6689084"/>
              <a:gd name="connsiteX614" fmla="*/ 6152086 w 6689088"/>
              <a:gd name="connsiteY614" fmla="*/ 4217940 h 6689084"/>
              <a:gd name="connsiteX615" fmla="*/ 6305668 w 6689088"/>
              <a:gd name="connsiteY615" fmla="*/ 4215760 h 6689084"/>
              <a:gd name="connsiteX616" fmla="*/ 6317649 w 6689088"/>
              <a:gd name="connsiteY616" fmla="*/ 4227740 h 6689084"/>
              <a:gd name="connsiteX617" fmla="*/ 6305668 w 6689088"/>
              <a:gd name="connsiteY617" fmla="*/ 4239721 h 6689084"/>
              <a:gd name="connsiteX618" fmla="*/ 6293687 w 6689088"/>
              <a:gd name="connsiteY618" fmla="*/ 4227740 h 6689084"/>
              <a:gd name="connsiteX619" fmla="*/ 6305668 w 6689088"/>
              <a:gd name="connsiteY619" fmla="*/ 4215760 h 6689084"/>
              <a:gd name="connsiteX620" fmla="*/ 6459619 w 6689088"/>
              <a:gd name="connsiteY620" fmla="*/ 4213945 h 6689084"/>
              <a:gd name="connsiteX621" fmla="*/ 6473414 w 6689088"/>
              <a:gd name="connsiteY621" fmla="*/ 4227744 h 6689084"/>
              <a:gd name="connsiteX622" fmla="*/ 6459619 w 6689088"/>
              <a:gd name="connsiteY622" fmla="*/ 4241539 h 6689084"/>
              <a:gd name="connsiteX623" fmla="*/ 6445820 w 6689088"/>
              <a:gd name="connsiteY623" fmla="*/ 4227744 h 6689084"/>
              <a:gd name="connsiteX624" fmla="*/ 6459619 w 6689088"/>
              <a:gd name="connsiteY624" fmla="*/ 4213945 h 6689084"/>
              <a:gd name="connsiteX625" fmla="*/ 6613200 w 6689088"/>
              <a:gd name="connsiteY625" fmla="*/ 4212855 h 6689084"/>
              <a:gd name="connsiteX626" fmla="*/ 6628452 w 6689088"/>
              <a:gd name="connsiteY626" fmla="*/ 4228103 h 6689084"/>
              <a:gd name="connsiteX627" fmla="*/ 6613200 w 6689088"/>
              <a:gd name="connsiteY627" fmla="*/ 4243354 h 6689084"/>
              <a:gd name="connsiteX628" fmla="*/ 6597953 w 6689088"/>
              <a:gd name="connsiteY628" fmla="*/ 4228103 h 6689084"/>
              <a:gd name="connsiteX629" fmla="*/ 6613200 w 6689088"/>
              <a:gd name="connsiteY629" fmla="*/ 4212855 h 6689084"/>
              <a:gd name="connsiteX630" fmla="*/ 4768008 w 6689088"/>
              <a:gd name="connsiteY630" fmla="*/ 4073793 h 6689084"/>
              <a:gd name="connsiteX631" fmla="*/ 4768370 w 6689088"/>
              <a:gd name="connsiteY631" fmla="*/ 4074155 h 6689084"/>
              <a:gd name="connsiteX632" fmla="*/ 4768008 w 6689088"/>
              <a:gd name="connsiteY632" fmla="*/ 4074521 h 6689084"/>
              <a:gd name="connsiteX633" fmla="*/ 4767646 w 6689088"/>
              <a:gd name="connsiteY633" fmla="*/ 4074155 h 6689084"/>
              <a:gd name="connsiteX634" fmla="*/ 4768008 w 6689088"/>
              <a:gd name="connsiteY634" fmla="*/ 4073793 h 6689084"/>
              <a:gd name="connsiteX635" fmla="*/ 4306532 w 6689088"/>
              <a:gd name="connsiteY635" fmla="*/ 4073793 h 6689084"/>
              <a:gd name="connsiteX636" fmla="*/ 4306894 w 6689088"/>
              <a:gd name="connsiteY636" fmla="*/ 4074155 h 6689084"/>
              <a:gd name="connsiteX637" fmla="*/ 4306532 w 6689088"/>
              <a:gd name="connsiteY637" fmla="*/ 4074521 h 6689084"/>
              <a:gd name="connsiteX638" fmla="*/ 4306170 w 6689088"/>
              <a:gd name="connsiteY638" fmla="*/ 4074155 h 6689084"/>
              <a:gd name="connsiteX639" fmla="*/ 4306532 w 6689088"/>
              <a:gd name="connsiteY639" fmla="*/ 4073793 h 6689084"/>
              <a:gd name="connsiteX640" fmla="*/ 4152947 w 6689088"/>
              <a:gd name="connsiteY640" fmla="*/ 4073793 h 6689084"/>
              <a:gd name="connsiteX641" fmla="*/ 4153309 w 6689088"/>
              <a:gd name="connsiteY641" fmla="*/ 4074155 h 6689084"/>
              <a:gd name="connsiteX642" fmla="*/ 4152947 w 6689088"/>
              <a:gd name="connsiteY642" fmla="*/ 4074521 h 6689084"/>
              <a:gd name="connsiteX643" fmla="*/ 4152585 w 6689088"/>
              <a:gd name="connsiteY643" fmla="*/ 4074155 h 6689084"/>
              <a:gd name="connsiteX644" fmla="*/ 4152947 w 6689088"/>
              <a:gd name="connsiteY644" fmla="*/ 4073793 h 6689084"/>
              <a:gd name="connsiteX645" fmla="*/ 3998996 w 6689088"/>
              <a:gd name="connsiteY645" fmla="*/ 4073431 h 6689084"/>
              <a:gd name="connsiteX646" fmla="*/ 3999724 w 6689088"/>
              <a:gd name="connsiteY646" fmla="*/ 4074155 h 6689084"/>
              <a:gd name="connsiteX647" fmla="*/ 3998996 w 6689088"/>
              <a:gd name="connsiteY647" fmla="*/ 4074883 h 6689084"/>
              <a:gd name="connsiteX648" fmla="*/ 3998272 w 6689088"/>
              <a:gd name="connsiteY648" fmla="*/ 4074155 h 6689084"/>
              <a:gd name="connsiteX649" fmla="*/ 3998996 w 6689088"/>
              <a:gd name="connsiteY649" fmla="*/ 4073431 h 6689084"/>
              <a:gd name="connsiteX650" fmla="*/ 4921594 w 6689088"/>
              <a:gd name="connsiteY650" fmla="*/ 4072344 h 6689084"/>
              <a:gd name="connsiteX651" fmla="*/ 4923046 w 6689088"/>
              <a:gd name="connsiteY651" fmla="*/ 4073797 h 6689084"/>
              <a:gd name="connsiteX652" fmla="*/ 4921594 w 6689088"/>
              <a:gd name="connsiteY652" fmla="*/ 4075249 h 6689084"/>
              <a:gd name="connsiteX653" fmla="*/ 4920142 w 6689088"/>
              <a:gd name="connsiteY653" fmla="*/ 4073797 h 6689084"/>
              <a:gd name="connsiteX654" fmla="*/ 4921594 w 6689088"/>
              <a:gd name="connsiteY654" fmla="*/ 4072344 h 6689084"/>
              <a:gd name="connsiteX655" fmla="*/ 5075541 w 6689088"/>
              <a:gd name="connsiteY655" fmla="*/ 4071978 h 6689084"/>
              <a:gd name="connsiteX656" fmla="*/ 5077722 w 6689088"/>
              <a:gd name="connsiteY656" fmla="*/ 4074155 h 6689084"/>
              <a:gd name="connsiteX657" fmla="*/ 5075541 w 6689088"/>
              <a:gd name="connsiteY657" fmla="*/ 4076335 h 6689084"/>
              <a:gd name="connsiteX658" fmla="*/ 5073364 w 6689088"/>
              <a:gd name="connsiteY658" fmla="*/ 4074155 h 6689084"/>
              <a:gd name="connsiteX659" fmla="*/ 5075541 w 6689088"/>
              <a:gd name="connsiteY659" fmla="*/ 4071978 h 6689084"/>
              <a:gd name="connsiteX660" fmla="*/ 5229126 w 6689088"/>
              <a:gd name="connsiteY660" fmla="*/ 4070892 h 6689084"/>
              <a:gd name="connsiteX661" fmla="*/ 5232394 w 6689088"/>
              <a:gd name="connsiteY661" fmla="*/ 4074159 h 6689084"/>
              <a:gd name="connsiteX662" fmla="*/ 5229126 w 6689088"/>
              <a:gd name="connsiteY662" fmla="*/ 4077429 h 6689084"/>
              <a:gd name="connsiteX663" fmla="*/ 5225860 w 6689088"/>
              <a:gd name="connsiteY663" fmla="*/ 4074159 h 6689084"/>
              <a:gd name="connsiteX664" fmla="*/ 5229126 w 6689088"/>
              <a:gd name="connsiteY664" fmla="*/ 4070892 h 6689084"/>
              <a:gd name="connsiteX665" fmla="*/ 5383074 w 6689088"/>
              <a:gd name="connsiteY665" fmla="*/ 4069802 h 6689084"/>
              <a:gd name="connsiteX666" fmla="*/ 5387431 w 6689088"/>
              <a:gd name="connsiteY666" fmla="*/ 4074159 h 6689084"/>
              <a:gd name="connsiteX667" fmla="*/ 5383074 w 6689088"/>
              <a:gd name="connsiteY667" fmla="*/ 4078516 h 6689084"/>
              <a:gd name="connsiteX668" fmla="*/ 5378717 w 6689088"/>
              <a:gd name="connsiteY668" fmla="*/ 4074159 h 6689084"/>
              <a:gd name="connsiteX669" fmla="*/ 5383074 w 6689088"/>
              <a:gd name="connsiteY669" fmla="*/ 4069802 h 6689084"/>
              <a:gd name="connsiteX670" fmla="*/ 5536659 w 6689088"/>
              <a:gd name="connsiteY670" fmla="*/ 4068349 h 6689084"/>
              <a:gd name="connsiteX671" fmla="*/ 5542468 w 6689088"/>
              <a:gd name="connsiteY671" fmla="*/ 4074159 h 6689084"/>
              <a:gd name="connsiteX672" fmla="*/ 5536659 w 6689088"/>
              <a:gd name="connsiteY672" fmla="*/ 4079968 h 6689084"/>
              <a:gd name="connsiteX673" fmla="*/ 5530850 w 6689088"/>
              <a:gd name="connsiteY673" fmla="*/ 4074159 h 6689084"/>
              <a:gd name="connsiteX674" fmla="*/ 5536659 w 6689088"/>
              <a:gd name="connsiteY674" fmla="*/ 4068349 h 6689084"/>
              <a:gd name="connsiteX675" fmla="*/ 5690606 w 6689088"/>
              <a:gd name="connsiteY675" fmla="*/ 4066897 h 6689084"/>
              <a:gd name="connsiteX676" fmla="*/ 5697868 w 6689088"/>
              <a:gd name="connsiteY676" fmla="*/ 4074159 h 6689084"/>
              <a:gd name="connsiteX677" fmla="*/ 5690606 w 6689088"/>
              <a:gd name="connsiteY677" fmla="*/ 4081420 h 6689084"/>
              <a:gd name="connsiteX678" fmla="*/ 5683345 w 6689088"/>
              <a:gd name="connsiteY678" fmla="*/ 4074159 h 6689084"/>
              <a:gd name="connsiteX679" fmla="*/ 5690606 w 6689088"/>
              <a:gd name="connsiteY679" fmla="*/ 4066897 h 6689084"/>
              <a:gd name="connsiteX680" fmla="*/ 5844554 w 6689088"/>
              <a:gd name="connsiteY680" fmla="*/ 4064717 h 6689084"/>
              <a:gd name="connsiteX681" fmla="*/ 5853634 w 6689088"/>
              <a:gd name="connsiteY681" fmla="*/ 4073793 h 6689084"/>
              <a:gd name="connsiteX682" fmla="*/ 5844554 w 6689088"/>
              <a:gd name="connsiteY682" fmla="*/ 4082873 h 6689084"/>
              <a:gd name="connsiteX683" fmla="*/ 5835478 w 6689088"/>
              <a:gd name="connsiteY683" fmla="*/ 4073793 h 6689084"/>
              <a:gd name="connsiteX684" fmla="*/ 5844554 w 6689088"/>
              <a:gd name="connsiteY684" fmla="*/ 4064717 h 6689084"/>
              <a:gd name="connsiteX685" fmla="*/ 5998139 w 6689088"/>
              <a:gd name="connsiteY685" fmla="*/ 4063992 h 6689084"/>
              <a:gd name="connsiteX686" fmla="*/ 6008306 w 6689088"/>
              <a:gd name="connsiteY686" fmla="*/ 4074159 h 6689084"/>
              <a:gd name="connsiteX687" fmla="*/ 5998139 w 6689088"/>
              <a:gd name="connsiteY687" fmla="*/ 4084325 h 6689084"/>
              <a:gd name="connsiteX688" fmla="*/ 5987973 w 6689088"/>
              <a:gd name="connsiteY688" fmla="*/ 4074159 h 6689084"/>
              <a:gd name="connsiteX689" fmla="*/ 5998139 w 6689088"/>
              <a:gd name="connsiteY689" fmla="*/ 4063992 h 6689084"/>
              <a:gd name="connsiteX690" fmla="*/ 6152083 w 6689088"/>
              <a:gd name="connsiteY690" fmla="*/ 4062174 h 6689084"/>
              <a:gd name="connsiteX691" fmla="*/ 6164064 w 6689088"/>
              <a:gd name="connsiteY691" fmla="*/ 4074155 h 6689084"/>
              <a:gd name="connsiteX692" fmla="*/ 6152083 w 6689088"/>
              <a:gd name="connsiteY692" fmla="*/ 4086140 h 6689084"/>
              <a:gd name="connsiteX693" fmla="*/ 6140102 w 6689088"/>
              <a:gd name="connsiteY693" fmla="*/ 4074155 h 6689084"/>
              <a:gd name="connsiteX694" fmla="*/ 6152083 w 6689088"/>
              <a:gd name="connsiteY694" fmla="*/ 4062174 h 6689084"/>
              <a:gd name="connsiteX695" fmla="*/ 6305672 w 6689088"/>
              <a:gd name="connsiteY695" fmla="*/ 4059998 h 6689084"/>
              <a:gd name="connsiteX696" fmla="*/ 6319467 w 6689088"/>
              <a:gd name="connsiteY696" fmla="*/ 4073793 h 6689084"/>
              <a:gd name="connsiteX697" fmla="*/ 6305672 w 6689088"/>
              <a:gd name="connsiteY697" fmla="*/ 4087592 h 6689084"/>
              <a:gd name="connsiteX698" fmla="*/ 6291873 w 6689088"/>
              <a:gd name="connsiteY698" fmla="*/ 4073793 h 6689084"/>
              <a:gd name="connsiteX699" fmla="*/ 6305672 w 6689088"/>
              <a:gd name="connsiteY699" fmla="*/ 4059998 h 6689084"/>
              <a:gd name="connsiteX700" fmla="*/ 6459619 w 6689088"/>
              <a:gd name="connsiteY700" fmla="*/ 4058907 h 6689084"/>
              <a:gd name="connsiteX701" fmla="*/ 6474867 w 6689088"/>
              <a:gd name="connsiteY701" fmla="*/ 4074155 h 6689084"/>
              <a:gd name="connsiteX702" fmla="*/ 6459619 w 6689088"/>
              <a:gd name="connsiteY702" fmla="*/ 4089406 h 6689084"/>
              <a:gd name="connsiteX703" fmla="*/ 6444368 w 6689088"/>
              <a:gd name="connsiteY703" fmla="*/ 4074155 h 6689084"/>
              <a:gd name="connsiteX704" fmla="*/ 6459619 w 6689088"/>
              <a:gd name="connsiteY704" fmla="*/ 4058907 h 6689084"/>
              <a:gd name="connsiteX705" fmla="*/ 6613197 w 6689088"/>
              <a:gd name="connsiteY705" fmla="*/ 4057093 h 6689084"/>
              <a:gd name="connsiteX706" fmla="*/ 6630266 w 6689088"/>
              <a:gd name="connsiteY706" fmla="*/ 4074159 h 6689084"/>
              <a:gd name="connsiteX707" fmla="*/ 6613197 w 6689088"/>
              <a:gd name="connsiteY707" fmla="*/ 4091225 h 6689084"/>
              <a:gd name="connsiteX708" fmla="*/ 6596135 w 6689088"/>
              <a:gd name="connsiteY708" fmla="*/ 4074159 h 6689084"/>
              <a:gd name="connsiteX709" fmla="*/ 6613197 w 6689088"/>
              <a:gd name="connsiteY709" fmla="*/ 4057093 h 6689084"/>
              <a:gd name="connsiteX710" fmla="*/ 4614061 w 6689088"/>
              <a:gd name="connsiteY710" fmla="*/ 3919845 h 6689084"/>
              <a:gd name="connsiteX711" fmla="*/ 4614424 w 6689088"/>
              <a:gd name="connsiteY711" fmla="*/ 3920208 h 6689084"/>
              <a:gd name="connsiteX712" fmla="*/ 4614061 w 6689088"/>
              <a:gd name="connsiteY712" fmla="*/ 3920574 h 6689084"/>
              <a:gd name="connsiteX713" fmla="*/ 4613699 w 6689088"/>
              <a:gd name="connsiteY713" fmla="*/ 3920208 h 6689084"/>
              <a:gd name="connsiteX714" fmla="*/ 4614061 w 6689088"/>
              <a:gd name="connsiteY714" fmla="*/ 3919845 h 6689084"/>
              <a:gd name="connsiteX715" fmla="*/ 4152947 w 6689088"/>
              <a:gd name="connsiteY715" fmla="*/ 3919845 h 6689084"/>
              <a:gd name="connsiteX716" fmla="*/ 4153309 w 6689088"/>
              <a:gd name="connsiteY716" fmla="*/ 3920208 h 6689084"/>
              <a:gd name="connsiteX717" fmla="*/ 4152947 w 6689088"/>
              <a:gd name="connsiteY717" fmla="*/ 3920574 h 6689084"/>
              <a:gd name="connsiteX718" fmla="*/ 4152585 w 6689088"/>
              <a:gd name="connsiteY718" fmla="*/ 3920208 h 6689084"/>
              <a:gd name="connsiteX719" fmla="*/ 4152947 w 6689088"/>
              <a:gd name="connsiteY719" fmla="*/ 3919845 h 6689084"/>
              <a:gd name="connsiteX720" fmla="*/ 3999000 w 6689088"/>
              <a:gd name="connsiteY720" fmla="*/ 3919845 h 6689084"/>
              <a:gd name="connsiteX721" fmla="*/ 3999362 w 6689088"/>
              <a:gd name="connsiteY721" fmla="*/ 3920208 h 6689084"/>
              <a:gd name="connsiteX722" fmla="*/ 3999000 w 6689088"/>
              <a:gd name="connsiteY722" fmla="*/ 3920574 h 6689084"/>
              <a:gd name="connsiteX723" fmla="*/ 3998638 w 6689088"/>
              <a:gd name="connsiteY723" fmla="*/ 3920208 h 6689084"/>
              <a:gd name="connsiteX724" fmla="*/ 3999000 w 6689088"/>
              <a:gd name="connsiteY724" fmla="*/ 3919845 h 6689084"/>
              <a:gd name="connsiteX725" fmla="*/ 3845418 w 6689088"/>
              <a:gd name="connsiteY725" fmla="*/ 3919483 h 6689084"/>
              <a:gd name="connsiteX726" fmla="*/ 3846142 w 6689088"/>
              <a:gd name="connsiteY726" fmla="*/ 3920211 h 6689084"/>
              <a:gd name="connsiteX727" fmla="*/ 3845418 w 6689088"/>
              <a:gd name="connsiteY727" fmla="*/ 3920936 h 6689084"/>
              <a:gd name="connsiteX728" fmla="*/ 3844690 w 6689088"/>
              <a:gd name="connsiteY728" fmla="*/ 3920211 h 6689084"/>
              <a:gd name="connsiteX729" fmla="*/ 3845418 w 6689088"/>
              <a:gd name="connsiteY729" fmla="*/ 3919483 h 6689084"/>
              <a:gd name="connsiteX730" fmla="*/ 4768012 w 6689088"/>
              <a:gd name="connsiteY730" fmla="*/ 3918759 h 6689084"/>
              <a:gd name="connsiteX731" fmla="*/ 4769464 w 6689088"/>
              <a:gd name="connsiteY731" fmla="*/ 3920211 h 6689084"/>
              <a:gd name="connsiteX732" fmla="*/ 4768012 w 6689088"/>
              <a:gd name="connsiteY732" fmla="*/ 3921664 h 6689084"/>
              <a:gd name="connsiteX733" fmla="*/ 4766560 w 6689088"/>
              <a:gd name="connsiteY733" fmla="*/ 3920211 h 6689084"/>
              <a:gd name="connsiteX734" fmla="*/ 4768012 w 6689088"/>
              <a:gd name="connsiteY734" fmla="*/ 3918759 h 6689084"/>
              <a:gd name="connsiteX735" fmla="*/ 4921594 w 6689088"/>
              <a:gd name="connsiteY735" fmla="*/ 3918031 h 6689084"/>
              <a:gd name="connsiteX736" fmla="*/ 4923774 w 6689088"/>
              <a:gd name="connsiteY736" fmla="*/ 3920208 h 6689084"/>
              <a:gd name="connsiteX737" fmla="*/ 4921594 w 6689088"/>
              <a:gd name="connsiteY737" fmla="*/ 3922388 h 6689084"/>
              <a:gd name="connsiteX738" fmla="*/ 4919417 w 6689088"/>
              <a:gd name="connsiteY738" fmla="*/ 3920208 h 6689084"/>
              <a:gd name="connsiteX739" fmla="*/ 4921594 w 6689088"/>
              <a:gd name="connsiteY739" fmla="*/ 3918031 h 6689084"/>
              <a:gd name="connsiteX740" fmla="*/ 5075545 w 6689088"/>
              <a:gd name="connsiteY740" fmla="*/ 3917307 h 6689084"/>
              <a:gd name="connsiteX741" fmla="*/ 5078812 w 6689088"/>
              <a:gd name="connsiteY741" fmla="*/ 3920574 h 6689084"/>
              <a:gd name="connsiteX742" fmla="*/ 5075545 w 6689088"/>
              <a:gd name="connsiteY742" fmla="*/ 3923844 h 6689084"/>
              <a:gd name="connsiteX743" fmla="*/ 5072274 w 6689088"/>
              <a:gd name="connsiteY743" fmla="*/ 3920574 h 6689084"/>
              <a:gd name="connsiteX744" fmla="*/ 5075545 w 6689088"/>
              <a:gd name="connsiteY744" fmla="*/ 3917307 h 6689084"/>
              <a:gd name="connsiteX745" fmla="*/ 5229126 w 6689088"/>
              <a:gd name="connsiteY745" fmla="*/ 3915854 h 6689084"/>
              <a:gd name="connsiteX746" fmla="*/ 5233484 w 6689088"/>
              <a:gd name="connsiteY746" fmla="*/ 3920211 h 6689084"/>
              <a:gd name="connsiteX747" fmla="*/ 5229126 w 6689088"/>
              <a:gd name="connsiteY747" fmla="*/ 3924568 h 6689084"/>
              <a:gd name="connsiteX748" fmla="*/ 5224770 w 6689088"/>
              <a:gd name="connsiteY748" fmla="*/ 3920211 h 6689084"/>
              <a:gd name="connsiteX749" fmla="*/ 5229126 w 6689088"/>
              <a:gd name="connsiteY749" fmla="*/ 3915854 h 6689084"/>
              <a:gd name="connsiteX750" fmla="*/ 5383074 w 6689088"/>
              <a:gd name="connsiteY750" fmla="*/ 3914764 h 6689084"/>
              <a:gd name="connsiteX751" fmla="*/ 5388883 w 6689088"/>
              <a:gd name="connsiteY751" fmla="*/ 3920574 h 6689084"/>
              <a:gd name="connsiteX752" fmla="*/ 5383074 w 6689088"/>
              <a:gd name="connsiteY752" fmla="*/ 3926383 h 6689084"/>
              <a:gd name="connsiteX753" fmla="*/ 5377264 w 6689088"/>
              <a:gd name="connsiteY753" fmla="*/ 3920574 h 6689084"/>
              <a:gd name="connsiteX754" fmla="*/ 5383074 w 6689088"/>
              <a:gd name="connsiteY754" fmla="*/ 3914764 h 6689084"/>
              <a:gd name="connsiteX755" fmla="*/ 5536659 w 6689088"/>
              <a:gd name="connsiteY755" fmla="*/ 3912950 h 6689084"/>
              <a:gd name="connsiteX756" fmla="*/ 5543921 w 6689088"/>
              <a:gd name="connsiteY756" fmla="*/ 3920211 h 6689084"/>
              <a:gd name="connsiteX757" fmla="*/ 5536659 w 6689088"/>
              <a:gd name="connsiteY757" fmla="*/ 3927473 h 6689084"/>
              <a:gd name="connsiteX758" fmla="*/ 5529398 w 6689088"/>
              <a:gd name="connsiteY758" fmla="*/ 3920211 h 6689084"/>
              <a:gd name="connsiteX759" fmla="*/ 5536659 w 6689088"/>
              <a:gd name="connsiteY759" fmla="*/ 3912950 h 6689084"/>
              <a:gd name="connsiteX760" fmla="*/ 5690606 w 6689088"/>
              <a:gd name="connsiteY760" fmla="*/ 3911135 h 6689084"/>
              <a:gd name="connsiteX761" fmla="*/ 5699686 w 6689088"/>
              <a:gd name="connsiteY761" fmla="*/ 3920211 h 6689084"/>
              <a:gd name="connsiteX762" fmla="*/ 5690606 w 6689088"/>
              <a:gd name="connsiteY762" fmla="*/ 3929291 h 6689084"/>
              <a:gd name="connsiteX763" fmla="*/ 5681530 w 6689088"/>
              <a:gd name="connsiteY763" fmla="*/ 3920211 h 6689084"/>
              <a:gd name="connsiteX764" fmla="*/ 5690606 w 6689088"/>
              <a:gd name="connsiteY764" fmla="*/ 3911135 h 6689084"/>
              <a:gd name="connsiteX765" fmla="*/ 5844554 w 6689088"/>
              <a:gd name="connsiteY765" fmla="*/ 3910045 h 6689084"/>
              <a:gd name="connsiteX766" fmla="*/ 5854720 w 6689088"/>
              <a:gd name="connsiteY766" fmla="*/ 3920211 h 6689084"/>
              <a:gd name="connsiteX767" fmla="*/ 5844554 w 6689088"/>
              <a:gd name="connsiteY767" fmla="*/ 3930378 h 6689084"/>
              <a:gd name="connsiteX768" fmla="*/ 5834388 w 6689088"/>
              <a:gd name="connsiteY768" fmla="*/ 3920211 h 6689084"/>
              <a:gd name="connsiteX769" fmla="*/ 5844554 w 6689088"/>
              <a:gd name="connsiteY769" fmla="*/ 3910045 h 6689084"/>
              <a:gd name="connsiteX770" fmla="*/ 5998139 w 6689088"/>
              <a:gd name="connsiteY770" fmla="*/ 3908227 h 6689084"/>
              <a:gd name="connsiteX771" fmla="*/ 6010120 w 6689088"/>
              <a:gd name="connsiteY771" fmla="*/ 3920208 h 6689084"/>
              <a:gd name="connsiteX772" fmla="*/ 5998139 w 6689088"/>
              <a:gd name="connsiteY772" fmla="*/ 3932192 h 6689084"/>
              <a:gd name="connsiteX773" fmla="*/ 5986158 w 6689088"/>
              <a:gd name="connsiteY773" fmla="*/ 3920208 h 6689084"/>
              <a:gd name="connsiteX774" fmla="*/ 5998139 w 6689088"/>
              <a:gd name="connsiteY774" fmla="*/ 3908227 h 6689084"/>
              <a:gd name="connsiteX775" fmla="*/ 6152086 w 6689088"/>
              <a:gd name="connsiteY775" fmla="*/ 3906412 h 6689084"/>
              <a:gd name="connsiteX776" fmla="*/ 6165882 w 6689088"/>
              <a:gd name="connsiteY776" fmla="*/ 3920211 h 6689084"/>
              <a:gd name="connsiteX777" fmla="*/ 6152086 w 6689088"/>
              <a:gd name="connsiteY777" fmla="*/ 3934007 h 6689084"/>
              <a:gd name="connsiteX778" fmla="*/ 6138288 w 6689088"/>
              <a:gd name="connsiteY778" fmla="*/ 3920211 h 6689084"/>
              <a:gd name="connsiteX779" fmla="*/ 6152086 w 6689088"/>
              <a:gd name="connsiteY779" fmla="*/ 3906412 h 6689084"/>
              <a:gd name="connsiteX780" fmla="*/ 6305672 w 6689088"/>
              <a:gd name="connsiteY780" fmla="*/ 3904960 h 6689084"/>
              <a:gd name="connsiteX781" fmla="*/ 6320920 w 6689088"/>
              <a:gd name="connsiteY781" fmla="*/ 3920211 h 6689084"/>
              <a:gd name="connsiteX782" fmla="*/ 6305672 w 6689088"/>
              <a:gd name="connsiteY782" fmla="*/ 3935459 h 6689084"/>
              <a:gd name="connsiteX783" fmla="*/ 6290420 w 6689088"/>
              <a:gd name="connsiteY783" fmla="*/ 3920211 h 6689084"/>
              <a:gd name="connsiteX784" fmla="*/ 6305672 w 6689088"/>
              <a:gd name="connsiteY784" fmla="*/ 3904960 h 6689084"/>
              <a:gd name="connsiteX785" fmla="*/ 6459616 w 6689088"/>
              <a:gd name="connsiteY785" fmla="*/ 3903146 h 6689084"/>
              <a:gd name="connsiteX786" fmla="*/ 6476682 w 6689088"/>
              <a:gd name="connsiteY786" fmla="*/ 3920211 h 6689084"/>
              <a:gd name="connsiteX787" fmla="*/ 6459616 w 6689088"/>
              <a:gd name="connsiteY787" fmla="*/ 3937277 h 6689084"/>
              <a:gd name="connsiteX788" fmla="*/ 6442550 w 6689088"/>
              <a:gd name="connsiteY788" fmla="*/ 3920211 h 6689084"/>
              <a:gd name="connsiteX789" fmla="*/ 6459616 w 6689088"/>
              <a:gd name="connsiteY789" fmla="*/ 3903146 h 6689084"/>
              <a:gd name="connsiteX790" fmla="*/ 6613200 w 6689088"/>
              <a:gd name="connsiteY790" fmla="*/ 3900969 h 6689084"/>
              <a:gd name="connsiteX791" fmla="*/ 6632447 w 6689088"/>
              <a:gd name="connsiteY791" fmla="*/ 3920211 h 6689084"/>
              <a:gd name="connsiteX792" fmla="*/ 6613200 w 6689088"/>
              <a:gd name="connsiteY792" fmla="*/ 3939458 h 6689084"/>
              <a:gd name="connsiteX793" fmla="*/ 6593958 w 6689088"/>
              <a:gd name="connsiteY793" fmla="*/ 3920211 h 6689084"/>
              <a:gd name="connsiteX794" fmla="*/ 6613200 w 6689088"/>
              <a:gd name="connsiteY794" fmla="*/ 3900969 h 6689084"/>
              <a:gd name="connsiteX795" fmla="*/ 4460480 w 6689088"/>
              <a:gd name="connsiteY795" fmla="*/ 3766264 h 6689084"/>
              <a:gd name="connsiteX796" fmla="*/ 4460842 w 6689088"/>
              <a:gd name="connsiteY796" fmla="*/ 3766626 h 6689084"/>
              <a:gd name="connsiteX797" fmla="*/ 4460480 w 6689088"/>
              <a:gd name="connsiteY797" fmla="*/ 3766988 h 6689084"/>
              <a:gd name="connsiteX798" fmla="*/ 4460118 w 6689088"/>
              <a:gd name="connsiteY798" fmla="*/ 3766626 h 6689084"/>
              <a:gd name="connsiteX799" fmla="*/ 4460480 w 6689088"/>
              <a:gd name="connsiteY799" fmla="*/ 3766264 h 6689084"/>
              <a:gd name="connsiteX800" fmla="*/ 3999000 w 6689088"/>
              <a:gd name="connsiteY800" fmla="*/ 3766264 h 6689084"/>
              <a:gd name="connsiteX801" fmla="*/ 3999362 w 6689088"/>
              <a:gd name="connsiteY801" fmla="*/ 3766626 h 6689084"/>
              <a:gd name="connsiteX802" fmla="*/ 3999000 w 6689088"/>
              <a:gd name="connsiteY802" fmla="*/ 3766988 h 6689084"/>
              <a:gd name="connsiteX803" fmla="*/ 3998638 w 6689088"/>
              <a:gd name="connsiteY803" fmla="*/ 3766626 h 6689084"/>
              <a:gd name="connsiteX804" fmla="*/ 3999000 w 6689088"/>
              <a:gd name="connsiteY804" fmla="*/ 3766264 h 6689084"/>
              <a:gd name="connsiteX805" fmla="*/ 3845414 w 6689088"/>
              <a:gd name="connsiteY805" fmla="*/ 3766264 h 6689084"/>
              <a:gd name="connsiteX806" fmla="*/ 3845776 w 6689088"/>
              <a:gd name="connsiteY806" fmla="*/ 3766626 h 6689084"/>
              <a:gd name="connsiteX807" fmla="*/ 3845414 w 6689088"/>
              <a:gd name="connsiteY807" fmla="*/ 3766988 h 6689084"/>
              <a:gd name="connsiteX808" fmla="*/ 3845052 w 6689088"/>
              <a:gd name="connsiteY808" fmla="*/ 3766626 h 6689084"/>
              <a:gd name="connsiteX809" fmla="*/ 3845414 w 6689088"/>
              <a:gd name="connsiteY809" fmla="*/ 3766264 h 6689084"/>
              <a:gd name="connsiteX810" fmla="*/ 3691471 w 6689088"/>
              <a:gd name="connsiteY810" fmla="*/ 3765902 h 6689084"/>
              <a:gd name="connsiteX811" fmla="*/ 3692195 w 6689088"/>
              <a:gd name="connsiteY811" fmla="*/ 3766626 h 6689084"/>
              <a:gd name="connsiteX812" fmla="*/ 3691471 w 6689088"/>
              <a:gd name="connsiteY812" fmla="*/ 3767354 h 6689084"/>
              <a:gd name="connsiteX813" fmla="*/ 3690743 w 6689088"/>
              <a:gd name="connsiteY813" fmla="*/ 3766626 h 6689084"/>
              <a:gd name="connsiteX814" fmla="*/ 3691471 w 6689088"/>
              <a:gd name="connsiteY814" fmla="*/ 3765902 h 6689084"/>
              <a:gd name="connsiteX815" fmla="*/ 4614065 w 6689088"/>
              <a:gd name="connsiteY815" fmla="*/ 3764812 h 6689084"/>
              <a:gd name="connsiteX816" fmla="*/ 4615518 w 6689088"/>
              <a:gd name="connsiteY816" fmla="*/ 3766264 h 6689084"/>
              <a:gd name="connsiteX817" fmla="*/ 4614065 w 6689088"/>
              <a:gd name="connsiteY817" fmla="*/ 3767716 h 6689084"/>
              <a:gd name="connsiteX818" fmla="*/ 4612612 w 6689088"/>
              <a:gd name="connsiteY818" fmla="*/ 3766264 h 6689084"/>
              <a:gd name="connsiteX819" fmla="*/ 4614065 w 6689088"/>
              <a:gd name="connsiteY819" fmla="*/ 3764812 h 6689084"/>
              <a:gd name="connsiteX820" fmla="*/ 4768008 w 6689088"/>
              <a:gd name="connsiteY820" fmla="*/ 3764450 h 6689084"/>
              <a:gd name="connsiteX821" fmla="*/ 4770189 w 6689088"/>
              <a:gd name="connsiteY821" fmla="*/ 3766626 h 6689084"/>
              <a:gd name="connsiteX822" fmla="*/ 4768008 w 6689088"/>
              <a:gd name="connsiteY822" fmla="*/ 3768807 h 6689084"/>
              <a:gd name="connsiteX823" fmla="*/ 4765832 w 6689088"/>
              <a:gd name="connsiteY823" fmla="*/ 3766626 h 6689084"/>
              <a:gd name="connsiteX824" fmla="*/ 4768008 w 6689088"/>
              <a:gd name="connsiteY824" fmla="*/ 3764450 h 6689084"/>
              <a:gd name="connsiteX825" fmla="*/ 4921594 w 6689088"/>
              <a:gd name="connsiteY825" fmla="*/ 3763359 h 6689084"/>
              <a:gd name="connsiteX826" fmla="*/ 4924860 w 6689088"/>
              <a:gd name="connsiteY826" fmla="*/ 3766626 h 6689084"/>
              <a:gd name="connsiteX827" fmla="*/ 4921594 w 6689088"/>
              <a:gd name="connsiteY827" fmla="*/ 3769897 h 6689084"/>
              <a:gd name="connsiteX828" fmla="*/ 4918327 w 6689088"/>
              <a:gd name="connsiteY828" fmla="*/ 3766626 h 6689084"/>
              <a:gd name="connsiteX829" fmla="*/ 4921594 w 6689088"/>
              <a:gd name="connsiteY829" fmla="*/ 3763359 h 6689084"/>
              <a:gd name="connsiteX830" fmla="*/ 5075541 w 6689088"/>
              <a:gd name="connsiteY830" fmla="*/ 3762269 h 6689084"/>
              <a:gd name="connsiteX831" fmla="*/ 5079898 w 6689088"/>
              <a:gd name="connsiteY831" fmla="*/ 3766626 h 6689084"/>
              <a:gd name="connsiteX832" fmla="*/ 5075541 w 6689088"/>
              <a:gd name="connsiteY832" fmla="*/ 3770983 h 6689084"/>
              <a:gd name="connsiteX833" fmla="*/ 5071184 w 6689088"/>
              <a:gd name="connsiteY833" fmla="*/ 3766626 h 6689084"/>
              <a:gd name="connsiteX834" fmla="*/ 5075541 w 6689088"/>
              <a:gd name="connsiteY834" fmla="*/ 3762269 h 6689084"/>
              <a:gd name="connsiteX835" fmla="*/ 5229126 w 6689088"/>
              <a:gd name="connsiteY835" fmla="*/ 3760817 h 6689084"/>
              <a:gd name="connsiteX836" fmla="*/ 5234936 w 6689088"/>
              <a:gd name="connsiteY836" fmla="*/ 3766626 h 6689084"/>
              <a:gd name="connsiteX837" fmla="*/ 5229126 w 6689088"/>
              <a:gd name="connsiteY837" fmla="*/ 3772436 h 6689084"/>
              <a:gd name="connsiteX838" fmla="*/ 5223317 w 6689088"/>
              <a:gd name="connsiteY838" fmla="*/ 3766626 h 6689084"/>
              <a:gd name="connsiteX839" fmla="*/ 5229126 w 6689088"/>
              <a:gd name="connsiteY839" fmla="*/ 3760817 h 6689084"/>
              <a:gd name="connsiteX840" fmla="*/ 5383074 w 6689088"/>
              <a:gd name="connsiteY840" fmla="*/ 3759365 h 6689084"/>
              <a:gd name="connsiteX841" fmla="*/ 5390336 w 6689088"/>
              <a:gd name="connsiteY841" fmla="*/ 3766626 h 6689084"/>
              <a:gd name="connsiteX842" fmla="*/ 5383074 w 6689088"/>
              <a:gd name="connsiteY842" fmla="*/ 3773888 h 6689084"/>
              <a:gd name="connsiteX843" fmla="*/ 5375812 w 6689088"/>
              <a:gd name="connsiteY843" fmla="*/ 3766626 h 6689084"/>
              <a:gd name="connsiteX844" fmla="*/ 5383074 w 6689088"/>
              <a:gd name="connsiteY844" fmla="*/ 3759365 h 6689084"/>
              <a:gd name="connsiteX845" fmla="*/ 5536659 w 6689088"/>
              <a:gd name="connsiteY845" fmla="*/ 3757188 h 6689084"/>
              <a:gd name="connsiteX846" fmla="*/ 5545739 w 6689088"/>
              <a:gd name="connsiteY846" fmla="*/ 3766264 h 6689084"/>
              <a:gd name="connsiteX847" fmla="*/ 5536659 w 6689088"/>
              <a:gd name="connsiteY847" fmla="*/ 3775344 h 6689084"/>
              <a:gd name="connsiteX848" fmla="*/ 5527583 w 6689088"/>
              <a:gd name="connsiteY848" fmla="*/ 3766264 h 6689084"/>
              <a:gd name="connsiteX849" fmla="*/ 5536659 w 6689088"/>
              <a:gd name="connsiteY849" fmla="*/ 3757188 h 6689084"/>
              <a:gd name="connsiteX850" fmla="*/ 5690606 w 6689088"/>
              <a:gd name="connsiteY850" fmla="*/ 3756460 h 6689084"/>
              <a:gd name="connsiteX851" fmla="*/ 5700773 w 6689088"/>
              <a:gd name="connsiteY851" fmla="*/ 3766626 h 6689084"/>
              <a:gd name="connsiteX852" fmla="*/ 5690606 w 6689088"/>
              <a:gd name="connsiteY852" fmla="*/ 3776793 h 6689084"/>
              <a:gd name="connsiteX853" fmla="*/ 5680440 w 6689088"/>
              <a:gd name="connsiteY853" fmla="*/ 3766626 h 6689084"/>
              <a:gd name="connsiteX854" fmla="*/ 5690606 w 6689088"/>
              <a:gd name="connsiteY854" fmla="*/ 3756460 h 6689084"/>
              <a:gd name="connsiteX855" fmla="*/ 5844550 w 6689088"/>
              <a:gd name="connsiteY855" fmla="*/ 3754645 h 6689084"/>
              <a:gd name="connsiteX856" fmla="*/ 5856534 w 6689088"/>
              <a:gd name="connsiteY856" fmla="*/ 3766626 h 6689084"/>
              <a:gd name="connsiteX857" fmla="*/ 5844550 w 6689088"/>
              <a:gd name="connsiteY857" fmla="*/ 3778607 h 6689084"/>
              <a:gd name="connsiteX858" fmla="*/ 5832570 w 6689088"/>
              <a:gd name="connsiteY858" fmla="*/ 3766626 h 6689084"/>
              <a:gd name="connsiteX859" fmla="*/ 5844550 w 6689088"/>
              <a:gd name="connsiteY859" fmla="*/ 3754645 h 6689084"/>
              <a:gd name="connsiteX860" fmla="*/ 5998139 w 6689088"/>
              <a:gd name="connsiteY860" fmla="*/ 3752465 h 6689084"/>
              <a:gd name="connsiteX861" fmla="*/ 6011934 w 6689088"/>
              <a:gd name="connsiteY861" fmla="*/ 3766264 h 6689084"/>
              <a:gd name="connsiteX862" fmla="*/ 5998139 w 6689088"/>
              <a:gd name="connsiteY862" fmla="*/ 3780059 h 6689084"/>
              <a:gd name="connsiteX863" fmla="*/ 5984340 w 6689088"/>
              <a:gd name="connsiteY863" fmla="*/ 3766264 h 6689084"/>
              <a:gd name="connsiteX864" fmla="*/ 5998139 w 6689088"/>
              <a:gd name="connsiteY864" fmla="*/ 3752465 h 6689084"/>
              <a:gd name="connsiteX865" fmla="*/ 6152086 w 6689088"/>
              <a:gd name="connsiteY865" fmla="*/ 3751379 h 6689084"/>
              <a:gd name="connsiteX866" fmla="*/ 6167334 w 6689088"/>
              <a:gd name="connsiteY866" fmla="*/ 3766626 h 6689084"/>
              <a:gd name="connsiteX867" fmla="*/ 6152086 w 6689088"/>
              <a:gd name="connsiteY867" fmla="*/ 3781878 h 6689084"/>
              <a:gd name="connsiteX868" fmla="*/ 6136839 w 6689088"/>
              <a:gd name="connsiteY868" fmla="*/ 3766626 h 6689084"/>
              <a:gd name="connsiteX869" fmla="*/ 6152086 w 6689088"/>
              <a:gd name="connsiteY869" fmla="*/ 3751379 h 6689084"/>
              <a:gd name="connsiteX870" fmla="*/ 6305668 w 6689088"/>
              <a:gd name="connsiteY870" fmla="*/ 3749560 h 6689084"/>
              <a:gd name="connsiteX871" fmla="*/ 6322734 w 6689088"/>
              <a:gd name="connsiteY871" fmla="*/ 3766626 h 6689084"/>
              <a:gd name="connsiteX872" fmla="*/ 6305668 w 6689088"/>
              <a:gd name="connsiteY872" fmla="*/ 3783692 h 6689084"/>
              <a:gd name="connsiteX873" fmla="*/ 6288602 w 6689088"/>
              <a:gd name="connsiteY873" fmla="*/ 3766626 h 6689084"/>
              <a:gd name="connsiteX874" fmla="*/ 6305668 w 6689088"/>
              <a:gd name="connsiteY874" fmla="*/ 3749560 h 6689084"/>
              <a:gd name="connsiteX875" fmla="*/ 6459616 w 6689088"/>
              <a:gd name="connsiteY875" fmla="*/ 3747384 h 6689084"/>
              <a:gd name="connsiteX876" fmla="*/ 6478858 w 6689088"/>
              <a:gd name="connsiteY876" fmla="*/ 3766626 h 6689084"/>
              <a:gd name="connsiteX877" fmla="*/ 6459616 w 6689088"/>
              <a:gd name="connsiteY877" fmla="*/ 3785869 h 6689084"/>
              <a:gd name="connsiteX878" fmla="*/ 6440369 w 6689088"/>
              <a:gd name="connsiteY878" fmla="*/ 3766626 h 6689084"/>
              <a:gd name="connsiteX879" fmla="*/ 6459616 w 6689088"/>
              <a:gd name="connsiteY879" fmla="*/ 3747384 h 6689084"/>
              <a:gd name="connsiteX880" fmla="*/ 6613200 w 6689088"/>
              <a:gd name="connsiteY880" fmla="*/ 3745203 h 6689084"/>
              <a:gd name="connsiteX881" fmla="*/ 6634624 w 6689088"/>
              <a:gd name="connsiteY881" fmla="*/ 3766626 h 6689084"/>
              <a:gd name="connsiteX882" fmla="*/ 6613200 w 6689088"/>
              <a:gd name="connsiteY882" fmla="*/ 3788045 h 6689084"/>
              <a:gd name="connsiteX883" fmla="*/ 6591778 w 6689088"/>
              <a:gd name="connsiteY883" fmla="*/ 3766626 h 6689084"/>
              <a:gd name="connsiteX884" fmla="*/ 6613200 w 6689088"/>
              <a:gd name="connsiteY884" fmla="*/ 3745203 h 6689084"/>
              <a:gd name="connsiteX885" fmla="*/ 4306532 w 6689088"/>
              <a:gd name="connsiteY885" fmla="*/ 3612317 h 6689084"/>
              <a:gd name="connsiteX886" fmla="*/ 4306894 w 6689088"/>
              <a:gd name="connsiteY886" fmla="*/ 3612679 h 6689084"/>
              <a:gd name="connsiteX887" fmla="*/ 4306532 w 6689088"/>
              <a:gd name="connsiteY887" fmla="*/ 3613045 h 6689084"/>
              <a:gd name="connsiteX888" fmla="*/ 4306170 w 6689088"/>
              <a:gd name="connsiteY888" fmla="*/ 3612679 h 6689084"/>
              <a:gd name="connsiteX889" fmla="*/ 4306532 w 6689088"/>
              <a:gd name="connsiteY889" fmla="*/ 3612317 h 6689084"/>
              <a:gd name="connsiteX890" fmla="*/ 3845414 w 6689088"/>
              <a:gd name="connsiteY890" fmla="*/ 3612317 h 6689084"/>
              <a:gd name="connsiteX891" fmla="*/ 3845776 w 6689088"/>
              <a:gd name="connsiteY891" fmla="*/ 3612679 h 6689084"/>
              <a:gd name="connsiteX892" fmla="*/ 3845414 w 6689088"/>
              <a:gd name="connsiteY892" fmla="*/ 3613045 h 6689084"/>
              <a:gd name="connsiteX893" fmla="*/ 3845052 w 6689088"/>
              <a:gd name="connsiteY893" fmla="*/ 3612679 h 6689084"/>
              <a:gd name="connsiteX894" fmla="*/ 3845414 w 6689088"/>
              <a:gd name="connsiteY894" fmla="*/ 3612317 h 6689084"/>
              <a:gd name="connsiteX895" fmla="*/ 3691467 w 6689088"/>
              <a:gd name="connsiteY895" fmla="*/ 3612317 h 6689084"/>
              <a:gd name="connsiteX896" fmla="*/ 3691829 w 6689088"/>
              <a:gd name="connsiteY896" fmla="*/ 3612679 h 6689084"/>
              <a:gd name="connsiteX897" fmla="*/ 3691467 w 6689088"/>
              <a:gd name="connsiteY897" fmla="*/ 3613045 h 6689084"/>
              <a:gd name="connsiteX898" fmla="*/ 3691105 w 6689088"/>
              <a:gd name="connsiteY898" fmla="*/ 3612679 h 6689084"/>
              <a:gd name="connsiteX899" fmla="*/ 3691467 w 6689088"/>
              <a:gd name="connsiteY899" fmla="*/ 3612317 h 6689084"/>
              <a:gd name="connsiteX900" fmla="*/ 3537886 w 6689088"/>
              <a:gd name="connsiteY900" fmla="*/ 3611955 h 6689084"/>
              <a:gd name="connsiteX901" fmla="*/ 3538610 w 6689088"/>
              <a:gd name="connsiteY901" fmla="*/ 3612683 h 6689084"/>
              <a:gd name="connsiteX902" fmla="*/ 3537886 w 6689088"/>
              <a:gd name="connsiteY902" fmla="*/ 3613407 h 6689084"/>
              <a:gd name="connsiteX903" fmla="*/ 3537158 w 6689088"/>
              <a:gd name="connsiteY903" fmla="*/ 3612683 h 6689084"/>
              <a:gd name="connsiteX904" fmla="*/ 3537886 w 6689088"/>
              <a:gd name="connsiteY904" fmla="*/ 3611955 h 6689084"/>
              <a:gd name="connsiteX905" fmla="*/ 4460480 w 6689088"/>
              <a:gd name="connsiteY905" fmla="*/ 3611226 h 6689084"/>
              <a:gd name="connsiteX906" fmla="*/ 4461932 w 6689088"/>
              <a:gd name="connsiteY906" fmla="*/ 3612679 h 6689084"/>
              <a:gd name="connsiteX907" fmla="*/ 4460480 w 6689088"/>
              <a:gd name="connsiteY907" fmla="*/ 3614131 h 6689084"/>
              <a:gd name="connsiteX908" fmla="*/ 4459028 w 6689088"/>
              <a:gd name="connsiteY908" fmla="*/ 3612679 h 6689084"/>
              <a:gd name="connsiteX909" fmla="*/ 4460480 w 6689088"/>
              <a:gd name="connsiteY909" fmla="*/ 3611226 h 6689084"/>
              <a:gd name="connsiteX910" fmla="*/ 4614061 w 6689088"/>
              <a:gd name="connsiteY910" fmla="*/ 3610502 h 6689084"/>
              <a:gd name="connsiteX911" fmla="*/ 4616242 w 6689088"/>
              <a:gd name="connsiteY911" fmla="*/ 3612679 h 6689084"/>
              <a:gd name="connsiteX912" fmla="*/ 4614061 w 6689088"/>
              <a:gd name="connsiteY912" fmla="*/ 3614859 h 6689084"/>
              <a:gd name="connsiteX913" fmla="*/ 4611884 w 6689088"/>
              <a:gd name="connsiteY913" fmla="*/ 3612679 h 6689084"/>
              <a:gd name="connsiteX914" fmla="*/ 4614061 w 6689088"/>
              <a:gd name="connsiteY914" fmla="*/ 3610502 h 6689084"/>
              <a:gd name="connsiteX915" fmla="*/ 4768008 w 6689088"/>
              <a:gd name="connsiteY915" fmla="*/ 3609774 h 6689084"/>
              <a:gd name="connsiteX916" fmla="*/ 4771276 w 6689088"/>
              <a:gd name="connsiteY916" fmla="*/ 3613041 h 6689084"/>
              <a:gd name="connsiteX917" fmla="*/ 4768008 w 6689088"/>
              <a:gd name="connsiteY917" fmla="*/ 3616312 h 6689084"/>
              <a:gd name="connsiteX918" fmla="*/ 4764742 w 6689088"/>
              <a:gd name="connsiteY918" fmla="*/ 3613041 h 6689084"/>
              <a:gd name="connsiteX919" fmla="*/ 4768008 w 6689088"/>
              <a:gd name="connsiteY919" fmla="*/ 3609774 h 6689084"/>
              <a:gd name="connsiteX920" fmla="*/ 4921594 w 6689088"/>
              <a:gd name="connsiteY920" fmla="*/ 3608322 h 6689084"/>
              <a:gd name="connsiteX921" fmla="*/ 4925951 w 6689088"/>
              <a:gd name="connsiteY921" fmla="*/ 3612679 h 6689084"/>
              <a:gd name="connsiteX922" fmla="*/ 4921594 w 6689088"/>
              <a:gd name="connsiteY922" fmla="*/ 3617036 h 6689084"/>
              <a:gd name="connsiteX923" fmla="*/ 4917237 w 6689088"/>
              <a:gd name="connsiteY923" fmla="*/ 3612679 h 6689084"/>
              <a:gd name="connsiteX924" fmla="*/ 4921594 w 6689088"/>
              <a:gd name="connsiteY924" fmla="*/ 3608322 h 6689084"/>
              <a:gd name="connsiteX925" fmla="*/ 5075541 w 6689088"/>
              <a:gd name="connsiteY925" fmla="*/ 3607232 h 6689084"/>
              <a:gd name="connsiteX926" fmla="*/ 5081350 w 6689088"/>
              <a:gd name="connsiteY926" fmla="*/ 3613041 h 6689084"/>
              <a:gd name="connsiteX927" fmla="*/ 5075541 w 6689088"/>
              <a:gd name="connsiteY927" fmla="*/ 3618850 h 6689084"/>
              <a:gd name="connsiteX928" fmla="*/ 5069732 w 6689088"/>
              <a:gd name="connsiteY928" fmla="*/ 3613041 h 6689084"/>
              <a:gd name="connsiteX929" fmla="*/ 5075541 w 6689088"/>
              <a:gd name="connsiteY929" fmla="*/ 3607232 h 6689084"/>
              <a:gd name="connsiteX930" fmla="*/ 5229126 w 6689088"/>
              <a:gd name="connsiteY930" fmla="*/ 3605417 h 6689084"/>
              <a:gd name="connsiteX931" fmla="*/ 5236388 w 6689088"/>
              <a:gd name="connsiteY931" fmla="*/ 3612679 h 6689084"/>
              <a:gd name="connsiteX932" fmla="*/ 5229126 w 6689088"/>
              <a:gd name="connsiteY932" fmla="*/ 3619940 h 6689084"/>
              <a:gd name="connsiteX933" fmla="*/ 5221865 w 6689088"/>
              <a:gd name="connsiteY933" fmla="*/ 3612679 h 6689084"/>
              <a:gd name="connsiteX934" fmla="*/ 5229126 w 6689088"/>
              <a:gd name="connsiteY934" fmla="*/ 3605417 h 6689084"/>
              <a:gd name="connsiteX935" fmla="*/ 5383074 w 6689088"/>
              <a:gd name="connsiteY935" fmla="*/ 3603603 h 6689084"/>
              <a:gd name="connsiteX936" fmla="*/ 5392154 w 6689088"/>
              <a:gd name="connsiteY936" fmla="*/ 3612679 h 6689084"/>
              <a:gd name="connsiteX937" fmla="*/ 5383074 w 6689088"/>
              <a:gd name="connsiteY937" fmla="*/ 3621759 h 6689084"/>
              <a:gd name="connsiteX938" fmla="*/ 5373998 w 6689088"/>
              <a:gd name="connsiteY938" fmla="*/ 3612679 h 6689084"/>
              <a:gd name="connsiteX939" fmla="*/ 5383074 w 6689088"/>
              <a:gd name="connsiteY939" fmla="*/ 3603603 h 6689084"/>
              <a:gd name="connsiteX940" fmla="*/ 5536659 w 6689088"/>
              <a:gd name="connsiteY940" fmla="*/ 3602512 h 6689084"/>
              <a:gd name="connsiteX941" fmla="*/ 5546826 w 6689088"/>
              <a:gd name="connsiteY941" fmla="*/ 3612679 h 6689084"/>
              <a:gd name="connsiteX942" fmla="*/ 5536659 w 6689088"/>
              <a:gd name="connsiteY942" fmla="*/ 3622845 h 6689084"/>
              <a:gd name="connsiteX943" fmla="*/ 5526493 w 6689088"/>
              <a:gd name="connsiteY943" fmla="*/ 3612679 h 6689084"/>
              <a:gd name="connsiteX944" fmla="*/ 5536659 w 6689088"/>
              <a:gd name="connsiteY944" fmla="*/ 3602512 h 6689084"/>
              <a:gd name="connsiteX945" fmla="*/ 5690602 w 6689088"/>
              <a:gd name="connsiteY945" fmla="*/ 3600698 h 6689084"/>
              <a:gd name="connsiteX946" fmla="*/ 5702584 w 6689088"/>
              <a:gd name="connsiteY946" fmla="*/ 3612679 h 6689084"/>
              <a:gd name="connsiteX947" fmla="*/ 5690602 w 6689088"/>
              <a:gd name="connsiteY947" fmla="*/ 3624663 h 6689084"/>
              <a:gd name="connsiteX948" fmla="*/ 5678622 w 6689088"/>
              <a:gd name="connsiteY948" fmla="*/ 3612679 h 6689084"/>
              <a:gd name="connsiteX949" fmla="*/ 5690602 w 6689088"/>
              <a:gd name="connsiteY949" fmla="*/ 3600698 h 6689084"/>
              <a:gd name="connsiteX950" fmla="*/ 5844554 w 6689088"/>
              <a:gd name="connsiteY950" fmla="*/ 3598884 h 6689084"/>
              <a:gd name="connsiteX951" fmla="*/ 5858349 w 6689088"/>
              <a:gd name="connsiteY951" fmla="*/ 3612683 h 6689084"/>
              <a:gd name="connsiteX952" fmla="*/ 5844554 w 6689088"/>
              <a:gd name="connsiteY952" fmla="*/ 3626478 h 6689084"/>
              <a:gd name="connsiteX953" fmla="*/ 5830755 w 6689088"/>
              <a:gd name="connsiteY953" fmla="*/ 3612683 h 6689084"/>
              <a:gd name="connsiteX954" fmla="*/ 5844554 w 6689088"/>
              <a:gd name="connsiteY954" fmla="*/ 3598884 h 6689084"/>
              <a:gd name="connsiteX955" fmla="*/ 5998139 w 6689088"/>
              <a:gd name="connsiteY955" fmla="*/ 3597431 h 6689084"/>
              <a:gd name="connsiteX956" fmla="*/ 6013387 w 6689088"/>
              <a:gd name="connsiteY956" fmla="*/ 3612683 h 6689084"/>
              <a:gd name="connsiteX957" fmla="*/ 5998139 w 6689088"/>
              <a:gd name="connsiteY957" fmla="*/ 3627930 h 6689084"/>
              <a:gd name="connsiteX958" fmla="*/ 5982892 w 6689088"/>
              <a:gd name="connsiteY958" fmla="*/ 3612683 h 6689084"/>
              <a:gd name="connsiteX959" fmla="*/ 5998139 w 6689088"/>
              <a:gd name="connsiteY959" fmla="*/ 3597431 h 6689084"/>
              <a:gd name="connsiteX960" fmla="*/ 6152083 w 6689088"/>
              <a:gd name="connsiteY960" fmla="*/ 3595613 h 6689084"/>
              <a:gd name="connsiteX961" fmla="*/ 6169152 w 6689088"/>
              <a:gd name="connsiteY961" fmla="*/ 3612679 h 6689084"/>
              <a:gd name="connsiteX962" fmla="*/ 6152083 w 6689088"/>
              <a:gd name="connsiteY962" fmla="*/ 3629745 h 6689084"/>
              <a:gd name="connsiteX963" fmla="*/ 6135020 w 6689088"/>
              <a:gd name="connsiteY963" fmla="*/ 3612679 h 6689084"/>
              <a:gd name="connsiteX964" fmla="*/ 6152083 w 6689088"/>
              <a:gd name="connsiteY964" fmla="*/ 3595613 h 6689084"/>
              <a:gd name="connsiteX965" fmla="*/ 6305668 w 6689088"/>
              <a:gd name="connsiteY965" fmla="*/ 3593436 h 6689084"/>
              <a:gd name="connsiteX966" fmla="*/ 6324910 w 6689088"/>
              <a:gd name="connsiteY966" fmla="*/ 3612679 h 6689084"/>
              <a:gd name="connsiteX967" fmla="*/ 6305668 w 6689088"/>
              <a:gd name="connsiteY967" fmla="*/ 3631921 h 6689084"/>
              <a:gd name="connsiteX968" fmla="*/ 6286422 w 6689088"/>
              <a:gd name="connsiteY968" fmla="*/ 3612679 h 6689084"/>
              <a:gd name="connsiteX969" fmla="*/ 6305668 w 6689088"/>
              <a:gd name="connsiteY969" fmla="*/ 3593436 h 6689084"/>
              <a:gd name="connsiteX970" fmla="*/ 6459616 w 6689088"/>
              <a:gd name="connsiteY970" fmla="*/ 3591256 h 6689084"/>
              <a:gd name="connsiteX971" fmla="*/ 6481038 w 6689088"/>
              <a:gd name="connsiteY971" fmla="*/ 3612679 h 6689084"/>
              <a:gd name="connsiteX972" fmla="*/ 6459616 w 6689088"/>
              <a:gd name="connsiteY972" fmla="*/ 3634098 h 6689084"/>
              <a:gd name="connsiteX973" fmla="*/ 6438192 w 6689088"/>
              <a:gd name="connsiteY973" fmla="*/ 3612679 h 6689084"/>
              <a:gd name="connsiteX974" fmla="*/ 6459616 w 6689088"/>
              <a:gd name="connsiteY974" fmla="*/ 3591256 h 6689084"/>
              <a:gd name="connsiteX975" fmla="*/ 6613200 w 6689088"/>
              <a:gd name="connsiteY975" fmla="*/ 3589804 h 6689084"/>
              <a:gd name="connsiteX976" fmla="*/ 6636072 w 6689088"/>
              <a:gd name="connsiteY976" fmla="*/ 3612679 h 6689084"/>
              <a:gd name="connsiteX977" fmla="*/ 6613200 w 6689088"/>
              <a:gd name="connsiteY977" fmla="*/ 3635550 h 6689084"/>
              <a:gd name="connsiteX978" fmla="*/ 6590326 w 6689088"/>
              <a:gd name="connsiteY978" fmla="*/ 3612679 h 6689084"/>
              <a:gd name="connsiteX979" fmla="*/ 6613200 w 6689088"/>
              <a:gd name="connsiteY979" fmla="*/ 3589804 h 6689084"/>
              <a:gd name="connsiteX980" fmla="*/ 4152947 w 6689088"/>
              <a:gd name="connsiteY980" fmla="*/ 3458731 h 6689084"/>
              <a:gd name="connsiteX981" fmla="*/ 4153309 w 6689088"/>
              <a:gd name="connsiteY981" fmla="*/ 3459094 h 6689084"/>
              <a:gd name="connsiteX982" fmla="*/ 4152947 w 6689088"/>
              <a:gd name="connsiteY982" fmla="*/ 3459456 h 6689084"/>
              <a:gd name="connsiteX983" fmla="*/ 4152585 w 6689088"/>
              <a:gd name="connsiteY983" fmla="*/ 3459094 h 6689084"/>
              <a:gd name="connsiteX984" fmla="*/ 4152947 w 6689088"/>
              <a:gd name="connsiteY984" fmla="*/ 3458731 h 6689084"/>
              <a:gd name="connsiteX985" fmla="*/ 3691467 w 6689088"/>
              <a:gd name="connsiteY985" fmla="*/ 3458731 h 6689084"/>
              <a:gd name="connsiteX986" fmla="*/ 3691829 w 6689088"/>
              <a:gd name="connsiteY986" fmla="*/ 3459094 h 6689084"/>
              <a:gd name="connsiteX987" fmla="*/ 3691467 w 6689088"/>
              <a:gd name="connsiteY987" fmla="*/ 3459456 h 6689084"/>
              <a:gd name="connsiteX988" fmla="*/ 3691105 w 6689088"/>
              <a:gd name="connsiteY988" fmla="*/ 3459094 h 6689084"/>
              <a:gd name="connsiteX989" fmla="*/ 3691467 w 6689088"/>
              <a:gd name="connsiteY989" fmla="*/ 3458731 h 6689084"/>
              <a:gd name="connsiteX990" fmla="*/ 3537882 w 6689088"/>
              <a:gd name="connsiteY990" fmla="*/ 3458731 h 6689084"/>
              <a:gd name="connsiteX991" fmla="*/ 3538244 w 6689088"/>
              <a:gd name="connsiteY991" fmla="*/ 3459094 h 6689084"/>
              <a:gd name="connsiteX992" fmla="*/ 3537882 w 6689088"/>
              <a:gd name="connsiteY992" fmla="*/ 3459456 h 6689084"/>
              <a:gd name="connsiteX993" fmla="*/ 3537520 w 6689088"/>
              <a:gd name="connsiteY993" fmla="*/ 3459094 h 6689084"/>
              <a:gd name="connsiteX994" fmla="*/ 3537882 w 6689088"/>
              <a:gd name="connsiteY994" fmla="*/ 3458731 h 6689084"/>
              <a:gd name="connsiteX995" fmla="*/ 3383938 w 6689088"/>
              <a:gd name="connsiteY995" fmla="*/ 3458369 h 6689084"/>
              <a:gd name="connsiteX996" fmla="*/ 3384662 w 6689088"/>
              <a:gd name="connsiteY996" fmla="*/ 3459094 h 6689084"/>
              <a:gd name="connsiteX997" fmla="*/ 3383938 w 6689088"/>
              <a:gd name="connsiteY997" fmla="*/ 3459822 h 6689084"/>
              <a:gd name="connsiteX998" fmla="*/ 3383210 w 6689088"/>
              <a:gd name="connsiteY998" fmla="*/ 3459094 h 6689084"/>
              <a:gd name="connsiteX999" fmla="*/ 3383938 w 6689088"/>
              <a:gd name="connsiteY999" fmla="*/ 3458369 h 6689084"/>
              <a:gd name="connsiteX1000" fmla="*/ 4306532 w 6689088"/>
              <a:gd name="connsiteY1000" fmla="*/ 3457279 h 6689084"/>
              <a:gd name="connsiteX1001" fmla="*/ 4307984 w 6689088"/>
              <a:gd name="connsiteY1001" fmla="*/ 3458731 h 6689084"/>
              <a:gd name="connsiteX1002" fmla="*/ 4306532 w 6689088"/>
              <a:gd name="connsiteY1002" fmla="*/ 3460184 h 6689084"/>
              <a:gd name="connsiteX1003" fmla="*/ 4305080 w 6689088"/>
              <a:gd name="connsiteY1003" fmla="*/ 3458731 h 6689084"/>
              <a:gd name="connsiteX1004" fmla="*/ 4306532 w 6689088"/>
              <a:gd name="connsiteY1004" fmla="*/ 3457279 h 6689084"/>
              <a:gd name="connsiteX1005" fmla="*/ 4460480 w 6689088"/>
              <a:gd name="connsiteY1005" fmla="*/ 3456917 h 6689084"/>
              <a:gd name="connsiteX1006" fmla="*/ 4462656 w 6689088"/>
              <a:gd name="connsiteY1006" fmla="*/ 3459094 h 6689084"/>
              <a:gd name="connsiteX1007" fmla="*/ 4460480 w 6689088"/>
              <a:gd name="connsiteY1007" fmla="*/ 3461274 h 6689084"/>
              <a:gd name="connsiteX1008" fmla="*/ 4458300 w 6689088"/>
              <a:gd name="connsiteY1008" fmla="*/ 3459094 h 6689084"/>
              <a:gd name="connsiteX1009" fmla="*/ 4460480 w 6689088"/>
              <a:gd name="connsiteY1009" fmla="*/ 3456917 h 6689084"/>
              <a:gd name="connsiteX1010" fmla="*/ 4614061 w 6689088"/>
              <a:gd name="connsiteY1010" fmla="*/ 3455827 h 6689084"/>
              <a:gd name="connsiteX1011" fmla="*/ 4617328 w 6689088"/>
              <a:gd name="connsiteY1011" fmla="*/ 3459094 h 6689084"/>
              <a:gd name="connsiteX1012" fmla="*/ 4614061 w 6689088"/>
              <a:gd name="connsiteY1012" fmla="*/ 3462364 h 6689084"/>
              <a:gd name="connsiteX1013" fmla="*/ 4610794 w 6689088"/>
              <a:gd name="connsiteY1013" fmla="*/ 3459094 h 6689084"/>
              <a:gd name="connsiteX1014" fmla="*/ 4614061 w 6689088"/>
              <a:gd name="connsiteY1014" fmla="*/ 3455827 h 6689084"/>
              <a:gd name="connsiteX1015" fmla="*/ 4768008 w 6689088"/>
              <a:gd name="connsiteY1015" fmla="*/ 3454374 h 6689084"/>
              <a:gd name="connsiteX1016" fmla="*/ 4772366 w 6689088"/>
              <a:gd name="connsiteY1016" fmla="*/ 3458731 h 6689084"/>
              <a:gd name="connsiteX1017" fmla="*/ 4768008 w 6689088"/>
              <a:gd name="connsiteY1017" fmla="*/ 3463088 h 6689084"/>
              <a:gd name="connsiteX1018" fmla="*/ 4763652 w 6689088"/>
              <a:gd name="connsiteY1018" fmla="*/ 3458731 h 6689084"/>
              <a:gd name="connsiteX1019" fmla="*/ 4768008 w 6689088"/>
              <a:gd name="connsiteY1019" fmla="*/ 3454374 h 6689084"/>
              <a:gd name="connsiteX1020" fmla="*/ 4921594 w 6689088"/>
              <a:gd name="connsiteY1020" fmla="*/ 3453284 h 6689084"/>
              <a:gd name="connsiteX1021" fmla="*/ 4927403 w 6689088"/>
              <a:gd name="connsiteY1021" fmla="*/ 3459094 h 6689084"/>
              <a:gd name="connsiteX1022" fmla="*/ 4921594 w 6689088"/>
              <a:gd name="connsiteY1022" fmla="*/ 3464903 h 6689084"/>
              <a:gd name="connsiteX1023" fmla="*/ 4915784 w 6689088"/>
              <a:gd name="connsiteY1023" fmla="*/ 3459094 h 6689084"/>
              <a:gd name="connsiteX1024" fmla="*/ 4921594 w 6689088"/>
              <a:gd name="connsiteY1024" fmla="*/ 3453284 h 6689084"/>
              <a:gd name="connsiteX1025" fmla="*/ 5075541 w 6689088"/>
              <a:gd name="connsiteY1025" fmla="*/ 3451832 h 6689084"/>
              <a:gd name="connsiteX1026" fmla="*/ 5082803 w 6689088"/>
              <a:gd name="connsiteY1026" fmla="*/ 3459094 h 6689084"/>
              <a:gd name="connsiteX1027" fmla="*/ 5075541 w 6689088"/>
              <a:gd name="connsiteY1027" fmla="*/ 3466355 h 6689084"/>
              <a:gd name="connsiteX1028" fmla="*/ 5068280 w 6689088"/>
              <a:gd name="connsiteY1028" fmla="*/ 3459094 h 6689084"/>
              <a:gd name="connsiteX1029" fmla="*/ 5075541 w 6689088"/>
              <a:gd name="connsiteY1029" fmla="*/ 3451832 h 6689084"/>
              <a:gd name="connsiteX1030" fmla="*/ 5229126 w 6689088"/>
              <a:gd name="connsiteY1030" fmla="*/ 3449655 h 6689084"/>
              <a:gd name="connsiteX1031" fmla="*/ 5238206 w 6689088"/>
              <a:gd name="connsiteY1031" fmla="*/ 3458731 h 6689084"/>
              <a:gd name="connsiteX1032" fmla="*/ 5229126 w 6689088"/>
              <a:gd name="connsiteY1032" fmla="*/ 3467811 h 6689084"/>
              <a:gd name="connsiteX1033" fmla="*/ 5220050 w 6689088"/>
              <a:gd name="connsiteY1033" fmla="*/ 3458731 h 6689084"/>
              <a:gd name="connsiteX1034" fmla="*/ 5229126 w 6689088"/>
              <a:gd name="connsiteY1034" fmla="*/ 3449655 h 6689084"/>
              <a:gd name="connsiteX1035" fmla="*/ 5383074 w 6689088"/>
              <a:gd name="connsiteY1035" fmla="*/ 3448927 h 6689084"/>
              <a:gd name="connsiteX1036" fmla="*/ 5393240 w 6689088"/>
              <a:gd name="connsiteY1036" fmla="*/ 3459094 h 6689084"/>
              <a:gd name="connsiteX1037" fmla="*/ 5383074 w 6689088"/>
              <a:gd name="connsiteY1037" fmla="*/ 3469260 h 6689084"/>
              <a:gd name="connsiteX1038" fmla="*/ 5372908 w 6689088"/>
              <a:gd name="connsiteY1038" fmla="*/ 3459094 h 6689084"/>
              <a:gd name="connsiteX1039" fmla="*/ 5383074 w 6689088"/>
              <a:gd name="connsiteY1039" fmla="*/ 3448927 h 6689084"/>
              <a:gd name="connsiteX1040" fmla="*/ 5536659 w 6689088"/>
              <a:gd name="connsiteY1040" fmla="*/ 3447113 h 6689084"/>
              <a:gd name="connsiteX1041" fmla="*/ 5548640 w 6689088"/>
              <a:gd name="connsiteY1041" fmla="*/ 3459094 h 6689084"/>
              <a:gd name="connsiteX1042" fmla="*/ 5536659 w 6689088"/>
              <a:gd name="connsiteY1042" fmla="*/ 3471074 h 6689084"/>
              <a:gd name="connsiteX1043" fmla="*/ 5524678 w 6689088"/>
              <a:gd name="connsiteY1043" fmla="*/ 3459094 h 6689084"/>
              <a:gd name="connsiteX1044" fmla="*/ 5536659 w 6689088"/>
              <a:gd name="connsiteY1044" fmla="*/ 3447113 h 6689084"/>
              <a:gd name="connsiteX1045" fmla="*/ 5690606 w 6689088"/>
              <a:gd name="connsiteY1045" fmla="*/ 3445298 h 6689084"/>
              <a:gd name="connsiteX1046" fmla="*/ 5704402 w 6689088"/>
              <a:gd name="connsiteY1046" fmla="*/ 3459094 h 6689084"/>
              <a:gd name="connsiteX1047" fmla="*/ 5690606 w 6689088"/>
              <a:gd name="connsiteY1047" fmla="*/ 3472893 h 6689084"/>
              <a:gd name="connsiteX1048" fmla="*/ 5676808 w 6689088"/>
              <a:gd name="connsiteY1048" fmla="*/ 3459094 h 6689084"/>
              <a:gd name="connsiteX1049" fmla="*/ 5690606 w 6689088"/>
              <a:gd name="connsiteY1049" fmla="*/ 3445298 h 6689084"/>
              <a:gd name="connsiteX1050" fmla="*/ 5844554 w 6689088"/>
              <a:gd name="connsiteY1050" fmla="*/ 3443846 h 6689084"/>
              <a:gd name="connsiteX1051" fmla="*/ 5859802 w 6689088"/>
              <a:gd name="connsiteY1051" fmla="*/ 3459094 h 6689084"/>
              <a:gd name="connsiteX1052" fmla="*/ 5844554 w 6689088"/>
              <a:gd name="connsiteY1052" fmla="*/ 3474345 h 6689084"/>
              <a:gd name="connsiteX1053" fmla="*/ 5829302 w 6689088"/>
              <a:gd name="connsiteY1053" fmla="*/ 3459094 h 6689084"/>
              <a:gd name="connsiteX1054" fmla="*/ 5844554 w 6689088"/>
              <a:gd name="connsiteY1054" fmla="*/ 3443846 h 6689084"/>
              <a:gd name="connsiteX1055" fmla="*/ 5998139 w 6689088"/>
              <a:gd name="connsiteY1055" fmla="*/ 3442031 h 6689084"/>
              <a:gd name="connsiteX1056" fmla="*/ 6015205 w 6689088"/>
              <a:gd name="connsiteY1056" fmla="*/ 3459097 h 6689084"/>
              <a:gd name="connsiteX1057" fmla="*/ 5998139 w 6689088"/>
              <a:gd name="connsiteY1057" fmla="*/ 3476159 h 6689084"/>
              <a:gd name="connsiteX1058" fmla="*/ 5981077 w 6689088"/>
              <a:gd name="connsiteY1058" fmla="*/ 3459097 h 6689084"/>
              <a:gd name="connsiteX1059" fmla="*/ 5998139 w 6689088"/>
              <a:gd name="connsiteY1059" fmla="*/ 3442031 h 6689084"/>
              <a:gd name="connsiteX1060" fmla="*/ 6152083 w 6689088"/>
              <a:gd name="connsiteY1060" fmla="*/ 3439851 h 6689084"/>
              <a:gd name="connsiteX1061" fmla="*/ 6171329 w 6689088"/>
              <a:gd name="connsiteY1061" fmla="*/ 3459094 h 6689084"/>
              <a:gd name="connsiteX1062" fmla="*/ 6152083 w 6689088"/>
              <a:gd name="connsiteY1062" fmla="*/ 3478336 h 6689084"/>
              <a:gd name="connsiteX1063" fmla="*/ 6132836 w 6689088"/>
              <a:gd name="connsiteY1063" fmla="*/ 3459094 h 6689084"/>
              <a:gd name="connsiteX1064" fmla="*/ 6152083 w 6689088"/>
              <a:gd name="connsiteY1064" fmla="*/ 3439851 h 6689084"/>
              <a:gd name="connsiteX1065" fmla="*/ 6305668 w 6689088"/>
              <a:gd name="connsiteY1065" fmla="*/ 3437674 h 6689084"/>
              <a:gd name="connsiteX1066" fmla="*/ 6327091 w 6689088"/>
              <a:gd name="connsiteY1066" fmla="*/ 3459097 h 6689084"/>
              <a:gd name="connsiteX1067" fmla="*/ 6305668 w 6689088"/>
              <a:gd name="connsiteY1067" fmla="*/ 3480516 h 6689084"/>
              <a:gd name="connsiteX1068" fmla="*/ 6284245 w 6689088"/>
              <a:gd name="connsiteY1068" fmla="*/ 3459097 h 6689084"/>
              <a:gd name="connsiteX1069" fmla="*/ 6305668 w 6689088"/>
              <a:gd name="connsiteY1069" fmla="*/ 3437674 h 6689084"/>
              <a:gd name="connsiteX1070" fmla="*/ 6459619 w 6689088"/>
              <a:gd name="connsiteY1070" fmla="*/ 3436222 h 6689084"/>
              <a:gd name="connsiteX1071" fmla="*/ 6482494 w 6689088"/>
              <a:gd name="connsiteY1071" fmla="*/ 3459097 h 6689084"/>
              <a:gd name="connsiteX1072" fmla="*/ 6459619 w 6689088"/>
              <a:gd name="connsiteY1072" fmla="*/ 3481969 h 6689084"/>
              <a:gd name="connsiteX1073" fmla="*/ 6436744 w 6689088"/>
              <a:gd name="connsiteY1073" fmla="*/ 3459097 h 6689084"/>
              <a:gd name="connsiteX1074" fmla="*/ 6459619 w 6689088"/>
              <a:gd name="connsiteY1074" fmla="*/ 3436222 h 6689084"/>
              <a:gd name="connsiteX1075" fmla="*/ 6613200 w 6689088"/>
              <a:gd name="connsiteY1075" fmla="*/ 3434042 h 6689084"/>
              <a:gd name="connsiteX1076" fmla="*/ 6638252 w 6689088"/>
              <a:gd name="connsiteY1076" fmla="*/ 3459094 h 6689084"/>
              <a:gd name="connsiteX1077" fmla="*/ 6613200 w 6689088"/>
              <a:gd name="connsiteY1077" fmla="*/ 3484145 h 6689084"/>
              <a:gd name="connsiteX1078" fmla="*/ 6588149 w 6689088"/>
              <a:gd name="connsiteY1078" fmla="*/ 3459094 h 6689084"/>
              <a:gd name="connsiteX1079" fmla="*/ 6613200 w 6689088"/>
              <a:gd name="connsiteY1079" fmla="*/ 3434042 h 6689084"/>
              <a:gd name="connsiteX1080" fmla="*/ 3999000 w 6689088"/>
              <a:gd name="connsiteY1080" fmla="*/ 3304784 h 6689084"/>
              <a:gd name="connsiteX1081" fmla="*/ 3999362 w 6689088"/>
              <a:gd name="connsiteY1081" fmla="*/ 3305146 h 6689084"/>
              <a:gd name="connsiteX1082" fmla="*/ 3999000 w 6689088"/>
              <a:gd name="connsiteY1082" fmla="*/ 3305512 h 6689084"/>
              <a:gd name="connsiteX1083" fmla="*/ 3998638 w 6689088"/>
              <a:gd name="connsiteY1083" fmla="*/ 3305146 h 6689084"/>
              <a:gd name="connsiteX1084" fmla="*/ 3999000 w 6689088"/>
              <a:gd name="connsiteY1084" fmla="*/ 3304784 h 6689084"/>
              <a:gd name="connsiteX1085" fmla="*/ 3537882 w 6689088"/>
              <a:gd name="connsiteY1085" fmla="*/ 3304784 h 6689084"/>
              <a:gd name="connsiteX1086" fmla="*/ 3538244 w 6689088"/>
              <a:gd name="connsiteY1086" fmla="*/ 3305146 h 6689084"/>
              <a:gd name="connsiteX1087" fmla="*/ 3537882 w 6689088"/>
              <a:gd name="connsiteY1087" fmla="*/ 3305512 h 6689084"/>
              <a:gd name="connsiteX1088" fmla="*/ 3537520 w 6689088"/>
              <a:gd name="connsiteY1088" fmla="*/ 3305146 h 6689084"/>
              <a:gd name="connsiteX1089" fmla="*/ 3537882 w 6689088"/>
              <a:gd name="connsiteY1089" fmla="*/ 3304784 h 6689084"/>
              <a:gd name="connsiteX1090" fmla="*/ 3383934 w 6689088"/>
              <a:gd name="connsiteY1090" fmla="*/ 3304784 h 6689084"/>
              <a:gd name="connsiteX1091" fmla="*/ 3384296 w 6689088"/>
              <a:gd name="connsiteY1091" fmla="*/ 3305146 h 6689084"/>
              <a:gd name="connsiteX1092" fmla="*/ 3383934 w 6689088"/>
              <a:gd name="connsiteY1092" fmla="*/ 3305512 h 6689084"/>
              <a:gd name="connsiteX1093" fmla="*/ 3383572 w 6689088"/>
              <a:gd name="connsiteY1093" fmla="*/ 3305146 h 6689084"/>
              <a:gd name="connsiteX1094" fmla="*/ 3383934 w 6689088"/>
              <a:gd name="connsiteY1094" fmla="*/ 3304784 h 6689084"/>
              <a:gd name="connsiteX1095" fmla="*/ 3230353 w 6689088"/>
              <a:gd name="connsiteY1095" fmla="*/ 3304422 h 6689084"/>
              <a:gd name="connsiteX1096" fmla="*/ 3231077 w 6689088"/>
              <a:gd name="connsiteY1096" fmla="*/ 3305146 h 6689084"/>
              <a:gd name="connsiteX1097" fmla="*/ 3230353 w 6689088"/>
              <a:gd name="connsiteY1097" fmla="*/ 3305874 h 6689084"/>
              <a:gd name="connsiteX1098" fmla="*/ 3229625 w 6689088"/>
              <a:gd name="connsiteY1098" fmla="*/ 3305146 h 6689084"/>
              <a:gd name="connsiteX1099" fmla="*/ 3230353 w 6689088"/>
              <a:gd name="connsiteY1099" fmla="*/ 3304422 h 6689084"/>
              <a:gd name="connsiteX1100" fmla="*/ 4152947 w 6689088"/>
              <a:gd name="connsiteY1100" fmla="*/ 3303694 h 6689084"/>
              <a:gd name="connsiteX1101" fmla="*/ 4154400 w 6689088"/>
              <a:gd name="connsiteY1101" fmla="*/ 3305146 h 6689084"/>
              <a:gd name="connsiteX1102" fmla="*/ 4152947 w 6689088"/>
              <a:gd name="connsiteY1102" fmla="*/ 3306598 h 6689084"/>
              <a:gd name="connsiteX1103" fmla="*/ 4151494 w 6689088"/>
              <a:gd name="connsiteY1103" fmla="*/ 3305146 h 6689084"/>
              <a:gd name="connsiteX1104" fmla="*/ 4152947 w 6689088"/>
              <a:gd name="connsiteY1104" fmla="*/ 3303694 h 6689084"/>
              <a:gd name="connsiteX1105" fmla="*/ 4306528 w 6689088"/>
              <a:gd name="connsiteY1105" fmla="*/ 3302970 h 6689084"/>
              <a:gd name="connsiteX1106" fmla="*/ 4308709 w 6689088"/>
              <a:gd name="connsiteY1106" fmla="*/ 3305146 h 6689084"/>
              <a:gd name="connsiteX1107" fmla="*/ 4306528 w 6689088"/>
              <a:gd name="connsiteY1107" fmla="*/ 3307327 h 6689084"/>
              <a:gd name="connsiteX1108" fmla="*/ 4304352 w 6689088"/>
              <a:gd name="connsiteY1108" fmla="*/ 3305146 h 6689084"/>
              <a:gd name="connsiteX1109" fmla="*/ 4306528 w 6689088"/>
              <a:gd name="connsiteY1109" fmla="*/ 3302970 h 6689084"/>
              <a:gd name="connsiteX1110" fmla="*/ 4460480 w 6689088"/>
              <a:gd name="connsiteY1110" fmla="*/ 3302241 h 6689084"/>
              <a:gd name="connsiteX1111" fmla="*/ 4463746 w 6689088"/>
              <a:gd name="connsiteY1111" fmla="*/ 3305508 h 6689084"/>
              <a:gd name="connsiteX1112" fmla="*/ 4460480 w 6689088"/>
              <a:gd name="connsiteY1112" fmla="*/ 3308779 h 6689084"/>
              <a:gd name="connsiteX1113" fmla="*/ 4457213 w 6689088"/>
              <a:gd name="connsiteY1113" fmla="*/ 3305508 h 6689084"/>
              <a:gd name="connsiteX1114" fmla="*/ 4460480 w 6689088"/>
              <a:gd name="connsiteY1114" fmla="*/ 3302241 h 6689084"/>
              <a:gd name="connsiteX1115" fmla="*/ 4614061 w 6689088"/>
              <a:gd name="connsiteY1115" fmla="*/ 3300789 h 6689084"/>
              <a:gd name="connsiteX1116" fmla="*/ 4618418 w 6689088"/>
              <a:gd name="connsiteY1116" fmla="*/ 3305146 h 6689084"/>
              <a:gd name="connsiteX1117" fmla="*/ 4614061 w 6689088"/>
              <a:gd name="connsiteY1117" fmla="*/ 3309503 h 6689084"/>
              <a:gd name="connsiteX1118" fmla="*/ 4609704 w 6689088"/>
              <a:gd name="connsiteY1118" fmla="*/ 3305146 h 6689084"/>
              <a:gd name="connsiteX1119" fmla="*/ 4614061 w 6689088"/>
              <a:gd name="connsiteY1119" fmla="*/ 3300789 h 6689084"/>
              <a:gd name="connsiteX1120" fmla="*/ 4768012 w 6689088"/>
              <a:gd name="connsiteY1120" fmla="*/ 3299699 h 6689084"/>
              <a:gd name="connsiteX1121" fmla="*/ 4773822 w 6689088"/>
              <a:gd name="connsiteY1121" fmla="*/ 3305508 h 6689084"/>
              <a:gd name="connsiteX1122" fmla="*/ 4768012 w 6689088"/>
              <a:gd name="connsiteY1122" fmla="*/ 3311318 h 6689084"/>
              <a:gd name="connsiteX1123" fmla="*/ 4762203 w 6689088"/>
              <a:gd name="connsiteY1123" fmla="*/ 3305508 h 6689084"/>
              <a:gd name="connsiteX1124" fmla="*/ 4768012 w 6689088"/>
              <a:gd name="connsiteY1124" fmla="*/ 3299699 h 6689084"/>
              <a:gd name="connsiteX1125" fmla="*/ 4921594 w 6689088"/>
              <a:gd name="connsiteY1125" fmla="*/ 3297885 h 6689084"/>
              <a:gd name="connsiteX1126" fmla="*/ 4928856 w 6689088"/>
              <a:gd name="connsiteY1126" fmla="*/ 3305146 h 6689084"/>
              <a:gd name="connsiteX1127" fmla="*/ 4921594 w 6689088"/>
              <a:gd name="connsiteY1127" fmla="*/ 3312408 h 6689084"/>
              <a:gd name="connsiteX1128" fmla="*/ 4914332 w 6689088"/>
              <a:gd name="connsiteY1128" fmla="*/ 3305146 h 6689084"/>
              <a:gd name="connsiteX1129" fmla="*/ 4921594 w 6689088"/>
              <a:gd name="connsiteY1129" fmla="*/ 3297885 h 6689084"/>
              <a:gd name="connsiteX1130" fmla="*/ 5075541 w 6689088"/>
              <a:gd name="connsiteY1130" fmla="*/ 3296070 h 6689084"/>
              <a:gd name="connsiteX1131" fmla="*/ 5084621 w 6689088"/>
              <a:gd name="connsiteY1131" fmla="*/ 3305146 h 6689084"/>
              <a:gd name="connsiteX1132" fmla="*/ 5075541 w 6689088"/>
              <a:gd name="connsiteY1132" fmla="*/ 3314226 h 6689084"/>
              <a:gd name="connsiteX1133" fmla="*/ 5066465 w 6689088"/>
              <a:gd name="connsiteY1133" fmla="*/ 3305146 h 6689084"/>
              <a:gd name="connsiteX1134" fmla="*/ 5075541 w 6689088"/>
              <a:gd name="connsiteY1134" fmla="*/ 3296070 h 6689084"/>
              <a:gd name="connsiteX1135" fmla="*/ 5229126 w 6689088"/>
              <a:gd name="connsiteY1135" fmla="*/ 3294980 h 6689084"/>
              <a:gd name="connsiteX1136" fmla="*/ 5239293 w 6689088"/>
              <a:gd name="connsiteY1136" fmla="*/ 3305146 h 6689084"/>
              <a:gd name="connsiteX1137" fmla="*/ 5229126 w 6689088"/>
              <a:gd name="connsiteY1137" fmla="*/ 3315312 h 6689084"/>
              <a:gd name="connsiteX1138" fmla="*/ 5218960 w 6689088"/>
              <a:gd name="connsiteY1138" fmla="*/ 3305146 h 6689084"/>
              <a:gd name="connsiteX1139" fmla="*/ 5229126 w 6689088"/>
              <a:gd name="connsiteY1139" fmla="*/ 3294980 h 6689084"/>
              <a:gd name="connsiteX1140" fmla="*/ 5383074 w 6689088"/>
              <a:gd name="connsiteY1140" fmla="*/ 3293165 h 6689084"/>
              <a:gd name="connsiteX1141" fmla="*/ 5395058 w 6689088"/>
              <a:gd name="connsiteY1141" fmla="*/ 3305146 h 6689084"/>
              <a:gd name="connsiteX1142" fmla="*/ 5383074 w 6689088"/>
              <a:gd name="connsiteY1142" fmla="*/ 3317131 h 6689084"/>
              <a:gd name="connsiteX1143" fmla="*/ 5371093 w 6689088"/>
              <a:gd name="connsiteY1143" fmla="*/ 3305146 h 6689084"/>
              <a:gd name="connsiteX1144" fmla="*/ 5383074 w 6689088"/>
              <a:gd name="connsiteY1144" fmla="*/ 3293165 h 6689084"/>
              <a:gd name="connsiteX1145" fmla="*/ 5537021 w 6689088"/>
              <a:gd name="connsiteY1145" fmla="*/ 3291351 h 6689084"/>
              <a:gd name="connsiteX1146" fmla="*/ 5550820 w 6689088"/>
              <a:gd name="connsiteY1146" fmla="*/ 3305146 h 6689084"/>
              <a:gd name="connsiteX1147" fmla="*/ 5537021 w 6689088"/>
              <a:gd name="connsiteY1147" fmla="*/ 3318945 h 6689084"/>
              <a:gd name="connsiteX1148" fmla="*/ 5523226 w 6689088"/>
              <a:gd name="connsiteY1148" fmla="*/ 3305146 h 6689084"/>
              <a:gd name="connsiteX1149" fmla="*/ 5537021 w 6689088"/>
              <a:gd name="connsiteY1149" fmla="*/ 3291351 h 6689084"/>
              <a:gd name="connsiteX1150" fmla="*/ 5690606 w 6689088"/>
              <a:gd name="connsiteY1150" fmla="*/ 3289899 h 6689084"/>
              <a:gd name="connsiteX1151" fmla="*/ 5705854 w 6689088"/>
              <a:gd name="connsiteY1151" fmla="*/ 3305146 h 6689084"/>
              <a:gd name="connsiteX1152" fmla="*/ 5690606 w 6689088"/>
              <a:gd name="connsiteY1152" fmla="*/ 3320398 h 6689084"/>
              <a:gd name="connsiteX1153" fmla="*/ 5675355 w 6689088"/>
              <a:gd name="connsiteY1153" fmla="*/ 3305146 h 6689084"/>
              <a:gd name="connsiteX1154" fmla="*/ 5690606 w 6689088"/>
              <a:gd name="connsiteY1154" fmla="*/ 3289899 h 6689084"/>
              <a:gd name="connsiteX1155" fmla="*/ 5844554 w 6689088"/>
              <a:gd name="connsiteY1155" fmla="*/ 3288084 h 6689084"/>
              <a:gd name="connsiteX1156" fmla="*/ 5861616 w 6689088"/>
              <a:gd name="connsiteY1156" fmla="*/ 3305150 h 6689084"/>
              <a:gd name="connsiteX1157" fmla="*/ 5844554 w 6689088"/>
              <a:gd name="connsiteY1157" fmla="*/ 3322216 h 6689084"/>
              <a:gd name="connsiteX1158" fmla="*/ 5827488 w 6689088"/>
              <a:gd name="connsiteY1158" fmla="*/ 3305150 h 6689084"/>
              <a:gd name="connsiteX1159" fmla="*/ 5844554 w 6689088"/>
              <a:gd name="connsiteY1159" fmla="*/ 3288084 h 6689084"/>
              <a:gd name="connsiteX1160" fmla="*/ 5998136 w 6689088"/>
              <a:gd name="connsiteY1160" fmla="*/ 3285904 h 6689084"/>
              <a:gd name="connsiteX1161" fmla="*/ 6017382 w 6689088"/>
              <a:gd name="connsiteY1161" fmla="*/ 3305146 h 6689084"/>
              <a:gd name="connsiteX1162" fmla="*/ 5998136 w 6689088"/>
              <a:gd name="connsiteY1162" fmla="*/ 3324389 h 6689084"/>
              <a:gd name="connsiteX1163" fmla="*/ 5978893 w 6689088"/>
              <a:gd name="connsiteY1163" fmla="*/ 3305146 h 6689084"/>
              <a:gd name="connsiteX1164" fmla="*/ 5998136 w 6689088"/>
              <a:gd name="connsiteY1164" fmla="*/ 3285904 h 6689084"/>
              <a:gd name="connsiteX1165" fmla="*/ 6152086 w 6689088"/>
              <a:gd name="connsiteY1165" fmla="*/ 3283727 h 6689084"/>
              <a:gd name="connsiteX1166" fmla="*/ 6173510 w 6689088"/>
              <a:gd name="connsiteY1166" fmla="*/ 3305150 h 6689084"/>
              <a:gd name="connsiteX1167" fmla="*/ 6152086 w 6689088"/>
              <a:gd name="connsiteY1167" fmla="*/ 3326569 h 6689084"/>
              <a:gd name="connsiteX1168" fmla="*/ 6130664 w 6689088"/>
              <a:gd name="connsiteY1168" fmla="*/ 3305150 h 6689084"/>
              <a:gd name="connsiteX1169" fmla="*/ 6152086 w 6689088"/>
              <a:gd name="connsiteY1169" fmla="*/ 3283727 h 6689084"/>
              <a:gd name="connsiteX1170" fmla="*/ 6305672 w 6689088"/>
              <a:gd name="connsiteY1170" fmla="*/ 3282275 h 6689084"/>
              <a:gd name="connsiteX1171" fmla="*/ 6328547 w 6689088"/>
              <a:gd name="connsiteY1171" fmla="*/ 3305150 h 6689084"/>
              <a:gd name="connsiteX1172" fmla="*/ 6305672 w 6689088"/>
              <a:gd name="connsiteY1172" fmla="*/ 3328021 h 6689084"/>
              <a:gd name="connsiteX1173" fmla="*/ 6282796 w 6689088"/>
              <a:gd name="connsiteY1173" fmla="*/ 3305150 h 6689084"/>
              <a:gd name="connsiteX1174" fmla="*/ 6305672 w 6689088"/>
              <a:gd name="connsiteY1174" fmla="*/ 3282275 h 6689084"/>
              <a:gd name="connsiteX1175" fmla="*/ 6459616 w 6689088"/>
              <a:gd name="connsiteY1175" fmla="*/ 3280094 h 6689084"/>
              <a:gd name="connsiteX1176" fmla="*/ 6484671 w 6689088"/>
              <a:gd name="connsiteY1176" fmla="*/ 3305146 h 6689084"/>
              <a:gd name="connsiteX1177" fmla="*/ 6459616 w 6689088"/>
              <a:gd name="connsiteY1177" fmla="*/ 3330202 h 6689084"/>
              <a:gd name="connsiteX1178" fmla="*/ 6434564 w 6689088"/>
              <a:gd name="connsiteY1178" fmla="*/ 3305146 h 6689084"/>
              <a:gd name="connsiteX1179" fmla="*/ 6459616 w 6689088"/>
              <a:gd name="connsiteY1179" fmla="*/ 3280094 h 6689084"/>
              <a:gd name="connsiteX1180" fmla="*/ 6613200 w 6689088"/>
              <a:gd name="connsiteY1180" fmla="*/ 3277914 h 6689084"/>
              <a:gd name="connsiteX1181" fmla="*/ 6640433 w 6689088"/>
              <a:gd name="connsiteY1181" fmla="*/ 3305146 h 6689084"/>
              <a:gd name="connsiteX1182" fmla="*/ 6613200 w 6689088"/>
              <a:gd name="connsiteY1182" fmla="*/ 3332378 h 6689084"/>
              <a:gd name="connsiteX1183" fmla="*/ 6585968 w 6689088"/>
              <a:gd name="connsiteY1183" fmla="*/ 3305146 h 6689084"/>
              <a:gd name="connsiteX1184" fmla="*/ 6613200 w 6689088"/>
              <a:gd name="connsiteY1184" fmla="*/ 3277914 h 6689084"/>
              <a:gd name="connsiteX1185" fmla="*/ 3845414 w 6689088"/>
              <a:gd name="connsiteY1185" fmla="*/ 3151199 h 6689084"/>
              <a:gd name="connsiteX1186" fmla="*/ 3845776 w 6689088"/>
              <a:gd name="connsiteY1186" fmla="*/ 3151561 h 6689084"/>
              <a:gd name="connsiteX1187" fmla="*/ 3845414 w 6689088"/>
              <a:gd name="connsiteY1187" fmla="*/ 3151923 h 6689084"/>
              <a:gd name="connsiteX1188" fmla="*/ 3845052 w 6689088"/>
              <a:gd name="connsiteY1188" fmla="*/ 3151561 h 6689084"/>
              <a:gd name="connsiteX1189" fmla="*/ 3845414 w 6689088"/>
              <a:gd name="connsiteY1189" fmla="*/ 3151199 h 6689084"/>
              <a:gd name="connsiteX1190" fmla="*/ 3383934 w 6689088"/>
              <a:gd name="connsiteY1190" fmla="*/ 3151199 h 6689084"/>
              <a:gd name="connsiteX1191" fmla="*/ 3384296 w 6689088"/>
              <a:gd name="connsiteY1191" fmla="*/ 3151561 h 6689084"/>
              <a:gd name="connsiteX1192" fmla="*/ 3383934 w 6689088"/>
              <a:gd name="connsiteY1192" fmla="*/ 3151923 h 6689084"/>
              <a:gd name="connsiteX1193" fmla="*/ 3383572 w 6689088"/>
              <a:gd name="connsiteY1193" fmla="*/ 3151561 h 6689084"/>
              <a:gd name="connsiteX1194" fmla="*/ 3383934 w 6689088"/>
              <a:gd name="connsiteY1194" fmla="*/ 3151199 h 6689084"/>
              <a:gd name="connsiteX1195" fmla="*/ 3230349 w 6689088"/>
              <a:gd name="connsiteY1195" fmla="*/ 3151199 h 6689084"/>
              <a:gd name="connsiteX1196" fmla="*/ 3230715 w 6689088"/>
              <a:gd name="connsiteY1196" fmla="*/ 3151561 h 6689084"/>
              <a:gd name="connsiteX1197" fmla="*/ 3230349 w 6689088"/>
              <a:gd name="connsiteY1197" fmla="*/ 3151923 h 6689084"/>
              <a:gd name="connsiteX1198" fmla="*/ 3229987 w 6689088"/>
              <a:gd name="connsiteY1198" fmla="*/ 3151561 h 6689084"/>
              <a:gd name="connsiteX1199" fmla="*/ 3230349 w 6689088"/>
              <a:gd name="connsiteY1199" fmla="*/ 3151199 h 6689084"/>
              <a:gd name="connsiteX1200" fmla="*/ 3076406 w 6689088"/>
              <a:gd name="connsiteY1200" fmla="*/ 3150837 h 6689084"/>
              <a:gd name="connsiteX1201" fmla="*/ 3077130 w 6689088"/>
              <a:gd name="connsiteY1201" fmla="*/ 3151565 h 6689084"/>
              <a:gd name="connsiteX1202" fmla="*/ 3076406 w 6689088"/>
              <a:gd name="connsiteY1202" fmla="*/ 3152289 h 6689084"/>
              <a:gd name="connsiteX1203" fmla="*/ 3075677 w 6689088"/>
              <a:gd name="connsiteY1203" fmla="*/ 3151565 h 6689084"/>
              <a:gd name="connsiteX1204" fmla="*/ 3076406 w 6689088"/>
              <a:gd name="connsiteY1204" fmla="*/ 3150837 h 6689084"/>
              <a:gd name="connsiteX1205" fmla="*/ 3999000 w 6689088"/>
              <a:gd name="connsiteY1205" fmla="*/ 3150112 h 6689084"/>
              <a:gd name="connsiteX1206" fmla="*/ 4000452 w 6689088"/>
              <a:gd name="connsiteY1206" fmla="*/ 3151565 h 6689084"/>
              <a:gd name="connsiteX1207" fmla="*/ 3999000 w 6689088"/>
              <a:gd name="connsiteY1207" fmla="*/ 3153017 h 6689084"/>
              <a:gd name="connsiteX1208" fmla="*/ 3997547 w 6689088"/>
              <a:gd name="connsiteY1208" fmla="*/ 3151565 h 6689084"/>
              <a:gd name="connsiteX1209" fmla="*/ 3999000 w 6689088"/>
              <a:gd name="connsiteY1209" fmla="*/ 3150112 h 6689084"/>
              <a:gd name="connsiteX1210" fmla="*/ 4152951 w 6689088"/>
              <a:gd name="connsiteY1210" fmla="*/ 3149384 h 6689084"/>
              <a:gd name="connsiteX1211" fmla="*/ 4155128 w 6689088"/>
              <a:gd name="connsiteY1211" fmla="*/ 3151565 h 6689084"/>
              <a:gd name="connsiteX1212" fmla="*/ 4152951 w 6689088"/>
              <a:gd name="connsiteY1212" fmla="*/ 3153741 h 6689084"/>
              <a:gd name="connsiteX1213" fmla="*/ 4150770 w 6689088"/>
              <a:gd name="connsiteY1213" fmla="*/ 3151565 h 6689084"/>
              <a:gd name="connsiteX1214" fmla="*/ 4152951 w 6689088"/>
              <a:gd name="connsiteY1214" fmla="*/ 3149384 h 6689084"/>
              <a:gd name="connsiteX1215" fmla="*/ 4306528 w 6689088"/>
              <a:gd name="connsiteY1215" fmla="*/ 3148294 h 6689084"/>
              <a:gd name="connsiteX1216" fmla="*/ 4309796 w 6689088"/>
              <a:gd name="connsiteY1216" fmla="*/ 3151561 h 6689084"/>
              <a:gd name="connsiteX1217" fmla="*/ 4306528 w 6689088"/>
              <a:gd name="connsiteY1217" fmla="*/ 3154831 h 6689084"/>
              <a:gd name="connsiteX1218" fmla="*/ 4303262 w 6689088"/>
              <a:gd name="connsiteY1218" fmla="*/ 3151561 h 6689084"/>
              <a:gd name="connsiteX1219" fmla="*/ 4306528 w 6689088"/>
              <a:gd name="connsiteY1219" fmla="*/ 3148294 h 6689084"/>
              <a:gd name="connsiteX1220" fmla="*/ 4460480 w 6689088"/>
              <a:gd name="connsiteY1220" fmla="*/ 3146842 h 6689084"/>
              <a:gd name="connsiteX1221" fmla="*/ 4464836 w 6689088"/>
              <a:gd name="connsiteY1221" fmla="*/ 3151199 h 6689084"/>
              <a:gd name="connsiteX1222" fmla="*/ 4460480 w 6689088"/>
              <a:gd name="connsiteY1222" fmla="*/ 3155556 h 6689084"/>
              <a:gd name="connsiteX1223" fmla="*/ 4456122 w 6689088"/>
              <a:gd name="connsiteY1223" fmla="*/ 3151199 h 6689084"/>
              <a:gd name="connsiteX1224" fmla="*/ 4460480 w 6689088"/>
              <a:gd name="connsiteY1224" fmla="*/ 3146842 h 6689084"/>
              <a:gd name="connsiteX1225" fmla="*/ 4614061 w 6689088"/>
              <a:gd name="connsiteY1225" fmla="*/ 3145752 h 6689084"/>
              <a:gd name="connsiteX1226" fmla="*/ 4619870 w 6689088"/>
              <a:gd name="connsiteY1226" fmla="*/ 3151561 h 6689084"/>
              <a:gd name="connsiteX1227" fmla="*/ 4614061 w 6689088"/>
              <a:gd name="connsiteY1227" fmla="*/ 3157370 h 6689084"/>
              <a:gd name="connsiteX1228" fmla="*/ 4608252 w 6689088"/>
              <a:gd name="connsiteY1228" fmla="*/ 3151561 h 6689084"/>
              <a:gd name="connsiteX1229" fmla="*/ 4614061 w 6689088"/>
              <a:gd name="connsiteY1229" fmla="*/ 3145752 h 6689084"/>
              <a:gd name="connsiteX1230" fmla="*/ 4768008 w 6689088"/>
              <a:gd name="connsiteY1230" fmla="*/ 3144299 h 6689084"/>
              <a:gd name="connsiteX1231" fmla="*/ 4775270 w 6689088"/>
              <a:gd name="connsiteY1231" fmla="*/ 3151561 h 6689084"/>
              <a:gd name="connsiteX1232" fmla="*/ 4768008 w 6689088"/>
              <a:gd name="connsiteY1232" fmla="*/ 3158823 h 6689084"/>
              <a:gd name="connsiteX1233" fmla="*/ 4760747 w 6689088"/>
              <a:gd name="connsiteY1233" fmla="*/ 3151561 h 6689084"/>
              <a:gd name="connsiteX1234" fmla="*/ 4768008 w 6689088"/>
              <a:gd name="connsiteY1234" fmla="*/ 3144299 h 6689084"/>
              <a:gd name="connsiteX1235" fmla="*/ 4921594 w 6689088"/>
              <a:gd name="connsiteY1235" fmla="*/ 3142123 h 6689084"/>
              <a:gd name="connsiteX1236" fmla="*/ 4930674 w 6689088"/>
              <a:gd name="connsiteY1236" fmla="*/ 3151199 h 6689084"/>
              <a:gd name="connsiteX1237" fmla="*/ 4921594 w 6689088"/>
              <a:gd name="connsiteY1237" fmla="*/ 3160279 h 6689084"/>
              <a:gd name="connsiteX1238" fmla="*/ 4912518 w 6689088"/>
              <a:gd name="connsiteY1238" fmla="*/ 3151199 h 6689084"/>
              <a:gd name="connsiteX1239" fmla="*/ 4921594 w 6689088"/>
              <a:gd name="connsiteY1239" fmla="*/ 3142123 h 6689084"/>
              <a:gd name="connsiteX1240" fmla="*/ 5075541 w 6689088"/>
              <a:gd name="connsiteY1240" fmla="*/ 3141395 h 6689084"/>
              <a:gd name="connsiteX1241" fmla="*/ 5085708 w 6689088"/>
              <a:gd name="connsiteY1241" fmla="*/ 3151561 h 6689084"/>
              <a:gd name="connsiteX1242" fmla="*/ 5075541 w 6689088"/>
              <a:gd name="connsiteY1242" fmla="*/ 3161727 h 6689084"/>
              <a:gd name="connsiteX1243" fmla="*/ 5065375 w 6689088"/>
              <a:gd name="connsiteY1243" fmla="*/ 3151561 h 6689084"/>
              <a:gd name="connsiteX1244" fmla="*/ 5075541 w 6689088"/>
              <a:gd name="connsiteY1244" fmla="*/ 3141395 h 6689084"/>
              <a:gd name="connsiteX1245" fmla="*/ 5229126 w 6689088"/>
              <a:gd name="connsiteY1245" fmla="*/ 3139580 h 6689084"/>
              <a:gd name="connsiteX1246" fmla="*/ 5241111 w 6689088"/>
              <a:gd name="connsiteY1246" fmla="*/ 3151561 h 6689084"/>
              <a:gd name="connsiteX1247" fmla="*/ 5229126 w 6689088"/>
              <a:gd name="connsiteY1247" fmla="*/ 3163542 h 6689084"/>
              <a:gd name="connsiteX1248" fmla="*/ 5217146 w 6689088"/>
              <a:gd name="connsiteY1248" fmla="*/ 3151561 h 6689084"/>
              <a:gd name="connsiteX1249" fmla="*/ 5229126 w 6689088"/>
              <a:gd name="connsiteY1249" fmla="*/ 3139580 h 6689084"/>
              <a:gd name="connsiteX1250" fmla="*/ 5383078 w 6689088"/>
              <a:gd name="connsiteY1250" fmla="*/ 3137403 h 6689084"/>
              <a:gd name="connsiteX1251" fmla="*/ 5396873 w 6689088"/>
              <a:gd name="connsiteY1251" fmla="*/ 3151199 h 6689084"/>
              <a:gd name="connsiteX1252" fmla="*/ 5383078 w 6689088"/>
              <a:gd name="connsiteY1252" fmla="*/ 3164998 h 6689084"/>
              <a:gd name="connsiteX1253" fmla="*/ 5369278 w 6689088"/>
              <a:gd name="connsiteY1253" fmla="*/ 3151199 h 6689084"/>
              <a:gd name="connsiteX1254" fmla="*/ 5383078 w 6689088"/>
              <a:gd name="connsiteY1254" fmla="*/ 3137403 h 6689084"/>
              <a:gd name="connsiteX1255" fmla="*/ 5536659 w 6689088"/>
              <a:gd name="connsiteY1255" fmla="*/ 3136313 h 6689084"/>
              <a:gd name="connsiteX1256" fmla="*/ 5551906 w 6689088"/>
              <a:gd name="connsiteY1256" fmla="*/ 3151565 h 6689084"/>
              <a:gd name="connsiteX1257" fmla="*/ 5536659 w 6689088"/>
              <a:gd name="connsiteY1257" fmla="*/ 3166812 h 6689084"/>
              <a:gd name="connsiteX1258" fmla="*/ 5521408 w 6689088"/>
              <a:gd name="connsiteY1258" fmla="*/ 3151565 h 6689084"/>
              <a:gd name="connsiteX1259" fmla="*/ 5536659 w 6689088"/>
              <a:gd name="connsiteY1259" fmla="*/ 3136313 h 6689084"/>
              <a:gd name="connsiteX1260" fmla="*/ 5690606 w 6689088"/>
              <a:gd name="connsiteY1260" fmla="*/ 3134499 h 6689084"/>
              <a:gd name="connsiteX1261" fmla="*/ 5707672 w 6689088"/>
              <a:gd name="connsiteY1261" fmla="*/ 3151565 h 6689084"/>
              <a:gd name="connsiteX1262" fmla="*/ 5690606 w 6689088"/>
              <a:gd name="connsiteY1262" fmla="*/ 3168627 h 6689084"/>
              <a:gd name="connsiteX1263" fmla="*/ 5673540 w 6689088"/>
              <a:gd name="connsiteY1263" fmla="*/ 3151565 h 6689084"/>
              <a:gd name="connsiteX1264" fmla="*/ 5690606 w 6689088"/>
              <a:gd name="connsiteY1264" fmla="*/ 3134499 h 6689084"/>
              <a:gd name="connsiteX1265" fmla="*/ 5844554 w 6689088"/>
              <a:gd name="connsiteY1265" fmla="*/ 3132318 h 6689084"/>
              <a:gd name="connsiteX1266" fmla="*/ 5863796 w 6689088"/>
              <a:gd name="connsiteY1266" fmla="*/ 3151561 h 6689084"/>
              <a:gd name="connsiteX1267" fmla="*/ 5844554 w 6689088"/>
              <a:gd name="connsiteY1267" fmla="*/ 3170807 h 6689084"/>
              <a:gd name="connsiteX1268" fmla="*/ 5825308 w 6689088"/>
              <a:gd name="connsiteY1268" fmla="*/ 3151561 h 6689084"/>
              <a:gd name="connsiteX1269" fmla="*/ 5844554 w 6689088"/>
              <a:gd name="connsiteY1269" fmla="*/ 3132318 h 6689084"/>
              <a:gd name="connsiteX1270" fmla="*/ 5998139 w 6689088"/>
              <a:gd name="connsiteY1270" fmla="*/ 3130142 h 6689084"/>
              <a:gd name="connsiteX1271" fmla="*/ 6019562 w 6689088"/>
              <a:gd name="connsiteY1271" fmla="*/ 3151565 h 6689084"/>
              <a:gd name="connsiteX1272" fmla="*/ 5998139 w 6689088"/>
              <a:gd name="connsiteY1272" fmla="*/ 3172984 h 6689084"/>
              <a:gd name="connsiteX1273" fmla="*/ 5976716 w 6689088"/>
              <a:gd name="connsiteY1273" fmla="*/ 3151565 h 6689084"/>
              <a:gd name="connsiteX1274" fmla="*/ 5998139 w 6689088"/>
              <a:gd name="connsiteY1274" fmla="*/ 3130142 h 6689084"/>
              <a:gd name="connsiteX1275" fmla="*/ 6152086 w 6689088"/>
              <a:gd name="connsiteY1275" fmla="*/ 3128689 h 6689084"/>
              <a:gd name="connsiteX1276" fmla="*/ 6174958 w 6689088"/>
              <a:gd name="connsiteY1276" fmla="*/ 3151565 h 6689084"/>
              <a:gd name="connsiteX1277" fmla="*/ 6152086 w 6689088"/>
              <a:gd name="connsiteY1277" fmla="*/ 3174440 h 6689084"/>
              <a:gd name="connsiteX1278" fmla="*/ 6129212 w 6689088"/>
              <a:gd name="connsiteY1278" fmla="*/ 3151565 h 6689084"/>
              <a:gd name="connsiteX1279" fmla="*/ 6152086 w 6689088"/>
              <a:gd name="connsiteY1279" fmla="*/ 3128689 h 6689084"/>
              <a:gd name="connsiteX1280" fmla="*/ 6305668 w 6689088"/>
              <a:gd name="connsiteY1280" fmla="*/ 3126509 h 6689084"/>
              <a:gd name="connsiteX1281" fmla="*/ 6330724 w 6689088"/>
              <a:gd name="connsiteY1281" fmla="*/ 3151561 h 6689084"/>
              <a:gd name="connsiteX1282" fmla="*/ 6305668 w 6689088"/>
              <a:gd name="connsiteY1282" fmla="*/ 3176616 h 6689084"/>
              <a:gd name="connsiteX1283" fmla="*/ 6280616 w 6689088"/>
              <a:gd name="connsiteY1283" fmla="*/ 3151561 h 6689084"/>
              <a:gd name="connsiteX1284" fmla="*/ 6305668 w 6689088"/>
              <a:gd name="connsiteY1284" fmla="*/ 3126509 h 6689084"/>
              <a:gd name="connsiteX1285" fmla="*/ 6459619 w 6689088"/>
              <a:gd name="connsiteY1285" fmla="*/ 3124332 h 6689084"/>
              <a:gd name="connsiteX1286" fmla="*/ 6486852 w 6689088"/>
              <a:gd name="connsiteY1286" fmla="*/ 3151565 h 6689084"/>
              <a:gd name="connsiteX1287" fmla="*/ 6459619 w 6689088"/>
              <a:gd name="connsiteY1287" fmla="*/ 3178797 h 6689084"/>
              <a:gd name="connsiteX1288" fmla="*/ 6432387 w 6689088"/>
              <a:gd name="connsiteY1288" fmla="*/ 3151565 h 6689084"/>
              <a:gd name="connsiteX1289" fmla="*/ 6459619 w 6689088"/>
              <a:gd name="connsiteY1289" fmla="*/ 3124332 h 6689084"/>
              <a:gd name="connsiteX1290" fmla="*/ 6613197 w 6689088"/>
              <a:gd name="connsiteY1290" fmla="*/ 3121790 h 6689084"/>
              <a:gd name="connsiteX1291" fmla="*/ 6642972 w 6689088"/>
              <a:gd name="connsiteY1291" fmla="*/ 3151565 h 6689084"/>
              <a:gd name="connsiteX1292" fmla="*/ 6613197 w 6689088"/>
              <a:gd name="connsiteY1292" fmla="*/ 3181336 h 6689084"/>
              <a:gd name="connsiteX1293" fmla="*/ 6583426 w 6689088"/>
              <a:gd name="connsiteY1293" fmla="*/ 3151565 h 6689084"/>
              <a:gd name="connsiteX1294" fmla="*/ 6613197 w 6689088"/>
              <a:gd name="connsiteY1294" fmla="*/ 3121790 h 6689084"/>
              <a:gd name="connsiteX1295" fmla="*/ 3691467 w 6689088"/>
              <a:gd name="connsiteY1295" fmla="*/ 2997252 h 6689084"/>
              <a:gd name="connsiteX1296" fmla="*/ 3691829 w 6689088"/>
              <a:gd name="connsiteY1296" fmla="*/ 2997613 h 6689084"/>
              <a:gd name="connsiteX1297" fmla="*/ 3691467 w 6689088"/>
              <a:gd name="connsiteY1297" fmla="*/ 2997976 h 6689084"/>
              <a:gd name="connsiteX1298" fmla="*/ 3691105 w 6689088"/>
              <a:gd name="connsiteY1298" fmla="*/ 2997613 h 6689084"/>
              <a:gd name="connsiteX1299" fmla="*/ 3691467 w 6689088"/>
              <a:gd name="connsiteY1299" fmla="*/ 2997252 h 6689084"/>
              <a:gd name="connsiteX1300" fmla="*/ 3230349 w 6689088"/>
              <a:gd name="connsiteY1300" fmla="*/ 2997252 h 6689084"/>
              <a:gd name="connsiteX1301" fmla="*/ 3230715 w 6689088"/>
              <a:gd name="connsiteY1301" fmla="*/ 2997613 h 6689084"/>
              <a:gd name="connsiteX1302" fmla="*/ 3230349 w 6689088"/>
              <a:gd name="connsiteY1302" fmla="*/ 2997976 h 6689084"/>
              <a:gd name="connsiteX1303" fmla="*/ 3229987 w 6689088"/>
              <a:gd name="connsiteY1303" fmla="*/ 2997613 h 6689084"/>
              <a:gd name="connsiteX1304" fmla="*/ 3230349 w 6689088"/>
              <a:gd name="connsiteY1304" fmla="*/ 2997252 h 6689084"/>
              <a:gd name="connsiteX1305" fmla="*/ 3076406 w 6689088"/>
              <a:gd name="connsiteY1305" fmla="*/ 2997252 h 6689084"/>
              <a:gd name="connsiteX1306" fmla="*/ 3076768 w 6689088"/>
              <a:gd name="connsiteY1306" fmla="*/ 2997613 h 6689084"/>
              <a:gd name="connsiteX1307" fmla="*/ 3076406 w 6689088"/>
              <a:gd name="connsiteY1307" fmla="*/ 2997976 h 6689084"/>
              <a:gd name="connsiteX1308" fmla="*/ 3076043 w 6689088"/>
              <a:gd name="connsiteY1308" fmla="*/ 2997613 h 6689084"/>
              <a:gd name="connsiteX1309" fmla="*/ 3076406 w 6689088"/>
              <a:gd name="connsiteY1309" fmla="*/ 2997252 h 6689084"/>
              <a:gd name="connsiteX1310" fmla="*/ 2922824 w 6689088"/>
              <a:gd name="connsiteY1310" fmla="*/ 2996889 h 6689084"/>
              <a:gd name="connsiteX1311" fmla="*/ 2923548 w 6689088"/>
              <a:gd name="connsiteY1311" fmla="*/ 2997613 h 6689084"/>
              <a:gd name="connsiteX1312" fmla="*/ 2922824 w 6689088"/>
              <a:gd name="connsiteY1312" fmla="*/ 2998342 h 6689084"/>
              <a:gd name="connsiteX1313" fmla="*/ 2922096 w 6689088"/>
              <a:gd name="connsiteY1313" fmla="*/ 2997613 h 6689084"/>
              <a:gd name="connsiteX1314" fmla="*/ 2922824 w 6689088"/>
              <a:gd name="connsiteY1314" fmla="*/ 2996889 h 6689084"/>
              <a:gd name="connsiteX1315" fmla="*/ 3845414 w 6689088"/>
              <a:gd name="connsiteY1315" fmla="*/ 2996165 h 6689084"/>
              <a:gd name="connsiteX1316" fmla="*/ 3846867 w 6689088"/>
              <a:gd name="connsiteY1316" fmla="*/ 2997617 h 6689084"/>
              <a:gd name="connsiteX1317" fmla="*/ 3845414 w 6689088"/>
              <a:gd name="connsiteY1317" fmla="*/ 2999070 h 6689084"/>
              <a:gd name="connsiteX1318" fmla="*/ 3843962 w 6689088"/>
              <a:gd name="connsiteY1318" fmla="*/ 2997617 h 6689084"/>
              <a:gd name="connsiteX1319" fmla="*/ 3845414 w 6689088"/>
              <a:gd name="connsiteY1319" fmla="*/ 2996165 h 6689084"/>
              <a:gd name="connsiteX1320" fmla="*/ 3999000 w 6689088"/>
              <a:gd name="connsiteY1320" fmla="*/ 2995437 h 6689084"/>
              <a:gd name="connsiteX1321" fmla="*/ 4001180 w 6689088"/>
              <a:gd name="connsiteY1321" fmla="*/ 2997613 h 6689084"/>
              <a:gd name="connsiteX1322" fmla="*/ 3999000 w 6689088"/>
              <a:gd name="connsiteY1322" fmla="*/ 2999794 h 6689084"/>
              <a:gd name="connsiteX1323" fmla="*/ 3996823 w 6689088"/>
              <a:gd name="connsiteY1323" fmla="*/ 2997613 h 6689084"/>
              <a:gd name="connsiteX1324" fmla="*/ 3999000 w 6689088"/>
              <a:gd name="connsiteY1324" fmla="*/ 2995437 h 6689084"/>
              <a:gd name="connsiteX1325" fmla="*/ 4152947 w 6689088"/>
              <a:gd name="connsiteY1325" fmla="*/ 2994713 h 6689084"/>
              <a:gd name="connsiteX1326" fmla="*/ 4156214 w 6689088"/>
              <a:gd name="connsiteY1326" fmla="*/ 2997979 h 6689084"/>
              <a:gd name="connsiteX1327" fmla="*/ 4152947 w 6689088"/>
              <a:gd name="connsiteY1327" fmla="*/ 3001250 h 6689084"/>
              <a:gd name="connsiteX1328" fmla="*/ 4149680 w 6689088"/>
              <a:gd name="connsiteY1328" fmla="*/ 2997979 h 6689084"/>
              <a:gd name="connsiteX1329" fmla="*/ 4152947 w 6689088"/>
              <a:gd name="connsiteY1329" fmla="*/ 2994713 h 6689084"/>
              <a:gd name="connsiteX1330" fmla="*/ 4306532 w 6689088"/>
              <a:gd name="connsiteY1330" fmla="*/ 2993261 h 6689084"/>
              <a:gd name="connsiteX1331" fmla="*/ 4310890 w 6689088"/>
              <a:gd name="connsiteY1331" fmla="*/ 2997617 h 6689084"/>
              <a:gd name="connsiteX1332" fmla="*/ 4306532 w 6689088"/>
              <a:gd name="connsiteY1332" fmla="*/ 3001974 h 6689084"/>
              <a:gd name="connsiteX1333" fmla="*/ 4302176 w 6689088"/>
              <a:gd name="connsiteY1333" fmla="*/ 2997617 h 6689084"/>
              <a:gd name="connsiteX1334" fmla="*/ 4306532 w 6689088"/>
              <a:gd name="connsiteY1334" fmla="*/ 2993261 h 6689084"/>
              <a:gd name="connsiteX1335" fmla="*/ 4460480 w 6689088"/>
              <a:gd name="connsiteY1335" fmla="*/ 2991808 h 6689084"/>
              <a:gd name="connsiteX1336" fmla="*/ 4466289 w 6689088"/>
              <a:gd name="connsiteY1336" fmla="*/ 2997617 h 6689084"/>
              <a:gd name="connsiteX1337" fmla="*/ 4460480 w 6689088"/>
              <a:gd name="connsiteY1337" fmla="*/ 3003427 h 6689084"/>
              <a:gd name="connsiteX1338" fmla="*/ 4454670 w 6689088"/>
              <a:gd name="connsiteY1338" fmla="*/ 2997617 h 6689084"/>
              <a:gd name="connsiteX1339" fmla="*/ 4460480 w 6689088"/>
              <a:gd name="connsiteY1339" fmla="*/ 2991808 h 6689084"/>
              <a:gd name="connsiteX1340" fmla="*/ 4614065 w 6689088"/>
              <a:gd name="connsiteY1340" fmla="*/ 2990356 h 6689084"/>
              <a:gd name="connsiteX1341" fmla="*/ 4621326 w 6689088"/>
              <a:gd name="connsiteY1341" fmla="*/ 2997617 h 6689084"/>
              <a:gd name="connsiteX1342" fmla="*/ 4614065 w 6689088"/>
              <a:gd name="connsiteY1342" fmla="*/ 3004879 h 6689084"/>
              <a:gd name="connsiteX1343" fmla="*/ 4606804 w 6689088"/>
              <a:gd name="connsiteY1343" fmla="*/ 2997617 h 6689084"/>
              <a:gd name="connsiteX1344" fmla="*/ 4614065 w 6689088"/>
              <a:gd name="connsiteY1344" fmla="*/ 2990356 h 6689084"/>
              <a:gd name="connsiteX1345" fmla="*/ 4768008 w 6689088"/>
              <a:gd name="connsiteY1345" fmla="*/ 2988537 h 6689084"/>
              <a:gd name="connsiteX1346" fmla="*/ 4777088 w 6689088"/>
              <a:gd name="connsiteY1346" fmla="*/ 2997613 h 6689084"/>
              <a:gd name="connsiteX1347" fmla="*/ 4768008 w 6689088"/>
              <a:gd name="connsiteY1347" fmla="*/ 3006693 h 6689084"/>
              <a:gd name="connsiteX1348" fmla="*/ 4758932 w 6689088"/>
              <a:gd name="connsiteY1348" fmla="*/ 2997613 h 6689084"/>
              <a:gd name="connsiteX1349" fmla="*/ 4768008 w 6689088"/>
              <a:gd name="connsiteY1349" fmla="*/ 2988537 h 6689084"/>
              <a:gd name="connsiteX1350" fmla="*/ 4921594 w 6689088"/>
              <a:gd name="connsiteY1350" fmla="*/ 2987447 h 6689084"/>
              <a:gd name="connsiteX1351" fmla="*/ 4931760 w 6689088"/>
              <a:gd name="connsiteY1351" fmla="*/ 2997613 h 6689084"/>
              <a:gd name="connsiteX1352" fmla="*/ 4921594 w 6689088"/>
              <a:gd name="connsiteY1352" fmla="*/ 3007780 h 6689084"/>
              <a:gd name="connsiteX1353" fmla="*/ 4911428 w 6689088"/>
              <a:gd name="connsiteY1353" fmla="*/ 2997613 h 6689084"/>
              <a:gd name="connsiteX1354" fmla="*/ 4921594 w 6689088"/>
              <a:gd name="connsiteY1354" fmla="*/ 2987447 h 6689084"/>
              <a:gd name="connsiteX1355" fmla="*/ 5075541 w 6689088"/>
              <a:gd name="connsiteY1355" fmla="*/ 2985633 h 6689084"/>
              <a:gd name="connsiteX1356" fmla="*/ 5087526 w 6689088"/>
              <a:gd name="connsiteY1356" fmla="*/ 2997613 h 6689084"/>
              <a:gd name="connsiteX1357" fmla="*/ 5075541 w 6689088"/>
              <a:gd name="connsiteY1357" fmla="*/ 3009594 h 6689084"/>
              <a:gd name="connsiteX1358" fmla="*/ 5063560 w 6689088"/>
              <a:gd name="connsiteY1358" fmla="*/ 2997613 h 6689084"/>
              <a:gd name="connsiteX1359" fmla="*/ 5075541 w 6689088"/>
              <a:gd name="connsiteY1359" fmla="*/ 2985633 h 6689084"/>
              <a:gd name="connsiteX1360" fmla="*/ 5229126 w 6689088"/>
              <a:gd name="connsiteY1360" fmla="*/ 2983818 h 6689084"/>
              <a:gd name="connsiteX1361" fmla="*/ 5242922 w 6689088"/>
              <a:gd name="connsiteY1361" fmla="*/ 2997613 h 6689084"/>
              <a:gd name="connsiteX1362" fmla="*/ 5229126 w 6689088"/>
              <a:gd name="connsiteY1362" fmla="*/ 3011413 h 6689084"/>
              <a:gd name="connsiteX1363" fmla="*/ 5215328 w 6689088"/>
              <a:gd name="connsiteY1363" fmla="*/ 2997613 h 6689084"/>
              <a:gd name="connsiteX1364" fmla="*/ 5229126 w 6689088"/>
              <a:gd name="connsiteY1364" fmla="*/ 2983818 h 6689084"/>
              <a:gd name="connsiteX1365" fmla="*/ 5383074 w 6689088"/>
              <a:gd name="connsiteY1365" fmla="*/ 2982366 h 6689084"/>
              <a:gd name="connsiteX1366" fmla="*/ 5398326 w 6689088"/>
              <a:gd name="connsiteY1366" fmla="*/ 2997613 h 6689084"/>
              <a:gd name="connsiteX1367" fmla="*/ 5383074 w 6689088"/>
              <a:gd name="connsiteY1367" fmla="*/ 3012865 h 6689084"/>
              <a:gd name="connsiteX1368" fmla="*/ 5367826 w 6689088"/>
              <a:gd name="connsiteY1368" fmla="*/ 2997613 h 6689084"/>
              <a:gd name="connsiteX1369" fmla="*/ 5383074 w 6689088"/>
              <a:gd name="connsiteY1369" fmla="*/ 2982366 h 6689084"/>
              <a:gd name="connsiteX1370" fmla="*/ 5536659 w 6689088"/>
              <a:gd name="connsiteY1370" fmla="*/ 2980551 h 6689084"/>
              <a:gd name="connsiteX1371" fmla="*/ 5553725 w 6689088"/>
              <a:gd name="connsiteY1371" fmla="*/ 2997617 h 6689084"/>
              <a:gd name="connsiteX1372" fmla="*/ 5536659 w 6689088"/>
              <a:gd name="connsiteY1372" fmla="*/ 3014683 h 6689084"/>
              <a:gd name="connsiteX1373" fmla="*/ 5519593 w 6689088"/>
              <a:gd name="connsiteY1373" fmla="*/ 2997617 h 6689084"/>
              <a:gd name="connsiteX1374" fmla="*/ 5536659 w 6689088"/>
              <a:gd name="connsiteY1374" fmla="*/ 2980551 h 6689084"/>
              <a:gd name="connsiteX1375" fmla="*/ 5690606 w 6689088"/>
              <a:gd name="connsiteY1375" fmla="*/ 2978371 h 6689084"/>
              <a:gd name="connsiteX1376" fmla="*/ 5709849 w 6689088"/>
              <a:gd name="connsiteY1376" fmla="*/ 2997613 h 6689084"/>
              <a:gd name="connsiteX1377" fmla="*/ 5690606 w 6689088"/>
              <a:gd name="connsiteY1377" fmla="*/ 3016856 h 6689084"/>
              <a:gd name="connsiteX1378" fmla="*/ 5671360 w 6689088"/>
              <a:gd name="connsiteY1378" fmla="*/ 2997613 h 6689084"/>
              <a:gd name="connsiteX1379" fmla="*/ 5690606 w 6689088"/>
              <a:gd name="connsiteY1379" fmla="*/ 2978371 h 6689084"/>
              <a:gd name="connsiteX1380" fmla="*/ 5844550 w 6689088"/>
              <a:gd name="connsiteY1380" fmla="*/ 2976195 h 6689084"/>
              <a:gd name="connsiteX1381" fmla="*/ 5865973 w 6689088"/>
              <a:gd name="connsiteY1381" fmla="*/ 2997617 h 6689084"/>
              <a:gd name="connsiteX1382" fmla="*/ 5844550 w 6689088"/>
              <a:gd name="connsiteY1382" fmla="*/ 3019036 h 6689084"/>
              <a:gd name="connsiteX1383" fmla="*/ 5823127 w 6689088"/>
              <a:gd name="connsiteY1383" fmla="*/ 2997617 h 6689084"/>
              <a:gd name="connsiteX1384" fmla="*/ 5844550 w 6689088"/>
              <a:gd name="connsiteY1384" fmla="*/ 2976195 h 6689084"/>
              <a:gd name="connsiteX1385" fmla="*/ 5998139 w 6689088"/>
              <a:gd name="connsiteY1385" fmla="*/ 2974742 h 6689084"/>
              <a:gd name="connsiteX1386" fmla="*/ 6021010 w 6689088"/>
              <a:gd name="connsiteY1386" fmla="*/ 2997617 h 6689084"/>
              <a:gd name="connsiteX1387" fmla="*/ 5998139 w 6689088"/>
              <a:gd name="connsiteY1387" fmla="*/ 3020489 h 6689084"/>
              <a:gd name="connsiteX1388" fmla="*/ 5975264 w 6689088"/>
              <a:gd name="connsiteY1388" fmla="*/ 2997617 h 6689084"/>
              <a:gd name="connsiteX1389" fmla="*/ 5998139 w 6689088"/>
              <a:gd name="connsiteY1389" fmla="*/ 2974742 h 6689084"/>
              <a:gd name="connsiteX1390" fmla="*/ 6152083 w 6689088"/>
              <a:gd name="connsiteY1390" fmla="*/ 2972562 h 6689084"/>
              <a:gd name="connsiteX1391" fmla="*/ 6177134 w 6689088"/>
              <a:gd name="connsiteY1391" fmla="*/ 2997613 h 6689084"/>
              <a:gd name="connsiteX1392" fmla="*/ 6152083 w 6689088"/>
              <a:gd name="connsiteY1392" fmla="*/ 3022669 h 6689084"/>
              <a:gd name="connsiteX1393" fmla="*/ 6127031 w 6689088"/>
              <a:gd name="connsiteY1393" fmla="*/ 2997613 h 6689084"/>
              <a:gd name="connsiteX1394" fmla="*/ 6152083 w 6689088"/>
              <a:gd name="connsiteY1394" fmla="*/ 2972562 h 6689084"/>
              <a:gd name="connsiteX1395" fmla="*/ 6305672 w 6689088"/>
              <a:gd name="connsiteY1395" fmla="*/ 2970385 h 6689084"/>
              <a:gd name="connsiteX1396" fmla="*/ 6332904 w 6689088"/>
              <a:gd name="connsiteY1396" fmla="*/ 2997617 h 6689084"/>
              <a:gd name="connsiteX1397" fmla="*/ 6305672 w 6689088"/>
              <a:gd name="connsiteY1397" fmla="*/ 3024846 h 6689084"/>
              <a:gd name="connsiteX1398" fmla="*/ 6278440 w 6689088"/>
              <a:gd name="connsiteY1398" fmla="*/ 2997617 h 6689084"/>
              <a:gd name="connsiteX1399" fmla="*/ 6305672 w 6689088"/>
              <a:gd name="connsiteY1399" fmla="*/ 2970385 h 6689084"/>
              <a:gd name="connsiteX1400" fmla="*/ 6459619 w 6689088"/>
              <a:gd name="connsiteY1400" fmla="*/ 2967843 h 6689084"/>
              <a:gd name="connsiteX1401" fmla="*/ 6489390 w 6689088"/>
              <a:gd name="connsiteY1401" fmla="*/ 2997613 h 6689084"/>
              <a:gd name="connsiteX1402" fmla="*/ 6459619 w 6689088"/>
              <a:gd name="connsiteY1402" fmla="*/ 3027388 h 6689084"/>
              <a:gd name="connsiteX1403" fmla="*/ 6429844 w 6689088"/>
              <a:gd name="connsiteY1403" fmla="*/ 2997613 h 6689084"/>
              <a:gd name="connsiteX1404" fmla="*/ 6459619 w 6689088"/>
              <a:gd name="connsiteY1404" fmla="*/ 2967843 h 6689084"/>
              <a:gd name="connsiteX1405" fmla="*/ 6613200 w 6689088"/>
              <a:gd name="connsiteY1405" fmla="*/ 2965666 h 6689084"/>
              <a:gd name="connsiteX1406" fmla="*/ 6645152 w 6689088"/>
              <a:gd name="connsiteY1406" fmla="*/ 2997617 h 6689084"/>
              <a:gd name="connsiteX1407" fmla="*/ 6613200 w 6689088"/>
              <a:gd name="connsiteY1407" fmla="*/ 3029569 h 6689084"/>
              <a:gd name="connsiteX1408" fmla="*/ 6581250 w 6689088"/>
              <a:gd name="connsiteY1408" fmla="*/ 2997617 h 6689084"/>
              <a:gd name="connsiteX1409" fmla="*/ 6613200 w 6689088"/>
              <a:gd name="connsiteY1409" fmla="*/ 2965666 h 6689084"/>
              <a:gd name="connsiteX1410" fmla="*/ 3537882 w 6689088"/>
              <a:gd name="connsiteY1410" fmla="*/ 2843666 h 6689084"/>
              <a:gd name="connsiteX1411" fmla="*/ 3538244 w 6689088"/>
              <a:gd name="connsiteY1411" fmla="*/ 2844028 h 6689084"/>
              <a:gd name="connsiteX1412" fmla="*/ 3537882 w 6689088"/>
              <a:gd name="connsiteY1412" fmla="*/ 2844390 h 6689084"/>
              <a:gd name="connsiteX1413" fmla="*/ 3537520 w 6689088"/>
              <a:gd name="connsiteY1413" fmla="*/ 2844028 h 6689084"/>
              <a:gd name="connsiteX1414" fmla="*/ 3537882 w 6689088"/>
              <a:gd name="connsiteY1414" fmla="*/ 2843666 h 6689084"/>
              <a:gd name="connsiteX1415" fmla="*/ 3076406 w 6689088"/>
              <a:gd name="connsiteY1415" fmla="*/ 2843666 h 6689084"/>
              <a:gd name="connsiteX1416" fmla="*/ 3076768 w 6689088"/>
              <a:gd name="connsiteY1416" fmla="*/ 2844028 h 6689084"/>
              <a:gd name="connsiteX1417" fmla="*/ 3076406 w 6689088"/>
              <a:gd name="connsiteY1417" fmla="*/ 2844390 h 6689084"/>
              <a:gd name="connsiteX1418" fmla="*/ 3076043 w 6689088"/>
              <a:gd name="connsiteY1418" fmla="*/ 2844028 h 6689084"/>
              <a:gd name="connsiteX1419" fmla="*/ 3076406 w 6689088"/>
              <a:gd name="connsiteY1419" fmla="*/ 2843666 h 6689084"/>
              <a:gd name="connsiteX1420" fmla="*/ 2922458 w 6689088"/>
              <a:gd name="connsiteY1420" fmla="*/ 2843666 h 6689084"/>
              <a:gd name="connsiteX1421" fmla="*/ 2922820 w 6689088"/>
              <a:gd name="connsiteY1421" fmla="*/ 2844028 h 6689084"/>
              <a:gd name="connsiteX1422" fmla="*/ 2922458 w 6689088"/>
              <a:gd name="connsiteY1422" fmla="*/ 2844390 h 6689084"/>
              <a:gd name="connsiteX1423" fmla="*/ 2922096 w 6689088"/>
              <a:gd name="connsiteY1423" fmla="*/ 2844028 h 6689084"/>
              <a:gd name="connsiteX1424" fmla="*/ 2922458 w 6689088"/>
              <a:gd name="connsiteY1424" fmla="*/ 2843666 h 6689084"/>
              <a:gd name="connsiteX1425" fmla="*/ 2768877 w 6689088"/>
              <a:gd name="connsiteY1425" fmla="*/ 2843304 h 6689084"/>
              <a:gd name="connsiteX1426" fmla="*/ 2769601 w 6689088"/>
              <a:gd name="connsiteY1426" fmla="*/ 2844032 h 6689084"/>
              <a:gd name="connsiteX1427" fmla="*/ 2768877 w 6689088"/>
              <a:gd name="connsiteY1427" fmla="*/ 2844756 h 6689084"/>
              <a:gd name="connsiteX1428" fmla="*/ 2768149 w 6689088"/>
              <a:gd name="connsiteY1428" fmla="*/ 2844032 h 6689084"/>
              <a:gd name="connsiteX1429" fmla="*/ 2768877 w 6689088"/>
              <a:gd name="connsiteY1429" fmla="*/ 2843304 h 6689084"/>
              <a:gd name="connsiteX1430" fmla="*/ 3691467 w 6689088"/>
              <a:gd name="connsiteY1430" fmla="*/ 2842580 h 6689084"/>
              <a:gd name="connsiteX1431" fmla="*/ 3692919 w 6689088"/>
              <a:gd name="connsiteY1431" fmla="*/ 2844032 h 6689084"/>
              <a:gd name="connsiteX1432" fmla="*/ 3691467 w 6689088"/>
              <a:gd name="connsiteY1432" fmla="*/ 2845485 h 6689084"/>
              <a:gd name="connsiteX1433" fmla="*/ 3690014 w 6689088"/>
              <a:gd name="connsiteY1433" fmla="*/ 2844032 h 6689084"/>
              <a:gd name="connsiteX1434" fmla="*/ 3691467 w 6689088"/>
              <a:gd name="connsiteY1434" fmla="*/ 2842580 h 6689084"/>
              <a:gd name="connsiteX1435" fmla="*/ 3845418 w 6689088"/>
              <a:gd name="connsiteY1435" fmla="*/ 2841852 h 6689084"/>
              <a:gd name="connsiteX1436" fmla="*/ 3847595 w 6689088"/>
              <a:gd name="connsiteY1436" fmla="*/ 2844032 h 6689084"/>
              <a:gd name="connsiteX1437" fmla="*/ 3845418 w 6689088"/>
              <a:gd name="connsiteY1437" fmla="*/ 2846209 h 6689084"/>
              <a:gd name="connsiteX1438" fmla="*/ 3843238 w 6689088"/>
              <a:gd name="connsiteY1438" fmla="*/ 2844032 h 6689084"/>
              <a:gd name="connsiteX1439" fmla="*/ 3845418 w 6689088"/>
              <a:gd name="connsiteY1439" fmla="*/ 2841852 h 6689084"/>
              <a:gd name="connsiteX1440" fmla="*/ 3999000 w 6689088"/>
              <a:gd name="connsiteY1440" fmla="*/ 2840761 h 6689084"/>
              <a:gd name="connsiteX1441" fmla="*/ 4002270 w 6689088"/>
              <a:gd name="connsiteY1441" fmla="*/ 2844028 h 6689084"/>
              <a:gd name="connsiteX1442" fmla="*/ 3999000 w 6689088"/>
              <a:gd name="connsiteY1442" fmla="*/ 2847299 h 6689084"/>
              <a:gd name="connsiteX1443" fmla="*/ 3995733 w 6689088"/>
              <a:gd name="connsiteY1443" fmla="*/ 2844028 h 6689084"/>
              <a:gd name="connsiteX1444" fmla="*/ 3999000 w 6689088"/>
              <a:gd name="connsiteY1444" fmla="*/ 2840761 h 6689084"/>
              <a:gd name="connsiteX1445" fmla="*/ 4152947 w 6689088"/>
              <a:gd name="connsiteY1445" fmla="*/ 2839309 h 6689084"/>
              <a:gd name="connsiteX1446" fmla="*/ 4157304 w 6689088"/>
              <a:gd name="connsiteY1446" fmla="*/ 2843666 h 6689084"/>
              <a:gd name="connsiteX1447" fmla="*/ 4152947 w 6689088"/>
              <a:gd name="connsiteY1447" fmla="*/ 2848023 h 6689084"/>
              <a:gd name="connsiteX1448" fmla="*/ 4148590 w 6689088"/>
              <a:gd name="connsiteY1448" fmla="*/ 2843666 h 6689084"/>
              <a:gd name="connsiteX1449" fmla="*/ 4152947 w 6689088"/>
              <a:gd name="connsiteY1449" fmla="*/ 2839309 h 6689084"/>
              <a:gd name="connsiteX1450" fmla="*/ 4306532 w 6689088"/>
              <a:gd name="connsiteY1450" fmla="*/ 2838223 h 6689084"/>
              <a:gd name="connsiteX1451" fmla="*/ 4312342 w 6689088"/>
              <a:gd name="connsiteY1451" fmla="*/ 2844032 h 6689084"/>
              <a:gd name="connsiteX1452" fmla="*/ 4306532 w 6689088"/>
              <a:gd name="connsiteY1452" fmla="*/ 2849841 h 6689084"/>
              <a:gd name="connsiteX1453" fmla="*/ 4300723 w 6689088"/>
              <a:gd name="connsiteY1453" fmla="*/ 2844032 h 6689084"/>
              <a:gd name="connsiteX1454" fmla="*/ 4306532 w 6689088"/>
              <a:gd name="connsiteY1454" fmla="*/ 2838223 h 6689084"/>
              <a:gd name="connsiteX1455" fmla="*/ 4460480 w 6689088"/>
              <a:gd name="connsiteY1455" fmla="*/ 2836770 h 6689084"/>
              <a:gd name="connsiteX1456" fmla="*/ 4467742 w 6689088"/>
              <a:gd name="connsiteY1456" fmla="*/ 2844032 h 6689084"/>
              <a:gd name="connsiteX1457" fmla="*/ 4460480 w 6689088"/>
              <a:gd name="connsiteY1457" fmla="*/ 2851294 h 6689084"/>
              <a:gd name="connsiteX1458" fmla="*/ 4453218 w 6689088"/>
              <a:gd name="connsiteY1458" fmla="*/ 2844032 h 6689084"/>
              <a:gd name="connsiteX1459" fmla="*/ 4460480 w 6689088"/>
              <a:gd name="connsiteY1459" fmla="*/ 2836770 h 6689084"/>
              <a:gd name="connsiteX1460" fmla="*/ 4614061 w 6689088"/>
              <a:gd name="connsiteY1460" fmla="*/ 2834590 h 6689084"/>
              <a:gd name="connsiteX1461" fmla="*/ 4623141 w 6689088"/>
              <a:gd name="connsiteY1461" fmla="*/ 2843666 h 6689084"/>
              <a:gd name="connsiteX1462" fmla="*/ 4614061 w 6689088"/>
              <a:gd name="connsiteY1462" fmla="*/ 2852746 h 6689084"/>
              <a:gd name="connsiteX1463" fmla="*/ 4604985 w 6689088"/>
              <a:gd name="connsiteY1463" fmla="*/ 2843666 h 6689084"/>
              <a:gd name="connsiteX1464" fmla="*/ 4614061 w 6689088"/>
              <a:gd name="connsiteY1464" fmla="*/ 2834590 h 6689084"/>
              <a:gd name="connsiteX1465" fmla="*/ 4768012 w 6689088"/>
              <a:gd name="connsiteY1465" fmla="*/ 2833866 h 6689084"/>
              <a:gd name="connsiteX1466" fmla="*/ 4778178 w 6689088"/>
              <a:gd name="connsiteY1466" fmla="*/ 2844032 h 6689084"/>
              <a:gd name="connsiteX1467" fmla="*/ 4768012 w 6689088"/>
              <a:gd name="connsiteY1467" fmla="*/ 2854198 h 6689084"/>
              <a:gd name="connsiteX1468" fmla="*/ 4757846 w 6689088"/>
              <a:gd name="connsiteY1468" fmla="*/ 2844032 h 6689084"/>
              <a:gd name="connsiteX1469" fmla="*/ 4768012 w 6689088"/>
              <a:gd name="connsiteY1469" fmla="*/ 2833866 h 6689084"/>
              <a:gd name="connsiteX1470" fmla="*/ 4921594 w 6689088"/>
              <a:gd name="connsiteY1470" fmla="*/ 2831685 h 6689084"/>
              <a:gd name="connsiteX1471" fmla="*/ 4933578 w 6689088"/>
              <a:gd name="connsiteY1471" fmla="*/ 2843666 h 6689084"/>
              <a:gd name="connsiteX1472" fmla="*/ 4921594 w 6689088"/>
              <a:gd name="connsiteY1472" fmla="*/ 2855651 h 6689084"/>
              <a:gd name="connsiteX1473" fmla="*/ 4909613 w 6689088"/>
              <a:gd name="connsiteY1473" fmla="*/ 2843666 h 6689084"/>
              <a:gd name="connsiteX1474" fmla="*/ 4921594 w 6689088"/>
              <a:gd name="connsiteY1474" fmla="*/ 2831685 h 6689084"/>
              <a:gd name="connsiteX1475" fmla="*/ 5075545 w 6689088"/>
              <a:gd name="connsiteY1475" fmla="*/ 2829871 h 6689084"/>
              <a:gd name="connsiteX1476" fmla="*/ 5089340 w 6689088"/>
              <a:gd name="connsiteY1476" fmla="*/ 2843666 h 6689084"/>
              <a:gd name="connsiteX1477" fmla="*/ 5075545 w 6689088"/>
              <a:gd name="connsiteY1477" fmla="*/ 2857465 h 6689084"/>
              <a:gd name="connsiteX1478" fmla="*/ 5061746 w 6689088"/>
              <a:gd name="connsiteY1478" fmla="*/ 2843666 h 6689084"/>
              <a:gd name="connsiteX1479" fmla="*/ 5075545 w 6689088"/>
              <a:gd name="connsiteY1479" fmla="*/ 2829871 h 6689084"/>
              <a:gd name="connsiteX1480" fmla="*/ 5229126 w 6689088"/>
              <a:gd name="connsiteY1480" fmla="*/ 2828781 h 6689084"/>
              <a:gd name="connsiteX1481" fmla="*/ 5244378 w 6689088"/>
              <a:gd name="connsiteY1481" fmla="*/ 2844032 h 6689084"/>
              <a:gd name="connsiteX1482" fmla="*/ 5229126 w 6689088"/>
              <a:gd name="connsiteY1482" fmla="*/ 2859280 h 6689084"/>
              <a:gd name="connsiteX1483" fmla="*/ 5213879 w 6689088"/>
              <a:gd name="connsiteY1483" fmla="*/ 2844032 h 6689084"/>
              <a:gd name="connsiteX1484" fmla="*/ 5229126 w 6689088"/>
              <a:gd name="connsiteY1484" fmla="*/ 2828781 h 6689084"/>
              <a:gd name="connsiteX1485" fmla="*/ 5383074 w 6689088"/>
              <a:gd name="connsiteY1485" fmla="*/ 2826966 h 6689084"/>
              <a:gd name="connsiteX1486" fmla="*/ 5400140 w 6689088"/>
              <a:gd name="connsiteY1486" fmla="*/ 2844032 h 6689084"/>
              <a:gd name="connsiteX1487" fmla="*/ 5383074 w 6689088"/>
              <a:gd name="connsiteY1487" fmla="*/ 2861098 h 6689084"/>
              <a:gd name="connsiteX1488" fmla="*/ 5366008 w 6689088"/>
              <a:gd name="connsiteY1488" fmla="*/ 2844032 h 6689084"/>
              <a:gd name="connsiteX1489" fmla="*/ 5383074 w 6689088"/>
              <a:gd name="connsiteY1489" fmla="*/ 2826966 h 6689084"/>
              <a:gd name="connsiteX1490" fmla="*/ 5536659 w 6689088"/>
              <a:gd name="connsiteY1490" fmla="*/ 2824790 h 6689084"/>
              <a:gd name="connsiteX1491" fmla="*/ 5555902 w 6689088"/>
              <a:gd name="connsiteY1491" fmla="*/ 2844032 h 6689084"/>
              <a:gd name="connsiteX1492" fmla="*/ 5536659 w 6689088"/>
              <a:gd name="connsiteY1492" fmla="*/ 2863279 h 6689084"/>
              <a:gd name="connsiteX1493" fmla="*/ 5517413 w 6689088"/>
              <a:gd name="connsiteY1493" fmla="*/ 2844032 h 6689084"/>
              <a:gd name="connsiteX1494" fmla="*/ 5536659 w 6689088"/>
              <a:gd name="connsiteY1494" fmla="*/ 2824790 h 6689084"/>
              <a:gd name="connsiteX1495" fmla="*/ 5690602 w 6689088"/>
              <a:gd name="connsiteY1495" fmla="*/ 2822609 h 6689084"/>
              <a:gd name="connsiteX1496" fmla="*/ 5712026 w 6689088"/>
              <a:gd name="connsiteY1496" fmla="*/ 2844032 h 6689084"/>
              <a:gd name="connsiteX1497" fmla="*/ 5690602 w 6689088"/>
              <a:gd name="connsiteY1497" fmla="*/ 2865451 h 6689084"/>
              <a:gd name="connsiteX1498" fmla="*/ 5669180 w 6689088"/>
              <a:gd name="connsiteY1498" fmla="*/ 2844032 h 6689084"/>
              <a:gd name="connsiteX1499" fmla="*/ 5690602 w 6689088"/>
              <a:gd name="connsiteY1499" fmla="*/ 2822609 h 6689084"/>
              <a:gd name="connsiteX1500" fmla="*/ 5844554 w 6689088"/>
              <a:gd name="connsiteY1500" fmla="*/ 2821157 h 6689084"/>
              <a:gd name="connsiteX1501" fmla="*/ 5867429 w 6689088"/>
              <a:gd name="connsiteY1501" fmla="*/ 2844032 h 6689084"/>
              <a:gd name="connsiteX1502" fmla="*/ 5844554 w 6689088"/>
              <a:gd name="connsiteY1502" fmla="*/ 2866903 h 6689084"/>
              <a:gd name="connsiteX1503" fmla="*/ 5821678 w 6689088"/>
              <a:gd name="connsiteY1503" fmla="*/ 2844032 h 6689084"/>
              <a:gd name="connsiteX1504" fmla="*/ 5844554 w 6689088"/>
              <a:gd name="connsiteY1504" fmla="*/ 2821157 h 6689084"/>
              <a:gd name="connsiteX1505" fmla="*/ 5998136 w 6689088"/>
              <a:gd name="connsiteY1505" fmla="*/ 2818980 h 6689084"/>
              <a:gd name="connsiteX1506" fmla="*/ 6023187 w 6689088"/>
              <a:gd name="connsiteY1506" fmla="*/ 2844032 h 6689084"/>
              <a:gd name="connsiteX1507" fmla="*/ 5998136 w 6689088"/>
              <a:gd name="connsiteY1507" fmla="*/ 2869088 h 6689084"/>
              <a:gd name="connsiteX1508" fmla="*/ 5973084 w 6689088"/>
              <a:gd name="connsiteY1508" fmla="*/ 2844032 h 6689084"/>
              <a:gd name="connsiteX1509" fmla="*/ 5998136 w 6689088"/>
              <a:gd name="connsiteY1509" fmla="*/ 2818980 h 6689084"/>
              <a:gd name="connsiteX1510" fmla="*/ 6152086 w 6689088"/>
              <a:gd name="connsiteY1510" fmla="*/ 2816800 h 6689084"/>
              <a:gd name="connsiteX1511" fmla="*/ 6179315 w 6689088"/>
              <a:gd name="connsiteY1511" fmla="*/ 2844032 h 6689084"/>
              <a:gd name="connsiteX1512" fmla="*/ 6152086 w 6689088"/>
              <a:gd name="connsiteY1512" fmla="*/ 2871264 h 6689084"/>
              <a:gd name="connsiteX1513" fmla="*/ 6124854 w 6689088"/>
              <a:gd name="connsiteY1513" fmla="*/ 2844032 h 6689084"/>
              <a:gd name="connsiteX1514" fmla="*/ 6152086 w 6689088"/>
              <a:gd name="connsiteY1514" fmla="*/ 2816800 h 6689084"/>
              <a:gd name="connsiteX1515" fmla="*/ 6305672 w 6689088"/>
              <a:gd name="connsiteY1515" fmla="*/ 2814257 h 6689084"/>
              <a:gd name="connsiteX1516" fmla="*/ 6335443 w 6689088"/>
              <a:gd name="connsiteY1516" fmla="*/ 2844032 h 6689084"/>
              <a:gd name="connsiteX1517" fmla="*/ 6305672 w 6689088"/>
              <a:gd name="connsiteY1517" fmla="*/ 2873803 h 6689084"/>
              <a:gd name="connsiteX1518" fmla="*/ 6275897 w 6689088"/>
              <a:gd name="connsiteY1518" fmla="*/ 2844032 h 6689084"/>
              <a:gd name="connsiteX1519" fmla="*/ 6305672 w 6689088"/>
              <a:gd name="connsiteY1519" fmla="*/ 2814257 h 6689084"/>
              <a:gd name="connsiteX1520" fmla="*/ 6459616 w 6689088"/>
              <a:gd name="connsiteY1520" fmla="*/ 2812081 h 6689084"/>
              <a:gd name="connsiteX1521" fmla="*/ 6491567 w 6689088"/>
              <a:gd name="connsiteY1521" fmla="*/ 2844032 h 6689084"/>
              <a:gd name="connsiteX1522" fmla="*/ 6459616 w 6689088"/>
              <a:gd name="connsiteY1522" fmla="*/ 2875983 h 6689084"/>
              <a:gd name="connsiteX1523" fmla="*/ 6427664 w 6689088"/>
              <a:gd name="connsiteY1523" fmla="*/ 2844032 h 6689084"/>
              <a:gd name="connsiteX1524" fmla="*/ 6459616 w 6689088"/>
              <a:gd name="connsiteY1524" fmla="*/ 2812081 h 6689084"/>
              <a:gd name="connsiteX1525" fmla="*/ 6613200 w 6689088"/>
              <a:gd name="connsiteY1525" fmla="*/ 2810266 h 6689084"/>
              <a:gd name="connsiteX1526" fmla="*/ 6646966 w 6689088"/>
              <a:gd name="connsiteY1526" fmla="*/ 2844032 h 6689084"/>
              <a:gd name="connsiteX1527" fmla="*/ 6613200 w 6689088"/>
              <a:gd name="connsiteY1527" fmla="*/ 2877802 h 6689084"/>
              <a:gd name="connsiteX1528" fmla="*/ 6579435 w 6689088"/>
              <a:gd name="connsiteY1528" fmla="*/ 2844032 h 6689084"/>
              <a:gd name="connsiteX1529" fmla="*/ 6613200 w 6689088"/>
              <a:gd name="connsiteY1529" fmla="*/ 2810266 h 6689084"/>
              <a:gd name="connsiteX1530" fmla="*/ 3383934 w 6689088"/>
              <a:gd name="connsiteY1530" fmla="*/ 2689722 h 6689084"/>
              <a:gd name="connsiteX1531" fmla="*/ 3384296 w 6689088"/>
              <a:gd name="connsiteY1531" fmla="*/ 2690085 h 6689084"/>
              <a:gd name="connsiteX1532" fmla="*/ 3383934 w 6689088"/>
              <a:gd name="connsiteY1532" fmla="*/ 2690447 h 6689084"/>
              <a:gd name="connsiteX1533" fmla="*/ 3383572 w 6689088"/>
              <a:gd name="connsiteY1533" fmla="*/ 2690085 h 6689084"/>
              <a:gd name="connsiteX1534" fmla="*/ 3383934 w 6689088"/>
              <a:gd name="connsiteY1534" fmla="*/ 2689722 h 6689084"/>
              <a:gd name="connsiteX1535" fmla="*/ 2922458 w 6689088"/>
              <a:gd name="connsiteY1535" fmla="*/ 2689722 h 6689084"/>
              <a:gd name="connsiteX1536" fmla="*/ 2922820 w 6689088"/>
              <a:gd name="connsiteY1536" fmla="*/ 2690085 h 6689084"/>
              <a:gd name="connsiteX1537" fmla="*/ 2922458 w 6689088"/>
              <a:gd name="connsiteY1537" fmla="*/ 2690447 h 6689084"/>
              <a:gd name="connsiteX1538" fmla="*/ 2922096 w 6689088"/>
              <a:gd name="connsiteY1538" fmla="*/ 2690085 h 6689084"/>
              <a:gd name="connsiteX1539" fmla="*/ 2922458 w 6689088"/>
              <a:gd name="connsiteY1539" fmla="*/ 2689722 h 6689084"/>
              <a:gd name="connsiteX1540" fmla="*/ 2768873 w 6689088"/>
              <a:gd name="connsiteY1540" fmla="*/ 2689722 h 6689084"/>
              <a:gd name="connsiteX1541" fmla="*/ 2769235 w 6689088"/>
              <a:gd name="connsiteY1541" fmla="*/ 2690085 h 6689084"/>
              <a:gd name="connsiteX1542" fmla="*/ 2768873 w 6689088"/>
              <a:gd name="connsiteY1542" fmla="*/ 2690447 h 6689084"/>
              <a:gd name="connsiteX1543" fmla="*/ 2768511 w 6689088"/>
              <a:gd name="connsiteY1543" fmla="*/ 2690085 h 6689084"/>
              <a:gd name="connsiteX1544" fmla="*/ 2768873 w 6689088"/>
              <a:gd name="connsiteY1544" fmla="*/ 2689722 h 6689084"/>
              <a:gd name="connsiteX1545" fmla="*/ 2614925 w 6689088"/>
              <a:gd name="connsiteY1545" fmla="*/ 2689357 h 6689084"/>
              <a:gd name="connsiteX1546" fmla="*/ 2615654 w 6689088"/>
              <a:gd name="connsiteY1546" fmla="*/ 2690081 h 6689084"/>
              <a:gd name="connsiteX1547" fmla="*/ 2614925 w 6689088"/>
              <a:gd name="connsiteY1547" fmla="*/ 2690809 h 6689084"/>
              <a:gd name="connsiteX1548" fmla="*/ 2614201 w 6689088"/>
              <a:gd name="connsiteY1548" fmla="*/ 2690081 h 6689084"/>
              <a:gd name="connsiteX1549" fmla="*/ 2614925 w 6689088"/>
              <a:gd name="connsiteY1549" fmla="*/ 2689357 h 6689084"/>
              <a:gd name="connsiteX1550" fmla="*/ 3537886 w 6689088"/>
              <a:gd name="connsiteY1550" fmla="*/ 2688633 h 6689084"/>
              <a:gd name="connsiteX1551" fmla="*/ 3539338 w 6689088"/>
              <a:gd name="connsiteY1551" fmla="*/ 2690085 h 6689084"/>
              <a:gd name="connsiteX1552" fmla="*/ 3537886 w 6689088"/>
              <a:gd name="connsiteY1552" fmla="*/ 2691537 h 6689084"/>
              <a:gd name="connsiteX1553" fmla="*/ 3536433 w 6689088"/>
              <a:gd name="connsiteY1553" fmla="*/ 2690085 h 6689084"/>
              <a:gd name="connsiteX1554" fmla="*/ 3537886 w 6689088"/>
              <a:gd name="connsiteY1554" fmla="*/ 2688633 h 6689084"/>
              <a:gd name="connsiteX1555" fmla="*/ 3691471 w 6689088"/>
              <a:gd name="connsiteY1555" fmla="*/ 2687904 h 6689084"/>
              <a:gd name="connsiteX1556" fmla="*/ 3693647 w 6689088"/>
              <a:gd name="connsiteY1556" fmla="*/ 2690081 h 6689084"/>
              <a:gd name="connsiteX1557" fmla="*/ 3691471 w 6689088"/>
              <a:gd name="connsiteY1557" fmla="*/ 2692261 h 6689084"/>
              <a:gd name="connsiteX1558" fmla="*/ 3689290 w 6689088"/>
              <a:gd name="connsiteY1558" fmla="*/ 2690081 h 6689084"/>
              <a:gd name="connsiteX1559" fmla="*/ 3691471 w 6689088"/>
              <a:gd name="connsiteY1559" fmla="*/ 2687904 h 6689084"/>
              <a:gd name="connsiteX1560" fmla="*/ 3845414 w 6689088"/>
              <a:gd name="connsiteY1560" fmla="*/ 2686818 h 6689084"/>
              <a:gd name="connsiteX1561" fmla="*/ 3848681 w 6689088"/>
              <a:gd name="connsiteY1561" fmla="*/ 2690085 h 6689084"/>
              <a:gd name="connsiteX1562" fmla="*/ 3845414 w 6689088"/>
              <a:gd name="connsiteY1562" fmla="*/ 2693355 h 6689084"/>
              <a:gd name="connsiteX1563" fmla="*/ 3842148 w 6689088"/>
              <a:gd name="connsiteY1563" fmla="*/ 2690085 h 6689084"/>
              <a:gd name="connsiteX1564" fmla="*/ 3845414 w 6689088"/>
              <a:gd name="connsiteY1564" fmla="*/ 2686818 h 6689084"/>
              <a:gd name="connsiteX1565" fmla="*/ 3999000 w 6689088"/>
              <a:gd name="connsiteY1565" fmla="*/ 2685728 h 6689084"/>
              <a:gd name="connsiteX1566" fmla="*/ 4003356 w 6689088"/>
              <a:gd name="connsiteY1566" fmla="*/ 2690085 h 6689084"/>
              <a:gd name="connsiteX1567" fmla="*/ 3999000 w 6689088"/>
              <a:gd name="connsiteY1567" fmla="*/ 2694442 h 6689084"/>
              <a:gd name="connsiteX1568" fmla="*/ 3994642 w 6689088"/>
              <a:gd name="connsiteY1568" fmla="*/ 2690085 h 6689084"/>
              <a:gd name="connsiteX1569" fmla="*/ 3999000 w 6689088"/>
              <a:gd name="connsiteY1569" fmla="*/ 2685728 h 6689084"/>
              <a:gd name="connsiteX1570" fmla="*/ 4152947 w 6689088"/>
              <a:gd name="connsiteY1570" fmla="*/ 2684275 h 6689084"/>
              <a:gd name="connsiteX1571" fmla="*/ 4158756 w 6689088"/>
              <a:gd name="connsiteY1571" fmla="*/ 2690085 h 6689084"/>
              <a:gd name="connsiteX1572" fmla="*/ 4152947 w 6689088"/>
              <a:gd name="connsiteY1572" fmla="*/ 2695894 h 6689084"/>
              <a:gd name="connsiteX1573" fmla="*/ 4147138 w 6689088"/>
              <a:gd name="connsiteY1573" fmla="*/ 2690085 h 6689084"/>
              <a:gd name="connsiteX1574" fmla="*/ 4152947 w 6689088"/>
              <a:gd name="connsiteY1574" fmla="*/ 2684275 h 6689084"/>
              <a:gd name="connsiteX1575" fmla="*/ 4306532 w 6689088"/>
              <a:gd name="connsiteY1575" fmla="*/ 2682823 h 6689084"/>
              <a:gd name="connsiteX1576" fmla="*/ 4313794 w 6689088"/>
              <a:gd name="connsiteY1576" fmla="*/ 2690085 h 6689084"/>
              <a:gd name="connsiteX1577" fmla="*/ 4306532 w 6689088"/>
              <a:gd name="connsiteY1577" fmla="*/ 2697346 h 6689084"/>
              <a:gd name="connsiteX1578" fmla="*/ 4299270 w 6689088"/>
              <a:gd name="connsiteY1578" fmla="*/ 2690085 h 6689084"/>
              <a:gd name="connsiteX1579" fmla="*/ 4306532 w 6689088"/>
              <a:gd name="connsiteY1579" fmla="*/ 2682823 h 6689084"/>
              <a:gd name="connsiteX1580" fmla="*/ 4460480 w 6689088"/>
              <a:gd name="connsiteY1580" fmla="*/ 2681005 h 6689084"/>
              <a:gd name="connsiteX1581" fmla="*/ 4469560 w 6689088"/>
              <a:gd name="connsiteY1581" fmla="*/ 2690081 h 6689084"/>
              <a:gd name="connsiteX1582" fmla="*/ 4460480 w 6689088"/>
              <a:gd name="connsiteY1582" fmla="*/ 2699161 h 6689084"/>
              <a:gd name="connsiteX1583" fmla="*/ 4451404 w 6689088"/>
              <a:gd name="connsiteY1583" fmla="*/ 2690081 h 6689084"/>
              <a:gd name="connsiteX1584" fmla="*/ 4460480 w 6689088"/>
              <a:gd name="connsiteY1584" fmla="*/ 2681005 h 6689084"/>
              <a:gd name="connsiteX1585" fmla="*/ 4614061 w 6689088"/>
              <a:gd name="connsiteY1585" fmla="*/ 2679918 h 6689084"/>
              <a:gd name="connsiteX1586" fmla="*/ 4624228 w 6689088"/>
              <a:gd name="connsiteY1586" fmla="*/ 2690085 h 6689084"/>
              <a:gd name="connsiteX1587" fmla="*/ 4614061 w 6689088"/>
              <a:gd name="connsiteY1587" fmla="*/ 2700251 h 6689084"/>
              <a:gd name="connsiteX1588" fmla="*/ 4603895 w 6689088"/>
              <a:gd name="connsiteY1588" fmla="*/ 2690085 h 6689084"/>
              <a:gd name="connsiteX1589" fmla="*/ 4614061 w 6689088"/>
              <a:gd name="connsiteY1589" fmla="*/ 2679918 h 6689084"/>
              <a:gd name="connsiteX1590" fmla="*/ 4768008 w 6689088"/>
              <a:gd name="connsiteY1590" fmla="*/ 2678104 h 6689084"/>
              <a:gd name="connsiteX1591" fmla="*/ 4779993 w 6689088"/>
              <a:gd name="connsiteY1591" fmla="*/ 2690085 h 6689084"/>
              <a:gd name="connsiteX1592" fmla="*/ 4768008 w 6689088"/>
              <a:gd name="connsiteY1592" fmla="*/ 2702065 h 6689084"/>
              <a:gd name="connsiteX1593" fmla="*/ 4756028 w 6689088"/>
              <a:gd name="connsiteY1593" fmla="*/ 2690085 h 6689084"/>
              <a:gd name="connsiteX1594" fmla="*/ 4768008 w 6689088"/>
              <a:gd name="connsiteY1594" fmla="*/ 2678104 h 6689084"/>
              <a:gd name="connsiteX1595" fmla="*/ 4921598 w 6689088"/>
              <a:gd name="connsiteY1595" fmla="*/ 2676286 h 6689084"/>
              <a:gd name="connsiteX1596" fmla="*/ 4935393 w 6689088"/>
              <a:gd name="connsiteY1596" fmla="*/ 2690081 h 6689084"/>
              <a:gd name="connsiteX1597" fmla="*/ 4921598 w 6689088"/>
              <a:gd name="connsiteY1597" fmla="*/ 2703880 h 6689084"/>
              <a:gd name="connsiteX1598" fmla="*/ 4907798 w 6689088"/>
              <a:gd name="connsiteY1598" fmla="*/ 2690081 h 6689084"/>
              <a:gd name="connsiteX1599" fmla="*/ 4921598 w 6689088"/>
              <a:gd name="connsiteY1599" fmla="*/ 2676286 h 6689084"/>
              <a:gd name="connsiteX1600" fmla="*/ 5075545 w 6689088"/>
              <a:gd name="connsiteY1600" fmla="*/ 2674833 h 6689084"/>
              <a:gd name="connsiteX1601" fmla="*/ 5090792 w 6689088"/>
              <a:gd name="connsiteY1601" fmla="*/ 2690081 h 6689084"/>
              <a:gd name="connsiteX1602" fmla="*/ 5075545 w 6689088"/>
              <a:gd name="connsiteY1602" fmla="*/ 2705332 h 6689084"/>
              <a:gd name="connsiteX1603" fmla="*/ 5060294 w 6689088"/>
              <a:gd name="connsiteY1603" fmla="*/ 2690081 h 6689084"/>
              <a:gd name="connsiteX1604" fmla="*/ 5075545 w 6689088"/>
              <a:gd name="connsiteY1604" fmla="*/ 2674833 h 6689084"/>
              <a:gd name="connsiteX1605" fmla="*/ 5229126 w 6689088"/>
              <a:gd name="connsiteY1605" fmla="*/ 2673019 h 6689084"/>
              <a:gd name="connsiteX1606" fmla="*/ 5246192 w 6689088"/>
              <a:gd name="connsiteY1606" fmla="*/ 2690085 h 6689084"/>
              <a:gd name="connsiteX1607" fmla="*/ 5229126 w 6689088"/>
              <a:gd name="connsiteY1607" fmla="*/ 2707147 h 6689084"/>
              <a:gd name="connsiteX1608" fmla="*/ 5212060 w 6689088"/>
              <a:gd name="connsiteY1608" fmla="*/ 2690085 h 6689084"/>
              <a:gd name="connsiteX1609" fmla="*/ 5229126 w 6689088"/>
              <a:gd name="connsiteY1609" fmla="*/ 2673019 h 6689084"/>
              <a:gd name="connsiteX1610" fmla="*/ 5383074 w 6689088"/>
              <a:gd name="connsiteY1610" fmla="*/ 2670842 h 6689084"/>
              <a:gd name="connsiteX1611" fmla="*/ 5402320 w 6689088"/>
              <a:gd name="connsiteY1611" fmla="*/ 2690085 h 6689084"/>
              <a:gd name="connsiteX1612" fmla="*/ 5383074 w 6689088"/>
              <a:gd name="connsiteY1612" fmla="*/ 2709327 h 6689084"/>
              <a:gd name="connsiteX1613" fmla="*/ 5363832 w 6689088"/>
              <a:gd name="connsiteY1613" fmla="*/ 2690085 h 6689084"/>
              <a:gd name="connsiteX1614" fmla="*/ 5383074 w 6689088"/>
              <a:gd name="connsiteY1614" fmla="*/ 2670842 h 6689084"/>
              <a:gd name="connsiteX1615" fmla="*/ 5536656 w 6689088"/>
              <a:gd name="connsiteY1615" fmla="*/ 2668662 h 6689084"/>
              <a:gd name="connsiteX1616" fmla="*/ 5558078 w 6689088"/>
              <a:gd name="connsiteY1616" fmla="*/ 2690085 h 6689084"/>
              <a:gd name="connsiteX1617" fmla="*/ 5536656 w 6689088"/>
              <a:gd name="connsiteY1617" fmla="*/ 2711504 h 6689084"/>
              <a:gd name="connsiteX1618" fmla="*/ 5515232 w 6689088"/>
              <a:gd name="connsiteY1618" fmla="*/ 2690085 h 6689084"/>
              <a:gd name="connsiteX1619" fmla="*/ 5536656 w 6689088"/>
              <a:gd name="connsiteY1619" fmla="*/ 2668662 h 6689084"/>
              <a:gd name="connsiteX1620" fmla="*/ 5690606 w 6689088"/>
              <a:gd name="connsiteY1620" fmla="*/ 2667209 h 6689084"/>
              <a:gd name="connsiteX1621" fmla="*/ 5713482 w 6689088"/>
              <a:gd name="connsiteY1621" fmla="*/ 2690085 h 6689084"/>
              <a:gd name="connsiteX1622" fmla="*/ 5690606 w 6689088"/>
              <a:gd name="connsiteY1622" fmla="*/ 2712956 h 6689084"/>
              <a:gd name="connsiteX1623" fmla="*/ 5667732 w 6689088"/>
              <a:gd name="connsiteY1623" fmla="*/ 2690085 h 6689084"/>
              <a:gd name="connsiteX1624" fmla="*/ 5690606 w 6689088"/>
              <a:gd name="connsiteY1624" fmla="*/ 2667209 h 6689084"/>
              <a:gd name="connsiteX1625" fmla="*/ 5844550 w 6689088"/>
              <a:gd name="connsiteY1625" fmla="*/ 2665033 h 6689084"/>
              <a:gd name="connsiteX1626" fmla="*/ 5869606 w 6689088"/>
              <a:gd name="connsiteY1626" fmla="*/ 2690085 h 6689084"/>
              <a:gd name="connsiteX1627" fmla="*/ 5844550 w 6689088"/>
              <a:gd name="connsiteY1627" fmla="*/ 2715136 h 6689084"/>
              <a:gd name="connsiteX1628" fmla="*/ 5819498 w 6689088"/>
              <a:gd name="connsiteY1628" fmla="*/ 2690085 h 6689084"/>
              <a:gd name="connsiteX1629" fmla="*/ 5844550 w 6689088"/>
              <a:gd name="connsiteY1629" fmla="*/ 2665033 h 6689084"/>
              <a:gd name="connsiteX1630" fmla="*/ 5998139 w 6689088"/>
              <a:gd name="connsiteY1630" fmla="*/ 2662852 h 6689084"/>
              <a:gd name="connsiteX1631" fmla="*/ 6025372 w 6689088"/>
              <a:gd name="connsiteY1631" fmla="*/ 2690085 h 6689084"/>
              <a:gd name="connsiteX1632" fmla="*/ 5998139 w 6689088"/>
              <a:gd name="connsiteY1632" fmla="*/ 2717317 h 6689084"/>
              <a:gd name="connsiteX1633" fmla="*/ 5970907 w 6689088"/>
              <a:gd name="connsiteY1633" fmla="*/ 2690085 h 6689084"/>
              <a:gd name="connsiteX1634" fmla="*/ 5998139 w 6689088"/>
              <a:gd name="connsiteY1634" fmla="*/ 2662852 h 6689084"/>
              <a:gd name="connsiteX1635" fmla="*/ 6152083 w 6689088"/>
              <a:gd name="connsiteY1635" fmla="*/ 2660310 h 6689084"/>
              <a:gd name="connsiteX1636" fmla="*/ 6181858 w 6689088"/>
              <a:gd name="connsiteY1636" fmla="*/ 2690081 h 6689084"/>
              <a:gd name="connsiteX1637" fmla="*/ 6152083 w 6689088"/>
              <a:gd name="connsiteY1637" fmla="*/ 2719856 h 6689084"/>
              <a:gd name="connsiteX1638" fmla="*/ 6122312 w 6689088"/>
              <a:gd name="connsiteY1638" fmla="*/ 2690081 h 6689084"/>
              <a:gd name="connsiteX1639" fmla="*/ 6152083 w 6689088"/>
              <a:gd name="connsiteY1639" fmla="*/ 2660310 h 6689084"/>
              <a:gd name="connsiteX1640" fmla="*/ 6305668 w 6689088"/>
              <a:gd name="connsiteY1640" fmla="*/ 2658133 h 6689084"/>
              <a:gd name="connsiteX1641" fmla="*/ 6337620 w 6689088"/>
              <a:gd name="connsiteY1641" fmla="*/ 2690085 h 6689084"/>
              <a:gd name="connsiteX1642" fmla="*/ 6305668 w 6689088"/>
              <a:gd name="connsiteY1642" fmla="*/ 2722036 h 6689084"/>
              <a:gd name="connsiteX1643" fmla="*/ 6273716 w 6689088"/>
              <a:gd name="connsiteY1643" fmla="*/ 2690085 h 6689084"/>
              <a:gd name="connsiteX1644" fmla="*/ 6305668 w 6689088"/>
              <a:gd name="connsiteY1644" fmla="*/ 2658133 h 6689084"/>
              <a:gd name="connsiteX1645" fmla="*/ 6459616 w 6689088"/>
              <a:gd name="connsiteY1645" fmla="*/ 2656319 h 6689084"/>
              <a:gd name="connsiteX1646" fmla="*/ 6493385 w 6689088"/>
              <a:gd name="connsiteY1646" fmla="*/ 2690085 h 6689084"/>
              <a:gd name="connsiteX1647" fmla="*/ 6459616 w 6689088"/>
              <a:gd name="connsiteY1647" fmla="*/ 2723850 h 6689084"/>
              <a:gd name="connsiteX1648" fmla="*/ 6425850 w 6689088"/>
              <a:gd name="connsiteY1648" fmla="*/ 2690085 h 6689084"/>
              <a:gd name="connsiteX1649" fmla="*/ 6459616 w 6689088"/>
              <a:gd name="connsiteY1649" fmla="*/ 2656319 h 6689084"/>
              <a:gd name="connsiteX1650" fmla="*/ 6613200 w 6689088"/>
              <a:gd name="connsiteY1650" fmla="*/ 2653777 h 6689084"/>
              <a:gd name="connsiteX1651" fmla="*/ 6649509 w 6689088"/>
              <a:gd name="connsiteY1651" fmla="*/ 2690085 h 6689084"/>
              <a:gd name="connsiteX1652" fmla="*/ 6613200 w 6689088"/>
              <a:gd name="connsiteY1652" fmla="*/ 2726393 h 6689084"/>
              <a:gd name="connsiteX1653" fmla="*/ 6576892 w 6689088"/>
              <a:gd name="connsiteY1653" fmla="*/ 2690085 h 6689084"/>
              <a:gd name="connsiteX1654" fmla="*/ 6613200 w 6689088"/>
              <a:gd name="connsiteY1654" fmla="*/ 2653777 h 6689084"/>
              <a:gd name="connsiteX1655" fmla="*/ 3230349 w 6689088"/>
              <a:gd name="connsiteY1655" fmla="*/ 2536137 h 6689084"/>
              <a:gd name="connsiteX1656" fmla="*/ 3230715 w 6689088"/>
              <a:gd name="connsiteY1656" fmla="*/ 2536499 h 6689084"/>
              <a:gd name="connsiteX1657" fmla="*/ 3230349 w 6689088"/>
              <a:gd name="connsiteY1657" fmla="*/ 2536866 h 6689084"/>
              <a:gd name="connsiteX1658" fmla="*/ 3229987 w 6689088"/>
              <a:gd name="connsiteY1658" fmla="*/ 2536499 h 6689084"/>
              <a:gd name="connsiteX1659" fmla="*/ 3230349 w 6689088"/>
              <a:gd name="connsiteY1659" fmla="*/ 2536137 h 6689084"/>
              <a:gd name="connsiteX1660" fmla="*/ 2768873 w 6689088"/>
              <a:gd name="connsiteY1660" fmla="*/ 2536137 h 6689084"/>
              <a:gd name="connsiteX1661" fmla="*/ 2769235 w 6689088"/>
              <a:gd name="connsiteY1661" fmla="*/ 2536499 h 6689084"/>
              <a:gd name="connsiteX1662" fmla="*/ 2768873 w 6689088"/>
              <a:gd name="connsiteY1662" fmla="*/ 2536866 h 6689084"/>
              <a:gd name="connsiteX1663" fmla="*/ 2768511 w 6689088"/>
              <a:gd name="connsiteY1663" fmla="*/ 2536499 h 6689084"/>
              <a:gd name="connsiteX1664" fmla="*/ 2768873 w 6689088"/>
              <a:gd name="connsiteY1664" fmla="*/ 2536137 h 6689084"/>
              <a:gd name="connsiteX1665" fmla="*/ 2614925 w 6689088"/>
              <a:gd name="connsiteY1665" fmla="*/ 2536137 h 6689084"/>
              <a:gd name="connsiteX1666" fmla="*/ 2615288 w 6689088"/>
              <a:gd name="connsiteY1666" fmla="*/ 2536499 h 6689084"/>
              <a:gd name="connsiteX1667" fmla="*/ 2614925 w 6689088"/>
              <a:gd name="connsiteY1667" fmla="*/ 2536866 h 6689084"/>
              <a:gd name="connsiteX1668" fmla="*/ 2614563 w 6689088"/>
              <a:gd name="connsiteY1668" fmla="*/ 2536499 h 6689084"/>
              <a:gd name="connsiteX1669" fmla="*/ 2614925 w 6689088"/>
              <a:gd name="connsiteY1669" fmla="*/ 2536137 h 6689084"/>
              <a:gd name="connsiteX1670" fmla="*/ 2461344 w 6689088"/>
              <a:gd name="connsiteY1670" fmla="*/ 2535771 h 6689084"/>
              <a:gd name="connsiteX1671" fmla="*/ 2462068 w 6689088"/>
              <a:gd name="connsiteY1671" fmla="*/ 2536499 h 6689084"/>
              <a:gd name="connsiteX1672" fmla="*/ 2461344 w 6689088"/>
              <a:gd name="connsiteY1672" fmla="*/ 2537224 h 6689084"/>
              <a:gd name="connsiteX1673" fmla="*/ 2460616 w 6689088"/>
              <a:gd name="connsiteY1673" fmla="*/ 2536499 h 6689084"/>
              <a:gd name="connsiteX1674" fmla="*/ 2461344 w 6689088"/>
              <a:gd name="connsiteY1674" fmla="*/ 2535771 h 6689084"/>
              <a:gd name="connsiteX1675" fmla="*/ 3383938 w 6689088"/>
              <a:gd name="connsiteY1675" fmla="*/ 2535047 h 6689084"/>
              <a:gd name="connsiteX1676" fmla="*/ 3385390 w 6689088"/>
              <a:gd name="connsiteY1676" fmla="*/ 2536499 h 6689084"/>
              <a:gd name="connsiteX1677" fmla="*/ 3383938 w 6689088"/>
              <a:gd name="connsiteY1677" fmla="*/ 2537952 h 6689084"/>
              <a:gd name="connsiteX1678" fmla="*/ 3382486 w 6689088"/>
              <a:gd name="connsiteY1678" fmla="*/ 2536499 h 6689084"/>
              <a:gd name="connsiteX1679" fmla="*/ 3383938 w 6689088"/>
              <a:gd name="connsiteY1679" fmla="*/ 2535047 h 6689084"/>
              <a:gd name="connsiteX1680" fmla="*/ 3537886 w 6689088"/>
              <a:gd name="connsiteY1680" fmla="*/ 2534323 h 6689084"/>
              <a:gd name="connsiteX1681" fmla="*/ 3540062 w 6689088"/>
              <a:gd name="connsiteY1681" fmla="*/ 2536503 h 6689084"/>
              <a:gd name="connsiteX1682" fmla="*/ 3537886 w 6689088"/>
              <a:gd name="connsiteY1682" fmla="*/ 2538680 h 6689084"/>
              <a:gd name="connsiteX1683" fmla="*/ 3535705 w 6689088"/>
              <a:gd name="connsiteY1683" fmla="*/ 2536503 h 6689084"/>
              <a:gd name="connsiteX1684" fmla="*/ 3537886 w 6689088"/>
              <a:gd name="connsiteY1684" fmla="*/ 2534323 h 6689084"/>
              <a:gd name="connsiteX1685" fmla="*/ 3691467 w 6689088"/>
              <a:gd name="connsiteY1685" fmla="*/ 2533233 h 6689084"/>
              <a:gd name="connsiteX1686" fmla="*/ 3694738 w 6689088"/>
              <a:gd name="connsiteY1686" fmla="*/ 2536499 h 6689084"/>
              <a:gd name="connsiteX1687" fmla="*/ 3691467 w 6689088"/>
              <a:gd name="connsiteY1687" fmla="*/ 2539770 h 6689084"/>
              <a:gd name="connsiteX1688" fmla="*/ 3688200 w 6689088"/>
              <a:gd name="connsiteY1688" fmla="*/ 2536499 h 6689084"/>
              <a:gd name="connsiteX1689" fmla="*/ 3691467 w 6689088"/>
              <a:gd name="connsiteY1689" fmla="*/ 2533233 h 6689084"/>
              <a:gd name="connsiteX1690" fmla="*/ 3845414 w 6689088"/>
              <a:gd name="connsiteY1690" fmla="*/ 2531780 h 6689084"/>
              <a:gd name="connsiteX1691" fmla="*/ 3849771 w 6689088"/>
              <a:gd name="connsiteY1691" fmla="*/ 2536137 h 6689084"/>
              <a:gd name="connsiteX1692" fmla="*/ 3845414 w 6689088"/>
              <a:gd name="connsiteY1692" fmla="*/ 2540494 h 6689084"/>
              <a:gd name="connsiteX1693" fmla="*/ 3841057 w 6689088"/>
              <a:gd name="connsiteY1693" fmla="*/ 2536137 h 6689084"/>
              <a:gd name="connsiteX1694" fmla="*/ 3845414 w 6689088"/>
              <a:gd name="connsiteY1694" fmla="*/ 2531780 h 6689084"/>
              <a:gd name="connsiteX1695" fmla="*/ 3999000 w 6689088"/>
              <a:gd name="connsiteY1695" fmla="*/ 2530690 h 6689084"/>
              <a:gd name="connsiteX1696" fmla="*/ 4004809 w 6689088"/>
              <a:gd name="connsiteY1696" fmla="*/ 2536499 h 6689084"/>
              <a:gd name="connsiteX1697" fmla="*/ 3999000 w 6689088"/>
              <a:gd name="connsiteY1697" fmla="*/ 2542309 h 6689084"/>
              <a:gd name="connsiteX1698" fmla="*/ 3993190 w 6689088"/>
              <a:gd name="connsiteY1698" fmla="*/ 2536499 h 6689084"/>
              <a:gd name="connsiteX1699" fmla="*/ 3999000 w 6689088"/>
              <a:gd name="connsiteY1699" fmla="*/ 2530690 h 6689084"/>
              <a:gd name="connsiteX1700" fmla="*/ 4152947 w 6689088"/>
              <a:gd name="connsiteY1700" fmla="*/ 2528876 h 6689084"/>
              <a:gd name="connsiteX1701" fmla="*/ 4160208 w 6689088"/>
              <a:gd name="connsiteY1701" fmla="*/ 2536137 h 6689084"/>
              <a:gd name="connsiteX1702" fmla="*/ 4152947 w 6689088"/>
              <a:gd name="connsiteY1702" fmla="*/ 2543399 h 6689084"/>
              <a:gd name="connsiteX1703" fmla="*/ 4145686 w 6689088"/>
              <a:gd name="connsiteY1703" fmla="*/ 2536137 h 6689084"/>
              <a:gd name="connsiteX1704" fmla="*/ 4152947 w 6689088"/>
              <a:gd name="connsiteY1704" fmla="*/ 2528876 h 6689084"/>
              <a:gd name="connsiteX1705" fmla="*/ 4306528 w 6689088"/>
              <a:gd name="connsiteY1705" fmla="*/ 2527058 h 6689084"/>
              <a:gd name="connsiteX1706" fmla="*/ 4315608 w 6689088"/>
              <a:gd name="connsiteY1706" fmla="*/ 2536133 h 6689084"/>
              <a:gd name="connsiteX1707" fmla="*/ 4306528 w 6689088"/>
              <a:gd name="connsiteY1707" fmla="*/ 2545213 h 6689084"/>
              <a:gd name="connsiteX1708" fmla="*/ 4297452 w 6689088"/>
              <a:gd name="connsiteY1708" fmla="*/ 2536133 h 6689084"/>
              <a:gd name="connsiteX1709" fmla="*/ 4306528 w 6689088"/>
              <a:gd name="connsiteY1709" fmla="*/ 2527058 h 6689084"/>
              <a:gd name="connsiteX1710" fmla="*/ 4460480 w 6689088"/>
              <a:gd name="connsiteY1710" fmla="*/ 2526333 h 6689084"/>
              <a:gd name="connsiteX1711" fmla="*/ 4470646 w 6689088"/>
              <a:gd name="connsiteY1711" fmla="*/ 2536499 h 6689084"/>
              <a:gd name="connsiteX1712" fmla="*/ 4460480 w 6689088"/>
              <a:gd name="connsiteY1712" fmla="*/ 2546666 h 6689084"/>
              <a:gd name="connsiteX1713" fmla="*/ 4450314 w 6689088"/>
              <a:gd name="connsiteY1713" fmla="*/ 2536499 h 6689084"/>
              <a:gd name="connsiteX1714" fmla="*/ 4460480 w 6689088"/>
              <a:gd name="connsiteY1714" fmla="*/ 2526333 h 6689084"/>
              <a:gd name="connsiteX1715" fmla="*/ 4614061 w 6689088"/>
              <a:gd name="connsiteY1715" fmla="*/ 2524153 h 6689084"/>
              <a:gd name="connsiteX1716" fmla="*/ 4626046 w 6689088"/>
              <a:gd name="connsiteY1716" fmla="*/ 2536133 h 6689084"/>
              <a:gd name="connsiteX1717" fmla="*/ 4614061 w 6689088"/>
              <a:gd name="connsiteY1717" fmla="*/ 2548118 h 6689084"/>
              <a:gd name="connsiteX1718" fmla="*/ 4602080 w 6689088"/>
              <a:gd name="connsiteY1718" fmla="*/ 2536133 h 6689084"/>
              <a:gd name="connsiteX1719" fmla="*/ 4614061 w 6689088"/>
              <a:gd name="connsiteY1719" fmla="*/ 2524153 h 6689084"/>
              <a:gd name="connsiteX1720" fmla="*/ 4768012 w 6689088"/>
              <a:gd name="connsiteY1720" fmla="*/ 2522338 h 6689084"/>
              <a:gd name="connsiteX1721" fmla="*/ 4781808 w 6689088"/>
              <a:gd name="connsiteY1721" fmla="*/ 2536133 h 6689084"/>
              <a:gd name="connsiteX1722" fmla="*/ 4768012 w 6689088"/>
              <a:gd name="connsiteY1722" fmla="*/ 2549933 h 6689084"/>
              <a:gd name="connsiteX1723" fmla="*/ 4754214 w 6689088"/>
              <a:gd name="connsiteY1723" fmla="*/ 2536133 h 6689084"/>
              <a:gd name="connsiteX1724" fmla="*/ 4768012 w 6689088"/>
              <a:gd name="connsiteY1724" fmla="*/ 2522338 h 6689084"/>
              <a:gd name="connsiteX1725" fmla="*/ 4921594 w 6689088"/>
              <a:gd name="connsiteY1725" fmla="*/ 2521252 h 6689084"/>
              <a:gd name="connsiteX1726" fmla="*/ 4936845 w 6689088"/>
              <a:gd name="connsiteY1726" fmla="*/ 2536503 h 6689084"/>
              <a:gd name="connsiteX1727" fmla="*/ 4921594 w 6689088"/>
              <a:gd name="connsiteY1727" fmla="*/ 2551751 h 6689084"/>
              <a:gd name="connsiteX1728" fmla="*/ 4906346 w 6689088"/>
              <a:gd name="connsiteY1728" fmla="*/ 2536503 h 6689084"/>
              <a:gd name="connsiteX1729" fmla="*/ 4921594 w 6689088"/>
              <a:gd name="connsiteY1729" fmla="*/ 2521252 h 6689084"/>
              <a:gd name="connsiteX1730" fmla="*/ 5075545 w 6689088"/>
              <a:gd name="connsiteY1730" fmla="*/ 2519071 h 6689084"/>
              <a:gd name="connsiteX1731" fmla="*/ 5092611 w 6689088"/>
              <a:gd name="connsiteY1731" fmla="*/ 2536137 h 6689084"/>
              <a:gd name="connsiteX1732" fmla="*/ 5075545 w 6689088"/>
              <a:gd name="connsiteY1732" fmla="*/ 2553203 h 6689084"/>
              <a:gd name="connsiteX1733" fmla="*/ 5058479 w 6689088"/>
              <a:gd name="connsiteY1733" fmla="*/ 2536137 h 6689084"/>
              <a:gd name="connsiteX1734" fmla="*/ 5075545 w 6689088"/>
              <a:gd name="connsiteY1734" fmla="*/ 2519071 h 6689084"/>
              <a:gd name="connsiteX1735" fmla="*/ 5229126 w 6689088"/>
              <a:gd name="connsiteY1735" fmla="*/ 2517257 h 6689084"/>
              <a:gd name="connsiteX1736" fmla="*/ 5248369 w 6689088"/>
              <a:gd name="connsiteY1736" fmla="*/ 2536499 h 6689084"/>
              <a:gd name="connsiteX1737" fmla="*/ 5229126 w 6689088"/>
              <a:gd name="connsiteY1737" fmla="*/ 2555742 h 6689084"/>
              <a:gd name="connsiteX1738" fmla="*/ 5209884 w 6689088"/>
              <a:gd name="connsiteY1738" fmla="*/ 2536499 h 6689084"/>
              <a:gd name="connsiteX1739" fmla="*/ 5229126 w 6689088"/>
              <a:gd name="connsiteY1739" fmla="*/ 2517257 h 6689084"/>
              <a:gd name="connsiteX1740" fmla="*/ 5383074 w 6689088"/>
              <a:gd name="connsiteY1740" fmla="*/ 2514714 h 6689084"/>
              <a:gd name="connsiteX1741" fmla="*/ 5404496 w 6689088"/>
              <a:gd name="connsiteY1741" fmla="*/ 2536137 h 6689084"/>
              <a:gd name="connsiteX1742" fmla="*/ 5383074 w 6689088"/>
              <a:gd name="connsiteY1742" fmla="*/ 2557560 h 6689084"/>
              <a:gd name="connsiteX1743" fmla="*/ 5361651 w 6689088"/>
              <a:gd name="connsiteY1743" fmla="*/ 2536137 h 6689084"/>
              <a:gd name="connsiteX1744" fmla="*/ 5383074 w 6689088"/>
              <a:gd name="connsiteY1744" fmla="*/ 2514714 h 6689084"/>
              <a:gd name="connsiteX1745" fmla="*/ 5536659 w 6689088"/>
              <a:gd name="connsiteY1745" fmla="*/ 2513624 h 6689084"/>
              <a:gd name="connsiteX1746" fmla="*/ 5559534 w 6689088"/>
              <a:gd name="connsiteY1746" fmla="*/ 2536499 h 6689084"/>
              <a:gd name="connsiteX1747" fmla="*/ 5536659 w 6689088"/>
              <a:gd name="connsiteY1747" fmla="*/ 2559371 h 6689084"/>
              <a:gd name="connsiteX1748" fmla="*/ 5513784 w 6689088"/>
              <a:gd name="connsiteY1748" fmla="*/ 2536499 h 6689084"/>
              <a:gd name="connsiteX1749" fmla="*/ 5536659 w 6689088"/>
              <a:gd name="connsiteY1749" fmla="*/ 2513624 h 6689084"/>
              <a:gd name="connsiteX1750" fmla="*/ 5690602 w 6689088"/>
              <a:gd name="connsiteY1750" fmla="*/ 2511448 h 6689084"/>
              <a:gd name="connsiteX1751" fmla="*/ 5715658 w 6689088"/>
              <a:gd name="connsiteY1751" fmla="*/ 2536499 h 6689084"/>
              <a:gd name="connsiteX1752" fmla="*/ 5690602 w 6689088"/>
              <a:gd name="connsiteY1752" fmla="*/ 2561555 h 6689084"/>
              <a:gd name="connsiteX1753" fmla="*/ 5665551 w 6689088"/>
              <a:gd name="connsiteY1753" fmla="*/ 2536499 h 6689084"/>
              <a:gd name="connsiteX1754" fmla="*/ 5690602 w 6689088"/>
              <a:gd name="connsiteY1754" fmla="*/ 2511448 h 6689084"/>
              <a:gd name="connsiteX1755" fmla="*/ 5844554 w 6689088"/>
              <a:gd name="connsiteY1755" fmla="*/ 2509267 h 6689084"/>
              <a:gd name="connsiteX1756" fmla="*/ 5871786 w 6689088"/>
              <a:gd name="connsiteY1756" fmla="*/ 2536499 h 6689084"/>
              <a:gd name="connsiteX1757" fmla="*/ 5844554 w 6689088"/>
              <a:gd name="connsiteY1757" fmla="*/ 2563732 h 6689084"/>
              <a:gd name="connsiteX1758" fmla="*/ 5817322 w 6689088"/>
              <a:gd name="connsiteY1758" fmla="*/ 2536499 h 6689084"/>
              <a:gd name="connsiteX1759" fmla="*/ 5844554 w 6689088"/>
              <a:gd name="connsiteY1759" fmla="*/ 2509267 h 6689084"/>
              <a:gd name="connsiteX1760" fmla="*/ 5998136 w 6689088"/>
              <a:gd name="connsiteY1760" fmla="*/ 2506729 h 6689084"/>
              <a:gd name="connsiteX1761" fmla="*/ 6027910 w 6689088"/>
              <a:gd name="connsiteY1761" fmla="*/ 2536503 h 6689084"/>
              <a:gd name="connsiteX1762" fmla="*/ 5998136 w 6689088"/>
              <a:gd name="connsiteY1762" fmla="*/ 2566274 h 6689084"/>
              <a:gd name="connsiteX1763" fmla="*/ 5968364 w 6689088"/>
              <a:gd name="connsiteY1763" fmla="*/ 2536503 h 6689084"/>
              <a:gd name="connsiteX1764" fmla="*/ 5998136 w 6689088"/>
              <a:gd name="connsiteY1764" fmla="*/ 2506729 h 6689084"/>
              <a:gd name="connsiteX1765" fmla="*/ 6152086 w 6689088"/>
              <a:gd name="connsiteY1765" fmla="*/ 2504548 h 6689084"/>
              <a:gd name="connsiteX1766" fmla="*/ 6184038 w 6689088"/>
              <a:gd name="connsiteY1766" fmla="*/ 2536499 h 6689084"/>
              <a:gd name="connsiteX1767" fmla="*/ 6152086 w 6689088"/>
              <a:gd name="connsiteY1767" fmla="*/ 2568451 h 6689084"/>
              <a:gd name="connsiteX1768" fmla="*/ 6120135 w 6689088"/>
              <a:gd name="connsiteY1768" fmla="*/ 2536499 h 6689084"/>
              <a:gd name="connsiteX1769" fmla="*/ 6152086 w 6689088"/>
              <a:gd name="connsiteY1769" fmla="*/ 2504548 h 6689084"/>
              <a:gd name="connsiteX1770" fmla="*/ 6305668 w 6689088"/>
              <a:gd name="connsiteY1770" fmla="*/ 2502734 h 6689084"/>
              <a:gd name="connsiteX1771" fmla="*/ 6339438 w 6689088"/>
              <a:gd name="connsiteY1771" fmla="*/ 2536499 h 6689084"/>
              <a:gd name="connsiteX1772" fmla="*/ 6305668 w 6689088"/>
              <a:gd name="connsiteY1772" fmla="*/ 2570269 h 6689084"/>
              <a:gd name="connsiteX1773" fmla="*/ 6271902 w 6689088"/>
              <a:gd name="connsiteY1773" fmla="*/ 2536499 h 6689084"/>
              <a:gd name="connsiteX1774" fmla="*/ 6305668 w 6689088"/>
              <a:gd name="connsiteY1774" fmla="*/ 2502734 h 6689084"/>
              <a:gd name="connsiteX1775" fmla="*/ 6459616 w 6689088"/>
              <a:gd name="connsiteY1775" fmla="*/ 2500191 h 6689084"/>
              <a:gd name="connsiteX1776" fmla="*/ 6495924 w 6689088"/>
              <a:gd name="connsiteY1776" fmla="*/ 2536499 h 6689084"/>
              <a:gd name="connsiteX1777" fmla="*/ 6459616 w 6689088"/>
              <a:gd name="connsiteY1777" fmla="*/ 2572808 h 6689084"/>
              <a:gd name="connsiteX1778" fmla="*/ 6423307 w 6689088"/>
              <a:gd name="connsiteY1778" fmla="*/ 2536499 h 6689084"/>
              <a:gd name="connsiteX1779" fmla="*/ 6459616 w 6689088"/>
              <a:gd name="connsiteY1779" fmla="*/ 2500191 h 6689084"/>
              <a:gd name="connsiteX1780" fmla="*/ 6613200 w 6689088"/>
              <a:gd name="connsiteY1780" fmla="*/ 2497648 h 6689084"/>
              <a:gd name="connsiteX1781" fmla="*/ 6652048 w 6689088"/>
              <a:gd name="connsiteY1781" fmla="*/ 2536499 h 6689084"/>
              <a:gd name="connsiteX1782" fmla="*/ 6613200 w 6689088"/>
              <a:gd name="connsiteY1782" fmla="*/ 2575350 h 6689084"/>
              <a:gd name="connsiteX1783" fmla="*/ 6574350 w 6689088"/>
              <a:gd name="connsiteY1783" fmla="*/ 2536499 h 6689084"/>
              <a:gd name="connsiteX1784" fmla="*/ 6613200 w 6689088"/>
              <a:gd name="connsiteY1784" fmla="*/ 2497648 h 6689084"/>
              <a:gd name="connsiteX1785" fmla="*/ 3076406 w 6689088"/>
              <a:gd name="connsiteY1785" fmla="*/ 2382190 h 6689084"/>
              <a:gd name="connsiteX1786" fmla="*/ 3076768 w 6689088"/>
              <a:gd name="connsiteY1786" fmla="*/ 2382552 h 6689084"/>
              <a:gd name="connsiteX1787" fmla="*/ 3076406 w 6689088"/>
              <a:gd name="connsiteY1787" fmla="*/ 2382914 h 6689084"/>
              <a:gd name="connsiteX1788" fmla="*/ 3076043 w 6689088"/>
              <a:gd name="connsiteY1788" fmla="*/ 2382552 h 6689084"/>
              <a:gd name="connsiteX1789" fmla="*/ 3076406 w 6689088"/>
              <a:gd name="connsiteY1789" fmla="*/ 2382190 h 6689084"/>
              <a:gd name="connsiteX1790" fmla="*/ 2614925 w 6689088"/>
              <a:gd name="connsiteY1790" fmla="*/ 2382190 h 6689084"/>
              <a:gd name="connsiteX1791" fmla="*/ 2615288 w 6689088"/>
              <a:gd name="connsiteY1791" fmla="*/ 2382552 h 6689084"/>
              <a:gd name="connsiteX1792" fmla="*/ 2614925 w 6689088"/>
              <a:gd name="connsiteY1792" fmla="*/ 2382914 h 6689084"/>
              <a:gd name="connsiteX1793" fmla="*/ 2614563 w 6689088"/>
              <a:gd name="connsiteY1793" fmla="*/ 2382552 h 6689084"/>
              <a:gd name="connsiteX1794" fmla="*/ 2614925 w 6689088"/>
              <a:gd name="connsiteY1794" fmla="*/ 2382190 h 6689084"/>
              <a:gd name="connsiteX1795" fmla="*/ 2461340 w 6689088"/>
              <a:gd name="connsiteY1795" fmla="*/ 2382190 h 6689084"/>
              <a:gd name="connsiteX1796" fmla="*/ 2461702 w 6689088"/>
              <a:gd name="connsiteY1796" fmla="*/ 2382552 h 6689084"/>
              <a:gd name="connsiteX1797" fmla="*/ 2461340 w 6689088"/>
              <a:gd name="connsiteY1797" fmla="*/ 2382914 h 6689084"/>
              <a:gd name="connsiteX1798" fmla="*/ 2460978 w 6689088"/>
              <a:gd name="connsiteY1798" fmla="*/ 2382552 h 6689084"/>
              <a:gd name="connsiteX1799" fmla="*/ 2461340 w 6689088"/>
              <a:gd name="connsiteY1799" fmla="*/ 2382190 h 6689084"/>
              <a:gd name="connsiteX1800" fmla="*/ 2307393 w 6689088"/>
              <a:gd name="connsiteY1800" fmla="*/ 2381824 h 6689084"/>
              <a:gd name="connsiteX1801" fmla="*/ 2308121 w 6689088"/>
              <a:gd name="connsiteY1801" fmla="*/ 2382552 h 6689084"/>
              <a:gd name="connsiteX1802" fmla="*/ 2307393 w 6689088"/>
              <a:gd name="connsiteY1802" fmla="*/ 2383276 h 6689084"/>
              <a:gd name="connsiteX1803" fmla="*/ 2306669 w 6689088"/>
              <a:gd name="connsiteY1803" fmla="*/ 2382552 h 6689084"/>
              <a:gd name="connsiteX1804" fmla="*/ 2307393 w 6689088"/>
              <a:gd name="connsiteY1804" fmla="*/ 2381824 h 6689084"/>
              <a:gd name="connsiteX1805" fmla="*/ 3230353 w 6689088"/>
              <a:gd name="connsiteY1805" fmla="*/ 2381100 h 6689084"/>
              <a:gd name="connsiteX1806" fmla="*/ 3231805 w 6689088"/>
              <a:gd name="connsiteY1806" fmla="*/ 2382552 h 6689084"/>
              <a:gd name="connsiteX1807" fmla="*/ 3230353 w 6689088"/>
              <a:gd name="connsiteY1807" fmla="*/ 2384005 h 6689084"/>
              <a:gd name="connsiteX1808" fmla="*/ 3228900 w 6689088"/>
              <a:gd name="connsiteY1808" fmla="*/ 2382552 h 6689084"/>
              <a:gd name="connsiteX1809" fmla="*/ 3230353 w 6689088"/>
              <a:gd name="connsiteY1809" fmla="*/ 2381100 h 6689084"/>
              <a:gd name="connsiteX1810" fmla="*/ 3383938 w 6689088"/>
              <a:gd name="connsiteY1810" fmla="*/ 2380375 h 6689084"/>
              <a:gd name="connsiteX1811" fmla="*/ 3386115 w 6689088"/>
              <a:gd name="connsiteY1811" fmla="*/ 2382556 h 6689084"/>
              <a:gd name="connsiteX1812" fmla="*/ 3383938 w 6689088"/>
              <a:gd name="connsiteY1812" fmla="*/ 2384732 h 6689084"/>
              <a:gd name="connsiteX1813" fmla="*/ 3381758 w 6689088"/>
              <a:gd name="connsiteY1813" fmla="*/ 2382556 h 6689084"/>
              <a:gd name="connsiteX1814" fmla="*/ 3383938 w 6689088"/>
              <a:gd name="connsiteY1814" fmla="*/ 2380375 h 6689084"/>
              <a:gd name="connsiteX1815" fmla="*/ 3537882 w 6689088"/>
              <a:gd name="connsiteY1815" fmla="*/ 2379285 h 6689084"/>
              <a:gd name="connsiteX1816" fmla="*/ 3541148 w 6689088"/>
              <a:gd name="connsiteY1816" fmla="*/ 2382552 h 6689084"/>
              <a:gd name="connsiteX1817" fmla="*/ 3537882 w 6689088"/>
              <a:gd name="connsiteY1817" fmla="*/ 2385823 h 6689084"/>
              <a:gd name="connsiteX1818" fmla="*/ 3534615 w 6689088"/>
              <a:gd name="connsiteY1818" fmla="*/ 2382552 h 6689084"/>
              <a:gd name="connsiteX1819" fmla="*/ 3537882 w 6689088"/>
              <a:gd name="connsiteY1819" fmla="*/ 2379285 h 6689084"/>
              <a:gd name="connsiteX1820" fmla="*/ 3691467 w 6689088"/>
              <a:gd name="connsiteY1820" fmla="*/ 2378195 h 6689084"/>
              <a:gd name="connsiteX1821" fmla="*/ 3695824 w 6689088"/>
              <a:gd name="connsiteY1821" fmla="*/ 2382552 h 6689084"/>
              <a:gd name="connsiteX1822" fmla="*/ 3691467 w 6689088"/>
              <a:gd name="connsiteY1822" fmla="*/ 2386909 h 6689084"/>
              <a:gd name="connsiteX1823" fmla="*/ 3687110 w 6689088"/>
              <a:gd name="connsiteY1823" fmla="*/ 2382552 h 6689084"/>
              <a:gd name="connsiteX1824" fmla="*/ 3691467 w 6689088"/>
              <a:gd name="connsiteY1824" fmla="*/ 2378195 h 6689084"/>
              <a:gd name="connsiteX1825" fmla="*/ 3845414 w 6689088"/>
              <a:gd name="connsiteY1825" fmla="*/ 2376743 h 6689084"/>
              <a:gd name="connsiteX1826" fmla="*/ 3851224 w 6689088"/>
              <a:gd name="connsiteY1826" fmla="*/ 2382552 h 6689084"/>
              <a:gd name="connsiteX1827" fmla="*/ 3845414 w 6689088"/>
              <a:gd name="connsiteY1827" fmla="*/ 2388361 h 6689084"/>
              <a:gd name="connsiteX1828" fmla="*/ 3839605 w 6689088"/>
              <a:gd name="connsiteY1828" fmla="*/ 2382552 h 6689084"/>
              <a:gd name="connsiteX1829" fmla="*/ 3845414 w 6689088"/>
              <a:gd name="connsiteY1829" fmla="*/ 2376743 h 6689084"/>
              <a:gd name="connsiteX1830" fmla="*/ 3999000 w 6689088"/>
              <a:gd name="connsiteY1830" fmla="*/ 2375290 h 6689084"/>
              <a:gd name="connsiteX1831" fmla="*/ 4006261 w 6689088"/>
              <a:gd name="connsiteY1831" fmla="*/ 2382552 h 6689084"/>
              <a:gd name="connsiteX1832" fmla="*/ 3999000 w 6689088"/>
              <a:gd name="connsiteY1832" fmla="*/ 2389814 h 6689084"/>
              <a:gd name="connsiteX1833" fmla="*/ 3991738 w 6689088"/>
              <a:gd name="connsiteY1833" fmla="*/ 2382552 h 6689084"/>
              <a:gd name="connsiteX1834" fmla="*/ 3999000 w 6689088"/>
              <a:gd name="connsiteY1834" fmla="*/ 2375290 h 6689084"/>
              <a:gd name="connsiteX1835" fmla="*/ 4152947 w 6689088"/>
              <a:gd name="connsiteY1835" fmla="*/ 2373476 h 6689084"/>
              <a:gd name="connsiteX1836" fmla="*/ 4162027 w 6689088"/>
              <a:gd name="connsiteY1836" fmla="*/ 2382552 h 6689084"/>
              <a:gd name="connsiteX1837" fmla="*/ 4152947 w 6689088"/>
              <a:gd name="connsiteY1837" fmla="*/ 2391632 h 6689084"/>
              <a:gd name="connsiteX1838" fmla="*/ 4143871 w 6689088"/>
              <a:gd name="connsiteY1838" fmla="*/ 2382552 h 6689084"/>
              <a:gd name="connsiteX1839" fmla="*/ 4152947 w 6689088"/>
              <a:gd name="connsiteY1839" fmla="*/ 2373476 h 6689084"/>
              <a:gd name="connsiteX1840" fmla="*/ 4306532 w 6689088"/>
              <a:gd name="connsiteY1840" fmla="*/ 2372386 h 6689084"/>
              <a:gd name="connsiteX1841" fmla="*/ 4316698 w 6689088"/>
              <a:gd name="connsiteY1841" fmla="*/ 2382552 h 6689084"/>
              <a:gd name="connsiteX1842" fmla="*/ 4306532 w 6689088"/>
              <a:gd name="connsiteY1842" fmla="*/ 2392718 h 6689084"/>
              <a:gd name="connsiteX1843" fmla="*/ 4296366 w 6689088"/>
              <a:gd name="connsiteY1843" fmla="*/ 2382552 h 6689084"/>
              <a:gd name="connsiteX1844" fmla="*/ 4306532 w 6689088"/>
              <a:gd name="connsiteY1844" fmla="*/ 2372386 h 6689084"/>
              <a:gd name="connsiteX1845" fmla="*/ 4460476 w 6689088"/>
              <a:gd name="connsiteY1845" fmla="*/ 2370571 h 6689084"/>
              <a:gd name="connsiteX1846" fmla="*/ 4472460 w 6689088"/>
              <a:gd name="connsiteY1846" fmla="*/ 2382552 h 6689084"/>
              <a:gd name="connsiteX1847" fmla="*/ 4460476 w 6689088"/>
              <a:gd name="connsiteY1847" fmla="*/ 2394533 h 6689084"/>
              <a:gd name="connsiteX1848" fmla="*/ 4448495 w 6689088"/>
              <a:gd name="connsiteY1848" fmla="*/ 2382552 h 6689084"/>
              <a:gd name="connsiteX1849" fmla="*/ 4460476 w 6689088"/>
              <a:gd name="connsiteY1849" fmla="*/ 2370571 h 6689084"/>
              <a:gd name="connsiteX1850" fmla="*/ 4614065 w 6689088"/>
              <a:gd name="connsiteY1850" fmla="*/ 2368753 h 6689084"/>
              <a:gd name="connsiteX1851" fmla="*/ 4627860 w 6689088"/>
              <a:gd name="connsiteY1851" fmla="*/ 2382552 h 6689084"/>
              <a:gd name="connsiteX1852" fmla="*/ 4614065 w 6689088"/>
              <a:gd name="connsiteY1852" fmla="*/ 2396347 h 6689084"/>
              <a:gd name="connsiteX1853" fmla="*/ 4600266 w 6689088"/>
              <a:gd name="connsiteY1853" fmla="*/ 2382552 h 6689084"/>
              <a:gd name="connsiteX1854" fmla="*/ 4614065 w 6689088"/>
              <a:gd name="connsiteY1854" fmla="*/ 2368753 h 6689084"/>
              <a:gd name="connsiteX1855" fmla="*/ 4768008 w 6689088"/>
              <a:gd name="connsiteY1855" fmla="*/ 2367304 h 6689084"/>
              <a:gd name="connsiteX1856" fmla="*/ 4783260 w 6689088"/>
              <a:gd name="connsiteY1856" fmla="*/ 2382556 h 6689084"/>
              <a:gd name="connsiteX1857" fmla="*/ 4768008 w 6689088"/>
              <a:gd name="connsiteY1857" fmla="*/ 2397803 h 6689084"/>
              <a:gd name="connsiteX1858" fmla="*/ 4752761 w 6689088"/>
              <a:gd name="connsiteY1858" fmla="*/ 2382556 h 6689084"/>
              <a:gd name="connsiteX1859" fmla="*/ 4768008 w 6689088"/>
              <a:gd name="connsiteY1859" fmla="*/ 2367304 h 6689084"/>
              <a:gd name="connsiteX1860" fmla="*/ 4921594 w 6689088"/>
              <a:gd name="connsiteY1860" fmla="*/ 2365486 h 6689084"/>
              <a:gd name="connsiteX1861" fmla="*/ 4938660 w 6689088"/>
              <a:gd name="connsiteY1861" fmla="*/ 2382552 h 6689084"/>
              <a:gd name="connsiteX1862" fmla="*/ 4921594 w 6689088"/>
              <a:gd name="connsiteY1862" fmla="*/ 2399614 h 6689084"/>
              <a:gd name="connsiteX1863" fmla="*/ 4904528 w 6689088"/>
              <a:gd name="connsiteY1863" fmla="*/ 2382552 h 6689084"/>
              <a:gd name="connsiteX1864" fmla="*/ 4921594 w 6689088"/>
              <a:gd name="connsiteY1864" fmla="*/ 2365486 h 6689084"/>
              <a:gd name="connsiteX1865" fmla="*/ 5075541 w 6689088"/>
              <a:gd name="connsiteY1865" fmla="*/ 2363309 h 6689084"/>
              <a:gd name="connsiteX1866" fmla="*/ 5094784 w 6689088"/>
              <a:gd name="connsiteY1866" fmla="*/ 2382552 h 6689084"/>
              <a:gd name="connsiteX1867" fmla="*/ 5075541 w 6689088"/>
              <a:gd name="connsiteY1867" fmla="*/ 2401799 h 6689084"/>
              <a:gd name="connsiteX1868" fmla="*/ 5056298 w 6689088"/>
              <a:gd name="connsiteY1868" fmla="*/ 2382552 h 6689084"/>
              <a:gd name="connsiteX1869" fmla="*/ 5075541 w 6689088"/>
              <a:gd name="connsiteY1869" fmla="*/ 2363309 h 6689084"/>
              <a:gd name="connsiteX1870" fmla="*/ 5229126 w 6689088"/>
              <a:gd name="connsiteY1870" fmla="*/ 2361129 h 6689084"/>
              <a:gd name="connsiteX1871" fmla="*/ 5250546 w 6689088"/>
              <a:gd name="connsiteY1871" fmla="*/ 2382552 h 6689084"/>
              <a:gd name="connsiteX1872" fmla="*/ 5229126 w 6689088"/>
              <a:gd name="connsiteY1872" fmla="*/ 2403975 h 6689084"/>
              <a:gd name="connsiteX1873" fmla="*/ 5207704 w 6689088"/>
              <a:gd name="connsiteY1873" fmla="*/ 2382552 h 6689084"/>
              <a:gd name="connsiteX1874" fmla="*/ 5229126 w 6689088"/>
              <a:gd name="connsiteY1874" fmla="*/ 2361129 h 6689084"/>
              <a:gd name="connsiteX1875" fmla="*/ 5383074 w 6689088"/>
              <a:gd name="connsiteY1875" fmla="*/ 2359677 h 6689084"/>
              <a:gd name="connsiteX1876" fmla="*/ 5405946 w 6689088"/>
              <a:gd name="connsiteY1876" fmla="*/ 2382552 h 6689084"/>
              <a:gd name="connsiteX1877" fmla="*/ 5383074 w 6689088"/>
              <a:gd name="connsiteY1877" fmla="*/ 2405427 h 6689084"/>
              <a:gd name="connsiteX1878" fmla="*/ 5360198 w 6689088"/>
              <a:gd name="connsiteY1878" fmla="*/ 2382552 h 6689084"/>
              <a:gd name="connsiteX1879" fmla="*/ 5383074 w 6689088"/>
              <a:gd name="connsiteY1879" fmla="*/ 2359677 h 6689084"/>
              <a:gd name="connsiteX1880" fmla="*/ 5536656 w 6689088"/>
              <a:gd name="connsiteY1880" fmla="*/ 2357500 h 6689084"/>
              <a:gd name="connsiteX1881" fmla="*/ 5561711 w 6689088"/>
              <a:gd name="connsiteY1881" fmla="*/ 2382552 h 6689084"/>
              <a:gd name="connsiteX1882" fmla="*/ 5536656 w 6689088"/>
              <a:gd name="connsiteY1882" fmla="*/ 2407608 h 6689084"/>
              <a:gd name="connsiteX1883" fmla="*/ 5511604 w 6689088"/>
              <a:gd name="connsiteY1883" fmla="*/ 2382552 h 6689084"/>
              <a:gd name="connsiteX1884" fmla="*/ 5536656 w 6689088"/>
              <a:gd name="connsiteY1884" fmla="*/ 2357500 h 6689084"/>
              <a:gd name="connsiteX1885" fmla="*/ 5690606 w 6689088"/>
              <a:gd name="connsiteY1885" fmla="*/ 2355320 h 6689084"/>
              <a:gd name="connsiteX1886" fmla="*/ 5717838 w 6689088"/>
              <a:gd name="connsiteY1886" fmla="*/ 2382552 h 6689084"/>
              <a:gd name="connsiteX1887" fmla="*/ 5690606 w 6689088"/>
              <a:gd name="connsiteY1887" fmla="*/ 2409784 h 6689084"/>
              <a:gd name="connsiteX1888" fmla="*/ 5663374 w 6689088"/>
              <a:gd name="connsiteY1888" fmla="*/ 2382552 h 6689084"/>
              <a:gd name="connsiteX1889" fmla="*/ 5690606 w 6689088"/>
              <a:gd name="connsiteY1889" fmla="*/ 2355320 h 6689084"/>
              <a:gd name="connsiteX1890" fmla="*/ 5844554 w 6689088"/>
              <a:gd name="connsiteY1890" fmla="*/ 2352781 h 6689084"/>
              <a:gd name="connsiteX1891" fmla="*/ 5874325 w 6689088"/>
              <a:gd name="connsiteY1891" fmla="*/ 2382556 h 6689084"/>
              <a:gd name="connsiteX1892" fmla="*/ 5844554 w 6689088"/>
              <a:gd name="connsiteY1892" fmla="*/ 2412327 h 6689084"/>
              <a:gd name="connsiteX1893" fmla="*/ 5814779 w 6689088"/>
              <a:gd name="connsiteY1893" fmla="*/ 2382556 h 6689084"/>
              <a:gd name="connsiteX1894" fmla="*/ 5844554 w 6689088"/>
              <a:gd name="connsiteY1894" fmla="*/ 2352781 h 6689084"/>
              <a:gd name="connsiteX1895" fmla="*/ 5998139 w 6689088"/>
              <a:gd name="connsiteY1895" fmla="*/ 2350601 h 6689084"/>
              <a:gd name="connsiteX1896" fmla="*/ 6030090 w 6689088"/>
              <a:gd name="connsiteY1896" fmla="*/ 2382552 h 6689084"/>
              <a:gd name="connsiteX1897" fmla="*/ 5998139 w 6689088"/>
              <a:gd name="connsiteY1897" fmla="*/ 2414503 h 6689084"/>
              <a:gd name="connsiteX1898" fmla="*/ 5966188 w 6689088"/>
              <a:gd name="connsiteY1898" fmla="*/ 2382552 h 6689084"/>
              <a:gd name="connsiteX1899" fmla="*/ 5998139 w 6689088"/>
              <a:gd name="connsiteY1899" fmla="*/ 2350601 h 6689084"/>
              <a:gd name="connsiteX1900" fmla="*/ 6152086 w 6689088"/>
              <a:gd name="connsiteY1900" fmla="*/ 2348786 h 6689084"/>
              <a:gd name="connsiteX1901" fmla="*/ 6185852 w 6689088"/>
              <a:gd name="connsiteY1901" fmla="*/ 2382552 h 6689084"/>
              <a:gd name="connsiteX1902" fmla="*/ 6152086 w 6689088"/>
              <a:gd name="connsiteY1902" fmla="*/ 2416322 h 6689084"/>
              <a:gd name="connsiteX1903" fmla="*/ 6118317 w 6689088"/>
              <a:gd name="connsiteY1903" fmla="*/ 2382552 h 6689084"/>
              <a:gd name="connsiteX1904" fmla="*/ 6152086 w 6689088"/>
              <a:gd name="connsiteY1904" fmla="*/ 2348786 h 6689084"/>
              <a:gd name="connsiteX1905" fmla="*/ 6305668 w 6689088"/>
              <a:gd name="connsiteY1905" fmla="*/ 2346244 h 6689084"/>
              <a:gd name="connsiteX1906" fmla="*/ 6341976 w 6689088"/>
              <a:gd name="connsiteY1906" fmla="*/ 2382552 h 6689084"/>
              <a:gd name="connsiteX1907" fmla="*/ 6305668 w 6689088"/>
              <a:gd name="connsiteY1907" fmla="*/ 2418860 h 6689084"/>
              <a:gd name="connsiteX1908" fmla="*/ 6269360 w 6689088"/>
              <a:gd name="connsiteY1908" fmla="*/ 2382552 h 6689084"/>
              <a:gd name="connsiteX1909" fmla="*/ 6305668 w 6689088"/>
              <a:gd name="connsiteY1909" fmla="*/ 2346244 h 6689084"/>
              <a:gd name="connsiteX1910" fmla="*/ 6459619 w 6689088"/>
              <a:gd name="connsiteY1910" fmla="*/ 2343701 h 6689084"/>
              <a:gd name="connsiteX1911" fmla="*/ 6498470 w 6689088"/>
              <a:gd name="connsiteY1911" fmla="*/ 2382552 h 6689084"/>
              <a:gd name="connsiteX1912" fmla="*/ 6459619 w 6689088"/>
              <a:gd name="connsiteY1912" fmla="*/ 2421399 h 6689084"/>
              <a:gd name="connsiteX1913" fmla="*/ 6420768 w 6689088"/>
              <a:gd name="connsiteY1913" fmla="*/ 2382552 h 6689084"/>
              <a:gd name="connsiteX1914" fmla="*/ 6459619 w 6689088"/>
              <a:gd name="connsiteY1914" fmla="*/ 2343701 h 6689084"/>
              <a:gd name="connsiteX1915" fmla="*/ 6613200 w 6689088"/>
              <a:gd name="connsiteY1915" fmla="*/ 2341524 h 6689084"/>
              <a:gd name="connsiteX1916" fmla="*/ 6654232 w 6689088"/>
              <a:gd name="connsiteY1916" fmla="*/ 2382552 h 6689084"/>
              <a:gd name="connsiteX1917" fmla="*/ 6613200 w 6689088"/>
              <a:gd name="connsiteY1917" fmla="*/ 2423583 h 6689084"/>
              <a:gd name="connsiteX1918" fmla="*/ 6572173 w 6689088"/>
              <a:gd name="connsiteY1918" fmla="*/ 2382552 h 6689084"/>
              <a:gd name="connsiteX1919" fmla="*/ 6613200 w 6689088"/>
              <a:gd name="connsiteY1919" fmla="*/ 2341524 h 6689084"/>
              <a:gd name="connsiteX1920" fmla="*/ 2922458 w 6689088"/>
              <a:gd name="connsiteY1920" fmla="*/ 2228605 h 6689084"/>
              <a:gd name="connsiteX1921" fmla="*/ 2922820 w 6689088"/>
              <a:gd name="connsiteY1921" fmla="*/ 2228967 h 6689084"/>
              <a:gd name="connsiteX1922" fmla="*/ 2922458 w 6689088"/>
              <a:gd name="connsiteY1922" fmla="*/ 2229333 h 6689084"/>
              <a:gd name="connsiteX1923" fmla="*/ 2922096 w 6689088"/>
              <a:gd name="connsiteY1923" fmla="*/ 2228967 h 6689084"/>
              <a:gd name="connsiteX1924" fmla="*/ 2922458 w 6689088"/>
              <a:gd name="connsiteY1924" fmla="*/ 2228605 h 6689084"/>
              <a:gd name="connsiteX1925" fmla="*/ 2461340 w 6689088"/>
              <a:gd name="connsiteY1925" fmla="*/ 2228605 h 6689084"/>
              <a:gd name="connsiteX1926" fmla="*/ 2461702 w 6689088"/>
              <a:gd name="connsiteY1926" fmla="*/ 2228967 h 6689084"/>
              <a:gd name="connsiteX1927" fmla="*/ 2461340 w 6689088"/>
              <a:gd name="connsiteY1927" fmla="*/ 2229333 h 6689084"/>
              <a:gd name="connsiteX1928" fmla="*/ 2460978 w 6689088"/>
              <a:gd name="connsiteY1928" fmla="*/ 2228967 h 6689084"/>
              <a:gd name="connsiteX1929" fmla="*/ 2461340 w 6689088"/>
              <a:gd name="connsiteY1929" fmla="*/ 2228605 h 6689084"/>
              <a:gd name="connsiteX1930" fmla="*/ 2307393 w 6689088"/>
              <a:gd name="connsiteY1930" fmla="*/ 2228605 h 6689084"/>
              <a:gd name="connsiteX1931" fmla="*/ 2307755 w 6689088"/>
              <a:gd name="connsiteY1931" fmla="*/ 2228967 h 6689084"/>
              <a:gd name="connsiteX1932" fmla="*/ 2307393 w 6689088"/>
              <a:gd name="connsiteY1932" fmla="*/ 2229333 h 6689084"/>
              <a:gd name="connsiteX1933" fmla="*/ 2307031 w 6689088"/>
              <a:gd name="connsiteY1933" fmla="*/ 2228967 h 6689084"/>
              <a:gd name="connsiteX1934" fmla="*/ 2307393 w 6689088"/>
              <a:gd name="connsiteY1934" fmla="*/ 2228605 h 6689084"/>
              <a:gd name="connsiteX1935" fmla="*/ 2153811 w 6689088"/>
              <a:gd name="connsiteY1935" fmla="*/ 2228243 h 6689084"/>
              <a:gd name="connsiteX1936" fmla="*/ 2154536 w 6689088"/>
              <a:gd name="connsiteY1936" fmla="*/ 2228971 h 6689084"/>
              <a:gd name="connsiteX1937" fmla="*/ 2153811 w 6689088"/>
              <a:gd name="connsiteY1937" fmla="*/ 2229695 h 6689084"/>
              <a:gd name="connsiteX1938" fmla="*/ 2153083 w 6689088"/>
              <a:gd name="connsiteY1938" fmla="*/ 2228971 h 6689084"/>
              <a:gd name="connsiteX1939" fmla="*/ 2153811 w 6689088"/>
              <a:gd name="connsiteY1939" fmla="*/ 2228243 h 6689084"/>
              <a:gd name="connsiteX1940" fmla="*/ 3076406 w 6689088"/>
              <a:gd name="connsiteY1940" fmla="*/ 2227152 h 6689084"/>
              <a:gd name="connsiteX1941" fmla="*/ 3077858 w 6689088"/>
              <a:gd name="connsiteY1941" fmla="*/ 2228605 h 6689084"/>
              <a:gd name="connsiteX1942" fmla="*/ 3076406 w 6689088"/>
              <a:gd name="connsiteY1942" fmla="*/ 2230057 h 6689084"/>
              <a:gd name="connsiteX1943" fmla="*/ 3074953 w 6689088"/>
              <a:gd name="connsiteY1943" fmla="*/ 2228605 h 6689084"/>
              <a:gd name="connsiteX1944" fmla="*/ 3076406 w 6689088"/>
              <a:gd name="connsiteY1944" fmla="*/ 2227152 h 6689084"/>
              <a:gd name="connsiteX1945" fmla="*/ 3230353 w 6689088"/>
              <a:gd name="connsiteY1945" fmla="*/ 2226428 h 6689084"/>
              <a:gd name="connsiteX1946" fmla="*/ 3232530 w 6689088"/>
              <a:gd name="connsiteY1946" fmla="*/ 2228608 h 6689084"/>
              <a:gd name="connsiteX1947" fmla="*/ 3230353 w 6689088"/>
              <a:gd name="connsiteY1947" fmla="*/ 2230785 h 6689084"/>
              <a:gd name="connsiteX1948" fmla="*/ 3228172 w 6689088"/>
              <a:gd name="connsiteY1948" fmla="*/ 2228608 h 6689084"/>
              <a:gd name="connsiteX1949" fmla="*/ 3230353 w 6689088"/>
              <a:gd name="connsiteY1949" fmla="*/ 2226428 h 6689084"/>
              <a:gd name="connsiteX1950" fmla="*/ 3383934 w 6689088"/>
              <a:gd name="connsiteY1950" fmla="*/ 2225700 h 6689084"/>
              <a:gd name="connsiteX1951" fmla="*/ 3387205 w 6689088"/>
              <a:gd name="connsiteY1951" fmla="*/ 2228967 h 6689084"/>
              <a:gd name="connsiteX1952" fmla="*/ 3383934 w 6689088"/>
              <a:gd name="connsiteY1952" fmla="*/ 2232238 h 6689084"/>
              <a:gd name="connsiteX1953" fmla="*/ 3380668 w 6689088"/>
              <a:gd name="connsiteY1953" fmla="*/ 2228967 h 6689084"/>
              <a:gd name="connsiteX1954" fmla="*/ 3383934 w 6689088"/>
              <a:gd name="connsiteY1954" fmla="*/ 2225700 h 6689084"/>
              <a:gd name="connsiteX1955" fmla="*/ 3537886 w 6689088"/>
              <a:gd name="connsiteY1955" fmla="*/ 2224248 h 6689084"/>
              <a:gd name="connsiteX1956" fmla="*/ 3542242 w 6689088"/>
              <a:gd name="connsiteY1956" fmla="*/ 2228605 h 6689084"/>
              <a:gd name="connsiteX1957" fmla="*/ 3537886 w 6689088"/>
              <a:gd name="connsiteY1957" fmla="*/ 2232962 h 6689084"/>
              <a:gd name="connsiteX1958" fmla="*/ 3533528 w 6689088"/>
              <a:gd name="connsiteY1958" fmla="*/ 2228605 h 6689084"/>
              <a:gd name="connsiteX1959" fmla="*/ 3537886 w 6689088"/>
              <a:gd name="connsiteY1959" fmla="*/ 2224248 h 6689084"/>
              <a:gd name="connsiteX1960" fmla="*/ 3691467 w 6689088"/>
              <a:gd name="connsiteY1960" fmla="*/ 2222795 h 6689084"/>
              <a:gd name="connsiteX1961" fmla="*/ 3697276 w 6689088"/>
              <a:gd name="connsiteY1961" fmla="*/ 2228605 h 6689084"/>
              <a:gd name="connsiteX1962" fmla="*/ 3691467 w 6689088"/>
              <a:gd name="connsiteY1962" fmla="*/ 2234414 h 6689084"/>
              <a:gd name="connsiteX1963" fmla="*/ 3685658 w 6689088"/>
              <a:gd name="connsiteY1963" fmla="*/ 2228605 h 6689084"/>
              <a:gd name="connsiteX1964" fmla="*/ 3691467 w 6689088"/>
              <a:gd name="connsiteY1964" fmla="*/ 2222795 h 6689084"/>
              <a:gd name="connsiteX1965" fmla="*/ 3845414 w 6689088"/>
              <a:gd name="connsiteY1965" fmla="*/ 2221343 h 6689084"/>
              <a:gd name="connsiteX1966" fmla="*/ 3852676 w 6689088"/>
              <a:gd name="connsiteY1966" fmla="*/ 2228605 h 6689084"/>
              <a:gd name="connsiteX1967" fmla="*/ 3845414 w 6689088"/>
              <a:gd name="connsiteY1967" fmla="*/ 2235866 h 6689084"/>
              <a:gd name="connsiteX1968" fmla="*/ 3838153 w 6689088"/>
              <a:gd name="connsiteY1968" fmla="*/ 2228605 h 6689084"/>
              <a:gd name="connsiteX1969" fmla="*/ 3845414 w 6689088"/>
              <a:gd name="connsiteY1969" fmla="*/ 2221343 h 6689084"/>
              <a:gd name="connsiteX1970" fmla="*/ 3999000 w 6689088"/>
              <a:gd name="connsiteY1970" fmla="*/ 2219528 h 6689084"/>
              <a:gd name="connsiteX1971" fmla="*/ 4008080 w 6689088"/>
              <a:gd name="connsiteY1971" fmla="*/ 2228605 h 6689084"/>
              <a:gd name="connsiteX1972" fmla="*/ 3999000 w 6689088"/>
              <a:gd name="connsiteY1972" fmla="*/ 2237685 h 6689084"/>
              <a:gd name="connsiteX1973" fmla="*/ 3989924 w 6689088"/>
              <a:gd name="connsiteY1973" fmla="*/ 2228605 h 6689084"/>
              <a:gd name="connsiteX1974" fmla="*/ 3999000 w 6689088"/>
              <a:gd name="connsiteY1974" fmla="*/ 2219528 h 6689084"/>
              <a:gd name="connsiteX1975" fmla="*/ 4152947 w 6689088"/>
              <a:gd name="connsiteY1975" fmla="*/ 2218800 h 6689084"/>
              <a:gd name="connsiteX1976" fmla="*/ 4163114 w 6689088"/>
              <a:gd name="connsiteY1976" fmla="*/ 2228967 h 6689084"/>
              <a:gd name="connsiteX1977" fmla="*/ 4152947 w 6689088"/>
              <a:gd name="connsiteY1977" fmla="*/ 2239133 h 6689084"/>
              <a:gd name="connsiteX1978" fmla="*/ 4142780 w 6689088"/>
              <a:gd name="connsiteY1978" fmla="*/ 2228967 h 6689084"/>
              <a:gd name="connsiteX1979" fmla="*/ 4152947 w 6689088"/>
              <a:gd name="connsiteY1979" fmla="*/ 2218800 h 6689084"/>
              <a:gd name="connsiteX1980" fmla="*/ 4306532 w 6689088"/>
              <a:gd name="connsiteY1980" fmla="*/ 2216624 h 6689084"/>
              <a:gd name="connsiteX1981" fmla="*/ 4318517 w 6689088"/>
              <a:gd name="connsiteY1981" fmla="*/ 2228605 h 6689084"/>
              <a:gd name="connsiteX1982" fmla="*/ 4306532 w 6689088"/>
              <a:gd name="connsiteY1982" fmla="*/ 2240585 h 6689084"/>
              <a:gd name="connsiteX1983" fmla="*/ 4294552 w 6689088"/>
              <a:gd name="connsiteY1983" fmla="*/ 2228605 h 6689084"/>
              <a:gd name="connsiteX1984" fmla="*/ 4306532 w 6689088"/>
              <a:gd name="connsiteY1984" fmla="*/ 2216624 h 6689084"/>
              <a:gd name="connsiteX1985" fmla="*/ 4460480 w 6689088"/>
              <a:gd name="connsiteY1985" fmla="*/ 2214809 h 6689084"/>
              <a:gd name="connsiteX1986" fmla="*/ 4474275 w 6689088"/>
              <a:gd name="connsiteY1986" fmla="*/ 2228608 h 6689084"/>
              <a:gd name="connsiteX1987" fmla="*/ 4460480 w 6689088"/>
              <a:gd name="connsiteY1987" fmla="*/ 2242404 h 6689084"/>
              <a:gd name="connsiteX1988" fmla="*/ 4446680 w 6689088"/>
              <a:gd name="connsiteY1988" fmla="*/ 2228608 h 6689084"/>
              <a:gd name="connsiteX1989" fmla="*/ 4460480 w 6689088"/>
              <a:gd name="connsiteY1989" fmla="*/ 2214809 h 6689084"/>
              <a:gd name="connsiteX1990" fmla="*/ 4614061 w 6689088"/>
              <a:gd name="connsiteY1990" fmla="*/ 2213357 h 6689084"/>
              <a:gd name="connsiteX1991" fmla="*/ 4629312 w 6689088"/>
              <a:gd name="connsiteY1991" fmla="*/ 2228608 h 6689084"/>
              <a:gd name="connsiteX1992" fmla="*/ 4614061 w 6689088"/>
              <a:gd name="connsiteY1992" fmla="*/ 2243856 h 6689084"/>
              <a:gd name="connsiteX1993" fmla="*/ 4598814 w 6689088"/>
              <a:gd name="connsiteY1993" fmla="*/ 2228608 h 6689084"/>
              <a:gd name="connsiteX1994" fmla="*/ 4614061 w 6689088"/>
              <a:gd name="connsiteY1994" fmla="*/ 2213357 h 6689084"/>
              <a:gd name="connsiteX1995" fmla="*/ 4768012 w 6689088"/>
              <a:gd name="connsiteY1995" fmla="*/ 2211539 h 6689084"/>
              <a:gd name="connsiteX1996" fmla="*/ 4785078 w 6689088"/>
              <a:gd name="connsiteY1996" fmla="*/ 2228605 h 6689084"/>
              <a:gd name="connsiteX1997" fmla="*/ 4768012 w 6689088"/>
              <a:gd name="connsiteY1997" fmla="*/ 2245667 h 6689084"/>
              <a:gd name="connsiteX1998" fmla="*/ 4750946 w 6689088"/>
              <a:gd name="connsiteY1998" fmla="*/ 2228605 h 6689084"/>
              <a:gd name="connsiteX1999" fmla="*/ 4768012 w 6689088"/>
              <a:gd name="connsiteY1999" fmla="*/ 2211539 h 6689084"/>
              <a:gd name="connsiteX2000" fmla="*/ 4921594 w 6689088"/>
              <a:gd name="connsiteY2000" fmla="*/ 2209362 h 6689084"/>
              <a:gd name="connsiteX2001" fmla="*/ 4940836 w 6689088"/>
              <a:gd name="connsiteY2001" fmla="*/ 2228605 h 6689084"/>
              <a:gd name="connsiteX2002" fmla="*/ 4921594 w 6689088"/>
              <a:gd name="connsiteY2002" fmla="*/ 2247851 h 6689084"/>
              <a:gd name="connsiteX2003" fmla="*/ 4902352 w 6689088"/>
              <a:gd name="connsiteY2003" fmla="*/ 2228605 h 6689084"/>
              <a:gd name="connsiteX2004" fmla="*/ 4921594 w 6689088"/>
              <a:gd name="connsiteY2004" fmla="*/ 2209362 h 6689084"/>
              <a:gd name="connsiteX2005" fmla="*/ 5075541 w 6689088"/>
              <a:gd name="connsiteY2005" fmla="*/ 2207182 h 6689084"/>
              <a:gd name="connsiteX2006" fmla="*/ 5096964 w 6689088"/>
              <a:gd name="connsiteY2006" fmla="*/ 2228605 h 6689084"/>
              <a:gd name="connsiteX2007" fmla="*/ 5075541 w 6689088"/>
              <a:gd name="connsiteY2007" fmla="*/ 2250027 h 6689084"/>
              <a:gd name="connsiteX2008" fmla="*/ 5054118 w 6689088"/>
              <a:gd name="connsiteY2008" fmla="*/ 2228605 h 6689084"/>
              <a:gd name="connsiteX2009" fmla="*/ 5075541 w 6689088"/>
              <a:gd name="connsiteY2009" fmla="*/ 2207182 h 6689084"/>
              <a:gd name="connsiteX2010" fmla="*/ 5229126 w 6689088"/>
              <a:gd name="connsiteY2010" fmla="*/ 2205729 h 6689084"/>
              <a:gd name="connsiteX2011" fmla="*/ 5251998 w 6689088"/>
              <a:gd name="connsiteY2011" fmla="*/ 2228605 h 6689084"/>
              <a:gd name="connsiteX2012" fmla="*/ 5229126 w 6689088"/>
              <a:gd name="connsiteY2012" fmla="*/ 2251480 h 6689084"/>
              <a:gd name="connsiteX2013" fmla="*/ 5206251 w 6689088"/>
              <a:gd name="connsiteY2013" fmla="*/ 2228605 h 6689084"/>
              <a:gd name="connsiteX2014" fmla="*/ 5229126 w 6689088"/>
              <a:gd name="connsiteY2014" fmla="*/ 2205729 h 6689084"/>
              <a:gd name="connsiteX2015" fmla="*/ 5383074 w 6689088"/>
              <a:gd name="connsiteY2015" fmla="*/ 2203915 h 6689084"/>
              <a:gd name="connsiteX2016" fmla="*/ 5408126 w 6689088"/>
              <a:gd name="connsiteY2016" fmla="*/ 2228967 h 6689084"/>
              <a:gd name="connsiteX2017" fmla="*/ 5383074 w 6689088"/>
              <a:gd name="connsiteY2017" fmla="*/ 2254023 h 6689084"/>
              <a:gd name="connsiteX2018" fmla="*/ 5358022 w 6689088"/>
              <a:gd name="connsiteY2018" fmla="*/ 2228967 h 6689084"/>
              <a:gd name="connsiteX2019" fmla="*/ 5383074 w 6689088"/>
              <a:gd name="connsiteY2019" fmla="*/ 2203915 h 6689084"/>
              <a:gd name="connsiteX2020" fmla="*/ 5536659 w 6689088"/>
              <a:gd name="connsiteY2020" fmla="*/ 2201734 h 6689084"/>
              <a:gd name="connsiteX2021" fmla="*/ 5563892 w 6689088"/>
              <a:gd name="connsiteY2021" fmla="*/ 2228967 h 6689084"/>
              <a:gd name="connsiteX2022" fmla="*/ 5536659 w 6689088"/>
              <a:gd name="connsiteY2022" fmla="*/ 2256199 h 6689084"/>
              <a:gd name="connsiteX2023" fmla="*/ 5509427 w 6689088"/>
              <a:gd name="connsiteY2023" fmla="*/ 2228967 h 6689084"/>
              <a:gd name="connsiteX2024" fmla="*/ 5536659 w 6689088"/>
              <a:gd name="connsiteY2024" fmla="*/ 2201734 h 6689084"/>
              <a:gd name="connsiteX2025" fmla="*/ 5690606 w 6689088"/>
              <a:gd name="connsiteY2025" fmla="*/ 2198834 h 6689084"/>
              <a:gd name="connsiteX2026" fmla="*/ 5720378 w 6689088"/>
              <a:gd name="connsiteY2026" fmla="*/ 2228608 h 6689084"/>
              <a:gd name="connsiteX2027" fmla="*/ 5690606 w 6689088"/>
              <a:gd name="connsiteY2027" fmla="*/ 2258379 h 6689084"/>
              <a:gd name="connsiteX2028" fmla="*/ 5660832 w 6689088"/>
              <a:gd name="connsiteY2028" fmla="*/ 2228608 h 6689084"/>
              <a:gd name="connsiteX2029" fmla="*/ 5690606 w 6689088"/>
              <a:gd name="connsiteY2029" fmla="*/ 2198834 h 6689084"/>
              <a:gd name="connsiteX2030" fmla="*/ 5844554 w 6689088"/>
              <a:gd name="connsiteY2030" fmla="*/ 2197015 h 6689084"/>
              <a:gd name="connsiteX2031" fmla="*/ 5876506 w 6689088"/>
              <a:gd name="connsiteY2031" fmla="*/ 2228967 h 6689084"/>
              <a:gd name="connsiteX2032" fmla="*/ 5844554 w 6689088"/>
              <a:gd name="connsiteY2032" fmla="*/ 2260918 h 6689084"/>
              <a:gd name="connsiteX2033" fmla="*/ 5812602 w 6689088"/>
              <a:gd name="connsiteY2033" fmla="*/ 2228967 h 6689084"/>
              <a:gd name="connsiteX2034" fmla="*/ 5844554 w 6689088"/>
              <a:gd name="connsiteY2034" fmla="*/ 2197015 h 6689084"/>
              <a:gd name="connsiteX2035" fmla="*/ 5998136 w 6689088"/>
              <a:gd name="connsiteY2035" fmla="*/ 2194839 h 6689084"/>
              <a:gd name="connsiteX2036" fmla="*/ 6031901 w 6689088"/>
              <a:gd name="connsiteY2036" fmla="*/ 2228605 h 6689084"/>
              <a:gd name="connsiteX2037" fmla="*/ 5998136 w 6689088"/>
              <a:gd name="connsiteY2037" fmla="*/ 2262374 h 6689084"/>
              <a:gd name="connsiteX2038" fmla="*/ 5964370 w 6689088"/>
              <a:gd name="connsiteY2038" fmla="*/ 2228605 h 6689084"/>
              <a:gd name="connsiteX2039" fmla="*/ 5998136 w 6689088"/>
              <a:gd name="connsiteY2039" fmla="*/ 2194839 h 6689084"/>
              <a:gd name="connsiteX2040" fmla="*/ 6152083 w 6689088"/>
              <a:gd name="connsiteY2040" fmla="*/ 2192296 h 6689084"/>
              <a:gd name="connsiteX2041" fmla="*/ 6188391 w 6689088"/>
              <a:gd name="connsiteY2041" fmla="*/ 2228605 h 6689084"/>
              <a:gd name="connsiteX2042" fmla="*/ 6152083 w 6689088"/>
              <a:gd name="connsiteY2042" fmla="*/ 2264913 h 6689084"/>
              <a:gd name="connsiteX2043" fmla="*/ 6115774 w 6689088"/>
              <a:gd name="connsiteY2043" fmla="*/ 2228605 h 6689084"/>
              <a:gd name="connsiteX2044" fmla="*/ 6152083 w 6689088"/>
              <a:gd name="connsiteY2044" fmla="*/ 2192296 h 6689084"/>
              <a:gd name="connsiteX2045" fmla="*/ 6305672 w 6689088"/>
              <a:gd name="connsiteY2045" fmla="*/ 2189754 h 6689084"/>
              <a:gd name="connsiteX2046" fmla="*/ 6344522 w 6689088"/>
              <a:gd name="connsiteY2046" fmla="*/ 2228605 h 6689084"/>
              <a:gd name="connsiteX2047" fmla="*/ 6305672 w 6689088"/>
              <a:gd name="connsiteY2047" fmla="*/ 2267452 h 6689084"/>
              <a:gd name="connsiteX2048" fmla="*/ 6266821 w 6689088"/>
              <a:gd name="connsiteY2048" fmla="*/ 2228605 h 6689084"/>
              <a:gd name="connsiteX2049" fmla="*/ 6305672 w 6689088"/>
              <a:gd name="connsiteY2049" fmla="*/ 2189754 h 6689084"/>
              <a:gd name="connsiteX2050" fmla="*/ 6459616 w 6689088"/>
              <a:gd name="connsiteY2050" fmla="*/ 2187577 h 6689084"/>
              <a:gd name="connsiteX2051" fmla="*/ 6500646 w 6689088"/>
              <a:gd name="connsiteY2051" fmla="*/ 2228605 h 6689084"/>
              <a:gd name="connsiteX2052" fmla="*/ 6459616 w 6689088"/>
              <a:gd name="connsiteY2052" fmla="*/ 2269632 h 6689084"/>
              <a:gd name="connsiteX2053" fmla="*/ 6418588 w 6689088"/>
              <a:gd name="connsiteY2053" fmla="*/ 2228605 h 6689084"/>
              <a:gd name="connsiteX2054" fmla="*/ 6459616 w 6689088"/>
              <a:gd name="connsiteY2054" fmla="*/ 2187577 h 6689084"/>
              <a:gd name="connsiteX2055" fmla="*/ 6613200 w 6689088"/>
              <a:gd name="connsiteY2055" fmla="*/ 2185035 h 6689084"/>
              <a:gd name="connsiteX2056" fmla="*/ 6656770 w 6689088"/>
              <a:gd name="connsiteY2056" fmla="*/ 2228605 h 6689084"/>
              <a:gd name="connsiteX2057" fmla="*/ 6613200 w 6689088"/>
              <a:gd name="connsiteY2057" fmla="*/ 2272175 h 6689084"/>
              <a:gd name="connsiteX2058" fmla="*/ 6569630 w 6689088"/>
              <a:gd name="connsiteY2058" fmla="*/ 2228605 h 6689084"/>
              <a:gd name="connsiteX2059" fmla="*/ 6613200 w 6689088"/>
              <a:gd name="connsiteY2059" fmla="*/ 2185035 h 6689084"/>
              <a:gd name="connsiteX2060" fmla="*/ 2768873 w 6689088"/>
              <a:gd name="connsiteY2060" fmla="*/ 2074657 h 6689084"/>
              <a:gd name="connsiteX2061" fmla="*/ 2769235 w 6689088"/>
              <a:gd name="connsiteY2061" fmla="*/ 2075019 h 6689084"/>
              <a:gd name="connsiteX2062" fmla="*/ 2768873 w 6689088"/>
              <a:gd name="connsiteY2062" fmla="*/ 2075385 h 6689084"/>
              <a:gd name="connsiteX2063" fmla="*/ 2768511 w 6689088"/>
              <a:gd name="connsiteY2063" fmla="*/ 2075019 h 6689084"/>
              <a:gd name="connsiteX2064" fmla="*/ 2768873 w 6689088"/>
              <a:gd name="connsiteY2064" fmla="*/ 2074657 h 6689084"/>
              <a:gd name="connsiteX2065" fmla="*/ 2307393 w 6689088"/>
              <a:gd name="connsiteY2065" fmla="*/ 2074657 h 6689084"/>
              <a:gd name="connsiteX2066" fmla="*/ 2307755 w 6689088"/>
              <a:gd name="connsiteY2066" fmla="*/ 2075019 h 6689084"/>
              <a:gd name="connsiteX2067" fmla="*/ 2307393 w 6689088"/>
              <a:gd name="connsiteY2067" fmla="*/ 2075385 h 6689084"/>
              <a:gd name="connsiteX2068" fmla="*/ 2307031 w 6689088"/>
              <a:gd name="connsiteY2068" fmla="*/ 2075019 h 6689084"/>
              <a:gd name="connsiteX2069" fmla="*/ 2307393 w 6689088"/>
              <a:gd name="connsiteY2069" fmla="*/ 2074657 h 6689084"/>
              <a:gd name="connsiteX2070" fmla="*/ 2153808 w 6689088"/>
              <a:gd name="connsiteY2070" fmla="*/ 2074657 h 6689084"/>
              <a:gd name="connsiteX2071" fmla="*/ 2154170 w 6689088"/>
              <a:gd name="connsiteY2071" fmla="*/ 2075019 h 6689084"/>
              <a:gd name="connsiteX2072" fmla="*/ 2153808 w 6689088"/>
              <a:gd name="connsiteY2072" fmla="*/ 2075385 h 6689084"/>
              <a:gd name="connsiteX2073" fmla="*/ 2153445 w 6689088"/>
              <a:gd name="connsiteY2073" fmla="*/ 2075019 h 6689084"/>
              <a:gd name="connsiteX2074" fmla="*/ 2153808 w 6689088"/>
              <a:gd name="connsiteY2074" fmla="*/ 2074657 h 6689084"/>
              <a:gd name="connsiteX2075" fmla="*/ 1999864 w 6689088"/>
              <a:gd name="connsiteY2075" fmla="*/ 2074295 h 6689084"/>
              <a:gd name="connsiteX2076" fmla="*/ 2000588 w 6689088"/>
              <a:gd name="connsiteY2076" fmla="*/ 2075023 h 6689084"/>
              <a:gd name="connsiteX2077" fmla="*/ 1999864 w 6689088"/>
              <a:gd name="connsiteY2077" fmla="*/ 2075747 h 6689084"/>
              <a:gd name="connsiteX2078" fmla="*/ 1999136 w 6689088"/>
              <a:gd name="connsiteY2078" fmla="*/ 2075023 h 6689084"/>
              <a:gd name="connsiteX2079" fmla="*/ 1999864 w 6689088"/>
              <a:gd name="connsiteY2079" fmla="*/ 2074295 h 6689084"/>
              <a:gd name="connsiteX2080" fmla="*/ 2922458 w 6689088"/>
              <a:gd name="connsiteY2080" fmla="*/ 2073205 h 6689084"/>
              <a:gd name="connsiteX2081" fmla="*/ 2923910 w 6689088"/>
              <a:gd name="connsiteY2081" fmla="*/ 2074657 h 6689084"/>
              <a:gd name="connsiteX2082" fmla="*/ 2922458 w 6689088"/>
              <a:gd name="connsiteY2082" fmla="*/ 2076110 h 6689084"/>
              <a:gd name="connsiteX2083" fmla="*/ 2921006 w 6689088"/>
              <a:gd name="connsiteY2083" fmla="*/ 2074657 h 6689084"/>
              <a:gd name="connsiteX2084" fmla="*/ 2922458 w 6689088"/>
              <a:gd name="connsiteY2084" fmla="*/ 2073205 h 6689084"/>
              <a:gd name="connsiteX2085" fmla="*/ 3076406 w 6689088"/>
              <a:gd name="connsiteY2085" fmla="*/ 2072843 h 6689084"/>
              <a:gd name="connsiteX2086" fmla="*/ 3078582 w 6689088"/>
              <a:gd name="connsiteY2086" fmla="*/ 2075023 h 6689084"/>
              <a:gd name="connsiteX2087" fmla="*/ 3076406 w 6689088"/>
              <a:gd name="connsiteY2087" fmla="*/ 2077200 h 6689084"/>
              <a:gd name="connsiteX2088" fmla="*/ 3074225 w 6689088"/>
              <a:gd name="connsiteY2088" fmla="*/ 2075023 h 6689084"/>
              <a:gd name="connsiteX2089" fmla="*/ 3076406 w 6689088"/>
              <a:gd name="connsiteY2089" fmla="*/ 2072843 h 6689084"/>
              <a:gd name="connsiteX2090" fmla="*/ 3230353 w 6689088"/>
              <a:gd name="connsiteY2090" fmla="*/ 2071753 h 6689084"/>
              <a:gd name="connsiteX2091" fmla="*/ 3233620 w 6689088"/>
              <a:gd name="connsiteY2091" fmla="*/ 2075019 h 6689084"/>
              <a:gd name="connsiteX2092" fmla="*/ 3230353 w 6689088"/>
              <a:gd name="connsiteY2092" fmla="*/ 2078290 h 6689084"/>
              <a:gd name="connsiteX2093" fmla="*/ 3227086 w 6689088"/>
              <a:gd name="connsiteY2093" fmla="*/ 2075019 h 6689084"/>
              <a:gd name="connsiteX2094" fmla="*/ 3230353 w 6689088"/>
              <a:gd name="connsiteY2094" fmla="*/ 2071753 h 6689084"/>
              <a:gd name="connsiteX2095" fmla="*/ 3383934 w 6689088"/>
              <a:gd name="connsiteY2095" fmla="*/ 2070662 h 6689084"/>
              <a:gd name="connsiteX2096" fmla="*/ 3388291 w 6689088"/>
              <a:gd name="connsiteY2096" fmla="*/ 2075019 h 6689084"/>
              <a:gd name="connsiteX2097" fmla="*/ 3383934 w 6689088"/>
              <a:gd name="connsiteY2097" fmla="*/ 2079376 h 6689084"/>
              <a:gd name="connsiteX2098" fmla="*/ 3379577 w 6689088"/>
              <a:gd name="connsiteY2098" fmla="*/ 2075019 h 6689084"/>
              <a:gd name="connsiteX2099" fmla="*/ 3383934 w 6689088"/>
              <a:gd name="connsiteY2099" fmla="*/ 2070662 h 6689084"/>
              <a:gd name="connsiteX2100" fmla="*/ 3537886 w 6689088"/>
              <a:gd name="connsiteY2100" fmla="*/ 2069210 h 6689084"/>
              <a:gd name="connsiteX2101" fmla="*/ 3543695 w 6689088"/>
              <a:gd name="connsiteY2101" fmla="*/ 2075019 h 6689084"/>
              <a:gd name="connsiteX2102" fmla="*/ 3537886 w 6689088"/>
              <a:gd name="connsiteY2102" fmla="*/ 2080829 h 6689084"/>
              <a:gd name="connsiteX2103" fmla="*/ 3532076 w 6689088"/>
              <a:gd name="connsiteY2103" fmla="*/ 2075019 h 6689084"/>
              <a:gd name="connsiteX2104" fmla="*/ 3537886 w 6689088"/>
              <a:gd name="connsiteY2104" fmla="*/ 2069210 h 6689084"/>
              <a:gd name="connsiteX2105" fmla="*/ 3691467 w 6689088"/>
              <a:gd name="connsiteY2105" fmla="*/ 2067758 h 6689084"/>
              <a:gd name="connsiteX2106" fmla="*/ 3698728 w 6689088"/>
              <a:gd name="connsiteY2106" fmla="*/ 2075019 h 6689084"/>
              <a:gd name="connsiteX2107" fmla="*/ 3691467 w 6689088"/>
              <a:gd name="connsiteY2107" fmla="*/ 2082281 h 6689084"/>
              <a:gd name="connsiteX2108" fmla="*/ 3684205 w 6689088"/>
              <a:gd name="connsiteY2108" fmla="*/ 2075019 h 6689084"/>
              <a:gd name="connsiteX2109" fmla="*/ 3691467 w 6689088"/>
              <a:gd name="connsiteY2109" fmla="*/ 2067758 h 6689084"/>
              <a:gd name="connsiteX2110" fmla="*/ 3845414 w 6689088"/>
              <a:gd name="connsiteY2110" fmla="*/ 2065943 h 6689084"/>
              <a:gd name="connsiteX2111" fmla="*/ 3854494 w 6689088"/>
              <a:gd name="connsiteY2111" fmla="*/ 2075019 h 6689084"/>
              <a:gd name="connsiteX2112" fmla="*/ 3845414 w 6689088"/>
              <a:gd name="connsiteY2112" fmla="*/ 2084099 h 6689084"/>
              <a:gd name="connsiteX2113" fmla="*/ 3836338 w 6689088"/>
              <a:gd name="connsiteY2113" fmla="*/ 2075019 h 6689084"/>
              <a:gd name="connsiteX2114" fmla="*/ 3845414 w 6689088"/>
              <a:gd name="connsiteY2114" fmla="*/ 2065943 h 6689084"/>
              <a:gd name="connsiteX2115" fmla="*/ 3999000 w 6689088"/>
              <a:gd name="connsiteY2115" fmla="*/ 2064853 h 6689084"/>
              <a:gd name="connsiteX2116" fmla="*/ 4009166 w 6689088"/>
              <a:gd name="connsiteY2116" fmla="*/ 2075019 h 6689084"/>
              <a:gd name="connsiteX2117" fmla="*/ 3999000 w 6689088"/>
              <a:gd name="connsiteY2117" fmla="*/ 2085186 h 6689084"/>
              <a:gd name="connsiteX2118" fmla="*/ 3988833 w 6689088"/>
              <a:gd name="connsiteY2118" fmla="*/ 2075019 h 6689084"/>
              <a:gd name="connsiteX2119" fmla="*/ 3999000 w 6689088"/>
              <a:gd name="connsiteY2119" fmla="*/ 2064853 h 6689084"/>
              <a:gd name="connsiteX2120" fmla="*/ 4152947 w 6689088"/>
              <a:gd name="connsiteY2120" fmla="*/ 2063038 h 6689084"/>
              <a:gd name="connsiteX2121" fmla="*/ 4164932 w 6689088"/>
              <a:gd name="connsiteY2121" fmla="*/ 2075019 h 6689084"/>
              <a:gd name="connsiteX2122" fmla="*/ 4152947 w 6689088"/>
              <a:gd name="connsiteY2122" fmla="*/ 2087000 h 6689084"/>
              <a:gd name="connsiteX2123" fmla="*/ 4140966 w 6689088"/>
              <a:gd name="connsiteY2123" fmla="*/ 2075019 h 6689084"/>
              <a:gd name="connsiteX2124" fmla="*/ 4152947 w 6689088"/>
              <a:gd name="connsiteY2124" fmla="*/ 2063038 h 6689084"/>
              <a:gd name="connsiteX2125" fmla="*/ 4306528 w 6689088"/>
              <a:gd name="connsiteY2125" fmla="*/ 2061224 h 6689084"/>
              <a:gd name="connsiteX2126" fmla="*/ 4320328 w 6689088"/>
              <a:gd name="connsiteY2126" fmla="*/ 2075023 h 6689084"/>
              <a:gd name="connsiteX2127" fmla="*/ 4306528 w 6689088"/>
              <a:gd name="connsiteY2127" fmla="*/ 2088818 h 6689084"/>
              <a:gd name="connsiteX2128" fmla="*/ 4292733 w 6689088"/>
              <a:gd name="connsiteY2128" fmla="*/ 2075023 h 6689084"/>
              <a:gd name="connsiteX2129" fmla="*/ 4306528 w 6689088"/>
              <a:gd name="connsiteY2129" fmla="*/ 2061224 h 6689084"/>
              <a:gd name="connsiteX2130" fmla="*/ 4460476 w 6689088"/>
              <a:gd name="connsiteY2130" fmla="*/ 2059772 h 6689084"/>
              <a:gd name="connsiteX2131" fmla="*/ 4475728 w 6689088"/>
              <a:gd name="connsiteY2131" fmla="*/ 2075023 h 6689084"/>
              <a:gd name="connsiteX2132" fmla="*/ 4460476 w 6689088"/>
              <a:gd name="connsiteY2132" fmla="*/ 2090271 h 6689084"/>
              <a:gd name="connsiteX2133" fmla="*/ 4445228 w 6689088"/>
              <a:gd name="connsiteY2133" fmla="*/ 2075023 h 6689084"/>
              <a:gd name="connsiteX2134" fmla="*/ 4460476 w 6689088"/>
              <a:gd name="connsiteY2134" fmla="*/ 2059772 h 6689084"/>
              <a:gd name="connsiteX2135" fmla="*/ 4614065 w 6689088"/>
              <a:gd name="connsiteY2135" fmla="*/ 2057957 h 6689084"/>
              <a:gd name="connsiteX2136" fmla="*/ 4631131 w 6689088"/>
              <a:gd name="connsiteY2136" fmla="*/ 2075023 h 6689084"/>
              <a:gd name="connsiteX2137" fmla="*/ 4614065 w 6689088"/>
              <a:gd name="connsiteY2137" fmla="*/ 2092085 h 6689084"/>
              <a:gd name="connsiteX2138" fmla="*/ 4596999 w 6689088"/>
              <a:gd name="connsiteY2138" fmla="*/ 2075023 h 6689084"/>
              <a:gd name="connsiteX2139" fmla="*/ 4614065 w 6689088"/>
              <a:gd name="connsiteY2139" fmla="*/ 2057957 h 6689084"/>
              <a:gd name="connsiteX2140" fmla="*/ 4768008 w 6689088"/>
              <a:gd name="connsiteY2140" fmla="*/ 2055777 h 6689084"/>
              <a:gd name="connsiteX2141" fmla="*/ 4787255 w 6689088"/>
              <a:gd name="connsiteY2141" fmla="*/ 2075019 h 6689084"/>
              <a:gd name="connsiteX2142" fmla="*/ 4768008 w 6689088"/>
              <a:gd name="connsiteY2142" fmla="*/ 2094266 h 6689084"/>
              <a:gd name="connsiteX2143" fmla="*/ 4748766 w 6689088"/>
              <a:gd name="connsiteY2143" fmla="*/ 2075019 h 6689084"/>
              <a:gd name="connsiteX2144" fmla="*/ 4768008 w 6689088"/>
              <a:gd name="connsiteY2144" fmla="*/ 2055777 h 6689084"/>
              <a:gd name="connsiteX2145" fmla="*/ 4921594 w 6689088"/>
              <a:gd name="connsiteY2145" fmla="*/ 2053600 h 6689084"/>
              <a:gd name="connsiteX2146" fmla="*/ 4943013 w 6689088"/>
              <a:gd name="connsiteY2146" fmla="*/ 2075023 h 6689084"/>
              <a:gd name="connsiteX2147" fmla="*/ 4921594 w 6689088"/>
              <a:gd name="connsiteY2147" fmla="*/ 2096446 h 6689084"/>
              <a:gd name="connsiteX2148" fmla="*/ 4900171 w 6689088"/>
              <a:gd name="connsiteY2148" fmla="*/ 2075023 h 6689084"/>
              <a:gd name="connsiteX2149" fmla="*/ 4921594 w 6689088"/>
              <a:gd name="connsiteY2149" fmla="*/ 2053600 h 6689084"/>
              <a:gd name="connsiteX2150" fmla="*/ 5075545 w 6689088"/>
              <a:gd name="connsiteY2150" fmla="*/ 2052148 h 6689084"/>
              <a:gd name="connsiteX2151" fmla="*/ 5098416 w 6689088"/>
              <a:gd name="connsiteY2151" fmla="*/ 2075023 h 6689084"/>
              <a:gd name="connsiteX2152" fmla="*/ 5075545 w 6689088"/>
              <a:gd name="connsiteY2152" fmla="*/ 2097895 h 6689084"/>
              <a:gd name="connsiteX2153" fmla="*/ 5052670 w 6689088"/>
              <a:gd name="connsiteY2153" fmla="*/ 2075023 h 6689084"/>
              <a:gd name="connsiteX2154" fmla="*/ 5075545 w 6689088"/>
              <a:gd name="connsiteY2154" fmla="*/ 2052148 h 6689084"/>
              <a:gd name="connsiteX2155" fmla="*/ 5229126 w 6689088"/>
              <a:gd name="connsiteY2155" fmla="*/ 2049968 h 6689084"/>
              <a:gd name="connsiteX2156" fmla="*/ 5254182 w 6689088"/>
              <a:gd name="connsiteY2156" fmla="*/ 2075019 h 6689084"/>
              <a:gd name="connsiteX2157" fmla="*/ 5229126 w 6689088"/>
              <a:gd name="connsiteY2157" fmla="*/ 2100075 h 6689084"/>
              <a:gd name="connsiteX2158" fmla="*/ 5204074 w 6689088"/>
              <a:gd name="connsiteY2158" fmla="*/ 2075019 h 6689084"/>
              <a:gd name="connsiteX2159" fmla="*/ 5229126 w 6689088"/>
              <a:gd name="connsiteY2159" fmla="*/ 2049968 h 6689084"/>
              <a:gd name="connsiteX2160" fmla="*/ 5383074 w 6689088"/>
              <a:gd name="connsiteY2160" fmla="*/ 2047791 h 6689084"/>
              <a:gd name="connsiteX2161" fmla="*/ 5410306 w 6689088"/>
              <a:gd name="connsiteY2161" fmla="*/ 2075023 h 6689084"/>
              <a:gd name="connsiteX2162" fmla="*/ 5383074 w 6689088"/>
              <a:gd name="connsiteY2162" fmla="*/ 2102256 h 6689084"/>
              <a:gd name="connsiteX2163" fmla="*/ 5355842 w 6689088"/>
              <a:gd name="connsiteY2163" fmla="*/ 2075023 h 6689084"/>
              <a:gd name="connsiteX2164" fmla="*/ 5383074 w 6689088"/>
              <a:gd name="connsiteY2164" fmla="*/ 2047791 h 6689084"/>
              <a:gd name="connsiteX2165" fmla="*/ 5537018 w 6689088"/>
              <a:gd name="connsiteY2165" fmla="*/ 2045248 h 6689084"/>
              <a:gd name="connsiteX2166" fmla="*/ 5566792 w 6689088"/>
              <a:gd name="connsiteY2166" fmla="*/ 2075023 h 6689084"/>
              <a:gd name="connsiteX2167" fmla="*/ 5537018 w 6689088"/>
              <a:gd name="connsiteY2167" fmla="*/ 2104794 h 6689084"/>
              <a:gd name="connsiteX2168" fmla="*/ 5507246 w 6689088"/>
              <a:gd name="connsiteY2168" fmla="*/ 2075023 h 6689084"/>
              <a:gd name="connsiteX2169" fmla="*/ 5537018 w 6689088"/>
              <a:gd name="connsiteY2169" fmla="*/ 2045248 h 6689084"/>
              <a:gd name="connsiteX2170" fmla="*/ 5690606 w 6689088"/>
              <a:gd name="connsiteY2170" fmla="*/ 2043068 h 6689084"/>
              <a:gd name="connsiteX2171" fmla="*/ 5722558 w 6689088"/>
              <a:gd name="connsiteY2171" fmla="*/ 2075019 h 6689084"/>
              <a:gd name="connsiteX2172" fmla="*/ 5690606 w 6689088"/>
              <a:gd name="connsiteY2172" fmla="*/ 2106971 h 6689084"/>
              <a:gd name="connsiteX2173" fmla="*/ 5658655 w 6689088"/>
              <a:gd name="connsiteY2173" fmla="*/ 2075019 h 6689084"/>
              <a:gd name="connsiteX2174" fmla="*/ 5690606 w 6689088"/>
              <a:gd name="connsiteY2174" fmla="*/ 2043068 h 6689084"/>
              <a:gd name="connsiteX2175" fmla="*/ 5844554 w 6689088"/>
              <a:gd name="connsiteY2175" fmla="*/ 2041254 h 6689084"/>
              <a:gd name="connsiteX2176" fmla="*/ 5878320 w 6689088"/>
              <a:gd name="connsiteY2176" fmla="*/ 2075019 h 6689084"/>
              <a:gd name="connsiteX2177" fmla="*/ 5844554 w 6689088"/>
              <a:gd name="connsiteY2177" fmla="*/ 2108789 h 6689084"/>
              <a:gd name="connsiteX2178" fmla="*/ 5810788 w 6689088"/>
              <a:gd name="connsiteY2178" fmla="*/ 2075019 h 6689084"/>
              <a:gd name="connsiteX2179" fmla="*/ 5844554 w 6689088"/>
              <a:gd name="connsiteY2179" fmla="*/ 2041254 h 6689084"/>
              <a:gd name="connsiteX2180" fmla="*/ 5998136 w 6689088"/>
              <a:gd name="connsiteY2180" fmla="*/ 2038711 h 6689084"/>
              <a:gd name="connsiteX2181" fmla="*/ 6034444 w 6689088"/>
              <a:gd name="connsiteY2181" fmla="*/ 2075019 h 6689084"/>
              <a:gd name="connsiteX2182" fmla="*/ 5998136 w 6689088"/>
              <a:gd name="connsiteY2182" fmla="*/ 2111328 h 6689084"/>
              <a:gd name="connsiteX2183" fmla="*/ 5961827 w 6689088"/>
              <a:gd name="connsiteY2183" fmla="*/ 2075019 h 6689084"/>
              <a:gd name="connsiteX2184" fmla="*/ 5998136 w 6689088"/>
              <a:gd name="connsiteY2184" fmla="*/ 2038711 h 6689084"/>
              <a:gd name="connsiteX2185" fmla="*/ 6152083 w 6689088"/>
              <a:gd name="connsiteY2185" fmla="*/ 2036172 h 6689084"/>
              <a:gd name="connsiteX2186" fmla="*/ 6190934 w 6689088"/>
              <a:gd name="connsiteY2186" fmla="*/ 2075023 h 6689084"/>
              <a:gd name="connsiteX2187" fmla="*/ 6152083 w 6689088"/>
              <a:gd name="connsiteY2187" fmla="*/ 2113870 h 6689084"/>
              <a:gd name="connsiteX2188" fmla="*/ 6113236 w 6689088"/>
              <a:gd name="connsiteY2188" fmla="*/ 2075023 h 6689084"/>
              <a:gd name="connsiteX2189" fmla="*/ 6152083 w 6689088"/>
              <a:gd name="connsiteY2189" fmla="*/ 2036172 h 6689084"/>
              <a:gd name="connsiteX2190" fmla="*/ 6305668 w 6689088"/>
              <a:gd name="connsiteY2190" fmla="*/ 2033992 h 6689084"/>
              <a:gd name="connsiteX2191" fmla="*/ 6346700 w 6689088"/>
              <a:gd name="connsiteY2191" fmla="*/ 2075019 h 6689084"/>
              <a:gd name="connsiteX2192" fmla="*/ 6305668 w 6689088"/>
              <a:gd name="connsiteY2192" fmla="*/ 2116047 h 6689084"/>
              <a:gd name="connsiteX2193" fmla="*/ 6264640 w 6689088"/>
              <a:gd name="connsiteY2193" fmla="*/ 2075019 h 6689084"/>
              <a:gd name="connsiteX2194" fmla="*/ 6305668 w 6689088"/>
              <a:gd name="connsiteY2194" fmla="*/ 2033992 h 6689084"/>
              <a:gd name="connsiteX2195" fmla="*/ 6459616 w 6689088"/>
              <a:gd name="connsiteY2195" fmla="*/ 2031449 h 6689084"/>
              <a:gd name="connsiteX2196" fmla="*/ 6503186 w 6689088"/>
              <a:gd name="connsiteY2196" fmla="*/ 2075019 h 6689084"/>
              <a:gd name="connsiteX2197" fmla="*/ 6459616 w 6689088"/>
              <a:gd name="connsiteY2197" fmla="*/ 2118590 h 6689084"/>
              <a:gd name="connsiteX2198" fmla="*/ 6416046 w 6689088"/>
              <a:gd name="connsiteY2198" fmla="*/ 2075019 h 6689084"/>
              <a:gd name="connsiteX2199" fmla="*/ 6459616 w 6689088"/>
              <a:gd name="connsiteY2199" fmla="*/ 2031449 h 6689084"/>
              <a:gd name="connsiteX2200" fmla="*/ 6613200 w 6689088"/>
              <a:gd name="connsiteY2200" fmla="*/ 2028911 h 6689084"/>
              <a:gd name="connsiteX2201" fmla="*/ 6659313 w 6689088"/>
              <a:gd name="connsiteY2201" fmla="*/ 2075023 h 6689084"/>
              <a:gd name="connsiteX2202" fmla="*/ 6613200 w 6689088"/>
              <a:gd name="connsiteY2202" fmla="*/ 2121136 h 6689084"/>
              <a:gd name="connsiteX2203" fmla="*/ 6567088 w 6689088"/>
              <a:gd name="connsiteY2203" fmla="*/ 2075023 h 6689084"/>
              <a:gd name="connsiteX2204" fmla="*/ 6613200 w 6689088"/>
              <a:gd name="connsiteY2204" fmla="*/ 2028911 h 6689084"/>
              <a:gd name="connsiteX2205" fmla="*/ 2614925 w 6689088"/>
              <a:gd name="connsiteY2205" fmla="*/ 1921072 h 6689084"/>
              <a:gd name="connsiteX2206" fmla="*/ 2615288 w 6689088"/>
              <a:gd name="connsiteY2206" fmla="*/ 1921434 h 6689084"/>
              <a:gd name="connsiteX2207" fmla="*/ 2614925 w 6689088"/>
              <a:gd name="connsiteY2207" fmla="*/ 1921800 h 6689084"/>
              <a:gd name="connsiteX2208" fmla="*/ 2614563 w 6689088"/>
              <a:gd name="connsiteY2208" fmla="*/ 1921434 h 6689084"/>
              <a:gd name="connsiteX2209" fmla="*/ 2614925 w 6689088"/>
              <a:gd name="connsiteY2209" fmla="*/ 1921072 h 6689084"/>
              <a:gd name="connsiteX2210" fmla="*/ 2153808 w 6689088"/>
              <a:gd name="connsiteY2210" fmla="*/ 1921072 h 6689084"/>
              <a:gd name="connsiteX2211" fmla="*/ 2154170 w 6689088"/>
              <a:gd name="connsiteY2211" fmla="*/ 1921434 h 6689084"/>
              <a:gd name="connsiteX2212" fmla="*/ 2153808 w 6689088"/>
              <a:gd name="connsiteY2212" fmla="*/ 1921800 h 6689084"/>
              <a:gd name="connsiteX2213" fmla="*/ 2153445 w 6689088"/>
              <a:gd name="connsiteY2213" fmla="*/ 1921434 h 6689084"/>
              <a:gd name="connsiteX2214" fmla="*/ 2153808 w 6689088"/>
              <a:gd name="connsiteY2214" fmla="*/ 1921072 h 6689084"/>
              <a:gd name="connsiteX2215" fmla="*/ 1999860 w 6689088"/>
              <a:gd name="connsiteY2215" fmla="*/ 1921072 h 6689084"/>
              <a:gd name="connsiteX2216" fmla="*/ 2000222 w 6689088"/>
              <a:gd name="connsiteY2216" fmla="*/ 1921434 h 6689084"/>
              <a:gd name="connsiteX2217" fmla="*/ 1999860 w 6689088"/>
              <a:gd name="connsiteY2217" fmla="*/ 1921800 h 6689084"/>
              <a:gd name="connsiteX2218" fmla="*/ 1999498 w 6689088"/>
              <a:gd name="connsiteY2218" fmla="*/ 1921434 h 6689084"/>
              <a:gd name="connsiteX2219" fmla="*/ 1999860 w 6689088"/>
              <a:gd name="connsiteY2219" fmla="*/ 1921072 h 6689084"/>
              <a:gd name="connsiteX2220" fmla="*/ 1846279 w 6689088"/>
              <a:gd name="connsiteY2220" fmla="*/ 1920710 h 6689084"/>
              <a:gd name="connsiteX2221" fmla="*/ 1847003 w 6689088"/>
              <a:gd name="connsiteY2221" fmla="*/ 1921434 h 6689084"/>
              <a:gd name="connsiteX2222" fmla="*/ 1846279 w 6689088"/>
              <a:gd name="connsiteY2222" fmla="*/ 1922162 h 6689084"/>
              <a:gd name="connsiteX2223" fmla="*/ 1845551 w 6689088"/>
              <a:gd name="connsiteY2223" fmla="*/ 1921434 h 6689084"/>
              <a:gd name="connsiteX2224" fmla="*/ 1846279 w 6689088"/>
              <a:gd name="connsiteY2224" fmla="*/ 1920710 h 6689084"/>
              <a:gd name="connsiteX2225" fmla="*/ 2768873 w 6689088"/>
              <a:gd name="connsiteY2225" fmla="*/ 1919620 h 6689084"/>
              <a:gd name="connsiteX2226" fmla="*/ 2770325 w 6689088"/>
              <a:gd name="connsiteY2226" fmla="*/ 1921072 h 6689084"/>
              <a:gd name="connsiteX2227" fmla="*/ 2768873 w 6689088"/>
              <a:gd name="connsiteY2227" fmla="*/ 1922524 h 6689084"/>
              <a:gd name="connsiteX2228" fmla="*/ 2767421 w 6689088"/>
              <a:gd name="connsiteY2228" fmla="*/ 1921072 h 6689084"/>
              <a:gd name="connsiteX2229" fmla="*/ 2768873 w 6689088"/>
              <a:gd name="connsiteY2229" fmla="*/ 1919620 h 6689084"/>
              <a:gd name="connsiteX2230" fmla="*/ 2922454 w 6689088"/>
              <a:gd name="connsiteY2230" fmla="*/ 1918895 h 6689084"/>
              <a:gd name="connsiteX2231" fmla="*/ 2924635 w 6689088"/>
              <a:gd name="connsiteY2231" fmla="*/ 1921076 h 6689084"/>
              <a:gd name="connsiteX2232" fmla="*/ 2922454 w 6689088"/>
              <a:gd name="connsiteY2232" fmla="*/ 1923252 h 6689084"/>
              <a:gd name="connsiteX2233" fmla="*/ 2920278 w 6689088"/>
              <a:gd name="connsiteY2233" fmla="*/ 1921076 h 6689084"/>
              <a:gd name="connsiteX2234" fmla="*/ 2922454 w 6689088"/>
              <a:gd name="connsiteY2234" fmla="*/ 1918895 h 6689084"/>
              <a:gd name="connsiteX2235" fmla="*/ 3076406 w 6689088"/>
              <a:gd name="connsiteY2235" fmla="*/ 1918167 h 6689084"/>
              <a:gd name="connsiteX2236" fmla="*/ 3079672 w 6689088"/>
              <a:gd name="connsiteY2236" fmla="*/ 1921434 h 6689084"/>
              <a:gd name="connsiteX2237" fmla="*/ 3076406 w 6689088"/>
              <a:gd name="connsiteY2237" fmla="*/ 1924701 h 6689084"/>
              <a:gd name="connsiteX2238" fmla="*/ 3073135 w 6689088"/>
              <a:gd name="connsiteY2238" fmla="*/ 1921434 h 6689084"/>
              <a:gd name="connsiteX2239" fmla="*/ 3076406 w 6689088"/>
              <a:gd name="connsiteY2239" fmla="*/ 1918167 h 6689084"/>
              <a:gd name="connsiteX2240" fmla="*/ 3230353 w 6689088"/>
              <a:gd name="connsiteY2240" fmla="*/ 1916715 h 6689084"/>
              <a:gd name="connsiteX2241" fmla="*/ 3234710 w 6689088"/>
              <a:gd name="connsiteY2241" fmla="*/ 1921072 h 6689084"/>
              <a:gd name="connsiteX2242" fmla="*/ 3230353 w 6689088"/>
              <a:gd name="connsiteY2242" fmla="*/ 1925429 h 6689084"/>
              <a:gd name="connsiteX2243" fmla="*/ 3225996 w 6689088"/>
              <a:gd name="connsiteY2243" fmla="*/ 1921072 h 6689084"/>
              <a:gd name="connsiteX2244" fmla="*/ 3230353 w 6689088"/>
              <a:gd name="connsiteY2244" fmla="*/ 1916715 h 6689084"/>
              <a:gd name="connsiteX2245" fmla="*/ 3383938 w 6689088"/>
              <a:gd name="connsiteY2245" fmla="*/ 1915625 h 6689084"/>
              <a:gd name="connsiteX2246" fmla="*/ 3389748 w 6689088"/>
              <a:gd name="connsiteY2246" fmla="*/ 1921434 h 6689084"/>
              <a:gd name="connsiteX2247" fmla="*/ 3383938 w 6689088"/>
              <a:gd name="connsiteY2247" fmla="*/ 1927243 h 6689084"/>
              <a:gd name="connsiteX2248" fmla="*/ 3378129 w 6689088"/>
              <a:gd name="connsiteY2248" fmla="*/ 1921434 h 6689084"/>
              <a:gd name="connsiteX2249" fmla="*/ 3383938 w 6689088"/>
              <a:gd name="connsiteY2249" fmla="*/ 1915625 h 6689084"/>
              <a:gd name="connsiteX2250" fmla="*/ 3537882 w 6689088"/>
              <a:gd name="connsiteY2250" fmla="*/ 1913810 h 6689084"/>
              <a:gd name="connsiteX2251" fmla="*/ 3545143 w 6689088"/>
              <a:gd name="connsiteY2251" fmla="*/ 1921072 h 6689084"/>
              <a:gd name="connsiteX2252" fmla="*/ 3537882 w 6689088"/>
              <a:gd name="connsiteY2252" fmla="*/ 1928334 h 6689084"/>
              <a:gd name="connsiteX2253" fmla="*/ 3530620 w 6689088"/>
              <a:gd name="connsiteY2253" fmla="*/ 1921072 h 6689084"/>
              <a:gd name="connsiteX2254" fmla="*/ 3537882 w 6689088"/>
              <a:gd name="connsiteY2254" fmla="*/ 1913810 h 6689084"/>
              <a:gd name="connsiteX2255" fmla="*/ 3691467 w 6689088"/>
              <a:gd name="connsiteY2255" fmla="*/ 1911996 h 6689084"/>
              <a:gd name="connsiteX2256" fmla="*/ 3700547 w 6689088"/>
              <a:gd name="connsiteY2256" fmla="*/ 1921072 h 6689084"/>
              <a:gd name="connsiteX2257" fmla="*/ 3691467 w 6689088"/>
              <a:gd name="connsiteY2257" fmla="*/ 1930152 h 6689084"/>
              <a:gd name="connsiteX2258" fmla="*/ 3682391 w 6689088"/>
              <a:gd name="connsiteY2258" fmla="*/ 1921072 h 6689084"/>
              <a:gd name="connsiteX2259" fmla="*/ 3691467 w 6689088"/>
              <a:gd name="connsiteY2259" fmla="*/ 1911996 h 6689084"/>
              <a:gd name="connsiteX2260" fmla="*/ 3845414 w 6689088"/>
              <a:gd name="connsiteY2260" fmla="*/ 1911268 h 6689084"/>
              <a:gd name="connsiteX2261" fmla="*/ 3855581 w 6689088"/>
              <a:gd name="connsiteY2261" fmla="*/ 1921434 h 6689084"/>
              <a:gd name="connsiteX2262" fmla="*/ 3845414 w 6689088"/>
              <a:gd name="connsiteY2262" fmla="*/ 1931600 h 6689084"/>
              <a:gd name="connsiteX2263" fmla="*/ 3835248 w 6689088"/>
              <a:gd name="connsiteY2263" fmla="*/ 1921434 h 6689084"/>
              <a:gd name="connsiteX2264" fmla="*/ 3845414 w 6689088"/>
              <a:gd name="connsiteY2264" fmla="*/ 1911268 h 6689084"/>
              <a:gd name="connsiteX2265" fmla="*/ 3999000 w 6689088"/>
              <a:gd name="connsiteY2265" fmla="*/ 1909091 h 6689084"/>
              <a:gd name="connsiteX2266" fmla="*/ 4010984 w 6689088"/>
              <a:gd name="connsiteY2266" fmla="*/ 1921072 h 6689084"/>
              <a:gd name="connsiteX2267" fmla="*/ 3999000 w 6689088"/>
              <a:gd name="connsiteY2267" fmla="*/ 1933053 h 6689084"/>
              <a:gd name="connsiteX2268" fmla="*/ 3987019 w 6689088"/>
              <a:gd name="connsiteY2268" fmla="*/ 1921072 h 6689084"/>
              <a:gd name="connsiteX2269" fmla="*/ 3999000 w 6689088"/>
              <a:gd name="connsiteY2269" fmla="*/ 1909091 h 6689084"/>
              <a:gd name="connsiteX2270" fmla="*/ 4152951 w 6689088"/>
              <a:gd name="connsiteY2270" fmla="*/ 1907277 h 6689084"/>
              <a:gd name="connsiteX2271" fmla="*/ 4166746 w 6689088"/>
              <a:gd name="connsiteY2271" fmla="*/ 1921076 h 6689084"/>
              <a:gd name="connsiteX2272" fmla="*/ 4152951 w 6689088"/>
              <a:gd name="connsiteY2272" fmla="*/ 1934871 h 6689084"/>
              <a:gd name="connsiteX2273" fmla="*/ 4139152 w 6689088"/>
              <a:gd name="connsiteY2273" fmla="*/ 1921076 h 6689084"/>
              <a:gd name="connsiteX2274" fmla="*/ 4152951 w 6689088"/>
              <a:gd name="connsiteY2274" fmla="*/ 1907277 h 6689084"/>
              <a:gd name="connsiteX2275" fmla="*/ 4306528 w 6689088"/>
              <a:gd name="connsiteY2275" fmla="*/ 1905824 h 6689084"/>
              <a:gd name="connsiteX2276" fmla="*/ 4321780 w 6689088"/>
              <a:gd name="connsiteY2276" fmla="*/ 1921072 h 6689084"/>
              <a:gd name="connsiteX2277" fmla="*/ 4306528 w 6689088"/>
              <a:gd name="connsiteY2277" fmla="*/ 1936323 h 6689084"/>
              <a:gd name="connsiteX2278" fmla="*/ 4291281 w 6689088"/>
              <a:gd name="connsiteY2278" fmla="*/ 1921072 h 6689084"/>
              <a:gd name="connsiteX2279" fmla="*/ 4306528 w 6689088"/>
              <a:gd name="connsiteY2279" fmla="*/ 1905824 h 6689084"/>
              <a:gd name="connsiteX2280" fmla="*/ 4460480 w 6689088"/>
              <a:gd name="connsiteY2280" fmla="*/ 1904006 h 6689084"/>
              <a:gd name="connsiteX2281" fmla="*/ 4477546 w 6689088"/>
              <a:gd name="connsiteY2281" fmla="*/ 1921072 h 6689084"/>
              <a:gd name="connsiteX2282" fmla="*/ 4460480 w 6689088"/>
              <a:gd name="connsiteY2282" fmla="*/ 1938138 h 6689084"/>
              <a:gd name="connsiteX2283" fmla="*/ 4443414 w 6689088"/>
              <a:gd name="connsiteY2283" fmla="*/ 1921072 h 6689084"/>
              <a:gd name="connsiteX2284" fmla="*/ 4460480 w 6689088"/>
              <a:gd name="connsiteY2284" fmla="*/ 1904006 h 6689084"/>
              <a:gd name="connsiteX2285" fmla="*/ 4614061 w 6689088"/>
              <a:gd name="connsiteY2285" fmla="*/ 1901830 h 6689084"/>
              <a:gd name="connsiteX2286" fmla="*/ 4633304 w 6689088"/>
              <a:gd name="connsiteY2286" fmla="*/ 1921072 h 6689084"/>
              <a:gd name="connsiteX2287" fmla="*/ 4614061 w 6689088"/>
              <a:gd name="connsiteY2287" fmla="*/ 1940314 h 6689084"/>
              <a:gd name="connsiteX2288" fmla="*/ 4594818 w 6689088"/>
              <a:gd name="connsiteY2288" fmla="*/ 1921072 h 6689084"/>
              <a:gd name="connsiteX2289" fmla="*/ 4614061 w 6689088"/>
              <a:gd name="connsiteY2289" fmla="*/ 1901830 h 6689084"/>
              <a:gd name="connsiteX2290" fmla="*/ 4768012 w 6689088"/>
              <a:gd name="connsiteY2290" fmla="*/ 1899649 h 6689084"/>
              <a:gd name="connsiteX2291" fmla="*/ 4789432 w 6689088"/>
              <a:gd name="connsiteY2291" fmla="*/ 1921072 h 6689084"/>
              <a:gd name="connsiteX2292" fmla="*/ 4768012 w 6689088"/>
              <a:gd name="connsiteY2292" fmla="*/ 1942495 h 6689084"/>
              <a:gd name="connsiteX2293" fmla="*/ 4746590 w 6689088"/>
              <a:gd name="connsiteY2293" fmla="*/ 1921072 h 6689084"/>
              <a:gd name="connsiteX2294" fmla="*/ 4768012 w 6689088"/>
              <a:gd name="connsiteY2294" fmla="*/ 1899649 h 6689084"/>
              <a:gd name="connsiteX2295" fmla="*/ 4921594 w 6689088"/>
              <a:gd name="connsiteY2295" fmla="*/ 1898563 h 6689084"/>
              <a:gd name="connsiteX2296" fmla="*/ 4944469 w 6689088"/>
              <a:gd name="connsiteY2296" fmla="*/ 1921438 h 6689084"/>
              <a:gd name="connsiteX2297" fmla="*/ 4921594 w 6689088"/>
              <a:gd name="connsiteY2297" fmla="*/ 1944309 h 6689084"/>
              <a:gd name="connsiteX2298" fmla="*/ 4898718 w 6689088"/>
              <a:gd name="connsiteY2298" fmla="*/ 1921438 h 6689084"/>
              <a:gd name="connsiteX2299" fmla="*/ 4921594 w 6689088"/>
              <a:gd name="connsiteY2299" fmla="*/ 1898563 h 6689084"/>
              <a:gd name="connsiteX2300" fmla="*/ 5075541 w 6689088"/>
              <a:gd name="connsiteY2300" fmla="*/ 1896382 h 6689084"/>
              <a:gd name="connsiteX2301" fmla="*/ 5100597 w 6689088"/>
              <a:gd name="connsiteY2301" fmla="*/ 1921434 h 6689084"/>
              <a:gd name="connsiteX2302" fmla="*/ 5075541 w 6689088"/>
              <a:gd name="connsiteY2302" fmla="*/ 1946490 h 6689084"/>
              <a:gd name="connsiteX2303" fmla="*/ 5050490 w 6689088"/>
              <a:gd name="connsiteY2303" fmla="*/ 1921434 h 6689084"/>
              <a:gd name="connsiteX2304" fmla="*/ 5075541 w 6689088"/>
              <a:gd name="connsiteY2304" fmla="*/ 1896382 h 6689084"/>
              <a:gd name="connsiteX2305" fmla="*/ 5229126 w 6689088"/>
              <a:gd name="connsiteY2305" fmla="*/ 1894206 h 6689084"/>
              <a:gd name="connsiteX2306" fmla="*/ 5256358 w 6689088"/>
              <a:gd name="connsiteY2306" fmla="*/ 1921438 h 6689084"/>
              <a:gd name="connsiteX2307" fmla="*/ 5229126 w 6689088"/>
              <a:gd name="connsiteY2307" fmla="*/ 1948670 h 6689084"/>
              <a:gd name="connsiteX2308" fmla="*/ 5201894 w 6689088"/>
              <a:gd name="connsiteY2308" fmla="*/ 1921438 h 6689084"/>
              <a:gd name="connsiteX2309" fmla="*/ 5229126 w 6689088"/>
              <a:gd name="connsiteY2309" fmla="*/ 1894206 h 6689084"/>
              <a:gd name="connsiteX2310" fmla="*/ 5383074 w 6689088"/>
              <a:gd name="connsiteY2310" fmla="*/ 1891301 h 6689084"/>
              <a:gd name="connsiteX2311" fmla="*/ 5412848 w 6689088"/>
              <a:gd name="connsiteY2311" fmla="*/ 1921072 h 6689084"/>
              <a:gd name="connsiteX2312" fmla="*/ 5383074 w 6689088"/>
              <a:gd name="connsiteY2312" fmla="*/ 1950847 h 6689084"/>
              <a:gd name="connsiteX2313" fmla="*/ 5353303 w 6689088"/>
              <a:gd name="connsiteY2313" fmla="*/ 1921072 h 6689084"/>
              <a:gd name="connsiteX2314" fmla="*/ 5383074 w 6689088"/>
              <a:gd name="connsiteY2314" fmla="*/ 1891301 h 6689084"/>
              <a:gd name="connsiteX2315" fmla="*/ 5536659 w 6689088"/>
              <a:gd name="connsiteY2315" fmla="*/ 1889121 h 6689084"/>
              <a:gd name="connsiteX2316" fmla="*/ 5568610 w 6689088"/>
              <a:gd name="connsiteY2316" fmla="*/ 1921072 h 6689084"/>
              <a:gd name="connsiteX2317" fmla="*/ 5536659 w 6689088"/>
              <a:gd name="connsiteY2317" fmla="*/ 1953023 h 6689084"/>
              <a:gd name="connsiteX2318" fmla="*/ 5504708 w 6689088"/>
              <a:gd name="connsiteY2318" fmla="*/ 1921072 h 6689084"/>
              <a:gd name="connsiteX2319" fmla="*/ 5536659 w 6689088"/>
              <a:gd name="connsiteY2319" fmla="*/ 1889121 h 6689084"/>
              <a:gd name="connsiteX2320" fmla="*/ 5690606 w 6689088"/>
              <a:gd name="connsiteY2320" fmla="*/ 1887306 h 6689084"/>
              <a:gd name="connsiteX2321" fmla="*/ 5724376 w 6689088"/>
              <a:gd name="connsiteY2321" fmla="*/ 1921072 h 6689084"/>
              <a:gd name="connsiteX2322" fmla="*/ 5690606 w 6689088"/>
              <a:gd name="connsiteY2322" fmla="*/ 1954842 h 6689084"/>
              <a:gd name="connsiteX2323" fmla="*/ 5656840 w 6689088"/>
              <a:gd name="connsiteY2323" fmla="*/ 1921072 h 6689084"/>
              <a:gd name="connsiteX2324" fmla="*/ 5690606 w 6689088"/>
              <a:gd name="connsiteY2324" fmla="*/ 1887306 h 6689084"/>
              <a:gd name="connsiteX2325" fmla="*/ 5844554 w 6689088"/>
              <a:gd name="connsiteY2325" fmla="*/ 1884764 h 6689084"/>
              <a:gd name="connsiteX2326" fmla="*/ 5880862 w 6689088"/>
              <a:gd name="connsiteY2326" fmla="*/ 1921072 h 6689084"/>
              <a:gd name="connsiteX2327" fmla="*/ 5844554 w 6689088"/>
              <a:gd name="connsiteY2327" fmla="*/ 1957380 h 6689084"/>
              <a:gd name="connsiteX2328" fmla="*/ 5808246 w 6689088"/>
              <a:gd name="connsiteY2328" fmla="*/ 1921072 h 6689084"/>
              <a:gd name="connsiteX2329" fmla="*/ 5844554 w 6689088"/>
              <a:gd name="connsiteY2329" fmla="*/ 1884764 h 6689084"/>
              <a:gd name="connsiteX2330" fmla="*/ 5998139 w 6689088"/>
              <a:gd name="connsiteY2330" fmla="*/ 1882225 h 6689084"/>
              <a:gd name="connsiteX2331" fmla="*/ 6036990 w 6689088"/>
              <a:gd name="connsiteY2331" fmla="*/ 1921076 h 6689084"/>
              <a:gd name="connsiteX2332" fmla="*/ 5998139 w 6689088"/>
              <a:gd name="connsiteY2332" fmla="*/ 1959923 h 6689084"/>
              <a:gd name="connsiteX2333" fmla="*/ 5959288 w 6689088"/>
              <a:gd name="connsiteY2333" fmla="*/ 1921076 h 6689084"/>
              <a:gd name="connsiteX2334" fmla="*/ 5998139 w 6689088"/>
              <a:gd name="connsiteY2334" fmla="*/ 1882225 h 6689084"/>
              <a:gd name="connsiteX2335" fmla="*/ 6152083 w 6689088"/>
              <a:gd name="connsiteY2335" fmla="*/ 1880045 h 6689084"/>
              <a:gd name="connsiteX2336" fmla="*/ 6193114 w 6689088"/>
              <a:gd name="connsiteY2336" fmla="*/ 1921072 h 6689084"/>
              <a:gd name="connsiteX2337" fmla="*/ 6152083 w 6689088"/>
              <a:gd name="connsiteY2337" fmla="*/ 1962103 h 6689084"/>
              <a:gd name="connsiteX2338" fmla="*/ 6111056 w 6689088"/>
              <a:gd name="connsiteY2338" fmla="*/ 1921072 h 6689084"/>
              <a:gd name="connsiteX2339" fmla="*/ 6152083 w 6689088"/>
              <a:gd name="connsiteY2339" fmla="*/ 1880045 h 6689084"/>
              <a:gd name="connsiteX2340" fmla="*/ 6305668 w 6689088"/>
              <a:gd name="connsiteY2340" fmla="*/ 1877502 h 6689084"/>
              <a:gd name="connsiteX2341" fmla="*/ 6349238 w 6689088"/>
              <a:gd name="connsiteY2341" fmla="*/ 1921072 h 6689084"/>
              <a:gd name="connsiteX2342" fmla="*/ 6305668 w 6689088"/>
              <a:gd name="connsiteY2342" fmla="*/ 1964642 h 6689084"/>
              <a:gd name="connsiteX2343" fmla="*/ 6262098 w 6689088"/>
              <a:gd name="connsiteY2343" fmla="*/ 1921072 h 6689084"/>
              <a:gd name="connsiteX2344" fmla="*/ 6305668 w 6689088"/>
              <a:gd name="connsiteY2344" fmla="*/ 1877502 h 6689084"/>
              <a:gd name="connsiteX2345" fmla="*/ 6459616 w 6689088"/>
              <a:gd name="connsiteY2345" fmla="*/ 1874959 h 6689084"/>
              <a:gd name="connsiteX2346" fmla="*/ 6505728 w 6689088"/>
              <a:gd name="connsiteY2346" fmla="*/ 1921072 h 6689084"/>
              <a:gd name="connsiteX2347" fmla="*/ 6459616 w 6689088"/>
              <a:gd name="connsiteY2347" fmla="*/ 1967184 h 6689084"/>
              <a:gd name="connsiteX2348" fmla="*/ 6413503 w 6689088"/>
              <a:gd name="connsiteY2348" fmla="*/ 1921072 h 6689084"/>
              <a:gd name="connsiteX2349" fmla="*/ 6459616 w 6689088"/>
              <a:gd name="connsiteY2349" fmla="*/ 1874959 h 6689084"/>
              <a:gd name="connsiteX2350" fmla="*/ 6613200 w 6689088"/>
              <a:gd name="connsiteY2350" fmla="*/ 1872421 h 6689084"/>
              <a:gd name="connsiteX2351" fmla="*/ 6661856 w 6689088"/>
              <a:gd name="connsiteY2351" fmla="*/ 1921076 h 6689084"/>
              <a:gd name="connsiteX2352" fmla="*/ 6613200 w 6689088"/>
              <a:gd name="connsiteY2352" fmla="*/ 1969727 h 6689084"/>
              <a:gd name="connsiteX2353" fmla="*/ 6564550 w 6689088"/>
              <a:gd name="connsiteY2353" fmla="*/ 1921076 h 6689084"/>
              <a:gd name="connsiteX2354" fmla="*/ 6613200 w 6689088"/>
              <a:gd name="connsiteY2354" fmla="*/ 1872421 h 6689084"/>
              <a:gd name="connsiteX2355" fmla="*/ 2461340 w 6689088"/>
              <a:gd name="connsiteY2355" fmla="*/ 1767125 h 6689084"/>
              <a:gd name="connsiteX2356" fmla="*/ 2461702 w 6689088"/>
              <a:gd name="connsiteY2356" fmla="*/ 1767487 h 6689084"/>
              <a:gd name="connsiteX2357" fmla="*/ 2461340 w 6689088"/>
              <a:gd name="connsiteY2357" fmla="*/ 1767853 h 6689084"/>
              <a:gd name="connsiteX2358" fmla="*/ 2460978 w 6689088"/>
              <a:gd name="connsiteY2358" fmla="*/ 1767487 h 6689084"/>
              <a:gd name="connsiteX2359" fmla="*/ 2461340 w 6689088"/>
              <a:gd name="connsiteY2359" fmla="*/ 1767125 h 6689084"/>
              <a:gd name="connsiteX2360" fmla="*/ 1999860 w 6689088"/>
              <a:gd name="connsiteY2360" fmla="*/ 1767125 h 6689084"/>
              <a:gd name="connsiteX2361" fmla="*/ 2000222 w 6689088"/>
              <a:gd name="connsiteY2361" fmla="*/ 1767487 h 6689084"/>
              <a:gd name="connsiteX2362" fmla="*/ 1999860 w 6689088"/>
              <a:gd name="connsiteY2362" fmla="*/ 1767853 h 6689084"/>
              <a:gd name="connsiteX2363" fmla="*/ 1999498 w 6689088"/>
              <a:gd name="connsiteY2363" fmla="*/ 1767487 h 6689084"/>
              <a:gd name="connsiteX2364" fmla="*/ 1999860 w 6689088"/>
              <a:gd name="connsiteY2364" fmla="*/ 1767125 h 6689084"/>
              <a:gd name="connsiteX2365" fmla="*/ 1846279 w 6689088"/>
              <a:gd name="connsiteY2365" fmla="*/ 1767125 h 6689084"/>
              <a:gd name="connsiteX2366" fmla="*/ 1846641 w 6689088"/>
              <a:gd name="connsiteY2366" fmla="*/ 1767487 h 6689084"/>
              <a:gd name="connsiteX2367" fmla="*/ 1846279 w 6689088"/>
              <a:gd name="connsiteY2367" fmla="*/ 1767853 h 6689084"/>
              <a:gd name="connsiteX2368" fmla="*/ 1845917 w 6689088"/>
              <a:gd name="connsiteY2368" fmla="*/ 1767487 h 6689084"/>
              <a:gd name="connsiteX2369" fmla="*/ 1846279 w 6689088"/>
              <a:gd name="connsiteY2369" fmla="*/ 1767125 h 6689084"/>
              <a:gd name="connsiteX2370" fmla="*/ 1692328 w 6689088"/>
              <a:gd name="connsiteY2370" fmla="*/ 1766762 h 6689084"/>
              <a:gd name="connsiteX2371" fmla="*/ 1693056 w 6689088"/>
              <a:gd name="connsiteY2371" fmla="*/ 1767491 h 6689084"/>
              <a:gd name="connsiteX2372" fmla="*/ 1692328 w 6689088"/>
              <a:gd name="connsiteY2372" fmla="*/ 1768215 h 6689084"/>
              <a:gd name="connsiteX2373" fmla="*/ 1691603 w 6689088"/>
              <a:gd name="connsiteY2373" fmla="*/ 1767491 h 6689084"/>
              <a:gd name="connsiteX2374" fmla="*/ 1692328 w 6689088"/>
              <a:gd name="connsiteY2374" fmla="*/ 1766762 h 6689084"/>
              <a:gd name="connsiteX2375" fmla="*/ 2614925 w 6689088"/>
              <a:gd name="connsiteY2375" fmla="*/ 1765672 h 6689084"/>
              <a:gd name="connsiteX2376" fmla="*/ 2616378 w 6689088"/>
              <a:gd name="connsiteY2376" fmla="*/ 1767125 h 6689084"/>
              <a:gd name="connsiteX2377" fmla="*/ 2614925 w 6689088"/>
              <a:gd name="connsiteY2377" fmla="*/ 1768577 h 6689084"/>
              <a:gd name="connsiteX2378" fmla="*/ 2613473 w 6689088"/>
              <a:gd name="connsiteY2378" fmla="*/ 1767125 h 6689084"/>
              <a:gd name="connsiteX2379" fmla="*/ 2614925 w 6689088"/>
              <a:gd name="connsiteY2379" fmla="*/ 1765672 h 6689084"/>
              <a:gd name="connsiteX2380" fmla="*/ 2768873 w 6689088"/>
              <a:gd name="connsiteY2380" fmla="*/ 1765310 h 6689084"/>
              <a:gd name="connsiteX2381" fmla="*/ 2771049 w 6689088"/>
              <a:gd name="connsiteY2381" fmla="*/ 1767491 h 6689084"/>
              <a:gd name="connsiteX2382" fmla="*/ 2768873 w 6689088"/>
              <a:gd name="connsiteY2382" fmla="*/ 1769667 h 6689084"/>
              <a:gd name="connsiteX2383" fmla="*/ 2766692 w 6689088"/>
              <a:gd name="connsiteY2383" fmla="*/ 1767491 h 6689084"/>
              <a:gd name="connsiteX2384" fmla="*/ 2768873 w 6689088"/>
              <a:gd name="connsiteY2384" fmla="*/ 1765310 h 6689084"/>
              <a:gd name="connsiteX2385" fmla="*/ 2922454 w 6689088"/>
              <a:gd name="connsiteY2385" fmla="*/ 1764220 h 6689084"/>
              <a:gd name="connsiteX2386" fmla="*/ 2925721 w 6689088"/>
              <a:gd name="connsiteY2386" fmla="*/ 1767487 h 6689084"/>
              <a:gd name="connsiteX2387" fmla="*/ 2922454 w 6689088"/>
              <a:gd name="connsiteY2387" fmla="*/ 1770757 h 6689084"/>
              <a:gd name="connsiteX2388" fmla="*/ 2919188 w 6689088"/>
              <a:gd name="connsiteY2388" fmla="*/ 1767487 h 6689084"/>
              <a:gd name="connsiteX2389" fmla="*/ 2922454 w 6689088"/>
              <a:gd name="connsiteY2389" fmla="*/ 1764220 h 6689084"/>
              <a:gd name="connsiteX2390" fmla="*/ 3076406 w 6689088"/>
              <a:gd name="connsiteY2390" fmla="*/ 1763134 h 6689084"/>
              <a:gd name="connsiteX2391" fmla="*/ 3080762 w 6689088"/>
              <a:gd name="connsiteY2391" fmla="*/ 1767491 h 6689084"/>
              <a:gd name="connsiteX2392" fmla="*/ 3076406 w 6689088"/>
              <a:gd name="connsiteY2392" fmla="*/ 1771848 h 6689084"/>
              <a:gd name="connsiteX2393" fmla="*/ 3072048 w 6689088"/>
              <a:gd name="connsiteY2393" fmla="*/ 1767491 h 6689084"/>
              <a:gd name="connsiteX2394" fmla="*/ 3076406 w 6689088"/>
              <a:gd name="connsiteY2394" fmla="*/ 1763134 h 6689084"/>
              <a:gd name="connsiteX2395" fmla="*/ 3230353 w 6689088"/>
              <a:gd name="connsiteY2395" fmla="*/ 1761681 h 6689084"/>
              <a:gd name="connsiteX2396" fmla="*/ 3236162 w 6689088"/>
              <a:gd name="connsiteY2396" fmla="*/ 1767491 h 6689084"/>
              <a:gd name="connsiteX2397" fmla="*/ 3230353 w 6689088"/>
              <a:gd name="connsiteY2397" fmla="*/ 1773300 h 6689084"/>
              <a:gd name="connsiteX2398" fmla="*/ 3224544 w 6689088"/>
              <a:gd name="connsiteY2398" fmla="*/ 1767491 h 6689084"/>
              <a:gd name="connsiteX2399" fmla="*/ 3230353 w 6689088"/>
              <a:gd name="connsiteY2399" fmla="*/ 1761681 h 6689084"/>
              <a:gd name="connsiteX2400" fmla="*/ 3383938 w 6689088"/>
              <a:gd name="connsiteY2400" fmla="*/ 1760225 h 6689084"/>
              <a:gd name="connsiteX2401" fmla="*/ 3391200 w 6689088"/>
              <a:gd name="connsiteY2401" fmla="*/ 1767487 h 6689084"/>
              <a:gd name="connsiteX2402" fmla="*/ 3383938 w 6689088"/>
              <a:gd name="connsiteY2402" fmla="*/ 1774748 h 6689084"/>
              <a:gd name="connsiteX2403" fmla="*/ 3376676 w 6689088"/>
              <a:gd name="connsiteY2403" fmla="*/ 1767487 h 6689084"/>
              <a:gd name="connsiteX2404" fmla="*/ 3383938 w 6689088"/>
              <a:gd name="connsiteY2404" fmla="*/ 1760225 h 6689084"/>
              <a:gd name="connsiteX2405" fmla="*/ 3537882 w 6689088"/>
              <a:gd name="connsiteY2405" fmla="*/ 1758411 h 6689084"/>
              <a:gd name="connsiteX2406" fmla="*/ 3546962 w 6689088"/>
              <a:gd name="connsiteY2406" fmla="*/ 1767487 h 6689084"/>
              <a:gd name="connsiteX2407" fmla="*/ 3537882 w 6689088"/>
              <a:gd name="connsiteY2407" fmla="*/ 1776567 h 6689084"/>
              <a:gd name="connsiteX2408" fmla="*/ 3528806 w 6689088"/>
              <a:gd name="connsiteY2408" fmla="*/ 1767487 h 6689084"/>
              <a:gd name="connsiteX2409" fmla="*/ 3537882 w 6689088"/>
              <a:gd name="connsiteY2409" fmla="*/ 1758411 h 6689084"/>
              <a:gd name="connsiteX2410" fmla="*/ 3691467 w 6689088"/>
              <a:gd name="connsiteY2410" fmla="*/ 1757324 h 6689084"/>
              <a:gd name="connsiteX2411" fmla="*/ 3701633 w 6689088"/>
              <a:gd name="connsiteY2411" fmla="*/ 1767491 h 6689084"/>
              <a:gd name="connsiteX2412" fmla="*/ 3691467 w 6689088"/>
              <a:gd name="connsiteY2412" fmla="*/ 1777657 h 6689084"/>
              <a:gd name="connsiteX2413" fmla="*/ 3681300 w 6689088"/>
              <a:gd name="connsiteY2413" fmla="*/ 1767491 h 6689084"/>
              <a:gd name="connsiteX2414" fmla="*/ 3691467 w 6689088"/>
              <a:gd name="connsiteY2414" fmla="*/ 1757324 h 6689084"/>
              <a:gd name="connsiteX2415" fmla="*/ 3845414 w 6689088"/>
              <a:gd name="connsiteY2415" fmla="*/ 1755506 h 6689084"/>
              <a:gd name="connsiteX2416" fmla="*/ 3857399 w 6689088"/>
              <a:gd name="connsiteY2416" fmla="*/ 1767487 h 6689084"/>
              <a:gd name="connsiteX2417" fmla="*/ 3845414 w 6689088"/>
              <a:gd name="connsiteY2417" fmla="*/ 1779468 h 6689084"/>
              <a:gd name="connsiteX2418" fmla="*/ 3833434 w 6689088"/>
              <a:gd name="connsiteY2418" fmla="*/ 1767487 h 6689084"/>
              <a:gd name="connsiteX2419" fmla="*/ 3845414 w 6689088"/>
              <a:gd name="connsiteY2419" fmla="*/ 1755506 h 6689084"/>
              <a:gd name="connsiteX2420" fmla="*/ 3999000 w 6689088"/>
              <a:gd name="connsiteY2420" fmla="*/ 1753329 h 6689084"/>
              <a:gd name="connsiteX2421" fmla="*/ 4012799 w 6689088"/>
              <a:gd name="connsiteY2421" fmla="*/ 1767125 h 6689084"/>
              <a:gd name="connsiteX2422" fmla="*/ 3999000 w 6689088"/>
              <a:gd name="connsiteY2422" fmla="*/ 1780924 h 6689084"/>
              <a:gd name="connsiteX2423" fmla="*/ 3985204 w 6689088"/>
              <a:gd name="connsiteY2423" fmla="*/ 1767125 h 6689084"/>
              <a:gd name="connsiteX2424" fmla="*/ 3999000 w 6689088"/>
              <a:gd name="connsiteY2424" fmla="*/ 1753329 h 6689084"/>
              <a:gd name="connsiteX2425" fmla="*/ 4152947 w 6689088"/>
              <a:gd name="connsiteY2425" fmla="*/ 1752239 h 6689084"/>
              <a:gd name="connsiteX2426" fmla="*/ 4168198 w 6689088"/>
              <a:gd name="connsiteY2426" fmla="*/ 1767491 h 6689084"/>
              <a:gd name="connsiteX2427" fmla="*/ 4152947 w 6689088"/>
              <a:gd name="connsiteY2427" fmla="*/ 1782738 h 6689084"/>
              <a:gd name="connsiteX2428" fmla="*/ 4137700 w 6689088"/>
              <a:gd name="connsiteY2428" fmla="*/ 1767491 h 6689084"/>
              <a:gd name="connsiteX2429" fmla="*/ 4152947 w 6689088"/>
              <a:gd name="connsiteY2429" fmla="*/ 1752239 h 6689084"/>
              <a:gd name="connsiteX2430" fmla="*/ 4306532 w 6689088"/>
              <a:gd name="connsiteY2430" fmla="*/ 1750425 h 6689084"/>
              <a:gd name="connsiteX2431" fmla="*/ 4323598 w 6689088"/>
              <a:gd name="connsiteY2431" fmla="*/ 1767491 h 6689084"/>
              <a:gd name="connsiteX2432" fmla="*/ 4306532 w 6689088"/>
              <a:gd name="connsiteY2432" fmla="*/ 1784556 h 6689084"/>
              <a:gd name="connsiteX2433" fmla="*/ 4289466 w 6689088"/>
              <a:gd name="connsiteY2433" fmla="*/ 1767491 h 6689084"/>
              <a:gd name="connsiteX2434" fmla="*/ 4306532 w 6689088"/>
              <a:gd name="connsiteY2434" fmla="*/ 1750425 h 6689084"/>
              <a:gd name="connsiteX2435" fmla="*/ 4460480 w 6689088"/>
              <a:gd name="connsiteY2435" fmla="*/ 1748244 h 6689084"/>
              <a:gd name="connsiteX2436" fmla="*/ 4479726 w 6689088"/>
              <a:gd name="connsiteY2436" fmla="*/ 1767487 h 6689084"/>
              <a:gd name="connsiteX2437" fmla="*/ 4460480 w 6689088"/>
              <a:gd name="connsiteY2437" fmla="*/ 1786729 h 6689084"/>
              <a:gd name="connsiteX2438" fmla="*/ 4441237 w 6689088"/>
              <a:gd name="connsiteY2438" fmla="*/ 1767487 h 6689084"/>
              <a:gd name="connsiteX2439" fmla="*/ 4460480 w 6689088"/>
              <a:gd name="connsiteY2439" fmla="*/ 1748244 h 6689084"/>
              <a:gd name="connsiteX2440" fmla="*/ 4614065 w 6689088"/>
              <a:gd name="connsiteY2440" fmla="*/ 1746068 h 6689084"/>
              <a:gd name="connsiteX2441" fmla="*/ 4635484 w 6689088"/>
              <a:gd name="connsiteY2441" fmla="*/ 1767491 h 6689084"/>
              <a:gd name="connsiteX2442" fmla="*/ 4614065 w 6689088"/>
              <a:gd name="connsiteY2442" fmla="*/ 1788913 h 6689084"/>
              <a:gd name="connsiteX2443" fmla="*/ 4592642 w 6689088"/>
              <a:gd name="connsiteY2443" fmla="*/ 1767491 h 6689084"/>
              <a:gd name="connsiteX2444" fmla="*/ 4614065 w 6689088"/>
              <a:gd name="connsiteY2444" fmla="*/ 1746068 h 6689084"/>
              <a:gd name="connsiteX2445" fmla="*/ 4768012 w 6689088"/>
              <a:gd name="connsiteY2445" fmla="*/ 1744615 h 6689084"/>
              <a:gd name="connsiteX2446" fmla="*/ 4790884 w 6689088"/>
              <a:gd name="connsiteY2446" fmla="*/ 1767491 h 6689084"/>
              <a:gd name="connsiteX2447" fmla="*/ 4768012 w 6689088"/>
              <a:gd name="connsiteY2447" fmla="*/ 1790366 h 6689084"/>
              <a:gd name="connsiteX2448" fmla="*/ 4745137 w 6689088"/>
              <a:gd name="connsiteY2448" fmla="*/ 1767491 h 6689084"/>
              <a:gd name="connsiteX2449" fmla="*/ 4768012 w 6689088"/>
              <a:gd name="connsiteY2449" fmla="*/ 1744615 h 6689084"/>
              <a:gd name="connsiteX2450" fmla="*/ 4921594 w 6689088"/>
              <a:gd name="connsiteY2450" fmla="*/ 1742435 h 6689084"/>
              <a:gd name="connsiteX2451" fmla="*/ 4946650 w 6689088"/>
              <a:gd name="connsiteY2451" fmla="*/ 1767487 h 6689084"/>
              <a:gd name="connsiteX2452" fmla="*/ 4921594 w 6689088"/>
              <a:gd name="connsiteY2452" fmla="*/ 1792538 h 6689084"/>
              <a:gd name="connsiteX2453" fmla="*/ 4896542 w 6689088"/>
              <a:gd name="connsiteY2453" fmla="*/ 1767487 h 6689084"/>
              <a:gd name="connsiteX2454" fmla="*/ 4921594 w 6689088"/>
              <a:gd name="connsiteY2454" fmla="*/ 1742435 h 6689084"/>
              <a:gd name="connsiteX2455" fmla="*/ 5075545 w 6689088"/>
              <a:gd name="connsiteY2455" fmla="*/ 1740258 h 6689084"/>
              <a:gd name="connsiteX2456" fmla="*/ 5102777 w 6689088"/>
              <a:gd name="connsiteY2456" fmla="*/ 1767491 h 6689084"/>
              <a:gd name="connsiteX2457" fmla="*/ 5075545 w 6689088"/>
              <a:gd name="connsiteY2457" fmla="*/ 1794723 h 6689084"/>
              <a:gd name="connsiteX2458" fmla="*/ 5048313 w 6689088"/>
              <a:gd name="connsiteY2458" fmla="*/ 1767491 h 6689084"/>
              <a:gd name="connsiteX2459" fmla="*/ 5075545 w 6689088"/>
              <a:gd name="connsiteY2459" fmla="*/ 1740258 h 6689084"/>
              <a:gd name="connsiteX2460" fmla="*/ 5229126 w 6689088"/>
              <a:gd name="connsiteY2460" fmla="*/ 1737716 h 6689084"/>
              <a:gd name="connsiteX2461" fmla="*/ 5258901 w 6689088"/>
              <a:gd name="connsiteY2461" fmla="*/ 1767491 h 6689084"/>
              <a:gd name="connsiteX2462" fmla="*/ 5229126 w 6689088"/>
              <a:gd name="connsiteY2462" fmla="*/ 1797261 h 6689084"/>
              <a:gd name="connsiteX2463" fmla="*/ 5199356 w 6689088"/>
              <a:gd name="connsiteY2463" fmla="*/ 1767491 h 6689084"/>
              <a:gd name="connsiteX2464" fmla="*/ 5229126 w 6689088"/>
              <a:gd name="connsiteY2464" fmla="*/ 1737716 h 6689084"/>
              <a:gd name="connsiteX2465" fmla="*/ 5383074 w 6689088"/>
              <a:gd name="connsiteY2465" fmla="*/ 1735535 h 6689084"/>
              <a:gd name="connsiteX2466" fmla="*/ 5415025 w 6689088"/>
              <a:gd name="connsiteY2466" fmla="*/ 1767487 h 6689084"/>
              <a:gd name="connsiteX2467" fmla="*/ 5383074 w 6689088"/>
              <a:gd name="connsiteY2467" fmla="*/ 1799438 h 6689084"/>
              <a:gd name="connsiteX2468" fmla="*/ 5351122 w 6689088"/>
              <a:gd name="connsiteY2468" fmla="*/ 1767487 h 6689084"/>
              <a:gd name="connsiteX2469" fmla="*/ 5383074 w 6689088"/>
              <a:gd name="connsiteY2469" fmla="*/ 1735535 h 6689084"/>
              <a:gd name="connsiteX2470" fmla="*/ 5537025 w 6689088"/>
              <a:gd name="connsiteY2470" fmla="*/ 1733721 h 6689084"/>
              <a:gd name="connsiteX2471" fmla="*/ 5570791 w 6689088"/>
              <a:gd name="connsiteY2471" fmla="*/ 1767487 h 6689084"/>
              <a:gd name="connsiteX2472" fmla="*/ 5537025 w 6689088"/>
              <a:gd name="connsiteY2472" fmla="*/ 1801256 h 6689084"/>
              <a:gd name="connsiteX2473" fmla="*/ 5503256 w 6689088"/>
              <a:gd name="connsiteY2473" fmla="*/ 1767487 h 6689084"/>
              <a:gd name="connsiteX2474" fmla="*/ 5537025 w 6689088"/>
              <a:gd name="connsiteY2474" fmla="*/ 1733721 h 6689084"/>
              <a:gd name="connsiteX2475" fmla="*/ 5690606 w 6689088"/>
              <a:gd name="connsiteY2475" fmla="*/ 1731182 h 6689084"/>
              <a:gd name="connsiteX2476" fmla="*/ 5726915 w 6689088"/>
              <a:gd name="connsiteY2476" fmla="*/ 1767491 h 6689084"/>
              <a:gd name="connsiteX2477" fmla="*/ 5690606 w 6689088"/>
              <a:gd name="connsiteY2477" fmla="*/ 1803799 h 6689084"/>
              <a:gd name="connsiteX2478" fmla="*/ 5654298 w 6689088"/>
              <a:gd name="connsiteY2478" fmla="*/ 1767491 h 6689084"/>
              <a:gd name="connsiteX2479" fmla="*/ 5690606 w 6689088"/>
              <a:gd name="connsiteY2479" fmla="*/ 1731182 h 6689084"/>
              <a:gd name="connsiteX2480" fmla="*/ 5844554 w 6689088"/>
              <a:gd name="connsiteY2480" fmla="*/ 1728640 h 6689084"/>
              <a:gd name="connsiteX2481" fmla="*/ 5883405 w 6689088"/>
              <a:gd name="connsiteY2481" fmla="*/ 1767491 h 6689084"/>
              <a:gd name="connsiteX2482" fmla="*/ 5844554 w 6689088"/>
              <a:gd name="connsiteY2482" fmla="*/ 1806338 h 6689084"/>
              <a:gd name="connsiteX2483" fmla="*/ 5805703 w 6689088"/>
              <a:gd name="connsiteY2483" fmla="*/ 1767491 h 6689084"/>
              <a:gd name="connsiteX2484" fmla="*/ 5844554 w 6689088"/>
              <a:gd name="connsiteY2484" fmla="*/ 1728640 h 6689084"/>
              <a:gd name="connsiteX2485" fmla="*/ 5998136 w 6689088"/>
              <a:gd name="connsiteY2485" fmla="*/ 1726459 h 6689084"/>
              <a:gd name="connsiteX2486" fmla="*/ 6039166 w 6689088"/>
              <a:gd name="connsiteY2486" fmla="*/ 1767487 h 6689084"/>
              <a:gd name="connsiteX2487" fmla="*/ 5998136 w 6689088"/>
              <a:gd name="connsiteY2487" fmla="*/ 1808518 h 6689084"/>
              <a:gd name="connsiteX2488" fmla="*/ 5957108 w 6689088"/>
              <a:gd name="connsiteY2488" fmla="*/ 1767487 h 6689084"/>
              <a:gd name="connsiteX2489" fmla="*/ 5998136 w 6689088"/>
              <a:gd name="connsiteY2489" fmla="*/ 1726459 h 6689084"/>
              <a:gd name="connsiteX2490" fmla="*/ 6152086 w 6689088"/>
              <a:gd name="connsiteY2490" fmla="*/ 1723917 h 6689084"/>
              <a:gd name="connsiteX2491" fmla="*/ 6195656 w 6689088"/>
              <a:gd name="connsiteY2491" fmla="*/ 1767487 h 6689084"/>
              <a:gd name="connsiteX2492" fmla="*/ 6152086 w 6689088"/>
              <a:gd name="connsiteY2492" fmla="*/ 1811057 h 6689084"/>
              <a:gd name="connsiteX2493" fmla="*/ 6108516 w 6689088"/>
              <a:gd name="connsiteY2493" fmla="*/ 1767487 h 6689084"/>
              <a:gd name="connsiteX2494" fmla="*/ 6152086 w 6689088"/>
              <a:gd name="connsiteY2494" fmla="*/ 1723917 h 6689084"/>
              <a:gd name="connsiteX2495" fmla="*/ 6305668 w 6689088"/>
              <a:gd name="connsiteY2495" fmla="*/ 1721378 h 6689084"/>
              <a:gd name="connsiteX2496" fmla="*/ 6351777 w 6689088"/>
              <a:gd name="connsiteY2496" fmla="*/ 1767491 h 6689084"/>
              <a:gd name="connsiteX2497" fmla="*/ 6305668 w 6689088"/>
              <a:gd name="connsiteY2497" fmla="*/ 1813603 h 6689084"/>
              <a:gd name="connsiteX2498" fmla="*/ 6259556 w 6689088"/>
              <a:gd name="connsiteY2498" fmla="*/ 1767491 h 6689084"/>
              <a:gd name="connsiteX2499" fmla="*/ 6305668 w 6689088"/>
              <a:gd name="connsiteY2499" fmla="*/ 1721378 h 6689084"/>
              <a:gd name="connsiteX2500" fmla="*/ 6459619 w 6689088"/>
              <a:gd name="connsiteY2500" fmla="*/ 1718835 h 6689084"/>
              <a:gd name="connsiteX2501" fmla="*/ 6508270 w 6689088"/>
              <a:gd name="connsiteY2501" fmla="*/ 1767491 h 6689084"/>
              <a:gd name="connsiteX2502" fmla="*/ 6459619 w 6689088"/>
              <a:gd name="connsiteY2502" fmla="*/ 1816142 h 6689084"/>
              <a:gd name="connsiteX2503" fmla="*/ 6410964 w 6689088"/>
              <a:gd name="connsiteY2503" fmla="*/ 1767491 h 6689084"/>
              <a:gd name="connsiteX2504" fmla="*/ 6459619 w 6689088"/>
              <a:gd name="connsiteY2504" fmla="*/ 1718835 h 6689084"/>
              <a:gd name="connsiteX2505" fmla="*/ 6613200 w 6689088"/>
              <a:gd name="connsiteY2505" fmla="*/ 1716293 h 6689084"/>
              <a:gd name="connsiteX2506" fmla="*/ 6664398 w 6689088"/>
              <a:gd name="connsiteY2506" fmla="*/ 1767487 h 6689084"/>
              <a:gd name="connsiteX2507" fmla="*/ 6613200 w 6689088"/>
              <a:gd name="connsiteY2507" fmla="*/ 1818681 h 6689084"/>
              <a:gd name="connsiteX2508" fmla="*/ 6562007 w 6689088"/>
              <a:gd name="connsiteY2508" fmla="*/ 1767487 h 6689084"/>
              <a:gd name="connsiteX2509" fmla="*/ 6613200 w 6689088"/>
              <a:gd name="connsiteY2509" fmla="*/ 1716293 h 6689084"/>
              <a:gd name="connsiteX2510" fmla="*/ 2307393 w 6689088"/>
              <a:gd name="connsiteY2510" fmla="*/ 1613539 h 6689084"/>
              <a:gd name="connsiteX2511" fmla="*/ 2307755 w 6689088"/>
              <a:gd name="connsiteY2511" fmla="*/ 1613901 h 6689084"/>
              <a:gd name="connsiteX2512" fmla="*/ 2307393 w 6689088"/>
              <a:gd name="connsiteY2512" fmla="*/ 1614267 h 6689084"/>
              <a:gd name="connsiteX2513" fmla="*/ 2307031 w 6689088"/>
              <a:gd name="connsiteY2513" fmla="*/ 1613901 h 6689084"/>
              <a:gd name="connsiteX2514" fmla="*/ 2307393 w 6689088"/>
              <a:gd name="connsiteY2514" fmla="*/ 1613539 h 6689084"/>
              <a:gd name="connsiteX2515" fmla="*/ 1846279 w 6689088"/>
              <a:gd name="connsiteY2515" fmla="*/ 1613539 h 6689084"/>
              <a:gd name="connsiteX2516" fmla="*/ 1846641 w 6689088"/>
              <a:gd name="connsiteY2516" fmla="*/ 1613901 h 6689084"/>
              <a:gd name="connsiteX2517" fmla="*/ 1846279 w 6689088"/>
              <a:gd name="connsiteY2517" fmla="*/ 1614267 h 6689084"/>
              <a:gd name="connsiteX2518" fmla="*/ 1845917 w 6689088"/>
              <a:gd name="connsiteY2518" fmla="*/ 1613901 h 6689084"/>
              <a:gd name="connsiteX2519" fmla="*/ 1846279 w 6689088"/>
              <a:gd name="connsiteY2519" fmla="*/ 1613539 h 6689084"/>
              <a:gd name="connsiteX2520" fmla="*/ 1692331 w 6689088"/>
              <a:gd name="connsiteY2520" fmla="*/ 1613539 h 6689084"/>
              <a:gd name="connsiteX2521" fmla="*/ 1692694 w 6689088"/>
              <a:gd name="connsiteY2521" fmla="*/ 1613901 h 6689084"/>
              <a:gd name="connsiteX2522" fmla="*/ 1692331 w 6689088"/>
              <a:gd name="connsiteY2522" fmla="*/ 1614267 h 6689084"/>
              <a:gd name="connsiteX2523" fmla="*/ 1691969 w 6689088"/>
              <a:gd name="connsiteY2523" fmla="*/ 1613901 h 6689084"/>
              <a:gd name="connsiteX2524" fmla="*/ 1692331 w 6689088"/>
              <a:gd name="connsiteY2524" fmla="*/ 1613539 h 6689084"/>
              <a:gd name="connsiteX2525" fmla="*/ 1538746 w 6689088"/>
              <a:gd name="connsiteY2525" fmla="*/ 1613177 h 6689084"/>
              <a:gd name="connsiteX2526" fmla="*/ 1539470 w 6689088"/>
              <a:gd name="connsiteY2526" fmla="*/ 1613905 h 6689084"/>
              <a:gd name="connsiteX2527" fmla="*/ 1538746 w 6689088"/>
              <a:gd name="connsiteY2527" fmla="*/ 1614630 h 6689084"/>
              <a:gd name="connsiteX2528" fmla="*/ 1538018 w 6689088"/>
              <a:gd name="connsiteY2528" fmla="*/ 1613905 h 6689084"/>
              <a:gd name="connsiteX2529" fmla="*/ 1538746 w 6689088"/>
              <a:gd name="connsiteY2529" fmla="*/ 1613177 h 6689084"/>
              <a:gd name="connsiteX2530" fmla="*/ 2461340 w 6689088"/>
              <a:gd name="connsiteY2530" fmla="*/ 1612091 h 6689084"/>
              <a:gd name="connsiteX2531" fmla="*/ 2462793 w 6689088"/>
              <a:gd name="connsiteY2531" fmla="*/ 1613543 h 6689084"/>
              <a:gd name="connsiteX2532" fmla="*/ 2461340 w 6689088"/>
              <a:gd name="connsiteY2532" fmla="*/ 1614995 h 6689084"/>
              <a:gd name="connsiteX2533" fmla="*/ 2459888 w 6689088"/>
              <a:gd name="connsiteY2533" fmla="*/ 1613543 h 6689084"/>
              <a:gd name="connsiteX2534" fmla="*/ 2461340 w 6689088"/>
              <a:gd name="connsiteY2534" fmla="*/ 1612091 h 6689084"/>
              <a:gd name="connsiteX2535" fmla="*/ 2614922 w 6689088"/>
              <a:gd name="connsiteY2535" fmla="*/ 1611363 h 6689084"/>
              <a:gd name="connsiteX2536" fmla="*/ 2617102 w 6689088"/>
              <a:gd name="connsiteY2536" fmla="*/ 1613539 h 6689084"/>
              <a:gd name="connsiteX2537" fmla="*/ 2614922 w 6689088"/>
              <a:gd name="connsiteY2537" fmla="*/ 1615720 h 6689084"/>
              <a:gd name="connsiteX2538" fmla="*/ 2612745 w 6689088"/>
              <a:gd name="connsiteY2538" fmla="*/ 1613539 h 6689084"/>
              <a:gd name="connsiteX2539" fmla="*/ 2614922 w 6689088"/>
              <a:gd name="connsiteY2539" fmla="*/ 1611363 h 6689084"/>
              <a:gd name="connsiteX2540" fmla="*/ 2768877 w 6689088"/>
              <a:gd name="connsiteY2540" fmla="*/ 1610638 h 6689084"/>
              <a:gd name="connsiteX2541" fmla="*/ 2772144 w 6689088"/>
              <a:gd name="connsiteY2541" fmla="*/ 1613905 h 6689084"/>
              <a:gd name="connsiteX2542" fmla="*/ 2768877 w 6689088"/>
              <a:gd name="connsiteY2542" fmla="*/ 1617176 h 6689084"/>
              <a:gd name="connsiteX2543" fmla="*/ 2765606 w 6689088"/>
              <a:gd name="connsiteY2543" fmla="*/ 1613905 h 6689084"/>
              <a:gd name="connsiteX2544" fmla="*/ 2768877 w 6689088"/>
              <a:gd name="connsiteY2544" fmla="*/ 1610638 h 6689084"/>
              <a:gd name="connsiteX2545" fmla="*/ 2922458 w 6689088"/>
              <a:gd name="connsiteY2545" fmla="*/ 1609182 h 6689084"/>
              <a:gd name="connsiteX2546" fmla="*/ 2926815 w 6689088"/>
              <a:gd name="connsiteY2546" fmla="*/ 1613539 h 6689084"/>
              <a:gd name="connsiteX2547" fmla="*/ 2922458 w 6689088"/>
              <a:gd name="connsiteY2547" fmla="*/ 1617896 h 6689084"/>
              <a:gd name="connsiteX2548" fmla="*/ 2918101 w 6689088"/>
              <a:gd name="connsiteY2548" fmla="*/ 1613539 h 6689084"/>
              <a:gd name="connsiteX2549" fmla="*/ 2922458 w 6689088"/>
              <a:gd name="connsiteY2549" fmla="*/ 1609182 h 6689084"/>
              <a:gd name="connsiteX2550" fmla="*/ 3076406 w 6689088"/>
              <a:gd name="connsiteY2550" fmla="*/ 1608096 h 6689084"/>
              <a:gd name="connsiteX2551" fmla="*/ 3082215 w 6689088"/>
              <a:gd name="connsiteY2551" fmla="*/ 1613905 h 6689084"/>
              <a:gd name="connsiteX2552" fmla="*/ 3076406 w 6689088"/>
              <a:gd name="connsiteY2552" fmla="*/ 1619715 h 6689084"/>
              <a:gd name="connsiteX2553" fmla="*/ 3070596 w 6689088"/>
              <a:gd name="connsiteY2553" fmla="*/ 1613905 h 6689084"/>
              <a:gd name="connsiteX2554" fmla="*/ 3076406 w 6689088"/>
              <a:gd name="connsiteY2554" fmla="*/ 1608096 h 6689084"/>
              <a:gd name="connsiteX2555" fmla="*/ 3230353 w 6689088"/>
              <a:gd name="connsiteY2555" fmla="*/ 1606281 h 6689084"/>
              <a:gd name="connsiteX2556" fmla="*/ 3237614 w 6689088"/>
              <a:gd name="connsiteY2556" fmla="*/ 1613543 h 6689084"/>
              <a:gd name="connsiteX2557" fmla="*/ 3230353 w 6689088"/>
              <a:gd name="connsiteY2557" fmla="*/ 1620805 h 6689084"/>
              <a:gd name="connsiteX2558" fmla="*/ 3223091 w 6689088"/>
              <a:gd name="connsiteY2558" fmla="*/ 1613543 h 6689084"/>
              <a:gd name="connsiteX2559" fmla="*/ 3230353 w 6689088"/>
              <a:gd name="connsiteY2559" fmla="*/ 1606281 h 6689084"/>
              <a:gd name="connsiteX2560" fmla="*/ 3383934 w 6689088"/>
              <a:gd name="connsiteY2560" fmla="*/ 1604463 h 6689084"/>
              <a:gd name="connsiteX2561" fmla="*/ 3393014 w 6689088"/>
              <a:gd name="connsiteY2561" fmla="*/ 1613539 h 6689084"/>
              <a:gd name="connsiteX2562" fmla="*/ 3383934 w 6689088"/>
              <a:gd name="connsiteY2562" fmla="*/ 1622619 h 6689084"/>
              <a:gd name="connsiteX2563" fmla="*/ 3374858 w 6689088"/>
              <a:gd name="connsiteY2563" fmla="*/ 1613539 h 6689084"/>
              <a:gd name="connsiteX2564" fmla="*/ 3383934 w 6689088"/>
              <a:gd name="connsiteY2564" fmla="*/ 1604463 h 6689084"/>
              <a:gd name="connsiteX2565" fmla="*/ 3537886 w 6689088"/>
              <a:gd name="connsiteY2565" fmla="*/ 1603739 h 6689084"/>
              <a:gd name="connsiteX2566" fmla="*/ 3548052 w 6689088"/>
              <a:gd name="connsiteY2566" fmla="*/ 1613905 h 6689084"/>
              <a:gd name="connsiteX2567" fmla="*/ 3537886 w 6689088"/>
              <a:gd name="connsiteY2567" fmla="*/ 1624072 h 6689084"/>
              <a:gd name="connsiteX2568" fmla="*/ 3527719 w 6689088"/>
              <a:gd name="connsiteY2568" fmla="*/ 1613905 h 6689084"/>
              <a:gd name="connsiteX2569" fmla="*/ 3537886 w 6689088"/>
              <a:gd name="connsiteY2569" fmla="*/ 1603739 h 6689084"/>
              <a:gd name="connsiteX2570" fmla="*/ 3691467 w 6689088"/>
              <a:gd name="connsiteY2570" fmla="*/ 1601559 h 6689084"/>
              <a:gd name="connsiteX2571" fmla="*/ 3703452 w 6689088"/>
              <a:gd name="connsiteY2571" fmla="*/ 1613539 h 6689084"/>
              <a:gd name="connsiteX2572" fmla="*/ 3691467 w 6689088"/>
              <a:gd name="connsiteY2572" fmla="*/ 1625520 h 6689084"/>
              <a:gd name="connsiteX2573" fmla="*/ 3679486 w 6689088"/>
              <a:gd name="connsiteY2573" fmla="*/ 1613539 h 6689084"/>
              <a:gd name="connsiteX2574" fmla="*/ 3691467 w 6689088"/>
              <a:gd name="connsiteY2574" fmla="*/ 1601559 h 6689084"/>
              <a:gd name="connsiteX2575" fmla="*/ 3845418 w 6689088"/>
              <a:gd name="connsiteY2575" fmla="*/ 1599744 h 6689084"/>
              <a:gd name="connsiteX2576" fmla="*/ 3859214 w 6689088"/>
              <a:gd name="connsiteY2576" fmla="*/ 1613539 h 6689084"/>
              <a:gd name="connsiteX2577" fmla="*/ 3845418 w 6689088"/>
              <a:gd name="connsiteY2577" fmla="*/ 1627338 h 6689084"/>
              <a:gd name="connsiteX2578" fmla="*/ 3831619 w 6689088"/>
              <a:gd name="connsiteY2578" fmla="*/ 1613539 h 6689084"/>
              <a:gd name="connsiteX2579" fmla="*/ 3845418 w 6689088"/>
              <a:gd name="connsiteY2579" fmla="*/ 1599744 h 6689084"/>
              <a:gd name="connsiteX2580" fmla="*/ 3999000 w 6689088"/>
              <a:gd name="connsiteY2580" fmla="*/ 1598654 h 6689084"/>
              <a:gd name="connsiteX2581" fmla="*/ 4014251 w 6689088"/>
              <a:gd name="connsiteY2581" fmla="*/ 1613905 h 6689084"/>
              <a:gd name="connsiteX2582" fmla="*/ 3999000 w 6689088"/>
              <a:gd name="connsiteY2582" fmla="*/ 1629153 h 6689084"/>
              <a:gd name="connsiteX2583" fmla="*/ 3983752 w 6689088"/>
              <a:gd name="connsiteY2583" fmla="*/ 1613905 h 6689084"/>
              <a:gd name="connsiteX2584" fmla="*/ 3999000 w 6689088"/>
              <a:gd name="connsiteY2584" fmla="*/ 1598654 h 6689084"/>
              <a:gd name="connsiteX2585" fmla="*/ 4152947 w 6689088"/>
              <a:gd name="connsiteY2585" fmla="*/ 1596477 h 6689084"/>
              <a:gd name="connsiteX2586" fmla="*/ 4170013 w 6689088"/>
              <a:gd name="connsiteY2586" fmla="*/ 1613543 h 6689084"/>
              <a:gd name="connsiteX2587" fmla="*/ 4152947 w 6689088"/>
              <a:gd name="connsiteY2587" fmla="*/ 1630605 h 6689084"/>
              <a:gd name="connsiteX2588" fmla="*/ 4135881 w 6689088"/>
              <a:gd name="connsiteY2588" fmla="*/ 1613543 h 6689084"/>
              <a:gd name="connsiteX2589" fmla="*/ 4152947 w 6689088"/>
              <a:gd name="connsiteY2589" fmla="*/ 1596477 h 6689084"/>
              <a:gd name="connsiteX2590" fmla="*/ 4306528 w 6689088"/>
              <a:gd name="connsiteY2590" fmla="*/ 1594297 h 6689084"/>
              <a:gd name="connsiteX2591" fmla="*/ 4325771 w 6689088"/>
              <a:gd name="connsiteY2591" fmla="*/ 1613539 h 6689084"/>
              <a:gd name="connsiteX2592" fmla="*/ 4306528 w 6689088"/>
              <a:gd name="connsiteY2592" fmla="*/ 1632786 h 6689084"/>
              <a:gd name="connsiteX2593" fmla="*/ 4287286 w 6689088"/>
              <a:gd name="connsiteY2593" fmla="*/ 1613539 h 6689084"/>
              <a:gd name="connsiteX2594" fmla="*/ 4306528 w 6689088"/>
              <a:gd name="connsiteY2594" fmla="*/ 1594297 h 6689084"/>
              <a:gd name="connsiteX2595" fmla="*/ 4460480 w 6689088"/>
              <a:gd name="connsiteY2595" fmla="*/ 1592120 h 6689084"/>
              <a:gd name="connsiteX2596" fmla="*/ 4481898 w 6689088"/>
              <a:gd name="connsiteY2596" fmla="*/ 1613543 h 6689084"/>
              <a:gd name="connsiteX2597" fmla="*/ 4460480 w 6689088"/>
              <a:gd name="connsiteY2597" fmla="*/ 1634966 h 6689084"/>
              <a:gd name="connsiteX2598" fmla="*/ 4439057 w 6689088"/>
              <a:gd name="connsiteY2598" fmla="*/ 1613543 h 6689084"/>
              <a:gd name="connsiteX2599" fmla="*/ 4460480 w 6689088"/>
              <a:gd name="connsiteY2599" fmla="*/ 1592120 h 6689084"/>
              <a:gd name="connsiteX2600" fmla="*/ 4614065 w 6689088"/>
              <a:gd name="connsiteY2600" fmla="*/ 1591030 h 6689084"/>
              <a:gd name="connsiteX2601" fmla="*/ 4636940 w 6689088"/>
              <a:gd name="connsiteY2601" fmla="*/ 1613905 h 6689084"/>
              <a:gd name="connsiteX2602" fmla="*/ 4614065 w 6689088"/>
              <a:gd name="connsiteY2602" fmla="*/ 1636780 h 6689084"/>
              <a:gd name="connsiteX2603" fmla="*/ 4591190 w 6689088"/>
              <a:gd name="connsiteY2603" fmla="*/ 1613905 h 6689084"/>
              <a:gd name="connsiteX2604" fmla="*/ 4614065 w 6689088"/>
              <a:gd name="connsiteY2604" fmla="*/ 1591030 h 6689084"/>
              <a:gd name="connsiteX2605" fmla="*/ 4768008 w 6689088"/>
              <a:gd name="connsiteY2605" fmla="*/ 1588850 h 6689084"/>
              <a:gd name="connsiteX2606" fmla="*/ 4793064 w 6689088"/>
              <a:gd name="connsiteY2606" fmla="*/ 1613901 h 6689084"/>
              <a:gd name="connsiteX2607" fmla="*/ 4768008 w 6689088"/>
              <a:gd name="connsiteY2607" fmla="*/ 1638957 h 6689084"/>
              <a:gd name="connsiteX2608" fmla="*/ 4742956 w 6689088"/>
              <a:gd name="connsiteY2608" fmla="*/ 1613901 h 6689084"/>
              <a:gd name="connsiteX2609" fmla="*/ 4768008 w 6689088"/>
              <a:gd name="connsiteY2609" fmla="*/ 1588850 h 6689084"/>
              <a:gd name="connsiteX2610" fmla="*/ 4921594 w 6689088"/>
              <a:gd name="connsiteY2610" fmla="*/ 1586673 h 6689084"/>
              <a:gd name="connsiteX2611" fmla="*/ 4948826 w 6689088"/>
              <a:gd name="connsiteY2611" fmla="*/ 1613905 h 6689084"/>
              <a:gd name="connsiteX2612" fmla="*/ 4921594 w 6689088"/>
              <a:gd name="connsiteY2612" fmla="*/ 1641137 h 6689084"/>
              <a:gd name="connsiteX2613" fmla="*/ 4894362 w 6689088"/>
              <a:gd name="connsiteY2613" fmla="*/ 1613905 h 6689084"/>
              <a:gd name="connsiteX2614" fmla="*/ 4921594 w 6689088"/>
              <a:gd name="connsiteY2614" fmla="*/ 1586673 h 6689084"/>
              <a:gd name="connsiteX2615" fmla="*/ 5075545 w 6689088"/>
              <a:gd name="connsiteY2615" fmla="*/ 1584131 h 6689084"/>
              <a:gd name="connsiteX2616" fmla="*/ 5105316 w 6689088"/>
              <a:gd name="connsiteY2616" fmla="*/ 1613901 h 6689084"/>
              <a:gd name="connsiteX2617" fmla="*/ 5075545 w 6689088"/>
              <a:gd name="connsiteY2617" fmla="*/ 1643676 h 6689084"/>
              <a:gd name="connsiteX2618" fmla="*/ 5045770 w 6689088"/>
              <a:gd name="connsiteY2618" fmla="*/ 1613901 h 6689084"/>
              <a:gd name="connsiteX2619" fmla="*/ 5075545 w 6689088"/>
              <a:gd name="connsiteY2619" fmla="*/ 1584131 h 6689084"/>
              <a:gd name="connsiteX2620" fmla="*/ 5229126 w 6689088"/>
              <a:gd name="connsiteY2620" fmla="*/ 1581592 h 6689084"/>
              <a:gd name="connsiteX2621" fmla="*/ 5261078 w 6689088"/>
              <a:gd name="connsiteY2621" fmla="*/ 1613543 h 6689084"/>
              <a:gd name="connsiteX2622" fmla="*/ 5229126 w 6689088"/>
              <a:gd name="connsiteY2622" fmla="*/ 1645494 h 6689084"/>
              <a:gd name="connsiteX2623" fmla="*/ 5197175 w 6689088"/>
              <a:gd name="connsiteY2623" fmla="*/ 1613543 h 6689084"/>
              <a:gd name="connsiteX2624" fmla="*/ 5229126 w 6689088"/>
              <a:gd name="connsiteY2624" fmla="*/ 1581592 h 6689084"/>
              <a:gd name="connsiteX2625" fmla="*/ 5383074 w 6689088"/>
              <a:gd name="connsiteY2625" fmla="*/ 1579773 h 6689084"/>
              <a:gd name="connsiteX2626" fmla="*/ 5416844 w 6689088"/>
              <a:gd name="connsiteY2626" fmla="*/ 1613539 h 6689084"/>
              <a:gd name="connsiteX2627" fmla="*/ 5383074 w 6689088"/>
              <a:gd name="connsiteY2627" fmla="*/ 1647309 h 6689084"/>
              <a:gd name="connsiteX2628" fmla="*/ 5349308 w 6689088"/>
              <a:gd name="connsiteY2628" fmla="*/ 1613539 h 6689084"/>
              <a:gd name="connsiteX2629" fmla="*/ 5383074 w 6689088"/>
              <a:gd name="connsiteY2629" fmla="*/ 1579773 h 6689084"/>
              <a:gd name="connsiteX2630" fmla="*/ 5536659 w 6689088"/>
              <a:gd name="connsiteY2630" fmla="*/ 1577231 h 6689084"/>
              <a:gd name="connsiteX2631" fmla="*/ 5572968 w 6689088"/>
              <a:gd name="connsiteY2631" fmla="*/ 1613539 h 6689084"/>
              <a:gd name="connsiteX2632" fmla="*/ 5536659 w 6689088"/>
              <a:gd name="connsiteY2632" fmla="*/ 1649848 h 6689084"/>
              <a:gd name="connsiteX2633" fmla="*/ 5500351 w 6689088"/>
              <a:gd name="connsiteY2633" fmla="*/ 1613539 h 6689084"/>
              <a:gd name="connsiteX2634" fmla="*/ 5536659 w 6689088"/>
              <a:gd name="connsiteY2634" fmla="*/ 1577231 h 6689084"/>
              <a:gd name="connsiteX2635" fmla="*/ 5690606 w 6689088"/>
              <a:gd name="connsiteY2635" fmla="*/ 1574692 h 6689084"/>
              <a:gd name="connsiteX2636" fmla="*/ 5729458 w 6689088"/>
              <a:gd name="connsiteY2636" fmla="*/ 1613543 h 6689084"/>
              <a:gd name="connsiteX2637" fmla="*/ 5690606 w 6689088"/>
              <a:gd name="connsiteY2637" fmla="*/ 1652390 h 6689084"/>
              <a:gd name="connsiteX2638" fmla="*/ 5651756 w 6689088"/>
              <a:gd name="connsiteY2638" fmla="*/ 1613543 h 6689084"/>
              <a:gd name="connsiteX2639" fmla="*/ 5690606 w 6689088"/>
              <a:gd name="connsiteY2639" fmla="*/ 1574692 h 6689084"/>
              <a:gd name="connsiteX2640" fmla="*/ 5844554 w 6689088"/>
              <a:gd name="connsiteY2640" fmla="*/ 1572512 h 6689084"/>
              <a:gd name="connsiteX2641" fmla="*/ 5885585 w 6689088"/>
              <a:gd name="connsiteY2641" fmla="*/ 1613539 h 6689084"/>
              <a:gd name="connsiteX2642" fmla="*/ 5844554 w 6689088"/>
              <a:gd name="connsiteY2642" fmla="*/ 1654567 h 6689084"/>
              <a:gd name="connsiteX2643" fmla="*/ 5803526 w 6689088"/>
              <a:gd name="connsiteY2643" fmla="*/ 1613539 h 6689084"/>
              <a:gd name="connsiteX2644" fmla="*/ 5844554 w 6689088"/>
              <a:gd name="connsiteY2644" fmla="*/ 1572512 h 6689084"/>
              <a:gd name="connsiteX2645" fmla="*/ 5998136 w 6689088"/>
              <a:gd name="connsiteY2645" fmla="*/ 1569973 h 6689084"/>
              <a:gd name="connsiteX2646" fmla="*/ 6041706 w 6689088"/>
              <a:gd name="connsiteY2646" fmla="*/ 1613543 h 6689084"/>
              <a:gd name="connsiteX2647" fmla="*/ 5998136 w 6689088"/>
              <a:gd name="connsiteY2647" fmla="*/ 1657113 h 6689084"/>
              <a:gd name="connsiteX2648" fmla="*/ 5954566 w 6689088"/>
              <a:gd name="connsiteY2648" fmla="*/ 1613543 h 6689084"/>
              <a:gd name="connsiteX2649" fmla="*/ 5998136 w 6689088"/>
              <a:gd name="connsiteY2649" fmla="*/ 1569973 h 6689084"/>
              <a:gd name="connsiteX2650" fmla="*/ 6152083 w 6689088"/>
              <a:gd name="connsiteY2650" fmla="*/ 1567431 h 6689084"/>
              <a:gd name="connsiteX2651" fmla="*/ 6198196 w 6689088"/>
              <a:gd name="connsiteY2651" fmla="*/ 1613543 h 6689084"/>
              <a:gd name="connsiteX2652" fmla="*/ 6152083 w 6689088"/>
              <a:gd name="connsiteY2652" fmla="*/ 1659656 h 6689084"/>
              <a:gd name="connsiteX2653" fmla="*/ 6105974 w 6689088"/>
              <a:gd name="connsiteY2653" fmla="*/ 1613543 h 6689084"/>
              <a:gd name="connsiteX2654" fmla="*/ 6152083 w 6689088"/>
              <a:gd name="connsiteY2654" fmla="*/ 1567431 h 6689084"/>
              <a:gd name="connsiteX2655" fmla="*/ 6305672 w 6689088"/>
              <a:gd name="connsiteY2655" fmla="*/ 1564888 h 6689084"/>
              <a:gd name="connsiteX2656" fmla="*/ 6354323 w 6689088"/>
              <a:gd name="connsiteY2656" fmla="*/ 1613543 h 6689084"/>
              <a:gd name="connsiteX2657" fmla="*/ 6305672 w 6689088"/>
              <a:gd name="connsiteY2657" fmla="*/ 1662194 h 6689084"/>
              <a:gd name="connsiteX2658" fmla="*/ 6257016 w 6689088"/>
              <a:gd name="connsiteY2658" fmla="*/ 1613543 h 6689084"/>
              <a:gd name="connsiteX2659" fmla="*/ 6305672 w 6689088"/>
              <a:gd name="connsiteY2659" fmla="*/ 1564888 h 6689084"/>
              <a:gd name="connsiteX2660" fmla="*/ 6459619 w 6689088"/>
              <a:gd name="connsiteY2660" fmla="*/ 1562346 h 6689084"/>
              <a:gd name="connsiteX2661" fmla="*/ 6510813 w 6689088"/>
              <a:gd name="connsiteY2661" fmla="*/ 1613539 h 6689084"/>
              <a:gd name="connsiteX2662" fmla="*/ 6459619 w 6689088"/>
              <a:gd name="connsiteY2662" fmla="*/ 1664733 h 6689084"/>
              <a:gd name="connsiteX2663" fmla="*/ 6408422 w 6689088"/>
              <a:gd name="connsiteY2663" fmla="*/ 1613539 h 6689084"/>
              <a:gd name="connsiteX2664" fmla="*/ 6459619 w 6689088"/>
              <a:gd name="connsiteY2664" fmla="*/ 1562346 h 6689084"/>
              <a:gd name="connsiteX2665" fmla="*/ 6613197 w 6689088"/>
              <a:gd name="connsiteY2665" fmla="*/ 1560169 h 6689084"/>
              <a:gd name="connsiteX2666" fmla="*/ 6666575 w 6689088"/>
              <a:gd name="connsiteY2666" fmla="*/ 1613543 h 6689084"/>
              <a:gd name="connsiteX2667" fmla="*/ 6613197 w 6689088"/>
              <a:gd name="connsiteY2667" fmla="*/ 1666914 h 6689084"/>
              <a:gd name="connsiteX2668" fmla="*/ 6559826 w 6689088"/>
              <a:gd name="connsiteY2668" fmla="*/ 1613543 h 6689084"/>
              <a:gd name="connsiteX2669" fmla="*/ 6613197 w 6689088"/>
              <a:gd name="connsiteY2669" fmla="*/ 1560169 h 6689084"/>
              <a:gd name="connsiteX2670" fmla="*/ 2153808 w 6689088"/>
              <a:gd name="connsiteY2670" fmla="*/ 1459596 h 6689084"/>
              <a:gd name="connsiteX2671" fmla="*/ 2154170 w 6689088"/>
              <a:gd name="connsiteY2671" fmla="*/ 1459958 h 6689084"/>
              <a:gd name="connsiteX2672" fmla="*/ 2153808 w 6689088"/>
              <a:gd name="connsiteY2672" fmla="*/ 1460324 h 6689084"/>
              <a:gd name="connsiteX2673" fmla="*/ 2153445 w 6689088"/>
              <a:gd name="connsiteY2673" fmla="*/ 1459958 h 6689084"/>
              <a:gd name="connsiteX2674" fmla="*/ 2153808 w 6689088"/>
              <a:gd name="connsiteY2674" fmla="*/ 1459596 h 6689084"/>
              <a:gd name="connsiteX2675" fmla="*/ 1692331 w 6689088"/>
              <a:gd name="connsiteY2675" fmla="*/ 1459596 h 6689084"/>
              <a:gd name="connsiteX2676" fmla="*/ 1692694 w 6689088"/>
              <a:gd name="connsiteY2676" fmla="*/ 1459958 h 6689084"/>
              <a:gd name="connsiteX2677" fmla="*/ 1692331 w 6689088"/>
              <a:gd name="connsiteY2677" fmla="*/ 1460324 h 6689084"/>
              <a:gd name="connsiteX2678" fmla="*/ 1691969 w 6689088"/>
              <a:gd name="connsiteY2678" fmla="*/ 1459958 h 6689084"/>
              <a:gd name="connsiteX2679" fmla="*/ 1692331 w 6689088"/>
              <a:gd name="connsiteY2679" fmla="*/ 1459596 h 6689084"/>
              <a:gd name="connsiteX2680" fmla="*/ 1538746 w 6689088"/>
              <a:gd name="connsiteY2680" fmla="*/ 1459596 h 6689084"/>
              <a:gd name="connsiteX2681" fmla="*/ 1539108 w 6689088"/>
              <a:gd name="connsiteY2681" fmla="*/ 1459958 h 6689084"/>
              <a:gd name="connsiteX2682" fmla="*/ 1538746 w 6689088"/>
              <a:gd name="connsiteY2682" fmla="*/ 1460324 h 6689084"/>
              <a:gd name="connsiteX2683" fmla="*/ 1538384 w 6689088"/>
              <a:gd name="connsiteY2683" fmla="*/ 1459958 h 6689084"/>
              <a:gd name="connsiteX2684" fmla="*/ 1538746 w 6689088"/>
              <a:gd name="connsiteY2684" fmla="*/ 1459596 h 6689084"/>
              <a:gd name="connsiteX2685" fmla="*/ 1384795 w 6689088"/>
              <a:gd name="connsiteY2685" fmla="*/ 1459230 h 6689084"/>
              <a:gd name="connsiteX2686" fmla="*/ 1385523 w 6689088"/>
              <a:gd name="connsiteY2686" fmla="*/ 1459958 h 6689084"/>
              <a:gd name="connsiteX2687" fmla="*/ 1384795 w 6689088"/>
              <a:gd name="connsiteY2687" fmla="*/ 1460682 h 6689084"/>
              <a:gd name="connsiteX2688" fmla="*/ 1384071 w 6689088"/>
              <a:gd name="connsiteY2688" fmla="*/ 1459958 h 6689084"/>
              <a:gd name="connsiteX2689" fmla="*/ 1384795 w 6689088"/>
              <a:gd name="connsiteY2689" fmla="*/ 1459230 h 6689084"/>
              <a:gd name="connsiteX2690" fmla="*/ 2307393 w 6689088"/>
              <a:gd name="connsiteY2690" fmla="*/ 1458140 h 6689084"/>
              <a:gd name="connsiteX2691" fmla="*/ 2308845 w 6689088"/>
              <a:gd name="connsiteY2691" fmla="*/ 1459592 h 6689084"/>
              <a:gd name="connsiteX2692" fmla="*/ 2307393 w 6689088"/>
              <a:gd name="connsiteY2692" fmla="*/ 1461044 h 6689084"/>
              <a:gd name="connsiteX2693" fmla="*/ 2305941 w 6689088"/>
              <a:gd name="connsiteY2693" fmla="*/ 1459592 h 6689084"/>
              <a:gd name="connsiteX2694" fmla="*/ 2307393 w 6689088"/>
              <a:gd name="connsiteY2694" fmla="*/ 1458140 h 6689084"/>
              <a:gd name="connsiteX2695" fmla="*/ 2461340 w 6689088"/>
              <a:gd name="connsiteY2695" fmla="*/ 1457777 h 6689084"/>
              <a:gd name="connsiteX2696" fmla="*/ 2463521 w 6689088"/>
              <a:gd name="connsiteY2696" fmla="*/ 1459954 h 6689084"/>
              <a:gd name="connsiteX2697" fmla="*/ 2461340 w 6689088"/>
              <a:gd name="connsiteY2697" fmla="*/ 1462134 h 6689084"/>
              <a:gd name="connsiteX2698" fmla="*/ 2459164 w 6689088"/>
              <a:gd name="connsiteY2698" fmla="*/ 1459954 h 6689084"/>
              <a:gd name="connsiteX2699" fmla="*/ 2461340 w 6689088"/>
              <a:gd name="connsiteY2699" fmla="*/ 1457777 h 6689084"/>
              <a:gd name="connsiteX2700" fmla="*/ 2614925 w 6689088"/>
              <a:gd name="connsiteY2700" fmla="*/ 1456687 h 6689084"/>
              <a:gd name="connsiteX2701" fmla="*/ 2618192 w 6689088"/>
              <a:gd name="connsiteY2701" fmla="*/ 1459954 h 6689084"/>
              <a:gd name="connsiteX2702" fmla="*/ 2614925 w 6689088"/>
              <a:gd name="connsiteY2702" fmla="*/ 1463225 h 6689084"/>
              <a:gd name="connsiteX2703" fmla="*/ 2611659 w 6689088"/>
              <a:gd name="connsiteY2703" fmla="*/ 1459954 h 6689084"/>
              <a:gd name="connsiteX2704" fmla="*/ 2614925 w 6689088"/>
              <a:gd name="connsiteY2704" fmla="*/ 1456687 h 6689084"/>
              <a:gd name="connsiteX2705" fmla="*/ 2768873 w 6689088"/>
              <a:gd name="connsiteY2705" fmla="*/ 1455601 h 6689084"/>
              <a:gd name="connsiteX2706" fmla="*/ 2773230 w 6689088"/>
              <a:gd name="connsiteY2706" fmla="*/ 1459958 h 6689084"/>
              <a:gd name="connsiteX2707" fmla="*/ 2768873 w 6689088"/>
              <a:gd name="connsiteY2707" fmla="*/ 1464315 h 6689084"/>
              <a:gd name="connsiteX2708" fmla="*/ 2764516 w 6689088"/>
              <a:gd name="connsiteY2708" fmla="*/ 1459958 h 6689084"/>
              <a:gd name="connsiteX2709" fmla="*/ 2768873 w 6689088"/>
              <a:gd name="connsiteY2709" fmla="*/ 1455601 h 6689084"/>
              <a:gd name="connsiteX2710" fmla="*/ 2922458 w 6689088"/>
              <a:gd name="connsiteY2710" fmla="*/ 1454149 h 6689084"/>
              <a:gd name="connsiteX2711" fmla="*/ 2928267 w 6689088"/>
              <a:gd name="connsiteY2711" fmla="*/ 1459958 h 6689084"/>
              <a:gd name="connsiteX2712" fmla="*/ 2922458 w 6689088"/>
              <a:gd name="connsiteY2712" fmla="*/ 1465767 h 6689084"/>
              <a:gd name="connsiteX2713" fmla="*/ 2916649 w 6689088"/>
              <a:gd name="connsiteY2713" fmla="*/ 1459958 h 6689084"/>
              <a:gd name="connsiteX2714" fmla="*/ 2922458 w 6689088"/>
              <a:gd name="connsiteY2714" fmla="*/ 1454149 h 6689084"/>
              <a:gd name="connsiteX2715" fmla="*/ 3076406 w 6689088"/>
              <a:gd name="connsiteY2715" fmla="*/ 1452696 h 6689084"/>
              <a:gd name="connsiteX2716" fmla="*/ 3083667 w 6689088"/>
              <a:gd name="connsiteY2716" fmla="*/ 1459958 h 6689084"/>
              <a:gd name="connsiteX2717" fmla="*/ 3076406 w 6689088"/>
              <a:gd name="connsiteY2717" fmla="*/ 1467220 h 6689084"/>
              <a:gd name="connsiteX2718" fmla="*/ 3069144 w 6689088"/>
              <a:gd name="connsiteY2718" fmla="*/ 1459958 h 6689084"/>
              <a:gd name="connsiteX2719" fmla="*/ 3076406 w 6689088"/>
              <a:gd name="connsiteY2719" fmla="*/ 1452696 h 6689084"/>
              <a:gd name="connsiteX2720" fmla="*/ 3230353 w 6689088"/>
              <a:gd name="connsiteY2720" fmla="*/ 1450516 h 6689084"/>
              <a:gd name="connsiteX2721" fmla="*/ 3239433 w 6689088"/>
              <a:gd name="connsiteY2721" fmla="*/ 1459592 h 6689084"/>
              <a:gd name="connsiteX2722" fmla="*/ 3230353 w 6689088"/>
              <a:gd name="connsiteY2722" fmla="*/ 1468672 h 6689084"/>
              <a:gd name="connsiteX2723" fmla="*/ 3221277 w 6689088"/>
              <a:gd name="connsiteY2723" fmla="*/ 1459592 h 6689084"/>
              <a:gd name="connsiteX2724" fmla="*/ 3230353 w 6689088"/>
              <a:gd name="connsiteY2724" fmla="*/ 1450516 h 6689084"/>
              <a:gd name="connsiteX2725" fmla="*/ 3383934 w 6689088"/>
              <a:gd name="connsiteY2725" fmla="*/ 1449791 h 6689084"/>
              <a:gd name="connsiteX2726" fmla="*/ 3394100 w 6689088"/>
              <a:gd name="connsiteY2726" fmla="*/ 1459958 h 6689084"/>
              <a:gd name="connsiteX2727" fmla="*/ 3383934 w 6689088"/>
              <a:gd name="connsiteY2727" fmla="*/ 1470124 h 6689084"/>
              <a:gd name="connsiteX2728" fmla="*/ 3373768 w 6689088"/>
              <a:gd name="connsiteY2728" fmla="*/ 1459958 h 6689084"/>
              <a:gd name="connsiteX2729" fmla="*/ 3383934 w 6689088"/>
              <a:gd name="connsiteY2729" fmla="*/ 1449791 h 6689084"/>
              <a:gd name="connsiteX2730" fmla="*/ 3537882 w 6689088"/>
              <a:gd name="connsiteY2730" fmla="*/ 1447977 h 6689084"/>
              <a:gd name="connsiteX2731" fmla="*/ 3549866 w 6689088"/>
              <a:gd name="connsiteY2731" fmla="*/ 1459958 h 6689084"/>
              <a:gd name="connsiteX2732" fmla="*/ 3537882 w 6689088"/>
              <a:gd name="connsiteY2732" fmla="*/ 1471939 h 6689084"/>
              <a:gd name="connsiteX2733" fmla="*/ 3525901 w 6689088"/>
              <a:gd name="connsiteY2733" fmla="*/ 1459958 h 6689084"/>
              <a:gd name="connsiteX2734" fmla="*/ 3537882 w 6689088"/>
              <a:gd name="connsiteY2734" fmla="*/ 1447977 h 6689084"/>
              <a:gd name="connsiteX2735" fmla="*/ 3691467 w 6689088"/>
              <a:gd name="connsiteY2735" fmla="*/ 1445797 h 6689084"/>
              <a:gd name="connsiteX2736" fmla="*/ 3705266 w 6689088"/>
              <a:gd name="connsiteY2736" fmla="*/ 1459596 h 6689084"/>
              <a:gd name="connsiteX2737" fmla="*/ 3691467 w 6689088"/>
              <a:gd name="connsiteY2737" fmla="*/ 1473391 h 6689084"/>
              <a:gd name="connsiteX2738" fmla="*/ 3677672 w 6689088"/>
              <a:gd name="connsiteY2738" fmla="*/ 1459596 h 6689084"/>
              <a:gd name="connsiteX2739" fmla="*/ 3691467 w 6689088"/>
              <a:gd name="connsiteY2739" fmla="*/ 1445797 h 6689084"/>
              <a:gd name="connsiteX2740" fmla="*/ 3845414 w 6689088"/>
              <a:gd name="connsiteY2740" fmla="*/ 1444706 h 6689084"/>
              <a:gd name="connsiteX2741" fmla="*/ 3860666 w 6689088"/>
              <a:gd name="connsiteY2741" fmla="*/ 1459954 h 6689084"/>
              <a:gd name="connsiteX2742" fmla="*/ 3845414 w 6689088"/>
              <a:gd name="connsiteY2742" fmla="*/ 1475205 h 6689084"/>
              <a:gd name="connsiteX2743" fmla="*/ 3830167 w 6689088"/>
              <a:gd name="connsiteY2743" fmla="*/ 1459954 h 6689084"/>
              <a:gd name="connsiteX2744" fmla="*/ 3845414 w 6689088"/>
              <a:gd name="connsiteY2744" fmla="*/ 1444706 h 6689084"/>
              <a:gd name="connsiteX2745" fmla="*/ 3999000 w 6689088"/>
              <a:gd name="connsiteY2745" fmla="*/ 1442892 h 6689084"/>
              <a:gd name="connsiteX2746" fmla="*/ 4016066 w 6689088"/>
              <a:gd name="connsiteY2746" fmla="*/ 1459958 h 6689084"/>
              <a:gd name="connsiteX2747" fmla="*/ 3999000 w 6689088"/>
              <a:gd name="connsiteY2747" fmla="*/ 1477020 h 6689084"/>
              <a:gd name="connsiteX2748" fmla="*/ 3981934 w 6689088"/>
              <a:gd name="connsiteY2748" fmla="*/ 1459958 h 6689084"/>
              <a:gd name="connsiteX2749" fmla="*/ 3999000 w 6689088"/>
              <a:gd name="connsiteY2749" fmla="*/ 1442892 h 6689084"/>
              <a:gd name="connsiteX2750" fmla="*/ 4152947 w 6689088"/>
              <a:gd name="connsiteY2750" fmla="*/ 1440715 h 6689084"/>
              <a:gd name="connsiteX2751" fmla="*/ 4172194 w 6689088"/>
              <a:gd name="connsiteY2751" fmla="*/ 1459958 h 6689084"/>
              <a:gd name="connsiteX2752" fmla="*/ 4152947 w 6689088"/>
              <a:gd name="connsiteY2752" fmla="*/ 1479200 h 6689084"/>
              <a:gd name="connsiteX2753" fmla="*/ 4133704 w 6689088"/>
              <a:gd name="connsiteY2753" fmla="*/ 1459958 h 6689084"/>
              <a:gd name="connsiteX2754" fmla="*/ 4152947 w 6689088"/>
              <a:gd name="connsiteY2754" fmla="*/ 1440715 h 6689084"/>
              <a:gd name="connsiteX2755" fmla="*/ 4306532 w 6689088"/>
              <a:gd name="connsiteY2755" fmla="*/ 1438535 h 6689084"/>
              <a:gd name="connsiteX2756" fmla="*/ 4327952 w 6689088"/>
              <a:gd name="connsiteY2756" fmla="*/ 1459958 h 6689084"/>
              <a:gd name="connsiteX2757" fmla="*/ 4306532 w 6689088"/>
              <a:gd name="connsiteY2757" fmla="*/ 1481381 h 6689084"/>
              <a:gd name="connsiteX2758" fmla="*/ 4285110 w 6689088"/>
              <a:gd name="connsiteY2758" fmla="*/ 1459958 h 6689084"/>
              <a:gd name="connsiteX2759" fmla="*/ 4306532 w 6689088"/>
              <a:gd name="connsiteY2759" fmla="*/ 1438535 h 6689084"/>
              <a:gd name="connsiteX2760" fmla="*/ 4460480 w 6689088"/>
              <a:gd name="connsiteY2760" fmla="*/ 1437083 h 6689084"/>
              <a:gd name="connsiteX2761" fmla="*/ 4483355 w 6689088"/>
              <a:gd name="connsiteY2761" fmla="*/ 1459958 h 6689084"/>
              <a:gd name="connsiteX2762" fmla="*/ 4460480 w 6689088"/>
              <a:gd name="connsiteY2762" fmla="*/ 1482833 h 6689084"/>
              <a:gd name="connsiteX2763" fmla="*/ 4437604 w 6689088"/>
              <a:gd name="connsiteY2763" fmla="*/ 1459958 h 6689084"/>
              <a:gd name="connsiteX2764" fmla="*/ 4460480 w 6689088"/>
              <a:gd name="connsiteY2764" fmla="*/ 1437083 h 6689084"/>
              <a:gd name="connsiteX2765" fmla="*/ 4614061 w 6689088"/>
              <a:gd name="connsiteY2765" fmla="*/ 1434906 h 6689084"/>
              <a:gd name="connsiteX2766" fmla="*/ 4639116 w 6689088"/>
              <a:gd name="connsiteY2766" fmla="*/ 1459958 h 6689084"/>
              <a:gd name="connsiteX2767" fmla="*/ 4614061 w 6689088"/>
              <a:gd name="connsiteY2767" fmla="*/ 1485013 h 6689084"/>
              <a:gd name="connsiteX2768" fmla="*/ 4589010 w 6689088"/>
              <a:gd name="connsiteY2768" fmla="*/ 1459958 h 6689084"/>
              <a:gd name="connsiteX2769" fmla="*/ 4614061 w 6689088"/>
              <a:gd name="connsiteY2769" fmla="*/ 1434906 h 6689084"/>
              <a:gd name="connsiteX2770" fmla="*/ 4768012 w 6689088"/>
              <a:gd name="connsiteY2770" fmla="*/ 1432726 h 6689084"/>
              <a:gd name="connsiteX2771" fmla="*/ 4795244 w 6689088"/>
              <a:gd name="connsiteY2771" fmla="*/ 1459958 h 6689084"/>
              <a:gd name="connsiteX2772" fmla="*/ 4768012 w 6689088"/>
              <a:gd name="connsiteY2772" fmla="*/ 1487190 h 6689084"/>
              <a:gd name="connsiteX2773" fmla="*/ 4740780 w 6689088"/>
              <a:gd name="connsiteY2773" fmla="*/ 1459958 h 6689084"/>
              <a:gd name="connsiteX2774" fmla="*/ 4768012 w 6689088"/>
              <a:gd name="connsiteY2774" fmla="*/ 1432726 h 6689084"/>
              <a:gd name="connsiteX2775" fmla="*/ 4921594 w 6689088"/>
              <a:gd name="connsiteY2775" fmla="*/ 1430183 h 6689084"/>
              <a:gd name="connsiteX2776" fmla="*/ 4951368 w 6689088"/>
              <a:gd name="connsiteY2776" fmla="*/ 1459954 h 6689084"/>
              <a:gd name="connsiteX2777" fmla="*/ 4921594 w 6689088"/>
              <a:gd name="connsiteY2777" fmla="*/ 1489729 h 6689084"/>
              <a:gd name="connsiteX2778" fmla="*/ 4891823 w 6689088"/>
              <a:gd name="connsiteY2778" fmla="*/ 1459954 h 6689084"/>
              <a:gd name="connsiteX2779" fmla="*/ 4921594 w 6689088"/>
              <a:gd name="connsiteY2779" fmla="*/ 1430183 h 6689084"/>
              <a:gd name="connsiteX2780" fmla="*/ 5075541 w 6689088"/>
              <a:gd name="connsiteY2780" fmla="*/ 1428007 h 6689084"/>
              <a:gd name="connsiteX2781" fmla="*/ 5107492 w 6689088"/>
              <a:gd name="connsiteY2781" fmla="*/ 1459958 h 6689084"/>
              <a:gd name="connsiteX2782" fmla="*/ 5075541 w 6689088"/>
              <a:gd name="connsiteY2782" fmla="*/ 1491909 h 6689084"/>
              <a:gd name="connsiteX2783" fmla="*/ 5043590 w 6689088"/>
              <a:gd name="connsiteY2783" fmla="*/ 1459958 h 6689084"/>
              <a:gd name="connsiteX2784" fmla="*/ 5075541 w 6689088"/>
              <a:gd name="connsiteY2784" fmla="*/ 1428007 h 6689084"/>
              <a:gd name="connsiteX2785" fmla="*/ 5229126 w 6689088"/>
              <a:gd name="connsiteY2785" fmla="*/ 1426192 h 6689084"/>
              <a:gd name="connsiteX2786" fmla="*/ 5262892 w 6689088"/>
              <a:gd name="connsiteY2786" fmla="*/ 1459958 h 6689084"/>
              <a:gd name="connsiteX2787" fmla="*/ 5229126 w 6689088"/>
              <a:gd name="connsiteY2787" fmla="*/ 1493724 h 6689084"/>
              <a:gd name="connsiteX2788" fmla="*/ 5195360 w 6689088"/>
              <a:gd name="connsiteY2788" fmla="*/ 1459958 h 6689084"/>
              <a:gd name="connsiteX2789" fmla="*/ 5229126 w 6689088"/>
              <a:gd name="connsiteY2789" fmla="*/ 1426192 h 6689084"/>
              <a:gd name="connsiteX2790" fmla="*/ 5383074 w 6689088"/>
              <a:gd name="connsiteY2790" fmla="*/ 1423650 h 6689084"/>
              <a:gd name="connsiteX2791" fmla="*/ 5419382 w 6689088"/>
              <a:gd name="connsiteY2791" fmla="*/ 1459958 h 6689084"/>
              <a:gd name="connsiteX2792" fmla="*/ 5383074 w 6689088"/>
              <a:gd name="connsiteY2792" fmla="*/ 1496266 h 6689084"/>
              <a:gd name="connsiteX2793" fmla="*/ 5346766 w 6689088"/>
              <a:gd name="connsiteY2793" fmla="*/ 1459958 h 6689084"/>
              <a:gd name="connsiteX2794" fmla="*/ 5383074 w 6689088"/>
              <a:gd name="connsiteY2794" fmla="*/ 1423650 h 6689084"/>
              <a:gd name="connsiteX2795" fmla="*/ 5536659 w 6689088"/>
              <a:gd name="connsiteY2795" fmla="*/ 1421107 h 6689084"/>
              <a:gd name="connsiteX2796" fmla="*/ 5575506 w 6689088"/>
              <a:gd name="connsiteY2796" fmla="*/ 1459958 h 6689084"/>
              <a:gd name="connsiteX2797" fmla="*/ 5536659 w 6689088"/>
              <a:gd name="connsiteY2797" fmla="*/ 1498805 h 6689084"/>
              <a:gd name="connsiteX2798" fmla="*/ 5497808 w 6689088"/>
              <a:gd name="connsiteY2798" fmla="*/ 1459958 h 6689084"/>
              <a:gd name="connsiteX2799" fmla="*/ 5536659 w 6689088"/>
              <a:gd name="connsiteY2799" fmla="*/ 1421107 h 6689084"/>
              <a:gd name="connsiteX2800" fmla="*/ 5690606 w 6689088"/>
              <a:gd name="connsiteY2800" fmla="*/ 1418930 h 6689084"/>
              <a:gd name="connsiteX2801" fmla="*/ 5731638 w 6689088"/>
              <a:gd name="connsiteY2801" fmla="*/ 1459958 h 6689084"/>
              <a:gd name="connsiteX2802" fmla="*/ 5690606 w 6689088"/>
              <a:gd name="connsiteY2802" fmla="*/ 1500985 h 6689084"/>
              <a:gd name="connsiteX2803" fmla="*/ 5649579 w 6689088"/>
              <a:gd name="connsiteY2803" fmla="*/ 1459958 h 6689084"/>
              <a:gd name="connsiteX2804" fmla="*/ 5690606 w 6689088"/>
              <a:gd name="connsiteY2804" fmla="*/ 1418930 h 6689084"/>
              <a:gd name="connsiteX2805" fmla="*/ 5844554 w 6689088"/>
              <a:gd name="connsiteY2805" fmla="*/ 1416388 h 6689084"/>
              <a:gd name="connsiteX2806" fmla="*/ 5888124 w 6689088"/>
              <a:gd name="connsiteY2806" fmla="*/ 1459958 h 6689084"/>
              <a:gd name="connsiteX2807" fmla="*/ 5844554 w 6689088"/>
              <a:gd name="connsiteY2807" fmla="*/ 1503528 h 6689084"/>
              <a:gd name="connsiteX2808" fmla="*/ 5800984 w 6689088"/>
              <a:gd name="connsiteY2808" fmla="*/ 1459958 h 6689084"/>
              <a:gd name="connsiteX2809" fmla="*/ 5844554 w 6689088"/>
              <a:gd name="connsiteY2809" fmla="*/ 1416388 h 6689084"/>
              <a:gd name="connsiteX2810" fmla="*/ 5998136 w 6689088"/>
              <a:gd name="connsiteY2810" fmla="*/ 1413845 h 6689084"/>
              <a:gd name="connsiteX2811" fmla="*/ 6044248 w 6689088"/>
              <a:gd name="connsiteY2811" fmla="*/ 1459958 h 6689084"/>
              <a:gd name="connsiteX2812" fmla="*/ 5998136 w 6689088"/>
              <a:gd name="connsiteY2812" fmla="*/ 1506070 h 6689084"/>
              <a:gd name="connsiteX2813" fmla="*/ 5952026 w 6689088"/>
              <a:gd name="connsiteY2813" fmla="*/ 1459958 h 6689084"/>
              <a:gd name="connsiteX2814" fmla="*/ 5998136 w 6689088"/>
              <a:gd name="connsiteY2814" fmla="*/ 1413845 h 6689084"/>
              <a:gd name="connsiteX2815" fmla="*/ 6152083 w 6689088"/>
              <a:gd name="connsiteY2815" fmla="*/ 1411303 h 6689084"/>
              <a:gd name="connsiteX2816" fmla="*/ 6200738 w 6689088"/>
              <a:gd name="connsiteY2816" fmla="*/ 1459958 h 6689084"/>
              <a:gd name="connsiteX2817" fmla="*/ 6152083 w 6689088"/>
              <a:gd name="connsiteY2817" fmla="*/ 1508609 h 6689084"/>
              <a:gd name="connsiteX2818" fmla="*/ 6103432 w 6689088"/>
              <a:gd name="connsiteY2818" fmla="*/ 1459958 h 6689084"/>
              <a:gd name="connsiteX2819" fmla="*/ 6152083 w 6689088"/>
              <a:gd name="connsiteY2819" fmla="*/ 1411303 h 6689084"/>
              <a:gd name="connsiteX2820" fmla="*/ 6305672 w 6689088"/>
              <a:gd name="connsiteY2820" fmla="*/ 1408760 h 6689084"/>
              <a:gd name="connsiteX2821" fmla="*/ 6356866 w 6689088"/>
              <a:gd name="connsiteY2821" fmla="*/ 1459954 h 6689084"/>
              <a:gd name="connsiteX2822" fmla="*/ 6305672 w 6689088"/>
              <a:gd name="connsiteY2822" fmla="*/ 1511148 h 6689084"/>
              <a:gd name="connsiteX2823" fmla="*/ 6254474 w 6689088"/>
              <a:gd name="connsiteY2823" fmla="*/ 1459954 h 6689084"/>
              <a:gd name="connsiteX2824" fmla="*/ 6305672 w 6689088"/>
              <a:gd name="connsiteY2824" fmla="*/ 1408760 h 6689084"/>
              <a:gd name="connsiteX2825" fmla="*/ 6459616 w 6689088"/>
              <a:gd name="connsiteY2825" fmla="*/ 1406584 h 6689084"/>
              <a:gd name="connsiteX2826" fmla="*/ 6512990 w 6689088"/>
              <a:gd name="connsiteY2826" fmla="*/ 1459958 h 6689084"/>
              <a:gd name="connsiteX2827" fmla="*/ 6459616 w 6689088"/>
              <a:gd name="connsiteY2827" fmla="*/ 1513328 h 6689084"/>
              <a:gd name="connsiteX2828" fmla="*/ 6406241 w 6689088"/>
              <a:gd name="connsiteY2828" fmla="*/ 1459958 h 6689084"/>
              <a:gd name="connsiteX2829" fmla="*/ 6459616 w 6689088"/>
              <a:gd name="connsiteY2829" fmla="*/ 1406584 h 6689084"/>
              <a:gd name="connsiteX2830" fmla="*/ 6613200 w 6689088"/>
              <a:gd name="connsiteY2830" fmla="*/ 1403679 h 6689084"/>
              <a:gd name="connsiteX2831" fmla="*/ 6669476 w 6689088"/>
              <a:gd name="connsiteY2831" fmla="*/ 1459958 h 6689084"/>
              <a:gd name="connsiteX2832" fmla="*/ 6613200 w 6689088"/>
              <a:gd name="connsiteY2832" fmla="*/ 1516233 h 6689084"/>
              <a:gd name="connsiteX2833" fmla="*/ 6556922 w 6689088"/>
              <a:gd name="connsiteY2833" fmla="*/ 1459958 h 6689084"/>
              <a:gd name="connsiteX2834" fmla="*/ 6613200 w 6689088"/>
              <a:gd name="connsiteY2834" fmla="*/ 1403679 h 6689084"/>
              <a:gd name="connsiteX2835" fmla="*/ 1999860 w 6689088"/>
              <a:gd name="connsiteY2835" fmla="*/ 1305645 h 6689084"/>
              <a:gd name="connsiteX2836" fmla="*/ 2000222 w 6689088"/>
              <a:gd name="connsiteY2836" fmla="*/ 1306007 h 6689084"/>
              <a:gd name="connsiteX2837" fmla="*/ 1999860 w 6689088"/>
              <a:gd name="connsiteY2837" fmla="*/ 1306373 h 6689084"/>
              <a:gd name="connsiteX2838" fmla="*/ 1999498 w 6689088"/>
              <a:gd name="connsiteY2838" fmla="*/ 1306007 h 6689084"/>
              <a:gd name="connsiteX2839" fmla="*/ 1999860 w 6689088"/>
              <a:gd name="connsiteY2839" fmla="*/ 1305645 h 6689084"/>
              <a:gd name="connsiteX2840" fmla="*/ 1538746 w 6689088"/>
              <a:gd name="connsiteY2840" fmla="*/ 1305645 h 6689084"/>
              <a:gd name="connsiteX2841" fmla="*/ 1539108 w 6689088"/>
              <a:gd name="connsiteY2841" fmla="*/ 1306007 h 6689084"/>
              <a:gd name="connsiteX2842" fmla="*/ 1538746 w 6689088"/>
              <a:gd name="connsiteY2842" fmla="*/ 1306373 h 6689084"/>
              <a:gd name="connsiteX2843" fmla="*/ 1538384 w 6689088"/>
              <a:gd name="connsiteY2843" fmla="*/ 1306007 h 6689084"/>
              <a:gd name="connsiteX2844" fmla="*/ 1538746 w 6689088"/>
              <a:gd name="connsiteY2844" fmla="*/ 1305645 h 6689084"/>
              <a:gd name="connsiteX2845" fmla="*/ 1384799 w 6689088"/>
              <a:gd name="connsiteY2845" fmla="*/ 1305645 h 6689084"/>
              <a:gd name="connsiteX2846" fmla="*/ 1385161 w 6689088"/>
              <a:gd name="connsiteY2846" fmla="*/ 1306007 h 6689084"/>
              <a:gd name="connsiteX2847" fmla="*/ 1384799 w 6689088"/>
              <a:gd name="connsiteY2847" fmla="*/ 1306373 h 6689084"/>
              <a:gd name="connsiteX2848" fmla="*/ 1384437 w 6689088"/>
              <a:gd name="connsiteY2848" fmla="*/ 1306007 h 6689084"/>
              <a:gd name="connsiteX2849" fmla="*/ 1384799 w 6689088"/>
              <a:gd name="connsiteY2849" fmla="*/ 1305645 h 6689084"/>
              <a:gd name="connsiteX2850" fmla="*/ 1231217 w 6689088"/>
              <a:gd name="connsiteY2850" fmla="*/ 1305282 h 6689084"/>
              <a:gd name="connsiteX2851" fmla="*/ 1231942 w 6689088"/>
              <a:gd name="connsiteY2851" fmla="*/ 1306010 h 6689084"/>
              <a:gd name="connsiteX2852" fmla="*/ 1231217 w 6689088"/>
              <a:gd name="connsiteY2852" fmla="*/ 1306735 h 6689084"/>
              <a:gd name="connsiteX2853" fmla="*/ 1230489 w 6689088"/>
              <a:gd name="connsiteY2853" fmla="*/ 1306010 h 6689084"/>
              <a:gd name="connsiteX2854" fmla="*/ 1231217 w 6689088"/>
              <a:gd name="connsiteY2854" fmla="*/ 1305282 h 6689084"/>
              <a:gd name="connsiteX2855" fmla="*/ 2153811 w 6689088"/>
              <a:gd name="connsiteY2855" fmla="*/ 1304558 h 6689084"/>
              <a:gd name="connsiteX2856" fmla="*/ 2155264 w 6689088"/>
              <a:gd name="connsiteY2856" fmla="*/ 1306010 h 6689084"/>
              <a:gd name="connsiteX2857" fmla="*/ 2153811 w 6689088"/>
              <a:gd name="connsiteY2857" fmla="*/ 1307463 h 6689084"/>
              <a:gd name="connsiteX2858" fmla="*/ 2152359 w 6689088"/>
              <a:gd name="connsiteY2858" fmla="*/ 1306010 h 6689084"/>
              <a:gd name="connsiteX2859" fmla="*/ 2153811 w 6689088"/>
              <a:gd name="connsiteY2859" fmla="*/ 1304558 h 6689084"/>
              <a:gd name="connsiteX2860" fmla="*/ 2307393 w 6689088"/>
              <a:gd name="connsiteY2860" fmla="*/ 1303830 h 6689084"/>
              <a:gd name="connsiteX2861" fmla="*/ 2309573 w 6689088"/>
              <a:gd name="connsiteY2861" fmla="*/ 1306010 h 6689084"/>
              <a:gd name="connsiteX2862" fmla="*/ 2307393 w 6689088"/>
              <a:gd name="connsiteY2862" fmla="*/ 1308187 h 6689084"/>
              <a:gd name="connsiteX2863" fmla="*/ 2305216 w 6689088"/>
              <a:gd name="connsiteY2863" fmla="*/ 1306010 h 6689084"/>
              <a:gd name="connsiteX2864" fmla="*/ 2307393 w 6689088"/>
              <a:gd name="connsiteY2864" fmla="*/ 1303830 h 6689084"/>
              <a:gd name="connsiteX2865" fmla="*/ 2461344 w 6689088"/>
              <a:gd name="connsiteY2865" fmla="*/ 1303106 h 6689084"/>
              <a:gd name="connsiteX2866" fmla="*/ 2464611 w 6689088"/>
              <a:gd name="connsiteY2866" fmla="*/ 1306373 h 6689084"/>
              <a:gd name="connsiteX2867" fmla="*/ 2461344 w 6689088"/>
              <a:gd name="connsiteY2867" fmla="*/ 1309643 h 6689084"/>
              <a:gd name="connsiteX2868" fmla="*/ 2458073 w 6689088"/>
              <a:gd name="connsiteY2868" fmla="*/ 1306373 h 6689084"/>
              <a:gd name="connsiteX2869" fmla="*/ 2461344 w 6689088"/>
              <a:gd name="connsiteY2869" fmla="*/ 1303106 h 6689084"/>
              <a:gd name="connsiteX2870" fmla="*/ 2614925 w 6689088"/>
              <a:gd name="connsiteY2870" fmla="*/ 1301653 h 6689084"/>
              <a:gd name="connsiteX2871" fmla="*/ 2619283 w 6689088"/>
              <a:gd name="connsiteY2871" fmla="*/ 1306010 h 6689084"/>
              <a:gd name="connsiteX2872" fmla="*/ 2614925 w 6689088"/>
              <a:gd name="connsiteY2872" fmla="*/ 1310367 h 6689084"/>
              <a:gd name="connsiteX2873" fmla="*/ 2610568 w 6689088"/>
              <a:gd name="connsiteY2873" fmla="*/ 1306010 h 6689084"/>
              <a:gd name="connsiteX2874" fmla="*/ 2614925 w 6689088"/>
              <a:gd name="connsiteY2874" fmla="*/ 1301653 h 6689084"/>
              <a:gd name="connsiteX2875" fmla="*/ 2768873 w 6689088"/>
              <a:gd name="connsiteY2875" fmla="*/ 1300563 h 6689084"/>
              <a:gd name="connsiteX2876" fmla="*/ 2774682 w 6689088"/>
              <a:gd name="connsiteY2876" fmla="*/ 1306373 h 6689084"/>
              <a:gd name="connsiteX2877" fmla="*/ 2768873 w 6689088"/>
              <a:gd name="connsiteY2877" fmla="*/ 1312182 h 6689084"/>
              <a:gd name="connsiteX2878" fmla="*/ 2763064 w 6689088"/>
              <a:gd name="connsiteY2878" fmla="*/ 1306373 h 6689084"/>
              <a:gd name="connsiteX2879" fmla="*/ 2768873 w 6689088"/>
              <a:gd name="connsiteY2879" fmla="*/ 1300563 h 6689084"/>
              <a:gd name="connsiteX2880" fmla="*/ 2922458 w 6689088"/>
              <a:gd name="connsiteY2880" fmla="*/ 1298749 h 6689084"/>
              <a:gd name="connsiteX2881" fmla="*/ 2929720 w 6689088"/>
              <a:gd name="connsiteY2881" fmla="*/ 1306010 h 6689084"/>
              <a:gd name="connsiteX2882" fmla="*/ 2922458 w 6689088"/>
              <a:gd name="connsiteY2882" fmla="*/ 1313272 h 6689084"/>
              <a:gd name="connsiteX2883" fmla="*/ 2915196 w 6689088"/>
              <a:gd name="connsiteY2883" fmla="*/ 1306010 h 6689084"/>
              <a:gd name="connsiteX2884" fmla="*/ 2922458 w 6689088"/>
              <a:gd name="connsiteY2884" fmla="*/ 1298749 h 6689084"/>
              <a:gd name="connsiteX2885" fmla="*/ 3076406 w 6689088"/>
              <a:gd name="connsiteY2885" fmla="*/ 1296934 h 6689084"/>
              <a:gd name="connsiteX2886" fmla="*/ 3085486 w 6689088"/>
              <a:gd name="connsiteY2886" fmla="*/ 1306010 h 6689084"/>
              <a:gd name="connsiteX2887" fmla="*/ 3076406 w 6689088"/>
              <a:gd name="connsiteY2887" fmla="*/ 1315090 h 6689084"/>
              <a:gd name="connsiteX2888" fmla="*/ 3067329 w 6689088"/>
              <a:gd name="connsiteY2888" fmla="*/ 1306010 h 6689084"/>
              <a:gd name="connsiteX2889" fmla="*/ 3076406 w 6689088"/>
              <a:gd name="connsiteY2889" fmla="*/ 1296934 h 6689084"/>
              <a:gd name="connsiteX2890" fmla="*/ 3230353 w 6689088"/>
              <a:gd name="connsiteY2890" fmla="*/ 1295844 h 6689084"/>
              <a:gd name="connsiteX2891" fmla="*/ 3240519 w 6689088"/>
              <a:gd name="connsiteY2891" fmla="*/ 1306010 h 6689084"/>
              <a:gd name="connsiteX2892" fmla="*/ 3230353 w 6689088"/>
              <a:gd name="connsiteY2892" fmla="*/ 1316177 h 6689084"/>
              <a:gd name="connsiteX2893" fmla="*/ 3220186 w 6689088"/>
              <a:gd name="connsiteY2893" fmla="*/ 1306010 h 6689084"/>
              <a:gd name="connsiteX2894" fmla="*/ 3230353 w 6689088"/>
              <a:gd name="connsiteY2894" fmla="*/ 1295844 h 6689084"/>
              <a:gd name="connsiteX2895" fmla="*/ 3383934 w 6689088"/>
              <a:gd name="connsiteY2895" fmla="*/ 1294026 h 6689084"/>
              <a:gd name="connsiteX2896" fmla="*/ 3395919 w 6689088"/>
              <a:gd name="connsiteY2896" fmla="*/ 1306007 h 6689084"/>
              <a:gd name="connsiteX2897" fmla="*/ 3383934 w 6689088"/>
              <a:gd name="connsiteY2897" fmla="*/ 1317987 h 6689084"/>
              <a:gd name="connsiteX2898" fmla="*/ 3371954 w 6689088"/>
              <a:gd name="connsiteY2898" fmla="*/ 1306007 h 6689084"/>
              <a:gd name="connsiteX2899" fmla="*/ 3383934 w 6689088"/>
              <a:gd name="connsiteY2899" fmla="*/ 1294026 h 6689084"/>
              <a:gd name="connsiteX2900" fmla="*/ 3537886 w 6689088"/>
              <a:gd name="connsiteY2900" fmla="*/ 1292211 h 6689084"/>
              <a:gd name="connsiteX2901" fmla="*/ 3551681 w 6689088"/>
              <a:gd name="connsiteY2901" fmla="*/ 1306010 h 6689084"/>
              <a:gd name="connsiteX2902" fmla="*/ 3537886 w 6689088"/>
              <a:gd name="connsiteY2902" fmla="*/ 1319806 h 6689084"/>
              <a:gd name="connsiteX2903" fmla="*/ 3524086 w 6689088"/>
              <a:gd name="connsiteY2903" fmla="*/ 1306010 h 6689084"/>
              <a:gd name="connsiteX2904" fmla="*/ 3537886 w 6689088"/>
              <a:gd name="connsiteY2904" fmla="*/ 1292211 h 6689084"/>
              <a:gd name="connsiteX2905" fmla="*/ 3691467 w 6689088"/>
              <a:gd name="connsiteY2905" fmla="*/ 1290759 h 6689084"/>
              <a:gd name="connsiteX2906" fmla="*/ 3706718 w 6689088"/>
              <a:gd name="connsiteY2906" fmla="*/ 1306010 h 6689084"/>
              <a:gd name="connsiteX2907" fmla="*/ 3691467 w 6689088"/>
              <a:gd name="connsiteY2907" fmla="*/ 1321258 h 6689084"/>
              <a:gd name="connsiteX2908" fmla="*/ 3676219 w 6689088"/>
              <a:gd name="connsiteY2908" fmla="*/ 1306010 h 6689084"/>
              <a:gd name="connsiteX2909" fmla="*/ 3691467 w 6689088"/>
              <a:gd name="connsiteY2909" fmla="*/ 1290759 h 6689084"/>
              <a:gd name="connsiteX2910" fmla="*/ 3845418 w 6689088"/>
              <a:gd name="connsiteY2910" fmla="*/ 1288945 h 6689084"/>
              <a:gd name="connsiteX2911" fmla="*/ 3862484 w 6689088"/>
              <a:gd name="connsiteY2911" fmla="*/ 1306010 h 6689084"/>
              <a:gd name="connsiteX2912" fmla="*/ 3845418 w 6689088"/>
              <a:gd name="connsiteY2912" fmla="*/ 1323072 h 6689084"/>
              <a:gd name="connsiteX2913" fmla="*/ 3828352 w 6689088"/>
              <a:gd name="connsiteY2913" fmla="*/ 1306010 h 6689084"/>
              <a:gd name="connsiteX2914" fmla="*/ 3845418 w 6689088"/>
              <a:gd name="connsiteY2914" fmla="*/ 1288945 h 6689084"/>
              <a:gd name="connsiteX2915" fmla="*/ 3999000 w 6689088"/>
              <a:gd name="connsiteY2915" fmla="*/ 1286768 h 6689084"/>
              <a:gd name="connsiteX2916" fmla="*/ 4018242 w 6689088"/>
              <a:gd name="connsiteY2916" fmla="*/ 1306010 h 6689084"/>
              <a:gd name="connsiteX2917" fmla="*/ 3999000 w 6689088"/>
              <a:gd name="connsiteY2917" fmla="*/ 1325257 h 6689084"/>
              <a:gd name="connsiteX2918" fmla="*/ 3979757 w 6689088"/>
              <a:gd name="connsiteY2918" fmla="*/ 1306010 h 6689084"/>
              <a:gd name="connsiteX2919" fmla="*/ 3999000 w 6689088"/>
              <a:gd name="connsiteY2919" fmla="*/ 1286768 h 6689084"/>
              <a:gd name="connsiteX2920" fmla="*/ 4152947 w 6689088"/>
              <a:gd name="connsiteY2920" fmla="*/ 1284588 h 6689084"/>
              <a:gd name="connsiteX2921" fmla="*/ 4174366 w 6689088"/>
              <a:gd name="connsiteY2921" fmla="*/ 1306010 h 6689084"/>
              <a:gd name="connsiteX2922" fmla="*/ 4152947 w 6689088"/>
              <a:gd name="connsiteY2922" fmla="*/ 1327433 h 6689084"/>
              <a:gd name="connsiteX2923" fmla="*/ 4131524 w 6689088"/>
              <a:gd name="connsiteY2923" fmla="*/ 1306010 h 6689084"/>
              <a:gd name="connsiteX2924" fmla="*/ 4152947 w 6689088"/>
              <a:gd name="connsiteY2924" fmla="*/ 1284588 h 6689084"/>
              <a:gd name="connsiteX2925" fmla="*/ 4306532 w 6689088"/>
              <a:gd name="connsiteY2925" fmla="*/ 1283135 h 6689084"/>
              <a:gd name="connsiteX2926" fmla="*/ 4329404 w 6689088"/>
              <a:gd name="connsiteY2926" fmla="*/ 1306010 h 6689084"/>
              <a:gd name="connsiteX2927" fmla="*/ 4306532 w 6689088"/>
              <a:gd name="connsiteY2927" fmla="*/ 1328886 h 6689084"/>
              <a:gd name="connsiteX2928" fmla="*/ 4283657 w 6689088"/>
              <a:gd name="connsiteY2928" fmla="*/ 1306010 h 6689084"/>
              <a:gd name="connsiteX2929" fmla="*/ 4306532 w 6689088"/>
              <a:gd name="connsiteY2929" fmla="*/ 1283135 h 6689084"/>
              <a:gd name="connsiteX2930" fmla="*/ 4460480 w 6689088"/>
              <a:gd name="connsiteY2930" fmla="*/ 1281321 h 6689084"/>
              <a:gd name="connsiteX2931" fmla="*/ 4485536 w 6689088"/>
              <a:gd name="connsiteY2931" fmla="*/ 1306373 h 6689084"/>
              <a:gd name="connsiteX2932" fmla="*/ 4460480 w 6689088"/>
              <a:gd name="connsiteY2932" fmla="*/ 1331424 h 6689084"/>
              <a:gd name="connsiteX2933" fmla="*/ 4435428 w 6689088"/>
              <a:gd name="connsiteY2933" fmla="*/ 1306373 h 6689084"/>
              <a:gd name="connsiteX2934" fmla="*/ 4460480 w 6689088"/>
              <a:gd name="connsiteY2934" fmla="*/ 1281321 h 6689084"/>
              <a:gd name="connsiteX2935" fmla="*/ 4614065 w 6689088"/>
              <a:gd name="connsiteY2935" fmla="*/ 1278778 h 6689084"/>
              <a:gd name="connsiteX2936" fmla="*/ 4641297 w 6689088"/>
              <a:gd name="connsiteY2936" fmla="*/ 1306010 h 6689084"/>
              <a:gd name="connsiteX2937" fmla="*/ 4614065 w 6689088"/>
              <a:gd name="connsiteY2937" fmla="*/ 1333243 h 6689084"/>
              <a:gd name="connsiteX2938" fmla="*/ 4586832 w 6689088"/>
              <a:gd name="connsiteY2938" fmla="*/ 1306010 h 6689084"/>
              <a:gd name="connsiteX2939" fmla="*/ 4614065 w 6689088"/>
              <a:gd name="connsiteY2939" fmla="*/ 1278778 h 6689084"/>
              <a:gd name="connsiteX2940" fmla="*/ 4768008 w 6689088"/>
              <a:gd name="connsiteY2940" fmla="*/ 1276236 h 6689084"/>
              <a:gd name="connsiteX2941" fmla="*/ 4797784 w 6689088"/>
              <a:gd name="connsiteY2941" fmla="*/ 1306010 h 6689084"/>
              <a:gd name="connsiteX2942" fmla="*/ 4768008 w 6689088"/>
              <a:gd name="connsiteY2942" fmla="*/ 1335781 h 6689084"/>
              <a:gd name="connsiteX2943" fmla="*/ 4738238 w 6689088"/>
              <a:gd name="connsiteY2943" fmla="*/ 1306010 h 6689084"/>
              <a:gd name="connsiteX2944" fmla="*/ 4768008 w 6689088"/>
              <a:gd name="connsiteY2944" fmla="*/ 1276236 h 6689084"/>
              <a:gd name="connsiteX2945" fmla="*/ 4921594 w 6689088"/>
              <a:gd name="connsiteY2945" fmla="*/ 1274059 h 6689084"/>
              <a:gd name="connsiteX2946" fmla="*/ 4953545 w 6689088"/>
              <a:gd name="connsiteY2946" fmla="*/ 1306010 h 6689084"/>
              <a:gd name="connsiteX2947" fmla="*/ 4921594 w 6689088"/>
              <a:gd name="connsiteY2947" fmla="*/ 1337962 h 6689084"/>
              <a:gd name="connsiteX2948" fmla="*/ 4889642 w 6689088"/>
              <a:gd name="connsiteY2948" fmla="*/ 1306010 h 6689084"/>
              <a:gd name="connsiteX2949" fmla="*/ 4921594 w 6689088"/>
              <a:gd name="connsiteY2949" fmla="*/ 1274059 h 6689084"/>
              <a:gd name="connsiteX2950" fmla="*/ 5075541 w 6689088"/>
              <a:gd name="connsiteY2950" fmla="*/ 1272245 h 6689084"/>
              <a:gd name="connsiteX2951" fmla="*/ 5109311 w 6689088"/>
              <a:gd name="connsiteY2951" fmla="*/ 1306010 h 6689084"/>
              <a:gd name="connsiteX2952" fmla="*/ 5075541 w 6689088"/>
              <a:gd name="connsiteY2952" fmla="*/ 1339780 h 6689084"/>
              <a:gd name="connsiteX2953" fmla="*/ 5041776 w 6689088"/>
              <a:gd name="connsiteY2953" fmla="*/ 1306010 h 6689084"/>
              <a:gd name="connsiteX2954" fmla="*/ 5075541 w 6689088"/>
              <a:gd name="connsiteY2954" fmla="*/ 1272245 h 6689084"/>
              <a:gd name="connsiteX2955" fmla="*/ 5229126 w 6689088"/>
              <a:gd name="connsiteY2955" fmla="*/ 1269702 h 6689084"/>
              <a:gd name="connsiteX2956" fmla="*/ 5265435 w 6689088"/>
              <a:gd name="connsiteY2956" fmla="*/ 1306010 h 6689084"/>
              <a:gd name="connsiteX2957" fmla="*/ 5229126 w 6689088"/>
              <a:gd name="connsiteY2957" fmla="*/ 1342319 h 6689084"/>
              <a:gd name="connsiteX2958" fmla="*/ 5192818 w 6689088"/>
              <a:gd name="connsiteY2958" fmla="*/ 1306010 h 6689084"/>
              <a:gd name="connsiteX2959" fmla="*/ 5229126 w 6689088"/>
              <a:gd name="connsiteY2959" fmla="*/ 1269702 h 6689084"/>
              <a:gd name="connsiteX2960" fmla="*/ 5383074 w 6689088"/>
              <a:gd name="connsiteY2960" fmla="*/ 1267160 h 6689084"/>
              <a:gd name="connsiteX2961" fmla="*/ 5421921 w 6689088"/>
              <a:gd name="connsiteY2961" fmla="*/ 1306010 h 6689084"/>
              <a:gd name="connsiteX2962" fmla="*/ 5383074 w 6689088"/>
              <a:gd name="connsiteY2962" fmla="*/ 1344858 h 6689084"/>
              <a:gd name="connsiteX2963" fmla="*/ 5344223 w 6689088"/>
              <a:gd name="connsiteY2963" fmla="*/ 1306010 h 6689084"/>
              <a:gd name="connsiteX2964" fmla="*/ 5383074 w 6689088"/>
              <a:gd name="connsiteY2964" fmla="*/ 1267160 h 6689084"/>
              <a:gd name="connsiteX2965" fmla="*/ 5536659 w 6689088"/>
              <a:gd name="connsiteY2965" fmla="*/ 1264983 h 6689084"/>
              <a:gd name="connsiteX2966" fmla="*/ 5577690 w 6689088"/>
              <a:gd name="connsiteY2966" fmla="*/ 1306010 h 6689084"/>
              <a:gd name="connsiteX2967" fmla="*/ 5536659 w 6689088"/>
              <a:gd name="connsiteY2967" fmla="*/ 1347038 h 6689084"/>
              <a:gd name="connsiteX2968" fmla="*/ 5495632 w 6689088"/>
              <a:gd name="connsiteY2968" fmla="*/ 1306010 h 6689084"/>
              <a:gd name="connsiteX2969" fmla="*/ 5536659 w 6689088"/>
              <a:gd name="connsiteY2969" fmla="*/ 1264983 h 6689084"/>
              <a:gd name="connsiteX2970" fmla="*/ 5690606 w 6689088"/>
              <a:gd name="connsiteY2970" fmla="*/ 1262440 h 6689084"/>
              <a:gd name="connsiteX2971" fmla="*/ 5734176 w 6689088"/>
              <a:gd name="connsiteY2971" fmla="*/ 1306010 h 6689084"/>
              <a:gd name="connsiteX2972" fmla="*/ 5690606 w 6689088"/>
              <a:gd name="connsiteY2972" fmla="*/ 1349581 h 6689084"/>
              <a:gd name="connsiteX2973" fmla="*/ 5647036 w 6689088"/>
              <a:gd name="connsiteY2973" fmla="*/ 1306010 h 6689084"/>
              <a:gd name="connsiteX2974" fmla="*/ 5690606 w 6689088"/>
              <a:gd name="connsiteY2974" fmla="*/ 1262440 h 6689084"/>
              <a:gd name="connsiteX2975" fmla="*/ 5844554 w 6689088"/>
              <a:gd name="connsiteY2975" fmla="*/ 1259898 h 6689084"/>
              <a:gd name="connsiteX2976" fmla="*/ 5890666 w 6689088"/>
              <a:gd name="connsiteY2976" fmla="*/ 1306010 h 6689084"/>
              <a:gd name="connsiteX2977" fmla="*/ 5844554 w 6689088"/>
              <a:gd name="connsiteY2977" fmla="*/ 1352123 h 6689084"/>
              <a:gd name="connsiteX2978" fmla="*/ 5798442 w 6689088"/>
              <a:gd name="connsiteY2978" fmla="*/ 1306010 h 6689084"/>
              <a:gd name="connsiteX2979" fmla="*/ 5844554 w 6689088"/>
              <a:gd name="connsiteY2979" fmla="*/ 1259898 h 6689084"/>
              <a:gd name="connsiteX2980" fmla="*/ 5998136 w 6689088"/>
              <a:gd name="connsiteY2980" fmla="*/ 1257355 h 6689084"/>
              <a:gd name="connsiteX2981" fmla="*/ 6046790 w 6689088"/>
              <a:gd name="connsiteY2981" fmla="*/ 1306010 h 6689084"/>
              <a:gd name="connsiteX2982" fmla="*/ 5998136 w 6689088"/>
              <a:gd name="connsiteY2982" fmla="*/ 1354662 h 6689084"/>
              <a:gd name="connsiteX2983" fmla="*/ 5949484 w 6689088"/>
              <a:gd name="connsiteY2983" fmla="*/ 1306010 h 6689084"/>
              <a:gd name="connsiteX2984" fmla="*/ 5998136 w 6689088"/>
              <a:gd name="connsiteY2984" fmla="*/ 1257355 h 6689084"/>
              <a:gd name="connsiteX2985" fmla="*/ 6152083 w 6689088"/>
              <a:gd name="connsiteY2985" fmla="*/ 1254817 h 6689084"/>
              <a:gd name="connsiteX2986" fmla="*/ 6203280 w 6689088"/>
              <a:gd name="connsiteY2986" fmla="*/ 1306010 h 6689084"/>
              <a:gd name="connsiteX2987" fmla="*/ 6152083 w 6689088"/>
              <a:gd name="connsiteY2987" fmla="*/ 1357204 h 6689084"/>
              <a:gd name="connsiteX2988" fmla="*/ 6100889 w 6689088"/>
              <a:gd name="connsiteY2988" fmla="*/ 1306010 h 6689084"/>
              <a:gd name="connsiteX2989" fmla="*/ 6152083 w 6689088"/>
              <a:gd name="connsiteY2989" fmla="*/ 1254817 h 6689084"/>
              <a:gd name="connsiteX2990" fmla="*/ 6305668 w 6689088"/>
              <a:gd name="connsiteY2990" fmla="*/ 1252636 h 6689084"/>
              <a:gd name="connsiteX2991" fmla="*/ 6359042 w 6689088"/>
              <a:gd name="connsiteY2991" fmla="*/ 1306010 h 6689084"/>
              <a:gd name="connsiteX2992" fmla="*/ 6305668 w 6689088"/>
              <a:gd name="connsiteY2992" fmla="*/ 1359381 h 6689084"/>
              <a:gd name="connsiteX2993" fmla="*/ 6252294 w 6689088"/>
              <a:gd name="connsiteY2993" fmla="*/ 1306010 h 6689084"/>
              <a:gd name="connsiteX2994" fmla="*/ 6305668 w 6689088"/>
              <a:gd name="connsiteY2994" fmla="*/ 1252636 h 6689084"/>
              <a:gd name="connsiteX2995" fmla="*/ 6459619 w 6689088"/>
              <a:gd name="connsiteY2995" fmla="*/ 1249732 h 6689084"/>
              <a:gd name="connsiteX2996" fmla="*/ 6515894 w 6689088"/>
              <a:gd name="connsiteY2996" fmla="*/ 1306010 h 6689084"/>
              <a:gd name="connsiteX2997" fmla="*/ 6459619 w 6689088"/>
              <a:gd name="connsiteY2997" fmla="*/ 1362289 h 6689084"/>
              <a:gd name="connsiteX2998" fmla="*/ 6403340 w 6689088"/>
              <a:gd name="connsiteY2998" fmla="*/ 1306010 h 6689084"/>
              <a:gd name="connsiteX2999" fmla="*/ 6459619 w 6689088"/>
              <a:gd name="connsiteY2999" fmla="*/ 1249732 h 6689084"/>
              <a:gd name="connsiteX3000" fmla="*/ 6613197 w 6689088"/>
              <a:gd name="connsiteY3000" fmla="*/ 1247189 h 6689084"/>
              <a:gd name="connsiteX3001" fmla="*/ 6672018 w 6689088"/>
              <a:gd name="connsiteY3001" fmla="*/ 1306010 h 6689084"/>
              <a:gd name="connsiteX3002" fmla="*/ 6613197 w 6689088"/>
              <a:gd name="connsiteY3002" fmla="*/ 1364828 h 6689084"/>
              <a:gd name="connsiteX3003" fmla="*/ 6554380 w 6689088"/>
              <a:gd name="connsiteY3003" fmla="*/ 1306010 h 6689084"/>
              <a:gd name="connsiteX3004" fmla="*/ 6613197 w 6689088"/>
              <a:gd name="connsiteY3004" fmla="*/ 1247189 h 6689084"/>
              <a:gd name="connsiteX3005" fmla="*/ 1846279 w 6689088"/>
              <a:gd name="connsiteY3005" fmla="*/ 1152063 h 6689084"/>
              <a:gd name="connsiteX3006" fmla="*/ 1846641 w 6689088"/>
              <a:gd name="connsiteY3006" fmla="*/ 1152425 h 6689084"/>
              <a:gd name="connsiteX3007" fmla="*/ 1846279 w 6689088"/>
              <a:gd name="connsiteY3007" fmla="*/ 1152791 h 6689084"/>
              <a:gd name="connsiteX3008" fmla="*/ 1845917 w 6689088"/>
              <a:gd name="connsiteY3008" fmla="*/ 1152425 h 6689084"/>
              <a:gd name="connsiteX3009" fmla="*/ 1846279 w 6689088"/>
              <a:gd name="connsiteY3009" fmla="*/ 1152063 h 6689084"/>
              <a:gd name="connsiteX3010" fmla="*/ 1384799 w 6689088"/>
              <a:gd name="connsiteY3010" fmla="*/ 1152063 h 6689084"/>
              <a:gd name="connsiteX3011" fmla="*/ 1385161 w 6689088"/>
              <a:gd name="connsiteY3011" fmla="*/ 1152425 h 6689084"/>
              <a:gd name="connsiteX3012" fmla="*/ 1384799 w 6689088"/>
              <a:gd name="connsiteY3012" fmla="*/ 1152791 h 6689084"/>
              <a:gd name="connsiteX3013" fmla="*/ 1384437 w 6689088"/>
              <a:gd name="connsiteY3013" fmla="*/ 1152425 h 6689084"/>
              <a:gd name="connsiteX3014" fmla="*/ 1384799 w 6689088"/>
              <a:gd name="connsiteY3014" fmla="*/ 1152063 h 6689084"/>
              <a:gd name="connsiteX3015" fmla="*/ 1231213 w 6689088"/>
              <a:gd name="connsiteY3015" fmla="*/ 1152063 h 6689084"/>
              <a:gd name="connsiteX3016" fmla="*/ 1231576 w 6689088"/>
              <a:gd name="connsiteY3016" fmla="*/ 1152425 h 6689084"/>
              <a:gd name="connsiteX3017" fmla="*/ 1231213 w 6689088"/>
              <a:gd name="connsiteY3017" fmla="*/ 1152791 h 6689084"/>
              <a:gd name="connsiteX3018" fmla="*/ 1230851 w 6689088"/>
              <a:gd name="connsiteY3018" fmla="*/ 1152425 h 6689084"/>
              <a:gd name="connsiteX3019" fmla="*/ 1231213 w 6689088"/>
              <a:gd name="connsiteY3019" fmla="*/ 1152063 h 6689084"/>
              <a:gd name="connsiteX3020" fmla="*/ 1077270 w 6689088"/>
              <a:gd name="connsiteY3020" fmla="*/ 1151701 h 6689084"/>
              <a:gd name="connsiteX3021" fmla="*/ 1077994 w 6689088"/>
              <a:gd name="connsiteY3021" fmla="*/ 1152425 h 6689084"/>
              <a:gd name="connsiteX3022" fmla="*/ 1077270 w 6689088"/>
              <a:gd name="connsiteY3022" fmla="*/ 1153153 h 6689084"/>
              <a:gd name="connsiteX3023" fmla="*/ 1076542 w 6689088"/>
              <a:gd name="connsiteY3023" fmla="*/ 1152425 h 6689084"/>
              <a:gd name="connsiteX3024" fmla="*/ 1077270 w 6689088"/>
              <a:gd name="connsiteY3024" fmla="*/ 1151701 h 6689084"/>
              <a:gd name="connsiteX3025" fmla="*/ 1999864 w 6689088"/>
              <a:gd name="connsiteY3025" fmla="*/ 1150611 h 6689084"/>
              <a:gd name="connsiteX3026" fmla="*/ 2001316 w 6689088"/>
              <a:gd name="connsiteY3026" fmla="*/ 1152063 h 6689084"/>
              <a:gd name="connsiteX3027" fmla="*/ 1999864 w 6689088"/>
              <a:gd name="connsiteY3027" fmla="*/ 1153515 h 6689084"/>
              <a:gd name="connsiteX3028" fmla="*/ 1998412 w 6689088"/>
              <a:gd name="connsiteY3028" fmla="*/ 1152063 h 6689084"/>
              <a:gd name="connsiteX3029" fmla="*/ 1999864 w 6689088"/>
              <a:gd name="connsiteY3029" fmla="*/ 1150611 h 6689084"/>
              <a:gd name="connsiteX3030" fmla="*/ 2153808 w 6689088"/>
              <a:gd name="connsiteY3030" fmla="*/ 1150249 h 6689084"/>
              <a:gd name="connsiteX3031" fmla="*/ 2155988 w 6689088"/>
              <a:gd name="connsiteY3031" fmla="*/ 1152425 h 6689084"/>
              <a:gd name="connsiteX3032" fmla="*/ 2153808 w 6689088"/>
              <a:gd name="connsiteY3032" fmla="*/ 1154606 h 6689084"/>
              <a:gd name="connsiteX3033" fmla="*/ 2151631 w 6689088"/>
              <a:gd name="connsiteY3033" fmla="*/ 1152425 h 6689084"/>
              <a:gd name="connsiteX3034" fmla="*/ 2153808 w 6689088"/>
              <a:gd name="connsiteY3034" fmla="*/ 1150249 h 6689084"/>
              <a:gd name="connsiteX3035" fmla="*/ 2307393 w 6689088"/>
              <a:gd name="connsiteY3035" fmla="*/ 1149158 h 6689084"/>
              <a:gd name="connsiteX3036" fmla="*/ 2310660 w 6689088"/>
              <a:gd name="connsiteY3036" fmla="*/ 1152425 h 6689084"/>
              <a:gd name="connsiteX3037" fmla="*/ 2307393 w 6689088"/>
              <a:gd name="connsiteY3037" fmla="*/ 1155696 h 6689084"/>
              <a:gd name="connsiteX3038" fmla="*/ 2304126 w 6689088"/>
              <a:gd name="connsiteY3038" fmla="*/ 1152425 h 6689084"/>
              <a:gd name="connsiteX3039" fmla="*/ 2307393 w 6689088"/>
              <a:gd name="connsiteY3039" fmla="*/ 1149158 h 6689084"/>
              <a:gd name="connsiteX3040" fmla="*/ 2461340 w 6689088"/>
              <a:gd name="connsiteY3040" fmla="*/ 1147706 h 6689084"/>
              <a:gd name="connsiteX3041" fmla="*/ 2465697 w 6689088"/>
              <a:gd name="connsiteY3041" fmla="*/ 1152063 h 6689084"/>
              <a:gd name="connsiteX3042" fmla="*/ 2461340 w 6689088"/>
              <a:gd name="connsiteY3042" fmla="*/ 1156420 h 6689084"/>
              <a:gd name="connsiteX3043" fmla="*/ 2456983 w 6689088"/>
              <a:gd name="connsiteY3043" fmla="*/ 1152063 h 6689084"/>
              <a:gd name="connsiteX3044" fmla="*/ 2461340 w 6689088"/>
              <a:gd name="connsiteY3044" fmla="*/ 1147706 h 6689084"/>
              <a:gd name="connsiteX3045" fmla="*/ 2614925 w 6689088"/>
              <a:gd name="connsiteY3045" fmla="*/ 1146616 h 6689084"/>
              <a:gd name="connsiteX3046" fmla="*/ 2620735 w 6689088"/>
              <a:gd name="connsiteY3046" fmla="*/ 1152425 h 6689084"/>
              <a:gd name="connsiteX3047" fmla="*/ 2614925 w 6689088"/>
              <a:gd name="connsiteY3047" fmla="*/ 1158234 h 6689084"/>
              <a:gd name="connsiteX3048" fmla="*/ 2609116 w 6689088"/>
              <a:gd name="connsiteY3048" fmla="*/ 1152425 h 6689084"/>
              <a:gd name="connsiteX3049" fmla="*/ 2614925 w 6689088"/>
              <a:gd name="connsiteY3049" fmla="*/ 1146616 h 6689084"/>
              <a:gd name="connsiteX3050" fmla="*/ 2768873 w 6689088"/>
              <a:gd name="connsiteY3050" fmla="*/ 1145164 h 6689084"/>
              <a:gd name="connsiteX3051" fmla="*/ 2776135 w 6689088"/>
              <a:gd name="connsiteY3051" fmla="*/ 1152425 h 6689084"/>
              <a:gd name="connsiteX3052" fmla="*/ 2768873 w 6689088"/>
              <a:gd name="connsiteY3052" fmla="*/ 1159687 h 6689084"/>
              <a:gd name="connsiteX3053" fmla="*/ 2761611 w 6689088"/>
              <a:gd name="connsiteY3053" fmla="*/ 1152425 h 6689084"/>
              <a:gd name="connsiteX3054" fmla="*/ 2768873 w 6689088"/>
              <a:gd name="connsiteY3054" fmla="*/ 1145164 h 6689084"/>
              <a:gd name="connsiteX3055" fmla="*/ 2922454 w 6689088"/>
              <a:gd name="connsiteY3055" fmla="*/ 1142983 h 6689084"/>
              <a:gd name="connsiteX3056" fmla="*/ 2931534 w 6689088"/>
              <a:gd name="connsiteY3056" fmla="*/ 1152059 h 6689084"/>
              <a:gd name="connsiteX3057" fmla="*/ 2922454 w 6689088"/>
              <a:gd name="connsiteY3057" fmla="*/ 1161139 h 6689084"/>
              <a:gd name="connsiteX3058" fmla="*/ 2913378 w 6689088"/>
              <a:gd name="connsiteY3058" fmla="*/ 1152059 h 6689084"/>
              <a:gd name="connsiteX3059" fmla="*/ 2922454 w 6689088"/>
              <a:gd name="connsiteY3059" fmla="*/ 1142983 h 6689084"/>
              <a:gd name="connsiteX3060" fmla="*/ 3076406 w 6689088"/>
              <a:gd name="connsiteY3060" fmla="*/ 1142259 h 6689084"/>
              <a:gd name="connsiteX3061" fmla="*/ 3086572 w 6689088"/>
              <a:gd name="connsiteY3061" fmla="*/ 1152425 h 6689084"/>
              <a:gd name="connsiteX3062" fmla="*/ 3076406 w 6689088"/>
              <a:gd name="connsiteY3062" fmla="*/ 1162592 h 6689084"/>
              <a:gd name="connsiteX3063" fmla="*/ 3066239 w 6689088"/>
              <a:gd name="connsiteY3063" fmla="*/ 1152425 h 6689084"/>
              <a:gd name="connsiteX3064" fmla="*/ 3076406 w 6689088"/>
              <a:gd name="connsiteY3064" fmla="*/ 1142259 h 6689084"/>
              <a:gd name="connsiteX3065" fmla="*/ 3230349 w 6689088"/>
              <a:gd name="connsiteY3065" fmla="*/ 1140444 h 6689084"/>
              <a:gd name="connsiteX3066" fmla="*/ 3242334 w 6689088"/>
              <a:gd name="connsiteY3066" fmla="*/ 1152425 h 6689084"/>
              <a:gd name="connsiteX3067" fmla="*/ 3230349 w 6689088"/>
              <a:gd name="connsiteY3067" fmla="*/ 1164406 h 6689084"/>
              <a:gd name="connsiteX3068" fmla="*/ 3218368 w 6689088"/>
              <a:gd name="connsiteY3068" fmla="*/ 1152425 h 6689084"/>
              <a:gd name="connsiteX3069" fmla="*/ 3230349 w 6689088"/>
              <a:gd name="connsiteY3069" fmla="*/ 1140444 h 6689084"/>
              <a:gd name="connsiteX3070" fmla="*/ 3383934 w 6689088"/>
              <a:gd name="connsiteY3070" fmla="*/ 1138264 h 6689084"/>
              <a:gd name="connsiteX3071" fmla="*/ 3397733 w 6689088"/>
              <a:gd name="connsiteY3071" fmla="*/ 1152059 h 6689084"/>
              <a:gd name="connsiteX3072" fmla="*/ 3383934 w 6689088"/>
              <a:gd name="connsiteY3072" fmla="*/ 1165858 h 6689084"/>
              <a:gd name="connsiteX3073" fmla="*/ 3370139 w 6689088"/>
              <a:gd name="connsiteY3073" fmla="*/ 1152059 h 6689084"/>
              <a:gd name="connsiteX3074" fmla="*/ 3383934 w 6689088"/>
              <a:gd name="connsiteY3074" fmla="*/ 1138264 h 6689084"/>
              <a:gd name="connsiteX3075" fmla="*/ 3537882 w 6689088"/>
              <a:gd name="connsiteY3075" fmla="*/ 1137178 h 6689084"/>
              <a:gd name="connsiteX3076" fmla="*/ 3553133 w 6689088"/>
              <a:gd name="connsiteY3076" fmla="*/ 1152425 h 6689084"/>
              <a:gd name="connsiteX3077" fmla="*/ 3537882 w 6689088"/>
              <a:gd name="connsiteY3077" fmla="*/ 1167677 h 6689084"/>
              <a:gd name="connsiteX3078" fmla="*/ 3522634 w 6689088"/>
              <a:gd name="connsiteY3078" fmla="*/ 1152425 h 6689084"/>
              <a:gd name="connsiteX3079" fmla="*/ 3537882 w 6689088"/>
              <a:gd name="connsiteY3079" fmla="*/ 1137178 h 6689084"/>
              <a:gd name="connsiteX3080" fmla="*/ 3691467 w 6689088"/>
              <a:gd name="connsiteY3080" fmla="*/ 1135359 h 6689084"/>
              <a:gd name="connsiteX3081" fmla="*/ 3708533 w 6689088"/>
              <a:gd name="connsiteY3081" fmla="*/ 1152425 h 6689084"/>
              <a:gd name="connsiteX3082" fmla="*/ 3691467 w 6689088"/>
              <a:gd name="connsiteY3082" fmla="*/ 1169487 h 6689084"/>
              <a:gd name="connsiteX3083" fmla="*/ 3674401 w 6689088"/>
              <a:gd name="connsiteY3083" fmla="*/ 1152425 h 6689084"/>
              <a:gd name="connsiteX3084" fmla="*/ 3691467 w 6689088"/>
              <a:gd name="connsiteY3084" fmla="*/ 1135359 h 6689084"/>
              <a:gd name="connsiteX3085" fmla="*/ 3845414 w 6689088"/>
              <a:gd name="connsiteY3085" fmla="*/ 1133183 h 6689084"/>
              <a:gd name="connsiteX3086" fmla="*/ 3864661 w 6689088"/>
              <a:gd name="connsiteY3086" fmla="*/ 1152425 h 6689084"/>
              <a:gd name="connsiteX3087" fmla="*/ 3845414 w 6689088"/>
              <a:gd name="connsiteY3087" fmla="*/ 1171672 h 6689084"/>
              <a:gd name="connsiteX3088" fmla="*/ 3826172 w 6689088"/>
              <a:gd name="connsiteY3088" fmla="*/ 1152425 h 6689084"/>
              <a:gd name="connsiteX3089" fmla="*/ 3845414 w 6689088"/>
              <a:gd name="connsiteY3089" fmla="*/ 1133183 h 6689084"/>
              <a:gd name="connsiteX3090" fmla="*/ 3999000 w 6689088"/>
              <a:gd name="connsiteY3090" fmla="*/ 1131002 h 6689084"/>
              <a:gd name="connsiteX3091" fmla="*/ 4020422 w 6689088"/>
              <a:gd name="connsiteY3091" fmla="*/ 1152425 h 6689084"/>
              <a:gd name="connsiteX3092" fmla="*/ 3999000 w 6689088"/>
              <a:gd name="connsiteY3092" fmla="*/ 1173844 h 6689084"/>
              <a:gd name="connsiteX3093" fmla="*/ 3977577 w 6689088"/>
              <a:gd name="connsiteY3093" fmla="*/ 1152425 h 6689084"/>
              <a:gd name="connsiteX3094" fmla="*/ 3999000 w 6689088"/>
              <a:gd name="connsiteY3094" fmla="*/ 1131002 h 6689084"/>
              <a:gd name="connsiteX3095" fmla="*/ 4152947 w 6689088"/>
              <a:gd name="connsiteY3095" fmla="*/ 1129550 h 6689084"/>
              <a:gd name="connsiteX3096" fmla="*/ 4175822 w 6689088"/>
              <a:gd name="connsiteY3096" fmla="*/ 1152425 h 6689084"/>
              <a:gd name="connsiteX3097" fmla="*/ 4152947 w 6689088"/>
              <a:gd name="connsiteY3097" fmla="*/ 1175297 h 6689084"/>
              <a:gd name="connsiteX3098" fmla="*/ 4130072 w 6689088"/>
              <a:gd name="connsiteY3098" fmla="*/ 1152425 h 6689084"/>
              <a:gd name="connsiteX3099" fmla="*/ 4152947 w 6689088"/>
              <a:gd name="connsiteY3099" fmla="*/ 1129550 h 6689084"/>
              <a:gd name="connsiteX3100" fmla="*/ 4306532 w 6689088"/>
              <a:gd name="connsiteY3100" fmla="*/ 1127373 h 6689084"/>
              <a:gd name="connsiteX3101" fmla="*/ 4331584 w 6689088"/>
              <a:gd name="connsiteY3101" fmla="*/ 1152425 h 6689084"/>
              <a:gd name="connsiteX3102" fmla="*/ 4306532 w 6689088"/>
              <a:gd name="connsiteY3102" fmla="*/ 1177481 h 6689084"/>
              <a:gd name="connsiteX3103" fmla="*/ 4281480 w 6689088"/>
              <a:gd name="connsiteY3103" fmla="*/ 1152425 h 6689084"/>
              <a:gd name="connsiteX3104" fmla="*/ 4306532 w 6689088"/>
              <a:gd name="connsiteY3104" fmla="*/ 1127373 h 6689084"/>
              <a:gd name="connsiteX3105" fmla="*/ 4460480 w 6689088"/>
              <a:gd name="connsiteY3105" fmla="*/ 1125193 h 6689084"/>
              <a:gd name="connsiteX3106" fmla="*/ 4487712 w 6689088"/>
              <a:gd name="connsiteY3106" fmla="*/ 1152425 h 6689084"/>
              <a:gd name="connsiteX3107" fmla="*/ 4460480 w 6689088"/>
              <a:gd name="connsiteY3107" fmla="*/ 1179657 h 6689084"/>
              <a:gd name="connsiteX3108" fmla="*/ 4433248 w 6689088"/>
              <a:gd name="connsiteY3108" fmla="*/ 1152425 h 6689084"/>
              <a:gd name="connsiteX3109" fmla="*/ 4460480 w 6689088"/>
              <a:gd name="connsiteY3109" fmla="*/ 1125193 h 6689084"/>
              <a:gd name="connsiteX3110" fmla="*/ 4614061 w 6689088"/>
              <a:gd name="connsiteY3110" fmla="*/ 1122654 h 6689084"/>
              <a:gd name="connsiteX3111" fmla="*/ 4643836 w 6689088"/>
              <a:gd name="connsiteY3111" fmla="*/ 1152425 h 6689084"/>
              <a:gd name="connsiteX3112" fmla="*/ 4614061 w 6689088"/>
              <a:gd name="connsiteY3112" fmla="*/ 1182200 h 6689084"/>
              <a:gd name="connsiteX3113" fmla="*/ 4584290 w 6689088"/>
              <a:gd name="connsiteY3113" fmla="*/ 1152429 h 6689084"/>
              <a:gd name="connsiteX3114" fmla="*/ 4614061 w 6689088"/>
              <a:gd name="connsiteY3114" fmla="*/ 1122654 h 6689084"/>
              <a:gd name="connsiteX3115" fmla="*/ 4768012 w 6689088"/>
              <a:gd name="connsiteY3115" fmla="*/ 1120474 h 6689084"/>
              <a:gd name="connsiteX3116" fmla="*/ 4799964 w 6689088"/>
              <a:gd name="connsiteY3116" fmla="*/ 1152425 h 6689084"/>
              <a:gd name="connsiteX3117" fmla="*/ 4768012 w 6689088"/>
              <a:gd name="connsiteY3117" fmla="*/ 1184377 h 6689084"/>
              <a:gd name="connsiteX3118" fmla="*/ 4736061 w 6689088"/>
              <a:gd name="connsiteY3118" fmla="*/ 1152425 h 6689084"/>
              <a:gd name="connsiteX3119" fmla="*/ 4768012 w 6689088"/>
              <a:gd name="connsiteY3119" fmla="*/ 1120474 h 6689084"/>
              <a:gd name="connsiteX3120" fmla="*/ 4921594 w 6689088"/>
              <a:gd name="connsiteY3120" fmla="*/ 1118659 h 6689084"/>
              <a:gd name="connsiteX3121" fmla="*/ 4955364 w 6689088"/>
              <a:gd name="connsiteY3121" fmla="*/ 1152425 h 6689084"/>
              <a:gd name="connsiteX3122" fmla="*/ 4921594 w 6689088"/>
              <a:gd name="connsiteY3122" fmla="*/ 1186191 h 6689084"/>
              <a:gd name="connsiteX3123" fmla="*/ 4887828 w 6689088"/>
              <a:gd name="connsiteY3123" fmla="*/ 1152425 h 6689084"/>
              <a:gd name="connsiteX3124" fmla="*/ 4921594 w 6689088"/>
              <a:gd name="connsiteY3124" fmla="*/ 1118659 h 6689084"/>
              <a:gd name="connsiteX3125" fmla="*/ 5075541 w 6689088"/>
              <a:gd name="connsiteY3125" fmla="*/ 1116117 h 6689084"/>
              <a:gd name="connsiteX3126" fmla="*/ 5111850 w 6689088"/>
              <a:gd name="connsiteY3126" fmla="*/ 1152425 h 6689084"/>
              <a:gd name="connsiteX3127" fmla="*/ 5075541 w 6689088"/>
              <a:gd name="connsiteY3127" fmla="*/ 1188734 h 6689084"/>
              <a:gd name="connsiteX3128" fmla="*/ 5039233 w 6689088"/>
              <a:gd name="connsiteY3128" fmla="*/ 1152425 h 6689084"/>
              <a:gd name="connsiteX3129" fmla="*/ 5075541 w 6689088"/>
              <a:gd name="connsiteY3129" fmla="*/ 1116117 h 6689084"/>
              <a:gd name="connsiteX3130" fmla="*/ 5229126 w 6689088"/>
              <a:gd name="connsiteY3130" fmla="*/ 1113574 h 6689084"/>
              <a:gd name="connsiteX3131" fmla="*/ 5267978 w 6689088"/>
              <a:gd name="connsiteY3131" fmla="*/ 1152425 h 6689084"/>
              <a:gd name="connsiteX3132" fmla="*/ 5229126 w 6689088"/>
              <a:gd name="connsiteY3132" fmla="*/ 1191276 h 6689084"/>
              <a:gd name="connsiteX3133" fmla="*/ 5190276 w 6689088"/>
              <a:gd name="connsiteY3133" fmla="*/ 1152425 h 6689084"/>
              <a:gd name="connsiteX3134" fmla="*/ 5229126 w 6689088"/>
              <a:gd name="connsiteY3134" fmla="*/ 1113574 h 6689084"/>
              <a:gd name="connsiteX3135" fmla="*/ 5383074 w 6689088"/>
              <a:gd name="connsiteY3135" fmla="*/ 1111036 h 6689084"/>
              <a:gd name="connsiteX3136" fmla="*/ 5424102 w 6689088"/>
              <a:gd name="connsiteY3136" fmla="*/ 1152063 h 6689084"/>
              <a:gd name="connsiteX3137" fmla="*/ 5383074 w 6689088"/>
              <a:gd name="connsiteY3137" fmla="*/ 1193094 h 6689084"/>
              <a:gd name="connsiteX3138" fmla="*/ 5342046 w 6689088"/>
              <a:gd name="connsiteY3138" fmla="*/ 1152063 h 6689084"/>
              <a:gd name="connsiteX3139" fmla="*/ 5383074 w 6689088"/>
              <a:gd name="connsiteY3139" fmla="*/ 1111036 h 6689084"/>
              <a:gd name="connsiteX3140" fmla="*/ 5536659 w 6689088"/>
              <a:gd name="connsiteY3140" fmla="*/ 1108855 h 6689084"/>
              <a:gd name="connsiteX3141" fmla="*/ 5580229 w 6689088"/>
              <a:gd name="connsiteY3141" fmla="*/ 1152425 h 6689084"/>
              <a:gd name="connsiteX3142" fmla="*/ 5536659 w 6689088"/>
              <a:gd name="connsiteY3142" fmla="*/ 1195995 h 6689084"/>
              <a:gd name="connsiteX3143" fmla="*/ 5493089 w 6689088"/>
              <a:gd name="connsiteY3143" fmla="*/ 1152425 h 6689084"/>
              <a:gd name="connsiteX3144" fmla="*/ 5536659 w 6689088"/>
              <a:gd name="connsiteY3144" fmla="*/ 1108855 h 6689084"/>
              <a:gd name="connsiteX3145" fmla="*/ 5690602 w 6689088"/>
              <a:gd name="connsiteY3145" fmla="*/ 1106313 h 6689084"/>
              <a:gd name="connsiteX3146" fmla="*/ 5736716 w 6689088"/>
              <a:gd name="connsiteY3146" fmla="*/ 1152425 h 6689084"/>
              <a:gd name="connsiteX3147" fmla="*/ 5690602 w 6689088"/>
              <a:gd name="connsiteY3147" fmla="*/ 1198534 h 6689084"/>
              <a:gd name="connsiteX3148" fmla="*/ 5644490 w 6689088"/>
              <a:gd name="connsiteY3148" fmla="*/ 1152425 h 6689084"/>
              <a:gd name="connsiteX3149" fmla="*/ 5690602 w 6689088"/>
              <a:gd name="connsiteY3149" fmla="*/ 1106313 h 6689084"/>
              <a:gd name="connsiteX3150" fmla="*/ 5844554 w 6689088"/>
              <a:gd name="connsiteY3150" fmla="*/ 1103770 h 6689084"/>
              <a:gd name="connsiteX3151" fmla="*/ 5893205 w 6689088"/>
              <a:gd name="connsiteY3151" fmla="*/ 1152425 h 6689084"/>
              <a:gd name="connsiteX3152" fmla="*/ 5844554 w 6689088"/>
              <a:gd name="connsiteY3152" fmla="*/ 1201077 h 6689084"/>
              <a:gd name="connsiteX3153" fmla="*/ 5795899 w 6689088"/>
              <a:gd name="connsiteY3153" fmla="*/ 1152425 h 6689084"/>
              <a:gd name="connsiteX3154" fmla="*/ 5844554 w 6689088"/>
              <a:gd name="connsiteY3154" fmla="*/ 1103770 h 6689084"/>
              <a:gd name="connsiteX3155" fmla="*/ 5998136 w 6689088"/>
              <a:gd name="connsiteY3155" fmla="*/ 1101231 h 6689084"/>
              <a:gd name="connsiteX3156" fmla="*/ 6049333 w 6689088"/>
              <a:gd name="connsiteY3156" fmla="*/ 1152425 h 6689084"/>
              <a:gd name="connsiteX3157" fmla="*/ 5998136 w 6689088"/>
              <a:gd name="connsiteY3157" fmla="*/ 1203623 h 6689084"/>
              <a:gd name="connsiteX3158" fmla="*/ 5946942 w 6689088"/>
              <a:gd name="connsiteY3158" fmla="*/ 1152425 h 6689084"/>
              <a:gd name="connsiteX3159" fmla="*/ 5998136 w 6689088"/>
              <a:gd name="connsiteY3159" fmla="*/ 1101231 h 6689084"/>
              <a:gd name="connsiteX3160" fmla="*/ 6152083 w 6689088"/>
              <a:gd name="connsiteY3160" fmla="*/ 1099051 h 6689084"/>
              <a:gd name="connsiteX3161" fmla="*/ 6205461 w 6689088"/>
              <a:gd name="connsiteY3161" fmla="*/ 1152425 h 6689084"/>
              <a:gd name="connsiteX3162" fmla="*/ 6152083 w 6689088"/>
              <a:gd name="connsiteY3162" fmla="*/ 1205796 h 6689084"/>
              <a:gd name="connsiteX3163" fmla="*/ 6098712 w 6689088"/>
              <a:gd name="connsiteY3163" fmla="*/ 1152425 h 6689084"/>
              <a:gd name="connsiteX3164" fmla="*/ 6152083 w 6689088"/>
              <a:gd name="connsiteY3164" fmla="*/ 1099051 h 6689084"/>
              <a:gd name="connsiteX3165" fmla="*/ 6305672 w 6689088"/>
              <a:gd name="connsiteY3165" fmla="*/ 1096146 h 6689084"/>
              <a:gd name="connsiteX3166" fmla="*/ 6361947 w 6689088"/>
              <a:gd name="connsiteY3166" fmla="*/ 1152425 h 6689084"/>
              <a:gd name="connsiteX3167" fmla="*/ 6305672 w 6689088"/>
              <a:gd name="connsiteY3167" fmla="*/ 1208704 h 6689084"/>
              <a:gd name="connsiteX3168" fmla="*/ 6249393 w 6689088"/>
              <a:gd name="connsiteY3168" fmla="*/ 1152425 h 6689084"/>
              <a:gd name="connsiteX3169" fmla="*/ 6305672 w 6689088"/>
              <a:gd name="connsiteY3169" fmla="*/ 1096146 h 6689084"/>
              <a:gd name="connsiteX3170" fmla="*/ 6459616 w 6689088"/>
              <a:gd name="connsiteY3170" fmla="*/ 1093608 h 6689084"/>
              <a:gd name="connsiteX3171" fmla="*/ 6518437 w 6689088"/>
              <a:gd name="connsiteY3171" fmla="*/ 1152425 h 6689084"/>
              <a:gd name="connsiteX3172" fmla="*/ 6459616 w 6689088"/>
              <a:gd name="connsiteY3172" fmla="*/ 1211247 h 6689084"/>
              <a:gd name="connsiteX3173" fmla="*/ 6400798 w 6689088"/>
              <a:gd name="connsiteY3173" fmla="*/ 1152425 h 6689084"/>
              <a:gd name="connsiteX3174" fmla="*/ 6459616 w 6689088"/>
              <a:gd name="connsiteY3174" fmla="*/ 1093608 h 6689084"/>
              <a:gd name="connsiteX3175" fmla="*/ 6613200 w 6689088"/>
              <a:gd name="connsiteY3175" fmla="*/ 1090703 h 6689084"/>
              <a:gd name="connsiteX3176" fmla="*/ 6674923 w 6689088"/>
              <a:gd name="connsiteY3176" fmla="*/ 1152425 h 6689084"/>
              <a:gd name="connsiteX3177" fmla="*/ 6613200 w 6689088"/>
              <a:gd name="connsiteY3177" fmla="*/ 1214151 h 6689084"/>
              <a:gd name="connsiteX3178" fmla="*/ 6551474 w 6689088"/>
              <a:gd name="connsiteY3178" fmla="*/ 1152425 h 6689084"/>
              <a:gd name="connsiteX3179" fmla="*/ 6613200 w 6689088"/>
              <a:gd name="connsiteY3179" fmla="*/ 1090703 h 6689084"/>
              <a:gd name="connsiteX3180" fmla="*/ 1692331 w 6689088"/>
              <a:gd name="connsiteY3180" fmla="*/ 998116 h 6689084"/>
              <a:gd name="connsiteX3181" fmla="*/ 1692694 w 6689088"/>
              <a:gd name="connsiteY3181" fmla="*/ 998478 h 6689084"/>
              <a:gd name="connsiteX3182" fmla="*/ 1692331 w 6689088"/>
              <a:gd name="connsiteY3182" fmla="*/ 998844 h 6689084"/>
              <a:gd name="connsiteX3183" fmla="*/ 1691969 w 6689088"/>
              <a:gd name="connsiteY3183" fmla="*/ 998478 h 6689084"/>
              <a:gd name="connsiteX3184" fmla="*/ 1692331 w 6689088"/>
              <a:gd name="connsiteY3184" fmla="*/ 998116 h 6689084"/>
              <a:gd name="connsiteX3185" fmla="*/ 1231213 w 6689088"/>
              <a:gd name="connsiteY3185" fmla="*/ 998116 h 6689084"/>
              <a:gd name="connsiteX3186" fmla="*/ 1231576 w 6689088"/>
              <a:gd name="connsiteY3186" fmla="*/ 998478 h 6689084"/>
              <a:gd name="connsiteX3187" fmla="*/ 1231213 w 6689088"/>
              <a:gd name="connsiteY3187" fmla="*/ 998844 h 6689084"/>
              <a:gd name="connsiteX3188" fmla="*/ 1230851 w 6689088"/>
              <a:gd name="connsiteY3188" fmla="*/ 998478 h 6689084"/>
              <a:gd name="connsiteX3189" fmla="*/ 1231213 w 6689088"/>
              <a:gd name="connsiteY3189" fmla="*/ 998116 h 6689084"/>
              <a:gd name="connsiteX3190" fmla="*/ 1077266 w 6689088"/>
              <a:gd name="connsiteY3190" fmla="*/ 998116 h 6689084"/>
              <a:gd name="connsiteX3191" fmla="*/ 1077628 w 6689088"/>
              <a:gd name="connsiteY3191" fmla="*/ 998478 h 6689084"/>
              <a:gd name="connsiteX3192" fmla="*/ 1077266 w 6689088"/>
              <a:gd name="connsiteY3192" fmla="*/ 998844 h 6689084"/>
              <a:gd name="connsiteX3193" fmla="*/ 1076904 w 6689088"/>
              <a:gd name="connsiteY3193" fmla="*/ 998478 h 6689084"/>
              <a:gd name="connsiteX3194" fmla="*/ 1077266 w 6689088"/>
              <a:gd name="connsiteY3194" fmla="*/ 998116 h 6689084"/>
              <a:gd name="connsiteX3195" fmla="*/ 923685 w 6689088"/>
              <a:gd name="connsiteY3195" fmla="*/ 997754 h 6689084"/>
              <a:gd name="connsiteX3196" fmla="*/ 924409 w 6689088"/>
              <a:gd name="connsiteY3196" fmla="*/ 998482 h 6689084"/>
              <a:gd name="connsiteX3197" fmla="*/ 923685 w 6689088"/>
              <a:gd name="connsiteY3197" fmla="*/ 999206 h 6689084"/>
              <a:gd name="connsiteX3198" fmla="*/ 922957 w 6689088"/>
              <a:gd name="connsiteY3198" fmla="*/ 998482 h 6689084"/>
              <a:gd name="connsiteX3199" fmla="*/ 923685 w 6689088"/>
              <a:gd name="connsiteY3199" fmla="*/ 997754 h 6689084"/>
              <a:gd name="connsiteX3200" fmla="*/ 1846279 w 6689088"/>
              <a:gd name="connsiteY3200" fmla="*/ 997025 h 6689084"/>
              <a:gd name="connsiteX3201" fmla="*/ 1847731 w 6689088"/>
              <a:gd name="connsiteY3201" fmla="*/ 998478 h 6689084"/>
              <a:gd name="connsiteX3202" fmla="*/ 1846279 w 6689088"/>
              <a:gd name="connsiteY3202" fmla="*/ 999930 h 6689084"/>
              <a:gd name="connsiteX3203" fmla="*/ 1844826 w 6689088"/>
              <a:gd name="connsiteY3203" fmla="*/ 998478 h 6689084"/>
              <a:gd name="connsiteX3204" fmla="*/ 1846279 w 6689088"/>
              <a:gd name="connsiteY3204" fmla="*/ 997025 h 6689084"/>
              <a:gd name="connsiteX3205" fmla="*/ 1999860 w 6689088"/>
              <a:gd name="connsiteY3205" fmla="*/ 996301 h 6689084"/>
              <a:gd name="connsiteX3206" fmla="*/ 2002041 w 6689088"/>
              <a:gd name="connsiteY3206" fmla="*/ 998478 h 6689084"/>
              <a:gd name="connsiteX3207" fmla="*/ 1999860 w 6689088"/>
              <a:gd name="connsiteY3207" fmla="*/ 1000658 h 6689084"/>
              <a:gd name="connsiteX3208" fmla="*/ 1997684 w 6689088"/>
              <a:gd name="connsiteY3208" fmla="*/ 998478 h 6689084"/>
              <a:gd name="connsiteX3209" fmla="*/ 1999860 w 6689088"/>
              <a:gd name="connsiteY3209" fmla="*/ 996301 h 6689084"/>
              <a:gd name="connsiteX3210" fmla="*/ 2153808 w 6689088"/>
              <a:gd name="connsiteY3210" fmla="*/ 995573 h 6689084"/>
              <a:gd name="connsiteX3211" fmla="*/ 2157074 w 6689088"/>
              <a:gd name="connsiteY3211" fmla="*/ 998840 h 6689084"/>
              <a:gd name="connsiteX3212" fmla="*/ 2153808 w 6689088"/>
              <a:gd name="connsiteY3212" fmla="*/ 1002110 h 6689084"/>
              <a:gd name="connsiteX3213" fmla="*/ 2150541 w 6689088"/>
              <a:gd name="connsiteY3213" fmla="*/ 998840 h 6689084"/>
              <a:gd name="connsiteX3214" fmla="*/ 2153808 w 6689088"/>
              <a:gd name="connsiteY3214" fmla="*/ 995573 h 6689084"/>
              <a:gd name="connsiteX3215" fmla="*/ 2307393 w 6689088"/>
              <a:gd name="connsiteY3215" fmla="*/ 994121 h 6689084"/>
              <a:gd name="connsiteX3216" fmla="*/ 2311750 w 6689088"/>
              <a:gd name="connsiteY3216" fmla="*/ 998478 h 6689084"/>
              <a:gd name="connsiteX3217" fmla="*/ 2307393 w 6689088"/>
              <a:gd name="connsiteY3217" fmla="*/ 1002835 h 6689084"/>
              <a:gd name="connsiteX3218" fmla="*/ 2303036 w 6689088"/>
              <a:gd name="connsiteY3218" fmla="*/ 998478 h 6689084"/>
              <a:gd name="connsiteX3219" fmla="*/ 2307393 w 6689088"/>
              <a:gd name="connsiteY3219" fmla="*/ 994121 h 6689084"/>
              <a:gd name="connsiteX3220" fmla="*/ 2461340 w 6689088"/>
              <a:gd name="connsiteY3220" fmla="*/ 993031 h 6689084"/>
              <a:gd name="connsiteX3221" fmla="*/ 2467150 w 6689088"/>
              <a:gd name="connsiteY3221" fmla="*/ 998840 h 6689084"/>
              <a:gd name="connsiteX3222" fmla="*/ 2461340 w 6689088"/>
              <a:gd name="connsiteY3222" fmla="*/ 1004649 h 6689084"/>
              <a:gd name="connsiteX3223" fmla="*/ 2455531 w 6689088"/>
              <a:gd name="connsiteY3223" fmla="*/ 998840 h 6689084"/>
              <a:gd name="connsiteX3224" fmla="*/ 2461340 w 6689088"/>
              <a:gd name="connsiteY3224" fmla="*/ 993031 h 6689084"/>
              <a:gd name="connsiteX3225" fmla="*/ 2614925 w 6689088"/>
              <a:gd name="connsiteY3225" fmla="*/ 991216 h 6689084"/>
              <a:gd name="connsiteX3226" fmla="*/ 2622187 w 6689088"/>
              <a:gd name="connsiteY3226" fmla="*/ 998478 h 6689084"/>
              <a:gd name="connsiteX3227" fmla="*/ 2614925 w 6689088"/>
              <a:gd name="connsiteY3227" fmla="*/ 1005739 h 6689084"/>
              <a:gd name="connsiteX3228" fmla="*/ 2607664 w 6689088"/>
              <a:gd name="connsiteY3228" fmla="*/ 998478 h 6689084"/>
              <a:gd name="connsiteX3229" fmla="*/ 2614925 w 6689088"/>
              <a:gd name="connsiteY3229" fmla="*/ 991216 h 6689084"/>
              <a:gd name="connsiteX3230" fmla="*/ 2768873 w 6689088"/>
              <a:gd name="connsiteY3230" fmla="*/ 989402 h 6689084"/>
              <a:gd name="connsiteX3231" fmla="*/ 2777953 w 6689088"/>
              <a:gd name="connsiteY3231" fmla="*/ 998478 h 6689084"/>
              <a:gd name="connsiteX3232" fmla="*/ 2768873 w 6689088"/>
              <a:gd name="connsiteY3232" fmla="*/ 1007558 h 6689084"/>
              <a:gd name="connsiteX3233" fmla="*/ 2759797 w 6689088"/>
              <a:gd name="connsiteY3233" fmla="*/ 998478 h 6689084"/>
              <a:gd name="connsiteX3234" fmla="*/ 2768873 w 6689088"/>
              <a:gd name="connsiteY3234" fmla="*/ 989402 h 6689084"/>
              <a:gd name="connsiteX3235" fmla="*/ 2922458 w 6689088"/>
              <a:gd name="connsiteY3235" fmla="*/ 988311 h 6689084"/>
              <a:gd name="connsiteX3236" fmla="*/ 2932624 w 6689088"/>
              <a:gd name="connsiteY3236" fmla="*/ 998478 h 6689084"/>
              <a:gd name="connsiteX3237" fmla="*/ 2922458 w 6689088"/>
              <a:gd name="connsiteY3237" fmla="*/ 1008644 h 6689084"/>
              <a:gd name="connsiteX3238" fmla="*/ 2912292 w 6689088"/>
              <a:gd name="connsiteY3238" fmla="*/ 998478 h 6689084"/>
              <a:gd name="connsiteX3239" fmla="*/ 2922458 w 6689088"/>
              <a:gd name="connsiteY3239" fmla="*/ 988311 h 6689084"/>
              <a:gd name="connsiteX3240" fmla="*/ 3076402 w 6689088"/>
              <a:gd name="connsiteY3240" fmla="*/ 986497 h 6689084"/>
              <a:gd name="connsiteX3241" fmla="*/ 3088386 w 6689088"/>
              <a:gd name="connsiteY3241" fmla="*/ 998478 h 6689084"/>
              <a:gd name="connsiteX3242" fmla="*/ 3076402 w 6689088"/>
              <a:gd name="connsiteY3242" fmla="*/ 1010459 h 6689084"/>
              <a:gd name="connsiteX3243" fmla="*/ 3064421 w 6689088"/>
              <a:gd name="connsiteY3243" fmla="*/ 998478 h 6689084"/>
              <a:gd name="connsiteX3244" fmla="*/ 3076402 w 6689088"/>
              <a:gd name="connsiteY3244" fmla="*/ 986497 h 6689084"/>
              <a:gd name="connsiteX3245" fmla="*/ 3230353 w 6689088"/>
              <a:gd name="connsiteY3245" fmla="*/ 984683 h 6689084"/>
              <a:gd name="connsiteX3246" fmla="*/ 3244148 w 6689088"/>
              <a:gd name="connsiteY3246" fmla="*/ 998482 h 6689084"/>
              <a:gd name="connsiteX3247" fmla="*/ 3230353 w 6689088"/>
              <a:gd name="connsiteY3247" fmla="*/ 1012277 h 6689084"/>
              <a:gd name="connsiteX3248" fmla="*/ 3216554 w 6689088"/>
              <a:gd name="connsiteY3248" fmla="*/ 998482 h 6689084"/>
              <a:gd name="connsiteX3249" fmla="*/ 3230353 w 6689088"/>
              <a:gd name="connsiteY3249" fmla="*/ 984683 h 6689084"/>
              <a:gd name="connsiteX3250" fmla="*/ 3383934 w 6689088"/>
              <a:gd name="connsiteY3250" fmla="*/ 983230 h 6689084"/>
              <a:gd name="connsiteX3251" fmla="*/ 3399186 w 6689088"/>
              <a:gd name="connsiteY3251" fmla="*/ 998482 h 6689084"/>
              <a:gd name="connsiteX3252" fmla="*/ 3383934 w 6689088"/>
              <a:gd name="connsiteY3252" fmla="*/ 1013729 h 6689084"/>
              <a:gd name="connsiteX3253" fmla="*/ 3368687 w 6689088"/>
              <a:gd name="connsiteY3253" fmla="*/ 998482 h 6689084"/>
              <a:gd name="connsiteX3254" fmla="*/ 3383934 w 6689088"/>
              <a:gd name="connsiteY3254" fmla="*/ 983230 h 6689084"/>
              <a:gd name="connsiteX3255" fmla="*/ 3537886 w 6689088"/>
              <a:gd name="connsiteY3255" fmla="*/ 981412 h 6689084"/>
              <a:gd name="connsiteX3256" fmla="*/ 3554951 w 6689088"/>
              <a:gd name="connsiteY3256" fmla="*/ 998478 h 6689084"/>
              <a:gd name="connsiteX3257" fmla="*/ 3537886 w 6689088"/>
              <a:gd name="connsiteY3257" fmla="*/ 1015540 h 6689084"/>
              <a:gd name="connsiteX3258" fmla="*/ 3520820 w 6689088"/>
              <a:gd name="connsiteY3258" fmla="*/ 998478 h 6689084"/>
              <a:gd name="connsiteX3259" fmla="*/ 3537886 w 6689088"/>
              <a:gd name="connsiteY3259" fmla="*/ 981412 h 6689084"/>
              <a:gd name="connsiteX3260" fmla="*/ 3691467 w 6689088"/>
              <a:gd name="connsiteY3260" fmla="*/ 979235 h 6689084"/>
              <a:gd name="connsiteX3261" fmla="*/ 3710710 w 6689088"/>
              <a:gd name="connsiteY3261" fmla="*/ 998478 h 6689084"/>
              <a:gd name="connsiteX3262" fmla="*/ 3691467 w 6689088"/>
              <a:gd name="connsiteY3262" fmla="*/ 1017724 h 6689084"/>
              <a:gd name="connsiteX3263" fmla="*/ 3672224 w 6689088"/>
              <a:gd name="connsiteY3263" fmla="*/ 998478 h 6689084"/>
              <a:gd name="connsiteX3264" fmla="*/ 3691467 w 6689088"/>
              <a:gd name="connsiteY3264" fmla="*/ 979235 h 6689084"/>
              <a:gd name="connsiteX3265" fmla="*/ 3845418 w 6689088"/>
              <a:gd name="connsiteY3265" fmla="*/ 977055 h 6689084"/>
              <a:gd name="connsiteX3266" fmla="*/ 3866841 w 6689088"/>
              <a:gd name="connsiteY3266" fmla="*/ 998478 h 6689084"/>
              <a:gd name="connsiteX3267" fmla="*/ 3845418 w 6689088"/>
              <a:gd name="connsiteY3267" fmla="*/ 1019901 h 6689084"/>
              <a:gd name="connsiteX3268" fmla="*/ 3823995 w 6689088"/>
              <a:gd name="connsiteY3268" fmla="*/ 998478 h 6689084"/>
              <a:gd name="connsiteX3269" fmla="*/ 3845418 w 6689088"/>
              <a:gd name="connsiteY3269" fmla="*/ 977055 h 6689084"/>
              <a:gd name="connsiteX3270" fmla="*/ 3999000 w 6689088"/>
              <a:gd name="connsiteY3270" fmla="*/ 975603 h 6689084"/>
              <a:gd name="connsiteX3271" fmla="*/ 4021871 w 6689088"/>
              <a:gd name="connsiteY3271" fmla="*/ 998478 h 6689084"/>
              <a:gd name="connsiteX3272" fmla="*/ 3999000 w 6689088"/>
              <a:gd name="connsiteY3272" fmla="*/ 1021349 h 6689084"/>
              <a:gd name="connsiteX3273" fmla="*/ 3976124 w 6689088"/>
              <a:gd name="connsiteY3273" fmla="*/ 998478 h 6689084"/>
              <a:gd name="connsiteX3274" fmla="*/ 3999000 w 6689088"/>
              <a:gd name="connsiteY3274" fmla="*/ 975603 h 6689084"/>
              <a:gd name="connsiteX3275" fmla="*/ 4152947 w 6689088"/>
              <a:gd name="connsiteY3275" fmla="*/ 973426 h 6689084"/>
              <a:gd name="connsiteX3276" fmla="*/ 4178002 w 6689088"/>
              <a:gd name="connsiteY3276" fmla="*/ 998478 h 6689084"/>
              <a:gd name="connsiteX3277" fmla="*/ 4152947 w 6689088"/>
              <a:gd name="connsiteY3277" fmla="*/ 1023533 h 6689084"/>
              <a:gd name="connsiteX3278" fmla="*/ 4127895 w 6689088"/>
              <a:gd name="connsiteY3278" fmla="*/ 998478 h 6689084"/>
              <a:gd name="connsiteX3279" fmla="*/ 4152947 w 6689088"/>
              <a:gd name="connsiteY3279" fmla="*/ 973426 h 6689084"/>
              <a:gd name="connsiteX3280" fmla="*/ 4306532 w 6689088"/>
              <a:gd name="connsiteY3280" fmla="*/ 971246 h 6689084"/>
              <a:gd name="connsiteX3281" fmla="*/ 4333764 w 6689088"/>
              <a:gd name="connsiteY3281" fmla="*/ 998478 h 6689084"/>
              <a:gd name="connsiteX3282" fmla="*/ 4306532 w 6689088"/>
              <a:gd name="connsiteY3282" fmla="*/ 1025710 h 6689084"/>
              <a:gd name="connsiteX3283" fmla="*/ 4279300 w 6689088"/>
              <a:gd name="connsiteY3283" fmla="*/ 998478 h 6689084"/>
              <a:gd name="connsiteX3284" fmla="*/ 4306532 w 6689088"/>
              <a:gd name="connsiteY3284" fmla="*/ 971246 h 6689084"/>
              <a:gd name="connsiteX3285" fmla="*/ 4460476 w 6689088"/>
              <a:gd name="connsiteY3285" fmla="*/ 968707 h 6689084"/>
              <a:gd name="connsiteX3286" fmla="*/ 4490250 w 6689088"/>
              <a:gd name="connsiteY3286" fmla="*/ 998482 h 6689084"/>
              <a:gd name="connsiteX3287" fmla="*/ 4460476 w 6689088"/>
              <a:gd name="connsiteY3287" fmla="*/ 1028252 h 6689084"/>
              <a:gd name="connsiteX3288" fmla="*/ 4430705 w 6689088"/>
              <a:gd name="connsiteY3288" fmla="*/ 998482 h 6689084"/>
              <a:gd name="connsiteX3289" fmla="*/ 4460476 w 6689088"/>
              <a:gd name="connsiteY3289" fmla="*/ 968707 h 6689084"/>
              <a:gd name="connsiteX3290" fmla="*/ 4614061 w 6689088"/>
              <a:gd name="connsiteY3290" fmla="*/ 966526 h 6689084"/>
              <a:gd name="connsiteX3291" fmla="*/ 4646012 w 6689088"/>
              <a:gd name="connsiteY3291" fmla="*/ 998478 h 6689084"/>
              <a:gd name="connsiteX3292" fmla="*/ 4614061 w 6689088"/>
              <a:gd name="connsiteY3292" fmla="*/ 1030429 h 6689084"/>
              <a:gd name="connsiteX3293" fmla="*/ 4582110 w 6689088"/>
              <a:gd name="connsiteY3293" fmla="*/ 998478 h 6689084"/>
              <a:gd name="connsiteX3294" fmla="*/ 4614061 w 6689088"/>
              <a:gd name="connsiteY3294" fmla="*/ 966526 h 6689084"/>
              <a:gd name="connsiteX3295" fmla="*/ 4768008 w 6689088"/>
              <a:gd name="connsiteY3295" fmla="*/ 964712 h 6689084"/>
              <a:gd name="connsiteX3296" fmla="*/ 4801778 w 6689088"/>
              <a:gd name="connsiteY3296" fmla="*/ 998478 h 6689084"/>
              <a:gd name="connsiteX3297" fmla="*/ 4768008 w 6689088"/>
              <a:gd name="connsiteY3297" fmla="*/ 1032247 h 6689084"/>
              <a:gd name="connsiteX3298" fmla="*/ 4734242 w 6689088"/>
              <a:gd name="connsiteY3298" fmla="*/ 998478 h 6689084"/>
              <a:gd name="connsiteX3299" fmla="*/ 4768008 w 6689088"/>
              <a:gd name="connsiteY3299" fmla="*/ 964712 h 6689084"/>
              <a:gd name="connsiteX3300" fmla="*/ 4921594 w 6689088"/>
              <a:gd name="connsiteY3300" fmla="*/ 962169 h 6689084"/>
              <a:gd name="connsiteX3301" fmla="*/ 4957902 w 6689088"/>
              <a:gd name="connsiteY3301" fmla="*/ 998478 h 6689084"/>
              <a:gd name="connsiteX3302" fmla="*/ 4921594 w 6689088"/>
              <a:gd name="connsiteY3302" fmla="*/ 1034786 h 6689084"/>
              <a:gd name="connsiteX3303" fmla="*/ 4885286 w 6689088"/>
              <a:gd name="connsiteY3303" fmla="*/ 998478 h 6689084"/>
              <a:gd name="connsiteX3304" fmla="*/ 4921594 w 6689088"/>
              <a:gd name="connsiteY3304" fmla="*/ 962169 h 6689084"/>
              <a:gd name="connsiteX3305" fmla="*/ 5075545 w 6689088"/>
              <a:gd name="connsiteY3305" fmla="*/ 959627 h 6689084"/>
              <a:gd name="connsiteX3306" fmla="*/ 5114392 w 6689088"/>
              <a:gd name="connsiteY3306" fmla="*/ 998478 h 6689084"/>
              <a:gd name="connsiteX3307" fmla="*/ 5075545 w 6689088"/>
              <a:gd name="connsiteY3307" fmla="*/ 1037325 h 6689084"/>
              <a:gd name="connsiteX3308" fmla="*/ 5036694 w 6689088"/>
              <a:gd name="connsiteY3308" fmla="*/ 998478 h 6689084"/>
              <a:gd name="connsiteX3309" fmla="*/ 5075545 w 6689088"/>
              <a:gd name="connsiteY3309" fmla="*/ 959627 h 6689084"/>
              <a:gd name="connsiteX3310" fmla="*/ 5229126 w 6689088"/>
              <a:gd name="connsiteY3310" fmla="*/ 957450 h 6689084"/>
              <a:gd name="connsiteX3311" fmla="*/ 5270158 w 6689088"/>
              <a:gd name="connsiteY3311" fmla="*/ 998478 h 6689084"/>
              <a:gd name="connsiteX3312" fmla="*/ 5229126 w 6689088"/>
              <a:gd name="connsiteY3312" fmla="*/ 1039505 h 6689084"/>
              <a:gd name="connsiteX3313" fmla="*/ 5188099 w 6689088"/>
              <a:gd name="connsiteY3313" fmla="*/ 998478 h 6689084"/>
              <a:gd name="connsiteX3314" fmla="*/ 5229126 w 6689088"/>
              <a:gd name="connsiteY3314" fmla="*/ 957450 h 6689084"/>
              <a:gd name="connsiteX3315" fmla="*/ 5383074 w 6689088"/>
              <a:gd name="connsiteY3315" fmla="*/ 954908 h 6689084"/>
              <a:gd name="connsiteX3316" fmla="*/ 5426644 w 6689088"/>
              <a:gd name="connsiteY3316" fmla="*/ 998478 h 6689084"/>
              <a:gd name="connsiteX3317" fmla="*/ 5383074 w 6689088"/>
              <a:gd name="connsiteY3317" fmla="*/ 1042048 h 6689084"/>
              <a:gd name="connsiteX3318" fmla="*/ 5339504 w 6689088"/>
              <a:gd name="connsiteY3318" fmla="*/ 998478 h 6689084"/>
              <a:gd name="connsiteX3319" fmla="*/ 5383074 w 6689088"/>
              <a:gd name="connsiteY3319" fmla="*/ 954908 h 6689084"/>
              <a:gd name="connsiteX3320" fmla="*/ 5537018 w 6689088"/>
              <a:gd name="connsiteY3320" fmla="*/ 952365 h 6689084"/>
              <a:gd name="connsiteX3321" fmla="*/ 5583130 w 6689088"/>
              <a:gd name="connsiteY3321" fmla="*/ 998478 h 6689084"/>
              <a:gd name="connsiteX3322" fmla="*/ 5537018 w 6689088"/>
              <a:gd name="connsiteY3322" fmla="*/ 1044590 h 6689084"/>
              <a:gd name="connsiteX3323" fmla="*/ 5490908 w 6689088"/>
              <a:gd name="connsiteY3323" fmla="*/ 998478 h 6689084"/>
              <a:gd name="connsiteX3324" fmla="*/ 5537018 w 6689088"/>
              <a:gd name="connsiteY3324" fmla="*/ 952365 h 6689084"/>
              <a:gd name="connsiteX3325" fmla="*/ 5690606 w 6689088"/>
              <a:gd name="connsiteY3325" fmla="*/ 949823 h 6689084"/>
              <a:gd name="connsiteX3326" fmla="*/ 5739258 w 6689088"/>
              <a:gd name="connsiteY3326" fmla="*/ 998478 h 6689084"/>
              <a:gd name="connsiteX3327" fmla="*/ 5690606 w 6689088"/>
              <a:gd name="connsiteY3327" fmla="*/ 1047129 h 6689084"/>
              <a:gd name="connsiteX3328" fmla="*/ 5641952 w 6689088"/>
              <a:gd name="connsiteY3328" fmla="*/ 998478 h 6689084"/>
              <a:gd name="connsiteX3329" fmla="*/ 5690606 w 6689088"/>
              <a:gd name="connsiteY3329" fmla="*/ 949823 h 6689084"/>
              <a:gd name="connsiteX3330" fmla="*/ 5844554 w 6689088"/>
              <a:gd name="connsiteY3330" fmla="*/ 947284 h 6689084"/>
              <a:gd name="connsiteX3331" fmla="*/ 5895748 w 6689088"/>
              <a:gd name="connsiteY3331" fmla="*/ 998478 h 6689084"/>
              <a:gd name="connsiteX3332" fmla="*/ 5844554 w 6689088"/>
              <a:gd name="connsiteY3332" fmla="*/ 1049672 h 6689084"/>
              <a:gd name="connsiteX3333" fmla="*/ 5793360 w 6689088"/>
              <a:gd name="connsiteY3333" fmla="*/ 998478 h 6689084"/>
              <a:gd name="connsiteX3334" fmla="*/ 5844554 w 6689088"/>
              <a:gd name="connsiteY3334" fmla="*/ 947284 h 6689084"/>
              <a:gd name="connsiteX3335" fmla="*/ 5998136 w 6689088"/>
              <a:gd name="connsiteY3335" fmla="*/ 945104 h 6689084"/>
              <a:gd name="connsiteX3336" fmla="*/ 6051514 w 6689088"/>
              <a:gd name="connsiteY3336" fmla="*/ 998478 h 6689084"/>
              <a:gd name="connsiteX3337" fmla="*/ 5998136 w 6689088"/>
              <a:gd name="connsiteY3337" fmla="*/ 1051848 h 6689084"/>
              <a:gd name="connsiteX3338" fmla="*/ 5944765 w 6689088"/>
              <a:gd name="connsiteY3338" fmla="*/ 998478 h 6689084"/>
              <a:gd name="connsiteX3339" fmla="*/ 5998136 w 6689088"/>
              <a:gd name="connsiteY3339" fmla="*/ 945104 h 6689084"/>
              <a:gd name="connsiteX3340" fmla="*/ 6152086 w 6689088"/>
              <a:gd name="connsiteY3340" fmla="*/ 942199 h 6689084"/>
              <a:gd name="connsiteX3341" fmla="*/ 6208366 w 6689088"/>
              <a:gd name="connsiteY3341" fmla="*/ 998478 h 6689084"/>
              <a:gd name="connsiteX3342" fmla="*/ 6152086 w 6689088"/>
              <a:gd name="connsiteY3342" fmla="*/ 1054753 h 6689084"/>
              <a:gd name="connsiteX3343" fmla="*/ 6095808 w 6689088"/>
              <a:gd name="connsiteY3343" fmla="*/ 998478 h 6689084"/>
              <a:gd name="connsiteX3344" fmla="*/ 6152086 w 6689088"/>
              <a:gd name="connsiteY3344" fmla="*/ 942199 h 6689084"/>
              <a:gd name="connsiteX3345" fmla="*/ 6305672 w 6689088"/>
              <a:gd name="connsiteY3345" fmla="*/ 939660 h 6689084"/>
              <a:gd name="connsiteX3346" fmla="*/ 6364490 w 6689088"/>
              <a:gd name="connsiteY3346" fmla="*/ 998482 h 6689084"/>
              <a:gd name="connsiteX3347" fmla="*/ 6305672 w 6689088"/>
              <a:gd name="connsiteY3347" fmla="*/ 1057299 h 6689084"/>
              <a:gd name="connsiteX3348" fmla="*/ 6246850 w 6689088"/>
              <a:gd name="connsiteY3348" fmla="*/ 998482 h 6689084"/>
              <a:gd name="connsiteX3349" fmla="*/ 6305672 w 6689088"/>
              <a:gd name="connsiteY3349" fmla="*/ 939660 h 6689084"/>
              <a:gd name="connsiteX3350" fmla="*/ 6459619 w 6689088"/>
              <a:gd name="connsiteY3350" fmla="*/ 937118 h 6689084"/>
              <a:gd name="connsiteX3351" fmla="*/ 6521342 w 6689088"/>
              <a:gd name="connsiteY3351" fmla="*/ 998844 h 6689084"/>
              <a:gd name="connsiteX3352" fmla="*/ 6459619 w 6689088"/>
              <a:gd name="connsiteY3352" fmla="*/ 1060566 h 6689084"/>
              <a:gd name="connsiteX3353" fmla="*/ 6397893 w 6689088"/>
              <a:gd name="connsiteY3353" fmla="*/ 998844 h 6689084"/>
              <a:gd name="connsiteX3354" fmla="*/ 6459619 w 6689088"/>
              <a:gd name="connsiteY3354" fmla="*/ 937118 h 6689084"/>
              <a:gd name="connsiteX3355" fmla="*/ 6613200 w 6689088"/>
              <a:gd name="connsiteY3355" fmla="*/ 934213 h 6689084"/>
              <a:gd name="connsiteX3356" fmla="*/ 6677470 w 6689088"/>
              <a:gd name="connsiteY3356" fmla="*/ 998478 h 6689084"/>
              <a:gd name="connsiteX3357" fmla="*/ 6613200 w 6689088"/>
              <a:gd name="connsiteY3357" fmla="*/ 1062746 h 6689084"/>
              <a:gd name="connsiteX3358" fmla="*/ 6548936 w 6689088"/>
              <a:gd name="connsiteY3358" fmla="*/ 998478 h 6689084"/>
              <a:gd name="connsiteX3359" fmla="*/ 6613200 w 6689088"/>
              <a:gd name="connsiteY3359" fmla="*/ 934213 h 6689084"/>
              <a:gd name="connsiteX3360" fmla="*/ 1538746 w 6689088"/>
              <a:gd name="connsiteY3360" fmla="*/ 844530 h 6689084"/>
              <a:gd name="connsiteX3361" fmla="*/ 1539108 w 6689088"/>
              <a:gd name="connsiteY3361" fmla="*/ 844893 h 6689084"/>
              <a:gd name="connsiteX3362" fmla="*/ 1538746 w 6689088"/>
              <a:gd name="connsiteY3362" fmla="*/ 845258 h 6689084"/>
              <a:gd name="connsiteX3363" fmla="*/ 1538384 w 6689088"/>
              <a:gd name="connsiteY3363" fmla="*/ 844893 h 6689084"/>
              <a:gd name="connsiteX3364" fmla="*/ 1538746 w 6689088"/>
              <a:gd name="connsiteY3364" fmla="*/ 844530 h 6689084"/>
              <a:gd name="connsiteX3365" fmla="*/ 1077266 w 6689088"/>
              <a:gd name="connsiteY3365" fmla="*/ 844530 h 6689084"/>
              <a:gd name="connsiteX3366" fmla="*/ 1077628 w 6689088"/>
              <a:gd name="connsiteY3366" fmla="*/ 844893 h 6689084"/>
              <a:gd name="connsiteX3367" fmla="*/ 1077266 w 6689088"/>
              <a:gd name="connsiteY3367" fmla="*/ 845258 h 6689084"/>
              <a:gd name="connsiteX3368" fmla="*/ 1076904 w 6689088"/>
              <a:gd name="connsiteY3368" fmla="*/ 844893 h 6689084"/>
              <a:gd name="connsiteX3369" fmla="*/ 1077266 w 6689088"/>
              <a:gd name="connsiteY3369" fmla="*/ 844530 h 6689084"/>
              <a:gd name="connsiteX3370" fmla="*/ 923681 w 6689088"/>
              <a:gd name="connsiteY3370" fmla="*/ 844530 h 6689084"/>
              <a:gd name="connsiteX3371" fmla="*/ 924043 w 6689088"/>
              <a:gd name="connsiteY3371" fmla="*/ 844893 h 6689084"/>
              <a:gd name="connsiteX3372" fmla="*/ 923681 w 6689088"/>
              <a:gd name="connsiteY3372" fmla="*/ 845258 h 6689084"/>
              <a:gd name="connsiteX3373" fmla="*/ 923319 w 6689088"/>
              <a:gd name="connsiteY3373" fmla="*/ 844893 h 6689084"/>
              <a:gd name="connsiteX3374" fmla="*/ 923681 w 6689088"/>
              <a:gd name="connsiteY3374" fmla="*/ 844530 h 6689084"/>
              <a:gd name="connsiteX3375" fmla="*/ 769737 w 6689088"/>
              <a:gd name="connsiteY3375" fmla="*/ 844168 h 6689084"/>
              <a:gd name="connsiteX3376" fmla="*/ 770461 w 6689088"/>
              <a:gd name="connsiteY3376" fmla="*/ 844896 h 6689084"/>
              <a:gd name="connsiteX3377" fmla="*/ 769737 w 6689088"/>
              <a:gd name="connsiteY3377" fmla="*/ 845621 h 6689084"/>
              <a:gd name="connsiteX3378" fmla="*/ 769009 w 6689088"/>
              <a:gd name="connsiteY3378" fmla="*/ 844896 h 6689084"/>
              <a:gd name="connsiteX3379" fmla="*/ 769737 w 6689088"/>
              <a:gd name="connsiteY3379" fmla="*/ 844168 h 6689084"/>
              <a:gd name="connsiteX3380" fmla="*/ 1692331 w 6689088"/>
              <a:gd name="connsiteY3380" fmla="*/ 843078 h 6689084"/>
              <a:gd name="connsiteX3381" fmla="*/ 1693784 w 6689088"/>
              <a:gd name="connsiteY3381" fmla="*/ 844530 h 6689084"/>
              <a:gd name="connsiteX3382" fmla="*/ 1692331 w 6689088"/>
              <a:gd name="connsiteY3382" fmla="*/ 845983 h 6689084"/>
              <a:gd name="connsiteX3383" fmla="*/ 1690879 w 6689088"/>
              <a:gd name="connsiteY3383" fmla="*/ 844530 h 6689084"/>
              <a:gd name="connsiteX3384" fmla="*/ 1692331 w 6689088"/>
              <a:gd name="connsiteY3384" fmla="*/ 843078 h 6689084"/>
              <a:gd name="connsiteX3385" fmla="*/ 1846279 w 6689088"/>
              <a:gd name="connsiteY3385" fmla="*/ 842716 h 6689084"/>
              <a:gd name="connsiteX3386" fmla="*/ 1848455 w 6689088"/>
              <a:gd name="connsiteY3386" fmla="*/ 844896 h 6689084"/>
              <a:gd name="connsiteX3387" fmla="*/ 1846279 w 6689088"/>
              <a:gd name="connsiteY3387" fmla="*/ 847073 h 6689084"/>
              <a:gd name="connsiteX3388" fmla="*/ 1844098 w 6689088"/>
              <a:gd name="connsiteY3388" fmla="*/ 844896 h 6689084"/>
              <a:gd name="connsiteX3389" fmla="*/ 1846279 w 6689088"/>
              <a:gd name="connsiteY3389" fmla="*/ 842716 h 6689084"/>
              <a:gd name="connsiteX3390" fmla="*/ 1999860 w 6689088"/>
              <a:gd name="connsiteY3390" fmla="*/ 841626 h 6689084"/>
              <a:gd name="connsiteX3391" fmla="*/ 2003127 w 6689088"/>
              <a:gd name="connsiteY3391" fmla="*/ 844893 h 6689084"/>
              <a:gd name="connsiteX3392" fmla="*/ 1999860 w 6689088"/>
              <a:gd name="connsiteY3392" fmla="*/ 848163 h 6689084"/>
              <a:gd name="connsiteX3393" fmla="*/ 1996593 w 6689088"/>
              <a:gd name="connsiteY3393" fmla="*/ 844893 h 6689084"/>
              <a:gd name="connsiteX3394" fmla="*/ 1999860 w 6689088"/>
              <a:gd name="connsiteY3394" fmla="*/ 841626 h 6689084"/>
              <a:gd name="connsiteX3395" fmla="*/ 2153808 w 6689088"/>
              <a:gd name="connsiteY3395" fmla="*/ 840173 h 6689084"/>
              <a:gd name="connsiteX3396" fmla="*/ 2158165 w 6689088"/>
              <a:gd name="connsiteY3396" fmla="*/ 844530 h 6689084"/>
              <a:gd name="connsiteX3397" fmla="*/ 2153808 w 6689088"/>
              <a:gd name="connsiteY3397" fmla="*/ 848887 h 6689084"/>
              <a:gd name="connsiteX3398" fmla="*/ 2149451 w 6689088"/>
              <a:gd name="connsiteY3398" fmla="*/ 844530 h 6689084"/>
              <a:gd name="connsiteX3399" fmla="*/ 2153808 w 6689088"/>
              <a:gd name="connsiteY3399" fmla="*/ 840173 h 6689084"/>
              <a:gd name="connsiteX3400" fmla="*/ 2307393 w 6689088"/>
              <a:gd name="connsiteY3400" fmla="*/ 839083 h 6689084"/>
              <a:gd name="connsiteX3401" fmla="*/ 2313202 w 6689088"/>
              <a:gd name="connsiteY3401" fmla="*/ 844893 h 6689084"/>
              <a:gd name="connsiteX3402" fmla="*/ 2307393 w 6689088"/>
              <a:gd name="connsiteY3402" fmla="*/ 850702 h 6689084"/>
              <a:gd name="connsiteX3403" fmla="*/ 2301583 w 6689088"/>
              <a:gd name="connsiteY3403" fmla="*/ 844893 h 6689084"/>
              <a:gd name="connsiteX3404" fmla="*/ 2307393 w 6689088"/>
              <a:gd name="connsiteY3404" fmla="*/ 839083 h 6689084"/>
              <a:gd name="connsiteX3405" fmla="*/ 2461340 w 6689088"/>
              <a:gd name="connsiteY3405" fmla="*/ 837631 h 6689084"/>
              <a:gd name="connsiteX3406" fmla="*/ 2468602 w 6689088"/>
              <a:gd name="connsiteY3406" fmla="*/ 844893 h 6689084"/>
              <a:gd name="connsiteX3407" fmla="*/ 2461340 w 6689088"/>
              <a:gd name="connsiteY3407" fmla="*/ 852154 h 6689084"/>
              <a:gd name="connsiteX3408" fmla="*/ 2454079 w 6689088"/>
              <a:gd name="connsiteY3408" fmla="*/ 844893 h 6689084"/>
              <a:gd name="connsiteX3409" fmla="*/ 2461340 w 6689088"/>
              <a:gd name="connsiteY3409" fmla="*/ 837631 h 6689084"/>
              <a:gd name="connsiteX3410" fmla="*/ 2614925 w 6689088"/>
              <a:gd name="connsiteY3410" fmla="*/ 835454 h 6689084"/>
              <a:gd name="connsiteX3411" fmla="*/ 2624005 w 6689088"/>
              <a:gd name="connsiteY3411" fmla="*/ 844530 h 6689084"/>
              <a:gd name="connsiteX3412" fmla="*/ 2614925 w 6689088"/>
              <a:gd name="connsiteY3412" fmla="*/ 853610 h 6689084"/>
              <a:gd name="connsiteX3413" fmla="*/ 2605849 w 6689088"/>
              <a:gd name="connsiteY3413" fmla="*/ 844530 h 6689084"/>
              <a:gd name="connsiteX3414" fmla="*/ 2614925 w 6689088"/>
              <a:gd name="connsiteY3414" fmla="*/ 835454 h 6689084"/>
              <a:gd name="connsiteX3415" fmla="*/ 2768873 w 6689088"/>
              <a:gd name="connsiteY3415" fmla="*/ 834726 h 6689084"/>
              <a:gd name="connsiteX3416" fmla="*/ 2779039 w 6689088"/>
              <a:gd name="connsiteY3416" fmla="*/ 844893 h 6689084"/>
              <a:gd name="connsiteX3417" fmla="*/ 2768873 w 6689088"/>
              <a:gd name="connsiteY3417" fmla="*/ 855059 h 6689084"/>
              <a:gd name="connsiteX3418" fmla="*/ 2758707 w 6689088"/>
              <a:gd name="connsiteY3418" fmla="*/ 844893 h 6689084"/>
              <a:gd name="connsiteX3419" fmla="*/ 2768873 w 6689088"/>
              <a:gd name="connsiteY3419" fmla="*/ 834726 h 6689084"/>
              <a:gd name="connsiteX3420" fmla="*/ 2922458 w 6689088"/>
              <a:gd name="connsiteY3420" fmla="*/ 832912 h 6689084"/>
              <a:gd name="connsiteX3421" fmla="*/ 2934443 w 6689088"/>
              <a:gd name="connsiteY3421" fmla="*/ 844893 h 6689084"/>
              <a:gd name="connsiteX3422" fmla="*/ 2922458 w 6689088"/>
              <a:gd name="connsiteY3422" fmla="*/ 856873 h 6689084"/>
              <a:gd name="connsiteX3423" fmla="*/ 2910477 w 6689088"/>
              <a:gd name="connsiteY3423" fmla="*/ 844893 h 6689084"/>
              <a:gd name="connsiteX3424" fmla="*/ 2922458 w 6689088"/>
              <a:gd name="connsiteY3424" fmla="*/ 832912 h 6689084"/>
              <a:gd name="connsiteX3425" fmla="*/ 3076402 w 6689088"/>
              <a:gd name="connsiteY3425" fmla="*/ 831097 h 6689084"/>
              <a:gd name="connsiteX3426" fmla="*/ 3090201 w 6689088"/>
              <a:gd name="connsiteY3426" fmla="*/ 844896 h 6689084"/>
              <a:gd name="connsiteX3427" fmla="*/ 3076402 w 6689088"/>
              <a:gd name="connsiteY3427" fmla="*/ 858692 h 6689084"/>
              <a:gd name="connsiteX3428" fmla="*/ 3062606 w 6689088"/>
              <a:gd name="connsiteY3428" fmla="*/ 844896 h 6689084"/>
              <a:gd name="connsiteX3429" fmla="*/ 3076402 w 6689088"/>
              <a:gd name="connsiteY3429" fmla="*/ 831097 h 6689084"/>
              <a:gd name="connsiteX3430" fmla="*/ 3230349 w 6689088"/>
              <a:gd name="connsiteY3430" fmla="*/ 829645 h 6689084"/>
              <a:gd name="connsiteX3431" fmla="*/ 3245600 w 6689088"/>
              <a:gd name="connsiteY3431" fmla="*/ 844896 h 6689084"/>
              <a:gd name="connsiteX3432" fmla="*/ 3230349 w 6689088"/>
              <a:gd name="connsiteY3432" fmla="*/ 860144 h 6689084"/>
              <a:gd name="connsiteX3433" fmla="*/ 3215102 w 6689088"/>
              <a:gd name="connsiteY3433" fmla="*/ 844896 h 6689084"/>
              <a:gd name="connsiteX3434" fmla="*/ 3230349 w 6689088"/>
              <a:gd name="connsiteY3434" fmla="*/ 829645 h 6689084"/>
              <a:gd name="connsiteX3435" fmla="*/ 3383938 w 6689088"/>
              <a:gd name="connsiteY3435" fmla="*/ 827830 h 6689084"/>
              <a:gd name="connsiteX3436" fmla="*/ 3401000 w 6689088"/>
              <a:gd name="connsiteY3436" fmla="*/ 844896 h 6689084"/>
              <a:gd name="connsiteX3437" fmla="*/ 3383938 w 6689088"/>
              <a:gd name="connsiteY3437" fmla="*/ 861958 h 6689084"/>
              <a:gd name="connsiteX3438" fmla="*/ 3366872 w 6689088"/>
              <a:gd name="connsiteY3438" fmla="*/ 844896 h 6689084"/>
              <a:gd name="connsiteX3439" fmla="*/ 3383938 w 6689088"/>
              <a:gd name="connsiteY3439" fmla="*/ 827830 h 6689084"/>
              <a:gd name="connsiteX3440" fmla="*/ 3537882 w 6689088"/>
              <a:gd name="connsiteY3440" fmla="*/ 825650 h 6689084"/>
              <a:gd name="connsiteX3441" fmla="*/ 3557128 w 6689088"/>
              <a:gd name="connsiteY3441" fmla="*/ 844893 h 6689084"/>
              <a:gd name="connsiteX3442" fmla="*/ 3537882 w 6689088"/>
              <a:gd name="connsiteY3442" fmla="*/ 864139 h 6689084"/>
              <a:gd name="connsiteX3443" fmla="*/ 3518639 w 6689088"/>
              <a:gd name="connsiteY3443" fmla="*/ 844893 h 6689084"/>
              <a:gd name="connsiteX3444" fmla="*/ 3537882 w 6689088"/>
              <a:gd name="connsiteY3444" fmla="*/ 825650 h 6689084"/>
              <a:gd name="connsiteX3445" fmla="*/ 3691471 w 6689088"/>
              <a:gd name="connsiteY3445" fmla="*/ 823473 h 6689084"/>
              <a:gd name="connsiteX3446" fmla="*/ 3712894 w 6689088"/>
              <a:gd name="connsiteY3446" fmla="*/ 844896 h 6689084"/>
              <a:gd name="connsiteX3447" fmla="*/ 3691471 w 6689088"/>
              <a:gd name="connsiteY3447" fmla="*/ 866319 h 6689084"/>
              <a:gd name="connsiteX3448" fmla="*/ 3670048 w 6689088"/>
              <a:gd name="connsiteY3448" fmla="*/ 844896 h 6689084"/>
              <a:gd name="connsiteX3449" fmla="*/ 3691471 w 6689088"/>
              <a:gd name="connsiteY3449" fmla="*/ 823473 h 6689084"/>
              <a:gd name="connsiteX3450" fmla="*/ 3845418 w 6689088"/>
              <a:gd name="connsiteY3450" fmla="*/ 822021 h 6689084"/>
              <a:gd name="connsiteX3451" fmla="*/ 3868293 w 6689088"/>
              <a:gd name="connsiteY3451" fmla="*/ 844896 h 6689084"/>
              <a:gd name="connsiteX3452" fmla="*/ 3845418 w 6689088"/>
              <a:gd name="connsiteY3452" fmla="*/ 867768 h 6689084"/>
              <a:gd name="connsiteX3453" fmla="*/ 3822543 w 6689088"/>
              <a:gd name="connsiteY3453" fmla="*/ 844896 h 6689084"/>
              <a:gd name="connsiteX3454" fmla="*/ 3845418 w 6689088"/>
              <a:gd name="connsiteY3454" fmla="*/ 822021 h 6689084"/>
              <a:gd name="connsiteX3455" fmla="*/ 3999000 w 6689088"/>
              <a:gd name="connsiteY3455" fmla="*/ 819841 h 6689084"/>
              <a:gd name="connsiteX3456" fmla="*/ 4024052 w 6689088"/>
              <a:gd name="connsiteY3456" fmla="*/ 844893 h 6689084"/>
              <a:gd name="connsiteX3457" fmla="*/ 3999000 w 6689088"/>
              <a:gd name="connsiteY3457" fmla="*/ 869948 h 6689084"/>
              <a:gd name="connsiteX3458" fmla="*/ 3973948 w 6689088"/>
              <a:gd name="connsiteY3458" fmla="*/ 844893 h 6689084"/>
              <a:gd name="connsiteX3459" fmla="*/ 3999000 w 6689088"/>
              <a:gd name="connsiteY3459" fmla="*/ 819841 h 6689084"/>
              <a:gd name="connsiteX3460" fmla="*/ 4152947 w 6689088"/>
              <a:gd name="connsiteY3460" fmla="*/ 817664 h 6689084"/>
              <a:gd name="connsiteX3461" fmla="*/ 4180179 w 6689088"/>
              <a:gd name="connsiteY3461" fmla="*/ 844896 h 6689084"/>
              <a:gd name="connsiteX3462" fmla="*/ 4152947 w 6689088"/>
              <a:gd name="connsiteY3462" fmla="*/ 872129 h 6689084"/>
              <a:gd name="connsiteX3463" fmla="*/ 4125715 w 6689088"/>
              <a:gd name="connsiteY3463" fmla="*/ 844896 h 6689084"/>
              <a:gd name="connsiteX3464" fmla="*/ 4152947 w 6689088"/>
              <a:gd name="connsiteY3464" fmla="*/ 817664 h 6689084"/>
              <a:gd name="connsiteX3465" fmla="*/ 4306528 w 6689088"/>
              <a:gd name="connsiteY3465" fmla="*/ 815122 h 6689084"/>
              <a:gd name="connsiteX3466" fmla="*/ 4336303 w 6689088"/>
              <a:gd name="connsiteY3466" fmla="*/ 844896 h 6689084"/>
              <a:gd name="connsiteX3467" fmla="*/ 4306528 w 6689088"/>
              <a:gd name="connsiteY3467" fmla="*/ 874667 h 6689084"/>
              <a:gd name="connsiteX3468" fmla="*/ 4276758 w 6689088"/>
              <a:gd name="connsiteY3468" fmla="*/ 844896 h 6689084"/>
              <a:gd name="connsiteX3469" fmla="*/ 4306528 w 6689088"/>
              <a:gd name="connsiteY3469" fmla="*/ 815122 h 6689084"/>
              <a:gd name="connsiteX3470" fmla="*/ 4460480 w 6689088"/>
              <a:gd name="connsiteY3470" fmla="*/ 812941 h 6689084"/>
              <a:gd name="connsiteX3471" fmla="*/ 4492431 w 6689088"/>
              <a:gd name="connsiteY3471" fmla="*/ 844893 h 6689084"/>
              <a:gd name="connsiteX3472" fmla="*/ 4460480 w 6689088"/>
              <a:gd name="connsiteY3472" fmla="*/ 876844 h 6689084"/>
              <a:gd name="connsiteX3473" fmla="*/ 4428528 w 6689088"/>
              <a:gd name="connsiteY3473" fmla="*/ 844893 h 6689084"/>
              <a:gd name="connsiteX3474" fmla="*/ 4460480 w 6689088"/>
              <a:gd name="connsiteY3474" fmla="*/ 812941 h 6689084"/>
              <a:gd name="connsiteX3475" fmla="*/ 4614061 w 6689088"/>
              <a:gd name="connsiteY3475" fmla="*/ 811127 h 6689084"/>
              <a:gd name="connsiteX3476" fmla="*/ 4647831 w 6689088"/>
              <a:gd name="connsiteY3476" fmla="*/ 844893 h 6689084"/>
              <a:gd name="connsiteX3477" fmla="*/ 4614061 w 6689088"/>
              <a:gd name="connsiteY3477" fmla="*/ 878662 h 6689084"/>
              <a:gd name="connsiteX3478" fmla="*/ 4580296 w 6689088"/>
              <a:gd name="connsiteY3478" fmla="*/ 844893 h 6689084"/>
              <a:gd name="connsiteX3479" fmla="*/ 4614061 w 6689088"/>
              <a:gd name="connsiteY3479" fmla="*/ 811127 h 6689084"/>
              <a:gd name="connsiteX3480" fmla="*/ 4768012 w 6689088"/>
              <a:gd name="connsiteY3480" fmla="*/ 808584 h 6689084"/>
              <a:gd name="connsiteX3481" fmla="*/ 4804320 w 6689088"/>
              <a:gd name="connsiteY3481" fmla="*/ 844893 h 6689084"/>
              <a:gd name="connsiteX3482" fmla="*/ 4768012 w 6689088"/>
              <a:gd name="connsiteY3482" fmla="*/ 881201 h 6689084"/>
              <a:gd name="connsiteX3483" fmla="*/ 4731704 w 6689088"/>
              <a:gd name="connsiteY3483" fmla="*/ 844893 h 6689084"/>
              <a:gd name="connsiteX3484" fmla="*/ 4768012 w 6689088"/>
              <a:gd name="connsiteY3484" fmla="*/ 808584 h 6689084"/>
              <a:gd name="connsiteX3485" fmla="*/ 4921598 w 6689088"/>
              <a:gd name="connsiteY3485" fmla="*/ 806045 h 6689084"/>
              <a:gd name="connsiteX3486" fmla="*/ 4960444 w 6689088"/>
              <a:gd name="connsiteY3486" fmla="*/ 844896 h 6689084"/>
              <a:gd name="connsiteX3487" fmla="*/ 4921598 w 6689088"/>
              <a:gd name="connsiteY3487" fmla="*/ 883743 h 6689084"/>
              <a:gd name="connsiteX3488" fmla="*/ 4882746 w 6689088"/>
              <a:gd name="connsiteY3488" fmla="*/ 844896 h 6689084"/>
              <a:gd name="connsiteX3489" fmla="*/ 4921598 w 6689088"/>
              <a:gd name="connsiteY3489" fmla="*/ 806045 h 6689084"/>
              <a:gd name="connsiteX3490" fmla="*/ 5075541 w 6689088"/>
              <a:gd name="connsiteY3490" fmla="*/ 803503 h 6689084"/>
              <a:gd name="connsiteX3491" fmla="*/ 5116568 w 6689088"/>
              <a:gd name="connsiteY3491" fmla="*/ 844530 h 6689084"/>
              <a:gd name="connsiteX3492" fmla="*/ 5075541 w 6689088"/>
              <a:gd name="connsiteY3492" fmla="*/ 885562 h 6689084"/>
              <a:gd name="connsiteX3493" fmla="*/ 5034514 w 6689088"/>
              <a:gd name="connsiteY3493" fmla="*/ 844530 h 6689084"/>
              <a:gd name="connsiteX3494" fmla="*/ 5075541 w 6689088"/>
              <a:gd name="connsiteY3494" fmla="*/ 803503 h 6689084"/>
              <a:gd name="connsiteX3495" fmla="*/ 5229126 w 6689088"/>
              <a:gd name="connsiteY3495" fmla="*/ 800960 h 6689084"/>
              <a:gd name="connsiteX3496" fmla="*/ 5272696 w 6689088"/>
              <a:gd name="connsiteY3496" fmla="*/ 844530 h 6689084"/>
              <a:gd name="connsiteX3497" fmla="*/ 5229126 w 6689088"/>
              <a:gd name="connsiteY3497" fmla="*/ 888100 h 6689084"/>
              <a:gd name="connsiteX3498" fmla="*/ 5185556 w 6689088"/>
              <a:gd name="connsiteY3498" fmla="*/ 844530 h 6689084"/>
              <a:gd name="connsiteX3499" fmla="*/ 5229126 w 6689088"/>
              <a:gd name="connsiteY3499" fmla="*/ 800960 h 6689084"/>
              <a:gd name="connsiteX3500" fmla="*/ 5383074 w 6689088"/>
              <a:gd name="connsiteY3500" fmla="*/ 798784 h 6689084"/>
              <a:gd name="connsiteX3501" fmla="*/ 5429186 w 6689088"/>
              <a:gd name="connsiteY3501" fmla="*/ 844896 h 6689084"/>
              <a:gd name="connsiteX3502" fmla="*/ 5383074 w 6689088"/>
              <a:gd name="connsiteY3502" fmla="*/ 891009 h 6689084"/>
              <a:gd name="connsiteX3503" fmla="*/ 5336962 w 6689088"/>
              <a:gd name="connsiteY3503" fmla="*/ 844896 h 6689084"/>
              <a:gd name="connsiteX3504" fmla="*/ 5383074 w 6689088"/>
              <a:gd name="connsiteY3504" fmla="*/ 798784 h 6689084"/>
              <a:gd name="connsiteX3505" fmla="*/ 5536659 w 6689088"/>
              <a:gd name="connsiteY3505" fmla="*/ 796241 h 6689084"/>
              <a:gd name="connsiteX3506" fmla="*/ 5585310 w 6689088"/>
              <a:gd name="connsiteY3506" fmla="*/ 844896 h 6689084"/>
              <a:gd name="connsiteX3507" fmla="*/ 5536659 w 6689088"/>
              <a:gd name="connsiteY3507" fmla="*/ 893548 h 6689084"/>
              <a:gd name="connsiteX3508" fmla="*/ 5488004 w 6689088"/>
              <a:gd name="connsiteY3508" fmla="*/ 844896 h 6689084"/>
              <a:gd name="connsiteX3509" fmla="*/ 5536659 w 6689088"/>
              <a:gd name="connsiteY3509" fmla="*/ 796241 h 6689084"/>
              <a:gd name="connsiteX3510" fmla="*/ 5690606 w 6689088"/>
              <a:gd name="connsiteY3510" fmla="*/ 793699 h 6689084"/>
              <a:gd name="connsiteX3511" fmla="*/ 5741800 w 6689088"/>
              <a:gd name="connsiteY3511" fmla="*/ 844893 h 6689084"/>
              <a:gd name="connsiteX3512" fmla="*/ 5690606 w 6689088"/>
              <a:gd name="connsiteY3512" fmla="*/ 896090 h 6689084"/>
              <a:gd name="connsiteX3513" fmla="*/ 5639412 w 6689088"/>
              <a:gd name="connsiteY3513" fmla="*/ 844893 h 6689084"/>
              <a:gd name="connsiteX3514" fmla="*/ 5690606 w 6689088"/>
              <a:gd name="connsiteY3514" fmla="*/ 793699 h 6689084"/>
              <a:gd name="connsiteX3515" fmla="*/ 5844554 w 6689088"/>
              <a:gd name="connsiteY3515" fmla="*/ 791156 h 6689084"/>
              <a:gd name="connsiteX3516" fmla="*/ 5897928 w 6689088"/>
              <a:gd name="connsiteY3516" fmla="*/ 844530 h 6689084"/>
              <a:gd name="connsiteX3517" fmla="*/ 5844554 w 6689088"/>
              <a:gd name="connsiteY3517" fmla="*/ 897901 h 6689084"/>
              <a:gd name="connsiteX3518" fmla="*/ 5791180 w 6689088"/>
              <a:gd name="connsiteY3518" fmla="*/ 844530 h 6689084"/>
              <a:gd name="connsiteX3519" fmla="*/ 5844554 w 6689088"/>
              <a:gd name="connsiteY3519" fmla="*/ 791156 h 6689084"/>
              <a:gd name="connsiteX3520" fmla="*/ 5998139 w 6689088"/>
              <a:gd name="connsiteY3520" fmla="*/ 788614 h 6689084"/>
              <a:gd name="connsiteX3521" fmla="*/ 6054414 w 6689088"/>
              <a:gd name="connsiteY3521" fmla="*/ 844893 h 6689084"/>
              <a:gd name="connsiteX3522" fmla="*/ 5998139 w 6689088"/>
              <a:gd name="connsiteY3522" fmla="*/ 901171 h 6689084"/>
              <a:gd name="connsiteX3523" fmla="*/ 5941860 w 6689088"/>
              <a:gd name="connsiteY3523" fmla="*/ 844893 h 6689084"/>
              <a:gd name="connsiteX3524" fmla="*/ 5998139 w 6689088"/>
              <a:gd name="connsiteY3524" fmla="*/ 788614 h 6689084"/>
              <a:gd name="connsiteX3525" fmla="*/ 6152083 w 6689088"/>
              <a:gd name="connsiteY3525" fmla="*/ 786075 h 6689084"/>
              <a:gd name="connsiteX3526" fmla="*/ 6210904 w 6689088"/>
              <a:gd name="connsiteY3526" fmla="*/ 844896 h 6689084"/>
              <a:gd name="connsiteX3527" fmla="*/ 6152083 w 6689088"/>
              <a:gd name="connsiteY3527" fmla="*/ 903714 h 6689084"/>
              <a:gd name="connsiteX3528" fmla="*/ 6093265 w 6689088"/>
              <a:gd name="connsiteY3528" fmla="*/ 844896 h 6689084"/>
              <a:gd name="connsiteX3529" fmla="*/ 6152083 w 6689088"/>
              <a:gd name="connsiteY3529" fmla="*/ 786075 h 6689084"/>
              <a:gd name="connsiteX3530" fmla="*/ 6305672 w 6689088"/>
              <a:gd name="connsiteY3530" fmla="*/ 783170 h 6689084"/>
              <a:gd name="connsiteX3531" fmla="*/ 6367394 w 6689088"/>
              <a:gd name="connsiteY3531" fmla="*/ 844896 h 6689084"/>
              <a:gd name="connsiteX3532" fmla="*/ 6305672 w 6689088"/>
              <a:gd name="connsiteY3532" fmla="*/ 906619 h 6689084"/>
              <a:gd name="connsiteX3533" fmla="*/ 6243946 w 6689088"/>
              <a:gd name="connsiteY3533" fmla="*/ 844896 h 6689084"/>
              <a:gd name="connsiteX3534" fmla="*/ 6305672 w 6689088"/>
              <a:gd name="connsiteY3534" fmla="*/ 783170 h 6689084"/>
              <a:gd name="connsiteX3535" fmla="*/ 6459616 w 6689088"/>
              <a:gd name="connsiteY3535" fmla="*/ 780628 h 6689084"/>
              <a:gd name="connsiteX3536" fmla="*/ 6523884 w 6689088"/>
              <a:gd name="connsiteY3536" fmla="*/ 844893 h 6689084"/>
              <a:gd name="connsiteX3537" fmla="*/ 6459616 w 6689088"/>
              <a:gd name="connsiteY3537" fmla="*/ 909161 h 6689084"/>
              <a:gd name="connsiteX3538" fmla="*/ 6395350 w 6689088"/>
              <a:gd name="connsiteY3538" fmla="*/ 844893 h 6689084"/>
              <a:gd name="connsiteX3539" fmla="*/ 6459616 w 6689088"/>
              <a:gd name="connsiteY3539" fmla="*/ 780628 h 6689084"/>
              <a:gd name="connsiteX3540" fmla="*/ 6613197 w 6689088"/>
              <a:gd name="connsiteY3540" fmla="*/ 777361 h 6689084"/>
              <a:gd name="connsiteX3541" fmla="*/ 6680732 w 6689088"/>
              <a:gd name="connsiteY3541" fmla="*/ 844896 h 6689084"/>
              <a:gd name="connsiteX3542" fmla="*/ 6613197 w 6689088"/>
              <a:gd name="connsiteY3542" fmla="*/ 912428 h 6689084"/>
              <a:gd name="connsiteX3543" fmla="*/ 6545666 w 6689088"/>
              <a:gd name="connsiteY3543" fmla="*/ 844896 h 6689084"/>
              <a:gd name="connsiteX3544" fmla="*/ 6613197 w 6689088"/>
              <a:gd name="connsiteY3544" fmla="*/ 777361 h 6689084"/>
              <a:gd name="connsiteX3545" fmla="*/ 1384799 w 6689088"/>
              <a:gd name="connsiteY3545" fmla="*/ 690583 h 6689084"/>
              <a:gd name="connsiteX3546" fmla="*/ 1385161 w 6689088"/>
              <a:gd name="connsiteY3546" fmla="*/ 690945 h 6689084"/>
              <a:gd name="connsiteX3547" fmla="*/ 1384799 w 6689088"/>
              <a:gd name="connsiteY3547" fmla="*/ 691311 h 6689084"/>
              <a:gd name="connsiteX3548" fmla="*/ 1384437 w 6689088"/>
              <a:gd name="connsiteY3548" fmla="*/ 690945 h 6689084"/>
              <a:gd name="connsiteX3549" fmla="*/ 1384799 w 6689088"/>
              <a:gd name="connsiteY3549" fmla="*/ 690583 h 6689084"/>
              <a:gd name="connsiteX3550" fmla="*/ 923681 w 6689088"/>
              <a:gd name="connsiteY3550" fmla="*/ 690583 h 6689084"/>
              <a:gd name="connsiteX3551" fmla="*/ 924043 w 6689088"/>
              <a:gd name="connsiteY3551" fmla="*/ 690945 h 6689084"/>
              <a:gd name="connsiteX3552" fmla="*/ 923681 w 6689088"/>
              <a:gd name="connsiteY3552" fmla="*/ 691311 h 6689084"/>
              <a:gd name="connsiteX3553" fmla="*/ 923319 w 6689088"/>
              <a:gd name="connsiteY3553" fmla="*/ 690945 h 6689084"/>
              <a:gd name="connsiteX3554" fmla="*/ 923681 w 6689088"/>
              <a:gd name="connsiteY3554" fmla="*/ 690583 h 6689084"/>
              <a:gd name="connsiteX3555" fmla="*/ 769733 w 6689088"/>
              <a:gd name="connsiteY3555" fmla="*/ 690583 h 6689084"/>
              <a:gd name="connsiteX3556" fmla="*/ 770096 w 6689088"/>
              <a:gd name="connsiteY3556" fmla="*/ 690945 h 6689084"/>
              <a:gd name="connsiteX3557" fmla="*/ 769733 w 6689088"/>
              <a:gd name="connsiteY3557" fmla="*/ 691311 h 6689084"/>
              <a:gd name="connsiteX3558" fmla="*/ 769371 w 6689088"/>
              <a:gd name="connsiteY3558" fmla="*/ 690945 h 6689084"/>
              <a:gd name="connsiteX3559" fmla="*/ 769733 w 6689088"/>
              <a:gd name="connsiteY3559" fmla="*/ 690583 h 6689084"/>
              <a:gd name="connsiteX3560" fmla="*/ 616152 w 6689088"/>
              <a:gd name="connsiteY3560" fmla="*/ 690221 h 6689084"/>
              <a:gd name="connsiteX3561" fmla="*/ 616876 w 6689088"/>
              <a:gd name="connsiteY3561" fmla="*/ 690949 h 6689084"/>
              <a:gd name="connsiteX3562" fmla="*/ 616152 w 6689088"/>
              <a:gd name="connsiteY3562" fmla="*/ 691673 h 6689084"/>
              <a:gd name="connsiteX3563" fmla="*/ 615424 w 6689088"/>
              <a:gd name="connsiteY3563" fmla="*/ 690949 h 6689084"/>
              <a:gd name="connsiteX3564" fmla="*/ 616152 w 6689088"/>
              <a:gd name="connsiteY3564" fmla="*/ 690221 h 6689084"/>
              <a:gd name="connsiteX3565" fmla="*/ 1538746 w 6689088"/>
              <a:gd name="connsiteY3565" fmla="*/ 689493 h 6689084"/>
              <a:gd name="connsiteX3566" fmla="*/ 1540198 w 6689088"/>
              <a:gd name="connsiteY3566" fmla="*/ 690945 h 6689084"/>
              <a:gd name="connsiteX3567" fmla="*/ 1538746 w 6689088"/>
              <a:gd name="connsiteY3567" fmla="*/ 692397 h 6689084"/>
              <a:gd name="connsiteX3568" fmla="*/ 1537294 w 6689088"/>
              <a:gd name="connsiteY3568" fmla="*/ 690945 h 6689084"/>
              <a:gd name="connsiteX3569" fmla="*/ 1538746 w 6689088"/>
              <a:gd name="connsiteY3569" fmla="*/ 689493 h 6689084"/>
              <a:gd name="connsiteX3570" fmla="*/ 1692328 w 6689088"/>
              <a:gd name="connsiteY3570" fmla="*/ 688768 h 6689084"/>
              <a:gd name="connsiteX3571" fmla="*/ 1694508 w 6689088"/>
              <a:gd name="connsiteY3571" fmla="*/ 690949 h 6689084"/>
              <a:gd name="connsiteX3572" fmla="*/ 1692328 w 6689088"/>
              <a:gd name="connsiteY3572" fmla="*/ 693126 h 6689084"/>
              <a:gd name="connsiteX3573" fmla="*/ 1690151 w 6689088"/>
              <a:gd name="connsiteY3573" fmla="*/ 690949 h 6689084"/>
              <a:gd name="connsiteX3574" fmla="*/ 1692328 w 6689088"/>
              <a:gd name="connsiteY3574" fmla="*/ 688768 h 6689084"/>
              <a:gd name="connsiteX3575" fmla="*/ 1846279 w 6689088"/>
              <a:gd name="connsiteY3575" fmla="*/ 688040 h 6689084"/>
              <a:gd name="connsiteX3576" fmla="*/ 1849546 w 6689088"/>
              <a:gd name="connsiteY3576" fmla="*/ 691307 h 6689084"/>
              <a:gd name="connsiteX3577" fmla="*/ 1846279 w 6689088"/>
              <a:gd name="connsiteY3577" fmla="*/ 694574 h 6689084"/>
              <a:gd name="connsiteX3578" fmla="*/ 1843012 w 6689088"/>
              <a:gd name="connsiteY3578" fmla="*/ 691307 h 6689084"/>
              <a:gd name="connsiteX3579" fmla="*/ 1846279 w 6689088"/>
              <a:gd name="connsiteY3579" fmla="*/ 688040 h 6689084"/>
              <a:gd name="connsiteX3580" fmla="*/ 1999860 w 6689088"/>
              <a:gd name="connsiteY3580" fmla="*/ 686588 h 6689084"/>
              <a:gd name="connsiteX3581" fmla="*/ 2004217 w 6689088"/>
              <a:gd name="connsiteY3581" fmla="*/ 690945 h 6689084"/>
              <a:gd name="connsiteX3582" fmla="*/ 1999860 w 6689088"/>
              <a:gd name="connsiteY3582" fmla="*/ 695302 h 6689084"/>
              <a:gd name="connsiteX3583" fmla="*/ 1995503 w 6689088"/>
              <a:gd name="connsiteY3583" fmla="*/ 690945 h 6689084"/>
              <a:gd name="connsiteX3584" fmla="*/ 1999860 w 6689088"/>
              <a:gd name="connsiteY3584" fmla="*/ 686588 h 6689084"/>
              <a:gd name="connsiteX3585" fmla="*/ 2153811 w 6689088"/>
              <a:gd name="connsiteY3585" fmla="*/ 685498 h 6689084"/>
              <a:gd name="connsiteX3586" fmla="*/ 2159621 w 6689088"/>
              <a:gd name="connsiteY3586" fmla="*/ 691307 h 6689084"/>
              <a:gd name="connsiteX3587" fmla="*/ 2153811 w 6689088"/>
              <a:gd name="connsiteY3587" fmla="*/ 697117 h 6689084"/>
              <a:gd name="connsiteX3588" fmla="*/ 2148002 w 6689088"/>
              <a:gd name="connsiteY3588" fmla="*/ 691307 h 6689084"/>
              <a:gd name="connsiteX3589" fmla="*/ 2153811 w 6689088"/>
              <a:gd name="connsiteY3589" fmla="*/ 685498 h 6689084"/>
              <a:gd name="connsiteX3590" fmla="*/ 2307393 w 6689088"/>
              <a:gd name="connsiteY3590" fmla="*/ 683683 h 6689084"/>
              <a:gd name="connsiteX3591" fmla="*/ 2314655 w 6689088"/>
              <a:gd name="connsiteY3591" fmla="*/ 690945 h 6689084"/>
              <a:gd name="connsiteX3592" fmla="*/ 2307393 w 6689088"/>
              <a:gd name="connsiteY3592" fmla="*/ 698207 h 6689084"/>
              <a:gd name="connsiteX3593" fmla="*/ 2300131 w 6689088"/>
              <a:gd name="connsiteY3593" fmla="*/ 690945 h 6689084"/>
              <a:gd name="connsiteX3594" fmla="*/ 2307393 w 6689088"/>
              <a:gd name="connsiteY3594" fmla="*/ 683683 h 6689084"/>
              <a:gd name="connsiteX3595" fmla="*/ 2461340 w 6689088"/>
              <a:gd name="connsiteY3595" fmla="*/ 681869 h 6689084"/>
              <a:gd name="connsiteX3596" fmla="*/ 2470420 w 6689088"/>
              <a:gd name="connsiteY3596" fmla="*/ 690945 h 6689084"/>
              <a:gd name="connsiteX3597" fmla="*/ 2461340 w 6689088"/>
              <a:gd name="connsiteY3597" fmla="*/ 700025 h 6689084"/>
              <a:gd name="connsiteX3598" fmla="*/ 2452264 w 6689088"/>
              <a:gd name="connsiteY3598" fmla="*/ 690945 h 6689084"/>
              <a:gd name="connsiteX3599" fmla="*/ 2461340 w 6689088"/>
              <a:gd name="connsiteY3599" fmla="*/ 681869 h 6689084"/>
              <a:gd name="connsiteX3600" fmla="*/ 2614925 w 6689088"/>
              <a:gd name="connsiteY3600" fmla="*/ 680779 h 6689084"/>
              <a:gd name="connsiteX3601" fmla="*/ 2625092 w 6689088"/>
              <a:gd name="connsiteY3601" fmla="*/ 690945 h 6689084"/>
              <a:gd name="connsiteX3602" fmla="*/ 2614925 w 6689088"/>
              <a:gd name="connsiteY3602" fmla="*/ 701111 h 6689084"/>
              <a:gd name="connsiteX3603" fmla="*/ 2604759 w 6689088"/>
              <a:gd name="connsiteY3603" fmla="*/ 690945 h 6689084"/>
              <a:gd name="connsiteX3604" fmla="*/ 2614925 w 6689088"/>
              <a:gd name="connsiteY3604" fmla="*/ 680779 h 6689084"/>
              <a:gd name="connsiteX3605" fmla="*/ 2768873 w 6689088"/>
              <a:gd name="connsiteY3605" fmla="*/ 678964 h 6689084"/>
              <a:gd name="connsiteX3606" fmla="*/ 2780858 w 6689088"/>
              <a:gd name="connsiteY3606" fmla="*/ 690945 h 6689084"/>
              <a:gd name="connsiteX3607" fmla="*/ 2768873 w 6689088"/>
              <a:gd name="connsiteY3607" fmla="*/ 702926 h 6689084"/>
              <a:gd name="connsiteX3608" fmla="*/ 2756892 w 6689088"/>
              <a:gd name="connsiteY3608" fmla="*/ 690945 h 6689084"/>
              <a:gd name="connsiteX3609" fmla="*/ 2768873 w 6689088"/>
              <a:gd name="connsiteY3609" fmla="*/ 678964 h 6689084"/>
              <a:gd name="connsiteX3610" fmla="*/ 2922824 w 6689088"/>
              <a:gd name="connsiteY3610" fmla="*/ 677150 h 6689084"/>
              <a:gd name="connsiteX3611" fmla="*/ 2936619 w 6689088"/>
              <a:gd name="connsiteY3611" fmla="*/ 690949 h 6689084"/>
              <a:gd name="connsiteX3612" fmla="*/ 2922824 w 6689088"/>
              <a:gd name="connsiteY3612" fmla="*/ 704744 h 6689084"/>
              <a:gd name="connsiteX3613" fmla="*/ 2909025 w 6689088"/>
              <a:gd name="connsiteY3613" fmla="*/ 690949 h 6689084"/>
              <a:gd name="connsiteX3614" fmla="*/ 2922824 w 6689088"/>
              <a:gd name="connsiteY3614" fmla="*/ 677150 h 6689084"/>
              <a:gd name="connsiteX3615" fmla="*/ 3076402 w 6689088"/>
              <a:gd name="connsiteY3615" fmla="*/ 675697 h 6689084"/>
              <a:gd name="connsiteX3616" fmla="*/ 3091653 w 6689088"/>
              <a:gd name="connsiteY3616" fmla="*/ 690949 h 6689084"/>
              <a:gd name="connsiteX3617" fmla="*/ 3076402 w 6689088"/>
              <a:gd name="connsiteY3617" fmla="*/ 706197 h 6689084"/>
              <a:gd name="connsiteX3618" fmla="*/ 3061154 w 6689088"/>
              <a:gd name="connsiteY3618" fmla="*/ 690949 h 6689084"/>
              <a:gd name="connsiteX3619" fmla="*/ 3076402 w 6689088"/>
              <a:gd name="connsiteY3619" fmla="*/ 675697 h 6689084"/>
              <a:gd name="connsiteX3620" fmla="*/ 3230353 w 6689088"/>
              <a:gd name="connsiteY3620" fmla="*/ 673883 h 6689084"/>
              <a:gd name="connsiteX3621" fmla="*/ 3247419 w 6689088"/>
              <a:gd name="connsiteY3621" fmla="*/ 690949 h 6689084"/>
              <a:gd name="connsiteX3622" fmla="*/ 3230353 w 6689088"/>
              <a:gd name="connsiteY3622" fmla="*/ 708015 h 6689084"/>
              <a:gd name="connsiteX3623" fmla="*/ 3213287 w 6689088"/>
              <a:gd name="connsiteY3623" fmla="*/ 690949 h 6689084"/>
              <a:gd name="connsiteX3624" fmla="*/ 3230353 w 6689088"/>
              <a:gd name="connsiteY3624" fmla="*/ 673883 h 6689084"/>
              <a:gd name="connsiteX3625" fmla="*/ 3383934 w 6689088"/>
              <a:gd name="connsiteY3625" fmla="*/ 671703 h 6689084"/>
              <a:gd name="connsiteX3626" fmla="*/ 3403180 w 6689088"/>
              <a:gd name="connsiteY3626" fmla="*/ 690945 h 6689084"/>
              <a:gd name="connsiteX3627" fmla="*/ 3383934 w 6689088"/>
              <a:gd name="connsiteY3627" fmla="*/ 710191 h 6689084"/>
              <a:gd name="connsiteX3628" fmla="*/ 3364692 w 6689088"/>
              <a:gd name="connsiteY3628" fmla="*/ 690945 h 6689084"/>
              <a:gd name="connsiteX3629" fmla="*/ 3383934 w 6689088"/>
              <a:gd name="connsiteY3629" fmla="*/ 671703 h 6689084"/>
              <a:gd name="connsiteX3630" fmla="*/ 3537886 w 6689088"/>
              <a:gd name="connsiteY3630" fmla="*/ 669526 h 6689084"/>
              <a:gd name="connsiteX3631" fmla="*/ 3559308 w 6689088"/>
              <a:gd name="connsiteY3631" fmla="*/ 690949 h 6689084"/>
              <a:gd name="connsiteX3632" fmla="*/ 3537886 w 6689088"/>
              <a:gd name="connsiteY3632" fmla="*/ 712372 h 6689084"/>
              <a:gd name="connsiteX3633" fmla="*/ 3516462 w 6689088"/>
              <a:gd name="connsiteY3633" fmla="*/ 690949 h 6689084"/>
              <a:gd name="connsiteX3634" fmla="*/ 3537886 w 6689088"/>
              <a:gd name="connsiteY3634" fmla="*/ 669526 h 6689084"/>
              <a:gd name="connsiteX3635" fmla="*/ 3691471 w 6689088"/>
              <a:gd name="connsiteY3635" fmla="*/ 668074 h 6689084"/>
              <a:gd name="connsiteX3636" fmla="*/ 3714342 w 6689088"/>
              <a:gd name="connsiteY3636" fmla="*/ 690949 h 6689084"/>
              <a:gd name="connsiteX3637" fmla="*/ 3691471 w 6689088"/>
              <a:gd name="connsiteY3637" fmla="*/ 713820 h 6689084"/>
              <a:gd name="connsiteX3638" fmla="*/ 3668596 w 6689088"/>
              <a:gd name="connsiteY3638" fmla="*/ 690949 h 6689084"/>
              <a:gd name="connsiteX3639" fmla="*/ 3691471 w 6689088"/>
              <a:gd name="connsiteY3639" fmla="*/ 668074 h 6689084"/>
              <a:gd name="connsiteX3640" fmla="*/ 3845414 w 6689088"/>
              <a:gd name="connsiteY3640" fmla="*/ 665893 h 6689084"/>
              <a:gd name="connsiteX3641" fmla="*/ 3870470 w 6689088"/>
              <a:gd name="connsiteY3641" fmla="*/ 690945 h 6689084"/>
              <a:gd name="connsiteX3642" fmla="*/ 3845414 w 6689088"/>
              <a:gd name="connsiteY3642" fmla="*/ 716001 h 6689084"/>
              <a:gd name="connsiteX3643" fmla="*/ 3820362 w 6689088"/>
              <a:gd name="connsiteY3643" fmla="*/ 690945 h 6689084"/>
              <a:gd name="connsiteX3644" fmla="*/ 3845414 w 6689088"/>
              <a:gd name="connsiteY3644" fmla="*/ 665893 h 6689084"/>
              <a:gd name="connsiteX3645" fmla="*/ 3999000 w 6689088"/>
              <a:gd name="connsiteY3645" fmla="*/ 663717 h 6689084"/>
              <a:gd name="connsiteX3646" fmla="*/ 4026232 w 6689088"/>
              <a:gd name="connsiteY3646" fmla="*/ 690949 h 6689084"/>
              <a:gd name="connsiteX3647" fmla="*/ 3999000 w 6689088"/>
              <a:gd name="connsiteY3647" fmla="*/ 718181 h 6689084"/>
              <a:gd name="connsiteX3648" fmla="*/ 3971768 w 6689088"/>
              <a:gd name="connsiteY3648" fmla="*/ 690949 h 6689084"/>
              <a:gd name="connsiteX3649" fmla="*/ 3999000 w 6689088"/>
              <a:gd name="connsiteY3649" fmla="*/ 663717 h 6689084"/>
              <a:gd name="connsiteX3650" fmla="*/ 4152947 w 6689088"/>
              <a:gd name="connsiteY3650" fmla="*/ 661174 h 6689084"/>
              <a:gd name="connsiteX3651" fmla="*/ 4182722 w 6689088"/>
              <a:gd name="connsiteY3651" fmla="*/ 690949 h 6689084"/>
              <a:gd name="connsiteX3652" fmla="*/ 4152947 w 6689088"/>
              <a:gd name="connsiteY3652" fmla="*/ 720720 h 6689084"/>
              <a:gd name="connsiteX3653" fmla="*/ 4123176 w 6689088"/>
              <a:gd name="connsiteY3653" fmla="*/ 690949 h 6689084"/>
              <a:gd name="connsiteX3654" fmla="*/ 4152947 w 6689088"/>
              <a:gd name="connsiteY3654" fmla="*/ 661174 h 6689084"/>
              <a:gd name="connsiteX3655" fmla="*/ 4306532 w 6689088"/>
              <a:gd name="connsiteY3655" fmla="*/ 658994 h 6689084"/>
              <a:gd name="connsiteX3656" fmla="*/ 4338484 w 6689088"/>
              <a:gd name="connsiteY3656" fmla="*/ 690945 h 6689084"/>
              <a:gd name="connsiteX3657" fmla="*/ 4306532 w 6689088"/>
              <a:gd name="connsiteY3657" fmla="*/ 722896 h 6689084"/>
              <a:gd name="connsiteX3658" fmla="*/ 4274581 w 6689088"/>
              <a:gd name="connsiteY3658" fmla="*/ 690945 h 6689084"/>
              <a:gd name="connsiteX3659" fmla="*/ 4306532 w 6689088"/>
              <a:gd name="connsiteY3659" fmla="*/ 658994 h 6689084"/>
              <a:gd name="connsiteX3660" fmla="*/ 4460480 w 6689088"/>
              <a:gd name="connsiteY3660" fmla="*/ 657179 h 6689084"/>
              <a:gd name="connsiteX3661" fmla="*/ 4494250 w 6689088"/>
              <a:gd name="connsiteY3661" fmla="*/ 690945 h 6689084"/>
              <a:gd name="connsiteX3662" fmla="*/ 4460480 w 6689088"/>
              <a:gd name="connsiteY3662" fmla="*/ 724715 h 6689084"/>
              <a:gd name="connsiteX3663" fmla="*/ 4426714 w 6689088"/>
              <a:gd name="connsiteY3663" fmla="*/ 690945 h 6689084"/>
              <a:gd name="connsiteX3664" fmla="*/ 4460480 w 6689088"/>
              <a:gd name="connsiteY3664" fmla="*/ 657179 h 6689084"/>
              <a:gd name="connsiteX3665" fmla="*/ 4614061 w 6689088"/>
              <a:gd name="connsiteY3665" fmla="*/ 654637 h 6689084"/>
              <a:gd name="connsiteX3666" fmla="*/ 4650370 w 6689088"/>
              <a:gd name="connsiteY3666" fmla="*/ 690945 h 6689084"/>
              <a:gd name="connsiteX3667" fmla="*/ 4614061 w 6689088"/>
              <a:gd name="connsiteY3667" fmla="*/ 727253 h 6689084"/>
              <a:gd name="connsiteX3668" fmla="*/ 4577753 w 6689088"/>
              <a:gd name="connsiteY3668" fmla="*/ 690945 h 6689084"/>
              <a:gd name="connsiteX3669" fmla="*/ 4614061 w 6689088"/>
              <a:gd name="connsiteY3669" fmla="*/ 654637 h 6689084"/>
              <a:gd name="connsiteX3670" fmla="*/ 4768012 w 6689088"/>
              <a:gd name="connsiteY3670" fmla="*/ 652094 h 6689084"/>
              <a:gd name="connsiteX3671" fmla="*/ 4806860 w 6689088"/>
              <a:gd name="connsiteY3671" fmla="*/ 690945 h 6689084"/>
              <a:gd name="connsiteX3672" fmla="*/ 4768012 w 6689088"/>
              <a:gd name="connsiteY3672" fmla="*/ 729796 h 6689084"/>
              <a:gd name="connsiteX3673" fmla="*/ 4729162 w 6689088"/>
              <a:gd name="connsiteY3673" fmla="*/ 690945 h 6689084"/>
              <a:gd name="connsiteX3674" fmla="*/ 4768012 w 6689088"/>
              <a:gd name="connsiteY3674" fmla="*/ 652094 h 6689084"/>
              <a:gd name="connsiteX3675" fmla="*/ 4921594 w 6689088"/>
              <a:gd name="connsiteY3675" fmla="*/ 649918 h 6689084"/>
              <a:gd name="connsiteX3676" fmla="*/ 4962625 w 6689088"/>
              <a:gd name="connsiteY3676" fmla="*/ 690945 h 6689084"/>
              <a:gd name="connsiteX3677" fmla="*/ 4921594 w 6689088"/>
              <a:gd name="connsiteY3677" fmla="*/ 731976 h 6689084"/>
              <a:gd name="connsiteX3678" fmla="*/ 4880566 w 6689088"/>
              <a:gd name="connsiteY3678" fmla="*/ 690945 h 6689084"/>
              <a:gd name="connsiteX3679" fmla="*/ 4921594 w 6689088"/>
              <a:gd name="connsiteY3679" fmla="*/ 649918 h 6689084"/>
              <a:gd name="connsiteX3680" fmla="*/ 5075541 w 6689088"/>
              <a:gd name="connsiteY3680" fmla="*/ 647375 h 6689084"/>
              <a:gd name="connsiteX3681" fmla="*/ 5119111 w 6689088"/>
              <a:gd name="connsiteY3681" fmla="*/ 690945 h 6689084"/>
              <a:gd name="connsiteX3682" fmla="*/ 5075541 w 6689088"/>
              <a:gd name="connsiteY3682" fmla="*/ 734515 h 6689084"/>
              <a:gd name="connsiteX3683" fmla="*/ 5031971 w 6689088"/>
              <a:gd name="connsiteY3683" fmla="*/ 690945 h 6689084"/>
              <a:gd name="connsiteX3684" fmla="*/ 5075541 w 6689088"/>
              <a:gd name="connsiteY3684" fmla="*/ 647375 h 6689084"/>
              <a:gd name="connsiteX3685" fmla="*/ 5229126 w 6689088"/>
              <a:gd name="connsiteY3685" fmla="*/ 644836 h 6689084"/>
              <a:gd name="connsiteX3686" fmla="*/ 5275239 w 6689088"/>
              <a:gd name="connsiteY3686" fmla="*/ 690949 h 6689084"/>
              <a:gd name="connsiteX3687" fmla="*/ 5229126 w 6689088"/>
              <a:gd name="connsiteY3687" fmla="*/ 737058 h 6689084"/>
              <a:gd name="connsiteX3688" fmla="*/ 5183014 w 6689088"/>
              <a:gd name="connsiteY3688" fmla="*/ 690949 h 6689084"/>
              <a:gd name="connsiteX3689" fmla="*/ 5229126 w 6689088"/>
              <a:gd name="connsiteY3689" fmla="*/ 644836 h 6689084"/>
              <a:gd name="connsiteX3690" fmla="*/ 5383074 w 6689088"/>
              <a:gd name="connsiteY3690" fmla="*/ 642294 h 6689084"/>
              <a:gd name="connsiteX3691" fmla="*/ 5431725 w 6689088"/>
              <a:gd name="connsiteY3691" fmla="*/ 690949 h 6689084"/>
              <a:gd name="connsiteX3692" fmla="*/ 5383074 w 6689088"/>
              <a:gd name="connsiteY3692" fmla="*/ 739600 h 6689084"/>
              <a:gd name="connsiteX3693" fmla="*/ 5334419 w 6689088"/>
              <a:gd name="connsiteY3693" fmla="*/ 690949 h 6689084"/>
              <a:gd name="connsiteX3694" fmla="*/ 5383074 w 6689088"/>
              <a:gd name="connsiteY3694" fmla="*/ 642294 h 6689084"/>
              <a:gd name="connsiteX3695" fmla="*/ 5536659 w 6689088"/>
              <a:gd name="connsiteY3695" fmla="*/ 639751 h 6689084"/>
              <a:gd name="connsiteX3696" fmla="*/ 5587853 w 6689088"/>
              <a:gd name="connsiteY3696" fmla="*/ 690945 h 6689084"/>
              <a:gd name="connsiteX3697" fmla="*/ 5536659 w 6689088"/>
              <a:gd name="connsiteY3697" fmla="*/ 742139 h 6689084"/>
              <a:gd name="connsiteX3698" fmla="*/ 5485462 w 6689088"/>
              <a:gd name="connsiteY3698" fmla="*/ 690945 h 6689084"/>
              <a:gd name="connsiteX3699" fmla="*/ 5536659 w 6689088"/>
              <a:gd name="connsiteY3699" fmla="*/ 639751 h 6689084"/>
              <a:gd name="connsiteX3700" fmla="*/ 5690606 w 6689088"/>
              <a:gd name="connsiteY3700" fmla="*/ 637571 h 6689084"/>
              <a:gd name="connsiteX3701" fmla="*/ 5743980 w 6689088"/>
              <a:gd name="connsiteY3701" fmla="*/ 690945 h 6689084"/>
              <a:gd name="connsiteX3702" fmla="*/ 5690606 w 6689088"/>
              <a:gd name="connsiteY3702" fmla="*/ 744319 h 6689084"/>
              <a:gd name="connsiteX3703" fmla="*/ 5637232 w 6689088"/>
              <a:gd name="connsiteY3703" fmla="*/ 690945 h 6689084"/>
              <a:gd name="connsiteX3704" fmla="*/ 5690606 w 6689088"/>
              <a:gd name="connsiteY3704" fmla="*/ 637571 h 6689084"/>
              <a:gd name="connsiteX3705" fmla="*/ 5844554 w 6689088"/>
              <a:gd name="connsiteY3705" fmla="*/ 634666 h 6689084"/>
              <a:gd name="connsiteX3706" fmla="*/ 5900829 w 6689088"/>
              <a:gd name="connsiteY3706" fmla="*/ 690945 h 6689084"/>
              <a:gd name="connsiteX3707" fmla="*/ 5844554 w 6689088"/>
              <a:gd name="connsiteY3707" fmla="*/ 747224 h 6689084"/>
              <a:gd name="connsiteX3708" fmla="*/ 5788275 w 6689088"/>
              <a:gd name="connsiteY3708" fmla="*/ 690945 h 6689084"/>
              <a:gd name="connsiteX3709" fmla="*/ 5844554 w 6689088"/>
              <a:gd name="connsiteY3709" fmla="*/ 634666 h 6689084"/>
              <a:gd name="connsiteX3710" fmla="*/ 5998136 w 6689088"/>
              <a:gd name="connsiteY3710" fmla="*/ 632128 h 6689084"/>
              <a:gd name="connsiteX3711" fmla="*/ 6056957 w 6689088"/>
              <a:gd name="connsiteY3711" fmla="*/ 690949 h 6689084"/>
              <a:gd name="connsiteX3712" fmla="*/ 5998136 w 6689088"/>
              <a:gd name="connsiteY3712" fmla="*/ 749767 h 6689084"/>
              <a:gd name="connsiteX3713" fmla="*/ 5939318 w 6689088"/>
              <a:gd name="connsiteY3713" fmla="*/ 690949 h 6689084"/>
              <a:gd name="connsiteX3714" fmla="*/ 5998136 w 6689088"/>
              <a:gd name="connsiteY3714" fmla="*/ 632128 h 6689084"/>
              <a:gd name="connsiteX3715" fmla="*/ 6152083 w 6689088"/>
              <a:gd name="connsiteY3715" fmla="*/ 629223 h 6689084"/>
              <a:gd name="connsiteX3716" fmla="*/ 6213809 w 6689088"/>
              <a:gd name="connsiteY3716" fmla="*/ 690949 h 6689084"/>
              <a:gd name="connsiteX3717" fmla="*/ 6152083 w 6689088"/>
              <a:gd name="connsiteY3717" fmla="*/ 752671 h 6689084"/>
              <a:gd name="connsiteX3718" fmla="*/ 6090360 w 6689088"/>
              <a:gd name="connsiteY3718" fmla="*/ 690949 h 6689084"/>
              <a:gd name="connsiteX3719" fmla="*/ 6152083 w 6689088"/>
              <a:gd name="connsiteY3719" fmla="*/ 629223 h 6689084"/>
              <a:gd name="connsiteX3720" fmla="*/ 6305668 w 6689088"/>
              <a:gd name="connsiteY3720" fmla="*/ 626680 h 6689084"/>
              <a:gd name="connsiteX3721" fmla="*/ 6369933 w 6689088"/>
              <a:gd name="connsiteY3721" fmla="*/ 690945 h 6689084"/>
              <a:gd name="connsiteX3722" fmla="*/ 6305668 w 6689088"/>
              <a:gd name="connsiteY3722" fmla="*/ 755214 h 6689084"/>
              <a:gd name="connsiteX3723" fmla="*/ 6241400 w 6689088"/>
              <a:gd name="connsiteY3723" fmla="*/ 690945 h 6689084"/>
              <a:gd name="connsiteX3724" fmla="*/ 6305668 w 6689088"/>
              <a:gd name="connsiteY3724" fmla="*/ 626680 h 6689084"/>
              <a:gd name="connsiteX3725" fmla="*/ 6459619 w 6689088"/>
              <a:gd name="connsiteY3725" fmla="*/ 623414 h 6689084"/>
              <a:gd name="connsiteX3726" fmla="*/ 6527151 w 6689088"/>
              <a:gd name="connsiteY3726" fmla="*/ 690949 h 6689084"/>
              <a:gd name="connsiteX3727" fmla="*/ 6459619 w 6689088"/>
              <a:gd name="connsiteY3727" fmla="*/ 758481 h 6689084"/>
              <a:gd name="connsiteX3728" fmla="*/ 6392084 w 6689088"/>
              <a:gd name="connsiteY3728" fmla="*/ 690949 h 6689084"/>
              <a:gd name="connsiteX3729" fmla="*/ 6459619 w 6689088"/>
              <a:gd name="connsiteY3729" fmla="*/ 623414 h 6689084"/>
              <a:gd name="connsiteX3730" fmla="*/ 6613200 w 6689088"/>
              <a:gd name="connsiteY3730" fmla="*/ 620871 h 6689084"/>
              <a:gd name="connsiteX3731" fmla="*/ 6683275 w 6689088"/>
              <a:gd name="connsiteY3731" fmla="*/ 690945 h 6689084"/>
              <a:gd name="connsiteX3732" fmla="*/ 6613200 w 6689088"/>
              <a:gd name="connsiteY3732" fmla="*/ 761023 h 6689084"/>
              <a:gd name="connsiteX3733" fmla="*/ 6543126 w 6689088"/>
              <a:gd name="connsiteY3733" fmla="*/ 690945 h 6689084"/>
              <a:gd name="connsiteX3734" fmla="*/ 6613200 w 6689088"/>
              <a:gd name="connsiteY3734" fmla="*/ 620871 h 6689084"/>
              <a:gd name="connsiteX3735" fmla="*/ 1231213 w 6689088"/>
              <a:gd name="connsiteY3735" fmla="*/ 536998 h 6689084"/>
              <a:gd name="connsiteX3736" fmla="*/ 1231576 w 6689088"/>
              <a:gd name="connsiteY3736" fmla="*/ 537360 h 6689084"/>
              <a:gd name="connsiteX3737" fmla="*/ 1231213 w 6689088"/>
              <a:gd name="connsiteY3737" fmla="*/ 537726 h 6689084"/>
              <a:gd name="connsiteX3738" fmla="*/ 1230851 w 6689088"/>
              <a:gd name="connsiteY3738" fmla="*/ 537360 h 6689084"/>
              <a:gd name="connsiteX3739" fmla="*/ 1231213 w 6689088"/>
              <a:gd name="connsiteY3739" fmla="*/ 536998 h 6689084"/>
              <a:gd name="connsiteX3740" fmla="*/ 769733 w 6689088"/>
              <a:gd name="connsiteY3740" fmla="*/ 536998 h 6689084"/>
              <a:gd name="connsiteX3741" fmla="*/ 770096 w 6689088"/>
              <a:gd name="connsiteY3741" fmla="*/ 537360 h 6689084"/>
              <a:gd name="connsiteX3742" fmla="*/ 769733 w 6689088"/>
              <a:gd name="connsiteY3742" fmla="*/ 537726 h 6689084"/>
              <a:gd name="connsiteX3743" fmla="*/ 769371 w 6689088"/>
              <a:gd name="connsiteY3743" fmla="*/ 537360 h 6689084"/>
              <a:gd name="connsiteX3744" fmla="*/ 769733 w 6689088"/>
              <a:gd name="connsiteY3744" fmla="*/ 536998 h 6689084"/>
              <a:gd name="connsiteX3745" fmla="*/ 616148 w 6689088"/>
              <a:gd name="connsiteY3745" fmla="*/ 536998 h 6689084"/>
              <a:gd name="connsiteX3746" fmla="*/ 616514 w 6689088"/>
              <a:gd name="connsiteY3746" fmla="*/ 537360 h 6689084"/>
              <a:gd name="connsiteX3747" fmla="*/ 616148 w 6689088"/>
              <a:gd name="connsiteY3747" fmla="*/ 537726 h 6689084"/>
              <a:gd name="connsiteX3748" fmla="*/ 615786 w 6689088"/>
              <a:gd name="connsiteY3748" fmla="*/ 537360 h 6689084"/>
              <a:gd name="connsiteX3749" fmla="*/ 616148 w 6689088"/>
              <a:gd name="connsiteY3749" fmla="*/ 536998 h 6689084"/>
              <a:gd name="connsiteX3750" fmla="*/ 462205 w 6689088"/>
              <a:gd name="connsiteY3750" fmla="*/ 536636 h 6689084"/>
              <a:gd name="connsiteX3751" fmla="*/ 462929 w 6689088"/>
              <a:gd name="connsiteY3751" fmla="*/ 537364 h 6689084"/>
              <a:gd name="connsiteX3752" fmla="*/ 462205 w 6689088"/>
              <a:gd name="connsiteY3752" fmla="*/ 538088 h 6689084"/>
              <a:gd name="connsiteX3753" fmla="*/ 461476 w 6689088"/>
              <a:gd name="connsiteY3753" fmla="*/ 537364 h 6689084"/>
              <a:gd name="connsiteX3754" fmla="*/ 462205 w 6689088"/>
              <a:gd name="connsiteY3754" fmla="*/ 536636 h 6689084"/>
              <a:gd name="connsiteX3755" fmla="*/ 1384799 w 6689088"/>
              <a:gd name="connsiteY3755" fmla="*/ 535911 h 6689084"/>
              <a:gd name="connsiteX3756" fmla="*/ 1386251 w 6689088"/>
              <a:gd name="connsiteY3756" fmla="*/ 537364 h 6689084"/>
              <a:gd name="connsiteX3757" fmla="*/ 1384799 w 6689088"/>
              <a:gd name="connsiteY3757" fmla="*/ 538816 h 6689084"/>
              <a:gd name="connsiteX3758" fmla="*/ 1383346 w 6689088"/>
              <a:gd name="connsiteY3758" fmla="*/ 537364 h 6689084"/>
              <a:gd name="connsiteX3759" fmla="*/ 1384799 w 6689088"/>
              <a:gd name="connsiteY3759" fmla="*/ 535911 h 6689084"/>
              <a:gd name="connsiteX3760" fmla="*/ 308257 w 6689088"/>
              <a:gd name="connsiteY3760" fmla="*/ 535545 h 6689084"/>
              <a:gd name="connsiteX3761" fmla="*/ 309710 w 6689088"/>
              <a:gd name="connsiteY3761" fmla="*/ 536998 h 6689084"/>
              <a:gd name="connsiteX3762" fmla="*/ 309634 w 6689088"/>
              <a:gd name="connsiteY3762" fmla="*/ 537073 h 6689084"/>
              <a:gd name="connsiteX3763" fmla="*/ 308175 w 6689088"/>
              <a:gd name="connsiteY3763" fmla="*/ 535627 h 6689084"/>
              <a:gd name="connsiteX3764" fmla="*/ 1538750 w 6689088"/>
              <a:gd name="connsiteY3764" fmla="*/ 535183 h 6689084"/>
              <a:gd name="connsiteX3765" fmla="*/ 1540927 w 6689088"/>
              <a:gd name="connsiteY3765" fmla="*/ 537364 h 6689084"/>
              <a:gd name="connsiteX3766" fmla="*/ 1538750 w 6689088"/>
              <a:gd name="connsiteY3766" fmla="*/ 539540 h 6689084"/>
              <a:gd name="connsiteX3767" fmla="*/ 1536570 w 6689088"/>
              <a:gd name="connsiteY3767" fmla="*/ 537364 h 6689084"/>
              <a:gd name="connsiteX3768" fmla="*/ 1538750 w 6689088"/>
              <a:gd name="connsiteY3768" fmla="*/ 535183 h 6689084"/>
              <a:gd name="connsiteX3769" fmla="*/ 1692328 w 6689088"/>
              <a:gd name="connsiteY3769" fmla="*/ 534093 h 6689084"/>
              <a:gd name="connsiteX3770" fmla="*/ 1695594 w 6689088"/>
              <a:gd name="connsiteY3770" fmla="*/ 537360 h 6689084"/>
              <a:gd name="connsiteX3771" fmla="*/ 1692328 w 6689088"/>
              <a:gd name="connsiteY3771" fmla="*/ 540630 h 6689084"/>
              <a:gd name="connsiteX3772" fmla="*/ 1689061 w 6689088"/>
              <a:gd name="connsiteY3772" fmla="*/ 537360 h 6689084"/>
              <a:gd name="connsiteX3773" fmla="*/ 1692328 w 6689088"/>
              <a:gd name="connsiteY3773" fmla="*/ 534093 h 6689084"/>
              <a:gd name="connsiteX3774" fmla="*/ 1846279 w 6689088"/>
              <a:gd name="connsiteY3774" fmla="*/ 532641 h 6689084"/>
              <a:gd name="connsiteX3775" fmla="*/ 1850636 w 6689088"/>
              <a:gd name="connsiteY3775" fmla="*/ 536998 h 6689084"/>
              <a:gd name="connsiteX3776" fmla="*/ 1846279 w 6689088"/>
              <a:gd name="connsiteY3776" fmla="*/ 541355 h 6689084"/>
              <a:gd name="connsiteX3777" fmla="*/ 1841922 w 6689088"/>
              <a:gd name="connsiteY3777" fmla="*/ 536998 h 6689084"/>
              <a:gd name="connsiteX3778" fmla="*/ 1846279 w 6689088"/>
              <a:gd name="connsiteY3778" fmla="*/ 532641 h 6689084"/>
              <a:gd name="connsiteX3779" fmla="*/ 1999860 w 6689088"/>
              <a:gd name="connsiteY3779" fmla="*/ 531554 h 6689084"/>
              <a:gd name="connsiteX3780" fmla="*/ 2005670 w 6689088"/>
              <a:gd name="connsiteY3780" fmla="*/ 537364 h 6689084"/>
              <a:gd name="connsiteX3781" fmla="*/ 1999860 w 6689088"/>
              <a:gd name="connsiteY3781" fmla="*/ 543173 h 6689084"/>
              <a:gd name="connsiteX3782" fmla="*/ 1994051 w 6689088"/>
              <a:gd name="connsiteY3782" fmla="*/ 537364 h 6689084"/>
              <a:gd name="connsiteX3783" fmla="*/ 1999860 w 6689088"/>
              <a:gd name="connsiteY3783" fmla="*/ 531554 h 6689084"/>
              <a:gd name="connsiteX3784" fmla="*/ 2153808 w 6689088"/>
              <a:gd name="connsiteY3784" fmla="*/ 530102 h 6689084"/>
              <a:gd name="connsiteX3785" fmla="*/ 2161069 w 6689088"/>
              <a:gd name="connsiteY3785" fmla="*/ 537364 h 6689084"/>
              <a:gd name="connsiteX3786" fmla="*/ 2153808 w 6689088"/>
              <a:gd name="connsiteY3786" fmla="*/ 544625 h 6689084"/>
              <a:gd name="connsiteX3787" fmla="*/ 2146546 w 6689088"/>
              <a:gd name="connsiteY3787" fmla="*/ 537364 h 6689084"/>
              <a:gd name="connsiteX3788" fmla="*/ 2153808 w 6689088"/>
              <a:gd name="connsiteY3788" fmla="*/ 530102 h 6689084"/>
              <a:gd name="connsiteX3789" fmla="*/ 2307393 w 6689088"/>
              <a:gd name="connsiteY3789" fmla="*/ 527922 h 6689084"/>
              <a:gd name="connsiteX3790" fmla="*/ 2316473 w 6689088"/>
              <a:gd name="connsiteY3790" fmla="*/ 536998 h 6689084"/>
              <a:gd name="connsiteX3791" fmla="*/ 2307393 w 6689088"/>
              <a:gd name="connsiteY3791" fmla="*/ 546078 h 6689084"/>
              <a:gd name="connsiteX3792" fmla="*/ 2298317 w 6689088"/>
              <a:gd name="connsiteY3792" fmla="*/ 536998 h 6689084"/>
              <a:gd name="connsiteX3793" fmla="*/ 2307393 w 6689088"/>
              <a:gd name="connsiteY3793" fmla="*/ 527922 h 6689084"/>
              <a:gd name="connsiteX3794" fmla="*/ 2461340 w 6689088"/>
              <a:gd name="connsiteY3794" fmla="*/ 527197 h 6689084"/>
              <a:gd name="connsiteX3795" fmla="*/ 2471507 w 6689088"/>
              <a:gd name="connsiteY3795" fmla="*/ 537364 h 6689084"/>
              <a:gd name="connsiteX3796" fmla="*/ 2461340 w 6689088"/>
              <a:gd name="connsiteY3796" fmla="*/ 547530 h 6689084"/>
              <a:gd name="connsiteX3797" fmla="*/ 2451174 w 6689088"/>
              <a:gd name="connsiteY3797" fmla="*/ 537364 h 6689084"/>
              <a:gd name="connsiteX3798" fmla="*/ 2461340 w 6689088"/>
              <a:gd name="connsiteY3798" fmla="*/ 527197 h 6689084"/>
              <a:gd name="connsiteX3799" fmla="*/ 2614925 w 6689088"/>
              <a:gd name="connsiteY3799" fmla="*/ 525379 h 6689084"/>
              <a:gd name="connsiteX3800" fmla="*/ 2626910 w 6689088"/>
              <a:gd name="connsiteY3800" fmla="*/ 537360 h 6689084"/>
              <a:gd name="connsiteX3801" fmla="*/ 2614925 w 6689088"/>
              <a:gd name="connsiteY3801" fmla="*/ 549341 h 6689084"/>
              <a:gd name="connsiteX3802" fmla="*/ 2602945 w 6689088"/>
              <a:gd name="connsiteY3802" fmla="*/ 537360 h 6689084"/>
              <a:gd name="connsiteX3803" fmla="*/ 2614925 w 6689088"/>
              <a:gd name="connsiteY3803" fmla="*/ 525379 h 6689084"/>
              <a:gd name="connsiteX3804" fmla="*/ 2768877 w 6689088"/>
              <a:gd name="connsiteY3804" fmla="*/ 523202 h 6689084"/>
              <a:gd name="connsiteX3805" fmla="*/ 2782672 w 6689088"/>
              <a:gd name="connsiteY3805" fmla="*/ 537002 h 6689084"/>
              <a:gd name="connsiteX3806" fmla="*/ 2768877 w 6689088"/>
              <a:gd name="connsiteY3806" fmla="*/ 550797 h 6689084"/>
              <a:gd name="connsiteX3807" fmla="*/ 2755078 w 6689088"/>
              <a:gd name="connsiteY3807" fmla="*/ 537002 h 6689084"/>
              <a:gd name="connsiteX3808" fmla="*/ 2768877 w 6689088"/>
              <a:gd name="connsiteY3808" fmla="*/ 523202 h 6689084"/>
              <a:gd name="connsiteX3809" fmla="*/ 2922454 w 6689088"/>
              <a:gd name="connsiteY3809" fmla="*/ 522112 h 6689084"/>
              <a:gd name="connsiteX3810" fmla="*/ 2937706 w 6689088"/>
              <a:gd name="connsiteY3810" fmla="*/ 537364 h 6689084"/>
              <a:gd name="connsiteX3811" fmla="*/ 2922454 w 6689088"/>
              <a:gd name="connsiteY3811" fmla="*/ 552611 h 6689084"/>
              <a:gd name="connsiteX3812" fmla="*/ 2907207 w 6689088"/>
              <a:gd name="connsiteY3812" fmla="*/ 537364 h 6689084"/>
              <a:gd name="connsiteX3813" fmla="*/ 2922454 w 6689088"/>
              <a:gd name="connsiteY3813" fmla="*/ 522112 h 6689084"/>
              <a:gd name="connsiteX3814" fmla="*/ 3076406 w 6689088"/>
              <a:gd name="connsiteY3814" fmla="*/ 520298 h 6689084"/>
              <a:gd name="connsiteX3815" fmla="*/ 3093468 w 6689088"/>
              <a:gd name="connsiteY3815" fmla="*/ 537364 h 6689084"/>
              <a:gd name="connsiteX3816" fmla="*/ 3076406 w 6689088"/>
              <a:gd name="connsiteY3816" fmla="*/ 554430 h 6689084"/>
              <a:gd name="connsiteX3817" fmla="*/ 3059340 w 6689088"/>
              <a:gd name="connsiteY3817" fmla="*/ 537364 h 6689084"/>
              <a:gd name="connsiteX3818" fmla="*/ 3076406 w 6689088"/>
              <a:gd name="connsiteY3818" fmla="*/ 520298 h 6689084"/>
              <a:gd name="connsiteX3819" fmla="*/ 3230353 w 6689088"/>
              <a:gd name="connsiteY3819" fmla="*/ 518117 h 6689084"/>
              <a:gd name="connsiteX3820" fmla="*/ 3249599 w 6689088"/>
              <a:gd name="connsiteY3820" fmla="*/ 537360 h 6689084"/>
              <a:gd name="connsiteX3821" fmla="*/ 3230353 w 6689088"/>
              <a:gd name="connsiteY3821" fmla="*/ 556602 h 6689084"/>
              <a:gd name="connsiteX3822" fmla="*/ 3211110 w 6689088"/>
              <a:gd name="connsiteY3822" fmla="*/ 537360 h 6689084"/>
              <a:gd name="connsiteX3823" fmla="*/ 3230353 w 6689088"/>
              <a:gd name="connsiteY3823" fmla="*/ 518117 h 6689084"/>
              <a:gd name="connsiteX3824" fmla="*/ 3383938 w 6689088"/>
              <a:gd name="connsiteY3824" fmla="*/ 515941 h 6689084"/>
              <a:gd name="connsiteX3825" fmla="*/ 3405361 w 6689088"/>
              <a:gd name="connsiteY3825" fmla="*/ 537364 h 6689084"/>
              <a:gd name="connsiteX3826" fmla="*/ 3383938 w 6689088"/>
              <a:gd name="connsiteY3826" fmla="*/ 558787 h 6689084"/>
              <a:gd name="connsiteX3827" fmla="*/ 3362515 w 6689088"/>
              <a:gd name="connsiteY3827" fmla="*/ 537364 h 6689084"/>
              <a:gd name="connsiteX3828" fmla="*/ 3383938 w 6689088"/>
              <a:gd name="connsiteY3828" fmla="*/ 515941 h 6689084"/>
              <a:gd name="connsiteX3829" fmla="*/ 3537886 w 6689088"/>
              <a:gd name="connsiteY3829" fmla="*/ 514489 h 6689084"/>
              <a:gd name="connsiteX3830" fmla="*/ 3560761 w 6689088"/>
              <a:gd name="connsiteY3830" fmla="*/ 537364 h 6689084"/>
              <a:gd name="connsiteX3831" fmla="*/ 3537886 w 6689088"/>
              <a:gd name="connsiteY3831" fmla="*/ 560239 h 6689084"/>
              <a:gd name="connsiteX3832" fmla="*/ 3515010 w 6689088"/>
              <a:gd name="connsiteY3832" fmla="*/ 537364 h 6689084"/>
              <a:gd name="connsiteX3833" fmla="*/ 3537886 w 6689088"/>
              <a:gd name="connsiteY3833" fmla="*/ 514489 h 6689084"/>
              <a:gd name="connsiteX3834" fmla="*/ 3691467 w 6689088"/>
              <a:gd name="connsiteY3834" fmla="*/ 512308 h 6689084"/>
              <a:gd name="connsiteX3835" fmla="*/ 3716519 w 6689088"/>
              <a:gd name="connsiteY3835" fmla="*/ 537360 h 6689084"/>
              <a:gd name="connsiteX3836" fmla="*/ 3691467 w 6689088"/>
              <a:gd name="connsiteY3836" fmla="*/ 562412 h 6689084"/>
              <a:gd name="connsiteX3837" fmla="*/ 3666415 w 6689088"/>
              <a:gd name="connsiteY3837" fmla="*/ 537360 h 6689084"/>
              <a:gd name="connsiteX3838" fmla="*/ 3691467 w 6689088"/>
              <a:gd name="connsiteY3838" fmla="*/ 512308 h 6689084"/>
              <a:gd name="connsiteX3839" fmla="*/ 3845418 w 6689088"/>
              <a:gd name="connsiteY3839" fmla="*/ 510131 h 6689084"/>
              <a:gd name="connsiteX3840" fmla="*/ 3872650 w 6689088"/>
              <a:gd name="connsiteY3840" fmla="*/ 537364 h 6689084"/>
              <a:gd name="connsiteX3841" fmla="*/ 3845418 w 6689088"/>
              <a:gd name="connsiteY3841" fmla="*/ 564596 h 6689084"/>
              <a:gd name="connsiteX3842" fmla="*/ 3818186 w 6689088"/>
              <a:gd name="connsiteY3842" fmla="*/ 537364 h 6689084"/>
              <a:gd name="connsiteX3843" fmla="*/ 3845418 w 6689088"/>
              <a:gd name="connsiteY3843" fmla="*/ 510131 h 6689084"/>
              <a:gd name="connsiteX3844" fmla="*/ 3999000 w 6689088"/>
              <a:gd name="connsiteY3844" fmla="*/ 507589 h 6689084"/>
              <a:gd name="connsiteX3845" fmla="*/ 4028774 w 6689088"/>
              <a:gd name="connsiteY3845" fmla="*/ 537364 h 6689084"/>
              <a:gd name="connsiteX3846" fmla="*/ 3999000 w 6689088"/>
              <a:gd name="connsiteY3846" fmla="*/ 567135 h 6689084"/>
              <a:gd name="connsiteX3847" fmla="*/ 3969229 w 6689088"/>
              <a:gd name="connsiteY3847" fmla="*/ 537364 h 6689084"/>
              <a:gd name="connsiteX3848" fmla="*/ 3999000 w 6689088"/>
              <a:gd name="connsiteY3848" fmla="*/ 507589 h 6689084"/>
              <a:gd name="connsiteX3849" fmla="*/ 4152947 w 6689088"/>
              <a:gd name="connsiteY3849" fmla="*/ 505412 h 6689084"/>
              <a:gd name="connsiteX3850" fmla="*/ 4184898 w 6689088"/>
              <a:gd name="connsiteY3850" fmla="*/ 537364 h 6689084"/>
              <a:gd name="connsiteX3851" fmla="*/ 4152947 w 6689088"/>
              <a:gd name="connsiteY3851" fmla="*/ 569315 h 6689084"/>
              <a:gd name="connsiteX3852" fmla="*/ 4120996 w 6689088"/>
              <a:gd name="connsiteY3852" fmla="*/ 537364 h 6689084"/>
              <a:gd name="connsiteX3853" fmla="*/ 4152947 w 6689088"/>
              <a:gd name="connsiteY3853" fmla="*/ 505412 h 6689084"/>
              <a:gd name="connsiteX3854" fmla="*/ 4306532 w 6689088"/>
              <a:gd name="connsiteY3854" fmla="*/ 503594 h 6689084"/>
              <a:gd name="connsiteX3855" fmla="*/ 4340302 w 6689088"/>
              <a:gd name="connsiteY3855" fmla="*/ 537360 h 6689084"/>
              <a:gd name="connsiteX3856" fmla="*/ 4306532 w 6689088"/>
              <a:gd name="connsiteY3856" fmla="*/ 571130 h 6689084"/>
              <a:gd name="connsiteX3857" fmla="*/ 4272766 w 6689088"/>
              <a:gd name="connsiteY3857" fmla="*/ 537360 h 6689084"/>
              <a:gd name="connsiteX3858" fmla="*/ 4306532 w 6689088"/>
              <a:gd name="connsiteY3858" fmla="*/ 503594 h 6689084"/>
              <a:gd name="connsiteX3859" fmla="*/ 4460480 w 6689088"/>
              <a:gd name="connsiteY3859" fmla="*/ 500689 h 6689084"/>
              <a:gd name="connsiteX3860" fmla="*/ 4496788 w 6689088"/>
              <a:gd name="connsiteY3860" fmla="*/ 536998 h 6689084"/>
              <a:gd name="connsiteX3861" fmla="*/ 4460480 w 6689088"/>
              <a:gd name="connsiteY3861" fmla="*/ 573306 h 6689084"/>
              <a:gd name="connsiteX3862" fmla="*/ 4424172 w 6689088"/>
              <a:gd name="connsiteY3862" fmla="*/ 536998 h 6689084"/>
              <a:gd name="connsiteX3863" fmla="*/ 4460480 w 6689088"/>
              <a:gd name="connsiteY3863" fmla="*/ 500689 h 6689084"/>
              <a:gd name="connsiteX3864" fmla="*/ 4614065 w 6689088"/>
              <a:gd name="connsiteY3864" fmla="*/ 498513 h 6689084"/>
              <a:gd name="connsiteX3865" fmla="*/ 4652912 w 6689088"/>
              <a:gd name="connsiteY3865" fmla="*/ 537364 h 6689084"/>
              <a:gd name="connsiteX3866" fmla="*/ 4614065 w 6689088"/>
              <a:gd name="connsiteY3866" fmla="*/ 576215 h 6689084"/>
              <a:gd name="connsiteX3867" fmla="*/ 4575214 w 6689088"/>
              <a:gd name="connsiteY3867" fmla="*/ 537364 h 6689084"/>
              <a:gd name="connsiteX3868" fmla="*/ 4614065 w 6689088"/>
              <a:gd name="connsiteY3868" fmla="*/ 498513 h 6689084"/>
              <a:gd name="connsiteX3869" fmla="*/ 4768008 w 6689088"/>
              <a:gd name="connsiteY3869" fmla="*/ 495970 h 6689084"/>
              <a:gd name="connsiteX3870" fmla="*/ 4809036 w 6689088"/>
              <a:gd name="connsiteY3870" fmla="*/ 536998 h 6689084"/>
              <a:gd name="connsiteX3871" fmla="*/ 4768008 w 6689088"/>
              <a:gd name="connsiteY3871" fmla="*/ 578029 h 6689084"/>
              <a:gd name="connsiteX3872" fmla="*/ 4726981 w 6689088"/>
              <a:gd name="connsiteY3872" fmla="*/ 536998 h 6689084"/>
              <a:gd name="connsiteX3873" fmla="*/ 4768008 w 6689088"/>
              <a:gd name="connsiteY3873" fmla="*/ 495970 h 6689084"/>
              <a:gd name="connsiteX3874" fmla="*/ 4921594 w 6689088"/>
              <a:gd name="connsiteY3874" fmla="*/ 493428 h 6689084"/>
              <a:gd name="connsiteX3875" fmla="*/ 4965164 w 6689088"/>
              <a:gd name="connsiteY3875" fmla="*/ 536998 h 6689084"/>
              <a:gd name="connsiteX3876" fmla="*/ 4921594 w 6689088"/>
              <a:gd name="connsiteY3876" fmla="*/ 580568 h 6689084"/>
              <a:gd name="connsiteX3877" fmla="*/ 4878024 w 6689088"/>
              <a:gd name="connsiteY3877" fmla="*/ 536998 h 6689084"/>
              <a:gd name="connsiteX3878" fmla="*/ 4921594 w 6689088"/>
              <a:gd name="connsiteY3878" fmla="*/ 493428 h 6689084"/>
              <a:gd name="connsiteX3879" fmla="*/ 5075541 w 6689088"/>
              <a:gd name="connsiteY3879" fmla="*/ 490889 h 6689084"/>
              <a:gd name="connsiteX3880" fmla="*/ 5121654 w 6689088"/>
              <a:gd name="connsiteY3880" fmla="*/ 537002 h 6689084"/>
              <a:gd name="connsiteX3881" fmla="*/ 5075541 w 6689088"/>
              <a:gd name="connsiteY3881" fmla="*/ 583110 h 6689084"/>
              <a:gd name="connsiteX3882" fmla="*/ 5029428 w 6689088"/>
              <a:gd name="connsiteY3882" fmla="*/ 537002 h 6689084"/>
              <a:gd name="connsiteX3883" fmla="*/ 5075541 w 6689088"/>
              <a:gd name="connsiteY3883" fmla="*/ 490889 h 6689084"/>
              <a:gd name="connsiteX3884" fmla="*/ 5229122 w 6689088"/>
              <a:gd name="connsiteY3884" fmla="*/ 488709 h 6689084"/>
              <a:gd name="connsiteX3885" fmla="*/ 5277778 w 6689088"/>
              <a:gd name="connsiteY3885" fmla="*/ 537364 h 6689084"/>
              <a:gd name="connsiteX3886" fmla="*/ 5229122 w 6689088"/>
              <a:gd name="connsiteY3886" fmla="*/ 586015 h 6689084"/>
              <a:gd name="connsiteX3887" fmla="*/ 5180472 w 6689088"/>
              <a:gd name="connsiteY3887" fmla="*/ 537364 h 6689084"/>
              <a:gd name="connsiteX3888" fmla="*/ 5229122 w 6689088"/>
              <a:gd name="connsiteY3888" fmla="*/ 488709 h 6689084"/>
              <a:gd name="connsiteX3889" fmla="*/ 5383074 w 6689088"/>
              <a:gd name="connsiteY3889" fmla="*/ 486166 h 6689084"/>
              <a:gd name="connsiteX3890" fmla="*/ 5434268 w 6689088"/>
              <a:gd name="connsiteY3890" fmla="*/ 537360 h 6689084"/>
              <a:gd name="connsiteX3891" fmla="*/ 5383074 w 6689088"/>
              <a:gd name="connsiteY3891" fmla="*/ 588554 h 6689084"/>
              <a:gd name="connsiteX3892" fmla="*/ 5331880 w 6689088"/>
              <a:gd name="connsiteY3892" fmla="*/ 537360 h 6689084"/>
              <a:gd name="connsiteX3893" fmla="*/ 5383074 w 6689088"/>
              <a:gd name="connsiteY3893" fmla="*/ 486166 h 6689084"/>
              <a:gd name="connsiteX3894" fmla="*/ 5536659 w 6689088"/>
              <a:gd name="connsiteY3894" fmla="*/ 483624 h 6689084"/>
              <a:gd name="connsiteX3895" fmla="*/ 5590034 w 6689088"/>
              <a:gd name="connsiteY3895" fmla="*/ 536998 h 6689084"/>
              <a:gd name="connsiteX3896" fmla="*/ 5536659 w 6689088"/>
              <a:gd name="connsiteY3896" fmla="*/ 590372 h 6689084"/>
              <a:gd name="connsiteX3897" fmla="*/ 5483285 w 6689088"/>
              <a:gd name="connsiteY3897" fmla="*/ 536998 h 6689084"/>
              <a:gd name="connsiteX3898" fmla="*/ 5536659 w 6689088"/>
              <a:gd name="connsiteY3898" fmla="*/ 483624 h 6689084"/>
              <a:gd name="connsiteX3899" fmla="*/ 5690606 w 6689088"/>
              <a:gd name="connsiteY3899" fmla="*/ 481085 h 6689084"/>
              <a:gd name="connsiteX3900" fmla="*/ 5746882 w 6689088"/>
              <a:gd name="connsiteY3900" fmla="*/ 537364 h 6689084"/>
              <a:gd name="connsiteX3901" fmla="*/ 5690606 w 6689088"/>
              <a:gd name="connsiteY3901" fmla="*/ 593643 h 6689084"/>
              <a:gd name="connsiteX3902" fmla="*/ 5634328 w 6689088"/>
              <a:gd name="connsiteY3902" fmla="*/ 537364 h 6689084"/>
              <a:gd name="connsiteX3903" fmla="*/ 5690606 w 6689088"/>
              <a:gd name="connsiteY3903" fmla="*/ 481085 h 6689084"/>
              <a:gd name="connsiteX3904" fmla="*/ 5844554 w 6689088"/>
              <a:gd name="connsiteY3904" fmla="*/ 478542 h 6689084"/>
              <a:gd name="connsiteX3905" fmla="*/ 5903372 w 6689088"/>
              <a:gd name="connsiteY3905" fmla="*/ 537364 h 6689084"/>
              <a:gd name="connsiteX3906" fmla="*/ 5844554 w 6689088"/>
              <a:gd name="connsiteY3906" fmla="*/ 596181 h 6689084"/>
              <a:gd name="connsiteX3907" fmla="*/ 5785732 w 6689088"/>
              <a:gd name="connsiteY3907" fmla="*/ 537364 h 6689084"/>
              <a:gd name="connsiteX3908" fmla="*/ 5844554 w 6689088"/>
              <a:gd name="connsiteY3908" fmla="*/ 478542 h 6689084"/>
              <a:gd name="connsiteX3909" fmla="*/ 5998136 w 6689088"/>
              <a:gd name="connsiteY3909" fmla="*/ 475638 h 6689084"/>
              <a:gd name="connsiteX3910" fmla="*/ 6059862 w 6689088"/>
              <a:gd name="connsiteY3910" fmla="*/ 537364 h 6689084"/>
              <a:gd name="connsiteX3911" fmla="*/ 5998136 w 6689088"/>
              <a:gd name="connsiteY3911" fmla="*/ 599086 h 6689084"/>
              <a:gd name="connsiteX3912" fmla="*/ 5936413 w 6689088"/>
              <a:gd name="connsiteY3912" fmla="*/ 537364 h 6689084"/>
              <a:gd name="connsiteX3913" fmla="*/ 5998136 w 6689088"/>
              <a:gd name="connsiteY3913" fmla="*/ 475638 h 6689084"/>
              <a:gd name="connsiteX3914" fmla="*/ 6152083 w 6689088"/>
              <a:gd name="connsiteY3914" fmla="*/ 473095 h 6689084"/>
              <a:gd name="connsiteX3915" fmla="*/ 6216348 w 6689088"/>
              <a:gd name="connsiteY3915" fmla="*/ 537360 h 6689084"/>
              <a:gd name="connsiteX3916" fmla="*/ 6152083 w 6689088"/>
              <a:gd name="connsiteY3916" fmla="*/ 601625 h 6689084"/>
              <a:gd name="connsiteX3917" fmla="*/ 6087818 w 6689088"/>
              <a:gd name="connsiteY3917" fmla="*/ 537360 h 6689084"/>
              <a:gd name="connsiteX3918" fmla="*/ 6152083 w 6689088"/>
              <a:gd name="connsiteY3918" fmla="*/ 473095 h 6689084"/>
              <a:gd name="connsiteX3919" fmla="*/ 6305672 w 6689088"/>
              <a:gd name="connsiteY3919" fmla="*/ 469828 h 6689084"/>
              <a:gd name="connsiteX3920" fmla="*/ 6373204 w 6689088"/>
              <a:gd name="connsiteY3920" fmla="*/ 537364 h 6689084"/>
              <a:gd name="connsiteX3921" fmla="*/ 6305672 w 6689088"/>
              <a:gd name="connsiteY3921" fmla="*/ 604895 h 6689084"/>
              <a:gd name="connsiteX3922" fmla="*/ 6238136 w 6689088"/>
              <a:gd name="connsiteY3922" fmla="*/ 537364 h 6689084"/>
              <a:gd name="connsiteX3923" fmla="*/ 6305672 w 6689088"/>
              <a:gd name="connsiteY3923" fmla="*/ 469828 h 6689084"/>
              <a:gd name="connsiteX3924" fmla="*/ 6459616 w 6689088"/>
              <a:gd name="connsiteY3924" fmla="*/ 467286 h 6689084"/>
              <a:gd name="connsiteX3925" fmla="*/ 6529694 w 6689088"/>
              <a:gd name="connsiteY3925" fmla="*/ 537360 h 6689084"/>
              <a:gd name="connsiteX3926" fmla="*/ 6459616 w 6689088"/>
              <a:gd name="connsiteY3926" fmla="*/ 607434 h 6689084"/>
              <a:gd name="connsiteX3927" fmla="*/ 6389542 w 6689088"/>
              <a:gd name="connsiteY3927" fmla="*/ 537360 h 6689084"/>
              <a:gd name="connsiteX3928" fmla="*/ 6459616 w 6689088"/>
              <a:gd name="connsiteY3928" fmla="*/ 467286 h 6689084"/>
              <a:gd name="connsiteX3929" fmla="*/ 6613200 w 6689088"/>
              <a:gd name="connsiteY3929" fmla="*/ 464381 h 6689084"/>
              <a:gd name="connsiteX3930" fmla="*/ 6686180 w 6689088"/>
              <a:gd name="connsiteY3930" fmla="*/ 537360 h 6689084"/>
              <a:gd name="connsiteX3931" fmla="*/ 6613200 w 6689088"/>
              <a:gd name="connsiteY3931" fmla="*/ 610339 h 6689084"/>
              <a:gd name="connsiteX3932" fmla="*/ 6540222 w 6689088"/>
              <a:gd name="connsiteY3932" fmla="*/ 537360 h 6689084"/>
              <a:gd name="connsiteX3933" fmla="*/ 6613200 w 6689088"/>
              <a:gd name="connsiteY3933" fmla="*/ 464381 h 6689084"/>
              <a:gd name="connsiteX3934" fmla="*/ 1077266 w 6689088"/>
              <a:gd name="connsiteY3934" fmla="*/ 383050 h 6689084"/>
              <a:gd name="connsiteX3935" fmla="*/ 1077628 w 6689088"/>
              <a:gd name="connsiteY3935" fmla="*/ 383412 h 6689084"/>
              <a:gd name="connsiteX3936" fmla="*/ 1077266 w 6689088"/>
              <a:gd name="connsiteY3936" fmla="*/ 383778 h 6689084"/>
              <a:gd name="connsiteX3937" fmla="*/ 1076904 w 6689088"/>
              <a:gd name="connsiteY3937" fmla="*/ 383412 h 6689084"/>
              <a:gd name="connsiteX3938" fmla="*/ 1077266 w 6689088"/>
              <a:gd name="connsiteY3938" fmla="*/ 383050 h 6689084"/>
              <a:gd name="connsiteX3939" fmla="*/ 616148 w 6689088"/>
              <a:gd name="connsiteY3939" fmla="*/ 383050 h 6689084"/>
              <a:gd name="connsiteX3940" fmla="*/ 616514 w 6689088"/>
              <a:gd name="connsiteY3940" fmla="*/ 383412 h 6689084"/>
              <a:gd name="connsiteX3941" fmla="*/ 616148 w 6689088"/>
              <a:gd name="connsiteY3941" fmla="*/ 383775 h 6689084"/>
              <a:gd name="connsiteX3942" fmla="*/ 615786 w 6689088"/>
              <a:gd name="connsiteY3942" fmla="*/ 383412 h 6689084"/>
              <a:gd name="connsiteX3943" fmla="*/ 616148 w 6689088"/>
              <a:gd name="connsiteY3943" fmla="*/ 383050 h 6689084"/>
              <a:gd name="connsiteX3944" fmla="*/ 462205 w 6689088"/>
              <a:gd name="connsiteY3944" fmla="*/ 383050 h 6689084"/>
              <a:gd name="connsiteX3945" fmla="*/ 462567 w 6689088"/>
              <a:gd name="connsiteY3945" fmla="*/ 383412 h 6689084"/>
              <a:gd name="connsiteX3946" fmla="*/ 462205 w 6689088"/>
              <a:gd name="connsiteY3946" fmla="*/ 383775 h 6689084"/>
              <a:gd name="connsiteX3947" fmla="*/ 461842 w 6689088"/>
              <a:gd name="connsiteY3947" fmla="*/ 383412 h 6689084"/>
              <a:gd name="connsiteX3948" fmla="*/ 462205 w 6689088"/>
              <a:gd name="connsiteY3948" fmla="*/ 383050 h 6689084"/>
              <a:gd name="connsiteX3949" fmla="*/ 308623 w 6689088"/>
              <a:gd name="connsiteY3949" fmla="*/ 382688 h 6689084"/>
              <a:gd name="connsiteX3950" fmla="*/ 309347 w 6689088"/>
              <a:gd name="connsiteY3950" fmla="*/ 383416 h 6689084"/>
              <a:gd name="connsiteX3951" fmla="*/ 308623 w 6689088"/>
              <a:gd name="connsiteY3951" fmla="*/ 384141 h 6689084"/>
              <a:gd name="connsiteX3952" fmla="*/ 307895 w 6689088"/>
              <a:gd name="connsiteY3952" fmla="*/ 383416 h 6689084"/>
              <a:gd name="connsiteX3953" fmla="*/ 308623 w 6689088"/>
              <a:gd name="connsiteY3953" fmla="*/ 382688 h 6689084"/>
              <a:gd name="connsiteX3954" fmla="*/ 1231213 w 6689088"/>
              <a:gd name="connsiteY3954" fmla="*/ 381964 h 6689084"/>
              <a:gd name="connsiteX3955" fmla="*/ 1232666 w 6689088"/>
              <a:gd name="connsiteY3955" fmla="*/ 383416 h 6689084"/>
              <a:gd name="connsiteX3956" fmla="*/ 1231213 w 6689088"/>
              <a:gd name="connsiteY3956" fmla="*/ 384869 h 6689084"/>
              <a:gd name="connsiteX3957" fmla="*/ 1229761 w 6689088"/>
              <a:gd name="connsiteY3957" fmla="*/ 383416 h 6689084"/>
              <a:gd name="connsiteX3958" fmla="*/ 1231213 w 6689088"/>
              <a:gd name="connsiteY3958" fmla="*/ 381964 h 6689084"/>
              <a:gd name="connsiteX3959" fmla="*/ 154672 w 6689088"/>
              <a:gd name="connsiteY3959" fmla="*/ 381964 h 6689084"/>
              <a:gd name="connsiteX3960" fmla="*/ 156124 w 6689088"/>
              <a:gd name="connsiteY3960" fmla="*/ 383416 h 6689084"/>
              <a:gd name="connsiteX3961" fmla="*/ 155343 w 6689088"/>
              <a:gd name="connsiteY3961" fmla="*/ 384197 h 6689084"/>
              <a:gd name="connsiteX3962" fmla="*/ 153884 w 6689088"/>
              <a:gd name="connsiteY3962" fmla="*/ 382752 h 6689084"/>
              <a:gd name="connsiteX3963" fmla="*/ 1384799 w 6689088"/>
              <a:gd name="connsiteY3963" fmla="*/ 381236 h 6689084"/>
              <a:gd name="connsiteX3964" fmla="*/ 1386979 w 6689088"/>
              <a:gd name="connsiteY3964" fmla="*/ 383416 h 6689084"/>
              <a:gd name="connsiteX3965" fmla="*/ 1384799 w 6689088"/>
              <a:gd name="connsiteY3965" fmla="*/ 385593 h 6689084"/>
              <a:gd name="connsiteX3966" fmla="*/ 1382622 w 6689088"/>
              <a:gd name="connsiteY3966" fmla="*/ 383416 h 6689084"/>
              <a:gd name="connsiteX3967" fmla="*/ 1384799 w 6689088"/>
              <a:gd name="connsiteY3967" fmla="*/ 381236 h 6689084"/>
              <a:gd name="connsiteX3968" fmla="*/ 1538746 w 6689088"/>
              <a:gd name="connsiteY3968" fmla="*/ 380508 h 6689084"/>
              <a:gd name="connsiteX3969" fmla="*/ 1542013 w 6689088"/>
              <a:gd name="connsiteY3969" fmla="*/ 383775 h 6689084"/>
              <a:gd name="connsiteX3970" fmla="*/ 1538746 w 6689088"/>
              <a:gd name="connsiteY3970" fmla="*/ 387045 h 6689084"/>
              <a:gd name="connsiteX3971" fmla="*/ 1535479 w 6689088"/>
              <a:gd name="connsiteY3971" fmla="*/ 383775 h 6689084"/>
              <a:gd name="connsiteX3972" fmla="*/ 1538746 w 6689088"/>
              <a:gd name="connsiteY3972" fmla="*/ 380508 h 6689084"/>
              <a:gd name="connsiteX3973" fmla="*/ 1692331 w 6689088"/>
              <a:gd name="connsiteY3973" fmla="*/ 379055 h 6689084"/>
              <a:gd name="connsiteX3974" fmla="*/ 1696688 w 6689088"/>
              <a:gd name="connsiteY3974" fmla="*/ 383412 h 6689084"/>
              <a:gd name="connsiteX3975" fmla="*/ 1692331 w 6689088"/>
              <a:gd name="connsiteY3975" fmla="*/ 387770 h 6689084"/>
              <a:gd name="connsiteX3976" fmla="*/ 1687974 w 6689088"/>
              <a:gd name="connsiteY3976" fmla="*/ 383412 h 6689084"/>
              <a:gd name="connsiteX3977" fmla="*/ 1692331 w 6689088"/>
              <a:gd name="connsiteY3977" fmla="*/ 379055 h 6689084"/>
              <a:gd name="connsiteX3978" fmla="*/ 1846279 w 6689088"/>
              <a:gd name="connsiteY3978" fmla="*/ 377607 h 6689084"/>
              <a:gd name="connsiteX3979" fmla="*/ 1852088 w 6689088"/>
              <a:gd name="connsiteY3979" fmla="*/ 383416 h 6689084"/>
              <a:gd name="connsiteX3980" fmla="*/ 1846279 w 6689088"/>
              <a:gd name="connsiteY3980" fmla="*/ 389226 h 6689084"/>
              <a:gd name="connsiteX3981" fmla="*/ 1840469 w 6689088"/>
              <a:gd name="connsiteY3981" fmla="*/ 383416 h 6689084"/>
              <a:gd name="connsiteX3982" fmla="*/ 1846279 w 6689088"/>
              <a:gd name="connsiteY3982" fmla="*/ 377607 h 6689084"/>
              <a:gd name="connsiteX3983" fmla="*/ 1999864 w 6689088"/>
              <a:gd name="connsiteY3983" fmla="*/ 376151 h 6689084"/>
              <a:gd name="connsiteX3984" fmla="*/ 2007126 w 6689088"/>
              <a:gd name="connsiteY3984" fmla="*/ 383412 h 6689084"/>
              <a:gd name="connsiteX3985" fmla="*/ 1999864 w 6689088"/>
              <a:gd name="connsiteY3985" fmla="*/ 390674 h 6689084"/>
              <a:gd name="connsiteX3986" fmla="*/ 1992602 w 6689088"/>
              <a:gd name="connsiteY3986" fmla="*/ 383412 h 6689084"/>
              <a:gd name="connsiteX3987" fmla="*/ 1999864 w 6689088"/>
              <a:gd name="connsiteY3987" fmla="*/ 376151 h 6689084"/>
              <a:gd name="connsiteX3988" fmla="*/ 2153808 w 6689088"/>
              <a:gd name="connsiteY3988" fmla="*/ 374336 h 6689084"/>
              <a:gd name="connsiteX3989" fmla="*/ 2162888 w 6689088"/>
              <a:gd name="connsiteY3989" fmla="*/ 383412 h 6689084"/>
              <a:gd name="connsiteX3990" fmla="*/ 2153808 w 6689088"/>
              <a:gd name="connsiteY3990" fmla="*/ 392492 h 6689084"/>
              <a:gd name="connsiteX3991" fmla="*/ 2144731 w 6689088"/>
              <a:gd name="connsiteY3991" fmla="*/ 383412 h 6689084"/>
              <a:gd name="connsiteX3992" fmla="*/ 2153808 w 6689088"/>
              <a:gd name="connsiteY3992" fmla="*/ 374336 h 6689084"/>
              <a:gd name="connsiteX3993" fmla="*/ 2307393 w 6689088"/>
              <a:gd name="connsiteY3993" fmla="*/ 373246 h 6689084"/>
              <a:gd name="connsiteX3994" fmla="*/ 2317559 w 6689088"/>
              <a:gd name="connsiteY3994" fmla="*/ 383412 h 6689084"/>
              <a:gd name="connsiteX3995" fmla="*/ 2307393 w 6689088"/>
              <a:gd name="connsiteY3995" fmla="*/ 393579 h 6689084"/>
              <a:gd name="connsiteX3996" fmla="*/ 2297226 w 6689088"/>
              <a:gd name="connsiteY3996" fmla="*/ 383412 h 6689084"/>
              <a:gd name="connsiteX3997" fmla="*/ 2307393 w 6689088"/>
              <a:gd name="connsiteY3997" fmla="*/ 373246 h 6689084"/>
              <a:gd name="connsiteX3998" fmla="*/ 2461340 w 6689088"/>
              <a:gd name="connsiteY3998" fmla="*/ 371432 h 6689084"/>
              <a:gd name="connsiteX3999" fmla="*/ 2473325 w 6689088"/>
              <a:gd name="connsiteY3999" fmla="*/ 383412 h 6689084"/>
              <a:gd name="connsiteX4000" fmla="*/ 2461340 w 6689088"/>
              <a:gd name="connsiteY4000" fmla="*/ 395397 h 6689084"/>
              <a:gd name="connsiteX4001" fmla="*/ 2449359 w 6689088"/>
              <a:gd name="connsiteY4001" fmla="*/ 383412 h 6689084"/>
              <a:gd name="connsiteX4002" fmla="*/ 2461340 w 6689088"/>
              <a:gd name="connsiteY4002" fmla="*/ 371432 h 6689084"/>
              <a:gd name="connsiteX4003" fmla="*/ 2614925 w 6689088"/>
              <a:gd name="connsiteY4003" fmla="*/ 369617 h 6689084"/>
              <a:gd name="connsiteX4004" fmla="*/ 2628721 w 6689088"/>
              <a:gd name="connsiteY4004" fmla="*/ 383416 h 6689084"/>
              <a:gd name="connsiteX4005" fmla="*/ 2614925 w 6689088"/>
              <a:gd name="connsiteY4005" fmla="*/ 397212 h 6689084"/>
              <a:gd name="connsiteX4006" fmla="*/ 2601126 w 6689088"/>
              <a:gd name="connsiteY4006" fmla="*/ 383416 h 6689084"/>
              <a:gd name="connsiteX4007" fmla="*/ 2614925 w 6689088"/>
              <a:gd name="connsiteY4007" fmla="*/ 369617 h 6689084"/>
              <a:gd name="connsiteX4008" fmla="*/ 2768873 w 6689088"/>
              <a:gd name="connsiteY4008" fmla="*/ 368165 h 6689084"/>
              <a:gd name="connsiteX4009" fmla="*/ 2784124 w 6689088"/>
              <a:gd name="connsiteY4009" fmla="*/ 383416 h 6689084"/>
              <a:gd name="connsiteX4010" fmla="*/ 2768873 w 6689088"/>
              <a:gd name="connsiteY4010" fmla="*/ 398664 h 6689084"/>
              <a:gd name="connsiteX4011" fmla="*/ 2753625 w 6689088"/>
              <a:gd name="connsiteY4011" fmla="*/ 383416 h 6689084"/>
              <a:gd name="connsiteX4012" fmla="*/ 2768873 w 6689088"/>
              <a:gd name="connsiteY4012" fmla="*/ 368165 h 6689084"/>
              <a:gd name="connsiteX4013" fmla="*/ 2922458 w 6689088"/>
              <a:gd name="connsiteY4013" fmla="*/ 366350 h 6689084"/>
              <a:gd name="connsiteX4014" fmla="*/ 2939524 w 6689088"/>
              <a:gd name="connsiteY4014" fmla="*/ 383416 h 6689084"/>
              <a:gd name="connsiteX4015" fmla="*/ 2922458 w 6689088"/>
              <a:gd name="connsiteY4015" fmla="*/ 400478 h 6689084"/>
              <a:gd name="connsiteX4016" fmla="*/ 2905392 w 6689088"/>
              <a:gd name="connsiteY4016" fmla="*/ 383416 h 6689084"/>
              <a:gd name="connsiteX4017" fmla="*/ 2922458 w 6689088"/>
              <a:gd name="connsiteY4017" fmla="*/ 366350 h 6689084"/>
              <a:gd name="connsiteX4018" fmla="*/ 3076406 w 6689088"/>
              <a:gd name="connsiteY4018" fmla="*/ 364170 h 6689084"/>
              <a:gd name="connsiteX4019" fmla="*/ 3095652 w 6689088"/>
              <a:gd name="connsiteY4019" fmla="*/ 383412 h 6689084"/>
              <a:gd name="connsiteX4020" fmla="*/ 3076406 w 6689088"/>
              <a:gd name="connsiteY4020" fmla="*/ 402659 h 6689084"/>
              <a:gd name="connsiteX4021" fmla="*/ 3057163 w 6689088"/>
              <a:gd name="connsiteY4021" fmla="*/ 383412 h 6689084"/>
              <a:gd name="connsiteX4022" fmla="*/ 3076406 w 6689088"/>
              <a:gd name="connsiteY4022" fmla="*/ 364170 h 6689084"/>
              <a:gd name="connsiteX4023" fmla="*/ 3230353 w 6689088"/>
              <a:gd name="connsiteY4023" fmla="*/ 361993 h 6689084"/>
              <a:gd name="connsiteX4024" fmla="*/ 3251776 w 6689088"/>
              <a:gd name="connsiteY4024" fmla="*/ 383416 h 6689084"/>
              <a:gd name="connsiteX4025" fmla="*/ 3230353 w 6689088"/>
              <a:gd name="connsiteY4025" fmla="*/ 404839 h 6689084"/>
              <a:gd name="connsiteX4026" fmla="*/ 3208930 w 6689088"/>
              <a:gd name="connsiteY4026" fmla="*/ 383416 h 6689084"/>
              <a:gd name="connsiteX4027" fmla="*/ 3230353 w 6689088"/>
              <a:gd name="connsiteY4027" fmla="*/ 361993 h 6689084"/>
              <a:gd name="connsiteX4028" fmla="*/ 3383938 w 6689088"/>
              <a:gd name="connsiteY4028" fmla="*/ 360541 h 6689084"/>
              <a:gd name="connsiteX4029" fmla="*/ 3406810 w 6689088"/>
              <a:gd name="connsiteY4029" fmla="*/ 383416 h 6689084"/>
              <a:gd name="connsiteX4030" fmla="*/ 3383938 w 6689088"/>
              <a:gd name="connsiteY4030" fmla="*/ 406292 h 6689084"/>
              <a:gd name="connsiteX4031" fmla="*/ 3361063 w 6689088"/>
              <a:gd name="connsiteY4031" fmla="*/ 383416 h 6689084"/>
              <a:gd name="connsiteX4032" fmla="*/ 3383938 w 6689088"/>
              <a:gd name="connsiteY4032" fmla="*/ 360541 h 6689084"/>
              <a:gd name="connsiteX4033" fmla="*/ 3537882 w 6689088"/>
              <a:gd name="connsiteY4033" fmla="*/ 358361 h 6689084"/>
              <a:gd name="connsiteX4034" fmla="*/ 3562937 w 6689088"/>
              <a:gd name="connsiteY4034" fmla="*/ 383412 h 6689084"/>
              <a:gd name="connsiteX4035" fmla="*/ 3537882 w 6689088"/>
              <a:gd name="connsiteY4035" fmla="*/ 408468 h 6689084"/>
              <a:gd name="connsiteX4036" fmla="*/ 3512830 w 6689088"/>
              <a:gd name="connsiteY4036" fmla="*/ 383412 h 6689084"/>
              <a:gd name="connsiteX4037" fmla="*/ 3537882 w 6689088"/>
              <a:gd name="connsiteY4037" fmla="*/ 358361 h 6689084"/>
              <a:gd name="connsiteX4038" fmla="*/ 3691471 w 6689088"/>
              <a:gd name="connsiteY4038" fmla="*/ 356184 h 6689084"/>
              <a:gd name="connsiteX4039" fmla="*/ 3718699 w 6689088"/>
              <a:gd name="connsiteY4039" fmla="*/ 383416 h 6689084"/>
              <a:gd name="connsiteX4040" fmla="*/ 3691471 w 6689088"/>
              <a:gd name="connsiteY4040" fmla="*/ 410648 h 6689084"/>
              <a:gd name="connsiteX4041" fmla="*/ 3664238 w 6689088"/>
              <a:gd name="connsiteY4041" fmla="*/ 383416 h 6689084"/>
              <a:gd name="connsiteX4042" fmla="*/ 3691471 w 6689088"/>
              <a:gd name="connsiteY4042" fmla="*/ 356184 h 6689084"/>
              <a:gd name="connsiteX4043" fmla="*/ 3845418 w 6689088"/>
              <a:gd name="connsiteY4043" fmla="*/ 353642 h 6689084"/>
              <a:gd name="connsiteX4044" fmla="*/ 3875189 w 6689088"/>
              <a:gd name="connsiteY4044" fmla="*/ 383416 h 6689084"/>
              <a:gd name="connsiteX4045" fmla="*/ 3845418 w 6689088"/>
              <a:gd name="connsiteY4045" fmla="*/ 413187 h 6689084"/>
              <a:gd name="connsiteX4046" fmla="*/ 3815644 w 6689088"/>
              <a:gd name="connsiteY4046" fmla="*/ 383416 h 6689084"/>
              <a:gd name="connsiteX4047" fmla="*/ 3845418 w 6689088"/>
              <a:gd name="connsiteY4047" fmla="*/ 353642 h 6689084"/>
              <a:gd name="connsiteX4048" fmla="*/ 3999000 w 6689088"/>
              <a:gd name="connsiteY4048" fmla="*/ 351465 h 6689084"/>
              <a:gd name="connsiteX4049" fmla="*/ 4030951 w 6689088"/>
              <a:gd name="connsiteY4049" fmla="*/ 383416 h 6689084"/>
              <a:gd name="connsiteX4050" fmla="*/ 3999000 w 6689088"/>
              <a:gd name="connsiteY4050" fmla="*/ 415368 h 6689084"/>
              <a:gd name="connsiteX4051" fmla="*/ 3967048 w 6689088"/>
              <a:gd name="connsiteY4051" fmla="*/ 383416 h 6689084"/>
              <a:gd name="connsiteX4052" fmla="*/ 3999000 w 6689088"/>
              <a:gd name="connsiteY4052" fmla="*/ 351465 h 6689084"/>
              <a:gd name="connsiteX4053" fmla="*/ 4152947 w 6689088"/>
              <a:gd name="connsiteY4053" fmla="*/ 349647 h 6689084"/>
              <a:gd name="connsiteX4054" fmla="*/ 4186716 w 6689088"/>
              <a:gd name="connsiteY4054" fmla="*/ 383412 h 6689084"/>
              <a:gd name="connsiteX4055" fmla="*/ 4152947 w 6689088"/>
              <a:gd name="connsiteY4055" fmla="*/ 417182 h 6689084"/>
              <a:gd name="connsiteX4056" fmla="*/ 4119181 w 6689088"/>
              <a:gd name="connsiteY4056" fmla="*/ 383412 h 6689084"/>
              <a:gd name="connsiteX4057" fmla="*/ 4152947 w 6689088"/>
              <a:gd name="connsiteY4057" fmla="*/ 349647 h 6689084"/>
              <a:gd name="connsiteX4058" fmla="*/ 4306532 w 6689088"/>
              <a:gd name="connsiteY4058" fmla="*/ 347108 h 6689084"/>
              <a:gd name="connsiteX4059" fmla="*/ 4342840 w 6689088"/>
              <a:gd name="connsiteY4059" fmla="*/ 383416 h 6689084"/>
              <a:gd name="connsiteX4060" fmla="*/ 4306532 w 6689088"/>
              <a:gd name="connsiteY4060" fmla="*/ 419725 h 6689084"/>
              <a:gd name="connsiteX4061" fmla="*/ 4270224 w 6689088"/>
              <a:gd name="connsiteY4061" fmla="*/ 383416 h 6689084"/>
              <a:gd name="connsiteX4062" fmla="*/ 4306532 w 6689088"/>
              <a:gd name="connsiteY4062" fmla="*/ 347108 h 6689084"/>
              <a:gd name="connsiteX4063" fmla="*/ 4460480 w 6689088"/>
              <a:gd name="connsiteY4063" fmla="*/ 344565 h 6689084"/>
              <a:gd name="connsiteX4064" fmla="*/ 4499326 w 6689088"/>
              <a:gd name="connsiteY4064" fmla="*/ 383416 h 6689084"/>
              <a:gd name="connsiteX4065" fmla="*/ 4460480 w 6689088"/>
              <a:gd name="connsiteY4065" fmla="*/ 422267 h 6689084"/>
              <a:gd name="connsiteX4066" fmla="*/ 4421629 w 6689088"/>
              <a:gd name="connsiteY4066" fmla="*/ 383416 h 6689084"/>
              <a:gd name="connsiteX4067" fmla="*/ 4460480 w 6689088"/>
              <a:gd name="connsiteY4067" fmla="*/ 344565 h 6689084"/>
              <a:gd name="connsiteX4068" fmla="*/ 4614061 w 6689088"/>
              <a:gd name="connsiteY4068" fmla="*/ 342385 h 6689084"/>
              <a:gd name="connsiteX4069" fmla="*/ 4655092 w 6689088"/>
              <a:gd name="connsiteY4069" fmla="*/ 383412 h 6689084"/>
              <a:gd name="connsiteX4070" fmla="*/ 4614061 w 6689088"/>
              <a:gd name="connsiteY4070" fmla="*/ 424440 h 6689084"/>
              <a:gd name="connsiteX4071" fmla="*/ 4573034 w 6689088"/>
              <a:gd name="connsiteY4071" fmla="*/ 383412 h 6689084"/>
              <a:gd name="connsiteX4072" fmla="*/ 4614061 w 6689088"/>
              <a:gd name="connsiteY4072" fmla="*/ 342385 h 6689084"/>
              <a:gd name="connsiteX4073" fmla="*/ 4768008 w 6689088"/>
              <a:gd name="connsiteY4073" fmla="*/ 339842 h 6689084"/>
              <a:gd name="connsiteX4074" fmla="*/ 4811578 w 6689088"/>
              <a:gd name="connsiteY4074" fmla="*/ 383412 h 6689084"/>
              <a:gd name="connsiteX4075" fmla="*/ 4768008 w 6689088"/>
              <a:gd name="connsiteY4075" fmla="*/ 426982 h 6689084"/>
              <a:gd name="connsiteX4076" fmla="*/ 4724438 w 6689088"/>
              <a:gd name="connsiteY4076" fmla="*/ 383412 h 6689084"/>
              <a:gd name="connsiteX4077" fmla="*/ 4768008 w 6689088"/>
              <a:gd name="connsiteY4077" fmla="*/ 339842 h 6689084"/>
              <a:gd name="connsiteX4078" fmla="*/ 4921598 w 6689088"/>
              <a:gd name="connsiteY4078" fmla="*/ 337304 h 6689084"/>
              <a:gd name="connsiteX4079" fmla="*/ 4967710 w 6689088"/>
              <a:gd name="connsiteY4079" fmla="*/ 383416 h 6689084"/>
              <a:gd name="connsiteX4080" fmla="*/ 4921598 w 6689088"/>
              <a:gd name="connsiteY4080" fmla="*/ 429529 h 6689084"/>
              <a:gd name="connsiteX4081" fmla="*/ 4875485 w 6689088"/>
              <a:gd name="connsiteY4081" fmla="*/ 383416 h 6689084"/>
              <a:gd name="connsiteX4082" fmla="*/ 4921598 w 6689088"/>
              <a:gd name="connsiteY4082" fmla="*/ 337304 h 6689084"/>
              <a:gd name="connsiteX4083" fmla="*/ 5075545 w 6689088"/>
              <a:gd name="connsiteY4083" fmla="*/ 334761 h 6689084"/>
              <a:gd name="connsiteX4084" fmla="*/ 5124196 w 6689088"/>
              <a:gd name="connsiteY4084" fmla="*/ 383416 h 6689084"/>
              <a:gd name="connsiteX4085" fmla="*/ 5075545 w 6689088"/>
              <a:gd name="connsiteY4085" fmla="*/ 432068 h 6689084"/>
              <a:gd name="connsiteX4086" fmla="*/ 5026890 w 6689088"/>
              <a:gd name="connsiteY4086" fmla="*/ 383416 h 6689084"/>
              <a:gd name="connsiteX4087" fmla="*/ 5075545 w 6689088"/>
              <a:gd name="connsiteY4087" fmla="*/ 334761 h 6689084"/>
              <a:gd name="connsiteX4088" fmla="*/ 5229126 w 6689088"/>
              <a:gd name="connsiteY4088" fmla="*/ 332219 h 6689084"/>
              <a:gd name="connsiteX4089" fmla="*/ 5280324 w 6689088"/>
              <a:gd name="connsiteY4089" fmla="*/ 383412 h 6689084"/>
              <a:gd name="connsiteX4090" fmla="*/ 5229126 w 6689088"/>
              <a:gd name="connsiteY4090" fmla="*/ 434610 h 6689084"/>
              <a:gd name="connsiteX4091" fmla="*/ 5177932 w 6689088"/>
              <a:gd name="connsiteY4091" fmla="*/ 383412 h 6689084"/>
              <a:gd name="connsiteX4092" fmla="*/ 5229126 w 6689088"/>
              <a:gd name="connsiteY4092" fmla="*/ 332219 h 6689084"/>
              <a:gd name="connsiteX4093" fmla="*/ 5383074 w 6689088"/>
              <a:gd name="connsiteY4093" fmla="*/ 330042 h 6689084"/>
              <a:gd name="connsiteX4094" fmla="*/ 5436448 w 6689088"/>
              <a:gd name="connsiteY4094" fmla="*/ 383416 h 6689084"/>
              <a:gd name="connsiteX4095" fmla="*/ 5383074 w 6689088"/>
              <a:gd name="connsiteY4095" fmla="*/ 436787 h 6689084"/>
              <a:gd name="connsiteX4096" fmla="*/ 5329700 w 6689088"/>
              <a:gd name="connsiteY4096" fmla="*/ 383416 h 6689084"/>
              <a:gd name="connsiteX4097" fmla="*/ 5383074 w 6689088"/>
              <a:gd name="connsiteY4097" fmla="*/ 330042 h 6689084"/>
              <a:gd name="connsiteX4098" fmla="*/ 5536659 w 6689088"/>
              <a:gd name="connsiteY4098" fmla="*/ 327137 h 6689084"/>
              <a:gd name="connsiteX4099" fmla="*/ 5592938 w 6689088"/>
              <a:gd name="connsiteY4099" fmla="*/ 383416 h 6689084"/>
              <a:gd name="connsiteX4100" fmla="*/ 5536659 w 6689088"/>
              <a:gd name="connsiteY4100" fmla="*/ 439691 h 6689084"/>
              <a:gd name="connsiteX4101" fmla="*/ 5480380 w 6689088"/>
              <a:gd name="connsiteY4101" fmla="*/ 383416 h 6689084"/>
              <a:gd name="connsiteX4102" fmla="*/ 5536659 w 6689088"/>
              <a:gd name="connsiteY4102" fmla="*/ 327137 h 6689084"/>
              <a:gd name="connsiteX4103" fmla="*/ 5690606 w 6689088"/>
              <a:gd name="connsiteY4103" fmla="*/ 324595 h 6689084"/>
              <a:gd name="connsiteX4104" fmla="*/ 5749424 w 6689088"/>
              <a:gd name="connsiteY4104" fmla="*/ 383416 h 6689084"/>
              <a:gd name="connsiteX4105" fmla="*/ 5690606 w 6689088"/>
              <a:gd name="connsiteY4105" fmla="*/ 442234 h 6689084"/>
              <a:gd name="connsiteX4106" fmla="*/ 5631785 w 6689088"/>
              <a:gd name="connsiteY4106" fmla="*/ 383416 h 6689084"/>
              <a:gd name="connsiteX4107" fmla="*/ 5690606 w 6689088"/>
              <a:gd name="connsiteY4107" fmla="*/ 324595 h 6689084"/>
              <a:gd name="connsiteX4108" fmla="*/ 5844554 w 6689088"/>
              <a:gd name="connsiteY4108" fmla="*/ 321690 h 6689084"/>
              <a:gd name="connsiteX4109" fmla="*/ 5906276 w 6689088"/>
              <a:gd name="connsiteY4109" fmla="*/ 383416 h 6689084"/>
              <a:gd name="connsiteX4110" fmla="*/ 5844554 w 6689088"/>
              <a:gd name="connsiteY4110" fmla="*/ 445139 h 6689084"/>
              <a:gd name="connsiteX4111" fmla="*/ 5782828 w 6689088"/>
              <a:gd name="connsiteY4111" fmla="*/ 383416 h 6689084"/>
              <a:gd name="connsiteX4112" fmla="*/ 5844554 w 6689088"/>
              <a:gd name="connsiteY4112" fmla="*/ 321690 h 6689084"/>
              <a:gd name="connsiteX4113" fmla="*/ 5998136 w 6689088"/>
              <a:gd name="connsiteY4113" fmla="*/ 319148 h 6689084"/>
              <a:gd name="connsiteX4114" fmla="*/ 6062404 w 6689088"/>
              <a:gd name="connsiteY4114" fmla="*/ 383412 h 6689084"/>
              <a:gd name="connsiteX4115" fmla="*/ 5998136 w 6689088"/>
              <a:gd name="connsiteY4115" fmla="*/ 447681 h 6689084"/>
              <a:gd name="connsiteX4116" fmla="*/ 5933870 w 6689088"/>
              <a:gd name="connsiteY4116" fmla="*/ 383412 h 6689084"/>
              <a:gd name="connsiteX4117" fmla="*/ 5998136 w 6689088"/>
              <a:gd name="connsiteY4117" fmla="*/ 319148 h 6689084"/>
              <a:gd name="connsiteX4118" fmla="*/ 6152086 w 6689088"/>
              <a:gd name="connsiteY4118" fmla="*/ 315881 h 6689084"/>
              <a:gd name="connsiteX4119" fmla="*/ 6219618 w 6689088"/>
              <a:gd name="connsiteY4119" fmla="*/ 383416 h 6689084"/>
              <a:gd name="connsiteX4120" fmla="*/ 6152086 w 6689088"/>
              <a:gd name="connsiteY4120" fmla="*/ 450948 h 6689084"/>
              <a:gd name="connsiteX4121" fmla="*/ 6084551 w 6689088"/>
              <a:gd name="connsiteY4121" fmla="*/ 383416 h 6689084"/>
              <a:gd name="connsiteX4122" fmla="*/ 6152086 w 6689088"/>
              <a:gd name="connsiteY4122" fmla="*/ 315881 h 6689084"/>
              <a:gd name="connsiteX4123" fmla="*/ 6305668 w 6689088"/>
              <a:gd name="connsiteY4123" fmla="*/ 313338 h 6689084"/>
              <a:gd name="connsiteX4124" fmla="*/ 6375746 w 6689088"/>
              <a:gd name="connsiteY4124" fmla="*/ 383412 h 6689084"/>
              <a:gd name="connsiteX4125" fmla="*/ 6305668 w 6689088"/>
              <a:gd name="connsiteY4125" fmla="*/ 453490 h 6689084"/>
              <a:gd name="connsiteX4126" fmla="*/ 6235594 w 6689088"/>
              <a:gd name="connsiteY4126" fmla="*/ 383412 h 6689084"/>
              <a:gd name="connsiteX4127" fmla="*/ 6305668 w 6689088"/>
              <a:gd name="connsiteY4127" fmla="*/ 313338 h 6689084"/>
              <a:gd name="connsiteX4128" fmla="*/ 6459616 w 6689088"/>
              <a:gd name="connsiteY4128" fmla="*/ 310434 h 6689084"/>
              <a:gd name="connsiteX4129" fmla="*/ 6532598 w 6689088"/>
              <a:gd name="connsiteY4129" fmla="*/ 383412 h 6689084"/>
              <a:gd name="connsiteX4130" fmla="*/ 6459616 w 6689088"/>
              <a:gd name="connsiteY4130" fmla="*/ 456395 h 6689084"/>
              <a:gd name="connsiteX4131" fmla="*/ 6386636 w 6689088"/>
              <a:gd name="connsiteY4131" fmla="*/ 383412 h 6689084"/>
              <a:gd name="connsiteX4132" fmla="*/ 6459616 w 6689088"/>
              <a:gd name="connsiteY4132" fmla="*/ 310434 h 6689084"/>
              <a:gd name="connsiteX4133" fmla="*/ 6613200 w 6689088"/>
              <a:gd name="connsiteY4133" fmla="*/ 307891 h 6689084"/>
              <a:gd name="connsiteX4134" fmla="*/ 6688722 w 6689088"/>
              <a:gd name="connsiteY4134" fmla="*/ 383412 h 6689084"/>
              <a:gd name="connsiteX4135" fmla="*/ 6613200 w 6689088"/>
              <a:gd name="connsiteY4135" fmla="*/ 458934 h 6689084"/>
              <a:gd name="connsiteX4136" fmla="*/ 6537680 w 6689088"/>
              <a:gd name="connsiteY4136" fmla="*/ 383412 h 6689084"/>
              <a:gd name="connsiteX4137" fmla="*/ 6613200 w 6689088"/>
              <a:gd name="connsiteY4137" fmla="*/ 307891 h 6689084"/>
              <a:gd name="connsiteX4138" fmla="*/ 923681 w 6689088"/>
              <a:gd name="connsiteY4138" fmla="*/ 229469 h 6689084"/>
              <a:gd name="connsiteX4139" fmla="*/ 924043 w 6689088"/>
              <a:gd name="connsiteY4139" fmla="*/ 229831 h 6689084"/>
              <a:gd name="connsiteX4140" fmla="*/ 923681 w 6689088"/>
              <a:gd name="connsiteY4140" fmla="*/ 230193 h 6689084"/>
              <a:gd name="connsiteX4141" fmla="*/ 923319 w 6689088"/>
              <a:gd name="connsiteY4141" fmla="*/ 229831 h 6689084"/>
              <a:gd name="connsiteX4142" fmla="*/ 923681 w 6689088"/>
              <a:gd name="connsiteY4142" fmla="*/ 229469 h 6689084"/>
              <a:gd name="connsiteX4143" fmla="*/ 462205 w 6689088"/>
              <a:gd name="connsiteY4143" fmla="*/ 229469 h 6689084"/>
              <a:gd name="connsiteX4144" fmla="*/ 462567 w 6689088"/>
              <a:gd name="connsiteY4144" fmla="*/ 229831 h 6689084"/>
              <a:gd name="connsiteX4145" fmla="*/ 462205 w 6689088"/>
              <a:gd name="connsiteY4145" fmla="*/ 230193 h 6689084"/>
              <a:gd name="connsiteX4146" fmla="*/ 461842 w 6689088"/>
              <a:gd name="connsiteY4146" fmla="*/ 229831 h 6689084"/>
              <a:gd name="connsiteX4147" fmla="*/ 462205 w 6689088"/>
              <a:gd name="connsiteY4147" fmla="*/ 229469 h 6689084"/>
              <a:gd name="connsiteX4148" fmla="*/ 308257 w 6689088"/>
              <a:gd name="connsiteY4148" fmla="*/ 229469 h 6689084"/>
              <a:gd name="connsiteX4149" fmla="*/ 308619 w 6689088"/>
              <a:gd name="connsiteY4149" fmla="*/ 229831 h 6689084"/>
              <a:gd name="connsiteX4150" fmla="*/ 308257 w 6689088"/>
              <a:gd name="connsiteY4150" fmla="*/ 230193 h 6689084"/>
              <a:gd name="connsiteX4151" fmla="*/ 307895 w 6689088"/>
              <a:gd name="connsiteY4151" fmla="*/ 229831 h 6689084"/>
              <a:gd name="connsiteX4152" fmla="*/ 308257 w 6689088"/>
              <a:gd name="connsiteY4152" fmla="*/ 229469 h 6689084"/>
              <a:gd name="connsiteX4153" fmla="*/ 154676 w 6689088"/>
              <a:gd name="connsiteY4153" fmla="*/ 229103 h 6689084"/>
              <a:gd name="connsiteX4154" fmla="*/ 155400 w 6689088"/>
              <a:gd name="connsiteY4154" fmla="*/ 229827 h 6689084"/>
              <a:gd name="connsiteX4155" fmla="*/ 154676 w 6689088"/>
              <a:gd name="connsiteY4155" fmla="*/ 230555 h 6689084"/>
              <a:gd name="connsiteX4156" fmla="*/ 153948 w 6689088"/>
              <a:gd name="connsiteY4156" fmla="*/ 229827 h 6689084"/>
              <a:gd name="connsiteX4157" fmla="*/ 154676 w 6689088"/>
              <a:gd name="connsiteY4157" fmla="*/ 229103 h 6689084"/>
              <a:gd name="connsiteX4158" fmla="*/ 725 w 6689088"/>
              <a:gd name="connsiteY4158" fmla="*/ 229103 h 6689084"/>
              <a:gd name="connsiteX4159" fmla="*/ 1453 w 6689088"/>
              <a:gd name="connsiteY4159" fmla="*/ 229827 h 6689084"/>
              <a:gd name="connsiteX4160" fmla="*/ 725 w 6689088"/>
              <a:gd name="connsiteY4160" fmla="*/ 230555 h 6689084"/>
              <a:gd name="connsiteX4161" fmla="*/ 0 w 6689088"/>
              <a:gd name="connsiteY4161" fmla="*/ 229827 h 6689084"/>
              <a:gd name="connsiteX4162" fmla="*/ 725 w 6689088"/>
              <a:gd name="connsiteY4162" fmla="*/ 229103 h 6689084"/>
              <a:gd name="connsiteX4163" fmla="*/ 1077266 w 6689088"/>
              <a:gd name="connsiteY4163" fmla="*/ 228379 h 6689084"/>
              <a:gd name="connsiteX4164" fmla="*/ 1078718 w 6689088"/>
              <a:gd name="connsiteY4164" fmla="*/ 229831 h 6689084"/>
              <a:gd name="connsiteX4165" fmla="*/ 1077266 w 6689088"/>
              <a:gd name="connsiteY4165" fmla="*/ 231283 h 6689084"/>
              <a:gd name="connsiteX4166" fmla="*/ 1075814 w 6689088"/>
              <a:gd name="connsiteY4166" fmla="*/ 229831 h 6689084"/>
              <a:gd name="connsiteX4167" fmla="*/ 1077266 w 6689088"/>
              <a:gd name="connsiteY4167" fmla="*/ 228379 h 6689084"/>
              <a:gd name="connsiteX4168" fmla="*/ 1231217 w 6689088"/>
              <a:gd name="connsiteY4168" fmla="*/ 227651 h 6689084"/>
              <a:gd name="connsiteX4169" fmla="*/ 1233394 w 6689088"/>
              <a:gd name="connsiteY4169" fmla="*/ 229827 h 6689084"/>
              <a:gd name="connsiteX4170" fmla="*/ 1231217 w 6689088"/>
              <a:gd name="connsiteY4170" fmla="*/ 232008 h 6689084"/>
              <a:gd name="connsiteX4171" fmla="*/ 1229037 w 6689088"/>
              <a:gd name="connsiteY4171" fmla="*/ 229827 h 6689084"/>
              <a:gd name="connsiteX4172" fmla="*/ 1231217 w 6689088"/>
              <a:gd name="connsiteY4172" fmla="*/ 227651 h 6689084"/>
              <a:gd name="connsiteX4173" fmla="*/ 1384799 w 6689088"/>
              <a:gd name="connsiteY4173" fmla="*/ 226560 h 6689084"/>
              <a:gd name="connsiteX4174" fmla="*/ 1388069 w 6689088"/>
              <a:gd name="connsiteY4174" fmla="*/ 229827 h 6689084"/>
              <a:gd name="connsiteX4175" fmla="*/ 1384799 w 6689088"/>
              <a:gd name="connsiteY4175" fmla="*/ 233098 h 6689084"/>
              <a:gd name="connsiteX4176" fmla="*/ 1381532 w 6689088"/>
              <a:gd name="connsiteY4176" fmla="*/ 229827 h 6689084"/>
              <a:gd name="connsiteX4177" fmla="*/ 1384799 w 6689088"/>
              <a:gd name="connsiteY4177" fmla="*/ 226560 h 6689084"/>
              <a:gd name="connsiteX4178" fmla="*/ 1538746 w 6689088"/>
              <a:gd name="connsiteY4178" fmla="*/ 225108 h 6689084"/>
              <a:gd name="connsiteX4179" fmla="*/ 1543103 w 6689088"/>
              <a:gd name="connsiteY4179" fmla="*/ 229465 h 6689084"/>
              <a:gd name="connsiteX4180" fmla="*/ 1538746 w 6689088"/>
              <a:gd name="connsiteY4180" fmla="*/ 233822 h 6689084"/>
              <a:gd name="connsiteX4181" fmla="*/ 1534389 w 6689088"/>
              <a:gd name="connsiteY4181" fmla="*/ 229465 h 6689084"/>
              <a:gd name="connsiteX4182" fmla="*/ 1538746 w 6689088"/>
              <a:gd name="connsiteY4182" fmla="*/ 225108 h 6689084"/>
              <a:gd name="connsiteX4183" fmla="*/ 1692331 w 6689088"/>
              <a:gd name="connsiteY4183" fmla="*/ 224022 h 6689084"/>
              <a:gd name="connsiteX4184" fmla="*/ 1698141 w 6689088"/>
              <a:gd name="connsiteY4184" fmla="*/ 229831 h 6689084"/>
              <a:gd name="connsiteX4185" fmla="*/ 1692331 w 6689088"/>
              <a:gd name="connsiteY4185" fmla="*/ 235640 h 6689084"/>
              <a:gd name="connsiteX4186" fmla="*/ 1686522 w 6689088"/>
              <a:gd name="connsiteY4186" fmla="*/ 229831 h 6689084"/>
              <a:gd name="connsiteX4187" fmla="*/ 1692331 w 6689088"/>
              <a:gd name="connsiteY4187" fmla="*/ 224022 h 6689084"/>
              <a:gd name="connsiteX4188" fmla="*/ 1846279 w 6689088"/>
              <a:gd name="connsiteY4188" fmla="*/ 222569 h 6689084"/>
              <a:gd name="connsiteX4189" fmla="*/ 1853540 w 6689088"/>
              <a:gd name="connsiteY4189" fmla="*/ 229831 h 6689084"/>
              <a:gd name="connsiteX4190" fmla="*/ 1846279 w 6689088"/>
              <a:gd name="connsiteY4190" fmla="*/ 237093 h 6689084"/>
              <a:gd name="connsiteX4191" fmla="*/ 1839017 w 6689088"/>
              <a:gd name="connsiteY4191" fmla="*/ 229831 h 6689084"/>
              <a:gd name="connsiteX4192" fmla="*/ 1846279 w 6689088"/>
              <a:gd name="connsiteY4192" fmla="*/ 222569 h 6689084"/>
              <a:gd name="connsiteX4193" fmla="*/ 1999860 w 6689088"/>
              <a:gd name="connsiteY4193" fmla="*/ 220389 h 6689084"/>
              <a:gd name="connsiteX4194" fmla="*/ 2008940 w 6689088"/>
              <a:gd name="connsiteY4194" fmla="*/ 229465 h 6689084"/>
              <a:gd name="connsiteX4195" fmla="*/ 1999860 w 6689088"/>
              <a:gd name="connsiteY4195" fmla="*/ 238545 h 6689084"/>
              <a:gd name="connsiteX4196" fmla="*/ 1990784 w 6689088"/>
              <a:gd name="connsiteY4196" fmla="*/ 229465 h 6689084"/>
              <a:gd name="connsiteX4197" fmla="*/ 1999860 w 6689088"/>
              <a:gd name="connsiteY4197" fmla="*/ 220389 h 6689084"/>
              <a:gd name="connsiteX4198" fmla="*/ 2153811 w 6689088"/>
              <a:gd name="connsiteY4198" fmla="*/ 219665 h 6689084"/>
              <a:gd name="connsiteX4199" fmla="*/ 2163978 w 6689088"/>
              <a:gd name="connsiteY4199" fmla="*/ 229831 h 6689084"/>
              <a:gd name="connsiteX4200" fmla="*/ 2153811 w 6689088"/>
              <a:gd name="connsiteY4200" fmla="*/ 239997 h 6689084"/>
              <a:gd name="connsiteX4201" fmla="*/ 2143645 w 6689088"/>
              <a:gd name="connsiteY4201" fmla="*/ 229831 h 6689084"/>
              <a:gd name="connsiteX4202" fmla="*/ 2153811 w 6689088"/>
              <a:gd name="connsiteY4202" fmla="*/ 219665 h 6689084"/>
              <a:gd name="connsiteX4203" fmla="*/ 2307393 w 6689088"/>
              <a:gd name="connsiteY4203" fmla="*/ 217484 h 6689084"/>
              <a:gd name="connsiteX4204" fmla="*/ 2319377 w 6689088"/>
              <a:gd name="connsiteY4204" fmla="*/ 229465 h 6689084"/>
              <a:gd name="connsiteX4205" fmla="*/ 2307393 w 6689088"/>
              <a:gd name="connsiteY4205" fmla="*/ 241450 h 6689084"/>
              <a:gd name="connsiteX4206" fmla="*/ 2295412 w 6689088"/>
              <a:gd name="connsiteY4206" fmla="*/ 229465 h 6689084"/>
              <a:gd name="connsiteX4207" fmla="*/ 2307393 w 6689088"/>
              <a:gd name="connsiteY4207" fmla="*/ 217484 h 6689084"/>
              <a:gd name="connsiteX4208" fmla="*/ 2461344 w 6689088"/>
              <a:gd name="connsiteY4208" fmla="*/ 215670 h 6689084"/>
              <a:gd name="connsiteX4209" fmla="*/ 2475139 w 6689088"/>
              <a:gd name="connsiteY4209" fmla="*/ 229469 h 6689084"/>
              <a:gd name="connsiteX4210" fmla="*/ 2461344 w 6689088"/>
              <a:gd name="connsiteY4210" fmla="*/ 243264 h 6689084"/>
              <a:gd name="connsiteX4211" fmla="*/ 2447545 w 6689088"/>
              <a:gd name="connsiteY4211" fmla="*/ 229469 h 6689084"/>
              <a:gd name="connsiteX4212" fmla="*/ 2461344 w 6689088"/>
              <a:gd name="connsiteY4212" fmla="*/ 215670 h 6689084"/>
              <a:gd name="connsiteX4213" fmla="*/ 2614925 w 6689088"/>
              <a:gd name="connsiteY4213" fmla="*/ 214580 h 6689084"/>
              <a:gd name="connsiteX4214" fmla="*/ 2630177 w 6689088"/>
              <a:gd name="connsiteY4214" fmla="*/ 229827 h 6689084"/>
              <a:gd name="connsiteX4215" fmla="*/ 2614925 w 6689088"/>
              <a:gd name="connsiteY4215" fmla="*/ 245079 h 6689084"/>
              <a:gd name="connsiteX4216" fmla="*/ 2599678 w 6689088"/>
              <a:gd name="connsiteY4216" fmla="*/ 229827 h 6689084"/>
              <a:gd name="connsiteX4217" fmla="*/ 2614925 w 6689088"/>
              <a:gd name="connsiteY4217" fmla="*/ 214580 h 6689084"/>
              <a:gd name="connsiteX4218" fmla="*/ 2768873 w 6689088"/>
              <a:gd name="connsiteY4218" fmla="*/ 212765 h 6689084"/>
              <a:gd name="connsiteX4219" fmla="*/ 2785939 w 6689088"/>
              <a:gd name="connsiteY4219" fmla="*/ 229831 h 6689084"/>
              <a:gd name="connsiteX4220" fmla="*/ 2768873 w 6689088"/>
              <a:gd name="connsiteY4220" fmla="*/ 246897 h 6689084"/>
              <a:gd name="connsiteX4221" fmla="*/ 2751807 w 6689088"/>
              <a:gd name="connsiteY4221" fmla="*/ 229831 h 6689084"/>
              <a:gd name="connsiteX4222" fmla="*/ 2768873 w 6689088"/>
              <a:gd name="connsiteY4222" fmla="*/ 212765 h 6689084"/>
              <a:gd name="connsiteX4223" fmla="*/ 2922458 w 6689088"/>
              <a:gd name="connsiteY4223" fmla="*/ 210589 h 6689084"/>
              <a:gd name="connsiteX4224" fmla="*/ 2941700 w 6689088"/>
              <a:gd name="connsiteY4224" fmla="*/ 229831 h 6689084"/>
              <a:gd name="connsiteX4225" fmla="*/ 2922458 w 6689088"/>
              <a:gd name="connsiteY4225" fmla="*/ 249077 h 6689084"/>
              <a:gd name="connsiteX4226" fmla="*/ 2903216 w 6689088"/>
              <a:gd name="connsiteY4226" fmla="*/ 229831 h 6689084"/>
              <a:gd name="connsiteX4227" fmla="*/ 2922458 w 6689088"/>
              <a:gd name="connsiteY4227" fmla="*/ 210589 h 6689084"/>
              <a:gd name="connsiteX4228" fmla="*/ 3076406 w 6689088"/>
              <a:gd name="connsiteY4228" fmla="*/ 208408 h 6689084"/>
              <a:gd name="connsiteX4229" fmla="*/ 3097828 w 6689088"/>
              <a:gd name="connsiteY4229" fmla="*/ 229831 h 6689084"/>
              <a:gd name="connsiteX4230" fmla="*/ 3076406 w 6689088"/>
              <a:gd name="connsiteY4230" fmla="*/ 251254 h 6689084"/>
              <a:gd name="connsiteX4231" fmla="*/ 3054982 w 6689088"/>
              <a:gd name="connsiteY4231" fmla="*/ 229831 h 6689084"/>
              <a:gd name="connsiteX4232" fmla="*/ 3076406 w 6689088"/>
              <a:gd name="connsiteY4232" fmla="*/ 208408 h 6689084"/>
              <a:gd name="connsiteX4233" fmla="*/ 3230353 w 6689088"/>
              <a:gd name="connsiteY4233" fmla="*/ 206956 h 6689084"/>
              <a:gd name="connsiteX4234" fmla="*/ 3253228 w 6689088"/>
              <a:gd name="connsiteY4234" fmla="*/ 229831 h 6689084"/>
              <a:gd name="connsiteX4235" fmla="*/ 3230353 w 6689088"/>
              <a:gd name="connsiteY4235" fmla="*/ 252706 h 6689084"/>
              <a:gd name="connsiteX4236" fmla="*/ 3207478 w 6689088"/>
              <a:gd name="connsiteY4236" fmla="*/ 229831 h 6689084"/>
              <a:gd name="connsiteX4237" fmla="*/ 3230353 w 6689088"/>
              <a:gd name="connsiteY4237" fmla="*/ 206956 h 6689084"/>
              <a:gd name="connsiteX4238" fmla="*/ 3383934 w 6689088"/>
              <a:gd name="connsiteY4238" fmla="*/ 204779 h 6689084"/>
              <a:gd name="connsiteX4239" fmla="*/ 3408986 w 6689088"/>
              <a:gd name="connsiteY4239" fmla="*/ 229831 h 6689084"/>
              <a:gd name="connsiteX4240" fmla="*/ 3383934 w 6689088"/>
              <a:gd name="connsiteY4240" fmla="*/ 254887 h 6689084"/>
              <a:gd name="connsiteX4241" fmla="*/ 3358882 w 6689088"/>
              <a:gd name="connsiteY4241" fmla="*/ 229831 h 6689084"/>
              <a:gd name="connsiteX4242" fmla="*/ 3383934 w 6689088"/>
              <a:gd name="connsiteY4242" fmla="*/ 204779 h 6689084"/>
              <a:gd name="connsiteX4243" fmla="*/ 3537886 w 6689088"/>
              <a:gd name="connsiteY4243" fmla="*/ 202599 h 6689084"/>
              <a:gd name="connsiteX4244" fmla="*/ 3565118 w 6689088"/>
              <a:gd name="connsiteY4244" fmla="*/ 229831 h 6689084"/>
              <a:gd name="connsiteX4245" fmla="*/ 3537886 w 6689088"/>
              <a:gd name="connsiteY4245" fmla="*/ 257059 h 6689084"/>
              <a:gd name="connsiteX4246" fmla="*/ 3510653 w 6689088"/>
              <a:gd name="connsiteY4246" fmla="*/ 229831 h 6689084"/>
              <a:gd name="connsiteX4247" fmla="*/ 3537886 w 6689088"/>
              <a:gd name="connsiteY4247" fmla="*/ 202599 h 6689084"/>
              <a:gd name="connsiteX4248" fmla="*/ 3691467 w 6689088"/>
              <a:gd name="connsiteY4248" fmla="*/ 200056 h 6689084"/>
              <a:gd name="connsiteX4249" fmla="*/ 3721242 w 6689088"/>
              <a:gd name="connsiteY4249" fmla="*/ 229827 h 6689084"/>
              <a:gd name="connsiteX4250" fmla="*/ 3691467 w 6689088"/>
              <a:gd name="connsiteY4250" fmla="*/ 259602 h 6689084"/>
              <a:gd name="connsiteX4251" fmla="*/ 3661696 w 6689088"/>
              <a:gd name="connsiteY4251" fmla="*/ 229827 h 6689084"/>
              <a:gd name="connsiteX4252" fmla="*/ 3691467 w 6689088"/>
              <a:gd name="connsiteY4252" fmla="*/ 200056 h 6689084"/>
              <a:gd name="connsiteX4253" fmla="*/ 3845414 w 6689088"/>
              <a:gd name="connsiteY4253" fmla="*/ 197880 h 6689084"/>
              <a:gd name="connsiteX4254" fmla="*/ 3877366 w 6689088"/>
              <a:gd name="connsiteY4254" fmla="*/ 229831 h 6689084"/>
              <a:gd name="connsiteX4255" fmla="*/ 3845414 w 6689088"/>
              <a:gd name="connsiteY4255" fmla="*/ 261782 h 6689084"/>
              <a:gd name="connsiteX4256" fmla="*/ 3813463 w 6689088"/>
              <a:gd name="connsiteY4256" fmla="*/ 229831 h 6689084"/>
              <a:gd name="connsiteX4257" fmla="*/ 3845414 w 6689088"/>
              <a:gd name="connsiteY4257" fmla="*/ 197880 h 6689084"/>
              <a:gd name="connsiteX4258" fmla="*/ 3999000 w 6689088"/>
              <a:gd name="connsiteY4258" fmla="*/ 196065 h 6689084"/>
              <a:gd name="connsiteX4259" fmla="*/ 4032769 w 6689088"/>
              <a:gd name="connsiteY4259" fmla="*/ 229831 h 6689084"/>
              <a:gd name="connsiteX4260" fmla="*/ 3999000 w 6689088"/>
              <a:gd name="connsiteY4260" fmla="*/ 263597 h 6689084"/>
              <a:gd name="connsiteX4261" fmla="*/ 3965234 w 6689088"/>
              <a:gd name="connsiteY4261" fmla="*/ 229831 h 6689084"/>
              <a:gd name="connsiteX4262" fmla="*/ 3999000 w 6689088"/>
              <a:gd name="connsiteY4262" fmla="*/ 196065 h 6689084"/>
              <a:gd name="connsiteX4263" fmla="*/ 4152947 w 6689088"/>
              <a:gd name="connsiteY4263" fmla="*/ 193523 h 6689084"/>
              <a:gd name="connsiteX4264" fmla="*/ 4189256 w 6689088"/>
              <a:gd name="connsiteY4264" fmla="*/ 229831 h 6689084"/>
              <a:gd name="connsiteX4265" fmla="*/ 4152947 w 6689088"/>
              <a:gd name="connsiteY4265" fmla="*/ 266139 h 6689084"/>
              <a:gd name="connsiteX4266" fmla="*/ 4116638 w 6689088"/>
              <a:gd name="connsiteY4266" fmla="*/ 229831 h 6689084"/>
              <a:gd name="connsiteX4267" fmla="*/ 4152947 w 6689088"/>
              <a:gd name="connsiteY4267" fmla="*/ 193523 h 6689084"/>
              <a:gd name="connsiteX4268" fmla="*/ 4306532 w 6689088"/>
              <a:gd name="connsiteY4268" fmla="*/ 190618 h 6689084"/>
              <a:gd name="connsiteX4269" fmla="*/ 4345380 w 6689088"/>
              <a:gd name="connsiteY4269" fmla="*/ 229469 h 6689084"/>
              <a:gd name="connsiteX4270" fmla="*/ 4306532 w 6689088"/>
              <a:gd name="connsiteY4270" fmla="*/ 268316 h 6689084"/>
              <a:gd name="connsiteX4271" fmla="*/ 4267682 w 6689088"/>
              <a:gd name="connsiteY4271" fmla="*/ 229469 h 6689084"/>
              <a:gd name="connsiteX4272" fmla="*/ 4306532 w 6689088"/>
              <a:gd name="connsiteY4272" fmla="*/ 190618 h 6689084"/>
              <a:gd name="connsiteX4273" fmla="*/ 4460480 w 6689088"/>
              <a:gd name="connsiteY4273" fmla="*/ 188438 h 6689084"/>
              <a:gd name="connsiteX4274" fmla="*/ 4501511 w 6689088"/>
              <a:gd name="connsiteY4274" fmla="*/ 229465 h 6689084"/>
              <a:gd name="connsiteX4275" fmla="*/ 4460480 w 6689088"/>
              <a:gd name="connsiteY4275" fmla="*/ 270493 h 6689084"/>
              <a:gd name="connsiteX4276" fmla="*/ 4419452 w 6689088"/>
              <a:gd name="connsiteY4276" fmla="*/ 229465 h 6689084"/>
              <a:gd name="connsiteX4277" fmla="*/ 4460480 w 6689088"/>
              <a:gd name="connsiteY4277" fmla="*/ 188438 h 6689084"/>
              <a:gd name="connsiteX4278" fmla="*/ 4614065 w 6689088"/>
              <a:gd name="connsiteY4278" fmla="*/ 185895 h 6689084"/>
              <a:gd name="connsiteX4279" fmla="*/ 4657635 w 6689088"/>
              <a:gd name="connsiteY4279" fmla="*/ 229465 h 6689084"/>
              <a:gd name="connsiteX4280" fmla="*/ 4614065 w 6689088"/>
              <a:gd name="connsiteY4280" fmla="*/ 273035 h 6689084"/>
              <a:gd name="connsiteX4281" fmla="*/ 4570495 w 6689088"/>
              <a:gd name="connsiteY4281" fmla="*/ 229465 h 6689084"/>
              <a:gd name="connsiteX4282" fmla="*/ 4614065 w 6689088"/>
              <a:gd name="connsiteY4282" fmla="*/ 185895 h 6689084"/>
              <a:gd name="connsiteX4283" fmla="*/ 4768012 w 6689088"/>
              <a:gd name="connsiteY4283" fmla="*/ 183356 h 6689084"/>
              <a:gd name="connsiteX4284" fmla="*/ 4814125 w 6689088"/>
              <a:gd name="connsiteY4284" fmla="*/ 229469 h 6689084"/>
              <a:gd name="connsiteX4285" fmla="*/ 4768012 w 6689088"/>
              <a:gd name="connsiteY4285" fmla="*/ 275581 h 6689084"/>
              <a:gd name="connsiteX4286" fmla="*/ 4721900 w 6689088"/>
              <a:gd name="connsiteY4286" fmla="*/ 229469 h 6689084"/>
              <a:gd name="connsiteX4287" fmla="*/ 4768012 w 6689088"/>
              <a:gd name="connsiteY4287" fmla="*/ 183356 h 6689084"/>
              <a:gd name="connsiteX4288" fmla="*/ 4921594 w 6689088"/>
              <a:gd name="connsiteY4288" fmla="*/ 180814 h 6689084"/>
              <a:gd name="connsiteX4289" fmla="*/ 4970249 w 6689088"/>
              <a:gd name="connsiteY4289" fmla="*/ 229469 h 6689084"/>
              <a:gd name="connsiteX4290" fmla="*/ 4921594 w 6689088"/>
              <a:gd name="connsiteY4290" fmla="*/ 278120 h 6689084"/>
              <a:gd name="connsiteX4291" fmla="*/ 4872942 w 6689088"/>
              <a:gd name="connsiteY4291" fmla="*/ 229469 h 6689084"/>
              <a:gd name="connsiteX4292" fmla="*/ 4921594 w 6689088"/>
              <a:gd name="connsiteY4292" fmla="*/ 180814 h 6689084"/>
              <a:gd name="connsiteX4293" fmla="*/ 5075541 w 6689088"/>
              <a:gd name="connsiteY4293" fmla="*/ 178637 h 6689084"/>
              <a:gd name="connsiteX4294" fmla="*/ 5126735 w 6689088"/>
              <a:gd name="connsiteY4294" fmla="*/ 229831 h 6689084"/>
              <a:gd name="connsiteX4295" fmla="*/ 5075541 w 6689088"/>
              <a:gd name="connsiteY4295" fmla="*/ 281025 h 6689084"/>
              <a:gd name="connsiteX4296" fmla="*/ 5024348 w 6689088"/>
              <a:gd name="connsiteY4296" fmla="*/ 229831 h 6689084"/>
              <a:gd name="connsiteX4297" fmla="*/ 5075541 w 6689088"/>
              <a:gd name="connsiteY4297" fmla="*/ 178637 h 6689084"/>
              <a:gd name="connsiteX4298" fmla="*/ 5229126 w 6689088"/>
              <a:gd name="connsiteY4298" fmla="*/ 176095 h 6689084"/>
              <a:gd name="connsiteX4299" fmla="*/ 5282500 w 6689088"/>
              <a:gd name="connsiteY4299" fmla="*/ 229469 h 6689084"/>
              <a:gd name="connsiteX4300" fmla="*/ 5229126 w 6689088"/>
              <a:gd name="connsiteY4300" fmla="*/ 282843 h 6689084"/>
              <a:gd name="connsiteX4301" fmla="*/ 5175752 w 6689088"/>
              <a:gd name="connsiteY4301" fmla="*/ 229469 h 6689084"/>
              <a:gd name="connsiteX4302" fmla="*/ 5229126 w 6689088"/>
              <a:gd name="connsiteY4302" fmla="*/ 176095 h 6689084"/>
              <a:gd name="connsiteX4303" fmla="*/ 5383074 w 6689088"/>
              <a:gd name="connsiteY4303" fmla="*/ 173552 h 6689084"/>
              <a:gd name="connsiteX4304" fmla="*/ 5439352 w 6689088"/>
              <a:gd name="connsiteY4304" fmla="*/ 229831 h 6689084"/>
              <a:gd name="connsiteX4305" fmla="*/ 5383074 w 6689088"/>
              <a:gd name="connsiteY4305" fmla="*/ 286110 h 6689084"/>
              <a:gd name="connsiteX4306" fmla="*/ 5326795 w 6689088"/>
              <a:gd name="connsiteY4306" fmla="*/ 229831 h 6689084"/>
              <a:gd name="connsiteX4307" fmla="*/ 5383074 w 6689088"/>
              <a:gd name="connsiteY4307" fmla="*/ 173552 h 6689084"/>
              <a:gd name="connsiteX4308" fmla="*/ 5536659 w 6689088"/>
              <a:gd name="connsiteY4308" fmla="*/ 171010 h 6689084"/>
              <a:gd name="connsiteX4309" fmla="*/ 5595476 w 6689088"/>
              <a:gd name="connsiteY4309" fmla="*/ 229827 h 6689084"/>
              <a:gd name="connsiteX4310" fmla="*/ 5536659 w 6689088"/>
              <a:gd name="connsiteY4310" fmla="*/ 288649 h 6689084"/>
              <a:gd name="connsiteX4311" fmla="*/ 5477838 w 6689088"/>
              <a:gd name="connsiteY4311" fmla="*/ 229827 h 6689084"/>
              <a:gd name="connsiteX4312" fmla="*/ 5536659 w 6689088"/>
              <a:gd name="connsiteY4312" fmla="*/ 171010 h 6689084"/>
              <a:gd name="connsiteX4313" fmla="*/ 5690606 w 6689088"/>
              <a:gd name="connsiteY4313" fmla="*/ 168105 h 6689084"/>
              <a:gd name="connsiteX4314" fmla="*/ 5752329 w 6689088"/>
              <a:gd name="connsiteY4314" fmla="*/ 229827 h 6689084"/>
              <a:gd name="connsiteX4315" fmla="*/ 5690606 w 6689088"/>
              <a:gd name="connsiteY4315" fmla="*/ 291553 h 6689084"/>
              <a:gd name="connsiteX4316" fmla="*/ 5628880 w 6689088"/>
              <a:gd name="connsiteY4316" fmla="*/ 229827 h 6689084"/>
              <a:gd name="connsiteX4317" fmla="*/ 5690606 w 6689088"/>
              <a:gd name="connsiteY4317" fmla="*/ 168105 h 6689084"/>
              <a:gd name="connsiteX4318" fmla="*/ 5844554 w 6689088"/>
              <a:gd name="connsiteY4318" fmla="*/ 165566 h 6689084"/>
              <a:gd name="connsiteX4319" fmla="*/ 5908822 w 6689088"/>
              <a:gd name="connsiteY4319" fmla="*/ 229831 h 6689084"/>
              <a:gd name="connsiteX4320" fmla="*/ 5844554 w 6689088"/>
              <a:gd name="connsiteY4320" fmla="*/ 294100 h 6689084"/>
              <a:gd name="connsiteX4321" fmla="*/ 5780289 w 6689088"/>
              <a:gd name="connsiteY4321" fmla="*/ 229831 h 6689084"/>
              <a:gd name="connsiteX4322" fmla="*/ 5844554 w 6689088"/>
              <a:gd name="connsiteY4322" fmla="*/ 165566 h 6689084"/>
              <a:gd name="connsiteX4323" fmla="*/ 5998136 w 6689088"/>
              <a:gd name="connsiteY4323" fmla="*/ 162296 h 6689084"/>
              <a:gd name="connsiteX4324" fmla="*/ 6065671 w 6689088"/>
              <a:gd name="connsiteY4324" fmla="*/ 229831 h 6689084"/>
              <a:gd name="connsiteX4325" fmla="*/ 5998136 w 6689088"/>
              <a:gd name="connsiteY4325" fmla="*/ 297363 h 6689084"/>
              <a:gd name="connsiteX4326" fmla="*/ 5930604 w 6689088"/>
              <a:gd name="connsiteY4326" fmla="*/ 229827 h 6689084"/>
              <a:gd name="connsiteX4327" fmla="*/ 5998136 w 6689088"/>
              <a:gd name="connsiteY4327" fmla="*/ 162296 h 6689084"/>
              <a:gd name="connsiteX4328" fmla="*/ 6152086 w 6689088"/>
              <a:gd name="connsiteY4328" fmla="*/ 159757 h 6689084"/>
              <a:gd name="connsiteX4329" fmla="*/ 6222160 w 6689088"/>
              <a:gd name="connsiteY4329" fmla="*/ 229831 h 6689084"/>
              <a:gd name="connsiteX4330" fmla="*/ 6152086 w 6689088"/>
              <a:gd name="connsiteY4330" fmla="*/ 299909 h 6689084"/>
              <a:gd name="connsiteX4331" fmla="*/ 6082008 w 6689088"/>
              <a:gd name="connsiteY4331" fmla="*/ 229831 h 6689084"/>
              <a:gd name="connsiteX4332" fmla="*/ 6152086 w 6689088"/>
              <a:gd name="connsiteY4332" fmla="*/ 159757 h 6689084"/>
              <a:gd name="connsiteX4333" fmla="*/ 6305668 w 6689088"/>
              <a:gd name="connsiteY4333" fmla="*/ 156852 h 6689084"/>
              <a:gd name="connsiteX4334" fmla="*/ 6378650 w 6689088"/>
              <a:gd name="connsiteY4334" fmla="*/ 229831 h 6689084"/>
              <a:gd name="connsiteX4335" fmla="*/ 6305668 w 6689088"/>
              <a:gd name="connsiteY4335" fmla="*/ 302814 h 6689084"/>
              <a:gd name="connsiteX4336" fmla="*/ 6232689 w 6689088"/>
              <a:gd name="connsiteY4336" fmla="*/ 229831 h 6689084"/>
              <a:gd name="connsiteX4337" fmla="*/ 6305668 w 6689088"/>
              <a:gd name="connsiteY4337" fmla="*/ 156852 h 6689084"/>
              <a:gd name="connsiteX4338" fmla="*/ 6613200 w 6689088"/>
              <a:gd name="connsiteY4338" fmla="*/ 153947 h 6689084"/>
              <a:gd name="connsiteX4339" fmla="*/ 6689088 w 6689088"/>
              <a:gd name="connsiteY4339" fmla="*/ 229831 h 6689084"/>
              <a:gd name="connsiteX4340" fmla="*/ 6613200 w 6689088"/>
              <a:gd name="connsiteY4340" fmla="*/ 305718 h 6689084"/>
              <a:gd name="connsiteX4341" fmla="*/ 6537317 w 6689088"/>
              <a:gd name="connsiteY4341" fmla="*/ 229831 h 6689084"/>
              <a:gd name="connsiteX4342" fmla="*/ 6613200 w 6689088"/>
              <a:gd name="connsiteY4342" fmla="*/ 153947 h 6689084"/>
              <a:gd name="connsiteX4343" fmla="*/ 6459616 w 6689088"/>
              <a:gd name="connsiteY4343" fmla="*/ 153944 h 6689084"/>
              <a:gd name="connsiteX4344" fmla="*/ 6535137 w 6689088"/>
              <a:gd name="connsiteY4344" fmla="*/ 229465 h 6689084"/>
              <a:gd name="connsiteX4345" fmla="*/ 6459616 w 6689088"/>
              <a:gd name="connsiteY4345" fmla="*/ 304986 h 6689084"/>
              <a:gd name="connsiteX4346" fmla="*/ 6384094 w 6689088"/>
              <a:gd name="connsiteY4346" fmla="*/ 229465 h 6689084"/>
              <a:gd name="connsiteX4347" fmla="*/ 6459616 w 6689088"/>
              <a:gd name="connsiteY4347" fmla="*/ 153944 h 6689084"/>
              <a:gd name="connsiteX4348" fmla="*/ 923681 w 6689088"/>
              <a:gd name="connsiteY4348" fmla="*/ 75518 h 6689084"/>
              <a:gd name="connsiteX4349" fmla="*/ 924043 w 6689088"/>
              <a:gd name="connsiteY4349" fmla="*/ 75880 h 6689084"/>
              <a:gd name="connsiteX4350" fmla="*/ 923681 w 6689088"/>
              <a:gd name="connsiteY4350" fmla="*/ 76242 h 6689084"/>
              <a:gd name="connsiteX4351" fmla="*/ 923319 w 6689088"/>
              <a:gd name="connsiteY4351" fmla="*/ 75880 h 6689084"/>
              <a:gd name="connsiteX4352" fmla="*/ 923681 w 6689088"/>
              <a:gd name="connsiteY4352" fmla="*/ 75518 h 6689084"/>
              <a:gd name="connsiteX4353" fmla="*/ 462205 w 6689088"/>
              <a:gd name="connsiteY4353" fmla="*/ 75518 h 6689084"/>
              <a:gd name="connsiteX4354" fmla="*/ 462567 w 6689088"/>
              <a:gd name="connsiteY4354" fmla="*/ 75880 h 6689084"/>
              <a:gd name="connsiteX4355" fmla="*/ 462205 w 6689088"/>
              <a:gd name="connsiteY4355" fmla="*/ 76242 h 6689084"/>
              <a:gd name="connsiteX4356" fmla="*/ 461842 w 6689088"/>
              <a:gd name="connsiteY4356" fmla="*/ 75880 h 6689084"/>
              <a:gd name="connsiteX4357" fmla="*/ 462205 w 6689088"/>
              <a:gd name="connsiteY4357" fmla="*/ 75518 h 6689084"/>
              <a:gd name="connsiteX4358" fmla="*/ 308257 w 6689088"/>
              <a:gd name="connsiteY4358" fmla="*/ 75518 h 6689084"/>
              <a:gd name="connsiteX4359" fmla="*/ 308619 w 6689088"/>
              <a:gd name="connsiteY4359" fmla="*/ 75880 h 6689084"/>
              <a:gd name="connsiteX4360" fmla="*/ 308257 w 6689088"/>
              <a:gd name="connsiteY4360" fmla="*/ 76242 h 6689084"/>
              <a:gd name="connsiteX4361" fmla="*/ 307895 w 6689088"/>
              <a:gd name="connsiteY4361" fmla="*/ 75880 h 6689084"/>
              <a:gd name="connsiteX4362" fmla="*/ 308257 w 6689088"/>
              <a:gd name="connsiteY4362" fmla="*/ 75518 h 6689084"/>
              <a:gd name="connsiteX4363" fmla="*/ 154676 w 6689088"/>
              <a:gd name="connsiteY4363" fmla="*/ 75155 h 6689084"/>
              <a:gd name="connsiteX4364" fmla="*/ 155400 w 6689088"/>
              <a:gd name="connsiteY4364" fmla="*/ 75880 h 6689084"/>
              <a:gd name="connsiteX4365" fmla="*/ 154676 w 6689088"/>
              <a:gd name="connsiteY4365" fmla="*/ 76608 h 6689084"/>
              <a:gd name="connsiteX4366" fmla="*/ 153948 w 6689088"/>
              <a:gd name="connsiteY4366" fmla="*/ 75880 h 6689084"/>
              <a:gd name="connsiteX4367" fmla="*/ 154676 w 6689088"/>
              <a:gd name="connsiteY4367" fmla="*/ 75155 h 6689084"/>
              <a:gd name="connsiteX4368" fmla="*/ 725 w 6689088"/>
              <a:gd name="connsiteY4368" fmla="*/ 75155 h 6689084"/>
              <a:gd name="connsiteX4369" fmla="*/ 1453 w 6689088"/>
              <a:gd name="connsiteY4369" fmla="*/ 75880 h 6689084"/>
              <a:gd name="connsiteX4370" fmla="*/ 725 w 6689088"/>
              <a:gd name="connsiteY4370" fmla="*/ 76608 h 6689084"/>
              <a:gd name="connsiteX4371" fmla="*/ 0 w 6689088"/>
              <a:gd name="connsiteY4371" fmla="*/ 75880 h 6689084"/>
              <a:gd name="connsiteX4372" fmla="*/ 725 w 6689088"/>
              <a:gd name="connsiteY4372" fmla="*/ 75155 h 6689084"/>
              <a:gd name="connsiteX4373" fmla="*/ 1077266 w 6689088"/>
              <a:gd name="connsiteY4373" fmla="*/ 74431 h 6689084"/>
              <a:gd name="connsiteX4374" fmla="*/ 1078718 w 6689088"/>
              <a:gd name="connsiteY4374" fmla="*/ 75884 h 6689084"/>
              <a:gd name="connsiteX4375" fmla="*/ 1077266 w 6689088"/>
              <a:gd name="connsiteY4375" fmla="*/ 77336 h 6689084"/>
              <a:gd name="connsiteX4376" fmla="*/ 1075814 w 6689088"/>
              <a:gd name="connsiteY4376" fmla="*/ 75884 h 6689084"/>
              <a:gd name="connsiteX4377" fmla="*/ 1077266 w 6689088"/>
              <a:gd name="connsiteY4377" fmla="*/ 74431 h 6689084"/>
              <a:gd name="connsiteX4378" fmla="*/ 1231217 w 6689088"/>
              <a:gd name="connsiteY4378" fmla="*/ 73703 h 6689084"/>
              <a:gd name="connsiteX4379" fmla="*/ 1233394 w 6689088"/>
              <a:gd name="connsiteY4379" fmla="*/ 75880 h 6689084"/>
              <a:gd name="connsiteX4380" fmla="*/ 1231217 w 6689088"/>
              <a:gd name="connsiteY4380" fmla="*/ 78060 h 6689084"/>
              <a:gd name="connsiteX4381" fmla="*/ 1229037 w 6689088"/>
              <a:gd name="connsiteY4381" fmla="*/ 75880 h 6689084"/>
              <a:gd name="connsiteX4382" fmla="*/ 1231217 w 6689088"/>
              <a:gd name="connsiteY4382" fmla="*/ 73703 h 6689084"/>
              <a:gd name="connsiteX4383" fmla="*/ 1384799 w 6689088"/>
              <a:gd name="connsiteY4383" fmla="*/ 72617 h 6689084"/>
              <a:gd name="connsiteX4384" fmla="*/ 1388069 w 6689088"/>
              <a:gd name="connsiteY4384" fmla="*/ 75884 h 6689084"/>
              <a:gd name="connsiteX4385" fmla="*/ 1384799 w 6689088"/>
              <a:gd name="connsiteY4385" fmla="*/ 79154 h 6689084"/>
              <a:gd name="connsiteX4386" fmla="*/ 1381532 w 6689088"/>
              <a:gd name="connsiteY4386" fmla="*/ 75884 h 6689084"/>
              <a:gd name="connsiteX4387" fmla="*/ 1384799 w 6689088"/>
              <a:gd name="connsiteY4387" fmla="*/ 72617 h 6689084"/>
              <a:gd name="connsiteX4388" fmla="*/ 1538746 w 6689088"/>
              <a:gd name="connsiteY4388" fmla="*/ 71527 h 6689084"/>
              <a:gd name="connsiteX4389" fmla="*/ 1543103 w 6689088"/>
              <a:gd name="connsiteY4389" fmla="*/ 75884 h 6689084"/>
              <a:gd name="connsiteX4390" fmla="*/ 1538746 w 6689088"/>
              <a:gd name="connsiteY4390" fmla="*/ 80241 h 6689084"/>
              <a:gd name="connsiteX4391" fmla="*/ 1534389 w 6689088"/>
              <a:gd name="connsiteY4391" fmla="*/ 75884 h 6689084"/>
              <a:gd name="connsiteX4392" fmla="*/ 1538746 w 6689088"/>
              <a:gd name="connsiteY4392" fmla="*/ 71527 h 6689084"/>
              <a:gd name="connsiteX4393" fmla="*/ 1692331 w 6689088"/>
              <a:gd name="connsiteY4393" fmla="*/ 70074 h 6689084"/>
              <a:gd name="connsiteX4394" fmla="*/ 1698141 w 6689088"/>
              <a:gd name="connsiteY4394" fmla="*/ 75884 h 6689084"/>
              <a:gd name="connsiteX4395" fmla="*/ 1692331 w 6689088"/>
              <a:gd name="connsiteY4395" fmla="*/ 81693 h 6689084"/>
              <a:gd name="connsiteX4396" fmla="*/ 1686522 w 6689088"/>
              <a:gd name="connsiteY4396" fmla="*/ 75884 h 6689084"/>
              <a:gd name="connsiteX4397" fmla="*/ 1692331 w 6689088"/>
              <a:gd name="connsiteY4397" fmla="*/ 70074 h 6689084"/>
              <a:gd name="connsiteX4398" fmla="*/ 1846279 w 6689088"/>
              <a:gd name="connsiteY4398" fmla="*/ 68622 h 6689084"/>
              <a:gd name="connsiteX4399" fmla="*/ 1853540 w 6689088"/>
              <a:gd name="connsiteY4399" fmla="*/ 75884 h 6689084"/>
              <a:gd name="connsiteX4400" fmla="*/ 1846279 w 6689088"/>
              <a:gd name="connsiteY4400" fmla="*/ 83145 h 6689084"/>
              <a:gd name="connsiteX4401" fmla="*/ 1839017 w 6689088"/>
              <a:gd name="connsiteY4401" fmla="*/ 75884 h 6689084"/>
              <a:gd name="connsiteX4402" fmla="*/ 1846279 w 6689088"/>
              <a:gd name="connsiteY4402" fmla="*/ 68622 h 6689084"/>
              <a:gd name="connsiteX4403" fmla="*/ 1999860 w 6689088"/>
              <a:gd name="connsiteY4403" fmla="*/ 66807 h 6689084"/>
              <a:gd name="connsiteX4404" fmla="*/ 2008940 w 6689088"/>
              <a:gd name="connsiteY4404" fmla="*/ 75884 h 6689084"/>
              <a:gd name="connsiteX4405" fmla="*/ 1999860 w 6689088"/>
              <a:gd name="connsiteY4405" fmla="*/ 84960 h 6689084"/>
              <a:gd name="connsiteX4406" fmla="*/ 1990784 w 6689088"/>
              <a:gd name="connsiteY4406" fmla="*/ 75884 h 6689084"/>
              <a:gd name="connsiteX4407" fmla="*/ 1999860 w 6689088"/>
              <a:gd name="connsiteY4407" fmla="*/ 66807 h 6689084"/>
              <a:gd name="connsiteX4408" fmla="*/ 2153811 w 6689088"/>
              <a:gd name="connsiteY4408" fmla="*/ 65717 h 6689084"/>
              <a:gd name="connsiteX4409" fmla="*/ 2163978 w 6689088"/>
              <a:gd name="connsiteY4409" fmla="*/ 75884 h 6689084"/>
              <a:gd name="connsiteX4410" fmla="*/ 2153811 w 6689088"/>
              <a:gd name="connsiteY4410" fmla="*/ 86050 h 6689084"/>
              <a:gd name="connsiteX4411" fmla="*/ 2143645 w 6689088"/>
              <a:gd name="connsiteY4411" fmla="*/ 75884 h 6689084"/>
              <a:gd name="connsiteX4412" fmla="*/ 2153811 w 6689088"/>
              <a:gd name="connsiteY4412" fmla="*/ 65717 h 6689084"/>
              <a:gd name="connsiteX4413" fmla="*/ 2307393 w 6689088"/>
              <a:gd name="connsiteY4413" fmla="*/ 63899 h 6689084"/>
              <a:gd name="connsiteX4414" fmla="*/ 2319377 w 6689088"/>
              <a:gd name="connsiteY4414" fmla="*/ 75880 h 6689084"/>
              <a:gd name="connsiteX4415" fmla="*/ 2307393 w 6689088"/>
              <a:gd name="connsiteY4415" fmla="*/ 87864 h 6689084"/>
              <a:gd name="connsiteX4416" fmla="*/ 2295412 w 6689088"/>
              <a:gd name="connsiteY4416" fmla="*/ 75880 h 6689084"/>
              <a:gd name="connsiteX4417" fmla="*/ 2307393 w 6689088"/>
              <a:gd name="connsiteY4417" fmla="*/ 63899 h 6689084"/>
              <a:gd name="connsiteX4418" fmla="*/ 2461344 w 6689088"/>
              <a:gd name="connsiteY4418" fmla="*/ 62085 h 6689084"/>
              <a:gd name="connsiteX4419" fmla="*/ 2475139 w 6689088"/>
              <a:gd name="connsiteY4419" fmla="*/ 75880 h 6689084"/>
              <a:gd name="connsiteX4420" fmla="*/ 2461344 w 6689088"/>
              <a:gd name="connsiteY4420" fmla="*/ 89679 h 6689084"/>
              <a:gd name="connsiteX4421" fmla="*/ 2447545 w 6689088"/>
              <a:gd name="connsiteY4421" fmla="*/ 75880 h 6689084"/>
              <a:gd name="connsiteX4422" fmla="*/ 2461344 w 6689088"/>
              <a:gd name="connsiteY4422" fmla="*/ 62085 h 6689084"/>
              <a:gd name="connsiteX4423" fmla="*/ 2614925 w 6689088"/>
              <a:gd name="connsiteY4423" fmla="*/ 60632 h 6689084"/>
              <a:gd name="connsiteX4424" fmla="*/ 2630177 w 6689088"/>
              <a:gd name="connsiteY4424" fmla="*/ 75880 h 6689084"/>
              <a:gd name="connsiteX4425" fmla="*/ 2614925 w 6689088"/>
              <a:gd name="connsiteY4425" fmla="*/ 91131 h 6689084"/>
              <a:gd name="connsiteX4426" fmla="*/ 2599678 w 6689088"/>
              <a:gd name="connsiteY4426" fmla="*/ 75880 h 6689084"/>
              <a:gd name="connsiteX4427" fmla="*/ 2614925 w 6689088"/>
              <a:gd name="connsiteY4427" fmla="*/ 60632 h 6689084"/>
              <a:gd name="connsiteX4428" fmla="*/ 2768873 w 6689088"/>
              <a:gd name="connsiteY4428" fmla="*/ 58818 h 6689084"/>
              <a:gd name="connsiteX4429" fmla="*/ 2785939 w 6689088"/>
              <a:gd name="connsiteY4429" fmla="*/ 75884 h 6689084"/>
              <a:gd name="connsiteX4430" fmla="*/ 2768873 w 6689088"/>
              <a:gd name="connsiteY4430" fmla="*/ 92946 h 6689084"/>
              <a:gd name="connsiteX4431" fmla="*/ 2751807 w 6689088"/>
              <a:gd name="connsiteY4431" fmla="*/ 75884 h 6689084"/>
              <a:gd name="connsiteX4432" fmla="*/ 2768873 w 6689088"/>
              <a:gd name="connsiteY4432" fmla="*/ 58818 h 6689084"/>
              <a:gd name="connsiteX4433" fmla="*/ 2922458 w 6689088"/>
              <a:gd name="connsiteY4433" fmla="*/ 56641 h 6689084"/>
              <a:gd name="connsiteX4434" fmla="*/ 2941700 w 6689088"/>
              <a:gd name="connsiteY4434" fmla="*/ 75884 h 6689084"/>
              <a:gd name="connsiteX4435" fmla="*/ 2922458 w 6689088"/>
              <a:gd name="connsiteY4435" fmla="*/ 95126 h 6689084"/>
              <a:gd name="connsiteX4436" fmla="*/ 2903216 w 6689088"/>
              <a:gd name="connsiteY4436" fmla="*/ 75884 h 6689084"/>
              <a:gd name="connsiteX4437" fmla="*/ 2922458 w 6689088"/>
              <a:gd name="connsiteY4437" fmla="*/ 56641 h 6689084"/>
              <a:gd name="connsiteX4438" fmla="*/ 3076406 w 6689088"/>
              <a:gd name="connsiteY4438" fmla="*/ 54461 h 6689084"/>
              <a:gd name="connsiteX4439" fmla="*/ 3097828 w 6689088"/>
              <a:gd name="connsiteY4439" fmla="*/ 75884 h 6689084"/>
              <a:gd name="connsiteX4440" fmla="*/ 3076406 w 6689088"/>
              <a:gd name="connsiteY4440" fmla="*/ 97303 h 6689084"/>
              <a:gd name="connsiteX4441" fmla="*/ 3054982 w 6689088"/>
              <a:gd name="connsiteY4441" fmla="*/ 75884 h 6689084"/>
              <a:gd name="connsiteX4442" fmla="*/ 3076406 w 6689088"/>
              <a:gd name="connsiteY4442" fmla="*/ 54461 h 6689084"/>
              <a:gd name="connsiteX4443" fmla="*/ 3230353 w 6689088"/>
              <a:gd name="connsiteY4443" fmla="*/ 53008 h 6689084"/>
              <a:gd name="connsiteX4444" fmla="*/ 3253228 w 6689088"/>
              <a:gd name="connsiteY4444" fmla="*/ 75884 h 6689084"/>
              <a:gd name="connsiteX4445" fmla="*/ 3230353 w 6689088"/>
              <a:gd name="connsiteY4445" fmla="*/ 98759 h 6689084"/>
              <a:gd name="connsiteX4446" fmla="*/ 3207478 w 6689088"/>
              <a:gd name="connsiteY4446" fmla="*/ 75884 h 6689084"/>
              <a:gd name="connsiteX4447" fmla="*/ 3230353 w 6689088"/>
              <a:gd name="connsiteY4447" fmla="*/ 53008 h 6689084"/>
              <a:gd name="connsiteX4448" fmla="*/ 3383934 w 6689088"/>
              <a:gd name="connsiteY4448" fmla="*/ 50832 h 6689084"/>
              <a:gd name="connsiteX4449" fmla="*/ 3408986 w 6689088"/>
              <a:gd name="connsiteY4449" fmla="*/ 75884 h 6689084"/>
              <a:gd name="connsiteX4450" fmla="*/ 3383934 w 6689088"/>
              <a:gd name="connsiteY4450" fmla="*/ 100939 h 6689084"/>
              <a:gd name="connsiteX4451" fmla="*/ 3358882 w 6689088"/>
              <a:gd name="connsiteY4451" fmla="*/ 75884 h 6689084"/>
              <a:gd name="connsiteX4452" fmla="*/ 3383934 w 6689088"/>
              <a:gd name="connsiteY4452" fmla="*/ 50832 h 6689084"/>
              <a:gd name="connsiteX4453" fmla="*/ 3537886 w 6689088"/>
              <a:gd name="connsiteY4453" fmla="*/ 48651 h 6689084"/>
              <a:gd name="connsiteX4454" fmla="*/ 3565118 w 6689088"/>
              <a:gd name="connsiteY4454" fmla="*/ 75884 h 6689084"/>
              <a:gd name="connsiteX4455" fmla="*/ 3537886 w 6689088"/>
              <a:gd name="connsiteY4455" fmla="*/ 103112 h 6689084"/>
              <a:gd name="connsiteX4456" fmla="*/ 3510653 w 6689088"/>
              <a:gd name="connsiteY4456" fmla="*/ 75884 h 6689084"/>
              <a:gd name="connsiteX4457" fmla="*/ 3537886 w 6689088"/>
              <a:gd name="connsiteY4457" fmla="*/ 48651 h 6689084"/>
              <a:gd name="connsiteX4458" fmla="*/ 3691467 w 6689088"/>
              <a:gd name="connsiteY4458" fmla="*/ 46109 h 6689084"/>
              <a:gd name="connsiteX4459" fmla="*/ 3721242 w 6689088"/>
              <a:gd name="connsiteY4459" fmla="*/ 75880 h 6689084"/>
              <a:gd name="connsiteX4460" fmla="*/ 3691467 w 6689088"/>
              <a:gd name="connsiteY4460" fmla="*/ 105655 h 6689084"/>
              <a:gd name="connsiteX4461" fmla="*/ 3661696 w 6689088"/>
              <a:gd name="connsiteY4461" fmla="*/ 75880 h 6689084"/>
              <a:gd name="connsiteX4462" fmla="*/ 3691467 w 6689088"/>
              <a:gd name="connsiteY4462" fmla="*/ 46109 h 6689084"/>
              <a:gd name="connsiteX4463" fmla="*/ 3845414 w 6689088"/>
              <a:gd name="connsiteY4463" fmla="*/ 43932 h 6689084"/>
              <a:gd name="connsiteX4464" fmla="*/ 3877366 w 6689088"/>
              <a:gd name="connsiteY4464" fmla="*/ 75884 h 6689084"/>
              <a:gd name="connsiteX4465" fmla="*/ 3845414 w 6689088"/>
              <a:gd name="connsiteY4465" fmla="*/ 107835 h 6689084"/>
              <a:gd name="connsiteX4466" fmla="*/ 3813463 w 6689088"/>
              <a:gd name="connsiteY4466" fmla="*/ 75884 h 6689084"/>
              <a:gd name="connsiteX4467" fmla="*/ 3845414 w 6689088"/>
              <a:gd name="connsiteY4467" fmla="*/ 43932 h 6689084"/>
              <a:gd name="connsiteX4468" fmla="*/ 3999000 w 6689088"/>
              <a:gd name="connsiteY4468" fmla="*/ 42118 h 6689084"/>
              <a:gd name="connsiteX4469" fmla="*/ 4032769 w 6689088"/>
              <a:gd name="connsiteY4469" fmla="*/ 75884 h 6689084"/>
              <a:gd name="connsiteX4470" fmla="*/ 3999000 w 6689088"/>
              <a:gd name="connsiteY4470" fmla="*/ 109653 h 6689084"/>
              <a:gd name="connsiteX4471" fmla="*/ 3965234 w 6689088"/>
              <a:gd name="connsiteY4471" fmla="*/ 75884 h 6689084"/>
              <a:gd name="connsiteX4472" fmla="*/ 3999000 w 6689088"/>
              <a:gd name="connsiteY4472" fmla="*/ 42118 h 6689084"/>
              <a:gd name="connsiteX4473" fmla="*/ 4152947 w 6689088"/>
              <a:gd name="connsiteY4473" fmla="*/ 39575 h 6689084"/>
              <a:gd name="connsiteX4474" fmla="*/ 4189256 w 6689088"/>
              <a:gd name="connsiteY4474" fmla="*/ 75884 h 6689084"/>
              <a:gd name="connsiteX4475" fmla="*/ 4152947 w 6689088"/>
              <a:gd name="connsiteY4475" fmla="*/ 112192 h 6689084"/>
              <a:gd name="connsiteX4476" fmla="*/ 4116638 w 6689088"/>
              <a:gd name="connsiteY4476" fmla="*/ 75884 h 6689084"/>
              <a:gd name="connsiteX4477" fmla="*/ 4152947 w 6689088"/>
              <a:gd name="connsiteY4477" fmla="*/ 39575 h 6689084"/>
              <a:gd name="connsiteX4478" fmla="*/ 4306532 w 6689088"/>
              <a:gd name="connsiteY4478" fmla="*/ 37033 h 6689084"/>
              <a:gd name="connsiteX4479" fmla="*/ 4345380 w 6689088"/>
              <a:gd name="connsiteY4479" fmla="*/ 75884 h 6689084"/>
              <a:gd name="connsiteX4480" fmla="*/ 4306532 w 6689088"/>
              <a:gd name="connsiteY4480" fmla="*/ 114735 h 6689084"/>
              <a:gd name="connsiteX4481" fmla="*/ 4267682 w 6689088"/>
              <a:gd name="connsiteY4481" fmla="*/ 75884 h 6689084"/>
              <a:gd name="connsiteX4482" fmla="*/ 4306532 w 6689088"/>
              <a:gd name="connsiteY4482" fmla="*/ 37033 h 6689084"/>
              <a:gd name="connsiteX4483" fmla="*/ 4460480 w 6689088"/>
              <a:gd name="connsiteY4483" fmla="*/ 34852 h 6689084"/>
              <a:gd name="connsiteX4484" fmla="*/ 4501511 w 6689088"/>
              <a:gd name="connsiteY4484" fmla="*/ 75880 h 6689084"/>
              <a:gd name="connsiteX4485" fmla="*/ 4460480 w 6689088"/>
              <a:gd name="connsiteY4485" fmla="*/ 116911 h 6689084"/>
              <a:gd name="connsiteX4486" fmla="*/ 4419452 w 6689088"/>
              <a:gd name="connsiteY4486" fmla="*/ 75880 h 6689084"/>
              <a:gd name="connsiteX4487" fmla="*/ 4460480 w 6689088"/>
              <a:gd name="connsiteY4487" fmla="*/ 34852 h 6689084"/>
              <a:gd name="connsiteX4488" fmla="*/ 4614065 w 6689088"/>
              <a:gd name="connsiteY4488" fmla="*/ 32314 h 6689084"/>
              <a:gd name="connsiteX4489" fmla="*/ 4657635 w 6689088"/>
              <a:gd name="connsiteY4489" fmla="*/ 75884 h 6689084"/>
              <a:gd name="connsiteX4490" fmla="*/ 4614065 w 6689088"/>
              <a:gd name="connsiteY4490" fmla="*/ 119454 h 6689084"/>
              <a:gd name="connsiteX4491" fmla="*/ 4570495 w 6689088"/>
              <a:gd name="connsiteY4491" fmla="*/ 75884 h 6689084"/>
              <a:gd name="connsiteX4492" fmla="*/ 4614065 w 6689088"/>
              <a:gd name="connsiteY4492" fmla="*/ 32314 h 6689084"/>
              <a:gd name="connsiteX4493" fmla="*/ 4768012 w 6689088"/>
              <a:gd name="connsiteY4493" fmla="*/ 29771 h 6689084"/>
              <a:gd name="connsiteX4494" fmla="*/ 4814125 w 6689088"/>
              <a:gd name="connsiteY4494" fmla="*/ 75884 h 6689084"/>
              <a:gd name="connsiteX4495" fmla="*/ 4768012 w 6689088"/>
              <a:gd name="connsiteY4495" fmla="*/ 121996 h 6689084"/>
              <a:gd name="connsiteX4496" fmla="*/ 4721900 w 6689088"/>
              <a:gd name="connsiteY4496" fmla="*/ 75884 h 6689084"/>
              <a:gd name="connsiteX4497" fmla="*/ 4768012 w 6689088"/>
              <a:gd name="connsiteY4497" fmla="*/ 29771 h 6689084"/>
              <a:gd name="connsiteX4498" fmla="*/ 4921594 w 6689088"/>
              <a:gd name="connsiteY4498" fmla="*/ 27228 h 6689084"/>
              <a:gd name="connsiteX4499" fmla="*/ 4970249 w 6689088"/>
              <a:gd name="connsiteY4499" fmla="*/ 75880 h 6689084"/>
              <a:gd name="connsiteX4500" fmla="*/ 4921594 w 6689088"/>
              <a:gd name="connsiteY4500" fmla="*/ 124535 h 6689084"/>
              <a:gd name="connsiteX4501" fmla="*/ 4872942 w 6689088"/>
              <a:gd name="connsiteY4501" fmla="*/ 75880 h 6689084"/>
              <a:gd name="connsiteX4502" fmla="*/ 4921594 w 6689088"/>
              <a:gd name="connsiteY4502" fmla="*/ 27228 h 6689084"/>
              <a:gd name="connsiteX4503" fmla="*/ 5075541 w 6689088"/>
              <a:gd name="connsiteY4503" fmla="*/ 24690 h 6689084"/>
              <a:gd name="connsiteX4504" fmla="*/ 5126735 w 6689088"/>
              <a:gd name="connsiteY4504" fmla="*/ 75884 h 6689084"/>
              <a:gd name="connsiteX4505" fmla="*/ 5075541 w 6689088"/>
              <a:gd name="connsiteY4505" fmla="*/ 127081 h 6689084"/>
              <a:gd name="connsiteX4506" fmla="*/ 5024348 w 6689088"/>
              <a:gd name="connsiteY4506" fmla="*/ 75884 h 6689084"/>
              <a:gd name="connsiteX4507" fmla="*/ 5075541 w 6689088"/>
              <a:gd name="connsiteY4507" fmla="*/ 24690 h 6689084"/>
              <a:gd name="connsiteX4508" fmla="*/ 5229126 w 6689088"/>
              <a:gd name="connsiteY4508" fmla="*/ 22509 h 6689084"/>
              <a:gd name="connsiteX4509" fmla="*/ 5282500 w 6689088"/>
              <a:gd name="connsiteY4509" fmla="*/ 75884 h 6689084"/>
              <a:gd name="connsiteX4510" fmla="*/ 5229126 w 6689088"/>
              <a:gd name="connsiteY4510" fmla="*/ 129258 h 6689084"/>
              <a:gd name="connsiteX4511" fmla="*/ 5175752 w 6689088"/>
              <a:gd name="connsiteY4511" fmla="*/ 75884 h 6689084"/>
              <a:gd name="connsiteX4512" fmla="*/ 5229126 w 6689088"/>
              <a:gd name="connsiteY4512" fmla="*/ 22509 h 6689084"/>
              <a:gd name="connsiteX4513" fmla="*/ 5383074 w 6689088"/>
              <a:gd name="connsiteY4513" fmla="*/ 19605 h 6689084"/>
              <a:gd name="connsiteX4514" fmla="*/ 5439352 w 6689088"/>
              <a:gd name="connsiteY4514" fmla="*/ 75884 h 6689084"/>
              <a:gd name="connsiteX4515" fmla="*/ 5383074 w 6689088"/>
              <a:gd name="connsiteY4515" fmla="*/ 132162 h 6689084"/>
              <a:gd name="connsiteX4516" fmla="*/ 5326795 w 6689088"/>
              <a:gd name="connsiteY4516" fmla="*/ 75884 h 6689084"/>
              <a:gd name="connsiteX4517" fmla="*/ 5383074 w 6689088"/>
              <a:gd name="connsiteY4517" fmla="*/ 19605 h 6689084"/>
              <a:gd name="connsiteX4518" fmla="*/ 5536659 w 6689088"/>
              <a:gd name="connsiteY4518" fmla="*/ 17062 h 6689084"/>
              <a:gd name="connsiteX4519" fmla="*/ 5595476 w 6689088"/>
              <a:gd name="connsiteY4519" fmla="*/ 75880 h 6689084"/>
              <a:gd name="connsiteX4520" fmla="*/ 5536659 w 6689088"/>
              <a:gd name="connsiteY4520" fmla="*/ 134701 h 6689084"/>
              <a:gd name="connsiteX4521" fmla="*/ 5477838 w 6689088"/>
              <a:gd name="connsiteY4521" fmla="*/ 75880 h 6689084"/>
              <a:gd name="connsiteX4522" fmla="*/ 5536659 w 6689088"/>
              <a:gd name="connsiteY4522" fmla="*/ 17062 h 6689084"/>
              <a:gd name="connsiteX4523" fmla="*/ 5690606 w 6689088"/>
              <a:gd name="connsiteY4523" fmla="*/ 14157 h 6689084"/>
              <a:gd name="connsiteX4524" fmla="*/ 5752329 w 6689088"/>
              <a:gd name="connsiteY4524" fmla="*/ 75880 h 6689084"/>
              <a:gd name="connsiteX4525" fmla="*/ 5690606 w 6689088"/>
              <a:gd name="connsiteY4525" fmla="*/ 137606 h 6689084"/>
              <a:gd name="connsiteX4526" fmla="*/ 5628880 w 6689088"/>
              <a:gd name="connsiteY4526" fmla="*/ 75880 h 6689084"/>
              <a:gd name="connsiteX4527" fmla="*/ 5690606 w 6689088"/>
              <a:gd name="connsiteY4527" fmla="*/ 14157 h 6689084"/>
              <a:gd name="connsiteX4528" fmla="*/ 5844554 w 6689088"/>
              <a:gd name="connsiteY4528" fmla="*/ 11619 h 6689084"/>
              <a:gd name="connsiteX4529" fmla="*/ 5908822 w 6689088"/>
              <a:gd name="connsiteY4529" fmla="*/ 75884 h 6689084"/>
              <a:gd name="connsiteX4530" fmla="*/ 5844554 w 6689088"/>
              <a:gd name="connsiteY4530" fmla="*/ 140152 h 6689084"/>
              <a:gd name="connsiteX4531" fmla="*/ 5780289 w 6689088"/>
              <a:gd name="connsiteY4531" fmla="*/ 75884 h 6689084"/>
              <a:gd name="connsiteX4532" fmla="*/ 5844554 w 6689088"/>
              <a:gd name="connsiteY4532" fmla="*/ 11619 h 6689084"/>
              <a:gd name="connsiteX4533" fmla="*/ 5998136 w 6689088"/>
              <a:gd name="connsiteY4533" fmla="*/ 8348 h 6689084"/>
              <a:gd name="connsiteX4534" fmla="*/ 6065671 w 6689088"/>
              <a:gd name="connsiteY4534" fmla="*/ 75884 h 6689084"/>
              <a:gd name="connsiteX4535" fmla="*/ 5998136 w 6689088"/>
              <a:gd name="connsiteY4535" fmla="*/ 143415 h 6689084"/>
              <a:gd name="connsiteX4536" fmla="*/ 5930604 w 6689088"/>
              <a:gd name="connsiteY4536" fmla="*/ 75884 h 6689084"/>
              <a:gd name="connsiteX4537" fmla="*/ 5998136 w 6689088"/>
              <a:gd name="connsiteY4537" fmla="*/ 8348 h 6689084"/>
              <a:gd name="connsiteX4538" fmla="*/ 6152086 w 6689088"/>
              <a:gd name="connsiteY4538" fmla="*/ 5809 h 6689084"/>
              <a:gd name="connsiteX4539" fmla="*/ 6222160 w 6689088"/>
              <a:gd name="connsiteY4539" fmla="*/ 75884 h 6689084"/>
              <a:gd name="connsiteX4540" fmla="*/ 6152086 w 6689088"/>
              <a:gd name="connsiteY4540" fmla="*/ 145962 h 6689084"/>
              <a:gd name="connsiteX4541" fmla="*/ 6082008 w 6689088"/>
              <a:gd name="connsiteY4541" fmla="*/ 75884 h 6689084"/>
              <a:gd name="connsiteX4542" fmla="*/ 6152086 w 6689088"/>
              <a:gd name="connsiteY4542" fmla="*/ 5809 h 6689084"/>
              <a:gd name="connsiteX4543" fmla="*/ 6305668 w 6689088"/>
              <a:gd name="connsiteY4543" fmla="*/ 2905 h 6689084"/>
              <a:gd name="connsiteX4544" fmla="*/ 6378650 w 6689088"/>
              <a:gd name="connsiteY4544" fmla="*/ 75884 h 6689084"/>
              <a:gd name="connsiteX4545" fmla="*/ 6305668 w 6689088"/>
              <a:gd name="connsiteY4545" fmla="*/ 148866 h 6689084"/>
              <a:gd name="connsiteX4546" fmla="*/ 6232689 w 6689088"/>
              <a:gd name="connsiteY4546" fmla="*/ 75884 h 6689084"/>
              <a:gd name="connsiteX4547" fmla="*/ 6305668 w 6689088"/>
              <a:gd name="connsiteY4547" fmla="*/ 2905 h 6689084"/>
              <a:gd name="connsiteX4548" fmla="*/ 6459616 w 6689088"/>
              <a:gd name="connsiteY4548" fmla="*/ 362 h 6689084"/>
              <a:gd name="connsiteX4549" fmla="*/ 6535137 w 6689088"/>
              <a:gd name="connsiteY4549" fmla="*/ 75884 h 6689084"/>
              <a:gd name="connsiteX4550" fmla="*/ 6459616 w 6689088"/>
              <a:gd name="connsiteY4550" fmla="*/ 151405 h 6689084"/>
              <a:gd name="connsiteX4551" fmla="*/ 6384094 w 6689088"/>
              <a:gd name="connsiteY4551" fmla="*/ 75884 h 6689084"/>
              <a:gd name="connsiteX4552" fmla="*/ 6459616 w 6689088"/>
              <a:gd name="connsiteY4552" fmla="*/ 362 h 6689084"/>
              <a:gd name="connsiteX4553" fmla="*/ 6613200 w 6689088"/>
              <a:gd name="connsiteY4553" fmla="*/ 0 h 6689084"/>
              <a:gd name="connsiteX4554" fmla="*/ 6689088 w 6689088"/>
              <a:gd name="connsiteY4554" fmla="*/ 75884 h 6689084"/>
              <a:gd name="connsiteX4555" fmla="*/ 6613200 w 6689088"/>
              <a:gd name="connsiteY4555" fmla="*/ 151771 h 6689084"/>
              <a:gd name="connsiteX4556" fmla="*/ 6537317 w 6689088"/>
              <a:gd name="connsiteY4556" fmla="*/ 75884 h 6689084"/>
              <a:gd name="connsiteX4557" fmla="*/ 6613200 w 6689088"/>
              <a:gd name="connsiteY4557" fmla="*/ 0 h 6689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Lst>
            <a:rect l="l" t="t" r="r" b="b"/>
            <a:pathLst>
              <a:path w="6689088" h="6689084">
                <a:moveTo>
                  <a:pt x="6613200" y="6687632"/>
                </a:moveTo>
                <a:cubicBezTo>
                  <a:pt x="6613563" y="6687632"/>
                  <a:pt x="6613929" y="6687994"/>
                  <a:pt x="6613929" y="6688360"/>
                </a:cubicBezTo>
                <a:cubicBezTo>
                  <a:pt x="6613929" y="6688722"/>
                  <a:pt x="6613200" y="6689084"/>
                  <a:pt x="6613200" y="6689084"/>
                </a:cubicBezTo>
                <a:cubicBezTo>
                  <a:pt x="6612838" y="6689084"/>
                  <a:pt x="6612476" y="6688722"/>
                  <a:pt x="6612476" y="6688360"/>
                </a:cubicBezTo>
                <a:cubicBezTo>
                  <a:pt x="6612476" y="6687994"/>
                  <a:pt x="6612838" y="6687632"/>
                  <a:pt x="6613200" y="6687632"/>
                </a:cubicBezTo>
                <a:close/>
                <a:moveTo>
                  <a:pt x="6613200" y="6534050"/>
                </a:moveTo>
                <a:cubicBezTo>
                  <a:pt x="6613566" y="6534050"/>
                  <a:pt x="6613566" y="6534050"/>
                  <a:pt x="6613566" y="6534413"/>
                </a:cubicBezTo>
                <a:cubicBezTo>
                  <a:pt x="6613566" y="6534775"/>
                  <a:pt x="6613200" y="6534775"/>
                  <a:pt x="6613200" y="6534775"/>
                </a:cubicBezTo>
                <a:cubicBezTo>
                  <a:pt x="6612838" y="6534775"/>
                  <a:pt x="6612838" y="6534775"/>
                  <a:pt x="6612838" y="6534413"/>
                </a:cubicBezTo>
                <a:cubicBezTo>
                  <a:pt x="6612838" y="6534050"/>
                  <a:pt x="6612838" y="6534050"/>
                  <a:pt x="6613200" y="6534050"/>
                </a:cubicBezTo>
                <a:close/>
                <a:moveTo>
                  <a:pt x="6459619" y="6533684"/>
                </a:moveTo>
                <a:cubicBezTo>
                  <a:pt x="6460020" y="6533684"/>
                  <a:pt x="6460344" y="6534009"/>
                  <a:pt x="6460344" y="6534413"/>
                </a:cubicBezTo>
                <a:cubicBezTo>
                  <a:pt x="6460344" y="6534813"/>
                  <a:pt x="6460020" y="6535137"/>
                  <a:pt x="6459619" y="6535137"/>
                </a:cubicBezTo>
                <a:cubicBezTo>
                  <a:pt x="6459215" y="6535137"/>
                  <a:pt x="6458891" y="6534813"/>
                  <a:pt x="6458891" y="6534413"/>
                </a:cubicBezTo>
                <a:cubicBezTo>
                  <a:pt x="6458891" y="6534009"/>
                  <a:pt x="6459215" y="6533684"/>
                  <a:pt x="6459619" y="6533684"/>
                </a:cubicBezTo>
                <a:close/>
                <a:moveTo>
                  <a:pt x="6613200" y="6380465"/>
                </a:moveTo>
                <a:cubicBezTo>
                  <a:pt x="6613566" y="6380465"/>
                  <a:pt x="6613566" y="6380465"/>
                  <a:pt x="6613566" y="6380827"/>
                </a:cubicBezTo>
                <a:cubicBezTo>
                  <a:pt x="6613566" y="6381193"/>
                  <a:pt x="6613200" y="6381193"/>
                  <a:pt x="6613200" y="6381193"/>
                </a:cubicBezTo>
                <a:cubicBezTo>
                  <a:pt x="6612838" y="6381193"/>
                  <a:pt x="6612838" y="6381193"/>
                  <a:pt x="6612838" y="6380827"/>
                </a:cubicBezTo>
                <a:cubicBezTo>
                  <a:pt x="6612838" y="6380465"/>
                  <a:pt x="6612838" y="6380465"/>
                  <a:pt x="6613200" y="6380465"/>
                </a:cubicBezTo>
                <a:close/>
                <a:moveTo>
                  <a:pt x="6459616" y="6380465"/>
                </a:moveTo>
                <a:cubicBezTo>
                  <a:pt x="6459982" y="6380465"/>
                  <a:pt x="6459982" y="6380465"/>
                  <a:pt x="6459982" y="6380827"/>
                </a:cubicBezTo>
                <a:cubicBezTo>
                  <a:pt x="6459982" y="6381193"/>
                  <a:pt x="6459616" y="6381193"/>
                  <a:pt x="6459616" y="6381193"/>
                </a:cubicBezTo>
                <a:cubicBezTo>
                  <a:pt x="6459254" y="6381193"/>
                  <a:pt x="6459254" y="6381193"/>
                  <a:pt x="6459254" y="6380827"/>
                </a:cubicBezTo>
                <a:cubicBezTo>
                  <a:pt x="6459254" y="6380465"/>
                  <a:pt x="6459254" y="6380465"/>
                  <a:pt x="6459616" y="6380465"/>
                </a:cubicBezTo>
                <a:close/>
                <a:moveTo>
                  <a:pt x="6305668" y="6380103"/>
                </a:moveTo>
                <a:cubicBezTo>
                  <a:pt x="6306068" y="6380103"/>
                  <a:pt x="6306396" y="6380427"/>
                  <a:pt x="6306396" y="6380831"/>
                </a:cubicBezTo>
                <a:cubicBezTo>
                  <a:pt x="6306396" y="6381231"/>
                  <a:pt x="6306068" y="6381555"/>
                  <a:pt x="6305668" y="6381555"/>
                </a:cubicBezTo>
                <a:cubicBezTo>
                  <a:pt x="6305268" y="6381555"/>
                  <a:pt x="6304940" y="6381231"/>
                  <a:pt x="6304940" y="6380831"/>
                </a:cubicBezTo>
                <a:cubicBezTo>
                  <a:pt x="6304940" y="6380427"/>
                  <a:pt x="6305268" y="6380103"/>
                  <a:pt x="6305668" y="6380103"/>
                </a:cubicBezTo>
                <a:close/>
                <a:moveTo>
                  <a:pt x="6459616" y="6226518"/>
                </a:moveTo>
                <a:cubicBezTo>
                  <a:pt x="6459982" y="6226518"/>
                  <a:pt x="6459982" y="6226518"/>
                  <a:pt x="6459982" y="6226880"/>
                </a:cubicBezTo>
                <a:cubicBezTo>
                  <a:pt x="6459982" y="6227242"/>
                  <a:pt x="6459616" y="6227242"/>
                  <a:pt x="6459616" y="6227242"/>
                </a:cubicBezTo>
                <a:cubicBezTo>
                  <a:pt x="6459254" y="6227242"/>
                  <a:pt x="6459254" y="6227242"/>
                  <a:pt x="6459254" y="6226880"/>
                </a:cubicBezTo>
                <a:cubicBezTo>
                  <a:pt x="6459254" y="6226518"/>
                  <a:pt x="6459254" y="6226518"/>
                  <a:pt x="6459616" y="6226518"/>
                </a:cubicBezTo>
                <a:close/>
                <a:moveTo>
                  <a:pt x="6305668" y="6226518"/>
                </a:moveTo>
                <a:cubicBezTo>
                  <a:pt x="6306034" y="6226518"/>
                  <a:pt x="6306034" y="6226518"/>
                  <a:pt x="6306034" y="6226880"/>
                </a:cubicBezTo>
                <a:cubicBezTo>
                  <a:pt x="6306034" y="6227242"/>
                  <a:pt x="6305668" y="6227242"/>
                  <a:pt x="6305668" y="6227242"/>
                </a:cubicBezTo>
                <a:cubicBezTo>
                  <a:pt x="6305306" y="6227242"/>
                  <a:pt x="6305306" y="6227242"/>
                  <a:pt x="6305306" y="6226880"/>
                </a:cubicBezTo>
                <a:cubicBezTo>
                  <a:pt x="6305306" y="6226518"/>
                  <a:pt x="6305306" y="6226518"/>
                  <a:pt x="6305668" y="6226518"/>
                </a:cubicBezTo>
                <a:close/>
                <a:moveTo>
                  <a:pt x="6152083" y="6226156"/>
                </a:moveTo>
                <a:cubicBezTo>
                  <a:pt x="6152483" y="6226156"/>
                  <a:pt x="6152811" y="6226480"/>
                  <a:pt x="6152811" y="6226884"/>
                </a:cubicBezTo>
                <a:cubicBezTo>
                  <a:pt x="6152811" y="6227284"/>
                  <a:pt x="6152483" y="6227608"/>
                  <a:pt x="6152083" y="6227608"/>
                </a:cubicBezTo>
                <a:cubicBezTo>
                  <a:pt x="6151682" y="6227608"/>
                  <a:pt x="6151358" y="6227284"/>
                  <a:pt x="6151358" y="6226884"/>
                </a:cubicBezTo>
                <a:cubicBezTo>
                  <a:pt x="6151358" y="6226480"/>
                  <a:pt x="6151682" y="6226156"/>
                  <a:pt x="6152083" y="6226156"/>
                </a:cubicBezTo>
                <a:close/>
                <a:moveTo>
                  <a:pt x="6305668" y="6072933"/>
                </a:moveTo>
                <a:cubicBezTo>
                  <a:pt x="6306034" y="6072933"/>
                  <a:pt x="6306034" y="6072933"/>
                  <a:pt x="6306034" y="6073295"/>
                </a:cubicBezTo>
                <a:cubicBezTo>
                  <a:pt x="6306034" y="6073661"/>
                  <a:pt x="6305668" y="6073661"/>
                  <a:pt x="6305668" y="6073661"/>
                </a:cubicBezTo>
                <a:cubicBezTo>
                  <a:pt x="6305306" y="6073661"/>
                  <a:pt x="6305306" y="6073661"/>
                  <a:pt x="6305306" y="6073295"/>
                </a:cubicBezTo>
                <a:cubicBezTo>
                  <a:pt x="6305306" y="6072933"/>
                  <a:pt x="6305306" y="6072933"/>
                  <a:pt x="6305668" y="6072933"/>
                </a:cubicBezTo>
                <a:close/>
                <a:moveTo>
                  <a:pt x="6152086" y="6072933"/>
                </a:moveTo>
                <a:cubicBezTo>
                  <a:pt x="6152448" y="6072933"/>
                  <a:pt x="6152448" y="6072933"/>
                  <a:pt x="6152448" y="6073295"/>
                </a:cubicBezTo>
                <a:cubicBezTo>
                  <a:pt x="6152448" y="6073661"/>
                  <a:pt x="6152086" y="6073661"/>
                  <a:pt x="6152086" y="6073661"/>
                </a:cubicBezTo>
                <a:cubicBezTo>
                  <a:pt x="6151724" y="6073661"/>
                  <a:pt x="6151724" y="6073661"/>
                  <a:pt x="6151724" y="6073295"/>
                </a:cubicBezTo>
                <a:cubicBezTo>
                  <a:pt x="6151724" y="6072933"/>
                  <a:pt x="6151724" y="6072933"/>
                  <a:pt x="6152086" y="6072933"/>
                </a:cubicBezTo>
                <a:close/>
                <a:moveTo>
                  <a:pt x="5998136" y="6072570"/>
                </a:moveTo>
                <a:cubicBezTo>
                  <a:pt x="5998540" y="6072570"/>
                  <a:pt x="5998864" y="6072894"/>
                  <a:pt x="5998864" y="6073298"/>
                </a:cubicBezTo>
                <a:cubicBezTo>
                  <a:pt x="5998864" y="6073699"/>
                  <a:pt x="5998540" y="6074023"/>
                  <a:pt x="5998136" y="6074023"/>
                </a:cubicBezTo>
                <a:cubicBezTo>
                  <a:pt x="5997735" y="6074023"/>
                  <a:pt x="5997411" y="6073699"/>
                  <a:pt x="5997411" y="6073298"/>
                </a:cubicBezTo>
                <a:cubicBezTo>
                  <a:pt x="5997411" y="6072894"/>
                  <a:pt x="5997735" y="6072570"/>
                  <a:pt x="5998136" y="6072570"/>
                </a:cubicBezTo>
                <a:close/>
                <a:moveTo>
                  <a:pt x="6613200" y="5918985"/>
                </a:moveTo>
                <a:cubicBezTo>
                  <a:pt x="6613566" y="5918985"/>
                  <a:pt x="6613566" y="5918985"/>
                  <a:pt x="6613566" y="5919347"/>
                </a:cubicBezTo>
                <a:cubicBezTo>
                  <a:pt x="6613566" y="5919709"/>
                  <a:pt x="6613200" y="5919709"/>
                  <a:pt x="6613200" y="5919709"/>
                </a:cubicBezTo>
                <a:cubicBezTo>
                  <a:pt x="6612838" y="5919709"/>
                  <a:pt x="6612838" y="5919709"/>
                  <a:pt x="6612838" y="5919347"/>
                </a:cubicBezTo>
                <a:cubicBezTo>
                  <a:pt x="6612838" y="5918985"/>
                  <a:pt x="6612838" y="5918985"/>
                  <a:pt x="6613200" y="5918985"/>
                </a:cubicBezTo>
                <a:close/>
                <a:moveTo>
                  <a:pt x="6152086" y="5918985"/>
                </a:moveTo>
                <a:cubicBezTo>
                  <a:pt x="6152448" y="5918985"/>
                  <a:pt x="6152448" y="5918985"/>
                  <a:pt x="6152448" y="5919347"/>
                </a:cubicBezTo>
                <a:cubicBezTo>
                  <a:pt x="6152448" y="5919709"/>
                  <a:pt x="6152086" y="5919709"/>
                  <a:pt x="6152086" y="5919709"/>
                </a:cubicBezTo>
                <a:cubicBezTo>
                  <a:pt x="6151724" y="5919709"/>
                  <a:pt x="6151724" y="5919709"/>
                  <a:pt x="6151724" y="5919347"/>
                </a:cubicBezTo>
                <a:cubicBezTo>
                  <a:pt x="6151724" y="5918985"/>
                  <a:pt x="6151724" y="5918985"/>
                  <a:pt x="6152086" y="5918985"/>
                </a:cubicBezTo>
                <a:close/>
                <a:moveTo>
                  <a:pt x="5998136" y="5918985"/>
                </a:moveTo>
                <a:cubicBezTo>
                  <a:pt x="5998502" y="5918985"/>
                  <a:pt x="5998502" y="5918985"/>
                  <a:pt x="5998502" y="5919347"/>
                </a:cubicBezTo>
                <a:cubicBezTo>
                  <a:pt x="5998502" y="5919709"/>
                  <a:pt x="5998136" y="5919709"/>
                  <a:pt x="5998136" y="5919709"/>
                </a:cubicBezTo>
                <a:cubicBezTo>
                  <a:pt x="5997773" y="5919709"/>
                  <a:pt x="5997773" y="5919709"/>
                  <a:pt x="5997773" y="5919347"/>
                </a:cubicBezTo>
                <a:cubicBezTo>
                  <a:pt x="5997773" y="5918985"/>
                  <a:pt x="5997773" y="5918985"/>
                  <a:pt x="5998136" y="5918985"/>
                </a:cubicBezTo>
                <a:close/>
                <a:moveTo>
                  <a:pt x="5844554" y="5918623"/>
                </a:moveTo>
                <a:cubicBezTo>
                  <a:pt x="5844954" y="5918623"/>
                  <a:pt x="5845278" y="5918947"/>
                  <a:pt x="5845278" y="5919347"/>
                </a:cubicBezTo>
                <a:cubicBezTo>
                  <a:pt x="5845278" y="5919751"/>
                  <a:pt x="5844954" y="5920075"/>
                  <a:pt x="5844554" y="5920075"/>
                </a:cubicBezTo>
                <a:cubicBezTo>
                  <a:pt x="5844150" y="5920075"/>
                  <a:pt x="5843826" y="5919751"/>
                  <a:pt x="5843826" y="5919347"/>
                </a:cubicBezTo>
                <a:cubicBezTo>
                  <a:pt x="5843826" y="5918947"/>
                  <a:pt x="5844150" y="5918623"/>
                  <a:pt x="5844554" y="5918623"/>
                </a:cubicBezTo>
                <a:close/>
                <a:moveTo>
                  <a:pt x="6459616" y="5765400"/>
                </a:moveTo>
                <a:cubicBezTo>
                  <a:pt x="6459982" y="5765400"/>
                  <a:pt x="6459982" y="5765400"/>
                  <a:pt x="6459982" y="5765762"/>
                </a:cubicBezTo>
                <a:cubicBezTo>
                  <a:pt x="6459982" y="5766128"/>
                  <a:pt x="6459616" y="5766128"/>
                  <a:pt x="6459616" y="5766128"/>
                </a:cubicBezTo>
                <a:cubicBezTo>
                  <a:pt x="6459254" y="5766128"/>
                  <a:pt x="6459254" y="5766128"/>
                  <a:pt x="6459254" y="5765762"/>
                </a:cubicBezTo>
                <a:cubicBezTo>
                  <a:pt x="6459254" y="5765400"/>
                  <a:pt x="6459254" y="5765400"/>
                  <a:pt x="6459616" y="5765400"/>
                </a:cubicBezTo>
                <a:close/>
                <a:moveTo>
                  <a:pt x="5998136" y="5765400"/>
                </a:moveTo>
                <a:cubicBezTo>
                  <a:pt x="5998502" y="5765400"/>
                  <a:pt x="5998502" y="5765400"/>
                  <a:pt x="5998502" y="5765762"/>
                </a:cubicBezTo>
                <a:cubicBezTo>
                  <a:pt x="5998502" y="5766128"/>
                  <a:pt x="5998136" y="5766128"/>
                  <a:pt x="5998136" y="5766128"/>
                </a:cubicBezTo>
                <a:cubicBezTo>
                  <a:pt x="5997773" y="5766128"/>
                  <a:pt x="5997773" y="5766128"/>
                  <a:pt x="5997773" y="5765762"/>
                </a:cubicBezTo>
                <a:cubicBezTo>
                  <a:pt x="5997773" y="5765400"/>
                  <a:pt x="5997773" y="5765400"/>
                  <a:pt x="5998136" y="5765400"/>
                </a:cubicBezTo>
                <a:close/>
                <a:moveTo>
                  <a:pt x="5844550" y="5765400"/>
                </a:moveTo>
                <a:cubicBezTo>
                  <a:pt x="5844916" y="5765400"/>
                  <a:pt x="5844916" y="5765400"/>
                  <a:pt x="5844916" y="5765762"/>
                </a:cubicBezTo>
                <a:cubicBezTo>
                  <a:pt x="5844916" y="5766128"/>
                  <a:pt x="5844550" y="5766128"/>
                  <a:pt x="5844550" y="5766128"/>
                </a:cubicBezTo>
                <a:cubicBezTo>
                  <a:pt x="5844188" y="5766128"/>
                  <a:pt x="5844188" y="5766128"/>
                  <a:pt x="5844188" y="5765762"/>
                </a:cubicBezTo>
                <a:cubicBezTo>
                  <a:pt x="5844188" y="5765400"/>
                  <a:pt x="5844188" y="5765400"/>
                  <a:pt x="5844550" y="5765400"/>
                </a:cubicBezTo>
                <a:close/>
                <a:moveTo>
                  <a:pt x="5690602" y="5765038"/>
                </a:moveTo>
                <a:cubicBezTo>
                  <a:pt x="5691003" y="5765038"/>
                  <a:pt x="5691331" y="5765362"/>
                  <a:pt x="5691331" y="5765766"/>
                </a:cubicBezTo>
                <a:cubicBezTo>
                  <a:pt x="5691331" y="5766166"/>
                  <a:pt x="5691003" y="5766490"/>
                  <a:pt x="5690602" y="5766490"/>
                </a:cubicBezTo>
                <a:cubicBezTo>
                  <a:pt x="5690202" y="5766490"/>
                  <a:pt x="5689874" y="5766166"/>
                  <a:pt x="5689874" y="5765766"/>
                </a:cubicBezTo>
                <a:cubicBezTo>
                  <a:pt x="5689874" y="5765362"/>
                  <a:pt x="5690202" y="5765038"/>
                  <a:pt x="5690602" y="5765038"/>
                </a:cubicBezTo>
                <a:close/>
                <a:moveTo>
                  <a:pt x="6613200" y="5764313"/>
                </a:moveTo>
                <a:cubicBezTo>
                  <a:pt x="6614005" y="5764313"/>
                  <a:pt x="6614653" y="5764965"/>
                  <a:pt x="6614653" y="5765766"/>
                </a:cubicBezTo>
                <a:cubicBezTo>
                  <a:pt x="6614653" y="5766566"/>
                  <a:pt x="6614005" y="5767218"/>
                  <a:pt x="6613200" y="5767218"/>
                </a:cubicBezTo>
                <a:cubicBezTo>
                  <a:pt x="6612400" y="5767218"/>
                  <a:pt x="6611752" y="5766566"/>
                  <a:pt x="6611752" y="5765766"/>
                </a:cubicBezTo>
                <a:cubicBezTo>
                  <a:pt x="6611752" y="5764965"/>
                  <a:pt x="6612400" y="5764313"/>
                  <a:pt x="6613200" y="5764313"/>
                </a:cubicBezTo>
                <a:close/>
                <a:moveTo>
                  <a:pt x="6305668" y="5611452"/>
                </a:moveTo>
                <a:cubicBezTo>
                  <a:pt x="6305870" y="5611452"/>
                  <a:pt x="6306034" y="5611616"/>
                  <a:pt x="6306034" y="5611815"/>
                </a:cubicBezTo>
                <a:cubicBezTo>
                  <a:pt x="6306034" y="5612017"/>
                  <a:pt x="6305870" y="5612177"/>
                  <a:pt x="6305668" y="5612177"/>
                </a:cubicBezTo>
                <a:cubicBezTo>
                  <a:pt x="6305470" y="5612177"/>
                  <a:pt x="6305306" y="5612017"/>
                  <a:pt x="6305306" y="5611815"/>
                </a:cubicBezTo>
                <a:cubicBezTo>
                  <a:pt x="6305306" y="5611616"/>
                  <a:pt x="6305470" y="5611452"/>
                  <a:pt x="6305668" y="5611452"/>
                </a:cubicBezTo>
                <a:close/>
                <a:moveTo>
                  <a:pt x="5844550" y="5611452"/>
                </a:moveTo>
                <a:cubicBezTo>
                  <a:pt x="5844916" y="5611452"/>
                  <a:pt x="5844916" y="5611452"/>
                  <a:pt x="5844916" y="5611815"/>
                </a:cubicBezTo>
                <a:cubicBezTo>
                  <a:pt x="5844916" y="5612181"/>
                  <a:pt x="5844550" y="5612181"/>
                  <a:pt x="5844550" y="5612181"/>
                </a:cubicBezTo>
                <a:cubicBezTo>
                  <a:pt x="5844188" y="5612181"/>
                  <a:pt x="5844188" y="5612181"/>
                  <a:pt x="5844188" y="5611815"/>
                </a:cubicBezTo>
                <a:cubicBezTo>
                  <a:pt x="5844188" y="5611452"/>
                  <a:pt x="5844188" y="5611452"/>
                  <a:pt x="5844550" y="5611452"/>
                </a:cubicBezTo>
                <a:close/>
                <a:moveTo>
                  <a:pt x="5690606" y="5611452"/>
                </a:moveTo>
                <a:cubicBezTo>
                  <a:pt x="5690972" y="5611452"/>
                  <a:pt x="5690972" y="5611452"/>
                  <a:pt x="5690972" y="5611815"/>
                </a:cubicBezTo>
                <a:cubicBezTo>
                  <a:pt x="5690972" y="5612181"/>
                  <a:pt x="5690606" y="5612181"/>
                  <a:pt x="5690606" y="5612181"/>
                </a:cubicBezTo>
                <a:cubicBezTo>
                  <a:pt x="5690244" y="5612181"/>
                  <a:pt x="5690244" y="5612181"/>
                  <a:pt x="5690244" y="5611815"/>
                </a:cubicBezTo>
                <a:cubicBezTo>
                  <a:pt x="5690244" y="5611452"/>
                  <a:pt x="5690244" y="5611452"/>
                  <a:pt x="5690606" y="5611452"/>
                </a:cubicBezTo>
                <a:close/>
                <a:moveTo>
                  <a:pt x="5537021" y="5611090"/>
                </a:moveTo>
                <a:cubicBezTo>
                  <a:pt x="5537422" y="5611090"/>
                  <a:pt x="5537750" y="5611414"/>
                  <a:pt x="5537750" y="5611815"/>
                </a:cubicBezTo>
                <a:cubicBezTo>
                  <a:pt x="5537750" y="5612219"/>
                  <a:pt x="5537422" y="5612543"/>
                  <a:pt x="5537021" y="5612543"/>
                </a:cubicBezTo>
                <a:cubicBezTo>
                  <a:pt x="5536621" y="5612543"/>
                  <a:pt x="5536297" y="5612219"/>
                  <a:pt x="5536297" y="5611815"/>
                </a:cubicBezTo>
                <a:cubicBezTo>
                  <a:pt x="5536297" y="5611414"/>
                  <a:pt x="5536621" y="5611090"/>
                  <a:pt x="5537021" y="5611090"/>
                </a:cubicBezTo>
                <a:close/>
                <a:moveTo>
                  <a:pt x="6459616" y="5610366"/>
                </a:moveTo>
                <a:cubicBezTo>
                  <a:pt x="6460420" y="5610366"/>
                  <a:pt x="6461068" y="5611018"/>
                  <a:pt x="6461068" y="5611818"/>
                </a:cubicBezTo>
                <a:cubicBezTo>
                  <a:pt x="6461068" y="5612619"/>
                  <a:pt x="6460420" y="5613271"/>
                  <a:pt x="6459616" y="5613271"/>
                </a:cubicBezTo>
                <a:cubicBezTo>
                  <a:pt x="6458815" y="5613271"/>
                  <a:pt x="6458163" y="5612619"/>
                  <a:pt x="6458163" y="5611818"/>
                </a:cubicBezTo>
                <a:cubicBezTo>
                  <a:pt x="6458163" y="5611018"/>
                  <a:pt x="6458815" y="5610366"/>
                  <a:pt x="6459616" y="5610366"/>
                </a:cubicBezTo>
                <a:close/>
                <a:moveTo>
                  <a:pt x="6613200" y="5609638"/>
                </a:moveTo>
                <a:cubicBezTo>
                  <a:pt x="6614406" y="5609638"/>
                  <a:pt x="6615381" y="5610614"/>
                  <a:pt x="6615381" y="5611815"/>
                </a:cubicBezTo>
                <a:cubicBezTo>
                  <a:pt x="6615381" y="5613019"/>
                  <a:pt x="6614406" y="5613995"/>
                  <a:pt x="6613200" y="5613995"/>
                </a:cubicBezTo>
                <a:cubicBezTo>
                  <a:pt x="6612000" y="5613995"/>
                  <a:pt x="6611024" y="5613019"/>
                  <a:pt x="6611024" y="5611815"/>
                </a:cubicBezTo>
                <a:cubicBezTo>
                  <a:pt x="6611024" y="5610614"/>
                  <a:pt x="6612000" y="5609638"/>
                  <a:pt x="6613200" y="5609638"/>
                </a:cubicBezTo>
                <a:close/>
                <a:moveTo>
                  <a:pt x="6152086" y="5457871"/>
                </a:moveTo>
                <a:cubicBezTo>
                  <a:pt x="6152448" y="5457871"/>
                  <a:pt x="6152448" y="5457871"/>
                  <a:pt x="6152448" y="5458233"/>
                </a:cubicBezTo>
                <a:cubicBezTo>
                  <a:pt x="6152448" y="5458595"/>
                  <a:pt x="6152086" y="5458595"/>
                  <a:pt x="6152086" y="5458595"/>
                </a:cubicBezTo>
                <a:cubicBezTo>
                  <a:pt x="6151724" y="5458595"/>
                  <a:pt x="6151724" y="5458595"/>
                  <a:pt x="6151724" y="5458233"/>
                </a:cubicBezTo>
                <a:cubicBezTo>
                  <a:pt x="6151724" y="5457871"/>
                  <a:pt x="6151724" y="5457871"/>
                  <a:pt x="6152086" y="5457871"/>
                </a:cubicBezTo>
                <a:close/>
                <a:moveTo>
                  <a:pt x="5690606" y="5457871"/>
                </a:moveTo>
                <a:cubicBezTo>
                  <a:pt x="5690972" y="5457871"/>
                  <a:pt x="5690972" y="5457871"/>
                  <a:pt x="5690972" y="5458233"/>
                </a:cubicBezTo>
                <a:cubicBezTo>
                  <a:pt x="5690972" y="5458595"/>
                  <a:pt x="5690606" y="5458595"/>
                  <a:pt x="5690606" y="5458595"/>
                </a:cubicBezTo>
                <a:cubicBezTo>
                  <a:pt x="5690244" y="5458595"/>
                  <a:pt x="5690244" y="5458595"/>
                  <a:pt x="5690244" y="5458233"/>
                </a:cubicBezTo>
                <a:cubicBezTo>
                  <a:pt x="5690244" y="5457871"/>
                  <a:pt x="5690244" y="5457871"/>
                  <a:pt x="5690606" y="5457871"/>
                </a:cubicBezTo>
                <a:close/>
                <a:moveTo>
                  <a:pt x="5536659" y="5457871"/>
                </a:moveTo>
                <a:cubicBezTo>
                  <a:pt x="5537021" y="5457871"/>
                  <a:pt x="5537021" y="5457871"/>
                  <a:pt x="5537021" y="5458233"/>
                </a:cubicBezTo>
                <a:cubicBezTo>
                  <a:pt x="5537021" y="5458595"/>
                  <a:pt x="5536659" y="5458595"/>
                  <a:pt x="5536659" y="5458595"/>
                </a:cubicBezTo>
                <a:cubicBezTo>
                  <a:pt x="5536297" y="5458595"/>
                  <a:pt x="5536297" y="5458595"/>
                  <a:pt x="5536297" y="5458233"/>
                </a:cubicBezTo>
                <a:cubicBezTo>
                  <a:pt x="5536297" y="5457871"/>
                  <a:pt x="5536297" y="5457871"/>
                  <a:pt x="5536659" y="5457871"/>
                </a:cubicBezTo>
                <a:close/>
                <a:moveTo>
                  <a:pt x="5383078" y="5457505"/>
                </a:moveTo>
                <a:cubicBezTo>
                  <a:pt x="5383478" y="5457505"/>
                  <a:pt x="5383802" y="5457829"/>
                  <a:pt x="5383802" y="5458233"/>
                </a:cubicBezTo>
                <a:cubicBezTo>
                  <a:pt x="5383802" y="5458633"/>
                  <a:pt x="5383478" y="5458957"/>
                  <a:pt x="5383078" y="5458957"/>
                </a:cubicBezTo>
                <a:cubicBezTo>
                  <a:pt x="5382674" y="5458957"/>
                  <a:pt x="5382350" y="5458633"/>
                  <a:pt x="5382350" y="5458233"/>
                </a:cubicBezTo>
                <a:cubicBezTo>
                  <a:pt x="5382350" y="5457829"/>
                  <a:pt x="5382674" y="5457505"/>
                  <a:pt x="5383078" y="5457505"/>
                </a:cubicBezTo>
                <a:close/>
                <a:moveTo>
                  <a:pt x="6305668" y="5456781"/>
                </a:moveTo>
                <a:cubicBezTo>
                  <a:pt x="6306472" y="5456781"/>
                  <a:pt x="6307120" y="5457433"/>
                  <a:pt x="6307120" y="5458233"/>
                </a:cubicBezTo>
                <a:cubicBezTo>
                  <a:pt x="6307120" y="5459034"/>
                  <a:pt x="6306472" y="5459685"/>
                  <a:pt x="6305668" y="5459685"/>
                </a:cubicBezTo>
                <a:cubicBezTo>
                  <a:pt x="6304868" y="5459685"/>
                  <a:pt x="6304216" y="5459034"/>
                  <a:pt x="6304216" y="5458233"/>
                </a:cubicBezTo>
                <a:cubicBezTo>
                  <a:pt x="6304216" y="5457433"/>
                  <a:pt x="6304868" y="5456781"/>
                  <a:pt x="6305668" y="5456781"/>
                </a:cubicBezTo>
                <a:close/>
                <a:moveTo>
                  <a:pt x="6459619" y="5456053"/>
                </a:moveTo>
                <a:cubicBezTo>
                  <a:pt x="6460820" y="5456053"/>
                  <a:pt x="6461796" y="5457029"/>
                  <a:pt x="6461796" y="5458233"/>
                </a:cubicBezTo>
                <a:cubicBezTo>
                  <a:pt x="6461796" y="5459434"/>
                  <a:pt x="6460820" y="5460410"/>
                  <a:pt x="6459619" y="5460410"/>
                </a:cubicBezTo>
                <a:cubicBezTo>
                  <a:pt x="6458414" y="5460410"/>
                  <a:pt x="6457439" y="5459434"/>
                  <a:pt x="6457439" y="5458233"/>
                </a:cubicBezTo>
                <a:cubicBezTo>
                  <a:pt x="6457439" y="5457029"/>
                  <a:pt x="6458414" y="5456053"/>
                  <a:pt x="6459619" y="5456053"/>
                </a:cubicBezTo>
                <a:close/>
                <a:moveTo>
                  <a:pt x="6613200" y="5454966"/>
                </a:moveTo>
                <a:cubicBezTo>
                  <a:pt x="6615015" y="5454966"/>
                  <a:pt x="6616468" y="5456419"/>
                  <a:pt x="6616468" y="5458233"/>
                </a:cubicBezTo>
                <a:cubicBezTo>
                  <a:pt x="6616468" y="5460048"/>
                  <a:pt x="6615015" y="5461500"/>
                  <a:pt x="6613200" y="5461500"/>
                </a:cubicBezTo>
                <a:cubicBezTo>
                  <a:pt x="6611386" y="5461500"/>
                  <a:pt x="6609934" y="5460048"/>
                  <a:pt x="6609934" y="5458233"/>
                </a:cubicBezTo>
                <a:cubicBezTo>
                  <a:pt x="6609934" y="5456419"/>
                  <a:pt x="6611386" y="5454966"/>
                  <a:pt x="6613200" y="5454966"/>
                </a:cubicBezTo>
                <a:close/>
                <a:moveTo>
                  <a:pt x="5998136" y="5303924"/>
                </a:moveTo>
                <a:cubicBezTo>
                  <a:pt x="5998502" y="5303924"/>
                  <a:pt x="5998502" y="5303924"/>
                  <a:pt x="5998502" y="5304286"/>
                </a:cubicBezTo>
                <a:cubicBezTo>
                  <a:pt x="5998502" y="5304652"/>
                  <a:pt x="5998136" y="5304652"/>
                  <a:pt x="5998136" y="5304652"/>
                </a:cubicBezTo>
                <a:cubicBezTo>
                  <a:pt x="5997773" y="5304652"/>
                  <a:pt x="5997773" y="5304652"/>
                  <a:pt x="5997773" y="5304286"/>
                </a:cubicBezTo>
                <a:cubicBezTo>
                  <a:pt x="5997773" y="5303924"/>
                  <a:pt x="5997773" y="5303924"/>
                  <a:pt x="5998136" y="5303924"/>
                </a:cubicBezTo>
                <a:close/>
                <a:moveTo>
                  <a:pt x="5536659" y="5303924"/>
                </a:moveTo>
                <a:cubicBezTo>
                  <a:pt x="5537021" y="5303924"/>
                  <a:pt x="5537021" y="5303924"/>
                  <a:pt x="5537021" y="5304286"/>
                </a:cubicBezTo>
                <a:cubicBezTo>
                  <a:pt x="5537021" y="5304652"/>
                  <a:pt x="5536659" y="5304652"/>
                  <a:pt x="5536659" y="5304652"/>
                </a:cubicBezTo>
                <a:cubicBezTo>
                  <a:pt x="5536297" y="5304652"/>
                  <a:pt x="5536297" y="5304652"/>
                  <a:pt x="5536297" y="5304286"/>
                </a:cubicBezTo>
                <a:cubicBezTo>
                  <a:pt x="5536297" y="5303924"/>
                  <a:pt x="5536297" y="5303924"/>
                  <a:pt x="5536659" y="5303924"/>
                </a:cubicBezTo>
                <a:close/>
                <a:moveTo>
                  <a:pt x="5383074" y="5303924"/>
                </a:moveTo>
                <a:cubicBezTo>
                  <a:pt x="5383436" y="5303924"/>
                  <a:pt x="5383436" y="5303924"/>
                  <a:pt x="5383436" y="5304286"/>
                </a:cubicBezTo>
                <a:cubicBezTo>
                  <a:pt x="5383436" y="5304652"/>
                  <a:pt x="5383074" y="5304652"/>
                  <a:pt x="5383074" y="5304652"/>
                </a:cubicBezTo>
                <a:cubicBezTo>
                  <a:pt x="5382712" y="5304652"/>
                  <a:pt x="5382712" y="5304652"/>
                  <a:pt x="5382712" y="5304286"/>
                </a:cubicBezTo>
                <a:cubicBezTo>
                  <a:pt x="5382712" y="5303924"/>
                  <a:pt x="5382712" y="5303924"/>
                  <a:pt x="5383074" y="5303924"/>
                </a:cubicBezTo>
                <a:close/>
                <a:moveTo>
                  <a:pt x="5229126" y="5303558"/>
                </a:moveTo>
                <a:cubicBezTo>
                  <a:pt x="5229492" y="5303558"/>
                  <a:pt x="5229854" y="5303920"/>
                  <a:pt x="5229854" y="5304282"/>
                </a:cubicBezTo>
                <a:cubicBezTo>
                  <a:pt x="5229854" y="5304648"/>
                  <a:pt x="5229126" y="5305010"/>
                  <a:pt x="5229126" y="5305010"/>
                </a:cubicBezTo>
                <a:cubicBezTo>
                  <a:pt x="5228764" y="5305010"/>
                  <a:pt x="5228402" y="5304648"/>
                  <a:pt x="5228402" y="5304282"/>
                </a:cubicBezTo>
                <a:cubicBezTo>
                  <a:pt x="5228402" y="5303920"/>
                  <a:pt x="5228764" y="5303558"/>
                  <a:pt x="5229126" y="5303558"/>
                </a:cubicBezTo>
                <a:close/>
                <a:moveTo>
                  <a:pt x="6152086" y="5302833"/>
                </a:moveTo>
                <a:cubicBezTo>
                  <a:pt x="6152891" y="5302833"/>
                  <a:pt x="6153539" y="5303485"/>
                  <a:pt x="6153539" y="5304286"/>
                </a:cubicBezTo>
                <a:cubicBezTo>
                  <a:pt x="6153539" y="5305086"/>
                  <a:pt x="6152891" y="5305738"/>
                  <a:pt x="6152086" y="5305738"/>
                </a:cubicBezTo>
                <a:cubicBezTo>
                  <a:pt x="6151286" y="5305738"/>
                  <a:pt x="6150638" y="5305086"/>
                  <a:pt x="6150638" y="5304286"/>
                </a:cubicBezTo>
                <a:cubicBezTo>
                  <a:pt x="6150638" y="5303485"/>
                  <a:pt x="6151286" y="5302833"/>
                  <a:pt x="6152086" y="5302833"/>
                </a:cubicBezTo>
                <a:close/>
                <a:moveTo>
                  <a:pt x="6305672" y="5302105"/>
                </a:moveTo>
                <a:cubicBezTo>
                  <a:pt x="6306872" y="5302105"/>
                  <a:pt x="6307848" y="5303081"/>
                  <a:pt x="6307848" y="5304282"/>
                </a:cubicBezTo>
                <a:cubicBezTo>
                  <a:pt x="6307848" y="5305487"/>
                  <a:pt x="6306872" y="5306462"/>
                  <a:pt x="6305672" y="5306462"/>
                </a:cubicBezTo>
                <a:cubicBezTo>
                  <a:pt x="6304468" y="5306462"/>
                  <a:pt x="6303492" y="5305487"/>
                  <a:pt x="6303492" y="5304282"/>
                </a:cubicBezTo>
                <a:cubicBezTo>
                  <a:pt x="6303492" y="5303081"/>
                  <a:pt x="6304468" y="5302105"/>
                  <a:pt x="6305672" y="5302105"/>
                </a:cubicBezTo>
                <a:close/>
                <a:moveTo>
                  <a:pt x="6459619" y="5301019"/>
                </a:moveTo>
                <a:cubicBezTo>
                  <a:pt x="6461434" y="5301019"/>
                  <a:pt x="6462882" y="5302471"/>
                  <a:pt x="6462882" y="5304286"/>
                </a:cubicBezTo>
                <a:cubicBezTo>
                  <a:pt x="6462882" y="5306100"/>
                  <a:pt x="6461434" y="5307553"/>
                  <a:pt x="6459619" y="5307553"/>
                </a:cubicBezTo>
                <a:cubicBezTo>
                  <a:pt x="6457801" y="5307553"/>
                  <a:pt x="6456348" y="5306100"/>
                  <a:pt x="6456348" y="5304286"/>
                </a:cubicBezTo>
                <a:cubicBezTo>
                  <a:pt x="6456348" y="5302471"/>
                  <a:pt x="6457801" y="5301019"/>
                  <a:pt x="6459619" y="5301019"/>
                </a:cubicBezTo>
                <a:close/>
                <a:moveTo>
                  <a:pt x="6613200" y="5299929"/>
                </a:moveTo>
                <a:cubicBezTo>
                  <a:pt x="6615743" y="5299929"/>
                  <a:pt x="6617558" y="5301743"/>
                  <a:pt x="6617558" y="5304286"/>
                </a:cubicBezTo>
                <a:cubicBezTo>
                  <a:pt x="6617558" y="5306828"/>
                  <a:pt x="6615378" y="5308643"/>
                  <a:pt x="6613200" y="5308643"/>
                </a:cubicBezTo>
                <a:cubicBezTo>
                  <a:pt x="6610658" y="5308643"/>
                  <a:pt x="6608844" y="5306828"/>
                  <a:pt x="6608844" y="5304286"/>
                </a:cubicBezTo>
                <a:cubicBezTo>
                  <a:pt x="6608844" y="5301743"/>
                  <a:pt x="6610658" y="5299929"/>
                  <a:pt x="6613200" y="5299929"/>
                </a:cubicBezTo>
                <a:close/>
                <a:moveTo>
                  <a:pt x="5844550" y="5150338"/>
                </a:moveTo>
                <a:cubicBezTo>
                  <a:pt x="5844916" y="5150338"/>
                  <a:pt x="5844916" y="5150338"/>
                  <a:pt x="5844916" y="5150700"/>
                </a:cubicBezTo>
                <a:cubicBezTo>
                  <a:pt x="5844916" y="5151063"/>
                  <a:pt x="5844550" y="5151063"/>
                  <a:pt x="5844550" y="5151063"/>
                </a:cubicBezTo>
                <a:cubicBezTo>
                  <a:pt x="5844188" y="5151063"/>
                  <a:pt x="5844188" y="5151063"/>
                  <a:pt x="5844188" y="5150700"/>
                </a:cubicBezTo>
                <a:cubicBezTo>
                  <a:pt x="5844188" y="5150338"/>
                  <a:pt x="5844188" y="5150338"/>
                  <a:pt x="5844550" y="5150338"/>
                </a:cubicBezTo>
                <a:close/>
                <a:moveTo>
                  <a:pt x="5383074" y="5150338"/>
                </a:moveTo>
                <a:cubicBezTo>
                  <a:pt x="5383436" y="5150338"/>
                  <a:pt x="5383436" y="5150338"/>
                  <a:pt x="5383436" y="5150700"/>
                </a:cubicBezTo>
                <a:cubicBezTo>
                  <a:pt x="5383436" y="5151063"/>
                  <a:pt x="5383074" y="5151063"/>
                  <a:pt x="5383074" y="5151063"/>
                </a:cubicBezTo>
                <a:cubicBezTo>
                  <a:pt x="5382712" y="5151063"/>
                  <a:pt x="5382712" y="5151063"/>
                  <a:pt x="5382712" y="5150700"/>
                </a:cubicBezTo>
                <a:cubicBezTo>
                  <a:pt x="5382712" y="5150338"/>
                  <a:pt x="5382712" y="5150338"/>
                  <a:pt x="5383074" y="5150338"/>
                </a:cubicBezTo>
                <a:close/>
                <a:moveTo>
                  <a:pt x="5229126" y="5150338"/>
                </a:moveTo>
                <a:cubicBezTo>
                  <a:pt x="5229488" y="5150338"/>
                  <a:pt x="5229488" y="5150338"/>
                  <a:pt x="5229488" y="5150700"/>
                </a:cubicBezTo>
                <a:cubicBezTo>
                  <a:pt x="5229488" y="5151063"/>
                  <a:pt x="5229126" y="5151063"/>
                  <a:pt x="5229126" y="5151063"/>
                </a:cubicBezTo>
                <a:cubicBezTo>
                  <a:pt x="5228764" y="5151063"/>
                  <a:pt x="5228764" y="5151063"/>
                  <a:pt x="5228764" y="5150700"/>
                </a:cubicBezTo>
                <a:cubicBezTo>
                  <a:pt x="5228764" y="5150338"/>
                  <a:pt x="5228764" y="5150338"/>
                  <a:pt x="5229126" y="5150338"/>
                </a:cubicBezTo>
                <a:close/>
                <a:moveTo>
                  <a:pt x="5075545" y="5149972"/>
                </a:moveTo>
                <a:cubicBezTo>
                  <a:pt x="5075907" y="5149972"/>
                  <a:pt x="5076270" y="5150335"/>
                  <a:pt x="5076270" y="5150700"/>
                </a:cubicBezTo>
                <a:cubicBezTo>
                  <a:pt x="5076270" y="5151063"/>
                  <a:pt x="5075545" y="5151425"/>
                  <a:pt x="5075545" y="5151425"/>
                </a:cubicBezTo>
                <a:cubicBezTo>
                  <a:pt x="5075179" y="5151425"/>
                  <a:pt x="5074817" y="5151063"/>
                  <a:pt x="5074817" y="5150700"/>
                </a:cubicBezTo>
                <a:cubicBezTo>
                  <a:pt x="5074817" y="5150335"/>
                  <a:pt x="5075179" y="5149972"/>
                  <a:pt x="5075545" y="5149972"/>
                </a:cubicBezTo>
                <a:close/>
                <a:moveTo>
                  <a:pt x="5998139" y="5149248"/>
                </a:moveTo>
                <a:cubicBezTo>
                  <a:pt x="5998944" y="5149248"/>
                  <a:pt x="5999592" y="5149900"/>
                  <a:pt x="5999592" y="5150700"/>
                </a:cubicBezTo>
                <a:cubicBezTo>
                  <a:pt x="5999592" y="5151501"/>
                  <a:pt x="5998944" y="5152153"/>
                  <a:pt x="5998139" y="5152153"/>
                </a:cubicBezTo>
                <a:cubicBezTo>
                  <a:pt x="5997338" y="5152153"/>
                  <a:pt x="5996690" y="5151501"/>
                  <a:pt x="5996690" y="5150700"/>
                </a:cubicBezTo>
                <a:cubicBezTo>
                  <a:pt x="5996690" y="5149900"/>
                  <a:pt x="5997338" y="5149248"/>
                  <a:pt x="5998139" y="5149248"/>
                </a:cubicBezTo>
                <a:close/>
                <a:moveTo>
                  <a:pt x="6152083" y="5148524"/>
                </a:moveTo>
                <a:cubicBezTo>
                  <a:pt x="6153288" y="5148524"/>
                  <a:pt x="6154263" y="5149500"/>
                  <a:pt x="6154263" y="5150704"/>
                </a:cubicBezTo>
                <a:cubicBezTo>
                  <a:pt x="6154263" y="5151905"/>
                  <a:pt x="6153288" y="5152881"/>
                  <a:pt x="6152083" y="5152881"/>
                </a:cubicBezTo>
                <a:cubicBezTo>
                  <a:pt x="6150882" y="5152881"/>
                  <a:pt x="6149906" y="5151905"/>
                  <a:pt x="6149906" y="5150704"/>
                </a:cubicBezTo>
                <a:cubicBezTo>
                  <a:pt x="6149906" y="5149500"/>
                  <a:pt x="6150882" y="5148524"/>
                  <a:pt x="6152083" y="5148524"/>
                </a:cubicBezTo>
                <a:close/>
                <a:moveTo>
                  <a:pt x="6305672" y="5147434"/>
                </a:moveTo>
                <a:cubicBezTo>
                  <a:pt x="6307486" y="5147434"/>
                  <a:pt x="6308935" y="5148886"/>
                  <a:pt x="6308935" y="5150700"/>
                </a:cubicBezTo>
                <a:cubicBezTo>
                  <a:pt x="6308935" y="5152515"/>
                  <a:pt x="6307486" y="5153967"/>
                  <a:pt x="6305672" y="5153967"/>
                </a:cubicBezTo>
                <a:cubicBezTo>
                  <a:pt x="6303854" y="5153967"/>
                  <a:pt x="6302401" y="5152515"/>
                  <a:pt x="6302401" y="5150700"/>
                </a:cubicBezTo>
                <a:cubicBezTo>
                  <a:pt x="6302401" y="5148886"/>
                  <a:pt x="6303854" y="5147434"/>
                  <a:pt x="6305672" y="5147434"/>
                </a:cubicBezTo>
                <a:close/>
                <a:moveTo>
                  <a:pt x="6459616" y="5145981"/>
                </a:moveTo>
                <a:cubicBezTo>
                  <a:pt x="6462158" y="5145981"/>
                  <a:pt x="6463972" y="5147796"/>
                  <a:pt x="6463972" y="5150338"/>
                </a:cubicBezTo>
                <a:cubicBezTo>
                  <a:pt x="6463972" y="5152881"/>
                  <a:pt x="6461792" y="5154695"/>
                  <a:pt x="6459616" y="5154695"/>
                </a:cubicBezTo>
                <a:cubicBezTo>
                  <a:pt x="6457073" y="5154695"/>
                  <a:pt x="6455258" y="5152881"/>
                  <a:pt x="6455258" y="5150338"/>
                </a:cubicBezTo>
                <a:cubicBezTo>
                  <a:pt x="6455258" y="5147796"/>
                  <a:pt x="6457073" y="5145981"/>
                  <a:pt x="6459616" y="5145981"/>
                </a:cubicBezTo>
                <a:close/>
                <a:moveTo>
                  <a:pt x="6613200" y="5144891"/>
                </a:moveTo>
                <a:cubicBezTo>
                  <a:pt x="6616410" y="5144891"/>
                  <a:pt x="6619010" y="5147491"/>
                  <a:pt x="6619010" y="5150700"/>
                </a:cubicBezTo>
                <a:cubicBezTo>
                  <a:pt x="6619010" y="5153910"/>
                  <a:pt x="6616410" y="5156510"/>
                  <a:pt x="6613200" y="5156510"/>
                </a:cubicBezTo>
                <a:cubicBezTo>
                  <a:pt x="6609995" y="5156510"/>
                  <a:pt x="6607395" y="5153910"/>
                  <a:pt x="6607395" y="5150700"/>
                </a:cubicBezTo>
                <a:cubicBezTo>
                  <a:pt x="6607395" y="5147491"/>
                  <a:pt x="6609995" y="5144891"/>
                  <a:pt x="6613200" y="5144891"/>
                </a:cubicBezTo>
                <a:close/>
                <a:moveTo>
                  <a:pt x="5690606" y="4996391"/>
                </a:moveTo>
                <a:cubicBezTo>
                  <a:pt x="5690972" y="4996391"/>
                  <a:pt x="5690972" y="4996391"/>
                  <a:pt x="5690972" y="4996753"/>
                </a:cubicBezTo>
                <a:cubicBezTo>
                  <a:pt x="5690972" y="4997119"/>
                  <a:pt x="5690606" y="4997119"/>
                  <a:pt x="5690606" y="4997119"/>
                </a:cubicBezTo>
                <a:cubicBezTo>
                  <a:pt x="5690244" y="4997119"/>
                  <a:pt x="5690244" y="4997119"/>
                  <a:pt x="5690244" y="4996753"/>
                </a:cubicBezTo>
                <a:cubicBezTo>
                  <a:pt x="5690244" y="4996391"/>
                  <a:pt x="5690244" y="4996391"/>
                  <a:pt x="5690606" y="4996391"/>
                </a:cubicBezTo>
                <a:close/>
                <a:moveTo>
                  <a:pt x="5229126" y="4996391"/>
                </a:moveTo>
                <a:cubicBezTo>
                  <a:pt x="5229488" y="4996391"/>
                  <a:pt x="5229488" y="4996391"/>
                  <a:pt x="5229488" y="4996753"/>
                </a:cubicBezTo>
                <a:cubicBezTo>
                  <a:pt x="5229488" y="4997119"/>
                  <a:pt x="5229126" y="4997119"/>
                  <a:pt x="5229126" y="4997119"/>
                </a:cubicBezTo>
                <a:cubicBezTo>
                  <a:pt x="5228764" y="4997119"/>
                  <a:pt x="5228764" y="4997119"/>
                  <a:pt x="5228764" y="4996753"/>
                </a:cubicBezTo>
                <a:cubicBezTo>
                  <a:pt x="5228764" y="4996391"/>
                  <a:pt x="5228764" y="4996391"/>
                  <a:pt x="5229126" y="4996391"/>
                </a:cubicBezTo>
                <a:close/>
                <a:moveTo>
                  <a:pt x="5075541" y="4996391"/>
                </a:moveTo>
                <a:cubicBezTo>
                  <a:pt x="5075904" y="4996391"/>
                  <a:pt x="5075904" y="4996391"/>
                  <a:pt x="5075904" y="4996753"/>
                </a:cubicBezTo>
                <a:cubicBezTo>
                  <a:pt x="5075904" y="4997119"/>
                  <a:pt x="5075541" y="4997119"/>
                  <a:pt x="5075541" y="4997119"/>
                </a:cubicBezTo>
                <a:cubicBezTo>
                  <a:pt x="5075179" y="4997119"/>
                  <a:pt x="5075179" y="4997119"/>
                  <a:pt x="5075179" y="4996753"/>
                </a:cubicBezTo>
                <a:cubicBezTo>
                  <a:pt x="5075179" y="4996391"/>
                  <a:pt x="5075179" y="4996391"/>
                  <a:pt x="5075541" y="4996391"/>
                </a:cubicBezTo>
                <a:close/>
                <a:moveTo>
                  <a:pt x="4921594" y="4996029"/>
                </a:moveTo>
                <a:cubicBezTo>
                  <a:pt x="4921960" y="4996029"/>
                  <a:pt x="4922322" y="4996391"/>
                  <a:pt x="4922322" y="4996753"/>
                </a:cubicBezTo>
                <a:cubicBezTo>
                  <a:pt x="4922322" y="4997119"/>
                  <a:pt x="4921594" y="4997481"/>
                  <a:pt x="4921594" y="4997481"/>
                </a:cubicBezTo>
                <a:cubicBezTo>
                  <a:pt x="4921232" y="4997481"/>
                  <a:pt x="4920870" y="4997119"/>
                  <a:pt x="4920870" y="4996753"/>
                </a:cubicBezTo>
                <a:cubicBezTo>
                  <a:pt x="4920870" y="4996391"/>
                  <a:pt x="4921232" y="4996029"/>
                  <a:pt x="4921594" y="4996029"/>
                </a:cubicBezTo>
                <a:close/>
                <a:moveTo>
                  <a:pt x="5844554" y="4995301"/>
                </a:moveTo>
                <a:cubicBezTo>
                  <a:pt x="5845278" y="4995301"/>
                  <a:pt x="5846006" y="4996029"/>
                  <a:pt x="5846006" y="4996753"/>
                </a:cubicBezTo>
                <a:cubicBezTo>
                  <a:pt x="5846006" y="4997477"/>
                  <a:pt x="5844554" y="4998205"/>
                  <a:pt x="5844554" y="4998205"/>
                </a:cubicBezTo>
                <a:cubicBezTo>
                  <a:pt x="5843826" y="4998205"/>
                  <a:pt x="5843102" y="4997477"/>
                  <a:pt x="5843102" y="4996753"/>
                </a:cubicBezTo>
                <a:cubicBezTo>
                  <a:pt x="5843102" y="4996029"/>
                  <a:pt x="5843826" y="4995301"/>
                  <a:pt x="5844554" y="4995301"/>
                </a:cubicBezTo>
                <a:close/>
                <a:moveTo>
                  <a:pt x="5998136" y="4994577"/>
                </a:moveTo>
                <a:cubicBezTo>
                  <a:pt x="5999340" y="4994577"/>
                  <a:pt x="6000316" y="4995552"/>
                  <a:pt x="6000316" y="4996753"/>
                </a:cubicBezTo>
                <a:cubicBezTo>
                  <a:pt x="6000316" y="4997958"/>
                  <a:pt x="5999340" y="4998934"/>
                  <a:pt x="5998136" y="4998934"/>
                </a:cubicBezTo>
                <a:cubicBezTo>
                  <a:pt x="5996934" y="4998934"/>
                  <a:pt x="5995959" y="4997958"/>
                  <a:pt x="5995959" y="4996753"/>
                </a:cubicBezTo>
                <a:cubicBezTo>
                  <a:pt x="5995959" y="4995552"/>
                  <a:pt x="5996934" y="4994577"/>
                  <a:pt x="5998136" y="4994577"/>
                </a:cubicBezTo>
                <a:close/>
                <a:moveTo>
                  <a:pt x="6152083" y="4993486"/>
                </a:moveTo>
                <a:cubicBezTo>
                  <a:pt x="6153901" y="4993486"/>
                  <a:pt x="6155350" y="4994939"/>
                  <a:pt x="6155350" y="4996753"/>
                </a:cubicBezTo>
                <a:cubicBezTo>
                  <a:pt x="6155350" y="4998568"/>
                  <a:pt x="6153901" y="5000024"/>
                  <a:pt x="6152083" y="5000024"/>
                </a:cubicBezTo>
                <a:cubicBezTo>
                  <a:pt x="6150268" y="5000024"/>
                  <a:pt x="6148816" y="4998568"/>
                  <a:pt x="6148816" y="4996753"/>
                </a:cubicBezTo>
                <a:cubicBezTo>
                  <a:pt x="6148816" y="4994939"/>
                  <a:pt x="6150268" y="4993486"/>
                  <a:pt x="6152083" y="4993486"/>
                </a:cubicBezTo>
                <a:close/>
                <a:moveTo>
                  <a:pt x="6305668" y="4992396"/>
                </a:moveTo>
                <a:cubicBezTo>
                  <a:pt x="6308210" y="4992396"/>
                  <a:pt x="6310025" y="4994211"/>
                  <a:pt x="6310025" y="4996753"/>
                </a:cubicBezTo>
                <a:cubicBezTo>
                  <a:pt x="6310025" y="4999296"/>
                  <a:pt x="6307844" y="5001110"/>
                  <a:pt x="6305668" y="5001110"/>
                </a:cubicBezTo>
                <a:cubicBezTo>
                  <a:pt x="6303126" y="5001110"/>
                  <a:pt x="6301311" y="4999296"/>
                  <a:pt x="6301311" y="4996753"/>
                </a:cubicBezTo>
                <a:cubicBezTo>
                  <a:pt x="6301311" y="4994211"/>
                  <a:pt x="6303126" y="4992396"/>
                  <a:pt x="6305668" y="4992396"/>
                </a:cubicBezTo>
                <a:close/>
                <a:moveTo>
                  <a:pt x="6459616" y="4990944"/>
                </a:moveTo>
                <a:cubicBezTo>
                  <a:pt x="6462825" y="4990944"/>
                  <a:pt x="6465425" y="4993543"/>
                  <a:pt x="6465425" y="4996753"/>
                </a:cubicBezTo>
                <a:cubicBezTo>
                  <a:pt x="6465425" y="4999963"/>
                  <a:pt x="6462821" y="5002562"/>
                  <a:pt x="6459616" y="5002562"/>
                </a:cubicBezTo>
                <a:cubicBezTo>
                  <a:pt x="6456406" y="5002562"/>
                  <a:pt x="6453806" y="4999963"/>
                  <a:pt x="6453806" y="4996753"/>
                </a:cubicBezTo>
                <a:cubicBezTo>
                  <a:pt x="6453806" y="4993543"/>
                  <a:pt x="6456410" y="4990944"/>
                  <a:pt x="6459616" y="4990944"/>
                </a:cubicBezTo>
                <a:close/>
                <a:moveTo>
                  <a:pt x="6613200" y="4989491"/>
                </a:moveTo>
                <a:cubicBezTo>
                  <a:pt x="6617196" y="4989491"/>
                  <a:pt x="6620462" y="4992758"/>
                  <a:pt x="6620462" y="4996753"/>
                </a:cubicBezTo>
                <a:cubicBezTo>
                  <a:pt x="6620462" y="5000748"/>
                  <a:pt x="6617196" y="5004015"/>
                  <a:pt x="6613200" y="5004015"/>
                </a:cubicBezTo>
                <a:cubicBezTo>
                  <a:pt x="6609210" y="5004015"/>
                  <a:pt x="6605939" y="5000748"/>
                  <a:pt x="6605939" y="4996753"/>
                </a:cubicBezTo>
                <a:cubicBezTo>
                  <a:pt x="6605939" y="4992758"/>
                  <a:pt x="6609210" y="4989491"/>
                  <a:pt x="6613200" y="4989491"/>
                </a:cubicBezTo>
                <a:close/>
                <a:moveTo>
                  <a:pt x="5536659" y="4842806"/>
                </a:moveTo>
                <a:cubicBezTo>
                  <a:pt x="5537021" y="4842806"/>
                  <a:pt x="5537021" y="4842806"/>
                  <a:pt x="5537021" y="4843168"/>
                </a:cubicBezTo>
                <a:cubicBezTo>
                  <a:pt x="5537021" y="4843530"/>
                  <a:pt x="5536659" y="4843530"/>
                  <a:pt x="5536659" y="4843530"/>
                </a:cubicBezTo>
                <a:cubicBezTo>
                  <a:pt x="5536297" y="4843530"/>
                  <a:pt x="5536297" y="4843530"/>
                  <a:pt x="5536297" y="4843168"/>
                </a:cubicBezTo>
                <a:cubicBezTo>
                  <a:pt x="5536297" y="4842806"/>
                  <a:pt x="5536297" y="4842806"/>
                  <a:pt x="5536659" y="4842806"/>
                </a:cubicBezTo>
                <a:close/>
                <a:moveTo>
                  <a:pt x="5075541" y="4842806"/>
                </a:moveTo>
                <a:cubicBezTo>
                  <a:pt x="5075904" y="4842806"/>
                  <a:pt x="5075904" y="4842806"/>
                  <a:pt x="5075904" y="4843168"/>
                </a:cubicBezTo>
                <a:cubicBezTo>
                  <a:pt x="5075904" y="4843530"/>
                  <a:pt x="5075541" y="4843530"/>
                  <a:pt x="5075541" y="4843530"/>
                </a:cubicBezTo>
                <a:cubicBezTo>
                  <a:pt x="5075179" y="4843530"/>
                  <a:pt x="5075179" y="4843530"/>
                  <a:pt x="5075179" y="4843168"/>
                </a:cubicBezTo>
                <a:cubicBezTo>
                  <a:pt x="5075179" y="4842806"/>
                  <a:pt x="5075179" y="4842806"/>
                  <a:pt x="5075541" y="4842806"/>
                </a:cubicBezTo>
                <a:close/>
                <a:moveTo>
                  <a:pt x="4921594" y="4842806"/>
                </a:moveTo>
                <a:cubicBezTo>
                  <a:pt x="4921956" y="4842806"/>
                  <a:pt x="4921956" y="4842806"/>
                  <a:pt x="4921956" y="4843168"/>
                </a:cubicBezTo>
                <a:cubicBezTo>
                  <a:pt x="4921956" y="4843530"/>
                  <a:pt x="4921594" y="4843530"/>
                  <a:pt x="4921594" y="4843530"/>
                </a:cubicBezTo>
                <a:cubicBezTo>
                  <a:pt x="4921232" y="4843530"/>
                  <a:pt x="4921232" y="4843530"/>
                  <a:pt x="4921232" y="4843168"/>
                </a:cubicBezTo>
                <a:cubicBezTo>
                  <a:pt x="4921232" y="4842806"/>
                  <a:pt x="4921232" y="4842806"/>
                  <a:pt x="4921594" y="4842806"/>
                </a:cubicBezTo>
                <a:close/>
                <a:moveTo>
                  <a:pt x="4768012" y="4842444"/>
                </a:moveTo>
                <a:cubicBezTo>
                  <a:pt x="4768374" y="4842444"/>
                  <a:pt x="4768736" y="4842806"/>
                  <a:pt x="4768736" y="4843172"/>
                </a:cubicBezTo>
                <a:cubicBezTo>
                  <a:pt x="4768736" y="4843534"/>
                  <a:pt x="4768012" y="4843896"/>
                  <a:pt x="4768012" y="4843896"/>
                </a:cubicBezTo>
                <a:cubicBezTo>
                  <a:pt x="4767646" y="4843896"/>
                  <a:pt x="4767284" y="4843534"/>
                  <a:pt x="4767284" y="4843172"/>
                </a:cubicBezTo>
                <a:cubicBezTo>
                  <a:pt x="4767284" y="4842806"/>
                  <a:pt x="4767646" y="4842444"/>
                  <a:pt x="4768012" y="4842444"/>
                </a:cubicBezTo>
                <a:close/>
                <a:moveTo>
                  <a:pt x="5690606" y="4841353"/>
                </a:moveTo>
                <a:cubicBezTo>
                  <a:pt x="5691331" y="4841353"/>
                  <a:pt x="5692059" y="4842081"/>
                  <a:pt x="5692059" y="4842806"/>
                </a:cubicBezTo>
                <a:cubicBezTo>
                  <a:pt x="5692059" y="4843530"/>
                  <a:pt x="5690606" y="4844258"/>
                  <a:pt x="5690606" y="4844258"/>
                </a:cubicBezTo>
                <a:cubicBezTo>
                  <a:pt x="5689882" y="4844258"/>
                  <a:pt x="5689154" y="4843530"/>
                  <a:pt x="5689154" y="4842806"/>
                </a:cubicBezTo>
                <a:cubicBezTo>
                  <a:pt x="5689154" y="4842081"/>
                  <a:pt x="5689882" y="4841353"/>
                  <a:pt x="5690606" y="4841353"/>
                </a:cubicBezTo>
                <a:close/>
                <a:moveTo>
                  <a:pt x="5844554" y="4840629"/>
                </a:moveTo>
                <a:cubicBezTo>
                  <a:pt x="5845754" y="4840629"/>
                  <a:pt x="5846730" y="4841605"/>
                  <a:pt x="5846730" y="4842810"/>
                </a:cubicBezTo>
                <a:cubicBezTo>
                  <a:pt x="5846730" y="4844010"/>
                  <a:pt x="5845754" y="4844986"/>
                  <a:pt x="5844554" y="4844986"/>
                </a:cubicBezTo>
                <a:cubicBezTo>
                  <a:pt x="5843350" y="4844986"/>
                  <a:pt x="5842374" y="4844010"/>
                  <a:pt x="5842374" y="4842810"/>
                </a:cubicBezTo>
                <a:cubicBezTo>
                  <a:pt x="5842374" y="4841605"/>
                  <a:pt x="5843350" y="4840629"/>
                  <a:pt x="5844554" y="4840629"/>
                </a:cubicBezTo>
                <a:close/>
                <a:moveTo>
                  <a:pt x="5998136" y="4839901"/>
                </a:moveTo>
                <a:cubicBezTo>
                  <a:pt x="5999950" y="4839901"/>
                  <a:pt x="6001402" y="4841353"/>
                  <a:pt x="6001402" y="4843168"/>
                </a:cubicBezTo>
                <a:cubicBezTo>
                  <a:pt x="6001402" y="4844982"/>
                  <a:pt x="5999950" y="4846435"/>
                  <a:pt x="5998136" y="4846435"/>
                </a:cubicBezTo>
                <a:cubicBezTo>
                  <a:pt x="5996321" y="4846435"/>
                  <a:pt x="5994868" y="4844982"/>
                  <a:pt x="5994868" y="4843168"/>
                </a:cubicBezTo>
                <a:cubicBezTo>
                  <a:pt x="5994868" y="4841353"/>
                  <a:pt x="5996321" y="4839901"/>
                  <a:pt x="5998136" y="4839901"/>
                </a:cubicBezTo>
                <a:close/>
                <a:moveTo>
                  <a:pt x="6152083" y="4838449"/>
                </a:moveTo>
                <a:cubicBezTo>
                  <a:pt x="6154626" y="4838449"/>
                  <a:pt x="6156440" y="4840263"/>
                  <a:pt x="6156440" y="4842806"/>
                </a:cubicBezTo>
                <a:cubicBezTo>
                  <a:pt x="6156440" y="4845348"/>
                  <a:pt x="6154260" y="4847163"/>
                  <a:pt x="6152083" y="4847163"/>
                </a:cubicBezTo>
                <a:cubicBezTo>
                  <a:pt x="6149544" y="4847163"/>
                  <a:pt x="6147726" y="4845348"/>
                  <a:pt x="6147726" y="4842806"/>
                </a:cubicBezTo>
                <a:cubicBezTo>
                  <a:pt x="6147726" y="4840263"/>
                  <a:pt x="6149544" y="4838449"/>
                  <a:pt x="6152083" y="4838449"/>
                </a:cubicBezTo>
                <a:close/>
                <a:moveTo>
                  <a:pt x="6305668" y="4836996"/>
                </a:moveTo>
                <a:cubicBezTo>
                  <a:pt x="6308878" y="4836996"/>
                  <a:pt x="6311478" y="4839596"/>
                  <a:pt x="6311478" y="4842806"/>
                </a:cubicBezTo>
                <a:cubicBezTo>
                  <a:pt x="6311478" y="4846015"/>
                  <a:pt x="6308874" y="4848615"/>
                  <a:pt x="6305668" y="4848615"/>
                </a:cubicBezTo>
                <a:cubicBezTo>
                  <a:pt x="6302458" y="4848615"/>
                  <a:pt x="6299858" y="4846015"/>
                  <a:pt x="6299858" y="4842806"/>
                </a:cubicBezTo>
                <a:cubicBezTo>
                  <a:pt x="6299858" y="4839596"/>
                  <a:pt x="6302462" y="4836996"/>
                  <a:pt x="6305668" y="4836996"/>
                </a:cubicBezTo>
                <a:close/>
                <a:moveTo>
                  <a:pt x="6459616" y="4835544"/>
                </a:moveTo>
                <a:cubicBezTo>
                  <a:pt x="6463610" y="4835544"/>
                  <a:pt x="6466877" y="4838811"/>
                  <a:pt x="6466877" y="4842806"/>
                </a:cubicBezTo>
                <a:cubicBezTo>
                  <a:pt x="6466877" y="4846801"/>
                  <a:pt x="6463610" y="4850067"/>
                  <a:pt x="6459616" y="4850067"/>
                </a:cubicBezTo>
                <a:cubicBezTo>
                  <a:pt x="6455624" y="4850067"/>
                  <a:pt x="6452354" y="4846801"/>
                  <a:pt x="6452354" y="4842806"/>
                </a:cubicBezTo>
                <a:cubicBezTo>
                  <a:pt x="6452354" y="4838811"/>
                  <a:pt x="6455624" y="4835544"/>
                  <a:pt x="6459616" y="4835544"/>
                </a:cubicBezTo>
                <a:close/>
                <a:moveTo>
                  <a:pt x="6613200" y="4833730"/>
                </a:moveTo>
                <a:cubicBezTo>
                  <a:pt x="6618286" y="4833730"/>
                  <a:pt x="6622280" y="4837724"/>
                  <a:pt x="6622280" y="4842806"/>
                </a:cubicBezTo>
                <a:cubicBezTo>
                  <a:pt x="6622280" y="4847891"/>
                  <a:pt x="6618286" y="4851886"/>
                  <a:pt x="6613200" y="4851886"/>
                </a:cubicBezTo>
                <a:cubicBezTo>
                  <a:pt x="6608120" y="4851886"/>
                  <a:pt x="6604124" y="4847891"/>
                  <a:pt x="6604124" y="4842806"/>
                </a:cubicBezTo>
                <a:cubicBezTo>
                  <a:pt x="6604124" y="4837724"/>
                  <a:pt x="6608120" y="4833730"/>
                  <a:pt x="6613200" y="4833730"/>
                </a:cubicBezTo>
                <a:close/>
                <a:moveTo>
                  <a:pt x="5383074" y="4688858"/>
                </a:moveTo>
                <a:cubicBezTo>
                  <a:pt x="5383436" y="4688858"/>
                  <a:pt x="5383436" y="4688858"/>
                  <a:pt x="5383436" y="4689220"/>
                </a:cubicBezTo>
                <a:cubicBezTo>
                  <a:pt x="5383436" y="4689586"/>
                  <a:pt x="5383074" y="4689586"/>
                  <a:pt x="5383074" y="4689586"/>
                </a:cubicBezTo>
                <a:cubicBezTo>
                  <a:pt x="5382712" y="4689586"/>
                  <a:pt x="5382712" y="4689586"/>
                  <a:pt x="5382712" y="4689220"/>
                </a:cubicBezTo>
                <a:cubicBezTo>
                  <a:pt x="5382712" y="4688858"/>
                  <a:pt x="5382712" y="4688858"/>
                  <a:pt x="5383074" y="4688858"/>
                </a:cubicBezTo>
                <a:close/>
                <a:moveTo>
                  <a:pt x="4921594" y="4688858"/>
                </a:moveTo>
                <a:cubicBezTo>
                  <a:pt x="4921956" y="4688858"/>
                  <a:pt x="4921956" y="4688858"/>
                  <a:pt x="4921956" y="4689220"/>
                </a:cubicBezTo>
                <a:cubicBezTo>
                  <a:pt x="4921956" y="4689586"/>
                  <a:pt x="4921594" y="4689586"/>
                  <a:pt x="4921594" y="4689586"/>
                </a:cubicBezTo>
                <a:cubicBezTo>
                  <a:pt x="4921232" y="4689586"/>
                  <a:pt x="4921232" y="4689586"/>
                  <a:pt x="4921232" y="4689220"/>
                </a:cubicBezTo>
                <a:cubicBezTo>
                  <a:pt x="4921232" y="4688858"/>
                  <a:pt x="4921232" y="4688858"/>
                  <a:pt x="4921594" y="4688858"/>
                </a:cubicBezTo>
                <a:close/>
                <a:moveTo>
                  <a:pt x="4768008" y="4688858"/>
                </a:moveTo>
                <a:cubicBezTo>
                  <a:pt x="4768370" y="4688858"/>
                  <a:pt x="4768370" y="4688858"/>
                  <a:pt x="4768370" y="4689220"/>
                </a:cubicBezTo>
                <a:cubicBezTo>
                  <a:pt x="4768370" y="4689586"/>
                  <a:pt x="4768008" y="4689586"/>
                  <a:pt x="4768008" y="4689586"/>
                </a:cubicBezTo>
                <a:cubicBezTo>
                  <a:pt x="4767646" y="4689586"/>
                  <a:pt x="4767646" y="4689586"/>
                  <a:pt x="4767646" y="4689220"/>
                </a:cubicBezTo>
                <a:cubicBezTo>
                  <a:pt x="4767646" y="4688858"/>
                  <a:pt x="4767646" y="4688858"/>
                  <a:pt x="4768008" y="4688858"/>
                </a:cubicBezTo>
                <a:close/>
                <a:moveTo>
                  <a:pt x="4614065" y="4688496"/>
                </a:moveTo>
                <a:cubicBezTo>
                  <a:pt x="4614465" y="4688496"/>
                  <a:pt x="4614789" y="4688820"/>
                  <a:pt x="4614789" y="4689220"/>
                </a:cubicBezTo>
                <a:cubicBezTo>
                  <a:pt x="4614789" y="4689625"/>
                  <a:pt x="4614465" y="4689949"/>
                  <a:pt x="4614065" y="4689949"/>
                </a:cubicBezTo>
                <a:cubicBezTo>
                  <a:pt x="4613661" y="4689949"/>
                  <a:pt x="4613337" y="4689625"/>
                  <a:pt x="4613337" y="4689220"/>
                </a:cubicBezTo>
                <a:cubicBezTo>
                  <a:pt x="4613337" y="4688820"/>
                  <a:pt x="4613661" y="4688496"/>
                  <a:pt x="4614065" y="4688496"/>
                </a:cubicBezTo>
                <a:close/>
                <a:moveTo>
                  <a:pt x="5536659" y="4687406"/>
                </a:moveTo>
                <a:cubicBezTo>
                  <a:pt x="5537384" y="4687406"/>
                  <a:pt x="5538112" y="4688130"/>
                  <a:pt x="5538112" y="4688858"/>
                </a:cubicBezTo>
                <a:cubicBezTo>
                  <a:pt x="5538112" y="4689583"/>
                  <a:pt x="5536659" y="4690311"/>
                  <a:pt x="5536659" y="4690311"/>
                </a:cubicBezTo>
                <a:cubicBezTo>
                  <a:pt x="5535935" y="4690311"/>
                  <a:pt x="5535207" y="4689583"/>
                  <a:pt x="5535207" y="4688858"/>
                </a:cubicBezTo>
                <a:cubicBezTo>
                  <a:pt x="5535207" y="4688130"/>
                  <a:pt x="5535935" y="4687406"/>
                  <a:pt x="5536659" y="4687406"/>
                </a:cubicBezTo>
                <a:close/>
                <a:moveTo>
                  <a:pt x="5690602" y="4687044"/>
                </a:moveTo>
                <a:cubicBezTo>
                  <a:pt x="5691693" y="4687044"/>
                  <a:pt x="5692783" y="4688134"/>
                  <a:pt x="5692783" y="4689220"/>
                </a:cubicBezTo>
                <a:cubicBezTo>
                  <a:pt x="5692783" y="4690311"/>
                  <a:pt x="5690602" y="4691401"/>
                  <a:pt x="5690602" y="4691401"/>
                </a:cubicBezTo>
                <a:cubicBezTo>
                  <a:pt x="5689512" y="4691401"/>
                  <a:pt x="5688426" y="4690311"/>
                  <a:pt x="5688426" y="4689220"/>
                </a:cubicBezTo>
                <a:cubicBezTo>
                  <a:pt x="5688426" y="4688134"/>
                  <a:pt x="5689512" y="4687044"/>
                  <a:pt x="5690602" y="4687044"/>
                </a:cubicBezTo>
                <a:close/>
                <a:moveTo>
                  <a:pt x="5844554" y="4685954"/>
                </a:moveTo>
                <a:cubicBezTo>
                  <a:pt x="5846368" y="4685954"/>
                  <a:pt x="5847817" y="4687406"/>
                  <a:pt x="5847817" y="4689220"/>
                </a:cubicBezTo>
                <a:cubicBezTo>
                  <a:pt x="5847817" y="4691035"/>
                  <a:pt x="5846368" y="4692491"/>
                  <a:pt x="5844554" y="4692491"/>
                </a:cubicBezTo>
                <a:cubicBezTo>
                  <a:pt x="5842736" y="4692491"/>
                  <a:pt x="5841284" y="4691035"/>
                  <a:pt x="5841284" y="4689220"/>
                </a:cubicBezTo>
                <a:cubicBezTo>
                  <a:pt x="5841284" y="4687406"/>
                  <a:pt x="5842736" y="4685954"/>
                  <a:pt x="5844554" y="4685954"/>
                </a:cubicBezTo>
                <a:close/>
                <a:moveTo>
                  <a:pt x="5998136" y="4684863"/>
                </a:moveTo>
                <a:cubicBezTo>
                  <a:pt x="6000678" y="4684863"/>
                  <a:pt x="6002492" y="4686678"/>
                  <a:pt x="6002492" y="4689220"/>
                </a:cubicBezTo>
                <a:cubicBezTo>
                  <a:pt x="6002492" y="4691763"/>
                  <a:pt x="6000312" y="4693577"/>
                  <a:pt x="5998136" y="4693577"/>
                </a:cubicBezTo>
                <a:cubicBezTo>
                  <a:pt x="5995593" y="4693577"/>
                  <a:pt x="5993778" y="4691763"/>
                  <a:pt x="5993778" y="4689220"/>
                </a:cubicBezTo>
                <a:cubicBezTo>
                  <a:pt x="5993778" y="4686678"/>
                  <a:pt x="5995593" y="4684863"/>
                  <a:pt x="5998136" y="4684863"/>
                </a:cubicBezTo>
                <a:close/>
                <a:moveTo>
                  <a:pt x="6152086" y="4683411"/>
                </a:moveTo>
                <a:cubicBezTo>
                  <a:pt x="6155354" y="4683411"/>
                  <a:pt x="6157896" y="4685954"/>
                  <a:pt x="6157896" y="4689220"/>
                </a:cubicBezTo>
                <a:cubicBezTo>
                  <a:pt x="6157896" y="4692487"/>
                  <a:pt x="6155354" y="4695030"/>
                  <a:pt x="6152086" y="4695030"/>
                </a:cubicBezTo>
                <a:cubicBezTo>
                  <a:pt x="6148820" y="4695030"/>
                  <a:pt x="6146277" y="4692487"/>
                  <a:pt x="6146277" y="4689220"/>
                </a:cubicBezTo>
                <a:cubicBezTo>
                  <a:pt x="6146277" y="4685954"/>
                  <a:pt x="6148820" y="4683411"/>
                  <a:pt x="6152086" y="4683411"/>
                </a:cubicBezTo>
                <a:close/>
                <a:moveTo>
                  <a:pt x="6305668" y="4681959"/>
                </a:moveTo>
                <a:cubicBezTo>
                  <a:pt x="6309663" y="4681959"/>
                  <a:pt x="6312930" y="4685226"/>
                  <a:pt x="6312930" y="4689220"/>
                </a:cubicBezTo>
                <a:cubicBezTo>
                  <a:pt x="6312930" y="4693215"/>
                  <a:pt x="6309663" y="4696482"/>
                  <a:pt x="6305668" y="4696482"/>
                </a:cubicBezTo>
                <a:cubicBezTo>
                  <a:pt x="6301673" y="4696482"/>
                  <a:pt x="6298406" y="4693215"/>
                  <a:pt x="6298406" y="4689220"/>
                </a:cubicBezTo>
                <a:cubicBezTo>
                  <a:pt x="6298406" y="4685226"/>
                  <a:pt x="6301673" y="4681959"/>
                  <a:pt x="6305668" y="4681959"/>
                </a:cubicBezTo>
                <a:close/>
                <a:moveTo>
                  <a:pt x="6459616" y="4680144"/>
                </a:moveTo>
                <a:cubicBezTo>
                  <a:pt x="6464700" y="4680144"/>
                  <a:pt x="6468696" y="4684139"/>
                  <a:pt x="6468696" y="4689220"/>
                </a:cubicBezTo>
                <a:cubicBezTo>
                  <a:pt x="6468696" y="4694306"/>
                  <a:pt x="6464700" y="4698300"/>
                  <a:pt x="6459616" y="4698300"/>
                </a:cubicBezTo>
                <a:cubicBezTo>
                  <a:pt x="6454534" y="4698300"/>
                  <a:pt x="6450540" y="4694306"/>
                  <a:pt x="6450540" y="4689220"/>
                </a:cubicBezTo>
                <a:cubicBezTo>
                  <a:pt x="6450540" y="4684139"/>
                  <a:pt x="6454534" y="4680144"/>
                  <a:pt x="6459616" y="4680144"/>
                </a:cubicBezTo>
                <a:close/>
                <a:moveTo>
                  <a:pt x="6613200" y="4679054"/>
                </a:moveTo>
                <a:cubicBezTo>
                  <a:pt x="6618648" y="4679054"/>
                  <a:pt x="6623367" y="4683773"/>
                  <a:pt x="6623367" y="4689220"/>
                </a:cubicBezTo>
                <a:cubicBezTo>
                  <a:pt x="6623367" y="4694668"/>
                  <a:pt x="6619010" y="4699387"/>
                  <a:pt x="6613200" y="4699387"/>
                </a:cubicBezTo>
                <a:cubicBezTo>
                  <a:pt x="6607754" y="4699387"/>
                  <a:pt x="6603034" y="4694668"/>
                  <a:pt x="6603034" y="4689220"/>
                </a:cubicBezTo>
                <a:cubicBezTo>
                  <a:pt x="6603034" y="4683773"/>
                  <a:pt x="6607754" y="4679054"/>
                  <a:pt x="6613200" y="4679054"/>
                </a:cubicBezTo>
                <a:close/>
                <a:moveTo>
                  <a:pt x="5229126" y="4535273"/>
                </a:moveTo>
                <a:cubicBezTo>
                  <a:pt x="5229488" y="4535273"/>
                  <a:pt x="5229488" y="4535273"/>
                  <a:pt x="5229488" y="4535635"/>
                </a:cubicBezTo>
                <a:cubicBezTo>
                  <a:pt x="5229488" y="4535997"/>
                  <a:pt x="5229126" y="4535997"/>
                  <a:pt x="5229126" y="4535997"/>
                </a:cubicBezTo>
                <a:cubicBezTo>
                  <a:pt x="5228764" y="4535997"/>
                  <a:pt x="5228764" y="4535997"/>
                  <a:pt x="5228764" y="4535635"/>
                </a:cubicBezTo>
                <a:cubicBezTo>
                  <a:pt x="5228764" y="4535273"/>
                  <a:pt x="5228764" y="4535273"/>
                  <a:pt x="5229126" y="4535273"/>
                </a:cubicBezTo>
                <a:close/>
                <a:moveTo>
                  <a:pt x="4768008" y="4535273"/>
                </a:moveTo>
                <a:cubicBezTo>
                  <a:pt x="4768370" y="4535273"/>
                  <a:pt x="4768370" y="4535273"/>
                  <a:pt x="4768370" y="4535635"/>
                </a:cubicBezTo>
                <a:cubicBezTo>
                  <a:pt x="4768370" y="4535997"/>
                  <a:pt x="4768008" y="4535997"/>
                  <a:pt x="4768008" y="4535997"/>
                </a:cubicBezTo>
                <a:cubicBezTo>
                  <a:pt x="4767646" y="4535997"/>
                  <a:pt x="4767646" y="4535997"/>
                  <a:pt x="4767646" y="4535635"/>
                </a:cubicBezTo>
                <a:cubicBezTo>
                  <a:pt x="4767646" y="4535273"/>
                  <a:pt x="4767646" y="4535273"/>
                  <a:pt x="4768008" y="4535273"/>
                </a:cubicBezTo>
                <a:close/>
                <a:moveTo>
                  <a:pt x="4614061" y="4535273"/>
                </a:moveTo>
                <a:cubicBezTo>
                  <a:pt x="4614424" y="4535273"/>
                  <a:pt x="4614424" y="4535273"/>
                  <a:pt x="4614424" y="4535635"/>
                </a:cubicBezTo>
                <a:cubicBezTo>
                  <a:pt x="4614424" y="4535997"/>
                  <a:pt x="4614061" y="4535997"/>
                  <a:pt x="4614061" y="4535997"/>
                </a:cubicBezTo>
                <a:cubicBezTo>
                  <a:pt x="4613699" y="4535997"/>
                  <a:pt x="4613699" y="4535997"/>
                  <a:pt x="4613699" y="4535635"/>
                </a:cubicBezTo>
                <a:cubicBezTo>
                  <a:pt x="4613699" y="4535273"/>
                  <a:pt x="4613699" y="4535273"/>
                  <a:pt x="4614061" y="4535273"/>
                </a:cubicBezTo>
                <a:close/>
                <a:moveTo>
                  <a:pt x="4460480" y="4534911"/>
                </a:moveTo>
                <a:cubicBezTo>
                  <a:pt x="4460842" y="4534911"/>
                  <a:pt x="4461204" y="4535273"/>
                  <a:pt x="4461204" y="4535635"/>
                </a:cubicBezTo>
                <a:cubicBezTo>
                  <a:pt x="4461204" y="4536001"/>
                  <a:pt x="4460480" y="4536363"/>
                  <a:pt x="4460480" y="4536363"/>
                </a:cubicBezTo>
                <a:cubicBezTo>
                  <a:pt x="4460114" y="4536363"/>
                  <a:pt x="4459752" y="4536001"/>
                  <a:pt x="4459752" y="4535635"/>
                </a:cubicBezTo>
                <a:cubicBezTo>
                  <a:pt x="4459752" y="4535273"/>
                  <a:pt x="4460114" y="4534911"/>
                  <a:pt x="4460480" y="4534911"/>
                </a:cubicBezTo>
                <a:close/>
                <a:moveTo>
                  <a:pt x="5383074" y="4533821"/>
                </a:moveTo>
                <a:cubicBezTo>
                  <a:pt x="5383798" y="4533821"/>
                  <a:pt x="5384526" y="4534545"/>
                  <a:pt x="5384526" y="4535273"/>
                </a:cubicBezTo>
                <a:cubicBezTo>
                  <a:pt x="5384526" y="4535997"/>
                  <a:pt x="5383074" y="4536725"/>
                  <a:pt x="5383074" y="4536725"/>
                </a:cubicBezTo>
                <a:cubicBezTo>
                  <a:pt x="5382346" y="4536725"/>
                  <a:pt x="5381622" y="4535997"/>
                  <a:pt x="5381622" y="4535273"/>
                </a:cubicBezTo>
                <a:cubicBezTo>
                  <a:pt x="5381622" y="4534545"/>
                  <a:pt x="5382346" y="4533821"/>
                  <a:pt x="5383074" y="4533821"/>
                </a:cubicBezTo>
                <a:close/>
                <a:moveTo>
                  <a:pt x="5536659" y="4533096"/>
                </a:moveTo>
                <a:cubicBezTo>
                  <a:pt x="5537750" y="4533096"/>
                  <a:pt x="5538840" y="4534187"/>
                  <a:pt x="5538840" y="4535277"/>
                </a:cubicBezTo>
                <a:cubicBezTo>
                  <a:pt x="5538840" y="4536363"/>
                  <a:pt x="5536659" y="4537453"/>
                  <a:pt x="5536659" y="4537453"/>
                </a:cubicBezTo>
                <a:cubicBezTo>
                  <a:pt x="5535569" y="4537453"/>
                  <a:pt x="5534482" y="4536363"/>
                  <a:pt x="5534482" y="4535277"/>
                </a:cubicBezTo>
                <a:cubicBezTo>
                  <a:pt x="5534482" y="4534187"/>
                  <a:pt x="5535569" y="4533096"/>
                  <a:pt x="5536659" y="4533096"/>
                </a:cubicBezTo>
                <a:close/>
                <a:moveTo>
                  <a:pt x="5690606" y="4532368"/>
                </a:moveTo>
                <a:cubicBezTo>
                  <a:pt x="5692421" y="4532368"/>
                  <a:pt x="5693870" y="4533821"/>
                  <a:pt x="5693870" y="4535635"/>
                </a:cubicBezTo>
                <a:cubicBezTo>
                  <a:pt x="5693870" y="4537450"/>
                  <a:pt x="5692421" y="4538906"/>
                  <a:pt x="5690606" y="4538906"/>
                </a:cubicBezTo>
                <a:cubicBezTo>
                  <a:pt x="5688788" y="4538906"/>
                  <a:pt x="5687336" y="4537450"/>
                  <a:pt x="5687336" y="4535635"/>
                </a:cubicBezTo>
                <a:cubicBezTo>
                  <a:pt x="5687336" y="4533821"/>
                  <a:pt x="5688788" y="4532368"/>
                  <a:pt x="5690606" y="4532368"/>
                </a:cubicBezTo>
                <a:close/>
                <a:moveTo>
                  <a:pt x="5844554" y="4530916"/>
                </a:moveTo>
                <a:cubicBezTo>
                  <a:pt x="5847096" y="4530916"/>
                  <a:pt x="5848911" y="4532731"/>
                  <a:pt x="5848911" y="4535273"/>
                </a:cubicBezTo>
                <a:cubicBezTo>
                  <a:pt x="5848911" y="4537816"/>
                  <a:pt x="5846730" y="4539630"/>
                  <a:pt x="5844554" y="4539630"/>
                </a:cubicBezTo>
                <a:cubicBezTo>
                  <a:pt x="5842012" y="4539630"/>
                  <a:pt x="5840197" y="4537816"/>
                  <a:pt x="5840197" y="4535273"/>
                </a:cubicBezTo>
                <a:cubicBezTo>
                  <a:pt x="5840197" y="4532731"/>
                  <a:pt x="5842012" y="4530916"/>
                  <a:pt x="5844554" y="4530916"/>
                </a:cubicBezTo>
                <a:close/>
                <a:moveTo>
                  <a:pt x="5998139" y="4529830"/>
                </a:moveTo>
                <a:cubicBezTo>
                  <a:pt x="6001406" y="4529830"/>
                  <a:pt x="6003948" y="4532372"/>
                  <a:pt x="6003948" y="4535639"/>
                </a:cubicBezTo>
                <a:cubicBezTo>
                  <a:pt x="6003948" y="4538906"/>
                  <a:pt x="6001406" y="4541448"/>
                  <a:pt x="5998139" y="4541448"/>
                </a:cubicBezTo>
                <a:cubicBezTo>
                  <a:pt x="5994872" y="4541448"/>
                  <a:pt x="5992330" y="4538906"/>
                  <a:pt x="5992330" y="4535639"/>
                </a:cubicBezTo>
                <a:cubicBezTo>
                  <a:pt x="5992330" y="4532372"/>
                  <a:pt x="5994872" y="4529830"/>
                  <a:pt x="5998139" y="4529830"/>
                </a:cubicBezTo>
                <a:close/>
                <a:moveTo>
                  <a:pt x="6152086" y="4528011"/>
                </a:moveTo>
                <a:cubicBezTo>
                  <a:pt x="6156082" y="4528011"/>
                  <a:pt x="6159348" y="4531278"/>
                  <a:pt x="6159348" y="4535273"/>
                </a:cubicBezTo>
                <a:cubicBezTo>
                  <a:pt x="6159348" y="4539268"/>
                  <a:pt x="6156082" y="4542535"/>
                  <a:pt x="6152086" y="4542535"/>
                </a:cubicBezTo>
                <a:cubicBezTo>
                  <a:pt x="6148092" y="4542535"/>
                  <a:pt x="6144825" y="4539268"/>
                  <a:pt x="6144825" y="4535273"/>
                </a:cubicBezTo>
                <a:cubicBezTo>
                  <a:pt x="6144825" y="4531278"/>
                  <a:pt x="6148092" y="4528011"/>
                  <a:pt x="6152086" y="4528011"/>
                </a:cubicBezTo>
                <a:close/>
                <a:moveTo>
                  <a:pt x="6305668" y="4526197"/>
                </a:moveTo>
                <a:cubicBezTo>
                  <a:pt x="6310750" y="4526197"/>
                  <a:pt x="6314748" y="4530192"/>
                  <a:pt x="6314748" y="4535273"/>
                </a:cubicBezTo>
                <a:cubicBezTo>
                  <a:pt x="6314748" y="4540358"/>
                  <a:pt x="6310750" y="4544353"/>
                  <a:pt x="6305668" y="4544353"/>
                </a:cubicBezTo>
                <a:cubicBezTo>
                  <a:pt x="6300587" y="4544353"/>
                  <a:pt x="6296592" y="4540358"/>
                  <a:pt x="6296592" y="4535273"/>
                </a:cubicBezTo>
                <a:cubicBezTo>
                  <a:pt x="6296592" y="4530192"/>
                  <a:pt x="6300587" y="4526197"/>
                  <a:pt x="6305668" y="4526197"/>
                </a:cubicBezTo>
                <a:close/>
                <a:moveTo>
                  <a:pt x="6459616" y="4525469"/>
                </a:moveTo>
                <a:cubicBezTo>
                  <a:pt x="6465062" y="4525469"/>
                  <a:pt x="6469782" y="4530188"/>
                  <a:pt x="6469782" y="4535635"/>
                </a:cubicBezTo>
                <a:cubicBezTo>
                  <a:pt x="6469782" y="4541082"/>
                  <a:pt x="6465425" y="4545802"/>
                  <a:pt x="6459616" y="4545802"/>
                </a:cubicBezTo>
                <a:cubicBezTo>
                  <a:pt x="6454168" y="4545802"/>
                  <a:pt x="6449449" y="4541082"/>
                  <a:pt x="6449449" y="4535635"/>
                </a:cubicBezTo>
                <a:cubicBezTo>
                  <a:pt x="6449449" y="4530188"/>
                  <a:pt x="6454168" y="4525469"/>
                  <a:pt x="6459616" y="4525469"/>
                </a:cubicBezTo>
                <a:close/>
                <a:moveTo>
                  <a:pt x="6613197" y="4523292"/>
                </a:moveTo>
                <a:cubicBezTo>
                  <a:pt x="6619734" y="4523292"/>
                  <a:pt x="6625182" y="4528739"/>
                  <a:pt x="6625182" y="4535273"/>
                </a:cubicBezTo>
                <a:cubicBezTo>
                  <a:pt x="6625182" y="4541810"/>
                  <a:pt x="6619734" y="4547254"/>
                  <a:pt x="6613197" y="4547254"/>
                </a:cubicBezTo>
                <a:cubicBezTo>
                  <a:pt x="6606664" y="4547254"/>
                  <a:pt x="6601216" y="4541810"/>
                  <a:pt x="6601216" y="4535273"/>
                </a:cubicBezTo>
                <a:cubicBezTo>
                  <a:pt x="6601216" y="4528739"/>
                  <a:pt x="6606664" y="4523292"/>
                  <a:pt x="6613197" y="4523292"/>
                </a:cubicBezTo>
                <a:close/>
                <a:moveTo>
                  <a:pt x="5075541" y="4381326"/>
                </a:moveTo>
                <a:cubicBezTo>
                  <a:pt x="5075904" y="4381326"/>
                  <a:pt x="5075904" y="4381326"/>
                  <a:pt x="5075904" y="4381688"/>
                </a:cubicBezTo>
                <a:cubicBezTo>
                  <a:pt x="5075904" y="4382054"/>
                  <a:pt x="5075541" y="4382054"/>
                  <a:pt x="5075541" y="4382054"/>
                </a:cubicBezTo>
                <a:cubicBezTo>
                  <a:pt x="5075179" y="4382054"/>
                  <a:pt x="5075179" y="4382054"/>
                  <a:pt x="5075179" y="4381688"/>
                </a:cubicBezTo>
                <a:cubicBezTo>
                  <a:pt x="5075179" y="4381326"/>
                  <a:pt x="5075179" y="4381326"/>
                  <a:pt x="5075541" y="4381326"/>
                </a:cubicBezTo>
                <a:close/>
                <a:moveTo>
                  <a:pt x="4614061" y="4381326"/>
                </a:moveTo>
                <a:cubicBezTo>
                  <a:pt x="4614424" y="4381326"/>
                  <a:pt x="4614424" y="4381326"/>
                  <a:pt x="4614424" y="4381688"/>
                </a:cubicBezTo>
                <a:cubicBezTo>
                  <a:pt x="4614424" y="4382054"/>
                  <a:pt x="4614061" y="4382054"/>
                  <a:pt x="4614061" y="4382054"/>
                </a:cubicBezTo>
                <a:cubicBezTo>
                  <a:pt x="4613699" y="4382054"/>
                  <a:pt x="4613699" y="4382054"/>
                  <a:pt x="4613699" y="4381688"/>
                </a:cubicBezTo>
                <a:cubicBezTo>
                  <a:pt x="4613699" y="4381326"/>
                  <a:pt x="4613699" y="4381326"/>
                  <a:pt x="4614061" y="4381326"/>
                </a:cubicBezTo>
                <a:close/>
                <a:moveTo>
                  <a:pt x="4460480" y="4381326"/>
                </a:moveTo>
                <a:cubicBezTo>
                  <a:pt x="4460842" y="4381326"/>
                  <a:pt x="4460842" y="4381326"/>
                  <a:pt x="4460842" y="4381688"/>
                </a:cubicBezTo>
                <a:cubicBezTo>
                  <a:pt x="4460842" y="4382054"/>
                  <a:pt x="4460480" y="4382054"/>
                  <a:pt x="4460480" y="4382054"/>
                </a:cubicBezTo>
                <a:cubicBezTo>
                  <a:pt x="4460118" y="4382054"/>
                  <a:pt x="4460118" y="4382054"/>
                  <a:pt x="4460118" y="4381688"/>
                </a:cubicBezTo>
                <a:cubicBezTo>
                  <a:pt x="4460118" y="4381326"/>
                  <a:pt x="4460118" y="4381326"/>
                  <a:pt x="4460480" y="4381326"/>
                </a:cubicBezTo>
                <a:close/>
                <a:moveTo>
                  <a:pt x="4306528" y="4380964"/>
                </a:moveTo>
                <a:cubicBezTo>
                  <a:pt x="4306894" y="4380964"/>
                  <a:pt x="4307256" y="4381326"/>
                  <a:pt x="4307256" y="4381688"/>
                </a:cubicBezTo>
                <a:cubicBezTo>
                  <a:pt x="4307256" y="4382054"/>
                  <a:pt x="4306528" y="4382416"/>
                  <a:pt x="4306528" y="4382416"/>
                </a:cubicBezTo>
                <a:cubicBezTo>
                  <a:pt x="4306166" y="4382416"/>
                  <a:pt x="4305804" y="4382054"/>
                  <a:pt x="4305804" y="4381688"/>
                </a:cubicBezTo>
                <a:cubicBezTo>
                  <a:pt x="4305804" y="4381326"/>
                  <a:pt x="4306166" y="4380964"/>
                  <a:pt x="4306528" y="4380964"/>
                </a:cubicBezTo>
                <a:close/>
                <a:moveTo>
                  <a:pt x="5229126" y="4379873"/>
                </a:moveTo>
                <a:cubicBezTo>
                  <a:pt x="5229850" y="4379873"/>
                  <a:pt x="5230579" y="4380601"/>
                  <a:pt x="5230579" y="4381326"/>
                </a:cubicBezTo>
                <a:cubicBezTo>
                  <a:pt x="5230579" y="4382054"/>
                  <a:pt x="5229126" y="4382778"/>
                  <a:pt x="5229126" y="4382778"/>
                </a:cubicBezTo>
                <a:cubicBezTo>
                  <a:pt x="5228398" y="4382778"/>
                  <a:pt x="5227674" y="4382054"/>
                  <a:pt x="5227674" y="4381326"/>
                </a:cubicBezTo>
                <a:cubicBezTo>
                  <a:pt x="5227674" y="4380601"/>
                  <a:pt x="5228398" y="4379873"/>
                  <a:pt x="5229126" y="4379873"/>
                </a:cubicBezTo>
                <a:close/>
                <a:moveTo>
                  <a:pt x="5383074" y="4379511"/>
                </a:moveTo>
                <a:cubicBezTo>
                  <a:pt x="5384164" y="4379511"/>
                  <a:pt x="5385250" y="4380601"/>
                  <a:pt x="5385250" y="4381688"/>
                </a:cubicBezTo>
                <a:cubicBezTo>
                  <a:pt x="5385250" y="4382778"/>
                  <a:pt x="5383074" y="4383868"/>
                  <a:pt x="5383074" y="4383868"/>
                </a:cubicBezTo>
                <a:cubicBezTo>
                  <a:pt x="5381984" y="4383868"/>
                  <a:pt x="5380894" y="4382778"/>
                  <a:pt x="5380894" y="4381688"/>
                </a:cubicBezTo>
                <a:cubicBezTo>
                  <a:pt x="5380894" y="4380601"/>
                  <a:pt x="5381984" y="4379511"/>
                  <a:pt x="5383074" y="4379511"/>
                </a:cubicBezTo>
                <a:close/>
                <a:moveTo>
                  <a:pt x="5536659" y="4378421"/>
                </a:moveTo>
                <a:cubicBezTo>
                  <a:pt x="5538474" y="4378421"/>
                  <a:pt x="5539922" y="4379873"/>
                  <a:pt x="5539922" y="4381688"/>
                </a:cubicBezTo>
                <a:cubicBezTo>
                  <a:pt x="5539922" y="4383506"/>
                  <a:pt x="5538474" y="4384958"/>
                  <a:pt x="5536659" y="4384958"/>
                </a:cubicBezTo>
                <a:cubicBezTo>
                  <a:pt x="5534841" y="4384958"/>
                  <a:pt x="5533388" y="4383506"/>
                  <a:pt x="5533388" y="4381688"/>
                </a:cubicBezTo>
                <a:cubicBezTo>
                  <a:pt x="5533388" y="4379873"/>
                  <a:pt x="5534841" y="4378421"/>
                  <a:pt x="5536659" y="4378421"/>
                </a:cubicBezTo>
                <a:close/>
                <a:moveTo>
                  <a:pt x="5690606" y="4377331"/>
                </a:moveTo>
                <a:cubicBezTo>
                  <a:pt x="5693149" y="4377331"/>
                  <a:pt x="5694964" y="4379145"/>
                  <a:pt x="5694964" y="4381688"/>
                </a:cubicBezTo>
                <a:cubicBezTo>
                  <a:pt x="5694964" y="4384230"/>
                  <a:pt x="5692783" y="4386045"/>
                  <a:pt x="5690606" y="4386045"/>
                </a:cubicBezTo>
                <a:cubicBezTo>
                  <a:pt x="5688064" y="4386045"/>
                  <a:pt x="5686250" y="4384230"/>
                  <a:pt x="5686250" y="4381688"/>
                </a:cubicBezTo>
                <a:cubicBezTo>
                  <a:pt x="5686250" y="4379145"/>
                  <a:pt x="5688064" y="4377331"/>
                  <a:pt x="5690606" y="4377331"/>
                </a:cubicBezTo>
                <a:close/>
                <a:moveTo>
                  <a:pt x="5844550" y="4375878"/>
                </a:moveTo>
                <a:cubicBezTo>
                  <a:pt x="5847817" y="4375878"/>
                  <a:pt x="5850360" y="4378421"/>
                  <a:pt x="5850360" y="4381688"/>
                </a:cubicBezTo>
                <a:cubicBezTo>
                  <a:pt x="5850360" y="4384955"/>
                  <a:pt x="5847817" y="4387497"/>
                  <a:pt x="5844550" y="4387497"/>
                </a:cubicBezTo>
                <a:cubicBezTo>
                  <a:pt x="5841284" y="4387497"/>
                  <a:pt x="5838741" y="4384955"/>
                  <a:pt x="5838741" y="4381688"/>
                </a:cubicBezTo>
                <a:cubicBezTo>
                  <a:pt x="5838741" y="4378421"/>
                  <a:pt x="5841284" y="4375878"/>
                  <a:pt x="5844550" y="4375878"/>
                </a:cubicBezTo>
                <a:close/>
                <a:moveTo>
                  <a:pt x="5998136" y="4374430"/>
                </a:moveTo>
                <a:cubicBezTo>
                  <a:pt x="6002130" y="4374430"/>
                  <a:pt x="6005397" y="4377697"/>
                  <a:pt x="6005397" y="4381692"/>
                </a:cubicBezTo>
                <a:cubicBezTo>
                  <a:pt x="6005397" y="4385686"/>
                  <a:pt x="6002130" y="4388953"/>
                  <a:pt x="5998136" y="4388953"/>
                </a:cubicBezTo>
                <a:cubicBezTo>
                  <a:pt x="5994144" y="4388953"/>
                  <a:pt x="5990874" y="4385686"/>
                  <a:pt x="5990874" y="4381692"/>
                </a:cubicBezTo>
                <a:cubicBezTo>
                  <a:pt x="5990874" y="4377697"/>
                  <a:pt x="5994144" y="4374430"/>
                  <a:pt x="5998136" y="4374430"/>
                </a:cubicBezTo>
                <a:close/>
                <a:moveTo>
                  <a:pt x="6152083" y="4372612"/>
                </a:moveTo>
                <a:cubicBezTo>
                  <a:pt x="6157168" y="4372612"/>
                  <a:pt x="6161162" y="4376607"/>
                  <a:pt x="6161162" y="4381688"/>
                </a:cubicBezTo>
                <a:cubicBezTo>
                  <a:pt x="6161162" y="4386773"/>
                  <a:pt x="6157168" y="4390768"/>
                  <a:pt x="6152083" y="4390768"/>
                </a:cubicBezTo>
                <a:cubicBezTo>
                  <a:pt x="6147002" y="4390768"/>
                  <a:pt x="6143006" y="4386773"/>
                  <a:pt x="6143006" y="4381688"/>
                </a:cubicBezTo>
                <a:cubicBezTo>
                  <a:pt x="6143006" y="4376607"/>
                  <a:pt x="6147002" y="4372612"/>
                  <a:pt x="6152083" y="4372612"/>
                </a:cubicBezTo>
                <a:close/>
                <a:moveTo>
                  <a:pt x="6305668" y="4371525"/>
                </a:moveTo>
                <a:cubicBezTo>
                  <a:pt x="6311115" y="4371525"/>
                  <a:pt x="6315834" y="4376244"/>
                  <a:pt x="6315834" y="4381692"/>
                </a:cubicBezTo>
                <a:cubicBezTo>
                  <a:pt x="6315834" y="4387139"/>
                  <a:pt x="6311478" y="4391858"/>
                  <a:pt x="6305668" y="4391858"/>
                </a:cubicBezTo>
                <a:cubicBezTo>
                  <a:pt x="6300221" y="4391858"/>
                  <a:pt x="6295502" y="4387139"/>
                  <a:pt x="6295502" y="4381692"/>
                </a:cubicBezTo>
                <a:cubicBezTo>
                  <a:pt x="6295502" y="4376244"/>
                  <a:pt x="6300221" y="4371525"/>
                  <a:pt x="6305668" y="4371525"/>
                </a:cubicBezTo>
                <a:close/>
                <a:moveTo>
                  <a:pt x="6459616" y="4369707"/>
                </a:moveTo>
                <a:cubicBezTo>
                  <a:pt x="6466153" y="4369707"/>
                  <a:pt x="6471600" y="4375154"/>
                  <a:pt x="6471600" y="4381688"/>
                </a:cubicBezTo>
                <a:cubicBezTo>
                  <a:pt x="6471600" y="4388225"/>
                  <a:pt x="6466153" y="4393672"/>
                  <a:pt x="6459616" y="4393672"/>
                </a:cubicBezTo>
                <a:cubicBezTo>
                  <a:pt x="6453082" y="4393672"/>
                  <a:pt x="6447634" y="4388225"/>
                  <a:pt x="6447634" y="4381688"/>
                </a:cubicBezTo>
                <a:cubicBezTo>
                  <a:pt x="6447634" y="4375154"/>
                  <a:pt x="6453082" y="4369707"/>
                  <a:pt x="6459616" y="4369707"/>
                </a:cubicBezTo>
                <a:close/>
                <a:moveTo>
                  <a:pt x="6613200" y="4367530"/>
                </a:moveTo>
                <a:cubicBezTo>
                  <a:pt x="6620824" y="4367530"/>
                  <a:pt x="6626996" y="4373702"/>
                  <a:pt x="6626996" y="4381326"/>
                </a:cubicBezTo>
                <a:cubicBezTo>
                  <a:pt x="6626996" y="4388953"/>
                  <a:pt x="6620824" y="4395125"/>
                  <a:pt x="6613200" y="4395125"/>
                </a:cubicBezTo>
                <a:cubicBezTo>
                  <a:pt x="6605577" y="4395125"/>
                  <a:pt x="6599402" y="4388953"/>
                  <a:pt x="6599402" y="4381326"/>
                </a:cubicBezTo>
                <a:cubicBezTo>
                  <a:pt x="6599402" y="4373702"/>
                  <a:pt x="6605577" y="4367530"/>
                  <a:pt x="6613200" y="4367530"/>
                </a:cubicBezTo>
                <a:close/>
                <a:moveTo>
                  <a:pt x="4921594" y="4227744"/>
                </a:moveTo>
                <a:cubicBezTo>
                  <a:pt x="4921956" y="4227744"/>
                  <a:pt x="4921956" y="4227744"/>
                  <a:pt x="4921956" y="4228106"/>
                </a:cubicBezTo>
                <a:cubicBezTo>
                  <a:pt x="4921956" y="4228468"/>
                  <a:pt x="4921594" y="4228468"/>
                  <a:pt x="4921594" y="4228468"/>
                </a:cubicBezTo>
                <a:cubicBezTo>
                  <a:pt x="4921232" y="4228468"/>
                  <a:pt x="4921232" y="4228468"/>
                  <a:pt x="4921232" y="4228106"/>
                </a:cubicBezTo>
                <a:cubicBezTo>
                  <a:pt x="4921232" y="4227744"/>
                  <a:pt x="4921232" y="4227744"/>
                  <a:pt x="4921594" y="4227744"/>
                </a:cubicBezTo>
                <a:close/>
                <a:moveTo>
                  <a:pt x="4460480" y="4227744"/>
                </a:moveTo>
                <a:cubicBezTo>
                  <a:pt x="4460842" y="4227744"/>
                  <a:pt x="4460842" y="4227744"/>
                  <a:pt x="4460842" y="4228106"/>
                </a:cubicBezTo>
                <a:cubicBezTo>
                  <a:pt x="4460842" y="4228468"/>
                  <a:pt x="4460480" y="4228468"/>
                  <a:pt x="4460480" y="4228468"/>
                </a:cubicBezTo>
                <a:cubicBezTo>
                  <a:pt x="4460118" y="4228468"/>
                  <a:pt x="4460118" y="4228468"/>
                  <a:pt x="4460118" y="4228106"/>
                </a:cubicBezTo>
                <a:cubicBezTo>
                  <a:pt x="4460118" y="4227744"/>
                  <a:pt x="4460118" y="4227744"/>
                  <a:pt x="4460480" y="4227744"/>
                </a:cubicBezTo>
                <a:close/>
                <a:moveTo>
                  <a:pt x="4306532" y="4227744"/>
                </a:moveTo>
                <a:cubicBezTo>
                  <a:pt x="4306894" y="4227744"/>
                  <a:pt x="4306894" y="4227744"/>
                  <a:pt x="4306894" y="4228106"/>
                </a:cubicBezTo>
                <a:cubicBezTo>
                  <a:pt x="4306894" y="4228468"/>
                  <a:pt x="4306532" y="4228468"/>
                  <a:pt x="4306532" y="4228468"/>
                </a:cubicBezTo>
                <a:cubicBezTo>
                  <a:pt x="4306170" y="4228468"/>
                  <a:pt x="4306170" y="4228468"/>
                  <a:pt x="4306170" y="4228106"/>
                </a:cubicBezTo>
                <a:cubicBezTo>
                  <a:pt x="4306170" y="4227744"/>
                  <a:pt x="4306170" y="4227744"/>
                  <a:pt x="4306532" y="4227744"/>
                </a:cubicBezTo>
                <a:close/>
                <a:moveTo>
                  <a:pt x="4152947" y="4227378"/>
                </a:moveTo>
                <a:cubicBezTo>
                  <a:pt x="4153309" y="4227378"/>
                  <a:pt x="4153672" y="4227740"/>
                  <a:pt x="4153672" y="4228103"/>
                </a:cubicBezTo>
                <a:cubicBezTo>
                  <a:pt x="4153672" y="4228468"/>
                  <a:pt x="4152947" y="4228831"/>
                  <a:pt x="4152947" y="4228831"/>
                </a:cubicBezTo>
                <a:cubicBezTo>
                  <a:pt x="4152581" y="4228831"/>
                  <a:pt x="4152219" y="4228468"/>
                  <a:pt x="4152219" y="4228103"/>
                </a:cubicBezTo>
                <a:cubicBezTo>
                  <a:pt x="4152219" y="4227740"/>
                  <a:pt x="4152581" y="4227378"/>
                  <a:pt x="4152947" y="4227378"/>
                </a:cubicBezTo>
                <a:close/>
                <a:moveTo>
                  <a:pt x="5075541" y="4226292"/>
                </a:moveTo>
                <a:cubicBezTo>
                  <a:pt x="5076266" y="4226292"/>
                  <a:pt x="5076994" y="4227016"/>
                  <a:pt x="5076994" y="4227744"/>
                </a:cubicBezTo>
                <a:cubicBezTo>
                  <a:pt x="5076994" y="4228468"/>
                  <a:pt x="5075541" y="4229197"/>
                  <a:pt x="5075541" y="4229197"/>
                </a:cubicBezTo>
                <a:cubicBezTo>
                  <a:pt x="5074813" y="4229197"/>
                  <a:pt x="5074089" y="4228468"/>
                  <a:pt x="5074089" y="4227744"/>
                </a:cubicBezTo>
                <a:cubicBezTo>
                  <a:pt x="5074089" y="4227016"/>
                  <a:pt x="5074813" y="4226292"/>
                  <a:pt x="5075541" y="4226292"/>
                </a:cubicBezTo>
                <a:close/>
                <a:moveTo>
                  <a:pt x="5229122" y="4225564"/>
                </a:moveTo>
                <a:cubicBezTo>
                  <a:pt x="5230213" y="4225564"/>
                  <a:pt x="5231303" y="4226654"/>
                  <a:pt x="5231303" y="4227744"/>
                </a:cubicBezTo>
                <a:cubicBezTo>
                  <a:pt x="5231303" y="4228831"/>
                  <a:pt x="5229122" y="4229921"/>
                  <a:pt x="5229122" y="4229921"/>
                </a:cubicBezTo>
                <a:cubicBezTo>
                  <a:pt x="5228036" y="4229921"/>
                  <a:pt x="5226946" y="4228831"/>
                  <a:pt x="5226946" y="4227744"/>
                </a:cubicBezTo>
                <a:cubicBezTo>
                  <a:pt x="5226946" y="4226654"/>
                  <a:pt x="5228036" y="4225564"/>
                  <a:pt x="5229122" y="4225564"/>
                </a:cubicBezTo>
                <a:close/>
                <a:moveTo>
                  <a:pt x="5383078" y="4224840"/>
                </a:moveTo>
                <a:cubicBezTo>
                  <a:pt x="5384892" y="4224840"/>
                  <a:pt x="5386344" y="4226292"/>
                  <a:pt x="5386344" y="4228106"/>
                </a:cubicBezTo>
                <a:cubicBezTo>
                  <a:pt x="5386344" y="4229921"/>
                  <a:pt x="5384892" y="4231377"/>
                  <a:pt x="5383078" y="4231377"/>
                </a:cubicBezTo>
                <a:cubicBezTo>
                  <a:pt x="5381260" y="4231377"/>
                  <a:pt x="5379807" y="4229921"/>
                  <a:pt x="5379807" y="4228106"/>
                </a:cubicBezTo>
                <a:cubicBezTo>
                  <a:pt x="5379807" y="4226292"/>
                  <a:pt x="5381260" y="4224840"/>
                  <a:pt x="5383078" y="4224840"/>
                </a:cubicBezTo>
                <a:close/>
                <a:moveTo>
                  <a:pt x="5536659" y="4223383"/>
                </a:moveTo>
                <a:cubicBezTo>
                  <a:pt x="5539198" y="4223383"/>
                  <a:pt x="5541016" y="4225198"/>
                  <a:pt x="5541016" y="4227740"/>
                </a:cubicBezTo>
                <a:cubicBezTo>
                  <a:pt x="5541016" y="4230283"/>
                  <a:pt x="5538836" y="4232097"/>
                  <a:pt x="5536659" y="4232097"/>
                </a:cubicBezTo>
                <a:cubicBezTo>
                  <a:pt x="5534116" y="4232097"/>
                  <a:pt x="5532302" y="4230283"/>
                  <a:pt x="5532302" y="4227740"/>
                </a:cubicBezTo>
                <a:cubicBezTo>
                  <a:pt x="5532302" y="4225198"/>
                  <a:pt x="5534116" y="4223383"/>
                  <a:pt x="5536659" y="4223383"/>
                </a:cubicBezTo>
                <a:close/>
                <a:moveTo>
                  <a:pt x="5690606" y="4222297"/>
                </a:moveTo>
                <a:cubicBezTo>
                  <a:pt x="5693874" y="4222297"/>
                  <a:pt x="5696416" y="4224840"/>
                  <a:pt x="5696416" y="4228106"/>
                </a:cubicBezTo>
                <a:cubicBezTo>
                  <a:pt x="5696416" y="4231373"/>
                  <a:pt x="5693874" y="4233916"/>
                  <a:pt x="5690606" y="4233916"/>
                </a:cubicBezTo>
                <a:cubicBezTo>
                  <a:pt x="5687340" y="4233916"/>
                  <a:pt x="5684797" y="4231373"/>
                  <a:pt x="5684797" y="4228106"/>
                </a:cubicBezTo>
                <a:cubicBezTo>
                  <a:pt x="5684797" y="4224840"/>
                  <a:pt x="5687340" y="4222297"/>
                  <a:pt x="5690606" y="4222297"/>
                </a:cubicBezTo>
                <a:close/>
                <a:moveTo>
                  <a:pt x="5844554" y="4220479"/>
                </a:moveTo>
                <a:cubicBezTo>
                  <a:pt x="5848549" y="4220479"/>
                  <a:pt x="5851816" y="4223746"/>
                  <a:pt x="5851816" y="4227740"/>
                </a:cubicBezTo>
                <a:cubicBezTo>
                  <a:pt x="5851816" y="4231735"/>
                  <a:pt x="5848549" y="4235002"/>
                  <a:pt x="5844554" y="4235002"/>
                </a:cubicBezTo>
                <a:cubicBezTo>
                  <a:pt x="5840563" y="4235002"/>
                  <a:pt x="5837292" y="4231735"/>
                  <a:pt x="5837292" y="4227740"/>
                </a:cubicBezTo>
                <a:cubicBezTo>
                  <a:pt x="5837292" y="4223746"/>
                  <a:pt x="5840563" y="4220479"/>
                  <a:pt x="5844554" y="4220479"/>
                </a:cubicBezTo>
                <a:close/>
                <a:moveTo>
                  <a:pt x="5998136" y="4218664"/>
                </a:moveTo>
                <a:cubicBezTo>
                  <a:pt x="6003220" y="4218664"/>
                  <a:pt x="6007216" y="4222659"/>
                  <a:pt x="6007216" y="4227740"/>
                </a:cubicBezTo>
                <a:cubicBezTo>
                  <a:pt x="6007216" y="4232825"/>
                  <a:pt x="6003220" y="4236820"/>
                  <a:pt x="5998136" y="4236820"/>
                </a:cubicBezTo>
                <a:cubicBezTo>
                  <a:pt x="5993054" y="4236820"/>
                  <a:pt x="5989059" y="4232825"/>
                  <a:pt x="5989059" y="4227740"/>
                </a:cubicBezTo>
                <a:cubicBezTo>
                  <a:pt x="5989059" y="4222659"/>
                  <a:pt x="5993054" y="4218664"/>
                  <a:pt x="5998136" y="4218664"/>
                </a:cubicBezTo>
                <a:close/>
                <a:moveTo>
                  <a:pt x="6152086" y="4217940"/>
                </a:moveTo>
                <a:cubicBezTo>
                  <a:pt x="6157534" y="4217940"/>
                  <a:pt x="6162253" y="4222659"/>
                  <a:pt x="6162253" y="4228106"/>
                </a:cubicBezTo>
                <a:cubicBezTo>
                  <a:pt x="6162253" y="4233554"/>
                  <a:pt x="6157896" y="4238273"/>
                  <a:pt x="6152086" y="4238273"/>
                </a:cubicBezTo>
                <a:cubicBezTo>
                  <a:pt x="6146640" y="4238273"/>
                  <a:pt x="6141920" y="4233554"/>
                  <a:pt x="6141920" y="4228106"/>
                </a:cubicBezTo>
                <a:cubicBezTo>
                  <a:pt x="6141920" y="4222659"/>
                  <a:pt x="6146640" y="4217940"/>
                  <a:pt x="6152086" y="4217940"/>
                </a:cubicBezTo>
                <a:close/>
                <a:moveTo>
                  <a:pt x="6305668" y="4215760"/>
                </a:moveTo>
                <a:cubicBezTo>
                  <a:pt x="6312206" y="4215760"/>
                  <a:pt x="6317649" y="4221207"/>
                  <a:pt x="6317649" y="4227740"/>
                </a:cubicBezTo>
                <a:cubicBezTo>
                  <a:pt x="6317649" y="4234278"/>
                  <a:pt x="6312206" y="4239721"/>
                  <a:pt x="6305668" y="4239721"/>
                </a:cubicBezTo>
                <a:cubicBezTo>
                  <a:pt x="6299134" y="4239721"/>
                  <a:pt x="6293687" y="4234278"/>
                  <a:pt x="6293687" y="4227740"/>
                </a:cubicBezTo>
                <a:cubicBezTo>
                  <a:pt x="6293687" y="4221207"/>
                  <a:pt x="6299134" y="4215760"/>
                  <a:pt x="6305668" y="4215760"/>
                </a:cubicBezTo>
                <a:close/>
                <a:moveTo>
                  <a:pt x="6459619" y="4213945"/>
                </a:moveTo>
                <a:cubicBezTo>
                  <a:pt x="6467243" y="4213945"/>
                  <a:pt x="6473414" y="4220117"/>
                  <a:pt x="6473414" y="4227744"/>
                </a:cubicBezTo>
                <a:cubicBezTo>
                  <a:pt x="6473414" y="4235368"/>
                  <a:pt x="6467243" y="4241539"/>
                  <a:pt x="6459619" y="4241539"/>
                </a:cubicBezTo>
                <a:cubicBezTo>
                  <a:pt x="6451992" y="4241539"/>
                  <a:pt x="6445820" y="4235368"/>
                  <a:pt x="6445820" y="4227744"/>
                </a:cubicBezTo>
                <a:cubicBezTo>
                  <a:pt x="6445820" y="4220117"/>
                  <a:pt x="6451992" y="4213945"/>
                  <a:pt x="6459619" y="4213945"/>
                </a:cubicBezTo>
                <a:close/>
                <a:moveTo>
                  <a:pt x="6613200" y="4212855"/>
                </a:moveTo>
                <a:cubicBezTo>
                  <a:pt x="6621552" y="4212855"/>
                  <a:pt x="6628452" y="4219754"/>
                  <a:pt x="6628452" y="4228103"/>
                </a:cubicBezTo>
                <a:cubicBezTo>
                  <a:pt x="6628452" y="4236454"/>
                  <a:pt x="6621552" y="4243354"/>
                  <a:pt x="6613200" y="4243354"/>
                </a:cubicBezTo>
                <a:cubicBezTo>
                  <a:pt x="6604852" y="4243354"/>
                  <a:pt x="6597953" y="4236454"/>
                  <a:pt x="6597953" y="4228103"/>
                </a:cubicBezTo>
                <a:cubicBezTo>
                  <a:pt x="6597953" y="4219754"/>
                  <a:pt x="6604852" y="4212855"/>
                  <a:pt x="6613200" y="4212855"/>
                </a:cubicBezTo>
                <a:close/>
                <a:moveTo>
                  <a:pt x="4768008" y="4073793"/>
                </a:moveTo>
                <a:cubicBezTo>
                  <a:pt x="4768370" y="4073793"/>
                  <a:pt x="4768370" y="4073793"/>
                  <a:pt x="4768370" y="4074155"/>
                </a:cubicBezTo>
                <a:cubicBezTo>
                  <a:pt x="4768370" y="4074521"/>
                  <a:pt x="4768008" y="4074521"/>
                  <a:pt x="4768008" y="4074521"/>
                </a:cubicBezTo>
                <a:cubicBezTo>
                  <a:pt x="4767646" y="4074521"/>
                  <a:pt x="4767646" y="4074521"/>
                  <a:pt x="4767646" y="4074155"/>
                </a:cubicBezTo>
                <a:cubicBezTo>
                  <a:pt x="4767646" y="4073793"/>
                  <a:pt x="4767646" y="4073793"/>
                  <a:pt x="4768008" y="4073793"/>
                </a:cubicBezTo>
                <a:close/>
                <a:moveTo>
                  <a:pt x="4306532" y="4073793"/>
                </a:moveTo>
                <a:cubicBezTo>
                  <a:pt x="4306894" y="4073793"/>
                  <a:pt x="4306894" y="4073793"/>
                  <a:pt x="4306894" y="4074155"/>
                </a:cubicBezTo>
                <a:cubicBezTo>
                  <a:pt x="4306894" y="4074521"/>
                  <a:pt x="4306532" y="4074521"/>
                  <a:pt x="4306532" y="4074521"/>
                </a:cubicBezTo>
                <a:cubicBezTo>
                  <a:pt x="4306170" y="4074521"/>
                  <a:pt x="4306170" y="4074521"/>
                  <a:pt x="4306170" y="4074155"/>
                </a:cubicBezTo>
                <a:cubicBezTo>
                  <a:pt x="4306170" y="4073793"/>
                  <a:pt x="4306170" y="4073793"/>
                  <a:pt x="4306532" y="4073793"/>
                </a:cubicBezTo>
                <a:close/>
                <a:moveTo>
                  <a:pt x="4152947" y="4073793"/>
                </a:moveTo>
                <a:cubicBezTo>
                  <a:pt x="4153309" y="4073793"/>
                  <a:pt x="4153309" y="4073793"/>
                  <a:pt x="4153309" y="4074155"/>
                </a:cubicBezTo>
                <a:cubicBezTo>
                  <a:pt x="4153309" y="4074521"/>
                  <a:pt x="4152947" y="4074521"/>
                  <a:pt x="4152947" y="4074521"/>
                </a:cubicBezTo>
                <a:cubicBezTo>
                  <a:pt x="4152585" y="4074521"/>
                  <a:pt x="4152585" y="4074521"/>
                  <a:pt x="4152585" y="4074155"/>
                </a:cubicBezTo>
                <a:cubicBezTo>
                  <a:pt x="4152585" y="4073793"/>
                  <a:pt x="4152585" y="4073793"/>
                  <a:pt x="4152947" y="4073793"/>
                </a:cubicBezTo>
                <a:close/>
                <a:moveTo>
                  <a:pt x="3998996" y="4073431"/>
                </a:moveTo>
                <a:cubicBezTo>
                  <a:pt x="3999362" y="4073431"/>
                  <a:pt x="3999724" y="4073793"/>
                  <a:pt x="3999724" y="4074155"/>
                </a:cubicBezTo>
                <a:cubicBezTo>
                  <a:pt x="3999724" y="4074521"/>
                  <a:pt x="3998996" y="4074883"/>
                  <a:pt x="3998996" y="4074883"/>
                </a:cubicBezTo>
                <a:cubicBezTo>
                  <a:pt x="3998634" y="4074883"/>
                  <a:pt x="3998272" y="4074521"/>
                  <a:pt x="3998272" y="4074155"/>
                </a:cubicBezTo>
                <a:cubicBezTo>
                  <a:pt x="3998272" y="4073793"/>
                  <a:pt x="3998634" y="4073431"/>
                  <a:pt x="3998996" y="4073431"/>
                </a:cubicBezTo>
                <a:close/>
                <a:moveTo>
                  <a:pt x="4921594" y="4072344"/>
                </a:moveTo>
                <a:cubicBezTo>
                  <a:pt x="4922318" y="4072344"/>
                  <a:pt x="4923046" y="4073069"/>
                  <a:pt x="4923046" y="4073797"/>
                </a:cubicBezTo>
                <a:cubicBezTo>
                  <a:pt x="4923046" y="4074521"/>
                  <a:pt x="4921594" y="4075249"/>
                  <a:pt x="4921594" y="4075249"/>
                </a:cubicBezTo>
                <a:cubicBezTo>
                  <a:pt x="4920866" y="4075249"/>
                  <a:pt x="4920142" y="4074521"/>
                  <a:pt x="4920142" y="4073797"/>
                </a:cubicBezTo>
                <a:cubicBezTo>
                  <a:pt x="4920142" y="4073069"/>
                  <a:pt x="4920866" y="4072344"/>
                  <a:pt x="4921594" y="4072344"/>
                </a:cubicBezTo>
                <a:close/>
                <a:moveTo>
                  <a:pt x="5075541" y="4071978"/>
                </a:moveTo>
                <a:cubicBezTo>
                  <a:pt x="5076632" y="4071978"/>
                  <a:pt x="5077722" y="4073069"/>
                  <a:pt x="5077722" y="4074155"/>
                </a:cubicBezTo>
                <a:cubicBezTo>
                  <a:pt x="5077722" y="4075245"/>
                  <a:pt x="5075541" y="4076335"/>
                  <a:pt x="5075541" y="4076335"/>
                </a:cubicBezTo>
                <a:cubicBezTo>
                  <a:pt x="5074455" y="4076335"/>
                  <a:pt x="5073364" y="4075245"/>
                  <a:pt x="5073364" y="4074155"/>
                </a:cubicBezTo>
                <a:cubicBezTo>
                  <a:pt x="5073364" y="4073069"/>
                  <a:pt x="5074455" y="4071978"/>
                  <a:pt x="5075541" y="4071978"/>
                </a:cubicBezTo>
                <a:close/>
                <a:moveTo>
                  <a:pt x="5229126" y="4070892"/>
                </a:moveTo>
                <a:cubicBezTo>
                  <a:pt x="5230944" y="4070892"/>
                  <a:pt x="5232394" y="4072344"/>
                  <a:pt x="5232394" y="4074159"/>
                </a:cubicBezTo>
                <a:cubicBezTo>
                  <a:pt x="5232394" y="4075973"/>
                  <a:pt x="5230944" y="4077429"/>
                  <a:pt x="5229126" y="4077429"/>
                </a:cubicBezTo>
                <a:cubicBezTo>
                  <a:pt x="5227312" y="4077429"/>
                  <a:pt x="5225860" y="4075973"/>
                  <a:pt x="5225860" y="4074159"/>
                </a:cubicBezTo>
                <a:cubicBezTo>
                  <a:pt x="5225860" y="4072344"/>
                  <a:pt x="5227312" y="4070892"/>
                  <a:pt x="5229126" y="4070892"/>
                </a:cubicBezTo>
                <a:close/>
                <a:moveTo>
                  <a:pt x="5383074" y="4069802"/>
                </a:moveTo>
                <a:cubicBezTo>
                  <a:pt x="5385616" y="4069802"/>
                  <a:pt x="5387431" y="4071616"/>
                  <a:pt x="5387431" y="4074159"/>
                </a:cubicBezTo>
                <a:cubicBezTo>
                  <a:pt x="5387431" y="4076701"/>
                  <a:pt x="5385254" y="4078516"/>
                  <a:pt x="5383074" y="4078516"/>
                </a:cubicBezTo>
                <a:cubicBezTo>
                  <a:pt x="5380532" y="4078516"/>
                  <a:pt x="5378717" y="4076701"/>
                  <a:pt x="5378717" y="4074159"/>
                </a:cubicBezTo>
                <a:cubicBezTo>
                  <a:pt x="5378717" y="4071616"/>
                  <a:pt x="5380532" y="4069802"/>
                  <a:pt x="5383074" y="4069802"/>
                </a:cubicBezTo>
                <a:close/>
                <a:moveTo>
                  <a:pt x="5536659" y="4068349"/>
                </a:moveTo>
                <a:cubicBezTo>
                  <a:pt x="5539926" y="4068349"/>
                  <a:pt x="5542468" y="4070892"/>
                  <a:pt x="5542468" y="4074159"/>
                </a:cubicBezTo>
                <a:cubicBezTo>
                  <a:pt x="5542468" y="4077426"/>
                  <a:pt x="5539926" y="4079968"/>
                  <a:pt x="5536659" y="4079968"/>
                </a:cubicBezTo>
                <a:cubicBezTo>
                  <a:pt x="5533392" y="4079968"/>
                  <a:pt x="5530850" y="4077426"/>
                  <a:pt x="5530850" y="4074159"/>
                </a:cubicBezTo>
                <a:cubicBezTo>
                  <a:pt x="5530850" y="4070892"/>
                  <a:pt x="5533392" y="4068349"/>
                  <a:pt x="5536659" y="4068349"/>
                </a:cubicBezTo>
                <a:close/>
                <a:moveTo>
                  <a:pt x="5690606" y="4066897"/>
                </a:moveTo>
                <a:cubicBezTo>
                  <a:pt x="5694602" y="4066897"/>
                  <a:pt x="5697868" y="4070164"/>
                  <a:pt x="5697868" y="4074159"/>
                </a:cubicBezTo>
                <a:cubicBezTo>
                  <a:pt x="5697868" y="4078154"/>
                  <a:pt x="5694602" y="4081420"/>
                  <a:pt x="5690606" y="4081420"/>
                </a:cubicBezTo>
                <a:cubicBezTo>
                  <a:pt x="5686616" y="4081420"/>
                  <a:pt x="5683345" y="4078154"/>
                  <a:pt x="5683345" y="4074159"/>
                </a:cubicBezTo>
                <a:cubicBezTo>
                  <a:pt x="5683345" y="4070164"/>
                  <a:pt x="5686616" y="4066897"/>
                  <a:pt x="5690606" y="4066897"/>
                </a:cubicBezTo>
                <a:close/>
                <a:moveTo>
                  <a:pt x="5844554" y="4064717"/>
                </a:moveTo>
                <a:cubicBezTo>
                  <a:pt x="5849639" y="4064717"/>
                  <a:pt x="5853634" y="4068712"/>
                  <a:pt x="5853634" y="4073793"/>
                </a:cubicBezTo>
                <a:cubicBezTo>
                  <a:pt x="5853634" y="4078878"/>
                  <a:pt x="5849639" y="4082873"/>
                  <a:pt x="5844554" y="4082873"/>
                </a:cubicBezTo>
                <a:cubicBezTo>
                  <a:pt x="5839472" y="4082873"/>
                  <a:pt x="5835478" y="4078878"/>
                  <a:pt x="5835478" y="4073793"/>
                </a:cubicBezTo>
                <a:cubicBezTo>
                  <a:pt x="5835478" y="4068712"/>
                  <a:pt x="5839472" y="4064717"/>
                  <a:pt x="5844554" y="4064717"/>
                </a:cubicBezTo>
                <a:close/>
                <a:moveTo>
                  <a:pt x="5998139" y="4063992"/>
                </a:moveTo>
                <a:cubicBezTo>
                  <a:pt x="6003586" y="4063992"/>
                  <a:pt x="6008306" y="4068712"/>
                  <a:pt x="6008306" y="4074159"/>
                </a:cubicBezTo>
                <a:cubicBezTo>
                  <a:pt x="6008306" y="4079606"/>
                  <a:pt x="6003948" y="4084325"/>
                  <a:pt x="5998139" y="4084325"/>
                </a:cubicBezTo>
                <a:cubicBezTo>
                  <a:pt x="5992692" y="4084325"/>
                  <a:pt x="5987973" y="4079606"/>
                  <a:pt x="5987973" y="4074159"/>
                </a:cubicBezTo>
                <a:cubicBezTo>
                  <a:pt x="5987973" y="4068712"/>
                  <a:pt x="5992692" y="4063992"/>
                  <a:pt x="5998139" y="4063992"/>
                </a:cubicBezTo>
                <a:close/>
                <a:moveTo>
                  <a:pt x="6152083" y="4062174"/>
                </a:moveTo>
                <a:cubicBezTo>
                  <a:pt x="6158620" y="4062174"/>
                  <a:pt x="6164064" y="4067621"/>
                  <a:pt x="6164064" y="4074155"/>
                </a:cubicBezTo>
                <a:cubicBezTo>
                  <a:pt x="6164064" y="4080692"/>
                  <a:pt x="6158620" y="4086140"/>
                  <a:pt x="6152083" y="4086140"/>
                </a:cubicBezTo>
                <a:cubicBezTo>
                  <a:pt x="6145546" y="4086140"/>
                  <a:pt x="6140102" y="4080692"/>
                  <a:pt x="6140102" y="4074155"/>
                </a:cubicBezTo>
                <a:cubicBezTo>
                  <a:pt x="6140102" y="4067621"/>
                  <a:pt x="6145546" y="4062174"/>
                  <a:pt x="6152083" y="4062174"/>
                </a:cubicBezTo>
                <a:close/>
                <a:moveTo>
                  <a:pt x="6305672" y="4059998"/>
                </a:moveTo>
                <a:cubicBezTo>
                  <a:pt x="6313292" y="4059998"/>
                  <a:pt x="6319467" y="4066169"/>
                  <a:pt x="6319467" y="4073793"/>
                </a:cubicBezTo>
                <a:cubicBezTo>
                  <a:pt x="6319467" y="4081420"/>
                  <a:pt x="6313292" y="4087592"/>
                  <a:pt x="6305672" y="4087592"/>
                </a:cubicBezTo>
                <a:cubicBezTo>
                  <a:pt x="6298044" y="4087592"/>
                  <a:pt x="6291873" y="4081420"/>
                  <a:pt x="6291873" y="4073793"/>
                </a:cubicBezTo>
                <a:cubicBezTo>
                  <a:pt x="6291873" y="4066169"/>
                  <a:pt x="6298044" y="4059998"/>
                  <a:pt x="6305672" y="4059998"/>
                </a:cubicBezTo>
                <a:close/>
                <a:moveTo>
                  <a:pt x="6459619" y="4058907"/>
                </a:moveTo>
                <a:cubicBezTo>
                  <a:pt x="6468040" y="4058907"/>
                  <a:pt x="6474867" y="4065735"/>
                  <a:pt x="6474867" y="4074155"/>
                </a:cubicBezTo>
                <a:cubicBezTo>
                  <a:pt x="6474867" y="4082579"/>
                  <a:pt x="6468040" y="4089406"/>
                  <a:pt x="6459619" y="4089406"/>
                </a:cubicBezTo>
                <a:cubicBezTo>
                  <a:pt x="6451195" y="4089406"/>
                  <a:pt x="6444368" y="4082579"/>
                  <a:pt x="6444368" y="4074155"/>
                </a:cubicBezTo>
                <a:cubicBezTo>
                  <a:pt x="6444368" y="4065735"/>
                  <a:pt x="6451195" y="4058907"/>
                  <a:pt x="6459619" y="4058907"/>
                </a:cubicBezTo>
                <a:close/>
                <a:moveTo>
                  <a:pt x="6613197" y="4057093"/>
                </a:moveTo>
                <a:cubicBezTo>
                  <a:pt x="6622639" y="4057093"/>
                  <a:pt x="6630266" y="4064717"/>
                  <a:pt x="6630266" y="4074159"/>
                </a:cubicBezTo>
                <a:cubicBezTo>
                  <a:pt x="6630266" y="4083597"/>
                  <a:pt x="6622639" y="4091225"/>
                  <a:pt x="6613197" y="4091225"/>
                </a:cubicBezTo>
                <a:cubicBezTo>
                  <a:pt x="6603758" y="4091225"/>
                  <a:pt x="6596135" y="4083597"/>
                  <a:pt x="6596135" y="4074159"/>
                </a:cubicBezTo>
                <a:cubicBezTo>
                  <a:pt x="6596135" y="4064717"/>
                  <a:pt x="6603758" y="4057093"/>
                  <a:pt x="6613197" y="4057093"/>
                </a:cubicBezTo>
                <a:close/>
                <a:moveTo>
                  <a:pt x="4614061" y="3919845"/>
                </a:moveTo>
                <a:cubicBezTo>
                  <a:pt x="4614424" y="3919845"/>
                  <a:pt x="4614424" y="3919845"/>
                  <a:pt x="4614424" y="3920208"/>
                </a:cubicBezTo>
                <a:cubicBezTo>
                  <a:pt x="4614424" y="3920574"/>
                  <a:pt x="4614061" y="3920574"/>
                  <a:pt x="4614061" y="3920574"/>
                </a:cubicBezTo>
                <a:cubicBezTo>
                  <a:pt x="4613699" y="3920574"/>
                  <a:pt x="4613699" y="3920574"/>
                  <a:pt x="4613699" y="3920208"/>
                </a:cubicBezTo>
                <a:cubicBezTo>
                  <a:pt x="4613699" y="3919845"/>
                  <a:pt x="4613699" y="3919845"/>
                  <a:pt x="4614061" y="3919845"/>
                </a:cubicBezTo>
                <a:close/>
                <a:moveTo>
                  <a:pt x="4152947" y="3919845"/>
                </a:moveTo>
                <a:cubicBezTo>
                  <a:pt x="4153309" y="3919845"/>
                  <a:pt x="4153309" y="3919845"/>
                  <a:pt x="4153309" y="3920208"/>
                </a:cubicBezTo>
                <a:cubicBezTo>
                  <a:pt x="4153309" y="3920574"/>
                  <a:pt x="4152947" y="3920574"/>
                  <a:pt x="4152947" y="3920574"/>
                </a:cubicBezTo>
                <a:cubicBezTo>
                  <a:pt x="4152585" y="3920574"/>
                  <a:pt x="4152585" y="3920574"/>
                  <a:pt x="4152585" y="3920208"/>
                </a:cubicBezTo>
                <a:cubicBezTo>
                  <a:pt x="4152585" y="3919845"/>
                  <a:pt x="4152585" y="3919845"/>
                  <a:pt x="4152947" y="3919845"/>
                </a:cubicBezTo>
                <a:close/>
                <a:moveTo>
                  <a:pt x="3999000" y="3919845"/>
                </a:moveTo>
                <a:cubicBezTo>
                  <a:pt x="3999362" y="3919845"/>
                  <a:pt x="3999362" y="3919845"/>
                  <a:pt x="3999362" y="3920208"/>
                </a:cubicBezTo>
                <a:cubicBezTo>
                  <a:pt x="3999362" y="3920574"/>
                  <a:pt x="3999000" y="3920574"/>
                  <a:pt x="3999000" y="3920574"/>
                </a:cubicBezTo>
                <a:cubicBezTo>
                  <a:pt x="3998638" y="3920574"/>
                  <a:pt x="3998638" y="3920574"/>
                  <a:pt x="3998638" y="3920208"/>
                </a:cubicBezTo>
                <a:cubicBezTo>
                  <a:pt x="3998638" y="3919845"/>
                  <a:pt x="3998638" y="3919845"/>
                  <a:pt x="3999000" y="3919845"/>
                </a:cubicBezTo>
                <a:close/>
                <a:moveTo>
                  <a:pt x="3845418" y="3919483"/>
                </a:moveTo>
                <a:cubicBezTo>
                  <a:pt x="3845818" y="3919483"/>
                  <a:pt x="3846142" y="3919807"/>
                  <a:pt x="3846142" y="3920211"/>
                </a:cubicBezTo>
                <a:cubicBezTo>
                  <a:pt x="3846142" y="3920612"/>
                  <a:pt x="3845818" y="3920936"/>
                  <a:pt x="3845418" y="3920936"/>
                </a:cubicBezTo>
                <a:cubicBezTo>
                  <a:pt x="3845014" y="3920936"/>
                  <a:pt x="3844690" y="3920612"/>
                  <a:pt x="3844690" y="3920211"/>
                </a:cubicBezTo>
                <a:cubicBezTo>
                  <a:pt x="3844690" y="3919807"/>
                  <a:pt x="3845014" y="3919483"/>
                  <a:pt x="3845418" y="3919483"/>
                </a:cubicBezTo>
                <a:close/>
                <a:moveTo>
                  <a:pt x="4768012" y="3918759"/>
                </a:moveTo>
                <a:cubicBezTo>
                  <a:pt x="4768736" y="3918759"/>
                  <a:pt x="4769464" y="3919483"/>
                  <a:pt x="4769464" y="3920211"/>
                </a:cubicBezTo>
                <a:cubicBezTo>
                  <a:pt x="4769464" y="3920936"/>
                  <a:pt x="4768012" y="3921664"/>
                  <a:pt x="4768012" y="3921664"/>
                </a:cubicBezTo>
                <a:cubicBezTo>
                  <a:pt x="4767284" y="3921664"/>
                  <a:pt x="4766560" y="3920936"/>
                  <a:pt x="4766560" y="3920211"/>
                </a:cubicBezTo>
                <a:cubicBezTo>
                  <a:pt x="4766560" y="3919483"/>
                  <a:pt x="4767284" y="3918759"/>
                  <a:pt x="4768012" y="3918759"/>
                </a:cubicBezTo>
                <a:close/>
                <a:moveTo>
                  <a:pt x="4921594" y="3918031"/>
                </a:moveTo>
                <a:cubicBezTo>
                  <a:pt x="4922684" y="3918031"/>
                  <a:pt x="4923774" y="3919121"/>
                  <a:pt x="4923774" y="3920208"/>
                </a:cubicBezTo>
                <a:cubicBezTo>
                  <a:pt x="4923774" y="3921298"/>
                  <a:pt x="4921594" y="3922388"/>
                  <a:pt x="4921594" y="3922388"/>
                </a:cubicBezTo>
                <a:cubicBezTo>
                  <a:pt x="4920508" y="3922388"/>
                  <a:pt x="4919417" y="3921298"/>
                  <a:pt x="4919417" y="3920208"/>
                </a:cubicBezTo>
                <a:cubicBezTo>
                  <a:pt x="4919417" y="3919121"/>
                  <a:pt x="4920508" y="3918031"/>
                  <a:pt x="4921594" y="3918031"/>
                </a:cubicBezTo>
                <a:close/>
                <a:moveTo>
                  <a:pt x="5075545" y="3917307"/>
                </a:moveTo>
                <a:cubicBezTo>
                  <a:pt x="5077360" y="3917307"/>
                  <a:pt x="5078812" y="3918759"/>
                  <a:pt x="5078812" y="3920574"/>
                </a:cubicBezTo>
                <a:cubicBezTo>
                  <a:pt x="5078812" y="3922388"/>
                  <a:pt x="5077360" y="3923844"/>
                  <a:pt x="5075545" y="3923844"/>
                </a:cubicBezTo>
                <a:cubicBezTo>
                  <a:pt x="5073726" y="3923844"/>
                  <a:pt x="5072274" y="3922388"/>
                  <a:pt x="5072274" y="3920574"/>
                </a:cubicBezTo>
                <a:cubicBezTo>
                  <a:pt x="5072274" y="3918759"/>
                  <a:pt x="5073726" y="3917307"/>
                  <a:pt x="5075545" y="3917307"/>
                </a:cubicBezTo>
                <a:close/>
                <a:moveTo>
                  <a:pt x="5229126" y="3915854"/>
                </a:moveTo>
                <a:cubicBezTo>
                  <a:pt x="5231669" y="3915854"/>
                  <a:pt x="5233484" y="3917669"/>
                  <a:pt x="5233484" y="3920211"/>
                </a:cubicBezTo>
                <a:cubicBezTo>
                  <a:pt x="5233484" y="3922754"/>
                  <a:pt x="5231303" y="3924568"/>
                  <a:pt x="5229126" y="3924568"/>
                </a:cubicBezTo>
                <a:cubicBezTo>
                  <a:pt x="5226584" y="3924568"/>
                  <a:pt x="5224770" y="3922754"/>
                  <a:pt x="5224770" y="3920211"/>
                </a:cubicBezTo>
                <a:cubicBezTo>
                  <a:pt x="5224770" y="3917669"/>
                  <a:pt x="5226584" y="3915854"/>
                  <a:pt x="5229126" y="3915854"/>
                </a:cubicBezTo>
                <a:close/>
                <a:moveTo>
                  <a:pt x="5383074" y="3914764"/>
                </a:moveTo>
                <a:cubicBezTo>
                  <a:pt x="5386340" y="3914764"/>
                  <a:pt x="5388883" y="3917307"/>
                  <a:pt x="5388883" y="3920574"/>
                </a:cubicBezTo>
                <a:cubicBezTo>
                  <a:pt x="5388883" y="3923840"/>
                  <a:pt x="5386340" y="3926383"/>
                  <a:pt x="5383074" y="3926383"/>
                </a:cubicBezTo>
                <a:cubicBezTo>
                  <a:pt x="5379807" y="3926383"/>
                  <a:pt x="5377264" y="3923840"/>
                  <a:pt x="5377264" y="3920574"/>
                </a:cubicBezTo>
                <a:cubicBezTo>
                  <a:pt x="5377264" y="3917307"/>
                  <a:pt x="5379807" y="3914764"/>
                  <a:pt x="5383074" y="3914764"/>
                </a:cubicBezTo>
                <a:close/>
                <a:moveTo>
                  <a:pt x="5536659" y="3912950"/>
                </a:moveTo>
                <a:cubicBezTo>
                  <a:pt x="5540654" y="3912950"/>
                  <a:pt x="5543921" y="3916217"/>
                  <a:pt x="5543921" y="3920211"/>
                </a:cubicBezTo>
                <a:cubicBezTo>
                  <a:pt x="5543921" y="3924206"/>
                  <a:pt x="5540654" y="3927473"/>
                  <a:pt x="5536659" y="3927473"/>
                </a:cubicBezTo>
                <a:cubicBezTo>
                  <a:pt x="5532664" y="3927473"/>
                  <a:pt x="5529398" y="3924206"/>
                  <a:pt x="5529398" y="3920211"/>
                </a:cubicBezTo>
                <a:cubicBezTo>
                  <a:pt x="5529398" y="3916217"/>
                  <a:pt x="5532664" y="3912950"/>
                  <a:pt x="5536659" y="3912950"/>
                </a:cubicBezTo>
                <a:close/>
                <a:moveTo>
                  <a:pt x="5690606" y="3911135"/>
                </a:moveTo>
                <a:cubicBezTo>
                  <a:pt x="5695692" y="3911135"/>
                  <a:pt x="5699686" y="3915130"/>
                  <a:pt x="5699686" y="3920211"/>
                </a:cubicBezTo>
                <a:cubicBezTo>
                  <a:pt x="5699686" y="3925297"/>
                  <a:pt x="5695692" y="3929291"/>
                  <a:pt x="5690606" y="3929291"/>
                </a:cubicBezTo>
                <a:cubicBezTo>
                  <a:pt x="5685526" y="3929291"/>
                  <a:pt x="5681530" y="3925297"/>
                  <a:pt x="5681530" y="3920211"/>
                </a:cubicBezTo>
                <a:cubicBezTo>
                  <a:pt x="5681530" y="3915130"/>
                  <a:pt x="5685526" y="3911135"/>
                  <a:pt x="5690606" y="3911135"/>
                </a:cubicBezTo>
                <a:close/>
                <a:moveTo>
                  <a:pt x="5844554" y="3910045"/>
                </a:moveTo>
                <a:cubicBezTo>
                  <a:pt x="5850001" y="3910045"/>
                  <a:pt x="5854720" y="3914764"/>
                  <a:pt x="5854720" y="3920211"/>
                </a:cubicBezTo>
                <a:cubicBezTo>
                  <a:pt x="5854720" y="3925659"/>
                  <a:pt x="5850363" y="3930378"/>
                  <a:pt x="5844554" y="3930378"/>
                </a:cubicBezTo>
                <a:cubicBezTo>
                  <a:pt x="5839106" y="3930378"/>
                  <a:pt x="5834388" y="3925659"/>
                  <a:pt x="5834388" y="3920211"/>
                </a:cubicBezTo>
                <a:cubicBezTo>
                  <a:pt x="5834388" y="3914764"/>
                  <a:pt x="5839106" y="3910045"/>
                  <a:pt x="5844554" y="3910045"/>
                </a:cubicBezTo>
                <a:close/>
                <a:moveTo>
                  <a:pt x="5998139" y="3908227"/>
                </a:moveTo>
                <a:cubicBezTo>
                  <a:pt x="6004673" y="3908227"/>
                  <a:pt x="6010120" y="3913674"/>
                  <a:pt x="6010120" y="3920208"/>
                </a:cubicBezTo>
                <a:cubicBezTo>
                  <a:pt x="6010120" y="3926745"/>
                  <a:pt x="6004673" y="3932192"/>
                  <a:pt x="5998139" y="3932192"/>
                </a:cubicBezTo>
                <a:cubicBezTo>
                  <a:pt x="5991602" y="3932192"/>
                  <a:pt x="5986158" y="3926745"/>
                  <a:pt x="5986158" y="3920208"/>
                </a:cubicBezTo>
                <a:cubicBezTo>
                  <a:pt x="5986158" y="3913674"/>
                  <a:pt x="5991602" y="3908227"/>
                  <a:pt x="5998139" y="3908227"/>
                </a:cubicBezTo>
                <a:close/>
                <a:moveTo>
                  <a:pt x="6152086" y="3906412"/>
                </a:moveTo>
                <a:cubicBezTo>
                  <a:pt x="6159710" y="3906412"/>
                  <a:pt x="6165882" y="3912584"/>
                  <a:pt x="6165882" y="3920211"/>
                </a:cubicBezTo>
                <a:cubicBezTo>
                  <a:pt x="6165882" y="3927835"/>
                  <a:pt x="6159710" y="3934007"/>
                  <a:pt x="6152086" y="3934007"/>
                </a:cubicBezTo>
                <a:cubicBezTo>
                  <a:pt x="6144463" y="3934007"/>
                  <a:pt x="6138288" y="3927835"/>
                  <a:pt x="6138288" y="3920211"/>
                </a:cubicBezTo>
                <a:cubicBezTo>
                  <a:pt x="6138288" y="3912584"/>
                  <a:pt x="6144463" y="3906412"/>
                  <a:pt x="6152086" y="3906412"/>
                </a:cubicBezTo>
                <a:close/>
                <a:moveTo>
                  <a:pt x="6305672" y="3904960"/>
                </a:moveTo>
                <a:cubicBezTo>
                  <a:pt x="6314092" y="3904960"/>
                  <a:pt x="6320920" y="3911787"/>
                  <a:pt x="6320920" y="3920211"/>
                </a:cubicBezTo>
                <a:cubicBezTo>
                  <a:pt x="6320920" y="3928632"/>
                  <a:pt x="6314092" y="3935459"/>
                  <a:pt x="6305672" y="3935459"/>
                </a:cubicBezTo>
                <a:cubicBezTo>
                  <a:pt x="6297248" y="3935459"/>
                  <a:pt x="6290420" y="3928632"/>
                  <a:pt x="6290420" y="3920211"/>
                </a:cubicBezTo>
                <a:cubicBezTo>
                  <a:pt x="6290420" y="3911787"/>
                  <a:pt x="6297248" y="3904960"/>
                  <a:pt x="6305672" y="3904960"/>
                </a:cubicBezTo>
                <a:close/>
                <a:moveTo>
                  <a:pt x="6459616" y="3903146"/>
                </a:moveTo>
                <a:cubicBezTo>
                  <a:pt x="6469058" y="3903146"/>
                  <a:pt x="6476682" y="3910769"/>
                  <a:pt x="6476682" y="3920211"/>
                </a:cubicBezTo>
                <a:cubicBezTo>
                  <a:pt x="6476682" y="3929650"/>
                  <a:pt x="6469058" y="3937277"/>
                  <a:pt x="6459616" y="3937277"/>
                </a:cubicBezTo>
                <a:cubicBezTo>
                  <a:pt x="6450174" y="3937277"/>
                  <a:pt x="6442550" y="3929650"/>
                  <a:pt x="6442550" y="3920211"/>
                </a:cubicBezTo>
                <a:cubicBezTo>
                  <a:pt x="6442550" y="3910769"/>
                  <a:pt x="6450174" y="3903146"/>
                  <a:pt x="6459616" y="3903146"/>
                </a:cubicBezTo>
                <a:close/>
                <a:moveTo>
                  <a:pt x="6613200" y="3900969"/>
                </a:moveTo>
                <a:cubicBezTo>
                  <a:pt x="6623828" y="3900969"/>
                  <a:pt x="6632447" y="3909584"/>
                  <a:pt x="6632447" y="3920211"/>
                </a:cubicBezTo>
                <a:cubicBezTo>
                  <a:pt x="6632447" y="3930839"/>
                  <a:pt x="6623828" y="3939458"/>
                  <a:pt x="6613200" y="3939458"/>
                </a:cubicBezTo>
                <a:cubicBezTo>
                  <a:pt x="6602573" y="3939458"/>
                  <a:pt x="6593958" y="3930839"/>
                  <a:pt x="6593958" y="3920211"/>
                </a:cubicBezTo>
                <a:cubicBezTo>
                  <a:pt x="6593958" y="3909584"/>
                  <a:pt x="6602573" y="3900969"/>
                  <a:pt x="6613200" y="3900969"/>
                </a:cubicBezTo>
                <a:close/>
                <a:moveTo>
                  <a:pt x="4460480" y="3766264"/>
                </a:moveTo>
                <a:cubicBezTo>
                  <a:pt x="4460842" y="3766264"/>
                  <a:pt x="4460842" y="3766264"/>
                  <a:pt x="4460842" y="3766626"/>
                </a:cubicBezTo>
                <a:cubicBezTo>
                  <a:pt x="4460842" y="3766988"/>
                  <a:pt x="4460480" y="3766988"/>
                  <a:pt x="4460480" y="3766988"/>
                </a:cubicBezTo>
                <a:cubicBezTo>
                  <a:pt x="4460118" y="3766988"/>
                  <a:pt x="4460118" y="3766988"/>
                  <a:pt x="4460118" y="3766626"/>
                </a:cubicBezTo>
                <a:cubicBezTo>
                  <a:pt x="4460118" y="3766264"/>
                  <a:pt x="4460118" y="3766264"/>
                  <a:pt x="4460480" y="3766264"/>
                </a:cubicBezTo>
                <a:close/>
                <a:moveTo>
                  <a:pt x="3999000" y="3766264"/>
                </a:moveTo>
                <a:cubicBezTo>
                  <a:pt x="3999362" y="3766264"/>
                  <a:pt x="3999362" y="3766264"/>
                  <a:pt x="3999362" y="3766626"/>
                </a:cubicBezTo>
                <a:cubicBezTo>
                  <a:pt x="3999362" y="3766988"/>
                  <a:pt x="3999000" y="3766988"/>
                  <a:pt x="3999000" y="3766988"/>
                </a:cubicBezTo>
                <a:cubicBezTo>
                  <a:pt x="3998638" y="3766988"/>
                  <a:pt x="3998638" y="3766988"/>
                  <a:pt x="3998638" y="3766626"/>
                </a:cubicBezTo>
                <a:cubicBezTo>
                  <a:pt x="3998638" y="3766264"/>
                  <a:pt x="3998638" y="3766264"/>
                  <a:pt x="3999000" y="3766264"/>
                </a:cubicBezTo>
                <a:close/>
                <a:moveTo>
                  <a:pt x="3845414" y="3766264"/>
                </a:moveTo>
                <a:cubicBezTo>
                  <a:pt x="3845776" y="3766264"/>
                  <a:pt x="3845776" y="3766264"/>
                  <a:pt x="3845776" y="3766626"/>
                </a:cubicBezTo>
                <a:cubicBezTo>
                  <a:pt x="3845776" y="3766988"/>
                  <a:pt x="3845414" y="3766988"/>
                  <a:pt x="3845414" y="3766988"/>
                </a:cubicBezTo>
                <a:cubicBezTo>
                  <a:pt x="3845052" y="3766988"/>
                  <a:pt x="3845052" y="3766988"/>
                  <a:pt x="3845052" y="3766626"/>
                </a:cubicBezTo>
                <a:cubicBezTo>
                  <a:pt x="3845052" y="3766264"/>
                  <a:pt x="3845052" y="3766264"/>
                  <a:pt x="3845414" y="3766264"/>
                </a:cubicBezTo>
                <a:close/>
                <a:moveTo>
                  <a:pt x="3691471" y="3765902"/>
                </a:moveTo>
                <a:cubicBezTo>
                  <a:pt x="3691871" y="3765902"/>
                  <a:pt x="3692195" y="3766226"/>
                  <a:pt x="3692195" y="3766626"/>
                </a:cubicBezTo>
                <a:cubicBezTo>
                  <a:pt x="3692195" y="3767030"/>
                  <a:pt x="3691871" y="3767354"/>
                  <a:pt x="3691471" y="3767354"/>
                </a:cubicBezTo>
                <a:cubicBezTo>
                  <a:pt x="3691067" y="3767354"/>
                  <a:pt x="3690743" y="3767030"/>
                  <a:pt x="3690743" y="3766626"/>
                </a:cubicBezTo>
                <a:cubicBezTo>
                  <a:pt x="3690743" y="3766226"/>
                  <a:pt x="3691067" y="3765902"/>
                  <a:pt x="3691471" y="3765902"/>
                </a:cubicBezTo>
                <a:close/>
                <a:moveTo>
                  <a:pt x="4614065" y="3764812"/>
                </a:moveTo>
                <a:cubicBezTo>
                  <a:pt x="4614789" y="3764812"/>
                  <a:pt x="4615518" y="3765536"/>
                  <a:pt x="4615518" y="3766264"/>
                </a:cubicBezTo>
                <a:cubicBezTo>
                  <a:pt x="4615518" y="3766988"/>
                  <a:pt x="4614065" y="3767716"/>
                  <a:pt x="4614065" y="3767716"/>
                </a:cubicBezTo>
                <a:cubicBezTo>
                  <a:pt x="4613337" y="3767716"/>
                  <a:pt x="4612612" y="3766988"/>
                  <a:pt x="4612612" y="3766264"/>
                </a:cubicBezTo>
                <a:cubicBezTo>
                  <a:pt x="4612612" y="3765536"/>
                  <a:pt x="4613337" y="3764812"/>
                  <a:pt x="4614065" y="3764812"/>
                </a:cubicBezTo>
                <a:close/>
                <a:moveTo>
                  <a:pt x="4768008" y="3764450"/>
                </a:moveTo>
                <a:cubicBezTo>
                  <a:pt x="4769098" y="3764450"/>
                  <a:pt x="4770189" y="3765540"/>
                  <a:pt x="4770189" y="3766626"/>
                </a:cubicBezTo>
                <a:cubicBezTo>
                  <a:pt x="4770189" y="3767716"/>
                  <a:pt x="4768008" y="3768807"/>
                  <a:pt x="4768008" y="3768807"/>
                </a:cubicBezTo>
                <a:cubicBezTo>
                  <a:pt x="4766922" y="3768807"/>
                  <a:pt x="4765832" y="3767716"/>
                  <a:pt x="4765832" y="3766626"/>
                </a:cubicBezTo>
                <a:cubicBezTo>
                  <a:pt x="4765832" y="3765540"/>
                  <a:pt x="4766922" y="3764450"/>
                  <a:pt x="4768008" y="3764450"/>
                </a:cubicBezTo>
                <a:close/>
                <a:moveTo>
                  <a:pt x="4921594" y="3763359"/>
                </a:moveTo>
                <a:cubicBezTo>
                  <a:pt x="4923412" y="3763359"/>
                  <a:pt x="4924860" y="3764812"/>
                  <a:pt x="4924860" y="3766626"/>
                </a:cubicBezTo>
                <a:cubicBezTo>
                  <a:pt x="4924860" y="3768441"/>
                  <a:pt x="4923412" y="3769897"/>
                  <a:pt x="4921594" y="3769897"/>
                </a:cubicBezTo>
                <a:cubicBezTo>
                  <a:pt x="4919780" y="3769897"/>
                  <a:pt x="4918327" y="3768441"/>
                  <a:pt x="4918327" y="3766626"/>
                </a:cubicBezTo>
                <a:cubicBezTo>
                  <a:pt x="4918327" y="3764812"/>
                  <a:pt x="4919780" y="3763359"/>
                  <a:pt x="4921594" y="3763359"/>
                </a:cubicBezTo>
                <a:close/>
                <a:moveTo>
                  <a:pt x="5075541" y="3762269"/>
                </a:moveTo>
                <a:cubicBezTo>
                  <a:pt x="5078084" y="3762269"/>
                  <a:pt x="5079898" y="3764084"/>
                  <a:pt x="5079898" y="3766626"/>
                </a:cubicBezTo>
                <a:cubicBezTo>
                  <a:pt x="5079898" y="3769169"/>
                  <a:pt x="5077722" y="3770983"/>
                  <a:pt x="5075541" y="3770983"/>
                </a:cubicBezTo>
                <a:cubicBezTo>
                  <a:pt x="5072998" y="3770983"/>
                  <a:pt x="5071184" y="3769169"/>
                  <a:pt x="5071184" y="3766626"/>
                </a:cubicBezTo>
                <a:cubicBezTo>
                  <a:pt x="5071184" y="3764084"/>
                  <a:pt x="5072998" y="3762269"/>
                  <a:pt x="5075541" y="3762269"/>
                </a:cubicBezTo>
                <a:close/>
                <a:moveTo>
                  <a:pt x="5229126" y="3760817"/>
                </a:moveTo>
                <a:cubicBezTo>
                  <a:pt x="5232394" y="3760817"/>
                  <a:pt x="5234936" y="3763359"/>
                  <a:pt x="5234936" y="3766626"/>
                </a:cubicBezTo>
                <a:cubicBezTo>
                  <a:pt x="5234936" y="3769893"/>
                  <a:pt x="5232394" y="3772436"/>
                  <a:pt x="5229126" y="3772436"/>
                </a:cubicBezTo>
                <a:cubicBezTo>
                  <a:pt x="5225860" y="3772436"/>
                  <a:pt x="5223317" y="3769893"/>
                  <a:pt x="5223317" y="3766626"/>
                </a:cubicBezTo>
                <a:cubicBezTo>
                  <a:pt x="5223317" y="3763359"/>
                  <a:pt x="5225860" y="3760817"/>
                  <a:pt x="5229126" y="3760817"/>
                </a:cubicBezTo>
                <a:close/>
                <a:moveTo>
                  <a:pt x="5383074" y="3759365"/>
                </a:moveTo>
                <a:cubicBezTo>
                  <a:pt x="5387068" y="3759365"/>
                  <a:pt x="5390336" y="3762631"/>
                  <a:pt x="5390336" y="3766626"/>
                </a:cubicBezTo>
                <a:cubicBezTo>
                  <a:pt x="5390336" y="3770621"/>
                  <a:pt x="5387068" y="3773888"/>
                  <a:pt x="5383074" y="3773888"/>
                </a:cubicBezTo>
                <a:cubicBezTo>
                  <a:pt x="5379079" y="3773888"/>
                  <a:pt x="5375812" y="3770621"/>
                  <a:pt x="5375812" y="3766626"/>
                </a:cubicBezTo>
                <a:cubicBezTo>
                  <a:pt x="5375812" y="3762631"/>
                  <a:pt x="5379079" y="3759365"/>
                  <a:pt x="5383074" y="3759365"/>
                </a:cubicBezTo>
                <a:close/>
                <a:moveTo>
                  <a:pt x="5536659" y="3757188"/>
                </a:moveTo>
                <a:cubicBezTo>
                  <a:pt x="5541740" y="3757188"/>
                  <a:pt x="5545739" y="3761183"/>
                  <a:pt x="5545739" y="3766264"/>
                </a:cubicBezTo>
                <a:cubicBezTo>
                  <a:pt x="5545739" y="3771349"/>
                  <a:pt x="5541740" y="3775344"/>
                  <a:pt x="5536659" y="3775344"/>
                </a:cubicBezTo>
                <a:cubicBezTo>
                  <a:pt x="5531578" y="3775344"/>
                  <a:pt x="5527583" y="3771349"/>
                  <a:pt x="5527583" y="3766264"/>
                </a:cubicBezTo>
                <a:cubicBezTo>
                  <a:pt x="5527583" y="3761183"/>
                  <a:pt x="5531578" y="3757188"/>
                  <a:pt x="5536659" y="3757188"/>
                </a:cubicBezTo>
                <a:close/>
                <a:moveTo>
                  <a:pt x="5690606" y="3756460"/>
                </a:moveTo>
                <a:cubicBezTo>
                  <a:pt x="5696054" y="3756460"/>
                  <a:pt x="5700773" y="3761179"/>
                  <a:pt x="5700773" y="3766626"/>
                </a:cubicBezTo>
                <a:cubicBezTo>
                  <a:pt x="5700773" y="3772073"/>
                  <a:pt x="5696416" y="3776793"/>
                  <a:pt x="5690606" y="3776793"/>
                </a:cubicBezTo>
                <a:cubicBezTo>
                  <a:pt x="5685160" y="3776793"/>
                  <a:pt x="5680440" y="3772073"/>
                  <a:pt x="5680440" y="3766626"/>
                </a:cubicBezTo>
                <a:cubicBezTo>
                  <a:pt x="5680440" y="3761179"/>
                  <a:pt x="5685160" y="3756460"/>
                  <a:pt x="5690606" y="3756460"/>
                </a:cubicBezTo>
                <a:close/>
                <a:moveTo>
                  <a:pt x="5844550" y="3754645"/>
                </a:moveTo>
                <a:cubicBezTo>
                  <a:pt x="5851088" y="3754645"/>
                  <a:pt x="5856534" y="3760093"/>
                  <a:pt x="5856534" y="3766626"/>
                </a:cubicBezTo>
                <a:cubicBezTo>
                  <a:pt x="5856534" y="3773164"/>
                  <a:pt x="5851088" y="3778607"/>
                  <a:pt x="5844550" y="3778607"/>
                </a:cubicBezTo>
                <a:cubicBezTo>
                  <a:pt x="5838016" y="3778607"/>
                  <a:pt x="5832570" y="3773164"/>
                  <a:pt x="5832570" y="3766626"/>
                </a:cubicBezTo>
                <a:cubicBezTo>
                  <a:pt x="5832570" y="3760093"/>
                  <a:pt x="5838016" y="3754645"/>
                  <a:pt x="5844550" y="3754645"/>
                </a:cubicBezTo>
                <a:close/>
                <a:moveTo>
                  <a:pt x="5998139" y="3752465"/>
                </a:moveTo>
                <a:cubicBezTo>
                  <a:pt x="6005763" y="3752465"/>
                  <a:pt x="6011934" y="3758636"/>
                  <a:pt x="6011934" y="3766264"/>
                </a:cubicBezTo>
                <a:cubicBezTo>
                  <a:pt x="6011934" y="3773888"/>
                  <a:pt x="6005763" y="3780059"/>
                  <a:pt x="5998139" y="3780059"/>
                </a:cubicBezTo>
                <a:cubicBezTo>
                  <a:pt x="5990516" y="3780059"/>
                  <a:pt x="5984340" y="3773888"/>
                  <a:pt x="5984340" y="3766264"/>
                </a:cubicBezTo>
                <a:cubicBezTo>
                  <a:pt x="5984340" y="3758636"/>
                  <a:pt x="5990516" y="3752465"/>
                  <a:pt x="5998139" y="3752465"/>
                </a:cubicBezTo>
                <a:close/>
                <a:moveTo>
                  <a:pt x="6152086" y="3751379"/>
                </a:moveTo>
                <a:cubicBezTo>
                  <a:pt x="6160507" y="3751379"/>
                  <a:pt x="6167334" y="3758206"/>
                  <a:pt x="6167334" y="3766626"/>
                </a:cubicBezTo>
                <a:cubicBezTo>
                  <a:pt x="6167334" y="3775050"/>
                  <a:pt x="6160507" y="3781878"/>
                  <a:pt x="6152086" y="3781878"/>
                </a:cubicBezTo>
                <a:cubicBezTo>
                  <a:pt x="6143666" y="3781878"/>
                  <a:pt x="6136839" y="3775050"/>
                  <a:pt x="6136839" y="3766626"/>
                </a:cubicBezTo>
                <a:cubicBezTo>
                  <a:pt x="6136839" y="3758206"/>
                  <a:pt x="6143666" y="3751379"/>
                  <a:pt x="6152086" y="3751379"/>
                </a:cubicBezTo>
                <a:close/>
                <a:moveTo>
                  <a:pt x="6305668" y="3749560"/>
                </a:moveTo>
                <a:cubicBezTo>
                  <a:pt x="6315110" y="3749560"/>
                  <a:pt x="6322734" y="3757184"/>
                  <a:pt x="6322734" y="3766626"/>
                </a:cubicBezTo>
                <a:cubicBezTo>
                  <a:pt x="6322734" y="3776064"/>
                  <a:pt x="6315110" y="3783692"/>
                  <a:pt x="6305668" y="3783692"/>
                </a:cubicBezTo>
                <a:cubicBezTo>
                  <a:pt x="6296226" y="3783692"/>
                  <a:pt x="6288602" y="3776064"/>
                  <a:pt x="6288602" y="3766626"/>
                </a:cubicBezTo>
                <a:cubicBezTo>
                  <a:pt x="6288602" y="3757184"/>
                  <a:pt x="6296226" y="3749560"/>
                  <a:pt x="6305668" y="3749560"/>
                </a:cubicBezTo>
                <a:close/>
                <a:moveTo>
                  <a:pt x="6459616" y="3747384"/>
                </a:moveTo>
                <a:cubicBezTo>
                  <a:pt x="6470243" y="3747384"/>
                  <a:pt x="6478858" y="3755999"/>
                  <a:pt x="6478858" y="3766626"/>
                </a:cubicBezTo>
                <a:cubicBezTo>
                  <a:pt x="6478858" y="3777254"/>
                  <a:pt x="6470243" y="3785869"/>
                  <a:pt x="6459616" y="3785869"/>
                </a:cubicBezTo>
                <a:cubicBezTo>
                  <a:pt x="6448988" y="3785869"/>
                  <a:pt x="6440369" y="3777254"/>
                  <a:pt x="6440369" y="3766626"/>
                </a:cubicBezTo>
                <a:cubicBezTo>
                  <a:pt x="6440369" y="3755999"/>
                  <a:pt x="6448988" y="3747384"/>
                  <a:pt x="6459616" y="3747384"/>
                </a:cubicBezTo>
                <a:close/>
                <a:moveTo>
                  <a:pt x="6613200" y="3745203"/>
                </a:moveTo>
                <a:cubicBezTo>
                  <a:pt x="6625033" y="3745203"/>
                  <a:pt x="6634624" y="3754794"/>
                  <a:pt x="6634624" y="3766626"/>
                </a:cubicBezTo>
                <a:cubicBezTo>
                  <a:pt x="6634624" y="3778454"/>
                  <a:pt x="6625033" y="3788045"/>
                  <a:pt x="6613200" y="3788045"/>
                </a:cubicBezTo>
                <a:cubicBezTo>
                  <a:pt x="6601368" y="3788045"/>
                  <a:pt x="6591778" y="3778454"/>
                  <a:pt x="6591778" y="3766626"/>
                </a:cubicBezTo>
                <a:cubicBezTo>
                  <a:pt x="6591778" y="3754794"/>
                  <a:pt x="6601368" y="3745203"/>
                  <a:pt x="6613200" y="3745203"/>
                </a:cubicBezTo>
                <a:close/>
                <a:moveTo>
                  <a:pt x="4306532" y="3612317"/>
                </a:moveTo>
                <a:cubicBezTo>
                  <a:pt x="4306894" y="3612317"/>
                  <a:pt x="4306894" y="3612317"/>
                  <a:pt x="4306894" y="3612679"/>
                </a:cubicBezTo>
                <a:cubicBezTo>
                  <a:pt x="4306894" y="3613045"/>
                  <a:pt x="4306532" y="3613045"/>
                  <a:pt x="4306532" y="3613045"/>
                </a:cubicBezTo>
                <a:cubicBezTo>
                  <a:pt x="4306170" y="3613045"/>
                  <a:pt x="4306170" y="3613045"/>
                  <a:pt x="4306170" y="3612679"/>
                </a:cubicBezTo>
                <a:cubicBezTo>
                  <a:pt x="4306170" y="3612317"/>
                  <a:pt x="4306170" y="3612317"/>
                  <a:pt x="4306532" y="3612317"/>
                </a:cubicBezTo>
                <a:close/>
                <a:moveTo>
                  <a:pt x="3845414" y="3612317"/>
                </a:moveTo>
                <a:cubicBezTo>
                  <a:pt x="3845776" y="3612317"/>
                  <a:pt x="3845776" y="3612317"/>
                  <a:pt x="3845776" y="3612679"/>
                </a:cubicBezTo>
                <a:cubicBezTo>
                  <a:pt x="3845776" y="3613045"/>
                  <a:pt x="3845414" y="3613045"/>
                  <a:pt x="3845414" y="3613045"/>
                </a:cubicBezTo>
                <a:cubicBezTo>
                  <a:pt x="3845052" y="3613045"/>
                  <a:pt x="3845052" y="3613045"/>
                  <a:pt x="3845052" y="3612679"/>
                </a:cubicBezTo>
                <a:cubicBezTo>
                  <a:pt x="3845052" y="3612317"/>
                  <a:pt x="3845052" y="3612317"/>
                  <a:pt x="3845414" y="3612317"/>
                </a:cubicBezTo>
                <a:close/>
                <a:moveTo>
                  <a:pt x="3691467" y="3612317"/>
                </a:moveTo>
                <a:cubicBezTo>
                  <a:pt x="3691829" y="3612317"/>
                  <a:pt x="3691829" y="3612317"/>
                  <a:pt x="3691829" y="3612679"/>
                </a:cubicBezTo>
                <a:cubicBezTo>
                  <a:pt x="3691829" y="3613045"/>
                  <a:pt x="3691467" y="3613045"/>
                  <a:pt x="3691467" y="3613045"/>
                </a:cubicBezTo>
                <a:cubicBezTo>
                  <a:pt x="3691105" y="3613045"/>
                  <a:pt x="3691105" y="3613045"/>
                  <a:pt x="3691105" y="3612679"/>
                </a:cubicBezTo>
                <a:cubicBezTo>
                  <a:pt x="3691105" y="3612317"/>
                  <a:pt x="3691105" y="3612317"/>
                  <a:pt x="3691467" y="3612317"/>
                </a:cubicBezTo>
                <a:close/>
                <a:moveTo>
                  <a:pt x="3537886" y="3611955"/>
                </a:moveTo>
                <a:cubicBezTo>
                  <a:pt x="3538286" y="3611955"/>
                  <a:pt x="3538610" y="3612279"/>
                  <a:pt x="3538610" y="3612683"/>
                </a:cubicBezTo>
                <a:cubicBezTo>
                  <a:pt x="3538610" y="3613083"/>
                  <a:pt x="3538286" y="3613407"/>
                  <a:pt x="3537886" y="3613407"/>
                </a:cubicBezTo>
                <a:cubicBezTo>
                  <a:pt x="3537482" y="3613407"/>
                  <a:pt x="3537158" y="3613083"/>
                  <a:pt x="3537158" y="3612683"/>
                </a:cubicBezTo>
                <a:cubicBezTo>
                  <a:pt x="3537158" y="3612279"/>
                  <a:pt x="3537482" y="3611955"/>
                  <a:pt x="3537886" y="3611955"/>
                </a:cubicBezTo>
                <a:close/>
                <a:moveTo>
                  <a:pt x="4460480" y="3611226"/>
                </a:moveTo>
                <a:cubicBezTo>
                  <a:pt x="4461204" y="3611226"/>
                  <a:pt x="4461932" y="3611955"/>
                  <a:pt x="4461932" y="3612679"/>
                </a:cubicBezTo>
                <a:cubicBezTo>
                  <a:pt x="4461932" y="3613403"/>
                  <a:pt x="4460480" y="3614131"/>
                  <a:pt x="4460480" y="3614131"/>
                </a:cubicBezTo>
                <a:cubicBezTo>
                  <a:pt x="4459752" y="3614131"/>
                  <a:pt x="4459028" y="3613403"/>
                  <a:pt x="4459028" y="3612679"/>
                </a:cubicBezTo>
                <a:cubicBezTo>
                  <a:pt x="4459028" y="3611955"/>
                  <a:pt x="4459752" y="3611226"/>
                  <a:pt x="4460480" y="3611226"/>
                </a:cubicBezTo>
                <a:close/>
                <a:moveTo>
                  <a:pt x="4614061" y="3610502"/>
                </a:moveTo>
                <a:cubicBezTo>
                  <a:pt x="4615152" y="3610502"/>
                  <a:pt x="4616242" y="3611592"/>
                  <a:pt x="4616242" y="3612679"/>
                </a:cubicBezTo>
                <a:cubicBezTo>
                  <a:pt x="4616242" y="3613769"/>
                  <a:pt x="4614061" y="3614859"/>
                  <a:pt x="4614061" y="3614859"/>
                </a:cubicBezTo>
                <a:cubicBezTo>
                  <a:pt x="4612974" y="3614859"/>
                  <a:pt x="4611884" y="3613769"/>
                  <a:pt x="4611884" y="3612679"/>
                </a:cubicBezTo>
                <a:cubicBezTo>
                  <a:pt x="4611884" y="3611592"/>
                  <a:pt x="4612974" y="3610502"/>
                  <a:pt x="4614061" y="3610502"/>
                </a:cubicBezTo>
                <a:close/>
                <a:moveTo>
                  <a:pt x="4768008" y="3609774"/>
                </a:moveTo>
                <a:cubicBezTo>
                  <a:pt x="4769823" y="3609774"/>
                  <a:pt x="4771276" y="3611226"/>
                  <a:pt x="4771276" y="3613041"/>
                </a:cubicBezTo>
                <a:cubicBezTo>
                  <a:pt x="4771276" y="3614855"/>
                  <a:pt x="4769823" y="3616312"/>
                  <a:pt x="4768008" y="3616312"/>
                </a:cubicBezTo>
                <a:cubicBezTo>
                  <a:pt x="4766194" y="3616312"/>
                  <a:pt x="4764742" y="3614855"/>
                  <a:pt x="4764742" y="3613041"/>
                </a:cubicBezTo>
                <a:cubicBezTo>
                  <a:pt x="4764742" y="3611226"/>
                  <a:pt x="4766194" y="3609774"/>
                  <a:pt x="4768008" y="3609774"/>
                </a:cubicBezTo>
                <a:close/>
                <a:moveTo>
                  <a:pt x="4921594" y="3608322"/>
                </a:moveTo>
                <a:cubicBezTo>
                  <a:pt x="4924136" y="3608322"/>
                  <a:pt x="4925951" y="3610136"/>
                  <a:pt x="4925951" y="3612679"/>
                </a:cubicBezTo>
                <a:cubicBezTo>
                  <a:pt x="4925951" y="3615221"/>
                  <a:pt x="4923770" y="3617036"/>
                  <a:pt x="4921594" y="3617036"/>
                </a:cubicBezTo>
                <a:cubicBezTo>
                  <a:pt x="4919052" y="3617036"/>
                  <a:pt x="4917237" y="3615221"/>
                  <a:pt x="4917237" y="3612679"/>
                </a:cubicBezTo>
                <a:cubicBezTo>
                  <a:pt x="4917237" y="3610136"/>
                  <a:pt x="4919052" y="3608322"/>
                  <a:pt x="4921594" y="3608322"/>
                </a:cubicBezTo>
                <a:close/>
                <a:moveTo>
                  <a:pt x="5075541" y="3607232"/>
                </a:moveTo>
                <a:cubicBezTo>
                  <a:pt x="5078808" y="3607232"/>
                  <a:pt x="5081350" y="3609774"/>
                  <a:pt x="5081350" y="3613041"/>
                </a:cubicBezTo>
                <a:cubicBezTo>
                  <a:pt x="5081350" y="3616308"/>
                  <a:pt x="5078808" y="3618850"/>
                  <a:pt x="5075541" y="3618850"/>
                </a:cubicBezTo>
                <a:cubicBezTo>
                  <a:pt x="5072274" y="3618850"/>
                  <a:pt x="5069732" y="3616308"/>
                  <a:pt x="5069732" y="3613041"/>
                </a:cubicBezTo>
                <a:cubicBezTo>
                  <a:pt x="5069732" y="3609774"/>
                  <a:pt x="5072274" y="3607232"/>
                  <a:pt x="5075541" y="3607232"/>
                </a:cubicBezTo>
                <a:close/>
                <a:moveTo>
                  <a:pt x="5229126" y="3605417"/>
                </a:moveTo>
                <a:cubicBezTo>
                  <a:pt x="5233122" y="3605417"/>
                  <a:pt x="5236388" y="3608684"/>
                  <a:pt x="5236388" y="3612679"/>
                </a:cubicBezTo>
                <a:cubicBezTo>
                  <a:pt x="5236388" y="3616674"/>
                  <a:pt x="5233122" y="3619940"/>
                  <a:pt x="5229126" y="3619940"/>
                </a:cubicBezTo>
                <a:cubicBezTo>
                  <a:pt x="5225132" y="3619940"/>
                  <a:pt x="5221865" y="3616674"/>
                  <a:pt x="5221865" y="3612679"/>
                </a:cubicBezTo>
                <a:cubicBezTo>
                  <a:pt x="5221865" y="3608684"/>
                  <a:pt x="5225132" y="3605417"/>
                  <a:pt x="5229126" y="3605417"/>
                </a:cubicBezTo>
                <a:close/>
                <a:moveTo>
                  <a:pt x="5383074" y="3603603"/>
                </a:moveTo>
                <a:cubicBezTo>
                  <a:pt x="5388159" y="3603603"/>
                  <a:pt x="5392154" y="3607598"/>
                  <a:pt x="5392154" y="3612679"/>
                </a:cubicBezTo>
                <a:cubicBezTo>
                  <a:pt x="5392154" y="3617764"/>
                  <a:pt x="5388159" y="3621759"/>
                  <a:pt x="5383074" y="3621759"/>
                </a:cubicBezTo>
                <a:cubicBezTo>
                  <a:pt x="5377992" y="3621759"/>
                  <a:pt x="5373998" y="3617764"/>
                  <a:pt x="5373998" y="3612679"/>
                </a:cubicBezTo>
                <a:cubicBezTo>
                  <a:pt x="5373998" y="3607598"/>
                  <a:pt x="5377992" y="3603603"/>
                  <a:pt x="5383074" y="3603603"/>
                </a:cubicBezTo>
                <a:close/>
                <a:moveTo>
                  <a:pt x="5536659" y="3602512"/>
                </a:moveTo>
                <a:cubicBezTo>
                  <a:pt x="5542106" y="3602512"/>
                  <a:pt x="5546826" y="3607232"/>
                  <a:pt x="5546826" y="3612679"/>
                </a:cubicBezTo>
                <a:cubicBezTo>
                  <a:pt x="5546826" y="3618126"/>
                  <a:pt x="5542468" y="3622845"/>
                  <a:pt x="5536659" y="3622845"/>
                </a:cubicBezTo>
                <a:cubicBezTo>
                  <a:pt x="5531212" y="3622845"/>
                  <a:pt x="5526493" y="3618126"/>
                  <a:pt x="5526493" y="3612679"/>
                </a:cubicBezTo>
                <a:cubicBezTo>
                  <a:pt x="5526493" y="3607232"/>
                  <a:pt x="5531212" y="3602512"/>
                  <a:pt x="5536659" y="3602512"/>
                </a:cubicBezTo>
                <a:close/>
                <a:moveTo>
                  <a:pt x="5690602" y="3600698"/>
                </a:moveTo>
                <a:cubicBezTo>
                  <a:pt x="5697140" y="3600698"/>
                  <a:pt x="5702584" y="3606145"/>
                  <a:pt x="5702584" y="3612679"/>
                </a:cubicBezTo>
                <a:cubicBezTo>
                  <a:pt x="5702584" y="3619216"/>
                  <a:pt x="5697140" y="3624663"/>
                  <a:pt x="5690602" y="3624663"/>
                </a:cubicBezTo>
                <a:cubicBezTo>
                  <a:pt x="5684069" y="3624663"/>
                  <a:pt x="5678622" y="3619216"/>
                  <a:pt x="5678622" y="3612679"/>
                </a:cubicBezTo>
                <a:cubicBezTo>
                  <a:pt x="5678622" y="3606145"/>
                  <a:pt x="5684069" y="3600698"/>
                  <a:pt x="5690602" y="3600698"/>
                </a:cubicBezTo>
                <a:close/>
                <a:moveTo>
                  <a:pt x="5844554" y="3598884"/>
                </a:moveTo>
                <a:cubicBezTo>
                  <a:pt x="5852170" y="3598884"/>
                  <a:pt x="5858349" y="3605063"/>
                  <a:pt x="5858349" y="3612683"/>
                </a:cubicBezTo>
                <a:cubicBezTo>
                  <a:pt x="5858349" y="3620303"/>
                  <a:pt x="5852174" y="3626478"/>
                  <a:pt x="5844554" y="3626478"/>
                </a:cubicBezTo>
                <a:cubicBezTo>
                  <a:pt x="5836934" y="3626478"/>
                  <a:pt x="5830755" y="3620299"/>
                  <a:pt x="5830755" y="3612683"/>
                </a:cubicBezTo>
                <a:cubicBezTo>
                  <a:pt x="5830755" y="3605059"/>
                  <a:pt x="5836930" y="3598884"/>
                  <a:pt x="5844554" y="3598884"/>
                </a:cubicBezTo>
                <a:close/>
                <a:moveTo>
                  <a:pt x="5998139" y="3597431"/>
                </a:moveTo>
                <a:cubicBezTo>
                  <a:pt x="6006560" y="3597431"/>
                  <a:pt x="6013387" y="3604258"/>
                  <a:pt x="6013387" y="3612683"/>
                </a:cubicBezTo>
                <a:cubicBezTo>
                  <a:pt x="6013387" y="3621103"/>
                  <a:pt x="6006560" y="3627930"/>
                  <a:pt x="5998139" y="3627930"/>
                </a:cubicBezTo>
                <a:cubicBezTo>
                  <a:pt x="5989718" y="3627930"/>
                  <a:pt x="5982892" y="3621103"/>
                  <a:pt x="5982892" y="3612683"/>
                </a:cubicBezTo>
                <a:cubicBezTo>
                  <a:pt x="5982892" y="3604258"/>
                  <a:pt x="5989718" y="3597431"/>
                  <a:pt x="5998139" y="3597431"/>
                </a:cubicBezTo>
                <a:close/>
                <a:moveTo>
                  <a:pt x="6152083" y="3595613"/>
                </a:moveTo>
                <a:cubicBezTo>
                  <a:pt x="6161525" y="3595613"/>
                  <a:pt x="6169152" y="3603237"/>
                  <a:pt x="6169152" y="3612679"/>
                </a:cubicBezTo>
                <a:cubicBezTo>
                  <a:pt x="6169152" y="3622117"/>
                  <a:pt x="6161525" y="3629745"/>
                  <a:pt x="6152083" y="3629745"/>
                </a:cubicBezTo>
                <a:cubicBezTo>
                  <a:pt x="6142644" y="3629745"/>
                  <a:pt x="6135020" y="3622117"/>
                  <a:pt x="6135020" y="3612679"/>
                </a:cubicBezTo>
                <a:cubicBezTo>
                  <a:pt x="6135020" y="3603237"/>
                  <a:pt x="6142644" y="3595613"/>
                  <a:pt x="6152083" y="3595613"/>
                </a:cubicBezTo>
                <a:close/>
                <a:moveTo>
                  <a:pt x="6305668" y="3593436"/>
                </a:moveTo>
                <a:cubicBezTo>
                  <a:pt x="6316296" y="3593436"/>
                  <a:pt x="6324910" y="3602051"/>
                  <a:pt x="6324910" y="3612679"/>
                </a:cubicBezTo>
                <a:cubicBezTo>
                  <a:pt x="6324910" y="3623306"/>
                  <a:pt x="6316296" y="3631921"/>
                  <a:pt x="6305668" y="3631921"/>
                </a:cubicBezTo>
                <a:cubicBezTo>
                  <a:pt x="6295040" y="3631921"/>
                  <a:pt x="6286422" y="3623306"/>
                  <a:pt x="6286422" y="3612679"/>
                </a:cubicBezTo>
                <a:cubicBezTo>
                  <a:pt x="6286422" y="3602051"/>
                  <a:pt x="6295040" y="3593436"/>
                  <a:pt x="6305668" y="3593436"/>
                </a:cubicBezTo>
                <a:close/>
                <a:moveTo>
                  <a:pt x="6459616" y="3591256"/>
                </a:moveTo>
                <a:cubicBezTo>
                  <a:pt x="6471448" y="3591256"/>
                  <a:pt x="6481038" y="3600847"/>
                  <a:pt x="6481038" y="3612679"/>
                </a:cubicBezTo>
                <a:cubicBezTo>
                  <a:pt x="6481038" y="3624507"/>
                  <a:pt x="6471448" y="3634098"/>
                  <a:pt x="6459616" y="3634098"/>
                </a:cubicBezTo>
                <a:cubicBezTo>
                  <a:pt x="6447784" y="3634098"/>
                  <a:pt x="6438192" y="3624507"/>
                  <a:pt x="6438192" y="3612679"/>
                </a:cubicBezTo>
                <a:cubicBezTo>
                  <a:pt x="6438192" y="3600847"/>
                  <a:pt x="6447784" y="3591256"/>
                  <a:pt x="6459616" y="3591256"/>
                </a:cubicBezTo>
                <a:close/>
                <a:moveTo>
                  <a:pt x="6613200" y="3589804"/>
                </a:moveTo>
                <a:cubicBezTo>
                  <a:pt x="6625834" y="3589804"/>
                  <a:pt x="6636072" y="3600046"/>
                  <a:pt x="6636072" y="3612679"/>
                </a:cubicBezTo>
                <a:cubicBezTo>
                  <a:pt x="6636072" y="3625311"/>
                  <a:pt x="6625834" y="3635550"/>
                  <a:pt x="6613200" y="3635550"/>
                </a:cubicBezTo>
                <a:cubicBezTo>
                  <a:pt x="6600564" y="3635550"/>
                  <a:pt x="6590326" y="3625311"/>
                  <a:pt x="6590326" y="3612679"/>
                </a:cubicBezTo>
                <a:cubicBezTo>
                  <a:pt x="6590326" y="3600046"/>
                  <a:pt x="6600564" y="3589804"/>
                  <a:pt x="6613200" y="3589804"/>
                </a:cubicBezTo>
                <a:close/>
                <a:moveTo>
                  <a:pt x="4152947" y="3458731"/>
                </a:moveTo>
                <a:cubicBezTo>
                  <a:pt x="4153309" y="3458731"/>
                  <a:pt x="4153309" y="3458731"/>
                  <a:pt x="4153309" y="3459094"/>
                </a:cubicBezTo>
                <a:cubicBezTo>
                  <a:pt x="4153309" y="3459456"/>
                  <a:pt x="4152947" y="3459456"/>
                  <a:pt x="4152947" y="3459456"/>
                </a:cubicBezTo>
                <a:cubicBezTo>
                  <a:pt x="4152585" y="3459456"/>
                  <a:pt x="4152585" y="3459456"/>
                  <a:pt x="4152585" y="3459094"/>
                </a:cubicBezTo>
                <a:cubicBezTo>
                  <a:pt x="4152585" y="3458731"/>
                  <a:pt x="4152585" y="3458731"/>
                  <a:pt x="4152947" y="3458731"/>
                </a:cubicBezTo>
                <a:close/>
                <a:moveTo>
                  <a:pt x="3691467" y="3458731"/>
                </a:moveTo>
                <a:cubicBezTo>
                  <a:pt x="3691829" y="3458731"/>
                  <a:pt x="3691829" y="3458731"/>
                  <a:pt x="3691829" y="3459094"/>
                </a:cubicBezTo>
                <a:cubicBezTo>
                  <a:pt x="3691829" y="3459456"/>
                  <a:pt x="3691467" y="3459456"/>
                  <a:pt x="3691467" y="3459456"/>
                </a:cubicBezTo>
                <a:cubicBezTo>
                  <a:pt x="3691105" y="3459456"/>
                  <a:pt x="3691105" y="3459456"/>
                  <a:pt x="3691105" y="3459094"/>
                </a:cubicBezTo>
                <a:cubicBezTo>
                  <a:pt x="3691105" y="3458731"/>
                  <a:pt x="3691105" y="3458731"/>
                  <a:pt x="3691467" y="3458731"/>
                </a:cubicBezTo>
                <a:close/>
                <a:moveTo>
                  <a:pt x="3537882" y="3458731"/>
                </a:moveTo>
                <a:cubicBezTo>
                  <a:pt x="3538244" y="3458731"/>
                  <a:pt x="3538244" y="3458731"/>
                  <a:pt x="3538244" y="3459094"/>
                </a:cubicBezTo>
                <a:cubicBezTo>
                  <a:pt x="3538244" y="3459456"/>
                  <a:pt x="3537882" y="3459456"/>
                  <a:pt x="3537882" y="3459456"/>
                </a:cubicBezTo>
                <a:cubicBezTo>
                  <a:pt x="3537520" y="3459456"/>
                  <a:pt x="3537520" y="3459456"/>
                  <a:pt x="3537520" y="3459094"/>
                </a:cubicBezTo>
                <a:cubicBezTo>
                  <a:pt x="3537520" y="3458731"/>
                  <a:pt x="3537520" y="3458731"/>
                  <a:pt x="3537882" y="3458731"/>
                </a:cubicBezTo>
                <a:close/>
                <a:moveTo>
                  <a:pt x="3383938" y="3458369"/>
                </a:moveTo>
                <a:cubicBezTo>
                  <a:pt x="3384338" y="3458369"/>
                  <a:pt x="3384662" y="3458693"/>
                  <a:pt x="3384662" y="3459094"/>
                </a:cubicBezTo>
                <a:cubicBezTo>
                  <a:pt x="3384662" y="3459498"/>
                  <a:pt x="3384338" y="3459822"/>
                  <a:pt x="3383938" y="3459822"/>
                </a:cubicBezTo>
                <a:cubicBezTo>
                  <a:pt x="3383534" y="3459822"/>
                  <a:pt x="3383210" y="3459498"/>
                  <a:pt x="3383210" y="3459094"/>
                </a:cubicBezTo>
                <a:cubicBezTo>
                  <a:pt x="3383210" y="3458693"/>
                  <a:pt x="3383534" y="3458369"/>
                  <a:pt x="3383938" y="3458369"/>
                </a:cubicBezTo>
                <a:close/>
                <a:moveTo>
                  <a:pt x="4306532" y="3457279"/>
                </a:moveTo>
                <a:cubicBezTo>
                  <a:pt x="4307256" y="3457279"/>
                  <a:pt x="4307984" y="3458003"/>
                  <a:pt x="4307984" y="3458731"/>
                </a:cubicBezTo>
                <a:cubicBezTo>
                  <a:pt x="4307984" y="3459456"/>
                  <a:pt x="4306532" y="3460184"/>
                  <a:pt x="4306532" y="3460184"/>
                </a:cubicBezTo>
                <a:cubicBezTo>
                  <a:pt x="4305804" y="3460184"/>
                  <a:pt x="4305080" y="3459456"/>
                  <a:pt x="4305080" y="3458731"/>
                </a:cubicBezTo>
                <a:cubicBezTo>
                  <a:pt x="4305080" y="3458003"/>
                  <a:pt x="4305804" y="3457279"/>
                  <a:pt x="4306532" y="3457279"/>
                </a:cubicBezTo>
                <a:close/>
                <a:moveTo>
                  <a:pt x="4460480" y="3456917"/>
                </a:moveTo>
                <a:cubicBezTo>
                  <a:pt x="4461680" y="3456917"/>
                  <a:pt x="4462656" y="3457893"/>
                  <a:pt x="4462656" y="3459094"/>
                </a:cubicBezTo>
                <a:cubicBezTo>
                  <a:pt x="4462656" y="3460298"/>
                  <a:pt x="4461680" y="3461274"/>
                  <a:pt x="4460480" y="3461274"/>
                </a:cubicBezTo>
                <a:cubicBezTo>
                  <a:pt x="4459275" y="3461274"/>
                  <a:pt x="4458300" y="3460298"/>
                  <a:pt x="4458300" y="3459094"/>
                </a:cubicBezTo>
                <a:cubicBezTo>
                  <a:pt x="4458300" y="3457893"/>
                  <a:pt x="4459275" y="3456917"/>
                  <a:pt x="4460480" y="3456917"/>
                </a:cubicBezTo>
                <a:close/>
                <a:moveTo>
                  <a:pt x="4614061" y="3455827"/>
                </a:moveTo>
                <a:cubicBezTo>
                  <a:pt x="4615880" y="3455827"/>
                  <a:pt x="4617328" y="3457279"/>
                  <a:pt x="4617328" y="3459094"/>
                </a:cubicBezTo>
                <a:cubicBezTo>
                  <a:pt x="4617328" y="3460908"/>
                  <a:pt x="4615880" y="3462364"/>
                  <a:pt x="4614061" y="3462364"/>
                </a:cubicBezTo>
                <a:cubicBezTo>
                  <a:pt x="4612246" y="3462364"/>
                  <a:pt x="4610794" y="3460908"/>
                  <a:pt x="4610794" y="3459094"/>
                </a:cubicBezTo>
                <a:cubicBezTo>
                  <a:pt x="4610794" y="3457279"/>
                  <a:pt x="4612246" y="3455827"/>
                  <a:pt x="4614061" y="3455827"/>
                </a:cubicBezTo>
                <a:close/>
                <a:moveTo>
                  <a:pt x="4768008" y="3454374"/>
                </a:moveTo>
                <a:cubicBezTo>
                  <a:pt x="4770551" y="3454374"/>
                  <a:pt x="4772366" y="3456189"/>
                  <a:pt x="4772366" y="3458731"/>
                </a:cubicBezTo>
                <a:cubicBezTo>
                  <a:pt x="4772366" y="3461274"/>
                  <a:pt x="4770189" y="3463088"/>
                  <a:pt x="4768008" y="3463088"/>
                </a:cubicBezTo>
                <a:cubicBezTo>
                  <a:pt x="4765466" y="3463088"/>
                  <a:pt x="4763652" y="3461274"/>
                  <a:pt x="4763652" y="3458731"/>
                </a:cubicBezTo>
                <a:cubicBezTo>
                  <a:pt x="4763652" y="3456189"/>
                  <a:pt x="4765466" y="3454374"/>
                  <a:pt x="4768008" y="3454374"/>
                </a:cubicBezTo>
                <a:close/>
                <a:moveTo>
                  <a:pt x="4921594" y="3453284"/>
                </a:moveTo>
                <a:cubicBezTo>
                  <a:pt x="4924860" y="3453284"/>
                  <a:pt x="4927403" y="3455827"/>
                  <a:pt x="4927403" y="3459094"/>
                </a:cubicBezTo>
                <a:cubicBezTo>
                  <a:pt x="4927403" y="3462360"/>
                  <a:pt x="4924860" y="3464903"/>
                  <a:pt x="4921594" y="3464903"/>
                </a:cubicBezTo>
                <a:cubicBezTo>
                  <a:pt x="4918327" y="3464903"/>
                  <a:pt x="4915784" y="3462360"/>
                  <a:pt x="4915784" y="3459094"/>
                </a:cubicBezTo>
                <a:cubicBezTo>
                  <a:pt x="4915784" y="3455827"/>
                  <a:pt x="4918327" y="3453284"/>
                  <a:pt x="4921594" y="3453284"/>
                </a:cubicBezTo>
                <a:close/>
                <a:moveTo>
                  <a:pt x="5075541" y="3451832"/>
                </a:moveTo>
                <a:cubicBezTo>
                  <a:pt x="5079536" y="3451832"/>
                  <a:pt x="5082803" y="3455099"/>
                  <a:pt x="5082803" y="3459094"/>
                </a:cubicBezTo>
                <a:cubicBezTo>
                  <a:pt x="5082803" y="3463088"/>
                  <a:pt x="5079536" y="3466355"/>
                  <a:pt x="5075541" y="3466355"/>
                </a:cubicBezTo>
                <a:cubicBezTo>
                  <a:pt x="5071546" y="3466355"/>
                  <a:pt x="5068280" y="3463088"/>
                  <a:pt x="5068280" y="3459094"/>
                </a:cubicBezTo>
                <a:cubicBezTo>
                  <a:pt x="5068280" y="3455099"/>
                  <a:pt x="5071546" y="3451832"/>
                  <a:pt x="5075541" y="3451832"/>
                </a:cubicBezTo>
                <a:close/>
                <a:moveTo>
                  <a:pt x="5229126" y="3449655"/>
                </a:moveTo>
                <a:cubicBezTo>
                  <a:pt x="5234212" y="3449655"/>
                  <a:pt x="5238206" y="3453650"/>
                  <a:pt x="5238206" y="3458731"/>
                </a:cubicBezTo>
                <a:cubicBezTo>
                  <a:pt x="5238206" y="3463816"/>
                  <a:pt x="5234212" y="3467811"/>
                  <a:pt x="5229126" y="3467811"/>
                </a:cubicBezTo>
                <a:cubicBezTo>
                  <a:pt x="5224045" y="3467811"/>
                  <a:pt x="5220050" y="3463816"/>
                  <a:pt x="5220050" y="3458731"/>
                </a:cubicBezTo>
                <a:cubicBezTo>
                  <a:pt x="5220050" y="3453650"/>
                  <a:pt x="5224045" y="3449655"/>
                  <a:pt x="5229126" y="3449655"/>
                </a:cubicBezTo>
                <a:close/>
                <a:moveTo>
                  <a:pt x="5383074" y="3448927"/>
                </a:moveTo>
                <a:cubicBezTo>
                  <a:pt x="5388521" y="3448927"/>
                  <a:pt x="5393240" y="3453646"/>
                  <a:pt x="5393240" y="3459094"/>
                </a:cubicBezTo>
                <a:cubicBezTo>
                  <a:pt x="5393240" y="3464541"/>
                  <a:pt x="5388883" y="3469260"/>
                  <a:pt x="5383074" y="3469260"/>
                </a:cubicBezTo>
                <a:cubicBezTo>
                  <a:pt x="5377626" y="3469260"/>
                  <a:pt x="5372908" y="3464541"/>
                  <a:pt x="5372908" y="3459094"/>
                </a:cubicBezTo>
                <a:cubicBezTo>
                  <a:pt x="5372908" y="3453646"/>
                  <a:pt x="5377626" y="3448927"/>
                  <a:pt x="5383074" y="3448927"/>
                </a:cubicBezTo>
                <a:close/>
                <a:moveTo>
                  <a:pt x="5536659" y="3447113"/>
                </a:moveTo>
                <a:cubicBezTo>
                  <a:pt x="5543196" y="3447113"/>
                  <a:pt x="5548640" y="3452560"/>
                  <a:pt x="5548640" y="3459094"/>
                </a:cubicBezTo>
                <a:cubicBezTo>
                  <a:pt x="5548640" y="3465631"/>
                  <a:pt x="5543196" y="3471074"/>
                  <a:pt x="5536659" y="3471074"/>
                </a:cubicBezTo>
                <a:cubicBezTo>
                  <a:pt x="5530122" y="3471074"/>
                  <a:pt x="5524678" y="3465631"/>
                  <a:pt x="5524678" y="3459094"/>
                </a:cubicBezTo>
                <a:cubicBezTo>
                  <a:pt x="5524678" y="3452560"/>
                  <a:pt x="5530122" y="3447113"/>
                  <a:pt x="5536659" y="3447113"/>
                </a:cubicBezTo>
                <a:close/>
                <a:moveTo>
                  <a:pt x="5690606" y="3445298"/>
                </a:moveTo>
                <a:cubicBezTo>
                  <a:pt x="5698222" y="3445298"/>
                  <a:pt x="5704402" y="3451477"/>
                  <a:pt x="5704402" y="3459094"/>
                </a:cubicBezTo>
                <a:cubicBezTo>
                  <a:pt x="5704402" y="3466714"/>
                  <a:pt x="5698226" y="3472893"/>
                  <a:pt x="5690606" y="3472893"/>
                </a:cubicBezTo>
                <a:cubicBezTo>
                  <a:pt x="5682986" y="3472893"/>
                  <a:pt x="5676808" y="3466714"/>
                  <a:pt x="5676808" y="3459094"/>
                </a:cubicBezTo>
                <a:cubicBezTo>
                  <a:pt x="5676808" y="3451474"/>
                  <a:pt x="5682982" y="3445298"/>
                  <a:pt x="5690606" y="3445298"/>
                </a:cubicBezTo>
                <a:close/>
                <a:moveTo>
                  <a:pt x="5844554" y="3443846"/>
                </a:moveTo>
                <a:cubicBezTo>
                  <a:pt x="5852974" y="3443846"/>
                  <a:pt x="5859802" y="3450673"/>
                  <a:pt x="5859802" y="3459094"/>
                </a:cubicBezTo>
                <a:cubicBezTo>
                  <a:pt x="5859802" y="3467518"/>
                  <a:pt x="5852974" y="3474345"/>
                  <a:pt x="5844554" y="3474345"/>
                </a:cubicBezTo>
                <a:cubicBezTo>
                  <a:pt x="5836130" y="3474345"/>
                  <a:pt x="5829302" y="3467518"/>
                  <a:pt x="5829302" y="3459094"/>
                </a:cubicBezTo>
                <a:cubicBezTo>
                  <a:pt x="5829302" y="3450673"/>
                  <a:pt x="5836130" y="3443846"/>
                  <a:pt x="5844554" y="3443846"/>
                </a:cubicBezTo>
                <a:close/>
                <a:moveTo>
                  <a:pt x="5998139" y="3442031"/>
                </a:moveTo>
                <a:cubicBezTo>
                  <a:pt x="6007566" y="3442031"/>
                  <a:pt x="6015205" y="3449670"/>
                  <a:pt x="6015205" y="3459097"/>
                </a:cubicBezTo>
                <a:cubicBezTo>
                  <a:pt x="6015205" y="3468520"/>
                  <a:pt x="6007562" y="3476159"/>
                  <a:pt x="5998139" y="3476159"/>
                </a:cubicBezTo>
                <a:cubicBezTo>
                  <a:pt x="5988716" y="3476159"/>
                  <a:pt x="5981077" y="3468520"/>
                  <a:pt x="5981077" y="3459097"/>
                </a:cubicBezTo>
                <a:cubicBezTo>
                  <a:pt x="5981077" y="3449670"/>
                  <a:pt x="5988716" y="3442031"/>
                  <a:pt x="5998139" y="3442031"/>
                </a:cubicBezTo>
                <a:close/>
                <a:moveTo>
                  <a:pt x="6152083" y="3439851"/>
                </a:moveTo>
                <a:cubicBezTo>
                  <a:pt x="6162710" y="3439851"/>
                  <a:pt x="6171329" y="3448466"/>
                  <a:pt x="6171329" y="3459094"/>
                </a:cubicBezTo>
                <a:cubicBezTo>
                  <a:pt x="6171329" y="3469721"/>
                  <a:pt x="6162710" y="3478336"/>
                  <a:pt x="6152083" y="3478336"/>
                </a:cubicBezTo>
                <a:cubicBezTo>
                  <a:pt x="6141455" y="3478336"/>
                  <a:pt x="6132836" y="3469721"/>
                  <a:pt x="6132836" y="3459094"/>
                </a:cubicBezTo>
                <a:cubicBezTo>
                  <a:pt x="6132836" y="3448466"/>
                  <a:pt x="6141455" y="3439851"/>
                  <a:pt x="6152083" y="3439851"/>
                </a:cubicBezTo>
                <a:close/>
                <a:moveTo>
                  <a:pt x="6305668" y="3437674"/>
                </a:moveTo>
                <a:cubicBezTo>
                  <a:pt x="6317500" y="3437674"/>
                  <a:pt x="6327091" y="3447265"/>
                  <a:pt x="6327091" y="3459097"/>
                </a:cubicBezTo>
                <a:cubicBezTo>
                  <a:pt x="6327091" y="3470926"/>
                  <a:pt x="6317500" y="3480516"/>
                  <a:pt x="6305668" y="3480516"/>
                </a:cubicBezTo>
                <a:cubicBezTo>
                  <a:pt x="6293836" y="3480516"/>
                  <a:pt x="6284245" y="3470926"/>
                  <a:pt x="6284245" y="3459097"/>
                </a:cubicBezTo>
                <a:cubicBezTo>
                  <a:pt x="6284245" y="3447265"/>
                  <a:pt x="6293836" y="3437674"/>
                  <a:pt x="6305668" y="3437674"/>
                </a:cubicBezTo>
                <a:close/>
                <a:moveTo>
                  <a:pt x="6459619" y="3436222"/>
                </a:moveTo>
                <a:cubicBezTo>
                  <a:pt x="6472252" y="3436222"/>
                  <a:pt x="6482494" y="3446465"/>
                  <a:pt x="6482494" y="3459097"/>
                </a:cubicBezTo>
                <a:cubicBezTo>
                  <a:pt x="6482494" y="3471730"/>
                  <a:pt x="6472252" y="3481969"/>
                  <a:pt x="6459619" y="3481969"/>
                </a:cubicBezTo>
                <a:cubicBezTo>
                  <a:pt x="6446983" y="3481969"/>
                  <a:pt x="6436744" y="3471730"/>
                  <a:pt x="6436744" y="3459097"/>
                </a:cubicBezTo>
                <a:cubicBezTo>
                  <a:pt x="6436744" y="3446465"/>
                  <a:pt x="6446983" y="3436222"/>
                  <a:pt x="6459619" y="3436222"/>
                </a:cubicBezTo>
                <a:close/>
                <a:moveTo>
                  <a:pt x="6613200" y="3434042"/>
                </a:moveTo>
                <a:cubicBezTo>
                  <a:pt x="6627038" y="3434042"/>
                  <a:pt x="6638252" y="3445256"/>
                  <a:pt x="6638252" y="3459094"/>
                </a:cubicBezTo>
                <a:cubicBezTo>
                  <a:pt x="6638252" y="3472931"/>
                  <a:pt x="6627038" y="3484145"/>
                  <a:pt x="6613200" y="3484145"/>
                </a:cubicBezTo>
                <a:cubicBezTo>
                  <a:pt x="6599364" y="3484145"/>
                  <a:pt x="6588149" y="3472931"/>
                  <a:pt x="6588149" y="3459094"/>
                </a:cubicBezTo>
                <a:cubicBezTo>
                  <a:pt x="6588149" y="3445256"/>
                  <a:pt x="6599364" y="3434042"/>
                  <a:pt x="6613200" y="3434042"/>
                </a:cubicBezTo>
                <a:close/>
                <a:moveTo>
                  <a:pt x="3999000" y="3304784"/>
                </a:moveTo>
                <a:cubicBezTo>
                  <a:pt x="3999362" y="3304784"/>
                  <a:pt x="3999362" y="3304784"/>
                  <a:pt x="3999362" y="3305146"/>
                </a:cubicBezTo>
                <a:cubicBezTo>
                  <a:pt x="3999362" y="3305512"/>
                  <a:pt x="3999000" y="3305512"/>
                  <a:pt x="3999000" y="3305512"/>
                </a:cubicBezTo>
                <a:cubicBezTo>
                  <a:pt x="3998638" y="3305512"/>
                  <a:pt x="3998638" y="3305512"/>
                  <a:pt x="3998638" y="3305146"/>
                </a:cubicBezTo>
                <a:cubicBezTo>
                  <a:pt x="3998638" y="3304784"/>
                  <a:pt x="3998638" y="3304784"/>
                  <a:pt x="3999000" y="3304784"/>
                </a:cubicBezTo>
                <a:close/>
                <a:moveTo>
                  <a:pt x="3537882" y="3304784"/>
                </a:moveTo>
                <a:cubicBezTo>
                  <a:pt x="3538244" y="3304784"/>
                  <a:pt x="3538244" y="3304784"/>
                  <a:pt x="3538244" y="3305146"/>
                </a:cubicBezTo>
                <a:cubicBezTo>
                  <a:pt x="3538244" y="3305512"/>
                  <a:pt x="3537882" y="3305512"/>
                  <a:pt x="3537882" y="3305512"/>
                </a:cubicBezTo>
                <a:cubicBezTo>
                  <a:pt x="3537520" y="3305512"/>
                  <a:pt x="3537520" y="3305512"/>
                  <a:pt x="3537520" y="3305146"/>
                </a:cubicBezTo>
                <a:cubicBezTo>
                  <a:pt x="3537520" y="3304784"/>
                  <a:pt x="3537520" y="3304784"/>
                  <a:pt x="3537882" y="3304784"/>
                </a:cubicBezTo>
                <a:close/>
                <a:moveTo>
                  <a:pt x="3383934" y="3304784"/>
                </a:moveTo>
                <a:cubicBezTo>
                  <a:pt x="3384296" y="3304784"/>
                  <a:pt x="3384296" y="3304784"/>
                  <a:pt x="3384296" y="3305146"/>
                </a:cubicBezTo>
                <a:cubicBezTo>
                  <a:pt x="3384296" y="3305512"/>
                  <a:pt x="3383934" y="3305512"/>
                  <a:pt x="3383934" y="3305512"/>
                </a:cubicBezTo>
                <a:cubicBezTo>
                  <a:pt x="3383572" y="3305512"/>
                  <a:pt x="3383572" y="3305512"/>
                  <a:pt x="3383572" y="3305146"/>
                </a:cubicBezTo>
                <a:cubicBezTo>
                  <a:pt x="3383572" y="3304784"/>
                  <a:pt x="3383572" y="3304784"/>
                  <a:pt x="3383934" y="3304784"/>
                </a:cubicBezTo>
                <a:close/>
                <a:moveTo>
                  <a:pt x="3230353" y="3304422"/>
                </a:moveTo>
                <a:cubicBezTo>
                  <a:pt x="3230753" y="3304422"/>
                  <a:pt x="3231077" y="3304746"/>
                  <a:pt x="3231077" y="3305146"/>
                </a:cubicBezTo>
                <a:cubicBezTo>
                  <a:pt x="3231077" y="3305550"/>
                  <a:pt x="3230753" y="3305874"/>
                  <a:pt x="3230353" y="3305874"/>
                </a:cubicBezTo>
                <a:cubicBezTo>
                  <a:pt x="3229949" y="3305874"/>
                  <a:pt x="3229625" y="3305550"/>
                  <a:pt x="3229625" y="3305146"/>
                </a:cubicBezTo>
                <a:cubicBezTo>
                  <a:pt x="3229625" y="3304746"/>
                  <a:pt x="3229949" y="3304422"/>
                  <a:pt x="3230353" y="3304422"/>
                </a:cubicBezTo>
                <a:close/>
                <a:moveTo>
                  <a:pt x="4152947" y="3303694"/>
                </a:moveTo>
                <a:cubicBezTo>
                  <a:pt x="4153748" y="3303694"/>
                  <a:pt x="4154400" y="3304346"/>
                  <a:pt x="4154400" y="3305146"/>
                </a:cubicBezTo>
                <a:cubicBezTo>
                  <a:pt x="4154400" y="3305947"/>
                  <a:pt x="4153748" y="3306598"/>
                  <a:pt x="4152947" y="3306598"/>
                </a:cubicBezTo>
                <a:cubicBezTo>
                  <a:pt x="4152142" y="3306598"/>
                  <a:pt x="4151494" y="3305947"/>
                  <a:pt x="4151494" y="3305146"/>
                </a:cubicBezTo>
                <a:cubicBezTo>
                  <a:pt x="4151494" y="3304346"/>
                  <a:pt x="4152142" y="3303694"/>
                  <a:pt x="4152947" y="3303694"/>
                </a:cubicBezTo>
                <a:close/>
                <a:moveTo>
                  <a:pt x="4306528" y="3302970"/>
                </a:moveTo>
                <a:cubicBezTo>
                  <a:pt x="4307733" y="3302970"/>
                  <a:pt x="4308709" y="3303945"/>
                  <a:pt x="4308709" y="3305146"/>
                </a:cubicBezTo>
                <a:cubicBezTo>
                  <a:pt x="4308709" y="3306351"/>
                  <a:pt x="4307733" y="3307327"/>
                  <a:pt x="4306528" y="3307327"/>
                </a:cubicBezTo>
                <a:cubicBezTo>
                  <a:pt x="4305328" y="3307327"/>
                  <a:pt x="4304352" y="3306351"/>
                  <a:pt x="4304352" y="3305146"/>
                </a:cubicBezTo>
                <a:cubicBezTo>
                  <a:pt x="4304352" y="3303945"/>
                  <a:pt x="4305328" y="3302970"/>
                  <a:pt x="4306528" y="3302970"/>
                </a:cubicBezTo>
                <a:close/>
                <a:moveTo>
                  <a:pt x="4460480" y="3302241"/>
                </a:moveTo>
                <a:cubicBezTo>
                  <a:pt x="4462294" y="3302241"/>
                  <a:pt x="4463746" y="3303694"/>
                  <a:pt x="4463746" y="3305508"/>
                </a:cubicBezTo>
                <a:cubicBezTo>
                  <a:pt x="4463746" y="3307323"/>
                  <a:pt x="4462294" y="3308779"/>
                  <a:pt x="4460480" y="3308779"/>
                </a:cubicBezTo>
                <a:cubicBezTo>
                  <a:pt x="4458665" y="3308779"/>
                  <a:pt x="4457213" y="3307323"/>
                  <a:pt x="4457213" y="3305508"/>
                </a:cubicBezTo>
                <a:cubicBezTo>
                  <a:pt x="4457213" y="3303694"/>
                  <a:pt x="4458665" y="3302241"/>
                  <a:pt x="4460480" y="3302241"/>
                </a:cubicBezTo>
                <a:close/>
                <a:moveTo>
                  <a:pt x="4614061" y="3300789"/>
                </a:moveTo>
                <a:cubicBezTo>
                  <a:pt x="4616604" y="3300789"/>
                  <a:pt x="4618418" y="3302604"/>
                  <a:pt x="4618418" y="3305146"/>
                </a:cubicBezTo>
                <a:cubicBezTo>
                  <a:pt x="4618418" y="3307689"/>
                  <a:pt x="4616238" y="3309503"/>
                  <a:pt x="4614061" y="3309503"/>
                </a:cubicBezTo>
                <a:cubicBezTo>
                  <a:pt x="4611518" y="3309503"/>
                  <a:pt x="4609704" y="3307689"/>
                  <a:pt x="4609704" y="3305146"/>
                </a:cubicBezTo>
                <a:cubicBezTo>
                  <a:pt x="4609704" y="3302604"/>
                  <a:pt x="4611518" y="3300789"/>
                  <a:pt x="4614061" y="3300789"/>
                </a:cubicBezTo>
                <a:close/>
                <a:moveTo>
                  <a:pt x="4768012" y="3299699"/>
                </a:moveTo>
                <a:cubicBezTo>
                  <a:pt x="4771279" y="3299699"/>
                  <a:pt x="4773822" y="3302241"/>
                  <a:pt x="4773822" y="3305508"/>
                </a:cubicBezTo>
                <a:cubicBezTo>
                  <a:pt x="4773822" y="3308775"/>
                  <a:pt x="4771279" y="3311318"/>
                  <a:pt x="4768012" y="3311318"/>
                </a:cubicBezTo>
                <a:cubicBezTo>
                  <a:pt x="4764746" y="3311318"/>
                  <a:pt x="4762203" y="3308775"/>
                  <a:pt x="4762203" y="3305508"/>
                </a:cubicBezTo>
                <a:cubicBezTo>
                  <a:pt x="4762203" y="3302241"/>
                  <a:pt x="4764746" y="3299699"/>
                  <a:pt x="4768012" y="3299699"/>
                </a:cubicBezTo>
                <a:close/>
                <a:moveTo>
                  <a:pt x="4921594" y="3297885"/>
                </a:moveTo>
                <a:cubicBezTo>
                  <a:pt x="4925588" y="3297885"/>
                  <a:pt x="4928856" y="3301151"/>
                  <a:pt x="4928856" y="3305146"/>
                </a:cubicBezTo>
                <a:cubicBezTo>
                  <a:pt x="4928856" y="3309141"/>
                  <a:pt x="4925588" y="3312408"/>
                  <a:pt x="4921594" y="3312408"/>
                </a:cubicBezTo>
                <a:cubicBezTo>
                  <a:pt x="4917599" y="3312408"/>
                  <a:pt x="4914332" y="3309141"/>
                  <a:pt x="4914332" y="3305146"/>
                </a:cubicBezTo>
                <a:cubicBezTo>
                  <a:pt x="4914332" y="3301151"/>
                  <a:pt x="4917599" y="3297885"/>
                  <a:pt x="4921594" y="3297885"/>
                </a:cubicBezTo>
                <a:close/>
                <a:moveTo>
                  <a:pt x="5075541" y="3296070"/>
                </a:moveTo>
                <a:cubicBezTo>
                  <a:pt x="5080626" y="3296070"/>
                  <a:pt x="5084621" y="3300065"/>
                  <a:pt x="5084621" y="3305146"/>
                </a:cubicBezTo>
                <a:cubicBezTo>
                  <a:pt x="5084621" y="3310231"/>
                  <a:pt x="5080626" y="3314226"/>
                  <a:pt x="5075541" y="3314226"/>
                </a:cubicBezTo>
                <a:cubicBezTo>
                  <a:pt x="5070460" y="3314226"/>
                  <a:pt x="5066465" y="3310231"/>
                  <a:pt x="5066465" y="3305146"/>
                </a:cubicBezTo>
                <a:cubicBezTo>
                  <a:pt x="5066465" y="3300065"/>
                  <a:pt x="5070460" y="3296070"/>
                  <a:pt x="5075541" y="3296070"/>
                </a:cubicBezTo>
                <a:close/>
                <a:moveTo>
                  <a:pt x="5229126" y="3294980"/>
                </a:moveTo>
                <a:cubicBezTo>
                  <a:pt x="5234574" y="3294980"/>
                  <a:pt x="5239293" y="3299699"/>
                  <a:pt x="5239293" y="3305146"/>
                </a:cubicBezTo>
                <a:cubicBezTo>
                  <a:pt x="5239293" y="3310593"/>
                  <a:pt x="5234936" y="3315312"/>
                  <a:pt x="5229126" y="3315312"/>
                </a:cubicBezTo>
                <a:cubicBezTo>
                  <a:pt x="5223679" y="3315312"/>
                  <a:pt x="5218960" y="3310593"/>
                  <a:pt x="5218960" y="3305146"/>
                </a:cubicBezTo>
                <a:cubicBezTo>
                  <a:pt x="5218960" y="3299699"/>
                  <a:pt x="5223679" y="3294980"/>
                  <a:pt x="5229126" y="3294980"/>
                </a:cubicBezTo>
                <a:close/>
                <a:moveTo>
                  <a:pt x="5383074" y="3293165"/>
                </a:moveTo>
                <a:cubicBezTo>
                  <a:pt x="5389612" y="3293165"/>
                  <a:pt x="5395058" y="3298613"/>
                  <a:pt x="5395058" y="3305146"/>
                </a:cubicBezTo>
                <a:cubicBezTo>
                  <a:pt x="5395058" y="3311684"/>
                  <a:pt x="5389612" y="3317131"/>
                  <a:pt x="5383074" y="3317131"/>
                </a:cubicBezTo>
                <a:cubicBezTo>
                  <a:pt x="5376540" y="3317131"/>
                  <a:pt x="5371093" y="3311684"/>
                  <a:pt x="5371093" y="3305146"/>
                </a:cubicBezTo>
                <a:cubicBezTo>
                  <a:pt x="5371093" y="3298613"/>
                  <a:pt x="5376540" y="3293165"/>
                  <a:pt x="5383074" y="3293165"/>
                </a:cubicBezTo>
                <a:close/>
                <a:moveTo>
                  <a:pt x="5537021" y="3291351"/>
                </a:moveTo>
                <a:cubicBezTo>
                  <a:pt x="5544641" y="3291351"/>
                  <a:pt x="5550820" y="3297530"/>
                  <a:pt x="5550820" y="3305146"/>
                </a:cubicBezTo>
                <a:cubicBezTo>
                  <a:pt x="5550820" y="3312766"/>
                  <a:pt x="5544645" y="3318945"/>
                  <a:pt x="5537021" y="3318945"/>
                </a:cubicBezTo>
                <a:cubicBezTo>
                  <a:pt x="5529405" y="3318945"/>
                  <a:pt x="5523226" y="3312766"/>
                  <a:pt x="5523226" y="3305146"/>
                </a:cubicBezTo>
                <a:cubicBezTo>
                  <a:pt x="5523226" y="3297526"/>
                  <a:pt x="5529402" y="3291351"/>
                  <a:pt x="5537021" y="3291351"/>
                </a:cubicBezTo>
                <a:close/>
                <a:moveTo>
                  <a:pt x="5690606" y="3289899"/>
                </a:moveTo>
                <a:cubicBezTo>
                  <a:pt x="5699027" y="3289899"/>
                  <a:pt x="5705854" y="3296726"/>
                  <a:pt x="5705854" y="3305146"/>
                </a:cubicBezTo>
                <a:cubicBezTo>
                  <a:pt x="5705854" y="3313570"/>
                  <a:pt x="5699027" y="3320398"/>
                  <a:pt x="5690606" y="3320398"/>
                </a:cubicBezTo>
                <a:cubicBezTo>
                  <a:pt x="5682182" y="3320398"/>
                  <a:pt x="5675355" y="3313570"/>
                  <a:pt x="5675355" y="3305146"/>
                </a:cubicBezTo>
                <a:cubicBezTo>
                  <a:pt x="5675355" y="3296726"/>
                  <a:pt x="5682182" y="3289899"/>
                  <a:pt x="5690606" y="3289899"/>
                </a:cubicBezTo>
                <a:close/>
                <a:moveTo>
                  <a:pt x="5844554" y="3288084"/>
                </a:moveTo>
                <a:cubicBezTo>
                  <a:pt x="5853977" y="3288084"/>
                  <a:pt x="5861616" y="3295723"/>
                  <a:pt x="5861616" y="3305150"/>
                </a:cubicBezTo>
                <a:cubicBezTo>
                  <a:pt x="5861616" y="3314573"/>
                  <a:pt x="5853977" y="3322216"/>
                  <a:pt x="5844554" y="3322216"/>
                </a:cubicBezTo>
                <a:cubicBezTo>
                  <a:pt x="5835127" y="3322216"/>
                  <a:pt x="5827488" y="3314573"/>
                  <a:pt x="5827488" y="3305150"/>
                </a:cubicBezTo>
                <a:cubicBezTo>
                  <a:pt x="5827488" y="3295723"/>
                  <a:pt x="5835131" y="3288084"/>
                  <a:pt x="5844554" y="3288084"/>
                </a:cubicBezTo>
                <a:close/>
                <a:moveTo>
                  <a:pt x="5998136" y="3285904"/>
                </a:moveTo>
                <a:cubicBezTo>
                  <a:pt x="6008763" y="3285904"/>
                  <a:pt x="6017382" y="3294519"/>
                  <a:pt x="6017382" y="3305146"/>
                </a:cubicBezTo>
                <a:cubicBezTo>
                  <a:pt x="6017382" y="3315774"/>
                  <a:pt x="6008763" y="3324389"/>
                  <a:pt x="5998136" y="3324389"/>
                </a:cubicBezTo>
                <a:cubicBezTo>
                  <a:pt x="5987508" y="3324389"/>
                  <a:pt x="5978893" y="3315774"/>
                  <a:pt x="5978893" y="3305146"/>
                </a:cubicBezTo>
                <a:cubicBezTo>
                  <a:pt x="5978893" y="3294519"/>
                  <a:pt x="5987508" y="3285904"/>
                  <a:pt x="5998136" y="3285904"/>
                </a:cubicBezTo>
                <a:close/>
                <a:moveTo>
                  <a:pt x="6152086" y="3283727"/>
                </a:moveTo>
                <a:cubicBezTo>
                  <a:pt x="6163915" y="3283727"/>
                  <a:pt x="6173510" y="3293318"/>
                  <a:pt x="6173510" y="3305150"/>
                </a:cubicBezTo>
                <a:cubicBezTo>
                  <a:pt x="6173510" y="3316979"/>
                  <a:pt x="6163915" y="3326569"/>
                  <a:pt x="6152086" y="3326569"/>
                </a:cubicBezTo>
                <a:cubicBezTo>
                  <a:pt x="6140254" y="3326569"/>
                  <a:pt x="6130664" y="3316979"/>
                  <a:pt x="6130664" y="3305150"/>
                </a:cubicBezTo>
                <a:cubicBezTo>
                  <a:pt x="6130664" y="3293318"/>
                  <a:pt x="6140254" y="3283727"/>
                  <a:pt x="6152086" y="3283727"/>
                </a:cubicBezTo>
                <a:close/>
                <a:moveTo>
                  <a:pt x="6305672" y="3282275"/>
                </a:moveTo>
                <a:cubicBezTo>
                  <a:pt x="6318304" y="3282275"/>
                  <a:pt x="6328547" y="3292517"/>
                  <a:pt x="6328547" y="3305150"/>
                </a:cubicBezTo>
                <a:cubicBezTo>
                  <a:pt x="6328547" y="3317783"/>
                  <a:pt x="6318304" y="3328021"/>
                  <a:pt x="6305672" y="3328021"/>
                </a:cubicBezTo>
                <a:cubicBezTo>
                  <a:pt x="6293039" y="3328021"/>
                  <a:pt x="6282796" y="3317783"/>
                  <a:pt x="6282796" y="3305150"/>
                </a:cubicBezTo>
                <a:cubicBezTo>
                  <a:pt x="6282796" y="3292517"/>
                  <a:pt x="6293039" y="3282275"/>
                  <a:pt x="6305672" y="3282275"/>
                </a:cubicBezTo>
                <a:close/>
                <a:moveTo>
                  <a:pt x="6459616" y="3280094"/>
                </a:moveTo>
                <a:cubicBezTo>
                  <a:pt x="6473452" y="3280094"/>
                  <a:pt x="6484671" y="3291309"/>
                  <a:pt x="6484671" y="3305146"/>
                </a:cubicBezTo>
                <a:cubicBezTo>
                  <a:pt x="6484671" y="3318984"/>
                  <a:pt x="6473452" y="3330202"/>
                  <a:pt x="6459616" y="3330202"/>
                </a:cubicBezTo>
                <a:cubicBezTo>
                  <a:pt x="6445778" y="3330202"/>
                  <a:pt x="6434564" y="3318984"/>
                  <a:pt x="6434564" y="3305146"/>
                </a:cubicBezTo>
                <a:cubicBezTo>
                  <a:pt x="6434564" y="3291313"/>
                  <a:pt x="6445778" y="3280094"/>
                  <a:pt x="6459616" y="3280094"/>
                </a:cubicBezTo>
                <a:close/>
                <a:moveTo>
                  <a:pt x="6613200" y="3277914"/>
                </a:moveTo>
                <a:cubicBezTo>
                  <a:pt x="6628086" y="3277914"/>
                  <a:pt x="6640433" y="3290261"/>
                  <a:pt x="6640433" y="3305146"/>
                </a:cubicBezTo>
                <a:cubicBezTo>
                  <a:pt x="6640433" y="3320032"/>
                  <a:pt x="6628448" y="3332378"/>
                  <a:pt x="6613200" y="3332378"/>
                </a:cubicBezTo>
                <a:cubicBezTo>
                  <a:pt x="6598315" y="3332378"/>
                  <a:pt x="6585968" y="3320032"/>
                  <a:pt x="6585968" y="3305146"/>
                </a:cubicBezTo>
                <a:cubicBezTo>
                  <a:pt x="6585968" y="3290261"/>
                  <a:pt x="6598315" y="3277914"/>
                  <a:pt x="6613200" y="3277914"/>
                </a:cubicBezTo>
                <a:close/>
                <a:moveTo>
                  <a:pt x="3845414" y="3151199"/>
                </a:moveTo>
                <a:cubicBezTo>
                  <a:pt x="3845776" y="3151199"/>
                  <a:pt x="3845776" y="3151199"/>
                  <a:pt x="3845776" y="3151561"/>
                </a:cubicBezTo>
                <a:cubicBezTo>
                  <a:pt x="3845776" y="3151923"/>
                  <a:pt x="3845414" y="3151923"/>
                  <a:pt x="3845414" y="3151923"/>
                </a:cubicBezTo>
                <a:cubicBezTo>
                  <a:pt x="3845052" y="3151923"/>
                  <a:pt x="3845052" y="3151923"/>
                  <a:pt x="3845052" y="3151561"/>
                </a:cubicBezTo>
                <a:cubicBezTo>
                  <a:pt x="3845052" y="3151199"/>
                  <a:pt x="3845052" y="3151199"/>
                  <a:pt x="3845414" y="3151199"/>
                </a:cubicBezTo>
                <a:close/>
                <a:moveTo>
                  <a:pt x="3383934" y="3151199"/>
                </a:moveTo>
                <a:cubicBezTo>
                  <a:pt x="3384296" y="3151199"/>
                  <a:pt x="3384296" y="3151199"/>
                  <a:pt x="3384296" y="3151561"/>
                </a:cubicBezTo>
                <a:cubicBezTo>
                  <a:pt x="3384296" y="3151923"/>
                  <a:pt x="3383934" y="3151923"/>
                  <a:pt x="3383934" y="3151923"/>
                </a:cubicBezTo>
                <a:cubicBezTo>
                  <a:pt x="3383572" y="3151923"/>
                  <a:pt x="3383572" y="3151923"/>
                  <a:pt x="3383572" y="3151561"/>
                </a:cubicBezTo>
                <a:cubicBezTo>
                  <a:pt x="3383572" y="3151199"/>
                  <a:pt x="3383572" y="3151199"/>
                  <a:pt x="3383934" y="3151199"/>
                </a:cubicBezTo>
                <a:close/>
                <a:moveTo>
                  <a:pt x="3230349" y="3151199"/>
                </a:moveTo>
                <a:cubicBezTo>
                  <a:pt x="3230715" y="3151199"/>
                  <a:pt x="3230715" y="3151199"/>
                  <a:pt x="3230715" y="3151561"/>
                </a:cubicBezTo>
                <a:cubicBezTo>
                  <a:pt x="3230715" y="3151923"/>
                  <a:pt x="3230349" y="3151923"/>
                  <a:pt x="3230349" y="3151923"/>
                </a:cubicBezTo>
                <a:cubicBezTo>
                  <a:pt x="3229987" y="3151923"/>
                  <a:pt x="3229987" y="3151923"/>
                  <a:pt x="3229987" y="3151561"/>
                </a:cubicBezTo>
                <a:cubicBezTo>
                  <a:pt x="3229987" y="3151199"/>
                  <a:pt x="3229987" y="3151199"/>
                  <a:pt x="3230349" y="3151199"/>
                </a:cubicBezTo>
                <a:close/>
                <a:moveTo>
                  <a:pt x="3076406" y="3150837"/>
                </a:moveTo>
                <a:cubicBezTo>
                  <a:pt x="3076806" y="3150837"/>
                  <a:pt x="3077130" y="3151161"/>
                  <a:pt x="3077130" y="3151565"/>
                </a:cubicBezTo>
                <a:cubicBezTo>
                  <a:pt x="3077130" y="3151965"/>
                  <a:pt x="3076806" y="3152289"/>
                  <a:pt x="3076406" y="3152289"/>
                </a:cubicBezTo>
                <a:cubicBezTo>
                  <a:pt x="3076001" y="3152289"/>
                  <a:pt x="3075677" y="3151965"/>
                  <a:pt x="3075677" y="3151565"/>
                </a:cubicBezTo>
                <a:cubicBezTo>
                  <a:pt x="3075677" y="3151161"/>
                  <a:pt x="3076001" y="3150837"/>
                  <a:pt x="3076406" y="3150837"/>
                </a:cubicBezTo>
                <a:close/>
                <a:moveTo>
                  <a:pt x="3999000" y="3150112"/>
                </a:moveTo>
                <a:cubicBezTo>
                  <a:pt x="3999800" y="3150112"/>
                  <a:pt x="4000452" y="3150764"/>
                  <a:pt x="4000452" y="3151565"/>
                </a:cubicBezTo>
                <a:cubicBezTo>
                  <a:pt x="4000452" y="3152365"/>
                  <a:pt x="3999800" y="3153017"/>
                  <a:pt x="3999000" y="3153017"/>
                </a:cubicBezTo>
                <a:cubicBezTo>
                  <a:pt x="3998195" y="3153017"/>
                  <a:pt x="3997547" y="3152365"/>
                  <a:pt x="3997547" y="3151565"/>
                </a:cubicBezTo>
                <a:cubicBezTo>
                  <a:pt x="3997547" y="3150764"/>
                  <a:pt x="3998195" y="3150112"/>
                  <a:pt x="3999000" y="3150112"/>
                </a:cubicBezTo>
                <a:close/>
                <a:moveTo>
                  <a:pt x="4152951" y="3149384"/>
                </a:moveTo>
                <a:cubicBezTo>
                  <a:pt x="4154152" y="3149384"/>
                  <a:pt x="4155128" y="3150360"/>
                  <a:pt x="4155128" y="3151565"/>
                </a:cubicBezTo>
                <a:cubicBezTo>
                  <a:pt x="4155128" y="3152766"/>
                  <a:pt x="4154152" y="3153741"/>
                  <a:pt x="4152951" y="3153741"/>
                </a:cubicBezTo>
                <a:cubicBezTo>
                  <a:pt x="4151746" y="3153741"/>
                  <a:pt x="4150770" y="3152766"/>
                  <a:pt x="4150770" y="3151565"/>
                </a:cubicBezTo>
                <a:cubicBezTo>
                  <a:pt x="4150770" y="3150360"/>
                  <a:pt x="4151746" y="3149384"/>
                  <a:pt x="4152951" y="3149384"/>
                </a:cubicBezTo>
                <a:close/>
                <a:moveTo>
                  <a:pt x="4306528" y="3148294"/>
                </a:moveTo>
                <a:cubicBezTo>
                  <a:pt x="4308346" y="3148294"/>
                  <a:pt x="4309796" y="3149746"/>
                  <a:pt x="4309796" y="3151561"/>
                </a:cubicBezTo>
                <a:cubicBezTo>
                  <a:pt x="4309796" y="3153375"/>
                  <a:pt x="4308346" y="3154831"/>
                  <a:pt x="4306528" y="3154831"/>
                </a:cubicBezTo>
                <a:cubicBezTo>
                  <a:pt x="4304714" y="3154831"/>
                  <a:pt x="4303262" y="3153375"/>
                  <a:pt x="4303262" y="3151561"/>
                </a:cubicBezTo>
                <a:cubicBezTo>
                  <a:pt x="4303262" y="3149746"/>
                  <a:pt x="4304714" y="3148294"/>
                  <a:pt x="4306528" y="3148294"/>
                </a:cubicBezTo>
                <a:close/>
                <a:moveTo>
                  <a:pt x="4460480" y="3146842"/>
                </a:moveTo>
                <a:cubicBezTo>
                  <a:pt x="4463018" y="3146842"/>
                  <a:pt x="4464836" y="3148656"/>
                  <a:pt x="4464836" y="3151199"/>
                </a:cubicBezTo>
                <a:cubicBezTo>
                  <a:pt x="4464836" y="3153741"/>
                  <a:pt x="4462656" y="3155556"/>
                  <a:pt x="4460480" y="3155556"/>
                </a:cubicBezTo>
                <a:cubicBezTo>
                  <a:pt x="4457937" y="3155556"/>
                  <a:pt x="4456122" y="3153741"/>
                  <a:pt x="4456122" y="3151199"/>
                </a:cubicBezTo>
                <a:cubicBezTo>
                  <a:pt x="4456122" y="3148656"/>
                  <a:pt x="4457937" y="3146842"/>
                  <a:pt x="4460480" y="3146842"/>
                </a:cubicBezTo>
                <a:close/>
                <a:moveTo>
                  <a:pt x="4614061" y="3145752"/>
                </a:moveTo>
                <a:cubicBezTo>
                  <a:pt x="4617328" y="3145752"/>
                  <a:pt x="4619870" y="3148294"/>
                  <a:pt x="4619870" y="3151561"/>
                </a:cubicBezTo>
                <a:cubicBezTo>
                  <a:pt x="4619870" y="3154828"/>
                  <a:pt x="4617328" y="3157370"/>
                  <a:pt x="4614061" y="3157370"/>
                </a:cubicBezTo>
                <a:cubicBezTo>
                  <a:pt x="4610794" y="3157370"/>
                  <a:pt x="4608252" y="3154828"/>
                  <a:pt x="4608252" y="3151561"/>
                </a:cubicBezTo>
                <a:cubicBezTo>
                  <a:pt x="4608252" y="3148294"/>
                  <a:pt x="4610794" y="3145752"/>
                  <a:pt x="4614061" y="3145752"/>
                </a:cubicBezTo>
                <a:close/>
                <a:moveTo>
                  <a:pt x="4768008" y="3144299"/>
                </a:moveTo>
                <a:cubicBezTo>
                  <a:pt x="4772004" y="3144299"/>
                  <a:pt x="4775270" y="3147566"/>
                  <a:pt x="4775270" y="3151561"/>
                </a:cubicBezTo>
                <a:cubicBezTo>
                  <a:pt x="4775270" y="3155556"/>
                  <a:pt x="4772004" y="3158823"/>
                  <a:pt x="4768008" y="3158823"/>
                </a:cubicBezTo>
                <a:cubicBezTo>
                  <a:pt x="4764014" y="3158823"/>
                  <a:pt x="4760747" y="3155556"/>
                  <a:pt x="4760747" y="3151561"/>
                </a:cubicBezTo>
                <a:cubicBezTo>
                  <a:pt x="4760747" y="3147566"/>
                  <a:pt x="4764014" y="3144299"/>
                  <a:pt x="4768008" y="3144299"/>
                </a:cubicBezTo>
                <a:close/>
                <a:moveTo>
                  <a:pt x="4921594" y="3142123"/>
                </a:moveTo>
                <a:cubicBezTo>
                  <a:pt x="4926679" y="3142123"/>
                  <a:pt x="4930674" y="3146118"/>
                  <a:pt x="4930674" y="3151199"/>
                </a:cubicBezTo>
                <a:cubicBezTo>
                  <a:pt x="4930674" y="3156284"/>
                  <a:pt x="4926679" y="3160279"/>
                  <a:pt x="4921594" y="3160279"/>
                </a:cubicBezTo>
                <a:cubicBezTo>
                  <a:pt x="4916512" y="3160279"/>
                  <a:pt x="4912518" y="3156284"/>
                  <a:pt x="4912518" y="3151199"/>
                </a:cubicBezTo>
                <a:cubicBezTo>
                  <a:pt x="4912518" y="3146118"/>
                  <a:pt x="4916512" y="3142123"/>
                  <a:pt x="4921594" y="3142123"/>
                </a:cubicBezTo>
                <a:close/>
                <a:moveTo>
                  <a:pt x="5075541" y="3141395"/>
                </a:moveTo>
                <a:cubicBezTo>
                  <a:pt x="5080988" y="3141395"/>
                  <a:pt x="5085708" y="3146114"/>
                  <a:pt x="5085708" y="3151561"/>
                </a:cubicBezTo>
                <a:cubicBezTo>
                  <a:pt x="5085708" y="3157008"/>
                  <a:pt x="5081350" y="3161727"/>
                  <a:pt x="5075541" y="3161727"/>
                </a:cubicBezTo>
                <a:cubicBezTo>
                  <a:pt x="5070094" y="3161727"/>
                  <a:pt x="5065375" y="3157008"/>
                  <a:pt x="5065375" y="3151561"/>
                </a:cubicBezTo>
                <a:cubicBezTo>
                  <a:pt x="5065375" y="3146114"/>
                  <a:pt x="5070094" y="3141395"/>
                  <a:pt x="5075541" y="3141395"/>
                </a:cubicBezTo>
                <a:close/>
                <a:moveTo>
                  <a:pt x="5229126" y="3139580"/>
                </a:moveTo>
                <a:cubicBezTo>
                  <a:pt x="5235664" y="3139580"/>
                  <a:pt x="5241111" y="3145028"/>
                  <a:pt x="5241111" y="3151561"/>
                </a:cubicBezTo>
                <a:cubicBezTo>
                  <a:pt x="5241111" y="3158099"/>
                  <a:pt x="5235664" y="3163542"/>
                  <a:pt x="5229126" y="3163542"/>
                </a:cubicBezTo>
                <a:cubicBezTo>
                  <a:pt x="5222593" y="3163542"/>
                  <a:pt x="5217146" y="3158099"/>
                  <a:pt x="5217146" y="3151561"/>
                </a:cubicBezTo>
                <a:cubicBezTo>
                  <a:pt x="5217146" y="3145028"/>
                  <a:pt x="5222593" y="3139580"/>
                  <a:pt x="5229126" y="3139580"/>
                </a:cubicBezTo>
                <a:close/>
                <a:moveTo>
                  <a:pt x="5383078" y="3137403"/>
                </a:moveTo>
                <a:cubicBezTo>
                  <a:pt x="5390702" y="3137403"/>
                  <a:pt x="5396873" y="3143575"/>
                  <a:pt x="5396873" y="3151199"/>
                </a:cubicBezTo>
                <a:cubicBezTo>
                  <a:pt x="5396873" y="3158827"/>
                  <a:pt x="5390702" y="3164998"/>
                  <a:pt x="5383078" y="3164998"/>
                </a:cubicBezTo>
                <a:cubicBezTo>
                  <a:pt x="5375450" y="3164998"/>
                  <a:pt x="5369278" y="3158827"/>
                  <a:pt x="5369278" y="3151199"/>
                </a:cubicBezTo>
                <a:cubicBezTo>
                  <a:pt x="5369278" y="3143575"/>
                  <a:pt x="5375450" y="3137403"/>
                  <a:pt x="5383078" y="3137403"/>
                </a:cubicBezTo>
                <a:close/>
                <a:moveTo>
                  <a:pt x="5536659" y="3136313"/>
                </a:moveTo>
                <a:cubicBezTo>
                  <a:pt x="5545080" y="3136313"/>
                  <a:pt x="5551906" y="3143140"/>
                  <a:pt x="5551906" y="3151565"/>
                </a:cubicBezTo>
                <a:cubicBezTo>
                  <a:pt x="5551906" y="3159985"/>
                  <a:pt x="5545080" y="3166812"/>
                  <a:pt x="5536659" y="3166812"/>
                </a:cubicBezTo>
                <a:cubicBezTo>
                  <a:pt x="5528238" y="3166812"/>
                  <a:pt x="5521408" y="3159985"/>
                  <a:pt x="5521408" y="3151565"/>
                </a:cubicBezTo>
                <a:cubicBezTo>
                  <a:pt x="5521408" y="3143140"/>
                  <a:pt x="5528238" y="3136313"/>
                  <a:pt x="5536659" y="3136313"/>
                </a:cubicBezTo>
                <a:close/>
                <a:moveTo>
                  <a:pt x="5690606" y="3134499"/>
                </a:moveTo>
                <a:cubicBezTo>
                  <a:pt x="5700048" y="3134499"/>
                  <a:pt x="5707672" y="3142123"/>
                  <a:pt x="5707672" y="3151565"/>
                </a:cubicBezTo>
                <a:cubicBezTo>
                  <a:pt x="5707672" y="3161003"/>
                  <a:pt x="5700048" y="3168627"/>
                  <a:pt x="5690606" y="3168627"/>
                </a:cubicBezTo>
                <a:cubicBezTo>
                  <a:pt x="5681164" y="3168627"/>
                  <a:pt x="5673540" y="3161003"/>
                  <a:pt x="5673540" y="3151565"/>
                </a:cubicBezTo>
                <a:cubicBezTo>
                  <a:pt x="5673540" y="3142123"/>
                  <a:pt x="5681164" y="3134499"/>
                  <a:pt x="5690606" y="3134499"/>
                </a:cubicBezTo>
                <a:close/>
                <a:moveTo>
                  <a:pt x="5844554" y="3132318"/>
                </a:moveTo>
                <a:cubicBezTo>
                  <a:pt x="5855182" y="3132318"/>
                  <a:pt x="5863796" y="3140933"/>
                  <a:pt x="5863796" y="3151561"/>
                </a:cubicBezTo>
                <a:cubicBezTo>
                  <a:pt x="5863796" y="3162188"/>
                  <a:pt x="5855182" y="3170807"/>
                  <a:pt x="5844554" y="3170807"/>
                </a:cubicBezTo>
                <a:cubicBezTo>
                  <a:pt x="5833926" y="3170807"/>
                  <a:pt x="5825308" y="3162188"/>
                  <a:pt x="5825308" y="3151561"/>
                </a:cubicBezTo>
                <a:cubicBezTo>
                  <a:pt x="5825308" y="3140933"/>
                  <a:pt x="5833926" y="3132318"/>
                  <a:pt x="5844554" y="3132318"/>
                </a:cubicBezTo>
                <a:close/>
                <a:moveTo>
                  <a:pt x="5998139" y="3130142"/>
                </a:moveTo>
                <a:cubicBezTo>
                  <a:pt x="6009968" y="3130142"/>
                  <a:pt x="6019562" y="3139733"/>
                  <a:pt x="6019562" y="3151565"/>
                </a:cubicBezTo>
                <a:cubicBezTo>
                  <a:pt x="6019562" y="3163397"/>
                  <a:pt x="6009968" y="3172984"/>
                  <a:pt x="5998139" y="3172984"/>
                </a:cubicBezTo>
                <a:cubicBezTo>
                  <a:pt x="5986307" y="3172984"/>
                  <a:pt x="5976716" y="3163393"/>
                  <a:pt x="5976716" y="3151565"/>
                </a:cubicBezTo>
                <a:cubicBezTo>
                  <a:pt x="5976716" y="3139733"/>
                  <a:pt x="5986307" y="3130142"/>
                  <a:pt x="5998139" y="3130142"/>
                </a:cubicBezTo>
                <a:close/>
                <a:moveTo>
                  <a:pt x="6152086" y="3128689"/>
                </a:moveTo>
                <a:cubicBezTo>
                  <a:pt x="6164719" y="3128689"/>
                  <a:pt x="6174958" y="3138932"/>
                  <a:pt x="6174958" y="3151565"/>
                </a:cubicBezTo>
                <a:cubicBezTo>
                  <a:pt x="6174958" y="3164197"/>
                  <a:pt x="6164719" y="3174440"/>
                  <a:pt x="6152086" y="3174440"/>
                </a:cubicBezTo>
                <a:cubicBezTo>
                  <a:pt x="6139450" y="3174440"/>
                  <a:pt x="6129212" y="3164197"/>
                  <a:pt x="6129212" y="3151565"/>
                </a:cubicBezTo>
                <a:cubicBezTo>
                  <a:pt x="6129212" y="3138932"/>
                  <a:pt x="6139450" y="3128689"/>
                  <a:pt x="6152086" y="3128689"/>
                </a:cubicBezTo>
                <a:close/>
                <a:moveTo>
                  <a:pt x="6305668" y="3126509"/>
                </a:moveTo>
                <a:cubicBezTo>
                  <a:pt x="6319505" y="3126509"/>
                  <a:pt x="6330724" y="3137724"/>
                  <a:pt x="6330724" y="3151561"/>
                </a:cubicBezTo>
                <a:cubicBezTo>
                  <a:pt x="6330724" y="3165398"/>
                  <a:pt x="6319505" y="3176616"/>
                  <a:pt x="6305668" y="3176616"/>
                </a:cubicBezTo>
                <a:cubicBezTo>
                  <a:pt x="6291831" y="3176616"/>
                  <a:pt x="6280616" y="3165398"/>
                  <a:pt x="6280616" y="3151561"/>
                </a:cubicBezTo>
                <a:cubicBezTo>
                  <a:pt x="6280616" y="3137728"/>
                  <a:pt x="6291831" y="3126509"/>
                  <a:pt x="6305668" y="3126509"/>
                </a:cubicBezTo>
                <a:close/>
                <a:moveTo>
                  <a:pt x="6459619" y="3124332"/>
                </a:moveTo>
                <a:cubicBezTo>
                  <a:pt x="6474657" y="3124332"/>
                  <a:pt x="6486852" y="3136523"/>
                  <a:pt x="6486852" y="3151565"/>
                </a:cubicBezTo>
                <a:cubicBezTo>
                  <a:pt x="6486852" y="3166603"/>
                  <a:pt x="6474657" y="3178797"/>
                  <a:pt x="6459619" y="3178797"/>
                </a:cubicBezTo>
                <a:cubicBezTo>
                  <a:pt x="6444582" y="3178797"/>
                  <a:pt x="6432387" y="3166603"/>
                  <a:pt x="6432387" y="3151565"/>
                </a:cubicBezTo>
                <a:cubicBezTo>
                  <a:pt x="6432387" y="3136523"/>
                  <a:pt x="6444582" y="3124332"/>
                  <a:pt x="6459619" y="3124332"/>
                </a:cubicBezTo>
                <a:close/>
                <a:moveTo>
                  <a:pt x="6613197" y="3121790"/>
                </a:moveTo>
                <a:cubicBezTo>
                  <a:pt x="6629642" y="3121790"/>
                  <a:pt x="6642972" y="3135120"/>
                  <a:pt x="6642972" y="3151565"/>
                </a:cubicBezTo>
                <a:cubicBezTo>
                  <a:pt x="6642972" y="3168005"/>
                  <a:pt x="6629642" y="3181336"/>
                  <a:pt x="6613197" y="3181336"/>
                </a:cubicBezTo>
                <a:cubicBezTo>
                  <a:pt x="6596756" y="3181336"/>
                  <a:pt x="6583426" y="3168005"/>
                  <a:pt x="6583426" y="3151565"/>
                </a:cubicBezTo>
                <a:cubicBezTo>
                  <a:pt x="6583426" y="3135120"/>
                  <a:pt x="6596756" y="3121790"/>
                  <a:pt x="6613197" y="3121790"/>
                </a:cubicBezTo>
                <a:close/>
                <a:moveTo>
                  <a:pt x="3691467" y="2997252"/>
                </a:moveTo>
                <a:cubicBezTo>
                  <a:pt x="3691669" y="2997252"/>
                  <a:pt x="3691829" y="2997415"/>
                  <a:pt x="3691829" y="2997613"/>
                </a:cubicBezTo>
                <a:cubicBezTo>
                  <a:pt x="3691829" y="2997816"/>
                  <a:pt x="3691669" y="2997976"/>
                  <a:pt x="3691467" y="2997976"/>
                </a:cubicBezTo>
                <a:cubicBezTo>
                  <a:pt x="3691269" y="2997976"/>
                  <a:pt x="3691105" y="2997816"/>
                  <a:pt x="3691105" y="2997613"/>
                </a:cubicBezTo>
                <a:cubicBezTo>
                  <a:pt x="3691105" y="2997415"/>
                  <a:pt x="3691269" y="2997252"/>
                  <a:pt x="3691467" y="2997252"/>
                </a:cubicBezTo>
                <a:close/>
                <a:moveTo>
                  <a:pt x="3230349" y="2997252"/>
                </a:moveTo>
                <a:cubicBezTo>
                  <a:pt x="3230715" y="2997252"/>
                  <a:pt x="3230715" y="2997252"/>
                  <a:pt x="3230715" y="2997613"/>
                </a:cubicBezTo>
                <a:cubicBezTo>
                  <a:pt x="3230715" y="2997976"/>
                  <a:pt x="3230349" y="2997976"/>
                  <a:pt x="3230349" y="2997976"/>
                </a:cubicBezTo>
                <a:cubicBezTo>
                  <a:pt x="3229987" y="2997976"/>
                  <a:pt x="3229987" y="2997976"/>
                  <a:pt x="3229987" y="2997613"/>
                </a:cubicBezTo>
                <a:cubicBezTo>
                  <a:pt x="3229987" y="2997252"/>
                  <a:pt x="3229987" y="2997252"/>
                  <a:pt x="3230349" y="2997252"/>
                </a:cubicBezTo>
                <a:close/>
                <a:moveTo>
                  <a:pt x="3076406" y="2997252"/>
                </a:moveTo>
                <a:cubicBezTo>
                  <a:pt x="3076768" y="2997252"/>
                  <a:pt x="3076768" y="2997252"/>
                  <a:pt x="3076768" y="2997613"/>
                </a:cubicBezTo>
                <a:cubicBezTo>
                  <a:pt x="3076768" y="2997976"/>
                  <a:pt x="3076406" y="2997976"/>
                  <a:pt x="3076406" y="2997976"/>
                </a:cubicBezTo>
                <a:cubicBezTo>
                  <a:pt x="3076043" y="2997976"/>
                  <a:pt x="3076043" y="2997976"/>
                  <a:pt x="3076043" y="2997613"/>
                </a:cubicBezTo>
                <a:cubicBezTo>
                  <a:pt x="3076043" y="2997252"/>
                  <a:pt x="3076043" y="2997252"/>
                  <a:pt x="3076406" y="2997252"/>
                </a:cubicBezTo>
                <a:close/>
                <a:moveTo>
                  <a:pt x="2922824" y="2996889"/>
                </a:moveTo>
                <a:cubicBezTo>
                  <a:pt x="2923224" y="2996889"/>
                  <a:pt x="2923548" y="2997213"/>
                  <a:pt x="2923548" y="2997613"/>
                </a:cubicBezTo>
                <a:cubicBezTo>
                  <a:pt x="2923548" y="2998018"/>
                  <a:pt x="2923224" y="2998342"/>
                  <a:pt x="2922824" y="2998342"/>
                </a:cubicBezTo>
                <a:cubicBezTo>
                  <a:pt x="2922420" y="2998342"/>
                  <a:pt x="2922096" y="2998018"/>
                  <a:pt x="2922096" y="2997613"/>
                </a:cubicBezTo>
                <a:cubicBezTo>
                  <a:pt x="2922096" y="2997213"/>
                  <a:pt x="2922420" y="2996889"/>
                  <a:pt x="2922824" y="2996889"/>
                </a:cubicBezTo>
                <a:close/>
                <a:moveTo>
                  <a:pt x="3845414" y="2996165"/>
                </a:moveTo>
                <a:cubicBezTo>
                  <a:pt x="3846215" y="2996165"/>
                  <a:pt x="3846867" y="2996817"/>
                  <a:pt x="3846867" y="2997617"/>
                </a:cubicBezTo>
                <a:cubicBezTo>
                  <a:pt x="3846867" y="2998418"/>
                  <a:pt x="3846215" y="2999070"/>
                  <a:pt x="3845414" y="2999070"/>
                </a:cubicBezTo>
                <a:cubicBezTo>
                  <a:pt x="3844610" y="2999070"/>
                  <a:pt x="3843962" y="2998418"/>
                  <a:pt x="3843962" y="2997617"/>
                </a:cubicBezTo>
                <a:cubicBezTo>
                  <a:pt x="3843962" y="2996817"/>
                  <a:pt x="3844610" y="2996165"/>
                  <a:pt x="3845414" y="2996165"/>
                </a:cubicBezTo>
                <a:close/>
                <a:moveTo>
                  <a:pt x="3999000" y="2995437"/>
                </a:moveTo>
                <a:cubicBezTo>
                  <a:pt x="4000204" y="2995437"/>
                  <a:pt x="4001180" y="2996413"/>
                  <a:pt x="4001180" y="2997613"/>
                </a:cubicBezTo>
                <a:cubicBezTo>
                  <a:pt x="4001180" y="2998818"/>
                  <a:pt x="4000204" y="2999794"/>
                  <a:pt x="3999000" y="2999794"/>
                </a:cubicBezTo>
                <a:cubicBezTo>
                  <a:pt x="3997799" y="2999794"/>
                  <a:pt x="3996823" y="2998818"/>
                  <a:pt x="3996823" y="2997613"/>
                </a:cubicBezTo>
                <a:cubicBezTo>
                  <a:pt x="3996823" y="2996413"/>
                  <a:pt x="3997799" y="2995437"/>
                  <a:pt x="3999000" y="2995437"/>
                </a:cubicBezTo>
                <a:close/>
                <a:moveTo>
                  <a:pt x="4152947" y="2994713"/>
                </a:moveTo>
                <a:cubicBezTo>
                  <a:pt x="4154762" y="2994713"/>
                  <a:pt x="4156214" y="2996165"/>
                  <a:pt x="4156214" y="2997979"/>
                </a:cubicBezTo>
                <a:cubicBezTo>
                  <a:pt x="4156214" y="2999794"/>
                  <a:pt x="4154762" y="3001250"/>
                  <a:pt x="4152947" y="3001250"/>
                </a:cubicBezTo>
                <a:cubicBezTo>
                  <a:pt x="4151132" y="3001250"/>
                  <a:pt x="4149680" y="2999794"/>
                  <a:pt x="4149680" y="2997979"/>
                </a:cubicBezTo>
                <a:cubicBezTo>
                  <a:pt x="4149680" y="2996165"/>
                  <a:pt x="4151132" y="2994713"/>
                  <a:pt x="4152947" y="2994713"/>
                </a:cubicBezTo>
                <a:close/>
                <a:moveTo>
                  <a:pt x="4306532" y="2993261"/>
                </a:moveTo>
                <a:cubicBezTo>
                  <a:pt x="4309075" y="2993261"/>
                  <a:pt x="4310890" y="2995075"/>
                  <a:pt x="4310890" y="2997617"/>
                </a:cubicBezTo>
                <a:cubicBezTo>
                  <a:pt x="4310890" y="3000160"/>
                  <a:pt x="4308709" y="3001974"/>
                  <a:pt x="4306532" y="3001974"/>
                </a:cubicBezTo>
                <a:cubicBezTo>
                  <a:pt x="4303990" y="3001974"/>
                  <a:pt x="4302176" y="3000160"/>
                  <a:pt x="4302176" y="2997617"/>
                </a:cubicBezTo>
                <a:cubicBezTo>
                  <a:pt x="4302176" y="2995075"/>
                  <a:pt x="4303990" y="2993261"/>
                  <a:pt x="4306532" y="2993261"/>
                </a:cubicBezTo>
                <a:close/>
                <a:moveTo>
                  <a:pt x="4460480" y="2991808"/>
                </a:moveTo>
                <a:cubicBezTo>
                  <a:pt x="4463690" y="2991808"/>
                  <a:pt x="4466289" y="2994408"/>
                  <a:pt x="4466289" y="2997617"/>
                </a:cubicBezTo>
                <a:cubicBezTo>
                  <a:pt x="4466289" y="3000827"/>
                  <a:pt x="4463690" y="3003427"/>
                  <a:pt x="4460480" y="3003427"/>
                </a:cubicBezTo>
                <a:cubicBezTo>
                  <a:pt x="4457270" y="3003427"/>
                  <a:pt x="4454670" y="3000827"/>
                  <a:pt x="4454670" y="2997617"/>
                </a:cubicBezTo>
                <a:cubicBezTo>
                  <a:pt x="4454670" y="2994408"/>
                  <a:pt x="4457270" y="2991808"/>
                  <a:pt x="4460480" y="2991808"/>
                </a:cubicBezTo>
                <a:close/>
                <a:moveTo>
                  <a:pt x="4614065" y="2990356"/>
                </a:moveTo>
                <a:cubicBezTo>
                  <a:pt x="4618060" y="2990356"/>
                  <a:pt x="4621326" y="2993622"/>
                  <a:pt x="4621326" y="2997617"/>
                </a:cubicBezTo>
                <a:cubicBezTo>
                  <a:pt x="4621326" y="3001612"/>
                  <a:pt x="4618060" y="3004879"/>
                  <a:pt x="4614065" y="3004879"/>
                </a:cubicBezTo>
                <a:cubicBezTo>
                  <a:pt x="4610070" y="3004879"/>
                  <a:pt x="4606804" y="3001612"/>
                  <a:pt x="4606804" y="2997617"/>
                </a:cubicBezTo>
                <a:cubicBezTo>
                  <a:pt x="4606804" y="2993622"/>
                  <a:pt x="4610070" y="2990356"/>
                  <a:pt x="4614065" y="2990356"/>
                </a:cubicBezTo>
                <a:close/>
                <a:moveTo>
                  <a:pt x="4768008" y="2988537"/>
                </a:moveTo>
                <a:cubicBezTo>
                  <a:pt x="4773094" y="2988537"/>
                  <a:pt x="4777088" y="2992532"/>
                  <a:pt x="4777088" y="2997613"/>
                </a:cubicBezTo>
                <a:cubicBezTo>
                  <a:pt x="4777088" y="3002699"/>
                  <a:pt x="4773094" y="3006693"/>
                  <a:pt x="4768008" y="3006693"/>
                </a:cubicBezTo>
                <a:cubicBezTo>
                  <a:pt x="4762928" y="3006693"/>
                  <a:pt x="4758932" y="3002699"/>
                  <a:pt x="4758932" y="2997613"/>
                </a:cubicBezTo>
                <a:cubicBezTo>
                  <a:pt x="4758932" y="2992532"/>
                  <a:pt x="4762928" y="2988537"/>
                  <a:pt x="4768008" y="2988537"/>
                </a:cubicBezTo>
                <a:close/>
                <a:moveTo>
                  <a:pt x="4921594" y="2987447"/>
                </a:moveTo>
                <a:cubicBezTo>
                  <a:pt x="4927041" y="2987447"/>
                  <a:pt x="4931760" y="2992166"/>
                  <a:pt x="4931760" y="2997613"/>
                </a:cubicBezTo>
                <a:cubicBezTo>
                  <a:pt x="4931760" y="3003061"/>
                  <a:pt x="4927403" y="3007780"/>
                  <a:pt x="4921594" y="3007780"/>
                </a:cubicBezTo>
                <a:cubicBezTo>
                  <a:pt x="4916146" y="3007780"/>
                  <a:pt x="4911428" y="3003061"/>
                  <a:pt x="4911428" y="2997613"/>
                </a:cubicBezTo>
                <a:cubicBezTo>
                  <a:pt x="4911428" y="2992166"/>
                  <a:pt x="4916146" y="2987447"/>
                  <a:pt x="4921594" y="2987447"/>
                </a:cubicBezTo>
                <a:close/>
                <a:moveTo>
                  <a:pt x="5075541" y="2985633"/>
                </a:moveTo>
                <a:cubicBezTo>
                  <a:pt x="5082078" y="2985633"/>
                  <a:pt x="5087526" y="2991080"/>
                  <a:pt x="5087526" y="2997613"/>
                </a:cubicBezTo>
                <a:cubicBezTo>
                  <a:pt x="5087526" y="3004151"/>
                  <a:pt x="5082078" y="3009594"/>
                  <a:pt x="5075541" y="3009594"/>
                </a:cubicBezTo>
                <a:cubicBezTo>
                  <a:pt x="5069008" y="3009594"/>
                  <a:pt x="5063560" y="3004151"/>
                  <a:pt x="5063560" y="2997613"/>
                </a:cubicBezTo>
                <a:cubicBezTo>
                  <a:pt x="5063560" y="2991080"/>
                  <a:pt x="5069008" y="2985633"/>
                  <a:pt x="5075541" y="2985633"/>
                </a:cubicBezTo>
                <a:close/>
                <a:moveTo>
                  <a:pt x="5229126" y="2983818"/>
                </a:moveTo>
                <a:cubicBezTo>
                  <a:pt x="5236750" y="2983818"/>
                  <a:pt x="5242922" y="2989990"/>
                  <a:pt x="5242922" y="2997613"/>
                </a:cubicBezTo>
                <a:cubicBezTo>
                  <a:pt x="5242922" y="3005241"/>
                  <a:pt x="5236750" y="3011413"/>
                  <a:pt x="5229126" y="3011413"/>
                </a:cubicBezTo>
                <a:cubicBezTo>
                  <a:pt x="5221499" y="3011413"/>
                  <a:pt x="5215328" y="3005241"/>
                  <a:pt x="5215328" y="2997613"/>
                </a:cubicBezTo>
                <a:cubicBezTo>
                  <a:pt x="5215328" y="2989990"/>
                  <a:pt x="5221499" y="2983818"/>
                  <a:pt x="5229126" y="2983818"/>
                </a:cubicBezTo>
                <a:close/>
                <a:moveTo>
                  <a:pt x="5383074" y="2982366"/>
                </a:moveTo>
                <a:cubicBezTo>
                  <a:pt x="5391498" y="2982366"/>
                  <a:pt x="5398326" y="2989193"/>
                  <a:pt x="5398326" y="2997613"/>
                </a:cubicBezTo>
                <a:cubicBezTo>
                  <a:pt x="5398326" y="3006038"/>
                  <a:pt x="5391498" y="3012865"/>
                  <a:pt x="5383074" y="3012865"/>
                </a:cubicBezTo>
                <a:cubicBezTo>
                  <a:pt x="5374654" y="3012865"/>
                  <a:pt x="5367826" y="3006038"/>
                  <a:pt x="5367826" y="2997613"/>
                </a:cubicBezTo>
                <a:cubicBezTo>
                  <a:pt x="5367826" y="2989193"/>
                  <a:pt x="5374654" y="2982366"/>
                  <a:pt x="5383074" y="2982366"/>
                </a:cubicBezTo>
                <a:close/>
                <a:moveTo>
                  <a:pt x="5536659" y="2980551"/>
                </a:moveTo>
                <a:cubicBezTo>
                  <a:pt x="5546098" y="2980551"/>
                  <a:pt x="5553725" y="2988175"/>
                  <a:pt x="5553725" y="2997617"/>
                </a:cubicBezTo>
                <a:cubicBezTo>
                  <a:pt x="5553725" y="3007056"/>
                  <a:pt x="5546098" y="3014683"/>
                  <a:pt x="5536659" y="3014683"/>
                </a:cubicBezTo>
                <a:cubicBezTo>
                  <a:pt x="5527217" y="3014683"/>
                  <a:pt x="5519593" y="3007056"/>
                  <a:pt x="5519593" y="2997617"/>
                </a:cubicBezTo>
                <a:cubicBezTo>
                  <a:pt x="5519593" y="2988175"/>
                  <a:pt x="5527217" y="2980551"/>
                  <a:pt x="5536659" y="2980551"/>
                </a:cubicBezTo>
                <a:close/>
                <a:moveTo>
                  <a:pt x="5690606" y="2978371"/>
                </a:moveTo>
                <a:cubicBezTo>
                  <a:pt x="5701234" y="2978371"/>
                  <a:pt x="5709849" y="2986986"/>
                  <a:pt x="5709849" y="2997613"/>
                </a:cubicBezTo>
                <a:cubicBezTo>
                  <a:pt x="5709849" y="3008241"/>
                  <a:pt x="5701234" y="3016856"/>
                  <a:pt x="5690606" y="3016856"/>
                </a:cubicBezTo>
                <a:cubicBezTo>
                  <a:pt x="5679979" y="3016856"/>
                  <a:pt x="5671360" y="3008241"/>
                  <a:pt x="5671360" y="2997613"/>
                </a:cubicBezTo>
                <a:cubicBezTo>
                  <a:pt x="5671360" y="2986986"/>
                  <a:pt x="5679979" y="2978371"/>
                  <a:pt x="5690606" y="2978371"/>
                </a:cubicBezTo>
                <a:close/>
                <a:moveTo>
                  <a:pt x="5844550" y="2976195"/>
                </a:moveTo>
                <a:cubicBezTo>
                  <a:pt x="5856382" y="2976195"/>
                  <a:pt x="5865973" y="2985785"/>
                  <a:pt x="5865973" y="2997617"/>
                </a:cubicBezTo>
                <a:cubicBezTo>
                  <a:pt x="5865973" y="3009446"/>
                  <a:pt x="5856382" y="3019036"/>
                  <a:pt x="5844550" y="3019036"/>
                </a:cubicBezTo>
                <a:cubicBezTo>
                  <a:pt x="5832718" y="3019036"/>
                  <a:pt x="5823127" y="3009446"/>
                  <a:pt x="5823127" y="2997617"/>
                </a:cubicBezTo>
                <a:cubicBezTo>
                  <a:pt x="5823127" y="2985785"/>
                  <a:pt x="5832718" y="2976195"/>
                  <a:pt x="5844550" y="2976195"/>
                </a:cubicBezTo>
                <a:close/>
                <a:moveTo>
                  <a:pt x="5998139" y="2974742"/>
                </a:moveTo>
                <a:cubicBezTo>
                  <a:pt x="6010772" y="2974742"/>
                  <a:pt x="6021010" y="2984985"/>
                  <a:pt x="6021010" y="2997617"/>
                </a:cubicBezTo>
                <a:cubicBezTo>
                  <a:pt x="6021010" y="3010250"/>
                  <a:pt x="6010772" y="3020489"/>
                  <a:pt x="5998139" y="3020489"/>
                </a:cubicBezTo>
                <a:cubicBezTo>
                  <a:pt x="5985502" y="3020489"/>
                  <a:pt x="5975264" y="3010250"/>
                  <a:pt x="5975264" y="2997617"/>
                </a:cubicBezTo>
                <a:cubicBezTo>
                  <a:pt x="5975264" y="2984985"/>
                  <a:pt x="5985502" y="2974742"/>
                  <a:pt x="5998139" y="2974742"/>
                </a:cubicBezTo>
                <a:close/>
                <a:moveTo>
                  <a:pt x="6152083" y="2972562"/>
                </a:moveTo>
                <a:cubicBezTo>
                  <a:pt x="6165920" y="2972562"/>
                  <a:pt x="6177134" y="2983776"/>
                  <a:pt x="6177134" y="2997613"/>
                </a:cubicBezTo>
                <a:cubicBezTo>
                  <a:pt x="6177134" y="3011451"/>
                  <a:pt x="6165920" y="3022669"/>
                  <a:pt x="6152083" y="3022669"/>
                </a:cubicBezTo>
                <a:cubicBezTo>
                  <a:pt x="6138246" y="3022669"/>
                  <a:pt x="6127031" y="3011451"/>
                  <a:pt x="6127031" y="2997613"/>
                </a:cubicBezTo>
                <a:cubicBezTo>
                  <a:pt x="6127031" y="2983780"/>
                  <a:pt x="6138246" y="2972562"/>
                  <a:pt x="6152083" y="2972562"/>
                </a:cubicBezTo>
                <a:close/>
                <a:moveTo>
                  <a:pt x="6305672" y="2970385"/>
                </a:moveTo>
                <a:cubicBezTo>
                  <a:pt x="6320710" y="2970385"/>
                  <a:pt x="6332904" y="2982576"/>
                  <a:pt x="6332904" y="2997617"/>
                </a:cubicBezTo>
                <a:cubicBezTo>
                  <a:pt x="6332904" y="3012655"/>
                  <a:pt x="6320710" y="3024846"/>
                  <a:pt x="6305672" y="3024846"/>
                </a:cubicBezTo>
                <a:cubicBezTo>
                  <a:pt x="6290634" y="3024846"/>
                  <a:pt x="6278440" y="3012655"/>
                  <a:pt x="6278440" y="2997617"/>
                </a:cubicBezTo>
                <a:cubicBezTo>
                  <a:pt x="6278440" y="2982576"/>
                  <a:pt x="6290634" y="2970385"/>
                  <a:pt x="6305672" y="2970385"/>
                </a:cubicBezTo>
                <a:close/>
                <a:moveTo>
                  <a:pt x="6459619" y="2967843"/>
                </a:moveTo>
                <a:cubicBezTo>
                  <a:pt x="6476060" y="2967843"/>
                  <a:pt x="6489390" y="2981173"/>
                  <a:pt x="6489390" y="2997613"/>
                </a:cubicBezTo>
                <a:cubicBezTo>
                  <a:pt x="6489390" y="3014058"/>
                  <a:pt x="6476060" y="3027388"/>
                  <a:pt x="6459619" y="3027388"/>
                </a:cubicBezTo>
                <a:cubicBezTo>
                  <a:pt x="6443174" y="3027388"/>
                  <a:pt x="6429844" y="3014058"/>
                  <a:pt x="6429844" y="2997613"/>
                </a:cubicBezTo>
                <a:cubicBezTo>
                  <a:pt x="6429844" y="2981173"/>
                  <a:pt x="6443174" y="2967843"/>
                  <a:pt x="6459619" y="2967843"/>
                </a:cubicBezTo>
                <a:close/>
                <a:moveTo>
                  <a:pt x="6613200" y="2965666"/>
                </a:moveTo>
                <a:cubicBezTo>
                  <a:pt x="6630846" y="2965666"/>
                  <a:pt x="6645152" y="2979972"/>
                  <a:pt x="6645152" y="2997617"/>
                </a:cubicBezTo>
                <a:cubicBezTo>
                  <a:pt x="6645152" y="3015263"/>
                  <a:pt x="6630846" y="3029569"/>
                  <a:pt x="6613200" y="3029569"/>
                </a:cubicBezTo>
                <a:cubicBezTo>
                  <a:pt x="6595556" y="3029569"/>
                  <a:pt x="6581250" y="3015263"/>
                  <a:pt x="6581250" y="2997617"/>
                </a:cubicBezTo>
                <a:cubicBezTo>
                  <a:pt x="6581250" y="2979972"/>
                  <a:pt x="6595556" y="2965666"/>
                  <a:pt x="6613200" y="2965666"/>
                </a:cubicBezTo>
                <a:close/>
                <a:moveTo>
                  <a:pt x="3537882" y="2843666"/>
                </a:moveTo>
                <a:cubicBezTo>
                  <a:pt x="3538244" y="2843666"/>
                  <a:pt x="3538244" y="2843666"/>
                  <a:pt x="3538244" y="2844028"/>
                </a:cubicBezTo>
                <a:cubicBezTo>
                  <a:pt x="3538244" y="2844390"/>
                  <a:pt x="3537882" y="2844390"/>
                  <a:pt x="3537882" y="2844390"/>
                </a:cubicBezTo>
                <a:cubicBezTo>
                  <a:pt x="3537520" y="2844390"/>
                  <a:pt x="3537520" y="2844390"/>
                  <a:pt x="3537520" y="2844028"/>
                </a:cubicBezTo>
                <a:cubicBezTo>
                  <a:pt x="3537520" y="2843666"/>
                  <a:pt x="3537520" y="2843666"/>
                  <a:pt x="3537882" y="2843666"/>
                </a:cubicBezTo>
                <a:close/>
                <a:moveTo>
                  <a:pt x="3076406" y="2843666"/>
                </a:moveTo>
                <a:cubicBezTo>
                  <a:pt x="3076768" y="2843666"/>
                  <a:pt x="3076768" y="2843666"/>
                  <a:pt x="3076768" y="2844028"/>
                </a:cubicBezTo>
                <a:cubicBezTo>
                  <a:pt x="3076768" y="2844390"/>
                  <a:pt x="3076406" y="2844390"/>
                  <a:pt x="3076406" y="2844390"/>
                </a:cubicBezTo>
                <a:cubicBezTo>
                  <a:pt x="3076043" y="2844390"/>
                  <a:pt x="3076043" y="2844390"/>
                  <a:pt x="3076043" y="2844028"/>
                </a:cubicBezTo>
                <a:cubicBezTo>
                  <a:pt x="3076043" y="2843666"/>
                  <a:pt x="3076043" y="2843666"/>
                  <a:pt x="3076406" y="2843666"/>
                </a:cubicBezTo>
                <a:close/>
                <a:moveTo>
                  <a:pt x="2922458" y="2843666"/>
                </a:moveTo>
                <a:cubicBezTo>
                  <a:pt x="2922820" y="2843666"/>
                  <a:pt x="2922820" y="2843666"/>
                  <a:pt x="2922820" y="2844028"/>
                </a:cubicBezTo>
                <a:cubicBezTo>
                  <a:pt x="2922820" y="2844390"/>
                  <a:pt x="2922458" y="2844390"/>
                  <a:pt x="2922458" y="2844390"/>
                </a:cubicBezTo>
                <a:cubicBezTo>
                  <a:pt x="2922096" y="2844390"/>
                  <a:pt x="2922096" y="2844390"/>
                  <a:pt x="2922096" y="2844028"/>
                </a:cubicBezTo>
                <a:cubicBezTo>
                  <a:pt x="2922096" y="2843666"/>
                  <a:pt x="2922096" y="2843666"/>
                  <a:pt x="2922458" y="2843666"/>
                </a:cubicBezTo>
                <a:close/>
                <a:moveTo>
                  <a:pt x="2768877" y="2843304"/>
                </a:moveTo>
                <a:cubicBezTo>
                  <a:pt x="2769277" y="2843304"/>
                  <a:pt x="2769601" y="2843628"/>
                  <a:pt x="2769601" y="2844032"/>
                </a:cubicBezTo>
                <a:cubicBezTo>
                  <a:pt x="2769601" y="2844432"/>
                  <a:pt x="2769277" y="2844756"/>
                  <a:pt x="2768877" y="2844756"/>
                </a:cubicBezTo>
                <a:cubicBezTo>
                  <a:pt x="2768473" y="2844756"/>
                  <a:pt x="2768149" y="2844432"/>
                  <a:pt x="2768149" y="2844032"/>
                </a:cubicBezTo>
                <a:cubicBezTo>
                  <a:pt x="2768149" y="2843628"/>
                  <a:pt x="2768473" y="2843304"/>
                  <a:pt x="2768877" y="2843304"/>
                </a:cubicBezTo>
                <a:close/>
                <a:moveTo>
                  <a:pt x="3691467" y="2842580"/>
                </a:moveTo>
                <a:cubicBezTo>
                  <a:pt x="3692268" y="2842580"/>
                  <a:pt x="3692919" y="2843232"/>
                  <a:pt x="3692919" y="2844032"/>
                </a:cubicBezTo>
                <a:cubicBezTo>
                  <a:pt x="3692919" y="2844833"/>
                  <a:pt x="3692268" y="2845485"/>
                  <a:pt x="3691467" y="2845485"/>
                </a:cubicBezTo>
                <a:cubicBezTo>
                  <a:pt x="3690663" y="2845485"/>
                  <a:pt x="3690014" y="2844833"/>
                  <a:pt x="3690014" y="2844032"/>
                </a:cubicBezTo>
                <a:cubicBezTo>
                  <a:pt x="3690014" y="2843232"/>
                  <a:pt x="3690663" y="2842580"/>
                  <a:pt x="3691467" y="2842580"/>
                </a:cubicBezTo>
                <a:close/>
                <a:moveTo>
                  <a:pt x="3845418" y="2841852"/>
                </a:moveTo>
                <a:cubicBezTo>
                  <a:pt x="3846619" y="2841852"/>
                  <a:pt x="3847595" y="2842828"/>
                  <a:pt x="3847595" y="2844032"/>
                </a:cubicBezTo>
                <a:cubicBezTo>
                  <a:pt x="3847595" y="2845233"/>
                  <a:pt x="3846619" y="2846209"/>
                  <a:pt x="3845418" y="2846209"/>
                </a:cubicBezTo>
                <a:cubicBezTo>
                  <a:pt x="3844214" y="2846209"/>
                  <a:pt x="3843238" y="2845233"/>
                  <a:pt x="3843238" y="2844032"/>
                </a:cubicBezTo>
                <a:cubicBezTo>
                  <a:pt x="3843238" y="2842828"/>
                  <a:pt x="3844214" y="2841852"/>
                  <a:pt x="3845418" y="2841852"/>
                </a:cubicBezTo>
                <a:close/>
                <a:moveTo>
                  <a:pt x="3999000" y="2840761"/>
                </a:moveTo>
                <a:cubicBezTo>
                  <a:pt x="4000818" y="2840761"/>
                  <a:pt x="4002270" y="2842214"/>
                  <a:pt x="4002270" y="2844028"/>
                </a:cubicBezTo>
                <a:cubicBezTo>
                  <a:pt x="4002270" y="2845843"/>
                  <a:pt x="4000818" y="2847299"/>
                  <a:pt x="3999000" y="2847299"/>
                </a:cubicBezTo>
                <a:cubicBezTo>
                  <a:pt x="3997185" y="2847299"/>
                  <a:pt x="3995733" y="2845843"/>
                  <a:pt x="3995733" y="2844028"/>
                </a:cubicBezTo>
                <a:cubicBezTo>
                  <a:pt x="3995733" y="2842214"/>
                  <a:pt x="3997185" y="2840761"/>
                  <a:pt x="3999000" y="2840761"/>
                </a:cubicBezTo>
                <a:close/>
                <a:moveTo>
                  <a:pt x="4152947" y="2839309"/>
                </a:moveTo>
                <a:cubicBezTo>
                  <a:pt x="4155486" y="2839309"/>
                  <a:pt x="4157304" y="2841124"/>
                  <a:pt x="4157304" y="2843666"/>
                </a:cubicBezTo>
                <a:cubicBezTo>
                  <a:pt x="4157304" y="2846209"/>
                  <a:pt x="4155124" y="2848023"/>
                  <a:pt x="4152947" y="2848023"/>
                </a:cubicBezTo>
                <a:cubicBezTo>
                  <a:pt x="4150404" y="2848023"/>
                  <a:pt x="4148590" y="2846209"/>
                  <a:pt x="4148590" y="2843666"/>
                </a:cubicBezTo>
                <a:cubicBezTo>
                  <a:pt x="4148590" y="2841124"/>
                  <a:pt x="4150404" y="2839309"/>
                  <a:pt x="4152947" y="2839309"/>
                </a:cubicBezTo>
                <a:close/>
                <a:moveTo>
                  <a:pt x="4306532" y="2838223"/>
                </a:moveTo>
                <a:cubicBezTo>
                  <a:pt x="4309742" y="2838223"/>
                  <a:pt x="4312342" y="2840823"/>
                  <a:pt x="4312342" y="2844032"/>
                </a:cubicBezTo>
                <a:cubicBezTo>
                  <a:pt x="4312342" y="2847242"/>
                  <a:pt x="4309742" y="2849841"/>
                  <a:pt x="4306532" y="2849841"/>
                </a:cubicBezTo>
                <a:cubicBezTo>
                  <a:pt x="4303322" y="2849841"/>
                  <a:pt x="4300723" y="2847242"/>
                  <a:pt x="4300723" y="2844032"/>
                </a:cubicBezTo>
                <a:cubicBezTo>
                  <a:pt x="4300723" y="2840823"/>
                  <a:pt x="4303322" y="2838223"/>
                  <a:pt x="4306532" y="2838223"/>
                </a:cubicBezTo>
                <a:close/>
                <a:moveTo>
                  <a:pt x="4460480" y="2836770"/>
                </a:moveTo>
                <a:cubicBezTo>
                  <a:pt x="4464474" y="2836770"/>
                  <a:pt x="4467742" y="2840037"/>
                  <a:pt x="4467742" y="2844032"/>
                </a:cubicBezTo>
                <a:cubicBezTo>
                  <a:pt x="4467742" y="2848027"/>
                  <a:pt x="4464474" y="2851294"/>
                  <a:pt x="4460480" y="2851294"/>
                </a:cubicBezTo>
                <a:cubicBezTo>
                  <a:pt x="4456485" y="2851294"/>
                  <a:pt x="4453218" y="2848027"/>
                  <a:pt x="4453218" y="2844032"/>
                </a:cubicBezTo>
                <a:cubicBezTo>
                  <a:pt x="4453218" y="2840037"/>
                  <a:pt x="4456485" y="2836770"/>
                  <a:pt x="4460480" y="2836770"/>
                </a:cubicBezTo>
                <a:close/>
                <a:moveTo>
                  <a:pt x="4614061" y="2834590"/>
                </a:moveTo>
                <a:cubicBezTo>
                  <a:pt x="4619146" y="2834590"/>
                  <a:pt x="4623141" y="2838585"/>
                  <a:pt x="4623141" y="2843666"/>
                </a:cubicBezTo>
                <a:cubicBezTo>
                  <a:pt x="4623141" y="2848751"/>
                  <a:pt x="4619146" y="2852746"/>
                  <a:pt x="4614061" y="2852746"/>
                </a:cubicBezTo>
                <a:cubicBezTo>
                  <a:pt x="4608980" y="2852746"/>
                  <a:pt x="4604985" y="2848751"/>
                  <a:pt x="4604985" y="2843666"/>
                </a:cubicBezTo>
                <a:cubicBezTo>
                  <a:pt x="4604985" y="2838585"/>
                  <a:pt x="4608980" y="2834590"/>
                  <a:pt x="4614061" y="2834590"/>
                </a:cubicBezTo>
                <a:close/>
                <a:moveTo>
                  <a:pt x="4768012" y="2833866"/>
                </a:moveTo>
                <a:cubicBezTo>
                  <a:pt x="4773460" y="2833866"/>
                  <a:pt x="4778178" y="2838585"/>
                  <a:pt x="4778178" y="2844032"/>
                </a:cubicBezTo>
                <a:cubicBezTo>
                  <a:pt x="4778178" y="2849479"/>
                  <a:pt x="4773822" y="2854198"/>
                  <a:pt x="4768012" y="2854198"/>
                </a:cubicBezTo>
                <a:cubicBezTo>
                  <a:pt x="4762565" y="2854198"/>
                  <a:pt x="4757846" y="2849479"/>
                  <a:pt x="4757846" y="2844032"/>
                </a:cubicBezTo>
                <a:cubicBezTo>
                  <a:pt x="4757846" y="2838585"/>
                  <a:pt x="4762565" y="2833866"/>
                  <a:pt x="4768012" y="2833866"/>
                </a:cubicBezTo>
                <a:close/>
                <a:moveTo>
                  <a:pt x="4921594" y="2831685"/>
                </a:moveTo>
                <a:cubicBezTo>
                  <a:pt x="4928131" y="2831685"/>
                  <a:pt x="4933578" y="2837132"/>
                  <a:pt x="4933578" y="2843666"/>
                </a:cubicBezTo>
                <a:cubicBezTo>
                  <a:pt x="4933578" y="2850203"/>
                  <a:pt x="4928131" y="2855651"/>
                  <a:pt x="4921594" y="2855651"/>
                </a:cubicBezTo>
                <a:cubicBezTo>
                  <a:pt x="4915060" y="2855651"/>
                  <a:pt x="4909613" y="2850203"/>
                  <a:pt x="4909613" y="2843666"/>
                </a:cubicBezTo>
                <a:cubicBezTo>
                  <a:pt x="4909613" y="2837132"/>
                  <a:pt x="4915060" y="2831685"/>
                  <a:pt x="4921594" y="2831685"/>
                </a:cubicBezTo>
                <a:close/>
                <a:moveTo>
                  <a:pt x="5075545" y="2829871"/>
                </a:moveTo>
                <a:cubicBezTo>
                  <a:pt x="5083169" y="2829871"/>
                  <a:pt x="5089340" y="2836042"/>
                  <a:pt x="5089340" y="2843666"/>
                </a:cubicBezTo>
                <a:cubicBezTo>
                  <a:pt x="5089340" y="2851294"/>
                  <a:pt x="5083169" y="2857465"/>
                  <a:pt x="5075545" y="2857465"/>
                </a:cubicBezTo>
                <a:cubicBezTo>
                  <a:pt x="5067918" y="2857465"/>
                  <a:pt x="5061746" y="2851294"/>
                  <a:pt x="5061746" y="2843666"/>
                </a:cubicBezTo>
                <a:cubicBezTo>
                  <a:pt x="5061746" y="2836042"/>
                  <a:pt x="5067918" y="2829871"/>
                  <a:pt x="5075545" y="2829871"/>
                </a:cubicBezTo>
                <a:close/>
                <a:moveTo>
                  <a:pt x="5229126" y="2828781"/>
                </a:moveTo>
                <a:cubicBezTo>
                  <a:pt x="5237551" y="2828781"/>
                  <a:pt x="5244378" y="2835608"/>
                  <a:pt x="5244378" y="2844032"/>
                </a:cubicBezTo>
                <a:cubicBezTo>
                  <a:pt x="5244378" y="2852453"/>
                  <a:pt x="5237551" y="2859280"/>
                  <a:pt x="5229126" y="2859280"/>
                </a:cubicBezTo>
                <a:cubicBezTo>
                  <a:pt x="5220706" y="2859280"/>
                  <a:pt x="5213879" y="2852453"/>
                  <a:pt x="5213879" y="2844032"/>
                </a:cubicBezTo>
                <a:cubicBezTo>
                  <a:pt x="5213879" y="2835608"/>
                  <a:pt x="5220706" y="2828781"/>
                  <a:pt x="5229126" y="2828781"/>
                </a:cubicBezTo>
                <a:close/>
                <a:moveTo>
                  <a:pt x="5383074" y="2826966"/>
                </a:moveTo>
                <a:cubicBezTo>
                  <a:pt x="5392512" y="2826966"/>
                  <a:pt x="5400140" y="2834590"/>
                  <a:pt x="5400140" y="2844032"/>
                </a:cubicBezTo>
                <a:cubicBezTo>
                  <a:pt x="5400140" y="2853471"/>
                  <a:pt x="5392512" y="2861098"/>
                  <a:pt x="5383074" y="2861098"/>
                </a:cubicBezTo>
                <a:cubicBezTo>
                  <a:pt x="5373632" y="2861098"/>
                  <a:pt x="5366008" y="2853471"/>
                  <a:pt x="5366008" y="2844032"/>
                </a:cubicBezTo>
                <a:cubicBezTo>
                  <a:pt x="5366008" y="2834590"/>
                  <a:pt x="5373632" y="2826966"/>
                  <a:pt x="5383074" y="2826966"/>
                </a:cubicBezTo>
                <a:close/>
                <a:moveTo>
                  <a:pt x="5536659" y="2824790"/>
                </a:moveTo>
                <a:cubicBezTo>
                  <a:pt x="5547286" y="2824790"/>
                  <a:pt x="5555902" y="2833404"/>
                  <a:pt x="5555902" y="2844032"/>
                </a:cubicBezTo>
                <a:cubicBezTo>
                  <a:pt x="5555902" y="2854660"/>
                  <a:pt x="5547286" y="2863279"/>
                  <a:pt x="5536659" y="2863279"/>
                </a:cubicBezTo>
                <a:cubicBezTo>
                  <a:pt x="5526032" y="2863279"/>
                  <a:pt x="5517413" y="2854660"/>
                  <a:pt x="5517413" y="2844032"/>
                </a:cubicBezTo>
                <a:cubicBezTo>
                  <a:pt x="5517413" y="2833404"/>
                  <a:pt x="5526032" y="2824790"/>
                  <a:pt x="5536659" y="2824790"/>
                </a:cubicBezTo>
                <a:close/>
                <a:moveTo>
                  <a:pt x="5690602" y="2822609"/>
                </a:moveTo>
                <a:cubicBezTo>
                  <a:pt x="5702435" y="2822609"/>
                  <a:pt x="5712026" y="2832200"/>
                  <a:pt x="5712026" y="2844032"/>
                </a:cubicBezTo>
                <a:cubicBezTo>
                  <a:pt x="5712026" y="2855864"/>
                  <a:pt x="5702435" y="2865451"/>
                  <a:pt x="5690602" y="2865451"/>
                </a:cubicBezTo>
                <a:cubicBezTo>
                  <a:pt x="5678770" y="2865451"/>
                  <a:pt x="5669180" y="2855860"/>
                  <a:pt x="5669180" y="2844032"/>
                </a:cubicBezTo>
                <a:cubicBezTo>
                  <a:pt x="5669180" y="2832200"/>
                  <a:pt x="5678770" y="2822609"/>
                  <a:pt x="5690602" y="2822609"/>
                </a:cubicBezTo>
                <a:close/>
                <a:moveTo>
                  <a:pt x="5844554" y="2821157"/>
                </a:moveTo>
                <a:cubicBezTo>
                  <a:pt x="5857186" y="2821157"/>
                  <a:pt x="5867429" y="2831399"/>
                  <a:pt x="5867429" y="2844032"/>
                </a:cubicBezTo>
                <a:cubicBezTo>
                  <a:pt x="5867429" y="2856665"/>
                  <a:pt x="5857186" y="2866903"/>
                  <a:pt x="5844554" y="2866903"/>
                </a:cubicBezTo>
                <a:cubicBezTo>
                  <a:pt x="5831918" y="2866903"/>
                  <a:pt x="5821678" y="2856665"/>
                  <a:pt x="5821678" y="2844032"/>
                </a:cubicBezTo>
                <a:cubicBezTo>
                  <a:pt x="5821678" y="2831399"/>
                  <a:pt x="5831918" y="2821157"/>
                  <a:pt x="5844554" y="2821157"/>
                </a:cubicBezTo>
                <a:close/>
                <a:moveTo>
                  <a:pt x="5998136" y="2818980"/>
                </a:moveTo>
                <a:cubicBezTo>
                  <a:pt x="6011972" y="2818980"/>
                  <a:pt x="6023187" y="2830195"/>
                  <a:pt x="6023187" y="2844032"/>
                </a:cubicBezTo>
                <a:cubicBezTo>
                  <a:pt x="6023187" y="2857869"/>
                  <a:pt x="6011972" y="2869088"/>
                  <a:pt x="5998136" y="2869088"/>
                </a:cubicBezTo>
                <a:cubicBezTo>
                  <a:pt x="5984298" y="2869088"/>
                  <a:pt x="5973084" y="2857869"/>
                  <a:pt x="5973084" y="2844032"/>
                </a:cubicBezTo>
                <a:cubicBezTo>
                  <a:pt x="5973084" y="2830199"/>
                  <a:pt x="5984298" y="2818980"/>
                  <a:pt x="5998136" y="2818980"/>
                </a:cubicBezTo>
                <a:close/>
                <a:moveTo>
                  <a:pt x="6152086" y="2816800"/>
                </a:moveTo>
                <a:cubicBezTo>
                  <a:pt x="6167124" y="2816800"/>
                  <a:pt x="6179315" y="2828990"/>
                  <a:pt x="6179315" y="2844032"/>
                </a:cubicBezTo>
                <a:cubicBezTo>
                  <a:pt x="6179315" y="2859070"/>
                  <a:pt x="6167124" y="2871264"/>
                  <a:pt x="6152086" y="2871264"/>
                </a:cubicBezTo>
                <a:cubicBezTo>
                  <a:pt x="6137045" y="2871264"/>
                  <a:pt x="6124854" y="2859070"/>
                  <a:pt x="6124854" y="2844032"/>
                </a:cubicBezTo>
                <a:cubicBezTo>
                  <a:pt x="6124854" y="2828990"/>
                  <a:pt x="6137045" y="2816800"/>
                  <a:pt x="6152086" y="2816800"/>
                </a:cubicBezTo>
                <a:close/>
                <a:moveTo>
                  <a:pt x="6305672" y="2814257"/>
                </a:moveTo>
                <a:cubicBezTo>
                  <a:pt x="6322112" y="2814257"/>
                  <a:pt x="6335443" y="2827587"/>
                  <a:pt x="6335443" y="2844032"/>
                </a:cubicBezTo>
                <a:cubicBezTo>
                  <a:pt x="6335443" y="2860473"/>
                  <a:pt x="6322112" y="2873803"/>
                  <a:pt x="6305672" y="2873803"/>
                </a:cubicBezTo>
                <a:cubicBezTo>
                  <a:pt x="6289228" y="2873803"/>
                  <a:pt x="6275897" y="2860473"/>
                  <a:pt x="6275897" y="2844032"/>
                </a:cubicBezTo>
                <a:cubicBezTo>
                  <a:pt x="6275897" y="2827587"/>
                  <a:pt x="6289228" y="2814257"/>
                  <a:pt x="6305672" y="2814257"/>
                </a:cubicBezTo>
                <a:close/>
                <a:moveTo>
                  <a:pt x="6459616" y="2812081"/>
                </a:moveTo>
                <a:cubicBezTo>
                  <a:pt x="6477260" y="2812081"/>
                  <a:pt x="6491567" y="2826387"/>
                  <a:pt x="6491567" y="2844032"/>
                </a:cubicBezTo>
                <a:cubicBezTo>
                  <a:pt x="6491567" y="2861677"/>
                  <a:pt x="6477260" y="2875983"/>
                  <a:pt x="6459616" y="2875983"/>
                </a:cubicBezTo>
                <a:cubicBezTo>
                  <a:pt x="6441970" y="2875983"/>
                  <a:pt x="6427664" y="2861677"/>
                  <a:pt x="6427664" y="2844032"/>
                </a:cubicBezTo>
                <a:cubicBezTo>
                  <a:pt x="6427664" y="2826387"/>
                  <a:pt x="6441970" y="2812081"/>
                  <a:pt x="6459616" y="2812081"/>
                </a:cubicBezTo>
                <a:close/>
                <a:moveTo>
                  <a:pt x="6613200" y="2810266"/>
                </a:moveTo>
                <a:cubicBezTo>
                  <a:pt x="6631848" y="2810266"/>
                  <a:pt x="6646966" y="2825384"/>
                  <a:pt x="6646966" y="2844032"/>
                </a:cubicBezTo>
                <a:cubicBezTo>
                  <a:pt x="6646966" y="2862684"/>
                  <a:pt x="6631848" y="2877802"/>
                  <a:pt x="6613200" y="2877802"/>
                </a:cubicBezTo>
                <a:cubicBezTo>
                  <a:pt x="6594553" y="2877802"/>
                  <a:pt x="6579435" y="2862684"/>
                  <a:pt x="6579435" y="2844032"/>
                </a:cubicBezTo>
                <a:cubicBezTo>
                  <a:pt x="6579435" y="2825384"/>
                  <a:pt x="6594553" y="2810266"/>
                  <a:pt x="6613200" y="2810266"/>
                </a:cubicBezTo>
                <a:close/>
                <a:moveTo>
                  <a:pt x="3383934" y="2689722"/>
                </a:moveTo>
                <a:cubicBezTo>
                  <a:pt x="3384296" y="2689722"/>
                  <a:pt x="3384296" y="2689722"/>
                  <a:pt x="3384296" y="2690085"/>
                </a:cubicBezTo>
                <a:cubicBezTo>
                  <a:pt x="3384296" y="2690447"/>
                  <a:pt x="3383934" y="2690447"/>
                  <a:pt x="3383934" y="2690447"/>
                </a:cubicBezTo>
                <a:cubicBezTo>
                  <a:pt x="3383572" y="2690447"/>
                  <a:pt x="3383572" y="2690447"/>
                  <a:pt x="3383572" y="2690085"/>
                </a:cubicBezTo>
                <a:cubicBezTo>
                  <a:pt x="3383572" y="2689722"/>
                  <a:pt x="3383572" y="2689722"/>
                  <a:pt x="3383934" y="2689722"/>
                </a:cubicBezTo>
                <a:close/>
                <a:moveTo>
                  <a:pt x="2922458" y="2689722"/>
                </a:moveTo>
                <a:cubicBezTo>
                  <a:pt x="2922820" y="2689722"/>
                  <a:pt x="2922820" y="2689722"/>
                  <a:pt x="2922820" y="2690085"/>
                </a:cubicBezTo>
                <a:cubicBezTo>
                  <a:pt x="2922820" y="2690447"/>
                  <a:pt x="2922458" y="2690447"/>
                  <a:pt x="2922458" y="2690447"/>
                </a:cubicBezTo>
                <a:cubicBezTo>
                  <a:pt x="2922096" y="2690447"/>
                  <a:pt x="2922096" y="2690447"/>
                  <a:pt x="2922096" y="2690085"/>
                </a:cubicBezTo>
                <a:cubicBezTo>
                  <a:pt x="2922096" y="2689722"/>
                  <a:pt x="2922096" y="2689722"/>
                  <a:pt x="2922458" y="2689722"/>
                </a:cubicBezTo>
                <a:close/>
                <a:moveTo>
                  <a:pt x="2768873" y="2689722"/>
                </a:moveTo>
                <a:cubicBezTo>
                  <a:pt x="2769235" y="2689722"/>
                  <a:pt x="2769235" y="2689722"/>
                  <a:pt x="2769235" y="2690085"/>
                </a:cubicBezTo>
                <a:cubicBezTo>
                  <a:pt x="2769235" y="2690447"/>
                  <a:pt x="2768873" y="2690447"/>
                  <a:pt x="2768873" y="2690447"/>
                </a:cubicBezTo>
                <a:cubicBezTo>
                  <a:pt x="2768511" y="2690447"/>
                  <a:pt x="2768511" y="2690447"/>
                  <a:pt x="2768511" y="2690085"/>
                </a:cubicBezTo>
                <a:cubicBezTo>
                  <a:pt x="2768511" y="2689722"/>
                  <a:pt x="2768511" y="2689722"/>
                  <a:pt x="2768873" y="2689722"/>
                </a:cubicBezTo>
                <a:close/>
                <a:moveTo>
                  <a:pt x="2614925" y="2689357"/>
                </a:moveTo>
                <a:cubicBezTo>
                  <a:pt x="2615291" y="2689357"/>
                  <a:pt x="2615654" y="2689719"/>
                  <a:pt x="2615654" y="2690081"/>
                </a:cubicBezTo>
                <a:cubicBezTo>
                  <a:pt x="2615654" y="2690447"/>
                  <a:pt x="2614925" y="2690809"/>
                  <a:pt x="2614925" y="2690809"/>
                </a:cubicBezTo>
                <a:cubicBezTo>
                  <a:pt x="2614563" y="2690809"/>
                  <a:pt x="2614201" y="2690447"/>
                  <a:pt x="2614201" y="2690081"/>
                </a:cubicBezTo>
                <a:cubicBezTo>
                  <a:pt x="2614201" y="2689719"/>
                  <a:pt x="2614563" y="2689357"/>
                  <a:pt x="2614925" y="2689357"/>
                </a:cubicBezTo>
                <a:close/>
                <a:moveTo>
                  <a:pt x="3537886" y="2688633"/>
                </a:moveTo>
                <a:cubicBezTo>
                  <a:pt x="3538690" y="2688633"/>
                  <a:pt x="3539338" y="2689284"/>
                  <a:pt x="3539338" y="2690085"/>
                </a:cubicBezTo>
                <a:cubicBezTo>
                  <a:pt x="3539338" y="2690885"/>
                  <a:pt x="3538690" y="2691537"/>
                  <a:pt x="3537886" y="2691537"/>
                </a:cubicBezTo>
                <a:cubicBezTo>
                  <a:pt x="3537085" y="2691537"/>
                  <a:pt x="3536433" y="2690885"/>
                  <a:pt x="3536433" y="2690085"/>
                </a:cubicBezTo>
                <a:cubicBezTo>
                  <a:pt x="3536433" y="2689284"/>
                  <a:pt x="3537085" y="2688633"/>
                  <a:pt x="3537886" y="2688633"/>
                </a:cubicBezTo>
                <a:close/>
                <a:moveTo>
                  <a:pt x="3691471" y="2687904"/>
                </a:moveTo>
                <a:cubicBezTo>
                  <a:pt x="3692672" y="2687904"/>
                  <a:pt x="3693647" y="2688880"/>
                  <a:pt x="3693647" y="2690081"/>
                </a:cubicBezTo>
                <a:cubicBezTo>
                  <a:pt x="3693647" y="2691286"/>
                  <a:pt x="3692672" y="2692261"/>
                  <a:pt x="3691471" y="2692261"/>
                </a:cubicBezTo>
                <a:cubicBezTo>
                  <a:pt x="3690266" y="2692261"/>
                  <a:pt x="3689290" y="2691286"/>
                  <a:pt x="3689290" y="2690081"/>
                </a:cubicBezTo>
                <a:cubicBezTo>
                  <a:pt x="3689290" y="2688880"/>
                  <a:pt x="3690266" y="2687904"/>
                  <a:pt x="3691471" y="2687904"/>
                </a:cubicBezTo>
                <a:close/>
                <a:moveTo>
                  <a:pt x="3845414" y="2686818"/>
                </a:moveTo>
                <a:cubicBezTo>
                  <a:pt x="3847229" y="2686818"/>
                  <a:pt x="3848681" y="2688270"/>
                  <a:pt x="3848681" y="2690085"/>
                </a:cubicBezTo>
                <a:cubicBezTo>
                  <a:pt x="3848681" y="2691899"/>
                  <a:pt x="3847229" y="2693355"/>
                  <a:pt x="3845414" y="2693355"/>
                </a:cubicBezTo>
                <a:cubicBezTo>
                  <a:pt x="3843600" y="2693355"/>
                  <a:pt x="3842148" y="2691899"/>
                  <a:pt x="3842148" y="2690085"/>
                </a:cubicBezTo>
                <a:cubicBezTo>
                  <a:pt x="3842148" y="2688270"/>
                  <a:pt x="3843600" y="2686818"/>
                  <a:pt x="3845414" y="2686818"/>
                </a:cubicBezTo>
                <a:close/>
                <a:moveTo>
                  <a:pt x="3999000" y="2685728"/>
                </a:moveTo>
                <a:cubicBezTo>
                  <a:pt x="4001542" y="2685728"/>
                  <a:pt x="4003356" y="2687542"/>
                  <a:pt x="4003356" y="2690085"/>
                </a:cubicBezTo>
                <a:cubicBezTo>
                  <a:pt x="4003356" y="2692627"/>
                  <a:pt x="4001176" y="2694442"/>
                  <a:pt x="3999000" y="2694442"/>
                </a:cubicBezTo>
                <a:cubicBezTo>
                  <a:pt x="3996457" y="2694442"/>
                  <a:pt x="3994642" y="2692627"/>
                  <a:pt x="3994642" y="2690085"/>
                </a:cubicBezTo>
                <a:cubicBezTo>
                  <a:pt x="3994642" y="2687542"/>
                  <a:pt x="3996457" y="2685728"/>
                  <a:pt x="3999000" y="2685728"/>
                </a:cubicBezTo>
                <a:close/>
                <a:moveTo>
                  <a:pt x="4152947" y="2684275"/>
                </a:moveTo>
                <a:cubicBezTo>
                  <a:pt x="4156156" y="2684275"/>
                  <a:pt x="4158756" y="2686875"/>
                  <a:pt x="4158756" y="2690085"/>
                </a:cubicBezTo>
                <a:cubicBezTo>
                  <a:pt x="4158756" y="2693294"/>
                  <a:pt x="4156156" y="2695894"/>
                  <a:pt x="4152947" y="2695894"/>
                </a:cubicBezTo>
                <a:cubicBezTo>
                  <a:pt x="4149738" y="2695894"/>
                  <a:pt x="4147138" y="2693294"/>
                  <a:pt x="4147138" y="2690085"/>
                </a:cubicBezTo>
                <a:cubicBezTo>
                  <a:pt x="4147138" y="2686875"/>
                  <a:pt x="4149738" y="2684275"/>
                  <a:pt x="4152947" y="2684275"/>
                </a:cubicBezTo>
                <a:close/>
                <a:moveTo>
                  <a:pt x="4306532" y="2682823"/>
                </a:moveTo>
                <a:cubicBezTo>
                  <a:pt x="4310527" y="2682823"/>
                  <a:pt x="4313794" y="2686090"/>
                  <a:pt x="4313794" y="2690085"/>
                </a:cubicBezTo>
                <a:cubicBezTo>
                  <a:pt x="4313794" y="2694079"/>
                  <a:pt x="4310527" y="2697346"/>
                  <a:pt x="4306532" y="2697346"/>
                </a:cubicBezTo>
                <a:cubicBezTo>
                  <a:pt x="4302538" y="2697346"/>
                  <a:pt x="4299270" y="2694079"/>
                  <a:pt x="4299270" y="2690085"/>
                </a:cubicBezTo>
                <a:cubicBezTo>
                  <a:pt x="4299270" y="2686090"/>
                  <a:pt x="4302538" y="2682823"/>
                  <a:pt x="4306532" y="2682823"/>
                </a:cubicBezTo>
                <a:close/>
                <a:moveTo>
                  <a:pt x="4460480" y="2681005"/>
                </a:moveTo>
                <a:cubicBezTo>
                  <a:pt x="4465564" y="2681005"/>
                  <a:pt x="4469560" y="2685000"/>
                  <a:pt x="4469560" y="2690081"/>
                </a:cubicBezTo>
                <a:cubicBezTo>
                  <a:pt x="4469560" y="2695166"/>
                  <a:pt x="4465564" y="2699161"/>
                  <a:pt x="4460480" y="2699161"/>
                </a:cubicBezTo>
                <a:cubicBezTo>
                  <a:pt x="4455398" y="2699161"/>
                  <a:pt x="4451404" y="2695166"/>
                  <a:pt x="4451404" y="2690081"/>
                </a:cubicBezTo>
                <a:cubicBezTo>
                  <a:pt x="4451404" y="2685000"/>
                  <a:pt x="4455398" y="2681005"/>
                  <a:pt x="4460480" y="2681005"/>
                </a:cubicBezTo>
                <a:close/>
                <a:moveTo>
                  <a:pt x="4614061" y="2679918"/>
                </a:moveTo>
                <a:cubicBezTo>
                  <a:pt x="4619508" y="2679918"/>
                  <a:pt x="4624228" y="2684638"/>
                  <a:pt x="4624228" y="2690085"/>
                </a:cubicBezTo>
                <a:cubicBezTo>
                  <a:pt x="4624228" y="2695532"/>
                  <a:pt x="4619870" y="2700251"/>
                  <a:pt x="4614061" y="2700251"/>
                </a:cubicBezTo>
                <a:cubicBezTo>
                  <a:pt x="4608614" y="2700251"/>
                  <a:pt x="4603895" y="2695532"/>
                  <a:pt x="4603895" y="2690085"/>
                </a:cubicBezTo>
                <a:cubicBezTo>
                  <a:pt x="4603895" y="2684638"/>
                  <a:pt x="4608614" y="2679918"/>
                  <a:pt x="4614061" y="2679918"/>
                </a:cubicBezTo>
                <a:close/>
                <a:moveTo>
                  <a:pt x="4768008" y="2678104"/>
                </a:moveTo>
                <a:cubicBezTo>
                  <a:pt x="4774546" y="2678104"/>
                  <a:pt x="4779993" y="2683551"/>
                  <a:pt x="4779993" y="2690085"/>
                </a:cubicBezTo>
                <a:cubicBezTo>
                  <a:pt x="4779993" y="2696622"/>
                  <a:pt x="4774546" y="2702065"/>
                  <a:pt x="4768008" y="2702065"/>
                </a:cubicBezTo>
                <a:cubicBezTo>
                  <a:pt x="4761475" y="2702065"/>
                  <a:pt x="4756028" y="2696622"/>
                  <a:pt x="4756028" y="2690085"/>
                </a:cubicBezTo>
                <a:cubicBezTo>
                  <a:pt x="4756028" y="2683551"/>
                  <a:pt x="4761475" y="2678104"/>
                  <a:pt x="4768008" y="2678104"/>
                </a:cubicBezTo>
                <a:close/>
                <a:moveTo>
                  <a:pt x="4921598" y="2676286"/>
                </a:moveTo>
                <a:cubicBezTo>
                  <a:pt x="4929222" y="2676286"/>
                  <a:pt x="4935393" y="2682457"/>
                  <a:pt x="4935393" y="2690081"/>
                </a:cubicBezTo>
                <a:cubicBezTo>
                  <a:pt x="4935393" y="2697709"/>
                  <a:pt x="4929222" y="2703880"/>
                  <a:pt x="4921598" y="2703880"/>
                </a:cubicBezTo>
                <a:cubicBezTo>
                  <a:pt x="4913970" y="2703880"/>
                  <a:pt x="4907798" y="2697709"/>
                  <a:pt x="4907798" y="2690081"/>
                </a:cubicBezTo>
                <a:cubicBezTo>
                  <a:pt x="4907798" y="2682457"/>
                  <a:pt x="4913970" y="2676286"/>
                  <a:pt x="4921598" y="2676286"/>
                </a:cubicBezTo>
                <a:close/>
                <a:moveTo>
                  <a:pt x="5075545" y="2674833"/>
                </a:moveTo>
                <a:cubicBezTo>
                  <a:pt x="5083893" y="2674833"/>
                  <a:pt x="5090792" y="2681733"/>
                  <a:pt x="5090792" y="2690081"/>
                </a:cubicBezTo>
                <a:cubicBezTo>
                  <a:pt x="5090792" y="2698433"/>
                  <a:pt x="5083893" y="2705332"/>
                  <a:pt x="5075545" y="2705332"/>
                </a:cubicBezTo>
                <a:cubicBezTo>
                  <a:pt x="5067193" y="2705332"/>
                  <a:pt x="5060294" y="2698433"/>
                  <a:pt x="5060294" y="2690081"/>
                </a:cubicBezTo>
                <a:cubicBezTo>
                  <a:pt x="5060294" y="2681733"/>
                  <a:pt x="5067193" y="2674833"/>
                  <a:pt x="5075545" y="2674833"/>
                </a:cubicBezTo>
                <a:close/>
                <a:moveTo>
                  <a:pt x="5229126" y="2673019"/>
                </a:moveTo>
                <a:cubicBezTo>
                  <a:pt x="5238564" y="2673019"/>
                  <a:pt x="5246192" y="2680643"/>
                  <a:pt x="5246192" y="2690085"/>
                </a:cubicBezTo>
                <a:cubicBezTo>
                  <a:pt x="5246192" y="2699523"/>
                  <a:pt x="5238564" y="2707147"/>
                  <a:pt x="5229126" y="2707147"/>
                </a:cubicBezTo>
                <a:cubicBezTo>
                  <a:pt x="5219684" y="2707147"/>
                  <a:pt x="5212060" y="2699523"/>
                  <a:pt x="5212060" y="2690085"/>
                </a:cubicBezTo>
                <a:cubicBezTo>
                  <a:pt x="5212060" y="2680643"/>
                  <a:pt x="5219684" y="2673019"/>
                  <a:pt x="5229126" y="2673019"/>
                </a:cubicBezTo>
                <a:close/>
                <a:moveTo>
                  <a:pt x="5383074" y="2670842"/>
                </a:moveTo>
                <a:cubicBezTo>
                  <a:pt x="5393705" y="2670842"/>
                  <a:pt x="5402320" y="2679457"/>
                  <a:pt x="5402320" y="2690085"/>
                </a:cubicBezTo>
                <a:cubicBezTo>
                  <a:pt x="5402320" y="2700712"/>
                  <a:pt x="5393705" y="2709327"/>
                  <a:pt x="5383074" y="2709327"/>
                </a:cubicBezTo>
                <a:cubicBezTo>
                  <a:pt x="5372446" y="2709327"/>
                  <a:pt x="5363832" y="2700712"/>
                  <a:pt x="5363832" y="2690085"/>
                </a:cubicBezTo>
                <a:cubicBezTo>
                  <a:pt x="5363832" y="2679457"/>
                  <a:pt x="5372446" y="2670842"/>
                  <a:pt x="5383074" y="2670842"/>
                </a:cubicBezTo>
                <a:close/>
                <a:moveTo>
                  <a:pt x="5536656" y="2668662"/>
                </a:moveTo>
                <a:cubicBezTo>
                  <a:pt x="5548488" y="2668662"/>
                  <a:pt x="5558078" y="2678252"/>
                  <a:pt x="5558078" y="2690085"/>
                </a:cubicBezTo>
                <a:cubicBezTo>
                  <a:pt x="5558078" y="2701913"/>
                  <a:pt x="5548488" y="2711504"/>
                  <a:pt x="5536656" y="2711504"/>
                </a:cubicBezTo>
                <a:cubicBezTo>
                  <a:pt x="5524827" y="2711504"/>
                  <a:pt x="5515232" y="2701913"/>
                  <a:pt x="5515232" y="2690085"/>
                </a:cubicBezTo>
                <a:cubicBezTo>
                  <a:pt x="5515232" y="2678252"/>
                  <a:pt x="5524827" y="2668662"/>
                  <a:pt x="5536656" y="2668662"/>
                </a:cubicBezTo>
                <a:close/>
                <a:moveTo>
                  <a:pt x="5690606" y="2667209"/>
                </a:moveTo>
                <a:cubicBezTo>
                  <a:pt x="5703239" y="2667209"/>
                  <a:pt x="5713482" y="2677452"/>
                  <a:pt x="5713482" y="2690085"/>
                </a:cubicBezTo>
                <a:cubicBezTo>
                  <a:pt x="5713482" y="2702717"/>
                  <a:pt x="5703239" y="2712956"/>
                  <a:pt x="5690606" y="2712956"/>
                </a:cubicBezTo>
                <a:cubicBezTo>
                  <a:pt x="5677974" y="2712956"/>
                  <a:pt x="5667732" y="2702717"/>
                  <a:pt x="5667732" y="2690085"/>
                </a:cubicBezTo>
                <a:cubicBezTo>
                  <a:pt x="5667732" y="2677452"/>
                  <a:pt x="5677974" y="2667209"/>
                  <a:pt x="5690606" y="2667209"/>
                </a:cubicBezTo>
                <a:close/>
                <a:moveTo>
                  <a:pt x="5844550" y="2665033"/>
                </a:moveTo>
                <a:cubicBezTo>
                  <a:pt x="5858388" y="2665033"/>
                  <a:pt x="5869606" y="2676247"/>
                  <a:pt x="5869606" y="2690085"/>
                </a:cubicBezTo>
                <a:cubicBezTo>
                  <a:pt x="5869606" y="2703922"/>
                  <a:pt x="5858388" y="2715136"/>
                  <a:pt x="5844550" y="2715136"/>
                </a:cubicBezTo>
                <a:cubicBezTo>
                  <a:pt x="5830713" y="2715136"/>
                  <a:pt x="5819498" y="2703922"/>
                  <a:pt x="5819498" y="2690085"/>
                </a:cubicBezTo>
                <a:cubicBezTo>
                  <a:pt x="5819498" y="2676247"/>
                  <a:pt x="5830713" y="2665033"/>
                  <a:pt x="5844550" y="2665033"/>
                </a:cubicBezTo>
                <a:close/>
                <a:moveTo>
                  <a:pt x="5998139" y="2662852"/>
                </a:moveTo>
                <a:cubicBezTo>
                  <a:pt x="6013024" y="2662852"/>
                  <a:pt x="6025372" y="2675199"/>
                  <a:pt x="6025372" y="2690085"/>
                </a:cubicBezTo>
                <a:cubicBezTo>
                  <a:pt x="6025372" y="2704970"/>
                  <a:pt x="6013390" y="2717317"/>
                  <a:pt x="5998139" y="2717317"/>
                </a:cubicBezTo>
                <a:cubicBezTo>
                  <a:pt x="5983254" y="2717317"/>
                  <a:pt x="5970907" y="2704970"/>
                  <a:pt x="5970907" y="2690085"/>
                </a:cubicBezTo>
                <a:cubicBezTo>
                  <a:pt x="5970907" y="2675199"/>
                  <a:pt x="5983254" y="2662852"/>
                  <a:pt x="5998139" y="2662852"/>
                </a:cubicBezTo>
                <a:close/>
                <a:moveTo>
                  <a:pt x="6152083" y="2660310"/>
                </a:moveTo>
                <a:cubicBezTo>
                  <a:pt x="6168528" y="2660310"/>
                  <a:pt x="6181858" y="2673640"/>
                  <a:pt x="6181858" y="2690081"/>
                </a:cubicBezTo>
                <a:cubicBezTo>
                  <a:pt x="6181858" y="2706525"/>
                  <a:pt x="6168528" y="2719856"/>
                  <a:pt x="6152083" y="2719856"/>
                </a:cubicBezTo>
                <a:cubicBezTo>
                  <a:pt x="6135642" y="2719856"/>
                  <a:pt x="6122312" y="2706525"/>
                  <a:pt x="6122312" y="2690081"/>
                </a:cubicBezTo>
                <a:cubicBezTo>
                  <a:pt x="6122312" y="2673640"/>
                  <a:pt x="6135642" y="2660310"/>
                  <a:pt x="6152083" y="2660310"/>
                </a:cubicBezTo>
                <a:close/>
                <a:moveTo>
                  <a:pt x="6305668" y="2658133"/>
                </a:moveTo>
                <a:cubicBezTo>
                  <a:pt x="6323317" y="2658133"/>
                  <a:pt x="6337620" y="2672439"/>
                  <a:pt x="6337620" y="2690085"/>
                </a:cubicBezTo>
                <a:cubicBezTo>
                  <a:pt x="6337620" y="2707730"/>
                  <a:pt x="6323317" y="2722036"/>
                  <a:pt x="6305668" y="2722036"/>
                </a:cubicBezTo>
                <a:cubicBezTo>
                  <a:pt x="6288022" y="2722036"/>
                  <a:pt x="6273716" y="2707730"/>
                  <a:pt x="6273716" y="2690085"/>
                </a:cubicBezTo>
                <a:cubicBezTo>
                  <a:pt x="6273716" y="2672439"/>
                  <a:pt x="6288022" y="2658133"/>
                  <a:pt x="6305668" y="2658133"/>
                </a:cubicBezTo>
                <a:close/>
                <a:moveTo>
                  <a:pt x="6459616" y="2656319"/>
                </a:moveTo>
                <a:cubicBezTo>
                  <a:pt x="6478263" y="2656319"/>
                  <a:pt x="6493385" y="2671437"/>
                  <a:pt x="6493385" y="2690085"/>
                </a:cubicBezTo>
                <a:cubicBezTo>
                  <a:pt x="6493385" y="2708736"/>
                  <a:pt x="6478263" y="2723850"/>
                  <a:pt x="6459616" y="2723850"/>
                </a:cubicBezTo>
                <a:cubicBezTo>
                  <a:pt x="6440968" y="2723850"/>
                  <a:pt x="6425850" y="2708736"/>
                  <a:pt x="6425850" y="2690085"/>
                </a:cubicBezTo>
                <a:cubicBezTo>
                  <a:pt x="6425850" y="2671437"/>
                  <a:pt x="6440968" y="2656319"/>
                  <a:pt x="6459616" y="2656319"/>
                </a:cubicBezTo>
                <a:close/>
                <a:moveTo>
                  <a:pt x="6613200" y="2653777"/>
                </a:moveTo>
                <a:cubicBezTo>
                  <a:pt x="6633255" y="2653777"/>
                  <a:pt x="6649509" y="2670030"/>
                  <a:pt x="6649509" y="2690085"/>
                </a:cubicBezTo>
                <a:cubicBezTo>
                  <a:pt x="6649509" y="2710135"/>
                  <a:pt x="6633255" y="2726393"/>
                  <a:pt x="6613200" y="2726393"/>
                </a:cubicBezTo>
                <a:cubicBezTo>
                  <a:pt x="6593146" y="2726393"/>
                  <a:pt x="6576892" y="2710135"/>
                  <a:pt x="6576892" y="2690085"/>
                </a:cubicBezTo>
                <a:cubicBezTo>
                  <a:pt x="6576892" y="2670030"/>
                  <a:pt x="6593146" y="2653777"/>
                  <a:pt x="6613200" y="2653777"/>
                </a:cubicBezTo>
                <a:close/>
                <a:moveTo>
                  <a:pt x="3230349" y="2536137"/>
                </a:moveTo>
                <a:cubicBezTo>
                  <a:pt x="3230715" y="2536137"/>
                  <a:pt x="3230715" y="2536137"/>
                  <a:pt x="3230715" y="2536499"/>
                </a:cubicBezTo>
                <a:cubicBezTo>
                  <a:pt x="3230715" y="2536866"/>
                  <a:pt x="3230349" y="2536866"/>
                  <a:pt x="3230349" y="2536866"/>
                </a:cubicBezTo>
                <a:cubicBezTo>
                  <a:pt x="3229987" y="2536866"/>
                  <a:pt x="3229987" y="2536866"/>
                  <a:pt x="3229987" y="2536499"/>
                </a:cubicBezTo>
                <a:cubicBezTo>
                  <a:pt x="3229987" y="2536137"/>
                  <a:pt x="3229987" y="2536137"/>
                  <a:pt x="3230349" y="2536137"/>
                </a:cubicBezTo>
                <a:close/>
                <a:moveTo>
                  <a:pt x="2768873" y="2536137"/>
                </a:moveTo>
                <a:cubicBezTo>
                  <a:pt x="2769235" y="2536137"/>
                  <a:pt x="2769235" y="2536137"/>
                  <a:pt x="2769235" y="2536499"/>
                </a:cubicBezTo>
                <a:cubicBezTo>
                  <a:pt x="2769235" y="2536866"/>
                  <a:pt x="2768873" y="2536866"/>
                  <a:pt x="2768873" y="2536866"/>
                </a:cubicBezTo>
                <a:cubicBezTo>
                  <a:pt x="2768511" y="2536866"/>
                  <a:pt x="2768511" y="2536866"/>
                  <a:pt x="2768511" y="2536499"/>
                </a:cubicBezTo>
                <a:cubicBezTo>
                  <a:pt x="2768511" y="2536137"/>
                  <a:pt x="2768511" y="2536137"/>
                  <a:pt x="2768873" y="2536137"/>
                </a:cubicBezTo>
                <a:close/>
                <a:moveTo>
                  <a:pt x="2614925" y="2536137"/>
                </a:moveTo>
                <a:cubicBezTo>
                  <a:pt x="2615288" y="2536137"/>
                  <a:pt x="2615288" y="2536137"/>
                  <a:pt x="2615288" y="2536499"/>
                </a:cubicBezTo>
                <a:cubicBezTo>
                  <a:pt x="2615288" y="2536866"/>
                  <a:pt x="2614925" y="2536866"/>
                  <a:pt x="2614925" y="2536866"/>
                </a:cubicBezTo>
                <a:cubicBezTo>
                  <a:pt x="2614563" y="2536866"/>
                  <a:pt x="2614563" y="2536866"/>
                  <a:pt x="2614563" y="2536499"/>
                </a:cubicBezTo>
                <a:cubicBezTo>
                  <a:pt x="2614563" y="2536137"/>
                  <a:pt x="2614563" y="2536137"/>
                  <a:pt x="2614925" y="2536137"/>
                </a:cubicBezTo>
                <a:close/>
                <a:moveTo>
                  <a:pt x="2461344" y="2535771"/>
                </a:moveTo>
                <a:cubicBezTo>
                  <a:pt x="2461706" y="2535771"/>
                  <a:pt x="2462068" y="2536133"/>
                  <a:pt x="2462068" y="2536499"/>
                </a:cubicBezTo>
                <a:cubicBezTo>
                  <a:pt x="2462068" y="2536862"/>
                  <a:pt x="2461344" y="2537224"/>
                  <a:pt x="2461344" y="2537224"/>
                </a:cubicBezTo>
                <a:cubicBezTo>
                  <a:pt x="2460978" y="2537224"/>
                  <a:pt x="2460616" y="2536862"/>
                  <a:pt x="2460616" y="2536499"/>
                </a:cubicBezTo>
                <a:cubicBezTo>
                  <a:pt x="2460616" y="2536133"/>
                  <a:pt x="2460978" y="2535771"/>
                  <a:pt x="2461344" y="2535771"/>
                </a:cubicBezTo>
                <a:close/>
                <a:moveTo>
                  <a:pt x="3383938" y="2535047"/>
                </a:moveTo>
                <a:cubicBezTo>
                  <a:pt x="3384738" y="2535047"/>
                  <a:pt x="3385390" y="2535699"/>
                  <a:pt x="3385390" y="2536499"/>
                </a:cubicBezTo>
                <a:cubicBezTo>
                  <a:pt x="3385390" y="2537300"/>
                  <a:pt x="3384738" y="2537952"/>
                  <a:pt x="3383938" y="2537952"/>
                </a:cubicBezTo>
                <a:cubicBezTo>
                  <a:pt x="3383134" y="2537952"/>
                  <a:pt x="3382486" y="2537300"/>
                  <a:pt x="3382486" y="2536499"/>
                </a:cubicBezTo>
                <a:cubicBezTo>
                  <a:pt x="3382486" y="2535699"/>
                  <a:pt x="3383134" y="2535047"/>
                  <a:pt x="3383938" y="2535047"/>
                </a:cubicBezTo>
                <a:close/>
                <a:moveTo>
                  <a:pt x="3537886" y="2534323"/>
                </a:moveTo>
                <a:cubicBezTo>
                  <a:pt x="3539086" y="2534323"/>
                  <a:pt x="3540062" y="2535299"/>
                  <a:pt x="3540062" y="2536503"/>
                </a:cubicBezTo>
                <a:cubicBezTo>
                  <a:pt x="3540062" y="2537704"/>
                  <a:pt x="3539086" y="2538680"/>
                  <a:pt x="3537886" y="2538680"/>
                </a:cubicBezTo>
                <a:cubicBezTo>
                  <a:pt x="3536681" y="2538680"/>
                  <a:pt x="3535705" y="2537704"/>
                  <a:pt x="3535705" y="2536503"/>
                </a:cubicBezTo>
                <a:cubicBezTo>
                  <a:pt x="3535705" y="2535299"/>
                  <a:pt x="3536681" y="2534323"/>
                  <a:pt x="3537886" y="2534323"/>
                </a:cubicBezTo>
                <a:close/>
                <a:moveTo>
                  <a:pt x="3691467" y="2533233"/>
                </a:moveTo>
                <a:cubicBezTo>
                  <a:pt x="3693285" y="2533233"/>
                  <a:pt x="3694738" y="2534685"/>
                  <a:pt x="3694738" y="2536499"/>
                </a:cubicBezTo>
                <a:cubicBezTo>
                  <a:pt x="3694738" y="2538318"/>
                  <a:pt x="3693285" y="2539770"/>
                  <a:pt x="3691467" y="2539770"/>
                </a:cubicBezTo>
                <a:cubicBezTo>
                  <a:pt x="3689652" y="2539770"/>
                  <a:pt x="3688200" y="2538318"/>
                  <a:pt x="3688200" y="2536499"/>
                </a:cubicBezTo>
                <a:cubicBezTo>
                  <a:pt x="3688200" y="2534685"/>
                  <a:pt x="3689652" y="2533233"/>
                  <a:pt x="3691467" y="2533233"/>
                </a:cubicBezTo>
                <a:close/>
                <a:moveTo>
                  <a:pt x="3845414" y="2531780"/>
                </a:moveTo>
                <a:cubicBezTo>
                  <a:pt x="3847957" y="2531780"/>
                  <a:pt x="3849771" y="2533595"/>
                  <a:pt x="3849771" y="2536137"/>
                </a:cubicBezTo>
                <a:cubicBezTo>
                  <a:pt x="3849771" y="2538680"/>
                  <a:pt x="3847591" y="2540494"/>
                  <a:pt x="3845414" y="2540494"/>
                </a:cubicBezTo>
                <a:cubicBezTo>
                  <a:pt x="3842872" y="2540494"/>
                  <a:pt x="3841057" y="2538680"/>
                  <a:pt x="3841057" y="2536137"/>
                </a:cubicBezTo>
                <a:cubicBezTo>
                  <a:pt x="3841057" y="2533595"/>
                  <a:pt x="3842872" y="2531780"/>
                  <a:pt x="3845414" y="2531780"/>
                </a:cubicBezTo>
                <a:close/>
                <a:moveTo>
                  <a:pt x="3999000" y="2530690"/>
                </a:moveTo>
                <a:cubicBezTo>
                  <a:pt x="4002209" y="2530690"/>
                  <a:pt x="4004809" y="2533290"/>
                  <a:pt x="4004809" y="2536499"/>
                </a:cubicBezTo>
                <a:cubicBezTo>
                  <a:pt x="4004809" y="2539709"/>
                  <a:pt x="4002209" y="2542309"/>
                  <a:pt x="3999000" y="2542309"/>
                </a:cubicBezTo>
                <a:cubicBezTo>
                  <a:pt x="3995790" y="2542309"/>
                  <a:pt x="3993190" y="2539709"/>
                  <a:pt x="3993190" y="2536499"/>
                </a:cubicBezTo>
                <a:cubicBezTo>
                  <a:pt x="3993190" y="2533290"/>
                  <a:pt x="3995790" y="2530690"/>
                  <a:pt x="3999000" y="2530690"/>
                </a:cubicBezTo>
                <a:close/>
                <a:moveTo>
                  <a:pt x="4152947" y="2528876"/>
                </a:moveTo>
                <a:cubicBezTo>
                  <a:pt x="4156942" y="2528876"/>
                  <a:pt x="4160208" y="2532142"/>
                  <a:pt x="4160208" y="2536137"/>
                </a:cubicBezTo>
                <a:cubicBezTo>
                  <a:pt x="4160208" y="2540132"/>
                  <a:pt x="4156942" y="2543399"/>
                  <a:pt x="4152947" y="2543399"/>
                </a:cubicBezTo>
                <a:cubicBezTo>
                  <a:pt x="4148952" y="2543399"/>
                  <a:pt x="4145686" y="2540132"/>
                  <a:pt x="4145686" y="2536137"/>
                </a:cubicBezTo>
                <a:cubicBezTo>
                  <a:pt x="4145686" y="2532142"/>
                  <a:pt x="4148952" y="2528876"/>
                  <a:pt x="4152947" y="2528876"/>
                </a:cubicBezTo>
                <a:close/>
                <a:moveTo>
                  <a:pt x="4306528" y="2527058"/>
                </a:moveTo>
                <a:cubicBezTo>
                  <a:pt x="4311614" y="2527058"/>
                  <a:pt x="4315608" y="2531052"/>
                  <a:pt x="4315608" y="2536133"/>
                </a:cubicBezTo>
                <a:cubicBezTo>
                  <a:pt x="4315608" y="2541218"/>
                  <a:pt x="4311614" y="2545213"/>
                  <a:pt x="4306528" y="2545213"/>
                </a:cubicBezTo>
                <a:cubicBezTo>
                  <a:pt x="4301447" y="2545213"/>
                  <a:pt x="4297452" y="2541218"/>
                  <a:pt x="4297452" y="2536133"/>
                </a:cubicBezTo>
                <a:cubicBezTo>
                  <a:pt x="4297452" y="2531052"/>
                  <a:pt x="4301447" y="2527058"/>
                  <a:pt x="4306528" y="2527058"/>
                </a:cubicBezTo>
                <a:close/>
                <a:moveTo>
                  <a:pt x="4460480" y="2526333"/>
                </a:moveTo>
                <a:cubicBezTo>
                  <a:pt x="4465927" y="2526333"/>
                  <a:pt x="4470646" y="2531052"/>
                  <a:pt x="4470646" y="2536499"/>
                </a:cubicBezTo>
                <a:cubicBezTo>
                  <a:pt x="4470646" y="2541947"/>
                  <a:pt x="4466289" y="2546666"/>
                  <a:pt x="4460480" y="2546666"/>
                </a:cubicBezTo>
                <a:cubicBezTo>
                  <a:pt x="4455032" y="2546666"/>
                  <a:pt x="4450314" y="2541947"/>
                  <a:pt x="4450314" y="2536499"/>
                </a:cubicBezTo>
                <a:cubicBezTo>
                  <a:pt x="4450314" y="2531052"/>
                  <a:pt x="4455032" y="2526333"/>
                  <a:pt x="4460480" y="2526333"/>
                </a:cubicBezTo>
                <a:close/>
                <a:moveTo>
                  <a:pt x="4614061" y="2524153"/>
                </a:moveTo>
                <a:cubicBezTo>
                  <a:pt x="4620598" y="2524153"/>
                  <a:pt x="4626046" y="2529600"/>
                  <a:pt x="4626046" y="2536133"/>
                </a:cubicBezTo>
                <a:cubicBezTo>
                  <a:pt x="4626046" y="2542671"/>
                  <a:pt x="4620598" y="2548118"/>
                  <a:pt x="4614061" y="2548118"/>
                </a:cubicBezTo>
                <a:cubicBezTo>
                  <a:pt x="4607528" y="2548118"/>
                  <a:pt x="4602080" y="2542671"/>
                  <a:pt x="4602080" y="2536133"/>
                </a:cubicBezTo>
                <a:cubicBezTo>
                  <a:pt x="4602080" y="2529600"/>
                  <a:pt x="4607528" y="2524153"/>
                  <a:pt x="4614061" y="2524153"/>
                </a:cubicBezTo>
                <a:close/>
                <a:moveTo>
                  <a:pt x="4768012" y="2522338"/>
                </a:moveTo>
                <a:cubicBezTo>
                  <a:pt x="4775636" y="2522338"/>
                  <a:pt x="4781808" y="2528510"/>
                  <a:pt x="4781808" y="2536133"/>
                </a:cubicBezTo>
                <a:cubicBezTo>
                  <a:pt x="4781808" y="2543761"/>
                  <a:pt x="4775636" y="2549933"/>
                  <a:pt x="4768012" y="2549933"/>
                </a:cubicBezTo>
                <a:cubicBezTo>
                  <a:pt x="4760384" y="2549933"/>
                  <a:pt x="4754214" y="2543761"/>
                  <a:pt x="4754214" y="2536133"/>
                </a:cubicBezTo>
                <a:cubicBezTo>
                  <a:pt x="4754214" y="2528510"/>
                  <a:pt x="4760384" y="2522338"/>
                  <a:pt x="4768012" y="2522338"/>
                </a:cubicBezTo>
                <a:close/>
                <a:moveTo>
                  <a:pt x="4921594" y="2521252"/>
                </a:moveTo>
                <a:cubicBezTo>
                  <a:pt x="4930018" y="2521252"/>
                  <a:pt x="4936845" y="2528079"/>
                  <a:pt x="4936845" y="2536503"/>
                </a:cubicBezTo>
                <a:cubicBezTo>
                  <a:pt x="4936845" y="2544924"/>
                  <a:pt x="4930018" y="2551751"/>
                  <a:pt x="4921594" y="2551751"/>
                </a:cubicBezTo>
                <a:cubicBezTo>
                  <a:pt x="4913174" y="2551751"/>
                  <a:pt x="4906346" y="2544924"/>
                  <a:pt x="4906346" y="2536503"/>
                </a:cubicBezTo>
                <a:cubicBezTo>
                  <a:pt x="4906346" y="2528079"/>
                  <a:pt x="4913174" y="2521252"/>
                  <a:pt x="4921594" y="2521252"/>
                </a:cubicBezTo>
                <a:close/>
                <a:moveTo>
                  <a:pt x="5075545" y="2519071"/>
                </a:moveTo>
                <a:cubicBezTo>
                  <a:pt x="5084984" y="2519071"/>
                  <a:pt x="5092611" y="2526695"/>
                  <a:pt x="5092611" y="2536137"/>
                </a:cubicBezTo>
                <a:cubicBezTo>
                  <a:pt x="5092611" y="2545575"/>
                  <a:pt x="5084984" y="2553203"/>
                  <a:pt x="5075545" y="2553203"/>
                </a:cubicBezTo>
                <a:cubicBezTo>
                  <a:pt x="5066103" y="2553203"/>
                  <a:pt x="5058479" y="2545575"/>
                  <a:pt x="5058479" y="2536137"/>
                </a:cubicBezTo>
                <a:cubicBezTo>
                  <a:pt x="5058479" y="2526695"/>
                  <a:pt x="5066103" y="2519071"/>
                  <a:pt x="5075545" y="2519071"/>
                </a:cubicBezTo>
                <a:close/>
                <a:moveTo>
                  <a:pt x="5229126" y="2517257"/>
                </a:moveTo>
                <a:cubicBezTo>
                  <a:pt x="5239754" y="2517257"/>
                  <a:pt x="5248369" y="2525872"/>
                  <a:pt x="5248369" y="2536499"/>
                </a:cubicBezTo>
                <a:cubicBezTo>
                  <a:pt x="5248369" y="2547127"/>
                  <a:pt x="5239754" y="2555742"/>
                  <a:pt x="5229126" y="2555742"/>
                </a:cubicBezTo>
                <a:cubicBezTo>
                  <a:pt x="5218499" y="2555742"/>
                  <a:pt x="5209884" y="2547127"/>
                  <a:pt x="5209884" y="2536499"/>
                </a:cubicBezTo>
                <a:cubicBezTo>
                  <a:pt x="5209884" y="2525872"/>
                  <a:pt x="5218499" y="2517257"/>
                  <a:pt x="5229126" y="2517257"/>
                </a:cubicBezTo>
                <a:close/>
                <a:moveTo>
                  <a:pt x="5383074" y="2514714"/>
                </a:moveTo>
                <a:cubicBezTo>
                  <a:pt x="5395054" y="2514714"/>
                  <a:pt x="5404496" y="2524153"/>
                  <a:pt x="5404496" y="2536137"/>
                </a:cubicBezTo>
                <a:cubicBezTo>
                  <a:pt x="5404496" y="2548118"/>
                  <a:pt x="5394692" y="2557560"/>
                  <a:pt x="5383074" y="2557560"/>
                </a:cubicBezTo>
                <a:cubicBezTo>
                  <a:pt x="5371093" y="2557560"/>
                  <a:pt x="5361651" y="2548118"/>
                  <a:pt x="5361651" y="2536137"/>
                </a:cubicBezTo>
                <a:cubicBezTo>
                  <a:pt x="5361651" y="2524153"/>
                  <a:pt x="5371093" y="2514714"/>
                  <a:pt x="5383074" y="2514714"/>
                </a:cubicBezTo>
                <a:close/>
                <a:moveTo>
                  <a:pt x="5536659" y="2513624"/>
                </a:moveTo>
                <a:cubicBezTo>
                  <a:pt x="5549292" y="2513624"/>
                  <a:pt x="5559534" y="2523867"/>
                  <a:pt x="5559534" y="2536499"/>
                </a:cubicBezTo>
                <a:cubicBezTo>
                  <a:pt x="5559534" y="2549132"/>
                  <a:pt x="5549292" y="2559371"/>
                  <a:pt x="5536659" y="2559371"/>
                </a:cubicBezTo>
                <a:cubicBezTo>
                  <a:pt x="5524026" y="2559371"/>
                  <a:pt x="5513784" y="2549132"/>
                  <a:pt x="5513784" y="2536499"/>
                </a:cubicBezTo>
                <a:cubicBezTo>
                  <a:pt x="5513784" y="2523867"/>
                  <a:pt x="5524026" y="2513624"/>
                  <a:pt x="5536659" y="2513624"/>
                </a:cubicBezTo>
                <a:close/>
                <a:moveTo>
                  <a:pt x="5690602" y="2511448"/>
                </a:moveTo>
                <a:cubicBezTo>
                  <a:pt x="5704440" y="2511448"/>
                  <a:pt x="5715658" y="2522662"/>
                  <a:pt x="5715658" y="2536499"/>
                </a:cubicBezTo>
                <a:cubicBezTo>
                  <a:pt x="5715658" y="2550337"/>
                  <a:pt x="5704440" y="2561555"/>
                  <a:pt x="5690602" y="2561555"/>
                </a:cubicBezTo>
                <a:cubicBezTo>
                  <a:pt x="5676766" y="2561555"/>
                  <a:pt x="5665551" y="2550337"/>
                  <a:pt x="5665551" y="2536499"/>
                </a:cubicBezTo>
                <a:cubicBezTo>
                  <a:pt x="5665551" y="2522666"/>
                  <a:pt x="5676766" y="2511448"/>
                  <a:pt x="5690602" y="2511448"/>
                </a:cubicBezTo>
                <a:close/>
                <a:moveTo>
                  <a:pt x="5844554" y="2509267"/>
                </a:moveTo>
                <a:cubicBezTo>
                  <a:pt x="5859440" y="2509267"/>
                  <a:pt x="5871786" y="2521610"/>
                  <a:pt x="5871786" y="2536499"/>
                </a:cubicBezTo>
                <a:cubicBezTo>
                  <a:pt x="5871786" y="2551385"/>
                  <a:pt x="5859802" y="2563732"/>
                  <a:pt x="5844554" y="2563732"/>
                </a:cubicBezTo>
                <a:cubicBezTo>
                  <a:pt x="5829664" y="2563732"/>
                  <a:pt x="5817322" y="2551385"/>
                  <a:pt x="5817322" y="2536499"/>
                </a:cubicBezTo>
                <a:cubicBezTo>
                  <a:pt x="5817322" y="2521610"/>
                  <a:pt x="5829664" y="2509267"/>
                  <a:pt x="5844554" y="2509267"/>
                </a:cubicBezTo>
                <a:close/>
                <a:moveTo>
                  <a:pt x="5998136" y="2506729"/>
                </a:moveTo>
                <a:cubicBezTo>
                  <a:pt x="6014580" y="2506729"/>
                  <a:pt x="6027910" y="2520059"/>
                  <a:pt x="6027910" y="2536503"/>
                </a:cubicBezTo>
                <a:cubicBezTo>
                  <a:pt x="6027910" y="2552944"/>
                  <a:pt x="6014580" y="2566274"/>
                  <a:pt x="5998136" y="2566274"/>
                </a:cubicBezTo>
                <a:cubicBezTo>
                  <a:pt x="5981694" y="2566274"/>
                  <a:pt x="5968364" y="2552944"/>
                  <a:pt x="5968364" y="2536503"/>
                </a:cubicBezTo>
                <a:cubicBezTo>
                  <a:pt x="5968364" y="2520059"/>
                  <a:pt x="5981694" y="2506729"/>
                  <a:pt x="5998136" y="2506729"/>
                </a:cubicBezTo>
                <a:close/>
                <a:moveTo>
                  <a:pt x="6152086" y="2504548"/>
                </a:moveTo>
                <a:cubicBezTo>
                  <a:pt x="6169732" y="2504548"/>
                  <a:pt x="6184038" y="2518854"/>
                  <a:pt x="6184038" y="2536499"/>
                </a:cubicBezTo>
                <a:cubicBezTo>
                  <a:pt x="6184038" y="2554145"/>
                  <a:pt x="6169732" y="2568451"/>
                  <a:pt x="6152086" y="2568451"/>
                </a:cubicBezTo>
                <a:cubicBezTo>
                  <a:pt x="6134438" y="2568451"/>
                  <a:pt x="6120135" y="2554145"/>
                  <a:pt x="6120135" y="2536499"/>
                </a:cubicBezTo>
                <a:cubicBezTo>
                  <a:pt x="6120135" y="2518854"/>
                  <a:pt x="6134438" y="2504548"/>
                  <a:pt x="6152086" y="2504548"/>
                </a:cubicBezTo>
                <a:close/>
                <a:moveTo>
                  <a:pt x="6305668" y="2502734"/>
                </a:moveTo>
                <a:cubicBezTo>
                  <a:pt x="6324320" y="2502734"/>
                  <a:pt x="6339438" y="2517852"/>
                  <a:pt x="6339438" y="2536499"/>
                </a:cubicBezTo>
                <a:cubicBezTo>
                  <a:pt x="6339438" y="2555151"/>
                  <a:pt x="6324320" y="2570269"/>
                  <a:pt x="6305668" y="2570269"/>
                </a:cubicBezTo>
                <a:cubicBezTo>
                  <a:pt x="6287020" y="2570269"/>
                  <a:pt x="6271902" y="2555151"/>
                  <a:pt x="6271902" y="2536499"/>
                </a:cubicBezTo>
                <a:cubicBezTo>
                  <a:pt x="6271902" y="2517852"/>
                  <a:pt x="6287020" y="2502734"/>
                  <a:pt x="6305668" y="2502734"/>
                </a:cubicBezTo>
                <a:close/>
                <a:moveTo>
                  <a:pt x="6459616" y="2500191"/>
                </a:moveTo>
                <a:cubicBezTo>
                  <a:pt x="6479670" y="2500191"/>
                  <a:pt x="6495924" y="2516445"/>
                  <a:pt x="6495924" y="2536499"/>
                </a:cubicBezTo>
                <a:cubicBezTo>
                  <a:pt x="6495924" y="2556554"/>
                  <a:pt x="6479670" y="2572808"/>
                  <a:pt x="6459616" y="2572808"/>
                </a:cubicBezTo>
                <a:cubicBezTo>
                  <a:pt x="6439561" y="2572808"/>
                  <a:pt x="6423307" y="2556554"/>
                  <a:pt x="6423307" y="2536499"/>
                </a:cubicBezTo>
                <a:cubicBezTo>
                  <a:pt x="6423307" y="2516445"/>
                  <a:pt x="6439561" y="2500191"/>
                  <a:pt x="6459616" y="2500191"/>
                </a:cubicBezTo>
                <a:close/>
                <a:moveTo>
                  <a:pt x="6613200" y="2497648"/>
                </a:moveTo>
                <a:cubicBezTo>
                  <a:pt x="6634654" y="2497648"/>
                  <a:pt x="6652048" y="2515042"/>
                  <a:pt x="6652048" y="2536499"/>
                </a:cubicBezTo>
                <a:cubicBezTo>
                  <a:pt x="6652048" y="2557953"/>
                  <a:pt x="6634654" y="2575350"/>
                  <a:pt x="6613200" y="2575350"/>
                </a:cubicBezTo>
                <a:cubicBezTo>
                  <a:pt x="6591744" y="2575350"/>
                  <a:pt x="6574350" y="2557953"/>
                  <a:pt x="6574350" y="2536499"/>
                </a:cubicBezTo>
                <a:cubicBezTo>
                  <a:pt x="6574350" y="2515042"/>
                  <a:pt x="6591744" y="2497648"/>
                  <a:pt x="6613200" y="2497648"/>
                </a:cubicBezTo>
                <a:close/>
                <a:moveTo>
                  <a:pt x="3076406" y="2382190"/>
                </a:moveTo>
                <a:cubicBezTo>
                  <a:pt x="3076768" y="2382190"/>
                  <a:pt x="3076768" y="2382190"/>
                  <a:pt x="3076768" y="2382552"/>
                </a:cubicBezTo>
                <a:cubicBezTo>
                  <a:pt x="3076768" y="2382914"/>
                  <a:pt x="3076406" y="2382914"/>
                  <a:pt x="3076406" y="2382914"/>
                </a:cubicBezTo>
                <a:cubicBezTo>
                  <a:pt x="3076043" y="2382914"/>
                  <a:pt x="3076043" y="2382914"/>
                  <a:pt x="3076043" y="2382552"/>
                </a:cubicBezTo>
                <a:cubicBezTo>
                  <a:pt x="3076043" y="2382190"/>
                  <a:pt x="3076043" y="2382190"/>
                  <a:pt x="3076406" y="2382190"/>
                </a:cubicBezTo>
                <a:close/>
                <a:moveTo>
                  <a:pt x="2614925" y="2382190"/>
                </a:moveTo>
                <a:cubicBezTo>
                  <a:pt x="2615288" y="2382190"/>
                  <a:pt x="2615288" y="2382190"/>
                  <a:pt x="2615288" y="2382552"/>
                </a:cubicBezTo>
                <a:cubicBezTo>
                  <a:pt x="2615288" y="2382914"/>
                  <a:pt x="2614925" y="2382914"/>
                  <a:pt x="2614925" y="2382914"/>
                </a:cubicBezTo>
                <a:cubicBezTo>
                  <a:pt x="2614563" y="2382914"/>
                  <a:pt x="2614563" y="2382914"/>
                  <a:pt x="2614563" y="2382552"/>
                </a:cubicBezTo>
                <a:cubicBezTo>
                  <a:pt x="2614563" y="2382190"/>
                  <a:pt x="2614563" y="2382190"/>
                  <a:pt x="2614925" y="2382190"/>
                </a:cubicBezTo>
                <a:close/>
                <a:moveTo>
                  <a:pt x="2461340" y="2382190"/>
                </a:moveTo>
                <a:cubicBezTo>
                  <a:pt x="2461702" y="2382190"/>
                  <a:pt x="2461702" y="2382190"/>
                  <a:pt x="2461702" y="2382552"/>
                </a:cubicBezTo>
                <a:cubicBezTo>
                  <a:pt x="2461702" y="2382914"/>
                  <a:pt x="2461340" y="2382914"/>
                  <a:pt x="2461340" y="2382914"/>
                </a:cubicBezTo>
                <a:cubicBezTo>
                  <a:pt x="2460978" y="2382914"/>
                  <a:pt x="2460978" y="2382914"/>
                  <a:pt x="2460978" y="2382552"/>
                </a:cubicBezTo>
                <a:cubicBezTo>
                  <a:pt x="2460978" y="2382190"/>
                  <a:pt x="2460978" y="2382190"/>
                  <a:pt x="2461340" y="2382190"/>
                </a:cubicBezTo>
                <a:close/>
                <a:moveTo>
                  <a:pt x="2307393" y="2381824"/>
                </a:moveTo>
                <a:cubicBezTo>
                  <a:pt x="2307759" y="2381824"/>
                  <a:pt x="2308121" y="2382186"/>
                  <a:pt x="2308121" y="2382552"/>
                </a:cubicBezTo>
                <a:cubicBezTo>
                  <a:pt x="2308121" y="2382914"/>
                  <a:pt x="2307393" y="2383276"/>
                  <a:pt x="2307393" y="2383276"/>
                </a:cubicBezTo>
                <a:cubicBezTo>
                  <a:pt x="2307031" y="2383276"/>
                  <a:pt x="2306669" y="2382914"/>
                  <a:pt x="2306669" y="2382552"/>
                </a:cubicBezTo>
                <a:cubicBezTo>
                  <a:pt x="2306669" y="2382186"/>
                  <a:pt x="2307031" y="2381824"/>
                  <a:pt x="2307393" y="2381824"/>
                </a:cubicBezTo>
                <a:close/>
                <a:moveTo>
                  <a:pt x="3230353" y="2381100"/>
                </a:moveTo>
                <a:cubicBezTo>
                  <a:pt x="3231077" y="2381100"/>
                  <a:pt x="3231805" y="2381824"/>
                  <a:pt x="3231805" y="2382552"/>
                </a:cubicBezTo>
                <a:cubicBezTo>
                  <a:pt x="3231805" y="2383276"/>
                  <a:pt x="3230353" y="2384005"/>
                  <a:pt x="3230353" y="2384005"/>
                </a:cubicBezTo>
                <a:cubicBezTo>
                  <a:pt x="3229625" y="2384005"/>
                  <a:pt x="3228900" y="2383276"/>
                  <a:pt x="3228900" y="2382552"/>
                </a:cubicBezTo>
                <a:cubicBezTo>
                  <a:pt x="3228900" y="2381824"/>
                  <a:pt x="3229625" y="2381100"/>
                  <a:pt x="3230353" y="2381100"/>
                </a:cubicBezTo>
                <a:close/>
                <a:moveTo>
                  <a:pt x="3383938" y="2380375"/>
                </a:moveTo>
                <a:cubicBezTo>
                  <a:pt x="3385139" y="2380375"/>
                  <a:pt x="3386115" y="2381351"/>
                  <a:pt x="3386115" y="2382556"/>
                </a:cubicBezTo>
                <a:cubicBezTo>
                  <a:pt x="3386115" y="2383757"/>
                  <a:pt x="3385139" y="2384732"/>
                  <a:pt x="3383938" y="2384732"/>
                </a:cubicBezTo>
                <a:cubicBezTo>
                  <a:pt x="3382734" y="2384732"/>
                  <a:pt x="3381758" y="2383757"/>
                  <a:pt x="3381758" y="2382556"/>
                </a:cubicBezTo>
                <a:cubicBezTo>
                  <a:pt x="3381758" y="2381351"/>
                  <a:pt x="3382734" y="2380375"/>
                  <a:pt x="3383938" y="2380375"/>
                </a:cubicBezTo>
                <a:close/>
                <a:moveTo>
                  <a:pt x="3537882" y="2379285"/>
                </a:moveTo>
                <a:cubicBezTo>
                  <a:pt x="3539696" y="2379285"/>
                  <a:pt x="3541148" y="2380738"/>
                  <a:pt x="3541148" y="2382552"/>
                </a:cubicBezTo>
                <a:cubicBezTo>
                  <a:pt x="3541148" y="2384366"/>
                  <a:pt x="3539696" y="2385823"/>
                  <a:pt x="3537882" y="2385823"/>
                </a:cubicBezTo>
                <a:cubicBezTo>
                  <a:pt x="3536067" y="2385823"/>
                  <a:pt x="3534615" y="2384366"/>
                  <a:pt x="3534615" y="2382552"/>
                </a:cubicBezTo>
                <a:cubicBezTo>
                  <a:pt x="3534615" y="2380738"/>
                  <a:pt x="3536067" y="2379285"/>
                  <a:pt x="3537882" y="2379285"/>
                </a:cubicBezTo>
                <a:close/>
                <a:moveTo>
                  <a:pt x="3691467" y="2378195"/>
                </a:moveTo>
                <a:cubicBezTo>
                  <a:pt x="3694010" y="2378195"/>
                  <a:pt x="3695824" y="2380010"/>
                  <a:pt x="3695824" y="2382552"/>
                </a:cubicBezTo>
                <a:cubicBezTo>
                  <a:pt x="3695824" y="2385095"/>
                  <a:pt x="3693647" y="2386909"/>
                  <a:pt x="3691467" y="2386909"/>
                </a:cubicBezTo>
                <a:cubicBezTo>
                  <a:pt x="3688924" y="2386909"/>
                  <a:pt x="3687110" y="2385095"/>
                  <a:pt x="3687110" y="2382552"/>
                </a:cubicBezTo>
                <a:cubicBezTo>
                  <a:pt x="3687110" y="2380010"/>
                  <a:pt x="3688924" y="2378195"/>
                  <a:pt x="3691467" y="2378195"/>
                </a:cubicBezTo>
                <a:close/>
                <a:moveTo>
                  <a:pt x="3845414" y="2376743"/>
                </a:moveTo>
                <a:cubicBezTo>
                  <a:pt x="3848624" y="2376743"/>
                  <a:pt x="3851224" y="2379343"/>
                  <a:pt x="3851224" y="2382552"/>
                </a:cubicBezTo>
                <a:cubicBezTo>
                  <a:pt x="3851224" y="2385762"/>
                  <a:pt x="3848624" y="2388361"/>
                  <a:pt x="3845414" y="2388361"/>
                </a:cubicBezTo>
                <a:cubicBezTo>
                  <a:pt x="3842205" y="2388361"/>
                  <a:pt x="3839605" y="2385762"/>
                  <a:pt x="3839605" y="2382552"/>
                </a:cubicBezTo>
                <a:cubicBezTo>
                  <a:pt x="3839605" y="2379343"/>
                  <a:pt x="3842205" y="2376743"/>
                  <a:pt x="3845414" y="2376743"/>
                </a:cubicBezTo>
                <a:close/>
                <a:moveTo>
                  <a:pt x="3999000" y="2375290"/>
                </a:moveTo>
                <a:cubicBezTo>
                  <a:pt x="4002994" y="2375290"/>
                  <a:pt x="4006261" y="2378557"/>
                  <a:pt x="4006261" y="2382552"/>
                </a:cubicBezTo>
                <a:cubicBezTo>
                  <a:pt x="4006261" y="2386547"/>
                  <a:pt x="4002994" y="2389814"/>
                  <a:pt x="3999000" y="2389814"/>
                </a:cubicBezTo>
                <a:cubicBezTo>
                  <a:pt x="3995005" y="2389814"/>
                  <a:pt x="3991738" y="2386547"/>
                  <a:pt x="3991738" y="2382552"/>
                </a:cubicBezTo>
                <a:cubicBezTo>
                  <a:pt x="3991738" y="2378557"/>
                  <a:pt x="3995005" y="2375290"/>
                  <a:pt x="3999000" y="2375290"/>
                </a:cubicBezTo>
                <a:close/>
                <a:moveTo>
                  <a:pt x="4152947" y="2373476"/>
                </a:moveTo>
                <a:cubicBezTo>
                  <a:pt x="4158032" y="2373476"/>
                  <a:pt x="4162027" y="2377471"/>
                  <a:pt x="4162027" y="2382552"/>
                </a:cubicBezTo>
                <a:cubicBezTo>
                  <a:pt x="4162027" y="2387637"/>
                  <a:pt x="4158032" y="2391632"/>
                  <a:pt x="4152947" y="2391632"/>
                </a:cubicBezTo>
                <a:cubicBezTo>
                  <a:pt x="4147866" y="2391632"/>
                  <a:pt x="4143871" y="2387637"/>
                  <a:pt x="4143871" y="2382552"/>
                </a:cubicBezTo>
                <a:cubicBezTo>
                  <a:pt x="4143871" y="2377471"/>
                  <a:pt x="4147866" y="2373476"/>
                  <a:pt x="4152947" y="2373476"/>
                </a:cubicBezTo>
                <a:close/>
                <a:moveTo>
                  <a:pt x="4306532" y="2372386"/>
                </a:moveTo>
                <a:cubicBezTo>
                  <a:pt x="4311980" y="2372386"/>
                  <a:pt x="4316698" y="2377105"/>
                  <a:pt x="4316698" y="2382552"/>
                </a:cubicBezTo>
                <a:cubicBezTo>
                  <a:pt x="4316698" y="2387999"/>
                  <a:pt x="4312342" y="2392718"/>
                  <a:pt x="4306532" y="2392718"/>
                </a:cubicBezTo>
                <a:cubicBezTo>
                  <a:pt x="4301085" y="2392718"/>
                  <a:pt x="4296366" y="2387999"/>
                  <a:pt x="4296366" y="2382552"/>
                </a:cubicBezTo>
                <a:cubicBezTo>
                  <a:pt x="4296366" y="2377105"/>
                  <a:pt x="4301085" y="2372386"/>
                  <a:pt x="4306532" y="2372386"/>
                </a:cubicBezTo>
                <a:close/>
                <a:moveTo>
                  <a:pt x="4460476" y="2370571"/>
                </a:moveTo>
                <a:cubicBezTo>
                  <a:pt x="4467014" y="2370571"/>
                  <a:pt x="4472460" y="2376019"/>
                  <a:pt x="4472460" y="2382552"/>
                </a:cubicBezTo>
                <a:cubicBezTo>
                  <a:pt x="4472460" y="2389090"/>
                  <a:pt x="4467014" y="2394533"/>
                  <a:pt x="4460476" y="2394533"/>
                </a:cubicBezTo>
                <a:cubicBezTo>
                  <a:pt x="4453942" y="2394533"/>
                  <a:pt x="4448495" y="2389090"/>
                  <a:pt x="4448495" y="2382552"/>
                </a:cubicBezTo>
                <a:cubicBezTo>
                  <a:pt x="4448495" y="2376019"/>
                  <a:pt x="4453942" y="2370571"/>
                  <a:pt x="4460476" y="2370571"/>
                </a:cubicBezTo>
                <a:close/>
                <a:moveTo>
                  <a:pt x="4614065" y="2368753"/>
                </a:moveTo>
                <a:cubicBezTo>
                  <a:pt x="4621688" y="2368753"/>
                  <a:pt x="4627860" y="2374924"/>
                  <a:pt x="4627860" y="2382552"/>
                </a:cubicBezTo>
                <a:cubicBezTo>
                  <a:pt x="4627860" y="2390176"/>
                  <a:pt x="4621688" y="2396347"/>
                  <a:pt x="4614065" y="2396347"/>
                </a:cubicBezTo>
                <a:cubicBezTo>
                  <a:pt x="4606438" y="2396347"/>
                  <a:pt x="4600266" y="2390176"/>
                  <a:pt x="4600266" y="2382552"/>
                </a:cubicBezTo>
                <a:cubicBezTo>
                  <a:pt x="4600266" y="2374924"/>
                  <a:pt x="4606438" y="2368753"/>
                  <a:pt x="4614065" y="2368753"/>
                </a:cubicBezTo>
                <a:close/>
                <a:moveTo>
                  <a:pt x="4768008" y="2367304"/>
                </a:moveTo>
                <a:cubicBezTo>
                  <a:pt x="4776433" y="2367304"/>
                  <a:pt x="4783260" y="2374131"/>
                  <a:pt x="4783260" y="2382556"/>
                </a:cubicBezTo>
                <a:cubicBezTo>
                  <a:pt x="4783260" y="2390976"/>
                  <a:pt x="4776433" y="2397803"/>
                  <a:pt x="4768008" y="2397803"/>
                </a:cubicBezTo>
                <a:cubicBezTo>
                  <a:pt x="4759588" y="2397803"/>
                  <a:pt x="4752761" y="2390976"/>
                  <a:pt x="4752761" y="2382556"/>
                </a:cubicBezTo>
                <a:cubicBezTo>
                  <a:pt x="4752761" y="2374131"/>
                  <a:pt x="4759588" y="2367304"/>
                  <a:pt x="4768008" y="2367304"/>
                </a:cubicBezTo>
                <a:close/>
                <a:moveTo>
                  <a:pt x="4921594" y="2365486"/>
                </a:moveTo>
                <a:cubicBezTo>
                  <a:pt x="4931032" y="2365486"/>
                  <a:pt x="4938660" y="2373110"/>
                  <a:pt x="4938660" y="2382552"/>
                </a:cubicBezTo>
                <a:cubicBezTo>
                  <a:pt x="4938660" y="2391990"/>
                  <a:pt x="4931032" y="2399614"/>
                  <a:pt x="4921594" y="2399614"/>
                </a:cubicBezTo>
                <a:cubicBezTo>
                  <a:pt x="4912152" y="2399614"/>
                  <a:pt x="4904528" y="2391990"/>
                  <a:pt x="4904528" y="2382552"/>
                </a:cubicBezTo>
                <a:cubicBezTo>
                  <a:pt x="4904528" y="2373110"/>
                  <a:pt x="4912152" y="2365486"/>
                  <a:pt x="4921594" y="2365486"/>
                </a:cubicBezTo>
                <a:close/>
                <a:moveTo>
                  <a:pt x="5075541" y="2363309"/>
                </a:moveTo>
                <a:cubicBezTo>
                  <a:pt x="5086070" y="2363309"/>
                  <a:pt x="5094784" y="2372024"/>
                  <a:pt x="5094784" y="2382552"/>
                </a:cubicBezTo>
                <a:cubicBezTo>
                  <a:pt x="5094784" y="2393084"/>
                  <a:pt x="5086070" y="2401799"/>
                  <a:pt x="5075541" y="2401799"/>
                </a:cubicBezTo>
                <a:cubicBezTo>
                  <a:pt x="5065012" y="2401799"/>
                  <a:pt x="5056298" y="2393084"/>
                  <a:pt x="5056298" y="2382552"/>
                </a:cubicBezTo>
                <a:cubicBezTo>
                  <a:pt x="5056298" y="2372024"/>
                  <a:pt x="5065012" y="2363309"/>
                  <a:pt x="5075541" y="2363309"/>
                </a:cubicBezTo>
                <a:close/>
                <a:moveTo>
                  <a:pt x="5229126" y="2361129"/>
                </a:moveTo>
                <a:cubicBezTo>
                  <a:pt x="5241108" y="2361129"/>
                  <a:pt x="5250546" y="2370571"/>
                  <a:pt x="5250546" y="2382552"/>
                </a:cubicBezTo>
                <a:cubicBezTo>
                  <a:pt x="5250546" y="2394533"/>
                  <a:pt x="5240745" y="2403975"/>
                  <a:pt x="5229126" y="2403975"/>
                </a:cubicBezTo>
                <a:cubicBezTo>
                  <a:pt x="5217146" y="2403975"/>
                  <a:pt x="5207704" y="2394533"/>
                  <a:pt x="5207704" y="2382552"/>
                </a:cubicBezTo>
                <a:cubicBezTo>
                  <a:pt x="5207704" y="2370571"/>
                  <a:pt x="5217146" y="2361129"/>
                  <a:pt x="5229126" y="2361129"/>
                </a:cubicBezTo>
                <a:close/>
                <a:moveTo>
                  <a:pt x="5383074" y="2359677"/>
                </a:moveTo>
                <a:cubicBezTo>
                  <a:pt x="5395706" y="2359677"/>
                  <a:pt x="5405946" y="2369919"/>
                  <a:pt x="5405946" y="2382552"/>
                </a:cubicBezTo>
                <a:cubicBezTo>
                  <a:pt x="5405946" y="2395185"/>
                  <a:pt x="5395706" y="2405427"/>
                  <a:pt x="5383074" y="2405427"/>
                </a:cubicBezTo>
                <a:cubicBezTo>
                  <a:pt x="5370441" y="2405427"/>
                  <a:pt x="5360198" y="2395185"/>
                  <a:pt x="5360198" y="2382552"/>
                </a:cubicBezTo>
                <a:cubicBezTo>
                  <a:pt x="5360198" y="2369919"/>
                  <a:pt x="5370441" y="2359677"/>
                  <a:pt x="5383074" y="2359677"/>
                </a:cubicBezTo>
                <a:close/>
                <a:moveTo>
                  <a:pt x="5536656" y="2357500"/>
                </a:moveTo>
                <a:cubicBezTo>
                  <a:pt x="5550492" y="2357500"/>
                  <a:pt x="5561711" y="2368715"/>
                  <a:pt x="5561711" y="2382552"/>
                </a:cubicBezTo>
                <a:cubicBezTo>
                  <a:pt x="5561711" y="2396389"/>
                  <a:pt x="5550492" y="2407608"/>
                  <a:pt x="5536656" y="2407608"/>
                </a:cubicBezTo>
                <a:cubicBezTo>
                  <a:pt x="5522818" y="2407608"/>
                  <a:pt x="5511604" y="2396389"/>
                  <a:pt x="5511604" y="2382552"/>
                </a:cubicBezTo>
                <a:cubicBezTo>
                  <a:pt x="5511604" y="2368719"/>
                  <a:pt x="5522818" y="2357500"/>
                  <a:pt x="5536656" y="2357500"/>
                </a:cubicBezTo>
                <a:close/>
                <a:moveTo>
                  <a:pt x="5690606" y="2355320"/>
                </a:moveTo>
                <a:cubicBezTo>
                  <a:pt x="5705492" y="2355320"/>
                  <a:pt x="5717838" y="2367663"/>
                  <a:pt x="5717838" y="2382552"/>
                </a:cubicBezTo>
                <a:cubicBezTo>
                  <a:pt x="5717838" y="2397437"/>
                  <a:pt x="5705854" y="2409784"/>
                  <a:pt x="5690606" y="2409784"/>
                </a:cubicBezTo>
                <a:cubicBezTo>
                  <a:pt x="5675717" y="2409784"/>
                  <a:pt x="5663374" y="2397437"/>
                  <a:pt x="5663374" y="2382552"/>
                </a:cubicBezTo>
                <a:cubicBezTo>
                  <a:pt x="5663374" y="2367663"/>
                  <a:pt x="5675717" y="2355320"/>
                  <a:pt x="5690606" y="2355320"/>
                </a:cubicBezTo>
                <a:close/>
                <a:moveTo>
                  <a:pt x="5844554" y="2352781"/>
                </a:moveTo>
                <a:cubicBezTo>
                  <a:pt x="5860994" y="2352781"/>
                  <a:pt x="5874325" y="2366111"/>
                  <a:pt x="5874325" y="2382556"/>
                </a:cubicBezTo>
                <a:cubicBezTo>
                  <a:pt x="5874325" y="2398997"/>
                  <a:pt x="5860994" y="2412327"/>
                  <a:pt x="5844554" y="2412327"/>
                </a:cubicBezTo>
                <a:cubicBezTo>
                  <a:pt x="5828110" y="2412327"/>
                  <a:pt x="5814779" y="2398997"/>
                  <a:pt x="5814779" y="2382556"/>
                </a:cubicBezTo>
                <a:cubicBezTo>
                  <a:pt x="5814779" y="2366111"/>
                  <a:pt x="5828110" y="2352781"/>
                  <a:pt x="5844554" y="2352781"/>
                </a:cubicBezTo>
                <a:close/>
                <a:moveTo>
                  <a:pt x="5998139" y="2350601"/>
                </a:moveTo>
                <a:cubicBezTo>
                  <a:pt x="6015784" y="2350601"/>
                  <a:pt x="6030090" y="2364907"/>
                  <a:pt x="6030090" y="2382552"/>
                </a:cubicBezTo>
                <a:cubicBezTo>
                  <a:pt x="6030090" y="2400197"/>
                  <a:pt x="6015784" y="2414503"/>
                  <a:pt x="5998139" y="2414503"/>
                </a:cubicBezTo>
                <a:cubicBezTo>
                  <a:pt x="5980490" y="2414503"/>
                  <a:pt x="5966188" y="2400197"/>
                  <a:pt x="5966188" y="2382552"/>
                </a:cubicBezTo>
                <a:cubicBezTo>
                  <a:pt x="5966188" y="2364907"/>
                  <a:pt x="5980490" y="2350601"/>
                  <a:pt x="5998139" y="2350601"/>
                </a:cubicBezTo>
                <a:close/>
                <a:moveTo>
                  <a:pt x="6152086" y="2348786"/>
                </a:moveTo>
                <a:cubicBezTo>
                  <a:pt x="6170734" y="2348786"/>
                  <a:pt x="6185852" y="2363904"/>
                  <a:pt x="6185852" y="2382552"/>
                </a:cubicBezTo>
                <a:cubicBezTo>
                  <a:pt x="6185852" y="2401204"/>
                  <a:pt x="6170734" y="2416322"/>
                  <a:pt x="6152086" y="2416322"/>
                </a:cubicBezTo>
                <a:cubicBezTo>
                  <a:pt x="6133435" y="2416322"/>
                  <a:pt x="6118317" y="2401204"/>
                  <a:pt x="6118317" y="2382552"/>
                </a:cubicBezTo>
                <a:cubicBezTo>
                  <a:pt x="6118317" y="2363904"/>
                  <a:pt x="6133435" y="2348786"/>
                  <a:pt x="6152086" y="2348786"/>
                </a:cubicBezTo>
                <a:close/>
                <a:moveTo>
                  <a:pt x="6305668" y="2346244"/>
                </a:moveTo>
                <a:cubicBezTo>
                  <a:pt x="6325638" y="2346244"/>
                  <a:pt x="6341976" y="2362581"/>
                  <a:pt x="6341976" y="2382552"/>
                </a:cubicBezTo>
                <a:cubicBezTo>
                  <a:pt x="6341976" y="2402523"/>
                  <a:pt x="6325638" y="2418860"/>
                  <a:pt x="6305668" y="2418860"/>
                </a:cubicBezTo>
                <a:cubicBezTo>
                  <a:pt x="6285698" y="2418860"/>
                  <a:pt x="6269360" y="2402523"/>
                  <a:pt x="6269360" y="2382552"/>
                </a:cubicBezTo>
                <a:cubicBezTo>
                  <a:pt x="6269360" y="2362581"/>
                  <a:pt x="6285698" y="2346244"/>
                  <a:pt x="6305668" y="2346244"/>
                </a:cubicBezTo>
                <a:close/>
                <a:moveTo>
                  <a:pt x="6459619" y="2343701"/>
                </a:moveTo>
                <a:cubicBezTo>
                  <a:pt x="6481038" y="2343701"/>
                  <a:pt x="6498470" y="2361129"/>
                  <a:pt x="6498470" y="2382552"/>
                </a:cubicBezTo>
                <a:cubicBezTo>
                  <a:pt x="6498470" y="2403971"/>
                  <a:pt x="6481038" y="2421399"/>
                  <a:pt x="6459619" y="2421399"/>
                </a:cubicBezTo>
                <a:cubicBezTo>
                  <a:pt x="6438196" y="2421399"/>
                  <a:pt x="6420768" y="2403971"/>
                  <a:pt x="6420768" y="2382552"/>
                </a:cubicBezTo>
                <a:cubicBezTo>
                  <a:pt x="6420768" y="2361129"/>
                  <a:pt x="6438196" y="2343701"/>
                  <a:pt x="6459619" y="2343701"/>
                </a:cubicBezTo>
                <a:close/>
                <a:moveTo>
                  <a:pt x="6613200" y="2341524"/>
                </a:moveTo>
                <a:cubicBezTo>
                  <a:pt x="6636076" y="2341524"/>
                  <a:pt x="6654232" y="2359681"/>
                  <a:pt x="6654232" y="2382552"/>
                </a:cubicBezTo>
                <a:cubicBezTo>
                  <a:pt x="6654232" y="2405427"/>
                  <a:pt x="6635714" y="2423583"/>
                  <a:pt x="6613200" y="2423583"/>
                </a:cubicBezTo>
                <a:cubicBezTo>
                  <a:pt x="6590330" y="2423583"/>
                  <a:pt x="6572173" y="2405427"/>
                  <a:pt x="6572173" y="2382552"/>
                </a:cubicBezTo>
                <a:cubicBezTo>
                  <a:pt x="6572173" y="2359681"/>
                  <a:pt x="6590330" y="2341524"/>
                  <a:pt x="6613200" y="2341524"/>
                </a:cubicBezTo>
                <a:close/>
                <a:moveTo>
                  <a:pt x="2922458" y="2228605"/>
                </a:moveTo>
                <a:cubicBezTo>
                  <a:pt x="2922820" y="2228605"/>
                  <a:pt x="2922820" y="2228605"/>
                  <a:pt x="2922820" y="2228967"/>
                </a:cubicBezTo>
                <a:cubicBezTo>
                  <a:pt x="2922820" y="2229333"/>
                  <a:pt x="2922458" y="2229333"/>
                  <a:pt x="2922458" y="2229333"/>
                </a:cubicBezTo>
                <a:cubicBezTo>
                  <a:pt x="2922096" y="2229333"/>
                  <a:pt x="2922096" y="2229333"/>
                  <a:pt x="2922096" y="2228967"/>
                </a:cubicBezTo>
                <a:cubicBezTo>
                  <a:pt x="2922096" y="2228605"/>
                  <a:pt x="2922096" y="2228605"/>
                  <a:pt x="2922458" y="2228605"/>
                </a:cubicBezTo>
                <a:close/>
                <a:moveTo>
                  <a:pt x="2461340" y="2228605"/>
                </a:moveTo>
                <a:cubicBezTo>
                  <a:pt x="2461702" y="2228605"/>
                  <a:pt x="2461702" y="2228605"/>
                  <a:pt x="2461702" y="2228967"/>
                </a:cubicBezTo>
                <a:cubicBezTo>
                  <a:pt x="2461702" y="2229333"/>
                  <a:pt x="2461340" y="2229333"/>
                  <a:pt x="2461340" y="2229333"/>
                </a:cubicBezTo>
                <a:cubicBezTo>
                  <a:pt x="2460978" y="2229333"/>
                  <a:pt x="2460978" y="2229333"/>
                  <a:pt x="2460978" y="2228967"/>
                </a:cubicBezTo>
                <a:cubicBezTo>
                  <a:pt x="2460978" y="2228605"/>
                  <a:pt x="2460978" y="2228605"/>
                  <a:pt x="2461340" y="2228605"/>
                </a:cubicBezTo>
                <a:close/>
                <a:moveTo>
                  <a:pt x="2307393" y="2228605"/>
                </a:moveTo>
                <a:cubicBezTo>
                  <a:pt x="2307755" y="2228605"/>
                  <a:pt x="2307755" y="2228605"/>
                  <a:pt x="2307755" y="2228967"/>
                </a:cubicBezTo>
                <a:cubicBezTo>
                  <a:pt x="2307755" y="2229333"/>
                  <a:pt x="2307393" y="2229333"/>
                  <a:pt x="2307393" y="2229333"/>
                </a:cubicBezTo>
                <a:cubicBezTo>
                  <a:pt x="2307031" y="2229333"/>
                  <a:pt x="2307031" y="2229333"/>
                  <a:pt x="2307031" y="2228967"/>
                </a:cubicBezTo>
                <a:cubicBezTo>
                  <a:pt x="2307031" y="2228605"/>
                  <a:pt x="2307031" y="2228605"/>
                  <a:pt x="2307393" y="2228605"/>
                </a:cubicBezTo>
                <a:close/>
                <a:moveTo>
                  <a:pt x="2153811" y="2228243"/>
                </a:moveTo>
                <a:cubicBezTo>
                  <a:pt x="2154174" y="2228243"/>
                  <a:pt x="2154536" y="2228605"/>
                  <a:pt x="2154536" y="2228971"/>
                </a:cubicBezTo>
                <a:cubicBezTo>
                  <a:pt x="2154536" y="2229333"/>
                  <a:pt x="2153811" y="2229695"/>
                  <a:pt x="2153811" y="2229695"/>
                </a:cubicBezTo>
                <a:cubicBezTo>
                  <a:pt x="2153445" y="2229695"/>
                  <a:pt x="2153083" y="2229333"/>
                  <a:pt x="2153083" y="2228971"/>
                </a:cubicBezTo>
                <a:cubicBezTo>
                  <a:pt x="2153083" y="2228605"/>
                  <a:pt x="2153445" y="2228243"/>
                  <a:pt x="2153811" y="2228243"/>
                </a:cubicBezTo>
                <a:close/>
                <a:moveTo>
                  <a:pt x="3076406" y="2227152"/>
                </a:moveTo>
                <a:cubicBezTo>
                  <a:pt x="3077130" y="2227152"/>
                  <a:pt x="3077858" y="2227880"/>
                  <a:pt x="3077858" y="2228605"/>
                </a:cubicBezTo>
                <a:cubicBezTo>
                  <a:pt x="3077858" y="2229333"/>
                  <a:pt x="3076406" y="2230057"/>
                  <a:pt x="3076406" y="2230057"/>
                </a:cubicBezTo>
                <a:cubicBezTo>
                  <a:pt x="3075677" y="2230057"/>
                  <a:pt x="3074953" y="2229333"/>
                  <a:pt x="3074953" y="2228605"/>
                </a:cubicBezTo>
                <a:cubicBezTo>
                  <a:pt x="3074953" y="2227880"/>
                  <a:pt x="3075677" y="2227152"/>
                  <a:pt x="3076406" y="2227152"/>
                </a:cubicBezTo>
                <a:close/>
                <a:moveTo>
                  <a:pt x="3230353" y="2226428"/>
                </a:moveTo>
                <a:cubicBezTo>
                  <a:pt x="3231554" y="2226428"/>
                  <a:pt x="3232530" y="2227404"/>
                  <a:pt x="3232530" y="2228608"/>
                </a:cubicBezTo>
                <a:cubicBezTo>
                  <a:pt x="3232530" y="2229809"/>
                  <a:pt x="3231554" y="2230785"/>
                  <a:pt x="3230353" y="2230785"/>
                </a:cubicBezTo>
                <a:cubicBezTo>
                  <a:pt x="3229148" y="2230785"/>
                  <a:pt x="3228172" y="2229809"/>
                  <a:pt x="3228172" y="2228608"/>
                </a:cubicBezTo>
                <a:cubicBezTo>
                  <a:pt x="3228172" y="2227404"/>
                  <a:pt x="3229148" y="2226428"/>
                  <a:pt x="3230353" y="2226428"/>
                </a:cubicBezTo>
                <a:close/>
                <a:moveTo>
                  <a:pt x="3383934" y="2225700"/>
                </a:moveTo>
                <a:cubicBezTo>
                  <a:pt x="3385752" y="2225700"/>
                  <a:pt x="3387205" y="2227152"/>
                  <a:pt x="3387205" y="2228967"/>
                </a:cubicBezTo>
                <a:cubicBezTo>
                  <a:pt x="3387205" y="2230781"/>
                  <a:pt x="3385752" y="2232238"/>
                  <a:pt x="3383934" y="2232238"/>
                </a:cubicBezTo>
                <a:cubicBezTo>
                  <a:pt x="3382120" y="2232238"/>
                  <a:pt x="3380668" y="2230781"/>
                  <a:pt x="3380668" y="2228967"/>
                </a:cubicBezTo>
                <a:cubicBezTo>
                  <a:pt x="3380668" y="2227152"/>
                  <a:pt x="3382120" y="2225700"/>
                  <a:pt x="3383934" y="2225700"/>
                </a:cubicBezTo>
                <a:close/>
                <a:moveTo>
                  <a:pt x="3537886" y="2224248"/>
                </a:moveTo>
                <a:cubicBezTo>
                  <a:pt x="3540428" y="2224248"/>
                  <a:pt x="3542242" y="2226062"/>
                  <a:pt x="3542242" y="2228605"/>
                </a:cubicBezTo>
                <a:cubicBezTo>
                  <a:pt x="3542242" y="2231147"/>
                  <a:pt x="3540062" y="2232962"/>
                  <a:pt x="3537886" y="2232962"/>
                </a:cubicBezTo>
                <a:cubicBezTo>
                  <a:pt x="3535343" y="2232962"/>
                  <a:pt x="3533528" y="2231147"/>
                  <a:pt x="3533528" y="2228605"/>
                </a:cubicBezTo>
                <a:cubicBezTo>
                  <a:pt x="3533528" y="2226062"/>
                  <a:pt x="3535343" y="2224248"/>
                  <a:pt x="3537886" y="2224248"/>
                </a:cubicBezTo>
                <a:close/>
                <a:moveTo>
                  <a:pt x="3691467" y="2222795"/>
                </a:moveTo>
                <a:cubicBezTo>
                  <a:pt x="3694676" y="2222795"/>
                  <a:pt x="3697276" y="2225395"/>
                  <a:pt x="3697276" y="2228605"/>
                </a:cubicBezTo>
                <a:cubicBezTo>
                  <a:pt x="3697276" y="2231814"/>
                  <a:pt x="3694676" y="2234414"/>
                  <a:pt x="3691467" y="2234414"/>
                </a:cubicBezTo>
                <a:cubicBezTo>
                  <a:pt x="3688257" y="2234414"/>
                  <a:pt x="3685658" y="2231814"/>
                  <a:pt x="3685658" y="2228605"/>
                </a:cubicBezTo>
                <a:cubicBezTo>
                  <a:pt x="3685658" y="2225395"/>
                  <a:pt x="3688257" y="2222795"/>
                  <a:pt x="3691467" y="2222795"/>
                </a:cubicBezTo>
                <a:close/>
                <a:moveTo>
                  <a:pt x="3845414" y="2221343"/>
                </a:moveTo>
                <a:cubicBezTo>
                  <a:pt x="3849409" y="2221343"/>
                  <a:pt x="3852676" y="2224610"/>
                  <a:pt x="3852676" y="2228605"/>
                </a:cubicBezTo>
                <a:cubicBezTo>
                  <a:pt x="3852676" y="2232599"/>
                  <a:pt x="3849409" y="2235866"/>
                  <a:pt x="3845414" y="2235866"/>
                </a:cubicBezTo>
                <a:cubicBezTo>
                  <a:pt x="3841420" y="2235866"/>
                  <a:pt x="3838153" y="2232599"/>
                  <a:pt x="3838153" y="2228605"/>
                </a:cubicBezTo>
                <a:cubicBezTo>
                  <a:pt x="3838153" y="2224610"/>
                  <a:pt x="3841420" y="2221343"/>
                  <a:pt x="3845414" y="2221343"/>
                </a:cubicBezTo>
                <a:close/>
                <a:moveTo>
                  <a:pt x="3999000" y="2219528"/>
                </a:moveTo>
                <a:cubicBezTo>
                  <a:pt x="4004085" y="2219528"/>
                  <a:pt x="4008080" y="2223523"/>
                  <a:pt x="4008080" y="2228605"/>
                </a:cubicBezTo>
                <a:cubicBezTo>
                  <a:pt x="4008080" y="2233690"/>
                  <a:pt x="4004085" y="2237685"/>
                  <a:pt x="3999000" y="2237685"/>
                </a:cubicBezTo>
                <a:cubicBezTo>
                  <a:pt x="3993918" y="2237685"/>
                  <a:pt x="3989924" y="2233690"/>
                  <a:pt x="3989924" y="2228605"/>
                </a:cubicBezTo>
                <a:cubicBezTo>
                  <a:pt x="3989924" y="2223523"/>
                  <a:pt x="3993918" y="2219528"/>
                  <a:pt x="3999000" y="2219528"/>
                </a:cubicBezTo>
                <a:close/>
                <a:moveTo>
                  <a:pt x="4152947" y="2218800"/>
                </a:moveTo>
                <a:cubicBezTo>
                  <a:pt x="4158394" y="2218800"/>
                  <a:pt x="4163114" y="2223520"/>
                  <a:pt x="4163114" y="2228967"/>
                </a:cubicBezTo>
                <a:cubicBezTo>
                  <a:pt x="4163114" y="2234414"/>
                  <a:pt x="4158756" y="2239133"/>
                  <a:pt x="4152947" y="2239133"/>
                </a:cubicBezTo>
                <a:cubicBezTo>
                  <a:pt x="4147500" y="2239133"/>
                  <a:pt x="4142780" y="2234414"/>
                  <a:pt x="4142780" y="2228967"/>
                </a:cubicBezTo>
                <a:cubicBezTo>
                  <a:pt x="4142780" y="2223520"/>
                  <a:pt x="4147500" y="2218800"/>
                  <a:pt x="4152947" y="2218800"/>
                </a:cubicBezTo>
                <a:close/>
                <a:moveTo>
                  <a:pt x="4306532" y="2216624"/>
                </a:moveTo>
                <a:cubicBezTo>
                  <a:pt x="4313070" y="2216624"/>
                  <a:pt x="4318517" y="2222071"/>
                  <a:pt x="4318517" y="2228605"/>
                </a:cubicBezTo>
                <a:cubicBezTo>
                  <a:pt x="4318517" y="2235142"/>
                  <a:pt x="4313070" y="2240585"/>
                  <a:pt x="4306532" y="2240585"/>
                </a:cubicBezTo>
                <a:cubicBezTo>
                  <a:pt x="4299998" y="2240585"/>
                  <a:pt x="4294552" y="2235142"/>
                  <a:pt x="4294552" y="2228605"/>
                </a:cubicBezTo>
                <a:cubicBezTo>
                  <a:pt x="4294552" y="2222071"/>
                  <a:pt x="4299998" y="2216624"/>
                  <a:pt x="4306532" y="2216624"/>
                </a:cubicBezTo>
                <a:close/>
                <a:moveTo>
                  <a:pt x="4460480" y="2214809"/>
                </a:moveTo>
                <a:cubicBezTo>
                  <a:pt x="4468100" y="2214809"/>
                  <a:pt x="4474275" y="2220989"/>
                  <a:pt x="4474275" y="2228608"/>
                </a:cubicBezTo>
                <a:cubicBezTo>
                  <a:pt x="4474275" y="2236229"/>
                  <a:pt x="4468100" y="2242404"/>
                  <a:pt x="4460480" y="2242404"/>
                </a:cubicBezTo>
                <a:cubicBezTo>
                  <a:pt x="4452860" y="2242404"/>
                  <a:pt x="4446680" y="2236229"/>
                  <a:pt x="4446680" y="2228608"/>
                </a:cubicBezTo>
                <a:cubicBezTo>
                  <a:pt x="4446680" y="2220989"/>
                  <a:pt x="4452860" y="2214809"/>
                  <a:pt x="4460480" y="2214809"/>
                </a:cubicBezTo>
                <a:close/>
                <a:moveTo>
                  <a:pt x="4614061" y="2213357"/>
                </a:moveTo>
                <a:cubicBezTo>
                  <a:pt x="4622486" y="2213357"/>
                  <a:pt x="4629312" y="2220184"/>
                  <a:pt x="4629312" y="2228608"/>
                </a:cubicBezTo>
                <a:cubicBezTo>
                  <a:pt x="4629312" y="2237029"/>
                  <a:pt x="4622486" y="2243856"/>
                  <a:pt x="4614061" y="2243856"/>
                </a:cubicBezTo>
                <a:cubicBezTo>
                  <a:pt x="4605640" y="2243856"/>
                  <a:pt x="4598814" y="2237029"/>
                  <a:pt x="4598814" y="2228608"/>
                </a:cubicBezTo>
                <a:cubicBezTo>
                  <a:pt x="4598814" y="2220184"/>
                  <a:pt x="4605640" y="2213357"/>
                  <a:pt x="4614061" y="2213357"/>
                </a:cubicBezTo>
                <a:close/>
                <a:moveTo>
                  <a:pt x="4768012" y="2211539"/>
                </a:moveTo>
                <a:cubicBezTo>
                  <a:pt x="4777450" y="2211539"/>
                  <a:pt x="4785078" y="2219163"/>
                  <a:pt x="4785078" y="2228605"/>
                </a:cubicBezTo>
                <a:cubicBezTo>
                  <a:pt x="4785078" y="2238043"/>
                  <a:pt x="4777450" y="2245667"/>
                  <a:pt x="4768012" y="2245667"/>
                </a:cubicBezTo>
                <a:cubicBezTo>
                  <a:pt x="4758570" y="2245667"/>
                  <a:pt x="4750946" y="2238043"/>
                  <a:pt x="4750946" y="2228605"/>
                </a:cubicBezTo>
                <a:cubicBezTo>
                  <a:pt x="4750946" y="2219163"/>
                  <a:pt x="4758570" y="2211539"/>
                  <a:pt x="4768012" y="2211539"/>
                </a:cubicBezTo>
                <a:close/>
                <a:moveTo>
                  <a:pt x="4921594" y="2209362"/>
                </a:moveTo>
                <a:cubicBezTo>
                  <a:pt x="4932126" y="2209362"/>
                  <a:pt x="4940836" y="2218076"/>
                  <a:pt x="4940836" y="2228605"/>
                </a:cubicBezTo>
                <a:cubicBezTo>
                  <a:pt x="4940836" y="2239133"/>
                  <a:pt x="4932126" y="2247851"/>
                  <a:pt x="4921594" y="2247851"/>
                </a:cubicBezTo>
                <a:cubicBezTo>
                  <a:pt x="4911066" y="2247851"/>
                  <a:pt x="4902352" y="2239133"/>
                  <a:pt x="4902352" y="2228605"/>
                </a:cubicBezTo>
                <a:cubicBezTo>
                  <a:pt x="4902352" y="2218076"/>
                  <a:pt x="4911066" y="2209362"/>
                  <a:pt x="4921594" y="2209362"/>
                </a:cubicBezTo>
                <a:close/>
                <a:moveTo>
                  <a:pt x="5075541" y="2207182"/>
                </a:moveTo>
                <a:cubicBezTo>
                  <a:pt x="5087522" y="2207182"/>
                  <a:pt x="5096964" y="2216620"/>
                  <a:pt x="5096964" y="2228605"/>
                </a:cubicBezTo>
                <a:cubicBezTo>
                  <a:pt x="5096964" y="2240585"/>
                  <a:pt x="5087160" y="2250027"/>
                  <a:pt x="5075541" y="2250027"/>
                </a:cubicBezTo>
                <a:cubicBezTo>
                  <a:pt x="5063560" y="2250027"/>
                  <a:pt x="5054118" y="2240585"/>
                  <a:pt x="5054118" y="2228605"/>
                </a:cubicBezTo>
                <a:cubicBezTo>
                  <a:pt x="5054118" y="2216620"/>
                  <a:pt x="5063560" y="2207182"/>
                  <a:pt x="5075541" y="2207182"/>
                </a:cubicBezTo>
                <a:close/>
                <a:moveTo>
                  <a:pt x="5229126" y="2205729"/>
                </a:moveTo>
                <a:cubicBezTo>
                  <a:pt x="5241759" y="2205729"/>
                  <a:pt x="5251998" y="2215972"/>
                  <a:pt x="5251998" y="2228605"/>
                </a:cubicBezTo>
                <a:cubicBezTo>
                  <a:pt x="5251998" y="2241237"/>
                  <a:pt x="5241759" y="2251480"/>
                  <a:pt x="5229126" y="2251480"/>
                </a:cubicBezTo>
                <a:cubicBezTo>
                  <a:pt x="5216494" y="2251480"/>
                  <a:pt x="5206251" y="2241237"/>
                  <a:pt x="5206251" y="2228605"/>
                </a:cubicBezTo>
                <a:cubicBezTo>
                  <a:pt x="5206251" y="2215972"/>
                  <a:pt x="5216494" y="2205729"/>
                  <a:pt x="5229126" y="2205729"/>
                </a:cubicBezTo>
                <a:close/>
                <a:moveTo>
                  <a:pt x="5383074" y="2203915"/>
                </a:moveTo>
                <a:cubicBezTo>
                  <a:pt x="5396873" y="2203915"/>
                  <a:pt x="5408126" y="2215172"/>
                  <a:pt x="5408126" y="2228967"/>
                </a:cubicBezTo>
                <a:cubicBezTo>
                  <a:pt x="5408126" y="2242766"/>
                  <a:pt x="5396873" y="2254023"/>
                  <a:pt x="5383074" y="2254023"/>
                </a:cubicBezTo>
                <a:cubicBezTo>
                  <a:pt x="5369278" y="2254023"/>
                  <a:pt x="5358022" y="2242766"/>
                  <a:pt x="5358022" y="2228967"/>
                </a:cubicBezTo>
                <a:cubicBezTo>
                  <a:pt x="5358022" y="2215172"/>
                  <a:pt x="5369278" y="2203915"/>
                  <a:pt x="5383074" y="2203915"/>
                </a:cubicBezTo>
                <a:close/>
                <a:moveTo>
                  <a:pt x="5536659" y="2201734"/>
                </a:moveTo>
                <a:cubicBezTo>
                  <a:pt x="5551544" y="2201734"/>
                  <a:pt x="5563892" y="2214081"/>
                  <a:pt x="5563892" y="2228967"/>
                </a:cubicBezTo>
                <a:cubicBezTo>
                  <a:pt x="5563892" y="2243852"/>
                  <a:pt x="5551906" y="2256199"/>
                  <a:pt x="5536659" y="2256199"/>
                </a:cubicBezTo>
                <a:cubicBezTo>
                  <a:pt x="5521770" y="2256199"/>
                  <a:pt x="5509427" y="2243852"/>
                  <a:pt x="5509427" y="2228967"/>
                </a:cubicBezTo>
                <a:cubicBezTo>
                  <a:pt x="5509427" y="2214081"/>
                  <a:pt x="5521770" y="2201734"/>
                  <a:pt x="5536659" y="2201734"/>
                </a:cubicBezTo>
                <a:close/>
                <a:moveTo>
                  <a:pt x="5690606" y="2198834"/>
                </a:moveTo>
                <a:cubicBezTo>
                  <a:pt x="5707047" y="2198834"/>
                  <a:pt x="5720378" y="2212164"/>
                  <a:pt x="5720378" y="2228608"/>
                </a:cubicBezTo>
                <a:cubicBezTo>
                  <a:pt x="5720378" y="2245049"/>
                  <a:pt x="5707047" y="2258379"/>
                  <a:pt x="5690606" y="2258379"/>
                </a:cubicBezTo>
                <a:cubicBezTo>
                  <a:pt x="5674162" y="2258379"/>
                  <a:pt x="5660832" y="2245049"/>
                  <a:pt x="5660832" y="2228608"/>
                </a:cubicBezTo>
                <a:cubicBezTo>
                  <a:pt x="5660832" y="2212164"/>
                  <a:pt x="5674162" y="2198834"/>
                  <a:pt x="5690606" y="2198834"/>
                </a:cubicBezTo>
                <a:close/>
                <a:moveTo>
                  <a:pt x="5844554" y="2197015"/>
                </a:moveTo>
                <a:cubicBezTo>
                  <a:pt x="5862344" y="2197015"/>
                  <a:pt x="5876506" y="2211177"/>
                  <a:pt x="5876506" y="2228967"/>
                </a:cubicBezTo>
                <a:cubicBezTo>
                  <a:pt x="5876506" y="2246757"/>
                  <a:pt x="5862344" y="2260918"/>
                  <a:pt x="5844554" y="2260918"/>
                </a:cubicBezTo>
                <a:cubicBezTo>
                  <a:pt x="5826764" y="2260918"/>
                  <a:pt x="5812602" y="2246757"/>
                  <a:pt x="5812602" y="2228967"/>
                </a:cubicBezTo>
                <a:cubicBezTo>
                  <a:pt x="5812602" y="2211177"/>
                  <a:pt x="5826764" y="2197015"/>
                  <a:pt x="5844554" y="2197015"/>
                </a:cubicBezTo>
                <a:close/>
                <a:moveTo>
                  <a:pt x="5998136" y="2194839"/>
                </a:moveTo>
                <a:cubicBezTo>
                  <a:pt x="6016783" y="2194839"/>
                  <a:pt x="6031901" y="2209957"/>
                  <a:pt x="6031901" y="2228605"/>
                </a:cubicBezTo>
                <a:cubicBezTo>
                  <a:pt x="6031901" y="2247256"/>
                  <a:pt x="6016783" y="2262374"/>
                  <a:pt x="5998136" y="2262374"/>
                </a:cubicBezTo>
                <a:cubicBezTo>
                  <a:pt x="5979488" y="2262374"/>
                  <a:pt x="5964370" y="2247256"/>
                  <a:pt x="5964370" y="2228605"/>
                </a:cubicBezTo>
                <a:cubicBezTo>
                  <a:pt x="5964370" y="2209957"/>
                  <a:pt x="5979488" y="2194839"/>
                  <a:pt x="5998136" y="2194839"/>
                </a:cubicBezTo>
                <a:close/>
                <a:moveTo>
                  <a:pt x="6152083" y="2192296"/>
                </a:moveTo>
                <a:cubicBezTo>
                  <a:pt x="6172054" y="2192296"/>
                  <a:pt x="6188391" y="2208634"/>
                  <a:pt x="6188391" y="2228605"/>
                </a:cubicBezTo>
                <a:cubicBezTo>
                  <a:pt x="6188391" y="2248575"/>
                  <a:pt x="6172054" y="2264913"/>
                  <a:pt x="6152083" y="2264913"/>
                </a:cubicBezTo>
                <a:cubicBezTo>
                  <a:pt x="6132112" y="2264913"/>
                  <a:pt x="6115774" y="2248575"/>
                  <a:pt x="6115774" y="2228605"/>
                </a:cubicBezTo>
                <a:cubicBezTo>
                  <a:pt x="6115774" y="2208634"/>
                  <a:pt x="6132112" y="2192296"/>
                  <a:pt x="6152083" y="2192296"/>
                </a:cubicBezTo>
                <a:close/>
                <a:moveTo>
                  <a:pt x="6305672" y="2189754"/>
                </a:moveTo>
                <a:cubicBezTo>
                  <a:pt x="6327091" y="2189754"/>
                  <a:pt x="6344522" y="2207182"/>
                  <a:pt x="6344522" y="2228605"/>
                </a:cubicBezTo>
                <a:cubicBezTo>
                  <a:pt x="6344522" y="2250024"/>
                  <a:pt x="6327091" y="2267452"/>
                  <a:pt x="6305672" y="2267452"/>
                </a:cubicBezTo>
                <a:cubicBezTo>
                  <a:pt x="6284249" y="2267452"/>
                  <a:pt x="6266821" y="2250024"/>
                  <a:pt x="6266821" y="2228605"/>
                </a:cubicBezTo>
                <a:cubicBezTo>
                  <a:pt x="6266821" y="2207182"/>
                  <a:pt x="6284249" y="2189754"/>
                  <a:pt x="6305672" y="2189754"/>
                </a:cubicBezTo>
                <a:close/>
                <a:moveTo>
                  <a:pt x="6459616" y="2187577"/>
                </a:moveTo>
                <a:cubicBezTo>
                  <a:pt x="6482490" y="2187577"/>
                  <a:pt x="6500646" y="2205733"/>
                  <a:pt x="6500646" y="2228605"/>
                </a:cubicBezTo>
                <a:cubicBezTo>
                  <a:pt x="6500646" y="2251480"/>
                  <a:pt x="6482128" y="2269632"/>
                  <a:pt x="6459616" y="2269632"/>
                </a:cubicBezTo>
                <a:cubicBezTo>
                  <a:pt x="6436744" y="2269632"/>
                  <a:pt x="6418588" y="2251480"/>
                  <a:pt x="6418588" y="2228605"/>
                </a:cubicBezTo>
                <a:cubicBezTo>
                  <a:pt x="6418588" y="2205733"/>
                  <a:pt x="6436744" y="2187577"/>
                  <a:pt x="6459616" y="2187577"/>
                </a:cubicBezTo>
                <a:close/>
                <a:moveTo>
                  <a:pt x="6613200" y="2185035"/>
                </a:moveTo>
                <a:cubicBezTo>
                  <a:pt x="6637262" y="2185035"/>
                  <a:pt x="6656770" y="2204540"/>
                  <a:pt x="6656770" y="2228605"/>
                </a:cubicBezTo>
                <a:cubicBezTo>
                  <a:pt x="6656770" y="2252669"/>
                  <a:pt x="6637265" y="2272175"/>
                  <a:pt x="6613200" y="2272175"/>
                </a:cubicBezTo>
                <a:cubicBezTo>
                  <a:pt x="6589136" y="2272175"/>
                  <a:pt x="6569630" y="2252669"/>
                  <a:pt x="6569630" y="2228605"/>
                </a:cubicBezTo>
                <a:cubicBezTo>
                  <a:pt x="6569630" y="2204540"/>
                  <a:pt x="6589136" y="2185035"/>
                  <a:pt x="6613200" y="2185035"/>
                </a:cubicBezTo>
                <a:close/>
                <a:moveTo>
                  <a:pt x="2768873" y="2074657"/>
                </a:moveTo>
                <a:cubicBezTo>
                  <a:pt x="2769235" y="2074657"/>
                  <a:pt x="2769235" y="2074657"/>
                  <a:pt x="2769235" y="2075019"/>
                </a:cubicBezTo>
                <a:cubicBezTo>
                  <a:pt x="2769235" y="2075385"/>
                  <a:pt x="2768873" y="2075385"/>
                  <a:pt x="2768873" y="2075385"/>
                </a:cubicBezTo>
                <a:cubicBezTo>
                  <a:pt x="2768511" y="2075385"/>
                  <a:pt x="2768511" y="2075385"/>
                  <a:pt x="2768511" y="2075019"/>
                </a:cubicBezTo>
                <a:cubicBezTo>
                  <a:pt x="2768511" y="2074657"/>
                  <a:pt x="2768511" y="2074657"/>
                  <a:pt x="2768873" y="2074657"/>
                </a:cubicBezTo>
                <a:close/>
                <a:moveTo>
                  <a:pt x="2307393" y="2074657"/>
                </a:moveTo>
                <a:cubicBezTo>
                  <a:pt x="2307755" y="2074657"/>
                  <a:pt x="2307755" y="2074657"/>
                  <a:pt x="2307755" y="2075019"/>
                </a:cubicBezTo>
                <a:cubicBezTo>
                  <a:pt x="2307755" y="2075385"/>
                  <a:pt x="2307393" y="2075385"/>
                  <a:pt x="2307393" y="2075385"/>
                </a:cubicBezTo>
                <a:cubicBezTo>
                  <a:pt x="2307031" y="2075385"/>
                  <a:pt x="2307031" y="2075385"/>
                  <a:pt x="2307031" y="2075019"/>
                </a:cubicBezTo>
                <a:cubicBezTo>
                  <a:pt x="2307031" y="2074657"/>
                  <a:pt x="2307031" y="2074657"/>
                  <a:pt x="2307393" y="2074657"/>
                </a:cubicBezTo>
                <a:close/>
                <a:moveTo>
                  <a:pt x="2153808" y="2074657"/>
                </a:moveTo>
                <a:cubicBezTo>
                  <a:pt x="2154170" y="2074657"/>
                  <a:pt x="2154170" y="2074657"/>
                  <a:pt x="2154170" y="2075019"/>
                </a:cubicBezTo>
                <a:cubicBezTo>
                  <a:pt x="2154170" y="2075385"/>
                  <a:pt x="2153808" y="2075385"/>
                  <a:pt x="2153808" y="2075385"/>
                </a:cubicBezTo>
                <a:cubicBezTo>
                  <a:pt x="2153445" y="2075385"/>
                  <a:pt x="2153445" y="2075385"/>
                  <a:pt x="2153445" y="2075019"/>
                </a:cubicBezTo>
                <a:cubicBezTo>
                  <a:pt x="2153445" y="2074657"/>
                  <a:pt x="2153445" y="2074657"/>
                  <a:pt x="2153808" y="2074657"/>
                </a:cubicBezTo>
                <a:close/>
                <a:moveTo>
                  <a:pt x="1999864" y="2074295"/>
                </a:moveTo>
                <a:cubicBezTo>
                  <a:pt x="2000264" y="2074295"/>
                  <a:pt x="2000588" y="2074619"/>
                  <a:pt x="2000588" y="2075023"/>
                </a:cubicBezTo>
                <a:cubicBezTo>
                  <a:pt x="2000588" y="2075423"/>
                  <a:pt x="2000264" y="2075747"/>
                  <a:pt x="1999864" y="2075747"/>
                </a:cubicBezTo>
                <a:cubicBezTo>
                  <a:pt x="1999460" y="2075747"/>
                  <a:pt x="1999136" y="2075423"/>
                  <a:pt x="1999136" y="2075023"/>
                </a:cubicBezTo>
                <a:cubicBezTo>
                  <a:pt x="1999136" y="2074619"/>
                  <a:pt x="1999460" y="2074295"/>
                  <a:pt x="1999864" y="2074295"/>
                </a:cubicBezTo>
                <a:close/>
                <a:moveTo>
                  <a:pt x="2922458" y="2073205"/>
                </a:moveTo>
                <a:cubicBezTo>
                  <a:pt x="2923186" y="2073205"/>
                  <a:pt x="2923910" y="2073933"/>
                  <a:pt x="2923910" y="2074657"/>
                </a:cubicBezTo>
                <a:cubicBezTo>
                  <a:pt x="2923910" y="2075385"/>
                  <a:pt x="2922458" y="2076110"/>
                  <a:pt x="2922458" y="2076110"/>
                </a:cubicBezTo>
                <a:cubicBezTo>
                  <a:pt x="2921734" y="2076110"/>
                  <a:pt x="2921006" y="2075385"/>
                  <a:pt x="2921006" y="2074657"/>
                </a:cubicBezTo>
                <a:cubicBezTo>
                  <a:pt x="2921006" y="2073933"/>
                  <a:pt x="2921734" y="2073205"/>
                  <a:pt x="2922458" y="2073205"/>
                </a:cubicBezTo>
                <a:close/>
                <a:moveTo>
                  <a:pt x="3076406" y="2072843"/>
                </a:moveTo>
                <a:cubicBezTo>
                  <a:pt x="3077496" y="2072843"/>
                  <a:pt x="3078582" y="2073933"/>
                  <a:pt x="3078582" y="2075023"/>
                </a:cubicBezTo>
                <a:cubicBezTo>
                  <a:pt x="3078582" y="2076110"/>
                  <a:pt x="3076406" y="2077200"/>
                  <a:pt x="3076406" y="2077200"/>
                </a:cubicBezTo>
                <a:cubicBezTo>
                  <a:pt x="3075315" y="2077200"/>
                  <a:pt x="3074225" y="2076110"/>
                  <a:pt x="3074225" y="2075023"/>
                </a:cubicBezTo>
                <a:cubicBezTo>
                  <a:pt x="3074225" y="2073933"/>
                  <a:pt x="3075315" y="2072843"/>
                  <a:pt x="3076406" y="2072843"/>
                </a:cubicBezTo>
                <a:close/>
                <a:moveTo>
                  <a:pt x="3230353" y="2071753"/>
                </a:moveTo>
                <a:cubicBezTo>
                  <a:pt x="3232167" y="2071753"/>
                  <a:pt x="3233620" y="2073205"/>
                  <a:pt x="3233620" y="2075019"/>
                </a:cubicBezTo>
                <a:cubicBezTo>
                  <a:pt x="3233620" y="2076834"/>
                  <a:pt x="3232167" y="2078290"/>
                  <a:pt x="3230353" y="2078290"/>
                </a:cubicBezTo>
                <a:cubicBezTo>
                  <a:pt x="3228538" y="2078290"/>
                  <a:pt x="3227086" y="2076834"/>
                  <a:pt x="3227086" y="2075019"/>
                </a:cubicBezTo>
                <a:cubicBezTo>
                  <a:pt x="3227086" y="2073205"/>
                  <a:pt x="3228538" y="2071753"/>
                  <a:pt x="3230353" y="2071753"/>
                </a:cubicBezTo>
                <a:close/>
                <a:moveTo>
                  <a:pt x="3383934" y="2070662"/>
                </a:moveTo>
                <a:cubicBezTo>
                  <a:pt x="3386477" y="2070662"/>
                  <a:pt x="3388291" y="2072477"/>
                  <a:pt x="3388291" y="2075019"/>
                </a:cubicBezTo>
                <a:cubicBezTo>
                  <a:pt x="3388291" y="2077562"/>
                  <a:pt x="3386115" y="2079376"/>
                  <a:pt x="3383934" y="2079376"/>
                </a:cubicBezTo>
                <a:cubicBezTo>
                  <a:pt x="3381392" y="2079376"/>
                  <a:pt x="3379577" y="2077562"/>
                  <a:pt x="3379577" y="2075019"/>
                </a:cubicBezTo>
                <a:cubicBezTo>
                  <a:pt x="3379577" y="2072477"/>
                  <a:pt x="3381392" y="2070662"/>
                  <a:pt x="3383934" y="2070662"/>
                </a:cubicBezTo>
                <a:close/>
                <a:moveTo>
                  <a:pt x="3537886" y="2069210"/>
                </a:moveTo>
                <a:cubicBezTo>
                  <a:pt x="3541152" y="2069210"/>
                  <a:pt x="3543695" y="2071753"/>
                  <a:pt x="3543695" y="2075019"/>
                </a:cubicBezTo>
                <a:cubicBezTo>
                  <a:pt x="3543695" y="2078286"/>
                  <a:pt x="3541152" y="2080829"/>
                  <a:pt x="3537886" y="2080829"/>
                </a:cubicBezTo>
                <a:cubicBezTo>
                  <a:pt x="3534619" y="2080829"/>
                  <a:pt x="3532076" y="2078286"/>
                  <a:pt x="3532076" y="2075019"/>
                </a:cubicBezTo>
                <a:cubicBezTo>
                  <a:pt x="3532076" y="2071753"/>
                  <a:pt x="3534619" y="2069210"/>
                  <a:pt x="3537886" y="2069210"/>
                </a:cubicBezTo>
                <a:close/>
                <a:moveTo>
                  <a:pt x="3691467" y="2067758"/>
                </a:moveTo>
                <a:cubicBezTo>
                  <a:pt x="3695462" y="2067758"/>
                  <a:pt x="3698728" y="2071025"/>
                  <a:pt x="3698728" y="2075019"/>
                </a:cubicBezTo>
                <a:cubicBezTo>
                  <a:pt x="3698728" y="2079014"/>
                  <a:pt x="3695462" y="2082281"/>
                  <a:pt x="3691467" y="2082281"/>
                </a:cubicBezTo>
                <a:cubicBezTo>
                  <a:pt x="3687472" y="2082281"/>
                  <a:pt x="3684205" y="2079014"/>
                  <a:pt x="3684205" y="2075019"/>
                </a:cubicBezTo>
                <a:cubicBezTo>
                  <a:pt x="3684205" y="2071025"/>
                  <a:pt x="3687472" y="2067758"/>
                  <a:pt x="3691467" y="2067758"/>
                </a:cubicBezTo>
                <a:close/>
                <a:moveTo>
                  <a:pt x="3845414" y="2065943"/>
                </a:moveTo>
                <a:cubicBezTo>
                  <a:pt x="3850500" y="2065943"/>
                  <a:pt x="3854494" y="2069938"/>
                  <a:pt x="3854494" y="2075019"/>
                </a:cubicBezTo>
                <a:cubicBezTo>
                  <a:pt x="3854494" y="2080104"/>
                  <a:pt x="3850500" y="2084099"/>
                  <a:pt x="3845414" y="2084099"/>
                </a:cubicBezTo>
                <a:cubicBezTo>
                  <a:pt x="3840333" y="2084099"/>
                  <a:pt x="3836338" y="2080104"/>
                  <a:pt x="3836338" y="2075019"/>
                </a:cubicBezTo>
                <a:cubicBezTo>
                  <a:pt x="3836338" y="2069938"/>
                  <a:pt x="3840333" y="2065943"/>
                  <a:pt x="3845414" y="2065943"/>
                </a:cubicBezTo>
                <a:close/>
                <a:moveTo>
                  <a:pt x="3999000" y="2064853"/>
                </a:moveTo>
                <a:cubicBezTo>
                  <a:pt x="4004447" y="2064853"/>
                  <a:pt x="4009166" y="2069572"/>
                  <a:pt x="4009166" y="2075019"/>
                </a:cubicBezTo>
                <a:cubicBezTo>
                  <a:pt x="4009166" y="2080467"/>
                  <a:pt x="4004809" y="2085186"/>
                  <a:pt x="3999000" y="2085186"/>
                </a:cubicBezTo>
                <a:cubicBezTo>
                  <a:pt x="3993552" y="2085186"/>
                  <a:pt x="3988833" y="2080467"/>
                  <a:pt x="3988833" y="2075019"/>
                </a:cubicBezTo>
                <a:cubicBezTo>
                  <a:pt x="3988833" y="2069572"/>
                  <a:pt x="3993552" y="2064853"/>
                  <a:pt x="3999000" y="2064853"/>
                </a:cubicBezTo>
                <a:close/>
                <a:moveTo>
                  <a:pt x="4152947" y="2063038"/>
                </a:moveTo>
                <a:cubicBezTo>
                  <a:pt x="4159484" y="2063038"/>
                  <a:pt x="4164932" y="2068486"/>
                  <a:pt x="4164932" y="2075019"/>
                </a:cubicBezTo>
                <a:cubicBezTo>
                  <a:pt x="4164932" y="2081557"/>
                  <a:pt x="4159484" y="2087000"/>
                  <a:pt x="4152947" y="2087000"/>
                </a:cubicBezTo>
                <a:cubicBezTo>
                  <a:pt x="4146414" y="2087000"/>
                  <a:pt x="4140966" y="2081557"/>
                  <a:pt x="4140966" y="2075019"/>
                </a:cubicBezTo>
                <a:cubicBezTo>
                  <a:pt x="4140966" y="2068486"/>
                  <a:pt x="4146414" y="2063038"/>
                  <a:pt x="4152947" y="2063038"/>
                </a:cubicBezTo>
                <a:close/>
                <a:moveTo>
                  <a:pt x="4306528" y="2061224"/>
                </a:moveTo>
                <a:cubicBezTo>
                  <a:pt x="4314156" y="2061224"/>
                  <a:pt x="4320328" y="2067396"/>
                  <a:pt x="4320328" y="2075023"/>
                </a:cubicBezTo>
                <a:cubicBezTo>
                  <a:pt x="4320328" y="2082647"/>
                  <a:pt x="4314156" y="2088818"/>
                  <a:pt x="4306528" y="2088818"/>
                </a:cubicBezTo>
                <a:cubicBezTo>
                  <a:pt x="4298904" y="2088818"/>
                  <a:pt x="4292733" y="2082647"/>
                  <a:pt x="4292733" y="2075023"/>
                </a:cubicBezTo>
                <a:cubicBezTo>
                  <a:pt x="4292733" y="2067396"/>
                  <a:pt x="4298904" y="2061224"/>
                  <a:pt x="4306528" y="2061224"/>
                </a:cubicBezTo>
                <a:close/>
                <a:moveTo>
                  <a:pt x="4460476" y="2059772"/>
                </a:moveTo>
                <a:cubicBezTo>
                  <a:pt x="4468900" y="2059772"/>
                  <a:pt x="4475728" y="2066599"/>
                  <a:pt x="4475728" y="2075023"/>
                </a:cubicBezTo>
                <a:cubicBezTo>
                  <a:pt x="4475728" y="2083444"/>
                  <a:pt x="4468900" y="2090271"/>
                  <a:pt x="4460476" y="2090271"/>
                </a:cubicBezTo>
                <a:cubicBezTo>
                  <a:pt x="4452056" y="2090271"/>
                  <a:pt x="4445228" y="2083444"/>
                  <a:pt x="4445228" y="2075023"/>
                </a:cubicBezTo>
                <a:cubicBezTo>
                  <a:pt x="4445228" y="2066599"/>
                  <a:pt x="4452056" y="2059772"/>
                  <a:pt x="4460476" y="2059772"/>
                </a:cubicBezTo>
                <a:close/>
                <a:moveTo>
                  <a:pt x="4614065" y="2057957"/>
                </a:moveTo>
                <a:cubicBezTo>
                  <a:pt x="4623503" y="2057957"/>
                  <a:pt x="4631131" y="2065581"/>
                  <a:pt x="4631131" y="2075023"/>
                </a:cubicBezTo>
                <a:cubicBezTo>
                  <a:pt x="4631131" y="2084461"/>
                  <a:pt x="4623503" y="2092085"/>
                  <a:pt x="4614065" y="2092085"/>
                </a:cubicBezTo>
                <a:cubicBezTo>
                  <a:pt x="4604623" y="2092085"/>
                  <a:pt x="4596999" y="2084461"/>
                  <a:pt x="4596999" y="2075023"/>
                </a:cubicBezTo>
                <a:cubicBezTo>
                  <a:pt x="4596999" y="2065581"/>
                  <a:pt x="4604623" y="2057957"/>
                  <a:pt x="4614065" y="2057957"/>
                </a:cubicBezTo>
                <a:close/>
                <a:moveTo>
                  <a:pt x="4768008" y="2055777"/>
                </a:moveTo>
                <a:cubicBezTo>
                  <a:pt x="4778640" y="2055777"/>
                  <a:pt x="4787255" y="2064392"/>
                  <a:pt x="4787255" y="2075019"/>
                </a:cubicBezTo>
                <a:cubicBezTo>
                  <a:pt x="4787255" y="2085647"/>
                  <a:pt x="4778640" y="2094266"/>
                  <a:pt x="4768008" y="2094266"/>
                </a:cubicBezTo>
                <a:cubicBezTo>
                  <a:pt x="4757381" y="2094266"/>
                  <a:pt x="4748766" y="2085647"/>
                  <a:pt x="4748766" y="2075019"/>
                </a:cubicBezTo>
                <a:cubicBezTo>
                  <a:pt x="4748766" y="2064392"/>
                  <a:pt x="4757381" y="2055777"/>
                  <a:pt x="4768008" y="2055777"/>
                </a:cubicBezTo>
                <a:close/>
                <a:moveTo>
                  <a:pt x="4921594" y="2053600"/>
                </a:moveTo>
                <a:cubicBezTo>
                  <a:pt x="4933574" y="2053600"/>
                  <a:pt x="4943013" y="2063038"/>
                  <a:pt x="4943013" y="2075023"/>
                </a:cubicBezTo>
                <a:cubicBezTo>
                  <a:pt x="4943013" y="2087004"/>
                  <a:pt x="4933212" y="2096446"/>
                  <a:pt x="4921594" y="2096446"/>
                </a:cubicBezTo>
                <a:cubicBezTo>
                  <a:pt x="4909613" y="2096446"/>
                  <a:pt x="4900171" y="2087004"/>
                  <a:pt x="4900171" y="2075023"/>
                </a:cubicBezTo>
                <a:cubicBezTo>
                  <a:pt x="4900171" y="2063038"/>
                  <a:pt x="4909613" y="2053600"/>
                  <a:pt x="4921594" y="2053600"/>
                </a:cubicBezTo>
                <a:close/>
                <a:moveTo>
                  <a:pt x="5075545" y="2052148"/>
                </a:moveTo>
                <a:cubicBezTo>
                  <a:pt x="5088250" y="2052148"/>
                  <a:pt x="5098416" y="2062314"/>
                  <a:pt x="5098416" y="2075023"/>
                </a:cubicBezTo>
                <a:cubicBezTo>
                  <a:pt x="5098416" y="2087728"/>
                  <a:pt x="5088250" y="2097895"/>
                  <a:pt x="5075545" y="2097895"/>
                </a:cubicBezTo>
                <a:cubicBezTo>
                  <a:pt x="5062836" y="2097895"/>
                  <a:pt x="5052670" y="2087728"/>
                  <a:pt x="5052670" y="2075023"/>
                </a:cubicBezTo>
                <a:cubicBezTo>
                  <a:pt x="5052670" y="2062314"/>
                  <a:pt x="5062836" y="2052148"/>
                  <a:pt x="5075545" y="2052148"/>
                </a:cubicBezTo>
                <a:close/>
                <a:moveTo>
                  <a:pt x="5229126" y="2049968"/>
                </a:moveTo>
                <a:cubicBezTo>
                  <a:pt x="5242926" y="2049968"/>
                  <a:pt x="5254182" y="2061224"/>
                  <a:pt x="5254182" y="2075019"/>
                </a:cubicBezTo>
                <a:cubicBezTo>
                  <a:pt x="5254182" y="2088818"/>
                  <a:pt x="5242926" y="2100075"/>
                  <a:pt x="5229126" y="2100075"/>
                </a:cubicBezTo>
                <a:cubicBezTo>
                  <a:pt x="5215331" y="2100075"/>
                  <a:pt x="5204074" y="2088818"/>
                  <a:pt x="5204074" y="2075019"/>
                </a:cubicBezTo>
                <a:cubicBezTo>
                  <a:pt x="5204074" y="2061224"/>
                  <a:pt x="5215331" y="2049968"/>
                  <a:pt x="5229126" y="2049968"/>
                </a:cubicBezTo>
                <a:close/>
                <a:moveTo>
                  <a:pt x="5383074" y="2047791"/>
                </a:moveTo>
                <a:cubicBezTo>
                  <a:pt x="5397960" y="2047791"/>
                  <a:pt x="5410306" y="2060138"/>
                  <a:pt x="5410306" y="2075023"/>
                </a:cubicBezTo>
                <a:cubicBezTo>
                  <a:pt x="5410306" y="2089909"/>
                  <a:pt x="5398322" y="2102256"/>
                  <a:pt x="5383074" y="2102256"/>
                </a:cubicBezTo>
                <a:cubicBezTo>
                  <a:pt x="5368184" y="2102256"/>
                  <a:pt x="5355842" y="2089909"/>
                  <a:pt x="5355842" y="2075023"/>
                </a:cubicBezTo>
                <a:cubicBezTo>
                  <a:pt x="5355842" y="2060138"/>
                  <a:pt x="5368184" y="2047791"/>
                  <a:pt x="5383074" y="2047791"/>
                </a:cubicBezTo>
                <a:close/>
                <a:moveTo>
                  <a:pt x="5537018" y="2045248"/>
                </a:moveTo>
                <a:cubicBezTo>
                  <a:pt x="5553462" y="2045248"/>
                  <a:pt x="5566792" y="2058579"/>
                  <a:pt x="5566792" y="2075023"/>
                </a:cubicBezTo>
                <a:cubicBezTo>
                  <a:pt x="5566792" y="2091464"/>
                  <a:pt x="5553462" y="2104794"/>
                  <a:pt x="5537018" y="2104794"/>
                </a:cubicBezTo>
                <a:cubicBezTo>
                  <a:pt x="5520576" y="2104794"/>
                  <a:pt x="5507246" y="2091464"/>
                  <a:pt x="5507246" y="2075023"/>
                </a:cubicBezTo>
                <a:cubicBezTo>
                  <a:pt x="5507246" y="2058579"/>
                  <a:pt x="5520576" y="2045248"/>
                  <a:pt x="5537018" y="2045248"/>
                </a:cubicBezTo>
                <a:close/>
                <a:moveTo>
                  <a:pt x="5690606" y="2043068"/>
                </a:moveTo>
                <a:cubicBezTo>
                  <a:pt x="5708396" y="2043068"/>
                  <a:pt x="5722558" y="2057229"/>
                  <a:pt x="5722558" y="2075019"/>
                </a:cubicBezTo>
                <a:cubicBezTo>
                  <a:pt x="5722558" y="2092810"/>
                  <a:pt x="5708396" y="2106971"/>
                  <a:pt x="5690606" y="2106971"/>
                </a:cubicBezTo>
                <a:cubicBezTo>
                  <a:pt x="5672816" y="2106971"/>
                  <a:pt x="5658655" y="2092810"/>
                  <a:pt x="5658655" y="2075019"/>
                </a:cubicBezTo>
                <a:cubicBezTo>
                  <a:pt x="5658655" y="2057229"/>
                  <a:pt x="5672816" y="2043068"/>
                  <a:pt x="5690606" y="2043068"/>
                </a:cubicBezTo>
                <a:close/>
                <a:moveTo>
                  <a:pt x="5844554" y="2041254"/>
                </a:moveTo>
                <a:cubicBezTo>
                  <a:pt x="5863202" y="2041254"/>
                  <a:pt x="5878320" y="2056372"/>
                  <a:pt x="5878320" y="2075019"/>
                </a:cubicBezTo>
                <a:cubicBezTo>
                  <a:pt x="5878320" y="2093671"/>
                  <a:pt x="5863202" y="2108789"/>
                  <a:pt x="5844554" y="2108789"/>
                </a:cubicBezTo>
                <a:cubicBezTo>
                  <a:pt x="5825906" y="2108789"/>
                  <a:pt x="5810788" y="2093671"/>
                  <a:pt x="5810788" y="2075019"/>
                </a:cubicBezTo>
                <a:cubicBezTo>
                  <a:pt x="5810788" y="2056372"/>
                  <a:pt x="5825906" y="2041254"/>
                  <a:pt x="5844554" y="2041254"/>
                </a:cubicBezTo>
                <a:close/>
                <a:moveTo>
                  <a:pt x="5998136" y="2038711"/>
                </a:moveTo>
                <a:cubicBezTo>
                  <a:pt x="6018106" y="2038711"/>
                  <a:pt x="6034444" y="2055049"/>
                  <a:pt x="6034444" y="2075019"/>
                </a:cubicBezTo>
                <a:cubicBezTo>
                  <a:pt x="6034444" y="2094990"/>
                  <a:pt x="6018106" y="2111328"/>
                  <a:pt x="5998136" y="2111328"/>
                </a:cubicBezTo>
                <a:cubicBezTo>
                  <a:pt x="5978165" y="2111328"/>
                  <a:pt x="5961827" y="2094990"/>
                  <a:pt x="5961827" y="2075019"/>
                </a:cubicBezTo>
                <a:cubicBezTo>
                  <a:pt x="5961827" y="2055049"/>
                  <a:pt x="5978165" y="2038711"/>
                  <a:pt x="5998136" y="2038711"/>
                </a:cubicBezTo>
                <a:close/>
                <a:moveTo>
                  <a:pt x="6152083" y="2036172"/>
                </a:moveTo>
                <a:cubicBezTo>
                  <a:pt x="6173506" y="2036172"/>
                  <a:pt x="6190934" y="2053600"/>
                  <a:pt x="6190934" y="2075023"/>
                </a:cubicBezTo>
                <a:cubicBezTo>
                  <a:pt x="6190934" y="2096442"/>
                  <a:pt x="6173506" y="2113870"/>
                  <a:pt x="6152083" y="2113870"/>
                </a:cubicBezTo>
                <a:cubicBezTo>
                  <a:pt x="6130664" y="2113870"/>
                  <a:pt x="6113236" y="2096442"/>
                  <a:pt x="6113236" y="2075023"/>
                </a:cubicBezTo>
                <a:cubicBezTo>
                  <a:pt x="6113236" y="2053600"/>
                  <a:pt x="6130664" y="2036172"/>
                  <a:pt x="6152083" y="2036172"/>
                </a:cubicBezTo>
                <a:close/>
                <a:moveTo>
                  <a:pt x="6305668" y="2033992"/>
                </a:moveTo>
                <a:cubicBezTo>
                  <a:pt x="6328543" y="2033992"/>
                  <a:pt x="6346700" y="2052148"/>
                  <a:pt x="6346700" y="2075019"/>
                </a:cubicBezTo>
                <a:cubicBezTo>
                  <a:pt x="6346700" y="2097895"/>
                  <a:pt x="6328181" y="2116047"/>
                  <a:pt x="6305668" y="2116047"/>
                </a:cubicBezTo>
                <a:cubicBezTo>
                  <a:pt x="6282796" y="2116047"/>
                  <a:pt x="6264640" y="2097895"/>
                  <a:pt x="6264640" y="2075019"/>
                </a:cubicBezTo>
                <a:cubicBezTo>
                  <a:pt x="6264640" y="2052148"/>
                  <a:pt x="6282796" y="2033992"/>
                  <a:pt x="6305668" y="2033992"/>
                </a:cubicBezTo>
                <a:close/>
                <a:moveTo>
                  <a:pt x="6459616" y="2031449"/>
                </a:moveTo>
                <a:cubicBezTo>
                  <a:pt x="6483577" y="2031449"/>
                  <a:pt x="6503186" y="2051058"/>
                  <a:pt x="6503186" y="2075019"/>
                </a:cubicBezTo>
                <a:cubicBezTo>
                  <a:pt x="6503186" y="2098985"/>
                  <a:pt x="6483577" y="2118590"/>
                  <a:pt x="6459616" y="2118590"/>
                </a:cubicBezTo>
                <a:cubicBezTo>
                  <a:pt x="6435650" y="2118590"/>
                  <a:pt x="6416046" y="2098985"/>
                  <a:pt x="6416046" y="2075019"/>
                </a:cubicBezTo>
                <a:cubicBezTo>
                  <a:pt x="6416046" y="2051058"/>
                  <a:pt x="6435650" y="2031449"/>
                  <a:pt x="6459616" y="2031449"/>
                </a:cubicBezTo>
                <a:close/>
                <a:moveTo>
                  <a:pt x="6613200" y="2028911"/>
                </a:moveTo>
                <a:cubicBezTo>
                  <a:pt x="6638668" y="2028911"/>
                  <a:pt x="6659313" y="2049556"/>
                  <a:pt x="6659313" y="2075023"/>
                </a:cubicBezTo>
                <a:cubicBezTo>
                  <a:pt x="6659313" y="2100490"/>
                  <a:pt x="6638668" y="2121136"/>
                  <a:pt x="6613200" y="2121136"/>
                </a:cubicBezTo>
                <a:cubicBezTo>
                  <a:pt x="6587734" y="2121136"/>
                  <a:pt x="6567088" y="2100490"/>
                  <a:pt x="6567088" y="2075023"/>
                </a:cubicBezTo>
                <a:cubicBezTo>
                  <a:pt x="6567088" y="2049556"/>
                  <a:pt x="6587734" y="2028911"/>
                  <a:pt x="6613200" y="2028911"/>
                </a:cubicBezTo>
                <a:close/>
                <a:moveTo>
                  <a:pt x="2614925" y="1921072"/>
                </a:moveTo>
                <a:cubicBezTo>
                  <a:pt x="2615288" y="1921072"/>
                  <a:pt x="2615288" y="1921072"/>
                  <a:pt x="2615288" y="1921434"/>
                </a:cubicBezTo>
                <a:cubicBezTo>
                  <a:pt x="2615288" y="1921800"/>
                  <a:pt x="2614925" y="1921800"/>
                  <a:pt x="2614925" y="1921800"/>
                </a:cubicBezTo>
                <a:cubicBezTo>
                  <a:pt x="2614563" y="1921800"/>
                  <a:pt x="2614563" y="1921800"/>
                  <a:pt x="2614563" y="1921434"/>
                </a:cubicBezTo>
                <a:cubicBezTo>
                  <a:pt x="2614563" y="1921072"/>
                  <a:pt x="2614563" y="1921072"/>
                  <a:pt x="2614925" y="1921072"/>
                </a:cubicBezTo>
                <a:close/>
                <a:moveTo>
                  <a:pt x="2153808" y="1921072"/>
                </a:moveTo>
                <a:cubicBezTo>
                  <a:pt x="2154170" y="1921072"/>
                  <a:pt x="2154170" y="1921072"/>
                  <a:pt x="2154170" y="1921434"/>
                </a:cubicBezTo>
                <a:cubicBezTo>
                  <a:pt x="2154170" y="1921800"/>
                  <a:pt x="2153808" y="1921800"/>
                  <a:pt x="2153808" y="1921800"/>
                </a:cubicBezTo>
                <a:cubicBezTo>
                  <a:pt x="2153445" y="1921800"/>
                  <a:pt x="2153445" y="1921800"/>
                  <a:pt x="2153445" y="1921434"/>
                </a:cubicBezTo>
                <a:cubicBezTo>
                  <a:pt x="2153445" y="1921072"/>
                  <a:pt x="2153445" y="1921072"/>
                  <a:pt x="2153808" y="1921072"/>
                </a:cubicBezTo>
                <a:close/>
                <a:moveTo>
                  <a:pt x="1999860" y="1921072"/>
                </a:moveTo>
                <a:cubicBezTo>
                  <a:pt x="2000222" y="1921072"/>
                  <a:pt x="2000222" y="1921072"/>
                  <a:pt x="2000222" y="1921434"/>
                </a:cubicBezTo>
                <a:cubicBezTo>
                  <a:pt x="2000222" y="1921800"/>
                  <a:pt x="1999860" y="1921800"/>
                  <a:pt x="1999860" y="1921800"/>
                </a:cubicBezTo>
                <a:cubicBezTo>
                  <a:pt x="1999498" y="1921800"/>
                  <a:pt x="1999498" y="1921800"/>
                  <a:pt x="1999498" y="1921434"/>
                </a:cubicBezTo>
                <a:cubicBezTo>
                  <a:pt x="1999498" y="1921072"/>
                  <a:pt x="1999498" y="1921072"/>
                  <a:pt x="1999860" y="1921072"/>
                </a:cubicBezTo>
                <a:close/>
                <a:moveTo>
                  <a:pt x="1846279" y="1920710"/>
                </a:moveTo>
                <a:cubicBezTo>
                  <a:pt x="1846641" y="1920710"/>
                  <a:pt x="1847003" y="1921072"/>
                  <a:pt x="1847003" y="1921434"/>
                </a:cubicBezTo>
                <a:cubicBezTo>
                  <a:pt x="1847003" y="1921800"/>
                  <a:pt x="1846279" y="1922162"/>
                  <a:pt x="1846279" y="1922162"/>
                </a:cubicBezTo>
                <a:cubicBezTo>
                  <a:pt x="1845913" y="1922162"/>
                  <a:pt x="1845551" y="1921800"/>
                  <a:pt x="1845551" y="1921434"/>
                </a:cubicBezTo>
                <a:cubicBezTo>
                  <a:pt x="1845551" y="1921072"/>
                  <a:pt x="1845913" y="1920710"/>
                  <a:pt x="1846279" y="1920710"/>
                </a:cubicBezTo>
                <a:close/>
                <a:moveTo>
                  <a:pt x="2768873" y="1919620"/>
                </a:moveTo>
                <a:cubicBezTo>
                  <a:pt x="2769597" y="1919620"/>
                  <a:pt x="2770325" y="1920348"/>
                  <a:pt x="2770325" y="1921072"/>
                </a:cubicBezTo>
                <a:cubicBezTo>
                  <a:pt x="2770325" y="1921800"/>
                  <a:pt x="2768873" y="1922524"/>
                  <a:pt x="2768873" y="1922524"/>
                </a:cubicBezTo>
                <a:cubicBezTo>
                  <a:pt x="2768145" y="1922524"/>
                  <a:pt x="2767421" y="1921800"/>
                  <a:pt x="2767421" y="1921072"/>
                </a:cubicBezTo>
                <a:cubicBezTo>
                  <a:pt x="2767421" y="1920348"/>
                  <a:pt x="2768145" y="1919620"/>
                  <a:pt x="2768873" y="1919620"/>
                </a:cubicBezTo>
                <a:close/>
                <a:moveTo>
                  <a:pt x="2922454" y="1918895"/>
                </a:moveTo>
                <a:cubicBezTo>
                  <a:pt x="2923544" y="1918895"/>
                  <a:pt x="2924635" y="1919986"/>
                  <a:pt x="2924635" y="1921076"/>
                </a:cubicBezTo>
                <a:cubicBezTo>
                  <a:pt x="2924635" y="1922162"/>
                  <a:pt x="2922454" y="1923252"/>
                  <a:pt x="2922454" y="1923252"/>
                </a:cubicBezTo>
                <a:cubicBezTo>
                  <a:pt x="2921368" y="1923252"/>
                  <a:pt x="2920278" y="1922162"/>
                  <a:pt x="2920278" y="1921076"/>
                </a:cubicBezTo>
                <a:cubicBezTo>
                  <a:pt x="2920278" y="1919986"/>
                  <a:pt x="2921368" y="1918895"/>
                  <a:pt x="2922454" y="1918895"/>
                </a:cubicBezTo>
                <a:close/>
                <a:moveTo>
                  <a:pt x="3076406" y="1918167"/>
                </a:moveTo>
                <a:cubicBezTo>
                  <a:pt x="3078220" y="1918167"/>
                  <a:pt x="3079672" y="1919620"/>
                  <a:pt x="3079672" y="1921434"/>
                </a:cubicBezTo>
                <a:cubicBezTo>
                  <a:pt x="3079672" y="1923249"/>
                  <a:pt x="3078220" y="1924701"/>
                  <a:pt x="3076406" y="1924701"/>
                </a:cubicBezTo>
                <a:cubicBezTo>
                  <a:pt x="3074587" y="1924701"/>
                  <a:pt x="3073135" y="1923249"/>
                  <a:pt x="3073135" y="1921434"/>
                </a:cubicBezTo>
                <a:cubicBezTo>
                  <a:pt x="3073135" y="1919620"/>
                  <a:pt x="3074587" y="1918167"/>
                  <a:pt x="3076406" y="1918167"/>
                </a:cubicBezTo>
                <a:close/>
                <a:moveTo>
                  <a:pt x="3230353" y="1916715"/>
                </a:moveTo>
                <a:cubicBezTo>
                  <a:pt x="3232895" y="1916715"/>
                  <a:pt x="3234710" y="1918529"/>
                  <a:pt x="3234710" y="1921072"/>
                </a:cubicBezTo>
                <a:cubicBezTo>
                  <a:pt x="3234710" y="1923615"/>
                  <a:pt x="3232530" y="1925429"/>
                  <a:pt x="3230353" y="1925429"/>
                </a:cubicBezTo>
                <a:cubicBezTo>
                  <a:pt x="3227810" y="1925429"/>
                  <a:pt x="3225996" y="1923615"/>
                  <a:pt x="3225996" y="1921072"/>
                </a:cubicBezTo>
                <a:cubicBezTo>
                  <a:pt x="3225996" y="1918529"/>
                  <a:pt x="3227810" y="1916715"/>
                  <a:pt x="3230353" y="1916715"/>
                </a:cubicBezTo>
                <a:close/>
                <a:moveTo>
                  <a:pt x="3383938" y="1915625"/>
                </a:moveTo>
                <a:cubicBezTo>
                  <a:pt x="3387205" y="1915625"/>
                  <a:pt x="3389748" y="1918167"/>
                  <a:pt x="3389748" y="1921434"/>
                </a:cubicBezTo>
                <a:cubicBezTo>
                  <a:pt x="3389748" y="1924701"/>
                  <a:pt x="3387205" y="1927243"/>
                  <a:pt x="3383938" y="1927243"/>
                </a:cubicBezTo>
                <a:cubicBezTo>
                  <a:pt x="3380671" y="1927243"/>
                  <a:pt x="3378129" y="1924701"/>
                  <a:pt x="3378129" y="1921434"/>
                </a:cubicBezTo>
                <a:cubicBezTo>
                  <a:pt x="3378129" y="1918167"/>
                  <a:pt x="3380671" y="1915625"/>
                  <a:pt x="3383938" y="1915625"/>
                </a:cubicBezTo>
                <a:close/>
                <a:moveTo>
                  <a:pt x="3537882" y="1913810"/>
                </a:moveTo>
                <a:cubicBezTo>
                  <a:pt x="3541876" y="1913810"/>
                  <a:pt x="3545143" y="1917077"/>
                  <a:pt x="3545143" y="1921072"/>
                </a:cubicBezTo>
                <a:cubicBezTo>
                  <a:pt x="3545143" y="1925067"/>
                  <a:pt x="3541876" y="1928334"/>
                  <a:pt x="3537882" y="1928334"/>
                </a:cubicBezTo>
                <a:cubicBezTo>
                  <a:pt x="3533887" y="1928334"/>
                  <a:pt x="3530620" y="1925067"/>
                  <a:pt x="3530620" y="1921072"/>
                </a:cubicBezTo>
                <a:cubicBezTo>
                  <a:pt x="3530620" y="1917077"/>
                  <a:pt x="3533887" y="1913810"/>
                  <a:pt x="3537882" y="1913810"/>
                </a:cubicBezTo>
                <a:close/>
                <a:moveTo>
                  <a:pt x="3691467" y="1911996"/>
                </a:moveTo>
                <a:cubicBezTo>
                  <a:pt x="3696552" y="1911996"/>
                  <a:pt x="3700547" y="1915991"/>
                  <a:pt x="3700547" y="1921072"/>
                </a:cubicBezTo>
                <a:cubicBezTo>
                  <a:pt x="3700547" y="1926157"/>
                  <a:pt x="3696552" y="1930152"/>
                  <a:pt x="3691467" y="1930152"/>
                </a:cubicBezTo>
                <a:cubicBezTo>
                  <a:pt x="3686386" y="1930152"/>
                  <a:pt x="3682391" y="1926157"/>
                  <a:pt x="3682391" y="1921072"/>
                </a:cubicBezTo>
                <a:cubicBezTo>
                  <a:pt x="3682391" y="1915991"/>
                  <a:pt x="3686386" y="1911996"/>
                  <a:pt x="3691467" y="1911996"/>
                </a:cubicBezTo>
                <a:close/>
                <a:moveTo>
                  <a:pt x="3845414" y="1911268"/>
                </a:moveTo>
                <a:cubicBezTo>
                  <a:pt x="3850862" y="1911268"/>
                  <a:pt x="3855581" y="1915987"/>
                  <a:pt x="3855581" y="1921434"/>
                </a:cubicBezTo>
                <a:cubicBezTo>
                  <a:pt x="3855581" y="1926881"/>
                  <a:pt x="3851224" y="1931600"/>
                  <a:pt x="3845414" y="1931600"/>
                </a:cubicBezTo>
                <a:cubicBezTo>
                  <a:pt x="3839967" y="1931600"/>
                  <a:pt x="3835248" y="1926881"/>
                  <a:pt x="3835248" y="1921434"/>
                </a:cubicBezTo>
                <a:cubicBezTo>
                  <a:pt x="3835248" y="1915987"/>
                  <a:pt x="3839967" y="1911268"/>
                  <a:pt x="3845414" y="1911268"/>
                </a:cubicBezTo>
                <a:close/>
                <a:moveTo>
                  <a:pt x="3999000" y="1909091"/>
                </a:moveTo>
                <a:cubicBezTo>
                  <a:pt x="4005537" y="1909091"/>
                  <a:pt x="4010984" y="1914538"/>
                  <a:pt x="4010984" y="1921072"/>
                </a:cubicBezTo>
                <a:cubicBezTo>
                  <a:pt x="4010984" y="1927609"/>
                  <a:pt x="4005537" y="1933053"/>
                  <a:pt x="3999000" y="1933053"/>
                </a:cubicBezTo>
                <a:cubicBezTo>
                  <a:pt x="3992466" y="1933053"/>
                  <a:pt x="3987019" y="1927609"/>
                  <a:pt x="3987019" y="1921072"/>
                </a:cubicBezTo>
                <a:cubicBezTo>
                  <a:pt x="3987019" y="1914538"/>
                  <a:pt x="3992466" y="1909091"/>
                  <a:pt x="3999000" y="1909091"/>
                </a:cubicBezTo>
                <a:close/>
                <a:moveTo>
                  <a:pt x="4152951" y="1907277"/>
                </a:moveTo>
                <a:cubicBezTo>
                  <a:pt x="4160574" y="1907277"/>
                  <a:pt x="4166746" y="1913448"/>
                  <a:pt x="4166746" y="1921076"/>
                </a:cubicBezTo>
                <a:cubicBezTo>
                  <a:pt x="4166746" y="1928700"/>
                  <a:pt x="4160574" y="1934871"/>
                  <a:pt x="4152951" y="1934871"/>
                </a:cubicBezTo>
                <a:cubicBezTo>
                  <a:pt x="4145323" y="1934871"/>
                  <a:pt x="4139152" y="1928700"/>
                  <a:pt x="4139152" y="1921076"/>
                </a:cubicBezTo>
                <a:cubicBezTo>
                  <a:pt x="4139152" y="1913448"/>
                  <a:pt x="4145323" y="1907277"/>
                  <a:pt x="4152951" y="1907277"/>
                </a:cubicBezTo>
                <a:close/>
                <a:moveTo>
                  <a:pt x="4306528" y="1905824"/>
                </a:moveTo>
                <a:cubicBezTo>
                  <a:pt x="4314953" y="1905824"/>
                  <a:pt x="4321780" y="1912651"/>
                  <a:pt x="4321780" y="1921072"/>
                </a:cubicBezTo>
                <a:cubicBezTo>
                  <a:pt x="4321780" y="1929496"/>
                  <a:pt x="4314953" y="1936323"/>
                  <a:pt x="4306528" y="1936323"/>
                </a:cubicBezTo>
                <a:cubicBezTo>
                  <a:pt x="4298108" y="1936323"/>
                  <a:pt x="4291281" y="1929496"/>
                  <a:pt x="4291281" y="1921072"/>
                </a:cubicBezTo>
                <a:cubicBezTo>
                  <a:pt x="4291281" y="1912651"/>
                  <a:pt x="4298108" y="1905824"/>
                  <a:pt x="4306528" y="1905824"/>
                </a:cubicBezTo>
                <a:close/>
                <a:moveTo>
                  <a:pt x="4460480" y="1904006"/>
                </a:moveTo>
                <a:cubicBezTo>
                  <a:pt x="4469918" y="1904006"/>
                  <a:pt x="4477546" y="1911630"/>
                  <a:pt x="4477546" y="1921072"/>
                </a:cubicBezTo>
                <a:cubicBezTo>
                  <a:pt x="4477546" y="1930510"/>
                  <a:pt x="4469918" y="1938138"/>
                  <a:pt x="4460480" y="1938138"/>
                </a:cubicBezTo>
                <a:cubicBezTo>
                  <a:pt x="4451038" y="1938138"/>
                  <a:pt x="4443414" y="1930510"/>
                  <a:pt x="4443414" y="1921072"/>
                </a:cubicBezTo>
                <a:cubicBezTo>
                  <a:pt x="4443414" y="1911630"/>
                  <a:pt x="4451038" y="1904006"/>
                  <a:pt x="4460480" y="1904006"/>
                </a:cubicBezTo>
                <a:close/>
                <a:moveTo>
                  <a:pt x="4614061" y="1901830"/>
                </a:moveTo>
                <a:cubicBezTo>
                  <a:pt x="4624688" y="1901830"/>
                  <a:pt x="4633304" y="1910444"/>
                  <a:pt x="4633304" y="1921072"/>
                </a:cubicBezTo>
                <a:cubicBezTo>
                  <a:pt x="4633304" y="1931699"/>
                  <a:pt x="4624688" y="1940314"/>
                  <a:pt x="4614061" y="1940314"/>
                </a:cubicBezTo>
                <a:cubicBezTo>
                  <a:pt x="4603434" y="1940314"/>
                  <a:pt x="4594818" y="1931699"/>
                  <a:pt x="4594818" y="1921072"/>
                </a:cubicBezTo>
                <a:cubicBezTo>
                  <a:pt x="4594818" y="1910444"/>
                  <a:pt x="4603434" y="1901830"/>
                  <a:pt x="4614061" y="1901830"/>
                </a:cubicBezTo>
                <a:close/>
                <a:moveTo>
                  <a:pt x="4768012" y="1899649"/>
                </a:moveTo>
                <a:cubicBezTo>
                  <a:pt x="4779993" y="1899649"/>
                  <a:pt x="4789432" y="1909091"/>
                  <a:pt x="4789432" y="1921072"/>
                </a:cubicBezTo>
                <a:cubicBezTo>
                  <a:pt x="4789432" y="1933053"/>
                  <a:pt x="4779627" y="1942495"/>
                  <a:pt x="4768012" y="1942495"/>
                </a:cubicBezTo>
                <a:cubicBezTo>
                  <a:pt x="4756028" y="1942495"/>
                  <a:pt x="4746590" y="1933053"/>
                  <a:pt x="4746590" y="1921072"/>
                </a:cubicBezTo>
                <a:cubicBezTo>
                  <a:pt x="4746590" y="1909091"/>
                  <a:pt x="4756028" y="1899649"/>
                  <a:pt x="4768012" y="1899649"/>
                </a:cubicBezTo>
                <a:close/>
                <a:moveTo>
                  <a:pt x="4921594" y="1898563"/>
                </a:moveTo>
                <a:cubicBezTo>
                  <a:pt x="4934302" y="1898563"/>
                  <a:pt x="4944469" y="1908729"/>
                  <a:pt x="4944469" y="1921438"/>
                </a:cubicBezTo>
                <a:cubicBezTo>
                  <a:pt x="4944469" y="1934143"/>
                  <a:pt x="4934302" y="1944309"/>
                  <a:pt x="4921594" y="1944309"/>
                </a:cubicBezTo>
                <a:cubicBezTo>
                  <a:pt x="4908885" y="1944309"/>
                  <a:pt x="4898718" y="1934143"/>
                  <a:pt x="4898718" y="1921438"/>
                </a:cubicBezTo>
                <a:cubicBezTo>
                  <a:pt x="4898718" y="1908729"/>
                  <a:pt x="4908885" y="1898563"/>
                  <a:pt x="4921594" y="1898563"/>
                </a:cubicBezTo>
                <a:close/>
                <a:moveTo>
                  <a:pt x="5075541" y="1896382"/>
                </a:moveTo>
                <a:cubicBezTo>
                  <a:pt x="5089340" y="1896382"/>
                  <a:pt x="5100597" y="1907639"/>
                  <a:pt x="5100597" y="1921434"/>
                </a:cubicBezTo>
                <a:cubicBezTo>
                  <a:pt x="5100597" y="1935233"/>
                  <a:pt x="5089340" y="1946490"/>
                  <a:pt x="5075541" y="1946490"/>
                </a:cubicBezTo>
                <a:cubicBezTo>
                  <a:pt x="5061746" y="1946490"/>
                  <a:pt x="5050490" y="1935233"/>
                  <a:pt x="5050490" y="1921434"/>
                </a:cubicBezTo>
                <a:cubicBezTo>
                  <a:pt x="5050490" y="1907639"/>
                  <a:pt x="5061746" y="1896382"/>
                  <a:pt x="5075541" y="1896382"/>
                </a:cubicBezTo>
                <a:close/>
                <a:moveTo>
                  <a:pt x="5229126" y="1894206"/>
                </a:moveTo>
                <a:cubicBezTo>
                  <a:pt x="5244012" y="1894206"/>
                  <a:pt x="5256358" y="1906552"/>
                  <a:pt x="5256358" y="1921438"/>
                </a:cubicBezTo>
                <a:cubicBezTo>
                  <a:pt x="5256358" y="1936323"/>
                  <a:pt x="5244374" y="1948670"/>
                  <a:pt x="5229126" y="1948670"/>
                </a:cubicBezTo>
                <a:cubicBezTo>
                  <a:pt x="5214237" y="1948670"/>
                  <a:pt x="5201894" y="1936323"/>
                  <a:pt x="5201894" y="1921438"/>
                </a:cubicBezTo>
                <a:cubicBezTo>
                  <a:pt x="5201894" y="1906552"/>
                  <a:pt x="5214237" y="1894206"/>
                  <a:pt x="5229126" y="1894206"/>
                </a:cubicBezTo>
                <a:close/>
                <a:moveTo>
                  <a:pt x="5383074" y="1891301"/>
                </a:moveTo>
                <a:cubicBezTo>
                  <a:pt x="5399518" y="1891301"/>
                  <a:pt x="5412848" y="1904631"/>
                  <a:pt x="5412848" y="1921072"/>
                </a:cubicBezTo>
                <a:cubicBezTo>
                  <a:pt x="5412848" y="1937517"/>
                  <a:pt x="5399518" y="1950847"/>
                  <a:pt x="5383074" y="1950847"/>
                </a:cubicBezTo>
                <a:cubicBezTo>
                  <a:pt x="5366633" y="1950847"/>
                  <a:pt x="5353303" y="1937517"/>
                  <a:pt x="5353303" y="1921072"/>
                </a:cubicBezTo>
                <a:cubicBezTo>
                  <a:pt x="5353303" y="1904631"/>
                  <a:pt x="5366633" y="1891301"/>
                  <a:pt x="5383074" y="1891301"/>
                </a:cubicBezTo>
                <a:close/>
                <a:moveTo>
                  <a:pt x="5536659" y="1889121"/>
                </a:moveTo>
                <a:cubicBezTo>
                  <a:pt x="5554450" y="1889121"/>
                  <a:pt x="5568610" y="1903282"/>
                  <a:pt x="5568610" y="1921072"/>
                </a:cubicBezTo>
                <a:cubicBezTo>
                  <a:pt x="5568610" y="1938862"/>
                  <a:pt x="5554450" y="1953023"/>
                  <a:pt x="5536659" y="1953023"/>
                </a:cubicBezTo>
                <a:cubicBezTo>
                  <a:pt x="5518865" y="1953023"/>
                  <a:pt x="5504708" y="1938862"/>
                  <a:pt x="5504708" y="1921072"/>
                </a:cubicBezTo>
                <a:cubicBezTo>
                  <a:pt x="5504708" y="1903282"/>
                  <a:pt x="5518865" y="1889121"/>
                  <a:pt x="5536659" y="1889121"/>
                </a:cubicBezTo>
                <a:close/>
                <a:moveTo>
                  <a:pt x="5690606" y="1887306"/>
                </a:moveTo>
                <a:cubicBezTo>
                  <a:pt x="5709258" y="1887306"/>
                  <a:pt x="5724376" y="1902424"/>
                  <a:pt x="5724376" y="1921072"/>
                </a:cubicBezTo>
                <a:cubicBezTo>
                  <a:pt x="5724376" y="1939724"/>
                  <a:pt x="5709258" y="1954842"/>
                  <a:pt x="5690606" y="1954842"/>
                </a:cubicBezTo>
                <a:cubicBezTo>
                  <a:pt x="5671958" y="1954842"/>
                  <a:pt x="5656840" y="1939724"/>
                  <a:pt x="5656840" y="1921072"/>
                </a:cubicBezTo>
                <a:cubicBezTo>
                  <a:pt x="5656840" y="1902424"/>
                  <a:pt x="5671958" y="1887306"/>
                  <a:pt x="5690606" y="1887306"/>
                </a:cubicBezTo>
                <a:close/>
                <a:moveTo>
                  <a:pt x="5844554" y="1884764"/>
                </a:moveTo>
                <a:cubicBezTo>
                  <a:pt x="5864524" y="1884764"/>
                  <a:pt x="5880862" y="1901101"/>
                  <a:pt x="5880862" y="1921072"/>
                </a:cubicBezTo>
                <a:cubicBezTo>
                  <a:pt x="5880862" y="1941043"/>
                  <a:pt x="5864524" y="1957380"/>
                  <a:pt x="5844554" y="1957380"/>
                </a:cubicBezTo>
                <a:cubicBezTo>
                  <a:pt x="5824584" y="1957380"/>
                  <a:pt x="5808246" y="1941043"/>
                  <a:pt x="5808246" y="1921072"/>
                </a:cubicBezTo>
                <a:cubicBezTo>
                  <a:pt x="5808246" y="1901101"/>
                  <a:pt x="5824584" y="1884764"/>
                  <a:pt x="5844554" y="1884764"/>
                </a:cubicBezTo>
                <a:close/>
                <a:moveTo>
                  <a:pt x="5998139" y="1882225"/>
                </a:moveTo>
                <a:cubicBezTo>
                  <a:pt x="6019562" y="1882225"/>
                  <a:pt x="6036990" y="1899653"/>
                  <a:pt x="6036990" y="1921076"/>
                </a:cubicBezTo>
                <a:cubicBezTo>
                  <a:pt x="6036990" y="1942495"/>
                  <a:pt x="6019562" y="1959923"/>
                  <a:pt x="5998139" y="1959923"/>
                </a:cubicBezTo>
                <a:cubicBezTo>
                  <a:pt x="5976716" y="1959923"/>
                  <a:pt x="5959288" y="1942495"/>
                  <a:pt x="5959288" y="1921076"/>
                </a:cubicBezTo>
                <a:cubicBezTo>
                  <a:pt x="5959288" y="1899653"/>
                  <a:pt x="5976716" y="1882225"/>
                  <a:pt x="5998139" y="1882225"/>
                </a:cubicBezTo>
                <a:close/>
                <a:moveTo>
                  <a:pt x="6152083" y="1880045"/>
                </a:moveTo>
                <a:cubicBezTo>
                  <a:pt x="6174958" y="1880045"/>
                  <a:pt x="6193114" y="1898200"/>
                  <a:pt x="6193114" y="1921072"/>
                </a:cubicBezTo>
                <a:cubicBezTo>
                  <a:pt x="6193114" y="1943947"/>
                  <a:pt x="6174596" y="1962103"/>
                  <a:pt x="6152083" y="1962103"/>
                </a:cubicBezTo>
                <a:cubicBezTo>
                  <a:pt x="6129212" y="1962103"/>
                  <a:pt x="6111056" y="1943947"/>
                  <a:pt x="6111056" y="1921072"/>
                </a:cubicBezTo>
                <a:cubicBezTo>
                  <a:pt x="6111056" y="1898200"/>
                  <a:pt x="6129212" y="1880045"/>
                  <a:pt x="6152083" y="1880045"/>
                </a:cubicBezTo>
                <a:close/>
                <a:moveTo>
                  <a:pt x="6305668" y="1877502"/>
                </a:moveTo>
                <a:cubicBezTo>
                  <a:pt x="6329630" y="1877502"/>
                  <a:pt x="6349238" y="1897110"/>
                  <a:pt x="6349238" y="1921072"/>
                </a:cubicBezTo>
                <a:cubicBezTo>
                  <a:pt x="6349238" y="1945037"/>
                  <a:pt x="6329630" y="1964642"/>
                  <a:pt x="6305668" y="1964642"/>
                </a:cubicBezTo>
                <a:cubicBezTo>
                  <a:pt x="6281702" y="1964642"/>
                  <a:pt x="6262098" y="1945037"/>
                  <a:pt x="6262098" y="1921072"/>
                </a:cubicBezTo>
                <a:cubicBezTo>
                  <a:pt x="6262098" y="1897110"/>
                  <a:pt x="6281702" y="1877502"/>
                  <a:pt x="6305668" y="1877502"/>
                </a:cubicBezTo>
                <a:close/>
                <a:moveTo>
                  <a:pt x="6459616" y="1874959"/>
                </a:moveTo>
                <a:cubicBezTo>
                  <a:pt x="6485033" y="1874959"/>
                  <a:pt x="6505728" y="1895654"/>
                  <a:pt x="6505728" y="1921072"/>
                </a:cubicBezTo>
                <a:cubicBezTo>
                  <a:pt x="6505728" y="1946486"/>
                  <a:pt x="6485033" y="1967184"/>
                  <a:pt x="6459616" y="1967184"/>
                </a:cubicBezTo>
                <a:cubicBezTo>
                  <a:pt x="6434198" y="1967184"/>
                  <a:pt x="6413503" y="1946486"/>
                  <a:pt x="6413503" y="1921072"/>
                </a:cubicBezTo>
                <a:cubicBezTo>
                  <a:pt x="6413503" y="1895654"/>
                  <a:pt x="6434198" y="1874959"/>
                  <a:pt x="6459616" y="1874959"/>
                </a:cubicBezTo>
                <a:close/>
                <a:moveTo>
                  <a:pt x="6613200" y="1872421"/>
                </a:moveTo>
                <a:cubicBezTo>
                  <a:pt x="6640071" y="1872421"/>
                  <a:pt x="6661856" y="1894206"/>
                  <a:pt x="6661856" y="1921076"/>
                </a:cubicBezTo>
                <a:cubicBezTo>
                  <a:pt x="6661856" y="1947942"/>
                  <a:pt x="6640071" y="1969727"/>
                  <a:pt x="6613200" y="1969727"/>
                </a:cubicBezTo>
                <a:cubicBezTo>
                  <a:pt x="6586334" y="1969727"/>
                  <a:pt x="6564550" y="1947942"/>
                  <a:pt x="6564550" y="1921076"/>
                </a:cubicBezTo>
                <a:cubicBezTo>
                  <a:pt x="6564550" y="1894206"/>
                  <a:pt x="6586334" y="1872421"/>
                  <a:pt x="6613200" y="1872421"/>
                </a:cubicBezTo>
                <a:close/>
                <a:moveTo>
                  <a:pt x="2461340" y="1767125"/>
                </a:moveTo>
                <a:cubicBezTo>
                  <a:pt x="2461702" y="1767125"/>
                  <a:pt x="2461702" y="1767125"/>
                  <a:pt x="2461702" y="1767487"/>
                </a:cubicBezTo>
                <a:cubicBezTo>
                  <a:pt x="2461702" y="1767853"/>
                  <a:pt x="2461340" y="1767853"/>
                  <a:pt x="2461340" y="1767853"/>
                </a:cubicBezTo>
                <a:cubicBezTo>
                  <a:pt x="2460978" y="1767853"/>
                  <a:pt x="2460978" y="1767853"/>
                  <a:pt x="2460978" y="1767487"/>
                </a:cubicBezTo>
                <a:cubicBezTo>
                  <a:pt x="2460978" y="1767125"/>
                  <a:pt x="2460978" y="1767125"/>
                  <a:pt x="2461340" y="1767125"/>
                </a:cubicBezTo>
                <a:close/>
                <a:moveTo>
                  <a:pt x="1999860" y="1767125"/>
                </a:moveTo>
                <a:cubicBezTo>
                  <a:pt x="2000222" y="1767125"/>
                  <a:pt x="2000222" y="1767125"/>
                  <a:pt x="2000222" y="1767487"/>
                </a:cubicBezTo>
                <a:cubicBezTo>
                  <a:pt x="2000222" y="1767853"/>
                  <a:pt x="1999860" y="1767853"/>
                  <a:pt x="1999860" y="1767853"/>
                </a:cubicBezTo>
                <a:cubicBezTo>
                  <a:pt x="1999498" y="1767853"/>
                  <a:pt x="1999498" y="1767853"/>
                  <a:pt x="1999498" y="1767487"/>
                </a:cubicBezTo>
                <a:cubicBezTo>
                  <a:pt x="1999498" y="1767125"/>
                  <a:pt x="1999498" y="1767125"/>
                  <a:pt x="1999860" y="1767125"/>
                </a:cubicBezTo>
                <a:close/>
                <a:moveTo>
                  <a:pt x="1846279" y="1767125"/>
                </a:moveTo>
                <a:cubicBezTo>
                  <a:pt x="1846641" y="1767125"/>
                  <a:pt x="1846641" y="1767125"/>
                  <a:pt x="1846641" y="1767487"/>
                </a:cubicBezTo>
                <a:cubicBezTo>
                  <a:pt x="1846641" y="1767853"/>
                  <a:pt x="1846279" y="1767853"/>
                  <a:pt x="1846279" y="1767853"/>
                </a:cubicBezTo>
                <a:cubicBezTo>
                  <a:pt x="1845917" y="1767853"/>
                  <a:pt x="1845917" y="1767853"/>
                  <a:pt x="1845917" y="1767487"/>
                </a:cubicBezTo>
                <a:cubicBezTo>
                  <a:pt x="1845917" y="1767125"/>
                  <a:pt x="1845917" y="1767125"/>
                  <a:pt x="1846279" y="1767125"/>
                </a:cubicBezTo>
                <a:close/>
                <a:moveTo>
                  <a:pt x="1692328" y="1766762"/>
                </a:moveTo>
                <a:cubicBezTo>
                  <a:pt x="1692694" y="1766762"/>
                  <a:pt x="1693056" y="1767125"/>
                  <a:pt x="1693056" y="1767491"/>
                </a:cubicBezTo>
                <a:cubicBezTo>
                  <a:pt x="1693056" y="1767853"/>
                  <a:pt x="1692328" y="1768215"/>
                  <a:pt x="1692328" y="1768215"/>
                </a:cubicBezTo>
                <a:cubicBezTo>
                  <a:pt x="1691965" y="1768215"/>
                  <a:pt x="1691603" y="1767853"/>
                  <a:pt x="1691603" y="1767491"/>
                </a:cubicBezTo>
                <a:cubicBezTo>
                  <a:pt x="1691603" y="1767125"/>
                  <a:pt x="1691965" y="1766762"/>
                  <a:pt x="1692328" y="1766762"/>
                </a:cubicBezTo>
                <a:close/>
                <a:moveTo>
                  <a:pt x="2614925" y="1765672"/>
                </a:moveTo>
                <a:cubicBezTo>
                  <a:pt x="2615650" y="1765672"/>
                  <a:pt x="2616378" y="1766400"/>
                  <a:pt x="2616378" y="1767125"/>
                </a:cubicBezTo>
                <a:cubicBezTo>
                  <a:pt x="2616378" y="1767849"/>
                  <a:pt x="2614925" y="1768577"/>
                  <a:pt x="2614925" y="1768577"/>
                </a:cubicBezTo>
                <a:cubicBezTo>
                  <a:pt x="2614197" y="1768577"/>
                  <a:pt x="2613473" y="1767849"/>
                  <a:pt x="2613473" y="1767125"/>
                </a:cubicBezTo>
                <a:cubicBezTo>
                  <a:pt x="2613473" y="1766400"/>
                  <a:pt x="2614197" y="1765672"/>
                  <a:pt x="2614925" y="1765672"/>
                </a:cubicBezTo>
                <a:close/>
                <a:moveTo>
                  <a:pt x="2768873" y="1765310"/>
                </a:moveTo>
                <a:cubicBezTo>
                  <a:pt x="2769963" y="1765310"/>
                  <a:pt x="2771049" y="1766400"/>
                  <a:pt x="2771049" y="1767491"/>
                </a:cubicBezTo>
                <a:cubicBezTo>
                  <a:pt x="2771049" y="1768577"/>
                  <a:pt x="2768873" y="1769667"/>
                  <a:pt x="2768873" y="1769667"/>
                </a:cubicBezTo>
                <a:cubicBezTo>
                  <a:pt x="2767783" y="1769667"/>
                  <a:pt x="2766692" y="1768577"/>
                  <a:pt x="2766692" y="1767491"/>
                </a:cubicBezTo>
                <a:cubicBezTo>
                  <a:pt x="2766692" y="1766400"/>
                  <a:pt x="2767783" y="1765310"/>
                  <a:pt x="2768873" y="1765310"/>
                </a:cubicBezTo>
                <a:close/>
                <a:moveTo>
                  <a:pt x="2922454" y="1764220"/>
                </a:moveTo>
                <a:cubicBezTo>
                  <a:pt x="2924272" y="1764220"/>
                  <a:pt x="2925721" y="1765672"/>
                  <a:pt x="2925721" y="1767487"/>
                </a:cubicBezTo>
                <a:cubicBezTo>
                  <a:pt x="2925721" y="1769301"/>
                  <a:pt x="2924272" y="1770757"/>
                  <a:pt x="2922454" y="1770757"/>
                </a:cubicBezTo>
                <a:cubicBezTo>
                  <a:pt x="2920640" y="1770757"/>
                  <a:pt x="2919188" y="1769301"/>
                  <a:pt x="2919188" y="1767487"/>
                </a:cubicBezTo>
                <a:cubicBezTo>
                  <a:pt x="2919188" y="1765672"/>
                  <a:pt x="2920640" y="1764220"/>
                  <a:pt x="2922454" y="1764220"/>
                </a:cubicBezTo>
                <a:close/>
                <a:moveTo>
                  <a:pt x="3076406" y="1763134"/>
                </a:moveTo>
                <a:cubicBezTo>
                  <a:pt x="3078948" y="1763134"/>
                  <a:pt x="3080762" y="1764948"/>
                  <a:pt x="3080762" y="1767491"/>
                </a:cubicBezTo>
                <a:cubicBezTo>
                  <a:pt x="3080762" y="1770033"/>
                  <a:pt x="3078586" y="1771848"/>
                  <a:pt x="3076406" y="1771848"/>
                </a:cubicBezTo>
                <a:cubicBezTo>
                  <a:pt x="3073863" y="1771848"/>
                  <a:pt x="3072048" y="1770033"/>
                  <a:pt x="3072048" y="1767491"/>
                </a:cubicBezTo>
                <a:cubicBezTo>
                  <a:pt x="3072048" y="1764948"/>
                  <a:pt x="3073863" y="1763134"/>
                  <a:pt x="3076406" y="1763134"/>
                </a:cubicBezTo>
                <a:close/>
                <a:moveTo>
                  <a:pt x="3230353" y="1761681"/>
                </a:moveTo>
                <a:cubicBezTo>
                  <a:pt x="3233620" y="1761681"/>
                  <a:pt x="3236162" y="1764224"/>
                  <a:pt x="3236162" y="1767491"/>
                </a:cubicBezTo>
                <a:cubicBezTo>
                  <a:pt x="3236162" y="1770757"/>
                  <a:pt x="3233620" y="1773300"/>
                  <a:pt x="3230353" y="1773300"/>
                </a:cubicBezTo>
                <a:cubicBezTo>
                  <a:pt x="3227086" y="1773300"/>
                  <a:pt x="3224544" y="1770757"/>
                  <a:pt x="3224544" y="1767491"/>
                </a:cubicBezTo>
                <a:cubicBezTo>
                  <a:pt x="3224544" y="1764224"/>
                  <a:pt x="3227086" y="1761681"/>
                  <a:pt x="3230353" y="1761681"/>
                </a:cubicBezTo>
                <a:close/>
                <a:moveTo>
                  <a:pt x="3383938" y="1760225"/>
                </a:moveTo>
                <a:cubicBezTo>
                  <a:pt x="3387933" y="1760225"/>
                  <a:pt x="3391200" y="1763492"/>
                  <a:pt x="3391200" y="1767487"/>
                </a:cubicBezTo>
                <a:cubicBezTo>
                  <a:pt x="3391200" y="1771481"/>
                  <a:pt x="3387933" y="1774748"/>
                  <a:pt x="3383938" y="1774748"/>
                </a:cubicBezTo>
                <a:cubicBezTo>
                  <a:pt x="3379943" y="1774748"/>
                  <a:pt x="3376676" y="1771481"/>
                  <a:pt x="3376676" y="1767487"/>
                </a:cubicBezTo>
                <a:cubicBezTo>
                  <a:pt x="3376676" y="1763492"/>
                  <a:pt x="3379943" y="1760225"/>
                  <a:pt x="3383938" y="1760225"/>
                </a:cubicBezTo>
                <a:close/>
                <a:moveTo>
                  <a:pt x="3537882" y="1758411"/>
                </a:moveTo>
                <a:cubicBezTo>
                  <a:pt x="3542967" y="1758411"/>
                  <a:pt x="3546962" y="1762405"/>
                  <a:pt x="3546962" y="1767487"/>
                </a:cubicBezTo>
                <a:cubicBezTo>
                  <a:pt x="3546962" y="1772572"/>
                  <a:pt x="3542967" y="1776567"/>
                  <a:pt x="3537882" y="1776567"/>
                </a:cubicBezTo>
                <a:cubicBezTo>
                  <a:pt x="3532800" y="1776567"/>
                  <a:pt x="3528806" y="1772572"/>
                  <a:pt x="3528806" y="1767487"/>
                </a:cubicBezTo>
                <a:cubicBezTo>
                  <a:pt x="3528806" y="1762405"/>
                  <a:pt x="3532800" y="1758411"/>
                  <a:pt x="3537882" y="1758411"/>
                </a:cubicBezTo>
                <a:close/>
                <a:moveTo>
                  <a:pt x="3691467" y="1757324"/>
                </a:moveTo>
                <a:cubicBezTo>
                  <a:pt x="3696914" y="1757324"/>
                  <a:pt x="3701633" y="1762043"/>
                  <a:pt x="3701633" y="1767491"/>
                </a:cubicBezTo>
                <a:cubicBezTo>
                  <a:pt x="3701633" y="1772938"/>
                  <a:pt x="3697276" y="1777657"/>
                  <a:pt x="3691467" y="1777657"/>
                </a:cubicBezTo>
                <a:cubicBezTo>
                  <a:pt x="3686020" y="1777657"/>
                  <a:pt x="3681300" y="1772938"/>
                  <a:pt x="3681300" y="1767491"/>
                </a:cubicBezTo>
                <a:cubicBezTo>
                  <a:pt x="3681300" y="1762043"/>
                  <a:pt x="3686020" y="1757324"/>
                  <a:pt x="3691467" y="1757324"/>
                </a:cubicBezTo>
                <a:close/>
                <a:moveTo>
                  <a:pt x="3845414" y="1755506"/>
                </a:moveTo>
                <a:cubicBezTo>
                  <a:pt x="3851952" y="1755506"/>
                  <a:pt x="3857399" y="1760953"/>
                  <a:pt x="3857399" y="1767487"/>
                </a:cubicBezTo>
                <a:cubicBezTo>
                  <a:pt x="3857399" y="1774024"/>
                  <a:pt x="3851952" y="1779468"/>
                  <a:pt x="3845414" y="1779468"/>
                </a:cubicBezTo>
                <a:cubicBezTo>
                  <a:pt x="3838881" y="1779468"/>
                  <a:pt x="3833434" y="1774024"/>
                  <a:pt x="3833434" y="1767487"/>
                </a:cubicBezTo>
                <a:cubicBezTo>
                  <a:pt x="3833434" y="1760953"/>
                  <a:pt x="3838881" y="1755506"/>
                  <a:pt x="3845414" y="1755506"/>
                </a:cubicBezTo>
                <a:close/>
                <a:moveTo>
                  <a:pt x="3999000" y="1753329"/>
                </a:moveTo>
                <a:cubicBezTo>
                  <a:pt x="4006627" y="1753329"/>
                  <a:pt x="4012799" y="1759501"/>
                  <a:pt x="4012799" y="1767125"/>
                </a:cubicBezTo>
                <a:cubicBezTo>
                  <a:pt x="4012799" y="1774752"/>
                  <a:pt x="4006627" y="1780924"/>
                  <a:pt x="3999000" y="1780924"/>
                </a:cubicBezTo>
                <a:cubicBezTo>
                  <a:pt x="3991376" y="1780924"/>
                  <a:pt x="3985204" y="1774752"/>
                  <a:pt x="3985204" y="1767125"/>
                </a:cubicBezTo>
                <a:cubicBezTo>
                  <a:pt x="3985204" y="1759501"/>
                  <a:pt x="3991376" y="1753329"/>
                  <a:pt x="3999000" y="1753329"/>
                </a:cubicBezTo>
                <a:close/>
                <a:moveTo>
                  <a:pt x="4152947" y="1752239"/>
                </a:moveTo>
                <a:cubicBezTo>
                  <a:pt x="4161372" y="1752239"/>
                  <a:pt x="4168198" y="1759066"/>
                  <a:pt x="4168198" y="1767491"/>
                </a:cubicBezTo>
                <a:cubicBezTo>
                  <a:pt x="4168198" y="1775911"/>
                  <a:pt x="4161372" y="1782738"/>
                  <a:pt x="4152947" y="1782738"/>
                </a:cubicBezTo>
                <a:cubicBezTo>
                  <a:pt x="4144526" y="1782738"/>
                  <a:pt x="4137700" y="1775911"/>
                  <a:pt x="4137700" y="1767491"/>
                </a:cubicBezTo>
                <a:cubicBezTo>
                  <a:pt x="4137700" y="1759066"/>
                  <a:pt x="4144526" y="1752239"/>
                  <a:pt x="4152947" y="1752239"/>
                </a:cubicBezTo>
                <a:close/>
                <a:moveTo>
                  <a:pt x="4306532" y="1750425"/>
                </a:moveTo>
                <a:cubicBezTo>
                  <a:pt x="4315970" y="1750425"/>
                  <a:pt x="4323598" y="1758048"/>
                  <a:pt x="4323598" y="1767491"/>
                </a:cubicBezTo>
                <a:cubicBezTo>
                  <a:pt x="4323598" y="1776929"/>
                  <a:pt x="4315970" y="1784556"/>
                  <a:pt x="4306532" y="1784556"/>
                </a:cubicBezTo>
                <a:cubicBezTo>
                  <a:pt x="4297090" y="1784556"/>
                  <a:pt x="4289466" y="1776929"/>
                  <a:pt x="4289466" y="1767491"/>
                </a:cubicBezTo>
                <a:cubicBezTo>
                  <a:pt x="4289466" y="1758048"/>
                  <a:pt x="4297090" y="1750425"/>
                  <a:pt x="4306532" y="1750425"/>
                </a:cubicBezTo>
                <a:close/>
                <a:moveTo>
                  <a:pt x="4460480" y="1748244"/>
                </a:moveTo>
                <a:cubicBezTo>
                  <a:pt x="4471111" y="1748244"/>
                  <a:pt x="4479726" y="1756859"/>
                  <a:pt x="4479726" y="1767487"/>
                </a:cubicBezTo>
                <a:cubicBezTo>
                  <a:pt x="4479726" y="1778114"/>
                  <a:pt x="4471111" y="1786729"/>
                  <a:pt x="4460480" y="1786729"/>
                </a:cubicBezTo>
                <a:cubicBezTo>
                  <a:pt x="4449852" y="1786729"/>
                  <a:pt x="4441237" y="1778114"/>
                  <a:pt x="4441237" y="1767487"/>
                </a:cubicBezTo>
                <a:cubicBezTo>
                  <a:pt x="4441237" y="1756859"/>
                  <a:pt x="4449852" y="1748244"/>
                  <a:pt x="4460480" y="1748244"/>
                </a:cubicBezTo>
                <a:close/>
                <a:moveTo>
                  <a:pt x="4614065" y="1746068"/>
                </a:moveTo>
                <a:cubicBezTo>
                  <a:pt x="4626046" y="1746068"/>
                  <a:pt x="4635484" y="1755506"/>
                  <a:pt x="4635484" y="1767491"/>
                </a:cubicBezTo>
                <a:cubicBezTo>
                  <a:pt x="4635484" y="1779471"/>
                  <a:pt x="4625684" y="1788913"/>
                  <a:pt x="4614065" y="1788913"/>
                </a:cubicBezTo>
                <a:cubicBezTo>
                  <a:pt x="4602084" y="1788913"/>
                  <a:pt x="4592642" y="1779471"/>
                  <a:pt x="4592642" y="1767491"/>
                </a:cubicBezTo>
                <a:cubicBezTo>
                  <a:pt x="4592642" y="1755506"/>
                  <a:pt x="4602084" y="1746068"/>
                  <a:pt x="4614065" y="1746068"/>
                </a:cubicBezTo>
                <a:close/>
                <a:moveTo>
                  <a:pt x="4768012" y="1744615"/>
                </a:moveTo>
                <a:cubicBezTo>
                  <a:pt x="4780718" y="1744615"/>
                  <a:pt x="4790884" y="1754782"/>
                  <a:pt x="4790884" y="1767491"/>
                </a:cubicBezTo>
                <a:cubicBezTo>
                  <a:pt x="4790884" y="1780196"/>
                  <a:pt x="4780718" y="1790366"/>
                  <a:pt x="4768012" y="1790366"/>
                </a:cubicBezTo>
                <a:cubicBezTo>
                  <a:pt x="4755304" y="1790366"/>
                  <a:pt x="4745137" y="1780196"/>
                  <a:pt x="4745137" y="1767491"/>
                </a:cubicBezTo>
                <a:cubicBezTo>
                  <a:pt x="4745137" y="1754782"/>
                  <a:pt x="4755304" y="1744615"/>
                  <a:pt x="4768012" y="1744615"/>
                </a:cubicBezTo>
                <a:close/>
                <a:moveTo>
                  <a:pt x="4921594" y="1742435"/>
                </a:moveTo>
                <a:cubicBezTo>
                  <a:pt x="4935393" y="1742435"/>
                  <a:pt x="4946650" y="1753691"/>
                  <a:pt x="4946650" y="1767487"/>
                </a:cubicBezTo>
                <a:cubicBezTo>
                  <a:pt x="4946650" y="1781286"/>
                  <a:pt x="4935393" y="1792538"/>
                  <a:pt x="4921594" y="1792538"/>
                </a:cubicBezTo>
                <a:cubicBezTo>
                  <a:pt x="4907798" y="1792538"/>
                  <a:pt x="4896542" y="1781286"/>
                  <a:pt x="4896542" y="1767487"/>
                </a:cubicBezTo>
                <a:cubicBezTo>
                  <a:pt x="4896542" y="1753691"/>
                  <a:pt x="4907798" y="1742435"/>
                  <a:pt x="4921594" y="1742435"/>
                </a:cubicBezTo>
                <a:close/>
                <a:moveTo>
                  <a:pt x="5075545" y="1740258"/>
                </a:moveTo>
                <a:cubicBezTo>
                  <a:pt x="5090430" y="1740258"/>
                  <a:pt x="5102777" y="1752605"/>
                  <a:pt x="5102777" y="1767491"/>
                </a:cubicBezTo>
                <a:cubicBezTo>
                  <a:pt x="5102777" y="1782376"/>
                  <a:pt x="5090792" y="1794723"/>
                  <a:pt x="5075545" y="1794723"/>
                </a:cubicBezTo>
                <a:cubicBezTo>
                  <a:pt x="5060656" y="1794723"/>
                  <a:pt x="5048313" y="1782376"/>
                  <a:pt x="5048313" y="1767491"/>
                </a:cubicBezTo>
                <a:cubicBezTo>
                  <a:pt x="5048313" y="1752605"/>
                  <a:pt x="5060656" y="1740258"/>
                  <a:pt x="5075545" y="1740258"/>
                </a:cubicBezTo>
                <a:close/>
                <a:moveTo>
                  <a:pt x="5229126" y="1737716"/>
                </a:moveTo>
                <a:cubicBezTo>
                  <a:pt x="5245571" y="1737716"/>
                  <a:pt x="5258901" y="1751046"/>
                  <a:pt x="5258901" y="1767491"/>
                </a:cubicBezTo>
                <a:cubicBezTo>
                  <a:pt x="5258901" y="1783931"/>
                  <a:pt x="5245571" y="1797261"/>
                  <a:pt x="5229126" y="1797261"/>
                </a:cubicBezTo>
                <a:cubicBezTo>
                  <a:pt x="5212686" y="1797261"/>
                  <a:pt x="5199356" y="1783931"/>
                  <a:pt x="5199356" y="1767491"/>
                </a:cubicBezTo>
                <a:cubicBezTo>
                  <a:pt x="5199356" y="1751046"/>
                  <a:pt x="5212686" y="1737716"/>
                  <a:pt x="5229126" y="1737716"/>
                </a:cubicBezTo>
                <a:close/>
                <a:moveTo>
                  <a:pt x="5383074" y="1735535"/>
                </a:moveTo>
                <a:cubicBezTo>
                  <a:pt x="5400864" y="1735535"/>
                  <a:pt x="5415025" y="1749697"/>
                  <a:pt x="5415025" y="1767487"/>
                </a:cubicBezTo>
                <a:cubicBezTo>
                  <a:pt x="5415025" y="1785277"/>
                  <a:pt x="5400864" y="1799438"/>
                  <a:pt x="5383074" y="1799438"/>
                </a:cubicBezTo>
                <a:cubicBezTo>
                  <a:pt x="5365284" y="1799438"/>
                  <a:pt x="5351122" y="1785277"/>
                  <a:pt x="5351122" y="1767487"/>
                </a:cubicBezTo>
                <a:cubicBezTo>
                  <a:pt x="5351122" y="1749697"/>
                  <a:pt x="5365284" y="1735535"/>
                  <a:pt x="5383074" y="1735535"/>
                </a:cubicBezTo>
                <a:close/>
                <a:moveTo>
                  <a:pt x="5537025" y="1733721"/>
                </a:moveTo>
                <a:cubicBezTo>
                  <a:pt x="5555673" y="1733721"/>
                  <a:pt x="5570791" y="1748839"/>
                  <a:pt x="5570791" y="1767487"/>
                </a:cubicBezTo>
                <a:cubicBezTo>
                  <a:pt x="5570791" y="1786138"/>
                  <a:pt x="5555673" y="1801256"/>
                  <a:pt x="5537025" y="1801256"/>
                </a:cubicBezTo>
                <a:cubicBezTo>
                  <a:pt x="5518374" y="1801256"/>
                  <a:pt x="5503256" y="1786138"/>
                  <a:pt x="5503256" y="1767487"/>
                </a:cubicBezTo>
                <a:cubicBezTo>
                  <a:pt x="5503256" y="1748839"/>
                  <a:pt x="5518374" y="1733721"/>
                  <a:pt x="5537025" y="1733721"/>
                </a:cubicBezTo>
                <a:close/>
                <a:moveTo>
                  <a:pt x="5690606" y="1731182"/>
                </a:moveTo>
                <a:cubicBezTo>
                  <a:pt x="5710577" y="1731182"/>
                  <a:pt x="5726915" y="1747520"/>
                  <a:pt x="5726915" y="1767491"/>
                </a:cubicBezTo>
                <a:cubicBezTo>
                  <a:pt x="5726915" y="1787461"/>
                  <a:pt x="5710577" y="1803799"/>
                  <a:pt x="5690606" y="1803799"/>
                </a:cubicBezTo>
                <a:cubicBezTo>
                  <a:pt x="5670636" y="1803799"/>
                  <a:pt x="5654298" y="1787461"/>
                  <a:pt x="5654298" y="1767491"/>
                </a:cubicBezTo>
                <a:cubicBezTo>
                  <a:pt x="5654298" y="1747520"/>
                  <a:pt x="5670636" y="1731182"/>
                  <a:pt x="5690606" y="1731182"/>
                </a:cubicBezTo>
                <a:close/>
                <a:moveTo>
                  <a:pt x="5844554" y="1728640"/>
                </a:moveTo>
                <a:cubicBezTo>
                  <a:pt x="5865973" y="1728640"/>
                  <a:pt x="5883405" y="1746068"/>
                  <a:pt x="5883405" y="1767491"/>
                </a:cubicBezTo>
                <a:cubicBezTo>
                  <a:pt x="5883405" y="1788910"/>
                  <a:pt x="5865973" y="1806338"/>
                  <a:pt x="5844554" y="1806338"/>
                </a:cubicBezTo>
                <a:cubicBezTo>
                  <a:pt x="5823131" y="1806338"/>
                  <a:pt x="5805703" y="1788910"/>
                  <a:pt x="5805703" y="1767491"/>
                </a:cubicBezTo>
                <a:cubicBezTo>
                  <a:pt x="5805703" y="1746068"/>
                  <a:pt x="5823131" y="1728640"/>
                  <a:pt x="5844554" y="1728640"/>
                </a:cubicBezTo>
                <a:close/>
                <a:moveTo>
                  <a:pt x="5998136" y="1726459"/>
                </a:moveTo>
                <a:cubicBezTo>
                  <a:pt x="6021010" y="1726459"/>
                  <a:pt x="6039166" y="1744615"/>
                  <a:pt x="6039166" y="1767487"/>
                </a:cubicBezTo>
                <a:cubicBezTo>
                  <a:pt x="6039166" y="1790362"/>
                  <a:pt x="6020648" y="1808518"/>
                  <a:pt x="5998136" y="1808518"/>
                </a:cubicBezTo>
                <a:cubicBezTo>
                  <a:pt x="5975264" y="1808518"/>
                  <a:pt x="5957108" y="1790362"/>
                  <a:pt x="5957108" y="1767487"/>
                </a:cubicBezTo>
                <a:cubicBezTo>
                  <a:pt x="5957108" y="1744615"/>
                  <a:pt x="5975264" y="1726459"/>
                  <a:pt x="5998136" y="1726459"/>
                </a:cubicBezTo>
                <a:close/>
                <a:moveTo>
                  <a:pt x="6152086" y="1723917"/>
                </a:moveTo>
                <a:cubicBezTo>
                  <a:pt x="6176048" y="1723917"/>
                  <a:pt x="6195656" y="1743525"/>
                  <a:pt x="6195656" y="1767487"/>
                </a:cubicBezTo>
                <a:cubicBezTo>
                  <a:pt x="6195656" y="1791452"/>
                  <a:pt x="6176048" y="1811057"/>
                  <a:pt x="6152086" y="1811057"/>
                </a:cubicBezTo>
                <a:cubicBezTo>
                  <a:pt x="6128121" y="1811057"/>
                  <a:pt x="6108516" y="1791452"/>
                  <a:pt x="6108516" y="1767487"/>
                </a:cubicBezTo>
                <a:cubicBezTo>
                  <a:pt x="6108516" y="1743525"/>
                  <a:pt x="6128121" y="1723917"/>
                  <a:pt x="6152086" y="1723917"/>
                </a:cubicBezTo>
                <a:close/>
                <a:moveTo>
                  <a:pt x="6305668" y="1721378"/>
                </a:moveTo>
                <a:cubicBezTo>
                  <a:pt x="6331086" y="1721378"/>
                  <a:pt x="6351777" y="1742073"/>
                  <a:pt x="6351777" y="1767491"/>
                </a:cubicBezTo>
                <a:cubicBezTo>
                  <a:pt x="6351777" y="1792904"/>
                  <a:pt x="6331086" y="1813603"/>
                  <a:pt x="6305668" y="1813603"/>
                </a:cubicBezTo>
                <a:cubicBezTo>
                  <a:pt x="6280250" y="1813603"/>
                  <a:pt x="6259556" y="1792904"/>
                  <a:pt x="6259556" y="1767491"/>
                </a:cubicBezTo>
                <a:cubicBezTo>
                  <a:pt x="6259556" y="1742073"/>
                  <a:pt x="6280250" y="1721378"/>
                  <a:pt x="6305668" y="1721378"/>
                </a:cubicBezTo>
                <a:close/>
                <a:moveTo>
                  <a:pt x="6459619" y="1718835"/>
                </a:moveTo>
                <a:cubicBezTo>
                  <a:pt x="6486486" y="1718835"/>
                  <a:pt x="6508270" y="1740620"/>
                  <a:pt x="6508270" y="1767491"/>
                </a:cubicBezTo>
                <a:cubicBezTo>
                  <a:pt x="6508270" y="1794357"/>
                  <a:pt x="6486486" y="1816142"/>
                  <a:pt x="6459619" y="1816142"/>
                </a:cubicBezTo>
                <a:cubicBezTo>
                  <a:pt x="6432749" y="1816142"/>
                  <a:pt x="6410964" y="1794357"/>
                  <a:pt x="6410964" y="1767491"/>
                </a:cubicBezTo>
                <a:cubicBezTo>
                  <a:pt x="6410964" y="1740620"/>
                  <a:pt x="6432749" y="1718835"/>
                  <a:pt x="6459619" y="1718835"/>
                </a:cubicBezTo>
                <a:close/>
                <a:moveTo>
                  <a:pt x="6613200" y="1716293"/>
                </a:moveTo>
                <a:cubicBezTo>
                  <a:pt x="6641523" y="1716293"/>
                  <a:pt x="6664398" y="1739168"/>
                  <a:pt x="6664398" y="1767487"/>
                </a:cubicBezTo>
                <a:cubicBezTo>
                  <a:pt x="6664398" y="1795809"/>
                  <a:pt x="6641523" y="1818681"/>
                  <a:pt x="6613200" y="1818681"/>
                </a:cubicBezTo>
                <a:cubicBezTo>
                  <a:pt x="6584882" y="1818681"/>
                  <a:pt x="6562007" y="1795809"/>
                  <a:pt x="6562007" y="1767487"/>
                </a:cubicBezTo>
                <a:cubicBezTo>
                  <a:pt x="6562007" y="1739168"/>
                  <a:pt x="6584882" y="1716293"/>
                  <a:pt x="6613200" y="1716293"/>
                </a:cubicBezTo>
                <a:close/>
                <a:moveTo>
                  <a:pt x="2307393" y="1613539"/>
                </a:moveTo>
                <a:cubicBezTo>
                  <a:pt x="2307755" y="1613539"/>
                  <a:pt x="2307755" y="1613539"/>
                  <a:pt x="2307755" y="1613901"/>
                </a:cubicBezTo>
                <a:cubicBezTo>
                  <a:pt x="2307755" y="1614267"/>
                  <a:pt x="2307393" y="1614267"/>
                  <a:pt x="2307393" y="1614267"/>
                </a:cubicBezTo>
                <a:cubicBezTo>
                  <a:pt x="2307031" y="1614267"/>
                  <a:pt x="2307031" y="1614267"/>
                  <a:pt x="2307031" y="1613901"/>
                </a:cubicBezTo>
                <a:cubicBezTo>
                  <a:pt x="2307031" y="1613539"/>
                  <a:pt x="2307031" y="1613539"/>
                  <a:pt x="2307393" y="1613539"/>
                </a:cubicBezTo>
                <a:close/>
                <a:moveTo>
                  <a:pt x="1846279" y="1613539"/>
                </a:moveTo>
                <a:cubicBezTo>
                  <a:pt x="1846641" y="1613539"/>
                  <a:pt x="1846641" y="1613539"/>
                  <a:pt x="1846641" y="1613901"/>
                </a:cubicBezTo>
                <a:cubicBezTo>
                  <a:pt x="1846641" y="1614267"/>
                  <a:pt x="1846279" y="1614267"/>
                  <a:pt x="1846279" y="1614267"/>
                </a:cubicBezTo>
                <a:cubicBezTo>
                  <a:pt x="1845917" y="1614267"/>
                  <a:pt x="1845917" y="1614267"/>
                  <a:pt x="1845917" y="1613901"/>
                </a:cubicBezTo>
                <a:cubicBezTo>
                  <a:pt x="1845917" y="1613539"/>
                  <a:pt x="1845917" y="1613539"/>
                  <a:pt x="1846279" y="1613539"/>
                </a:cubicBezTo>
                <a:close/>
                <a:moveTo>
                  <a:pt x="1692331" y="1613539"/>
                </a:moveTo>
                <a:cubicBezTo>
                  <a:pt x="1692694" y="1613539"/>
                  <a:pt x="1692694" y="1613539"/>
                  <a:pt x="1692694" y="1613901"/>
                </a:cubicBezTo>
                <a:cubicBezTo>
                  <a:pt x="1692694" y="1614267"/>
                  <a:pt x="1692331" y="1614267"/>
                  <a:pt x="1692331" y="1614267"/>
                </a:cubicBezTo>
                <a:cubicBezTo>
                  <a:pt x="1691969" y="1614267"/>
                  <a:pt x="1691969" y="1614267"/>
                  <a:pt x="1691969" y="1613901"/>
                </a:cubicBezTo>
                <a:cubicBezTo>
                  <a:pt x="1691969" y="1613539"/>
                  <a:pt x="1691969" y="1613539"/>
                  <a:pt x="1692331" y="1613539"/>
                </a:cubicBezTo>
                <a:close/>
                <a:moveTo>
                  <a:pt x="1538746" y="1613177"/>
                </a:moveTo>
                <a:cubicBezTo>
                  <a:pt x="1539108" y="1613177"/>
                  <a:pt x="1539470" y="1613539"/>
                  <a:pt x="1539470" y="1613905"/>
                </a:cubicBezTo>
                <a:cubicBezTo>
                  <a:pt x="1539470" y="1614267"/>
                  <a:pt x="1538746" y="1614630"/>
                  <a:pt x="1538746" y="1614630"/>
                </a:cubicBezTo>
                <a:cubicBezTo>
                  <a:pt x="1538380" y="1614630"/>
                  <a:pt x="1538018" y="1614267"/>
                  <a:pt x="1538018" y="1613905"/>
                </a:cubicBezTo>
                <a:cubicBezTo>
                  <a:pt x="1538018" y="1613539"/>
                  <a:pt x="1538380" y="1613177"/>
                  <a:pt x="1538746" y="1613177"/>
                </a:cubicBezTo>
                <a:close/>
                <a:moveTo>
                  <a:pt x="2461340" y="1612091"/>
                </a:moveTo>
                <a:cubicBezTo>
                  <a:pt x="2462064" y="1612091"/>
                  <a:pt x="2462793" y="1612815"/>
                  <a:pt x="2462793" y="1613543"/>
                </a:cubicBezTo>
                <a:cubicBezTo>
                  <a:pt x="2462793" y="1614267"/>
                  <a:pt x="2461340" y="1614995"/>
                  <a:pt x="2461340" y="1614995"/>
                </a:cubicBezTo>
                <a:cubicBezTo>
                  <a:pt x="2460612" y="1614995"/>
                  <a:pt x="2459888" y="1614267"/>
                  <a:pt x="2459888" y="1613543"/>
                </a:cubicBezTo>
                <a:cubicBezTo>
                  <a:pt x="2459888" y="1612815"/>
                  <a:pt x="2460612" y="1612091"/>
                  <a:pt x="2461340" y="1612091"/>
                </a:cubicBezTo>
                <a:close/>
                <a:moveTo>
                  <a:pt x="2614922" y="1611363"/>
                </a:moveTo>
                <a:cubicBezTo>
                  <a:pt x="2616012" y="1611363"/>
                  <a:pt x="2617102" y="1612453"/>
                  <a:pt x="2617102" y="1613539"/>
                </a:cubicBezTo>
                <a:cubicBezTo>
                  <a:pt x="2617102" y="1614630"/>
                  <a:pt x="2614922" y="1615720"/>
                  <a:pt x="2614922" y="1615720"/>
                </a:cubicBezTo>
                <a:cubicBezTo>
                  <a:pt x="2613835" y="1615720"/>
                  <a:pt x="2612745" y="1614630"/>
                  <a:pt x="2612745" y="1613539"/>
                </a:cubicBezTo>
                <a:cubicBezTo>
                  <a:pt x="2612745" y="1612453"/>
                  <a:pt x="2613835" y="1611363"/>
                  <a:pt x="2614922" y="1611363"/>
                </a:cubicBezTo>
                <a:close/>
                <a:moveTo>
                  <a:pt x="2768877" y="1610638"/>
                </a:moveTo>
                <a:cubicBezTo>
                  <a:pt x="2770691" y="1610638"/>
                  <a:pt x="2772144" y="1612091"/>
                  <a:pt x="2772144" y="1613905"/>
                </a:cubicBezTo>
                <a:cubicBezTo>
                  <a:pt x="2772144" y="1615720"/>
                  <a:pt x="2770691" y="1617176"/>
                  <a:pt x="2768877" y="1617176"/>
                </a:cubicBezTo>
                <a:cubicBezTo>
                  <a:pt x="2767058" y="1617176"/>
                  <a:pt x="2765606" y="1615720"/>
                  <a:pt x="2765606" y="1613905"/>
                </a:cubicBezTo>
                <a:cubicBezTo>
                  <a:pt x="2765606" y="1612091"/>
                  <a:pt x="2767058" y="1610638"/>
                  <a:pt x="2768877" y="1610638"/>
                </a:cubicBezTo>
                <a:close/>
                <a:moveTo>
                  <a:pt x="2922458" y="1609182"/>
                </a:moveTo>
                <a:cubicBezTo>
                  <a:pt x="2925000" y="1609182"/>
                  <a:pt x="2926815" y="1610997"/>
                  <a:pt x="2926815" y="1613539"/>
                </a:cubicBezTo>
                <a:cubicBezTo>
                  <a:pt x="2926815" y="1616082"/>
                  <a:pt x="2924635" y="1617896"/>
                  <a:pt x="2922458" y="1617896"/>
                </a:cubicBezTo>
                <a:cubicBezTo>
                  <a:pt x="2919916" y="1617896"/>
                  <a:pt x="2918101" y="1616082"/>
                  <a:pt x="2918101" y="1613539"/>
                </a:cubicBezTo>
                <a:cubicBezTo>
                  <a:pt x="2918101" y="1610997"/>
                  <a:pt x="2919916" y="1609182"/>
                  <a:pt x="2922458" y="1609182"/>
                </a:cubicBezTo>
                <a:close/>
                <a:moveTo>
                  <a:pt x="3076406" y="1608096"/>
                </a:moveTo>
                <a:cubicBezTo>
                  <a:pt x="3079672" y="1608096"/>
                  <a:pt x="3082215" y="1610638"/>
                  <a:pt x="3082215" y="1613905"/>
                </a:cubicBezTo>
                <a:cubicBezTo>
                  <a:pt x="3082215" y="1617172"/>
                  <a:pt x="3079672" y="1619715"/>
                  <a:pt x="3076406" y="1619715"/>
                </a:cubicBezTo>
                <a:cubicBezTo>
                  <a:pt x="3073139" y="1619715"/>
                  <a:pt x="3070596" y="1617172"/>
                  <a:pt x="3070596" y="1613905"/>
                </a:cubicBezTo>
                <a:cubicBezTo>
                  <a:pt x="3070596" y="1610638"/>
                  <a:pt x="3073139" y="1608096"/>
                  <a:pt x="3076406" y="1608096"/>
                </a:cubicBezTo>
                <a:close/>
                <a:moveTo>
                  <a:pt x="3230353" y="1606281"/>
                </a:moveTo>
                <a:cubicBezTo>
                  <a:pt x="3234348" y="1606281"/>
                  <a:pt x="3237614" y="1609548"/>
                  <a:pt x="3237614" y="1613543"/>
                </a:cubicBezTo>
                <a:cubicBezTo>
                  <a:pt x="3237614" y="1617538"/>
                  <a:pt x="3234348" y="1620805"/>
                  <a:pt x="3230353" y="1620805"/>
                </a:cubicBezTo>
                <a:cubicBezTo>
                  <a:pt x="3226358" y="1620805"/>
                  <a:pt x="3223091" y="1617538"/>
                  <a:pt x="3223091" y="1613543"/>
                </a:cubicBezTo>
                <a:cubicBezTo>
                  <a:pt x="3223091" y="1609548"/>
                  <a:pt x="3226358" y="1606281"/>
                  <a:pt x="3230353" y="1606281"/>
                </a:cubicBezTo>
                <a:close/>
                <a:moveTo>
                  <a:pt x="3383934" y="1604463"/>
                </a:moveTo>
                <a:cubicBezTo>
                  <a:pt x="3389019" y="1604463"/>
                  <a:pt x="3393014" y="1608458"/>
                  <a:pt x="3393014" y="1613539"/>
                </a:cubicBezTo>
                <a:cubicBezTo>
                  <a:pt x="3393014" y="1618624"/>
                  <a:pt x="3389019" y="1622619"/>
                  <a:pt x="3383934" y="1622619"/>
                </a:cubicBezTo>
                <a:cubicBezTo>
                  <a:pt x="3378853" y="1622619"/>
                  <a:pt x="3374858" y="1618624"/>
                  <a:pt x="3374858" y="1613539"/>
                </a:cubicBezTo>
                <a:cubicBezTo>
                  <a:pt x="3374858" y="1608458"/>
                  <a:pt x="3378853" y="1604463"/>
                  <a:pt x="3383934" y="1604463"/>
                </a:cubicBezTo>
                <a:close/>
                <a:moveTo>
                  <a:pt x="3537886" y="1603739"/>
                </a:moveTo>
                <a:cubicBezTo>
                  <a:pt x="3543333" y="1603739"/>
                  <a:pt x="3548052" y="1608458"/>
                  <a:pt x="3548052" y="1613905"/>
                </a:cubicBezTo>
                <a:cubicBezTo>
                  <a:pt x="3548052" y="1619352"/>
                  <a:pt x="3543695" y="1624072"/>
                  <a:pt x="3537886" y="1624072"/>
                </a:cubicBezTo>
                <a:cubicBezTo>
                  <a:pt x="3532438" y="1624072"/>
                  <a:pt x="3527719" y="1619352"/>
                  <a:pt x="3527719" y="1613905"/>
                </a:cubicBezTo>
                <a:cubicBezTo>
                  <a:pt x="3527719" y="1608458"/>
                  <a:pt x="3532438" y="1603739"/>
                  <a:pt x="3537886" y="1603739"/>
                </a:cubicBezTo>
                <a:close/>
                <a:moveTo>
                  <a:pt x="3691467" y="1601559"/>
                </a:moveTo>
                <a:cubicBezTo>
                  <a:pt x="3698004" y="1601559"/>
                  <a:pt x="3703452" y="1607006"/>
                  <a:pt x="3703452" y="1613539"/>
                </a:cubicBezTo>
                <a:cubicBezTo>
                  <a:pt x="3703452" y="1620077"/>
                  <a:pt x="3698004" y="1625520"/>
                  <a:pt x="3691467" y="1625520"/>
                </a:cubicBezTo>
                <a:cubicBezTo>
                  <a:pt x="3684933" y="1625520"/>
                  <a:pt x="3679486" y="1620077"/>
                  <a:pt x="3679486" y="1613539"/>
                </a:cubicBezTo>
                <a:cubicBezTo>
                  <a:pt x="3679486" y="1607006"/>
                  <a:pt x="3684933" y="1601559"/>
                  <a:pt x="3691467" y="1601559"/>
                </a:cubicBezTo>
                <a:close/>
                <a:moveTo>
                  <a:pt x="3845418" y="1599744"/>
                </a:moveTo>
                <a:cubicBezTo>
                  <a:pt x="3853042" y="1599744"/>
                  <a:pt x="3859214" y="1605916"/>
                  <a:pt x="3859214" y="1613539"/>
                </a:cubicBezTo>
                <a:cubicBezTo>
                  <a:pt x="3859214" y="1621167"/>
                  <a:pt x="3853042" y="1627338"/>
                  <a:pt x="3845418" y="1627338"/>
                </a:cubicBezTo>
                <a:cubicBezTo>
                  <a:pt x="3837790" y="1627338"/>
                  <a:pt x="3831619" y="1621167"/>
                  <a:pt x="3831619" y="1613539"/>
                </a:cubicBezTo>
                <a:cubicBezTo>
                  <a:pt x="3831619" y="1605916"/>
                  <a:pt x="3837790" y="1599744"/>
                  <a:pt x="3845418" y="1599744"/>
                </a:cubicBezTo>
                <a:close/>
                <a:moveTo>
                  <a:pt x="3999000" y="1598654"/>
                </a:moveTo>
                <a:cubicBezTo>
                  <a:pt x="4007352" y="1598654"/>
                  <a:pt x="4014251" y="1605553"/>
                  <a:pt x="4014251" y="1613905"/>
                </a:cubicBezTo>
                <a:cubicBezTo>
                  <a:pt x="4014251" y="1622253"/>
                  <a:pt x="4007352" y="1629153"/>
                  <a:pt x="3999000" y="1629153"/>
                </a:cubicBezTo>
                <a:cubicBezTo>
                  <a:pt x="3990652" y="1629153"/>
                  <a:pt x="3983752" y="1622253"/>
                  <a:pt x="3983752" y="1613905"/>
                </a:cubicBezTo>
                <a:cubicBezTo>
                  <a:pt x="3983752" y="1605553"/>
                  <a:pt x="3990652" y="1598654"/>
                  <a:pt x="3999000" y="1598654"/>
                </a:cubicBezTo>
                <a:close/>
                <a:moveTo>
                  <a:pt x="4152947" y="1596477"/>
                </a:moveTo>
                <a:cubicBezTo>
                  <a:pt x="4162386" y="1596477"/>
                  <a:pt x="4170013" y="1604101"/>
                  <a:pt x="4170013" y="1613543"/>
                </a:cubicBezTo>
                <a:cubicBezTo>
                  <a:pt x="4170013" y="1622981"/>
                  <a:pt x="4162386" y="1630605"/>
                  <a:pt x="4152947" y="1630605"/>
                </a:cubicBezTo>
                <a:cubicBezTo>
                  <a:pt x="4143505" y="1630605"/>
                  <a:pt x="4135881" y="1622981"/>
                  <a:pt x="4135881" y="1613543"/>
                </a:cubicBezTo>
                <a:cubicBezTo>
                  <a:pt x="4135881" y="1604101"/>
                  <a:pt x="4143505" y="1596477"/>
                  <a:pt x="4152947" y="1596477"/>
                </a:cubicBezTo>
                <a:close/>
                <a:moveTo>
                  <a:pt x="4306528" y="1594297"/>
                </a:moveTo>
                <a:cubicBezTo>
                  <a:pt x="4317060" y="1594297"/>
                  <a:pt x="4325771" y="1603011"/>
                  <a:pt x="4325771" y="1613539"/>
                </a:cubicBezTo>
                <a:cubicBezTo>
                  <a:pt x="4325771" y="1624068"/>
                  <a:pt x="4317060" y="1632786"/>
                  <a:pt x="4306528" y="1632786"/>
                </a:cubicBezTo>
                <a:cubicBezTo>
                  <a:pt x="4296000" y="1632786"/>
                  <a:pt x="4287286" y="1624068"/>
                  <a:pt x="4287286" y="1613539"/>
                </a:cubicBezTo>
                <a:cubicBezTo>
                  <a:pt x="4287286" y="1603011"/>
                  <a:pt x="4296000" y="1594297"/>
                  <a:pt x="4306528" y="1594297"/>
                </a:cubicBezTo>
                <a:close/>
                <a:moveTo>
                  <a:pt x="4460480" y="1592120"/>
                </a:moveTo>
                <a:cubicBezTo>
                  <a:pt x="4472460" y="1592120"/>
                  <a:pt x="4481898" y="1601562"/>
                  <a:pt x="4481898" y="1613543"/>
                </a:cubicBezTo>
                <a:cubicBezTo>
                  <a:pt x="4481898" y="1625524"/>
                  <a:pt x="4472094" y="1634966"/>
                  <a:pt x="4460480" y="1634966"/>
                </a:cubicBezTo>
                <a:cubicBezTo>
                  <a:pt x="4448495" y="1634966"/>
                  <a:pt x="4439057" y="1625524"/>
                  <a:pt x="4439057" y="1613543"/>
                </a:cubicBezTo>
                <a:cubicBezTo>
                  <a:pt x="4439057" y="1601562"/>
                  <a:pt x="4448495" y="1592120"/>
                  <a:pt x="4460480" y="1592120"/>
                </a:cubicBezTo>
                <a:close/>
                <a:moveTo>
                  <a:pt x="4614065" y="1591030"/>
                </a:moveTo>
                <a:cubicBezTo>
                  <a:pt x="4626774" y="1591030"/>
                  <a:pt x="4636940" y="1601196"/>
                  <a:pt x="4636940" y="1613905"/>
                </a:cubicBezTo>
                <a:cubicBezTo>
                  <a:pt x="4636940" y="1626610"/>
                  <a:pt x="4626774" y="1636780"/>
                  <a:pt x="4614065" y="1636780"/>
                </a:cubicBezTo>
                <a:cubicBezTo>
                  <a:pt x="4601356" y="1636780"/>
                  <a:pt x="4591190" y="1626610"/>
                  <a:pt x="4591190" y="1613905"/>
                </a:cubicBezTo>
                <a:cubicBezTo>
                  <a:pt x="4591190" y="1601196"/>
                  <a:pt x="4601356" y="1591030"/>
                  <a:pt x="4614065" y="1591030"/>
                </a:cubicBezTo>
                <a:close/>
                <a:moveTo>
                  <a:pt x="4768008" y="1588850"/>
                </a:moveTo>
                <a:cubicBezTo>
                  <a:pt x="4781808" y="1588850"/>
                  <a:pt x="4793064" y="1600106"/>
                  <a:pt x="4793064" y="1613901"/>
                </a:cubicBezTo>
                <a:cubicBezTo>
                  <a:pt x="4793064" y="1627700"/>
                  <a:pt x="4781808" y="1638957"/>
                  <a:pt x="4768008" y="1638957"/>
                </a:cubicBezTo>
                <a:cubicBezTo>
                  <a:pt x="4754214" y="1638957"/>
                  <a:pt x="4742956" y="1627700"/>
                  <a:pt x="4742956" y="1613901"/>
                </a:cubicBezTo>
                <a:cubicBezTo>
                  <a:pt x="4742956" y="1600106"/>
                  <a:pt x="4754214" y="1588850"/>
                  <a:pt x="4768008" y="1588850"/>
                </a:cubicBezTo>
                <a:close/>
                <a:moveTo>
                  <a:pt x="4921594" y="1586673"/>
                </a:moveTo>
                <a:cubicBezTo>
                  <a:pt x="4936480" y="1586673"/>
                  <a:pt x="4948826" y="1599020"/>
                  <a:pt x="4948826" y="1613905"/>
                </a:cubicBezTo>
                <a:cubicBezTo>
                  <a:pt x="4948826" y="1628791"/>
                  <a:pt x="4936842" y="1641137"/>
                  <a:pt x="4921594" y="1641137"/>
                </a:cubicBezTo>
                <a:cubicBezTo>
                  <a:pt x="4906704" y="1641137"/>
                  <a:pt x="4894362" y="1628791"/>
                  <a:pt x="4894362" y="1613905"/>
                </a:cubicBezTo>
                <a:cubicBezTo>
                  <a:pt x="4894362" y="1599020"/>
                  <a:pt x="4906704" y="1586673"/>
                  <a:pt x="4921594" y="1586673"/>
                </a:cubicBezTo>
                <a:close/>
                <a:moveTo>
                  <a:pt x="5075545" y="1584131"/>
                </a:moveTo>
                <a:cubicBezTo>
                  <a:pt x="5091883" y="1584131"/>
                  <a:pt x="5105316" y="1597564"/>
                  <a:pt x="5105316" y="1613901"/>
                </a:cubicBezTo>
                <a:cubicBezTo>
                  <a:pt x="5105316" y="1630243"/>
                  <a:pt x="5091883" y="1643676"/>
                  <a:pt x="5075545" y="1643676"/>
                </a:cubicBezTo>
                <a:cubicBezTo>
                  <a:pt x="5059204" y="1643676"/>
                  <a:pt x="5045770" y="1630243"/>
                  <a:pt x="5045770" y="1613901"/>
                </a:cubicBezTo>
                <a:cubicBezTo>
                  <a:pt x="5045770" y="1597564"/>
                  <a:pt x="5059204" y="1584131"/>
                  <a:pt x="5075545" y="1584131"/>
                </a:cubicBezTo>
                <a:close/>
                <a:moveTo>
                  <a:pt x="5229126" y="1581592"/>
                </a:moveTo>
                <a:cubicBezTo>
                  <a:pt x="5246916" y="1581592"/>
                  <a:pt x="5261078" y="1595753"/>
                  <a:pt x="5261078" y="1613543"/>
                </a:cubicBezTo>
                <a:cubicBezTo>
                  <a:pt x="5261078" y="1631333"/>
                  <a:pt x="5246916" y="1645494"/>
                  <a:pt x="5229126" y="1645494"/>
                </a:cubicBezTo>
                <a:cubicBezTo>
                  <a:pt x="5211336" y="1645494"/>
                  <a:pt x="5197175" y="1631333"/>
                  <a:pt x="5197175" y="1613543"/>
                </a:cubicBezTo>
                <a:cubicBezTo>
                  <a:pt x="5197175" y="1595753"/>
                  <a:pt x="5211336" y="1581592"/>
                  <a:pt x="5229126" y="1581592"/>
                </a:cubicBezTo>
                <a:close/>
                <a:moveTo>
                  <a:pt x="5383074" y="1579773"/>
                </a:moveTo>
                <a:cubicBezTo>
                  <a:pt x="5401592" y="1579773"/>
                  <a:pt x="5416844" y="1595025"/>
                  <a:pt x="5416844" y="1613539"/>
                </a:cubicBezTo>
                <a:cubicBezTo>
                  <a:pt x="5416844" y="1632058"/>
                  <a:pt x="5401592" y="1647309"/>
                  <a:pt x="5383074" y="1647309"/>
                </a:cubicBezTo>
                <a:cubicBezTo>
                  <a:pt x="5364560" y="1647309"/>
                  <a:pt x="5349308" y="1632058"/>
                  <a:pt x="5349308" y="1613539"/>
                </a:cubicBezTo>
                <a:cubicBezTo>
                  <a:pt x="5349308" y="1595025"/>
                  <a:pt x="5364560" y="1579773"/>
                  <a:pt x="5383074" y="1579773"/>
                </a:cubicBezTo>
                <a:close/>
                <a:moveTo>
                  <a:pt x="5536659" y="1577231"/>
                </a:moveTo>
                <a:cubicBezTo>
                  <a:pt x="5556630" y="1577231"/>
                  <a:pt x="5572968" y="1593569"/>
                  <a:pt x="5572968" y="1613539"/>
                </a:cubicBezTo>
                <a:cubicBezTo>
                  <a:pt x="5572968" y="1633510"/>
                  <a:pt x="5556630" y="1649848"/>
                  <a:pt x="5536659" y="1649848"/>
                </a:cubicBezTo>
                <a:cubicBezTo>
                  <a:pt x="5516688" y="1649848"/>
                  <a:pt x="5500351" y="1633510"/>
                  <a:pt x="5500351" y="1613539"/>
                </a:cubicBezTo>
                <a:cubicBezTo>
                  <a:pt x="5500351" y="1593569"/>
                  <a:pt x="5516688" y="1577231"/>
                  <a:pt x="5536659" y="1577231"/>
                </a:cubicBezTo>
                <a:close/>
                <a:moveTo>
                  <a:pt x="5690606" y="1574692"/>
                </a:moveTo>
                <a:cubicBezTo>
                  <a:pt x="5712026" y="1574692"/>
                  <a:pt x="5729458" y="1592120"/>
                  <a:pt x="5729458" y="1613543"/>
                </a:cubicBezTo>
                <a:cubicBezTo>
                  <a:pt x="5729458" y="1634962"/>
                  <a:pt x="5712026" y="1652390"/>
                  <a:pt x="5690606" y="1652390"/>
                </a:cubicBezTo>
                <a:cubicBezTo>
                  <a:pt x="5669184" y="1652390"/>
                  <a:pt x="5651756" y="1634962"/>
                  <a:pt x="5651756" y="1613543"/>
                </a:cubicBezTo>
                <a:cubicBezTo>
                  <a:pt x="5651756" y="1592120"/>
                  <a:pt x="5669184" y="1574692"/>
                  <a:pt x="5690606" y="1574692"/>
                </a:cubicBezTo>
                <a:close/>
                <a:moveTo>
                  <a:pt x="5844554" y="1572512"/>
                </a:moveTo>
                <a:cubicBezTo>
                  <a:pt x="5867429" y="1572512"/>
                  <a:pt x="5885585" y="1590668"/>
                  <a:pt x="5885585" y="1613539"/>
                </a:cubicBezTo>
                <a:cubicBezTo>
                  <a:pt x="5885585" y="1636415"/>
                  <a:pt x="5867067" y="1654567"/>
                  <a:pt x="5844554" y="1654567"/>
                </a:cubicBezTo>
                <a:cubicBezTo>
                  <a:pt x="5821682" y="1654567"/>
                  <a:pt x="5803526" y="1636415"/>
                  <a:pt x="5803526" y="1613539"/>
                </a:cubicBezTo>
                <a:cubicBezTo>
                  <a:pt x="5803526" y="1590668"/>
                  <a:pt x="5821682" y="1572512"/>
                  <a:pt x="5844554" y="1572512"/>
                </a:cubicBezTo>
                <a:close/>
                <a:moveTo>
                  <a:pt x="5998136" y="1569973"/>
                </a:moveTo>
                <a:cubicBezTo>
                  <a:pt x="6022101" y="1569973"/>
                  <a:pt x="6041706" y="1589578"/>
                  <a:pt x="6041706" y="1613543"/>
                </a:cubicBezTo>
                <a:cubicBezTo>
                  <a:pt x="6041706" y="1637505"/>
                  <a:pt x="6022101" y="1657113"/>
                  <a:pt x="5998136" y="1657113"/>
                </a:cubicBezTo>
                <a:cubicBezTo>
                  <a:pt x="5974174" y="1657113"/>
                  <a:pt x="5954566" y="1637505"/>
                  <a:pt x="5954566" y="1613543"/>
                </a:cubicBezTo>
                <a:cubicBezTo>
                  <a:pt x="5954566" y="1589578"/>
                  <a:pt x="5974174" y="1569973"/>
                  <a:pt x="5998136" y="1569973"/>
                </a:cubicBezTo>
                <a:close/>
                <a:moveTo>
                  <a:pt x="6152083" y="1567431"/>
                </a:moveTo>
                <a:cubicBezTo>
                  <a:pt x="6177500" y="1567431"/>
                  <a:pt x="6198196" y="1588125"/>
                  <a:pt x="6198196" y="1613543"/>
                </a:cubicBezTo>
                <a:cubicBezTo>
                  <a:pt x="6198196" y="1638957"/>
                  <a:pt x="6177500" y="1659656"/>
                  <a:pt x="6152083" y="1659656"/>
                </a:cubicBezTo>
                <a:cubicBezTo>
                  <a:pt x="6126669" y="1659656"/>
                  <a:pt x="6105974" y="1638957"/>
                  <a:pt x="6105974" y="1613543"/>
                </a:cubicBezTo>
                <a:cubicBezTo>
                  <a:pt x="6105974" y="1588125"/>
                  <a:pt x="6126669" y="1567431"/>
                  <a:pt x="6152083" y="1567431"/>
                </a:cubicBezTo>
                <a:close/>
                <a:moveTo>
                  <a:pt x="6305672" y="1564888"/>
                </a:moveTo>
                <a:cubicBezTo>
                  <a:pt x="6332538" y="1564888"/>
                  <a:pt x="6354323" y="1586673"/>
                  <a:pt x="6354323" y="1613543"/>
                </a:cubicBezTo>
                <a:cubicBezTo>
                  <a:pt x="6354323" y="1640409"/>
                  <a:pt x="6332538" y="1662194"/>
                  <a:pt x="6305672" y="1662194"/>
                </a:cubicBezTo>
                <a:cubicBezTo>
                  <a:pt x="6278802" y="1662194"/>
                  <a:pt x="6257016" y="1640409"/>
                  <a:pt x="6257016" y="1613543"/>
                </a:cubicBezTo>
                <a:cubicBezTo>
                  <a:pt x="6257016" y="1586673"/>
                  <a:pt x="6278802" y="1564888"/>
                  <a:pt x="6305672" y="1564888"/>
                </a:cubicBezTo>
                <a:close/>
                <a:moveTo>
                  <a:pt x="6459619" y="1562346"/>
                </a:moveTo>
                <a:cubicBezTo>
                  <a:pt x="6487938" y="1562346"/>
                  <a:pt x="6510813" y="1585221"/>
                  <a:pt x="6510813" y="1613539"/>
                </a:cubicBezTo>
                <a:cubicBezTo>
                  <a:pt x="6510813" y="1641862"/>
                  <a:pt x="6487938" y="1664733"/>
                  <a:pt x="6459619" y="1664733"/>
                </a:cubicBezTo>
                <a:cubicBezTo>
                  <a:pt x="6431297" y="1664733"/>
                  <a:pt x="6408422" y="1641862"/>
                  <a:pt x="6408422" y="1613539"/>
                </a:cubicBezTo>
                <a:cubicBezTo>
                  <a:pt x="6408422" y="1585221"/>
                  <a:pt x="6431297" y="1562346"/>
                  <a:pt x="6459619" y="1562346"/>
                </a:cubicBezTo>
                <a:close/>
                <a:moveTo>
                  <a:pt x="6613197" y="1560169"/>
                </a:moveTo>
                <a:cubicBezTo>
                  <a:pt x="6642610" y="1560169"/>
                  <a:pt x="6666575" y="1584131"/>
                  <a:pt x="6666575" y="1613543"/>
                </a:cubicBezTo>
                <a:cubicBezTo>
                  <a:pt x="6666575" y="1642952"/>
                  <a:pt x="6642610" y="1666914"/>
                  <a:pt x="6613197" y="1666914"/>
                </a:cubicBezTo>
                <a:cubicBezTo>
                  <a:pt x="6583788" y="1666914"/>
                  <a:pt x="6559826" y="1642952"/>
                  <a:pt x="6559826" y="1613543"/>
                </a:cubicBezTo>
                <a:cubicBezTo>
                  <a:pt x="6559826" y="1584131"/>
                  <a:pt x="6583788" y="1560169"/>
                  <a:pt x="6613197" y="1560169"/>
                </a:cubicBezTo>
                <a:close/>
                <a:moveTo>
                  <a:pt x="2153808" y="1459596"/>
                </a:moveTo>
                <a:cubicBezTo>
                  <a:pt x="2154170" y="1459596"/>
                  <a:pt x="2154170" y="1459596"/>
                  <a:pt x="2154170" y="1459958"/>
                </a:cubicBezTo>
                <a:cubicBezTo>
                  <a:pt x="2154170" y="1460324"/>
                  <a:pt x="2153808" y="1460324"/>
                  <a:pt x="2153808" y="1460324"/>
                </a:cubicBezTo>
                <a:cubicBezTo>
                  <a:pt x="2153445" y="1460324"/>
                  <a:pt x="2153445" y="1460324"/>
                  <a:pt x="2153445" y="1459958"/>
                </a:cubicBezTo>
                <a:cubicBezTo>
                  <a:pt x="2153445" y="1459596"/>
                  <a:pt x="2153445" y="1459596"/>
                  <a:pt x="2153808" y="1459596"/>
                </a:cubicBezTo>
                <a:close/>
                <a:moveTo>
                  <a:pt x="1692331" y="1459596"/>
                </a:moveTo>
                <a:cubicBezTo>
                  <a:pt x="1692694" y="1459596"/>
                  <a:pt x="1692694" y="1459596"/>
                  <a:pt x="1692694" y="1459958"/>
                </a:cubicBezTo>
                <a:cubicBezTo>
                  <a:pt x="1692694" y="1460324"/>
                  <a:pt x="1692331" y="1460324"/>
                  <a:pt x="1692331" y="1460324"/>
                </a:cubicBezTo>
                <a:cubicBezTo>
                  <a:pt x="1691969" y="1460324"/>
                  <a:pt x="1691969" y="1460324"/>
                  <a:pt x="1691969" y="1459958"/>
                </a:cubicBezTo>
                <a:cubicBezTo>
                  <a:pt x="1691969" y="1459596"/>
                  <a:pt x="1691969" y="1459596"/>
                  <a:pt x="1692331" y="1459596"/>
                </a:cubicBezTo>
                <a:close/>
                <a:moveTo>
                  <a:pt x="1538746" y="1459596"/>
                </a:moveTo>
                <a:cubicBezTo>
                  <a:pt x="1539108" y="1459596"/>
                  <a:pt x="1539108" y="1459596"/>
                  <a:pt x="1539108" y="1459958"/>
                </a:cubicBezTo>
                <a:cubicBezTo>
                  <a:pt x="1539108" y="1460324"/>
                  <a:pt x="1538746" y="1460324"/>
                  <a:pt x="1538746" y="1460324"/>
                </a:cubicBezTo>
                <a:cubicBezTo>
                  <a:pt x="1538384" y="1460324"/>
                  <a:pt x="1538384" y="1460324"/>
                  <a:pt x="1538384" y="1459958"/>
                </a:cubicBezTo>
                <a:cubicBezTo>
                  <a:pt x="1538384" y="1459596"/>
                  <a:pt x="1538384" y="1459596"/>
                  <a:pt x="1538746" y="1459596"/>
                </a:cubicBezTo>
                <a:close/>
                <a:moveTo>
                  <a:pt x="1384795" y="1459230"/>
                </a:moveTo>
                <a:cubicBezTo>
                  <a:pt x="1385161" y="1459230"/>
                  <a:pt x="1385523" y="1459592"/>
                  <a:pt x="1385523" y="1459958"/>
                </a:cubicBezTo>
                <a:cubicBezTo>
                  <a:pt x="1385523" y="1460320"/>
                  <a:pt x="1384795" y="1460682"/>
                  <a:pt x="1384795" y="1460682"/>
                </a:cubicBezTo>
                <a:cubicBezTo>
                  <a:pt x="1384433" y="1460682"/>
                  <a:pt x="1384071" y="1460320"/>
                  <a:pt x="1384071" y="1459958"/>
                </a:cubicBezTo>
                <a:cubicBezTo>
                  <a:pt x="1384071" y="1459592"/>
                  <a:pt x="1384433" y="1459230"/>
                  <a:pt x="1384795" y="1459230"/>
                </a:cubicBezTo>
                <a:close/>
                <a:moveTo>
                  <a:pt x="2307393" y="1458140"/>
                </a:moveTo>
                <a:cubicBezTo>
                  <a:pt x="2308117" y="1458140"/>
                  <a:pt x="2308845" y="1458868"/>
                  <a:pt x="2308845" y="1459592"/>
                </a:cubicBezTo>
                <a:cubicBezTo>
                  <a:pt x="2308845" y="1460320"/>
                  <a:pt x="2307393" y="1461044"/>
                  <a:pt x="2307393" y="1461044"/>
                </a:cubicBezTo>
                <a:cubicBezTo>
                  <a:pt x="2306665" y="1461044"/>
                  <a:pt x="2305941" y="1460320"/>
                  <a:pt x="2305941" y="1459592"/>
                </a:cubicBezTo>
                <a:cubicBezTo>
                  <a:pt x="2305941" y="1458868"/>
                  <a:pt x="2306665" y="1458140"/>
                  <a:pt x="2307393" y="1458140"/>
                </a:cubicBezTo>
                <a:close/>
                <a:moveTo>
                  <a:pt x="2461340" y="1457777"/>
                </a:moveTo>
                <a:cubicBezTo>
                  <a:pt x="2462430" y="1457777"/>
                  <a:pt x="2463521" y="1458868"/>
                  <a:pt x="2463521" y="1459954"/>
                </a:cubicBezTo>
                <a:cubicBezTo>
                  <a:pt x="2463521" y="1461044"/>
                  <a:pt x="2461340" y="1462134"/>
                  <a:pt x="2461340" y="1462134"/>
                </a:cubicBezTo>
                <a:cubicBezTo>
                  <a:pt x="2460254" y="1462134"/>
                  <a:pt x="2459164" y="1461044"/>
                  <a:pt x="2459164" y="1459954"/>
                </a:cubicBezTo>
                <a:cubicBezTo>
                  <a:pt x="2459164" y="1458868"/>
                  <a:pt x="2460254" y="1457777"/>
                  <a:pt x="2461340" y="1457777"/>
                </a:cubicBezTo>
                <a:close/>
                <a:moveTo>
                  <a:pt x="2614925" y="1456687"/>
                </a:moveTo>
                <a:cubicBezTo>
                  <a:pt x="2616744" y="1456687"/>
                  <a:pt x="2618192" y="1458140"/>
                  <a:pt x="2618192" y="1459954"/>
                </a:cubicBezTo>
                <a:cubicBezTo>
                  <a:pt x="2618192" y="1461769"/>
                  <a:pt x="2616744" y="1463225"/>
                  <a:pt x="2614925" y="1463225"/>
                </a:cubicBezTo>
                <a:cubicBezTo>
                  <a:pt x="2613111" y="1463225"/>
                  <a:pt x="2611659" y="1461769"/>
                  <a:pt x="2611659" y="1459954"/>
                </a:cubicBezTo>
                <a:cubicBezTo>
                  <a:pt x="2611659" y="1458140"/>
                  <a:pt x="2613111" y="1456687"/>
                  <a:pt x="2614925" y="1456687"/>
                </a:cubicBezTo>
                <a:close/>
                <a:moveTo>
                  <a:pt x="2768873" y="1455601"/>
                </a:moveTo>
                <a:cubicBezTo>
                  <a:pt x="2771415" y="1455601"/>
                  <a:pt x="2773230" y="1457415"/>
                  <a:pt x="2773230" y="1459958"/>
                </a:cubicBezTo>
                <a:cubicBezTo>
                  <a:pt x="2773230" y="1462500"/>
                  <a:pt x="2771053" y="1464315"/>
                  <a:pt x="2768873" y="1464315"/>
                </a:cubicBezTo>
                <a:cubicBezTo>
                  <a:pt x="2766330" y="1464315"/>
                  <a:pt x="2764516" y="1462500"/>
                  <a:pt x="2764516" y="1459958"/>
                </a:cubicBezTo>
                <a:cubicBezTo>
                  <a:pt x="2764516" y="1457415"/>
                  <a:pt x="2766330" y="1455601"/>
                  <a:pt x="2768873" y="1455601"/>
                </a:cubicBezTo>
                <a:close/>
                <a:moveTo>
                  <a:pt x="2922458" y="1454149"/>
                </a:moveTo>
                <a:cubicBezTo>
                  <a:pt x="2925725" y="1454149"/>
                  <a:pt x="2928267" y="1456691"/>
                  <a:pt x="2928267" y="1459958"/>
                </a:cubicBezTo>
                <a:cubicBezTo>
                  <a:pt x="2928267" y="1463225"/>
                  <a:pt x="2925725" y="1465767"/>
                  <a:pt x="2922458" y="1465767"/>
                </a:cubicBezTo>
                <a:cubicBezTo>
                  <a:pt x="2919191" y="1465767"/>
                  <a:pt x="2916649" y="1463225"/>
                  <a:pt x="2916649" y="1459958"/>
                </a:cubicBezTo>
                <a:cubicBezTo>
                  <a:pt x="2916649" y="1456691"/>
                  <a:pt x="2919191" y="1454149"/>
                  <a:pt x="2922458" y="1454149"/>
                </a:cubicBezTo>
                <a:close/>
                <a:moveTo>
                  <a:pt x="3076406" y="1452696"/>
                </a:moveTo>
                <a:cubicBezTo>
                  <a:pt x="3080400" y="1452696"/>
                  <a:pt x="3083667" y="1455963"/>
                  <a:pt x="3083667" y="1459958"/>
                </a:cubicBezTo>
                <a:cubicBezTo>
                  <a:pt x="3083667" y="1463953"/>
                  <a:pt x="3080400" y="1467220"/>
                  <a:pt x="3076406" y="1467220"/>
                </a:cubicBezTo>
                <a:cubicBezTo>
                  <a:pt x="3072410" y="1467220"/>
                  <a:pt x="3069144" y="1463953"/>
                  <a:pt x="3069144" y="1459958"/>
                </a:cubicBezTo>
                <a:cubicBezTo>
                  <a:pt x="3069144" y="1455963"/>
                  <a:pt x="3072410" y="1452696"/>
                  <a:pt x="3076406" y="1452696"/>
                </a:cubicBezTo>
                <a:close/>
                <a:moveTo>
                  <a:pt x="3230353" y="1450516"/>
                </a:moveTo>
                <a:cubicBezTo>
                  <a:pt x="3235438" y="1450516"/>
                  <a:pt x="3239433" y="1454511"/>
                  <a:pt x="3239433" y="1459592"/>
                </a:cubicBezTo>
                <a:cubicBezTo>
                  <a:pt x="3239433" y="1464677"/>
                  <a:pt x="3235438" y="1468672"/>
                  <a:pt x="3230353" y="1468672"/>
                </a:cubicBezTo>
                <a:cubicBezTo>
                  <a:pt x="3225272" y="1468672"/>
                  <a:pt x="3221277" y="1464677"/>
                  <a:pt x="3221277" y="1459592"/>
                </a:cubicBezTo>
                <a:cubicBezTo>
                  <a:pt x="3221277" y="1454511"/>
                  <a:pt x="3225272" y="1450516"/>
                  <a:pt x="3230353" y="1450516"/>
                </a:cubicBezTo>
                <a:close/>
                <a:moveTo>
                  <a:pt x="3383934" y="1449791"/>
                </a:moveTo>
                <a:cubicBezTo>
                  <a:pt x="3389382" y="1449791"/>
                  <a:pt x="3394100" y="1454511"/>
                  <a:pt x="3394100" y="1459958"/>
                </a:cubicBezTo>
                <a:cubicBezTo>
                  <a:pt x="3394100" y="1465405"/>
                  <a:pt x="3389744" y="1470124"/>
                  <a:pt x="3383934" y="1470124"/>
                </a:cubicBezTo>
                <a:cubicBezTo>
                  <a:pt x="3378487" y="1470124"/>
                  <a:pt x="3373768" y="1465405"/>
                  <a:pt x="3373768" y="1459958"/>
                </a:cubicBezTo>
                <a:cubicBezTo>
                  <a:pt x="3373768" y="1454511"/>
                  <a:pt x="3378487" y="1449791"/>
                  <a:pt x="3383934" y="1449791"/>
                </a:cubicBezTo>
                <a:close/>
                <a:moveTo>
                  <a:pt x="3537882" y="1447977"/>
                </a:moveTo>
                <a:cubicBezTo>
                  <a:pt x="3544419" y="1447977"/>
                  <a:pt x="3549866" y="1453424"/>
                  <a:pt x="3549866" y="1459958"/>
                </a:cubicBezTo>
                <a:cubicBezTo>
                  <a:pt x="3549866" y="1466495"/>
                  <a:pt x="3544419" y="1471939"/>
                  <a:pt x="3537882" y="1471939"/>
                </a:cubicBezTo>
                <a:cubicBezTo>
                  <a:pt x="3531348" y="1471939"/>
                  <a:pt x="3525901" y="1466495"/>
                  <a:pt x="3525901" y="1459958"/>
                </a:cubicBezTo>
                <a:cubicBezTo>
                  <a:pt x="3525901" y="1453424"/>
                  <a:pt x="3531348" y="1447977"/>
                  <a:pt x="3537882" y="1447977"/>
                </a:cubicBezTo>
                <a:close/>
                <a:moveTo>
                  <a:pt x="3691467" y="1445797"/>
                </a:moveTo>
                <a:cubicBezTo>
                  <a:pt x="3699094" y="1445797"/>
                  <a:pt x="3705266" y="1451968"/>
                  <a:pt x="3705266" y="1459596"/>
                </a:cubicBezTo>
                <a:cubicBezTo>
                  <a:pt x="3705266" y="1467220"/>
                  <a:pt x="3699094" y="1473391"/>
                  <a:pt x="3691467" y="1473391"/>
                </a:cubicBezTo>
                <a:cubicBezTo>
                  <a:pt x="3683843" y="1473391"/>
                  <a:pt x="3677672" y="1467220"/>
                  <a:pt x="3677672" y="1459596"/>
                </a:cubicBezTo>
                <a:cubicBezTo>
                  <a:pt x="3677672" y="1451968"/>
                  <a:pt x="3683843" y="1445797"/>
                  <a:pt x="3691467" y="1445797"/>
                </a:cubicBezTo>
                <a:close/>
                <a:moveTo>
                  <a:pt x="3845414" y="1444706"/>
                </a:moveTo>
                <a:cubicBezTo>
                  <a:pt x="3853839" y="1444706"/>
                  <a:pt x="3860666" y="1451534"/>
                  <a:pt x="3860666" y="1459954"/>
                </a:cubicBezTo>
                <a:cubicBezTo>
                  <a:pt x="3860666" y="1468378"/>
                  <a:pt x="3853839" y="1475205"/>
                  <a:pt x="3845414" y="1475205"/>
                </a:cubicBezTo>
                <a:cubicBezTo>
                  <a:pt x="3836994" y="1475205"/>
                  <a:pt x="3830167" y="1468378"/>
                  <a:pt x="3830167" y="1459954"/>
                </a:cubicBezTo>
                <a:cubicBezTo>
                  <a:pt x="3830167" y="1451534"/>
                  <a:pt x="3836994" y="1444706"/>
                  <a:pt x="3845414" y="1444706"/>
                </a:cubicBezTo>
                <a:close/>
                <a:moveTo>
                  <a:pt x="3999000" y="1442892"/>
                </a:moveTo>
                <a:cubicBezTo>
                  <a:pt x="4008438" y="1442892"/>
                  <a:pt x="4016066" y="1450516"/>
                  <a:pt x="4016066" y="1459958"/>
                </a:cubicBezTo>
                <a:cubicBezTo>
                  <a:pt x="4016066" y="1469396"/>
                  <a:pt x="4008438" y="1477020"/>
                  <a:pt x="3999000" y="1477020"/>
                </a:cubicBezTo>
                <a:cubicBezTo>
                  <a:pt x="3989558" y="1477020"/>
                  <a:pt x="3981934" y="1469396"/>
                  <a:pt x="3981934" y="1459958"/>
                </a:cubicBezTo>
                <a:cubicBezTo>
                  <a:pt x="3981934" y="1450516"/>
                  <a:pt x="3989558" y="1442892"/>
                  <a:pt x="3999000" y="1442892"/>
                </a:cubicBezTo>
                <a:close/>
                <a:moveTo>
                  <a:pt x="4152947" y="1440715"/>
                </a:moveTo>
                <a:cubicBezTo>
                  <a:pt x="4163578" y="1440715"/>
                  <a:pt x="4172194" y="1449330"/>
                  <a:pt x="4172194" y="1459958"/>
                </a:cubicBezTo>
                <a:cubicBezTo>
                  <a:pt x="4172194" y="1470585"/>
                  <a:pt x="4163578" y="1479200"/>
                  <a:pt x="4152947" y="1479200"/>
                </a:cubicBezTo>
                <a:cubicBezTo>
                  <a:pt x="4142320" y="1479200"/>
                  <a:pt x="4133704" y="1470585"/>
                  <a:pt x="4133704" y="1459958"/>
                </a:cubicBezTo>
                <a:cubicBezTo>
                  <a:pt x="4133704" y="1449330"/>
                  <a:pt x="4142320" y="1440715"/>
                  <a:pt x="4152947" y="1440715"/>
                </a:cubicBezTo>
                <a:close/>
                <a:moveTo>
                  <a:pt x="4306532" y="1438535"/>
                </a:moveTo>
                <a:cubicBezTo>
                  <a:pt x="4318513" y="1438535"/>
                  <a:pt x="4327952" y="1447977"/>
                  <a:pt x="4327952" y="1459958"/>
                </a:cubicBezTo>
                <a:cubicBezTo>
                  <a:pt x="4327952" y="1471939"/>
                  <a:pt x="4318151" y="1481381"/>
                  <a:pt x="4306532" y="1481381"/>
                </a:cubicBezTo>
                <a:cubicBezTo>
                  <a:pt x="4294552" y="1481381"/>
                  <a:pt x="4285110" y="1471939"/>
                  <a:pt x="4285110" y="1459958"/>
                </a:cubicBezTo>
                <a:cubicBezTo>
                  <a:pt x="4285110" y="1447977"/>
                  <a:pt x="4294552" y="1438535"/>
                  <a:pt x="4306532" y="1438535"/>
                </a:cubicBezTo>
                <a:close/>
                <a:moveTo>
                  <a:pt x="4460480" y="1437083"/>
                </a:moveTo>
                <a:cubicBezTo>
                  <a:pt x="4473112" y="1437083"/>
                  <a:pt x="4483355" y="1447325"/>
                  <a:pt x="4483355" y="1459958"/>
                </a:cubicBezTo>
                <a:cubicBezTo>
                  <a:pt x="4483355" y="1472591"/>
                  <a:pt x="4473112" y="1482833"/>
                  <a:pt x="4460480" y="1482833"/>
                </a:cubicBezTo>
                <a:cubicBezTo>
                  <a:pt x="4447847" y="1482833"/>
                  <a:pt x="4437604" y="1472591"/>
                  <a:pt x="4437604" y="1459958"/>
                </a:cubicBezTo>
                <a:cubicBezTo>
                  <a:pt x="4437604" y="1447325"/>
                  <a:pt x="4447847" y="1437083"/>
                  <a:pt x="4460480" y="1437083"/>
                </a:cubicBezTo>
                <a:close/>
                <a:moveTo>
                  <a:pt x="4614061" y="1434906"/>
                </a:moveTo>
                <a:cubicBezTo>
                  <a:pt x="4627860" y="1434906"/>
                  <a:pt x="4639116" y="1446163"/>
                  <a:pt x="4639116" y="1459958"/>
                </a:cubicBezTo>
                <a:cubicBezTo>
                  <a:pt x="4639116" y="1473757"/>
                  <a:pt x="4627860" y="1485013"/>
                  <a:pt x="4614061" y="1485013"/>
                </a:cubicBezTo>
                <a:cubicBezTo>
                  <a:pt x="4600266" y="1485013"/>
                  <a:pt x="4589010" y="1473757"/>
                  <a:pt x="4589010" y="1459958"/>
                </a:cubicBezTo>
                <a:cubicBezTo>
                  <a:pt x="4589010" y="1446163"/>
                  <a:pt x="4600266" y="1434906"/>
                  <a:pt x="4614061" y="1434906"/>
                </a:cubicBezTo>
                <a:close/>
                <a:moveTo>
                  <a:pt x="4768012" y="1432726"/>
                </a:moveTo>
                <a:cubicBezTo>
                  <a:pt x="4782898" y="1432726"/>
                  <a:pt x="4795244" y="1445072"/>
                  <a:pt x="4795244" y="1459958"/>
                </a:cubicBezTo>
                <a:cubicBezTo>
                  <a:pt x="4795244" y="1474843"/>
                  <a:pt x="4783260" y="1487190"/>
                  <a:pt x="4768012" y="1487190"/>
                </a:cubicBezTo>
                <a:cubicBezTo>
                  <a:pt x="4753123" y="1487190"/>
                  <a:pt x="4740780" y="1474843"/>
                  <a:pt x="4740780" y="1459958"/>
                </a:cubicBezTo>
                <a:cubicBezTo>
                  <a:pt x="4740780" y="1445072"/>
                  <a:pt x="4753123" y="1432726"/>
                  <a:pt x="4768012" y="1432726"/>
                </a:cubicBezTo>
                <a:close/>
                <a:moveTo>
                  <a:pt x="4921594" y="1430183"/>
                </a:moveTo>
                <a:cubicBezTo>
                  <a:pt x="4938038" y="1430183"/>
                  <a:pt x="4951368" y="1443513"/>
                  <a:pt x="4951368" y="1459954"/>
                </a:cubicBezTo>
                <a:cubicBezTo>
                  <a:pt x="4951368" y="1476399"/>
                  <a:pt x="4938038" y="1489729"/>
                  <a:pt x="4921594" y="1489729"/>
                </a:cubicBezTo>
                <a:cubicBezTo>
                  <a:pt x="4905153" y="1489729"/>
                  <a:pt x="4891823" y="1476399"/>
                  <a:pt x="4891823" y="1459954"/>
                </a:cubicBezTo>
                <a:cubicBezTo>
                  <a:pt x="4891823" y="1443513"/>
                  <a:pt x="4905153" y="1430183"/>
                  <a:pt x="4921594" y="1430183"/>
                </a:cubicBezTo>
                <a:close/>
                <a:moveTo>
                  <a:pt x="5075541" y="1428007"/>
                </a:moveTo>
                <a:cubicBezTo>
                  <a:pt x="5093332" y="1428007"/>
                  <a:pt x="5107492" y="1442168"/>
                  <a:pt x="5107492" y="1459958"/>
                </a:cubicBezTo>
                <a:cubicBezTo>
                  <a:pt x="5107492" y="1477748"/>
                  <a:pt x="5093332" y="1491909"/>
                  <a:pt x="5075541" y="1491909"/>
                </a:cubicBezTo>
                <a:cubicBezTo>
                  <a:pt x="5057751" y="1491909"/>
                  <a:pt x="5043590" y="1477748"/>
                  <a:pt x="5043590" y="1459958"/>
                </a:cubicBezTo>
                <a:cubicBezTo>
                  <a:pt x="5043590" y="1442168"/>
                  <a:pt x="5057751" y="1428007"/>
                  <a:pt x="5075541" y="1428007"/>
                </a:cubicBezTo>
                <a:close/>
                <a:moveTo>
                  <a:pt x="5229126" y="1426192"/>
                </a:moveTo>
                <a:cubicBezTo>
                  <a:pt x="5247774" y="1426192"/>
                  <a:pt x="5262892" y="1441310"/>
                  <a:pt x="5262892" y="1459958"/>
                </a:cubicBezTo>
                <a:cubicBezTo>
                  <a:pt x="5262892" y="1478610"/>
                  <a:pt x="5247774" y="1493724"/>
                  <a:pt x="5229126" y="1493724"/>
                </a:cubicBezTo>
                <a:cubicBezTo>
                  <a:pt x="5210478" y="1493724"/>
                  <a:pt x="5195360" y="1478610"/>
                  <a:pt x="5195360" y="1459958"/>
                </a:cubicBezTo>
                <a:cubicBezTo>
                  <a:pt x="5195360" y="1441310"/>
                  <a:pt x="5210478" y="1426192"/>
                  <a:pt x="5229126" y="1426192"/>
                </a:cubicBezTo>
                <a:close/>
                <a:moveTo>
                  <a:pt x="5383074" y="1423650"/>
                </a:moveTo>
                <a:cubicBezTo>
                  <a:pt x="5403044" y="1423650"/>
                  <a:pt x="5419382" y="1439987"/>
                  <a:pt x="5419382" y="1459958"/>
                </a:cubicBezTo>
                <a:cubicBezTo>
                  <a:pt x="5419382" y="1479928"/>
                  <a:pt x="5403044" y="1496266"/>
                  <a:pt x="5383074" y="1496266"/>
                </a:cubicBezTo>
                <a:cubicBezTo>
                  <a:pt x="5363104" y="1496266"/>
                  <a:pt x="5346766" y="1479928"/>
                  <a:pt x="5346766" y="1459958"/>
                </a:cubicBezTo>
                <a:cubicBezTo>
                  <a:pt x="5346766" y="1439987"/>
                  <a:pt x="5363104" y="1423650"/>
                  <a:pt x="5383074" y="1423650"/>
                </a:cubicBezTo>
                <a:close/>
                <a:moveTo>
                  <a:pt x="5536659" y="1421107"/>
                </a:moveTo>
                <a:cubicBezTo>
                  <a:pt x="5558078" y="1421107"/>
                  <a:pt x="5575506" y="1438535"/>
                  <a:pt x="5575506" y="1459958"/>
                </a:cubicBezTo>
                <a:cubicBezTo>
                  <a:pt x="5575506" y="1481377"/>
                  <a:pt x="5558078" y="1498805"/>
                  <a:pt x="5536659" y="1498805"/>
                </a:cubicBezTo>
                <a:cubicBezTo>
                  <a:pt x="5515236" y="1498805"/>
                  <a:pt x="5497808" y="1481377"/>
                  <a:pt x="5497808" y="1459958"/>
                </a:cubicBezTo>
                <a:cubicBezTo>
                  <a:pt x="5497808" y="1438535"/>
                  <a:pt x="5515236" y="1421107"/>
                  <a:pt x="5536659" y="1421107"/>
                </a:cubicBezTo>
                <a:close/>
                <a:moveTo>
                  <a:pt x="5690606" y="1418930"/>
                </a:moveTo>
                <a:cubicBezTo>
                  <a:pt x="5713482" y="1418930"/>
                  <a:pt x="5731638" y="1437086"/>
                  <a:pt x="5731638" y="1459958"/>
                </a:cubicBezTo>
                <a:cubicBezTo>
                  <a:pt x="5731638" y="1482833"/>
                  <a:pt x="5713120" y="1500985"/>
                  <a:pt x="5690606" y="1500985"/>
                </a:cubicBezTo>
                <a:cubicBezTo>
                  <a:pt x="5667735" y="1500985"/>
                  <a:pt x="5649579" y="1482833"/>
                  <a:pt x="5649579" y="1459958"/>
                </a:cubicBezTo>
                <a:cubicBezTo>
                  <a:pt x="5649579" y="1437086"/>
                  <a:pt x="5667735" y="1418930"/>
                  <a:pt x="5690606" y="1418930"/>
                </a:cubicBezTo>
                <a:close/>
                <a:moveTo>
                  <a:pt x="5844554" y="1416388"/>
                </a:moveTo>
                <a:cubicBezTo>
                  <a:pt x="5868516" y="1416388"/>
                  <a:pt x="5888124" y="1435996"/>
                  <a:pt x="5888124" y="1459958"/>
                </a:cubicBezTo>
                <a:cubicBezTo>
                  <a:pt x="5888124" y="1483923"/>
                  <a:pt x="5868516" y="1503528"/>
                  <a:pt x="5844554" y="1503528"/>
                </a:cubicBezTo>
                <a:cubicBezTo>
                  <a:pt x="5820588" y="1503528"/>
                  <a:pt x="5800984" y="1483923"/>
                  <a:pt x="5800984" y="1459958"/>
                </a:cubicBezTo>
                <a:cubicBezTo>
                  <a:pt x="5800984" y="1435996"/>
                  <a:pt x="5820588" y="1416388"/>
                  <a:pt x="5844554" y="1416388"/>
                </a:cubicBezTo>
                <a:close/>
                <a:moveTo>
                  <a:pt x="5998136" y="1413845"/>
                </a:moveTo>
                <a:cubicBezTo>
                  <a:pt x="6023553" y="1413845"/>
                  <a:pt x="6044248" y="1434540"/>
                  <a:pt x="6044248" y="1459958"/>
                </a:cubicBezTo>
                <a:cubicBezTo>
                  <a:pt x="6044248" y="1485372"/>
                  <a:pt x="6023553" y="1506070"/>
                  <a:pt x="5998136" y="1506070"/>
                </a:cubicBezTo>
                <a:cubicBezTo>
                  <a:pt x="5972722" y="1506070"/>
                  <a:pt x="5952026" y="1485372"/>
                  <a:pt x="5952026" y="1459958"/>
                </a:cubicBezTo>
                <a:cubicBezTo>
                  <a:pt x="5952026" y="1434540"/>
                  <a:pt x="5972722" y="1413845"/>
                  <a:pt x="5998136" y="1413845"/>
                </a:cubicBezTo>
                <a:close/>
                <a:moveTo>
                  <a:pt x="6152083" y="1411303"/>
                </a:moveTo>
                <a:cubicBezTo>
                  <a:pt x="6178953" y="1411303"/>
                  <a:pt x="6200738" y="1433088"/>
                  <a:pt x="6200738" y="1459958"/>
                </a:cubicBezTo>
                <a:cubicBezTo>
                  <a:pt x="6200738" y="1486824"/>
                  <a:pt x="6178953" y="1508609"/>
                  <a:pt x="6152083" y="1508609"/>
                </a:cubicBezTo>
                <a:cubicBezTo>
                  <a:pt x="6125216" y="1508609"/>
                  <a:pt x="6103432" y="1486824"/>
                  <a:pt x="6103432" y="1459958"/>
                </a:cubicBezTo>
                <a:cubicBezTo>
                  <a:pt x="6103432" y="1433088"/>
                  <a:pt x="6125216" y="1411303"/>
                  <a:pt x="6152083" y="1411303"/>
                </a:cubicBezTo>
                <a:close/>
                <a:moveTo>
                  <a:pt x="6305672" y="1408760"/>
                </a:moveTo>
                <a:cubicBezTo>
                  <a:pt x="6333990" y="1408760"/>
                  <a:pt x="6356866" y="1431635"/>
                  <a:pt x="6356866" y="1459954"/>
                </a:cubicBezTo>
                <a:cubicBezTo>
                  <a:pt x="6356866" y="1488276"/>
                  <a:pt x="6333990" y="1511148"/>
                  <a:pt x="6305672" y="1511148"/>
                </a:cubicBezTo>
                <a:cubicBezTo>
                  <a:pt x="6277350" y="1511148"/>
                  <a:pt x="6254474" y="1488276"/>
                  <a:pt x="6254474" y="1459954"/>
                </a:cubicBezTo>
                <a:cubicBezTo>
                  <a:pt x="6254474" y="1431635"/>
                  <a:pt x="6277350" y="1408760"/>
                  <a:pt x="6305672" y="1408760"/>
                </a:cubicBezTo>
                <a:close/>
                <a:moveTo>
                  <a:pt x="6459616" y="1406584"/>
                </a:moveTo>
                <a:cubicBezTo>
                  <a:pt x="6489024" y="1406584"/>
                  <a:pt x="6512990" y="1430545"/>
                  <a:pt x="6512990" y="1459958"/>
                </a:cubicBezTo>
                <a:cubicBezTo>
                  <a:pt x="6512990" y="1489367"/>
                  <a:pt x="6489024" y="1513328"/>
                  <a:pt x="6459616" y="1513328"/>
                </a:cubicBezTo>
                <a:cubicBezTo>
                  <a:pt x="6430206" y="1513328"/>
                  <a:pt x="6406241" y="1489367"/>
                  <a:pt x="6406241" y="1459958"/>
                </a:cubicBezTo>
                <a:cubicBezTo>
                  <a:pt x="6406241" y="1430545"/>
                  <a:pt x="6430206" y="1406584"/>
                  <a:pt x="6459616" y="1406584"/>
                </a:cubicBezTo>
                <a:close/>
                <a:moveTo>
                  <a:pt x="6613200" y="1403679"/>
                </a:moveTo>
                <a:cubicBezTo>
                  <a:pt x="6644424" y="1403679"/>
                  <a:pt x="6669476" y="1428731"/>
                  <a:pt x="6669476" y="1459958"/>
                </a:cubicBezTo>
                <a:cubicBezTo>
                  <a:pt x="6669476" y="1491181"/>
                  <a:pt x="6644424" y="1516233"/>
                  <a:pt x="6613200" y="1516233"/>
                </a:cubicBezTo>
                <a:cubicBezTo>
                  <a:pt x="6581974" y="1516233"/>
                  <a:pt x="6556922" y="1491181"/>
                  <a:pt x="6556922" y="1459958"/>
                </a:cubicBezTo>
                <a:cubicBezTo>
                  <a:pt x="6556922" y="1428731"/>
                  <a:pt x="6581974" y="1403679"/>
                  <a:pt x="6613200" y="1403679"/>
                </a:cubicBezTo>
                <a:close/>
                <a:moveTo>
                  <a:pt x="1999860" y="1305645"/>
                </a:moveTo>
                <a:cubicBezTo>
                  <a:pt x="2000222" y="1305645"/>
                  <a:pt x="2000222" y="1305645"/>
                  <a:pt x="2000222" y="1306007"/>
                </a:cubicBezTo>
                <a:cubicBezTo>
                  <a:pt x="2000222" y="1306373"/>
                  <a:pt x="1999860" y="1306373"/>
                  <a:pt x="1999860" y="1306373"/>
                </a:cubicBezTo>
                <a:cubicBezTo>
                  <a:pt x="1999498" y="1306373"/>
                  <a:pt x="1999498" y="1306373"/>
                  <a:pt x="1999498" y="1306007"/>
                </a:cubicBezTo>
                <a:cubicBezTo>
                  <a:pt x="1999498" y="1305645"/>
                  <a:pt x="1999498" y="1305645"/>
                  <a:pt x="1999860" y="1305645"/>
                </a:cubicBezTo>
                <a:close/>
                <a:moveTo>
                  <a:pt x="1538746" y="1305645"/>
                </a:moveTo>
                <a:cubicBezTo>
                  <a:pt x="1539108" y="1305645"/>
                  <a:pt x="1539108" y="1305645"/>
                  <a:pt x="1539108" y="1306007"/>
                </a:cubicBezTo>
                <a:cubicBezTo>
                  <a:pt x="1539108" y="1306373"/>
                  <a:pt x="1538746" y="1306373"/>
                  <a:pt x="1538746" y="1306373"/>
                </a:cubicBezTo>
                <a:cubicBezTo>
                  <a:pt x="1538384" y="1306373"/>
                  <a:pt x="1538384" y="1306373"/>
                  <a:pt x="1538384" y="1306007"/>
                </a:cubicBezTo>
                <a:cubicBezTo>
                  <a:pt x="1538384" y="1305645"/>
                  <a:pt x="1538384" y="1305645"/>
                  <a:pt x="1538746" y="1305645"/>
                </a:cubicBezTo>
                <a:close/>
                <a:moveTo>
                  <a:pt x="1384799" y="1305645"/>
                </a:moveTo>
                <a:cubicBezTo>
                  <a:pt x="1385161" y="1305645"/>
                  <a:pt x="1385161" y="1305645"/>
                  <a:pt x="1385161" y="1306007"/>
                </a:cubicBezTo>
                <a:cubicBezTo>
                  <a:pt x="1385161" y="1306373"/>
                  <a:pt x="1384799" y="1306373"/>
                  <a:pt x="1384799" y="1306373"/>
                </a:cubicBezTo>
                <a:cubicBezTo>
                  <a:pt x="1384437" y="1306373"/>
                  <a:pt x="1384437" y="1306373"/>
                  <a:pt x="1384437" y="1306007"/>
                </a:cubicBezTo>
                <a:cubicBezTo>
                  <a:pt x="1384437" y="1305645"/>
                  <a:pt x="1384437" y="1305645"/>
                  <a:pt x="1384799" y="1305645"/>
                </a:cubicBezTo>
                <a:close/>
                <a:moveTo>
                  <a:pt x="1231217" y="1305282"/>
                </a:moveTo>
                <a:cubicBezTo>
                  <a:pt x="1231618" y="1305282"/>
                  <a:pt x="1231942" y="1305606"/>
                  <a:pt x="1231942" y="1306010"/>
                </a:cubicBezTo>
                <a:cubicBezTo>
                  <a:pt x="1231942" y="1306411"/>
                  <a:pt x="1231618" y="1306735"/>
                  <a:pt x="1231217" y="1306735"/>
                </a:cubicBezTo>
                <a:cubicBezTo>
                  <a:pt x="1230813" y="1306735"/>
                  <a:pt x="1230489" y="1306411"/>
                  <a:pt x="1230489" y="1306010"/>
                </a:cubicBezTo>
                <a:cubicBezTo>
                  <a:pt x="1230489" y="1305606"/>
                  <a:pt x="1230813" y="1305282"/>
                  <a:pt x="1231217" y="1305282"/>
                </a:cubicBezTo>
                <a:close/>
                <a:moveTo>
                  <a:pt x="2153811" y="1304558"/>
                </a:moveTo>
                <a:cubicBezTo>
                  <a:pt x="2154536" y="1304558"/>
                  <a:pt x="2155264" y="1305286"/>
                  <a:pt x="2155264" y="1306010"/>
                </a:cubicBezTo>
                <a:cubicBezTo>
                  <a:pt x="2155264" y="1306739"/>
                  <a:pt x="2153811" y="1307463"/>
                  <a:pt x="2153811" y="1307463"/>
                </a:cubicBezTo>
                <a:cubicBezTo>
                  <a:pt x="2153083" y="1307463"/>
                  <a:pt x="2152359" y="1306739"/>
                  <a:pt x="2152359" y="1306010"/>
                </a:cubicBezTo>
                <a:cubicBezTo>
                  <a:pt x="2152359" y="1305286"/>
                  <a:pt x="2153083" y="1304558"/>
                  <a:pt x="2153811" y="1304558"/>
                </a:cubicBezTo>
                <a:close/>
                <a:moveTo>
                  <a:pt x="2307393" y="1303830"/>
                </a:moveTo>
                <a:cubicBezTo>
                  <a:pt x="2308483" y="1303830"/>
                  <a:pt x="2309573" y="1304920"/>
                  <a:pt x="2309573" y="1306010"/>
                </a:cubicBezTo>
                <a:cubicBezTo>
                  <a:pt x="2309573" y="1307097"/>
                  <a:pt x="2307393" y="1308187"/>
                  <a:pt x="2307393" y="1308187"/>
                </a:cubicBezTo>
                <a:cubicBezTo>
                  <a:pt x="2306306" y="1308187"/>
                  <a:pt x="2305216" y="1307097"/>
                  <a:pt x="2305216" y="1306010"/>
                </a:cubicBezTo>
                <a:cubicBezTo>
                  <a:pt x="2305216" y="1304920"/>
                  <a:pt x="2306306" y="1303830"/>
                  <a:pt x="2307393" y="1303830"/>
                </a:cubicBezTo>
                <a:close/>
                <a:moveTo>
                  <a:pt x="2461344" y="1303106"/>
                </a:moveTo>
                <a:cubicBezTo>
                  <a:pt x="2463159" y="1303106"/>
                  <a:pt x="2464611" y="1304558"/>
                  <a:pt x="2464611" y="1306373"/>
                </a:cubicBezTo>
                <a:cubicBezTo>
                  <a:pt x="2464611" y="1308187"/>
                  <a:pt x="2463159" y="1309643"/>
                  <a:pt x="2461344" y="1309643"/>
                </a:cubicBezTo>
                <a:cubicBezTo>
                  <a:pt x="2459526" y="1309643"/>
                  <a:pt x="2458073" y="1308187"/>
                  <a:pt x="2458073" y="1306373"/>
                </a:cubicBezTo>
                <a:cubicBezTo>
                  <a:pt x="2458073" y="1304558"/>
                  <a:pt x="2459526" y="1303106"/>
                  <a:pt x="2461344" y="1303106"/>
                </a:cubicBezTo>
                <a:close/>
                <a:moveTo>
                  <a:pt x="2614925" y="1301653"/>
                </a:moveTo>
                <a:cubicBezTo>
                  <a:pt x="2617468" y="1301653"/>
                  <a:pt x="2619283" y="1303468"/>
                  <a:pt x="2619283" y="1306010"/>
                </a:cubicBezTo>
                <a:cubicBezTo>
                  <a:pt x="2619283" y="1308553"/>
                  <a:pt x="2617102" y="1310367"/>
                  <a:pt x="2614925" y="1310367"/>
                </a:cubicBezTo>
                <a:cubicBezTo>
                  <a:pt x="2612383" y="1310367"/>
                  <a:pt x="2610568" y="1308553"/>
                  <a:pt x="2610568" y="1306010"/>
                </a:cubicBezTo>
                <a:cubicBezTo>
                  <a:pt x="2610568" y="1303468"/>
                  <a:pt x="2612383" y="1301653"/>
                  <a:pt x="2614925" y="1301653"/>
                </a:cubicBezTo>
                <a:close/>
                <a:moveTo>
                  <a:pt x="2768873" y="1300563"/>
                </a:moveTo>
                <a:cubicBezTo>
                  <a:pt x="2772140" y="1300563"/>
                  <a:pt x="2774682" y="1303106"/>
                  <a:pt x="2774682" y="1306373"/>
                </a:cubicBezTo>
                <a:cubicBezTo>
                  <a:pt x="2774682" y="1309639"/>
                  <a:pt x="2772140" y="1312182"/>
                  <a:pt x="2768873" y="1312182"/>
                </a:cubicBezTo>
                <a:cubicBezTo>
                  <a:pt x="2765606" y="1312182"/>
                  <a:pt x="2763064" y="1309639"/>
                  <a:pt x="2763064" y="1306373"/>
                </a:cubicBezTo>
                <a:cubicBezTo>
                  <a:pt x="2763064" y="1303106"/>
                  <a:pt x="2765606" y="1300563"/>
                  <a:pt x="2768873" y="1300563"/>
                </a:cubicBezTo>
                <a:close/>
                <a:moveTo>
                  <a:pt x="2922458" y="1298749"/>
                </a:moveTo>
                <a:cubicBezTo>
                  <a:pt x="2926453" y="1298749"/>
                  <a:pt x="2929720" y="1302015"/>
                  <a:pt x="2929720" y="1306010"/>
                </a:cubicBezTo>
                <a:cubicBezTo>
                  <a:pt x="2929720" y="1310005"/>
                  <a:pt x="2926453" y="1313272"/>
                  <a:pt x="2922458" y="1313272"/>
                </a:cubicBezTo>
                <a:cubicBezTo>
                  <a:pt x="2918463" y="1313272"/>
                  <a:pt x="2915196" y="1310005"/>
                  <a:pt x="2915196" y="1306010"/>
                </a:cubicBezTo>
                <a:cubicBezTo>
                  <a:pt x="2915196" y="1302015"/>
                  <a:pt x="2918463" y="1298749"/>
                  <a:pt x="2922458" y="1298749"/>
                </a:cubicBezTo>
                <a:close/>
                <a:moveTo>
                  <a:pt x="3076406" y="1296934"/>
                </a:moveTo>
                <a:cubicBezTo>
                  <a:pt x="3081490" y="1296934"/>
                  <a:pt x="3085486" y="1300929"/>
                  <a:pt x="3085486" y="1306010"/>
                </a:cubicBezTo>
                <a:cubicBezTo>
                  <a:pt x="3085486" y="1311096"/>
                  <a:pt x="3081490" y="1315090"/>
                  <a:pt x="3076406" y="1315090"/>
                </a:cubicBezTo>
                <a:cubicBezTo>
                  <a:pt x="3071324" y="1315090"/>
                  <a:pt x="3067329" y="1311096"/>
                  <a:pt x="3067329" y="1306010"/>
                </a:cubicBezTo>
                <a:cubicBezTo>
                  <a:pt x="3067329" y="1300929"/>
                  <a:pt x="3071324" y="1296934"/>
                  <a:pt x="3076406" y="1296934"/>
                </a:cubicBezTo>
                <a:close/>
                <a:moveTo>
                  <a:pt x="3230353" y="1295844"/>
                </a:moveTo>
                <a:cubicBezTo>
                  <a:pt x="3235800" y="1295844"/>
                  <a:pt x="3240519" y="1300563"/>
                  <a:pt x="3240519" y="1306010"/>
                </a:cubicBezTo>
                <a:cubicBezTo>
                  <a:pt x="3240519" y="1311458"/>
                  <a:pt x="3236162" y="1316177"/>
                  <a:pt x="3230353" y="1316177"/>
                </a:cubicBezTo>
                <a:cubicBezTo>
                  <a:pt x="3224906" y="1316177"/>
                  <a:pt x="3220186" y="1311458"/>
                  <a:pt x="3220186" y="1306010"/>
                </a:cubicBezTo>
                <a:cubicBezTo>
                  <a:pt x="3220186" y="1300563"/>
                  <a:pt x="3224906" y="1295844"/>
                  <a:pt x="3230353" y="1295844"/>
                </a:cubicBezTo>
                <a:close/>
                <a:moveTo>
                  <a:pt x="3383934" y="1294026"/>
                </a:moveTo>
                <a:cubicBezTo>
                  <a:pt x="3390472" y="1294026"/>
                  <a:pt x="3395919" y="1299473"/>
                  <a:pt x="3395919" y="1306007"/>
                </a:cubicBezTo>
                <a:cubicBezTo>
                  <a:pt x="3395919" y="1312544"/>
                  <a:pt x="3390472" y="1317987"/>
                  <a:pt x="3383934" y="1317987"/>
                </a:cubicBezTo>
                <a:cubicBezTo>
                  <a:pt x="3377401" y="1317987"/>
                  <a:pt x="3371954" y="1312544"/>
                  <a:pt x="3371954" y="1306007"/>
                </a:cubicBezTo>
                <a:cubicBezTo>
                  <a:pt x="3371954" y="1299473"/>
                  <a:pt x="3377401" y="1294026"/>
                  <a:pt x="3383934" y="1294026"/>
                </a:cubicBezTo>
                <a:close/>
                <a:moveTo>
                  <a:pt x="3537886" y="1292211"/>
                </a:moveTo>
                <a:cubicBezTo>
                  <a:pt x="3545509" y="1292211"/>
                  <a:pt x="3551681" y="1298383"/>
                  <a:pt x="3551681" y="1306010"/>
                </a:cubicBezTo>
                <a:cubicBezTo>
                  <a:pt x="3551681" y="1313634"/>
                  <a:pt x="3545509" y="1319806"/>
                  <a:pt x="3537886" y="1319806"/>
                </a:cubicBezTo>
                <a:cubicBezTo>
                  <a:pt x="3530258" y="1319806"/>
                  <a:pt x="3524086" y="1313634"/>
                  <a:pt x="3524086" y="1306010"/>
                </a:cubicBezTo>
                <a:cubicBezTo>
                  <a:pt x="3524086" y="1298383"/>
                  <a:pt x="3530258" y="1292211"/>
                  <a:pt x="3537886" y="1292211"/>
                </a:cubicBezTo>
                <a:close/>
                <a:moveTo>
                  <a:pt x="3691467" y="1290759"/>
                </a:moveTo>
                <a:cubicBezTo>
                  <a:pt x="3699891" y="1290759"/>
                  <a:pt x="3706718" y="1297586"/>
                  <a:pt x="3706718" y="1306010"/>
                </a:cubicBezTo>
                <a:cubicBezTo>
                  <a:pt x="3706718" y="1314431"/>
                  <a:pt x="3699891" y="1321258"/>
                  <a:pt x="3691467" y="1321258"/>
                </a:cubicBezTo>
                <a:cubicBezTo>
                  <a:pt x="3683046" y="1321258"/>
                  <a:pt x="3676219" y="1314431"/>
                  <a:pt x="3676219" y="1306010"/>
                </a:cubicBezTo>
                <a:cubicBezTo>
                  <a:pt x="3676219" y="1297586"/>
                  <a:pt x="3683046" y="1290759"/>
                  <a:pt x="3691467" y="1290759"/>
                </a:cubicBezTo>
                <a:close/>
                <a:moveTo>
                  <a:pt x="3845418" y="1288945"/>
                </a:moveTo>
                <a:cubicBezTo>
                  <a:pt x="3854856" y="1288945"/>
                  <a:pt x="3862484" y="1296568"/>
                  <a:pt x="3862484" y="1306010"/>
                </a:cubicBezTo>
                <a:cubicBezTo>
                  <a:pt x="3862484" y="1315449"/>
                  <a:pt x="3854856" y="1323072"/>
                  <a:pt x="3845418" y="1323072"/>
                </a:cubicBezTo>
                <a:cubicBezTo>
                  <a:pt x="3835976" y="1323072"/>
                  <a:pt x="3828352" y="1315449"/>
                  <a:pt x="3828352" y="1306010"/>
                </a:cubicBezTo>
                <a:cubicBezTo>
                  <a:pt x="3828352" y="1296568"/>
                  <a:pt x="3835976" y="1288945"/>
                  <a:pt x="3845418" y="1288945"/>
                </a:cubicBezTo>
                <a:close/>
                <a:moveTo>
                  <a:pt x="3999000" y="1286768"/>
                </a:moveTo>
                <a:cubicBezTo>
                  <a:pt x="4009627" y="1286768"/>
                  <a:pt x="4018242" y="1295383"/>
                  <a:pt x="4018242" y="1306010"/>
                </a:cubicBezTo>
                <a:cubicBezTo>
                  <a:pt x="4018242" y="1316638"/>
                  <a:pt x="4009627" y="1325257"/>
                  <a:pt x="3999000" y="1325257"/>
                </a:cubicBezTo>
                <a:cubicBezTo>
                  <a:pt x="3988372" y="1325257"/>
                  <a:pt x="3979757" y="1316638"/>
                  <a:pt x="3979757" y="1306010"/>
                </a:cubicBezTo>
                <a:cubicBezTo>
                  <a:pt x="3979757" y="1295383"/>
                  <a:pt x="3988372" y="1286768"/>
                  <a:pt x="3999000" y="1286768"/>
                </a:cubicBezTo>
                <a:close/>
                <a:moveTo>
                  <a:pt x="4152947" y="1284588"/>
                </a:moveTo>
                <a:cubicBezTo>
                  <a:pt x="4164928" y="1284588"/>
                  <a:pt x="4174366" y="1294026"/>
                  <a:pt x="4174366" y="1306010"/>
                </a:cubicBezTo>
                <a:cubicBezTo>
                  <a:pt x="4174366" y="1317991"/>
                  <a:pt x="4164562" y="1327433"/>
                  <a:pt x="4152947" y="1327433"/>
                </a:cubicBezTo>
                <a:cubicBezTo>
                  <a:pt x="4140962" y="1327433"/>
                  <a:pt x="4131524" y="1317991"/>
                  <a:pt x="4131524" y="1306010"/>
                </a:cubicBezTo>
                <a:cubicBezTo>
                  <a:pt x="4131524" y="1294026"/>
                  <a:pt x="4140962" y="1284588"/>
                  <a:pt x="4152947" y="1284588"/>
                </a:cubicBezTo>
                <a:close/>
                <a:moveTo>
                  <a:pt x="4306532" y="1283135"/>
                </a:moveTo>
                <a:cubicBezTo>
                  <a:pt x="4319165" y="1283135"/>
                  <a:pt x="4329404" y="1293378"/>
                  <a:pt x="4329404" y="1306010"/>
                </a:cubicBezTo>
                <a:cubicBezTo>
                  <a:pt x="4329404" y="1318643"/>
                  <a:pt x="4319165" y="1328886"/>
                  <a:pt x="4306532" y="1328886"/>
                </a:cubicBezTo>
                <a:cubicBezTo>
                  <a:pt x="4293900" y="1328886"/>
                  <a:pt x="4283657" y="1318643"/>
                  <a:pt x="4283657" y="1306010"/>
                </a:cubicBezTo>
                <a:cubicBezTo>
                  <a:pt x="4283657" y="1293378"/>
                  <a:pt x="4293900" y="1283135"/>
                  <a:pt x="4306532" y="1283135"/>
                </a:cubicBezTo>
                <a:close/>
                <a:moveTo>
                  <a:pt x="4460480" y="1281321"/>
                </a:moveTo>
                <a:cubicBezTo>
                  <a:pt x="4474279" y="1281321"/>
                  <a:pt x="4485536" y="1292577"/>
                  <a:pt x="4485536" y="1306373"/>
                </a:cubicBezTo>
                <a:cubicBezTo>
                  <a:pt x="4485536" y="1320172"/>
                  <a:pt x="4474279" y="1331424"/>
                  <a:pt x="4460480" y="1331424"/>
                </a:cubicBezTo>
                <a:cubicBezTo>
                  <a:pt x="4446684" y="1331424"/>
                  <a:pt x="4435428" y="1320172"/>
                  <a:pt x="4435428" y="1306373"/>
                </a:cubicBezTo>
                <a:cubicBezTo>
                  <a:pt x="4435428" y="1292577"/>
                  <a:pt x="4446684" y="1281321"/>
                  <a:pt x="4460480" y="1281321"/>
                </a:cubicBezTo>
                <a:close/>
                <a:moveTo>
                  <a:pt x="4614065" y="1278778"/>
                </a:moveTo>
                <a:cubicBezTo>
                  <a:pt x="4628950" y="1278778"/>
                  <a:pt x="4641297" y="1291125"/>
                  <a:pt x="4641297" y="1306010"/>
                </a:cubicBezTo>
                <a:cubicBezTo>
                  <a:pt x="4641297" y="1320896"/>
                  <a:pt x="4629312" y="1333243"/>
                  <a:pt x="4614065" y="1333243"/>
                </a:cubicBezTo>
                <a:cubicBezTo>
                  <a:pt x="4599176" y="1333243"/>
                  <a:pt x="4586832" y="1320896"/>
                  <a:pt x="4586832" y="1306010"/>
                </a:cubicBezTo>
                <a:cubicBezTo>
                  <a:pt x="4586832" y="1291125"/>
                  <a:pt x="4599176" y="1278778"/>
                  <a:pt x="4614065" y="1278778"/>
                </a:cubicBezTo>
                <a:close/>
                <a:moveTo>
                  <a:pt x="4768008" y="1276236"/>
                </a:moveTo>
                <a:cubicBezTo>
                  <a:pt x="4784453" y="1276236"/>
                  <a:pt x="4797784" y="1289566"/>
                  <a:pt x="4797784" y="1306010"/>
                </a:cubicBezTo>
                <a:cubicBezTo>
                  <a:pt x="4797784" y="1322451"/>
                  <a:pt x="4784453" y="1335781"/>
                  <a:pt x="4768008" y="1335781"/>
                </a:cubicBezTo>
                <a:cubicBezTo>
                  <a:pt x="4751568" y="1335781"/>
                  <a:pt x="4738238" y="1322451"/>
                  <a:pt x="4738238" y="1306010"/>
                </a:cubicBezTo>
                <a:cubicBezTo>
                  <a:pt x="4738238" y="1289566"/>
                  <a:pt x="4751568" y="1276236"/>
                  <a:pt x="4768008" y="1276236"/>
                </a:cubicBezTo>
                <a:close/>
                <a:moveTo>
                  <a:pt x="4921594" y="1274059"/>
                </a:moveTo>
                <a:cubicBezTo>
                  <a:pt x="4939384" y="1274059"/>
                  <a:pt x="4953545" y="1288220"/>
                  <a:pt x="4953545" y="1306010"/>
                </a:cubicBezTo>
                <a:cubicBezTo>
                  <a:pt x="4953545" y="1323801"/>
                  <a:pt x="4939384" y="1337962"/>
                  <a:pt x="4921594" y="1337962"/>
                </a:cubicBezTo>
                <a:cubicBezTo>
                  <a:pt x="4903804" y="1337962"/>
                  <a:pt x="4889642" y="1323801"/>
                  <a:pt x="4889642" y="1306010"/>
                </a:cubicBezTo>
                <a:cubicBezTo>
                  <a:pt x="4889642" y="1288220"/>
                  <a:pt x="4903804" y="1274059"/>
                  <a:pt x="4921594" y="1274059"/>
                </a:cubicBezTo>
                <a:close/>
                <a:moveTo>
                  <a:pt x="5075541" y="1272245"/>
                </a:moveTo>
                <a:cubicBezTo>
                  <a:pt x="5094060" y="1272245"/>
                  <a:pt x="5109311" y="1287492"/>
                  <a:pt x="5109311" y="1306010"/>
                </a:cubicBezTo>
                <a:cubicBezTo>
                  <a:pt x="5109311" y="1324529"/>
                  <a:pt x="5094060" y="1339780"/>
                  <a:pt x="5075541" y="1339780"/>
                </a:cubicBezTo>
                <a:cubicBezTo>
                  <a:pt x="5057027" y="1339780"/>
                  <a:pt x="5041776" y="1324529"/>
                  <a:pt x="5041776" y="1306010"/>
                </a:cubicBezTo>
                <a:cubicBezTo>
                  <a:pt x="5041776" y="1287492"/>
                  <a:pt x="5057027" y="1272245"/>
                  <a:pt x="5075541" y="1272245"/>
                </a:cubicBezTo>
                <a:close/>
                <a:moveTo>
                  <a:pt x="5229126" y="1269702"/>
                </a:moveTo>
                <a:cubicBezTo>
                  <a:pt x="5249097" y="1269702"/>
                  <a:pt x="5265435" y="1286040"/>
                  <a:pt x="5265435" y="1306010"/>
                </a:cubicBezTo>
                <a:cubicBezTo>
                  <a:pt x="5265435" y="1325981"/>
                  <a:pt x="5249097" y="1342319"/>
                  <a:pt x="5229126" y="1342319"/>
                </a:cubicBezTo>
                <a:cubicBezTo>
                  <a:pt x="5209156" y="1342319"/>
                  <a:pt x="5192818" y="1325981"/>
                  <a:pt x="5192818" y="1306010"/>
                </a:cubicBezTo>
                <a:cubicBezTo>
                  <a:pt x="5192818" y="1286040"/>
                  <a:pt x="5209156" y="1269702"/>
                  <a:pt x="5229126" y="1269702"/>
                </a:cubicBezTo>
                <a:close/>
                <a:moveTo>
                  <a:pt x="5383074" y="1267160"/>
                </a:moveTo>
                <a:cubicBezTo>
                  <a:pt x="5404496" y="1267160"/>
                  <a:pt x="5421921" y="1284588"/>
                  <a:pt x="5421921" y="1306010"/>
                </a:cubicBezTo>
                <a:cubicBezTo>
                  <a:pt x="5421921" y="1327430"/>
                  <a:pt x="5404496" y="1344858"/>
                  <a:pt x="5383074" y="1344858"/>
                </a:cubicBezTo>
                <a:cubicBezTo>
                  <a:pt x="5361651" y="1344858"/>
                  <a:pt x="5344223" y="1327430"/>
                  <a:pt x="5344223" y="1306010"/>
                </a:cubicBezTo>
                <a:cubicBezTo>
                  <a:pt x="5344223" y="1284588"/>
                  <a:pt x="5361651" y="1267160"/>
                  <a:pt x="5383074" y="1267160"/>
                </a:cubicBezTo>
                <a:close/>
                <a:moveTo>
                  <a:pt x="5536659" y="1264983"/>
                </a:moveTo>
                <a:cubicBezTo>
                  <a:pt x="5559534" y="1264983"/>
                  <a:pt x="5577690" y="1283139"/>
                  <a:pt x="5577690" y="1306010"/>
                </a:cubicBezTo>
                <a:cubicBezTo>
                  <a:pt x="5577690" y="1328886"/>
                  <a:pt x="5559172" y="1347038"/>
                  <a:pt x="5536659" y="1347038"/>
                </a:cubicBezTo>
                <a:cubicBezTo>
                  <a:pt x="5513788" y="1347038"/>
                  <a:pt x="5495632" y="1328886"/>
                  <a:pt x="5495632" y="1306010"/>
                </a:cubicBezTo>
                <a:cubicBezTo>
                  <a:pt x="5495632" y="1283139"/>
                  <a:pt x="5513788" y="1264983"/>
                  <a:pt x="5536659" y="1264983"/>
                </a:cubicBezTo>
                <a:close/>
                <a:moveTo>
                  <a:pt x="5690606" y="1262440"/>
                </a:moveTo>
                <a:cubicBezTo>
                  <a:pt x="5714568" y="1262440"/>
                  <a:pt x="5734176" y="1282049"/>
                  <a:pt x="5734176" y="1306010"/>
                </a:cubicBezTo>
                <a:cubicBezTo>
                  <a:pt x="5734176" y="1329976"/>
                  <a:pt x="5714568" y="1349581"/>
                  <a:pt x="5690606" y="1349581"/>
                </a:cubicBezTo>
                <a:cubicBezTo>
                  <a:pt x="5666641" y="1349581"/>
                  <a:pt x="5647036" y="1329976"/>
                  <a:pt x="5647036" y="1306010"/>
                </a:cubicBezTo>
                <a:cubicBezTo>
                  <a:pt x="5647036" y="1282049"/>
                  <a:pt x="5666641" y="1262440"/>
                  <a:pt x="5690606" y="1262440"/>
                </a:cubicBezTo>
                <a:close/>
                <a:moveTo>
                  <a:pt x="5844554" y="1259898"/>
                </a:moveTo>
                <a:cubicBezTo>
                  <a:pt x="5870021" y="1259898"/>
                  <a:pt x="5890666" y="1280543"/>
                  <a:pt x="5890666" y="1306010"/>
                </a:cubicBezTo>
                <a:cubicBezTo>
                  <a:pt x="5890666" y="1331478"/>
                  <a:pt x="5870021" y="1352123"/>
                  <a:pt x="5844554" y="1352123"/>
                </a:cubicBezTo>
                <a:cubicBezTo>
                  <a:pt x="5819086" y="1352123"/>
                  <a:pt x="5798442" y="1331478"/>
                  <a:pt x="5798442" y="1306010"/>
                </a:cubicBezTo>
                <a:cubicBezTo>
                  <a:pt x="5798442" y="1280543"/>
                  <a:pt x="5819086" y="1259898"/>
                  <a:pt x="5844554" y="1259898"/>
                </a:cubicBezTo>
                <a:close/>
                <a:moveTo>
                  <a:pt x="5998136" y="1257355"/>
                </a:moveTo>
                <a:cubicBezTo>
                  <a:pt x="6025006" y="1257355"/>
                  <a:pt x="6046790" y="1279140"/>
                  <a:pt x="6046790" y="1306010"/>
                </a:cubicBezTo>
                <a:cubicBezTo>
                  <a:pt x="6046790" y="1332877"/>
                  <a:pt x="6025006" y="1354662"/>
                  <a:pt x="5998136" y="1354662"/>
                </a:cubicBezTo>
                <a:cubicBezTo>
                  <a:pt x="5971269" y="1354662"/>
                  <a:pt x="5949484" y="1332877"/>
                  <a:pt x="5949484" y="1306010"/>
                </a:cubicBezTo>
                <a:cubicBezTo>
                  <a:pt x="5949484" y="1279140"/>
                  <a:pt x="5971269" y="1257355"/>
                  <a:pt x="5998136" y="1257355"/>
                </a:cubicBezTo>
                <a:close/>
                <a:moveTo>
                  <a:pt x="6152083" y="1254817"/>
                </a:moveTo>
                <a:cubicBezTo>
                  <a:pt x="6180405" y="1254817"/>
                  <a:pt x="6203280" y="1277692"/>
                  <a:pt x="6203280" y="1306010"/>
                </a:cubicBezTo>
                <a:cubicBezTo>
                  <a:pt x="6203280" y="1334333"/>
                  <a:pt x="6180405" y="1357204"/>
                  <a:pt x="6152083" y="1357204"/>
                </a:cubicBezTo>
                <a:cubicBezTo>
                  <a:pt x="6123764" y="1357204"/>
                  <a:pt x="6100889" y="1334333"/>
                  <a:pt x="6100889" y="1306010"/>
                </a:cubicBezTo>
                <a:cubicBezTo>
                  <a:pt x="6100889" y="1277692"/>
                  <a:pt x="6123764" y="1254817"/>
                  <a:pt x="6152083" y="1254817"/>
                </a:cubicBezTo>
                <a:close/>
                <a:moveTo>
                  <a:pt x="6305668" y="1252636"/>
                </a:moveTo>
                <a:cubicBezTo>
                  <a:pt x="6335077" y="1252636"/>
                  <a:pt x="6359042" y="1276598"/>
                  <a:pt x="6359042" y="1306010"/>
                </a:cubicBezTo>
                <a:cubicBezTo>
                  <a:pt x="6359042" y="1335419"/>
                  <a:pt x="6335077" y="1359381"/>
                  <a:pt x="6305668" y="1359381"/>
                </a:cubicBezTo>
                <a:cubicBezTo>
                  <a:pt x="6276259" y="1359381"/>
                  <a:pt x="6252294" y="1335419"/>
                  <a:pt x="6252294" y="1306010"/>
                </a:cubicBezTo>
                <a:cubicBezTo>
                  <a:pt x="6252294" y="1276598"/>
                  <a:pt x="6276259" y="1252636"/>
                  <a:pt x="6305668" y="1252636"/>
                </a:cubicBezTo>
                <a:close/>
                <a:moveTo>
                  <a:pt x="6459619" y="1249732"/>
                </a:moveTo>
                <a:cubicBezTo>
                  <a:pt x="6490842" y="1249732"/>
                  <a:pt x="6515894" y="1274783"/>
                  <a:pt x="6515894" y="1306010"/>
                </a:cubicBezTo>
                <a:cubicBezTo>
                  <a:pt x="6515894" y="1337234"/>
                  <a:pt x="6490842" y="1362289"/>
                  <a:pt x="6459619" y="1362289"/>
                </a:cubicBezTo>
                <a:cubicBezTo>
                  <a:pt x="6428392" y="1362289"/>
                  <a:pt x="6403340" y="1337234"/>
                  <a:pt x="6403340" y="1306010"/>
                </a:cubicBezTo>
                <a:cubicBezTo>
                  <a:pt x="6403340" y="1274783"/>
                  <a:pt x="6428392" y="1249732"/>
                  <a:pt x="6459619" y="1249732"/>
                </a:cubicBezTo>
                <a:close/>
                <a:moveTo>
                  <a:pt x="6613197" y="1247189"/>
                </a:moveTo>
                <a:cubicBezTo>
                  <a:pt x="6645514" y="1247189"/>
                  <a:pt x="6672018" y="1273693"/>
                  <a:pt x="6672018" y="1306010"/>
                </a:cubicBezTo>
                <a:cubicBezTo>
                  <a:pt x="6672018" y="1338324"/>
                  <a:pt x="6645876" y="1364828"/>
                  <a:pt x="6613197" y="1364828"/>
                </a:cubicBezTo>
                <a:cubicBezTo>
                  <a:pt x="6580884" y="1364828"/>
                  <a:pt x="6554380" y="1338324"/>
                  <a:pt x="6554380" y="1306010"/>
                </a:cubicBezTo>
                <a:cubicBezTo>
                  <a:pt x="6554380" y="1273693"/>
                  <a:pt x="6580884" y="1247189"/>
                  <a:pt x="6613197" y="1247189"/>
                </a:cubicBezTo>
                <a:close/>
                <a:moveTo>
                  <a:pt x="1846279" y="1152063"/>
                </a:moveTo>
                <a:cubicBezTo>
                  <a:pt x="1846641" y="1152063"/>
                  <a:pt x="1846641" y="1152063"/>
                  <a:pt x="1846641" y="1152425"/>
                </a:cubicBezTo>
                <a:cubicBezTo>
                  <a:pt x="1846641" y="1152791"/>
                  <a:pt x="1846279" y="1152791"/>
                  <a:pt x="1846279" y="1152791"/>
                </a:cubicBezTo>
                <a:cubicBezTo>
                  <a:pt x="1845917" y="1152791"/>
                  <a:pt x="1845917" y="1152791"/>
                  <a:pt x="1845917" y="1152425"/>
                </a:cubicBezTo>
                <a:cubicBezTo>
                  <a:pt x="1845917" y="1152063"/>
                  <a:pt x="1845917" y="1152063"/>
                  <a:pt x="1846279" y="1152063"/>
                </a:cubicBezTo>
                <a:close/>
                <a:moveTo>
                  <a:pt x="1384799" y="1152063"/>
                </a:moveTo>
                <a:cubicBezTo>
                  <a:pt x="1385161" y="1152063"/>
                  <a:pt x="1385161" y="1152063"/>
                  <a:pt x="1385161" y="1152425"/>
                </a:cubicBezTo>
                <a:cubicBezTo>
                  <a:pt x="1385161" y="1152791"/>
                  <a:pt x="1384799" y="1152791"/>
                  <a:pt x="1384799" y="1152791"/>
                </a:cubicBezTo>
                <a:cubicBezTo>
                  <a:pt x="1384437" y="1152791"/>
                  <a:pt x="1384437" y="1152791"/>
                  <a:pt x="1384437" y="1152425"/>
                </a:cubicBezTo>
                <a:cubicBezTo>
                  <a:pt x="1384437" y="1152063"/>
                  <a:pt x="1384437" y="1152063"/>
                  <a:pt x="1384799" y="1152063"/>
                </a:cubicBezTo>
                <a:close/>
                <a:moveTo>
                  <a:pt x="1231213" y="1152063"/>
                </a:moveTo>
                <a:cubicBezTo>
                  <a:pt x="1231576" y="1152063"/>
                  <a:pt x="1231576" y="1152063"/>
                  <a:pt x="1231576" y="1152425"/>
                </a:cubicBezTo>
                <a:cubicBezTo>
                  <a:pt x="1231576" y="1152791"/>
                  <a:pt x="1231213" y="1152791"/>
                  <a:pt x="1231213" y="1152791"/>
                </a:cubicBezTo>
                <a:cubicBezTo>
                  <a:pt x="1230851" y="1152791"/>
                  <a:pt x="1230851" y="1152791"/>
                  <a:pt x="1230851" y="1152425"/>
                </a:cubicBezTo>
                <a:cubicBezTo>
                  <a:pt x="1230851" y="1152063"/>
                  <a:pt x="1230851" y="1152063"/>
                  <a:pt x="1231213" y="1152063"/>
                </a:cubicBezTo>
                <a:close/>
                <a:moveTo>
                  <a:pt x="1077270" y="1151701"/>
                </a:moveTo>
                <a:cubicBezTo>
                  <a:pt x="1077670" y="1151701"/>
                  <a:pt x="1077994" y="1152025"/>
                  <a:pt x="1077994" y="1152425"/>
                </a:cubicBezTo>
                <a:cubicBezTo>
                  <a:pt x="1077994" y="1152829"/>
                  <a:pt x="1077670" y="1153153"/>
                  <a:pt x="1077270" y="1153153"/>
                </a:cubicBezTo>
                <a:cubicBezTo>
                  <a:pt x="1076866" y="1153153"/>
                  <a:pt x="1076542" y="1152829"/>
                  <a:pt x="1076542" y="1152425"/>
                </a:cubicBezTo>
                <a:cubicBezTo>
                  <a:pt x="1076542" y="1152025"/>
                  <a:pt x="1076866" y="1151701"/>
                  <a:pt x="1077270" y="1151701"/>
                </a:cubicBezTo>
                <a:close/>
                <a:moveTo>
                  <a:pt x="1999864" y="1150611"/>
                </a:moveTo>
                <a:cubicBezTo>
                  <a:pt x="2000588" y="1150611"/>
                  <a:pt x="2001316" y="1151335"/>
                  <a:pt x="2001316" y="1152063"/>
                </a:cubicBezTo>
                <a:cubicBezTo>
                  <a:pt x="2001316" y="1152787"/>
                  <a:pt x="1999864" y="1153515"/>
                  <a:pt x="1999864" y="1153515"/>
                </a:cubicBezTo>
                <a:cubicBezTo>
                  <a:pt x="1999136" y="1153515"/>
                  <a:pt x="1998412" y="1152787"/>
                  <a:pt x="1998412" y="1152063"/>
                </a:cubicBezTo>
                <a:cubicBezTo>
                  <a:pt x="1998412" y="1151335"/>
                  <a:pt x="1999136" y="1150611"/>
                  <a:pt x="1999864" y="1150611"/>
                </a:cubicBezTo>
                <a:close/>
                <a:moveTo>
                  <a:pt x="2153808" y="1150249"/>
                </a:moveTo>
                <a:cubicBezTo>
                  <a:pt x="2154898" y="1150249"/>
                  <a:pt x="2155988" y="1151339"/>
                  <a:pt x="2155988" y="1152425"/>
                </a:cubicBezTo>
                <a:cubicBezTo>
                  <a:pt x="2155988" y="1153515"/>
                  <a:pt x="2153808" y="1154606"/>
                  <a:pt x="2153808" y="1154606"/>
                </a:cubicBezTo>
                <a:cubicBezTo>
                  <a:pt x="2152721" y="1154606"/>
                  <a:pt x="2151631" y="1153515"/>
                  <a:pt x="2151631" y="1152425"/>
                </a:cubicBezTo>
                <a:cubicBezTo>
                  <a:pt x="2151631" y="1151339"/>
                  <a:pt x="2152721" y="1150249"/>
                  <a:pt x="2153808" y="1150249"/>
                </a:cubicBezTo>
                <a:close/>
                <a:moveTo>
                  <a:pt x="2307393" y="1149158"/>
                </a:moveTo>
                <a:cubicBezTo>
                  <a:pt x="2309211" y="1149158"/>
                  <a:pt x="2310660" y="1150611"/>
                  <a:pt x="2310660" y="1152425"/>
                </a:cubicBezTo>
                <a:cubicBezTo>
                  <a:pt x="2310660" y="1154244"/>
                  <a:pt x="2309211" y="1155696"/>
                  <a:pt x="2307393" y="1155696"/>
                </a:cubicBezTo>
                <a:cubicBezTo>
                  <a:pt x="2305578" y="1155696"/>
                  <a:pt x="2304126" y="1154244"/>
                  <a:pt x="2304126" y="1152425"/>
                </a:cubicBezTo>
                <a:cubicBezTo>
                  <a:pt x="2304126" y="1150611"/>
                  <a:pt x="2305578" y="1149158"/>
                  <a:pt x="2307393" y="1149158"/>
                </a:cubicBezTo>
                <a:close/>
                <a:moveTo>
                  <a:pt x="2461340" y="1147706"/>
                </a:moveTo>
                <a:cubicBezTo>
                  <a:pt x="2463883" y="1147706"/>
                  <a:pt x="2465697" y="1149521"/>
                  <a:pt x="2465697" y="1152063"/>
                </a:cubicBezTo>
                <a:cubicBezTo>
                  <a:pt x="2465697" y="1154606"/>
                  <a:pt x="2463521" y="1156420"/>
                  <a:pt x="2461340" y="1156420"/>
                </a:cubicBezTo>
                <a:cubicBezTo>
                  <a:pt x="2458798" y="1156420"/>
                  <a:pt x="2456983" y="1154606"/>
                  <a:pt x="2456983" y="1152063"/>
                </a:cubicBezTo>
                <a:cubicBezTo>
                  <a:pt x="2456983" y="1149521"/>
                  <a:pt x="2458798" y="1147706"/>
                  <a:pt x="2461340" y="1147706"/>
                </a:cubicBezTo>
                <a:close/>
                <a:moveTo>
                  <a:pt x="2614925" y="1146616"/>
                </a:moveTo>
                <a:cubicBezTo>
                  <a:pt x="2618192" y="1146616"/>
                  <a:pt x="2620735" y="1149158"/>
                  <a:pt x="2620735" y="1152425"/>
                </a:cubicBezTo>
                <a:cubicBezTo>
                  <a:pt x="2620735" y="1155692"/>
                  <a:pt x="2618192" y="1158234"/>
                  <a:pt x="2614925" y="1158234"/>
                </a:cubicBezTo>
                <a:cubicBezTo>
                  <a:pt x="2611659" y="1158234"/>
                  <a:pt x="2609116" y="1155692"/>
                  <a:pt x="2609116" y="1152425"/>
                </a:cubicBezTo>
                <a:cubicBezTo>
                  <a:pt x="2609116" y="1149158"/>
                  <a:pt x="2611659" y="1146616"/>
                  <a:pt x="2614925" y="1146616"/>
                </a:cubicBezTo>
                <a:close/>
                <a:moveTo>
                  <a:pt x="2768873" y="1145164"/>
                </a:moveTo>
                <a:cubicBezTo>
                  <a:pt x="2772868" y="1145164"/>
                  <a:pt x="2776135" y="1148430"/>
                  <a:pt x="2776135" y="1152425"/>
                </a:cubicBezTo>
                <a:cubicBezTo>
                  <a:pt x="2776135" y="1156420"/>
                  <a:pt x="2772868" y="1159687"/>
                  <a:pt x="2768873" y="1159687"/>
                </a:cubicBezTo>
                <a:cubicBezTo>
                  <a:pt x="2764878" y="1159687"/>
                  <a:pt x="2761611" y="1156420"/>
                  <a:pt x="2761611" y="1152425"/>
                </a:cubicBezTo>
                <a:cubicBezTo>
                  <a:pt x="2761611" y="1148430"/>
                  <a:pt x="2764878" y="1145164"/>
                  <a:pt x="2768873" y="1145164"/>
                </a:cubicBezTo>
                <a:close/>
                <a:moveTo>
                  <a:pt x="2922454" y="1142983"/>
                </a:moveTo>
                <a:cubicBezTo>
                  <a:pt x="2927539" y="1142983"/>
                  <a:pt x="2931534" y="1146978"/>
                  <a:pt x="2931534" y="1152059"/>
                </a:cubicBezTo>
                <a:cubicBezTo>
                  <a:pt x="2931534" y="1157144"/>
                  <a:pt x="2927539" y="1161139"/>
                  <a:pt x="2922454" y="1161139"/>
                </a:cubicBezTo>
                <a:cubicBezTo>
                  <a:pt x="2917373" y="1161139"/>
                  <a:pt x="2913378" y="1157144"/>
                  <a:pt x="2913378" y="1152059"/>
                </a:cubicBezTo>
                <a:cubicBezTo>
                  <a:pt x="2913378" y="1146978"/>
                  <a:pt x="2917373" y="1142983"/>
                  <a:pt x="2922454" y="1142983"/>
                </a:cubicBezTo>
                <a:close/>
                <a:moveTo>
                  <a:pt x="3076406" y="1142259"/>
                </a:moveTo>
                <a:cubicBezTo>
                  <a:pt x="3081853" y="1142259"/>
                  <a:pt x="3086572" y="1146978"/>
                  <a:pt x="3086572" y="1152425"/>
                </a:cubicBezTo>
                <a:cubicBezTo>
                  <a:pt x="3086572" y="1157872"/>
                  <a:pt x="3082215" y="1162592"/>
                  <a:pt x="3076406" y="1162592"/>
                </a:cubicBezTo>
                <a:cubicBezTo>
                  <a:pt x="3070958" y="1162592"/>
                  <a:pt x="3066239" y="1157872"/>
                  <a:pt x="3066239" y="1152425"/>
                </a:cubicBezTo>
                <a:cubicBezTo>
                  <a:pt x="3066239" y="1146978"/>
                  <a:pt x="3070958" y="1142259"/>
                  <a:pt x="3076406" y="1142259"/>
                </a:cubicBezTo>
                <a:close/>
                <a:moveTo>
                  <a:pt x="3230349" y="1140444"/>
                </a:moveTo>
                <a:cubicBezTo>
                  <a:pt x="3236886" y="1140444"/>
                  <a:pt x="3242334" y="1145892"/>
                  <a:pt x="3242334" y="1152425"/>
                </a:cubicBezTo>
                <a:cubicBezTo>
                  <a:pt x="3242334" y="1158963"/>
                  <a:pt x="3236886" y="1164406"/>
                  <a:pt x="3230349" y="1164406"/>
                </a:cubicBezTo>
                <a:cubicBezTo>
                  <a:pt x="3223816" y="1164406"/>
                  <a:pt x="3218368" y="1158963"/>
                  <a:pt x="3218368" y="1152425"/>
                </a:cubicBezTo>
                <a:cubicBezTo>
                  <a:pt x="3218368" y="1145892"/>
                  <a:pt x="3223816" y="1140444"/>
                  <a:pt x="3230349" y="1140444"/>
                </a:cubicBezTo>
                <a:close/>
                <a:moveTo>
                  <a:pt x="3383934" y="1138264"/>
                </a:moveTo>
                <a:cubicBezTo>
                  <a:pt x="3391562" y="1138264"/>
                  <a:pt x="3397733" y="1144435"/>
                  <a:pt x="3397733" y="1152059"/>
                </a:cubicBezTo>
                <a:cubicBezTo>
                  <a:pt x="3397733" y="1159687"/>
                  <a:pt x="3391562" y="1165858"/>
                  <a:pt x="3383934" y="1165858"/>
                </a:cubicBezTo>
                <a:cubicBezTo>
                  <a:pt x="3376310" y="1165858"/>
                  <a:pt x="3370139" y="1159687"/>
                  <a:pt x="3370139" y="1152059"/>
                </a:cubicBezTo>
                <a:cubicBezTo>
                  <a:pt x="3370139" y="1144435"/>
                  <a:pt x="3376310" y="1138264"/>
                  <a:pt x="3383934" y="1138264"/>
                </a:cubicBezTo>
                <a:close/>
                <a:moveTo>
                  <a:pt x="3537882" y="1137178"/>
                </a:moveTo>
                <a:cubicBezTo>
                  <a:pt x="3546306" y="1137178"/>
                  <a:pt x="3553133" y="1144005"/>
                  <a:pt x="3553133" y="1152425"/>
                </a:cubicBezTo>
                <a:cubicBezTo>
                  <a:pt x="3553133" y="1160849"/>
                  <a:pt x="3546306" y="1167677"/>
                  <a:pt x="3537882" y="1167677"/>
                </a:cubicBezTo>
                <a:cubicBezTo>
                  <a:pt x="3529461" y="1167677"/>
                  <a:pt x="3522634" y="1160849"/>
                  <a:pt x="3522634" y="1152425"/>
                </a:cubicBezTo>
                <a:cubicBezTo>
                  <a:pt x="3522634" y="1144005"/>
                  <a:pt x="3529461" y="1137178"/>
                  <a:pt x="3537882" y="1137178"/>
                </a:cubicBezTo>
                <a:close/>
                <a:moveTo>
                  <a:pt x="3691467" y="1135359"/>
                </a:moveTo>
                <a:cubicBezTo>
                  <a:pt x="3700905" y="1135359"/>
                  <a:pt x="3708533" y="1142983"/>
                  <a:pt x="3708533" y="1152425"/>
                </a:cubicBezTo>
                <a:cubicBezTo>
                  <a:pt x="3708533" y="1161863"/>
                  <a:pt x="3700905" y="1169487"/>
                  <a:pt x="3691467" y="1169487"/>
                </a:cubicBezTo>
                <a:cubicBezTo>
                  <a:pt x="3682025" y="1169487"/>
                  <a:pt x="3674401" y="1161863"/>
                  <a:pt x="3674401" y="1152425"/>
                </a:cubicBezTo>
                <a:cubicBezTo>
                  <a:pt x="3674401" y="1142983"/>
                  <a:pt x="3682025" y="1135359"/>
                  <a:pt x="3691467" y="1135359"/>
                </a:cubicBezTo>
                <a:close/>
                <a:moveTo>
                  <a:pt x="3845414" y="1133183"/>
                </a:moveTo>
                <a:cubicBezTo>
                  <a:pt x="3856046" y="1133183"/>
                  <a:pt x="3864661" y="1141798"/>
                  <a:pt x="3864661" y="1152425"/>
                </a:cubicBezTo>
                <a:cubicBezTo>
                  <a:pt x="3864661" y="1163053"/>
                  <a:pt x="3856046" y="1171672"/>
                  <a:pt x="3845414" y="1171672"/>
                </a:cubicBezTo>
                <a:cubicBezTo>
                  <a:pt x="3834787" y="1171672"/>
                  <a:pt x="3826172" y="1163053"/>
                  <a:pt x="3826172" y="1152425"/>
                </a:cubicBezTo>
                <a:cubicBezTo>
                  <a:pt x="3826172" y="1141798"/>
                  <a:pt x="3834787" y="1133183"/>
                  <a:pt x="3845414" y="1133183"/>
                </a:cubicBezTo>
                <a:close/>
                <a:moveTo>
                  <a:pt x="3999000" y="1131002"/>
                </a:moveTo>
                <a:cubicBezTo>
                  <a:pt x="4010832" y="1131002"/>
                  <a:pt x="4020422" y="1140593"/>
                  <a:pt x="4020422" y="1152425"/>
                </a:cubicBezTo>
                <a:cubicBezTo>
                  <a:pt x="4020422" y="1164254"/>
                  <a:pt x="4010832" y="1173844"/>
                  <a:pt x="3999000" y="1173844"/>
                </a:cubicBezTo>
                <a:cubicBezTo>
                  <a:pt x="3987168" y="1173844"/>
                  <a:pt x="3977577" y="1164254"/>
                  <a:pt x="3977577" y="1152425"/>
                </a:cubicBezTo>
                <a:cubicBezTo>
                  <a:pt x="3977577" y="1140593"/>
                  <a:pt x="3987168" y="1131002"/>
                  <a:pt x="3999000" y="1131002"/>
                </a:cubicBezTo>
                <a:close/>
                <a:moveTo>
                  <a:pt x="4152947" y="1129550"/>
                </a:moveTo>
                <a:cubicBezTo>
                  <a:pt x="4165580" y="1129550"/>
                  <a:pt x="4175822" y="1139792"/>
                  <a:pt x="4175822" y="1152425"/>
                </a:cubicBezTo>
                <a:cubicBezTo>
                  <a:pt x="4175822" y="1165058"/>
                  <a:pt x="4165580" y="1175297"/>
                  <a:pt x="4152947" y="1175297"/>
                </a:cubicBezTo>
                <a:cubicBezTo>
                  <a:pt x="4140314" y="1175297"/>
                  <a:pt x="4130072" y="1165058"/>
                  <a:pt x="4130072" y="1152425"/>
                </a:cubicBezTo>
                <a:cubicBezTo>
                  <a:pt x="4130072" y="1139792"/>
                  <a:pt x="4140314" y="1129550"/>
                  <a:pt x="4152947" y="1129550"/>
                </a:cubicBezTo>
                <a:close/>
                <a:moveTo>
                  <a:pt x="4306532" y="1127373"/>
                </a:moveTo>
                <a:cubicBezTo>
                  <a:pt x="4320370" y="1127373"/>
                  <a:pt x="4331584" y="1138588"/>
                  <a:pt x="4331584" y="1152425"/>
                </a:cubicBezTo>
                <a:cubicBezTo>
                  <a:pt x="4331584" y="1166262"/>
                  <a:pt x="4320370" y="1177481"/>
                  <a:pt x="4306532" y="1177481"/>
                </a:cubicBezTo>
                <a:cubicBezTo>
                  <a:pt x="4292695" y="1177481"/>
                  <a:pt x="4281480" y="1166262"/>
                  <a:pt x="4281480" y="1152425"/>
                </a:cubicBezTo>
                <a:cubicBezTo>
                  <a:pt x="4281480" y="1138588"/>
                  <a:pt x="4292695" y="1127373"/>
                  <a:pt x="4306532" y="1127373"/>
                </a:cubicBezTo>
                <a:close/>
                <a:moveTo>
                  <a:pt x="4460480" y="1125193"/>
                </a:moveTo>
                <a:cubicBezTo>
                  <a:pt x="4475365" y="1125193"/>
                  <a:pt x="4487712" y="1137540"/>
                  <a:pt x="4487712" y="1152425"/>
                </a:cubicBezTo>
                <a:cubicBezTo>
                  <a:pt x="4487712" y="1167311"/>
                  <a:pt x="4475728" y="1179657"/>
                  <a:pt x="4460480" y="1179657"/>
                </a:cubicBezTo>
                <a:cubicBezTo>
                  <a:pt x="4445590" y="1179657"/>
                  <a:pt x="4433248" y="1167311"/>
                  <a:pt x="4433248" y="1152425"/>
                </a:cubicBezTo>
                <a:cubicBezTo>
                  <a:pt x="4433248" y="1137540"/>
                  <a:pt x="4445590" y="1125193"/>
                  <a:pt x="4460480" y="1125193"/>
                </a:cubicBezTo>
                <a:close/>
                <a:moveTo>
                  <a:pt x="4614061" y="1122654"/>
                </a:moveTo>
                <a:cubicBezTo>
                  <a:pt x="4630506" y="1122654"/>
                  <a:pt x="4643836" y="1135985"/>
                  <a:pt x="4643836" y="1152425"/>
                </a:cubicBezTo>
                <a:cubicBezTo>
                  <a:pt x="4643836" y="1168870"/>
                  <a:pt x="4630506" y="1182200"/>
                  <a:pt x="4614061" y="1182200"/>
                </a:cubicBezTo>
                <a:cubicBezTo>
                  <a:pt x="4597620" y="1182200"/>
                  <a:pt x="4584290" y="1168870"/>
                  <a:pt x="4584290" y="1152429"/>
                </a:cubicBezTo>
                <a:cubicBezTo>
                  <a:pt x="4584290" y="1135985"/>
                  <a:pt x="4597620" y="1122654"/>
                  <a:pt x="4614061" y="1122654"/>
                </a:cubicBezTo>
                <a:close/>
                <a:moveTo>
                  <a:pt x="4768012" y="1120474"/>
                </a:moveTo>
                <a:cubicBezTo>
                  <a:pt x="4785802" y="1120474"/>
                  <a:pt x="4799964" y="1134635"/>
                  <a:pt x="4799964" y="1152425"/>
                </a:cubicBezTo>
                <a:cubicBezTo>
                  <a:pt x="4799964" y="1170215"/>
                  <a:pt x="4785802" y="1184377"/>
                  <a:pt x="4768012" y="1184377"/>
                </a:cubicBezTo>
                <a:cubicBezTo>
                  <a:pt x="4750222" y="1184377"/>
                  <a:pt x="4736061" y="1170215"/>
                  <a:pt x="4736061" y="1152425"/>
                </a:cubicBezTo>
                <a:cubicBezTo>
                  <a:pt x="4736061" y="1134635"/>
                  <a:pt x="4750222" y="1120474"/>
                  <a:pt x="4768012" y="1120474"/>
                </a:cubicBezTo>
                <a:close/>
                <a:moveTo>
                  <a:pt x="4921594" y="1118659"/>
                </a:moveTo>
                <a:cubicBezTo>
                  <a:pt x="4940246" y="1118659"/>
                  <a:pt x="4955364" y="1133777"/>
                  <a:pt x="4955364" y="1152425"/>
                </a:cubicBezTo>
                <a:cubicBezTo>
                  <a:pt x="4955364" y="1171077"/>
                  <a:pt x="4940246" y="1186191"/>
                  <a:pt x="4921594" y="1186191"/>
                </a:cubicBezTo>
                <a:cubicBezTo>
                  <a:pt x="4902946" y="1186191"/>
                  <a:pt x="4887828" y="1171077"/>
                  <a:pt x="4887828" y="1152425"/>
                </a:cubicBezTo>
                <a:cubicBezTo>
                  <a:pt x="4887828" y="1133777"/>
                  <a:pt x="4902946" y="1118659"/>
                  <a:pt x="4921594" y="1118659"/>
                </a:cubicBezTo>
                <a:close/>
                <a:moveTo>
                  <a:pt x="5075541" y="1116117"/>
                </a:moveTo>
                <a:cubicBezTo>
                  <a:pt x="5095512" y="1116117"/>
                  <a:pt x="5111850" y="1132455"/>
                  <a:pt x="5111850" y="1152425"/>
                </a:cubicBezTo>
                <a:cubicBezTo>
                  <a:pt x="5111850" y="1172396"/>
                  <a:pt x="5095512" y="1188734"/>
                  <a:pt x="5075541" y="1188734"/>
                </a:cubicBezTo>
                <a:cubicBezTo>
                  <a:pt x="5055570" y="1188734"/>
                  <a:pt x="5039233" y="1172396"/>
                  <a:pt x="5039233" y="1152425"/>
                </a:cubicBezTo>
                <a:cubicBezTo>
                  <a:pt x="5039233" y="1132455"/>
                  <a:pt x="5055570" y="1116117"/>
                  <a:pt x="5075541" y="1116117"/>
                </a:cubicBezTo>
                <a:close/>
                <a:moveTo>
                  <a:pt x="5229126" y="1113574"/>
                </a:moveTo>
                <a:cubicBezTo>
                  <a:pt x="5250550" y="1113574"/>
                  <a:pt x="5267978" y="1131002"/>
                  <a:pt x="5267978" y="1152425"/>
                </a:cubicBezTo>
                <a:cubicBezTo>
                  <a:pt x="5267978" y="1173848"/>
                  <a:pt x="5250550" y="1191276"/>
                  <a:pt x="5229126" y="1191276"/>
                </a:cubicBezTo>
                <a:cubicBezTo>
                  <a:pt x="5207704" y="1191276"/>
                  <a:pt x="5190276" y="1173848"/>
                  <a:pt x="5190276" y="1152425"/>
                </a:cubicBezTo>
                <a:cubicBezTo>
                  <a:pt x="5190276" y="1131002"/>
                  <a:pt x="5207704" y="1113574"/>
                  <a:pt x="5229126" y="1113574"/>
                </a:cubicBezTo>
                <a:close/>
                <a:moveTo>
                  <a:pt x="5383074" y="1111036"/>
                </a:moveTo>
                <a:cubicBezTo>
                  <a:pt x="5405949" y="1111036"/>
                  <a:pt x="5424102" y="1129192"/>
                  <a:pt x="5424102" y="1152063"/>
                </a:cubicBezTo>
                <a:cubicBezTo>
                  <a:pt x="5424102" y="1174938"/>
                  <a:pt x="5405587" y="1193094"/>
                  <a:pt x="5383074" y="1193094"/>
                </a:cubicBezTo>
                <a:cubicBezTo>
                  <a:pt x="5360202" y="1193094"/>
                  <a:pt x="5342046" y="1174938"/>
                  <a:pt x="5342046" y="1152063"/>
                </a:cubicBezTo>
                <a:cubicBezTo>
                  <a:pt x="5342046" y="1129192"/>
                  <a:pt x="5360202" y="1111036"/>
                  <a:pt x="5383074" y="1111036"/>
                </a:cubicBezTo>
                <a:close/>
                <a:moveTo>
                  <a:pt x="5536659" y="1108855"/>
                </a:moveTo>
                <a:cubicBezTo>
                  <a:pt x="5560620" y="1108855"/>
                  <a:pt x="5580229" y="1128460"/>
                  <a:pt x="5580229" y="1152425"/>
                </a:cubicBezTo>
                <a:cubicBezTo>
                  <a:pt x="5580229" y="1176391"/>
                  <a:pt x="5560620" y="1195995"/>
                  <a:pt x="5536659" y="1195995"/>
                </a:cubicBezTo>
                <a:cubicBezTo>
                  <a:pt x="5512694" y="1195995"/>
                  <a:pt x="5493089" y="1176391"/>
                  <a:pt x="5493089" y="1152425"/>
                </a:cubicBezTo>
                <a:cubicBezTo>
                  <a:pt x="5493089" y="1128460"/>
                  <a:pt x="5512694" y="1108855"/>
                  <a:pt x="5536659" y="1108855"/>
                </a:cubicBezTo>
                <a:close/>
                <a:moveTo>
                  <a:pt x="5690602" y="1106313"/>
                </a:moveTo>
                <a:cubicBezTo>
                  <a:pt x="5716070" y="1106313"/>
                  <a:pt x="5736716" y="1126958"/>
                  <a:pt x="5736716" y="1152425"/>
                </a:cubicBezTo>
                <a:cubicBezTo>
                  <a:pt x="5736716" y="1177893"/>
                  <a:pt x="5716070" y="1198534"/>
                  <a:pt x="5690602" y="1198534"/>
                </a:cubicBezTo>
                <a:cubicBezTo>
                  <a:pt x="5665136" y="1198534"/>
                  <a:pt x="5644490" y="1177893"/>
                  <a:pt x="5644490" y="1152425"/>
                </a:cubicBezTo>
                <a:cubicBezTo>
                  <a:pt x="5644490" y="1126958"/>
                  <a:pt x="5665136" y="1106313"/>
                  <a:pt x="5690602" y="1106313"/>
                </a:cubicBezTo>
                <a:close/>
                <a:moveTo>
                  <a:pt x="5844554" y="1103770"/>
                </a:moveTo>
                <a:cubicBezTo>
                  <a:pt x="5871420" y="1103770"/>
                  <a:pt x="5893205" y="1125555"/>
                  <a:pt x="5893205" y="1152425"/>
                </a:cubicBezTo>
                <a:cubicBezTo>
                  <a:pt x="5893205" y="1179291"/>
                  <a:pt x="5871420" y="1201077"/>
                  <a:pt x="5844554" y="1201077"/>
                </a:cubicBezTo>
                <a:cubicBezTo>
                  <a:pt x="5817684" y="1201077"/>
                  <a:pt x="5795899" y="1179291"/>
                  <a:pt x="5795899" y="1152425"/>
                </a:cubicBezTo>
                <a:cubicBezTo>
                  <a:pt x="5795899" y="1125555"/>
                  <a:pt x="5817684" y="1103770"/>
                  <a:pt x="5844554" y="1103770"/>
                </a:cubicBezTo>
                <a:close/>
                <a:moveTo>
                  <a:pt x="5998136" y="1101231"/>
                </a:moveTo>
                <a:cubicBezTo>
                  <a:pt x="6026458" y="1101231"/>
                  <a:pt x="6049333" y="1124107"/>
                  <a:pt x="6049333" y="1152425"/>
                </a:cubicBezTo>
                <a:cubicBezTo>
                  <a:pt x="6049333" y="1180748"/>
                  <a:pt x="6026458" y="1203623"/>
                  <a:pt x="5998136" y="1203623"/>
                </a:cubicBezTo>
                <a:cubicBezTo>
                  <a:pt x="5969817" y="1203623"/>
                  <a:pt x="5946942" y="1180748"/>
                  <a:pt x="5946942" y="1152425"/>
                </a:cubicBezTo>
                <a:cubicBezTo>
                  <a:pt x="5946942" y="1124107"/>
                  <a:pt x="5969817" y="1101231"/>
                  <a:pt x="5998136" y="1101231"/>
                </a:cubicBezTo>
                <a:close/>
                <a:moveTo>
                  <a:pt x="6152083" y="1099051"/>
                </a:moveTo>
                <a:cubicBezTo>
                  <a:pt x="6181496" y="1099051"/>
                  <a:pt x="6205461" y="1123013"/>
                  <a:pt x="6205461" y="1152425"/>
                </a:cubicBezTo>
                <a:cubicBezTo>
                  <a:pt x="6205461" y="1181834"/>
                  <a:pt x="6181496" y="1205796"/>
                  <a:pt x="6152083" y="1205796"/>
                </a:cubicBezTo>
                <a:cubicBezTo>
                  <a:pt x="6122674" y="1205796"/>
                  <a:pt x="6098712" y="1181834"/>
                  <a:pt x="6098712" y="1152425"/>
                </a:cubicBezTo>
                <a:cubicBezTo>
                  <a:pt x="6098712" y="1123013"/>
                  <a:pt x="6122674" y="1099051"/>
                  <a:pt x="6152083" y="1099051"/>
                </a:cubicBezTo>
                <a:close/>
                <a:moveTo>
                  <a:pt x="6305672" y="1096146"/>
                </a:moveTo>
                <a:cubicBezTo>
                  <a:pt x="6336895" y="1096146"/>
                  <a:pt x="6361947" y="1121198"/>
                  <a:pt x="6361947" y="1152425"/>
                </a:cubicBezTo>
                <a:cubicBezTo>
                  <a:pt x="6361947" y="1183648"/>
                  <a:pt x="6336895" y="1208704"/>
                  <a:pt x="6305672" y="1208704"/>
                </a:cubicBezTo>
                <a:cubicBezTo>
                  <a:pt x="6274445" y="1208704"/>
                  <a:pt x="6249393" y="1183648"/>
                  <a:pt x="6249393" y="1152425"/>
                </a:cubicBezTo>
                <a:cubicBezTo>
                  <a:pt x="6249393" y="1121198"/>
                  <a:pt x="6274445" y="1096146"/>
                  <a:pt x="6305672" y="1096146"/>
                </a:cubicBezTo>
                <a:close/>
                <a:moveTo>
                  <a:pt x="6459616" y="1093608"/>
                </a:moveTo>
                <a:cubicBezTo>
                  <a:pt x="6491932" y="1093608"/>
                  <a:pt x="6518437" y="1120112"/>
                  <a:pt x="6518437" y="1152425"/>
                </a:cubicBezTo>
                <a:cubicBezTo>
                  <a:pt x="6518437" y="1184743"/>
                  <a:pt x="6492295" y="1211247"/>
                  <a:pt x="6459616" y="1211247"/>
                </a:cubicBezTo>
                <a:cubicBezTo>
                  <a:pt x="6427302" y="1211247"/>
                  <a:pt x="6400798" y="1184743"/>
                  <a:pt x="6400798" y="1152425"/>
                </a:cubicBezTo>
                <a:cubicBezTo>
                  <a:pt x="6400798" y="1120112"/>
                  <a:pt x="6427302" y="1093608"/>
                  <a:pt x="6459616" y="1093608"/>
                </a:cubicBezTo>
                <a:close/>
                <a:moveTo>
                  <a:pt x="6613200" y="1090703"/>
                </a:moveTo>
                <a:cubicBezTo>
                  <a:pt x="6647328" y="1090703"/>
                  <a:pt x="6674923" y="1118297"/>
                  <a:pt x="6674923" y="1152425"/>
                </a:cubicBezTo>
                <a:cubicBezTo>
                  <a:pt x="6674923" y="1186557"/>
                  <a:pt x="6647328" y="1214151"/>
                  <a:pt x="6613200" y="1214151"/>
                </a:cubicBezTo>
                <a:cubicBezTo>
                  <a:pt x="6579069" y="1214151"/>
                  <a:pt x="6551474" y="1186557"/>
                  <a:pt x="6551474" y="1152425"/>
                </a:cubicBezTo>
                <a:cubicBezTo>
                  <a:pt x="6551474" y="1118297"/>
                  <a:pt x="6579069" y="1090703"/>
                  <a:pt x="6613200" y="1090703"/>
                </a:cubicBezTo>
                <a:close/>
                <a:moveTo>
                  <a:pt x="1692331" y="998116"/>
                </a:moveTo>
                <a:cubicBezTo>
                  <a:pt x="1692694" y="998116"/>
                  <a:pt x="1692694" y="998116"/>
                  <a:pt x="1692694" y="998478"/>
                </a:cubicBezTo>
                <a:cubicBezTo>
                  <a:pt x="1692694" y="998844"/>
                  <a:pt x="1692331" y="998844"/>
                  <a:pt x="1692331" y="998844"/>
                </a:cubicBezTo>
                <a:cubicBezTo>
                  <a:pt x="1691969" y="998844"/>
                  <a:pt x="1691969" y="998844"/>
                  <a:pt x="1691969" y="998478"/>
                </a:cubicBezTo>
                <a:cubicBezTo>
                  <a:pt x="1691969" y="998116"/>
                  <a:pt x="1691969" y="998116"/>
                  <a:pt x="1692331" y="998116"/>
                </a:cubicBezTo>
                <a:close/>
                <a:moveTo>
                  <a:pt x="1231213" y="998116"/>
                </a:moveTo>
                <a:cubicBezTo>
                  <a:pt x="1231576" y="998116"/>
                  <a:pt x="1231576" y="998116"/>
                  <a:pt x="1231576" y="998478"/>
                </a:cubicBezTo>
                <a:cubicBezTo>
                  <a:pt x="1231576" y="998844"/>
                  <a:pt x="1231213" y="998844"/>
                  <a:pt x="1231213" y="998844"/>
                </a:cubicBezTo>
                <a:cubicBezTo>
                  <a:pt x="1230851" y="998844"/>
                  <a:pt x="1230851" y="998844"/>
                  <a:pt x="1230851" y="998478"/>
                </a:cubicBezTo>
                <a:cubicBezTo>
                  <a:pt x="1230851" y="998116"/>
                  <a:pt x="1230851" y="998116"/>
                  <a:pt x="1231213" y="998116"/>
                </a:cubicBezTo>
                <a:close/>
                <a:moveTo>
                  <a:pt x="1077266" y="998116"/>
                </a:moveTo>
                <a:cubicBezTo>
                  <a:pt x="1077628" y="998116"/>
                  <a:pt x="1077628" y="998116"/>
                  <a:pt x="1077628" y="998478"/>
                </a:cubicBezTo>
                <a:cubicBezTo>
                  <a:pt x="1077628" y="998844"/>
                  <a:pt x="1077266" y="998844"/>
                  <a:pt x="1077266" y="998844"/>
                </a:cubicBezTo>
                <a:cubicBezTo>
                  <a:pt x="1076904" y="998844"/>
                  <a:pt x="1076904" y="998844"/>
                  <a:pt x="1076904" y="998478"/>
                </a:cubicBezTo>
                <a:cubicBezTo>
                  <a:pt x="1076904" y="998116"/>
                  <a:pt x="1076904" y="998116"/>
                  <a:pt x="1077266" y="998116"/>
                </a:cubicBezTo>
                <a:close/>
                <a:moveTo>
                  <a:pt x="923685" y="997754"/>
                </a:moveTo>
                <a:cubicBezTo>
                  <a:pt x="924085" y="997754"/>
                  <a:pt x="924409" y="998077"/>
                  <a:pt x="924409" y="998482"/>
                </a:cubicBezTo>
                <a:cubicBezTo>
                  <a:pt x="924409" y="998882"/>
                  <a:pt x="924085" y="999206"/>
                  <a:pt x="923685" y="999206"/>
                </a:cubicBezTo>
                <a:cubicBezTo>
                  <a:pt x="923281" y="999206"/>
                  <a:pt x="922957" y="998882"/>
                  <a:pt x="922957" y="998482"/>
                </a:cubicBezTo>
                <a:cubicBezTo>
                  <a:pt x="922957" y="998077"/>
                  <a:pt x="923281" y="997754"/>
                  <a:pt x="923685" y="997754"/>
                </a:cubicBezTo>
                <a:close/>
                <a:moveTo>
                  <a:pt x="1846279" y="997025"/>
                </a:moveTo>
                <a:cubicBezTo>
                  <a:pt x="1847003" y="997025"/>
                  <a:pt x="1847731" y="997754"/>
                  <a:pt x="1847731" y="998478"/>
                </a:cubicBezTo>
                <a:cubicBezTo>
                  <a:pt x="1847731" y="999206"/>
                  <a:pt x="1846279" y="999930"/>
                  <a:pt x="1846279" y="999930"/>
                </a:cubicBezTo>
                <a:cubicBezTo>
                  <a:pt x="1845551" y="999930"/>
                  <a:pt x="1844826" y="999206"/>
                  <a:pt x="1844826" y="998478"/>
                </a:cubicBezTo>
                <a:cubicBezTo>
                  <a:pt x="1844826" y="997754"/>
                  <a:pt x="1845551" y="997025"/>
                  <a:pt x="1846279" y="997025"/>
                </a:cubicBezTo>
                <a:close/>
                <a:moveTo>
                  <a:pt x="1999860" y="996301"/>
                </a:moveTo>
                <a:cubicBezTo>
                  <a:pt x="2000950" y="996301"/>
                  <a:pt x="2002041" y="997391"/>
                  <a:pt x="2002041" y="998478"/>
                </a:cubicBezTo>
                <a:cubicBezTo>
                  <a:pt x="2002041" y="999568"/>
                  <a:pt x="1999860" y="1000658"/>
                  <a:pt x="1999860" y="1000658"/>
                </a:cubicBezTo>
                <a:cubicBezTo>
                  <a:pt x="1998774" y="1000658"/>
                  <a:pt x="1997684" y="999568"/>
                  <a:pt x="1997684" y="998478"/>
                </a:cubicBezTo>
                <a:cubicBezTo>
                  <a:pt x="1997684" y="997391"/>
                  <a:pt x="1998774" y="996301"/>
                  <a:pt x="1999860" y="996301"/>
                </a:cubicBezTo>
                <a:close/>
                <a:moveTo>
                  <a:pt x="2153808" y="995573"/>
                </a:moveTo>
                <a:cubicBezTo>
                  <a:pt x="2155622" y="995573"/>
                  <a:pt x="2157074" y="997025"/>
                  <a:pt x="2157074" y="998840"/>
                </a:cubicBezTo>
                <a:cubicBezTo>
                  <a:pt x="2157074" y="1000654"/>
                  <a:pt x="2155622" y="1002110"/>
                  <a:pt x="2153808" y="1002110"/>
                </a:cubicBezTo>
                <a:cubicBezTo>
                  <a:pt x="2151993" y="1002110"/>
                  <a:pt x="2150541" y="1000654"/>
                  <a:pt x="2150541" y="998840"/>
                </a:cubicBezTo>
                <a:cubicBezTo>
                  <a:pt x="2150541" y="997025"/>
                  <a:pt x="2151993" y="995573"/>
                  <a:pt x="2153808" y="995573"/>
                </a:cubicBezTo>
                <a:close/>
                <a:moveTo>
                  <a:pt x="2307393" y="994121"/>
                </a:moveTo>
                <a:cubicBezTo>
                  <a:pt x="2309935" y="994121"/>
                  <a:pt x="2311750" y="995935"/>
                  <a:pt x="2311750" y="998478"/>
                </a:cubicBezTo>
                <a:cubicBezTo>
                  <a:pt x="2311750" y="1001020"/>
                  <a:pt x="2309569" y="1002835"/>
                  <a:pt x="2307393" y="1002835"/>
                </a:cubicBezTo>
                <a:cubicBezTo>
                  <a:pt x="2304850" y="1002835"/>
                  <a:pt x="2303036" y="1001020"/>
                  <a:pt x="2303036" y="998478"/>
                </a:cubicBezTo>
                <a:cubicBezTo>
                  <a:pt x="2303036" y="995935"/>
                  <a:pt x="2304850" y="994121"/>
                  <a:pt x="2307393" y="994121"/>
                </a:cubicBezTo>
                <a:close/>
                <a:moveTo>
                  <a:pt x="2461340" y="993031"/>
                </a:moveTo>
                <a:cubicBezTo>
                  <a:pt x="2464607" y="993031"/>
                  <a:pt x="2467150" y="995573"/>
                  <a:pt x="2467150" y="998840"/>
                </a:cubicBezTo>
                <a:cubicBezTo>
                  <a:pt x="2467150" y="1002107"/>
                  <a:pt x="2464607" y="1004649"/>
                  <a:pt x="2461340" y="1004649"/>
                </a:cubicBezTo>
                <a:cubicBezTo>
                  <a:pt x="2458073" y="1004649"/>
                  <a:pt x="2455531" y="1002107"/>
                  <a:pt x="2455531" y="998840"/>
                </a:cubicBezTo>
                <a:cubicBezTo>
                  <a:pt x="2455531" y="995573"/>
                  <a:pt x="2458073" y="993031"/>
                  <a:pt x="2461340" y="993031"/>
                </a:cubicBezTo>
                <a:close/>
                <a:moveTo>
                  <a:pt x="2614925" y="991216"/>
                </a:moveTo>
                <a:cubicBezTo>
                  <a:pt x="2618920" y="991216"/>
                  <a:pt x="2622187" y="994483"/>
                  <a:pt x="2622187" y="998478"/>
                </a:cubicBezTo>
                <a:cubicBezTo>
                  <a:pt x="2622187" y="1002473"/>
                  <a:pt x="2618920" y="1005739"/>
                  <a:pt x="2614925" y="1005739"/>
                </a:cubicBezTo>
                <a:cubicBezTo>
                  <a:pt x="2610931" y="1005739"/>
                  <a:pt x="2607664" y="1002473"/>
                  <a:pt x="2607664" y="998478"/>
                </a:cubicBezTo>
                <a:cubicBezTo>
                  <a:pt x="2607664" y="994483"/>
                  <a:pt x="2610931" y="991216"/>
                  <a:pt x="2614925" y="991216"/>
                </a:cubicBezTo>
                <a:close/>
                <a:moveTo>
                  <a:pt x="2768873" y="989402"/>
                </a:moveTo>
                <a:cubicBezTo>
                  <a:pt x="2773958" y="989402"/>
                  <a:pt x="2777953" y="993396"/>
                  <a:pt x="2777953" y="998478"/>
                </a:cubicBezTo>
                <a:cubicBezTo>
                  <a:pt x="2777953" y="1003563"/>
                  <a:pt x="2773958" y="1007558"/>
                  <a:pt x="2768873" y="1007558"/>
                </a:cubicBezTo>
                <a:cubicBezTo>
                  <a:pt x="2763792" y="1007558"/>
                  <a:pt x="2759797" y="1003563"/>
                  <a:pt x="2759797" y="998478"/>
                </a:cubicBezTo>
                <a:cubicBezTo>
                  <a:pt x="2759797" y="993396"/>
                  <a:pt x="2763792" y="989402"/>
                  <a:pt x="2768873" y="989402"/>
                </a:cubicBezTo>
                <a:close/>
                <a:moveTo>
                  <a:pt x="2922458" y="988311"/>
                </a:moveTo>
                <a:cubicBezTo>
                  <a:pt x="2927905" y="988311"/>
                  <a:pt x="2932624" y="993031"/>
                  <a:pt x="2932624" y="998478"/>
                </a:cubicBezTo>
                <a:cubicBezTo>
                  <a:pt x="2932624" y="1003925"/>
                  <a:pt x="2928267" y="1008644"/>
                  <a:pt x="2922458" y="1008644"/>
                </a:cubicBezTo>
                <a:cubicBezTo>
                  <a:pt x="2917011" y="1008644"/>
                  <a:pt x="2912292" y="1003925"/>
                  <a:pt x="2912292" y="998478"/>
                </a:cubicBezTo>
                <a:cubicBezTo>
                  <a:pt x="2912292" y="993031"/>
                  <a:pt x="2917011" y="988311"/>
                  <a:pt x="2922458" y="988311"/>
                </a:cubicBezTo>
                <a:close/>
                <a:moveTo>
                  <a:pt x="3076402" y="986497"/>
                </a:moveTo>
                <a:cubicBezTo>
                  <a:pt x="3082939" y="986497"/>
                  <a:pt x="3088386" y="991944"/>
                  <a:pt x="3088386" y="998478"/>
                </a:cubicBezTo>
                <a:cubicBezTo>
                  <a:pt x="3088386" y="1005015"/>
                  <a:pt x="3082939" y="1010459"/>
                  <a:pt x="3076402" y="1010459"/>
                </a:cubicBezTo>
                <a:cubicBezTo>
                  <a:pt x="3069868" y="1010459"/>
                  <a:pt x="3064421" y="1005015"/>
                  <a:pt x="3064421" y="998478"/>
                </a:cubicBezTo>
                <a:cubicBezTo>
                  <a:pt x="3064421" y="991944"/>
                  <a:pt x="3069868" y="986497"/>
                  <a:pt x="3076402" y="986497"/>
                </a:cubicBezTo>
                <a:close/>
                <a:moveTo>
                  <a:pt x="3230353" y="984683"/>
                </a:moveTo>
                <a:cubicBezTo>
                  <a:pt x="3237973" y="984683"/>
                  <a:pt x="3244148" y="990862"/>
                  <a:pt x="3244148" y="998482"/>
                </a:cubicBezTo>
                <a:cubicBezTo>
                  <a:pt x="3244148" y="1006098"/>
                  <a:pt x="3237973" y="1012277"/>
                  <a:pt x="3230353" y="1012277"/>
                </a:cubicBezTo>
                <a:cubicBezTo>
                  <a:pt x="3222733" y="1012277"/>
                  <a:pt x="3216554" y="1006098"/>
                  <a:pt x="3216554" y="998482"/>
                </a:cubicBezTo>
                <a:cubicBezTo>
                  <a:pt x="3216554" y="990862"/>
                  <a:pt x="3222733" y="984683"/>
                  <a:pt x="3230353" y="984683"/>
                </a:cubicBezTo>
                <a:close/>
                <a:moveTo>
                  <a:pt x="3383934" y="983230"/>
                </a:moveTo>
                <a:cubicBezTo>
                  <a:pt x="3392358" y="983230"/>
                  <a:pt x="3399186" y="990057"/>
                  <a:pt x="3399186" y="998482"/>
                </a:cubicBezTo>
                <a:cubicBezTo>
                  <a:pt x="3399186" y="1006902"/>
                  <a:pt x="3392358" y="1013729"/>
                  <a:pt x="3383934" y="1013729"/>
                </a:cubicBezTo>
                <a:cubicBezTo>
                  <a:pt x="3375514" y="1013729"/>
                  <a:pt x="3368687" y="1006902"/>
                  <a:pt x="3368687" y="998482"/>
                </a:cubicBezTo>
                <a:cubicBezTo>
                  <a:pt x="3368687" y="990057"/>
                  <a:pt x="3375514" y="983230"/>
                  <a:pt x="3383934" y="983230"/>
                </a:cubicBezTo>
                <a:close/>
                <a:moveTo>
                  <a:pt x="3537886" y="981412"/>
                </a:moveTo>
                <a:cubicBezTo>
                  <a:pt x="3547324" y="981412"/>
                  <a:pt x="3554951" y="989036"/>
                  <a:pt x="3554951" y="998478"/>
                </a:cubicBezTo>
                <a:cubicBezTo>
                  <a:pt x="3554951" y="1007916"/>
                  <a:pt x="3547324" y="1015540"/>
                  <a:pt x="3537886" y="1015540"/>
                </a:cubicBezTo>
                <a:cubicBezTo>
                  <a:pt x="3528444" y="1015540"/>
                  <a:pt x="3520820" y="1007916"/>
                  <a:pt x="3520820" y="998478"/>
                </a:cubicBezTo>
                <a:cubicBezTo>
                  <a:pt x="3520820" y="989036"/>
                  <a:pt x="3528444" y="981412"/>
                  <a:pt x="3537886" y="981412"/>
                </a:cubicBezTo>
                <a:close/>
                <a:moveTo>
                  <a:pt x="3691467" y="979235"/>
                </a:moveTo>
                <a:cubicBezTo>
                  <a:pt x="3702094" y="979235"/>
                  <a:pt x="3710710" y="987850"/>
                  <a:pt x="3710710" y="998478"/>
                </a:cubicBezTo>
                <a:cubicBezTo>
                  <a:pt x="3710710" y="1009105"/>
                  <a:pt x="3702094" y="1017724"/>
                  <a:pt x="3691467" y="1017724"/>
                </a:cubicBezTo>
                <a:cubicBezTo>
                  <a:pt x="3680839" y="1017724"/>
                  <a:pt x="3672224" y="1009105"/>
                  <a:pt x="3672224" y="998478"/>
                </a:cubicBezTo>
                <a:cubicBezTo>
                  <a:pt x="3672224" y="987850"/>
                  <a:pt x="3680839" y="979235"/>
                  <a:pt x="3691467" y="979235"/>
                </a:cubicBezTo>
                <a:close/>
                <a:moveTo>
                  <a:pt x="3845418" y="977055"/>
                </a:moveTo>
                <a:cubicBezTo>
                  <a:pt x="3857246" y="977055"/>
                  <a:pt x="3866841" y="986646"/>
                  <a:pt x="3866841" y="998478"/>
                </a:cubicBezTo>
                <a:cubicBezTo>
                  <a:pt x="3866841" y="1010306"/>
                  <a:pt x="3857246" y="1019901"/>
                  <a:pt x="3845418" y="1019901"/>
                </a:cubicBezTo>
                <a:cubicBezTo>
                  <a:pt x="3833586" y="1019901"/>
                  <a:pt x="3823995" y="1010306"/>
                  <a:pt x="3823995" y="998478"/>
                </a:cubicBezTo>
                <a:cubicBezTo>
                  <a:pt x="3823995" y="986646"/>
                  <a:pt x="3833586" y="977055"/>
                  <a:pt x="3845418" y="977055"/>
                </a:cubicBezTo>
                <a:close/>
                <a:moveTo>
                  <a:pt x="3999000" y="975603"/>
                </a:moveTo>
                <a:cubicBezTo>
                  <a:pt x="4011632" y="975603"/>
                  <a:pt x="4021871" y="985845"/>
                  <a:pt x="4021871" y="998478"/>
                </a:cubicBezTo>
                <a:cubicBezTo>
                  <a:pt x="4021871" y="1011110"/>
                  <a:pt x="4011632" y="1021349"/>
                  <a:pt x="3999000" y="1021349"/>
                </a:cubicBezTo>
                <a:cubicBezTo>
                  <a:pt x="3986367" y="1021349"/>
                  <a:pt x="3976124" y="1011110"/>
                  <a:pt x="3976124" y="998478"/>
                </a:cubicBezTo>
                <a:cubicBezTo>
                  <a:pt x="3976124" y="985845"/>
                  <a:pt x="3986367" y="975603"/>
                  <a:pt x="3999000" y="975603"/>
                </a:cubicBezTo>
                <a:close/>
                <a:moveTo>
                  <a:pt x="4152947" y="973426"/>
                </a:moveTo>
                <a:cubicBezTo>
                  <a:pt x="4166784" y="973426"/>
                  <a:pt x="4178002" y="984641"/>
                  <a:pt x="4178002" y="998478"/>
                </a:cubicBezTo>
                <a:cubicBezTo>
                  <a:pt x="4178002" y="1012315"/>
                  <a:pt x="4166784" y="1023533"/>
                  <a:pt x="4152947" y="1023533"/>
                </a:cubicBezTo>
                <a:cubicBezTo>
                  <a:pt x="4139114" y="1023533"/>
                  <a:pt x="4127895" y="1012315"/>
                  <a:pt x="4127895" y="998478"/>
                </a:cubicBezTo>
                <a:cubicBezTo>
                  <a:pt x="4127895" y="984641"/>
                  <a:pt x="4139114" y="973426"/>
                  <a:pt x="4152947" y="973426"/>
                </a:cubicBezTo>
                <a:close/>
                <a:moveTo>
                  <a:pt x="4306532" y="971246"/>
                </a:moveTo>
                <a:cubicBezTo>
                  <a:pt x="4321418" y="971246"/>
                  <a:pt x="4333764" y="983592"/>
                  <a:pt x="4333764" y="998478"/>
                </a:cubicBezTo>
                <a:cubicBezTo>
                  <a:pt x="4333764" y="1013363"/>
                  <a:pt x="4321780" y="1025710"/>
                  <a:pt x="4306532" y="1025710"/>
                </a:cubicBezTo>
                <a:cubicBezTo>
                  <a:pt x="4291643" y="1025710"/>
                  <a:pt x="4279300" y="1013363"/>
                  <a:pt x="4279300" y="998478"/>
                </a:cubicBezTo>
                <a:cubicBezTo>
                  <a:pt x="4279300" y="983592"/>
                  <a:pt x="4291643" y="971246"/>
                  <a:pt x="4306532" y="971246"/>
                </a:cubicBezTo>
                <a:close/>
                <a:moveTo>
                  <a:pt x="4460476" y="968707"/>
                </a:moveTo>
                <a:cubicBezTo>
                  <a:pt x="4476920" y="968707"/>
                  <a:pt x="4490250" y="982037"/>
                  <a:pt x="4490250" y="998482"/>
                </a:cubicBezTo>
                <a:cubicBezTo>
                  <a:pt x="4490250" y="1014922"/>
                  <a:pt x="4476920" y="1028252"/>
                  <a:pt x="4460476" y="1028252"/>
                </a:cubicBezTo>
                <a:cubicBezTo>
                  <a:pt x="4444035" y="1028252"/>
                  <a:pt x="4430705" y="1014922"/>
                  <a:pt x="4430705" y="998482"/>
                </a:cubicBezTo>
                <a:cubicBezTo>
                  <a:pt x="4430705" y="982037"/>
                  <a:pt x="4444035" y="968707"/>
                  <a:pt x="4460476" y="968707"/>
                </a:cubicBezTo>
                <a:close/>
                <a:moveTo>
                  <a:pt x="4614061" y="966526"/>
                </a:moveTo>
                <a:cubicBezTo>
                  <a:pt x="4631852" y="966526"/>
                  <a:pt x="4646012" y="980688"/>
                  <a:pt x="4646012" y="998478"/>
                </a:cubicBezTo>
                <a:cubicBezTo>
                  <a:pt x="4646012" y="1016268"/>
                  <a:pt x="4631852" y="1030429"/>
                  <a:pt x="4614061" y="1030429"/>
                </a:cubicBezTo>
                <a:cubicBezTo>
                  <a:pt x="4596271" y="1030429"/>
                  <a:pt x="4582110" y="1016268"/>
                  <a:pt x="4582110" y="998478"/>
                </a:cubicBezTo>
                <a:cubicBezTo>
                  <a:pt x="4582110" y="980688"/>
                  <a:pt x="4596271" y="966526"/>
                  <a:pt x="4614061" y="966526"/>
                </a:cubicBezTo>
                <a:close/>
                <a:moveTo>
                  <a:pt x="4768008" y="964712"/>
                </a:moveTo>
                <a:cubicBezTo>
                  <a:pt x="4786656" y="964712"/>
                  <a:pt x="4801778" y="979830"/>
                  <a:pt x="4801778" y="998478"/>
                </a:cubicBezTo>
                <a:cubicBezTo>
                  <a:pt x="4801778" y="1017129"/>
                  <a:pt x="4786656" y="1032247"/>
                  <a:pt x="4768008" y="1032247"/>
                </a:cubicBezTo>
                <a:cubicBezTo>
                  <a:pt x="4749360" y="1032247"/>
                  <a:pt x="4734242" y="1017129"/>
                  <a:pt x="4734242" y="998478"/>
                </a:cubicBezTo>
                <a:cubicBezTo>
                  <a:pt x="4734242" y="979830"/>
                  <a:pt x="4749360" y="964712"/>
                  <a:pt x="4768008" y="964712"/>
                </a:cubicBezTo>
                <a:close/>
                <a:moveTo>
                  <a:pt x="4921594" y="962169"/>
                </a:moveTo>
                <a:cubicBezTo>
                  <a:pt x="4941564" y="962169"/>
                  <a:pt x="4957902" y="978507"/>
                  <a:pt x="4957902" y="998478"/>
                </a:cubicBezTo>
                <a:cubicBezTo>
                  <a:pt x="4957902" y="1018448"/>
                  <a:pt x="4941564" y="1034786"/>
                  <a:pt x="4921594" y="1034786"/>
                </a:cubicBezTo>
                <a:cubicBezTo>
                  <a:pt x="4901623" y="1034786"/>
                  <a:pt x="4885286" y="1018448"/>
                  <a:pt x="4885286" y="998478"/>
                </a:cubicBezTo>
                <a:cubicBezTo>
                  <a:pt x="4885286" y="978507"/>
                  <a:pt x="4901623" y="962169"/>
                  <a:pt x="4921594" y="962169"/>
                </a:cubicBezTo>
                <a:close/>
                <a:moveTo>
                  <a:pt x="5075545" y="959627"/>
                </a:moveTo>
                <a:cubicBezTo>
                  <a:pt x="5096968" y="959627"/>
                  <a:pt x="5114392" y="977055"/>
                  <a:pt x="5114392" y="998478"/>
                </a:cubicBezTo>
                <a:cubicBezTo>
                  <a:pt x="5114392" y="1019897"/>
                  <a:pt x="5096968" y="1037325"/>
                  <a:pt x="5075545" y="1037325"/>
                </a:cubicBezTo>
                <a:cubicBezTo>
                  <a:pt x="5054122" y="1037325"/>
                  <a:pt x="5036694" y="1019897"/>
                  <a:pt x="5036694" y="998478"/>
                </a:cubicBezTo>
                <a:cubicBezTo>
                  <a:pt x="5036694" y="977055"/>
                  <a:pt x="5054122" y="959627"/>
                  <a:pt x="5075545" y="959627"/>
                </a:cubicBezTo>
                <a:close/>
                <a:moveTo>
                  <a:pt x="5229126" y="957450"/>
                </a:moveTo>
                <a:cubicBezTo>
                  <a:pt x="5252002" y="957450"/>
                  <a:pt x="5270158" y="975606"/>
                  <a:pt x="5270158" y="998478"/>
                </a:cubicBezTo>
                <a:cubicBezTo>
                  <a:pt x="5270158" y="1021353"/>
                  <a:pt x="5251640" y="1039505"/>
                  <a:pt x="5229126" y="1039505"/>
                </a:cubicBezTo>
                <a:cubicBezTo>
                  <a:pt x="5206255" y="1039505"/>
                  <a:pt x="5188099" y="1021353"/>
                  <a:pt x="5188099" y="998478"/>
                </a:cubicBezTo>
                <a:cubicBezTo>
                  <a:pt x="5188099" y="975606"/>
                  <a:pt x="5206255" y="957450"/>
                  <a:pt x="5229126" y="957450"/>
                </a:cubicBezTo>
                <a:close/>
                <a:moveTo>
                  <a:pt x="5383074" y="954908"/>
                </a:moveTo>
                <a:cubicBezTo>
                  <a:pt x="5407036" y="954908"/>
                  <a:pt x="5426644" y="974516"/>
                  <a:pt x="5426644" y="998478"/>
                </a:cubicBezTo>
                <a:cubicBezTo>
                  <a:pt x="5426644" y="1022443"/>
                  <a:pt x="5407036" y="1042048"/>
                  <a:pt x="5383074" y="1042048"/>
                </a:cubicBezTo>
                <a:cubicBezTo>
                  <a:pt x="5359112" y="1042048"/>
                  <a:pt x="5339504" y="1022443"/>
                  <a:pt x="5339504" y="998478"/>
                </a:cubicBezTo>
                <a:cubicBezTo>
                  <a:pt x="5339504" y="974516"/>
                  <a:pt x="5359112" y="954908"/>
                  <a:pt x="5383074" y="954908"/>
                </a:cubicBezTo>
                <a:close/>
                <a:moveTo>
                  <a:pt x="5537018" y="952365"/>
                </a:moveTo>
                <a:cubicBezTo>
                  <a:pt x="5562484" y="952365"/>
                  <a:pt x="5583130" y="973010"/>
                  <a:pt x="5583130" y="998478"/>
                </a:cubicBezTo>
                <a:cubicBezTo>
                  <a:pt x="5583130" y="1023945"/>
                  <a:pt x="5562484" y="1044590"/>
                  <a:pt x="5537018" y="1044590"/>
                </a:cubicBezTo>
                <a:cubicBezTo>
                  <a:pt x="5511554" y="1044590"/>
                  <a:pt x="5490908" y="1023945"/>
                  <a:pt x="5490908" y="998478"/>
                </a:cubicBezTo>
                <a:cubicBezTo>
                  <a:pt x="5490908" y="973010"/>
                  <a:pt x="5511554" y="952365"/>
                  <a:pt x="5537018" y="952365"/>
                </a:cubicBezTo>
                <a:close/>
                <a:moveTo>
                  <a:pt x="5690606" y="949823"/>
                </a:moveTo>
                <a:cubicBezTo>
                  <a:pt x="5717473" y="949823"/>
                  <a:pt x="5739258" y="971608"/>
                  <a:pt x="5739258" y="998478"/>
                </a:cubicBezTo>
                <a:cubicBezTo>
                  <a:pt x="5739258" y="1025344"/>
                  <a:pt x="5717473" y="1047129"/>
                  <a:pt x="5690606" y="1047129"/>
                </a:cubicBezTo>
                <a:cubicBezTo>
                  <a:pt x="5663736" y="1047129"/>
                  <a:pt x="5641952" y="1025344"/>
                  <a:pt x="5641952" y="998478"/>
                </a:cubicBezTo>
                <a:cubicBezTo>
                  <a:pt x="5641952" y="971608"/>
                  <a:pt x="5663736" y="949823"/>
                  <a:pt x="5690606" y="949823"/>
                </a:cubicBezTo>
                <a:close/>
                <a:moveTo>
                  <a:pt x="5844554" y="947284"/>
                </a:moveTo>
                <a:cubicBezTo>
                  <a:pt x="5872830" y="947284"/>
                  <a:pt x="5895748" y="970205"/>
                  <a:pt x="5895748" y="998478"/>
                </a:cubicBezTo>
                <a:cubicBezTo>
                  <a:pt x="5895748" y="1026754"/>
                  <a:pt x="5872827" y="1049672"/>
                  <a:pt x="5844554" y="1049672"/>
                </a:cubicBezTo>
                <a:cubicBezTo>
                  <a:pt x="5816281" y="1049672"/>
                  <a:pt x="5793360" y="1026754"/>
                  <a:pt x="5793360" y="998478"/>
                </a:cubicBezTo>
                <a:cubicBezTo>
                  <a:pt x="5793360" y="970205"/>
                  <a:pt x="5816281" y="947284"/>
                  <a:pt x="5844554" y="947284"/>
                </a:cubicBezTo>
                <a:close/>
                <a:moveTo>
                  <a:pt x="5998136" y="945104"/>
                </a:moveTo>
                <a:cubicBezTo>
                  <a:pt x="6027548" y="945104"/>
                  <a:pt x="6051514" y="969065"/>
                  <a:pt x="6051514" y="998478"/>
                </a:cubicBezTo>
                <a:cubicBezTo>
                  <a:pt x="6051514" y="1027887"/>
                  <a:pt x="6027548" y="1051848"/>
                  <a:pt x="5998136" y="1051848"/>
                </a:cubicBezTo>
                <a:cubicBezTo>
                  <a:pt x="5968726" y="1051848"/>
                  <a:pt x="5944765" y="1027887"/>
                  <a:pt x="5944765" y="998478"/>
                </a:cubicBezTo>
                <a:cubicBezTo>
                  <a:pt x="5944765" y="969065"/>
                  <a:pt x="5968726" y="945104"/>
                  <a:pt x="5998136" y="945104"/>
                </a:cubicBezTo>
                <a:close/>
                <a:moveTo>
                  <a:pt x="6152086" y="942199"/>
                </a:moveTo>
                <a:cubicBezTo>
                  <a:pt x="6183314" y="942199"/>
                  <a:pt x="6208366" y="967251"/>
                  <a:pt x="6208366" y="998478"/>
                </a:cubicBezTo>
                <a:cubicBezTo>
                  <a:pt x="6208366" y="1029701"/>
                  <a:pt x="6183314" y="1054753"/>
                  <a:pt x="6152086" y="1054753"/>
                </a:cubicBezTo>
                <a:cubicBezTo>
                  <a:pt x="6120860" y="1054753"/>
                  <a:pt x="6095808" y="1029701"/>
                  <a:pt x="6095808" y="998478"/>
                </a:cubicBezTo>
                <a:cubicBezTo>
                  <a:pt x="6095808" y="967251"/>
                  <a:pt x="6120860" y="942199"/>
                  <a:pt x="6152086" y="942199"/>
                </a:cubicBezTo>
                <a:close/>
                <a:moveTo>
                  <a:pt x="6305672" y="939660"/>
                </a:moveTo>
                <a:cubicBezTo>
                  <a:pt x="6338157" y="939660"/>
                  <a:pt x="6364490" y="965993"/>
                  <a:pt x="6364490" y="998482"/>
                </a:cubicBezTo>
                <a:cubicBezTo>
                  <a:pt x="6364490" y="1030967"/>
                  <a:pt x="6338157" y="1057299"/>
                  <a:pt x="6305672" y="1057299"/>
                </a:cubicBezTo>
                <a:cubicBezTo>
                  <a:pt x="6273187" y="1057299"/>
                  <a:pt x="6246850" y="1030967"/>
                  <a:pt x="6246850" y="998482"/>
                </a:cubicBezTo>
                <a:cubicBezTo>
                  <a:pt x="6246850" y="965993"/>
                  <a:pt x="6273187" y="939660"/>
                  <a:pt x="6305672" y="939660"/>
                </a:cubicBezTo>
                <a:close/>
                <a:moveTo>
                  <a:pt x="6459619" y="937118"/>
                </a:moveTo>
                <a:cubicBezTo>
                  <a:pt x="6493747" y="937118"/>
                  <a:pt x="6521342" y="964712"/>
                  <a:pt x="6521342" y="998844"/>
                </a:cubicBezTo>
                <a:cubicBezTo>
                  <a:pt x="6521342" y="1032972"/>
                  <a:pt x="6493747" y="1060566"/>
                  <a:pt x="6459619" y="1060566"/>
                </a:cubicBezTo>
                <a:cubicBezTo>
                  <a:pt x="6425488" y="1060566"/>
                  <a:pt x="6397893" y="1032972"/>
                  <a:pt x="6397893" y="998844"/>
                </a:cubicBezTo>
                <a:cubicBezTo>
                  <a:pt x="6397893" y="964712"/>
                  <a:pt x="6425488" y="937118"/>
                  <a:pt x="6459619" y="937118"/>
                </a:cubicBezTo>
                <a:close/>
                <a:moveTo>
                  <a:pt x="6613200" y="934213"/>
                </a:moveTo>
                <a:cubicBezTo>
                  <a:pt x="6648694" y="934213"/>
                  <a:pt x="6677470" y="962985"/>
                  <a:pt x="6677470" y="998478"/>
                </a:cubicBezTo>
                <a:cubicBezTo>
                  <a:pt x="6677470" y="1033970"/>
                  <a:pt x="6648694" y="1062746"/>
                  <a:pt x="6613200" y="1062746"/>
                </a:cubicBezTo>
                <a:cubicBezTo>
                  <a:pt x="6577708" y="1062746"/>
                  <a:pt x="6548936" y="1033970"/>
                  <a:pt x="6548936" y="998478"/>
                </a:cubicBezTo>
                <a:cubicBezTo>
                  <a:pt x="6548936" y="962985"/>
                  <a:pt x="6577708" y="934213"/>
                  <a:pt x="6613200" y="934213"/>
                </a:cubicBezTo>
                <a:close/>
                <a:moveTo>
                  <a:pt x="1538746" y="844530"/>
                </a:moveTo>
                <a:cubicBezTo>
                  <a:pt x="1539108" y="844530"/>
                  <a:pt x="1539108" y="844530"/>
                  <a:pt x="1539108" y="844893"/>
                </a:cubicBezTo>
                <a:cubicBezTo>
                  <a:pt x="1539108" y="845258"/>
                  <a:pt x="1538746" y="845258"/>
                  <a:pt x="1538746" y="845258"/>
                </a:cubicBezTo>
                <a:cubicBezTo>
                  <a:pt x="1538384" y="845258"/>
                  <a:pt x="1538384" y="845258"/>
                  <a:pt x="1538384" y="844893"/>
                </a:cubicBezTo>
                <a:cubicBezTo>
                  <a:pt x="1538384" y="844530"/>
                  <a:pt x="1538384" y="844530"/>
                  <a:pt x="1538746" y="844530"/>
                </a:cubicBezTo>
                <a:close/>
                <a:moveTo>
                  <a:pt x="1077266" y="844530"/>
                </a:moveTo>
                <a:cubicBezTo>
                  <a:pt x="1077628" y="844530"/>
                  <a:pt x="1077628" y="844530"/>
                  <a:pt x="1077628" y="844893"/>
                </a:cubicBezTo>
                <a:cubicBezTo>
                  <a:pt x="1077628" y="845258"/>
                  <a:pt x="1077266" y="845258"/>
                  <a:pt x="1077266" y="845258"/>
                </a:cubicBezTo>
                <a:cubicBezTo>
                  <a:pt x="1076904" y="845258"/>
                  <a:pt x="1076904" y="845258"/>
                  <a:pt x="1076904" y="844893"/>
                </a:cubicBezTo>
                <a:cubicBezTo>
                  <a:pt x="1076904" y="844530"/>
                  <a:pt x="1076904" y="844530"/>
                  <a:pt x="1077266" y="844530"/>
                </a:cubicBezTo>
                <a:close/>
                <a:moveTo>
                  <a:pt x="923681" y="844530"/>
                </a:moveTo>
                <a:cubicBezTo>
                  <a:pt x="924043" y="844530"/>
                  <a:pt x="924043" y="844530"/>
                  <a:pt x="924043" y="844893"/>
                </a:cubicBezTo>
                <a:cubicBezTo>
                  <a:pt x="924043" y="845258"/>
                  <a:pt x="923681" y="845258"/>
                  <a:pt x="923681" y="845258"/>
                </a:cubicBezTo>
                <a:cubicBezTo>
                  <a:pt x="923319" y="845258"/>
                  <a:pt x="923319" y="845258"/>
                  <a:pt x="923319" y="844893"/>
                </a:cubicBezTo>
                <a:cubicBezTo>
                  <a:pt x="923319" y="844530"/>
                  <a:pt x="923319" y="844530"/>
                  <a:pt x="923681" y="844530"/>
                </a:cubicBezTo>
                <a:close/>
                <a:moveTo>
                  <a:pt x="769737" y="844168"/>
                </a:moveTo>
                <a:cubicBezTo>
                  <a:pt x="770137" y="844168"/>
                  <a:pt x="770461" y="844492"/>
                  <a:pt x="770461" y="844896"/>
                </a:cubicBezTo>
                <a:cubicBezTo>
                  <a:pt x="770461" y="845297"/>
                  <a:pt x="770137" y="845621"/>
                  <a:pt x="769737" y="845621"/>
                </a:cubicBezTo>
                <a:cubicBezTo>
                  <a:pt x="769333" y="845621"/>
                  <a:pt x="769009" y="845297"/>
                  <a:pt x="769009" y="844896"/>
                </a:cubicBezTo>
                <a:cubicBezTo>
                  <a:pt x="769009" y="844492"/>
                  <a:pt x="769333" y="844168"/>
                  <a:pt x="769737" y="844168"/>
                </a:cubicBezTo>
                <a:close/>
                <a:moveTo>
                  <a:pt x="1692331" y="843078"/>
                </a:moveTo>
                <a:cubicBezTo>
                  <a:pt x="1693056" y="843078"/>
                  <a:pt x="1693784" y="843806"/>
                  <a:pt x="1693784" y="844530"/>
                </a:cubicBezTo>
                <a:cubicBezTo>
                  <a:pt x="1693784" y="845258"/>
                  <a:pt x="1692331" y="845983"/>
                  <a:pt x="1692331" y="845983"/>
                </a:cubicBezTo>
                <a:cubicBezTo>
                  <a:pt x="1691603" y="845983"/>
                  <a:pt x="1690879" y="845258"/>
                  <a:pt x="1690879" y="844530"/>
                </a:cubicBezTo>
                <a:cubicBezTo>
                  <a:pt x="1690879" y="843806"/>
                  <a:pt x="1691603" y="843078"/>
                  <a:pt x="1692331" y="843078"/>
                </a:cubicBezTo>
                <a:close/>
                <a:moveTo>
                  <a:pt x="1846279" y="842716"/>
                </a:moveTo>
                <a:cubicBezTo>
                  <a:pt x="1847480" y="842716"/>
                  <a:pt x="1848455" y="843692"/>
                  <a:pt x="1848455" y="844896"/>
                </a:cubicBezTo>
                <a:cubicBezTo>
                  <a:pt x="1848455" y="846097"/>
                  <a:pt x="1847480" y="847073"/>
                  <a:pt x="1846279" y="847073"/>
                </a:cubicBezTo>
                <a:cubicBezTo>
                  <a:pt x="1845074" y="847073"/>
                  <a:pt x="1844098" y="846097"/>
                  <a:pt x="1844098" y="844896"/>
                </a:cubicBezTo>
                <a:cubicBezTo>
                  <a:pt x="1844098" y="843692"/>
                  <a:pt x="1845074" y="842716"/>
                  <a:pt x="1846279" y="842716"/>
                </a:cubicBezTo>
                <a:close/>
                <a:moveTo>
                  <a:pt x="1999860" y="841626"/>
                </a:moveTo>
                <a:cubicBezTo>
                  <a:pt x="2001679" y="841626"/>
                  <a:pt x="2003127" y="843078"/>
                  <a:pt x="2003127" y="844893"/>
                </a:cubicBezTo>
                <a:cubicBezTo>
                  <a:pt x="2003127" y="846707"/>
                  <a:pt x="2001679" y="848163"/>
                  <a:pt x="1999860" y="848163"/>
                </a:cubicBezTo>
                <a:cubicBezTo>
                  <a:pt x="1998046" y="848163"/>
                  <a:pt x="1996593" y="846707"/>
                  <a:pt x="1996593" y="844893"/>
                </a:cubicBezTo>
                <a:cubicBezTo>
                  <a:pt x="1996593" y="843078"/>
                  <a:pt x="1998046" y="841626"/>
                  <a:pt x="1999860" y="841626"/>
                </a:cubicBezTo>
                <a:close/>
                <a:moveTo>
                  <a:pt x="2153808" y="840173"/>
                </a:moveTo>
                <a:cubicBezTo>
                  <a:pt x="2156350" y="840173"/>
                  <a:pt x="2158165" y="841988"/>
                  <a:pt x="2158165" y="844530"/>
                </a:cubicBezTo>
                <a:cubicBezTo>
                  <a:pt x="2158165" y="847073"/>
                  <a:pt x="2155988" y="848887"/>
                  <a:pt x="2153808" y="848887"/>
                </a:cubicBezTo>
                <a:cubicBezTo>
                  <a:pt x="2151265" y="848887"/>
                  <a:pt x="2149451" y="847073"/>
                  <a:pt x="2149451" y="844530"/>
                </a:cubicBezTo>
                <a:cubicBezTo>
                  <a:pt x="2149451" y="841988"/>
                  <a:pt x="2151265" y="840173"/>
                  <a:pt x="2153808" y="840173"/>
                </a:cubicBezTo>
                <a:close/>
                <a:moveTo>
                  <a:pt x="2307393" y="839083"/>
                </a:moveTo>
                <a:cubicBezTo>
                  <a:pt x="2310660" y="839083"/>
                  <a:pt x="2313202" y="841626"/>
                  <a:pt x="2313202" y="844893"/>
                </a:cubicBezTo>
                <a:cubicBezTo>
                  <a:pt x="2313202" y="848159"/>
                  <a:pt x="2310660" y="850702"/>
                  <a:pt x="2307393" y="850702"/>
                </a:cubicBezTo>
                <a:cubicBezTo>
                  <a:pt x="2304126" y="850702"/>
                  <a:pt x="2301583" y="848159"/>
                  <a:pt x="2301583" y="844893"/>
                </a:cubicBezTo>
                <a:cubicBezTo>
                  <a:pt x="2301583" y="841626"/>
                  <a:pt x="2304126" y="839083"/>
                  <a:pt x="2307393" y="839083"/>
                </a:cubicBezTo>
                <a:close/>
                <a:moveTo>
                  <a:pt x="2461340" y="837631"/>
                </a:moveTo>
                <a:cubicBezTo>
                  <a:pt x="2465335" y="837631"/>
                  <a:pt x="2468602" y="840898"/>
                  <a:pt x="2468602" y="844893"/>
                </a:cubicBezTo>
                <a:cubicBezTo>
                  <a:pt x="2468602" y="848887"/>
                  <a:pt x="2465335" y="852154"/>
                  <a:pt x="2461340" y="852154"/>
                </a:cubicBezTo>
                <a:cubicBezTo>
                  <a:pt x="2457345" y="852154"/>
                  <a:pt x="2454079" y="848887"/>
                  <a:pt x="2454079" y="844893"/>
                </a:cubicBezTo>
                <a:cubicBezTo>
                  <a:pt x="2454079" y="840898"/>
                  <a:pt x="2457345" y="837631"/>
                  <a:pt x="2461340" y="837631"/>
                </a:cubicBezTo>
                <a:close/>
                <a:moveTo>
                  <a:pt x="2614925" y="835454"/>
                </a:moveTo>
                <a:cubicBezTo>
                  <a:pt x="2620011" y="835454"/>
                  <a:pt x="2624005" y="839449"/>
                  <a:pt x="2624005" y="844530"/>
                </a:cubicBezTo>
                <a:cubicBezTo>
                  <a:pt x="2624005" y="849615"/>
                  <a:pt x="2620011" y="853610"/>
                  <a:pt x="2614925" y="853610"/>
                </a:cubicBezTo>
                <a:cubicBezTo>
                  <a:pt x="2609844" y="853610"/>
                  <a:pt x="2605849" y="849615"/>
                  <a:pt x="2605849" y="844530"/>
                </a:cubicBezTo>
                <a:cubicBezTo>
                  <a:pt x="2605849" y="839449"/>
                  <a:pt x="2609844" y="835454"/>
                  <a:pt x="2614925" y="835454"/>
                </a:cubicBezTo>
                <a:close/>
                <a:moveTo>
                  <a:pt x="2768873" y="834726"/>
                </a:moveTo>
                <a:cubicBezTo>
                  <a:pt x="2774320" y="834726"/>
                  <a:pt x="2779039" y="839445"/>
                  <a:pt x="2779039" y="844893"/>
                </a:cubicBezTo>
                <a:cubicBezTo>
                  <a:pt x="2779039" y="850340"/>
                  <a:pt x="2774682" y="855059"/>
                  <a:pt x="2768873" y="855059"/>
                </a:cubicBezTo>
                <a:cubicBezTo>
                  <a:pt x="2763426" y="855059"/>
                  <a:pt x="2758707" y="850340"/>
                  <a:pt x="2758707" y="844893"/>
                </a:cubicBezTo>
                <a:cubicBezTo>
                  <a:pt x="2758707" y="839445"/>
                  <a:pt x="2763426" y="834726"/>
                  <a:pt x="2768873" y="834726"/>
                </a:cubicBezTo>
                <a:close/>
                <a:moveTo>
                  <a:pt x="2922458" y="832912"/>
                </a:moveTo>
                <a:cubicBezTo>
                  <a:pt x="2928996" y="832912"/>
                  <a:pt x="2934443" y="838359"/>
                  <a:pt x="2934443" y="844893"/>
                </a:cubicBezTo>
                <a:cubicBezTo>
                  <a:pt x="2934443" y="851430"/>
                  <a:pt x="2928996" y="856873"/>
                  <a:pt x="2922458" y="856873"/>
                </a:cubicBezTo>
                <a:cubicBezTo>
                  <a:pt x="2915924" y="856873"/>
                  <a:pt x="2910477" y="851430"/>
                  <a:pt x="2910477" y="844893"/>
                </a:cubicBezTo>
                <a:cubicBezTo>
                  <a:pt x="2910477" y="838359"/>
                  <a:pt x="2915924" y="832912"/>
                  <a:pt x="2922458" y="832912"/>
                </a:cubicBezTo>
                <a:close/>
                <a:moveTo>
                  <a:pt x="3076402" y="831097"/>
                </a:moveTo>
                <a:cubicBezTo>
                  <a:pt x="3084022" y="831097"/>
                  <a:pt x="3090201" y="837276"/>
                  <a:pt x="3090201" y="844896"/>
                </a:cubicBezTo>
                <a:cubicBezTo>
                  <a:pt x="3090201" y="852513"/>
                  <a:pt x="3084022" y="858692"/>
                  <a:pt x="3076402" y="858692"/>
                </a:cubicBezTo>
                <a:cubicBezTo>
                  <a:pt x="3068782" y="858692"/>
                  <a:pt x="3062606" y="852513"/>
                  <a:pt x="3062606" y="844896"/>
                </a:cubicBezTo>
                <a:cubicBezTo>
                  <a:pt x="3062606" y="837276"/>
                  <a:pt x="3068782" y="831097"/>
                  <a:pt x="3076402" y="831097"/>
                </a:cubicBezTo>
                <a:close/>
                <a:moveTo>
                  <a:pt x="3230349" y="829645"/>
                </a:moveTo>
                <a:cubicBezTo>
                  <a:pt x="3238773" y="829645"/>
                  <a:pt x="3245600" y="836472"/>
                  <a:pt x="3245600" y="844896"/>
                </a:cubicBezTo>
                <a:cubicBezTo>
                  <a:pt x="3245600" y="853317"/>
                  <a:pt x="3238773" y="860144"/>
                  <a:pt x="3230349" y="860144"/>
                </a:cubicBezTo>
                <a:cubicBezTo>
                  <a:pt x="3221928" y="860144"/>
                  <a:pt x="3215102" y="853317"/>
                  <a:pt x="3215102" y="844896"/>
                </a:cubicBezTo>
                <a:cubicBezTo>
                  <a:pt x="3215102" y="836472"/>
                  <a:pt x="3221928" y="829645"/>
                  <a:pt x="3230349" y="829645"/>
                </a:cubicBezTo>
                <a:close/>
                <a:moveTo>
                  <a:pt x="3383938" y="827830"/>
                </a:moveTo>
                <a:cubicBezTo>
                  <a:pt x="3393361" y="827830"/>
                  <a:pt x="3401000" y="835470"/>
                  <a:pt x="3401000" y="844896"/>
                </a:cubicBezTo>
                <a:cubicBezTo>
                  <a:pt x="3401000" y="854319"/>
                  <a:pt x="3393361" y="861958"/>
                  <a:pt x="3383938" y="861958"/>
                </a:cubicBezTo>
                <a:cubicBezTo>
                  <a:pt x="3374511" y="861958"/>
                  <a:pt x="3366872" y="854319"/>
                  <a:pt x="3366872" y="844896"/>
                </a:cubicBezTo>
                <a:cubicBezTo>
                  <a:pt x="3366872" y="835470"/>
                  <a:pt x="3374511" y="827830"/>
                  <a:pt x="3383938" y="827830"/>
                </a:cubicBezTo>
                <a:close/>
                <a:moveTo>
                  <a:pt x="3537882" y="825650"/>
                </a:moveTo>
                <a:cubicBezTo>
                  <a:pt x="3548513" y="825650"/>
                  <a:pt x="3557128" y="834265"/>
                  <a:pt x="3557128" y="844893"/>
                </a:cubicBezTo>
                <a:cubicBezTo>
                  <a:pt x="3557128" y="855520"/>
                  <a:pt x="3548513" y="864139"/>
                  <a:pt x="3537882" y="864139"/>
                </a:cubicBezTo>
                <a:cubicBezTo>
                  <a:pt x="3527254" y="864139"/>
                  <a:pt x="3518639" y="855520"/>
                  <a:pt x="3518639" y="844893"/>
                </a:cubicBezTo>
                <a:cubicBezTo>
                  <a:pt x="3518639" y="834265"/>
                  <a:pt x="3527254" y="825650"/>
                  <a:pt x="3537882" y="825650"/>
                </a:cubicBezTo>
                <a:close/>
                <a:moveTo>
                  <a:pt x="3691471" y="823473"/>
                </a:moveTo>
                <a:cubicBezTo>
                  <a:pt x="3703303" y="823473"/>
                  <a:pt x="3712894" y="833064"/>
                  <a:pt x="3712894" y="844896"/>
                </a:cubicBezTo>
                <a:cubicBezTo>
                  <a:pt x="3712894" y="856725"/>
                  <a:pt x="3703303" y="866319"/>
                  <a:pt x="3691471" y="866319"/>
                </a:cubicBezTo>
                <a:cubicBezTo>
                  <a:pt x="3679638" y="866319"/>
                  <a:pt x="3670048" y="856725"/>
                  <a:pt x="3670048" y="844896"/>
                </a:cubicBezTo>
                <a:cubicBezTo>
                  <a:pt x="3670048" y="833064"/>
                  <a:pt x="3679638" y="823473"/>
                  <a:pt x="3691471" y="823473"/>
                </a:cubicBezTo>
                <a:close/>
                <a:moveTo>
                  <a:pt x="3845418" y="822021"/>
                </a:moveTo>
                <a:cubicBezTo>
                  <a:pt x="3858051" y="822021"/>
                  <a:pt x="3868293" y="832264"/>
                  <a:pt x="3868293" y="844896"/>
                </a:cubicBezTo>
                <a:cubicBezTo>
                  <a:pt x="3868293" y="857529"/>
                  <a:pt x="3858051" y="867768"/>
                  <a:pt x="3845418" y="867768"/>
                </a:cubicBezTo>
                <a:cubicBezTo>
                  <a:pt x="3832786" y="867768"/>
                  <a:pt x="3822543" y="857529"/>
                  <a:pt x="3822543" y="844896"/>
                </a:cubicBezTo>
                <a:cubicBezTo>
                  <a:pt x="3822543" y="832264"/>
                  <a:pt x="3832786" y="822021"/>
                  <a:pt x="3845418" y="822021"/>
                </a:cubicBezTo>
                <a:close/>
                <a:moveTo>
                  <a:pt x="3999000" y="819841"/>
                </a:moveTo>
                <a:cubicBezTo>
                  <a:pt x="4012837" y="819841"/>
                  <a:pt x="4024052" y="831055"/>
                  <a:pt x="4024052" y="844893"/>
                </a:cubicBezTo>
                <a:cubicBezTo>
                  <a:pt x="4024052" y="858730"/>
                  <a:pt x="4012837" y="869948"/>
                  <a:pt x="3999000" y="869948"/>
                </a:cubicBezTo>
                <a:cubicBezTo>
                  <a:pt x="3985162" y="869948"/>
                  <a:pt x="3973948" y="858730"/>
                  <a:pt x="3973948" y="844893"/>
                </a:cubicBezTo>
                <a:cubicBezTo>
                  <a:pt x="3973948" y="831055"/>
                  <a:pt x="3985162" y="819841"/>
                  <a:pt x="3999000" y="819841"/>
                </a:cubicBezTo>
                <a:close/>
                <a:moveTo>
                  <a:pt x="4152947" y="817664"/>
                </a:moveTo>
                <a:cubicBezTo>
                  <a:pt x="4167832" y="817664"/>
                  <a:pt x="4180179" y="830011"/>
                  <a:pt x="4180179" y="844896"/>
                </a:cubicBezTo>
                <a:cubicBezTo>
                  <a:pt x="4180179" y="859782"/>
                  <a:pt x="4168194" y="872129"/>
                  <a:pt x="4152947" y="872129"/>
                </a:cubicBezTo>
                <a:cubicBezTo>
                  <a:pt x="4138058" y="872129"/>
                  <a:pt x="4125715" y="859782"/>
                  <a:pt x="4125715" y="844896"/>
                </a:cubicBezTo>
                <a:cubicBezTo>
                  <a:pt x="4125715" y="830011"/>
                  <a:pt x="4138058" y="817664"/>
                  <a:pt x="4152947" y="817664"/>
                </a:cubicBezTo>
                <a:close/>
                <a:moveTo>
                  <a:pt x="4306528" y="815122"/>
                </a:moveTo>
                <a:cubicBezTo>
                  <a:pt x="4322973" y="815122"/>
                  <a:pt x="4336303" y="828452"/>
                  <a:pt x="4336303" y="844896"/>
                </a:cubicBezTo>
                <a:cubicBezTo>
                  <a:pt x="4336303" y="861337"/>
                  <a:pt x="4322973" y="874667"/>
                  <a:pt x="4306528" y="874667"/>
                </a:cubicBezTo>
                <a:cubicBezTo>
                  <a:pt x="4290088" y="874667"/>
                  <a:pt x="4276758" y="861337"/>
                  <a:pt x="4276758" y="844896"/>
                </a:cubicBezTo>
                <a:cubicBezTo>
                  <a:pt x="4276758" y="828452"/>
                  <a:pt x="4290088" y="815122"/>
                  <a:pt x="4306528" y="815122"/>
                </a:cubicBezTo>
                <a:close/>
                <a:moveTo>
                  <a:pt x="4460480" y="812941"/>
                </a:moveTo>
                <a:cubicBezTo>
                  <a:pt x="4478270" y="812941"/>
                  <a:pt x="4492431" y="827102"/>
                  <a:pt x="4492431" y="844893"/>
                </a:cubicBezTo>
                <a:cubicBezTo>
                  <a:pt x="4492431" y="862683"/>
                  <a:pt x="4478270" y="876844"/>
                  <a:pt x="4460480" y="876844"/>
                </a:cubicBezTo>
                <a:cubicBezTo>
                  <a:pt x="4442690" y="876844"/>
                  <a:pt x="4428528" y="862683"/>
                  <a:pt x="4428528" y="844893"/>
                </a:cubicBezTo>
                <a:cubicBezTo>
                  <a:pt x="4428528" y="827102"/>
                  <a:pt x="4442690" y="812941"/>
                  <a:pt x="4460480" y="812941"/>
                </a:cubicBezTo>
                <a:close/>
                <a:moveTo>
                  <a:pt x="4614061" y="811127"/>
                </a:moveTo>
                <a:cubicBezTo>
                  <a:pt x="4632713" y="811127"/>
                  <a:pt x="4647831" y="826245"/>
                  <a:pt x="4647831" y="844893"/>
                </a:cubicBezTo>
                <a:cubicBezTo>
                  <a:pt x="4647831" y="863544"/>
                  <a:pt x="4632713" y="878662"/>
                  <a:pt x="4614061" y="878662"/>
                </a:cubicBezTo>
                <a:cubicBezTo>
                  <a:pt x="4595414" y="878662"/>
                  <a:pt x="4580296" y="863544"/>
                  <a:pt x="4580296" y="844893"/>
                </a:cubicBezTo>
                <a:cubicBezTo>
                  <a:pt x="4580296" y="826245"/>
                  <a:pt x="4595414" y="811127"/>
                  <a:pt x="4614061" y="811127"/>
                </a:cubicBezTo>
                <a:close/>
                <a:moveTo>
                  <a:pt x="4768012" y="808584"/>
                </a:moveTo>
                <a:cubicBezTo>
                  <a:pt x="4787983" y="808584"/>
                  <a:pt x="4804320" y="824922"/>
                  <a:pt x="4804320" y="844893"/>
                </a:cubicBezTo>
                <a:cubicBezTo>
                  <a:pt x="4804320" y="864863"/>
                  <a:pt x="4787983" y="881201"/>
                  <a:pt x="4768012" y="881201"/>
                </a:cubicBezTo>
                <a:cubicBezTo>
                  <a:pt x="4748042" y="881201"/>
                  <a:pt x="4731704" y="864863"/>
                  <a:pt x="4731704" y="844893"/>
                </a:cubicBezTo>
                <a:cubicBezTo>
                  <a:pt x="4731704" y="824922"/>
                  <a:pt x="4748042" y="808584"/>
                  <a:pt x="4768012" y="808584"/>
                </a:cubicBezTo>
                <a:close/>
                <a:moveTo>
                  <a:pt x="4921598" y="806045"/>
                </a:moveTo>
                <a:cubicBezTo>
                  <a:pt x="4943016" y="806045"/>
                  <a:pt x="4960444" y="823473"/>
                  <a:pt x="4960444" y="844896"/>
                </a:cubicBezTo>
                <a:cubicBezTo>
                  <a:pt x="4960444" y="866315"/>
                  <a:pt x="4943016" y="883743"/>
                  <a:pt x="4921598" y="883743"/>
                </a:cubicBezTo>
                <a:cubicBezTo>
                  <a:pt x="4900174" y="883743"/>
                  <a:pt x="4882746" y="866315"/>
                  <a:pt x="4882746" y="844896"/>
                </a:cubicBezTo>
                <a:cubicBezTo>
                  <a:pt x="4882746" y="823473"/>
                  <a:pt x="4900174" y="806045"/>
                  <a:pt x="4921598" y="806045"/>
                </a:cubicBezTo>
                <a:close/>
                <a:moveTo>
                  <a:pt x="5075541" y="803503"/>
                </a:moveTo>
                <a:cubicBezTo>
                  <a:pt x="5098416" y="803503"/>
                  <a:pt x="5116568" y="821659"/>
                  <a:pt x="5116568" y="844530"/>
                </a:cubicBezTo>
                <a:cubicBezTo>
                  <a:pt x="5116568" y="867406"/>
                  <a:pt x="5098054" y="885562"/>
                  <a:pt x="5075541" y="885562"/>
                </a:cubicBezTo>
                <a:cubicBezTo>
                  <a:pt x="5052670" y="885562"/>
                  <a:pt x="5034514" y="867406"/>
                  <a:pt x="5034514" y="844530"/>
                </a:cubicBezTo>
                <a:cubicBezTo>
                  <a:pt x="5034514" y="821659"/>
                  <a:pt x="5052670" y="803503"/>
                  <a:pt x="5075541" y="803503"/>
                </a:cubicBezTo>
                <a:close/>
                <a:moveTo>
                  <a:pt x="5229126" y="800960"/>
                </a:moveTo>
                <a:cubicBezTo>
                  <a:pt x="5253088" y="800960"/>
                  <a:pt x="5272696" y="820569"/>
                  <a:pt x="5272696" y="844530"/>
                </a:cubicBezTo>
                <a:cubicBezTo>
                  <a:pt x="5272696" y="868496"/>
                  <a:pt x="5253088" y="888100"/>
                  <a:pt x="5229126" y="888100"/>
                </a:cubicBezTo>
                <a:cubicBezTo>
                  <a:pt x="5205161" y="888100"/>
                  <a:pt x="5185556" y="868496"/>
                  <a:pt x="5185556" y="844530"/>
                </a:cubicBezTo>
                <a:cubicBezTo>
                  <a:pt x="5185556" y="820569"/>
                  <a:pt x="5205161" y="800960"/>
                  <a:pt x="5229126" y="800960"/>
                </a:cubicBezTo>
                <a:close/>
                <a:moveTo>
                  <a:pt x="5383074" y="798784"/>
                </a:moveTo>
                <a:cubicBezTo>
                  <a:pt x="5408541" y="798784"/>
                  <a:pt x="5429186" y="819429"/>
                  <a:pt x="5429186" y="844896"/>
                </a:cubicBezTo>
                <a:cubicBezTo>
                  <a:pt x="5429186" y="870364"/>
                  <a:pt x="5408541" y="891009"/>
                  <a:pt x="5383074" y="891009"/>
                </a:cubicBezTo>
                <a:cubicBezTo>
                  <a:pt x="5357606" y="891009"/>
                  <a:pt x="5336962" y="870364"/>
                  <a:pt x="5336962" y="844896"/>
                </a:cubicBezTo>
                <a:cubicBezTo>
                  <a:pt x="5336962" y="819429"/>
                  <a:pt x="5357606" y="798784"/>
                  <a:pt x="5383074" y="798784"/>
                </a:cubicBezTo>
                <a:close/>
                <a:moveTo>
                  <a:pt x="5536659" y="796241"/>
                </a:moveTo>
                <a:cubicBezTo>
                  <a:pt x="5563526" y="796241"/>
                  <a:pt x="5585310" y="818026"/>
                  <a:pt x="5585310" y="844896"/>
                </a:cubicBezTo>
                <a:cubicBezTo>
                  <a:pt x="5585310" y="871763"/>
                  <a:pt x="5563526" y="893548"/>
                  <a:pt x="5536659" y="893548"/>
                </a:cubicBezTo>
                <a:cubicBezTo>
                  <a:pt x="5509789" y="893548"/>
                  <a:pt x="5488004" y="871763"/>
                  <a:pt x="5488004" y="844896"/>
                </a:cubicBezTo>
                <a:cubicBezTo>
                  <a:pt x="5488004" y="818026"/>
                  <a:pt x="5509789" y="796241"/>
                  <a:pt x="5536659" y="796241"/>
                </a:cubicBezTo>
                <a:close/>
                <a:moveTo>
                  <a:pt x="5690606" y="793699"/>
                </a:moveTo>
                <a:cubicBezTo>
                  <a:pt x="5718883" y="793699"/>
                  <a:pt x="5741800" y="816620"/>
                  <a:pt x="5741800" y="844893"/>
                </a:cubicBezTo>
                <a:cubicBezTo>
                  <a:pt x="5741800" y="873169"/>
                  <a:pt x="5718880" y="896090"/>
                  <a:pt x="5690606" y="896090"/>
                </a:cubicBezTo>
                <a:cubicBezTo>
                  <a:pt x="5662334" y="896090"/>
                  <a:pt x="5639412" y="873169"/>
                  <a:pt x="5639412" y="844893"/>
                </a:cubicBezTo>
                <a:cubicBezTo>
                  <a:pt x="5639412" y="816620"/>
                  <a:pt x="5662334" y="793699"/>
                  <a:pt x="5690606" y="793699"/>
                </a:cubicBezTo>
                <a:close/>
                <a:moveTo>
                  <a:pt x="5844554" y="791156"/>
                </a:moveTo>
                <a:cubicBezTo>
                  <a:pt x="5873962" y="791156"/>
                  <a:pt x="5897928" y="815118"/>
                  <a:pt x="5897928" y="844530"/>
                </a:cubicBezTo>
                <a:cubicBezTo>
                  <a:pt x="5897928" y="873939"/>
                  <a:pt x="5873962" y="897901"/>
                  <a:pt x="5844554" y="897901"/>
                </a:cubicBezTo>
                <a:cubicBezTo>
                  <a:pt x="5815145" y="897901"/>
                  <a:pt x="5791180" y="873939"/>
                  <a:pt x="5791180" y="844530"/>
                </a:cubicBezTo>
                <a:cubicBezTo>
                  <a:pt x="5791180" y="815118"/>
                  <a:pt x="5815145" y="791156"/>
                  <a:pt x="5844554" y="791156"/>
                </a:cubicBezTo>
                <a:close/>
                <a:moveTo>
                  <a:pt x="5998139" y="788614"/>
                </a:moveTo>
                <a:cubicBezTo>
                  <a:pt x="6029362" y="788614"/>
                  <a:pt x="6054414" y="813665"/>
                  <a:pt x="6054414" y="844893"/>
                </a:cubicBezTo>
                <a:cubicBezTo>
                  <a:pt x="6054414" y="876116"/>
                  <a:pt x="6029362" y="901171"/>
                  <a:pt x="5998139" y="901171"/>
                </a:cubicBezTo>
                <a:cubicBezTo>
                  <a:pt x="5966912" y="901171"/>
                  <a:pt x="5941860" y="876116"/>
                  <a:pt x="5941860" y="844893"/>
                </a:cubicBezTo>
                <a:cubicBezTo>
                  <a:pt x="5941860" y="813665"/>
                  <a:pt x="5966912" y="788614"/>
                  <a:pt x="5998139" y="788614"/>
                </a:cubicBezTo>
                <a:close/>
                <a:moveTo>
                  <a:pt x="6152083" y="786075"/>
                </a:moveTo>
                <a:cubicBezTo>
                  <a:pt x="6184568" y="786075"/>
                  <a:pt x="6210904" y="812407"/>
                  <a:pt x="6210904" y="844896"/>
                </a:cubicBezTo>
                <a:cubicBezTo>
                  <a:pt x="6210904" y="877381"/>
                  <a:pt x="6184568" y="903714"/>
                  <a:pt x="6152083" y="903714"/>
                </a:cubicBezTo>
                <a:cubicBezTo>
                  <a:pt x="6119598" y="903714"/>
                  <a:pt x="6093265" y="877381"/>
                  <a:pt x="6093265" y="844896"/>
                </a:cubicBezTo>
                <a:cubicBezTo>
                  <a:pt x="6093265" y="812407"/>
                  <a:pt x="6119598" y="786075"/>
                  <a:pt x="6152083" y="786075"/>
                </a:cubicBezTo>
                <a:close/>
                <a:moveTo>
                  <a:pt x="6305672" y="783170"/>
                </a:moveTo>
                <a:cubicBezTo>
                  <a:pt x="6339762" y="783170"/>
                  <a:pt x="6367394" y="810807"/>
                  <a:pt x="6367394" y="844896"/>
                </a:cubicBezTo>
                <a:cubicBezTo>
                  <a:pt x="6367394" y="878982"/>
                  <a:pt x="6339762" y="906619"/>
                  <a:pt x="6305672" y="906619"/>
                </a:cubicBezTo>
                <a:cubicBezTo>
                  <a:pt x="6271582" y="906619"/>
                  <a:pt x="6243946" y="878982"/>
                  <a:pt x="6243946" y="844896"/>
                </a:cubicBezTo>
                <a:cubicBezTo>
                  <a:pt x="6243946" y="810807"/>
                  <a:pt x="6271582" y="783170"/>
                  <a:pt x="6305672" y="783170"/>
                </a:cubicBezTo>
                <a:close/>
                <a:moveTo>
                  <a:pt x="6459616" y="780628"/>
                </a:moveTo>
                <a:cubicBezTo>
                  <a:pt x="6495108" y="780628"/>
                  <a:pt x="6523884" y="809400"/>
                  <a:pt x="6523884" y="844893"/>
                </a:cubicBezTo>
                <a:cubicBezTo>
                  <a:pt x="6523884" y="880385"/>
                  <a:pt x="6495108" y="909161"/>
                  <a:pt x="6459616" y="909161"/>
                </a:cubicBezTo>
                <a:cubicBezTo>
                  <a:pt x="6424123" y="909161"/>
                  <a:pt x="6395350" y="880385"/>
                  <a:pt x="6395350" y="844893"/>
                </a:cubicBezTo>
                <a:cubicBezTo>
                  <a:pt x="6395350" y="809400"/>
                  <a:pt x="6424123" y="780628"/>
                  <a:pt x="6459616" y="780628"/>
                </a:cubicBezTo>
                <a:close/>
                <a:moveTo>
                  <a:pt x="6613197" y="777361"/>
                </a:moveTo>
                <a:cubicBezTo>
                  <a:pt x="6650496" y="777361"/>
                  <a:pt x="6680732" y="807597"/>
                  <a:pt x="6680732" y="844896"/>
                </a:cubicBezTo>
                <a:cubicBezTo>
                  <a:pt x="6680732" y="882192"/>
                  <a:pt x="6650496" y="912428"/>
                  <a:pt x="6613197" y="912428"/>
                </a:cubicBezTo>
                <a:cubicBezTo>
                  <a:pt x="6575902" y="912428"/>
                  <a:pt x="6545666" y="882192"/>
                  <a:pt x="6545666" y="844896"/>
                </a:cubicBezTo>
                <a:cubicBezTo>
                  <a:pt x="6545666" y="807597"/>
                  <a:pt x="6575902" y="777361"/>
                  <a:pt x="6613197" y="777361"/>
                </a:cubicBezTo>
                <a:close/>
                <a:moveTo>
                  <a:pt x="1384799" y="690583"/>
                </a:moveTo>
                <a:cubicBezTo>
                  <a:pt x="1385161" y="690583"/>
                  <a:pt x="1385161" y="690583"/>
                  <a:pt x="1385161" y="690945"/>
                </a:cubicBezTo>
                <a:cubicBezTo>
                  <a:pt x="1385161" y="691311"/>
                  <a:pt x="1384799" y="691311"/>
                  <a:pt x="1384799" y="691311"/>
                </a:cubicBezTo>
                <a:cubicBezTo>
                  <a:pt x="1384437" y="691311"/>
                  <a:pt x="1384437" y="691311"/>
                  <a:pt x="1384437" y="690945"/>
                </a:cubicBezTo>
                <a:cubicBezTo>
                  <a:pt x="1384437" y="690583"/>
                  <a:pt x="1384437" y="690583"/>
                  <a:pt x="1384799" y="690583"/>
                </a:cubicBezTo>
                <a:close/>
                <a:moveTo>
                  <a:pt x="923681" y="690583"/>
                </a:moveTo>
                <a:cubicBezTo>
                  <a:pt x="924043" y="690583"/>
                  <a:pt x="924043" y="690583"/>
                  <a:pt x="924043" y="690945"/>
                </a:cubicBezTo>
                <a:cubicBezTo>
                  <a:pt x="924043" y="691311"/>
                  <a:pt x="923681" y="691311"/>
                  <a:pt x="923681" y="691311"/>
                </a:cubicBezTo>
                <a:cubicBezTo>
                  <a:pt x="923319" y="691311"/>
                  <a:pt x="923319" y="691311"/>
                  <a:pt x="923319" y="690945"/>
                </a:cubicBezTo>
                <a:cubicBezTo>
                  <a:pt x="923319" y="690583"/>
                  <a:pt x="923319" y="690583"/>
                  <a:pt x="923681" y="690583"/>
                </a:cubicBezTo>
                <a:close/>
                <a:moveTo>
                  <a:pt x="769733" y="690583"/>
                </a:moveTo>
                <a:cubicBezTo>
                  <a:pt x="770096" y="690583"/>
                  <a:pt x="770096" y="690583"/>
                  <a:pt x="770096" y="690945"/>
                </a:cubicBezTo>
                <a:cubicBezTo>
                  <a:pt x="770096" y="691311"/>
                  <a:pt x="769733" y="691311"/>
                  <a:pt x="769733" y="691311"/>
                </a:cubicBezTo>
                <a:cubicBezTo>
                  <a:pt x="769371" y="691311"/>
                  <a:pt x="769371" y="691311"/>
                  <a:pt x="769371" y="690945"/>
                </a:cubicBezTo>
                <a:cubicBezTo>
                  <a:pt x="769371" y="690583"/>
                  <a:pt x="769371" y="690583"/>
                  <a:pt x="769733" y="690583"/>
                </a:cubicBezTo>
                <a:close/>
                <a:moveTo>
                  <a:pt x="616152" y="690221"/>
                </a:moveTo>
                <a:cubicBezTo>
                  <a:pt x="616552" y="690221"/>
                  <a:pt x="616876" y="690545"/>
                  <a:pt x="616876" y="690949"/>
                </a:cubicBezTo>
                <a:cubicBezTo>
                  <a:pt x="616876" y="691349"/>
                  <a:pt x="616552" y="691673"/>
                  <a:pt x="616152" y="691673"/>
                </a:cubicBezTo>
                <a:cubicBezTo>
                  <a:pt x="615748" y="691673"/>
                  <a:pt x="615424" y="691349"/>
                  <a:pt x="615424" y="690949"/>
                </a:cubicBezTo>
                <a:cubicBezTo>
                  <a:pt x="615424" y="690545"/>
                  <a:pt x="615748" y="690221"/>
                  <a:pt x="616152" y="690221"/>
                </a:cubicBezTo>
                <a:close/>
                <a:moveTo>
                  <a:pt x="1538746" y="689493"/>
                </a:moveTo>
                <a:cubicBezTo>
                  <a:pt x="1539547" y="689493"/>
                  <a:pt x="1540198" y="690145"/>
                  <a:pt x="1540198" y="690945"/>
                </a:cubicBezTo>
                <a:cubicBezTo>
                  <a:pt x="1540198" y="691746"/>
                  <a:pt x="1539547" y="692397"/>
                  <a:pt x="1538746" y="692397"/>
                </a:cubicBezTo>
                <a:cubicBezTo>
                  <a:pt x="1537942" y="692397"/>
                  <a:pt x="1537294" y="691746"/>
                  <a:pt x="1537294" y="690945"/>
                </a:cubicBezTo>
                <a:cubicBezTo>
                  <a:pt x="1537294" y="690145"/>
                  <a:pt x="1537942" y="689493"/>
                  <a:pt x="1538746" y="689493"/>
                </a:cubicBezTo>
                <a:close/>
                <a:moveTo>
                  <a:pt x="1692328" y="688768"/>
                </a:moveTo>
                <a:cubicBezTo>
                  <a:pt x="1693532" y="688768"/>
                  <a:pt x="1694508" y="689744"/>
                  <a:pt x="1694508" y="690949"/>
                </a:cubicBezTo>
                <a:cubicBezTo>
                  <a:pt x="1694508" y="692150"/>
                  <a:pt x="1693532" y="693126"/>
                  <a:pt x="1692328" y="693126"/>
                </a:cubicBezTo>
                <a:cubicBezTo>
                  <a:pt x="1691127" y="693126"/>
                  <a:pt x="1690151" y="692150"/>
                  <a:pt x="1690151" y="690949"/>
                </a:cubicBezTo>
                <a:cubicBezTo>
                  <a:pt x="1690151" y="689744"/>
                  <a:pt x="1691127" y="688768"/>
                  <a:pt x="1692328" y="688768"/>
                </a:cubicBezTo>
                <a:close/>
                <a:moveTo>
                  <a:pt x="1846279" y="688040"/>
                </a:moveTo>
                <a:cubicBezTo>
                  <a:pt x="1848093" y="688040"/>
                  <a:pt x="1849546" y="689493"/>
                  <a:pt x="1849546" y="691307"/>
                </a:cubicBezTo>
                <a:cubicBezTo>
                  <a:pt x="1849546" y="693122"/>
                  <a:pt x="1848093" y="694574"/>
                  <a:pt x="1846279" y="694574"/>
                </a:cubicBezTo>
                <a:cubicBezTo>
                  <a:pt x="1844464" y="694574"/>
                  <a:pt x="1843012" y="693122"/>
                  <a:pt x="1843012" y="691307"/>
                </a:cubicBezTo>
                <a:cubicBezTo>
                  <a:pt x="1843012" y="689493"/>
                  <a:pt x="1844464" y="688040"/>
                  <a:pt x="1846279" y="688040"/>
                </a:cubicBezTo>
                <a:close/>
                <a:moveTo>
                  <a:pt x="1999860" y="686588"/>
                </a:moveTo>
                <a:cubicBezTo>
                  <a:pt x="2002403" y="686588"/>
                  <a:pt x="2004217" y="688403"/>
                  <a:pt x="2004217" y="690945"/>
                </a:cubicBezTo>
                <a:cubicBezTo>
                  <a:pt x="2004217" y="693488"/>
                  <a:pt x="2002037" y="695302"/>
                  <a:pt x="1999860" y="695302"/>
                </a:cubicBezTo>
                <a:cubicBezTo>
                  <a:pt x="1997318" y="695302"/>
                  <a:pt x="1995503" y="693488"/>
                  <a:pt x="1995503" y="690945"/>
                </a:cubicBezTo>
                <a:cubicBezTo>
                  <a:pt x="1995503" y="688403"/>
                  <a:pt x="1997318" y="686588"/>
                  <a:pt x="1999860" y="686588"/>
                </a:cubicBezTo>
                <a:close/>
                <a:moveTo>
                  <a:pt x="2153811" y="685498"/>
                </a:moveTo>
                <a:cubicBezTo>
                  <a:pt x="2157078" y="685498"/>
                  <a:pt x="2159621" y="688040"/>
                  <a:pt x="2159621" y="691307"/>
                </a:cubicBezTo>
                <a:cubicBezTo>
                  <a:pt x="2159621" y="694574"/>
                  <a:pt x="2157078" y="697117"/>
                  <a:pt x="2153811" y="697117"/>
                </a:cubicBezTo>
                <a:cubicBezTo>
                  <a:pt x="2150545" y="697117"/>
                  <a:pt x="2148002" y="694574"/>
                  <a:pt x="2148002" y="691307"/>
                </a:cubicBezTo>
                <a:cubicBezTo>
                  <a:pt x="2148002" y="688040"/>
                  <a:pt x="2150545" y="685498"/>
                  <a:pt x="2153811" y="685498"/>
                </a:cubicBezTo>
                <a:close/>
                <a:moveTo>
                  <a:pt x="2307393" y="683683"/>
                </a:moveTo>
                <a:cubicBezTo>
                  <a:pt x="2311388" y="683683"/>
                  <a:pt x="2314655" y="686950"/>
                  <a:pt x="2314655" y="690945"/>
                </a:cubicBezTo>
                <a:cubicBezTo>
                  <a:pt x="2314655" y="694940"/>
                  <a:pt x="2311388" y="698207"/>
                  <a:pt x="2307393" y="698207"/>
                </a:cubicBezTo>
                <a:cubicBezTo>
                  <a:pt x="2303398" y="698207"/>
                  <a:pt x="2300131" y="694940"/>
                  <a:pt x="2300131" y="690945"/>
                </a:cubicBezTo>
                <a:cubicBezTo>
                  <a:pt x="2300131" y="686950"/>
                  <a:pt x="2303398" y="683683"/>
                  <a:pt x="2307393" y="683683"/>
                </a:cubicBezTo>
                <a:close/>
                <a:moveTo>
                  <a:pt x="2461340" y="681869"/>
                </a:moveTo>
                <a:cubicBezTo>
                  <a:pt x="2466425" y="681869"/>
                  <a:pt x="2470420" y="685864"/>
                  <a:pt x="2470420" y="690945"/>
                </a:cubicBezTo>
                <a:cubicBezTo>
                  <a:pt x="2470420" y="696030"/>
                  <a:pt x="2466425" y="700025"/>
                  <a:pt x="2461340" y="700025"/>
                </a:cubicBezTo>
                <a:cubicBezTo>
                  <a:pt x="2456259" y="700025"/>
                  <a:pt x="2452264" y="696030"/>
                  <a:pt x="2452264" y="690945"/>
                </a:cubicBezTo>
                <a:cubicBezTo>
                  <a:pt x="2452264" y="685864"/>
                  <a:pt x="2456259" y="681869"/>
                  <a:pt x="2461340" y="681869"/>
                </a:cubicBezTo>
                <a:close/>
                <a:moveTo>
                  <a:pt x="2614925" y="680779"/>
                </a:moveTo>
                <a:cubicBezTo>
                  <a:pt x="2620373" y="680779"/>
                  <a:pt x="2625092" y="685498"/>
                  <a:pt x="2625092" y="690945"/>
                </a:cubicBezTo>
                <a:cubicBezTo>
                  <a:pt x="2625092" y="696392"/>
                  <a:pt x="2620735" y="701111"/>
                  <a:pt x="2614925" y="701111"/>
                </a:cubicBezTo>
                <a:cubicBezTo>
                  <a:pt x="2609478" y="701111"/>
                  <a:pt x="2604759" y="696392"/>
                  <a:pt x="2604759" y="690945"/>
                </a:cubicBezTo>
                <a:cubicBezTo>
                  <a:pt x="2604759" y="685498"/>
                  <a:pt x="2609478" y="680779"/>
                  <a:pt x="2614925" y="680779"/>
                </a:cubicBezTo>
                <a:close/>
                <a:moveTo>
                  <a:pt x="2768873" y="678964"/>
                </a:moveTo>
                <a:cubicBezTo>
                  <a:pt x="2775410" y="678964"/>
                  <a:pt x="2780858" y="684412"/>
                  <a:pt x="2780858" y="690945"/>
                </a:cubicBezTo>
                <a:cubicBezTo>
                  <a:pt x="2780858" y="697482"/>
                  <a:pt x="2775410" y="702926"/>
                  <a:pt x="2768873" y="702926"/>
                </a:cubicBezTo>
                <a:cubicBezTo>
                  <a:pt x="2762339" y="702926"/>
                  <a:pt x="2756892" y="697482"/>
                  <a:pt x="2756892" y="690945"/>
                </a:cubicBezTo>
                <a:cubicBezTo>
                  <a:pt x="2756892" y="684412"/>
                  <a:pt x="2762339" y="678964"/>
                  <a:pt x="2768873" y="678964"/>
                </a:cubicBezTo>
                <a:close/>
                <a:moveTo>
                  <a:pt x="2922824" y="677150"/>
                </a:moveTo>
                <a:cubicBezTo>
                  <a:pt x="2930444" y="677150"/>
                  <a:pt x="2936619" y="683329"/>
                  <a:pt x="2936619" y="690949"/>
                </a:cubicBezTo>
                <a:cubicBezTo>
                  <a:pt x="2936619" y="698565"/>
                  <a:pt x="2930444" y="704744"/>
                  <a:pt x="2922824" y="704744"/>
                </a:cubicBezTo>
                <a:cubicBezTo>
                  <a:pt x="2915204" y="704744"/>
                  <a:pt x="2909025" y="698565"/>
                  <a:pt x="2909025" y="690949"/>
                </a:cubicBezTo>
                <a:cubicBezTo>
                  <a:pt x="2909025" y="683329"/>
                  <a:pt x="2915204" y="677150"/>
                  <a:pt x="2922824" y="677150"/>
                </a:cubicBezTo>
                <a:close/>
                <a:moveTo>
                  <a:pt x="3076402" y="675697"/>
                </a:moveTo>
                <a:cubicBezTo>
                  <a:pt x="3084826" y="675697"/>
                  <a:pt x="3091653" y="682525"/>
                  <a:pt x="3091653" y="690949"/>
                </a:cubicBezTo>
                <a:cubicBezTo>
                  <a:pt x="3091653" y="699369"/>
                  <a:pt x="3084826" y="706197"/>
                  <a:pt x="3076402" y="706197"/>
                </a:cubicBezTo>
                <a:cubicBezTo>
                  <a:pt x="3067981" y="706197"/>
                  <a:pt x="3061154" y="699369"/>
                  <a:pt x="3061154" y="690949"/>
                </a:cubicBezTo>
                <a:cubicBezTo>
                  <a:pt x="3061154" y="682525"/>
                  <a:pt x="3067981" y="675697"/>
                  <a:pt x="3076402" y="675697"/>
                </a:cubicBezTo>
                <a:close/>
                <a:moveTo>
                  <a:pt x="3230353" y="673883"/>
                </a:moveTo>
                <a:cubicBezTo>
                  <a:pt x="3239776" y="673883"/>
                  <a:pt x="3247419" y="681522"/>
                  <a:pt x="3247419" y="690949"/>
                </a:cubicBezTo>
                <a:cubicBezTo>
                  <a:pt x="3247419" y="700372"/>
                  <a:pt x="3239776" y="708015"/>
                  <a:pt x="3230353" y="708015"/>
                </a:cubicBezTo>
                <a:cubicBezTo>
                  <a:pt x="3220926" y="708015"/>
                  <a:pt x="3213287" y="700372"/>
                  <a:pt x="3213287" y="690949"/>
                </a:cubicBezTo>
                <a:cubicBezTo>
                  <a:pt x="3213287" y="681522"/>
                  <a:pt x="3220926" y="673883"/>
                  <a:pt x="3230353" y="673883"/>
                </a:cubicBezTo>
                <a:close/>
                <a:moveTo>
                  <a:pt x="3383934" y="671703"/>
                </a:moveTo>
                <a:cubicBezTo>
                  <a:pt x="3394566" y="671703"/>
                  <a:pt x="3403180" y="680318"/>
                  <a:pt x="3403180" y="690945"/>
                </a:cubicBezTo>
                <a:cubicBezTo>
                  <a:pt x="3403180" y="701573"/>
                  <a:pt x="3394566" y="710191"/>
                  <a:pt x="3383934" y="710191"/>
                </a:cubicBezTo>
                <a:cubicBezTo>
                  <a:pt x="3373307" y="710191"/>
                  <a:pt x="3364692" y="701573"/>
                  <a:pt x="3364692" y="690945"/>
                </a:cubicBezTo>
                <a:cubicBezTo>
                  <a:pt x="3364692" y="680318"/>
                  <a:pt x="3373307" y="671703"/>
                  <a:pt x="3383934" y="671703"/>
                </a:cubicBezTo>
                <a:close/>
                <a:moveTo>
                  <a:pt x="3537886" y="669526"/>
                </a:moveTo>
                <a:cubicBezTo>
                  <a:pt x="3549714" y="669526"/>
                  <a:pt x="3559308" y="679117"/>
                  <a:pt x="3559308" y="690949"/>
                </a:cubicBezTo>
                <a:cubicBezTo>
                  <a:pt x="3559308" y="702777"/>
                  <a:pt x="3549714" y="712372"/>
                  <a:pt x="3537886" y="712372"/>
                </a:cubicBezTo>
                <a:cubicBezTo>
                  <a:pt x="3526053" y="712372"/>
                  <a:pt x="3516462" y="702777"/>
                  <a:pt x="3516462" y="690949"/>
                </a:cubicBezTo>
                <a:cubicBezTo>
                  <a:pt x="3516462" y="679117"/>
                  <a:pt x="3526053" y="669526"/>
                  <a:pt x="3537886" y="669526"/>
                </a:cubicBezTo>
                <a:close/>
                <a:moveTo>
                  <a:pt x="3691471" y="668074"/>
                </a:moveTo>
                <a:cubicBezTo>
                  <a:pt x="3704104" y="668074"/>
                  <a:pt x="3714342" y="678316"/>
                  <a:pt x="3714342" y="690949"/>
                </a:cubicBezTo>
                <a:cubicBezTo>
                  <a:pt x="3714342" y="703582"/>
                  <a:pt x="3704104" y="713820"/>
                  <a:pt x="3691471" y="713820"/>
                </a:cubicBezTo>
                <a:cubicBezTo>
                  <a:pt x="3678838" y="713820"/>
                  <a:pt x="3668596" y="703582"/>
                  <a:pt x="3668596" y="690949"/>
                </a:cubicBezTo>
                <a:cubicBezTo>
                  <a:pt x="3668596" y="678316"/>
                  <a:pt x="3678838" y="668074"/>
                  <a:pt x="3691471" y="668074"/>
                </a:cubicBezTo>
                <a:close/>
                <a:moveTo>
                  <a:pt x="3845414" y="665893"/>
                </a:moveTo>
                <a:cubicBezTo>
                  <a:pt x="3859252" y="665893"/>
                  <a:pt x="3870470" y="677112"/>
                  <a:pt x="3870470" y="690945"/>
                </a:cubicBezTo>
                <a:cubicBezTo>
                  <a:pt x="3870470" y="704782"/>
                  <a:pt x="3859252" y="716001"/>
                  <a:pt x="3845414" y="716001"/>
                </a:cubicBezTo>
                <a:cubicBezTo>
                  <a:pt x="3831581" y="716001"/>
                  <a:pt x="3820362" y="704782"/>
                  <a:pt x="3820362" y="690945"/>
                </a:cubicBezTo>
                <a:cubicBezTo>
                  <a:pt x="3820362" y="677112"/>
                  <a:pt x="3831581" y="665893"/>
                  <a:pt x="3845414" y="665893"/>
                </a:cubicBezTo>
                <a:close/>
                <a:moveTo>
                  <a:pt x="3999000" y="663717"/>
                </a:moveTo>
                <a:cubicBezTo>
                  <a:pt x="4013885" y="663717"/>
                  <a:pt x="4026232" y="676063"/>
                  <a:pt x="4026232" y="690949"/>
                </a:cubicBezTo>
                <a:cubicBezTo>
                  <a:pt x="4026232" y="705834"/>
                  <a:pt x="4014247" y="718181"/>
                  <a:pt x="3999000" y="718181"/>
                </a:cubicBezTo>
                <a:cubicBezTo>
                  <a:pt x="3984114" y="718181"/>
                  <a:pt x="3971768" y="705834"/>
                  <a:pt x="3971768" y="690949"/>
                </a:cubicBezTo>
                <a:cubicBezTo>
                  <a:pt x="3971768" y="676063"/>
                  <a:pt x="3984114" y="663717"/>
                  <a:pt x="3999000" y="663717"/>
                </a:cubicBezTo>
                <a:close/>
                <a:moveTo>
                  <a:pt x="4152947" y="661174"/>
                </a:moveTo>
                <a:cubicBezTo>
                  <a:pt x="4169392" y="661174"/>
                  <a:pt x="4182722" y="674504"/>
                  <a:pt x="4182722" y="690949"/>
                </a:cubicBezTo>
                <a:cubicBezTo>
                  <a:pt x="4182722" y="707390"/>
                  <a:pt x="4169392" y="720720"/>
                  <a:pt x="4152947" y="720720"/>
                </a:cubicBezTo>
                <a:cubicBezTo>
                  <a:pt x="4136506" y="720720"/>
                  <a:pt x="4123176" y="707390"/>
                  <a:pt x="4123176" y="690949"/>
                </a:cubicBezTo>
                <a:cubicBezTo>
                  <a:pt x="4123176" y="674504"/>
                  <a:pt x="4136506" y="661174"/>
                  <a:pt x="4152947" y="661174"/>
                </a:cubicBezTo>
                <a:close/>
                <a:moveTo>
                  <a:pt x="4306532" y="658994"/>
                </a:moveTo>
                <a:cubicBezTo>
                  <a:pt x="4324178" y="658994"/>
                  <a:pt x="4338484" y="673300"/>
                  <a:pt x="4338484" y="690945"/>
                </a:cubicBezTo>
                <a:cubicBezTo>
                  <a:pt x="4338484" y="708590"/>
                  <a:pt x="4324178" y="722896"/>
                  <a:pt x="4306532" y="722896"/>
                </a:cubicBezTo>
                <a:cubicBezTo>
                  <a:pt x="4288887" y="722896"/>
                  <a:pt x="4274581" y="708590"/>
                  <a:pt x="4274581" y="690945"/>
                </a:cubicBezTo>
                <a:cubicBezTo>
                  <a:pt x="4274581" y="673300"/>
                  <a:pt x="4288887" y="658994"/>
                  <a:pt x="4306532" y="658994"/>
                </a:cubicBezTo>
                <a:close/>
                <a:moveTo>
                  <a:pt x="4460480" y="657179"/>
                </a:moveTo>
                <a:cubicBezTo>
                  <a:pt x="4479128" y="657179"/>
                  <a:pt x="4494250" y="672297"/>
                  <a:pt x="4494250" y="690945"/>
                </a:cubicBezTo>
                <a:cubicBezTo>
                  <a:pt x="4494250" y="709597"/>
                  <a:pt x="4479128" y="724715"/>
                  <a:pt x="4460480" y="724715"/>
                </a:cubicBezTo>
                <a:cubicBezTo>
                  <a:pt x="4441832" y="724715"/>
                  <a:pt x="4426714" y="709597"/>
                  <a:pt x="4426714" y="690945"/>
                </a:cubicBezTo>
                <a:cubicBezTo>
                  <a:pt x="4426714" y="672297"/>
                  <a:pt x="4441832" y="657179"/>
                  <a:pt x="4460480" y="657179"/>
                </a:cubicBezTo>
                <a:close/>
                <a:moveTo>
                  <a:pt x="4614061" y="654637"/>
                </a:moveTo>
                <a:cubicBezTo>
                  <a:pt x="4634032" y="654637"/>
                  <a:pt x="4650370" y="670975"/>
                  <a:pt x="4650370" y="690945"/>
                </a:cubicBezTo>
                <a:cubicBezTo>
                  <a:pt x="4650370" y="710916"/>
                  <a:pt x="4634032" y="727253"/>
                  <a:pt x="4614061" y="727253"/>
                </a:cubicBezTo>
                <a:cubicBezTo>
                  <a:pt x="4594090" y="727253"/>
                  <a:pt x="4577753" y="710916"/>
                  <a:pt x="4577753" y="690945"/>
                </a:cubicBezTo>
                <a:cubicBezTo>
                  <a:pt x="4577753" y="670975"/>
                  <a:pt x="4594090" y="654637"/>
                  <a:pt x="4614061" y="654637"/>
                </a:cubicBezTo>
                <a:close/>
                <a:moveTo>
                  <a:pt x="4768012" y="652094"/>
                </a:moveTo>
                <a:cubicBezTo>
                  <a:pt x="4789435" y="652094"/>
                  <a:pt x="4806860" y="669522"/>
                  <a:pt x="4806860" y="690945"/>
                </a:cubicBezTo>
                <a:cubicBezTo>
                  <a:pt x="4806860" y="712368"/>
                  <a:pt x="4789435" y="729796"/>
                  <a:pt x="4768012" y="729796"/>
                </a:cubicBezTo>
                <a:cubicBezTo>
                  <a:pt x="4746590" y="729796"/>
                  <a:pt x="4729162" y="712368"/>
                  <a:pt x="4729162" y="690945"/>
                </a:cubicBezTo>
                <a:cubicBezTo>
                  <a:pt x="4729162" y="669522"/>
                  <a:pt x="4746590" y="652094"/>
                  <a:pt x="4768012" y="652094"/>
                </a:cubicBezTo>
                <a:close/>
                <a:moveTo>
                  <a:pt x="4921594" y="649918"/>
                </a:moveTo>
                <a:cubicBezTo>
                  <a:pt x="4944469" y="649918"/>
                  <a:pt x="4962625" y="668074"/>
                  <a:pt x="4962625" y="690945"/>
                </a:cubicBezTo>
                <a:cubicBezTo>
                  <a:pt x="4962625" y="713820"/>
                  <a:pt x="4944107" y="731976"/>
                  <a:pt x="4921594" y="731976"/>
                </a:cubicBezTo>
                <a:cubicBezTo>
                  <a:pt x="4898722" y="731976"/>
                  <a:pt x="4880566" y="713820"/>
                  <a:pt x="4880566" y="690945"/>
                </a:cubicBezTo>
                <a:cubicBezTo>
                  <a:pt x="4880566" y="668074"/>
                  <a:pt x="4898722" y="649918"/>
                  <a:pt x="4921594" y="649918"/>
                </a:cubicBezTo>
                <a:close/>
                <a:moveTo>
                  <a:pt x="5075541" y="647375"/>
                </a:moveTo>
                <a:cubicBezTo>
                  <a:pt x="5099503" y="647375"/>
                  <a:pt x="5119111" y="666984"/>
                  <a:pt x="5119111" y="690945"/>
                </a:cubicBezTo>
                <a:cubicBezTo>
                  <a:pt x="5119111" y="714911"/>
                  <a:pt x="5099503" y="734515"/>
                  <a:pt x="5075541" y="734515"/>
                </a:cubicBezTo>
                <a:cubicBezTo>
                  <a:pt x="5051580" y="734515"/>
                  <a:pt x="5031971" y="714911"/>
                  <a:pt x="5031971" y="690945"/>
                </a:cubicBezTo>
                <a:cubicBezTo>
                  <a:pt x="5031971" y="666984"/>
                  <a:pt x="5051580" y="647375"/>
                  <a:pt x="5075541" y="647375"/>
                </a:cubicBezTo>
                <a:close/>
                <a:moveTo>
                  <a:pt x="5229126" y="644836"/>
                </a:moveTo>
                <a:cubicBezTo>
                  <a:pt x="5254540" y="644836"/>
                  <a:pt x="5275239" y="665531"/>
                  <a:pt x="5275239" y="690949"/>
                </a:cubicBezTo>
                <a:cubicBezTo>
                  <a:pt x="5275239" y="716363"/>
                  <a:pt x="5254540" y="737058"/>
                  <a:pt x="5229126" y="737058"/>
                </a:cubicBezTo>
                <a:cubicBezTo>
                  <a:pt x="5203708" y="737058"/>
                  <a:pt x="5183014" y="716363"/>
                  <a:pt x="5183014" y="690949"/>
                </a:cubicBezTo>
                <a:cubicBezTo>
                  <a:pt x="5183014" y="665531"/>
                  <a:pt x="5203708" y="644836"/>
                  <a:pt x="5229126" y="644836"/>
                </a:cubicBezTo>
                <a:close/>
                <a:moveTo>
                  <a:pt x="5383074" y="642294"/>
                </a:moveTo>
                <a:cubicBezTo>
                  <a:pt x="5409940" y="642294"/>
                  <a:pt x="5431725" y="664079"/>
                  <a:pt x="5431725" y="690949"/>
                </a:cubicBezTo>
                <a:cubicBezTo>
                  <a:pt x="5431725" y="717815"/>
                  <a:pt x="5409940" y="739600"/>
                  <a:pt x="5383074" y="739600"/>
                </a:cubicBezTo>
                <a:cubicBezTo>
                  <a:pt x="5356204" y="739600"/>
                  <a:pt x="5334419" y="717815"/>
                  <a:pt x="5334419" y="690949"/>
                </a:cubicBezTo>
                <a:cubicBezTo>
                  <a:pt x="5334419" y="664079"/>
                  <a:pt x="5356204" y="642294"/>
                  <a:pt x="5383074" y="642294"/>
                </a:cubicBezTo>
                <a:close/>
                <a:moveTo>
                  <a:pt x="5536659" y="639751"/>
                </a:moveTo>
                <a:cubicBezTo>
                  <a:pt x="5564978" y="639751"/>
                  <a:pt x="5587853" y="662626"/>
                  <a:pt x="5587853" y="690945"/>
                </a:cubicBezTo>
                <a:cubicBezTo>
                  <a:pt x="5587853" y="719268"/>
                  <a:pt x="5564978" y="742139"/>
                  <a:pt x="5536659" y="742139"/>
                </a:cubicBezTo>
                <a:cubicBezTo>
                  <a:pt x="5508336" y="742139"/>
                  <a:pt x="5485462" y="719268"/>
                  <a:pt x="5485462" y="690945"/>
                </a:cubicBezTo>
                <a:cubicBezTo>
                  <a:pt x="5485462" y="662626"/>
                  <a:pt x="5508336" y="639751"/>
                  <a:pt x="5536659" y="639751"/>
                </a:cubicBezTo>
                <a:close/>
                <a:moveTo>
                  <a:pt x="5690606" y="637571"/>
                </a:moveTo>
                <a:cubicBezTo>
                  <a:pt x="5720016" y="637571"/>
                  <a:pt x="5743980" y="661533"/>
                  <a:pt x="5743980" y="690945"/>
                </a:cubicBezTo>
                <a:cubicBezTo>
                  <a:pt x="5743980" y="720354"/>
                  <a:pt x="5720016" y="744319"/>
                  <a:pt x="5690606" y="744319"/>
                </a:cubicBezTo>
                <a:cubicBezTo>
                  <a:pt x="5661198" y="744319"/>
                  <a:pt x="5637232" y="720354"/>
                  <a:pt x="5637232" y="690945"/>
                </a:cubicBezTo>
                <a:cubicBezTo>
                  <a:pt x="5637232" y="661533"/>
                  <a:pt x="5661198" y="637571"/>
                  <a:pt x="5690606" y="637571"/>
                </a:cubicBezTo>
                <a:close/>
                <a:moveTo>
                  <a:pt x="5844554" y="634666"/>
                </a:moveTo>
                <a:cubicBezTo>
                  <a:pt x="5875777" y="634666"/>
                  <a:pt x="5900829" y="659718"/>
                  <a:pt x="5900829" y="690945"/>
                </a:cubicBezTo>
                <a:cubicBezTo>
                  <a:pt x="5900829" y="722168"/>
                  <a:pt x="5875777" y="747224"/>
                  <a:pt x="5844554" y="747224"/>
                </a:cubicBezTo>
                <a:cubicBezTo>
                  <a:pt x="5813327" y="747224"/>
                  <a:pt x="5788275" y="722168"/>
                  <a:pt x="5788275" y="690945"/>
                </a:cubicBezTo>
                <a:cubicBezTo>
                  <a:pt x="5788275" y="659718"/>
                  <a:pt x="5813327" y="634666"/>
                  <a:pt x="5844554" y="634666"/>
                </a:cubicBezTo>
                <a:close/>
                <a:moveTo>
                  <a:pt x="5998136" y="632128"/>
                </a:moveTo>
                <a:cubicBezTo>
                  <a:pt x="6030624" y="632128"/>
                  <a:pt x="6056957" y="658460"/>
                  <a:pt x="6056957" y="690949"/>
                </a:cubicBezTo>
                <a:cubicBezTo>
                  <a:pt x="6056957" y="723434"/>
                  <a:pt x="6030624" y="749767"/>
                  <a:pt x="5998136" y="749767"/>
                </a:cubicBezTo>
                <a:cubicBezTo>
                  <a:pt x="5965650" y="749767"/>
                  <a:pt x="5939318" y="723434"/>
                  <a:pt x="5939318" y="690949"/>
                </a:cubicBezTo>
                <a:cubicBezTo>
                  <a:pt x="5939318" y="658460"/>
                  <a:pt x="5965650" y="632128"/>
                  <a:pt x="5998136" y="632128"/>
                </a:cubicBezTo>
                <a:close/>
                <a:moveTo>
                  <a:pt x="6152083" y="629223"/>
                </a:moveTo>
                <a:cubicBezTo>
                  <a:pt x="6186172" y="629223"/>
                  <a:pt x="6213809" y="656859"/>
                  <a:pt x="6213809" y="690949"/>
                </a:cubicBezTo>
                <a:cubicBezTo>
                  <a:pt x="6213809" y="725035"/>
                  <a:pt x="6186172" y="752671"/>
                  <a:pt x="6152083" y="752671"/>
                </a:cubicBezTo>
                <a:cubicBezTo>
                  <a:pt x="6117993" y="752671"/>
                  <a:pt x="6090360" y="725035"/>
                  <a:pt x="6090360" y="690949"/>
                </a:cubicBezTo>
                <a:cubicBezTo>
                  <a:pt x="6090360" y="656859"/>
                  <a:pt x="6117993" y="629223"/>
                  <a:pt x="6152083" y="629223"/>
                </a:cubicBezTo>
                <a:close/>
                <a:moveTo>
                  <a:pt x="6305668" y="626680"/>
                </a:moveTo>
                <a:cubicBezTo>
                  <a:pt x="6341160" y="626680"/>
                  <a:pt x="6369933" y="655452"/>
                  <a:pt x="6369933" y="690945"/>
                </a:cubicBezTo>
                <a:cubicBezTo>
                  <a:pt x="6369933" y="726438"/>
                  <a:pt x="6341160" y="755214"/>
                  <a:pt x="6305668" y="755214"/>
                </a:cubicBezTo>
                <a:cubicBezTo>
                  <a:pt x="6270176" y="755214"/>
                  <a:pt x="6241400" y="726438"/>
                  <a:pt x="6241400" y="690945"/>
                </a:cubicBezTo>
                <a:cubicBezTo>
                  <a:pt x="6241400" y="655452"/>
                  <a:pt x="6270176" y="626680"/>
                  <a:pt x="6305668" y="626680"/>
                </a:cubicBezTo>
                <a:close/>
                <a:moveTo>
                  <a:pt x="6459619" y="623414"/>
                </a:moveTo>
                <a:cubicBezTo>
                  <a:pt x="6496915" y="623414"/>
                  <a:pt x="6527151" y="653650"/>
                  <a:pt x="6527151" y="690949"/>
                </a:cubicBezTo>
                <a:cubicBezTo>
                  <a:pt x="6527151" y="728245"/>
                  <a:pt x="6496915" y="758481"/>
                  <a:pt x="6459619" y="758481"/>
                </a:cubicBezTo>
                <a:cubicBezTo>
                  <a:pt x="6422320" y="758481"/>
                  <a:pt x="6392084" y="728245"/>
                  <a:pt x="6392084" y="690949"/>
                </a:cubicBezTo>
                <a:cubicBezTo>
                  <a:pt x="6392084" y="653650"/>
                  <a:pt x="6422320" y="623414"/>
                  <a:pt x="6459619" y="623414"/>
                </a:cubicBezTo>
                <a:close/>
                <a:moveTo>
                  <a:pt x="6613200" y="620871"/>
                </a:moveTo>
                <a:cubicBezTo>
                  <a:pt x="6651903" y="620871"/>
                  <a:pt x="6683275" y="652243"/>
                  <a:pt x="6683275" y="690945"/>
                </a:cubicBezTo>
                <a:cubicBezTo>
                  <a:pt x="6683275" y="729647"/>
                  <a:pt x="6651903" y="761023"/>
                  <a:pt x="6613200" y="761023"/>
                </a:cubicBezTo>
                <a:cubicBezTo>
                  <a:pt x="6574498" y="761023"/>
                  <a:pt x="6543126" y="729647"/>
                  <a:pt x="6543126" y="690945"/>
                </a:cubicBezTo>
                <a:cubicBezTo>
                  <a:pt x="6543126" y="652243"/>
                  <a:pt x="6574498" y="620871"/>
                  <a:pt x="6613200" y="620871"/>
                </a:cubicBezTo>
                <a:close/>
                <a:moveTo>
                  <a:pt x="1231213" y="536998"/>
                </a:moveTo>
                <a:cubicBezTo>
                  <a:pt x="1231576" y="536998"/>
                  <a:pt x="1231576" y="536998"/>
                  <a:pt x="1231576" y="537360"/>
                </a:cubicBezTo>
                <a:cubicBezTo>
                  <a:pt x="1231576" y="537726"/>
                  <a:pt x="1231213" y="537726"/>
                  <a:pt x="1231213" y="537726"/>
                </a:cubicBezTo>
                <a:cubicBezTo>
                  <a:pt x="1230851" y="537726"/>
                  <a:pt x="1230851" y="537726"/>
                  <a:pt x="1230851" y="537360"/>
                </a:cubicBezTo>
                <a:cubicBezTo>
                  <a:pt x="1230851" y="536998"/>
                  <a:pt x="1230851" y="536998"/>
                  <a:pt x="1231213" y="536998"/>
                </a:cubicBezTo>
                <a:close/>
                <a:moveTo>
                  <a:pt x="769733" y="536998"/>
                </a:moveTo>
                <a:cubicBezTo>
                  <a:pt x="770096" y="536998"/>
                  <a:pt x="770096" y="536998"/>
                  <a:pt x="770096" y="537360"/>
                </a:cubicBezTo>
                <a:cubicBezTo>
                  <a:pt x="770096" y="537726"/>
                  <a:pt x="769733" y="537726"/>
                  <a:pt x="769733" y="537726"/>
                </a:cubicBezTo>
                <a:cubicBezTo>
                  <a:pt x="769371" y="537726"/>
                  <a:pt x="769371" y="537726"/>
                  <a:pt x="769371" y="537360"/>
                </a:cubicBezTo>
                <a:cubicBezTo>
                  <a:pt x="769371" y="536998"/>
                  <a:pt x="769371" y="536998"/>
                  <a:pt x="769733" y="536998"/>
                </a:cubicBezTo>
                <a:close/>
                <a:moveTo>
                  <a:pt x="616148" y="536998"/>
                </a:moveTo>
                <a:cubicBezTo>
                  <a:pt x="616514" y="536998"/>
                  <a:pt x="616514" y="536998"/>
                  <a:pt x="616514" y="537360"/>
                </a:cubicBezTo>
                <a:cubicBezTo>
                  <a:pt x="616514" y="537726"/>
                  <a:pt x="616148" y="537726"/>
                  <a:pt x="616148" y="537726"/>
                </a:cubicBezTo>
                <a:cubicBezTo>
                  <a:pt x="615786" y="537726"/>
                  <a:pt x="615786" y="537726"/>
                  <a:pt x="615786" y="537360"/>
                </a:cubicBezTo>
                <a:cubicBezTo>
                  <a:pt x="615786" y="536998"/>
                  <a:pt x="615786" y="536998"/>
                  <a:pt x="616148" y="536998"/>
                </a:cubicBezTo>
                <a:close/>
                <a:moveTo>
                  <a:pt x="462205" y="536636"/>
                </a:moveTo>
                <a:cubicBezTo>
                  <a:pt x="462605" y="536636"/>
                  <a:pt x="462929" y="536960"/>
                  <a:pt x="462929" y="537364"/>
                </a:cubicBezTo>
                <a:cubicBezTo>
                  <a:pt x="462929" y="537764"/>
                  <a:pt x="462605" y="538088"/>
                  <a:pt x="462205" y="538088"/>
                </a:cubicBezTo>
                <a:cubicBezTo>
                  <a:pt x="461801" y="538088"/>
                  <a:pt x="461476" y="537764"/>
                  <a:pt x="461476" y="537364"/>
                </a:cubicBezTo>
                <a:cubicBezTo>
                  <a:pt x="461476" y="536960"/>
                  <a:pt x="461801" y="536636"/>
                  <a:pt x="462205" y="536636"/>
                </a:cubicBezTo>
                <a:close/>
                <a:moveTo>
                  <a:pt x="1384799" y="535911"/>
                </a:moveTo>
                <a:cubicBezTo>
                  <a:pt x="1385599" y="535911"/>
                  <a:pt x="1386251" y="536563"/>
                  <a:pt x="1386251" y="537364"/>
                </a:cubicBezTo>
                <a:cubicBezTo>
                  <a:pt x="1386251" y="538164"/>
                  <a:pt x="1385599" y="538816"/>
                  <a:pt x="1384799" y="538816"/>
                </a:cubicBezTo>
                <a:cubicBezTo>
                  <a:pt x="1383994" y="538816"/>
                  <a:pt x="1383346" y="538164"/>
                  <a:pt x="1383346" y="537364"/>
                </a:cubicBezTo>
                <a:cubicBezTo>
                  <a:pt x="1383346" y="536563"/>
                  <a:pt x="1383994" y="535911"/>
                  <a:pt x="1384799" y="535911"/>
                </a:cubicBezTo>
                <a:close/>
                <a:moveTo>
                  <a:pt x="308257" y="535545"/>
                </a:moveTo>
                <a:cubicBezTo>
                  <a:pt x="308985" y="535545"/>
                  <a:pt x="309710" y="536273"/>
                  <a:pt x="309710" y="536998"/>
                </a:cubicBezTo>
                <a:lnTo>
                  <a:pt x="309634" y="537073"/>
                </a:lnTo>
                <a:lnTo>
                  <a:pt x="308175" y="535627"/>
                </a:lnTo>
                <a:close/>
                <a:moveTo>
                  <a:pt x="1538750" y="535183"/>
                </a:moveTo>
                <a:cubicBezTo>
                  <a:pt x="1539951" y="535183"/>
                  <a:pt x="1540927" y="536159"/>
                  <a:pt x="1540927" y="537364"/>
                </a:cubicBezTo>
                <a:cubicBezTo>
                  <a:pt x="1540927" y="538564"/>
                  <a:pt x="1539951" y="539540"/>
                  <a:pt x="1538750" y="539540"/>
                </a:cubicBezTo>
                <a:cubicBezTo>
                  <a:pt x="1537545" y="539540"/>
                  <a:pt x="1536570" y="538564"/>
                  <a:pt x="1536570" y="537364"/>
                </a:cubicBezTo>
                <a:cubicBezTo>
                  <a:pt x="1536570" y="536159"/>
                  <a:pt x="1537545" y="535183"/>
                  <a:pt x="1538750" y="535183"/>
                </a:cubicBezTo>
                <a:close/>
                <a:moveTo>
                  <a:pt x="1692328" y="534093"/>
                </a:moveTo>
                <a:cubicBezTo>
                  <a:pt x="1694146" y="534093"/>
                  <a:pt x="1695594" y="535545"/>
                  <a:pt x="1695594" y="537360"/>
                </a:cubicBezTo>
                <a:cubicBezTo>
                  <a:pt x="1695594" y="539178"/>
                  <a:pt x="1694146" y="540630"/>
                  <a:pt x="1692328" y="540630"/>
                </a:cubicBezTo>
                <a:cubicBezTo>
                  <a:pt x="1690513" y="540630"/>
                  <a:pt x="1689061" y="539178"/>
                  <a:pt x="1689061" y="537360"/>
                </a:cubicBezTo>
                <a:cubicBezTo>
                  <a:pt x="1689061" y="535545"/>
                  <a:pt x="1690513" y="534093"/>
                  <a:pt x="1692328" y="534093"/>
                </a:cubicBezTo>
                <a:close/>
                <a:moveTo>
                  <a:pt x="1846279" y="532641"/>
                </a:moveTo>
                <a:cubicBezTo>
                  <a:pt x="1848818" y="532641"/>
                  <a:pt x="1850636" y="534455"/>
                  <a:pt x="1850636" y="536998"/>
                </a:cubicBezTo>
                <a:cubicBezTo>
                  <a:pt x="1850636" y="539540"/>
                  <a:pt x="1848455" y="541355"/>
                  <a:pt x="1846279" y="541355"/>
                </a:cubicBezTo>
                <a:cubicBezTo>
                  <a:pt x="1843736" y="541355"/>
                  <a:pt x="1841922" y="539540"/>
                  <a:pt x="1841922" y="536998"/>
                </a:cubicBezTo>
                <a:cubicBezTo>
                  <a:pt x="1841922" y="534455"/>
                  <a:pt x="1843736" y="532641"/>
                  <a:pt x="1846279" y="532641"/>
                </a:cubicBezTo>
                <a:close/>
                <a:moveTo>
                  <a:pt x="1999860" y="531554"/>
                </a:moveTo>
                <a:cubicBezTo>
                  <a:pt x="2003127" y="531554"/>
                  <a:pt x="2005670" y="534097"/>
                  <a:pt x="2005670" y="537364"/>
                </a:cubicBezTo>
                <a:cubicBezTo>
                  <a:pt x="2005670" y="540630"/>
                  <a:pt x="2003127" y="543173"/>
                  <a:pt x="1999860" y="543173"/>
                </a:cubicBezTo>
                <a:cubicBezTo>
                  <a:pt x="1996593" y="543173"/>
                  <a:pt x="1994051" y="540630"/>
                  <a:pt x="1994051" y="537364"/>
                </a:cubicBezTo>
                <a:cubicBezTo>
                  <a:pt x="1994051" y="534097"/>
                  <a:pt x="1996593" y="531554"/>
                  <a:pt x="1999860" y="531554"/>
                </a:cubicBezTo>
                <a:close/>
                <a:moveTo>
                  <a:pt x="2153808" y="530102"/>
                </a:moveTo>
                <a:cubicBezTo>
                  <a:pt x="2157802" y="530102"/>
                  <a:pt x="2161069" y="533369"/>
                  <a:pt x="2161069" y="537364"/>
                </a:cubicBezTo>
                <a:cubicBezTo>
                  <a:pt x="2161069" y="541359"/>
                  <a:pt x="2157802" y="544625"/>
                  <a:pt x="2153808" y="544625"/>
                </a:cubicBezTo>
                <a:cubicBezTo>
                  <a:pt x="2149813" y="544625"/>
                  <a:pt x="2146546" y="541359"/>
                  <a:pt x="2146546" y="537364"/>
                </a:cubicBezTo>
                <a:cubicBezTo>
                  <a:pt x="2146546" y="533369"/>
                  <a:pt x="2149813" y="530102"/>
                  <a:pt x="2153808" y="530102"/>
                </a:cubicBezTo>
                <a:close/>
                <a:moveTo>
                  <a:pt x="2307393" y="527922"/>
                </a:moveTo>
                <a:cubicBezTo>
                  <a:pt x="2312478" y="527922"/>
                  <a:pt x="2316473" y="531916"/>
                  <a:pt x="2316473" y="536998"/>
                </a:cubicBezTo>
                <a:cubicBezTo>
                  <a:pt x="2316473" y="542083"/>
                  <a:pt x="2312478" y="546078"/>
                  <a:pt x="2307393" y="546078"/>
                </a:cubicBezTo>
                <a:cubicBezTo>
                  <a:pt x="2302312" y="546078"/>
                  <a:pt x="2298317" y="542083"/>
                  <a:pt x="2298317" y="536998"/>
                </a:cubicBezTo>
                <a:cubicBezTo>
                  <a:pt x="2298317" y="531916"/>
                  <a:pt x="2302312" y="527922"/>
                  <a:pt x="2307393" y="527922"/>
                </a:cubicBezTo>
                <a:close/>
                <a:moveTo>
                  <a:pt x="2461340" y="527197"/>
                </a:moveTo>
                <a:cubicBezTo>
                  <a:pt x="2466787" y="527197"/>
                  <a:pt x="2471507" y="531916"/>
                  <a:pt x="2471507" y="537364"/>
                </a:cubicBezTo>
                <a:cubicBezTo>
                  <a:pt x="2471507" y="542811"/>
                  <a:pt x="2467150" y="547530"/>
                  <a:pt x="2461340" y="547530"/>
                </a:cubicBezTo>
                <a:cubicBezTo>
                  <a:pt x="2455893" y="547530"/>
                  <a:pt x="2451174" y="542811"/>
                  <a:pt x="2451174" y="537364"/>
                </a:cubicBezTo>
                <a:cubicBezTo>
                  <a:pt x="2451174" y="531916"/>
                  <a:pt x="2455893" y="527197"/>
                  <a:pt x="2461340" y="527197"/>
                </a:cubicBezTo>
                <a:close/>
                <a:moveTo>
                  <a:pt x="2614925" y="525379"/>
                </a:moveTo>
                <a:cubicBezTo>
                  <a:pt x="2621463" y="525379"/>
                  <a:pt x="2626910" y="530826"/>
                  <a:pt x="2626910" y="537360"/>
                </a:cubicBezTo>
                <a:cubicBezTo>
                  <a:pt x="2626910" y="543897"/>
                  <a:pt x="2621463" y="549341"/>
                  <a:pt x="2614925" y="549341"/>
                </a:cubicBezTo>
                <a:cubicBezTo>
                  <a:pt x="2608392" y="549341"/>
                  <a:pt x="2602945" y="543897"/>
                  <a:pt x="2602945" y="537360"/>
                </a:cubicBezTo>
                <a:cubicBezTo>
                  <a:pt x="2602945" y="530826"/>
                  <a:pt x="2608392" y="525379"/>
                  <a:pt x="2614925" y="525379"/>
                </a:cubicBezTo>
                <a:close/>
                <a:moveTo>
                  <a:pt x="2768877" y="523202"/>
                </a:moveTo>
                <a:cubicBezTo>
                  <a:pt x="2776501" y="523202"/>
                  <a:pt x="2782672" y="529374"/>
                  <a:pt x="2782672" y="537002"/>
                </a:cubicBezTo>
                <a:cubicBezTo>
                  <a:pt x="2782672" y="544625"/>
                  <a:pt x="2776501" y="550797"/>
                  <a:pt x="2768877" y="550797"/>
                </a:cubicBezTo>
                <a:cubicBezTo>
                  <a:pt x="2761249" y="550797"/>
                  <a:pt x="2755078" y="544625"/>
                  <a:pt x="2755078" y="537002"/>
                </a:cubicBezTo>
                <a:cubicBezTo>
                  <a:pt x="2755078" y="529374"/>
                  <a:pt x="2761249" y="523202"/>
                  <a:pt x="2768877" y="523202"/>
                </a:cubicBezTo>
                <a:close/>
                <a:moveTo>
                  <a:pt x="2922454" y="522112"/>
                </a:moveTo>
                <a:cubicBezTo>
                  <a:pt x="2930878" y="522112"/>
                  <a:pt x="2937706" y="528939"/>
                  <a:pt x="2937706" y="537364"/>
                </a:cubicBezTo>
                <a:cubicBezTo>
                  <a:pt x="2937706" y="545784"/>
                  <a:pt x="2930878" y="552611"/>
                  <a:pt x="2922454" y="552611"/>
                </a:cubicBezTo>
                <a:cubicBezTo>
                  <a:pt x="2914034" y="552611"/>
                  <a:pt x="2907207" y="545784"/>
                  <a:pt x="2907207" y="537364"/>
                </a:cubicBezTo>
                <a:cubicBezTo>
                  <a:pt x="2907207" y="528939"/>
                  <a:pt x="2914034" y="522112"/>
                  <a:pt x="2922454" y="522112"/>
                </a:cubicBezTo>
                <a:close/>
                <a:moveTo>
                  <a:pt x="3076406" y="520298"/>
                </a:moveTo>
                <a:cubicBezTo>
                  <a:pt x="3085844" y="520298"/>
                  <a:pt x="3093468" y="527922"/>
                  <a:pt x="3093468" y="537364"/>
                </a:cubicBezTo>
                <a:cubicBezTo>
                  <a:pt x="3093468" y="546802"/>
                  <a:pt x="3085844" y="554430"/>
                  <a:pt x="3076406" y="554430"/>
                </a:cubicBezTo>
                <a:cubicBezTo>
                  <a:pt x="3066963" y="554430"/>
                  <a:pt x="3059340" y="546802"/>
                  <a:pt x="3059340" y="537364"/>
                </a:cubicBezTo>
                <a:cubicBezTo>
                  <a:pt x="3059340" y="527922"/>
                  <a:pt x="3066963" y="520298"/>
                  <a:pt x="3076406" y="520298"/>
                </a:cubicBezTo>
                <a:close/>
                <a:moveTo>
                  <a:pt x="3230353" y="518117"/>
                </a:moveTo>
                <a:cubicBezTo>
                  <a:pt x="3240980" y="518117"/>
                  <a:pt x="3249599" y="526732"/>
                  <a:pt x="3249599" y="537360"/>
                </a:cubicBezTo>
                <a:cubicBezTo>
                  <a:pt x="3249599" y="547987"/>
                  <a:pt x="3240980" y="556602"/>
                  <a:pt x="3230353" y="556602"/>
                </a:cubicBezTo>
                <a:cubicBezTo>
                  <a:pt x="3219725" y="556602"/>
                  <a:pt x="3211110" y="547987"/>
                  <a:pt x="3211110" y="537360"/>
                </a:cubicBezTo>
                <a:cubicBezTo>
                  <a:pt x="3211110" y="526732"/>
                  <a:pt x="3219725" y="518117"/>
                  <a:pt x="3230353" y="518117"/>
                </a:cubicBezTo>
                <a:close/>
                <a:moveTo>
                  <a:pt x="3383938" y="515941"/>
                </a:moveTo>
                <a:cubicBezTo>
                  <a:pt x="3395766" y="515941"/>
                  <a:pt x="3405361" y="525532"/>
                  <a:pt x="3405361" y="537364"/>
                </a:cubicBezTo>
                <a:cubicBezTo>
                  <a:pt x="3405361" y="549192"/>
                  <a:pt x="3395766" y="558787"/>
                  <a:pt x="3383938" y="558787"/>
                </a:cubicBezTo>
                <a:cubicBezTo>
                  <a:pt x="3372106" y="558787"/>
                  <a:pt x="3362515" y="549192"/>
                  <a:pt x="3362515" y="537364"/>
                </a:cubicBezTo>
                <a:cubicBezTo>
                  <a:pt x="3362515" y="525532"/>
                  <a:pt x="3372106" y="515941"/>
                  <a:pt x="3383938" y="515941"/>
                </a:cubicBezTo>
                <a:close/>
                <a:moveTo>
                  <a:pt x="3537886" y="514489"/>
                </a:moveTo>
                <a:cubicBezTo>
                  <a:pt x="3550518" y="514489"/>
                  <a:pt x="3560761" y="524731"/>
                  <a:pt x="3560761" y="537364"/>
                </a:cubicBezTo>
                <a:cubicBezTo>
                  <a:pt x="3560761" y="549996"/>
                  <a:pt x="3550518" y="560239"/>
                  <a:pt x="3537886" y="560239"/>
                </a:cubicBezTo>
                <a:cubicBezTo>
                  <a:pt x="3525253" y="560239"/>
                  <a:pt x="3515010" y="549996"/>
                  <a:pt x="3515010" y="537364"/>
                </a:cubicBezTo>
                <a:cubicBezTo>
                  <a:pt x="3515010" y="524731"/>
                  <a:pt x="3525253" y="514489"/>
                  <a:pt x="3537886" y="514489"/>
                </a:cubicBezTo>
                <a:close/>
                <a:moveTo>
                  <a:pt x="3691467" y="512308"/>
                </a:moveTo>
                <a:cubicBezTo>
                  <a:pt x="3705304" y="512308"/>
                  <a:pt x="3716519" y="523526"/>
                  <a:pt x="3716519" y="537360"/>
                </a:cubicBezTo>
                <a:cubicBezTo>
                  <a:pt x="3716519" y="551197"/>
                  <a:pt x="3705304" y="562412"/>
                  <a:pt x="3691467" y="562412"/>
                </a:cubicBezTo>
                <a:cubicBezTo>
                  <a:pt x="3677630" y="562412"/>
                  <a:pt x="3666415" y="551197"/>
                  <a:pt x="3666415" y="537360"/>
                </a:cubicBezTo>
                <a:cubicBezTo>
                  <a:pt x="3666415" y="523523"/>
                  <a:pt x="3677630" y="512308"/>
                  <a:pt x="3691467" y="512308"/>
                </a:cubicBezTo>
                <a:close/>
                <a:moveTo>
                  <a:pt x="3845418" y="510131"/>
                </a:moveTo>
                <a:cubicBezTo>
                  <a:pt x="3860456" y="510131"/>
                  <a:pt x="3872650" y="522322"/>
                  <a:pt x="3872650" y="537364"/>
                </a:cubicBezTo>
                <a:cubicBezTo>
                  <a:pt x="3872650" y="552402"/>
                  <a:pt x="3860456" y="564596"/>
                  <a:pt x="3845418" y="564596"/>
                </a:cubicBezTo>
                <a:cubicBezTo>
                  <a:pt x="3830376" y="564596"/>
                  <a:pt x="3818186" y="552402"/>
                  <a:pt x="3818186" y="537364"/>
                </a:cubicBezTo>
                <a:cubicBezTo>
                  <a:pt x="3818186" y="522322"/>
                  <a:pt x="3830376" y="510131"/>
                  <a:pt x="3845418" y="510131"/>
                </a:cubicBezTo>
                <a:close/>
                <a:moveTo>
                  <a:pt x="3999000" y="507589"/>
                </a:moveTo>
                <a:cubicBezTo>
                  <a:pt x="4015444" y="507589"/>
                  <a:pt x="4028774" y="520919"/>
                  <a:pt x="4028774" y="537364"/>
                </a:cubicBezTo>
                <a:cubicBezTo>
                  <a:pt x="4028774" y="553804"/>
                  <a:pt x="4015444" y="567135"/>
                  <a:pt x="3999000" y="567135"/>
                </a:cubicBezTo>
                <a:cubicBezTo>
                  <a:pt x="3982559" y="567135"/>
                  <a:pt x="3969229" y="553804"/>
                  <a:pt x="3969229" y="537364"/>
                </a:cubicBezTo>
                <a:cubicBezTo>
                  <a:pt x="3969229" y="520919"/>
                  <a:pt x="3982559" y="507589"/>
                  <a:pt x="3999000" y="507589"/>
                </a:cubicBezTo>
                <a:close/>
                <a:moveTo>
                  <a:pt x="4152947" y="505412"/>
                </a:moveTo>
                <a:cubicBezTo>
                  <a:pt x="4170592" y="505412"/>
                  <a:pt x="4184898" y="519718"/>
                  <a:pt x="4184898" y="537364"/>
                </a:cubicBezTo>
                <a:cubicBezTo>
                  <a:pt x="4184898" y="555009"/>
                  <a:pt x="4170592" y="569315"/>
                  <a:pt x="4152947" y="569315"/>
                </a:cubicBezTo>
                <a:cubicBezTo>
                  <a:pt x="4135302" y="569315"/>
                  <a:pt x="4120996" y="555009"/>
                  <a:pt x="4120996" y="537364"/>
                </a:cubicBezTo>
                <a:cubicBezTo>
                  <a:pt x="4120996" y="519718"/>
                  <a:pt x="4135302" y="505412"/>
                  <a:pt x="4152947" y="505412"/>
                </a:cubicBezTo>
                <a:close/>
                <a:moveTo>
                  <a:pt x="4306532" y="503594"/>
                </a:moveTo>
                <a:cubicBezTo>
                  <a:pt x="4325184" y="503594"/>
                  <a:pt x="4340302" y="518712"/>
                  <a:pt x="4340302" y="537360"/>
                </a:cubicBezTo>
                <a:cubicBezTo>
                  <a:pt x="4340302" y="556012"/>
                  <a:pt x="4325184" y="571130"/>
                  <a:pt x="4306532" y="571130"/>
                </a:cubicBezTo>
                <a:cubicBezTo>
                  <a:pt x="4287884" y="571130"/>
                  <a:pt x="4272766" y="556012"/>
                  <a:pt x="4272766" y="537360"/>
                </a:cubicBezTo>
                <a:cubicBezTo>
                  <a:pt x="4272766" y="518712"/>
                  <a:pt x="4287884" y="503594"/>
                  <a:pt x="4306532" y="503594"/>
                </a:cubicBezTo>
                <a:close/>
                <a:moveTo>
                  <a:pt x="4460480" y="500689"/>
                </a:moveTo>
                <a:cubicBezTo>
                  <a:pt x="4480450" y="500689"/>
                  <a:pt x="4496788" y="517027"/>
                  <a:pt x="4496788" y="536998"/>
                </a:cubicBezTo>
                <a:cubicBezTo>
                  <a:pt x="4496788" y="556968"/>
                  <a:pt x="4480450" y="573306"/>
                  <a:pt x="4460480" y="573306"/>
                </a:cubicBezTo>
                <a:cubicBezTo>
                  <a:pt x="4440509" y="573306"/>
                  <a:pt x="4424172" y="556968"/>
                  <a:pt x="4424172" y="536998"/>
                </a:cubicBezTo>
                <a:cubicBezTo>
                  <a:pt x="4424172" y="517027"/>
                  <a:pt x="4440509" y="500689"/>
                  <a:pt x="4460480" y="500689"/>
                </a:cubicBezTo>
                <a:close/>
                <a:moveTo>
                  <a:pt x="4614065" y="498513"/>
                </a:moveTo>
                <a:cubicBezTo>
                  <a:pt x="4635484" y="498513"/>
                  <a:pt x="4652912" y="515941"/>
                  <a:pt x="4652912" y="537364"/>
                </a:cubicBezTo>
                <a:cubicBezTo>
                  <a:pt x="4652912" y="558787"/>
                  <a:pt x="4635484" y="576215"/>
                  <a:pt x="4614065" y="576215"/>
                </a:cubicBezTo>
                <a:cubicBezTo>
                  <a:pt x="4592642" y="576215"/>
                  <a:pt x="4575214" y="558787"/>
                  <a:pt x="4575214" y="537364"/>
                </a:cubicBezTo>
                <a:cubicBezTo>
                  <a:pt x="4575214" y="515941"/>
                  <a:pt x="4592642" y="498513"/>
                  <a:pt x="4614065" y="498513"/>
                </a:cubicBezTo>
                <a:close/>
                <a:moveTo>
                  <a:pt x="4768008" y="495970"/>
                </a:moveTo>
                <a:cubicBezTo>
                  <a:pt x="4790884" y="495970"/>
                  <a:pt x="4809036" y="514126"/>
                  <a:pt x="4809036" y="536998"/>
                </a:cubicBezTo>
                <a:cubicBezTo>
                  <a:pt x="4809036" y="559873"/>
                  <a:pt x="4790522" y="578029"/>
                  <a:pt x="4768008" y="578029"/>
                </a:cubicBezTo>
                <a:cubicBezTo>
                  <a:pt x="4745137" y="578029"/>
                  <a:pt x="4726981" y="559873"/>
                  <a:pt x="4726981" y="536998"/>
                </a:cubicBezTo>
                <a:cubicBezTo>
                  <a:pt x="4726981" y="514126"/>
                  <a:pt x="4745137" y="495970"/>
                  <a:pt x="4768008" y="495970"/>
                </a:cubicBezTo>
                <a:close/>
                <a:moveTo>
                  <a:pt x="4921594" y="493428"/>
                </a:moveTo>
                <a:cubicBezTo>
                  <a:pt x="4945556" y="493428"/>
                  <a:pt x="4965164" y="513032"/>
                  <a:pt x="4965164" y="536998"/>
                </a:cubicBezTo>
                <a:cubicBezTo>
                  <a:pt x="4965164" y="560959"/>
                  <a:pt x="4945556" y="580568"/>
                  <a:pt x="4921594" y="580568"/>
                </a:cubicBezTo>
                <a:cubicBezTo>
                  <a:pt x="4897628" y="580568"/>
                  <a:pt x="4878024" y="560959"/>
                  <a:pt x="4878024" y="536998"/>
                </a:cubicBezTo>
                <a:cubicBezTo>
                  <a:pt x="4878024" y="513032"/>
                  <a:pt x="4897628" y="493428"/>
                  <a:pt x="4921594" y="493428"/>
                </a:cubicBezTo>
                <a:close/>
                <a:moveTo>
                  <a:pt x="5075541" y="490889"/>
                </a:moveTo>
                <a:cubicBezTo>
                  <a:pt x="5100955" y="490889"/>
                  <a:pt x="5121654" y="511584"/>
                  <a:pt x="5121654" y="537002"/>
                </a:cubicBezTo>
                <a:cubicBezTo>
                  <a:pt x="5121654" y="562416"/>
                  <a:pt x="5100955" y="583110"/>
                  <a:pt x="5075541" y="583110"/>
                </a:cubicBezTo>
                <a:cubicBezTo>
                  <a:pt x="5050124" y="583110"/>
                  <a:pt x="5029428" y="562416"/>
                  <a:pt x="5029428" y="537002"/>
                </a:cubicBezTo>
                <a:cubicBezTo>
                  <a:pt x="5029428" y="511584"/>
                  <a:pt x="5050124" y="490889"/>
                  <a:pt x="5075541" y="490889"/>
                </a:cubicBezTo>
                <a:close/>
                <a:moveTo>
                  <a:pt x="5229122" y="488709"/>
                </a:moveTo>
                <a:cubicBezTo>
                  <a:pt x="5255992" y="488709"/>
                  <a:pt x="5277778" y="510494"/>
                  <a:pt x="5277778" y="537364"/>
                </a:cubicBezTo>
                <a:cubicBezTo>
                  <a:pt x="5277778" y="564230"/>
                  <a:pt x="5255992" y="586015"/>
                  <a:pt x="5229122" y="586015"/>
                </a:cubicBezTo>
                <a:cubicBezTo>
                  <a:pt x="5202256" y="586015"/>
                  <a:pt x="5180472" y="564230"/>
                  <a:pt x="5180472" y="537364"/>
                </a:cubicBezTo>
                <a:cubicBezTo>
                  <a:pt x="5180472" y="510494"/>
                  <a:pt x="5202256" y="488709"/>
                  <a:pt x="5229122" y="488709"/>
                </a:cubicBezTo>
                <a:close/>
                <a:moveTo>
                  <a:pt x="5383074" y="486166"/>
                </a:moveTo>
                <a:cubicBezTo>
                  <a:pt x="5411396" y="486166"/>
                  <a:pt x="5434268" y="509041"/>
                  <a:pt x="5434268" y="537360"/>
                </a:cubicBezTo>
                <a:cubicBezTo>
                  <a:pt x="5434268" y="565682"/>
                  <a:pt x="5411396" y="588554"/>
                  <a:pt x="5383074" y="588554"/>
                </a:cubicBezTo>
                <a:cubicBezTo>
                  <a:pt x="5354755" y="588554"/>
                  <a:pt x="5331880" y="565682"/>
                  <a:pt x="5331880" y="537360"/>
                </a:cubicBezTo>
                <a:cubicBezTo>
                  <a:pt x="5331880" y="509041"/>
                  <a:pt x="5354755" y="486166"/>
                  <a:pt x="5383074" y="486166"/>
                </a:cubicBezTo>
                <a:close/>
                <a:moveTo>
                  <a:pt x="5536659" y="483624"/>
                </a:moveTo>
                <a:cubicBezTo>
                  <a:pt x="5566068" y="483624"/>
                  <a:pt x="5590034" y="507585"/>
                  <a:pt x="5590034" y="536998"/>
                </a:cubicBezTo>
                <a:cubicBezTo>
                  <a:pt x="5590034" y="566407"/>
                  <a:pt x="5566068" y="590372"/>
                  <a:pt x="5536659" y="590372"/>
                </a:cubicBezTo>
                <a:cubicBezTo>
                  <a:pt x="5507250" y="590372"/>
                  <a:pt x="5483285" y="566407"/>
                  <a:pt x="5483285" y="536998"/>
                </a:cubicBezTo>
                <a:cubicBezTo>
                  <a:pt x="5483285" y="507585"/>
                  <a:pt x="5507250" y="483624"/>
                  <a:pt x="5536659" y="483624"/>
                </a:cubicBezTo>
                <a:close/>
                <a:moveTo>
                  <a:pt x="5690606" y="481085"/>
                </a:moveTo>
                <a:cubicBezTo>
                  <a:pt x="5721830" y="481085"/>
                  <a:pt x="5746882" y="506137"/>
                  <a:pt x="5746882" y="537364"/>
                </a:cubicBezTo>
                <a:cubicBezTo>
                  <a:pt x="5746882" y="568587"/>
                  <a:pt x="5721830" y="593643"/>
                  <a:pt x="5690606" y="593643"/>
                </a:cubicBezTo>
                <a:cubicBezTo>
                  <a:pt x="5659380" y="593643"/>
                  <a:pt x="5634328" y="568587"/>
                  <a:pt x="5634328" y="537364"/>
                </a:cubicBezTo>
                <a:cubicBezTo>
                  <a:pt x="5634328" y="506137"/>
                  <a:pt x="5659380" y="481085"/>
                  <a:pt x="5690606" y="481085"/>
                </a:cubicBezTo>
                <a:close/>
                <a:moveTo>
                  <a:pt x="5844554" y="478542"/>
                </a:moveTo>
                <a:cubicBezTo>
                  <a:pt x="5877039" y="478542"/>
                  <a:pt x="5903372" y="504875"/>
                  <a:pt x="5903372" y="537364"/>
                </a:cubicBezTo>
                <a:cubicBezTo>
                  <a:pt x="5903372" y="569849"/>
                  <a:pt x="5877039" y="596181"/>
                  <a:pt x="5844554" y="596181"/>
                </a:cubicBezTo>
                <a:cubicBezTo>
                  <a:pt x="5812065" y="596181"/>
                  <a:pt x="5785732" y="569849"/>
                  <a:pt x="5785732" y="537364"/>
                </a:cubicBezTo>
                <a:cubicBezTo>
                  <a:pt x="5785732" y="504875"/>
                  <a:pt x="5812065" y="478542"/>
                  <a:pt x="5844554" y="478542"/>
                </a:cubicBezTo>
                <a:close/>
                <a:moveTo>
                  <a:pt x="5998136" y="475638"/>
                </a:moveTo>
                <a:cubicBezTo>
                  <a:pt x="6032225" y="475638"/>
                  <a:pt x="6059862" y="503274"/>
                  <a:pt x="6059862" y="537364"/>
                </a:cubicBezTo>
                <a:cubicBezTo>
                  <a:pt x="6059862" y="571450"/>
                  <a:pt x="6032225" y="599086"/>
                  <a:pt x="5998136" y="599086"/>
                </a:cubicBezTo>
                <a:cubicBezTo>
                  <a:pt x="5964046" y="599086"/>
                  <a:pt x="5936413" y="571450"/>
                  <a:pt x="5936413" y="537364"/>
                </a:cubicBezTo>
                <a:cubicBezTo>
                  <a:pt x="5936413" y="503274"/>
                  <a:pt x="5964046" y="475638"/>
                  <a:pt x="5998136" y="475638"/>
                </a:cubicBezTo>
                <a:close/>
                <a:moveTo>
                  <a:pt x="6152083" y="473095"/>
                </a:moveTo>
                <a:cubicBezTo>
                  <a:pt x="6187576" y="473095"/>
                  <a:pt x="6216348" y="501867"/>
                  <a:pt x="6216348" y="537360"/>
                </a:cubicBezTo>
                <a:cubicBezTo>
                  <a:pt x="6216348" y="572852"/>
                  <a:pt x="6187576" y="601625"/>
                  <a:pt x="6152083" y="601625"/>
                </a:cubicBezTo>
                <a:cubicBezTo>
                  <a:pt x="6116590" y="601625"/>
                  <a:pt x="6087818" y="572852"/>
                  <a:pt x="6087818" y="537360"/>
                </a:cubicBezTo>
                <a:cubicBezTo>
                  <a:pt x="6087818" y="501867"/>
                  <a:pt x="6116590" y="473095"/>
                  <a:pt x="6152083" y="473095"/>
                </a:cubicBezTo>
                <a:close/>
                <a:moveTo>
                  <a:pt x="6305672" y="469828"/>
                </a:moveTo>
                <a:cubicBezTo>
                  <a:pt x="6342968" y="469828"/>
                  <a:pt x="6373204" y="500064"/>
                  <a:pt x="6373204" y="537364"/>
                </a:cubicBezTo>
                <a:cubicBezTo>
                  <a:pt x="6373204" y="574659"/>
                  <a:pt x="6342968" y="604895"/>
                  <a:pt x="6305672" y="604895"/>
                </a:cubicBezTo>
                <a:cubicBezTo>
                  <a:pt x="6268372" y="604895"/>
                  <a:pt x="6238136" y="574659"/>
                  <a:pt x="6238136" y="537364"/>
                </a:cubicBezTo>
                <a:cubicBezTo>
                  <a:pt x="6238136" y="500064"/>
                  <a:pt x="6268372" y="469828"/>
                  <a:pt x="6305672" y="469828"/>
                </a:cubicBezTo>
                <a:close/>
                <a:moveTo>
                  <a:pt x="6459616" y="467286"/>
                </a:moveTo>
                <a:cubicBezTo>
                  <a:pt x="6498318" y="467286"/>
                  <a:pt x="6529694" y="498658"/>
                  <a:pt x="6529694" y="537360"/>
                </a:cubicBezTo>
                <a:cubicBezTo>
                  <a:pt x="6529694" y="576062"/>
                  <a:pt x="6498318" y="607434"/>
                  <a:pt x="6459616" y="607434"/>
                </a:cubicBezTo>
                <a:cubicBezTo>
                  <a:pt x="6420913" y="607434"/>
                  <a:pt x="6389542" y="576062"/>
                  <a:pt x="6389542" y="537360"/>
                </a:cubicBezTo>
                <a:cubicBezTo>
                  <a:pt x="6389542" y="498658"/>
                  <a:pt x="6420913" y="467286"/>
                  <a:pt x="6459616" y="467286"/>
                </a:cubicBezTo>
                <a:close/>
                <a:moveTo>
                  <a:pt x="6613200" y="464381"/>
                </a:moveTo>
                <a:cubicBezTo>
                  <a:pt x="6653508" y="464381"/>
                  <a:pt x="6686180" y="497057"/>
                  <a:pt x="6686180" y="537360"/>
                </a:cubicBezTo>
                <a:cubicBezTo>
                  <a:pt x="6686180" y="577667"/>
                  <a:pt x="6653508" y="610339"/>
                  <a:pt x="6613200" y="610339"/>
                </a:cubicBezTo>
                <a:cubicBezTo>
                  <a:pt x="6572894" y="610339"/>
                  <a:pt x="6540222" y="577667"/>
                  <a:pt x="6540222" y="537360"/>
                </a:cubicBezTo>
                <a:cubicBezTo>
                  <a:pt x="6540222" y="497057"/>
                  <a:pt x="6572894" y="464381"/>
                  <a:pt x="6613200" y="464381"/>
                </a:cubicBezTo>
                <a:close/>
                <a:moveTo>
                  <a:pt x="1077266" y="383050"/>
                </a:moveTo>
                <a:cubicBezTo>
                  <a:pt x="1077468" y="383050"/>
                  <a:pt x="1077628" y="383214"/>
                  <a:pt x="1077628" y="383412"/>
                </a:cubicBezTo>
                <a:cubicBezTo>
                  <a:pt x="1077628" y="383614"/>
                  <a:pt x="1077468" y="383778"/>
                  <a:pt x="1077266" y="383778"/>
                </a:cubicBezTo>
                <a:cubicBezTo>
                  <a:pt x="1077068" y="383778"/>
                  <a:pt x="1076904" y="383614"/>
                  <a:pt x="1076904" y="383412"/>
                </a:cubicBezTo>
                <a:cubicBezTo>
                  <a:pt x="1076904" y="383214"/>
                  <a:pt x="1077068" y="383050"/>
                  <a:pt x="1077266" y="383050"/>
                </a:cubicBezTo>
                <a:close/>
                <a:moveTo>
                  <a:pt x="616148" y="383050"/>
                </a:moveTo>
                <a:cubicBezTo>
                  <a:pt x="616514" y="383050"/>
                  <a:pt x="616514" y="383050"/>
                  <a:pt x="616514" y="383412"/>
                </a:cubicBezTo>
                <a:cubicBezTo>
                  <a:pt x="616514" y="383775"/>
                  <a:pt x="616148" y="383775"/>
                  <a:pt x="616148" y="383775"/>
                </a:cubicBezTo>
                <a:cubicBezTo>
                  <a:pt x="615786" y="383775"/>
                  <a:pt x="615786" y="383775"/>
                  <a:pt x="615786" y="383412"/>
                </a:cubicBezTo>
                <a:cubicBezTo>
                  <a:pt x="615786" y="383050"/>
                  <a:pt x="615786" y="383050"/>
                  <a:pt x="616148" y="383050"/>
                </a:cubicBezTo>
                <a:close/>
                <a:moveTo>
                  <a:pt x="462205" y="383050"/>
                </a:moveTo>
                <a:cubicBezTo>
                  <a:pt x="462567" y="383050"/>
                  <a:pt x="462567" y="383050"/>
                  <a:pt x="462567" y="383412"/>
                </a:cubicBezTo>
                <a:cubicBezTo>
                  <a:pt x="462567" y="383775"/>
                  <a:pt x="462205" y="383775"/>
                  <a:pt x="462205" y="383775"/>
                </a:cubicBezTo>
                <a:cubicBezTo>
                  <a:pt x="461842" y="383775"/>
                  <a:pt x="461842" y="383775"/>
                  <a:pt x="461842" y="383412"/>
                </a:cubicBezTo>
                <a:cubicBezTo>
                  <a:pt x="461842" y="383050"/>
                  <a:pt x="461842" y="383050"/>
                  <a:pt x="462205" y="383050"/>
                </a:cubicBezTo>
                <a:close/>
                <a:moveTo>
                  <a:pt x="308623" y="382688"/>
                </a:moveTo>
                <a:cubicBezTo>
                  <a:pt x="309023" y="382688"/>
                  <a:pt x="309347" y="383012"/>
                  <a:pt x="309347" y="383416"/>
                </a:cubicBezTo>
                <a:cubicBezTo>
                  <a:pt x="309347" y="383817"/>
                  <a:pt x="309023" y="384141"/>
                  <a:pt x="308623" y="384141"/>
                </a:cubicBezTo>
                <a:cubicBezTo>
                  <a:pt x="308219" y="384141"/>
                  <a:pt x="307895" y="383817"/>
                  <a:pt x="307895" y="383416"/>
                </a:cubicBezTo>
                <a:cubicBezTo>
                  <a:pt x="307895" y="383012"/>
                  <a:pt x="308219" y="382688"/>
                  <a:pt x="308623" y="382688"/>
                </a:cubicBezTo>
                <a:close/>
                <a:moveTo>
                  <a:pt x="1231213" y="381964"/>
                </a:moveTo>
                <a:cubicBezTo>
                  <a:pt x="1232014" y="381964"/>
                  <a:pt x="1232666" y="382616"/>
                  <a:pt x="1232666" y="383416"/>
                </a:cubicBezTo>
                <a:cubicBezTo>
                  <a:pt x="1232666" y="384217"/>
                  <a:pt x="1232014" y="384869"/>
                  <a:pt x="1231213" y="384869"/>
                </a:cubicBezTo>
                <a:cubicBezTo>
                  <a:pt x="1230409" y="384869"/>
                  <a:pt x="1229761" y="384217"/>
                  <a:pt x="1229761" y="383416"/>
                </a:cubicBezTo>
                <a:cubicBezTo>
                  <a:pt x="1229761" y="382616"/>
                  <a:pt x="1230409" y="381964"/>
                  <a:pt x="1231213" y="381964"/>
                </a:cubicBezTo>
                <a:close/>
                <a:moveTo>
                  <a:pt x="154672" y="381964"/>
                </a:moveTo>
                <a:cubicBezTo>
                  <a:pt x="155396" y="381964"/>
                  <a:pt x="156124" y="382688"/>
                  <a:pt x="156124" y="383416"/>
                </a:cubicBezTo>
                <a:lnTo>
                  <a:pt x="155343" y="384197"/>
                </a:lnTo>
                <a:lnTo>
                  <a:pt x="153884" y="382752"/>
                </a:lnTo>
                <a:close/>
                <a:moveTo>
                  <a:pt x="1384799" y="381236"/>
                </a:moveTo>
                <a:cubicBezTo>
                  <a:pt x="1386003" y="381236"/>
                  <a:pt x="1386979" y="382212"/>
                  <a:pt x="1386979" y="383416"/>
                </a:cubicBezTo>
                <a:cubicBezTo>
                  <a:pt x="1386979" y="384617"/>
                  <a:pt x="1386003" y="385593"/>
                  <a:pt x="1384799" y="385593"/>
                </a:cubicBezTo>
                <a:cubicBezTo>
                  <a:pt x="1383598" y="385593"/>
                  <a:pt x="1382622" y="384617"/>
                  <a:pt x="1382622" y="383416"/>
                </a:cubicBezTo>
                <a:cubicBezTo>
                  <a:pt x="1382622" y="382212"/>
                  <a:pt x="1383598" y="381236"/>
                  <a:pt x="1384799" y="381236"/>
                </a:cubicBezTo>
                <a:close/>
                <a:moveTo>
                  <a:pt x="1538746" y="380508"/>
                </a:moveTo>
                <a:cubicBezTo>
                  <a:pt x="1540561" y="380508"/>
                  <a:pt x="1542013" y="381960"/>
                  <a:pt x="1542013" y="383775"/>
                </a:cubicBezTo>
                <a:cubicBezTo>
                  <a:pt x="1542013" y="385593"/>
                  <a:pt x="1540561" y="387045"/>
                  <a:pt x="1538746" y="387045"/>
                </a:cubicBezTo>
                <a:cubicBezTo>
                  <a:pt x="1536932" y="387045"/>
                  <a:pt x="1535479" y="385593"/>
                  <a:pt x="1535479" y="383775"/>
                </a:cubicBezTo>
                <a:cubicBezTo>
                  <a:pt x="1535479" y="381960"/>
                  <a:pt x="1536932" y="380508"/>
                  <a:pt x="1538746" y="380508"/>
                </a:cubicBezTo>
                <a:close/>
                <a:moveTo>
                  <a:pt x="1692331" y="379055"/>
                </a:moveTo>
                <a:cubicBezTo>
                  <a:pt x="1694874" y="379055"/>
                  <a:pt x="1696688" y="380870"/>
                  <a:pt x="1696688" y="383412"/>
                </a:cubicBezTo>
                <a:cubicBezTo>
                  <a:pt x="1696688" y="385955"/>
                  <a:pt x="1694508" y="387770"/>
                  <a:pt x="1692331" y="387770"/>
                </a:cubicBezTo>
                <a:cubicBezTo>
                  <a:pt x="1689789" y="387770"/>
                  <a:pt x="1687974" y="385955"/>
                  <a:pt x="1687974" y="383412"/>
                </a:cubicBezTo>
                <a:cubicBezTo>
                  <a:pt x="1687974" y="380870"/>
                  <a:pt x="1689789" y="379055"/>
                  <a:pt x="1692331" y="379055"/>
                </a:cubicBezTo>
                <a:close/>
                <a:moveTo>
                  <a:pt x="1846279" y="377607"/>
                </a:moveTo>
                <a:cubicBezTo>
                  <a:pt x="1849488" y="377607"/>
                  <a:pt x="1852088" y="380207"/>
                  <a:pt x="1852088" y="383416"/>
                </a:cubicBezTo>
                <a:cubicBezTo>
                  <a:pt x="1852088" y="386626"/>
                  <a:pt x="1849488" y="389226"/>
                  <a:pt x="1846279" y="389226"/>
                </a:cubicBezTo>
                <a:cubicBezTo>
                  <a:pt x="1843069" y="389226"/>
                  <a:pt x="1840469" y="386626"/>
                  <a:pt x="1840469" y="383416"/>
                </a:cubicBezTo>
                <a:cubicBezTo>
                  <a:pt x="1840469" y="380207"/>
                  <a:pt x="1843069" y="377607"/>
                  <a:pt x="1846279" y="377607"/>
                </a:cubicBezTo>
                <a:close/>
                <a:moveTo>
                  <a:pt x="1999864" y="376151"/>
                </a:moveTo>
                <a:cubicBezTo>
                  <a:pt x="2003859" y="376151"/>
                  <a:pt x="2007126" y="379418"/>
                  <a:pt x="2007126" y="383412"/>
                </a:cubicBezTo>
                <a:cubicBezTo>
                  <a:pt x="2007126" y="387407"/>
                  <a:pt x="2003859" y="390674"/>
                  <a:pt x="1999864" y="390674"/>
                </a:cubicBezTo>
                <a:cubicBezTo>
                  <a:pt x="1995869" y="390674"/>
                  <a:pt x="1992602" y="387407"/>
                  <a:pt x="1992602" y="383412"/>
                </a:cubicBezTo>
                <a:cubicBezTo>
                  <a:pt x="1992602" y="379418"/>
                  <a:pt x="1995869" y="376151"/>
                  <a:pt x="1999864" y="376151"/>
                </a:cubicBezTo>
                <a:close/>
                <a:moveTo>
                  <a:pt x="2153808" y="374336"/>
                </a:moveTo>
                <a:cubicBezTo>
                  <a:pt x="2158893" y="374336"/>
                  <a:pt x="2162888" y="378331"/>
                  <a:pt x="2162888" y="383412"/>
                </a:cubicBezTo>
                <a:cubicBezTo>
                  <a:pt x="2162888" y="388498"/>
                  <a:pt x="2158893" y="392492"/>
                  <a:pt x="2153808" y="392492"/>
                </a:cubicBezTo>
                <a:cubicBezTo>
                  <a:pt x="2148726" y="392492"/>
                  <a:pt x="2144731" y="388498"/>
                  <a:pt x="2144731" y="383412"/>
                </a:cubicBezTo>
                <a:cubicBezTo>
                  <a:pt x="2144731" y="378331"/>
                  <a:pt x="2148726" y="374336"/>
                  <a:pt x="2153808" y="374336"/>
                </a:cubicBezTo>
                <a:close/>
                <a:moveTo>
                  <a:pt x="2307393" y="373246"/>
                </a:moveTo>
                <a:cubicBezTo>
                  <a:pt x="2312840" y="373246"/>
                  <a:pt x="2317559" y="377965"/>
                  <a:pt x="2317559" y="383412"/>
                </a:cubicBezTo>
                <a:cubicBezTo>
                  <a:pt x="2317559" y="388860"/>
                  <a:pt x="2313202" y="393579"/>
                  <a:pt x="2307393" y="393579"/>
                </a:cubicBezTo>
                <a:cubicBezTo>
                  <a:pt x="2301946" y="393579"/>
                  <a:pt x="2297226" y="388860"/>
                  <a:pt x="2297226" y="383412"/>
                </a:cubicBezTo>
                <a:cubicBezTo>
                  <a:pt x="2297226" y="377965"/>
                  <a:pt x="2301946" y="373246"/>
                  <a:pt x="2307393" y="373246"/>
                </a:cubicBezTo>
                <a:close/>
                <a:moveTo>
                  <a:pt x="2461340" y="371432"/>
                </a:moveTo>
                <a:cubicBezTo>
                  <a:pt x="2467878" y="371432"/>
                  <a:pt x="2473325" y="376879"/>
                  <a:pt x="2473325" y="383412"/>
                </a:cubicBezTo>
                <a:cubicBezTo>
                  <a:pt x="2473325" y="389950"/>
                  <a:pt x="2467878" y="395397"/>
                  <a:pt x="2461340" y="395397"/>
                </a:cubicBezTo>
                <a:cubicBezTo>
                  <a:pt x="2454807" y="395397"/>
                  <a:pt x="2449359" y="389950"/>
                  <a:pt x="2449359" y="383412"/>
                </a:cubicBezTo>
                <a:cubicBezTo>
                  <a:pt x="2449359" y="376879"/>
                  <a:pt x="2454807" y="371432"/>
                  <a:pt x="2461340" y="371432"/>
                </a:cubicBezTo>
                <a:close/>
                <a:moveTo>
                  <a:pt x="2614925" y="369617"/>
                </a:moveTo>
                <a:cubicBezTo>
                  <a:pt x="2622549" y="369617"/>
                  <a:pt x="2628721" y="375789"/>
                  <a:pt x="2628721" y="383416"/>
                </a:cubicBezTo>
                <a:cubicBezTo>
                  <a:pt x="2628721" y="391040"/>
                  <a:pt x="2622549" y="397212"/>
                  <a:pt x="2614925" y="397212"/>
                </a:cubicBezTo>
                <a:cubicBezTo>
                  <a:pt x="2607298" y="397212"/>
                  <a:pt x="2601126" y="391040"/>
                  <a:pt x="2601126" y="383416"/>
                </a:cubicBezTo>
                <a:cubicBezTo>
                  <a:pt x="2601126" y="375789"/>
                  <a:pt x="2607298" y="369617"/>
                  <a:pt x="2614925" y="369617"/>
                </a:cubicBezTo>
                <a:close/>
                <a:moveTo>
                  <a:pt x="2768873" y="368165"/>
                </a:moveTo>
                <a:cubicBezTo>
                  <a:pt x="2777297" y="368165"/>
                  <a:pt x="2784124" y="374992"/>
                  <a:pt x="2784124" y="383416"/>
                </a:cubicBezTo>
                <a:cubicBezTo>
                  <a:pt x="2784124" y="391837"/>
                  <a:pt x="2777297" y="398664"/>
                  <a:pt x="2768873" y="398664"/>
                </a:cubicBezTo>
                <a:cubicBezTo>
                  <a:pt x="2760452" y="398664"/>
                  <a:pt x="2753625" y="391837"/>
                  <a:pt x="2753625" y="383416"/>
                </a:cubicBezTo>
                <a:cubicBezTo>
                  <a:pt x="2753625" y="374992"/>
                  <a:pt x="2760452" y="368165"/>
                  <a:pt x="2768873" y="368165"/>
                </a:cubicBezTo>
                <a:close/>
                <a:moveTo>
                  <a:pt x="2922458" y="366350"/>
                </a:moveTo>
                <a:cubicBezTo>
                  <a:pt x="2931896" y="366350"/>
                  <a:pt x="2939524" y="373974"/>
                  <a:pt x="2939524" y="383416"/>
                </a:cubicBezTo>
                <a:cubicBezTo>
                  <a:pt x="2939524" y="392854"/>
                  <a:pt x="2931896" y="400478"/>
                  <a:pt x="2922458" y="400478"/>
                </a:cubicBezTo>
                <a:cubicBezTo>
                  <a:pt x="2913016" y="400478"/>
                  <a:pt x="2905392" y="392854"/>
                  <a:pt x="2905392" y="383416"/>
                </a:cubicBezTo>
                <a:cubicBezTo>
                  <a:pt x="2905392" y="373974"/>
                  <a:pt x="2913016" y="366350"/>
                  <a:pt x="2922458" y="366350"/>
                </a:cubicBezTo>
                <a:close/>
                <a:moveTo>
                  <a:pt x="3076406" y="364170"/>
                </a:moveTo>
                <a:cubicBezTo>
                  <a:pt x="3087037" y="364170"/>
                  <a:pt x="3095652" y="372785"/>
                  <a:pt x="3095652" y="383412"/>
                </a:cubicBezTo>
                <a:cubicBezTo>
                  <a:pt x="3095652" y="394040"/>
                  <a:pt x="3087037" y="402659"/>
                  <a:pt x="3076406" y="402659"/>
                </a:cubicBezTo>
                <a:cubicBezTo>
                  <a:pt x="3065778" y="402659"/>
                  <a:pt x="3057163" y="394040"/>
                  <a:pt x="3057163" y="383412"/>
                </a:cubicBezTo>
                <a:cubicBezTo>
                  <a:pt x="3057163" y="372785"/>
                  <a:pt x="3065778" y="364170"/>
                  <a:pt x="3076406" y="364170"/>
                </a:cubicBezTo>
                <a:close/>
                <a:moveTo>
                  <a:pt x="3230353" y="361993"/>
                </a:moveTo>
                <a:cubicBezTo>
                  <a:pt x="3242181" y="361993"/>
                  <a:pt x="3251776" y="371584"/>
                  <a:pt x="3251776" y="383416"/>
                </a:cubicBezTo>
                <a:cubicBezTo>
                  <a:pt x="3251776" y="395245"/>
                  <a:pt x="3242181" y="404839"/>
                  <a:pt x="3230353" y="404839"/>
                </a:cubicBezTo>
                <a:cubicBezTo>
                  <a:pt x="3218521" y="404839"/>
                  <a:pt x="3208930" y="395245"/>
                  <a:pt x="3208930" y="383416"/>
                </a:cubicBezTo>
                <a:cubicBezTo>
                  <a:pt x="3208930" y="371584"/>
                  <a:pt x="3218521" y="361993"/>
                  <a:pt x="3230353" y="361993"/>
                </a:cubicBezTo>
                <a:close/>
                <a:moveTo>
                  <a:pt x="3383938" y="360541"/>
                </a:moveTo>
                <a:cubicBezTo>
                  <a:pt x="3396571" y="360541"/>
                  <a:pt x="3406810" y="370784"/>
                  <a:pt x="3406810" y="383416"/>
                </a:cubicBezTo>
                <a:cubicBezTo>
                  <a:pt x="3406810" y="396049"/>
                  <a:pt x="3396571" y="406292"/>
                  <a:pt x="3383938" y="406292"/>
                </a:cubicBezTo>
                <a:cubicBezTo>
                  <a:pt x="3371306" y="406292"/>
                  <a:pt x="3361063" y="396049"/>
                  <a:pt x="3361063" y="383416"/>
                </a:cubicBezTo>
                <a:cubicBezTo>
                  <a:pt x="3361063" y="370784"/>
                  <a:pt x="3371306" y="360541"/>
                  <a:pt x="3383938" y="360541"/>
                </a:cubicBezTo>
                <a:close/>
                <a:moveTo>
                  <a:pt x="3537882" y="358361"/>
                </a:moveTo>
                <a:cubicBezTo>
                  <a:pt x="3551719" y="358361"/>
                  <a:pt x="3562937" y="369579"/>
                  <a:pt x="3562937" y="383412"/>
                </a:cubicBezTo>
                <a:cubicBezTo>
                  <a:pt x="3562937" y="397250"/>
                  <a:pt x="3551719" y="408468"/>
                  <a:pt x="3537882" y="408468"/>
                </a:cubicBezTo>
                <a:cubicBezTo>
                  <a:pt x="3524048" y="408468"/>
                  <a:pt x="3512830" y="397250"/>
                  <a:pt x="3512830" y="383412"/>
                </a:cubicBezTo>
                <a:cubicBezTo>
                  <a:pt x="3512830" y="369575"/>
                  <a:pt x="3524048" y="358361"/>
                  <a:pt x="3537882" y="358361"/>
                </a:cubicBezTo>
                <a:close/>
                <a:moveTo>
                  <a:pt x="3691471" y="356184"/>
                </a:moveTo>
                <a:cubicBezTo>
                  <a:pt x="3706509" y="356184"/>
                  <a:pt x="3718699" y="368374"/>
                  <a:pt x="3718699" y="383416"/>
                </a:cubicBezTo>
                <a:cubicBezTo>
                  <a:pt x="3718699" y="398454"/>
                  <a:pt x="3706509" y="410648"/>
                  <a:pt x="3691471" y="410648"/>
                </a:cubicBezTo>
                <a:cubicBezTo>
                  <a:pt x="3676429" y="410648"/>
                  <a:pt x="3664238" y="398454"/>
                  <a:pt x="3664238" y="383416"/>
                </a:cubicBezTo>
                <a:cubicBezTo>
                  <a:pt x="3664238" y="368374"/>
                  <a:pt x="3676429" y="356184"/>
                  <a:pt x="3691471" y="356184"/>
                </a:cubicBezTo>
                <a:close/>
                <a:moveTo>
                  <a:pt x="3845418" y="353642"/>
                </a:moveTo>
                <a:cubicBezTo>
                  <a:pt x="3861859" y="353642"/>
                  <a:pt x="3875189" y="366972"/>
                  <a:pt x="3875189" y="383416"/>
                </a:cubicBezTo>
                <a:cubicBezTo>
                  <a:pt x="3875189" y="399857"/>
                  <a:pt x="3861859" y="413187"/>
                  <a:pt x="3845418" y="413187"/>
                </a:cubicBezTo>
                <a:cubicBezTo>
                  <a:pt x="3828974" y="413187"/>
                  <a:pt x="3815644" y="399857"/>
                  <a:pt x="3815644" y="383416"/>
                </a:cubicBezTo>
                <a:cubicBezTo>
                  <a:pt x="3815644" y="366972"/>
                  <a:pt x="3828974" y="353642"/>
                  <a:pt x="3845418" y="353642"/>
                </a:cubicBezTo>
                <a:close/>
                <a:moveTo>
                  <a:pt x="3999000" y="351465"/>
                </a:moveTo>
                <a:cubicBezTo>
                  <a:pt x="4016645" y="351465"/>
                  <a:pt x="4030951" y="365771"/>
                  <a:pt x="4030951" y="383416"/>
                </a:cubicBezTo>
                <a:cubicBezTo>
                  <a:pt x="4030951" y="401062"/>
                  <a:pt x="4016645" y="415368"/>
                  <a:pt x="3999000" y="415368"/>
                </a:cubicBezTo>
                <a:cubicBezTo>
                  <a:pt x="3981354" y="415368"/>
                  <a:pt x="3967048" y="401062"/>
                  <a:pt x="3967048" y="383416"/>
                </a:cubicBezTo>
                <a:cubicBezTo>
                  <a:pt x="3967048" y="365771"/>
                  <a:pt x="3981354" y="351465"/>
                  <a:pt x="3999000" y="351465"/>
                </a:cubicBezTo>
                <a:close/>
                <a:moveTo>
                  <a:pt x="4152947" y="349647"/>
                </a:moveTo>
                <a:cubicBezTo>
                  <a:pt x="4171595" y="349647"/>
                  <a:pt x="4186716" y="364765"/>
                  <a:pt x="4186716" y="383412"/>
                </a:cubicBezTo>
                <a:cubicBezTo>
                  <a:pt x="4186716" y="402064"/>
                  <a:pt x="4171595" y="417182"/>
                  <a:pt x="4152947" y="417182"/>
                </a:cubicBezTo>
                <a:cubicBezTo>
                  <a:pt x="4134299" y="417182"/>
                  <a:pt x="4119181" y="402064"/>
                  <a:pt x="4119181" y="383412"/>
                </a:cubicBezTo>
                <a:cubicBezTo>
                  <a:pt x="4119181" y="364765"/>
                  <a:pt x="4134299" y="349647"/>
                  <a:pt x="4152947" y="349647"/>
                </a:cubicBezTo>
                <a:close/>
                <a:moveTo>
                  <a:pt x="4306532" y="347108"/>
                </a:moveTo>
                <a:cubicBezTo>
                  <a:pt x="4326503" y="347108"/>
                  <a:pt x="4342840" y="363446"/>
                  <a:pt x="4342840" y="383416"/>
                </a:cubicBezTo>
                <a:cubicBezTo>
                  <a:pt x="4342840" y="403387"/>
                  <a:pt x="4326503" y="419725"/>
                  <a:pt x="4306532" y="419725"/>
                </a:cubicBezTo>
                <a:cubicBezTo>
                  <a:pt x="4286562" y="419725"/>
                  <a:pt x="4270224" y="403387"/>
                  <a:pt x="4270224" y="383416"/>
                </a:cubicBezTo>
                <a:cubicBezTo>
                  <a:pt x="4270224" y="363446"/>
                  <a:pt x="4286562" y="347108"/>
                  <a:pt x="4306532" y="347108"/>
                </a:cubicBezTo>
                <a:close/>
                <a:moveTo>
                  <a:pt x="4460480" y="344565"/>
                </a:moveTo>
                <a:cubicBezTo>
                  <a:pt x="4481902" y="344565"/>
                  <a:pt x="4499326" y="361993"/>
                  <a:pt x="4499326" y="383416"/>
                </a:cubicBezTo>
                <a:cubicBezTo>
                  <a:pt x="4499326" y="404835"/>
                  <a:pt x="4481902" y="422267"/>
                  <a:pt x="4460480" y="422267"/>
                </a:cubicBezTo>
                <a:cubicBezTo>
                  <a:pt x="4439057" y="422267"/>
                  <a:pt x="4421629" y="404835"/>
                  <a:pt x="4421629" y="383416"/>
                </a:cubicBezTo>
                <a:cubicBezTo>
                  <a:pt x="4421629" y="361993"/>
                  <a:pt x="4439057" y="344565"/>
                  <a:pt x="4460480" y="344565"/>
                </a:cubicBezTo>
                <a:close/>
                <a:moveTo>
                  <a:pt x="4614061" y="342385"/>
                </a:moveTo>
                <a:cubicBezTo>
                  <a:pt x="4636936" y="342385"/>
                  <a:pt x="4655092" y="360541"/>
                  <a:pt x="4655092" y="383412"/>
                </a:cubicBezTo>
                <a:cubicBezTo>
                  <a:pt x="4655092" y="406288"/>
                  <a:pt x="4636574" y="424440"/>
                  <a:pt x="4614061" y="424440"/>
                </a:cubicBezTo>
                <a:cubicBezTo>
                  <a:pt x="4591190" y="424440"/>
                  <a:pt x="4573034" y="406288"/>
                  <a:pt x="4573034" y="383412"/>
                </a:cubicBezTo>
                <a:cubicBezTo>
                  <a:pt x="4573034" y="360541"/>
                  <a:pt x="4591190" y="342385"/>
                  <a:pt x="4614061" y="342385"/>
                </a:cubicBezTo>
                <a:close/>
                <a:moveTo>
                  <a:pt x="4768008" y="339842"/>
                </a:moveTo>
                <a:cubicBezTo>
                  <a:pt x="4791974" y="339842"/>
                  <a:pt x="4811578" y="359447"/>
                  <a:pt x="4811578" y="383412"/>
                </a:cubicBezTo>
                <a:cubicBezTo>
                  <a:pt x="4811578" y="407378"/>
                  <a:pt x="4791974" y="426982"/>
                  <a:pt x="4768008" y="426982"/>
                </a:cubicBezTo>
                <a:cubicBezTo>
                  <a:pt x="4744047" y="426982"/>
                  <a:pt x="4724438" y="407378"/>
                  <a:pt x="4724438" y="383412"/>
                </a:cubicBezTo>
                <a:cubicBezTo>
                  <a:pt x="4724438" y="359447"/>
                  <a:pt x="4744047" y="339842"/>
                  <a:pt x="4768008" y="339842"/>
                </a:cubicBezTo>
                <a:close/>
                <a:moveTo>
                  <a:pt x="4921598" y="337304"/>
                </a:moveTo>
                <a:cubicBezTo>
                  <a:pt x="4947012" y="337304"/>
                  <a:pt x="4967710" y="357998"/>
                  <a:pt x="4967710" y="383416"/>
                </a:cubicBezTo>
                <a:cubicBezTo>
                  <a:pt x="4967710" y="408830"/>
                  <a:pt x="4947012" y="429529"/>
                  <a:pt x="4921598" y="429529"/>
                </a:cubicBezTo>
                <a:cubicBezTo>
                  <a:pt x="4896180" y="429529"/>
                  <a:pt x="4875485" y="408830"/>
                  <a:pt x="4875485" y="383416"/>
                </a:cubicBezTo>
                <a:cubicBezTo>
                  <a:pt x="4875485" y="357998"/>
                  <a:pt x="4896180" y="337304"/>
                  <a:pt x="4921598" y="337304"/>
                </a:cubicBezTo>
                <a:close/>
                <a:moveTo>
                  <a:pt x="5075545" y="334761"/>
                </a:moveTo>
                <a:cubicBezTo>
                  <a:pt x="5102412" y="334761"/>
                  <a:pt x="5124196" y="356546"/>
                  <a:pt x="5124196" y="383416"/>
                </a:cubicBezTo>
                <a:cubicBezTo>
                  <a:pt x="5124196" y="410283"/>
                  <a:pt x="5102412" y="432068"/>
                  <a:pt x="5075545" y="432068"/>
                </a:cubicBezTo>
                <a:cubicBezTo>
                  <a:pt x="5048675" y="432068"/>
                  <a:pt x="5026890" y="410283"/>
                  <a:pt x="5026890" y="383416"/>
                </a:cubicBezTo>
                <a:cubicBezTo>
                  <a:pt x="5026890" y="356546"/>
                  <a:pt x="5048675" y="334761"/>
                  <a:pt x="5075545" y="334761"/>
                </a:cubicBezTo>
                <a:close/>
                <a:moveTo>
                  <a:pt x="5229126" y="332219"/>
                </a:moveTo>
                <a:cubicBezTo>
                  <a:pt x="5257449" y="332219"/>
                  <a:pt x="5280324" y="355094"/>
                  <a:pt x="5280324" y="383412"/>
                </a:cubicBezTo>
                <a:cubicBezTo>
                  <a:pt x="5280324" y="411735"/>
                  <a:pt x="5257449" y="434610"/>
                  <a:pt x="5229126" y="434610"/>
                </a:cubicBezTo>
                <a:cubicBezTo>
                  <a:pt x="5200808" y="434610"/>
                  <a:pt x="5177932" y="411735"/>
                  <a:pt x="5177932" y="383412"/>
                </a:cubicBezTo>
                <a:cubicBezTo>
                  <a:pt x="5177932" y="355094"/>
                  <a:pt x="5200808" y="332219"/>
                  <a:pt x="5229126" y="332219"/>
                </a:cubicBezTo>
                <a:close/>
                <a:moveTo>
                  <a:pt x="5383074" y="330042"/>
                </a:moveTo>
                <a:cubicBezTo>
                  <a:pt x="5412482" y="330042"/>
                  <a:pt x="5436448" y="354004"/>
                  <a:pt x="5436448" y="383416"/>
                </a:cubicBezTo>
                <a:cubicBezTo>
                  <a:pt x="5436448" y="412825"/>
                  <a:pt x="5412482" y="436787"/>
                  <a:pt x="5383074" y="436787"/>
                </a:cubicBezTo>
                <a:cubicBezTo>
                  <a:pt x="5353661" y="436787"/>
                  <a:pt x="5329700" y="412825"/>
                  <a:pt x="5329700" y="383416"/>
                </a:cubicBezTo>
                <a:cubicBezTo>
                  <a:pt x="5329700" y="354004"/>
                  <a:pt x="5353661" y="330042"/>
                  <a:pt x="5383074" y="330042"/>
                </a:cubicBezTo>
                <a:close/>
                <a:moveTo>
                  <a:pt x="5536659" y="327137"/>
                </a:moveTo>
                <a:cubicBezTo>
                  <a:pt x="5567886" y="327137"/>
                  <a:pt x="5592938" y="352189"/>
                  <a:pt x="5592938" y="383416"/>
                </a:cubicBezTo>
                <a:cubicBezTo>
                  <a:pt x="5592938" y="414640"/>
                  <a:pt x="5567886" y="439691"/>
                  <a:pt x="5536659" y="439691"/>
                </a:cubicBezTo>
                <a:cubicBezTo>
                  <a:pt x="5505432" y="439691"/>
                  <a:pt x="5480380" y="414640"/>
                  <a:pt x="5480380" y="383416"/>
                </a:cubicBezTo>
                <a:cubicBezTo>
                  <a:pt x="5480380" y="352189"/>
                  <a:pt x="5505432" y="327137"/>
                  <a:pt x="5536659" y="327137"/>
                </a:cubicBezTo>
                <a:close/>
                <a:moveTo>
                  <a:pt x="5690606" y="324595"/>
                </a:moveTo>
                <a:cubicBezTo>
                  <a:pt x="5723092" y="324595"/>
                  <a:pt x="5749424" y="350927"/>
                  <a:pt x="5749424" y="383416"/>
                </a:cubicBezTo>
                <a:cubicBezTo>
                  <a:pt x="5749424" y="415901"/>
                  <a:pt x="5723092" y="442234"/>
                  <a:pt x="5690606" y="442234"/>
                </a:cubicBezTo>
                <a:cubicBezTo>
                  <a:pt x="5658118" y="442234"/>
                  <a:pt x="5631785" y="415901"/>
                  <a:pt x="5631785" y="383416"/>
                </a:cubicBezTo>
                <a:cubicBezTo>
                  <a:pt x="5631785" y="350927"/>
                  <a:pt x="5658118" y="324595"/>
                  <a:pt x="5690606" y="324595"/>
                </a:cubicBezTo>
                <a:close/>
                <a:moveTo>
                  <a:pt x="5844554" y="321690"/>
                </a:moveTo>
                <a:cubicBezTo>
                  <a:pt x="5878644" y="321690"/>
                  <a:pt x="5906276" y="349326"/>
                  <a:pt x="5906276" y="383416"/>
                </a:cubicBezTo>
                <a:cubicBezTo>
                  <a:pt x="5906276" y="417502"/>
                  <a:pt x="5878644" y="445139"/>
                  <a:pt x="5844554" y="445139"/>
                </a:cubicBezTo>
                <a:cubicBezTo>
                  <a:pt x="5810460" y="445139"/>
                  <a:pt x="5782828" y="417502"/>
                  <a:pt x="5782828" y="383416"/>
                </a:cubicBezTo>
                <a:cubicBezTo>
                  <a:pt x="5782828" y="349326"/>
                  <a:pt x="5810460" y="321690"/>
                  <a:pt x="5844554" y="321690"/>
                </a:cubicBezTo>
                <a:close/>
                <a:moveTo>
                  <a:pt x="5998136" y="319148"/>
                </a:moveTo>
                <a:cubicBezTo>
                  <a:pt x="6033628" y="319148"/>
                  <a:pt x="6062404" y="347920"/>
                  <a:pt x="6062404" y="383412"/>
                </a:cubicBezTo>
                <a:cubicBezTo>
                  <a:pt x="6062404" y="418905"/>
                  <a:pt x="6033628" y="447681"/>
                  <a:pt x="5998136" y="447681"/>
                </a:cubicBezTo>
                <a:cubicBezTo>
                  <a:pt x="5962643" y="447681"/>
                  <a:pt x="5933870" y="418905"/>
                  <a:pt x="5933870" y="383412"/>
                </a:cubicBezTo>
                <a:cubicBezTo>
                  <a:pt x="5933870" y="347920"/>
                  <a:pt x="5962643" y="319148"/>
                  <a:pt x="5998136" y="319148"/>
                </a:cubicBezTo>
                <a:close/>
                <a:moveTo>
                  <a:pt x="6152086" y="315881"/>
                </a:moveTo>
                <a:cubicBezTo>
                  <a:pt x="6189382" y="315881"/>
                  <a:pt x="6219618" y="346117"/>
                  <a:pt x="6219618" y="383416"/>
                </a:cubicBezTo>
                <a:cubicBezTo>
                  <a:pt x="6219618" y="420712"/>
                  <a:pt x="6189382" y="450948"/>
                  <a:pt x="6152086" y="450948"/>
                </a:cubicBezTo>
                <a:cubicBezTo>
                  <a:pt x="6114791" y="450948"/>
                  <a:pt x="6084551" y="420712"/>
                  <a:pt x="6084551" y="383416"/>
                </a:cubicBezTo>
                <a:cubicBezTo>
                  <a:pt x="6084551" y="346117"/>
                  <a:pt x="6114791" y="315881"/>
                  <a:pt x="6152086" y="315881"/>
                </a:cubicBezTo>
                <a:close/>
                <a:moveTo>
                  <a:pt x="6305668" y="313338"/>
                </a:moveTo>
                <a:cubicBezTo>
                  <a:pt x="6344370" y="313338"/>
                  <a:pt x="6375746" y="344710"/>
                  <a:pt x="6375746" y="383412"/>
                </a:cubicBezTo>
                <a:cubicBezTo>
                  <a:pt x="6375746" y="422115"/>
                  <a:pt x="6344370" y="453490"/>
                  <a:pt x="6305668" y="453490"/>
                </a:cubicBezTo>
                <a:cubicBezTo>
                  <a:pt x="6266970" y="453490"/>
                  <a:pt x="6235594" y="422115"/>
                  <a:pt x="6235594" y="383412"/>
                </a:cubicBezTo>
                <a:cubicBezTo>
                  <a:pt x="6235594" y="344710"/>
                  <a:pt x="6266970" y="313338"/>
                  <a:pt x="6305668" y="313338"/>
                </a:cubicBezTo>
                <a:close/>
                <a:moveTo>
                  <a:pt x="6459616" y="310434"/>
                </a:moveTo>
                <a:cubicBezTo>
                  <a:pt x="6499922" y="310434"/>
                  <a:pt x="6532598" y="343109"/>
                  <a:pt x="6532598" y="383412"/>
                </a:cubicBezTo>
                <a:cubicBezTo>
                  <a:pt x="6532598" y="423719"/>
                  <a:pt x="6499922" y="456395"/>
                  <a:pt x="6459616" y="456395"/>
                </a:cubicBezTo>
                <a:cubicBezTo>
                  <a:pt x="6419312" y="456395"/>
                  <a:pt x="6386636" y="423719"/>
                  <a:pt x="6386636" y="383412"/>
                </a:cubicBezTo>
                <a:cubicBezTo>
                  <a:pt x="6386636" y="343109"/>
                  <a:pt x="6419312" y="310434"/>
                  <a:pt x="6459616" y="310434"/>
                </a:cubicBezTo>
                <a:close/>
                <a:moveTo>
                  <a:pt x="6613200" y="307891"/>
                </a:moveTo>
                <a:cubicBezTo>
                  <a:pt x="6654956" y="307891"/>
                  <a:pt x="6688722" y="341657"/>
                  <a:pt x="6688722" y="383412"/>
                </a:cubicBezTo>
                <a:cubicBezTo>
                  <a:pt x="6688722" y="425168"/>
                  <a:pt x="6654956" y="458934"/>
                  <a:pt x="6613200" y="458934"/>
                </a:cubicBezTo>
                <a:cubicBezTo>
                  <a:pt x="6571449" y="458934"/>
                  <a:pt x="6537680" y="425168"/>
                  <a:pt x="6537680" y="383412"/>
                </a:cubicBezTo>
                <a:cubicBezTo>
                  <a:pt x="6537680" y="341657"/>
                  <a:pt x="6571449" y="307891"/>
                  <a:pt x="6613200" y="307891"/>
                </a:cubicBezTo>
                <a:close/>
                <a:moveTo>
                  <a:pt x="923681" y="229469"/>
                </a:moveTo>
                <a:cubicBezTo>
                  <a:pt x="924043" y="229469"/>
                  <a:pt x="924043" y="229469"/>
                  <a:pt x="924043" y="229831"/>
                </a:cubicBezTo>
                <a:cubicBezTo>
                  <a:pt x="924043" y="230193"/>
                  <a:pt x="923681" y="230193"/>
                  <a:pt x="923681" y="230193"/>
                </a:cubicBezTo>
                <a:cubicBezTo>
                  <a:pt x="923319" y="230193"/>
                  <a:pt x="923319" y="230193"/>
                  <a:pt x="923319" y="229831"/>
                </a:cubicBezTo>
                <a:cubicBezTo>
                  <a:pt x="923319" y="229469"/>
                  <a:pt x="923319" y="229469"/>
                  <a:pt x="923681" y="229469"/>
                </a:cubicBezTo>
                <a:close/>
                <a:moveTo>
                  <a:pt x="462205" y="229469"/>
                </a:moveTo>
                <a:cubicBezTo>
                  <a:pt x="462567" y="229469"/>
                  <a:pt x="462567" y="229469"/>
                  <a:pt x="462567" y="229831"/>
                </a:cubicBezTo>
                <a:cubicBezTo>
                  <a:pt x="462567" y="230193"/>
                  <a:pt x="462205" y="230193"/>
                  <a:pt x="462205" y="230193"/>
                </a:cubicBezTo>
                <a:cubicBezTo>
                  <a:pt x="461842" y="230193"/>
                  <a:pt x="461842" y="230193"/>
                  <a:pt x="461842" y="229831"/>
                </a:cubicBezTo>
                <a:cubicBezTo>
                  <a:pt x="461842" y="229469"/>
                  <a:pt x="461842" y="229469"/>
                  <a:pt x="462205" y="229469"/>
                </a:cubicBezTo>
                <a:close/>
                <a:moveTo>
                  <a:pt x="308257" y="229469"/>
                </a:moveTo>
                <a:cubicBezTo>
                  <a:pt x="308619" y="229469"/>
                  <a:pt x="308619" y="229469"/>
                  <a:pt x="308619" y="229831"/>
                </a:cubicBezTo>
                <a:cubicBezTo>
                  <a:pt x="308619" y="230193"/>
                  <a:pt x="308257" y="230193"/>
                  <a:pt x="308257" y="230193"/>
                </a:cubicBezTo>
                <a:cubicBezTo>
                  <a:pt x="307895" y="230193"/>
                  <a:pt x="307895" y="230193"/>
                  <a:pt x="307895" y="229831"/>
                </a:cubicBezTo>
                <a:cubicBezTo>
                  <a:pt x="307895" y="229469"/>
                  <a:pt x="307895" y="229469"/>
                  <a:pt x="308257" y="229469"/>
                </a:cubicBezTo>
                <a:close/>
                <a:moveTo>
                  <a:pt x="154676" y="229103"/>
                </a:moveTo>
                <a:cubicBezTo>
                  <a:pt x="155076" y="229103"/>
                  <a:pt x="155400" y="229427"/>
                  <a:pt x="155400" y="229827"/>
                </a:cubicBezTo>
                <a:cubicBezTo>
                  <a:pt x="155400" y="230231"/>
                  <a:pt x="155076" y="230555"/>
                  <a:pt x="154676" y="230555"/>
                </a:cubicBezTo>
                <a:cubicBezTo>
                  <a:pt x="154272" y="230555"/>
                  <a:pt x="153948" y="230231"/>
                  <a:pt x="153948" y="229827"/>
                </a:cubicBezTo>
                <a:cubicBezTo>
                  <a:pt x="153948" y="229427"/>
                  <a:pt x="154272" y="229103"/>
                  <a:pt x="154676" y="229103"/>
                </a:cubicBezTo>
                <a:close/>
                <a:moveTo>
                  <a:pt x="725" y="229103"/>
                </a:moveTo>
                <a:cubicBezTo>
                  <a:pt x="1090" y="229103"/>
                  <a:pt x="1453" y="229465"/>
                  <a:pt x="1453" y="229827"/>
                </a:cubicBezTo>
                <a:cubicBezTo>
                  <a:pt x="1453" y="230193"/>
                  <a:pt x="725" y="230555"/>
                  <a:pt x="725" y="230555"/>
                </a:cubicBezTo>
                <a:cubicBezTo>
                  <a:pt x="362" y="230555"/>
                  <a:pt x="0" y="230193"/>
                  <a:pt x="0" y="229827"/>
                </a:cubicBezTo>
                <a:cubicBezTo>
                  <a:pt x="0" y="229465"/>
                  <a:pt x="362" y="229103"/>
                  <a:pt x="725" y="229103"/>
                </a:cubicBezTo>
                <a:close/>
                <a:moveTo>
                  <a:pt x="1077266" y="228379"/>
                </a:moveTo>
                <a:cubicBezTo>
                  <a:pt x="1078067" y="228379"/>
                  <a:pt x="1078718" y="229031"/>
                  <a:pt x="1078718" y="229831"/>
                </a:cubicBezTo>
                <a:cubicBezTo>
                  <a:pt x="1078718" y="230631"/>
                  <a:pt x="1078067" y="231283"/>
                  <a:pt x="1077266" y="231283"/>
                </a:cubicBezTo>
                <a:cubicBezTo>
                  <a:pt x="1076462" y="231283"/>
                  <a:pt x="1075814" y="230631"/>
                  <a:pt x="1075814" y="229831"/>
                </a:cubicBezTo>
                <a:cubicBezTo>
                  <a:pt x="1075814" y="229031"/>
                  <a:pt x="1076462" y="228379"/>
                  <a:pt x="1077266" y="228379"/>
                </a:cubicBezTo>
                <a:close/>
                <a:moveTo>
                  <a:pt x="1231217" y="227651"/>
                </a:moveTo>
                <a:cubicBezTo>
                  <a:pt x="1232418" y="227651"/>
                  <a:pt x="1233394" y="228626"/>
                  <a:pt x="1233394" y="229827"/>
                </a:cubicBezTo>
                <a:cubicBezTo>
                  <a:pt x="1233394" y="231032"/>
                  <a:pt x="1232418" y="232008"/>
                  <a:pt x="1231217" y="232008"/>
                </a:cubicBezTo>
                <a:cubicBezTo>
                  <a:pt x="1230013" y="232008"/>
                  <a:pt x="1229037" y="231032"/>
                  <a:pt x="1229037" y="229827"/>
                </a:cubicBezTo>
                <a:cubicBezTo>
                  <a:pt x="1229037" y="228626"/>
                  <a:pt x="1230013" y="227651"/>
                  <a:pt x="1231217" y="227651"/>
                </a:cubicBezTo>
                <a:close/>
                <a:moveTo>
                  <a:pt x="1384799" y="226560"/>
                </a:moveTo>
                <a:cubicBezTo>
                  <a:pt x="1386617" y="226560"/>
                  <a:pt x="1388069" y="228013"/>
                  <a:pt x="1388069" y="229827"/>
                </a:cubicBezTo>
                <a:cubicBezTo>
                  <a:pt x="1388069" y="231645"/>
                  <a:pt x="1386617" y="233098"/>
                  <a:pt x="1384799" y="233098"/>
                </a:cubicBezTo>
                <a:cubicBezTo>
                  <a:pt x="1382984" y="233098"/>
                  <a:pt x="1381532" y="231645"/>
                  <a:pt x="1381532" y="229827"/>
                </a:cubicBezTo>
                <a:cubicBezTo>
                  <a:pt x="1381532" y="228013"/>
                  <a:pt x="1382984" y="226560"/>
                  <a:pt x="1384799" y="226560"/>
                </a:cubicBezTo>
                <a:close/>
                <a:moveTo>
                  <a:pt x="1538746" y="225108"/>
                </a:moveTo>
                <a:cubicBezTo>
                  <a:pt x="1541285" y="225108"/>
                  <a:pt x="1543103" y="226923"/>
                  <a:pt x="1543103" y="229465"/>
                </a:cubicBezTo>
                <a:cubicBezTo>
                  <a:pt x="1543103" y="232008"/>
                  <a:pt x="1540923" y="233822"/>
                  <a:pt x="1538746" y="233822"/>
                </a:cubicBezTo>
                <a:cubicBezTo>
                  <a:pt x="1536204" y="233822"/>
                  <a:pt x="1534389" y="232008"/>
                  <a:pt x="1534389" y="229465"/>
                </a:cubicBezTo>
                <a:cubicBezTo>
                  <a:pt x="1534389" y="226923"/>
                  <a:pt x="1536204" y="225108"/>
                  <a:pt x="1538746" y="225108"/>
                </a:cubicBezTo>
                <a:close/>
                <a:moveTo>
                  <a:pt x="1692331" y="224022"/>
                </a:moveTo>
                <a:cubicBezTo>
                  <a:pt x="1695541" y="224022"/>
                  <a:pt x="1698141" y="226621"/>
                  <a:pt x="1698141" y="229831"/>
                </a:cubicBezTo>
                <a:cubicBezTo>
                  <a:pt x="1698141" y="233041"/>
                  <a:pt x="1695541" y="235640"/>
                  <a:pt x="1692331" y="235640"/>
                </a:cubicBezTo>
                <a:cubicBezTo>
                  <a:pt x="1689122" y="235640"/>
                  <a:pt x="1686522" y="233041"/>
                  <a:pt x="1686522" y="229831"/>
                </a:cubicBezTo>
                <a:cubicBezTo>
                  <a:pt x="1686522" y="226621"/>
                  <a:pt x="1689122" y="224022"/>
                  <a:pt x="1692331" y="224022"/>
                </a:cubicBezTo>
                <a:close/>
                <a:moveTo>
                  <a:pt x="1846279" y="222569"/>
                </a:moveTo>
                <a:cubicBezTo>
                  <a:pt x="1850274" y="222569"/>
                  <a:pt x="1853540" y="225836"/>
                  <a:pt x="1853540" y="229831"/>
                </a:cubicBezTo>
                <a:cubicBezTo>
                  <a:pt x="1853540" y="233826"/>
                  <a:pt x="1850274" y="237093"/>
                  <a:pt x="1846279" y="237093"/>
                </a:cubicBezTo>
                <a:cubicBezTo>
                  <a:pt x="1842284" y="237093"/>
                  <a:pt x="1839017" y="233826"/>
                  <a:pt x="1839017" y="229831"/>
                </a:cubicBezTo>
                <a:cubicBezTo>
                  <a:pt x="1839017" y="225836"/>
                  <a:pt x="1842284" y="222569"/>
                  <a:pt x="1846279" y="222569"/>
                </a:cubicBezTo>
                <a:close/>
                <a:moveTo>
                  <a:pt x="1999860" y="220389"/>
                </a:moveTo>
                <a:cubicBezTo>
                  <a:pt x="2004945" y="220389"/>
                  <a:pt x="2008940" y="224384"/>
                  <a:pt x="2008940" y="229465"/>
                </a:cubicBezTo>
                <a:cubicBezTo>
                  <a:pt x="2008940" y="234550"/>
                  <a:pt x="2004945" y="238545"/>
                  <a:pt x="1999860" y="238545"/>
                </a:cubicBezTo>
                <a:cubicBezTo>
                  <a:pt x="1994779" y="238545"/>
                  <a:pt x="1990784" y="234550"/>
                  <a:pt x="1990784" y="229465"/>
                </a:cubicBezTo>
                <a:cubicBezTo>
                  <a:pt x="1990784" y="224384"/>
                  <a:pt x="1994779" y="220389"/>
                  <a:pt x="1999860" y="220389"/>
                </a:cubicBezTo>
                <a:close/>
                <a:moveTo>
                  <a:pt x="2153811" y="219665"/>
                </a:moveTo>
                <a:cubicBezTo>
                  <a:pt x="2159259" y="219665"/>
                  <a:pt x="2163978" y="224384"/>
                  <a:pt x="2163978" y="229831"/>
                </a:cubicBezTo>
                <a:cubicBezTo>
                  <a:pt x="2163978" y="235278"/>
                  <a:pt x="2159621" y="239997"/>
                  <a:pt x="2153811" y="239997"/>
                </a:cubicBezTo>
                <a:cubicBezTo>
                  <a:pt x="2148364" y="239997"/>
                  <a:pt x="2143645" y="235278"/>
                  <a:pt x="2143645" y="229831"/>
                </a:cubicBezTo>
                <a:cubicBezTo>
                  <a:pt x="2143645" y="224384"/>
                  <a:pt x="2148364" y="219665"/>
                  <a:pt x="2153811" y="219665"/>
                </a:cubicBezTo>
                <a:close/>
                <a:moveTo>
                  <a:pt x="2307393" y="217484"/>
                </a:moveTo>
                <a:cubicBezTo>
                  <a:pt x="2313930" y="217484"/>
                  <a:pt x="2319377" y="222931"/>
                  <a:pt x="2319377" y="229465"/>
                </a:cubicBezTo>
                <a:cubicBezTo>
                  <a:pt x="2319377" y="236002"/>
                  <a:pt x="2313930" y="241450"/>
                  <a:pt x="2307393" y="241450"/>
                </a:cubicBezTo>
                <a:cubicBezTo>
                  <a:pt x="2300859" y="241450"/>
                  <a:pt x="2295412" y="236002"/>
                  <a:pt x="2295412" y="229465"/>
                </a:cubicBezTo>
                <a:cubicBezTo>
                  <a:pt x="2295412" y="222931"/>
                  <a:pt x="2300859" y="217484"/>
                  <a:pt x="2307393" y="217484"/>
                </a:cubicBezTo>
                <a:close/>
                <a:moveTo>
                  <a:pt x="2461344" y="215670"/>
                </a:moveTo>
                <a:cubicBezTo>
                  <a:pt x="2468968" y="215670"/>
                  <a:pt x="2475139" y="221841"/>
                  <a:pt x="2475139" y="229469"/>
                </a:cubicBezTo>
                <a:cubicBezTo>
                  <a:pt x="2475139" y="237093"/>
                  <a:pt x="2468968" y="243264"/>
                  <a:pt x="2461344" y="243264"/>
                </a:cubicBezTo>
                <a:cubicBezTo>
                  <a:pt x="2453716" y="243264"/>
                  <a:pt x="2447545" y="237093"/>
                  <a:pt x="2447545" y="229469"/>
                </a:cubicBezTo>
                <a:cubicBezTo>
                  <a:pt x="2447545" y="221841"/>
                  <a:pt x="2453716" y="215670"/>
                  <a:pt x="2461344" y="215670"/>
                </a:cubicBezTo>
                <a:close/>
                <a:moveTo>
                  <a:pt x="2614925" y="214580"/>
                </a:moveTo>
                <a:cubicBezTo>
                  <a:pt x="2623350" y="214580"/>
                  <a:pt x="2630177" y="221407"/>
                  <a:pt x="2630177" y="229827"/>
                </a:cubicBezTo>
                <a:cubicBezTo>
                  <a:pt x="2630177" y="238252"/>
                  <a:pt x="2623350" y="245079"/>
                  <a:pt x="2614925" y="245079"/>
                </a:cubicBezTo>
                <a:cubicBezTo>
                  <a:pt x="2606505" y="245079"/>
                  <a:pt x="2599678" y="238252"/>
                  <a:pt x="2599678" y="229827"/>
                </a:cubicBezTo>
                <a:cubicBezTo>
                  <a:pt x="2599678" y="221407"/>
                  <a:pt x="2606505" y="214580"/>
                  <a:pt x="2614925" y="214580"/>
                </a:cubicBezTo>
                <a:close/>
                <a:moveTo>
                  <a:pt x="2768873" y="212765"/>
                </a:moveTo>
                <a:cubicBezTo>
                  <a:pt x="2778311" y="212765"/>
                  <a:pt x="2785939" y="220389"/>
                  <a:pt x="2785939" y="229831"/>
                </a:cubicBezTo>
                <a:cubicBezTo>
                  <a:pt x="2785939" y="239269"/>
                  <a:pt x="2778311" y="246897"/>
                  <a:pt x="2768873" y="246897"/>
                </a:cubicBezTo>
                <a:cubicBezTo>
                  <a:pt x="2759431" y="246897"/>
                  <a:pt x="2751807" y="239269"/>
                  <a:pt x="2751807" y="229831"/>
                </a:cubicBezTo>
                <a:cubicBezTo>
                  <a:pt x="2751807" y="220389"/>
                  <a:pt x="2759431" y="212765"/>
                  <a:pt x="2768873" y="212765"/>
                </a:cubicBezTo>
                <a:close/>
                <a:moveTo>
                  <a:pt x="2922458" y="210589"/>
                </a:moveTo>
                <a:cubicBezTo>
                  <a:pt x="2933086" y="210589"/>
                  <a:pt x="2941700" y="219203"/>
                  <a:pt x="2941700" y="229831"/>
                </a:cubicBezTo>
                <a:cubicBezTo>
                  <a:pt x="2941700" y="240459"/>
                  <a:pt x="2933086" y="249077"/>
                  <a:pt x="2922458" y="249077"/>
                </a:cubicBezTo>
                <a:cubicBezTo>
                  <a:pt x="2911830" y="249077"/>
                  <a:pt x="2903216" y="240459"/>
                  <a:pt x="2903216" y="229831"/>
                </a:cubicBezTo>
                <a:cubicBezTo>
                  <a:pt x="2903216" y="219203"/>
                  <a:pt x="2911830" y="210589"/>
                  <a:pt x="2922458" y="210589"/>
                </a:cubicBezTo>
                <a:close/>
                <a:moveTo>
                  <a:pt x="3076406" y="208408"/>
                </a:moveTo>
                <a:cubicBezTo>
                  <a:pt x="3088234" y="208408"/>
                  <a:pt x="3097828" y="217999"/>
                  <a:pt x="3097828" y="229831"/>
                </a:cubicBezTo>
                <a:cubicBezTo>
                  <a:pt x="3097828" y="241659"/>
                  <a:pt x="3088234" y="251254"/>
                  <a:pt x="3076406" y="251254"/>
                </a:cubicBezTo>
                <a:cubicBezTo>
                  <a:pt x="3064573" y="251254"/>
                  <a:pt x="3054982" y="241659"/>
                  <a:pt x="3054982" y="229831"/>
                </a:cubicBezTo>
                <a:cubicBezTo>
                  <a:pt x="3054982" y="217999"/>
                  <a:pt x="3064573" y="208408"/>
                  <a:pt x="3076406" y="208408"/>
                </a:cubicBezTo>
                <a:close/>
                <a:moveTo>
                  <a:pt x="3230353" y="206956"/>
                </a:moveTo>
                <a:cubicBezTo>
                  <a:pt x="3242986" y="206956"/>
                  <a:pt x="3253228" y="217198"/>
                  <a:pt x="3253228" y="229831"/>
                </a:cubicBezTo>
                <a:cubicBezTo>
                  <a:pt x="3253228" y="242464"/>
                  <a:pt x="3242986" y="252706"/>
                  <a:pt x="3230353" y="252706"/>
                </a:cubicBezTo>
                <a:cubicBezTo>
                  <a:pt x="3217720" y="252706"/>
                  <a:pt x="3207478" y="242464"/>
                  <a:pt x="3207478" y="229831"/>
                </a:cubicBezTo>
                <a:cubicBezTo>
                  <a:pt x="3207478" y="217198"/>
                  <a:pt x="3217720" y="206956"/>
                  <a:pt x="3230353" y="206956"/>
                </a:cubicBezTo>
                <a:close/>
                <a:moveTo>
                  <a:pt x="3383934" y="204779"/>
                </a:moveTo>
                <a:cubicBezTo>
                  <a:pt x="3397772" y="204779"/>
                  <a:pt x="3408986" y="215994"/>
                  <a:pt x="3408986" y="229831"/>
                </a:cubicBezTo>
                <a:cubicBezTo>
                  <a:pt x="3408986" y="243668"/>
                  <a:pt x="3397772" y="254887"/>
                  <a:pt x="3383934" y="254887"/>
                </a:cubicBezTo>
                <a:cubicBezTo>
                  <a:pt x="3370097" y="254887"/>
                  <a:pt x="3358882" y="243668"/>
                  <a:pt x="3358882" y="229831"/>
                </a:cubicBezTo>
                <a:cubicBezTo>
                  <a:pt x="3358882" y="215994"/>
                  <a:pt x="3370097" y="204779"/>
                  <a:pt x="3383934" y="204779"/>
                </a:cubicBezTo>
                <a:close/>
                <a:moveTo>
                  <a:pt x="3537886" y="202599"/>
                </a:moveTo>
                <a:cubicBezTo>
                  <a:pt x="3552924" y="202599"/>
                  <a:pt x="3565118" y="214789"/>
                  <a:pt x="3565118" y="229831"/>
                </a:cubicBezTo>
                <a:cubicBezTo>
                  <a:pt x="3565118" y="244869"/>
                  <a:pt x="3552924" y="257059"/>
                  <a:pt x="3537886" y="257059"/>
                </a:cubicBezTo>
                <a:cubicBezTo>
                  <a:pt x="3522844" y="257059"/>
                  <a:pt x="3510653" y="244869"/>
                  <a:pt x="3510653" y="229831"/>
                </a:cubicBezTo>
                <a:cubicBezTo>
                  <a:pt x="3510653" y="214789"/>
                  <a:pt x="3522844" y="202599"/>
                  <a:pt x="3537886" y="202599"/>
                </a:cubicBezTo>
                <a:close/>
                <a:moveTo>
                  <a:pt x="3691467" y="200056"/>
                </a:moveTo>
                <a:cubicBezTo>
                  <a:pt x="3707912" y="200056"/>
                  <a:pt x="3721242" y="213386"/>
                  <a:pt x="3721242" y="229827"/>
                </a:cubicBezTo>
                <a:cubicBezTo>
                  <a:pt x="3721242" y="246272"/>
                  <a:pt x="3707912" y="259602"/>
                  <a:pt x="3691467" y="259602"/>
                </a:cubicBezTo>
                <a:cubicBezTo>
                  <a:pt x="3675026" y="259602"/>
                  <a:pt x="3661696" y="246272"/>
                  <a:pt x="3661696" y="229827"/>
                </a:cubicBezTo>
                <a:cubicBezTo>
                  <a:pt x="3661696" y="213386"/>
                  <a:pt x="3675026" y="200056"/>
                  <a:pt x="3691467" y="200056"/>
                </a:cubicBezTo>
                <a:close/>
                <a:moveTo>
                  <a:pt x="3845414" y="197880"/>
                </a:moveTo>
                <a:cubicBezTo>
                  <a:pt x="3863060" y="197880"/>
                  <a:pt x="3877366" y="212186"/>
                  <a:pt x="3877366" y="229831"/>
                </a:cubicBezTo>
                <a:cubicBezTo>
                  <a:pt x="3877366" y="247476"/>
                  <a:pt x="3863060" y="261782"/>
                  <a:pt x="3845414" y="261782"/>
                </a:cubicBezTo>
                <a:cubicBezTo>
                  <a:pt x="3827769" y="261782"/>
                  <a:pt x="3813463" y="247476"/>
                  <a:pt x="3813463" y="229831"/>
                </a:cubicBezTo>
                <a:cubicBezTo>
                  <a:pt x="3813463" y="212186"/>
                  <a:pt x="3827769" y="197880"/>
                  <a:pt x="3845414" y="197880"/>
                </a:cubicBezTo>
                <a:close/>
                <a:moveTo>
                  <a:pt x="3999000" y="196065"/>
                </a:moveTo>
                <a:cubicBezTo>
                  <a:pt x="4017651" y="196065"/>
                  <a:pt x="4032769" y="211183"/>
                  <a:pt x="4032769" y="229831"/>
                </a:cubicBezTo>
                <a:cubicBezTo>
                  <a:pt x="4032769" y="248483"/>
                  <a:pt x="4017651" y="263597"/>
                  <a:pt x="3999000" y="263597"/>
                </a:cubicBezTo>
                <a:cubicBezTo>
                  <a:pt x="3980352" y="263597"/>
                  <a:pt x="3965234" y="248483"/>
                  <a:pt x="3965234" y="229831"/>
                </a:cubicBezTo>
                <a:cubicBezTo>
                  <a:pt x="3965234" y="211183"/>
                  <a:pt x="3980352" y="196065"/>
                  <a:pt x="3999000" y="196065"/>
                </a:cubicBezTo>
                <a:close/>
                <a:moveTo>
                  <a:pt x="4152947" y="193523"/>
                </a:moveTo>
                <a:cubicBezTo>
                  <a:pt x="4173002" y="193523"/>
                  <a:pt x="4189256" y="209777"/>
                  <a:pt x="4189256" y="229831"/>
                </a:cubicBezTo>
                <a:cubicBezTo>
                  <a:pt x="4189256" y="249885"/>
                  <a:pt x="4173002" y="266139"/>
                  <a:pt x="4152947" y="266139"/>
                </a:cubicBezTo>
                <a:cubicBezTo>
                  <a:pt x="4132896" y="266139"/>
                  <a:pt x="4116638" y="249885"/>
                  <a:pt x="4116638" y="229831"/>
                </a:cubicBezTo>
                <a:cubicBezTo>
                  <a:pt x="4116638" y="209777"/>
                  <a:pt x="4132896" y="193523"/>
                  <a:pt x="4152947" y="193523"/>
                </a:cubicBezTo>
                <a:close/>
                <a:moveTo>
                  <a:pt x="4306532" y="190618"/>
                </a:moveTo>
                <a:cubicBezTo>
                  <a:pt x="4327952" y="190618"/>
                  <a:pt x="4345380" y="208046"/>
                  <a:pt x="4345380" y="229469"/>
                </a:cubicBezTo>
                <a:cubicBezTo>
                  <a:pt x="4345380" y="250888"/>
                  <a:pt x="4327952" y="268316"/>
                  <a:pt x="4306532" y="268316"/>
                </a:cubicBezTo>
                <a:cubicBezTo>
                  <a:pt x="4285110" y="268316"/>
                  <a:pt x="4267682" y="250888"/>
                  <a:pt x="4267682" y="229469"/>
                </a:cubicBezTo>
                <a:cubicBezTo>
                  <a:pt x="4267682" y="208046"/>
                  <a:pt x="4285110" y="190618"/>
                  <a:pt x="4306532" y="190618"/>
                </a:cubicBezTo>
                <a:close/>
                <a:moveTo>
                  <a:pt x="4460480" y="188438"/>
                </a:moveTo>
                <a:cubicBezTo>
                  <a:pt x="4483355" y="188438"/>
                  <a:pt x="4501511" y="206594"/>
                  <a:pt x="4501511" y="229465"/>
                </a:cubicBezTo>
                <a:cubicBezTo>
                  <a:pt x="4501511" y="252340"/>
                  <a:pt x="4482993" y="270493"/>
                  <a:pt x="4460480" y="270493"/>
                </a:cubicBezTo>
                <a:cubicBezTo>
                  <a:pt x="4437608" y="270493"/>
                  <a:pt x="4419452" y="252340"/>
                  <a:pt x="4419452" y="229465"/>
                </a:cubicBezTo>
                <a:cubicBezTo>
                  <a:pt x="4419452" y="206594"/>
                  <a:pt x="4437608" y="188438"/>
                  <a:pt x="4460480" y="188438"/>
                </a:cubicBezTo>
                <a:close/>
                <a:moveTo>
                  <a:pt x="4614065" y="185895"/>
                </a:moveTo>
                <a:cubicBezTo>
                  <a:pt x="4638026" y="185895"/>
                  <a:pt x="4657635" y="205500"/>
                  <a:pt x="4657635" y="229465"/>
                </a:cubicBezTo>
                <a:cubicBezTo>
                  <a:pt x="4657635" y="253430"/>
                  <a:pt x="4638026" y="273035"/>
                  <a:pt x="4614065" y="273035"/>
                </a:cubicBezTo>
                <a:cubicBezTo>
                  <a:pt x="4590100" y="273035"/>
                  <a:pt x="4570495" y="253430"/>
                  <a:pt x="4570495" y="229465"/>
                </a:cubicBezTo>
                <a:cubicBezTo>
                  <a:pt x="4570495" y="205500"/>
                  <a:pt x="4590100" y="185895"/>
                  <a:pt x="4614065" y="185895"/>
                </a:cubicBezTo>
                <a:close/>
                <a:moveTo>
                  <a:pt x="4768012" y="183356"/>
                </a:moveTo>
                <a:cubicBezTo>
                  <a:pt x="4793426" y="183356"/>
                  <a:pt x="4814125" y="204051"/>
                  <a:pt x="4814125" y="229469"/>
                </a:cubicBezTo>
                <a:cubicBezTo>
                  <a:pt x="4814125" y="254883"/>
                  <a:pt x="4793426" y="275581"/>
                  <a:pt x="4768012" y="275581"/>
                </a:cubicBezTo>
                <a:cubicBezTo>
                  <a:pt x="4742594" y="275581"/>
                  <a:pt x="4721900" y="254883"/>
                  <a:pt x="4721900" y="229469"/>
                </a:cubicBezTo>
                <a:cubicBezTo>
                  <a:pt x="4721900" y="204051"/>
                  <a:pt x="4742594" y="183356"/>
                  <a:pt x="4768012" y="183356"/>
                </a:cubicBezTo>
                <a:close/>
                <a:moveTo>
                  <a:pt x="4921594" y="180814"/>
                </a:moveTo>
                <a:cubicBezTo>
                  <a:pt x="4948464" y="180814"/>
                  <a:pt x="4970249" y="202599"/>
                  <a:pt x="4970249" y="229469"/>
                </a:cubicBezTo>
                <a:cubicBezTo>
                  <a:pt x="4970249" y="256335"/>
                  <a:pt x="4948464" y="278120"/>
                  <a:pt x="4921594" y="278120"/>
                </a:cubicBezTo>
                <a:cubicBezTo>
                  <a:pt x="4894728" y="278120"/>
                  <a:pt x="4872942" y="256335"/>
                  <a:pt x="4872942" y="229469"/>
                </a:cubicBezTo>
                <a:cubicBezTo>
                  <a:pt x="4872942" y="202599"/>
                  <a:pt x="4894728" y="180814"/>
                  <a:pt x="4921594" y="180814"/>
                </a:cubicBezTo>
                <a:close/>
                <a:moveTo>
                  <a:pt x="5075541" y="178637"/>
                </a:moveTo>
                <a:cubicBezTo>
                  <a:pt x="5103864" y="178637"/>
                  <a:pt x="5126735" y="201512"/>
                  <a:pt x="5126735" y="229831"/>
                </a:cubicBezTo>
                <a:cubicBezTo>
                  <a:pt x="5126735" y="258153"/>
                  <a:pt x="5103864" y="281025"/>
                  <a:pt x="5075541" y="281025"/>
                </a:cubicBezTo>
                <a:cubicBezTo>
                  <a:pt x="5047222" y="281025"/>
                  <a:pt x="5024348" y="258153"/>
                  <a:pt x="5024348" y="229831"/>
                </a:cubicBezTo>
                <a:cubicBezTo>
                  <a:pt x="5024348" y="201512"/>
                  <a:pt x="5047222" y="178637"/>
                  <a:pt x="5075541" y="178637"/>
                </a:cubicBezTo>
                <a:close/>
                <a:moveTo>
                  <a:pt x="5229126" y="176095"/>
                </a:moveTo>
                <a:cubicBezTo>
                  <a:pt x="5258536" y="176095"/>
                  <a:pt x="5282500" y="200060"/>
                  <a:pt x="5282500" y="229469"/>
                </a:cubicBezTo>
                <a:cubicBezTo>
                  <a:pt x="5282500" y="258878"/>
                  <a:pt x="5258536" y="282843"/>
                  <a:pt x="5229126" y="282843"/>
                </a:cubicBezTo>
                <a:cubicBezTo>
                  <a:pt x="5199718" y="282843"/>
                  <a:pt x="5175752" y="258878"/>
                  <a:pt x="5175752" y="229469"/>
                </a:cubicBezTo>
                <a:cubicBezTo>
                  <a:pt x="5175752" y="200060"/>
                  <a:pt x="5199718" y="176095"/>
                  <a:pt x="5229126" y="176095"/>
                </a:cubicBezTo>
                <a:close/>
                <a:moveTo>
                  <a:pt x="5383074" y="173552"/>
                </a:moveTo>
                <a:cubicBezTo>
                  <a:pt x="5414297" y="173552"/>
                  <a:pt x="5439352" y="198604"/>
                  <a:pt x="5439352" y="229831"/>
                </a:cubicBezTo>
                <a:cubicBezTo>
                  <a:pt x="5439352" y="261054"/>
                  <a:pt x="5414297" y="286110"/>
                  <a:pt x="5383074" y="286110"/>
                </a:cubicBezTo>
                <a:cubicBezTo>
                  <a:pt x="5351847" y="286110"/>
                  <a:pt x="5326795" y="261054"/>
                  <a:pt x="5326795" y="229831"/>
                </a:cubicBezTo>
                <a:cubicBezTo>
                  <a:pt x="5326795" y="198604"/>
                  <a:pt x="5351847" y="173552"/>
                  <a:pt x="5383074" y="173552"/>
                </a:cubicBezTo>
                <a:close/>
                <a:moveTo>
                  <a:pt x="5536659" y="171010"/>
                </a:moveTo>
                <a:cubicBezTo>
                  <a:pt x="5569144" y="171010"/>
                  <a:pt x="5595476" y="197342"/>
                  <a:pt x="5595476" y="229827"/>
                </a:cubicBezTo>
                <a:cubicBezTo>
                  <a:pt x="5595476" y="262316"/>
                  <a:pt x="5569144" y="288649"/>
                  <a:pt x="5536659" y="288649"/>
                </a:cubicBezTo>
                <a:cubicBezTo>
                  <a:pt x="5504174" y="288649"/>
                  <a:pt x="5477838" y="262316"/>
                  <a:pt x="5477838" y="229827"/>
                </a:cubicBezTo>
                <a:cubicBezTo>
                  <a:pt x="5477838" y="197342"/>
                  <a:pt x="5504174" y="171010"/>
                  <a:pt x="5536659" y="171010"/>
                </a:cubicBezTo>
                <a:close/>
                <a:moveTo>
                  <a:pt x="5690606" y="168105"/>
                </a:moveTo>
                <a:cubicBezTo>
                  <a:pt x="5724734" y="168105"/>
                  <a:pt x="5752329" y="195699"/>
                  <a:pt x="5752329" y="229827"/>
                </a:cubicBezTo>
                <a:cubicBezTo>
                  <a:pt x="5752329" y="263959"/>
                  <a:pt x="5724734" y="291553"/>
                  <a:pt x="5690606" y="291553"/>
                </a:cubicBezTo>
                <a:cubicBezTo>
                  <a:pt x="5656475" y="291553"/>
                  <a:pt x="5628880" y="263959"/>
                  <a:pt x="5628880" y="229827"/>
                </a:cubicBezTo>
                <a:cubicBezTo>
                  <a:pt x="5628880" y="195699"/>
                  <a:pt x="5656475" y="168105"/>
                  <a:pt x="5690606" y="168105"/>
                </a:cubicBezTo>
                <a:close/>
                <a:moveTo>
                  <a:pt x="5844554" y="165566"/>
                </a:moveTo>
                <a:cubicBezTo>
                  <a:pt x="5880046" y="165566"/>
                  <a:pt x="5908822" y="194338"/>
                  <a:pt x="5908822" y="229831"/>
                </a:cubicBezTo>
                <a:cubicBezTo>
                  <a:pt x="5908822" y="265324"/>
                  <a:pt x="5880046" y="294100"/>
                  <a:pt x="5844554" y="294100"/>
                </a:cubicBezTo>
                <a:cubicBezTo>
                  <a:pt x="5809062" y="294100"/>
                  <a:pt x="5780289" y="265324"/>
                  <a:pt x="5780289" y="229831"/>
                </a:cubicBezTo>
                <a:cubicBezTo>
                  <a:pt x="5780289" y="194338"/>
                  <a:pt x="5809062" y="165566"/>
                  <a:pt x="5844554" y="165566"/>
                </a:cubicBezTo>
                <a:close/>
                <a:moveTo>
                  <a:pt x="5998136" y="162296"/>
                </a:moveTo>
                <a:cubicBezTo>
                  <a:pt x="6035435" y="162296"/>
                  <a:pt x="6065671" y="192532"/>
                  <a:pt x="6065671" y="229831"/>
                </a:cubicBezTo>
                <a:cubicBezTo>
                  <a:pt x="6065671" y="267127"/>
                  <a:pt x="6035435" y="297363"/>
                  <a:pt x="5998136" y="297363"/>
                </a:cubicBezTo>
                <a:cubicBezTo>
                  <a:pt x="5960840" y="297363"/>
                  <a:pt x="5930604" y="267127"/>
                  <a:pt x="5930604" y="229827"/>
                </a:cubicBezTo>
                <a:cubicBezTo>
                  <a:pt x="5930604" y="192532"/>
                  <a:pt x="5960840" y="162296"/>
                  <a:pt x="5998136" y="162296"/>
                </a:cubicBezTo>
                <a:close/>
                <a:moveTo>
                  <a:pt x="6152086" y="159757"/>
                </a:moveTo>
                <a:cubicBezTo>
                  <a:pt x="6190785" y="159757"/>
                  <a:pt x="6222160" y="191129"/>
                  <a:pt x="6222160" y="229831"/>
                </a:cubicBezTo>
                <a:cubicBezTo>
                  <a:pt x="6222160" y="268533"/>
                  <a:pt x="6190785" y="299909"/>
                  <a:pt x="6152086" y="299909"/>
                </a:cubicBezTo>
                <a:cubicBezTo>
                  <a:pt x="6113384" y="299909"/>
                  <a:pt x="6082008" y="268533"/>
                  <a:pt x="6082008" y="229831"/>
                </a:cubicBezTo>
                <a:cubicBezTo>
                  <a:pt x="6082008" y="191129"/>
                  <a:pt x="6113384" y="159757"/>
                  <a:pt x="6152086" y="159757"/>
                </a:cubicBezTo>
                <a:close/>
                <a:moveTo>
                  <a:pt x="6305668" y="156852"/>
                </a:moveTo>
                <a:cubicBezTo>
                  <a:pt x="6345975" y="156852"/>
                  <a:pt x="6378650" y="189528"/>
                  <a:pt x="6378650" y="229831"/>
                </a:cubicBezTo>
                <a:cubicBezTo>
                  <a:pt x="6378650" y="270138"/>
                  <a:pt x="6345975" y="302814"/>
                  <a:pt x="6305668" y="302814"/>
                </a:cubicBezTo>
                <a:cubicBezTo>
                  <a:pt x="6265365" y="302814"/>
                  <a:pt x="6232689" y="270138"/>
                  <a:pt x="6232689" y="229831"/>
                </a:cubicBezTo>
                <a:cubicBezTo>
                  <a:pt x="6232689" y="189528"/>
                  <a:pt x="6265365" y="156852"/>
                  <a:pt x="6305668" y="156852"/>
                </a:cubicBezTo>
                <a:close/>
                <a:moveTo>
                  <a:pt x="6613200" y="153947"/>
                </a:moveTo>
                <a:cubicBezTo>
                  <a:pt x="6655112" y="153947"/>
                  <a:pt x="6689088" y="187923"/>
                  <a:pt x="6689088" y="229831"/>
                </a:cubicBezTo>
                <a:cubicBezTo>
                  <a:pt x="6689088" y="271743"/>
                  <a:pt x="6655112" y="305718"/>
                  <a:pt x="6613200" y="305718"/>
                </a:cubicBezTo>
                <a:cubicBezTo>
                  <a:pt x="6571289" y="305718"/>
                  <a:pt x="6537317" y="271743"/>
                  <a:pt x="6537317" y="229831"/>
                </a:cubicBezTo>
                <a:cubicBezTo>
                  <a:pt x="6537317" y="187923"/>
                  <a:pt x="6571289" y="153947"/>
                  <a:pt x="6613200" y="153947"/>
                </a:cubicBezTo>
                <a:close/>
                <a:moveTo>
                  <a:pt x="6459616" y="153944"/>
                </a:moveTo>
                <a:cubicBezTo>
                  <a:pt x="6501371" y="153944"/>
                  <a:pt x="6535137" y="187710"/>
                  <a:pt x="6535137" y="229465"/>
                </a:cubicBezTo>
                <a:cubicBezTo>
                  <a:pt x="6535137" y="271221"/>
                  <a:pt x="6501371" y="304986"/>
                  <a:pt x="6459616" y="304986"/>
                </a:cubicBezTo>
                <a:cubicBezTo>
                  <a:pt x="6417860" y="304986"/>
                  <a:pt x="6384094" y="271221"/>
                  <a:pt x="6384094" y="229465"/>
                </a:cubicBezTo>
                <a:cubicBezTo>
                  <a:pt x="6384094" y="187710"/>
                  <a:pt x="6417860" y="153944"/>
                  <a:pt x="6459616" y="153944"/>
                </a:cubicBezTo>
                <a:close/>
                <a:moveTo>
                  <a:pt x="923681" y="75518"/>
                </a:moveTo>
                <a:cubicBezTo>
                  <a:pt x="924043" y="75518"/>
                  <a:pt x="924043" y="75518"/>
                  <a:pt x="924043" y="75880"/>
                </a:cubicBezTo>
                <a:cubicBezTo>
                  <a:pt x="924043" y="76242"/>
                  <a:pt x="923681" y="76242"/>
                  <a:pt x="923681" y="76242"/>
                </a:cubicBezTo>
                <a:cubicBezTo>
                  <a:pt x="923319" y="76242"/>
                  <a:pt x="923319" y="76242"/>
                  <a:pt x="923319" y="75880"/>
                </a:cubicBezTo>
                <a:cubicBezTo>
                  <a:pt x="923319" y="75518"/>
                  <a:pt x="923319" y="75518"/>
                  <a:pt x="923681" y="75518"/>
                </a:cubicBezTo>
                <a:close/>
                <a:moveTo>
                  <a:pt x="462205" y="75518"/>
                </a:moveTo>
                <a:cubicBezTo>
                  <a:pt x="462567" y="75518"/>
                  <a:pt x="462567" y="75518"/>
                  <a:pt x="462567" y="75880"/>
                </a:cubicBezTo>
                <a:cubicBezTo>
                  <a:pt x="462567" y="76242"/>
                  <a:pt x="462205" y="76242"/>
                  <a:pt x="462205" y="76242"/>
                </a:cubicBezTo>
                <a:cubicBezTo>
                  <a:pt x="461842" y="76242"/>
                  <a:pt x="461842" y="76242"/>
                  <a:pt x="461842" y="75880"/>
                </a:cubicBezTo>
                <a:cubicBezTo>
                  <a:pt x="461842" y="75518"/>
                  <a:pt x="461842" y="75518"/>
                  <a:pt x="462205" y="75518"/>
                </a:cubicBezTo>
                <a:close/>
                <a:moveTo>
                  <a:pt x="308257" y="75518"/>
                </a:moveTo>
                <a:cubicBezTo>
                  <a:pt x="308619" y="75518"/>
                  <a:pt x="308619" y="75518"/>
                  <a:pt x="308619" y="75880"/>
                </a:cubicBezTo>
                <a:cubicBezTo>
                  <a:pt x="308619" y="76242"/>
                  <a:pt x="308257" y="76242"/>
                  <a:pt x="308257" y="76242"/>
                </a:cubicBezTo>
                <a:cubicBezTo>
                  <a:pt x="307895" y="76242"/>
                  <a:pt x="307895" y="76242"/>
                  <a:pt x="307895" y="75880"/>
                </a:cubicBezTo>
                <a:cubicBezTo>
                  <a:pt x="307895" y="75518"/>
                  <a:pt x="307895" y="75518"/>
                  <a:pt x="308257" y="75518"/>
                </a:cubicBezTo>
                <a:close/>
                <a:moveTo>
                  <a:pt x="154676" y="75155"/>
                </a:moveTo>
                <a:cubicBezTo>
                  <a:pt x="155076" y="75155"/>
                  <a:pt x="155400" y="75480"/>
                  <a:pt x="155400" y="75880"/>
                </a:cubicBezTo>
                <a:cubicBezTo>
                  <a:pt x="155400" y="76284"/>
                  <a:pt x="155076" y="76608"/>
                  <a:pt x="154676" y="76608"/>
                </a:cubicBezTo>
                <a:cubicBezTo>
                  <a:pt x="154272" y="76608"/>
                  <a:pt x="153948" y="76284"/>
                  <a:pt x="153948" y="75880"/>
                </a:cubicBezTo>
                <a:cubicBezTo>
                  <a:pt x="153948" y="75480"/>
                  <a:pt x="154272" y="75155"/>
                  <a:pt x="154676" y="75155"/>
                </a:cubicBezTo>
                <a:close/>
                <a:moveTo>
                  <a:pt x="725" y="75155"/>
                </a:moveTo>
                <a:cubicBezTo>
                  <a:pt x="1090" y="75155"/>
                  <a:pt x="1453" y="75518"/>
                  <a:pt x="1453" y="75880"/>
                </a:cubicBezTo>
                <a:cubicBezTo>
                  <a:pt x="1453" y="76246"/>
                  <a:pt x="725" y="76608"/>
                  <a:pt x="725" y="76608"/>
                </a:cubicBezTo>
                <a:cubicBezTo>
                  <a:pt x="362" y="76608"/>
                  <a:pt x="0" y="76246"/>
                  <a:pt x="0" y="75880"/>
                </a:cubicBezTo>
                <a:cubicBezTo>
                  <a:pt x="0" y="75518"/>
                  <a:pt x="362" y="75155"/>
                  <a:pt x="725" y="75155"/>
                </a:cubicBezTo>
                <a:close/>
                <a:moveTo>
                  <a:pt x="1077266" y="74431"/>
                </a:moveTo>
                <a:cubicBezTo>
                  <a:pt x="1078067" y="74431"/>
                  <a:pt x="1078718" y="75083"/>
                  <a:pt x="1078718" y="75884"/>
                </a:cubicBezTo>
                <a:cubicBezTo>
                  <a:pt x="1078718" y="76684"/>
                  <a:pt x="1078067" y="77336"/>
                  <a:pt x="1077266" y="77336"/>
                </a:cubicBezTo>
                <a:cubicBezTo>
                  <a:pt x="1076462" y="77336"/>
                  <a:pt x="1075814" y="76684"/>
                  <a:pt x="1075814" y="75884"/>
                </a:cubicBezTo>
                <a:cubicBezTo>
                  <a:pt x="1075814" y="75083"/>
                  <a:pt x="1076462" y="74431"/>
                  <a:pt x="1077266" y="74431"/>
                </a:cubicBezTo>
                <a:close/>
                <a:moveTo>
                  <a:pt x="1231217" y="73703"/>
                </a:moveTo>
                <a:cubicBezTo>
                  <a:pt x="1232418" y="73703"/>
                  <a:pt x="1233394" y="74679"/>
                  <a:pt x="1233394" y="75880"/>
                </a:cubicBezTo>
                <a:cubicBezTo>
                  <a:pt x="1233394" y="77084"/>
                  <a:pt x="1232418" y="78060"/>
                  <a:pt x="1231217" y="78060"/>
                </a:cubicBezTo>
                <a:cubicBezTo>
                  <a:pt x="1230013" y="78060"/>
                  <a:pt x="1229037" y="77084"/>
                  <a:pt x="1229037" y="75880"/>
                </a:cubicBezTo>
                <a:cubicBezTo>
                  <a:pt x="1229037" y="74679"/>
                  <a:pt x="1230013" y="73703"/>
                  <a:pt x="1231217" y="73703"/>
                </a:cubicBezTo>
                <a:close/>
                <a:moveTo>
                  <a:pt x="1384799" y="72617"/>
                </a:moveTo>
                <a:cubicBezTo>
                  <a:pt x="1386617" y="72617"/>
                  <a:pt x="1388069" y="74069"/>
                  <a:pt x="1388069" y="75884"/>
                </a:cubicBezTo>
                <a:cubicBezTo>
                  <a:pt x="1388069" y="77702"/>
                  <a:pt x="1386617" y="79154"/>
                  <a:pt x="1384799" y="79154"/>
                </a:cubicBezTo>
                <a:cubicBezTo>
                  <a:pt x="1382984" y="79154"/>
                  <a:pt x="1381532" y="77702"/>
                  <a:pt x="1381532" y="75884"/>
                </a:cubicBezTo>
                <a:cubicBezTo>
                  <a:pt x="1381532" y="74069"/>
                  <a:pt x="1382984" y="72617"/>
                  <a:pt x="1384799" y="72617"/>
                </a:cubicBezTo>
                <a:close/>
                <a:moveTo>
                  <a:pt x="1538746" y="71527"/>
                </a:moveTo>
                <a:cubicBezTo>
                  <a:pt x="1541285" y="71527"/>
                  <a:pt x="1543103" y="73341"/>
                  <a:pt x="1543103" y="75884"/>
                </a:cubicBezTo>
                <a:cubicBezTo>
                  <a:pt x="1543103" y="78426"/>
                  <a:pt x="1540923" y="80241"/>
                  <a:pt x="1538746" y="80241"/>
                </a:cubicBezTo>
                <a:cubicBezTo>
                  <a:pt x="1536204" y="80241"/>
                  <a:pt x="1534389" y="78426"/>
                  <a:pt x="1534389" y="75884"/>
                </a:cubicBezTo>
                <a:cubicBezTo>
                  <a:pt x="1534389" y="73341"/>
                  <a:pt x="1536204" y="71527"/>
                  <a:pt x="1538746" y="71527"/>
                </a:cubicBezTo>
                <a:close/>
                <a:moveTo>
                  <a:pt x="1692331" y="70074"/>
                </a:moveTo>
                <a:cubicBezTo>
                  <a:pt x="1695541" y="70074"/>
                  <a:pt x="1698141" y="72674"/>
                  <a:pt x="1698141" y="75884"/>
                </a:cubicBezTo>
                <a:cubicBezTo>
                  <a:pt x="1698141" y="79093"/>
                  <a:pt x="1695541" y="81693"/>
                  <a:pt x="1692331" y="81693"/>
                </a:cubicBezTo>
                <a:cubicBezTo>
                  <a:pt x="1689122" y="81693"/>
                  <a:pt x="1686522" y="79093"/>
                  <a:pt x="1686522" y="75884"/>
                </a:cubicBezTo>
                <a:cubicBezTo>
                  <a:pt x="1686522" y="72674"/>
                  <a:pt x="1689122" y="70074"/>
                  <a:pt x="1692331" y="70074"/>
                </a:cubicBezTo>
                <a:close/>
                <a:moveTo>
                  <a:pt x="1846279" y="68622"/>
                </a:moveTo>
                <a:cubicBezTo>
                  <a:pt x="1850274" y="68622"/>
                  <a:pt x="1853540" y="71889"/>
                  <a:pt x="1853540" y="75884"/>
                </a:cubicBezTo>
                <a:cubicBezTo>
                  <a:pt x="1853540" y="79879"/>
                  <a:pt x="1850274" y="83145"/>
                  <a:pt x="1846279" y="83145"/>
                </a:cubicBezTo>
                <a:cubicBezTo>
                  <a:pt x="1842284" y="83145"/>
                  <a:pt x="1839017" y="79879"/>
                  <a:pt x="1839017" y="75884"/>
                </a:cubicBezTo>
                <a:cubicBezTo>
                  <a:pt x="1839017" y="71889"/>
                  <a:pt x="1842284" y="68622"/>
                  <a:pt x="1846279" y="68622"/>
                </a:cubicBezTo>
                <a:close/>
                <a:moveTo>
                  <a:pt x="1999860" y="66807"/>
                </a:moveTo>
                <a:cubicBezTo>
                  <a:pt x="2004945" y="66807"/>
                  <a:pt x="2008940" y="70802"/>
                  <a:pt x="2008940" y="75884"/>
                </a:cubicBezTo>
                <a:cubicBezTo>
                  <a:pt x="2008940" y="80969"/>
                  <a:pt x="2004945" y="84960"/>
                  <a:pt x="1999860" y="84960"/>
                </a:cubicBezTo>
                <a:cubicBezTo>
                  <a:pt x="1994779" y="84960"/>
                  <a:pt x="1990784" y="80969"/>
                  <a:pt x="1990784" y="75884"/>
                </a:cubicBezTo>
                <a:cubicBezTo>
                  <a:pt x="1990784" y="70802"/>
                  <a:pt x="1994779" y="66807"/>
                  <a:pt x="1999860" y="66807"/>
                </a:cubicBezTo>
                <a:close/>
                <a:moveTo>
                  <a:pt x="2153811" y="65717"/>
                </a:moveTo>
                <a:cubicBezTo>
                  <a:pt x="2159259" y="65717"/>
                  <a:pt x="2163978" y="70436"/>
                  <a:pt x="2163978" y="75884"/>
                </a:cubicBezTo>
                <a:cubicBezTo>
                  <a:pt x="2163978" y="81331"/>
                  <a:pt x="2159621" y="86050"/>
                  <a:pt x="2153811" y="86050"/>
                </a:cubicBezTo>
                <a:cubicBezTo>
                  <a:pt x="2148364" y="86050"/>
                  <a:pt x="2143645" y="81331"/>
                  <a:pt x="2143645" y="75884"/>
                </a:cubicBezTo>
                <a:cubicBezTo>
                  <a:pt x="2143645" y="70436"/>
                  <a:pt x="2148364" y="65717"/>
                  <a:pt x="2153811" y="65717"/>
                </a:cubicBezTo>
                <a:close/>
                <a:moveTo>
                  <a:pt x="2307393" y="63899"/>
                </a:moveTo>
                <a:cubicBezTo>
                  <a:pt x="2313930" y="63899"/>
                  <a:pt x="2319377" y="69346"/>
                  <a:pt x="2319377" y="75880"/>
                </a:cubicBezTo>
                <a:cubicBezTo>
                  <a:pt x="2319377" y="82417"/>
                  <a:pt x="2313930" y="87864"/>
                  <a:pt x="2307393" y="87864"/>
                </a:cubicBezTo>
                <a:cubicBezTo>
                  <a:pt x="2300859" y="87864"/>
                  <a:pt x="2295412" y="82417"/>
                  <a:pt x="2295412" y="75880"/>
                </a:cubicBezTo>
                <a:cubicBezTo>
                  <a:pt x="2295412" y="69346"/>
                  <a:pt x="2300859" y="63899"/>
                  <a:pt x="2307393" y="63899"/>
                </a:cubicBezTo>
                <a:close/>
                <a:moveTo>
                  <a:pt x="2461344" y="62085"/>
                </a:moveTo>
                <a:cubicBezTo>
                  <a:pt x="2468968" y="62085"/>
                  <a:pt x="2475139" y="68256"/>
                  <a:pt x="2475139" y="75880"/>
                </a:cubicBezTo>
                <a:cubicBezTo>
                  <a:pt x="2475139" y="83507"/>
                  <a:pt x="2468968" y="89679"/>
                  <a:pt x="2461344" y="89679"/>
                </a:cubicBezTo>
                <a:cubicBezTo>
                  <a:pt x="2453716" y="89679"/>
                  <a:pt x="2447545" y="83507"/>
                  <a:pt x="2447545" y="75880"/>
                </a:cubicBezTo>
                <a:cubicBezTo>
                  <a:pt x="2447545" y="68256"/>
                  <a:pt x="2453716" y="62085"/>
                  <a:pt x="2461344" y="62085"/>
                </a:cubicBezTo>
                <a:close/>
                <a:moveTo>
                  <a:pt x="2614925" y="60632"/>
                </a:moveTo>
                <a:cubicBezTo>
                  <a:pt x="2623350" y="60632"/>
                  <a:pt x="2630177" y="67459"/>
                  <a:pt x="2630177" y="75880"/>
                </a:cubicBezTo>
                <a:cubicBezTo>
                  <a:pt x="2630177" y="84304"/>
                  <a:pt x="2623350" y="91131"/>
                  <a:pt x="2614925" y="91131"/>
                </a:cubicBezTo>
                <a:cubicBezTo>
                  <a:pt x="2606505" y="91131"/>
                  <a:pt x="2599678" y="84304"/>
                  <a:pt x="2599678" y="75880"/>
                </a:cubicBezTo>
                <a:cubicBezTo>
                  <a:pt x="2599678" y="67459"/>
                  <a:pt x="2606505" y="60632"/>
                  <a:pt x="2614925" y="60632"/>
                </a:cubicBezTo>
                <a:close/>
                <a:moveTo>
                  <a:pt x="2768873" y="58818"/>
                </a:moveTo>
                <a:cubicBezTo>
                  <a:pt x="2778311" y="58818"/>
                  <a:pt x="2785939" y="66442"/>
                  <a:pt x="2785939" y="75884"/>
                </a:cubicBezTo>
                <a:cubicBezTo>
                  <a:pt x="2785939" y="85322"/>
                  <a:pt x="2778311" y="92946"/>
                  <a:pt x="2768873" y="92946"/>
                </a:cubicBezTo>
                <a:cubicBezTo>
                  <a:pt x="2759431" y="92946"/>
                  <a:pt x="2751807" y="85322"/>
                  <a:pt x="2751807" y="75884"/>
                </a:cubicBezTo>
                <a:cubicBezTo>
                  <a:pt x="2751807" y="66442"/>
                  <a:pt x="2759431" y="58818"/>
                  <a:pt x="2768873" y="58818"/>
                </a:cubicBezTo>
                <a:close/>
                <a:moveTo>
                  <a:pt x="2922458" y="56641"/>
                </a:moveTo>
                <a:cubicBezTo>
                  <a:pt x="2933086" y="56641"/>
                  <a:pt x="2941700" y="65256"/>
                  <a:pt x="2941700" y="75884"/>
                </a:cubicBezTo>
                <a:cubicBezTo>
                  <a:pt x="2941700" y="86511"/>
                  <a:pt x="2933086" y="95126"/>
                  <a:pt x="2922458" y="95126"/>
                </a:cubicBezTo>
                <a:cubicBezTo>
                  <a:pt x="2911830" y="95126"/>
                  <a:pt x="2903216" y="86511"/>
                  <a:pt x="2903216" y="75884"/>
                </a:cubicBezTo>
                <a:cubicBezTo>
                  <a:pt x="2903216" y="65256"/>
                  <a:pt x="2911830" y="56641"/>
                  <a:pt x="2922458" y="56641"/>
                </a:cubicBezTo>
                <a:close/>
                <a:moveTo>
                  <a:pt x="3076406" y="54461"/>
                </a:moveTo>
                <a:cubicBezTo>
                  <a:pt x="3088234" y="54461"/>
                  <a:pt x="3097828" y="64051"/>
                  <a:pt x="3097828" y="75884"/>
                </a:cubicBezTo>
                <a:cubicBezTo>
                  <a:pt x="3097828" y="87712"/>
                  <a:pt x="3088234" y="97303"/>
                  <a:pt x="3076406" y="97303"/>
                </a:cubicBezTo>
                <a:cubicBezTo>
                  <a:pt x="3064573" y="97303"/>
                  <a:pt x="3054982" y="87712"/>
                  <a:pt x="3054982" y="75884"/>
                </a:cubicBezTo>
                <a:cubicBezTo>
                  <a:pt x="3054982" y="64051"/>
                  <a:pt x="3064573" y="54461"/>
                  <a:pt x="3076406" y="54461"/>
                </a:cubicBezTo>
                <a:close/>
                <a:moveTo>
                  <a:pt x="3230353" y="53008"/>
                </a:moveTo>
                <a:cubicBezTo>
                  <a:pt x="3242986" y="53008"/>
                  <a:pt x="3253228" y="63251"/>
                  <a:pt x="3253228" y="75884"/>
                </a:cubicBezTo>
                <a:cubicBezTo>
                  <a:pt x="3253228" y="88516"/>
                  <a:pt x="3242986" y="98759"/>
                  <a:pt x="3230353" y="98759"/>
                </a:cubicBezTo>
                <a:cubicBezTo>
                  <a:pt x="3217720" y="98759"/>
                  <a:pt x="3207478" y="88516"/>
                  <a:pt x="3207478" y="75884"/>
                </a:cubicBezTo>
                <a:cubicBezTo>
                  <a:pt x="3207478" y="63251"/>
                  <a:pt x="3217720" y="53008"/>
                  <a:pt x="3230353" y="53008"/>
                </a:cubicBezTo>
                <a:close/>
                <a:moveTo>
                  <a:pt x="3383934" y="50832"/>
                </a:moveTo>
                <a:cubicBezTo>
                  <a:pt x="3397772" y="50832"/>
                  <a:pt x="3408986" y="62046"/>
                  <a:pt x="3408986" y="75884"/>
                </a:cubicBezTo>
                <a:cubicBezTo>
                  <a:pt x="3408986" y="89721"/>
                  <a:pt x="3397772" y="100939"/>
                  <a:pt x="3383934" y="100939"/>
                </a:cubicBezTo>
                <a:cubicBezTo>
                  <a:pt x="3370097" y="100939"/>
                  <a:pt x="3358882" y="89721"/>
                  <a:pt x="3358882" y="75884"/>
                </a:cubicBezTo>
                <a:cubicBezTo>
                  <a:pt x="3358882" y="62046"/>
                  <a:pt x="3370097" y="50832"/>
                  <a:pt x="3383934" y="50832"/>
                </a:cubicBezTo>
                <a:close/>
                <a:moveTo>
                  <a:pt x="3537886" y="48651"/>
                </a:moveTo>
                <a:cubicBezTo>
                  <a:pt x="3552924" y="48651"/>
                  <a:pt x="3565118" y="60842"/>
                  <a:pt x="3565118" y="75884"/>
                </a:cubicBezTo>
                <a:cubicBezTo>
                  <a:pt x="3565118" y="90921"/>
                  <a:pt x="3552924" y="103112"/>
                  <a:pt x="3537886" y="103112"/>
                </a:cubicBezTo>
                <a:cubicBezTo>
                  <a:pt x="3522844" y="103112"/>
                  <a:pt x="3510653" y="90921"/>
                  <a:pt x="3510653" y="75884"/>
                </a:cubicBezTo>
                <a:cubicBezTo>
                  <a:pt x="3510653" y="60842"/>
                  <a:pt x="3522844" y="48651"/>
                  <a:pt x="3537886" y="48651"/>
                </a:cubicBezTo>
                <a:close/>
                <a:moveTo>
                  <a:pt x="3691467" y="46109"/>
                </a:moveTo>
                <a:cubicBezTo>
                  <a:pt x="3707912" y="46109"/>
                  <a:pt x="3721242" y="59439"/>
                  <a:pt x="3721242" y="75880"/>
                </a:cubicBezTo>
                <a:cubicBezTo>
                  <a:pt x="3721242" y="92324"/>
                  <a:pt x="3707912" y="105655"/>
                  <a:pt x="3691467" y="105655"/>
                </a:cubicBezTo>
                <a:cubicBezTo>
                  <a:pt x="3675026" y="105655"/>
                  <a:pt x="3661696" y="92324"/>
                  <a:pt x="3661696" y="75880"/>
                </a:cubicBezTo>
                <a:cubicBezTo>
                  <a:pt x="3661696" y="59439"/>
                  <a:pt x="3675026" y="46109"/>
                  <a:pt x="3691467" y="46109"/>
                </a:cubicBezTo>
                <a:close/>
                <a:moveTo>
                  <a:pt x="3845414" y="43932"/>
                </a:moveTo>
                <a:cubicBezTo>
                  <a:pt x="3863060" y="43932"/>
                  <a:pt x="3877366" y="58238"/>
                  <a:pt x="3877366" y="75884"/>
                </a:cubicBezTo>
                <a:cubicBezTo>
                  <a:pt x="3877366" y="93529"/>
                  <a:pt x="3863060" y="107835"/>
                  <a:pt x="3845414" y="107835"/>
                </a:cubicBezTo>
                <a:cubicBezTo>
                  <a:pt x="3827769" y="107835"/>
                  <a:pt x="3813463" y="93529"/>
                  <a:pt x="3813463" y="75884"/>
                </a:cubicBezTo>
                <a:cubicBezTo>
                  <a:pt x="3813463" y="58238"/>
                  <a:pt x="3827769" y="43932"/>
                  <a:pt x="3845414" y="43932"/>
                </a:cubicBezTo>
                <a:close/>
                <a:moveTo>
                  <a:pt x="3999000" y="42118"/>
                </a:moveTo>
                <a:cubicBezTo>
                  <a:pt x="4017651" y="42118"/>
                  <a:pt x="4032769" y="57236"/>
                  <a:pt x="4032769" y="75884"/>
                </a:cubicBezTo>
                <a:cubicBezTo>
                  <a:pt x="4032769" y="94535"/>
                  <a:pt x="4017651" y="109653"/>
                  <a:pt x="3999000" y="109653"/>
                </a:cubicBezTo>
                <a:cubicBezTo>
                  <a:pt x="3980352" y="109653"/>
                  <a:pt x="3965234" y="94535"/>
                  <a:pt x="3965234" y="75884"/>
                </a:cubicBezTo>
                <a:cubicBezTo>
                  <a:pt x="3965234" y="57236"/>
                  <a:pt x="3980352" y="42118"/>
                  <a:pt x="3999000" y="42118"/>
                </a:cubicBezTo>
                <a:close/>
                <a:moveTo>
                  <a:pt x="4152947" y="39575"/>
                </a:moveTo>
                <a:cubicBezTo>
                  <a:pt x="4173002" y="39575"/>
                  <a:pt x="4189256" y="55829"/>
                  <a:pt x="4189256" y="75884"/>
                </a:cubicBezTo>
                <a:cubicBezTo>
                  <a:pt x="4189256" y="95938"/>
                  <a:pt x="4173002" y="112192"/>
                  <a:pt x="4152947" y="112192"/>
                </a:cubicBezTo>
                <a:cubicBezTo>
                  <a:pt x="4132896" y="112192"/>
                  <a:pt x="4116638" y="95938"/>
                  <a:pt x="4116638" y="75884"/>
                </a:cubicBezTo>
                <a:cubicBezTo>
                  <a:pt x="4116638" y="55829"/>
                  <a:pt x="4132896" y="39575"/>
                  <a:pt x="4152947" y="39575"/>
                </a:cubicBezTo>
                <a:close/>
                <a:moveTo>
                  <a:pt x="4306532" y="37033"/>
                </a:moveTo>
                <a:cubicBezTo>
                  <a:pt x="4327952" y="37033"/>
                  <a:pt x="4345380" y="54461"/>
                  <a:pt x="4345380" y="75884"/>
                </a:cubicBezTo>
                <a:cubicBezTo>
                  <a:pt x="4345380" y="97306"/>
                  <a:pt x="4327952" y="114735"/>
                  <a:pt x="4306532" y="114735"/>
                </a:cubicBezTo>
                <a:cubicBezTo>
                  <a:pt x="4285110" y="114735"/>
                  <a:pt x="4267682" y="97306"/>
                  <a:pt x="4267682" y="75884"/>
                </a:cubicBezTo>
                <a:cubicBezTo>
                  <a:pt x="4267682" y="54461"/>
                  <a:pt x="4285110" y="37033"/>
                  <a:pt x="4306532" y="37033"/>
                </a:cubicBezTo>
                <a:close/>
                <a:moveTo>
                  <a:pt x="4460480" y="34852"/>
                </a:moveTo>
                <a:cubicBezTo>
                  <a:pt x="4483355" y="34852"/>
                  <a:pt x="4501511" y="53008"/>
                  <a:pt x="4501511" y="75880"/>
                </a:cubicBezTo>
                <a:cubicBezTo>
                  <a:pt x="4501511" y="98755"/>
                  <a:pt x="4482993" y="116911"/>
                  <a:pt x="4460480" y="116911"/>
                </a:cubicBezTo>
                <a:cubicBezTo>
                  <a:pt x="4437608" y="116911"/>
                  <a:pt x="4419452" y="98755"/>
                  <a:pt x="4419452" y="75880"/>
                </a:cubicBezTo>
                <a:cubicBezTo>
                  <a:pt x="4419452" y="53008"/>
                  <a:pt x="4437608" y="34852"/>
                  <a:pt x="4460480" y="34852"/>
                </a:cubicBezTo>
                <a:close/>
                <a:moveTo>
                  <a:pt x="4614065" y="32314"/>
                </a:moveTo>
                <a:cubicBezTo>
                  <a:pt x="4638026" y="32314"/>
                  <a:pt x="4657635" y="51918"/>
                  <a:pt x="4657635" y="75884"/>
                </a:cubicBezTo>
                <a:cubicBezTo>
                  <a:pt x="4657635" y="99849"/>
                  <a:pt x="4638026" y="119454"/>
                  <a:pt x="4614065" y="119454"/>
                </a:cubicBezTo>
                <a:cubicBezTo>
                  <a:pt x="4590100" y="119454"/>
                  <a:pt x="4570495" y="99849"/>
                  <a:pt x="4570495" y="75884"/>
                </a:cubicBezTo>
                <a:cubicBezTo>
                  <a:pt x="4570495" y="51918"/>
                  <a:pt x="4590100" y="32314"/>
                  <a:pt x="4614065" y="32314"/>
                </a:cubicBezTo>
                <a:close/>
                <a:moveTo>
                  <a:pt x="4768012" y="29771"/>
                </a:moveTo>
                <a:cubicBezTo>
                  <a:pt x="4793426" y="29771"/>
                  <a:pt x="4814125" y="50466"/>
                  <a:pt x="4814125" y="75884"/>
                </a:cubicBezTo>
                <a:cubicBezTo>
                  <a:pt x="4814125" y="101298"/>
                  <a:pt x="4793426" y="121996"/>
                  <a:pt x="4768012" y="121996"/>
                </a:cubicBezTo>
                <a:cubicBezTo>
                  <a:pt x="4742594" y="121996"/>
                  <a:pt x="4721900" y="101298"/>
                  <a:pt x="4721900" y="75884"/>
                </a:cubicBezTo>
                <a:cubicBezTo>
                  <a:pt x="4721900" y="50466"/>
                  <a:pt x="4742594" y="29771"/>
                  <a:pt x="4768012" y="29771"/>
                </a:cubicBezTo>
                <a:close/>
                <a:moveTo>
                  <a:pt x="4921594" y="27228"/>
                </a:moveTo>
                <a:cubicBezTo>
                  <a:pt x="4948464" y="27228"/>
                  <a:pt x="4970249" y="49014"/>
                  <a:pt x="4970249" y="75880"/>
                </a:cubicBezTo>
                <a:cubicBezTo>
                  <a:pt x="4970249" y="102750"/>
                  <a:pt x="4948464" y="124535"/>
                  <a:pt x="4921594" y="124535"/>
                </a:cubicBezTo>
                <a:cubicBezTo>
                  <a:pt x="4894728" y="124535"/>
                  <a:pt x="4872942" y="102750"/>
                  <a:pt x="4872942" y="75880"/>
                </a:cubicBezTo>
                <a:cubicBezTo>
                  <a:pt x="4872942" y="49014"/>
                  <a:pt x="4894728" y="27228"/>
                  <a:pt x="4921594" y="27228"/>
                </a:cubicBezTo>
                <a:close/>
                <a:moveTo>
                  <a:pt x="5075541" y="24690"/>
                </a:moveTo>
                <a:cubicBezTo>
                  <a:pt x="5103864" y="24690"/>
                  <a:pt x="5126735" y="47565"/>
                  <a:pt x="5126735" y="75884"/>
                </a:cubicBezTo>
                <a:cubicBezTo>
                  <a:pt x="5126735" y="104206"/>
                  <a:pt x="5103864" y="127081"/>
                  <a:pt x="5075541" y="127081"/>
                </a:cubicBezTo>
                <a:cubicBezTo>
                  <a:pt x="5047222" y="127081"/>
                  <a:pt x="5024348" y="104206"/>
                  <a:pt x="5024348" y="75884"/>
                </a:cubicBezTo>
                <a:cubicBezTo>
                  <a:pt x="5024348" y="47565"/>
                  <a:pt x="5047222" y="24690"/>
                  <a:pt x="5075541" y="24690"/>
                </a:cubicBezTo>
                <a:close/>
                <a:moveTo>
                  <a:pt x="5229126" y="22509"/>
                </a:moveTo>
                <a:cubicBezTo>
                  <a:pt x="5258536" y="22509"/>
                  <a:pt x="5282500" y="46471"/>
                  <a:pt x="5282500" y="75884"/>
                </a:cubicBezTo>
                <a:cubicBezTo>
                  <a:pt x="5282500" y="105292"/>
                  <a:pt x="5258536" y="129258"/>
                  <a:pt x="5229126" y="129258"/>
                </a:cubicBezTo>
                <a:cubicBezTo>
                  <a:pt x="5199718" y="129258"/>
                  <a:pt x="5175752" y="105292"/>
                  <a:pt x="5175752" y="75884"/>
                </a:cubicBezTo>
                <a:cubicBezTo>
                  <a:pt x="5175752" y="46471"/>
                  <a:pt x="5199718" y="22509"/>
                  <a:pt x="5229126" y="22509"/>
                </a:cubicBezTo>
                <a:close/>
                <a:moveTo>
                  <a:pt x="5383074" y="19605"/>
                </a:moveTo>
                <a:cubicBezTo>
                  <a:pt x="5414297" y="19605"/>
                  <a:pt x="5439352" y="44657"/>
                  <a:pt x="5439352" y="75884"/>
                </a:cubicBezTo>
                <a:cubicBezTo>
                  <a:pt x="5439352" y="107107"/>
                  <a:pt x="5414297" y="132162"/>
                  <a:pt x="5383074" y="132162"/>
                </a:cubicBezTo>
                <a:cubicBezTo>
                  <a:pt x="5351847" y="132162"/>
                  <a:pt x="5326795" y="107107"/>
                  <a:pt x="5326795" y="75884"/>
                </a:cubicBezTo>
                <a:cubicBezTo>
                  <a:pt x="5326795" y="44657"/>
                  <a:pt x="5351847" y="19605"/>
                  <a:pt x="5383074" y="19605"/>
                </a:cubicBezTo>
                <a:close/>
                <a:moveTo>
                  <a:pt x="5536659" y="17062"/>
                </a:moveTo>
                <a:cubicBezTo>
                  <a:pt x="5569144" y="17062"/>
                  <a:pt x="5595476" y="43395"/>
                  <a:pt x="5595476" y="75880"/>
                </a:cubicBezTo>
                <a:cubicBezTo>
                  <a:pt x="5595476" y="108369"/>
                  <a:pt x="5569144" y="134701"/>
                  <a:pt x="5536659" y="134701"/>
                </a:cubicBezTo>
                <a:cubicBezTo>
                  <a:pt x="5504174" y="134701"/>
                  <a:pt x="5477838" y="108369"/>
                  <a:pt x="5477838" y="75880"/>
                </a:cubicBezTo>
                <a:cubicBezTo>
                  <a:pt x="5477838" y="43395"/>
                  <a:pt x="5504174" y="17062"/>
                  <a:pt x="5536659" y="17062"/>
                </a:cubicBezTo>
                <a:close/>
                <a:moveTo>
                  <a:pt x="5690606" y="14157"/>
                </a:moveTo>
                <a:cubicBezTo>
                  <a:pt x="5724734" y="14157"/>
                  <a:pt x="5752329" y="41752"/>
                  <a:pt x="5752329" y="75880"/>
                </a:cubicBezTo>
                <a:cubicBezTo>
                  <a:pt x="5752329" y="110012"/>
                  <a:pt x="5724734" y="137606"/>
                  <a:pt x="5690606" y="137606"/>
                </a:cubicBezTo>
                <a:cubicBezTo>
                  <a:pt x="5656475" y="137606"/>
                  <a:pt x="5628880" y="110012"/>
                  <a:pt x="5628880" y="75880"/>
                </a:cubicBezTo>
                <a:cubicBezTo>
                  <a:pt x="5628880" y="41752"/>
                  <a:pt x="5656475" y="14157"/>
                  <a:pt x="5690606" y="14157"/>
                </a:cubicBezTo>
                <a:close/>
                <a:moveTo>
                  <a:pt x="5844554" y="11619"/>
                </a:moveTo>
                <a:cubicBezTo>
                  <a:pt x="5880046" y="11619"/>
                  <a:pt x="5908822" y="40391"/>
                  <a:pt x="5908822" y="75884"/>
                </a:cubicBezTo>
                <a:cubicBezTo>
                  <a:pt x="5908822" y="111376"/>
                  <a:pt x="5880046" y="140152"/>
                  <a:pt x="5844554" y="140152"/>
                </a:cubicBezTo>
                <a:cubicBezTo>
                  <a:pt x="5809062" y="140152"/>
                  <a:pt x="5780289" y="111376"/>
                  <a:pt x="5780289" y="75884"/>
                </a:cubicBezTo>
                <a:cubicBezTo>
                  <a:pt x="5780289" y="40391"/>
                  <a:pt x="5809062" y="11619"/>
                  <a:pt x="5844554" y="11619"/>
                </a:cubicBezTo>
                <a:close/>
                <a:moveTo>
                  <a:pt x="5998136" y="8348"/>
                </a:moveTo>
                <a:cubicBezTo>
                  <a:pt x="6035435" y="8348"/>
                  <a:pt x="6065671" y="38584"/>
                  <a:pt x="6065671" y="75884"/>
                </a:cubicBezTo>
                <a:cubicBezTo>
                  <a:pt x="6065671" y="113179"/>
                  <a:pt x="6035435" y="143415"/>
                  <a:pt x="5998136" y="143415"/>
                </a:cubicBezTo>
                <a:cubicBezTo>
                  <a:pt x="5960840" y="143415"/>
                  <a:pt x="5930604" y="113179"/>
                  <a:pt x="5930604" y="75884"/>
                </a:cubicBezTo>
                <a:cubicBezTo>
                  <a:pt x="5930604" y="38584"/>
                  <a:pt x="5960840" y="8348"/>
                  <a:pt x="5998136" y="8348"/>
                </a:cubicBezTo>
                <a:close/>
                <a:moveTo>
                  <a:pt x="6152086" y="5809"/>
                </a:moveTo>
                <a:cubicBezTo>
                  <a:pt x="6190785" y="5809"/>
                  <a:pt x="6222160" y="37181"/>
                  <a:pt x="6222160" y="75884"/>
                </a:cubicBezTo>
                <a:cubicBezTo>
                  <a:pt x="6222160" y="114586"/>
                  <a:pt x="6190785" y="145962"/>
                  <a:pt x="6152086" y="145962"/>
                </a:cubicBezTo>
                <a:cubicBezTo>
                  <a:pt x="6113384" y="145962"/>
                  <a:pt x="6082008" y="114586"/>
                  <a:pt x="6082008" y="75884"/>
                </a:cubicBezTo>
                <a:cubicBezTo>
                  <a:pt x="6082008" y="37181"/>
                  <a:pt x="6113384" y="5809"/>
                  <a:pt x="6152086" y="5809"/>
                </a:cubicBezTo>
                <a:close/>
                <a:moveTo>
                  <a:pt x="6305668" y="2905"/>
                </a:moveTo>
                <a:cubicBezTo>
                  <a:pt x="6345975" y="2905"/>
                  <a:pt x="6378650" y="35580"/>
                  <a:pt x="6378650" y="75884"/>
                </a:cubicBezTo>
                <a:cubicBezTo>
                  <a:pt x="6378650" y="116191"/>
                  <a:pt x="6345975" y="148866"/>
                  <a:pt x="6305668" y="148866"/>
                </a:cubicBezTo>
                <a:cubicBezTo>
                  <a:pt x="6265365" y="148866"/>
                  <a:pt x="6232689" y="116191"/>
                  <a:pt x="6232689" y="75884"/>
                </a:cubicBezTo>
                <a:cubicBezTo>
                  <a:pt x="6232689" y="35580"/>
                  <a:pt x="6265365" y="2905"/>
                  <a:pt x="6305668" y="2905"/>
                </a:cubicBezTo>
                <a:close/>
                <a:moveTo>
                  <a:pt x="6459616" y="362"/>
                </a:moveTo>
                <a:cubicBezTo>
                  <a:pt x="6501371" y="362"/>
                  <a:pt x="6535137" y="34128"/>
                  <a:pt x="6535137" y="75884"/>
                </a:cubicBezTo>
                <a:cubicBezTo>
                  <a:pt x="6535137" y="117639"/>
                  <a:pt x="6501371" y="151405"/>
                  <a:pt x="6459616" y="151405"/>
                </a:cubicBezTo>
                <a:cubicBezTo>
                  <a:pt x="6417860" y="151405"/>
                  <a:pt x="6384094" y="117639"/>
                  <a:pt x="6384094" y="75884"/>
                </a:cubicBezTo>
                <a:cubicBezTo>
                  <a:pt x="6384094" y="34128"/>
                  <a:pt x="6417860" y="362"/>
                  <a:pt x="6459616" y="362"/>
                </a:cubicBezTo>
                <a:close/>
                <a:moveTo>
                  <a:pt x="6613200" y="0"/>
                </a:moveTo>
                <a:cubicBezTo>
                  <a:pt x="6655112" y="0"/>
                  <a:pt x="6689088" y="33976"/>
                  <a:pt x="6689088" y="75884"/>
                </a:cubicBezTo>
                <a:cubicBezTo>
                  <a:pt x="6689088" y="117795"/>
                  <a:pt x="6655112" y="151771"/>
                  <a:pt x="6613200" y="151771"/>
                </a:cubicBezTo>
                <a:cubicBezTo>
                  <a:pt x="6571289" y="151771"/>
                  <a:pt x="6537317" y="117795"/>
                  <a:pt x="6537317" y="75884"/>
                </a:cubicBezTo>
                <a:cubicBezTo>
                  <a:pt x="6537317" y="33976"/>
                  <a:pt x="6571289" y="0"/>
                  <a:pt x="6613200" y="0"/>
                </a:cubicBezTo>
                <a:close/>
              </a:path>
            </a:pathLst>
          </a:custGeom>
          <a:gradFill>
            <a:gsLst>
              <a:gs pos="14000">
                <a:srgbClr val="243A5E">
                  <a:lumMod val="75000"/>
                </a:srgbClr>
              </a:gs>
              <a:gs pos="100000">
                <a:srgbClr val="0078D4"/>
              </a:gs>
            </a:gsLst>
            <a:lin ang="8100000" scaled="1"/>
          </a:gra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000000"/>
              </a:solidFill>
              <a:effectLst/>
              <a:uLnTx/>
              <a:uFillTx/>
            </a:endParaRPr>
          </a:p>
        </p:txBody>
      </p:sp>
      <p:sp>
        <p:nvSpPr>
          <p:cNvPr id="9" name="Title 1"/>
          <p:cNvSpPr>
            <a:spLocks noGrp="1"/>
          </p:cNvSpPr>
          <p:nvPr userDrawn="1">
            <p:ph type="title" hasCustomPrompt="1"/>
          </p:nvPr>
        </p:nvSpPr>
        <p:spPr>
          <a:xfrm>
            <a:off x="584200" y="5526354"/>
            <a:ext cx="9144000" cy="553998"/>
          </a:xfrm>
          <a:noFill/>
        </p:spPr>
        <p:txBody>
          <a:bodyPr lIns="0" tIns="0" rIns="0" bIns="0" anchor="b" anchorCtr="0">
            <a:spAutoFit/>
          </a:bodyPr>
          <a:lstStyle>
            <a:lvl1pPr algn="l" defTabSz="932742" rtl="0" eaLnBrk="1" latinLnBrk="0" hangingPunct="1">
              <a:lnSpc>
                <a:spcPct val="100000"/>
              </a:lnSpc>
              <a:spcBef>
                <a:spcPct val="0"/>
              </a:spcBef>
              <a:buNone/>
              <a:defRPr lang="en-US" sz="3600" b="0" kern="1200" cap="all" spc="300" baseline="0" dirty="0">
                <a:ln w="3175">
                  <a:noFill/>
                </a:ln>
                <a:gradFill flip="none" rotWithShape="1">
                  <a:gsLst>
                    <a:gs pos="22000">
                      <a:schemeClr val="accent1">
                        <a:lumMod val="60000"/>
                        <a:lumOff val="40000"/>
                      </a:schemeClr>
                    </a:gs>
                    <a:gs pos="100000">
                      <a:schemeClr val="accent3"/>
                    </a:gs>
                  </a:gsLst>
                  <a:lin ang="5400000" scaled="1"/>
                  <a:tileRect/>
                </a:gradFill>
                <a:effectLst/>
                <a:latin typeface="+mj-lt"/>
                <a:ea typeface="+mn-ea"/>
                <a:cs typeface="Segoe UI" panose="020B0502040204020203" pitchFamily="34" charset="0"/>
              </a:defRPr>
            </a:lvl1pPr>
          </a:lstStyle>
          <a:p>
            <a:r>
              <a:rPr lang="en-US"/>
              <a:t>Thank you</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p:nvPicPr>
        <p:blipFill>
          <a:blip r:embed="rId3"/>
          <a:stretch>
            <a:fillRect/>
          </a:stretch>
        </p:blipFill>
        <p:spPr bwMode="black">
          <a:xfrm>
            <a:off x="584200" y="585788"/>
            <a:ext cx="1366245" cy="292608"/>
          </a:xfrm>
          <a:prstGeom prst="rect">
            <a:avLst/>
          </a:prstGeom>
        </p:spPr>
      </p:pic>
      <p:sp>
        <p:nvSpPr>
          <p:cNvPr id="8" name="Freeform: Shape 7">
            <a:extLst>
              <a:ext uri="{FF2B5EF4-FFF2-40B4-BE49-F238E27FC236}">
                <a16:creationId xmlns:a16="http://schemas.microsoft.com/office/drawing/2014/main" id="{28A0E78E-13CA-1E71-A8D9-67FEECDF1584}"/>
              </a:ext>
            </a:extLst>
          </p:cNvPr>
          <p:cNvSpPr/>
          <p:nvPr userDrawn="1"/>
        </p:nvSpPr>
        <p:spPr>
          <a:xfrm>
            <a:off x="1" y="28748"/>
            <a:ext cx="4716235" cy="4596459"/>
          </a:xfrm>
          <a:custGeom>
            <a:avLst/>
            <a:gdLst>
              <a:gd name="connsiteX0" fmla="*/ 1764776 w 4716235"/>
              <a:gd name="connsiteY0" fmla="*/ 4580106 h 4596459"/>
              <a:gd name="connsiteX1" fmla="*/ 1772869 w 4716235"/>
              <a:gd name="connsiteY1" fmla="*/ 4588035 h 4596459"/>
              <a:gd name="connsiteX2" fmla="*/ 1764776 w 4716235"/>
              <a:gd name="connsiteY2" fmla="*/ 4595963 h 4596459"/>
              <a:gd name="connsiteX3" fmla="*/ 1756847 w 4716235"/>
              <a:gd name="connsiteY3" fmla="*/ 4588035 h 4596459"/>
              <a:gd name="connsiteX4" fmla="*/ 1764776 w 4716235"/>
              <a:gd name="connsiteY4" fmla="*/ 4580106 h 4596459"/>
              <a:gd name="connsiteX5" fmla="*/ 1698042 w 4716235"/>
              <a:gd name="connsiteY5" fmla="*/ 4579447 h 4596459"/>
              <a:gd name="connsiteX6" fmla="*/ 1705475 w 4716235"/>
              <a:gd name="connsiteY6" fmla="*/ 4586880 h 4596459"/>
              <a:gd name="connsiteX7" fmla="*/ 1698042 w 4716235"/>
              <a:gd name="connsiteY7" fmla="*/ 4594312 h 4596459"/>
              <a:gd name="connsiteX8" fmla="*/ 1690610 w 4716235"/>
              <a:gd name="connsiteY8" fmla="*/ 4586880 h 4596459"/>
              <a:gd name="connsiteX9" fmla="*/ 1698042 w 4716235"/>
              <a:gd name="connsiteY9" fmla="*/ 4579447 h 4596459"/>
              <a:gd name="connsiteX10" fmla="*/ 1831509 w 4716235"/>
              <a:gd name="connsiteY10" fmla="*/ 4578951 h 4596459"/>
              <a:gd name="connsiteX11" fmla="*/ 1840263 w 4716235"/>
              <a:gd name="connsiteY11" fmla="*/ 4587705 h 4596459"/>
              <a:gd name="connsiteX12" fmla="*/ 1831509 w 4716235"/>
              <a:gd name="connsiteY12" fmla="*/ 4596459 h 4596459"/>
              <a:gd name="connsiteX13" fmla="*/ 1822755 w 4716235"/>
              <a:gd name="connsiteY13" fmla="*/ 4587705 h 4596459"/>
              <a:gd name="connsiteX14" fmla="*/ 1831509 w 4716235"/>
              <a:gd name="connsiteY14" fmla="*/ 4578951 h 4596459"/>
              <a:gd name="connsiteX15" fmla="*/ 1631476 w 4716235"/>
              <a:gd name="connsiteY15" fmla="*/ 4578290 h 4596459"/>
              <a:gd name="connsiteX16" fmla="*/ 1637916 w 4716235"/>
              <a:gd name="connsiteY16" fmla="*/ 4584733 h 4596459"/>
              <a:gd name="connsiteX17" fmla="*/ 1631476 w 4716235"/>
              <a:gd name="connsiteY17" fmla="*/ 4591173 h 4596459"/>
              <a:gd name="connsiteX18" fmla="*/ 1625033 w 4716235"/>
              <a:gd name="connsiteY18" fmla="*/ 4584733 h 4596459"/>
              <a:gd name="connsiteX19" fmla="*/ 1631476 w 4716235"/>
              <a:gd name="connsiteY19" fmla="*/ 4578290 h 4596459"/>
              <a:gd name="connsiteX20" fmla="*/ 1898077 w 4716235"/>
              <a:gd name="connsiteY20" fmla="*/ 4577298 h 4596459"/>
              <a:gd name="connsiteX21" fmla="*/ 1906833 w 4716235"/>
              <a:gd name="connsiteY21" fmla="*/ 4586052 h 4596459"/>
              <a:gd name="connsiteX22" fmla="*/ 1898077 w 4716235"/>
              <a:gd name="connsiteY22" fmla="*/ 4594808 h 4596459"/>
              <a:gd name="connsiteX23" fmla="*/ 1889323 w 4716235"/>
              <a:gd name="connsiteY23" fmla="*/ 4586052 h 4596459"/>
              <a:gd name="connsiteX24" fmla="*/ 1898077 w 4716235"/>
              <a:gd name="connsiteY24" fmla="*/ 4577298 h 4596459"/>
              <a:gd name="connsiteX25" fmla="*/ 1565072 w 4716235"/>
              <a:gd name="connsiteY25" fmla="*/ 4576308 h 4596459"/>
              <a:gd name="connsiteX26" fmla="*/ 1570191 w 4716235"/>
              <a:gd name="connsiteY26" fmla="*/ 4581429 h 4596459"/>
              <a:gd name="connsiteX27" fmla="*/ 1565072 w 4716235"/>
              <a:gd name="connsiteY27" fmla="*/ 4586548 h 4596459"/>
              <a:gd name="connsiteX28" fmla="*/ 1559951 w 4716235"/>
              <a:gd name="connsiteY28" fmla="*/ 4581429 h 4596459"/>
              <a:gd name="connsiteX29" fmla="*/ 1565072 w 4716235"/>
              <a:gd name="connsiteY29" fmla="*/ 4576308 h 4596459"/>
              <a:gd name="connsiteX30" fmla="*/ 1964644 w 4716235"/>
              <a:gd name="connsiteY30" fmla="*/ 4574326 h 4596459"/>
              <a:gd name="connsiteX31" fmla="*/ 1973400 w 4716235"/>
              <a:gd name="connsiteY31" fmla="*/ 4583080 h 4596459"/>
              <a:gd name="connsiteX32" fmla="*/ 1964644 w 4716235"/>
              <a:gd name="connsiteY32" fmla="*/ 4591836 h 4596459"/>
              <a:gd name="connsiteX33" fmla="*/ 1955890 w 4716235"/>
              <a:gd name="connsiteY33" fmla="*/ 4583080 h 4596459"/>
              <a:gd name="connsiteX34" fmla="*/ 1964644 w 4716235"/>
              <a:gd name="connsiteY34" fmla="*/ 4574326 h 4596459"/>
              <a:gd name="connsiteX35" fmla="*/ 1498998 w 4716235"/>
              <a:gd name="connsiteY35" fmla="*/ 4573004 h 4596459"/>
              <a:gd name="connsiteX36" fmla="*/ 1502632 w 4716235"/>
              <a:gd name="connsiteY36" fmla="*/ 4576637 h 4596459"/>
              <a:gd name="connsiteX37" fmla="*/ 1498998 w 4716235"/>
              <a:gd name="connsiteY37" fmla="*/ 4580272 h 4596459"/>
              <a:gd name="connsiteX38" fmla="*/ 1495364 w 4716235"/>
              <a:gd name="connsiteY38" fmla="*/ 4576637 h 4596459"/>
              <a:gd name="connsiteX39" fmla="*/ 1498998 w 4716235"/>
              <a:gd name="connsiteY39" fmla="*/ 4573004 h 4596459"/>
              <a:gd name="connsiteX40" fmla="*/ 2030881 w 4716235"/>
              <a:gd name="connsiteY40" fmla="*/ 4570197 h 4596459"/>
              <a:gd name="connsiteX41" fmla="*/ 2039636 w 4716235"/>
              <a:gd name="connsiteY41" fmla="*/ 4578951 h 4596459"/>
              <a:gd name="connsiteX42" fmla="*/ 2030881 w 4716235"/>
              <a:gd name="connsiteY42" fmla="*/ 4587705 h 4596459"/>
              <a:gd name="connsiteX43" fmla="*/ 2022127 w 4716235"/>
              <a:gd name="connsiteY43" fmla="*/ 4578951 h 4596459"/>
              <a:gd name="connsiteX44" fmla="*/ 2030881 w 4716235"/>
              <a:gd name="connsiteY44" fmla="*/ 4570197 h 4596459"/>
              <a:gd name="connsiteX45" fmla="*/ 1433256 w 4716235"/>
              <a:gd name="connsiteY45" fmla="*/ 4568709 h 4596459"/>
              <a:gd name="connsiteX46" fmla="*/ 1435238 w 4716235"/>
              <a:gd name="connsiteY46" fmla="*/ 4570691 h 4596459"/>
              <a:gd name="connsiteX47" fmla="*/ 1433256 w 4716235"/>
              <a:gd name="connsiteY47" fmla="*/ 4572673 h 4596459"/>
              <a:gd name="connsiteX48" fmla="*/ 1431274 w 4716235"/>
              <a:gd name="connsiteY48" fmla="*/ 4570691 h 4596459"/>
              <a:gd name="connsiteX49" fmla="*/ 1433256 w 4716235"/>
              <a:gd name="connsiteY49" fmla="*/ 4568709 h 4596459"/>
              <a:gd name="connsiteX50" fmla="*/ 2096791 w 4716235"/>
              <a:gd name="connsiteY50" fmla="*/ 4565570 h 4596459"/>
              <a:gd name="connsiteX51" fmla="*/ 2104720 w 4716235"/>
              <a:gd name="connsiteY51" fmla="*/ 4573499 h 4596459"/>
              <a:gd name="connsiteX52" fmla="*/ 2096791 w 4716235"/>
              <a:gd name="connsiteY52" fmla="*/ 4581427 h 4596459"/>
              <a:gd name="connsiteX53" fmla="*/ 2088862 w 4716235"/>
              <a:gd name="connsiteY53" fmla="*/ 4573499 h 4596459"/>
              <a:gd name="connsiteX54" fmla="*/ 2096791 w 4716235"/>
              <a:gd name="connsiteY54" fmla="*/ 4565570 h 4596459"/>
              <a:gd name="connsiteX55" fmla="*/ 1662528 w 4716235"/>
              <a:gd name="connsiteY55" fmla="*/ 4565405 h 4596459"/>
              <a:gd name="connsiteX56" fmla="*/ 1673266 w 4716235"/>
              <a:gd name="connsiteY56" fmla="*/ 4576142 h 4596459"/>
              <a:gd name="connsiteX57" fmla="*/ 1662528 w 4716235"/>
              <a:gd name="connsiteY57" fmla="*/ 4586878 h 4596459"/>
              <a:gd name="connsiteX58" fmla="*/ 1651792 w 4716235"/>
              <a:gd name="connsiteY58" fmla="*/ 4576142 h 4596459"/>
              <a:gd name="connsiteX59" fmla="*/ 1662528 w 4716235"/>
              <a:gd name="connsiteY59" fmla="*/ 4565405 h 4596459"/>
              <a:gd name="connsiteX60" fmla="*/ 1934417 w 4716235"/>
              <a:gd name="connsiteY60" fmla="*/ 4563919 h 4596459"/>
              <a:gd name="connsiteX61" fmla="*/ 1945154 w 4716235"/>
              <a:gd name="connsiteY61" fmla="*/ 4574655 h 4596459"/>
              <a:gd name="connsiteX62" fmla="*/ 1934417 w 4716235"/>
              <a:gd name="connsiteY62" fmla="*/ 4585392 h 4596459"/>
              <a:gd name="connsiteX63" fmla="*/ 1923681 w 4716235"/>
              <a:gd name="connsiteY63" fmla="*/ 4574655 h 4596459"/>
              <a:gd name="connsiteX64" fmla="*/ 1934417 w 4716235"/>
              <a:gd name="connsiteY64" fmla="*/ 4563919 h 4596459"/>
              <a:gd name="connsiteX65" fmla="*/ 1368011 w 4716235"/>
              <a:gd name="connsiteY65" fmla="*/ 4563093 h 4596459"/>
              <a:gd name="connsiteX66" fmla="*/ 1368340 w 4716235"/>
              <a:gd name="connsiteY66" fmla="*/ 4563425 h 4596459"/>
              <a:gd name="connsiteX67" fmla="*/ 1368011 w 4716235"/>
              <a:gd name="connsiteY67" fmla="*/ 4563754 h 4596459"/>
              <a:gd name="connsiteX68" fmla="*/ 1367680 w 4716235"/>
              <a:gd name="connsiteY68" fmla="*/ 4563425 h 4596459"/>
              <a:gd name="connsiteX69" fmla="*/ 1368011 w 4716235"/>
              <a:gd name="connsiteY69" fmla="*/ 4563093 h 4596459"/>
              <a:gd name="connsiteX70" fmla="*/ 1594638 w 4716235"/>
              <a:gd name="connsiteY70" fmla="*/ 4562268 h 4596459"/>
              <a:gd name="connsiteX71" fmla="*/ 1605376 w 4716235"/>
              <a:gd name="connsiteY71" fmla="*/ 4573004 h 4596459"/>
              <a:gd name="connsiteX72" fmla="*/ 1594638 w 4716235"/>
              <a:gd name="connsiteY72" fmla="*/ 4583741 h 4596459"/>
              <a:gd name="connsiteX73" fmla="*/ 1583902 w 4716235"/>
              <a:gd name="connsiteY73" fmla="*/ 4573004 h 4596459"/>
              <a:gd name="connsiteX74" fmla="*/ 1594638 w 4716235"/>
              <a:gd name="connsiteY74" fmla="*/ 4562268 h 4596459"/>
              <a:gd name="connsiteX75" fmla="*/ 2001976 w 4716235"/>
              <a:gd name="connsiteY75" fmla="*/ 4560119 h 4596459"/>
              <a:gd name="connsiteX76" fmla="*/ 2012714 w 4716235"/>
              <a:gd name="connsiteY76" fmla="*/ 4570856 h 4596459"/>
              <a:gd name="connsiteX77" fmla="*/ 2001976 w 4716235"/>
              <a:gd name="connsiteY77" fmla="*/ 4581592 h 4596459"/>
              <a:gd name="connsiteX78" fmla="*/ 1991240 w 4716235"/>
              <a:gd name="connsiteY78" fmla="*/ 4570856 h 4596459"/>
              <a:gd name="connsiteX79" fmla="*/ 2001976 w 4716235"/>
              <a:gd name="connsiteY79" fmla="*/ 4560119 h 4596459"/>
              <a:gd name="connsiteX80" fmla="*/ 2162201 w 4716235"/>
              <a:gd name="connsiteY80" fmla="*/ 4559459 h 4596459"/>
              <a:gd name="connsiteX81" fmla="*/ 2169636 w 4716235"/>
              <a:gd name="connsiteY81" fmla="*/ 4566891 h 4596459"/>
              <a:gd name="connsiteX82" fmla="*/ 2162201 w 4716235"/>
              <a:gd name="connsiteY82" fmla="*/ 4574326 h 4596459"/>
              <a:gd name="connsiteX83" fmla="*/ 2154768 w 4716235"/>
              <a:gd name="connsiteY83" fmla="*/ 4566891 h 4596459"/>
              <a:gd name="connsiteX84" fmla="*/ 2162201 w 4716235"/>
              <a:gd name="connsiteY84" fmla="*/ 4559459 h 4596459"/>
              <a:gd name="connsiteX85" fmla="*/ 1527079 w 4716235"/>
              <a:gd name="connsiteY85" fmla="*/ 4557808 h 4596459"/>
              <a:gd name="connsiteX86" fmla="*/ 1537817 w 4716235"/>
              <a:gd name="connsiteY86" fmla="*/ 4568544 h 4596459"/>
              <a:gd name="connsiteX87" fmla="*/ 1527079 w 4716235"/>
              <a:gd name="connsiteY87" fmla="*/ 4579280 h 4596459"/>
              <a:gd name="connsiteX88" fmla="*/ 1516343 w 4716235"/>
              <a:gd name="connsiteY88" fmla="*/ 4568544 h 4596459"/>
              <a:gd name="connsiteX89" fmla="*/ 1527079 w 4716235"/>
              <a:gd name="connsiteY89" fmla="*/ 4557808 h 4596459"/>
              <a:gd name="connsiteX90" fmla="*/ 2069370 w 4716235"/>
              <a:gd name="connsiteY90" fmla="*/ 4555000 h 4596459"/>
              <a:gd name="connsiteX91" fmla="*/ 2080108 w 4716235"/>
              <a:gd name="connsiteY91" fmla="*/ 4565736 h 4596459"/>
              <a:gd name="connsiteX92" fmla="*/ 2069370 w 4716235"/>
              <a:gd name="connsiteY92" fmla="*/ 4576473 h 4596459"/>
              <a:gd name="connsiteX93" fmla="*/ 2058634 w 4716235"/>
              <a:gd name="connsiteY93" fmla="*/ 4565736 h 4596459"/>
              <a:gd name="connsiteX94" fmla="*/ 2069370 w 4716235"/>
              <a:gd name="connsiteY94" fmla="*/ 4555000 h 4596459"/>
              <a:gd name="connsiteX95" fmla="*/ 1625363 w 4716235"/>
              <a:gd name="connsiteY95" fmla="*/ 4555000 h 4596459"/>
              <a:gd name="connsiteX96" fmla="*/ 1636101 w 4716235"/>
              <a:gd name="connsiteY96" fmla="*/ 4565736 h 4596459"/>
              <a:gd name="connsiteX97" fmla="*/ 1625363 w 4716235"/>
              <a:gd name="connsiteY97" fmla="*/ 4576473 h 4596459"/>
              <a:gd name="connsiteX98" fmla="*/ 1614626 w 4716235"/>
              <a:gd name="connsiteY98" fmla="*/ 4565736 h 4596459"/>
              <a:gd name="connsiteX99" fmla="*/ 1625363 w 4716235"/>
              <a:gd name="connsiteY99" fmla="*/ 4555000 h 4596459"/>
              <a:gd name="connsiteX100" fmla="*/ 1972079 w 4716235"/>
              <a:gd name="connsiteY100" fmla="*/ 4553018 h 4596459"/>
              <a:gd name="connsiteX101" fmla="*/ 1982815 w 4716235"/>
              <a:gd name="connsiteY101" fmla="*/ 4563754 h 4596459"/>
              <a:gd name="connsiteX102" fmla="*/ 1972079 w 4716235"/>
              <a:gd name="connsiteY102" fmla="*/ 4574491 h 4596459"/>
              <a:gd name="connsiteX103" fmla="*/ 1961342 w 4716235"/>
              <a:gd name="connsiteY103" fmla="*/ 4563754 h 4596459"/>
              <a:gd name="connsiteX104" fmla="*/ 1972079 w 4716235"/>
              <a:gd name="connsiteY104" fmla="*/ 4553018 h 4596459"/>
              <a:gd name="connsiteX105" fmla="*/ 2227283 w 4716235"/>
              <a:gd name="connsiteY105" fmla="*/ 4552687 h 4596459"/>
              <a:gd name="connsiteX106" fmla="*/ 2233724 w 4716235"/>
              <a:gd name="connsiteY106" fmla="*/ 4559129 h 4596459"/>
              <a:gd name="connsiteX107" fmla="*/ 2227283 w 4716235"/>
              <a:gd name="connsiteY107" fmla="*/ 4565570 h 4596459"/>
              <a:gd name="connsiteX108" fmla="*/ 2220841 w 4716235"/>
              <a:gd name="connsiteY108" fmla="*/ 4559129 h 4596459"/>
              <a:gd name="connsiteX109" fmla="*/ 2227283 w 4716235"/>
              <a:gd name="connsiteY109" fmla="*/ 4552687 h 4596459"/>
              <a:gd name="connsiteX110" fmla="*/ 1460017 w 4716235"/>
              <a:gd name="connsiteY110" fmla="*/ 4552191 h 4596459"/>
              <a:gd name="connsiteX111" fmla="*/ 1470753 w 4716235"/>
              <a:gd name="connsiteY111" fmla="*/ 4562927 h 4596459"/>
              <a:gd name="connsiteX112" fmla="*/ 1460017 w 4716235"/>
              <a:gd name="connsiteY112" fmla="*/ 4573665 h 4596459"/>
              <a:gd name="connsiteX113" fmla="*/ 1449280 w 4716235"/>
              <a:gd name="connsiteY113" fmla="*/ 4562927 h 4596459"/>
              <a:gd name="connsiteX114" fmla="*/ 1460017 w 4716235"/>
              <a:gd name="connsiteY114" fmla="*/ 4552191 h 4596459"/>
              <a:gd name="connsiteX115" fmla="*/ 1556316 w 4716235"/>
              <a:gd name="connsiteY115" fmla="*/ 4551036 h 4596459"/>
              <a:gd name="connsiteX116" fmla="*/ 1567052 w 4716235"/>
              <a:gd name="connsiteY116" fmla="*/ 4561772 h 4596459"/>
              <a:gd name="connsiteX117" fmla="*/ 1556316 w 4716235"/>
              <a:gd name="connsiteY117" fmla="*/ 4572508 h 4596459"/>
              <a:gd name="connsiteX118" fmla="*/ 1545580 w 4716235"/>
              <a:gd name="connsiteY118" fmla="*/ 4561772 h 4596459"/>
              <a:gd name="connsiteX119" fmla="*/ 1556316 w 4716235"/>
              <a:gd name="connsiteY119" fmla="*/ 4551036 h 4596459"/>
              <a:gd name="connsiteX120" fmla="*/ 2136433 w 4716235"/>
              <a:gd name="connsiteY120" fmla="*/ 4548558 h 4596459"/>
              <a:gd name="connsiteX121" fmla="*/ 2147171 w 4716235"/>
              <a:gd name="connsiteY121" fmla="*/ 4559294 h 4596459"/>
              <a:gd name="connsiteX122" fmla="*/ 2136433 w 4716235"/>
              <a:gd name="connsiteY122" fmla="*/ 4570032 h 4596459"/>
              <a:gd name="connsiteX123" fmla="*/ 2125697 w 4716235"/>
              <a:gd name="connsiteY123" fmla="*/ 4559294 h 4596459"/>
              <a:gd name="connsiteX124" fmla="*/ 2136433 w 4716235"/>
              <a:gd name="connsiteY124" fmla="*/ 4548558 h 4596459"/>
              <a:gd name="connsiteX125" fmla="*/ 2041123 w 4716235"/>
              <a:gd name="connsiteY125" fmla="*/ 4548226 h 4596459"/>
              <a:gd name="connsiteX126" fmla="*/ 2051862 w 4716235"/>
              <a:gd name="connsiteY126" fmla="*/ 4558963 h 4596459"/>
              <a:gd name="connsiteX127" fmla="*/ 2041123 w 4716235"/>
              <a:gd name="connsiteY127" fmla="*/ 4569699 h 4596459"/>
              <a:gd name="connsiteX128" fmla="*/ 2030387 w 4716235"/>
              <a:gd name="connsiteY128" fmla="*/ 4558963 h 4596459"/>
              <a:gd name="connsiteX129" fmla="*/ 2041123 w 4716235"/>
              <a:gd name="connsiteY129" fmla="*/ 4548226 h 4596459"/>
              <a:gd name="connsiteX130" fmla="*/ 1487601 w 4716235"/>
              <a:gd name="connsiteY130" fmla="*/ 4545583 h 4596459"/>
              <a:gd name="connsiteX131" fmla="*/ 1498339 w 4716235"/>
              <a:gd name="connsiteY131" fmla="*/ 4556320 h 4596459"/>
              <a:gd name="connsiteX132" fmla="*/ 1487601 w 4716235"/>
              <a:gd name="connsiteY132" fmla="*/ 4567058 h 4596459"/>
              <a:gd name="connsiteX133" fmla="*/ 1476864 w 4716235"/>
              <a:gd name="connsiteY133" fmla="*/ 4556320 h 4596459"/>
              <a:gd name="connsiteX134" fmla="*/ 1487601 w 4716235"/>
              <a:gd name="connsiteY134" fmla="*/ 4545583 h 4596459"/>
              <a:gd name="connsiteX135" fmla="*/ 2291705 w 4716235"/>
              <a:gd name="connsiteY135" fmla="*/ 4545254 h 4596459"/>
              <a:gd name="connsiteX136" fmla="*/ 2296826 w 4716235"/>
              <a:gd name="connsiteY136" fmla="*/ 4550375 h 4596459"/>
              <a:gd name="connsiteX137" fmla="*/ 2291705 w 4716235"/>
              <a:gd name="connsiteY137" fmla="*/ 4555496 h 4596459"/>
              <a:gd name="connsiteX138" fmla="*/ 2286584 w 4716235"/>
              <a:gd name="connsiteY138" fmla="*/ 4550375 h 4596459"/>
              <a:gd name="connsiteX139" fmla="*/ 2291705 w 4716235"/>
              <a:gd name="connsiteY139" fmla="*/ 4545254 h 4596459"/>
              <a:gd name="connsiteX140" fmla="*/ 1393283 w 4716235"/>
              <a:gd name="connsiteY140" fmla="*/ 4545089 h 4596459"/>
              <a:gd name="connsiteX141" fmla="*/ 1404020 w 4716235"/>
              <a:gd name="connsiteY141" fmla="*/ 4555826 h 4596459"/>
              <a:gd name="connsiteX142" fmla="*/ 1393283 w 4716235"/>
              <a:gd name="connsiteY142" fmla="*/ 4566562 h 4596459"/>
              <a:gd name="connsiteX143" fmla="*/ 1382547 w 4716235"/>
              <a:gd name="connsiteY143" fmla="*/ 4555826 h 4596459"/>
              <a:gd name="connsiteX144" fmla="*/ 1393283 w 4716235"/>
              <a:gd name="connsiteY144" fmla="*/ 4545089 h 4596459"/>
              <a:gd name="connsiteX145" fmla="*/ 1586709 w 4716235"/>
              <a:gd name="connsiteY145" fmla="*/ 4545087 h 4596459"/>
              <a:gd name="connsiteX146" fmla="*/ 1597447 w 4716235"/>
              <a:gd name="connsiteY146" fmla="*/ 4555824 h 4596459"/>
              <a:gd name="connsiteX147" fmla="*/ 1586709 w 4716235"/>
              <a:gd name="connsiteY147" fmla="*/ 4566562 h 4596459"/>
              <a:gd name="connsiteX148" fmla="*/ 1575973 w 4716235"/>
              <a:gd name="connsiteY148" fmla="*/ 4555824 h 4596459"/>
              <a:gd name="connsiteX149" fmla="*/ 1586709 w 4716235"/>
              <a:gd name="connsiteY149" fmla="*/ 4545087 h 4596459"/>
              <a:gd name="connsiteX150" fmla="*/ 2011556 w 4716235"/>
              <a:gd name="connsiteY150" fmla="*/ 4542611 h 4596459"/>
              <a:gd name="connsiteX151" fmla="*/ 2022294 w 4716235"/>
              <a:gd name="connsiteY151" fmla="*/ 4553347 h 4596459"/>
              <a:gd name="connsiteX152" fmla="*/ 2011556 w 4716235"/>
              <a:gd name="connsiteY152" fmla="*/ 4564084 h 4596459"/>
              <a:gd name="connsiteX153" fmla="*/ 2000819 w 4716235"/>
              <a:gd name="connsiteY153" fmla="*/ 4553347 h 4596459"/>
              <a:gd name="connsiteX154" fmla="*/ 2011556 w 4716235"/>
              <a:gd name="connsiteY154" fmla="*/ 4542611 h 4596459"/>
              <a:gd name="connsiteX155" fmla="*/ 2109508 w 4716235"/>
              <a:gd name="connsiteY155" fmla="*/ 4542115 h 4596459"/>
              <a:gd name="connsiteX156" fmla="*/ 2120246 w 4716235"/>
              <a:gd name="connsiteY156" fmla="*/ 4552851 h 4596459"/>
              <a:gd name="connsiteX157" fmla="*/ 2109508 w 4716235"/>
              <a:gd name="connsiteY157" fmla="*/ 4563588 h 4596459"/>
              <a:gd name="connsiteX158" fmla="*/ 2098772 w 4716235"/>
              <a:gd name="connsiteY158" fmla="*/ 4552851 h 4596459"/>
              <a:gd name="connsiteX159" fmla="*/ 2109508 w 4716235"/>
              <a:gd name="connsiteY159" fmla="*/ 4542115 h 4596459"/>
              <a:gd name="connsiteX160" fmla="*/ 2202836 w 4716235"/>
              <a:gd name="connsiteY160" fmla="*/ 4540958 h 4596459"/>
              <a:gd name="connsiteX161" fmla="*/ 2213573 w 4716235"/>
              <a:gd name="connsiteY161" fmla="*/ 4551695 h 4596459"/>
              <a:gd name="connsiteX162" fmla="*/ 2202836 w 4716235"/>
              <a:gd name="connsiteY162" fmla="*/ 4562433 h 4596459"/>
              <a:gd name="connsiteX163" fmla="*/ 2192100 w 4716235"/>
              <a:gd name="connsiteY163" fmla="*/ 4551695 h 4596459"/>
              <a:gd name="connsiteX164" fmla="*/ 2202836 w 4716235"/>
              <a:gd name="connsiteY164" fmla="*/ 4540958 h 4596459"/>
              <a:gd name="connsiteX165" fmla="*/ 1516343 w 4716235"/>
              <a:gd name="connsiteY165" fmla="*/ 4540133 h 4596459"/>
              <a:gd name="connsiteX166" fmla="*/ 1527081 w 4716235"/>
              <a:gd name="connsiteY166" fmla="*/ 4550869 h 4596459"/>
              <a:gd name="connsiteX167" fmla="*/ 1516343 w 4716235"/>
              <a:gd name="connsiteY167" fmla="*/ 4561606 h 4596459"/>
              <a:gd name="connsiteX168" fmla="*/ 1505607 w 4716235"/>
              <a:gd name="connsiteY168" fmla="*/ 4550869 h 4596459"/>
              <a:gd name="connsiteX169" fmla="*/ 1516343 w 4716235"/>
              <a:gd name="connsiteY169" fmla="*/ 4540133 h 4596459"/>
              <a:gd name="connsiteX170" fmla="*/ 1419216 w 4716235"/>
              <a:gd name="connsiteY170" fmla="*/ 4538811 h 4596459"/>
              <a:gd name="connsiteX171" fmla="*/ 1429954 w 4716235"/>
              <a:gd name="connsiteY171" fmla="*/ 4549548 h 4596459"/>
              <a:gd name="connsiteX172" fmla="*/ 1419216 w 4716235"/>
              <a:gd name="connsiteY172" fmla="*/ 4560286 h 4596459"/>
              <a:gd name="connsiteX173" fmla="*/ 1408480 w 4716235"/>
              <a:gd name="connsiteY173" fmla="*/ 4549548 h 4596459"/>
              <a:gd name="connsiteX174" fmla="*/ 1419216 w 4716235"/>
              <a:gd name="connsiteY174" fmla="*/ 4538811 h 4596459"/>
              <a:gd name="connsiteX175" fmla="*/ 1327046 w 4716235"/>
              <a:gd name="connsiteY175" fmla="*/ 4537986 h 4596459"/>
              <a:gd name="connsiteX176" fmla="*/ 1336626 w 4716235"/>
              <a:gd name="connsiteY176" fmla="*/ 4547566 h 4596459"/>
              <a:gd name="connsiteX177" fmla="*/ 1327046 w 4716235"/>
              <a:gd name="connsiteY177" fmla="*/ 4557147 h 4596459"/>
              <a:gd name="connsiteX178" fmla="*/ 1317465 w 4716235"/>
              <a:gd name="connsiteY178" fmla="*/ 4547566 h 4596459"/>
              <a:gd name="connsiteX179" fmla="*/ 1327046 w 4716235"/>
              <a:gd name="connsiteY179" fmla="*/ 4537986 h 4596459"/>
              <a:gd name="connsiteX180" fmla="*/ 1980833 w 4716235"/>
              <a:gd name="connsiteY180" fmla="*/ 4537819 h 4596459"/>
              <a:gd name="connsiteX181" fmla="*/ 1991571 w 4716235"/>
              <a:gd name="connsiteY181" fmla="*/ 4548556 h 4596459"/>
              <a:gd name="connsiteX182" fmla="*/ 1980833 w 4716235"/>
              <a:gd name="connsiteY182" fmla="*/ 4559294 h 4596459"/>
              <a:gd name="connsiteX183" fmla="*/ 1970096 w 4716235"/>
              <a:gd name="connsiteY183" fmla="*/ 4548556 h 4596459"/>
              <a:gd name="connsiteX184" fmla="*/ 1980833 w 4716235"/>
              <a:gd name="connsiteY184" fmla="*/ 4537819 h 4596459"/>
              <a:gd name="connsiteX185" fmla="*/ 2355630 w 4716235"/>
              <a:gd name="connsiteY185" fmla="*/ 4536829 h 4596459"/>
              <a:gd name="connsiteX186" fmla="*/ 2359264 w 4716235"/>
              <a:gd name="connsiteY186" fmla="*/ 4540462 h 4596459"/>
              <a:gd name="connsiteX187" fmla="*/ 2355630 w 4716235"/>
              <a:gd name="connsiteY187" fmla="*/ 4544097 h 4596459"/>
              <a:gd name="connsiteX188" fmla="*/ 2351996 w 4716235"/>
              <a:gd name="connsiteY188" fmla="*/ 4540462 h 4596459"/>
              <a:gd name="connsiteX189" fmla="*/ 2355630 w 4716235"/>
              <a:gd name="connsiteY189" fmla="*/ 4536829 h 4596459"/>
              <a:gd name="connsiteX190" fmla="*/ 2081759 w 4716235"/>
              <a:gd name="connsiteY190" fmla="*/ 4536829 h 4596459"/>
              <a:gd name="connsiteX191" fmla="*/ 2092497 w 4716235"/>
              <a:gd name="connsiteY191" fmla="*/ 4547566 h 4596459"/>
              <a:gd name="connsiteX192" fmla="*/ 2081759 w 4716235"/>
              <a:gd name="connsiteY192" fmla="*/ 4558304 h 4596459"/>
              <a:gd name="connsiteX193" fmla="*/ 2071023 w 4716235"/>
              <a:gd name="connsiteY193" fmla="*/ 4547566 h 4596459"/>
              <a:gd name="connsiteX194" fmla="*/ 2081759 w 4716235"/>
              <a:gd name="connsiteY194" fmla="*/ 4536829 h 4596459"/>
              <a:gd name="connsiteX195" fmla="*/ 1546240 w 4716235"/>
              <a:gd name="connsiteY195" fmla="*/ 4535508 h 4596459"/>
              <a:gd name="connsiteX196" fmla="*/ 1556977 w 4716235"/>
              <a:gd name="connsiteY196" fmla="*/ 4546244 h 4596459"/>
              <a:gd name="connsiteX197" fmla="*/ 1546240 w 4716235"/>
              <a:gd name="connsiteY197" fmla="*/ 4556980 h 4596459"/>
              <a:gd name="connsiteX198" fmla="*/ 1535504 w 4716235"/>
              <a:gd name="connsiteY198" fmla="*/ 4546244 h 4596459"/>
              <a:gd name="connsiteX199" fmla="*/ 1546240 w 4716235"/>
              <a:gd name="connsiteY199" fmla="*/ 4535508 h 4596459"/>
              <a:gd name="connsiteX200" fmla="*/ 2177564 w 4716235"/>
              <a:gd name="connsiteY200" fmla="*/ 4534518 h 4596459"/>
              <a:gd name="connsiteX201" fmla="*/ 2188300 w 4716235"/>
              <a:gd name="connsiteY201" fmla="*/ 4545254 h 4596459"/>
              <a:gd name="connsiteX202" fmla="*/ 2177564 w 4716235"/>
              <a:gd name="connsiteY202" fmla="*/ 4555990 h 4596459"/>
              <a:gd name="connsiteX203" fmla="*/ 2166828 w 4716235"/>
              <a:gd name="connsiteY203" fmla="*/ 4545254 h 4596459"/>
              <a:gd name="connsiteX204" fmla="*/ 2177564 w 4716235"/>
              <a:gd name="connsiteY204" fmla="*/ 4534518 h 4596459"/>
              <a:gd name="connsiteX205" fmla="*/ 1446306 w 4716235"/>
              <a:gd name="connsiteY205" fmla="*/ 4533526 h 4596459"/>
              <a:gd name="connsiteX206" fmla="*/ 1457044 w 4716235"/>
              <a:gd name="connsiteY206" fmla="*/ 4544262 h 4596459"/>
              <a:gd name="connsiteX207" fmla="*/ 1446306 w 4716235"/>
              <a:gd name="connsiteY207" fmla="*/ 4555000 h 4596459"/>
              <a:gd name="connsiteX208" fmla="*/ 1435570 w 4716235"/>
              <a:gd name="connsiteY208" fmla="*/ 4544262 h 4596459"/>
              <a:gd name="connsiteX209" fmla="*/ 1446306 w 4716235"/>
              <a:gd name="connsiteY209" fmla="*/ 4533526 h 4596459"/>
              <a:gd name="connsiteX210" fmla="*/ 2052685 w 4716235"/>
              <a:gd name="connsiteY210" fmla="*/ 4532369 h 4596459"/>
              <a:gd name="connsiteX211" fmla="*/ 2063423 w 4716235"/>
              <a:gd name="connsiteY211" fmla="*/ 4543105 h 4596459"/>
              <a:gd name="connsiteX212" fmla="*/ 2052685 w 4716235"/>
              <a:gd name="connsiteY212" fmla="*/ 4553842 h 4596459"/>
              <a:gd name="connsiteX213" fmla="*/ 2041949 w 4716235"/>
              <a:gd name="connsiteY213" fmla="*/ 4543105 h 4596459"/>
              <a:gd name="connsiteX214" fmla="*/ 2052685 w 4716235"/>
              <a:gd name="connsiteY214" fmla="*/ 4532369 h 4596459"/>
              <a:gd name="connsiteX215" fmla="*/ 2268743 w 4716235"/>
              <a:gd name="connsiteY215" fmla="*/ 4532039 h 4596459"/>
              <a:gd name="connsiteX216" fmla="*/ 2279481 w 4716235"/>
              <a:gd name="connsiteY216" fmla="*/ 4542776 h 4596459"/>
              <a:gd name="connsiteX217" fmla="*/ 2268743 w 4716235"/>
              <a:gd name="connsiteY217" fmla="*/ 4553514 h 4596459"/>
              <a:gd name="connsiteX218" fmla="*/ 2258006 w 4716235"/>
              <a:gd name="connsiteY218" fmla="*/ 4542776 h 4596459"/>
              <a:gd name="connsiteX219" fmla="*/ 2268743 w 4716235"/>
              <a:gd name="connsiteY219" fmla="*/ 4532039 h 4596459"/>
              <a:gd name="connsiteX220" fmla="*/ 1261303 w 4716235"/>
              <a:gd name="connsiteY220" fmla="*/ 4531047 h 4596459"/>
              <a:gd name="connsiteX221" fmla="*/ 1268404 w 4716235"/>
              <a:gd name="connsiteY221" fmla="*/ 4538151 h 4596459"/>
              <a:gd name="connsiteX222" fmla="*/ 1261303 w 4716235"/>
              <a:gd name="connsiteY222" fmla="*/ 4545254 h 4596459"/>
              <a:gd name="connsiteX223" fmla="*/ 1254200 w 4716235"/>
              <a:gd name="connsiteY223" fmla="*/ 4538151 h 4596459"/>
              <a:gd name="connsiteX224" fmla="*/ 1261303 w 4716235"/>
              <a:gd name="connsiteY224" fmla="*/ 4531047 h 4596459"/>
              <a:gd name="connsiteX225" fmla="*/ 1351491 w 4716235"/>
              <a:gd name="connsiteY225" fmla="*/ 4530551 h 4596459"/>
              <a:gd name="connsiteX226" fmla="*/ 1362229 w 4716235"/>
              <a:gd name="connsiteY226" fmla="*/ 4541288 h 4596459"/>
              <a:gd name="connsiteX227" fmla="*/ 1351491 w 4716235"/>
              <a:gd name="connsiteY227" fmla="*/ 4552026 h 4596459"/>
              <a:gd name="connsiteX228" fmla="*/ 1340755 w 4716235"/>
              <a:gd name="connsiteY228" fmla="*/ 4541288 h 4596459"/>
              <a:gd name="connsiteX229" fmla="*/ 1351491 w 4716235"/>
              <a:gd name="connsiteY229" fmla="*/ 4530551 h 4596459"/>
              <a:gd name="connsiteX230" fmla="*/ 2151465 w 4716235"/>
              <a:gd name="connsiteY230" fmla="*/ 4529397 h 4596459"/>
              <a:gd name="connsiteX231" fmla="*/ 2162201 w 4716235"/>
              <a:gd name="connsiteY231" fmla="*/ 4540133 h 4596459"/>
              <a:gd name="connsiteX232" fmla="*/ 2151465 w 4716235"/>
              <a:gd name="connsiteY232" fmla="*/ 4550869 h 4596459"/>
              <a:gd name="connsiteX233" fmla="*/ 2140728 w 4716235"/>
              <a:gd name="connsiteY233" fmla="*/ 4540133 h 4596459"/>
              <a:gd name="connsiteX234" fmla="*/ 2151465 w 4716235"/>
              <a:gd name="connsiteY234" fmla="*/ 4529397 h 4596459"/>
              <a:gd name="connsiteX235" fmla="*/ 1474551 w 4716235"/>
              <a:gd name="connsiteY235" fmla="*/ 4529397 h 4596459"/>
              <a:gd name="connsiteX236" fmla="*/ 1485289 w 4716235"/>
              <a:gd name="connsiteY236" fmla="*/ 4540133 h 4596459"/>
              <a:gd name="connsiteX237" fmla="*/ 1474551 w 4716235"/>
              <a:gd name="connsiteY237" fmla="*/ 4550869 h 4596459"/>
              <a:gd name="connsiteX238" fmla="*/ 1463814 w 4716235"/>
              <a:gd name="connsiteY238" fmla="*/ 4540133 h 4596459"/>
              <a:gd name="connsiteX239" fmla="*/ 1474551 w 4716235"/>
              <a:gd name="connsiteY239" fmla="*/ 4529397 h 4596459"/>
              <a:gd name="connsiteX240" fmla="*/ 2022458 w 4716235"/>
              <a:gd name="connsiteY240" fmla="*/ 4528901 h 4596459"/>
              <a:gd name="connsiteX241" fmla="*/ 2033197 w 4716235"/>
              <a:gd name="connsiteY241" fmla="*/ 4539637 h 4596459"/>
              <a:gd name="connsiteX242" fmla="*/ 2022458 w 4716235"/>
              <a:gd name="connsiteY242" fmla="*/ 4550373 h 4596459"/>
              <a:gd name="connsiteX243" fmla="*/ 2011722 w 4716235"/>
              <a:gd name="connsiteY243" fmla="*/ 4539637 h 4596459"/>
              <a:gd name="connsiteX244" fmla="*/ 2022458 w 4716235"/>
              <a:gd name="connsiteY244" fmla="*/ 4528901 h 4596459"/>
              <a:gd name="connsiteX245" fmla="*/ 2418729 w 4716235"/>
              <a:gd name="connsiteY245" fmla="*/ 4527579 h 4596459"/>
              <a:gd name="connsiteX246" fmla="*/ 2420711 w 4716235"/>
              <a:gd name="connsiteY246" fmla="*/ 4529561 h 4596459"/>
              <a:gd name="connsiteX247" fmla="*/ 2418729 w 4716235"/>
              <a:gd name="connsiteY247" fmla="*/ 4531543 h 4596459"/>
              <a:gd name="connsiteX248" fmla="*/ 2416747 w 4716235"/>
              <a:gd name="connsiteY248" fmla="*/ 4529561 h 4596459"/>
              <a:gd name="connsiteX249" fmla="*/ 2418729 w 4716235"/>
              <a:gd name="connsiteY249" fmla="*/ 4527579 h 4596459"/>
              <a:gd name="connsiteX250" fmla="*/ 1503954 w 4716235"/>
              <a:gd name="connsiteY250" fmla="*/ 4525926 h 4596459"/>
              <a:gd name="connsiteX251" fmla="*/ 1514692 w 4716235"/>
              <a:gd name="connsiteY251" fmla="*/ 4536663 h 4596459"/>
              <a:gd name="connsiteX252" fmla="*/ 1503954 w 4716235"/>
              <a:gd name="connsiteY252" fmla="*/ 4547401 h 4596459"/>
              <a:gd name="connsiteX253" fmla="*/ 1493218 w 4716235"/>
              <a:gd name="connsiteY253" fmla="*/ 4536663 h 4596459"/>
              <a:gd name="connsiteX254" fmla="*/ 1503954 w 4716235"/>
              <a:gd name="connsiteY254" fmla="*/ 4525926 h 4596459"/>
              <a:gd name="connsiteX255" fmla="*/ 2245123 w 4716235"/>
              <a:gd name="connsiteY255" fmla="*/ 4525762 h 4596459"/>
              <a:gd name="connsiteX256" fmla="*/ 2255861 w 4716235"/>
              <a:gd name="connsiteY256" fmla="*/ 4536498 h 4596459"/>
              <a:gd name="connsiteX257" fmla="*/ 2245123 w 4716235"/>
              <a:gd name="connsiteY257" fmla="*/ 4547234 h 4596459"/>
              <a:gd name="connsiteX258" fmla="*/ 2234387 w 4716235"/>
              <a:gd name="connsiteY258" fmla="*/ 4536498 h 4596459"/>
              <a:gd name="connsiteX259" fmla="*/ 2245123 w 4716235"/>
              <a:gd name="connsiteY259" fmla="*/ 4525762 h 4596459"/>
              <a:gd name="connsiteX260" fmla="*/ 1376930 w 4716235"/>
              <a:gd name="connsiteY260" fmla="*/ 4525597 h 4596459"/>
              <a:gd name="connsiteX261" fmla="*/ 1387666 w 4716235"/>
              <a:gd name="connsiteY261" fmla="*/ 4536333 h 4596459"/>
              <a:gd name="connsiteX262" fmla="*/ 1376930 w 4716235"/>
              <a:gd name="connsiteY262" fmla="*/ 4547070 h 4596459"/>
              <a:gd name="connsiteX263" fmla="*/ 1366194 w 4716235"/>
              <a:gd name="connsiteY263" fmla="*/ 4536333 h 4596459"/>
              <a:gd name="connsiteX264" fmla="*/ 1376930 w 4716235"/>
              <a:gd name="connsiteY264" fmla="*/ 4525597 h 4596459"/>
              <a:gd name="connsiteX265" fmla="*/ 2124210 w 4716235"/>
              <a:gd name="connsiteY265" fmla="*/ 4525432 h 4596459"/>
              <a:gd name="connsiteX266" fmla="*/ 2134948 w 4716235"/>
              <a:gd name="connsiteY266" fmla="*/ 4536169 h 4596459"/>
              <a:gd name="connsiteX267" fmla="*/ 2124210 w 4716235"/>
              <a:gd name="connsiteY267" fmla="*/ 4546907 h 4596459"/>
              <a:gd name="connsiteX268" fmla="*/ 2113474 w 4716235"/>
              <a:gd name="connsiteY268" fmla="*/ 4536169 h 4596459"/>
              <a:gd name="connsiteX269" fmla="*/ 2124210 w 4716235"/>
              <a:gd name="connsiteY269" fmla="*/ 4525432 h 4596459"/>
              <a:gd name="connsiteX270" fmla="*/ 1534843 w 4716235"/>
              <a:gd name="connsiteY270" fmla="*/ 4523119 h 4596459"/>
              <a:gd name="connsiteX271" fmla="*/ 1545581 w 4716235"/>
              <a:gd name="connsiteY271" fmla="*/ 4533855 h 4596459"/>
              <a:gd name="connsiteX272" fmla="*/ 1534843 w 4716235"/>
              <a:gd name="connsiteY272" fmla="*/ 4544591 h 4596459"/>
              <a:gd name="connsiteX273" fmla="*/ 1524107 w 4716235"/>
              <a:gd name="connsiteY273" fmla="*/ 4533855 h 4596459"/>
              <a:gd name="connsiteX274" fmla="*/ 1534843 w 4716235"/>
              <a:gd name="connsiteY274" fmla="*/ 4523119 h 4596459"/>
              <a:gd name="connsiteX275" fmla="*/ 1196387 w 4716235"/>
              <a:gd name="connsiteY275" fmla="*/ 4523119 h 4596459"/>
              <a:gd name="connsiteX276" fmla="*/ 1200846 w 4716235"/>
              <a:gd name="connsiteY276" fmla="*/ 4527579 h 4596459"/>
              <a:gd name="connsiteX277" fmla="*/ 1196387 w 4716235"/>
              <a:gd name="connsiteY277" fmla="*/ 4532038 h 4596459"/>
              <a:gd name="connsiteX278" fmla="*/ 1191927 w 4716235"/>
              <a:gd name="connsiteY278" fmla="*/ 4527579 h 4596459"/>
              <a:gd name="connsiteX279" fmla="*/ 1196387 w 4716235"/>
              <a:gd name="connsiteY279" fmla="*/ 4523119 h 4596459"/>
              <a:gd name="connsiteX280" fmla="*/ 2095799 w 4716235"/>
              <a:gd name="connsiteY280" fmla="*/ 4522129 h 4596459"/>
              <a:gd name="connsiteX281" fmla="*/ 2106536 w 4716235"/>
              <a:gd name="connsiteY281" fmla="*/ 4532865 h 4596459"/>
              <a:gd name="connsiteX282" fmla="*/ 2095799 w 4716235"/>
              <a:gd name="connsiteY282" fmla="*/ 4543601 h 4596459"/>
              <a:gd name="connsiteX283" fmla="*/ 2085063 w 4716235"/>
              <a:gd name="connsiteY283" fmla="*/ 4532865 h 4596459"/>
              <a:gd name="connsiteX284" fmla="*/ 2095799 w 4716235"/>
              <a:gd name="connsiteY284" fmla="*/ 4522129 h 4596459"/>
              <a:gd name="connsiteX285" fmla="*/ 2333989 w 4716235"/>
              <a:gd name="connsiteY285" fmla="*/ 4521964 h 4596459"/>
              <a:gd name="connsiteX286" fmla="*/ 2344728 w 4716235"/>
              <a:gd name="connsiteY286" fmla="*/ 4532700 h 4596459"/>
              <a:gd name="connsiteX287" fmla="*/ 2333989 w 4716235"/>
              <a:gd name="connsiteY287" fmla="*/ 4543436 h 4596459"/>
              <a:gd name="connsiteX288" fmla="*/ 2323253 w 4716235"/>
              <a:gd name="connsiteY288" fmla="*/ 4532700 h 4596459"/>
              <a:gd name="connsiteX289" fmla="*/ 2333989 w 4716235"/>
              <a:gd name="connsiteY289" fmla="*/ 4521964 h 4596459"/>
              <a:gd name="connsiteX290" fmla="*/ 1403359 w 4716235"/>
              <a:gd name="connsiteY290" fmla="*/ 4521633 h 4596459"/>
              <a:gd name="connsiteX291" fmla="*/ 1414097 w 4716235"/>
              <a:gd name="connsiteY291" fmla="*/ 4532369 h 4596459"/>
              <a:gd name="connsiteX292" fmla="*/ 1403359 w 4716235"/>
              <a:gd name="connsiteY292" fmla="*/ 4543105 h 4596459"/>
              <a:gd name="connsiteX293" fmla="*/ 1392623 w 4716235"/>
              <a:gd name="connsiteY293" fmla="*/ 4532369 h 4596459"/>
              <a:gd name="connsiteX294" fmla="*/ 1403359 w 4716235"/>
              <a:gd name="connsiteY294" fmla="*/ 4521633 h 4596459"/>
              <a:gd name="connsiteX295" fmla="*/ 1284264 w 4716235"/>
              <a:gd name="connsiteY295" fmla="*/ 4521137 h 4596459"/>
              <a:gd name="connsiteX296" fmla="*/ 1295000 w 4716235"/>
              <a:gd name="connsiteY296" fmla="*/ 4531873 h 4596459"/>
              <a:gd name="connsiteX297" fmla="*/ 1284264 w 4716235"/>
              <a:gd name="connsiteY297" fmla="*/ 4542609 h 4596459"/>
              <a:gd name="connsiteX298" fmla="*/ 1273527 w 4716235"/>
              <a:gd name="connsiteY298" fmla="*/ 4531873 h 4596459"/>
              <a:gd name="connsiteX299" fmla="*/ 1284264 w 4716235"/>
              <a:gd name="connsiteY299" fmla="*/ 4521137 h 4596459"/>
              <a:gd name="connsiteX300" fmla="*/ 2220511 w 4716235"/>
              <a:gd name="connsiteY300" fmla="*/ 4520642 h 4596459"/>
              <a:gd name="connsiteX301" fmla="*/ 2231250 w 4716235"/>
              <a:gd name="connsiteY301" fmla="*/ 4531379 h 4596459"/>
              <a:gd name="connsiteX302" fmla="*/ 2220511 w 4716235"/>
              <a:gd name="connsiteY302" fmla="*/ 4542117 h 4596459"/>
              <a:gd name="connsiteX303" fmla="*/ 2209775 w 4716235"/>
              <a:gd name="connsiteY303" fmla="*/ 4531379 h 4596459"/>
              <a:gd name="connsiteX304" fmla="*/ 2220511 w 4716235"/>
              <a:gd name="connsiteY304" fmla="*/ 4520642 h 4596459"/>
              <a:gd name="connsiteX305" fmla="*/ 2065900 w 4716235"/>
              <a:gd name="connsiteY305" fmla="*/ 4519650 h 4596459"/>
              <a:gd name="connsiteX306" fmla="*/ 2076638 w 4716235"/>
              <a:gd name="connsiteY306" fmla="*/ 4530387 h 4596459"/>
              <a:gd name="connsiteX307" fmla="*/ 2065900 w 4716235"/>
              <a:gd name="connsiteY307" fmla="*/ 4541125 h 4596459"/>
              <a:gd name="connsiteX308" fmla="*/ 2055163 w 4716235"/>
              <a:gd name="connsiteY308" fmla="*/ 4530387 h 4596459"/>
              <a:gd name="connsiteX309" fmla="*/ 2065900 w 4716235"/>
              <a:gd name="connsiteY309" fmla="*/ 4519650 h 4596459"/>
              <a:gd name="connsiteX310" fmla="*/ 1430778 w 4716235"/>
              <a:gd name="connsiteY310" fmla="*/ 4518494 h 4596459"/>
              <a:gd name="connsiteX311" fmla="*/ 1441516 w 4716235"/>
              <a:gd name="connsiteY311" fmla="*/ 4529230 h 4596459"/>
              <a:gd name="connsiteX312" fmla="*/ 1430778 w 4716235"/>
              <a:gd name="connsiteY312" fmla="*/ 4539966 h 4596459"/>
              <a:gd name="connsiteX313" fmla="*/ 1420042 w 4716235"/>
              <a:gd name="connsiteY313" fmla="*/ 4529230 h 4596459"/>
              <a:gd name="connsiteX314" fmla="*/ 1430778 w 4716235"/>
              <a:gd name="connsiteY314" fmla="*/ 4518494 h 4596459"/>
              <a:gd name="connsiteX315" fmla="*/ 2034681 w 4716235"/>
              <a:gd name="connsiteY315" fmla="*/ 4517668 h 4596459"/>
              <a:gd name="connsiteX316" fmla="*/ 2045419 w 4716235"/>
              <a:gd name="connsiteY316" fmla="*/ 4528405 h 4596459"/>
              <a:gd name="connsiteX317" fmla="*/ 2034681 w 4716235"/>
              <a:gd name="connsiteY317" fmla="*/ 4539143 h 4596459"/>
              <a:gd name="connsiteX318" fmla="*/ 2023945 w 4716235"/>
              <a:gd name="connsiteY318" fmla="*/ 4528405 h 4596459"/>
              <a:gd name="connsiteX319" fmla="*/ 2034681 w 4716235"/>
              <a:gd name="connsiteY319" fmla="*/ 4517668 h 4596459"/>
              <a:gd name="connsiteX320" fmla="*/ 2481168 w 4716235"/>
              <a:gd name="connsiteY320" fmla="*/ 4517339 h 4596459"/>
              <a:gd name="connsiteX321" fmla="*/ 2481498 w 4716235"/>
              <a:gd name="connsiteY321" fmla="*/ 4517668 h 4596459"/>
              <a:gd name="connsiteX322" fmla="*/ 2481168 w 4716235"/>
              <a:gd name="connsiteY322" fmla="*/ 4517999 h 4596459"/>
              <a:gd name="connsiteX323" fmla="*/ 2480837 w 4716235"/>
              <a:gd name="connsiteY323" fmla="*/ 4517668 h 4596459"/>
              <a:gd name="connsiteX324" fmla="*/ 2481168 w 4716235"/>
              <a:gd name="connsiteY324" fmla="*/ 4517339 h 4596459"/>
              <a:gd name="connsiteX325" fmla="*/ 2195072 w 4716235"/>
              <a:gd name="connsiteY325" fmla="*/ 4516843 h 4596459"/>
              <a:gd name="connsiteX326" fmla="*/ 2205809 w 4716235"/>
              <a:gd name="connsiteY326" fmla="*/ 4527579 h 4596459"/>
              <a:gd name="connsiteX327" fmla="*/ 2195072 w 4716235"/>
              <a:gd name="connsiteY327" fmla="*/ 4538315 h 4596459"/>
              <a:gd name="connsiteX328" fmla="*/ 2184336 w 4716235"/>
              <a:gd name="connsiteY328" fmla="*/ 4527579 h 4596459"/>
              <a:gd name="connsiteX329" fmla="*/ 2195072 w 4716235"/>
              <a:gd name="connsiteY329" fmla="*/ 4516843 h 4596459"/>
              <a:gd name="connsiteX330" fmla="*/ 1459685 w 4716235"/>
              <a:gd name="connsiteY330" fmla="*/ 4516182 h 4596459"/>
              <a:gd name="connsiteX331" fmla="*/ 1470423 w 4716235"/>
              <a:gd name="connsiteY331" fmla="*/ 4526918 h 4596459"/>
              <a:gd name="connsiteX332" fmla="*/ 1459685 w 4716235"/>
              <a:gd name="connsiteY332" fmla="*/ 4537656 h 4596459"/>
              <a:gd name="connsiteX333" fmla="*/ 1448949 w 4716235"/>
              <a:gd name="connsiteY333" fmla="*/ 4526918 h 4596459"/>
              <a:gd name="connsiteX334" fmla="*/ 1459685 w 4716235"/>
              <a:gd name="connsiteY334" fmla="*/ 4516182 h 4596459"/>
              <a:gd name="connsiteX335" fmla="*/ 1308048 w 4716235"/>
              <a:gd name="connsiteY335" fmla="*/ 4516182 h 4596459"/>
              <a:gd name="connsiteX336" fmla="*/ 1318786 w 4716235"/>
              <a:gd name="connsiteY336" fmla="*/ 4526918 h 4596459"/>
              <a:gd name="connsiteX337" fmla="*/ 1308048 w 4716235"/>
              <a:gd name="connsiteY337" fmla="*/ 4537656 h 4596459"/>
              <a:gd name="connsiteX338" fmla="*/ 1297312 w 4716235"/>
              <a:gd name="connsiteY338" fmla="*/ 4526918 h 4596459"/>
              <a:gd name="connsiteX339" fmla="*/ 1308048 w 4716235"/>
              <a:gd name="connsiteY339" fmla="*/ 4516182 h 4596459"/>
              <a:gd name="connsiteX340" fmla="*/ 2001645 w 4716235"/>
              <a:gd name="connsiteY340" fmla="*/ 4515686 h 4596459"/>
              <a:gd name="connsiteX341" fmla="*/ 2012383 w 4716235"/>
              <a:gd name="connsiteY341" fmla="*/ 4526422 h 4596459"/>
              <a:gd name="connsiteX342" fmla="*/ 2001645 w 4716235"/>
              <a:gd name="connsiteY342" fmla="*/ 4537160 h 4596459"/>
              <a:gd name="connsiteX343" fmla="*/ 2001150 w 4716235"/>
              <a:gd name="connsiteY343" fmla="*/ 4536666 h 4596459"/>
              <a:gd name="connsiteX344" fmla="*/ 1990579 w 4716235"/>
              <a:gd name="connsiteY344" fmla="*/ 4547234 h 4596459"/>
              <a:gd name="connsiteX345" fmla="*/ 1979843 w 4716235"/>
              <a:gd name="connsiteY345" fmla="*/ 4536498 h 4596459"/>
              <a:gd name="connsiteX346" fmla="*/ 1990579 w 4716235"/>
              <a:gd name="connsiteY346" fmla="*/ 4525762 h 4596459"/>
              <a:gd name="connsiteX347" fmla="*/ 1991075 w 4716235"/>
              <a:gd name="connsiteY347" fmla="*/ 4526258 h 4596459"/>
              <a:gd name="connsiteX348" fmla="*/ 2311856 w 4716235"/>
              <a:gd name="connsiteY348" fmla="*/ 4515521 h 4596459"/>
              <a:gd name="connsiteX349" fmla="*/ 2322594 w 4716235"/>
              <a:gd name="connsiteY349" fmla="*/ 4526258 h 4596459"/>
              <a:gd name="connsiteX350" fmla="*/ 2311856 w 4716235"/>
              <a:gd name="connsiteY350" fmla="*/ 4536996 h 4596459"/>
              <a:gd name="connsiteX351" fmla="*/ 2301120 w 4716235"/>
              <a:gd name="connsiteY351" fmla="*/ 4526258 h 4596459"/>
              <a:gd name="connsiteX352" fmla="*/ 2311856 w 4716235"/>
              <a:gd name="connsiteY352" fmla="*/ 4515521 h 4596459"/>
              <a:gd name="connsiteX353" fmla="*/ 1490079 w 4716235"/>
              <a:gd name="connsiteY353" fmla="*/ 4514365 h 4596459"/>
              <a:gd name="connsiteX354" fmla="*/ 1500817 w 4716235"/>
              <a:gd name="connsiteY354" fmla="*/ 4525101 h 4596459"/>
              <a:gd name="connsiteX355" fmla="*/ 1490079 w 4716235"/>
              <a:gd name="connsiteY355" fmla="*/ 4535837 h 4596459"/>
              <a:gd name="connsiteX356" fmla="*/ 1479342 w 4716235"/>
              <a:gd name="connsiteY356" fmla="*/ 4525101 h 4596459"/>
              <a:gd name="connsiteX357" fmla="*/ 1490079 w 4716235"/>
              <a:gd name="connsiteY357" fmla="*/ 4514365 h 4596459"/>
              <a:gd name="connsiteX358" fmla="*/ 1132297 w 4716235"/>
              <a:gd name="connsiteY358" fmla="*/ 4514200 h 4596459"/>
              <a:gd name="connsiteX359" fmla="*/ 1133948 w 4716235"/>
              <a:gd name="connsiteY359" fmla="*/ 4515853 h 4596459"/>
              <a:gd name="connsiteX360" fmla="*/ 1132297 w 4716235"/>
              <a:gd name="connsiteY360" fmla="*/ 4517503 h 4596459"/>
              <a:gd name="connsiteX361" fmla="*/ 1130644 w 4716235"/>
              <a:gd name="connsiteY361" fmla="*/ 4515853 h 4596459"/>
              <a:gd name="connsiteX362" fmla="*/ 1132297 w 4716235"/>
              <a:gd name="connsiteY362" fmla="*/ 4514200 h 4596459"/>
              <a:gd name="connsiteX363" fmla="*/ 2168643 w 4716235"/>
              <a:gd name="connsiteY363" fmla="*/ 4513869 h 4596459"/>
              <a:gd name="connsiteX364" fmla="*/ 2179382 w 4716235"/>
              <a:gd name="connsiteY364" fmla="*/ 4524605 h 4596459"/>
              <a:gd name="connsiteX365" fmla="*/ 2168643 w 4716235"/>
              <a:gd name="connsiteY365" fmla="*/ 4535341 h 4596459"/>
              <a:gd name="connsiteX366" fmla="*/ 2157907 w 4716235"/>
              <a:gd name="connsiteY366" fmla="*/ 4524605 h 4596459"/>
              <a:gd name="connsiteX367" fmla="*/ 2168643 w 4716235"/>
              <a:gd name="connsiteY367" fmla="*/ 4513869 h 4596459"/>
              <a:gd name="connsiteX368" fmla="*/ 1521958 w 4716235"/>
              <a:gd name="connsiteY368" fmla="*/ 4512714 h 4596459"/>
              <a:gd name="connsiteX369" fmla="*/ 1532695 w 4716235"/>
              <a:gd name="connsiteY369" fmla="*/ 4523450 h 4596459"/>
              <a:gd name="connsiteX370" fmla="*/ 1521958 w 4716235"/>
              <a:gd name="connsiteY370" fmla="*/ 4534186 h 4596459"/>
              <a:gd name="connsiteX371" fmla="*/ 1511222 w 4716235"/>
              <a:gd name="connsiteY371" fmla="*/ 4523450 h 4596459"/>
              <a:gd name="connsiteX372" fmla="*/ 1521958 w 4716235"/>
              <a:gd name="connsiteY372" fmla="*/ 4512714 h 4596459"/>
              <a:gd name="connsiteX373" fmla="*/ 2140728 w 4716235"/>
              <a:gd name="connsiteY373" fmla="*/ 4511722 h 4596459"/>
              <a:gd name="connsiteX374" fmla="*/ 2151467 w 4716235"/>
              <a:gd name="connsiteY374" fmla="*/ 4522458 h 4596459"/>
              <a:gd name="connsiteX375" fmla="*/ 2140728 w 4716235"/>
              <a:gd name="connsiteY375" fmla="*/ 4533194 h 4596459"/>
              <a:gd name="connsiteX376" fmla="*/ 2129992 w 4716235"/>
              <a:gd name="connsiteY376" fmla="*/ 4522458 h 4596459"/>
              <a:gd name="connsiteX377" fmla="*/ 2140728 w 4716235"/>
              <a:gd name="connsiteY377" fmla="*/ 4511722 h 4596459"/>
              <a:gd name="connsiteX378" fmla="*/ 1555820 w 4716235"/>
              <a:gd name="connsiteY378" fmla="*/ 4511061 h 4596459"/>
              <a:gd name="connsiteX379" fmla="*/ 1566477 w 4716235"/>
              <a:gd name="connsiteY379" fmla="*/ 4521716 h 4596459"/>
              <a:gd name="connsiteX380" fmla="*/ 1567383 w 4716235"/>
              <a:gd name="connsiteY380" fmla="*/ 4520807 h 4596459"/>
              <a:gd name="connsiteX381" fmla="*/ 1578120 w 4716235"/>
              <a:gd name="connsiteY381" fmla="*/ 4531543 h 4596459"/>
              <a:gd name="connsiteX382" fmla="*/ 1577790 w 4716235"/>
              <a:gd name="connsiteY382" fmla="*/ 4531873 h 4596459"/>
              <a:gd name="connsiteX383" fmla="*/ 1588364 w 4716235"/>
              <a:gd name="connsiteY383" fmla="*/ 4542445 h 4596459"/>
              <a:gd name="connsiteX384" fmla="*/ 1577626 w 4716235"/>
              <a:gd name="connsiteY384" fmla="*/ 4553181 h 4596459"/>
              <a:gd name="connsiteX385" fmla="*/ 1566889 w 4716235"/>
              <a:gd name="connsiteY385" fmla="*/ 4542445 h 4596459"/>
              <a:gd name="connsiteX386" fmla="*/ 1567219 w 4716235"/>
              <a:gd name="connsiteY386" fmla="*/ 4542117 h 4596459"/>
              <a:gd name="connsiteX387" fmla="*/ 1556729 w 4716235"/>
              <a:gd name="connsiteY387" fmla="*/ 4531625 h 4596459"/>
              <a:gd name="connsiteX388" fmla="*/ 1555820 w 4716235"/>
              <a:gd name="connsiteY388" fmla="*/ 4532534 h 4596459"/>
              <a:gd name="connsiteX389" fmla="*/ 1545084 w 4716235"/>
              <a:gd name="connsiteY389" fmla="*/ 4521797 h 4596459"/>
              <a:gd name="connsiteX390" fmla="*/ 1555820 w 4716235"/>
              <a:gd name="connsiteY390" fmla="*/ 4511061 h 4596459"/>
              <a:gd name="connsiteX391" fmla="*/ 2398576 w 4716235"/>
              <a:gd name="connsiteY391" fmla="*/ 4510731 h 4596459"/>
              <a:gd name="connsiteX392" fmla="*/ 2409314 w 4716235"/>
              <a:gd name="connsiteY392" fmla="*/ 4521468 h 4596459"/>
              <a:gd name="connsiteX393" fmla="*/ 2398576 w 4716235"/>
              <a:gd name="connsiteY393" fmla="*/ 4532204 h 4596459"/>
              <a:gd name="connsiteX394" fmla="*/ 2387839 w 4716235"/>
              <a:gd name="connsiteY394" fmla="*/ 4521468 h 4596459"/>
              <a:gd name="connsiteX395" fmla="*/ 2398576 w 4716235"/>
              <a:gd name="connsiteY395" fmla="*/ 4510731 h 4596459"/>
              <a:gd name="connsiteX396" fmla="*/ 1217860 w 4716235"/>
              <a:gd name="connsiteY396" fmla="*/ 4510565 h 4596459"/>
              <a:gd name="connsiteX397" fmla="*/ 1228598 w 4716235"/>
              <a:gd name="connsiteY397" fmla="*/ 4521301 h 4596459"/>
              <a:gd name="connsiteX398" fmla="*/ 1217860 w 4716235"/>
              <a:gd name="connsiteY398" fmla="*/ 4532038 h 4596459"/>
              <a:gd name="connsiteX399" fmla="*/ 1207124 w 4716235"/>
              <a:gd name="connsiteY399" fmla="*/ 4521301 h 4596459"/>
              <a:gd name="connsiteX400" fmla="*/ 1217860 w 4716235"/>
              <a:gd name="connsiteY400" fmla="*/ 4510565 h 4596459"/>
              <a:gd name="connsiteX401" fmla="*/ 2111656 w 4716235"/>
              <a:gd name="connsiteY401" fmla="*/ 4510071 h 4596459"/>
              <a:gd name="connsiteX402" fmla="*/ 2122395 w 4716235"/>
              <a:gd name="connsiteY402" fmla="*/ 4520807 h 4596459"/>
              <a:gd name="connsiteX403" fmla="*/ 2111656 w 4716235"/>
              <a:gd name="connsiteY403" fmla="*/ 4531543 h 4596459"/>
              <a:gd name="connsiteX404" fmla="*/ 2100920 w 4716235"/>
              <a:gd name="connsiteY404" fmla="*/ 4520807 h 4596459"/>
              <a:gd name="connsiteX405" fmla="*/ 2111656 w 4716235"/>
              <a:gd name="connsiteY405" fmla="*/ 4510071 h 4596459"/>
              <a:gd name="connsiteX406" fmla="*/ 1591499 w 4716235"/>
              <a:gd name="connsiteY406" fmla="*/ 4509244 h 4596459"/>
              <a:gd name="connsiteX407" fmla="*/ 1601164 w 4716235"/>
              <a:gd name="connsiteY407" fmla="*/ 4518906 h 4596459"/>
              <a:gd name="connsiteX408" fmla="*/ 1601576 w 4716235"/>
              <a:gd name="connsiteY408" fmla="*/ 4518494 h 4596459"/>
              <a:gd name="connsiteX409" fmla="*/ 1612315 w 4716235"/>
              <a:gd name="connsiteY409" fmla="*/ 4529230 h 4596459"/>
              <a:gd name="connsiteX410" fmla="*/ 1611900 w 4716235"/>
              <a:gd name="connsiteY410" fmla="*/ 4529644 h 4596459"/>
              <a:gd name="connsiteX411" fmla="*/ 1621232 w 4716235"/>
              <a:gd name="connsiteY411" fmla="*/ 4538976 h 4596459"/>
              <a:gd name="connsiteX412" fmla="*/ 1619250 w 4716235"/>
              <a:gd name="connsiteY412" fmla="*/ 4540958 h 4596459"/>
              <a:gd name="connsiteX413" fmla="*/ 1629162 w 4716235"/>
              <a:gd name="connsiteY413" fmla="*/ 4550869 h 4596459"/>
              <a:gd name="connsiteX414" fmla="*/ 1618424 w 4716235"/>
              <a:gd name="connsiteY414" fmla="*/ 4561606 h 4596459"/>
              <a:gd name="connsiteX415" fmla="*/ 1607688 w 4716235"/>
              <a:gd name="connsiteY415" fmla="*/ 4550869 h 4596459"/>
              <a:gd name="connsiteX416" fmla="*/ 1609670 w 4716235"/>
              <a:gd name="connsiteY416" fmla="*/ 4548887 h 4596459"/>
              <a:gd name="connsiteX417" fmla="*/ 1599759 w 4716235"/>
              <a:gd name="connsiteY417" fmla="*/ 4538976 h 4596459"/>
              <a:gd name="connsiteX418" fmla="*/ 1600173 w 4716235"/>
              <a:gd name="connsiteY418" fmla="*/ 4538563 h 4596459"/>
              <a:gd name="connsiteX419" fmla="*/ 1591914 w 4716235"/>
              <a:gd name="connsiteY419" fmla="*/ 4530303 h 4596459"/>
              <a:gd name="connsiteX420" fmla="*/ 1591499 w 4716235"/>
              <a:gd name="connsiteY420" fmla="*/ 4530716 h 4596459"/>
              <a:gd name="connsiteX421" fmla="*/ 1580763 w 4716235"/>
              <a:gd name="connsiteY421" fmla="*/ 4519980 h 4596459"/>
              <a:gd name="connsiteX422" fmla="*/ 1591499 w 4716235"/>
              <a:gd name="connsiteY422" fmla="*/ 4509244 h 4596459"/>
              <a:gd name="connsiteX423" fmla="*/ 2080932 w 4716235"/>
              <a:gd name="connsiteY423" fmla="*/ 4508749 h 4596459"/>
              <a:gd name="connsiteX424" fmla="*/ 2091670 w 4716235"/>
              <a:gd name="connsiteY424" fmla="*/ 4519486 h 4596459"/>
              <a:gd name="connsiteX425" fmla="*/ 2080932 w 4716235"/>
              <a:gd name="connsiteY425" fmla="*/ 4530222 h 4596459"/>
              <a:gd name="connsiteX426" fmla="*/ 2070195 w 4716235"/>
              <a:gd name="connsiteY426" fmla="*/ 4519486 h 4596459"/>
              <a:gd name="connsiteX427" fmla="*/ 2080932 w 4716235"/>
              <a:gd name="connsiteY427" fmla="*/ 4508749 h 4596459"/>
              <a:gd name="connsiteX428" fmla="*/ 2048391 w 4716235"/>
              <a:gd name="connsiteY428" fmla="*/ 4507593 h 4596459"/>
              <a:gd name="connsiteX429" fmla="*/ 2059130 w 4716235"/>
              <a:gd name="connsiteY429" fmla="*/ 4518329 h 4596459"/>
              <a:gd name="connsiteX430" fmla="*/ 2048391 w 4716235"/>
              <a:gd name="connsiteY430" fmla="*/ 4529065 h 4596459"/>
              <a:gd name="connsiteX431" fmla="*/ 2037655 w 4716235"/>
              <a:gd name="connsiteY431" fmla="*/ 4518329 h 4596459"/>
              <a:gd name="connsiteX432" fmla="*/ 2048391 w 4716235"/>
              <a:gd name="connsiteY432" fmla="*/ 4507593 h 4596459"/>
              <a:gd name="connsiteX433" fmla="*/ 2014034 w 4716235"/>
              <a:gd name="connsiteY433" fmla="*/ 4506106 h 4596459"/>
              <a:gd name="connsiteX434" fmla="*/ 2024772 w 4716235"/>
              <a:gd name="connsiteY434" fmla="*/ 4516843 h 4596459"/>
              <a:gd name="connsiteX435" fmla="*/ 2014034 w 4716235"/>
              <a:gd name="connsiteY435" fmla="*/ 4527579 h 4596459"/>
              <a:gd name="connsiteX436" fmla="*/ 2003297 w 4716235"/>
              <a:gd name="connsiteY436" fmla="*/ 4516843 h 4596459"/>
              <a:gd name="connsiteX437" fmla="*/ 2014034 w 4716235"/>
              <a:gd name="connsiteY437" fmla="*/ 4506106 h 4596459"/>
              <a:gd name="connsiteX438" fmla="*/ 1413435 w 4716235"/>
              <a:gd name="connsiteY438" fmla="*/ 4506106 h 4596459"/>
              <a:gd name="connsiteX439" fmla="*/ 1424173 w 4716235"/>
              <a:gd name="connsiteY439" fmla="*/ 4516843 h 4596459"/>
              <a:gd name="connsiteX440" fmla="*/ 1413435 w 4716235"/>
              <a:gd name="connsiteY440" fmla="*/ 4527579 h 4596459"/>
              <a:gd name="connsiteX441" fmla="*/ 1402698 w 4716235"/>
              <a:gd name="connsiteY441" fmla="*/ 4516843 h 4596459"/>
              <a:gd name="connsiteX442" fmla="*/ 1413435 w 4716235"/>
              <a:gd name="connsiteY442" fmla="*/ 4506106 h 4596459"/>
              <a:gd name="connsiteX443" fmla="*/ 1239993 w 4716235"/>
              <a:gd name="connsiteY443" fmla="*/ 4505446 h 4596459"/>
              <a:gd name="connsiteX444" fmla="*/ 1250731 w 4716235"/>
              <a:gd name="connsiteY444" fmla="*/ 4516182 h 4596459"/>
              <a:gd name="connsiteX445" fmla="*/ 1239993 w 4716235"/>
              <a:gd name="connsiteY445" fmla="*/ 4526918 h 4596459"/>
              <a:gd name="connsiteX446" fmla="*/ 1229257 w 4716235"/>
              <a:gd name="connsiteY446" fmla="*/ 4516182 h 4596459"/>
              <a:gd name="connsiteX447" fmla="*/ 1239993 w 4716235"/>
              <a:gd name="connsiteY447" fmla="*/ 4505446 h 4596459"/>
              <a:gd name="connsiteX448" fmla="*/ 1443002 w 4716235"/>
              <a:gd name="connsiteY448" fmla="*/ 4504950 h 4596459"/>
              <a:gd name="connsiteX449" fmla="*/ 1453739 w 4716235"/>
              <a:gd name="connsiteY449" fmla="*/ 4515686 h 4596459"/>
              <a:gd name="connsiteX450" fmla="*/ 1443002 w 4716235"/>
              <a:gd name="connsiteY450" fmla="*/ 4526422 h 4596459"/>
              <a:gd name="connsiteX451" fmla="*/ 1432266 w 4716235"/>
              <a:gd name="connsiteY451" fmla="*/ 4515686 h 4596459"/>
              <a:gd name="connsiteX452" fmla="*/ 1443002 w 4716235"/>
              <a:gd name="connsiteY452" fmla="*/ 4504950 h 4596459"/>
              <a:gd name="connsiteX453" fmla="*/ 2377929 w 4716235"/>
              <a:gd name="connsiteY453" fmla="*/ 4504289 h 4596459"/>
              <a:gd name="connsiteX454" fmla="*/ 2388667 w 4716235"/>
              <a:gd name="connsiteY454" fmla="*/ 4515025 h 4596459"/>
              <a:gd name="connsiteX455" fmla="*/ 2377929 w 4716235"/>
              <a:gd name="connsiteY455" fmla="*/ 4525763 h 4596459"/>
              <a:gd name="connsiteX456" fmla="*/ 2367192 w 4716235"/>
              <a:gd name="connsiteY456" fmla="*/ 4515025 h 4596459"/>
              <a:gd name="connsiteX457" fmla="*/ 2377929 w 4716235"/>
              <a:gd name="connsiteY457" fmla="*/ 4504289 h 4596459"/>
              <a:gd name="connsiteX458" fmla="*/ 1977529 w 4716235"/>
              <a:gd name="connsiteY458" fmla="*/ 4503958 h 4596459"/>
              <a:gd name="connsiteX459" fmla="*/ 1988265 w 4716235"/>
              <a:gd name="connsiteY459" fmla="*/ 4514694 h 4596459"/>
              <a:gd name="connsiteX460" fmla="*/ 1977529 w 4716235"/>
              <a:gd name="connsiteY460" fmla="*/ 4525430 h 4596459"/>
              <a:gd name="connsiteX461" fmla="*/ 1977033 w 4716235"/>
              <a:gd name="connsiteY461" fmla="*/ 4524936 h 4596459"/>
              <a:gd name="connsiteX462" fmla="*/ 1966791 w 4716235"/>
              <a:gd name="connsiteY462" fmla="*/ 4535177 h 4596459"/>
              <a:gd name="connsiteX463" fmla="*/ 1966710 w 4716235"/>
              <a:gd name="connsiteY463" fmla="*/ 4535095 h 4596459"/>
              <a:gd name="connsiteX464" fmla="*/ 1958368 w 4716235"/>
              <a:gd name="connsiteY464" fmla="*/ 4543436 h 4596459"/>
              <a:gd name="connsiteX465" fmla="*/ 1959358 w 4716235"/>
              <a:gd name="connsiteY465" fmla="*/ 4544427 h 4596459"/>
              <a:gd name="connsiteX466" fmla="*/ 1948953 w 4716235"/>
              <a:gd name="connsiteY466" fmla="*/ 4554832 h 4596459"/>
              <a:gd name="connsiteX467" fmla="*/ 1951763 w 4716235"/>
              <a:gd name="connsiteY467" fmla="*/ 4557641 h 4596459"/>
              <a:gd name="connsiteX468" fmla="*/ 1941024 w 4716235"/>
              <a:gd name="connsiteY468" fmla="*/ 4568378 h 4596459"/>
              <a:gd name="connsiteX469" fmla="*/ 1930288 w 4716235"/>
              <a:gd name="connsiteY469" fmla="*/ 4557641 h 4596459"/>
              <a:gd name="connsiteX470" fmla="*/ 1940695 w 4716235"/>
              <a:gd name="connsiteY470" fmla="*/ 4547236 h 4596459"/>
              <a:gd name="connsiteX471" fmla="*/ 1937886 w 4716235"/>
              <a:gd name="connsiteY471" fmla="*/ 4544427 h 4596459"/>
              <a:gd name="connsiteX472" fmla="*/ 1947465 w 4716235"/>
              <a:gd name="connsiteY472" fmla="*/ 4534847 h 4596459"/>
              <a:gd name="connsiteX473" fmla="*/ 1946475 w 4716235"/>
              <a:gd name="connsiteY473" fmla="*/ 4533855 h 4596459"/>
              <a:gd name="connsiteX474" fmla="*/ 1957211 w 4716235"/>
              <a:gd name="connsiteY474" fmla="*/ 4523119 h 4596459"/>
              <a:gd name="connsiteX475" fmla="*/ 1957295 w 4716235"/>
              <a:gd name="connsiteY475" fmla="*/ 4523202 h 4596459"/>
              <a:gd name="connsiteX476" fmla="*/ 1966791 w 4716235"/>
              <a:gd name="connsiteY476" fmla="*/ 4513704 h 4596459"/>
              <a:gd name="connsiteX477" fmla="*/ 1967287 w 4716235"/>
              <a:gd name="connsiteY477" fmla="*/ 4514200 h 4596459"/>
              <a:gd name="connsiteX478" fmla="*/ 1474386 w 4716235"/>
              <a:gd name="connsiteY478" fmla="*/ 4503958 h 4596459"/>
              <a:gd name="connsiteX479" fmla="*/ 1485124 w 4716235"/>
              <a:gd name="connsiteY479" fmla="*/ 4514694 h 4596459"/>
              <a:gd name="connsiteX480" fmla="*/ 1474386 w 4716235"/>
              <a:gd name="connsiteY480" fmla="*/ 4525430 h 4596459"/>
              <a:gd name="connsiteX481" fmla="*/ 1463650 w 4716235"/>
              <a:gd name="connsiteY481" fmla="*/ 4514694 h 4596459"/>
              <a:gd name="connsiteX482" fmla="*/ 1474386 w 4716235"/>
              <a:gd name="connsiteY482" fmla="*/ 4503958 h 4596459"/>
              <a:gd name="connsiteX483" fmla="*/ 1507587 w 4716235"/>
              <a:gd name="connsiteY483" fmla="*/ 4502801 h 4596459"/>
              <a:gd name="connsiteX484" fmla="*/ 1518325 w 4716235"/>
              <a:gd name="connsiteY484" fmla="*/ 4513537 h 4596459"/>
              <a:gd name="connsiteX485" fmla="*/ 1507587 w 4716235"/>
              <a:gd name="connsiteY485" fmla="*/ 4524274 h 4596459"/>
              <a:gd name="connsiteX486" fmla="*/ 1496851 w 4716235"/>
              <a:gd name="connsiteY486" fmla="*/ 4513537 h 4596459"/>
              <a:gd name="connsiteX487" fmla="*/ 1507587 w 4716235"/>
              <a:gd name="connsiteY487" fmla="*/ 4502801 h 4596459"/>
              <a:gd name="connsiteX488" fmla="*/ 1938711 w 4716235"/>
              <a:gd name="connsiteY488" fmla="*/ 4501150 h 4596459"/>
              <a:gd name="connsiteX489" fmla="*/ 1949449 w 4716235"/>
              <a:gd name="connsiteY489" fmla="*/ 4511886 h 4596459"/>
              <a:gd name="connsiteX490" fmla="*/ 1939870 w 4716235"/>
              <a:gd name="connsiteY490" fmla="*/ 4521468 h 4596459"/>
              <a:gd name="connsiteX491" fmla="*/ 1940528 w 4716235"/>
              <a:gd name="connsiteY491" fmla="*/ 4522127 h 4596459"/>
              <a:gd name="connsiteX492" fmla="*/ 1932022 w 4716235"/>
              <a:gd name="connsiteY492" fmla="*/ 4530635 h 4596459"/>
              <a:gd name="connsiteX493" fmla="*/ 1932600 w 4716235"/>
              <a:gd name="connsiteY493" fmla="*/ 4531212 h 4596459"/>
              <a:gd name="connsiteX494" fmla="*/ 1924258 w 4716235"/>
              <a:gd name="connsiteY494" fmla="*/ 4539554 h 4596459"/>
              <a:gd name="connsiteX495" fmla="*/ 1925498 w 4716235"/>
              <a:gd name="connsiteY495" fmla="*/ 4540794 h 4596459"/>
              <a:gd name="connsiteX496" fmla="*/ 1916578 w 4716235"/>
              <a:gd name="connsiteY496" fmla="*/ 4549713 h 4596459"/>
              <a:gd name="connsiteX497" fmla="*/ 1919221 w 4716235"/>
              <a:gd name="connsiteY497" fmla="*/ 4552355 h 4596459"/>
              <a:gd name="connsiteX498" fmla="*/ 1909143 w 4716235"/>
              <a:gd name="connsiteY498" fmla="*/ 4562431 h 4596459"/>
              <a:gd name="connsiteX499" fmla="*/ 1913770 w 4716235"/>
              <a:gd name="connsiteY499" fmla="*/ 4567056 h 4596459"/>
              <a:gd name="connsiteX500" fmla="*/ 1903032 w 4716235"/>
              <a:gd name="connsiteY500" fmla="*/ 4577794 h 4596459"/>
              <a:gd name="connsiteX501" fmla="*/ 1892296 w 4716235"/>
              <a:gd name="connsiteY501" fmla="*/ 4567056 h 4596459"/>
              <a:gd name="connsiteX502" fmla="*/ 1902371 w 4716235"/>
              <a:gd name="connsiteY502" fmla="*/ 4556980 h 4596459"/>
              <a:gd name="connsiteX503" fmla="*/ 1897746 w 4716235"/>
              <a:gd name="connsiteY503" fmla="*/ 4552355 h 4596459"/>
              <a:gd name="connsiteX504" fmla="*/ 1906667 w 4716235"/>
              <a:gd name="connsiteY504" fmla="*/ 4543436 h 4596459"/>
              <a:gd name="connsiteX505" fmla="*/ 1904024 w 4716235"/>
              <a:gd name="connsiteY505" fmla="*/ 4540794 h 4596459"/>
              <a:gd name="connsiteX506" fmla="*/ 1912366 w 4716235"/>
              <a:gd name="connsiteY506" fmla="*/ 4532452 h 4596459"/>
              <a:gd name="connsiteX507" fmla="*/ 1911125 w 4716235"/>
              <a:gd name="connsiteY507" fmla="*/ 4531212 h 4596459"/>
              <a:gd name="connsiteX508" fmla="*/ 1919633 w 4716235"/>
              <a:gd name="connsiteY508" fmla="*/ 4522704 h 4596459"/>
              <a:gd name="connsiteX509" fmla="*/ 1919056 w 4716235"/>
              <a:gd name="connsiteY509" fmla="*/ 4522127 h 4596459"/>
              <a:gd name="connsiteX510" fmla="*/ 1928635 w 4716235"/>
              <a:gd name="connsiteY510" fmla="*/ 4512547 h 4596459"/>
              <a:gd name="connsiteX511" fmla="*/ 1927975 w 4716235"/>
              <a:gd name="connsiteY511" fmla="*/ 4511886 h 4596459"/>
              <a:gd name="connsiteX512" fmla="*/ 1938711 w 4716235"/>
              <a:gd name="connsiteY512" fmla="*/ 4501150 h 4596459"/>
              <a:gd name="connsiteX513" fmla="*/ 1542772 w 4716235"/>
              <a:gd name="connsiteY513" fmla="*/ 4501150 h 4596459"/>
              <a:gd name="connsiteX514" fmla="*/ 1553510 w 4716235"/>
              <a:gd name="connsiteY514" fmla="*/ 4511886 h 4596459"/>
              <a:gd name="connsiteX515" fmla="*/ 1542772 w 4716235"/>
              <a:gd name="connsiteY515" fmla="*/ 4522625 h 4596459"/>
              <a:gd name="connsiteX516" fmla="*/ 1532036 w 4716235"/>
              <a:gd name="connsiteY516" fmla="*/ 4511886 h 4596459"/>
              <a:gd name="connsiteX517" fmla="*/ 1542772 w 4716235"/>
              <a:gd name="connsiteY517" fmla="*/ 4501150 h 4596459"/>
              <a:gd name="connsiteX518" fmla="*/ 2159393 w 4716235"/>
              <a:gd name="connsiteY518" fmla="*/ 4499829 h 4596459"/>
              <a:gd name="connsiteX519" fmla="*/ 2170132 w 4716235"/>
              <a:gd name="connsiteY519" fmla="*/ 4510565 h 4596459"/>
              <a:gd name="connsiteX520" fmla="*/ 2159393 w 4716235"/>
              <a:gd name="connsiteY520" fmla="*/ 4521301 h 4596459"/>
              <a:gd name="connsiteX521" fmla="*/ 2148657 w 4716235"/>
              <a:gd name="connsiteY521" fmla="*/ 4510565 h 4596459"/>
              <a:gd name="connsiteX522" fmla="*/ 2159393 w 4716235"/>
              <a:gd name="connsiteY522" fmla="*/ 4499829 h 4596459"/>
              <a:gd name="connsiteX523" fmla="*/ 2356621 w 4716235"/>
              <a:gd name="connsiteY523" fmla="*/ 4499168 h 4596459"/>
              <a:gd name="connsiteX524" fmla="*/ 2367359 w 4716235"/>
              <a:gd name="connsiteY524" fmla="*/ 4509904 h 4596459"/>
              <a:gd name="connsiteX525" fmla="*/ 2356621 w 4716235"/>
              <a:gd name="connsiteY525" fmla="*/ 4520642 h 4596459"/>
              <a:gd name="connsiteX526" fmla="*/ 2345884 w 4716235"/>
              <a:gd name="connsiteY526" fmla="*/ 4509904 h 4596459"/>
              <a:gd name="connsiteX527" fmla="*/ 2356621 w 4716235"/>
              <a:gd name="connsiteY527" fmla="*/ 4499168 h 4596459"/>
              <a:gd name="connsiteX528" fmla="*/ 2129496 w 4716235"/>
              <a:gd name="connsiteY528" fmla="*/ 4499168 h 4596459"/>
              <a:gd name="connsiteX529" fmla="*/ 2140234 w 4716235"/>
              <a:gd name="connsiteY529" fmla="*/ 4509904 h 4596459"/>
              <a:gd name="connsiteX530" fmla="*/ 2129496 w 4716235"/>
              <a:gd name="connsiteY530" fmla="*/ 4520642 h 4596459"/>
              <a:gd name="connsiteX531" fmla="*/ 2118760 w 4716235"/>
              <a:gd name="connsiteY531" fmla="*/ 4509904 h 4596459"/>
              <a:gd name="connsiteX532" fmla="*/ 2129496 w 4716235"/>
              <a:gd name="connsiteY532" fmla="*/ 4499168 h 4596459"/>
              <a:gd name="connsiteX533" fmla="*/ 2462337 w 4716235"/>
              <a:gd name="connsiteY533" fmla="*/ 4498838 h 4596459"/>
              <a:gd name="connsiteX534" fmla="*/ 2472909 w 4716235"/>
              <a:gd name="connsiteY534" fmla="*/ 4509410 h 4596459"/>
              <a:gd name="connsiteX535" fmla="*/ 2462337 w 4716235"/>
              <a:gd name="connsiteY535" fmla="*/ 4519982 h 4596459"/>
              <a:gd name="connsiteX536" fmla="*/ 2451765 w 4716235"/>
              <a:gd name="connsiteY536" fmla="*/ 4509410 h 4596459"/>
              <a:gd name="connsiteX537" fmla="*/ 2462337 w 4716235"/>
              <a:gd name="connsiteY537" fmla="*/ 4498838 h 4596459"/>
              <a:gd name="connsiteX538" fmla="*/ 1580269 w 4716235"/>
              <a:gd name="connsiteY538" fmla="*/ 4498672 h 4596459"/>
              <a:gd name="connsiteX539" fmla="*/ 1591007 w 4716235"/>
              <a:gd name="connsiteY539" fmla="*/ 4509408 h 4596459"/>
              <a:gd name="connsiteX540" fmla="*/ 1580269 w 4716235"/>
              <a:gd name="connsiteY540" fmla="*/ 4520145 h 4596459"/>
              <a:gd name="connsiteX541" fmla="*/ 1569532 w 4716235"/>
              <a:gd name="connsiteY541" fmla="*/ 4509408 h 4596459"/>
              <a:gd name="connsiteX542" fmla="*/ 1580269 w 4716235"/>
              <a:gd name="connsiteY542" fmla="*/ 4498672 h 4596459"/>
              <a:gd name="connsiteX543" fmla="*/ 1152283 w 4716235"/>
              <a:gd name="connsiteY543" fmla="*/ 4498672 h 4596459"/>
              <a:gd name="connsiteX544" fmla="*/ 1163021 w 4716235"/>
              <a:gd name="connsiteY544" fmla="*/ 4509408 h 4596459"/>
              <a:gd name="connsiteX545" fmla="*/ 1152283 w 4716235"/>
              <a:gd name="connsiteY545" fmla="*/ 4520145 h 4596459"/>
              <a:gd name="connsiteX546" fmla="*/ 1141547 w 4716235"/>
              <a:gd name="connsiteY546" fmla="*/ 4509408 h 4596459"/>
              <a:gd name="connsiteX547" fmla="*/ 1152283 w 4716235"/>
              <a:gd name="connsiteY547" fmla="*/ 4498672 h 4596459"/>
              <a:gd name="connsiteX548" fmla="*/ 2097615 w 4716235"/>
              <a:gd name="connsiteY548" fmla="*/ 4498342 h 4596459"/>
              <a:gd name="connsiteX549" fmla="*/ 2108353 w 4716235"/>
              <a:gd name="connsiteY549" fmla="*/ 4509079 h 4596459"/>
              <a:gd name="connsiteX550" fmla="*/ 2097615 w 4716235"/>
              <a:gd name="connsiteY550" fmla="*/ 4519815 h 4596459"/>
              <a:gd name="connsiteX551" fmla="*/ 2086878 w 4716235"/>
              <a:gd name="connsiteY551" fmla="*/ 4509079 h 4596459"/>
              <a:gd name="connsiteX552" fmla="*/ 2097615 w 4716235"/>
              <a:gd name="connsiteY552" fmla="*/ 4498342 h 4596459"/>
              <a:gd name="connsiteX553" fmla="*/ 2063753 w 4716235"/>
              <a:gd name="connsiteY553" fmla="*/ 4497021 h 4596459"/>
              <a:gd name="connsiteX554" fmla="*/ 2074491 w 4716235"/>
              <a:gd name="connsiteY554" fmla="*/ 4507757 h 4596459"/>
              <a:gd name="connsiteX555" fmla="*/ 2063753 w 4716235"/>
              <a:gd name="connsiteY555" fmla="*/ 4518495 h 4596459"/>
              <a:gd name="connsiteX556" fmla="*/ 2053017 w 4716235"/>
              <a:gd name="connsiteY556" fmla="*/ 4507757 h 4596459"/>
              <a:gd name="connsiteX557" fmla="*/ 2063753 w 4716235"/>
              <a:gd name="connsiteY557" fmla="*/ 4497021 h 4596459"/>
              <a:gd name="connsiteX558" fmla="*/ 1897417 w 4716235"/>
              <a:gd name="connsiteY558" fmla="*/ 4497021 h 4596459"/>
              <a:gd name="connsiteX559" fmla="*/ 1908155 w 4716235"/>
              <a:gd name="connsiteY559" fmla="*/ 4507757 h 4596459"/>
              <a:gd name="connsiteX560" fmla="*/ 1899069 w 4716235"/>
              <a:gd name="connsiteY560" fmla="*/ 4516843 h 4596459"/>
              <a:gd name="connsiteX561" fmla="*/ 1901381 w 4716235"/>
              <a:gd name="connsiteY561" fmla="*/ 4519154 h 4596459"/>
              <a:gd name="connsiteX562" fmla="*/ 1893782 w 4716235"/>
              <a:gd name="connsiteY562" fmla="*/ 4526754 h 4596459"/>
              <a:gd name="connsiteX563" fmla="*/ 1895434 w 4716235"/>
              <a:gd name="connsiteY563" fmla="*/ 4528405 h 4596459"/>
              <a:gd name="connsiteX564" fmla="*/ 1888248 w 4716235"/>
              <a:gd name="connsiteY564" fmla="*/ 4535591 h 4596459"/>
              <a:gd name="connsiteX565" fmla="*/ 1889984 w 4716235"/>
              <a:gd name="connsiteY565" fmla="*/ 4537325 h 4596459"/>
              <a:gd name="connsiteX566" fmla="*/ 1882468 w 4716235"/>
              <a:gd name="connsiteY566" fmla="*/ 4544841 h 4596459"/>
              <a:gd name="connsiteX567" fmla="*/ 1885194 w 4716235"/>
              <a:gd name="connsiteY567" fmla="*/ 4547566 h 4596459"/>
              <a:gd name="connsiteX568" fmla="*/ 1876605 w 4716235"/>
              <a:gd name="connsiteY568" fmla="*/ 4556157 h 4596459"/>
              <a:gd name="connsiteX569" fmla="*/ 1880897 w 4716235"/>
              <a:gd name="connsiteY569" fmla="*/ 4560449 h 4596459"/>
              <a:gd name="connsiteX570" fmla="*/ 1870821 w 4716235"/>
              <a:gd name="connsiteY570" fmla="*/ 4570526 h 4596459"/>
              <a:gd name="connsiteX571" fmla="*/ 1877264 w 4716235"/>
              <a:gd name="connsiteY571" fmla="*/ 4576967 h 4596459"/>
              <a:gd name="connsiteX572" fmla="*/ 1866527 w 4716235"/>
              <a:gd name="connsiteY572" fmla="*/ 4587705 h 4596459"/>
              <a:gd name="connsiteX573" fmla="*/ 1855791 w 4716235"/>
              <a:gd name="connsiteY573" fmla="*/ 4576967 h 4596459"/>
              <a:gd name="connsiteX574" fmla="*/ 1865867 w 4716235"/>
              <a:gd name="connsiteY574" fmla="*/ 4566893 h 4596459"/>
              <a:gd name="connsiteX575" fmla="*/ 1859424 w 4716235"/>
              <a:gd name="connsiteY575" fmla="*/ 4560449 h 4596459"/>
              <a:gd name="connsiteX576" fmla="*/ 1868013 w 4716235"/>
              <a:gd name="connsiteY576" fmla="*/ 4551859 h 4596459"/>
              <a:gd name="connsiteX577" fmla="*/ 1863720 w 4716235"/>
              <a:gd name="connsiteY577" fmla="*/ 4547566 h 4596459"/>
              <a:gd name="connsiteX578" fmla="*/ 1871236 w 4716235"/>
              <a:gd name="connsiteY578" fmla="*/ 4540051 h 4596459"/>
              <a:gd name="connsiteX579" fmla="*/ 1868509 w 4716235"/>
              <a:gd name="connsiteY579" fmla="*/ 4537325 h 4596459"/>
              <a:gd name="connsiteX580" fmla="*/ 1875694 w 4716235"/>
              <a:gd name="connsiteY580" fmla="*/ 4530140 h 4596459"/>
              <a:gd name="connsiteX581" fmla="*/ 1873960 w 4716235"/>
              <a:gd name="connsiteY581" fmla="*/ 4528405 h 4596459"/>
              <a:gd name="connsiteX582" fmla="*/ 1881557 w 4716235"/>
              <a:gd name="connsiteY582" fmla="*/ 4520807 h 4596459"/>
              <a:gd name="connsiteX583" fmla="*/ 1879907 w 4716235"/>
              <a:gd name="connsiteY583" fmla="*/ 4519154 h 4596459"/>
              <a:gd name="connsiteX584" fmla="*/ 1888992 w 4716235"/>
              <a:gd name="connsiteY584" fmla="*/ 4510069 h 4596459"/>
              <a:gd name="connsiteX585" fmla="*/ 1886680 w 4716235"/>
              <a:gd name="connsiteY585" fmla="*/ 4507757 h 4596459"/>
              <a:gd name="connsiteX586" fmla="*/ 1897417 w 4716235"/>
              <a:gd name="connsiteY586" fmla="*/ 4497021 h 4596459"/>
              <a:gd name="connsiteX587" fmla="*/ 2334650 w 4716235"/>
              <a:gd name="connsiteY587" fmla="*/ 4495368 h 4596459"/>
              <a:gd name="connsiteX588" fmla="*/ 2345389 w 4716235"/>
              <a:gd name="connsiteY588" fmla="*/ 4506105 h 4596459"/>
              <a:gd name="connsiteX589" fmla="*/ 2334650 w 4716235"/>
              <a:gd name="connsiteY589" fmla="*/ 4516843 h 4596459"/>
              <a:gd name="connsiteX590" fmla="*/ 2323914 w 4716235"/>
              <a:gd name="connsiteY590" fmla="*/ 4506105 h 4596459"/>
              <a:gd name="connsiteX591" fmla="*/ 2334650 w 4716235"/>
              <a:gd name="connsiteY591" fmla="*/ 4495368 h 4596459"/>
              <a:gd name="connsiteX592" fmla="*/ 2027909 w 4716235"/>
              <a:gd name="connsiteY592" fmla="*/ 4495039 h 4596459"/>
              <a:gd name="connsiteX593" fmla="*/ 2038647 w 4716235"/>
              <a:gd name="connsiteY593" fmla="*/ 4505775 h 4596459"/>
              <a:gd name="connsiteX594" fmla="*/ 2027909 w 4716235"/>
              <a:gd name="connsiteY594" fmla="*/ 4516513 h 4596459"/>
              <a:gd name="connsiteX595" fmla="*/ 2017173 w 4716235"/>
              <a:gd name="connsiteY595" fmla="*/ 4505775 h 4596459"/>
              <a:gd name="connsiteX596" fmla="*/ 2027909 w 4716235"/>
              <a:gd name="connsiteY596" fmla="*/ 4495039 h 4596459"/>
              <a:gd name="connsiteX597" fmla="*/ 1620242 w 4716235"/>
              <a:gd name="connsiteY597" fmla="*/ 4495039 h 4596459"/>
              <a:gd name="connsiteX598" fmla="*/ 1630980 w 4716235"/>
              <a:gd name="connsiteY598" fmla="*/ 4505775 h 4596459"/>
              <a:gd name="connsiteX599" fmla="*/ 1629823 w 4716235"/>
              <a:gd name="connsiteY599" fmla="*/ 4506932 h 4596459"/>
              <a:gd name="connsiteX600" fmla="*/ 1640230 w 4716235"/>
              <a:gd name="connsiteY600" fmla="*/ 4517337 h 4596459"/>
              <a:gd name="connsiteX601" fmla="*/ 1639567 w 4716235"/>
              <a:gd name="connsiteY601" fmla="*/ 4517999 h 4596459"/>
              <a:gd name="connsiteX602" fmla="*/ 1648488 w 4716235"/>
              <a:gd name="connsiteY602" fmla="*/ 4526918 h 4596459"/>
              <a:gd name="connsiteX603" fmla="*/ 1647579 w 4716235"/>
              <a:gd name="connsiteY603" fmla="*/ 4527827 h 4596459"/>
              <a:gd name="connsiteX604" fmla="*/ 1655758 w 4716235"/>
              <a:gd name="connsiteY604" fmla="*/ 4536004 h 4596459"/>
              <a:gd name="connsiteX605" fmla="*/ 1653857 w 4716235"/>
              <a:gd name="connsiteY605" fmla="*/ 4537904 h 4596459"/>
              <a:gd name="connsiteX606" fmla="*/ 1662363 w 4716235"/>
              <a:gd name="connsiteY606" fmla="*/ 4546409 h 4596459"/>
              <a:gd name="connsiteX607" fmla="*/ 1658812 w 4716235"/>
              <a:gd name="connsiteY607" fmla="*/ 4549962 h 4596459"/>
              <a:gd name="connsiteX608" fmla="*/ 1668145 w 4716235"/>
              <a:gd name="connsiteY608" fmla="*/ 4559294 h 4596459"/>
              <a:gd name="connsiteX609" fmla="*/ 1657407 w 4716235"/>
              <a:gd name="connsiteY609" fmla="*/ 4570032 h 4596459"/>
              <a:gd name="connsiteX610" fmla="*/ 1646671 w 4716235"/>
              <a:gd name="connsiteY610" fmla="*/ 4559294 h 4596459"/>
              <a:gd name="connsiteX611" fmla="*/ 1650222 w 4716235"/>
              <a:gd name="connsiteY611" fmla="*/ 4555744 h 4596459"/>
              <a:gd name="connsiteX612" fmla="*/ 1640889 w 4716235"/>
              <a:gd name="connsiteY612" fmla="*/ 4546409 h 4596459"/>
              <a:gd name="connsiteX613" fmla="*/ 1642789 w 4716235"/>
              <a:gd name="connsiteY613" fmla="*/ 4544510 h 4596459"/>
              <a:gd name="connsiteX614" fmla="*/ 1634283 w 4716235"/>
              <a:gd name="connsiteY614" fmla="*/ 4536004 h 4596459"/>
              <a:gd name="connsiteX615" fmla="*/ 1635190 w 4716235"/>
              <a:gd name="connsiteY615" fmla="*/ 4535097 h 4596459"/>
              <a:gd name="connsiteX616" fmla="*/ 1627014 w 4716235"/>
              <a:gd name="connsiteY616" fmla="*/ 4526918 h 4596459"/>
              <a:gd name="connsiteX617" fmla="*/ 1627676 w 4716235"/>
              <a:gd name="connsiteY617" fmla="*/ 4526258 h 4596459"/>
              <a:gd name="connsiteX618" fmla="*/ 1618755 w 4716235"/>
              <a:gd name="connsiteY618" fmla="*/ 4517337 h 4596459"/>
              <a:gd name="connsiteX619" fmla="*/ 1619910 w 4716235"/>
              <a:gd name="connsiteY619" fmla="*/ 4516182 h 4596459"/>
              <a:gd name="connsiteX620" fmla="*/ 1609505 w 4716235"/>
              <a:gd name="connsiteY620" fmla="*/ 4505775 h 4596459"/>
              <a:gd name="connsiteX621" fmla="*/ 1620242 w 4716235"/>
              <a:gd name="connsiteY621" fmla="*/ 4495039 h 4596459"/>
              <a:gd name="connsiteX622" fmla="*/ 1393778 w 4716235"/>
              <a:gd name="connsiteY622" fmla="*/ 4494543 h 4596459"/>
              <a:gd name="connsiteX623" fmla="*/ 1404516 w 4716235"/>
              <a:gd name="connsiteY623" fmla="*/ 4505279 h 4596459"/>
              <a:gd name="connsiteX624" fmla="*/ 1393778 w 4716235"/>
              <a:gd name="connsiteY624" fmla="*/ 4516016 h 4596459"/>
              <a:gd name="connsiteX625" fmla="*/ 1395924 w 4716235"/>
              <a:gd name="connsiteY625" fmla="*/ 4518162 h 4596459"/>
              <a:gd name="connsiteX626" fmla="*/ 1385188 w 4716235"/>
              <a:gd name="connsiteY626" fmla="*/ 4528901 h 4596459"/>
              <a:gd name="connsiteX627" fmla="*/ 1374452 w 4716235"/>
              <a:gd name="connsiteY627" fmla="*/ 4518162 h 4596459"/>
              <a:gd name="connsiteX628" fmla="*/ 1385188 w 4716235"/>
              <a:gd name="connsiteY628" fmla="*/ 4507426 h 4596459"/>
              <a:gd name="connsiteX629" fmla="*/ 1383041 w 4716235"/>
              <a:gd name="connsiteY629" fmla="*/ 4505279 h 4596459"/>
              <a:gd name="connsiteX630" fmla="*/ 1393778 w 4716235"/>
              <a:gd name="connsiteY630" fmla="*/ 4494543 h 4596459"/>
              <a:gd name="connsiteX631" fmla="*/ 1424337 w 4716235"/>
              <a:gd name="connsiteY631" fmla="*/ 4494047 h 4596459"/>
              <a:gd name="connsiteX632" fmla="*/ 1435075 w 4716235"/>
              <a:gd name="connsiteY632" fmla="*/ 4504783 h 4596459"/>
              <a:gd name="connsiteX633" fmla="*/ 1424337 w 4716235"/>
              <a:gd name="connsiteY633" fmla="*/ 4515520 h 4596459"/>
              <a:gd name="connsiteX634" fmla="*/ 1413601 w 4716235"/>
              <a:gd name="connsiteY634" fmla="*/ 4504783 h 4596459"/>
              <a:gd name="connsiteX635" fmla="*/ 1424337 w 4716235"/>
              <a:gd name="connsiteY635" fmla="*/ 4494047 h 4596459"/>
              <a:gd name="connsiteX636" fmla="*/ 1172766 w 4716235"/>
              <a:gd name="connsiteY636" fmla="*/ 4493386 h 4596459"/>
              <a:gd name="connsiteX637" fmla="*/ 1183502 w 4716235"/>
              <a:gd name="connsiteY637" fmla="*/ 4504122 h 4596459"/>
              <a:gd name="connsiteX638" fmla="*/ 1172766 w 4716235"/>
              <a:gd name="connsiteY638" fmla="*/ 4514861 h 4596459"/>
              <a:gd name="connsiteX639" fmla="*/ 1162029 w 4716235"/>
              <a:gd name="connsiteY639" fmla="*/ 4504122 h 4596459"/>
              <a:gd name="connsiteX640" fmla="*/ 1172766 w 4716235"/>
              <a:gd name="connsiteY640" fmla="*/ 4493386 h 4596459"/>
              <a:gd name="connsiteX641" fmla="*/ 1456878 w 4716235"/>
              <a:gd name="connsiteY641" fmla="*/ 4493057 h 4596459"/>
              <a:gd name="connsiteX642" fmla="*/ 1467616 w 4716235"/>
              <a:gd name="connsiteY642" fmla="*/ 4503793 h 4596459"/>
              <a:gd name="connsiteX643" fmla="*/ 1456878 w 4716235"/>
              <a:gd name="connsiteY643" fmla="*/ 4514529 h 4596459"/>
              <a:gd name="connsiteX644" fmla="*/ 1446141 w 4716235"/>
              <a:gd name="connsiteY644" fmla="*/ 4503793 h 4596459"/>
              <a:gd name="connsiteX645" fmla="*/ 1456878 w 4716235"/>
              <a:gd name="connsiteY645" fmla="*/ 4493057 h 4596459"/>
              <a:gd name="connsiteX646" fmla="*/ 1989587 w 4716235"/>
              <a:gd name="connsiteY646" fmla="*/ 4492065 h 4596459"/>
              <a:gd name="connsiteX647" fmla="*/ 2000325 w 4716235"/>
              <a:gd name="connsiteY647" fmla="*/ 4502801 h 4596459"/>
              <a:gd name="connsiteX648" fmla="*/ 1989587 w 4716235"/>
              <a:gd name="connsiteY648" fmla="*/ 4513537 h 4596459"/>
              <a:gd name="connsiteX649" fmla="*/ 1978851 w 4716235"/>
              <a:gd name="connsiteY649" fmla="*/ 4502801 h 4596459"/>
              <a:gd name="connsiteX650" fmla="*/ 1989587 w 4716235"/>
              <a:gd name="connsiteY650" fmla="*/ 4492065 h 4596459"/>
              <a:gd name="connsiteX651" fmla="*/ 2443174 w 4716235"/>
              <a:gd name="connsiteY651" fmla="*/ 4491900 h 4596459"/>
              <a:gd name="connsiteX652" fmla="*/ 2453912 w 4716235"/>
              <a:gd name="connsiteY652" fmla="*/ 4502636 h 4596459"/>
              <a:gd name="connsiteX653" fmla="*/ 2443174 w 4716235"/>
              <a:gd name="connsiteY653" fmla="*/ 4513374 h 4596459"/>
              <a:gd name="connsiteX654" fmla="*/ 2432438 w 4716235"/>
              <a:gd name="connsiteY654" fmla="*/ 4502636 h 4596459"/>
              <a:gd name="connsiteX655" fmla="*/ 2443174 w 4716235"/>
              <a:gd name="connsiteY655" fmla="*/ 4491900 h 4596459"/>
              <a:gd name="connsiteX656" fmla="*/ 1491400 w 4716235"/>
              <a:gd name="connsiteY656" fmla="*/ 4491404 h 4596459"/>
              <a:gd name="connsiteX657" fmla="*/ 1502138 w 4716235"/>
              <a:gd name="connsiteY657" fmla="*/ 4502140 h 4596459"/>
              <a:gd name="connsiteX658" fmla="*/ 1491400 w 4716235"/>
              <a:gd name="connsiteY658" fmla="*/ 4512877 h 4596459"/>
              <a:gd name="connsiteX659" fmla="*/ 1480664 w 4716235"/>
              <a:gd name="connsiteY659" fmla="*/ 4502140 h 4596459"/>
              <a:gd name="connsiteX660" fmla="*/ 1491400 w 4716235"/>
              <a:gd name="connsiteY660" fmla="*/ 4491404 h 4596459"/>
              <a:gd name="connsiteX661" fmla="*/ 1853478 w 4716235"/>
              <a:gd name="connsiteY661" fmla="*/ 4491239 h 4596459"/>
              <a:gd name="connsiteX662" fmla="*/ 1864216 w 4716235"/>
              <a:gd name="connsiteY662" fmla="*/ 4501976 h 4596459"/>
              <a:gd name="connsiteX663" fmla="*/ 1855462 w 4716235"/>
              <a:gd name="connsiteY663" fmla="*/ 4510730 h 4596459"/>
              <a:gd name="connsiteX664" fmla="*/ 1859922 w 4716235"/>
              <a:gd name="connsiteY664" fmla="*/ 4515190 h 4596459"/>
              <a:gd name="connsiteX665" fmla="*/ 1852983 w 4716235"/>
              <a:gd name="connsiteY665" fmla="*/ 4522129 h 4596459"/>
              <a:gd name="connsiteX666" fmla="*/ 1855956 w 4716235"/>
              <a:gd name="connsiteY666" fmla="*/ 4525101 h 4596459"/>
              <a:gd name="connsiteX667" fmla="*/ 1849843 w 4716235"/>
              <a:gd name="connsiteY667" fmla="*/ 4531212 h 4596459"/>
              <a:gd name="connsiteX668" fmla="*/ 1852486 w 4716235"/>
              <a:gd name="connsiteY668" fmla="*/ 4533855 h 4596459"/>
              <a:gd name="connsiteX669" fmla="*/ 1846293 w 4716235"/>
              <a:gd name="connsiteY669" fmla="*/ 4540048 h 4596459"/>
              <a:gd name="connsiteX670" fmla="*/ 1849515 w 4716235"/>
              <a:gd name="connsiteY670" fmla="*/ 4543270 h 4596459"/>
              <a:gd name="connsiteX671" fmla="*/ 1842493 w 4716235"/>
              <a:gd name="connsiteY671" fmla="*/ 4550292 h 4596459"/>
              <a:gd name="connsiteX672" fmla="*/ 1846706 w 4716235"/>
              <a:gd name="connsiteY672" fmla="*/ 4554504 h 4596459"/>
              <a:gd name="connsiteX673" fmla="*/ 1838364 w 4716235"/>
              <a:gd name="connsiteY673" fmla="*/ 4562846 h 4596459"/>
              <a:gd name="connsiteX674" fmla="*/ 1844394 w 4716235"/>
              <a:gd name="connsiteY674" fmla="*/ 4568874 h 4596459"/>
              <a:gd name="connsiteX675" fmla="*/ 1833656 w 4716235"/>
              <a:gd name="connsiteY675" fmla="*/ 4579610 h 4596459"/>
              <a:gd name="connsiteX676" fmla="*/ 1822919 w 4716235"/>
              <a:gd name="connsiteY676" fmla="*/ 4568874 h 4596459"/>
              <a:gd name="connsiteX677" fmla="*/ 1831259 w 4716235"/>
              <a:gd name="connsiteY677" fmla="*/ 4560534 h 4596459"/>
              <a:gd name="connsiteX678" fmla="*/ 1825231 w 4716235"/>
              <a:gd name="connsiteY678" fmla="*/ 4554504 h 4596459"/>
              <a:gd name="connsiteX679" fmla="*/ 1832253 w 4716235"/>
              <a:gd name="connsiteY679" fmla="*/ 4547482 h 4596459"/>
              <a:gd name="connsiteX680" fmla="*/ 1828040 w 4716235"/>
              <a:gd name="connsiteY680" fmla="*/ 4543270 h 4596459"/>
              <a:gd name="connsiteX681" fmla="*/ 1834235 w 4716235"/>
              <a:gd name="connsiteY681" fmla="*/ 4537077 h 4596459"/>
              <a:gd name="connsiteX682" fmla="*/ 1831013 w 4716235"/>
              <a:gd name="connsiteY682" fmla="*/ 4533855 h 4596459"/>
              <a:gd name="connsiteX683" fmla="*/ 1837124 w 4716235"/>
              <a:gd name="connsiteY683" fmla="*/ 4527744 h 4596459"/>
              <a:gd name="connsiteX684" fmla="*/ 1834481 w 4716235"/>
              <a:gd name="connsiteY684" fmla="*/ 4525101 h 4596459"/>
              <a:gd name="connsiteX685" fmla="*/ 1841420 w 4716235"/>
              <a:gd name="connsiteY685" fmla="*/ 4518162 h 4596459"/>
              <a:gd name="connsiteX686" fmla="*/ 1838447 w 4716235"/>
              <a:gd name="connsiteY686" fmla="*/ 4515190 h 4596459"/>
              <a:gd name="connsiteX687" fmla="*/ 1847201 w 4716235"/>
              <a:gd name="connsiteY687" fmla="*/ 4506436 h 4596459"/>
              <a:gd name="connsiteX688" fmla="*/ 1842741 w 4716235"/>
              <a:gd name="connsiteY688" fmla="*/ 4501976 h 4596459"/>
              <a:gd name="connsiteX689" fmla="*/ 1853478 w 4716235"/>
              <a:gd name="connsiteY689" fmla="*/ 4491239 h 4596459"/>
              <a:gd name="connsiteX690" fmla="*/ 1662693 w 4716235"/>
              <a:gd name="connsiteY690" fmla="*/ 4489918 h 4596459"/>
              <a:gd name="connsiteX691" fmla="*/ 1673431 w 4716235"/>
              <a:gd name="connsiteY691" fmla="*/ 4500654 h 4596459"/>
              <a:gd name="connsiteX692" fmla="*/ 1670292 w 4716235"/>
              <a:gd name="connsiteY692" fmla="*/ 4503793 h 4596459"/>
              <a:gd name="connsiteX693" fmla="*/ 1680368 w 4716235"/>
              <a:gd name="connsiteY693" fmla="*/ 4513869 h 4596459"/>
              <a:gd name="connsiteX694" fmla="*/ 1678385 w 4716235"/>
              <a:gd name="connsiteY694" fmla="*/ 4515853 h 4596459"/>
              <a:gd name="connsiteX695" fmla="*/ 1686645 w 4716235"/>
              <a:gd name="connsiteY695" fmla="*/ 4524111 h 4596459"/>
              <a:gd name="connsiteX696" fmla="*/ 1685076 w 4716235"/>
              <a:gd name="connsiteY696" fmla="*/ 4525680 h 4596459"/>
              <a:gd name="connsiteX697" fmla="*/ 1692262 w 4716235"/>
              <a:gd name="connsiteY697" fmla="*/ 4532865 h 4596459"/>
              <a:gd name="connsiteX698" fmla="*/ 1690032 w 4716235"/>
              <a:gd name="connsiteY698" fmla="*/ 4535095 h 4596459"/>
              <a:gd name="connsiteX699" fmla="*/ 1697217 w 4716235"/>
              <a:gd name="connsiteY699" fmla="*/ 4542280 h 4596459"/>
              <a:gd name="connsiteX700" fmla="*/ 1693665 w 4716235"/>
              <a:gd name="connsiteY700" fmla="*/ 4545831 h 4596459"/>
              <a:gd name="connsiteX701" fmla="*/ 1701511 w 4716235"/>
              <a:gd name="connsiteY701" fmla="*/ 4553677 h 4596459"/>
              <a:gd name="connsiteX702" fmla="*/ 1696225 w 4716235"/>
              <a:gd name="connsiteY702" fmla="*/ 4558963 h 4596459"/>
              <a:gd name="connsiteX703" fmla="*/ 1705477 w 4716235"/>
              <a:gd name="connsiteY703" fmla="*/ 4568213 h 4596459"/>
              <a:gd name="connsiteX704" fmla="*/ 1694739 w 4716235"/>
              <a:gd name="connsiteY704" fmla="*/ 4578951 h 4596459"/>
              <a:gd name="connsiteX705" fmla="*/ 1684002 w 4716235"/>
              <a:gd name="connsiteY705" fmla="*/ 4568213 h 4596459"/>
              <a:gd name="connsiteX706" fmla="*/ 1689288 w 4716235"/>
              <a:gd name="connsiteY706" fmla="*/ 4562929 h 4596459"/>
              <a:gd name="connsiteX707" fmla="*/ 1680038 w 4716235"/>
              <a:gd name="connsiteY707" fmla="*/ 4553677 h 4596459"/>
              <a:gd name="connsiteX708" fmla="*/ 1683588 w 4716235"/>
              <a:gd name="connsiteY708" fmla="*/ 4550127 h 4596459"/>
              <a:gd name="connsiteX709" fmla="*/ 1675742 w 4716235"/>
              <a:gd name="connsiteY709" fmla="*/ 4542280 h 4596459"/>
              <a:gd name="connsiteX710" fmla="*/ 1677973 w 4716235"/>
              <a:gd name="connsiteY710" fmla="*/ 4540050 h 4596459"/>
              <a:gd name="connsiteX711" fmla="*/ 1670788 w 4716235"/>
              <a:gd name="connsiteY711" fmla="*/ 4532865 h 4596459"/>
              <a:gd name="connsiteX712" fmla="*/ 1672357 w 4716235"/>
              <a:gd name="connsiteY712" fmla="*/ 4531297 h 4596459"/>
              <a:gd name="connsiteX713" fmla="*/ 1665171 w 4716235"/>
              <a:gd name="connsiteY713" fmla="*/ 4524111 h 4596459"/>
              <a:gd name="connsiteX714" fmla="*/ 1667153 w 4716235"/>
              <a:gd name="connsiteY714" fmla="*/ 4522129 h 4596459"/>
              <a:gd name="connsiteX715" fmla="*/ 1658895 w 4716235"/>
              <a:gd name="connsiteY715" fmla="*/ 4513869 h 4596459"/>
              <a:gd name="connsiteX716" fmla="*/ 1662034 w 4716235"/>
              <a:gd name="connsiteY716" fmla="*/ 4510731 h 4596459"/>
              <a:gd name="connsiteX717" fmla="*/ 1651956 w 4716235"/>
              <a:gd name="connsiteY717" fmla="*/ 4500654 h 4596459"/>
              <a:gd name="connsiteX718" fmla="*/ 1662693 w 4716235"/>
              <a:gd name="connsiteY718" fmla="*/ 4489918 h 4596459"/>
              <a:gd name="connsiteX719" fmla="*/ 1193909 w 4716235"/>
              <a:gd name="connsiteY719" fmla="*/ 4489588 h 4596459"/>
              <a:gd name="connsiteX720" fmla="*/ 1204647 w 4716235"/>
              <a:gd name="connsiteY720" fmla="*/ 4500325 h 4596459"/>
              <a:gd name="connsiteX721" fmla="*/ 1193909 w 4716235"/>
              <a:gd name="connsiteY721" fmla="*/ 4511061 h 4596459"/>
              <a:gd name="connsiteX722" fmla="*/ 1183173 w 4716235"/>
              <a:gd name="connsiteY722" fmla="*/ 4500325 h 4596459"/>
              <a:gd name="connsiteX723" fmla="*/ 1193909 w 4716235"/>
              <a:gd name="connsiteY723" fmla="*/ 4489588 h 4596459"/>
              <a:gd name="connsiteX724" fmla="*/ 1528401 w 4716235"/>
              <a:gd name="connsiteY724" fmla="*/ 4488761 h 4596459"/>
              <a:gd name="connsiteX725" fmla="*/ 1539139 w 4716235"/>
              <a:gd name="connsiteY725" fmla="*/ 4499497 h 4596459"/>
              <a:gd name="connsiteX726" fmla="*/ 1528401 w 4716235"/>
              <a:gd name="connsiteY726" fmla="*/ 4510235 h 4596459"/>
              <a:gd name="connsiteX727" fmla="*/ 1517664 w 4716235"/>
              <a:gd name="connsiteY727" fmla="*/ 4499497 h 4596459"/>
              <a:gd name="connsiteX728" fmla="*/ 1528401 w 4716235"/>
              <a:gd name="connsiteY728" fmla="*/ 4488761 h 4596459"/>
              <a:gd name="connsiteX729" fmla="*/ 2180372 w 4716235"/>
              <a:gd name="connsiteY729" fmla="*/ 4488432 h 4596459"/>
              <a:gd name="connsiteX730" fmla="*/ 2191108 w 4716235"/>
              <a:gd name="connsiteY730" fmla="*/ 4499168 h 4596459"/>
              <a:gd name="connsiteX731" fmla="*/ 2188713 w 4716235"/>
              <a:gd name="connsiteY731" fmla="*/ 4501565 h 4596459"/>
              <a:gd name="connsiteX732" fmla="*/ 2198708 w 4716235"/>
              <a:gd name="connsiteY732" fmla="*/ 4511557 h 4596459"/>
              <a:gd name="connsiteX733" fmla="*/ 2187969 w 4716235"/>
              <a:gd name="connsiteY733" fmla="*/ 4522293 h 4596459"/>
              <a:gd name="connsiteX734" fmla="*/ 2177233 w 4716235"/>
              <a:gd name="connsiteY734" fmla="*/ 4511557 h 4596459"/>
              <a:gd name="connsiteX735" fmla="*/ 2179628 w 4716235"/>
              <a:gd name="connsiteY735" fmla="*/ 4509162 h 4596459"/>
              <a:gd name="connsiteX736" fmla="*/ 2169636 w 4716235"/>
              <a:gd name="connsiteY736" fmla="*/ 4499168 h 4596459"/>
              <a:gd name="connsiteX737" fmla="*/ 2180372 w 4716235"/>
              <a:gd name="connsiteY737" fmla="*/ 4488432 h 4596459"/>
              <a:gd name="connsiteX738" fmla="*/ 2149318 w 4716235"/>
              <a:gd name="connsiteY738" fmla="*/ 4487771 h 4596459"/>
              <a:gd name="connsiteX739" fmla="*/ 2160056 w 4716235"/>
              <a:gd name="connsiteY739" fmla="*/ 4498507 h 4596459"/>
              <a:gd name="connsiteX740" fmla="*/ 2149318 w 4716235"/>
              <a:gd name="connsiteY740" fmla="*/ 4509245 h 4596459"/>
              <a:gd name="connsiteX741" fmla="*/ 2138581 w 4716235"/>
              <a:gd name="connsiteY741" fmla="*/ 4498507 h 4596459"/>
              <a:gd name="connsiteX742" fmla="*/ 2149318 w 4716235"/>
              <a:gd name="connsiteY742" fmla="*/ 4487771 h 4596459"/>
              <a:gd name="connsiteX743" fmla="*/ 1948622 w 4716235"/>
              <a:gd name="connsiteY743" fmla="*/ 4487440 h 4596459"/>
              <a:gd name="connsiteX744" fmla="*/ 1959358 w 4716235"/>
              <a:gd name="connsiteY744" fmla="*/ 4498176 h 4596459"/>
              <a:gd name="connsiteX745" fmla="*/ 1948622 w 4716235"/>
              <a:gd name="connsiteY745" fmla="*/ 4508912 h 4596459"/>
              <a:gd name="connsiteX746" fmla="*/ 1937886 w 4716235"/>
              <a:gd name="connsiteY746" fmla="*/ 4498176 h 4596459"/>
              <a:gd name="connsiteX747" fmla="*/ 1948622 w 4716235"/>
              <a:gd name="connsiteY747" fmla="*/ 4487440 h 4596459"/>
              <a:gd name="connsiteX748" fmla="*/ 1215713 w 4716235"/>
              <a:gd name="connsiteY748" fmla="*/ 4486779 h 4596459"/>
              <a:gd name="connsiteX749" fmla="*/ 1226451 w 4716235"/>
              <a:gd name="connsiteY749" fmla="*/ 4497515 h 4596459"/>
              <a:gd name="connsiteX750" fmla="*/ 1215713 w 4716235"/>
              <a:gd name="connsiteY750" fmla="*/ 4508253 h 4596459"/>
              <a:gd name="connsiteX751" fmla="*/ 1204977 w 4716235"/>
              <a:gd name="connsiteY751" fmla="*/ 4497515 h 4596459"/>
              <a:gd name="connsiteX752" fmla="*/ 1215713 w 4716235"/>
              <a:gd name="connsiteY752" fmla="*/ 4486779 h 4596459"/>
              <a:gd name="connsiteX753" fmla="*/ 2423519 w 4716235"/>
              <a:gd name="connsiteY753" fmla="*/ 4486449 h 4596459"/>
              <a:gd name="connsiteX754" fmla="*/ 2434255 w 4716235"/>
              <a:gd name="connsiteY754" fmla="*/ 4497186 h 4596459"/>
              <a:gd name="connsiteX755" fmla="*/ 2423519 w 4716235"/>
              <a:gd name="connsiteY755" fmla="*/ 4507922 h 4596459"/>
              <a:gd name="connsiteX756" fmla="*/ 2412782 w 4716235"/>
              <a:gd name="connsiteY756" fmla="*/ 4497186 h 4596459"/>
              <a:gd name="connsiteX757" fmla="*/ 2423519 w 4716235"/>
              <a:gd name="connsiteY757" fmla="*/ 4486449 h 4596459"/>
              <a:gd name="connsiteX758" fmla="*/ 2116282 w 4716235"/>
              <a:gd name="connsiteY758" fmla="*/ 4486449 h 4596459"/>
              <a:gd name="connsiteX759" fmla="*/ 2127019 w 4716235"/>
              <a:gd name="connsiteY759" fmla="*/ 4497186 h 4596459"/>
              <a:gd name="connsiteX760" fmla="*/ 2116282 w 4716235"/>
              <a:gd name="connsiteY760" fmla="*/ 4507922 h 4596459"/>
              <a:gd name="connsiteX761" fmla="*/ 2105545 w 4716235"/>
              <a:gd name="connsiteY761" fmla="*/ 4497186 h 4596459"/>
              <a:gd name="connsiteX762" fmla="*/ 2116282 w 4716235"/>
              <a:gd name="connsiteY762" fmla="*/ 4486449 h 4596459"/>
              <a:gd name="connsiteX763" fmla="*/ 2525270 w 4716235"/>
              <a:gd name="connsiteY763" fmla="*/ 4486283 h 4596459"/>
              <a:gd name="connsiteX764" fmla="*/ 2535017 w 4716235"/>
              <a:gd name="connsiteY764" fmla="*/ 4496029 h 4596459"/>
              <a:gd name="connsiteX765" fmla="*/ 2525270 w 4716235"/>
              <a:gd name="connsiteY765" fmla="*/ 4505773 h 4596459"/>
              <a:gd name="connsiteX766" fmla="*/ 2515524 w 4716235"/>
              <a:gd name="connsiteY766" fmla="*/ 4496029 h 4596459"/>
              <a:gd name="connsiteX767" fmla="*/ 2525270 w 4716235"/>
              <a:gd name="connsiteY767" fmla="*/ 4486283 h 4596459"/>
              <a:gd name="connsiteX768" fmla="*/ 1087366 w 4716235"/>
              <a:gd name="connsiteY768" fmla="*/ 4486118 h 4596459"/>
              <a:gd name="connsiteX769" fmla="*/ 1097608 w 4716235"/>
              <a:gd name="connsiteY769" fmla="*/ 4496360 h 4596459"/>
              <a:gd name="connsiteX770" fmla="*/ 1087366 w 4716235"/>
              <a:gd name="connsiteY770" fmla="*/ 4506601 h 4596459"/>
              <a:gd name="connsiteX771" fmla="*/ 1077125 w 4716235"/>
              <a:gd name="connsiteY771" fmla="*/ 4496360 h 4596459"/>
              <a:gd name="connsiteX772" fmla="*/ 1087366 w 4716235"/>
              <a:gd name="connsiteY772" fmla="*/ 4486118 h 4596459"/>
              <a:gd name="connsiteX773" fmla="*/ 1567879 w 4716235"/>
              <a:gd name="connsiteY773" fmla="*/ 4484797 h 4596459"/>
              <a:gd name="connsiteX774" fmla="*/ 1578618 w 4716235"/>
              <a:gd name="connsiteY774" fmla="*/ 4495533 h 4596459"/>
              <a:gd name="connsiteX775" fmla="*/ 1567879 w 4716235"/>
              <a:gd name="connsiteY775" fmla="*/ 4506269 h 4596459"/>
              <a:gd name="connsiteX776" fmla="*/ 1557143 w 4716235"/>
              <a:gd name="connsiteY776" fmla="*/ 4495533 h 4596459"/>
              <a:gd name="connsiteX777" fmla="*/ 1567879 w 4716235"/>
              <a:gd name="connsiteY777" fmla="*/ 4484797 h 4596459"/>
              <a:gd name="connsiteX778" fmla="*/ 2080932 w 4716235"/>
              <a:gd name="connsiteY778" fmla="*/ 4484302 h 4596459"/>
              <a:gd name="connsiteX779" fmla="*/ 2091670 w 4716235"/>
              <a:gd name="connsiteY779" fmla="*/ 4495039 h 4596459"/>
              <a:gd name="connsiteX780" fmla="*/ 2080932 w 4716235"/>
              <a:gd name="connsiteY780" fmla="*/ 4505775 h 4596459"/>
              <a:gd name="connsiteX781" fmla="*/ 2070195 w 4716235"/>
              <a:gd name="connsiteY781" fmla="*/ 4495039 h 4596459"/>
              <a:gd name="connsiteX782" fmla="*/ 2080932 w 4716235"/>
              <a:gd name="connsiteY782" fmla="*/ 4484302 h 4596459"/>
              <a:gd name="connsiteX783" fmla="*/ 1806566 w 4716235"/>
              <a:gd name="connsiteY783" fmla="*/ 4483475 h 4596459"/>
              <a:gd name="connsiteX784" fmla="*/ 1817304 w 4716235"/>
              <a:gd name="connsiteY784" fmla="*/ 4494212 h 4596459"/>
              <a:gd name="connsiteX785" fmla="*/ 1808713 w 4716235"/>
              <a:gd name="connsiteY785" fmla="*/ 4502801 h 4596459"/>
              <a:gd name="connsiteX786" fmla="*/ 1815818 w 4716235"/>
              <a:gd name="connsiteY786" fmla="*/ 4509904 h 4596459"/>
              <a:gd name="connsiteX787" fmla="*/ 1809457 w 4716235"/>
              <a:gd name="connsiteY787" fmla="*/ 4516265 h 4596459"/>
              <a:gd name="connsiteX788" fmla="*/ 1814330 w 4716235"/>
              <a:gd name="connsiteY788" fmla="*/ 4521137 h 4596459"/>
              <a:gd name="connsiteX789" fmla="*/ 1809127 w 4716235"/>
              <a:gd name="connsiteY789" fmla="*/ 4526341 h 4596459"/>
              <a:gd name="connsiteX790" fmla="*/ 1813009 w 4716235"/>
              <a:gd name="connsiteY790" fmla="*/ 4530222 h 4596459"/>
              <a:gd name="connsiteX791" fmla="*/ 1808054 w 4716235"/>
              <a:gd name="connsiteY791" fmla="*/ 4535177 h 4596459"/>
              <a:gd name="connsiteX792" fmla="*/ 1811854 w 4716235"/>
              <a:gd name="connsiteY792" fmla="*/ 4538976 h 4596459"/>
              <a:gd name="connsiteX793" fmla="*/ 1806401 w 4716235"/>
              <a:gd name="connsiteY793" fmla="*/ 4544428 h 4596459"/>
              <a:gd name="connsiteX794" fmla="*/ 1810862 w 4716235"/>
              <a:gd name="connsiteY794" fmla="*/ 4548887 h 4596459"/>
              <a:gd name="connsiteX795" fmla="*/ 1804088 w 4716235"/>
              <a:gd name="connsiteY795" fmla="*/ 4555659 h 4596459"/>
              <a:gd name="connsiteX796" fmla="*/ 1810036 w 4716235"/>
              <a:gd name="connsiteY796" fmla="*/ 4561606 h 4596459"/>
              <a:gd name="connsiteX797" fmla="*/ 1801363 w 4716235"/>
              <a:gd name="connsiteY797" fmla="*/ 4570278 h 4596459"/>
              <a:gd name="connsiteX798" fmla="*/ 1809211 w 4716235"/>
              <a:gd name="connsiteY798" fmla="*/ 4578124 h 4596459"/>
              <a:gd name="connsiteX799" fmla="*/ 1798473 w 4716235"/>
              <a:gd name="connsiteY799" fmla="*/ 4588860 h 4596459"/>
              <a:gd name="connsiteX800" fmla="*/ 1787736 w 4716235"/>
              <a:gd name="connsiteY800" fmla="*/ 4578124 h 4596459"/>
              <a:gd name="connsiteX801" fmla="*/ 1796409 w 4716235"/>
              <a:gd name="connsiteY801" fmla="*/ 4569453 h 4596459"/>
              <a:gd name="connsiteX802" fmla="*/ 1788562 w 4716235"/>
              <a:gd name="connsiteY802" fmla="*/ 4561606 h 4596459"/>
              <a:gd name="connsiteX803" fmla="*/ 1795334 w 4716235"/>
              <a:gd name="connsiteY803" fmla="*/ 4554834 h 4596459"/>
              <a:gd name="connsiteX804" fmla="*/ 1789387 w 4716235"/>
              <a:gd name="connsiteY804" fmla="*/ 4548887 h 4596459"/>
              <a:gd name="connsiteX805" fmla="*/ 1794839 w 4716235"/>
              <a:gd name="connsiteY805" fmla="*/ 4543436 h 4596459"/>
              <a:gd name="connsiteX806" fmla="*/ 1790379 w 4716235"/>
              <a:gd name="connsiteY806" fmla="*/ 4538976 h 4596459"/>
              <a:gd name="connsiteX807" fmla="*/ 1795335 w 4716235"/>
              <a:gd name="connsiteY807" fmla="*/ 4534022 h 4596459"/>
              <a:gd name="connsiteX808" fmla="*/ 1791536 w 4716235"/>
              <a:gd name="connsiteY808" fmla="*/ 4530222 h 4596459"/>
              <a:gd name="connsiteX809" fmla="*/ 1796738 w 4716235"/>
              <a:gd name="connsiteY809" fmla="*/ 4525019 h 4596459"/>
              <a:gd name="connsiteX810" fmla="*/ 1792856 w 4716235"/>
              <a:gd name="connsiteY810" fmla="*/ 4521137 h 4596459"/>
              <a:gd name="connsiteX811" fmla="*/ 1799215 w 4716235"/>
              <a:gd name="connsiteY811" fmla="*/ 4514777 h 4596459"/>
              <a:gd name="connsiteX812" fmla="*/ 1794344 w 4716235"/>
              <a:gd name="connsiteY812" fmla="*/ 4509904 h 4596459"/>
              <a:gd name="connsiteX813" fmla="*/ 1802933 w 4716235"/>
              <a:gd name="connsiteY813" fmla="*/ 4501315 h 4596459"/>
              <a:gd name="connsiteX814" fmla="*/ 1795830 w 4716235"/>
              <a:gd name="connsiteY814" fmla="*/ 4494212 h 4596459"/>
              <a:gd name="connsiteX815" fmla="*/ 1806566 w 4716235"/>
              <a:gd name="connsiteY815" fmla="*/ 4483475 h 4596459"/>
              <a:gd name="connsiteX816" fmla="*/ 1708118 w 4716235"/>
              <a:gd name="connsiteY816" fmla="*/ 4482815 h 4596459"/>
              <a:gd name="connsiteX817" fmla="*/ 1718856 w 4716235"/>
              <a:gd name="connsiteY817" fmla="*/ 4493551 h 4596459"/>
              <a:gd name="connsiteX818" fmla="*/ 1713239 w 4716235"/>
              <a:gd name="connsiteY818" fmla="*/ 4499168 h 4596459"/>
              <a:gd name="connsiteX819" fmla="*/ 1723316 w 4716235"/>
              <a:gd name="connsiteY819" fmla="*/ 4509244 h 4596459"/>
              <a:gd name="connsiteX820" fmla="*/ 1719598 w 4716235"/>
              <a:gd name="connsiteY820" fmla="*/ 4512962 h 4596459"/>
              <a:gd name="connsiteX821" fmla="*/ 1727114 w 4716235"/>
              <a:gd name="connsiteY821" fmla="*/ 4520476 h 4596459"/>
              <a:gd name="connsiteX822" fmla="*/ 1724223 w 4716235"/>
              <a:gd name="connsiteY822" fmla="*/ 4523367 h 4596459"/>
              <a:gd name="connsiteX823" fmla="*/ 1730584 w 4716235"/>
              <a:gd name="connsiteY823" fmla="*/ 4529726 h 4596459"/>
              <a:gd name="connsiteX824" fmla="*/ 1727858 w 4716235"/>
              <a:gd name="connsiteY824" fmla="*/ 4532452 h 4596459"/>
              <a:gd name="connsiteX825" fmla="*/ 1733723 w 4716235"/>
              <a:gd name="connsiteY825" fmla="*/ 4538315 h 4596459"/>
              <a:gd name="connsiteX826" fmla="*/ 1730007 w 4716235"/>
              <a:gd name="connsiteY826" fmla="*/ 4542032 h 4596459"/>
              <a:gd name="connsiteX827" fmla="*/ 1736531 w 4716235"/>
              <a:gd name="connsiteY827" fmla="*/ 4548556 h 4596459"/>
              <a:gd name="connsiteX828" fmla="*/ 1731408 w 4716235"/>
              <a:gd name="connsiteY828" fmla="*/ 4553679 h 4596459"/>
              <a:gd name="connsiteX829" fmla="*/ 1739007 w 4716235"/>
              <a:gd name="connsiteY829" fmla="*/ 4561276 h 4596459"/>
              <a:gd name="connsiteX830" fmla="*/ 1731821 w 4716235"/>
              <a:gd name="connsiteY830" fmla="*/ 4568461 h 4596459"/>
              <a:gd name="connsiteX831" fmla="*/ 1741156 w 4716235"/>
              <a:gd name="connsiteY831" fmla="*/ 4577794 h 4596459"/>
              <a:gd name="connsiteX832" fmla="*/ 1730418 w 4716235"/>
              <a:gd name="connsiteY832" fmla="*/ 4588531 h 4596459"/>
              <a:gd name="connsiteX833" fmla="*/ 1719682 w 4716235"/>
              <a:gd name="connsiteY833" fmla="*/ 4577794 h 4596459"/>
              <a:gd name="connsiteX834" fmla="*/ 1726866 w 4716235"/>
              <a:gd name="connsiteY834" fmla="*/ 4570609 h 4596459"/>
              <a:gd name="connsiteX835" fmla="*/ 1717533 w 4716235"/>
              <a:gd name="connsiteY835" fmla="*/ 4561276 h 4596459"/>
              <a:gd name="connsiteX836" fmla="*/ 1722654 w 4716235"/>
              <a:gd name="connsiteY836" fmla="*/ 4556155 h 4596459"/>
              <a:gd name="connsiteX837" fmla="*/ 1715056 w 4716235"/>
              <a:gd name="connsiteY837" fmla="*/ 4548556 h 4596459"/>
              <a:gd name="connsiteX838" fmla="*/ 1718773 w 4716235"/>
              <a:gd name="connsiteY838" fmla="*/ 4544839 h 4596459"/>
              <a:gd name="connsiteX839" fmla="*/ 1712249 w 4716235"/>
              <a:gd name="connsiteY839" fmla="*/ 4538315 h 4596459"/>
              <a:gd name="connsiteX840" fmla="*/ 1714975 w 4716235"/>
              <a:gd name="connsiteY840" fmla="*/ 4535591 h 4596459"/>
              <a:gd name="connsiteX841" fmla="*/ 1709110 w 4716235"/>
              <a:gd name="connsiteY841" fmla="*/ 4529726 h 4596459"/>
              <a:gd name="connsiteX842" fmla="*/ 1712001 w 4716235"/>
              <a:gd name="connsiteY842" fmla="*/ 4526837 h 4596459"/>
              <a:gd name="connsiteX843" fmla="*/ 1705640 w 4716235"/>
              <a:gd name="connsiteY843" fmla="*/ 4520476 h 4596459"/>
              <a:gd name="connsiteX844" fmla="*/ 1709356 w 4716235"/>
              <a:gd name="connsiteY844" fmla="*/ 4516759 h 4596459"/>
              <a:gd name="connsiteX845" fmla="*/ 1701842 w 4716235"/>
              <a:gd name="connsiteY845" fmla="*/ 4509244 h 4596459"/>
              <a:gd name="connsiteX846" fmla="*/ 1707459 w 4716235"/>
              <a:gd name="connsiteY846" fmla="*/ 4503628 h 4596459"/>
              <a:gd name="connsiteX847" fmla="*/ 1697382 w 4716235"/>
              <a:gd name="connsiteY847" fmla="*/ 4493551 h 4596459"/>
              <a:gd name="connsiteX848" fmla="*/ 1708118 w 4716235"/>
              <a:gd name="connsiteY848" fmla="*/ 4482815 h 4596459"/>
              <a:gd name="connsiteX849" fmla="*/ 1371644 w 4716235"/>
              <a:gd name="connsiteY849" fmla="*/ 4482650 h 4596459"/>
              <a:gd name="connsiteX850" fmla="*/ 1382382 w 4716235"/>
              <a:gd name="connsiteY850" fmla="*/ 4493386 h 4596459"/>
              <a:gd name="connsiteX851" fmla="*/ 1372801 w 4716235"/>
              <a:gd name="connsiteY851" fmla="*/ 4502968 h 4596459"/>
              <a:gd name="connsiteX852" fmla="*/ 1375608 w 4716235"/>
              <a:gd name="connsiteY852" fmla="*/ 4505775 h 4596459"/>
              <a:gd name="connsiteX853" fmla="*/ 1365120 w 4716235"/>
              <a:gd name="connsiteY853" fmla="*/ 4516264 h 4596459"/>
              <a:gd name="connsiteX854" fmla="*/ 1369168 w 4716235"/>
              <a:gd name="connsiteY854" fmla="*/ 4520311 h 4596459"/>
              <a:gd name="connsiteX855" fmla="*/ 1358430 w 4716235"/>
              <a:gd name="connsiteY855" fmla="*/ 4531047 h 4596459"/>
              <a:gd name="connsiteX856" fmla="*/ 1347693 w 4716235"/>
              <a:gd name="connsiteY856" fmla="*/ 4520311 h 4596459"/>
              <a:gd name="connsiteX857" fmla="*/ 1358182 w 4716235"/>
              <a:gd name="connsiteY857" fmla="*/ 4509823 h 4596459"/>
              <a:gd name="connsiteX858" fmla="*/ 1354134 w 4716235"/>
              <a:gd name="connsiteY858" fmla="*/ 4505775 h 4596459"/>
              <a:gd name="connsiteX859" fmla="*/ 1363715 w 4716235"/>
              <a:gd name="connsiteY859" fmla="*/ 4496194 h 4596459"/>
              <a:gd name="connsiteX860" fmla="*/ 1360908 w 4716235"/>
              <a:gd name="connsiteY860" fmla="*/ 4493386 h 4596459"/>
              <a:gd name="connsiteX861" fmla="*/ 1371644 w 4716235"/>
              <a:gd name="connsiteY861" fmla="*/ 4482650 h 4596459"/>
              <a:gd name="connsiteX862" fmla="*/ 2403201 w 4716235"/>
              <a:gd name="connsiteY862" fmla="*/ 4482485 h 4596459"/>
              <a:gd name="connsiteX863" fmla="*/ 2413939 w 4716235"/>
              <a:gd name="connsiteY863" fmla="*/ 4493221 h 4596459"/>
              <a:gd name="connsiteX864" fmla="*/ 2403201 w 4716235"/>
              <a:gd name="connsiteY864" fmla="*/ 4503959 h 4596459"/>
              <a:gd name="connsiteX865" fmla="*/ 2392465 w 4716235"/>
              <a:gd name="connsiteY865" fmla="*/ 4493221 h 4596459"/>
              <a:gd name="connsiteX866" fmla="*/ 2403201 w 4716235"/>
              <a:gd name="connsiteY866" fmla="*/ 4482485 h 4596459"/>
              <a:gd name="connsiteX867" fmla="*/ 1403359 w 4716235"/>
              <a:gd name="connsiteY867" fmla="*/ 4481658 h 4596459"/>
              <a:gd name="connsiteX868" fmla="*/ 1414097 w 4716235"/>
              <a:gd name="connsiteY868" fmla="*/ 4492394 h 4596459"/>
              <a:gd name="connsiteX869" fmla="*/ 1403359 w 4716235"/>
              <a:gd name="connsiteY869" fmla="*/ 4503131 h 4596459"/>
              <a:gd name="connsiteX870" fmla="*/ 1392623 w 4716235"/>
              <a:gd name="connsiteY870" fmla="*/ 4492394 h 4596459"/>
              <a:gd name="connsiteX871" fmla="*/ 1403359 w 4716235"/>
              <a:gd name="connsiteY871" fmla="*/ 4481658 h 4596459"/>
              <a:gd name="connsiteX872" fmla="*/ 1905014 w 4716235"/>
              <a:gd name="connsiteY872" fmla="*/ 4481164 h 4596459"/>
              <a:gd name="connsiteX873" fmla="*/ 1915750 w 4716235"/>
              <a:gd name="connsiteY873" fmla="*/ 4491900 h 4596459"/>
              <a:gd name="connsiteX874" fmla="*/ 1905014 w 4716235"/>
              <a:gd name="connsiteY874" fmla="*/ 4502636 h 4596459"/>
              <a:gd name="connsiteX875" fmla="*/ 1894278 w 4716235"/>
              <a:gd name="connsiteY875" fmla="*/ 4491900 h 4596459"/>
              <a:gd name="connsiteX876" fmla="*/ 1905014 w 4716235"/>
              <a:gd name="connsiteY876" fmla="*/ 4481164 h 4596459"/>
              <a:gd name="connsiteX877" fmla="*/ 2043270 w 4716235"/>
              <a:gd name="connsiteY877" fmla="*/ 4480832 h 4596459"/>
              <a:gd name="connsiteX878" fmla="*/ 2054008 w 4716235"/>
              <a:gd name="connsiteY878" fmla="*/ 4491569 h 4596459"/>
              <a:gd name="connsiteX879" fmla="*/ 2043270 w 4716235"/>
              <a:gd name="connsiteY879" fmla="*/ 4502305 h 4596459"/>
              <a:gd name="connsiteX880" fmla="*/ 2032534 w 4716235"/>
              <a:gd name="connsiteY880" fmla="*/ 4491569 h 4596459"/>
              <a:gd name="connsiteX881" fmla="*/ 2043270 w 4716235"/>
              <a:gd name="connsiteY881" fmla="*/ 4480832 h 4596459"/>
              <a:gd name="connsiteX882" fmla="*/ 1106362 w 4716235"/>
              <a:gd name="connsiteY882" fmla="*/ 4480172 h 4596459"/>
              <a:gd name="connsiteX883" fmla="*/ 1117100 w 4716235"/>
              <a:gd name="connsiteY883" fmla="*/ 4490908 h 4596459"/>
              <a:gd name="connsiteX884" fmla="*/ 1106362 w 4716235"/>
              <a:gd name="connsiteY884" fmla="*/ 4501644 h 4596459"/>
              <a:gd name="connsiteX885" fmla="*/ 1095626 w 4716235"/>
              <a:gd name="connsiteY885" fmla="*/ 4490908 h 4596459"/>
              <a:gd name="connsiteX886" fmla="*/ 1106362 w 4716235"/>
              <a:gd name="connsiteY886" fmla="*/ 4480172 h 4596459"/>
              <a:gd name="connsiteX887" fmla="*/ 1437221 w 4716235"/>
              <a:gd name="connsiteY887" fmla="*/ 4479842 h 4596459"/>
              <a:gd name="connsiteX888" fmla="*/ 1447959 w 4716235"/>
              <a:gd name="connsiteY888" fmla="*/ 4490578 h 4596459"/>
              <a:gd name="connsiteX889" fmla="*/ 1437221 w 4716235"/>
              <a:gd name="connsiteY889" fmla="*/ 4501315 h 4596459"/>
              <a:gd name="connsiteX890" fmla="*/ 1426484 w 4716235"/>
              <a:gd name="connsiteY890" fmla="*/ 4490578 h 4596459"/>
              <a:gd name="connsiteX891" fmla="*/ 1437221 w 4716235"/>
              <a:gd name="connsiteY891" fmla="*/ 4479842 h 4596459"/>
              <a:gd name="connsiteX892" fmla="*/ 2382389 w 4716235"/>
              <a:gd name="connsiteY892" fmla="*/ 4479677 h 4596459"/>
              <a:gd name="connsiteX893" fmla="*/ 2393127 w 4716235"/>
              <a:gd name="connsiteY893" fmla="*/ 4490414 h 4596459"/>
              <a:gd name="connsiteX894" fmla="*/ 2382389 w 4716235"/>
              <a:gd name="connsiteY894" fmla="*/ 4501150 h 4596459"/>
              <a:gd name="connsiteX895" fmla="*/ 2371653 w 4716235"/>
              <a:gd name="connsiteY895" fmla="*/ 4490414 h 4596459"/>
              <a:gd name="connsiteX896" fmla="*/ 2382389 w 4716235"/>
              <a:gd name="connsiteY896" fmla="*/ 4479677 h 4596459"/>
              <a:gd name="connsiteX897" fmla="*/ 1610001 w 4716235"/>
              <a:gd name="connsiteY897" fmla="*/ 4478850 h 4596459"/>
              <a:gd name="connsiteX898" fmla="*/ 1620737 w 4716235"/>
              <a:gd name="connsiteY898" fmla="*/ 4489587 h 4596459"/>
              <a:gd name="connsiteX899" fmla="*/ 1610001 w 4716235"/>
              <a:gd name="connsiteY899" fmla="*/ 4500325 h 4596459"/>
              <a:gd name="connsiteX900" fmla="*/ 1599265 w 4716235"/>
              <a:gd name="connsiteY900" fmla="*/ 4489587 h 4596459"/>
              <a:gd name="connsiteX901" fmla="*/ 1610001 w 4716235"/>
              <a:gd name="connsiteY901" fmla="*/ 4478850 h 4596459"/>
              <a:gd name="connsiteX902" fmla="*/ 2507431 w 4716235"/>
              <a:gd name="connsiteY902" fmla="*/ 4478354 h 4596459"/>
              <a:gd name="connsiteX903" fmla="*/ 2518169 w 4716235"/>
              <a:gd name="connsiteY903" fmla="*/ 4489091 h 4596459"/>
              <a:gd name="connsiteX904" fmla="*/ 2507431 w 4716235"/>
              <a:gd name="connsiteY904" fmla="*/ 4499829 h 4596459"/>
              <a:gd name="connsiteX905" fmla="*/ 2496694 w 4716235"/>
              <a:gd name="connsiteY905" fmla="*/ 4489091 h 4596459"/>
              <a:gd name="connsiteX906" fmla="*/ 2507431 w 4716235"/>
              <a:gd name="connsiteY906" fmla="*/ 4478354 h 4596459"/>
              <a:gd name="connsiteX907" fmla="*/ 2360583 w 4716235"/>
              <a:gd name="connsiteY907" fmla="*/ 4477860 h 4596459"/>
              <a:gd name="connsiteX908" fmla="*/ 2371322 w 4716235"/>
              <a:gd name="connsiteY908" fmla="*/ 4488596 h 4596459"/>
              <a:gd name="connsiteX909" fmla="*/ 2360583 w 4716235"/>
              <a:gd name="connsiteY909" fmla="*/ 4499334 h 4596459"/>
              <a:gd name="connsiteX910" fmla="*/ 2349847 w 4716235"/>
              <a:gd name="connsiteY910" fmla="*/ 4488596 h 4596459"/>
              <a:gd name="connsiteX911" fmla="*/ 2360583 w 4716235"/>
              <a:gd name="connsiteY911" fmla="*/ 4477860 h 4596459"/>
              <a:gd name="connsiteX912" fmla="*/ 1473561 w 4716235"/>
              <a:gd name="connsiteY912" fmla="*/ 4476703 h 4596459"/>
              <a:gd name="connsiteX913" fmla="*/ 1484299 w 4716235"/>
              <a:gd name="connsiteY913" fmla="*/ 4487440 h 4596459"/>
              <a:gd name="connsiteX914" fmla="*/ 1473561 w 4716235"/>
              <a:gd name="connsiteY914" fmla="*/ 4498176 h 4596459"/>
              <a:gd name="connsiteX915" fmla="*/ 1462824 w 4716235"/>
              <a:gd name="connsiteY915" fmla="*/ 4487440 h 4596459"/>
              <a:gd name="connsiteX916" fmla="*/ 1473561 w 4716235"/>
              <a:gd name="connsiteY916" fmla="*/ 4476703 h 4596459"/>
              <a:gd name="connsiteX917" fmla="*/ 1125688 w 4716235"/>
              <a:gd name="connsiteY917" fmla="*/ 4476043 h 4596459"/>
              <a:gd name="connsiteX918" fmla="*/ 1136426 w 4716235"/>
              <a:gd name="connsiteY918" fmla="*/ 4486779 h 4596459"/>
              <a:gd name="connsiteX919" fmla="*/ 1125688 w 4716235"/>
              <a:gd name="connsiteY919" fmla="*/ 4497515 h 4596459"/>
              <a:gd name="connsiteX920" fmla="*/ 1114951 w 4716235"/>
              <a:gd name="connsiteY920" fmla="*/ 4486779 h 4596459"/>
              <a:gd name="connsiteX921" fmla="*/ 1125688 w 4716235"/>
              <a:gd name="connsiteY921" fmla="*/ 4476043 h 4596459"/>
              <a:gd name="connsiteX922" fmla="*/ 2002966 w 4716235"/>
              <a:gd name="connsiteY922" fmla="*/ 4475547 h 4596459"/>
              <a:gd name="connsiteX923" fmla="*/ 2013704 w 4716235"/>
              <a:gd name="connsiteY923" fmla="*/ 4486283 h 4596459"/>
              <a:gd name="connsiteX924" fmla="*/ 2002966 w 4716235"/>
              <a:gd name="connsiteY924" fmla="*/ 4497019 h 4596459"/>
              <a:gd name="connsiteX925" fmla="*/ 1992230 w 4716235"/>
              <a:gd name="connsiteY925" fmla="*/ 4486283 h 4596459"/>
              <a:gd name="connsiteX926" fmla="*/ 2002966 w 4716235"/>
              <a:gd name="connsiteY926" fmla="*/ 4475547 h 4596459"/>
              <a:gd name="connsiteX927" fmla="*/ 2203827 w 4716235"/>
              <a:gd name="connsiteY927" fmla="*/ 4475382 h 4596459"/>
              <a:gd name="connsiteX928" fmla="*/ 2214565 w 4716235"/>
              <a:gd name="connsiteY928" fmla="*/ 4486118 h 4596459"/>
              <a:gd name="connsiteX929" fmla="*/ 2210765 w 4716235"/>
              <a:gd name="connsiteY929" fmla="*/ 4489918 h 4596459"/>
              <a:gd name="connsiteX930" fmla="*/ 2220346 w 4716235"/>
              <a:gd name="connsiteY930" fmla="*/ 4499497 h 4596459"/>
              <a:gd name="connsiteX931" fmla="*/ 2216299 w 4716235"/>
              <a:gd name="connsiteY931" fmla="*/ 4503545 h 4596459"/>
              <a:gd name="connsiteX932" fmla="*/ 2225633 w 4716235"/>
              <a:gd name="connsiteY932" fmla="*/ 4512877 h 4596459"/>
              <a:gd name="connsiteX933" fmla="*/ 2214894 w 4716235"/>
              <a:gd name="connsiteY933" fmla="*/ 4523615 h 4596459"/>
              <a:gd name="connsiteX934" fmla="*/ 2204158 w 4716235"/>
              <a:gd name="connsiteY934" fmla="*/ 4512877 h 4596459"/>
              <a:gd name="connsiteX935" fmla="*/ 2208204 w 4716235"/>
              <a:gd name="connsiteY935" fmla="*/ 4508831 h 4596459"/>
              <a:gd name="connsiteX936" fmla="*/ 2198872 w 4716235"/>
              <a:gd name="connsiteY936" fmla="*/ 4499497 h 4596459"/>
              <a:gd name="connsiteX937" fmla="*/ 2202670 w 4716235"/>
              <a:gd name="connsiteY937" fmla="*/ 4495700 h 4596459"/>
              <a:gd name="connsiteX938" fmla="*/ 2193090 w 4716235"/>
              <a:gd name="connsiteY938" fmla="*/ 4486118 h 4596459"/>
              <a:gd name="connsiteX939" fmla="*/ 2203827 w 4716235"/>
              <a:gd name="connsiteY939" fmla="*/ 4475382 h 4596459"/>
              <a:gd name="connsiteX940" fmla="*/ 2587378 w 4716235"/>
              <a:gd name="connsiteY940" fmla="*/ 4475052 h 4596459"/>
              <a:gd name="connsiteX941" fmla="*/ 2594482 w 4716235"/>
              <a:gd name="connsiteY941" fmla="*/ 4482156 h 4596459"/>
              <a:gd name="connsiteX942" fmla="*/ 2587378 w 4716235"/>
              <a:gd name="connsiteY942" fmla="*/ 4489257 h 4596459"/>
              <a:gd name="connsiteX943" fmla="*/ 2580275 w 4716235"/>
              <a:gd name="connsiteY943" fmla="*/ 4482156 h 4596459"/>
              <a:gd name="connsiteX944" fmla="*/ 2587378 w 4716235"/>
              <a:gd name="connsiteY944" fmla="*/ 4475052 h 4596459"/>
              <a:gd name="connsiteX945" fmla="*/ 1023442 w 4716235"/>
              <a:gd name="connsiteY945" fmla="*/ 4474886 h 4596459"/>
              <a:gd name="connsiteX946" fmla="*/ 1030876 w 4716235"/>
              <a:gd name="connsiteY946" fmla="*/ 4482319 h 4596459"/>
              <a:gd name="connsiteX947" fmla="*/ 1023442 w 4716235"/>
              <a:gd name="connsiteY947" fmla="*/ 4489751 h 4596459"/>
              <a:gd name="connsiteX948" fmla="*/ 1016009 w 4716235"/>
              <a:gd name="connsiteY948" fmla="*/ 4482319 h 4596459"/>
              <a:gd name="connsiteX949" fmla="*/ 1023442 w 4716235"/>
              <a:gd name="connsiteY949" fmla="*/ 4474886 h 4596459"/>
              <a:gd name="connsiteX950" fmla="*/ 2171618 w 4716235"/>
              <a:gd name="connsiteY950" fmla="*/ 4473896 h 4596459"/>
              <a:gd name="connsiteX951" fmla="*/ 2182354 w 4716235"/>
              <a:gd name="connsiteY951" fmla="*/ 4484632 h 4596459"/>
              <a:gd name="connsiteX952" fmla="*/ 2171618 w 4716235"/>
              <a:gd name="connsiteY952" fmla="*/ 4495368 h 4596459"/>
              <a:gd name="connsiteX953" fmla="*/ 2160881 w 4716235"/>
              <a:gd name="connsiteY953" fmla="*/ 4484632 h 4596459"/>
              <a:gd name="connsiteX954" fmla="*/ 2171618 w 4716235"/>
              <a:gd name="connsiteY954" fmla="*/ 4473896 h 4596459"/>
              <a:gd name="connsiteX955" fmla="*/ 1756680 w 4716235"/>
              <a:gd name="connsiteY955" fmla="*/ 4473400 h 4596459"/>
              <a:gd name="connsiteX956" fmla="*/ 1767418 w 4716235"/>
              <a:gd name="connsiteY956" fmla="*/ 4484136 h 4596459"/>
              <a:gd name="connsiteX957" fmla="*/ 1758829 w 4716235"/>
              <a:gd name="connsiteY957" fmla="*/ 4492725 h 4596459"/>
              <a:gd name="connsiteX958" fmla="*/ 1768906 w 4716235"/>
              <a:gd name="connsiteY958" fmla="*/ 4502801 h 4596459"/>
              <a:gd name="connsiteX959" fmla="*/ 1762958 w 4716235"/>
              <a:gd name="connsiteY959" fmla="*/ 4508748 h 4596459"/>
              <a:gd name="connsiteX960" fmla="*/ 1770063 w 4716235"/>
              <a:gd name="connsiteY960" fmla="*/ 4515851 h 4596459"/>
              <a:gd name="connsiteX961" fmla="*/ 1765768 w 4716235"/>
              <a:gd name="connsiteY961" fmla="*/ 4520146 h 4596459"/>
              <a:gd name="connsiteX962" fmla="*/ 1771385 w 4716235"/>
              <a:gd name="connsiteY962" fmla="*/ 4525762 h 4596459"/>
              <a:gd name="connsiteX963" fmla="*/ 1767502 w 4716235"/>
              <a:gd name="connsiteY963" fmla="*/ 4529644 h 4596459"/>
              <a:gd name="connsiteX964" fmla="*/ 1772375 w 4716235"/>
              <a:gd name="connsiteY964" fmla="*/ 4534516 h 4596459"/>
              <a:gd name="connsiteX965" fmla="*/ 1768244 w 4716235"/>
              <a:gd name="connsiteY965" fmla="*/ 4538647 h 4596459"/>
              <a:gd name="connsiteX966" fmla="*/ 1773365 w 4716235"/>
              <a:gd name="connsiteY966" fmla="*/ 4543766 h 4596459"/>
              <a:gd name="connsiteX967" fmla="*/ 1768244 w 4716235"/>
              <a:gd name="connsiteY967" fmla="*/ 4548887 h 4596459"/>
              <a:gd name="connsiteX968" fmla="*/ 1774192 w 4716235"/>
              <a:gd name="connsiteY968" fmla="*/ 4554834 h 4596459"/>
              <a:gd name="connsiteX969" fmla="*/ 1767335 w 4716235"/>
              <a:gd name="connsiteY969" fmla="*/ 4561689 h 4596459"/>
              <a:gd name="connsiteX970" fmla="*/ 1774851 w 4716235"/>
              <a:gd name="connsiteY970" fmla="*/ 4569205 h 4596459"/>
              <a:gd name="connsiteX971" fmla="*/ 1764115 w 4716235"/>
              <a:gd name="connsiteY971" fmla="*/ 4579941 h 4596459"/>
              <a:gd name="connsiteX972" fmla="*/ 1753379 w 4716235"/>
              <a:gd name="connsiteY972" fmla="*/ 4569205 h 4596459"/>
              <a:gd name="connsiteX973" fmla="*/ 1760234 w 4716235"/>
              <a:gd name="connsiteY973" fmla="*/ 4562350 h 4596459"/>
              <a:gd name="connsiteX974" fmla="*/ 1752718 w 4716235"/>
              <a:gd name="connsiteY974" fmla="*/ 4554834 h 4596459"/>
              <a:gd name="connsiteX975" fmla="*/ 1757839 w 4716235"/>
              <a:gd name="connsiteY975" fmla="*/ 4549714 h 4596459"/>
              <a:gd name="connsiteX976" fmla="*/ 1751891 w 4716235"/>
              <a:gd name="connsiteY976" fmla="*/ 4543766 h 4596459"/>
              <a:gd name="connsiteX977" fmla="*/ 1756020 w 4716235"/>
              <a:gd name="connsiteY977" fmla="*/ 4539637 h 4596459"/>
              <a:gd name="connsiteX978" fmla="*/ 1750900 w 4716235"/>
              <a:gd name="connsiteY978" fmla="*/ 4534516 h 4596459"/>
              <a:gd name="connsiteX979" fmla="*/ 1754781 w 4716235"/>
              <a:gd name="connsiteY979" fmla="*/ 4530635 h 4596459"/>
              <a:gd name="connsiteX980" fmla="*/ 1749910 w 4716235"/>
              <a:gd name="connsiteY980" fmla="*/ 4525762 h 4596459"/>
              <a:gd name="connsiteX981" fmla="*/ 1754206 w 4716235"/>
              <a:gd name="connsiteY981" fmla="*/ 4521468 h 4596459"/>
              <a:gd name="connsiteX982" fmla="*/ 1748589 w 4716235"/>
              <a:gd name="connsiteY982" fmla="*/ 4515851 h 4596459"/>
              <a:gd name="connsiteX983" fmla="*/ 1754535 w 4716235"/>
              <a:gd name="connsiteY983" fmla="*/ 4509904 h 4596459"/>
              <a:gd name="connsiteX984" fmla="*/ 1747432 w 4716235"/>
              <a:gd name="connsiteY984" fmla="*/ 4502801 h 4596459"/>
              <a:gd name="connsiteX985" fmla="*/ 1756021 w 4716235"/>
              <a:gd name="connsiteY985" fmla="*/ 4494213 h 4596459"/>
              <a:gd name="connsiteX986" fmla="*/ 1745944 w 4716235"/>
              <a:gd name="connsiteY986" fmla="*/ 4484136 h 4596459"/>
              <a:gd name="connsiteX987" fmla="*/ 1756680 w 4716235"/>
              <a:gd name="connsiteY987" fmla="*/ 4473400 h 4596459"/>
              <a:gd name="connsiteX988" fmla="*/ 1145841 w 4716235"/>
              <a:gd name="connsiteY988" fmla="*/ 4473070 h 4596459"/>
              <a:gd name="connsiteX989" fmla="*/ 1156579 w 4716235"/>
              <a:gd name="connsiteY989" fmla="*/ 4483806 h 4596459"/>
              <a:gd name="connsiteX990" fmla="*/ 1145841 w 4716235"/>
              <a:gd name="connsiteY990" fmla="*/ 4494543 h 4596459"/>
              <a:gd name="connsiteX991" fmla="*/ 1135104 w 4716235"/>
              <a:gd name="connsiteY991" fmla="*/ 4483806 h 4596459"/>
              <a:gd name="connsiteX992" fmla="*/ 1145841 w 4716235"/>
              <a:gd name="connsiteY992" fmla="*/ 4473070 h 4596459"/>
              <a:gd name="connsiteX993" fmla="*/ 2489425 w 4716235"/>
              <a:gd name="connsiteY993" fmla="*/ 4472574 h 4596459"/>
              <a:gd name="connsiteX994" fmla="*/ 2500163 w 4716235"/>
              <a:gd name="connsiteY994" fmla="*/ 4483310 h 4596459"/>
              <a:gd name="connsiteX995" fmla="*/ 2489425 w 4716235"/>
              <a:gd name="connsiteY995" fmla="*/ 4494047 h 4596459"/>
              <a:gd name="connsiteX996" fmla="*/ 2478688 w 4716235"/>
              <a:gd name="connsiteY996" fmla="*/ 4483310 h 4596459"/>
              <a:gd name="connsiteX997" fmla="*/ 2489425 w 4716235"/>
              <a:gd name="connsiteY997" fmla="*/ 4472574 h 4596459"/>
              <a:gd name="connsiteX998" fmla="*/ 1858267 w 4716235"/>
              <a:gd name="connsiteY998" fmla="*/ 4472409 h 4596459"/>
              <a:gd name="connsiteX999" fmla="*/ 1869004 w 4716235"/>
              <a:gd name="connsiteY999" fmla="*/ 4483146 h 4596459"/>
              <a:gd name="connsiteX1000" fmla="*/ 1858267 w 4716235"/>
              <a:gd name="connsiteY1000" fmla="*/ 4493882 h 4596459"/>
              <a:gd name="connsiteX1001" fmla="*/ 1847531 w 4716235"/>
              <a:gd name="connsiteY1001" fmla="*/ 4483146 h 4596459"/>
              <a:gd name="connsiteX1002" fmla="*/ 1858267 w 4716235"/>
              <a:gd name="connsiteY1002" fmla="*/ 4472409 h 4596459"/>
              <a:gd name="connsiteX1003" fmla="*/ 1512379 w 4716235"/>
              <a:gd name="connsiteY1003" fmla="*/ 4472078 h 4596459"/>
              <a:gd name="connsiteX1004" fmla="*/ 1523117 w 4716235"/>
              <a:gd name="connsiteY1004" fmla="*/ 4482815 h 4596459"/>
              <a:gd name="connsiteX1005" fmla="*/ 1512379 w 4716235"/>
              <a:gd name="connsiteY1005" fmla="*/ 4493551 h 4596459"/>
              <a:gd name="connsiteX1006" fmla="*/ 1501642 w 4716235"/>
              <a:gd name="connsiteY1006" fmla="*/ 4482815 h 4596459"/>
              <a:gd name="connsiteX1007" fmla="*/ 1512379 w 4716235"/>
              <a:gd name="connsiteY1007" fmla="*/ 4472078 h 4596459"/>
              <a:gd name="connsiteX1008" fmla="*/ 2137094 w 4716235"/>
              <a:gd name="connsiteY1008" fmla="*/ 4471253 h 4596459"/>
              <a:gd name="connsiteX1009" fmla="*/ 2147831 w 4716235"/>
              <a:gd name="connsiteY1009" fmla="*/ 4481989 h 4596459"/>
              <a:gd name="connsiteX1010" fmla="*/ 2137094 w 4716235"/>
              <a:gd name="connsiteY1010" fmla="*/ 4492727 h 4596459"/>
              <a:gd name="connsiteX1011" fmla="*/ 2126357 w 4716235"/>
              <a:gd name="connsiteY1011" fmla="*/ 4481989 h 4596459"/>
              <a:gd name="connsiteX1012" fmla="*/ 2137094 w 4716235"/>
              <a:gd name="connsiteY1012" fmla="*/ 4471253 h 4596459"/>
              <a:gd name="connsiteX1013" fmla="*/ 1166653 w 4716235"/>
              <a:gd name="connsiteY1013" fmla="*/ 4471253 h 4596459"/>
              <a:gd name="connsiteX1014" fmla="*/ 1177391 w 4716235"/>
              <a:gd name="connsiteY1014" fmla="*/ 4481989 h 4596459"/>
              <a:gd name="connsiteX1015" fmla="*/ 1166653 w 4716235"/>
              <a:gd name="connsiteY1015" fmla="*/ 4492727 h 4596459"/>
              <a:gd name="connsiteX1016" fmla="*/ 1155916 w 4716235"/>
              <a:gd name="connsiteY1016" fmla="*/ 4481989 h 4596459"/>
              <a:gd name="connsiteX1017" fmla="*/ 1166653 w 4716235"/>
              <a:gd name="connsiteY1017" fmla="*/ 4471253 h 4596459"/>
              <a:gd name="connsiteX1018" fmla="*/ 1655095 w 4716235"/>
              <a:gd name="connsiteY1018" fmla="*/ 4470921 h 4596459"/>
              <a:gd name="connsiteX1019" fmla="*/ 1665833 w 4716235"/>
              <a:gd name="connsiteY1019" fmla="*/ 4481658 h 4596459"/>
              <a:gd name="connsiteX1020" fmla="*/ 1655095 w 4716235"/>
              <a:gd name="connsiteY1020" fmla="*/ 4492394 h 4596459"/>
              <a:gd name="connsiteX1021" fmla="*/ 1644359 w 4716235"/>
              <a:gd name="connsiteY1021" fmla="*/ 4481658 h 4596459"/>
              <a:gd name="connsiteX1022" fmla="*/ 1655095 w 4716235"/>
              <a:gd name="connsiteY1022" fmla="*/ 4470921 h 4596459"/>
              <a:gd name="connsiteX1023" fmla="*/ 1188292 w 4716235"/>
              <a:gd name="connsiteY1023" fmla="*/ 4470261 h 4596459"/>
              <a:gd name="connsiteX1024" fmla="*/ 1199030 w 4716235"/>
              <a:gd name="connsiteY1024" fmla="*/ 4480997 h 4596459"/>
              <a:gd name="connsiteX1025" fmla="*/ 1188292 w 4716235"/>
              <a:gd name="connsiteY1025" fmla="*/ 4491735 h 4596459"/>
              <a:gd name="connsiteX1026" fmla="*/ 1177556 w 4716235"/>
              <a:gd name="connsiteY1026" fmla="*/ 4480997 h 4596459"/>
              <a:gd name="connsiteX1027" fmla="*/ 1188292 w 4716235"/>
              <a:gd name="connsiteY1027" fmla="*/ 4470261 h 4596459"/>
              <a:gd name="connsiteX1028" fmla="*/ 1316473 w 4716235"/>
              <a:gd name="connsiteY1028" fmla="*/ 4469435 h 4596459"/>
              <a:gd name="connsiteX1029" fmla="*/ 1327211 w 4716235"/>
              <a:gd name="connsiteY1029" fmla="*/ 4480172 h 4596459"/>
              <a:gd name="connsiteX1030" fmla="*/ 1319032 w 4716235"/>
              <a:gd name="connsiteY1030" fmla="*/ 4488348 h 4596459"/>
              <a:gd name="connsiteX1031" fmla="*/ 1324568 w 4716235"/>
              <a:gd name="connsiteY1031" fmla="*/ 4493882 h 4596459"/>
              <a:gd name="connsiteX1032" fmla="*/ 1316391 w 4716235"/>
              <a:gd name="connsiteY1032" fmla="*/ 4502059 h 4596459"/>
              <a:gd name="connsiteX1033" fmla="*/ 1322090 w 4716235"/>
              <a:gd name="connsiteY1033" fmla="*/ 4507757 h 4596459"/>
              <a:gd name="connsiteX1034" fmla="*/ 1311353 w 4716235"/>
              <a:gd name="connsiteY1034" fmla="*/ 4518495 h 4596459"/>
              <a:gd name="connsiteX1035" fmla="*/ 1300617 w 4716235"/>
              <a:gd name="connsiteY1035" fmla="*/ 4507757 h 4596459"/>
              <a:gd name="connsiteX1036" fmla="*/ 1308792 w 4716235"/>
              <a:gd name="connsiteY1036" fmla="*/ 4499582 h 4596459"/>
              <a:gd name="connsiteX1037" fmla="*/ 1303093 w 4716235"/>
              <a:gd name="connsiteY1037" fmla="*/ 4493882 h 4596459"/>
              <a:gd name="connsiteX1038" fmla="*/ 1311270 w 4716235"/>
              <a:gd name="connsiteY1038" fmla="*/ 4485705 h 4596459"/>
              <a:gd name="connsiteX1039" fmla="*/ 1305736 w 4716235"/>
              <a:gd name="connsiteY1039" fmla="*/ 4480172 h 4596459"/>
              <a:gd name="connsiteX1040" fmla="*/ 1316473 w 4716235"/>
              <a:gd name="connsiteY1040" fmla="*/ 4469435 h 4596459"/>
              <a:gd name="connsiteX1041" fmla="*/ 2470760 w 4716235"/>
              <a:gd name="connsiteY1041" fmla="*/ 4468279 h 4596459"/>
              <a:gd name="connsiteX1042" fmla="*/ 2481496 w 4716235"/>
              <a:gd name="connsiteY1042" fmla="*/ 4479015 h 4596459"/>
              <a:gd name="connsiteX1043" fmla="*/ 2470760 w 4716235"/>
              <a:gd name="connsiteY1043" fmla="*/ 4489751 h 4596459"/>
              <a:gd name="connsiteX1044" fmla="*/ 2460023 w 4716235"/>
              <a:gd name="connsiteY1044" fmla="*/ 4479015 h 4596459"/>
              <a:gd name="connsiteX1045" fmla="*/ 2470760 w 4716235"/>
              <a:gd name="connsiteY1045" fmla="*/ 4468279 h 4596459"/>
              <a:gd name="connsiteX1046" fmla="*/ 1959690 w 4716235"/>
              <a:gd name="connsiteY1046" fmla="*/ 4468279 h 4596459"/>
              <a:gd name="connsiteX1047" fmla="*/ 1970426 w 4716235"/>
              <a:gd name="connsiteY1047" fmla="*/ 4479015 h 4596459"/>
              <a:gd name="connsiteX1048" fmla="*/ 1959690 w 4716235"/>
              <a:gd name="connsiteY1048" fmla="*/ 4489751 h 4596459"/>
              <a:gd name="connsiteX1049" fmla="*/ 1948953 w 4716235"/>
              <a:gd name="connsiteY1049" fmla="*/ 4479015 h 4596459"/>
              <a:gd name="connsiteX1050" fmla="*/ 1959690 w 4716235"/>
              <a:gd name="connsiteY1050" fmla="*/ 4468279 h 4596459"/>
              <a:gd name="connsiteX1051" fmla="*/ 1347197 w 4716235"/>
              <a:gd name="connsiteY1051" fmla="*/ 4468114 h 4596459"/>
              <a:gd name="connsiteX1052" fmla="*/ 1357935 w 4716235"/>
              <a:gd name="connsiteY1052" fmla="*/ 4478850 h 4596459"/>
              <a:gd name="connsiteX1053" fmla="*/ 1347860 w 4716235"/>
              <a:gd name="connsiteY1053" fmla="*/ 4488926 h 4596459"/>
              <a:gd name="connsiteX1054" fmla="*/ 1352650 w 4716235"/>
              <a:gd name="connsiteY1054" fmla="*/ 4493716 h 4596459"/>
              <a:gd name="connsiteX1055" fmla="*/ 1343977 w 4716235"/>
              <a:gd name="connsiteY1055" fmla="*/ 4502390 h 4596459"/>
              <a:gd name="connsiteX1056" fmla="*/ 1348187 w 4716235"/>
              <a:gd name="connsiteY1056" fmla="*/ 4506601 h 4596459"/>
              <a:gd name="connsiteX1057" fmla="*/ 1337534 w 4716235"/>
              <a:gd name="connsiteY1057" fmla="*/ 4517255 h 4596459"/>
              <a:gd name="connsiteX1058" fmla="*/ 1343399 w 4716235"/>
              <a:gd name="connsiteY1058" fmla="*/ 4523119 h 4596459"/>
              <a:gd name="connsiteX1059" fmla="*/ 1332661 w 4716235"/>
              <a:gd name="connsiteY1059" fmla="*/ 4533855 h 4596459"/>
              <a:gd name="connsiteX1060" fmla="*/ 1321925 w 4716235"/>
              <a:gd name="connsiteY1060" fmla="*/ 4523119 h 4596459"/>
              <a:gd name="connsiteX1061" fmla="*/ 1332580 w 4716235"/>
              <a:gd name="connsiteY1061" fmla="*/ 4512466 h 4596459"/>
              <a:gd name="connsiteX1062" fmla="*/ 1326715 w 4716235"/>
              <a:gd name="connsiteY1062" fmla="*/ 4506601 h 4596459"/>
              <a:gd name="connsiteX1063" fmla="*/ 1335387 w 4716235"/>
              <a:gd name="connsiteY1063" fmla="*/ 4497928 h 4596459"/>
              <a:gd name="connsiteX1064" fmla="*/ 1331175 w 4716235"/>
              <a:gd name="connsiteY1064" fmla="*/ 4493716 h 4596459"/>
              <a:gd name="connsiteX1065" fmla="*/ 1341251 w 4716235"/>
              <a:gd name="connsiteY1065" fmla="*/ 4483640 h 4596459"/>
              <a:gd name="connsiteX1066" fmla="*/ 1336461 w 4716235"/>
              <a:gd name="connsiteY1066" fmla="*/ 4478850 h 4596459"/>
              <a:gd name="connsiteX1067" fmla="*/ 1347197 w 4716235"/>
              <a:gd name="connsiteY1067" fmla="*/ 4468114 h 4596459"/>
              <a:gd name="connsiteX1068" fmla="*/ 2100093 w 4716235"/>
              <a:gd name="connsiteY1068" fmla="*/ 4467122 h 4596459"/>
              <a:gd name="connsiteX1069" fmla="*/ 2110829 w 4716235"/>
              <a:gd name="connsiteY1069" fmla="*/ 4477858 h 4596459"/>
              <a:gd name="connsiteX1070" fmla="*/ 2100093 w 4716235"/>
              <a:gd name="connsiteY1070" fmla="*/ 4488596 h 4596459"/>
              <a:gd name="connsiteX1071" fmla="*/ 2089356 w 4716235"/>
              <a:gd name="connsiteY1071" fmla="*/ 4477858 h 4596459"/>
              <a:gd name="connsiteX1072" fmla="*/ 2100093 w 4716235"/>
              <a:gd name="connsiteY1072" fmla="*/ 4467122 h 4596459"/>
              <a:gd name="connsiteX1073" fmla="*/ 1380234 w 4716235"/>
              <a:gd name="connsiteY1073" fmla="*/ 4465802 h 4596459"/>
              <a:gd name="connsiteX1074" fmla="*/ 1390972 w 4716235"/>
              <a:gd name="connsiteY1074" fmla="*/ 4476538 h 4596459"/>
              <a:gd name="connsiteX1075" fmla="*/ 1380234 w 4716235"/>
              <a:gd name="connsiteY1075" fmla="*/ 4487275 h 4596459"/>
              <a:gd name="connsiteX1076" fmla="*/ 1369497 w 4716235"/>
              <a:gd name="connsiteY1076" fmla="*/ 4476538 h 4596459"/>
              <a:gd name="connsiteX1077" fmla="*/ 1380234 w 4716235"/>
              <a:gd name="connsiteY1077" fmla="*/ 4465802 h 4596459"/>
              <a:gd name="connsiteX1078" fmla="*/ 1040785 w 4716235"/>
              <a:gd name="connsiteY1078" fmla="*/ 4465802 h 4596459"/>
              <a:gd name="connsiteX1079" fmla="*/ 1051524 w 4716235"/>
              <a:gd name="connsiteY1079" fmla="*/ 4476538 h 4596459"/>
              <a:gd name="connsiteX1080" fmla="*/ 1040785 w 4716235"/>
              <a:gd name="connsiteY1080" fmla="*/ 4487275 h 4596459"/>
              <a:gd name="connsiteX1081" fmla="*/ 1030049 w 4716235"/>
              <a:gd name="connsiteY1081" fmla="*/ 4476538 h 4596459"/>
              <a:gd name="connsiteX1082" fmla="*/ 1040785 w 4716235"/>
              <a:gd name="connsiteY1082" fmla="*/ 4465802 h 4596459"/>
              <a:gd name="connsiteX1083" fmla="*/ 2451764 w 4716235"/>
              <a:gd name="connsiteY1083" fmla="*/ 4465306 h 4596459"/>
              <a:gd name="connsiteX1084" fmla="*/ 2462502 w 4716235"/>
              <a:gd name="connsiteY1084" fmla="*/ 4476043 h 4596459"/>
              <a:gd name="connsiteX1085" fmla="*/ 2451764 w 4716235"/>
              <a:gd name="connsiteY1085" fmla="*/ 4486779 h 4596459"/>
              <a:gd name="connsiteX1086" fmla="*/ 2441027 w 4716235"/>
              <a:gd name="connsiteY1086" fmla="*/ 4476043 h 4596459"/>
              <a:gd name="connsiteX1087" fmla="*/ 2451764 w 4716235"/>
              <a:gd name="connsiteY1087" fmla="*/ 4465306 h 4596459"/>
              <a:gd name="connsiteX1088" fmla="*/ 1554004 w 4716235"/>
              <a:gd name="connsiteY1088" fmla="*/ 4465306 h 4596459"/>
              <a:gd name="connsiteX1089" fmla="*/ 1564741 w 4716235"/>
              <a:gd name="connsiteY1089" fmla="*/ 4476043 h 4596459"/>
              <a:gd name="connsiteX1090" fmla="*/ 1554004 w 4716235"/>
              <a:gd name="connsiteY1090" fmla="*/ 4486779 h 4596459"/>
              <a:gd name="connsiteX1091" fmla="*/ 1543268 w 4716235"/>
              <a:gd name="connsiteY1091" fmla="*/ 4476043 h 4596459"/>
              <a:gd name="connsiteX1092" fmla="*/ 1554004 w 4716235"/>
              <a:gd name="connsiteY1092" fmla="*/ 4465306 h 4596459"/>
              <a:gd name="connsiteX1093" fmla="*/ 2570860 w 4716235"/>
              <a:gd name="connsiteY1093" fmla="*/ 4463820 h 4596459"/>
              <a:gd name="connsiteX1094" fmla="*/ 2581597 w 4716235"/>
              <a:gd name="connsiteY1094" fmla="*/ 4474556 h 4596459"/>
              <a:gd name="connsiteX1095" fmla="*/ 2570860 w 4716235"/>
              <a:gd name="connsiteY1095" fmla="*/ 4485293 h 4596459"/>
              <a:gd name="connsiteX1096" fmla="*/ 2560124 w 4716235"/>
              <a:gd name="connsiteY1096" fmla="*/ 4474556 h 4596459"/>
              <a:gd name="connsiteX1097" fmla="*/ 2570860 w 4716235"/>
              <a:gd name="connsiteY1097" fmla="*/ 4463820 h 4596459"/>
              <a:gd name="connsiteX1098" fmla="*/ 960508 w 4716235"/>
              <a:gd name="connsiteY1098" fmla="*/ 4463820 h 4596459"/>
              <a:gd name="connsiteX1099" fmla="*/ 964141 w 4716235"/>
              <a:gd name="connsiteY1099" fmla="*/ 4467455 h 4596459"/>
              <a:gd name="connsiteX1100" fmla="*/ 960508 w 4716235"/>
              <a:gd name="connsiteY1100" fmla="*/ 4471088 h 4596459"/>
              <a:gd name="connsiteX1101" fmla="*/ 956873 w 4716235"/>
              <a:gd name="connsiteY1101" fmla="*/ 4467455 h 4596459"/>
              <a:gd name="connsiteX1102" fmla="*/ 960508 w 4716235"/>
              <a:gd name="connsiteY1102" fmla="*/ 4463820 h 4596459"/>
              <a:gd name="connsiteX1103" fmla="*/ 2431943 w 4716235"/>
              <a:gd name="connsiteY1103" fmla="*/ 4463324 h 4596459"/>
              <a:gd name="connsiteX1104" fmla="*/ 2442682 w 4716235"/>
              <a:gd name="connsiteY1104" fmla="*/ 4474060 h 4596459"/>
              <a:gd name="connsiteX1105" fmla="*/ 2431943 w 4716235"/>
              <a:gd name="connsiteY1105" fmla="*/ 4484797 h 4596459"/>
              <a:gd name="connsiteX1106" fmla="*/ 2421207 w 4716235"/>
              <a:gd name="connsiteY1106" fmla="*/ 4474060 h 4596459"/>
              <a:gd name="connsiteX1107" fmla="*/ 2431943 w 4716235"/>
              <a:gd name="connsiteY1107" fmla="*/ 4463324 h 4596459"/>
              <a:gd name="connsiteX1108" fmla="*/ 2648496 w 4716235"/>
              <a:gd name="connsiteY1108" fmla="*/ 4462663 h 4596459"/>
              <a:gd name="connsiteX1109" fmla="*/ 2653122 w 4716235"/>
              <a:gd name="connsiteY1109" fmla="*/ 4467288 h 4596459"/>
              <a:gd name="connsiteX1110" fmla="*/ 2648496 w 4716235"/>
              <a:gd name="connsiteY1110" fmla="*/ 4471913 h 4596459"/>
              <a:gd name="connsiteX1111" fmla="*/ 2643871 w 4716235"/>
              <a:gd name="connsiteY1111" fmla="*/ 4467288 h 4596459"/>
              <a:gd name="connsiteX1112" fmla="*/ 2648496 w 4716235"/>
              <a:gd name="connsiteY1112" fmla="*/ 4462663 h 4596459"/>
              <a:gd name="connsiteX1113" fmla="*/ 2411295 w 4716235"/>
              <a:gd name="connsiteY1113" fmla="*/ 4462167 h 4596459"/>
              <a:gd name="connsiteX1114" fmla="*/ 2422032 w 4716235"/>
              <a:gd name="connsiteY1114" fmla="*/ 4472904 h 4596459"/>
              <a:gd name="connsiteX1115" fmla="*/ 2411295 w 4716235"/>
              <a:gd name="connsiteY1115" fmla="*/ 4483640 h 4596459"/>
              <a:gd name="connsiteX1116" fmla="*/ 2400558 w 4716235"/>
              <a:gd name="connsiteY1116" fmla="*/ 4472904 h 4596459"/>
              <a:gd name="connsiteX1117" fmla="*/ 2411295 w 4716235"/>
              <a:gd name="connsiteY1117" fmla="*/ 4462167 h 4596459"/>
              <a:gd name="connsiteX1118" fmla="*/ 2317471 w 4716235"/>
              <a:gd name="connsiteY1118" fmla="*/ 4462167 h 4596459"/>
              <a:gd name="connsiteX1119" fmla="*/ 2328210 w 4716235"/>
              <a:gd name="connsiteY1119" fmla="*/ 4472904 h 4596459"/>
              <a:gd name="connsiteX1120" fmla="*/ 2319372 w 4716235"/>
              <a:gd name="connsiteY1120" fmla="*/ 4481741 h 4596459"/>
              <a:gd name="connsiteX1121" fmla="*/ 2324741 w 4716235"/>
              <a:gd name="connsiteY1121" fmla="*/ 4487108 h 4596459"/>
              <a:gd name="connsiteX1122" fmla="*/ 2315656 w 4716235"/>
              <a:gd name="connsiteY1122" fmla="*/ 4496196 h 4596459"/>
              <a:gd name="connsiteX1123" fmla="*/ 2322757 w 4716235"/>
              <a:gd name="connsiteY1123" fmla="*/ 4503297 h 4596459"/>
              <a:gd name="connsiteX1124" fmla="*/ 2312021 w 4716235"/>
              <a:gd name="connsiteY1124" fmla="*/ 4514033 h 4596459"/>
              <a:gd name="connsiteX1125" fmla="*/ 2301285 w 4716235"/>
              <a:gd name="connsiteY1125" fmla="*/ 4503297 h 4596459"/>
              <a:gd name="connsiteX1126" fmla="*/ 2310370 w 4716235"/>
              <a:gd name="connsiteY1126" fmla="*/ 4494213 h 4596459"/>
              <a:gd name="connsiteX1127" fmla="*/ 2303267 w 4716235"/>
              <a:gd name="connsiteY1127" fmla="*/ 4487108 h 4596459"/>
              <a:gd name="connsiteX1128" fmla="*/ 2312103 w 4716235"/>
              <a:gd name="connsiteY1128" fmla="*/ 4478273 h 4596459"/>
              <a:gd name="connsiteX1129" fmla="*/ 2306735 w 4716235"/>
              <a:gd name="connsiteY1129" fmla="*/ 4472904 h 4596459"/>
              <a:gd name="connsiteX1130" fmla="*/ 2317471 w 4716235"/>
              <a:gd name="connsiteY1130" fmla="*/ 4462167 h 4596459"/>
              <a:gd name="connsiteX1131" fmla="*/ 2342910 w 4716235"/>
              <a:gd name="connsiteY1131" fmla="*/ 4462003 h 4596459"/>
              <a:gd name="connsiteX1132" fmla="*/ 2353648 w 4716235"/>
              <a:gd name="connsiteY1132" fmla="*/ 4472739 h 4596459"/>
              <a:gd name="connsiteX1133" fmla="*/ 2343819 w 4716235"/>
              <a:gd name="connsiteY1133" fmla="*/ 4482568 h 4596459"/>
              <a:gd name="connsiteX1134" fmla="*/ 2348692 w 4716235"/>
              <a:gd name="connsiteY1134" fmla="*/ 4487440 h 4596459"/>
              <a:gd name="connsiteX1135" fmla="*/ 2337954 w 4716235"/>
              <a:gd name="connsiteY1135" fmla="*/ 4498176 h 4596459"/>
              <a:gd name="connsiteX1136" fmla="*/ 2327217 w 4716235"/>
              <a:gd name="connsiteY1136" fmla="*/ 4487440 h 4596459"/>
              <a:gd name="connsiteX1137" fmla="*/ 2337045 w 4716235"/>
              <a:gd name="connsiteY1137" fmla="*/ 4477612 h 4596459"/>
              <a:gd name="connsiteX1138" fmla="*/ 2332174 w 4716235"/>
              <a:gd name="connsiteY1138" fmla="*/ 4472739 h 4596459"/>
              <a:gd name="connsiteX1139" fmla="*/ 2342910 w 4716235"/>
              <a:gd name="connsiteY1139" fmla="*/ 4462003 h 4596459"/>
              <a:gd name="connsiteX1140" fmla="*/ 1415581 w 4716235"/>
              <a:gd name="connsiteY1140" fmla="*/ 4462003 h 4596459"/>
              <a:gd name="connsiteX1141" fmla="*/ 1426320 w 4716235"/>
              <a:gd name="connsiteY1141" fmla="*/ 4472739 h 4596459"/>
              <a:gd name="connsiteX1142" fmla="*/ 1415581 w 4716235"/>
              <a:gd name="connsiteY1142" fmla="*/ 4483477 h 4596459"/>
              <a:gd name="connsiteX1143" fmla="*/ 1404845 w 4716235"/>
              <a:gd name="connsiteY1143" fmla="*/ 4472739 h 4596459"/>
              <a:gd name="connsiteX1144" fmla="*/ 1415581 w 4716235"/>
              <a:gd name="connsiteY1144" fmla="*/ 4462003 h 4596459"/>
              <a:gd name="connsiteX1145" fmla="*/ 2367026 w 4716235"/>
              <a:gd name="connsiteY1145" fmla="*/ 4461836 h 4596459"/>
              <a:gd name="connsiteX1146" fmla="*/ 2377764 w 4716235"/>
              <a:gd name="connsiteY1146" fmla="*/ 4472572 h 4596459"/>
              <a:gd name="connsiteX1147" fmla="*/ 2367026 w 4716235"/>
              <a:gd name="connsiteY1147" fmla="*/ 4483310 h 4596459"/>
              <a:gd name="connsiteX1148" fmla="*/ 2356290 w 4716235"/>
              <a:gd name="connsiteY1148" fmla="*/ 4472572 h 4596459"/>
              <a:gd name="connsiteX1149" fmla="*/ 2367026 w 4716235"/>
              <a:gd name="connsiteY1149" fmla="*/ 4461836 h 4596459"/>
              <a:gd name="connsiteX1150" fmla="*/ 2389822 w 4716235"/>
              <a:gd name="connsiteY1150" fmla="*/ 4461671 h 4596459"/>
              <a:gd name="connsiteX1151" fmla="*/ 2400560 w 4716235"/>
              <a:gd name="connsiteY1151" fmla="*/ 4472408 h 4596459"/>
              <a:gd name="connsiteX1152" fmla="*/ 2389822 w 4716235"/>
              <a:gd name="connsiteY1152" fmla="*/ 4483144 h 4596459"/>
              <a:gd name="connsiteX1153" fmla="*/ 2379086 w 4716235"/>
              <a:gd name="connsiteY1153" fmla="*/ 4472408 h 4596459"/>
              <a:gd name="connsiteX1154" fmla="*/ 2389822 w 4716235"/>
              <a:gd name="connsiteY1154" fmla="*/ 4461671 h 4596459"/>
              <a:gd name="connsiteX1155" fmla="*/ 1808383 w 4716235"/>
              <a:gd name="connsiteY1155" fmla="*/ 4461177 h 4596459"/>
              <a:gd name="connsiteX1156" fmla="*/ 1819122 w 4716235"/>
              <a:gd name="connsiteY1156" fmla="*/ 4471913 h 4596459"/>
              <a:gd name="connsiteX1157" fmla="*/ 1808383 w 4716235"/>
              <a:gd name="connsiteY1157" fmla="*/ 4482650 h 4596459"/>
              <a:gd name="connsiteX1158" fmla="*/ 1797647 w 4716235"/>
              <a:gd name="connsiteY1158" fmla="*/ 4471913 h 4596459"/>
              <a:gd name="connsiteX1159" fmla="*/ 1808383 w 4716235"/>
              <a:gd name="connsiteY1159" fmla="*/ 4461177 h 4596459"/>
              <a:gd name="connsiteX1160" fmla="*/ 2260980 w 4716235"/>
              <a:gd name="connsiteY1160" fmla="*/ 4460846 h 4596459"/>
              <a:gd name="connsiteX1161" fmla="*/ 2271718 w 4716235"/>
              <a:gd name="connsiteY1161" fmla="*/ 4471582 h 4596459"/>
              <a:gd name="connsiteX1162" fmla="*/ 2264698 w 4716235"/>
              <a:gd name="connsiteY1162" fmla="*/ 4478604 h 4596459"/>
              <a:gd name="connsiteX1163" fmla="*/ 2273040 w 4716235"/>
              <a:gd name="connsiteY1163" fmla="*/ 4486944 h 4596459"/>
              <a:gd name="connsiteX1164" fmla="*/ 2266927 w 4716235"/>
              <a:gd name="connsiteY1164" fmla="*/ 4493057 h 4596459"/>
              <a:gd name="connsiteX1165" fmla="*/ 2274196 w 4716235"/>
              <a:gd name="connsiteY1165" fmla="*/ 4500325 h 4596459"/>
              <a:gd name="connsiteX1166" fmla="*/ 2266514 w 4716235"/>
              <a:gd name="connsiteY1166" fmla="*/ 4508005 h 4596459"/>
              <a:gd name="connsiteX1167" fmla="*/ 2276011 w 4716235"/>
              <a:gd name="connsiteY1167" fmla="*/ 4517502 h 4596459"/>
              <a:gd name="connsiteX1168" fmla="*/ 2265274 w 4716235"/>
              <a:gd name="connsiteY1168" fmla="*/ 4528240 h 4596459"/>
              <a:gd name="connsiteX1169" fmla="*/ 2254538 w 4716235"/>
              <a:gd name="connsiteY1169" fmla="*/ 4517502 h 4596459"/>
              <a:gd name="connsiteX1170" fmla="*/ 2262218 w 4716235"/>
              <a:gd name="connsiteY1170" fmla="*/ 4509821 h 4596459"/>
              <a:gd name="connsiteX1171" fmla="*/ 2252722 w 4716235"/>
              <a:gd name="connsiteY1171" fmla="*/ 4500325 h 4596459"/>
              <a:gd name="connsiteX1172" fmla="*/ 2258833 w 4716235"/>
              <a:gd name="connsiteY1172" fmla="*/ 4494213 h 4596459"/>
              <a:gd name="connsiteX1173" fmla="*/ 2251566 w 4716235"/>
              <a:gd name="connsiteY1173" fmla="*/ 4486944 h 4596459"/>
              <a:gd name="connsiteX1174" fmla="*/ 2258585 w 4716235"/>
              <a:gd name="connsiteY1174" fmla="*/ 4479925 h 4596459"/>
              <a:gd name="connsiteX1175" fmla="*/ 2250244 w 4716235"/>
              <a:gd name="connsiteY1175" fmla="*/ 4471582 h 4596459"/>
              <a:gd name="connsiteX1176" fmla="*/ 2260980 w 4716235"/>
              <a:gd name="connsiteY1176" fmla="*/ 4460846 h 4596459"/>
              <a:gd name="connsiteX1177" fmla="*/ 2060285 w 4716235"/>
              <a:gd name="connsiteY1177" fmla="*/ 4460846 h 4596459"/>
              <a:gd name="connsiteX1178" fmla="*/ 2071023 w 4716235"/>
              <a:gd name="connsiteY1178" fmla="*/ 4471582 h 4596459"/>
              <a:gd name="connsiteX1179" fmla="*/ 2060285 w 4716235"/>
              <a:gd name="connsiteY1179" fmla="*/ 4482320 h 4596459"/>
              <a:gd name="connsiteX1180" fmla="*/ 2049548 w 4716235"/>
              <a:gd name="connsiteY1180" fmla="*/ 4471582 h 4596459"/>
              <a:gd name="connsiteX1181" fmla="*/ 2060285 w 4716235"/>
              <a:gd name="connsiteY1181" fmla="*/ 4460846 h 4596459"/>
              <a:gd name="connsiteX1182" fmla="*/ 1703328 w 4716235"/>
              <a:gd name="connsiteY1182" fmla="*/ 4460350 h 4596459"/>
              <a:gd name="connsiteX1183" fmla="*/ 1714066 w 4716235"/>
              <a:gd name="connsiteY1183" fmla="*/ 4471086 h 4596459"/>
              <a:gd name="connsiteX1184" fmla="*/ 1703328 w 4716235"/>
              <a:gd name="connsiteY1184" fmla="*/ 4481824 h 4596459"/>
              <a:gd name="connsiteX1185" fmla="*/ 1692592 w 4716235"/>
              <a:gd name="connsiteY1185" fmla="*/ 4471086 h 4596459"/>
              <a:gd name="connsiteX1186" fmla="*/ 1703328 w 4716235"/>
              <a:gd name="connsiteY1186" fmla="*/ 4460350 h 4596459"/>
              <a:gd name="connsiteX1187" fmla="*/ 2229760 w 4716235"/>
              <a:gd name="connsiteY1187" fmla="*/ 4458864 h 4596459"/>
              <a:gd name="connsiteX1188" fmla="*/ 2240498 w 4716235"/>
              <a:gd name="connsiteY1188" fmla="*/ 4469600 h 4596459"/>
              <a:gd name="connsiteX1189" fmla="*/ 2234055 w 4716235"/>
              <a:gd name="connsiteY1189" fmla="*/ 4476043 h 4596459"/>
              <a:gd name="connsiteX1190" fmla="*/ 2244792 w 4716235"/>
              <a:gd name="connsiteY1190" fmla="*/ 4486779 h 4596459"/>
              <a:gd name="connsiteX1191" fmla="*/ 2239837 w 4716235"/>
              <a:gd name="connsiteY1191" fmla="*/ 4491735 h 4596459"/>
              <a:gd name="connsiteX1192" fmla="*/ 2247932 w 4716235"/>
              <a:gd name="connsiteY1192" fmla="*/ 4499829 h 4596459"/>
              <a:gd name="connsiteX1193" fmla="*/ 2242232 w 4716235"/>
              <a:gd name="connsiteY1193" fmla="*/ 4505527 h 4596459"/>
              <a:gd name="connsiteX1194" fmla="*/ 2251401 w 4716235"/>
              <a:gd name="connsiteY1194" fmla="*/ 4514694 h 4596459"/>
              <a:gd name="connsiteX1195" fmla="*/ 2240662 w 4716235"/>
              <a:gd name="connsiteY1195" fmla="*/ 4525430 h 4596459"/>
              <a:gd name="connsiteX1196" fmla="*/ 2229926 w 4716235"/>
              <a:gd name="connsiteY1196" fmla="*/ 4514694 h 4596459"/>
              <a:gd name="connsiteX1197" fmla="*/ 2235625 w 4716235"/>
              <a:gd name="connsiteY1197" fmla="*/ 4508996 h 4596459"/>
              <a:gd name="connsiteX1198" fmla="*/ 2226458 w 4716235"/>
              <a:gd name="connsiteY1198" fmla="*/ 4499829 h 4596459"/>
              <a:gd name="connsiteX1199" fmla="*/ 2231414 w 4716235"/>
              <a:gd name="connsiteY1199" fmla="*/ 4494874 h 4596459"/>
              <a:gd name="connsiteX1200" fmla="*/ 2223319 w 4716235"/>
              <a:gd name="connsiteY1200" fmla="*/ 4486779 h 4596459"/>
              <a:gd name="connsiteX1201" fmla="*/ 2229760 w 4716235"/>
              <a:gd name="connsiteY1201" fmla="*/ 4480338 h 4596459"/>
              <a:gd name="connsiteX1202" fmla="*/ 2219024 w 4716235"/>
              <a:gd name="connsiteY1202" fmla="*/ 4469600 h 4596459"/>
              <a:gd name="connsiteX1203" fmla="*/ 2229760 w 4716235"/>
              <a:gd name="connsiteY1203" fmla="*/ 4458864 h 4596459"/>
              <a:gd name="connsiteX1204" fmla="*/ 1913274 w 4716235"/>
              <a:gd name="connsiteY1204" fmla="*/ 4458368 h 4596459"/>
              <a:gd name="connsiteX1205" fmla="*/ 1924010 w 4716235"/>
              <a:gd name="connsiteY1205" fmla="*/ 4469104 h 4596459"/>
              <a:gd name="connsiteX1206" fmla="*/ 1913274 w 4716235"/>
              <a:gd name="connsiteY1206" fmla="*/ 4479842 h 4596459"/>
              <a:gd name="connsiteX1207" fmla="*/ 1902538 w 4716235"/>
              <a:gd name="connsiteY1207" fmla="*/ 4469104 h 4596459"/>
              <a:gd name="connsiteX1208" fmla="*/ 1913274 w 4716235"/>
              <a:gd name="connsiteY1208" fmla="*/ 4458368 h 4596459"/>
              <a:gd name="connsiteX1209" fmla="*/ 2554342 w 4716235"/>
              <a:gd name="connsiteY1209" fmla="*/ 4457707 h 4596459"/>
              <a:gd name="connsiteX1210" fmla="*/ 2565079 w 4716235"/>
              <a:gd name="connsiteY1210" fmla="*/ 4468443 h 4596459"/>
              <a:gd name="connsiteX1211" fmla="*/ 2554342 w 4716235"/>
              <a:gd name="connsiteY1211" fmla="*/ 4479181 h 4596459"/>
              <a:gd name="connsiteX1212" fmla="*/ 2543606 w 4716235"/>
              <a:gd name="connsiteY1212" fmla="*/ 4468443 h 4596459"/>
              <a:gd name="connsiteX1213" fmla="*/ 2554342 w 4716235"/>
              <a:gd name="connsiteY1213" fmla="*/ 4457707 h 4596459"/>
              <a:gd name="connsiteX1214" fmla="*/ 1453739 w 4716235"/>
              <a:gd name="connsiteY1214" fmla="*/ 4456386 h 4596459"/>
              <a:gd name="connsiteX1215" fmla="*/ 1464477 w 4716235"/>
              <a:gd name="connsiteY1215" fmla="*/ 4467122 h 4596459"/>
              <a:gd name="connsiteX1216" fmla="*/ 1453739 w 4716235"/>
              <a:gd name="connsiteY1216" fmla="*/ 4477858 h 4596459"/>
              <a:gd name="connsiteX1217" fmla="*/ 1443002 w 4716235"/>
              <a:gd name="connsiteY1217" fmla="*/ 4467122 h 4596459"/>
              <a:gd name="connsiteX1218" fmla="*/ 1453739 w 4716235"/>
              <a:gd name="connsiteY1218" fmla="*/ 4456386 h 4596459"/>
              <a:gd name="connsiteX1219" fmla="*/ 1598602 w 4716235"/>
              <a:gd name="connsiteY1219" fmla="*/ 4456056 h 4596459"/>
              <a:gd name="connsiteX1220" fmla="*/ 1609340 w 4716235"/>
              <a:gd name="connsiteY1220" fmla="*/ 4466792 h 4596459"/>
              <a:gd name="connsiteX1221" fmla="*/ 1598602 w 4716235"/>
              <a:gd name="connsiteY1221" fmla="*/ 4477529 h 4596459"/>
              <a:gd name="connsiteX1222" fmla="*/ 1587866 w 4716235"/>
              <a:gd name="connsiteY1222" fmla="*/ 4466792 h 4596459"/>
              <a:gd name="connsiteX1223" fmla="*/ 1598602 w 4716235"/>
              <a:gd name="connsiteY1223" fmla="*/ 4456056 h 4596459"/>
              <a:gd name="connsiteX1224" fmla="*/ 2196229 w 4716235"/>
              <a:gd name="connsiteY1224" fmla="*/ 4455560 h 4596459"/>
              <a:gd name="connsiteX1225" fmla="*/ 2206967 w 4716235"/>
              <a:gd name="connsiteY1225" fmla="*/ 4466296 h 4596459"/>
              <a:gd name="connsiteX1226" fmla="*/ 2196229 w 4716235"/>
              <a:gd name="connsiteY1226" fmla="*/ 4477033 h 4596459"/>
              <a:gd name="connsiteX1227" fmla="*/ 2185493 w 4716235"/>
              <a:gd name="connsiteY1227" fmla="*/ 4466296 h 4596459"/>
              <a:gd name="connsiteX1228" fmla="*/ 2196229 w 4716235"/>
              <a:gd name="connsiteY1228" fmla="*/ 4455560 h 4596459"/>
              <a:gd name="connsiteX1229" fmla="*/ 1204810 w 4716235"/>
              <a:gd name="connsiteY1229" fmla="*/ 4454899 h 4596459"/>
              <a:gd name="connsiteX1230" fmla="*/ 1215548 w 4716235"/>
              <a:gd name="connsiteY1230" fmla="*/ 4465636 h 4596459"/>
              <a:gd name="connsiteX1231" fmla="*/ 1211253 w 4716235"/>
              <a:gd name="connsiteY1231" fmla="*/ 4469931 h 4596459"/>
              <a:gd name="connsiteX1232" fmla="*/ 1221826 w 4716235"/>
              <a:gd name="connsiteY1232" fmla="*/ 4480501 h 4596459"/>
              <a:gd name="connsiteX1233" fmla="*/ 1211088 w 4716235"/>
              <a:gd name="connsiteY1233" fmla="*/ 4491237 h 4596459"/>
              <a:gd name="connsiteX1234" fmla="*/ 1200352 w 4716235"/>
              <a:gd name="connsiteY1234" fmla="*/ 4480501 h 4596459"/>
              <a:gd name="connsiteX1235" fmla="*/ 1204645 w 4716235"/>
              <a:gd name="connsiteY1235" fmla="*/ 4476207 h 4596459"/>
              <a:gd name="connsiteX1236" fmla="*/ 1194074 w 4716235"/>
              <a:gd name="connsiteY1236" fmla="*/ 4465636 h 4596459"/>
              <a:gd name="connsiteX1237" fmla="*/ 1204810 w 4716235"/>
              <a:gd name="connsiteY1237" fmla="*/ 4454899 h 4596459"/>
              <a:gd name="connsiteX1238" fmla="*/ 1230578 w 4716235"/>
              <a:gd name="connsiteY1238" fmla="*/ 4454735 h 4596459"/>
              <a:gd name="connsiteX1239" fmla="*/ 1241315 w 4716235"/>
              <a:gd name="connsiteY1239" fmla="*/ 4465471 h 4596459"/>
              <a:gd name="connsiteX1240" fmla="*/ 1236112 w 4716235"/>
              <a:gd name="connsiteY1240" fmla="*/ 4470673 h 4596459"/>
              <a:gd name="connsiteX1241" fmla="*/ 1245942 w 4716235"/>
              <a:gd name="connsiteY1241" fmla="*/ 4480501 h 4596459"/>
              <a:gd name="connsiteX1242" fmla="*/ 1239993 w 4716235"/>
              <a:gd name="connsiteY1242" fmla="*/ 4486449 h 4596459"/>
              <a:gd name="connsiteX1243" fmla="*/ 1249245 w 4716235"/>
              <a:gd name="connsiteY1243" fmla="*/ 4495700 h 4596459"/>
              <a:gd name="connsiteX1244" fmla="*/ 1238507 w 4716235"/>
              <a:gd name="connsiteY1244" fmla="*/ 4506436 h 4596459"/>
              <a:gd name="connsiteX1245" fmla="*/ 1227771 w 4716235"/>
              <a:gd name="connsiteY1245" fmla="*/ 4495700 h 4596459"/>
              <a:gd name="connsiteX1246" fmla="*/ 1233719 w 4716235"/>
              <a:gd name="connsiteY1246" fmla="*/ 4489753 h 4596459"/>
              <a:gd name="connsiteX1247" fmla="*/ 1224467 w 4716235"/>
              <a:gd name="connsiteY1247" fmla="*/ 4480501 h 4596459"/>
              <a:gd name="connsiteX1248" fmla="*/ 1229670 w 4716235"/>
              <a:gd name="connsiteY1248" fmla="*/ 4475300 h 4596459"/>
              <a:gd name="connsiteX1249" fmla="*/ 1219842 w 4716235"/>
              <a:gd name="connsiteY1249" fmla="*/ 4465471 h 4596459"/>
              <a:gd name="connsiteX1250" fmla="*/ 1230578 w 4716235"/>
              <a:gd name="connsiteY1250" fmla="*/ 4454735 h 4596459"/>
              <a:gd name="connsiteX1251" fmla="*/ 1180530 w 4716235"/>
              <a:gd name="connsiteY1251" fmla="*/ 4454735 h 4596459"/>
              <a:gd name="connsiteX1252" fmla="*/ 1191266 w 4716235"/>
              <a:gd name="connsiteY1252" fmla="*/ 4465471 h 4596459"/>
              <a:gd name="connsiteX1253" fmla="*/ 1180530 w 4716235"/>
              <a:gd name="connsiteY1253" fmla="*/ 4476209 h 4596459"/>
              <a:gd name="connsiteX1254" fmla="*/ 1169793 w 4716235"/>
              <a:gd name="connsiteY1254" fmla="*/ 4465471 h 4596459"/>
              <a:gd name="connsiteX1255" fmla="*/ 1180530 w 4716235"/>
              <a:gd name="connsiteY1255" fmla="*/ 4454735 h 4596459"/>
              <a:gd name="connsiteX1256" fmla="*/ 1157569 w 4716235"/>
              <a:gd name="connsiteY1256" fmla="*/ 4454403 h 4596459"/>
              <a:gd name="connsiteX1257" fmla="*/ 1168305 w 4716235"/>
              <a:gd name="connsiteY1257" fmla="*/ 4465140 h 4596459"/>
              <a:gd name="connsiteX1258" fmla="*/ 1157569 w 4716235"/>
              <a:gd name="connsiteY1258" fmla="*/ 4475876 h 4596459"/>
              <a:gd name="connsiteX1259" fmla="*/ 1146833 w 4716235"/>
              <a:gd name="connsiteY1259" fmla="*/ 4465140 h 4596459"/>
              <a:gd name="connsiteX1260" fmla="*/ 1157569 w 4716235"/>
              <a:gd name="connsiteY1260" fmla="*/ 4454403 h 4596459"/>
              <a:gd name="connsiteX1261" fmla="*/ 1135930 w 4716235"/>
              <a:gd name="connsiteY1261" fmla="*/ 4454403 h 4596459"/>
              <a:gd name="connsiteX1262" fmla="*/ 1146668 w 4716235"/>
              <a:gd name="connsiteY1262" fmla="*/ 4465140 h 4596459"/>
              <a:gd name="connsiteX1263" fmla="*/ 1135930 w 4716235"/>
              <a:gd name="connsiteY1263" fmla="*/ 4475876 h 4596459"/>
              <a:gd name="connsiteX1264" fmla="*/ 1125938 w 4716235"/>
              <a:gd name="connsiteY1264" fmla="*/ 4465884 h 4596459"/>
              <a:gd name="connsiteX1265" fmla="*/ 1115447 w 4716235"/>
              <a:gd name="connsiteY1265" fmla="*/ 4476372 h 4596459"/>
              <a:gd name="connsiteX1266" fmla="*/ 1106199 w 4716235"/>
              <a:gd name="connsiteY1266" fmla="*/ 4467124 h 4596459"/>
              <a:gd name="connsiteX1267" fmla="*/ 1095790 w 4716235"/>
              <a:gd name="connsiteY1267" fmla="*/ 4477529 h 4596459"/>
              <a:gd name="connsiteX1268" fmla="*/ 1087451 w 4716235"/>
              <a:gd name="connsiteY1268" fmla="*/ 4469189 h 4596459"/>
              <a:gd name="connsiteX1269" fmla="*/ 1076961 w 4716235"/>
              <a:gd name="connsiteY1269" fmla="*/ 4479677 h 4596459"/>
              <a:gd name="connsiteX1270" fmla="*/ 1069363 w 4716235"/>
              <a:gd name="connsiteY1270" fmla="*/ 4472078 h 4596459"/>
              <a:gd name="connsiteX1271" fmla="*/ 1058625 w 4716235"/>
              <a:gd name="connsiteY1271" fmla="*/ 4482816 h 4596459"/>
              <a:gd name="connsiteX1272" fmla="*/ 1047889 w 4716235"/>
              <a:gd name="connsiteY1272" fmla="*/ 4472078 h 4596459"/>
              <a:gd name="connsiteX1273" fmla="*/ 1058625 w 4716235"/>
              <a:gd name="connsiteY1273" fmla="*/ 4461342 h 4596459"/>
              <a:gd name="connsiteX1274" fmla="*/ 1068038 w 4716235"/>
              <a:gd name="connsiteY1274" fmla="*/ 4470755 h 4596459"/>
              <a:gd name="connsiteX1275" fmla="*/ 1066224 w 4716235"/>
              <a:gd name="connsiteY1275" fmla="*/ 4468939 h 4596459"/>
              <a:gd name="connsiteX1276" fmla="*/ 1076961 w 4716235"/>
              <a:gd name="connsiteY1276" fmla="*/ 4458203 h 4596459"/>
              <a:gd name="connsiteX1277" fmla="*/ 1085302 w 4716235"/>
              <a:gd name="connsiteY1277" fmla="*/ 4466544 h 4596459"/>
              <a:gd name="connsiteX1278" fmla="*/ 1095790 w 4716235"/>
              <a:gd name="connsiteY1278" fmla="*/ 4456056 h 4596459"/>
              <a:gd name="connsiteX1279" fmla="*/ 1105041 w 4716235"/>
              <a:gd name="connsiteY1279" fmla="*/ 4465306 h 4596459"/>
              <a:gd name="connsiteX1280" fmla="*/ 1115447 w 4716235"/>
              <a:gd name="connsiteY1280" fmla="*/ 4454899 h 4596459"/>
              <a:gd name="connsiteX1281" fmla="*/ 1125442 w 4716235"/>
              <a:gd name="connsiteY1281" fmla="*/ 4464892 h 4596459"/>
              <a:gd name="connsiteX1282" fmla="*/ 1258329 w 4716235"/>
              <a:gd name="connsiteY1282" fmla="*/ 4454074 h 4596459"/>
              <a:gd name="connsiteX1283" fmla="*/ 1269067 w 4716235"/>
              <a:gd name="connsiteY1283" fmla="*/ 4464810 h 4596459"/>
              <a:gd name="connsiteX1284" fmla="*/ 1262378 w 4716235"/>
              <a:gd name="connsiteY1284" fmla="*/ 4471501 h 4596459"/>
              <a:gd name="connsiteX1285" fmla="*/ 1271380 w 4716235"/>
              <a:gd name="connsiteY1285" fmla="*/ 4480501 h 4596459"/>
              <a:gd name="connsiteX1286" fmla="*/ 1265266 w 4716235"/>
              <a:gd name="connsiteY1286" fmla="*/ 4486614 h 4596459"/>
              <a:gd name="connsiteX1287" fmla="*/ 1273196 w 4716235"/>
              <a:gd name="connsiteY1287" fmla="*/ 4494543 h 4596459"/>
              <a:gd name="connsiteX1288" fmla="*/ 1264440 w 4716235"/>
              <a:gd name="connsiteY1288" fmla="*/ 4503297 h 4596459"/>
              <a:gd name="connsiteX1289" fmla="*/ 1273527 w 4716235"/>
              <a:gd name="connsiteY1289" fmla="*/ 4512382 h 4596459"/>
              <a:gd name="connsiteX1290" fmla="*/ 1262789 w 4716235"/>
              <a:gd name="connsiteY1290" fmla="*/ 4523120 h 4596459"/>
              <a:gd name="connsiteX1291" fmla="*/ 1252053 w 4716235"/>
              <a:gd name="connsiteY1291" fmla="*/ 4512382 h 4596459"/>
              <a:gd name="connsiteX1292" fmla="*/ 1260807 w 4716235"/>
              <a:gd name="connsiteY1292" fmla="*/ 4503628 h 4596459"/>
              <a:gd name="connsiteX1293" fmla="*/ 1251722 w 4716235"/>
              <a:gd name="connsiteY1293" fmla="*/ 4494543 h 4596459"/>
              <a:gd name="connsiteX1294" fmla="*/ 1257835 w 4716235"/>
              <a:gd name="connsiteY1294" fmla="*/ 4488430 h 4596459"/>
              <a:gd name="connsiteX1295" fmla="*/ 1249906 w 4716235"/>
              <a:gd name="connsiteY1295" fmla="*/ 4480501 h 4596459"/>
              <a:gd name="connsiteX1296" fmla="*/ 1256595 w 4716235"/>
              <a:gd name="connsiteY1296" fmla="*/ 4473814 h 4596459"/>
              <a:gd name="connsiteX1297" fmla="*/ 1247592 w 4716235"/>
              <a:gd name="connsiteY1297" fmla="*/ 4464810 h 4596459"/>
              <a:gd name="connsiteX1298" fmla="*/ 1258329 w 4716235"/>
              <a:gd name="connsiteY1298" fmla="*/ 4454074 h 4596459"/>
              <a:gd name="connsiteX1299" fmla="*/ 2017667 w 4716235"/>
              <a:gd name="connsiteY1299" fmla="*/ 4452421 h 4596459"/>
              <a:gd name="connsiteX1300" fmla="*/ 2028405 w 4716235"/>
              <a:gd name="connsiteY1300" fmla="*/ 4463158 h 4596459"/>
              <a:gd name="connsiteX1301" fmla="*/ 2017667 w 4716235"/>
              <a:gd name="connsiteY1301" fmla="*/ 4473894 h 4596459"/>
              <a:gd name="connsiteX1302" fmla="*/ 2006931 w 4716235"/>
              <a:gd name="connsiteY1302" fmla="*/ 4463158 h 4596459"/>
              <a:gd name="connsiteX1303" fmla="*/ 2017667 w 4716235"/>
              <a:gd name="connsiteY1303" fmla="*/ 4452421 h 4596459"/>
              <a:gd name="connsiteX1304" fmla="*/ 1288061 w 4716235"/>
              <a:gd name="connsiteY1304" fmla="*/ 4452256 h 4596459"/>
              <a:gd name="connsiteX1305" fmla="*/ 1298800 w 4716235"/>
              <a:gd name="connsiteY1305" fmla="*/ 4462993 h 4596459"/>
              <a:gd name="connsiteX1306" fmla="*/ 1289797 w 4716235"/>
              <a:gd name="connsiteY1306" fmla="*/ 4471995 h 4596459"/>
              <a:gd name="connsiteX1307" fmla="*/ 1298305 w 4716235"/>
              <a:gd name="connsiteY1307" fmla="*/ 4480501 h 4596459"/>
              <a:gd name="connsiteX1308" fmla="*/ 1291448 w 4716235"/>
              <a:gd name="connsiteY1308" fmla="*/ 4487358 h 4596459"/>
              <a:gd name="connsiteX1309" fmla="*/ 1298139 w 4716235"/>
              <a:gd name="connsiteY1309" fmla="*/ 4494047 h 4596459"/>
              <a:gd name="connsiteX1310" fmla="*/ 1289960 w 4716235"/>
              <a:gd name="connsiteY1310" fmla="*/ 4502224 h 4596459"/>
              <a:gd name="connsiteX1311" fmla="*/ 1297312 w 4716235"/>
              <a:gd name="connsiteY1311" fmla="*/ 4509575 h 4596459"/>
              <a:gd name="connsiteX1312" fmla="*/ 1286575 w 4716235"/>
              <a:gd name="connsiteY1312" fmla="*/ 4520311 h 4596459"/>
              <a:gd name="connsiteX1313" fmla="*/ 1275839 w 4716235"/>
              <a:gd name="connsiteY1313" fmla="*/ 4509575 h 4596459"/>
              <a:gd name="connsiteX1314" fmla="*/ 1284016 w 4716235"/>
              <a:gd name="connsiteY1314" fmla="*/ 4501398 h 4596459"/>
              <a:gd name="connsiteX1315" fmla="*/ 1276664 w 4716235"/>
              <a:gd name="connsiteY1315" fmla="*/ 4494047 h 4596459"/>
              <a:gd name="connsiteX1316" fmla="*/ 1283521 w 4716235"/>
              <a:gd name="connsiteY1316" fmla="*/ 4487192 h 4596459"/>
              <a:gd name="connsiteX1317" fmla="*/ 1276831 w 4716235"/>
              <a:gd name="connsiteY1317" fmla="*/ 4480501 h 4596459"/>
              <a:gd name="connsiteX1318" fmla="*/ 1285833 w 4716235"/>
              <a:gd name="connsiteY1318" fmla="*/ 4471501 h 4596459"/>
              <a:gd name="connsiteX1319" fmla="*/ 1277325 w 4716235"/>
              <a:gd name="connsiteY1319" fmla="*/ 4462993 h 4596459"/>
              <a:gd name="connsiteX1320" fmla="*/ 1288061 w 4716235"/>
              <a:gd name="connsiteY1320" fmla="*/ 4452256 h 4596459"/>
              <a:gd name="connsiteX1321" fmla="*/ 898400 w 4716235"/>
              <a:gd name="connsiteY1321" fmla="*/ 4451100 h 4596459"/>
              <a:gd name="connsiteX1322" fmla="*/ 898894 w 4716235"/>
              <a:gd name="connsiteY1322" fmla="*/ 4451596 h 4596459"/>
              <a:gd name="connsiteX1323" fmla="*/ 898400 w 4716235"/>
              <a:gd name="connsiteY1323" fmla="*/ 4452090 h 4596459"/>
              <a:gd name="connsiteX1324" fmla="*/ 897904 w 4716235"/>
              <a:gd name="connsiteY1324" fmla="*/ 4451596 h 4596459"/>
              <a:gd name="connsiteX1325" fmla="*/ 898400 w 4716235"/>
              <a:gd name="connsiteY1325" fmla="*/ 4451100 h 4596459"/>
              <a:gd name="connsiteX1326" fmla="*/ 2160054 w 4716235"/>
              <a:gd name="connsiteY1326" fmla="*/ 4450439 h 4596459"/>
              <a:gd name="connsiteX1327" fmla="*/ 2170792 w 4716235"/>
              <a:gd name="connsiteY1327" fmla="*/ 4461175 h 4596459"/>
              <a:gd name="connsiteX1328" fmla="*/ 2160054 w 4716235"/>
              <a:gd name="connsiteY1328" fmla="*/ 4471912 h 4596459"/>
              <a:gd name="connsiteX1329" fmla="*/ 2149318 w 4716235"/>
              <a:gd name="connsiteY1329" fmla="*/ 4461175 h 4596459"/>
              <a:gd name="connsiteX1330" fmla="*/ 2160054 w 4716235"/>
              <a:gd name="connsiteY1330" fmla="*/ 4450439 h 4596459"/>
              <a:gd name="connsiteX1331" fmla="*/ 2708787 w 4716235"/>
              <a:gd name="connsiteY1331" fmla="*/ 4450109 h 4596459"/>
              <a:gd name="connsiteX1332" fmla="*/ 2710438 w 4716235"/>
              <a:gd name="connsiteY1332" fmla="*/ 4451762 h 4596459"/>
              <a:gd name="connsiteX1333" fmla="*/ 2708787 w 4716235"/>
              <a:gd name="connsiteY1333" fmla="*/ 4453413 h 4596459"/>
              <a:gd name="connsiteX1334" fmla="*/ 2707134 w 4716235"/>
              <a:gd name="connsiteY1334" fmla="*/ 4451762 h 4596459"/>
              <a:gd name="connsiteX1335" fmla="*/ 2708787 w 4716235"/>
              <a:gd name="connsiteY1335" fmla="*/ 4450109 h 4596459"/>
              <a:gd name="connsiteX1336" fmla="*/ 1319941 w 4716235"/>
              <a:gd name="connsiteY1336" fmla="*/ 4449284 h 4596459"/>
              <a:gd name="connsiteX1337" fmla="*/ 1330679 w 4716235"/>
              <a:gd name="connsiteY1337" fmla="*/ 4460020 h 4596459"/>
              <a:gd name="connsiteX1338" fmla="*/ 1319941 w 4716235"/>
              <a:gd name="connsiteY1338" fmla="*/ 4470757 h 4596459"/>
              <a:gd name="connsiteX1339" fmla="*/ 1309205 w 4716235"/>
              <a:gd name="connsiteY1339" fmla="*/ 4460020 h 4596459"/>
              <a:gd name="connsiteX1340" fmla="*/ 1319941 w 4716235"/>
              <a:gd name="connsiteY1340" fmla="*/ 4449284 h 4596459"/>
              <a:gd name="connsiteX1341" fmla="*/ 2633298 w 4716235"/>
              <a:gd name="connsiteY1341" fmla="*/ 4448457 h 4596459"/>
              <a:gd name="connsiteX1342" fmla="*/ 2644036 w 4716235"/>
              <a:gd name="connsiteY1342" fmla="*/ 4459193 h 4596459"/>
              <a:gd name="connsiteX1343" fmla="*/ 2633298 w 4716235"/>
              <a:gd name="connsiteY1343" fmla="*/ 4469931 h 4596459"/>
              <a:gd name="connsiteX1344" fmla="*/ 2622562 w 4716235"/>
              <a:gd name="connsiteY1344" fmla="*/ 4459193 h 4596459"/>
              <a:gd name="connsiteX1345" fmla="*/ 2633298 w 4716235"/>
              <a:gd name="connsiteY1345" fmla="*/ 4448457 h 4596459"/>
              <a:gd name="connsiteX1346" fmla="*/ 1494539 w 4716235"/>
              <a:gd name="connsiteY1346" fmla="*/ 4448457 h 4596459"/>
              <a:gd name="connsiteX1347" fmla="*/ 1505277 w 4716235"/>
              <a:gd name="connsiteY1347" fmla="*/ 4459193 h 4596459"/>
              <a:gd name="connsiteX1348" fmla="*/ 1494539 w 4716235"/>
              <a:gd name="connsiteY1348" fmla="*/ 4469931 h 4596459"/>
              <a:gd name="connsiteX1349" fmla="*/ 1483803 w 4716235"/>
              <a:gd name="connsiteY1349" fmla="*/ 4459193 h 4596459"/>
              <a:gd name="connsiteX1350" fmla="*/ 1494539 w 4716235"/>
              <a:gd name="connsiteY1350" fmla="*/ 4448457 h 4596459"/>
              <a:gd name="connsiteX1351" fmla="*/ 1755029 w 4716235"/>
              <a:gd name="connsiteY1351" fmla="*/ 4446475 h 4596459"/>
              <a:gd name="connsiteX1352" fmla="*/ 1765766 w 4716235"/>
              <a:gd name="connsiteY1352" fmla="*/ 4457211 h 4596459"/>
              <a:gd name="connsiteX1353" fmla="*/ 1755029 w 4716235"/>
              <a:gd name="connsiteY1353" fmla="*/ 4467949 h 4596459"/>
              <a:gd name="connsiteX1354" fmla="*/ 1744293 w 4716235"/>
              <a:gd name="connsiteY1354" fmla="*/ 4457211 h 4596459"/>
              <a:gd name="connsiteX1355" fmla="*/ 1755029 w 4716235"/>
              <a:gd name="connsiteY1355" fmla="*/ 4446475 h 4596459"/>
              <a:gd name="connsiteX1356" fmla="*/ 2399566 w 4716235"/>
              <a:gd name="connsiteY1356" fmla="*/ 4445979 h 4596459"/>
              <a:gd name="connsiteX1357" fmla="*/ 2410304 w 4716235"/>
              <a:gd name="connsiteY1357" fmla="*/ 4456715 h 4596459"/>
              <a:gd name="connsiteX1358" fmla="*/ 2399566 w 4716235"/>
              <a:gd name="connsiteY1358" fmla="*/ 4467453 h 4596459"/>
              <a:gd name="connsiteX1359" fmla="*/ 2388830 w 4716235"/>
              <a:gd name="connsiteY1359" fmla="*/ 4456715 h 4596459"/>
              <a:gd name="connsiteX1360" fmla="*/ 2399566 w 4716235"/>
              <a:gd name="connsiteY1360" fmla="*/ 4445979 h 4596459"/>
              <a:gd name="connsiteX1361" fmla="*/ 2375119 w 4716235"/>
              <a:gd name="connsiteY1361" fmla="*/ 4445979 h 4596459"/>
              <a:gd name="connsiteX1362" fmla="*/ 2385857 w 4716235"/>
              <a:gd name="connsiteY1362" fmla="*/ 4456715 h 4596459"/>
              <a:gd name="connsiteX1363" fmla="*/ 2375119 w 4716235"/>
              <a:gd name="connsiteY1363" fmla="*/ 4467453 h 4596459"/>
              <a:gd name="connsiteX1364" fmla="*/ 2364383 w 4716235"/>
              <a:gd name="connsiteY1364" fmla="*/ 4456715 h 4596459"/>
              <a:gd name="connsiteX1365" fmla="*/ 2375119 w 4716235"/>
              <a:gd name="connsiteY1365" fmla="*/ 4445979 h 4596459"/>
              <a:gd name="connsiteX1366" fmla="*/ 2422362 w 4716235"/>
              <a:gd name="connsiteY1366" fmla="*/ 4445649 h 4596459"/>
              <a:gd name="connsiteX1367" fmla="*/ 2433100 w 4716235"/>
              <a:gd name="connsiteY1367" fmla="*/ 4456386 h 4596459"/>
              <a:gd name="connsiteX1368" fmla="*/ 2422362 w 4716235"/>
              <a:gd name="connsiteY1368" fmla="*/ 4467122 h 4596459"/>
              <a:gd name="connsiteX1369" fmla="*/ 2411626 w 4716235"/>
              <a:gd name="connsiteY1369" fmla="*/ 4456386 h 4596459"/>
              <a:gd name="connsiteX1370" fmla="*/ 2422362 w 4716235"/>
              <a:gd name="connsiteY1370" fmla="*/ 4445649 h 4596459"/>
              <a:gd name="connsiteX1371" fmla="*/ 1863553 w 4716235"/>
              <a:gd name="connsiteY1371" fmla="*/ 4445649 h 4596459"/>
              <a:gd name="connsiteX1372" fmla="*/ 1874291 w 4716235"/>
              <a:gd name="connsiteY1372" fmla="*/ 4456386 h 4596459"/>
              <a:gd name="connsiteX1373" fmla="*/ 1863553 w 4716235"/>
              <a:gd name="connsiteY1373" fmla="*/ 4467122 h 4596459"/>
              <a:gd name="connsiteX1374" fmla="*/ 1852817 w 4716235"/>
              <a:gd name="connsiteY1374" fmla="*/ 4456386 h 4596459"/>
              <a:gd name="connsiteX1375" fmla="*/ 1863553 w 4716235"/>
              <a:gd name="connsiteY1375" fmla="*/ 4445649 h 4596459"/>
              <a:gd name="connsiteX1376" fmla="*/ 2443837 w 4716235"/>
              <a:gd name="connsiteY1376" fmla="*/ 4445484 h 4596459"/>
              <a:gd name="connsiteX1377" fmla="*/ 2453995 w 4716235"/>
              <a:gd name="connsiteY1377" fmla="*/ 4455642 h 4596459"/>
              <a:gd name="connsiteX1378" fmla="*/ 2464152 w 4716235"/>
              <a:gd name="connsiteY1378" fmla="*/ 4445484 h 4596459"/>
              <a:gd name="connsiteX1379" fmla="*/ 2474230 w 4716235"/>
              <a:gd name="connsiteY1379" fmla="*/ 4455560 h 4596459"/>
              <a:gd name="connsiteX1380" fmla="*/ 2483645 w 4716235"/>
              <a:gd name="connsiteY1380" fmla="*/ 4446145 h 4596459"/>
              <a:gd name="connsiteX1381" fmla="*/ 2493473 w 4716235"/>
              <a:gd name="connsiteY1381" fmla="*/ 4455975 h 4596459"/>
              <a:gd name="connsiteX1382" fmla="*/ 2502145 w 4716235"/>
              <a:gd name="connsiteY1382" fmla="*/ 4447302 h 4596459"/>
              <a:gd name="connsiteX1383" fmla="*/ 2512221 w 4716235"/>
              <a:gd name="connsiteY1383" fmla="*/ 4457377 h 4596459"/>
              <a:gd name="connsiteX1384" fmla="*/ 2519985 w 4716235"/>
              <a:gd name="connsiteY1384" fmla="*/ 4449614 h 4596459"/>
              <a:gd name="connsiteX1385" fmla="*/ 2530391 w 4716235"/>
              <a:gd name="connsiteY1385" fmla="*/ 4460019 h 4596459"/>
              <a:gd name="connsiteX1386" fmla="*/ 2537328 w 4716235"/>
              <a:gd name="connsiteY1386" fmla="*/ 4453082 h 4596459"/>
              <a:gd name="connsiteX1387" fmla="*/ 2548065 w 4716235"/>
              <a:gd name="connsiteY1387" fmla="*/ 4463818 h 4596459"/>
              <a:gd name="connsiteX1388" fmla="*/ 2537328 w 4716235"/>
              <a:gd name="connsiteY1388" fmla="*/ 4474556 h 4596459"/>
              <a:gd name="connsiteX1389" fmla="*/ 2526923 w 4716235"/>
              <a:gd name="connsiteY1389" fmla="*/ 4464149 h 4596459"/>
              <a:gd name="connsiteX1390" fmla="*/ 2519985 w 4716235"/>
              <a:gd name="connsiteY1390" fmla="*/ 4471088 h 4596459"/>
              <a:gd name="connsiteX1391" fmla="*/ 2509909 w 4716235"/>
              <a:gd name="connsiteY1391" fmla="*/ 4461012 h 4596459"/>
              <a:gd name="connsiteX1392" fmla="*/ 2502145 w 4716235"/>
              <a:gd name="connsiteY1392" fmla="*/ 4468775 h 4596459"/>
              <a:gd name="connsiteX1393" fmla="*/ 2492317 w 4716235"/>
              <a:gd name="connsiteY1393" fmla="*/ 4458947 h 4596459"/>
              <a:gd name="connsiteX1394" fmla="*/ 2483645 w 4716235"/>
              <a:gd name="connsiteY1394" fmla="*/ 4467618 h 4596459"/>
              <a:gd name="connsiteX1395" fmla="*/ 2473569 w 4716235"/>
              <a:gd name="connsiteY1395" fmla="*/ 4457542 h 4596459"/>
              <a:gd name="connsiteX1396" fmla="*/ 2464152 w 4716235"/>
              <a:gd name="connsiteY1396" fmla="*/ 4466959 h 4596459"/>
              <a:gd name="connsiteX1397" fmla="*/ 2453995 w 4716235"/>
              <a:gd name="connsiteY1397" fmla="*/ 4456800 h 4596459"/>
              <a:gd name="connsiteX1398" fmla="*/ 2443837 w 4716235"/>
              <a:gd name="connsiteY1398" fmla="*/ 4466959 h 4596459"/>
              <a:gd name="connsiteX1399" fmla="*/ 2433100 w 4716235"/>
              <a:gd name="connsiteY1399" fmla="*/ 4456221 h 4596459"/>
              <a:gd name="connsiteX1400" fmla="*/ 2443837 w 4716235"/>
              <a:gd name="connsiteY1400" fmla="*/ 4445484 h 4596459"/>
              <a:gd name="connsiteX1401" fmla="*/ 2349186 w 4716235"/>
              <a:gd name="connsiteY1401" fmla="*/ 4445484 h 4596459"/>
              <a:gd name="connsiteX1402" fmla="*/ 2359923 w 4716235"/>
              <a:gd name="connsiteY1402" fmla="*/ 4456221 h 4596459"/>
              <a:gd name="connsiteX1403" fmla="*/ 2349186 w 4716235"/>
              <a:gd name="connsiteY1403" fmla="*/ 4466959 h 4596459"/>
              <a:gd name="connsiteX1404" fmla="*/ 2338450 w 4716235"/>
              <a:gd name="connsiteY1404" fmla="*/ 4456221 h 4596459"/>
              <a:gd name="connsiteX1405" fmla="*/ 2349186 w 4716235"/>
              <a:gd name="connsiteY1405" fmla="*/ 4445484 h 4596459"/>
              <a:gd name="connsiteX1406" fmla="*/ 1354465 w 4716235"/>
              <a:gd name="connsiteY1406" fmla="*/ 4444492 h 4596459"/>
              <a:gd name="connsiteX1407" fmla="*/ 1365202 w 4716235"/>
              <a:gd name="connsiteY1407" fmla="*/ 4455229 h 4596459"/>
              <a:gd name="connsiteX1408" fmla="*/ 1354465 w 4716235"/>
              <a:gd name="connsiteY1408" fmla="*/ 4465965 h 4596459"/>
              <a:gd name="connsiteX1409" fmla="*/ 1343729 w 4716235"/>
              <a:gd name="connsiteY1409" fmla="*/ 4455229 h 4596459"/>
              <a:gd name="connsiteX1410" fmla="*/ 1354465 w 4716235"/>
              <a:gd name="connsiteY1410" fmla="*/ 4444492 h 4596459"/>
              <a:gd name="connsiteX1411" fmla="*/ 2321106 w 4716235"/>
              <a:gd name="connsiteY1411" fmla="*/ 4443998 h 4596459"/>
              <a:gd name="connsiteX1412" fmla="*/ 2331845 w 4716235"/>
              <a:gd name="connsiteY1412" fmla="*/ 4454735 h 4596459"/>
              <a:gd name="connsiteX1413" fmla="*/ 2321106 w 4716235"/>
              <a:gd name="connsiteY1413" fmla="*/ 4465471 h 4596459"/>
              <a:gd name="connsiteX1414" fmla="*/ 2310370 w 4716235"/>
              <a:gd name="connsiteY1414" fmla="*/ 4454735 h 4596459"/>
              <a:gd name="connsiteX1415" fmla="*/ 2321106 w 4716235"/>
              <a:gd name="connsiteY1415" fmla="*/ 4443998 h 4596459"/>
              <a:gd name="connsiteX1416" fmla="*/ 1646671 w 4716235"/>
              <a:gd name="connsiteY1416" fmla="*/ 4443832 h 4596459"/>
              <a:gd name="connsiteX1417" fmla="*/ 1657409 w 4716235"/>
              <a:gd name="connsiteY1417" fmla="*/ 4454568 h 4596459"/>
              <a:gd name="connsiteX1418" fmla="*/ 1646671 w 4716235"/>
              <a:gd name="connsiteY1418" fmla="*/ 4465306 h 4596459"/>
              <a:gd name="connsiteX1419" fmla="*/ 1635934 w 4716235"/>
              <a:gd name="connsiteY1419" fmla="*/ 4454568 h 4596459"/>
              <a:gd name="connsiteX1420" fmla="*/ 1646671 w 4716235"/>
              <a:gd name="connsiteY1420" fmla="*/ 4443832 h 4596459"/>
              <a:gd name="connsiteX1421" fmla="*/ 2121236 w 4716235"/>
              <a:gd name="connsiteY1421" fmla="*/ 4443006 h 4596459"/>
              <a:gd name="connsiteX1422" fmla="*/ 2131974 w 4716235"/>
              <a:gd name="connsiteY1422" fmla="*/ 4453743 h 4596459"/>
              <a:gd name="connsiteX1423" fmla="*/ 2121236 w 4716235"/>
              <a:gd name="connsiteY1423" fmla="*/ 4464479 h 4596459"/>
              <a:gd name="connsiteX1424" fmla="*/ 2110500 w 4716235"/>
              <a:gd name="connsiteY1424" fmla="*/ 4453743 h 4596459"/>
              <a:gd name="connsiteX1425" fmla="*/ 2121236 w 4716235"/>
              <a:gd name="connsiteY1425" fmla="*/ 4443006 h 4596459"/>
              <a:gd name="connsiteX1426" fmla="*/ 2291043 w 4716235"/>
              <a:gd name="connsiteY1426" fmla="*/ 4441189 h 4596459"/>
              <a:gd name="connsiteX1427" fmla="*/ 2301780 w 4716235"/>
              <a:gd name="connsiteY1427" fmla="*/ 4451925 h 4596459"/>
              <a:gd name="connsiteX1428" fmla="*/ 2291044 w 4716235"/>
              <a:gd name="connsiteY1428" fmla="*/ 4462663 h 4596459"/>
              <a:gd name="connsiteX1429" fmla="*/ 2300955 w 4716235"/>
              <a:gd name="connsiteY1429" fmla="*/ 4472572 h 4596459"/>
              <a:gd name="connsiteX1430" fmla="*/ 2293108 w 4716235"/>
              <a:gd name="connsiteY1430" fmla="*/ 4480420 h 4596459"/>
              <a:gd name="connsiteX1431" fmla="*/ 2299634 w 4716235"/>
              <a:gd name="connsiteY1431" fmla="*/ 4486944 h 4596459"/>
              <a:gd name="connsiteX1432" fmla="*/ 2292035 w 4716235"/>
              <a:gd name="connsiteY1432" fmla="*/ 4494543 h 4596459"/>
              <a:gd name="connsiteX1433" fmla="*/ 2298973 w 4716235"/>
              <a:gd name="connsiteY1433" fmla="*/ 4501480 h 4596459"/>
              <a:gd name="connsiteX1434" fmla="*/ 2289473 w 4716235"/>
              <a:gd name="connsiteY1434" fmla="*/ 4510979 h 4596459"/>
              <a:gd name="connsiteX1435" fmla="*/ 2299797 w 4716235"/>
              <a:gd name="connsiteY1435" fmla="*/ 4521301 h 4596459"/>
              <a:gd name="connsiteX1436" fmla="*/ 2289060 w 4716235"/>
              <a:gd name="connsiteY1436" fmla="*/ 4532038 h 4596459"/>
              <a:gd name="connsiteX1437" fmla="*/ 2278324 w 4716235"/>
              <a:gd name="connsiteY1437" fmla="*/ 4521301 h 4596459"/>
              <a:gd name="connsiteX1438" fmla="*/ 2287822 w 4716235"/>
              <a:gd name="connsiteY1438" fmla="*/ 4511805 h 4596459"/>
              <a:gd name="connsiteX1439" fmla="*/ 2277498 w 4716235"/>
              <a:gd name="connsiteY1439" fmla="*/ 4501480 h 4596459"/>
              <a:gd name="connsiteX1440" fmla="*/ 2285096 w 4716235"/>
              <a:gd name="connsiteY1440" fmla="*/ 4493882 h 4596459"/>
              <a:gd name="connsiteX1441" fmla="*/ 2278159 w 4716235"/>
              <a:gd name="connsiteY1441" fmla="*/ 4486944 h 4596459"/>
              <a:gd name="connsiteX1442" fmla="*/ 2286005 w 4716235"/>
              <a:gd name="connsiteY1442" fmla="*/ 4479098 h 4596459"/>
              <a:gd name="connsiteX1443" fmla="*/ 2279481 w 4716235"/>
              <a:gd name="connsiteY1443" fmla="*/ 4472572 h 4596459"/>
              <a:gd name="connsiteX1444" fmla="*/ 2290217 w 4716235"/>
              <a:gd name="connsiteY1444" fmla="*/ 4461838 h 4596459"/>
              <a:gd name="connsiteX1445" fmla="*/ 2280306 w 4716235"/>
              <a:gd name="connsiteY1445" fmla="*/ 4451925 h 4596459"/>
              <a:gd name="connsiteX1446" fmla="*/ 2291043 w 4716235"/>
              <a:gd name="connsiteY1446" fmla="*/ 4441189 h 4596459"/>
              <a:gd name="connsiteX1447" fmla="*/ 1971747 w 4716235"/>
              <a:gd name="connsiteY1447" fmla="*/ 4441024 h 4596459"/>
              <a:gd name="connsiteX1448" fmla="*/ 1982485 w 4716235"/>
              <a:gd name="connsiteY1448" fmla="*/ 4451760 h 4596459"/>
              <a:gd name="connsiteX1449" fmla="*/ 1971747 w 4716235"/>
              <a:gd name="connsiteY1449" fmla="*/ 4462497 h 4596459"/>
              <a:gd name="connsiteX1450" fmla="*/ 1961011 w 4716235"/>
              <a:gd name="connsiteY1450" fmla="*/ 4451760 h 4596459"/>
              <a:gd name="connsiteX1451" fmla="*/ 1971747 w 4716235"/>
              <a:gd name="connsiteY1451" fmla="*/ 4441024 h 4596459"/>
              <a:gd name="connsiteX1452" fmla="*/ 1146337 w 4716235"/>
              <a:gd name="connsiteY1452" fmla="*/ 4437885 h 4596459"/>
              <a:gd name="connsiteX1453" fmla="*/ 1157075 w 4716235"/>
              <a:gd name="connsiteY1453" fmla="*/ 4448622 h 4596459"/>
              <a:gd name="connsiteX1454" fmla="*/ 1146337 w 4716235"/>
              <a:gd name="connsiteY1454" fmla="*/ 4459358 h 4596459"/>
              <a:gd name="connsiteX1455" fmla="*/ 1135600 w 4716235"/>
              <a:gd name="connsiteY1455" fmla="*/ 4448622 h 4596459"/>
              <a:gd name="connsiteX1456" fmla="*/ 1146337 w 4716235"/>
              <a:gd name="connsiteY1456" fmla="*/ 4437885 h 4596459"/>
              <a:gd name="connsiteX1457" fmla="*/ 1538641 w 4716235"/>
              <a:gd name="connsiteY1457" fmla="*/ 4437720 h 4596459"/>
              <a:gd name="connsiteX1458" fmla="*/ 1549379 w 4716235"/>
              <a:gd name="connsiteY1458" fmla="*/ 4448457 h 4596459"/>
              <a:gd name="connsiteX1459" fmla="*/ 1538641 w 4716235"/>
              <a:gd name="connsiteY1459" fmla="*/ 4459195 h 4596459"/>
              <a:gd name="connsiteX1460" fmla="*/ 1527905 w 4716235"/>
              <a:gd name="connsiteY1460" fmla="*/ 4448457 h 4596459"/>
              <a:gd name="connsiteX1461" fmla="*/ 1538641 w 4716235"/>
              <a:gd name="connsiteY1461" fmla="*/ 4437720 h 4596459"/>
              <a:gd name="connsiteX1462" fmla="*/ 1123376 w 4716235"/>
              <a:gd name="connsiteY1462" fmla="*/ 4437720 h 4596459"/>
              <a:gd name="connsiteX1463" fmla="*/ 1134114 w 4716235"/>
              <a:gd name="connsiteY1463" fmla="*/ 4448457 h 4596459"/>
              <a:gd name="connsiteX1464" fmla="*/ 1123376 w 4716235"/>
              <a:gd name="connsiteY1464" fmla="*/ 4459195 h 4596459"/>
              <a:gd name="connsiteX1465" fmla="*/ 1112640 w 4716235"/>
              <a:gd name="connsiteY1465" fmla="*/ 4448457 h 4596459"/>
              <a:gd name="connsiteX1466" fmla="*/ 1123376 w 4716235"/>
              <a:gd name="connsiteY1466" fmla="*/ 4437720 h 4596459"/>
              <a:gd name="connsiteX1467" fmla="*/ 1391631 w 4716235"/>
              <a:gd name="connsiteY1467" fmla="*/ 4437391 h 4596459"/>
              <a:gd name="connsiteX1468" fmla="*/ 1402367 w 4716235"/>
              <a:gd name="connsiteY1468" fmla="*/ 4448127 h 4596459"/>
              <a:gd name="connsiteX1469" fmla="*/ 1391631 w 4716235"/>
              <a:gd name="connsiteY1469" fmla="*/ 4458864 h 4596459"/>
              <a:gd name="connsiteX1470" fmla="*/ 1380894 w 4716235"/>
              <a:gd name="connsiteY1470" fmla="*/ 4448127 h 4596459"/>
              <a:gd name="connsiteX1471" fmla="*/ 1391631 w 4716235"/>
              <a:gd name="connsiteY1471" fmla="*/ 4437391 h 4596459"/>
              <a:gd name="connsiteX1472" fmla="*/ 1170948 w 4716235"/>
              <a:gd name="connsiteY1472" fmla="*/ 4437391 h 4596459"/>
              <a:gd name="connsiteX1473" fmla="*/ 1181685 w 4716235"/>
              <a:gd name="connsiteY1473" fmla="*/ 4448127 h 4596459"/>
              <a:gd name="connsiteX1474" fmla="*/ 1170948 w 4716235"/>
              <a:gd name="connsiteY1474" fmla="*/ 4458864 h 4596459"/>
              <a:gd name="connsiteX1475" fmla="*/ 1160212 w 4716235"/>
              <a:gd name="connsiteY1475" fmla="*/ 4448127 h 4596459"/>
              <a:gd name="connsiteX1476" fmla="*/ 1170948 w 4716235"/>
              <a:gd name="connsiteY1476" fmla="*/ 4437391 h 4596459"/>
              <a:gd name="connsiteX1477" fmla="*/ 2258667 w 4716235"/>
              <a:gd name="connsiteY1477" fmla="*/ 4436729 h 4596459"/>
              <a:gd name="connsiteX1478" fmla="*/ 2269405 w 4716235"/>
              <a:gd name="connsiteY1478" fmla="*/ 4447465 h 4596459"/>
              <a:gd name="connsiteX1479" fmla="*/ 2258667 w 4716235"/>
              <a:gd name="connsiteY1479" fmla="*/ 4458201 h 4596459"/>
              <a:gd name="connsiteX1480" fmla="*/ 2247931 w 4716235"/>
              <a:gd name="connsiteY1480" fmla="*/ 4447465 h 4596459"/>
              <a:gd name="connsiteX1481" fmla="*/ 2258667 w 4716235"/>
              <a:gd name="connsiteY1481" fmla="*/ 4436729 h 4596459"/>
              <a:gd name="connsiteX1482" fmla="*/ 1197377 w 4716235"/>
              <a:gd name="connsiteY1482" fmla="*/ 4436068 h 4596459"/>
              <a:gd name="connsiteX1483" fmla="*/ 1208115 w 4716235"/>
              <a:gd name="connsiteY1483" fmla="*/ 4446804 h 4596459"/>
              <a:gd name="connsiteX1484" fmla="*/ 1197377 w 4716235"/>
              <a:gd name="connsiteY1484" fmla="*/ 4457542 h 4596459"/>
              <a:gd name="connsiteX1485" fmla="*/ 1186641 w 4716235"/>
              <a:gd name="connsiteY1485" fmla="*/ 4446804 h 4596459"/>
              <a:gd name="connsiteX1486" fmla="*/ 1197377 w 4716235"/>
              <a:gd name="connsiteY1486" fmla="*/ 4436068 h 4596459"/>
              <a:gd name="connsiteX1487" fmla="*/ 1225953 w 4716235"/>
              <a:gd name="connsiteY1487" fmla="*/ 4433591 h 4596459"/>
              <a:gd name="connsiteX1488" fmla="*/ 1236690 w 4716235"/>
              <a:gd name="connsiteY1488" fmla="*/ 4444328 h 4596459"/>
              <a:gd name="connsiteX1489" fmla="*/ 1225953 w 4716235"/>
              <a:gd name="connsiteY1489" fmla="*/ 4455066 h 4596459"/>
              <a:gd name="connsiteX1490" fmla="*/ 1215217 w 4716235"/>
              <a:gd name="connsiteY1490" fmla="*/ 4444328 h 4596459"/>
              <a:gd name="connsiteX1491" fmla="*/ 1225953 w 4716235"/>
              <a:gd name="connsiteY1491" fmla="*/ 4433591 h 4596459"/>
              <a:gd name="connsiteX1492" fmla="*/ 2079281 w 4716235"/>
              <a:gd name="connsiteY1492" fmla="*/ 4432766 h 4596459"/>
              <a:gd name="connsiteX1493" fmla="*/ 2090019 w 4716235"/>
              <a:gd name="connsiteY1493" fmla="*/ 4443502 h 4596459"/>
              <a:gd name="connsiteX1494" fmla="*/ 2079281 w 4716235"/>
              <a:gd name="connsiteY1494" fmla="*/ 4454239 h 4596459"/>
              <a:gd name="connsiteX1495" fmla="*/ 2068544 w 4716235"/>
              <a:gd name="connsiteY1495" fmla="*/ 4443502 h 4596459"/>
              <a:gd name="connsiteX1496" fmla="*/ 2079281 w 4716235"/>
              <a:gd name="connsiteY1496" fmla="*/ 4432766 h 4596459"/>
              <a:gd name="connsiteX1497" fmla="*/ 2223484 w 4716235"/>
              <a:gd name="connsiteY1497" fmla="*/ 4430288 h 4596459"/>
              <a:gd name="connsiteX1498" fmla="*/ 2234220 w 4716235"/>
              <a:gd name="connsiteY1498" fmla="*/ 4441024 h 4596459"/>
              <a:gd name="connsiteX1499" fmla="*/ 2223484 w 4716235"/>
              <a:gd name="connsiteY1499" fmla="*/ 4451760 h 4596459"/>
              <a:gd name="connsiteX1500" fmla="*/ 2212747 w 4716235"/>
              <a:gd name="connsiteY1500" fmla="*/ 4441024 h 4596459"/>
              <a:gd name="connsiteX1501" fmla="*/ 2223484 w 4716235"/>
              <a:gd name="connsiteY1501" fmla="*/ 4430288 h 4596459"/>
              <a:gd name="connsiteX1502" fmla="*/ 1053423 w 4716235"/>
              <a:gd name="connsiteY1502" fmla="*/ 4430204 h 4596459"/>
              <a:gd name="connsiteX1503" fmla="*/ 1044667 w 4716235"/>
              <a:gd name="connsiteY1503" fmla="*/ 4438960 h 4596459"/>
              <a:gd name="connsiteX1504" fmla="*/ 1052595 w 4716235"/>
              <a:gd name="connsiteY1504" fmla="*/ 4446889 h 4596459"/>
              <a:gd name="connsiteX1505" fmla="*/ 1061351 w 4716235"/>
              <a:gd name="connsiteY1505" fmla="*/ 4438133 h 4596459"/>
              <a:gd name="connsiteX1506" fmla="*/ 1256678 w 4716235"/>
              <a:gd name="connsiteY1506" fmla="*/ 4429461 h 4596459"/>
              <a:gd name="connsiteX1507" fmla="*/ 1267414 w 4716235"/>
              <a:gd name="connsiteY1507" fmla="*/ 4440197 h 4596459"/>
              <a:gd name="connsiteX1508" fmla="*/ 1256678 w 4716235"/>
              <a:gd name="connsiteY1508" fmla="*/ 4450935 h 4596459"/>
              <a:gd name="connsiteX1509" fmla="*/ 1245942 w 4716235"/>
              <a:gd name="connsiteY1509" fmla="*/ 4440197 h 4596459"/>
              <a:gd name="connsiteX1510" fmla="*/ 1256678 w 4716235"/>
              <a:gd name="connsiteY1510" fmla="*/ 4429461 h 4596459"/>
              <a:gd name="connsiteX1511" fmla="*/ 1810366 w 4716235"/>
              <a:gd name="connsiteY1511" fmla="*/ 4429131 h 4596459"/>
              <a:gd name="connsiteX1512" fmla="*/ 1821104 w 4716235"/>
              <a:gd name="connsiteY1512" fmla="*/ 4439867 h 4596459"/>
              <a:gd name="connsiteX1513" fmla="*/ 1810366 w 4716235"/>
              <a:gd name="connsiteY1513" fmla="*/ 4450604 h 4596459"/>
              <a:gd name="connsiteX1514" fmla="*/ 1799629 w 4716235"/>
              <a:gd name="connsiteY1514" fmla="*/ 4439867 h 4596459"/>
              <a:gd name="connsiteX1515" fmla="*/ 1810366 w 4716235"/>
              <a:gd name="connsiteY1515" fmla="*/ 4429131 h 4596459"/>
              <a:gd name="connsiteX1516" fmla="*/ 1698042 w 4716235"/>
              <a:gd name="connsiteY1516" fmla="*/ 4428306 h 4596459"/>
              <a:gd name="connsiteX1517" fmla="*/ 1708780 w 4716235"/>
              <a:gd name="connsiteY1517" fmla="*/ 4439042 h 4596459"/>
              <a:gd name="connsiteX1518" fmla="*/ 1698042 w 4716235"/>
              <a:gd name="connsiteY1518" fmla="*/ 4449780 h 4596459"/>
              <a:gd name="connsiteX1519" fmla="*/ 1687306 w 4716235"/>
              <a:gd name="connsiteY1519" fmla="*/ 4439042 h 4596459"/>
              <a:gd name="connsiteX1520" fmla="*/ 1698042 w 4716235"/>
              <a:gd name="connsiteY1520" fmla="*/ 4428306 h 4596459"/>
              <a:gd name="connsiteX1521" fmla="*/ 2458702 w 4716235"/>
              <a:gd name="connsiteY1521" fmla="*/ 4427974 h 4596459"/>
              <a:gd name="connsiteX1522" fmla="*/ 2469440 w 4716235"/>
              <a:gd name="connsiteY1522" fmla="*/ 4438711 h 4596459"/>
              <a:gd name="connsiteX1523" fmla="*/ 2458702 w 4716235"/>
              <a:gd name="connsiteY1523" fmla="*/ 4449447 h 4596459"/>
              <a:gd name="connsiteX1524" fmla="*/ 2447966 w 4716235"/>
              <a:gd name="connsiteY1524" fmla="*/ 4438711 h 4596459"/>
              <a:gd name="connsiteX1525" fmla="*/ 2458702 w 4716235"/>
              <a:gd name="connsiteY1525" fmla="*/ 4427974 h 4596459"/>
              <a:gd name="connsiteX1526" fmla="*/ 1431770 w 4716235"/>
              <a:gd name="connsiteY1526" fmla="*/ 4427810 h 4596459"/>
              <a:gd name="connsiteX1527" fmla="*/ 1442508 w 4716235"/>
              <a:gd name="connsiteY1527" fmla="*/ 4438546 h 4596459"/>
              <a:gd name="connsiteX1528" fmla="*/ 1431770 w 4716235"/>
              <a:gd name="connsiteY1528" fmla="*/ 4449284 h 4596459"/>
              <a:gd name="connsiteX1529" fmla="*/ 1421034 w 4716235"/>
              <a:gd name="connsiteY1529" fmla="*/ 4438546 h 4596459"/>
              <a:gd name="connsiteX1530" fmla="*/ 1431770 w 4716235"/>
              <a:gd name="connsiteY1530" fmla="*/ 4427810 h 4596459"/>
              <a:gd name="connsiteX1531" fmla="*/ 2435741 w 4716235"/>
              <a:gd name="connsiteY1531" fmla="*/ 4427480 h 4596459"/>
              <a:gd name="connsiteX1532" fmla="*/ 2446479 w 4716235"/>
              <a:gd name="connsiteY1532" fmla="*/ 4438216 h 4596459"/>
              <a:gd name="connsiteX1533" fmla="*/ 2435741 w 4716235"/>
              <a:gd name="connsiteY1533" fmla="*/ 4448953 h 4596459"/>
              <a:gd name="connsiteX1534" fmla="*/ 2425005 w 4716235"/>
              <a:gd name="connsiteY1534" fmla="*/ 4438216 h 4596459"/>
              <a:gd name="connsiteX1535" fmla="*/ 2435741 w 4716235"/>
              <a:gd name="connsiteY1535" fmla="*/ 4427480 h 4596459"/>
              <a:gd name="connsiteX1536" fmla="*/ 2410965 w 4716235"/>
              <a:gd name="connsiteY1536" fmla="*/ 4426323 h 4596459"/>
              <a:gd name="connsiteX1537" fmla="*/ 2421703 w 4716235"/>
              <a:gd name="connsiteY1537" fmla="*/ 4437060 h 4596459"/>
              <a:gd name="connsiteX1538" fmla="*/ 2410965 w 4716235"/>
              <a:gd name="connsiteY1538" fmla="*/ 4447798 h 4596459"/>
              <a:gd name="connsiteX1539" fmla="*/ 2400229 w 4716235"/>
              <a:gd name="connsiteY1539" fmla="*/ 4437060 h 4596459"/>
              <a:gd name="connsiteX1540" fmla="*/ 2410965 w 4716235"/>
              <a:gd name="connsiteY1540" fmla="*/ 4426323 h 4596459"/>
              <a:gd name="connsiteX1541" fmla="*/ 1922358 w 4716235"/>
              <a:gd name="connsiteY1541" fmla="*/ 4426323 h 4596459"/>
              <a:gd name="connsiteX1542" fmla="*/ 1933096 w 4716235"/>
              <a:gd name="connsiteY1542" fmla="*/ 4437060 h 4596459"/>
              <a:gd name="connsiteX1543" fmla="*/ 1922358 w 4716235"/>
              <a:gd name="connsiteY1543" fmla="*/ 4447798 h 4596459"/>
              <a:gd name="connsiteX1544" fmla="*/ 1911621 w 4716235"/>
              <a:gd name="connsiteY1544" fmla="*/ 4437060 h 4596459"/>
              <a:gd name="connsiteX1545" fmla="*/ 1922358 w 4716235"/>
              <a:gd name="connsiteY1545" fmla="*/ 4426323 h 4596459"/>
              <a:gd name="connsiteX1546" fmla="*/ 2384370 w 4716235"/>
              <a:gd name="connsiteY1546" fmla="*/ 4424010 h 4596459"/>
              <a:gd name="connsiteX1547" fmla="*/ 2395107 w 4716235"/>
              <a:gd name="connsiteY1547" fmla="*/ 4434746 h 4596459"/>
              <a:gd name="connsiteX1548" fmla="*/ 2384370 w 4716235"/>
              <a:gd name="connsiteY1548" fmla="*/ 4445483 h 4596459"/>
              <a:gd name="connsiteX1549" fmla="*/ 2373633 w 4716235"/>
              <a:gd name="connsiteY1549" fmla="*/ 4434746 h 4596459"/>
              <a:gd name="connsiteX1550" fmla="*/ 2384370 w 4716235"/>
              <a:gd name="connsiteY1550" fmla="*/ 4424010 h 4596459"/>
              <a:gd name="connsiteX1551" fmla="*/ 1586215 w 4716235"/>
              <a:gd name="connsiteY1551" fmla="*/ 4423680 h 4596459"/>
              <a:gd name="connsiteX1552" fmla="*/ 1596953 w 4716235"/>
              <a:gd name="connsiteY1552" fmla="*/ 4434417 h 4596459"/>
              <a:gd name="connsiteX1553" fmla="*/ 1586215 w 4716235"/>
              <a:gd name="connsiteY1553" fmla="*/ 4445155 h 4596459"/>
              <a:gd name="connsiteX1554" fmla="*/ 1575479 w 4716235"/>
              <a:gd name="connsiteY1554" fmla="*/ 4434417 h 4596459"/>
              <a:gd name="connsiteX1555" fmla="*/ 1586215 w 4716235"/>
              <a:gd name="connsiteY1555" fmla="*/ 4423680 h 4596459"/>
              <a:gd name="connsiteX1556" fmla="*/ 1290044 w 4716235"/>
              <a:gd name="connsiteY1556" fmla="*/ 4423349 h 4596459"/>
              <a:gd name="connsiteX1557" fmla="*/ 1300782 w 4716235"/>
              <a:gd name="connsiteY1557" fmla="*/ 4434086 h 4596459"/>
              <a:gd name="connsiteX1558" fmla="*/ 1290044 w 4716235"/>
              <a:gd name="connsiteY1558" fmla="*/ 4444822 h 4596459"/>
              <a:gd name="connsiteX1559" fmla="*/ 1279307 w 4716235"/>
              <a:gd name="connsiteY1559" fmla="*/ 4434086 h 4596459"/>
              <a:gd name="connsiteX1560" fmla="*/ 1290044 w 4716235"/>
              <a:gd name="connsiteY1560" fmla="*/ 4423349 h 4596459"/>
              <a:gd name="connsiteX1561" fmla="*/ 2185493 w 4716235"/>
              <a:gd name="connsiteY1561" fmla="*/ 4421202 h 4596459"/>
              <a:gd name="connsiteX1562" fmla="*/ 2196231 w 4716235"/>
              <a:gd name="connsiteY1562" fmla="*/ 4431939 h 4596459"/>
              <a:gd name="connsiteX1563" fmla="*/ 2185493 w 4716235"/>
              <a:gd name="connsiteY1563" fmla="*/ 4442677 h 4596459"/>
              <a:gd name="connsiteX1564" fmla="*/ 2174756 w 4716235"/>
              <a:gd name="connsiteY1564" fmla="*/ 4431939 h 4596459"/>
              <a:gd name="connsiteX1565" fmla="*/ 2185493 w 4716235"/>
              <a:gd name="connsiteY1565" fmla="*/ 4421202 h 4596459"/>
              <a:gd name="connsiteX1566" fmla="*/ 2355464 w 4716235"/>
              <a:gd name="connsiteY1566" fmla="*/ 4420210 h 4596459"/>
              <a:gd name="connsiteX1567" fmla="*/ 2366202 w 4716235"/>
              <a:gd name="connsiteY1567" fmla="*/ 4430947 h 4596459"/>
              <a:gd name="connsiteX1568" fmla="*/ 2355464 w 4716235"/>
              <a:gd name="connsiteY1568" fmla="*/ 4441683 h 4596459"/>
              <a:gd name="connsiteX1569" fmla="*/ 2344728 w 4716235"/>
              <a:gd name="connsiteY1569" fmla="*/ 4430947 h 4596459"/>
              <a:gd name="connsiteX1570" fmla="*/ 2355464 w 4716235"/>
              <a:gd name="connsiteY1570" fmla="*/ 4420210 h 4596459"/>
              <a:gd name="connsiteX1571" fmla="*/ 2034020 w 4716235"/>
              <a:gd name="connsiteY1571" fmla="*/ 4419550 h 4596459"/>
              <a:gd name="connsiteX1572" fmla="*/ 2044757 w 4716235"/>
              <a:gd name="connsiteY1572" fmla="*/ 4430286 h 4596459"/>
              <a:gd name="connsiteX1573" fmla="*/ 2034020 w 4716235"/>
              <a:gd name="connsiteY1573" fmla="*/ 4441024 h 4596459"/>
              <a:gd name="connsiteX1574" fmla="*/ 2023284 w 4716235"/>
              <a:gd name="connsiteY1574" fmla="*/ 4430286 h 4596459"/>
              <a:gd name="connsiteX1575" fmla="*/ 2034020 w 4716235"/>
              <a:gd name="connsiteY1575" fmla="*/ 4419550 h 4596459"/>
              <a:gd name="connsiteX1576" fmla="*/ 850828 w 4716235"/>
              <a:gd name="connsiteY1576" fmla="*/ 4419055 h 4596459"/>
              <a:gd name="connsiteX1577" fmla="*/ 859252 w 4716235"/>
              <a:gd name="connsiteY1577" fmla="*/ 4427480 h 4596459"/>
              <a:gd name="connsiteX1578" fmla="*/ 850828 w 4716235"/>
              <a:gd name="connsiteY1578" fmla="*/ 4435905 h 4596459"/>
              <a:gd name="connsiteX1579" fmla="*/ 842403 w 4716235"/>
              <a:gd name="connsiteY1579" fmla="*/ 4427480 h 4596459"/>
              <a:gd name="connsiteX1580" fmla="*/ 850828 w 4716235"/>
              <a:gd name="connsiteY1580" fmla="*/ 4419055 h 4596459"/>
              <a:gd name="connsiteX1581" fmla="*/ 1085219 w 4716235"/>
              <a:gd name="connsiteY1581" fmla="*/ 4418559 h 4596459"/>
              <a:gd name="connsiteX1582" fmla="*/ 1095957 w 4716235"/>
              <a:gd name="connsiteY1582" fmla="*/ 4429296 h 4596459"/>
              <a:gd name="connsiteX1583" fmla="*/ 1085219 w 4716235"/>
              <a:gd name="connsiteY1583" fmla="*/ 4440034 h 4596459"/>
              <a:gd name="connsiteX1584" fmla="*/ 1074482 w 4716235"/>
              <a:gd name="connsiteY1584" fmla="*/ 4429296 h 4596459"/>
              <a:gd name="connsiteX1585" fmla="*/ 1085219 w 4716235"/>
              <a:gd name="connsiteY1585" fmla="*/ 4418559 h 4596459"/>
              <a:gd name="connsiteX1586" fmla="*/ 1006759 w 4716235"/>
              <a:gd name="connsiteY1586" fmla="*/ 4418559 h 4596459"/>
              <a:gd name="connsiteX1587" fmla="*/ 1015680 w 4716235"/>
              <a:gd name="connsiteY1587" fmla="*/ 4427478 h 4596459"/>
              <a:gd name="connsiteX1588" fmla="*/ 1024599 w 4716235"/>
              <a:gd name="connsiteY1588" fmla="*/ 4418559 h 4596459"/>
              <a:gd name="connsiteX1589" fmla="*/ 1034097 w 4716235"/>
              <a:gd name="connsiteY1589" fmla="*/ 4428056 h 4596459"/>
              <a:gd name="connsiteX1590" fmla="*/ 1043428 w 4716235"/>
              <a:gd name="connsiteY1590" fmla="*/ 4418724 h 4596459"/>
              <a:gd name="connsiteX1591" fmla="*/ 1053589 w 4716235"/>
              <a:gd name="connsiteY1591" fmla="*/ 4428883 h 4596459"/>
              <a:gd name="connsiteX1592" fmla="*/ 1063581 w 4716235"/>
              <a:gd name="connsiteY1592" fmla="*/ 4418891 h 4596459"/>
              <a:gd name="connsiteX1593" fmla="*/ 1074318 w 4716235"/>
              <a:gd name="connsiteY1593" fmla="*/ 4429627 h 4596459"/>
              <a:gd name="connsiteX1594" fmla="*/ 1064324 w 4716235"/>
              <a:gd name="connsiteY1594" fmla="*/ 4439621 h 4596459"/>
              <a:gd name="connsiteX1595" fmla="*/ 1071675 w 4716235"/>
              <a:gd name="connsiteY1595" fmla="*/ 4446971 h 4596459"/>
              <a:gd name="connsiteX1596" fmla="*/ 1081421 w 4716235"/>
              <a:gd name="connsiteY1596" fmla="*/ 4437224 h 4596459"/>
              <a:gd name="connsiteX1597" fmla="*/ 1091745 w 4716235"/>
              <a:gd name="connsiteY1597" fmla="*/ 4447548 h 4596459"/>
              <a:gd name="connsiteX1598" fmla="*/ 1101737 w 4716235"/>
              <a:gd name="connsiteY1598" fmla="*/ 4437556 h 4596459"/>
              <a:gd name="connsiteX1599" fmla="*/ 1112475 w 4716235"/>
              <a:gd name="connsiteY1599" fmla="*/ 4448292 h 4596459"/>
              <a:gd name="connsiteX1600" fmla="*/ 1101737 w 4716235"/>
              <a:gd name="connsiteY1600" fmla="*/ 4459030 h 4596459"/>
              <a:gd name="connsiteX1601" fmla="*/ 1091413 w 4716235"/>
              <a:gd name="connsiteY1601" fmla="*/ 4448705 h 4596459"/>
              <a:gd name="connsiteX1602" fmla="*/ 1081421 w 4716235"/>
              <a:gd name="connsiteY1602" fmla="*/ 4458699 h 4596459"/>
              <a:gd name="connsiteX1603" fmla="*/ 1071841 w 4716235"/>
              <a:gd name="connsiteY1603" fmla="*/ 4449118 h 4596459"/>
              <a:gd name="connsiteX1604" fmla="*/ 1062093 w 4716235"/>
              <a:gd name="connsiteY1604" fmla="*/ 4458864 h 4596459"/>
              <a:gd name="connsiteX1605" fmla="*/ 1053256 w 4716235"/>
              <a:gd name="connsiteY1605" fmla="*/ 4450028 h 4596459"/>
              <a:gd name="connsiteX1606" fmla="*/ 1043758 w 4716235"/>
              <a:gd name="connsiteY1606" fmla="*/ 4459524 h 4596459"/>
              <a:gd name="connsiteX1607" fmla="*/ 1035748 w 4716235"/>
              <a:gd name="connsiteY1607" fmla="*/ 4451514 h 4596459"/>
              <a:gd name="connsiteX1608" fmla="*/ 1026250 w 4716235"/>
              <a:gd name="connsiteY1608" fmla="*/ 4461011 h 4596459"/>
              <a:gd name="connsiteX1609" fmla="*/ 1018983 w 4716235"/>
              <a:gd name="connsiteY1609" fmla="*/ 4453744 h 4596459"/>
              <a:gd name="connsiteX1610" fmla="*/ 1009235 w 4716235"/>
              <a:gd name="connsiteY1610" fmla="*/ 4463489 h 4596459"/>
              <a:gd name="connsiteX1611" fmla="*/ 1002628 w 4716235"/>
              <a:gd name="connsiteY1611" fmla="*/ 4456881 h 4596459"/>
              <a:gd name="connsiteX1612" fmla="*/ 992553 w 4716235"/>
              <a:gd name="connsiteY1612" fmla="*/ 4466959 h 4596459"/>
              <a:gd name="connsiteX1613" fmla="*/ 986936 w 4716235"/>
              <a:gd name="connsiteY1613" fmla="*/ 4461342 h 4596459"/>
              <a:gd name="connsiteX1614" fmla="*/ 976364 w 4716235"/>
              <a:gd name="connsiteY1614" fmla="*/ 4471912 h 4596459"/>
              <a:gd name="connsiteX1615" fmla="*/ 965628 w 4716235"/>
              <a:gd name="connsiteY1615" fmla="*/ 4461175 h 4596459"/>
              <a:gd name="connsiteX1616" fmla="*/ 976364 w 4716235"/>
              <a:gd name="connsiteY1616" fmla="*/ 4450439 h 4596459"/>
              <a:gd name="connsiteX1617" fmla="*/ 981981 w 4716235"/>
              <a:gd name="connsiteY1617" fmla="*/ 4456056 h 4596459"/>
              <a:gd name="connsiteX1618" fmla="*/ 992553 w 4716235"/>
              <a:gd name="connsiteY1618" fmla="*/ 4445484 h 4596459"/>
              <a:gd name="connsiteX1619" fmla="*/ 999160 w 4716235"/>
              <a:gd name="connsiteY1619" fmla="*/ 4452092 h 4596459"/>
              <a:gd name="connsiteX1620" fmla="*/ 1009235 w 4716235"/>
              <a:gd name="connsiteY1620" fmla="*/ 4442016 h 4596459"/>
              <a:gd name="connsiteX1621" fmla="*/ 1016503 w 4716235"/>
              <a:gd name="connsiteY1621" fmla="*/ 4449284 h 4596459"/>
              <a:gd name="connsiteX1622" fmla="*/ 1026250 w 4716235"/>
              <a:gd name="connsiteY1622" fmla="*/ 4439538 h 4596459"/>
              <a:gd name="connsiteX1623" fmla="*/ 1034261 w 4716235"/>
              <a:gd name="connsiteY1623" fmla="*/ 4447548 h 4596459"/>
              <a:gd name="connsiteX1624" fmla="*/ 1042521 w 4716235"/>
              <a:gd name="connsiteY1624" fmla="*/ 4439290 h 4596459"/>
              <a:gd name="connsiteX1625" fmla="*/ 1033932 w 4716235"/>
              <a:gd name="connsiteY1625" fmla="*/ 4430700 h 4596459"/>
              <a:gd name="connsiteX1626" fmla="*/ 1024599 w 4716235"/>
              <a:gd name="connsiteY1626" fmla="*/ 4440034 h 4596459"/>
              <a:gd name="connsiteX1627" fmla="*/ 1015680 w 4716235"/>
              <a:gd name="connsiteY1627" fmla="*/ 4431113 h 4596459"/>
              <a:gd name="connsiteX1628" fmla="*/ 1006759 w 4716235"/>
              <a:gd name="connsiteY1628" fmla="*/ 4440034 h 4596459"/>
              <a:gd name="connsiteX1629" fmla="*/ 998418 w 4716235"/>
              <a:gd name="connsiteY1629" fmla="*/ 4431691 h 4596459"/>
              <a:gd name="connsiteX1630" fmla="*/ 989745 w 4716235"/>
              <a:gd name="connsiteY1630" fmla="*/ 4440363 h 4596459"/>
              <a:gd name="connsiteX1631" fmla="*/ 982064 w 4716235"/>
              <a:gd name="connsiteY1631" fmla="*/ 4432683 h 4596459"/>
              <a:gd name="connsiteX1632" fmla="*/ 973391 w 4716235"/>
              <a:gd name="connsiteY1632" fmla="*/ 4441354 h 4596459"/>
              <a:gd name="connsiteX1633" fmla="*/ 966538 w 4716235"/>
              <a:gd name="connsiteY1633" fmla="*/ 4434500 h 4596459"/>
              <a:gd name="connsiteX1634" fmla="*/ 957865 w 4716235"/>
              <a:gd name="connsiteY1634" fmla="*/ 4443173 h 4596459"/>
              <a:gd name="connsiteX1635" fmla="*/ 951671 w 4716235"/>
              <a:gd name="connsiteY1635" fmla="*/ 4436976 h 4596459"/>
              <a:gd name="connsiteX1636" fmla="*/ 942667 w 4716235"/>
              <a:gd name="connsiteY1636" fmla="*/ 4445979 h 4596459"/>
              <a:gd name="connsiteX1637" fmla="*/ 937216 w 4716235"/>
              <a:gd name="connsiteY1637" fmla="*/ 4440528 h 4596459"/>
              <a:gd name="connsiteX1638" fmla="*/ 927637 w 4716235"/>
              <a:gd name="connsiteY1638" fmla="*/ 4450108 h 4596459"/>
              <a:gd name="connsiteX1639" fmla="*/ 923013 w 4716235"/>
              <a:gd name="connsiteY1639" fmla="*/ 4445484 h 4596459"/>
              <a:gd name="connsiteX1640" fmla="*/ 913101 w 4716235"/>
              <a:gd name="connsiteY1640" fmla="*/ 4455394 h 4596459"/>
              <a:gd name="connsiteX1641" fmla="*/ 902364 w 4716235"/>
              <a:gd name="connsiteY1641" fmla="*/ 4444657 h 4596459"/>
              <a:gd name="connsiteX1642" fmla="*/ 913101 w 4716235"/>
              <a:gd name="connsiteY1642" fmla="*/ 4433921 h 4596459"/>
              <a:gd name="connsiteX1643" fmla="*/ 917726 w 4716235"/>
              <a:gd name="connsiteY1643" fmla="*/ 4438546 h 4596459"/>
              <a:gd name="connsiteX1644" fmla="*/ 927637 w 4716235"/>
              <a:gd name="connsiteY1644" fmla="*/ 4428635 h 4596459"/>
              <a:gd name="connsiteX1645" fmla="*/ 933087 w 4716235"/>
              <a:gd name="connsiteY1645" fmla="*/ 4434086 h 4596459"/>
              <a:gd name="connsiteX1646" fmla="*/ 942667 w 4716235"/>
              <a:gd name="connsiteY1646" fmla="*/ 4424506 h 4596459"/>
              <a:gd name="connsiteX1647" fmla="*/ 948863 w 4716235"/>
              <a:gd name="connsiteY1647" fmla="*/ 4430700 h 4596459"/>
              <a:gd name="connsiteX1648" fmla="*/ 957865 w 4716235"/>
              <a:gd name="connsiteY1648" fmla="*/ 4421698 h 4596459"/>
              <a:gd name="connsiteX1649" fmla="*/ 964721 w 4716235"/>
              <a:gd name="connsiteY1649" fmla="*/ 4428554 h 4596459"/>
              <a:gd name="connsiteX1650" fmla="*/ 973391 w 4716235"/>
              <a:gd name="connsiteY1650" fmla="*/ 4419881 h 4596459"/>
              <a:gd name="connsiteX1651" fmla="*/ 981074 w 4716235"/>
              <a:gd name="connsiteY1651" fmla="*/ 4427562 h 4596459"/>
              <a:gd name="connsiteX1652" fmla="*/ 989745 w 4716235"/>
              <a:gd name="connsiteY1652" fmla="*/ 4418891 h 4596459"/>
              <a:gd name="connsiteX1653" fmla="*/ 998086 w 4716235"/>
              <a:gd name="connsiteY1653" fmla="*/ 4427232 h 4596459"/>
              <a:gd name="connsiteX1654" fmla="*/ 1108511 w 4716235"/>
              <a:gd name="connsiteY1654" fmla="*/ 4417403 h 4596459"/>
              <a:gd name="connsiteX1655" fmla="*/ 1119247 w 4716235"/>
              <a:gd name="connsiteY1655" fmla="*/ 4428139 h 4596459"/>
              <a:gd name="connsiteX1656" fmla="*/ 1108511 w 4716235"/>
              <a:gd name="connsiteY1656" fmla="*/ 4438875 h 4596459"/>
              <a:gd name="connsiteX1657" fmla="*/ 1097774 w 4716235"/>
              <a:gd name="connsiteY1657" fmla="*/ 4428139 h 4596459"/>
              <a:gd name="connsiteX1658" fmla="*/ 1108511 w 4716235"/>
              <a:gd name="connsiteY1658" fmla="*/ 4417403 h 4596459"/>
              <a:gd name="connsiteX1659" fmla="*/ 1475047 w 4716235"/>
              <a:gd name="connsiteY1659" fmla="*/ 4415256 h 4596459"/>
              <a:gd name="connsiteX1660" fmla="*/ 1485785 w 4716235"/>
              <a:gd name="connsiteY1660" fmla="*/ 4425992 h 4596459"/>
              <a:gd name="connsiteX1661" fmla="*/ 1475047 w 4716235"/>
              <a:gd name="connsiteY1661" fmla="*/ 4436729 h 4596459"/>
              <a:gd name="connsiteX1662" fmla="*/ 1464310 w 4716235"/>
              <a:gd name="connsiteY1662" fmla="*/ 4425992 h 4596459"/>
              <a:gd name="connsiteX1663" fmla="*/ 1475047 w 4716235"/>
              <a:gd name="connsiteY1663" fmla="*/ 4415256 h 4596459"/>
              <a:gd name="connsiteX1664" fmla="*/ 1133452 w 4716235"/>
              <a:gd name="connsiteY1664" fmla="*/ 4415256 h 4596459"/>
              <a:gd name="connsiteX1665" fmla="*/ 1144190 w 4716235"/>
              <a:gd name="connsiteY1665" fmla="*/ 4425992 h 4596459"/>
              <a:gd name="connsiteX1666" fmla="*/ 1133452 w 4716235"/>
              <a:gd name="connsiteY1666" fmla="*/ 4436729 h 4596459"/>
              <a:gd name="connsiteX1667" fmla="*/ 1122715 w 4716235"/>
              <a:gd name="connsiteY1667" fmla="*/ 4425992 h 4596459"/>
              <a:gd name="connsiteX1668" fmla="*/ 1133452 w 4716235"/>
              <a:gd name="connsiteY1668" fmla="*/ 4415256 h 4596459"/>
              <a:gd name="connsiteX1669" fmla="*/ 1326054 w 4716235"/>
              <a:gd name="connsiteY1669" fmla="*/ 4414595 h 4596459"/>
              <a:gd name="connsiteX1670" fmla="*/ 1336792 w 4716235"/>
              <a:gd name="connsiteY1670" fmla="*/ 4425331 h 4596459"/>
              <a:gd name="connsiteX1671" fmla="*/ 1326054 w 4716235"/>
              <a:gd name="connsiteY1671" fmla="*/ 4436068 h 4596459"/>
              <a:gd name="connsiteX1672" fmla="*/ 1315318 w 4716235"/>
              <a:gd name="connsiteY1672" fmla="*/ 4425331 h 4596459"/>
              <a:gd name="connsiteX1673" fmla="*/ 1326054 w 4716235"/>
              <a:gd name="connsiteY1673" fmla="*/ 4414595 h 4596459"/>
              <a:gd name="connsiteX1674" fmla="*/ 2324244 w 4716235"/>
              <a:gd name="connsiteY1674" fmla="*/ 4414430 h 4596459"/>
              <a:gd name="connsiteX1675" fmla="*/ 2334982 w 4716235"/>
              <a:gd name="connsiteY1675" fmla="*/ 4425167 h 4596459"/>
              <a:gd name="connsiteX1676" fmla="*/ 2324244 w 4716235"/>
              <a:gd name="connsiteY1676" fmla="*/ 4435905 h 4596459"/>
              <a:gd name="connsiteX1677" fmla="*/ 2313507 w 4716235"/>
              <a:gd name="connsiteY1677" fmla="*/ 4425167 h 4596459"/>
              <a:gd name="connsiteX1678" fmla="*/ 2324244 w 4716235"/>
              <a:gd name="connsiteY1678" fmla="*/ 4414430 h 4596459"/>
              <a:gd name="connsiteX1679" fmla="*/ 1160706 w 4716235"/>
              <a:gd name="connsiteY1679" fmla="*/ 4411456 h 4596459"/>
              <a:gd name="connsiteX1680" fmla="*/ 1171444 w 4716235"/>
              <a:gd name="connsiteY1680" fmla="*/ 4422193 h 4596459"/>
              <a:gd name="connsiteX1681" fmla="*/ 1160706 w 4716235"/>
              <a:gd name="connsiteY1681" fmla="*/ 4432929 h 4596459"/>
              <a:gd name="connsiteX1682" fmla="*/ 1149970 w 4716235"/>
              <a:gd name="connsiteY1682" fmla="*/ 4422193 h 4596459"/>
              <a:gd name="connsiteX1683" fmla="*/ 1160706 w 4716235"/>
              <a:gd name="connsiteY1683" fmla="*/ 4411456 h 4596459"/>
              <a:gd name="connsiteX1684" fmla="*/ 2144528 w 4716235"/>
              <a:gd name="connsiteY1684" fmla="*/ 4409145 h 4596459"/>
              <a:gd name="connsiteX1685" fmla="*/ 2155264 w 4716235"/>
              <a:gd name="connsiteY1685" fmla="*/ 4419881 h 4596459"/>
              <a:gd name="connsiteX1686" fmla="*/ 2144528 w 4716235"/>
              <a:gd name="connsiteY1686" fmla="*/ 4430617 h 4596459"/>
              <a:gd name="connsiteX1687" fmla="*/ 2133792 w 4716235"/>
              <a:gd name="connsiteY1687" fmla="*/ 4419881 h 4596459"/>
              <a:gd name="connsiteX1688" fmla="*/ 2144528 w 4716235"/>
              <a:gd name="connsiteY1688" fmla="*/ 4409145 h 4596459"/>
              <a:gd name="connsiteX1689" fmla="*/ 1753212 w 4716235"/>
              <a:gd name="connsiteY1689" fmla="*/ 4408813 h 4596459"/>
              <a:gd name="connsiteX1690" fmla="*/ 1763948 w 4716235"/>
              <a:gd name="connsiteY1690" fmla="*/ 4419550 h 4596459"/>
              <a:gd name="connsiteX1691" fmla="*/ 1753212 w 4716235"/>
              <a:gd name="connsiteY1691" fmla="*/ 4430288 h 4596459"/>
              <a:gd name="connsiteX1692" fmla="*/ 1742476 w 4716235"/>
              <a:gd name="connsiteY1692" fmla="*/ 4419550 h 4596459"/>
              <a:gd name="connsiteX1693" fmla="*/ 1753212 w 4716235"/>
              <a:gd name="connsiteY1693" fmla="*/ 4408813 h 4596459"/>
              <a:gd name="connsiteX1694" fmla="*/ 1869335 w 4716235"/>
              <a:gd name="connsiteY1694" fmla="*/ 4407657 h 4596459"/>
              <a:gd name="connsiteX1695" fmla="*/ 1880073 w 4716235"/>
              <a:gd name="connsiteY1695" fmla="*/ 4418393 h 4596459"/>
              <a:gd name="connsiteX1696" fmla="*/ 1869335 w 4716235"/>
              <a:gd name="connsiteY1696" fmla="*/ 4429131 h 4596459"/>
              <a:gd name="connsiteX1697" fmla="*/ 1858599 w 4716235"/>
              <a:gd name="connsiteY1697" fmla="*/ 4418393 h 4596459"/>
              <a:gd name="connsiteX1698" fmla="*/ 1869335 w 4716235"/>
              <a:gd name="connsiteY1698" fmla="*/ 4407657 h 4596459"/>
              <a:gd name="connsiteX1699" fmla="*/ 2520481 w 4716235"/>
              <a:gd name="connsiteY1699" fmla="*/ 4407492 h 4596459"/>
              <a:gd name="connsiteX1700" fmla="*/ 2530639 w 4716235"/>
              <a:gd name="connsiteY1700" fmla="*/ 4417651 h 4596459"/>
              <a:gd name="connsiteX1701" fmla="*/ 2540467 w 4716235"/>
              <a:gd name="connsiteY1701" fmla="*/ 4407823 h 4596459"/>
              <a:gd name="connsiteX1702" fmla="*/ 2549800 w 4716235"/>
              <a:gd name="connsiteY1702" fmla="*/ 4417155 h 4596459"/>
              <a:gd name="connsiteX1703" fmla="*/ 2559132 w 4716235"/>
              <a:gd name="connsiteY1703" fmla="*/ 4407823 h 4596459"/>
              <a:gd name="connsiteX1704" fmla="*/ 2567803 w 4716235"/>
              <a:gd name="connsiteY1704" fmla="*/ 4416494 h 4596459"/>
              <a:gd name="connsiteX1705" fmla="*/ 2576641 w 4716235"/>
              <a:gd name="connsiteY1705" fmla="*/ 4407657 h 4596459"/>
              <a:gd name="connsiteX1706" fmla="*/ 2584984 w 4716235"/>
              <a:gd name="connsiteY1706" fmla="*/ 4415998 h 4596459"/>
              <a:gd name="connsiteX1707" fmla="*/ 2593159 w 4716235"/>
              <a:gd name="connsiteY1707" fmla="*/ 4407823 h 4596459"/>
              <a:gd name="connsiteX1708" fmla="*/ 2601335 w 4716235"/>
              <a:gd name="connsiteY1708" fmla="*/ 4416000 h 4596459"/>
              <a:gd name="connsiteX1709" fmla="*/ 2609018 w 4716235"/>
              <a:gd name="connsiteY1709" fmla="*/ 4408317 h 4596459"/>
              <a:gd name="connsiteX1710" fmla="*/ 2617194 w 4716235"/>
              <a:gd name="connsiteY1710" fmla="*/ 4416494 h 4596459"/>
              <a:gd name="connsiteX1711" fmla="*/ 2624048 w 4716235"/>
              <a:gd name="connsiteY1711" fmla="*/ 4409641 h 4596459"/>
              <a:gd name="connsiteX1712" fmla="*/ 2632391 w 4716235"/>
              <a:gd name="connsiteY1712" fmla="*/ 4417984 h 4596459"/>
              <a:gd name="connsiteX1713" fmla="*/ 2638750 w 4716235"/>
              <a:gd name="connsiteY1713" fmla="*/ 4411623 h 4596459"/>
              <a:gd name="connsiteX1714" fmla="*/ 2647504 w 4716235"/>
              <a:gd name="connsiteY1714" fmla="*/ 4420377 h 4596459"/>
              <a:gd name="connsiteX1715" fmla="*/ 2653120 w 4716235"/>
              <a:gd name="connsiteY1715" fmla="*/ 4414760 h 4596459"/>
              <a:gd name="connsiteX1716" fmla="*/ 2662288 w 4716235"/>
              <a:gd name="connsiteY1716" fmla="*/ 4423927 h 4596459"/>
              <a:gd name="connsiteX1717" fmla="*/ 2666995 w 4716235"/>
              <a:gd name="connsiteY1717" fmla="*/ 4419220 h 4596459"/>
              <a:gd name="connsiteX1718" fmla="*/ 2676908 w 4716235"/>
              <a:gd name="connsiteY1718" fmla="*/ 4429131 h 4596459"/>
              <a:gd name="connsiteX1719" fmla="*/ 2681037 w 4716235"/>
              <a:gd name="connsiteY1719" fmla="*/ 4425002 h 4596459"/>
              <a:gd name="connsiteX1720" fmla="*/ 2691525 w 4716235"/>
              <a:gd name="connsiteY1720" fmla="*/ 4435490 h 4596459"/>
              <a:gd name="connsiteX1721" fmla="*/ 2694745 w 4716235"/>
              <a:gd name="connsiteY1721" fmla="*/ 4432270 h 4596459"/>
              <a:gd name="connsiteX1722" fmla="*/ 2705482 w 4716235"/>
              <a:gd name="connsiteY1722" fmla="*/ 4443006 h 4596459"/>
              <a:gd name="connsiteX1723" fmla="*/ 2694745 w 4716235"/>
              <a:gd name="connsiteY1723" fmla="*/ 4453743 h 4596459"/>
              <a:gd name="connsiteX1724" fmla="*/ 2684257 w 4716235"/>
              <a:gd name="connsiteY1724" fmla="*/ 4443254 h 4596459"/>
              <a:gd name="connsiteX1725" fmla="*/ 2681037 w 4716235"/>
              <a:gd name="connsiteY1725" fmla="*/ 4446475 h 4596459"/>
              <a:gd name="connsiteX1726" fmla="*/ 2671126 w 4716235"/>
              <a:gd name="connsiteY1726" fmla="*/ 4436564 h 4596459"/>
              <a:gd name="connsiteX1727" fmla="*/ 2666995 w 4716235"/>
              <a:gd name="connsiteY1727" fmla="*/ 4440693 h 4596459"/>
              <a:gd name="connsiteX1728" fmla="*/ 2657828 w 4716235"/>
              <a:gd name="connsiteY1728" fmla="*/ 4431526 h 4596459"/>
              <a:gd name="connsiteX1729" fmla="*/ 2653120 w 4716235"/>
              <a:gd name="connsiteY1729" fmla="*/ 4436233 h 4596459"/>
              <a:gd name="connsiteX1730" fmla="*/ 2644366 w 4716235"/>
              <a:gd name="connsiteY1730" fmla="*/ 4427480 h 4596459"/>
              <a:gd name="connsiteX1731" fmla="*/ 2638750 w 4716235"/>
              <a:gd name="connsiteY1731" fmla="*/ 4433095 h 4596459"/>
              <a:gd name="connsiteX1732" fmla="*/ 2630409 w 4716235"/>
              <a:gd name="connsiteY1732" fmla="*/ 4424754 h 4596459"/>
              <a:gd name="connsiteX1733" fmla="*/ 2624048 w 4716235"/>
              <a:gd name="connsiteY1733" fmla="*/ 4431113 h 4596459"/>
              <a:gd name="connsiteX1734" fmla="*/ 2615871 w 4716235"/>
              <a:gd name="connsiteY1734" fmla="*/ 4422938 h 4596459"/>
              <a:gd name="connsiteX1735" fmla="*/ 2609018 w 4716235"/>
              <a:gd name="connsiteY1735" fmla="*/ 4429792 h 4596459"/>
              <a:gd name="connsiteX1736" fmla="*/ 2600841 w 4716235"/>
              <a:gd name="connsiteY1736" fmla="*/ 4421615 h 4596459"/>
              <a:gd name="connsiteX1737" fmla="*/ 2593159 w 4716235"/>
              <a:gd name="connsiteY1737" fmla="*/ 4429296 h 4596459"/>
              <a:gd name="connsiteX1738" fmla="*/ 2584817 w 4716235"/>
              <a:gd name="connsiteY1738" fmla="*/ 4420954 h 4596459"/>
              <a:gd name="connsiteX1739" fmla="*/ 2576641 w 4716235"/>
              <a:gd name="connsiteY1739" fmla="*/ 4429131 h 4596459"/>
              <a:gd name="connsiteX1740" fmla="*/ 2567970 w 4716235"/>
              <a:gd name="connsiteY1740" fmla="*/ 4420460 h 4596459"/>
              <a:gd name="connsiteX1741" fmla="*/ 2559132 w 4716235"/>
              <a:gd name="connsiteY1741" fmla="*/ 4429296 h 4596459"/>
              <a:gd name="connsiteX1742" fmla="*/ 2549800 w 4716235"/>
              <a:gd name="connsiteY1742" fmla="*/ 4419964 h 4596459"/>
              <a:gd name="connsiteX1743" fmla="*/ 2540467 w 4716235"/>
              <a:gd name="connsiteY1743" fmla="*/ 4429296 h 4596459"/>
              <a:gd name="connsiteX1744" fmla="*/ 2530308 w 4716235"/>
              <a:gd name="connsiteY1744" fmla="*/ 4419139 h 4596459"/>
              <a:gd name="connsiteX1745" fmla="*/ 2520645 w 4716235"/>
              <a:gd name="connsiteY1745" fmla="*/ 4428802 h 4596459"/>
              <a:gd name="connsiteX1746" fmla="*/ 2528409 w 4716235"/>
              <a:gd name="connsiteY1746" fmla="*/ 4436564 h 4596459"/>
              <a:gd name="connsiteX1747" fmla="*/ 2537328 w 4716235"/>
              <a:gd name="connsiteY1747" fmla="*/ 4427645 h 4596459"/>
              <a:gd name="connsiteX1748" fmla="*/ 2546331 w 4716235"/>
              <a:gd name="connsiteY1748" fmla="*/ 4436647 h 4596459"/>
              <a:gd name="connsiteX1749" fmla="*/ 2554507 w 4716235"/>
              <a:gd name="connsiteY1749" fmla="*/ 4428470 h 4596459"/>
              <a:gd name="connsiteX1750" fmla="*/ 2563593 w 4716235"/>
              <a:gd name="connsiteY1750" fmla="*/ 4437556 h 4596459"/>
              <a:gd name="connsiteX1751" fmla="*/ 2571025 w 4716235"/>
              <a:gd name="connsiteY1751" fmla="*/ 4430123 h 4596459"/>
              <a:gd name="connsiteX1752" fmla="*/ 2580440 w 4716235"/>
              <a:gd name="connsiteY1752" fmla="*/ 4439538 h 4596459"/>
              <a:gd name="connsiteX1753" fmla="*/ 2587212 w 4716235"/>
              <a:gd name="connsiteY1753" fmla="*/ 4432766 h 4596459"/>
              <a:gd name="connsiteX1754" fmla="*/ 2596875 w 4716235"/>
              <a:gd name="connsiteY1754" fmla="*/ 4442429 h 4596459"/>
              <a:gd name="connsiteX1755" fmla="*/ 2602740 w 4716235"/>
              <a:gd name="connsiteY1755" fmla="*/ 4436564 h 4596459"/>
              <a:gd name="connsiteX1756" fmla="*/ 2613064 w 4716235"/>
              <a:gd name="connsiteY1756" fmla="*/ 4446887 h 4596459"/>
              <a:gd name="connsiteX1757" fmla="*/ 2618101 w 4716235"/>
              <a:gd name="connsiteY1757" fmla="*/ 4441850 h 4596459"/>
              <a:gd name="connsiteX1758" fmla="*/ 2628838 w 4716235"/>
              <a:gd name="connsiteY1758" fmla="*/ 4452586 h 4596459"/>
              <a:gd name="connsiteX1759" fmla="*/ 2618101 w 4716235"/>
              <a:gd name="connsiteY1759" fmla="*/ 4463324 h 4596459"/>
              <a:gd name="connsiteX1760" fmla="*/ 2607778 w 4716235"/>
              <a:gd name="connsiteY1760" fmla="*/ 4453000 h 4596459"/>
              <a:gd name="connsiteX1761" fmla="*/ 2602740 w 4716235"/>
              <a:gd name="connsiteY1761" fmla="*/ 4458038 h 4596459"/>
              <a:gd name="connsiteX1762" fmla="*/ 2593077 w 4716235"/>
              <a:gd name="connsiteY1762" fmla="*/ 4448375 h 4596459"/>
              <a:gd name="connsiteX1763" fmla="*/ 2587212 w 4716235"/>
              <a:gd name="connsiteY1763" fmla="*/ 4454239 h 4596459"/>
              <a:gd name="connsiteX1764" fmla="*/ 2577797 w 4716235"/>
              <a:gd name="connsiteY1764" fmla="*/ 4444825 h 4596459"/>
              <a:gd name="connsiteX1765" fmla="*/ 2571025 w 4716235"/>
              <a:gd name="connsiteY1765" fmla="*/ 4451596 h 4596459"/>
              <a:gd name="connsiteX1766" fmla="*/ 2561940 w 4716235"/>
              <a:gd name="connsiteY1766" fmla="*/ 4442512 h 4596459"/>
              <a:gd name="connsiteX1767" fmla="*/ 2554507 w 4716235"/>
              <a:gd name="connsiteY1767" fmla="*/ 4449943 h 4596459"/>
              <a:gd name="connsiteX1768" fmla="*/ 2545505 w 4716235"/>
              <a:gd name="connsiteY1768" fmla="*/ 4440941 h 4596459"/>
              <a:gd name="connsiteX1769" fmla="*/ 2537328 w 4716235"/>
              <a:gd name="connsiteY1769" fmla="*/ 4449118 h 4596459"/>
              <a:gd name="connsiteX1770" fmla="*/ 2528245 w 4716235"/>
              <a:gd name="connsiteY1770" fmla="*/ 4440034 h 4596459"/>
              <a:gd name="connsiteX1771" fmla="*/ 2519324 w 4716235"/>
              <a:gd name="connsiteY1771" fmla="*/ 4448953 h 4596459"/>
              <a:gd name="connsiteX1772" fmla="*/ 2509909 w 4716235"/>
              <a:gd name="connsiteY1772" fmla="*/ 4439538 h 4596459"/>
              <a:gd name="connsiteX1773" fmla="*/ 2500327 w 4716235"/>
              <a:gd name="connsiteY1773" fmla="*/ 4449118 h 4596459"/>
              <a:gd name="connsiteX1774" fmla="*/ 2490333 w 4716235"/>
              <a:gd name="connsiteY1774" fmla="*/ 4439125 h 4596459"/>
              <a:gd name="connsiteX1775" fmla="*/ 2480175 w 4716235"/>
              <a:gd name="connsiteY1775" fmla="*/ 4449284 h 4596459"/>
              <a:gd name="connsiteX1776" fmla="*/ 2469438 w 4716235"/>
              <a:gd name="connsiteY1776" fmla="*/ 4438546 h 4596459"/>
              <a:gd name="connsiteX1777" fmla="*/ 2480175 w 4716235"/>
              <a:gd name="connsiteY1777" fmla="*/ 4427810 h 4596459"/>
              <a:gd name="connsiteX1778" fmla="*/ 2490169 w 4716235"/>
              <a:gd name="connsiteY1778" fmla="*/ 4437804 h 4596459"/>
              <a:gd name="connsiteX1779" fmla="*/ 2500327 w 4716235"/>
              <a:gd name="connsiteY1779" fmla="*/ 4427645 h 4596459"/>
              <a:gd name="connsiteX1780" fmla="*/ 2509744 w 4716235"/>
              <a:gd name="connsiteY1780" fmla="*/ 4437060 h 4596459"/>
              <a:gd name="connsiteX1781" fmla="*/ 2519159 w 4716235"/>
              <a:gd name="connsiteY1781" fmla="*/ 4427645 h 4596459"/>
              <a:gd name="connsiteX1782" fmla="*/ 2509744 w 4716235"/>
              <a:gd name="connsiteY1782" fmla="*/ 4418228 h 4596459"/>
              <a:gd name="connsiteX1783" fmla="*/ 2520481 w 4716235"/>
              <a:gd name="connsiteY1783" fmla="*/ 4407492 h 4596459"/>
              <a:gd name="connsiteX1784" fmla="*/ 2498842 w 4716235"/>
              <a:gd name="connsiteY1784" fmla="*/ 4406337 h 4596459"/>
              <a:gd name="connsiteX1785" fmla="*/ 2509579 w 4716235"/>
              <a:gd name="connsiteY1785" fmla="*/ 4417073 h 4596459"/>
              <a:gd name="connsiteX1786" fmla="*/ 2498842 w 4716235"/>
              <a:gd name="connsiteY1786" fmla="*/ 4427810 h 4596459"/>
              <a:gd name="connsiteX1787" fmla="*/ 2488105 w 4716235"/>
              <a:gd name="connsiteY1787" fmla="*/ 4417073 h 4596459"/>
              <a:gd name="connsiteX1788" fmla="*/ 2498842 w 4716235"/>
              <a:gd name="connsiteY1788" fmla="*/ 4406337 h 4596459"/>
              <a:gd name="connsiteX1789" fmla="*/ 2290382 w 4716235"/>
              <a:gd name="connsiteY1789" fmla="*/ 4406170 h 4596459"/>
              <a:gd name="connsiteX1790" fmla="*/ 2301120 w 4716235"/>
              <a:gd name="connsiteY1790" fmla="*/ 4416907 h 4596459"/>
              <a:gd name="connsiteX1791" fmla="*/ 2290382 w 4716235"/>
              <a:gd name="connsiteY1791" fmla="*/ 4427645 h 4596459"/>
              <a:gd name="connsiteX1792" fmla="*/ 2279645 w 4716235"/>
              <a:gd name="connsiteY1792" fmla="*/ 4416907 h 4596459"/>
              <a:gd name="connsiteX1793" fmla="*/ 2290382 w 4716235"/>
              <a:gd name="connsiteY1793" fmla="*/ 4406170 h 4596459"/>
              <a:gd name="connsiteX1794" fmla="*/ 1637256 w 4716235"/>
              <a:gd name="connsiteY1794" fmla="*/ 4405841 h 4596459"/>
              <a:gd name="connsiteX1795" fmla="*/ 1647994 w 4716235"/>
              <a:gd name="connsiteY1795" fmla="*/ 4416577 h 4596459"/>
              <a:gd name="connsiteX1796" fmla="*/ 1637256 w 4716235"/>
              <a:gd name="connsiteY1796" fmla="*/ 4427314 h 4596459"/>
              <a:gd name="connsiteX1797" fmla="*/ 1626519 w 4716235"/>
              <a:gd name="connsiteY1797" fmla="*/ 4416577 h 4596459"/>
              <a:gd name="connsiteX1798" fmla="*/ 1637256 w 4716235"/>
              <a:gd name="connsiteY1798" fmla="*/ 4405841 h 4596459"/>
              <a:gd name="connsiteX1799" fmla="*/ 1190109 w 4716235"/>
              <a:gd name="connsiteY1799" fmla="*/ 4405841 h 4596459"/>
              <a:gd name="connsiteX1800" fmla="*/ 1200846 w 4716235"/>
              <a:gd name="connsiteY1800" fmla="*/ 4416577 h 4596459"/>
              <a:gd name="connsiteX1801" fmla="*/ 1190109 w 4716235"/>
              <a:gd name="connsiteY1801" fmla="*/ 4427314 h 4596459"/>
              <a:gd name="connsiteX1802" fmla="*/ 1179373 w 4716235"/>
              <a:gd name="connsiteY1802" fmla="*/ 4416577 h 4596459"/>
              <a:gd name="connsiteX1803" fmla="*/ 1190109 w 4716235"/>
              <a:gd name="connsiteY1803" fmla="*/ 4405841 h 4596459"/>
              <a:gd name="connsiteX1804" fmla="*/ 789545 w 4716235"/>
              <a:gd name="connsiteY1804" fmla="*/ 4405510 h 4596459"/>
              <a:gd name="connsiteX1805" fmla="*/ 793510 w 4716235"/>
              <a:gd name="connsiteY1805" fmla="*/ 4409474 h 4596459"/>
              <a:gd name="connsiteX1806" fmla="*/ 789545 w 4716235"/>
              <a:gd name="connsiteY1806" fmla="*/ 4413438 h 4596459"/>
              <a:gd name="connsiteX1807" fmla="*/ 785581 w 4716235"/>
              <a:gd name="connsiteY1807" fmla="*/ 4409474 h 4596459"/>
              <a:gd name="connsiteX1808" fmla="*/ 789545 w 4716235"/>
              <a:gd name="connsiteY1808" fmla="*/ 4405510 h 4596459"/>
              <a:gd name="connsiteX1809" fmla="*/ 2475716 w 4716235"/>
              <a:gd name="connsiteY1809" fmla="*/ 4404355 h 4596459"/>
              <a:gd name="connsiteX1810" fmla="*/ 2486454 w 4716235"/>
              <a:gd name="connsiteY1810" fmla="*/ 4415091 h 4596459"/>
              <a:gd name="connsiteX1811" fmla="*/ 2475716 w 4716235"/>
              <a:gd name="connsiteY1811" fmla="*/ 4425827 h 4596459"/>
              <a:gd name="connsiteX1812" fmla="*/ 2464980 w 4716235"/>
              <a:gd name="connsiteY1812" fmla="*/ 4415091 h 4596459"/>
              <a:gd name="connsiteX1813" fmla="*/ 2475716 w 4716235"/>
              <a:gd name="connsiteY1813" fmla="*/ 4404355 h 4596459"/>
              <a:gd name="connsiteX1814" fmla="*/ 1365202 w 4716235"/>
              <a:gd name="connsiteY1814" fmla="*/ 4403198 h 4596459"/>
              <a:gd name="connsiteX1815" fmla="*/ 1375940 w 4716235"/>
              <a:gd name="connsiteY1815" fmla="*/ 4413934 h 4596459"/>
              <a:gd name="connsiteX1816" fmla="*/ 1365202 w 4716235"/>
              <a:gd name="connsiteY1816" fmla="*/ 4424671 h 4596459"/>
              <a:gd name="connsiteX1817" fmla="*/ 1354465 w 4716235"/>
              <a:gd name="connsiteY1817" fmla="*/ 4413934 h 4596459"/>
              <a:gd name="connsiteX1818" fmla="*/ 1365202 w 4716235"/>
              <a:gd name="connsiteY1818" fmla="*/ 4403198 h 4596459"/>
              <a:gd name="connsiteX1819" fmla="*/ 1985127 w 4716235"/>
              <a:gd name="connsiteY1819" fmla="*/ 4402702 h 4596459"/>
              <a:gd name="connsiteX1820" fmla="*/ 1995865 w 4716235"/>
              <a:gd name="connsiteY1820" fmla="*/ 4413438 h 4596459"/>
              <a:gd name="connsiteX1821" fmla="*/ 1985127 w 4716235"/>
              <a:gd name="connsiteY1821" fmla="*/ 4424175 h 4596459"/>
              <a:gd name="connsiteX1822" fmla="*/ 1974390 w 4716235"/>
              <a:gd name="connsiteY1822" fmla="*/ 4413438 h 4596459"/>
              <a:gd name="connsiteX1823" fmla="*/ 1985127 w 4716235"/>
              <a:gd name="connsiteY1823" fmla="*/ 4402702 h 4596459"/>
              <a:gd name="connsiteX1824" fmla="*/ 2814668 w 4716235"/>
              <a:gd name="connsiteY1824" fmla="*/ 4401049 h 4596459"/>
              <a:gd name="connsiteX1825" fmla="*/ 2821936 w 4716235"/>
              <a:gd name="connsiteY1825" fmla="*/ 4408317 h 4596459"/>
              <a:gd name="connsiteX1826" fmla="*/ 2814668 w 4716235"/>
              <a:gd name="connsiteY1826" fmla="*/ 4415585 h 4596459"/>
              <a:gd name="connsiteX1827" fmla="*/ 2807400 w 4716235"/>
              <a:gd name="connsiteY1827" fmla="*/ 4408317 h 4596459"/>
              <a:gd name="connsiteX1828" fmla="*/ 2814668 w 4716235"/>
              <a:gd name="connsiteY1828" fmla="*/ 4401049 h 4596459"/>
              <a:gd name="connsiteX1829" fmla="*/ 2450442 w 4716235"/>
              <a:gd name="connsiteY1829" fmla="*/ 4400885 h 4596459"/>
              <a:gd name="connsiteX1830" fmla="*/ 2461180 w 4716235"/>
              <a:gd name="connsiteY1830" fmla="*/ 4411621 h 4596459"/>
              <a:gd name="connsiteX1831" fmla="*/ 2450442 w 4716235"/>
              <a:gd name="connsiteY1831" fmla="*/ 4422357 h 4596459"/>
              <a:gd name="connsiteX1832" fmla="*/ 2439706 w 4716235"/>
              <a:gd name="connsiteY1832" fmla="*/ 4411621 h 4596459"/>
              <a:gd name="connsiteX1833" fmla="*/ 2450442 w 4716235"/>
              <a:gd name="connsiteY1833" fmla="*/ 4400885 h 4596459"/>
              <a:gd name="connsiteX1834" fmla="*/ 1521793 w 4716235"/>
              <a:gd name="connsiteY1834" fmla="*/ 4398902 h 4596459"/>
              <a:gd name="connsiteX1835" fmla="*/ 1532532 w 4716235"/>
              <a:gd name="connsiteY1835" fmla="*/ 4409639 h 4596459"/>
              <a:gd name="connsiteX1836" fmla="*/ 1521793 w 4716235"/>
              <a:gd name="connsiteY1836" fmla="*/ 4420377 h 4596459"/>
              <a:gd name="connsiteX1837" fmla="*/ 1511057 w 4716235"/>
              <a:gd name="connsiteY1837" fmla="*/ 4409639 h 4596459"/>
              <a:gd name="connsiteX1838" fmla="*/ 1521793 w 4716235"/>
              <a:gd name="connsiteY1838" fmla="*/ 4398902 h 4596459"/>
              <a:gd name="connsiteX1839" fmla="*/ 1222154 w 4716235"/>
              <a:gd name="connsiteY1839" fmla="*/ 4398077 h 4596459"/>
              <a:gd name="connsiteX1840" fmla="*/ 1232892 w 4716235"/>
              <a:gd name="connsiteY1840" fmla="*/ 4408813 h 4596459"/>
              <a:gd name="connsiteX1841" fmla="*/ 1222154 w 4716235"/>
              <a:gd name="connsiteY1841" fmla="*/ 4419550 h 4596459"/>
              <a:gd name="connsiteX1842" fmla="*/ 1211417 w 4716235"/>
              <a:gd name="connsiteY1842" fmla="*/ 4408813 h 4596459"/>
              <a:gd name="connsiteX1843" fmla="*/ 1222154 w 4716235"/>
              <a:gd name="connsiteY1843" fmla="*/ 4398077 h 4596459"/>
              <a:gd name="connsiteX1844" fmla="*/ 1021460 w 4716235"/>
              <a:gd name="connsiteY1844" fmla="*/ 4396260 h 4596459"/>
              <a:gd name="connsiteX1845" fmla="*/ 1032198 w 4716235"/>
              <a:gd name="connsiteY1845" fmla="*/ 4406996 h 4596459"/>
              <a:gd name="connsiteX1846" fmla="*/ 1021460 w 4716235"/>
              <a:gd name="connsiteY1846" fmla="*/ 4417734 h 4596459"/>
              <a:gd name="connsiteX1847" fmla="*/ 1011962 w 4716235"/>
              <a:gd name="connsiteY1847" fmla="*/ 4408236 h 4596459"/>
              <a:gd name="connsiteX1848" fmla="*/ 1001307 w 4716235"/>
              <a:gd name="connsiteY1848" fmla="*/ 4418891 h 4596459"/>
              <a:gd name="connsiteX1849" fmla="*/ 992223 w 4716235"/>
              <a:gd name="connsiteY1849" fmla="*/ 4409805 h 4596459"/>
              <a:gd name="connsiteX1850" fmla="*/ 982806 w 4716235"/>
              <a:gd name="connsiteY1850" fmla="*/ 4419220 h 4596459"/>
              <a:gd name="connsiteX1851" fmla="*/ 974136 w 4716235"/>
              <a:gd name="connsiteY1851" fmla="*/ 4410549 h 4596459"/>
              <a:gd name="connsiteX1852" fmla="*/ 965298 w 4716235"/>
              <a:gd name="connsiteY1852" fmla="*/ 4419387 h 4596459"/>
              <a:gd name="connsiteX1853" fmla="*/ 957121 w 4716235"/>
              <a:gd name="connsiteY1853" fmla="*/ 4411208 h 4596459"/>
              <a:gd name="connsiteX1854" fmla="*/ 948945 w 4716235"/>
              <a:gd name="connsiteY1854" fmla="*/ 4419387 h 4596459"/>
              <a:gd name="connsiteX1855" fmla="*/ 941429 w 4716235"/>
              <a:gd name="connsiteY1855" fmla="*/ 4411869 h 4596459"/>
              <a:gd name="connsiteX1856" fmla="*/ 933583 w 4716235"/>
              <a:gd name="connsiteY1856" fmla="*/ 4419714 h 4596459"/>
              <a:gd name="connsiteX1857" fmla="*/ 926482 w 4716235"/>
              <a:gd name="connsiteY1857" fmla="*/ 4412613 h 4596459"/>
              <a:gd name="connsiteX1858" fmla="*/ 918716 w 4716235"/>
              <a:gd name="connsiteY1858" fmla="*/ 4420377 h 4596459"/>
              <a:gd name="connsiteX1859" fmla="*/ 912357 w 4716235"/>
              <a:gd name="connsiteY1859" fmla="*/ 4414018 h 4596459"/>
              <a:gd name="connsiteX1860" fmla="*/ 904511 w 4716235"/>
              <a:gd name="connsiteY1860" fmla="*/ 4421863 h 4596459"/>
              <a:gd name="connsiteX1861" fmla="*/ 898813 w 4716235"/>
              <a:gd name="connsiteY1861" fmla="*/ 4416165 h 4596459"/>
              <a:gd name="connsiteX1862" fmla="*/ 890801 w 4716235"/>
              <a:gd name="connsiteY1862" fmla="*/ 4424175 h 4596459"/>
              <a:gd name="connsiteX1863" fmla="*/ 885763 w 4716235"/>
              <a:gd name="connsiteY1863" fmla="*/ 4419137 h 4596459"/>
              <a:gd name="connsiteX1864" fmla="*/ 877255 w 4716235"/>
              <a:gd name="connsiteY1864" fmla="*/ 4427645 h 4596459"/>
              <a:gd name="connsiteX1865" fmla="*/ 872961 w 4716235"/>
              <a:gd name="connsiteY1865" fmla="*/ 4423351 h 4596459"/>
              <a:gd name="connsiteX1866" fmla="*/ 864042 w 4716235"/>
              <a:gd name="connsiteY1866" fmla="*/ 4432270 h 4596459"/>
              <a:gd name="connsiteX1867" fmla="*/ 853306 w 4716235"/>
              <a:gd name="connsiteY1867" fmla="*/ 4421532 h 4596459"/>
              <a:gd name="connsiteX1868" fmla="*/ 864042 w 4716235"/>
              <a:gd name="connsiteY1868" fmla="*/ 4410795 h 4596459"/>
              <a:gd name="connsiteX1869" fmla="*/ 868336 w 4716235"/>
              <a:gd name="connsiteY1869" fmla="*/ 4415089 h 4596459"/>
              <a:gd name="connsiteX1870" fmla="*/ 877255 w 4716235"/>
              <a:gd name="connsiteY1870" fmla="*/ 4406170 h 4596459"/>
              <a:gd name="connsiteX1871" fmla="*/ 882295 w 4716235"/>
              <a:gd name="connsiteY1871" fmla="*/ 4411210 h 4596459"/>
              <a:gd name="connsiteX1872" fmla="*/ 890801 w 4716235"/>
              <a:gd name="connsiteY1872" fmla="*/ 4402702 h 4596459"/>
              <a:gd name="connsiteX1873" fmla="*/ 896499 w 4716235"/>
              <a:gd name="connsiteY1873" fmla="*/ 4408401 h 4596459"/>
              <a:gd name="connsiteX1874" fmla="*/ 904511 w 4716235"/>
              <a:gd name="connsiteY1874" fmla="*/ 4400389 h 4596459"/>
              <a:gd name="connsiteX1875" fmla="*/ 910871 w 4716235"/>
              <a:gd name="connsiteY1875" fmla="*/ 4406748 h 4596459"/>
              <a:gd name="connsiteX1876" fmla="*/ 918716 w 4716235"/>
              <a:gd name="connsiteY1876" fmla="*/ 4398902 h 4596459"/>
              <a:gd name="connsiteX1877" fmla="*/ 925819 w 4716235"/>
              <a:gd name="connsiteY1877" fmla="*/ 4406006 h 4596459"/>
              <a:gd name="connsiteX1878" fmla="*/ 933583 w 4716235"/>
              <a:gd name="connsiteY1878" fmla="*/ 4398242 h 4596459"/>
              <a:gd name="connsiteX1879" fmla="*/ 941099 w 4716235"/>
              <a:gd name="connsiteY1879" fmla="*/ 4405758 h 4596459"/>
              <a:gd name="connsiteX1880" fmla="*/ 948945 w 4716235"/>
              <a:gd name="connsiteY1880" fmla="*/ 4397912 h 4596459"/>
              <a:gd name="connsiteX1881" fmla="*/ 957121 w 4716235"/>
              <a:gd name="connsiteY1881" fmla="*/ 4406089 h 4596459"/>
              <a:gd name="connsiteX1882" fmla="*/ 965298 w 4716235"/>
              <a:gd name="connsiteY1882" fmla="*/ 4397912 h 4596459"/>
              <a:gd name="connsiteX1883" fmla="*/ 973971 w 4716235"/>
              <a:gd name="connsiteY1883" fmla="*/ 4406583 h 4596459"/>
              <a:gd name="connsiteX1884" fmla="*/ 982806 w 4716235"/>
              <a:gd name="connsiteY1884" fmla="*/ 4397747 h 4596459"/>
              <a:gd name="connsiteX1885" fmla="*/ 991892 w 4716235"/>
              <a:gd name="connsiteY1885" fmla="*/ 4406831 h 4596459"/>
              <a:gd name="connsiteX1886" fmla="*/ 1001307 w 4716235"/>
              <a:gd name="connsiteY1886" fmla="*/ 4397416 h 4596459"/>
              <a:gd name="connsiteX1887" fmla="*/ 1010807 w 4716235"/>
              <a:gd name="connsiteY1887" fmla="*/ 4406914 h 4596459"/>
              <a:gd name="connsiteX1888" fmla="*/ 2423023 w 4716235"/>
              <a:gd name="connsiteY1888" fmla="*/ 4395599 h 4596459"/>
              <a:gd name="connsiteX1889" fmla="*/ 2433761 w 4716235"/>
              <a:gd name="connsiteY1889" fmla="*/ 4406335 h 4596459"/>
              <a:gd name="connsiteX1890" fmla="*/ 2423023 w 4716235"/>
              <a:gd name="connsiteY1890" fmla="*/ 4417071 h 4596459"/>
              <a:gd name="connsiteX1891" fmla="*/ 2412286 w 4716235"/>
              <a:gd name="connsiteY1891" fmla="*/ 4406335 h 4596459"/>
              <a:gd name="connsiteX1892" fmla="*/ 2423023 w 4716235"/>
              <a:gd name="connsiteY1892" fmla="*/ 4395599 h 4596459"/>
              <a:gd name="connsiteX1893" fmla="*/ 2253546 w 4716235"/>
              <a:gd name="connsiteY1893" fmla="*/ 4395269 h 4596459"/>
              <a:gd name="connsiteX1894" fmla="*/ 2264284 w 4716235"/>
              <a:gd name="connsiteY1894" fmla="*/ 4406006 h 4596459"/>
              <a:gd name="connsiteX1895" fmla="*/ 2253546 w 4716235"/>
              <a:gd name="connsiteY1895" fmla="*/ 4416744 h 4596459"/>
              <a:gd name="connsiteX1896" fmla="*/ 2242809 w 4716235"/>
              <a:gd name="connsiteY1896" fmla="*/ 4406006 h 4596459"/>
              <a:gd name="connsiteX1897" fmla="*/ 2253546 w 4716235"/>
              <a:gd name="connsiteY1897" fmla="*/ 4395269 h 4596459"/>
              <a:gd name="connsiteX1898" fmla="*/ 1043097 w 4716235"/>
              <a:gd name="connsiteY1898" fmla="*/ 4394277 h 4596459"/>
              <a:gd name="connsiteX1899" fmla="*/ 1053835 w 4716235"/>
              <a:gd name="connsiteY1899" fmla="*/ 4405014 h 4596459"/>
              <a:gd name="connsiteX1900" fmla="*/ 1043097 w 4716235"/>
              <a:gd name="connsiteY1900" fmla="*/ 4415752 h 4596459"/>
              <a:gd name="connsiteX1901" fmla="*/ 1032361 w 4716235"/>
              <a:gd name="connsiteY1901" fmla="*/ 4405014 h 4596459"/>
              <a:gd name="connsiteX1902" fmla="*/ 1043097 w 4716235"/>
              <a:gd name="connsiteY1902" fmla="*/ 4394277 h 4596459"/>
              <a:gd name="connsiteX1903" fmla="*/ 2100093 w 4716235"/>
              <a:gd name="connsiteY1903" fmla="*/ 4393617 h 4596459"/>
              <a:gd name="connsiteX1904" fmla="*/ 2110829 w 4716235"/>
              <a:gd name="connsiteY1904" fmla="*/ 4404353 h 4596459"/>
              <a:gd name="connsiteX1905" fmla="*/ 2100093 w 4716235"/>
              <a:gd name="connsiteY1905" fmla="*/ 4415089 h 4596459"/>
              <a:gd name="connsiteX1906" fmla="*/ 2089356 w 4716235"/>
              <a:gd name="connsiteY1906" fmla="*/ 4404353 h 4596459"/>
              <a:gd name="connsiteX1907" fmla="*/ 2100093 w 4716235"/>
              <a:gd name="connsiteY1907" fmla="*/ 4393617 h 4596459"/>
              <a:gd name="connsiteX1908" fmla="*/ 1066719 w 4716235"/>
              <a:gd name="connsiteY1908" fmla="*/ 4390974 h 4596459"/>
              <a:gd name="connsiteX1909" fmla="*/ 1077455 w 4716235"/>
              <a:gd name="connsiteY1909" fmla="*/ 4401710 h 4596459"/>
              <a:gd name="connsiteX1910" fmla="*/ 1066719 w 4716235"/>
              <a:gd name="connsiteY1910" fmla="*/ 4412446 h 4596459"/>
              <a:gd name="connsiteX1911" fmla="*/ 1055982 w 4716235"/>
              <a:gd name="connsiteY1911" fmla="*/ 4401710 h 4596459"/>
              <a:gd name="connsiteX1912" fmla="*/ 1066719 w 4716235"/>
              <a:gd name="connsiteY1912" fmla="*/ 4390974 h 4596459"/>
              <a:gd name="connsiteX1913" fmla="*/ 729584 w 4716235"/>
              <a:gd name="connsiteY1913" fmla="*/ 4390479 h 4596459"/>
              <a:gd name="connsiteX1914" fmla="*/ 729915 w 4716235"/>
              <a:gd name="connsiteY1914" fmla="*/ 4390809 h 4596459"/>
              <a:gd name="connsiteX1915" fmla="*/ 729584 w 4716235"/>
              <a:gd name="connsiteY1915" fmla="*/ 4391140 h 4596459"/>
              <a:gd name="connsiteX1916" fmla="*/ 729254 w 4716235"/>
              <a:gd name="connsiteY1916" fmla="*/ 4390809 h 4596459"/>
              <a:gd name="connsiteX1917" fmla="*/ 729584 w 4716235"/>
              <a:gd name="connsiteY1917" fmla="*/ 4390479 h 4596459"/>
              <a:gd name="connsiteX1918" fmla="*/ 1407653 w 4716235"/>
              <a:gd name="connsiteY1918" fmla="*/ 4388166 h 4596459"/>
              <a:gd name="connsiteX1919" fmla="*/ 1418389 w 4716235"/>
              <a:gd name="connsiteY1919" fmla="*/ 4398902 h 4596459"/>
              <a:gd name="connsiteX1920" fmla="*/ 1407653 w 4716235"/>
              <a:gd name="connsiteY1920" fmla="*/ 4409641 h 4596459"/>
              <a:gd name="connsiteX1921" fmla="*/ 1396916 w 4716235"/>
              <a:gd name="connsiteY1921" fmla="*/ 4398902 h 4596459"/>
              <a:gd name="connsiteX1922" fmla="*/ 1407653 w 4716235"/>
              <a:gd name="connsiteY1922" fmla="*/ 4388166 h 4596459"/>
              <a:gd name="connsiteX1923" fmla="*/ 2393125 w 4716235"/>
              <a:gd name="connsiteY1923" fmla="*/ 4388001 h 4596459"/>
              <a:gd name="connsiteX1924" fmla="*/ 2403864 w 4716235"/>
              <a:gd name="connsiteY1924" fmla="*/ 4398738 h 4596459"/>
              <a:gd name="connsiteX1925" fmla="*/ 2393125 w 4716235"/>
              <a:gd name="connsiteY1925" fmla="*/ 4409476 h 4596459"/>
              <a:gd name="connsiteX1926" fmla="*/ 2382389 w 4716235"/>
              <a:gd name="connsiteY1926" fmla="*/ 4398738 h 4596459"/>
              <a:gd name="connsiteX1927" fmla="*/ 2393125 w 4716235"/>
              <a:gd name="connsiteY1927" fmla="*/ 4388001 h 4596459"/>
              <a:gd name="connsiteX1928" fmla="*/ 1257007 w 4716235"/>
              <a:gd name="connsiteY1928" fmla="*/ 4387505 h 4596459"/>
              <a:gd name="connsiteX1929" fmla="*/ 1267745 w 4716235"/>
              <a:gd name="connsiteY1929" fmla="*/ 4398242 h 4596459"/>
              <a:gd name="connsiteX1930" fmla="*/ 1257007 w 4716235"/>
              <a:gd name="connsiteY1930" fmla="*/ 4408980 h 4596459"/>
              <a:gd name="connsiteX1931" fmla="*/ 1246271 w 4716235"/>
              <a:gd name="connsiteY1931" fmla="*/ 4398242 h 4596459"/>
              <a:gd name="connsiteX1932" fmla="*/ 1257007 w 4716235"/>
              <a:gd name="connsiteY1932" fmla="*/ 4387505 h 4596459"/>
              <a:gd name="connsiteX1933" fmla="*/ 2872812 w 4716235"/>
              <a:gd name="connsiteY1933" fmla="*/ 4386515 h 4596459"/>
              <a:gd name="connsiteX1934" fmla="*/ 2876447 w 4716235"/>
              <a:gd name="connsiteY1934" fmla="*/ 4390148 h 4596459"/>
              <a:gd name="connsiteX1935" fmla="*/ 2872812 w 4716235"/>
              <a:gd name="connsiteY1935" fmla="*/ 4393783 h 4596459"/>
              <a:gd name="connsiteX1936" fmla="*/ 2869179 w 4716235"/>
              <a:gd name="connsiteY1936" fmla="*/ 4390148 h 4596459"/>
              <a:gd name="connsiteX1937" fmla="*/ 2872812 w 4716235"/>
              <a:gd name="connsiteY1937" fmla="*/ 4386515 h 4596459"/>
              <a:gd name="connsiteX1938" fmla="*/ 1092322 w 4716235"/>
              <a:gd name="connsiteY1938" fmla="*/ 4385854 h 4596459"/>
              <a:gd name="connsiteX1939" fmla="*/ 1103060 w 4716235"/>
              <a:gd name="connsiteY1939" fmla="*/ 4396591 h 4596459"/>
              <a:gd name="connsiteX1940" fmla="*/ 1092322 w 4716235"/>
              <a:gd name="connsiteY1940" fmla="*/ 4407327 h 4596459"/>
              <a:gd name="connsiteX1941" fmla="*/ 1081586 w 4716235"/>
              <a:gd name="connsiteY1941" fmla="*/ 4396591 h 4596459"/>
              <a:gd name="connsiteX1942" fmla="*/ 1092322 w 4716235"/>
              <a:gd name="connsiteY1942" fmla="*/ 4385854 h 4596459"/>
              <a:gd name="connsiteX1943" fmla="*/ 1812513 w 4716235"/>
              <a:gd name="connsiteY1943" fmla="*/ 4384698 h 4596459"/>
              <a:gd name="connsiteX1944" fmla="*/ 1823251 w 4716235"/>
              <a:gd name="connsiteY1944" fmla="*/ 4395434 h 4596459"/>
              <a:gd name="connsiteX1945" fmla="*/ 1812513 w 4716235"/>
              <a:gd name="connsiteY1945" fmla="*/ 4406170 h 4596459"/>
              <a:gd name="connsiteX1946" fmla="*/ 1801776 w 4716235"/>
              <a:gd name="connsiteY1946" fmla="*/ 4395434 h 4596459"/>
              <a:gd name="connsiteX1947" fmla="*/ 1812513 w 4716235"/>
              <a:gd name="connsiteY1947" fmla="*/ 4384698 h 4596459"/>
              <a:gd name="connsiteX1948" fmla="*/ 2584901 w 4716235"/>
              <a:gd name="connsiteY1948" fmla="*/ 4384202 h 4596459"/>
              <a:gd name="connsiteX1949" fmla="*/ 2594565 w 4716235"/>
              <a:gd name="connsiteY1949" fmla="*/ 4393865 h 4596459"/>
              <a:gd name="connsiteX1950" fmla="*/ 2603236 w 4716235"/>
              <a:gd name="connsiteY1950" fmla="*/ 4385194 h 4596459"/>
              <a:gd name="connsiteX1951" fmla="*/ 2611990 w 4716235"/>
              <a:gd name="connsiteY1951" fmla="*/ 4393946 h 4596459"/>
              <a:gd name="connsiteX1952" fmla="*/ 2620248 w 4716235"/>
              <a:gd name="connsiteY1952" fmla="*/ 4385688 h 4596459"/>
              <a:gd name="connsiteX1953" fmla="*/ 2628427 w 4716235"/>
              <a:gd name="connsiteY1953" fmla="*/ 4393865 h 4596459"/>
              <a:gd name="connsiteX1954" fmla="*/ 2636272 w 4716235"/>
              <a:gd name="connsiteY1954" fmla="*/ 4386019 h 4596459"/>
              <a:gd name="connsiteX1955" fmla="*/ 2643871 w 4716235"/>
              <a:gd name="connsiteY1955" fmla="*/ 4393617 h 4596459"/>
              <a:gd name="connsiteX1956" fmla="*/ 2651304 w 4716235"/>
              <a:gd name="connsiteY1956" fmla="*/ 4386184 h 4596459"/>
              <a:gd name="connsiteX1957" fmla="*/ 2658655 w 4716235"/>
              <a:gd name="connsiteY1957" fmla="*/ 4393533 h 4596459"/>
              <a:gd name="connsiteX1958" fmla="*/ 2665509 w 4716235"/>
              <a:gd name="connsiteY1958" fmla="*/ 4386680 h 4596459"/>
              <a:gd name="connsiteX1959" fmla="*/ 2672777 w 4716235"/>
              <a:gd name="connsiteY1959" fmla="*/ 4393946 h 4596459"/>
              <a:gd name="connsiteX1960" fmla="*/ 2679053 w 4716235"/>
              <a:gd name="connsiteY1960" fmla="*/ 4387670 h 4596459"/>
              <a:gd name="connsiteX1961" fmla="*/ 2686487 w 4716235"/>
              <a:gd name="connsiteY1961" fmla="*/ 4395103 h 4596459"/>
              <a:gd name="connsiteX1962" fmla="*/ 2692267 w 4716235"/>
              <a:gd name="connsiteY1962" fmla="*/ 4389323 h 4596459"/>
              <a:gd name="connsiteX1963" fmla="*/ 2700031 w 4716235"/>
              <a:gd name="connsiteY1963" fmla="*/ 4397087 h 4596459"/>
              <a:gd name="connsiteX1964" fmla="*/ 2704988 w 4716235"/>
              <a:gd name="connsiteY1964" fmla="*/ 4392130 h 4596459"/>
              <a:gd name="connsiteX1965" fmla="*/ 2713164 w 4716235"/>
              <a:gd name="connsiteY1965" fmla="*/ 4400305 h 4596459"/>
              <a:gd name="connsiteX1966" fmla="*/ 2717706 w 4716235"/>
              <a:gd name="connsiteY1966" fmla="*/ 4395764 h 4596459"/>
              <a:gd name="connsiteX1967" fmla="*/ 2726462 w 4716235"/>
              <a:gd name="connsiteY1967" fmla="*/ 4404518 h 4596459"/>
              <a:gd name="connsiteX1968" fmla="*/ 2730095 w 4716235"/>
              <a:gd name="connsiteY1968" fmla="*/ 4400885 h 4596459"/>
              <a:gd name="connsiteX1969" fmla="*/ 2739593 w 4716235"/>
              <a:gd name="connsiteY1969" fmla="*/ 4410383 h 4596459"/>
              <a:gd name="connsiteX1970" fmla="*/ 2742649 w 4716235"/>
              <a:gd name="connsiteY1970" fmla="*/ 4407327 h 4596459"/>
              <a:gd name="connsiteX1971" fmla="*/ 2753056 w 4716235"/>
              <a:gd name="connsiteY1971" fmla="*/ 4417734 h 4596459"/>
              <a:gd name="connsiteX1972" fmla="*/ 2755203 w 4716235"/>
              <a:gd name="connsiteY1972" fmla="*/ 4415587 h 4596459"/>
              <a:gd name="connsiteX1973" fmla="*/ 2765610 w 4716235"/>
              <a:gd name="connsiteY1973" fmla="*/ 4425994 h 4596459"/>
              <a:gd name="connsiteX1974" fmla="*/ 2755203 w 4716235"/>
              <a:gd name="connsiteY1974" fmla="*/ 4436401 h 4596459"/>
              <a:gd name="connsiteX1975" fmla="*/ 2745125 w 4716235"/>
              <a:gd name="connsiteY1975" fmla="*/ 4426323 h 4596459"/>
              <a:gd name="connsiteX1976" fmla="*/ 2742649 w 4716235"/>
              <a:gd name="connsiteY1976" fmla="*/ 4428800 h 4596459"/>
              <a:gd name="connsiteX1977" fmla="*/ 2733151 w 4716235"/>
              <a:gd name="connsiteY1977" fmla="*/ 4419302 h 4596459"/>
              <a:gd name="connsiteX1978" fmla="*/ 2730095 w 4716235"/>
              <a:gd name="connsiteY1978" fmla="*/ 4422357 h 4596459"/>
              <a:gd name="connsiteX1979" fmla="*/ 2721341 w 4716235"/>
              <a:gd name="connsiteY1979" fmla="*/ 4413603 h 4596459"/>
              <a:gd name="connsiteX1980" fmla="*/ 2717706 w 4716235"/>
              <a:gd name="connsiteY1980" fmla="*/ 4417238 h 4596459"/>
              <a:gd name="connsiteX1981" fmla="*/ 2709531 w 4716235"/>
              <a:gd name="connsiteY1981" fmla="*/ 4409061 h 4596459"/>
              <a:gd name="connsiteX1982" fmla="*/ 2704988 w 4716235"/>
              <a:gd name="connsiteY1982" fmla="*/ 4413605 h 4596459"/>
              <a:gd name="connsiteX1983" fmla="*/ 2697224 w 4716235"/>
              <a:gd name="connsiteY1983" fmla="*/ 4405841 h 4596459"/>
              <a:gd name="connsiteX1984" fmla="*/ 2692267 w 4716235"/>
              <a:gd name="connsiteY1984" fmla="*/ 4410795 h 4596459"/>
              <a:gd name="connsiteX1985" fmla="*/ 2684835 w 4716235"/>
              <a:gd name="connsiteY1985" fmla="*/ 4403363 h 4596459"/>
              <a:gd name="connsiteX1986" fmla="*/ 2679053 w 4716235"/>
              <a:gd name="connsiteY1986" fmla="*/ 4409145 h 4596459"/>
              <a:gd name="connsiteX1987" fmla="*/ 2671787 w 4716235"/>
              <a:gd name="connsiteY1987" fmla="*/ 4401877 h 4596459"/>
              <a:gd name="connsiteX1988" fmla="*/ 2665509 w 4716235"/>
              <a:gd name="connsiteY1988" fmla="*/ 4408153 h 4596459"/>
              <a:gd name="connsiteX1989" fmla="*/ 2658159 w 4716235"/>
              <a:gd name="connsiteY1989" fmla="*/ 4400803 h 4596459"/>
              <a:gd name="connsiteX1990" fmla="*/ 2651304 w 4716235"/>
              <a:gd name="connsiteY1990" fmla="*/ 4407657 h 4596459"/>
              <a:gd name="connsiteX1991" fmla="*/ 2643707 w 4716235"/>
              <a:gd name="connsiteY1991" fmla="*/ 4400059 h 4596459"/>
              <a:gd name="connsiteX1992" fmla="*/ 2636272 w 4716235"/>
              <a:gd name="connsiteY1992" fmla="*/ 4407494 h 4596459"/>
              <a:gd name="connsiteX1993" fmla="*/ 2628095 w 4716235"/>
              <a:gd name="connsiteY1993" fmla="*/ 4399315 h 4596459"/>
              <a:gd name="connsiteX1994" fmla="*/ 2620248 w 4716235"/>
              <a:gd name="connsiteY1994" fmla="*/ 4407161 h 4596459"/>
              <a:gd name="connsiteX1995" fmla="*/ 2611496 w 4716235"/>
              <a:gd name="connsiteY1995" fmla="*/ 4398408 h 4596459"/>
              <a:gd name="connsiteX1996" fmla="*/ 2603236 w 4716235"/>
              <a:gd name="connsiteY1996" fmla="*/ 4406666 h 4596459"/>
              <a:gd name="connsiteX1997" fmla="*/ 2593573 w 4716235"/>
              <a:gd name="connsiteY1997" fmla="*/ 4397003 h 4596459"/>
              <a:gd name="connsiteX1998" fmla="*/ 2584901 w 4716235"/>
              <a:gd name="connsiteY1998" fmla="*/ 4405674 h 4596459"/>
              <a:gd name="connsiteX1999" fmla="*/ 2574164 w 4716235"/>
              <a:gd name="connsiteY1999" fmla="*/ 4394938 h 4596459"/>
              <a:gd name="connsiteX2000" fmla="*/ 2584901 w 4716235"/>
              <a:gd name="connsiteY2000" fmla="*/ 4384202 h 4596459"/>
              <a:gd name="connsiteX2001" fmla="*/ 1692261 w 4716235"/>
              <a:gd name="connsiteY2001" fmla="*/ 4383706 h 4596459"/>
              <a:gd name="connsiteX2002" fmla="*/ 1702999 w 4716235"/>
              <a:gd name="connsiteY2002" fmla="*/ 4394442 h 4596459"/>
              <a:gd name="connsiteX2003" fmla="*/ 1692261 w 4716235"/>
              <a:gd name="connsiteY2003" fmla="*/ 4405178 h 4596459"/>
              <a:gd name="connsiteX2004" fmla="*/ 1681524 w 4716235"/>
              <a:gd name="connsiteY2004" fmla="*/ 4394442 h 4596459"/>
              <a:gd name="connsiteX2005" fmla="*/ 1692261 w 4716235"/>
              <a:gd name="connsiteY2005" fmla="*/ 4383706 h 4596459"/>
              <a:gd name="connsiteX2006" fmla="*/ 2564914 w 4716235"/>
              <a:gd name="connsiteY2006" fmla="*/ 4382220 h 4596459"/>
              <a:gd name="connsiteX2007" fmla="*/ 2575652 w 4716235"/>
              <a:gd name="connsiteY2007" fmla="*/ 4392956 h 4596459"/>
              <a:gd name="connsiteX2008" fmla="*/ 2564914 w 4716235"/>
              <a:gd name="connsiteY2008" fmla="*/ 4403692 h 4596459"/>
              <a:gd name="connsiteX2009" fmla="*/ 2554178 w 4716235"/>
              <a:gd name="connsiteY2009" fmla="*/ 4392956 h 4596459"/>
              <a:gd name="connsiteX2010" fmla="*/ 2564914 w 4716235"/>
              <a:gd name="connsiteY2010" fmla="*/ 4382220 h 4596459"/>
              <a:gd name="connsiteX2011" fmla="*/ 1932600 w 4716235"/>
              <a:gd name="connsiteY2011" fmla="*/ 4381559 h 4596459"/>
              <a:gd name="connsiteX2012" fmla="*/ 1943336 w 4716235"/>
              <a:gd name="connsiteY2012" fmla="*/ 4392295 h 4596459"/>
              <a:gd name="connsiteX2013" fmla="*/ 1932600 w 4716235"/>
              <a:gd name="connsiteY2013" fmla="*/ 4403032 h 4596459"/>
              <a:gd name="connsiteX2014" fmla="*/ 1921863 w 4716235"/>
              <a:gd name="connsiteY2014" fmla="*/ 4392295 h 4596459"/>
              <a:gd name="connsiteX2015" fmla="*/ 1932600 w 4716235"/>
              <a:gd name="connsiteY2015" fmla="*/ 4381559 h 4596459"/>
              <a:gd name="connsiteX2016" fmla="*/ 2213573 w 4716235"/>
              <a:gd name="connsiteY2016" fmla="*/ 4380898 h 4596459"/>
              <a:gd name="connsiteX2017" fmla="*/ 2224311 w 4716235"/>
              <a:gd name="connsiteY2017" fmla="*/ 4391634 h 4596459"/>
              <a:gd name="connsiteX2018" fmla="*/ 2213573 w 4716235"/>
              <a:gd name="connsiteY2018" fmla="*/ 4402373 h 4596459"/>
              <a:gd name="connsiteX2019" fmla="*/ 2202836 w 4716235"/>
              <a:gd name="connsiteY2019" fmla="*/ 4391634 h 4596459"/>
              <a:gd name="connsiteX2020" fmla="*/ 2213573 w 4716235"/>
              <a:gd name="connsiteY2020" fmla="*/ 4380898 h 4596459"/>
              <a:gd name="connsiteX2021" fmla="*/ 2543275 w 4716235"/>
              <a:gd name="connsiteY2021" fmla="*/ 4378751 h 4596459"/>
              <a:gd name="connsiteX2022" fmla="*/ 2554011 w 4716235"/>
              <a:gd name="connsiteY2022" fmla="*/ 4389488 h 4596459"/>
              <a:gd name="connsiteX2023" fmla="*/ 2543275 w 4716235"/>
              <a:gd name="connsiteY2023" fmla="*/ 4400226 h 4596459"/>
              <a:gd name="connsiteX2024" fmla="*/ 2532538 w 4716235"/>
              <a:gd name="connsiteY2024" fmla="*/ 4389488 h 4596459"/>
              <a:gd name="connsiteX2025" fmla="*/ 2543275 w 4716235"/>
              <a:gd name="connsiteY2025" fmla="*/ 4378751 h 4596459"/>
              <a:gd name="connsiteX2026" fmla="*/ 1572338 w 4716235"/>
              <a:gd name="connsiteY2026" fmla="*/ 4378586 h 4596459"/>
              <a:gd name="connsiteX2027" fmla="*/ 1583076 w 4716235"/>
              <a:gd name="connsiteY2027" fmla="*/ 4389323 h 4596459"/>
              <a:gd name="connsiteX2028" fmla="*/ 1572338 w 4716235"/>
              <a:gd name="connsiteY2028" fmla="*/ 4400059 h 4596459"/>
              <a:gd name="connsiteX2029" fmla="*/ 1561602 w 4716235"/>
              <a:gd name="connsiteY2029" fmla="*/ 4389323 h 4596459"/>
              <a:gd name="connsiteX2030" fmla="*/ 1572338 w 4716235"/>
              <a:gd name="connsiteY2030" fmla="*/ 4378586 h 4596459"/>
              <a:gd name="connsiteX2031" fmla="*/ 1120238 w 4716235"/>
              <a:gd name="connsiteY2031" fmla="*/ 4378586 h 4596459"/>
              <a:gd name="connsiteX2032" fmla="*/ 1130975 w 4716235"/>
              <a:gd name="connsiteY2032" fmla="*/ 4389323 h 4596459"/>
              <a:gd name="connsiteX2033" fmla="*/ 1120238 w 4716235"/>
              <a:gd name="connsiteY2033" fmla="*/ 4400059 h 4596459"/>
              <a:gd name="connsiteX2034" fmla="*/ 1109501 w 4716235"/>
              <a:gd name="connsiteY2034" fmla="*/ 4389323 h 4596459"/>
              <a:gd name="connsiteX2035" fmla="*/ 1120238 w 4716235"/>
              <a:gd name="connsiteY2035" fmla="*/ 4378586 h 4596459"/>
              <a:gd name="connsiteX2036" fmla="*/ 2360750 w 4716235"/>
              <a:gd name="connsiteY2036" fmla="*/ 4377759 h 4596459"/>
              <a:gd name="connsiteX2037" fmla="*/ 2371488 w 4716235"/>
              <a:gd name="connsiteY2037" fmla="*/ 4388496 h 4596459"/>
              <a:gd name="connsiteX2038" fmla="*/ 2360750 w 4716235"/>
              <a:gd name="connsiteY2038" fmla="*/ 4399234 h 4596459"/>
              <a:gd name="connsiteX2039" fmla="*/ 2350013 w 4716235"/>
              <a:gd name="connsiteY2039" fmla="*/ 4388496 h 4596459"/>
              <a:gd name="connsiteX2040" fmla="*/ 2360750 w 4716235"/>
              <a:gd name="connsiteY2040" fmla="*/ 4377759 h 4596459"/>
              <a:gd name="connsiteX2041" fmla="*/ 2051860 w 4716235"/>
              <a:gd name="connsiteY2041" fmla="*/ 4374126 h 4596459"/>
              <a:gd name="connsiteX2042" fmla="*/ 2062596 w 4716235"/>
              <a:gd name="connsiteY2042" fmla="*/ 4384862 h 4596459"/>
              <a:gd name="connsiteX2043" fmla="*/ 2051860 w 4716235"/>
              <a:gd name="connsiteY2043" fmla="*/ 4395601 h 4596459"/>
              <a:gd name="connsiteX2044" fmla="*/ 2041123 w 4716235"/>
              <a:gd name="connsiteY2044" fmla="*/ 4384862 h 4596459"/>
              <a:gd name="connsiteX2045" fmla="*/ 2051860 w 4716235"/>
              <a:gd name="connsiteY2045" fmla="*/ 4374126 h 4596459"/>
              <a:gd name="connsiteX2046" fmla="*/ 2519654 w 4716235"/>
              <a:gd name="connsiteY2046" fmla="*/ 4373795 h 4596459"/>
              <a:gd name="connsiteX2047" fmla="*/ 2530391 w 4716235"/>
              <a:gd name="connsiteY2047" fmla="*/ 4384531 h 4596459"/>
              <a:gd name="connsiteX2048" fmla="*/ 2519654 w 4716235"/>
              <a:gd name="connsiteY2048" fmla="*/ 4395268 h 4596459"/>
              <a:gd name="connsiteX2049" fmla="*/ 2508917 w 4716235"/>
              <a:gd name="connsiteY2049" fmla="*/ 4384531 h 4596459"/>
              <a:gd name="connsiteX2050" fmla="*/ 2519654 w 4716235"/>
              <a:gd name="connsiteY2050" fmla="*/ 4373795 h 4596459"/>
              <a:gd name="connsiteX2051" fmla="*/ 1294835 w 4716235"/>
              <a:gd name="connsiteY2051" fmla="*/ 4373795 h 4596459"/>
              <a:gd name="connsiteX2052" fmla="*/ 1305572 w 4716235"/>
              <a:gd name="connsiteY2052" fmla="*/ 4384531 h 4596459"/>
              <a:gd name="connsiteX2053" fmla="*/ 1294835 w 4716235"/>
              <a:gd name="connsiteY2053" fmla="*/ 4395268 h 4596459"/>
              <a:gd name="connsiteX2054" fmla="*/ 1284099 w 4716235"/>
              <a:gd name="connsiteY2054" fmla="*/ 4384531 h 4596459"/>
              <a:gd name="connsiteX2055" fmla="*/ 1294835 w 4716235"/>
              <a:gd name="connsiteY2055" fmla="*/ 4373795 h 4596459"/>
              <a:gd name="connsiteX2056" fmla="*/ 2930130 w 4716235"/>
              <a:gd name="connsiteY2056" fmla="*/ 4371152 h 4596459"/>
              <a:gd name="connsiteX2057" fmla="*/ 2930624 w 4716235"/>
              <a:gd name="connsiteY2057" fmla="*/ 4371648 h 4596459"/>
              <a:gd name="connsiteX2058" fmla="*/ 2930130 w 4716235"/>
              <a:gd name="connsiteY2058" fmla="*/ 4372142 h 4596459"/>
              <a:gd name="connsiteX2059" fmla="*/ 2929634 w 4716235"/>
              <a:gd name="connsiteY2059" fmla="*/ 4371648 h 4596459"/>
              <a:gd name="connsiteX2060" fmla="*/ 2930130 w 4716235"/>
              <a:gd name="connsiteY2060" fmla="*/ 4371152 h 4596459"/>
              <a:gd name="connsiteX2061" fmla="*/ 954891 w 4716235"/>
              <a:gd name="connsiteY2061" fmla="*/ 4370987 h 4596459"/>
              <a:gd name="connsiteX2062" fmla="*/ 965628 w 4716235"/>
              <a:gd name="connsiteY2062" fmla="*/ 4381724 h 4596459"/>
              <a:gd name="connsiteX2063" fmla="*/ 954891 w 4716235"/>
              <a:gd name="connsiteY2063" fmla="*/ 4392462 h 4596459"/>
              <a:gd name="connsiteX2064" fmla="*/ 946796 w 4716235"/>
              <a:gd name="connsiteY2064" fmla="*/ 4384366 h 4596459"/>
              <a:gd name="connsiteX2065" fmla="*/ 936556 w 4716235"/>
              <a:gd name="connsiteY2065" fmla="*/ 4394609 h 4596459"/>
              <a:gd name="connsiteX2066" fmla="*/ 928627 w 4716235"/>
              <a:gd name="connsiteY2066" fmla="*/ 4386680 h 4596459"/>
              <a:gd name="connsiteX2067" fmla="*/ 919543 w 4716235"/>
              <a:gd name="connsiteY2067" fmla="*/ 4395764 h 4596459"/>
              <a:gd name="connsiteX2068" fmla="*/ 911946 w 4716235"/>
              <a:gd name="connsiteY2068" fmla="*/ 4388166 h 4596459"/>
              <a:gd name="connsiteX2069" fmla="*/ 903851 w 4716235"/>
              <a:gd name="connsiteY2069" fmla="*/ 4396260 h 4596459"/>
              <a:gd name="connsiteX2070" fmla="*/ 896666 w 4716235"/>
              <a:gd name="connsiteY2070" fmla="*/ 4389075 h 4596459"/>
              <a:gd name="connsiteX2071" fmla="*/ 888984 w 4716235"/>
              <a:gd name="connsiteY2071" fmla="*/ 4396755 h 4596459"/>
              <a:gd name="connsiteX2072" fmla="*/ 882295 w 4716235"/>
              <a:gd name="connsiteY2072" fmla="*/ 4390067 h 4596459"/>
              <a:gd name="connsiteX2073" fmla="*/ 875275 w 4716235"/>
              <a:gd name="connsiteY2073" fmla="*/ 4397087 h 4596459"/>
              <a:gd name="connsiteX2074" fmla="*/ 869080 w 4716235"/>
              <a:gd name="connsiteY2074" fmla="*/ 4390892 h 4596459"/>
              <a:gd name="connsiteX2075" fmla="*/ 862060 w 4716235"/>
              <a:gd name="connsiteY2075" fmla="*/ 4397910 h 4596459"/>
              <a:gd name="connsiteX2076" fmla="*/ 856278 w 4716235"/>
              <a:gd name="connsiteY2076" fmla="*/ 4392129 h 4596459"/>
              <a:gd name="connsiteX2077" fmla="*/ 849340 w 4716235"/>
              <a:gd name="connsiteY2077" fmla="*/ 4399067 h 4596459"/>
              <a:gd name="connsiteX2078" fmla="*/ 844221 w 4716235"/>
              <a:gd name="connsiteY2078" fmla="*/ 4393948 h 4596459"/>
              <a:gd name="connsiteX2079" fmla="*/ 837117 w 4716235"/>
              <a:gd name="connsiteY2079" fmla="*/ 4401049 h 4596459"/>
              <a:gd name="connsiteX2080" fmla="*/ 832575 w 4716235"/>
              <a:gd name="connsiteY2080" fmla="*/ 4396508 h 4596459"/>
              <a:gd name="connsiteX2081" fmla="*/ 825060 w 4716235"/>
              <a:gd name="connsiteY2081" fmla="*/ 4404022 h 4596459"/>
              <a:gd name="connsiteX2082" fmla="*/ 821262 w 4716235"/>
              <a:gd name="connsiteY2082" fmla="*/ 4400224 h 4596459"/>
              <a:gd name="connsiteX2083" fmla="*/ 813331 w 4716235"/>
              <a:gd name="connsiteY2083" fmla="*/ 4408153 h 4596459"/>
              <a:gd name="connsiteX2084" fmla="*/ 810111 w 4716235"/>
              <a:gd name="connsiteY2084" fmla="*/ 4404932 h 4596459"/>
              <a:gd name="connsiteX2085" fmla="*/ 801438 w 4716235"/>
              <a:gd name="connsiteY2085" fmla="*/ 4413605 h 4596459"/>
              <a:gd name="connsiteX2086" fmla="*/ 790702 w 4716235"/>
              <a:gd name="connsiteY2086" fmla="*/ 4402867 h 4596459"/>
              <a:gd name="connsiteX2087" fmla="*/ 801438 w 4716235"/>
              <a:gd name="connsiteY2087" fmla="*/ 4392130 h 4596459"/>
              <a:gd name="connsiteX2088" fmla="*/ 804660 w 4716235"/>
              <a:gd name="connsiteY2088" fmla="*/ 4395353 h 4596459"/>
              <a:gd name="connsiteX2089" fmla="*/ 813331 w 4716235"/>
              <a:gd name="connsiteY2089" fmla="*/ 4386680 h 4596459"/>
              <a:gd name="connsiteX2090" fmla="*/ 817131 w 4716235"/>
              <a:gd name="connsiteY2090" fmla="*/ 4390479 h 4596459"/>
              <a:gd name="connsiteX2091" fmla="*/ 825060 w 4716235"/>
              <a:gd name="connsiteY2091" fmla="*/ 4382549 h 4596459"/>
              <a:gd name="connsiteX2092" fmla="*/ 829603 w 4716235"/>
              <a:gd name="connsiteY2092" fmla="*/ 4387093 h 4596459"/>
              <a:gd name="connsiteX2093" fmla="*/ 837117 w 4716235"/>
              <a:gd name="connsiteY2093" fmla="*/ 4379577 h 4596459"/>
              <a:gd name="connsiteX2094" fmla="*/ 842238 w 4716235"/>
              <a:gd name="connsiteY2094" fmla="*/ 4384698 h 4596459"/>
              <a:gd name="connsiteX2095" fmla="*/ 849340 w 4716235"/>
              <a:gd name="connsiteY2095" fmla="*/ 4377594 h 4596459"/>
              <a:gd name="connsiteX2096" fmla="*/ 855122 w 4716235"/>
              <a:gd name="connsiteY2096" fmla="*/ 4383376 h 4596459"/>
              <a:gd name="connsiteX2097" fmla="*/ 862060 w 4716235"/>
              <a:gd name="connsiteY2097" fmla="*/ 4376438 h 4596459"/>
              <a:gd name="connsiteX2098" fmla="*/ 868255 w 4716235"/>
              <a:gd name="connsiteY2098" fmla="*/ 4382632 h 4596459"/>
              <a:gd name="connsiteX2099" fmla="*/ 875275 w 4716235"/>
              <a:gd name="connsiteY2099" fmla="*/ 4375612 h 4596459"/>
              <a:gd name="connsiteX2100" fmla="*/ 881963 w 4716235"/>
              <a:gd name="connsiteY2100" fmla="*/ 4382301 h 4596459"/>
              <a:gd name="connsiteX2101" fmla="*/ 888984 w 4716235"/>
              <a:gd name="connsiteY2101" fmla="*/ 4375281 h 4596459"/>
              <a:gd name="connsiteX2102" fmla="*/ 896170 w 4716235"/>
              <a:gd name="connsiteY2102" fmla="*/ 4382468 h 4596459"/>
              <a:gd name="connsiteX2103" fmla="*/ 903851 w 4716235"/>
              <a:gd name="connsiteY2103" fmla="*/ 4374787 h 4596459"/>
              <a:gd name="connsiteX2104" fmla="*/ 911450 w 4716235"/>
              <a:gd name="connsiteY2104" fmla="*/ 4382384 h 4596459"/>
              <a:gd name="connsiteX2105" fmla="*/ 919543 w 4716235"/>
              <a:gd name="connsiteY2105" fmla="*/ 4374291 h 4596459"/>
              <a:gd name="connsiteX2106" fmla="*/ 927472 w 4716235"/>
              <a:gd name="connsiteY2106" fmla="*/ 4382220 h 4596459"/>
              <a:gd name="connsiteX2107" fmla="*/ 936556 w 4716235"/>
              <a:gd name="connsiteY2107" fmla="*/ 4373134 h 4596459"/>
              <a:gd name="connsiteX2108" fmla="*/ 944651 w 4716235"/>
              <a:gd name="connsiteY2108" fmla="*/ 4381229 h 4596459"/>
              <a:gd name="connsiteX2109" fmla="*/ 1453574 w 4716235"/>
              <a:gd name="connsiteY2109" fmla="*/ 4369336 h 4596459"/>
              <a:gd name="connsiteX2110" fmla="*/ 1464310 w 4716235"/>
              <a:gd name="connsiteY2110" fmla="*/ 4380073 h 4596459"/>
              <a:gd name="connsiteX2111" fmla="*/ 1453574 w 4716235"/>
              <a:gd name="connsiteY2111" fmla="*/ 4390809 h 4596459"/>
              <a:gd name="connsiteX2112" fmla="*/ 1442838 w 4716235"/>
              <a:gd name="connsiteY2112" fmla="*/ 4380073 h 4596459"/>
              <a:gd name="connsiteX2113" fmla="*/ 1453574 w 4716235"/>
              <a:gd name="connsiteY2113" fmla="*/ 4369336 h 4596459"/>
              <a:gd name="connsiteX2114" fmla="*/ 1150797 w 4716235"/>
              <a:gd name="connsiteY2114" fmla="*/ 4368676 h 4596459"/>
              <a:gd name="connsiteX2115" fmla="*/ 1161535 w 4716235"/>
              <a:gd name="connsiteY2115" fmla="*/ 4379412 h 4596459"/>
              <a:gd name="connsiteX2116" fmla="*/ 1150797 w 4716235"/>
              <a:gd name="connsiteY2116" fmla="*/ 4390148 h 4596459"/>
              <a:gd name="connsiteX2117" fmla="*/ 1140061 w 4716235"/>
              <a:gd name="connsiteY2117" fmla="*/ 4379412 h 4596459"/>
              <a:gd name="connsiteX2118" fmla="*/ 1150797 w 4716235"/>
              <a:gd name="connsiteY2118" fmla="*/ 4368676 h 4596459"/>
              <a:gd name="connsiteX2119" fmla="*/ 974878 w 4716235"/>
              <a:gd name="connsiteY2119" fmla="*/ 4367848 h 4596459"/>
              <a:gd name="connsiteX2120" fmla="*/ 985614 w 4716235"/>
              <a:gd name="connsiteY2120" fmla="*/ 4378585 h 4596459"/>
              <a:gd name="connsiteX2121" fmla="*/ 974878 w 4716235"/>
              <a:gd name="connsiteY2121" fmla="*/ 4389321 h 4596459"/>
              <a:gd name="connsiteX2122" fmla="*/ 964141 w 4716235"/>
              <a:gd name="connsiteY2122" fmla="*/ 4378585 h 4596459"/>
              <a:gd name="connsiteX2123" fmla="*/ 974878 w 4716235"/>
              <a:gd name="connsiteY2123" fmla="*/ 4367848 h 4596459"/>
              <a:gd name="connsiteX2124" fmla="*/ 2493885 w 4716235"/>
              <a:gd name="connsiteY2124" fmla="*/ 4366693 h 4596459"/>
              <a:gd name="connsiteX2125" fmla="*/ 2504623 w 4716235"/>
              <a:gd name="connsiteY2125" fmla="*/ 4377430 h 4596459"/>
              <a:gd name="connsiteX2126" fmla="*/ 2493885 w 4716235"/>
              <a:gd name="connsiteY2126" fmla="*/ 4388166 h 4596459"/>
              <a:gd name="connsiteX2127" fmla="*/ 2483149 w 4716235"/>
              <a:gd name="connsiteY2127" fmla="*/ 4377430 h 4596459"/>
              <a:gd name="connsiteX2128" fmla="*/ 2493885 w 4716235"/>
              <a:gd name="connsiteY2128" fmla="*/ 4366693 h 4596459"/>
              <a:gd name="connsiteX2129" fmla="*/ 2325235 w 4716235"/>
              <a:gd name="connsiteY2129" fmla="*/ 4364545 h 4596459"/>
              <a:gd name="connsiteX2130" fmla="*/ 2335974 w 4716235"/>
              <a:gd name="connsiteY2130" fmla="*/ 4375281 h 4596459"/>
              <a:gd name="connsiteX2131" fmla="*/ 2325235 w 4716235"/>
              <a:gd name="connsiteY2131" fmla="*/ 4386017 h 4596459"/>
              <a:gd name="connsiteX2132" fmla="*/ 2314499 w 4716235"/>
              <a:gd name="connsiteY2132" fmla="*/ 4375281 h 4596459"/>
              <a:gd name="connsiteX2133" fmla="*/ 2325235 w 4716235"/>
              <a:gd name="connsiteY2133" fmla="*/ 4364545 h 4596459"/>
              <a:gd name="connsiteX2134" fmla="*/ 996846 w 4716235"/>
              <a:gd name="connsiteY2134" fmla="*/ 4362894 h 4596459"/>
              <a:gd name="connsiteX2135" fmla="*/ 1007584 w 4716235"/>
              <a:gd name="connsiteY2135" fmla="*/ 4373630 h 4596459"/>
              <a:gd name="connsiteX2136" fmla="*/ 996846 w 4716235"/>
              <a:gd name="connsiteY2136" fmla="*/ 4384368 h 4596459"/>
              <a:gd name="connsiteX2137" fmla="*/ 986110 w 4716235"/>
              <a:gd name="connsiteY2137" fmla="*/ 4373630 h 4596459"/>
              <a:gd name="connsiteX2138" fmla="*/ 996846 w 4716235"/>
              <a:gd name="connsiteY2138" fmla="*/ 4362894 h 4596459"/>
              <a:gd name="connsiteX2139" fmla="*/ 2169965 w 4716235"/>
              <a:gd name="connsiteY2139" fmla="*/ 4362727 h 4596459"/>
              <a:gd name="connsiteX2140" fmla="*/ 2180703 w 4716235"/>
              <a:gd name="connsiteY2140" fmla="*/ 4373464 h 4596459"/>
              <a:gd name="connsiteX2141" fmla="*/ 2169965 w 4716235"/>
              <a:gd name="connsiteY2141" fmla="*/ 4384202 h 4596459"/>
              <a:gd name="connsiteX2142" fmla="*/ 2159229 w 4716235"/>
              <a:gd name="connsiteY2142" fmla="*/ 4373464 h 4596459"/>
              <a:gd name="connsiteX2143" fmla="*/ 2169965 w 4716235"/>
              <a:gd name="connsiteY2143" fmla="*/ 4362727 h 4596459"/>
              <a:gd name="connsiteX2144" fmla="*/ 2651963 w 4716235"/>
              <a:gd name="connsiteY2144" fmla="*/ 4357773 h 4596459"/>
              <a:gd name="connsiteX2145" fmla="*/ 2661213 w 4716235"/>
              <a:gd name="connsiteY2145" fmla="*/ 4367023 h 4596459"/>
              <a:gd name="connsiteX2146" fmla="*/ 2668481 w 4716235"/>
              <a:gd name="connsiteY2146" fmla="*/ 4359755 h 4596459"/>
              <a:gd name="connsiteX2147" fmla="*/ 2676824 w 4716235"/>
              <a:gd name="connsiteY2147" fmla="*/ 4368096 h 4596459"/>
              <a:gd name="connsiteX2148" fmla="*/ 2683844 w 4716235"/>
              <a:gd name="connsiteY2148" fmla="*/ 4361076 h 4596459"/>
              <a:gd name="connsiteX2149" fmla="*/ 2691442 w 4716235"/>
              <a:gd name="connsiteY2149" fmla="*/ 4368674 h 4596459"/>
              <a:gd name="connsiteX2150" fmla="*/ 2698214 w 4716235"/>
              <a:gd name="connsiteY2150" fmla="*/ 4361902 h 4596459"/>
              <a:gd name="connsiteX2151" fmla="*/ 2705152 w 4716235"/>
              <a:gd name="connsiteY2151" fmla="*/ 4368839 h 4596459"/>
              <a:gd name="connsiteX2152" fmla="*/ 2711428 w 4716235"/>
              <a:gd name="connsiteY2152" fmla="*/ 4362563 h 4596459"/>
              <a:gd name="connsiteX2153" fmla="*/ 2718119 w 4716235"/>
              <a:gd name="connsiteY2153" fmla="*/ 4369253 h 4596459"/>
              <a:gd name="connsiteX2154" fmla="*/ 2724149 w 4716235"/>
              <a:gd name="connsiteY2154" fmla="*/ 4363223 h 4596459"/>
              <a:gd name="connsiteX2155" fmla="*/ 2730591 w 4716235"/>
              <a:gd name="connsiteY2155" fmla="*/ 4369666 h 4596459"/>
              <a:gd name="connsiteX2156" fmla="*/ 2736042 w 4716235"/>
              <a:gd name="connsiteY2156" fmla="*/ 4364215 h 4596459"/>
              <a:gd name="connsiteX2157" fmla="*/ 2742566 w 4716235"/>
              <a:gd name="connsiteY2157" fmla="*/ 4370739 h 4596459"/>
              <a:gd name="connsiteX2158" fmla="*/ 2747603 w 4716235"/>
              <a:gd name="connsiteY2158" fmla="*/ 4365701 h 4596459"/>
              <a:gd name="connsiteX2159" fmla="*/ 2754459 w 4716235"/>
              <a:gd name="connsiteY2159" fmla="*/ 4372557 h 4596459"/>
              <a:gd name="connsiteX2160" fmla="*/ 2758836 w 4716235"/>
              <a:gd name="connsiteY2160" fmla="*/ 4368180 h 4596459"/>
              <a:gd name="connsiteX2161" fmla="*/ 2766022 w 4716235"/>
              <a:gd name="connsiteY2161" fmla="*/ 4375364 h 4596459"/>
              <a:gd name="connsiteX2162" fmla="*/ 2769903 w 4716235"/>
              <a:gd name="connsiteY2162" fmla="*/ 4371483 h 4596459"/>
              <a:gd name="connsiteX2163" fmla="*/ 2777667 w 4716235"/>
              <a:gd name="connsiteY2163" fmla="*/ 4379247 h 4596459"/>
              <a:gd name="connsiteX2164" fmla="*/ 2780971 w 4716235"/>
              <a:gd name="connsiteY2164" fmla="*/ 4375944 h 4596459"/>
              <a:gd name="connsiteX2165" fmla="*/ 2789394 w 4716235"/>
              <a:gd name="connsiteY2165" fmla="*/ 4384368 h 4596459"/>
              <a:gd name="connsiteX2166" fmla="*/ 2792039 w 4716235"/>
              <a:gd name="connsiteY2166" fmla="*/ 4381724 h 4596459"/>
              <a:gd name="connsiteX2167" fmla="*/ 2801205 w 4716235"/>
              <a:gd name="connsiteY2167" fmla="*/ 4390890 h 4596459"/>
              <a:gd name="connsiteX2168" fmla="*/ 2803104 w 4716235"/>
              <a:gd name="connsiteY2168" fmla="*/ 4388992 h 4596459"/>
              <a:gd name="connsiteX2169" fmla="*/ 2813842 w 4716235"/>
              <a:gd name="connsiteY2169" fmla="*/ 4399728 h 4596459"/>
              <a:gd name="connsiteX2170" fmla="*/ 2803104 w 4716235"/>
              <a:gd name="connsiteY2170" fmla="*/ 4410464 h 4596459"/>
              <a:gd name="connsiteX2171" fmla="*/ 2793937 w 4716235"/>
              <a:gd name="connsiteY2171" fmla="*/ 4401297 h 4596459"/>
              <a:gd name="connsiteX2172" fmla="*/ 2792039 w 4716235"/>
              <a:gd name="connsiteY2172" fmla="*/ 4403196 h 4596459"/>
              <a:gd name="connsiteX2173" fmla="*/ 2783614 w 4716235"/>
              <a:gd name="connsiteY2173" fmla="*/ 4394773 h 4596459"/>
              <a:gd name="connsiteX2174" fmla="*/ 2780971 w 4716235"/>
              <a:gd name="connsiteY2174" fmla="*/ 4397416 h 4596459"/>
              <a:gd name="connsiteX2175" fmla="*/ 2773209 w 4716235"/>
              <a:gd name="connsiteY2175" fmla="*/ 4389654 h 4596459"/>
              <a:gd name="connsiteX2176" fmla="*/ 2769903 w 4716235"/>
              <a:gd name="connsiteY2176" fmla="*/ 4392958 h 4596459"/>
              <a:gd name="connsiteX2177" fmla="*/ 2762719 w 4716235"/>
              <a:gd name="connsiteY2177" fmla="*/ 4385771 h 4596459"/>
              <a:gd name="connsiteX2178" fmla="*/ 2758836 w 4716235"/>
              <a:gd name="connsiteY2178" fmla="*/ 4389652 h 4596459"/>
              <a:gd name="connsiteX2179" fmla="*/ 2751981 w 4716235"/>
              <a:gd name="connsiteY2179" fmla="*/ 4382797 h 4596459"/>
              <a:gd name="connsiteX2180" fmla="*/ 2747603 w 4716235"/>
              <a:gd name="connsiteY2180" fmla="*/ 4387174 h 4596459"/>
              <a:gd name="connsiteX2181" fmla="*/ 2741079 w 4716235"/>
              <a:gd name="connsiteY2181" fmla="*/ 4380650 h 4596459"/>
              <a:gd name="connsiteX2182" fmla="*/ 2736042 w 4716235"/>
              <a:gd name="connsiteY2182" fmla="*/ 4385688 h 4596459"/>
              <a:gd name="connsiteX2183" fmla="*/ 2729599 w 4716235"/>
              <a:gd name="connsiteY2183" fmla="*/ 4379247 h 4596459"/>
              <a:gd name="connsiteX2184" fmla="*/ 2724149 w 4716235"/>
              <a:gd name="connsiteY2184" fmla="*/ 4384698 h 4596459"/>
              <a:gd name="connsiteX2185" fmla="*/ 2717458 w 4716235"/>
              <a:gd name="connsiteY2185" fmla="*/ 4378007 h 4596459"/>
              <a:gd name="connsiteX2186" fmla="*/ 2711428 w 4716235"/>
              <a:gd name="connsiteY2186" fmla="*/ 4384035 h 4596459"/>
              <a:gd name="connsiteX2187" fmla="*/ 2704492 w 4716235"/>
              <a:gd name="connsiteY2187" fmla="*/ 4377098 h 4596459"/>
              <a:gd name="connsiteX2188" fmla="*/ 2698214 w 4716235"/>
              <a:gd name="connsiteY2188" fmla="*/ 4383375 h 4596459"/>
              <a:gd name="connsiteX2189" fmla="*/ 2690616 w 4716235"/>
              <a:gd name="connsiteY2189" fmla="*/ 4375779 h 4596459"/>
              <a:gd name="connsiteX2190" fmla="*/ 2683844 w 4716235"/>
              <a:gd name="connsiteY2190" fmla="*/ 4382549 h 4596459"/>
              <a:gd name="connsiteX2191" fmla="*/ 2675503 w 4716235"/>
              <a:gd name="connsiteY2191" fmla="*/ 4374208 h 4596459"/>
              <a:gd name="connsiteX2192" fmla="*/ 2668481 w 4716235"/>
              <a:gd name="connsiteY2192" fmla="*/ 4381229 h 4596459"/>
              <a:gd name="connsiteX2193" fmla="*/ 2659231 w 4716235"/>
              <a:gd name="connsiteY2193" fmla="*/ 4371979 h 4596459"/>
              <a:gd name="connsiteX2194" fmla="*/ 2651963 w 4716235"/>
              <a:gd name="connsiteY2194" fmla="*/ 4379245 h 4596459"/>
              <a:gd name="connsiteX2195" fmla="*/ 2641227 w 4716235"/>
              <a:gd name="connsiteY2195" fmla="*/ 4368509 h 4596459"/>
              <a:gd name="connsiteX2196" fmla="*/ 2651963 w 4716235"/>
              <a:gd name="connsiteY2196" fmla="*/ 4357773 h 4596459"/>
              <a:gd name="connsiteX2197" fmla="*/ 2465639 w 4716235"/>
              <a:gd name="connsiteY2197" fmla="*/ 4357112 h 4596459"/>
              <a:gd name="connsiteX2198" fmla="*/ 2476377 w 4716235"/>
              <a:gd name="connsiteY2198" fmla="*/ 4367848 h 4596459"/>
              <a:gd name="connsiteX2199" fmla="*/ 2465639 w 4716235"/>
              <a:gd name="connsiteY2199" fmla="*/ 4378586 h 4596459"/>
              <a:gd name="connsiteX2200" fmla="*/ 2454902 w 4716235"/>
              <a:gd name="connsiteY2200" fmla="*/ 4367848 h 4596459"/>
              <a:gd name="connsiteX2201" fmla="*/ 2465639 w 4716235"/>
              <a:gd name="connsiteY2201" fmla="*/ 4357112 h 4596459"/>
              <a:gd name="connsiteX2202" fmla="*/ 1751396 w 4716235"/>
              <a:gd name="connsiteY2202" fmla="*/ 4356782 h 4596459"/>
              <a:gd name="connsiteX2203" fmla="*/ 1762134 w 4716235"/>
              <a:gd name="connsiteY2203" fmla="*/ 4367519 h 4596459"/>
              <a:gd name="connsiteX2204" fmla="*/ 1751396 w 4716235"/>
              <a:gd name="connsiteY2204" fmla="*/ 4378255 h 4596459"/>
              <a:gd name="connsiteX2205" fmla="*/ 1740660 w 4716235"/>
              <a:gd name="connsiteY2205" fmla="*/ 4367519 h 4596459"/>
              <a:gd name="connsiteX2206" fmla="*/ 1751396 w 4716235"/>
              <a:gd name="connsiteY2206" fmla="*/ 4356782 h 4596459"/>
              <a:gd name="connsiteX2207" fmla="*/ 1336130 w 4716235"/>
              <a:gd name="connsiteY2207" fmla="*/ 4356120 h 4596459"/>
              <a:gd name="connsiteX2208" fmla="*/ 1346866 w 4716235"/>
              <a:gd name="connsiteY2208" fmla="*/ 4366856 h 4596459"/>
              <a:gd name="connsiteX2209" fmla="*/ 1336130 w 4716235"/>
              <a:gd name="connsiteY2209" fmla="*/ 4377594 h 4596459"/>
              <a:gd name="connsiteX2210" fmla="*/ 1325393 w 4716235"/>
              <a:gd name="connsiteY2210" fmla="*/ 4366856 h 4596459"/>
              <a:gd name="connsiteX2211" fmla="*/ 1336130 w 4716235"/>
              <a:gd name="connsiteY2211" fmla="*/ 4356120 h 4596459"/>
              <a:gd name="connsiteX2212" fmla="*/ 1020799 w 4716235"/>
              <a:gd name="connsiteY2212" fmla="*/ 4355955 h 4596459"/>
              <a:gd name="connsiteX2213" fmla="*/ 1031537 w 4716235"/>
              <a:gd name="connsiteY2213" fmla="*/ 4366692 h 4596459"/>
              <a:gd name="connsiteX2214" fmla="*/ 1020799 w 4716235"/>
              <a:gd name="connsiteY2214" fmla="*/ 4377428 h 4596459"/>
              <a:gd name="connsiteX2215" fmla="*/ 1010063 w 4716235"/>
              <a:gd name="connsiteY2215" fmla="*/ 4366692 h 4596459"/>
              <a:gd name="connsiteX2216" fmla="*/ 1020799 w 4716235"/>
              <a:gd name="connsiteY2216" fmla="*/ 4355955 h 4596459"/>
              <a:gd name="connsiteX2217" fmla="*/ 1184163 w 4716235"/>
              <a:gd name="connsiteY2217" fmla="*/ 4355626 h 4596459"/>
              <a:gd name="connsiteX2218" fmla="*/ 1194901 w 4716235"/>
              <a:gd name="connsiteY2218" fmla="*/ 4366362 h 4596459"/>
              <a:gd name="connsiteX2219" fmla="*/ 1184163 w 4716235"/>
              <a:gd name="connsiteY2219" fmla="*/ 4377100 h 4596459"/>
              <a:gd name="connsiteX2220" fmla="*/ 1173427 w 4716235"/>
              <a:gd name="connsiteY2220" fmla="*/ 4366362 h 4596459"/>
              <a:gd name="connsiteX2221" fmla="*/ 1184163 w 4716235"/>
              <a:gd name="connsiteY2221" fmla="*/ 4355626 h 4596459"/>
              <a:gd name="connsiteX2222" fmla="*/ 1875777 w 4716235"/>
              <a:gd name="connsiteY2222" fmla="*/ 4355461 h 4596459"/>
              <a:gd name="connsiteX2223" fmla="*/ 1886516 w 4716235"/>
              <a:gd name="connsiteY2223" fmla="*/ 4366197 h 4596459"/>
              <a:gd name="connsiteX2224" fmla="*/ 1875777 w 4716235"/>
              <a:gd name="connsiteY2224" fmla="*/ 4376934 h 4596459"/>
              <a:gd name="connsiteX2225" fmla="*/ 1865041 w 4716235"/>
              <a:gd name="connsiteY2225" fmla="*/ 4366197 h 4596459"/>
              <a:gd name="connsiteX2226" fmla="*/ 1875777 w 4716235"/>
              <a:gd name="connsiteY2226" fmla="*/ 4355461 h 4596459"/>
              <a:gd name="connsiteX2227" fmla="*/ 2633794 w 4716235"/>
              <a:gd name="connsiteY2227" fmla="*/ 4354304 h 4596459"/>
              <a:gd name="connsiteX2228" fmla="*/ 2644532 w 4716235"/>
              <a:gd name="connsiteY2228" fmla="*/ 4365041 h 4596459"/>
              <a:gd name="connsiteX2229" fmla="*/ 2633794 w 4716235"/>
              <a:gd name="connsiteY2229" fmla="*/ 4375777 h 4596459"/>
              <a:gd name="connsiteX2230" fmla="*/ 2623058 w 4716235"/>
              <a:gd name="connsiteY2230" fmla="*/ 4365041 h 4596459"/>
              <a:gd name="connsiteX2231" fmla="*/ 2633794 w 4716235"/>
              <a:gd name="connsiteY2231" fmla="*/ 4354304 h 4596459"/>
              <a:gd name="connsiteX2232" fmla="*/ 1627014 w 4716235"/>
              <a:gd name="connsiteY2232" fmla="*/ 4353477 h 4596459"/>
              <a:gd name="connsiteX2233" fmla="*/ 1637750 w 4716235"/>
              <a:gd name="connsiteY2233" fmla="*/ 4364213 h 4596459"/>
              <a:gd name="connsiteX2234" fmla="*/ 1627014 w 4716235"/>
              <a:gd name="connsiteY2234" fmla="*/ 4374952 h 4596459"/>
              <a:gd name="connsiteX2235" fmla="*/ 1616277 w 4716235"/>
              <a:gd name="connsiteY2235" fmla="*/ 4364213 h 4596459"/>
              <a:gd name="connsiteX2236" fmla="*/ 1627014 w 4716235"/>
              <a:gd name="connsiteY2236" fmla="*/ 4353477 h 4596459"/>
              <a:gd name="connsiteX2237" fmla="*/ 1999827 w 4716235"/>
              <a:gd name="connsiteY2237" fmla="*/ 4350009 h 4596459"/>
              <a:gd name="connsiteX2238" fmla="*/ 2010565 w 4716235"/>
              <a:gd name="connsiteY2238" fmla="*/ 4360745 h 4596459"/>
              <a:gd name="connsiteX2239" fmla="*/ 1999827 w 4716235"/>
              <a:gd name="connsiteY2239" fmla="*/ 4371481 h 4596459"/>
              <a:gd name="connsiteX2240" fmla="*/ 1989091 w 4716235"/>
              <a:gd name="connsiteY2240" fmla="*/ 4360745 h 4596459"/>
              <a:gd name="connsiteX2241" fmla="*/ 1999827 w 4716235"/>
              <a:gd name="connsiteY2241" fmla="*/ 4350009 h 4596459"/>
              <a:gd name="connsiteX2242" fmla="*/ 2613807 w 4716235"/>
              <a:gd name="connsiteY2242" fmla="*/ 4349513 h 4596459"/>
              <a:gd name="connsiteX2243" fmla="*/ 2624546 w 4716235"/>
              <a:gd name="connsiteY2243" fmla="*/ 4360249 h 4596459"/>
              <a:gd name="connsiteX2244" fmla="*/ 2613807 w 4716235"/>
              <a:gd name="connsiteY2244" fmla="*/ 4370985 h 4596459"/>
              <a:gd name="connsiteX2245" fmla="*/ 2603071 w 4716235"/>
              <a:gd name="connsiteY2245" fmla="*/ 4360249 h 4596459"/>
              <a:gd name="connsiteX2246" fmla="*/ 2613807 w 4716235"/>
              <a:gd name="connsiteY2246" fmla="*/ 4349513 h 4596459"/>
              <a:gd name="connsiteX2247" fmla="*/ 2286417 w 4716235"/>
              <a:gd name="connsiteY2247" fmla="*/ 4347532 h 4596459"/>
              <a:gd name="connsiteX2248" fmla="*/ 2297156 w 4716235"/>
              <a:gd name="connsiteY2248" fmla="*/ 4358269 h 4596459"/>
              <a:gd name="connsiteX2249" fmla="*/ 2286417 w 4716235"/>
              <a:gd name="connsiteY2249" fmla="*/ 4369005 h 4596459"/>
              <a:gd name="connsiteX2250" fmla="*/ 2275681 w 4716235"/>
              <a:gd name="connsiteY2250" fmla="*/ 4358269 h 4596459"/>
              <a:gd name="connsiteX2251" fmla="*/ 2286417 w 4716235"/>
              <a:gd name="connsiteY2251" fmla="*/ 4347532 h 4596459"/>
              <a:gd name="connsiteX2252" fmla="*/ 1047063 w 4716235"/>
              <a:gd name="connsiteY2252" fmla="*/ 4346540 h 4596459"/>
              <a:gd name="connsiteX2253" fmla="*/ 1057800 w 4716235"/>
              <a:gd name="connsiteY2253" fmla="*/ 4357277 h 4596459"/>
              <a:gd name="connsiteX2254" fmla="*/ 1047063 w 4716235"/>
              <a:gd name="connsiteY2254" fmla="*/ 4368013 h 4596459"/>
              <a:gd name="connsiteX2255" fmla="*/ 1036327 w 4716235"/>
              <a:gd name="connsiteY2255" fmla="*/ 4357277 h 4596459"/>
              <a:gd name="connsiteX2256" fmla="*/ 1047063 w 4716235"/>
              <a:gd name="connsiteY2256" fmla="*/ 4346540 h 4596459"/>
              <a:gd name="connsiteX2257" fmla="*/ 1503458 w 4716235"/>
              <a:gd name="connsiteY2257" fmla="*/ 4346044 h 4596459"/>
              <a:gd name="connsiteX2258" fmla="*/ 1514196 w 4716235"/>
              <a:gd name="connsiteY2258" fmla="*/ 4356781 h 4596459"/>
              <a:gd name="connsiteX2259" fmla="*/ 1503458 w 4716235"/>
              <a:gd name="connsiteY2259" fmla="*/ 4367517 h 4596459"/>
              <a:gd name="connsiteX2260" fmla="*/ 1492722 w 4716235"/>
              <a:gd name="connsiteY2260" fmla="*/ 4356781 h 4596459"/>
              <a:gd name="connsiteX2261" fmla="*/ 1503458 w 4716235"/>
              <a:gd name="connsiteY2261" fmla="*/ 4346044 h 4596459"/>
              <a:gd name="connsiteX2262" fmla="*/ 2434586 w 4716235"/>
              <a:gd name="connsiteY2262" fmla="*/ 4344558 h 4596459"/>
              <a:gd name="connsiteX2263" fmla="*/ 2445323 w 4716235"/>
              <a:gd name="connsiteY2263" fmla="*/ 4355295 h 4596459"/>
              <a:gd name="connsiteX2264" fmla="*/ 2434586 w 4716235"/>
              <a:gd name="connsiteY2264" fmla="*/ 4366031 h 4596459"/>
              <a:gd name="connsiteX2265" fmla="*/ 2423850 w 4716235"/>
              <a:gd name="connsiteY2265" fmla="*/ 4355295 h 4596459"/>
              <a:gd name="connsiteX2266" fmla="*/ 2434586 w 4716235"/>
              <a:gd name="connsiteY2266" fmla="*/ 4344558 h 4596459"/>
              <a:gd name="connsiteX2267" fmla="*/ 2592004 w 4716235"/>
              <a:gd name="connsiteY2267" fmla="*/ 4342576 h 4596459"/>
              <a:gd name="connsiteX2268" fmla="*/ 2602742 w 4716235"/>
              <a:gd name="connsiteY2268" fmla="*/ 4353312 h 4596459"/>
              <a:gd name="connsiteX2269" fmla="*/ 2592004 w 4716235"/>
              <a:gd name="connsiteY2269" fmla="*/ 4364050 h 4596459"/>
              <a:gd name="connsiteX2270" fmla="*/ 2581267 w 4716235"/>
              <a:gd name="connsiteY2270" fmla="*/ 4353312 h 4596459"/>
              <a:gd name="connsiteX2271" fmla="*/ 2592004 w 4716235"/>
              <a:gd name="connsiteY2271" fmla="*/ 4342576 h 4596459"/>
              <a:gd name="connsiteX2272" fmla="*/ 885680 w 4716235"/>
              <a:gd name="connsiteY2272" fmla="*/ 4342245 h 4596459"/>
              <a:gd name="connsiteX2273" fmla="*/ 896418 w 4716235"/>
              <a:gd name="connsiteY2273" fmla="*/ 4352981 h 4596459"/>
              <a:gd name="connsiteX2274" fmla="*/ 885680 w 4716235"/>
              <a:gd name="connsiteY2274" fmla="*/ 4363719 h 4596459"/>
              <a:gd name="connsiteX2275" fmla="*/ 878991 w 4716235"/>
              <a:gd name="connsiteY2275" fmla="*/ 4357030 h 4596459"/>
              <a:gd name="connsiteX2276" fmla="*/ 868997 w 4716235"/>
              <a:gd name="connsiteY2276" fmla="*/ 4367023 h 4596459"/>
              <a:gd name="connsiteX2277" fmla="*/ 862556 w 4716235"/>
              <a:gd name="connsiteY2277" fmla="*/ 4360582 h 4596459"/>
              <a:gd name="connsiteX2278" fmla="*/ 853800 w 4716235"/>
              <a:gd name="connsiteY2278" fmla="*/ 4369336 h 4596459"/>
              <a:gd name="connsiteX2279" fmla="*/ 847606 w 4716235"/>
              <a:gd name="connsiteY2279" fmla="*/ 4363142 h 4596459"/>
              <a:gd name="connsiteX2280" fmla="*/ 839925 w 4716235"/>
              <a:gd name="connsiteY2280" fmla="*/ 4370822 h 4596459"/>
              <a:gd name="connsiteX2281" fmla="*/ 833897 w 4716235"/>
              <a:gd name="connsiteY2281" fmla="*/ 4364793 h 4596459"/>
              <a:gd name="connsiteX2282" fmla="*/ 826875 w 4716235"/>
              <a:gd name="connsiteY2282" fmla="*/ 4371814 h 4596459"/>
              <a:gd name="connsiteX2283" fmla="*/ 821177 w 4716235"/>
              <a:gd name="connsiteY2283" fmla="*/ 4366116 h 4596459"/>
              <a:gd name="connsiteX2284" fmla="*/ 814653 w 4716235"/>
              <a:gd name="connsiteY2284" fmla="*/ 4372638 h 4596459"/>
              <a:gd name="connsiteX2285" fmla="*/ 809367 w 4716235"/>
              <a:gd name="connsiteY2285" fmla="*/ 4367352 h 4596459"/>
              <a:gd name="connsiteX2286" fmla="*/ 803256 w 4716235"/>
              <a:gd name="connsiteY2286" fmla="*/ 4373465 h 4596459"/>
              <a:gd name="connsiteX2287" fmla="*/ 798383 w 4716235"/>
              <a:gd name="connsiteY2287" fmla="*/ 4368592 h 4596459"/>
              <a:gd name="connsiteX2288" fmla="*/ 792188 w 4716235"/>
              <a:gd name="connsiteY2288" fmla="*/ 4374785 h 4596459"/>
              <a:gd name="connsiteX2289" fmla="*/ 787894 w 4716235"/>
              <a:gd name="connsiteY2289" fmla="*/ 4370491 h 4596459"/>
              <a:gd name="connsiteX2290" fmla="*/ 781617 w 4716235"/>
              <a:gd name="connsiteY2290" fmla="*/ 4376767 h 4596459"/>
              <a:gd name="connsiteX2291" fmla="*/ 777735 w 4716235"/>
              <a:gd name="connsiteY2291" fmla="*/ 4372886 h 4596459"/>
              <a:gd name="connsiteX2292" fmla="*/ 771210 w 4716235"/>
              <a:gd name="connsiteY2292" fmla="*/ 4379410 h 4596459"/>
              <a:gd name="connsiteX2293" fmla="*/ 767906 w 4716235"/>
              <a:gd name="connsiteY2293" fmla="*/ 4376108 h 4596459"/>
              <a:gd name="connsiteX2294" fmla="*/ 760968 w 4716235"/>
              <a:gd name="connsiteY2294" fmla="*/ 4383045 h 4596459"/>
              <a:gd name="connsiteX2295" fmla="*/ 758162 w 4716235"/>
              <a:gd name="connsiteY2295" fmla="*/ 4380239 h 4596459"/>
              <a:gd name="connsiteX2296" fmla="*/ 750562 w 4716235"/>
              <a:gd name="connsiteY2296" fmla="*/ 4387837 h 4596459"/>
              <a:gd name="connsiteX2297" fmla="*/ 748414 w 4716235"/>
              <a:gd name="connsiteY2297" fmla="*/ 4385688 h 4596459"/>
              <a:gd name="connsiteX2298" fmla="*/ 740156 w 4716235"/>
              <a:gd name="connsiteY2298" fmla="*/ 4393946 h 4596459"/>
              <a:gd name="connsiteX2299" fmla="*/ 729419 w 4716235"/>
              <a:gd name="connsiteY2299" fmla="*/ 4383210 h 4596459"/>
              <a:gd name="connsiteX2300" fmla="*/ 740156 w 4716235"/>
              <a:gd name="connsiteY2300" fmla="*/ 4372473 h 4596459"/>
              <a:gd name="connsiteX2301" fmla="*/ 742304 w 4716235"/>
              <a:gd name="connsiteY2301" fmla="*/ 4374622 h 4596459"/>
              <a:gd name="connsiteX2302" fmla="*/ 750562 w 4716235"/>
              <a:gd name="connsiteY2302" fmla="*/ 4366362 h 4596459"/>
              <a:gd name="connsiteX2303" fmla="*/ 753370 w 4716235"/>
              <a:gd name="connsiteY2303" fmla="*/ 4369170 h 4596459"/>
              <a:gd name="connsiteX2304" fmla="*/ 760968 w 4716235"/>
              <a:gd name="connsiteY2304" fmla="*/ 4361572 h 4596459"/>
              <a:gd name="connsiteX2305" fmla="*/ 764271 w 4716235"/>
              <a:gd name="connsiteY2305" fmla="*/ 4364876 h 4596459"/>
              <a:gd name="connsiteX2306" fmla="*/ 771210 w 4716235"/>
              <a:gd name="connsiteY2306" fmla="*/ 4357937 h 4596459"/>
              <a:gd name="connsiteX2307" fmla="*/ 775093 w 4716235"/>
              <a:gd name="connsiteY2307" fmla="*/ 4361820 h 4596459"/>
              <a:gd name="connsiteX2308" fmla="*/ 781617 w 4716235"/>
              <a:gd name="connsiteY2308" fmla="*/ 4355295 h 4596459"/>
              <a:gd name="connsiteX2309" fmla="*/ 785912 w 4716235"/>
              <a:gd name="connsiteY2309" fmla="*/ 4359590 h 4596459"/>
              <a:gd name="connsiteX2310" fmla="*/ 792188 w 4716235"/>
              <a:gd name="connsiteY2310" fmla="*/ 4353312 h 4596459"/>
              <a:gd name="connsiteX2311" fmla="*/ 797061 w 4716235"/>
              <a:gd name="connsiteY2311" fmla="*/ 4358185 h 4596459"/>
              <a:gd name="connsiteX2312" fmla="*/ 803256 w 4716235"/>
              <a:gd name="connsiteY2312" fmla="*/ 4351991 h 4596459"/>
              <a:gd name="connsiteX2313" fmla="*/ 808542 w 4716235"/>
              <a:gd name="connsiteY2313" fmla="*/ 4357277 h 4596459"/>
              <a:gd name="connsiteX2314" fmla="*/ 814653 w 4716235"/>
              <a:gd name="connsiteY2314" fmla="*/ 4351165 h 4596459"/>
              <a:gd name="connsiteX2315" fmla="*/ 820351 w 4716235"/>
              <a:gd name="connsiteY2315" fmla="*/ 4356864 h 4596459"/>
              <a:gd name="connsiteX2316" fmla="*/ 826875 w 4716235"/>
              <a:gd name="connsiteY2316" fmla="*/ 4350340 h 4596459"/>
              <a:gd name="connsiteX2317" fmla="*/ 832905 w 4716235"/>
              <a:gd name="connsiteY2317" fmla="*/ 4356370 h 4596459"/>
              <a:gd name="connsiteX2318" fmla="*/ 839925 w 4716235"/>
              <a:gd name="connsiteY2318" fmla="*/ 4349348 h 4596459"/>
              <a:gd name="connsiteX2319" fmla="*/ 846119 w 4716235"/>
              <a:gd name="connsiteY2319" fmla="*/ 4355543 h 4596459"/>
              <a:gd name="connsiteX2320" fmla="*/ 853800 w 4716235"/>
              <a:gd name="connsiteY2320" fmla="*/ 4347862 h 4596459"/>
              <a:gd name="connsiteX2321" fmla="*/ 860243 w 4716235"/>
              <a:gd name="connsiteY2321" fmla="*/ 4354304 h 4596459"/>
              <a:gd name="connsiteX2322" fmla="*/ 868997 w 4716235"/>
              <a:gd name="connsiteY2322" fmla="*/ 4345550 h 4596459"/>
              <a:gd name="connsiteX2323" fmla="*/ 875686 w 4716235"/>
              <a:gd name="connsiteY2323" fmla="*/ 4352239 h 4596459"/>
              <a:gd name="connsiteX2324" fmla="*/ 2122724 w 4716235"/>
              <a:gd name="connsiteY2324" fmla="*/ 4340264 h 4596459"/>
              <a:gd name="connsiteX2325" fmla="*/ 2133462 w 4716235"/>
              <a:gd name="connsiteY2325" fmla="*/ 4351001 h 4596459"/>
              <a:gd name="connsiteX2326" fmla="*/ 2122724 w 4716235"/>
              <a:gd name="connsiteY2326" fmla="*/ 4361737 h 4596459"/>
              <a:gd name="connsiteX2327" fmla="*/ 2111988 w 4716235"/>
              <a:gd name="connsiteY2327" fmla="*/ 4351001 h 4596459"/>
              <a:gd name="connsiteX2328" fmla="*/ 2122724 w 4716235"/>
              <a:gd name="connsiteY2328" fmla="*/ 4340264 h 4596459"/>
              <a:gd name="connsiteX2329" fmla="*/ 621390 w 4716235"/>
              <a:gd name="connsiteY2329" fmla="*/ 4340264 h 4596459"/>
              <a:gd name="connsiteX2330" fmla="*/ 623537 w 4716235"/>
              <a:gd name="connsiteY2330" fmla="*/ 4342411 h 4596459"/>
              <a:gd name="connsiteX2331" fmla="*/ 621390 w 4716235"/>
              <a:gd name="connsiteY2331" fmla="*/ 4344560 h 4596459"/>
              <a:gd name="connsiteX2332" fmla="*/ 619243 w 4716235"/>
              <a:gd name="connsiteY2332" fmla="*/ 4342411 h 4596459"/>
              <a:gd name="connsiteX2333" fmla="*/ 621390 w 4716235"/>
              <a:gd name="connsiteY2333" fmla="*/ 4340264 h 4596459"/>
              <a:gd name="connsiteX2334" fmla="*/ 1220832 w 4716235"/>
              <a:gd name="connsiteY2334" fmla="*/ 4339108 h 4596459"/>
              <a:gd name="connsiteX2335" fmla="*/ 1231570 w 4716235"/>
              <a:gd name="connsiteY2335" fmla="*/ 4349844 h 4596459"/>
              <a:gd name="connsiteX2336" fmla="*/ 1220832 w 4716235"/>
              <a:gd name="connsiteY2336" fmla="*/ 4360582 h 4596459"/>
              <a:gd name="connsiteX2337" fmla="*/ 1210096 w 4716235"/>
              <a:gd name="connsiteY2337" fmla="*/ 4349844 h 4596459"/>
              <a:gd name="connsiteX2338" fmla="*/ 1220832 w 4716235"/>
              <a:gd name="connsiteY2338" fmla="*/ 4339108 h 4596459"/>
              <a:gd name="connsiteX2339" fmla="*/ 903851 w 4716235"/>
              <a:gd name="connsiteY2339" fmla="*/ 4337290 h 4596459"/>
              <a:gd name="connsiteX2340" fmla="*/ 914589 w 4716235"/>
              <a:gd name="connsiteY2340" fmla="*/ 4348027 h 4596459"/>
              <a:gd name="connsiteX2341" fmla="*/ 903851 w 4716235"/>
              <a:gd name="connsiteY2341" fmla="*/ 4358763 h 4596459"/>
              <a:gd name="connsiteX2342" fmla="*/ 893114 w 4716235"/>
              <a:gd name="connsiteY2342" fmla="*/ 4348027 h 4596459"/>
              <a:gd name="connsiteX2343" fmla="*/ 903851 w 4716235"/>
              <a:gd name="connsiteY2343" fmla="*/ 4337290 h 4596459"/>
              <a:gd name="connsiteX2344" fmla="*/ 1381059 w 4716235"/>
              <a:gd name="connsiteY2344" fmla="*/ 4334151 h 4596459"/>
              <a:gd name="connsiteX2345" fmla="*/ 1391795 w 4716235"/>
              <a:gd name="connsiteY2345" fmla="*/ 4344888 h 4596459"/>
              <a:gd name="connsiteX2346" fmla="*/ 1381059 w 4716235"/>
              <a:gd name="connsiteY2346" fmla="*/ 4355624 h 4596459"/>
              <a:gd name="connsiteX2347" fmla="*/ 1370323 w 4716235"/>
              <a:gd name="connsiteY2347" fmla="*/ 4344888 h 4596459"/>
              <a:gd name="connsiteX2348" fmla="*/ 1381059 w 4716235"/>
              <a:gd name="connsiteY2348" fmla="*/ 4334151 h 4596459"/>
              <a:gd name="connsiteX2349" fmla="*/ 1075969 w 4716235"/>
              <a:gd name="connsiteY2349" fmla="*/ 4334151 h 4596459"/>
              <a:gd name="connsiteX2350" fmla="*/ 1086705 w 4716235"/>
              <a:gd name="connsiteY2350" fmla="*/ 4344888 h 4596459"/>
              <a:gd name="connsiteX2351" fmla="*/ 1075969 w 4716235"/>
              <a:gd name="connsiteY2351" fmla="*/ 4355624 h 4596459"/>
              <a:gd name="connsiteX2352" fmla="*/ 1065232 w 4716235"/>
              <a:gd name="connsiteY2352" fmla="*/ 4344888 h 4596459"/>
              <a:gd name="connsiteX2353" fmla="*/ 1075969 w 4716235"/>
              <a:gd name="connsiteY2353" fmla="*/ 4334151 h 4596459"/>
              <a:gd name="connsiteX2354" fmla="*/ 2567886 w 4716235"/>
              <a:gd name="connsiteY2354" fmla="*/ 4333491 h 4596459"/>
              <a:gd name="connsiteX2355" fmla="*/ 2578624 w 4716235"/>
              <a:gd name="connsiteY2355" fmla="*/ 4344227 h 4596459"/>
              <a:gd name="connsiteX2356" fmla="*/ 2567886 w 4716235"/>
              <a:gd name="connsiteY2356" fmla="*/ 4354963 h 4596459"/>
              <a:gd name="connsiteX2357" fmla="*/ 2557150 w 4716235"/>
              <a:gd name="connsiteY2357" fmla="*/ 4344227 h 4596459"/>
              <a:gd name="connsiteX2358" fmla="*/ 2567886 w 4716235"/>
              <a:gd name="connsiteY2358" fmla="*/ 4333491 h 4596459"/>
              <a:gd name="connsiteX2359" fmla="*/ 923837 w 4716235"/>
              <a:gd name="connsiteY2359" fmla="*/ 4330518 h 4596459"/>
              <a:gd name="connsiteX2360" fmla="*/ 934575 w 4716235"/>
              <a:gd name="connsiteY2360" fmla="*/ 4341255 h 4596459"/>
              <a:gd name="connsiteX2361" fmla="*/ 923837 w 4716235"/>
              <a:gd name="connsiteY2361" fmla="*/ 4351991 h 4596459"/>
              <a:gd name="connsiteX2362" fmla="*/ 913101 w 4716235"/>
              <a:gd name="connsiteY2362" fmla="*/ 4341255 h 4596459"/>
              <a:gd name="connsiteX2363" fmla="*/ 923837 w 4716235"/>
              <a:gd name="connsiteY2363" fmla="*/ 4330518 h 4596459"/>
              <a:gd name="connsiteX2364" fmla="*/ 2400558 w 4716235"/>
              <a:gd name="connsiteY2364" fmla="*/ 4328371 h 4596459"/>
              <a:gd name="connsiteX2365" fmla="*/ 2411295 w 4716235"/>
              <a:gd name="connsiteY2365" fmla="*/ 4339108 h 4596459"/>
              <a:gd name="connsiteX2366" fmla="*/ 2400558 w 4716235"/>
              <a:gd name="connsiteY2366" fmla="*/ 4349844 h 4596459"/>
              <a:gd name="connsiteX2367" fmla="*/ 2389822 w 4716235"/>
              <a:gd name="connsiteY2367" fmla="*/ 4339108 h 4596459"/>
              <a:gd name="connsiteX2368" fmla="*/ 2400558 w 4716235"/>
              <a:gd name="connsiteY2368" fmla="*/ 4328371 h 4596459"/>
              <a:gd name="connsiteX2369" fmla="*/ 2244131 w 4716235"/>
              <a:gd name="connsiteY2369" fmla="*/ 4326223 h 4596459"/>
              <a:gd name="connsiteX2370" fmla="*/ 2254867 w 4716235"/>
              <a:gd name="connsiteY2370" fmla="*/ 4336959 h 4596459"/>
              <a:gd name="connsiteX2371" fmla="*/ 2244131 w 4716235"/>
              <a:gd name="connsiteY2371" fmla="*/ 4347697 h 4596459"/>
              <a:gd name="connsiteX2372" fmla="*/ 2233395 w 4716235"/>
              <a:gd name="connsiteY2372" fmla="*/ 4336959 h 4596459"/>
              <a:gd name="connsiteX2373" fmla="*/ 2244131 w 4716235"/>
              <a:gd name="connsiteY2373" fmla="*/ 4326223 h 4596459"/>
              <a:gd name="connsiteX2374" fmla="*/ 1814826 w 4716235"/>
              <a:gd name="connsiteY2374" fmla="*/ 4324240 h 4596459"/>
              <a:gd name="connsiteX2375" fmla="*/ 1825564 w 4716235"/>
              <a:gd name="connsiteY2375" fmla="*/ 4334977 h 4596459"/>
              <a:gd name="connsiteX2376" fmla="*/ 1814826 w 4716235"/>
              <a:gd name="connsiteY2376" fmla="*/ 4345713 h 4596459"/>
              <a:gd name="connsiteX2377" fmla="*/ 1804090 w 4716235"/>
              <a:gd name="connsiteY2377" fmla="*/ 4334977 h 4596459"/>
              <a:gd name="connsiteX2378" fmla="*/ 1814826 w 4716235"/>
              <a:gd name="connsiteY2378" fmla="*/ 4324240 h 4596459"/>
              <a:gd name="connsiteX2379" fmla="*/ 1685818 w 4716235"/>
              <a:gd name="connsiteY2379" fmla="*/ 4323084 h 4596459"/>
              <a:gd name="connsiteX2380" fmla="*/ 1696556 w 4716235"/>
              <a:gd name="connsiteY2380" fmla="*/ 4333820 h 4596459"/>
              <a:gd name="connsiteX2381" fmla="*/ 1685818 w 4716235"/>
              <a:gd name="connsiteY2381" fmla="*/ 4344558 h 4596459"/>
              <a:gd name="connsiteX2382" fmla="*/ 1675082 w 4716235"/>
              <a:gd name="connsiteY2382" fmla="*/ 4333820 h 4596459"/>
              <a:gd name="connsiteX2383" fmla="*/ 1685818 w 4716235"/>
              <a:gd name="connsiteY2383" fmla="*/ 4323084 h 4596459"/>
              <a:gd name="connsiteX2384" fmla="*/ 2705317 w 4716235"/>
              <a:gd name="connsiteY2384" fmla="*/ 4322754 h 4596459"/>
              <a:gd name="connsiteX2385" fmla="*/ 2715972 w 4716235"/>
              <a:gd name="connsiteY2385" fmla="*/ 4333407 h 4596459"/>
              <a:gd name="connsiteX2386" fmla="*/ 2721670 w 4716235"/>
              <a:gd name="connsiteY2386" fmla="*/ 4327709 h 4596459"/>
              <a:gd name="connsiteX2387" fmla="*/ 2730756 w 4716235"/>
              <a:gd name="connsiteY2387" fmla="*/ 4336794 h 4596459"/>
              <a:gd name="connsiteX2388" fmla="*/ 2736371 w 4716235"/>
              <a:gd name="connsiteY2388" fmla="*/ 4331179 h 4596459"/>
              <a:gd name="connsiteX2389" fmla="*/ 2744383 w 4716235"/>
              <a:gd name="connsiteY2389" fmla="*/ 4339191 h 4596459"/>
              <a:gd name="connsiteX2390" fmla="*/ 2749917 w 4716235"/>
              <a:gd name="connsiteY2390" fmla="*/ 4333657 h 4596459"/>
              <a:gd name="connsiteX2391" fmla="*/ 2756937 w 4716235"/>
              <a:gd name="connsiteY2391" fmla="*/ 4340677 h 4596459"/>
              <a:gd name="connsiteX2392" fmla="*/ 2762306 w 4716235"/>
              <a:gd name="connsiteY2392" fmla="*/ 4335308 h 4596459"/>
              <a:gd name="connsiteX2393" fmla="*/ 2768665 w 4716235"/>
              <a:gd name="connsiteY2393" fmla="*/ 4341667 h 4596459"/>
              <a:gd name="connsiteX2394" fmla="*/ 2773868 w 4716235"/>
              <a:gd name="connsiteY2394" fmla="*/ 4336465 h 4596459"/>
              <a:gd name="connsiteX2395" fmla="*/ 2779898 w 4716235"/>
              <a:gd name="connsiteY2395" fmla="*/ 4342493 h 4596459"/>
              <a:gd name="connsiteX2396" fmla="*/ 2784771 w 4716235"/>
              <a:gd name="connsiteY2396" fmla="*/ 4337620 h 4596459"/>
              <a:gd name="connsiteX2397" fmla="*/ 2790552 w 4716235"/>
              <a:gd name="connsiteY2397" fmla="*/ 4343402 h 4596459"/>
              <a:gd name="connsiteX2398" fmla="*/ 2795011 w 4716235"/>
              <a:gd name="connsiteY2398" fmla="*/ 4338943 h 4596459"/>
              <a:gd name="connsiteX2399" fmla="*/ 2800709 w 4716235"/>
              <a:gd name="connsiteY2399" fmla="*/ 4344641 h 4596459"/>
              <a:gd name="connsiteX2400" fmla="*/ 2804922 w 4716235"/>
              <a:gd name="connsiteY2400" fmla="*/ 4340429 h 4596459"/>
              <a:gd name="connsiteX2401" fmla="*/ 2810868 w 4716235"/>
              <a:gd name="connsiteY2401" fmla="*/ 4346376 h 4596459"/>
              <a:gd name="connsiteX2402" fmla="*/ 2814503 w 4716235"/>
              <a:gd name="connsiteY2402" fmla="*/ 4342741 h 4596459"/>
              <a:gd name="connsiteX2403" fmla="*/ 2820779 w 4716235"/>
              <a:gd name="connsiteY2403" fmla="*/ 4349019 h 4596459"/>
              <a:gd name="connsiteX2404" fmla="*/ 2823918 w 4716235"/>
              <a:gd name="connsiteY2404" fmla="*/ 4345880 h 4596459"/>
              <a:gd name="connsiteX2405" fmla="*/ 2830690 w 4716235"/>
              <a:gd name="connsiteY2405" fmla="*/ 4352652 h 4596459"/>
              <a:gd name="connsiteX2406" fmla="*/ 2833333 w 4716235"/>
              <a:gd name="connsiteY2406" fmla="*/ 4350009 h 4596459"/>
              <a:gd name="connsiteX2407" fmla="*/ 2840767 w 4716235"/>
              <a:gd name="connsiteY2407" fmla="*/ 4357441 h 4596459"/>
              <a:gd name="connsiteX2408" fmla="*/ 2842914 w 4716235"/>
              <a:gd name="connsiteY2408" fmla="*/ 4355295 h 4596459"/>
              <a:gd name="connsiteX2409" fmla="*/ 2851089 w 4716235"/>
              <a:gd name="connsiteY2409" fmla="*/ 4363471 h 4596459"/>
              <a:gd name="connsiteX2410" fmla="*/ 2852659 w 4716235"/>
              <a:gd name="connsiteY2410" fmla="*/ 4361902 h 4596459"/>
              <a:gd name="connsiteX2411" fmla="*/ 2861661 w 4716235"/>
              <a:gd name="connsiteY2411" fmla="*/ 4370904 h 4596459"/>
              <a:gd name="connsiteX2412" fmla="*/ 2862570 w 4716235"/>
              <a:gd name="connsiteY2412" fmla="*/ 4369995 h 4596459"/>
              <a:gd name="connsiteX2413" fmla="*/ 2873308 w 4716235"/>
              <a:gd name="connsiteY2413" fmla="*/ 4380732 h 4596459"/>
              <a:gd name="connsiteX2414" fmla="*/ 2862570 w 4716235"/>
              <a:gd name="connsiteY2414" fmla="*/ 4391470 h 4596459"/>
              <a:gd name="connsiteX2415" fmla="*/ 2853568 w 4716235"/>
              <a:gd name="connsiteY2415" fmla="*/ 4382466 h 4596459"/>
              <a:gd name="connsiteX2416" fmla="*/ 2852659 w 4716235"/>
              <a:gd name="connsiteY2416" fmla="*/ 4383375 h 4596459"/>
              <a:gd name="connsiteX2417" fmla="*/ 2844482 w 4716235"/>
              <a:gd name="connsiteY2417" fmla="*/ 4375200 h 4596459"/>
              <a:gd name="connsiteX2418" fmla="*/ 2842914 w 4716235"/>
              <a:gd name="connsiteY2418" fmla="*/ 4376767 h 4596459"/>
              <a:gd name="connsiteX2419" fmla="*/ 2835482 w 4716235"/>
              <a:gd name="connsiteY2419" fmla="*/ 4369335 h 4596459"/>
              <a:gd name="connsiteX2420" fmla="*/ 2833333 w 4716235"/>
              <a:gd name="connsiteY2420" fmla="*/ 4371481 h 4596459"/>
              <a:gd name="connsiteX2421" fmla="*/ 2826561 w 4716235"/>
              <a:gd name="connsiteY2421" fmla="*/ 4364709 h 4596459"/>
              <a:gd name="connsiteX2422" fmla="*/ 2823918 w 4716235"/>
              <a:gd name="connsiteY2422" fmla="*/ 4367352 h 4596459"/>
              <a:gd name="connsiteX2423" fmla="*/ 2817642 w 4716235"/>
              <a:gd name="connsiteY2423" fmla="*/ 4361076 h 4596459"/>
              <a:gd name="connsiteX2424" fmla="*/ 2814503 w 4716235"/>
              <a:gd name="connsiteY2424" fmla="*/ 4364215 h 4596459"/>
              <a:gd name="connsiteX2425" fmla="*/ 2808557 w 4716235"/>
              <a:gd name="connsiteY2425" fmla="*/ 4358269 h 4596459"/>
              <a:gd name="connsiteX2426" fmla="*/ 2804922 w 4716235"/>
              <a:gd name="connsiteY2426" fmla="*/ 4361902 h 4596459"/>
              <a:gd name="connsiteX2427" fmla="*/ 2799223 w 4716235"/>
              <a:gd name="connsiteY2427" fmla="*/ 4356203 h 4596459"/>
              <a:gd name="connsiteX2428" fmla="*/ 2795011 w 4716235"/>
              <a:gd name="connsiteY2428" fmla="*/ 4360416 h 4596459"/>
              <a:gd name="connsiteX2429" fmla="*/ 2789229 w 4716235"/>
              <a:gd name="connsiteY2429" fmla="*/ 4354634 h 4596459"/>
              <a:gd name="connsiteX2430" fmla="*/ 2784771 w 4716235"/>
              <a:gd name="connsiteY2430" fmla="*/ 4359092 h 4596459"/>
              <a:gd name="connsiteX2431" fmla="*/ 2778743 w 4716235"/>
              <a:gd name="connsiteY2431" fmla="*/ 4353064 h 4596459"/>
              <a:gd name="connsiteX2432" fmla="*/ 2773868 w 4716235"/>
              <a:gd name="connsiteY2432" fmla="*/ 4357939 h 4596459"/>
              <a:gd name="connsiteX2433" fmla="*/ 2767508 w 4716235"/>
              <a:gd name="connsiteY2433" fmla="*/ 4351580 h 4596459"/>
              <a:gd name="connsiteX2434" fmla="*/ 2762306 w 4716235"/>
              <a:gd name="connsiteY2434" fmla="*/ 4356781 h 4596459"/>
              <a:gd name="connsiteX2435" fmla="*/ 2755286 w 4716235"/>
              <a:gd name="connsiteY2435" fmla="*/ 4349763 h 4596459"/>
              <a:gd name="connsiteX2436" fmla="*/ 2749917 w 4716235"/>
              <a:gd name="connsiteY2436" fmla="*/ 4355130 h 4596459"/>
              <a:gd name="connsiteX2437" fmla="*/ 2741905 w 4716235"/>
              <a:gd name="connsiteY2437" fmla="*/ 4347118 h 4596459"/>
              <a:gd name="connsiteX2438" fmla="*/ 2736371 w 4716235"/>
              <a:gd name="connsiteY2438" fmla="*/ 4352652 h 4596459"/>
              <a:gd name="connsiteX2439" fmla="*/ 2727286 w 4716235"/>
              <a:gd name="connsiteY2439" fmla="*/ 4343568 h 4596459"/>
              <a:gd name="connsiteX2440" fmla="*/ 2721670 w 4716235"/>
              <a:gd name="connsiteY2440" fmla="*/ 4349183 h 4596459"/>
              <a:gd name="connsiteX2441" fmla="*/ 2711017 w 4716235"/>
              <a:gd name="connsiteY2441" fmla="*/ 4338528 h 4596459"/>
              <a:gd name="connsiteX2442" fmla="*/ 2705317 w 4716235"/>
              <a:gd name="connsiteY2442" fmla="*/ 4344227 h 4596459"/>
              <a:gd name="connsiteX2443" fmla="*/ 2694581 w 4716235"/>
              <a:gd name="connsiteY2443" fmla="*/ 4333491 h 4596459"/>
              <a:gd name="connsiteX2444" fmla="*/ 2705317 w 4716235"/>
              <a:gd name="connsiteY2444" fmla="*/ 4322754 h 4596459"/>
              <a:gd name="connsiteX2445" fmla="*/ 945972 w 4716235"/>
              <a:gd name="connsiteY2445" fmla="*/ 4321433 h 4596459"/>
              <a:gd name="connsiteX2446" fmla="*/ 956709 w 4716235"/>
              <a:gd name="connsiteY2446" fmla="*/ 4332169 h 4596459"/>
              <a:gd name="connsiteX2447" fmla="*/ 945972 w 4716235"/>
              <a:gd name="connsiteY2447" fmla="*/ 4342907 h 4596459"/>
              <a:gd name="connsiteX2448" fmla="*/ 935236 w 4716235"/>
              <a:gd name="connsiteY2448" fmla="*/ 4332169 h 4596459"/>
              <a:gd name="connsiteX2449" fmla="*/ 945972 w 4716235"/>
              <a:gd name="connsiteY2449" fmla="*/ 4321433 h 4596459"/>
              <a:gd name="connsiteX2450" fmla="*/ 2541293 w 4716235"/>
              <a:gd name="connsiteY2450" fmla="*/ 4321268 h 4596459"/>
              <a:gd name="connsiteX2451" fmla="*/ 2552031 w 4716235"/>
              <a:gd name="connsiteY2451" fmla="*/ 4332004 h 4596459"/>
              <a:gd name="connsiteX2452" fmla="*/ 2541293 w 4716235"/>
              <a:gd name="connsiteY2452" fmla="*/ 4342741 h 4596459"/>
              <a:gd name="connsiteX2453" fmla="*/ 2530556 w 4716235"/>
              <a:gd name="connsiteY2453" fmla="*/ 4332004 h 4596459"/>
              <a:gd name="connsiteX2454" fmla="*/ 2541293 w 4716235"/>
              <a:gd name="connsiteY2454" fmla="*/ 4321268 h 4596459"/>
              <a:gd name="connsiteX2455" fmla="*/ 1943501 w 4716235"/>
              <a:gd name="connsiteY2455" fmla="*/ 4320772 h 4596459"/>
              <a:gd name="connsiteX2456" fmla="*/ 1954239 w 4716235"/>
              <a:gd name="connsiteY2456" fmla="*/ 4331508 h 4596459"/>
              <a:gd name="connsiteX2457" fmla="*/ 1943501 w 4716235"/>
              <a:gd name="connsiteY2457" fmla="*/ 4342245 h 4596459"/>
              <a:gd name="connsiteX2458" fmla="*/ 1932765 w 4716235"/>
              <a:gd name="connsiteY2458" fmla="*/ 4331508 h 4596459"/>
              <a:gd name="connsiteX2459" fmla="*/ 1943501 w 4716235"/>
              <a:gd name="connsiteY2459" fmla="*/ 4320772 h 4596459"/>
              <a:gd name="connsiteX2460" fmla="*/ 1260807 w 4716235"/>
              <a:gd name="connsiteY2460" fmla="*/ 4318294 h 4596459"/>
              <a:gd name="connsiteX2461" fmla="*/ 1271543 w 4716235"/>
              <a:gd name="connsiteY2461" fmla="*/ 4329030 h 4596459"/>
              <a:gd name="connsiteX2462" fmla="*/ 1260807 w 4716235"/>
              <a:gd name="connsiteY2462" fmla="*/ 4339767 h 4596459"/>
              <a:gd name="connsiteX2463" fmla="*/ 1250071 w 4716235"/>
              <a:gd name="connsiteY2463" fmla="*/ 4329030 h 4596459"/>
              <a:gd name="connsiteX2464" fmla="*/ 1260807 w 4716235"/>
              <a:gd name="connsiteY2464" fmla="*/ 4318294 h 4596459"/>
              <a:gd name="connsiteX2465" fmla="*/ 1107848 w 4716235"/>
              <a:gd name="connsiteY2465" fmla="*/ 4318294 h 4596459"/>
              <a:gd name="connsiteX2466" fmla="*/ 1118586 w 4716235"/>
              <a:gd name="connsiteY2466" fmla="*/ 4329030 h 4596459"/>
              <a:gd name="connsiteX2467" fmla="*/ 1107848 w 4716235"/>
              <a:gd name="connsiteY2467" fmla="*/ 4339767 h 4596459"/>
              <a:gd name="connsiteX2468" fmla="*/ 1097112 w 4716235"/>
              <a:gd name="connsiteY2468" fmla="*/ 4329030 h 4596459"/>
              <a:gd name="connsiteX2469" fmla="*/ 1107848 w 4716235"/>
              <a:gd name="connsiteY2469" fmla="*/ 4318294 h 4596459"/>
              <a:gd name="connsiteX2470" fmla="*/ 1557308 w 4716235"/>
              <a:gd name="connsiteY2470" fmla="*/ 4317468 h 4596459"/>
              <a:gd name="connsiteX2471" fmla="*/ 1568046 w 4716235"/>
              <a:gd name="connsiteY2471" fmla="*/ 4328205 h 4596459"/>
              <a:gd name="connsiteX2472" fmla="*/ 1557308 w 4716235"/>
              <a:gd name="connsiteY2472" fmla="*/ 4338943 h 4596459"/>
              <a:gd name="connsiteX2473" fmla="*/ 1546572 w 4716235"/>
              <a:gd name="connsiteY2473" fmla="*/ 4328205 h 4596459"/>
              <a:gd name="connsiteX2474" fmla="*/ 1557308 w 4716235"/>
              <a:gd name="connsiteY2474" fmla="*/ 4317468 h 4596459"/>
              <a:gd name="connsiteX2475" fmla="*/ 3033697 w 4716235"/>
              <a:gd name="connsiteY2475" fmla="*/ 4316808 h 4596459"/>
              <a:gd name="connsiteX2476" fmla="*/ 3037662 w 4716235"/>
              <a:gd name="connsiteY2476" fmla="*/ 4320772 h 4596459"/>
              <a:gd name="connsiteX2477" fmla="*/ 3033697 w 4716235"/>
              <a:gd name="connsiteY2477" fmla="*/ 4324736 h 4596459"/>
              <a:gd name="connsiteX2478" fmla="*/ 3029733 w 4716235"/>
              <a:gd name="connsiteY2478" fmla="*/ 4320772 h 4596459"/>
              <a:gd name="connsiteX2479" fmla="*/ 3033697 w 4716235"/>
              <a:gd name="connsiteY2479" fmla="*/ 4316808 h 4596459"/>
              <a:gd name="connsiteX2480" fmla="*/ 2687313 w 4716235"/>
              <a:gd name="connsiteY2480" fmla="*/ 4315982 h 4596459"/>
              <a:gd name="connsiteX2481" fmla="*/ 2698051 w 4716235"/>
              <a:gd name="connsiteY2481" fmla="*/ 4326719 h 4596459"/>
              <a:gd name="connsiteX2482" fmla="*/ 2687313 w 4716235"/>
              <a:gd name="connsiteY2482" fmla="*/ 4337455 h 4596459"/>
              <a:gd name="connsiteX2483" fmla="*/ 2676576 w 4716235"/>
              <a:gd name="connsiteY2483" fmla="*/ 4326719 h 4596459"/>
              <a:gd name="connsiteX2484" fmla="*/ 2687313 w 4716235"/>
              <a:gd name="connsiteY2484" fmla="*/ 4315982 h 4596459"/>
              <a:gd name="connsiteX2485" fmla="*/ 2071517 w 4716235"/>
              <a:gd name="connsiteY2485" fmla="*/ 4312679 h 4596459"/>
              <a:gd name="connsiteX2486" fmla="*/ 2082255 w 4716235"/>
              <a:gd name="connsiteY2486" fmla="*/ 4323415 h 4596459"/>
              <a:gd name="connsiteX2487" fmla="*/ 2071517 w 4716235"/>
              <a:gd name="connsiteY2487" fmla="*/ 4334153 h 4596459"/>
              <a:gd name="connsiteX2488" fmla="*/ 2060781 w 4716235"/>
              <a:gd name="connsiteY2488" fmla="*/ 4323415 h 4596459"/>
              <a:gd name="connsiteX2489" fmla="*/ 2071517 w 4716235"/>
              <a:gd name="connsiteY2489" fmla="*/ 4312679 h 4596459"/>
              <a:gd name="connsiteX2490" fmla="*/ 813661 w 4716235"/>
              <a:gd name="connsiteY2490" fmla="*/ 4309540 h 4596459"/>
              <a:gd name="connsiteX2491" fmla="*/ 824399 w 4716235"/>
              <a:gd name="connsiteY2491" fmla="*/ 4320276 h 4596459"/>
              <a:gd name="connsiteX2492" fmla="*/ 813661 w 4716235"/>
              <a:gd name="connsiteY2492" fmla="*/ 4331014 h 4596459"/>
              <a:gd name="connsiteX2493" fmla="*/ 808790 w 4716235"/>
              <a:gd name="connsiteY2493" fmla="*/ 4326141 h 4596459"/>
              <a:gd name="connsiteX2494" fmla="*/ 798960 w 4716235"/>
              <a:gd name="connsiteY2494" fmla="*/ 4335969 h 4596459"/>
              <a:gd name="connsiteX2495" fmla="*/ 794252 w 4716235"/>
              <a:gd name="connsiteY2495" fmla="*/ 4331262 h 4596459"/>
              <a:gd name="connsiteX2496" fmla="*/ 785746 w 4716235"/>
              <a:gd name="connsiteY2496" fmla="*/ 4339767 h 4596459"/>
              <a:gd name="connsiteX2497" fmla="*/ 780873 w 4716235"/>
              <a:gd name="connsiteY2497" fmla="*/ 4334895 h 4596459"/>
              <a:gd name="connsiteX2498" fmla="*/ 773521 w 4716235"/>
              <a:gd name="connsiteY2498" fmla="*/ 4342245 h 4596459"/>
              <a:gd name="connsiteX2499" fmla="*/ 768980 w 4716235"/>
              <a:gd name="connsiteY2499" fmla="*/ 4337703 h 4596459"/>
              <a:gd name="connsiteX2500" fmla="*/ 762455 w 4716235"/>
              <a:gd name="connsiteY2500" fmla="*/ 4344227 h 4596459"/>
              <a:gd name="connsiteX2501" fmla="*/ 757995 w 4716235"/>
              <a:gd name="connsiteY2501" fmla="*/ 4339768 h 4596459"/>
              <a:gd name="connsiteX2502" fmla="*/ 752049 w 4716235"/>
              <a:gd name="connsiteY2502" fmla="*/ 4345713 h 4596459"/>
              <a:gd name="connsiteX2503" fmla="*/ 747920 w 4716235"/>
              <a:gd name="connsiteY2503" fmla="*/ 4341586 h 4596459"/>
              <a:gd name="connsiteX2504" fmla="*/ 742469 w 4716235"/>
              <a:gd name="connsiteY2504" fmla="*/ 4347036 h 4596459"/>
              <a:gd name="connsiteX2505" fmla="*/ 738669 w 4716235"/>
              <a:gd name="connsiteY2505" fmla="*/ 4343237 h 4596459"/>
              <a:gd name="connsiteX2506" fmla="*/ 733217 w 4716235"/>
              <a:gd name="connsiteY2506" fmla="*/ 4348689 h 4596459"/>
              <a:gd name="connsiteX2507" fmla="*/ 729749 w 4716235"/>
              <a:gd name="connsiteY2507" fmla="*/ 4345221 h 4596459"/>
              <a:gd name="connsiteX2508" fmla="*/ 724298 w 4716235"/>
              <a:gd name="connsiteY2508" fmla="*/ 4350671 h 4596459"/>
              <a:gd name="connsiteX2509" fmla="*/ 721159 w 4716235"/>
              <a:gd name="connsiteY2509" fmla="*/ 4347532 h 4596459"/>
              <a:gd name="connsiteX2510" fmla="*/ 715544 w 4716235"/>
              <a:gd name="connsiteY2510" fmla="*/ 4353148 h 4596459"/>
              <a:gd name="connsiteX2511" fmla="*/ 712901 w 4716235"/>
              <a:gd name="connsiteY2511" fmla="*/ 4350505 h 4596459"/>
              <a:gd name="connsiteX2512" fmla="*/ 706788 w 4716235"/>
              <a:gd name="connsiteY2512" fmla="*/ 4356616 h 4596459"/>
              <a:gd name="connsiteX2513" fmla="*/ 704808 w 4716235"/>
              <a:gd name="connsiteY2513" fmla="*/ 4354636 h 4596459"/>
              <a:gd name="connsiteX2514" fmla="*/ 698200 w 4716235"/>
              <a:gd name="connsiteY2514" fmla="*/ 4361241 h 4596459"/>
              <a:gd name="connsiteX2515" fmla="*/ 696548 w 4716235"/>
              <a:gd name="connsiteY2515" fmla="*/ 4359588 h 4596459"/>
              <a:gd name="connsiteX2516" fmla="*/ 689280 w 4716235"/>
              <a:gd name="connsiteY2516" fmla="*/ 4366856 h 4596459"/>
              <a:gd name="connsiteX2517" fmla="*/ 686639 w 4716235"/>
              <a:gd name="connsiteY2517" fmla="*/ 4364215 h 4596459"/>
              <a:gd name="connsiteX2518" fmla="*/ 680194 w 4716235"/>
              <a:gd name="connsiteY2518" fmla="*/ 4370658 h 4596459"/>
              <a:gd name="connsiteX2519" fmla="*/ 672597 w 4716235"/>
              <a:gd name="connsiteY2519" fmla="*/ 4363060 h 4596459"/>
              <a:gd name="connsiteX2520" fmla="*/ 679039 w 4716235"/>
              <a:gd name="connsiteY2520" fmla="*/ 4356616 h 4596459"/>
              <a:gd name="connsiteX2521" fmla="*/ 678543 w 4716235"/>
              <a:gd name="connsiteY2521" fmla="*/ 4356120 h 4596459"/>
              <a:gd name="connsiteX2522" fmla="*/ 689280 w 4716235"/>
              <a:gd name="connsiteY2522" fmla="*/ 4345384 h 4596459"/>
              <a:gd name="connsiteX2523" fmla="*/ 690932 w 4716235"/>
              <a:gd name="connsiteY2523" fmla="*/ 4347036 h 4596459"/>
              <a:gd name="connsiteX2524" fmla="*/ 698200 w 4716235"/>
              <a:gd name="connsiteY2524" fmla="*/ 4339768 h 4596459"/>
              <a:gd name="connsiteX2525" fmla="*/ 700183 w 4716235"/>
              <a:gd name="connsiteY2525" fmla="*/ 4341751 h 4596459"/>
              <a:gd name="connsiteX2526" fmla="*/ 706788 w 4716235"/>
              <a:gd name="connsiteY2526" fmla="*/ 4335143 h 4596459"/>
              <a:gd name="connsiteX2527" fmla="*/ 709433 w 4716235"/>
              <a:gd name="connsiteY2527" fmla="*/ 4337788 h 4596459"/>
              <a:gd name="connsiteX2528" fmla="*/ 715544 w 4716235"/>
              <a:gd name="connsiteY2528" fmla="*/ 4331675 h 4596459"/>
              <a:gd name="connsiteX2529" fmla="*/ 718683 w 4716235"/>
              <a:gd name="connsiteY2529" fmla="*/ 4334814 h 4596459"/>
              <a:gd name="connsiteX2530" fmla="*/ 724298 w 4716235"/>
              <a:gd name="connsiteY2530" fmla="*/ 4329197 h 4596459"/>
              <a:gd name="connsiteX2531" fmla="*/ 727766 w 4716235"/>
              <a:gd name="connsiteY2531" fmla="*/ 4332665 h 4596459"/>
              <a:gd name="connsiteX2532" fmla="*/ 733217 w 4716235"/>
              <a:gd name="connsiteY2532" fmla="*/ 4327215 h 4596459"/>
              <a:gd name="connsiteX2533" fmla="*/ 737017 w 4716235"/>
              <a:gd name="connsiteY2533" fmla="*/ 4331014 h 4596459"/>
              <a:gd name="connsiteX2534" fmla="*/ 742469 w 4716235"/>
              <a:gd name="connsiteY2534" fmla="*/ 4325562 h 4596459"/>
              <a:gd name="connsiteX2535" fmla="*/ 746598 w 4716235"/>
              <a:gd name="connsiteY2535" fmla="*/ 4329691 h 4596459"/>
              <a:gd name="connsiteX2536" fmla="*/ 752049 w 4716235"/>
              <a:gd name="connsiteY2536" fmla="*/ 4324240 h 4596459"/>
              <a:gd name="connsiteX2537" fmla="*/ 756509 w 4716235"/>
              <a:gd name="connsiteY2537" fmla="*/ 4328701 h 4596459"/>
              <a:gd name="connsiteX2538" fmla="*/ 762455 w 4716235"/>
              <a:gd name="connsiteY2538" fmla="*/ 4322754 h 4596459"/>
              <a:gd name="connsiteX2539" fmla="*/ 766997 w 4716235"/>
              <a:gd name="connsiteY2539" fmla="*/ 4327296 h 4596459"/>
              <a:gd name="connsiteX2540" fmla="*/ 773521 w 4716235"/>
              <a:gd name="connsiteY2540" fmla="*/ 4320772 h 4596459"/>
              <a:gd name="connsiteX2541" fmla="*/ 778394 w 4716235"/>
              <a:gd name="connsiteY2541" fmla="*/ 4325645 h 4596459"/>
              <a:gd name="connsiteX2542" fmla="*/ 785746 w 4716235"/>
              <a:gd name="connsiteY2542" fmla="*/ 4318294 h 4596459"/>
              <a:gd name="connsiteX2543" fmla="*/ 790454 w 4716235"/>
              <a:gd name="connsiteY2543" fmla="*/ 4323002 h 4596459"/>
              <a:gd name="connsiteX2544" fmla="*/ 798960 w 4716235"/>
              <a:gd name="connsiteY2544" fmla="*/ 4314496 h 4596459"/>
              <a:gd name="connsiteX2545" fmla="*/ 803833 w 4716235"/>
              <a:gd name="connsiteY2545" fmla="*/ 4319369 h 4596459"/>
              <a:gd name="connsiteX2546" fmla="*/ 970584 w 4716235"/>
              <a:gd name="connsiteY2546" fmla="*/ 4309375 h 4596459"/>
              <a:gd name="connsiteX2547" fmla="*/ 981322 w 4716235"/>
              <a:gd name="connsiteY2547" fmla="*/ 4320111 h 4596459"/>
              <a:gd name="connsiteX2548" fmla="*/ 970584 w 4716235"/>
              <a:gd name="connsiteY2548" fmla="*/ 4330848 h 4596459"/>
              <a:gd name="connsiteX2549" fmla="*/ 959848 w 4716235"/>
              <a:gd name="connsiteY2549" fmla="*/ 4320111 h 4596459"/>
              <a:gd name="connsiteX2550" fmla="*/ 970584 w 4716235"/>
              <a:gd name="connsiteY2550" fmla="*/ 4309375 h 4596459"/>
              <a:gd name="connsiteX2551" fmla="*/ 2363226 w 4716235"/>
              <a:gd name="connsiteY2551" fmla="*/ 4308218 h 4596459"/>
              <a:gd name="connsiteX2552" fmla="*/ 2373964 w 4716235"/>
              <a:gd name="connsiteY2552" fmla="*/ 4318955 h 4596459"/>
              <a:gd name="connsiteX2553" fmla="*/ 2363226 w 4716235"/>
              <a:gd name="connsiteY2553" fmla="*/ 4329691 h 4596459"/>
              <a:gd name="connsiteX2554" fmla="*/ 2352490 w 4716235"/>
              <a:gd name="connsiteY2554" fmla="*/ 4318955 h 4596459"/>
              <a:gd name="connsiteX2555" fmla="*/ 2363226 w 4716235"/>
              <a:gd name="connsiteY2555" fmla="*/ 4308218 h 4596459"/>
              <a:gd name="connsiteX2556" fmla="*/ 1429953 w 4716235"/>
              <a:gd name="connsiteY2556" fmla="*/ 4307393 h 4596459"/>
              <a:gd name="connsiteX2557" fmla="*/ 1440691 w 4716235"/>
              <a:gd name="connsiteY2557" fmla="*/ 4318129 h 4596459"/>
              <a:gd name="connsiteX2558" fmla="*/ 1429953 w 4716235"/>
              <a:gd name="connsiteY2558" fmla="*/ 4328866 h 4596459"/>
              <a:gd name="connsiteX2559" fmla="*/ 1419216 w 4716235"/>
              <a:gd name="connsiteY2559" fmla="*/ 4318129 h 4596459"/>
              <a:gd name="connsiteX2560" fmla="*/ 1429953 w 4716235"/>
              <a:gd name="connsiteY2560" fmla="*/ 4307393 h 4596459"/>
              <a:gd name="connsiteX2561" fmla="*/ 2667326 w 4716235"/>
              <a:gd name="connsiteY2561" fmla="*/ 4306897 h 4596459"/>
              <a:gd name="connsiteX2562" fmla="*/ 2678064 w 4716235"/>
              <a:gd name="connsiteY2562" fmla="*/ 4317633 h 4596459"/>
              <a:gd name="connsiteX2563" fmla="*/ 2667326 w 4716235"/>
              <a:gd name="connsiteY2563" fmla="*/ 4328370 h 4596459"/>
              <a:gd name="connsiteX2564" fmla="*/ 2656590 w 4716235"/>
              <a:gd name="connsiteY2564" fmla="*/ 4317633 h 4596459"/>
              <a:gd name="connsiteX2565" fmla="*/ 2667326 w 4716235"/>
              <a:gd name="connsiteY2565" fmla="*/ 4306897 h 4596459"/>
              <a:gd name="connsiteX2566" fmla="*/ 2512056 w 4716235"/>
              <a:gd name="connsiteY2566" fmla="*/ 4305907 h 4596459"/>
              <a:gd name="connsiteX2567" fmla="*/ 2522792 w 4716235"/>
              <a:gd name="connsiteY2567" fmla="*/ 4316643 h 4596459"/>
              <a:gd name="connsiteX2568" fmla="*/ 2512056 w 4716235"/>
              <a:gd name="connsiteY2568" fmla="*/ 4327379 h 4596459"/>
              <a:gd name="connsiteX2569" fmla="*/ 2501320 w 4716235"/>
              <a:gd name="connsiteY2569" fmla="*/ 4316643 h 4596459"/>
              <a:gd name="connsiteX2570" fmla="*/ 2512056 w 4716235"/>
              <a:gd name="connsiteY2570" fmla="*/ 4305907 h 4596459"/>
              <a:gd name="connsiteX2571" fmla="*/ 830014 w 4716235"/>
              <a:gd name="connsiteY2571" fmla="*/ 4302603 h 4596459"/>
              <a:gd name="connsiteX2572" fmla="*/ 840752 w 4716235"/>
              <a:gd name="connsiteY2572" fmla="*/ 4313339 h 4596459"/>
              <a:gd name="connsiteX2573" fmla="*/ 830014 w 4716235"/>
              <a:gd name="connsiteY2573" fmla="*/ 4324076 h 4596459"/>
              <a:gd name="connsiteX2574" fmla="*/ 819278 w 4716235"/>
              <a:gd name="connsiteY2574" fmla="*/ 4313339 h 4596459"/>
              <a:gd name="connsiteX2575" fmla="*/ 830014 w 4716235"/>
              <a:gd name="connsiteY2575" fmla="*/ 4302603 h 4596459"/>
              <a:gd name="connsiteX2576" fmla="*/ 2198045 w 4716235"/>
              <a:gd name="connsiteY2576" fmla="*/ 4300290 h 4596459"/>
              <a:gd name="connsiteX2577" fmla="*/ 2208783 w 4716235"/>
              <a:gd name="connsiteY2577" fmla="*/ 4311026 h 4596459"/>
              <a:gd name="connsiteX2578" fmla="*/ 2198045 w 4716235"/>
              <a:gd name="connsiteY2578" fmla="*/ 4321764 h 4596459"/>
              <a:gd name="connsiteX2579" fmla="*/ 2187308 w 4716235"/>
              <a:gd name="connsiteY2579" fmla="*/ 4311026 h 4596459"/>
              <a:gd name="connsiteX2580" fmla="*/ 2198045 w 4716235"/>
              <a:gd name="connsiteY2580" fmla="*/ 4300290 h 4596459"/>
              <a:gd name="connsiteX2581" fmla="*/ 3088538 w 4716235"/>
              <a:gd name="connsiteY2581" fmla="*/ 4299960 h 4596459"/>
              <a:gd name="connsiteX2582" fmla="*/ 3088869 w 4716235"/>
              <a:gd name="connsiteY2582" fmla="*/ 4300290 h 4596459"/>
              <a:gd name="connsiteX2583" fmla="*/ 3088538 w 4716235"/>
              <a:gd name="connsiteY2583" fmla="*/ 4300621 h 4596459"/>
              <a:gd name="connsiteX2584" fmla="*/ 3088208 w 4716235"/>
              <a:gd name="connsiteY2584" fmla="*/ 4300290 h 4596459"/>
              <a:gd name="connsiteX2585" fmla="*/ 3088538 w 4716235"/>
              <a:gd name="connsiteY2585" fmla="*/ 4299960 h 4596459"/>
              <a:gd name="connsiteX2586" fmla="*/ 1142702 w 4716235"/>
              <a:gd name="connsiteY2586" fmla="*/ 4298639 h 4596459"/>
              <a:gd name="connsiteX2587" fmla="*/ 1153440 w 4716235"/>
              <a:gd name="connsiteY2587" fmla="*/ 4309375 h 4596459"/>
              <a:gd name="connsiteX2588" fmla="*/ 1142702 w 4716235"/>
              <a:gd name="connsiteY2588" fmla="*/ 4320111 h 4596459"/>
              <a:gd name="connsiteX2589" fmla="*/ 1131966 w 4716235"/>
              <a:gd name="connsiteY2589" fmla="*/ 4309375 h 4596459"/>
              <a:gd name="connsiteX2590" fmla="*/ 1142702 w 4716235"/>
              <a:gd name="connsiteY2590" fmla="*/ 4298639 h 4596459"/>
              <a:gd name="connsiteX2591" fmla="*/ 2645191 w 4716235"/>
              <a:gd name="connsiteY2591" fmla="*/ 4295004 h 4596459"/>
              <a:gd name="connsiteX2592" fmla="*/ 2655927 w 4716235"/>
              <a:gd name="connsiteY2592" fmla="*/ 4305740 h 4596459"/>
              <a:gd name="connsiteX2593" fmla="*/ 2645191 w 4716235"/>
              <a:gd name="connsiteY2593" fmla="*/ 4316477 h 4596459"/>
              <a:gd name="connsiteX2594" fmla="*/ 2634455 w 4716235"/>
              <a:gd name="connsiteY2594" fmla="*/ 4305740 h 4596459"/>
              <a:gd name="connsiteX2595" fmla="*/ 2645191 w 4716235"/>
              <a:gd name="connsiteY2595" fmla="*/ 4295004 h 4596459"/>
              <a:gd name="connsiteX2596" fmla="*/ 997674 w 4716235"/>
              <a:gd name="connsiteY2596" fmla="*/ 4294178 h 4596459"/>
              <a:gd name="connsiteX2597" fmla="*/ 1008412 w 4716235"/>
              <a:gd name="connsiteY2597" fmla="*/ 4304915 h 4596459"/>
              <a:gd name="connsiteX2598" fmla="*/ 997674 w 4716235"/>
              <a:gd name="connsiteY2598" fmla="*/ 4315653 h 4596459"/>
              <a:gd name="connsiteX2599" fmla="*/ 986937 w 4716235"/>
              <a:gd name="connsiteY2599" fmla="*/ 4304915 h 4596459"/>
              <a:gd name="connsiteX2600" fmla="*/ 997674 w 4716235"/>
              <a:gd name="connsiteY2600" fmla="*/ 4294178 h 4596459"/>
              <a:gd name="connsiteX2601" fmla="*/ 848019 w 4716235"/>
              <a:gd name="connsiteY2601" fmla="*/ 4293518 h 4596459"/>
              <a:gd name="connsiteX2602" fmla="*/ 858755 w 4716235"/>
              <a:gd name="connsiteY2602" fmla="*/ 4304254 h 4596459"/>
              <a:gd name="connsiteX2603" fmla="*/ 848019 w 4716235"/>
              <a:gd name="connsiteY2603" fmla="*/ 4314990 h 4596459"/>
              <a:gd name="connsiteX2604" fmla="*/ 837282 w 4716235"/>
              <a:gd name="connsiteY2604" fmla="*/ 4304254 h 4596459"/>
              <a:gd name="connsiteX2605" fmla="*/ 848019 w 4716235"/>
              <a:gd name="connsiteY2605" fmla="*/ 4293518 h 4596459"/>
              <a:gd name="connsiteX2606" fmla="*/ 1304415 w 4716235"/>
              <a:gd name="connsiteY2606" fmla="*/ 4293022 h 4596459"/>
              <a:gd name="connsiteX2607" fmla="*/ 1315151 w 4716235"/>
              <a:gd name="connsiteY2607" fmla="*/ 4303758 h 4596459"/>
              <a:gd name="connsiteX2608" fmla="*/ 1304415 w 4716235"/>
              <a:gd name="connsiteY2608" fmla="*/ 4314496 h 4596459"/>
              <a:gd name="connsiteX2609" fmla="*/ 1293679 w 4716235"/>
              <a:gd name="connsiteY2609" fmla="*/ 4303758 h 4596459"/>
              <a:gd name="connsiteX2610" fmla="*/ 1304415 w 4716235"/>
              <a:gd name="connsiteY2610" fmla="*/ 4293022 h 4596459"/>
              <a:gd name="connsiteX2611" fmla="*/ 1749248 w 4716235"/>
              <a:gd name="connsiteY2611" fmla="*/ 4286910 h 4596459"/>
              <a:gd name="connsiteX2612" fmla="*/ 1759986 w 4716235"/>
              <a:gd name="connsiteY2612" fmla="*/ 4297647 h 4596459"/>
              <a:gd name="connsiteX2613" fmla="*/ 1749248 w 4716235"/>
              <a:gd name="connsiteY2613" fmla="*/ 4308385 h 4596459"/>
              <a:gd name="connsiteX2614" fmla="*/ 1738511 w 4716235"/>
              <a:gd name="connsiteY2614" fmla="*/ 4297647 h 4596459"/>
              <a:gd name="connsiteX2615" fmla="*/ 1749248 w 4716235"/>
              <a:gd name="connsiteY2615" fmla="*/ 4286910 h 4596459"/>
              <a:gd name="connsiteX2616" fmla="*/ 2779650 w 4716235"/>
              <a:gd name="connsiteY2616" fmla="*/ 4286746 h 4596459"/>
              <a:gd name="connsiteX2617" fmla="*/ 2790221 w 4716235"/>
              <a:gd name="connsiteY2617" fmla="*/ 4297315 h 4596459"/>
              <a:gd name="connsiteX2618" fmla="*/ 2793854 w 4716235"/>
              <a:gd name="connsiteY2618" fmla="*/ 4293682 h 4596459"/>
              <a:gd name="connsiteX2619" fmla="*/ 2802940 w 4716235"/>
              <a:gd name="connsiteY2619" fmla="*/ 4302768 h 4596459"/>
              <a:gd name="connsiteX2620" fmla="*/ 2806739 w 4716235"/>
              <a:gd name="connsiteY2620" fmla="*/ 4298968 h 4596459"/>
              <a:gd name="connsiteX2621" fmla="*/ 2814420 w 4716235"/>
              <a:gd name="connsiteY2621" fmla="*/ 4306649 h 4596459"/>
              <a:gd name="connsiteX2622" fmla="*/ 2818301 w 4716235"/>
              <a:gd name="connsiteY2622" fmla="*/ 4302768 h 4596459"/>
              <a:gd name="connsiteX2623" fmla="*/ 2824992 w 4716235"/>
              <a:gd name="connsiteY2623" fmla="*/ 4309457 h 4596459"/>
              <a:gd name="connsiteX2624" fmla="*/ 2828873 w 4716235"/>
              <a:gd name="connsiteY2624" fmla="*/ 4305575 h 4596459"/>
              <a:gd name="connsiteX2625" fmla="*/ 2834821 w 4716235"/>
              <a:gd name="connsiteY2625" fmla="*/ 4311522 h 4596459"/>
              <a:gd name="connsiteX2626" fmla="*/ 2838454 w 4716235"/>
              <a:gd name="connsiteY2626" fmla="*/ 4307889 h 4596459"/>
              <a:gd name="connsiteX2627" fmla="*/ 2843905 w 4716235"/>
              <a:gd name="connsiteY2627" fmla="*/ 4313339 h 4596459"/>
              <a:gd name="connsiteX2628" fmla="*/ 2847539 w 4716235"/>
              <a:gd name="connsiteY2628" fmla="*/ 4309705 h 4596459"/>
              <a:gd name="connsiteX2629" fmla="*/ 2852577 w 4716235"/>
              <a:gd name="connsiteY2629" fmla="*/ 4314742 h 4596459"/>
              <a:gd name="connsiteX2630" fmla="*/ 2855962 w 4716235"/>
              <a:gd name="connsiteY2630" fmla="*/ 4311357 h 4596459"/>
              <a:gd name="connsiteX2631" fmla="*/ 2861002 w 4716235"/>
              <a:gd name="connsiteY2631" fmla="*/ 4316397 h 4596459"/>
              <a:gd name="connsiteX2632" fmla="*/ 2864058 w 4716235"/>
              <a:gd name="connsiteY2632" fmla="*/ 4313339 h 4596459"/>
              <a:gd name="connsiteX2633" fmla="*/ 2869177 w 4716235"/>
              <a:gd name="connsiteY2633" fmla="*/ 4318459 h 4596459"/>
              <a:gd name="connsiteX2634" fmla="*/ 2871820 w 4716235"/>
              <a:gd name="connsiteY2634" fmla="*/ 4315816 h 4596459"/>
              <a:gd name="connsiteX2635" fmla="*/ 2877189 w 4716235"/>
              <a:gd name="connsiteY2635" fmla="*/ 4321185 h 4596459"/>
              <a:gd name="connsiteX2636" fmla="*/ 2879584 w 4716235"/>
              <a:gd name="connsiteY2636" fmla="*/ 4318790 h 4596459"/>
              <a:gd name="connsiteX2637" fmla="*/ 2885530 w 4716235"/>
              <a:gd name="connsiteY2637" fmla="*/ 4324736 h 4596459"/>
              <a:gd name="connsiteX2638" fmla="*/ 2887512 w 4716235"/>
              <a:gd name="connsiteY2638" fmla="*/ 4322754 h 4596459"/>
              <a:gd name="connsiteX2639" fmla="*/ 2893872 w 4716235"/>
              <a:gd name="connsiteY2639" fmla="*/ 4329114 h 4596459"/>
              <a:gd name="connsiteX2640" fmla="*/ 2895276 w 4716235"/>
              <a:gd name="connsiteY2640" fmla="*/ 4327709 h 4596459"/>
              <a:gd name="connsiteX2641" fmla="*/ 2902463 w 4716235"/>
              <a:gd name="connsiteY2641" fmla="*/ 4334894 h 4596459"/>
              <a:gd name="connsiteX2642" fmla="*/ 2903535 w 4716235"/>
              <a:gd name="connsiteY2642" fmla="*/ 4333822 h 4596459"/>
              <a:gd name="connsiteX2643" fmla="*/ 2911547 w 4716235"/>
              <a:gd name="connsiteY2643" fmla="*/ 4341832 h 4596459"/>
              <a:gd name="connsiteX2644" fmla="*/ 2911959 w 4716235"/>
              <a:gd name="connsiteY2644" fmla="*/ 4341419 h 4596459"/>
              <a:gd name="connsiteX2645" fmla="*/ 2922697 w 4716235"/>
              <a:gd name="connsiteY2645" fmla="*/ 4352156 h 4596459"/>
              <a:gd name="connsiteX2646" fmla="*/ 2922614 w 4716235"/>
              <a:gd name="connsiteY2646" fmla="*/ 4352241 h 4596459"/>
              <a:gd name="connsiteX2647" fmla="*/ 2931452 w 4716235"/>
              <a:gd name="connsiteY2647" fmla="*/ 4361076 h 4596459"/>
              <a:gd name="connsiteX2648" fmla="*/ 2920713 w 4716235"/>
              <a:gd name="connsiteY2648" fmla="*/ 4371814 h 4596459"/>
              <a:gd name="connsiteX2649" fmla="*/ 2909977 w 4716235"/>
              <a:gd name="connsiteY2649" fmla="*/ 4361076 h 4596459"/>
              <a:gd name="connsiteX2650" fmla="*/ 2910060 w 4716235"/>
              <a:gd name="connsiteY2650" fmla="*/ 4360993 h 4596459"/>
              <a:gd name="connsiteX2651" fmla="*/ 2903949 w 4716235"/>
              <a:gd name="connsiteY2651" fmla="*/ 4354882 h 4596459"/>
              <a:gd name="connsiteX2652" fmla="*/ 2903535 w 4716235"/>
              <a:gd name="connsiteY2652" fmla="*/ 4355296 h 4596459"/>
              <a:gd name="connsiteX2653" fmla="*/ 2896350 w 4716235"/>
              <a:gd name="connsiteY2653" fmla="*/ 4348110 h 4596459"/>
              <a:gd name="connsiteX2654" fmla="*/ 2895276 w 4716235"/>
              <a:gd name="connsiteY2654" fmla="*/ 4349183 h 4596459"/>
              <a:gd name="connsiteX2655" fmla="*/ 2888917 w 4716235"/>
              <a:gd name="connsiteY2655" fmla="*/ 4342824 h 4596459"/>
              <a:gd name="connsiteX2656" fmla="*/ 2887512 w 4716235"/>
              <a:gd name="connsiteY2656" fmla="*/ 4344227 h 4596459"/>
              <a:gd name="connsiteX2657" fmla="*/ 2881566 w 4716235"/>
              <a:gd name="connsiteY2657" fmla="*/ 4338280 h 4596459"/>
              <a:gd name="connsiteX2658" fmla="*/ 2879584 w 4716235"/>
              <a:gd name="connsiteY2658" fmla="*/ 4340263 h 4596459"/>
              <a:gd name="connsiteX2659" fmla="*/ 2874215 w 4716235"/>
              <a:gd name="connsiteY2659" fmla="*/ 4334895 h 4596459"/>
              <a:gd name="connsiteX2660" fmla="*/ 2871820 w 4716235"/>
              <a:gd name="connsiteY2660" fmla="*/ 4337290 h 4596459"/>
              <a:gd name="connsiteX2661" fmla="*/ 2866700 w 4716235"/>
              <a:gd name="connsiteY2661" fmla="*/ 4332171 h 4596459"/>
              <a:gd name="connsiteX2662" fmla="*/ 2864058 w 4716235"/>
              <a:gd name="connsiteY2662" fmla="*/ 4334814 h 4596459"/>
              <a:gd name="connsiteX2663" fmla="*/ 2859018 w 4716235"/>
              <a:gd name="connsiteY2663" fmla="*/ 4329774 h 4596459"/>
              <a:gd name="connsiteX2664" fmla="*/ 2855962 w 4716235"/>
              <a:gd name="connsiteY2664" fmla="*/ 4332830 h 4596459"/>
              <a:gd name="connsiteX2665" fmla="*/ 2850925 w 4716235"/>
              <a:gd name="connsiteY2665" fmla="*/ 4327794 h 4596459"/>
              <a:gd name="connsiteX2666" fmla="*/ 2847539 w 4716235"/>
              <a:gd name="connsiteY2666" fmla="*/ 4331179 h 4596459"/>
              <a:gd name="connsiteX2667" fmla="*/ 2842089 w 4716235"/>
              <a:gd name="connsiteY2667" fmla="*/ 4325728 h 4596459"/>
              <a:gd name="connsiteX2668" fmla="*/ 2838454 w 4716235"/>
              <a:gd name="connsiteY2668" fmla="*/ 4329362 h 4596459"/>
              <a:gd name="connsiteX2669" fmla="*/ 2832508 w 4716235"/>
              <a:gd name="connsiteY2669" fmla="*/ 4323415 h 4596459"/>
              <a:gd name="connsiteX2670" fmla="*/ 2828873 w 4716235"/>
              <a:gd name="connsiteY2670" fmla="*/ 4327050 h 4596459"/>
              <a:gd name="connsiteX2671" fmla="*/ 2822184 w 4716235"/>
              <a:gd name="connsiteY2671" fmla="*/ 4320359 h 4596459"/>
              <a:gd name="connsiteX2672" fmla="*/ 2818301 w 4716235"/>
              <a:gd name="connsiteY2672" fmla="*/ 4324240 h 4596459"/>
              <a:gd name="connsiteX2673" fmla="*/ 2810620 w 4716235"/>
              <a:gd name="connsiteY2673" fmla="*/ 4316560 h 4596459"/>
              <a:gd name="connsiteX2674" fmla="*/ 2806739 w 4716235"/>
              <a:gd name="connsiteY2674" fmla="*/ 4320441 h 4596459"/>
              <a:gd name="connsiteX2675" fmla="*/ 2797654 w 4716235"/>
              <a:gd name="connsiteY2675" fmla="*/ 4311357 h 4596459"/>
              <a:gd name="connsiteX2676" fmla="*/ 2793854 w 4716235"/>
              <a:gd name="connsiteY2676" fmla="*/ 4315157 h 4596459"/>
              <a:gd name="connsiteX2677" fmla="*/ 2783284 w 4716235"/>
              <a:gd name="connsiteY2677" fmla="*/ 4304585 h 4596459"/>
              <a:gd name="connsiteX2678" fmla="*/ 2779650 w 4716235"/>
              <a:gd name="connsiteY2678" fmla="*/ 4308218 h 4596459"/>
              <a:gd name="connsiteX2679" fmla="*/ 2768913 w 4716235"/>
              <a:gd name="connsiteY2679" fmla="*/ 4297482 h 4596459"/>
              <a:gd name="connsiteX2680" fmla="*/ 2779650 w 4716235"/>
              <a:gd name="connsiteY2680" fmla="*/ 4286746 h 4596459"/>
              <a:gd name="connsiteX2681" fmla="*/ 2479681 w 4716235"/>
              <a:gd name="connsiteY2681" fmla="*/ 4286579 h 4596459"/>
              <a:gd name="connsiteX2682" fmla="*/ 2490418 w 4716235"/>
              <a:gd name="connsiteY2682" fmla="*/ 4297315 h 4596459"/>
              <a:gd name="connsiteX2683" fmla="*/ 2479681 w 4716235"/>
              <a:gd name="connsiteY2683" fmla="*/ 4308052 h 4596459"/>
              <a:gd name="connsiteX2684" fmla="*/ 2468944 w 4716235"/>
              <a:gd name="connsiteY2684" fmla="*/ 4297315 h 4596459"/>
              <a:gd name="connsiteX2685" fmla="*/ 2479681 w 4716235"/>
              <a:gd name="connsiteY2685" fmla="*/ 4286579 h 4596459"/>
              <a:gd name="connsiteX2686" fmla="*/ 1882879 w 4716235"/>
              <a:gd name="connsiteY2686" fmla="*/ 4285589 h 4596459"/>
              <a:gd name="connsiteX2687" fmla="*/ 1893617 w 4716235"/>
              <a:gd name="connsiteY2687" fmla="*/ 4296325 h 4596459"/>
              <a:gd name="connsiteX2688" fmla="*/ 1882879 w 4716235"/>
              <a:gd name="connsiteY2688" fmla="*/ 4307062 h 4596459"/>
              <a:gd name="connsiteX2689" fmla="*/ 1872143 w 4716235"/>
              <a:gd name="connsiteY2689" fmla="*/ 4296325 h 4596459"/>
              <a:gd name="connsiteX2690" fmla="*/ 1882879 w 4716235"/>
              <a:gd name="connsiteY2690" fmla="*/ 4285589 h 4596459"/>
              <a:gd name="connsiteX2691" fmla="*/ 2322428 w 4716235"/>
              <a:gd name="connsiteY2691" fmla="*/ 4283440 h 4596459"/>
              <a:gd name="connsiteX2692" fmla="*/ 2333166 w 4716235"/>
              <a:gd name="connsiteY2692" fmla="*/ 4294177 h 4596459"/>
              <a:gd name="connsiteX2693" fmla="*/ 2322428 w 4716235"/>
              <a:gd name="connsiteY2693" fmla="*/ 4304913 h 4596459"/>
              <a:gd name="connsiteX2694" fmla="*/ 2311691 w 4716235"/>
              <a:gd name="connsiteY2694" fmla="*/ 4294177 h 4596459"/>
              <a:gd name="connsiteX2695" fmla="*/ 2322428 w 4716235"/>
              <a:gd name="connsiteY2695" fmla="*/ 4283440 h 4596459"/>
              <a:gd name="connsiteX2696" fmla="*/ 1615781 w 4716235"/>
              <a:gd name="connsiteY2696" fmla="*/ 4283276 h 4596459"/>
              <a:gd name="connsiteX2697" fmla="*/ 1626519 w 4716235"/>
              <a:gd name="connsiteY2697" fmla="*/ 4294012 h 4596459"/>
              <a:gd name="connsiteX2698" fmla="*/ 1615781 w 4716235"/>
              <a:gd name="connsiteY2698" fmla="*/ 4304750 h 4596459"/>
              <a:gd name="connsiteX2699" fmla="*/ 1605045 w 4716235"/>
              <a:gd name="connsiteY2699" fmla="*/ 4294012 h 4596459"/>
              <a:gd name="connsiteX2700" fmla="*/ 1615781 w 4716235"/>
              <a:gd name="connsiteY2700" fmla="*/ 4283276 h 4596459"/>
              <a:gd name="connsiteX2701" fmla="*/ 868172 w 4716235"/>
              <a:gd name="connsiteY2701" fmla="*/ 4281789 h 4596459"/>
              <a:gd name="connsiteX2702" fmla="*/ 878908 w 4716235"/>
              <a:gd name="connsiteY2702" fmla="*/ 4292526 h 4596459"/>
              <a:gd name="connsiteX2703" fmla="*/ 868172 w 4716235"/>
              <a:gd name="connsiteY2703" fmla="*/ 4303264 h 4596459"/>
              <a:gd name="connsiteX2704" fmla="*/ 857435 w 4716235"/>
              <a:gd name="connsiteY2704" fmla="*/ 4292526 h 4596459"/>
              <a:gd name="connsiteX2705" fmla="*/ 868172 w 4716235"/>
              <a:gd name="connsiteY2705" fmla="*/ 4281789 h 4596459"/>
              <a:gd name="connsiteX2706" fmla="*/ 2620415 w 4716235"/>
              <a:gd name="connsiteY2706" fmla="*/ 4279972 h 4596459"/>
              <a:gd name="connsiteX2707" fmla="*/ 2631151 w 4716235"/>
              <a:gd name="connsiteY2707" fmla="*/ 4290708 h 4596459"/>
              <a:gd name="connsiteX2708" fmla="*/ 2620415 w 4716235"/>
              <a:gd name="connsiteY2708" fmla="*/ 4301445 h 4596459"/>
              <a:gd name="connsiteX2709" fmla="*/ 2609678 w 4716235"/>
              <a:gd name="connsiteY2709" fmla="*/ 4290708 h 4596459"/>
              <a:gd name="connsiteX2710" fmla="*/ 2620415 w 4716235"/>
              <a:gd name="connsiteY2710" fmla="*/ 4279972 h 4596459"/>
              <a:gd name="connsiteX2711" fmla="*/ 2015851 w 4716235"/>
              <a:gd name="connsiteY2711" fmla="*/ 4279478 h 4596459"/>
              <a:gd name="connsiteX2712" fmla="*/ 2026589 w 4716235"/>
              <a:gd name="connsiteY2712" fmla="*/ 4290214 h 4596459"/>
              <a:gd name="connsiteX2713" fmla="*/ 2015851 w 4716235"/>
              <a:gd name="connsiteY2713" fmla="*/ 4300950 h 4596459"/>
              <a:gd name="connsiteX2714" fmla="*/ 2005115 w 4716235"/>
              <a:gd name="connsiteY2714" fmla="*/ 4290214 h 4596459"/>
              <a:gd name="connsiteX2715" fmla="*/ 2015851 w 4716235"/>
              <a:gd name="connsiteY2715" fmla="*/ 4279478 h 4596459"/>
              <a:gd name="connsiteX2716" fmla="*/ 2763627 w 4716235"/>
              <a:gd name="connsiteY2716" fmla="*/ 4277660 h 4596459"/>
              <a:gd name="connsiteX2717" fmla="*/ 2774365 w 4716235"/>
              <a:gd name="connsiteY2717" fmla="*/ 4288397 h 4596459"/>
              <a:gd name="connsiteX2718" fmla="*/ 2763627 w 4716235"/>
              <a:gd name="connsiteY2718" fmla="*/ 4299135 h 4596459"/>
              <a:gd name="connsiteX2719" fmla="*/ 2752891 w 4716235"/>
              <a:gd name="connsiteY2719" fmla="*/ 4288397 h 4596459"/>
              <a:gd name="connsiteX2720" fmla="*/ 2763627 w 4716235"/>
              <a:gd name="connsiteY2720" fmla="*/ 4277660 h 4596459"/>
              <a:gd name="connsiteX2721" fmla="*/ 1483140 w 4716235"/>
              <a:gd name="connsiteY2721" fmla="*/ 4275182 h 4596459"/>
              <a:gd name="connsiteX2722" fmla="*/ 1493878 w 4716235"/>
              <a:gd name="connsiteY2722" fmla="*/ 4285918 h 4596459"/>
              <a:gd name="connsiteX2723" fmla="*/ 1483140 w 4716235"/>
              <a:gd name="connsiteY2723" fmla="*/ 4296655 h 4596459"/>
              <a:gd name="connsiteX2724" fmla="*/ 1472404 w 4716235"/>
              <a:gd name="connsiteY2724" fmla="*/ 4285918 h 4596459"/>
              <a:gd name="connsiteX2725" fmla="*/ 1483140 w 4716235"/>
              <a:gd name="connsiteY2725" fmla="*/ 4275182 h 4596459"/>
              <a:gd name="connsiteX2726" fmla="*/ 1027736 w 4716235"/>
              <a:gd name="connsiteY2726" fmla="*/ 4275182 h 4596459"/>
              <a:gd name="connsiteX2727" fmla="*/ 1038472 w 4716235"/>
              <a:gd name="connsiteY2727" fmla="*/ 4285918 h 4596459"/>
              <a:gd name="connsiteX2728" fmla="*/ 1027736 w 4716235"/>
              <a:gd name="connsiteY2728" fmla="*/ 4296655 h 4596459"/>
              <a:gd name="connsiteX2729" fmla="*/ 1016999 w 4716235"/>
              <a:gd name="connsiteY2729" fmla="*/ 4285918 h 4596459"/>
              <a:gd name="connsiteX2730" fmla="*/ 1027736 w 4716235"/>
              <a:gd name="connsiteY2730" fmla="*/ 4275182 h 4596459"/>
              <a:gd name="connsiteX2731" fmla="*/ 1181190 w 4716235"/>
              <a:gd name="connsiteY2731" fmla="*/ 4274357 h 4596459"/>
              <a:gd name="connsiteX2732" fmla="*/ 1191929 w 4716235"/>
              <a:gd name="connsiteY2732" fmla="*/ 4285093 h 4596459"/>
              <a:gd name="connsiteX2733" fmla="*/ 1181190 w 4716235"/>
              <a:gd name="connsiteY2733" fmla="*/ 4295829 h 4596459"/>
              <a:gd name="connsiteX2734" fmla="*/ 1170454 w 4716235"/>
              <a:gd name="connsiteY2734" fmla="*/ 4285093 h 4596459"/>
              <a:gd name="connsiteX2735" fmla="*/ 1181190 w 4716235"/>
              <a:gd name="connsiteY2735" fmla="*/ 4274357 h 4596459"/>
              <a:gd name="connsiteX2736" fmla="*/ 739164 w 4716235"/>
              <a:gd name="connsiteY2736" fmla="*/ 4272539 h 4596459"/>
              <a:gd name="connsiteX2737" fmla="*/ 749902 w 4716235"/>
              <a:gd name="connsiteY2737" fmla="*/ 4283276 h 4596459"/>
              <a:gd name="connsiteX2738" fmla="*/ 739164 w 4716235"/>
              <a:gd name="connsiteY2738" fmla="*/ 4294014 h 4596459"/>
              <a:gd name="connsiteX2739" fmla="*/ 736356 w 4716235"/>
              <a:gd name="connsiteY2739" fmla="*/ 4291206 h 4596459"/>
              <a:gd name="connsiteX2740" fmla="*/ 726445 w 4716235"/>
              <a:gd name="connsiteY2740" fmla="*/ 4301117 h 4596459"/>
              <a:gd name="connsiteX2741" fmla="*/ 723471 w 4716235"/>
              <a:gd name="connsiteY2741" fmla="*/ 4298143 h 4596459"/>
              <a:gd name="connsiteX2742" fmla="*/ 715213 w 4716235"/>
              <a:gd name="connsiteY2742" fmla="*/ 4306403 h 4596459"/>
              <a:gd name="connsiteX2743" fmla="*/ 712157 w 4716235"/>
              <a:gd name="connsiteY2743" fmla="*/ 4303347 h 4596459"/>
              <a:gd name="connsiteX2744" fmla="*/ 704972 w 4716235"/>
              <a:gd name="connsiteY2744" fmla="*/ 4310532 h 4596459"/>
              <a:gd name="connsiteX2745" fmla="*/ 701915 w 4716235"/>
              <a:gd name="connsiteY2745" fmla="*/ 4307474 h 4596459"/>
              <a:gd name="connsiteX2746" fmla="*/ 695887 w 4716235"/>
              <a:gd name="connsiteY2746" fmla="*/ 4313504 h 4596459"/>
              <a:gd name="connsiteX2747" fmla="*/ 692913 w 4716235"/>
              <a:gd name="connsiteY2747" fmla="*/ 4310530 h 4596459"/>
              <a:gd name="connsiteX2748" fmla="*/ 687462 w 4716235"/>
              <a:gd name="connsiteY2748" fmla="*/ 4315981 h 4596459"/>
              <a:gd name="connsiteX2749" fmla="*/ 684573 w 4716235"/>
              <a:gd name="connsiteY2749" fmla="*/ 4313091 h 4596459"/>
              <a:gd name="connsiteX2750" fmla="*/ 679534 w 4716235"/>
              <a:gd name="connsiteY2750" fmla="*/ 4318129 h 4596459"/>
              <a:gd name="connsiteX2751" fmla="*/ 676974 w 4716235"/>
              <a:gd name="connsiteY2751" fmla="*/ 4315570 h 4596459"/>
              <a:gd name="connsiteX2752" fmla="*/ 672266 w 4716235"/>
              <a:gd name="connsiteY2752" fmla="*/ 4320278 h 4596459"/>
              <a:gd name="connsiteX2753" fmla="*/ 669787 w 4716235"/>
              <a:gd name="connsiteY2753" fmla="*/ 4317800 h 4596459"/>
              <a:gd name="connsiteX2754" fmla="*/ 664998 w 4716235"/>
              <a:gd name="connsiteY2754" fmla="*/ 4322588 h 4596459"/>
              <a:gd name="connsiteX2755" fmla="*/ 662934 w 4716235"/>
              <a:gd name="connsiteY2755" fmla="*/ 4320524 h 4596459"/>
              <a:gd name="connsiteX2756" fmla="*/ 658061 w 4716235"/>
              <a:gd name="connsiteY2756" fmla="*/ 4325397 h 4596459"/>
              <a:gd name="connsiteX2757" fmla="*/ 656327 w 4716235"/>
              <a:gd name="connsiteY2757" fmla="*/ 4323663 h 4596459"/>
              <a:gd name="connsiteX2758" fmla="*/ 651122 w 4716235"/>
              <a:gd name="connsiteY2758" fmla="*/ 4328866 h 4596459"/>
              <a:gd name="connsiteX2759" fmla="*/ 649803 w 4716235"/>
              <a:gd name="connsiteY2759" fmla="*/ 4327546 h 4596459"/>
              <a:gd name="connsiteX2760" fmla="*/ 644186 w 4716235"/>
              <a:gd name="connsiteY2760" fmla="*/ 4333161 h 4596459"/>
              <a:gd name="connsiteX2761" fmla="*/ 643277 w 4716235"/>
              <a:gd name="connsiteY2761" fmla="*/ 4332252 h 4596459"/>
              <a:gd name="connsiteX2762" fmla="*/ 636918 w 4716235"/>
              <a:gd name="connsiteY2762" fmla="*/ 4338612 h 4596459"/>
              <a:gd name="connsiteX2763" fmla="*/ 636422 w 4716235"/>
              <a:gd name="connsiteY2763" fmla="*/ 4338117 h 4596459"/>
              <a:gd name="connsiteX2764" fmla="*/ 629318 w 4716235"/>
              <a:gd name="connsiteY2764" fmla="*/ 4345219 h 4596459"/>
              <a:gd name="connsiteX2765" fmla="*/ 618582 w 4716235"/>
              <a:gd name="connsiteY2765" fmla="*/ 4334483 h 4596459"/>
              <a:gd name="connsiteX2766" fmla="*/ 629318 w 4716235"/>
              <a:gd name="connsiteY2766" fmla="*/ 4323746 h 4596459"/>
              <a:gd name="connsiteX2767" fmla="*/ 629814 w 4716235"/>
              <a:gd name="connsiteY2767" fmla="*/ 4324242 h 4596459"/>
              <a:gd name="connsiteX2768" fmla="*/ 636918 w 4716235"/>
              <a:gd name="connsiteY2768" fmla="*/ 4317139 h 4596459"/>
              <a:gd name="connsiteX2769" fmla="*/ 637826 w 4716235"/>
              <a:gd name="connsiteY2769" fmla="*/ 4318048 h 4596459"/>
              <a:gd name="connsiteX2770" fmla="*/ 644186 w 4716235"/>
              <a:gd name="connsiteY2770" fmla="*/ 4311687 h 4596459"/>
              <a:gd name="connsiteX2771" fmla="*/ 645507 w 4716235"/>
              <a:gd name="connsiteY2771" fmla="*/ 4313008 h 4596459"/>
              <a:gd name="connsiteX2772" fmla="*/ 651122 w 4716235"/>
              <a:gd name="connsiteY2772" fmla="*/ 4307393 h 4596459"/>
              <a:gd name="connsiteX2773" fmla="*/ 652857 w 4716235"/>
              <a:gd name="connsiteY2773" fmla="*/ 4309127 h 4596459"/>
              <a:gd name="connsiteX2774" fmla="*/ 658061 w 4716235"/>
              <a:gd name="connsiteY2774" fmla="*/ 4303923 h 4596459"/>
              <a:gd name="connsiteX2775" fmla="*/ 660126 w 4716235"/>
              <a:gd name="connsiteY2775" fmla="*/ 4305988 h 4596459"/>
              <a:gd name="connsiteX2776" fmla="*/ 664998 w 4716235"/>
              <a:gd name="connsiteY2776" fmla="*/ 4301115 h 4596459"/>
              <a:gd name="connsiteX2777" fmla="*/ 667476 w 4716235"/>
              <a:gd name="connsiteY2777" fmla="*/ 4303593 h 4596459"/>
              <a:gd name="connsiteX2778" fmla="*/ 672266 w 4716235"/>
              <a:gd name="connsiteY2778" fmla="*/ 4298803 h 4596459"/>
              <a:gd name="connsiteX2779" fmla="*/ 674825 w 4716235"/>
              <a:gd name="connsiteY2779" fmla="*/ 4301363 h 4596459"/>
              <a:gd name="connsiteX2780" fmla="*/ 679534 w 4716235"/>
              <a:gd name="connsiteY2780" fmla="*/ 4296655 h 4596459"/>
              <a:gd name="connsiteX2781" fmla="*/ 682425 w 4716235"/>
              <a:gd name="connsiteY2781" fmla="*/ 4299546 h 4596459"/>
              <a:gd name="connsiteX2782" fmla="*/ 687462 w 4716235"/>
              <a:gd name="connsiteY2782" fmla="*/ 4294508 h 4596459"/>
              <a:gd name="connsiteX2783" fmla="*/ 690436 w 4716235"/>
              <a:gd name="connsiteY2783" fmla="*/ 4297482 h 4596459"/>
              <a:gd name="connsiteX2784" fmla="*/ 695887 w 4716235"/>
              <a:gd name="connsiteY2784" fmla="*/ 4292030 h 4596459"/>
              <a:gd name="connsiteX2785" fmla="*/ 698944 w 4716235"/>
              <a:gd name="connsiteY2785" fmla="*/ 4295087 h 4596459"/>
              <a:gd name="connsiteX2786" fmla="*/ 704972 w 4716235"/>
              <a:gd name="connsiteY2786" fmla="*/ 4289057 h 4596459"/>
              <a:gd name="connsiteX2787" fmla="*/ 708028 w 4716235"/>
              <a:gd name="connsiteY2787" fmla="*/ 4292113 h 4596459"/>
              <a:gd name="connsiteX2788" fmla="*/ 715213 w 4716235"/>
              <a:gd name="connsiteY2788" fmla="*/ 4284928 h 4596459"/>
              <a:gd name="connsiteX2789" fmla="*/ 718187 w 4716235"/>
              <a:gd name="connsiteY2789" fmla="*/ 4287902 h 4596459"/>
              <a:gd name="connsiteX2790" fmla="*/ 726445 w 4716235"/>
              <a:gd name="connsiteY2790" fmla="*/ 4279642 h 4596459"/>
              <a:gd name="connsiteX2791" fmla="*/ 729253 w 4716235"/>
              <a:gd name="connsiteY2791" fmla="*/ 4282450 h 4596459"/>
              <a:gd name="connsiteX2792" fmla="*/ 2147665 w 4716235"/>
              <a:gd name="connsiteY2792" fmla="*/ 4268740 h 4596459"/>
              <a:gd name="connsiteX2793" fmla="*/ 2158403 w 4716235"/>
              <a:gd name="connsiteY2793" fmla="*/ 4279476 h 4596459"/>
              <a:gd name="connsiteX2794" fmla="*/ 2147665 w 4716235"/>
              <a:gd name="connsiteY2794" fmla="*/ 4290212 h 4596459"/>
              <a:gd name="connsiteX2795" fmla="*/ 2136929 w 4716235"/>
              <a:gd name="connsiteY2795" fmla="*/ 4279476 h 4596459"/>
              <a:gd name="connsiteX2796" fmla="*/ 2147665 w 4716235"/>
              <a:gd name="connsiteY2796" fmla="*/ 4268740 h 4596459"/>
              <a:gd name="connsiteX2797" fmla="*/ 890801 w 4716235"/>
              <a:gd name="connsiteY2797" fmla="*/ 4266922 h 4596459"/>
              <a:gd name="connsiteX2798" fmla="*/ 901539 w 4716235"/>
              <a:gd name="connsiteY2798" fmla="*/ 4277658 h 4596459"/>
              <a:gd name="connsiteX2799" fmla="*/ 890801 w 4716235"/>
              <a:gd name="connsiteY2799" fmla="*/ 4288395 h 4596459"/>
              <a:gd name="connsiteX2800" fmla="*/ 880064 w 4716235"/>
              <a:gd name="connsiteY2800" fmla="*/ 4277658 h 4596459"/>
              <a:gd name="connsiteX2801" fmla="*/ 890801 w 4716235"/>
              <a:gd name="connsiteY2801" fmla="*/ 4266922 h 4596459"/>
              <a:gd name="connsiteX2802" fmla="*/ 457530 w 4716235"/>
              <a:gd name="connsiteY2802" fmla="*/ 4266593 h 4596459"/>
              <a:gd name="connsiteX2803" fmla="*/ 457695 w 4716235"/>
              <a:gd name="connsiteY2803" fmla="*/ 4266757 h 4596459"/>
              <a:gd name="connsiteX2804" fmla="*/ 457530 w 4716235"/>
              <a:gd name="connsiteY2804" fmla="*/ 4266922 h 4596459"/>
              <a:gd name="connsiteX2805" fmla="*/ 457365 w 4716235"/>
              <a:gd name="connsiteY2805" fmla="*/ 4266757 h 4596459"/>
              <a:gd name="connsiteX2806" fmla="*/ 457530 w 4716235"/>
              <a:gd name="connsiteY2806" fmla="*/ 4266593 h 4596459"/>
              <a:gd name="connsiteX2807" fmla="*/ 2745621 w 4716235"/>
              <a:gd name="connsiteY2807" fmla="*/ 4265932 h 4596459"/>
              <a:gd name="connsiteX2808" fmla="*/ 2756358 w 4716235"/>
              <a:gd name="connsiteY2808" fmla="*/ 4276668 h 4596459"/>
              <a:gd name="connsiteX2809" fmla="*/ 2745621 w 4716235"/>
              <a:gd name="connsiteY2809" fmla="*/ 4287405 h 4596459"/>
              <a:gd name="connsiteX2810" fmla="*/ 2734885 w 4716235"/>
              <a:gd name="connsiteY2810" fmla="*/ 4276668 h 4596459"/>
              <a:gd name="connsiteX2811" fmla="*/ 2745621 w 4716235"/>
              <a:gd name="connsiteY2811" fmla="*/ 4265932 h 4596459"/>
              <a:gd name="connsiteX2812" fmla="*/ 753370 w 4716235"/>
              <a:gd name="connsiteY2812" fmla="*/ 4263289 h 4596459"/>
              <a:gd name="connsiteX2813" fmla="*/ 764108 w 4716235"/>
              <a:gd name="connsiteY2813" fmla="*/ 4274025 h 4596459"/>
              <a:gd name="connsiteX2814" fmla="*/ 753370 w 4716235"/>
              <a:gd name="connsiteY2814" fmla="*/ 4284762 h 4596459"/>
              <a:gd name="connsiteX2815" fmla="*/ 742634 w 4716235"/>
              <a:gd name="connsiteY2815" fmla="*/ 4274025 h 4596459"/>
              <a:gd name="connsiteX2816" fmla="*/ 753370 w 4716235"/>
              <a:gd name="connsiteY2816" fmla="*/ 4263289 h 4596459"/>
              <a:gd name="connsiteX2817" fmla="*/ 2444001 w 4716235"/>
              <a:gd name="connsiteY2817" fmla="*/ 4262628 h 4596459"/>
              <a:gd name="connsiteX2818" fmla="*/ 2454739 w 4716235"/>
              <a:gd name="connsiteY2818" fmla="*/ 4273365 h 4596459"/>
              <a:gd name="connsiteX2819" fmla="*/ 2444001 w 4716235"/>
              <a:gd name="connsiteY2819" fmla="*/ 4284103 h 4596459"/>
              <a:gd name="connsiteX2820" fmla="*/ 2433265 w 4716235"/>
              <a:gd name="connsiteY2820" fmla="*/ 4273365 h 4596459"/>
              <a:gd name="connsiteX2821" fmla="*/ 2444001 w 4716235"/>
              <a:gd name="connsiteY2821" fmla="*/ 4262628 h 4596459"/>
              <a:gd name="connsiteX2822" fmla="*/ 1352152 w 4716235"/>
              <a:gd name="connsiteY2822" fmla="*/ 4262299 h 4596459"/>
              <a:gd name="connsiteX2823" fmla="*/ 1362888 w 4716235"/>
              <a:gd name="connsiteY2823" fmla="*/ 4273035 h 4596459"/>
              <a:gd name="connsiteX2824" fmla="*/ 1352152 w 4716235"/>
              <a:gd name="connsiteY2824" fmla="*/ 4283771 h 4596459"/>
              <a:gd name="connsiteX2825" fmla="*/ 1341415 w 4716235"/>
              <a:gd name="connsiteY2825" fmla="*/ 4273035 h 4596459"/>
              <a:gd name="connsiteX2826" fmla="*/ 1352152 w 4716235"/>
              <a:gd name="connsiteY2826" fmla="*/ 4262299 h 4596459"/>
              <a:gd name="connsiteX2827" fmla="*/ 2593159 w 4716235"/>
              <a:gd name="connsiteY2827" fmla="*/ 4261307 h 4596459"/>
              <a:gd name="connsiteX2828" fmla="*/ 2603897 w 4716235"/>
              <a:gd name="connsiteY2828" fmla="*/ 4272043 h 4596459"/>
              <a:gd name="connsiteX2829" fmla="*/ 2593159 w 4716235"/>
              <a:gd name="connsiteY2829" fmla="*/ 4282780 h 4596459"/>
              <a:gd name="connsiteX2830" fmla="*/ 2582422 w 4716235"/>
              <a:gd name="connsiteY2830" fmla="*/ 4272043 h 4596459"/>
              <a:gd name="connsiteX2831" fmla="*/ 2593159 w 4716235"/>
              <a:gd name="connsiteY2831" fmla="*/ 4261307 h 4596459"/>
              <a:gd name="connsiteX2832" fmla="*/ 2277498 w 4716235"/>
              <a:gd name="connsiteY2832" fmla="*/ 4253543 h 4596459"/>
              <a:gd name="connsiteX2833" fmla="*/ 2288237 w 4716235"/>
              <a:gd name="connsiteY2833" fmla="*/ 4264279 h 4596459"/>
              <a:gd name="connsiteX2834" fmla="*/ 2277498 w 4716235"/>
              <a:gd name="connsiteY2834" fmla="*/ 4275016 h 4596459"/>
              <a:gd name="connsiteX2835" fmla="*/ 2266762 w 4716235"/>
              <a:gd name="connsiteY2835" fmla="*/ 4264279 h 4596459"/>
              <a:gd name="connsiteX2836" fmla="*/ 2277498 w 4716235"/>
              <a:gd name="connsiteY2836" fmla="*/ 4253543 h 4596459"/>
              <a:gd name="connsiteX2837" fmla="*/ 1060938 w 4716235"/>
              <a:gd name="connsiteY2837" fmla="*/ 4251892 h 4596459"/>
              <a:gd name="connsiteX2838" fmla="*/ 1071677 w 4716235"/>
              <a:gd name="connsiteY2838" fmla="*/ 4262628 h 4596459"/>
              <a:gd name="connsiteX2839" fmla="*/ 1060938 w 4716235"/>
              <a:gd name="connsiteY2839" fmla="*/ 4273366 h 4596459"/>
              <a:gd name="connsiteX2840" fmla="*/ 1050202 w 4716235"/>
              <a:gd name="connsiteY2840" fmla="*/ 4262628 h 4596459"/>
              <a:gd name="connsiteX2841" fmla="*/ 1060938 w 4716235"/>
              <a:gd name="connsiteY2841" fmla="*/ 4251892 h 4596459"/>
              <a:gd name="connsiteX2842" fmla="*/ 769392 w 4716235"/>
              <a:gd name="connsiteY2842" fmla="*/ 4251396 h 4596459"/>
              <a:gd name="connsiteX2843" fmla="*/ 780130 w 4716235"/>
              <a:gd name="connsiteY2843" fmla="*/ 4262132 h 4596459"/>
              <a:gd name="connsiteX2844" fmla="*/ 769392 w 4716235"/>
              <a:gd name="connsiteY2844" fmla="*/ 4272869 h 4596459"/>
              <a:gd name="connsiteX2845" fmla="*/ 758656 w 4716235"/>
              <a:gd name="connsiteY2845" fmla="*/ 4262132 h 4596459"/>
              <a:gd name="connsiteX2846" fmla="*/ 769392 w 4716235"/>
              <a:gd name="connsiteY2846" fmla="*/ 4251396 h 4596459"/>
              <a:gd name="connsiteX2847" fmla="*/ 2725470 w 4716235"/>
              <a:gd name="connsiteY2847" fmla="*/ 4251066 h 4596459"/>
              <a:gd name="connsiteX2848" fmla="*/ 2736206 w 4716235"/>
              <a:gd name="connsiteY2848" fmla="*/ 4261803 h 4596459"/>
              <a:gd name="connsiteX2849" fmla="*/ 2725470 w 4716235"/>
              <a:gd name="connsiteY2849" fmla="*/ 4272539 h 4596459"/>
              <a:gd name="connsiteX2850" fmla="*/ 2714734 w 4716235"/>
              <a:gd name="connsiteY2850" fmla="*/ 4261803 h 4596459"/>
              <a:gd name="connsiteX2851" fmla="*/ 2725470 w 4716235"/>
              <a:gd name="connsiteY2851" fmla="*/ 4251066 h 4596459"/>
              <a:gd name="connsiteX2852" fmla="*/ 915908 w 4716235"/>
              <a:gd name="connsiteY2852" fmla="*/ 4248424 h 4596459"/>
              <a:gd name="connsiteX2853" fmla="*/ 926645 w 4716235"/>
              <a:gd name="connsiteY2853" fmla="*/ 4259160 h 4596459"/>
              <a:gd name="connsiteX2854" fmla="*/ 915908 w 4716235"/>
              <a:gd name="connsiteY2854" fmla="*/ 4269896 h 4596459"/>
              <a:gd name="connsiteX2855" fmla="*/ 905172 w 4716235"/>
              <a:gd name="connsiteY2855" fmla="*/ 4259160 h 4596459"/>
              <a:gd name="connsiteX2856" fmla="*/ 915908 w 4716235"/>
              <a:gd name="connsiteY2856" fmla="*/ 4248424 h 4596459"/>
              <a:gd name="connsiteX2857" fmla="*/ 2856623 w 4716235"/>
              <a:gd name="connsiteY2857" fmla="*/ 4246110 h 4596459"/>
              <a:gd name="connsiteX2858" fmla="*/ 2867361 w 4716235"/>
              <a:gd name="connsiteY2858" fmla="*/ 4256847 h 4596459"/>
              <a:gd name="connsiteX2859" fmla="*/ 2868683 w 4716235"/>
              <a:gd name="connsiteY2859" fmla="*/ 4255525 h 4596459"/>
              <a:gd name="connsiteX2860" fmla="*/ 2877685 w 4716235"/>
              <a:gd name="connsiteY2860" fmla="*/ 4264527 h 4596459"/>
              <a:gd name="connsiteX2861" fmla="*/ 2879419 w 4716235"/>
              <a:gd name="connsiteY2861" fmla="*/ 4262793 h 4596459"/>
              <a:gd name="connsiteX2862" fmla="*/ 2887018 w 4716235"/>
              <a:gd name="connsiteY2862" fmla="*/ 4270391 h 4596459"/>
              <a:gd name="connsiteX2863" fmla="*/ 2888999 w 4716235"/>
              <a:gd name="connsiteY2863" fmla="*/ 4268410 h 4596459"/>
              <a:gd name="connsiteX2864" fmla="*/ 2895441 w 4716235"/>
              <a:gd name="connsiteY2864" fmla="*/ 4274851 h 4596459"/>
              <a:gd name="connsiteX2865" fmla="*/ 2897588 w 4716235"/>
              <a:gd name="connsiteY2865" fmla="*/ 4272704 h 4596459"/>
              <a:gd name="connsiteX2866" fmla="*/ 2903122 w 4716235"/>
              <a:gd name="connsiteY2866" fmla="*/ 4278238 h 4596459"/>
              <a:gd name="connsiteX2867" fmla="*/ 2905187 w 4716235"/>
              <a:gd name="connsiteY2867" fmla="*/ 4276172 h 4596459"/>
              <a:gd name="connsiteX2868" fmla="*/ 2910144 w 4716235"/>
              <a:gd name="connsiteY2868" fmla="*/ 4281129 h 4596459"/>
              <a:gd name="connsiteX2869" fmla="*/ 2912291 w 4716235"/>
              <a:gd name="connsiteY2869" fmla="*/ 4278982 h 4596459"/>
              <a:gd name="connsiteX2870" fmla="*/ 2916751 w 4716235"/>
              <a:gd name="connsiteY2870" fmla="*/ 4283442 h 4596459"/>
              <a:gd name="connsiteX2871" fmla="*/ 2918731 w 4716235"/>
              <a:gd name="connsiteY2871" fmla="*/ 4281460 h 4596459"/>
              <a:gd name="connsiteX2872" fmla="*/ 2923108 w 4716235"/>
              <a:gd name="connsiteY2872" fmla="*/ 4285837 h 4596459"/>
              <a:gd name="connsiteX2873" fmla="*/ 2925009 w 4716235"/>
              <a:gd name="connsiteY2873" fmla="*/ 4283936 h 4596459"/>
              <a:gd name="connsiteX2874" fmla="*/ 2929469 w 4716235"/>
              <a:gd name="connsiteY2874" fmla="*/ 4288397 h 4596459"/>
              <a:gd name="connsiteX2875" fmla="*/ 2931120 w 4716235"/>
              <a:gd name="connsiteY2875" fmla="*/ 4286746 h 4596459"/>
              <a:gd name="connsiteX2876" fmla="*/ 2935745 w 4716235"/>
              <a:gd name="connsiteY2876" fmla="*/ 4291371 h 4596459"/>
              <a:gd name="connsiteX2877" fmla="*/ 2937067 w 4716235"/>
              <a:gd name="connsiteY2877" fmla="*/ 4290048 h 4596459"/>
              <a:gd name="connsiteX2878" fmla="*/ 2942106 w 4716235"/>
              <a:gd name="connsiteY2878" fmla="*/ 4295087 h 4596459"/>
              <a:gd name="connsiteX2879" fmla="*/ 2943178 w 4716235"/>
              <a:gd name="connsiteY2879" fmla="*/ 4294014 h 4596459"/>
              <a:gd name="connsiteX2880" fmla="*/ 2948629 w 4716235"/>
              <a:gd name="connsiteY2880" fmla="*/ 4299464 h 4596459"/>
              <a:gd name="connsiteX2881" fmla="*/ 2949289 w 4716235"/>
              <a:gd name="connsiteY2881" fmla="*/ 4298803 h 4596459"/>
              <a:gd name="connsiteX2882" fmla="*/ 2955567 w 4716235"/>
              <a:gd name="connsiteY2882" fmla="*/ 4305081 h 4596459"/>
              <a:gd name="connsiteX2883" fmla="*/ 2955898 w 4716235"/>
              <a:gd name="connsiteY2883" fmla="*/ 4304750 h 4596459"/>
              <a:gd name="connsiteX2884" fmla="*/ 2966636 w 4716235"/>
              <a:gd name="connsiteY2884" fmla="*/ 4315486 h 4596459"/>
              <a:gd name="connsiteX2885" fmla="*/ 2966387 w 4716235"/>
              <a:gd name="connsiteY2885" fmla="*/ 4315736 h 4596459"/>
              <a:gd name="connsiteX2886" fmla="*/ 2973407 w 4716235"/>
              <a:gd name="connsiteY2886" fmla="*/ 4322754 h 4596459"/>
              <a:gd name="connsiteX2887" fmla="*/ 2972829 w 4716235"/>
              <a:gd name="connsiteY2887" fmla="*/ 4323332 h 4596459"/>
              <a:gd name="connsiteX2888" fmla="*/ 2980676 w 4716235"/>
              <a:gd name="connsiteY2888" fmla="*/ 4331177 h 4596459"/>
              <a:gd name="connsiteX2889" fmla="*/ 2978528 w 4716235"/>
              <a:gd name="connsiteY2889" fmla="*/ 4333326 h 4596459"/>
              <a:gd name="connsiteX2890" fmla="*/ 2986290 w 4716235"/>
              <a:gd name="connsiteY2890" fmla="*/ 4341090 h 4596459"/>
              <a:gd name="connsiteX2891" fmla="*/ 2977867 w 4716235"/>
              <a:gd name="connsiteY2891" fmla="*/ 4349513 h 4596459"/>
              <a:gd name="connsiteX2892" fmla="*/ 2970103 w 4716235"/>
              <a:gd name="connsiteY2892" fmla="*/ 4341751 h 4596459"/>
              <a:gd name="connsiteX2893" fmla="*/ 2969938 w 4716235"/>
              <a:gd name="connsiteY2893" fmla="*/ 4341915 h 4596459"/>
              <a:gd name="connsiteX2894" fmla="*/ 2959202 w 4716235"/>
              <a:gd name="connsiteY2894" fmla="*/ 4331177 h 4596459"/>
              <a:gd name="connsiteX2895" fmla="*/ 2959780 w 4716235"/>
              <a:gd name="connsiteY2895" fmla="*/ 4330600 h 4596459"/>
              <a:gd name="connsiteX2896" fmla="*/ 2951934 w 4716235"/>
              <a:gd name="connsiteY2896" fmla="*/ 4322754 h 4596459"/>
              <a:gd name="connsiteX2897" fmla="*/ 2952182 w 4716235"/>
              <a:gd name="connsiteY2897" fmla="*/ 4322506 h 4596459"/>
              <a:gd name="connsiteX2898" fmla="*/ 2949621 w 4716235"/>
              <a:gd name="connsiteY2898" fmla="*/ 4319947 h 4596459"/>
              <a:gd name="connsiteX2899" fmla="*/ 2949289 w 4716235"/>
              <a:gd name="connsiteY2899" fmla="*/ 4320278 h 4596459"/>
              <a:gd name="connsiteX2900" fmla="*/ 2943839 w 4716235"/>
              <a:gd name="connsiteY2900" fmla="*/ 4314827 h 4596459"/>
              <a:gd name="connsiteX2901" fmla="*/ 2943178 w 4716235"/>
              <a:gd name="connsiteY2901" fmla="*/ 4315486 h 4596459"/>
              <a:gd name="connsiteX2902" fmla="*/ 2938140 w 4716235"/>
              <a:gd name="connsiteY2902" fmla="*/ 4310448 h 4596459"/>
              <a:gd name="connsiteX2903" fmla="*/ 2937067 w 4716235"/>
              <a:gd name="connsiteY2903" fmla="*/ 4311522 h 4596459"/>
              <a:gd name="connsiteX2904" fmla="*/ 2932442 w 4716235"/>
              <a:gd name="connsiteY2904" fmla="*/ 4306897 h 4596459"/>
              <a:gd name="connsiteX2905" fmla="*/ 2931120 w 4716235"/>
              <a:gd name="connsiteY2905" fmla="*/ 4308218 h 4596459"/>
              <a:gd name="connsiteX2906" fmla="*/ 2926660 w 4716235"/>
              <a:gd name="connsiteY2906" fmla="*/ 4303758 h 4596459"/>
              <a:gd name="connsiteX2907" fmla="*/ 2925009 w 4716235"/>
              <a:gd name="connsiteY2907" fmla="*/ 4305409 h 4596459"/>
              <a:gd name="connsiteX2908" fmla="*/ 2920632 w 4716235"/>
              <a:gd name="connsiteY2908" fmla="*/ 4301032 h 4596459"/>
              <a:gd name="connsiteX2909" fmla="*/ 2918731 w 4716235"/>
              <a:gd name="connsiteY2909" fmla="*/ 4302933 h 4596459"/>
              <a:gd name="connsiteX2910" fmla="*/ 2914273 w 4716235"/>
              <a:gd name="connsiteY2910" fmla="*/ 4298474 h 4596459"/>
              <a:gd name="connsiteX2911" fmla="*/ 2912291 w 4716235"/>
              <a:gd name="connsiteY2911" fmla="*/ 4300454 h 4596459"/>
              <a:gd name="connsiteX2912" fmla="*/ 2907334 w 4716235"/>
              <a:gd name="connsiteY2912" fmla="*/ 4295500 h 4596459"/>
              <a:gd name="connsiteX2913" fmla="*/ 2905187 w 4716235"/>
              <a:gd name="connsiteY2913" fmla="*/ 4297647 h 4596459"/>
              <a:gd name="connsiteX2914" fmla="*/ 2899654 w 4716235"/>
              <a:gd name="connsiteY2914" fmla="*/ 4292113 h 4596459"/>
              <a:gd name="connsiteX2915" fmla="*/ 2897588 w 4716235"/>
              <a:gd name="connsiteY2915" fmla="*/ 4294177 h 4596459"/>
              <a:gd name="connsiteX2916" fmla="*/ 2891147 w 4716235"/>
              <a:gd name="connsiteY2916" fmla="*/ 4287736 h 4596459"/>
              <a:gd name="connsiteX2917" fmla="*/ 2888999 w 4716235"/>
              <a:gd name="connsiteY2917" fmla="*/ 4289884 h 4596459"/>
              <a:gd name="connsiteX2918" fmla="*/ 2881399 w 4716235"/>
              <a:gd name="connsiteY2918" fmla="*/ 4282285 h 4596459"/>
              <a:gd name="connsiteX2919" fmla="*/ 2879419 w 4716235"/>
              <a:gd name="connsiteY2919" fmla="*/ 4284266 h 4596459"/>
              <a:gd name="connsiteX2920" fmla="*/ 2870419 w 4716235"/>
              <a:gd name="connsiteY2920" fmla="*/ 4275265 h 4596459"/>
              <a:gd name="connsiteX2921" fmla="*/ 2868683 w 4716235"/>
              <a:gd name="connsiteY2921" fmla="*/ 4276999 h 4596459"/>
              <a:gd name="connsiteX2922" fmla="*/ 2857946 w 4716235"/>
              <a:gd name="connsiteY2922" fmla="*/ 4266261 h 4596459"/>
              <a:gd name="connsiteX2923" fmla="*/ 2856623 w 4716235"/>
              <a:gd name="connsiteY2923" fmla="*/ 4267585 h 4596459"/>
              <a:gd name="connsiteX2924" fmla="*/ 2845887 w 4716235"/>
              <a:gd name="connsiteY2924" fmla="*/ 4256847 h 4596459"/>
              <a:gd name="connsiteX2925" fmla="*/ 2856623 w 4716235"/>
              <a:gd name="connsiteY2925" fmla="*/ 4246110 h 4596459"/>
              <a:gd name="connsiteX2926" fmla="*/ 1223475 w 4716235"/>
              <a:gd name="connsiteY2926" fmla="*/ 4244953 h 4596459"/>
              <a:gd name="connsiteX2927" fmla="*/ 1234213 w 4716235"/>
              <a:gd name="connsiteY2927" fmla="*/ 4255690 h 4596459"/>
              <a:gd name="connsiteX2928" fmla="*/ 1223475 w 4716235"/>
              <a:gd name="connsiteY2928" fmla="*/ 4266426 h 4596459"/>
              <a:gd name="connsiteX2929" fmla="*/ 1212739 w 4716235"/>
              <a:gd name="connsiteY2929" fmla="*/ 4255690 h 4596459"/>
              <a:gd name="connsiteX2930" fmla="*/ 1223475 w 4716235"/>
              <a:gd name="connsiteY2930" fmla="*/ 4244953 h 4596459"/>
              <a:gd name="connsiteX2931" fmla="*/ 1817302 w 4716235"/>
              <a:gd name="connsiteY2931" fmla="*/ 4243963 h 4596459"/>
              <a:gd name="connsiteX2932" fmla="*/ 1828040 w 4716235"/>
              <a:gd name="connsiteY2932" fmla="*/ 4254700 h 4596459"/>
              <a:gd name="connsiteX2933" fmla="*/ 1817302 w 4716235"/>
              <a:gd name="connsiteY2933" fmla="*/ 4265436 h 4596459"/>
              <a:gd name="connsiteX2934" fmla="*/ 1806566 w 4716235"/>
              <a:gd name="connsiteY2934" fmla="*/ 4254700 h 4596459"/>
              <a:gd name="connsiteX2935" fmla="*/ 1817302 w 4716235"/>
              <a:gd name="connsiteY2935" fmla="*/ 4243963 h 4596459"/>
              <a:gd name="connsiteX2936" fmla="*/ 1678881 w 4716235"/>
              <a:gd name="connsiteY2936" fmla="*/ 4242807 h 4596459"/>
              <a:gd name="connsiteX2937" fmla="*/ 1689618 w 4716235"/>
              <a:gd name="connsiteY2937" fmla="*/ 4253543 h 4596459"/>
              <a:gd name="connsiteX2938" fmla="*/ 1678881 w 4716235"/>
              <a:gd name="connsiteY2938" fmla="*/ 4264279 h 4596459"/>
              <a:gd name="connsiteX2939" fmla="*/ 1668145 w 4716235"/>
              <a:gd name="connsiteY2939" fmla="*/ 4253543 h 4596459"/>
              <a:gd name="connsiteX2940" fmla="*/ 1678881 w 4716235"/>
              <a:gd name="connsiteY2940" fmla="*/ 4242807 h 4596459"/>
              <a:gd name="connsiteX2941" fmla="*/ 3190125 w 4716235"/>
              <a:gd name="connsiteY2941" fmla="*/ 4241816 h 4596459"/>
              <a:gd name="connsiteX2942" fmla="*/ 3192603 w 4716235"/>
              <a:gd name="connsiteY2942" fmla="*/ 4244294 h 4596459"/>
              <a:gd name="connsiteX2943" fmla="*/ 3190125 w 4716235"/>
              <a:gd name="connsiteY2943" fmla="*/ 4246771 h 4596459"/>
              <a:gd name="connsiteX2944" fmla="*/ 3187647 w 4716235"/>
              <a:gd name="connsiteY2944" fmla="*/ 4244294 h 4596459"/>
              <a:gd name="connsiteX2945" fmla="*/ 3190125 w 4716235"/>
              <a:gd name="connsiteY2945" fmla="*/ 4241816 h 4596459"/>
              <a:gd name="connsiteX2946" fmla="*/ 1955725 w 4716235"/>
              <a:gd name="connsiteY2946" fmla="*/ 4240164 h 4596459"/>
              <a:gd name="connsiteX2947" fmla="*/ 1966463 w 4716235"/>
              <a:gd name="connsiteY2947" fmla="*/ 4250900 h 4596459"/>
              <a:gd name="connsiteX2948" fmla="*/ 1955725 w 4716235"/>
              <a:gd name="connsiteY2948" fmla="*/ 4261636 h 4596459"/>
              <a:gd name="connsiteX2949" fmla="*/ 1944989 w 4716235"/>
              <a:gd name="connsiteY2949" fmla="*/ 4250900 h 4596459"/>
              <a:gd name="connsiteX2950" fmla="*/ 1955725 w 4716235"/>
              <a:gd name="connsiteY2950" fmla="*/ 4240164 h 4596459"/>
              <a:gd name="connsiteX2951" fmla="*/ 2562600 w 4716235"/>
              <a:gd name="connsiteY2951" fmla="*/ 4238181 h 4596459"/>
              <a:gd name="connsiteX2952" fmla="*/ 2573337 w 4716235"/>
              <a:gd name="connsiteY2952" fmla="*/ 4248918 h 4596459"/>
              <a:gd name="connsiteX2953" fmla="*/ 2562600 w 4716235"/>
              <a:gd name="connsiteY2953" fmla="*/ 4259654 h 4596459"/>
              <a:gd name="connsiteX2954" fmla="*/ 2551864 w 4716235"/>
              <a:gd name="connsiteY2954" fmla="*/ 4248918 h 4596459"/>
              <a:gd name="connsiteX2955" fmla="*/ 2562600 w 4716235"/>
              <a:gd name="connsiteY2955" fmla="*/ 4238181 h 4596459"/>
              <a:gd name="connsiteX2956" fmla="*/ 1540954 w 4716235"/>
              <a:gd name="connsiteY2956" fmla="*/ 4236695 h 4596459"/>
              <a:gd name="connsiteX2957" fmla="*/ 1551693 w 4716235"/>
              <a:gd name="connsiteY2957" fmla="*/ 4247432 h 4596459"/>
              <a:gd name="connsiteX2958" fmla="*/ 1540954 w 4716235"/>
              <a:gd name="connsiteY2958" fmla="*/ 4258168 h 4596459"/>
              <a:gd name="connsiteX2959" fmla="*/ 1530218 w 4716235"/>
              <a:gd name="connsiteY2959" fmla="*/ 4247432 h 4596459"/>
              <a:gd name="connsiteX2960" fmla="*/ 1540954 w 4716235"/>
              <a:gd name="connsiteY2960" fmla="*/ 4236695 h 4596459"/>
              <a:gd name="connsiteX2961" fmla="*/ 787398 w 4716235"/>
              <a:gd name="connsiteY2961" fmla="*/ 4236695 h 4596459"/>
              <a:gd name="connsiteX2962" fmla="*/ 798135 w 4716235"/>
              <a:gd name="connsiteY2962" fmla="*/ 4247432 h 4596459"/>
              <a:gd name="connsiteX2963" fmla="*/ 787398 w 4716235"/>
              <a:gd name="connsiteY2963" fmla="*/ 4258168 h 4596459"/>
              <a:gd name="connsiteX2964" fmla="*/ 776662 w 4716235"/>
              <a:gd name="connsiteY2964" fmla="*/ 4247432 h 4596459"/>
              <a:gd name="connsiteX2965" fmla="*/ 787398 w 4716235"/>
              <a:gd name="connsiteY2965" fmla="*/ 4236695 h 4596459"/>
              <a:gd name="connsiteX2966" fmla="*/ 2842748 w 4716235"/>
              <a:gd name="connsiteY2966" fmla="*/ 4234382 h 4596459"/>
              <a:gd name="connsiteX2967" fmla="*/ 2853486 w 4716235"/>
              <a:gd name="connsiteY2967" fmla="*/ 4245118 h 4596459"/>
              <a:gd name="connsiteX2968" fmla="*/ 2842748 w 4716235"/>
              <a:gd name="connsiteY2968" fmla="*/ 4255855 h 4596459"/>
              <a:gd name="connsiteX2969" fmla="*/ 2832012 w 4716235"/>
              <a:gd name="connsiteY2969" fmla="*/ 4245118 h 4596459"/>
              <a:gd name="connsiteX2970" fmla="*/ 2842748 w 4716235"/>
              <a:gd name="connsiteY2970" fmla="*/ 4234382 h 4596459"/>
              <a:gd name="connsiteX2971" fmla="*/ 2404854 w 4716235"/>
              <a:gd name="connsiteY2971" fmla="*/ 4234052 h 4596459"/>
              <a:gd name="connsiteX2972" fmla="*/ 2415592 w 4716235"/>
              <a:gd name="connsiteY2972" fmla="*/ 4244789 h 4596459"/>
              <a:gd name="connsiteX2973" fmla="*/ 2404854 w 4716235"/>
              <a:gd name="connsiteY2973" fmla="*/ 4255525 h 4596459"/>
              <a:gd name="connsiteX2974" fmla="*/ 2394117 w 4716235"/>
              <a:gd name="connsiteY2974" fmla="*/ 4244789 h 4596459"/>
              <a:gd name="connsiteX2975" fmla="*/ 2404854 w 4716235"/>
              <a:gd name="connsiteY2975" fmla="*/ 4234052 h 4596459"/>
              <a:gd name="connsiteX2976" fmla="*/ 2702841 w 4716235"/>
              <a:gd name="connsiteY2976" fmla="*/ 4232731 h 4596459"/>
              <a:gd name="connsiteX2977" fmla="*/ 2713577 w 4716235"/>
              <a:gd name="connsiteY2977" fmla="*/ 4243467 h 4596459"/>
              <a:gd name="connsiteX2978" fmla="*/ 2702841 w 4716235"/>
              <a:gd name="connsiteY2978" fmla="*/ 4254204 h 4596459"/>
              <a:gd name="connsiteX2979" fmla="*/ 2692104 w 4716235"/>
              <a:gd name="connsiteY2979" fmla="*/ 4243467 h 4596459"/>
              <a:gd name="connsiteX2980" fmla="*/ 2702841 w 4716235"/>
              <a:gd name="connsiteY2980" fmla="*/ 4232731 h 4596459"/>
              <a:gd name="connsiteX2981" fmla="*/ 2092991 w 4716235"/>
              <a:gd name="connsiteY2981" fmla="*/ 4231245 h 4596459"/>
              <a:gd name="connsiteX2982" fmla="*/ 2103730 w 4716235"/>
              <a:gd name="connsiteY2982" fmla="*/ 4241981 h 4596459"/>
              <a:gd name="connsiteX2983" fmla="*/ 2092991 w 4716235"/>
              <a:gd name="connsiteY2983" fmla="*/ 4252717 h 4596459"/>
              <a:gd name="connsiteX2984" fmla="*/ 2082255 w 4716235"/>
              <a:gd name="connsiteY2984" fmla="*/ 4241981 h 4596459"/>
              <a:gd name="connsiteX2985" fmla="*/ 2092991 w 4716235"/>
              <a:gd name="connsiteY2985" fmla="*/ 4231245 h 4596459"/>
              <a:gd name="connsiteX2986" fmla="*/ 662025 w 4716235"/>
              <a:gd name="connsiteY2986" fmla="*/ 4230749 h 4596459"/>
              <a:gd name="connsiteX2987" fmla="*/ 672763 w 4716235"/>
              <a:gd name="connsiteY2987" fmla="*/ 4241485 h 4596459"/>
              <a:gd name="connsiteX2988" fmla="*/ 662025 w 4716235"/>
              <a:gd name="connsiteY2988" fmla="*/ 4252223 h 4596459"/>
              <a:gd name="connsiteX2989" fmla="*/ 661529 w 4716235"/>
              <a:gd name="connsiteY2989" fmla="*/ 4251727 h 4596459"/>
              <a:gd name="connsiteX2990" fmla="*/ 651454 w 4716235"/>
              <a:gd name="connsiteY2990" fmla="*/ 4261801 h 4596459"/>
              <a:gd name="connsiteX2991" fmla="*/ 650628 w 4716235"/>
              <a:gd name="connsiteY2991" fmla="*/ 4260976 h 4596459"/>
              <a:gd name="connsiteX2992" fmla="*/ 642368 w 4716235"/>
              <a:gd name="connsiteY2992" fmla="*/ 4269236 h 4596459"/>
              <a:gd name="connsiteX2993" fmla="*/ 641212 w 4716235"/>
              <a:gd name="connsiteY2993" fmla="*/ 4268081 h 4596459"/>
              <a:gd name="connsiteX2994" fmla="*/ 634275 w 4716235"/>
              <a:gd name="connsiteY2994" fmla="*/ 4275016 h 4596459"/>
              <a:gd name="connsiteX2995" fmla="*/ 633036 w 4716235"/>
              <a:gd name="connsiteY2995" fmla="*/ 4273777 h 4596459"/>
              <a:gd name="connsiteX2996" fmla="*/ 627171 w 4716235"/>
              <a:gd name="connsiteY2996" fmla="*/ 4279641 h 4596459"/>
              <a:gd name="connsiteX2997" fmla="*/ 625850 w 4716235"/>
              <a:gd name="connsiteY2997" fmla="*/ 4278319 h 4596459"/>
              <a:gd name="connsiteX2998" fmla="*/ 620729 w 4716235"/>
              <a:gd name="connsiteY2998" fmla="*/ 4283440 h 4596459"/>
              <a:gd name="connsiteX2999" fmla="*/ 619326 w 4716235"/>
              <a:gd name="connsiteY2999" fmla="*/ 4282037 h 4596459"/>
              <a:gd name="connsiteX3000" fmla="*/ 614783 w 4716235"/>
              <a:gd name="connsiteY3000" fmla="*/ 4286579 h 4596459"/>
              <a:gd name="connsiteX3001" fmla="*/ 613544 w 4716235"/>
              <a:gd name="connsiteY3001" fmla="*/ 4285341 h 4596459"/>
              <a:gd name="connsiteX3002" fmla="*/ 609332 w 4716235"/>
              <a:gd name="connsiteY3002" fmla="*/ 4289552 h 4596459"/>
              <a:gd name="connsiteX3003" fmla="*/ 608094 w 4716235"/>
              <a:gd name="connsiteY3003" fmla="*/ 4288313 h 4596459"/>
              <a:gd name="connsiteX3004" fmla="*/ 604046 w 4716235"/>
              <a:gd name="connsiteY3004" fmla="*/ 4292361 h 4596459"/>
              <a:gd name="connsiteX3005" fmla="*/ 603137 w 4716235"/>
              <a:gd name="connsiteY3005" fmla="*/ 4291452 h 4596459"/>
              <a:gd name="connsiteX3006" fmla="*/ 598925 w 4716235"/>
              <a:gd name="connsiteY3006" fmla="*/ 4295665 h 4596459"/>
              <a:gd name="connsiteX3007" fmla="*/ 598183 w 4716235"/>
              <a:gd name="connsiteY3007" fmla="*/ 4294922 h 4596459"/>
              <a:gd name="connsiteX3008" fmla="*/ 593806 w 4716235"/>
              <a:gd name="connsiteY3008" fmla="*/ 4299298 h 4596459"/>
              <a:gd name="connsiteX3009" fmla="*/ 593393 w 4716235"/>
              <a:gd name="connsiteY3009" fmla="*/ 4298887 h 4596459"/>
              <a:gd name="connsiteX3010" fmla="*/ 588520 w 4716235"/>
              <a:gd name="connsiteY3010" fmla="*/ 4303760 h 4596459"/>
              <a:gd name="connsiteX3011" fmla="*/ 588272 w 4716235"/>
              <a:gd name="connsiteY3011" fmla="*/ 4303512 h 4596459"/>
              <a:gd name="connsiteX3012" fmla="*/ 587447 w 4716235"/>
              <a:gd name="connsiteY3012" fmla="*/ 4304337 h 4596459"/>
              <a:gd name="connsiteX3013" fmla="*/ 587859 w 4716235"/>
              <a:gd name="connsiteY3013" fmla="*/ 4304750 h 4596459"/>
              <a:gd name="connsiteX3014" fmla="*/ 580427 w 4716235"/>
              <a:gd name="connsiteY3014" fmla="*/ 4312183 h 4596459"/>
              <a:gd name="connsiteX3015" fmla="*/ 570680 w 4716235"/>
              <a:gd name="connsiteY3015" fmla="*/ 4321927 h 4596459"/>
              <a:gd name="connsiteX3016" fmla="*/ 560934 w 4716235"/>
              <a:gd name="connsiteY3016" fmla="*/ 4312183 h 4596459"/>
              <a:gd name="connsiteX3017" fmla="*/ 567377 w 4716235"/>
              <a:gd name="connsiteY3017" fmla="*/ 4305742 h 4596459"/>
              <a:gd name="connsiteX3018" fmla="*/ 566385 w 4716235"/>
              <a:gd name="connsiteY3018" fmla="*/ 4304750 h 4596459"/>
              <a:gd name="connsiteX3019" fmla="*/ 572579 w 4716235"/>
              <a:gd name="connsiteY3019" fmla="*/ 4298555 h 4596459"/>
              <a:gd name="connsiteX3020" fmla="*/ 572167 w 4716235"/>
              <a:gd name="connsiteY3020" fmla="*/ 4298143 h 4596459"/>
              <a:gd name="connsiteX3021" fmla="*/ 582903 w 4716235"/>
              <a:gd name="connsiteY3021" fmla="*/ 4287406 h 4596459"/>
              <a:gd name="connsiteX3022" fmla="*/ 583151 w 4716235"/>
              <a:gd name="connsiteY3022" fmla="*/ 4287654 h 4596459"/>
              <a:gd name="connsiteX3023" fmla="*/ 588520 w 4716235"/>
              <a:gd name="connsiteY3023" fmla="*/ 4282285 h 4596459"/>
              <a:gd name="connsiteX3024" fmla="*/ 588933 w 4716235"/>
              <a:gd name="connsiteY3024" fmla="*/ 4282698 h 4596459"/>
              <a:gd name="connsiteX3025" fmla="*/ 593806 w 4716235"/>
              <a:gd name="connsiteY3025" fmla="*/ 4277825 h 4596459"/>
              <a:gd name="connsiteX3026" fmla="*/ 594550 w 4716235"/>
              <a:gd name="connsiteY3026" fmla="*/ 4278569 h 4596459"/>
              <a:gd name="connsiteX3027" fmla="*/ 598925 w 4716235"/>
              <a:gd name="connsiteY3027" fmla="*/ 4274192 h 4596459"/>
              <a:gd name="connsiteX3028" fmla="*/ 599834 w 4716235"/>
              <a:gd name="connsiteY3028" fmla="*/ 4275101 h 4596459"/>
              <a:gd name="connsiteX3029" fmla="*/ 604046 w 4716235"/>
              <a:gd name="connsiteY3029" fmla="*/ 4270886 h 4596459"/>
              <a:gd name="connsiteX3030" fmla="*/ 605286 w 4716235"/>
              <a:gd name="connsiteY3030" fmla="*/ 4272126 h 4596459"/>
              <a:gd name="connsiteX3031" fmla="*/ 609332 w 4716235"/>
              <a:gd name="connsiteY3031" fmla="*/ 4268079 h 4596459"/>
              <a:gd name="connsiteX3032" fmla="*/ 610572 w 4716235"/>
              <a:gd name="connsiteY3032" fmla="*/ 4269319 h 4596459"/>
              <a:gd name="connsiteX3033" fmla="*/ 614783 w 4716235"/>
              <a:gd name="connsiteY3033" fmla="*/ 4265106 h 4596459"/>
              <a:gd name="connsiteX3034" fmla="*/ 616187 w 4716235"/>
              <a:gd name="connsiteY3034" fmla="*/ 4266511 h 4596459"/>
              <a:gd name="connsiteX3035" fmla="*/ 620729 w 4716235"/>
              <a:gd name="connsiteY3035" fmla="*/ 4261968 h 4596459"/>
              <a:gd name="connsiteX3036" fmla="*/ 622051 w 4716235"/>
              <a:gd name="connsiteY3036" fmla="*/ 4263289 h 4596459"/>
              <a:gd name="connsiteX3037" fmla="*/ 627171 w 4716235"/>
              <a:gd name="connsiteY3037" fmla="*/ 4258168 h 4596459"/>
              <a:gd name="connsiteX3038" fmla="*/ 628412 w 4716235"/>
              <a:gd name="connsiteY3038" fmla="*/ 4259408 h 4596459"/>
              <a:gd name="connsiteX3039" fmla="*/ 634275 w 4716235"/>
              <a:gd name="connsiteY3039" fmla="*/ 4253543 h 4596459"/>
              <a:gd name="connsiteX3040" fmla="*/ 635432 w 4716235"/>
              <a:gd name="connsiteY3040" fmla="*/ 4254700 h 4596459"/>
              <a:gd name="connsiteX3041" fmla="*/ 642368 w 4716235"/>
              <a:gd name="connsiteY3041" fmla="*/ 4247761 h 4596459"/>
              <a:gd name="connsiteX3042" fmla="*/ 643195 w 4716235"/>
              <a:gd name="connsiteY3042" fmla="*/ 4248588 h 4596459"/>
              <a:gd name="connsiteX3043" fmla="*/ 651454 w 4716235"/>
              <a:gd name="connsiteY3043" fmla="*/ 4240328 h 4596459"/>
              <a:gd name="connsiteX3044" fmla="*/ 651950 w 4716235"/>
              <a:gd name="connsiteY3044" fmla="*/ 4240824 h 4596459"/>
              <a:gd name="connsiteX3045" fmla="*/ 1404349 w 4716235"/>
              <a:gd name="connsiteY3045" fmla="*/ 4225628 h 4596459"/>
              <a:gd name="connsiteX3046" fmla="*/ 1415087 w 4716235"/>
              <a:gd name="connsiteY3046" fmla="*/ 4236364 h 4596459"/>
              <a:gd name="connsiteX3047" fmla="*/ 1404349 w 4716235"/>
              <a:gd name="connsiteY3047" fmla="*/ 4247100 h 4596459"/>
              <a:gd name="connsiteX3048" fmla="*/ 1393613 w 4716235"/>
              <a:gd name="connsiteY3048" fmla="*/ 4236364 h 4596459"/>
              <a:gd name="connsiteX3049" fmla="*/ 1404349 w 4716235"/>
              <a:gd name="connsiteY3049" fmla="*/ 4225628 h 4596459"/>
              <a:gd name="connsiteX3050" fmla="*/ 943990 w 4716235"/>
              <a:gd name="connsiteY3050" fmla="*/ 4225628 h 4596459"/>
              <a:gd name="connsiteX3051" fmla="*/ 954728 w 4716235"/>
              <a:gd name="connsiteY3051" fmla="*/ 4236364 h 4596459"/>
              <a:gd name="connsiteX3052" fmla="*/ 943990 w 4716235"/>
              <a:gd name="connsiteY3052" fmla="*/ 4247100 h 4596459"/>
              <a:gd name="connsiteX3053" fmla="*/ 933254 w 4716235"/>
              <a:gd name="connsiteY3053" fmla="*/ 4236364 h 4596459"/>
              <a:gd name="connsiteX3054" fmla="*/ 943990 w 4716235"/>
              <a:gd name="connsiteY3054" fmla="*/ 4225628 h 4596459"/>
              <a:gd name="connsiteX3055" fmla="*/ 1097608 w 4716235"/>
              <a:gd name="connsiteY3055" fmla="*/ 4223481 h 4596459"/>
              <a:gd name="connsiteX3056" fmla="*/ 1108346 w 4716235"/>
              <a:gd name="connsiteY3056" fmla="*/ 4234217 h 4596459"/>
              <a:gd name="connsiteX3057" fmla="*/ 1097608 w 4716235"/>
              <a:gd name="connsiteY3057" fmla="*/ 4244955 h 4596459"/>
              <a:gd name="connsiteX3058" fmla="*/ 1086872 w 4716235"/>
              <a:gd name="connsiteY3058" fmla="*/ 4234217 h 4596459"/>
              <a:gd name="connsiteX3059" fmla="*/ 1097608 w 4716235"/>
              <a:gd name="connsiteY3059" fmla="*/ 4223481 h 4596459"/>
              <a:gd name="connsiteX3060" fmla="*/ 2826891 w 4716235"/>
              <a:gd name="connsiteY3060" fmla="*/ 4219516 h 4596459"/>
              <a:gd name="connsiteX3061" fmla="*/ 2837627 w 4716235"/>
              <a:gd name="connsiteY3061" fmla="*/ 4230253 h 4596459"/>
              <a:gd name="connsiteX3062" fmla="*/ 2826891 w 4716235"/>
              <a:gd name="connsiteY3062" fmla="*/ 4240989 h 4596459"/>
              <a:gd name="connsiteX3063" fmla="*/ 2816154 w 4716235"/>
              <a:gd name="connsiteY3063" fmla="*/ 4230253 h 4596459"/>
              <a:gd name="connsiteX3064" fmla="*/ 2826891 w 4716235"/>
              <a:gd name="connsiteY3064" fmla="*/ 4219516 h 4596459"/>
              <a:gd name="connsiteX3065" fmla="*/ 674083 w 4716235"/>
              <a:gd name="connsiteY3065" fmla="*/ 4218856 h 4596459"/>
              <a:gd name="connsiteX3066" fmla="*/ 684819 w 4716235"/>
              <a:gd name="connsiteY3066" fmla="*/ 4229592 h 4596459"/>
              <a:gd name="connsiteX3067" fmla="*/ 674083 w 4716235"/>
              <a:gd name="connsiteY3067" fmla="*/ 4240330 h 4596459"/>
              <a:gd name="connsiteX3068" fmla="*/ 663347 w 4716235"/>
              <a:gd name="connsiteY3068" fmla="*/ 4229592 h 4596459"/>
              <a:gd name="connsiteX3069" fmla="*/ 674083 w 4716235"/>
              <a:gd name="connsiteY3069" fmla="*/ 4218856 h 4596459"/>
              <a:gd name="connsiteX3070" fmla="*/ 807881 w 4716235"/>
              <a:gd name="connsiteY3070" fmla="*/ 4218524 h 4596459"/>
              <a:gd name="connsiteX3071" fmla="*/ 818617 w 4716235"/>
              <a:gd name="connsiteY3071" fmla="*/ 4229261 h 4596459"/>
              <a:gd name="connsiteX3072" fmla="*/ 807881 w 4716235"/>
              <a:gd name="connsiteY3072" fmla="*/ 4239997 h 4596459"/>
              <a:gd name="connsiteX3073" fmla="*/ 797144 w 4716235"/>
              <a:gd name="connsiteY3073" fmla="*/ 4229261 h 4596459"/>
              <a:gd name="connsiteX3074" fmla="*/ 807881 w 4716235"/>
              <a:gd name="connsiteY3074" fmla="*/ 4218524 h 4596459"/>
              <a:gd name="connsiteX3075" fmla="*/ 2228440 w 4716235"/>
              <a:gd name="connsiteY3075" fmla="*/ 4217699 h 4596459"/>
              <a:gd name="connsiteX3076" fmla="*/ 2239176 w 4716235"/>
              <a:gd name="connsiteY3076" fmla="*/ 4228435 h 4596459"/>
              <a:gd name="connsiteX3077" fmla="*/ 2228440 w 4716235"/>
              <a:gd name="connsiteY3077" fmla="*/ 4239173 h 4596459"/>
              <a:gd name="connsiteX3078" fmla="*/ 2217704 w 4716235"/>
              <a:gd name="connsiteY3078" fmla="*/ 4228435 h 4596459"/>
              <a:gd name="connsiteX3079" fmla="*/ 2228440 w 4716235"/>
              <a:gd name="connsiteY3079" fmla="*/ 4217699 h 4596459"/>
              <a:gd name="connsiteX3080" fmla="*/ 2945986 w 4716235"/>
              <a:gd name="connsiteY3080" fmla="*/ 4212578 h 4596459"/>
              <a:gd name="connsiteX3081" fmla="*/ 2956724 w 4716235"/>
              <a:gd name="connsiteY3081" fmla="*/ 4223314 h 4596459"/>
              <a:gd name="connsiteX3082" fmla="*/ 2956146 w 4716235"/>
              <a:gd name="connsiteY3082" fmla="*/ 4223893 h 4596459"/>
              <a:gd name="connsiteX3083" fmla="*/ 2965315 w 4716235"/>
              <a:gd name="connsiteY3083" fmla="*/ 4233060 h 4596459"/>
              <a:gd name="connsiteX3084" fmla="*/ 2965149 w 4716235"/>
              <a:gd name="connsiteY3084" fmla="*/ 4233227 h 4596459"/>
              <a:gd name="connsiteX3085" fmla="*/ 2968204 w 4716235"/>
              <a:gd name="connsiteY3085" fmla="*/ 4236283 h 4596459"/>
              <a:gd name="connsiteX3086" fmla="*/ 2968286 w 4716235"/>
              <a:gd name="connsiteY3086" fmla="*/ 4236199 h 4596459"/>
              <a:gd name="connsiteX3087" fmla="*/ 2973573 w 4716235"/>
              <a:gd name="connsiteY3087" fmla="*/ 4241487 h 4596459"/>
              <a:gd name="connsiteX3088" fmla="*/ 2973903 w 4716235"/>
              <a:gd name="connsiteY3088" fmla="*/ 4241156 h 4596459"/>
              <a:gd name="connsiteX3089" fmla="*/ 2978528 w 4716235"/>
              <a:gd name="connsiteY3089" fmla="*/ 4245781 h 4596459"/>
              <a:gd name="connsiteX3090" fmla="*/ 2979022 w 4716235"/>
              <a:gd name="connsiteY3090" fmla="*/ 4245285 h 4596459"/>
              <a:gd name="connsiteX3091" fmla="*/ 2983070 w 4716235"/>
              <a:gd name="connsiteY3091" fmla="*/ 4249332 h 4596459"/>
              <a:gd name="connsiteX3092" fmla="*/ 2983482 w 4716235"/>
              <a:gd name="connsiteY3092" fmla="*/ 4248918 h 4596459"/>
              <a:gd name="connsiteX3093" fmla="*/ 2987282 w 4716235"/>
              <a:gd name="connsiteY3093" fmla="*/ 4252717 h 4596459"/>
              <a:gd name="connsiteX3094" fmla="*/ 2987778 w 4716235"/>
              <a:gd name="connsiteY3094" fmla="*/ 4252221 h 4596459"/>
              <a:gd name="connsiteX3095" fmla="*/ 2991578 w 4716235"/>
              <a:gd name="connsiteY3095" fmla="*/ 4256021 h 4596459"/>
              <a:gd name="connsiteX3096" fmla="*/ 2991907 w 4716235"/>
              <a:gd name="connsiteY3096" fmla="*/ 4255692 h 4596459"/>
              <a:gd name="connsiteX3097" fmla="*/ 2995788 w 4716235"/>
              <a:gd name="connsiteY3097" fmla="*/ 4259573 h 4596459"/>
              <a:gd name="connsiteX3098" fmla="*/ 2996036 w 4716235"/>
              <a:gd name="connsiteY3098" fmla="*/ 4259325 h 4596459"/>
              <a:gd name="connsiteX3099" fmla="*/ 3000332 w 4716235"/>
              <a:gd name="connsiteY3099" fmla="*/ 4263620 h 4596459"/>
              <a:gd name="connsiteX3100" fmla="*/ 3000332 w 4716235"/>
              <a:gd name="connsiteY3100" fmla="*/ 4263619 h 4596459"/>
              <a:gd name="connsiteX3101" fmla="*/ 3011068 w 4716235"/>
              <a:gd name="connsiteY3101" fmla="*/ 4274355 h 4596459"/>
              <a:gd name="connsiteX3102" fmla="*/ 3010903 w 4716235"/>
              <a:gd name="connsiteY3102" fmla="*/ 4274521 h 4596459"/>
              <a:gd name="connsiteX3103" fmla="*/ 3015528 w 4716235"/>
              <a:gd name="connsiteY3103" fmla="*/ 4279146 h 4596459"/>
              <a:gd name="connsiteX3104" fmla="*/ 3014951 w 4716235"/>
              <a:gd name="connsiteY3104" fmla="*/ 4279726 h 4596459"/>
              <a:gd name="connsiteX3105" fmla="*/ 3020320 w 4716235"/>
              <a:gd name="connsiteY3105" fmla="*/ 4285093 h 4596459"/>
              <a:gd name="connsiteX3106" fmla="*/ 3019495 w 4716235"/>
              <a:gd name="connsiteY3106" fmla="*/ 4285920 h 4596459"/>
              <a:gd name="connsiteX3107" fmla="*/ 3025606 w 4716235"/>
              <a:gd name="connsiteY3107" fmla="*/ 4292030 h 4596459"/>
              <a:gd name="connsiteX3108" fmla="*/ 3024366 w 4716235"/>
              <a:gd name="connsiteY3108" fmla="*/ 4293270 h 4596459"/>
              <a:gd name="connsiteX3109" fmla="*/ 3031388 w 4716235"/>
              <a:gd name="connsiteY3109" fmla="*/ 4300290 h 4596459"/>
              <a:gd name="connsiteX3110" fmla="*/ 3029735 w 4716235"/>
              <a:gd name="connsiteY3110" fmla="*/ 4301942 h 4596459"/>
              <a:gd name="connsiteX3111" fmla="*/ 3037662 w 4716235"/>
              <a:gd name="connsiteY3111" fmla="*/ 4309869 h 4596459"/>
              <a:gd name="connsiteX3112" fmla="*/ 3026925 w 4716235"/>
              <a:gd name="connsiteY3112" fmla="*/ 4320606 h 4596459"/>
              <a:gd name="connsiteX3113" fmla="*/ 3016189 w 4716235"/>
              <a:gd name="connsiteY3113" fmla="*/ 4309869 h 4596459"/>
              <a:gd name="connsiteX3114" fmla="*/ 3017840 w 4716235"/>
              <a:gd name="connsiteY3114" fmla="*/ 4308218 h 4596459"/>
              <a:gd name="connsiteX3115" fmla="*/ 3009913 w 4716235"/>
              <a:gd name="connsiteY3115" fmla="*/ 4300290 h 4596459"/>
              <a:gd name="connsiteX3116" fmla="*/ 3011151 w 4716235"/>
              <a:gd name="connsiteY3116" fmla="*/ 4299051 h 4596459"/>
              <a:gd name="connsiteX3117" fmla="*/ 3004131 w 4716235"/>
              <a:gd name="connsiteY3117" fmla="*/ 4292030 h 4596459"/>
              <a:gd name="connsiteX3118" fmla="*/ 3004957 w 4716235"/>
              <a:gd name="connsiteY3118" fmla="*/ 4291204 h 4596459"/>
              <a:gd name="connsiteX3119" fmla="*/ 2998846 w 4716235"/>
              <a:gd name="connsiteY3119" fmla="*/ 4285093 h 4596459"/>
              <a:gd name="connsiteX3120" fmla="*/ 2999423 w 4716235"/>
              <a:gd name="connsiteY3120" fmla="*/ 4284515 h 4596459"/>
              <a:gd name="connsiteX3121" fmla="*/ 2994056 w 4716235"/>
              <a:gd name="connsiteY3121" fmla="*/ 4279146 h 4596459"/>
              <a:gd name="connsiteX3122" fmla="*/ 2994220 w 4716235"/>
              <a:gd name="connsiteY3122" fmla="*/ 4278982 h 4596459"/>
              <a:gd name="connsiteX3123" fmla="*/ 2992155 w 4716235"/>
              <a:gd name="connsiteY3123" fmla="*/ 4276916 h 4596459"/>
              <a:gd name="connsiteX3124" fmla="*/ 2991907 w 4716235"/>
              <a:gd name="connsiteY3124" fmla="*/ 4277164 h 4596459"/>
              <a:gd name="connsiteX3125" fmla="*/ 2988107 w 4716235"/>
              <a:gd name="connsiteY3125" fmla="*/ 4273365 h 4596459"/>
              <a:gd name="connsiteX3126" fmla="*/ 2987778 w 4716235"/>
              <a:gd name="connsiteY3126" fmla="*/ 4273694 h 4596459"/>
              <a:gd name="connsiteX3127" fmla="*/ 2983978 w 4716235"/>
              <a:gd name="connsiteY3127" fmla="*/ 4269895 h 4596459"/>
              <a:gd name="connsiteX3128" fmla="*/ 2983482 w 4716235"/>
              <a:gd name="connsiteY3128" fmla="*/ 4270391 h 4596459"/>
              <a:gd name="connsiteX3129" fmla="*/ 2979437 w 4716235"/>
              <a:gd name="connsiteY3129" fmla="*/ 4266345 h 4596459"/>
              <a:gd name="connsiteX3130" fmla="*/ 2979022 w 4716235"/>
              <a:gd name="connsiteY3130" fmla="*/ 4266757 h 4596459"/>
              <a:gd name="connsiteX3131" fmla="*/ 2974399 w 4716235"/>
              <a:gd name="connsiteY3131" fmla="*/ 4262134 h 4596459"/>
              <a:gd name="connsiteX3132" fmla="*/ 2973903 w 4716235"/>
              <a:gd name="connsiteY3132" fmla="*/ 4262628 h 4596459"/>
              <a:gd name="connsiteX3133" fmla="*/ 2968617 w 4716235"/>
              <a:gd name="connsiteY3133" fmla="*/ 4257342 h 4596459"/>
              <a:gd name="connsiteX3134" fmla="*/ 2968286 w 4716235"/>
              <a:gd name="connsiteY3134" fmla="*/ 4257672 h 4596459"/>
              <a:gd name="connsiteX3135" fmla="*/ 2962093 w 4716235"/>
              <a:gd name="connsiteY3135" fmla="*/ 4251479 h 4596459"/>
              <a:gd name="connsiteX3136" fmla="*/ 2962010 w 4716235"/>
              <a:gd name="connsiteY3136" fmla="*/ 4251562 h 4596459"/>
              <a:gd name="connsiteX3137" fmla="*/ 2951273 w 4716235"/>
              <a:gd name="connsiteY3137" fmla="*/ 4240824 h 4596459"/>
              <a:gd name="connsiteX3138" fmla="*/ 2951438 w 4716235"/>
              <a:gd name="connsiteY3138" fmla="*/ 4240660 h 4596459"/>
              <a:gd name="connsiteX3139" fmla="*/ 2943841 w 4716235"/>
              <a:gd name="connsiteY3139" fmla="*/ 4233060 h 4596459"/>
              <a:gd name="connsiteX3140" fmla="*/ 2944418 w 4716235"/>
              <a:gd name="connsiteY3140" fmla="*/ 4232485 h 4596459"/>
              <a:gd name="connsiteX3141" fmla="*/ 2935249 w 4716235"/>
              <a:gd name="connsiteY3141" fmla="*/ 4223314 h 4596459"/>
              <a:gd name="connsiteX3142" fmla="*/ 2945986 w 4716235"/>
              <a:gd name="connsiteY3142" fmla="*/ 4212578 h 4596459"/>
              <a:gd name="connsiteX3143" fmla="*/ 2528739 w 4716235"/>
              <a:gd name="connsiteY3143" fmla="*/ 4210431 h 4596459"/>
              <a:gd name="connsiteX3144" fmla="*/ 2539477 w 4716235"/>
              <a:gd name="connsiteY3144" fmla="*/ 4221167 h 4596459"/>
              <a:gd name="connsiteX3145" fmla="*/ 2528739 w 4716235"/>
              <a:gd name="connsiteY3145" fmla="*/ 4231905 h 4596459"/>
              <a:gd name="connsiteX3146" fmla="*/ 2518003 w 4716235"/>
              <a:gd name="connsiteY3146" fmla="*/ 4221167 h 4596459"/>
              <a:gd name="connsiteX3147" fmla="*/ 2528739 w 4716235"/>
              <a:gd name="connsiteY3147" fmla="*/ 4210431 h 4596459"/>
              <a:gd name="connsiteX3148" fmla="*/ 2677567 w 4716235"/>
              <a:gd name="connsiteY3148" fmla="*/ 4210266 h 4596459"/>
              <a:gd name="connsiteX3149" fmla="*/ 2688305 w 4716235"/>
              <a:gd name="connsiteY3149" fmla="*/ 4221003 h 4596459"/>
              <a:gd name="connsiteX3150" fmla="*/ 2677567 w 4716235"/>
              <a:gd name="connsiteY3150" fmla="*/ 4231739 h 4596459"/>
              <a:gd name="connsiteX3151" fmla="*/ 2666830 w 4716235"/>
              <a:gd name="connsiteY3151" fmla="*/ 4221003 h 4596459"/>
              <a:gd name="connsiteX3152" fmla="*/ 2677567 w 4716235"/>
              <a:gd name="connsiteY3152" fmla="*/ 4210266 h 4596459"/>
              <a:gd name="connsiteX3153" fmla="*/ 1269892 w 4716235"/>
              <a:gd name="connsiteY3153" fmla="*/ 4209935 h 4596459"/>
              <a:gd name="connsiteX3154" fmla="*/ 1280630 w 4716235"/>
              <a:gd name="connsiteY3154" fmla="*/ 4220671 h 4596459"/>
              <a:gd name="connsiteX3155" fmla="*/ 1269892 w 4716235"/>
              <a:gd name="connsiteY3155" fmla="*/ 4231409 h 4596459"/>
              <a:gd name="connsiteX3156" fmla="*/ 1259156 w 4716235"/>
              <a:gd name="connsiteY3156" fmla="*/ 4220671 h 4596459"/>
              <a:gd name="connsiteX3157" fmla="*/ 1269892 w 4716235"/>
              <a:gd name="connsiteY3157" fmla="*/ 4209935 h 4596459"/>
              <a:gd name="connsiteX3158" fmla="*/ 352312 w 4716235"/>
              <a:gd name="connsiteY3158" fmla="*/ 4207788 h 4596459"/>
              <a:gd name="connsiteX3159" fmla="*/ 352806 w 4716235"/>
              <a:gd name="connsiteY3159" fmla="*/ 4208284 h 4596459"/>
              <a:gd name="connsiteX3160" fmla="*/ 352312 w 4716235"/>
              <a:gd name="connsiteY3160" fmla="*/ 4208778 h 4596459"/>
              <a:gd name="connsiteX3161" fmla="*/ 351816 w 4716235"/>
              <a:gd name="connsiteY3161" fmla="*/ 4208284 h 4596459"/>
              <a:gd name="connsiteX3162" fmla="*/ 352312 w 4716235"/>
              <a:gd name="connsiteY3162" fmla="*/ 4207788 h 4596459"/>
              <a:gd name="connsiteX3163" fmla="*/ 687793 w 4716235"/>
              <a:gd name="connsiteY3163" fmla="*/ 4203988 h 4596459"/>
              <a:gd name="connsiteX3164" fmla="*/ 698532 w 4716235"/>
              <a:gd name="connsiteY3164" fmla="*/ 4214725 h 4596459"/>
              <a:gd name="connsiteX3165" fmla="*/ 687793 w 4716235"/>
              <a:gd name="connsiteY3165" fmla="*/ 4225461 h 4596459"/>
              <a:gd name="connsiteX3166" fmla="*/ 677057 w 4716235"/>
              <a:gd name="connsiteY3166" fmla="*/ 4214725 h 4596459"/>
              <a:gd name="connsiteX3167" fmla="*/ 687793 w 4716235"/>
              <a:gd name="connsiteY3167" fmla="*/ 4203988 h 4596459"/>
              <a:gd name="connsiteX3168" fmla="*/ 2808886 w 4716235"/>
              <a:gd name="connsiteY3168" fmla="*/ 4201346 h 4596459"/>
              <a:gd name="connsiteX3169" fmla="*/ 2819624 w 4716235"/>
              <a:gd name="connsiteY3169" fmla="*/ 4212082 h 4596459"/>
              <a:gd name="connsiteX3170" fmla="*/ 2808886 w 4716235"/>
              <a:gd name="connsiteY3170" fmla="*/ 4222818 h 4596459"/>
              <a:gd name="connsiteX3171" fmla="*/ 2798150 w 4716235"/>
              <a:gd name="connsiteY3171" fmla="*/ 4212082 h 4596459"/>
              <a:gd name="connsiteX3172" fmla="*/ 2808886 w 4716235"/>
              <a:gd name="connsiteY3172" fmla="*/ 4201346 h 4596459"/>
              <a:gd name="connsiteX3173" fmla="*/ 2935910 w 4716235"/>
              <a:gd name="connsiteY3173" fmla="*/ 4200355 h 4596459"/>
              <a:gd name="connsiteX3174" fmla="*/ 2946648 w 4716235"/>
              <a:gd name="connsiteY3174" fmla="*/ 4211092 h 4596459"/>
              <a:gd name="connsiteX3175" fmla="*/ 2935910 w 4716235"/>
              <a:gd name="connsiteY3175" fmla="*/ 4221828 h 4596459"/>
              <a:gd name="connsiteX3176" fmla="*/ 2925174 w 4716235"/>
              <a:gd name="connsiteY3176" fmla="*/ 4211092 h 4596459"/>
              <a:gd name="connsiteX3177" fmla="*/ 2935910 w 4716235"/>
              <a:gd name="connsiteY3177" fmla="*/ 4200355 h 4596459"/>
              <a:gd name="connsiteX3178" fmla="*/ 2361410 w 4716235"/>
              <a:gd name="connsiteY3178" fmla="*/ 4199695 h 4596459"/>
              <a:gd name="connsiteX3179" fmla="*/ 2372149 w 4716235"/>
              <a:gd name="connsiteY3179" fmla="*/ 4210431 h 4596459"/>
              <a:gd name="connsiteX3180" fmla="*/ 2361410 w 4716235"/>
              <a:gd name="connsiteY3180" fmla="*/ 4221169 h 4596459"/>
              <a:gd name="connsiteX3181" fmla="*/ 2350674 w 4716235"/>
              <a:gd name="connsiteY3181" fmla="*/ 4210431 h 4596459"/>
              <a:gd name="connsiteX3182" fmla="*/ 2361410 w 4716235"/>
              <a:gd name="connsiteY3182" fmla="*/ 4199695 h 4596459"/>
              <a:gd name="connsiteX3183" fmla="*/ 975374 w 4716235"/>
              <a:gd name="connsiteY3183" fmla="*/ 4198207 h 4596459"/>
              <a:gd name="connsiteX3184" fmla="*/ 986110 w 4716235"/>
              <a:gd name="connsiteY3184" fmla="*/ 4208943 h 4596459"/>
              <a:gd name="connsiteX3185" fmla="*/ 975374 w 4716235"/>
              <a:gd name="connsiteY3185" fmla="*/ 4219681 h 4596459"/>
              <a:gd name="connsiteX3186" fmla="*/ 964637 w 4716235"/>
              <a:gd name="connsiteY3186" fmla="*/ 4208943 h 4596459"/>
              <a:gd name="connsiteX3187" fmla="*/ 975374 w 4716235"/>
              <a:gd name="connsiteY3187" fmla="*/ 4198207 h 4596459"/>
              <a:gd name="connsiteX3188" fmla="*/ 830840 w 4716235"/>
              <a:gd name="connsiteY3188" fmla="*/ 4196060 h 4596459"/>
              <a:gd name="connsiteX3189" fmla="*/ 841576 w 4716235"/>
              <a:gd name="connsiteY3189" fmla="*/ 4206796 h 4596459"/>
              <a:gd name="connsiteX3190" fmla="*/ 830840 w 4716235"/>
              <a:gd name="connsiteY3190" fmla="*/ 4217534 h 4596459"/>
              <a:gd name="connsiteX3191" fmla="*/ 820103 w 4716235"/>
              <a:gd name="connsiteY3191" fmla="*/ 4206796 h 4596459"/>
              <a:gd name="connsiteX3192" fmla="*/ 830840 w 4716235"/>
              <a:gd name="connsiteY3192" fmla="*/ 4196060 h 4596459"/>
              <a:gd name="connsiteX3193" fmla="*/ 1746936 w 4716235"/>
              <a:gd name="connsiteY3193" fmla="*/ 4195234 h 4596459"/>
              <a:gd name="connsiteX3194" fmla="*/ 1757674 w 4716235"/>
              <a:gd name="connsiteY3194" fmla="*/ 4205971 h 4596459"/>
              <a:gd name="connsiteX3195" fmla="*/ 1746936 w 4716235"/>
              <a:gd name="connsiteY3195" fmla="*/ 4216707 h 4596459"/>
              <a:gd name="connsiteX3196" fmla="*/ 1736200 w 4716235"/>
              <a:gd name="connsiteY3196" fmla="*/ 4205971 h 4596459"/>
              <a:gd name="connsiteX3197" fmla="*/ 1746936 w 4716235"/>
              <a:gd name="connsiteY3197" fmla="*/ 4195234 h 4596459"/>
              <a:gd name="connsiteX3198" fmla="*/ 1890478 w 4716235"/>
              <a:gd name="connsiteY3198" fmla="*/ 4193913 h 4596459"/>
              <a:gd name="connsiteX3199" fmla="*/ 1901216 w 4716235"/>
              <a:gd name="connsiteY3199" fmla="*/ 4204649 h 4596459"/>
              <a:gd name="connsiteX3200" fmla="*/ 1890478 w 4716235"/>
              <a:gd name="connsiteY3200" fmla="*/ 4215387 h 4596459"/>
              <a:gd name="connsiteX3201" fmla="*/ 1879742 w 4716235"/>
              <a:gd name="connsiteY3201" fmla="*/ 4204649 h 4596459"/>
              <a:gd name="connsiteX3202" fmla="*/ 1890478 w 4716235"/>
              <a:gd name="connsiteY3202" fmla="*/ 4193913 h 4596459"/>
              <a:gd name="connsiteX3203" fmla="*/ 1603392 w 4716235"/>
              <a:gd name="connsiteY3203" fmla="*/ 4191435 h 4596459"/>
              <a:gd name="connsiteX3204" fmla="*/ 1614130 w 4716235"/>
              <a:gd name="connsiteY3204" fmla="*/ 4202171 h 4596459"/>
              <a:gd name="connsiteX3205" fmla="*/ 1603392 w 4716235"/>
              <a:gd name="connsiteY3205" fmla="*/ 4212909 h 4596459"/>
              <a:gd name="connsiteX3206" fmla="*/ 1592656 w 4716235"/>
              <a:gd name="connsiteY3206" fmla="*/ 4202171 h 4596459"/>
              <a:gd name="connsiteX3207" fmla="*/ 1603392 w 4716235"/>
              <a:gd name="connsiteY3207" fmla="*/ 4191435 h 4596459"/>
              <a:gd name="connsiteX3208" fmla="*/ 1138242 w 4716235"/>
              <a:gd name="connsiteY3208" fmla="*/ 4189784 h 4596459"/>
              <a:gd name="connsiteX3209" fmla="*/ 1148980 w 4716235"/>
              <a:gd name="connsiteY3209" fmla="*/ 4200520 h 4596459"/>
              <a:gd name="connsiteX3210" fmla="*/ 1138242 w 4716235"/>
              <a:gd name="connsiteY3210" fmla="*/ 4211258 h 4596459"/>
              <a:gd name="connsiteX3211" fmla="*/ 1127505 w 4716235"/>
              <a:gd name="connsiteY3211" fmla="*/ 4200520 h 4596459"/>
              <a:gd name="connsiteX3212" fmla="*/ 1138242 w 4716235"/>
              <a:gd name="connsiteY3212" fmla="*/ 4189784 h 4596459"/>
              <a:gd name="connsiteX3213" fmla="*/ 2033526 w 4716235"/>
              <a:gd name="connsiteY3213" fmla="*/ 4187306 h 4596459"/>
              <a:gd name="connsiteX3214" fmla="*/ 2044262 w 4716235"/>
              <a:gd name="connsiteY3214" fmla="*/ 4198042 h 4596459"/>
              <a:gd name="connsiteX3215" fmla="*/ 2033526 w 4716235"/>
              <a:gd name="connsiteY3215" fmla="*/ 4208780 h 4596459"/>
              <a:gd name="connsiteX3216" fmla="*/ 2022790 w 4716235"/>
              <a:gd name="connsiteY3216" fmla="*/ 4198042 h 4596459"/>
              <a:gd name="connsiteX3217" fmla="*/ 2033526 w 4716235"/>
              <a:gd name="connsiteY3217" fmla="*/ 4187306 h 4596459"/>
              <a:gd name="connsiteX3218" fmla="*/ 703816 w 4716235"/>
              <a:gd name="connsiteY3218" fmla="*/ 4185653 h 4596459"/>
              <a:gd name="connsiteX3219" fmla="*/ 714554 w 4716235"/>
              <a:gd name="connsiteY3219" fmla="*/ 4196389 h 4596459"/>
              <a:gd name="connsiteX3220" fmla="*/ 703816 w 4716235"/>
              <a:gd name="connsiteY3220" fmla="*/ 4207127 h 4596459"/>
              <a:gd name="connsiteX3221" fmla="*/ 693079 w 4716235"/>
              <a:gd name="connsiteY3221" fmla="*/ 4196389 h 4596459"/>
              <a:gd name="connsiteX3222" fmla="*/ 703816 w 4716235"/>
              <a:gd name="connsiteY3222" fmla="*/ 4185653 h 4596459"/>
              <a:gd name="connsiteX3223" fmla="*/ 2924348 w 4716235"/>
              <a:gd name="connsiteY3223" fmla="*/ 4185488 h 4596459"/>
              <a:gd name="connsiteX3224" fmla="*/ 2935086 w 4716235"/>
              <a:gd name="connsiteY3224" fmla="*/ 4196225 h 4596459"/>
              <a:gd name="connsiteX3225" fmla="*/ 2924348 w 4716235"/>
              <a:gd name="connsiteY3225" fmla="*/ 4206961 h 4596459"/>
              <a:gd name="connsiteX3226" fmla="*/ 2913612 w 4716235"/>
              <a:gd name="connsiteY3226" fmla="*/ 4196225 h 4596459"/>
              <a:gd name="connsiteX3227" fmla="*/ 2924348 w 4716235"/>
              <a:gd name="connsiteY3227" fmla="*/ 4185488 h 4596459"/>
              <a:gd name="connsiteX3228" fmla="*/ 582573 w 4716235"/>
              <a:gd name="connsiteY3228" fmla="*/ 4184002 h 4596459"/>
              <a:gd name="connsiteX3229" fmla="*/ 593310 w 4716235"/>
              <a:gd name="connsiteY3229" fmla="*/ 4194738 h 4596459"/>
              <a:gd name="connsiteX3230" fmla="*/ 583068 w 4716235"/>
              <a:gd name="connsiteY3230" fmla="*/ 4204980 h 4596459"/>
              <a:gd name="connsiteX3231" fmla="*/ 585050 w 4716235"/>
              <a:gd name="connsiteY3231" fmla="*/ 4206963 h 4596459"/>
              <a:gd name="connsiteX3232" fmla="*/ 576460 w 4716235"/>
              <a:gd name="connsiteY3232" fmla="*/ 4215552 h 4596459"/>
              <a:gd name="connsiteX3233" fmla="*/ 577947 w 4716235"/>
              <a:gd name="connsiteY3233" fmla="*/ 4217038 h 4596459"/>
              <a:gd name="connsiteX3234" fmla="*/ 571093 w 4716235"/>
              <a:gd name="connsiteY3234" fmla="*/ 4223893 h 4596459"/>
              <a:gd name="connsiteX3235" fmla="*/ 572167 w 4716235"/>
              <a:gd name="connsiteY3235" fmla="*/ 4224967 h 4596459"/>
              <a:gd name="connsiteX3236" fmla="*/ 566386 w 4716235"/>
              <a:gd name="connsiteY3236" fmla="*/ 4230749 h 4596459"/>
              <a:gd name="connsiteX3237" fmla="*/ 567047 w 4716235"/>
              <a:gd name="connsiteY3237" fmla="*/ 4231409 h 4596459"/>
              <a:gd name="connsiteX3238" fmla="*/ 562172 w 4716235"/>
              <a:gd name="connsiteY3238" fmla="*/ 4236284 h 4596459"/>
              <a:gd name="connsiteX3239" fmla="*/ 562750 w 4716235"/>
              <a:gd name="connsiteY3239" fmla="*/ 4236860 h 4596459"/>
              <a:gd name="connsiteX3240" fmla="*/ 558623 w 4716235"/>
              <a:gd name="connsiteY3240" fmla="*/ 4240987 h 4596459"/>
              <a:gd name="connsiteX3241" fmla="*/ 558954 w 4716235"/>
              <a:gd name="connsiteY3241" fmla="*/ 4241319 h 4596459"/>
              <a:gd name="connsiteX3242" fmla="*/ 555236 w 4716235"/>
              <a:gd name="connsiteY3242" fmla="*/ 4245038 h 4596459"/>
              <a:gd name="connsiteX3243" fmla="*/ 555482 w 4716235"/>
              <a:gd name="connsiteY3243" fmla="*/ 4245285 h 4596459"/>
              <a:gd name="connsiteX3244" fmla="*/ 551932 w 4716235"/>
              <a:gd name="connsiteY3244" fmla="*/ 4248835 h 4596459"/>
              <a:gd name="connsiteX3245" fmla="*/ 552180 w 4716235"/>
              <a:gd name="connsiteY3245" fmla="*/ 4249083 h 4596459"/>
              <a:gd name="connsiteX3246" fmla="*/ 548629 w 4716235"/>
              <a:gd name="connsiteY3246" fmla="*/ 4252634 h 4596459"/>
              <a:gd name="connsiteX3247" fmla="*/ 548876 w 4716235"/>
              <a:gd name="connsiteY3247" fmla="*/ 4252882 h 4596459"/>
              <a:gd name="connsiteX3248" fmla="*/ 545158 w 4716235"/>
              <a:gd name="connsiteY3248" fmla="*/ 4256600 h 4596459"/>
              <a:gd name="connsiteX3249" fmla="*/ 545571 w 4716235"/>
              <a:gd name="connsiteY3249" fmla="*/ 4257011 h 4596459"/>
              <a:gd name="connsiteX3250" fmla="*/ 541442 w 4716235"/>
              <a:gd name="connsiteY3250" fmla="*/ 4261142 h 4596459"/>
              <a:gd name="connsiteX3251" fmla="*/ 542103 w 4716235"/>
              <a:gd name="connsiteY3251" fmla="*/ 4261803 h 4596459"/>
              <a:gd name="connsiteX3252" fmla="*/ 537479 w 4716235"/>
              <a:gd name="connsiteY3252" fmla="*/ 4266428 h 4596459"/>
              <a:gd name="connsiteX3253" fmla="*/ 538305 w 4716235"/>
              <a:gd name="connsiteY3253" fmla="*/ 4267253 h 4596459"/>
              <a:gd name="connsiteX3254" fmla="*/ 533102 w 4716235"/>
              <a:gd name="connsiteY3254" fmla="*/ 4272456 h 4596459"/>
              <a:gd name="connsiteX3255" fmla="*/ 534176 w 4716235"/>
              <a:gd name="connsiteY3255" fmla="*/ 4273529 h 4596459"/>
              <a:gd name="connsiteX3256" fmla="*/ 528144 w 4716235"/>
              <a:gd name="connsiteY3256" fmla="*/ 4279559 h 4596459"/>
              <a:gd name="connsiteX3257" fmla="*/ 529549 w 4716235"/>
              <a:gd name="connsiteY3257" fmla="*/ 4280964 h 4596459"/>
              <a:gd name="connsiteX3258" fmla="*/ 518813 w 4716235"/>
              <a:gd name="connsiteY3258" fmla="*/ 4291700 h 4596459"/>
              <a:gd name="connsiteX3259" fmla="*/ 517410 w 4716235"/>
              <a:gd name="connsiteY3259" fmla="*/ 4290297 h 4596459"/>
              <a:gd name="connsiteX3260" fmla="*/ 513529 w 4716235"/>
              <a:gd name="connsiteY3260" fmla="*/ 4294177 h 4596459"/>
              <a:gd name="connsiteX3261" fmla="*/ 509068 w 4716235"/>
              <a:gd name="connsiteY3261" fmla="*/ 4289718 h 4596459"/>
              <a:gd name="connsiteX3262" fmla="*/ 512949 w 4716235"/>
              <a:gd name="connsiteY3262" fmla="*/ 4285837 h 4596459"/>
              <a:gd name="connsiteX3263" fmla="*/ 508076 w 4716235"/>
              <a:gd name="connsiteY3263" fmla="*/ 4280964 h 4596459"/>
              <a:gd name="connsiteX3264" fmla="*/ 514106 w 4716235"/>
              <a:gd name="connsiteY3264" fmla="*/ 4274934 h 4596459"/>
              <a:gd name="connsiteX3265" fmla="*/ 512701 w 4716235"/>
              <a:gd name="connsiteY3265" fmla="*/ 4273529 h 4596459"/>
              <a:gd name="connsiteX3266" fmla="*/ 517904 w 4716235"/>
              <a:gd name="connsiteY3266" fmla="*/ 4268327 h 4596459"/>
              <a:gd name="connsiteX3267" fmla="*/ 516830 w 4716235"/>
              <a:gd name="connsiteY3267" fmla="*/ 4267253 h 4596459"/>
              <a:gd name="connsiteX3268" fmla="*/ 521456 w 4716235"/>
              <a:gd name="connsiteY3268" fmla="*/ 4262628 h 4596459"/>
              <a:gd name="connsiteX3269" fmla="*/ 520630 w 4716235"/>
              <a:gd name="connsiteY3269" fmla="*/ 4261803 h 4596459"/>
              <a:gd name="connsiteX3270" fmla="*/ 524761 w 4716235"/>
              <a:gd name="connsiteY3270" fmla="*/ 4257674 h 4596459"/>
              <a:gd name="connsiteX3271" fmla="*/ 524098 w 4716235"/>
              <a:gd name="connsiteY3271" fmla="*/ 4257011 h 4596459"/>
              <a:gd name="connsiteX3272" fmla="*/ 527815 w 4716235"/>
              <a:gd name="connsiteY3272" fmla="*/ 4253295 h 4596459"/>
              <a:gd name="connsiteX3273" fmla="*/ 527402 w 4716235"/>
              <a:gd name="connsiteY3273" fmla="*/ 4252882 h 4596459"/>
              <a:gd name="connsiteX3274" fmla="*/ 530954 w 4716235"/>
              <a:gd name="connsiteY3274" fmla="*/ 4249331 h 4596459"/>
              <a:gd name="connsiteX3275" fmla="*/ 530706 w 4716235"/>
              <a:gd name="connsiteY3275" fmla="*/ 4249083 h 4596459"/>
              <a:gd name="connsiteX3276" fmla="*/ 534257 w 4716235"/>
              <a:gd name="connsiteY3276" fmla="*/ 4245533 h 4596459"/>
              <a:gd name="connsiteX3277" fmla="*/ 534009 w 4716235"/>
              <a:gd name="connsiteY3277" fmla="*/ 4245285 h 4596459"/>
              <a:gd name="connsiteX3278" fmla="*/ 537727 w 4716235"/>
              <a:gd name="connsiteY3278" fmla="*/ 4241567 h 4596459"/>
              <a:gd name="connsiteX3279" fmla="*/ 537479 w 4716235"/>
              <a:gd name="connsiteY3279" fmla="*/ 4241319 h 4596459"/>
              <a:gd name="connsiteX3280" fmla="*/ 541608 w 4716235"/>
              <a:gd name="connsiteY3280" fmla="*/ 4237191 h 4596459"/>
              <a:gd name="connsiteX3281" fmla="*/ 541277 w 4716235"/>
              <a:gd name="connsiteY3281" fmla="*/ 4236860 h 4596459"/>
              <a:gd name="connsiteX3282" fmla="*/ 546150 w 4716235"/>
              <a:gd name="connsiteY3282" fmla="*/ 4231987 h 4596459"/>
              <a:gd name="connsiteX3283" fmla="*/ 545573 w 4716235"/>
              <a:gd name="connsiteY3283" fmla="*/ 4231409 h 4596459"/>
              <a:gd name="connsiteX3284" fmla="*/ 551355 w 4716235"/>
              <a:gd name="connsiteY3284" fmla="*/ 4225628 h 4596459"/>
              <a:gd name="connsiteX3285" fmla="*/ 550694 w 4716235"/>
              <a:gd name="connsiteY3285" fmla="*/ 4224967 h 4596459"/>
              <a:gd name="connsiteX3286" fmla="*/ 557547 w 4716235"/>
              <a:gd name="connsiteY3286" fmla="*/ 4218113 h 4596459"/>
              <a:gd name="connsiteX3287" fmla="*/ 556474 w 4716235"/>
              <a:gd name="connsiteY3287" fmla="*/ 4217038 h 4596459"/>
              <a:gd name="connsiteX3288" fmla="*/ 565063 w 4716235"/>
              <a:gd name="connsiteY3288" fmla="*/ 4208449 h 4596459"/>
              <a:gd name="connsiteX3289" fmla="*/ 563577 w 4716235"/>
              <a:gd name="connsiteY3289" fmla="*/ 4206963 h 4596459"/>
              <a:gd name="connsiteX3290" fmla="*/ 573819 w 4716235"/>
              <a:gd name="connsiteY3290" fmla="*/ 4196721 h 4596459"/>
              <a:gd name="connsiteX3291" fmla="*/ 571837 w 4716235"/>
              <a:gd name="connsiteY3291" fmla="*/ 4194738 h 4596459"/>
              <a:gd name="connsiteX3292" fmla="*/ 582573 w 4716235"/>
              <a:gd name="connsiteY3292" fmla="*/ 4184002 h 4596459"/>
              <a:gd name="connsiteX3293" fmla="*/ 2649155 w 4716235"/>
              <a:gd name="connsiteY3293" fmla="*/ 4183012 h 4596459"/>
              <a:gd name="connsiteX3294" fmla="*/ 2659894 w 4716235"/>
              <a:gd name="connsiteY3294" fmla="*/ 4193748 h 4596459"/>
              <a:gd name="connsiteX3295" fmla="*/ 2649155 w 4716235"/>
              <a:gd name="connsiteY3295" fmla="*/ 4204484 h 4596459"/>
              <a:gd name="connsiteX3296" fmla="*/ 2638419 w 4716235"/>
              <a:gd name="connsiteY3296" fmla="*/ 4193748 h 4596459"/>
              <a:gd name="connsiteX3297" fmla="*/ 2649155 w 4716235"/>
              <a:gd name="connsiteY3297" fmla="*/ 4183012 h 4596459"/>
              <a:gd name="connsiteX3298" fmla="*/ 1461171 w 4716235"/>
              <a:gd name="connsiteY3298" fmla="*/ 4182516 h 4596459"/>
              <a:gd name="connsiteX3299" fmla="*/ 1471910 w 4716235"/>
              <a:gd name="connsiteY3299" fmla="*/ 4193252 h 4596459"/>
              <a:gd name="connsiteX3300" fmla="*/ 1461171 w 4716235"/>
              <a:gd name="connsiteY3300" fmla="*/ 4203988 h 4596459"/>
              <a:gd name="connsiteX3301" fmla="*/ 1450435 w 4716235"/>
              <a:gd name="connsiteY3301" fmla="*/ 4193252 h 4596459"/>
              <a:gd name="connsiteX3302" fmla="*/ 1461171 w 4716235"/>
              <a:gd name="connsiteY3302" fmla="*/ 4182516 h 4596459"/>
              <a:gd name="connsiteX3303" fmla="*/ 3290390 w 4716235"/>
              <a:gd name="connsiteY3303" fmla="*/ 4180202 h 4596459"/>
              <a:gd name="connsiteX3304" fmla="*/ 3294849 w 4716235"/>
              <a:gd name="connsiteY3304" fmla="*/ 4184663 h 4596459"/>
              <a:gd name="connsiteX3305" fmla="*/ 3290390 w 4716235"/>
              <a:gd name="connsiteY3305" fmla="*/ 4189123 h 4596459"/>
              <a:gd name="connsiteX3306" fmla="*/ 3285930 w 4716235"/>
              <a:gd name="connsiteY3306" fmla="*/ 4184663 h 4596459"/>
              <a:gd name="connsiteX3307" fmla="*/ 3290390 w 4716235"/>
              <a:gd name="connsiteY3307" fmla="*/ 4180202 h 4596459"/>
              <a:gd name="connsiteX3308" fmla="*/ 2788404 w 4716235"/>
              <a:gd name="connsiteY3308" fmla="*/ 4179046 h 4596459"/>
              <a:gd name="connsiteX3309" fmla="*/ 2799142 w 4716235"/>
              <a:gd name="connsiteY3309" fmla="*/ 4189782 h 4596459"/>
              <a:gd name="connsiteX3310" fmla="*/ 2788404 w 4716235"/>
              <a:gd name="connsiteY3310" fmla="*/ 4200520 h 4596459"/>
              <a:gd name="connsiteX3311" fmla="*/ 2777667 w 4716235"/>
              <a:gd name="connsiteY3311" fmla="*/ 4189782 h 4596459"/>
              <a:gd name="connsiteX3312" fmla="*/ 2788404 w 4716235"/>
              <a:gd name="connsiteY3312" fmla="*/ 4179046 h 4596459"/>
              <a:gd name="connsiteX3313" fmla="*/ 2491242 w 4716235"/>
              <a:gd name="connsiteY3313" fmla="*/ 4177230 h 4596459"/>
              <a:gd name="connsiteX3314" fmla="*/ 2501980 w 4716235"/>
              <a:gd name="connsiteY3314" fmla="*/ 4187966 h 4596459"/>
              <a:gd name="connsiteX3315" fmla="*/ 2491242 w 4716235"/>
              <a:gd name="connsiteY3315" fmla="*/ 4198703 h 4596459"/>
              <a:gd name="connsiteX3316" fmla="*/ 2480506 w 4716235"/>
              <a:gd name="connsiteY3316" fmla="*/ 4187966 h 4596459"/>
              <a:gd name="connsiteX3317" fmla="*/ 2491242 w 4716235"/>
              <a:gd name="connsiteY3317" fmla="*/ 4177230 h 4596459"/>
              <a:gd name="connsiteX3318" fmla="*/ 2174921 w 4716235"/>
              <a:gd name="connsiteY3318" fmla="*/ 4175577 h 4596459"/>
              <a:gd name="connsiteX3319" fmla="*/ 2185660 w 4716235"/>
              <a:gd name="connsiteY3319" fmla="*/ 4186314 h 4596459"/>
              <a:gd name="connsiteX3320" fmla="*/ 2174921 w 4716235"/>
              <a:gd name="connsiteY3320" fmla="*/ 4197050 h 4596459"/>
              <a:gd name="connsiteX3321" fmla="*/ 2164185 w 4716235"/>
              <a:gd name="connsiteY3321" fmla="*/ 4186314 h 4596459"/>
              <a:gd name="connsiteX3322" fmla="*/ 2174921 w 4716235"/>
              <a:gd name="connsiteY3322" fmla="*/ 4175577 h 4596459"/>
              <a:gd name="connsiteX3323" fmla="*/ 856939 w 4716235"/>
              <a:gd name="connsiteY3323" fmla="*/ 4169135 h 4596459"/>
              <a:gd name="connsiteX3324" fmla="*/ 867676 w 4716235"/>
              <a:gd name="connsiteY3324" fmla="*/ 4179871 h 4596459"/>
              <a:gd name="connsiteX3325" fmla="*/ 856939 w 4716235"/>
              <a:gd name="connsiteY3325" fmla="*/ 4190609 h 4596459"/>
              <a:gd name="connsiteX3326" fmla="*/ 846203 w 4716235"/>
              <a:gd name="connsiteY3326" fmla="*/ 4179871 h 4596459"/>
              <a:gd name="connsiteX3327" fmla="*/ 856939 w 4716235"/>
              <a:gd name="connsiteY3327" fmla="*/ 4169135 h 4596459"/>
              <a:gd name="connsiteX3328" fmla="*/ 592318 w 4716235"/>
              <a:gd name="connsiteY3328" fmla="*/ 4168970 h 4596459"/>
              <a:gd name="connsiteX3329" fmla="*/ 603056 w 4716235"/>
              <a:gd name="connsiteY3329" fmla="*/ 4179706 h 4596459"/>
              <a:gd name="connsiteX3330" fmla="*/ 592318 w 4716235"/>
              <a:gd name="connsiteY3330" fmla="*/ 4190443 h 4596459"/>
              <a:gd name="connsiteX3331" fmla="*/ 581582 w 4716235"/>
              <a:gd name="connsiteY3331" fmla="*/ 4179706 h 4596459"/>
              <a:gd name="connsiteX3332" fmla="*/ 592318 w 4716235"/>
              <a:gd name="connsiteY3332" fmla="*/ 4168970 h 4596459"/>
              <a:gd name="connsiteX3333" fmla="*/ 1320768 w 4716235"/>
              <a:gd name="connsiteY3333" fmla="*/ 4168476 h 4596459"/>
              <a:gd name="connsiteX3334" fmla="*/ 1331506 w 4716235"/>
              <a:gd name="connsiteY3334" fmla="*/ 4179212 h 4596459"/>
              <a:gd name="connsiteX3335" fmla="*/ 1320768 w 4716235"/>
              <a:gd name="connsiteY3335" fmla="*/ 4189949 h 4596459"/>
              <a:gd name="connsiteX3336" fmla="*/ 1310032 w 4716235"/>
              <a:gd name="connsiteY3336" fmla="*/ 4179212 h 4596459"/>
              <a:gd name="connsiteX3337" fmla="*/ 1320768 w 4716235"/>
              <a:gd name="connsiteY3337" fmla="*/ 4168476 h 4596459"/>
              <a:gd name="connsiteX3338" fmla="*/ 2910803 w 4716235"/>
              <a:gd name="connsiteY3338" fmla="*/ 4167153 h 4596459"/>
              <a:gd name="connsiteX3339" fmla="*/ 2921539 w 4716235"/>
              <a:gd name="connsiteY3339" fmla="*/ 4177889 h 4596459"/>
              <a:gd name="connsiteX3340" fmla="*/ 2910803 w 4716235"/>
              <a:gd name="connsiteY3340" fmla="*/ 4188627 h 4596459"/>
              <a:gd name="connsiteX3341" fmla="*/ 2900066 w 4716235"/>
              <a:gd name="connsiteY3341" fmla="*/ 4177889 h 4596459"/>
              <a:gd name="connsiteX3342" fmla="*/ 2910803 w 4716235"/>
              <a:gd name="connsiteY3342" fmla="*/ 4167153 h 4596459"/>
              <a:gd name="connsiteX3343" fmla="*/ 1010227 w 4716235"/>
              <a:gd name="connsiteY3343" fmla="*/ 4165337 h 4596459"/>
              <a:gd name="connsiteX3344" fmla="*/ 1020964 w 4716235"/>
              <a:gd name="connsiteY3344" fmla="*/ 4176073 h 4596459"/>
              <a:gd name="connsiteX3345" fmla="*/ 1010227 w 4716235"/>
              <a:gd name="connsiteY3345" fmla="*/ 4186810 h 4596459"/>
              <a:gd name="connsiteX3346" fmla="*/ 999491 w 4716235"/>
              <a:gd name="connsiteY3346" fmla="*/ 4176073 h 4596459"/>
              <a:gd name="connsiteX3347" fmla="*/ 1010227 w 4716235"/>
              <a:gd name="connsiteY3347" fmla="*/ 4165337 h 4596459"/>
              <a:gd name="connsiteX3348" fmla="*/ 3025439 w 4716235"/>
              <a:gd name="connsiteY3348" fmla="*/ 4164510 h 4596459"/>
              <a:gd name="connsiteX3349" fmla="*/ 3036177 w 4716235"/>
              <a:gd name="connsiteY3349" fmla="*/ 4175246 h 4596459"/>
              <a:gd name="connsiteX3350" fmla="*/ 3033039 w 4716235"/>
              <a:gd name="connsiteY3350" fmla="*/ 4178387 h 4596459"/>
              <a:gd name="connsiteX3351" fmla="*/ 3042453 w 4716235"/>
              <a:gd name="connsiteY3351" fmla="*/ 4187800 h 4596459"/>
              <a:gd name="connsiteX3352" fmla="*/ 3039892 w 4716235"/>
              <a:gd name="connsiteY3352" fmla="*/ 4190361 h 4596459"/>
              <a:gd name="connsiteX3353" fmla="*/ 3047574 w 4716235"/>
              <a:gd name="connsiteY3353" fmla="*/ 4198042 h 4596459"/>
              <a:gd name="connsiteX3354" fmla="*/ 3045509 w 4716235"/>
              <a:gd name="connsiteY3354" fmla="*/ 4200107 h 4596459"/>
              <a:gd name="connsiteX3355" fmla="*/ 3051868 w 4716235"/>
              <a:gd name="connsiteY3355" fmla="*/ 4206467 h 4596459"/>
              <a:gd name="connsiteX3356" fmla="*/ 3050134 w 4716235"/>
              <a:gd name="connsiteY3356" fmla="*/ 4208201 h 4596459"/>
              <a:gd name="connsiteX3357" fmla="*/ 3055338 w 4716235"/>
              <a:gd name="connsiteY3357" fmla="*/ 4213403 h 4596459"/>
              <a:gd name="connsiteX3358" fmla="*/ 3054015 w 4716235"/>
              <a:gd name="connsiteY3358" fmla="*/ 4214727 h 4596459"/>
              <a:gd name="connsiteX3359" fmla="*/ 3058309 w 4716235"/>
              <a:gd name="connsiteY3359" fmla="*/ 4219020 h 4596459"/>
              <a:gd name="connsiteX3360" fmla="*/ 3057071 w 4716235"/>
              <a:gd name="connsiteY3360" fmla="*/ 4220259 h 4596459"/>
              <a:gd name="connsiteX3361" fmla="*/ 3060789 w 4716235"/>
              <a:gd name="connsiteY3361" fmla="*/ 4223975 h 4596459"/>
              <a:gd name="connsiteX3362" fmla="*/ 3059714 w 4716235"/>
              <a:gd name="connsiteY3362" fmla="*/ 4225050 h 4596459"/>
              <a:gd name="connsiteX3363" fmla="*/ 3063101 w 4716235"/>
              <a:gd name="connsiteY3363" fmla="*/ 4228435 h 4596459"/>
              <a:gd name="connsiteX3364" fmla="*/ 3062027 w 4716235"/>
              <a:gd name="connsiteY3364" fmla="*/ 4229509 h 4596459"/>
              <a:gd name="connsiteX3365" fmla="*/ 3065249 w 4716235"/>
              <a:gd name="connsiteY3365" fmla="*/ 4232729 h 4596459"/>
              <a:gd name="connsiteX3366" fmla="*/ 3064174 w 4716235"/>
              <a:gd name="connsiteY3366" fmla="*/ 4233804 h 4596459"/>
              <a:gd name="connsiteX3367" fmla="*/ 3067561 w 4716235"/>
              <a:gd name="connsiteY3367" fmla="*/ 4237189 h 4596459"/>
              <a:gd name="connsiteX3368" fmla="*/ 3066404 w 4716235"/>
              <a:gd name="connsiteY3368" fmla="*/ 4238346 h 4596459"/>
              <a:gd name="connsiteX3369" fmla="*/ 3069874 w 4716235"/>
              <a:gd name="connsiteY3369" fmla="*/ 4241815 h 4596459"/>
              <a:gd name="connsiteX3370" fmla="*/ 3068551 w 4716235"/>
              <a:gd name="connsiteY3370" fmla="*/ 4243138 h 4596459"/>
              <a:gd name="connsiteX3371" fmla="*/ 3072516 w 4716235"/>
              <a:gd name="connsiteY3371" fmla="*/ 4247100 h 4596459"/>
              <a:gd name="connsiteX3372" fmla="*/ 3071029 w 4716235"/>
              <a:gd name="connsiteY3372" fmla="*/ 4248588 h 4596459"/>
              <a:gd name="connsiteX3373" fmla="*/ 3075654 w 4716235"/>
              <a:gd name="connsiteY3373" fmla="*/ 4253212 h 4596459"/>
              <a:gd name="connsiteX3374" fmla="*/ 3073920 w 4716235"/>
              <a:gd name="connsiteY3374" fmla="*/ 4254946 h 4596459"/>
              <a:gd name="connsiteX3375" fmla="*/ 3079125 w 4716235"/>
              <a:gd name="connsiteY3375" fmla="*/ 4260150 h 4596459"/>
              <a:gd name="connsiteX3376" fmla="*/ 3077059 w 4716235"/>
              <a:gd name="connsiteY3376" fmla="*/ 4262216 h 4596459"/>
              <a:gd name="connsiteX3377" fmla="*/ 3083087 w 4716235"/>
              <a:gd name="connsiteY3377" fmla="*/ 4268244 h 4596459"/>
              <a:gd name="connsiteX3378" fmla="*/ 3080857 w 4716235"/>
              <a:gd name="connsiteY3378" fmla="*/ 4270474 h 4596459"/>
              <a:gd name="connsiteX3379" fmla="*/ 3087879 w 4716235"/>
              <a:gd name="connsiteY3379" fmla="*/ 4277494 h 4596459"/>
              <a:gd name="connsiteX3380" fmla="*/ 3085236 w 4716235"/>
              <a:gd name="connsiteY3380" fmla="*/ 4280138 h 4596459"/>
              <a:gd name="connsiteX3381" fmla="*/ 3093163 w 4716235"/>
              <a:gd name="connsiteY3381" fmla="*/ 4288065 h 4596459"/>
              <a:gd name="connsiteX3382" fmla="*/ 3082426 w 4716235"/>
              <a:gd name="connsiteY3382" fmla="*/ 4298802 h 4596459"/>
              <a:gd name="connsiteX3383" fmla="*/ 3071690 w 4716235"/>
              <a:gd name="connsiteY3383" fmla="*/ 4288065 h 4596459"/>
              <a:gd name="connsiteX3384" fmla="*/ 3074333 w 4716235"/>
              <a:gd name="connsiteY3384" fmla="*/ 4285424 h 4596459"/>
              <a:gd name="connsiteX3385" fmla="*/ 3066404 w 4716235"/>
              <a:gd name="connsiteY3385" fmla="*/ 4277494 h 4596459"/>
              <a:gd name="connsiteX3386" fmla="*/ 3068634 w 4716235"/>
              <a:gd name="connsiteY3386" fmla="*/ 4275265 h 4596459"/>
              <a:gd name="connsiteX3387" fmla="*/ 3061614 w 4716235"/>
              <a:gd name="connsiteY3387" fmla="*/ 4268244 h 4596459"/>
              <a:gd name="connsiteX3388" fmla="*/ 3063680 w 4716235"/>
              <a:gd name="connsiteY3388" fmla="*/ 4266180 h 4596459"/>
              <a:gd name="connsiteX3389" fmla="*/ 3057650 w 4716235"/>
              <a:gd name="connsiteY3389" fmla="*/ 4260150 h 4596459"/>
              <a:gd name="connsiteX3390" fmla="*/ 3059384 w 4716235"/>
              <a:gd name="connsiteY3390" fmla="*/ 4258416 h 4596459"/>
              <a:gd name="connsiteX3391" fmla="*/ 3054180 w 4716235"/>
              <a:gd name="connsiteY3391" fmla="*/ 4253212 h 4596459"/>
              <a:gd name="connsiteX3392" fmla="*/ 3055666 w 4716235"/>
              <a:gd name="connsiteY3392" fmla="*/ 4251725 h 4596459"/>
              <a:gd name="connsiteX3393" fmla="*/ 3051043 w 4716235"/>
              <a:gd name="connsiteY3393" fmla="*/ 4247100 h 4596459"/>
              <a:gd name="connsiteX3394" fmla="*/ 3052364 w 4716235"/>
              <a:gd name="connsiteY3394" fmla="*/ 4245779 h 4596459"/>
              <a:gd name="connsiteX3395" fmla="*/ 3048400 w 4716235"/>
              <a:gd name="connsiteY3395" fmla="*/ 4241815 h 4596459"/>
              <a:gd name="connsiteX3396" fmla="*/ 3049555 w 4716235"/>
              <a:gd name="connsiteY3396" fmla="*/ 4240660 h 4596459"/>
              <a:gd name="connsiteX3397" fmla="*/ 3046087 w 4716235"/>
              <a:gd name="connsiteY3397" fmla="*/ 4237189 h 4596459"/>
              <a:gd name="connsiteX3398" fmla="*/ 3047162 w 4716235"/>
              <a:gd name="connsiteY3398" fmla="*/ 4236116 h 4596459"/>
              <a:gd name="connsiteX3399" fmla="*/ 3043775 w 4716235"/>
              <a:gd name="connsiteY3399" fmla="*/ 4232729 h 4596459"/>
              <a:gd name="connsiteX3400" fmla="*/ 3044847 w 4716235"/>
              <a:gd name="connsiteY3400" fmla="*/ 4231657 h 4596459"/>
              <a:gd name="connsiteX3401" fmla="*/ 3041626 w 4716235"/>
              <a:gd name="connsiteY3401" fmla="*/ 4228435 h 4596459"/>
              <a:gd name="connsiteX3402" fmla="*/ 3042701 w 4716235"/>
              <a:gd name="connsiteY3402" fmla="*/ 4227362 h 4596459"/>
              <a:gd name="connsiteX3403" fmla="*/ 3039315 w 4716235"/>
              <a:gd name="connsiteY3403" fmla="*/ 4223975 h 4596459"/>
              <a:gd name="connsiteX3404" fmla="*/ 3040553 w 4716235"/>
              <a:gd name="connsiteY3404" fmla="*/ 4222737 h 4596459"/>
              <a:gd name="connsiteX3405" fmla="*/ 3036836 w 4716235"/>
              <a:gd name="connsiteY3405" fmla="*/ 4219020 h 4596459"/>
              <a:gd name="connsiteX3406" fmla="*/ 3038158 w 4716235"/>
              <a:gd name="connsiteY3406" fmla="*/ 4217699 h 4596459"/>
              <a:gd name="connsiteX3407" fmla="*/ 3033864 w 4716235"/>
              <a:gd name="connsiteY3407" fmla="*/ 4213403 h 4596459"/>
              <a:gd name="connsiteX3408" fmla="*/ 3035598 w 4716235"/>
              <a:gd name="connsiteY3408" fmla="*/ 4211669 h 4596459"/>
              <a:gd name="connsiteX3409" fmla="*/ 3030396 w 4716235"/>
              <a:gd name="connsiteY3409" fmla="*/ 4206467 h 4596459"/>
              <a:gd name="connsiteX3410" fmla="*/ 3032459 w 4716235"/>
              <a:gd name="connsiteY3410" fmla="*/ 4204403 h 4596459"/>
              <a:gd name="connsiteX3411" fmla="*/ 3026100 w 4716235"/>
              <a:gd name="connsiteY3411" fmla="*/ 4198042 h 4596459"/>
              <a:gd name="connsiteX3412" fmla="*/ 3028660 w 4716235"/>
              <a:gd name="connsiteY3412" fmla="*/ 4195482 h 4596459"/>
              <a:gd name="connsiteX3413" fmla="*/ 3020979 w 4716235"/>
              <a:gd name="connsiteY3413" fmla="*/ 4187800 h 4596459"/>
              <a:gd name="connsiteX3414" fmla="*/ 3024118 w 4716235"/>
              <a:gd name="connsiteY3414" fmla="*/ 4184663 h 4596459"/>
              <a:gd name="connsiteX3415" fmla="*/ 3014703 w 4716235"/>
              <a:gd name="connsiteY3415" fmla="*/ 4175246 h 4596459"/>
              <a:gd name="connsiteX3416" fmla="*/ 3025439 w 4716235"/>
              <a:gd name="connsiteY3416" fmla="*/ 4164510 h 4596459"/>
              <a:gd name="connsiteX3417" fmla="*/ 721985 w 4716235"/>
              <a:gd name="connsiteY3417" fmla="*/ 4163520 h 4596459"/>
              <a:gd name="connsiteX3418" fmla="*/ 732723 w 4716235"/>
              <a:gd name="connsiteY3418" fmla="*/ 4174256 h 4596459"/>
              <a:gd name="connsiteX3419" fmla="*/ 721985 w 4716235"/>
              <a:gd name="connsiteY3419" fmla="*/ 4184994 h 4596459"/>
              <a:gd name="connsiteX3420" fmla="*/ 711248 w 4716235"/>
              <a:gd name="connsiteY3420" fmla="*/ 4174256 h 4596459"/>
              <a:gd name="connsiteX3421" fmla="*/ 721985 w 4716235"/>
              <a:gd name="connsiteY3421" fmla="*/ 4163520 h 4596459"/>
              <a:gd name="connsiteX3422" fmla="*/ 3340772 w 4716235"/>
              <a:gd name="connsiteY3422" fmla="*/ 4161373 h 4596459"/>
              <a:gd name="connsiteX3423" fmla="*/ 3341101 w 4716235"/>
              <a:gd name="connsiteY3423" fmla="*/ 4161704 h 4596459"/>
              <a:gd name="connsiteX3424" fmla="*/ 3340772 w 4716235"/>
              <a:gd name="connsiteY3424" fmla="*/ 4162033 h 4596459"/>
              <a:gd name="connsiteX3425" fmla="*/ 3340441 w 4716235"/>
              <a:gd name="connsiteY3425" fmla="*/ 4161704 h 4596459"/>
              <a:gd name="connsiteX3426" fmla="*/ 3340772 w 4716235"/>
              <a:gd name="connsiteY3426" fmla="*/ 4161373 h 4596459"/>
              <a:gd name="connsiteX3427" fmla="*/ 2313838 w 4716235"/>
              <a:gd name="connsiteY3427" fmla="*/ 4159059 h 4596459"/>
              <a:gd name="connsiteX3428" fmla="*/ 2324575 w 4716235"/>
              <a:gd name="connsiteY3428" fmla="*/ 4169796 h 4596459"/>
              <a:gd name="connsiteX3429" fmla="*/ 2313838 w 4716235"/>
              <a:gd name="connsiteY3429" fmla="*/ 4180532 h 4596459"/>
              <a:gd name="connsiteX3430" fmla="*/ 2303102 w 4716235"/>
              <a:gd name="connsiteY3430" fmla="*/ 4169796 h 4596459"/>
              <a:gd name="connsiteX3431" fmla="*/ 2313838 w 4716235"/>
              <a:gd name="connsiteY3431" fmla="*/ 4159059 h 4596459"/>
              <a:gd name="connsiteX3432" fmla="*/ 2765278 w 4716235"/>
              <a:gd name="connsiteY3432" fmla="*/ 4152287 h 4596459"/>
              <a:gd name="connsiteX3433" fmla="*/ 2776016 w 4716235"/>
              <a:gd name="connsiteY3433" fmla="*/ 4163024 h 4596459"/>
              <a:gd name="connsiteX3434" fmla="*/ 2765278 w 4716235"/>
              <a:gd name="connsiteY3434" fmla="*/ 4173762 h 4596459"/>
              <a:gd name="connsiteX3435" fmla="*/ 2754542 w 4716235"/>
              <a:gd name="connsiteY3435" fmla="*/ 4163024 h 4596459"/>
              <a:gd name="connsiteX3436" fmla="*/ 2765278 w 4716235"/>
              <a:gd name="connsiteY3436" fmla="*/ 4152287 h 4596459"/>
              <a:gd name="connsiteX3437" fmla="*/ 2617276 w 4716235"/>
              <a:gd name="connsiteY3437" fmla="*/ 4150634 h 4596459"/>
              <a:gd name="connsiteX3438" fmla="*/ 2628014 w 4716235"/>
              <a:gd name="connsiteY3438" fmla="*/ 4161371 h 4596459"/>
              <a:gd name="connsiteX3439" fmla="*/ 2617276 w 4716235"/>
              <a:gd name="connsiteY3439" fmla="*/ 4172109 h 4596459"/>
              <a:gd name="connsiteX3440" fmla="*/ 2606540 w 4716235"/>
              <a:gd name="connsiteY3440" fmla="*/ 4161371 h 4596459"/>
              <a:gd name="connsiteX3441" fmla="*/ 2617276 w 4716235"/>
              <a:gd name="connsiteY3441" fmla="*/ 4150634 h 4596459"/>
              <a:gd name="connsiteX3442" fmla="*/ 603881 w 4716235"/>
              <a:gd name="connsiteY3442" fmla="*/ 4150470 h 4596459"/>
              <a:gd name="connsiteX3443" fmla="*/ 614618 w 4716235"/>
              <a:gd name="connsiteY3443" fmla="*/ 4161206 h 4596459"/>
              <a:gd name="connsiteX3444" fmla="*/ 603881 w 4716235"/>
              <a:gd name="connsiteY3444" fmla="*/ 4171942 h 4596459"/>
              <a:gd name="connsiteX3445" fmla="*/ 593145 w 4716235"/>
              <a:gd name="connsiteY3445" fmla="*/ 4161206 h 4596459"/>
              <a:gd name="connsiteX3446" fmla="*/ 603881 w 4716235"/>
              <a:gd name="connsiteY3446" fmla="*/ 4150470 h 4596459"/>
              <a:gd name="connsiteX3447" fmla="*/ 1183006 w 4716235"/>
              <a:gd name="connsiteY3447" fmla="*/ 4149809 h 4596459"/>
              <a:gd name="connsiteX3448" fmla="*/ 1193744 w 4716235"/>
              <a:gd name="connsiteY3448" fmla="*/ 4160545 h 4596459"/>
              <a:gd name="connsiteX3449" fmla="*/ 1183006 w 4716235"/>
              <a:gd name="connsiteY3449" fmla="*/ 4171282 h 4596459"/>
              <a:gd name="connsiteX3450" fmla="*/ 1172270 w 4716235"/>
              <a:gd name="connsiteY3450" fmla="*/ 4160545 h 4596459"/>
              <a:gd name="connsiteX3451" fmla="*/ 1183006 w 4716235"/>
              <a:gd name="connsiteY3451" fmla="*/ 4149809 h 4596459"/>
              <a:gd name="connsiteX3452" fmla="*/ 3017675 w 4716235"/>
              <a:gd name="connsiteY3452" fmla="*/ 4149315 h 4596459"/>
              <a:gd name="connsiteX3453" fmla="*/ 3028413 w 4716235"/>
              <a:gd name="connsiteY3453" fmla="*/ 4160051 h 4596459"/>
              <a:gd name="connsiteX3454" fmla="*/ 3017675 w 4716235"/>
              <a:gd name="connsiteY3454" fmla="*/ 4170787 h 4596459"/>
              <a:gd name="connsiteX3455" fmla="*/ 3006939 w 4716235"/>
              <a:gd name="connsiteY3455" fmla="*/ 4160051 h 4596459"/>
              <a:gd name="connsiteX3456" fmla="*/ 3017675 w 4716235"/>
              <a:gd name="connsiteY3456" fmla="*/ 4149315 h 4596459"/>
              <a:gd name="connsiteX3457" fmla="*/ 494862 w 4716235"/>
              <a:gd name="connsiteY3457" fmla="*/ 4147333 h 4596459"/>
              <a:gd name="connsiteX3458" fmla="*/ 505600 w 4716235"/>
              <a:gd name="connsiteY3458" fmla="*/ 4158069 h 4596459"/>
              <a:gd name="connsiteX3459" fmla="*/ 496927 w 4716235"/>
              <a:gd name="connsiteY3459" fmla="*/ 4166742 h 4596459"/>
              <a:gd name="connsiteX3460" fmla="*/ 500975 w 4716235"/>
              <a:gd name="connsiteY3460" fmla="*/ 4170787 h 4596459"/>
              <a:gd name="connsiteX3461" fmla="*/ 493871 w 4716235"/>
              <a:gd name="connsiteY3461" fmla="*/ 4177891 h 4596459"/>
              <a:gd name="connsiteX3462" fmla="*/ 497340 w 4716235"/>
              <a:gd name="connsiteY3462" fmla="*/ 4181359 h 4596459"/>
              <a:gd name="connsiteX3463" fmla="*/ 491558 w 4716235"/>
              <a:gd name="connsiteY3463" fmla="*/ 4187141 h 4596459"/>
              <a:gd name="connsiteX3464" fmla="*/ 494366 w 4716235"/>
              <a:gd name="connsiteY3464" fmla="*/ 4189949 h 4596459"/>
              <a:gd name="connsiteX3465" fmla="*/ 489576 w 4716235"/>
              <a:gd name="connsiteY3465" fmla="*/ 4194738 h 4596459"/>
              <a:gd name="connsiteX3466" fmla="*/ 492219 w 4716235"/>
              <a:gd name="connsiteY3466" fmla="*/ 4197381 h 4596459"/>
              <a:gd name="connsiteX3467" fmla="*/ 488336 w 4716235"/>
              <a:gd name="connsiteY3467" fmla="*/ 4201264 h 4596459"/>
              <a:gd name="connsiteX3468" fmla="*/ 490566 w 4716235"/>
              <a:gd name="connsiteY3468" fmla="*/ 4203493 h 4596459"/>
              <a:gd name="connsiteX3469" fmla="*/ 487181 w 4716235"/>
              <a:gd name="connsiteY3469" fmla="*/ 4206878 h 4596459"/>
              <a:gd name="connsiteX3470" fmla="*/ 489082 w 4716235"/>
              <a:gd name="connsiteY3470" fmla="*/ 4208778 h 4596459"/>
              <a:gd name="connsiteX3471" fmla="*/ 485943 w 4716235"/>
              <a:gd name="connsiteY3471" fmla="*/ 4211919 h 4596459"/>
              <a:gd name="connsiteX3472" fmla="*/ 487758 w 4716235"/>
              <a:gd name="connsiteY3472" fmla="*/ 4213735 h 4596459"/>
              <a:gd name="connsiteX3473" fmla="*/ 484703 w 4716235"/>
              <a:gd name="connsiteY3473" fmla="*/ 4216790 h 4596459"/>
              <a:gd name="connsiteX3474" fmla="*/ 486437 w 4716235"/>
              <a:gd name="connsiteY3474" fmla="*/ 4218524 h 4596459"/>
              <a:gd name="connsiteX3475" fmla="*/ 483381 w 4716235"/>
              <a:gd name="connsiteY3475" fmla="*/ 4221580 h 4596459"/>
              <a:gd name="connsiteX3476" fmla="*/ 485117 w 4716235"/>
              <a:gd name="connsiteY3476" fmla="*/ 4223314 h 4596459"/>
              <a:gd name="connsiteX3477" fmla="*/ 481647 w 4716235"/>
              <a:gd name="connsiteY3477" fmla="*/ 4226784 h 4596459"/>
              <a:gd name="connsiteX3478" fmla="*/ 483465 w 4716235"/>
              <a:gd name="connsiteY3478" fmla="*/ 4228600 h 4596459"/>
              <a:gd name="connsiteX3479" fmla="*/ 479582 w 4716235"/>
              <a:gd name="connsiteY3479" fmla="*/ 4232483 h 4596459"/>
              <a:gd name="connsiteX3480" fmla="*/ 481483 w 4716235"/>
              <a:gd name="connsiteY3480" fmla="*/ 4234382 h 4596459"/>
              <a:gd name="connsiteX3481" fmla="*/ 477105 w 4716235"/>
              <a:gd name="connsiteY3481" fmla="*/ 4238759 h 4596459"/>
              <a:gd name="connsiteX3482" fmla="*/ 479171 w 4716235"/>
              <a:gd name="connsiteY3482" fmla="*/ 4240824 h 4596459"/>
              <a:gd name="connsiteX3483" fmla="*/ 473885 w 4716235"/>
              <a:gd name="connsiteY3483" fmla="*/ 4246110 h 4596459"/>
              <a:gd name="connsiteX3484" fmla="*/ 476197 w 4716235"/>
              <a:gd name="connsiteY3484" fmla="*/ 4248422 h 4596459"/>
              <a:gd name="connsiteX3485" fmla="*/ 470084 w 4716235"/>
              <a:gd name="connsiteY3485" fmla="*/ 4254533 h 4596459"/>
              <a:gd name="connsiteX3486" fmla="*/ 472397 w 4716235"/>
              <a:gd name="connsiteY3486" fmla="*/ 4256847 h 4596459"/>
              <a:gd name="connsiteX3487" fmla="*/ 461826 w 4716235"/>
              <a:gd name="connsiteY3487" fmla="*/ 4267418 h 4596459"/>
              <a:gd name="connsiteX3488" fmla="*/ 451254 w 4716235"/>
              <a:gd name="connsiteY3488" fmla="*/ 4256847 h 4596459"/>
              <a:gd name="connsiteX3489" fmla="*/ 457200 w 4716235"/>
              <a:gd name="connsiteY3489" fmla="*/ 4250900 h 4596459"/>
              <a:gd name="connsiteX3490" fmla="*/ 454722 w 4716235"/>
              <a:gd name="connsiteY3490" fmla="*/ 4248422 h 4596459"/>
              <a:gd name="connsiteX3491" fmla="*/ 460008 w 4716235"/>
              <a:gd name="connsiteY3491" fmla="*/ 4243136 h 4596459"/>
              <a:gd name="connsiteX3492" fmla="*/ 457696 w 4716235"/>
              <a:gd name="connsiteY3492" fmla="*/ 4240824 h 4596459"/>
              <a:gd name="connsiteX3493" fmla="*/ 462074 w 4716235"/>
              <a:gd name="connsiteY3493" fmla="*/ 4236447 h 4596459"/>
              <a:gd name="connsiteX3494" fmla="*/ 460008 w 4716235"/>
              <a:gd name="connsiteY3494" fmla="*/ 4234382 h 4596459"/>
              <a:gd name="connsiteX3495" fmla="*/ 463891 w 4716235"/>
              <a:gd name="connsiteY3495" fmla="*/ 4230501 h 4596459"/>
              <a:gd name="connsiteX3496" fmla="*/ 461990 w 4716235"/>
              <a:gd name="connsiteY3496" fmla="*/ 4228600 h 4596459"/>
              <a:gd name="connsiteX3497" fmla="*/ 465459 w 4716235"/>
              <a:gd name="connsiteY3497" fmla="*/ 4225132 h 4596459"/>
              <a:gd name="connsiteX3498" fmla="*/ 463643 w 4716235"/>
              <a:gd name="connsiteY3498" fmla="*/ 4223314 h 4596459"/>
              <a:gd name="connsiteX3499" fmla="*/ 466699 w 4716235"/>
              <a:gd name="connsiteY3499" fmla="*/ 4220259 h 4596459"/>
              <a:gd name="connsiteX3500" fmla="*/ 464964 w 4716235"/>
              <a:gd name="connsiteY3500" fmla="*/ 4218524 h 4596459"/>
              <a:gd name="connsiteX3501" fmla="*/ 468020 w 4716235"/>
              <a:gd name="connsiteY3501" fmla="*/ 4215469 h 4596459"/>
              <a:gd name="connsiteX3502" fmla="*/ 466286 w 4716235"/>
              <a:gd name="connsiteY3502" fmla="*/ 4213735 h 4596459"/>
              <a:gd name="connsiteX3503" fmla="*/ 469425 w 4716235"/>
              <a:gd name="connsiteY3503" fmla="*/ 4210596 h 4596459"/>
              <a:gd name="connsiteX3504" fmla="*/ 467607 w 4716235"/>
              <a:gd name="connsiteY3504" fmla="*/ 4208778 h 4596459"/>
              <a:gd name="connsiteX3505" fmla="*/ 470994 w 4716235"/>
              <a:gd name="connsiteY3505" fmla="*/ 4205393 h 4596459"/>
              <a:gd name="connsiteX3506" fmla="*/ 469093 w 4716235"/>
              <a:gd name="connsiteY3506" fmla="*/ 4203493 h 4596459"/>
              <a:gd name="connsiteX3507" fmla="*/ 472975 w 4716235"/>
              <a:gd name="connsiteY3507" fmla="*/ 4199611 h 4596459"/>
              <a:gd name="connsiteX3508" fmla="*/ 470744 w 4716235"/>
              <a:gd name="connsiteY3508" fmla="*/ 4197381 h 4596459"/>
              <a:gd name="connsiteX3509" fmla="*/ 475536 w 4716235"/>
              <a:gd name="connsiteY3509" fmla="*/ 4192591 h 4596459"/>
              <a:gd name="connsiteX3510" fmla="*/ 472893 w 4716235"/>
              <a:gd name="connsiteY3510" fmla="*/ 4189949 h 4596459"/>
              <a:gd name="connsiteX3511" fmla="*/ 478675 w 4716235"/>
              <a:gd name="connsiteY3511" fmla="*/ 4184168 h 4596459"/>
              <a:gd name="connsiteX3512" fmla="*/ 475865 w 4716235"/>
              <a:gd name="connsiteY3512" fmla="*/ 4181359 h 4596459"/>
              <a:gd name="connsiteX3513" fmla="*/ 482969 w 4716235"/>
              <a:gd name="connsiteY3513" fmla="*/ 4174256 h 4596459"/>
              <a:gd name="connsiteX3514" fmla="*/ 479500 w 4716235"/>
              <a:gd name="connsiteY3514" fmla="*/ 4170787 h 4596459"/>
              <a:gd name="connsiteX3515" fmla="*/ 488173 w 4716235"/>
              <a:gd name="connsiteY3515" fmla="*/ 4162117 h 4596459"/>
              <a:gd name="connsiteX3516" fmla="*/ 484125 w 4716235"/>
              <a:gd name="connsiteY3516" fmla="*/ 4158069 h 4596459"/>
              <a:gd name="connsiteX3517" fmla="*/ 494862 w 4716235"/>
              <a:gd name="connsiteY3517" fmla="*/ 4147333 h 4596459"/>
              <a:gd name="connsiteX3518" fmla="*/ 2895110 w 4716235"/>
              <a:gd name="connsiteY3518" fmla="*/ 4145019 h 4596459"/>
              <a:gd name="connsiteX3519" fmla="*/ 2905848 w 4716235"/>
              <a:gd name="connsiteY3519" fmla="*/ 4155756 h 4596459"/>
              <a:gd name="connsiteX3520" fmla="*/ 2895110 w 4716235"/>
              <a:gd name="connsiteY3520" fmla="*/ 4166494 h 4596459"/>
              <a:gd name="connsiteX3521" fmla="*/ 2884374 w 4716235"/>
              <a:gd name="connsiteY3521" fmla="*/ 4155756 h 4596459"/>
              <a:gd name="connsiteX3522" fmla="*/ 2895110 w 4716235"/>
              <a:gd name="connsiteY3522" fmla="*/ 4145019 h 4596459"/>
              <a:gd name="connsiteX3523" fmla="*/ 248578 w 4716235"/>
              <a:gd name="connsiteY3523" fmla="*/ 4145019 h 4596459"/>
              <a:gd name="connsiteX3524" fmla="*/ 249072 w 4716235"/>
              <a:gd name="connsiteY3524" fmla="*/ 4145515 h 4596459"/>
              <a:gd name="connsiteX3525" fmla="*/ 248578 w 4716235"/>
              <a:gd name="connsiteY3525" fmla="*/ 4146009 h 4596459"/>
              <a:gd name="connsiteX3526" fmla="*/ 248082 w 4716235"/>
              <a:gd name="connsiteY3526" fmla="*/ 4145515 h 4596459"/>
              <a:gd name="connsiteX3527" fmla="*/ 248578 w 4716235"/>
              <a:gd name="connsiteY3527" fmla="*/ 4145019 h 4596459"/>
              <a:gd name="connsiteX3528" fmla="*/ 1820112 w 4716235"/>
              <a:gd name="connsiteY3528" fmla="*/ 4139898 h 4596459"/>
              <a:gd name="connsiteX3529" fmla="*/ 1830848 w 4716235"/>
              <a:gd name="connsiteY3529" fmla="*/ 4150634 h 4596459"/>
              <a:gd name="connsiteX3530" fmla="*/ 1820112 w 4716235"/>
              <a:gd name="connsiteY3530" fmla="*/ 4161371 h 4596459"/>
              <a:gd name="connsiteX3531" fmla="*/ 1809375 w 4716235"/>
              <a:gd name="connsiteY3531" fmla="*/ 4150634 h 4596459"/>
              <a:gd name="connsiteX3532" fmla="*/ 1820112 w 4716235"/>
              <a:gd name="connsiteY3532" fmla="*/ 4139898 h 4596459"/>
              <a:gd name="connsiteX3533" fmla="*/ 1671117 w 4716235"/>
              <a:gd name="connsiteY3533" fmla="*/ 4138741 h 4596459"/>
              <a:gd name="connsiteX3534" fmla="*/ 1681855 w 4716235"/>
              <a:gd name="connsiteY3534" fmla="*/ 4149478 h 4596459"/>
              <a:gd name="connsiteX3535" fmla="*/ 1671117 w 4716235"/>
              <a:gd name="connsiteY3535" fmla="*/ 4160216 h 4596459"/>
              <a:gd name="connsiteX3536" fmla="*/ 1660381 w 4716235"/>
              <a:gd name="connsiteY3536" fmla="*/ 4149478 h 4596459"/>
              <a:gd name="connsiteX3537" fmla="*/ 1671117 w 4716235"/>
              <a:gd name="connsiteY3537" fmla="*/ 4138741 h 4596459"/>
              <a:gd name="connsiteX3538" fmla="*/ 2449783 w 4716235"/>
              <a:gd name="connsiteY3538" fmla="*/ 4137916 h 4596459"/>
              <a:gd name="connsiteX3539" fmla="*/ 2460521 w 4716235"/>
              <a:gd name="connsiteY3539" fmla="*/ 4148652 h 4596459"/>
              <a:gd name="connsiteX3540" fmla="*/ 2449783 w 4716235"/>
              <a:gd name="connsiteY3540" fmla="*/ 4159389 h 4596459"/>
              <a:gd name="connsiteX3541" fmla="*/ 2439047 w 4716235"/>
              <a:gd name="connsiteY3541" fmla="*/ 4148652 h 4596459"/>
              <a:gd name="connsiteX3542" fmla="*/ 2449783 w 4716235"/>
              <a:gd name="connsiteY3542" fmla="*/ 4137916 h 4596459"/>
              <a:gd name="connsiteX3543" fmla="*/ 886011 w 4716235"/>
              <a:gd name="connsiteY3543" fmla="*/ 4137090 h 4596459"/>
              <a:gd name="connsiteX3544" fmla="*/ 896749 w 4716235"/>
              <a:gd name="connsiteY3544" fmla="*/ 4147827 h 4596459"/>
              <a:gd name="connsiteX3545" fmla="*/ 886011 w 4716235"/>
              <a:gd name="connsiteY3545" fmla="*/ 4158563 h 4596459"/>
              <a:gd name="connsiteX3546" fmla="*/ 875275 w 4716235"/>
              <a:gd name="connsiteY3546" fmla="*/ 4147827 h 4596459"/>
              <a:gd name="connsiteX3547" fmla="*/ 886011 w 4716235"/>
              <a:gd name="connsiteY3547" fmla="*/ 4137090 h 4596459"/>
              <a:gd name="connsiteX3548" fmla="*/ 742798 w 4716235"/>
              <a:gd name="connsiteY3548" fmla="*/ 4136926 h 4596459"/>
              <a:gd name="connsiteX3549" fmla="*/ 753537 w 4716235"/>
              <a:gd name="connsiteY3549" fmla="*/ 4147662 h 4596459"/>
              <a:gd name="connsiteX3550" fmla="*/ 742798 w 4716235"/>
              <a:gd name="connsiteY3550" fmla="*/ 4158398 h 4596459"/>
              <a:gd name="connsiteX3551" fmla="*/ 732062 w 4716235"/>
              <a:gd name="connsiteY3551" fmla="*/ 4147662 h 4596459"/>
              <a:gd name="connsiteX3552" fmla="*/ 742798 w 4716235"/>
              <a:gd name="connsiteY3552" fmla="*/ 4136926 h 4596459"/>
              <a:gd name="connsiteX3553" fmla="*/ 1968940 w 4716235"/>
              <a:gd name="connsiteY3553" fmla="*/ 4135769 h 4596459"/>
              <a:gd name="connsiteX3554" fmla="*/ 1979678 w 4716235"/>
              <a:gd name="connsiteY3554" fmla="*/ 4146505 h 4596459"/>
              <a:gd name="connsiteX3555" fmla="*/ 1968940 w 4716235"/>
              <a:gd name="connsiteY3555" fmla="*/ 4157243 h 4596459"/>
              <a:gd name="connsiteX3556" fmla="*/ 1958203 w 4716235"/>
              <a:gd name="connsiteY3556" fmla="*/ 4146505 h 4596459"/>
              <a:gd name="connsiteX3557" fmla="*/ 1968940 w 4716235"/>
              <a:gd name="connsiteY3557" fmla="*/ 4135769 h 4596459"/>
              <a:gd name="connsiteX3558" fmla="*/ 1522950 w 4716235"/>
              <a:gd name="connsiteY3558" fmla="*/ 4131969 h 4596459"/>
              <a:gd name="connsiteX3559" fmla="*/ 1533688 w 4716235"/>
              <a:gd name="connsiteY3559" fmla="*/ 4142706 h 4596459"/>
              <a:gd name="connsiteX3560" fmla="*/ 1522950 w 4716235"/>
              <a:gd name="connsiteY3560" fmla="*/ 4153444 h 4596459"/>
              <a:gd name="connsiteX3561" fmla="*/ 1512214 w 4716235"/>
              <a:gd name="connsiteY3561" fmla="*/ 4142706 h 4596459"/>
              <a:gd name="connsiteX3562" fmla="*/ 1522950 w 4716235"/>
              <a:gd name="connsiteY3562" fmla="*/ 4131969 h 4596459"/>
              <a:gd name="connsiteX3563" fmla="*/ 500808 w 4716235"/>
              <a:gd name="connsiteY3563" fmla="*/ 4131805 h 4596459"/>
              <a:gd name="connsiteX3564" fmla="*/ 511546 w 4716235"/>
              <a:gd name="connsiteY3564" fmla="*/ 4142541 h 4596459"/>
              <a:gd name="connsiteX3565" fmla="*/ 500808 w 4716235"/>
              <a:gd name="connsiteY3565" fmla="*/ 4153277 h 4596459"/>
              <a:gd name="connsiteX3566" fmla="*/ 490072 w 4716235"/>
              <a:gd name="connsiteY3566" fmla="*/ 4142541 h 4596459"/>
              <a:gd name="connsiteX3567" fmla="*/ 500808 w 4716235"/>
              <a:gd name="connsiteY3567" fmla="*/ 4131805 h 4596459"/>
              <a:gd name="connsiteX3568" fmla="*/ 3008425 w 4716235"/>
              <a:gd name="connsiteY3568" fmla="*/ 4130814 h 4596459"/>
              <a:gd name="connsiteX3569" fmla="*/ 3019163 w 4716235"/>
              <a:gd name="connsiteY3569" fmla="*/ 4141551 h 4596459"/>
              <a:gd name="connsiteX3570" fmla="*/ 3008425 w 4716235"/>
              <a:gd name="connsiteY3570" fmla="*/ 4152287 h 4596459"/>
              <a:gd name="connsiteX3571" fmla="*/ 2997689 w 4716235"/>
              <a:gd name="connsiteY3571" fmla="*/ 4141551 h 4596459"/>
              <a:gd name="connsiteX3572" fmla="*/ 3008425 w 4716235"/>
              <a:gd name="connsiteY3572" fmla="*/ 4130814 h 4596459"/>
              <a:gd name="connsiteX3573" fmla="*/ 617425 w 4716235"/>
              <a:gd name="connsiteY3573" fmla="*/ 4128336 h 4596459"/>
              <a:gd name="connsiteX3574" fmla="*/ 628162 w 4716235"/>
              <a:gd name="connsiteY3574" fmla="*/ 4139073 h 4596459"/>
              <a:gd name="connsiteX3575" fmla="*/ 617425 w 4716235"/>
              <a:gd name="connsiteY3575" fmla="*/ 4149809 h 4596459"/>
              <a:gd name="connsiteX3576" fmla="*/ 606689 w 4716235"/>
              <a:gd name="connsiteY3576" fmla="*/ 4139073 h 4596459"/>
              <a:gd name="connsiteX3577" fmla="*/ 617425 w 4716235"/>
              <a:gd name="connsiteY3577" fmla="*/ 4128336 h 4596459"/>
              <a:gd name="connsiteX3578" fmla="*/ 1048879 w 4716235"/>
              <a:gd name="connsiteY3578" fmla="*/ 4126519 h 4596459"/>
              <a:gd name="connsiteX3579" fmla="*/ 1059615 w 4716235"/>
              <a:gd name="connsiteY3579" fmla="*/ 4137255 h 4596459"/>
              <a:gd name="connsiteX3580" fmla="*/ 1048879 w 4716235"/>
              <a:gd name="connsiteY3580" fmla="*/ 4147992 h 4596459"/>
              <a:gd name="connsiteX3581" fmla="*/ 1038143 w 4716235"/>
              <a:gd name="connsiteY3581" fmla="*/ 4137255 h 4596459"/>
              <a:gd name="connsiteX3582" fmla="*/ 1048879 w 4716235"/>
              <a:gd name="connsiteY3582" fmla="*/ 4126519 h 4596459"/>
              <a:gd name="connsiteX3583" fmla="*/ 2116282 w 4716235"/>
              <a:gd name="connsiteY3583" fmla="*/ 4126189 h 4596459"/>
              <a:gd name="connsiteX3584" fmla="*/ 2127019 w 4716235"/>
              <a:gd name="connsiteY3584" fmla="*/ 4136926 h 4596459"/>
              <a:gd name="connsiteX3585" fmla="*/ 2116282 w 4716235"/>
              <a:gd name="connsiteY3585" fmla="*/ 4147662 h 4596459"/>
              <a:gd name="connsiteX3586" fmla="*/ 2105545 w 4716235"/>
              <a:gd name="connsiteY3586" fmla="*/ 4136926 h 4596459"/>
              <a:gd name="connsiteX3587" fmla="*/ 2116282 w 4716235"/>
              <a:gd name="connsiteY3587" fmla="*/ 4126189 h 4596459"/>
              <a:gd name="connsiteX3588" fmla="*/ 2739014 w 4716235"/>
              <a:gd name="connsiteY3588" fmla="*/ 4120572 h 4596459"/>
              <a:gd name="connsiteX3589" fmla="*/ 2749752 w 4716235"/>
              <a:gd name="connsiteY3589" fmla="*/ 4131309 h 4596459"/>
              <a:gd name="connsiteX3590" fmla="*/ 2739014 w 4716235"/>
              <a:gd name="connsiteY3590" fmla="*/ 4142045 h 4596459"/>
              <a:gd name="connsiteX3591" fmla="*/ 2728278 w 4716235"/>
              <a:gd name="connsiteY3591" fmla="*/ 4131309 h 4596459"/>
              <a:gd name="connsiteX3592" fmla="*/ 2739014 w 4716235"/>
              <a:gd name="connsiteY3592" fmla="*/ 4120572 h 4596459"/>
              <a:gd name="connsiteX3593" fmla="*/ 1376269 w 4716235"/>
              <a:gd name="connsiteY3593" fmla="*/ 4120076 h 4596459"/>
              <a:gd name="connsiteX3594" fmla="*/ 1387007 w 4716235"/>
              <a:gd name="connsiteY3594" fmla="*/ 4130813 h 4596459"/>
              <a:gd name="connsiteX3595" fmla="*/ 1376269 w 4716235"/>
              <a:gd name="connsiteY3595" fmla="*/ 4141549 h 4596459"/>
              <a:gd name="connsiteX3596" fmla="*/ 1365533 w 4716235"/>
              <a:gd name="connsiteY3596" fmla="*/ 4130813 h 4596459"/>
              <a:gd name="connsiteX3597" fmla="*/ 1376269 w 4716235"/>
              <a:gd name="connsiteY3597" fmla="*/ 4120076 h 4596459"/>
              <a:gd name="connsiteX3598" fmla="*/ 2876941 w 4716235"/>
              <a:gd name="connsiteY3598" fmla="*/ 4118590 h 4596459"/>
              <a:gd name="connsiteX3599" fmla="*/ 2887679 w 4716235"/>
              <a:gd name="connsiteY3599" fmla="*/ 4129327 h 4596459"/>
              <a:gd name="connsiteX3600" fmla="*/ 2876941 w 4716235"/>
              <a:gd name="connsiteY3600" fmla="*/ 4140065 h 4596459"/>
              <a:gd name="connsiteX3601" fmla="*/ 2866205 w 4716235"/>
              <a:gd name="connsiteY3601" fmla="*/ 4129327 h 4596459"/>
              <a:gd name="connsiteX3602" fmla="*/ 2876941 w 4716235"/>
              <a:gd name="connsiteY3602" fmla="*/ 4118590 h 4596459"/>
              <a:gd name="connsiteX3603" fmla="*/ 508406 w 4716235"/>
              <a:gd name="connsiteY3603" fmla="*/ 4113140 h 4596459"/>
              <a:gd name="connsiteX3604" fmla="*/ 519142 w 4716235"/>
              <a:gd name="connsiteY3604" fmla="*/ 4123876 h 4596459"/>
              <a:gd name="connsiteX3605" fmla="*/ 508406 w 4716235"/>
              <a:gd name="connsiteY3605" fmla="*/ 4134612 h 4596459"/>
              <a:gd name="connsiteX3606" fmla="*/ 497669 w 4716235"/>
              <a:gd name="connsiteY3606" fmla="*/ 4123876 h 4596459"/>
              <a:gd name="connsiteX3607" fmla="*/ 508406 w 4716235"/>
              <a:gd name="connsiteY3607" fmla="*/ 4113140 h 4596459"/>
              <a:gd name="connsiteX3608" fmla="*/ 2581761 w 4716235"/>
              <a:gd name="connsiteY3608" fmla="*/ 4112314 h 4596459"/>
              <a:gd name="connsiteX3609" fmla="*/ 2592500 w 4716235"/>
              <a:gd name="connsiteY3609" fmla="*/ 4123051 h 4596459"/>
              <a:gd name="connsiteX3610" fmla="*/ 2581761 w 4716235"/>
              <a:gd name="connsiteY3610" fmla="*/ 4133787 h 4596459"/>
              <a:gd name="connsiteX3611" fmla="*/ 2571025 w 4716235"/>
              <a:gd name="connsiteY3611" fmla="*/ 4123051 h 4596459"/>
              <a:gd name="connsiteX3612" fmla="*/ 2581761 w 4716235"/>
              <a:gd name="connsiteY3612" fmla="*/ 4112314 h 4596459"/>
              <a:gd name="connsiteX3613" fmla="*/ 2261641 w 4716235"/>
              <a:gd name="connsiteY3613" fmla="*/ 4111487 h 4596459"/>
              <a:gd name="connsiteX3614" fmla="*/ 2272379 w 4716235"/>
              <a:gd name="connsiteY3614" fmla="*/ 4122223 h 4596459"/>
              <a:gd name="connsiteX3615" fmla="*/ 2261641 w 4716235"/>
              <a:gd name="connsiteY3615" fmla="*/ 4132961 h 4596459"/>
              <a:gd name="connsiteX3616" fmla="*/ 2250905 w 4716235"/>
              <a:gd name="connsiteY3616" fmla="*/ 4122223 h 4596459"/>
              <a:gd name="connsiteX3617" fmla="*/ 2261641 w 4716235"/>
              <a:gd name="connsiteY3617" fmla="*/ 4111487 h 4596459"/>
              <a:gd name="connsiteX3618" fmla="*/ 3106873 w 4716235"/>
              <a:gd name="connsiteY3618" fmla="*/ 4111322 h 4596459"/>
              <a:gd name="connsiteX3619" fmla="*/ 3117611 w 4716235"/>
              <a:gd name="connsiteY3619" fmla="*/ 4122059 h 4596459"/>
              <a:gd name="connsiteX3620" fmla="*/ 3111746 w 4716235"/>
              <a:gd name="connsiteY3620" fmla="*/ 4127924 h 4596459"/>
              <a:gd name="connsiteX3621" fmla="*/ 3121574 w 4716235"/>
              <a:gd name="connsiteY3621" fmla="*/ 4137751 h 4596459"/>
              <a:gd name="connsiteX3622" fmla="*/ 3116455 w 4716235"/>
              <a:gd name="connsiteY3622" fmla="*/ 4142872 h 4596459"/>
              <a:gd name="connsiteX3623" fmla="*/ 3124548 w 4716235"/>
              <a:gd name="connsiteY3623" fmla="*/ 4150966 h 4596459"/>
              <a:gd name="connsiteX3624" fmla="*/ 3120088 w 4716235"/>
              <a:gd name="connsiteY3624" fmla="*/ 4155426 h 4596459"/>
              <a:gd name="connsiteX3625" fmla="*/ 3126530 w 4716235"/>
              <a:gd name="connsiteY3625" fmla="*/ 4161867 h 4596459"/>
              <a:gd name="connsiteX3626" fmla="*/ 3122648 w 4716235"/>
              <a:gd name="connsiteY3626" fmla="*/ 4165750 h 4596459"/>
              <a:gd name="connsiteX3627" fmla="*/ 3127852 w 4716235"/>
              <a:gd name="connsiteY3627" fmla="*/ 4170952 h 4596459"/>
              <a:gd name="connsiteX3628" fmla="*/ 3124383 w 4716235"/>
              <a:gd name="connsiteY3628" fmla="*/ 4174421 h 4596459"/>
              <a:gd name="connsiteX3629" fmla="*/ 3128514 w 4716235"/>
              <a:gd name="connsiteY3629" fmla="*/ 4178551 h 4596459"/>
              <a:gd name="connsiteX3630" fmla="*/ 3125459 w 4716235"/>
              <a:gd name="connsiteY3630" fmla="*/ 4181607 h 4596459"/>
              <a:gd name="connsiteX3631" fmla="*/ 3129009 w 4716235"/>
              <a:gd name="connsiteY3631" fmla="*/ 4185157 h 4596459"/>
              <a:gd name="connsiteX3632" fmla="*/ 3126116 w 4716235"/>
              <a:gd name="connsiteY3632" fmla="*/ 4188050 h 4596459"/>
              <a:gd name="connsiteX3633" fmla="*/ 3129172 w 4716235"/>
              <a:gd name="connsiteY3633" fmla="*/ 4191105 h 4596459"/>
              <a:gd name="connsiteX3634" fmla="*/ 3126530 w 4716235"/>
              <a:gd name="connsiteY3634" fmla="*/ 4193746 h 4596459"/>
              <a:gd name="connsiteX3635" fmla="*/ 3129340 w 4716235"/>
              <a:gd name="connsiteY3635" fmla="*/ 4196556 h 4596459"/>
              <a:gd name="connsiteX3636" fmla="*/ 3126862 w 4716235"/>
              <a:gd name="connsiteY3636" fmla="*/ 4199036 h 4596459"/>
              <a:gd name="connsiteX3637" fmla="*/ 3129668 w 4716235"/>
              <a:gd name="connsiteY3637" fmla="*/ 4201842 h 4596459"/>
              <a:gd name="connsiteX3638" fmla="*/ 3127191 w 4716235"/>
              <a:gd name="connsiteY3638" fmla="*/ 4204318 h 4596459"/>
              <a:gd name="connsiteX3639" fmla="*/ 3130165 w 4716235"/>
              <a:gd name="connsiteY3639" fmla="*/ 4207292 h 4596459"/>
              <a:gd name="connsiteX3640" fmla="*/ 3127687 w 4716235"/>
              <a:gd name="connsiteY3640" fmla="*/ 4209770 h 4596459"/>
              <a:gd name="connsiteX3641" fmla="*/ 3130991 w 4716235"/>
              <a:gd name="connsiteY3641" fmla="*/ 4213074 h 4596459"/>
              <a:gd name="connsiteX3642" fmla="*/ 3128348 w 4716235"/>
              <a:gd name="connsiteY3642" fmla="*/ 4215717 h 4596459"/>
              <a:gd name="connsiteX3643" fmla="*/ 3132147 w 4716235"/>
              <a:gd name="connsiteY3643" fmla="*/ 4219516 h 4596459"/>
              <a:gd name="connsiteX3644" fmla="*/ 3129505 w 4716235"/>
              <a:gd name="connsiteY3644" fmla="*/ 4222159 h 4596459"/>
              <a:gd name="connsiteX3645" fmla="*/ 3133963 w 4716235"/>
              <a:gd name="connsiteY3645" fmla="*/ 4226618 h 4596459"/>
              <a:gd name="connsiteX3646" fmla="*/ 3131072 w 4716235"/>
              <a:gd name="connsiteY3646" fmla="*/ 4229509 h 4596459"/>
              <a:gd name="connsiteX3647" fmla="*/ 3136277 w 4716235"/>
              <a:gd name="connsiteY3647" fmla="*/ 4234711 h 4596459"/>
              <a:gd name="connsiteX3648" fmla="*/ 3133138 w 4716235"/>
              <a:gd name="connsiteY3648" fmla="*/ 4237850 h 4596459"/>
              <a:gd name="connsiteX3649" fmla="*/ 3139251 w 4716235"/>
              <a:gd name="connsiteY3649" fmla="*/ 4243961 h 4596459"/>
              <a:gd name="connsiteX3650" fmla="*/ 3135862 w 4716235"/>
              <a:gd name="connsiteY3650" fmla="*/ 4247350 h 4596459"/>
              <a:gd name="connsiteX3651" fmla="*/ 3143049 w 4716235"/>
              <a:gd name="connsiteY3651" fmla="*/ 4254535 h 4596459"/>
              <a:gd name="connsiteX3652" fmla="*/ 3137846 w 4716235"/>
              <a:gd name="connsiteY3652" fmla="*/ 4259737 h 4596459"/>
              <a:gd name="connsiteX3653" fmla="*/ 3144370 w 4716235"/>
              <a:gd name="connsiteY3653" fmla="*/ 4266261 h 4596459"/>
              <a:gd name="connsiteX3654" fmla="*/ 3136937 w 4716235"/>
              <a:gd name="connsiteY3654" fmla="*/ 4273694 h 4596459"/>
              <a:gd name="connsiteX3655" fmla="*/ 3129505 w 4716235"/>
              <a:gd name="connsiteY3655" fmla="*/ 4266261 h 4596459"/>
              <a:gd name="connsiteX3656" fmla="*/ 3131402 w 4716235"/>
              <a:gd name="connsiteY3656" fmla="*/ 4264364 h 4596459"/>
              <a:gd name="connsiteX3657" fmla="*/ 3121574 w 4716235"/>
              <a:gd name="connsiteY3657" fmla="*/ 4254535 h 4596459"/>
              <a:gd name="connsiteX3658" fmla="*/ 3124961 w 4716235"/>
              <a:gd name="connsiteY3658" fmla="*/ 4251148 h 4596459"/>
              <a:gd name="connsiteX3659" fmla="*/ 3117776 w 4716235"/>
              <a:gd name="connsiteY3659" fmla="*/ 4243961 h 4596459"/>
              <a:gd name="connsiteX3660" fmla="*/ 3120913 w 4716235"/>
              <a:gd name="connsiteY3660" fmla="*/ 4240824 h 4596459"/>
              <a:gd name="connsiteX3661" fmla="*/ 3114802 w 4716235"/>
              <a:gd name="connsiteY3661" fmla="*/ 4234711 h 4596459"/>
              <a:gd name="connsiteX3662" fmla="*/ 3117693 w 4716235"/>
              <a:gd name="connsiteY3662" fmla="*/ 4231820 h 4596459"/>
              <a:gd name="connsiteX3663" fmla="*/ 3112490 w 4716235"/>
              <a:gd name="connsiteY3663" fmla="*/ 4226618 h 4596459"/>
              <a:gd name="connsiteX3664" fmla="*/ 3115132 w 4716235"/>
              <a:gd name="connsiteY3664" fmla="*/ 4223977 h 4596459"/>
              <a:gd name="connsiteX3665" fmla="*/ 3110673 w 4716235"/>
              <a:gd name="connsiteY3665" fmla="*/ 4219516 h 4596459"/>
              <a:gd name="connsiteX3666" fmla="*/ 3113316 w 4716235"/>
              <a:gd name="connsiteY3666" fmla="*/ 4216873 h 4596459"/>
              <a:gd name="connsiteX3667" fmla="*/ 3109516 w 4716235"/>
              <a:gd name="connsiteY3667" fmla="*/ 4213074 h 4596459"/>
              <a:gd name="connsiteX3668" fmla="*/ 3111994 w 4716235"/>
              <a:gd name="connsiteY3668" fmla="*/ 4210596 h 4596459"/>
              <a:gd name="connsiteX3669" fmla="*/ 3108691 w 4716235"/>
              <a:gd name="connsiteY3669" fmla="*/ 4207292 h 4596459"/>
              <a:gd name="connsiteX3670" fmla="*/ 3111169 w 4716235"/>
              <a:gd name="connsiteY3670" fmla="*/ 4204816 h 4596459"/>
              <a:gd name="connsiteX3671" fmla="*/ 3108195 w 4716235"/>
              <a:gd name="connsiteY3671" fmla="*/ 4201842 h 4596459"/>
              <a:gd name="connsiteX3672" fmla="*/ 3110673 w 4716235"/>
              <a:gd name="connsiteY3672" fmla="*/ 4199363 h 4596459"/>
              <a:gd name="connsiteX3673" fmla="*/ 3107865 w 4716235"/>
              <a:gd name="connsiteY3673" fmla="*/ 4196556 h 4596459"/>
              <a:gd name="connsiteX3674" fmla="*/ 3110508 w 4716235"/>
              <a:gd name="connsiteY3674" fmla="*/ 4193915 h 4596459"/>
              <a:gd name="connsiteX3675" fmla="*/ 3107699 w 4716235"/>
              <a:gd name="connsiteY3675" fmla="*/ 4191105 h 4596459"/>
              <a:gd name="connsiteX3676" fmla="*/ 3110590 w 4716235"/>
              <a:gd name="connsiteY3676" fmla="*/ 4188214 h 4596459"/>
              <a:gd name="connsiteX3677" fmla="*/ 3107534 w 4716235"/>
              <a:gd name="connsiteY3677" fmla="*/ 4185157 h 4596459"/>
              <a:gd name="connsiteX3678" fmla="*/ 3110590 w 4716235"/>
              <a:gd name="connsiteY3678" fmla="*/ 4182101 h 4596459"/>
              <a:gd name="connsiteX3679" fmla="*/ 3107040 w 4716235"/>
              <a:gd name="connsiteY3679" fmla="*/ 4178551 h 4596459"/>
              <a:gd name="connsiteX3680" fmla="*/ 3110508 w 4716235"/>
              <a:gd name="connsiteY3680" fmla="*/ 4175083 h 4596459"/>
              <a:gd name="connsiteX3681" fmla="*/ 3106377 w 4716235"/>
              <a:gd name="connsiteY3681" fmla="*/ 4170952 h 4596459"/>
              <a:gd name="connsiteX3682" fmla="*/ 3110259 w 4716235"/>
              <a:gd name="connsiteY3682" fmla="*/ 4167071 h 4596459"/>
              <a:gd name="connsiteX3683" fmla="*/ 3105056 w 4716235"/>
              <a:gd name="connsiteY3683" fmla="*/ 4161867 h 4596459"/>
              <a:gd name="connsiteX3684" fmla="*/ 3109516 w 4716235"/>
              <a:gd name="connsiteY3684" fmla="*/ 4157408 h 4596459"/>
              <a:gd name="connsiteX3685" fmla="*/ 3103076 w 4716235"/>
              <a:gd name="connsiteY3685" fmla="*/ 4150966 h 4596459"/>
              <a:gd name="connsiteX3686" fmla="*/ 3108197 w 4716235"/>
              <a:gd name="connsiteY3686" fmla="*/ 4145846 h 4596459"/>
              <a:gd name="connsiteX3687" fmla="*/ 3100101 w 4716235"/>
              <a:gd name="connsiteY3687" fmla="*/ 4137751 h 4596459"/>
              <a:gd name="connsiteX3688" fmla="*/ 3105965 w 4716235"/>
              <a:gd name="connsiteY3688" fmla="*/ 4131888 h 4596459"/>
              <a:gd name="connsiteX3689" fmla="*/ 3096137 w 4716235"/>
              <a:gd name="connsiteY3689" fmla="*/ 4122059 h 4596459"/>
              <a:gd name="connsiteX3690" fmla="*/ 3106873 w 4716235"/>
              <a:gd name="connsiteY3690" fmla="*/ 4111322 h 4596459"/>
              <a:gd name="connsiteX3691" fmla="*/ 2997193 w 4716235"/>
              <a:gd name="connsiteY3691" fmla="*/ 4108515 h 4596459"/>
              <a:gd name="connsiteX3692" fmla="*/ 3007931 w 4716235"/>
              <a:gd name="connsiteY3692" fmla="*/ 4119251 h 4596459"/>
              <a:gd name="connsiteX3693" fmla="*/ 2997193 w 4716235"/>
              <a:gd name="connsiteY3693" fmla="*/ 4129987 h 4596459"/>
              <a:gd name="connsiteX3694" fmla="*/ 2986457 w 4716235"/>
              <a:gd name="connsiteY3694" fmla="*/ 4119251 h 4596459"/>
              <a:gd name="connsiteX3695" fmla="*/ 2997193 w 4716235"/>
              <a:gd name="connsiteY3695" fmla="*/ 4108515 h 4596459"/>
              <a:gd name="connsiteX3696" fmla="*/ 766420 w 4716235"/>
              <a:gd name="connsiteY3696" fmla="*/ 4105376 h 4596459"/>
              <a:gd name="connsiteX3697" fmla="*/ 777158 w 4716235"/>
              <a:gd name="connsiteY3697" fmla="*/ 4116112 h 4596459"/>
              <a:gd name="connsiteX3698" fmla="*/ 766420 w 4716235"/>
              <a:gd name="connsiteY3698" fmla="*/ 4126848 h 4596459"/>
              <a:gd name="connsiteX3699" fmla="*/ 755683 w 4716235"/>
              <a:gd name="connsiteY3699" fmla="*/ 4116112 h 4596459"/>
              <a:gd name="connsiteX3700" fmla="*/ 766420 w 4716235"/>
              <a:gd name="connsiteY3700" fmla="*/ 4105376 h 4596459"/>
              <a:gd name="connsiteX3701" fmla="*/ 1232396 w 4716235"/>
              <a:gd name="connsiteY3701" fmla="*/ 4102898 h 4596459"/>
              <a:gd name="connsiteX3702" fmla="*/ 1243132 w 4716235"/>
              <a:gd name="connsiteY3702" fmla="*/ 4113634 h 4596459"/>
              <a:gd name="connsiteX3703" fmla="*/ 1232396 w 4716235"/>
              <a:gd name="connsiteY3703" fmla="*/ 4124370 h 4596459"/>
              <a:gd name="connsiteX3704" fmla="*/ 1221659 w 4716235"/>
              <a:gd name="connsiteY3704" fmla="*/ 4113634 h 4596459"/>
              <a:gd name="connsiteX3705" fmla="*/ 1232396 w 4716235"/>
              <a:gd name="connsiteY3705" fmla="*/ 4102898 h 4596459"/>
              <a:gd name="connsiteX3706" fmla="*/ 633283 w 4716235"/>
              <a:gd name="connsiteY3706" fmla="*/ 4101907 h 4596459"/>
              <a:gd name="connsiteX3707" fmla="*/ 644019 w 4716235"/>
              <a:gd name="connsiteY3707" fmla="*/ 4112644 h 4596459"/>
              <a:gd name="connsiteX3708" fmla="*/ 633283 w 4716235"/>
              <a:gd name="connsiteY3708" fmla="*/ 4123380 h 4596459"/>
              <a:gd name="connsiteX3709" fmla="*/ 622546 w 4716235"/>
              <a:gd name="connsiteY3709" fmla="*/ 4112644 h 4596459"/>
              <a:gd name="connsiteX3710" fmla="*/ 633283 w 4716235"/>
              <a:gd name="connsiteY3710" fmla="*/ 4101907 h 4596459"/>
              <a:gd name="connsiteX3711" fmla="*/ 918716 w 4716235"/>
              <a:gd name="connsiteY3711" fmla="*/ 4099264 h 4596459"/>
              <a:gd name="connsiteX3712" fmla="*/ 929454 w 4716235"/>
              <a:gd name="connsiteY3712" fmla="*/ 4110001 h 4596459"/>
              <a:gd name="connsiteX3713" fmla="*/ 918716 w 4716235"/>
              <a:gd name="connsiteY3713" fmla="*/ 4120737 h 4596459"/>
              <a:gd name="connsiteX3714" fmla="*/ 907980 w 4716235"/>
              <a:gd name="connsiteY3714" fmla="*/ 4110001 h 4596459"/>
              <a:gd name="connsiteX3715" fmla="*/ 918716 w 4716235"/>
              <a:gd name="connsiteY3715" fmla="*/ 4099264 h 4596459"/>
              <a:gd name="connsiteX3716" fmla="*/ 3437567 w 4716235"/>
              <a:gd name="connsiteY3716" fmla="*/ 4097282 h 4596459"/>
              <a:gd name="connsiteX3717" fmla="*/ 3438061 w 4716235"/>
              <a:gd name="connsiteY3717" fmla="*/ 4097778 h 4596459"/>
              <a:gd name="connsiteX3718" fmla="*/ 3437567 w 4716235"/>
              <a:gd name="connsiteY3718" fmla="*/ 4098272 h 4596459"/>
              <a:gd name="connsiteX3719" fmla="*/ 3437071 w 4716235"/>
              <a:gd name="connsiteY3719" fmla="*/ 4097778 h 4596459"/>
              <a:gd name="connsiteX3720" fmla="*/ 3437567 w 4716235"/>
              <a:gd name="connsiteY3720" fmla="*/ 4097282 h 4596459"/>
              <a:gd name="connsiteX3721" fmla="*/ 413757 w 4716235"/>
              <a:gd name="connsiteY3721" fmla="*/ 4092987 h 4596459"/>
              <a:gd name="connsiteX3722" fmla="*/ 424494 w 4716235"/>
              <a:gd name="connsiteY3722" fmla="*/ 4103723 h 4596459"/>
              <a:gd name="connsiteX3723" fmla="*/ 415243 w 4716235"/>
              <a:gd name="connsiteY3723" fmla="*/ 4112975 h 4596459"/>
              <a:gd name="connsiteX3724" fmla="*/ 422017 w 4716235"/>
              <a:gd name="connsiteY3724" fmla="*/ 4119747 h 4596459"/>
              <a:gd name="connsiteX3725" fmla="*/ 414583 w 4716235"/>
              <a:gd name="connsiteY3725" fmla="*/ 4127180 h 4596459"/>
              <a:gd name="connsiteX3726" fmla="*/ 420696 w 4716235"/>
              <a:gd name="connsiteY3726" fmla="*/ 4133291 h 4596459"/>
              <a:gd name="connsiteX3727" fmla="*/ 414749 w 4716235"/>
              <a:gd name="connsiteY3727" fmla="*/ 4139237 h 4596459"/>
              <a:gd name="connsiteX3728" fmla="*/ 420035 w 4716235"/>
              <a:gd name="connsiteY3728" fmla="*/ 4144523 h 4596459"/>
              <a:gd name="connsiteX3729" fmla="*/ 415327 w 4716235"/>
              <a:gd name="connsiteY3729" fmla="*/ 4149232 h 4596459"/>
              <a:gd name="connsiteX3730" fmla="*/ 420035 w 4716235"/>
              <a:gd name="connsiteY3730" fmla="*/ 4153938 h 4596459"/>
              <a:gd name="connsiteX3731" fmla="*/ 416152 w 4716235"/>
              <a:gd name="connsiteY3731" fmla="*/ 4157821 h 4596459"/>
              <a:gd name="connsiteX3732" fmla="*/ 420365 w 4716235"/>
              <a:gd name="connsiteY3732" fmla="*/ 4162032 h 4596459"/>
              <a:gd name="connsiteX3733" fmla="*/ 417226 w 4716235"/>
              <a:gd name="connsiteY3733" fmla="*/ 4165170 h 4596459"/>
              <a:gd name="connsiteX3734" fmla="*/ 421192 w 4716235"/>
              <a:gd name="connsiteY3734" fmla="*/ 4169135 h 4596459"/>
              <a:gd name="connsiteX3735" fmla="*/ 418301 w 4716235"/>
              <a:gd name="connsiteY3735" fmla="*/ 4172026 h 4596459"/>
              <a:gd name="connsiteX3736" fmla="*/ 421852 w 4716235"/>
              <a:gd name="connsiteY3736" fmla="*/ 4175577 h 4596459"/>
              <a:gd name="connsiteX3737" fmla="*/ 419291 w 4716235"/>
              <a:gd name="connsiteY3737" fmla="*/ 4178139 h 4596459"/>
              <a:gd name="connsiteX3738" fmla="*/ 422678 w 4716235"/>
              <a:gd name="connsiteY3738" fmla="*/ 4181524 h 4596459"/>
              <a:gd name="connsiteX3739" fmla="*/ 420035 w 4716235"/>
              <a:gd name="connsiteY3739" fmla="*/ 4184167 h 4596459"/>
              <a:gd name="connsiteX3740" fmla="*/ 423174 w 4716235"/>
              <a:gd name="connsiteY3740" fmla="*/ 4187306 h 4596459"/>
              <a:gd name="connsiteX3741" fmla="*/ 420365 w 4716235"/>
              <a:gd name="connsiteY3741" fmla="*/ 4190115 h 4596459"/>
              <a:gd name="connsiteX3742" fmla="*/ 423503 w 4716235"/>
              <a:gd name="connsiteY3742" fmla="*/ 4193252 h 4596459"/>
              <a:gd name="connsiteX3743" fmla="*/ 420283 w 4716235"/>
              <a:gd name="connsiteY3743" fmla="*/ 4196474 h 4596459"/>
              <a:gd name="connsiteX3744" fmla="*/ 423337 w 4716235"/>
              <a:gd name="connsiteY3744" fmla="*/ 4199528 h 4596459"/>
              <a:gd name="connsiteX3745" fmla="*/ 419621 w 4716235"/>
              <a:gd name="connsiteY3745" fmla="*/ 4203245 h 4596459"/>
              <a:gd name="connsiteX3746" fmla="*/ 422843 w 4716235"/>
              <a:gd name="connsiteY3746" fmla="*/ 4206467 h 4596459"/>
              <a:gd name="connsiteX3747" fmla="*/ 418301 w 4716235"/>
              <a:gd name="connsiteY3747" fmla="*/ 4211008 h 4596459"/>
              <a:gd name="connsiteX3748" fmla="*/ 421523 w 4716235"/>
              <a:gd name="connsiteY3748" fmla="*/ 4214231 h 4596459"/>
              <a:gd name="connsiteX3749" fmla="*/ 416320 w 4716235"/>
              <a:gd name="connsiteY3749" fmla="*/ 4219433 h 4596459"/>
              <a:gd name="connsiteX3750" fmla="*/ 419705 w 4716235"/>
              <a:gd name="connsiteY3750" fmla="*/ 4222818 h 4596459"/>
              <a:gd name="connsiteX3751" fmla="*/ 411031 w 4716235"/>
              <a:gd name="connsiteY3751" fmla="*/ 4231493 h 4596459"/>
              <a:gd name="connsiteX3752" fmla="*/ 412105 w 4716235"/>
              <a:gd name="connsiteY3752" fmla="*/ 4232566 h 4596459"/>
              <a:gd name="connsiteX3753" fmla="*/ 406324 w 4716235"/>
              <a:gd name="connsiteY3753" fmla="*/ 4238346 h 4596459"/>
              <a:gd name="connsiteX3754" fmla="*/ 400543 w 4716235"/>
              <a:gd name="connsiteY3754" fmla="*/ 4232566 h 4596459"/>
              <a:gd name="connsiteX3755" fmla="*/ 404261 w 4716235"/>
              <a:gd name="connsiteY3755" fmla="*/ 4228850 h 4596459"/>
              <a:gd name="connsiteX3756" fmla="*/ 398231 w 4716235"/>
              <a:gd name="connsiteY3756" fmla="*/ 4222818 h 4596459"/>
              <a:gd name="connsiteX3757" fmla="*/ 403434 w 4716235"/>
              <a:gd name="connsiteY3757" fmla="*/ 4217616 h 4596459"/>
              <a:gd name="connsiteX3758" fmla="*/ 400049 w 4716235"/>
              <a:gd name="connsiteY3758" fmla="*/ 4214231 h 4596459"/>
              <a:gd name="connsiteX3759" fmla="*/ 404592 w 4716235"/>
              <a:gd name="connsiteY3759" fmla="*/ 4209689 h 4596459"/>
              <a:gd name="connsiteX3760" fmla="*/ 401370 w 4716235"/>
              <a:gd name="connsiteY3760" fmla="*/ 4206467 h 4596459"/>
              <a:gd name="connsiteX3761" fmla="*/ 405086 w 4716235"/>
              <a:gd name="connsiteY3761" fmla="*/ 4202750 h 4596459"/>
              <a:gd name="connsiteX3762" fmla="*/ 401864 w 4716235"/>
              <a:gd name="connsiteY3762" fmla="*/ 4199528 h 4596459"/>
              <a:gd name="connsiteX3763" fmla="*/ 405086 w 4716235"/>
              <a:gd name="connsiteY3763" fmla="*/ 4196308 h 4596459"/>
              <a:gd name="connsiteX3764" fmla="*/ 402031 w 4716235"/>
              <a:gd name="connsiteY3764" fmla="*/ 4193252 h 4596459"/>
              <a:gd name="connsiteX3765" fmla="*/ 404838 w 4716235"/>
              <a:gd name="connsiteY3765" fmla="*/ 4190444 h 4596459"/>
              <a:gd name="connsiteX3766" fmla="*/ 401700 w 4716235"/>
              <a:gd name="connsiteY3766" fmla="*/ 4187306 h 4596459"/>
              <a:gd name="connsiteX3767" fmla="*/ 404342 w 4716235"/>
              <a:gd name="connsiteY3767" fmla="*/ 4184663 h 4596459"/>
              <a:gd name="connsiteX3768" fmla="*/ 401204 w 4716235"/>
              <a:gd name="connsiteY3768" fmla="*/ 4181524 h 4596459"/>
              <a:gd name="connsiteX3769" fmla="*/ 403765 w 4716235"/>
              <a:gd name="connsiteY3769" fmla="*/ 4178964 h 4596459"/>
              <a:gd name="connsiteX3770" fmla="*/ 400378 w 4716235"/>
              <a:gd name="connsiteY3770" fmla="*/ 4175577 h 4596459"/>
              <a:gd name="connsiteX3771" fmla="*/ 403269 w 4716235"/>
              <a:gd name="connsiteY3771" fmla="*/ 4172686 h 4596459"/>
              <a:gd name="connsiteX3772" fmla="*/ 399717 w 4716235"/>
              <a:gd name="connsiteY3772" fmla="*/ 4169135 h 4596459"/>
              <a:gd name="connsiteX3773" fmla="*/ 402856 w 4716235"/>
              <a:gd name="connsiteY3773" fmla="*/ 4165996 h 4596459"/>
              <a:gd name="connsiteX3774" fmla="*/ 398892 w 4716235"/>
              <a:gd name="connsiteY3774" fmla="*/ 4162032 h 4596459"/>
              <a:gd name="connsiteX3775" fmla="*/ 402773 w 4716235"/>
              <a:gd name="connsiteY3775" fmla="*/ 4158150 h 4596459"/>
              <a:gd name="connsiteX3776" fmla="*/ 398561 w 4716235"/>
              <a:gd name="connsiteY3776" fmla="*/ 4153938 h 4596459"/>
              <a:gd name="connsiteX3777" fmla="*/ 403269 w 4716235"/>
              <a:gd name="connsiteY3777" fmla="*/ 4149232 h 4596459"/>
              <a:gd name="connsiteX3778" fmla="*/ 398561 w 4716235"/>
              <a:gd name="connsiteY3778" fmla="*/ 4144523 h 4596459"/>
              <a:gd name="connsiteX3779" fmla="*/ 404507 w 4716235"/>
              <a:gd name="connsiteY3779" fmla="*/ 4138577 h 4596459"/>
              <a:gd name="connsiteX3780" fmla="*/ 399221 w 4716235"/>
              <a:gd name="connsiteY3780" fmla="*/ 4133291 h 4596459"/>
              <a:gd name="connsiteX3781" fmla="*/ 406654 w 4716235"/>
              <a:gd name="connsiteY3781" fmla="*/ 4125858 h 4596459"/>
              <a:gd name="connsiteX3782" fmla="*/ 400543 w 4716235"/>
              <a:gd name="connsiteY3782" fmla="*/ 4119747 h 4596459"/>
              <a:gd name="connsiteX3783" fmla="*/ 409795 w 4716235"/>
              <a:gd name="connsiteY3783" fmla="*/ 4110497 h 4596459"/>
              <a:gd name="connsiteX3784" fmla="*/ 403021 w 4716235"/>
              <a:gd name="connsiteY3784" fmla="*/ 4103723 h 4596459"/>
              <a:gd name="connsiteX3785" fmla="*/ 413757 w 4716235"/>
              <a:gd name="connsiteY3785" fmla="*/ 4092987 h 4596459"/>
              <a:gd name="connsiteX3786" fmla="*/ 3101423 w 4716235"/>
              <a:gd name="connsiteY3786" fmla="*/ 4092326 h 4596459"/>
              <a:gd name="connsiteX3787" fmla="*/ 3112161 w 4716235"/>
              <a:gd name="connsiteY3787" fmla="*/ 4103062 h 4596459"/>
              <a:gd name="connsiteX3788" fmla="*/ 3101423 w 4716235"/>
              <a:gd name="connsiteY3788" fmla="*/ 4113800 h 4596459"/>
              <a:gd name="connsiteX3789" fmla="*/ 3090686 w 4716235"/>
              <a:gd name="connsiteY3789" fmla="*/ 4103062 h 4596459"/>
              <a:gd name="connsiteX3790" fmla="*/ 3101423 w 4716235"/>
              <a:gd name="connsiteY3790" fmla="*/ 4092326 h 4596459"/>
              <a:gd name="connsiteX3791" fmla="*/ 2403862 w 4716235"/>
              <a:gd name="connsiteY3791" fmla="*/ 4091830 h 4596459"/>
              <a:gd name="connsiteX3792" fmla="*/ 2414600 w 4716235"/>
              <a:gd name="connsiteY3792" fmla="*/ 4102566 h 4596459"/>
              <a:gd name="connsiteX3793" fmla="*/ 2403862 w 4716235"/>
              <a:gd name="connsiteY3793" fmla="*/ 4113304 h 4596459"/>
              <a:gd name="connsiteX3794" fmla="*/ 2393125 w 4716235"/>
              <a:gd name="connsiteY3794" fmla="*/ 4102566 h 4596459"/>
              <a:gd name="connsiteX3795" fmla="*/ 2403862 w 4716235"/>
              <a:gd name="connsiteY3795" fmla="*/ 4091830 h 4596459"/>
              <a:gd name="connsiteX3796" fmla="*/ 517491 w 4716235"/>
              <a:gd name="connsiteY3796" fmla="*/ 4090840 h 4596459"/>
              <a:gd name="connsiteX3797" fmla="*/ 528229 w 4716235"/>
              <a:gd name="connsiteY3797" fmla="*/ 4101576 h 4596459"/>
              <a:gd name="connsiteX3798" fmla="*/ 517491 w 4716235"/>
              <a:gd name="connsiteY3798" fmla="*/ 4112314 h 4596459"/>
              <a:gd name="connsiteX3799" fmla="*/ 506755 w 4716235"/>
              <a:gd name="connsiteY3799" fmla="*/ 4101576 h 4596459"/>
              <a:gd name="connsiteX3800" fmla="*/ 517491 w 4716235"/>
              <a:gd name="connsiteY3800" fmla="*/ 4090840 h 4596459"/>
              <a:gd name="connsiteX3801" fmla="*/ 2856127 w 4716235"/>
              <a:gd name="connsiteY3801" fmla="*/ 4087040 h 4596459"/>
              <a:gd name="connsiteX3802" fmla="*/ 2866865 w 4716235"/>
              <a:gd name="connsiteY3802" fmla="*/ 4097776 h 4596459"/>
              <a:gd name="connsiteX3803" fmla="*/ 2856127 w 4716235"/>
              <a:gd name="connsiteY3803" fmla="*/ 4108513 h 4596459"/>
              <a:gd name="connsiteX3804" fmla="*/ 2845391 w 4716235"/>
              <a:gd name="connsiteY3804" fmla="*/ 4097776 h 4596459"/>
              <a:gd name="connsiteX3805" fmla="*/ 2856127 w 4716235"/>
              <a:gd name="connsiteY3805" fmla="*/ 4087040 h 4596459"/>
              <a:gd name="connsiteX3806" fmla="*/ 2709448 w 4716235"/>
              <a:gd name="connsiteY3806" fmla="*/ 4082911 h 4596459"/>
              <a:gd name="connsiteX3807" fmla="*/ 2720186 w 4716235"/>
              <a:gd name="connsiteY3807" fmla="*/ 4093647 h 4596459"/>
              <a:gd name="connsiteX3808" fmla="*/ 2709448 w 4716235"/>
              <a:gd name="connsiteY3808" fmla="*/ 4104384 h 4596459"/>
              <a:gd name="connsiteX3809" fmla="*/ 2698712 w 4716235"/>
              <a:gd name="connsiteY3809" fmla="*/ 4093647 h 4596459"/>
              <a:gd name="connsiteX3810" fmla="*/ 2709448 w 4716235"/>
              <a:gd name="connsiteY3810" fmla="*/ 4082911 h 4596459"/>
              <a:gd name="connsiteX3811" fmla="*/ 2983814 w 4716235"/>
              <a:gd name="connsiteY3811" fmla="*/ 4082086 h 4596459"/>
              <a:gd name="connsiteX3812" fmla="*/ 2994550 w 4716235"/>
              <a:gd name="connsiteY3812" fmla="*/ 4092822 h 4596459"/>
              <a:gd name="connsiteX3813" fmla="*/ 2983814 w 4716235"/>
              <a:gd name="connsiteY3813" fmla="*/ 4103560 h 4596459"/>
              <a:gd name="connsiteX3814" fmla="*/ 2973077 w 4716235"/>
              <a:gd name="connsiteY3814" fmla="*/ 4092822 h 4596459"/>
              <a:gd name="connsiteX3815" fmla="*/ 2983814 w 4716235"/>
              <a:gd name="connsiteY3815" fmla="*/ 4082086 h 4596459"/>
              <a:gd name="connsiteX3816" fmla="*/ 1091826 w 4716235"/>
              <a:gd name="connsiteY3816" fmla="*/ 4081094 h 4596459"/>
              <a:gd name="connsiteX3817" fmla="*/ 1102564 w 4716235"/>
              <a:gd name="connsiteY3817" fmla="*/ 4091830 h 4596459"/>
              <a:gd name="connsiteX3818" fmla="*/ 1091826 w 4716235"/>
              <a:gd name="connsiteY3818" fmla="*/ 4102566 h 4596459"/>
              <a:gd name="connsiteX3819" fmla="*/ 1081090 w 4716235"/>
              <a:gd name="connsiteY3819" fmla="*/ 4091830 h 4596459"/>
              <a:gd name="connsiteX3820" fmla="*/ 1091826 w 4716235"/>
              <a:gd name="connsiteY3820" fmla="*/ 4081094 h 4596459"/>
              <a:gd name="connsiteX3821" fmla="*/ 146826 w 4716235"/>
              <a:gd name="connsiteY3821" fmla="*/ 4078782 h 4596459"/>
              <a:gd name="connsiteX3822" fmla="*/ 147155 w 4716235"/>
              <a:gd name="connsiteY3822" fmla="*/ 4079113 h 4596459"/>
              <a:gd name="connsiteX3823" fmla="*/ 146826 w 4716235"/>
              <a:gd name="connsiteY3823" fmla="*/ 4079443 h 4596459"/>
              <a:gd name="connsiteX3824" fmla="*/ 146495 w 4716235"/>
              <a:gd name="connsiteY3824" fmla="*/ 4079113 h 4596459"/>
              <a:gd name="connsiteX3825" fmla="*/ 146826 w 4716235"/>
              <a:gd name="connsiteY3825" fmla="*/ 4078782 h 4596459"/>
              <a:gd name="connsiteX3826" fmla="*/ 1744293 w 4716235"/>
              <a:gd name="connsiteY3826" fmla="*/ 4077625 h 4596459"/>
              <a:gd name="connsiteX3827" fmla="*/ 1755031 w 4716235"/>
              <a:gd name="connsiteY3827" fmla="*/ 4088362 h 4596459"/>
              <a:gd name="connsiteX3828" fmla="*/ 1744293 w 4716235"/>
              <a:gd name="connsiteY3828" fmla="*/ 4099098 h 4596459"/>
              <a:gd name="connsiteX3829" fmla="*/ 1733557 w 4716235"/>
              <a:gd name="connsiteY3829" fmla="*/ 4088362 h 4596459"/>
              <a:gd name="connsiteX3830" fmla="*/ 1744293 w 4716235"/>
              <a:gd name="connsiteY3830" fmla="*/ 4077625 h 4596459"/>
              <a:gd name="connsiteX3831" fmla="*/ 1898903 w 4716235"/>
              <a:gd name="connsiteY3831" fmla="*/ 4076139 h 4596459"/>
              <a:gd name="connsiteX3832" fmla="*/ 1909641 w 4716235"/>
              <a:gd name="connsiteY3832" fmla="*/ 4086875 h 4596459"/>
              <a:gd name="connsiteX3833" fmla="*/ 1898903 w 4716235"/>
              <a:gd name="connsiteY3833" fmla="*/ 4097612 h 4596459"/>
              <a:gd name="connsiteX3834" fmla="*/ 1888166 w 4716235"/>
              <a:gd name="connsiteY3834" fmla="*/ 4086875 h 4596459"/>
              <a:gd name="connsiteX3835" fmla="*/ 1898903 w 4716235"/>
              <a:gd name="connsiteY3835" fmla="*/ 4076139 h 4596459"/>
              <a:gd name="connsiteX3836" fmla="*/ 417392 w 4716235"/>
              <a:gd name="connsiteY3836" fmla="*/ 4073992 h 4596459"/>
              <a:gd name="connsiteX3837" fmla="*/ 428129 w 4716235"/>
              <a:gd name="connsiteY3837" fmla="*/ 4084728 h 4596459"/>
              <a:gd name="connsiteX3838" fmla="*/ 417392 w 4716235"/>
              <a:gd name="connsiteY3838" fmla="*/ 4095465 h 4596459"/>
              <a:gd name="connsiteX3839" fmla="*/ 406656 w 4716235"/>
              <a:gd name="connsiteY3839" fmla="*/ 4084728 h 4596459"/>
              <a:gd name="connsiteX3840" fmla="*/ 417392 w 4716235"/>
              <a:gd name="connsiteY3840" fmla="*/ 4073992 h 4596459"/>
              <a:gd name="connsiteX3841" fmla="*/ 1590013 w 4716235"/>
              <a:gd name="connsiteY3841" fmla="*/ 4073496 h 4596459"/>
              <a:gd name="connsiteX3842" fmla="*/ 1600751 w 4716235"/>
              <a:gd name="connsiteY3842" fmla="*/ 4084232 h 4596459"/>
              <a:gd name="connsiteX3843" fmla="*/ 1590013 w 4716235"/>
              <a:gd name="connsiteY3843" fmla="*/ 4094969 h 4596459"/>
              <a:gd name="connsiteX3844" fmla="*/ 1579277 w 4716235"/>
              <a:gd name="connsiteY3844" fmla="*/ 4084232 h 4596459"/>
              <a:gd name="connsiteX3845" fmla="*/ 1590013 w 4716235"/>
              <a:gd name="connsiteY3845" fmla="*/ 4073496 h 4596459"/>
              <a:gd name="connsiteX3846" fmla="*/ 651783 w 4716235"/>
              <a:gd name="connsiteY3846" fmla="*/ 4070522 h 4596459"/>
              <a:gd name="connsiteX3847" fmla="*/ 662521 w 4716235"/>
              <a:gd name="connsiteY3847" fmla="*/ 4081258 h 4596459"/>
              <a:gd name="connsiteX3848" fmla="*/ 651783 w 4716235"/>
              <a:gd name="connsiteY3848" fmla="*/ 4091995 h 4596459"/>
              <a:gd name="connsiteX3849" fmla="*/ 641047 w 4716235"/>
              <a:gd name="connsiteY3849" fmla="*/ 4081258 h 4596459"/>
              <a:gd name="connsiteX3850" fmla="*/ 651783 w 4716235"/>
              <a:gd name="connsiteY3850" fmla="*/ 4070522 h 4596459"/>
              <a:gd name="connsiteX3851" fmla="*/ 3094484 w 4716235"/>
              <a:gd name="connsiteY3851" fmla="*/ 4069861 h 4596459"/>
              <a:gd name="connsiteX3852" fmla="*/ 3105222 w 4716235"/>
              <a:gd name="connsiteY3852" fmla="*/ 4080598 h 4596459"/>
              <a:gd name="connsiteX3853" fmla="*/ 3094484 w 4716235"/>
              <a:gd name="connsiteY3853" fmla="*/ 4091334 h 4596459"/>
              <a:gd name="connsiteX3854" fmla="*/ 3083748 w 4716235"/>
              <a:gd name="connsiteY3854" fmla="*/ 4080598 h 4596459"/>
              <a:gd name="connsiteX3855" fmla="*/ 3094484 w 4716235"/>
              <a:gd name="connsiteY3855" fmla="*/ 4069861 h 4596459"/>
              <a:gd name="connsiteX3856" fmla="*/ 2052521 w 4716235"/>
              <a:gd name="connsiteY3856" fmla="*/ 4068871 h 4596459"/>
              <a:gd name="connsiteX3857" fmla="*/ 2063259 w 4716235"/>
              <a:gd name="connsiteY3857" fmla="*/ 4079607 h 4596459"/>
              <a:gd name="connsiteX3858" fmla="*/ 2052521 w 4716235"/>
              <a:gd name="connsiteY3858" fmla="*/ 4090344 h 4596459"/>
              <a:gd name="connsiteX3859" fmla="*/ 2041784 w 4716235"/>
              <a:gd name="connsiteY3859" fmla="*/ 4079607 h 4596459"/>
              <a:gd name="connsiteX3860" fmla="*/ 2052521 w 4716235"/>
              <a:gd name="connsiteY3860" fmla="*/ 4068871 h 4596459"/>
              <a:gd name="connsiteX3861" fmla="*/ 793343 w 4716235"/>
              <a:gd name="connsiteY3861" fmla="*/ 4068044 h 4596459"/>
              <a:gd name="connsiteX3862" fmla="*/ 804081 w 4716235"/>
              <a:gd name="connsiteY3862" fmla="*/ 4078780 h 4596459"/>
              <a:gd name="connsiteX3863" fmla="*/ 793343 w 4716235"/>
              <a:gd name="connsiteY3863" fmla="*/ 4089518 h 4596459"/>
              <a:gd name="connsiteX3864" fmla="*/ 782607 w 4716235"/>
              <a:gd name="connsiteY3864" fmla="*/ 4078780 h 4596459"/>
              <a:gd name="connsiteX3865" fmla="*/ 793343 w 4716235"/>
              <a:gd name="connsiteY3865" fmla="*/ 4068044 h 4596459"/>
              <a:gd name="connsiteX3866" fmla="*/ 2542283 w 4716235"/>
              <a:gd name="connsiteY3866" fmla="*/ 4067550 h 4596459"/>
              <a:gd name="connsiteX3867" fmla="*/ 2553021 w 4716235"/>
              <a:gd name="connsiteY3867" fmla="*/ 4078286 h 4596459"/>
              <a:gd name="connsiteX3868" fmla="*/ 2542283 w 4716235"/>
              <a:gd name="connsiteY3868" fmla="*/ 4089024 h 4596459"/>
              <a:gd name="connsiteX3869" fmla="*/ 2531547 w 4716235"/>
              <a:gd name="connsiteY3869" fmla="*/ 4078286 h 4596459"/>
              <a:gd name="connsiteX3870" fmla="*/ 2542283 w 4716235"/>
              <a:gd name="connsiteY3870" fmla="*/ 4067550 h 4596459"/>
              <a:gd name="connsiteX3871" fmla="*/ 528724 w 4716235"/>
              <a:gd name="connsiteY3871" fmla="*/ 4064246 h 4596459"/>
              <a:gd name="connsiteX3872" fmla="*/ 539461 w 4716235"/>
              <a:gd name="connsiteY3872" fmla="*/ 4074982 h 4596459"/>
              <a:gd name="connsiteX3873" fmla="*/ 528724 w 4716235"/>
              <a:gd name="connsiteY3873" fmla="*/ 4085719 h 4596459"/>
              <a:gd name="connsiteX3874" fmla="*/ 517987 w 4716235"/>
              <a:gd name="connsiteY3874" fmla="*/ 4074982 h 4596459"/>
              <a:gd name="connsiteX3875" fmla="*/ 528724 w 4716235"/>
              <a:gd name="connsiteY3875" fmla="*/ 4064246 h 4596459"/>
              <a:gd name="connsiteX3876" fmla="*/ 1437056 w 4716235"/>
              <a:gd name="connsiteY3876" fmla="*/ 4063750 h 4596459"/>
              <a:gd name="connsiteX3877" fmla="*/ 1447792 w 4716235"/>
              <a:gd name="connsiteY3877" fmla="*/ 4074486 h 4596459"/>
              <a:gd name="connsiteX3878" fmla="*/ 1437056 w 4716235"/>
              <a:gd name="connsiteY3878" fmla="*/ 4085223 h 4596459"/>
              <a:gd name="connsiteX3879" fmla="*/ 1426320 w 4716235"/>
              <a:gd name="connsiteY3879" fmla="*/ 4074486 h 4596459"/>
              <a:gd name="connsiteX3880" fmla="*/ 1437056 w 4716235"/>
              <a:gd name="connsiteY3880" fmla="*/ 4063750 h 4596459"/>
              <a:gd name="connsiteX3881" fmla="*/ 2204323 w 4716235"/>
              <a:gd name="connsiteY3881" fmla="*/ 4056317 h 4596459"/>
              <a:gd name="connsiteX3882" fmla="*/ 2215061 w 4716235"/>
              <a:gd name="connsiteY3882" fmla="*/ 4067054 h 4596459"/>
              <a:gd name="connsiteX3883" fmla="*/ 2204323 w 4716235"/>
              <a:gd name="connsiteY3883" fmla="*/ 4077790 h 4596459"/>
              <a:gd name="connsiteX3884" fmla="*/ 2193586 w 4716235"/>
              <a:gd name="connsiteY3884" fmla="*/ 4067054 h 4596459"/>
              <a:gd name="connsiteX3885" fmla="*/ 2204323 w 4716235"/>
              <a:gd name="connsiteY3885" fmla="*/ 4056317 h 4596459"/>
              <a:gd name="connsiteX3886" fmla="*/ 955387 w 4716235"/>
              <a:gd name="connsiteY3886" fmla="*/ 4054831 h 4596459"/>
              <a:gd name="connsiteX3887" fmla="*/ 966124 w 4716235"/>
              <a:gd name="connsiteY3887" fmla="*/ 4065567 h 4596459"/>
              <a:gd name="connsiteX3888" fmla="*/ 955387 w 4716235"/>
              <a:gd name="connsiteY3888" fmla="*/ 4076304 h 4596459"/>
              <a:gd name="connsiteX3889" fmla="*/ 944651 w 4716235"/>
              <a:gd name="connsiteY3889" fmla="*/ 4065567 h 4596459"/>
              <a:gd name="connsiteX3890" fmla="*/ 955387 w 4716235"/>
              <a:gd name="connsiteY3890" fmla="*/ 4054831 h 4596459"/>
              <a:gd name="connsiteX3891" fmla="*/ 3189960 w 4716235"/>
              <a:gd name="connsiteY3891" fmla="*/ 4052353 h 4596459"/>
              <a:gd name="connsiteX3892" fmla="*/ 3200698 w 4716235"/>
              <a:gd name="connsiteY3892" fmla="*/ 4063089 h 4596459"/>
              <a:gd name="connsiteX3893" fmla="*/ 3191942 w 4716235"/>
              <a:gd name="connsiteY3893" fmla="*/ 4071843 h 4596459"/>
              <a:gd name="connsiteX3894" fmla="*/ 3202514 w 4716235"/>
              <a:gd name="connsiteY3894" fmla="*/ 4082415 h 4596459"/>
              <a:gd name="connsiteX3895" fmla="*/ 3194585 w 4716235"/>
              <a:gd name="connsiteY3895" fmla="*/ 4090345 h 4596459"/>
              <a:gd name="connsiteX3896" fmla="*/ 3203008 w 4716235"/>
              <a:gd name="connsiteY3896" fmla="*/ 4098768 h 4596459"/>
              <a:gd name="connsiteX3897" fmla="*/ 3195988 w 4716235"/>
              <a:gd name="connsiteY3897" fmla="*/ 4105788 h 4596459"/>
              <a:gd name="connsiteX3898" fmla="*/ 3202845 w 4716235"/>
              <a:gd name="connsiteY3898" fmla="*/ 4112644 h 4596459"/>
              <a:gd name="connsiteX3899" fmla="*/ 3196484 w 4716235"/>
              <a:gd name="connsiteY3899" fmla="*/ 4119005 h 4596459"/>
              <a:gd name="connsiteX3900" fmla="*/ 3201853 w 4716235"/>
              <a:gd name="connsiteY3900" fmla="*/ 4124372 h 4596459"/>
              <a:gd name="connsiteX3901" fmla="*/ 3196236 w 4716235"/>
              <a:gd name="connsiteY3901" fmla="*/ 4129989 h 4596459"/>
              <a:gd name="connsiteX3902" fmla="*/ 3200532 w 4716235"/>
              <a:gd name="connsiteY3902" fmla="*/ 4134283 h 4596459"/>
              <a:gd name="connsiteX3903" fmla="*/ 3195329 w 4716235"/>
              <a:gd name="connsiteY3903" fmla="*/ 4139485 h 4596459"/>
              <a:gd name="connsiteX3904" fmla="*/ 3198716 w 4716235"/>
              <a:gd name="connsiteY3904" fmla="*/ 4142871 h 4596459"/>
              <a:gd name="connsiteX3905" fmla="*/ 3194008 w 4716235"/>
              <a:gd name="connsiteY3905" fmla="*/ 4147581 h 4596459"/>
              <a:gd name="connsiteX3906" fmla="*/ 3196897 w 4716235"/>
              <a:gd name="connsiteY3906" fmla="*/ 4150470 h 4596459"/>
              <a:gd name="connsiteX3907" fmla="*/ 3192436 w 4716235"/>
              <a:gd name="connsiteY3907" fmla="*/ 4154930 h 4596459"/>
              <a:gd name="connsiteX3908" fmla="*/ 3194915 w 4716235"/>
              <a:gd name="connsiteY3908" fmla="*/ 4157408 h 4596459"/>
              <a:gd name="connsiteX3909" fmla="*/ 3190869 w 4716235"/>
              <a:gd name="connsiteY3909" fmla="*/ 4161454 h 4596459"/>
              <a:gd name="connsiteX3910" fmla="*/ 3193264 w 4716235"/>
              <a:gd name="connsiteY3910" fmla="*/ 4163849 h 4596459"/>
              <a:gd name="connsiteX3911" fmla="*/ 3189298 w 4716235"/>
              <a:gd name="connsiteY3911" fmla="*/ 4167815 h 4596459"/>
              <a:gd name="connsiteX3912" fmla="*/ 3191776 w 4716235"/>
              <a:gd name="connsiteY3912" fmla="*/ 4170292 h 4596459"/>
              <a:gd name="connsiteX3913" fmla="*/ 3187895 w 4716235"/>
              <a:gd name="connsiteY3913" fmla="*/ 4174173 h 4596459"/>
              <a:gd name="connsiteX3914" fmla="*/ 3190621 w 4716235"/>
              <a:gd name="connsiteY3914" fmla="*/ 4176899 h 4596459"/>
              <a:gd name="connsiteX3915" fmla="*/ 3186823 w 4716235"/>
              <a:gd name="connsiteY3915" fmla="*/ 4180698 h 4596459"/>
              <a:gd name="connsiteX3916" fmla="*/ 3189962 w 4716235"/>
              <a:gd name="connsiteY3916" fmla="*/ 4183837 h 4596459"/>
              <a:gd name="connsiteX3917" fmla="*/ 3186162 w 4716235"/>
              <a:gd name="connsiteY3917" fmla="*/ 4187637 h 4596459"/>
              <a:gd name="connsiteX3918" fmla="*/ 3189960 w 4716235"/>
              <a:gd name="connsiteY3918" fmla="*/ 4191435 h 4596459"/>
              <a:gd name="connsiteX3919" fmla="*/ 3185996 w 4716235"/>
              <a:gd name="connsiteY3919" fmla="*/ 4195399 h 4596459"/>
              <a:gd name="connsiteX3920" fmla="*/ 3190456 w 4716235"/>
              <a:gd name="connsiteY3920" fmla="*/ 4199859 h 4596459"/>
              <a:gd name="connsiteX3921" fmla="*/ 3186490 w 4716235"/>
              <a:gd name="connsiteY3921" fmla="*/ 4203825 h 4596459"/>
              <a:gd name="connsiteX3922" fmla="*/ 3191776 w 4716235"/>
              <a:gd name="connsiteY3922" fmla="*/ 4209110 h 4596459"/>
              <a:gd name="connsiteX3923" fmla="*/ 3187647 w 4716235"/>
              <a:gd name="connsiteY3923" fmla="*/ 4213239 h 4596459"/>
              <a:gd name="connsiteX3924" fmla="*/ 3193926 w 4716235"/>
              <a:gd name="connsiteY3924" fmla="*/ 4219516 h 4596459"/>
              <a:gd name="connsiteX3925" fmla="*/ 3189547 w 4716235"/>
              <a:gd name="connsiteY3925" fmla="*/ 4223895 h 4596459"/>
              <a:gd name="connsiteX3926" fmla="*/ 3196897 w 4716235"/>
              <a:gd name="connsiteY3926" fmla="*/ 4231243 h 4596459"/>
              <a:gd name="connsiteX3927" fmla="*/ 3186160 w 4716235"/>
              <a:gd name="connsiteY3927" fmla="*/ 4241979 h 4596459"/>
              <a:gd name="connsiteX3928" fmla="*/ 3175424 w 4716235"/>
              <a:gd name="connsiteY3928" fmla="*/ 4231243 h 4596459"/>
              <a:gd name="connsiteX3929" fmla="*/ 3179801 w 4716235"/>
              <a:gd name="connsiteY3929" fmla="*/ 4226866 h 4596459"/>
              <a:gd name="connsiteX3930" fmla="*/ 3172452 w 4716235"/>
              <a:gd name="connsiteY3930" fmla="*/ 4219516 h 4596459"/>
              <a:gd name="connsiteX3931" fmla="*/ 3176581 w 4716235"/>
              <a:gd name="connsiteY3931" fmla="*/ 4215387 h 4596459"/>
              <a:gd name="connsiteX3932" fmla="*/ 3170303 w 4716235"/>
              <a:gd name="connsiteY3932" fmla="*/ 4209110 h 4596459"/>
              <a:gd name="connsiteX3933" fmla="*/ 3174267 w 4716235"/>
              <a:gd name="connsiteY3933" fmla="*/ 4205145 h 4596459"/>
              <a:gd name="connsiteX3934" fmla="*/ 3168982 w 4716235"/>
              <a:gd name="connsiteY3934" fmla="*/ 4199859 h 4596459"/>
              <a:gd name="connsiteX3935" fmla="*/ 3172946 w 4716235"/>
              <a:gd name="connsiteY3935" fmla="*/ 4195895 h 4596459"/>
              <a:gd name="connsiteX3936" fmla="*/ 3168486 w 4716235"/>
              <a:gd name="connsiteY3936" fmla="*/ 4191435 h 4596459"/>
              <a:gd name="connsiteX3937" fmla="*/ 3172285 w 4716235"/>
              <a:gd name="connsiteY3937" fmla="*/ 4187635 h 4596459"/>
              <a:gd name="connsiteX3938" fmla="*/ 3168487 w 4716235"/>
              <a:gd name="connsiteY3938" fmla="*/ 4183837 h 4596459"/>
              <a:gd name="connsiteX3939" fmla="*/ 3172287 w 4716235"/>
              <a:gd name="connsiteY3939" fmla="*/ 4180038 h 4596459"/>
              <a:gd name="connsiteX3940" fmla="*/ 3169148 w 4716235"/>
              <a:gd name="connsiteY3940" fmla="*/ 4176899 h 4596459"/>
              <a:gd name="connsiteX3941" fmla="*/ 3173029 w 4716235"/>
              <a:gd name="connsiteY3941" fmla="*/ 4173018 h 4596459"/>
              <a:gd name="connsiteX3942" fmla="*/ 3170303 w 4716235"/>
              <a:gd name="connsiteY3942" fmla="*/ 4170292 h 4596459"/>
              <a:gd name="connsiteX3943" fmla="*/ 3174269 w 4716235"/>
              <a:gd name="connsiteY3943" fmla="*/ 4166327 h 4596459"/>
              <a:gd name="connsiteX3944" fmla="*/ 3171791 w 4716235"/>
              <a:gd name="connsiteY3944" fmla="*/ 4163849 h 4596459"/>
              <a:gd name="connsiteX3945" fmla="*/ 3175837 w 4716235"/>
              <a:gd name="connsiteY3945" fmla="*/ 4159803 h 4596459"/>
              <a:gd name="connsiteX3946" fmla="*/ 3173442 w 4716235"/>
              <a:gd name="connsiteY3946" fmla="*/ 4157408 h 4596459"/>
              <a:gd name="connsiteX3947" fmla="*/ 3177902 w 4716235"/>
              <a:gd name="connsiteY3947" fmla="*/ 4152948 h 4596459"/>
              <a:gd name="connsiteX3948" fmla="*/ 3175424 w 4716235"/>
              <a:gd name="connsiteY3948" fmla="*/ 4150470 h 4596459"/>
              <a:gd name="connsiteX3949" fmla="*/ 3180132 w 4716235"/>
              <a:gd name="connsiteY3949" fmla="*/ 4145761 h 4596459"/>
              <a:gd name="connsiteX3950" fmla="*/ 3177241 w 4716235"/>
              <a:gd name="connsiteY3950" fmla="*/ 4142871 h 4596459"/>
              <a:gd name="connsiteX3951" fmla="*/ 3182444 w 4716235"/>
              <a:gd name="connsiteY3951" fmla="*/ 4137668 h 4596459"/>
              <a:gd name="connsiteX3952" fmla="*/ 3179059 w 4716235"/>
              <a:gd name="connsiteY3952" fmla="*/ 4134283 h 4596459"/>
              <a:gd name="connsiteX3953" fmla="*/ 3184674 w 4716235"/>
              <a:gd name="connsiteY3953" fmla="*/ 4128668 h 4596459"/>
              <a:gd name="connsiteX3954" fmla="*/ 3180379 w 4716235"/>
              <a:gd name="connsiteY3954" fmla="*/ 4124372 h 4596459"/>
              <a:gd name="connsiteX3955" fmla="*/ 3186738 w 4716235"/>
              <a:gd name="connsiteY3955" fmla="*/ 4118013 h 4596459"/>
              <a:gd name="connsiteX3956" fmla="*/ 3181371 w 4716235"/>
              <a:gd name="connsiteY3956" fmla="*/ 4112644 h 4596459"/>
              <a:gd name="connsiteX3957" fmla="*/ 3188391 w 4716235"/>
              <a:gd name="connsiteY3957" fmla="*/ 4105624 h 4596459"/>
              <a:gd name="connsiteX3958" fmla="*/ 3181535 w 4716235"/>
              <a:gd name="connsiteY3958" fmla="*/ 4098768 h 4596459"/>
              <a:gd name="connsiteX3959" fmla="*/ 3189464 w 4716235"/>
              <a:gd name="connsiteY3959" fmla="*/ 4090840 h 4596459"/>
              <a:gd name="connsiteX3960" fmla="*/ 3181041 w 4716235"/>
              <a:gd name="connsiteY3960" fmla="*/ 4082415 h 4596459"/>
              <a:gd name="connsiteX3961" fmla="*/ 3189795 w 4716235"/>
              <a:gd name="connsiteY3961" fmla="*/ 4073661 h 4596459"/>
              <a:gd name="connsiteX3962" fmla="*/ 3179224 w 4716235"/>
              <a:gd name="connsiteY3962" fmla="*/ 4063089 h 4596459"/>
              <a:gd name="connsiteX3963" fmla="*/ 3189960 w 4716235"/>
              <a:gd name="connsiteY3963" fmla="*/ 4052353 h 4596459"/>
              <a:gd name="connsiteX3964" fmla="*/ 422512 w 4716235"/>
              <a:gd name="connsiteY3964" fmla="*/ 4051196 h 4596459"/>
              <a:gd name="connsiteX3965" fmla="*/ 433250 w 4716235"/>
              <a:gd name="connsiteY3965" fmla="*/ 4061933 h 4596459"/>
              <a:gd name="connsiteX3966" fmla="*/ 422512 w 4716235"/>
              <a:gd name="connsiteY3966" fmla="*/ 4072669 h 4596459"/>
              <a:gd name="connsiteX3967" fmla="*/ 411775 w 4716235"/>
              <a:gd name="connsiteY3967" fmla="*/ 4061933 h 4596459"/>
              <a:gd name="connsiteX3968" fmla="*/ 422512 w 4716235"/>
              <a:gd name="connsiteY3968" fmla="*/ 4051196 h 4596459"/>
              <a:gd name="connsiteX3969" fmla="*/ 2968121 w 4716235"/>
              <a:gd name="connsiteY3969" fmla="*/ 4050700 h 4596459"/>
              <a:gd name="connsiteX3970" fmla="*/ 2978859 w 4716235"/>
              <a:gd name="connsiteY3970" fmla="*/ 4061437 h 4596459"/>
              <a:gd name="connsiteX3971" fmla="*/ 2968121 w 4716235"/>
              <a:gd name="connsiteY3971" fmla="*/ 4072173 h 4596459"/>
              <a:gd name="connsiteX3972" fmla="*/ 2957385 w 4716235"/>
              <a:gd name="connsiteY3972" fmla="*/ 4061437 h 4596459"/>
              <a:gd name="connsiteX3973" fmla="*/ 2968121 w 4716235"/>
              <a:gd name="connsiteY3973" fmla="*/ 4050700 h 4596459"/>
              <a:gd name="connsiteX3974" fmla="*/ 2832176 w 4716235"/>
              <a:gd name="connsiteY3974" fmla="*/ 4050040 h 4596459"/>
              <a:gd name="connsiteX3975" fmla="*/ 2842914 w 4716235"/>
              <a:gd name="connsiteY3975" fmla="*/ 4060776 h 4596459"/>
              <a:gd name="connsiteX3976" fmla="*/ 2832176 w 4716235"/>
              <a:gd name="connsiteY3976" fmla="*/ 4071514 h 4596459"/>
              <a:gd name="connsiteX3977" fmla="*/ 2821440 w 4716235"/>
              <a:gd name="connsiteY3977" fmla="*/ 4060776 h 4596459"/>
              <a:gd name="connsiteX3978" fmla="*/ 2832176 w 4716235"/>
              <a:gd name="connsiteY3978" fmla="*/ 4050040 h 4596459"/>
              <a:gd name="connsiteX3979" fmla="*/ 3485635 w 4716235"/>
              <a:gd name="connsiteY3979" fmla="*/ 4049545 h 4596459"/>
              <a:gd name="connsiteX3980" fmla="*/ 3491911 w 4716235"/>
              <a:gd name="connsiteY3980" fmla="*/ 4055823 h 4596459"/>
              <a:gd name="connsiteX3981" fmla="*/ 3485635 w 4716235"/>
              <a:gd name="connsiteY3981" fmla="*/ 4062099 h 4596459"/>
              <a:gd name="connsiteX3982" fmla="*/ 3479358 w 4716235"/>
              <a:gd name="connsiteY3982" fmla="*/ 4055823 h 4596459"/>
              <a:gd name="connsiteX3983" fmla="*/ 3485635 w 4716235"/>
              <a:gd name="connsiteY3983" fmla="*/ 4049545 h 4596459"/>
              <a:gd name="connsiteX3984" fmla="*/ 1286575 w 4716235"/>
              <a:gd name="connsiteY3984" fmla="*/ 4048553 h 4596459"/>
              <a:gd name="connsiteX3985" fmla="*/ 1297312 w 4716235"/>
              <a:gd name="connsiteY3985" fmla="*/ 4059290 h 4596459"/>
              <a:gd name="connsiteX3986" fmla="*/ 1286575 w 4716235"/>
              <a:gd name="connsiteY3986" fmla="*/ 4070026 h 4596459"/>
              <a:gd name="connsiteX3987" fmla="*/ 1275839 w 4716235"/>
              <a:gd name="connsiteY3987" fmla="*/ 4059290 h 4596459"/>
              <a:gd name="connsiteX3988" fmla="*/ 1286575 w 4716235"/>
              <a:gd name="connsiteY3988" fmla="*/ 4048553 h 4596459"/>
              <a:gd name="connsiteX3989" fmla="*/ 3085730 w 4716235"/>
              <a:gd name="connsiteY3989" fmla="*/ 4043268 h 4596459"/>
              <a:gd name="connsiteX3990" fmla="*/ 3096468 w 4716235"/>
              <a:gd name="connsiteY3990" fmla="*/ 4054004 h 4596459"/>
              <a:gd name="connsiteX3991" fmla="*/ 3085730 w 4716235"/>
              <a:gd name="connsiteY3991" fmla="*/ 4064742 h 4596459"/>
              <a:gd name="connsiteX3992" fmla="*/ 3074994 w 4716235"/>
              <a:gd name="connsiteY3992" fmla="*/ 4054004 h 4596459"/>
              <a:gd name="connsiteX3993" fmla="*/ 3085730 w 4716235"/>
              <a:gd name="connsiteY3993" fmla="*/ 4043268 h 4596459"/>
              <a:gd name="connsiteX3994" fmla="*/ 2676245 w 4716235"/>
              <a:gd name="connsiteY3994" fmla="*/ 4039138 h 4596459"/>
              <a:gd name="connsiteX3995" fmla="*/ 2686983 w 4716235"/>
              <a:gd name="connsiteY3995" fmla="*/ 4049875 h 4596459"/>
              <a:gd name="connsiteX3996" fmla="*/ 2676245 w 4716235"/>
              <a:gd name="connsiteY3996" fmla="*/ 4060613 h 4596459"/>
              <a:gd name="connsiteX3997" fmla="*/ 2665509 w 4716235"/>
              <a:gd name="connsiteY3997" fmla="*/ 4049875 h 4596459"/>
              <a:gd name="connsiteX3998" fmla="*/ 2676245 w 4716235"/>
              <a:gd name="connsiteY3998" fmla="*/ 4039138 h 4596459"/>
              <a:gd name="connsiteX3999" fmla="*/ 2353317 w 4716235"/>
              <a:gd name="connsiteY3999" fmla="*/ 4038313 h 4596459"/>
              <a:gd name="connsiteX4000" fmla="*/ 2364054 w 4716235"/>
              <a:gd name="connsiteY4000" fmla="*/ 4049049 h 4596459"/>
              <a:gd name="connsiteX4001" fmla="*/ 2353317 w 4716235"/>
              <a:gd name="connsiteY4001" fmla="*/ 4059786 h 4596459"/>
              <a:gd name="connsiteX4002" fmla="*/ 2342581 w 4716235"/>
              <a:gd name="connsiteY4002" fmla="*/ 4049049 h 4596459"/>
              <a:gd name="connsiteX4003" fmla="*/ 2353317 w 4716235"/>
              <a:gd name="connsiteY4003" fmla="*/ 4038313 h 4596459"/>
              <a:gd name="connsiteX4004" fmla="*/ 673091 w 4716235"/>
              <a:gd name="connsiteY4004" fmla="*/ 4033688 h 4596459"/>
              <a:gd name="connsiteX4005" fmla="*/ 683829 w 4716235"/>
              <a:gd name="connsiteY4005" fmla="*/ 4044424 h 4596459"/>
              <a:gd name="connsiteX4006" fmla="*/ 673091 w 4716235"/>
              <a:gd name="connsiteY4006" fmla="*/ 4055161 h 4596459"/>
              <a:gd name="connsiteX4007" fmla="*/ 662355 w 4716235"/>
              <a:gd name="connsiteY4007" fmla="*/ 4044424 h 4596459"/>
              <a:gd name="connsiteX4008" fmla="*/ 673091 w 4716235"/>
              <a:gd name="connsiteY4008" fmla="*/ 4033688 h 4596459"/>
              <a:gd name="connsiteX4009" fmla="*/ 331002 w 4716235"/>
              <a:gd name="connsiteY4009" fmla="*/ 4033192 h 4596459"/>
              <a:gd name="connsiteX4010" fmla="*/ 341740 w 4716235"/>
              <a:gd name="connsiteY4010" fmla="*/ 4043928 h 4596459"/>
              <a:gd name="connsiteX4011" fmla="*/ 331827 w 4716235"/>
              <a:gd name="connsiteY4011" fmla="*/ 4053841 h 4596459"/>
              <a:gd name="connsiteX4012" fmla="*/ 341573 w 4716235"/>
              <a:gd name="connsiteY4012" fmla="*/ 4063585 h 4596459"/>
              <a:gd name="connsiteX4013" fmla="*/ 333645 w 4716235"/>
              <a:gd name="connsiteY4013" fmla="*/ 4071514 h 4596459"/>
              <a:gd name="connsiteX4014" fmla="*/ 342401 w 4716235"/>
              <a:gd name="connsiteY4014" fmla="*/ 4080268 h 4596459"/>
              <a:gd name="connsiteX4015" fmla="*/ 336123 w 4716235"/>
              <a:gd name="connsiteY4015" fmla="*/ 4086546 h 4596459"/>
              <a:gd name="connsiteX4016" fmla="*/ 344052 w 4716235"/>
              <a:gd name="connsiteY4016" fmla="*/ 4094473 h 4596459"/>
              <a:gd name="connsiteX4017" fmla="*/ 339177 w 4716235"/>
              <a:gd name="connsiteY4017" fmla="*/ 4099346 h 4596459"/>
              <a:gd name="connsiteX4018" fmla="*/ 346365 w 4716235"/>
              <a:gd name="connsiteY4018" fmla="*/ 4106532 h 4596459"/>
              <a:gd name="connsiteX4019" fmla="*/ 342401 w 4716235"/>
              <a:gd name="connsiteY4019" fmla="*/ 4110497 h 4596459"/>
              <a:gd name="connsiteX4020" fmla="*/ 348841 w 4716235"/>
              <a:gd name="connsiteY4020" fmla="*/ 4116938 h 4596459"/>
              <a:gd name="connsiteX4021" fmla="*/ 345703 w 4716235"/>
              <a:gd name="connsiteY4021" fmla="*/ 4120076 h 4596459"/>
              <a:gd name="connsiteX4022" fmla="*/ 351651 w 4716235"/>
              <a:gd name="connsiteY4022" fmla="*/ 4126023 h 4596459"/>
              <a:gd name="connsiteX4023" fmla="*/ 349089 w 4716235"/>
              <a:gd name="connsiteY4023" fmla="*/ 4128584 h 4596459"/>
              <a:gd name="connsiteX4024" fmla="*/ 354623 w 4716235"/>
              <a:gd name="connsiteY4024" fmla="*/ 4134116 h 4596459"/>
              <a:gd name="connsiteX4025" fmla="*/ 352310 w 4716235"/>
              <a:gd name="connsiteY4025" fmla="*/ 4136430 h 4596459"/>
              <a:gd name="connsiteX4026" fmla="*/ 357431 w 4716235"/>
              <a:gd name="connsiteY4026" fmla="*/ 4141551 h 4596459"/>
              <a:gd name="connsiteX4027" fmla="*/ 355201 w 4716235"/>
              <a:gd name="connsiteY4027" fmla="*/ 4143781 h 4596459"/>
              <a:gd name="connsiteX4028" fmla="*/ 359909 w 4716235"/>
              <a:gd name="connsiteY4028" fmla="*/ 4148488 h 4596459"/>
              <a:gd name="connsiteX4029" fmla="*/ 357596 w 4716235"/>
              <a:gd name="connsiteY4029" fmla="*/ 4150801 h 4596459"/>
              <a:gd name="connsiteX4030" fmla="*/ 362222 w 4716235"/>
              <a:gd name="connsiteY4030" fmla="*/ 4155426 h 4596459"/>
              <a:gd name="connsiteX4031" fmla="*/ 359496 w 4716235"/>
              <a:gd name="connsiteY4031" fmla="*/ 4158152 h 4596459"/>
              <a:gd name="connsiteX4032" fmla="*/ 364038 w 4716235"/>
              <a:gd name="connsiteY4032" fmla="*/ 4162694 h 4596459"/>
              <a:gd name="connsiteX4033" fmla="*/ 360899 w 4716235"/>
              <a:gd name="connsiteY4033" fmla="*/ 4165833 h 4596459"/>
              <a:gd name="connsiteX4034" fmla="*/ 365195 w 4716235"/>
              <a:gd name="connsiteY4034" fmla="*/ 4170127 h 4596459"/>
              <a:gd name="connsiteX4035" fmla="*/ 361395 w 4716235"/>
              <a:gd name="connsiteY4035" fmla="*/ 4173926 h 4596459"/>
              <a:gd name="connsiteX4036" fmla="*/ 365855 w 4716235"/>
              <a:gd name="connsiteY4036" fmla="*/ 4178385 h 4596459"/>
              <a:gd name="connsiteX4037" fmla="*/ 361312 w 4716235"/>
              <a:gd name="connsiteY4037" fmla="*/ 4182929 h 4596459"/>
              <a:gd name="connsiteX4038" fmla="*/ 365689 w 4716235"/>
              <a:gd name="connsiteY4038" fmla="*/ 4187306 h 4596459"/>
              <a:gd name="connsiteX4039" fmla="*/ 360403 w 4716235"/>
              <a:gd name="connsiteY4039" fmla="*/ 4192591 h 4596459"/>
              <a:gd name="connsiteX4040" fmla="*/ 364865 w 4716235"/>
              <a:gd name="connsiteY4040" fmla="*/ 4197052 h 4596459"/>
              <a:gd name="connsiteX4041" fmla="*/ 354127 w 4716235"/>
              <a:gd name="connsiteY4041" fmla="*/ 4207788 h 4596459"/>
              <a:gd name="connsiteX4042" fmla="*/ 343391 w 4716235"/>
              <a:gd name="connsiteY4042" fmla="*/ 4197052 h 4596459"/>
              <a:gd name="connsiteX4043" fmla="*/ 348677 w 4716235"/>
              <a:gd name="connsiteY4043" fmla="*/ 4191766 h 4596459"/>
              <a:gd name="connsiteX4044" fmla="*/ 344216 w 4716235"/>
              <a:gd name="connsiteY4044" fmla="*/ 4187306 h 4596459"/>
              <a:gd name="connsiteX4045" fmla="*/ 348758 w 4716235"/>
              <a:gd name="connsiteY4045" fmla="*/ 4182764 h 4596459"/>
              <a:gd name="connsiteX4046" fmla="*/ 344381 w 4716235"/>
              <a:gd name="connsiteY4046" fmla="*/ 4178385 h 4596459"/>
              <a:gd name="connsiteX4047" fmla="*/ 348179 w 4716235"/>
              <a:gd name="connsiteY4047" fmla="*/ 4174587 h 4596459"/>
              <a:gd name="connsiteX4048" fmla="*/ 343720 w 4716235"/>
              <a:gd name="connsiteY4048" fmla="*/ 4170127 h 4596459"/>
              <a:gd name="connsiteX4049" fmla="*/ 346859 w 4716235"/>
              <a:gd name="connsiteY4049" fmla="*/ 4166990 h 4596459"/>
              <a:gd name="connsiteX4050" fmla="*/ 342564 w 4716235"/>
              <a:gd name="connsiteY4050" fmla="*/ 4162694 h 4596459"/>
              <a:gd name="connsiteX4051" fmla="*/ 345290 w 4716235"/>
              <a:gd name="connsiteY4051" fmla="*/ 4159968 h 4596459"/>
              <a:gd name="connsiteX4052" fmla="*/ 340748 w 4716235"/>
              <a:gd name="connsiteY4052" fmla="*/ 4155426 h 4596459"/>
              <a:gd name="connsiteX4053" fmla="*/ 343060 w 4716235"/>
              <a:gd name="connsiteY4053" fmla="*/ 4153114 h 4596459"/>
              <a:gd name="connsiteX4054" fmla="*/ 338435 w 4716235"/>
              <a:gd name="connsiteY4054" fmla="*/ 4148488 h 4596459"/>
              <a:gd name="connsiteX4055" fmla="*/ 340665 w 4716235"/>
              <a:gd name="connsiteY4055" fmla="*/ 4146257 h 4596459"/>
              <a:gd name="connsiteX4056" fmla="*/ 335958 w 4716235"/>
              <a:gd name="connsiteY4056" fmla="*/ 4141551 h 4596459"/>
              <a:gd name="connsiteX4057" fmla="*/ 338270 w 4716235"/>
              <a:gd name="connsiteY4057" fmla="*/ 4139239 h 4596459"/>
              <a:gd name="connsiteX4058" fmla="*/ 333149 w 4716235"/>
              <a:gd name="connsiteY4058" fmla="*/ 4134116 h 4596459"/>
              <a:gd name="connsiteX4059" fmla="*/ 335710 w 4716235"/>
              <a:gd name="connsiteY4059" fmla="*/ 4131557 h 4596459"/>
              <a:gd name="connsiteX4060" fmla="*/ 330176 w 4716235"/>
              <a:gd name="connsiteY4060" fmla="*/ 4126023 h 4596459"/>
              <a:gd name="connsiteX4061" fmla="*/ 333313 w 4716235"/>
              <a:gd name="connsiteY4061" fmla="*/ 4122886 h 4596459"/>
              <a:gd name="connsiteX4062" fmla="*/ 327367 w 4716235"/>
              <a:gd name="connsiteY4062" fmla="*/ 4116938 h 4596459"/>
              <a:gd name="connsiteX4063" fmla="*/ 331331 w 4716235"/>
              <a:gd name="connsiteY4063" fmla="*/ 4112973 h 4596459"/>
              <a:gd name="connsiteX4064" fmla="*/ 324891 w 4716235"/>
              <a:gd name="connsiteY4064" fmla="*/ 4106532 h 4596459"/>
              <a:gd name="connsiteX4065" fmla="*/ 329764 w 4716235"/>
              <a:gd name="connsiteY4065" fmla="*/ 4101659 h 4596459"/>
              <a:gd name="connsiteX4066" fmla="*/ 322577 w 4716235"/>
              <a:gd name="connsiteY4066" fmla="*/ 4094473 h 4596459"/>
              <a:gd name="connsiteX4067" fmla="*/ 328853 w 4716235"/>
              <a:gd name="connsiteY4067" fmla="*/ 4088197 h 4596459"/>
              <a:gd name="connsiteX4068" fmla="*/ 320926 w 4716235"/>
              <a:gd name="connsiteY4068" fmla="*/ 4080268 h 4596459"/>
              <a:gd name="connsiteX4069" fmla="*/ 328855 w 4716235"/>
              <a:gd name="connsiteY4069" fmla="*/ 4072341 h 4596459"/>
              <a:gd name="connsiteX4070" fmla="*/ 320099 w 4716235"/>
              <a:gd name="connsiteY4070" fmla="*/ 4063585 h 4596459"/>
              <a:gd name="connsiteX4071" fmla="*/ 330012 w 4716235"/>
              <a:gd name="connsiteY4071" fmla="*/ 4053674 h 4596459"/>
              <a:gd name="connsiteX4072" fmla="*/ 320265 w 4716235"/>
              <a:gd name="connsiteY4072" fmla="*/ 4043928 h 4596459"/>
              <a:gd name="connsiteX4073" fmla="*/ 331002 w 4716235"/>
              <a:gd name="connsiteY4073" fmla="*/ 4033192 h 4596459"/>
              <a:gd name="connsiteX4074" fmla="*/ 542103 w 4716235"/>
              <a:gd name="connsiteY4074" fmla="*/ 4032861 h 4596459"/>
              <a:gd name="connsiteX4075" fmla="*/ 552841 w 4716235"/>
              <a:gd name="connsiteY4075" fmla="*/ 4043597 h 4596459"/>
              <a:gd name="connsiteX4076" fmla="*/ 542103 w 4716235"/>
              <a:gd name="connsiteY4076" fmla="*/ 4054335 h 4596459"/>
              <a:gd name="connsiteX4077" fmla="*/ 531366 w 4716235"/>
              <a:gd name="connsiteY4077" fmla="*/ 4043597 h 4596459"/>
              <a:gd name="connsiteX4078" fmla="*/ 542103 w 4716235"/>
              <a:gd name="connsiteY4078" fmla="*/ 4032861 h 4596459"/>
              <a:gd name="connsiteX4079" fmla="*/ 95123 w 4716235"/>
              <a:gd name="connsiteY4079" fmla="*/ 4032365 h 4596459"/>
              <a:gd name="connsiteX4080" fmla="*/ 99417 w 4716235"/>
              <a:gd name="connsiteY4080" fmla="*/ 4036660 h 4596459"/>
              <a:gd name="connsiteX4081" fmla="*/ 95123 w 4716235"/>
              <a:gd name="connsiteY4081" fmla="*/ 4040954 h 4596459"/>
              <a:gd name="connsiteX4082" fmla="*/ 90827 w 4716235"/>
              <a:gd name="connsiteY4082" fmla="*/ 4036660 h 4596459"/>
              <a:gd name="connsiteX4083" fmla="*/ 95123 w 4716235"/>
              <a:gd name="connsiteY4083" fmla="*/ 4032365 h 4596459"/>
              <a:gd name="connsiteX4084" fmla="*/ 3272219 w 4716235"/>
              <a:gd name="connsiteY4084" fmla="*/ 4030878 h 4596459"/>
              <a:gd name="connsiteX4085" fmla="*/ 3282958 w 4716235"/>
              <a:gd name="connsiteY4085" fmla="*/ 4041615 h 4596459"/>
              <a:gd name="connsiteX4086" fmla="*/ 3273211 w 4716235"/>
              <a:gd name="connsiteY4086" fmla="*/ 4051361 h 4596459"/>
              <a:gd name="connsiteX4087" fmla="*/ 3280479 w 4716235"/>
              <a:gd name="connsiteY4087" fmla="*/ 4058629 h 4596459"/>
              <a:gd name="connsiteX4088" fmla="*/ 3271560 w 4716235"/>
              <a:gd name="connsiteY4088" fmla="*/ 4067550 h 4596459"/>
              <a:gd name="connsiteX4089" fmla="*/ 3277340 w 4716235"/>
              <a:gd name="connsiteY4089" fmla="*/ 4073330 h 4596459"/>
              <a:gd name="connsiteX4090" fmla="*/ 3269247 w 4716235"/>
              <a:gd name="connsiteY4090" fmla="*/ 4081425 h 4596459"/>
              <a:gd name="connsiteX4091" fmla="*/ 3273706 w 4716235"/>
              <a:gd name="connsiteY4091" fmla="*/ 4085883 h 4596459"/>
              <a:gd name="connsiteX4092" fmla="*/ 3266273 w 4716235"/>
              <a:gd name="connsiteY4092" fmla="*/ 4093318 h 4596459"/>
              <a:gd name="connsiteX4093" fmla="*/ 3269741 w 4716235"/>
              <a:gd name="connsiteY4093" fmla="*/ 4096786 h 4596459"/>
              <a:gd name="connsiteX4094" fmla="*/ 3262971 w 4716235"/>
              <a:gd name="connsiteY4094" fmla="*/ 4103558 h 4596459"/>
              <a:gd name="connsiteX4095" fmla="*/ 3265779 w 4716235"/>
              <a:gd name="connsiteY4095" fmla="*/ 4106366 h 4596459"/>
              <a:gd name="connsiteX4096" fmla="*/ 3259501 w 4716235"/>
              <a:gd name="connsiteY4096" fmla="*/ 4112644 h 4596459"/>
              <a:gd name="connsiteX4097" fmla="*/ 3261813 w 4716235"/>
              <a:gd name="connsiteY4097" fmla="*/ 4114955 h 4596459"/>
              <a:gd name="connsiteX4098" fmla="*/ 3255866 w 4716235"/>
              <a:gd name="connsiteY4098" fmla="*/ 4120904 h 4596459"/>
              <a:gd name="connsiteX4099" fmla="*/ 3258015 w 4716235"/>
              <a:gd name="connsiteY4099" fmla="*/ 4123051 h 4596459"/>
              <a:gd name="connsiteX4100" fmla="*/ 3252481 w 4716235"/>
              <a:gd name="connsiteY4100" fmla="*/ 4128584 h 4596459"/>
              <a:gd name="connsiteX4101" fmla="*/ 3254546 w 4716235"/>
              <a:gd name="connsiteY4101" fmla="*/ 4130648 h 4596459"/>
              <a:gd name="connsiteX4102" fmla="*/ 3249177 w 4716235"/>
              <a:gd name="connsiteY4102" fmla="*/ 4136017 h 4596459"/>
              <a:gd name="connsiteX4103" fmla="*/ 3251572 w 4716235"/>
              <a:gd name="connsiteY4103" fmla="*/ 4138412 h 4596459"/>
              <a:gd name="connsiteX4104" fmla="*/ 3246451 w 4716235"/>
              <a:gd name="connsiteY4104" fmla="*/ 4143533 h 4596459"/>
              <a:gd name="connsiteX4105" fmla="*/ 3249094 w 4716235"/>
              <a:gd name="connsiteY4105" fmla="*/ 4146176 h 4596459"/>
              <a:gd name="connsiteX4106" fmla="*/ 3244056 w 4716235"/>
              <a:gd name="connsiteY4106" fmla="*/ 4151214 h 4596459"/>
              <a:gd name="connsiteX4107" fmla="*/ 3247112 w 4716235"/>
              <a:gd name="connsiteY4107" fmla="*/ 4154269 h 4596459"/>
              <a:gd name="connsiteX4108" fmla="*/ 3242074 w 4716235"/>
              <a:gd name="connsiteY4108" fmla="*/ 4159307 h 4596459"/>
              <a:gd name="connsiteX4109" fmla="*/ 3245955 w 4716235"/>
              <a:gd name="connsiteY4109" fmla="*/ 4163188 h 4596459"/>
              <a:gd name="connsiteX4110" fmla="*/ 3240917 w 4716235"/>
              <a:gd name="connsiteY4110" fmla="*/ 4168226 h 4596459"/>
              <a:gd name="connsiteX4111" fmla="*/ 3245461 w 4716235"/>
              <a:gd name="connsiteY4111" fmla="*/ 4172770 h 4596459"/>
              <a:gd name="connsiteX4112" fmla="*/ 3240423 w 4716235"/>
              <a:gd name="connsiteY4112" fmla="*/ 4177809 h 4596459"/>
              <a:gd name="connsiteX4113" fmla="*/ 3245955 w 4716235"/>
              <a:gd name="connsiteY4113" fmla="*/ 4183341 h 4596459"/>
              <a:gd name="connsiteX4114" fmla="*/ 3240753 w 4716235"/>
              <a:gd name="connsiteY4114" fmla="*/ 4188544 h 4596459"/>
              <a:gd name="connsiteX4115" fmla="*/ 3247278 w 4716235"/>
              <a:gd name="connsiteY4115" fmla="*/ 4195068 h 4596459"/>
              <a:gd name="connsiteX4116" fmla="*/ 3241497 w 4716235"/>
              <a:gd name="connsiteY4116" fmla="*/ 4200850 h 4596459"/>
              <a:gd name="connsiteX4117" fmla="*/ 3248598 w 4716235"/>
              <a:gd name="connsiteY4117" fmla="*/ 4207953 h 4596459"/>
              <a:gd name="connsiteX4118" fmla="*/ 3238854 w 4716235"/>
              <a:gd name="connsiteY4118" fmla="*/ 4217697 h 4596459"/>
              <a:gd name="connsiteX4119" fmla="*/ 3229108 w 4716235"/>
              <a:gd name="connsiteY4119" fmla="*/ 4207953 h 4596459"/>
              <a:gd name="connsiteX4120" fmla="*/ 3233899 w 4716235"/>
              <a:gd name="connsiteY4120" fmla="*/ 4203163 h 4596459"/>
              <a:gd name="connsiteX4121" fmla="*/ 3225804 w 4716235"/>
              <a:gd name="connsiteY4121" fmla="*/ 4195068 h 4596459"/>
              <a:gd name="connsiteX4122" fmla="*/ 3231006 w 4716235"/>
              <a:gd name="connsiteY4122" fmla="*/ 4189865 h 4596459"/>
              <a:gd name="connsiteX4123" fmla="*/ 3224482 w 4716235"/>
              <a:gd name="connsiteY4123" fmla="*/ 4183341 h 4596459"/>
              <a:gd name="connsiteX4124" fmla="*/ 3229520 w 4716235"/>
              <a:gd name="connsiteY4124" fmla="*/ 4178303 h 4596459"/>
              <a:gd name="connsiteX4125" fmla="*/ 3223988 w 4716235"/>
              <a:gd name="connsiteY4125" fmla="*/ 4172770 h 4596459"/>
              <a:gd name="connsiteX4126" fmla="*/ 3229026 w 4716235"/>
              <a:gd name="connsiteY4126" fmla="*/ 4167732 h 4596459"/>
              <a:gd name="connsiteX4127" fmla="*/ 3224482 w 4716235"/>
              <a:gd name="connsiteY4127" fmla="*/ 4163188 h 4596459"/>
              <a:gd name="connsiteX4128" fmla="*/ 3229520 w 4716235"/>
              <a:gd name="connsiteY4128" fmla="*/ 4158150 h 4596459"/>
              <a:gd name="connsiteX4129" fmla="*/ 3225639 w 4716235"/>
              <a:gd name="connsiteY4129" fmla="*/ 4154269 h 4596459"/>
              <a:gd name="connsiteX4130" fmla="*/ 3230677 w 4716235"/>
              <a:gd name="connsiteY4130" fmla="*/ 4149232 h 4596459"/>
              <a:gd name="connsiteX4131" fmla="*/ 3227621 w 4716235"/>
              <a:gd name="connsiteY4131" fmla="*/ 4146176 h 4596459"/>
              <a:gd name="connsiteX4132" fmla="*/ 3232742 w 4716235"/>
              <a:gd name="connsiteY4132" fmla="*/ 4141055 h 4596459"/>
              <a:gd name="connsiteX4133" fmla="*/ 3230099 w 4716235"/>
              <a:gd name="connsiteY4133" fmla="*/ 4138412 h 4596459"/>
              <a:gd name="connsiteX4134" fmla="*/ 3235467 w 4716235"/>
              <a:gd name="connsiteY4134" fmla="*/ 4133045 h 4596459"/>
              <a:gd name="connsiteX4135" fmla="*/ 3233072 w 4716235"/>
              <a:gd name="connsiteY4135" fmla="*/ 4130648 h 4596459"/>
              <a:gd name="connsiteX4136" fmla="*/ 3238606 w 4716235"/>
              <a:gd name="connsiteY4136" fmla="*/ 4125116 h 4596459"/>
              <a:gd name="connsiteX4137" fmla="*/ 3236540 w 4716235"/>
              <a:gd name="connsiteY4137" fmla="*/ 4123051 h 4596459"/>
              <a:gd name="connsiteX4138" fmla="*/ 3242487 w 4716235"/>
              <a:gd name="connsiteY4138" fmla="*/ 4117104 h 4596459"/>
              <a:gd name="connsiteX4139" fmla="*/ 3240340 w 4716235"/>
              <a:gd name="connsiteY4139" fmla="*/ 4114955 h 4596459"/>
              <a:gd name="connsiteX4140" fmla="*/ 3246616 w 4716235"/>
              <a:gd name="connsiteY4140" fmla="*/ 4108679 h 4596459"/>
              <a:gd name="connsiteX4141" fmla="*/ 3244304 w 4716235"/>
              <a:gd name="connsiteY4141" fmla="*/ 4106366 h 4596459"/>
              <a:gd name="connsiteX4142" fmla="*/ 3251076 w 4716235"/>
              <a:gd name="connsiteY4142" fmla="*/ 4099594 h 4596459"/>
              <a:gd name="connsiteX4143" fmla="*/ 3248269 w 4716235"/>
              <a:gd name="connsiteY4143" fmla="*/ 4096786 h 4596459"/>
              <a:gd name="connsiteX4144" fmla="*/ 3255701 w 4716235"/>
              <a:gd name="connsiteY4144" fmla="*/ 4089354 h 4596459"/>
              <a:gd name="connsiteX4145" fmla="*/ 3252233 w 4716235"/>
              <a:gd name="connsiteY4145" fmla="*/ 4085883 h 4596459"/>
              <a:gd name="connsiteX4146" fmla="*/ 3260326 w 4716235"/>
              <a:gd name="connsiteY4146" fmla="*/ 4077790 h 4596459"/>
              <a:gd name="connsiteX4147" fmla="*/ 3255868 w 4716235"/>
              <a:gd name="connsiteY4147" fmla="*/ 4073330 h 4596459"/>
              <a:gd name="connsiteX4148" fmla="*/ 3264787 w 4716235"/>
              <a:gd name="connsiteY4148" fmla="*/ 4064411 h 4596459"/>
              <a:gd name="connsiteX4149" fmla="*/ 3259007 w 4716235"/>
              <a:gd name="connsiteY4149" fmla="*/ 4058629 h 4596459"/>
              <a:gd name="connsiteX4150" fmla="*/ 3268751 w 4716235"/>
              <a:gd name="connsiteY4150" fmla="*/ 4048885 h 4596459"/>
              <a:gd name="connsiteX4151" fmla="*/ 3261483 w 4716235"/>
              <a:gd name="connsiteY4151" fmla="*/ 4041615 h 4596459"/>
              <a:gd name="connsiteX4152" fmla="*/ 3272219 w 4716235"/>
              <a:gd name="connsiteY4152" fmla="*/ 4030878 h 4596459"/>
              <a:gd name="connsiteX4153" fmla="*/ 3532216 w 4716235"/>
              <a:gd name="connsiteY4153" fmla="*/ 4030549 h 4596459"/>
              <a:gd name="connsiteX4154" fmla="*/ 3532710 w 4716235"/>
              <a:gd name="connsiteY4154" fmla="*/ 4031045 h 4596459"/>
              <a:gd name="connsiteX4155" fmla="*/ 3532216 w 4716235"/>
              <a:gd name="connsiteY4155" fmla="*/ 4031539 h 4596459"/>
              <a:gd name="connsiteX4156" fmla="*/ 3531720 w 4716235"/>
              <a:gd name="connsiteY4156" fmla="*/ 4031045 h 4596459"/>
              <a:gd name="connsiteX4157" fmla="*/ 3532216 w 4716235"/>
              <a:gd name="connsiteY4157" fmla="*/ 4030549 h 4596459"/>
              <a:gd name="connsiteX4158" fmla="*/ 3186986 w 4716235"/>
              <a:gd name="connsiteY4158" fmla="*/ 4029392 h 4596459"/>
              <a:gd name="connsiteX4159" fmla="*/ 3197724 w 4716235"/>
              <a:gd name="connsiteY4159" fmla="*/ 4040129 h 4596459"/>
              <a:gd name="connsiteX4160" fmla="*/ 3186986 w 4716235"/>
              <a:gd name="connsiteY4160" fmla="*/ 4050867 h 4596459"/>
              <a:gd name="connsiteX4161" fmla="*/ 3176250 w 4716235"/>
              <a:gd name="connsiteY4161" fmla="*/ 4040129 h 4596459"/>
              <a:gd name="connsiteX4162" fmla="*/ 3186986 w 4716235"/>
              <a:gd name="connsiteY4162" fmla="*/ 4029392 h 4596459"/>
              <a:gd name="connsiteX4163" fmla="*/ 256175 w 4716235"/>
              <a:gd name="connsiteY4163" fmla="*/ 4029063 h 4596459"/>
              <a:gd name="connsiteX4164" fmla="*/ 266913 w 4716235"/>
              <a:gd name="connsiteY4164" fmla="*/ 4039799 h 4596459"/>
              <a:gd name="connsiteX4165" fmla="*/ 261626 w 4716235"/>
              <a:gd name="connsiteY4165" fmla="*/ 4045085 h 4596459"/>
              <a:gd name="connsiteX4166" fmla="*/ 271372 w 4716235"/>
              <a:gd name="connsiteY4166" fmla="*/ 4054829 h 4596459"/>
              <a:gd name="connsiteX4167" fmla="*/ 267323 w 4716235"/>
              <a:gd name="connsiteY4167" fmla="*/ 4058877 h 4596459"/>
              <a:gd name="connsiteX4168" fmla="*/ 276162 w 4716235"/>
              <a:gd name="connsiteY4168" fmla="*/ 4067714 h 4596459"/>
              <a:gd name="connsiteX4169" fmla="*/ 272941 w 4716235"/>
              <a:gd name="connsiteY4169" fmla="*/ 4070935 h 4596459"/>
              <a:gd name="connsiteX4170" fmla="*/ 281118 w 4716235"/>
              <a:gd name="connsiteY4170" fmla="*/ 4079111 h 4596459"/>
              <a:gd name="connsiteX4171" fmla="*/ 278557 w 4716235"/>
              <a:gd name="connsiteY4171" fmla="*/ 4081673 h 4596459"/>
              <a:gd name="connsiteX4172" fmla="*/ 286072 w 4716235"/>
              <a:gd name="connsiteY4172" fmla="*/ 4089187 h 4596459"/>
              <a:gd name="connsiteX4173" fmla="*/ 283842 w 4716235"/>
              <a:gd name="connsiteY4173" fmla="*/ 4091417 h 4596459"/>
              <a:gd name="connsiteX4174" fmla="*/ 290864 w 4716235"/>
              <a:gd name="connsiteY4174" fmla="*/ 4098437 h 4596459"/>
              <a:gd name="connsiteX4175" fmla="*/ 288882 w 4716235"/>
              <a:gd name="connsiteY4175" fmla="*/ 4100421 h 4596459"/>
              <a:gd name="connsiteX4176" fmla="*/ 295487 w 4716235"/>
              <a:gd name="connsiteY4176" fmla="*/ 4107027 h 4596459"/>
              <a:gd name="connsiteX4177" fmla="*/ 293505 w 4716235"/>
              <a:gd name="connsiteY4177" fmla="*/ 4109011 h 4596459"/>
              <a:gd name="connsiteX4178" fmla="*/ 299616 w 4716235"/>
              <a:gd name="connsiteY4178" fmla="*/ 4115122 h 4596459"/>
              <a:gd name="connsiteX4179" fmla="*/ 297388 w 4716235"/>
              <a:gd name="connsiteY4179" fmla="*/ 4117352 h 4596459"/>
              <a:gd name="connsiteX4180" fmla="*/ 303418 w 4716235"/>
              <a:gd name="connsiteY4180" fmla="*/ 4123380 h 4596459"/>
              <a:gd name="connsiteX4181" fmla="*/ 300773 w 4716235"/>
              <a:gd name="connsiteY4181" fmla="*/ 4126025 h 4596459"/>
              <a:gd name="connsiteX4182" fmla="*/ 306555 w 4716235"/>
              <a:gd name="connsiteY4182" fmla="*/ 4131805 h 4596459"/>
              <a:gd name="connsiteX4183" fmla="*/ 303335 w 4716235"/>
              <a:gd name="connsiteY4183" fmla="*/ 4135027 h 4596459"/>
              <a:gd name="connsiteX4184" fmla="*/ 308867 w 4716235"/>
              <a:gd name="connsiteY4184" fmla="*/ 4140559 h 4596459"/>
              <a:gd name="connsiteX4185" fmla="*/ 305150 w 4716235"/>
              <a:gd name="connsiteY4185" fmla="*/ 4144275 h 4596459"/>
              <a:gd name="connsiteX4186" fmla="*/ 310684 w 4716235"/>
              <a:gd name="connsiteY4186" fmla="*/ 4149809 h 4596459"/>
              <a:gd name="connsiteX4187" fmla="*/ 305811 w 4716235"/>
              <a:gd name="connsiteY4187" fmla="*/ 4154682 h 4596459"/>
              <a:gd name="connsiteX4188" fmla="*/ 311345 w 4716235"/>
              <a:gd name="connsiteY4188" fmla="*/ 4160216 h 4596459"/>
              <a:gd name="connsiteX4189" fmla="*/ 303583 w 4716235"/>
              <a:gd name="connsiteY4189" fmla="*/ 4167978 h 4596459"/>
              <a:gd name="connsiteX4190" fmla="*/ 306886 w 4716235"/>
              <a:gd name="connsiteY4190" fmla="*/ 4171282 h 4596459"/>
              <a:gd name="connsiteX4191" fmla="*/ 300610 w 4716235"/>
              <a:gd name="connsiteY4191" fmla="*/ 4177559 h 4596459"/>
              <a:gd name="connsiteX4192" fmla="*/ 294333 w 4716235"/>
              <a:gd name="connsiteY4192" fmla="*/ 4171282 h 4596459"/>
              <a:gd name="connsiteX4193" fmla="*/ 297636 w 4716235"/>
              <a:gd name="connsiteY4193" fmla="*/ 4167980 h 4596459"/>
              <a:gd name="connsiteX4194" fmla="*/ 289872 w 4716235"/>
              <a:gd name="connsiteY4194" fmla="*/ 4160216 h 4596459"/>
              <a:gd name="connsiteX4195" fmla="*/ 294745 w 4716235"/>
              <a:gd name="connsiteY4195" fmla="*/ 4155343 h 4596459"/>
              <a:gd name="connsiteX4196" fmla="*/ 289211 w 4716235"/>
              <a:gd name="connsiteY4196" fmla="*/ 4149809 h 4596459"/>
              <a:gd name="connsiteX4197" fmla="*/ 292928 w 4716235"/>
              <a:gd name="connsiteY4197" fmla="*/ 4146093 h 4596459"/>
              <a:gd name="connsiteX4198" fmla="*/ 287394 w 4716235"/>
              <a:gd name="connsiteY4198" fmla="*/ 4140559 h 4596459"/>
              <a:gd name="connsiteX4199" fmla="*/ 290616 w 4716235"/>
              <a:gd name="connsiteY4199" fmla="*/ 4137338 h 4596459"/>
              <a:gd name="connsiteX4200" fmla="*/ 285082 w 4716235"/>
              <a:gd name="connsiteY4200" fmla="*/ 4131805 h 4596459"/>
              <a:gd name="connsiteX4201" fmla="*/ 287725 w 4716235"/>
              <a:gd name="connsiteY4201" fmla="*/ 4129162 h 4596459"/>
              <a:gd name="connsiteX4202" fmla="*/ 281944 w 4716235"/>
              <a:gd name="connsiteY4202" fmla="*/ 4123380 h 4596459"/>
              <a:gd name="connsiteX4203" fmla="*/ 284174 w 4716235"/>
              <a:gd name="connsiteY4203" fmla="*/ 4121152 h 4596459"/>
              <a:gd name="connsiteX4204" fmla="*/ 278144 w 4716235"/>
              <a:gd name="connsiteY4204" fmla="*/ 4115122 h 4596459"/>
              <a:gd name="connsiteX4205" fmla="*/ 280128 w 4716235"/>
              <a:gd name="connsiteY4205" fmla="*/ 4113140 h 4596459"/>
              <a:gd name="connsiteX4206" fmla="*/ 274015 w 4716235"/>
              <a:gd name="connsiteY4206" fmla="*/ 4107027 h 4596459"/>
              <a:gd name="connsiteX4207" fmla="*/ 275997 w 4716235"/>
              <a:gd name="connsiteY4207" fmla="*/ 4105046 h 4596459"/>
              <a:gd name="connsiteX4208" fmla="*/ 269390 w 4716235"/>
              <a:gd name="connsiteY4208" fmla="*/ 4098437 h 4596459"/>
              <a:gd name="connsiteX4209" fmla="*/ 271620 w 4716235"/>
              <a:gd name="connsiteY4209" fmla="*/ 4096209 h 4596459"/>
              <a:gd name="connsiteX4210" fmla="*/ 264600 w 4716235"/>
              <a:gd name="connsiteY4210" fmla="*/ 4089187 h 4596459"/>
              <a:gd name="connsiteX4211" fmla="*/ 267159 w 4716235"/>
              <a:gd name="connsiteY4211" fmla="*/ 4086627 h 4596459"/>
              <a:gd name="connsiteX4212" fmla="*/ 259643 w 4716235"/>
              <a:gd name="connsiteY4212" fmla="*/ 4079111 h 4596459"/>
              <a:gd name="connsiteX4213" fmla="*/ 262864 w 4716235"/>
              <a:gd name="connsiteY4213" fmla="*/ 4075891 h 4596459"/>
              <a:gd name="connsiteX4214" fmla="*/ 254687 w 4716235"/>
              <a:gd name="connsiteY4214" fmla="*/ 4067714 h 4596459"/>
              <a:gd name="connsiteX4215" fmla="*/ 258735 w 4716235"/>
              <a:gd name="connsiteY4215" fmla="*/ 4063667 h 4596459"/>
              <a:gd name="connsiteX4216" fmla="*/ 249897 w 4716235"/>
              <a:gd name="connsiteY4216" fmla="*/ 4054829 h 4596459"/>
              <a:gd name="connsiteX4217" fmla="*/ 255183 w 4716235"/>
              <a:gd name="connsiteY4217" fmla="*/ 4049544 h 4596459"/>
              <a:gd name="connsiteX4218" fmla="*/ 245439 w 4716235"/>
              <a:gd name="connsiteY4218" fmla="*/ 4039799 h 4596459"/>
              <a:gd name="connsiteX4219" fmla="*/ 256175 w 4716235"/>
              <a:gd name="connsiteY4219" fmla="*/ 4029063 h 4596459"/>
              <a:gd name="connsiteX4220" fmla="*/ 1139398 w 4716235"/>
              <a:gd name="connsiteY4220" fmla="*/ 4028400 h 4596459"/>
              <a:gd name="connsiteX4221" fmla="*/ 1150136 w 4716235"/>
              <a:gd name="connsiteY4221" fmla="*/ 4039137 h 4596459"/>
              <a:gd name="connsiteX4222" fmla="*/ 1139398 w 4716235"/>
              <a:gd name="connsiteY4222" fmla="*/ 4049875 h 4596459"/>
              <a:gd name="connsiteX4223" fmla="*/ 1128662 w 4716235"/>
              <a:gd name="connsiteY4223" fmla="*/ 4039137 h 4596459"/>
              <a:gd name="connsiteX4224" fmla="*/ 1139398 w 4716235"/>
              <a:gd name="connsiteY4224" fmla="*/ 4028400 h 4596459"/>
              <a:gd name="connsiteX4225" fmla="*/ 823903 w 4716235"/>
              <a:gd name="connsiteY4225" fmla="*/ 4024602 h 4596459"/>
              <a:gd name="connsiteX4226" fmla="*/ 834639 w 4716235"/>
              <a:gd name="connsiteY4226" fmla="*/ 4035339 h 4596459"/>
              <a:gd name="connsiteX4227" fmla="*/ 823903 w 4716235"/>
              <a:gd name="connsiteY4227" fmla="*/ 4046077 h 4596459"/>
              <a:gd name="connsiteX4228" fmla="*/ 813167 w 4716235"/>
              <a:gd name="connsiteY4228" fmla="*/ 4035339 h 4596459"/>
              <a:gd name="connsiteX4229" fmla="*/ 823903 w 4716235"/>
              <a:gd name="connsiteY4229" fmla="*/ 4024602 h 4596459"/>
              <a:gd name="connsiteX4230" fmla="*/ 429285 w 4716235"/>
              <a:gd name="connsiteY4230" fmla="*/ 4024438 h 4596459"/>
              <a:gd name="connsiteX4231" fmla="*/ 440022 w 4716235"/>
              <a:gd name="connsiteY4231" fmla="*/ 4035174 h 4596459"/>
              <a:gd name="connsiteX4232" fmla="*/ 429285 w 4716235"/>
              <a:gd name="connsiteY4232" fmla="*/ 4045910 h 4596459"/>
              <a:gd name="connsiteX4233" fmla="*/ 418549 w 4716235"/>
              <a:gd name="connsiteY4233" fmla="*/ 4035174 h 4596459"/>
              <a:gd name="connsiteX4234" fmla="*/ 429285 w 4716235"/>
              <a:gd name="connsiteY4234" fmla="*/ 4024438 h 4596459"/>
              <a:gd name="connsiteX4235" fmla="*/ 3337302 w 4716235"/>
              <a:gd name="connsiteY4235" fmla="*/ 4022456 h 4596459"/>
              <a:gd name="connsiteX4236" fmla="*/ 3348038 w 4716235"/>
              <a:gd name="connsiteY4236" fmla="*/ 4033192 h 4596459"/>
              <a:gd name="connsiteX4237" fmla="*/ 3338294 w 4716235"/>
              <a:gd name="connsiteY4237" fmla="*/ 4042938 h 4596459"/>
              <a:gd name="connsiteX4238" fmla="*/ 3342092 w 4716235"/>
              <a:gd name="connsiteY4238" fmla="*/ 4046736 h 4596459"/>
              <a:gd name="connsiteX4239" fmla="*/ 3333089 w 4716235"/>
              <a:gd name="connsiteY4239" fmla="*/ 4055740 h 4596459"/>
              <a:gd name="connsiteX4240" fmla="*/ 3335980 w 4716235"/>
              <a:gd name="connsiteY4240" fmla="*/ 4058629 h 4596459"/>
              <a:gd name="connsiteX4241" fmla="*/ 3327556 w 4716235"/>
              <a:gd name="connsiteY4241" fmla="*/ 4067054 h 4596459"/>
              <a:gd name="connsiteX4242" fmla="*/ 3329869 w 4716235"/>
              <a:gd name="connsiteY4242" fmla="*/ 4069365 h 4596459"/>
              <a:gd name="connsiteX4243" fmla="*/ 3322105 w 4716235"/>
              <a:gd name="connsiteY4243" fmla="*/ 4077129 h 4596459"/>
              <a:gd name="connsiteX4244" fmla="*/ 3324087 w 4716235"/>
              <a:gd name="connsiteY4244" fmla="*/ 4079111 h 4596459"/>
              <a:gd name="connsiteX4245" fmla="*/ 3316736 w 4716235"/>
              <a:gd name="connsiteY4245" fmla="*/ 4086463 h 4596459"/>
              <a:gd name="connsiteX4246" fmla="*/ 3318635 w 4716235"/>
              <a:gd name="connsiteY4246" fmla="*/ 4088362 h 4596459"/>
              <a:gd name="connsiteX4247" fmla="*/ 3311615 w 4716235"/>
              <a:gd name="connsiteY4247" fmla="*/ 4095382 h 4596459"/>
              <a:gd name="connsiteX4248" fmla="*/ 3313516 w 4716235"/>
              <a:gd name="connsiteY4248" fmla="*/ 4097281 h 4596459"/>
              <a:gd name="connsiteX4249" fmla="*/ 3306992 w 4716235"/>
              <a:gd name="connsiteY4249" fmla="*/ 4103806 h 4596459"/>
              <a:gd name="connsiteX4250" fmla="*/ 3309222 w 4716235"/>
              <a:gd name="connsiteY4250" fmla="*/ 4106036 h 4596459"/>
              <a:gd name="connsiteX4251" fmla="*/ 3302778 w 4716235"/>
              <a:gd name="connsiteY4251" fmla="*/ 4112479 h 4596459"/>
              <a:gd name="connsiteX4252" fmla="*/ 3305420 w 4716235"/>
              <a:gd name="connsiteY4252" fmla="*/ 4115122 h 4596459"/>
              <a:gd name="connsiteX4253" fmla="*/ 3299228 w 4716235"/>
              <a:gd name="connsiteY4253" fmla="*/ 4121315 h 4596459"/>
              <a:gd name="connsiteX4254" fmla="*/ 3302450 w 4716235"/>
              <a:gd name="connsiteY4254" fmla="*/ 4124537 h 4596459"/>
              <a:gd name="connsiteX4255" fmla="*/ 3296255 w 4716235"/>
              <a:gd name="connsiteY4255" fmla="*/ 4130731 h 4596459"/>
              <a:gd name="connsiteX4256" fmla="*/ 3300301 w 4716235"/>
              <a:gd name="connsiteY4256" fmla="*/ 4134777 h 4596459"/>
              <a:gd name="connsiteX4257" fmla="*/ 3294188 w 4716235"/>
              <a:gd name="connsiteY4257" fmla="*/ 4140890 h 4596459"/>
              <a:gd name="connsiteX4258" fmla="*/ 3298978 w 4716235"/>
              <a:gd name="connsiteY4258" fmla="*/ 4145680 h 4596459"/>
              <a:gd name="connsiteX4259" fmla="*/ 3292867 w 4716235"/>
              <a:gd name="connsiteY4259" fmla="*/ 4151791 h 4596459"/>
              <a:gd name="connsiteX4260" fmla="*/ 3298648 w 4716235"/>
              <a:gd name="connsiteY4260" fmla="*/ 4157573 h 4596459"/>
              <a:gd name="connsiteX4261" fmla="*/ 3292456 w 4716235"/>
              <a:gd name="connsiteY4261" fmla="*/ 4163767 h 4596459"/>
              <a:gd name="connsiteX4262" fmla="*/ 3299311 w 4716235"/>
              <a:gd name="connsiteY4262" fmla="*/ 4170621 h 4596459"/>
              <a:gd name="connsiteX4263" fmla="*/ 3288573 w 4716235"/>
              <a:gd name="connsiteY4263" fmla="*/ 4181359 h 4596459"/>
              <a:gd name="connsiteX4264" fmla="*/ 3277836 w 4716235"/>
              <a:gd name="connsiteY4264" fmla="*/ 4170621 h 4596459"/>
              <a:gd name="connsiteX4265" fmla="*/ 3284029 w 4716235"/>
              <a:gd name="connsiteY4265" fmla="*/ 4164428 h 4596459"/>
              <a:gd name="connsiteX4266" fmla="*/ 3277176 w 4716235"/>
              <a:gd name="connsiteY4266" fmla="*/ 4157573 h 4596459"/>
              <a:gd name="connsiteX4267" fmla="*/ 3283287 w 4716235"/>
              <a:gd name="connsiteY4267" fmla="*/ 4151462 h 4596459"/>
              <a:gd name="connsiteX4268" fmla="*/ 3277505 w 4716235"/>
              <a:gd name="connsiteY4268" fmla="*/ 4145680 h 4596459"/>
              <a:gd name="connsiteX4269" fmla="*/ 3283618 w 4716235"/>
              <a:gd name="connsiteY4269" fmla="*/ 4139567 h 4596459"/>
              <a:gd name="connsiteX4270" fmla="*/ 3278828 w 4716235"/>
              <a:gd name="connsiteY4270" fmla="*/ 4134777 h 4596459"/>
              <a:gd name="connsiteX4271" fmla="*/ 3285023 w 4716235"/>
              <a:gd name="connsiteY4271" fmla="*/ 4128584 h 4596459"/>
              <a:gd name="connsiteX4272" fmla="*/ 3280975 w 4716235"/>
              <a:gd name="connsiteY4272" fmla="*/ 4124537 h 4596459"/>
              <a:gd name="connsiteX4273" fmla="*/ 3287170 w 4716235"/>
              <a:gd name="connsiteY4273" fmla="*/ 4118344 h 4596459"/>
              <a:gd name="connsiteX4274" fmla="*/ 3283948 w 4716235"/>
              <a:gd name="connsiteY4274" fmla="*/ 4115122 h 4596459"/>
              <a:gd name="connsiteX4275" fmla="*/ 3290390 w 4716235"/>
              <a:gd name="connsiteY4275" fmla="*/ 4108679 h 4596459"/>
              <a:gd name="connsiteX4276" fmla="*/ 3287747 w 4716235"/>
              <a:gd name="connsiteY4276" fmla="*/ 4106036 h 4596459"/>
              <a:gd name="connsiteX4277" fmla="*/ 3294273 w 4716235"/>
              <a:gd name="connsiteY4277" fmla="*/ 4099511 h 4596459"/>
              <a:gd name="connsiteX4278" fmla="*/ 3292043 w 4716235"/>
              <a:gd name="connsiteY4278" fmla="*/ 4097281 h 4596459"/>
              <a:gd name="connsiteX4279" fmla="*/ 3299063 w 4716235"/>
              <a:gd name="connsiteY4279" fmla="*/ 4090262 h 4596459"/>
              <a:gd name="connsiteX4280" fmla="*/ 3297162 w 4716235"/>
              <a:gd name="connsiteY4280" fmla="*/ 4088362 h 4596459"/>
              <a:gd name="connsiteX4281" fmla="*/ 3304512 w 4716235"/>
              <a:gd name="connsiteY4281" fmla="*/ 4081012 h 4596459"/>
              <a:gd name="connsiteX4282" fmla="*/ 3302613 w 4716235"/>
              <a:gd name="connsiteY4282" fmla="*/ 4079111 h 4596459"/>
              <a:gd name="connsiteX4283" fmla="*/ 3310377 w 4716235"/>
              <a:gd name="connsiteY4283" fmla="*/ 4071347 h 4596459"/>
              <a:gd name="connsiteX4284" fmla="*/ 3308395 w 4716235"/>
              <a:gd name="connsiteY4284" fmla="*/ 4069365 h 4596459"/>
              <a:gd name="connsiteX4285" fmla="*/ 3316818 w 4716235"/>
              <a:gd name="connsiteY4285" fmla="*/ 4060942 h 4596459"/>
              <a:gd name="connsiteX4286" fmla="*/ 3314506 w 4716235"/>
              <a:gd name="connsiteY4286" fmla="*/ 4058629 h 4596459"/>
              <a:gd name="connsiteX4287" fmla="*/ 3323508 w 4716235"/>
              <a:gd name="connsiteY4287" fmla="*/ 4049627 h 4596459"/>
              <a:gd name="connsiteX4288" fmla="*/ 3320619 w 4716235"/>
              <a:gd name="connsiteY4288" fmla="*/ 4046736 h 4596459"/>
              <a:gd name="connsiteX4289" fmla="*/ 3330365 w 4716235"/>
              <a:gd name="connsiteY4289" fmla="*/ 4036991 h 4596459"/>
              <a:gd name="connsiteX4290" fmla="*/ 3326565 w 4716235"/>
              <a:gd name="connsiteY4290" fmla="*/ 4033192 h 4596459"/>
              <a:gd name="connsiteX4291" fmla="*/ 3337302 w 4716235"/>
              <a:gd name="connsiteY4291" fmla="*/ 4022456 h 4596459"/>
              <a:gd name="connsiteX4292" fmla="*/ 2498345 w 4716235"/>
              <a:gd name="connsiteY4292" fmla="*/ 4015517 h 4596459"/>
              <a:gd name="connsiteX4293" fmla="*/ 2509082 w 4716235"/>
              <a:gd name="connsiteY4293" fmla="*/ 4026253 h 4596459"/>
              <a:gd name="connsiteX4294" fmla="*/ 2498345 w 4716235"/>
              <a:gd name="connsiteY4294" fmla="*/ 4036990 h 4596459"/>
              <a:gd name="connsiteX4295" fmla="*/ 2487609 w 4716235"/>
              <a:gd name="connsiteY4295" fmla="*/ 4026253 h 4596459"/>
              <a:gd name="connsiteX4296" fmla="*/ 2498345 w 4716235"/>
              <a:gd name="connsiteY4296" fmla="*/ 4015517 h 4596459"/>
              <a:gd name="connsiteX4297" fmla="*/ 2949621 w 4716235"/>
              <a:gd name="connsiteY4297" fmla="*/ 4014031 h 4596459"/>
              <a:gd name="connsiteX4298" fmla="*/ 2960359 w 4716235"/>
              <a:gd name="connsiteY4298" fmla="*/ 4024767 h 4596459"/>
              <a:gd name="connsiteX4299" fmla="*/ 2949621 w 4716235"/>
              <a:gd name="connsiteY4299" fmla="*/ 4035504 h 4596459"/>
              <a:gd name="connsiteX4300" fmla="*/ 2938884 w 4716235"/>
              <a:gd name="connsiteY4300" fmla="*/ 4024767 h 4596459"/>
              <a:gd name="connsiteX4301" fmla="*/ 2949621 w 4716235"/>
              <a:gd name="connsiteY4301" fmla="*/ 4014031 h 4596459"/>
              <a:gd name="connsiteX4302" fmla="*/ 3074827 w 4716235"/>
              <a:gd name="connsiteY4302" fmla="*/ 4011882 h 4596459"/>
              <a:gd name="connsiteX4303" fmla="*/ 3085565 w 4716235"/>
              <a:gd name="connsiteY4303" fmla="*/ 4022619 h 4596459"/>
              <a:gd name="connsiteX4304" fmla="*/ 3074827 w 4716235"/>
              <a:gd name="connsiteY4304" fmla="*/ 4033357 h 4596459"/>
              <a:gd name="connsiteX4305" fmla="*/ 3064091 w 4716235"/>
              <a:gd name="connsiteY4305" fmla="*/ 4022619 h 4596459"/>
              <a:gd name="connsiteX4306" fmla="*/ 3074827 w 4716235"/>
              <a:gd name="connsiteY4306" fmla="*/ 4011882 h 4596459"/>
              <a:gd name="connsiteX4307" fmla="*/ 252211 w 4716235"/>
              <a:gd name="connsiteY4307" fmla="*/ 4011553 h 4596459"/>
              <a:gd name="connsiteX4308" fmla="*/ 262947 w 4716235"/>
              <a:gd name="connsiteY4308" fmla="*/ 4022289 h 4596459"/>
              <a:gd name="connsiteX4309" fmla="*/ 252211 w 4716235"/>
              <a:gd name="connsiteY4309" fmla="*/ 4033025 h 4596459"/>
              <a:gd name="connsiteX4310" fmla="*/ 241475 w 4716235"/>
              <a:gd name="connsiteY4310" fmla="*/ 4022289 h 4596459"/>
              <a:gd name="connsiteX4311" fmla="*/ 252211 w 4716235"/>
              <a:gd name="connsiteY4311" fmla="*/ 4011553 h 4596459"/>
              <a:gd name="connsiteX4312" fmla="*/ 3274037 w 4716235"/>
              <a:gd name="connsiteY4312" fmla="*/ 4010892 h 4596459"/>
              <a:gd name="connsiteX4313" fmla="*/ 3284773 w 4716235"/>
              <a:gd name="connsiteY4313" fmla="*/ 4021628 h 4596459"/>
              <a:gd name="connsiteX4314" fmla="*/ 3274037 w 4716235"/>
              <a:gd name="connsiteY4314" fmla="*/ 4032365 h 4596459"/>
              <a:gd name="connsiteX4315" fmla="*/ 3263300 w 4716235"/>
              <a:gd name="connsiteY4315" fmla="*/ 4021628 h 4596459"/>
              <a:gd name="connsiteX4316" fmla="*/ 3274037 w 4716235"/>
              <a:gd name="connsiteY4316" fmla="*/ 4010892 h 4596459"/>
              <a:gd name="connsiteX4317" fmla="*/ 332157 w 4716235"/>
              <a:gd name="connsiteY4317" fmla="*/ 4010067 h 4596459"/>
              <a:gd name="connsiteX4318" fmla="*/ 342895 w 4716235"/>
              <a:gd name="connsiteY4318" fmla="*/ 4020803 h 4596459"/>
              <a:gd name="connsiteX4319" fmla="*/ 332157 w 4716235"/>
              <a:gd name="connsiteY4319" fmla="*/ 4031539 h 4596459"/>
              <a:gd name="connsiteX4320" fmla="*/ 321421 w 4716235"/>
              <a:gd name="connsiteY4320" fmla="*/ 4020803 h 4596459"/>
              <a:gd name="connsiteX4321" fmla="*/ 332157 w 4716235"/>
              <a:gd name="connsiteY4321" fmla="*/ 4010067 h 4596459"/>
              <a:gd name="connsiteX4322" fmla="*/ 1823249 w 4716235"/>
              <a:gd name="connsiteY4322" fmla="*/ 4007588 h 4596459"/>
              <a:gd name="connsiteX4323" fmla="*/ 1833987 w 4716235"/>
              <a:gd name="connsiteY4323" fmla="*/ 4018325 h 4596459"/>
              <a:gd name="connsiteX4324" fmla="*/ 1823249 w 4716235"/>
              <a:gd name="connsiteY4324" fmla="*/ 4029063 h 4596459"/>
              <a:gd name="connsiteX4325" fmla="*/ 1812513 w 4716235"/>
              <a:gd name="connsiteY4325" fmla="*/ 4018325 h 4596459"/>
              <a:gd name="connsiteX4326" fmla="*/ 1823249 w 4716235"/>
              <a:gd name="connsiteY4326" fmla="*/ 4007588 h 4596459"/>
              <a:gd name="connsiteX4327" fmla="*/ 3343248 w 4716235"/>
              <a:gd name="connsiteY4327" fmla="*/ 4006928 h 4596459"/>
              <a:gd name="connsiteX4328" fmla="*/ 3353985 w 4716235"/>
              <a:gd name="connsiteY4328" fmla="*/ 4017664 h 4596459"/>
              <a:gd name="connsiteX4329" fmla="*/ 3343248 w 4716235"/>
              <a:gd name="connsiteY4329" fmla="*/ 4028400 h 4596459"/>
              <a:gd name="connsiteX4330" fmla="*/ 3332512 w 4716235"/>
              <a:gd name="connsiteY4330" fmla="*/ 4017664 h 4596459"/>
              <a:gd name="connsiteX4331" fmla="*/ 3343248 w 4716235"/>
              <a:gd name="connsiteY4331" fmla="*/ 4006928 h 4596459"/>
              <a:gd name="connsiteX4332" fmla="*/ 2804922 w 4716235"/>
              <a:gd name="connsiteY4332" fmla="*/ 4006928 h 4596459"/>
              <a:gd name="connsiteX4333" fmla="*/ 2815660 w 4716235"/>
              <a:gd name="connsiteY4333" fmla="*/ 4017664 h 4596459"/>
              <a:gd name="connsiteX4334" fmla="*/ 2804922 w 4716235"/>
              <a:gd name="connsiteY4334" fmla="*/ 4028400 h 4596459"/>
              <a:gd name="connsiteX4335" fmla="*/ 2794185 w 4716235"/>
              <a:gd name="connsiteY4335" fmla="*/ 4017664 h 4596459"/>
              <a:gd name="connsiteX4336" fmla="*/ 2804922 w 4716235"/>
              <a:gd name="connsiteY4336" fmla="*/ 4006928 h 4596459"/>
              <a:gd name="connsiteX4337" fmla="*/ 1662859 w 4716235"/>
              <a:gd name="connsiteY4337" fmla="*/ 4006102 h 4596459"/>
              <a:gd name="connsiteX4338" fmla="*/ 1673597 w 4716235"/>
              <a:gd name="connsiteY4338" fmla="*/ 4016839 h 4596459"/>
              <a:gd name="connsiteX4339" fmla="*/ 1662859 w 4716235"/>
              <a:gd name="connsiteY4339" fmla="*/ 4027577 h 4596459"/>
              <a:gd name="connsiteX4340" fmla="*/ 1652123 w 4716235"/>
              <a:gd name="connsiteY4340" fmla="*/ 4016839 h 4596459"/>
              <a:gd name="connsiteX4341" fmla="*/ 1662859 w 4716235"/>
              <a:gd name="connsiteY4341" fmla="*/ 4006102 h 4596459"/>
              <a:gd name="connsiteX4342" fmla="*/ 191424 w 4716235"/>
              <a:gd name="connsiteY4342" fmla="*/ 4003624 h 4596459"/>
              <a:gd name="connsiteX4343" fmla="*/ 202160 w 4716235"/>
              <a:gd name="connsiteY4343" fmla="*/ 4014360 h 4596459"/>
              <a:gd name="connsiteX4344" fmla="*/ 198692 w 4716235"/>
              <a:gd name="connsiteY4344" fmla="*/ 4017830 h 4596459"/>
              <a:gd name="connsiteX4345" fmla="*/ 209262 w 4716235"/>
              <a:gd name="connsiteY4345" fmla="*/ 4028400 h 4596459"/>
              <a:gd name="connsiteX4346" fmla="*/ 206619 w 4716235"/>
              <a:gd name="connsiteY4346" fmla="*/ 4031043 h 4596459"/>
              <a:gd name="connsiteX4347" fmla="*/ 216365 w 4716235"/>
              <a:gd name="connsiteY4347" fmla="*/ 4040789 h 4596459"/>
              <a:gd name="connsiteX4348" fmla="*/ 214218 w 4716235"/>
              <a:gd name="connsiteY4348" fmla="*/ 4042936 h 4596459"/>
              <a:gd name="connsiteX4349" fmla="*/ 223305 w 4716235"/>
              <a:gd name="connsiteY4349" fmla="*/ 4052022 h 4596459"/>
              <a:gd name="connsiteX4350" fmla="*/ 221488 w 4716235"/>
              <a:gd name="connsiteY4350" fmla="*/ 4053839 h 4596459"/>
              <a:gd name="connsiteX4351" fmla="*/ 229911 w 4716235"/>
              <a:gd name="connsiteY4351" fmla="*/ 4062262 h 4596459"/>
              <a:gd name="connsiteX4352" fmla="*/ 228177 w 4716235"/>
              <a:gd name="connsiteY4352" fmla="*/ 4063998 h 4596459"/>
              <a:gd name="connsiteX4353" fmla="*/ 236189 w 4716235"/>
              <a:gd name="connsiteY4353" fmla="*/ 4072008 h 4596459"/>
              <a:gd name="connsiteX4354" fmla="*/ 234207 w 4716235"/>
              <a:gd name="connsiteY4354" fmla="*/ 4073992 h 4596459"/>
              <a:gd name="connsiteX4355" fmla="*/ 241804 w 4716235"/>
              <a:gd name="connsiteY4355" fmla="*/ 4081590 h 4596459"/>
              <a:gd name="connsiteX4356" fmla="*/ 239574 w 4716235"/>
              <a:gd name="connsiteY4356" fmla="*/ 4083820 h 4596459"/>
              <a:gd name="connsiteX4357" fmla="*/ 246760 w 4716235"/>
              <a:gd name="connsiteY4357" fmla="*/ 4091004 h 4596459"/>
              <a:gd name="connsiteX4358" fmla="*/ 244034 w 4716235"/>
              <a:gd name="connsiteY4358" fmla="*/ 4093731 h 4596459"/>
              <a:gd name="connsiteX4359" fmla="*/ 251054 w 4716235"/>
              <a:gd name="connsiteY4359" fmla="*/ 4100751 h 4596459"/>
              <a:gd name="connsiteX4360" fmla="*/ 247750 w 4716235"/>
              <a:gd name="connsiteY4360" fmla="*/ 4104054 h 4596459"/>
              <a:gd name="connsiteX4361" fmla="*/ 254524 w 4716235"/>
              <a:gd name="connsiteY4361" fmla="*/ 4110826 h 4596459"/>
              <a:gd name="connsiteX4362" fmla="*/ 250477 w 4716235"/>
              <a:gd name="connsiteY4362" fmla="*/ 4114874 h 4596459"/>
              <a:gd name="connsiteX4363" fmla="*/ 257165 w 4716235"/>
              <a:gd name="connsiteY4363" fmla="*/ 4121563 h 4596459"/>
              <a:gd name="connsiteX4364" fmla="*/ 252211 w 4716235"/>
              <a:gd name="connsiteY4364" fmla="*/ 4126519 h 4596459"/>
              <a:gd name="connsiteX4365" fmla="*/ 258653 w 4716235"/>
              <a:gd name="connsiteY4365" fmla="*/ 4132960 h 4596459"/>
              <a:gd name="connsiteX4366" fmla="*/ 247915 w 4716235"/>
              <a:gd name="connsiteY4366" fmla="*/ 4143698 h 4596459"/>
              <a:gd name="connsiteX4367" fmla="*/ 237179 w 4716235"/>
              <a:gd name="connsiteY4367" fmla="*/ 4132960 h 4596459"/>
              <a:gd name="connsiteX4368" fmla="*/ 242133 w 4716235"/>
              <a:gd name="connsiteY4368" fmla="*/ 4128005 h 4596459"/>
              <a:gd name="connsiteX4369" fmla="*/ 235693 w 4716235"/>
              <a:gd name="connsiteY4369" fmla="*/ 4121563 h 4596459"/>
              <a:gd name="connsiteX4370" fmla="*/ 239739 w 4716235"/>
              <a:gd name="connsiteY4370" fmla="*/ 4117517 h 4596459"/>
              <a:gd name="connsiteX4371" fmla="*/ 233050 w 4716235"/>
              <a:gd name="connsiteY4371" fmla="*/ 4110826 h 4596459"/>
              <a:gd name="connsiteX4372" fmla="*/ 236353 w 4716235"/>
              <a:gd name="connsiteY4372" fmla="*/ 4107523 h 4596459"/>
              <a:gd name="connsiteX4373" fmla="*/ 229581 w 4716235"/>
              <a:gd name="connsiteY4373" fmla="*/ 4100751 h 4596459"/>
              <a:gd name="connsiteX4374" fmla="*/ 232308 w 4716235"/>
              <a:gd name="connsiteY4374" fmla="*/ 4098026 h 4596459"/>
              <a:gd name="connsiteX4375" fmla="*/ 225286 w 4716235"/>
              <a:gd name="connsiteY4375" fmla="*/ 4091004 h 4596459"/>
              <a:gd name="connsiteX4376" fmla="*/ 227516 w 4716235"/>
              <a:gd name="connsiteY4376" fmla="*/ 4088774 h 4596459"/>
              <a:gd name="connsiteX4377" fmla="*/ 220331 w 4716235"/>
              <a:gd name="connsiteY4377" fmla="*/ 4081590 h 4596459"/>
              <a:gd name="connsiteX4378" fmla="*/ 222313 w 4716235"/>
              <a:gd name="connsiteY4378" fmla="*/ 4079609 h 4596459"/>
              <a:gd name="connsiteX4379" fmla="*/ 214714 w 4716235"/>
              <a:gd name="connsiteY4379" fmla="*/ 4072008 h 4596459"/>
              <a:gd name="connsiteX4380" fmla="*/ 216448 w 4716235"/>
              <a:gd name="connsiteY4380" fmla="*/ 4070274 h 4596459"/>
              <a:gd name="connsiteX4381" fmla="*/ 208438 w 4716235"/>
              <a:gd name="connsiteY4381" fmla="*/ 4062262 h 4596459"/>
              <a:gd name="connsiteX4382" fmla="*/ 210254 w 4716235"/>
              <a:gd name="connsiteY4382" fmla="*/ 4060446 h 4596459"/>
              <a:gd name="connsiteX4383" fmla="*/ 201831 w 4716235"/>
              <a:gd name="connsiteY4383" fmla="*/ 4052022 h 4596459"/>
              <a:gd name="connsiteX4384" fmla="*/ 203978 w 4716235"/>
              <a:gd name="connsiteY4384" fmla="*/ 4049875 h 4596459"/>
              <a:gd name="connsiteX4385" fmla="*/ 194892 w 4716235"/>
              <a:gd name="connsiteY4385" fmla="*/ 4040789 h 4596459"/>
              <a:gd name="connsiteX4386" fmla="*/ 197535 w 4716235"/>
              <a:gd name="connsiteY4386" fmla="*/ 4038146 h 4596459"/>
              <a:gd name="connsiteX4387" fmla="*/ 187789 w 4716235"/>
              <a:gd name="connsiteY4387" fmla="*/ 4028400 h 4596459"/>
              <a:gd name="connsiteX4388" fmla="*/ 191258 w 4716235"/>
              <a:gd name="connsiteY4388" fmla="*/ 4024932 h 4596459"/>
              <a:gd name="connsiteX4389" fmla="*/ 180688 w 4716235"/>
              <a:gd name="connsiteY4389" fmla="*/ 4014360 h 4596459"/>
              <a:gd name="connsiteX4390" fmla="*/ 191424 w 4716235"/>
              <a:gd name="connsiteY4390" fmla="*/ 4003624 h 4596459"/>
              <a:gd name="connsiteX4391" fmla="*/ 996352 w 4716235"/>
              <a:gd name="connsiteY4391" fmla="*/ 4003295 h 4596459"/>
              <a:gd name="connsiteX4392" fmla="*/ 1007090 w 4716235"/>
              <a:gd name="connsiteY4392" fmla="*/ 4014031 h 4596459"/>
              <a:gd name="connsiteX4393" fmla="*/ 996352 w 4716235"/>
              <a:gd name="connsiteY4393" fmla="*/ 4024767 h 4596459"/>
              <a:gd name="connsiteX4394" fmla="*/ 985616 w 4716235"/>
              <a:gd name="connsiteY4394" fmla="*/ 4014031 h 4596459"/>
              <a:gd name="connsiteX4395" fmla="*/ 996352 w 4716235"/>
              <a:gd name="connsiteY4395" fmla="*/ 4003295 h 4596459"/>
              <a:gd name="connsiteX4396" fmla="*/ 1983144 w 4716235"/>
              <a:gd name="connsiteY4396" fmla="*/ 4002963 h 4596459"/>
              <a:gd name="connsiteX4397" fmla="*/ 1993882 w 4716235"/>
              <a:gd name="connsiteY4397" fmla="*/ 4013700 h 4596459"/>
              <a:gd name="connsiteX4398" fmla="*/ 1983144 w 4716235"/>
              <a:gd name="connsiteY4398" fmla="*/ 4024438 h 4596459"/>
              <a:gd name="connsiteX4399" fmla="*/ 1972408 w 4716235"/>
              <a:gd name="connsiteY4399" fmla="*/ 4013700 h 4596459"/>
              <a:gd name="connsiteX4400" fmla="*/ 1983144 w 4716235"/>
              <a:gd name="connsiteY4400" fmla="*/ 4002963 h 4596459"/>
              <a:gd name="connsiteX4401" fmla="*/ 3182361 w 4716235"/>
              <a:gd name="connsiteY4401" fmla="*/ 4002467 h 4596459"/>
              <a:gd name="connsiteX4402" fmla="*/ 3193099 w 4716235"/>
              <a:gd name="connsiteY4402" fmla="*/ 4013204 h 4596459"/>
              <a:gd name="connsiteX4403" fmla="*/ 3182361 w 4716235"/>
              <a:gd name="connsiteY4403" fmla="*/ 4023942 h 4596459"/>
              <a:gd name="connsiteX4404" fmla="*/ 3171624 w 4716235"/>
              <a:gd name="connsiteY4404" fmla="*/ 4013204 h 4596459"/>
              <a:gd name="connsiteX4405" fmla="*/ 3182361 w 4716235"/>
              <a:gd name="connsiteY4405" fmla="*/ 4002467 h 4596459"/>
              <a:gd name="connsiteX4406" fmla="*/ 1503458 w 4716235"/>
              <a:gd name="connsiteY4406" fmla="*/ 3998999 h 4596459"/>
              <a:gd name="connsiteX4407" fmla="*/ 1514196 w 4716235"/>
              <a:gd name="connsiteY4407" fmla="*/ 4009735 h 4596459"/>
              <a:gd name="connsiteX4408" fmla="*/ 1503458 w 4716235"/>
              <a:gd name="connsiteY4408" fmla="*/ 4020472 h 4596459"/>
              <a:gd name="connsiteX4409" fmla="*/ 1492722 w 4716235"/>
              <a:gd name="connsiteY4409" fmla="*/ 4009735 h 4596459"/>
              <a:gd name="connsiteX4410" fmla="*/ 1503458 w 4716235"/>
              <a:gd name="connsiteY4410" fmla="*/ 3998999 h 4596459"/>
              <a:gd name="connsiteX4411" fmla="*/ 3396271 w 4716235"/>
              <a:gd name="connsiteY4411" fmla="*/ 3996356 h 4596459"/>
              <a:gd name="connsiteX4412" fmla="*/ 3407007 w 4716235"/>
              <a:gd name="connsiteY4412" fmla="*/ 4007092 h 4596459"/>
              <a:gd name="connsiteX4413" fmla="*/ 3396437 w 4716235"/>
              <a:gd name="connsiteY4413" fmla="*/ 4017664 h 4596459"/>
              <a:gd name="connsiteX4414" fmla="*/ 3398916 w 4716235"/>
              <a:gd name="connsiteY4414" fmla="*/ 4020142 h 4596459"/>
              <a:gd name="connsiteX4415" fmla="*/ 3389086 w 4716235"/>
              <a:gd name="connsiteY4415" fmla="*/ 4029970 h 4596459"/>
              <a:gd name="connsiteX4416" fmla="*/ 3390985 w 4716235"/>
              <a:gd name="connsiteY4416" fmla="*/ 4031869 h 4596459"/>
              <a:gd name="connsiteX4417" fmla="*/ 3381735 w 4716235"/>
              <a:gd name="connsiteY4417" fmla="*/ 4041121 h 4596459"/>
              <a:gd name="connsiteX4418" fmla="*/ 3383552 w 4716235"/>
              <a:gd name="connsiteY4418" fmla="*/ 4042936 h 4596459"/>
              <a:gd name="connsiteX4419" fmla="*/ 3374880 w 4716235"/>
              <a:gd name="connsiteY4419" fmla="*/ 4051609 h 4596459"/>
              <a:gd name="connsiteX4420" fmla="*/ 3376614 w 4716235"/>
              <a:gd name="connsiteY4420" fmla="*/ 4053343 h 4596459"/>
              <a:gd name="connsiteX4421" fmla="*/ 3368439 w 4716235"/>
              <a:gd name="connsiteY4421" fmla="*/ 4061520 h 4596459"/>
              <a:gd name="connsiteX4422" fmla="*/ 3370338 w 4716235"/>
              <a:gd name="connsiteY4422" fmla="*/ 4063419 h 4596459"/>
              <a:gd name="connsiteX4423" fmla="*/ 3362326 w 4716235"/>
              <a:gd name="connsiteY4423" fmla="*/ 4071431 h 4596459"/>
              <a:gd name="connsiteX4424" fmla="*/ 3364556 w 4716235"/>
              <a:gd name="connsiteY4424" fmla="*/ 4073661 h 4596459"/>
              <a:gd name="connsiteX4425" fmla="*/ 3356959 w 4716235"/>
              <a:gd name="connsiteY4425" fmla="*/ 4081260 h 4596459"/>
              <a:gd name="connsiteX4426" fmla="*/ 3359766 w 4716235"/>
              <a:gd name="connsiteY4426" fmla="*/ 4084066 h 4596459"/>
              <a:gd name="connsiteX4427" fmla="*/ 3352415 w 4716235"/>
              <a:gd name="connsiteY4427" fmla="*/ 4091417 h 4596459"/>
              <a:gd name="connsiteX4428" fmla="*/ 3355802 w 4716235"/>
              <a:gd name="connsiteY4428" fmla="*/ 4094804 h 4596459"/>
              <a:gd name="connsiteX4429" fmla="*/ 3348617 w 4716235"/>
              <a:gd name="connsiteY4429" fmla="*/ 4101991 h 4596459"/>
              <a:gd name="connsiteX4430" fmla="*/ 3352828 w 4716235"/>
              <a:gd name="connsiteY4430" fmla="*/ 4106201 h 4596459"/>
              <a:gd name="connsiteX4431" fmla="*/ 3345643 w 4716235"/>
              <a:gd name="connsiteY4431" fmla="*/ 4113388 h 4596459"/>
              <a:gd name="connsiteX4432" fmla="*/ 3350846 w 4716235"/>
              <a:gd name="connsiteY4432" fmla="*/ 4118590 h 4596459"/>
              <a:gd name="connsiteX4433" fmla="*/ 3343827 w 4716235"/>
              <a:gd name="connsiteY4433" fmla="*/ 4125610 h 4596459"/>
              <a:gd name="connsiteX4434" fmla="*/ 3350022 w 4716235"/>
              <a:gd name="connsiteY4434" fmla="*/ 4131805 h 4596459"/>
              <a:gd name="connsiteX4435" fmla="*/ 3342917 w 4716235"/>
              <a:gd name="connsiteY4435" fmla="*/ 4138908 h 4596459"/>
              <a:gd name="connsiteX4436" fmla="*/ 3350020 w 4716235"/>
              <a:gd name="connsiteY4436" fmla="*/ 4146011 h 4596459"/>
              <a:gd name="connsiteX4437" fmla="*/ 3339449 w 4716235"/>
              <a:gd name="connsiteY4437" fmla="*/ 4156583 h 4596459"/>
              <a:gd name="connsiteX4438" fmla="*/ 3328877 w 4716235"/>
              <a:gd name="connsiteY4438" fmla="*/ 4146011 h 4596459"/>
              <a:gd name="connsiteX4439" fmla="*/ 3335816 w 4716235"/>
              <a:gd name="connsiteY4439" fmla="*/ 4139073 h 4596459"/>
              <a:gd name="connsiteX4440" fmla="*/ 3328548 w 4716235"/>
              <a:gd name="connsiteY4440" fmla="*/ 4131805 h 4596459"/>
              <a:gd name="connsiteX4441" fmla="*/ 3335568 w 4716235"/>
              <a:gd name="connsiteY4441" fmla="*/ 4124786 h 4596459"/>
              <a:gd name="connsiteX4442" fmla="*/ 3329373 w 4716235"/>
              <a:gd name="connsiteY4442" fmla="*/ 4118590 h 4596459"/>
              <a:gd name="connsiteX4443" fmla="*/ 3336558 w 4716235"/>
              <a:gd name="connsiteY4443" fmla="*/ 4111405 h 4596459"/>
              <a:gd name="connsiteX4444" fmla="*/ 3331355 w 4716235"/>
              <a:gd name="connsiteY4444" fmla="*/ 4106201 h 4596459"/>
              <a:gd name="connsiteX4445" fmla="*/ 3338540 w 4716235"/>
              <a:gd name="connsiteY4445" fmla="*/ 4099016 h 4596459"/>
              <a:gd name="connsiteX4446" fmla="*/ 3334329 w 4716235"/>
              <a:gd name="connsiteY4446" fmla="*/ 4094804 h 4596459"/>
              <a:gd name="connsiteX4447" fmla="*/ 3341681 w 4716235"/>
              <a:gd name="connsiteY4447" fmla="*/ 4087455 h 4596459"/>
              <a:gd name="connsiteX4448" fmla="*/ 3338292 w 4716235"/>
              <a:gd name="connsiteY4448" fmla="*/ 4084066 h 4596459"/>
              <a:gd name="connsiteX4449" fmla="*/ 3345889 w 4716235"/>
              <a:gd name="connsiteY4449" fmla="*/ 4076469 h 4596459"/>
              <a:gd name="connsiteX4450" fmla="*/ 3343084 w 4716235"/>
              <a:gd name="connsiteY4450" fmla="*/ 4073661 h 4596459"/>
              <a:gd name="connsiteX4451" fmla="*/ 3351095 w 4716235"/>
              <a:gd name="connsiteY4451" fmla="*/ 4065649 h 4596459"/>
              <a:gd name="connsiteX4452" fmla="*/ 3348865 w 4716235"/>
              <a:gd name="connsiteY4452" fmla="*/ 4063419 h 4596459"/>
              <a:gd name="connsiteX4453" fmla="*/ 3357040 w 4716235"/>
              <a:gd name="connsiteY4453" fmla="*/ 4055244 h 4596459"/>
              <a:gd name="connsiteX4454" fmla="*/ 3355141 w 4716235"/>
              <a:gd name="connsiteY4454" fmla="*/ 4053343 h 4596459"/>
              <a:gd name="connsiteX4455" fmla="*/ 3363814 w 4716235"/>
              <a:gd name="connsiteY4455" fmla="*/ 4044672 h 4596459"/>
              <a:gd name="connsiteX4456" fmla="*/ 3362078 w 4716235"/>
              <a:gd name="connsiteY4456" fmla="*/ 4042936 h 4596459"/>
              <a:gd name="connsiteX4457" fmla="*/ 3371328 w 4716235"/>
              <a:gd name="connsiteY4457" fmla="*/ 4033686 h 4596459"/>
              <a:gd name="connsiteX4458" fmla="*/ 3369513 w 4716235"/>
              <a:gd name="connsiteY4458" fmla="*/ 4031869 h 4596459"/>
              <a:gd name="connsiteX4459" fmla="*/ 3379340 w 4716235"/>
              <a:gd name="connsiteY4459" fmla="*/ 4022041 h 4596459"/>
              <a:gd name="connsiteX4460" fmla="*/ 3377441 w 4716235"/>
              <a:gd name="connsiteY4460" fmla="*/ 4020142 h 4596459"/>
              <a:gd name="connsiteX4461" fmla="*/ 3388013 w 4716235"/>
              <a:gd name="connsiteY4461" fmla="*/ 4009571 h 4596459"/>
              <a:gd name="connsiteX4462" fmla="*/ 3385535 w 4716235"/>
              <a:gd name="connsiteY4462" fmla="*/ 4007092 h 4596459"/>
              <a:gd name="connsiteX4463" fmla="*/ 3396271 w 4716235"/>
              <a:gd name="connsiteY4463" fmla="*/ 3996356 h 4596459"/>
              <a:gd name="connsiteX4464" fmla="*/ 558125 w 4716235"/>
              <a:gd name="connsiteY4464" fmla="*/ 3996356 h 4596459"/>
              <a:gd name="connsiteX4465" fmla="*/ 568863 w 4716235"/>
              <a:gd name="connsiteY4465" fmla="*/ 4007092 h 4596459"/>
              <a:gd name="connsiteX4466" fmla="*/ 558125 w 4716235"/>
              <a:gd name="connsiteY4466" fmla="*/ 4017830 h 4596459"/>
              <a:gd name="connsiteX4467" fmla="*/ 547389 w 4716235"/>
              <a:gd name="connsiteY4467" fmla="*/ 4007092 h 4596459"/>
              <a:gd name="connsiteX4468" fmla="*/ 558125 w 4716235"/>
              <a:gd name="connsiteY4468" fmla="*/ 3996356 h 4596459"/>
              <a:gd name="connsiteX4469" fmla="*/ 438039 w 4716235"/>
              <a:gd name="connsiteY4469" fmla="*/ 3993052 h 4596459"/>
              <a:gd name="connsiteX4470" fmla="*/ 448776 w 4716235"/>
              <a:gd name="connsiteY4470" fmla="*/ 4003789 h 4596459"/>
              <a:gd name="connsiteX4471" fmla="*/ 438039 w 4716235"/>
              <a:gd name="connsiteY4471" fmla="*/ 4014525 h 4596459"/>
              <a:gd name="connsiteX4472" fmla="*/ 427303 w 4716235"/>
              <a:gd name="connsiteY4472" fmla="*/ 4003789 h 4596459"/>
              <a:gd name="connsiteX4473" fmla="*/ 438039 w 4716235"/>
              <a:gd name="connsiteY4473" fmla="*/ 3993052 h 4596459"/>
              <a:gd name="connsiteX4474" fmla="*/ 2141718 w 4716235"/>
              <a:gd name="connsiteY4474" fmla="*/ 3992721 h 4596459"/>
              <a:gd name="connsiteX4475" fmla="*/ 2152457 w 4716235"/>
              <a:gd name="connsiteY4475" fmla="*/ 4003458 h 4596459"/>
              <a:gd name="connsiteX4476" fmla="*/ 2141718 w 4716235"/>
              <a:gd name="connsiteY4476" fmla="*/ 4014196 h 4596459"/>
              <a:gd name="connsiteX4477" fmla="*/ 2130982 w 4716235"/>
              <a:gd name="connsiteY4477" fmla="*/ 4003458 h 4596459"/>
              <a:gd name="connsiteX4478" fmla="*/ 2141718 w 4716235"/>
              <a:gd name="connsiteY4478" fmla="*/ 3992721 h 4596459"/>
              <a:gd name="connsiteX4479" fmla="*/ 144181 w 4716235"/>
              <a:gd name="connsiteY4479" fmla="*/ 3991401 h 4596459"/>
              <a:gd name="connsiteX4480" fmla="*/ 154918 w 4716235"/>
              <a:gd name="connsiteY4480" fmla="*/ 4002138 h 4596459"/>
              <a:gd name="connsiteX4481" fmla="*/ 153019 w 4716235"/>
              <a:gd name="connsiteY4481" fmla="*/ 4004037 h 4596459"/>
              <a:gd name="connsiteX4482" fmla="*/ 163509 w 4716235"/>
              <a:gd name="connsiteY4482" fmla="*/ 4014525 h 4596459"/>
              <a:gd name="connsiteX4483" fmla="*/ 161773 w 4716235"/>
              <a:gd name="connsiteY4483" fmla="*/ 4016261 h 4596459"/>
              <a:gd name="connsiteX4484" fmla="*/ 171601 w 4716235"/>
              <a:gd name="connsiteY4484" fmla="*/ 4026089 h 4596459"/>
              <a:gd name="connsiteX4485" fmla="*/ 169950 w 4716235"/>
              <a:gd name="connsiteY4485" fmla="*/ 4027740 h 4596459"/>
              <a:gd name="connsiteX4486" fmla="*/ 179200 w 4716235"/>
              <a:gd name="connsiteY4486" fmla="*/ 4036990 h 4596459"/>
              <a:gd name="connsiteX4487" fmla="*/ 177301 w 4716235"/>
              <a:gd name="connsiteY4487" fmla="*/ 4038890 h 4596459"/>
              <a:gd name="connsiteX4488" fmla="*/ 186138 w 4716235"/>
              <a:gd name="connsiteY4488" fmla="*/ 4047726 h 4596459"/>
              <a:gd name="connsiteX4489" fmla="*/ 183743 w 4716235"/>
              <a:gd name="connsiteY4489" fmla="*/ 4050123 h 4596459"/>
              <a:gd name="connsiteX4490" fmla="*/ 192250 w 4716235"/>
              <a:gd name="connsiteY4490" fmla="*/ 4058629 h 4596459"/>
              <a:gd name="connsiteX4491" fmla="*/ 189442 w 4716235"/>
              <a:gd name="connsiteY4491" fmla="*/ 4061437 h 4596459"/>
              <a:gd name="connsiteX4492" fmla="*/ 197535 w 4716235"/>
              <a:gd name="connsiteY4492" fmla="*/ 4069530 h 4596459"/>
              <a:gd name="connsiteX4493" fmla="*/ 193984 w 4716235"/>
              <a:gd name="connsiteY4493" fmla="*/ 4073083 h 4596459"/>
              <a:gd name="connsiteX4494" fmla="*/ 201831 w 4716235"/>
              <a:gd name="connsiteY4494" fmla="*/ 4080929 h 4596459"/>
              <a:gd name="connsiteX4495" fmla="*/ 197371 w 4716235"/>
              <a:gd name="connsiteY4495" fmla="*/ 4085389 h 4596459"/>
              <a:gd name="connsiteX4496" fmla="*/ 205133 w 4716235"/>
              <a:gd name="connsiteY4496" fmla="*/ 4093151 h 4596459"/>
              <a:gd name="connsiteX4497" fmla="*/ 197452 w 4716235"/>
              <a:gd name="connsiteY4497" fmla="*/ 4100834 h 4596459"/>
              <a:gd name="connsiteX4498" fmla="*/ 202492 w 4716235"/>
              <a:gd name="connsiteY4498" fmla="*/ 4105872 h 4596459"/>
              <a:gd name="connsiteX4499" fmla="*/ 196710 w 4716235"/>
              <a:gd name="connsiteY4499" fmla="*/ 4111653 h 4596459"/>
              <a:gd name="connsiteX4500" fmla="*/ 190928 w 4716235"/>
              <a:gd name="connsiteY4500" fmla="*/ 4105872 h 4596459"/>
              <a:gd name="connsiteX4501" fmla="*/ 193654 w 4716235"/>
              <a:gd name="connsiteY4501" fmla="*/ 4103147 h 4596459"/>
              <a:gd name="connsiteX4502" fmla="*/ 183660 w 4716235"/>
              <a:gd name="connsiteY4502" fmla="*/ 4093151 h 4596459"/>
              <a:gd name="connsiteX4503" fmla="*/ 188119 w 4716235"/>
              <a:gd name="connsiteY4503" fmla="*/ 4088693 h 4596459"/>
              <a:gd name="connsiteX4504" fmla="*/ 180357 w 4716235"/>
              <a:gd name="connsiteY4504" fmla="*/ 4080929 h 4596459"/>
              <a:gd name="connsiteX4505" fmla="*/ 183908 w 4716235"/>
              <a:gd name="connsiteY4505" fmla="*/ 4077377 h 4596459"/>
              <a:gd name="connsiteX4506" fmla="*/ 176063 w 4716235"/>
              <a:gd name="connsiteY4506" fmla="*/ 4069530 h 4596459"/>
              <a:gd name="connsiteX4507" fmla="*/ 178870 w 4716235"/>
              <a:gd name="connsiteY4507" fmla="*/ 4066724 h 4596459"/>
              <a:gd name="connsiteX4508" fmla="*/ 170777 w 4716235"/>
              <a:gd name="connsiteY4508" fmla="*/ 4058629 h 4596459"/>
              <a:gd name="connsiteX4509" fmla="*/ 173172 w 4716235"/>
              <a:gd name="connsiteY4509" fmla="*/ 4056236 h 4596459"/>
              <a:gd name="connsiteX4510" fmla="*/ 164664 w 4716235"/>
              <a:gd name="connsiteY4510" fmla="*/ 4047726 h 4596459"/>
              <a:gd name="connsiteX4511" fmla="*/ 166563 w 4716235"/>
              <a:gd name="connsiteY4511" fmla="*/ 4045827 h 4596459"/>
              <a:gd name="connsiteX4512" fmla="*/ 157727 w 4716235"/>
              <a:gd name="connsiteY4512" fmla="*/ 4036990 h 4596459"/>
              <a:gd name="connsiteX4513" fmla="*/ 159378 w 4716235"/>
              <a:gd name="connsiteY4513" fmla="*/ 4035341 h 4596459"/>
              <a:gd name="connsiteX4514" fmla="*/ 150128 w 4716235"/>
              <a:gd name="connsiteY4514" fmla="*/ 4026089 h 4596459"/>
              <a:gd name="connsiteX4515" fmla="*/ 151864 w 4716235"/>
              <a:gd name="connsiteY4515" fmla="*/ 4024354 h 4596459"/>
              <a:gd name="connsiteX4516" fmla="*/ 142035 w 4716235"/>
              <a:gd name="connsiteY4516" fmla="*/ 4014525 h 4596459"/>
              <a:gd name="connsiteX4517" fmla="*/ 143933 w 4716235"/>
              <a:gd name="connsiteY4517" fmla="*/ 4012626 h 4596459"/>
              <a:gd name="connsiteX4518" fmla="*/ 133445 w 4716235"/>
              <a:gd name="connsiteY4518" fmla="*/ 4002138 h 4596459"/>
              <a:gd name="connsiteX4519" fmla="*/ 144181 w 4716235"/>
              <a:gd name="connsiteY4519" fmla="*/ 3991401 h 4596459"/>
              <a:gd name="connsiteX4520" fmla="*/ 249072 w 4716235"/>
              <a:gd name="connsiteY4520" fmla="*/ 3991235 h 4596459"/>
              <a:gd name="connsiteX4521" fmla="*/ 259810 w 4716235"/>
              <a:gd name="connsiteY4521" fmla="*/ 4001971 h 4596459"/>
              <a:gd name="connsiteX4522" fmla="*/ 249072 w 4716235"/>
              <a:gd name="connsiteY4522" fmla="*/ 4012709 h 4596459"/>
              <a:gd name="connsiteX4523" fmla="*/ 238336 w 4716235"/>
              <a:gd name="connsiteY4523" fmla="*/ 4001971 h 4596459"/>
              <a:gd name="connsiteX4524" fmla="*/ 249072 w 4716235"/>
              <a:gd name="connsiteY4524" fmla="*/ 3991235 h 4596459"/>
              <a:gd name="connsiteX4525" fmla="*/ 697540 w 4716235"/>
              <a:gd name="connsiteY4525" fmla="*/ 3990739 h 4596459"/>
              <a:gd name="connsiteX4526" fmla="*/ 708276 w 4716235"/>
              <a:gd name="connsiteY4526" fmla="*/ 4001475 h 4596459"/>
              <a:gd name="connsiteX4527" fmla="*/ 697540 w 4716235"/>
              <a:gd name="connsiteY4527" fmla="*/ 4012212 h 4596459"/>
              <a:gd name="connsiteX4528" fmla="*/ 686803 w 4716235"/>
              <a:gd name="connsiteY4528" fmla="*/ 4001475 h 4596459"/>
              <a:gd name="connsiteX4529" fmla="*/ 697540 w 4716235"/>
              <a:gd name="connsiteY4529" fmla="*/ 3990739 h 4596459"/>
              <a:gd name="connsiteX4530" fmla="*/ 3348534 w 4716235"/>
              <a:gd name="connsiteY4530" fmla="*/ 3989088 h 4596459"/>
              <a:gd name="connsiteX4531" fmla="*/ 3359272 w 4716235"/>
              <a:gd name="connsiteY4531" fmla="*/ 3999824 h 4596459"/>
              <a:gd name="connsiteX4532" fmla="*/ 3348534 w 4716235"/>
              <a:gd name="connsiteY4532" fmla="*/ 4010562 h 4596459"/>
              <a:gd name="connsiteX4533" fmla="*/ 3337798 w 4716235"/>
              <a:gd name="connsiteY4533" fmla="*/ 3999824 h 4596459"/>
              <a:gd name="connsiteX4534" fmla="*/ 3348534 w 4716235"/>
              <a:gd name="connsiteY4534" fmla="*/ 3989088 h 4596459"/>
              <a:gd name="connsiteX4535" fmla="*/ 2638750 w 4716235"/>
              <a:gd name="connsiteY4535" fmla="*/ 3988263 h 4596459"/>
              <a:gd name="connsiteX4536" fmla="*/ 2649487 w 4716235"/>
              <a:gd name="connsiteY4536" fmla="*/ 3998999 h 4596459"/>
              <a:gd name="connsiteX4537" fmla="*/ 2638750 w 4716235"/>
              <a:gd name="connsiteY4537" fmla="*/ 4009735 h 4596459"/>
              <a:gd name="connsiteX4538" fmla="*/ 2628014 w 4716235"/>
              <a:gd name="connsiteY4538" fmla="*/ 3998999 h 4596459"/>
              <a:gd name="connsiteX4539" fmla="*/ 2638750 w 4716235"/>
              <a:gd name="connsiteY4539" fmla="*/ 3988263 h 4596459"/>
              <a:gd name="connsiteX4540" fmla="*/ 184486 w 4716235"/>
              <a:gd name="connsiteY4540" fmla="*/ 3987767 h 4596459"/>
              <a:gd name="connsiteX4541" fmla="*/ 195222 w 4716235"/>
              <a:gd name="connsiteY4541" fmla="*/ 3998503 h 4596459"/>
              <a:gd name="connsiteX4542" fmla="*/ 184486 w 4716235"/>
              <a:gd name="connsiteY4542" fmla="*/ 4009239 h 4596459"/>
              <a:gd name="connsiteX4543" fmla="*/ 173749 w 4716235"/>
              <a:gd name="connsiteY4543" fmla="*/ 3998503 h 4596459"/>
              <a:gd name="connsiteX4544" fmla="*/ 184486 w 4716235"/>
              <a:gd name="connsiteY4544" fmla="*/ 3987767 h 4596459"/>
              <a:gd name="connsiteX4545" fmla="*/ 3274533 w 4716235"/>
              <a:gd name="connsiteY4545" fmla="*/ 3987435 h 4596459"/>
              <a:gd name="connsiteX4546" fmla="*/ 3285269 w 4716235"/>
              <a:gd name="connsiteY4546" fmla="*/ 3998172 h 4596459"/>
              <a:gd name="connsiteX4547" fmla="*/ 3274533 w 4716235"/>
              <a:gd name="connsiteY4547" fmla="*/ 4008910 h 4596459"/>
              <a:gd name="connsiteX4548" fmla="*/ 3263796 w 4716235"/>
              <a:gd name="connsiteY4548" fmla="*/ 3998172 h 4596459"/>
              <a:gd name="connsiteX4549" fmla="*/ 3274533 w 4716235"/>
              <a:gd name="connsiteY4549" fmla="*/ 3987435 h 4596459"/>
              <a:gd name="connsiteX4550" fmla="*/ 1346041 w 4716235"/>
              <a:gd name="connsiteY4550" fmla="*/ 3985949 h 4596459"/>
              <a:gd name="connsiteX4551" fmla="*/ 1356779 w 4716235"/>
              <a:gd name="connsiteY4551" fmla="*/ 3996686 h 4596459"/>
              <a:gd name="connsiteX4552" fmla="*/ 1346041 w 4716235"/>
              <a:gd name="connsiteY4552" fmla="*/ 4007424 h 4596459"/>
              <a:gd name="connsiteX4553" fmla="*/ 1335304 w 4716235"/>
              <a:gd name="connsiteY4553" fmla="*/ 3996686 h 4596459"/>
              <a:gd name="connsiteX4554" fmla="*/ 1346041 w 4716235"/>
              <a:gd name="connsiteY4554" fmla="*/ 3985949 h 4596459"/>
              <a:gd name="connsiteX4555" fmla="*/ 3537831 w 4716235"/>
              <a:gd name="connsiteY4555" fmla="*/ 3983802 h 4596459"/>
              <a:gd name="connsiteX4556" fmla="*/ 3548567 w 4716235"/>
              <a:gd name="connsiteY4556" fmla="*/ 3994539 h 4596459"/>
              <a:gd name="connsiteX4557" fmla="*/ 3537914 w 4716235"/>
              <a:gd name="connsiteY4557" fmla="*/ 4005193 h 4596459"/>
              <a:gd name="connsiteX4558" fmla="*/ 3545101 w 4716235"/>
              <a:gd name="connsiteY4558" fmla="*/ 4012378 h 4596459"/>
              <a:gd name="connsiteX4559" fmla="*/ 3534363 w 4716235"/>
              <a:gd name="connsiteY4559" fmla="*/ 4023115 h 4596459"/>
              <a:gd name="connsiteX4560" fmla="*/ 3523626 w 4716235"/>
              <a:gd name="connsiteY4560" fmla="*/ 4012378 h 4596459"/>
              <a:gd name="connsiteX4561" fmla="*/ 3534281 w 4716235"/>
              <a:gd name="connsiteY4561" fmla="*/ 4001725 h 4596459"/>
              <a:gd name="connsiteX4562" fmla="*/ 3527095 w 4716235"/>
              <a:gd name="connsiteY4562" fmla="*/ 3994539 h 4596459"/>
              <a:gd name="connsiteX4563" fmla="*/ 3537831 w 4716235"/>
              <a:gd name="connsiteY4563" fmla="*/ 3983802 h 4596459"/>
              <a:gd name="connsiteX4564" fmla="*/ 3438557 w 4716235"/>
              <a:gd name="connsiteY4564" fmla="*/ 3983638 h 4596459"/>
              <a:gd name="connsiteX4565" fmla="*/ 3449294 w 4716235"/>
              <a:gd name="connsiteY4565" fmla="*/ 3994374 h 4596459"/>
              <a:gd name="connsiteX4566" fmla="*/ 3438722 w 4716235"/>
              <a:gd name="connsiteY4566" fmla="*/ 4004945 h 4596459"/>
              <a:gd name="connsiteX4567" fmla="*/ 3440375 w 4716235"/>
              <a:gd name="connsiteY4567" fmla="*/ 4006596 h 4596459"/>
              <a:gd name="connsiteX4568" fmla="*/ 3430381 w 4716235"/>
              <a:gd name="connsiteY4568" fmla="*/ 4016591 h 4596459"/>
              <a:gd name="connsiteX4569" fmla="*/ 3432117 w 4716235"/>
              <a:gd name="connsiteY4569" fmla="*/ 4018325 h 4596459"/>
              <a:gd name="connsiteX4570" fmla="*/ 3422700 w 4716235"/>
              <a:gd name="connsiteY4570" fmla="*/ 4027741 h 4596459"/>
              <a:gd name="connsiteX4571" fmla="*/ 3424682 w 4716235"/>
              <a:gd name="connsiteY4571" fmla="*/ 4029722 h 4596459"/>
              <a:gd name="connsiteX4572" fmla="*/ 3415599 w 4716235"/>
              <a:gd name="connsiteY4572" fmla="*/ 4038807 h 4596459"/>
              <a:gd name="connsiteX4573" fmla="*/ 3418077 w 4716235"/>
              <a:gd name="connsiteY4573" fmla="*/ 4041285 h 4596459"/>
              <a:gd name="connsiteX4574" fmla="*/ 3409404 w 4716235"/>
              <a:gd name="connsiteY4574" fmla="*/ 4049958 h 4596459"/>
              <a:gd name="connsiteX4575" fmla="*/ 3412293 w 4716235"/>
              <a:gd name="connsiteY4575" fmla="*/ 4052847 h 4596459"/>
              <a:gd name="connsiteX4576" fmla="*/ 3403868 w 4716235"/>
              <a:gd name="connsiteY4576" fmla="*/ 4061272 h 4596459"/>
              <a:gd name="connsiteX4577" fmla="*/ 3407668 w 4716235"/>
              <a:gd name="connsiteY4577" fmla="*/ 4065071 h 4596459"/>
              <a:gd name="connsiteX4578" fmla="*/ 3399327 w 4716235"/>
              <a:gd name="connsiteY4578" fmla="*/ 4073413 h 4596459"/>
              <a:gd name="connsiteX4579" fmla="*/ 3403868 w 4716235"/>
              <a:gd name="connsiteY4579" fmla="*/ 4077955 h 4596459"/>
              <a:gd name="connsiteX4580" fmla="*/ 3395775 w 4716235"/>
              <a:gd name="connsiteY4580" fmla="*/ 4086048 h 4596459"/>
              <a:gd name="connsiteX4581" fmla="*/ 3401392 w 4716235"/>
              <a:gd name="connsiteY4581" fmla="*/ 4091665 h 4596459"/>
              <a:gd name="connsiteX4582" fmla="*/ 3393463 w 4716235"/>
              <a:gd name="connsiteY4582" fmla="*/ 4099596 h 4596459"/>
              <a:gd name="connsiteX4583" fmla="*/ 3400071 w 4716235"/>
              <a:gd name="connsiteY4583" fmla="*/ 4106201 h 4596459"/>
              <a:gd name="connsiteX4584" fmla="*/ 3389582 w 4716235"/>
              <a:gd name="connsiteY4584" fmla="*/ 4116690 h 4596459"/>
              <a:gd name="connsiteX4585" fmla="*/ 3394787 w 4716235"/>
              <a:gd name="connsiteY4585" fmla="*/ 4121894 h 4596459"/>
              <a:gd name="connsiteX4586" fmla="*/ 3389005 w 4716235"/>
              <a:gd name="connsiteY4586" fmla="*/ 4127676 h 4596459"/>
              <a:gd name="connsiteX4587" fmla="*/ 3383223 w 4716235"/>
              <a:gd name="connsiteY4587" fmla="*/ 4121894 h 4596459"/>
              <a:gd name="connsiteX4588" fmla="*/ 3388755 w 4716235"/>
              <a:gd name="connsiteY4588" fmla="*/ 4116362 h 4596459"/>
              <a:gd name="connsiteX4589" fmla="*/ 3378596 w 4716235"/>
              <a:gd name="connsiteY4589" fmla="*/ 4106201 h 4596459"/>
              <a:gd name="connsiteX4590" fmla="*/ 3386525 w 4716235"/>
              <a:gd name="connsiteY4590" fmla="*/ 4098272 h 4596459"/>
              <a:gd name="connsiteX4591" fmla="*/ 3379919 w 4716235"/>
              <a:gd name="connsiteY4591" fmla="*/ 4091665 h 4596459"/>
              <a:gd name="connsiteX4592" fmla="*/ 3388013 w 4716235"/>
              <a:gd name="connsiteY4592" fmla="*/ 4083572 h 4596459"/>
              <a:gd name="connsiteX4593" fmla="*/ 3382396 w 4716235"/>
              <a:gd name="connsiteY4593" fmla="*/ 4077955 h 4596459"/>
              <a:gd name="connsiteX4594" fmla="*/ 3390737 w 4716235"/>
              <a:gd name="connsiteY4594" fmla="*/ 4069613 h 4596459"/>
              <a:gd name="connsiteX4595" fmla="*/ 3386195 w 4716235"/>
              <a:gd name="connsiteY4595" fmla="*/ 4065071 h 4596459"/>
              <a:gd name="connsiteX4596" fmla="*/ 3394620 w 4716235"/>
              <a:gd name="connsiteY4596" fmla="*/ 4056647 h 4596459"/>
              <a:gd name="connsiteX4597" fmla="*/ 3390820 w 4716235"/>
              <a:gd name="connsiteY4597" fmla="*/ 4052847 h 4596459"/>
              <a:gd name="connsiteX4598" fmla="*/ 3399493 w 4716235"/>
              <a:gd name="connsiteY4598" fmla="*/ 4044176 h 4596459"/>
              <a:gd name="connsiteX4599" fmla="*/ 3396602 w 4716235"/>
              <a:gd name="connsiteY4599" fmla="*/ 4041285 h 4596459"/>
              <a:gd name="connsiteX4600" fmla="*/ 3405688 w 4716235"/>
              <a:gd name="connsiteY4600" fmla="*/ 4032200 h 4596459"/>
              <a:gd name="connsiteX4601" fmla="*/ 3403209 w 4716235"/>
              <a:gd name="connsiteY4601" fmla="*/ 4029722 h 4596459"/>
              <a:gd name="connsiteX4602" fmla="*/ 3412624 w 4716235"/>
              <a:gd name="connsiteY4602" fmla="*/ 4020307 h 4596459"/>
              <a:gd name="connsiteX4603" fmla="*/ 3410642 w 4716235"/>
              <a:gd name="connsiteY4603" fmla="*/ 4018325 h 4596459"/>
              <a:gd name="connsiteX4604" fmla="*/ 3420635 w 4716235"/>
              <a:gd name="connsiteY4604" fmla="*/ 4008332 h 4596459"/>
              <a:gd name="connsiteX4605" fmla="*/ 3418900 w 4716235"/>
              <a:gd name="connsiteY4605" fmla="*/ 4006596 h 4596459"/>
              <a:gd name="connsiteX4606" fmla="*/ 3429472 w 4716235"/>
              <a:gd name="connsiteY4606" fmla="*/ 3996025 h 4596459"/>
              <a:gd name="connsiteX4607" fmla="*/ 3427821 w 4716235"/>
              <a:gd name="connsiteY4607" fmla="*/ 3994374 h 4596459"/>
              <a:gd name="connsiteX4608" fmla="*/ 3438557 w 4716235"/>
              <a:gd name="connsiteY4608" fmla="*/ 3983638 h 4596459"/>
              <a:gd name="connsiteX4609" fmla="*/ 42926 w 4716235"/>
              <a:gd name="connsiteY4609" fmla="*/ 3983142 h 4596459"/>
              <a:gd name="connsiteX4610" fmla="*/ 52507 w 4716235"/>
              <a:gd name="connsiteY4610" fmla="*/ 3992721 h 4596459"/>
              <a:gd name="connsiteX4611" fmla="*/ 42926 w 4716235"/>
              <a:gd name="connsiteY4611" fmla="*/ 4002303 h 4596459"/>
              <a:gd name="connsiteX4612" fmla="*/ 33346 w 4716235"/>
              <a:gd name="connsiteY4612" fmla="*/ 3992721 h 4596459"/>
              <a:gd name="connsiteX4613" fmla="*/ 42926 w 4716235"/>
              <a:gd name="connsiteY4613" fmla="*/ 3983142 h 4596459"/>
              <a:gd name="connsiteX4614" fmla="*/ 334966 w 4716235"/>
              <a:gd name="connsiteY4614" fmla="*/ 3982977 h 4596459"/>
              <a:gd name="connsiteX4615" fmla="*/ 345704 w 4716235"/>
              <a:gd name="connsiteY4615" fmla="*/ 3993713 h 4596459"/>
              <a:gd name="connsiteX4616" fmla="*/ 334966 w 4716235"/>
              <a:gd name="connsiteY4616" fmla="*/ 4004451 h 4596459"/>
              <a:gd name="connsiteX4617" fmla="*/ 324230 w 4716235"/>
              <a:gd name="connsiteY4617" fmla="*/ 3993713 h 4596459"/>
              <a:gd name="connsiteX4618" fmla="*/ 334966 w 4716235"/>
              <a:gd name="connsiteY4618" fmla="*/ 3982977 h 4596459"/>
              <a:gd name="connsiteX4619" fmla="*/ 3404531 w 4716235"/>
              <a:gd name="connsiteY4619" fmla="*/ 3981820 h 4596459"/>
              <a:gd name="connsiteX4620" fmla="*/ 3415267 w 4716235"/>
              <a:gd name="connsiteY4620" fmla="*/ 3992556 h 4596459"/>
              <a:gd name="connsiteX4621" fmla="*/ 3404531 w 4716235"/>
              <a:gd name="connsiteY4621" fmla="*/ 4003295 h 4596459"/>
              <a:gd name="connsiteX4622" fmla="*/ 3393795 w 4716235"/>
              <a:gd name="connsiteY4622" fmla="*/ 3992556 h 4596459"/>
              <a:gd name="connsiteX4623" fmla="*/ 3404531 w 4716235"/>
              <a:gd name="connsiteY4623" fmla="*/ 3981820 h 4596459"/>
              <a:gd name="connsiteX4624" fmla="*/ 3579953 w 4716235"/>
              <a:gd name="connsiteY4624" fmla="*/ 3980995 h 4596459"/>
              <a:gd name="connsiteX4625" fmla="*/ 3585734 w 4716235"/>
              <a:gd name="connsiteY4625" fmla="*/ 3986776 h 4596459"/>
              <a:gd name="connsiteX4626" fmla="*/ 3579953 w 4716235"/>
              <a:gd name="connsiteY4626" fmla="*/ 3992558 h 4596459"/>
              <a:gd name="connsiteX4627" fmla="*/ 3574171 w 4716235"/>
              <a:gd name="connsiteY4627" fmla="*/ 3986776 h 4596459"/>
              <a:gd name="connsiteX4628" fmla="*/ 3579953 w 4716235"/>
              <a:gd name="connsiteY4628" fmla="*/ 3980995 h 4596459"/>
              <a:gd name="connsiteX4629" fmla="*/ 3501326 w 4716235"/>
              <a:gd name="connsiteY4629" fmla="*/ 3980663 h 4596459"/>
              <a:gd name="connsiteX4630" fmla="*/ 3512064 w 4716235"/>
              <a:gd name="connsiteY4630" fmla="*/ 3991400 h 4596459"/>
              <a:gd name="connsiteX4631" fmla="*/ 3501739 w 4716235"/>
              <a:gd name="connsiteY4631" fmla="*/ 4001723 h 4596459"/>
              <a:gd name="connsiteX4632" fmla="*/ 3506283 w 4716235"/>
              <a:gd name="connsiteY4632" fmla="*/ 4006267 h 4596459"/>
              <a:gd name="connsiteX4633" fmla="*/ 3496124 w 4716235"/>
              <a:gd name="connsiteY4633" fmla="*/ 4016426 h 4596459"/>
              <a:gd name="connsiteX4634" fmla="*/ 3501658 w 4716235"/>
              <a:gd name="connsiteY4634" fmla="*/ 4021958 h 4596459"/>
              <a:gd name="connsiteX4635" fmla="*/ 3491745 w 4716235"/>
              <a:gd name="connsiteY4635" fmla="*/ 4031870 h 4596459"/>
              <a:gd name="connsiteX4636" fmla="*/ 3498352 w 4716235"/>
              <a:gd name="connsiteY4636" fmla="*/ 4038476 h 4596459"/>
              <a:gd name="connsiteX4637" fmla="*/ 3487616 w 4716235"/>
              <a:gd name="connsiteY4637" fmla="*/ 4049214 h 4596459"/>
              <a:gd name="connsiteX4638" fmla="*/ 3476879 w 4716235"/>
              <a:gd name="connsiteY4638" fmla="*/ 4038476 h 4596459"/>
              <a:gd name="connsiteX4639" fmla="*/ 3486790 w 4716235"/>
              <a:gd name="connsiteY4639" fmla="*/ 4028567 h 4596459"/>
              <a:gd name="connsiteX4640" fmla="*/ 3480183 w 4716235"/>
              <a:gd name="connsiteY4640" fmla="*/ 4021958 h 4596459"/>
              <a:gd name="connsiteX4641" fmla="*/ 3490340 w 4716235"/>
              <a:gd name="connsiteY4641" fmla="*/ 4011801 h 4596459"/>
              <a:gd name="connsiteX4642" fmla="*/ 3484808 w 4716235"/>
              <a:gd name="connsiteY4642" fmla="*/ 4006267 h 4596459"/>
              <a:gd name="connsiteX4643" fmla="*/ 3495132 w 4716235"/>
              <a:gd name="connsiteY4643" fmla="*/ 3995943 h 4596459"/>
              <a:gd name="connsiteX4644" fmla="*/ 3490590 w 4716235"/>
              <a:gd name="connsiteY4644" fmla="*/ 3991400 h 4596459"/>
              <a:gd name="connsiteX4645" fmla="*/ 3501326 w 4716235"/>
              <a:gd name="connsiteY4645" fmla="*/ 3980663 h 4596459"/>
              <a:gd name="connsiteX4646" fmla="*/ 105199 w 4716235"/>
              <a:gd name="connsiteY4646" fmla="*/ 3978848 h 4596459"/>
              <a:gd name="connsiteX4647" fmla="*/ 115937 w 4716235"/>
              <a:gd name="connsiteY4647" fmla="*/ 3989584 h 4596459"/>
              <a:gd name="connsiteX4648" fmla="*/ 114203 w 4716235"/>
              <a:gd name="connsiteY4648" fmla="*/ 3991318 h 4596459"/>
              <a:gd name="connsiteX4649" fmla="*/ 124856 w 4716235"/>
              <a:gd name="connsiteY4649" fmla="*/ 4001971 h 4596459"/>
              <a:gd name="connsiteX4650" fmla="*/ 122790 w 4716235"/>
              <a:gd name="connsiteY4650" fmla="*/ 4004038 h 4596459"/>
              <a:gd name="connsiteX4651" fmla="*/ 132784 w 4716235"/>
              <a:gd name="connsiteY4651" fmla="*/ 4014031 h 4596459"/>
              <a:gd name="connsiteX4652" fmla="*/ 130306 w 4716235"/>
              <a:gd name="connsiteY4652" fmla="*/ 4016509 h 4596459"/>
              <a:gd name="connsiteX4653" fmla="*/ 139887 w 4716235"/>
              <a:gd name="connsiteY4653" fmla="*/ 4026089 h 4596459"/>
              <a:gd name="connsiteX4654" fmla="*/ 136667 w 4716235"/>
              <a:gd name="connsiteY4654" fmla="*/ 4029311 h 4596459"/>
              <a:gd name="connsiteX4655" fmla="*/ 145834 w 4716235"/>
              <a:gd name="connsiteY4655" fmla="*/ 4038476 h 4596459"/>
              <a:gd name="connsiteX4656" fmla="*/ 141951 w 4716235"/>
              <a:gd name="connsiteY4656" fmla="*/ 4042359 h 4596459"/>
              <a:gd name="connsiteX4657" fmla="*/ 150953 w 4716235"/>
              <a:gd name="connsiteY4657" fmla="*/ 4051361 h 4596459"/>
              <a:gd name="connsiteX4658" fmla="*/ 145999 w 4716235"/>
              <a:gd name="connsiteY4658" fmla="*/ 4056317 h 4596459"/>
              <a:gd name="connsiteX4659" fmla="*/ 154422 w 4716235"/>
              <a:gd name="connsiteY4659" fmla="*/ 4064742 h 4596459"/>
              <a:gd name="connsiteX4660" fmla="*/ 144017 w 4716235"/>
              <a:gd name="connsiteY4660" fmla="*/ 4075149 h 4596459"/>
              <a:gd name="connsiteX4661" fmla="*/ 133610 w 4716235"/>
              <a:gd name="connsiteY4661" fmla="*/ 4064742 h 4596459"/>
              <a:gd name="connsiteX4662" fmla="*/ 138235 w 4716235"/>
              <a:gd name="connsiteY4662" fmla="*/ 4060117 h 4596459"/>
              <a:gd name="connsiteX4663" fmla="*/ 129481 w 4716235"/>
              <a:gd name="connsiteY4663" fmla="*/ 4051361 h 4596459"/>
              <a:gd name="connsiteX4664" fmla="*/ 133362 w 4716235"/>
              <a:gd name="connsiteY4664" fmla="*/ 4047480 h 4596459"/>
              <a:gd name="connsiteX4665" fmla="*/ 124360 w 4716235"/>
              <a:gd name="connsiteY4665" fmla="*/ 4038476 h 4596459"/>
              <a:gd name="connsiteX4666" fmla="*/ 127580 w 4716235"/>
              <a:gd name="connsiteY4666" fmla="*/ 4035257 h 4596459"/>
              <a:gd name="connsiteX4667" fmla="*/ 118413 w 4716235"/>
              <a:gd name="connsiteY4667" fmla="*/ 4026089 h 4596459"/>
              <a:gd name="connsiteX4668" fmla="*/ 120891 w 4716235"/>
              <a:gd name="connsiteY4668" fmla="*/ 4023612 h 4596459"/>
              <a:gd name="connsiteX4669" fmla="*/ 111310 w 4716235"/>
              <a:gd name="connsiteY4669" fmla="*/ 4014031 h 4596459"/>
              <a:gd name="connsiteX4670" fmla="*/ 113375 w 4716235"/>
              <a:gd name="connsiteY4670" fmla="*/ 4011965 h 4596459"/>
              <a:gd name="connsiteX4671" fmla="*/ 103383 w 4716235"/>
              <a:gd name="connsiteY4671" fmla="*/ 4001971 h 4596459"/>
              <a:gd name="connsiteX4672" fmla="*/ 105117 w 4716235"/>
              <a:gd name="connsiteY4672" fmla="*/ 4000239 h 4596459"/>
              <a:gd name="connsiteX4673" fmla="*/ 94462 w 4716235"/>
              <a:gd name="connsiteY4673" fmla="*/ 3989584 h 4596459"/>
              <a:gd name="connsiteX4674" fmla="*/ 105199 w 4716235"/>
              <a:gd name="connsiteY4674" fmla="*/ 3978848 h 4596459"/>
              <a:gd name="connsiteX4675" fmla="*/ 135263 w 4716235"/>
              <a:gd name="connsiteY4675" fmla="*/ 3977856 h 4596459"/>
              <a:gd name="connsiteX4676" fmla="*/ 146001 w 4716235"/>
              <a:gd name="connsiteY4676" fmla="*/ 3988592 h 4596459"/>
              <a:gd name="connsiteX4677" fmla="*/ 135263 w 4716235"/>
              <a:gd name="connsiteY4677" fmla="*/ 3999328 h 4596459"/>
              <a:gd name="connsiteX4678" fmla="*/ 124526 w 4716235"/>
              <a:gd name="connsiteY4678" fmla="*/ 3988592 h 4596459"/>
              <a:gd name="connsiteX4679" fmla="*/ 135263 w 4716235"/>
              <a:gd name="connsiteY4679" fmla="*/ 3977856 h 4596459"/>
              <a:gd name="connsiteX4680" fmla="*/ 2297485 w 4716235"/>
              <a:gd name="connsiteY4680" fmla="*/ 3976699 h 4596459"/>
              <a:gd name="connsiteX4681" fmla="*/ 2308223 w 4716235"/>
              <a:gd name="connsiteY4681" fmla="*/ 3987435 h 4596459"/>
              <a:gd name="connsiteX4682" fmla="*/ 2297485 w 4716235"/>
              <a:gd name="connsiteY4682" fmla="*/ 3998173 h 4596459"/>
              <a:gd name="connsiteX4683" fmla="*/ 2286749 w 4716235"/>
              <a:gd name="connsiteY4683" fmla="*/ 3987435 h 4596459"/>
              <a:gd name="connsiteX4684" fmla="*/ 2297485 w 4716235"/>
              <a:gd name="connsiteY4684" fmla="*/ 3976699 h 4596459"/>
              <a:gd name="connsiteX4685" fmla="*/ 3061448 w 4716235"/>
              <a:gd name="connsiteY4685" fmla="*/ 3975213 h 4596459"/>
              <a:gd name="connsiteX4686" fmla="*/ 3072186 w 4716235"/>
              <a:gd name="connsiteY4686" fmla="*/ 3985949 h 4596459"/>
              <a:gd name="connsiteX4687" fmla="*/ 3061448 w 4716235"/>
              <a:gd name="connsiteY4687" fmla="*/ 3996687 h 4596459"/>
              <a:gd name="connsiteX4688" fmla="*/ 3050712 w 4716235"/>
              <a:gd name="connsiteY4688" fmla="*/ 3985949 h 4596459"/>
              <a:gd name="connsiteX4689" fmla="*/ 3061448 w 4716235"/>
              <a:gd name="connsiteY4689" fmla="*/ 3975213 h 4596459"/>
              <a:gd name="connsiteX4690" fmla="*/ 858261 w 4716235"/>
              <a:gd name="connsiteY4690" fmla="*/ 3974056 h 4596459"/>
              <a:gd name="connsiteX4691" fmla="*/ 868999 w 4716235"/>
              <a:gd name="connsiteY4691" fmla="*/ 3984792 h 4596459"/>
              <a:gd name="connsiteX4692" fmla="*/ 858261 w 4716235"/>
              <a:gd name="connsiteY4692" fmla="*/ 3995531 h 4596459"/>
              <a:gd name="connsiteX4693" fmla="*/ 847524 w 4716235"/>
              <a:gd name="connsiteY4693" fmla="*/ 3984792 h 4596459"/>
              <a:gd name="connsiteX4694" fmla="*/ 858261 w 4716235"/>
              <a:gd name="connsiteY4694" fmla="*/ 3974056 h 4596459"/>
              <a:gd name="connsiteX4695" fmla="*/ 3474733 w 4716235"/>
              <a:gd name="connsiteY4695" fmla="*/ 3972405 h 4596459"/>
              <a:gd name="connsiteX4696" fmla="*/ 3485469 w 4716235"/>
              <a:gd name="connsiteY4696" fmla="*/ 3983142 h 4596459"/>
              <a:gd name="connsiteX4697" fmla="*/ 3474733 w 4716235"/>
              <a:gd name="connsiteY4697" fmla="*/ 3993878 h 4596459"/>
              <a:gd name="connsiteX4698" fmla="*/ 3476881 w 4716235"/>
              <a:gd name="connsiteY4698" fmla="*/ 3996025 h 4596459"/>
              <a:gd name="connsiteX4699" fmla="*/ 3466721 w 4716235"/>
              <a:gd name="connsiteY4699" fmla="*/ 4006184 h 4596459"/>
              <a:gd name="connsiteX4700" fmla="*/ 3469447 w 4716235"/>
              <a:gd name="connsiteY4700" fmla="*/ 4008910 h 4596459"/>
              <a:gd name="connsiteX4701" fmla="*/ 3459702 w 4716235"/>
              <a:gd name="connsiteY4701" fmla="*/ 4018654 h 4596459"/>
              <a:gd name="connsiteX4702" fmla="*/ 3463006 w 4716235"/>
              <a:gd name="connsiteY4702" fmla="*/ 4021958 h 4596459"/>
              <a:gd name="connsiteX4703" fmla="*/ 3453589 w 4716235"/>
              <a:gd name="connsiteY4703" fmla="*/ 4031374 h 4596459"/>
              <a:gd name="connsiteX4704" fmla="*/ 3457718 w 4716235"/>
              <a:gd name="connsiteY4704" fmla="*/ 4035504 h 4596459"/>
              <a:gd name="connsiteX4705" fmla="*/ 3448468 w 4716235"/>
              <a:gd name="connsiteY4705" fmla="*/ 4044755 h 4596459"/>
              <a:gd name="connsiteX4706" fmla="*/ 3453589 w 4716235"/>
              <a:gd name="connsiteY4706" fmla="*/ 4049875 h 4596459"/>
              <a:gd name="connsiteX4707" fmla="*/ 3444506 w 4716235"/>
              <a:gd name="connsiteY4707" fmla="*/ 4058960 h 4596459"/>
              <a:gd name="connsiteX4708" fmla="*/ 3450450 w 4716235"/>
              <a:gd name="connsiteY4708" fmla="*/ 4064905 h 4596459"/>
              <a:gd name="connsiteX4709" fmla="*/ 3441696 w 4716235"/>
              <a:gd name="connsiteY4709" fmla="*/ 4073661 h 4596459"/>
              <a:gd name="connsiteX4710" fmla="*/ 3448798 w 4716235"/>
              <a:gd name="connsiteY4710" fmla="*/ 4080762 h 4596459"/>
              <a:gd name="connsiteX4711" fmla="*/ 3438061 w 4716235"/>
              <a:gd name="connsiteY4711" fmla="*/ 4091500 h 4596459"/>
              <a:gd name="connsiteX4712" fmla="*/ 3427325 w 4716235"/>
              <a:gd name="connsiteY4712" fmla="*/ 4080762 h 4596459"/>
              <a:gd name="connsiteX4713" fmla="*/ 3436079 w 4716235"/>
              <a:gd name="connsiteY4713" fmla="*/ 4072008 h 4596459"/>
              <a:gd name="connsiteX4714" fmla="*/ 3428978 w 4716235"/>
              <a:gd name="connsiteY4714" fmla="*/ 4064905 h 4596459"/>
              <a:gd name="connsiteX4715" fmla="*/ 3438061 w 4716235"/>
              <a:gd name="connsiteY4715" fmla="*/ 4055821 h 4596459"/>
              <a:gd name="connsiteX4716" fmla="*/ 3432117 w 4716235"/>
              <a:gd name="connsiteY4716" fmla="*/ 4049875 h 4596459"/>
              <a:gd name="connsiteX4717" fmla="*/ 3441367 w 4716235"/>
              <a:gd name="connsiteY4717" fmla="*/ 4040625 h 4596459"/>
              <a:gd name="connsiteX4718" fmla="*/ 3436246 w 4716235"/>
              <a:gd name="connsiteY4718" fmla="*/ 4035504 h 4596459"/>
              <a:gd name="connsiteX4719" fmla="*/ 3445661 w 4716235"/>
              <a:gd name="connsiteY4719" fmla="*/ 4026089 h 4596459"/>
              <a:gd name="connsiteX4720" fmla="*/ 3441532 w 4716235"/>
              <a:gd name="connsiteY4720" fmla="*/ 4021958 h 4596459"/>
              <a:gd name="connsiteX4721" fmla="*/ 3451276 w 4716235"/>
              <a:gd name="connsiteY4721" fmla="*/ 4012213 h 4596459"/>
              <a:gd name="connsiteX4722" fmla="*/ 3447974 w 4716235"/>
              <a:gd name="connsiteY4722" fmla="*/ 4008910 h 4596459"/>
              <a:gd name="connsiteX4723" fmla="*/ 3458133 w 4716235"/>
              <a:gd name="connsiteY4723" fmla="*/ 3998751 h 4596459"/>
              <a:gd name="connsiteX4724" fmla="*/ 3455407 w 4716235"/>
              <a:gd name="connsiteY4724" fmla="*/ 3996025 h 4596459"/>
              <a:gd name="connsiteX4725" fmla="*/ 3466143 w 4716235"/>
              <a:gd name="connsiteY4725" fmla="*/ 3985288 h 4596459"/>
              <a:gd name="connsiteX4726" fmla="*/ 3463996 w 4716235"/>
              <a:gd name="connsiteY4726" fmla="*/ 3983142 h 4596459"/>
              <a:gd name="connsiteX4727" fmla="*/ 3474733 w 4716235"/>
              <a:gd name="connsiteY4727" fmla="*/ 3972405 h 4596459"/>
              <a:gd name="connsiteX4728" fmla="*/ 2928146 w 4716235"/>
              <a:gd name="connsiteY4728" fmla="*/ 3971248 h 4596459"/>
              <a:gd name="connsiteX4729" fmla="*/ 2938884 w 4716235"/>
              <a:gd name="connsiteY4729" fmla="*/ 3981985 h 4596459"/>
              <a:gd name="connsiteX4730" fmla="*/ 2928146 w 4716235"/>
              <a:gd name="connsiteY4730" fmla="*/ 3992721 h 4596459"/>
              <a:gd name="connsiteX4731" fmla="*/ 2917410 w 4716235"/>
              <a:gd name="connsiteY4731" fmla="*/ 3981985 h 4596459"/>
              <a:gd name="connsiteX4732" fmla="*/ 2928146 w 4716235"/>
              <a:gd name="connsiteY4732" fmla="*/ 3971248 h 4596459"/>
              <a:gd name="connsiteX4733" fmla="*/ 3176085 w 4716235"/>
              <a:gd name="connsiteY4733" fmla="*/ 3970917 h 4596459"/>
              <a:gd name="connsiteX4734" fmla="*/ 3186823 w 4716235"/>
              <a:gd name="connsiteY4734" fmla="*/ 3981654 h 4596459"/>
              <a:gd name="connsiteX4735" fmla="*/ 3176085 w 4716235"/>
              <a:gd name="connsiteY4735" fmla="*/ 3992392 h 4596459"/>
              <a:gd name="connsiteX4736" fmla="*/ 3165348 w 4716235"/>
              <a:gd name="connsiteY4736" fmla="*/ 3981654 h 4596459"/>
              <a:gd name="connsiteX4737" fmla="*/ 3176085 w 4716235"/>
              <a:gd name="connsiteY4737" fmla="*/ 3970917 h 4596459"/>
              <a:gd name="connsiteX4738" fmla="*/ 3447972 w 4716235"/>
              <a:gd name="connsiteY4738" fmla="*/ 3970588 h 4596459"/>
              <a:gd name="connsiteX4739" fmla="*/ 3458709 w 4716235"/>
              <a:gd name="connsiteY4739" fmla="*/ 3981324 h 4596459"/>
              <a:gd name="connsiteX4740" fmla="*/ 3447972 w 4716235"/>
              <a:gd name="connsiteY4740" fmla="*/ 3992062 h 4596459"/>
              <a:gd name="connsiteX4741" fmla="*/ 3437236 w 4716235"/>
              <a:gd name="connsiteY4741" fmla="*/ 3981324 h 4596459"/>
              <a:gd name="connsiteX4742" fmla="*/ 3447972 w 4716235"/>
              <a:gd name="connsiteY4742" fmla="*/ 3970588 h 4596459"/>
              <a:gd name="connsiteX4743" fmla="*/ 70676 w 4716235"/>
              <a:gd name="connsiteY4743" fmla="*/ 3969762 h 4596459"/>
              <a:gd name="connsiteX4744" fmla="*/ 81414 w 4716235"/>
              <a:gd name="connsiteY4744" fmla="*/ 3980499 h 4596459"/>
              <a:gd name="connsiteX4745" fmla="*/ 78605 w 4716235"/>
              <a:gd name="connsiteY4745" fmla="*/ 3983308 h 4596459"/>
              <a:gd name="connsiteX4746" fmla="*/ 89176 w 4716235"/>
              <a:gd name="connsiteY4746" fmla="*/ 3993878 h 4596459"/>
              <a:gd name="connsiteX4747" fmla="*/ 85625 w 4716235"/>
              <a:gd name="connsiteY4747" fmla="*/ 3997429 h 4596459"/>
              <a:gd name="connsiteX4748" fmla="*/ 95948 w 4716235"/>
              <a:gd name="connsiteY4748" fmla="*/ 4007753 h 4596459"/>
              <a:gd name="connsiteX4749" fmla="*/ 91655 w 4716235"/>
              <a:gd name="connsiteY4749" fmla="*/ 4012049 h 4596459"/>
              <a:gd name="connsiteX4750" fmla="*/ 101565 w 4716235"/>
              <a:gd name="connsiteY4750" fmla="*/ 4021958 h 4596459"/>
              <a:gd name="connsiteX4751" fmla="*/ 90827 w 4716235"/>
              <a:gd name="connsiteY4751" fmla="*/ 4032696 h 4596459"/>
              <a:gd name="connsiteX4752" fmla="*/ 80091 w 4716235"/>
              <a:gd name="connsiteY4752" fmla="*/ 4021958 h 4596459"/>
              <a:gd name="connsiteX4753" fmla="*/ 84387 w 4716235"/>
              <a:gd name="connsiteY4753" fmla="*/ 4017664 h 4596459"/>
              <a:gd name="connsiteX4754" fmla="*/ 74476 w 4716235"/>
              <a:gd name="connsiteY4754" fmla="*/ 4007753 h 4596459"/>
              <a:gd name="connsiteX4755" fmla="*/ 78027 w 4716235"/>
              <a:gd name="connsiteY4755" fmla="*/ 4004203 h 4596459"/>
              <a:gd name="connsiteX4756" fmla="*/ 67702 w 4716235"/>
              <a:gd name="connsiteY4756" fmla="*/ 3993878 h 4596459"/>
              <a:gd name="connsiteX4757" fmla="*/ 70511 w 4716235"/>
              <a:gd name="connsiteY4757" fmla="*/ 3991070 h 4596459"/>
              <a:gd name="connsiteX4758" fmla="*/ 59940 w 4716235"/>
              <a:gd name="connsiteY4758" fmla="*/ 3980499 h 4596459"/>
              <a:gd name="connsiteX4759" fmla="*/ 70676 w 4716235"/>
              <a:gd name="connsiteY4759" fmla="*/ 3969762 h 4596459"/>
              <a:gd name="connsiteX4760" fmla="*/ 177878 w 4716235"/>
              <a:gd name="connsiteY4760" fmla="*/ 3969431 h 4596459"/>
              <a:gd name="connsiteX4761" fmla="*/ 188615 w 4716235"/>
              <a:gd name="connsiteY4761" fmla="*/ 3980167 h 4596459"/>
              <a:gd name="connsiteX4762" fmla="*/ 177878 w 4716235"/>
              <a:gd name="connsiteY4762" fmla="*/ 3990905 h 4596459"/>
              <a:gd name="connsiteX4763" fmla="*/ 167142 w 4716235"/>
              <a:gd name="connsiteY4763" fmla="*/ 3980167 h 4596459"/>
              <a:gd name="connsiteX4764" fmla="*/ 177878 w 4716235"/>
              <a:gd name="connsiteY4764" fmla="*/ 3969431 h 4596459"/>
              <a:gd name="connsiteX4765" fmla="*/ 3353324 w 4716235"/>
              <a:gd name="connsiteY4765" fmla="*/ 3968276 h 4596459"/>
              <a:gd name="connsiteX4766" fmla="*/ 3364060 w 4716235"/>
              <a:gd name="connsiteY4766" fmla="*/ 3979012 h 4596459"/>
              <a:gd name="connsiteX4767" fmla="*/ 3353324 w 4716235"/>
              <a:gd name="connsiteY4767" fmla="*/ 3989749 h 4596459"/>
              <a:gd name="connsiteX4768" fmla="*/ 3342588 w 4716235"/>
              <a:gd name="connsiteY4768" fmla="*/ 3979012 h 4596459"/>
              <a:gd name="connsiteX4769" fmla="*/ 3353324 w 4716235"/>
              <a:gd name="connsiteY4769" fmla="*/ 3968276 h 4596459"/>
              <a:gd name="connsiteX4770" fmla="*/ 1191760 w 4716235"/>
              <a:gd name="connsiteY4770" fmla="*/ 3967449 h 4596459"/>
              <a:gd name="connsiteX4771" fmla="*/ 1202498 w 4716235"/>
              <a:gd name="connsiteY4771" fmla="*/ 3978185 h 4596459"/>
              <a:gd name="connsiteX4772" fmla="*/ 1191760 w 4716235"/>
              <a:gd name="connsiteY4772" fmla="*/ 3988923 h 4596459"/>
              <a:gd name="connsiteX4773" fmla="*/ 1181024 w 4716235"/>
              <a:gd name="connsiteY4773" fmla="*/ 3978185 h 4596459"/>
              <a:gd name="connsiteX4774" fmla="*/ 1191760 w 4716235"/>
              <a:gd name="connsiteY4774" fmla="*/ 3967449 h 4596459"/>
              <a:gd name="connsiteX4775" fmla="*/ 246925 w 4716235"/>
              <a:gd name="connsiteY4775" fmla="*/ 3967449 h 4596459"/>
              <a:gd name="connsiteX4776" fmla="*/ 257661 w 4716235"/>
              <a:gd name="connsiteY4776" fmla="*/ 3978185 h 4596459"/>
              <a:gd name="connsiteX4777" fmla="*/ 246925 w 4716235"/>
              <a:gd name="connsiteY4777" fmla="*/ 3988923 h 4596459"/>
              <a:gd name="connsiteX4778" fmla="*/ 236189 w 4716235"/>
              <a:gd name="connsiteY4778" fmla="*/ 3978185 h 4596459"/>
              <a:gd name="connsiteX4779" fmla="*/ 246925 w 4716235"/>
              <a:gd name="connsiteY4779" fmla="*/ 3967449 h 4596459"/>
              <a:gd name="connsiteX4780" fmla="*/ 3542621 w 4716235"/>
              <a:gd name="connsiteY4780" fmla="*/ 3966623 h 4596459"/>
              <a:gd name="connsiteX4781" fmla="*/ 3553359 w 4716235"/>
              <a:gd name="connsiteY4781" fmla="*/ 3977360 h 4596459"/>
              <a:gd name="connsiteX4782" fmla="*/ 3542621 w 4716235"/>
              <a:gd name="connsiteY4782" fmla="*/ 3988096 h 4596459"/>
              <a:gd name="connsiteX4783" fmla="*/ 3531884 w 4716235"/>
              <a:gd name="connsiteY4783" fmla="*/ 3977360 h 4596459"/>
              <a:gd name="connsiteX4784" fmla="*/ 3542621 w 4716235"/>
              <a:gd name="connsiteY4784" fmla="*/ 3966623 h 4596459"/>
              <a:gd name="connsiteX4785" fmla="*/ 36979 w 4716235"/>
              <a:gd name="connsiteY4785" fmla="*/ 3966459 h 4596459"/>
              <a:gd name="connsiteX4786" fmla="*/ 47715 w 4716235"/>
              <a:gd name="connsiteY4786" fmla="*/ 3977195 h 4596459"/>
              <a:gd name="connsiteX4787" fmla="*/ 36979 w 4716235"/>
              <a:gd name="connsiteY4787" fmla="*/ 3987933 h 4596459"/>
              <a:gd name="connsiteX4788" fmla="*/ 26243 w 4716235"/>
              <a:gd name="connsiteY4788" fmla="*/ 3977195 h 4596459"/>
              <a:gd name="connsiteX4789" fmla="*/ 36979 w 4716235"/>
              <a:gd name="connsiteY4789" fmla="*/ 3966459 h 4596459"/>
              <a:gd name="connsiteX4790" fmla="*/ 3508265 w 4716235"/>
              <a:gd name="connsiteY4790" fmla="*/ 3966127 h 4596459"/>
              <a:gd name="connsiteX4791" fmla="*/ 3519001 w 4716235"/>
              <a:gd name="connsiteY4791" fmla="*/ 3976864 h 4596459"/>
              <a:gd name="connsiteX4792" fmla="*/ 3508265 w 4716235"/>
              <a:gd name="connsiteY4792" fmla="*/ 3987600 h 4596459"/>
              <a:gd name="connsiteX4793" fmla="*/ 3497528 w 4716235"/>
              <a:gd name="connsiteY4793" fmla="*/ 3976864 h 4596459"/>
              <a:gd name="connsiteX4794" fmla="*/ 3508265 w 4716235"/>
              <a:gd name="connsiteY4794" fmla="*/ 3966127 h 4596459"/>
              <a:gd name="connsiteX4795" fmla="*/ 95784 w 4716235"/>
              <a:gd name="connsiteY4795" fmla="*/ 3965963 h 4596459"/>
              <a:gd name="connsiteX4796" fmla="*/ 106520 w 4716235"/>
              <a:gd name="connsiteY4796" fmla="*/ 3976699 h 4596459"/>
              <a:gd name="connsiteX4797" fmla="*/ 95784 w 4716235"/>
              <a:gd name="connsiteY4797" fmla="*/ 3987435 h 4596459"/>
              <a:gd name="connsiteX4798" fmla="*/ 85047 w 4716235"/>
              <a:gd name="connsiteY4798" fmla="*/ 3976699 h 4596459"/>
              <a:gd name="connsiteX4799" fmla="*/ 95784 w 4716235"/>
              <a:gd name="connsiteY4799" fmla="*/ 3965963 h 4596459"/>
              <a:gd name="connsiteX4800" fmla="*/ 3412624 w 4716235"/>
              <a:gd name="connsiteY4800" fmla="*/ 3965302 h 4596459"/>
              <a:gd name="connsiteX4801" fmla="*/ 3423362 w 4716235"/>
              <a:gd name="connsiteY4801" fmla="*/ 3976038 h 4596459"/>
              <a:gd name="connsiteX4802" fmla="*/ 3412624 w 4716235"/>
              <a:gd name="connsiteY4802" fmla="*/ 3986776 h 4596459"/>
              <a:gd name="connsiteX4803" fmla="*/ 3401888 w 4716235"/>
              <a:gd name="connsiteY4803" fmla="*/ 3976038 h 4596459"/>
              <a:gd name="connsiteX4804" fmla="*/ 3412624 w 4716235"/>
              <a:gd name="connsiteY4804" fmla="*/ 3965302 h 4596459"/>
              <a:gd name="connsiteX4805" fmla="*/ 126012 w 4716235"/>
              <a:gd name="connsiteY4805" fmla="*/ 3962824 h 4596459"/>
              <a:gd name="connsiteX4806" fmla="*/ 136749 w 4716235"/>
              <a:gd name="connsiteY4806" fmla="*/ 3973560 h 4596459"/>
              <a:gd name="connsiteX4807" fmla="*/ 126012 w 4716235"/>
              <a:gd name="connsiteY4807" fmla="*/ 3984298 h 4596459"/>
              <a:gd name="connsiteX4808" fmla="*/ 115276 w 4716235"/>
              <a:gd name="connsiteY4808" fmla="*/ 3973560 h 4596459"/>
              <a:gd name="connsiteX4809" fmla="*/ 126012 w 4716235"/>
              <a:gd name="connsiteY4809" fmla="*/ 3962824 h 4596459"/>
              <a:gd name="connsiteX4810" fmla="*/ 3624386 w 4716235"/>
              <a:gd name="connsiteY4810" fmla="*/ 3961338 h 4596459"/>
              <a:gd name="connsiteX4811" fmla="*/ 3624717 w 4716235"/>
              <a:gd name="connsiteY4811" fmla="*/ 3961667 h 4596459"/>
              <a:gd name="connsiteX4812" fmla="*/ 3624386 w 4716235"/>
              <a:gd name="connsiteY4812" fmla="*/ 3961998 h 4596459"/>
              <a:gd name="connsiteX4813" fmla="*/ 3624056 w 4716235"/>
              <a:gd name="connsiteY4813" fmla="*/ 3961667 h 4596459"/>
              <a:gd name="connsiteX4814" fmla="*/ 3624386 w 4716235"/>
              <a:gd name="connsiteY4814" fmla="*/ 3961338 h 4596459"/>
              <a:gd name="connsiteX4815" fmla="*/ 3273872 w 4716235"/>
              <a:gd name="connsiteY4815" fmla="*/ 3960016 h 4596459"/>
              <a:gd name="connsiteX4816" fmla="*/ 3284608 w 4716235"/>
              <a:gd name="connsiteY4816" fmla="*/ 3970752 h 4596459"/>
              <a:gd name="connsiteX4817" fmla="*/ 3273872 w 4716235"/>
              <a:gd name="connsiteY4817" fmla="*/ 3981489 h 4596459"/>
              <a:gd name="connsiteX4818" fmla="*/ 3263136 w 4716235"/>
              <a:gd name="connsiteY4818" fmla="*/ 3970752 h 4596459"/>
              <a:gd name="connsiteX4819" fmla="*/ 3273872 w 4716235"/>
              <a:gd name="connsiteY4819" fmla="*/ 3960016 h 4596459"/>
              <a:gd name="connsiteX4820" fmla="*/ 3483983 w 4716235"/>
              <a:gd name="connsiteY4820" fmla="*/ 3959520 h 4596459"/>
              <a:gd name="connsiteX4821" fmla="*/ 3494719 w 4716235"/>
              <a:gd name="connsiteY4821" fmla="*/ 3970257 h 4596459"/>
              <a:gd name="connsiteX4822" fmla="*/ 3483983 w 4716235"/>
              <a:gd name="connsiteY4822" fmla="*/ 3980993 h 4596459"/>
              <a:gd name="connsiteX4823" fmla="*/ 3473246 w 4716235"/>
              <a:gd name="connsiteY4823" fmla="*/ 3970257 h 4596459"/>
              <a:gd name="connsiteX4824" fmla="*/ 3483983 w 4716235"/>
              <a:gd name="connsiteY4824" fmla="*/ 3959520 h 4596459"/>
              <a:gd name="connsiteX4825" fmla="*/ 2774032 w 4716235"/>
              <a:gd name="connsiteY4825" fmla="*/ 3956877 h 4596459"/>
              <a:gd name="connsiteX4826" fmla="*/ 2784771 w 4716235"/>
              <a:gd name="connsiteY4826" fmla="*/ 3967614 h 4596459"/>
              <a:gd name="connsiteX4827" fmla="*/ 2774032 w 4716235"/>
              <a:gd name="connsiteY4827" fmla="*/ 3978350 h 4596459"/>
              <a:gd name="connsiteX4828" fmla="*/ 2763296 w 4716235"/>
              <a:gd name="connsiteY4828" fmla="*/ 3967614 h 4596459"/>
              <a:gd name="connsiteX4829" fmla="*/ 2774032 w 4716235"/>
              <a:gd name="connsiteY4829" fmla="*/ 3956877 h 4596459"/>
              <a:gd name="connsiteX4830" fmla="*/ 3583421 w 4716235"/>
              <a:gd name="connsiteY4830" fmla="*/ 3956713 h 4596459"/>
              <a:gd name="connsiteX4831" fmla="*/ 3594159 w 4716235"/>
              <a:gd name="connsiteY4831" fmla="*/ 3967449 h 4596459"/>
              <a:gd name="connsiteX4832" fmla="*/ 3583421 w 4716235"/>
              <a:gd name="connsiteY4832" fmla="*/ 3978185 h 4596459"/>
              <a:gd name="connsiteX4833" fmla="*/ 3572685 w 4716235"/>
              <a:gd name="connsiteY4833" fmla="*/ 3967449 h 4596459"/>
              <a:gd name="connsiteX4834" fmla="*/ 3583421 w 4716235"/>
              <a:gd name="connsiteY4834" fmla="*/ 3956713 h 4596459"/>
              <a:gd name="connsiteX4835" fmla="*/ 448941 w 4716235"/>
              <a:gd name="connsiteY4835" fmla="*/ 3956548 h 4596459"/>
              <a:gd name="connsiteX4836" fmla="*/ 459678 w 4716235"/>
              <a:gd name="connsiteY4836" fmla="*/ 3967284 h 4596459"/>
              <a:gd name="connsiteX4837" fmla="*/ 448941 w 4716235"/>
              <a:gd name="connsiteY4837" fmla="*/ 3978022 h 4596459"/>
              <a:gd name="connsiteX4838" fmla="*/ 438204 w 4716235"/>
              <a:gd name="connsiteY4838" fmla="*/ 3967284 h 4596459"/>
              <a:gd name="connsiteX4839" fmla="*/ 448941 w 4716235"/>
              <a:gd name="connsiteY4839" fmla="*/ 3956548 h 4596459"/>
              <a:gd name="connsiteX4840" fmla="*/ 3457883 w 4716235"/>
              <a:gd name="connsiteY4840" fmla="*/ 3956383 h 4596459"/>
              <a:gd name="connsiteX4841" fmla="*/ 3468621 w 4716235"/>
              <a:gd name="connsiteY4841" fmla="*/ 3967119 h 4596459"/>
              <a:gd name="connsiteX4842" fmla="*/ 3457883 w 4716235"/>
              <a:gd name="connsiteY4842" fmla="*/ 3977856 h 4596459"/>
              <a:gd name="connsiteX4843" fmla="*/ 3447147 w 4716235"/>
              <a:gd name="connsiteY4843" fmla="*/ 3967119 h 4596459"/>
              <a:gd name="connsiteX4844" fmla="*/ 3457883 w 4716235"/>
              <a:gd name="connsiteY4844" fmla="*/ 3956383 h 4596459"/>
              <a:gd name="connsiteX4845" fmla="*/ 61920 w 4716235"/>
              <a:gd name="connsiteY4845" fmla="*/ 3956217 h 4596459"/>
              <a:gd name="connsiteX4846" fmla="*/ 72658 w 4716235"/>
              <a:gd name="connsiteY4846" fmla="*/ 3966953 h 4596459"/>
              <a:gd name="connsiteX4847" fmla="*/ 61920 w 4716235"/>
              <a:gd name="connsiteY4847" fmla="*/ 3977689 h 4596459"/>
              <a:gd name="connsiteX4848" fmla="*/ 51184 w 4716235"/>
              <a:gd name="connsiteY4848" fmla="*/ 3966953 h 4596459"/>
              <a:gd name="connsiteX4849" fmla="*/ 61920 w 4716235"/>
              <a:gd name="connsiteY4849" fmla="*/ 3956217 h 4596459"/>
              <a:gd name="connsiteX4850" fmla="*/ 2449617 w 4716235"/>
              <a:gd name="connsiteY4850" fmla="*/ 3955556 h 4596459"/>
              <a:gd name="connsiteX4851" fmla="*/ 2460354 w 4716235"/>
              <a:gd name="connsiteY4851" fmla="*/ 3966292 h 4596459"/>
              <a:gd name="connsiteX4852" fmla="*/ 2449617 w 4716235"/>
              <a:gd name="connsiteY4852" fmla="*/ 3977030 h 4596459"/>
              <a:gd name="connsiteX4853" fmla="*/ 2438880 w 4716235"/>
              <a:gd name="connsiteY4853" fmla="*/ 3966292 h 4596459"/>
              <a:gd name="connsiteX4854" fmla="*/ 2449617 w 4716235"/>
              <a:gd name="connsiteY4854" fmla="*/ 3955556 h 4596459"/>
              <a:gd name="connsiteX4855" fmla="*/ 576956 w 4716235"/>
              <a:gd name="connsiteY4855" fmla="*/ 3953740 h 4596459"/>
              <a:gd name="connsiteX4856" fmla="*/ 587695 w 4716235"/>
              <a:gd name="connsiteY4856" fmla="*/ 3964476 h 4596459"/>
              <a:gd name="connsiteX4857" fmla="*/ 576956 w 4716235"/>
              <a:gd name="connsiteY4857" fmla="*/ 3975213 h 4596459"/>
              <a:gd name="connsiteX4858" fmla="*/ 566220 w 4716235"/>
              <a:gd name="connsiteY4858" fmla="*/ 3964476 h 4596459"/>
              <a:gd name="connsiteX4859" fmla="*/ 576956 w 4716235"/>
              <a:gd name="connsiteY4859" fmla="*/ 3953740 h 4596459"/>
              <a:gd name="connsiteX4860" fmla="*/ 85708 w 4716235"/>
              <a:gd name="connsiteY4860" fmla="*/ 3952583 h 4596459"/>
              <a:gd name="connsiteX4861" fmla="*/ 96446 w 4716235"/>
              <a:gd name="connsiteY4861" fmla="*/ 3963320 h 4596459"/>
              <a:gd name="connsiteX4862" fmla="*/ 85708 w 4716235"/>
              <a:gd name="connsiteY4862" fmla="*/ 3974056 h 4596459"/>
              <a:gd name="connsiteX4863" fmla="*/ 74972 w 4716235"/>
              <a:gd name="connsiteY4863" fmla="*/ 3963320 h 4596459"/>
              <a:gd name="connsiteX4864" fmla="*/ 85708 w 4716235"/>
              <a:gd name="connsiteY4864" fmla="*/ 3952583 h 4596459"/>
              <a:gd name="connsiteX4865" fmla="*/ 3516523 w 4716235"/>
              <a:gd name="connsiteY4865" fmla="*/ 3951758 h 4596459"/>
              <a:gd name="connsiteX4866" fmla="*/ 3527259 w 4716235"/>
              <a:gd name="connsiteY4866" fmla="*/ 3962494 h 4596459"/>
              <a:gd name="connsiteX4867" fmla="*/ 3516523 w 4716235"/>
              <a:gd name="connsiteY4867" fmla="*/ 3973231 h 4596459"/>
              <a:gd name="connsiteX4868" fmla="*/ 3505787 w 4716235"/>
              <a:gd name="connsiteY4868" fmla="*/ 3962494 h 4596459"/>
              <a:gd name="connsiteX4869" fmla="*/ 3516523 w 4716235"/>
              <a:gd name="connsiteY4869" fmla="*/ 3951758 h 4596459"/>
              <a:gd name="connsiteX4870" fmla="*/ 339260 w 4716235"/>
              <a:gd name="connsiteY4870" fmla="*/ 3951262 h 4596459"/>
              <a:gd name="connsiteX4871" fmla="*/ 349998 w 4716235"/>
              <a:gd name="connsiteY4871" fmla="*/ 3961998 h 4596459"/>
              <a:gd name="connsiteX4872" fmla="*/ 339260 w 4716235"/>
              <a:gd name="connsiteY4872" fmla="*/ 3972735 h 4596459"/>
              <a:gd name="connsiteX4873" fmla="*/ 328524 w 4716235"/>
              <a:gd name="connsiteY4873" fmla="*/ 3961998 h 4596459"/>
              <a:gd name="connsiteX4874" fmla="*/ 339260 w 4716235"/>
              <a:gd name="connsiteY4874" fmla="*/ 3951262 h 4596459"/>
              <a:gd name="connsiteX4875" fmla="*/ 29711 w 4716235"/>
              <a:gd name="connsiteY4875" fmla="*/ 3951262 h 4596459"/>
              <a:gd name="connsiteX4876" fmla="*/ 40447 w 4716235"/>
              <a:gd name="connsiteY4876" fmla="*/ 3961998 h 4596459"/>
              <a:gd name="connsiteX4877" fmla="*/ 29711 w 4716235"/>
              <a:gd name="connsiteY4877" fmla="*/ 3972735 h 4596459"/>
              <a:gd name="connsiteX4878" fmla="*/ 18975 w 4716235"/>
              <a:gd name="connsiteY4878" fmla="*/ 3961998 h 4596459"/>
              <a:gd name="connsiteX4879" fmla="*/ 29711 w 4716235"/>
              <a:gd name="connsiteY4879" fmla="*/ 3951262 h 4596459"/>
              <a:gd name="connsiteX4880" fmla="*/ 3548734 w 4716235"/>
              <a:gd name="connsiteY4880" fmla="*/ 3950270 h 4596459"/>
              <a:gd name="connsiteX4881" fmla="*/ 3559472 w 4716235"/>
              <a:gd name="connsiteY4881" fmla="*/ 3961006 h 4596459"/>
              <a:gd name="connsiteX4882" fmla="*/ 3548734 w 4716235"/>
              <a:gd name="connsiteY4882" fmla="*/ 3971744 h 4596459"/>
              <a:gd name="connsiteX4883" fmla="*/ 3537997 w 4716235"/>
              <a:gd name="connsiteY4883" fmla="*/ 3961006 h 4596459"/>
              <a:gd name="connsiteX4884" fmla="*/ 3548734 w 4716235"/>
              <a:gd name="connsiteY4884" fmla="*/ 3950270 h 4596459"/>
              <a:gd name="connsiteX4885" fmla="*/ 171767 w 4716235"/>
              <a:gd name="connsiteY4885" fmla="*/ 3948288 h 4596459"/>
              <a:gd name="connsiteX4886" fmla="*/ 182505 w 4716235"/>
              <a:gd name="connsiteY4886" fmla="*/ 3959024 h 4596459"/>
              <a:gd name="connsiteX4887" fmla="*/ 171767 w 4716235"/>
              <a:gd name="connsiteY4887" fmla="*/ 3969762 h 4596459"/>
              <a:gd name="connsiteX4888" fmla="*/ 161031 w 4716235"/>
              <a:gd name="connsiteY4888" fmla="*/ 3959024 h 4596459"/>
              <a:gd name="connsiteX4889" fmla="*/ 171767 w 4716235"/>
              <a:gd name="connsiteY4889" fmla="*/ 3948288 h 4596459"/>
              <a:gd name="connsiteX4890" fmla="*/ 3420718 w 4716235"/>
              <a:gd name="connsiteY4890" fmla="*/ 3946472 h 4596459"/>
              <a:gd name="connsiteX4891" fmla="*/ 3431456 w 4716235"/>
              <a:gd name="connsiteY4891" fmla="*/ 3957208 h 4596459"/>
              <a:gd name="connsiteX4892" fmla="*/ 3420718 w 4716235"/>
              <a:gd name="connsiteY4892" fmla="*/ 3967945 h 4596459"/>
              <a:gd name="connsiteX4893" fmla="*/ 3409981 w 4716235"/>
              <a:gd name="connsiteY4893" fmla="*/ 3957208 h 4596459"/>
              <a:gd name="connsiteX4894" fmla="*/ 3420718 w 4716235"/>
              <a:gd name="connsiteY4894" fmla="*/ 3946472 h 4596459"/>
              <a:gd name="connsiteX4895" fmla="*/ 0 w 4716235"/>
              <a:gd name="connsiteY4895" fmla="*/ 3946162 h 4596459"/>
              <a:gd name="connsiteX4896" fmla="*/ 969 w 4716235"/>
              <a:gd name="connsiteY4896" fmla="*/ 3947131 h 4596459"/>
              <a:gd name="connsiteX4897" fmla="*/ 0 w 4716235"/>
              <a:gd name="connsiteY4897" fmla="*/ 3948100 h 4596459"/>
              <a:gd name="connsiteX4898" fmla="*/ 3494058 w 4716235"/>
              <a:gd name="connsiteY4898" fmla="*/ 3945976 h 4596459"/>
              <a:gd name="connsiteX4899" fmla="*/ 3504796 w 4716235"/>
              <a:gd name="connsiteY4899" fmla="*/ 3956713 h 4596459"/>
              <a:gd name="connsiteX4900" fmla="*/ 3494058 w 4716235"/>
              <a:gd name="connsiteY4900" fmla="*/ 3967449 h 4596459"/>
              <a:gd name="connsiteX4901" fmla="*/ 3483322 w 4716235"/>
              <a:gd name="connsiteY4901" fmla="*/ 3956713 h 4596459"/>
              <a:gd name="connsiteX4902" fmla="*/ 3494058 w 4716235"/>
              <a:gd name="connsiteY4902" fmla="*/ 3945976 h 4596459"/>
              <a:gd name="connsiteX4903" fmla="*/ 116927 w 4716235"/>
              <a:gd name="connsiteY4903" fmla="*/ 3945810 h 4596459"/>
              <a:gd name="connsiteX4904" fmla="*/ 127665 w 4716235"/>
              <a:gd name="connsiteY4904" fmla="*/ 3956546 h 4596459"/>
              <a:gd name="connsiteX4905" fmla="*/ 116927 w 4716235"/>
              <a:gd name="connsiteY4905" fmla="*/ 3967284 h 4596459"/>
              <a:gd name="connsiteX4906" fmla="*/ 106191 w 4716235"/>
              <a:gd name="connsiteY4906" fmla="*/ 3956546 h 4596459"/>
              <a:gd name="connsiteX4907" fmla="*/ 116927 w 4716235"/>
              <a:gd name="connsiteY4907" fmla="*/ 3945810 h 4596459"/>
              <a:gd name="connsiteX4908" fmla="*/ 3357288 w 4716235"/>
              <a:gd name="connsiteY4908" fmla="*/ 3944323 h 4596459"/>
              <a:gd name="connsiteX4909" fmla="*/ 3368026 w 4716235"/>
              <a:gd name="connsiteY4909" fmla="*/ 3955060 h 4596459"/>
              <a:gd name="connsiteX4910" fmla="*/ 3357288 w 4716235"/>
              <a:gd name="connsiteY4910" fmla="*/ 3965796 h 4596459"/>
              <a:gd name="connsiteX4911" fmla="*/ 3346552 w 4716235"/>
              <a:gd name="connsiteY4911" fmla="*/ 3955060 h 4596459"/>
              <a:gd name="connsiteX4912" fmla="*/ 3357288 w 4716235"/>
              <a:gd name="connsiteY4912" fmla="*/ 3944323 h 4596459"/>
              <a:gd name="connsiteX4913" fmla="*/ 1041776 w 4716235"/>
              <a:gd name="connsiteY4913" fmla="*/ 3943994 h 4596459"/>
              <a:gd name="connsiteX4914" fmla="*/ 1052514 w 4716235"/>
              <a:gd name="connsiteY4914" fmla="*/ 3954730 h 4596459"/>
              <a:gd name="connsiteX4915" fmla="*/ 1041776 w 4716235"/>
              <a:gd name="connsiteY4915" fmla="*/ 3965467 h 4596459"/>
              <a:gd name="connsiteX4916" fmla="*/ 1031039 w 4716235"/>
              <a:gd name="connsiteY4916" fmla="*/ 3954730 h 4596459"/>
              <a:gd name="connsiteX4917" fmla="*/ 1041776 w 4716235"/>
              <a:gd name="connsiteY4917" fmla="*/ 3943994 h 4596459"/>
              <a:gd name="connsiteX4918" fmla="*/ 52176 w 4716235"/>
              <a:gd name="connsiteY4918" fmla="*/ 3942673 h 4596459"/>
              <a:gd name="connsiteX4919" fmla="*/ 62912 w 4716235"/>
              <a:gd name="connsiteY4919" fmla="*/ 3953409 h 4596459"/>
              <a:gd name="connsiteX4920" fmla="*/ 52176 w 4716235"/>
              <a:gd name="connsiteY4920" fmla="*/ 3964147 h 4596459"/>
              <a:gd name="connsiteX4921" fmla="*/ 41440 w 4716235"/>
              <a:gd name="connsiteY4921" fmla="*/ 3953409 h 4596459"/>
              <a:gd name="connsiteX4922" fmla="*/ 52176 w 4716235"/>
              <a:gd name="connsiteY4922" fmla="*/ 3942673 h 4596459"/>
              <a:gd name="connsiteX4923" fmla="*/ 725620 w 4716235"/>
              <a:gd name="connsiteY4923" fmla="*/ 3941020 h 4596459"/>
              <a:gd name="connsiteX4924" fmla="*/ 736358 w 4716235"/>
              <a:gd name="connsiteY4924" fmla="*/ 3951756 h 4596459"/>
              <a:gd name="connsiteX4925" fmla="*/ 725620 w 4716235"/>
              <a:gd name="connsiteY4925" fmla="*/ 3962494 h 4596459"/>
              <a:gd name="connsiteX4926" fmla="*/ 714883 w 4716235"/>
              <a:gd name="connsiteY4926" fmla="*/ 3951756 h 4596459"/>
              <a:gd name="connsiteX4927" fmla="*/ 725620 w 4716235"/>
              <a:gd name="connsiteY4927" fmla="*/ 3941020 h 4596459"/>
              <a:gd name="connsiteX4928" fmla="*/ 3468125 w 4716235"/>
              <a:gd name="connsiteY4928" fmla="*/ 3940690 h 4596459"/>
              <a:gd name="connsiteX4929" fmla="*/ 3478862 w 4716235"/>
              <a:gd name="connsiteY4929" fmla="*/ 3951427 h 4596459"/>
              <a:gd name="connsiteX4930" fmla="*/ 3468125 w 4716235"/>
              <a:gd name="connsiteY4930" fmla="*/ 3962163 h 4596459"/>
              <a:gd name="connsiteX4931" fmla="*/ 3457389 w 4716235"/>
              <a:gd name="connsiteY4931" fmla="*/ 3951427 h 4596459"/>
              <a:gd name="connsiteX4932" fmla="*/ 3468125 w 4716235"/>
              <a:gd name="connsiteY4932" fmla="*/ 3940690 h 4596459"/>
              <a:gd name="connsiteX4933" fmla="*/ 245933 w 4716235"/>
              <a:gd name="connsiteY4933" fmla="*/ 3939865 h 4596459"/>
              <a:gd name="connsiteX4934" fmla="*/ 256671 w 4716235"/>
              <a:gd name="connsiteY4934" fmla="*/ 3950601 h 4596459"/>
              <a:gd name="connsiteX4935" fmla="*/ 245933 w 4716235"/>
              <a:gd name="connsiteY4935" fmla="*/ 3961338 h 4596459"/>
              <a:gd name="connsiteX4936" fmla="*/ 235197 w 4716235"/>
              <a:gd name="connsiteY4936" fmla="*/ 3950601 h 4596459"/>
              <a:gd name="connsiteX4937" fmla="*/ 245933 w 4716235"/>
              <a:gd name="connsiteY4937" fmla="*/ 3939865 h 4596459"/>
              <a:gd name="connsiteX4938" fmla="*/ 3588377 w 4716235"/>
              <a:gd name="connsiteY4938" fmla="*/ 3938212 h 4596459"/>
              <a:gd name="connsiteX4939" fmla="*/ 3599114 w 4716235"/>
              <a:gd name="connsiteY4939" fmla="*/ 3948949 h 4596459"/>
              <a:gd name="connsiteX4940" fmla="*/ 3588377 w 4716235"/>
              <a:gd name="connsiteY4940" fmla="*/ 3959685 h 4596459"/>
              <a:gd name="connsiteX4941" fmla="*/ 3577641 w 4716235"/>
              <a:gd name="connsiteY4941" fmla="*/ 3948949 h 4596459"/>
              <a:gd name="connsiteX4942" fmla="*/ 3588377 w 4716235"/>
              <a:gd name="connsiteY4942" fmla="*/ 3938212 h 4596459"/>
              <a:gd name="connsiteX4943" fmla="*/ 3525608 w 4716235"/>
              <a:gd name="connsiteY4943" fmla="*/ 3937716 h 4596459"/>
              <a:gd name="connsiteX4944" fmla="*/ 3536346 w 4716235"/>
              <a:gd name="connsiteY4944" fmla="*/ 3948453 h 4596459"/>
              <a:gd name="connsiteX4945" fmla="*/ 3525608 w 4716235"/>
              <a:gd name="connsiteY4945" fmla="*/ 3959189 h 4596459"/>
              <a:gd name="connsiteX4946" fmla="*/ 3514872 w 4716235"/>
              <a:gd name="connsiteY4946" fmla="*/ 3948453 h 4596459"/>
              <a:gd name="connsiteX4947" fmla="*/ 3525608 w 4716235"/>
              <a:gd name="connsiteY4947" fmla="*/ 3937716 h 4596459"/>
              <a:gd name="connsiteX4948" fmla="*/ 75136 w 4716235"/>
              <a:gd name="connsiteY4948" fmla="*/ 3937716 h 4596459"/>
              <a:gd name="connsiteX4949" fmla="*/ 85873 w 4716235"/>
              <a:gd name="connsiteY4949" fmla="*/ 3948453 h 4596459"/>
              <a:gd name="connsiteX4950" fmla="*/ 75136 w 4716235"/>
              <a:gd name="connsiteY4950" fmla="*/ 3959189 h 4596459"/>
              <a:gd name="connsiteX4951" fmla="*/ 64400 w 4716235"/>
              <a:gd name="connsiteY4951" fmla="*/ 3948453 h 4596459"/>
              <a:gd name="connsiteX4952" fmla="*/ 75136 w 4716235"/>
              <a:gd name="connsiteY4952" fmla="*/ 3937716 h 4596459"/>
              <a:gd name="connsiteX4953" fmla="*/ 21451 w 4716235"/>
              <a:gd name="connsiteY4953" fmla="*/ 3936395 h 4596459"/>
              <a:gd name="connsiteX4954" fmla="*/ 32188 w 4716235"/>
              <a:gd name="connsiteY4954" fmla="*/ 3947131 h 4596459"/>
              <a:gd name="connsiteX4955" fmla="*/ 21451 w 4716235"/>
              <a:gd name="connsiteY4955" fmla="*/ 3957869 h 4596459"/>
              <a:gd name="connsiteX4956" fmla="*/ 10715 w 4716235"/>
              <a:gd name="connsiteY4956" fmla="*/ 3947131 h 4596459"/>
              <a:gd name="connsiteX4957" fmla="*/ 21451 w 4716235"/>
              <a:gd name="connsiteY4957" fmla="*/ 3936395 h 4596459"/>
              <a:gd name="connsiteX4958" fmla="*/ 3556167 w 4716235"/>
              <a:gd name="connsiteY4958" fmla="*/ 3934413 h 4596459"/>
              <a:gd name="connsiteX4959" fmla="*/ 3566903 w 4716235"/>
              <a:gd name="connsiteY4959" fmla="*/ 3945149 h 4596459"/>
              <a:gd name="connsiteX4960" fmla="*/ 3556167 w 4716235"/>
              <a:gd name="connsiteY4960" fmla="*/ 3955887 h 4596459"/>
              <a:gd name="connsiteX4961" fmla="*/ 3545430 w 4716235"/>
              <a:gd name="connsiteY4961" fmla="*/ 3945149 h 4596459"/>
              <a:gd name="connsiteX4962" fmla="*/ 3556167 w 4716235"/>
              <a:gd name="connsiteY4962" fmla="*/ 3934413 h 4596459"/>
              <a:gd name="connsiteX4963" fmla="*/ 3167660 w 4716235"/>
              <a:gd name="connsiteY4963" fmla="*/ 3934248 h 4596459"/>
              <a:gd name="connsiteX4964" fmla="*/ 3178396 w 4716235"/>
              <a:gd name="connsiteY4964" fmla="*/ 3944984 h 4596459"/>
              <a:gd name="connsiteX4965" fmla="*/ 3167660 w 4716235"/>
              <a:gd name="connsiteY4965" fmla="*/ 3955721 h 4596459"/>
              <a:gd name="connsiteX4966" fmla="*/ 3156924 w 4716235"/>
              <a:gd name="connsiteY4966" fmla="*/ 3944984 h 4596459"/>
              <a:gd name="connsiteX4967" fmla="*/ 3167660 w 4716235"/>
              <a:gd name="connsiteY4967" fmla="*/ 3934248 h 4596459"/>
              <a:gd name="connsiteX4968" fmla="*/ 3045591 w 4716235"/>
              <a:gd name="connsiteY4968" fmla="*/ 3932762 h 4596459"/>
              <a:gd name="connsiteX4969" fmla="*/ 3056329 w 4716235"/>
              <a:gd name="connsiteY4969" fmla="*/ 3943498 h 4596459"/>
              <a:gd name="connsiteX4970" fmla="*/ 3045591 w 4716235"/>
              <a:gd name="connsiteY4970" fmla="*/ 3954236 h 4596459"/>
              <a:gd name="connsiteX4971" fmla="*/ 3034854 w 4716235"/>
              <a:gd name="connsiteY4971" fmla="*/ 3943498 h 4596459"/>
              <a:gd name="connsiteX4972" fmla="*/ 3045591 w 4716235"/>
              <a:gd name="connsiteY4972" fmla="*/ 3932762 h 4596459"/>
              <a:gd name="connsiteX4973" fmla="*/ 3504959 w 4716235"/>
              <a:gd name="connsiteY4973" fmla="*/ 3931770 h 4596459"/>
              <a:gd name="connsiteX4974" fmla="*/ 3515698 w 4716235"/>
              <a:gd name="connsiteY4974" fmla="*/ 3942506 h 4596459"/>
              <a:gd name="connsiteX4975" fmla="*/ 3504959 w 4716235"/>
              <a:gd name="connsiteY4975" fmla="*/ 3953244 h 4596459"/>
              <a:gd name="connsiteX4976" fmla="*/ 3494223 w 4716235"/>
              <a:gd name="connsiteY4976" fmla="*/ 3942506 h 4596459"/>
              <a:gd name="connsiteX4977" fmla="*/ 3504959 w 4716235"/>
              <a:gd name="connsiteY4977" fmla="*/ 3931770 h 4596459"/>
              <a:gd name="connsiteX4978" fmla="*/ 3627856 w 4716235"/>
              <a:gd name="connsiteY4978" fmla="*/ 3930615 h 4596459"/>
              <a:gd name="connsiteX4979" fmla="*/ 3638261 w 4716235"/>
              <a:gd name="connsiteY4979" fmla="*/ 3941022 h 4596459"/>
              <a:gd name="connsiteX4980" fmla="*/ 3627856 w 4716235"/>
              <a:gd name="connsiteY4980" fmla="*/ 3951427 h 4596459"/>
              <a:gd name="connsiteX4981" fmla="*/ 3617449 w 4716235"/>
              <a:gd name="connsiteY4981" fmla="*/ 3941022 h 4596459"/>
              <a:gd name="connsiteX4982" fmla="*/ 3627856 w 4716235"/>
              <a:gd name="connsiteY4982" fmla="*/ 3930615 h 4596459"/>
              <a:gd name="connsiteX4983" fmla="*/ 2596958 w 4716235"/>
              <a:gd name="connsiteY4983" fmla="*/ 3929623 h 4596459"/>
              <a:gd name="connsiteX4984" fmla="*/ 2607694 w 4716235"/>
              <a:gd name="connsiteY4984" fmla="*/ 3940359 h 4596459"/>
              <a:gd name="connsiteX4985" fmla="*/ 2596958 w 4716235"/>
              <a:gd name="connsiteY4985" fmla="*/ 3951097 h 4596459"/>
              <a:gd name="connsiteX4986" fmla="*/ 2586222 w 4716235"/>
              <a:gd name="connsiteY4986" fmla="*/ 3940359 h 4596459"/>
              <a:gd name="connsiteX4987" fmla="*/ 2596958 w 4716235"/>
              <a:gd name="connsiteY4987" fmla="*/ 3929623 h 4596459"/>
              <a:gd name="connsiteX4988" fmla="*/ 1741650 w 4716235"/>
              <a:gd name="connsiteY4988" fmla="*/ 3929292 h 4596459"/>
              <a:gd name="connsiteX4989" fmla="*/ 1752388 w 4716235"/>
              <a:gd name="connsiteY4989" fmla="*/ 3940028 h 4596459"/>
              <a:gd name="connsiteX4990" fmla="*/ 1741650 w 4716235"/>
              <a:gd name="connsiteY4990" fmla="*/ 3950766 h 4596459"/>
              <a:gd name="connsiteX4991" fmla="*/ 1730914 w 4716235"/>
              <a:gd name="connsiteY4991" fmla="*/ 3940028 h 4596459"/>
              <a:gd name="connsiteX4992" fmla="*/ 1741650 w 4716235"/>
              <a:gd name="connsiteY4992" fmla="*/ 3929292 h 4596459"/>
              <a:gd name="connsiteX4993" fmla="*/ 41440 w 4716235"/>
              <a:gd name="connsiteY4993" fmla="*/ 3928466 h 4596459"/>
              <a:gd name="connsiteX4994" fmla="*/ 52177 w 4716235"/>
              <a:gd name="connsiteY4994" fmla="*/ 3939202 h 4596459"/>
              <a:gd name="connsiteX4995" fmla="*/ 41440 w 4716235"/>
              <a:gd name="connsiteY4995" fmla="*/ 3949939 h 4596459"/>
              <a:gd name="connsiteX4996" fmla="*/ 30703 w 4716235"/>
              <a:gd name="connsiteY4996" fmla="*/ 3939202 h 4596459"/>
              <a:gd name="connsiteX4997" fmla="*/ 41440 w 4716235"/>
              <a:gd name="connsiteY4997" fmla="*/ 3928466 h 4596459"/>
              <a:gd name="connsiteX4998" fmla="*/ 3271723 w 4716235"/>
              <a:gd name="connsiteY4998" fmla="*/ 3928301 h 4596459"/>
              <a:gd name="connsiteX4999" fmla="*/ 3282460 w 4716235"/>
              <a:gd name="connsiteY4999" fmla="*/ 3939038 h 4596459"/>
              <a:gd name="connsiteX5000" fmla="*/ 3271723 w 4716235"/>
              <a:gd name="connsiteY5000" fmla="*/ 3949774 h 4596459"/>
              <a:gd name="connsiteX5001" fmla="*/ 3260987 w 4716235"/>
              <a:gd name="connsiteY5001" fmla="*/ 3939038 h 4596459"/>
              <a:gd name="connsiteX5002" fmla="*/ 3271723 w 4716235"/>
              <a:gd name="connsiteY5002" fmla="*/ 3928301 h 4596459"/>
              <a:gd name="connsiteX5003" fmla="*/ 1907988 w 4716235"/>
              <a:gd name="connsiteY5003" fmla="*/ 3927641 h 4596459"/>
              <a:gd name="connsiteX5004" fmla="*/ 1918726 w 4716235"/>
              <a:gd name="connsiteY5004" fmla="*/ 3938377 h 4596459"/>
              <a:gd name="connsiteX5005" fmla="*/ 1907988 w 4716235"/>
              <a:gd name="connsiteY5005" fmla="*/ 3949115 h 4596459"/>
              <a:gd name="connsiteX5006" fmla="*/ 1897252 w 4716235"/>
              <a:gd name="connsiteY5006" fmla="*/ 3938377 h 4596459"/>
              <a:gd name="connsiteX5007" fmla="*/ 1907988 w 4716235"/>
              <a:gd name="connsiteY5007" fmla="*/ 3927641 h 4596459"/>
              <a:gd name="connsiteX5008" fmla="*/ 107842 w 4716235"/>
              <a:gd name="connsiteY5008" fmla="*/ 3926649 h 4596459"/>
              <a:gd name="connsiteX5009" fmla="*/ 118580 w 4716235"/>
              <a:gd name="connsiteY5009" fmla="*/ 3937385 h 4596459"/>
              <a:gd name="connsiteX5010" fmla="*/ 107842 w 4716235"/>
              <a:gd name="connsiteY5010" fmla="*/ 3948123 h 4596459"/>
              <a:gd name="connsiteX5011" fmla="*/ 97105 w 4716235"/>
              <a:gd name="connsiteY5011" fmla="*/ 3937385 h 4596459"/>
              <a:gd name="connsiteX5012" fmla="*/ 107842 w 4716235"/>
              <a:gd name="connsiteY5012" fmla="*/ 3926649 h 4596459"/>
              <a:gd name="connsiteX5013" fmla="*/ 3428151 w 4716235"/>
              <a:gd name="connsiteY5013" fmla="*/ 3924998 h 4596459"/>
              <a:gd name="connsiteX5014" fmla="*/ 3438887 w 4716235"/>
              <a:gd name="connsiteY5014" fmla="*/ 3935734 h 4596459"/>
              <a:gd name="connsiteX5015" fmla="*/ 3428151 w 4716235"/>
              <a:gd name="connsiteY5015" fmla="*/ 3946472 h 4596459"/>
              <a:gd name="connsiteX5016" fmla="*/ 3417414 w 4716235"/>
              <a:gd name="connsiteY5016" fmla="*/ 3935734 h 4596459"/>
              <a:gd name="connsiteX5017" fmla="*/ 3428151 w 4716235"/>
              <a:gd name="connsiteY5017" fmla="*/ 3924998 h 4596459"/>
              <a:gd name="connsiteX5018" fmla="*/ 1575477 w 4716235"/>
              <a:gd name="connsiteY5018" fmla="*/ 3924833 h 4596459"/>
              <a:gd name="connsiteX5019" fmla="*/ 1586215 w 4716235"/>
              <a:gd name="connsiteY5019" fmla="*/ 3935569 h 4596459"/>
              <a:gd name="connsiteX5020" fmla="*/ 1575477 w 4716235"/>
              <a:gd name="connsiteY5020" fmla="*/ 3946306 h 4596459"/>
              <a:gd name="connsiteX5021" fmla="*/ 1564741 w 4716235"/>
              <a:gd name="connsiteY5021" fmla="*/ 3935569 h 4596459"/>
              <a:gd name="connsiteX5022" fmla="*/ 1575477 w 4716235"/>
              <a:gd name="connsiteY5022" fmla="*/ 3924833 h 4596459"/>
              <a:gd name="connsiteX5023" fmla="*/ 166481 w 4716235"/>
              <a:gd name="connsiteY5023" fmla="*/ 3923841 h 4596459"/>
              <a:gd name="connsiteX5024" fmla="*/ 177219 w 4716235"/>
              <a:gd name="connsiteY5024" fmla="*/ 3934577 h 4596459"/>
              <a:gd name="connsiteX5025" fmla="*/ 166481 w 4716235"/>
              <a:gd name="connsiteY5025" fmla="*/ 3945314 h 4596459"/>
              <a:gd name="connsiteX5026" fmla="*/ 155745 w 4716235"/>
              <a:gd name="connsiteY5026" fmla="*/ 3934577 h 4596459"/>
              <a:gd name="connsiteX5027" fmla="*/ 166481 w 4716235"/>
              <a:gd name="connsiteY5027" fmla="*/ 3923841 h 4596459"/>
              <a:gd name="connsiteX5028" fmla="*/ 3535849 w 4716235"/>
              <a:gd name="connsiteY5028" fmla="*/ 3923347 h 4596459"/>
              <a:gd name="connsiteX5029" fmla="*/ 3546587 w 4716235"/>
              <a:gd name="connsiteY5029" fmla="*/ 3934083 h 4596459"/>
              <a:gd name="connsiteX5030" fmla="*/ 3535849 w 4716235"/>
              <a:gd name="connsiteY5030" fmla="*/ 3944819 h 4596459"/>
              <a:gd name="connsiteX5031" fmla="*/ 3525112 w 4716235"/>
              <a:gd name="connsiteY5031" fmla="*/ 3934083 h 4596459"/>
              <a:gd name="connsiteX5032" fmla="*/ 3535849 w 4716235"/>
              <a:gd name="connsiteY5032" fmla="*/ 3923347 h 4596459"/>
              <a:gd name="connsiteX5033" fmla="*/ 3478366 w 4716235"/>
              <a:gd name="connsiteY5033" fmla="*/ 3923180 h 4596459"/>
              <a:gd name="connsiteX5034" fmla="*/ 3489102 w 4716235"/>
              <a:gd name="connsiteY5034" fmla="*/ 3933917 h 4596459"/>
              <a:gd name="connsiteX5035" fmla="*/ 3478366 w 4716235"/>
              <a:gd name="connsiteY5035" fmla="*/ 3944653 h 4596459"/>
              <a:gd name="connsiteX5036" fmla="*/ 3467629 w 4716235"/>
              <a:gd name="connsiteY5036" fmla="*/ 3933917 h 4596459"/>
              <a:gd name="connsiteX5037" fmla="*/ 3478366 w 4716235"/>
              <a:gd name="connsiteY5037" fmla="*/ 3923180 h 4596459"/>
              <a:gd name="connsiteX5038" fmla="*/ 2903370 w 4716235"/>
              <a:gd name="connsiteY5038" fmla="*/ 3921859 h 4596459"/>
              <a:gd name="connsiteX5039" fmla="*/ 2914108 w 4716235"/>
              <a:gd name="connsiteY5039" fmla="*/ 3932595 h 4596459"/>
              <a:gd name="connsiteX5040" fmla="*/ 2903370 w 4716235"/>
              <a:gd name="connsiteY5040" fmla="*/ 3943332 h 4596459"/>
              <a:gd name="connsiteX5041" fmla="*/ 2892634 w 4716235"/>
              <a:gd name="connsiteY5041" fmla="*/ 3932595 h 4596459"/>
              <a:gd name="connsiteX5042" fmla="*/ 2903370 w 4716235"/>
              <a:gd name="connsiteY5042" fmla="*/ 3921859 h 4596459"/>
              <a:gd name="connsiteX5043" fmla="*/ 64069 w 4716235"/>
              <a:gd name="connsiteY5043" fmla="*/ 3921694 h 4596459"/>
              <a:gd name="connsiteX5044" fmla="*/ 74805 w 4716235"/>
              <a:gd name="connsiteY5044" fmla="*/ 3932430 h 4596459"/>
              <a:gd name="connsiteX5045" fmla="*/ 64069 w 4716235"/>
              <a:gd name="connsiteY5045" fmla="*/ 3943167 h 4596459"/>
              <a:gd name="connsiteX5046" fmla="*/ 53333 w 4716235"/>
              <a:gd name="connsiteY5046" fmla="*/ 3932430 h 4596459"/>
              <a:gd name="connsiteX5047" fmla="*/ 64069 w 4716235"/>
              <a:gd name="connsiteY5047" fmla="*/ 3921694 h 4596459"/>
              <a:gd name="connsiteX5048" fmla="*/ 11872 w 4716235"/>
              <a:gd name="connsiteY5048" fmla="*/ 3921529 h 4596459"/>
              <a:gd name="connsiteX5049" fmla="*/ 22610 w 4716235"/>
              <a:gd name="connsiteY5049" fmla="*/ 3932266 h 4596459"/>
              <a:gd name="connsiteX5050" fmla="*/ 11872 w 4716235"/>
              <a:gd name="connsiteY5050" fmla="*/ 3943004 h 4596459"/>
              <a:gd name="connsiteX5051" fmla="*/ 1135 w 4716235"/>
              <a:gd name="connsiteY5051" fmla="*/ 3932266 h 4596459"/>
              <a:gd name="connsiteX5052" fmla="*/ 11872 w 4716235"/>
              <a:gd name="connsiteY5052" fmla="*/ 3921529 h 4596459"/>
              <a:gd name="connsiteX5053" fmla="*/ 3594653 w 4716235"/>
              <a:gd name="connsiteY5053" fmla="*/ 3920373 h 4596459"/>
              <a:gd name="connsiteX5054" fmla="*/ 3605391 w 4716235"/>
              <a:gd name="connsiteY5054" fmla="*/ 3931109 h 4596459"/>
              <a:gd name="connsiteX5055" fmla="*/ 3594653 w 4716235"/>
              <a:gd name="connsiteY5055" fmla="*/ 3941847 h 4596459"/>
              <a:gd name="connsiteX5056" fmla="*/ 3583917 w 4716235"/>
              <a:gd name="connsiteY5056" fmla="*/ 3931109 h 4596459"/>
              <a:gd name="connsiteX5057" fmla="*/ 3594653 w 4716235"/>
              <a:gd name="connsiteY5057" fmla="*/ 3920373 h 4596459"/>
              <a:gd name="connsiteX5058" fmla="*/ 2073334 w 4716235"/>
              <a:gd name="connsiteY5058" fmla="*/ 3919877 h 4596459"/>
              <a:gd name="connsiteX5059" fmla="*/ 2084072 w 4716235"/>
              <a:gd name="connsiteY5059" fmla="*/ 3930613 h 4596459"/>
              <a:gd name="connsiteX5060" fmla="*/ 2073334 w 4716235"/>
              <a:gd name="connsiteY5060" fmla="*/ 3941351 h 4596459"/>
              <a:gd name="connsiteX5061" fmla="*/ 2062598 w 4716235"/>
              <a:gd name="connsiteY5061" fmla="*/ 3930613 h 4596459"/>
              <a:gd name="connsiteX5062" fmla="*/ 2073334 w 4716235"/>
              <a:gd name="connsiteY5062" fmla="*/ 3919877 h 4596459"/>
              <a:gd name="connsiteX5063" fmla="*/ 3564756 w 4716235"/>
              <a:gd name="connsiteY5063" fmla="*/ 3918722 h 4596459"/>
              <a:gd name="connsiteX5064" fmla="*/ 3575494 w 4716235"/>
              <a:gd name="connsiteY5064" fmla="*/ 3929458 h 4596459"/>
              <a:gd name="connsiteX5065" fmla="*/ 3564756 w 4716235"/>
              <a:gd name="connsiteY5065" fmla="*/ 3940194 h 4596459"/>
              <a:gd name="connsiteX5066" fmla="*/ 3554020 w 4716235"/>
              <a:gd name="connsiteY5066" fmla="*/ 3929458 h 4596459"/>
              <a:gd name="connsiteX5067" fmla="*/ 3564756 w 4716235"/>
              <a:gd name="connsiteY5067" fmla="*/ 3918722 h 4596459"/>
              <a:gd name="connsiteX5068" fmla="*/ 3516358 w 4716235"/>
              <a:gd name="connsiteY5068" fmla="*/ 3916408 h 4596459"/>
              <a:gd name="connsiteX5069" fmla="*/ 3527096 w 4716235"/>
              <a:gd name="connsiteY5069" fmla="*/ 3927145 h 4596459"/>
              <a:gd name="connsiteX5070" fmla="*/ 3516358 w 4716235"/>
              <a:gd name="connsiteY5070" fmla="*/ 3937881 h 4596459"/>
              <a:gd name="connsiteX5071" fmla="*/ 3505622 w 4716235"/>
              <a:gd name="connsiteY5071" fmla="*/ 3927145 h 4596459"/>
              <a:gd name="connsiteX5072" fmla="*/ 3516358 w 4716235"/>
              <a:gd name="connsiteY5072" fmla="*/ 3916408 h 4596459"/>
              <a:gd name="connsiteX5073" fmla="*/ 3360262 w 4716235"/>
              <a:gd name="connsiteY5073" fmla="*/ 3916408 h 4596459"/>
              <a:gd name="connsiteX5074" fmla="*/ 3370999 w 4716235"/>
              <a:gd name="connsiteY5074" fmla="*/ 3927145 h 4596459"/>
              <a:gd name="connsiteX5075" fmla="*/ 3360262 w 4716235"/>
              <a:gd name="connsiteY5075" fmla="*/ 3937881 h 4596459"/>
              <a:gd name="connsiteX5076" fmla="*/ 3349526 w 4716235"/>
              <a:gd name="connsiteY5076" fmla="*/ 3927145 h 4596459"/>
              <a:gd name="connsiteX5077" fmla="*/ 3360262 w 4716235"/>
              <a:gd name="connsiteY5077" fmla="*/ 3916408 h 4596459"/>
              <a:gd name="connsiteX5078" fmla="*/ 896747 w 4716235"/>
              <a:gd name="connsiteY5078" fmla="*/ 3915912 h 4596459"/>
              <a:gd name="connsiteX5079" fmla="*/ 907486 w 4716235"/>
              <a:gd name="connsiteY5079" fmla="*/ 3926649 h 4596459"/>
              <a:gd name="connsiteX5080" fmla="*/ 896747 w 4716235"/>
              <a:gd name="connsiteY5080" fmla="*/ 3937385 h 4596459"/>
              <a:gd name="connsiteX5081" fmla="*/ 886011 w 4716235"/>
              <a:gd name="connsiteY5081" fmla="*/ 3926649 h 4596459"/>
              <a:gd name="connsiteX5082" fmla="*/ 896747 w 4716235"/>
              <a:gd name="connsiteY5082" fmla="*/ 3915912 h 4596459"/>
              <a:gd name="connsiteX5083" fmla="*/ 345703 w 4716235"/>
              <a:gd name="connsiteY5083" fmla="*/ 3914591 h 4596459"/>
              <a:gd name="connsiteX5084" fmla="*/ 356441 w 4716235"/>
              <a:gd name="connsiteY5084" fmla="*/ 3925327 h 4596459"/>
              <a:gd name="connsiteX5085" fmla="*/ 345703 w 4716235"/>
              <a:gd name="connsiteY5085" fmla="*/ 3936064 h 4596459"/>
              <a:gd name="connsiteX5086" fmla="*/ 334966 w 4716235"/>
              <a:gd name="connsiteY5086" fmla="*/ 3925327 h 4596459"/>
              <a:gd name="connsiteX5087" fmla="*/ 345703 w 4716235"/>
              <a:gd name="connsiteY5087" fmla="*/ 3914591 h 4596459"/>
              <a:gd name="connsiteX5088" fmla="*/ 1411121 w 4716235"/>
              <a:gd name="connsiteY5088" fmla="*/ 3914261 h 4596459"/>
              <a:gd name="connsiteX5089" fmla="*/ 1421859 w 4716235"/>
              <a:gd name="connsiteY5089" fmla="*/ 3924998 h 4596459"/>
              <a:gd name="connsiteX5090" fmla="*/ 1411121 w 4716235"/>
              <a:gd name="connsiteY5090" fmla="*/ 3935736 h 4596459"/>
              <a:gd name="connsiteX5091" fmla="*/ 1400385 w 4716235"/>
              <a:gd name="connsiteY5091" fmla="*/ 3924998 h 4596459"/>
              <a:gd name="connsiteX5092" fmla="*/ 1411121 w 4716235"/>
              <a:gd name="connsiteY5092" fmla="*/ 3914261 h 4596459"/>
              <a:gd name="connsiteX5093" fmla="*/ 462486 w 4716235"/>
              <a:gd name="connsiteY5093" fmla="*/ 3914097 h 4596459"/>
              <a:gd name="connsiteX5094" fmla="*/ 473224 w 4716235"/>
              <a:gd name="connsiteY5094" fmla="*/ 3924833 h 4596459"/>
              <a:gd name="connsiteX5095" fmla="*/ 462486 w 4716235"/>
              <a:gd name="connsiteY5095" fmla="*/ 3935569 h 4596459"/>
              <a:gd name="connsiteX5096" fmla="*/ 451750 w 4716235"/>
              <a:gd name="connsiteY5096" fmla="*/ 3924833 h 4596459"/>
              <a:gd name="connsiteX5097" fmla="*/ 462486 w 4716235"/>
              <a:gd name="connsiteY5097" fmla="*/ 3914097 h 4596459"/>
              <a:gd name="connsiteX5098" fmla="*/ 30041 w 4716235"/>
              <a:gd name="connsiteY5098" fmla="*/ 3913601 h 4596459"/>
              <a:gd name="connsiteX5099" fmla="*/ 40779 w 4716235"/>
              <a:gd name="connsiteY5099" fmla="*/ 3924337 h 4596459"/>
              <a:gd name="connsiteX5100" fmla="*/ 30041 w 4716235"/>
              <a:gd name="connsiteY5100" fmla="*/ 3935073 h 4596459"/>
              <a:gd name="connsiteX5101" fmla="*/ 19304 w 4716235"/>
              <a:gd name="connsiteY5101" fmla="*/ 3924337 h 4596459"/>
              <a:gd name="connsiteX5102" fmla="*/ 30041 w 4716235"/>
              <a:gd name="connsiteY5102" fmla="*/ 3913601 h 4596459"/>
              <a:gd name="connsiteX5103" fmla="*/ 3671299 w 4716235"/>
              <a:gd name="connsiteY5103" fmla="*/ 3910627 h 4596459"/>
              <a:gd name="connsiteX5104" fmla="*/ 3675760 w 4716235"/>
              <a:gd name="connsiteY5104" fmla="*/ 3915087 h 4596459"/>
              <a:gd name="connsiteX5105" fmla="*/ 3671299 w 4716235"/>
              <a:gd name="connsiteY5105" fmla="*/ 3919547 h 4596459"/>
              <a:gd name="connsiteX5106" fmla="*/ 3666839 w 4716235"/>
              <a:gd name="connsiteY5106" fmla="*/ 3915087 h 4596459"/>
              <a:gd name="connsiteX5107" fmla="*/ 3671299 w 4716235"/>
              <a:gd name="connsiteY5107" fmla="*/ 3910627 h 4596459"/>
              <a:gd name="connsiteX5108" fmla="*/ 3632811 w 4716235"/>
              <a:gd name="connsiteY5108" fmla="*/ 3910462 h 4596459"/>
              <a:gd name="connsiteX5109" fmla="*/ 3643547 w 4716235"/>
              <a:gd name="connsiteY5109" fmla="*/ 3921198 h 4596459"/>
              <a:gd name="connsiteX5110" fmla="*/ 3632811 w 4716235"/>
              <a:gd name="connsiteY5110" fmla="*/ 3931934 h 4596459"/>
              <a:gd name="connsiteX5111" fmla="*/ 3622074 w 4716235"/>
              <a:gd name="connsiteY5111" fmla="*/ 3921198 h 4596459"/>
              <a:gd name="connsiteX5112" fmla="*/ 3632811 w 4716235"/>
              <a:gd name="connsiteY5112" fmla="*/ 3910462 h 4596459"/>
              <a:gd name="connsiteX5113" fmla="*/ 3547081 w 4716235"/>
              <a:gd name="connsiteY5113" fmla="*/ 3908480 h 4596459"/>
              <a:gd name="connsiteX5114" fmla="*/ 3557817 w 4716235"/>
              <a:gd name="connsiteY5114" fmla="*/ 3919216 h 4596459"/>
              <a:gd name="connsiteX5115" fmla="*/ 3547081 w 4716235"/>
              <a:gd name="connsiteY5115" fmla="*/ 3929954 h 4596459"/>
              <a:gd name="connsiteX5116" fmla="*/ 3536345 w 4716235"/>
              <a:gd name="connsiteY5116" fmla="*/ 3919216 h 4596459"/>
              <a:gd name="connsiteX5117" fmla="*/ 3547081 w 4716235"/>
              <a:gd name="connsiteY5117" fmla="*/ 3908480 h 4596459"/>
              <a:gd name="connsiteX5118" fmla="*/ 246264 w 4716235"/>
              <a:gd name="connsiteY5118" fmla="*/ 3907984 h 4596459"/>
              <a:gd name="connsiteX5119" fmla="*/ 257001 w 4716235"/>
              <a:gd name="connsiteY5119" fmla="*/ 3918720 h 4596459"/>
              <a:gd name="connsiteX5120" fmla="*/ 246264 w 4716235"/>
              <a:gd name="connsiteY5120" fmla="*/ 3929458 h 4596459"/>
              <a:gd name="connsiteX5121" fmla="*/ 235528 w 4716235"/>
              <a:gd name="connsiteY5121" fmla="*/ 3918720 h 4596459"/>
              <a:gd name="connsiteX5122" fmla="*/ 246264 w 4716235"/>
              <a:gd name="connsiteY5122" fmla="*/ 3907984 h 4596459"/>
              <a:gd name="connsiteX5123" fmla="*/ 1300 w 4716235"/>
              <a:gd name="connsiteY5123" fmla="*/ 3906497 h 4596459"/>
              <a:gd name="connsiteX5124" fmla="*/ 12038 w 4716235"/>
              <a:gd name="connsiteY5124" fmla="*/ 3917234 h 4596459"/>
              <a:gd name="connsiteX5125" fmla="*/ 1300 w 4716235"/>
              <a:gd name="connsiteY5125" fmla="*/ 3927972 h 4596459"/>
              <a:gd name="connsiteX5126" fmla="*/ 0 w 4716235"/>
              <a:gd name="connsiteY5126" fmla="*/ 3926672 h 4596459"/>
              <a:gd name="connsiteX5127" fmla="*/ 0 w 4716235"/>
              <a:gd name="connsiteY5127" fmla="*/ 3907797 h 4596459"/>
              <a:gd name="connsiteX5128" fmla="*/ 2236202 w 4716235"/>
              <a:gd name="connsiteY5128" fmla="*/ 3906168 h 4596459"/>
              <a:gd name="connsiteX5129" fmla="*/ 2246940 w 4716235"/>
              <a:gd name="connsiteY5129" fmla="*/ 3916904 h 4596459"/>
              <a:gd name="connsiteX5130" fmla="*/ 2236202 w 4716235"/>
              <a:gd name="connsiteY5130" fmla="*/ 3927641 h 4596459"/>
              <a:gd name="connsiteX5131" fmla="*/ 2225466 w 4716235"/>
              <a:gd name="connsiteY5131" fmla="*/ 3916904 h 4596459"/>
              <a:gd name="connsiteX5132" fmla="*/ 2236202 w 4716235"/>
              <a:gd name="connsiteY5132" fmla="*/ 3906168 h 4596459"/>
              <a:gd name="connsiteX5133" fmla="*/ 99087 w 4716235"/>
              <a:gd name="connsiteY5133" fmla="*/ 3904680 h 4596459"/>
              <a:gd name="connsiteX5134" fmla="*/ 109825 w 4716235"/>
              <a:gd name="connsiteY5134" fmla="*/ 3915416 h 4596459"/>
              <a:gd name="connsiteX5135" fmla="*/ 99087 w 4716235"/>
              <a:gd name="connsiteY5135" fmla="*/ 3926153 h 4596459"/>
              <a:gd name="connsiteX5136" fmla="*/ 88351 w 4716235"/>
              <a:gd name="connsiteY5136" fmla="*/ 3915416 h 4596459"/>
              <a:gd name="connsiteX5137" fmla="*/ 99087 w 4716235"/>
              <a:gd name="connsiteY5137" fmla="*/ 3904680 h 4596459"/>
              <a:gd name="connsiteX5138" fmla="*/ 599092 w 4716235"/>
              <a:gd name="connsiteY5138" fmla="*/ 3904515 h 4596459"/>
              <a:gd name="connsiteX5139" fmla="*/ 609828 w 4716235"/>
              <a:gd name="connsiteY5139" fmla="*/ 3915252 h 4596459"/>
              <a:gd name="connsiteX5140" fmla="*/ 599092 w 4716235"/>
              <a:gd name="connsiteY5140" fmla="*/ 3925990 h 4596459"/>
              <a:gd name="connsiteX5141" fmla="*/ 588355 w 4716235"/>
              <a:gd name="connsiteY5141" fmla="*/ 3915252 h 4596459"/>
              <a:gd name="connsiteX5142" fmla="*/ 599092 w 4716235"/>
              <a:gd name="connsiteY5142" fmla="*/ 3904515 h 4596459"/>
              <a:gd name="connsiteX5143" fmla="*/ 53001 w 4716235"/>
              <a:gd name="connsiteY5143" fmla="*/ 3903690 h 4596459"/>
              <a:gd name="connsiteX5144" fmla="*/ 63739 w 4716235"/>
              <a:gd name="connsiteY5144" fmla="*/ 3914426 h 4596459"/>
              <a:gd name="connsiteX5145" fmla="*/ 53001 w 4716235"/>
              <a:gd name="connsiteY5145" fmla="*/ 3925162 h 4596459"/>
              <a:gd name="connsiteX5146" fmla="*/ 42265 w 4716235"/>
              <a:gd name="connsiteY5146" fmla="*/ 3914426 h 4596459"/>
              <a:gd name="connsiteX5147" fmla="*/ 53001 w 4716235"/>
              <a:gd name="connsiteY5147" fmla="*/ 3903690 h 4596459"/>
              <a:gd name="connsiteX5148" fmla="*/ 3488608 w 4716235"/>
              <a:gd name="connsiteY5148" fmla="*/ 3903523 h 4596459"/>
              <a:gd name="connsiteX5149" fmla="*/ 3499344 w 4716235"/>
              <a:gd name="connsiteY5149" fmla="*/ 3914260 h 4596459"/>
              <a:gd name="connsiteX5150" fmla="*/ 3488608 w 4716235"/>
              <a:gd name="connsiteY5150" fmla="*/ 3924996 h 4596459"/>
              <a:gd name="connsiteX5151" fmla="*/ 3477871 w 4716235"/>
              <a:gd name="connsiteY5151" fmla="*/ 3914260 h 4596459"/>
              <a:gd name="connsiteX5152" fmla="*/ 3488608 w 4716235"/>
              <a:gd name="connsiteY5152" fmla="*/ 3903523 h 4596459"/>
              <a:gd name="connsiteX5153" fmla="*/ 3602253 w 4716235"/>
              <a:gd name="connsiteY5153" fmla="*/ 3903029 h 4596459"/>
              <a:gd name="connsiteX5154" fmla="*/ 3612989 w 4716235"/>
              <a:gd name="connsiteY5154" fmla="*/ 3913765 h 4596459"/>
              <a:gd name="connsiteX5155" fmla="*/ 3602253 w 4716235"/>
              <a:gd name="connsiteY5155" fmla="*/ 3924502 h 4596459"/>
              <a:gd name="connsiteX5156" fmla="*/ 3591516 w 4716235"/>
              <a:gd name="connsiteY5156" fmla="*/ 3913765 h 4596459"/>
              <a:gd name="connsiteX5157" fmla="*/ 3602253 w 4716235"/>
              <a:gd name="connsiteY5157" fmla="*/ 3903029 h 4596459"/>
              <a:gd name="connsiteX5158" fmla="*/ 3574667 w 4716235"/>
              <a:gd name="connsiteY5158" fmla="*/ 3903029 h 4596459"/>
              <a:gd name="connsiteX5159" fmla="*/ 3585405 w 4716235"/>
              <a:gd name="connsiteY5159" fmla="*/ 3913765 h 4596459"/>
              <a:gd name="connsiteX5160" fmla="*/ 3574667 w 4716235"/>
              <a:gd name="connsiteY5160" fmla="*/ 3924502 h 4596459"/>
              <a:gd name="connsiteX5161" fmla="*/ 3563930 w 4716235"/>
              <a:gd name="connsiteY5161" fmla="*/ 3913765 h 4596459"/>
              <a:gd name="connsiteX5162" fmla="*/ 3574667 w 4716235"/>
              <a:gd name="connsiteY5162" fmla="*/ 3903029 h 4596459"/>
              <a:gd name="connsiteX5163" fmla="*/ 0 w 4716235"/>
              <a:gd name="connsiteY5163" fmla="*/ 3901399 h 4596459"/>
              <a:gd name="connsiteX5164" fmla="*/ 473 w 4716235"/>
              <a:gd name="connsiteY5164" fmla="*/ 3901872 h 4596459"/>
              <a:gd name="connsiteX5165" fmla="*/ 0 w 4716235"/>
              <a:gd name="connsiteY5165" fmla="*/ 3902345 h 4596459"/>
              <a:gd name="connsiteX5166" fmla="*/ 3435089 w 4716235"/>
              <a:gd name="connsiteY5166" fmla="*/ 3900220 h 4596459"/>
              <a:gd name="connsiteX5167" fmla="*/ 3445825 w 4716235"/>
              <a:gd name="connsiteY5167" fmla="*/ 3910956 h 4596459"/>
              <a:gd name="connsiteX5168" fmla="*/ 3435089 w 4716235"/>
              <a:gd name="connsiteY5168" fmla="*/ 3921694 h 4596459"/>
              <a:gd name="connsiteX5169" fmla="*/ 3424353 w 4716235"/>
              <a:gd name="connsiteY5169" fmla="*/ 3910956 h 4596459"/>
              <a:gd name="connsiteX5170" fmla="*/ 3435089 w 4716235"/>
              <a:gd name="connsiteY5170" fmla="*/ 3900220 h 4596459"/>
              <a:gd name="connsiteX5171" fmla="*/ 3528085 w 4716235"/>
              <a:gd name="connsiteY5171" fmla="*/ 3899561 h 4596459"/>
              <a:gd name="connsiteX5172" fmla="*/ 3538823 w 4716235"/>
              <a:gd name="connsiteY5172" fmla="*/ 3910297 h 4596459"/>
              <a:gd name="connsiteX5173" fmla="*/ 3528085 w 4716235"/>
              <a:gd name="connsiteY5173" fmla="*/ 3921033 h 4596459"/>
              <a:gd name="connsiteX5174" fmla="*/ 3517348 w 4716235"/>
              <a:gd name="connsiteY5174" fmla="*/ 3910297 h 4596459"/>
              <a:gd name="connsiteX5175" fmla="*/ 3528085 w 4716235"/>
              <a:gd name="connsiteY5175" fmla="*/ 3899561 h 4596459"/>
              <a:gd name="connsiteX5176" fmla="*/ 2739014 w 4716235"/>
              <a:gd name="connsiteY5176" fmla="*/ 3899229 h 4596459"/>
              <a:gd name="connsiteX5177" fmla="*/ 2749752 w 4716235"/>
              <a:gd name="connsiteY5177" fmla="*/ 3909966 h 4596459"/>
              <a:gd name="connsiteX5178" fmla="*/ 2739014 w 4716235"/>
              <a:gd name="connsiteY5178" fmla="*/ 3920704 h 4596459"/>
              <a:gd name="connsiteX5179" fmla="*/ 2728278 w 4716235"/>
              <a:gd name="connsiteY5179" fmla="*/ 3909966 h 4596459"/>
              <a:gd name="connsiteX5180" fmla="*/ 2739014 w 4716235"/>
              <a:gd name="connsiteY5180" fmla="*/ 3899229 h 4596459"/>
              <a:gd name="connsiteX5181" fmla="*/ 1249739 w 4716235"/>
              <a:gd name="connsiteY5181" fmla="*/ 3897908 h 4596459"/>
              <a:gd name="connsiteX5182" fmla="*/ 1260477 w 4716235"/>
              <a:gd name="connsiteY5182" fmla="*/ 3908644 h 4596459"/>
              <a:gd name="connsiteX5183" fmla="*/ 1249739 w 4716235"/>
              <a:gd name="connsiteY5183" fmla="*/ 3919381 h 4596459"/>
              <a:gd name="connsiteX5184" fmla="*/ 1239003 w 4716235"/>
              <a:gd name="connsiteY5184" fmla="*/ 3908644 h 4596459"/>
              <a:gd name="connsiteX5185" fmla="*/ 1249739 w 4716235"/>
              <a:gd name="connsiteY5185" fmla="*/ 3897908 h 4596459"/>
              <a:gd name="connsiteX5186" fmla="*/ 18148 w 4716235"/>
              <a:gd name="connsiteY5186" fmla="*/ 3897743 h 4596459"/>
              <a:gd name="connsiteX5187" fmla="*/ 28886 w 4716235"/>
              <a:gd name="connsiteY5187" fmla="*/ 3908480 h 4596459"/>
              <a:gd name="connsiteX5188" fmla="*/ 18148 w 4716235"/>
              <a:gd name="connsiteY5188" fmla="*/ 3919218 h 4596459"/>
              <a:gd name="connsiteX5189" fmla="*/ 7411 w 4716235"/>
              <a:gd name="connsiteY5189" fmla="*/ 3908480 h 4596459"/>
              <a:gd name="connsiteX5190" fmla="*/ 18148 w 4716235"/>
              <a:gd name="connsiteY5190" fmla="*/ 3897743 h 4596459"/>
              <a:gd name="connsiteX5191" fmla="*/ 162021 w 4716235"/>
              <a:gd name="connsiteY5191" fmla="*/ 3895761 h 4596459"/>
              <a:gd name="connsiteX5192" fmla="*/ 172757 w 4716235"/>
              <a:gd name="connsiteY5192" fmla="*/ 3906497 h 4596459"/>
              <a:gd name="connsiteX5193" fmla="*/ 162021 w 4716235"/>
              <a:gd name="connsiteY5193" fmla="*/ 3917234 h 4596459"/>
              <a:gd name="connsiteX5194" fmla="*/ 151285 w 4716235"/>
              <a:gd name="connsiteY5194" fmla="*/ 3906497 h 4596459"/>
              <a:gd name="connsiteX5195" fmla="*/ 162021 w 4716235"/>
              <a:gd name="connsiteY5195" fmla="*/ 3895761 h 4596459"/>
              <a:gd name="connsiteX5196" fmla="*/ 3558974 w 4716235"/>
              <a:gd name="connsiteY5196" fmla="*/ 3892953 h 4596459"/>
              <a:gd name="connsiteX5197" fmla="*/ 3569711 w 4716235"/>
              <a:gd name="connsiteY5197" fmla="*/ 3903690 h 4596459"/>
              <a:gd name="connsiteX5198" fmla="*/ 3558974 w 4716235"/>
              <a:gd name="connsiteY5198" fmla="*/ 3914426 h 4596459"/>
              <a:gd name="connsiteX5199" fmla="*/ 3548238 w 4716235"/>
              <a:gd name="connsiteY5199" fmla="*/ 3903690 h 4596459"/>
              <a:gd name="connsiteX5200" fmla="*/ 3558974 w 4716235"/>
              <a:gd name="connsiteY5200" fmla="*/ 3892953 h 4596459"/>
              <a:gd name="connsiteX5201" fmla="*/ 3156759 w 4716235"/>
              <a:gd name="connsiteY5201" fmla="*/ 3891961 h 4596459"/>
              <a:gd name="connsiteX5202" fmla="*/ 3167495 w 4716235"/>
              <a:gd name="connsiteY5202" fmla="*/ 3902698 h 4596459"/>
              <a:gd name="connsiteX5203" fmla="*/ 3156759 w 4716235"/>
              <a:gd name="connsiteY5203" fmla="*/ 3913436 h 4596459"/>
              <a:gd name="connsiteX5204" fmla="*/ 3146023 w 4716235"/>
              <a:gd name="connsiteY5204" fmla="*/ 3902698 h 4596459"/>
              <a:gd name="connsiteX5205" fmla="*/ 3156759 w 4716235"/>
              <a:gd name="connsiteY5205" fmla="*/ 3891961 h 4596459"/>
              <a:gd name="connsiteX5206" fmla="*/ 3267761 w 4716235"/>
              <a:gd name="connsiteY5206" fmla="*/ 3891465 h 4596459"/>
              <a:gd name="connsiteX5207" fmla="*/ 3278497 w 4716235"/>
              <a:gd name="connsiteY5207" fmla="*/ 3902202 h 4596459"/>
              <a:gd name="connsiteX5208" fmla="*/ 3267761 w 4716235"/>
              <a:gd name="connsiteY5208" fmla="*/ 3912940 h 4596459"/>
              <a:gd name="connsiteX5209" fmla="*/ 3257024 w 4716235"/>
              <a:gd name="connsiteY5209" fmla="*/ 3902202 h 4596459"/>
              <a:gd name="connsiteX5210" fmla="*/ 3267761 w 4716235"/>
              <a:gd name="connsiteY5210" fmla="*/ 3891465 h 4596459"/>
              <a:gd name="connsiteX5211" fmla="*/ 3639087 w 4716235"/>
              <a:gd name="connsiteY5211" fmla="*/ 3891136 h 4596459"/>
              <a:gd name="connsiteX5212" fmla="*/ 3649825 w 4716235"/>
              <a:gd name="connsiteY5212" fmla="*/ 3901872 h 4596459"/>
              <a:gd name="connsiteX5213" fmla="*/ 3639087 w 4716235"/>
              <a:gd name="connsiteY5213" fmla="*/ 3912609 h 4596459"/>
              <a:gd name="connsiteX5214" fmla="*/ 3628350 w 4716235"/>
              <a:gd name="connsiteY5214" fmla="*/ 3901872 h 4596459"/>
              <a:gd name="connsiteX5215" fmla="*/ 3639087 w 4716235"/>
              <a:gd name="connsiteY5215" fmla="*/ 3891136 h 4596459"/>
              <a:gd name="connsiteX5216" fmla="*/ 3585568 w 4716235"/>
              <a:gd name="connsiteY5216" fmla="*/ 3887336 h 4596459"/>
              <a:gd name="connsiteX5217" fmla="*/ 3596304 w 4716235"/>
              <a:gd name="connsiteY5217" fmla="*/ 3898073 h 4596459"/>
              <a:gd name="connsiteX5218" fmla="*/ 3585568 w 4716235"/>
              <a:gd name="connsiteY5218" fmla="*/ 3908811 h 4596459"/>
              <a:gd name="connsiteX5219" fmla="*/ 3574832 w 4716235"/>
              <a:gd name="connsiteY5219" fmla="*/ 3898073 h 4596459"/>
              <a:gd name="connsiteX5220" fmla="*/ 3585568 w 4716235"/>
              <a:gd name="connsiteY5220" fmla="*/ 3887336 h 4596459"/>
              <a:gd name="connsiteX5221" fmla="*/ 2395603 w 4716235"/>
              <a:gd name="connsiteY5221" fmla="*/ 3886840 h 4596459"/>
              <a:gd name="connsiteX5222" fmla="*/ 2406342 w 4716235"/>
              <a:gd name="connsiteY5222" fmla="*/ 3897577 h 4596459"/>
              <a:gd name="connsiteX5223" fmla="*/ 2395603 w 4716235"/>
              <a:gd name="connsiteY5223" fmla="*/ 3908315 h 4596459"/>
              <a:gd name="connsiteX5224" fmla="*/ 2384867 w 4716235"/>
              <a:gd name="connsiteY5224" fmla="*/ 3897577 h 4596459"/>
              <a:gd name="connsiteX5225" fmla="*/ 2395603 w 4716235"/>
              <a:gd name="connsiteY5225" fmla="*/ 3886840 h 4596459"/>
              <a:gd name="connsiteX5226" fmla="*/ 3611336 w 4716235"/>
              <a:gd name="connsiteY5226" fmla="*/ 3886015 h 4596459"/>
              <a:gd name="connsiteX5227" fmla="*/ 3622074 w 4716235"/>
              <a:gd name="connsiteY5227" fmla="*/ 3896751 h 4596459"/>
              <a:gd name="connsiteX5228" fmla="*/ 3611336 w 4716235"/>
              <a:gd name="connsiteY5228" fmla="*/ 3907488 h 4596459"/>
              <a:gd name="connsiteX5229" fmla="*/ 3600600 w 4716235"/>
              <a:gd name="connsiteY5229" fmla="*/ 3896751 h 4596459"/>
              <a:gd name="connsiteX5230" fmla="*/ 3611336 w 4716235"/>
              <a:gd name="connsiteY5230" fmla="*/ 3886015 h 4596459"/>
              <a:gd name="connsiteX5231" fmla="*/ 3361913 w 4716235"/>
              <a:gd name="connsiteY5231" fmla="*/ 3884197 h 4596459"/>
              <a:gd name="connsiteX5232" fmla="*/ 3372651 w 4716235"/>
              <a:gd name="connsiteY5232" fmla="*/ 3894934 h 4596459"/>
              <a:gd name="connsiteX5233" fmla="*/ 3361913 w 4716235"/>
              <a:gd name="connsiteY5233" fmla="*/ 3905672 h 4596459"/>
              <a:gd name="connsiteX5234" fmla="*/ 3351177 w 4716235"/>
              <a:gd name="connsiteY5234" fmla="*/ 3894934 h 4596459"/>
              <a:gd name="connsiteX5235" fmla="*/ 3361913 w 4716235"/>
              <a:gd name="connsiteY5235" fmla="*/ 3884197 h 4596459"/>
              <a:gd name="connsiteX5236" fmla="*/ 3026596 w 4716235"/>
              <a:gd name="connsiteY5236" fmla="*/ 3883868 h 4596459"/>
              <a:gd name="connsiteX5237" fmla="*/ 3037334 w 4716235"/>
              <a:gd name="connsiteY5237" fmla="*/ 3894604 h 4596459"/>
              <a:gd name="connsiteX5238" fmla="*/ 3026596 w 4716235"/>
              <a:gd name="connsiteY5238" fmla="*/ 3905342 h 4596459"/>
              <a:gd name="connsiteX5239" fmla="*/ 3015860 w 4716235"/>
              <a:gd name="connsiteY5239" fmla="*/ 3894604 h 4596459"/>
              <a:gd name="connsiteX5240" fmla="*/ 3026596 w 4716235"/>
              <a:gd name="connsiteY5240" fmla="*/ 3883868 h 4596459"/>
              <a:gd name="connsiteX5241" fmla="*/ 757666 w 4716235"/>
              <a:gd name="connsiteY5241" fmla="*/ 3883702 h 4596459"/>
              <a:gd name="connsiteX5242" fmla="*/ 768404 w 4716235"/>
              <a:gd name="connsiteY5242" fmla="*/ 3894438 h 4596459"/>
              <a:gd name="connsiteX5243" fmla="*/ 757666 w 4716235"/>
              <a:gd name="connsiteY5243" fmla="*/ 3905176 h 4596459"/>
              <a:gd name="connsiteX5244" fmla="*/ 746929 w 4716235"/>
              <a:gd name="connsiteY5244" fmla="*/ 3894438 h 4596459"/>
              <a:gd name="connsiteX5245" fmla="*/ 757666 w 4716235"/>
              <a:gd name="connsiteY5245" fmla="*/ 3883702 h 4596459"/>
              <a:gd name="connsiteX5246" fmla="*/ 41769 w 4716235"/>
              <a:gd name="connsiteY5246" fmla="*/ 3883537 h 4596459"/>
              <a:gd name="connsiteX5247" fmla="*/ 52507 w 4716235"/>
              <a:gd name="connsiteY5247" fmla="*/ 3894273 h 4596459"/>
              <a:gd name="connsiteX5248" fmla="*/ 41769 w 4716235"/>
              <a:gd name="connsiteY5248" fmla="*/ 3905009 h 4596459"/>
              <a:gd name="connsiteX5249" fmla="*/ 31033 w 4716235"/>
              <a:gd name="connsiteY5249" fmla="*/ 3894273 h 4596459"/>
              <a:gd name="connsiteX5250" fmla="*/ 41769 w 4716235"/>
              <a:gd name="connsiteY5250" fmla="*/ 3883537 h 4596459"/>
              <a:gd name="connsiteX5251" fmla="*/ 3676089 w 4716235"/>
              <a:gd name="connsiteY5251" fmla="*/ 3883207 h 4596459"/>
              <a:gd name="connsiteX5252" fmla="*/ 3686825 w 4716235"/>
              <a:gd name="connsiteY5252" fmla="*/ 3893944 h 4596459"/>
              <a:gd name="connsiteX5253" fmla="*/ 3676089 w 4716235"/>
              <a:gd name="connsiteY5253" fmla="*/ 3904682 h 4596459"/>
              <a:gd name="connsiteX5254" fmla="*/ 3665353 w 4716235"/>
              <a:gd name="connsiteY5254" fmla="*/ 3893944 h 4596459"/>
              <a:gd name="connsiteX5255" fmla="*/ 3676089 w 4716235"/>
              <a:gd name="connsiteY5255" fmla="*/ 3883207 h 4596459"/>
              <a:gd name="connsiteX5256" fmla="*/ 3498683 w 4716235"/>
              <a:gd name="connsiteY5256" fmla="*/ 3881225 h 4596459"/>
              <a:gd name="connsiteX5257" fmla="*/ 3509422 w 4716235"/>
              <a:gd name="connsiteY5257" fmla="*/ 3891961 h 4596459"/>
              <a:gd name="connsiteX5258" fmla="*/ 3498683 w 4716235"/>
              <a:gd name="connsiteY5258" fmla="*/ 3902700 h 4596459"/>
              <a:gd name="connsiteX5259" fmla="*/ 3487947 w 4716235"/>
              <a:gd name="connsiteY5259" fmla="*/ 3891961 h 4596459"/>
              <a:gd name="connsiteX5260" fmla="*/ 3498683 w 4716235"/>
              <a:gd name="connsiteY5260" fmla="*/ 3881225 h 4596459"/>
              <a:gd name="connsiteX5261" fmla="*/ 3540309 w 4716235"/>
              <a:gd name="connsiteY5261" fmla="*/ 3881060 h 4596459"/>
              <a:gd name="connsiteX5262" fmla="*/ 3551045 w 4716235"/>
              <a:gd name="connsiteY5262" fmla="*/ 3891797 h 4596459"/>
              <a:gd name="connsiteX5263" fmla="*/ 3540309 w 4716235"/>
              <a:gd name="connsiteY5263" fmla="*/ 3902533 h 4596459"/>
              <a:gd name="connsiteX5264" fmla="*/ 3529573 w 4716235"/>
              <a:gd name="connsiteY5264" fmla="*/ 3891797 h 4596459"/>
              <a:gd name="connsiteX5265" fmla="*/ 3540309 w 4716235"/>
              <a:gd name="connsiteY5265" fmla="*/ 3881060 h 4596459"/>
              <a:gd name="connsiteX5266" fmla="*/ 5594 w 4716235"/>
              <a:gd name="connsiteY5266" fmla="*/ 3880400 h 4596459"/>
              <a:gd name="connsiteX5267" fmla="*/ 16330 w 4716235"/>
              <a:gd name="connsiteY5267" fmla="*/ 3891136 h 4596459"/>
              <a:gd name="connsiteX5268" fmla="*/ 5594 w 4716235"/>
              <a:gd name="connsiteY5268" fmla="*/ 3901872 h 4596459"/>
              <a:gd name="connsiteX5269" fmla="*/ 0 w 4716235"/>
              <a:gd name="connsiteY5269" fmla="*/ 3896279 h 4596459"/>
              <a:gd name="connsiteX5270" fmla="*/ 0 w 4716235"/>
              <a:gd name="connsiteY5270" fmla="*/ 3885994 h 4596459"/>
              <a:gd name="connsiteX5271" fmla="*/ 90827 w 4716235"/>
              <a:gd name="connsiteY5271" fmla="*/ 3879572 h 4596459"/>
              <a:gd name="connsiteX5272" fmla="*/ 101565 w 4716235"/>
              <a:gd name="connsiteY5272" fmla="*/ 3890309 h 4596459"/>
              <a:gd name="connsiteX5273" fmla="*/ 90827 w 4716235"/>
              <a:gd name="connsiteY5273" fmla="*/ 3901047 h 4596459"/>
              <a:gd name="connsiteX5274" fmla="*/ 80091 w 4716235"/>
              <a:gd name="connsiteY5274" fmla="*/ 3890309 h 4596459"/>
              <a:gd name="connsiteX5275" fmla="*/ 90827 w 4716235"/>
              <a:gd name="connsiteY5275" fmla="*/ 3879572 h 4596459"/>
              <a:gd name="connsiteX5276" fmla="*/ 3571694 w 4716235"/>
              <a:gd name="connsiteY5276" fmla="*/ 3876435 h 4596459"/>
              <a:gd name="connsiteX5277" fmla="*/ 3582431 w 4716235"/>
              <a:gd name="connsiteY5277" fmla="*/ 3887172 h 4596459"/>
              <a:gd name="connsiteX5278" fmla="*/ 3571694 w 4716235"/>
              <a:gd name="connsiteY5278" fmla="*/ 3897908 h 4596459"/>
              <a:gd name="connsiteX5279" fmla="*/ 3560958 w 4716235"/>
              <a:gd name="connsiteY5279" fmla="*/ 3887172 h 4596459"/>
              <a:gd name="connsiteX5280" fmla="*/ 3571694 w 4716235"/>
              <a:gd name="connsiteY5280" fmla="*/ 3876435 h 4596459"/>
              <a:gd name="connsiteX5281" fmla="*/ 1092322 w 4716235"/>
              <a:gd name="connsiteY5281" fmla="*/ 3876104 h 4596459"/>
              <a:gd name="connsiteX5282" fmla="*/ 1103060 w 4716235"/>
              <a:gd name="connsiteY5282" fmla="*/ 3886840 h 4596459"/>
              <a:gd name="connsiteX5283" fmla="*/ 1092322 w 4716235"/>
              <a:gd name="connsiteY5283" fmla="*/ 3897578 h 4596459"/>
              <a:gd name="connsiteX5284" fmla="*/ 1081586 w 4716235"/>
              <a:gd name="connsiteY5284" fmla="*/ 3886840 h 4596459"/>
              <a:gd name="connsiteX5285" fmla="*/ 1092322 w 4716235"/>
              <a:gd name="connsiteY5285" fmla="*/ 3876104 h 4596459"/>
              <a:gd name="connsiteX5286" fmla="*/ 3646851 w 4716235"/>
              <a:gd name="connsiteY5286" fmla="*/ 3872304 h 4596459"/>
              <a:gd name="connsiteX5287" fmla="*/ 3657589 w 4716235"/>
              <a:gd name="connsiteY5287" fmla="*/ 3883041 h 4596459"/>
              <a:gd name="connsiteX5288" fmla="*/ 3646851 w 4716235"/>
              <a:gd name="connsiteY5288" fmla="*/ 3893777 h 4596459"/>
              <a:gd name="connsiteX5289" fmla="*/ 3636114 w 4716235"/>
              <a:gd name="connsiteY5289" fmla="*/ 3883041 h 4596459"/>
              <a:gd name="connsiteX5290" fmla="*/ 3646851 w 4716235"/>
              <a:gd name="connsiteY5290" fmla="*/ 3872304 h 4596459"/>
              <a:gd name="connsiteX5291" fmla="*/ 354292 w 4716235"/>
              <a:gd name="connsiteY5291" fmla="*/ 3872304 h 4596459"/>
              <a:gd name="connsiteX5292" fmla="*/ 365028 w 4716235"/>
              <a:gd name="connsiteY5292" fmla="*/ 3883041 h 4596459"/>
              <a:gd name="connsiteX5293" fmla="*/ 354292 w 4716235"/>
              <a:gd name="connsiteY5293" fmla="*/ 3893777 h 4596459"/>
              <a:gd name="connsiteX5294" fmla="*/ 343556 w 4716235"/>
              <a:gd name="connsiteY5294" fmla="*/ 3883041 h 4596459"/>
              <a:gd name="connsiteX5295" fmla="*/ 354292 w 4716235"/>
              <a:gd name="connsiteY5295" fmla="*/ 3872304 h 4596459"/>
              <a:gd name="connsiteX5296" fmla="*/ 3441365 w 4716235"/>
              <a:gd name="connsiteY5296" fmla="*/ 3871808 h 4596459"/>
              <a:gd name="connsiteX5297" fmla="*/ 3452103 w 4716235"/>
              <a:gd name="connsiteY5297" fmla="*/ 3882545 h 4596459"/>
              <a:gd name="connsiteX5298" fmla="*/ 3441365 w 4716235"/>
              <a:gd name="connsiteY5298" fmla="*/ 3893283 h 4596459"/>
              <a:gd name="connsiteX5299" fmla="*/ 3430629 w 4716235"/>
              <a:gd name="connsiteY5299" fmla="*/ 3882545 h 4596459"/>
              <a:gd name="connsiteX5300" fmla="*/ 3441365 w 4716235"/>
              <a:gd name="connsiteY5300" fmla="*/ 3871808 h 4596459"/>
              <a:gd name="connsiteX5301" fmla="*/ 3597461 w 4716235"/>
              <a:gd name="connsiteY5301" fmla="*/ 3871314 h 4596459"/>
              <a:gd name="connsiteX5302" fmla="*/ 3608197 w 4716235"/>
              <a:gd name="connsiteY5302" fmla="*/ 3882051 h 4596459"/>
              <a:gd name="connsiteX5303" fmla="*/ 3597461 w 4716235"/>
              <a:gd name="connsiteY5303" fmla="*/ 3892789 h 4596459"/>
              <a:gd name="connsiteX5304" fmla="*/ 3586725 w 4716235"/>
              <a:gd name="connsiteY5304" fmla="*/ 3882051 h 4596459"/>
              <a:gd name="connsiteX5305" fmla="*/ 3597461 w 4716235"/>
              <a:gd name="connsiteY5305" fmla="*/ 3871314 h 4596459"/>
              <a:gd name="connsiteX5306" fmla="*/ 248245 w 4716235"/>
              <a:gd name="connsiteY5306" fmla="*/ 3871149 h 4596459"/>
              <a:gd name="connsiteX5307" fmla="*/ 258983 w 4716235"/>
              <a:gd name="connsiteY5307" fmla="*/ 3881886 h 4596459"/>
              <a:gd name="connsiteX5308" fmla="*/ 248245 w 4716235"/>
              <a:gd name="connsiteY5308" fmla="*/ 3892622 h 4596459"/>
              <a:gd name="connsiteX5309" fmla="*/ 237508 w 4716235"/>
              <a:gd name="connsiteY5309" fmla="*/ 3881886 h 4596459"/>
              <a:gd name="connsiteX5310" fmla="*/ 248245 w 4716235"/>
              <a:gd name="connsiteY5310" fmla="*/ 3871149 h 4596459"/>
              <a:gd name="connsiteX5311" fmla="*/ 3621578 w 4716235"/>
              <a:gd name="connsiteY5311" fmla="*/ 3869001 h 4596459"/>
              <a:gd name="connsiteX5312" fmla="*/ 3632316 w 4716235"/>
              <a:gd name="connsiteY5312" fmla="*/ 3879737 h 4596459"/>
              <a:gd name="connsiteX5313" fmla="*/ 3621578 w 4716235"/>
              <a:gd name="connsiteY5313" fmla="*/ 3890474 h 4596459"/>
              <a:gd name="connsiteX5314" fmla="*/ 3610842 w 4716235"/>
              <a:gd name="connsiteY5314" fmla="*/ 3879737 h 4596459"/>
              <a:gd name="connsiteX5315" fmla="*/ 3621578 w 4716235"/>
              <a:gd name="connsiteY5315" fmla="*/ 3869001 h 4596459"/>
              <a:gd name="connsiteX5316" fmla="*/ 0 w 4716235"/>
              <a:gd name="connsiteY5316" fmla="*/ 3868693 h 4596459"/>
              <a:gd name="connsiteX5317" fmla="*/ 3447 w 4716235"/>
              <a:gd name="connsiteY5317" fmla="*/ 3872140 h 4596459"/>
              <a:gd name="connsiteX5318" fmla="*/ 0 w 4716235"/>
              <a:gd name="connsiteY5318" fmla="*/ 3875587 h 4596459"/>
              <a:gd name="connsiteX5319" fmla="*/ 478840 w 4716235"/>
              <a:gd name="connsiteY5319" fmla="*/ 3865201 h 4596459"/>
              <a:gd name="connsiteX5320" fmla="*/ 489576 w 4716235"/>
              <a:gd name="connsiteY5320" fmla="*/ 3875938 h 4596459"/>
              <a:gd name="connsiteX5321" fmla="*/ 478840 w 4716235"/>
              <a:gd name="connsiteY5321" fmla="*/ 3886676 h 4596459"/>
              <a:gd name="connsiteX5322" fmla="*/ 468103 w 4716235"/>
              <a:gd name="connsiteY5322" fmla="*/ 3875938 h 4596459"/>
              <a:gd name="connsiteX5323" fmla="*/ 478840 w 4716235"/>
              <a:gd name="connsiteY5323" fmla="*/ 3865201 h 4596459"/>
              <a:gd name="connsiteX5324" fmla="*/ 2874959 w 4716235"/>
              <a:gd name="connsiteY5324" fmla="*/ 3865036 h 4596459"/>
              <a:gd name="connsiteX5325" fmla="*/ 2885697 w 4716235"/>
              <a:gd name="connsiteY5325" fmla="*/ 3875773 h 4596459"/>
              <a:gd name="connsiteX5326" fmla="*/ 2874959 w 4716235"/>
              <a:gd name="connsiteY5326" fmla="*/ 3886509 h 4596459"/>
              <a:gd name="connsiteX5327" fmla="*/ 2864222 w 4716235"/>
              <a:gd name="connsiteY5327" fmla="*/ 3875773 h 4596459"/>
              <a:gd name="connsiteX5328" fmla="*/ 2874959 w 4716235"/>
              <a:gd name="connsiteY5328" fmla="*/ 3865036 h 4596459"/>
              <a:gd name="connsiteX5329" fmla="*/ 158717 w 4716235"/>
              <a:gd name="connsiteY5329" fmla="*/ 3863386 h 4596459"/>
              <a:gd name="connsiteX5330" fmla="*/ 169455 w 4716235"/>
              <a:gd name="connsiteY5330" fmla="*/ 3874122 h 4596459"/>
              <a:gd name="connsiteX5331" fmla="*/ 158717 w 4716235"/>
              <a:gd name="connsiteY5331" fmla="*/ 3884858 h 4596459"/>
              <a:gd name="connsiteX5332" fmla="*/ 147981 w 4716235"/>
              <a:gd name="connsiteY5332" fmla="*/ 3874122 h 4596459"/>
              <a:gd name="connsiteX5333" fmla="*/ 158717 w 4716235"/>
              <a:gd name="connsiteY5333" fmla="*/ 3863386 h 4596459"/>
              <a:gd name="connsiteX5334" fmla="*/ 3682365 w 4716235"/>
              <a:gd name="connsiteY5334" fmla="*/ 3862394 h 4596459"/>
              <a:gd name="connsiteX5335" fmla="*/ 3693101 w 4716235"/>
              <a:gd name="connsiteY5335" fmla="*/ 3873130 h 4596459"/>
              <a:gd name="connsiteX5336" fmla="*/ 3682365 w 4716235"/>
              <a:gd name="connsiteY5336" fmla="*/ 3883866 h 4596459"/>
              <a:gd name="connsiteX5337" fmla="*/ 3671629 w 4716235"/>
              <a:gd name="connsiteY5337" fmla="*/ 3873130 h 4596459"/>
              <a:gd name="connsiteX5338" fmla="*/ 3682365 w 4716235"/>
              <a:gd name="connsiteY5338" fmla="*/ 3862394 h 4596459"/>
              <a:gd name="connsiteX5339" fmla="*/ 2550378 w 4716235"/>
              <a:gd name="connsiteY5339" fmla="*/ 3862394 h 4596459"/>
              <a:gd name="connsiteX5340" fmla="*/ 2561116 w 4716235"/>
              <a:gd name="connsiteY5340" fmla="*/ 3873130 h 4596459"/>
              <a:gd name="connsiteX5341" fmla="*/ 2550378 w 4716235"/>
              <a:gd name="connsiteY5341" fmla="*/ 3883866 h 4596459"/>
              <a:gd name="connsiteX5342" fmla="*/ 2539642 w 4716235"/>
              <a:gd name="connsiteY5342" fmla="*/ 3873130 h 4596459"/>
              <a:gd name="connsiteX5343" fmla="*/ 2550378 w 4716235"/>
              <a:gd name="connsiteY5343" fmla="*/ 3862394 h 4596459"/>
              <a:gd name="connsiteX5344" fmla="*/ 30701 w 4716235"/>
              <a:gd name="connsiteY5344" fmla="*/ 3860743 h 4596459"/>
              <a:gd name="connsiteX5345" fmla="*/ 41440 w 4716235"/>
              <a:gd name="connsiteY5345" fmla="*/ 3871479 h 4596459"/>
              <a:gd name="connsiteX5346" fmla="*/ 30701 w 4716235"/>
              <a:gd name="connsiteY5346" fmla="*/ 3882215 h 4596459"/>
              <a:gd name="connsiteX5347" fmla="*/ 19965 w 4716235"/>
              <a:gd name="connsiteY5347" fmla="*/ 3871479 h 4596459"/>
              <a:gd name="connsiteX5348" fmla="*/ 30701 w 4716235"/>
              <a:gd name="connsiteY5348" fmla="*/ 3860743 h 4596459"/>
              <a:gd name="connsiteX5349" fmla="*/ 3552532 w 4716235"/>
              <a:gd name="connsiteY5349" fmla="*/ 3860411 h 4596459"/>
              <a:gd name="connsiteX5350" fmla="*/ 3563268 w 4716235"/>
              <a:gd name="connsiteY5350" fmla="*/ 3871148 h 4596459"/>
              <a:gd name="connsiteX5351" fmla="*/ 3552532 w 4716235"/>
              <a:gd name="connsiteY5351" fmla="*/ 3881884 h 4596459"/>
              <a:gd name="connsiteX5352" fmla="*/ 3541795 w 4716235"/>
              <a:gd name="connsiteY5352" fmla="*/ 3871148 h 4596459"/>
              <a:gd name="connsiteX5353" fmla="*/ 3552532 w 4716235"/>
              <a:gd name="connsiteY5353" fmla="*/ 3860411 h 4596459"/>
              <a:gd name="connsiteX5354" fmla="*/ 3584907 w 4716235"/>
              <a:gd name="connsiteY5354" fmla="*/ 3858429 h 4596459"/>
              <a:gd name="connsiteX5355" fmla="*/ 3595645 w 4716235"/>
              <a:gd name="connsiteY5355" fmla="*/ 3869166 h 4596459"/>
              <a:gd name="connsiteX5356" fmla="*/ 3584907 w 4716235"/>
              <a:gd name="connsiteY5356" fmla="*/ 3879904 h 4596459"/>
              <a:gd name="connsiteX5357" fmla="*/ 3574171 w 4716235"/>
              <a:gd name="connsiteY5357" fmla="*/ 3869166 h 4596459"/>
              <a:gd name="connsiteX5358" fmla="*/ 3584907 w 4716235"/>
              <a:gd name="connsiteY5358" fmla="*/ 3858429 h 4596459"/>
              <a:gd name="connsiteX5359" fmla="*/ 3718542 w 4716235"/>
              <a:gd name="connsiteY5359" fmla="*/ 3857604 h 4596459"/>
              <a:gd name="connsiteX5360" fmla="*/ 3728122 w 4716235"/>
              <a:gd name="connsiteY5360" fmla="*/ 3867183 h 4596459"/>
              <a:gd name="connsiteX5361" fmla="*/ 3718542 w 4716235"/>
              <a:gd name="connsiteY5361" fmla="*/ 3876765 h 4596459"/>
              <a:gd name="connsiteX5362" fmla="*/ 3708961 w 4716235"/>
              <a:gd name="connsiteY5362" fmla="*/ 3867183 h 4596459"/>
              <a:gd name="connsiteX5363" fmla="*/ 3718542 w 4716235"/>
              <a:gd name="connsiteY5363" fmla="*/ 3857604 h 4596459"/>
              <a:gd name="connsiteX5364" fmla="*/ 3508265 w 4716235"/>
              <a:gd name="connsiteY5364" fmla="*/ 3855622 h 4596459"/>
              <a:gd name="connsiteX5365" fmla="*/ 3519001 w 4716235"/>
              <a:gd name="connsiteY5365" fmla="*/ 3866358 h 4596459"/>
              <a:gd name="connsiteX5366" fmla="*/ 3508265 w 4716235"/>
              <a:gd name="connsiteY5366" fmla="*/ 3877094 h 4596459"/>
              <a:gd name="connsiteX5367" fmla="*/ 3497528 w 4716235"/>
              <a:gd name="connsiteY5367" fmla="*/ 3866358 h 4596459"/>
              <a:gd name="connsiteX5368" fmla="*/ 3508265 w 4716235"/>
              <a:gd name="connsiteY5368" fmla="*/ 3855622 h 4596459"/>
              <a:gd name="connsiteX5369" fmla="*/ 3610346 w 4716235"/>
              <a:gd name="connsiteY5369" fmla="*/ 3854465 h 4596459"/>
              <a:gd name="connsiteX5370" fmla="*/ 3621082 w 4716235"/>
              <a:gd name="connsiteY5370" fmla="*/ 3865201 h 4596459"/>
              <a:gd name="connsiteX5371" fmla="*/ 3610346 w 4716235"/>
              <a:gd name="connsiteY5371" fmla="*/ 3875938 h 4596459"/>
              <a:gd name="connsiteX5372" fmla="*/ 3599610 w 4716235"/>
              <a:gd name="connsiteY5372" fmla="*/ 3865201 h 4596459"/>
              <a:gd name="connsiteX5373" fmla="*/ 3610346 w 4716235"/>
              <a:gd name="connsiteY5373" fmla="*/ 3854465 h 4596459"/>
              <a:gd name="connsiteX5374" fmla="*/ 3656101 w 4716235"/>
              <a:gd name="connsiteY5374" fmla="*/ 3853804 h 4596459"/>
              <a:gd name="connsiteX5375" fmla="*/ 3666839 w 4716235"/>
              <a:gd name="connsiteY5375" fmla="*/ 3864540 h 4596459"/>
              <a:gd name="connsiteX5376" fmla="*/ 3656101 w 4716235"/>
              <a:gd name="connsiteY5376" fmla="*/ 3875279 h 4596459"/>
              <a:gd name="connsiteX5377" fmla="*/ 3645364 w 4716235"/>
              <a:gd name="connsiteY5377" fmla="*/ 3864540 h 4596459"/>
              <a:gd name="connsiteX5378" fmla="*/ 3656101 w 4716235"/>
              <a:gd name="connsiteY5378" fmla="*/ 3853804 h 4596459"/>
              <a:gd name="connsiteX5379" fmla="*/ 3632975 w 4716235"/>
              <a:gd name="connsiteY5379" fmla="*/ 3851822 h 4596459"/>
              <a:gd name="connsiteX5380" fmla="*/ 3643713 w 4716235"/>
              <a:gd name="connsiteY5380" fmla="*/ 3862558 h 4596459"/>
              <a:gd name="connsiteX5381" fmla="*/ 3632975 w 4716235"/>
              <a:gd name="connsiteY5381" fmla="*/ 3873296 h 4596459"/>
              <a:gd name="connsiteX5382" fmla="*/ 3622239 w 4716235"/>
              <a:gd name="connsiteY5382" fmla="*/ 3862558 h 4596459"/>
              <a:gd name="connsiteX5383" fmla="*/ 3632975 w 4716235"/>
              <a:gd name="connsiteY5383" fmla="*/ 3851822 h 4596459"/>
              <a:gd name="connsiteX5384" fmla="*/ 83230 w 4716235"/>
              <a:gd name="connsiteY5384" fmla="*/ 3850832 h 4596459"/>
              <a:gd name="connsiteX5385" fmla="*/ 93968 w 4716235"/>
              <a:gd name="connsiteY5385" fmla="*/ 3861568 h 4596459"/>
              <a:gd name="connsiteX5386" fmla="*/ 83230 w 4716235"/>
              <a:gd name="connsiteY5386" fmla="*/ 3872306 h 4596459"/>
              <a:gd name="connsiteX5387" fmla="*/ 72494 w 4716235"/>
              <a:gd name="connsiteY5387" fmla="*/ 3861568 h 4596459"/>
              <a:gd name="connsiteX5388" fmla="*/ 83230 w 4716235"/>
              <a:gd name="connsiteY5388" fmla="*/ 3850832 h 4596459"/>
              <a:gd name="connsiteX5389" fmla="*/ 940026 w 4716235"/>
              <a:gd name="connsiteY5389" fmla="*/ 3849510 h 4596459"/>
              <a:gd name="connsiteX5390" fmla="*/ 950762 w 4716235"/>
              <a:gd name="connsiteY5390" fmla="*/ 3860247 h 4596459"/>
              <a:gd name="connsiteX5391" fmla="*/ 940026 w 4716235"/>
              <a:gd name="connsiteY5391" fmla="*/ 3870983 h 4596459"/>
              <a:gd name="connsiteX5392" fmla="*/ 929289 w 4716235"/>
              <a:gd name="connsiteY5392" fmla="*/ 3860247 h 4596459"/>
              <a:gd name="connsiteX5393" fmla="*/ 940026 w 4716235"/>
              <a:gd name="connsiteY5393" fmla="*/ 3849510 h 4596459"/>
              <a:gd name="connsiteX5394" fmla="*/ 3261648 w 4716235"/>
              <a:gd name="connsiteY5394" fmla="*/ 3849179 h 4596459"/>
              <a:gd name="connsiteX5395" fmla="*/ 3272384 w 4716235"/>
              <a:gd name="connsiteY5395" fmla="*/ 3859915 h 4596459"/>
              <a:gd name="connsiteX5396" fmla="*/ 3261648 w 4716235"/>
              <a:gd name="connsiteY5396" fmla="*/ 3870653 h 4596459"/>
              <a:gd name="connsiteX5397" fmla="*/ 3250911 w 4716235"/>
              <a:gd name="connsiteY5397" fmla="*/ 3859915 h 4596459"/>
              <a:gd name="connsiteX5398" fmla="*/ 3261648 w 4716235"/>
              <a:gd name="connsiteY5398" fmla="*/ 3849179 h 4596459"/>
              <a:gd name="connsiteX5399" fmla="*/ 624693 w 4716235"/>
              <a:gd name="connsiteY5399" fmla="*/ 3848024 h 4596459"/>
              <a:gd name="connsiteX5400" fmla="*/ 635432 w 4716235"/>
              <a:gd name="connsiteY5400" fmla="*/ 3858760 h 4596459"/>
              <a:gd name="connsiteX5401" fmla="*/ 624693 w 4716235"/>
              <a:gd name="connsiteY5401" fmla="*/ 3869497 h 4596459"/>
              <a:gd name="connsiteX5402" fmla="*/ 613957 w 4716235"/>
              <a:gd name="connsiteY5402" fmla="*/ 3858760 h 4596459"/>
              <a:gd name="connsiteX5403" fmla="*/ 624693 w 4716235"/>
              <a:gd name="connsiteY5403" fmla="*/ 3848024 h 4596459"/>
              <a:gd name="connsiteX5404" fmla="*/ 3361913 w 4716235"/>
              <a:gd name="connsiteY5404" fmla="*/ 3847197 h 4596459"/>
              <a:gd name="connsiteX5405" fmla="*/ 3372651 w 4716235"/>
              <a:gd name="connsiteY5405" fmla="*/ 3857933 h 4596459"/>
              <a:gd name="connsiteX5406" fmla="*/ 3361913 w 4716235"/>
              <a:gd name="connsiteY5406" fmla="*/ 3868671 h 4596459"/>
              <a:gd name="connsiteX5407" fmla="*/ 3351177 w 4716235"/>
              <a:gd name="connsiteY5407" fmla="*/ 3857933 h 4596459"/>
              <a:gd name="connsiteX5408" fmla="*/ 3361913 w 4716235"/>
              <a:gd name="connsiteY5408" fmla="*/ 3847197 h 4596459"/>
              <a:gd name="connsiteX5409" fmla="*/ 3143213 w 4716235"/>
              <a:gd name="connsiteY5409" fmla="*/ 3843233 h 4596459"/>
              <a:gd name="connsiteX5410" fmla="*/ 3153950 w 4716235"/>
              <a:gd name="connsiteY5410" fmla="*/ 3853969 h 4596459"/>
              <a:gd name="connsiteX5411" fmla="*/ 3143213 w 4716235"/>
              <a:gd name="connsiteY5411" fmla="*/ 3864705 h 4596459"/>
              <a:gd name="connsiteX5412" fmla="*/ 3132477 w 4716235"/>
              <a:gd name="connsiteY5412" fmla="*/ 3853969 h 4596459"/>
              <a:gd name="connsiteX5413" fmla="*/ 3143213 w 4716235"/>
              <a:gd name="connsiteY5413" fmla="*/ 3843233 h 4596459"/>
              <a:gd name="connsiteX5414" fmla="*/ 3690129 w 4716235"/>
              <a:gd name="connsiteY5414" fmla="*/ 3842242 h 4596459"/>
              <a:gd name="connsiteX5415" fmla="*/ 3700865 w 4716235"/>
              <a:gd name="connsiteY5415" fmla="*/ 3852979 h 4596459"/>
              <a:gd name="connsiteX5416" fmla="*/ 3690129 w 4716235"/>
              <a:gd name="connsiteY5416" fmla="*/ 3863715 h 4596459"/>
              <a:gd name="connsiteX5417" fmla="*/ 3679393 w 4716235"/>
              <a:gd name="connsiteY5417" fmla="*/ 3852979 h 4596459"/>
              <a:gd name="connsiteX5418" fmla="*/ 3690129 w 4716235"/>
              <a:gd name="connsiteY5418" fmla="*/ 3842242 h 4596459"/>
              <a:gd name="connsiteX5419" fmla="*/ 1826553 w 4716235"/>
              <a:gd name="connsiteY5419" fmla="*/ 3841911 h 4596459"/>
              <a:gd name="connsiteX5420" fmla="*/ 1837289 w 4716235"/>
              <a:gd name="connsiteY5420" fmla="*/ 3852647 h 4596459"/>
              <a:gd name="connsiteX5421" fmla="*/ 1826553 w 4716235"/>
              <a:gd name="connsiteY5421" fmla="*/ 3863386 h 4596459"/>
              <a:gd name="connsiteX5422" fmla="*/ 1815816 w 4716235"/>
              <a:gd name="connsiteY5422" fmla="*/ 3852647 h 4596459"/>
              <a:gd name="connsiteX5423" fmla="*/ 1826553 w 4716235"/>
              <a:gd name="connsiteY5423" fmla="*/ 3841911 h 4596459"/>
              <a:gd name="connsiteX5424" fmla="*/ 1653774 w 4716235"/>
              <a:gd name="connsiteY5424" fmla="*/ 3840425 h 4596459"/>
              <a:gd name="connsiteX5425" fmla="*/ 1664512 w 4716235"/>
              <a:gd name="connsiteY5425" fmla="*/ 3851161 h 4596459"/>
              <a:gd name="connsiteX5426" fmla="*/ 1653774 w 4716235"/>
              <a:gd name="connsiteY5426" fmla="*/ 3861899 h 4596459"/>
              <a:gd name="connsiteX5427" fmla="*/ 1643037 w 4716235"/>
              <a:gd name="connsiteY5427" fmla="*/ 3851161 h 4596459"/>
              <a:gd name="connsiteX5428" fmla="*/ 1653774 w 4716235"/>
              <a:gd name="connsiteY5428" fmla="*/ 3840425 h 4596459"/>
              <a:gd name="connsiteX5429" fmla="*/ 3759835 w 4716235"/>
              <a:gd name="connsiteY5429" fmla="*/ 3839268 h 4596459"/>
              <a:gd name="connsiteX5430" fmla="*/ 3761983 w 4716235"/>
              <a:gd name="connsiteY5430" fmla="*/ 3841415 h 4596459"/>
              <a:gd name="connsiteX5431" fmla="*/ 3759835 w 4716235"/>
              <a:gd name="connsiteY5431" fmla="*/ 3843562 h 4596459"/>
              <a:gd name="connsiteX5432" fmla="*/ 3757688 w 4716235"/>
              <a:gd name="connsiteY5432" fmla="*/ 3841415 h 4596459"/>
              <a:gd name="connsiteX5433" fmla="*/ 3759835 w 4716235"/>
              <a:gd name="connsiteY5433" fmla="*/ 3839268 h 4596459"/>
              <a:gd name="connsiteX5434" fmla="*/ 3446486 w 4716235"/>
              <a:gd name="connsiteY5434" fmla="*/ 3839268 h 4596459"/>
              <a:gd name="connsiteX5435" fmla="*/ 3457222 w 4716235"/>
              <a:gd name="connsiteY5435" fmla="*/ 3850005 h 4596459"/>
              <a:gd name="connsiteX5436" fmla="*/ 3446486 w 4716235"/>
              <a:gd name="connsiteY5436" fmla="*/ 3860741 h 4596459"/>
              <a:gd name="connsiteX5437" fmla="*/ 3435750 w 4716235"/>
              <a:gd name="connsiteY5437" fmla="*/ 3850005 h 4596459"/>
              <a:gd name="connsiteX5438" fmla="*/ 3446486 w 4716235"/>
              <a:gd name="connsiteY5438" fmla="*/ 3839268 h 4596459"/>
              <a:gd name="connsiteX5439" fmla="*/ 3598618 w 4716235"/>
              <a:gd name="connsiteY5439" fmla="*/ 3838772 h 4596459"/>
              <a:gd name="connsiteX5440" fmla="*/ 3609354 w 4716235"/>
              <a:gd name="connsiteY5440" fmla="*/ 3849509 h 4596459"/>
              <a:gd name="connsiteX5441" fmla="*/ 3598618 w 4716235"/>
              <a:gd name="connsiteY5441" fmla="*/ 3860247 h 4596459"/>
              <a:gd name="connsiteX5442" fmla="*/ 3587881 w 4716235"/>
              <a:gd name="connsiteY5442" fmla="*/ 3849509 h 4596459"/>
              <a:gd name="connsiteX5443" fmla="*/ 3598618 w 4716235"/>
              <a:gd name="connsiteY5443" fmla="*/ 3838772 h 4596459"/>
              <a:gd name="connsiteX5444" fmla="*/ 3564756 w 4716235"/>
              <a:gd name="connsiteY5444" fmla="*/ 3837121 h 4596459"/>
              <a:gd name="connsiteX5445" fmla="*/ 3575494 w 4716235"/>
              <a:gd name="connsiteY5445" fmla="*/ 3847858 h 4596459"/>
              <a:gd name="connsiteX5446" fmla="*/ 3564756 w 4716235"/>
              <a:gd name="connsiteY5446" fmla="*/ 3858594 h 4596459"/>
              <a:gd name="connsiteX5447" fmla="*/ 3554020 w 4716235"/>
              <a:gd name="connsiteY5447" fmla="*/ 3847858 h 4596459"/>
              <a:gd name="connsiteX5448" fmla="*/ 3564756 w 4716235"/>
              <a:gd name="connsiteY5448" fmla="*/ 3837121 h 4596459"/>
              <a:gd name="connsiteX5449" fmla="*/ 1998837 w 4716235"/>
              <a:gd name="connsiteY5449" fmla="*/ 3837121 h 4596459"/>
              <a:gd name="connsiteX5450" fmla="*/ 2009575 w 4716235"/>
              <a:gd name="connsiteY5450" fmla="*/ 3847858 h 4596459"/>
              <a:gd name="connsiteX5451" fmla="*/ 1998837 w 4716235"/>
              <a:gd name="connsiteY5451" fmla="*/ 3858594 h 4596459"/>
              <a:gd name="connsiteX5452" fmla="*/ 1988101 w 4716235"/>
              <a:gd name="connsiteY5452" fmla="*/ 3847858 h 4596459"/>
              <a:gd name="connsiteX5453" fmla="*/ 1998837 w 4716235"/>
              <a:gd name="connsiteY5453" fmla="*/ 3837121 h 4596459"/>
              <a:gd name="connsiteX5454" fmla="*/ 3624056 w 4716235"/>
              <a:gd name="connsiteY5454" fmla="*/ 3836625 h 4596459"/>
              <a:gd name="connsiteX5455" fmla="*/ 3634793 w 4716235"/>
              <a:gd name="connsiteY5455" fmla="*/ 3847362 h 4596459"/>
              <a:gd name="connsiteX5456" fmla="*/ 3624056 w 4716235"/>
              <a:gd name="connsiteY5456" fmla="*/ 3858098 h 4596459"/>
              <a:gd name="connsiteX5457" fmla="*/ 3613320 w 4716235"/>
              <a:gd name="connsiteY5457" fmla="*/ 3847362 h 4596459"/>
              <a:gd name="connsiteX5458" fmla="*/ 3624056 w 4716235"/>
              <a:gd name="connsiteY5458" fmla="*/ 3836625 h 4596459"/>
              <a:gd name="connsiteX5459" fmla="*/ 3666672 w 4716235"/>
              <a:gd name="connsiteY5459" fmla="*/ 3835470 h 4596459"/>
              <a:gd name="connsiteX5460" fmla="*/ 3677409 w 4716235"/>
              <a:gd name="connsiteY5460" fmla="*/ 3846207 h 4596459"/>
              <a:gd name="connsiteX5461" fmla="*/ 3666672 w 4716235"/>
              <a:gd name="connsiteY5461" fmla="*/ 3856943 h 4596459"/>
              <a:gd name="connsiteX5462" fmla="*/ 3655936 w 4716235"/>
              <a:gd name="connsiteY5462" fmla="*/ 3846207 h 4596459"/>
              <a:gd name="connsiteX5463" fmla="*/ 3666672 w 4716235"/>
              <a:gd name="connsiteY5463" fmla="*/ 3835470 h 4596459"/>
              <a:gd name="connsiteX5464" fmla="*/ 19800 w 4716235"/>
              <a:gd name="connsiteY5464" fmla="*/ 3834808 h 4596459"/>
              <a:gd name="connsiteX5465" fmla="*/ 30537 w 4716235"/>
              <a:gd name="connsiteY5465" fmla="*/ 3845544 h 4596459"/>
              <a:gd name="connsiteX5466" fmla="*/ 19800 w 4716235"/>
              <a:gd name="connsiteY5466" fmla="*/ 3856282 h 4596459"/>
              <a:gd name="connsiteX5467" fmla="*/ 9064 w 4716235"/>
              <a:gd name="connsiteY5467" fmla="*/ 3845544 h 4596459"/>
              <a:gd name="connsiteX5468" fmla="*/ 19800 w 4716235"/>
              <a:gd name="connsiteY5468" fmla="*/ 3834808 h 4596459"/>
              <a:gd name="connsiteX5469" fmla="*/ 3724487 w 4716235"/>
              <a:gd name="connsiteY5469" fmla="*/ 3834478 h 4596459"/>
              <a:gd name="connsiteX5470" fmla="*/ 3735223 w 4716235"/>
              <a:gd name="connsiteY5470" fmla="*/ 3845215 h 4596459"/>
              <a:gd name="connsiteX5471" fmla="*/ 3724487 w 4716235"/>
              <a:gd name="connsiteY5471" fmla="*/ 3855951 h 4596459"/>
              <a:gd name="connsiteX5472" fmla="*/ 3713750 w 4716235"/>
              <a:gd name="connsiteY5472" fmla="*/ 3845215 h 4596459"/>
              <a:gd name="connsiteX5473" fmla="*/ 3724487 w 4716235"/>
              <a:gd name="connsiteY5473" fmla="*/ 3834478 h 4596459"/>
              <a:gd name="connsiteX5474" fmla="*/ 3645529 w 4716235"/>
              <a:gd name="connsiteY5474" fmla="*/ 3834478 h 4596459"/>
              <a:gd name="connsiteX5475" fmla="*/ 3656266 w 4716235"/>
              <a:gd name="connsiteY5475" fmla="*/ 3845215 h 4596459"/>
              <a:gd name="connsiteX5476" fmla="*/ 3645529 w 4716235"/>
              <a:gd name="connsiteY5476" fmla="*/ 3855951 h 4596459"/>
              <a:gd name="connsiteX5477" fmla="*/ 3634793 w 4716235"/>
              <a:gd name="connsiteY5477" fmla="*/ 3845215 h 4596459"/>
              <a:gd name="connsiteX5478" fmla="*/ 3645529 w 4716235"/>
              <a:gd name="connsiteY5478" fmla="*/ 3834478 h 4596459"/>
              <a:gd name="connsiteX5479" fmla="*/ 2699535 w 4716235"/>
              <a:gd name="connsiteY5479" fmla="*/ 3833322 h 4596459"/>
              <a:gd name="connsiteX5480" fmla="*/ 2710273 w 4716235"/>
              <a:gd name="connsiteY5480" fmla="*/ 3844058 h 4596459"/>
              <a:gd name="connsiteX5481" fmla="*/ 2699535 w 4716235"/>
              <a:gd name="connsiteY5481" fmla="*/ 3854794 h 4596459"/>
              <a:gd name="connsiteX5482" fmla="*/ 2688799 w 4716235"/>
              <a:gd name="connsiteY5482" fmla="*/ 3844058 h 4596459"/>
              <a:gd name="connsiteX5483" fmla="*/ 2699535 w 4716235"/>
              <a:gd name="connsiteY5483" fmla="*/ 3833322 h 4596459"/>
              <a:gd name="connsiteX5484" fmla="*/ 1482315 w 4716235"/>
              <a:gd name="connsiteY5484" fmla="*/ 3832661 h 4596459"/>
              <a:gd name="connsiteX5485" fmla="*/ 1493053 w 4716235"/>
              <a:gd name="connsiteY5485" fmla="*/ 3843397 h 4596459"/>
              <a:gd name="connsiteX5486" fmla="*/ 1482315 w 4716235"/>
              <a:gd name="connsiteY5486" fmla="*/ 3854135 h 4596459"/>
              <a:gd name="connsiteX5487" fmla="*/ 1471578 w 4716235"/>
              <a:gd name="connsiteY5487" fmla="*/ 3843397 h 4596459"/>
              <a:gd name="connsiteX5488" fmla="*/ 1482315 w 4716235"/>
              <a:gd name="connsiteY5488" fmla="*/ 3832661 h 4596459"/>
              <a:gd name="connsiteX5489" fmla="*/ 252211 w 4716235"/>
              <a:gd name="connsiteY5489" fmla="*/ 3828697 h 4596459"/>
              <a:gd name="connsiteX5490" fmla="*/ 262947 w 4716235"/>
              <a:gd name="connsiteY5490" fmla="*/ 3839433 h 4596459"/>
              <a:gd name="connsiteX5491" fmla="*/ 252211 w 4716235"/>
              <a:gd name="connsiteY5491" fmla="*/ 3850169 h 4596459"/>
              <a:gd name="connsiteX5492" fmla="*/ 241475 w 4716235"/>
              <a:gd name="connsiteY5492" fmla="*/ 3839433 h 4596459"/>
              <a:gd name="connsiteX5493" fmla="*/ 252211 w 4716235"/>
              <a:gd name="connsiteY5493" fmla="*/ 3828697 h 4596459"/>
              <a:gd name="connsiteX5494" fmla="*/ 3004296 w 4716235"/>
              <a:gd name="connsiteY5494" fmla="*/ 3827540 h 4596459"/>
              <a:gd name="connsiteX5495" fmla="*/ 3015034 w 4716235"/>
              <a:gd name="connsiteY5495" fmla="*/ 3838276 h 4596459"/>
              <a:gd name="connsiteX5496" fmla="*/ 3004296 w 4716235"/>
              <a:gd name="connsiteY5496" fmla="*/ 3849014 h 4596459"/>
              <a:gd name="connsiteX5497" fmla="*/ 2993560 w 4716235"/>
              <a:gd name="connsiteY5497" fmla="*/ 3838276 h 4596459"/>
              <a:gd name="connsiteX5498" fmla="*/ 3004296 w 4716235"/>
              <a:gd name="connsiteY5498" fmla="*/ 3827540 h 4596459"/>
              <a:gd name="connsiteX5499" fmla="*/ 3517348 w 4716235"/>
              <a:gd name="connsiteY5499" fmla="*/ 3826550 h 4596459"/>
              <a:gd name="connsiteX5500" fmla="*/ 3528087 w 4716235"/>
              <a:gd name="connsiteY5500" fmla="*/ 3837286 h 4596459"/>
              <a:gd name="connsiteX5501" fmla="*/ 3517348 w 4716235"/>
              <a:gd name="connsiteY5501" fmla="*/ 3848024 h 4596459"/>
              <a:gd name="connsiteX5502" fmla="*/ 3506612 w 4716235"/>
              <a:gd name="connsiteY5502" fmla="*/ 3837286 h 4596459"/>
              <a:gd name="connsiteX5503" fmla="*/ 3517348 w 4716235"/>
              <a:gd name="connsiteY5503" fmla="*/ 3826550 h 4596459"/>
              <a:gd name="connsiteX5504" fmla="*/ 156735 w 4716235"/>
              <a:gd name="connsiteY5504" fmla="*/ 3826220 h 4596459"/>
              <a:gd name="connsiteX5505" fmla="*/ 167472 w 4716235"/>
              <a:gd name="connsiteY5505" fmla="*/ 3836957 h 4596459"/>
              <a:gd name="connsiteX5506" fmla="*/ 156735 w 4716235"/>
              <a:gd name="connsiteY5506" fmla="*/ 3847693 h 4596459"/>
              <a:gd name="connsiteX5507" fmla="*/ 145999 w 4716235"/>
              <a:gd name="connsiteY5507" fmla="*/ 3836957 h 4596459"/>
              <a:gd name="connsiteX5508" fmla="*/ 156735 w 4716235"/>
              <a:gd name="connsiteY5508" fmla="*/ 3826220 h 4596459"/>
              <a:gd name="connsiteX5509" fmla="*/ 2169139 w 4716235"/>
              <a:gd name="connsiteY5509" fmla="*/ 3825889 h 4596459"/>
              <a:gd name="connsiteX5510" fmla="*/ 2179878 w 4716235"/>
              <a:gd name="connsiteY5510" fmla="*/ 3836625 h 4596459"/>
              <a:gd name="connsiteX5511" fmla="*/ 2169139 w 4716235"/>
              <a:gd name="connsiteY5511" fmla="*/ 3847363 h 4596459"/>
              <a:gd name="connsiteX5512" fmla="*/ 2158403 w 4716235"/>
              <a:gd name="connsiteY5512" fmla="*/ 3836625 h 4596459"/>
              <a:gd name="connsiteX5513" fmla="*/ 2169139 w 4716235"/>
              <a:gd name="connsiteY5513" fmla="*/ 3825889 h 4596459"/>
              <a:gd name="connsiteX5514" fmla="*/ 365360 w 4716235"/>
              <a:gd name="connsiteY5514" fmla="*/ 3823577 h 4596459"/>
              <a:gd name="connsiteX5515" fmla="*/ 376098 w 4716235"/>
              <a:gd name="connsiteY5515" fmla="*/ 3834314 h 4596459"/>
              <a:gd name="connsiteX5516" fmla="*/ 365360 w 4716235"/>
              <a:gd name="connsiteY5516" fmla="*/ 3845050 h 4596459"/>
              <a:gd name="connsiteX5517" fmla="*/ 354623 w 4716235"/>
              <a:gd name="connsiteY5517" fmla="*/ 3834314 h 4596459"/>
              <a:gd name="connsiteX5518" fmla="*/ 365360 w 4716235"/>
              <a:gd name="connsiteY5518" fmla="*/ 3823577 h 4596459"/>
              <a:gd name="connsiteX5519" fmla="*/ 3699379 w 4716235"/>
              <a:gd name="connsiteY5519" fmla="*/ 3822254 h 4596459"/>
              <a:gd name="connsiteX5520" fmla="*/ 3710115 w 4716235"/>
              <a:gd name="connsiteY5520" fmla="*/ 3832990 h 4596459"/>
              <a:gd name="connsiteX5521" fmla="*/ 3699379 w 4716235"/>
              <a:gd name="connsiteY5521" fmla="*/ 3843729 h 4596459"/>
              <a:gd name="connsiteX5522" fmla="*/ 3688643 w 4716235"/>
              <a:gd name="connsiteY5522" fmla="*/ 3832990 h 4596459"/>
              <a:gd name="connsiteX5523" fmla="*/ 3699379 w 4716235"/>
              <a:gd name="connsiteY5523" fmla="*/ 3822254 h 4596459"/>
              <a:gd name="connsiteX5524" fmla="*/ 1313336 w 4716235"/>
              <a:gd name="connsiteY5524" fmla="*/ 3818621 h 4596459"/>
              <a:gd name="connsiteX5525" fmla="*/ 1324074 w 4716235"/>
              <a:gd name="connsiteY5525" fmla="*/ 3829357 h 4596459"/>
              <a:gd name="connsiteX5526" fmla="*/ 1313336 w 4716235"/>
              <a:gd name="connsiteY5526" fmla="*/ 3840094 h 4596459"/>
              <a:gd name="connsiteX5527" fmla="*/ 1302599 w 4716235"/>
              <a:gd name="connsiteY5527" fmla="*/ 3829357 h 4596459"/>
              <a:gd name="connsiteX5528" fmla="*/ 1313336 w 4716235"/>
              <a:gd name="connsiteY5528" fmla="*/ 3818621 h 4596459"/>
              <a:gd name="connsiteX5529" fmla="*/ 793839 w 4716235"/>
              <a:gd name="connsiteY5529" fmla="*/ 3818456 h 4596459"/>
              <a:gd name="connsiteX5530" fmla="*/ 804575 w 4716235"/>
              <a:gd name="connsiteY5530" fmla="*/ 3829193 h 4596459"/>
              <a:gd name="connsiteX5531" fmla="*/ 793839 w 4716235"/>
              <a:gd name="connsiteY5531" fmla="*/ 3839929 h 4596459"/>
              <a:gd name="connsiteX5532" fmla="*/ 783103 w 4716235"/>
              <a:gd name="connsiteY5532" fmla="*/ 3829193 h 4596459"/>
              <a:gd name="connsiteX5533" fmla="*/ 793839 w 4716235"/>
              <a:gd name="connsiteY5533" fmla="*/ 3818456 h 4596459"/>
              <a:gd name="connsiteX5534" fmla="*/ 76623 w 4716235"/>
              <a:gd name="connsiteY5534" fmla="*/ 3817960 h 4596459"/>
              <a:gd name="connsiteX5535" fmla="*/ 87361 w 4716235"/>
              <a:gd name="connsiteY5535" fmla="*/ 3828697 h 4596459"/>
              <a:gd name="connsiteX5536" fmla="*/ 76623 w 4716235"/>
              <a:gd name="connsiteY5536" fmla="*/ 3839433 h 4596459"/>
              <a:gd name="connsiteX5537" fmla="*/ 65886 w 4716235"/>
              <a:gd name="connsiteY5537" fmla="*/ 3828697 h 4596459"/>
              <a:gd name="connsiteX5538" fmla="*/ 76623 w 4716235"/>
              <a:gd name="connsiteY5538" fmla="*/ 3817960 h 4596459"/>
              <a:gd name="connsiteX5539" fmla="*/ 3638428 w 4716235"/>
              <a:gd name="connsiteY5539" fmla="*/ 3817464 h 4596459"/>
              <a:gd name="connsiteX5540" fmla="*/ 3649164 w 4716235"/>
              <a:gd name="connsiteY5540" fmla="*/ 3828201 h 4596459"/>
              <a:gd name="connsiteX5541" fmla="*/ 3638428 w 4716235"/>
              <a:gd name="connsiteY5541" fmla="*/ 3838937 h 4596459"/>
              <a:gd name="connsiteX5542" fmla="*/ 3627691 w 4716235"/>
              <a:gd name="connsiteY5542" fmla="*/ 3828201 h 4596459"/>
              <a:gd name="connsiteX5543" fmla="*/ 3638428 w 4716235"/>
              <a:gd name="connsiteY5543" fmla="*/ 3817464 h 4596459"/>
              <a:gd name="connsiteX5544" fmla="*/ 3612659 w 4716235"/>
              <a:gd name="connsiteY5544" fmla="*/ 3817135 h 4596459"/>
              <a:gd name="connsiteX5545" fmla="*/ 3623396 w 4716235"/>
              <a:gd name="connsiteY5545" fmla="*/ 3827871 h 4596459"/>
              <a:gd name="connsiteX5546" fmla="*/ 3612659 w 4716235"/>
              <a:gd name="connsiteY5546" fmla="*/ 3838609 h 4596459"/>
              <a:gd name="connsiteX5547" fmla="*/ 3601923 w 4716235"/>
              <a:gd name="connsiteY5547" fmla="*/ 3827871 h 4596459"/>
              <a:gd name="connsiteX5548" fmla="*/ 3612659 w 4716235"/>
              <a:gd name="connsiteY5548" fmla="*/ 3817135 h 4596459"/>
              <a:gd name="connsiteX5549" fmla="*/ 3659075 w 4716235"/>
              <a:gd name="connsiteY5549" fmla="*/ 3816309 h 4596459"/>
              <a:gd name="connsiteX5550" fmla="*/ 3669069 w 4716235"/>
              <a:gd name="connsiteY5550" fmla="*/ 3826303 h 4596459"/>
              <a:gd name="connsiteX5551" fmla="*/ 3678401 w 4716235"/>
              <a:gd name="connsiteY5551" fmla="*/ 3816970 h 4596459"/>
              <a:gd name="connsiteX5552" fmla="*/ 3689139 w 4716235"/>
              <a:gd name="connsiteY5552" fmla="*/ 3827706 h 4596459"/>
              <a:gd name="connsiteX5553" fmla="*/ 3678401 w 4716235"/>
              <a:gd name="connsiteY5553" fmla="*/ 3838443 h 4596459"/>
              <a:gd name="connsiteX5554" fmla="*/ 3668407 w 4716235"/>
              <a:gd name="connsiteY5554" fmla="*/ 3828450 h 4596459"/>
              <a:gd name="connsiteX5555" fmla="*/ 3659075 w 4716235"/>
              <a:gd name="connsiteY5555" fmla="*/ 3837782 h 4596459"/>
              <a:gd name="connsiteX5556" fmla="*/ 3648339 w 4716235"/>
              <a:gd name="connsiteY5556" fmla="*/ 3827046 h 4596459"/>
              <a:gd name="connsiteX5557" fmla="*/ 3659075 w 4716235"/>
              <a:gd name="connsiteY5557" fmla="*/ 3816309 h 4596459"/>
              <a:gd name="connsiteX5558" fmla="*/ 3732084 w 4716235"/>
              <a:gd name="connsiteY5558" fmla="*/ 3812839 h 4596459"/>
              <a:gd name="connsiteX5559" fmla="*/ 3742822 w 4716235"/>
              <a:gd name="connsiteY5559" fmla="*/ 3823576 h 4596459"/>
              <a:gd name="connsiteX5560" fmla="*/ 3732084 w 4716235"/>
              <a:gd name="connsiteY5560" fmla="*/ 3834312 h 4596459"/>
              <a:gd name="connsiteX5561" fmla="*/ 3721348 w 4716235"/>
              <a:gd name="connsiteY5561" fmla="*/ 3823576 h 4596459"/>
              <a:gd name="connsiteX5562" fmla="*/ 3732084 w 4716235"/>
              <a:gd name="connsiteY5562" fmla="*/ 3812839 h 4596459"/>
              <a:gd name="connsiteX5563" fmla="*/ 3576814 w 4716235"/>
              <a:gd name="connsiteY5563" fmla="*/ 3810857 h 4596459"/>
              <a:gd name="connsiteX5564" fmla="*/ 3587550 w 4716235"/>
              <a:gd name="connsiteY5564" fmla="*/ 3821593 h 4596459"/>
              <a:gd name="connsiteX5565" fmla="*/ 3576814 w 4716235"/>
              <a:gd name="connsiteY5565" fmla="*/ 3832330 h 4596459"/>
              <a:gd name="connsiteX5566" fmla="*/ 3566077 w 4716235"/>
              <a:gd name="connsiteY5566" fmla="*/ 3821593 h 4596459"/>
              <a:gd name="connsiteX5567" fmla="*/ 3576814 w 4716235"/>
              <a:gd name="connsiteY5567" fmla="*/ 3810857 h 4596459"/>
              <a:gd name="connsiteX5568" fmla="*/ 498495 w 4716235"/>
              <a:gd name="connsiteY5568" fmla="*/ 3809206 h 4596459"/>
              <a:gd name="connsiteX5569" fmla="*/ 509233 w 4716235"/>
              <a:gd name="connsiteY5569" fmla="*/ 3819942 h 4596459"/>
              <a:gd name="connsiteX5570" fmla="*/ 498495 w 4716235"/>
              <a:gd name="connsiteY5570" fmla="*/ 3830679 h 4596459"/>
              <a:gd name="connsiteX5571" fmla="*/ 487758 w 4716235"/>
              <a:gd name="connsiteY5571" fmla="*/ 3819942 h 4596459"/>
              <a:gd name="connsiteX5572" fmla="*/ 498495 w 4716235"/>
              <a:gd name="connsiteY5572" fmla="*/ 3809206 h 4596459"/>
              <a:gd name="connsiteX5573" fmla="*/ 2336136 w 4716235"/>
              <a:gd name="connsiteY5573" fmla="*/ 3808710 h 4596459"/>
              <a:gd name="connsiteX5574" fmla="*/ 2346875 w 4716235"/>
              <a:gd name="connsiteY5574" fmla="*/ 3819446 h 4596459"/>
              <a:gd name="connsiteX5575" fmla="*/ 2336136 w 4716235"/>
              <a:gd name="connsiteY5575" fmla="*/ 3830183 h 4596459"/>
              <a:gd name="connsiteX5576" fmla="*/ 2325400 w 4716235"/>
              <a:gd name="connsiteY5576" fmla="*/ 3819446 h 4596459"/>
              <a:gd name="connsiteX5577" fmla="*/ 2336136 w 4716235"/>
              <a:gd name="connsiteY5577" fmla="*/ 3808710 h 4596459"/>
              <a:gd name="connsiteX5578" fmla="*/ 3765616 w 4716235"/>
              <a:gd name="connsiteY5578" fmla="*/ 3807224 h 4596459"/>
              <a:gd name="connsiteX5579" fmla="*/ 3776354 w 4716235"/>
              <a:gd name="connsiteY5579" fmla="*/ 3817960 h 4596459"/>
              <a:gd name="connsiteX5580" fmla="*/ 3765616 w 4716235"/>
              <a:gd name="connsiteY5580" fmla="*/ 3828697 h 4596459"/>
              <a:gd name="connsiteX5581" fmla="*/ 3754880 w 4716235"/>
              <a:gd name="connsiteY5581" fmla="*/ 3817960 h 4596459"/>
              <a:gd name="connsiteX5582" fmla="*/ 3765616 w 4716235"/>
              <a:gd name="connsiteY5582" fmla="*/ 3807224 h 4596459"/>
              <a:gd name="connsiteX5583" fmla="*/ 9558 w 4716235"/>
              <a:gd name="connsiteY5583" fmla="*/ 3805406 h 4596459"/>
              <a:gd name="connsiteX5584" fmla="*/ 20296 w 4716235"/>
              <a:gd name="connsiteY5584" fmla="*/ 3816143 h 4596459"/>
              <a:gd name="connsiteX5585" fmla="*/ 9558 w 4716235"/>
              <a:gd name="connsiteY5585" fmla="*/ 3826881 h 4596459"/>
              <a:gd name="connsiteX5586" fmla="*/ 0 w 4716235"/>
              <a:gd name="connsiteY5586" fmla="*/ 3817321 h 4596459"/>
              <a:gd name="connsiteX5587" fmla="*/ 0 w 4716235"/>
              <a:gd name="connsiteY5587" fmla="*/ 3814965 h 4596459"/>
              <a:gd name="connsiteX5588" fmla="*/ 3360262 w 4716235"/>
              <a:gd name="connsiteY5588" fmla="*/ 3804746 h 4596459"/>
              <a:gd name="connsiteX5589" fmla="*/ 3370999 w 4716235"/>
              <a:gd name="connsiteY5589" fmla="*/ 3815482 h 4596459"/>
              <a:gd name="connsiteX5590" fmla="*/ 3360262 w 4716235"/>
              <a:gd name="connsiteY5590" fmla="*/ 3826220 h 4596459"/>
              <a:gd name="connsiteX5591" fmla="*/ 3349526 w 4716235"/>
              <a:gd name="connsiteY5591" fmla="*/ 3815482 h 4596459"/>
              <a:gd name="connsiteX5592" fmla="*/ 3360262 w 4716235"/>
              <a:gd name="connsiteY5592" fmla="*/ 3804746 h 4596459"/>
              <a:gd name="connsiteX5593" fmla="*/ 3709951 w 4716235"/>
              <a:gd name="connsiteY5593" fmla="*/ 3802434 h 4596459"/>
              <a:gd name="connsiteX5594" fmla="*/ 3720689 w 4716235"/>
              <a:gd name="connsiteY5594" fmla="*/ 3813170 h 4596459"/>
              <a:gd name="connsiteX5595" fmla="*/ 3709951 w 4716235"/>
              <a:gd name="connsiteY5595" fmla="*/ 3823907 h 4596459"/>
              <a:gd name="connsiteX5596" fmla="*/ 3699214 w 4716235"/>
              <a:gd name="connsiteY5596" fmla="*/ 3813170 h 4596459"/>
              <a:gd name="connsiteX5597" fmla="*/ 3709951 w 4716235"/>
              <a:gd name="connsiteY5597" fmla="*/ 3802434 h 4596459"/>
              <a:gd name="connsiteX5598" fmla="*/ 3450286 w 4716235"/>
              <a:gd name="connsiteY5598" fmla="*/ 3801772 h 4596459"/>
              <a:gd name="connsiteX5599" fmla="*/ 3461024 w 4716235"/>
              <a:gd name="connsiteY5599" fmla="*/ 3812508 h 4596459"/>
              <a:gd name="connsiteX5600" fmla="*/ 3450286 w 4716235"/>
              <a:gd name="connsiteY5600" fmla="*/ 3823246 h 4596459"/>
              <a:gd name="connsiteX5601" fmla="*/ 3439549 w 4716235"/>
              <a:gd name="connsiteY5601" fmla="*/ 3812508 h 4596459"/>
              <a:gd name="connsiteX5602" fmla="*/ 3450286 w 4716235"/>
              <a:gd name="connsiteY5602" fmla="*/ 3801772 h 4596459"/>
              <a:gd name="connsiteX5603" fmla="*/ 3253225 w 4716235"/>
              <a:gd name="connsiteY5603" fmla="*/ 3800452 h 4596459"/>
              <a:gd name="connsiteX5604" fmla="*/ 3263961 w 4716235"/>
              <a:gd name="connsiteY5604" fmla="*/ 3811188 h 4596459"/>
              <a:gd name="connsiteX5605" fmla="*/ 3253225 w 4716235"/>
              <a:gd name="connsiteY5605" fmla="*/ 3821925 h 4596459"/>
              <a:gd name="connsiteX5606" fmla="*/ 3242489 w 4716235"/>
              <a:gd name="connsiteY5606" fmla="*/ 3811188 h 4596459"/>
              <a:gd name="connsiteX5607" fmla="*/ 3253225 w 4716235"/>
              <a:gd name="connsiteY5607" fmla="*/ 3800452 h 4596459"/>
              <a:gd name="connsiteX5608" fmla="*/ 2842418 w 4716235"/>
              <a:gd name="connsiteY5608" fmla="*/ 3800121 h 4596459"/>
              <a:gd name="connsiteX5609" fmla="*/ 2853155 w 4716235"/>
              <a:gd name="connsiteY5609" fmla="*/ 3810857 h 4596459"/>
              <a:gd name="connsiteX5610" fmla="*/ 2842418 w 4716235"/>
              <a:gd name="connsiteY5610" fmla="*/ 3821595 h 4596459"/>
              <a:gd name="connsiteX5611" fmla="*/ 2831682 w 4716235"/>
              <a:gd name="connsiteY5611" fmla="*/ 3810857 h 4596459"/>
              <a:gd name="connsiteX5612" fmla="*/ 2842418 w 4716235"/>
              <a:gd name="connsiteY5612" fmla="*/ 3800121 h 4596459"/>
              <a:gd name="connsiteX5613" fmla="*/ 1148319 w 4716235"/>
              <a:gd name="connsiteY5613" fmla="*/ 3798799 h 4596459"/>
              <a:gd name="connsiteX5614" fmla="*/ 1159057 w 4716235"/>
              <a:gd name="connsiteY5614" fmla="*/ 3809536 h 4596459"/>
              <a:gd name="connsiteX5615" fmla="*/ 1148319 w 4716235"/>
              <a:gd name="connsiteY5615" fmla="*/ 3820272 h 4596459"/>
              <a:gd name="connsiteX5616" fmla="*/ 1137583 w 4716235"/>
              <a:gd name="connsiteY5616" fmla="*/ 3809536 h 4596459"/>
              <a:gd name="connsiteX5617" fmla="*/ 1148319 w 4716235"/>
              <a:gd name="connsiteY5617" fmla="*/ 3798799 h 4596459"/>
              <a:gd name="connsiteX5618" fmla="*/ 3653458 w 4716235"/>
              <a:gd name="connsiteY5618" fmla="*/ 3796817 h 4596459"/>
              <a:gd name="connsiteX5619" fmla="*/ 3663781 w 4716235"/>
              <a:gd name="connsiteY5619" fmla="*/ 3807141 h 4596459"/>
              <a:gd name="connsiteX5620" fmla="*/ 3673776 w 4716235"/>
              <a:gd name="connsiteY5620" fmla="*/ 3797147 h 4596459"/>
              <a:gd name="connsiteX5621" fmla="*/ 3683109 w 4716235"/>
              <a:gd name="connsiteY5621" fmla="*/ 3806480 h 4596459"/>
              <a:gd name="connsiteX5622" fmla="*/ 3691450 w 4716235"/>
              <a:gd name="connsiteY5622" fmla="*/ 3798138 h 4596459"/>
              <a:gd name="connsiteX5623" fmla="*/ 3702187 w 4716235"/>
              <a:gd name="connsiteY5623" fmla="*/ 3808875 h 4596459"/>
              <a:gd name="connsiteX5624" fmla="*/ 3691450 w 4716235"/>
              <a:gd name="connsiteY5624" fmla="*/ 3819613 h 4596459"/>
              <a:gd name="connsiteX5625" fmla="*/ 3682117 w 4716235"/>
              <a:gd name="connsiteY5625" fmla="*/ 3810280 h 4596459"/>
              <a:gd name="connsiteX5626" fmla="*/ 3673776 w 4716235"/>
              <a:gd name="connsiteY5626" fmla="*/ 3818621 h 4596459"/>
              <a:gd name="connsiteX5627" fmla="*/ 3663452 w 4716235"/>
              <a:gd name="connsiteY5627" fmla="*/ 3808296 h 4596459"/>
              <a:gd name="connsiteX5628" fmla="*/ 3653458 w 4716235"/>
              <a:gd name="connsiteY5628" fmla="*/ 3818290 h 4596459"/>
              <a:gd name="connsiteX5629" fmla="*/ 3642722 w 4716235"/>
              <a:gd name="connsiteY5629" fmla="*/ 3807553 h 4596459"/>
              <a:gd name="connsiteX5630" fmla="*/ 3653458 w 4716235"/>
              <a:gd name="connsiteY5630" fmla="*/ 3796817 h 4596459"/>
              <a:gd name="connsiteX5631" fmla="*/ 3525608 w 4716235"/>
              <a:gd name="connsiteY5631" fmla="*/ 3793513 h 4596459"/>
              <a:gd name="connsiteX5632" fmla="*/ 3536346 w 4716235"/>
              <a:gd name="connsiteY5632" fmla="*/ 3804250 h 4596459"/>
              <a:gd name="connsiteX5633" fmla="*/ 3525608 w 4716235"/>
              <a:gd name="connsiteY5633" fmla="*/ 3814988 h 4596459"/>
              <a:gd name="connsiteX5634" fmla="*/ 3514872 w 4716235"/>
              <a:gd name="connsiteY5634" fmla="*/ 3804250 h 4596459"/>
              <a:gd name="connsiteX5635" fmla="*/ 3525608 w 4716235"/>
              <a:gd name="connsiteY5635" fmla="*/ 3793513 h 4596459"/>
              <a:gd name="connsiteX5636" fmla="*/ 3626699 w 4716235"/>
              <a:gd name="connsiteY5636" fmla="*/ 3792853 h 4596459"/>
              <a:gd name="connsiteX5637" fmla="*/ 3637437 w 4716235"/>
              <a:gd name="connsiteY5637" fmla="*/ 3803589 h 4596459"/>
              <a:gd name="connsiteX5638" fmla="*/ 3626699 w 4716235"/>
              <a:gd name="connsiteY5638" fmla="*/ 3814327 h 4596459"/>
              <a:gd name="connsiteX5639" fmla="*/ 3615963 w 4716235"/>
              <a:gd name="connsiteY5639" fmla="*/ 3803589 h 4596459"/>
              <a:gd name="connsiteX5640" fmla="*/ 3626699 w 4716235"/>
              <a:gd name="connsiteY5640" fmla="*/ 3792853 h 4596459"/>
              <a:gd name="connsiteX5641" fmla="*/ 3741170 w 4716235"/>
              <a:gd name="connsiteY5641" fmla="*/ 3791531 h 4596459"/>
              <a:gd name="connsiteX5642" fmla="*/ 3751906 w 4716235"/>
              <a:gd name="connsiteY5642" fmla="*/ 3802268 h 4596459"/>
              <a:gd name="connsiteX5643" fmla="*/ 3741170 w 4716235"/>
              <a:gd name="connsiteY5643" fmla="*/ 3813004 h 4596459"/>
              <a:gd name="connsiteX5644" fmla="*/ 3730433 w 4716235"/>
              <a:gd name="connsiteY5644" fmla="*/ 3802268 h 4596459"/>
              <a:gd name="connsiteX5645" fmla="*/ 3741170 w 4716235"/>
              <a:gd name="connsiteY5645" fmla="*/ 3791531 h 4596459"/>
              <a:gd name="connsiteX5646" fmla="*/ 3126695 w 4716235"/>
              <a:gd name="connsiteY5646" fmla="*/ 3787402 h 4596459"/>
              <a:gd name="connsiteX5647" fmla="*/ 3137431 w 4716235"/>
              <a:gd name="connsiteY5647" fmla="*/ 3798138 h 4596459"/>
              <a:gd name="connsiteX5648" fmla="*/ 3126695 w 4716235"/>
              <a:gd name="connsiteY5648" fmla="*/ 3808875 h 4596459"/>
              <a:gd name="connsiteX5649" fmla="*/ 3115959 w 4716235"/>
              <a:gd name="connsiteY5649" fmla="*/ 3798138 h 4596459"/>
              <a:gd name="connsiteX5650" fmla="*/ 3126695 w 4716235"/>
              <a:gd name="connsiteY5650" fmla="*/ 3787402 h 4596459"/>
              <a:gd name="connsiteX5651" fmla="*/ 2498510 w 4716235"/>
              <a:gd name="connsiteY5651" fmla="*/ 3786081 h 4596459"/>
              <a:gd name="connsiteX5652" fmla="*/ 2509248 w 4716235"/>
              <a:gd name="connsiteY5652" fmla="*/ 3796817 h 4596459"/>
              <a:gd name="connsiteX5653" fmla="*/ 2498510 w 4716235"/>
              <a:gd name="connsiteY5653" fmla="*/ 3807553 h 4596459"/>
              <a:gd name="connsiteX5654" fmla="*/ 2487774 w 4716235"/>
              <a:gd name="connsiteY5654" fmla="*/ 3796817 h 4596459"/>
              <a:gd name="connsiteX5655" fmla="*/ 2498510 w 4716235"/>
              <a:gd name="connsiteY5655" fmla="*/ 3786081 h 4596459"/>
              <a:gd name="connsiteX5656" fmla="*/ 3772884 w 4716235"/>
              <a:gd name="connsiteY5656" fmla="*/ 3784098 h 4596459"/>
              <a:gd name="connsiteX5657" fmla="*/ 3783622 w 4716235"/>
              <a:gd name="connsiteY5657" fmla="*/ 3794835 h 4596459"/>
              <a:gd name="connsiteX5658" fmla="*/ 3772884 w 4716235"/>
              <a:gd name="connsiteY5658" fmla="*/ 3805573 h 4596459"/>
              <a:gd name="connsiteX5659" fmla="*/ 3762148 w 4716235"/>
              <a:gd name="connsiteY5659" fmla="*/ 3794835 h 4596459"/>
              <a:gd name="connsiteX5660" fmla="*/ 3772884 w 4716235"/>
              <a:gd name="connsiteY5660" fmla="*/ 3784098 h 4596459"/>
              <a:gd name="connsiteX5661" fmla="*/ 3805756 w 4716235"/>
              <a:gd name="connsiteY5661" fmla="*/ 3783934 h 4596459"/>
              <a:gd name="connsiteX5662" fmla="*/ 3813189 w 4716235"/>
              <a:gd name="connsiteY5662" fmla="*/ 3791366 h 4596459"/>
              <a:gd name="connsiteX5663" fmla="*/ 3805756 w 4716235"/>
              <a:gd name="connsiteY5663" fmla="*/ 3798799 h 4596459"/>
              <a:gd name="connsiteX5664" fmla="*/ 3798323 w 4716235"/>
              <a:gd name="connsiteY5664" fmla="*/ 3791366 h 4596459"/>
              <a:gd name="connsiteX5665" fmla="*/ 3805756 w 4716235"/>
              <a:gd name="connsiteY5665" fmla="*/ 3783934 h 4596459"/>
              <a:gd name="connsiteX5666" fmla="*/ 156570 w 4716235"/>
              <a:gd name="connsiteY5666" fmla="*/ 3783603 h 4596459"/>
              <a:gd name="connsiteX5667" fmla="*/ 167307 w 4716235"/>
              <a:gd name="connsiteY5667" fmla="*/ 3794339 h 4596459"/>
              <a:gd name="connsiteX5668" fmla="*/ 156570 w 4716235"/>
              <a:gd name="connsiteY5668" fmla="*/ 3805077 h 4596459"/>
              <a:gd name="connsiteX5669" fmla="*/ 145834 w 4716235"/>
              <a:gd name="connsiteY5669" fmla="*/ 3794339 h 4596459"/>
              <a:gd name="connsiteX5670" fmla="*/ 156570 w 4716235"/>
              <a:gd name="connsiteY5670" fmla="*/ 3783603 h 4596459"/>
              <a:gd name="connsiteX5671" fmla="*/ 654097 w 4716235"/>
              <a:gd name="connsiteY5671" fmla="*/ 3783438 h 4596459"/>
              <a:gd name="connsiteX5672" fmla="*/ 664835 w 4716235"/>
              <a:gd name="connsiteY5672" fmla="*/ 3794174 h 4596459"/>
              <a:gd name="connsiteX5673" fmla="*/ 654097 w 4716235"/>
              <a:gd name="connsiteY5673" fmla="*/ 3804910 h 4596459"/>
              <a:gd name="connsiteX5674" fmla="*/ 643360 w 4716235"/>
              <a:gd name="connsiteY5674" fmla="*/ 3794174 h 4596459"/>
              <a:gd name="connsiteX5675" fmla="*/ 654097 w 4716235"/>
              <a:gd name="connsiteY5675" fmla="*/ 3783438 h 4596459"/>
              <a:gd name="connsiteX5676" fmla="*/ 3588377 w 4716235"/>
              <a:gd name="connsiteY5676" fmla="*/ 3780960 h 4596459"/>
              <a:gd name="connsiteX5677" fmla="*/ 3599114 w 4716235"/>
              <a:gd name="connsiteY5677" fmla="*/ 3791696 h 4596459"/>
              <a:gd name="connsiteX5678" fmla="*/ 3588377 w 4716235"/>
              <a:gd name="connsiteY5678" fmla="*/ 3802434 h 4596459"/>
              <a:gd name="connsiteX5679" fmla="*/ 3577641 w 4716235"/>
              <a:gd name="connsiteY5679" fmla="*/ 3791696 h 4596459"/>
              <a:gd name="connsiteX5680" fmla="*/ 3588377 w 4716235"/>
              <a:gd name="connsiteY5680" fmla="*/ 3780960 h 4596459"/>
              <a:gd name="connsiteX5681" fmla="*/ 71172 w 4716235"/>
              <a:gd name="connsiteY5681" fmla="*/ 3780464 h 4596459"/>
              <a:gd name="connsiteX5682" fmla="*/ 81909 w 4716235"/>
              <a:gd name="connsiteY5682" fmla="*/ 3791200 h 4596459"/>
              <a:gd name="connsiteX5683" fmla="*/ 71172 w 4716235"/>
              <a:gd name="connsiteY5683" fmla="*/ 3801938 h 4596459"/>
              <a:gd name="connsiteX5684" fmla="*/ 60436 w 4716235"/>
              <a:gd name="connsiteY5684" fmla="*/ 3791200 h 4596459"/>
              <a:gd name="connsiteX5685" fmla="*/ 71172 w 4716235"/>
              <a:gd name="connsiteY5685" fmla="*/ 3780464 h 4596459"/>
              <a:gd name="connsiteX5686" fmla="*/ 258487 w 4716235"/>
              <a:gd name="connsiteY5686" fmla="*/ 3780134 h 4596459"/>
              <a:gd name="connsiteX5687" fmla="*/ 269225 w 4716235"/>
              <a:gd name="connsiteY5687" fmla="*/ 3790870 h 4596459"/>
              <a:gd name="connsiteX5688" fmla="*/ 258487 w 4716235"/>
              <a:gd name="connsiteY5688" fmla="*/ 3801607 h 4596459"/>
              <a:gd name="connsiteX5689" fmla="*/ 247750 w 4716235"/>
              <a:gd name="connsiteY5689" fmla="*/ 3790870 h 4596459"/>
              <a:gd name="connsiteX5690" fmla="*/ 258487 w 4716235"/>
              <a:gd name="connsiteY5690" fmla="*/ 3780134 h 4596459"/>
              <a:gd name="connsiteX5691" fmla="*/ 3689137 w 4716235"/>
              <a:gd name="connsiteY5691" fmla="*/ 3776995 h 4596459"/>
              <a:gd name="connsiteX5692" fmla="*/ 3698141 w 4716235"/>
              <a:gd name="connsiteY5692" fmla="*/ 3785997 h 4596459"/>
              <a:gd name="connsiteX5693" fmla="*/ 3705490 w 4716235"/>
              <a:gd name="connsiteY5693" fmla="*/ 3778648 h 4596459"/>
              <a:gd name="connsiteX5694" fmla="*/ 3715731 w 4716235"/>
              <a:gd name="connsiteY5694" fmla="*/ 3788888 h 4596459"/>
              <a:gd name="connsiteX5695" fmla="*/ 3722009 w 4716235"/>
              <a:gd name="connsiteY5695" fmla="*/ 3782611 h 4596459"/>
              <a:gd name="connsiteX5696" fmla="*/ 3732745 w 4716235"/>
              <a:gd name="connsiteY5696" fmla="*/ 3793347 h 4596459"/>
              <a:gd name="connsiteX5697" fmla="*/ 3722009 w 4716235"/>
              <a:gd name="connsiteY5697" fmla="*/ 3804085 h 4596459"/>
              <a:gd name="connsiteX5698" fmla="*/ 3711768 w 4716235"/>
              <a:gd name="connsiteY5698" fmla="*/ 3793843 h 4596459"/>
              <a:gd name="connsiteX5699" fmla="*/ 3705490 w 4716235"/>
              <a:gd name="connsiteY5699" fmla="*/ 3800121 h 4596459"/>
              <a:gd name="connsiteX5700" fmla="*/ 3696488 w 4716235"/>
              <a:gd name="connsiteY5700" fmla="*/ 3791118 h 4596459"/>
              <a:gd name="connsiteX5701" fmla="*/ 3689137 w 4716235"/>
              <a:gd name="connsiteY5701" fmla="*/ 3798470 h 4596459"/>
              <a:gd name="connsiteX5702" fmla="*/ 3678401 w 4716235"/>
              <a:gd name="connsiteY5702" fmla="*/ 3787732 h 4596459"/>
              <a:gd name="connsiteX5703" fmla="*/ 3689137 w 4716235"/>
              <a:gd name="connsiteY5703" fmla="*/ 3776995 h 4596459"/>
              <a:gd name="connsiteX5704" fmla="*/ 3668986 w 4716235"/>
              <a:gd name="connsiteY5704" fmla="*/ 3774023 h 4596459"/>
              <a:gd name="connsiteX5705" fmla="*/ 3679724 w 4716235"/>
              <a:gd name="connsiteY5705" fmla="*/ 3784759 h 4596459"/>
              <a:gd name="connsiteX5706" fmla="*/ 3668986 w 4716235"/>
              <a:gd name="connsiteY5706" fmla="*/ 3795496 h 4596459"/>
              <a:gd name="connsiteX5707" fmla="*/ 3658249 w 4716235"/>
              <a:gd name="connsiteY5707" fmla="*/ 3784759 h 4596459"/>
              <a:gd name="connsiteX5708" fmla="*/ 3668986 w 4716235"/>
              <a:gd name="connsiteY5708" fmla="*/ 3774023 h 4596459"/>
              <a:gd name="connsiteX5709" fmla="*/ 988423 w 4716235"/>
              <a:gd name="connsiteY5709" fmla="*/ 3773692 h 4596459"/>
              <a:gd name="connsiteX5710" fmla="*/ 999160 w 4716235"/>
              <a:gd name="connsiteY5710" fmla="*/ 3784428 h 4596459"/>
              <a:gd name="connsiteX5711" fmla="*/ 988423 w 4716235"/>
              <a:gd name="connsiteY5711" fmla="*/ 3795164 h 4596459"/>
              <a:gd name="connsiteX5712" fmla="*/ 977687 w 4716235"/>
              <a:gd name="connsiteY5712" fmla="*/ 3784428 h 4596459"/>
              <a:gd name="connsiteX5713" fmla="*/ 988423 w 4716235"/>
              <a:gd name="connsiteY5713" fmla="*/ 3773692 h 4596459"/>
              <a:gd name="connsiteX5714" fmla="*/ 0 w 4716235"/>
              <a:gd name="connsiteY5714" fmla="*/ 3772062 h 4596459"/>
              <a:gd name="connsiteX5715" fmla="*/ 10717 w 4716235"/>
              <a:gd name="connsiteY5715" fmla="*/ 3782777 h 4596459"/>
              <a:gd name="connsiteX5716" fmla="*/ 0 w 4716235"/>
              <a:gd name="connsiteY5716" fmla="*/ 3793492 h 4596459"/>
              <a:gd name="connsiteX5717" fmla="*/ 3751741 w 4716235"/>
              <a:gd name="connsiteY5717" fmla="*/ 3770223 h 4596459"/>
              <a:gd name="connsiteX5718" fmla="*/ 3762479 w 4716235"/>
              <a:gd name="connsiteY5718" fmla="*/ 3780960 h 4596459"/>
              <a:gd name="connsiteX5719" fmla="*/ 3751741 w 4716235"/>
              <a:gd name="connsiteY5719" fmla="*/ 3791698 h 4596459"/>
              <a:gd name="connsiteX5720" fmla="*/ 3741005 w 4716235"/>
              <a:gd name="connsiteY5720" fmla="*/ 3780960 h 4596459"/>
              <a:gd name="connsiteX5721" fmla="*/ 3751741 w 4716235"/>
              <a:gd name="connsiteY5721" fmla="*/ 3770223 h 4596459"/>
              <a:gd name="connsiteX5722" fmla="*/ 379235 w 4716235"/>
              <a:gd name="connsiteY5722" fmla="*/ 3767910 h 4596459"/>
              <a:gd name="connsiteX5723" fmla="*/ 389973 w 4716235"/>
              <a:gd name="connsiteY5723" fmla="*/ 3778646 h 4596459"/>
              <a:gd name="connsiteX5724" fmla="*/ 379235 w 4716235"/>
              <a:gd name="connsiteY5724" fmla="*/ 3789383 h 4596459"/>
              <a:gd name="connsiteX5725" fmla="*/ 368499 w 4716235"/>
              <a:gd name="connsiteY5725" fmla="*/ 3778646 h 4596459"/>
              <a:gd name="connsiteX5726" fmla="*/ 379235 w 4716235"/>
              <a:gd name="connsiteY5726" fmla="*/ 3767910 h 4596459"/>
              <a:gd name="connsiteX5727" fmla="*/ 3640904 w 4716235"/>
              <a:gd name="connsiteY5727" fmla="*/ 3765763 h 4596459"/>
              <a:gd name="connsiteX5728" fmla="*/ 3651640 w 4716235"/>
              <a:gd name="connsiteY5728" fmla="*/ 3776499 h 4596459"/>
              <a:gd name="connsiteX5729" fmla="*/ 3640904 w 4716235"/>
              <a:gd name="connsiteY5729" fmla="*/ 3787236 h 4596459"/>
              <a:gd name="connsiteX5730" fmla="*/ 3630168 w 4716235"/>
              <a:gd name="connsiteY5730" fmla="*/ 3776499 h 4596459"/>
              <a:gd name="connsiteX5731" fmla="*/ 3640904 w 4716235"/>
              <a:gd name="connsiteY5731" fmla="*/ 3765763 h 4596459"/>
              <a:gd name="connsiteX5732" fmla="*/ 3845235 w 4716235"/>
              <a:gd name="connsiteY5732" fmla="*/ 3765433 h 4596459"/>
              <a:gd name="connsiteX5733" fmla="*/ 3845564 w 4716235"/>
              <a:gd name="connsiteY5733" fmla="*/ 3765765 h 4596459"/>
              <a:gd name="connsiteX5734" fmla="*/ 3845235 w 4716235"/>
              <a:gd name="connsiteY5734" fmla="*/ 3766094 h 4596459"/>
              <a:gd name="connsiteX5735" fmla="*/ 3844903 w 4716235"/>
              <a:gd name="connsiteY5735" fmla="*/ 3765765 h 4596459"/>
              <a:gd name="connsiteX5736" fmla="*/ 3845235 w 4716235"/>
              <a:gd name="connsiteY5736" fmla="*/ 3765433 h 4596459"/>
              <a:gd name="connsiteX5737" fmla="*/ 2978363 w 4716235"/>
              <a:gd name="connsiteY5737" fmla="*/ 3763450 h 4596459"/>
              <a:gd name="connsiteX5738" fmla="*/ 2989101 w 4716235"/>
              <a:gd name="connsiteY5738" fmla="*/ 3774186 h 4596459"/>
              <a:gd name="connsiteX5739" fmla="*/ 2978363 w 4716235"/>
              <a:gd name="connsiteY5739" fmla="*/ 3784924 h 4596459"/>
              <a:gd name="connsiteX5740" fmla="*/ 2967627 w 4716235"/>
              <a:gd name="connsiteY5740" fmla="*/ 3774186 h 4596459"/>
              <a:gd name="connsiteX5741" fmla="*/ 2978363 w 4716235"/>
              <a:gd name="connsiteY5741" fmla="*/ 3763450 h 4596459"/>
              <a:gd name="connsiteX5742" fmla="*/ 3781805 w 4716235"/>
              <a:gd name="connsiteY5742" fmla="*/ 3761467 h 4596459"/>
              <a:gd name="connsiteX5743" fmla="*/ 3792541 w 4716235"/>
              <a:gd name="connsiteY5743" fmla="*/ 3772204 h 4596459"/>
              <a:gd name="connsiteX5744" fmla="*/ 3781805 w 4716235"/>
              <a:gd name="connsiteY5744" fmla="*/ 3782942 h 4596459"/>
              <a:gd name="connsiteX5745" fmla="*/ 3771069 w 4716235"/>
              <a:gd name="connsiteY5745" fmla="*/ 3772204 h 4596459"/>
              <a:gd name="connsiteX5746" fmla="*/ 3781805 w 4716235"/>
              <a:gd name="connsiteY5746" fmla="*/ 3761467 h 4596459"/>
              <a:gd name="connsiteX5747" fmla="*/ 3452597 w 4716235"/>
              <a:gd name="connsiteY5747" fmla="*/ 3759156 h 4596459"/>
              <a:gd name="connsiteX5748" fmla="*/ 3463334 w 4716235"/>
              <a:gd name="connsiteY5748" fmla="*/ 3769892 h 4596459"/>
              <a:gd name="connsiteX5749" fmla="*/ 3452597 w 4716235"/>
              <a:gd name="connsiteY5749" fmla="*/ 3780628 h 4596459"/>
              <a:gd name="connsiteX5750" fmla="*/ 3441861 w 4716235"/>
              <a:gd name="connsiteY5750" fmla="*/ 3769892 h 4596459"/>
              <a:gd name="connsiteX5751" fmla="*/ 3452597 w 4716235"/>
              <a:gd name="connsiteY5751" fmla="*/ 3759156 h 4596459"/>
              <a:gd name="connsiteX5752" fmla="*/ 2655268 w 4716235"/>
              <a:gd name="connsiteY5752" fmla="*/ 3758330 h 4596459"/>
              <a:gd name="connsiteX5753" fmla="*/ 2666005 w 4716235"/>
              <a:gd name="connsiteY5753" fmla="*/ 3769067 h 4596459"/>
              <a:gd name="connsiteX5754" fmla="*/ 2655268 w 4716235"/>
              <a:gd name="connsiteY5754" fmla="*/ 3779805 h 4596459"/>
              <a:gd name="connsiteX5755" fmla="*/ 2644532 w 4716235"/>
              <a:gd name="connsiteY5755" fmla="*/ 3769067 h 4596459"/>
              <a:gd name="connsiteX5756" fmla="*/ 2655268 w 4716235"/>
              <a:gd name="connsiteY5756" fmla="*/ 3758330 h 4596459"/>
              <a:gd name="connsiteX5757" fmla="*/ 3812693 w 4716235"/>
              <a:gd name="connsiteY5757" fmla="*/ 3756348 h 4596459"/>
              <a:gd name="connsiteX5758" fmla="*/ 3823429 w 4716235"/>
              <a:gd name="connsiteY5758" fmla="*/ 3767084 h 4596459"/>
              <a:gd name="connsiteX5759" fmla="*/ 3812693 w 4716235"/>
              <a:gd name="connsiteY5759" fmla="*/ 3777822 h 4596459"/>
              <a:gd name="connsiteX5760" fmla="*/ 3801956 w 4716235"/>
              <a:gd name="connsiteY5760" fmla="*/ 3767084 h 4596459"/>
              <a:gd name="connsiteX5761" fmla="*/ 3812693 w 4716235"/>
              <a:gd name="connsiteY5761" fmla="*/ 3756348 h 4596459"/>
              <a:gd name="connsiteX5762" fmla="*/ 3356463 w 4716235"/>
              <a:gd name="connsiteY5762" fmla="*/ 3756182 h 4596459"/>
              <a:gd name="connsiteX5763" fmla="*/ 3367199 w 4716235"/>
              <a:gd name="connsiteY5763" fmla="*/ 3766918 h 4596459"/>
              <a:gd name="connsiteX5764" fmla="*/ 3356463 w 4716235"/>
              <a:gd name="connsiteY5764" fmla="*/ 3777656 h 4596459"/>
              <a:gd name="connsiteX5765" fmla="*/ 3345726 w 4716235"/>
              <a:gd name="connsiteY5765" fmla="*/ 3766918 h 4596459"/>
              <a:gd name="connsiteX5766" fmla="*/ 3356463 w 4716235"/>
              <a:gd name="connsiteY5766" fmla="*/ 3756182 h 4596459"/>
              <a:gd name="connsiteX5767" fmla="*/ 3532710 w 4716235"/>
              <a:gd name="connsiteY5767" fmla="*/ 3755687 h 4596459"/>
              <a:gd name="connsiteX5768" fmla="*/ 3543448 w 4716235"/>
              <a:gd name="connsiteY5768" fmla="*/ 3766424 h 4596459"/>
              <a:gd name="connsiteX5769" fmla="*/ 3532710 w 4716235"/>
              <a:gd name="connsiteY5769" fmla="*/ 3777162 h 4596459"/>
              <a:gd name="connsiteX5770" fmla="*/ 3521974 w 4716235"/>
              <a:gd name="connsiteY5770" fmla="*/ 3766424 h 4596459"/>
              <a:gd name="connsiteX5771" fmla="*/ 3532710 w 4716235"/>
              <a:gd name="connsiteY5771" fmla="*/ 3755687 h 4596459"/>
              <a:gd name="connsiteX5772" fmla="*/ 3705159 w 4716235"/>
              <a:gd name="connsiteY5772" fmla="*/ 3755027 h 4596459"/>
              <a:gd name="connsiteX5773" fmla="*/ 3714576 w 4716235"/>
              <a:gd name="connsiteY5773" fmla="*/ 3764441 h 4596459"/>
              <a:gd name="connsiteX5774" fmla="*/ 3720687 w 4716235"/>
              <a:gd name="connsiteY5774" fmla="*/ 3758330 h 4596459"/>
              <a:gd name="connsiteX5775" fmla="*/ 3730020 w 4716235"/>
              <a:gd name="connsiteY5775" fmla="*/ 3767662 h 4596459"/>
              <a:gd name="connsiteX5776" fmla="*/ 3735223 w 4716235"/>
              <a:gd name="connsiteY5776" fmla="*/ 3762459 h 4596459"/>
              <a:gd name="connsiteX5777" fmla="*/ 3745961 w 4716235"/>
              <a:gd name="connsiteY5777" fmla="*/ 3773196 h 4596459"/>
              <a:gd name="connsiteX5778" fmla="*/ 3735223 w 4716235"/>
              <a:gd name="connsiteY5778" fmla="*/ 3783934 h 4596459"/>
              <a:gd name="connsiteX5779" fmla="*/ 3725891 w 4716235"/>
              <a:gd name="connsiteY5779" fmla="*/ 3774600 h 4596459"/>
              <a:gd name="connsiteX5780" fmla="*/ 3720687 w 4716235"/>
              <a:gd name="connsiteY5780" fmla="*/ 3779805 h 4596459"/>
              <a:gd name="connsiteX5781" fmla="*/ 3711272 w 4716235"/>
              <a:gd name="connsiteY5781" fmla="*/ 3770388 h 4596459"/>
              <a:gd name="connsiteX5782" fmla="*/ 3705159 w 4716235"/>
              <a:gd name="connsiteY5782" fmla="*/ 3776499 h 4596459"/>
              <a:gd name="connsiteX5783" fmla="*/ 3694423 w 4716235"/>
              <a:gd name="connsiteY5783" fmla="*/ 3765763 h 4596459"/>
              <a:gd name="connsiteX5784" fmla="*/ 3705159 w 4716235"/>
              <a:gd name="connsiteY5784" fmla="*/ 3755027 h 4596459"/>
              <a:gd name="connsiteX5785" fmla="*/ 3684843 w 4716235"/>
              <a:gd name="connsiteY5785" fmla="*/ 3748915 h 4596459"/>
              <a:gd name="connsiteX5786" fmla="*/ 3695580 w 4716235"/>
              <a:gd name="connsiteY5786" fmla="*/ 3759652 h 4596459"/>
              <a:gd name="connsiteX5787" fmla="*/ 3684843 w 4716235"/>
              <a:gd name="connsiteY5787" fmla="*/ 3770388 h 4596459"/>
              <a:gd name="connsiteX5788" fmla="*/ 3674107 w 4716235"/>
              <a:gd name="connsiteY5788" fmla="*/ 3759652 h 4596459"/>
              <a:gd name="connsiteX5789" fmla="*/ 3684843 w 4716235"/>
              <a:gd name="connsiteY5789" fmla="*/ 3748915 h 4596459"/>
              <a:gd name="connsiteX5790" fmla="*/ 3599443 w 4716235"/>
              <a:gd name="connsiteY5790" fmla="*/ 3747263 h 4596459"/>
              <a:gd name="connsiteX5791" fmla="*/ 3610181 w 4716235"/>
              <a:gd name="connsiteY5791" fmla="*/ 3757999 h 4596459"/>
              <a:gd name="connsiteX5792" fmla="*/ 3599443 w 4716235"/>
              <a:gd name="connsiteY5792" fmla="*/ 3768735 h 4596459"/>
              <a:gd name="connsiteX5793" fmla="*/ 3588707 w 4716235"/>
              <a:gd name="connsiteY5793" fmla="*/ 3757999 h 4596459"/>
              <a:gd name="connsiteX5794" fmla="*/ 3599443 w 4716235"/>
              <a:gd name="connsiteY5794" fmla="*/ 3747263 h 4596459"/>
              <a:gd name="connsiteX5795" fmla="*/ 521456 w 4716235"/>
              <a:gd name="connsiteY5795" fmla="*/ 3745445 h 4596459"/>
              <a:gd name="connsiteX5796" fmla="*/ 532193 w 4716235"/>
              <a:gd name="connsiteY5796" fmla="*/ 3756182 h 4596459"/>
              <a:gd name="connsiteX5797" fmla="*/ 521456 w 4716235"/>
              <a:gd name="connsiteY5797" fmla="*/ 3766920 h 4596459"/>
              <a:gd name="connsiteX5798" fmla="*/ 510719 w 4716235"/>
              <a:gd name="connsiteY5798" fmla="*/ 3756182 h 4596459"/>
              <a:gd name="connsiteX5799" fmla="*/ 521456 w 4716235"/>
              <a:gd name="connsiteY5799" fmla="*/ 3745445 h 4596459"/>
              <a:gd name="connsiteX5800" fmla="*/ 1738676 w 4716235"/>
              <a:gd name="connsiteY5800" fmla="*/ 3745116 h 4596459"/>
              <a:gd name="connsiteX5801" fmla="*/ 1749414 w 4716235"/>
              <a:gd name="connsiteY5801" fmla="*/ 3755852 h 4596459"/>
              <a:gd name="connsiteX5802" fmla="*/ 1738676 w 4716235"/>
              <a:gd name="connsiteY5802" fmla="*/ 3766588 h 4596459"/>
              <a:gd name="connsiteX5803" fmla="*/ 1727940 w 4716235"/>
              <a:gd name="connsiteY5803" fmla="*/ 3755852 h 4596459"/>
              <a:gd name="connsiteX5804" fmla="*/ 1738676 w 4716235"/>
              <a:gd name="connsiteY5804" fmla="*/ 3745116 h 4596459"/>
              <a:gd name="connsiteX5805" fmla="*/ 3242157 w 4716235"/>
              <a:gd name="connsiteY5805" fmla="*/ 3744949 h 4596459"/>
              <a:gd name="connsiteX5806" fmla="*/ 3252895 w 4716235"/>
              <a:gd name="connsiteY5806" fmla="*/ 3755686 h 4596459"/>
              <a:gd name="connsiteX5807" fmla="*/ 3242157 w 4716235"/>
              <a:gd name="connsiteY5807" fmla="*/ 3766424 h 4596459"/>
              <a:gd name="connsiteX5808" fmla="*/ 3231421 w 4716235"/>
              <a:gd name="connsiteY5808" fmla="*/ 3755686 h 4596459"/>
              <a:gd name="connsiteX5809" fmla="*/ 3242157 w 4716235"/>
              <a:gd name="connsiteY5809" fmla="*/ 3744949 h 4596459"/>
              <a:gd name="connsiteX5810" fmla="*/ 834639 w 4716235"/>
              <a:gd name="connsiteY5810" fmla="*/ 3743959 h 4596459"/>
              <a:gd name="connsiteX5811" fmla="*/ 845377 w 4716235"/>
              <a:gd name="connsiteY5811" fmla="*/ 3754695 h 4596459"/>
              <a:gd name="connsiteX5812" fmla="*/ 834639 w 4716235"/>
              <a:gd name="connsiteY5812" fmla="*/ 3765433 h 4596459"/>
              <a:gd name="connsiteX5813" fmla="*/ 823903 w 4716235"/>
              <a:gd name="connsiteY5813" fmla="*/ 3754695 h 4596459"/>
              <a:gd name="connsiteX5814" fmla="*/ 834639 w 4716235"/>
              <a:gd name="connsiteY5814" fmla="*/ 3743959 h 4596459"/>
              <a:gd name="connsiteX5815" fmla="*/ 1917733 w 4716235"/>
              <a:gd name="connsiteY5815" fmla="*/ 3743298 h 4596459"/>
              <a:gd name="connsiteX5816" fmla="*/ 1928471 w 4716235"/>
              <a:gd name="connsiteY5816" fmla="*/ 3754035 h 4596459"/>
              <a:gd name="connsiteX5817" fmla="*/ 1917733 w 4716235"/>
              <a:gd name="connsiteY5817" fmla="*/ 3764773 h 4596459"/>
              <a:gd name="connsiteX5818" fmla="*/ 1906996 w 4716235"/>
              <a:gd name="connsiteY5818" fmla="*/ 3754035 h 4596459"/>
              <a:gd name="connsiteX5819" fmla="*/ 1917733 w 4716235"/>
              <a:gd name="connsiteY5819" fmla="*/ 3743298 h 4596459"/>
              <a:gd name="connsiteX5820" fmla="*/ 0 w 4716235"/>
              <a:gd name="connsiteY5820" fmla="*/ 3742659 h 4596459"/>
              <a:gd name="connsiteX5821" fmla="*/ 2125 w 4716235"/>
              <a:gd name="connsiteY5821" fmla="*/ 3744784 h 4596459"/>
              <a:gd name="connsiteX5822" fmla="*/ 0 w 4716235"/>
              <a:gd name="connsiteY5822" fmla="*/ 3746910 h 4596459"/>
              <a:gd name="connsiteX5823" fmla="*/ 1559784 w 4716235"/>
              <a:gd name="connsiteY5823" fmla="*/ 3740324 h 4596459"/>
              <a:gd name="connsiteX5824" fmla="*/ 1570522 w 4716235"/>
              <a:gd name="connsiteY5824" fmla="*/ 3751061 h 4596459"/>
              <a:gd name="connsiteX5825" fmla="*/ 1559784 w 4716235"/>
              <a:gd name="connsiteY5825" fmla="*/ 3761799 h 4596459"/>
              <a:gd name="connsiteX5826" fmla="*/ 1549048 w 4716235"/>
              <a:gd name="connsiteY5826" fmla="*/ 3751061 h 4596459"/>
              <a:gd name="connsiteX5827" fmla="*/ 1559784 w 4716235"/>
              <a:gd name="connsiteY5827" fmla="*/ 3740324 h 4596459"/>
              <a:gd name="connsiteX5828" fmla="*/ 3792210 w 4716235"/>
              <a:gd name="connsiteY5828" fmla="*/ 3738838 h 4596459"/>
              <a:gd name="connsiteX5829" fmla="*/ 3802947 w 4716235"/>
              <a:gd name="connsiteY5829" fmla="*/ 3749574 h 4596459"/>
              <a:gd name="connsiteX5830" fmla="*/ 3792210 w 4716235"/>
              <a:gd name="connsiteY5830" fmla="*/ 3760311 h 4596459"/>
              <a:gd name="connsiteX5831" fmla="*/ 3781474 w 4716235"/>
              <a:gd name="connsiteY5831" fmla="*/ 3749574 h 4596459"/>
              <a:gd name="connsiteX5832" fmla="*/ 3792210 w 4716235"/>
              <a:gd name="connsiteY5832" fmla="*/ 3738838 h 4596459"/>
              <a:gd name="connsiteX5833" fmla="*/ 67206 w 4716235"/>
              <a:gd name="connsiteY5833" fmla="*/ 3737681 h 4596459"/>
              <a:gd name="connsiteX5834" fmla="*/ 77944 w 4716235"/>
              <a:gd name="connsiteY5834" fmla="*/ 3748418 h 4596459"/>
              <a:gd name="connsiteX5835" fmla="*/ 67206 w 4716235"/>
              <a:gd name="connsiteY5835" fmla="*/ 3759156 h 4596459"/>
              <a:gd name="connsiteX5836" fmla="*/ 56470 w 4716235"/>
              <a:gd name="connsiteY5836" fmla="*/ 3748418 h 4596459"/>
              <a:gd name="connsiteX5837" fmla="*/ 67206 w 4716235"/>
              <a:gd name="connsiteY5837" fmla="*/ 3737681 h 4596459"/>
              <a:gd name="connsiteX5838" fmla="*/ 3654779 w 4716235"/>
              <a:gd name="connsiteY5838" fmla="*/ 3735370 h 4596459"/>
              <a:gd name="connsiteX5839" fmla="*/ 3665516 w 4716235"/>
              <a:gd name="connsiteY5839" fmla="*/ 3746106 h 4596459"/>
              <a:gd name="connsiteX5840" fmla="*/ 3654779 w 4716235"/>
              <a:gd name="connsiteY5840" fmla="*/ 3756842 h 4596459"/>
              <a:gd name="connsiteX5841" fmla="*/ 3644043 w 4716235"/>
              <a:gd name="connsiteY5841" fmla="*/ 3746106 h 4596459"/>
              <a:gd name="connsiteX5842" fmla="*/ 3654779 w 4716235"/>
              <a:gd name="connsiteY5842" fmla="*/ 3735370 h 4596459"/>
              <a:gd name="connsiteX5843" fmla="*/ 158388 w 4716235"/>
              <a:gd name="connsiteY5843" fmla="*/ 3735038 h 4596459"/>
              <a:gd name="connsiteX5844" fmla="*/ 169124 w 4716235"/>
              <a:gd name="connsiteY5844" fmla="*/ 3745775 h 4596459"/>
              <a:gd name="connsiteX5845" fmla="*/ 158388 w 4716235"/>
              <a:gd name="connsiteY5845" fmla="*/ 3756513 h 4596459"/>
              <a:gd name="connsiteX5846" fmla="*/ 147651 w 4716235"/>
              <a:gd name="connsiteY5846" fmla="*/ 3745775 h 4596459"/>
              <a:gd name="connsiteX5847" fmla="*/ 158388 w 4716235"/>
              <a:gd name="connsiteY5847" fmla="*/ 3735038 h 4596459"/>
              <a:gd name="connsiteX5848" fmla="*/ 2095634 w 4716235"/>
              <a:gd name="connsiteY5848" fmla="*/ 3734874 h 4596459"/>
              <a:gd name="connsiteX5849" fmla="*/ 2106372 w 4716235"/>
              <a:gd name="connsiteY5849" fmla="*/ 3745610 h 4596459"/>
              <a:gd name="connsiteX5850" fmla="*/ 2095634 w 4716235"/>
              <a:gd name="connsiteY5850" fmla="*/ 3756346 h 4596459"/>
              <a:gd name="connsiteX5851" fmla="*/ 2084898 w 4716235"/>
              <a:gd name="connsiteY5851" fmla="*/ 3745610 h 4596459"/>
              <a:gd name="connsiteX5852" fmla="*/ 2095634 w 4716235"/>
              <a:gd name="connsiteY5852" fmla="*/ 3734874 h 4596459"/>
              <a:gd name="connsiteX5853" fmla="*/ 3821282 w 4716235"/>
              <a:gd name="connsiteY5853" fmla="*/ 3732231 h 4596459"/>
              <a:gd name="connsiteX5854" fmla="*/ 3832020 w 4716235"/>
              <a:gd name="connsiteY5854" fmla="*/ 3742967 h 4596459"/>
              <a:gd name="connsiteX5855" fmla="*/ 3821282 w 4716235"/>
              <a:gd name="connsiteY5855" fmla="*/ 3753703 h 4596459"/>
              <a:gd name="connsiteX5856" fmla="*/ 3810546 w 4716235"/>
              <a:gd name="connsiteY5856" fmla="*/ 3742967 h 4596459"/>
              <a:gd name="connsiteX5857" fmla="*/ 3821282 w 4716235"/>
              <a:gd name="connsiteY5857" fmla="*/ 3732231 h 4596459"/>
              <a:gd name="connsiteX5858" fmla="*/ 3721844 w 4716235"/>
              <a:gd name="connsiteY5858" fmla="*/ 3731240 h 4596459"/>
              <a:gd name="connsiteX5859" fmla="*/ 3732167 w 4716235"/>
              <a:gd name="connsiteY5859" fmla="*/ 3741564 h 4596459"/>
              <a:gd name="connsiteX5860" fmla="*/ 3736876 w 4716235"/>
              <a:gd name="connsiteY5860" fmla="*/ 3736856 h 4596459"/>
              <a:gd name="connsiteX5861" fmla="*/ 3745713 w 4716235"/>
              <a:gd name="connsiteY5861" fmla="*/ 3745693 h 4596459"/>
              <a:gd name="connsiteX5862" fmla="*/ 3749759 w 4716235"/>
              <a:gd name="connsiteY5862" fmla="*/ 3741647 h 4596459"/>
              <a:gd name="connsiteX5863" fmla="*/ 3760495 w 4716235"/>
              <a:gd name="connsiteY5863" fmla="*/ 3752384 h 4596459"/>
              <a:gd name="connsiteX5864" fmla="*/ 3763799 w 4716235"/>
              <a:gd name="connsiteY5864" fmla="*/ 3749080 h 4596459"/>
              <a:gd name="connsiteX5865" fmla="*/ 3774535 w 4716235"/>
              <a:gd name="connsiteY5865" fmla="*/ 3759816 h 4596459"/>
              <a:gd name="connsiteX5866" fmla="*/ 3763799 w 4716235"/>
              <a:gd name="connsiteY5866" fmla="*/ 3770554 h 4596459"/>
              <a:gd name="connsiteX5867" fmla="*/ 3753063 w 4716235"/>
              <a:gd name="connsiteY5867" fmla="*/ 3759816 h 4596459"/>
              <a:gd name="connsiteX5868" fmla="*/ 3749759 w 4716235"/>
              <a:gd name="connsiteY5868" fmla="*/ 3763120 h 4596459"/>
              <a:gd name="connsiteX5869" fmla="*/ 3740922 w 4716235"/>
              <a:gd name="connsiteY5869" fmla="*/ 3754283 h 4596459"/>
              <a:gd name="connsiteX5870" fmla="*/ 3736876 w 4716235"/>
              <a:gd name="connsiteY5870" fmla="*/ 3758328 h 4596459"/>
              <a:gd name="connsiteX5871" fmla="*/ 3726552 w 4716235"/>
              <a:gd name="connsiteY5871" fmla="*/ 3748005 h 4596459"/>
              <a:gd name="connsiteX5872" fmla="*/ 3721844 w 4716235"/>
              <a:gd name="connsiteY5872" fmla="*/ 3752713 h 4596459"/>
              <a:gd name="connsiteX5873" fmla="*/ 3711107 w 4716235"/>
              <a:gd name="connsiteY5873" fmla="*/ 3741977 h 4596459"/>
              <a:gd name="connsiteX5874" fmla="*/ 3721844 w 4716235"/>
              <a:gd name="connsiteY5874" fmla="*/ 3731240 h 4596459"/>
              <a:gd name="connsiteX5875" fmla="*/ 3851677 w 4716235"/>
              <a:gd name="connsiteY5875" fmla="*/ 3729588 h 4596459"/>
              <a:gd name="connsiteX5876" fmla="*/ 3862084 w 4716235"/>
              <a:gd name="connsiteY5876" fmla="*/ 3739995 h 4596459"/>
              <a:gd name="connsiteX5877" fmla="*/ 3851677 w 4716235"/>
              <a:gd name="connsiteY5877" fmla="*/ 3750402 h 4596459"/>
              <a:gd name="connsiteX5878" fmla="*/ 3841270 w 4716235"/>
              <a:gd name="connsiteY5878" fmla="*/ 3739995 h 4596459"/>
              <a:gd name="connsiteX5879" fmla="*/ 3851677 w 4716235"/>
              <a:gd name="connsiteY5879" fmla="*/ 3729588 h 4596459"/>
              <a:gd name="connsiteX5880" fmla="*/ 1383041 w 4716235"/>
              <a:gd name="connsiteY5880" fmla="*/ 3728927 h 4596459"/>
              <a:gd name="connsiteX5881" fmla="*/ 1393779 w 4716235"/>
              <a:gd name="connsiteY5881" fmla="*/ 3739663 h 4596459"/>
              <a:gd name="connsiteX5882" fmla="*/ 1383041 w 4716235"/>
              <a:gd name="connsiteY5882" fmla="*/ 3750402 h 4596459"/>
              <a:gd name="connsiteX5883" fmla="*/ 1372305 w 4716235"/>
              <a:gd name="connsiteY5883" fmla="*/ 3739663 h 4596459"/>
              <a:gd name="connsiteX5884" fmla="*/ 1383041 w 4716235"/>
              <a:gd name="connsiteY5884" fmla="*/ 3728927 h 4596459"/>
              <a:gd name="connsiteX5885" fmla="*/ 2805418 w 4716235"/>
              <a:gd name="connsiteY5885" fmla="*/ 3726449 h 4596459"/>
              <a:gd name="connsiteX5886" fmla="*/ 2816156 w 4716235"/>
              <a:gd name="connsiteY5886" fmla="*/ 3737185 h 4596459"/>
              <a:gd name="connsiteX5887" fmla="*/ 2805418 w 4716235"/>
              <a:gd name="connsiteY5887" fmla="*/ 3747922 h 4596459"/>
              <a:gd name="connsiteX5888" fmla="*/ 2794681 w 4716235"/>
              <a:gd name="connsiteY5888" fmla="*/ 3737185 h 4596459"/>
              <a:gd name="connsiteX5889" fmla="*/ 2805418 w 4716235"/>
              <a:gd name="connsiteY5889" fmla="*/ 3726449 h 4596459"/>
              <a:gd name="connsiteX5890" fmla="*/ 267241 w 4716235"/>
              <a:gd name="connsiteY5890" fmla="*/ 3724633 h 4596459"/>
              <a:gd name="connsiteX5891" fmla="*/ 277979 w 4716235"/>
              <a:gd name="connsiteY5891" fmla="*/ 3735370 h 4596459"/>
              <a:gd name="connsiteX5892" fmla="*/ 267241 w 4716235"/>
              <a:gd name="connsiteY5892" fmla="*/ 3746106 h 4596459"/>
              <a:gd name="connsiteX5893" fmla="*/ 256505 w 4716235"/>
              <a:gd name="connsiteY5893" fmla="*/ 3735370 h 4596459"/>
              <a:gd name="connsiteX5894" fmla="*/ 267241 w 4716235"/>
              <a:gd name="connsiteY5894" fmla="*/ 3724633 h 4596459"/>
              <a:gd name="connsiteX5895" fmla="*/ 3106873 w 4716235"/>
              <a:gd name="connsiteY5895" fmla="*/ 3723806 h 4596459"/>
              <a:gd name="connsiteX5896" fmla="*/ 3117611 w 4716235"/>
              <a:gd name="connsiteY5896" fmla="*/ 3734542 h 4596459"/>
              <a:gd name="connsiteX5897" fmla="*/ 3106873 w 4716235"/>
              <a:gd name="connsiteY5897" fmla="*/ 3745280 h 4596459"/>
              <a:gd name="connsiteX5898" fmla="*/ 3096137 w 4716235"/>
              <a:gd name="connsiteY5898" fmla="*/ 3734542 h 4596459"/>
              <a:gd name="connsiteX5899" fmla="*/ 3106873 w 4716235"/>
              <a:gd name="connsiteY5899" fmla="*/ 3723806 h 4596459"/>
              <a:gd name="connsiteX5900" fmla="*/ 3700701 w 4716235"/>
              <a:gd name="connsiteY5900" fmla="*/ 3720834 h 4596459"/>
              <a:gd name="connsiteX5901" fmla="*/ 3711437 w 4716235"/>
              <a:gd name="connsiteY5901" fmla="*/ 3731570 h 4596459"/>
              <a:gd name="connsiteX5902" fmla="*/ 3700701 w 4716235"/>
              <a:gd name="connsiteY5902" fmla="*/ 3742306 h 4596459"/>
              <a:gd name="connsiteX5903" fmla="*/ 3689964 w 4716235"/>
              <a:gd name="connsiteY5903" fmla="*/ 3731570 h 4596459"/>
              <a:gd name="connsiteX5904" fmla="*/ 3700701 w 4716235"/>
              <a:gd name="connsiteY5904" fmla="*/ 3720834 h 4596459"/>
              <a:gd name="connsiteX5905" fmla="*/ 2270560 w 4716235"/>
              <a:gd name="connsiteY5905" fmla="*/ 3720173 h 4596459"/>
              <a:gd name="connsiteX5906" fmla="*/ 2281298 w 4716235"/>
              <a:gd name="connsiteY5906" fmla="*/ 3730909 h 4596459"/>
              <a:gd name="connsiteX5907" fmla="*/ 2270560 w 4716235"/>
              <a:gd name="connsiteY5907" fmla="*/ 3741647 h 4596459"/>
              <a:gd name="connsiteX5908" fmla="*/ 2259824 w 4716235"/>
              <a:gd name="connsiteY5908" fmla="*/ 3730909 h 4596459"/>
              <a:gd name="connsiteX5909" fmla="*/ 2270560 w 4716235"/>
              <a:gd name="connsiteY5909" fmla="*/ 3720173 h 4596459"/>
              <a:gd name="connsiteX5910" fmla="*/ 3804103 w 4716235"/>
              <a:gd name="connsiteY5910" fmla="*/ 3716209 h 4596459"/>
              <a:gd name="connsiteX5911" fmla="*/ 3814840 w 4716235"/>
              <a:gd name="connsiteY5911" fmla="*/ 3726945 h 4596459"/>
              <a:gd name="connsiteX5912" fmla="*/ 3804103 w 4716235"/>
              <a:gd name="connsiteY5912" fmla="*/ 3737681 h 4596459"/>
              <a:gd name="connsiteX5913" fmla="*/ 3793367 w 4716235"/>
              <a:gd name="connsiteY5913" fmla="*/ 3726945 h 4596459"/>
              <a:gd name="connsiteX5914" fmla="*/ 3804103 w 4716235"/>
              <a:gd name="connsiteY5914" fmla="*/ 3716209 h 4596459"/>
              <a:gd name="connsiteX5915" fmla="*/ 3753888 w 4716235"/>
              <a:gd name="connsiteY5915" fmla="*/ 3713895 h 4596459"/>
              <a:gd name="connsiteX5916" fmla="*/ 3762726 w 4716235"/>
              <a:gd name="connsiteY5916" fmla="*/ 3722734 h 4596459"/>
              <a:gd name="connsiteX5917" fmla="*/ 3765287 w 4716235"/>
              <a:gd name="connsiteY5917" fmla="*/ 3720173 h 4596459"/>
              <a:gd name="connsiteX5918" fmla="*/ 3774868 w 4716235"/>
              <a:gd name="connsiteY5918" fmla="*/ 3729754 h 4596459"/>
              <a:gd name="connsiteX5919" fmla="*/ 3777180 w 4716235"/>
              <a:gd name="connsiteY5919" fmla="*/ 3727441 h 4596459"/>
              <a:gd name="connsiteX5920" fmla="*/ 3787916 w 4716235"/>
              <a:gd name="connsiteY5920" fmla="*/ 3738177 h 4596459"/>
              <a:gd name="connsiteX5921" fmla="*/ 3777180 w 4716235"/>
              <a:gd name="connsiteY5921" fmla="*/ 3748915 h 4596459"/>
              <a:gd name="connsiteX5922" fmla="*/ 3767600 w 4716235"/>
              <a:gd name="connsiteY5922" fmla="*/ 3739334 h 4596459"/>
              <a:gd name="connsiteX5923" fmla="*/ 3765287 w 4716235"/>
              <a:gd name="connsiteY5923" fmla="*/ 3741647 h 4596459"/>
              <a:gd name="connsiteX5924" fmla="*/ 3756449 w 4716235"/>
              <a:gd name="connsiteY5924" fmla="*/ 3732808 h 4596459"/>
              <a:gd name="connsiteX5925" fmla="*/ 3753888 w 4716235"/>
              <a:gd name="connsiteY5925" fmla="*/ 3735370 h 4596459"/>
              <a:gd name="connsiteX5926" fmla="*/ 3743152 w 4716235"/>
              <a:gd name="connsiteY5926" fmla="*/ 3724631 h 4596459"/>
              <a:gd name="connsiteX5927" fmla="*/ 3753888 w 4716235"/>
              <a:gd name="connsiteY5927" fmla="*/ 3713895 h 4596459"/>
              <a:gd name="connsiteX5928" fmla="*/ 3538658 w 4716235"/>
              <a:gd name="connsiteY5928" fmla="*/ 3712740 h 4596459"/>
              <a:gd name="connsiteX5929" fmla="*/ 3549395 w 4716235"/>
              <a:gd name="connsiteY5929" fmla="*/ 3723477 h 4596459"/>
              <a:gd name="connsiteX5930" fmla="*/ 3538658 w 4716235"/>
              <a:gd name="connsiteY5930" fmla="*/ 3734213 h 4596459"/>
              <a:gd name="connsiteX5931" fmla="*/ 3527922 w 4716235"/>
              <a:gd name="connsiteY5931" fmla="*/ 3723477 h 4596459"/>
              <a:gd name="connsiteX5932" fmla="*/ 3538658 w 4716235"/>
              <a:gd name="connsiteY5932" fmla="*/ 3712740 h 4596459"/>
              <a:gd name="connsiteX5933" fmla="*/ 1210096 w 4716235"/>
              <a:gd name="connsiteY5933" fmla="*/ 3711254 h 4596459"/>
              <a:gd name="connsiteX5934" fmla="*/ 1220834 w 4716235"/>
              <a:gd name="connsiteY5934" fmla="*/ 3721990 h 4596459"/>
              <a:gd name="connsiteX5935" fmla="*/ 1210096 w 4716235"/>
              <a:gd name="connsiteY5935" fmla="*/ 3732727 h 4596459"/>
              <a:gd name="connsiteX5936" fmla="*/ 1199360 w 4716235"/>
              <a:gd name="connsiteY5936" fmla="*/ 3721990 h 4596459"/>
              <a:gd name="connsiteX5937" fmla="*/ 1210096 w 4716235"/>
              <a:gd name="connsiteY5937" fmla="*/ 3711254 h 4596459"/>
              <a:gd name="connsiteX5938" fmla="*/ 3889833 w 4716235"/>
              <a:gd name="connsiteY5938" fmla="*/ 3710758 h 4596459"/>
              <a:gd name="connsiteX5939" fmla="*/ 3893136 w 4716235"/>
              <a:gd name="connsiteY5939" fmla="*/ 3714062 h 4596459"/>
              <a:gd name="connsiteX5940" fmla="*/ 3889833 w 4716235"/>
              <a:gd name="connsiteY5940" fmla="*/ 3717365 h 4596459"/>
              <a:gd name="connsiteX5941" fmla="*/ 3886529 w 4716235"/>
              <a:gd name="connsiteY5941" fmla="*/ 3714062 h 4596459"/>
              <a:gd name="connsiteX5942" fmla="*/ 3889833 w 4716235"/>
              <a:gd name="connsiteY5942" fmla="*/ 3710758 h 4596459"/>
              <a:gd name="connsiteX5943" fmla="*/ 3453093 w 4716235"/>
              <a:gd name="connsiteY5943" fmla="*/ 3710593 h 4596459"/>
              <a:gd name="connsiteX5944" fmla="*/ 3463830 w 4716235"/>
              <a:gd name="connsiteY5944" fmla="*/ 3721330 h 4596459"/>
              <a:gd name="connsiteX5945" fmla="*/ 3453093 w 4716235"/>
              <a:gd name="connsiteY5945" fmla="*/ 3732066 h 4596459"/>
              <a:gd name="connsiteX5946" fmla="*/ 3442357 w 4716235"/>
              <a:gd name="connsiteY5946" fmla="*/ 3721330 h 4596459"/>
              <a:gd name="connsiteX5947" fmla="*/ 3453093 w 4716235"/>
              <a:gd name="connsiteY5947" fmla="*/ 3710593 h 4596459"/>
              <a:gd name="connsiteX5948" fmla="*/ 687793 w 4716235"/>
              <a:gd name="connsiteY5948" fmla="*/ 3710262 h 4596459"/>
              <a:gd name="connsiteX5949" fmla="*/ 698532 w 4716235"/>
              <a:gd name="connsiteY5949" fmla="*/ 3720998 h 4596459"/>
              <a:gd name="connsiteX5950" fmla="*/ 687793 w 4716235"/>
              <a:gd name="connsiteY5950" fmla="*/ 3731736 h 4596459"/>
              <a:gd name="connsiteX5951" fmla="*/ 677057 w 4716235"/>
              <a:gd name="connsiteY5951" fmla="*/ 3720998 h 4596459"/>
              <a:gd name="connsiteX5952" fmla="*/ 687793 w 4716235"/>
              <a:gd name="connsiteY5952" fmla="*/ 3710262 h 4596459"/>
              <a:gd name="connsiteX5953" fmla="*/ 3609685 w 4716235"/>
              <a:gd name="connsiteY5953" fmla="*/ 3709105 h 4596459"/>
              <a:gd name="connsiteX5954" fmla="*/ 3620423 w 4716235"/>
              <a:gd name="connsiteY5954" fmla="*/ 3719842 h 4596459"/>
              <a:gd name="connsiteX5955" fmla="*/ 3609685 w 4716235"/>
              <a:gd name="connsiteY5955" fmla="*/ 3730578 h 4596459"/>
              <a:gd name="connsiteX5956" fmla="*/ 3598949 w 4716235"/>
              <a:gd name="connsiteY5956" fmla="*/ 3719842 h 4596459"/>
              <a:gd name="connsiteX5957" fmla="*/ 3609685 w 4716235"/>
              <a:gd name="connsiteY5957" fmla="*/ 3709105 h 4596459"/>
              <a:gd name="connsiteX5958" fmla="*/ 3831359 w 4716235"/>
              <a:gd name="connsiteY5958" fmla="*/ 3708280 h 4596459"/>
              <a:gd name="connsiteX5959" fmla="*/ 3842096 w 4716235"/>
              <a:gd name="connsiteY5959" fmla="*/ 3719016 h 4596459"/>
              <a:gd name="connsiteX5960" fmla="*/ 3831359 w 4716235"/>
              <a:gd name="connsiteY5960" fmla="*/ 3729754 h 4596459"/>
              <a:gd name="connsiteX5961" fmla="*/ 3820623 w 4716235"/>
              <a:gd name="connsiteY5961" fmla="*/ 3719016 h 4596459"/>
              <a:gd name="connsiteX5962" fmla="*/ 3831359 w 4716235"/>
              <a:gd name="connsiteY5962" fmla="*/ 3708280 h 4596459"/>
              <a:gd name="connsiteX5963" fmla="*/ 3739023 w 4716235"/>
              <a:gd name="connsiteY5963" fmla="*/ 3705141 h 4596459"/>
              <a:gd name="connsiteX5964" fmla="*/ 3749759 w 4716235"/>
              <a:gd name="connsiteY5964" fmla="*/ 3715877 h 4596459"/>
              <a:gd name="connsiteX5965" fmla="*/ 3739023 w 4716235"/>
              <a:gd name="connsiteY5965" fmla="*/ 3726615 h 4596459"/>
              <a:gd name="connsiteX5966" fmla="*/ 3728286 w 4716235"/>
              <a:gd name="connsiteY5966" fmla="*/ 3715877 h 4596459"/>
              <a:gd name="connsiteX5967" fmla="*/ 3739023 w 4716235"/>
              <a:gd name="connsiteY5967" fmla="*/ 3705141 h 4596459"/>
              <a:gd name="connsiteX5968" fmla="*/ 396414 w 4716235"/>
              <a:gd name="connsiteY5968" fmla="*/ 3704645 h 4596459"/>
              <a:gd name="connsiteX5969" fmla="*/ 407152 w 4716235"/>
              <a:gd name="connsiteY5969" fmla="*/ 3715381 h 4596459"/>
              <a:gd name="connsiteX5970" fmla="*/ 396414 w 4716235"/>
              <a:gd name="connsiteY5970" fmla="*/ 3726119 h 4596459"/>
              <a:gd name="connsiteX5971" fmla="*/ 385677 w 4716235"/>
              <a:gd name="connsiteY5971" fmla="*/ 3715381 h 4596459"/>
              <a:gd name="connsiteX5972" fmla="*/ 396414 w 4716235"/>
              <a:gd name="connsiteY5972" fmla="*/ 3704645 h 4596459"/>
              <a:gd name="connsiteX5973" fmla="*/ 3859771 w 4716235"/>
              <a:gd name="connsiteY5973" fmla="*/ 3703820 h 4596459"/>
              <a:gd name="connsiteX5974" fmla="*/ 3870507 w 4716235"/>
              <a:gd name="connsiteY5974" fmla="*/ 3714556 h 4596459"/>
              <a:gd name="connsiteX5975" fmla="*/ 3859771 w 4716235"/>
              <a:gd name="connsiteY5975" fmla="*/ 3725292 h 4596459"/>
              <a:gd name="connsiteX5976" fmla="*/ 3849034 w 4716235"/>
              <a:gd name="connsiteY5976" fmla="*/ 3714556 h 4596459"/>
              <a:gd name="connsiteX5977" fmla="*/ 3859771 w 4716235"/>
              <a:gd name="connsiteY5977" fmla="*/ 3703820 h 4596459"/>
              <a:gd name="connsiteX5978" fmla="*/ 3668159 w 4716235"/>
              <a:gd name="connsiteY5978" fmla="*/ 3701012 h 4596459"/>
              <a:gd name="connsiteX5979" fmla="*/ 3678895 w 4716235"/>
              <a:gd name="connsiteY5979" fmla="*/ 3711748 h 4596459"/>
              <a:gd name="connsiteX5980" fmla="*/ 3668159 w 4716235"/>
              <a:gd name="connsiteY5980" fmla="*/ 3722486 h 4596459"/>
              <a:gd name="connsiteX5981" fmla="*/ 3657422 w 4716235"/>
              <a:gd name="connsiteY5981" fmla="*/ 3711748 h 4596459"/>
              <a:gd name="connsiteX5982" fmla="*/ 3668159 w 4716235"/>
              <a:gd name="connsiteY5982" fmla="*/ 3701012 h 4596459"/>
              <a:gd name="connsiteX5983" fmla="*/ 3350351 w 4716235"/>
              <a:gd name="connsiteY5983" fmla="*/ 3700847 h 4596459"/>
              <a:gd name="connsiteX5984" fmla="*/ 3361088 w 4716235"/>
              <a:gd name="connsiteY5984" fmla="*/ 3711583 h 4596459"/>
              <a:gd name="connsiteX5985" fmla="*/ 3350351 w 4716235"/>
              <a:gd name="connsiteY5985" fmla="*/ 3722320 h 4596459"/>
              <a:gd name="connsiteX5986" fmla="*/ 3339615 w 4716235"/>
              <a:gd name="connsiteY5986" fmla="*/ 3711583 h 4596459"/>
              <a:gd name="connsiteX5987" fmla="*/ 3350351 w 4716235"/>
              <a:gd name="connsiteY5987" fmla="*/ 3700847 h 4596459"/>
              <a:gd name="connsiteX5988" fmla="*/ 2441027 w 4716235"/>
              <a:gd name="connsiteY5988" fmla="*/ 3699526 h 4596459"/>
              <a:gd name="connsiteX5989" fmla="*/ 2451765 w 4716235"/>
              <a:gd name="connsiteY5989" fmla="*/ 3710262 h 4596459"/>
              <a:gd name="connsiteX5990" fmla="*/ 2441027 w 4716235"/>
              <a:gd name="connsiteY5990" fmla="*/ 3721000 h 4596459"/>
              <a:gd name="connsiteX5991" fmla="*/ 2430291 w 4716235"/>
              <a:gd name="connsiteY5991" fmla="*/ 3710262 h 4596459"/>
              <a:gd name="connsiteX5992" fmla="*/ 2441027 w 4716235"/>
              <a:gd name="connsiteY5992" fmla="*/ 3699526 h 4596459"/>
              <a:gd name="connsiteX5993" fmla="*/ 2948299 w 4716235"/>
              <a:gd name="connsiteY5993" fmla="*/ 3690605 h 4596459"/>
              <a:gd name="connsiteX5994" fmla="*/ 2959037 w 4716235"/>
              <a:gd name="connsiteY5994" fmla="*/ 3701341 h 4596459"/>
              <a:gd name="connsiteX5995" fmla="*/ 2948299 w 4716235"/>
              <a:gd name="connsiteY5995" fmla="*/ 3712078 h 4596459"/>
              <a:gd name="connsiteX5996" fmla="*/ 2937563 w 4716235"/>
              <a:gd name="connsiteY5996" fmla="*/ 3701341 h 4596459"/>
              <a:gd name="connsiteX5997" fmla="*/ 2948299 w 4716235"/>
              <a:gd name="connsiteY5997" fmla="*/ 3690605 h 4596459"/>
              <a:gd name="connsiteX5998" fmla="*/ 3716558 w 4716235"/>
              <a:gd name="connsiteY5998" fmla="*/ 3689615 h 4596459"/>
              <a:gd name="connsiteX5999" fmla="*/ 3727296 w 4716235"/>
              <a:gd name="connsiteY5999" fmla="*/ 3700351 h 4596459"/>
              <a:gd name="connsiteX6000" fmla="*/ 3716558 w 4716235"/>
              <a:gd name="connsiteY6000" fmla="*/ 3711089 h 4596459"/>
              <a:gd name="connsiteX6001" fmla="*/ 3705822 w 4716235"/>
              <a:gd name="connsiteY6001" fmla="*/ 3700351 h 4596459"/>
              <a:gd name="connsiteX6002" fmla="*/ 3716558 w 4716235"/>
              <a:gd name="connsiteY6002" fmla="*/ 3689615 h 4596459"/>
              <a:gd name="connsiteX6003" fmla="*/ 3771563 w 4716235"/>
              <a:gd name="connsiteY6003" fmla="*/ 3688954 h 4596459"/>
              <a:gd name="connsiteX6004" fmla="*/ 3780978 w 4716235"/>
              <a:gd name="connsiteY6004" fmla="*/ 3698369 h 4596459"/>
              <a:gd name="connsiteX6005" fmla="*/ 3781970 w 4716235"/>
              <a:gd name="connsiteY6005" fmla="*/ 3697377 h 4596459"/>
              <a:gd name="connsiteX6006" fmla="*/ 3790972 w 4716235"/>
              <a:gd name="connsiteY6006" fmla="*/ 3706381 h 4596459"/>
              <a:gd name="connsiteX6007" fmla="*/ 3791881 w 4716235"/>
              <a:gd name="connsiteY6007" fmla="*/ 3705472 h 4596459"/>
              <a:gd name="connsiteX6008" fmla="*/ 3802619 w 4716235"/>
              <a:gd name="connsiteY6008" fmla="*/ 3716209 h 4596459"/>
              <a:gd name="connsiteX6009" fmla="*/ 3791881 w 4716235"/>
              <a:gd name="connsiteY6009" fmla="*/ 3726945 h 4596459"/>
              <a:gd name="connsiteX6010" fmla="*/ 3782879 w 4716235"/>
              <a:gd name="connsiteY6010" fmla="*/ 3717943 h 4596459"/>
              <a:gd name="connsiteX6011" fmla="*/ 3781970 w 4716235"/>
              <a:gd name="connsiteY6011" fmla="*/ 3718851 h 4596459"/>
              <a:gd name="connsiteX6012" fmla="*/ 3772555 w 4716235"/>
              <a:gd name="connsiteY6012" fmla="*/ 3709435 h 4596459"/>
              <a:gd name="connsiteX6013" fmla="*/ 3771563 w 4716235"/>
              <a:gd name="connsiteY6013" fmla="*/ 3710427 h 4596459"/>
              <a:gd name="connsiteX6014" fmla="*/ 3760827 w 4716235"/>
              <a:gd name="connsiteY6014" fmla="*/ 3699690 h 4596459"/>
              <a:gd name="connsiteX6015" fmla="*/ 3771563 w 4716235"/>
              <a:gd name="connsiteY6015" fmla="*/ 3688954 h 4596459"/>
              <a:gd name="connsiteX6016" fmla="*/ 64894 w 4716235"/>
              <a:gd name="connsiteY6016" fmla="*/ 3688954 h 4596459"/>
              <a:gd name="connsiteX6017" fmla="*/ 75632 w 4716235"/>
              <a:gd name="connsiteY6017" fmla="*/ 3699690 h 4596459"/>
              <a:gd name="connsiteX6018" fmla="*/ 64894 w 4716235"/>
              <a:gd name="connsiteY6018" fmla="*/ 3710427 h 4596459"/>
              <a:gd name="connsiteX6019" fmla="*/ 54158 w 4716235"/>
              <a:gd name="connsiteY6019" fmla="*/ 3699690 h 4596459"/>
              <a:gd name="connsiteX6020" fmla="*/ 64894 w 4716235"/>
              <a:gd name="connsiteY6020" fmla="*/ 3688954 h 4596459"/>
              <a:gd name="connsiteX6021" fmla="*/ 1042272 w 4716235"/>
              <a:gd name="connsiteY6021" fmla="*/ 3688127 h 4596459"/>
              <a:gd name="connsiteX6022" fmla="*/ 1053010 w 4716235"/>
              <a:gd name="connsiteY6022" fmla="*/ 3698863 h 4596459"/>
              <a:gd name="connsiteX6023" fmla="*/ 1042272 w 4716235"/>
              <a:gd name="connsiteY6023" fmla="*/ 3709601 h 4596459"/>
              <a:gd name="connsiteX6024" fmla="*/ 1031535 w 4716235"/>
              <a:gd name="connsiteY6024" fmla="*/ 3698863 h 4596459"/>
              <a:gd name="connsiteX6025" fmla="*/ 1042272 w 4716235"/>
              <a:gd name="connsiteY6025" fmla="*/ 3688127 h 4596459"/>
              <a:gd name="connsiteX6026" fmla="*/ 3842921 w 4716235"/>
              <a:gd name="connsiteY6026" fmla="*/ 3684329 h 4596459"/>
              <a:gd name="connsiteX6027" fmla="*/ 3853658 w 4716235"/>
              <a:gd name="connsiteY6027" fmla="*/ 3695065 h 4596459"/>
              <a:gd name="connsiteX6028" fmla="*/ 3842921 w 4716235"/>
              <a:gd name="connsiteY6028" fmla="*/ 3705802 h 4596459"/>
              <a:gd name="connsiteX6029" fmla="*/ 3832185 w 4716235"/>
              <a:gd name="connsiteY6029" fmla="*/ 3695065 h 4596459"/>
              <a:gd name="connsiteX6030" fmla="*/ 3842921 w 4716235"/>
              <a:gd name="connsiteY6030" fmla="*/ 3684329 h 4596459"/>
              <a:gd name="connsiteX6031" fmla="*/ 3228117 w 4716235"/>
              <a:gd name="connsiteY6031" fmla="*/ 3681851 h 4596459"/>
              <a:gd name="connsiteX6032" fmla="*/ 3238854 w 4716235"/>
              <a:gd name="connsiteY6032" fmla="*/ 3692587 h 4596459"/>
              <a:gd name="connsiteX6033" fmla="*/ 3228117 w 4716235"/>
              <a:gd name="connsiteY6033" fmla="*/ 3703325 h 4596459"/>
              <a:gd name="connsiteX6034" fmla="*/ 3217381 w 4716235"/>
              <a:gd name="connsiteY6034" fmla="*/ 3692587 h 4596459"/>
              <a:gd name="connsiteX6035" fmla="*/ 3228117 w 4716235"/>
              <a:gd name="connsiteY6035" fmla="*/ 3681851 h 4596459"/>
              <a:gd name="connsiteX6036" fmla="*/ 162350 w 4716235"/>
              <a:gd name="connsiteY6036" fmla="*/ 3679869 h 4596459"/>
              <a:gd name="connsiteX6037" fmla="*/ 173089 w 4716235"/>
              <a:gd name="connsiteY6037" fmla="*/ 3690605 h 4596459"/>
              <a:gd name="connsiteX6038" fmla="*/ 162350 w 4716235"/>
              <a:gd name="connsiteY6038" fmla="*/ 3701343 h 4596459"/>
              <a:gd name="connsiteX6039" fmla="*/ 151614 w 4716235"/>
              <a:gd name="connsiteY6039" fmla="*/ 3690605 h 4596459"/>
              <a:gd name="connsiteX6040" fmla="*/ 162350 w 4716235"/>
              <a:gd name="connsiteY6040" fmla="*/ 3679869 h 4596459"/>
              <a:gd name="connsiteX6041" fmla="*/ 3869350 w 4716235"/>
              <a:gd name="connsiteY6041" fmla="*/ 3678547 h 4596459"/>
              <a:gd name="connsiteX6042" fmla="*/ 3880088 w 4716235"/>
              <a:gd name="connsiteY6042" fmla="*/ 3689284 h 4596459"/>
              <a:gd name="connsiteX6043" fmla="*/ 3869350 w 4716235"/>
              <a:gd name="connsiteY6043" fmla="*/ 3700020 h 4596459"/>
              <a:gd name="connsiteX6044" fmla="*/ 3858614 w 4716235"/>
              <a:gd name="connsiteY6044" fmla="*/ 3689284 h 4596459"/>
              <a:gd name="connsiteX6045" fmla="*/ 3869350 w 4716235"/>
              <a:gd name="connsiteY6045" fmla="*/ 3678547 h 4596459"/>
              <a:gd name="connsiteX6046" fmla="*/ 3897265 w 4716235"/>
              <a:gd name="connsiteY6046" fmla="*/ 3676400 h 4596459"/>
              <a:gd name="connsiteX6047" fmla="*/ 3908004 w 4716235"/>
              <a:gd name="connsiteY6047" fmla="*/ 3687137 h 4596459"/>
              <a:gd name="connsiteX6048" fmla="*/ 3897265 w 4716235"/>
              <a:gd name="connsiteY6048" fmla="*/ 3697873 h 4596459"/>
              <a:gd name="connsiteX6049" fmla="*/ 3886529 w 4716235"/>
              <a:gd name="connsiteY6049" fmla="*/ 3687137 h 4596459"/>
              <a:gd name="connsiteX6050" fmla="*/ 3897265 w 4716235"/>
              <a:gd name="connsiteY6050" fmla="*/ 3676400 h 4596459"/>
              <a:gd name="connsiteX6051" fmla="*/ 3756366 w 4716235"/>
              <a:gd name="connsiteY6051" fmla="*/ 3676234 h 4596459"/>
              <a:gd name="connsiteX6052" fmla="*/ 3767104 w 4716235"/>
              <a:gd name="connsiteY6052" fmla="*/ 3686970 h 4596459"/>
              <a:gd name="connsiteX6053" fmla="*/ 3756366 w 4716235"/>
              <a:gd name="connsiteY6053" fmla="*/ 3697708 h 4596459"/>
              <a:gd name="connsiteX6054" fmla="*/ 3745630 w 4716235"/>
              <a:gd name="connsiteY6054" fmla="*/ 3686970 h 4596459"/>
              <a:gd name="connsiteX6055" fmla="*/ 3756366 w 4716235"/>
              <a:gd name="connsiteY6055" fmla="*/ 3676234 h 4596459"/>
              <a:gd name="connsiteX6056" fmla="*/ 2605714 w 4716235"/>
              <a:gd name="connsiteY6056" fmla="*/ 3673591 h 4596459"/>
              <a:gd name="connsiteX6057" fmla="*/ 2616450 w 4716235"/>
              <a:gd name="connsiteY6057" fmla="*/ 3684327 h 4596459"/>
              <a:gd name="connsiteX6058" fmla="*/ 2605714 w 4716235"/>
              <a:gd name="connsiteY6058" fmla="*/ 3695065 h 4596459"/>
              <a:gd name="connsiteX6059" fmla="*/ 2594978 w 4716235"/>
              <a:gd name="connsiteY6059" fmla="*/ 3684327 h 4596459"/>
              <a:gd name="connsiteX6060" fmla="*/ 2605714 w 4716235"/>
              <a:gd name="connsiteY6060" fmla="*/ 3673591 h 4596459"/>
              <a:gd name="connsiteX6061" fmla="*/ 548381 w 4716235"/>
              <a:gd name="connsiteY6061" fmla="*/ 3672932 h 4596459"/>
              <a:gd name="connsiteX6062" fmla="*/ 559117 w 4716235"/>
              <a:gd name="connsiteY6062" fmla="*/ 3683668 h 4596459"/>
              <a:gd name="connsiteX6063" fmla="*/ 548381 w 4716235"/>
              <a:gd name="connsiteY6063" fmla="*/ 3694405 h 4596459"/>
              <a:gd name="connsiteX6064" fmla="*/ 537644 w 4716235"/>
              <a:gd name="connsiteY6064" fmla="*/ 3683668 h 4596459"/>
              <a:gd name="connsiteX6065" fmla="*/ 548381 w 4716235"/>
              <a:gd name="connsiteY6065" fmla="*/ 3672932 h 4596459"/>
              <a:gd name="connsiteX6066" fmla="*/ 3618771 w 4716235"/>
              <a:gd name="connsiteY6066" fmla="*/ 3665829 h 4596459"/>
              <a:gd name="connsiteX6067" fmla="*/ 3629507 w 4716235"/>
              <a:gd name="connsiteY6067" fmla="*/ 3676565 h 4596459"/>
              <a:gd name="connsiteX6068" fmla="*/ 3618771 w 4716235"/>
              <a:gd name="connsiteY6068" fmla="*/ 3687301 h 4596459"/>
              <a:gd name="connsiteX6069" fmla="*/ 3608034 w 4716235"/>
              <a:gd name="connsiteY6069" fmla="*/ 3676565 h 4596459"/>
              <a:gd name="connsiteX6070" fmla="*/ 3618771 w 4716235"/>
              <a:gd name="connsiteY6070" fmla="*/ 3665829 h 4596459"/>
              <a:gd name="connsiteX6071" fmla="*/ 3542952 w 4716235"/>
              <a:gd name="connsiteY6071" fmla="*/ 3664011 h 4596459"/>
              <a:gd name="connsiteX6072" fmla="*/ 3553688 w 4716235"/>
              <a:gd name="connsiteY6072" fmla="*/ 3674748 h 4596459"/>
              <a:gd name="connsiteX6073" fmla="*/ 3542952 w 4716235"/>
              <a:gd name="connsiteY6073" fmla="*/ 3685484 h 4596459"/>
              <a:gd name="connsiteX6074" fmla="*/ 3532216 w 4716235"/>
              <a:gd name="connsiteY6074" fmla="*/ 3674748 h 4596459"/>
              <a:gd name="connsiteX6075" fmla="*/ 3542952 w 4716235"/>
              <a:gd name="connsiteY6075" fmla="*/ 3664011 h 4596459"/>
              <a:gd name="connsiteX6076" fmla="*/ 3681044 w 4716235"/>
              <a:gd name="connsiteY6076" fmla="*/ 3662359 h 4596459"/>
              <a:gd name="connsiteX6077" fmla="*/ 3691782 w 4716235"/>
              <a:gd name="connsiteY6077" fmla="*/ 3673095 h 4596459"/>
              <a:gd name="connsiteX6078" fmla="*/ 3681044 w 4716235"/>
              <a:gd name="connsiteY6078" fmla="*/ 3683833 h 4596459"/>
              <a:gd name="connsiteX6079" fmla="*/ 3670307 w 4716235"/>
              <a:gd name="connsiteY6079" fmla="*/ 3673095 h 4596459"/>
              <a:gd name="connsiteX6080" fmla="*/ 3681044 w 4716235"/>
              <a:gd name="connsiteY6080" fmla="*/ 3662359 h 4596459"/>
              <a:gd name="connsiteX6081" fmla="*/ 3789734 w 4716235"/>
              <a:gd name="connsiteY6081" fmla="*/ 3661864 h 4596459"/>
              <a:gd name="connsiteX6082" fmla="*/ 3800470 w 4716235"/>
              <a:gd name="connsiteY6082" fmla="*/ 3672601 h 4596459"/>
              <a:gd name="connsiteX6083" fmla="*/ 3799726 w 4716235"/>
              <a:gd name="connsiteY6083" fmla="*/ 3673345 h 4596459"/>
              <a:gd name="connsiteX6084" fmla="*/ 3810381 w 4716235"/>
              <a:gd name="connsiteY6084" fmla="*/ 3683998 h 4596459"/>
              <a:gd name="connsiteX6085" fmla="*/ 3809720 w 4716235"/>
              <a:gd name="connsiteY6085" fmla="*/ 3684658 h 4596459"/>
              <a:gd name="connsiteX6086" fmla="*/ 3818474 w 4716235"/>
              <a:gd name="connsiteY6086" fmla="*/ 3693413 h 4596459"/>
              <a:gd name="connsiteX6087" fmla="*/ 3817897 w 4716235"/>
              <a:gd name="connsiteY6087" fmla="*/ 3693992 h 4596459"/>
              <a:gd name="connsiteX6088" fmla="*/ 3828056 w 4716235"/>
              <a:gd name="connsiteY6088" fmla="*/ 3704149 h 4596459"/>
              <a:gd name="connsiteX6089" fmla="*/ 3817318 w 4716235"/>
              <a:gd name="connsiteY6089" fmla="*/ 3714885 h 4596459"/>
              <a:gd name="connsiteX6090" fmla="*/ 3806581 w 4716235"/>
              <a:gd name="connsiteY6090" fmla="*/ 3704149 h 4596459"/>
              <a:gd name="connsiteX6091" fmla="*/ 3807159 w 4716235"/>
              <a:gd name="connsiteY6091" fmla="*/ 3703572 h 4596459"/>
              <a:gd name="connsiteX6092" fmla="*/ 3797002 w 4716235"/>
              <a:gd name="connsiteY6092" fmla="*/ 3693413 h 4596459"/>
              <a:gd name="connsiteX6093" fmla="*/ 3797661 w 4716235"/>
              <a:gd name="connsiteY6093" fmla="*/ 3692754 h 4596459"/>
              <a:gd name="connsiteX6094" fmla="*/ 3788907 w 4716235"/>
              <a:gd name="connsiteY6094" fmla="*/ 3683998 h 4596459"/>
              <a:gd name="connsiteX6095" fmla="*/ 3789649 w 4716235"/>
              <a:gd name="connsiteY6095" fmla="*/ 3683256 h 4596459"/>
              <a:gd name="connsiteX6096" fmla="*/ 3778997 w 4716235"/>
              <a:gd name="connsiteY6096" fmla="*/ 3672601 h 4596459"/>
              <a:gd name="connsiteX6097" fmla="*/ 3789734 w 4716235"/>
              <a:gd name="connsiteY6097" fmla="*/ 3661864 h 4596459"/>
              <a:gd name="connsiteX6098" fmla="*/ 278805 w 4716235"/>
              <a:gd name="connsiteY6098" fmla="*/ 3661700 h 4596459"/>
              <a:gd name="connsiteX6099" fmla="*/ 289541 w 4716235"/>
              <a:gd name="connsiteY6099" fmla="*/ 3672436 h 4596459"/>
              <a:gd name="connsiteX6100" fmla="*/ 278805 w 4716235"/>
              <a:gd name="connsiteY6100" fmla="*/ 3683172 h 4596459"/>
              <a:gd name="connsiteX6101" fmla="*/ 268068 w 4716235"/>
              <a:gd name="connsiteY6101" fmla="*/ 3672436 h 4596459"/>
              <a:gd name="connsiteX6102" fmla="*/ 278805 w 4716235"/>
              <a:gd name="connsiteY6102" fmla="*/ 3661700 h 4596459"/>
              <a:gd name="connsiteX6103" fmla="*/ 3856136 w 4716235"/>
              <a:gd name="connsiteY6103" fmla="*/ 3660212 h 4596459"/>
              <a:gd name="connsiteX6104" fmla="*/ 3866872 w 4716235"/>
              <a:gd name="connsiteY6104" fmla="*/ 3670948 h 4596459"/>
              <a:gd name="connsiteX6105" fmla="*/ 3856136 w 4716235"/>
              <a:gd name="connsiteY6105" fmla="*/ 3681686 h 4596459"/>
              <a:gd name="connsiteX6106" fmla="*/ 3845399 w 4716235"/>
              <a:gd name="connsiteY6106" fmla="*/ 3670948 h 4596459"/>
              <a:gd name="connsiteX6107" fmla="*/ 3856136 w 4716235"/>
              <a:gd name="connsiteY6107" fmla="*/ 3660212 h 4596459"/>
              <a:gd name="connsiteX6108" fmla="*/ 880560 w 4716235"/>
              <a:gd name="connsiteY6108" fmla="*/ 3659882 h 4596459"/>
              <a:gd name="connsiteX6109" fmla="*/ 891297 w 4716235"/>
              <a:gd name="connsiteY6109" fmla="*/ 3670619 h 4596459"/>
              <a:gd name="connsiteX6110" fmla="*/ 880560 w 4716235"/>
              <a:gd name="connsiteY6110" fmla="*/ 3681355 h 4596459"/>
              <a:gd name="connsiteX6111" fmla="*/ 869824 w 4716235"/>
              <a:gd name="connsiteY6111" fmla="*/ 3670619 h 4596459"/>
              <a:gd name="connsiteX6112" fmla="*/ 880560 w 4716235"/>
              <a:gd name="connsiteY6112" fmla="*/ 3659882 h 4596459"/>
              <a:gd name="connsiteX6113" fmla="*/ 3451442 w 4716235"/>
              <a:gd name="connsiteY6113" fmla="*/ 3655422 h 4596459"/>
              <a:gd name="connsiteX6114" fmla="*/ 3462179 w 4716235"/>
              <a:gd name="connsiteY6114" fmla="*/ 3666158 h 4596459"/>
              <a:gd name="connsiteX6115" fmla="*/ 3451442 w 4716235"/>
              <a:gd name="connsiteY6115" fmla="*/ 3676895 h 4596459"/>
              <a:gd name="connsiteX6116" fmla="*/ 3440706 w 4716235"/>
              <a:gd name="connsiteY6116" fmla="*/ 3666158 h 4596459"/>
              <a:gd name="connsiteX6117" fmla="*/ 3451442 w 4716235"/>
              <a:gd name="connsiteY6117" fmla="*/ 3655422 h 4596459"/>
              <a:gd name="connsiteX6118" fmla="*/ 3732084 w 4716235"/>
              <a:gd name="connsiteY6118" fmla="*/ 3654761 h 4596459"/>
              <a:gd name="connsiteX6119" fmla="*/ 3742822 w 4716235"/>
              <a:gd name="connsiteY6119" fmla="*/ 3665497 h 4596459"/>
              <a:gd name="connsiteX6120" fmla="*/ 3732084 w 4716235"/>
              <a:gd name="connsiteY6120" fmla="*/ 3676234 h 4596459"/>
              <a:gd name="connsiteX6121" fmla="*/ 3721348 w 4716235"/>
              <a:gd name="connsiteY6121" fmla="*/ 3665497 h 4596459"/>
              <a:gd name="connsiteX6122" fmla="*/ 3732084 w 4716235"/>
              <a:gd name="connsiteY6122" fmla="*/ 3654761 h 4596459"/>
              <a:gd name="connsiteX6123" fmla="*/ 3880583 w 4716235"/>
              <a:gd name="connsiteY6123" fmla="*/ 3653275 h 4596459"/>
              <a:gd name="connsiteX6124" fmla="*/ 3891319 w 4716235"/>
              <a:gd name="connsiteY6124" fmla="*/ 3664011 h 4596459"/>
              <a:gd name="connsiteX6125" fmla="*/ 3880583 w 4716235"/>
              <a:gd name="connsiteY6125" fmla="*/ 3674748 h 4596459"/>
              <a:gd name="connsiteX6126" fmla="*/ 3869846 w 4716235"/>
              <a:gd name="connsiteY6126" fmla="*/ 3664011 h 4596459"/>
              <a:gd name="connsiteX6127" fmla="*/ 3880583 w 4716235"/>
              <a:gd name="connsiteY6127" fmla="*/ 3653275 h 4596459"/>
              <a:gd name="connsiteX6128" fmla="*/ 3934268 w 4716235"/>
              <a:gd name="connsiteY6128" fmla="*/ 3653108 h 4596459"/>
              <a:gd name="connsiteX6129" fmla="*/ 3941865 w 4716235"/>
              <a:gd name="connsiteY6129" fmla="*/ 3660706 h 4596459"/>
              <a:gd name="connsiteX6130" fmla="*/ 3934268 w 4716235"/>
              <a:gd name="connsiteY6130" fmla="*/ 3668305 h 4596459"/>
              <a:gd name="connsiteX6131" fmla="*/ 3926669 w 4716235"/>
              <a:gd name="connsiteY6131" fmla="*/ 3660706 h 4596459"/>
              <a:gd name="connsiteX6132" fmla="*/ 3934268 w 4716235"/>
              <a:gd name="connsiteY6132" fmla="*/ 3653108 h 4596459"/>
              <a:gd name="connsiteX6133" fmla="*/ 3083418 w 4716235"/>
              <a:gd name="connsiteY6133" fmla="*/ 3651789 h 4596459"/>
              <a:gd name="connsiteX6134" fmla="*/ 3094157 w 4716235"/>
              <a:gd name="connsiteY6134" fmla="*/ 3662525 h 4596459"/>
              <a:gd name="connsiteX6135" fmla="*/ 3083418 w 4716235"/>
              <a:gd name="connsiteY6135" fmla="*/ 3673261 h 4596459"/>
              <a:gd name="connsiteX6136" fmla="*/ 3072682 w 4716235"/>
              <a:gd name="connsiteY6136" fmla="*/ 3662525 h 4596459"/>
              <a:gd name="connsiteX6137" fmla="*/ 3083418 w 4716235"/>
              <a:gd name="connsiteY6137" fmla="*/ 3651789 h 4596459"/>
              <a:gd name="connsiteX6138" fmla="*/ 3906516 w 4716235"/>
              <a:gd name="connsiteY6138" fmla="*/ 3649807 h 4596459"/>
              <a:gd name="connsiteX6139" fmla="*/ 3917254 w 4716235"/>
              <a:gd name="connsiteY6139" fmla="*/ 3660543 h 4596459"/>
              <a:gd name="connsiteX6140" fmla="*/ 3906516 w 4716235"/>
              <a:gd name="connsiteY6140" fmla="*/ 3671279 h 4596459"/>
              <a:gd name="connsiteX6141" fmla="*/ 3895779 w 4716235"/>
              <a:gd name="connsiteY6141" fmla="*/ 3660543 h 4596459"/>
              <a:gd name="connsiteX6142" fmla="*/ 3906516 w 4716235"/>
              <a:gd name="connsiteY6142" fmla="*/ 3649807 h 4596459"/>
              <a:gd name="connsiteX6143" fmla="*/ 3817978 w 4716235"/>
              <a:gd name="connsiteY6143" fmla="*/ 3647328 h 4596459"/>
              <a:gd name="connsiteX6144" fmla="*/ 3828715 w 4716235"/>
              <a:gd name="connsiteY6144" fmla="*/ 3658065 h 4596459"/>
              <a:gd name="connsiteX6145" fmla="*/ 3826403 w 4716235"/>
              <a:gd name="connsiteY6145" fmla="*/ 3660376 h 4596459"/>
              <a:gd name="connsiteX6146" fmla="*/ 3835489 w 4716235"/>
              <a:gd name="connsiteY6146" fmla="*/ 3669462 h 4596459"/>
              <a:gd name="connsiteX6147" fmla="*/ 3833506 w 4716235"/>
              <a:gd name="connsiteY6147" fmla="*/ 3671444 h 4596459"/>
              <a:gd name="connsiteX6148" fmla="*/ 3842757 w 4716235"/>
              <a:gd name="connsiteY6148" fmla="*/ 3680694 h 4596459"/>
              <a:gd name="connsiteX6149" fmla="*/ 3832020 w 4716235"/>
              <a:gd name="connsiteY6149" fmla="*/ 3691430 h 4596459"/>
              <a:gd name="connsiteX6150" fmla="*/ 3821284 w 4716235"/>
              <a:gd name="connsiteY6150" fmla="*/ 3680694 h 4596459"/>
              <a:gd name="connsiteX6151" fmla="*/ 3823266 w 4716235"/>
              <a:gd name="connsiteY6151" fmla="*/ 3678714 h 4596459"/>
              <a:gd name="connsiteX6152" fmla="*/ 3814016 w 4716235"/>
              <a:gd name="connsiteY6152" fmla="*/ 3669462 h 4596459"/>
              <a:gd name="connsiteX6153" fmla="*/ 3816328 w 4716235"/>
              <a:gd name="connsiteY6153" fmla="*/ 3667152 h 4596459"/>
              <a:gd name="connsiteX6154" fmla="*/ 3807242 w 4716235"/>
              <a:gd name="connsiteY6154" fmla="*/ 3658065 h 4596459"/>
              <a:gd name="connsiteX6155" fmla="*/ 3817978 w 4716235"/>
              <a:gd name="connsiteY6155" fmla="*/ 3647328 h 4596459"/>
              <a:gd name="connsiteX6156" fmla="*/ 3773875 w 4716235"/>
              <a:gd name="connsiteY6156" fmla="*/ 3644354 h 4596459"/>
              <a:gd name="connsiteX6157" fmla="*/ 3784613 w 4716235"/>
              <a:gd name="connsiteY6157" fmla="*/ 3655091 h 4596459"/>
              <a:gd name="connsiteX6158" fmla="*/ 3773875 w 4716235"/>
              <a:gd name="connsiteY6158" fmla="*/ 3665829 h 4596459"/>
              <a:gd name="connsiteX6159" fmla="*/ 3763138 w 4716235"/>
              <a:gd name="connsiteY6159" fmla="*/ 3655091 h 4596459"/>
              <a:gd name="connsiteX6160" fmla="*/ 3773875 w 4716235"/>
              <a:gd name="connsiteY6160" fmla="*/ 3644354 h 4596459"/>
              <a:gd name="connsiteX6161" fmla="*/ 2763627 w 4716235"/>
              <a:gd name="connsiteY6161" fmla="*/ 3643033 h 4596459"/>
              <a:gd name="connsiteX6162" fmla="*/ 2774365 w 4716235"/>
              <a:gd name="connsiteY6162" fmla="*/ 3653769 h 4596459"/>
              <a:gd name="connsiteX6163" fmla="*/ 2763627 w 4716235"/>
              <a:gd name="connsiteY6163" fmla="*/ 3664506 h 4596459"/>
              <a:gd name="connsiteX6164" fmla="*/ 2752891 w 4716235"/>
              <a:gd name="connsiteY6164" fmla="*/ 3653769 h 4596459"/>
              <a:gd name="connsiteX6165" fmla="*/ 2763627 w 4716235"/>
              <a:gd name="connsiteY6165" fmla="*/ 3643033 h 4596459"/>
              <a:gd name="connsiteX6166" fmla="*/ 3341596 w 4716235"/>
              <a:gd name="connsiteY6166" fmla="*/ 3638078 h 4596459"/>
              <a:gd name="connsiteX6167" fmla="*/ 3352332 w 4716235"/>
              <a:gd name="connsiteY6167" fmla="*/ 3648815 h 4596459"/>
              <a:gd name="connsiteX6168" fmla="*/ 3341596 w 4716235"/>
              <a:gd name="connsiteY6168" fmla="*/ 3659553 h 4596459"/>
              <a:gd name="connsiteX6169" fmla="*/ 3330859 w 4716235"/>
              <a:gd name="connsiteY6169" fmla="*/ 3648815 h 4596459"/>
              <a:gd name="connsiteX6170" fmla="*/ 3341596 w 4716235"/>
              <a:gd name="connsiteY6170" fmla="*/ 3638078 h 4596459"/>
              <a:gd name="connsiteX6171" fmla="*/ 1830021 w 4716235"/>
              <a:gd name="connsiteY6171" fmla="*/ 3637913 h 4596459"/>
              <a:gd name="connsiteX6172" fmla="*/ 1840759 w 4716235"/>
              <a:gd name="connsiteY6172" fmla="*/ 3648650 h 4596459"/>
              <a:gd name="connsiteX6173" fmla="*/ 1830021 w 4716235"/>
              <a:gd name="connsiteY6173" fmla="*/ 3659386 h 4596459"/>
              <a:gd name="connsiteX6174" fmla="*/ 1819285 w 4716235"/>
              <a:gd name="connsiteY6174" fmla="*/ 3648650 h 4596459"/>
              <a:gd name="connsiteX6175" fmla="*/ 1830021 w 4716235"/>
              <a:gd name="connsiteY6175" fmla="*/ 3637913 h 4596459"/>
              <a:gd name="connsiteX6176" fmla="*/ 1644028 w 4716235"/>
              <a:gd name="connsiteY6176" fmla="*/ 3636261 h 4596459"/>
              <a:gd name="connsiteX6177" fmla="*/ 1654766 w 4716235"/>
              <a:gd name="connsiteY6177" fmla="*/ 3646997 h 4596459"/>
              <a:gd name="connsiteX6178" fmla="*/ 1644028 w 4716235"/>
              <a:gd name="connsiteY6178" fmla="*/ 3657734 h 4596459"/>
              <a:gd name="connsiteX6179" fmla="*/ 1633291 w 4716235"/>
              <a:gd name="connsiteY6179" fmla="*/ 3646997 h 4596459"/>
              <a:gd name="connsiteX6180" fmla="*/ 1644028 w 4716235"/>
              <a:gd name="connsiteY6180" fmla="*/ 3636261 h 4596459"/>
              <a:gd name="connsiteX6181" fmla="*/ 3970443 w 4716235"/>
              <a:gd name="connsiteY6181" fmla="*/ 3634939 h 4596459"/>
              <a:gd name="connsiteX6182" fmla="*/ 3970772 w 4716235"/>
              <a:gd name="connsiteY6182" fmla="*/ 3635271 h 4596459"/>
              <a:gd name="connsiteX6183" fmla="*/ 3970443 w 4716235"/>
              <a:gd name="connsiteY6183" fmla="*/ 3635600 h 4596459"/>
              <a:gd name="connsiteX6184" fmla="*/ 3970112 w 4716235"/>
              <a:gd name="connsiteY6184" fmla="*/ 3635271 h 4596459"/>
              <a:gd name="connsiteX6185" fmla="*/ 3970443 w 4716235"/>
              <a:gd name="connsiteY6185" fmla="*/ 3634939 h 4596459"/>
              <a:gd name="connsiteX6186" fmla="*/ 64565 w 4716235"/>
              <a:gd name="connsiteY6186" fmla="*/ 3633947 h 4596459"/>
              <a:gd name="connsiteX6187" fmla="*/ 75301 w 4716235"/>
              <a:gd name="connsiteY6187" fmla="*/ 3644684 h 4596459"/>
              <a:gd name="connsiteX6188" fmla="*/ 64565 w 4716235"/>
              <a:gd name="connsiteY6188" fmla="*/ 3655422 h 4596459"/>
              <a:gd name="connsiteX6189" fmla="*/ 53828 w 4716235"/>
              <a:gd name="connsiteY6189" fmla="*/ 3644684 h 4596459"/>
              <a:gd name="connsiteX6190" fmla="*/ 64565 w 4716235"/>
              <a:gd name="connsiteY6190" fmla="*/ 3633947 h 4596459"/>
              <a:gd name="connsiteX6191" fmla="*/ 416896 w 4716235"/>
              <a:gd name="connsiteY6191" fmla="*/ 3632957 h 4596459"/>
              <a:gd name="connsiteX6192" fmla="*/ 427633 w 4716235"/>
              <a:gd name="connsiteY6192" fmla="*/ 3643694 h 4596459"/>
              <a:gd name="connsiteX6193" fmla="*/ 416896 w 4716235"/>
              <a:gd name="connsiteY6193" fmla="*/ 3654432 h 4596459"/>
              <a:gd name="connsiteX6194" fmla="*/ 406160 w 4716235"/>
              <a:gd name="connsiteY6194" fmla="*/ 3643694 h 4596459"/>
              <a:gd name="connsiteX6195" fmla="*/ 416896 w 4716235"/>
              <a:gd name="connsiteY6195" fmla="*/ 3632957 h 4596459"/>
              <a:gd name="connsiteX6196" fmla="*/ 2015520 w 4716235"/>
              <a:gd name="connsiteY6196" fmla="*/ 3632628 h 4596459"/>
              <a:gd name="connsiteX6197" fmla="*/ 2026258 w 4716235"/>
              <a:gd name="connsiteY6197" fmla="*/ 3643364 h 4596459"/>
              <a:gd name="connsiteX6198" fmla="*/ 2015520 w 4716235"/>
              <a:gd name="connsiteY6198" fmla="*/ 3654100 h 4596459"/>
              <a:gd name="connsiteX6199" fmla="*/ 2004784 w 4716235"/>
              <a:gd name="connsiteY6199" fmla="*/ 3643364 h 4596459"/>
              <a:gd name="connsiteX6200" fmla="*/ 2015520 w 4716235"/>
              <a:gd name="connsiteY6200" fmla="*/ 3632628 h 4596459"/>
              <a:gd name="connsiteX6201" fmla="*/ 3808399 w 4716235"/>
              <a:gd name="connsiteY6201" fmla="*/ 3632132 h 4596459"/>
              <a:gd name="connsiteX6202" fmla="*/ 3819137 w 4716235"/>
              <a:gd name="connsiteY6202" fmla="*/ 3642868 h 4596459"/>
              <a:gd name="connsiteX6203" fmla="*/ 3808399 w 4716235"/>
              <a:gd name="connsiteY6203" fmla="*/ 3653604 h 4596459"/>
              <a:gd name="connsiteX6204" fmla="*/ 3797662 w 4716235"/>
              <a:gd name="connsiteY6204" fmla="*/ 3642868 h 4596459"/>
              <a:gd name="connsiteX6205" fmla="*/ 3808399 w 4716235"/>
              <a:gd name="connsiteY6205" fmla="*/ 3632132 h 4596459"/>
              <a:gd name="connsiteX6206" fmla="*/ 3893301 w 4716235"/>
              <a:gd name="connsiteY6206" fmla="*/ 3627836 h 4596459"/>
              <a:gd name="connsiteX6207" fmla="*/ 3904037 w 4716235"/>
              <a:gd name="connsiteY6207" fmla="*/ 3638572 h 4596459"/>
              <a:gd name="connsiteX6208" fmla="*/ 3893301 w 4716235"/>
              <a:gd name="connsiteY6208" fmla="*/ 3649311 h 4596459"/>
              <a:gd name="connsiteX6209" fmla="*/ 3882565 w 4716235"/>
              <a:gd name="connsiteY6209" fmla="*/ 3638572 h 4596459"/>
              <a:gd name="connsiteX6210" fmla="*/ 3893301 w 4716235"/>
              <a:gd name="connsiteY6210" fmla="*/ 3627836 h 4596459"/>
              <a:gd name="connsiteX6211" fmla="*/ 1459521 w 4716235"/>
              <a:gd name="connsiteY6211" fmla="*/ 3627836 h 4596459"/>
              <a:gd name="connsiteX6212" fmla="*/ 1470257 w 4716235"/>
              <a:gd name="connsiteY6212" fmla="*/ 3638572 h 4596459"/>
              <a:gd name="connsiteX6213" fmla="*/ 1459521 w 4716235"/>
              <a:gd name="connsiteY6213" fmla="*/ 3649311 h 4596459"/>
              <a:gd name="connsiteX6214" fmla="*/ 1448784 w 4716235"/>
              <a:gd name="connsiteY6214" fmla="*/ 3638572 h 4596459"/>
              <a:gd name="connsiteX6215" fmla="*/ 1459521 w 4716235"/>
              <a:gd name="connsiteY6215" fmla="*/ 3627836 h 4596459"/>
              <a:gd name="connsiteX6216" fmla="*/ 726115 w 4716235"/>
              <a:gd name="connsiteY6216" fmla="*/ 3627340 h 4596459"/>
              <a:gd name="connsiteX6217" fmla="*/ 736854 w 4716235"/>
              <a:gd name="connsiteY6217" fmla="*/ 3638076 h 4596459"/>
              <a:gd name="connsiteX6218" fmla="*/ 726115 w 4716235"/>
              <a:gd name="connsiteY6218" fmla="*/ 3648813 h 4596459"/>
              <a:gd name="connsiteX6219" fmla="*/ 715379 w 4716235"/>
              <a:gd name="connsiteY6219" fmla="*/ 3638076 h 4596459"/>
              <a:gd name="connsiteX6220" fmla="*/ 726115 w 4716235"/>
              <a:gd name="connsiteY6220" fmla="*/ 3627340 h 4596459"/>
              <a:gd name="connsiteX6221" fmla="*/ 3917087 w 4716235"/>
              <a:gd name="connsiteY6221" fmla="*/ 3623378 h 4596459"/>
              <a:gd name="connsiteX6222" fmla="*/ 3927824 w 4716235"/>
              <a:gd name="connsiteY6222" fmla="*/ 3634114 h 4596459"/>
              <a:gd name="connsiteX6223" fmla="*/ 3917087 w 4716235"/>
              <a:gd name="connsiteY6223" fmla="*/ 3644850 h 4596459"/>
              <a:gd name="connsiteX6224" fmla="*/ 3906351 w 4716235"/>
              <a:gd name="connsiteY6224" fmla="*/ 3634114 h 4596459"/>
              <a:gd name="connsiteX6225" fmla="*/ 3917087 w 4716235"/>
              <a:gd name="connsiteY6225" fmla="*/ 3623378 h 4596459"/>
              <a:gd name="connsiteX6226" fmla="*/ 3942691 w 4716235"/>
              <a:gd name="connsiteY6226" fmla="*/ 3622221 h 4596459"/>
              <a:gd name="connsiteX6227" fmla="*/ 3953429 w 4716235"/>
              <a:gd name="connsiteY6227" fmla="*/ 3632957 h 4596459"/>
              <a:gd name="connsiteX6228" fmla="*/ 3942691 w 4716235"/>
              <a:gd name="connsiteY6228" fmla="*/ 3643694 h 4596459"/>
              <a:gd name="connsiteX6229" fmla="*/ 3931954 w 4716235"/>
              <a:gd name="connsiteY6229" fmla="*/ 3632957 h 4596459"/>
              <a:gd name="connsiteX6230" fmla="*/ 3942691 w 4716235"/>
              <a:gd name="connsiteY6230" fmla="*/ 3622221 h 4596459"/>
              <a:gd name="connsiteX6231" fmla="*/ 2198708 w 4716235"/>
              <a:gd name="connsiteY6231" fmla="*/ 3620568 h 4596459"/>
              <a:gd name="connsiteX6232" fmla="*/ 2209444 w 4716235"/>
              <a:gd name="connsiteY6232" fmla="*/ 3631304 h 4596459"/>
              <a:gd name="connsiteX6233" fmla="*/ 2198708 w 4716235"/>
              <a:gd name="connsiteY6233" fmla="*/ 3642043 h 4596459"/>
              <a:gd name="connsiteX6234" fmla="*/ 2187971 w 4716235"/>
              <a:gd name="connsiteY6234" fmla="*/ 3631304 h 4596459"/>
              <a:gd name="connsiteX6235" fmla="*/ 2198708 w 4716235"/>
              <a:gd name="connsiteY6235" fmla="*/ 3620568 h 4596459"/>
              <a:gd name="connsiteX6236" fmla="*/ 3837139 w 4716235"/>
              <a:gd name="connsiteY6236" fmla="*/ 3619247 h 4596459"/>
              <a:gd name="connsiteX6237" fmla="*/ 3847876 w 4716235"/>
              <a:gd name="connsiteY6237" fmla="*/ 3629983 h 4596459"/>
              <a:gd name="connsiteX6238" fmla="*/ 3843582 w 4716235"/>
              <a:gd name="connsiteY6238" fmla="*/ 3634279 h 4596459"/>
              <a:gd name="connsiteX6239" fmla="*/ 3853493 w 4716235"/>
              <a:gd name="connsiteY6239" fmla="*/ 3644190 h 4596459"/>
              <a:gd name="connsiteX6240" fmla="*/ 3849860 w 4716235"/>
              <a:gd name="connsiteY6240" fmla="*/ 3647824 h 4596459"/>
              <a:gd name="connsiteX6241" fmla="*/ 3858779 w 4716235"/>
              <a:gd name="connsiteY6241" fmla="*/ 3656743 h 4596459"/>
              <a:gd name="connsiteX6242" fmla="*/ 3848042 w 4716235"/>
              <a:gd name="connsiteY6242" fmla="*/ 3667480 h 4596459"/>
              <a:gd name="connsiteX6243" fmla="*/ 3837306 w 4716235"/>
              <a:gd name="connsiteY6243" fmla="*/ 3656743 h 4596459"/>
              <a:gd name="connsiteX6244" fmla="*/ 3840939 w 4716235"/>
              <a:gd name="connsiteY6244" fmla="*/ 3653110 h 4596459"/>
              <a:gd name="connsiteX6245" fmla="*/ 3832020 w 4716235"/>
              <a:gd name="connsiteY6245" fmla="*/ 3644190 h 4596459"/>
              <a:gd name="connsiteX6246" fmla="*/ 3836314 w 4716235"/>
              <a:gd name="connsiteY6246" fmla="*/ 3639896 h 4596459"/>
              <a:gd name="connsiteX6247" fmla="*/ 3826403 w 4716235"/>
              <a:gd name="connsiteY6247" fmla="*/ 3629983 h 4596459"/>
              <a:gd name="connsiteX6248" fmla="*/ 3837139 w 4716235"/>
              <a:gd name="connsiteY6248" fmla="*/ 3619247 h 4596459"/>
              <a:gd name="connsiteX6249" fmla="*/ 3692937 w 4716235"/>
              <a:gd name="connsiteY6249" fmla="*/ 3618917 h 4596459"/>
              <a:gd name="connsiteX6250" fmla="*/ 3703673 w 4716235"/>
              <a:gd name="connsiteY6250" fmla="*/ 3629654 h 4596459"/>
              <a:gd name="connsiteX6251" fmla="*/ 3692937 w 4716235"/>
              <a:gd name="connsiteY6251" fmla="*/ 3640392 h 4596459"/>
              <a:gd name="connsiteX6252" fmla="*/ 3682200 w 4716235"/>
              <a:gd name="connsiteY6252" fmla="*/ 3629654 h 4596459"/>
              <a:gd name="connsiteX6253" fmla="*/ 3692937 w 4716235"/>
              <a:gd name="connsiteY6253" fmla="*/ 3618917 h 4596459"/>
              <a:gd name="connsiteX6254" fmla="*/ 168793 w 4716235"/>
              <a:gd name="connsiteY6254" fmla="*/ 3617265 h 4596459"/>
              <a:gd name="connsiteX6255" fmla="*/ 179531 w 4716235"/>
              <a:gd name="connsiteY6255" fmla="*/ 3628001 h 4596459"/>
              <a:gd name="connsiteX6256" fmla="*/ 168793 w 4716235"/>
              <a:gd name="connsiteY6256" fmla="*/ 3638737 h 4596459"/>
              <a:gd name="connsiteX6257" fmla="*/ 158057 w 4716235"/>
              <a:gd name="connsiteY6257" fmla="*/ 3628001 h 4596459"/>
              <a:gd name="connsiteX6258" fmla="*/ 168793 w 4716235"/>
              <a:gd name="connsiteY6258" fmla="*/ 3617265 h 4596459"/>
              <a:gd name="connsiteX6259" fmla="*/ 3626535 w 4716235"/>
              <a:gd name="connsiteY6259" fmla="*/ 3617100 h 4596459"/>
              <a:gd name="connsiteX6260" fmla="*/ 3637271 w 4716235"/>
              <a:gd name="connsiteY6260" fmla="*/ 3627836 h 4596459"/>
              <a:gd name="connsiteX6261" fmla="*/ 3626535 w 4716235"/>
              <a:gd name="connsiteY6261" fmla="*/ 3638572 h 4596459"/>
              <a:gd name="connsiteX6262" fmla="*/ 3615798 w 4716235"/>
              <a:gd name="connsiteY6262" fmla="*/ 3627836 h 4596459"/>
              <a:gd name="connsiteX6263" fmla="*/ 3626535 w 4716235"/>
              <a:gd name="connsiteY6263" fmla="*/ 3617100 h 4596459"/>
              <a:gd name="connsiteX6264" fmla="*/ 3747116 w 4716235"/>
              <a:gd name="connsiteY6264" fmla="*/ 3615614 h 4596459"/>
              <a:gd name="connsiteX6265" fmla="*/ 3757854 w 4716235"/>
              <a:gd name="connsiteY6265" fmla="*/ 3626350 h 4596459"/>
              <a:gd name="connsiteX6266" fmla="*/ 3747116 w 4716235"/>
              <a:gd name="connsiteY6266" fmla="*/ 3637086 h 4596459"/>
              <a:gd name="connsiteX6267" fmla="*/ 3736380 w 4716235"/>
              <a:gd name="connsiteY6267" fmla="*/ 3626350 h 4596459"/>
              <a:gd name="connsiteX6268" fmla="*/ 3747116 w 4716235"/>
              <a:gd name="connsiteY6268" fmla="*/ 3615614 h 4596459"/>
              <a:gd name="connsiteX6269" fmla="*/ 1278151 w 4716235"/>
              <a:gd name="connsiteY6269" fmla="*/ 3612804 h 4596459"/>
              <a:gd name="connsiteX6270" fmla="*/ 1288889 w 4716235"/>
              <a:gd name="connsiteY6270" fmla="*/ 3623541 h 4596459"/>
              <a:gd name="connsiteX6271" fmla="*/ 1278151 w 4716235"/>
              <a:gd name="connsiteY6271" fmla="*/ 3634279 h 4596459"/>
              <a:gd name="connsiteX6272" fmla="*/ 1267414 w 4716235"/>
              <a:gd name="connsiteY6272" fmla="*/ 3623541 h 4596459"/>
              <a:gd name="connsiteX6273" fmla="*/ 1278151 w 4716235"/>
              <a:gd name="connsiteY6273" fmla="*/ 3612804 h 4596459"/>
              <a:gd name="connsiteX6274" fmla="*/ 3210607 w 4716235"/>
              <a:gd name="connsiteY6274" fmla="*/ 3610493 h 4596459"/>
              <a:gd name="connsiteX6275" fmla="*/ 3221345 w 4716235"/>
              <a:gd name="connsiteY6275" fmla="*/ 3621229 h 4596459"/>
              <a:gd name="connsiteX6276" fmla="*/ 3210607 w 4716235"/>
              <a:gd name="connsiteY6276" fmla="*/ 3631965 h 4596459"/>
              <a:gd name="connsiteX6277" fmla="*/ 3199871 w 4716235"/>
              <a:gd name="connsiteY6277" fmla="*/ 3621229 h 4596459"/>
              <a:gd name="connsiteX6278" fmla="*/ 3210607 w 4716235"/>
              <a:gd name="connsiteY6278" fmla="*/ 3610493 h 4596459"/>
              <a:gd name="connsiteX6279" fmla="*/ 3545430 w 4716235"/>
              <a:gd name="connsiteY6279" fmla="*/ 3609006 h 4596459"/>
              <a:gd name="connsiteX6280" fmla="*/ 3556167 w 4716235"/>
              <a:gd name="connsiteY6280" fmla="*/ 3619743 h 4596459"/>
              <a:gd name="connsiteX6281" fmla="*/ 3545430 w 4716235"/>
              <a:gd name="connsiteY6281" fmla="*/ 3630479 h 4596459"/>
              <a:gd name="connsiteX6282" fmla="*/ 3534694 w 4716235"/>
              <a:gd name="connsiteY6282" fmla="*/ 3619743 h 4596459"/>
              <a:gd name="connsiteX6283" fmla="*/ 3545430 w 4716235"/>
              <a:gd name="connsiteY6283" fmla="*/ 3609006 h 4596459"/>
              <a:gd name="connsiteX6284" fmla="*/ 3791220 w 4716235"/>
              <a:gd name="connsiteY6284" fmla="*/ 3608842 h 4596459"/>
              <a:gd name="connsiteX6285" fmla="*/ 3801956 w 4716235"/>
              <a:gd name="connsiteY6285" fmla="*/ 3619578 h 4596459"/>
              <a:gd name="connsiteX6286" fmla="*/ 3791220 w 4716235"/>
              <a:gd name="connsiteY6286" fmla="*/ 3630314 h 4596459"/>
              <a:gd name="connsiteX6287" fmla="*/ 3780484 w 4716235"/>
              <a:gd name="connsiteY6287" fmla="*/ 3619578 h 4596459"/>
              <a:gd name="connsiteX6288" fmla="*/ 3791220 w 4716235"/>
              <a:gd name="connsiteY6288" fmla="*/ 3608842 h 4596459"/>
              <a:gd name="connsiteX6289" fmla="*/ 2913777 w 4716235"/>
              <a:gd name="connsiteY6289" fmla="*/ 3608346 h 4596459"/>
              <a:gd name="connsiteX6290" fmla="*/ 2924515 w 4716235"/>
              <a:gd name="connsiteY6290" fmla="*/ 3619082 h 4596459"/>
              <a:gd name="connsiteX6291" fmla="*/ 2913777 w 4716235"/>
              <a:gd name="connsiteY6291" fmla="*/ 3629818 h 4596459"/>
              <a:gd name="connsiteX6292" fmla="*/ 2903040 w 4716235"/>
              <a:gd name="connsiteY6292" fmla="*/ 3619082 h 4596459"/>
              <a:gd name="connsiteX6293" fmla="*/ 2913777 w 4716235"/>
              <a:gd name="connsiteY6293" fmla="*/ 3608346 h 4596459"/>
              <a:gd name="connsiteX6294" fmla="*/ 3861586 w 4716235"/>
              <a:gd name="connsiteY6294" fmla="*/ 3606528 h 4596459"/>
              <a:gd name="connsiteX6295" fmla="*/ 3872324 w 4716235"/>
              <a:gd name="connsiteY6295" fmla="*/ 3617265 h 4596459"/>
              <a:gd name="connsiteX6296" fmla="*/ 3866872 w 4716235"/>
              <a:gd name="connsiteY6296" fmla="*/ 3622717 h 4596459"/>
              <a:gd name="connsiteX6297" fmla="*/ 3875793 w 4716235"/>
              <a:gd name="connsiteY6297" fmla="*/ 3631636 h 4596459"/>
              <a:gd name="connsiteX6298" fmla="*/ 3871251 w 4716235"/>
              <a:gd name="connsiteY6298" fmla="*/ 3636179 h 4596459"/>
              <a:gd name="connsiteX6299" fmla="*/ 3881243 w 4716235"/>
              <a:gd name="connsiteY6299" fmla="*/ 3646172 h 4596459"/>
              <a:gd name="connsiteX6300" fmla="*/ 3870507 w 4716235"/>
              <a:gd name="connsiteY6300" fmla="*/ 3656910 h 4596459"/>
              <a:gd name="connsiteX6301" fmla="*/ 3859771 w 4716235"/>
              <a:gd name="connsiteY6301" fmla="*/ 3646172 h 4596459"/>
              <a:gd name="connsiteX6302" fmla="*/ 3864312 w 4716235"/>
              <a:gd name="connsiteY6302" fmla="*/ 3641630 h 4596459"/>
              <a:gd name="connsiteX6303" fmla="*/ 3854320 w 4716235"/>
              <a:gd name="connsiteY6303" fmla="*/ 3631636 h 4596459"/>
              <a:gd name="connsiteX6304" fmla="*/ 3859771 w 4716235"/>
              <a:gd name="connsiteY6304" fmla="*/ 3626187 h 4596459"/>
              <a:gd name="connsiteX6305" fmla="*/ 3850850 w 4716235"/>
              <a:gd name="connsiteY6305" fmla="*/ 3617265 h 4596459"/>
              <a:gd name="connsiteX6306" fmla="*/ 3861586 w 4716235"/>
              <a:gd name="connsiteY6306" fmla="*/ 3606528 h 4596459"/>
              <a:gd name="connsiteX6307" fmla="*/ 2377433 w 4716235"/>
              <a:gd name="connsiteY6307" fmla="*/ 3602068 h 4596459"/>
              <a:gd name="connsiteX6308" fmla="*/ 2388171 w 4716235"/>
              <a:gd name="connsiteY6308" fmla="*/ 3612804 h 4596459"/>
              <a:gd name="connsiteX6309" fmla="*/ 2377433 w 4716235"/>
              <a:gd name="connsiteY6309" fmla="*/ 3623541 h 4596459"/>
              <a:gd name="connsiteX6310" fmla="*/ 2366696 w 4716235"/>
              <a:gd name="connsiteY6310" fmla="*/ 3612804 h 4596459"/>
              <a:gd name="connsiteX6311" fmla="*/ 2377433 w 4716235"/>
              <a:gd name="connsiteY6311" fmla="*/ 3602068 h 4596459"/>
              <a:gd name="connsiteX6312" fmla="*/ 3907508 w 4716235"/>
              <a:gd name="connsiteY6312" fmla="*/ 3601903 h 4596459"/>
              <a:gd name="connsiteX6313" fmla="*/ 3918246 w 4716235"/>
              <a:gd name="connsiteY6313" fmla="*/ 3612639 h 4596459"/>
              <a:gd name="connsiteX6314" fmla="*/ 3907508 w 4716235"/>
              <a:gd name="connsiteY6314" fmla="*/ 3623378 h 4596459"/>
              <a:gd name="connsiteX6315" fmla="*/ 3896771 w 4716235"/>
              <a:gd name="connsiteY6315" fmla="*/ 3612639 h 4596459"/>
              <a:gd name="connsiteX6316" fmla="*/ 3907508 w 4716235"/>
              <a:gd name="connsiteY6316" fmla="*/ 3601903 h 4596459"/>
              <a:gd name="connsiteX6317" fmla="*/ 3827229 w 4716235"/>
              <a:gd name="connsiteY6317" fmla="*/ 3599591 h 4596459"/>
              <a:gd name="connsiteX6318" fmla="*/ 3837965 w 4716235"/>
              <a:gd name="connsiteY6318" fmla="*/ 3610328 h 4596459"/>
              <a:gd name="connsiteX6319" fmla="*/ 3827229 w 4716235"/>
              <a:gd name="connsiteY6319" fmla="*/ 3621064 h 4596459"/>
              <a:gd name="connsiteX6320" fmla="*/ 3816492 w 4716235"/>
              <a:gd name="connsiteY6320" fmla="*/ 3610328 h 4596459"/>
              <a:gd name="connsiteX6321" fmla="*/ 3827229 w 4716235"/>
              <a:gd name="connsiteY6321" fmla="*/ 3599591 h 4596459"/>
              <a:gd name="connsiteX6322" fmla="*/ 3929476 w 4716235"/>
              <a:gd name="connsiteY6322" fmla="*/ 3596617 h 4596459"/>
              <a:gd name="connsiteX6323" fmla="*/ 3940213 w 4716235"/>
              <a:gd name="connsiteY6323" fmla="*/ 3607354 h 4596459"/>
              <a:gd name="connsiteX6324" fmla="*/ 3929476 w 4716235"/>
              <a:gd name="connsiteY6324" fmla="*/ 3618090 h 4596459"/>
              <a:gd name="connsiteX6325" fmla="*/ 3918740 w 4716235"/>
              <a:gd name="connsiteY6325" fmla="*/ 3607354 h 4596459"/>
              <a:gd name="connsiteX6326" fmla="*/ 3929476 w 4716235"/>
              <a:gd name="connsiteY6326" fmla="*/ 3596617 h 4596459"/>
              <a:gd name="connsiteX6327" fmla="*/ 3978205 w 4716235"/>
              <a:gd name="connsiteY6327" fmla="*/ 3595792 h 4596459"/>
              <a:gd name="connsiteX6328" fmla="*/ 3988610 w 4716235"/>
              <a:gd name="connsiteY6328" fmla="*/ 3606199 h 4596459"/>
              <a:gd name="connsiteX6329" fmla="*/ 3978205 w 4716235"/>
              <a:gd name="connsiteY6329" fmla="*/ 3616606 h 4596459"/>
              <a:gd name="connsiteX6330" fmla="*/ 3967798 w 4716235"/>
              <a:gd name="connsiteY6330" fmla="*/ 3606199 h 4596459"/>
              <a:gd name="connsiteX6331" fmla="*/ 3978205 w 4716235"/>
              <a:gd name="connsiteY6331" fmla="*/ 3595792 h 4596459"/>
              <a:gd name="connsiteX6332" fmla="*/ 3952766 w 4716235"/>
              <a:gd name="connsiteY6332" fmla="*/ 3594304 h 4596459"/>
              <a:gd name="connsiteX6333" fmla="*/ 3963503 w 4716235"/>
              <a:gd name="connsiteY6333" fmla="*/ 3605040 h 4596459"/>
              <a:gd name="connsiteX6334" fmla="*/ 3952766 w 4716235"/>
              <a:gd name="connsiteY6334" fmla="*/ 3615777 h 4596459"/>
              <a:gd name="connsiteX6335" fmla="*/ 3942030 w 4716235"/>
              <a:gd name="connsiteY6335" fmla="*/ 3605040 h 4596459"/>
              <a:gd name="connsiteX6336" fmla="*/ 3952766 w 4716235"/>
              <a:gd name="connsiteY6336" fmla="*/ 3594304 h 4596459"/>
              <a:gd name="connsiteX6337" fmla="*/ 3447312 w 4716235"/>
              <a:gd name="connsiteY6337" fmla="*/ 3592984 h 4596459"/>
              <a:gd name="connsiteX6338" fmla="*/ 3458048 w 4716235"/>
              <a:gd name="connsiteY6338" fmla="*/ 3603721 h 4596459"/>
              <a:gd name="connsiteX6339" fmla="*/ 3447312 w 4716235"/>
              <a:gd name="connsiteY6339" fmla="*/ 3614457 h 4596459"/>
              <a:gd name="connsiteX6340" fmla="*/ 3436575 w 4716235"/>
              <a:gd name="connsiteY6340" fmla="*/ 3603721 h 4596459"/>
              <a:gd name="connsiteX6341" fmla="*/ 3447312 w 4716235"/>
              <a:gd name="connsiteY6341" fmla="*/ 3592984 h 4596459"/>
              <a:gd name="connsiteX6342" fmla="*/ 1101902 w 4716235"/>
              <a:gd name="connsiteY6342" fmla="*/ 3591661 h 4596459"/>
              <a:gd name="connsiteX6343" fmla="*/ 1112640 w 4716235"/>
              <a:gd name="connsiteY6343" fmla="*/ 3602397 h 4596459"/>
              <a:gd name="connsiteX6344" fmla="*/ 1101902 w 4716235"/>
              <a:gd name="connsiteY6344" fmla="*/ 3613135 h 4596459"/>
              <a:gd name="connsiteX6345" fmla="*/ 1091165 w 4716235"/>
              <a:gd name="connsiteY6345" fmla="*/ 3602397 h 4596459"/>
              <a:gd name="connsiteX6346" fmla="*/ 1101902 w 4716235"/>
              <a:gd name="connsiteY6346" fmla="*/ 3591661 h 4596459"/>
              <a:gd name="connsiteX6347" fmla="*/ 579599 w 4716235"/>
              <a:gd name="connsiteY6347" fmla="*/ 3591167 h 4596459"/>
              <a:gd name="connsiteX6348" fmla="*/ 590336 w 4716235"/>
              <a:gd name="connsiteY6348" fmla="*/ 3601903 h 4596459"/>
              <a:gd name="connsiteX6349" fmla="*/ 579599 w 4716235"/>
              <a:gd name="connsiteY6349" fmla="*/ 3612641 h 4596459"/>
              <a:gd name="connsiteX6350" fmla="*/ 568863 w 4716235"/>
              <a:gd name="connsiteY6350" fmla="*/ 3601903 h 4596459"/>
              <a:gd name="connsiteX6351" fmla="*/ 579599 w 4716235"/>
              <a:gd name="connsiteY6351" fmla="*/ 3591167 h 4596459"/>
              <a:gd name="connsiteX6352" fmla="*/ 293505 w 4716235"/>
              <a:gd name="connsiteY6352" fmla="*/ 3590671 h 4596459"/>
              <a:gd name="connsiteX6353" fmla="*/ 304242 w 4716235"/>
              <a:gd name="connsiteY6353" fmla="*/ 3601407 h 4596459"/>
              <a:gd name="connsiteX6354" fmla="*/ 293505 w 4716235"/>
              <a:gd name="connsiteY6354" fmla="*/ 3612145 h 4596459"/>
              <a:gd name="connsiteX6355" fmla="*/ 282769 w 4716235"/>
              <a:gd name="connsiteY6355" fmla="*/ 3601407 h 4596459"/>
              <a:gd name="connsiteX6356" fmla="*/ 293505 w 4716235"/>
              <a:gd name="connsiteY6356" fmla="*/ 3590671 h 4596459"/>
              <a:gd name="connsiteX6357" fmla="*/ 3856632 w 4716235"/>
              <a:gd name="connsiteY6357" fmla="*/ 3588689 h 4596459"/>
              <a:gd name="connsiteX6358" fmla="*/ 3867368 w 4716235"/>
              <a:gd name="connsiteY6358" fmla="*/ 3599425 h 4596459"/>
              <a:gd name="connsiteX6359" fmla="*/ 3856632 w 4716235"/>
              <a:gd name="connsiteY6359" fmla="*/ 3610161 h 4596459"/>
              <a:gd name="connsiteX6360" fmla="*/ 3845895 w 4716235"/>
              <a:gd name="connsiteY6360" fmla="*/ 3599425 h 4596459"/>
              <a:gd name="connsiteX6361" fmla="*/ 3856632 w 4716235"/>
              <a:gd name="connsiteY6361" fmla="*/ 3588689 h 4596459"/>
              <a:gd name="connsiteX6362" fmla="*/ 2550543 w 4716235"/>
              <a:gd name="connsiteY6362" fmla="*/ 3578117 h 4596459"/>
              <a:gd name="connsiteX6363" fmla="*/ 2561281 w 4716235"/>
              <a:gd name="connsiteY6363" fmla="*/ 3588853 h 4596459"/>
              <a:gd name="connsiteX6364" fmla="*/ 2550543 w 4716235"/>
              <a:gd name="connsiteY6364" fmla="*/ 3599591 h 4596459"/>
              <a:gd name="connsiteX6365" fmla="*/ 2539806 w 4716235"/>
              <a:gd name="connsiteY6365" fmla="*/ 3588853 h 4596459"/>
              <a:gd name="connsiteX6366" fmla="*/ 2550543 w 4716235"/>
              <a:gd name="connsiteY6366" fmla="*/ 3578117 h 4596459"/>
              <a:gd name="connsiteX6367" fmla="*/ 4013224 w 4716235"/>
              <a:gd name="connsiteY6367" fmla="*/ 3577786 h 4596459"/>
              <a:gd name="connsiteX6368" fmla="*/ 4015867 w 4716235"/>
              <a:gd name="connsiteY6368" fmla="*/ 3580429 h 4596459"/>
              <a:gd name="connsiteX6369" fmla="*/ 4013224 w 4716235"/>
              <a:gd name="connsiteY6369" fmla="*/ 3583072 h 4596459"/>
              <a:gd name="connsiteX6370" fmla="*/ 4010581 w 4716235"/>
              <a:gd name="connsiteY6370" fmla="*/ 3580429 h 4596459"/>
              <a:gd name="connsiteX6371" fmla="*/ 4013224 w 4716235"/>
              <a:gd name="connsiteY6371" fmla="*/ 3577786 h 4596459"/>
              <a:gd name="connsiteX6372" fmla="*/ 3881243 w 4716235"/>
              <a:gd name="connsiteY6372" fmla="*/ 3577456 h 4596459"/>
              <a:gd name="connsiteX6373" fmla="*/ 3891981 w 4716235"/>
              <a:gd name="connsiteY6373" fmla="*/ 3588193 h 4596459"/>
              <a:gd name="connsiteX6374" fmla="*/ 3884628 w 4716235"/>
              <a:gd name="connsiteY6374" fmla="*/ 3595544 h 4596459"/>
              <a:gd name="connsiteX6375" fmla="*/ 3894128 w 4716235"/>
              <a:gd name="connsiteY6375" fmla="*/ 3605042 h 4596459"/>
              <a:gd name="connsiteX6376" fmla="*/ 3887686 w 4716235"/>
              <a:gd name="connsiteY6376" fmla="*/ 3611483 h 4596459"/>
              <a:gd name="connsiteX6377" fmla="*/ 3897102 w 4716235"/>
              <a:gd name="connsiteY6377" fmla="*/ 3620898 h 4596459"/>
              <a:gd name="connsiteX6378" fmla="*/ 3886364 w 4716235"/>
              <a:gd name="connsiteY6378" fmla="*/ 3631636 h 4596459"/>
              <a:gd name="connsiteX6379" fmla="*/ 3875628 w 4716235"/>
              <a:gd name="connsiteY6379" fmla="*/ 3620898 h 4596459"/>
              <a:gd name="connsiteX6380" fmla="*/ 3882069 w 4716235"/>
              <a:gd name="connsiteY6380" fmla="*/ 3614457 h 4596459"/>
              <a:gd name="connsiteX6381" fmla="*/ 3872654 w 4716235"/>
              <a:gd name="connsiteY6381" fmla="*/ 3605042 h 4596459"/>
              <a:gd name="connsiteX6382" fmla="*/ 3880005 w 4716235"/>
              <a:gd name="connsiteY6382" fmla="*/ 3597691 h 4596459"/>
              <a:gd name="connsiteX6383" fmla="*/ 3870507 w 4716235"/>
              <a:gd name="connsiteY6383" fmla="*/ 3588193 h 4596459"/>
              <a:gd name="connsiteX6384" fmla="*/ 3881243 w 4716235"/>
              <a:gd name="connsiteY6384" fmla="*/ 3577456 h 4596459"/>
              <a:gd name="connsiteX6385" fmla="*/ 3761487 w 4716235"/>
              <a:gd name="connsiteY6385" fmla="*/ 3571841 h 4596459"/>
              <a:gd name="connsiteX6386" fmla="*/ 3772225 w 4716235"/>
              <a:gd name="connsiteY6386" fmla="*/ 3582577 h 4596459"/>
              <a:gd name="connsiteX6387" fmla="*/ 3761487 w 4716235"/>
              <a:gd name="connsiteY6387" fmla="*/ 3593314 h 4596459"/>
              <a:gd name="connsiteX6388" fmla="*/ 3750751 w 4716235"/>
              <a:gd name="connsiteY6388" fmla="*/ 3582577 h 4596459"/>
              <a:gd name="connsiteX6389" fmla="*/ 3761487 w 4716235"/>
              <a:gd name="connsiteY6389" fmla="*/ 3571841 h 4596459"/>
              <a:gd name="connsiteX6390" fmla="*/ 66545 w 4716235"/>
              <a:gd name="connsiteY6390" fmla="*/ 3571674 h 4596459"/>
              <a:gd name="connsiteX6391" fmla="*/ 77283 w 4716235"/>
              <a:gd name="connsiteY6391" fmla="*/ 3582411 h 4596459"/>
              <a:gd name="connsiteX6392" fmla="*/ 66545 w 4716235"/>
              <a:gd name="connsiteY6392" fmla="*/ 3593147 h 4596459"/>
              <a:gd name="connsiteX6393" fmla="*/ 55809 w 4716235"/>
              <a:gd name="connsiteY6393" fmla="*/ 3582411 h 4596459"/>
              <a:gd name="connsiteX6394" fmla="*/ 66545 w 4716235"/>
              <a:gd name="connsiteY6394" fmla="*/ 3571674 h 4596459"/>
              <a:gd name="connsiteX6395" fmla="*/ 3055833 w 4716235"/>
              <a:gd name="connsiteY6395" fmla="*/ 3570518 h 4596459"/>
              <a:gd name="connsiteX6396" fmla="*/ 3066569 w 4716235"/>
              <a:gd name="connsiteY6396" fmla="*/ 3581254 h 4596459"/>
              <a:gd name="connsiteX6397" fmla="*/ 3055833 w 4716235"/>
              <a:gd name="connsiteY6397" fmla="*/ 3591992 h 4596459"/>
              <a:gd name="connsiteX6398" fmla="*/ 3045096 w 4716235"/>
              <a:gd name="connsiteY6398" fmla="*/ 3581254 h 4596459"/>
              <a:gd name="connsiteX6399" fmla="*/ 3055833 w 4716235"/>
              <a:gd name="connsiteY6399" fmla="*/ 3570518 h 4596459"/>
              <a:gd name="connsiteX6400" fmla="*/ 3703673 w 4716235"/>
              <a:gd name="connsiteY6400" fmla="*/ 3569857 h 4596459"/>
              <a:gd name="connsiteX6401" fmla="*/ 3714411 w 4716235"/>
              <a:gd name="connsiteY6401" fmla="*/ 3580593 h 4596459"/>
              <a:gd name="connsiteX6402" fmla="*/ 3703673 w 4716235"/>
              <a:gd name="connsiteY6402" fmla="*/ 3591331 h 4596459"/>
              <a:gd name="connsiteX6403" fmla="*/ 3692937 w 4716235"/>
              <a:gd name="connsiteY6403" fmla="*/ 3580593 h 4596459"/>
              <a:gd name="connsiteX6404" fmla="*/ 3703673 w 4716235"/>
              <a:gd name="connsiteY6404" fmla="*/ 3569857 h 4596459"/>
              <a:gd name="connsiteX6405" fmla="*/ 3943187 w 4716235"/>
              <a:gd name="connsiteY6405" fmla="*/ 3569363 h 4596459"/>
              <a:gd name="connsiteX6406" fmla="*/ 3953925 w 4716235"/>
              <a:gd name="connsiteY6406" fmla="*/ 3580099 h 4596459"/>
              <a:gd name="connsiteX6407" fmla="*/ 3943187 w 4716235"/>
              <a:gd name="connsiteY6407" fmla="*/ 3590837 h 4596459"/>
              <a:gd name="connsiteX6408" fmla="*/ 3932450 w 4716235"/>
              <a:gd name="connsiteY6408" fmla="*/ 3580099 h 4596459"/>
              <a:gd name="connsiteX6409" fmla="*/ 3943187 w 4716235"/>
              <a:gd name="connsiteY6409" fmla="*/ 3569363 h 4596459"/>
              <a:gd name="connsiteX6410" fmla="*/ 3808234 w 4716235"/>
              <a:gd name="connsiteY6410" fmla="*/ 3569198 h 4596459"/>
              <a:gd name="connsiteX6411" fmla="*/ 3818970 w 4716235"/>
              <a:gd name="connsiteY6411" fmla="*/ 3579934 h 4596459"/>
              <a:gd name="connsiteX6412" fmla="*/ 3808234 w 4716235"/>
              <a:gd name="connsiteY6412" fmla="*/ 3590671 h 4596459"/>
              <a:gd name="connsiteX6413" fmla="*/ 3797498 w 4716235"/>
              <a:gd name="connsiteY6413" fmla="*/ 3579934 h 4596459"/>
              <a:gd name="connsiteX6414" fmla="*/ 3808234 w 4716235"/>
              <a:gd name="connsiteY6414" fmla="*/ 3569198 h 4596459"/>
              <a:gd name="connsiteX6415" fmla="*/ 3329703 w 4716235"/>
              <a:gd name="connsiteY6415" fmla="*/ 3567381 h 4596459"/>
              <a:gd name="connsiteX6416" fmla="*/ 3340439 w 4716235"/>
              <a:gd name="connsiteY6416" fmla="*/ 3578117 h 4596459"/>
              <a:gd name="connsiteX6417" fmla="*/ 3329703 w 4716235"/>
              <a:gd name="connsiteY6417" fmla="*/ 3588855 h 4596459"/>
              <a:gd name="connsiteX6418" fmla="*/ 3318966 w 4716235"/>
              <a:gd name="connsiteY6418" fmla="*/ 3578117 h 4596459"/>
              <a:gd name="connsiteX6419" fmla="*/ 3329703 w 4716235"/>
              <a:gd name="connsiteY6419" fmla="*/ 3567381 h 4596459"/>
              <a:gd name="connsiteX6420" fmla="*/ 3987620 w 4716235"/>
              <a:gd name="connsiteY6420" fmla="*/ 3566389 h 4596459"/>
              <a:gd name="connsiteX6421" fmla="*/ 3998358 w 4716235"/>
              <a:gd name="connsiteY6421" fmla="*/ 3577125 h 4596459"/>
              <a:gd name="connsiteX6422" fmla="*/ 3987620 w 4716235"/>
              <a:gd name="connsiteY6422" fmla="*/ 3587863 h 4596459"/>
              <a:gd name="connsiteX6423" fmla="*/ 3976884 w 4716235"/>
              <a:gd name="connsiteY6423" fmla="*/ 3577125 h 4596459"/>
              <a:gd name="connsiteX6424" fmla="*/ 3987620 w 4716235"/>
              <a:gd name="connsiteY6424" fmla="*/ 3566389 h 4596459"/>
              <a:gd name="connsiteX6425" fmla="*/ 3964495 w 4716235"/>
              <a:gd name="connsiteY6425" fmla="*/ 3566389 h 4596459"/>
              <a:gd name="connsiteX6426" fmla="*/ 3975231 w 4716235"/>
              <a:gd name="connsiteY6426" fmla="*/ 3577125 h 4596459"/>
              <a:gd name="connsiteX6427" fmla="*/ 3964495 w 4716235"/>
              <a:gd name="connsiteY6427" fmla="*/ 3587863 h 4596459"/>
              <a:gd name="connsiteX6428" fmla="*/ 3953758 w 4716235"/>
              <a:gd name="connsiteY6428" fmla="*/ 3577125 h 4596459"/>
              <a:gd name="connsiteX6429" fmla="*/ 3964495 w 4716235"/>
              <a:gd name="connsiteY6429" fmla="*/ 3566389 h 4596459"/>
              <a:gd name="connsiteX6430" fmla="*/ 931931 w 4716235"/>
              <a:gd name="connsiteY6430" fmla="*/ 3565232 h 4596459"/>
              <a:gd name="connsiteX6431" fmla="*/ 942667 w 4716235"/>
              <a:gd name="connsiteY6431" fmla="*/ 3575968 h 4596459"/>
              <a:gd name="connsiteX6432" fmla="*/ 931931 w 4716235"/>
              <a:gd name="connsiteY6432" fmla="*/ 3586706 h 4596459"/>
              <a:gd name="connsiteX6433" fmla="*/ 921194 w 4716235"/>
              <a:gd name="connsiteY6433" fmla="*/ 3575968 h 4596459"/>
              <a:gd name="connsiteX6434" fmla="*/ 931931 w 4716235"/>
              <a:gd name="connsiteY6434" fmla="*/ 3565232 h 4596459"/>
              <a:gd name="connsiteX6435" fmla="*/ 3846060 w 4716235"/>
              <a:gd name="connsiteY6435" fmla="*/ 3563416 h 4596459"/>
              <a:gd name="connsiteX6436" fmla="*/ 3856798 w 4716235"/>
              <a:gd name="connsiteY6436" fmla="*/ 3574153 h 4596459"/>
              <a:gd name="connsiteX6437" fmla="*/ 3846060 w 4716235"/>
              <a:gd name="connsiteY6437" fmla="*/ 3584889 h 4596459"/>
              <a:gd name="connsiteX6438" fmla="*/ 3835324 w 4716235"/>
              <a:gd name="connsiteY6438" fmla="*/ 3574153 h 4596459"/>
              <a:gd name="connsiteX6439" fmla="*/ 3846060 w 4716235"/>
              <a:gd name="connsiteY6439" fmla="*/ 3563416 h 4596459"/>
              <a:gd name="connsiteX6440" fmla="*/ 3632479 w 4716235"/>
              <a:gd name="connsiteY6440" fmla="*/ 3562095 h 4596459"/>
              <a:gd name="connsiteX6441" fmla="*/ 3643217 w 4716235"/>
              <a:gd name="connsiteY6441" fmla="*/ 3572831 h 4596459"/>
              <a:gd name="connsiteX6442" fmla="*/ 3632479 w 4716235"/>
              <a:gd name="connsiteY6442" fmla="*/ 3583569 h 4596459"/>
              <a:gd name="connsiteX6443" fmla="*/ 3621743 w 4716235"/>
              <a:gd name="connsiteY6443" fmla="*/ 3572831 h 4596459"/>
              <a:gd name="connsiteX6444" fmla="*/ 3632479 w 4716235"/>
              <a:gd name="connsiteY6444" fmla="*/ 3562095 h 4596459"/>
              <a:gd name="connsiteX6445" fmla="*/ 3876618 w 4716235"/>
              <a:gd name="connsiteY6445" fmla="*/ 3555323 h 4596459"/>
              <a:gd name="connsiteX6446" fmla="*/ 3887356 w 4716235"/>
              <a:gd name="connsiteY6446" fmla="*/ 3566059 h 4596459"/>
              <a:gd name="connsiteX6447" fmla="*/ 3876618 w 4716235"/>
              <a:gd name="connsiteY6447" fmla="*/ 3576796 h 4596459"/>
              <a:gd name="connsiteX6448" fmla="*/ 3865882 w 4716235"/>
              <a:gd name="connsiteY6448" fmla="*/ 3566059 h 4596459"/>
              <a:gd name="connsiteX6449" fmla="*/ 3876618 w 4716235"/>
              <a:gd name="connsiteY6449" fmla="*/ 3555323 h 4596459"/>
              <a:gd name="connsiteX6450" fmla="*/ 441508 w 4716235"/>
              <a:gd name="connsiteY6450" fmla="*/ 3552019 h 4596459"/>
              <a:gd name="connsiteX6451" fmla="*/ 452244 w 4716235"/>
              <a:gd name="connsiteY6451" fmla="*/ 3562756 h 4596459"/>
              <a:gd name="connsiteX6452" fmla="*/ 441508 w 4716235"/>
              <a:gd name="connsiteY6452" fmla="*/ 3573492 h 4596459"/>
              <a:gd name="connsiteX6453" fmla="*/ 430771 w 4716235"/>
              <a:gd name="connsiteY6453" fmla="*/ 3562756 h 4596459"/>
              <a:gd name="connsiteX6454" fmla="*/ 441508 w 4716235"/>
              <a:gd name="connsiteY6454" fmla="*/ 3552019 h 4596459"/>
              <a:gd name="connsiteX6455" fmla="*/ 2716549 w 4716235"/>
              <a:gd name="connsiteY6455" fmla="*/ 3549045 h 4596459"/>
              <a:gd name="connsiteX6456" fmla="*/ 2727287 w 4716235"/>
              <a:gd name="connsiteY6456" fmla="*/ 3559781 h 4596459"/>
              <a:gd name="connsiteX6457" fmla="*/ 2716549 w 4716235"/>
              <a:gd name="connsiteY6457" fmla="*/ 3570518 h 4596459"/>
              <a:gd name="connsiteX6458" fmla="*/ 2705813 w 4716235"/>
              <a:gd name="connsiteY6458" fmla="*/ 3559781 h 4596459"/>
              <a:gd name="connsiteX6459" fmla="*/ 2716549 w 4716235"/>
              <a:gd name="connsiteY6459" fmla="*/ 3549045 h 4596459"/>
              <a:gd name="connsiteX6460" fmla="*/ 3940048 w 4716235"/>
              <a:gd name="connsiteY6460" fmla="*/ 3547888 h 4596459"/>
              <a:gd name="connsiteX6461" fmla="*/ 3950786 w 4716235"/>
              <a:gd name="connsiteY6461" fmla="*/ 3558625 h 4596459"/>
              <a:gd name="connsiteX6462" fmla="*/ 3940048 w 4716235"/>
              <a:gd name="connsiteY6462" fmla="*/ 3569361 h 4596459"/>
              <a:gd name="connsiteX6463" fmla="*/ 3929312 w 4716235"/>
              <a:gd name="connsiteY6463" fmla="*/ 3558625 h 4596459"/>
              <a:gd name="connsiteX6464" fmla="*/ 3940048 w 4716235"/>
              <a:gd name="connsiteY6464" fmla="*/ 3547888 h 4596459"/>
              <a:gd name="connsiteX6465" fmla="*/ 3545760 w 4716235"/>
              <a:gd name="connsiteY6465" fmla="*/ 3546898 h 4596459"/>
              <a:gd name="connsiteX6466" fmla="*/ 3556498 w 4716235"/>
              <a:gd name="connsiteY6466" fmla="*/ 3557635 h 4596459"/>
              <a:gd name="connsiteX6467" fmla="*/ 3545760 w 4716235"/>
              <a:gd name="connsiteY6467" fmla="*/ 3568371 h 4596459"/>
              <a:gd name="connsiteX6468" fmla="*/ 3535023 w 4716235"/>
              <a:gd name="connsiteY6468" fmla="*/ 3557635 h 4596459"/>
              <a:gd name="connsiteX6469" fmla="*/ 3545760 w 4716235"/>
              <a:gd name="connsiteY6469" fmla="*/ 3546898 h 4596459"/>
              <a:gd name="connsiteX6470" fmla="*/ 178374 w 4716235"/>
              <a:gd name="connsiteY6470" fmla="*/ 3546732 h 4596459"/>
              <a:gd name="connsiteX6471" fmla="*/ 189111 w 4716235"/>
              <a:gd name="connsiteY6471" fmla="*/ 3557468 h 4596459"/>
              <a:gd name="connsiteX6472" fmla="*/ 178374 w 4716235"/>
              <a:gd name="connsiteY6472" fmla="*/ 3568206 h 4596459"/>
              <a:gd name="connsiteX6473" fmla="*/ 167638 w 4716235"/>
              <a:gd name="connsiteY6473" fmla="*/ 3557468 h 4596459"/>
              <a:gd name="connsiteX6474" fmla="*/ 178374 w 4716235"/>
              <a:gd name="connsiteY6474" fmla="*/ 3546732 h 4596459"/>
              <a:gd name="connsiteX6475" fmla="*/ 3901561 w 4716235"/>
              <a:gd name="connsiteY6475" fmla="*/ 3546073 h 4596459"/>
              <a:gd name="connsiteX6476" fmla="*/ 3912297 w 4716235"/>
              <a:gd name="connsiteY6476" fmla="*/ 3556809 h 4596459"/>
              <a:gd name="connsiteX6477" fmla="*/ 3902635 w 4716235"/>
              <a:gd name="connsiteY6477" fmla="*/ 3566472 h 4596459"/>
              <a:gd name="connsiteX6478" fmla="*/ 3913288 w 4716235"/>
              <a:gd name="connsiteY6478" fmla="*/ 3577125 h 4596459"/>
              <a:gd name="connsiteX6479" fmla="*/ 3905029 w 4716235"/>
              <a:gd name="connsiteY6479" fmla="*/ 3585385 h 4596459"/>
              <a:gd name="connsiteX6480" fmla="*/ 3914280 w 4716235"/>
              <a:gd name="connsiteY6480" fmla="*/ 3594635 h 4596459"/>
              <a:gd name="connsiteX6481" fmla="*/ 3903543 w 4716235"/>
              <a:gd name="connsiteY6481" fmla="*/ 3605373 h 4596459"/>
              <a:gd name="connsiteX6482" fmla="*/ 3892807 w 4716235"/>
              <a:gd name="connsiteY6482" fmla="*/ 3594635 h 4596459"/>
              <a:gd name="connsiteX6483" fmla="*/ 3901065 w 4716235"/>
              <a:gd name="connsiteY6483" fmla="*/ 3586377 h 4596459"/>
              <a:gd name="connsiteX6484" fmla="*/ 3891815 w 4716235"/>
              <a:gd name="connsiteY6484" fmla="*/ 3577125 h 4596459"/>
              <a:gd name="connsiteX6485" fmla="*/ 3901478 w 4716235"/>
              <a:gd name="connsiteY6485" fmla="*/ 3567462 h 4596459"/>
              <a:gd name="connsiteX6486" fmla="*/ 3890825 w 4716235"/>
              <a:gd name="connsiteY6486" fmla="*/ 3556809 h 4596459"/>
              <a:gd name="connsiteX6487" fmla="*/ 3901561 w 4716235"/>
              <a:gd name="connsiteY6487" fmla="*/ 3546073 h 4596459"/>
              <a:gd name="connsiteX6488" fmla="*/ 3958383 w 4716235"/>
              <a:gd name="connsiteY6488" fmla="*/ 3541777 h 4596459"/>
              <a:gd name="connsiteX6489" fmla="*/ 3969120 w 4716235"/>
              <a:gd name="connsiteY6489" fmla="*/ 3552513 h 4596459"/>
              <a:gd name="connsiteX6490" fmla="*/ 3958383 w 4716235"/>
              <a:gd name="connsiteY6490" fmla="*/ 3563250 h 4596459"/>
              <a:gd name="connsiteX6491" fmla="*/ 3947647 w 4716235"/>
              <a:gd name="connsiteY6491" fmla="*/ 3552513 h 4596459"/>
              <a:gd name="connsiteX6492" fmla="*/ 3958383 w 4716235"/>
              <a:gd name="connsiteY6492" fmla="*/ 3541777 h 4596459"/>
              <a:gd name="connsiteX6493" fmla="*/ 4021647 w 4716235"/>
              <a:gd name="connsiteY6493" fmla="*/ 3539464 h 4596459"/>
              <a:gd name="connsiteX6494" fmla="*/ 4032385 w 4716235"/>
              <a:gd name="connsiteY6494" fmla="*/ 3550200 h 4596459"/>
              <a:gd name="connsiteX6495" fmla="*/ 4021647 w 4716235"/>
              <a:gd name="connsiteY6495" fmla="*/ 3560938 h 4596459"/>
              <a:gd name="connsiteX6496" fmla="*/ 4010910 w 4716235"/>
              <a:gd name="connsiteY6496" fmla="*/ 3550200 h 4596459"/>
              <a:gd name="connsiteX6497" fmla="*/ 4021647 w 4716235"/>
              <a:gd name="connsiteY6497" fmla="*/ 3539464 h 4596459"/>
              <a:gd name="connsiteX6498" fmla="*/ 3977544 w 4716235"/>
              <a:gd name="connsiteY6498" fmla="*/ 3537977 h 4596459"/>
              <a:gd name="connsiteX6499" fmla="*/ 3988281 w 4716235"/>
              <a:gd name="connsiteY6499" fmla="*/ 3548714 h 4596459"/>
              <a:gd name="connsiteX6500" fmla="*/ 3977544 w 4716235"/>
              <a:gd name="connsiteY6500" fmla="*/ 3559452 h 4596459"/>
              <a:gd name="connsiteX6501" fmla="*/ 3966808 w 4716235"/>
              <a:gd name="connsiteY6501" fmla="*/ 3548714 h 4596459"/>
              <a:gd name="connsiteX6502" fmla="*/ 3977544 w 4716235"/>
              <a:gd name="connsiteY6502" fmla="*/ 3537977 h 4596459"/>
              <a:gd name="connsiteX6503" fmla="*/ 3998521 w 4716235"/>
              <a:gd name="connsiteY6503" fmla="*/ 3537152 h 4596459"/>
              <a:gd name="connsiteX6504" fmla="*/ 4009258 w 4716235"/>
              <a:gd name="connsiteY6504" fmla="*/ 3547888 h 4596459"/>
              <a:gd name="connsiteX6505" fmla="*/ 3998521 w 4716235"/>
              <a:gd name="connsiteY6505" fmla="*/ 3558625 h 4596459"/>
              <a:gd name="connsiteX6506" fmla="*/ 3987785 w 4716235"/>
              <a:gd name="connsiteY6506" fmla="*/ 3547888 h 4596459"/>
              <a:gd name="connsiteX6507" fmla="*/ 3998521 w 4716235"/>
              <a:gd name="connsiteY6507" fmla="*/ 3537152 h 4596459"/>
              <a:gd name="connsiteX6508" fmla="*/ 3922704 w 4716235"/>
              <a:gd name="connsiteY6508" fmla="*/ 3536491 h 4596459"/>
              <a:gd name="connsiteX6509" fmla="*/ 3933441 w 4716235"/>
              <a:gd name="connsiteY6509" fmla="*/ 3547228 h 4596459"/>
              <a:gd name="connsiteX6510" fmla="*/ 3923034 w 4716235"/>
              <a:gd name="connsiteY6510" fmla="*/ 3557635 h 4596459"/>
              <a:gd name="connsiteX6511" fmla="*/ 3932615 w 4716235"/>
              <a:gd name="connsiteY6511" fmla="*/ 3567214 h 4596459"/>
              <a:gd name="connsiteX6512" fmla="*/ 3923778 w 4716235"/>
              <a:gd name="connsiteY6512" fmla="*/ 3576053 h 4596459"/>
              <a:gd name="connsiteX6513" fmla="*/ 3933937 w 4716235"/>
              <a:gd name="connsiteY6513" fmla="*/ 3586210 h 4596459"/>
              <a:gd name="connsiteX6514" fmla="*/ 3923200 w 4716235"/>
              <a:gd name="connsiteY6514" fmla="*/ 3596947 h 4596459"/>
              <a:gd name="connsiteX6515" fmla="*/ 3912464 w 4716235"/>
              <a:gd name="connsiteY6515" fmla="*/ 3586210 h 4596459"/>
              <a:gd name="connsiteX6516" fmla="*/ 3921301 w 4716235"/>
              <a:gd name="connsiteY6516" fmla="*/ 3577375 h 4596459"/>
              <a:gd name="connsiteX6517" fmla="*/ 3911142 w 4716235"/>
              <a:gd name="connsiteY6517" fmla="*/ 3567214 h 4596459"/>
              <a:gd name="connsiteX6518" fmla="*/ 3921548 w 4716235"/>
              <a:gd name="connsiteY6518" fmla="*/ 3556809 h 4596459"/>
              <a:gd name="connsiteX6519" fmla="*/ 3911968 w 4716235"/>
              <a:gd name="connsiteY6519" fmla="*/ 3547228 h 4596459"/>
              <a:gd name="connsiteX6520" fmla="*/ 3922704 w 4716235"/>
              <a:gd name="connsiteY6520" fmla="*/ 3536491 h 4596459"/>
              <a:gd name="connsiteX6521" fmla="*/ 769559 w 4716235"/>
              <a:gd name="connsiteY6521" fmla="*/ 3534013 h 4596459"/>
              <a:gd name="connsiteX6522" fmla="*/ 780295 w 4716235"/>
              <a:gd name="connsiteY6522" fmla="*/ 3544749 h 4596459"/>
              <a:gd name="connsiteX6523" fmla="*/ 769559 w 4716235"/>
              <a:gd name="connsiteY6523" fmla="*/ 3555486 h 4596459"/>
              <a:gd name="connsiteX6524" fmla="*/ 758822 w 4716235"/>
              <a:gd name="connsiteY6524" fmla="*/ 3544749 h 4596459"/>
              <a:gd name="connsiteX6525" fmla="*/ 769559 w 4716235"/>
              <a:gd name="connsiteY6525" fmla="*/ 3534013 h 4596459"/>
              <a:gd name="connsiteX6526" fmla="*/ 3189464 w 4716235"/>
              <a:gd name="connsiteY6526" fmla="*/ 3530049 h 4596459"/>
              <a:gd name="connsiteX6527" fmla="*/ 3200202 w 4716235"/>
              <a:gd name="connsiteY6527" fmla="*/ 3540785 h 4596459"/>
              <a:gd name="connsiteX6528" fmla="*/ 3189464 w 4716235"/>
              <a:gd name="connsiteY6528" fmla="*/ 3551521 h 4596459"/>
              <a:gd name="connsiteX6529" fmla="*/ 3178728 w 4716235"/>
              <a:gd name="connsiteY6529" fmla="*/ 3540785 h 4596459"/>
              <a:gd name="connsiteX6530" fmla="*/ 3189464 w 4716235"/>
              <a:gd name="connsiteY6530" fmla="*/ 3530049 h 4596459"/>
              <a:gd name="connsiteX6531" fmla="*/ 3941205 w 4716235"/>
              <a:gd name="connsiteY6531" fmla="*/ 3527406 h 4596459"/>
              <a:gd name="connsiteX6532" fmla="*/ 3951943 w 4716235"/>
              <a:gd name="connsiteY6532" fmla="*/ 3538142 h 4596459"/>
              <a:gd name="connsiteX6533" fmla="*/ 3941205 w 4716235"/>
              <a:gd name="connsiteY6533" fmla="*/ 3548879 h 4596459"/>
              <a:gd name="connsiteX6534" fmla="*/ 3930468 w 4716235"/>
              <a:gd name="connsiteY6534" fmla="*/ 3538142 h 4596459"/>
              <a:gd name="connsiteX6535" fmla="*/ 3941205 w 4716235"/>
              <a:gd name="connsiteY6535" fmla="*/ 3527406 h 4596459"/>
              <a:gd name="connsiteX6536" fmla="*/ 3824752 w 4716235"/>
              <a:gd name="connsiteY6536" fmla="*/ 3525094 h 4596459"/>
              <a:gd name="connsiteX6537" fmla="*/ 3835489 w 4716235"/>
              <a:gd name="connsiteY6537" fmla="*/ 3535831 h 4596459"/>
              <a:gd name="connsiteX6538" fmla="*/ 3824752 w 4716235"/>
              <a:gd name="connsiteY6538" fmla="*/ 3546569 h 4596459"/>
              <a:gd name="connsiteX6539" fmla="*/ 3814016 w 4716235"/>
              <a:gd name="connsiteY6539" fmla="*/ 3535831 h 4596459"/>
              <a:gd name="connsiteX6540" fmla="*/ 3824752 w 4716235"/>
              <a:gd name="connsiteY6540" fmla="*/ 3525094 h 4596459"/>
              <a:gd name="connsiteX6541" fmla="*/ 3864725 w 4716235"/>
              <a:gd name="connsiteY6541" fmla="*/ 3523442 h 4596459"/>
              <a:gd name="connsiteX6542" fmla="*/ 3875463 w 4716235"/>
              <a:gd name="connsiteY6542" fmla="*/ 3534178 h 4596459"/>
              <a:gd name="connsiteX6543" fmla="*/ 3864725 w 4716235"/>
              <a:gd name="connsiteY6543" fmla="*/ 3544916 h 4596459"/>
              <a:gd name="connsiteX6544" fmla="*/ 3853989 w 4716235"/>
              <a:gd name="connsiteY6544" fmla="*/ 3534178 h 4596459"/>
              <a:gd name="connsiteX6545" fmla="*/ 3864725 w 4716235"/>
              <a:gd name="connsiteY6545" fmla="*/ 3523442 h 4596459"/>
              <a:gd name="connsiteX6546" fmla="*/ 3774867 w 4716235"/>
              <a:gd name="connsiteY6546" fmla="*/ 3522781 h 4596459"/>
              <a:gd name="connsiteX6547" fmla="*/ 3785605 w 4716235"/>
              <a:gd name="connsiteY6547" fmla="*/ 3533517 h 4596459"/>
              <a:gd name="connsiteX6548" fmla="*/ 3774867 w 4716235"/>
              <a:gd name="connsiteY6548" fmla="*/ 3544254 h 4596459"/>
              <a:gd name="connsiteX6549" fmla="*/ 3764130 w 4716235"/>
              <a:gd name="connsiteY6549" fmla="*/ 3533517 h 4596459"/>
              <a:gd name="connsiteX6550" fmla="*/ 3774867 w 4716235"/>
              <a:gd name="connsiteY6550" fmla="*/ 3522781 h 4596459"/>
              <a:gd name="connsiteX6551" fmla="*/ 3440540 w 4716235"/>
              <a:gd name="connsiteY6551" fmla="*/ 3522781 h 4596459"/>
              <a:gd name="connsiteX6552" fmla="*/ 3451276 w 4716235"/>
              <a:gd name="connsiteY6552" fmla="*/ 3533517 h 4596459"/>
              <a:gd name="connsiteX6553" fmla="*/ 3440540 w 4716235"/>
              <a:gd name="connsiteY6553" fmla="*/ 3544254 h 4596459"/>
              <a:gd name="connsiteX6554" fmla="*/ 3429803 w 4716235"/>
              <a:gd name="connsiteY6554" fmla="*/ 3533517 h 4596459"/>
              <a:gd name="connsiteX6555" fmla="*/ 3440540 w 4716235"/>
              <a:gd name="connsiteY6555" fmla="*/ 3522781 h 4596459"/>
              <a:gd name="connsiteX6556" fmla="*/ 1735372 w 4716235"/>
              <a:gd name="connsiteY6556" fmla="*/ 3519644 h 4596459"/>
              <a:gd name="connsiteX6557" fmla="*/ 1746111 w 4716235"/>
              <a:gd name="connsiteY6557" fmla="*/ 3530380 h 4596459"/>
              <a:gd name="connsiteX6558" fmla="*/ 1735372 w 4716235"/>
              <a:gd name="connsiteY6558" fmla="*/ 3541116 h 4596459"/>
              <a:gd name="connsiteX6559" fmla="*/ 1724636 w 4716235"/>
              <a:gd name="connsiteY6559" fmla="*/ 3530380 h 4596459"/>
              <a:gd name="connsiteX6560" fmla="*/ 1735372 w 4716235"/>
              <a:gd name="connsiteY6560" fmla="*/ 3519644 h 4596459"/>
              <a:gd name="connsiteX6561" fmla="*/ 3958217 w 4716235"/>
              <a:gd name="connsiteY6561" fmla="*/ 3519477 h 4596459"/>
              <a:gd name="connsiteX6562" fmla="*/ 3968955 w 4716235"/>
              <a:gd name="connsiteY6562" fmla="*/ 3530214 h 4596459"/>
              <a:gd name="connsiteX6563" fmla="*/ 3958217 w 4716235"/>
              <a:gd name="connsiteY6563" fmla="*/ 3540950 h 4596459"/>
              <a:gd name="connsiteX6564" fmla="*/ 3947481 w 4716235"/>
              <a:gd name="connsiteY6564" fmla="*/ 3530214 h 4596459"/>
              <a:gd name="connsiteX6565" fmla="*/ 3958217 w 4716235"/>
              <a:gd name="connsiteY6565" fmla="*/ 3519477 h 4596459"/>
              <a:gd name="connsiteX6566" fmla="*/ 3896605 w 4716235"/>
              <a:gd name="connsiteY6566" fmla="*/ 3518652 h 4596459"/>
              <a:gd name="connsiteX6567" fmla="*/ 3907341 w 4716235"/>
              <a:gd name="connsiteY6567" fmla="*/ 3529388 h 4596459"/>
              <a:gd name="connsiteX6568" fmla="*/ 3896605 w 4716235"/>
              <a:gd name="connsiteY6568" fmla="*/ 3540124 h 4596459"/>
              <a:gd name="connsiteX6569" fmla="*/ 3885868 w 4716235"/>
              <a:gd name="connsiteY6569" fmla="*/ 3529388 h 4596459"/>
              <a:gd name="connsiteX6570" fmla="*/ 3896605 w 4716235"/>
              <a:gd name="connsiteY6570" fmla="*/ 3518652 h 4596459"/>
              <a:gd name="connsiteX6571" fmla="*/ 4055344 w 4716235"/>
              <a:gd name="connsiteY6571" fmla="*/ 3518320 h 4596459"/>
              <a:gd name="connsiteX6572" fmla="*/ 4061455 w 4716235"/>
              <a:gd name="connsiteY6572" fmla="*/ 3524432 h 4596459"/>
              <a:gd name="connsiteX6573" fmla="*/ 4055344 w 4716235"/>
              <a:gd name="connsiteY6573" fmla="*/ 3530545 h 4596459"/>
              <a:gd name="connsiteX6574" fmla="*/ 4049232 w 4716235"/>
              <a:gd name="connsiteY6574" fmla="*/ 3524432 h 4596459"/>
              <a:gd name="connsiteX6575" fmla="*/ 4055344 w 4716235"/>
              <a:gd name="connsiteY6575" fmla="*/ 3518320 h 4596459"/>
              <a:gd name="connsiteX6576" fmla="*/ 1928471 w 4716235"/>
              <a:gd name="connsiteY6576" fmla="*/ 3517662 h 4596459"/>
              <a:gd name="connsiteX6577" fmla="*/ 1939207 w 4716235"/>
              <a:gd name="connsiteY6577" fmla="*/ 3528398 h 4596459"/>
              <a:gd name="connsiteX6578" fmla="*/ 1928471 w 4716235"/>
              <a:gd name="connsiteY6578" fmla="*/ 3539134 h 4596459"/>
              <a:gd name="connsiteX6579" fmla="*/ 1917734 w 4716235"/>
              <a:gd name="connsiteY6579" fmla="*/ 3528398 h 4596459"/>
              <a:gd name="connsiteX6580" fmla="*/ 1928471 w 4716235"/>
              <a:gd name="connsiteY6580" fmla="*/ 3517662 h 4596459"/>
              <a:gd name="connsiteX6581" fmla="*/ 2874463 w 4716235"/>
              <a:gd name="connsiteY6581" fmla="*/ 3515844 h 4596459"/>
              <a:gd name="connsiteX6582" fmla="*/ 2885201 w 4716235"/>
              <a:gd name="connsiteY6582" fmla="*/ 3526580 h 4596459"/>
              <a:gd name="connsiteX6583" fmla="*/ 2874463 w 4716235"/>
              <a:gd name="connsiteY6583" fmla="*/ 3537317 h 4596459"/>
              <a:gd name="connsiteX6584" fmla="*/ 2863726 w 4716235"/>
              <a:gd name="connsiteY6584" fmla="*/ 3526580 h 4596459"/>
              <a:gd name="connsiteX6585" fmla="*/ 2874463 w 4716235"/>
              <a:gd name="connsiteY6585" fmla="*/ 3515844 h 4596459"/>
              <a:gd name="connsiteX6586" fmla="*/ 3713088 w 4716235"/>
              <a:gd name="connsiteY6586" fmla="*/ 3515019 h 4596459"/>
              <a:gd name="connsiteX6587" fmla="*/ 3723824 w 4716235"/>
              <a:gd name="connsiteY6587" fmla="*/ 3525755 h 4596459"/>
              <a:gd name="connsiteX6588" fmla="*/ 3713088 w 4716235"/>
              <a:gd name="connsiteY6588" fmla="*/ 3536491 h 4596459"/>
              <a:gd name="connsiteX6589" fmla="*/ 3702352 w 4716235"/>
              <a:gd name="connsiteY6589" fmla="*/ 3525755 h 4596459"/>
              <a:gd name="connsiteX6590" fmla="*/ 3713088 w 4716235"/>
              <a:gd name="connsiteY6590" fmla="*/ 3515019 h 4596459"/>
              <a:gd name="connsiteX6591" fmla="*/ 1542772 w 4716235"/>
              <a:gd name="connsiteY6591" fmla="*/ 3514358 h 4596459"/>
              <a:gd name="connsiteX6592" fmla="*/ 1553510 w 4716235"/>
              <a:gd name="connsiteY6592" fmla="*/ 3525094 h 4596459"/>
              <a:gd name="connsiteX6593" fmla="*/ 1542772 w 4716235"/>
              <a:gd name="connsiteY6593" fmla="*/ 3535831 h 4596459"/>
              <a:gd name="connsiteX6594" fmla="*/ 1532036 w 4716235"/>
              <a:gd name="connsiteY6594" fmla="*/ 3525094 h 4596459"/>
              <a:gd name="connsiteX6595" fmla="*/ 1542772 w 4716235"/>
              <a:gd name="connsiteY6595" fmla="*/ 3514358 h 4596459"/>
              <a:gd name="connsiteX6596" fmla="*/ 3974902 w 4716235"/>
              <a:gd name="connsiteY6596" fmla="*/ 3513201 h 4596459"/>
              <a:gd name="connsiteX6597" fmla="*/ 3985638 w 4716235"/>
              <a:gd name="connsiteY6597" fmla="*/ 3523938 h 4596459"/>
              <a:gd name="connsiteX6598" fmla="*/ 3974902 w 4716235"/>
              <a:gd name="connsiteY6598" fmla="*/ 3534676 h 4596459"/>
              <a:gd name="connsiteX6599" fmla="*/ 3964165 w 4716235"/>
              <a:gd name="connsiteY6599" fmla="*/ 3523938 h 4596459"/>
              <a:gd name="connsiteX6600" fmla="*/ 3974902 w 4716235"/>
              <a:gd name="connsiteY6600" fmla="*/ 3513201 h 4596459"/>
              <a:gd name="connsiteX6601" fmla="*/ 3922373 w 4716235"/>
              <a:gd name="connsiteY6601" fmla="*/ 3511880 h 4596459"/>
              <a:gd name="connsiteX6602" fmla="*/ 3933109 w 4716235"/>
              <a:gd name="connsiteY6602" fmla="*/ 3522616 h 4596459"/>
              <a:gd name="connsiteX6603" fmla="*/ 3922373 w 4716235"/>
              <a:gd name="connsiteY6603" fmla="*/ 3533352 h 4596459"/>
              <a:gd name="connsiteX6604" fmla="*/ 3911637 w 4716235"/>
              <a:gd name="connsiteY6604" fmla="*/ 3522616 h 4596459"/>
              <a:gd name="connsiteX6605" fmla="*/ 3922373 w 4716235"/>
              <a:gd name="connsiteY6605" fmla="*/ 3511880 h 4596459"/>
              <a:gd name="connsiteX6606" fmla="*/ 311841 w 4716235"/>
              <a:gd name="connsiteY6606" fmla="*/ 3510558 h 4596459"/>
              <a:gd name="connsiteX6607" fmla="*/ 322577 w 4716235"/>
              <a:gd name="connsiteY6607" fmla="*/ 3521295 h 4596459"/>
              <a:gd name="connsiteX6608" fmla="*/ 311841 w 4716235"/>
              <a:gd name="connsiteY6608" fmla="*/ 3532033 h 4596459"/>
              <a:gd name="connsiteX6609" fmla="*/ 301105 w 4716235"/>
              <a:gd name="connsiteY6609" fmla="*/ 3521295 h 4596459"/>
              <a:gd name="connsiteX6610" fmla="*/ 311841 w 4716235"/>
              <a:gd name="connsiteY6610" fmla="*/ 3510558 h 4596459"/>
              <a:gd name="connsiteX6611" fmla="*/ 4031889 w 4716235"/>
              <a:gd name="connsiteY6611" fmla="*/ 3509070 h 4596459"/>
              <a:gd name="connsiteX6612" fmla="*/ 4042627 w 4716235"/>
              <a:gd name="connsiteY6612" fmla="*/ 3519807 h 4596459"/>
              <a:gd name="connsiteX6613" fmla="*/ 4031889 w 4716235"/>
              <a:gd name="connsiteY6613" fmla="*/ 3530545 h 4596459"/>
              <a:gd name="connsiteX6614" fmla="*/ 4021152 w 4716235"/>
              <a:gd name="connsiteY6614" fmla="*/ 3519807 h 4596459"/>
              <a:gd name="connsiteX6615" fmla="*/ 4031889 w 4716235"/>
              <a:gd name="connsiteY6615" fmla="*/ 3509070 h 4596459"/>
              <a:gd name="connsiteX6616" fmla="*/ 2119750 w 4716235"/>
              <a:gd name="connsiteY6616" fmla="*/ 3508741 h 4596459"/>
              <a:gd name="connsiteX6617" fmla="*/ 2130486 w 4716235"/>
              <a:gd name="connsiteY6617" fmla="*/ 3519477 h 4596459"/>
              <a:gd name="connsiteX6618" fmla="*/ 2119750 w 4716235"/>
              <a:gd name="connsiteY6618" fmla="*/ 3530214 h 4596459"/>
              <a:gd name="connsiteX6619" fmla="*/ 2109014 w 4716235"/>
              <a:gd name="connsiteY6619" fmla="*/ 3519477 h 4596459"/>
              <a:gd name="connsiteX6620" fmla="*/ 2119750 w 4716235"/>
              <a:gd name="connsiteY6620" fmla="*/ 3508741 h 4596459"/>
              <a:gd name="connsiteX6621" fmla="*/ 4011077 w 4716235"/>
              <a:gd name="connsiteY6621" fmla="*/ 3507584 h 4596459"/>
              <a:gd name="connsiteX6622" fmla="*/ 4021813 w 4716235"/>
              <a:gd name="connsiteY6622" fmla="*/ 3518320 h 4596459"/>
              <a:gd name="connsiteX6623" fmla="*/ 4011077 w 4716235"/>
              <a:gd name="connsiteY6623" fmla="*/ 3529057 h 4596459"/>
              <a:gd name="connsiteX6624" fmla="*/ 4002406 w 4716235"/>
              <a:gd name="connsiteY6624" fmla="*/ 3520386 h 4596459"/>
              <a:gd name="connsiteX6625" fmla="*/ 3992245 w 4716235"/>
              <a:gd name="connsiteY6625" fmla="*/ 3530545 h 4596459"/>
              <a:gd name="connsiteX6626" fmla="*/ 3981509 w 4716235"/>
              <a:gd name="connsiteY6626" fmla="*/ 3519807 h 4596459"/>
              <a:gd name="connsiteX6627" fmla="*/ 3992245 w 4716235"/>
              <a:gd name="connsiteY6627" fmla="*/ 3509070 h 4596459"/>
              <a:gd name="connsiteX6628" fmla="*/ 4000918 w 4716235"/>
              <a:gd name="connsiteY6628" fmla="*/ 3517743 h 4596459"/>
              <a:gd name="connsiteX6629" fmla="*/ 3943516 w 4716235"/>
              <a:gd name="connsiteY6629" fmla="*/ 3504281 h 4596459"/>
              <a:gd name="connsiteX6630" fmla="*/ 3954253 w 4716235"/>
              <a:gd name="connsiteY6630" fmla="*/ 3515017 h 4596459"/>
              <a:gd name="connsiteX6631" fmla="*/ 3943516 w 4716235"/>
              <a:gd name="connsiteY6631" fmla="*/ 3525755 h 4596459"/>
              <a:gd name="connsiteX6632" fmla="*/ 3932780 w 4716235"/>
              <a:gd name="connsiteY6632" fmla="*/ 3515017 h 4596459"/>
              <a:gd name="connsiteX6633" fmla="*/ 3943516 w 4716235"/>
              <a:gd name="connsiteY6633" fmla="*/ 3504281 h 4596459"/>
              <a:gd name="connsiteX6634" fmla="*/ 1352977 w 4716235"/>
              <a:gd name="connsiteY6634" fmla="*/ 3502134 h 4596459"/>
              <a:gd name="connsiteX6635" fmla="*/ 1363715 w 4716235"/>
              <a:gd name="connsiteY6635" fmla="*/ 3512870 h 4596459"/>
              <a:gd name="connsiteX6636" fmla="*/ 1352977 w 4716235"/>
              <a:gd name="connsiteY6636" fmla="*/ 3523606 h 4596459"/>
              <a:gd name="connsiteX6637" fmla="*/ 1342241 w 4716235"/>
              <a:gd name="connsiteY6637" fmla="*/ 3512870 h 4596459"/>
              <a:gd name="connsiteX6638" fmla="*/ 1352977 w 4716235"/>
              <a:gd name="connsiteY6638" fmla="*/ 3502134 h 4596459"/>
              <a:gd name="connsiteX6639" fmla="*/ 71172 w 4716235"/>
              <a:gd name="connsiteY6639" fmla="*/ 3501638 h 4596459"/>
              <a:gd name="connsiteX6640" fmla="*/ 81909 w 4716235"/>
              <a:gd name="connsiteY6640" fmla="*/ 3512374 h 4596459"/>
              <a:gd name="connsiteX6641" fmla="*/ 71172 w 4716235"/>
              <a:gd name="connsiteY6641" fmla="*/ 3523110 h 4596459"/>
              <a:gd name="connsiteX6642" fmla="*/ 60436 w 4716235"/>
              <a:gd name="connsiteY6642" fmla="*/ 3512374 h 4596459"/>
              <a:gd name="connsiteX6643" fmla="*/ 71172 w 4716235"/>
              <a:gd name="connsiteY6643" fmla="*/ 3501638 h 4596459"/>
              <a:gd name="connsiteX6644" fmla="*/ 3636775 w 4716235"/>
              <a:gd name="connsiteY6644" fmla="*/ 3500316 h 4596459"/>
              <a:gd name="connsiteX6645" fmla="*/ 3647511 w 4716235"/>
              <a:gd name="connsiteY6645" fmla="*/ 3511053 h 4596459"/>
              <a:gd name="connsiteX6646" fmla="*/ 3636775 w 4716235"/>
              <a:gd name="connsiteY6646" fmla="*/ 3521791 h 4596459"/>
              <a:gd name="connsiteX6647" fmla="*/ 3626039 w 4716235"/>
              <a:gd name="connsiteY6647" fmla="*/ 3511053 h 4596459"/>
              <a:gd name="connsiteX6648" fmla="*/ 3636775 w 4716235"/>
              <a:gd name="connsiteY6648" fmla="*/ 3500316 h 4596459"/>
              <a:gd name="connsiteX6649" fmla="*/ 615443 w 4716235"/>
              <a:gd name="connsiteY6649" fmla="*/ 3499159 h 4596459"/>
              <a:gd name="connsiteX6650" fmla="*/ 626181 w 4716235"/>
              <a:gd name="connsiteY6650" fmla="*/ 3509896 h 4596459"/>
              <a:gd name="connsiteX6651" fmla="*/ 615443 w 4716235"/>
              <a:gd name="connsiteY6651" fmla="*/ 3520634 h 4596459"/>
              <a:gd name="connsiteX6652" fmla="*/ 604707 w 4716235"/>
              <a:gd name="connsiteY6652" fmla="*/ 3509896 h 4596459"/>
              <a:gd name="connsiteX6653" fmla="*/ 615443 w 4716235"/>
              <a:gd name="connsiteY6653" fmla="*/ 3499159 h 4596459"/>
              <a:gd name="connsiteX6654" fmla="*/ 3961356 w 4716235"/>
              <a:gd name="connsiteY6654" fmla="*/ 3496518 h 4596459"/>
              <a:gd name="connsiteX6655" fmla="*/ 3972092 w 4716235"/>
              <a:gd name="connsiteY6655" fmla="*/ 3507255 h 4596459"/>
              <a:gd name="connsiteX6656" fmla="*/ 3961356 w 4716235"/>
              <a:gd name="connsiteY6656" fmla="*/ 3517991 h 4596459"/>
              <a:gd name="connsiteX6657" fmla="*/ 3950619 w 4716235"/>
              <a:gd name="connsiteY6657" fmla="*/ 3507255 h 4596459"/>
              <a:gd name="connsiteX6658" fmla="*/ 3961356 w 4716235"/>
              <a:gd name="connsiteY6658" fmla="*/ 3496518 h 4596459"/>
              <a:gd name="connsiteX6659" fmla="*/ 2307396 w 4716235"/>
              <a:gd name="connsiteY6659" fmla="*/ 3492883 h 4596459"/>
              <a:gd name="connsiteX6660" fmla="*/ 2318134 w 4716235"/>
              <a:gd name="connsiteY6660" fmla="*/ 3503620 h 4596459"/>
              <a:gd name="connsiteX6661" fmla="*/ 2307396 w 4716235"/>
              <a:gd name="connsiteY6661" fmla="*/ 3514356 h 4596459"/>
              <a:gd name="connsiteX6662" fmla="*/ 2296659 w 4716235"/>
              <a:gd name="connsiteY6662" fmla="*/ 3503620 h 4596459"/>
              <a:gd name="connsiteX6663" fmla="*/ 2307396 w 4716235"/>
              <a:gd name="connsiteY6663" fmla="*/ 3492883 h 4596459"/>
              <a:gd name="connsiteX6664" fmla="*/ 3314341 w 4716235"/>
              <a:gd name="connsiteY6664" fmla="*/ 3487762 h 4596459"/>
              <a:gd name="connsiteX6665" fmla="*/ 3325077 w 4716235"/>
              <a:gd name="connsiteY6665" fmla="*/ 3498499 h 4596459"/>
              <a:gd name="connsiteX6666" fmla="*/ 3314341 w 4716235"/>
              <a:gd name="connsiteY6666" fmla="*/ 3509237 h 4596459"/>
              <a:gd name="connsiteX6667" fmla="*/ 3303605 w 4716235"/>
              <a:gd name="connsiteY6667" fmla="*/ 3498499 h 4596459"/>
              <a:gd name="connsiteX6668" fmla="*/ 3314341 w 4716235"/>
              <a:gd name="connsiteY6668" fmla="*/ 3487762 h 4596459"/>
              <a:gd name="connsiteX6669" fmla="*/ 1167809 w 4716235"/>
              <a:gd name="connsiteY6669" fmla="*/ 3483469 h 4596459"/>
              <a:gd name="connsiteX6670" fmla="*/ 1178548 w 4716235"/>
              <a:gd name="connsiteY6670" fmla="*/ 3494205 h 4596459"/>
              <a:gd name="connsiteX6671" fmla="*/ 1167809 w 4716235"/>
              <a:gd name="connsiteY6671" fmla="*/ 3504941 h 4596459"/>
              <a:gd name="connsiteX6672" fmla="*/ 1157073 w 4716235"/>
              <a:gd name="connsiteY6672" fmla="*/ 3494205 h 4596459"/>
              <a:gd name="connsiteX6673" fmla="*/ 1167809 w 4716235"/>
              <a:gd name="connsiteY6673" fmla="*/ 3483469 h 4596459"/>
              <a:gd name="connsiteX6674" fmla="*/ 4064594 w 4716235"/>
              <a:gd name="connsiteY6674" fmla="*/ 3482147 h 4596459"/>
              <a:gd name="connsiteX6675" fmla="*/ 4075330 w 4716235"/>
              <a:gd name="connsiteY6675" fmla="*/ 3492883 h 4596459"/>
              <a:gd name="connsiteX6676" fmla="*/ 4064594 w 4716235"/>
              <a:gd name="connsiteY6676" fmla="*/ 3503622 h 4596459"/>
              <a:gd name="connsiteX6677" fmla="*/ 4053857 w 4716235"/>
              <a:gd name="connsiteY6677" fmla="*/ 3492883 h 4596459"/>
              <a:gd name="connsiteX6678" fmla="*/ 4064594 w 4716235"/>
              <a:gd name="connsiteY6678" fmla="*/ 3482147 h 4596459"/>
              <a:gd name="connsiteX6679" fmla="*/ 3023951 w 4716235"/>
              <a:gd name="connsiteY6679" fmla="*/ 3479173 h 4596459"/>
              <a:gd name="connsiteX6680" fmla="*/ 3034689 w 4716235"/>
              <a:gd name="connsiteY6680" fmla="*/ 3489909 h 4596459"/>
              <a:gd name="connsiteX6681" fmla="*/ 3023951 w 4716235"/>
              <a:gd name="connsiteY6681" fmla="*/ 3500647 h 4596459"/>
              <a:gd name="connsiteX6682" fmla="*/ 3013215 w 4716235"/>
              <a:gd name="connsiteY6682" fmla="*/ 3489909 h 4596459"/>
              <a:gd name="connsiteX6683" fmla="*/ 3023951 w 4716235"/>
              <a:gd name="connsiteY6683" fmla="*/ 3479173 h 4596459"/>
              <a:gd name="connsiteX6684" fmla="*/ 3883061 w 4716235"/>
              <a:gd name="connsiteY6684" fmla="*/ 3479008 h 4596459"/>
              <a:gd name="connsiteX6685" fmla="*/ 3893797 w 4716235"/>
              <a:gd name="connsiteY6685" fmla="*/ 3489745 h 4596459"/>
              <a:gd name="connsiteX6686" fmla="*/ 3883061 w 4716235"/>
              <a:gd name="connsiteY6686" fmla="*/ 3500483 h 4596459"/>
              <a:gd name="connsiteX6687" fmla="*/ 3872324 w 4716235"/>
              <a:gd name="connsiteY6687" fmla="*/ 3489745 h 4596459"/>
              <a:gd name="connsiteX6688" fmla="*/ 3883061 w 4716235"/>
              <a:gd name="connsiteY6688" fmla="*/ 3479008 h 4596459"/>
              <a:gd name="connsiteX6689" fmla="*/ 3916758 w 4716235"/>
              <a:gd name="connsiteY6689" fmla="*/ 3478183 h 4596459"/>
              <a:gd name="connsiteX6690" fmla="*/ 3927496 w 4716235"/>
              <a:gd name="connsiteY6690" fmla="*/ 3488919 h 4596459"/>
              <a:gd name="connsiteX6691" fmla="*/ 3916758 w 4716235"/>
              <a:gd name="connsiteY6691" fmla="*/ 3499655 h 4596459"/>
              <a:gd name="connsiteX6692" fmla="*/ 3906021 w 4716235"/>
              <a:gd name="connsiteY6692" fmla="*/ 3488919 h 4596459"/>
              <a:gd name="connsiteX6693" fmla="*/ 3916758 w 4716235"/>
              <a:gd name="connsiteY6693" fmla="*/ 3478183 h 4596459"/>
              <a:gd name="connsiteX6694" fmla="*/ 4025117 w 4716235"/>
              <a:gd name="connsiteY6694" fmla="*/ 3477687 h 4596459"/>
              <a:gd name="connsiteX6695" fmla="*/ 4034780 w 4716235"/>
              <a:gd name="connsiteY6695" fmla="*/ 3487350 h 4596459"/>
              <a:gd name="connsiteX6696" fmla="*/ 4043617 w 4716235"/>
              <a:gd name="connsiteY6696" fmla="*/ 3478512 h 4596459"/>
              <a:gd name="connsiteX6697" fmla="*/ 4054353 w 4716235"/>
              <a:gd name="connsiteY6697" fmla="*/ 3489249 h 4596459"/>
              <a:gd name="connsiteX6698" fmla="*/ 4043617 w 4716235"/>
              <a:gd name="connsiteY6698" fmla="*/ 3499987 h 4596459"/>
              <a:gd name="connsiteX6699" fmla="*/ 4033954 w 4716235"/>
              <a:gd name="connsiteY6699" fmla="*/ 3490322 h 4596459"/>
              <a:gd name="connsiteX6700" fmla="*/ 4025117 w 4716235"/>
              <a:gd name="connsiteY6700" fmla="*/ 3499159 h 4596459"/>
              <a:gd name="connsiteX6701" fmla="*/ 4017684 w 4716235"/>
              <a:gd name="connsiteY6701" fmla="*/ 3491727 h 4596459"/>
              <a:gd name="connsiteX6702" fmla="*/ 4008434 w 4716235"/>
              <a:gd name="connsiteY6702" fmla="*/ 3500979 h 4596459"/>
              <a:gd name="connsiteX6703" fmla="*/ 4002571 w 4716235"/>
              <a:gd name="connsiteY6703" fmla="*/ 3495114 h 4596459"/>
              <a:gd name="connsiteX6704" fmla="*/ 3992741 w 4716235"/>
              <a:gd name="connsiteY6704" fmla="*/ 3504941 h 4596459"/>
              <a:gd name="connsiteX6705" fmla="*/ 3988116 w 4716235"/>
              <a:gd name="connsiteY6705" fmla="*/ 3500316 h 4596459"/>
              <a:gd name="connsiteX6706" fmla="*/ 3977544 w 4716235"/>
              <a:gd name="connsiteY6706" fmla="*/ 3510890 h 4596459"/>
              <a:gd name="connsiteX6707" fmla="*/ 3966808 w 4716235"/>
              <a:gd name="connsiteY6707" fmla="*/ 3500151 h 4596459"/>
              <a:gd name="connsiteX6708" fmla="*/ 3977544 w 4716235"/>
              <a:gd name="connsiteY6708" fmla="*/ 3489415 h 4596459"/>
              <a:gd name="connsiteX6709" fmla="*/ 3982170 w 4716235"/>
              <a:gd name="connsiteY6709" fmla="*/ 3494040 h 4596459"/>
              <a:gd name="connsiteX6710" fmla="*/ 3992741 w 4716235"/>
              <a:gd name="connsiteY6710" fmla="*/ 3483469 h 4596459"/>
              <a:gd name="connsiteX6711" fmla="*/ 3998606 w 4716235"/>
              <a:gd name="connsiteY6711" fmla="*/ 3489332 h 4596459"/>
              <a:gd name="connsiteX6712" fmla="*/ 4008434 w 4716235"/>
              <a:gd name="connsiteY6712" fmla="*/ 3479504 h 4596459"/>
              <a:gd name="connsiteX6713" fmla="*/ 4015867 w 4716235"/>
              <a:gd name="connsiteY6713" fmla="*/ 3486937 h 4596459"/>
              <a:gd name="connsiteX6714" fmla="*/ 3543448 w 4716235"/>
              <a:gd name="connsiteY6714" fmla="*/ 3477191 h 4596459"/>
              <a:gd name="connsiteX6715" fmla="*/ 3554184 w 4716235"/>
              <a:gd name="connsiteY6715" fmla="*/ 3487927 h 4596459"/>
              <a:gd name="connsiteX6716" fmla="*/ 3543448 w 4716235"/>
              <a:gd name="connsiteY6716" fmla="*/ 3498663 h 4596459"/>
              <a:gd name="connsiteX6717" fmla="*/ 3532712 w 4716235"/>
              <a:gd name="connsiteY6717" fmla="*/ 3487927 h 4596459"/>
              <a:gd name="connsiteX6718" fmla="*/ 3543448 w 4716235"/>
              <a:gd name="connsiteY6718" fmla="*/ 3477191 h 4596459"/>
              <a:gd name="connsiteX6719" fmla="*/ 3840443 w 4716235"/>
              <a:gd name="connsiteY6719" fmla="*/ 3476034 h 4596459"/>
              <a:gd name="connsiteX6720" fmla="*/ 3851181 w 4716235"/>
              <a:gd name="connsiteY6720" fmla="*/ 3486770 h 4596459"/>
              <a:gd name="connsiteX6721" fmla="*/ 3840443 w 4716235"/>
              <a:gd name="connsiteY6721" fmla="*/ 3497509 h 4596459"/>
              <a:gd name="connsiteX6722" fmla="*/ 3829707 w 4716235"/>
              <a:gd name="connsiteY6722" fmla="*/ 3486770 h 4596459"/>
              <a:gd name="connsiteX6723" fmla="*/ 3840443 w 4716235"/>
              <a:gd name="connsiteY6723" fmla="*/ 3476034 h 4596459"/>
              <a:gd name="connsiteX6724" fmla="*/ 3943351 w 4716235"/>
              <a:gd name="connsiteY6724" fmla="*/ 3474548 h 4596459"/>
              <a:gd name="connsiteX6725" fmla="*/ 3954088 w 4716235"/>
              <a:gd name="connsiteY6725" fmla="*/ 3485284 h 4596459"/>
              <a:gd name="connsiteX6726" fmla="*/ 3943351 w 4716235"/>
              <a:gd name="connsiteY6726" fmla="*/ 3496021 h 4596459"/>
              <a:gd name="connsiteX6727" fmla="*/ 3932615 w 4716235"/>
              <a:gd name="connsiteY6727" fmla="*/ 3485284 h 4596459"/>
              <a:gd name="connsiteX6728" fmla="*/ 3943351 w 4716235"/>
              <a:gd name="connsiteY6728" fmla="*/ 3474548 h 4596459"/>
              <a:gd name="connsiteX6729" fmla="*/ 2489095 w 4716235"/>
              <a:gd name="connsiteY6729" fmla="*/ 3471080 h 4596459"/>
              <a:gd name="connsiteX6730" fmla="*/ 2499833 w 4716235"/>
              <a:gd name="connsiteY6730" fmla="*/ 3481816 h 4596459"/>
              <a:gd name="connsiteX6731" fmla="*/ 2489095 w 4716235"/>
              <a:gd name="connsiteY6731" fmla="*/ 3492552 h 4596459"/>
              <a:gd name="connsiteX6732" fmla="*/ 2478359 w 4716235"/>
              <a:gd name="connsiteY6732" fmla="*/ 3481816 h 4596459"/>
              <a:gd name="connsiteX6733" fmla="*/ 2489095 w 4716235"/>
              <a:gd name="connsiteY6733" fmla="*/ 3471080 h 4596459"/>
              <a:gd name="connsiteX6734" fmla="*/ 3964824 w 4716235"/>
              <a:gd name="connsiteY6734" fmla="*/ 3469429 h 4596459"/>
              <a:gd name="connsiteX6735" fmla="*/ 3975562 w 4716235"/>
              <a:gd name="connsiteY6735" fmla="*/ 3480165 h 4596459"/>
              <a:gd name="connsiteX6736" fmla="*/ 3964824 w 4716235"/>
              <a:gd name="connsiteY6736" fmla="*/ 3490901 h 4596459"/>
              <a:gd name="connsiteX6737" fmla="*/ 3954088 w 4716235"/>
              <a:gd name="connsiteY6737" fmla="*/ 3480165 h 4596459"/>
              <a:gd name="connsiteX6738" fmla="*/ 3964824 w 4716235"/>
              <a:gd name="connsiteY6738" fmla="*/ 3469429 h 4596459"/>
              <a:gd name="connsiteX6739" fmla="*/ 3787091 w 4716235"/>
              <a:gd name="connsiteY6739" fmla="*/ 3467941 h 4596459"/>
              <a:gd name="connsiteX6740" fmla="*/ 3797827 w 4716235"/>
              <a:gd name="connsiteY6740" fmla="*/ 3478677 h 4596459"/>
              <a:gd name="connsiteX6741" fmla="*/ 3787091 w 4716235"/>
              <a:gd name="connsiteY6741" fmla="*/ 3489413 h 4596459"/>
              <a:gd name="connsiteX6742" fmla="*/ 3776354 w 4716235"/>
              <a:gd name="connsiteY6742" fmla="*/ 3478677 h 4596459"/>
              <a:gd name="connsiteX6743" fmla="*/ 3787091 w 4716235"/>
              <a:gd name="connsiteY6743" fmla="*/ 3467941 h 4596459"/>
              <a:gd name="connsiteX6744" fmla="*/ 191093 w 4716235"/>
              <a:gd name="connsiteY6744" fmla="*/ 3467446 h 4596459"/>
              <a:gd name="connsiteX6745" fmla="*/ 201831 w 4716235"/>
              <a:gd name="connsiteY6745" fmla="*/ 3478183 h 4596459"/>
              <a:gd name="connsiteX6746" fmla="*/ 191093 w 4716235"/>
              <a:gd name="connsiteY6746" fmla="*/ 3488919 h 4596459"/>
              <a:gd name="connsiteX6747" fmla="*/ 180357 w 4716235"/>
              <a:gd name="connsiteY6747" fmla="*/ 3478183 h 4596459"/>
              <a:gd name="connsiteX6748" fmla="*/ 191093 w 4716235"/>
              <a:gd name="connsiteY6748" fmla="*/ 3467446 h 4596459"/>
              <a:gd name="connsiteX6749" fmla="*/ 470248 w 4716235"/>
              <a:gd name="connsiteY6749" fmla="*/ 3461169 h 4596459"/>
              <a:gd name="connsiteX6750" fmla="*/ 480987 w 4716235"/>
              <a:gd name="connsiteY6750" fmla="*/ 3471905 h 4596459"/>
              <a:gd name="connsiteX6751" fmla="*/ 470248 w 4716235"/>
              <a:gd name="connsiteY6751" fmla="*/ 3482641 h 4596459"/>
              <a:gd name="connsiteX6752" fmla="*/ 459512 w 4716235"/>
              <a:gd name="connsiteY6752" fmla="*/ 3471905 h 4596459"/>
              <a:gd name="connsiteX6753" fmla="*/ 470248 w 4716235"/>
              <a:gd name="connsiteY6753" fmla="*/ 3461169 h 4596459"/>
              <a:gd name="connsiteX6754" fmla="*/ 989249 w 4716235"/>
              <a:gd name="connsiteY6754" fmla="*/ 3459022 h 4596459"/>
              <a:gd name="connsiteX6755" fmla="*/ 999987 w 4716235"/>
              <a:gd name="connsiteY6755" fmla="*/ 3469758 h 4596459"/>
              <a:gd name="connsiteX6756" fmla="*/ 989249 w 4716235"/>
              <a:gd name="connsiteY6756" fmla="*/ 3480496 h 4596459"/>
              <a:gd name="connsiteX6757" fmla="*/ 978513 w 4716235"/>
              <a:gd name="connsiteY6757" fmla="*/ 3469758 h 4596459"/>
              <a:gd name="connsiteX6758" fmla="*/ 989249 w 4716235"/>
              <a:gd name="connsiteY6758" fmla="*/ 3459022 h 4596459"/>
              <a:gd name="connsiteX6759" fmla="*/ 4096971 w 4716235"/>
              <a:gd name="connsiteY6759" fmla="*/ 3458030 h 4596459"/>
              <a:gd name="connsiteX6760" fmla="*/ 4106056 w 4716235"/>
              <a:gd name="connsiteY6760" fmla="*/ 3467115 h 4596459"/>
              <a:gd name="connsiteX6761" fmla="*/ 4096971 w 4716235"/>
              <a:gd name="connsiteY6761" fmla="*/ 3476199 h 4596459"/>
              <a:gd name="connsiteX6762" fmla="*/ 4087886 w 4716235"/>
              <a:gd name="connsiteY6762" fmla="*/ 3467115 h 4596459"/>
              <a:gd name="connsiteX6763" fmla="*/ 4096971 w 4716235"/>
              <a:gd name="connsiteY6763" fmla="*/ 3458030 h 4596459"/>
              <a:gd name="connsiteX6764" fmla="*/ 3720522 w 4716235"/>
              <a:gd name="connsiteY6764" fmla="*/ 3453571 h 4596459"/>
              <a:gd name="connsiteX6765" fmla="*/ 3731259 w 4716235"/>
              <a:gd name="connsiteY6765" fmla="*/ 3464308 h 4596459"/>
              <a:gd name="connsiteX6766" fmla="*/ 3720522 w 4716235"/>
              <a:gd name="connsiteY6766" fmla="*/ 3475044 h 4596459"/>
              <a:gd name="connsiteX6767" fmla="*/ 3709786 w 4716235"/>
              <a:gd name="connsiteY6767" fmla="*/ 3464308 h 4596459"/>
              <a:gd name="connsiteX6768" fmla="*/ 3720522 w 4716235"/>
              <a:gd name="connsiteY6768" fmla="*/ 3453571 h 4596459"/>
              <a:gd name="connsiteX6769" fmla="*/ 4075497 w 4716235"/>
              <a:gd name="connsiteY6769" fmla="*/ 3450432 h 4596459"/>
              <a:gd name="connsiteX6770" fmla="*/ 4086233 w 4716235"/>
              <a:gd name="connsiteY6770" fmla="*/ 3461169 h 4596459"/>
              <a:gd name="connsiteX6771" fmla="*/ 4075497 w 4716235"/>
              <a:gd name="connsiteY6771" fmla="*/ 3471905 h 4596459"/>
              <a:gd name="connsiteX6772" fmla="*/ 4064760 w 4716235"/>
              <a:gd name="connsiteY6772" fmla="*/ 3461169 h 4596459"/>
              <a:gd name="connsiteX6773" fmla="*/ 4075497 w 4716235"/>
              <a:gd name="connsiteY6773" fmla="*/ 3450432 h 4596459"/>
              <a:gd name="connsiteX6774" fmla="*/ 4040478 w 4716235"/>
              <a:gd name="connsiteY6774" fmla="*/ 3446797 h 4596459"/>
              <a:gd name="connsiteX6775" fmla="*/ 4048903 w 4716235"/>
              <a:gd name="connsiteY6775" fmla="*/ 3455222 h 4596459"/>
              <a:gd name="connsiteX6776" fmla="*/ 4056831 w 4716235"/>
              <a:gd name="connsiteY6776" fmla="*/ 3447293 h 4596459"/>
              <a:gd name="connsiteX6777" fmla="*/ 4067570 w 4716235"/>
              <a:gd name="connsiteY6777" fmla="*/ 3458030 h 4596459"/>
              <a:gd name="connsiteX6778" fmla="*/ 4056831 w 4716235"/>
              <a:gd name="connsiteY6778" fmla="*/ 3468766 h 4596459"/>
              <a:gd name="connsiteX6779" fmla="*/ 4048407 w 4716235"/>
              <a:gd name="connsiteY6779" fmla="*/ 3460341 h 4596459"/>
              <a:gd name="connsiteX6780" fmla="*/ 4040478 w 4716235"/>
              <a:gd name="connsiteY6780" fmla="*/ 3468270 h 4596459"/>
              <a:gd name="connsiteX6781" fmla="*/ 4034119 w 4716235"/>
              <a:gd name="connsiteY6781" fmla="*/ 3461913 h 4596459"/>
              <a:gd name="connsiteX6782" fmla="*/ 4025777 w 4716235"/>
              <a:gd name="connsiteY6782" fmla="*/ 3470252 h 4596459"/>
              <a:gd name="connsiteX6783" fmla="*/ 4020740 w 4716235"/>
              <a:gd name="connsiteY6783" fmla="*/ 3465216 h 4596459"/>
              <a:gd name="connsiteX6784" fmla="*/ 4011902 w 4716235"/>
              <a:gd name="connsiteY6784" fmla="*/ 3474052 h 4596459"/>
              <a:gd name="connsiteX6785" fmla="*/ 4007360 w 4716235"/>
              <a:gd name="connsiteY6785" fmla="*/ 3469510 h 4596459"/>
              <a:gd name="connsiteX6786" fmla="*/ 3997696 w 4716235"/>
              <a:gd name="connsiteY6786" fmla="*/ 3479173 h 4596459"/>
              <a:gd name="connsiteX6787" fmla="*/ 3992989 w 4716235"/>
              <a:gd name="connsiteY6787" fmla="*/ 3474466 h 4596459"/>
              <a:gd name="connsiteX6788" fmla="*/ 3982499 w 4716235"/>
              <a:gd name="connsiteY6788" fmla="*/ 3484955 h 4596459"/>
              <a:gd name="connsiteX6789" fmla="*/ 3971763 w 4716235"/>
              <a:gd name="connsiteY6789" fmla="*/ 3474218 h 4596459"/>
              <a:gd name="connsiteX6790" fmla="*/ 3982499 w 4716235"/>
              <a:gd name="connsiteY6790" fmla="*/ 3463482 h 4596459"/>
              <a:gd name="connsiteX6791" fmla="*/ 3987207 w 4716235"/>
              <a:gd name="connsiteY6791" fmla="*/ 3468190 h 4596459"/>
              <a:gd name="connsiteX6792" fmla="*/ 3997696 w 4716235"/>
              <a:gd name="connsiteY6792" fmla="*/ 3457700 h 4596459"/>
              <a:gd name="connsiteX6793" fmla="*/ 4002238 w 4716235"/>
              <a:gd name="connsiteY6793" fmla="*/ 3462244 h 4596459"/>
              <a:gd name="connsiteX6794" fmla="*/ 4011902 w 4716235"/>
              <a:gd name="connsiteY6794" fmla="*/ 3452579 h 4596459"/>
              <a:gd name="connsiteX6795" fmla="*/ 4016940 w 4716235"/>
              <a:gd name="connsiteY6795" fmla="*/ 3457617 h 4596459"/>
              <a:gd name="connsiteX6796" fmla="*/ 4025777 w 4716235"/>
              <a:gd name="connsiteY6796" fmla="*/ 3448780 h 4596459"/>
              <a:gd name="connsiteX6797" fmla="*/ 4032137 w 4716235"/>
              <a:gd name="connsiteY6797" fmla="*/ 3455139 h 4596459"/>
              <a:gd name="connsiteX6798" fmla="*/ 3430629 w 4716235"/>
              <a:gd name="connsiteY6798" fmla="*/ 3443825 h 4596459"/>
              <a:gd name="connsiteX6799" fmla="*/ 3441367 w 4716235"/>
              <a:gd name="connsiteY6799" fmla="*/ 3454561 h 4596459"/>
              <a:gd name="connsiteX6800" fmla="*/ 3430629 w 4716235"/>
              <a:gd name="connsiteY6800" fmla="*/ 3465298 h 4596459"/>
              <a:gd name="connsiteX6801" fmla="*/ 3419892 w 4716235"/>
              <a:gd name="connsiteY6801" fmla="*/ 3454561 h 4596459"/>
              <a:gd name="connsiteX6802" fmla="*/ 3430629 w 4716235"/>
              <a:gd name="connsiteY6802" fmla="*/ 3443825 h 4596459"/>
              <a:gd name="connsiteX6803" fmla="*/ 2663691 w 4716235"/>
              <a:gd name="connsiteY6803" fmla="*/ 3443825 h 4596459"/>
              <a:gd name="connsiteX6804" fmla="*/ 2674429 w 4716235"/>
              <a:gd name="connsiteY6804" fmla="*/ 3454561 h 4596459"/>
              <a:gd name="connsiteX6805" fmla="*/ 2663691 w 4716235"/>
              <a:gd name="connsiteY6805" fmla="*/ 3465298 h 4596459"/>
              <a:gd name="connsiteX6806" fmla="*/ 2652955 w 4716235"/>
              <a:gd name="connsiteY6806" fmla="*/ 3454561 h 4596459"/>
              <a:gd name="connsiteX6807" fmla="*/ 2663691 w 4716235"/>
              <a:gd name="connsiteY6807" fmla="*/ 3443825 h 4596459"/>
              <a:gd name="connsiteX6808" fmla="*/ 4128851 w 4716235"/>
              <a:gd name="connsiteY6808" fmla="*/ 3441843 h 4596459"/>
              <a:gd name="connsiteX6809" fmla="*/ 4129511 w 4716235"/>
              <a:gd name="connsiteY6809" fmla="*/ 3442504 h 4596459"/>
              <a:gd name="connsiteX6810" fmla="*/ 4128851 w 4716235"/>
              <a:gd name="connsiteY6810" fmla="*/ 3443164 h 4596459"/>
              <a:gd name="connsiteX6811" fmla="*/ 4128190 w 4716235"/>
              <a:gd name="connsiteY6811" fmla="*/ 3442504 h 4596459"/>
              <a:gd name="connsiteX6812" fmla="*/ 4128851 w 4716235"/>
              <a:gd name="connsiteY6812" fmla="*/ 3441843 h 4596459"/>
              <a:gd name="connsiteX6813" fmla="*/ 3164192 w 4716235"/>
              <a:gd name="connsiteY6813" fmla="*/ 3439861 h 4596459"/>
              <a:gd name="connsiteX6814" fmla="*/ 3174930 w 4716235"/>
              <a:gd name="connsiteY6814" fmla="*/ 3450597 h 4596459"/>
              <a:gd name="connsiteX6815" fmla="*/ 3164192 w 4716235"/>
              <a:gd name="connsiteY6815" fmla="*/ 3461335 h 4596459"/>
              <a:gd name="connsiteX6816" fmla="*/ 3153455 w 4716235"/>
              <a:gd name="connsiteY6816" fmla="*/ 3450597 h 4596459"/>
              <a:gd name="connsiteX6817" fmla="*/ 3164192 w 4716235"/>
              <a:gd name="connsiteY6817" fmla="*/ 3439861 h 4596459"/>
              <a:gd name="connsiteX6818" fmla="*/ 3964495 w 4716235"/>
              <a:gd name="connsiteY6818" fmla="*/ 3433748 h 4596459"/>
              <a:gd name="connsiteX6819" fmla="*/ 3975231 w 4716235"/>
              <a:gd name="connsiteY6819" fmla="*/ 3444484 h 4596459"/>
              <a:gd name="connsiteX6820" fmla="*/ 3964495 w 4716235"/>
              <a:gd name="connsiteY6820" fmla="*/ 3455222 h 4596459"/>
              <a:gd name="connsiteX6821" fmla="*/ 3953758 w 4716235"/>
              <a:gd name="connsiteY6821" fmla="*/ 3444484 h 4596459"/>
              <a:gd name="connsiteX6822" fmla="*/ 3964495 w 4716235"/>
              <a:gd name="connsiteY6822" fmla="*/ 3433748 h 4596459"/>
              <a:gd name="connsiteX6823" fmla="*/ 3936413 w 4716235"/>
              <a:gd name="connsiteY6823" fmla="*/ 3433418 h 4596459"/>
              <a:gd name="connsiteX6824" fmla="*/ 3947151 w 4716235"/>
              <a:gd name="connsiteY6824" fmla="*/ 3444155 h 4596459"/>
              <a:gd name="connsiteX6825" fmla="*/ 3936413 w 4716235"/>
              <a:gd name="connsiteY6825" fmla="*/ 3454891 h 4596459"/>
              <a:gd name="connsiteX6826" fmla="*/ 3925677 w 4716235"/>
              <a:gd name="connsiteY6826" fmla="*/ 3444155 h 4596459"/>
              <a:gd name="connsiteX6827" fmla="*/ 3936413 w 4716235"/>
              <a:gd name="connsiteY6827" fmla="*/ 3433418 h 4596459"/>
              <a:gd name="connsiteX6828" fmla="*/ 3638592 w 4716235"/>
              <a:gd name="connsiteY6828" fmla="*/ 3431105 h 4596459"/>
              <a:gd name="connsiteX6829" fmla="*/ 3649331 w 4716235"/>
              <a:gd name="connsiteY6829" fmla="*/ 3441841 h 4596459"/>
              <a:gd name="connsiteX6830" fmla="*/ 3638592 w 4716235"/>
              <a:gd name="connsiteY6830" fmla="*/ 3452579 h 4596459"/>
              <a:gd name="connsiteX6831" fmla="*/ 3627856 w 4716235"/>
              <a:gd name="connsiteY6831" fmla="*/ 3441841 h 4596459"/>
              <a:gd name="connsiteX6832" fmla="*/ 3638592 w 4716235"/>
              <a:gd name="connsiteY6832" fmla="*/ 3431105 h 4596459"/>
              <a:gd name="connsiteX6833" fmla="*/ 3900569 w 4716235"/>
              <a:gd name="connsiteY6833" fmla="*/ 3429785 h 4596459"/>
              <a:gd name="connsiteX6834" fmla="*/ 3911305 w 4716235"/>
              <a:gd name="connsiteY6834" fmla="*/ 3440521 h 4596459"/>
              <a:gd name="connsiteX6835" fmla="*/ 3900569 w 4716235"/>
              <a:gd name="connsiteY6835" fmla="*/ 3451258 h 4596459"/>
              <a:gd name="connsiteX6836" fmla="*/ 3889833 w 4716235"/>
              <a:gd name="connsiteY6836" fmla="*/ 3440521 h 4596459"/>
              <a:gd name="connsiteX6837" fmla="*/ 3900569 w 4716235"/>
              <a:gd name="connsiteY6837" fmla="*/ 3429785 h 4596459"/>
              <a:gd name="connsiteX6838" fmla="*/ 818452 w 4716235"/>
              <a:gd name="connsiteY6838" fmla="*/ 3429619 h 4596459"/>
              <a:gd name="connsiteX6839" fmla="*/ 829189 w 4716235"/>
              <a:gd name="connsiteY6839" fmla="*/ 3440355 h 4596459"/>
              <a:gd name="connsiteX6840" fmla="*/ 818452 w 4716235"/>
              <a:gd name="connsiteY6840" fmla="*/ 3451093 h 4596459"/>
              <a:gd name="connsiteX6841" fmla="*/ 807716 w 4716235"/>
              <a:gd name="connsiteY6841" fmla="*/ 3440355 h 4596459"/>
              <a:gd name="connsiteX6842" fmla="*/ 818452 w 4716235"/>
              <a:gd name="connsiteY6842" fmla="*/ 3429619 h 4596459"/>
              <a:gd name="connsiteX6843" fmla="*/ 4106880 w 4716235"/>
              <a:gd name="connsiteY6843" fmla="*/ 3423507 h 4596459"/>
              <a:gd name="connsiteX6844" fmla="*/ 4117618 w 4716235"/>
              <a:gd name="connsiteY6844" fmla="*/ 3434244 h 4596459"/>
              <a:gd name="connsiteX6845" fmla="*/ 4106880 w 4716235"/>
              <a:gd name="connsiteY6845" fmla="*/ 3444980 h 4596459"/>
              <a:gd name="connsiteX6846" fmla="*/ 4096144 w 4716235"/>
              <a:gd name="connsiteY6846" fmla="*/ 3434244 h 4596459"/>
              <a:gd name="connsiteX6847" fmla="*/ 4106880 w 4716235"/>
              <a:gd name="connsiteY6847" fmla="*/ 3423507 h 4596459"/>
              <a:gd name="connsiteX6848" fmla="*/ 78770 w 4716235"/>
              <a:gd name="connsiteY6848" fmla="*/ 3423178 h 4596459"/>
              <a:gd name="connsiteX6849" fmla="*/ 89506 w 4716235"/>
              <a:gd name="connsiteY6849" fmla="*/ 3433914 h 4596459"/>
              <a:gd name="connsiteX6850" fmla="*/ 78770 w 4716235"/>
              <a:gd name="connsiteY6850" fmla="*/ 3444651 h 4596459"/>
              <a:gd name="connsiteX6851" fmla="*/ 68033 w 4716235"/>
              <a:gd name="connsiteY6851" fmla="*/ 3433914 h 4596459"/>
              <a:gd name="connsiteX6852" fmla="*/ 78770 w 4716235"/>
              <a:gd name="connsiteY6852" fmla="*/ 3423178 h 4596459"/>
              <a:gd name="connsiteX6853" fmla="*/ 3855146 w 4716235"/>
              <a:gd name="connsiteY6853" fmla="*/ 3421360 h 4596459"/>
              <a:gd name="connsiteX6854" fmla="*/ 3865882 w 4716235"/>
              <a:gd name="connsiteY6854" fmla="*/ 3432097 h 4596459"/>
              <a:gd name="connsiteX6855" fmla="*/ 3855146 w 4716235"/>
              <a:gd name="connsiteY6855" fmla="*/ 3442835 h 4596459"/>
              <a:gd name="connsiteX6856" fmla="*/ 3844409 w 4716235"/>
              <a:gd name="connsiteY6856" fmla="*/ 3432097 h 4596459"/>
              <a:gd name="connsiteX6857" fmla="*/ 3855146 w 4716235"/>
              <a:gd name="connsiteY6857" fmla="*/ 3421360 h 4596459"/>
              <a:gd name="connsiteX6858" fmla="*/ 334141 w 4716235"/>
              <a:gd name="connsiteY6858" fmla="*/ 3420864 h 4596459"/>
              <a:gd name="connsiteX6859" fmla="*/ 344877 w 4716235"/>
              <a:gd name="connsiteY6859" fmla="*/ 3431601 h 4596459"/>
              <a:gd name="connsiteX6860" fmla="*/ 334141 w 4716235"/>
              <a:gd name="connsiteY6860" fmla="*/ 3442337 h 4596459"/>
              <a:gd name="connsiteX6861" fmla="*/ 323404 w 4716235"/>
              <a:gd name="connsiteY6861" fmla="*/ 3431601 h 4596459"/>
              <a:gd name="connsiteX6862" fmla="*/ 334141 w 4716235"/>
              <a:gd name="connsiteY6862" fmla="*/ 3420864 h 4596459"/>
              <a:gd name="connsiteX6863" fmla="*/ 4057326 w 4716235"/>
              <a:gd name="connsiteY6863" fmla="*/ 3415249 h 4596459"/>
              <a:gd name="connsiteX6864" fmla="*/ 4064677 w 4716235"/>
              <a:gd name="connsiteY6864" fmla="*/ 3422599 h 4596459"/>
              <a:gd name="connsiteX6865" fmla="*/ 4071697 w 4716235"/>
              <a:gd name="connsiteY6865" fmla="*/ 3415579 h 4596459"/>
              <a:gd name="connsiteX6866" fmla="*/ 4081114 w 4716235"/>
              <a:gd name="connsiteY6866" fmla="*/ 3424993 h 4596459"/>
              <a:gd name="connsiteX6867" fmla="*/ 4087886 w 4716235"/>
              <a:gd name="connsiteY6867" fmla="*/ 3418221 h 4596459"/>
              <a:gd name="connsiteX6868" fmla="*/ 4098622 w 4716235"/>
              <a:gd name="connsiteY6868" fmla="*/ 3428958 h 4596459"/>
              <a:gd name="connsiteX6869" fmla="*/ 4087886 w 4716235"/>
              <a:gd name="connsiteY6869" fmla="*/ 3439696 h 4596459"/>
              <a:gd name="connsiteX6870" fmla="*/ 4078471 w 4716235"/>
              <a:gd name="connsiteY6870" fmla="*/ 3430279 h 4596459"/>
              <a:gd name="connsiteX6871" fmla="*/ 4071697 w 4716235"/>
              <a:gd name="connsiteY6871" fmla="*/ 3437053 h 4596459"/>
              <a:gd name="connsiteX6872" fmla="*/ 4064347 w 4716235"/>
              <a:gd name="connsiteY6872" fmla="*/ 3429702 h 4596459"/>
              <a:gd name="connsiteX6873" fmla="*/ 4057326 w 4716235"/>
              <a:gd name="connsiteY6873" fmla="*/ 3436722 h 4596459"/>
              <a:gd name="connsiteX6874" fmla="*/ 4051627 w 4716235"/>
              <a:gd name="connsiteY6874" fmla="*/ 3431025 h 4596459"/>
              <a:gd name="connsiteX6875" fmla="*/ 4044442 w 4716235"/>
              <a:gd name="connsiteY6875" fmla="*/ 3438208 h 4596459"/>
              <a:gd name="connsiteX6876" fmla="*/ 4039736 w 4716235"/>
              <a:gd name="connsiteY6876" fmla="*/ 3433501 h 4596459"/>
              <a:gd name="connsiteX6877" fmla="*/ 4031889 w 4716235"/>
              <a:gd name="connsiteY6877" fmla="*/ 3441347 h 4596459"/>
              <a:gd name="connsiteX6878" fmla="*/ 4027428 w 4716235"/>
              <a:gd name="connsiteY6878" fmla="*/ 3436887 h 4596459"/>
              <a:gd name="connsiteX6879" fmla="*/ 4019004 w 4716235"/>
              <a:gd name="connsiteY6879" fmla="*/ 3445311 h 4596459"/>
              <a:gd name="connsiteX6880" fmla="*/ 4013636 w 4716235"/>
              <a:gd name="connsiteY6880" fmla="*/ 3439944 h 4596459"/>
              <a:gd name="connsiteX6881" fmla="*/ 4004138 w 4716235"/>
              <a:gd name="connsiteY6881" fmla="*/ 3449442 h 4596459"/>
              <a:gd name="connsiteX6882" fmla="*/ 3997200 w 4716235"/>
              <a:gd name="connsiteY6882" fmla="*/ 3442504 h 4596459"/>
              <a:gd name="connsiteX6883" fmla="*/ 3986628 w 4716235"/>
              <a:gd name="connsiteY6883" fmla="*/ 3453075 h 4596459"/>
              <a:gd name="connsiteX6884" fmla="*/ 3975892 w 4716235"/>
              <a:gd name="connsiteY6884" fmla="*/ 3442337 h 4596459"/>
              <a:gd name="connsiteX6885" fmla="*/ 3986628 w 4716235"/>
              <a:gd name="connsiteY6885" fmla="*/ 3431601 h 4596459"/>
              <a:gd name="connsiteX6886" fmla="*/ 3993567 w 4716235"/>
              <a:gd name="connsiteY6886" fmla="*/ 3438539 h 4596459"/>
              <a:gd name="connsiteX6887" fmla="*/ 4004138 w 4716235"/>
              <a:gd name="connsiteY6887" fmla="*/ 3427968 h 4596459"/>
              <a:gd name="connsiteX6888" fmla="*/ 4009506 w 4716235"/>
              <a:gd name="connsiteY6888" fmla="*/ 3433335 h 4596459"/>
              <a:gd name="connsiteX6889" fmla="*/ 4019004 w 4716235"/>
              <a:gd name="connsiteY6889" fmla="*/ 3423837 h 4596459"/>
              <a:gd name="connsiteX6890" fmla="*/ 4023466 w 4716235"/>
              <a:gd name="connsiteY6890" fmla="*/ 3428299 h 4596459"/>
              <a:gd name="connsiteX6891" fmla="*/ 4031889 w 4716235"/>
              <a:gd name="connsiteY6891" fmla="*/ 3419874 h 4596459"/>
              <a:gd name="connsiteX6892" fmla="*/ 4036597 w 4716235"/>
              <a:gd name="connsiteY6892" fmla="*/ 3424582 h 4596459"/>
              <a:gd name="connsiteX6893" fmla="*/ 4044442 w 4716235"/>
              <a:gd name="connsiteY6893" fmla="*/ 3416735 h 4596459"/>
              <a:gd name="connsiteX6894" fmla="*/ 4050141 w 4716235"/>
              <a:gd name="connsiteY6894" fmla="*/ 3422434 h 4596459"/>
              <a:gd name="connsiteX6895" fmla="*/ 2830029 w 4716235"/>
              <a:gd name="connsiteY6895" fmla="*/ 3412110 h 4596459"/>
              <a:gd name="connsiteX6896" fmla="*/ 2840766 w 4716235"/>
              <a:gd name="connsiteY6896" fmla="*/ 3422847 h 4596459"/>
              <a:gd name="connsiteX6897" fmla="*/ 2830029 w 4716235"/>
              <a:gd name="connsiteY6897" fmla="*/ 3433583 h 4596459"/>
              <a:gd name="connsiteX6898" fmla="*/ 2819293 w 4716235"/>
              <a:gd name="connsiteY6898" fmla="*/ 3422847 h 4596459"/>
              <a:gd name="connsiteX6899" fmla="*/ 2830029 w 4716235"/>
              <a:gd name="connsiteY6899" fmla="*/ 3412110 h 4596459"/>
              <a:gd name="connsiteX6900" fmla="*/ 3797662 w 4716235"/>
              <a:gd name="connsiteY6900" fmla="*/ 3406660 h 4596459"/>
              <a:gd name="connsiteX6901" fmla="*/ 3808401 w 4716235"/>
              <a:gd name="connsiteY6901" fmla="*/ 3417396 h 4596459"/>
              <a:gd name="connsiteX6902" fmla="*/ 3797662 w 4716235"/>
              <a:gd name="connsiteY6902" fmla="*/ 3428134 h 4596459"/>
              <a:gd name="connsiteX6903" fmla="*/ 3786926 w 4716235"/>
              <a:gd name="connsiteY6903" fmla="*/ 3417396 h 4596459"/>
              <a:gd name="connsiteX6904" fmla="*/ 3797662 w 4716235"/>
              <a:gd name="connsiteY6904" fmla="*/ 3406660 h 4596459"/>
              <a:gd name="connsiteX6905" fmla="*/ 3538327 w 4716235"/>
              <a:gd name="connsiteY6905" fmla="*/ 3399060 h 4596459"/>
              <a:gd name="connsiteX6906" fmla="*/ 3549063 w 4716235"/>
              <a:gd name="connsiteY6906" fmla="*/ 3409797 h 4596459"/>
              <a:gd name="connsiteX6907" fmla="*/ 3538327 w 4716235"/>
              <a:gd name="connsiteY6907" fmla="*/ 3420535 h 4596459"/>
              <a:gd name="connsiteX6908" fmla="*/ 3527591 w 4716235"/>
              <a:gd name="connsiteY6908" fmla="*/ 3409797 h 4596459"/>
              <a:gd name="connsiteX6909" fmla="*/ 3538327 w 4716235"/>
              <a:gd name="connsiteY6909" fmla="*/ 3399060 h 4596459"/>
              <a:gd name="connsiteX6910" fmla="*/ 3295345 w 4716235"/>
              <a:gd name="connsiteY6910" fmla="*/ 3398564 h 4596459"/>
              <a:gd name="connsiteX6911" fmla="*/ 3306083 w 4716235"/>
              <a:gd name="connsiteY6911" fmla="*/ 3409301 h 4596459"/>
              <a:gd name="connsiteX6912" fmla="*/ 3295345 w 4716235"/>
              <a:gd name="connsiteY6912" fmla="*/ 3420039 h 4596459"/>
              <a:gd name="connsiteX6913" fmla="*/ 3284608 w 4716235"/>
              <a:gd name="connsiteY6913" fmla="*/ 3409301 h 4596459"/>
              <a:gd name="connsiteX6914" fmla="*/ 3295345 w 4716235"/>
              <a:gd name="connsiteY6914" fmla="*/ 3398564 h 4596459"/>
              <a:gd name="connsiteX6915" fmla="*/ 4137771 w 4716235"/>
              <a:gd name="connsiteY6915" fmla="*/ 3398070 h 4596459"/>
              <a:gd name="connsiteX6916" fmla="*/ 4148176 w 4716235"/>
              <a:gd name="connsiteY6916" fmla="*/ 3408477 h 4596459"/>
              <a:gd name="connsiteX6917" fmla="*/ 4137771 w 4716235"/>
              <a:gd name="connsiteY6917" fmla="*/ 3418884 h 4596459"/>
              <a:gd name="connsiteX6918" fmla="*/ 4127364 w 4716235"/>
              <a:gd name="connsiteY6918" fmla="*/ 3408477 h 4596459"/>
              <a:gd name="connsiteX6919" fmla="*/ 4137771 w 4716235"/>
              <a:gd name="connsiteY6919" fmla="*/ 3398070 h 4596459"/>
              <a:gd name="connsiteX6920" fmla="*/ 656408 w 4716235"/>
              <a:gd name="connsiteY6920" fmla="*/ 3396253 h 4596459"/>
              <a:gd name="connsiteX6921" fmla="*/ 667145 w 4716235"/>
              <a:gd name="connsiteY6921" fmla="*/ 3406989 h 4596459"/>
              <a:gd name="connsiteX6922" fmla="*/ 656408 w 4716235"/>
              <a:gd name="connsiteY6922" fmla="*/ 3417726 h 4596459"/>
              <a:gd name="connsiteX6923" fmla="*/ 645672 w 4716235"/>
              <a:gd name="connsiteY6923" fmla="*/ 3406989 h 4596459"/>
              <a:gd name="connsiteX6924" fmla="*/ 656408 w 4716235"/>
              <a:gd name="connsiteY6924" fmla="*/ 3396253 h 4596459"/>
              <a:gd name="connsiteX6925" fmla="*/ 4118279 w 4716235"/>
              <a:gd name="connsiteY6925" fmla="*/ 3390306 h 4596459"/>
              <a:gd name="connsiteX6926" fmla="*/ 4129015 w 4716235"/>
              <a:gd name="connsiteY6926" fmla="*/ 3401043 h 4596459"/>
              <a:gd name="connsiteX6927" fmla="*/ 4118279 w 4716235"/>
              <a:gd name="connsiteY6927" fmla="*/ 3411781 h 4596459"/>
              <a:gd name="connsiteX6928" fmla="*/ 4107543 w 4716235"/>
              <a:gd name="connsiteY6928" fmla="*/ 3401043 h 4596459"/>
              <a:gd name="connsiteX6929" fmla="*/ 4118279 w 4716235"/>
              <a:gd name="connsiteY6929" fmla="*/ 3390306 h 4596459"/>
              <a:gd name="connsiteX6930" fmla="*/ 1833987 w 4716235"/>
              <a:gd name="connsiteY6930" fmla="*/ 3389481 h 4596459"/>
              <a:gd name="connsiteX6931" fmla="*/ 1844725 w 4716235"/>
              <a:gd name="connsiteY6931" fmla="*/ 3400217 h 4596459"/>
              <a:gd name="connsiteX6932" fmla="*/ 1833987 w 4716235"/>
              <a:gd name="connsiteY6932" fmla="*/ 3410954 h 4596459"/>
              <a:gd name="connsiteX6933" fmla="*/ 1823251 w 4716235"/>
              <a:gd name="connsiteY6933" fmla="*/ 3400217 h 4596459"/>
              <a:gd name="connsiteX6934" fmla="*/ 1833987 w 4716235"/>
              <a:gd name="connsiteY6934" fmla="*/ 3389481 h 4596459"/>
              <a:gd name="connsiteX6935" fmla="*/ 3985473 w 4716235"/>
              <a:gd name="connsiteY6935" fmla="*/ 3388818 h 4596459"/>
              <a:gd name="connsiteX6936" fmla="*/ 3996211 w 4716235"/>
              <a:gd name="connsiteY6936" fmla="*/ 3399555 h 4596459"/>
              <a:gd name="connsiteX6937" fmla="*/ 3985473 w 4716235"/>
              <a:gd name="connsiteY6937" fmla="*/ 3410293 h 4596459"/>
              <a:gd name="connsiteX6938" fmla="*/ 3974737 w 4716235"/>
              <a:gd name="connsiteY6938" fmla="*/ 3399555 h 4596459"/>
              <a:gd name="connsiteX6939" fmla="*/ 3985473 w 4716235"/>
              <a:gd name="connsiteY6939" fmla="*/ 3388818 h 4596459"/>
              <a:gd name="connsiteX6940" fmla="*/ 1633456 w 4716235"/>
              <a:gd name="connsiteY6940" fmla="*/ 3387828 h 4596459"/>
              <a:gd name="connsiteX6941" fmla="*/ 1644192 w 4716235"/>
              <a:gd name="connsiteY6941" fmla="*/ 3398564 h 4596459"/>
              <a:gd name="connsiteX6942" fmla="*/ 1633456 w 4716235"/>
              <a:gd name="connsiteY6942" fmla="*/ 3409301 h 4596459"/>
              <a:gd name="connsiteX6943" fmla="*/ 1622720 w 4716235"/>
              <a:gd name="connsiteY6943" fmla="*/ 3398564 h 4596459"/>
              <a:gd name="connsiteX6944" fmla="*/ 1633456 w 4716235"/>
              <a:gd name="connsiteY6944" fmla="*/ 3387828 h 4596459"/>
              <a:gd name="connsiteX6945" fmla="*/ 3726138 w 4716235"/>
              <a:gd name="connsiteY6945" fmla="*/ 3384856 h 4596459"/>
              <a:gd name="connsiteX6946" fmla="*/ 3736874 w 4716235"/>
              <a:gd name="connsiteY6946" fmla="*/ 3395592 h 4596459"/>
              <a:gd name="connsiteX6947" fmla="*/ 3726138 w 4716235"/>
              <a:gd name="connsiteY6947" fmla="*/ 3406328 h 4596459"/>
              <a:gd name="connsiteX6948" fmla="*/ 3715401 w 4716235"/>
              <a:gd name="connsiteY6948" fmla="*/ 3395592 h 4596459"/>
              <a:gd name="connsiteX6949" fmla="*/ 3726138 w 4716235"/>
              <a:gd name="connsiteY6949" fmla="*/ 3384856 h 4596459"/>
              <a:gd name="connsiteX6950" fmla="*/ 3955741 w 4716235"/>
              <a:gd name="connsiteY6950" fmla="*/ 3384029 h 4596459"/>
              <a:gd name="connsiteX6951" fmla="*/ 3966477 w 4716235"/>
              <a:gd name="connsiteY6951" fmla="*/ 3394765 h 4596459"/>
              <a:gd name="connsiteX6952" fmla="*/ 3955741 w 4716235"/>
              <a:gd name="connsiteY6952" fmla="*/ 3405503 h 4596459"/>
              <a:gd name="connsiteX6953" fmla="*/ 3945004 w 4716235"/>
              <a:gd name="connsiteY6953" fmla="*/ 3394765 h 4596459"/>
              <a:gd name="connsiteX6954" fmla="*/ 3955741 w 4716235"/>
              <a:gd name="connsiteY6954" fmla="*/ 3384029 h 4596459"/>
              <a:gd name="connsiteX6955" fmla="*/ 2033691 w 4716235"/>
              <a:gd name="connsiteY6955" fmla="*/ 3383864 h 4596459"/>
              <a:gd name="connsiteX6956" fmla="*/ 2044429 w 4716235"/>
              <a:gd name="connsiteY6956" fmla="*/ 3394600 h 4596459"/>
              <a:gd name="connsiteX6957" fmla="*/ 2033691 w 4716235"/>
              <a:gd name="connsiteY6957" fmla="*/ 3405336 h 4596459"/>
              <a:gd name="connsiteX6958" fmla="*/ 2022954 w 4716235"/>
              <a:gd name="connsiteY6958" fmla="*/ 3394600 h 4596459"/>
              <a:gd name="connsiteX6959" fmla="*/ 2033691 w 4716235"/>
              <a:gd name="connsiteY6959" fmla="*/ 3383864 h 4596459"/>
              <a:gd name="connsiteX6960" fmla="*/ 4075497 w 4716235"/>
              <a:gd name="connsiteY6960" fmla="*/ 3382213 h 4596459"/>
              <a:gd name="connsiteX6961" fmla="*/ 4081937 w 4716235"/>
              <a:gd name="connsiteY6961" fmla="*/ 3388655 h 4596459"/>
              <a:gd name="connsiteX6962" fmla="*/ 4087719 w 4716235"/>
              <a:gd name="connsiteY6962" fmla="*/ 3382874 h 4596459"/>
              <a:gd name="connsiteX6963" fmla="*/ 4095979 w 4716235"/>
              <a:gd name="connsiteY6963" fmla="*/ 3391132 h 4596459"/>
              <a:gd name="connsiteX6964" fmla="*/ 4101761 w 4716235"/>
              <a:gd name="connsiteY6964" fmla="*/ 3385350 h 4596459"/>
              <a:gd name="connsiteX6965" fmla="*/ 4112497 w 4716235"/>
              <a:gd name="connsiteY6965" fmla="*/ 3396086 h 4596459"/>
              <a:gd name="connsiteX6966" fmla="*/ 4101761 w 4716235"/>
              <a:gd name="connsiteY6966" fmla="*/ 3406823 h 4596459"/>
              <a:gd name="connsiteX6967" fmla="*/ 4093503 w 4716235"/>
              <a:gd name="connsiteY6967" fmla="*/ 3398564 h 4596459"/>
              <a:gd name="connsiteX6968" fmla="*/ 4087719 w 4716235"/>
              <a:gd name="connsiteY6968" fmla="*/ 3404346 h 4596459"/>
              <a:gd name="connsiteX6969" fmla="*/ 4081277 w 4716235"/>
              <a:gd name="connsiteY6969" fmla="*/ 3397905 h 4596459"/>
              <a:gd name="connsiteX6970" fmla="*/ 4075497 w 4716235"/>
              <a:gd name="connsiteY6970" fmla="*/ 3403686 h 4596459"/>
              <a:gd name="connsiteX6971" fmla="*/ 4070375 w 4716235"/>
              <a:gd name="connsiteY6971" fmla="*/ 3398564 h 4596459"/>
              <a:gd name="connsiteX6972" fmla="*/ 4064264 w 4716235"/>
              <a:gd name="connsiteY6972" fmla="*/ 3404676 h 4596459"/>
              <a:gd name="connsiteX6973" fmla="*/ 4059641 w 4716235"/>
              <a:gd name="connsiteY6973" fmla="*/ 3400052 h 4596459"/>
              <a:gd name="connsiteX6974" fmla="*/ 4053032 w 4716235"/>
              <a:gd name="connsiteY6974" fmla="*/ 3406660 h 4596459"/>
              <a:gd name="connsiteX6975" fmla="*/ 4048077 w 4716235"/>
              <a:gd name="connsiteY6975" fmla="*/ 3401703 h 4596459"/>
              <a:gd name="connsiteX6976" fmla="*/ 4040808 w 4716235"/>
              <a:gd name="connsiteY6976" fmla="*/ 3408971 h 4596459"/>
              <a:gd name="connsiteX6977" fmla="*/ 4034613 w 4716235"/>
              <a:gd name="connsiteY6977" fmla="*/ 3402779 h 4596459"/>
              <a:gd name="connsiteX6978" fmla="*/ 4026438 w 4716235"/>
              <a:gd name="connsiteY6978" fmla="*/ 3410954 h 4596459"/>
              <a:gd name="connsiteX6979" fmla="*/ 4017767 w 4716235"/>
              <a:gd name="connsiteY6979" fmla="*/ 3402283 h 4596459"/>
              <a:gd name="connsiteX6980" fmla="*/ 4008434 w 4716235"/>
              <a:gd name="connsiteY6980" fmla="*/ 3411614 h 4596459"/>
              <a:gd name="connsiteX6981" fmla="*/ 3997697 w 4716235"/>
              <a:gd name="connsiteY6981" fmla="*/ 3400878 h 4596459"/>
              <a:gd name="connsiteX6982" fmla="*/ 4008434 w 4716235"/>
              <a:gd name="connsiteY6982" fmla="*/ 3390142 h 4596459"/>
              <a:gd name="connsiteX6983" fmla="*/ 4017106 w 4716235"/>
              <a:gd name="connsiteY6983" fmla="*/ 3398814 h 4596459"/>
              <a:gd name="connsiteX6984" fmla="*/ 4026438 w 4716235"/>
              <a:gd name="connsiteY6984" fmla="*/ 3389481 h 4596459"/>
              <a:gd name="connsiteX6985" fmla="*/ 4032631 w 4716235"/>
              <a:gd name="connsiteY6985" fmla="*/ 3395675 h 4596459"/>
              <a:gd name="connsiteX6986" fmla="*/ 4040808 w 4716235"/>
              <a:gd name="connsiteY6986" fmla="*/ 3387499 h 4596459"/>
              <a:gd name="connsiteX6987" fmla="*/ 4045764 w 4716235"/>
              <a:gd name="connsiteY6987" fmla="*/ 3392455 h 4596459"/>
              <a:gd name="connsiteX6988" fmla="*/ 4053032 w 4716235"/>
              <a:gd name="connsiteY6988" fmla="*/ 3385185 h 4596459"/>
              <a:gd name="connsiteX6989" fmla="*/ 4057657 w 4716235"/>
              <a:gd name="connsiteY6989" fmla="*/ 3389810 h 4596459"/>
              <a:gd name="connsiteX6990" fmla="*/ 4064264 w 4716235"/>
              <a:gd name="connsiteY6990" fmla="*/ 3383203 h 4596459"/>
              <a:gd name="connsiteX6991" fmla="*/ 4069385 w 4716235"/>
              <a:gd name="connsiteY6991" fmla="*/ 3388324 h 4596459"/>
              <a:gd name="connsiteX6992" fmla="*/ 4168494 w 4716235"/>
              <a:gd name="connsiteY6992" fmla="*/ 3381882 h 4596459"/>
              <a:gd name="connsiteX6993" fmla="*/ 4170643 w 4716235"/>
              <a:gd name="connsiteY6993" fmla="*/ 3384029 h 4596459"/>
              <a:gd name="connsiteX6994" fmla="*/ 4168494 w 4716235"/>
              <a:gd name="connsiteY6994" fmla="*/ 3386175 h 4596459"/>
              <a:gd name="connsiteX6995" fmla="*/ 4166347 w 4716235"/>
              <a:gd name="connsiteY6995" fmla="*/ 3384029 h 4596459"/>
              <a:gd name="connsiteX6996" fmla="*/ 4168494 w 4716235"/>
              <a:gd name="connsiteY6996" fmla="*/ 3381882 h 4596459"/>
              <a:gd name="connsiteX6997" fmla="*/ 1434909 w 4716235"/>
              <a:gd name="connsiteY6997" fmla="*/ 3378743 h 4596459"/>
              <a:gd name="connsiteX6998" fmla="*/ 1445647 w 4716235"/>
              <a:gd name="connsiteY6998" fmla="*/ 3389479 h 4596459"/>
              <a:gd name="connsiteX6999" fmla="*/ 1434909 w 4716235"/>
              <a:gd name="connsiteY6999" fmla="*/ 3400215 h 4596459"/>
              <a:gd name="connsiteX7000" fmla="*/ 1424173 w 4716235"/>
              <a:gd name="connsiteY7000" fmla="*/ 3389479 h 4596459"/>
              <a:gd name="connsiteX7001" fmla="*/ 1434909 w 4716235"/>
              <a:gd name="connsiteY7001" fmla="*/ 3378743 h 4596459"/>
              <a:gd name="connsiteX7002" fmla="*/ 207446 w 4716235"/>
              <a:gd name="connsiteY7002" fmla="*/ 3378743 h 4596459"/>
              <a:gd name="connsiteX7003" fmla="*/ 218183 w 4716235"/>
              <a:gd name="connsiteY7003" fmla="*/ 3389479 h 4596459"/>
              <a:gd name="connsiteX7004" fmla="*/ 207446 w 4716235"/>
              <a:gd name="connsiteY7004" fmla="*/ 3400215 h 4596459"/>
              <a:gd name="connsiteX7005" fmla="*/ 196710 w 4716235"/>
              <a:gd name="connsiteY7005" fmla="*/ 3389479 h 4596459"/>
              <a:gd name="connsiteX7006" fmla="*/ 207446 w 4716235"/>
              <a:gd name="connsiteY7006" fmla="*/ 3378743 h 4596459"/>
              <a:gd name="connsiteX7007" fmla="*/ 2987117 w 4716235"/>
              <a:gd name="connsiteY7007" fmla="*/ 3376925 h 4596459"/>
              <a:gd name="connsiteX7008" fmla="*/ 2997855 w 4716235"/>
              <a:gd name="connsiteY7008" fmla="*/ 3387662 h 4596459"/>
              <a:gd name="connsiteX7009" fmla="*/ 2987117 w 4716235"/>
              <a:gd name="connsiteY7009" fmla="*/ 3398400 h 4596459"/>
              <a:gd name="connsiteX7010" fmla="*/ 2976381 w 4716235"/>
              <a:gd name="connsiteY7010" fmla="*/ 3387662 h 4596459"/>
              <a:gd name="connsiteX7011" fmla="*/ 2987117 w 4716235"/>
              <a:gd name="connsiteY7011" fmla="*/ 3376925 h 4596459"/>
              <a:gd name="connsiteX7012" fmla="*/ 3917254 w 4716235"/>
              <a:gd name="connsiteY7012" fmla="*/ 3375110 h 4596459"/>
              <a:gd name="connsiteX7013" fmla="*/ 3927990 w 4716235"/>
              <a:gd name="connsiteY7013" fmla="*/ 3385846 h 4596459"/>
              <a:gd name="connsiteX7014" fmla="*/ 3917254 w 4716235"/>
              <a:gd name="connsiteY7014" fmla="*/ 3396582 h 4596459"/>
              <a:gd name="connsiteX7015" fmla="*/ 3906517 w 4716235"/>
              <a:gd name="connsiteY7015" fmla="*/ 3385846 h 4596459"/>
              <a:gd name="connsiteX7016" fmla="*/ 3917254 w 4716235"/>
              <a:gd name="connsiteY7016" fmla="*/ 3375110 h 4596459"/>
              <a:gd name="connsiteX7017" fmla="*/ 2230256 w 4716235"/>
              <a:gd name="connsiteY7017" fmla="*/ 3370981 h 4596459"/>
              <a:gd name="connsiteX7018" fmla="*/ 2240994 w 4716235"/>
              <a:gd name="connsiteY7018" fmla="*/ 3381717 h 4596459"/>
              <a:gd name="connsiteX7019" fmla="*/ 2230256 w 4716235"/>
              <a:gd name="connsiteY7019" fmla="*/ 3392453 h 4596459"/>
              <a:gd name="connsiteX7020" fmla="*/ 2219520 w 4716235"/>
              <a:gd name="connsiteY7020" fmla="*/ 3381717 h 4596459"/>
              <a:gd name="connsiteX7021" fmla="*/ 2230256 w 4716235"/>
              <a:gd name="connsiteY7021" fmla="*/ 3370981 h 4596459"/>
              <a:gd name="connsiteX7022" fmla="*/ 4148176 w 4716235"/>
              <a:gd name="connsiteY7022" fmla="*/ 3363546 h 4596459"/>
              <a:gd name="connsiteX7023" fmla="*/ 4158914 w 4716235"/>
              <a:gd name="connsiteY7023" fmla="*/ 3374282 h 4596459"/>
              <a:gd name="connsiteX7024" fmla="*/ 4148176 w 4716235"/>
              <a:gd name="connsiteY7024" fmla="*/ 3385020 h 4596459"/>
              <a:gd name="connsiteX7025" fmla="*/ 4137440 w 4716235"/>
              <a:gd name="connsiteY7025" fmla="*/ 3374282 h 4596459"/>
              <a:gd name="connsiteX7026" fmla="*/ 4148176 w 4716235"/>
              <a:gd name="connsiteY7026" fmla="*/ 3363546 h 4596459"/>
              <a:gd name="connsiteX7027" fmla="*/ 1240656 w 4716235"/>
              <a:gd name="connsiteY7027" fmla="*/ 3362721 h 4596459"/>
              <a:gd name="connsiteX7028" fmla="*/ 1251392 w 4716235"/>
              <a:gd name="connsiteY7028" fmla="*/ 3373457 h 4596459"/>
              <a:gd name="connsiteX7029" fmla="*/ 1240656 w 4716235"/>
              <a:gd name="connsiteY7029" fmla="*/ 3384193 h 4596459"/>
              <a:gd name="connsiteX7030" fmla="*/ 1229919 w 4716235"/>
              <a:gd name="connsiteY7030" fmla="*/ 3373457 h 4596459"/>
              <a:gd name="connsiteX7031" fmla="*/ 1240656 w 4716235"/>
              <a:gd name="connsiteY7031" fmla="*/ 3362721 h 4596459"/>
              <a:gd name="connsiteX7032" fmla="*/ 3868358 w 4716235"/>
              <a:gd name="connsiteY7032" fmla="*/ 3360407 h 4596459"/>
              <a:gd name="connsiteX7033" fmla="*/ 3879096 w 4716235"/>
              <a:gd name="connsiteY7033" fmla="*/ 3371144 h 4596459"/>
              <a:gd name="connsiteX7034" fmla="*/ 3868358 w 4716235"/>
              <a:gd name="connsiteY7034" fmla="*/ 3381882 h 4596459"/>
              <a:gd name="connsiteX7035" fmla="*/ 3857622 w 4716235"/>
              <a:gd name="connsiteY7035" fmla="*/ 3371144 h 4596459"/>
              <a:gd name="connsiteX7036" fmla="*/ 3868358 w 4716235"/>
              <a:gd name="connsiteY7036" fmla="*/ 3360407 h 4596459"/>
              <a:gd name="connsiteX7037" fmla="*/ 503781 w 4716235"/>
              <a:gd name="connsiteY7037" fmla="*/ 3359582 h 4596459"/>
              <a:gd name="connsiteX7038" fmla="*/ 514519 w 4716235"/>
              <a:gd name="connsiteY7038" fmla="*/ 3370318 h 4596459"/>
              <a:gd name="connsiteX7039" fmla="*/ 503781 w 4716235"/>
              <a:gd name="connsiteY7039" fmla="*/ 3381054 h 4596459"/>
              <a:gd name="connsiteX7040" fmla="*/ 493044 w 4716235"/>
              <a:gd name="connsiteY7040" fmla="*/ 3370318 h 4596459"/>
              <a:gd name="connsiteX7041" fmla="*/ 503781 w 4716235"/>
              <a:gd name="connsiteY7041" fmla="*/ 3359582 h 4596459"/>
              <a:gd name="connsiteX7042" fmla="*/ 3417249 w 4716235"/>
              <a:gd name="connsiteY7042" fmla="*/ 3355617 h 4596459"/>
              <a:gd name="connsiteX7043" fmla="*/ 3427988 w 4716235"/>
              <a:gd name="connsiteY7043" fmla="*/ 3366354 h 4596459"/>
              <a:gd name="connsiteX7044" fmla="*/ 3417249 w 4716235"/>
              <a:gd name="connsiteY7044" fmla="*/ 3377092 h 4596459"/>
              <a:gd name="connsiteX7045" fmla="*/ 3406513 w 4716235"/>
              <a:gd name="connsiteY7045" fmla="*/ 3366354 h 4596459"/>
              <a:gd name="connsiteX7046" fmla="*/ 3417249 w 4716235"/>
              <a:gd name="connsiteY7046" fmla="*/ 3355617 h 4596459"/>
              <a:gd name="connsiteX7047" fmla="*/ 3637767 w 4716235"/>
              <a:gd name="connsiteY7047" fmla="*/ 3353802 h 4596459"/>
              <a:gd name="connsiteX7048" fmla="*/ 3648503 w 4716235"/>
              <a:gd name="connsiteY7048" fmla="*/ 3364538 h 4596459"/>
              <a:gd name="connsiteX7049" fmla="*/ 3637767 w 4716235"/>
              <a:gd name="connsiteY7049" fmla="*/ 3375274 h 4596459"/>
              <a:gd name="connsiteX7050" fmla="*/ 3627031 w 4716235"/>
              <a:gd name="connsiteY7050" fmla="*/ 3364538 h 4596459"/>
              <a:gd name="connsiteX7051" fmla="*/ 3637767 w 4716235"/>
              <a:gd name="connsiteY7051" fmla="*/ 3353802 h 4596459"/>
              <a:gd name="connsiteX7052" fmla="*/ 2421205 w 4716235"/>
              <a:gd name="connsiteY7052" fmla="*/ 3351488 h 4596459"/>
              <a:gd name="connsiteX7053" fmla="*/ 2431942 w 4716235"/>
              <a:gd name="connsiteY7053" fmla="*/ 3362225 h 4596459"/>
              <a:gd name="connsiteX7054" fmla="*/ 2421205 w 4716235"/>
              <a:gd name="connsiteY7054" fmla="*/ 3372963 h 4596459"/>
              <a:gd name="connsiteX7055" fmla="*/ 2410469 w 4716235"/>
              <a:gd name="connsiteY7055" fmla="*/ 3362225 h 4596459"/>
              <a:gd name="connsiteX7056" fmla="*/ 2421205 w 4716235"/>
              <a:gd name="connsiteY7056" fmla="*/ 3351488 h 4596459"/>
              <a:gd name="connsiteX7057" fmla="*/ 4030402 w 4716235"/>
              <a:gd name="connsiteY7057" fmla="*/ 3345046 h 4596459"/>
              <a:gd name="connsiteX7058" fmla="*/ 4040974 w 4716235"/>
              <a:gd name="connsiteY7058" fmla="*/ 3355617 h 4596459"/>
              <a:gd name="connsiteX7059" fmla="*/ 4048903 w 4716235"/>
              <a:gd name="connsiteY7059" fmla="*/ 3347689 h 4596459"/>
              <a:gd name="connsiteX7060" fmla="*/ 4056502 w 4716235"/>
              <a:gd name="connsiteY7060" fmla="*/ 3355286 h 4596459"/>
              <a:gd name="connsiteX7061" fmla="*/ 4063274 w 4716235"/>
              <a:gd name="connsiteY7061" fmla="*/ 3348514 h 4596459"/>
              <a:gd name="connsiteX7062" fmla="*/ 4068973 w 4716235"/>
              <a:gd name="connsiteY7062" fmla="*/ 3354213 h 4596459"/>
              <a:gd name="connsiteX7063" fmla="*/ 4074836 w 4716235"/>
              <a:gd name="connsiteY7063" fmla="*/ 3348349 h 4596459"/>
              <a:gd name="connsiteX7064" fmla="*/ 4079709 w 4716235"/>
              <a:gd name="connsiteY7064" fmla="*/ 3353222 h 4596459"/>
              <a:gd name="connsiteX7065" fmla="*/ 4085076 w 4716235"/>
              <a:gd name="connsiteY7065" fmla="*/ 3347855 h 4596459"/>
              <a:gd name="connsiteX7066" fmla="*/ 4089949 w 4716235"/>
              <a:gd name="connsiteY7066" fmla="*/ 3352728 h 4596459"/>
              <a:gd name="connsiteX7067" fmla="*/ 4094822 w 4716235"/>
              <a:gd name="connsiteY7067" fmla="*/ 3347855 h 4596459"/>
              <a:gd name="connsiteX7068" fmla="*/ 4100602 w 4716235"/>
              <a:gd name="connsiteY7068" fmla="*/ 3353637 h 4596459"/>
              <a:gd name="connsiteX7069" fmla="*/ 4105229 w 4716235"/>
              <a:gd name="connsiteY7069" fmla="*/ 3349010 h 4596459"/>
              <a:gd name="connsiteX7070" fmla="*/ 4112497 w 4716235"/>
              <a:gd name="connsiteY7070" fmla="*/ 3356278 h 4596459"/>
              <a:gd name="connsiteX7071" fmla="*/ 4117122 w 4716235"/>
              <a:gd name="connsiteY7071" fmla="*/ 3351653 h 4596459"/>
              <a:gd name="connsiteX7072" fmla="*/ 4126622 w 4716235"/>
              <a:gd name="connsiteY7072" fmla="*/ 3361151 h 4596459"/>
              <a:gd name="connsiteX7073" fmla="*/ 4131329 w 4716235"/>
              <a:gd name="connsiteY7073" fmla="*/ 3356445 h 4596459"/>
              <a:gd name="connsiteX7074" fmla="*/ 4142065 w 4716235"/>
              <a:gd name="connsiteY7074" fmla="*/ 3367181 h 4596459"/>
              <a:gd name="connsiteX7075" fmla="*/ 4131329 w 4716235"/>
              <a:gd name="connsiteY7075" fmla="*/ 3377917 h 4596459"/>
              <a:gd name="connsiteX7076" fmla="*/ 4121831 w 4716235"/>
              <a:gd name="connsiteY7076" fmla="*/ 3368419 h 4596459"/>
              <a:gd name="connsiteX7077" fmla="*/ 4117122 w 4716235"/>
              <a:gd name="connsiteY7077" fmla="*/ 3373127 h 4596459"/>
              <a:gd name="connsiteX7078" fmla="*/ 4109854 w 4716235"/>
              <a:gd name="connsiteY7078" fmla="*/ 3365859 h 4596459"/>
              <a:gd name="connsiteX7079" fmla="*/ 4105229 w 4716235"/>
              <a:gd name="connsiteY7079" fmla="*/ 3370485 h 4596459"/>
              <a:gd name="connsiteX7080" fmla="*/ 4099447 w 4716235"/>
              <a:gd name="connsiteY7080" fmla="*/ 3364703 h 4596459"/>
              <a:gd name="connsiteX7081" fmla="*/ 4094822 w 4716235"/>
              <a:gd name="connsiteY7081" fmla="*/ 3369328 h 4596459"/>
              <a:gd name="connsiteX7082" fmla="*/ 4089949 w 4716235"/>
              <a:gd name="connsiteY7082" fmla="*/ 3364455 h 4596459"/>
              <a:gd name="connsiteX7083" fmla="*/ 4085076 w 4716235"/>
              <a:gd name="connsiteY7083" fmla="*/ 3369328 h 4596459"/>
              <a:gd name="connsiteX7084" fmla="*/ 4080203 w 4716235"/>
              <a:gd name="connsiteY7084" fmla="*/ 3364455 h 4596459"/>
              <a:gd name="connsiteX7085" fmla="*/ 4074836 w 4716235"/>
              <a:gd name="connsiteY7085" fmla="*/ 3369822 h 4596459"/>
              <a:gd name="connsiteX7086" fmla="*/ 4069137 w 4716235"/>
              <a:gd name="connsiteY7086" fmla="*/ 3364124 h 4596459"/>
              <a:gd name="connsiteX7087" fmla="*/ 4063274 w 4716235"/>
              <a:gd name="connsiteY7087" fmla="*/ 3369989 h 4596459"/>
              <a:gd name="connsiteX7088" fmla="*/ 4055677 w 4716235"/>
              <a:gd name="connsiteY7088" fmla="*/ 3362389 h 4596459"/>
              <a:gd name="connsiteX7089" fmla="*/ 4048903 w 4716235"/>
              <a:gd name="connsiteY7089" fmla="*/ 3369161 h 4596459"/>
              <a:gd name="connsiteX7090" fmla="*/ 4038331 w 4716235"/>
              <a:gd name="connsiteY7090" fmla="*/ 3358591 h 4596459"/>
              <a:gd name="connsiteX7091" fmla="*/ 4030402 w 4716235"/>
              <a:gd name="connsiteY7091" fmla="*/ 3366518 h 4596459"/>
              <a:gd name="connsiteX7092" fmla="*/ 4019666 w 4716235"/>
              <a:gd name="connsiteY7092" fmla="*/ 3355782 h 4596459"/>
              <a:gd name="connsiteX7093" fmla="*/ 4030402 w 4716235"/>
              <a:gd name="connsiteY7093" fmla="*/ 3345046 h 4596459"/>
              <a:gd name="connsiteX7094" fmla="*/ 1053010 w 4716235"/>
              <a:gd name="connsiteY7094" fmla="*/ 3340421 h 4596459"/>
              <a:gd name="connsiteX7095" fmla="*/ 1063746 w 4716235"/>
              <a:gd name="connsiteY7095" fmla="*/ 3351157 h 4596459"/>
              <a:gd name="connsiteX7096" fmla="*/ 1053010 w 4716235"/>
              <a:gd name="connsiteY7096" fmla="*/ 3361893 h 4596459"/>
              <a:gd name="connsiteX7097" fmla="*/ 1042273 w 4716235"/>
              <a:gd name="connsiteY7097" fmla="*/ 3351157 h 4596459"/>
              <a:gd name="connsiteX7098" fmla="*/ 1053010 w 4716235"/>
              <a:gd name="connsiteY7098" fmla="*/ 3340421 h 4596459"/>
              <a:gd name="connsiteX7099" fmla="*/ 4005956 w 4716235"/>
              <a:gd name="connsiteY7099" fmla="*/ 3339264 h 4596459"/>
              <a:gd name="connsiteX7100" fmla="*/ 4016692 w 4716235"/>
              <a:gd name="connsiteY7100" fmla="*/ 3350000 h 4596459"/>
              <a:gd name="connsiteX7101" fmla="*/ 4005956 w 4716235"/>
              <a:gd name="connsiteY7101" fmla="*/ 3360738 h 4596459"/>
              <a:gd name="connsiteX7102" fmla="*/ 3995219 w 4716235"/>
              <a:gd name="connsiteY7102" fmla="*/ 3350000 h 4596459"/>
              <a:gd name="connsiteX7103" fmla="*/ 4005956 w 4716235"/>
              <a:gd name="connsiteY7103" fmla="*/ 3339264 h 4596459"/>
              <a:gd name="connsiteX7104" fmla="*/ 3134459 w 4716235"/>
              <a:gd name="connsiteY7104" fmla="*/ 3338934 h 4596459"/>
              <a:gd name="connsiteX7105" fmla="*/ 3145195 w 4716235"/>
              <a:gd name="connsiteY7105" fmla="*/ 3349671 h 4596459"/>
              <a:gd name="connsiteX7106" fmla="*/ 3134459 w 4716235"/>
              <a:gd name="connsiteY7106" fmla="*/ 3360407 h 4596459"/>
              <a:gd name="connsiteX7107" fmla="*/ 3123723 w 4716235"/>
              <a:gd name="connsiteY7107" fmla="*/ 3349671 h 4596459"/>
              <a:gd name="connsiteX7108" fmla="*/ 3134459 w 4716235"/>
              <a:gd name="connsiteY7108" fmla="*/ 3338934 h 4596459"/>
              <a:gd name="connsiteX7109" fmla="*/ 3806417 w 4716235"/>
              <a:gd name="connsiteY7109" fmla="*/ 3338603 h 4596459"/>
              <a:gd name="connsiteX7110" fmla="*/ 3817155 w 4716235"/>
              <a:gd name="connsiteY7110" fmla="*/ 3349340 h 4596459"/>
              <a:gd name="connsiteX7111" fmla="*/ 3806417 w 4716235"/>
              <a:gd name="connsiteY7111" fmla="*/ 3360078 h 4596459"/>
              <a:gd name="connsiteX7112" fmla="*/ 3795680 w 4716235"/>
              <a:gd name="connsiteY7112" fmla="*/ 3349340 h 4596459"/>
              <a:gd name="connsiteX7113" fmla="*/ 3806417 w 4716235"/>
              <a:gd name="connsiteY7113" fmla="*/ 3338603 h 4596459"/>
              <a:gd name="connsiteX7114" fmla="*/ 4177744 w 4716235"/>
              <a:gd name="connsiteY7114" fmla="*/ 3338109 h 4596459"/>
              <a:gd name="connsiteX7115" fmla="*/ 4188481 w 4716235"/>
              <a:gd name="connsiteY7115" fmla="*/ 3348845 h 4596459"/>
              <a:gd name="connsiteX7116" fmla="*/ 4177744 w 4716235"/>
              <a:gd name="connsiteY7116" fmla="*/ 3359583 h 4596459"/>
              <a:gd name="connsiteX7117" fmla="*/ 4167008 w 4716235"/>
              <a:gd name="connsiteY7117" fmla="*/ 3348845 h 4596459"/>
              <a:gd name="connsiteX7118" fmla="*/ 4177744 w 4716235"/>
              <a:gd name="connsiteY7118" fmla="*/ 3338109 h 4596459"/>
              <a:gd name="connsiteX7119" fmla="*/ 89671 w 4716235"/>
              <a:gd name="connsiteY7119" fmla="*/ 3335466 h 4596459"/>
              <a:gd name="connsiteX7120" fmla="*/ 100409 w 4716235"/>
              <a:gd name="connsiteY7120" fmla="*/ 3346202 h 4596459"/>
              <a:gd name="connsiteX7121" fmla="*/ 89671 w 4716235"/>
              <a:gd name="connsiteY7121" fmla="*/ 3356939 h 4596459"/>
              <a:gd name="connsiteX7122" fmla="*/ 78934 w 4716235"/>
              <a:gd name="connsiteY7122" fmla="*/ 3346202 h 4596459"/>
              <a:gd name="connsiteX7123" fmla="*/ 89671 w 4716235"/>
              <a:gd name="connsiteY7123" fmla="*/ 3335466 h 4596459"/>
              <a:gd name="connsiteX7124" fmla="*/ 3974074 w 4716235"/>
              <a:gd name="connsiteY7124" fmla="*/ 3329684 h 4596459"/>
              <a:gd name="connsiteX7125" fmla="*/ 3984812 w 4716235"/>
              <a:gd name="connsiteY7125" fmla="*/ 3340421 h 4596459"/>
              <a:gd name="connsiteX7126" fmla="*/ 3974074 w 4716235"/>
              <a:gd name="connsiteY7126" fmla="*/ 3351157 h 4596459"/>
              <a:gd name="connsiteX7127" fmla="*/ 3963338 w 4716235"/>
              <a:gd name="connsiteY7127" fmla="*/ 3340421 h 4596459"/>
              <a:gd name="connsiteX7128" fmla="*/ 3974074 w 4716235"/>
              <a:gd name="connsiteY7128" fmla="*/ 3329684 h 4596459"/>
              <a:gd name="connsiteX7129" fmla="*/ 4160234 w 4716235"/>
              <a:gd name="connsiteY7129" fmla="*/ 3328859 h 4596459"/>
              <a:gd name="connsiteX7130" fmla="*/ 4170970 w 4716235"/>
              <a:gd name="connsiteY7130" fmla="*/ 3339595 h 4596459"/>
              <a:gd name="connsiteX7131" fmla="*/ 4160234 w 4716235"/>
              <a:gd name="connsiteY7131" fmla="*/ 3350333 h 4596459"/>
              <a:gd name="connsiteX7132" fmla="*/ 4149498 w 4716235"/>
              <a:gd name="connsiteY7132" fmla="*/ 3339595 h 4596459"/>
              <a:gd name="connsiteX7133" fmla="*/ 4160234 w 4716235"/>
              <a:gd name="connsiteY7133" fmla="*/ 3328859 h 4596459"/>
              <a:gd name="connsiteX7134" fmla="*/ 2604887 w 4716235"/>
              <a:gd name="connsiteY7134" fmla="*/ 3326381 h 4596459"/>
              <a:gd name="connsiteX7135" fmla="*/ 2615625 w 4716235"/>
              <a:gd name="connsiteY7135" fmla="*/ 3337117 h 4596459"/>
              <a:gd name="connsiteX7136" fmla="*/ 2604887 w 4716235"/>
              <a:gd name="connsiteY7136" fmla="*/ 3347855 h 4596459"/>
              <a:gd name="connsiteX7137" fmla="*/ 2594151 w 4716235"/>
              <a:gd name="connsiteY7137" fmla="*/ 3337117 h 4596459"/>
              <a:gd name="connsiteX7138" fmla="*/ 2604887 w 4716235"/>
              <a:gd name="connsiteY7138" fmla="*/ 3326381 h 4596459"/>
              <a:gd name="connsiteX7139" fmla="*/ 360734 w 4716235"/>
              <a:gd name="connsiteY7139" fmla="*/ 3320599 h 4596459"/>
              <a:gd name="connsiteX7140" fmla="*/ 371471 w 4716235"/>
              <a:gd name="connsiteY7140" fmla="*/ 3331335 h 4596459"/>
              <a:gd name="connsiteX7141" fmla="*/ 360734 w 4716235"/>
              <a:gd name="connsiteY7141" fmla="*/ 3342073 h 4596459"/>
              <a:gd name="connsiteX7142" fmla="*/ 349998 w 4716235"/>
              <a:gd name="connsiteY7142" fmla="*/ 3331335 h 4596459"/>
              <a:gd name="connsiteX7143" fmla="*/ 360734 w 4716235"/>
              <a:gd name="connsiteY7143" fmla="*/ 3320599 h 4596459"/>
              <a:gd name="connsiteX7144" fmla="*/ 4207146 w 4716235"/>
              <a:gd name="connsiteY7144" fmla="*/ 3320269 h 4596459"/>
              <a:gd name="connsiteX7145" fmla="*/ 4211441 w 4716235"/>
              <a:gd name="connsiteY7145" fmla="*/ 3324565 h 4596459"/>
              <a:gd name="connsiteX7146" fmla="*/ 4207146 w 4716235"/>
              <a:gd name="connsiteY7146" fmla="*/ 3328859 h 4596459"/>
              <a:gd name="connsiteX7147" fmla="*/ 4202852 w 4716235"/>
              <a:gd name="connsiteY7147" fmla="*/ 3324565 h 4596459"/>
              <a:gd name="connsiteX7148" fmla="*/ 4207146 w 4716235"/>
              <a:gd name="connsiteY7148" fmla="*/ 3320269 h 4596459"/>
              <a:gd name="connsiteX7149" fmla="*/ 3932780 w 4716235"/>
              <a:gd name="connsiteY7149" fmla="*/ 3314652 h 4596459"/>
              <a:gd name="connsiteX7150" fmla="*/ 3943518 w 4716235"/>
              <a:gd name="connsiteY7150" fmla="*/ 3325389 h 4596459"/>
              <a:gd name="connsiteX7151" fmla="*/ 3932780 w 4716235"/>
              <a:gd name="connsiteY7151" fmla="*/ 3336125 h 4596459"/>
              <a:gd name="connsiteX7152" fmla="*/ 3922044 w 4716235"/>
              <a:gd name="connsiteY7152" fmla="*/ 3325389 h 4596459"/>
              <a:gd name="connsiteX7153" fmla="*/ 3932780 w 4716235"/>
              <a:gd name="connsiteY7153" fmla="*/ 3314652 h 4596459"/>
              <a:gd name="connsiteX7154" fmla="*/ 873126 w 4716235"/>
              <a:gd name="connsiteY7154" fmla="*/ 3313001 h 4596459"/>
              <a:gd name="connsiteX7155" fmla="*/ 883864 w 4716235"/>
              <a:gd name="connsiteY7155" fmla="*/ 3323738 h 4596459"/>
              <a:gd name="connsiteX7156" fmla="*/ 873126 w 4716235"/>
              <a:gd name="connsiteY7156" fmla="*/ 3334474 h 4596459"/>
              <a:gd name="connsiteX7157" fmla="*/ 862390 w 4716235"/>
              <a:gd name="connsiteY7157" fmla="*/ 3323738 h 4596459"/>
              <a:gd name="connsiteX7158" fmla="*/ 873126 w 4716235"/>
              <a:gd name="connsiteY7158" fmla="*/ 3313001 h 4596459"/>
              <a:gd name="connsiteX7159" fmla="*/ 3530069 w 4716235"/>
              <a:gd name="connsiteY7159" fmla="*/ 3312009 h 4596459"/>
              <a:gd name="connsiteX7160" fmla="*/ 3540805 w 4716235"/>
              <a:gd name="connsiteY7160" fmla="*/ 3322746 h 4596459"/>
              <a:gd name="connsiteX7161" fmla="*/ 3530069 w 4716235"/>
              <a:gd name="connsiteY7161" fmla="*/ 3333482 h 4596459"/>
              <a:gd name="connsiteX7162" fmla="*/ 3519332 w 4716235"/>
              <a:gd name="connsiteY7162" fmla="*/ 3322746 h 4596459"/>
              <a:gd name="connsiteX7163" fmla="*/ 3530069 w 4716235"/>
              <a:gd name="connsiteY7163" fmla="*/ 3312009 h 4596459"/>
              <a:gd name="connsiteX7164" fmla="*/ 3729112 w 4716235"/>
              <a:gd name="connsiteY7164" fmla="*/ 3308376 h 4596459"/>
              <a:gd name="connsiteX7165" fmla="*/ 3739848 w 4716235"/>
              <a:gd name="connsiteY7165" fmla="*/ 3319113 h 4596459"/>
              <a:gd name="connsiteX7166" fmla="*/ 3729112 w 4716235"/>
              <a:gd name="connsiteY7166" fmla="*/ 3329849 h 4596459"/>
              <a:gd name="connsiteX7167" fmla="*/ 3718375 w 4716235"/>
              <a:gd name="connsiteY7167" fmla="*/ 3319113 h 4596459"/>
              <a:gd name="connsiteX7168" fmla="*/ 3729112 w 4716235"/>
              <a:gd name="connsiteY7168" fmla="*/ 3308376 h 4596459"/>
              <a:gd name="connsiteX7169" fmla="*/ 4188645 w 4716235"/>
              <a:gd name="connsiteY7169" fmla="*/ 3302430 h 4596459"/>
              <a:gd name="connsiteX7170" fmla="*/ 4199382 w 4716235"/>
              <a:gd name="connsiteY7170" fmla="*/ 3313166 h 4596459"/>
              <a:gd name="connsiteX7171" fmla="*/ 4188645 w 4716235"/>
              <a:gd name="connsiteY7171" fmla="*/ 3323903 h 4596459"/>
              <a:gd name="connsiteX7172" fmla="*/ 4177909 w 4716235"/>
              <a:gd name="connsiteY7172" fmla="*/ 3313166 h 4596459"/>
              <a:gd name="connsiteX7173" fmla="*/ 4188645 w 4716235"/>
              <a:gd name="connsiteY7173" fmla="*/ 3302430 h 4596459"/>
              <a:gd name="connsiteX7174" fmla="*/ 4071367 w 4716235"/>
              <a:gd name="connsiteY7174" fmla="*/ 3302265 h 4596459"/>
              <a:gd name="connsiteX7175" fmla="*/ 4080782 w 4716235"/>
              <a:gd name="connsiteY7175" fmla="*/ 3311680 h 4596459"/>
              <a:gd name="connsiteX7176" fmla="*/ 4086068 w 4716235"/>
              <a:gd name="connsiteY7176" fmla="*/ 3306394 h 4596459"/>
              <a:gd name="connsiteX7177" fmla="*/ 4092840 w 4716235"/>
              <a:gd name="connsiteY7177" fmla="*/ 3313166 h 4596459"/>
              <a:gd name="connsiteX7178" fmla="*/ 4097300 w 4716235"/>
              <a:gd name="connsiteY7178" fmla="*/ 3308706 h 4596459"/>
              <a:gd name="connsiteX7179" fmla="*/ 4102834 w 4716235"/>
              <a:gd name="connsiteY7179" fmla="*/ 3314240 h 4596459"/>
              <a:gd name="connsiteX7180" fmla="*/ 4106715 w 4716235"/>
              <a:gd name="connsiteY7180" fmla="*/ 3310359 h 4596459"/>
              <a:gd name="connsiteX7181" fmla="*/ 4111588 w 4716235"/>
              <a:gd name="connsiteY7181" fmla="*/ 3315232 h 4596459"/>
              <a:gd name="connsiteX7182" fmla="*/ 4115140 w 4716235"/>
              <a:gd name="connsiteY7182" fmla="*/ 3311680 h 4596459"/>
              <a:gd name="connsiteX7183" fmla="*/ 4120591 w 4716235"/>
              <a:gd name="connsiteY7183" fmla="*/ 3317131 h 4596459"/>
              <a:gd name="connsiteX7184" fmla="*/ 4123894 w 4716235"/>
              <a:gd name="connsiteY7184" fmla="*/ 3313827 h 4596459"/>
              <a:gd name="connsiteX7185" fmla="*/ 4130420 w 4716235"/>
              <a:gd name="connsiteY7185" fmla="*/ 3320351 h 4596459"/>
              <a:gd name="connsiteX7186" fmla="*/ 4133805 w 4716235"/>
              <a:gd name="connsiteY7186" fmla="*/ 3316966 h 4596459"/>
              <a:gd name="connsiteX7187" fmla="*/ 4142230 w 4716235"/>
              <a:gd name="connsiteY7187" fmla="*/ 3325390 h 4596459"/>
              <a:gd name="connsiteX7188" fmla="*/ 4145698 w 4716235"/>
              <a:gd name="connsiteY7188" fmla="*/ 3321920 h 4596459"/>
              <a:gd name="connsiteX7189" fmla="*/ 4156435 w 4716235"/>
              <a:gd name="connsiteY7189" fmla="*/ 3332657 h 4596459"/>
              <a:gd name="connsiteX7190" fmla="*/ 4145698 w 4716235"/>
              <a:gd name="connsiteY7190" fmla="*/ 3343393 h 4596459"/>
              <a:gd name="connsiteX7191" fmla="*/ 4137275 w 4716235"/>
              <a:gd name="connsiteY7191" fmla="*/ 3334970 h 4596459"/>
              <a:gd name="connsiteX7192" fmla="*/ 4133805 w 4716235"/>
              <a:gd name="connsiteY7192" fmla="*/ 3338440 h 4596459"/>
              <a:gd name="connsiteX7193" fmla="*/ 4127281 w 4716235"/>
              <a:gd name="connsiteY7193" fmla="*/ 3331914 h 4596459"/>
              <a:gd name="connsiteX7194" fmla="*/ 4123894 w 4716235"/>
              <a:gd name="connsiteY7194" fmla="*/ 3335301 h 4596459"/>
              <a:gd name="connsiteX7195" fmla="*/ 4118444 w 4716235"/>
              <a:gd name="connsiteY7195" fmla="*/ 3329851 h 4596459"/>
              <a:gd name="connsiteX7196" fmla="*/ 4115140 w 4716235"/>
              <a:gd name="connsiteY7196" fmla="*/ 3333153 h 4596459"/>
              <a:gd name="connsiteX7197" fmla="*/ 4110269 w 4716235"/>
              <a:gd name="connsiteY7197" fmla="*/ 3328281 h 4596459"/>
              <a:gd name="connsiteX7198" fmla="*/ 4106715 w 4716235"/>
              <a:gd name="connsiteY7198" fmla="*/ 3331833 h 4596459"/>
              <a:gd name="connsiteX7199" fmla="*/ 4101182 w 4716235"/>
              <a:gd name="connsiteY7199" fmla="*/ 3326299 h 4596459"/>
              <a:gd name="connsiteX7200" fmla="*/ 4097300 w 4716235"/>
              <a:gd name="connsiteY7200" fmla="*/ 3330180 h 4596459"/>
              <a:gd name="connsiteX7201" fmla="*/ 4090528 w 4716235"/>
              <a:gd name="connsiteY7201" fmla="*/ 3323408 h 4596459"/>
              <a:gd name="connsiteX7202" fmla="*/ 4086068 w 4716235"/>
              <a:gd name="connsiteY7202" fmla="*/ 3327867 h 4596459"/>
              <a:gd name="connsiteX7203" fmla="*/ 4076653 w 4716235"/>
              <a:gd name="connsiteY7203" fmla="*/ 3318452 h 4596459"/>
              <a:gd name="connsiteX7204" fmla="*/ 4071367 w 4716235"/>
              <a:gd name="connsiteY7204" fmla="*/ 3323738 h 4596459"/>
              <a:gd name="connsiteX7205" fmla="*/ 4060631 w 4716235"/>
              <a:gd name="connsiteY7205" fmla="*/ 3313001 h 4596459"/>
              <a:gd name="connsiteX7206" fmla="*/ 4071367 w 4716235"/>
              <a:gd name="connsiteY7206" fmla="*/ 3302265 h 4596459"/>
              <a:gd name="connsiteX7207" fmla="*/ 3272219 w 4716235"/>
              <a:gd name="connsiteY7207" fmla="*/ 3298795 h 4596459"/>
              <a:gd name="connsiteX7208" fmla="*/ 3282958 w 4716235"/>
              <a:gd name="connsiteY7208" fmla="*/ 3309531 h 4596459"/>
              <a:gd name="connsiteX7209" fmla="*/ 3272219 w 4716235"/>
              <a:gd name="connsiteY7209" fmla="*/ 3320268 h 4596459"/>
              <a:gd name="connsiteX7210" fmla="*/ 3261483 w 4716235"/>
              <a:gd name="connsiteY7210" fmla="*/ 3309531 h 4596459"/>
              <a:gd name="connsiteX7211" fmla="*/ 3272219 w 4716235"/>
              <a:gd name="connsiteY7211" fmla="*/ 3298795 h 4596459"/>
              <a:gd name="connsiteX7212" fmla="*/ 2779814 w 4716235"/>
              <a:gd name="connsiteY7212" fmla="*/ 3296483 h 4596459"/>
              <a:gd name="connsiteX7213" fmla="*/ 2790552 w 4716235"/>
              <a:gd name="connsiteY7213" fmla="*/ 3307220 h 4596459"/>
              <a:gd name="connsiteX7214" fmla="*/ 2779814 w 4716235"/>
              <a:gd name="connsiteY7214" fmla="*/ 3317956 h 4596459"/>
              <a:gd name="connsiteX7215" fmla="*/ 2769078 w 4716235"/>
              <a:gd name="connsiteY7215" fmla="*/ 3307220 h 4596459"/>
              <a:gd name="connsiteX7216" fmla="*/ 2779814 w 4716235"/>
              <a:gd name="connsiteY7216" fmla="*/ 3296483 h 4596459"/>
              <a:gd name="connsiteX7217" fmla="*/ 4051875 w 4716235"/>
              <a:gd name="connsiteY7217" fmla="*/ 3295491 h 4596459"/>
              <a:gd name="connsiteX7218" fmla="*/ 4062612 w 4716235"/>
              <a:gd name="connsiteY7218" fmla="*/ 3306228 h 4596459"/>
              <a:gd name="connsiteX7219" fmla="*/ 4051875 w 4716235"/>
              <a:gd name="connsiteY7219" fmla="*/ 3316964 h 4596459"/>
              <a:gd name="connsiteX7220" fmla="*/ 4041139 w 4716235"/>
              <a:gd name="connsiteY7220" fmla="*/ 3306228 h 4596459"/>
              <a:gd name="connsiteX7221" fmla="*/ 4051875 w 4716235"/>
              <a:gd name="connsiteY7221" fmla="*/ 3295491 h 4596459"/>
              <a:gd name="connsiteX7222" fmla="*/ 3879757 w 4716235"/>
              <a:gd name="connsiteY7222" fmla="*/ 3292848 h 4596459"/>
              <a:gd name="connsiteX7223" fmla="*/ 3890495 w 4716235"/>
              <a:gd name="connsiteY7223" fmla="*/ 3303585 h 4596459"/>
              <a:gd name="connsiteX7224" fmla="*/ 3879757 w 4716235"/>
              <a:gd name="connsiteY7224" fmla="*/ 3314321 h 4596459"/>
              <a:gd name="connsiteX7225" fmla="*/ 3869021 w 4716235"/>
              <a:gd name="connsiteY7225" fmla="*/ 3303585 h 4596459"/>
              <a:gd name="connsiteX7226" fmla="*/ 3879757 w 4716235"/>
              <a:gd name="connsiteY7226" fmla="*/ 3292848 h 4596459"/>
              <a:gd name="connsiteX7227" fmla="*/ 4025942 w 4716235"/>
              <a:gd name="connsiteY7227" fmla="*/ 3284920 h 4596459"/>
              <a:gd name="connsiteX7228" fmla="*/ 4036678 w 4716235"/>
              <a:gd name="connsiteY7228" fmla="*/ 3295656 h 4596459"/>
              <a:gd name="connsiteX7229" fmla="*/ 4025942 w 4716235"/>
              <a:gd name="connsiteY7229" fmla="*/ 3306394 h 4596459"/>
              <a:gd name="connsiteX7230" fmla="*/ 4015206 w 4716235"/>
              <a:gd name="connsiteY7230" fmla="*/ 3295656 h 4596459"/>
              <a:gd name="connsiteX7231" fmla="*/ 4025942 w 4716235"/>
              <a:gd name="connsiteY7231" fmla="*/ 3284920 h 4596459"/>
              <a:gd name="connsiteX7232" fmla="*/ 702659 w 4716235"/>
              <a:gd name="connsiteY7232" fmla="*/ 3281287 h 4596459"/>
              <a:gd name="connsiteX7233" fmla="*/ 713397 w 4716235"/>
              <a:gd name="connsiteY7233" fmla="*/ 3292023 h 4596459"/>
              <a:gd name="connsiteX7234" fmla="*/ 702659 w 4716235"/>
              <a:gd name="connsiteY7234" fmla="*/ 3302761 h 4596459"/>
              <a:gd name="connsiteX7235" fmla="*/ 691923 w 4716235"/>
              <a:gd name="connsiteY7235" fmla="*/ 3292023 h 4596459"/>
              <a:gd name="connsiteX7236" fmla="*/ 702659 w 4716235"/>
              <a:gd name="connsiteY7236" fmla="*/ 3281287 h 4596459"/>
              <a:gd name="connsiteX7237" fmla="*/ 227762 w 4716235"/>
              <a:gd name="connsiteY7237" fmla="*/ 3279799 h 4596459"/>
              <a:gd name="connsiteX7238" fmla="*/ 238500 w 4716235"/>
              <a:gd name="connsiteY7238" fmla="*/ 3290535 h 4596459"/>
              <a:gd name="connsiteX7239" fmla="*/ 227762 w 4716235"/>
              <a:gd name="connsiteY7239" fmla="*/ 3301273 h 4596459"/>
              <a:gd name="connsiteX7240" fmla="*/ 217026 w 4716235"/>
              <a:gd name="connsiteY7240" fmla="*/ 3290535 h 4596459"/>
              <a:gd name="connsiteX7241" fmla="*/ 227762 w 4716235"/>
              <a:gd name="connsiteY7241" fmla="*/ 3279799 h 4596459"/>
              <a:gd name="connsiteX7242" fmla="*/ 4216892 w 4716235"/>
              <a:gd name="connsiteY7242" fmla="*/ 3277156 h 4596459"/>
              <a:gd name="connsiteX7243" fmla="*/ 4227628 w 4716235"/>
              <a:gd name="connsiteY7243" fmla="*/ 3287892 h 4596459"/>
              <a:gd name="connsiteX7244" fmla="*/ 4216892 w 4716235"/>
              <a:gd name="connsiteY7244" fmla="*/ 3298630 h 4596459"/>
              <a:gd name="connsiteX7245" fmla="*/ 4206155 w 4716235"/>
              <a:gd name="connsiteY7245" fmla="*/ 3287892 h 4596459"/>
              <a:gd name="connsiteX7246" fmla="*/ 4216892 w 4716235"/>
              <a:gd name="connsiteY7246" fmla="*/ 3277156 h 4596459"/>
              <a:gd name="connsiteX7247" fmla="*/ 3991420 w 4716235"/>
              <a:gd name="connsiteY7247" fmla="*/ 3269394 h 4596459"/>
              <a:gd name="connsiteX7248" fmla="*/ 4002156 w 4716235"/>
              <a:gd name="connsiteY7248" fmla="*/ 3280130 h 4596459"/>
              <a:gd name="connsiteX7249" fmla="*/ 3991420 w 4716235"/>
              <a:gd name="connsiteY7249" fmla="*/ 3290866 h 4596459"/>
              <a:gd name="connsiteX7250" fmla="*/ 3980683 w 4716235"/>
              <a:gd name="connsiteY7250" fmla="*/ 3280130 h 4596459"/>
              <a:gd name="connsiteX7251" fmla="*/ 3991420 w 4716235"/>
              <a:gd name="connsiteY7251" fmla="*/ 3269394 h 4596459"/>
              <a:gd name="connsiteX7252" fmla="*/ 3633967 w 4716235"/>
              <a:gd name="connsiteY7252" fmla="*/ 3267741 h 4596459"/>
              <a:gd name="connsiteX7253" fmla="*/ 3644705 w 4716235"/>
              <a:gd name="connsiteY7253" fmla="*/ 3278477 h 4596459"/>
              <a:gd name="connsiteX7254" fmla="*/ 3633967 w 4716235"/>
              <a:gd name="connsiteY7254" fmla="*/ 3289214 h 4596459"/>
              <a:gd name="connsiteX7255" fmla="*/ 3623231 w 4716235"/>
              <a:gd name="connsiteY7255" fmla="*/ 3278477 h 4596459"/>
              <a:gd name="connsiteX7256" fmla="*/ 3633967 w 4716235"/>
              <a:gd name="connsiteY7256" fmla="*/ 3267741 h 4596459"/>
              <a:gd name="connsiteX7257" fmla="*/ 4201034 w 4716235"/>
              <a:gd name="connsiteY7257" fmla="*/ 3265923 h 4596459"/>
              <a:gd name="connsiteX7258" fmla="*/ 4211771 w 4716235"/>
              <a:gd name="connsiteY7258" fmla="*/ 3276660 h 4596459"/>
              <a:gd name="connsiteX7259" fmla="*/ 4201034 w 4716235"/>
              <a:gd name="connsiteY7259" fmla="*/ 3287398 h 4596459"/>
              <a:gd name="connsiteX7260" fmla="*/ 4190298 w 4716235"/>
              <a:gd name="connsiteY7260" fmla="*/ 3276660 h 4596459"/>
              <a:gd name="connsiteX7261" fmla="*/ 4201034 w 4716235"/>
              <a:gd name="connsiteY7261" fmla="*/ 3265923 h 4596459"/>
              <a:gd name="connsiteX7262" fmla="*/ 3812859 w 4716235"/>
              <a:gd name="connsiteY7262" fmla="*/ 3262951 h 4596459"/>
              <a:gd name="connsiteX7263" fmla="*/ 3823595 w 4716235"/>
              <a:gd name="connsiteY7263" fmla="*/ 3273687 h 4596459"/>
              <a:gd name="connsiteX7264" fmla="*/ 3812859 w 4716235"/>
              <a:gd name="connsiteY7264" fmla="*/ 3284424 h 4596459"/>
              <a:gd name="connsiteX7265" fmla="*/ 3802123 w 4716235"/>
              <a:gd name="connsiteY7265" fmla="*/ 3273687 h 4596459"/>
              <a:gd name="connsiteX7266" fmla="*/ 3812859 w 4716235"/>
              <a:gd name="connsiteY7266" fmla="*/ 3262951 h 4596459"/>
              <a:gd name="connsiteX7267" fmla="*/ 2944996 w 4716235"/>
              <a:gd name="connsiteY7267" fmla="*/ 3262951 h 4596459"/>
              <a:gd name="connsiteX7268" fmla="*/ 2955734 w 4716235"/>
              <a:gd name="connsiteY7268" fmla="*/ 3273687 h 4596459"/>
              <a:gd name="connsiteX7269" fmla="*/ 2944996 w 4716235"/>
              <a:gd name="connsiteY7269" fmla="*/ 3284424 h 4596459"/>
              <a:gd name="connsiteX7270" fmla="*/ 2934259 w 4716235"/>
              <a:gd name="connsiteY7270" fmla="*/ 3273687 h 4596459"/>
              <a:gd name="connsiteX7271" fmla="*/ 2944996 w 4716235"/>
              <a:gd name="connsiteY7271" fmla="*/ 3262951 h 4596459"/>
              <a:gd name="connsiteX7272" fmla="*/ 4109029 w 4716235"/>
              <a:gd name="connsiteY7272" fmla="*/ 3260804 h 4596459"/>
              <a:gd name="connsiteX7273" fmla="*/ 4117370 w 4716235"/>
              <a:gd name="connsiteY7273" fmla="*/ 3269146 h 4596459"/>
              <a:gd name="connsiteX7274" fmla="*/ 4120261 w 4716235"/>
              <a:gd name="connsiteY7274" fmla="*/ 3266255 h 4596459"/>
              <a:gd name="connsiteX7275" fmla="*/ 4126620 w 4716235"/>
              <a:gd name="connsiteY7275" fmla="*/ 3272614 h 4596459"/>
              <a:gd name="connsiteX7276" fmla="*/ 4129015 w 4716235"/>
              <a:gd name="connsiteY7276" fmla="*/ 3270219 h 4596459"/>
              <a:gd name="connsiteX7277" fmla="*/ 4134384 w 4716235"/>
              <a:gd name="connsiteY7277" fmla="*/ 3275586 h 4596459"/>
              <a:gd name="connsiteX7278" fmla="*/ 4136448 w 4716235"/>
              <a:gd name="connsiteY7278" fmla="*/ 3273523 h 4596459"/>
              <a:gd name="connsiteX7279" fmla="*/ 4141817 w 4716235"/>
              <a:gd name="connsiteY7279" fmla="*/ 3278892 h 4596459"/>
              <a:gd name="connsiteX7280" fmla="*/ 4143716 w 4716235"/>
              <a:gd name="connsiteY7280" fmla="*/ 3276991 h 4596459"/>
              <a:gd name="connsiteX7281" fmla="*/ 4149746 w 4716235"/>
              <a:gd name="connsiteY7281" fmla="*/ 3283021 h 4596459"/>
              <a:gd name="connsiteX7282" fmla="*/ 4151809 w 4716235"/>
              <a:gd name="connsiteY7282" fmla="*/ 3280955 h 4596459"/>
              <a:gd name="connsiteX7283" fmla="*/ 4159325 w 4716235"/>
              <a:gd name="connsiteY7283" fmla="*/ 3288471 h 4596459"/>
              <a:gd name="connsiteX7284" fmla="*/ 4161556 w 4716235"/>
              <a:gd name="connsiteY7284" fmla="*/ 3286241 h 4596459"/>
              <a:gd name="connsiteX7285" fmla="*/ 4171137 w 4716235"/>
              <a:gd name="connsiteY7285" fmla="*/ 3295823 h 4596459"/>
              <a:gd name="connsiteX7286" fmla="*/ 4173615 w 4716235"/>
              <a:gd name="connsiteY7286" fmla="*/ 3293344 h 4596459"/>
              <a:gd name="connsiteX7287" fmla="*/ 4184351 w 4716235"/>
              <a:gd name="connsiteY7287" fmla="*/ 3304081 h 4596459"/>
              <a:gd name="connsiteX7288" fmla="*/ 4173615 w 4716235"/>
              <a:gd name="connsiteY7288" fmla="*/ 3314819 h 4596459"/>
              <a:gd name="connsiteX7289" fmla="*/ 4164034 w 4716235"/>
              <a:gd name="connsiteY7289" fmla="*/ 3305236 h 4596459"/>
              <a:gd name="connsiteX7290" fmla="*/ 4161556 w 4716235"/>
              <a:gd name="connsiteY7290" fmla="*/ 3307714 h 4596459"/>
              <a:gd name="connsiteX7291" fmla="*/ 4154041 w 4716235"/>
              <a:gd name="connsiteY7291" fmla="*/ 3300200 h 4596459"/>
              <a:gd name="connsiteX7292" fmla="*/ 4151809 w 4716235"/>
              <a:gd name="connsiteY7292" fmla="*/ 3302430 h 4596459"/>
              <a:gd name="connsiteX7293" fmla="*/ 4145780 w 4716235"/>
              <a:gd name="connsiteY7293" fmla="*/ 3296400 h 4596459"/>
              <a:gd name="connsiteX7294" fmla="*/ 4143716 w 4716235"/>
              <a:gd name="connsiteY7294" fmla="*/ 3298464 h 4596459"/>
              <a:gd name="connsiteX7295" fmla="*/ 4138347 w 4716235"/>
              <a:gd name="connsiteY7295" fmla="*/ 3293096 h 4596459"/>
              <a:gd name="connsiteX7296" fmla="*/ 4136448 w 4716235"/>
              <a:gd name="connsiteY7296" fmla="*/ 3294995 h 4596459"/>
              <a:gd name="connsiteX7297" fmla="*/ 4131081 w 4716235"/>
              <a:gd name="connsiteY7297" fmla="*/ 3289628 h 4596459"/>
              <a:gd name="connsiteX7298" fmla="*/ 4129015 w 4716235"/>
              <a:gd name="connsiteY7298" fmla="*/ 3291692 h 4596459"/>
              <a:gd name="connsiteX7299" fmla="*/ 4122656 w 4716235"/>
              <a:gd name="connsiteY7299" fmla="*/ 3285334 h 4596459"/>
              <a:gd name="connsiteX7300" fmla="*/ 4120261 w 4716235"/>
              <a:gd name="connsiteY7300" fmla="*/ 3287729 h 4596459"/>
              <a:gd name="connsiteX7301" fmla="*/ 4111920 w 4716235"/>
              <a:gd name="connsiteY7301" fmla="*/ 3279388 h 4596459"/>
              <a:gd name="connsiteX7302" fmla="*/ 4109029 w 4716235"/>
              <a:gd name="connsiteY7302" fmla="*/ 3282279 h 4596459"/>
              <a:gd name="connsiteX7303" fmla="*/ 4098292 w 4716235"/>
              <a:gd name="connsiteY7303" fmla="*/ 3271541 h 4596459"/>
              <a:gd name="connsiteX7304" fmla="*/ 4109029 w 4716235"/>
              <a:gd name="connsiteY7304" fmla="*/ 3260804 h 4596459"/>
              <a:gd name="connsiteX7305" fmla="*/ 4244973 w 4716235"/>
              <a:gd name="connsiteY7305" fmla="*/ 3257501 h 4596459"/>
              <a:gd name="connsiteX7306" fmla="*/ 4251414 w 4716235"/>
              <a:gd name="connsiteY7306" fmla="*/ 3263943 h 4596459"/>
              <a:gd name="connsiteX7307" fmla="*/ 4244973 w 4716235"/>
              <a:gd name="connsiteY7307" fmla="*/ 3270384 h 4596459"/>
              <a:gd name="connsiteX7308" fmla="*/ 4238531 w 4716235"/>
              <a:gd name="connsiteY7308" fmla="*/ 3263943 h 4596459"/>
              <a:gd name="connsiteX7309" fmla="*/ 4244973 w 4716235"/>
              <a:gd name="connsiteY7309" fmla="*/ 3257501 h 4596459"/>
              <a:gd name="connsiteX7310" fmla="*/ 3399906 w 4716235"/>
              <a:gd name="connsiteY7310" fmla="*/ 3257336 h 4596459"/>
              <a:gd name="connsiteX7311" fmla="*/ 3410642 w 4716235"/>
              <a:gd name="connsiteY7311" fmla="*/ 3268072 h 4596459"/>
              <a:gd name="connsiteX7312" fmla="*/ 3399906 w 4716235"/>
              <a:gd name="connsiteY7312" fmla="*/ 3278808 h 4596459"/>
              <a:gd name="connsiteX7313" fmla="*/ 3389170 w 4716235"/>
              <a:gd name="connsiteY7313" fmla="*/ 3268072 h 4596459"/>
              <a:gd name="connsiteX7314" fmla="*/ 3399906 w 4716235"/>
              <a:gd name="connsiteY7314" fmla="*/ 3257336 h 4596459"/>
              <a:gd name="connsiteX7315" fmla="*/ 4093832 w 4716235"/>
              <a:gd name="connsiteY7315" fmla="*/ 3252875 h 4596459"/>
              <a:gd name="connsiteX7316" fmla="*/ 4104570 w 4716235"/>
              <a:gd name="connsiteY7316" fmla="*/ 3263612 h 4596459"/>
              <a:gd name="connsiteX7317" fmla="*/ 4093832 w 4716235"/>
              <a:gd name="connsiteY7317" fmla="*/ 3274348 h 4596459"/>
              <a:gd name="connsiteX7318" fmla="*/ 4083096 w 4716235"/>
              <a:gd name="connsiteY7318" fmla="*/ 3263612 h 4596459"/>
              <a:gd name="connsiteX7319" fmla="*/ 4093832 w 4716235"/>
              <a:gd name="connsiteY7319" fmla="*/ 3252875 h 4596459"/>
              <a:gd name="connsiteX7320" fmla="*/ 3946655 w 4716235"/>
              <a:gd name="connsiteY7320" fmla="*/ 3247590 h 4596459"/>
              <a:gd name="connsiteX7321" fmla="*/ 3957391 w 4716235"/>
              <a:gd name="connsiteY7321" fmla="*/ 3258326 h 4596459"/>
              <a:gd name="connsiteX7322" fmla="*/ 3946655 w 4716235"/>
              <a:gd name="connsiteY7322" fmla="*/ 3269062 h 4596459"/>
              <a:gd name="connsiteX7323" fmla="*/ 3935919 w 4716235"/>
              <a:gd name="connsiteY7323" fmla="*/ 3258326 h 4596459"/>
              <a:gd name="connsiteX7324" fmla="*/ 3946655 w 4716235"/>
              <a:gd name="connsiteY7324" fmla="*/ 3247590 h 4596459"/>
              <a:gd name="connsiteX7325" fmla="*/ 1731904 w 4716235"/>
              <a:gd name="connsiteY7325" fmla="*/ 3246929 h 4596459"/>
              <a:gd name="connsiteX7326" fmla="*/ 1742642 w 4716235"/>
              <a:gd name="connsiteY7326" fmla="*/ 3257665 h 4596459"/>
              <a:gd name="connsiteX7327" fmla="*/ 1731904 w 4716235"/>
              <a:gd name="connsiteY7327" fmla="*/ 3268402 h 4596459"/>
              <a:gd name="connsiteX7328" fmla="*/ 1721168 w 4716235"/>
              <a:gd name="connsiteY7328" fmla="*/ 3257665 h 4596459"/>
              <a:gd name="connsiteX7329" fmla="*/ 1731904 w 4716235"/>
              <a:gd name="connsiteY7329" fmla="*/ 3246929 h 4596459"/>
              <a:gd name="connsiteX7330" fmla="*/ 542268 w 4716235"/>
              <a:gd name="connsiteY7330" fmla="*/ 3246268 h 4596459"/>
              <a:gd name="connsiteX7331" fmla="*/ 553005 w 4716235"/>
              <a:gd name="connsiteY7331" fmla="*/ 3257005 h 4596459"/>
              <a:gd name="connsiteX7332" fmla="*/ 542268 w 4716235"/>
              <a:gd name="connsiteY7332" fmla="*/ 3267743 h 4596459"/>
              <a:gd name="connsiteX7333" fmla="*/ 531531 w 4716235"/>
              <a:gd name="connsiteY7333" fmla="*/ 3257005 h 4596459"/>
              <a:gd name="connsiteX7334" fmla="*/ 542268 w 4716235"/>
              <a:gd name="connsiteY7334" fmla="*/ 3246268 h 4596459"/>
              <a:gd name="connsiteX7335" fmla="*/ 1939868 w 4716235"/>
              <a:gd name="connsiteY7335" fmla="*/ 3244947 h 4596459"/>
              <a:gd name="connsiteX7336" fmla="*/ 1950606 w 4716235"/>
              <a:gd name="connsiteY7336" fmla="*/ 3255683 h 4596459"/>
              <a:gd name="connsiteX7337" fmla="*/ 1939868 w 4716235"/>
              <a:gd name="connsiteY7337" fmla="*/ 3266419 h 4596459"/>
              <a:gd name="connsiteX7338" fmla="*/ 1929131 w 4716235"/>
              <a:gd name="connsiteY7338" fmla="*/ 3255683 h 4596459"/>
              <a:gd name="connsiteX7339" fmla="*/ 1939868 w 4716235"/>
              <a:gd name="connsiteY7339" fmla="*/ 3244947 h 4596459"/>
              <a:gd name="connsiteX7340" fmla="*/ 4073018 w 4716235"/>
              <a:gd name="connsiteY7340" fmla="*/ 3241312 h 4596459"/>
              <a:gd name="connsiteX7341" fmla="*/ 4083755 w 4716235"/>
              <a:gd name="connsiteY7341" fmla="*/ 3252048 h 4596459"/>
              <a:gd name="connsiteX7342" fmla="*/ 4073018 w 4716235"/>
              <a:gd name="connsiteY7342" fmla="*/ 3262785 h 4596459"/>
              <a:gd name="connsiteX7343" fmla="*/ 4062282 w 4716235"/>
              <a:gd name="connsiteY7343" fmla="*/ 3252048 h 4596459"/>
              <a:gd name="connsiteX7344" fmla="*/ 4073018 w 4716235"/>
              <a:gd name="connsiteY7344" fmla="*/ 3241312 h 4596459"/>
              <a:gd name="connsiteX7345" fmla="*/ 1524601 w 4716235"/>
              <a:gd name="connsiteY7345" fmla="*/ 3241312 h 4596459"/>
              <a:gd name="connsiteX7346" fmla="*/ 1535339 w 4716235"/>
              <a:gd name="connsiteY7346" fmla="*/ 3252048 h 4596459"/>
              <a:gd name="connsiteX7347" fmla="*/ 1524601 w 4716235"/>
              <a:gd name="connsiteY7347" fmla="*/ 3262785 h 4596459"/>
              <a:gd name="connsiteX7348" fmla="*/ 1513865 w 4716235"/>
              <a:gd name="connsiteY7348" fmla="*/ 3252048 h 4596459"/>
              <a:gd name="connsiteX7349" fmla="*/ 1524601 w 4716235"/>
              <a:gd name="connsiteY7349" fmla="*/ 3241312 h 4596459"/>
              <a:gd name="connsiteX7350" fmla="*/ 4228124 w 4716235"/>
              <a:gd name="connsiteY7350" fmla="*/ 3239990 h 4596459"/>
              <a:gd name="connsiteX7351" fmla="*/ 4238862 w 4716235"/>
              <a:gd name="connsiteY7351" fmla="*/ 3250727 h 4596459"/>
              <a:gd name="connsiteX7352" fmla="*/ 4228124 w 4716235"/>
              <a:gd name="connsiteY7352" fmla="*/ 3261465 h 4596459"/>
              <a:gd name="connsiteX7353" fmla="*/ 4217388 w 4716235"/>
              <a:gd name="connsiteY7353" fmla="*/ 3250727 h 4596459"/>
              <a:gd name="connsiteX7354" fmla="*/ 4228124 w 4716235"/>
              <a:gd name="connsiteY7354" fmla="*/ 3239990 h 4596459"/>
              <a:gd name="connsiteX7355" fmla="*/ 104538 w 4716235"/>
              <a:gd name="connsiteY7355" fmla="*/ 3237679 h 4596459"/>
              <a:gd name="connsiteX7356" fmla="*/ 115276 w 4716235"/>
              <a:gd name="connsiteY7356" fmla="*/ 3248415 h 4596459"/>
              <a:gd name="connsiteX7357" fmla="*/ 104538 w 4716235"/>
              <a:gd name="connsiteY7357" fmla="*/ 3259151 h 4596459"/>
              <a:gd name="connsiteX7358" fmla="*/ 93801 w 4716235"/>
              <a:gd name="connsiteY7358" fmla="*/ 3248415 h 4596459"/>
              <a:gd name="connsiteX7359" fmla="*/ 104538 w 4716235"/>
              <a:gd name="connsiteY7359" fmla="*/ 3237679 h 4596459"/>
              <a:gd name="connsiteX7360" fmla="*/ 2145683 w 4716235"/>
              <a:gd name="connsiteY7360" fmla="*/ 3235201 h 4596459"/>
              <a:gd name="connsiteX7361" fmla="*/ 2156421 w 4716235"/>
              <a:gd name="connsiteY7361" fmla="*/ 3245937 h 4596459"/>
              <a:gd name="connsiteX7362" fmla="*/ 2145683 w 4716235"/>
              <a:gd name="connsiteY7362" fmla="*/ 3256673 h 4596459"/>
              <a:gd name="connsiteX7363" fmla="*/ 2134946 w 4716235"/>
              <a:gd name="connsiteY7363" fmla="*/ 3245937 h 4596459"/>
              <a:gd name="connsiteX7364" fmla="*/ 2145683 w 4716235"/>
              <a:gd name="connsiteY7364" fmla="*/ 3235201 h 4596459"/>
              <a:gd name="connsiteX7365" fmla="*/ 1320933 w 4716235"/>
              <a:gd name="connsiteY7365" fmla="*/ 3228262 h 4596459"/>
              <a:gd name="connsiteX7366" fmla="*/ 1331669 w 4716235"/>
              <a:gd name="connsiteY7366" fmla="*/ 3238998 h 4596459"/>
              <a:gd name="connsiteX7367" fmla="*/ 1320933 w 4716235"/>
              <a:gd name="connsiteY7367" fmla="*/ 3249737 h 4596459"/>
              <a:gd name="connsiteX7368" fmla="*/ 1310197 w 4716235"/>
              <a:gd name="connsiteY7368" fmla="*/ 3238998 h 4596459"/>
              <a:gd name="connsiteX7369" fmla="*/ 1320933 w 4716235"/>
              <a:gd name="connsiteY7369" fmla="*/ 3228262 h 4596459"/>
              <a:gd name="connsiteX7370" fmla="*/ 3099937 w 4716235"/>
              <a:gd name="connsiteY7370" fmla="*/ 3226446 h 4596459"/>
              <a:gd name="connsiteX7371" fmla="*/ 3110675 w 4716235"/>
              <a:gd name="connsiteY7371" fmla="*/ 3237183 h 4596459"/>
              <a:gd name="connsiteX7372" fmla="*/ 3099937 w 4716235"/>
              <a:gd name="connsiteY7372" fmla="*/ 3247919 h 4596459"/>
              <a:gd name="connsiteX7373" fmla="*/ 3089200 w 4716235"/>
              <a:gd name="connsiteY7373" fmla="*/ 3237183 h 4596459"/>
              <a:gd name="connsiteX7374" fmla="*/ 3099937 w 4716235"/>
              <a:gd name="connsiteY7374" fmla="*/ 3226446 h 4596459"/>
              <a:gd name="connsiteX7375" fmla="*/ 4044772 w 4716235"/>
              <a:gd name="connsiteY7375" fmla="*/ 3225125 h 4596459"/>
              <a:gd name="connsiteX7376" fmla="*/ 4055510 w 4716235"/>
              <a:gd name="connsiteY7376" fmla="*/ 3235861 h 4596459"/>
              <a:gd name="connsiteX7377" fmla="*/ 4044772 w 4716235"/>
              <a:gd name="connsiteY7377" fmla="*/ 3246599 h 4596459"/>
              <a:gd name="connsiteX7378" fmla="*/ 4034036 w 4716235"/>
              <a:gd name="connsiteY7378" fmla="*/ 3235861 h 4596459"/>
              <a:gd name="connsiteX7379" fmla="*/ 4044772 w 4716235"/>
              <a:gd name="connsiteY7379" fmla="*/ 3225125 h 4596459"/>
              <a:gd name="connsiteX7380" fmla="*/ 3729441 w 4716235"/>
              <a:gd name="connsiteY7380" fmla="*/ 3223308 h 4596459"/>
              <a:gd name="connsiteX7381" fmla="*/ 3740179 w 4716235"/>
              <a:gd name="connsiteY7381" fmla="*/ 3234044 h 4596459"/>
              <a:gd name="connsiteX7382" fmla="*/ 3729441 w 4716235"/>
              <a:gd name="connsiteY7382" fmla="*/ 3244780 h 4596459"/>
              <a:gd name="connsiteX7383" fmla="*/ 3718705 w 4716235"/>
              <a:gd name="connsiteY7383" fmla="*/ 3234044 h 4596459"/>
              <a:gd name="connsiteX7384" fmla="*/ 3729441 w 4716235"/>
              <a:gd name="connsiteY7384" fmla="*/ 3223308 h 4596459"/>
              <a:gd name="connsiteX7385" fmla="*/ 2346214 w 4716235"/>
              <a:gd name="connsiteY7385" fmla="*/ 3218518 h 4596459"/>
              <a:gd name="connsiteX7386" fmla="*/ 2356952 w 4716235"/>
              <a:gd name="connsiteY7386" fmla="*/ 3229254 h 4596459"/>
              <a:gd name="connsiteX7387" fmla="*/ 2346214 w 4716235"/>
              <a:gd name="connsiteY7387" fmla="*/ 3239990 h 4596459"/>
              <a:gd name="connsiteX7388" fmla="*/ 2335478 w 4716235"/>
              <a:gd name="connsiteY7388" fmla="*/ 3229254 h 4596459"/>
              <a:gd name="connsiteX7389" fmla="*/ 2346214 w 4716235"/>
              <a:gd name="connsiteY7389" fmla="*/ 3218518 h 4596459"/>
              <a:gd name="connsiteX7390" fmla="*/ 3889172 w 4716235"/>
              <a:gd name="connsiteY7390" fmla="*/ 3218022 h 4596459"/>
              <a:gd name="connsiteX7391" fmla="*/ 3899908 w 4716235"/>
              <a:gd name="connsiteY7391" fmla="*/ 3228758 h 4596459"/>
              <a:gd name="connsiteX7392" fmla="*/ 3889172 w 4716235"/>
              <a:gd name="connsiteY7392" fmla="*/ 3239494 h 4596459"/>
              <a:gd name="connsiteX7393" fmla="*/ 3878436 w 4716235"/>
              <a:gd name="connsiteY7393" fmla="*/ 3228758 h 4596459"/>
              <a:gd name="connsiteX7394" fmla="*/ 3889172 w 4716235"/>
              <a:gd name="connsiteY7394" fmla="*/ 3218022 h 4596459"/>
              <a:gd name="connsiteX7395" fmla="*/ 4255049 w 4716235"/>
              <a:gd name="connsiteY7395" fmla="*/ 3215214 h 4596459"/>
              <a:gd name="connsiteX7396" fmla="*/ 4265787 w 4716235"/>
              <a:gd name="connsiteY7396" fmla="*/ 3225950 h 4596459"/>
              <a:gd name="connsiteX7397" fmla="*/ 4255049 w 4716235"/>
              <a:gd name="connsiteY7397" fmla="*/ 3236689 h 4596459"/>
              <a:gd name="connsiteX7398" fmla="*/ 4244313 w 4716235"/>
              <a:gd name="connsiteY7398" fmla="*/ 3225950 h 4596459"/>
              <a:gd name="connsiteX7399" fmla="*/ 4255049 w 4716235"/>
              <a:gd name="connsiteY7399" fmla="*/ 3215214 h 4596459"/>
              <a:gd name="connsiteX7400" fmla="*/ 3518009 w 4716235"/>
              <a:gd name="connsiteY7400" fmla="*/ 3214883 h 4596459"/>
              <a:gd name="connsiteX7401" fmla="*/ 3528746 w 4716235"/>
              <a:gd name="connsiteY7401" fmla="*/ 3225619 h 4596459"/>
              <a:gd name="connsiteX7402" fmla="*/ 3518009 w 4716235"/>
              <a:gd name="connsiteY7402" fmla="*/ 3236357 h 4596459"/>
              <a:gd name="connsiteX7403" fmla="*/ 3507273 w 4716235"/>
              <a:gd name="connsiteY7403" fmla="*/ 3225619 h 4596459"/>
              <a:gd name="connsiteX7404" fmla="*/ 3518009 w 4716235"/>
              <a:gd name="connsiteY7404" fmla="*/ 3214883 h 4596459"/>
              <a:gd name="connsiteX7405" fmla="*/ 4131989 w 4716235"/>
              <a:gd name="connsiteY7405" fmla="*/ 3211250 h 4596459"/>
              <a:gd name="connsiteX7406" fmla="*/ 4142313 w 4716235"/>
              <a:gd name="connsiteY7406" fmla="*/ 3221573 h 4596459"/>
              <a:gd name="connsiteX7407" fmla="*/ 4143386 w 4716235"/>
              <a:gd name="connsiteY7407" fmla="*/ 3220500 h 4596459"/>
              <a:gd name="connsiteX7408" fmla="*/ 4151067 w 4716235"/>
              <a:gd name="connsiteY7408" fmla="*/ 3228179 h 4596459"/>
              <a:gd name="connsiteX7409" fmla="*/ 4151809 w 4716235"/>
              <a:gd name="connsiteY7409" fmla="*/ 3227437 h 4596459"/>
              <a:gd name="connsiteX7410" fmla="*/ 4157922 w 4716235"/>
              <a:gd name="connsiteY7410" fmla="*/ 3233548 h 4596459"/>
              <a:gd name="connsiteX7411" fmla="*/ 4158417 w 4716235"/>
              <a:gd name="connsiteY7411" fmla="*/ 3233054 h 4596459"/>
              <a:gd name="connsiteX7412" fmla="*/ 4163952 w 4716235"/>
              <a:gd name="connsiteY7412" fmla="*/ 3238587 h 4596459"/>
              <a:gd name="connsiteX7413" fmla="*/ 4164365 w 4716235"/>
              <a:gd name="connsiteY7413" fmla="*/ 3238175 h 4596459"/>
              <a:gd name="connsiteX7414" fmla="*/ 4170228 w 4716235"/>
              <a:gd name="connsiteY7414" fmla="*/ 3244038 h 4596459"/>
              <a:gd name="connsiteX7415" fmla="*/ 4170806 w 4716235"/>
              <a:gd name="connsiteY7415" fmla="*/ 3243461 h 4596459"/>
              <a:gd name="connsiteX7416" fmla="*/ 4177661 w 4716235"/>
              <a:gd name="connsiteY7416" fmla="*/ 3250314 h 4596459"/>
              <a:gd name="connsiteX7417" fmla="*/ 4178570 w 4716235"/>
              <a:gd name="connsiteY7417" fmla="*/ 3249405 h 4596459"/>
              <a:gd name="connsiteX7418" fmla="*/ 4187242 w 4716235"/>
              <a:gd name="connsiteY7418" fmla="*/ 3258078 h 4596459"/>
              <a:gd name="connsiteX7419" fmla="*/ 4188481 w 4716235"/>
              <a:gd name="connsiteY7419" fmla="*/ 3256840 h 4596459"/>
              <a:gd name="connsiteX7420" fmla="*/ 4199217 w 4716235"/>
              <a:gd name="connsiteY7420" fmla="*/ 3267576 h 4596459"/>
              <a:gd name="connsiteX7421" fmla="*/ 4188481 w 4716235"/>
              <a:gd name="connsiteY7421" fmla="*/ 3278313 h 4596459"/>
              <a:gd name="connsiteX7422" fmla="*/ 4179808 w 4716235"/>
              <a:gd name="connsiteY7422" fmla="*/ 3269642 h 4596459"/>
              <a:gd name="connsiteX7423" fmla="*/ 4178570 w 4716235"/>
              <a:gd name="connsiteY7423" fmla="*/ 3270880 h 4596459"/>
              <a:gd name="connsiteX7424" fmla="*/ 4171714 w 4716235"/>
              <a:gd name="connsiteY7424" fmla="*/ 3264025 h 4596459"/>
              <a:gd name="connsiteX7425" fmla="*/ 4170806 w 4716235"/>
              <a:gd name="connsiteY7425" fmla="*/ 3264933 h 4596459"/>
              <a:gd name="connsiteX7426" fmla="*/ 4164942 w 4716235"/>
              <a:gd name="connsiteY7426" fmla="*/ 3259070 h 4596459"/>
              <a:gd name="connsiteX7427" fmla="*/ 4164365 w 4716235"/>
              <a:gd name="connsiteY7427" fmla="*/ 3259647 h 4596459"/>
              <a:gd name="connsiteX7428" fmla="*/ 4158831 w 4716235"/>
              <a:gd name="connsiteY7428" fmla="*/ 3254114 h 4596459"/>
              <a:gd name="connsiteX7429" fmla="*/ 4158417 w 4716235"/>
              <a:gd name="connsiteY7429" fmla="*/ 3254526 h 4596459"/>
              <a:gd name="connsiteX7430" fmla="*/ 4152305 w 4716235"/>
              <a:gd name="connsiteY7430" fmla="*/ 3248415 h 4596459"/>
              <a:gd name="connsiteX7431" fmla="*/ 4151809 w 4716235"/>
              <a:gd name="connsiteY7431" fmla="*/ 3248909 h 4596459"/>
              <a:gd name="connsiteX7432" fmla="*/ 4144130 w 4716235"/>
              <a:gd name="connsiteY7432" fmla="*/ 3241230 h 4596459"/>
              <a:gd name="connsiteX7433" fmla="*/ 4143386 w 4716235"/>
              <a:gd name="connsiteY7433" fmla="*/ 3241974 h 4596459"/>
              <a:gd name="connsiteX7434" fmla="*/ 4133063 w 4716235"/>
              <a:gd name="connsiteY7434" fmla="*/ 3231651 h 4596459"/>
              <a:gd name="connsiteX7435" fmla="*/ 4131989 w 4716235"/>
              <a:gd name="connsiteY7435" fmla="*/ 3232724 h 4596459"/>
              <a:gd name="connsiteX7436" fmla="*/ 4121253 w 4716235"/>
              <a:gd name="connsiteY7436" fmla="*/ 3221986 h 4596459"/>
              <a:gd name="connsiteX7437" fmla="*/ 4131989 w 4716235"/>
              <a:gd name="connsiteY7437" fmla="*/ 3211250 h 4596459"/>
              <a:gd name="connsiteX7438" fmla="*/ 392283 w 4716235"/>
              <a:gd name="connsiteY7438" fmla="*/ 3208772 h 4596459"/>
              <a:gd name="connsiteX7439" fmla="*/ 403021 w 4716235"/>
              <a:gd name="connsiteY7439" fmla="*/ 3219508 h 4596459"/>
              <a:gd name="connsiteX7440" fmla="*/ 392283 w 4716235"/>
              <a:gd name="connsiteY7440" fmla="*/ 3230244 h 4596459"/>
              <a:gd name="connsiteX7441" fmla="*/ 381546 w 4716235"/>
              <a:gd name="connsiteY7441" fmla="*/ 3219508 h 4596459"/>
              <a:gd name="connsiteX7442" fmla="*/ 392283 w 4716235"/>
              <a:gd name="connsiteY7442" fmla="*/ 3208772 h 4596459"/>
              <a:gd name="connsiteX7443" fmla="*/ 1123541 w 4716235"/>
              <a:gd name="connsiteY7443" fmla="*/ 3208607 h 4596459"/>
              <a:gd name="connsiteX7444" fmla="*/ 1134279 w 4716235"/>
              <a:gd name="connsiteY7444" fmla="*/ 3219343 h 4596459"/>
              <a:gd name="connsiteX7445" fmla="*/ 1123541 w 4716235"/>
              <a:gd name="connsiteY7445" fmla="*/ 3230081 h 4596459"/>
              <a:gd name="connsiteX7446" fmla="*/ 1112805 w 4716235"/>
              <a:gd name="connsiteY7446" fmla="*/ 3219343 h 4596459"/>
              <a:gd name="connsiteX7447" fmla="*/ 1123541 w 4716235"/>
              <a:gd name="connsiteY7447" fmla="*/ 3208607 h 4596459"/>
              <a:gd name="connsiteX7448" fmla="*/ 0 w 4716235"/>
              <a:gd name="connsiteY7448" fmla="*/ 3204167 h 4596459"/>
              <a:gd name="connsiteX7449" fmla="*/ 1630 w 4716235"/>
              <a:gd name="connsiteY7449" fmla="*/ 3205797 h 4596459"/>
              <a:gd name="connsiteX7450" fmla="*/ 0 w 4716235"/>
              <a:gd name="connsiteY7450" fmla="*/ 3207427 h 4596459"/>
              <a:gd name="connsiteX7451" fmla="*/ 4007442 w 4716235"/>
              <a:gd name="connsiteY7451" fmla="*/ 3203156 h 4596459"/>
              <a:gd name="connsiteX7452" fmla="*/ 4018178 w 4716235"/>
              <a:gd name="connsiteY7452" fmla="*/ 3213893 h 4596459"/>
              <a:gd name="connsiteX7453" fmla="*/ 4007442 w 4716235"/>
              <a:gd name="connsiteY7453" fmla="*/ 3224629 h 4596459"/>
              <a:gd name="connsiteX7454" fmla="*/ 3996705 w 4716235"/>
              <a:gd name="connsiteY7454" fmla="*/ 3213893 h 4596459"/>
              <a:gd name="connsiteX7455" fmla="*/ 4007442 w 4716235"/>
              <a:gd name="connsiteY7455" fmla="*/ 3203156 h 4596459"/>
              <a:gd name="connsiteX7456" fmla="*/ 4240678 w 4716235"/>
              <a:gd name="connsiteY7456" fmla="*/ 3202000 h 4596459"/>
              <a:gd name="connsiteX7457" fmla="*/ 4251414 w 4716235"/>
              <a:gd name="connsiteY7457" fmla="*/ 3212736 h 4596459"/>
              <a:gd name="connsiteX7458" fmla="*/ 4240678 w 4716235"/>
              <a:gd name="connsiteY7458" fmla="*/ 3223472 h 4596459"/>
              <a:gd name="connsiteX7459" fmla="*/ 4229941 w 4716235"/>
              <a:gd name="connsiteY7459" fmla="*/ 3212736 h 4596459"/>
              <a:gd name="connsiteX7460" fmla="*/ 4240678 w 4716235"/>
              <a:gd name="connsiteY7460" fmla="*/ 3202000 h 4596459"/>
              <a:gd name="connsiteX7461" fmla="*/ 4115801 w 4716235"/>
              <a:gd name="connsiteY7461" fmla="*/ 3198696 h 4596459"/>
              <a:gd name="connsiteX7462" fmla="*/ 4126537 w 4716235"/>
              <a:gd name="connsiteY7462" fmla="*/ 3209432 h 4596459"/>
              <a:gd name="connsiteX7463" fmla="*/ 4115801 w 4716235"/>
              <a:gd name="connsiteY7463" fmla="*/ 3220170 h 4596459"/>
              <a:gd name="connsiteX7464" fmla="*/ 4105064 w 4716235"/>
              <a:gd name="connsiteY7464" fmla="*/ 3209432 h 4596459"/>
              <a:gd name="connsiteX7465" fmla="*/ 4115801 w 4716235"/>
              <a:gd name="connsiteY7465" fmla="*/ 3198696 h 4596459"/>
              <a:gd name="connsiteX7466" fmla="*/ 2539475 w 4716235"/>
              <a:gd name="connsiteY7466" fmla="*/ 3195722 h 4596459"/>
              <a:gd name="connsiteX7467" fmla="*/ 2550213 w 4716235"/>
              <a:gd name="connsiteY7467" fmla="*/ 3206458 h 4596459"/>
              <a:gd name="connsiteX7468" fmla="*/ 2539475 w 4716235"/>
              <a:gd name="connsiteY7468" fmla="*/ 3217196 h 4596459"/>
              <a:gd name="connsiteX7469" fmla="*/ 2528739 w 4716235"/>
              <a:gd name="connsiteY7469" fmla="*/ 3206458 h 4596459"/>
              <a:gd name="connsiteX7470" fmla="*/ 2539475 w 4716235"/>
              <a:gd name="connsiteY7470" fmla="*/ 3195722 h 4596459"/>
              <a:gd name="connsiteX7471" fmla="*/ 4281808 w 4716235"/>
              <a:gd name="connsiteY7471" fmla="*/ 3194732 h 4596459"/>
              <a:gd name="connsiteX7472" fmla="*/ 4289572 w 4716235"/>
              <a:gd name="connsiteY7472" fmla="*/ 3202496 h 4596459"/>
              <a:gd name="connsiteX7473" fmla="*/ 4281808 w 4716235"/>
              <a:gd name="connsiteY7473" fmla="*/ 3210260 h 4596459"/>
              <a:gd name="connsiteX7474" fmla="*/ 4274045 w 4716235"/>
              <a:gd name="connsiteY7474" fmla="*/ 3202496 h 4596459"/>
              <a:gd name="connsiteX7475" fmla="*/ 4281808 w 4716235"/>
              <a:gd name="connsiteY7475" fmla="*/ 3194732 h 4596459"/>
              <a:gd name="connsiteX7476" fmla="*/ 3244304 w 4716235"/>
              <a:gd name="connsiteY7476" fmla="*/ 3187958 h 4596459"/>
              <a:gd name="connsiteX7477" fmla="*/ 3255042 w 4716235"/>
              <a:gd name="connsiteY7477" fmla="*/ 3198694 h 4596459"/>
              <a:gd name="connsiteX7478" fmla="*/ 3244304 w 4716235"/>
              <a:gd name="connsiteY7478" fmla="*/ 3209432 h 4596459"/>
              <a:gd name="connsiteX7479" fmla="*/ 3233568 w 4716235"/>
              <a:gd name="connsiteY7479" fmla="*/ 3198694 h 4596459"/>
              <a:gd name="connsiteX7480" fmla="*/ 3244304 w 4716235"/>
              <a:gd name="connsiteY7480" fmla="*/ 3187958 h 4596459"/>
              <a:gd name="connsiteX7481" fmla="*/ 934409 w 4716235"/>
              <a:gd name="connsiteY7481" fmla="*/ 3183333 h 4596459"/>
              <a:gd name="connsiteX7482" fmla="*/ 945147 w 4716235"/>
              <a:gd name="connsiteY7482" fmla="*/ 3194069 h 4596459"/>
              <a:gd name="connsiteX7483" fmla="*/ 934409 w 4716235"/>
              <a:gd name="connsiteY7483" fmla="*/ 3204807 h 4596459"/>
              <a:gd name="connsiteX7484" fmla="*/ 923672 w 4716235"/>
              <a:gd name="connsiteY7484" fmla="*/ 3194069 h 4596459"/>
              <a:gd name="connsiteX7485" fmla="*/ 934409 w 4716235"/>
              <a:gd name="connsiteY7485" fmla="*/ 3183333 h 4596459"/>
              <a:gd name="connsiteX7486" fmla="*/ 4093171 w 4716235"/>
              <a:gd name="connsiteY7486" fmla="*/ 3182013 h 4596459"/>
              <a:gd name="connsiteX7487" fmla="*/ 4103908 w 4716235"/>
              <a:gd name="connsiteY7487" fmla="*/ 3192749 h 4596459"/>
              <a:gd name="connsiteX7488" fmla="*/ 4093171 w 4716235"/>
              <a:gd name="connsiteY7488" fmla="*/ 3203486 h 4596459"/>
              <a:gd name="connsiteX7489" fmla="*/ 4082435 w 4716235"/>
              <a:gd name="connsiteY7489" fmla="*/ 3192749 h 4596459"/>
              <a:gd name="connsiteX7490" fmla="*/ 4093171 w 4716235"/>
              <a:gd name="connsiteY7490" fmla="*/ 3182013 h 4596459"/>
              <a:gd name="connsiteX7491" fmla="*/ 4308733 w 4716235"/>
              <a:gd name="connsiteY7491" fmla="*/ 3180031 h 4596459"/>
              <a:gd name="connsiteX7492" fmla="*/ 4308897 w 4716235"/>
              <a:gd name="connsiteY7492" fmla="*/ 3180031 h 4596459"/>
              <a:gd name="connsiteX7493" fmla="*/ 4308897 w 4716235"/>
              <a:gd name="connsiteY7493" fmla="*/ 3180196 h 4596459"/>
              <a:gd name="connsiteX7494" fmla="*/ 3816657 w 4716235"/>
              <a:gd name="connsiteY7494" fmla="*/ 3179204 h 4596459"/>
              <a:gd name="connsiteX7495" fmla="*/ 3827395 w 4716235"/>
              <a:gd name="connsiteY7495" fmla="*/ 3189940 h 4596459"/>
              <a:gd name="connsiteX7496" fmla="*/ 3816657 w 4716235"/>
              <a:gd name="connsiteY7496" fmla="*/ 3200678 h 4596459"/>
              <a:gd name="connsiteX7497" fmla="*/ 3805921 w 4716235"/>
              <a:gd name="connsiteY7497" fmla="*/ 3189940 h 4596459"/>
              <a:gd name="connsiteX7498" fmla="*/ 3816657 w 4716235"/>
              <a:gd name="connsiteY7498" fmla="*/ 3179204 h 4596459"/>
              <a:gd name="connsiteX7499" fmla="*/ 4266446 w 4716235"/>
              <a:gd name="connsiteY7499" fmla="*/ 3176396 h 4596459"/>
              <a:gd name="connsiteX7500" fmla="*/ 4277182 w 4716235"/>
              <a:gd name="connsiteY7500" fmla="*/ 3187132 h 4596459"/>
              <a:gd name="connsiteX7501" fmla="*/ 4266446 w 4716235"/>
              <a:gd name="connsiteY7501" fmla="*/ 3197869 h 4596459"/>
              <a:gd name="connsiteX7502" fmla="*/ 4255710 w 4716235"/>
              <a:gd name="connsiteY7502" fmla="*/ 3187132 h 4596459"/>
              <a:gd name="connsiteX7503" fmla="*/ 4266446 w 4716235"/>
              <a:gd name="connsiteY7503" fmla="*/ 3176396 h 4596459"/>
              <a:gd name="connsiteX7504" fmla="*/ 3958713 w 4716235"/>
              <a:gd name="connsiteY7504" fmla="*/ 3173753 h 4596459"/>
              <a:gd name="connsiteX7505" fmla="*/ 3969451 w 4716235"/>
              <a:gd name="connsiteY7505" fmla="*/ 3184490 h 4596459"/>
              <a:gd name="connsiteX7506" fmla="*/ 3958713 w 4716235"/>
              <a:gd name="connsiteY7506" fmla="*/ 3195226 h 4596459"/>
              <a:gd name="connsiteX7507" fmla="*/ 3947977 w 4716235"/>
              <a:gd name="connsiteY7507" fmla="*/ 3184490 h 4596459"/>
              <a:gd name="connsiteX7508" fmla="*/ 3958713 w 4716235"/>
              <a:gd name="connsiteY7508" fmla="*/ 3173753 h 4596459"/>
              <a:gd name="connsiteX7509" fmla="*/ 3626699 w 4716235"/>
              <a:gd name="connsiteY7509" fmla="*/ 3172102 h 4596459"/>
              <a:gd name="connsiteX7510" fmla="*/ 3637437 w 4716235"/>
              <a:gd name="connsiteY7510" fmla="*/ 3182839 h 4596459"/>
              <a:gd name="connsiteX7511" fmla="*/ 3626699 w 4716235"/>
              <a:gd name="connsiteY7511" fmla="*/ 3193575 h 4596459"/>
              <a:gd name="connsiteX7512" fmla="*/ 3615963 w 4716235"/>
              <a:gd name="connsiteY7512" fmla="*/ 3182839 h 4596459"/>
              <a:gd name="connsiteX7513" fmla="*/ 3626699 w 4716235"/>
              <a:gd name="connsiteY7513" fmla="*/ 3172102 h 4596459"/>
              <a:gd name="connsiteX7514" fmla="*/ 4166677 w 4716235"/>
              <a:gd name="connsiteY7514" fmla="*/ 3170781 h 4596459"/>
              <a:gd name="connsiteX7515" fmla="*/ 4177415 w 4716235"/>
              <a:gd name="connsiteY7515" fmla="*/ 3181517 h 4596459"/>
              <a:gd name="connsiteX7516" fmla="*/ 4176341 w 4716235"/>
              <a:gd name="connsiteY7516" fmla="*/ 3182591 h 4596459"/>
              <a:gd name="connsiteX7517" fmla="*/ 4185838 w 4716235"/>
              <a:gd name="connsiteY7517" fmla="*/ 3192087 h 4596459"/>
              <a:gd name="connsiteX7518" fmla="*/ 4184599 w 4716235"/>
              <a:gd name="connsiteY7518" fmla="*/ 3193327 h 4596459"/>
              <a:gd name="connsiteX7519" fmla="*/ 4191786 w 4716235"/>
              <a:gd name="connsiteY7519" fmla="*/ 3200512 h 4596459"/>
              <a:gd name="connsiteX7520" fmla="*/ 4190627 w 4716235"/>
              <a:gd name="connsiteY7520" fmla="*/ 3201670 h 4596459"/>
              <a:gd name="connsiteX7521" fmla="*/ 4196739 w 4716235"/>
              <a:gd name="connsiteY7521" fmla="*/ 3207780 h 4596459"/>
              <a:gd name="connsiteX7522" fmla="*/ 4195749 w 4716235"/>
              <a:gd name="connsiteY7522" fmla="*/ 3208772 h 4596459"/>
              <a:gd name="connsiteX7523" fmla="*/ 4201697 w 4716235"/>
              <a:gd name="connsiteY7523" fmla="*/ 3214718 h 4596459"/>
              <a:gd name="connsiteX7524" fmla="*/ 4200953 w 4716235"/>
              <a:gd name="connsiteY7524" fmla="*/ 3215464 h 4596459"/>
              <a:gd name="connsiteX7525" fmla="*/ 4207475 w 4716235"/>
              <a:gd name="connsiteY7525" fmla="*/ 3221986 h 4596459"/>
              <a:gd name="connsiteX7526" fmla="*/ 4207310 w 4716235"/>
              <a:gd name="connsiteY7526" fmla="*/ 3222151 h 4596459"/>
              <a:gd name="connsiteX7527" fmla="*/ 4214332 w 4716235"/>
              <a:gd name="connsiteY7527" fmla="*/ 3229173 h 4596459"/>
              <a:gd name="connsiteX7528" fmla="*/ 4214745 w 4716235"/>
              <a:gd name="connsiteY7528" fmla="*/ 3228758 h 4596459"/>
              <a:gd name="connsiteX7529" fmla="*/ 4225483 w 4716235"/>
              <a:gd name="connsiteY7529" fmla="*/ 3239494 h 4596459"/>
              <a:gd name="connsiteX7530" fmla="*/ 4214745 w 4716235"/>
              <a:gd name="connsiteY7530" fmla="*/ 3250233 h 4596459"/>
              <a:gd name="connsiteX7531" fmla="*/ 4204917 w 4716235"/>
              <a:gd name="connsiteY7531" fmla="*/ 3240403 h 4596459"/>
              <a:gd name="connsiteX7532" fmla="*/ 4204503 w 4716235"/>
              <a:gd name="connsiteY7532" fmla="*/ 3240818 h 4596459"/>
              <a:gd name="connsiteX7533" fmla="*/ 4193766 w 4716235"/>
              <a:gd name="connsiteY7533" fmla="*/ 3230080 h 4596459"/>
              <a:gd name="connsiteX7534" fmla="*/ 4193931 w 4716235"/>
              <a:gd name="connsiteY7534" fmla="*/ 3229917 h 4596459"/>
              <a:gd name="connsiteX7535" fmla="*/ 4186002 w 4716235"/>
              <a:gd name="connsiteY7535" fmla="*/ 3221986 h 4596459"/>
              <a:gd name="connsiteX7536" fmla="*/ 4186746 w 4716235"/>
              <a:gd name="connsiteY7536" fmla="*/ 3221244 h 4596459"/>
              <a:gd name="connsiteX7537" fmla="*/ 4180222 w 4716235"/>
              <a:gd name="connsiteY7537" fmla="*/ 3214718 h 4596459"/>
              <a:gd name="connsiteX7538" fmla="*/ 4181214 w 4716235"/>
              <a:gd name="connsiteY7538" fmla="*/ 3213728 h 4596459"/>
              <a:gd name="connsiteX7539" fmla="*/ 4175266 w 4716235"/>
              <a:gd name="connsiteY7539" fmla="*/ 3207780 h 4596459"/>
              <a:gd name="connsiteX7540" fmla="*/ 4176423 w 4716235"/>
              <a:gd name="connsiteY7540" fmla="*/ 3206623 h 4596459"/>
              <a:gd name="connsiteX7541" fmla="*/ 4170311 w 4716235"/>
              <a:gd name="connsiteY7541" fmla="*/ 3200512 h 4596459"/>
              <a:gd name="connsiteX7542" fmla="*/ 4171550 w 4716235"/>
              <a:gd name="connsiteY7542" fmla="*/ 3199273 h 4596459"/>
              <a:gd name="connsiteX7543" fmla="*/ 4164365 w 4716235"/>
              <a:gd name="connsiteY7543" fmla="*/ 3192087 h 4596459"/>
              <a:gd name="connsiteX7544" fmla="*/ 4165437 w 4716235"/>
              <a:gd name="connsiteY7544" fmla="*/ 3191015 h 4596459"/>
              <a:gd name="connsiteX7545" fmla="*/ 4155940 w 4716235"/>
              <a:gd name="connsiteY7545" fmla="*/ 3181517 h 4596459"/>
              <a:gd name="connsiteX7546" fmla="*/ 4166677 w 4716235"/>
              <a:gd name="connsiteY7546" fmla="*/ 3170781 h 4596459"/>
              <a:gd name="connsiteX7547" fmla="*/ 252705 w 4716235"/>
              <a:gd name="connsiteY7547" fmla="*/ 3169624 h 4596459"/>
              <a:gd name="connsiteX7548" fmla="*/ 263441 w 4716235"/>
              <a:gd name="connsiteY7548" fmla="*/ 3180360 h 4596459"/>
              <a:gd name="connsiteX7549" fmla="*/ 252705 w 4716235"/>
              <a:gd name="connsiteY7549" fmla="*/ 3191097 h 4596459"/>
              <a:gd name="connsiteX7550" fmla="*/ 241969 w 4716235"/>
              <a:gd name="connsiteY7550" fmla="*/ 3180360 h 4596459"/>
              <a:gd name="connsiteX7551" fmla="*/ 252705 w 4716235"/>
              <a:gd name="connsiteY7551" fmla="*/ 3169624 h 4596459"/>
              <a:gd name="connsiteX7552" fmla="*/ 2723488 w 4716235"/>
              <a:gd name="connsiteY7552" fmla="*/ 3167807 h 4596459"/>
              <a:gd name="connsiteX7553" fmla="*/ 2734226 w 4716235"/>
              <a:gd name="connsiteY7553" fmla="*/ 3178543 h 4596459"/>
              <a:gd name="connsiteX7554" fmla="*/ 2723488 w 4716235"/>
              <a:gd name="connsiteY7554" fmla="*/ 3189281 h 4596459"/>
              <a:gd name="connsiteX7555" fmla="*/ 2712752 w 4716235"/>
              <a:gd name="connsiteY7555" fmla="*/ 3178543 h 4596459"/>
              <a:gd name="connsiteX7556" fmla="*/ 2723488 w 4716235"/>
              <a:gd name="connsiteY7556" fmla="*/ 3167807 h 4596459"/>
              <a:gd name="connsiteX7557" fmla="*/ 4062613 w 4716235"/>
              <a:gd name="connsiteY7557" fmla="*/ 3159547 h 4596459"/>
              <a:gd name="connsiteX7558" fmla="*/ 4073350 w 4716235"/>
              <a:gd name="connsiteY7558" fmla="*/ 3170283 h 4596459"/>
              <a:gd name="connsiteX7559" fmla="*/ 4062613 w 4716235"/>
              <a:gd name="connsiteY7559" fmla="*/ 3181021 h 4596459"/>
              <a:gd name="connsiteX7560" fmla="*/ 4051877 w 4716235"/>
              <a:gd name="connsiteY7560" fmla="*/ 3170283 h 4596459"/>
              <a:gd name="connsiteX7561" fmla="*/ 4062613 w 4716235"/>
              <a:gd name="connsiteY7561" fmla="*/ 3159547 h 4596459"/>
              <a:gd name="connsiteX7562" fmla="*/ 4154454 w 4716235"/>
              <a:gd name="connsiteY7562" fmla="*/ 3157400 h 4596459"/>
              <a:gd name="connsiteX7563" fmla="*/ 4165190 w 4716235"/>
              <a:gd name="connsiteY7563" fmla="*/ 3168136 h 4596459"/>
              <a:gd name="connsiteX7564" fmla="*/ 4154454 w 4716235"/>
              <a:gd name="connsiteY7564" fmla="*/ 3178874 h 4596459"/>
              <a:gd name="connsiteX7565" fmla="*/ 4143718 w 4716235"/>
              <a:gd name="connsiteY7565" fmla="*/ 3168136 h 4596459"/>
              <a:gd name="connsiteX7566" fmla="*/ 4154454 w 4716235"/>
              <a:gd name="connsiteY7566" fmla="*/ 3157400 h 4596459"/>
              <a:gd name="connsiteX7567" fmla="*/ 755021 w 4716235"/>
              <a:gd name="connsiteY7567" fmla="*/ 3153602 h 4596459"/>
              <a:gd name="connsiteX7568" fmla="*/ 765759 w 4716235"/>
              <a:gd name="connsiteY7568" fmla="*/ 3164338 h 4596459"/>
              <a:gd name="connsiteX7569" fmla="*/ 755021 w 4716235"/>
              <a:gd name="connsiteY7569" fmla="*/ 3175075 h 4596459"/>
              <a:gd name="connsiteX7570" fmla="*/ 744285 w 4716235"/>
              <a:gd name="connsiteY7570" fmla="*/ 3164338 h 4596459"/>
              <a:gd name="connsiteX7571" fmla="*/ 755021 w 4716235"/>
              <a:gd name="connsiteY7571" fmla="*/ 3153602 h 4596459"/>
              <a:gd name="connsiteX7572" fmla="*/ 4292050 w 4716235"/>
              <a:gd name="connsiteY7572" fmla="*/ 3152114 h 4596459"/>
              <a:gd name="connsiteX7573" fmla="*/ 4302788 w 4716235"/>
              <a:gd name="connsiteY7573" fmla="*/ 3162850 h 4596459"/>
              <a:gd name="connsiteX7574" fmla="*/ 4292050 w 4716235"/>
              <a:gd name="connsiteY7574" fmla="*/ 3173587 h 4596459"/>
              <a:gd name="connsiteX7575" fmla="*/ 4281313 w 4716235"/>
              <a:gd name="connsiteY7575" fmla="*/ 3162850 h 4596459"/>
              <a:gd name="connsiteX7576" fmla="*/ 4292050 w 4716235"/>
              <a:gd name="connsiteY7576" fmla="*/ 3152114 h 4596459"/>
              <a:gd name="connsiteX7577" fmla="*/ 3378267 w 4716235"/>
              <a:gd name="connsiteY7577" fmla="*/ 3148150 h 4596459"/>
              <a:gd name="connsiteX7578" fmla="*/ 3389003 w 4716235"/>
              <a:gd name="connsiteY7578" fmla="*/ 3158886 h 4596459"/>
              <a:gd name="connsiteX7579" fmla="*/ 3378267 w 4716235"/>
              <a:gd name="connsiteY7579" fmla="*/ 3169624 h 4596459"/>
              <a:gd name="connsiteX7580" fmla="*/ 3367530 w 4716235"/>
              <a:gd name="connsiteY7580" fmla="*/ 3158886 h 4596459"/>
              <a:gd name="connsiteX7581" fmla="*/ 3378267 w 4716235"/>
              <a:gd name="connsiteY7581" fmla="*/ 3148150 h 4596459"/>
              <a:gd name="connsiteX7582" fmla="*/ 4136944 w 4716235"/>
              <a:gd name="connsiteY7582" fmla="*/ 3139891 h 4596459"/>
              <a:gd name="connsiteX7583" fmla="*/ 4147680 w 4716235"/>
              <a:gd name="connsiteY7583" fmla="*/ 3150628 h 4596459"/>
              <a:gd name="connsiteX7584" fmla="*/ 4136944 w 4716235"/>
              <a:gd name="connsiteY7584" fmla="*/ 3161366 h 4596459"/>
              <a:gd name="connsiteX7585" fmla="*/ 4126208 w 4716235"/>
              <a:gd name="connsiteY7585" fmla="*/ 3150628 h 4596459"/>
              <a:gd name="connsiteX7586" fmla="*/ 4136944 w 4716235"/>
              <a:gd name="connsiteY7586" fmla="*/ 3139891 h 4596459"/>
              <a:gd name="connsiteX7587" fmla="*/ 4279165 w 4716235"/>
              <a:gd name="connsiteY7587" fmla="*/ 3136753 h 4596459"/>
              <a:gd name="connsiteX7588" fmla="*/ 4289903 w 4716235"/>
              <a:gd name="connsiteY7588" fmla="*/ 3147489 h 4596459"/>
              <a:gd name="connsiteX7589" fmla="*/ 4279165 w 4716235"/>
              <a:gd name="connsiteY7589" fmla="*/ 3158227 h 4596459"/>
              <a:gd name="connsiteX7590" fmla="*/ 4268428 w 4716235"/>
              <a:gd name="connsiteY7590" fmla="*/ 3147489 h 4596459"/>
              <a:gd name="connsiteX7591" fmla="*/ 4279165 w 4716235"/>
              <a:gd name="connsiteY7591" fmla="*/ 3136753 h 4596459"/>
              <a:gd name="connsiteX7592" fmla="*/ 2897094 w 4716235"/>
              <a:gd name="connsiteY7592" fmla="*/ 3136257 h 4596459"/>
              <a:gd name="connsiteX7593" fmla="*/ 2907830 w 4716235"/>
              <a:gd name="connsiteY7593" fmla="*/ 3146993 h 4596459"/>
              <a:gd name="connsiteX7594" fmla="*/ 2897094 w 4716235"/>
              <a:gd name="connsiteY7594" fmla="*/ 3157731 h 4596459"/>
              <a:gd name="connsiteX7595" fmla="*/ 2886358 w 4716235"/>
              <a:gd name="connsiteY7595" fmla="*/ 3146993 h 4596459"/>
              <a:gd name="connsiteX7596" fmla="*/ 2897094 w 4716235"/>
              <a:gd name="connsiteY7596" fmla="*/ 3136257 h 4596459"/>
              <a:gd name="connsiteX7597" fmla="*/ 3896109 w 4716235"/>
              <a:gd name="connsiteY7597" fmla="*/ 3135431 h 4596459"/>
              <a:gd name="connsiteX7598" fmla="*/ 3906847 w 4716235"/>
              <a:gd name="connsiteY7598" fmla="*/ 3146167 h 4596459"/>
              <a:gd name="connsiteX7599" fmla="*/ 3896109 w 4716235"/>
              <a:gd name="connsiteY7599" fmla="*/ 3156904 h 4596459"/>
              <a:gd name="connsiteX7600" fmla="*/ 3885372 w 4716235"/>
              <a:gd name="connsiteY7600" fmla="*/ 3146167 h 4596459"/>
              <a:gd name="connsiteX7601" fmla="*/ 3896109 w 4716235"/>
              <a:gd name="connsiteY7601" fmla="*/ 3135431 h 4596459"/>
              <a:gd name="connsiteX7602" fmla="*/ 4198391 w 4716235"/>
              <a:gd name="connsiteY7602" fmla="*/ 3131796 h 4596459"/>
              <a:gd name="connsiteX7603" fmla="*/ 4209128 w 4716235"/>
              <a:gd name="connsiteY7603" fmla="*/ 3142533 h 4596459"/>
              <a:gd name="connsiteX7604" fmla="*/ 4206072 w 4716235"/>
              <a:gd name="connsiteY7604" fmla="*/ 3145588 h 4596459"/>
              <a:gd name="connsiteX7605" fmla="*/ 4214745 w 4716235"/>
              <a:gd name="connsiteY7605" fmla="*/ 3154261 h 4596459"/>
              <a:gd name="connsiteX7606" fmla="*/ 4211771 w 4716235"/>
              <a:gd name="connsiteY7606" fmla="*/ 3157235 h 4596459"/>
              <a:gd name="connsiteX7607" fmla="*/ 4218874 w 4716235"/>
              <a:gd name="connsiteY7607" fmla="*/ 3164338 h 4596459"/>
              <a:gd name="connsiteX7608" fmla="*/ 4216231 w 4716235"/>
              <a:gd name="connsiteY7608" fmla="*/ 3166981 h 4596459"/>
              <a:gd name="connsiteX7609" fmla="*/ 4222507 w 4716235"/>
              <a:gd name="connsiteY7609" fmla="*/ 3173257 h 4596459"/>
              <a:gd name="connsiteX7610" fmla="*/ 4220277 w 4716235"/>
              <a:gd name="connsiteY7610" fmla="*/ 3175487 h 4596459"/>
              <a:gd name="connsiteX7611" fmla="*/ 4226803 w 4716235"/>
              <a:gd name="connsiteY7611" fmla="*/ 3182011 h 4596459"/>
              <a:gd name="connsiteX7612" fmla="*/ 4225150 w 4716235"/>
              <a:gd name="connsiteY7612" fmla="*/ 3183664 h 4596459"/>
              <a:gd name="connsiteX7613" fmla="*/ 4232584 w 4716235"/>
              <a:gd name="connsiteY7613" fmla="*/ 3191097 h 4596459"/>
              <a:gd name="connsiteX7614" fmla="*/ 4231509 w 4716235"/>
              <a:gd name="connsiteY7614" fmla="*/ 3192172 h 4596459"/>
              <a:gd name="connsiteX7615" fmla="*/ 4240511 w 4716235"/>
              <a:gd name="connsiteY7615" fmla="*/ 3201172 h 4596459"/>
              <a:gd name="connsiteX7616" fmla="*/ 4229775 w 4716235"/>
              <a:gd name="connsiteY7616" fmla="*/ 3211910 h 4596459"/>
              <a:gd name="connsiteX7617" fmla="*/ 4219039 w 4716235"/>
              <a:gd name="connsiteY7617" fmla="*/ 3201172 h 4596459"/>
              <a:gd name="connsiteX7618" fmla="*/ 4220112 w 4716235"/>
              <a:gd name="connsiteY7618" fmla="*/ 3200099 h 4596459"/>
              <a:gd name="connsiteX7619" fmla="*/ 4211110 w 4716235"/>
              <a:gd name="connsiteY7619" fmla="*/ 3191097 h 4596459"/>
              <a:gd name="connsiteX7620" fmla="*/ 4212763 w 4716235"/>
              <a:gd name="connsiteY7620" fmla="*/ 3189444 h 4596459"/>
              <a:gd name="connsiteX7621" fmla="*/ 4205330 w 4716235"/>
              <a:gd name="connsiteY7621" fmla="*/ 3182011 h 4596459"/>
              <a:gd name="connsiteX7622" fmla="*/ 4207560 w 4716235"/>
              <a:gd name="connsiteY7622" fmla="*/ 3179783 h 4596459"/>
              <a:gd name="connsiteX7623" fmla="*/ 4201034 w 4716235"/>
              <a:gd name="connsiteY7623" fmla="*/ 3173257 h 4596459"/>
              <a:gd name="connsiteX7624" fmla="*/ 4203677 w 4716235"/>
              <a:gd name="connsiteY7624" fmla="*/ 3170614 h 4596459"/>
              <a:gd name="connsiteX7625" fmla="*/ 4197401 w 4716235"/>
              <a:gd name="connsiteY7625" fmla="*/ 3164338 h 4596459"/>
              <a:gd name="connsiteX7626" fmla="*/ 4200375 w 4716235"/>
              <a:gd name="connsiteY7626" fmla="*/ 3161366 h 4596459"/>
              <a:gd name="connsiteX7627" fmla="*/ 4193272 w 4716235"/>
              <a:gd name="connsiteY7627" fmla="*/ 3154261 h 4596459"/>
              <a:gd name="connsiteX7628" fmla="*/ 4196328 w 4716235"/>
              <a:gd name="connsiteY7628" fmla="*/ 3151205 h 4596459"/>
              <a:gd name="connsiteX7629" fmla="*/ 4187655 w 4716235"/>
              <a:gd name="connsiteY7629" fmla="*/ 3142533 h 4596459"/>
              <a:gd name="connsiteX7630" fmla="*/ 4198391 w 4716235"/>
              <a:gd name="connsiteY7630" fmla="*/ 3131796 h 4596459"/>
              <a:gd name="connsiteX7631" fmla="*/ 4317653 w 4716235"/>
              <a:gd name="connsiteY7631" fmla="*/ 3131136 h 4596459"/>
              <a:gd name="connsiteX7632" fmla="*/ 4326407 w 4716235"/>
              <a:gd name="connsiteY7632" fmla="*/ 3139890 h 4596459"/>
              <a:gd name="connsiteX7633" fmla="*/ 4317653 w 4716235"/>
              <a:gd name="connsiteY7633" fmla="*/ 3148644 h 4596459"/>
              <a:gd name="connsiteX7634" fmla="*/ 4308899 w 4716235"/>
              <a:gd name="connsiteY7634" fmla="*/ 3139890 h 4596459"/>
              <a:gd name="connsiteX7635" fmla="*/ 4317653 w 4716235"/>
              <a:gd name="connsiteY7635" fmla="*/ 3131136 h 4596459"/>
              <a:gd name="connsiteX7636" fmla="*/ 4021647 w 4716235"/>
              <a:gd name="connsiteY7636" fmla="*/ 3130145 h 4596459"/>
              <a:gd name="connsiteX7637" fmla="*/ 4032385 w 4716235"/>
              <a:gd name="connsiteY7637" fmla="*/ 3140882 h 4596459"/>
              <a:gd name="connsiteX7638" fmla="*/ 4021647 w 4716235"/>
              <a:gd name="connsiteY7638" fmla="*/ 3151620 h 4596459"/>
              <a:gd name="connsiteX7639" fmla="*/ 4010910 w 4716235"/>
              <a:gd name="connsiteY7639" fmla="*/ 3140882 h 4596459"/>
              <a:gd name="connsiteX7640" fmla="*/ 4021647 w 4716235"/>
              <a:gd name="connsiteY7640" fmla="*/ 3130145 h 4596459"/>
              <a:gd name="connsiteX7641" fmla="*/ 123534 w 4716235"/>
              <a:gd name="connsiteY7641" fmla="*/ 3129320 h 4596459"/>
              <a:gd name="connsiteX7642" fmla="*/ 134271 w 4716235"/>
              <a:gd name="connsiteY7642" fmla="*/ 3140056 h 4596459"/>
              <a:gd name="connsiteX7643" fmla="*/ 123534 w 4716235"/>
              <a:gd name="connsiteY7643" fmla="*/ 3150793 h 4596459"/>
              <a:gd name="connsiteX7644" fmla="*/ 112798 w 4716235"/>
              <a:gd name="connsiteY7644" fmla="*/ 3140056 h 4596459"/>
              <a:gd name="connsiteX7645" fmla="*/ 123534 w 4716235"/>
              <a:gd name="connsiteY7645" fmla="*/ 3129320 h 4596459"/>
              <a:gd name="connsiteX7646" fmla="*/ 3726302 w 4716235"/>
              <a:gd name="connsiteY7646" fmla="*/ 3129153 h 4596459"/>
              <a:gd name="connsiteX7647" fmla="*/ 3737040 w 4716235"/>
              <a:gd name="connsiteY7647" fmla="*/ 3139890 h 4596459"/>
              <a:gd name="connsiteX7648" fmla="*/ 3726302 w 4716235"/>
              <a:gd name="connsiteY7648" fmla="*/ 3150628 h 4596459"/>
              <a:gd name="connsiteX7649" fmla="*/ 3715566 w 4716235"/>
              <a:gd name="connsiteY7649" fmla="*/ 3139890 h 4596459"/>
              <a:gd name="connsiteX7650" fmla="*/ 3726302 w 4716235"/>
              <a:gd name="connsiteY7650" fmla="*/ 3129153 h 4596459"/>
              <a:gd name="connsiteX7651" fmla="*/ 586371 w 4716235"/>
              <a:gd name="connsiteY7651" fmla="*/ 3120399 h 4596459"/>
              <a:gd name="connsiteX7652" fmla="*/ 597109 w 4716235"/>
              <a:gd name="connsiteY7652" fmla="*/ 3131136 h 4596459"/>
              <a:gd name="connsiteX7653" fmla="*/ 586371 w 4716235"/>
              <a:gd name="connsiteY7653" fmla="*/ 3141874 h 4596459"/>
              <a:gd name="connsiteX7654" fmla="*/ 575635 w 4716235"/>
              <a:gd name="connsiteY7654" fmla="*/ 3131136 h 4596459"/>
              <a:gd name="connsiteX7655" fmla="*/ 586371 w 4716235"/>
              <a:gd name="connsiteY7655" fmla="*/ 3120399 h 4596459"/>
              <a:gd name="connsiteX7656" fmla="*/ 4343420 w 4716235"/>
              <a:gd name="connsiteY7656" fmla="*/ 3117756 h 4596459"/>
              <a:gd name="connsiteX7657" fmla="*/ 4343751 w 4716235"/>
              <a:gd name="connsiteY7657" fmla="*/ 3118088 h 4596459"/>
              <a:gd name="connsiteX7658" fmla="*/ 4343420 w 4716235"/>
              <a:gd name="connsiteY7658" fmla="*/ 3118417 h 4596459"/>
              <a:gd name="connsiteX7659" fmla="*/ 4343090 w 4716235"/>
              <a:gd name="connsiteY7659" fmla="*/ 3118088 h 4596459"/>
              <a:gd name="connsiteX7660" fmla="*/ 4343420 w 4716235"/>
              <a:gd name="connsiteY7660" fmla="*/ 3117756 h 4596459"/>
              <a:gd name="connsiteX7661" fmla="*/ 4189637 w 4716235"/>
              <a:gd name="connsiteY7661" fmla="*/ 3117260 h 4596459"/>
              <a:gd name="connsiteX7662" fmla="*/ 4200374 w 4716235"/>
              <a:gd name="connsiteY7662" fmla="*/ 3127997 h 4596459"/>
              <a:gd name="connsiteX7663" fmla="*/ 4189637 w 4716235"/>
              <a:gd name="connsiteY7663" fmla="*/ 3138735 h 4596459"/>
              <a:gd name="connsiteX7664" fmla="*/ 4178901 w 4716235"/>
              <a:gd name="connsiteY7664" fmla="*/ 3127997 h 4596459"/>
              <a:gd name="connsiteX7665" fmla="*/ 4189637 w 4716235"/>
              <a:gd name="connsiteY7665" fmla="*/ 3117260 h 4596459"/>
              <a:gd name="connsiteX7666" fmla="*/ 4112332 w 4716235"/>
              <a:gd name="connsiteY7666" fmla="*/ 3116931 h 4596459"/>
              <a:gd name="connsiteX7667" fmla="*/ 4123069 w 4716235"/>
              <a:gd name="connsiteY7667" fmla="*/ 3127667 h 4596459"/>
              <a:gd name="connsiteX7668" fmla="*/ 4112332 w 4716235"/>
              <a:gd name="connsiteY7668" fmla="*/ 3138404 h 4596459"/>
              <a:gd name="connsiteX7669" fmla="*/ 4101596 w 4716235"/>
              <a:gd name="connsiteY7669" fmla="*/ 3127667 h 4596459"/>
              <a:gd name="connsiteX7670" fmla="*/ 4112332 w 4716235"/>
              <a:gd name="connsiteY7670" fmla="*/ 3116931 h 4596459"/>
              <a:gd name="connsiteX7671" fmla="*/ 4303447 w 4716235"/>
              <a:gd name="connsiteY7671" fmla="*/ 3111810 h 4596459"/>
              <a:gd name="connsiteX7672" fmla="*/ 4314185 w 4716235"/>
              <a:gd name="connsiteY7672" fmla="*/ 3122546 h 4596459"/>
              <a:gd name="connsiteX7673" fmla="*/ 4303447 w 4716235"/>
              <a:gd name="connsiteY7673" fmla="*/ 3133282 h 4596459"/>
              <a:gd name="connsiteX7674" fmla="*/ 4292710 w 4716235"/>
              <a:gd name="connsiteY7674" fmla="*/ 3122546 h 4596459"/>
              <a:gd name="connsiteX7675" fmla="*/ 4303447 w 4716235"/>
              <a:gd name="connsiteY7675" fmla="*/ 3111810 h 4596459"/>
              <a:gd name="connsiteX7676" fmla="*/ 3501987 w 4716235"/>
              <a:gd name="connsiteY7676" fmla="*/ 3107516 h 4596459"/>
              <a:gd name="connsiteX7677" fmla="*/ 3512723 w 4716235"/>
              <a:gd name="connsiteY7677" fmla="*/ 3118252 h 4596459"/>
              <a:gd name="connsiteX7678" fmla="*/ 3501987 w 4716235"/>
              <a:gd name="connsiteY7678" fmla="*/ 3128990 h 4596459"/>
              <a:gd name="connsiteX7679" fmla="*/ 3491251 w 4716235"/>
              <a:gd name="connsiteY7679" fmla="*/ 3118252 h 4596459"/>
              <a:gd name="connsiteX7680" fmla="*/ 3501987 w 4716235"/>
              <a:gd name="connsiteY7680" fmla="*/ 3107516 h 4596459"/>
              <a:gd name="connsiteX7681" fmla="*/ 3059797 w 4716235"/>
              <a:gd name="connsiteY7681" fmla="*/ 3101734 h 4596459"/>
              <a:gd name="connsiteX7682" fmla="*/ 3070535 w 4716235"/>
              <a:gd name="connsiteY7682" fmla="*/ 3112470 h 4596459"/>
              <a:gd name="connsiteX7683" fmla="*/ 3059797 w 4716235"/>
              <a:gd name="connsiteY7683" fmla="*/ 3123209 h 4596459"/>
              <a:gd name="connsiteX7684" fmla="*/ 3049061 w 4716235"/>
              <a:gd name="connsiteY7684" fmla="*/ 3112470 h 4596459"/>
              <a:gd name="connsiteX7685" fmla="*/ 3059797 w 4716235"/>
              <a:gd name="connsiteY7685" fmla="*/ 3101734 h 4596459"/>
              <a:gd name="connsiteX7686" fmla="*/ 4176423 w 4716235"/>
              <a:gd name="connsiteY7686" fmla="*/ 3098926 h 4596459"/>
              <a:gd name="connsiteX7687" fmla="*/ 4187161 w 4716235"/>
              <a:gd name="connsiteY7687" fmla="*/ 3109663 h 4596459"/>
              <a:gd name="connsiteX7688" fmla="*/ 4176423 w 4716235"/>
              <a:gd name="connsiteY7688" fmla="*/ 3120399 h 4596459"/>
              <a:gd name="connsiteX7689" fmla="*/ 4165686 w 4716235"/>
              <a:gd name="connsiteY7689" fmla="*/ 3109663 h 4596459"/>
              <a:gd name="connsiteX7690" fmla="*/ 4176423 w 4716235"/>
              <a:gd name="connsiteY7690" fmla="*/ 3098926 h 4596459"/>
              <a:gd name="connsiteX7691" fmla="*/ 4293040 w 4716235"/>
              <a:gd name="connsiteY7691" fmla="*/ 3095952 h 4596459"/>
              <a:gd name="connsiteX7692" fmla="*/ 4303776 w 4716235"/>
              <a:gd name="connsiteY7692" fmla="*/ 3106689 h 4596459"/>
              <a:gd name="connsiteX7693" fmla="*/ 4293040 w 4716235"/>
              <a:gd name="connsiteY7693" fmla="*/ 3117425 h 4596459"/>
              <a:gd name="connsiteX7694" fmla="*/ 4282304 w 4716235"/>
              <a:gd name="connsiteY7694" fmla="*/ 3106689 h 4596459"/>
              <a:gd name="connsiteX7695" fmla="*/ 4293040 w 4716235"/>
              <a:gd name="connsiteY7695" fmla="*/ 3095952 h 4596459"/>
              <a:gd name="connsiteX7696" fmla="*/ 3968294 w 4716235"/>
              <a:gd name="connsiteY7696" fmla="*/ 3092319 h 4596459"/>
              <a:gd name="connsiteX7697" fmla="*/ 3979031 w 4716235"/>
              <a:gd name="connsiteY7697" fmla="*/ 3103056 h 4596459"/>
              <a:gd name="connsiteX7698" fmla="*/ 3968294 w 4716235"/>
              <a:gd name="connsiteY7698" fmla="*/ 3113792 h 4596459"/>
              <a:gd name="connsiteX7699" fmla="*/ 3957558 w 4716235"/>
              <a:gd name="connsiteY7699" fmla="*/ 3103056 h 4596459"/>
              <a:gd name="connsiteX7700" fmla="*/ 3968294 w 4716235"/>
              <a:gd name="connsiteY7700" fmla="*/ 3092319 h 4596459"/>
              <a:gd name="connsiteX7701" fmla="*/ 1838116 w 4716235"/>
              <a:gd name="connsiteY7701" fmla="*/ 3090831 h 4596459"/>
              <a:gd name="connsiteX7702" fmla="*/ 1848854 w 4716235"/>
              <a:gd name="connsiteY7702" fmla="*/ 3101568 h 4596459"/>
              <a:gd name="connsiteX7703" fmla="*/ 1838116 w 4716235"/>
              <a:gd name="connsiteY7703" fmla="*/ 3112306 h 4596459"/>
              <a:gd name="connsiteX7704" fmla="*/ 1827380 w 4716235"/>
              <a:gd name="connsiteY7704" fmla="*/ 3101568 h 4596459"/>
              <a:gd name="connsiteX7705" fmla="*/ 1838116 w 4716235"/>
              <a:gd name="connsiteY7705" fmla="*/ 3090831 h 4596459"/>
              <a:gd name="connsiteX7706" fmla="*/ 1622059 w 4716235"/>
              <a:gd name="connsiteY7706" fmla="*/ 3089016 h 4596459"/>
              <a:gd name="connsiteX7707" fmla="*/ 1632797 w 4716235"/>
              <a:gd name="connsiteY7707" fmla="*/ 3099752 h 4596459"/>
              <a:gd name="connsiteX7708" fmla="*/ 1622059 w 4716235"/>
              <a:gd name="connsiteY7708" fmla="*/ 3110488 h 4596459"/>
              <a:gd name="connsiteX7709" fmla="*/ 1611323 w 4716235"/>
              <a:gd name="connsiteY7709" fmla="*/ 3099752 h 4596459"/>
              <a:gd name="connsiteX7710" fmla="*/ 1622059 w 4716235"/>
              <a:gd name="connsiteY7710" fmla="*/ 3089016 h 4596459"/>
              <a:gd name="connsiteX7711" fmla="*/ 4604 w 4716235"/>
              <a:gd name="connsiteY7711" fmla="*/ 3088355 h 4596459"/>
              <a:gd name="connsiteX7712" fmla="*/ 15342 w 4716235"/>
              <a:gd name="connsiteY7712" fmla="*/ 3099091 h 4596459"/>
              <a:gd name="connsiteX7713" fmla="*/ 4604 w 4716235"/>
              <a:gd name="connsiteY7713" fmla="*/ 3109829 h 4596459"/>
              <a:gd name="connsiteX7714" fmla="*/ 0 w 4716235"/>
              <a:gd name="connsiteY7714" fmla="*/ 3105225 h 4596459"/>
              <a:gd name="connsiteX7715" fmla="*/ 0 w 4716235"/>
              <a:gd name="connsiteY7715" fmla="*/ 3092959 h 4596459"/>
              <a:gd name="connsiteX7716" fmla="*/ 4327729 w 4716235"/>
              <a:gd name="connsiteY7716" fmla="*/ 3088190 h 4596459"/>
              <a:gd name="connsiteX7717" fmla="*/ 4338467 w 4716235"/>
              <a:gd name="connsiteY7717" fmla="*/ 3098926 h 4596459"/>
              <a:gd name="connsiteX7718" fmla="*/ 4327729 w 4716235"/>
              <a:gd name="connsiteY7718" fmla="*/ 3109663 h 4596459"/>
              <a:gd name="connsiteX7719" fmla="*/ 4316992 w 4716235"/>
              <a:gd name="connsiteY7719" fmla="*/ 3098926 h 4596459"/>
              <a:gd name="connsiteX7720" fmla="*/ 4327729 w 4716235"/>
              <a:gd name="connsiteY7720" fmla="*/ 3088190 h 4596459"/>
              <a:gd name="connsiteX7721" fmla="*/ 4078635 w 4716235"/>
              <a:gd name="connsiteY7721" fmla="*/ 3087529 h 4596459"/>
              <a:gd name="connsiteX7722" fmla="*/ 4089372 w 4716235"/>
              <a:gd name="connsiteY7722" fmla="*/ 3098266 h 4596459"/>
              <a:gd name="connsiteX7723" fmla="*/ 4078635 w 4716235"/>
              <a:gd name="connsiteY7723" fmla="*/ 3109002 h 4596459"/>
              <a:gd name="connsiteX7724" fmla="*/ 4067899 w 4716235"/>
              <a:gd name="connsiteY7724" fmla="*/ 3098266 h 4596459"/>
              <a:gd name="connsiteX7725" fmla="*/ 4078635 w 4716235"/>
              <a:gd name="connsiteY7725" fmla="*/ 3087529 h 4596459"/>
              <a:gd name="connsiteX7726" fmla="*/ 3817318 w 4716235"/>
              <a:gd name="connsiteY7726" fmla="*/ 3086537 h 4596459"/>
              <a:gd name="connsiteX7727" fmla="*/ 3828056 w 4716235"/>
              <a:gd name="connsiteY7727" fmla="*/ 3097274 h 4596459"/>
              <a:gd name="connsiteX7728" fmla="*/ 3817318 w 4716235"/>
              <a:gd name="connsiteY7728" fmla="*/ 3108010 h 4596459"/>
              <a:gd name="connsiteX7729" fmla="*/ 3806581 w 4716235"/>
              <a:gd name="connsiteY7729" fmla="*/ 3097274 h 4596459"/>
              <a:gd name="connsiteX7730" fmla="*/ 3817318 w 4716235"/>
              <a:gd name="connsiteY7730" fmla="*/ 3086537 h 4596459"/>
              <a:gd name="connsiteX7731" fmla="*/ 428789 w 4716235"/>
              <a:gd name="connsiteY7731" fmla="*/ 3084887 h 4596459"/>
              <a:gd name="connsiteX7732" fmla="*/ 439527 w 4716235"/>
              <a:gd name="connsiteY7732" fmla="*/ 3095623 h 4596459"/>
              <a:gd name="connsiteX7733" fmla="*/ 428789 w 4716235"/>
              <a:gd name="connsiteY7733" fmla="*/ 3106359 h 4596459"/>
              <a:gd name="connsiteX7734" fmla="*/ 418053 w 4716235"/>
              <a:gd name="connsiteY7734" fmla="*/ 3095623 h 4596459"/>
              <a:gd name="connsiteX7735" fmla="*/ 428789 w 4716235"/>
              <a:gd name="connsiteY7735" fmla="*/ 3084887 h 4596459"/>
              <a:gd name="connsiteX7736" fmla="*/ 2053181 w 4716235"/>
              <a:gd name="connsiteY7736" fmla="*/ 3084720 h 4596459"/>
              <a:gd name="connsiteX7737" fmla="*/ 2063919 w 4716235"/>
              <a:gd name="connsiteY7737" fmla="*/ 3095456 h 4596459"/>
              <a:gd name="connsiteX7738" fmla="*/ 2053181 w 4716235"/>
              <a:gd name="connsiteY7738" fmla="*/ 3106194 h 4596459"/>
              <a:gd name="connsiteX7739" fmla="*/ 2042445 w 4716235"/>
              <a:gd name="connsiteY7739" fmla="*/ 3095456 h 4596459"/>
              <a:gd name="connsiteX7740" fmla="*/ 2053181 w 4716235"/>
              <a:gd name="connsiteY7740" fmla="*/ 3084720 h 4596459"/>
              <a:gd name="connsiteX7741" fmla="*/ 1408809 w 4716235"/>
              <a:gd name="connsiteY7741" fmla="*/ 3079269 h 4596459"/>
              <a:gd name="connsiteX7742" fmla="*/ 1419548 w 4716235"/>
              <a:gd name="connsiteY7742" fmla="*/ 3090006 h 4596459"/>
              <a:gd name="connsiteX7743" fmla="*/ 1408809 w 4716235"/>
              <a:gd name="connsiteY7743" fmla="*/ 3100742 h 4596459"/>
              <a:gd name="connsiteX7744" fmla="*/ 1398073 w 4716235"/>
              <a:gd name="connsiteY7744" fmla="*/ 3090006 h 4596459"/>
              <a:gd name="connsiteX7745" fmla="*/ 1408809 w 4716235"/>
              <a:gd name="connsiteY7745" fmla="*/ 3079269 h 4596459"/>
              <a:gd name="connsiteX7746" fmla="*/ 4221517 w 4716235"/>
              <a:gd name="connsiteY7746" fmla="*/ 3078444 h 4596459"/>
              <a:gd name="connsiteX7747" fmla="*/ 4232253 w 4716235"/>
              <a:gd name="connsiteY7747" fmla="*/ 3089180 h 4596459"/>
              <a:gd name="connsiteX7748" fmla="*/ 4227299 w 4716235"/>
              <a:gd name="connsiteY7748" fmla="*/ 3094135 h 4596459"/>
              <a:gd name="connsiteX7749" fmla="*/ 4238035 w 4716235"/>
              <a:gd name="connsiteY7749" fmla="*/ 3104871 h 4596459"/>
              <a:gd name="connsiteX7750" fmla="*/ 4233245 w 4716235"/>
              <a:gd name="connsiteY7750" fmla="*/ 3109663 h 4596459"/>
              <a:gd name="connsiteX7751" fmla="*/ 4241505 w 4716235"/>
              <a:gd name="connsiteY7751" fmla="*/ 3117921 h 4596459"/>
              <a:gd name="connsiteX7752" fmla="*/ 4237043 w 4716235"/>
              <a:gd name="connsiteY7752" fmla="*/ 3122383 h 4596459"/>
              <a:gd name="connsiteX7753" fmla="*/ 4244146 w 4716235"/>
              <a:gd name="connsiteY7753" fmla="*/ 3129485 h 4596459"/>
              <a:gd name="connsiteX7754" fmla="*/ 4240265 w 4716235"/>
              <a:gd name="connsiteY7754" fmla="*/ 3133367 h 4596459"/>
              <a:gd name="connsiteX7755" fmla="*/ 4246954 w 4716235"/>
              <a:gd name="connsiteY7755" fmla="*/ 3140056 h 4596459"/>
              <a:gd name="connsiteX7756" fmla="*/ 4243650 w 4716235"/>
              <a:gd name="connsiteY7756" fmla="*/ 3143360 h 4596459"/>
              <a:gd name="connsiteX7757" fmla="*/ 4250918 w 4716235"/>
              <a:gd name="connsiteY7757" fmla="*/ 3150628 h 4596459"/>
              <a:gd name="connsiteX7758" fmla="*/ 4248359 w 4716235"/>
              <a:gd name="connsiteY7758" fmla="*/ 3153189 h 4596459"/>
              <a:gd name="connsiteX7759" fmla="*/ 4256866 w 4716235"/>
              <a:gd name="connsiteY7759" fmla="*/ 3161695 h 4596459"/>
              <a:gd name="connsiteX7760" fmla="*/ 4255131 w 4716235"/>
              <a:gd name="connsiteY7760" fmla="*/ 3163431 h 4596459"/>
              <a:gd name="connsiteX7761" fmla="*/ 4265289 w 4716235"/>
              <a:gd name="connsiteY7761" fmla="*/ 3173588 h 4596459"/>
              <a:gd name="connsiteX7762" fmla="*/ 4254553 w 4716235"/>
              <a:gd name="connsiteY7762" fmla="*/ 3184325 h 4596459"/>
              <a:gd name="connsiteX7763" fmla="*/ 4243817 w 4716235"/>
              <a:gd name="connsiteY7763" fmla="*/ 3173588 h 4596459"/>
              <a:gd name="connsiteX7764" fmla="*/ 4245551 w 4716235"/>
              <a:gd name="connsiteY7764" fmla="*/ 3171854 h 4596459"/>
              <a:gd name="connsiteX7765" fmla="*/ 4235392 w 4716235"/>
              <a:gd name="connsiteY7765" fmla="*/ 3161695 h 4596459"/>
              <a:gd name="connsiteX7766" fmla="*/ 4237952 w 4716235"/>
              <a:gd name="connsiteY7766" fmla="*/ 3159136 h 4596459"/>
              <a:gd name="connsiteX7767" fmla="*/ 4229446 w 4716235"/>
              <a:gd name="connsiteY7767" fmla="*/ 3150628 h 4596459"/>
              <a:gd name="connsiteX7768" fmla="*/ 4232749 w 4716235"/>
              <a:gd name="connsiteY7768" fmla="*/ 3147324 h 4596459"/>
              <a:gd name="connsiteX7769" fmla="*/ 4225481 w 4716235"/>
              <a:gd name="connsiteY7769" fmla="*/ 3140056 h 4596459"/>
              <a:gd name="connsiteX7770" fmla="*/ 4229362 w 4716235"/>
              <a:gd name="connsiteY7770" fmla="*/ 3136175 h 4596459"/>
              <a:gd name="connsiteX7771" fmla="*/ 4222674 w 4716235"/>
              <a:gd name="connsiteY7771" fmla="*/ 3129485 h 4596459"/>
              <a:gd name="connsiteX7772" fmla="*/ 4227134 w 4716235"/>
              <a:gd name="connsiteY7772" fmla="*/ 3125024 h 4596459"/>
              <a:gd name="connsiteX7773" fmla="*/ 4220031 w 4716235"/>
              <a:gd name="connsiteY7773" fmla="*/ 3117921 h 4596459"/>
              <a:gd name="connsiteX7774" fmla="*/ 4224822 w 4716235"/>
              <a:gd name="connsiteY7774" fmla="*/ 3113131 h 4596459"/>
              <a:gd name="connsiteX7775" fmla="*/ 4216562 w 4716235"/>
              <a:gd name="connsiteY7775" fmla="*/ 3104871 h 4596459"/>
              <a:gd name="connsiteX7776" fmla="*/ 4221517 w 4716235"/>
              <a:gd name="connsiteY7776" fmla="*/ 3099918 h 4596459"/>
              <a:gd name="connsiteX7777" fmla="*/ 4210780 w 4716235"/>
              <a:gd name="connsiteY7777" fmla="*/ 3089180 h 4596459"/>
              <a:gd name="connsiteX7778" fmla="*/ 4221517 w 4716235"/>
              <a:gd name="connsiteY7778" fmla="*/ 3078444 h 4596459"/>
              <a:gd name="connsiteX7779" fmla="*/ 4157262 w 4716235"/>
              <a:gd name="connsiteY7779" fmla="*/ 3075470 h 4596459"/>
              <a:gd name="connsiteX7780" fmla="*/ 4167998 w 4716235"/>
              <a:gd name="connsiteY7780" fmla="*/ 3086206 h 4596459"/>
              <a:gd name="connsiteX7781" fmla="*/ 4157262 w 4716235"/>
              <a:gd name="connsiteY7781" fmla="*/ 3096944 h 4596459"/>
              <a:gd name="connsiteX7782" fmla="*/ 4146525 w 4716235"/>
              <a:gd name="connsiteY7782" fmla="*/ 3086206 h 4596459"/>
              <a:gd name="connsiteX7783" fmla="*/ 4157262 w 4716235"/>
              <a:gd name="connsiteY7783" fmla="*/ 3075470 h 4596459"/>
              <a:gd name="connsiteX7784" fmla="*/ 2263788 w 4716235"/>
              <a:gd name="connsiteY7784" fmla="*/ 3071011 h 4596459"/>
              <a:gd name="connsiteX7785" fmla="*/ 2274526 w 4716235"/>
              <a:gd name="connsiteY7785" fmla="*/ 3081748 h 4596459"/>
              <a:gd name="connsiteX7786" fmla="*/ 2263788 w 4716235"/>
              <a:gd name="connsiteY7786" fmla="*/ 3092484 h 4596459"/>
              <a:gd name="connsiteX7787" fmla="*/ 2253052 w 4716235"/>
              <a:gd name="connsiteY7787" fmla="*/ 3081748 h 4596459"/>
              <a:gd name="connsiteX7788" fmla="*/ 2263788 w 4716235"/>
              <a:gd name="connsiteY7788" fmla="*/ 3071011 h 4596459"/>
              <a:gd name="connsiteX7789" fmla="*/ 4316165 w 4716235"/>
              <a:gd name="connsiteY7789" fmla="*/ 3070515 h 4596459"/>
              <a:gd name="connsiteX7790" fmla="*/ 4326902 w 4716235"/>
              <a:gd name="connsiteY7790" fmla="*/ 3081252 h 4596459"/>
              <a:gd name="connsiteX7791" fmla="*/ 4316165 w 4716235"/>
              <a:gd name="connsiteY7791" fmla="*/ 3091988 h 4596459"/>
              <a:gd name="connsiteX7792" fmla="*/ 4305429 w 4716235"/>
              <a:gd name="connsiteY7792" fmla="*/ 3081252 h 4596459"/>
              <a:gd name="connsiteX7793" fmla="*/ 4316165 w 4716235"/>
              <a:gd name="connsiteY7793" fmla="*/ 3070515 h 4596459"/>
              <a:gd name="connsiteX7794" fmla="*/ 4352340 w 4716235"/>
              <a:gd name="connsiteY7794" fmla="*/ 3067047 h 4596459"/>
              <a:gd name="connsiteX7795" fmla="*/ 4361757 w 4716235"/>
              <a:gd name="connsiteY7795" fmla="*/ 3076462 h 4596459"/>
              <a:gd name="connsiteX7796" fmla="*/ 4352340 w 4716235"/>
              <a:gd name="connsiteY7796" fmla="*/ 3085877 h 4596459"/>
              <a:gd name="connsiteX7797" fmla="*/ 4342926 w 4716235"/>
              <a:gd name="connsiteY7797" fmla="*/ 3076462 h 4596459"/>
              <a:gd name="connsiteX7798" fmla="*/ 4352340 w 4716235"/>
              <a:gd name="connsiteY7798" fmla="*/ 3067047 h 4596459"/>
              <a:gd name="connsiteX7799" fmla="*/ 3615632 w 4716235"/>
              <a:gd name="connsiteY7799" fmla="*/ 3066386 h 4596459"/>
              <a:gd name="connsiteX7800" fmla="*/ 3626368 w 4716235"/>
              <a:gd name="connsiteY7800" fmla="*/ 3077123 h 4596459"/>
              <a:gd name="connsiteX7801" fmla="*/ 3615632 w 4716235"/>
              <a:gd name="connsiteY7801" fmla="*/ 3087859 h 4596459"/>
              <a:gd name="connsiteX7802" fmla="*/ 3604895 w 4716235"/>
              <a:gd name="connsiteY7802" fmla="*/ 3077123 h 4596459"/>
              <a:gd name="connsiteX7803" fmla="*/ 3615632 w 4716235"/>
              <a:gd name="connsiteY7803" fmla="*/ 3066386 h 4596459"/>
              <a:gd name="connsiteX7804" fmla="*/ 3211433 w 4716235"/>
              <a:gd name="connsiteY7804" fmla="*/ 3065063 h 4596459"/>
              <a:gd name="connsiteX7805" fmla="*/ 3222169 w 4716235"/>
              <a:gd name="connsiteY7805" fmla="*/ 3075799 h 4596459"/>
              <a:gd name="connsiteX7806" fmla="*/ 3211433 w 4716235"/>
              <a:gd name="connsiteY7806" fmla="*/ 3086537 h 4596459"/>
              <a:gd name="connsiteX7807" fmla="*/ 3200696 w 4716235"/>
              <a:gd name="connsiteY7807" fmla="*/ 3075799 h 4596459"/>
              <a:gd name="connsiteX7808" fmla="*/ 3211433 w 4716235"/>
              <a:gd name="connsiteY7808" fmla="*/ 3065063 h 4596459"/>
              <a:gd name="connsiteX7809" fmla="*/ 1201342 w 4716235"/>
              <a:gd name="connsiteY7809" fmla="*/ 3062420 h 4596459"/>
              <a:gd name="connsiteX7810" fmla="*/ 1212080 w 4716235"/>
              <a:gd name="connsiteY7810" fmla="*/ 3073156 h 4596459"/>
              <a:gd name="connsiteX7811" fmla="*/ 1201342 w 4716235"/>
              <a:gd name="connsiteY7811" fmla="*/ 3083895 h 4596459"/>
              <a:gd name="connsiteX7812" fmla="*/ 1190605 w 4716235"/>
              <a:gd name="connsiteY7812" fmla="*/ 3073156 h 4596459"/>
              <a:gd name="connsiteX7813" fmla="*/ 1201342 w 4716235"/>
              <a:gd name="connsiteY7813" fmla="*/ 3062420 h 4596459"/>
              <a:gd name="connsiteX7814" fmla="*/ 4212102 w 4716235"/>
              <a:gd name="connsiteY7814" fmla="*/ 3059118 h 4596459"/>
              <a:gd name="connsiteX7815" fmla="*/ 4222840 w 4716235"/>
              <a:gd name="connsiteY7815" fmla="*/ 3069855 h 4596459"/>
              <a:gd name="connsiteX7816" fmla="*/ 4212102 w 4716235"/>
              <a:gd name="connsiteY7816" fmla="*/ 3080591 h 4596459"/>
              <a:gd name="connsiteX7817" fmla="*/ 4201366 w 4716235"/>
              <a:gd name="connsiteY7817" fmla="*/ 3069855 h 4596459"/>
              <a:gd name="connsiteX7818" fmla="*/ 4212102 w 4716235"/>
              <a:gd name="connsiteY7818" fmla="*/ 3059118 h 4596459"/>
              <a:gd name="connsiteX7819" fmla="*/ 4376954 w 4716235"/>
              <a:gd name="connsiteY7819" fmla="*/ 3054987 h 4596459"/>
              <a:gd name="connsiteX7820" fmla="*/ 4377283 w 4716235"/>
              <a:gd name="connsiteY7820" fmla="*/ 3055317 h 4596459"/>
              <a:gd name="connsiteX7821" fmla="*/ 4376954 w 4716235"/>
              <a:gd name="connsiteY7821" fmla="*/ 3055648 h 4596459"/>
              <a:gd name="connsiteX7822" fmla="*/ 4376622 w 4716235"/>
              <a:gd name="connsiteY7822" fmla="*/ 3055317 h 4596459"/>
              <a:gd name="connsiteX7823" fmla="*/ 4376954 w 4716235"/>
              <a:gd name="connsiteY7823" fmla="*/ 3054987 h 4596459"/>
              <a:gd name="connsiteX7824" fmla="*/ 2466796 w 4716235"/>
              <a:gd name="connsiteY7824" fmla="*/ 3050858 h 4596459"/>
              <a:gd name="connsiteX7825" fmla="*/ 2477533 w 4716235"/>
              <a:gd name="connsiteY7825" fmla="*/ 3061595 h 4596459"/>
              <a:gd name="connsiteX7826" fmla="*/ 2466796 w 4716235"/>
              <a:gd name="connsiteY7826" fmla="*/ 3072331 h 4596459"/>
              <a:gd name="connsiteX7827" fmla="*/ 2456059 w 4716235"/>
              <a:gd name="connsiteY7827" fmla="*/ 3061595 h 4596459"/>
              <a:gd name="connsiteX7828" fmla="*/ 2466796 w 4716235"/>
              <a:gd name="connsiteY7828" fmla="*/ 3050858 h 4596459"/>
              <a:gd name="connsiteX7829" fmla="*/ 4033706 w 4716235"/>
              <a:gd name="connsiteY7829" fmla="*/ 3050033 h 4596459"/>
              <a:gd name="connsiteX7830" fmla="*/ 4044442 w 4716235"/>
              <a:gd name="connsiteY7830" fmla="*/ 3060769 h 4596459"/>
              <a:gd name="connsiteX7831" fmla="*/ 4033706 w 4716235"/>
              <a:gd name="connsiteY7831" fmla="*/ 3071507 h 4596459"/>
              <a:gd name="connsiteX7832" fmla="*/ 4022970 w 4716235"/>
              <a:gd name="connsiteY7832" fmla="*/ 3060769 h 4596459"/>
              <a:gd name="connsiteX7833" fmla="*/ 4033706 w 4716235"/>
              <a:gd name="connsiteY7833" fmla="*/ 3050033 h 4596459"/>
              <a:gd name="connsiteX7834" fmla="*/ 282603 w 4716235"/>
              <a:gd name="connsiteY7834" fmla="*/ 3047719 h 4596459"/>
              <a:gd name="connsiteX7835" fmla="*/ 293341 w 4716235"/>
              <a:gd name="connsiteY7835" fmla="*/ 3058456 h 4596459"/>
              <a:gd name="connsiteX7836" fmla="*/ 282603 w 4716235"/>
              <a:gd name="connsiteY7836" fmla="*/ 3069192 h 4596459"/>
              <a:gd name="connsiteX7837" fmla="*/ 271866 w 4716235"/>
              <a:gd name="connsiteY7837" fmla="*/ 3058456 h 4596459"/>
              <a:gd name="connsiteX7838" fmla="*/ 282603 w 4716235"/>
              <a:gd name="connsiteY7838" fmla="*/ 3047719 h 4596459"/>
              <a:gd name="connsiteX7839" fmla="*/ 4339126 w 4716235"/>
              <a:gd name="connsiteY7839" fmla="*/ 3046233 h 4596459"/>
              <a:gd name="connsiteX7840" fmla="*/ 4349864 w 4716235"/>
              <a:gd name="connsiteY7840" fmla="*/ 3056970 h 4596459"/>
              <a:gd name="connsiteX7841" fmla="*/ 4339126 w 4716235"/>
              <a:gd name="connsiteY7841" fmla="*/ 3067706 h 4596459"/>
              <a:gd name="connsiteX7842" fmla="*/ 4328390 w 4716235"/>
              <a:gd name="connsiteY7842" fmla="*/ 3056970 h 4596459"/>
              <a:gd name="connsiteX7843" fmla="*/ 4339126 w 4716235"/>
              <a:gd name="connsiteY7843" fmla="*/ 3046233 h 4596459"/>
              <a:gd name="connsiteX7844" fmla="*/ 4129841 w 4716235"/>
              <a:gd name="connsiteY7844" fmla="*/ 3045902 h 4596459"/>
              <a:gd name="connsiteX7845" fmla="*/ 4140577 w 4716235"/>
              <a:gd name="connsiteY7845" fmla="*/ 3056638 h 4596459"/>
              <a:gd name="connsiteX7846" fmla="*/ 4129841 w 4716235"/>
              <a:gd name="connsiteY7846" fmla="*/ 3067376 h 4596459"/>
              <a:gd name="connsiteX7847" fmla="*/ 4119104 w 4716235"/>
              <a:gd name="connsiteY7847" fmla="*/ 3056638 h 4596459"/>
              <a:gd name="connsiteX7848" fmla="*/ 4129841 w 4716235"/>
              <a:gd name="connsiteY7848" fmla="*/ 3045902 h 4596459"/>
              <a:gd name="connsiteX7849" fmla="*/ 3900240 w 4716235"/>
              <a:gd name="connsiteY7849" fmla="*/ 3044251 h 4596459"/>
              <a:gd name="connsiteX7850" fmla="*/ 3910978 w 4716235"/>
              <a:gd name="connsiteY7850" fmla="*/ 3054987 h 4596459"/>
              <a:gd name="connsiteX7851" fmla="*/ 3900240 w 4716235"/>
              <a:gd name="connsiteY7851" fmla="*/ 3065724 h 4596459"/>
              <a:gd name="connsiteX7852" fmla="*/ 3889503 w 4716235"/>
              <a:gd name="connsiteY7852" fmla="*/ 3054987 h 4596459"/>
              <a:gd name="connsiteX7853" fmla="*/ 3900240 w 4716235"/>
              <a:gd name="connsiteY7853" fmla="*/ 3044251 h 4596459"/>
              <a:gd name="connsiteX7854" fmla="*/ 4250424 w 4716235"/>
              <a:gd name="connsiteY7854" fmla="*/ 3040783 h 4596459"/>
              <a:gd name="connsiteX7855" fmla="*/ 4261160 w 4716235"/>
              <a:gd name="connsiteY7855" fmla="*/ 3051519 h 4596459"/>
              <a:gd name="connsiteX7856" fmla="*/ 4254388 w 4716235"/>
              <a:gd name="connsiteY7856" fmla="*/ 3058293 h 4596459"/>
              <a:gd name="connsiteX7857" fmla="*/ 4264464 w 4716235"/>
              <a:gd name="connsiteY7857" fmla="*/ 3068367 h 4596459"/>
              <a:gd name="connsiteX7858" fmla="*/ 4258188 w 4716235"/>
              <a:gd name="connsiteY7858" fmla="*/ 3074644 h 4596459"/>
              <a:gd name="connsiteX7859" fmla="*/ 4266446 w 4716235"/>
              <a:gd name="connsiteY7859" fmla="*/ 3082903 h 4596459"/>
              <a:gd name="connsiteX7860" fmla="*/ 4260664 w 4716235"/>
              <a:gd name="connsiteY7860" fmla="*/ 3088684 h 4596459"/>
              <a:gd name="connsiteX7861" fmla="*/ 4267932 w 4716235"/>
              <a:gd name="connsiteY7861" fmla="*/ 3095952 h 4596459"/>
              <a:gd name="connsiteX7862" fmla="*/ 4262895 w 4716235"/>
              <a:gd name="connsiteY7862" fmla="*/ 3100992 h 4596459"/>
              <a:gd name="connsiteX7863" fmla="*/ 4270246 w 4716235"/>
              <a:gd name="connsiteY7863" fmla="*/ 3108341 h 4596459"/>
              <a:gd name="connsiteX7864" fmla="*/ 4266117 w 4716235"/>
              <a:gd name="connsiteY7864" fmla="*/ 3112470 h 4596459"/>
              <a:gd name="connsiteX7865" fmla="*/ 4274210 w 4716235"/>
              <a:gd name="connsiteY7865" fmla="*/ 3120564 h 4596459"/>
              <a:gd name="connsiteX7866" fmla="*/ 4270906 w 4716235"/>
              <a:gd name="connsiteY7866" fmla="*/ 3123869 h 4596459"/>
              <a:gd name="connsiteX7867" fmla="*/ 4280486 w 4716235"/>
              <a:gd name="connsiteY7867" fmla="*/ 3133449 h 4596459"/>
              <a:gd name="connsiteX7868" fmla="*/ 4269750 w 4716235"/>
              <a:gd name="connsiteY7868" fmla="*/ 3144185 h 4596459"/>
              <a:gd name="connsiteX7869" fmla="*/ 4259013 w 4716235"/>
              <a:gd name="connsiteY7869" fmla="*/ 3133449 h 4596459"/>
              <a:gd name="connsiteX7870" fmla="*/ 4262317 w 4716235"/>
              <a:gd name="connsiteY7870" fmla="*/ 3130145 h 4596459"/>
              <a:gd name="connsiteX7871" fmla="*/ 4252737 w 4716235"/>
              <a:gd name="connsiteY7871" fmla="*/ 3120564 h 4596459"/>
              <a:gd name="connsiteX7872" fmla="*/ 4256865 w 4716235"/>
              <a:gd name="connsiteY7872" fmla="*/ 3116437 h 4596459"/>
              <a:gd name="connsiteX7873" fmla="*/ 4248771 w 4716235"/>
              <a:gd name="connsiteY7873" fmla="*/ 3108341 h 4596459"/>
              <a:gd name="connsiteX7874" fmla="*/ 4253809 w 4716235"/>
              <a:gd name="connsiteY7874" fmla="*/ 3103304 h 4596459"/>
              <a:gd name="connsiteX7875" fmla="*/ 4246460 w 4716235"/>
              <a:gd name="connsiteY7875" fmla="*/ 3095952 h 4596459"/>
              <a:gd name="connsiteX7876" fmla="*/ 4252241 w 4716235"/>
              <a:gd name="connsiteY7876" fmla="*/ 3090171 h 4596459"/>
              <a:gd name="connsiteX7877" fmla="*/ 4244973 w 4716235"/>
              <a:gd name="connsiteY7877" fmla="*/ 3082903 h 4596459"/>
              <a:gd name="connsiteX7878" fmla="*/ 4251249 w 4716235"/>
              <a:gd name="connsiteY7878" fmla="*/ 3076627 h 4596459"/>
              <a:gd name="connsiteX7879" fmla="*/ 4242991 w 4716235"/>
              <a:gd name="connsiteY7879" fmla="*/ 3068367 h 4596459"/>
              <a:gd name="connsiteX7880" fmla="*/ 4249763 w 4716235"/>
              <a:gd name="connsiteY7880" fmla="*/ 3061596 h 4596459"/>
              <a:gd name="connsiteX7881" fmla="*/ 4239688 w 4716235"/>
              <a:gd name="connsiteY7881" fmla="*/ 3051519 h 4596459"/>
              <a:gd name="connsiteX7882" fmla="*/ 4250424 w 4716235"/>
              <a:gd name="connsiteY7882" fmla="*/ 3040783 h 4596459"/>
              <a:gd name="connsiteX7883" fmla="*/ 1002463 w 4716235"/>
              <a:gd name="connsiteY7883" fmla="*/ 3039626 h 4596459"/>
              <a:gd name="connsiteX7884" fmla="*/ 1013200 w 4716235"/>
              <a:gd name="connsiteY7884" fmla="*/ 3050362 h 4596459"/>
              <a:gd name="connsiteX7885" fmla="*/ 1002463 w 4716235"/>
              <a:gd name="connsiteY7885" fmla="*/ 3061099 h 4596459"/>
              <a:gd name="connsiteX7886" fmla="*/ 991727 w 4716235"/>
              <a:gd name="connsiteY7886" fmla="*/ 3050362 h 4596459"/>
              <a:gd name="connsiteX7887" fmla="*/ 1002463 w 4716235"/>
              <a:gd name="connsiteY7887" fmla="*/ 3039626 h 4596459"/>
              <a:gd name="connsiteX7888" fmla="*/ 4197566 w 4716235"/>
              <a:gd name="connsiteY7888" fmla="*/ 3035166 h 4596459"/>
              <a:gd name="connsiteX7889" fmla="*/ 4208304 w 4716235"/>
              <a:gd name="connsiteY7889" fmla="*/ 3045902 h 4596459"/>
              <a:gd name="connsiteX7890" fmla="*/ 4197566 w 4716235"/>
              <a:gd name="connsiteY7890" fmla="*/ 3056640 h 4596459"/>
              <a:gd name="connsiteX7891" fmla="*/ 4186830 w 4716235"/>
              <a:gd name="connsiteY7891" fmla="*/ 3045902 h 4596459"/>
              <a:gd name="connsiteX7892" fmla="*/ 4197566 w 4716235"/>
              <a:gd name="connsiteY7892" fmla="*/ 3035166 h 4596459"/>
              <a:gd name="connsiteX7893" fmla="*/ 4330040 w 4716235"/>
              <a:gd name="connsiteY7893" fmla="*/ 3027898 h 4596459"/>
              <a:gd name="connsiteX7894" fmla="*/ 4340777 w 4716235"/>
              <a:gd name="connsiteY7894" fmla="*/ 3038634 h 4596459"/>
              <a:gd name="connsiteX7895" fmla="*/ 4330040 w 4716235"/>
              <a:gd name="connsiteY7895" fmla="*/ 3049372 h 4596459"/>
              <a:gd name="connsiteX7896" fmla="*/ 4319304 w 4716235"/>
              <a:gd name="connsiteY7896" fmla="*/ 3038634 h 4596459"/>
              <a:gd name="connsiteX7897" fmla="*/ 4330040 w 4716235"/>
              <a:gd name="connsiteY7897" fmla="*/ 3027898 h 4596459"/>
              <a:gd name="connsiteX7898" fmla="*/ 3351671 w 4716235"/>
              <a:gd name="connsiteY7898" fmla="*/ 3027237 h 4596459"/>
              <a:gd name="connsiteX7899" fmla="*/ 3362409 w 4716235"/>
              <a:gd name="connsiteY7899" fmla="*/ 3037973 h 4596459"/>
              <a:gd name="connsiteX7900" fmla="*/ 3351671 w 4716235"/>
              <a:gd name="connsiteY7900" fmla="*/ 3048710 h 4596459"/>
              <a:gd name="connsiteX7901" fmla="*/ 3340935 w 4716235"/>
              <a:gd name="connsiteY7901" fmla="*/ 3037973 h 4596459"/>
              <a:gd name="connsiteX7902" fmla="*/ 3351671 w 4716235"/>
              <a:gd name="connsiteY7902" fmla="*/ 3027237 h 4596459"/>
              <a:gd name="connsiteX7903" fmla="*/ 2660388 w 4716235"/>
              <a:gd name="connsiteY7903" fmla="*/ 3025420 h 4596459"/>
              <a:gd name="connsiteX7904" fmla="*/ 2671126 w 4716235"/>
              <a:gd name="connsiteY7904" fmla="*/ 3036156 h 4596459"/>
              <a:gd name="connsiteX7905" fmla="*/ 2660388 w 4716235"/>
              <a:gd name="connsiteY7905" fmla="*/ 3046894 h 4596459"/>
              <a:gd name="connsiteX7906" fmla="*/ 2649651 w 4716235"/>
              <a:gd name="connsiteY7906" fmla="*/ 3036156 h 4596459"/>
              <a:gd name="connsiteX7907" fmla="*/ 2660388 w 4716235"/>
              <a:gd name="connsiteY7907" fmla="*/ 3025420 h 4596459"/>
              <a:gd name="connsiteX7908" fmla="*/ 3719695 w 4716235"/>
              <a:gd name="connsiteY7908" fmla="*/ 3025255 h 4596459"/>
              <a:gd name="connsiteX7909" fmla="*/ 3730433 w 4716235"/>
              <a:gd name="connsiteY7909" fmla="*/ 3035991 h 4596459"/>
              <a:gd name="connsiteX7910" fmla="*/ 3719695 w 4716235"/>
              <a:gd name="connsiteY7910" fmla="*/ 3046729 h 4596459"/>
              <a:gd name="connsiteX7911" fmla="*/ 3708959 w 4716235"/>
              <a:gd name="connsiteY7911" fmla="*/ 3035991 h 4596459"/>
              <a:gd name="connsiteX7912" fmla="*/ 3719695 w 4716235"/>
              <a:gd name="connsiteY7912" fmla="*/ 3025255 h 4596459"/>
              <a:gd name="connsiteX7913" fmla="*/ 4362251 w 4716235"/>
              <a:gd name="connsiteY7913" fmla="*/ 3023439 h 4596459"/>
              <a:gd name="connsiteX7914" fmla="*/ 4372989 w 4716235"/>
              <a:gd name="connsiteY7914" fmla="*/ 3034175 h 4596459"/>
              <a:gd name="connsiteX7915" fmla="*/ 4362251 w 4716235"/>
              <a:gd name="connsiteY7915" fmla="*/ 3044912 h 4596459"/>
              <a:gd name="connsiteX7916" fmla="*/ 4351515 w 4716235"/>
              <a:gd name="connsiteY7916" fmla="*/ 3034175 h 4596459"/>
              <a:gd name="connsiteX7917" fmla="*/ 4362251 w 4716235"/>
              <a:gd name="connsiteY7917" fmla="*/ 3023439 h 4596459"/>
              <a:gd name="connsiteX7918" fmla="*/ 4244313 w 4716235"/>
              <a:gd name="connsiteY7918" fmla="*/ 3020630 h 4596459"/>
              <a:gd name="connsiteX7919" fmla="*/ 4255049 w 4716235"/>
              <a:gd name="connsiteY7919" fmla="*/ 3031366 h 4596459"/>
              <a:gd name="connsiteX7920" fmla="*/ 4244313 w 4716235"/>
              <a:gd name="connsiteY7920" fmla="*/ 3042104 h 4596459"/>
              <a:gd name="connsiteX7921" fmla="*/ 4233576 w 4716235"/>
              <a:gd name="connsiteY7921" fmla="*/ 3031366 h 4596459"/>
              <a:gd name="connsiteX7922" fmla="*/ 4244313 w 4716235"/>
              <a:gd name="connsiteY7922" fmla="*/ 3020630 h 4596459"/>
              <a:gd name="connsiteX7923" fmla="*/ 813827 w 4716235"/>
              <a:gd name="connsiteY7923" fmla="*/ 3012040 h 4596459"/>
              <a:gd name="connsiteX7924" fmla="*/ 824564 w 4716235"/>
              <a:gd name="connsiteY7924" fmla="*/ 3022777 h 4596459"/>
              <a:gd name="connsiteX7925" fmla="*/ 813827 w 4716235"/>
              <a:gd name="connsiteY7925" fmla="*/ 3033513 h 4596459"/>
              <a:gd name="connsiteX7926" fmla="*/ 803091 w 4716235"/>
              <a:gd name="connsiteY7926" fmla="*/ 3022777 h 4596459"/>
              <a:gd name="connsiteX7927" fmla="*/ 813827 w 4716235"/>
              <a:gd name="connsiteY7927" fmla="*/ 3012040 h 4596459"/>
              <a:gd name="connsiteX7928" fmla="*/ 147320 w 4716235"/>
              <a:gd name="connsiteY7928" fmla="*/ 3009397 h 4596459"/>
              <a:gd name="connsiteX7929" fmla="*/ 158057 w 4716235"/>
              <a:gd name="connsiteY7929" fmla="*/ 3020134 h 4596459"/>
              <a:gd name="connsiteX7930" fmla="*/ 147320 w 4716235"/>
              <a:gd name="connsiteY7930" fmla="*/ 3030872 h 4596459"/>
              <a:gd name="connsiteX7931" fmla="*/ 136584 w 4716235"/>
              <a:gd name="connsiteY7931" fmla="*/ 3020134 h 4596459"/>
              <a:gd name="connsiteX7932" fmla="*/ 147320 w 4716235"/>
              <a:gd name="connsiteY7932" fmla="*/ 3009397 h 4596459"/>
              <a:gd name="connsiteX7933" fmla="*/ 4092675 w 4716235"/>
              <a:gd name="connsiteY7933" fmla="*/ 3008572 h 4596459"/>
              <a:gd name="connsiteX7934" fmla="*/ 4103412 w 4716235"/>
              <a:gd name="connsiteY7934" fmla="*/ 3019308 h 4596459"/>
              <a:gd name="connsiteX7935" fmla="*/ 4092675 w 4716235"/>
              <a:gd name="connsiteY7935" fmla="*/ 3030045 h 4596459"/>
              <a:gd name="connsiteX7936" fmla="*/ 4081939 w 4716235"/>
              <a:gd name="connsiteY7936" fmla="*/ 3019308 h 4596459"/>
              <a:gd name="connsiteX7937" fmla="*/ 4092675 w 4716235"/>
              <a:gd name="connsiteY7937" fmla="*/ 3008572 h 4596459"/>
              <a:gd name="connsiteX7938" fmla="*/ 4176092 w 4716235"/>
              <a:gd name="connsiteY7938" fmla="*/ 3005433 h 4596459"/>
              <a:gd name="connsiteX7939" fmla="*/ 4186828 w 4716235"/>
              <a:gd name="connsiteY7939" fmla="*/ 3016169 h 4596459"/>
              <a:gd name="connsiteX7940" fmla="*/ 4176092 w 4716235"/>
              <a:gd name="connsiteY7940" fmla="*/ 3026906 h 4596459"/>
              <a:gd name="connsiteX7941" fmla="*/ 4165355 w 4716235"/>
              <a:gd name="connsiteY7941" fmla="*/ 3016169 h 4596459"/>
              <a:gd name="connsiteX7942" fmla="*/ 4176092 w 4716235"/>
              <a:gd name="connsiteY7942" fmla="*/ 3005433 h 4596459"/>
              <a:gd name="connsiteX7943" fmla="*/ 4276853 w 4716235"/>
              <a:gd name="connsiteY7943" fmla="*/ 3004608 h 4596459"/>
              <a:gd name="connsiteX7944" fmla="*/ 4287589 w 4716235"/>
              <a:gd name="connsiteY7944" fmla="*/ 3015344 h 4596459"/>
              <a:gd name="connsiteX7945" fmla="*/ 4279248 w 4716235"/>
              <a:gd name="connsiteY7945" fmla="*/ 3023687 h 4596459"/>
              <a:gd name="connsiteX7946" fmla="*/ 4288913 w 4716235"/>
              <a:gd name="connsiteY7946" fmla="*/ 3033348 h 4596459"/>
              <a:gd name="connsiteX7947" fmla="*/ 4281313 w 4716235"/>
              <a:gd name="connsiteY7947" fmla="*/ 3040947 h 4596459"/>
              <a:gd name="connsiteX7948" fmla="*/ 4289572 w 4716235"/>
              <a:gd name="connsiteY7948" fmla="*/ 3049206 h 4596459"/>
              <a:gd name="connsiteX7949" fmla="*/ 4282635 w 4716235"/>
              <a:gd name="connsiteY7949" fmla="*/ 3056144 h 4596459"/>
              <a:gd name="connsiteX7950" fmla="*/ 4290399 w 4716235"/>
              <a:gd name="connsiteY7950" fmla="*/ 3063906 h 4596459"/>
              <a:gd name="connsiteX7951" fmla="*/ 4284534 w 4716235"/>
              <a:gd name="connsiteY7951" fmla="*/ 3069773 h 4596459"/>
              <a:gd name="connsiteX7952" fmla="*/ 4292546 w 4716235"/>
              <a:gd name="connsiteY7952" fmla="*/ 3077783 h 4596459"/>
              <a:gd name="connsiteX7953" fmla="*/ 4287589 w 4716235"/>
              <a:gd name="connsiteY7953" fmla="*/ 3082740 h 4596459"/>
              <a:gd name="connsiteX7954" fmla="*/ 4296839 w 4716235"/>
              <a:gd name="connsiteY7954" fmla="*/ 3091988 h 4596459"/>
              <a:gd name="connsiteX7955" fmla="*/ 4286103 w 4716235"/>
              <a:gd name="connsiteY7955" fmla="*/ 3102724 h 4596459"/>
              <a:gd name="connsiteX7956" fmla="*/ 4275367 w 4716235"/>
              <a:gd name="connsiteY7956" fmla="*/ 3091988 h 4596459"/>
              <a:gd name="connsiteX7957" fmla="*/ 4280321 w 4716235"/>
              <a:gd name="connsiteY7957" fmla="*/ 3087033 h 4596459"/>
              <a:gd name="connsiteX7958" fmla="*/ 4271071 w 4716235"/>
              <a:gd name="connsiteY7958" fmla="*/ 3077783 h 4596459"/>
              <a:gd name="connsiteX7959" fmla="*/ 4276936 w 4716235"/>
              <a:gd name="connsiteY7959" fmla="*/ 3071920 h 4596459"/>
              <a:gd name="connsiteX7960" fmla="*/ 4268924 w 4716235"/>
              <a:gd name="connsiteY7960" fmla="*/ 3063906 h 4596459"/>
              <a:gd name="connsiteX7961" fmla="*/ 4275863 w 4716235"/>
              <a:gd name="connsiteY7961" fmla="*/ 3056970 h 4596459"/>
              <a:gd name="connsiteX7962" fmla="*/ 4268099 w 4716235"/>
              <a:gd name="connsiteY7962" fmla="*/ 3049206 h 4596459"/>
              <a:gd name="connsiteX7963" fmla="*/ 4275696 w 4716235"/>
              <a:gd name="connsiteY7963" fmla="*/ 3041608 h 4596459"/>
              <a:gd name="connsiteX7964" fmla="*/ 4267438 w 4716235"/>
              <a:gd name="connsiteY7964" fmla="*/ 3033348 h 4596459"/>
              <a:gd name="connsiteX7965" fmla="*/ 4275780 w 4716235"/>
              <a:gd name="connsiteY7965" fmla="*/ 3025008 h 4596459"/>
              <a:gd name="connsiteX7966" fmla="*/ 4266117 w 4716235"/>
              <a:gd name="connsiteY7966" fmla="*/ 3015344 h 4596459"/>
              <a:gd name="connsiteX7967" fmla="*/ 4276853 w 4716235"/>
              <a:gd name="connsiteY7967" fmla="*/ 3004608 h 4596459"/>
              <a:gd name="connsiteX7968" fmla="*/ 4351844 w 4716235"/>
              <a:gd name="connsiteY7968" fmla="*/ 3003286 h 4596459"/>
              <a:gd name="connsiteX7969" fmla="*/ 4362581 w 4716235"/>
              <a:gd name="connsiteY7969" fmla="*/ 3014022 h 4596459"/>
              <a:gd name="connsiteX7970" fmla="*/ 4351844 w 4716235"/>
              <a:gd name="connsiteY7970" fmla="*/ 3024759 h 4596459"/>
              <a:gd name="connsiteX7971" fmla="*/ 4341108 w 4716235"/>
              <a:gd name="connsiteY7971" fmla="*/ 3014022 h 4596459"/>
              <a:gd name="connsiteX7972" fmla="*/ 4351844 w 4716235"/>
              <a:gd name="connsiteY7972" fmla="*/ 3003286 h 4596459"/>
              <a:gd name="connsiteX7973" fmla="*/ 3975231 w 4716235"/>
              <a:gd name="connsiteY7973" fmla="*/ 3002790 h 4596459"/>
              <a:gd name="connsiteX7974" fmla="*/ 3985969 w 4716235"/>
              <a:gd name="connsiteY7974" fmla="*/ 3013526 h 4596459"/>
              <a:gd name="connsiteX7975" fmla="*/ 3975231 w 4716235"/>
              <a:gd name="connsiteY7975" fmla="*/ 3024263 h 4596459"/>
              <a:gd name="connsiteX7976" fmla="*/ 3964495 w 4716235"/>
              <a:gd name="connsiteY7976" fmla="*/ 3013526 h 4596459"/>
              <a:gd name="connsiteX7977" fmla="*/ 3975231 w 4716235"/>
              <a:gd name="connsiteY7977" fmla="*/ 3002790 h 4596459"/>
              <a:gd name="connsiteX7978" fmla="*/ 4385708 w 4716235"/>
              <a:gd name="connsiteY7978" fmla="*/ 3002625 h 4596459"/>
              <a:gd name="connsiteX7979" fmla="*/ 4395452 w 4716235"/>
              <a:gd name="connsiteY7979" fmla="*/ 3012371 h 4596459"/>
              <a:gd name="connsiteX7980" fmla="*/ 4385708 w 4716235"/>
              <a:gd name="connsiteY7980" fmla="*/ 3022118 h 4596459"/>
              <a:gd name="connsiteX7981" fmla="*/ 4375962 w 4716235"/>
              <a:gd name="connsiteY7981" fmla="*/ 3012371 h 4596459"/>
              <a:gd name="connsiteX7982" fmla="*/ 4385708 w 4716235"/>
              <a:gd name="connsiteY7982" fmla="*/ 3002625 h 4596459"/>
              <a:gd name="connsiteX7983" fmla="*/ 4233906 w 4716235"/>
              <a:gd name="connsiteY7983" fmla="*/ 2996183 h 4596459"/>
              <a:gd name="connsiteX7984" fmla="*/ 4244642 w 4716235"/>
              <a:gd name="connsiteY7984" fmla="*/ 3006919 h 4596459"/>
              <a:gd name="connsiteX7985" fmla="*/ 4233906 w 4716235"/>
              <a:gd name="connsiteY7985" fmla="*/ 3017656 h 4596459"/>
              <a:gd name="connsiteX7986" fmla="*/ 4223169 w 4716235"/>
              <a:gd name="connsiteY7986" fmla="*/ 3006919 h 4596459"/>
              <a:gd name="connsiteX7987" fmla="*/ 4233906 w 4716235"/>
              <a:gd name="connsiteY7987" fmla="*/ 2996183 h 4596459"/>
              <a:gd name="connsiteX7988" fmla="*/ 2843079 w 4716235"/>
              <a:gd name="connsiteY7988" fmla="*/ 2995853 h 4596459"/>
              <a:gd name="connsiteX7989" fmla="*/ 2853817 w 4716235"/>
              <a:gd name="connsiteY7989" fmla="*/ 3006590 h 4596459"/>
              <a:gd name="connsiteX7990" fmla="*/ 2843079 w 4716235"/>
              <a:gd name="connsiteY7990" fmla="*/ 3017328 h 4596459"/>
              <a:gd name="connsiteX7991" fmla="*/ 2832343 w 4716235"/>
              <a:gd name="connsiteY7991" fmla="*/ 3006590 h 4596459"/>
              <a:gd name="connsiteX7992" fmla="*/ 2843079 w 4716235"/>
              <a:gd name="connsiteY7992" fmla="*/ 2995853 h 4596459"/>
              <a:gd name="connsiteX7993" fmla="*/ 4409329 w 4716235"/>
              <a:gd name="connsiteY7993" fmla="*/ 2991558 h 4596459"/>
              <a:gd name="connsiteX7994" fmla="*/ 4409823 w 4716235"/>
              <a:gd name="connsiteY7994" fmla="*/ 2992054 h 4596459"/>
              <a:gd name="connsiteX7995" fmla="*/ 4409329 w 4716235"/>
              <a:gd name="connsiteY7995" fmla="*/ 2992548 h 4596459"/>
              <a:gd name="connsiteX7996" fmla="*/ 4408833 w 4716235"/>
              <a:gd name="connsiteY7996" fmla="*/ 2992054 h 4596459"/>
              <a:gd name="connsiteX7997" fmla="*/ 4409329 w 4716235"/>
              <a:gd name="connsiteY7997" fmla="*/ 2991558 h 4596459"/>
              <a:gd name="connsiteX7998" fmla="*/ 3481173 w 4716235"/>
              <a:gd name="connsiteY7998" fmla="*/ 2988585 h 4596459"/>
              <a:gd name="connsiteX7999" fmla="*/ 3491911 w 4716235"/>
              <a:gd name="connsiteY7999" fmla="*/ 2999322 h 4596459"/>
              <a:gd name="connsiteX8000" fmla="*/ 3481173 w 4716235"/>
              <a:gd name="connsiteY8000" fmla="*/ 3010060 h 4596459"/>
              <a:gd name="connsiteX8001" fmla="*/ 3470437 w 4716235"/>
              <a:gd name="connsiteY8001" fmla="*/ 2999322 h 4596459"/>
              <a:gd name="connsiteX8002" fmla="*/ 3481173 w 4716235"/>
              <a:gd name="connsiteY8002" fmla="*/ 2988585 h 4596459"/>
              <a:gd name="connsiteX8003" fmla="*/ 3814675 w 4716235"/>
              <a:gd name="connsiteY8003" fmla="*/ 2984456 h 4596459"/>
              <a:gd name="connsiteX8004" fmla="*/ 3825413 w 4716235"/>
              <a:gd name="connsiteY8004" fmla="*/ 2995193 h 4596459"/>
              <a:gd name="connsiteX8005" fmla="*/ 3814675 w 4716235"/>
              <a:gd name="connsiteY8005" fmla="*/ 3005929 h 4596459"/>
              <a:gd name="connsiteX8006" fmla="*/ 3803938 w 4716235"/>
              <a:gd name="connsiteY8006" fmla="*/ 2995193 h 4596459"/>
              <a:gd name="connsiteX8007" fmla="*/ 3814675 w 4716235"/>
              <a:gd name="connsiteY8007" fmla="*/ 2984456 h 4596459"/>
              <a:gd name="connsiteX8008" fmla="*/ 4344908 w 4716235"/>
              <a:gd name="connsiteY8008" fmla="*/ 2983960 h 4596459"/>
              <a:gd name="connsiteX8009" fmla="*/ 4355644 w 4716235"/>
              <a:gd name="connsiteY8009" fmla="*/ 2994697 h 4596459"/>
              <a:gd name="connsiteX8010" fmla="*/ 4344908 w 4716235"/>
              <a:gd name="connsiteY8010" fmla="*/ 3005435 h 4596459"/>
              <a:gd name="connsiteX8011" fmla="*/ 4334171 w 4716235"/>
              <a:gd name="connsiteY8011" fmla="*/ 2994697 h 4596459"/>
              <a:gd name="connsiteX8012" fmla="*/ 4344908 w 4716235"/>
              <a:gd name="connsiteY8012" fmla="*/ 2983960 h 4596459"/>
              <a:gd name="connsiteX8013" fmla="*/ 4273385 w 4716235"/>
              <a:gd name="connsiteY8013" fmla="*/ 2983629 h 4596459"/>
              <a:gd name="connsiteX8014" fmla="*/ 4284121 w 4716235"/>
              <a:gd name="connsiteY8014" fmla="*/ 2994365 h 4596459"/>
              <a:gd name="connsiteX8015" fmla="*/ 4273385 w 4716235"/>
              <a:gd name="connsiteY8015" fmla="*/ 3005104 h 4596459"/>
              <a:gd name="connsiteX8016" fmla="*/ 4262648 w 4716235"/>
              <a:gd name="connsiteY8016" fmla="*/ 2994365 h 4596459"/>
              <a:gd name="connsiteX8017" fmla="*/ 4273385 w 4716235"/>
              <a:gd name="connsiteY8017" fmla="*/ 2983629 h 4596459"/>
              <a:gd name="connsiteX8018" fmla="*/ 636586 w 4716235"/>
              <a:gd name="connsiteY8018" fmla="*/ 2981153 h 4596459"/>
              <a:gd name="connsiteX8019" fmla="*/ 647325 w 4716235"/>
              <a:gd name="connsiteY8019" fmla="*/ 2991889 h 4596459"/>
              <a:gd name="connsiteX8020" fmla="*/ 636586 w 4716235"/>
              <a:gd name="connsiteY8020" fmla="*/ 3002627 h 4596459"/>
              <a:gd name="connsiteX8021" fmla="*/ 625850 w 4716235"/>
              <a:gd name="connsiteY8021" fmla="*/ 2991889 h 4596459"/>
              <a:gd name="connsiteX8022" fmla="*/ 636586 w 4716235"/>
              <a:gd name="connsiteY8022" fmla="*/ 2981153 h 4596459"/>
              <a:gd name="connsiteX8023" fmla="*/ 4373484 w 4716235"/>
              <a:gd name="connsiteY8023" fmla="*/ 2979831 h 4596459"/>
              <a:gd name="connsiteX8024" fmla="*/ 4384220 w 4716235"/>
              <a:gd name="connsiteY8024" fmla="*/ 2990568 h 4596459"/>
              <a:gd name="connsiteX8025" fmla="*/ 4373484 w 4716235"/>
              <a:gd name="connsiteY8025" fmla="*/ 3001306 h 4596459"/>
              <a:gd name="connsiteX8026" fmla="*/ 4362747 w 4716235"/>
              <a:gd name="connsiteY8026" fmla="*/ 2990568 h 4596459"/>
              <a:gd name="connsiteX8027" fmla="*/ 4373484 w 4716235"/>
              <a:gd name="connsiteY8027" fmla="*/ 2979831 h 4596459"/>
              <a:gd name="connsiteX8028" fmla="*/ 22773 w 4716235"/>
              <a:gd name="connsiteY8028" fmla="*/ 2970581 h 4596459"/>
              <a:gd name="connsiteX8029" fmla="*/ 33509 w 4716235"/>
              <a:gd name="connsiteY8029" fmla="*/ 2981317 h 4596459"/>
              <a:gd name="connsiteX8030" fmla="*/ 22773 w 4716235"/>
              <a:gd name="connsiteY8030" fmla="*/ 2992054 h 4596459"/>
              <a:gd name="connsiteX8031" fmla="*/ 12036 w 4716235"/>
              <a:gd name="connsiteY8031" fmla="*/ 2981317 h 4596459"/>
              <a:gd name="connsiteX8032" fmla="*/ 22773 w 4716235"/>
              <a:gd name="connsiteY8032" fmla="*/ 2970581 h 4596459"/>
              <a:gd name="connsiteX8033" fmla="*/ 4300804 w 4716235"/>
              <a:gd name="connsiteY8033" fmla="*/ 2969918 h 4596459"/>
              <a:gd name="connsiteX8034" fmla="*/ 4311542 w 4716235"/>
              <a:gd name="connsiteY8034" fmla="*/ 2980655 h 4596459"/>
              <a:gd name="connsiteX8035" fmla="*/ 4301877 w 4716235"/>
              <a:gd name="connsiteY8035" fmla="*/ 2990320 h 4596459"/>
              <a:gd name="connsiteX8036" fmla="*/ 4311375 w 4716235"/>
              <a:gd name="connsiteY8036" fmla="*/ 2999816 h 4596459"/>
              <a:gd name="connsiteX8037" fmla="*/ 4302703 w 4716235"/>
              <a:gd name="connsiteY8037" fmla="*/ 3008490 h 4596459"/>
              <a:gd name="connsiteX8038" fmla="*/ 4311211 w 4716235"/>
              <a:gd name="connsiteY8038" fmla="*/ 3016997 h 4596459"/>
              <a:gd name="connsiteX8039" fmla="*/ 4303447 w 4716235"/>
              <a:gd name="connsiteY8039" fmla="*/ 3024761 h 4596459"/>
              <a:gd name="connsiteX8040" fmla="*/ 4311707 w 4716235"/>
              <a:gd name="connsiteY8040" fmla="*/ 3033019 h 4596459"/>
              <a:gd name="connsiteX8041" fmla="*/ 4305016 w 4716235"/>
              <a:gd name="connsiteY8041" fmla="*/ 3039709 h 4596459"/>
              <a:gd name="connsiteX8042" fmla="*/ 4314018 w 4716235"/>
              <a:gd name="connsiteY8042" fmla="*/ 3048711 h 4596459"/>
              <a:gd name="connsiteX8043" fmla="*/ 4308568 w 4716235"/>
              <a:gd name="connsiteY8043" fmla="*/ 3054162 h 4596459"/>
              <a:gd name="connsiteX8044" fmla="*/ 4318973 w 4716235"/>
              <a:gd name="connsiteY8044" fmla="*/ 3064567 h 4596459"/>
              <a:gd name="connsiteX8045" fmla="*/ 4308237 w 4716235"/>
              <a:gd name="connsiteY8045" fmla="*/ 3075305 h 4596459"/>
              <a:gd name="connsiteX8046" fmla="*/ 4297500 w 4716235"/>
              <a:gd name="connsiteY8046" fmla="*/ 3064567 h 4596459"/>
              <a:gd name="connsiteX8047" fmla="*/ 4302951 w 4716235"/>
              <a:gd name="connsiteY8047" fmla="*/ 3059116 h 4596459"/>
              <a:gd name="connsiteX8048" fmla="*/ 4292546 w 4716235"/>
              <a:gd name="connsiteY8048" fmla="*/ 3048711 h 4596459"/>
              <a:gd name="connsiteX8049" fmla="*/ 4299234 w 4716235"/>
              <a:gd name="connsiteY8049" fmla="*/ 3042023 h 4596459"/>
              <a:gd name="connsiteX8050" fmla="*/ 4290232 w 4716235"/>
              <a:gd name="connsiteY8050" fmla="*/ 3033019 h 4596459"/>
              <a:gd name="connsiteX8051" fmla="*/ 4297994 w 4716235"/>
              <a:gd name="connsiteY8051" fmla="*/ 3025256 h 4596459"/>
              <a:gd name="connsiteX8052" fmla="*/ 4289736 w 4716235"/>
              <a:gd name="connsiteY8052" fmla="*/ 3016997 h 4596459"/>
              <a:gd name="connsiteX8053" fmla="*/ 4298409 w 4716235"/>
              <a:gd name="connsiteY8053" fmla="*/ 3008324 h 4596459"/>
              <a:gd name="connsiteX8054" fmla="*/ 4289903 w 4716235"/>
              <a:gd name="connsiteY8054" fmla="*/ 2999816 h 4596459"/>
              <a:gd name="connsiteX8055" fmla="*/ 4299566 w 4716235"/>
              <a:gd name="connsiteY8055" fmla="*/ 2990155 h 4596459"/>
              <a:gd name="connsiteX8056" fmla="*/ 4290067 w 4716235"/>
              <a:gd name="connsiteY8056" fmla="*/ 2980655 h 4596459"/>
              <a:gd name="connsiteX8057" fmla="*/ 4300804 w 4716235"/>
              <a:gd name="connsiteY8057" fmla="*/ 2969918 h 4596459"/>
              <a:gd name="connsiteX8058" fmla="*/ 4145698 w 4716235"/>
              <a:gd name="connsiteY8058" fmla="*/ 2968268 h 4596459"/>
              <a:gd name="connsiteX8059" fmla="*/ 4156435 w 4716235"/>
              <a:gd name="connsiteY8059" fmla="*/ 2979004 h 4596459"/>
              <a:gd name="connsiteX8060" fmla="*/ 4145698 w 4716235"/>
              <a:gd name="connsiteY8060" fmla="*/ 2989742 h 4596459"/>
              <a:gd name="connsiteX8061" fmla="*/ 4134962 w 4716235"/>
              <a:gd name="connsiteY8061" fmla="*/ 2979004 h 4596459"/>
              <a:gd name="connsiteX8062" fmla="*/ 4145698 w 4716235"/>
              <a:gd name="connsiteY8062" fmla="*/ 2968268 h 4596459"/>
              <a:gd name="connsiteX8063" fmla="*/ 4217388 w 4716235"/>
              <a:gd name="connsiteY8063" fmla="*/ 2966121 h 4596459"/>
              <a:gd name="connsiteX8064" fmla="*/ 4228124 w 4716235"/>
              <a:gd name="connsiteY8064" fmla="*/ 2976857 h 4596459"/>
              <a:gd name="connsiteX8065" fmla="*/ 4217388 w 4716235"/>
              <a:gd name="connsiteY8065" fmla="*/ 2987595 h 4596459"/>
              <a:gd name="connsiteX8066" fmla="*/ 4206651 w 4716235"/>
              <a:gd name="connsiteY8066" fmla="*/ 2976857 h 4596459"/>
              <a:gd name="connsiteX8067" fmla="*/ 4217388 w 4716235"/>
              <a:gd name="connsiteY8067" fmla="*/ 2966121 h 4596459"/>
              <a:gd name="connsiteX8068" fmla="*/ 3013876 w 4716235"/>
              <a:gd name="connsiteY8068" fmla="*/ 2963478 h 4596459"/>
              <a:gd name="connsiteX8069" fmla="*/ 3024614 w 4716235"/>
              <a:gd name="connsiteY8069" fmla="*/ 2974214 h 4596459"/>
              <a:gd name="connsiteX8070" fmla="*/ 3013876 w 4716235"/>
              <a:gd name="connsiteY8070" fmla="*/ 2984952 h 4596459"/>
              <a:gd name="connsiteX8071" fmla="*/ 3003139 w 4716235"/>
              <a:gd name="connsiteY8071" fmla="*/ 2974214 h 4596459"/>
              <a:gd name="connsiteX8072" fmla="*/ 3013876 w 4716235"/>
              <a:gd name="connsiteY8072" fmla="*/ 2963478 h 4596459"/>
              <a:gd name="connsiteX8073" fmla="*/ 4043121 w 4716235"/>
              <a:gd name="connsiteY8073" fmla="*/ 2962156 h 4596459"/>
              <a:gd name="connsiteX8074" fmla="*/ 4053857 w 4716235"/>
              <a:gd name="connsiteY8074" fmla="*/ 2972893 h 4596459"/>
              <a:gd name="connsiteX8075" fmla="*/ 4043121 w 4716235"/>
              <a:gd name="connsiteY8075" fmla="*/ 2983631 h 4596459"/>
              <a:gd name="connsiteX8076" fmla="*/ 4032385 w 4716235"/>
              <a:gd name="connsiteY8076" fmla="*/ 2972893 h 4596459"/>
              <a:gd name="connsiteX8077" fmla="*/ 4043121 w 4716235"/>
              <a:gd name="connsiteY8077" fmla="*/ 2962156 h 4596459"/>
              <a:gd name="connsiteX8078" fmla="*/ 4365390 w 4716235"/>
              <a:gd name="connsiteY8078" fmla="*/ 2958853 h 4596459"/>
              <a:gd name="connsiteX8079" fmla="*/ 4376128 w 4716235"/>
              <a:gd name="connsiteY8079" fmla="*/ 2969589 h 4596459"/>
              <a:gd name="connsiteX8080" fmla="*/ 4365390 w 4716235"/>
              <a:gd name="connsiteY8080" fmla="*/ 2980327 h 4596459"/>
              <a:gd name="connsiteX8081" fmla="*/ 4354654 w 4716235"/>
              <a:gd name="connsiteY8081" fmla="*/ 2969589 h 4596459"/>
              <a:gd name="connsiteX8082" fmla="*/ 4365390 w 4716235"/>
              <a:gd name="connsiteY8082" fmla="*/ 2958853 h 4596459"/>
              <a:gd name="connsiteX8083" fmla="*/ 4266446 w 4716235"/>
              <a:gd name="connsiteY8083" fmla="*/ 2958357 h 4596459"/>
              <a:gd name="connsiteX8084" fmla="*/ 4277182 w 4716235"/>
              <a:gd name="connsiteY8084" fmla="*/ 2969093 h 4596459"/>
              <a:gd name="connsiteX8085" fmla="*/ 4266446 w 4716235"/>
              <a:gd name="connsiteY8085" fmla="*/ 2979831 h 4596459"/>
              <a:gd name="connsiteX8086" fmla="*/ 4255710 w 4716235"/>
              <a:gd name="connsiteY8086" fmla="*/ 2969093 h 4596459"/>
              <a:gd name="connsiteX8087" fmla="*/ 4266446 w 4716235"/>
              <a:gd name="connsiteY8087" fmla="*/ 2958357 h 4596459"/>
              <a:gd name="connsiteX8088" fmla="*/ 4395619 w 4716235"/>
              <a:gd name="connsiteY8088" fmla="*/ 2957696 h 4596459"/>
              <a:gd name="connsiteX8089" fmla="*/ 4406355 w 4716235"/>
              <a:gd name="connsiteY8089" fmla="*/ 2968432 h 4596459"/>
              <a:gd name="connsiteX8090" fmla="*/ 4395619 w 4716235"/>
              <a:gd name="connsiteY8090" fmla="*/ 2979170 h 4596459"/>
              <a:gd name="connsiteX8091" fmla="*/ 4384882 w 4716235"/>
              <a:gd name="connsiteY8091" fmla="*/ 2968432 h 4596459"/>
              <a:gd name="connsiteX8092" fmla="*/ 4395619 w 4716235"/>
              <a:gd name="connsiteY8092" fmla="*/ 2957696 h 4596459"/>
              <a:gd name="connsiteX8093" fmla="*/ 4321616 w 4716235"/>
              <a:gd name="connsiteY8093" fmla="*/ 2956870 h 4596459"/>
              <a:gd name="connsiteX8094" fmla="*/ 4332354 w 4716235"/>
              <a:gd name="connsiteY8094" fmla="*/ 2967607 h 4596459"/>
              <a:gd name="connsiteX8095" fmla="*/ 4322773 w 4716235"/>
              <a:gd name="connsiteY8095" fmla="*/ 2977188 h 4596459"/>
              <a:gd name="connsiteX8096" fmla="*/ 4331693 w 4716235"/>
              <a:gd name="connsiteY8096" fmla="*/ 2986107 h 4596459"/>
              <a:gd name="connsiteX8097" fmla="*/ 4323104 w 4716235"/>
              <a:gd name="connsiteY8097" fmla="*/ 2994698 h 4596459"/>
              <a:gd name="connsiteX8098" fmla="*/ 4332189 w 4716235"/>
              <a:gd name="connsiteY8098" fmla="*/ 3003782 h 4596459"/>
              <a:gd name="connsiteX8099" fmla="*/ 4324919 w 4716235"/>
              <a:gd name="connsiteY8099" fmla="*/ 3011050 h 4596459"/>
              <a:gd name="connsiteX8100" fmla="*/ 4334995 w 4716235"/>
              <a:gd name="connsiteY8100" fmla="*/ 3021126 h 4596459"/>
              <a:gd name="connsiteX8101" fmla="*/ 4324259 w 4716235"/>
              <a:gd name="connsiteY8101" fmla="*/ 3031864 h 4596459"/>
              <a:gd name="connsiteX8102" fmla="*/ 4313522 w 4716235"/>
              <a:gd name="connsiteY8102" fmla="*/ 3021126 h 4596459"/>
              <a:gd name="connsiteX8103" fmla="*/ 4320790 w 4716235"/>
              <a:gd name="connsiteY8103" fmla="*/ 3013858 h 4596459"/>
              <a:gd name="connsiteX8104" fmla="*/ 4310715 w 4716235"/>
              <a:gd name="connsiteY8104" fmla="*/ 3003782 h 4596459"/>
              <a:gd name="connsiteX8105" fmla="*/ 4319304 w 4716235"/>
              <a:gd name="connsiteY8105" fmla="*/ 2995194 h 4596459"/>
              <a:gd name="connsiteX8106" fmla="*/ 4310219 w 4716235"/>
              <a:gd name="connsiteY8106" fmla="*/ 2986107 h 4596459"/>
              <a:gd name="connsiteX8107" fmla="*/ 4319798 w 4716235"/>
              <a:gd name="connsiteY8107" fmla="*/ 2976528 h 4596459"/>
              <a:gd name="connsiteX8108" fmla="*/ 4310879 w 4716235"/>
              <a:gd name="connsiteY8108" fmla="*/ 2967607 h 4596459"/>
              <a:gd name="connsiteX8109" fmla="*/ 4321616 w 4716235"/>
              <a:gd name="connsiteY8109" fmla="*/ 2956870 h 4596459"/>
              <a:gd name="connsiteX8110" fmla="*/ 3599939 w 4716235"/>
              <a:gd name="connsiteY8110" fmla="*/ 2949767 h 4596459"/>
              <a:gd name="connsiteX8111" fmla="*/ 3610677 w 4716235"/>
              <a:gd name="connsiteY8111" fmla="*/ 2960504 h 4596459"/>
              <a:gd name="connsiteX8112" fmla="*/ 3599939 w 4716235"/>
              <a:gd name="connsiteY8112" fmla="*/ 2971242 h 4596459"/>
              <a:gd name="connsiteX8113" fmla="*/ 3589203 w 4716235"/>
              <a:gd name="connsiteY8113" fmla="*/ 2960504 h 4596459"/>
              <a:gd name="connsiteX8114" fmla="*/ 3599939 w 4716235"/>
              <a:gd name="connsiteY8114" fmla="*/ 2949767 h 4596459"/>
              <a:gd name="connsiteX8115" fmla="*/ 4299482 w 4716235"/>
              <a:gd name="connsiteY8115" fmla="*/ 2947785 h 4596459"/>
              <a:gd name="connsiteX8116" fmla="*/ 4310219 w 4716235"/>
              <a:gd name="connsiteY8116" fmla="*/ 2958521 h 4596459"/>
              <a:gd name="connsiteX8117" fmla="*/ 4299482 w 4716235"/>
              <a:gd name="connsiteY8117" fmla="*/ 2969259 h 4596459"/>
              <a:gd name="connsiteX8118" fmla="*/ 4288746 w 4716235"/>
              <a:gd name="connsiteY8118" fmla="*/ 2958521 h 4596459"/>
              <a:gd name="connsiteX8119" fmla="*/ 4299482 w 4716235"/>
              <a:gd name="connsiteY8119" fmla="*/ 2947785 h 4596459"/>
              <a:gd name="connsiteX8120" fmla="*/ 471240 w 4716235"/>
              <a:gd name="connsiteY8120" fmla="*/ 2947785 h 4596459"/>
              <a:gd name="connsiteX8121" fmla="*/ 481979 w 4716235"/>
              <a:gd name="connsiteY8121" fmla="*/ 2958521 h 4596459"/>
              <a:gd name="connsiteX8122" fmla="*/ 471240 w 4716235"/>
              <a:gd name="connsiteY8122" fmla="*/ 2969259 h 4596459"/>
              <a:gd name="connsiteX8123" fmla="*/ 460504 w 4716235"/>
              <a:gd name="connsiteY8123" fmla="*/ 2958521 h 4596459"/>
              <a:gd name="connsiteX8124" fmla="*/ 471240 w 4716235"/>
              <a:gd name="connsiteY8124" fmla="*/ 2947785 h 4596459"/>
              <a:gd name="connsiteX8125" fmla="*/ 3900900 w 4716235"/>
              <a:gd name="connsiteY8125" fmla="*/ 2944317 h 4596459"/>
              <a:gd name="connsiteX8126" fmla="*/ 3911638 w 4716235"/>
              <a:gd name="connsiteY8126" fmla="*/ 2955053 h 4596459"/>
              <a:gd name="connsiteX8127" fmla="*/ 3900900 w 4716235"/>
              <a:gd name="connsiteY8127" fmla="*/ 2965789 h 4596459"/>
              <a:gd name="connsiteX8128" fmla="*/ 3890164 w 4716235"/>
              <a:gd name="connsiteY8128" fmla="*/ 2955053 h 4596459"/>
              <a:gd name="connsiteX8129" fmla="*/ 3900900 w 4716235"/>
              <a:gd name="connsiteY8129" fmla="*/ 2944317 h 4596459"/>
              <a:gd name="connsiteX8130" fmla="*/ 4360930 w 4716235"/>
              <a:gd name="connsiteY8130" fmla="*/ 2938370 h 4596459"/>
              <a:gd name="connsiteX8131" fmla="*/ 4371666 w 4716235"/>
              <a:gd name="connsiteY8131" fmla="*/ 2949106 h 4596459"/>
              <a:gd name="connsiteX8132" fmla="*/ 4360930 w 4716235"/>
              <a:gd name="connsiteY8132" fmla="*/ 2959843 h 4596459"/>
              <a:gd name="connsiteX8133" fmla="*/ 4350193 w 4716235"/>
              <a:gd name="connsiteY8133" fmla="*/ 2949106 h 4596459"/>
              <a:gd name="connsiteX8134" fmla="*/ 4360930 w 4716235"/>
              <a:gd name="connsiteY8134" fmla="*/ 2938370 h 4596459"/>
              <a:gd name="connsiteX8135" fmla="*/ 4417919 w 4716235"/>
              <a:gd name="connsiteY8135" fmla="*/ 2937545 h 4596459"/>
              <a:gd name="connsiteX8136" fmla="*/ 4427830 w 4716235"/>
              <a:gd name="connsiteY8136" fmla="*/ 2947456 h 4596459"/>
              <a:gd name="connsiteX8137" fmla="*/ 4417919 w 4716235"/>
              <a:gd name="connsiteY8137" fmla="*/ 2957366 h 4596459"/>
              <a:gd name="connsiteX8138" fmla="*/ 4408008 w 4716235"/>
              <a:gd name="connsiteY8138" fmla="*/ 2947456 h 4596459"/>
              <a:gd name="connsiteX8139" fmla="*/ 4417919 w 4716235"/>
              <a:gd name="connsiteY8139" fmla="*/ 2937545 h 4596459"/>
              <a:gd name="connsiteX8140" fmla="*/ 4322773 w 4716235"/>
              <a:gd name="connsiteY8140" fmla="*/ 2936388 h 4596459"/>
              <a:gd name="connsiteX8141" fmla="*/ 4333509 w 4716235"/>
              <a:gd name="connsiteY8141" fmla="*/ 2947124 h 4596459"/>
              <a:gd name="connsiteX8142" fmla="*/ 4322773 w 4716235"/>
              <a:gd name="connsiteY8142" fmla="*/ 2957862 h 4596459"/>
              <a:gd name="connsiteX8143" fmla="*/ 4312036 w 4716235"/>
              <a:gd name="connsiteY8143" fmla="*/ 2947124 h 4596459"/>
              <a:gd name="connsiteX8144" fmla="*/ 4322773 w 4716235"/>
              <a:gd name="connsiteY8144" fmla="*/ 2936388 h 4596459"/>
              <a:gd name="connsiteX8145" fmla="*/ 4385873 w 4716235"/>
              <a:gd name="connsiteY8145" fmla="*/ 2935231 h 4596459"/>
              <a:gd name="connsiteX8146" fmla="*/ 4396609 w 4716235"/>
              <a:gd name="connsiteY8146" fmla="*/ 2945968 h 4596459"/>
              <a:gd name="connsiteX8147" fmla="*/ 4385873 w 4716235"/>
              <a:gd name="connsiteY8147" fmla="*/ 2956706 h 4596459"/>
              <a:gd name="connsiteX8148" fmla="*/ 4375136 w 4716235"/>
              <a:gd name="connsiteY8148" fmla="*/ 2945968 h 4596459"/>
              <a:gd name="connsiteX8149" fmla="*/ 4385873 w 4716235"/>
              <a:gd name="connsiteY8149" fmla="*/ 2935231 h 4596459"/>
              <a:gd name="connsiteX8150" fmla="*/ 3172781 w 4716235"/>
              <a:gd name="connsiteY8150" fmla="*/ 2929285 h 4596459"/>
              <a:gd name="connsiteX8151" fmla="*/ 3183517 w 4716235"/>
              <a:gd name="connsiteY8151" fmla="*/ 2940021 h 4596459"/>
              <a:gd name="connsiteX8152" fmla="*/ 3172781 w 4716235"/>
              <a:gd name="connsiteY8152" fmla="*/ 2950759 h 4596459"/>
              <a:gd name="connsiteX8153" fmla="*/ 3162045 w 4716235"/>
              <a:gd name="connsiteY8153" fmla="*/ 2940021 h 4596459"/>
              <a:gd name="connsiteX8154" fmla="*/ 3172781 w 4716235"/>
              <a:gd name="connsiteY8154" fmla="*/ 2929285 h 4596459"/>
              <a:gd name="connsiteX8155" fmla="*/ 4193270 w 4716235"/>
              <a:gd name="connsiteY8155" fmla="*/ 2928953 h 4596459"/>
              <a:gd name="connsiteX8156" fmla="*/ 4204007 w 4716235"/>
              <a:gd name="connsiteY8156" fmla="*/ 2939690 h 4596459"/>
              <a:gd name="connsiteX8157" fmla="*/ 4193270 w 4716235"/>
              <a:gd name="connsiteY8157" fmla="*/ 2950428 h 4596459"/>
              <a:gd name="connsiteX8158" fmla="*/ 4182534 w 4716235"/>
              <a:gd name="connsiteY8158" fmla="*/ 2939690 h 4596459"/>
              <a:gd name="connsiteX8159" fmla="*/ 4193270 w 4716235"/>
              <a:gd name="connsiteY8159" fmla="*/ 2928953 h 4596459"/>
              <a:gd name="connsiteX8160" fmla="*/ 4254388 w 4716235"/>
              <a:gd name="connsiteY8160" fmla="*/ 2927963 h 4596459"/>
              <a:gd name="connsiteX8161" fmla="*/ 4265126 w 4716235"/>
              <a:gd name="connsiteY8161" fmla="*/ 2938700 h 4596459"/>
              <a:gd name="connsiteX8162" fmla="*/ 4254388 w 4716235"/>
              <a:gd name="connsiteY8162" fmla="*/ 2949438 h 4596459"/>
              <a:gd name="connsiteX8163" fmla="*/ 4243652 w 4716235"/>
              <a:gd name="connsiteY8163" fmla="*/ 2938700 h 4596459"/>
              <a:gd name="connsiteX8164" fmla="*/ 4254388 w 4716235"/>
              <a:gd name="connsiteY8164" fmla="*/ 2927963 h 4596459"/>
              <a:gd name="connsiteX8165" fmla="*/ 4440548 w 4716235"/>
              <a:gd name="connsiteY8165" fmla="*/ 2927467 h 4596459"/>
              <a:gd name="connsiteX8166" fmla="*/ 4441042 w 4716235"/>
              <a:gd name="connsiteY8166" fmla="*/ 2927963 h 4596459"/>
              <a:gd name="connsiteX8167" fmla="*/ 4440548 w 4716235"/>
              <a:gd name="connsiteY8167" fmla="*/ 2928458 h 4596459"/>
              <a:gd name="connsiteX8168" fmla="*/ 4440052 w 4716235"/>
              <a:gd name="connsiteY8168" fmla="*/ 2927963 h 4596459"/>
              <a:gd name="connsiteX8169" fmla="*/ 4440548 w 4716235"/>
              <a:gd name="connsiteY8169" fmla="*/ 2927467 h 4596459"/>
              <a:gd name="connsiteX8170" fmla="*/ 4341273 w 4716235"/>
              <a:gd name="connsiteY8170" fmla="*/ 2925981 h 4596459"/>
              <a:gd name="connsiteX8171" fmla="*/ 4352009 w 4716235"/>
              <a:gd name="connsiteY8171" fmla="*/ 2936717 h 4596459"/>
              <a:gd name="connsiteX8172" fmla="*/ 4341604 w 4716235"/>
              <a:gd name="connsiteY8172" fmla="*/ 2947124 h 4596459"/>
              <a:gd name="connsiteX8173" fmla="*/ 4351184 w 4716235"/>
              <a:gd name="connsiteY8173" fmla="*/ 2956704 h 4596459"/>
              <a:gd name="connsiteX8174" fmla="*/ 4342182 w 4716235"/>
              <a:gd name="connsiteY8174" fmla="*/ 2965708 h 4596459"/>
              <a:gd name="connsiteX8175" fmla="*/ 4352176 w 4716235"/>
              <a:gd name="connsiteY8175" fmla="*/ 2975700 h 4596459"/>
              <a:gd name="connsiteX8176" fmla="*/ 4341439 w 4716235"/>
              <a:gd name="connsiteY8176" fmla="*/ 2986437 h 4596459"/>
              <a:gd name="connsiteX8177" fmla="*/ 4330703 w 4716235"/>
              <a:gd name="connsiteY8177" fmla="*/ 2975700 h 4596459"/>
              <a:gd name="connsiteX8178" fmla="*/ 4339705 w 4716235"/>
              <a:gd name="connsiteY8178" fmla="*/ 2966700 h 4596459"/>
              <a:gd name="connsiteX8179" fmla="*/ 4329711 w 4716235"/>
              <a:gd name="connsiteY8179" fmla="*/ 2956704 h 4596459"/>
              <a:gd name="connsiteX8180" fmla="*/ 4340116 w 4716235"/>
              <a:gd name="connsiteY8180" fmla="*/ 2946299 h 4596459"/>
              <a:gd name="connsiteX8181" fmla="*/ 4330536 w 4716235"/>
              <a:gd name="connsiteY8181" fmla="*/ 2936717 h 4596459"/>
              <a:gd name="connsiteX8182" fmla="*/ 4341273 w 4716235"/>
              <a:gd name="connsiteY8182" fmla="*/ 2925981 h 4596459"/>
              <a:gd name="connsiteX8183" fmla="*/ 4104237 w 4716235"/>
              <a:gd name="connsiteY8183" fmla="*/ 2922348 h 4596459"/>
              <a:gd name="connsiteX8184" fmla="*/ 4114975 w 4716235"/>
              <a:gd name="connsiteY8184" fmla="*/ 2933084 h 4596459"/>
              <a:gd name="connsiteX8185" fmla="*/ 4104237 w 4716235"/>
              <a:gd name="connsiteY8185" fmla="*/ 2943821 h 4596459"/>
              <a:gd name="connsiteX8186" fmla="*/ 4093501 w 4716235"/>
              <a:gd name="connsiteY8186" fmla="*/ 2933084 h 4596459"/>
              <a:gd name="connsiteX8187" fmla="*/ 4104237 w 4716235"/>
              <a:gd name="connsiteY8187" fmla="*/ 2922348 h 4596459"/>
              <a:gd name="connsiteX8188" fmla="*/ 4295683 w 4716235"/>
              <a:gd name="connsiteY8188" fmla="*/ 2922017 h 4596459"/>
              <a:gd name="connsiteX8189" fmla="*/ 4306421 w 4716235"/>
              <a:gd name="connsiteY8189" fmla="*/ 2932753 h 4596459"/>
              <a:gd name="connsiteX8190" fmla="*/ 4295683 w 4716235"/>
              <a:gd name="connsiteY8190" fmla="*/ 2943491 h 4596459"/>
              <a:gd name="connsiteX8191" fmla="*/ 4284946 w 4716235"/>
              <a:gd name="connsiteY8191" fmla="*/ 2932753 h 4596459"/>
              <a:gd name="connsiteX8192" fmla="*/ 4295683 w 4716235"/>
              <a:gd name="connsiteY8192" fmla="*/ 2922017 h 4596459"/>
              <a:gd name="connsiteX8193" fmla="*/ 1728104 w 4716235"/>
              <a:gd name="connsiteY8193" fmla="*/ 2920695 h 4596459"/>
              <a:gd name="connsiteX8194" fmla="*/ 1738843 w 4716235"/>
              <a:gd name="connsiteY8194" fmla="*/ 2931432 h 4596459"/>
              <a:gd name="connsiteX8195" fmla="*/ 1728104 w 4716235"/>
              <a:gd name="connsiteY8195" fmla="*/ 2942170 h 4596459"/>
              <a:gd name="connsiteX8196" fmla="*/ 1717368 w 4716235"/>
              <a:gd name="connsiteY8196" fmla="*/ 2931432 h 4596459"/>
              <a:gd name="connsiteX8197" fmla="*/ 1728104 w 4716235"/>
              <a:gd name="connsiteY8197" fmla="*/ 2920695 h 4596459"/>
              <a:gd name="connsiteX8198" fmla="*/ 1952255 w 4716235"/>
              <a:gd name="connsiteY8198" fmla="*/ 2918382 h 4596459"/>
              <a:gd name="connsiteX8199" fmla="*/ 1962993 w 4716235"/>
              <a:gd name="connsiteY8199" fmla="*/ 2929118 h 4596459"/>
              <a:gd name="connsiteX8200" fmla="*/ 1952255 w 4716235"/>
              <a:gd name="connsiteY8200" fmla="*/ 2939856 h 4596459"/>
              <a:gd name="connsiteX8201" fmla="*/ 1941519 w 4716235"/>
              <a:gd name="connsiteY8201" fmla="*/ 2929118 h 4596459"/>
              <a:gd name="connsiteX8202" fmla="*/ 1952255 w 4716235"/>
              <a:gd name="connsiteY8202" fmla="*/ 2918382 h 4596459"/>
              <a:gd name="connsiteX8203" fmla="*/ 4359277 w 4716235"/>
              <a:gd name="connsiteY8203" fmla="*/ 2917888 h 4596459"/>
              <a:gd name="connsiteX8204" fmla="*/ 4370015 w 4716235"/>
              <a:gd name="connsiteY8204" fmla="*/ 2928624 h 4596459"/>
              <a:gd name="connsiteX8205" fmla="*/ 4359277 w 4716235"/>
              <a:gd name="connsiteY8205" fmla="*/ 2939362 h 4596459"/>
              <a:gd name="connsiteX8206" fmla="*/ 4348541 w 4716235"/>
              <a:gd name="connsiteY8206" fmla="*/ 2928624 h 4596459"/>
              <a:gd name="connsiteX8207" fmla="*/ 4359277 w 4716235"/>
              <a:gd name="connsiteY8207" fmla="*/ 2917888 h 4596459"/>
              <a:gd name="connsiteX8208" fmla="*/ 1504946 w 4716235"/>
              <a:gd name="connsiteY8208" fmla="*/ 2914419 h 4596459"/>
              <a:gd name="connsiteX8209" fmla="*/ 1515682 w 4716235"/>
              <a:gd name="connsiteY8209" fmla="*/ 2925156 h 4596459"/>
              <a:gd name="connsiteX8210" fmla="*/ 1504946 w 4716235"/>
              <a:gd name="connsiteY8210" fmla="*/ 2935892 h 4596459"/>
              <a:gd name="connsiteX8211" fmla="*/ 1494209 w 4716235"/>
              <a:gd name="connsiteY8211" fmla="*/ 2925156 h 4596459"/>
              <a:gd name="connsiteX8212" fmla="*/ 1504946 w 4716235"/>
              <a:gd name="connsiteY8212" fmla="*/ 2914419 h 4596459"/>
              <a:gd name="connsiteX8213" fmla="*/ 4323268 w 4716235"/>
              <a:gd name="connsiteY8213" fmla="*/ 2913427 h 4596459"/>
              <a:gd name="connsiteX8214" fmla="*/ 4334005 w 4716235"/>
              <a:gd name="connsiteY8214" fmla="*/ 2924164 h 4596459"/>
              <a:gd name="connsiteX8215" fmla="*/ 4323268 w 4716235"/>
              <a:gd name="connsiteY8215" fmla="*/ 2934902 h 4596459"/>
              <a:gd name="connsiteX8216" fmla="*/ 4312532 w 4716235"/>
              <a:gd name="connsiteY8216" fmla="*/ 2924164 h 4596459"/>
              <a:gd name="connsiteX8217" fmla="*/ 4323268 w 4716235"/>
              <a:gd name="connsiteY8217" fmla="*/ 2913427 h 4596459"/>
              <a:gd name="connsiteX8218" fmla="*/ 4380091 w 4716235"/>
              <a:gd name="connsiteY8218" fmla="*/ 2913098 h 4596459"/>
              <a:gd name="connsiteX8219" fmla="*/ 4390827 w 4716235"/>
              <a:gd name="connsiteY8219" fmla="*/ 2923834 h 4596459"/>
              <a:gd name="connsiteX8220" fmla="*/ 4380091 w 4716235"/>
              <a:gd name="connsiteY8220" fmla="*/ 2934571 h 4596459"/>
              <a:gd name="connsiteX8221" fmla="*/ 4369355 w 4716235"/>
              <a:gd name="connsiteY8221" fmla="*/ 2923834 h 4596459"/>
              <a:gd name="connsiteX8222" fmla="*/ 4380091 w 4716235"/>
              <a:gd name="connsiteY8222" fmla="*/ 2913098 h 4596459"/>
              <a:gd name="connsiteX8223" fmla="*/ 317952 w 4716235"/>
              <a:gd name="connsiteY8223" fmla="*/ 2912931 h 4596459"/>
              <a:gd name="connsiteX8224" fmla="*/ 328690 w 4716235"/>
              <a:gd name="connsiteY8224" fmla="*/ 2923668 h 4596459"/>
              <a:gd name="connsiteX8225" fmla="*/ 317952 w 4716235"/>
              <a:gd name="connsiteY8225" fmla="*/ 2934406 h 4596459"/>
              <a:gd name="connsiteX8226" fmla="*/ 307216 w 4716235"/>
              <a:gd name="connsiteY8226" fmla="*/ 2923668 h 4596459"/>
              <a:gd name="connsiteX8227" fmla="*/ 317952 w 4716235"/>
              <a:gd name="connsiteY8227" fmla="*/ 2912931 h 4596459"/>
              <a:gd name="connsiteX8228" fmla="*/ 4406520 w 4716235"/>
              <a:gd name="connsiteY8228" fmla="*/ 2912767 h 4596459"/>
              <a:gd name="connsiteX8229" fmla="*/ 4417256 w 4716235"/>
              <a:gd name="connsiteY8229" fmla="*/ 2923503 h 4596459"/>
              <a:gd name="connsiteX8230" fmla="*/ 4406520 w 4716235"/>
              <a:gd name="connsiteY8230" fmla="*/ 2934241 h 4596459"/>
              <a:gd name="connsiteX8231" fmla="*/ 4395784 w 4716235"/>
              <a:gd name="connsiteY8231" fmla="*/ 2923503 h 4596459"/>
              <a:gd name="connsiteX8232" fmla="*/ 4406520 w 4716235"/>
              <a:gd name="connsiteY8232" fmla="*/ 2912767 h 4596459"/>
              <a:gd name="connsiteX8233" fmla="*/ 3708629 w 4716235"/>
              <a:gd name="connsiteY8233" fmla="*/ 2910949 h 4596459"/>
              <a:gd name="connsiteX8234" fmla="*/ 3719366 w 4716235"/>
              <a:gd name="connsiteY8234" fmla="*/ 2921686 h 4596459"/>
              <a:gd name="connsiteX8235" fmla="*/ 3708629 w 4716235"/>
              <a:gd name="connsiteY8235" fmla="*/ 2932424 h 4596459"/>
              <a:gd name="connsiteX8236" fmla="*/ 3697893 w 4716235"/>
              <a:gd name="connsiteY8236" fmla="*/ 2921686 h 4596459"/>
              <a:gd name="connsiteX8237" fmla="*/ 3708629 w 4716235"/>
              <a:gd name="connsiteY8237" fmla="*/ 2910949 h 4596459"/>
              <a:gd name="connsiteX8238" fmla="*/ 2173104 w 4716235"/>
              <a:gd name="connsiteY8238" fmla="*/ 2908142 h 4596459"/>
              <a:gd name="connsiteX8239" fmla="*/ 2183842 w 4716235"/>
              <a:gd name="connsiteY8239" fmla="*/ 2918878 h 4596459"/>
              <a:gd name="connsiteX8240" fmla="*/ 2173104 w 4716235"/>
              <a:gd name="connsiteY8240" fmla="*/ 2929616 h 4596459"/>
              <a:gd name="connsiteX8241" fmla="*/ 2162368 w 4716235"/>
              <a:gd name="connsiteY8241" fmla="*/ 2918878 h 4596459"/>
              <a:gd name="connsiteX8242" fmla="*/ 2173104 w 4716235"/>
              <a:gd name="connsiteY8242" fmla="*/ 2908142 h 4596459"/>
              <a:gd name="connsiteX8243" fmla="*/ 3979031 w 4716235"/>
              <a:gd name="connsiteY8243" fmla="*/ 2904673 h 4596459"/>
              <a:gd name="connsiteX8244" fmla="*/ 3989767 w 4716235"/>
              <a:gd name="connsiteY8244" fmla="*/ 2915410 h 4596459"/>
              <a:gd name="connsiteX8245" fmla="*/ 3979031 w 4716235"/>
              <a:gd name="connsiteY8245" fmla="*/ 2926148 h 4596459"/>
              <a:gd name="connsiteX8246" fmla="*/ 3968294 w 4716235"/>
              <a:gd name="connsiteY8246" fmla="*/ 2915410 h 4596459"/>
              <a:gd name="connsiteX8247" fmla="*/ 3979031 w 4716235"/>
              <a:gd name="connsiteY8247" fmla="*/ 2904673 h 4596459"/>
              <a:gd name="connsiteX8248" fmla="*/ 4343090 w 4716235"/>
              <a:gd name="connsiteY8248" fmla="*/ 2904342 h 4596459"/>
              <a:gd name="connsiteX8249" fmla="*/ 4353827 w 4716235"/>
              <a:gd name="connsiteY8249" fmla="*/ 2915078 h 4596459"/>
              <a:gd name="connsiteX8250" fmla="*/ 4343090 w 4716235"/>
              <a:gd name="connsiteY8250" fmla="*/ 2925816 h 4596459"/>
              <a:gd name="connsiteX8251" fmla="*/ 4332354 w 4716235"/>
              <a:gd name="connsiteY8251" fmla="*/ 2915078 h 4596459"/>
              <a:gd name="connsiteX8252" fmla="*/ 4343090 w 4716235"/>
              <a:gd name="connsiteY8252" fmla="*/ 2904342 h 4596459"/>
              <a:gd name="connsiteX8253" fmla="*/ 1287071 w 4716235"/>
              <a:gd name="connsiteY8253" fmla="*/ 2900874 h 4596459"/>
              <a:gd name="connsiteX8254" fmla="*/ 1297809 w 4716235"/>
              <a:gd name="connsiteY8254" fmla="*/ 2911610 h 4596459"/>
              <a:gd name="connsiteX8255" fmla="*/ 1287071 w 4716235"/>
              <a:gd name="connsiteY8255" fmla="*/ 2922348 h 4596459"/>
              <a:gd name="connsiteX8256" fmla="*/ 1276335 w 4716235"/>
              <a:gd name="connsiteY8256" fmla="*/ 2911610 h 4596459"/>
              <a:gd name="connsiteX8257" fmla="*/ 1287071 w 4716235"/>
              <a:gd name="connsiteY8257" fmla="*/ 2900874 h 4596459"/>
              <a:gd name="connsiteX8258" fmla="*/ 4359940 w 4716235"/>
              <a:gd name="connsiteY8258" fmla="*/ 2896413 h 4596459"/>
              <a:gd name="connsiteX8259" fmla="*/ 4370676 w 4716235"/>
              <a:gd name="connsiteY8259" fmla="*/ 2907150 h 4596459"/>
              <a:gd name="connsiteX8260" fmla="*/ 4359940 w 4716235"/>
              <a:gd name="connsiteY8260" fmla="*/ 2917888 h 4596459"/>
              <a:gd name="connsiteX8261" fmla="*/ 4349203 w 4716235"/>
              <a:gd name="connsiteY8261" fmla="*/ 2907150 h 4596459"/>
              <a:gd name="connsiteX8262" fmla="*/ 4359940 w 4716235"/>
              <a:gd name="connsiteY8262" fmla="*/ 2896413 h 4596459"/>
              <a:gd name="connsiteX8263" fmla="*/ 3319792 w 4716235"/>
              <a:gd name="connsiteY8263" fmla="*/ 2893937 h 4596459"/>
              <a:gd name="connsiteX8264" fmla="*/ 3330528 w 4716235"/>
              <a:gd name="connsiteY8264" fmla="*/ 2904673 h 4596459"/>
              <a:gd name="connsiteX8265" fmla="*/ 3319792 w 4716235"/>
              <a:gd name="connsiteY8265" fmla="*/ 2915411 h 4596459"/>
              <a:gd name="connsiteX8266" fmla="*/ 3309055 w 4716235"/>
              <a:gd name="connsiteY8266" fmla="*/ 2904673 h 4596459"/>
              <a:gd name="connsiteX8267" fmla="*/ 3319792 w 4716235"/>
              <a:gd name="connsiteY8267" fmla="*/ 2893937 h 4596459"/>
              <a:gd name="connsiteX8268" fmla="*/ 4427332 w 4716235"/>
              <a:gd name="connsiteY8268" fmla="*/ 2891459 h 4596459"/>
              <a:gd name="connsiteX8269" fmla="*/ 4438070 w 4716235"/>
              <a:gd name="connsiteY8269" fmla="*/ 2902195 h 4596459"/>
              <a:gd name="connsiteX8270" fmla="*/ 4427332 w 4716235"/>
              <a:gd name="connsiteY8270" fmla="*/ 2912933 h 4596459"/>
              <a:gd name="connsiteX8271" fmla="*/ 4416595 w 4716235"/>
              <a:gd name="connsiteY8271" fmla="*/ 2902195 h 4596459"/>
              <a:gd name="connsiteX8272" fmla="*/ 4427332 w 4716235"/>
              <a:gd name="connsiteY8272" fmla="*/ 2891459 h 4596459"/>
              <a:gd name="connsiteX8273" fmla="*/ 4287589 w 4716235"/>
              <a:gd name="connsiteY8273" fmla="*/ 2891127 h 4596459"/>
              <a:gd name="connsiteX8274" fmla="*/ 4298326 w 4716235"/>
              <a:gd name="connsiteY8274" fmla="*/ 2901864 h 4596459"/>
              <a:gd name="connsiteX8275" fmla="*/ 4287589 w 4716235"/>
              <a:gd name="connsiteY8275" fmla="*/ 2912600 h 4596459"/>
              <a:gd name="connsiteX8276" fmla="*/ 4276853 w 4716235"/>
              <a:gd name="connsiteY8276" fmla="*/ 2901864 h 4596459"/>
              <a:gd name="connsiteX8277" fmla="*/ 4287589 w 4716235"/>
              <a:gd name="connsiteY8277" fmla="*/ 2891127 h 4596459"/>
              <a:gd name="connsiteX8278" fmla="*/ 4377613 w 4716235"/>
              <a:gd name="connsiteY8278" fmla="*/ 2890963 h 4596459"/>
              <a:gd name="connsiteX8279" fmla="*/ 4388349 w 4716235"/>
              <a:gd name="connsiteY8279" fmla="*/ 2901699 h 4596459"/>
              <a:gd name="connsiteX8280" fmla="*/ 4377613 w 4716235"/>
              <a:gd name="connsiteY8280" fmla="*/ 2912437 h 4596459"/>
              <a:gd name="connsiteX8281" fmla="*/ 4366876 w 4716235"/>
              <a:gd name="connsiteY8281" fmla="*/ 2901699 h 4596459"/>
              <a:gd name="connsiteX8282" fmla="*/ 4377613 w 4716235"/>
              <a:gd name="connsiteY8282" fmla="*/ 2890963 h 4596459"/>
              <a:gd name="connsiteX8283" fmla="*/ 4235723 w 4716235"/>
              <a:gd name="connsiteY8283" fmla="*/ 2890963 h 4596459"/>
              <a:gd name="connsiteX8284" fmla="*/ 4246460 w 4716235"/>
              <a:gd name="connsiteY8284" fmla="*/ 2901699 h 4596459"/>
              <a:gd name="connsiteX8285" fmla="*/ 4235723 w 4716235"/>
              <a:gd name="connsiteY8285" fmla="*/ 2912437 h 4596459"/>
              <a:gd name="connsiteX8286" fmla="*/ 4224987 w 4716235"/>
              <a:gd name="connsiteY8286" fmla="*/ 2901699 h 4596459"/>
              <a:gd name="connsiteX8287" fmla="*/ 4235723 w 4716235"/>
              <a:gd name="connsiteY8287" fmla="*/ 2890963 h 4596459"/>
              <a:gd name="connsiteX8288" fmla="*/ 2386683 w 4716235"/>
              <a:gd name="connsiteY8288" fmla="*/ 2890798 h 4596459"/>
              <a:gd name="connsiteX8289" fmla="*/ 2397421 w 4716235"/>
              <a:gd name="connsiteY8289" fmla="*/ 2901534 h 4596459"/>
              <a:gd name="connsiteX8290" fmla="*/ 2386683 w 4716235"/>
              <a:gd name="connsiteY8290" fmla="*/ 2912272 h 4596459"/>
              <a:gd name="connsiteX8291" fmla="*/ 2375946 w 4716235"/>
              <a:gd name="connsiteY8291" fmla="*/ 2901534 h 4596459"/>
              <a:gd name="connsiteX8292" fmla="*/ 2386683 w 4716235"/>
              <a:gd name="connsiteY8292" fmla="*/ 2890798 h 4596459"/>
              <a:gd name="connsiteX8293" fmla="*/ 4399252 w 4716235"/>
              <a:gd name="connsiteY8293" fmla="*/ 2889145 h 4596459"/>
              <a:gd name="connsiteX8294" fmla="*/ 4409988 w 4716235"/>
              <a:gd name="connsiteY8294" fmla="*/ 2899882 h 4596459"/>
              <a:gd name="connsiteX8295" fmla="*/ 4399252 w 4716235"/>
              <a:gd name="connsiteY8295" fmla="*/ 2910620 h 4596459"/>
              <a:gd name="connsiteX8296" fmla="*/ 4388516 w 4716235"/>
              <a:gd name="connsiteY8296" fmla="*/ 2899882 h 4596459"/>
              <a:gd name="connsiteX8297" fmla="*/ 4399252 w 4716235"/>
              <a:gd name="connsiteY8297" fmla="*/ 2889145 h 4596459"/>
              <a:gd name="connsiteX8298" fmla="*/ 4321947 w 4716235"/>
              <a:gd name="connsiteY8298" fmla="*/ 2886998 h 4596459"/>
              <a:gd name="connsiteX8299" fmla="*/ 4332683 w 4716235"/>
              <a:gd name="connsiteY8299" fmla="*/ 2897735 h 4596459"/>
              <a:gd name="connsiteX8300" fmla="*/ 4321947 w 4716235"/>
              <a:gd name="connsiteY8300" fmla="*/ 2908471 h 4596459"/>
              <a:gd name="connsiteX8301" fmla="*/ 4311211 w 4716235"/>
              <a:gd name="connsiteY8301" fmla="*/ 2897735 h 4596459"/>
              <a:gd name="connsiteX8302" fmla="*/ 4321947 w 4716235"/>
              <a:gd name="connsiteY8302" fmla="*/ 2886998 h 4596459"/>
              <a:gd name="connsiteX8303" fmla="*/ 4159077 w 4716235"/>
              <a:gd name="connsiteY8303" fmla="*/ 2883695 h 4596459"/>
              <a:gd name="connsiteX8304" fmla="*/ 4169814 w 4716235"/>
              <a:gd name="connsiteY8304" fmla="*/ 2894431 h 4596459"/>
              <a:gd name="connsiteX8305" fmla="*/ 4159077 w 4716235"/>
              <a:gd name="connsiteY8305" fmla="*/ 2905169 h 4596459"/>
              <a:gd name="connsiteX8306" fmla="*/ 4148341 w 4716235"/>
              <a:gd name="connsiteY8306" fmla="*/ 2894431 h 4596459"/>
              <a:gd name="connsiteX8307" fmla="*/ 4159077 w 4716235"/>
              <a:gd name="connsiteY8307" fmla="*/ 2883695 h 4596459"/>
              <a:gd name="connsiteX8308" fmla="*/ 1077786 w 4716235"/>
              <a:gd name="connsiteY8308" fmla="*/ 2880722 h 4596459"/>
              <a:gd name="connsiteX8309" fmla="*/ 1088522 w 4716235"/>
              <a:gd name="connsiteY8309" fmla="*/ 2891459 h 4596459"/>
              <a:gd name="connsiteX8310" fmla="*/ 1077786 w 4716235"/>
              <a:gd name="connsiteY8310" fmla="*/ 2902197 h 4596459"/>
              <a:gd name="connsiteX8311" fmla="*/ 1067050 w 4716235"/>
              <a:gd name="connsiteY8311" fmla="*/ 2891459 h 4596459"/>
              <a:gd name="connsiteX8312" fmla="*/ 1077786 w 4716235"/>
              <a:gd name="connsiteY8312" fmla="*/ 2880722 h 4596459"/>
              <a:gd name="connsiteX8313" fmla="*/ 4344908 w 4716235"/>
              <a:gd name="connsiteY8313" fmla="*/ 2880556 h 4596459"/>
              <a:gd name="connsiteX8314" fmla="*/ 4355644 w 4716235"/>
              <a:gd name="connsiteY8314" fmla="*/ 2891292 h 4596459"/>
              <a:gd name="connsiteX8315" fmla="*/ 4344908 w 4716235"/>
              <a:gd name="connsiteY8315" fmla="*/ 2902029 h 4596459"/>
              <a:gd name="connsiteX8316" fmla="*/ 4334171 w 4716235"/>
              <a:gd name="connsiteY8316" fmla="*/ 2891292 h 4596459"/>
              <a:gd name="connsiteX8317" fmla="*/ 4344908 w 4716235"/>
              <a:gd name="connsiteY8317" fmla="*/ 2880556 h 4596459"/>
              <a:gd name="connsiteX8318" fmla="*/ 176392 w 4716235"/>
              <a:gd name="connsiteY8318" fmla="*/ 2877252 h 4596459"/>
              <a:gd name="connsiteX8319" fmla="*/ 187130 w 4716235"/>
              <a:gd name="connsiteY8319" fmla="*/ 2887989 h 4596459"/>
              <a:gd name="connsiteX8320" fmla="*/ 176392 w 4716235"/>
              <a:gd name="connsiteY8320" fmla="*/ 2898727 h 4596459"/>
              <a:gd name="connsiteX8321" fmla="*/ 165656 w 4716235"/>
              <a:gd name="connsiteY8321" fmla="*/ 2887989 h 4596459"/>
              <a:gd name="connsiteX8322" fmla="*/ 176392 w 4716235"/>
              <a:gd name="connsiteY8322" fmla="*/ 2877252 h 4596459"/>
              <a:gd name="connsiteX8323" fmla="*/ 4448642 w 4716235"/>
              <a:gd name="connsiteY8323" fmla="*/ 2872627 h 4596459"/>
              <a:gd name="connsiteX8324" fmla="*/ 4458223 w 4716235"/>
              <a:gd name="connsiteY8324" fmla="*/ 2882208 h 4596459"/>
              <a:gd name="connsiteX8325" fmla="*/ 4448642 w 4716235"/>
              <a:gd name="connsiteY8325" fmla="*/ 2891788 h 4596459"/>
              <a:gd name="connsiteX8326" fmla="*/ 4439062 w 4716235"/>
              <a:gd name="connsiteY8326" fmla="*/ 2882208 h 4596459"/>
              <a:gd name="connsiteX8327" fmla="*/ 4448642 w 4716235"/>
              <a:gd name="connsiteY8327" fmla="*/ 2872627 h 4596459"/>
              <a:gd name="connsiteX8328" fmla="*/ 3807738 w 4716235"/>
              <a:gd name="connsiteY8328" fmla="*/ 2872627 h 4596459"/>
              <a:gd name="connsiteX8329" fmla="*/ 3818474 w 4716235"/>
              <a:gd name="connsiteY8329" fmla="*/ 2883363 h 4596459"/>
              <a:gd name="connsiteX8330" fmla="*/ 3807738 w 4716235"/>
              <a:gd name="connsiteY8330" fmla="*/ 2894102 h 4596459"/>
              <a:gd name="connsiteX8331" fmla="*/ 3797002 w 4716235"/>
              <a:gd name="connsiteY8331" fmla="*/ 2883363 h 4596459"/>
              <a:gd name="connsiteX8332" fmla="*/ 3807738 w 4716235"/>
              <a:gd name="connsiteY8332" fmla="*/ 2872627 h 4596459"/>
              <a:gd name="connsiteX8333" fmla="*/ 2590351 w 4716235"/>
              <a:gd name="connsiteY8333" fmla="*/ 2867837 h 4596459"/>
              <a:gd name="connsiteX8334" fmla="*/ 2601089 w 4716235"/>
              <a:gd name="connsiteY8334" fmla="*/ 2878574 h 4596459"/>
              <a:gd name="connsiteX8335" fmla="*/ 2590351 w 4716235"/>
              <a:gd name="connsiteY8335" fmla="*/ 2889312 h 4596459"/>
              <a:gd name="connsiteX8336" fmla="*/ 2579615 w 4716235"/>
              <a:gd name="connsiteY8336" fmla="*/ 2878574 h 4596459"/>
              <a:gd name="connsiteX8337" fmla="*/ 2590351 w 4716235"/>
              <a:gd name="connsiteY8337" fmla="*/ 2867837 h 4596459"/>
              <a:gd name="connsiteX8338" fmla="*/ 4418413 w 4716235"/>
              <a:gd name="connsiteY8338" fmla="*/ 2866351 h 4596459"/>
              <a:gd name="connsiteX8339" fmla="*/ 4429149 w 4716235"/>
              <a:gd name="connsiteY8339" fmla="*/ 2877087 h 4596459"/>
              <a:gd name="connsiteX8340" fmla="*/ 4418413 w 4716235"/>
              <a:gd name="connsiteY8340" fmla="*/ 2887824 h 4596459"/>
              <a:gd name="connsiteX8341" fmla="*/ 4407677 w 4716235"/>
              <a:gd name="connsiteY8341" fmla="*/ 2877087 h 4596459"/>
              <a:gd name="connsiteX8342" fmla="*/ 4418413 w 4716235"/>
              <a:gd name="connsiteY8342" fmla="*/ 2866351 h 4596459"/>
              <a:gd name="connsiteX8343" fmla="*/ 4049564 w 4716235"/>
              <a:gd name="connsiteY8343" fmla="*/ 2866020 h 4596459"/>
              <a:gd name="connsiteX8344" fmla="*/ 4060302 w 4716235"/>
              <a:gd name="connsiteY8344" fmla="*/ 2876756 h 4596459"/>
              <a:gd name="connsiteX8345" fmla="*/ 4049564 w 4716235"/>
              <a:gd name="connsiteY8345" fmla="*/ 2887494 h 4596459"/>
              <a:gd name="connsiteX8346" fmla="*/ 4038827 w 4716235"/>
              <a:gd name="connsiteY8346" fmla="*/ 2876756 h 4596459"/>
              <a:gd name="connsiteX8347" fmla="*/ 4049564 w 4716235"/>
              <a:gd name="connsiteY8347" fmla="*/ 2866020 h 4596459"/>
              <a:gd name="connsiteX8348" fmla="*/ 4395452 w 4716235"/>
              <a:gd name="connsiteY8348" fmla="*/ 2865690 h 4596459"/>
              <a:gd name="connsiteX8349" fmla="*/ 4406190 w 4716235"/>
              <a:gd name="connsiteY8349" fmla="*/ 2876427 h 4596459"/>
              <a:gd name="connsiteX8350" fmla="*/ 4395452 w 4716235"/>
              <a:gd name="connsiteY8350" fmla="*/ 2887165 h 4596459"/>
              <a:gd name="connsiteX8351" fmla="*/ 4387936 w 4716235"/>
              <a:gd name="connsiteY8351" fmla="*/ 2879649 h 4596459"/>
              <a:gd name="connsiteX8352" fmla="*/ 4377777 w 4716235"/>
              <a:gd name="connsiteY8352" fmla="*/ 2889808 h 4596459"/>
              <a:gd name="connsiteX8353" fmla="*/ 4372656 w 4716235"/>
              <a:gd name="connsiteY8353" fmla="*/ 2884687 h 4596459"/>
              <a:gd name="connsiteX8354" fmla="*/ 4362087 w 4716235"/>
              <a:gd name="connsiteY8354" fmla="*/ 2895258 h 4596459"/>
              <a:gd name="connsiteX8355" fmla="*/ 4351350 w 4716235"/>
              <a:gd name="connsiteY8355" fmla="*/ 2884520 h 4596459"/>
              <a:gd name="connsiteX8356" fmla="*/ 4362087 w 4716235"/>
              <a:gd name="connsiteY8356" fmla="*/ 2873784 h 4596459"/>
              <a:gd name="connsiteX8357" fmla="*/ 4367208 w 4716235"/>
              <a:gd name="connsiteY8357" fmla="*/ 2878905 h 4596459"/>
              <a:gd name="connsiteX8358" fmla="*/ 4377777 w 4716235"/>
              <a:gd name="connsiteY8358" fmla="*/ 2868333 h 4596459"/>
              <a:gd name="connsiteX8359" fmla="*/ 4385293 w 4716235"/>
              <a:gd name="connsiteY8359" fmla="*/ 2875849 h 4596459"/>
              <a:gd name="connsiteX8360" fmla="*/ 4470445 w 4716235"/>
              <a:gd name="connsiteY8360" fmla="*/ 2863047 h 4596459"/>
              <a:gd name="connsiteX8361" fmla="*/ 4470777 w 4716235"/>
              <a:gd name="connsiteY8361" fmla="*/ 2863377 h 4596459"/>
              <a:gd name="connsiteX8362" fmla="*/ 4470445 w 4716235"/>
              <a:gd name="connsiteY8362" fmla="*/ 2863708 h 4596459"/>
              <a:gd name="connsiteX8363" fmla="*/ 4470116 w 4716235"/>
              <a:gd name="connsiteY8363" fmla="*/ 2863377 h 4596459"/>
              <a:gd name="connsiteX8364" fmla="*/ 4470445 w 4716235"/>
              <a:gd name="connsiteY8364" fmla="*/ 2863047 h 4596459"/>
              <a:gd name="connsiteX8365" fmla="*/ 3455240 w 4716235"/>
              <a:gd name="connsiteY8365" fmla="*/ 2857762 h 4596459"/>
              <a:gd name="connsiteX8366" fmla="*/ 3465977 w 4716235"/>
              <a:gd name="connsiteY8366" fmla="*/ 2868498 h 4596459"/>
              <a:gd name="connsiteX8367" fmla="*/ 3455240 w 4716235"/>
              <a:gd name="connsiteY8367" fmla="*/ 2879236 h 4596459"/>
              <a:gd name="connsiteX8368" fmla="*/ 3444504 w 4716235"/>
              <a:gd name="connsiteY8368" fmla="*/ 2868498 h 4596459"/>
              <a:gd name="connsiteX8369" fmla="*/ 3455240 w 4716235"/>
              <a:gd name="connsiteY8369" fmla="*/ 2857762 h 4596459"/>
              <a:gd name="connsiteX8370" fmla="*/ 4316991 w 4716235"/>
              <a:gd name="connsiteY8370" fmla="*/ 2855779 h 4596459"/>
              <a:gd name="connsiteX8371" fmla="*/ 4327729 w 4716235"/>
              <a:gd name="connsiteY8371" fmla="*/ 2866516 h 4596459"/>
              <a:gd name="connsiteX8372" fmla="*/ 4316991 w 4716235"/>
              <a:gd name="connsiteY8372" fmla="*/ 2877252 h 4596459"/>
              <a:gd name="connsiteX8373" fmla="*/ 4306254 w 4716235"/>
              <a:gd name="connsiteY8373" fmla="*/ 2866516 h 4596459"/>
              <a:gd name="connsiteX8374" fmla="*/ 4316991 w 4716235"/>
              <a:gd name="connsiteY8374" fmla="*/ 2855779 h 4596459"/>
              <a:gd name="connsiteX8375" fmla="*/ 879569 w 4716235"/>
              <a:gd name="connsiteY8375" fmla="*/ 2855779 h 4596459"/>
              <a:gd name="connsiteX8376" fmla="*/ 890307 w 4716235"/>
              <a:gd name="connsiteY8376" fmla="*/ 2866516 h 4596459"/>
              <a:gd name="connsiteX8377" fmla="*/ 879569 w 4716235"/>
              <a:gd name="connsiteY8377" fmla="*/ 2877252 h 4596459"/>
              <a:gd name="connsiteX8378" fmla="*/ 868832 w 4716235"/>
              <a:gd name="connsiteY8378" fmla="*/ 2866516 h 4596459"/>
              <a:gd name="connsiteX8379" fmla="*/ 879569 w 4716235"/>
              <a:gd name="connsiteY8379" fmla="*/ 2855779 h 4596459"/>
              <a:gd name="connsiteX8380" fmla="*/ 4273549 w 4716235"/>
              <a:gd name="connsiteY8380" fmla="*/ 2854127 h 4596459"/>
              <a:gd name="connsiteX8381" fmla="*/ 4284287 w 4716235"/>
              <a:gd name="connsiteY8381" fmla="*/ 2864863 h 4596459"/>
              <a:gd name="connsiteX8382" fmla="*/ 4273549 w 4716235"/>
              <a:gd name="connsiteY8382" fmla="*/ 2875601 h 4596459"/>
              <a:gd name="connsiteX8383" fmla="*/ 4262813 w 4716235"/>
              <a:gd name="connsiteY8383" fmla="*/ 2864863 h 4596459"/>
              <a:gd name="connsiteX8384" fmla="*/ 4273549 w 4716235"/>
              <a:gd name="connsiteY8384" fmla="*/ 2854127 h 4596459"/>
              <a:gd name="connsiteX8385" fmla="*/ 4345402 w 4716235"/>
              <a:gd name="connsiteY8385" fmla="*/ 2853137 h 4596459"/>
              <a:gd name="connsiteX8386" fmla="*/ 4356138 w 4716235"/>
              <a:gd name="connsiteY8386" fmla="*/ 2863873 h 4596459"/>
              <a:gd name="connsiteX8387" fmla="*/ 4345402 w 4716235"/>
              <a:gd name="connsiteY8387" fmla="*/ 2874611 h 4596459"/>
              <a:gd name="connsiteX8388" fmla="*/ 4334666 w 4716235"/>
              <a:gd name="connsiteY8388" fmla="*/ 2863873 h 4596459"/>
              <a:gd name="connsiteX8389" fmla="*/ 4345402 w 4716235"/>
              <a:gd name="connsiteY8389" fmla="*/ 2853137 h 4596459"/>
              <a:gd name="connsiteX8390" fmla="*/ 4208302 w 4716235"/>
              <a:gd name="connsiteY8390" fmla="*/ 2846033 h 4596459"/>
              <a:gd name="connsiteX8391" fmla="*/ 4219039 w 4716235"/>
              <a:gd name="connsiteY8391" fmla="*/ 2856770 h 4596459"/>
              <a:gd name="connsiteX8392" fmla="*/ 4208302 w 4716235"/>
              <a:gd name="connsiteY8392" fmla="*/ 2867508 h 4596459"/>
              <a:gd name="connsiteX8393" fmla="*/ 4197566 w 4716235"/>
              <a:gd name="connsiteY8393" fmla="*/ 2856770 h 4596459"/>
              <a:gd name="connsiteX8394" fmla="*/ 4208302 w 4716235"/>
              <a:gd name="connsiteY8394" fmla="*/ 2846033 h 4596459"/>
              <a:gd name="connsiteX8395" fmla="*/ 4437905 w 4716235"/>
              <a:gd name="connsiteY8395" fmla="*/ 2845041 h 4596459"/>
              <a:gd name="connsiteX8396" fmla="*/ 4448642 w 4716235"/>
              <a:gd name="connsiteY8396" fmla="*/ 2855778 h 4596459"/>
              <a:gd name="connsiteX8397" fmla="*/ 4437905 w 4716235"/>
              <a:gd name="connsiteY8397" fmla="*/ 2866516 h 4596459"/>
              <a:gd name="connsiteX8398" fmla="*/ 4427169 w 4716235"/>
              <a:gd name="connsiteY8398" fmla="*/ 2855778 h 4596459"/>
              <a:gd name="connsiteX8399" fmla="*/ 4437905 w 4716235"/>
              <a:gd name="connsiteY8399" fmla="*/ 2845041 h 4596459"/>
              <a:gd name="connsiteX8400" fmla="*/ 4394956 w 4716235"/>
              <a:gd name="connsiteY8400" fmla="*/ 2841573 h 4596459"/>
              <a:gd name="connsiteX8401" fmla="*/ 4404206 w 4716235"/>
              <a:gd name="connsiteY8401" fmla="*/ 2850823 h 4596459"/>
              <a:gd name="connsiteX8402" fmla="*/ 4413457 w 4716235"/>
              <a:gd name="connsiteY8402" fmla="*/ 2841573 h 4596459"/>
              <a:gd name="connsiteX8403" fmla="*/ 4424195 w 4716235"/>
              <a:gd name="connsiteY8403" fmla="*/ 2852309 h 4596459"/>
              <a:gd name="connsiteX8404" fmla="*/ 4413457 w 4716235"/>
              <a:gd name="connsiteY8404" fmla="*/ 2863046 h 4596459"/>
              <a:gd name="connsiteX8405" fmla="*/ 4404206 w 4716235"/>
              <a:gd name="connsiteY8405" fmla="*/ 2853796 h 4596459"/>
              <a:gd name="connsiteX8406" fmla="*/ 4394956 w 4716235"/>
              <a:gd name="connsiteY8406" fmla="*/ 2863046 h 4596459"/>
              <a:gd name="connsiteX8407" fmla="*/ 4388847 w 4716235"/>
              <a:gd name="connsiteY8407" fmla="*/ 2856936 h 4596459"/>
              <a:gd name="connsiteX8408" fmla="*/ 4379761 w 4716235"/>
              <a:gd name="connsiteY8408" fmla="*/ 2866022 h 4596459"/>
              <a:gd name="connsiteX8409" fmla="*/ 4374392 w 4716235"/>
              <a:gd name="connsiteY8409" fmla="*/ 2860653 h 4596459"/>
              <a:gd name="connsiteX8410" fmla="*/ 4364729 w 4716235"/>
              <a:gd name="connsiteY8410" fmla="*/ 2870315 h 4596459"/>
              <a:gd name="connsiteX8411" fmla="*/ 4353993 w 4716235"/>
              <a:gd name="connsiteY8411" fmla="*/ 2859577 h 4596459"/>
              <a:gd name="connsiteX8412" fmla="*/ 4364729 w 4716235"/>
              <a:gd name="connsiteY8412" fmla="*/ 2848841 h 4596459"/>
              <a:gd name="connsiteX8413" fmla="*/ 4370098 w 4716235"/>
              <a:gd name="connsiteY8413" fmla="*/ 2854210 h 4596459"/>
              <a:gd name="connsiteX8414" fmla="*/ 4379761 w 4716235"/>
              <a:gd name="connsiteY8414" fmla="*/ 2844547 h 4596459"/>
              <a:gd name="connsiteX8415" fmla="*/ 4385873 w 4716235"/>
              <a:gd name="connsiteY8415" fmla="*/ 2850658 h 4596459"/>
              <a:gd name="connsiteX8416" fmla="*/ 46229 w 4716235"/>
              <a:gd name="connsiteY8416" fmla="*/ 2841079 h 4596459"/>
              <a:gd name="connsiteX8417" fmla="*/ 56966 w 4716235"/>
              <a:gd name="connsiteY8417" fmla="*/ 2851815 h 4596459"/>
              <a:gd name="connsiteX8418" fmla="*/ 46229 w 4716235"/>
              <a:gd name="connsiteY8418" fmla="*/ 2862551 h 4596459"/>
              <a:gd name="connsiteX8419" fmla="*/ 35493 w 4716235"/>
              <a:gd name="connsiteY8419" fmla="*/ 2851815 h 4596459"/>
              <a:gd name="connsiteX8420" fmla="*/ 46229 w 4716235"/>
              <a:gd name="connsiteY8420" fmla="*/ 2841079 h 4596459"/>
              <a:gd name="connsiteX8421" fmla="*/ 2782292 w 4716235"/>
              <a:gd name="connsiteY8421" fmla="*/ 2840912 h 4596459"/>
              <a:gd name="connsiteX8422" fmla="*/ 2793029 w 4716235"/>
              <a:gd name="connsiteY8422" fmla="*/ 2851649 h 4596459"/>
              <a:gd name="connsiteX8423" fmla="*/ 2782292 w 4716235"/>
              <a:gd name="connsiteY8423" fmla="*/ 2862387 h 4596459"/>
              <a:gd name="connsiteX8424" fmla="*/ 2771556 w 4716235"/>
              <a:gd name="connsiteY8424" fmla="*/ 2851649 h 4596459"/>
              <a:gd name="connsiteX8425" fmla="*/ 2782292 w 4716235"/>
              <a:gd name="connsiteY8425" fmla="*/ 2840912 h 4596459"/>
              <a:gd name="connsiteX8426" fmla="*/ 3897761 w 4716235"/>
              <a:gd name="connsiteY8426" fmla="*/ 2834801 h 4596459"/>
              <a:gd name="connsiteX8427" fmla="*/ 3908500 w 4716235"/>
              <a:gd name="connsiteY8427" fmla="*/ 2845537 h 4596459"/>
              <a:gd name="connsiteX8428" fmla="*/ 3897761 w 4716235"/>
              <a:gd name="connsiteY8428" fmla="*/ 2856275 h 4596459"/>
              <a:gd name="connsiteX8429" fmla="*/ 3887025 w 4716235"/>
              <a:gd name="connsiteY8429" fmla="*/ 2845537 h 4596459"/>
              <a:gd name="connsiteX8430" fmla="*/ 3897761 w 4716235"/>
              <a:gd name="connsiteY8430" fmla="*/ 2834801 h 4596459"/>
              <a:gd name="connsiteX8431" fmla="*/ 4112993 w 4716235"/>
              <a:gd name="connsiteY8431" fmla="*/ 2828359 h 4596459"/>
              <a:gd name="connsiteX8432" fmla="*/ 4123731 w 4716235"/>
              <a:gd name="connsiteY8432" fmla="*/ 2839095 h 4596459"/>
              <a:gd name="connsiteX8433" fmla="*/ 4112993 w 4716235"/>
              <a:gd name="connsiteY8433" fmla="*/ 2849833 h 4596459"/>
              <a:gd name="connsiteX8434" fmla="*/ 4102257 w 4716235"/>
              <a:gd name="connsiteY8434" fmla="*/ 2839095 h 4596459"/>
              <a:gd name="connsiteX8435" fmla="*/ 4112993 w 4716235"/>
              <a:gd name="connsiteY8435" fmla="*/ 2828359 h 4596459"/>
              <a:gd name="connsiteX8436" fmla="*/ 693409 w 4716235"/>
              <a:gd name="connsiteY8436" fmla="*/ 2827368 h 4596459"/>
              <a:gd name="connsiteX8437" fmla="*/ 704145 w 4716235"/>
              <a:gd name="connsiteY8437" fmla="*/ 2838105 h 4596459"/>
              <a:gd name="connsiteX8438" fmla="*/ 693409 w 4716235"/>
              <a:gd name="connsiteY8438" fmla="*/ 2848841 h 4596459"/>
              <a:gd name="connsiteX8439" fmla="*/ 682672 w 4716235"/>
              <a:gd name="connsiteY8439" fmla="*/ 2838105 h 4596459"/>
              <a:gd name="connsiteX8440" fmla="*/ 693409 w 4716235"/>
              <a:gd name="connsiteY8440" fmla="*/ 2827368 h 4596459"/>
              <a:gd name="connsiteX8441" fmla="*/ 4457725 w 4716235"/>
              <a:gd name="connsiteY8441" fmla="*/ 2824725 h 4596459"/>
              <a:gd name="connsiteX8442" fmla="*/ 4468463 w 4716235"/>
              <a:gd name="connsiteY8442" fmla="*/ 2835462 h 4596459"/>
              <a:gd name="connsiteX8443" fmla="*/ 4457725 w 4716235"/>
              <a:gd name="connsiteY8443" fmla="*/ 2846200 h 4596459"/>
              <a:gd name="connsiteX8444" fmla="*/ 4446989 w 4716235"/>
              <a:gd name="connsiteY8444" fmla="*/ 2835462 h 4596459"/>
              <a:gd name="connsiteX8445" fmla="*/ 4457725 w 4716235"/>
              <a:gd name="connsiteY8445" fmla="*/ 2824725 h 4596459"/>
              <a:gd name="connsiteX8446" fmla="*/ 3579457 w 4716235"/>
              <a:gd name="connsiteY8446" fmla="*/ 2821751 h 4596459"/>
              <a:gd name="connsiteX8447" fmla="*/ 3590193 w 4716235"/>
              <a:gd name="connsiteY8447" fmla="*/ 2832488 h 4596459"/>
              <a:gd name="connsiteX8448" fmla="*/ 3579457 w 4716235"/>
              <a:gd name="connsiteY8448" fmla="*/ 2843226 h 4596459"/>
              <a:gd name="connsiteX8449" fmla="*/ 3568720 w 4716235"/>
              <a:gd name="connsiteY8449" fmla="*/ 2832488 h 4596459"/>
              <a:gd name="connsiteX8450" fmla="*/ 3579457 w 4716235"/>
              <a:gd name="connsiteY8450" fmla="*/ 2821751 h 4596459"/>
              <a:gd name="connsiteX8451" fmla="*/ 4343421 w 4716235"/>
              <a:gd name="connsiteY8451" fmla="*/ 2821587 h 4596459"/>
              <a:gd name="connsiteX8452" fmla="*/ 4354158 w 4716235"/>
              <a:gd name="connsiteY8452" fmla="*/ 2832323 h 4596459"/>
              <a:gd name="connsiteX8453" fmla="*/ 4343421 w 4716235"/>
              <a:gd name="connsiteY8453" fmla="*/ 2843061 h 4596459"/>
              <a:gd name="connsiteX8454" fmla="*/ 4332685 w 4716235"/>
              <a:gd name="connsiteY8454" fmla="*/ 2832323 h 4596459"/>
              <a:gd name="connsiteX8455" fmla="*/ 4343421 w 4716235"/>
              <a:gd name="connsiteY8455" fmla="*/ 2821587 h 4596459"/>
              <a:gd name="connsiteX8456" fmla="*/ 4431298 w 4716235"/>
              <a:gd name="connsiteY8456" fmla="*/ 2818614 h 4596459"/>
              <a:gd name="connsiteX8457" fmla="*/ 4442034 w 4716235"/>
              <a:gd name="connsiteY8457" fmla="*/ 2829350 h 4596459"/>
              <a:gd name="connsiteX8458" fmla="*/ 4431298 w 4716235"/>
              <a:gd name="connsiteY8458" fmla="*/ 2840087 h 4596459"/>
              <a:gd name="connsiteX8459" fmla="*/ 4420562 w 4716235"/>
              <a:gd name="connsiteY8459" fmla="*/ 2829350 h 4596459"/>
              <a:gd name="connsiteX8460" fmla="*/ 4431298 w 4716235"/>
              <a:gd name="connsiteY8460" fmla="*/ 2818614 h 4596459"/>
              <a:gd name="connsiteX8461" fmla="*/ 4307411 w 4716235"/>
              <a:gd name="connsiteY8461" fmla="*/ 2818614 h 4596459"/>
              <a:gd name="connsiteX8462" fmla="*/ 4318147 w 4716235"/>
              <a:gd name="connsiteY8462" fmla="*/ 2829350 h 4596459"/>
              <a:gd name="connsiteX8463" fmla="*/ 4307411 w 4716235"/>
              <a:gd name="connsiteY8463" fmla="*/ 2840087 h 4596459"/>
              <a:gd name="connsiteX8464" fmla="*/ 4296675 w 4716235"/>
              <a:gd name="connsiteY8464" fmla="*/ 2829350 h 4596459"/>
              <a:gd name="connsiteX8465" fmla="*/ 4307411 w 4716235"/>
              <a:gd name="connsiteY8465" fmla="*/ 2818614 h 4596459"/>
              <a:gd name="connsiteX8466" fmla="*/ 4411641 w 4716235"/>
              <a:gd name="connsiteY8466" fmla="*/ 2816301 h 4596459"/>
              <a:gd name="connsiteX8467" fmla="*/ 4422377 w 4716235"/>
              <a:gd name="connsiteY8467" fmla="*/ 2827037 h 4596459"/>
              <a:gd name="connsiteX8468" fmla="*/ 4411641 w 4716235"/>
              <a:gd name="connsiteY8468" fmla="*/ 2837773 h 4596459"/>
              <a:gd name="connsiteX8469" fmla="*/ 4404290 w 4716235"/>
              <a:gd name="connsiteY8469" fmla="*/ 2830422 h 4596459"/>
              <a:gd name="connsiteX8470" fmla="*/ 4396609 w 4716235"/>
              <a:gd name="connsiteY8470" fmla="*/ 2838105 h 4596459"/>
              <a:gd name="connsiteX8471" fmla="*/ 4390746 w 4716235"/>
              <a:gd name="connsiteY8471" fmla="*/ 2832241 h 4596459"/>
              <a:gd name="connsiteX8472" fmla="*/ 4382899 w 4716235"/>
              <a:gd name="connsiteY8472" fmla="*/ 2840087 h 4596459"/>
              <a:gd name="connsiteX8473" fmla="*/ 4375879 w 4716235"/>
              <a:gd name="connsiteY8473" fmla="*/ 2833067 h 4596459"/>
              <a:gd name="connsiteX8474" fmla="*/ 4366712 w 4716235"/>
              <a:gd name="connsiteY8474" fmla="*/ 2842235 h 4596459"/>
              <a:gd name="connsiteX8475" fmla="*/ 4355975 w 4716235"/>
              <a:gd name="connsiteY8475" fmla="*/ 2831497 h 4596459"/>
              <a:gd name="connsiteX8476" fmla="*/ 4366712 w 4716235"/>
              <a:gd name="connsiteY8476" fmla="*/ 2820761 h 4596459"/>
              <a:gd name="connsiteX8477" fmla="*/ 4373732 w 4716235"/>
              <a:gd name="connsiteY8477" fmla="*/ 2827781 h 4596459"/>
              <a:gd name="connsiteX8478" fmla="*/ 4382899 w 4716235"/>
              <a:gd name="connsiteY8478" fmla="*/ 2818614 h 4596459"/>
              <a:gd name="connsiteX8479" fmla="*/ 4388762 w 4716235"/>
              <a:gd name="connsiteY8479" fmla="*/ 2824477 h 4596459"/>
              <a:gd name="connsiteX8480" fmla="*/ 4396609 w 4716235"/>
              <a:gd name="connsiteY8480" fmla="*/ 2816630 h 4596459"/>
              <a:gd name="connsiteX8481" fmla="*/ 4403960 w 4716235"/>
              <a:gd name="connsiteY8481" fmla="*/ 2823981 h 4596459"/>
              <a:gd name="connsiteX8482" fmla="*/ 2961678 w 4716235"/>
              <a:gd name="connsiteY8482" fmla="*/ 2811180 h 4596459"/>
              <a:gd name="connsiteX8483" fmla="*/ 2972417 w 4716235"/>
              <a:gd name="connsiteY8483" fmla="*/ 2821916 h 4596459"/>
              <a:gd name="connsiteX8484" fmla="*/ 2961678 w 4716235"/>
              <a:gd name="connsiteY8484" fmla="*/ 2832654 h 4596459"/>
              <a:gd name="connsiteX8485" fmla="*/ 2950942 w 4716235"/>
              <a:gd name="connsiteY8485" fmla="*/ 2821916 h 4596459"/>
              <a:gd name="connsiteX8486" fmla="*/ 2961678 w 4716235"/>
              <a:gd name="connsiteY8486" fmla="*/ 2811180 h 4596459"/>
              <a:gd name="connsiteX8487" fmla="*/ 4252075 w 4716235"/>
              <a:gd name="connsiteY8487" fmla="*/ 2809693 h 4596459"/>
              <a:gd name="connsiteX8488" fmla="*/ 4262811 w 4716235"/>
              <a:gd name="connsiteY8488" fmla="*/ 2820430 h 4596459"/>
              <a:gd name="connsiteX8489" fmla="*/ 4252075 w 4716235"/>
              <a:gd name="connsiteY8489" fmla="*/ 2831168 h 4596459"/>
              <a:gd name="connsiteX8490" fmla="*/ 4241339 w 4716235"/>
              <a:gd name="connsiteY8490" fmla="*/ 2820430 h 4596459"/>
              <a:gd name="connsiteX8491" fmla="*/ 4252075 w 4716235"/>
              <a:gd name="connsiteY8491" fmla="*/ 2809693 h 4596459"/>
              <a:gd name="connsiteX8492" fmla="*/ 4478209 w 4716235"/>
              <a:gd name="connsiteY8492" fmla="*/ 2807051 h 4596459"/>
              <a:gd name="connsiteX8493" fmla="*/ 4487460 w 4716235"/>
              <a:gd name="connsiteY8493" fmla="*/ 2816301 h 4596459"/>
              <a:gd name="connsiteX8494" fmla="*/ 4478209 w 4716235"/>
              <a:gd name="connsiteY8494" fmla="*/ 2825551 h 4596459"/>
              <a:gd name="connsiteX8495" fmla="*/ 4468959 w 4716235"/>
              <a:gd name="connsiteY8495" fmla="*/ 2816301 h 4596459"/>
              <a:gd name="connsiteX8496" fmla="*/ 4478209 w 4716235"/>
              <a:gd name="connsiteY8496" fmla="*/ 2807051 h 4596459"/>
              <a:gd name="connsiteX8497" fmla="*/ 3979195 w 4716235"/>
              <a:gd name="connsiteY8497" fmla="*/ 2797636 h 4596459"/>
              <a:gd name="connsiteX8498" fmla="*/ 3989932 w 4716235"/>
              <a:gd name="connsiteY8498" fmla="*/ 2808372 h 4596459"/>
              <a:gd name="connsiteX8499" fmla="*/ 3979195 w 4716235"/>
              <a:gd name="connsiteY8499" fmla="*/ 2819110 h 4596459"/>
              <a:gd name="connsiteX8500" fmla="*/ 3968459 w 4716235"/>
              <a:gd name="connsiteY8500" fmla="*/ 2808372 h 4596459"/>
              <a:gd name="connsiteX8501" fmla="*/ 3979195 w 4716235"/>
              <a:gd name="connsiteY8501" fmla="*/ 2797636 h 4596459"/>
              <a:gd name="connsiteX8502" fmla="*/ 4449302 w 4716235"/>
              <a:gd name="connsiteY8502" fmla="*/ 2797140 h 4596459"/>
              <a:gd name="connsiteX8503" fmla="*/ 4460039 w 4716235"/>
              <a:gd name="connsiteY8503" fmla="*/ 2807876 h 4596459"/>
              <a:gd name="connsiteX8504" fmla="*/ 4449302 w 4716235"/>
              <a:gd name="connsiteY8504" fmla="*/ 2818614 h 4596459"/>
              <a:gd name="connsiteX8505" fmla="*/ 4438566 w 4716235"/>
              <a:gd name="connsiteY8505" fmla="*/ 2807876 h 4596459"/>
              <a:gd name="connsiteX8506" fmla="*/ 4449302 w 4716235"/>
              <a:gd name="connsiteY8506" fmla="*/ 2797140 h 4596459"/>
              <a:gd name="connsiteX8507" fmla="*/ 519969 w 4716235"/>
              <a:gd name="connsiteY8507" fmla="*/ 2796808 h 4596459"/>
              <a:gd name="connsiteX8508" fmla="*/ 530706 w 4716235"/>
              <a:gd name="connsiteY8508" fmla="*/ 2807545 h 4596459"/>
              <a:gd name="connsiteX8509" fmla="*/ 519969 w 4716235"/>
              <a:gd name="connsiteY8509" fmla="*/ 2818283 h 4596459"/>
              <a:gd name="connsiteX8510" fmla="*/ 509233 w 4716235"/>
              <a:gd name="connsiteY8510" fmla="*/ 2807545 h 4596459"/>
              <a:gd name="connsiteX8511" fmla="*/ 519969 w 4716235"/>
              <a:gd name="connsiteY8511" fmla="*/ 2796808 h 4596459"/>
              <a:gd name="connsiteX8512" fmla="*/ 4169980 w 4716235"/>
              <a:gd name="connsiteY8512" fmla="*/ 2791689 h 4596459"/>
              <a:gd name="connsiteX8513" fmla="*/ 4180717 w 4716235"/>
              <a:gd name="connsiteY8513" fmla="*/ 2802425 h 4596459"/>
              <a:gd name="connsiteX8514" fmla="*/ 4169980 w 4716235"/>
              <a:gd name="connsiteY8514" fmla="*/ 2813164 h 4596459"/>
              <a:gd name="connsiteX8515" fmla="*/ 4159244 w 4716235"/>
              <a:gd name="connsiteY8515" fmla="*/ 2802425 h 4596459"/>
              <a:gd name="connsiteX8516" fmla="*/ 4169980 w 4716235"/>
              <a:gd name="connsiteY8516" fmla="*/ 2791689 h 4596459"/>
              <a:gd name="connsiteX8517" fmla="*/ 4366876 w 4716235"/>
              <a:gd name="connsiteY8517" fmla="*/ 2788715 h 4596459"/>
              <a:gd name="connsiteX8518" fmla="*/ 4377035 w 4716235"/>
              <a:gd name="connsiteY8518" fmla="*/ 2798874 h 4596459"/>
              <a:gd name="connsiteX8519" fmla="*/ 4386037 w 4716235"/>
              <a:gd name="connsiteY8519" fmla="*/ 2789872 h 4596459"/>
              <a:gd name="connsiteX8520" fmla="*/ 4392811 w 4716235"/>
              <a:gd name="connsiteY8520" fmla="*/ 2796644 h 4596459"/>
              <a:gd name="connsiteX8521" fmla="*/ 4399748 w 4716235"/>
              <a:gd name="connsiteY8521" fmla="*/ 2789707 h 4596459"/>
              <a:gd name="connsiteX8522" fmla="*/ 4406355 w 4716235"/>
              <a:gd name="connsiteY8522" fmla="*/ 2796314 h 4596459"/>
              <a:gd name="connsiteX8523" fmla="*/ 4412631 w 4716235"/>
              <a:gd name="connsiteY8523" fmla="*/ 2790036 h 4596459"/>
              <a:gd name="connsiteX8524" fmla="*/ 4421552 w 4716235"/>
              <a:gd name="connsiteY8524" fmla="*/ 2798957 h 4596459"/>
              <a:gd name="connsiteX8525" fmla="*/ 4428324 w 4716235"/>
              <a:gd name="connsiteY8525" fmla="*/ 2792185 h 4596459"/>
              <a:gd name="connsiteX8526" fmla="*/ 4439062 w 4716235"/>
              <a:gd name="connsiteY8526" fmla="*/ 2802921 h 4596459"/>
              <a:gd name="connsiteX8527" fmla="*/ 4428324 w 4716235"/>
              <a:gd name="connsiteY8527" fmla="*/ 2813660 h 4596459"/>
              <a:gd name="connsiteX8528" fmla="*/ 4419403 w 4716235"/>
              <a:gd name="connsiteY8528" fmla="*/ 2804739 h 4596459"/>
              <a:gd name="connsiteX8529" fmla="*/ 4412631 w 4716235"/>
              <a:gd name="connsiteY8529" fmla="*/ 2811511 h 4596459"/>
              <a:gd name="connsiteX8530" fmla="*/ 4406024 w 4716235"/>
              <a:gd name="connsiteY8530" fmla="*/ 2804904 h 4596459"/>
              <a:gd name="connsiteX8531" fmla="*/ 4399748 w 4716235"/>
              <a:gd name="connsiteY8531" fmla="*/ 2811180 h 4596459"/>
              <a:gd name="connsiteX8532" fmla="*/ 4392976 w 4716235"/>
              <a:gd name="connsiteY8532" fmla="*/ 2804408 h 4596459"/>
              <a:gd name="connsiteX8533" fmla="*/ 4386037 w 4716235"/>
              <a:gd name="connsiteY8533" fmla="*/ 2811346 h 4596459"/>
              <a:gd name="connsiteX8534" fmla="*/ 4375879 w 4716235"/>
              <a:gd name="connsiteY8534" fmla="*/ 2801187 h 4596459"/>
              <a:gd name="connsiteX8535" fmla="*/ 4366876 w 4716235"/>
              <a:gd name="connsiteY8535" fmla="*/ 2810189 h 4596459"/>
              <a:gd name="connsiteX8536" fmla="*/ 4356140 w 4716235"/>
              <a:gd name="connsiteY8536" fmla="*/ 2799451 h 4596459"/>
              <a:gd name="connsiteX8537" fmla="*/ 4366876 w 4716235"/>
              <a:gd name="connsiteY8537" fmla="*/ 2788715 h 4596459"/>
              <a:gd name="connsiteX8538" fmla="*/ 3692937 w 4716235"/>
              <a:gd name="connsiteY8538" fmla="*/ 2785743 h 4596459"/>
              <a:gd name="connsiteX8539" fmla="*/ 3703673 w 4716235"/>
              <a:gd name="connsiteY8539" fmla="*/ 2796479 h 4596459"/>
              <a:gd name="connsiteX8540" fmla="*/ 3692937 w 4716235"/>
              <a:gd name="connsiteY8540" fmla="*/ 2807217 h 4596459"/>
              <a:gd name="connsiteX8541" fmla="*/ 3682200 w 4716235"/>
              <a:gd name="connsiteY8541" fmla="*/ 2796479 h 4596459"/>
              <a:gd name="connsiteX8542" fmla="*/ 3692937 w 4716235"/>
              <a:gd name="connsiteY8542" fmla="*/ 2785743 h 4596459"/>
              <a:gd name="connsiteX8543" fmla="*/ 4337308 w 4716235"/>
              <a:gd name="connsiteY8543" fmla="*/ 2784421 h 4596459"/>
              <a:gd name="connsiteX8544" fmla="*/ 4348045 w 4716235"/>
              <a:gd name="connsiteY8544" fmla="*/ 2795158 h 4596459"/>
              <a:gd name="connsiteX8545" fmla="*/ 4337308 w 4716235"/>
              <a:gd name="connsiteY8545" fmla="*/ 2805896 h 4596459"/>
              <a:gd name="connsiteX8546" fmla="*/ 4326572 w 4716235"/>
              <a:gd name="connsiteY8546" fmla="*/ 2795158 h 4596459"/>
              <a:gd name="connsiteX8547" fmla="*/ 4337308 w 4716235"/>
              <a:gd name="connsiteY8547" fmla="*/ 2784421 h 4596459"/>
              <a:gd name="connsiteX8548" fmla="*/ 3128181 w 4716235"/>
              <a:gd name="connsiteY8548" fmla="*/ 2779796 h 4596459"/>
              <a:gd name="connsiteX8549" fmla="*/ 3138919 w 4716235"/>
              <a:gd name="connsiteY8549" fmla="*/ 2790532 h 4596459"/>
              <a:gd name="connsiteX8550" fmla="*/ 3128181 w 4716235"/>
              <a:gd name="connsiteY8550" fmla="*/ 2801271 h 4596459"/>
              <a:gd name="connsiteX8551" fmla="*/ 3117445 w 4716235"/>
              <a:gd name="connsiteY8551" fmla="*/ 2790532 h 4596459"/>
              <a:gd name="connsiteX8552" fmla="*/ 3128181 w 4716235"/>
              <a:gd name="connsiteY8552" fmla="*/ 2779796 h 4596459"/>
              <a:gd name="connsiteX8553" fmla="*/ 4467803 w 4716235"/>
              <a:gd name="connsiteY8553" fmla="*/ 2776657 h 4596459"/>
              <a:gd name="connsiteX8554" fmla="*/ 4478539 w 4716235"/>
              <a:gd name="connsiteY8554" fmla="*/ 2787394 h 4596459"/>
              <a:gd name="connsiteX8555" fmla="*/ 4467803 w 4716235"/>
              <a:gd name="connsiteY8555" fmla="*/ 2798132 h 4596459"/>
              <a:gd name="connsiteX8556" fmla="*/ 4457066 w 4716235"/>
              <a:gd name="connsiteY8556" fmla="*/ 2787394 h 4596459"/>
              <a:gd name="connsiteX8557" fmla="*/ 4467803 w 4716235"/>
              <a:gd name="connsiteY8557" fmla="*/ 2776657 h 4596459"/>
              <a:gd name="connsiteX8558" fmla="*/ 4290893 w 4716235"/>
              <a:gd name="connsiteY8558" fmla="*/ 2774344 h 4596459"/>
              <a:gd name="connsiteX8559" fmla="*/ 4301629 w 4716235"/>
              <a:gd name="connsiteY8559" fmla="*/ 2785080 h 4596459"/>
              <a:gd name="connsiteX8560" fmla="*/ 4290893 w 4716235"/>
              <a:gd name="connsiteY8560" fmla="*/ 2795818 h 4596459"/>
              <a:gd name="connsiteX8561" fmla="*/ 4280157 w 4716235"/>
              <a:gd name="connsiteY8561" fmla="*/ 2785080 h 4596459"/>
              <a:gd name="connsiteX8562" fmla="*/ 4290893 w 4716235"/>
              <a:gd name="connsiteY8562" fmla="*/ 2774344 h 4596459"/>
              <a:gd name="connsiteX8563" fmla="*/ 359247 w 4716235"/>
              <a:gd name="connsiteY8563" fmla="*/ 2764764 h 4596459"/>
              <a:gd name="connsiteX8564" fmla="*/ 369985 w 4716235"/>
              <a:gd name="connsiteY8564" fmla="*/ 2775501 h 4596459"/>
              <a:gd name="connsiteX8565" fmla="*/ 359247 w 4716235"/>
              <a:gd name="connsiteY8565" fmla="*/ 2786239 h 4596459"/>
              <a:gd name="connsiteX8566" fmla="*/ 348510 w 4716235"/>
              <a:gd name="connsiteY8566" fmla="*/ 2775501 h 4596459"/>
              <a:gd name="connsiteX8567" fmla="*/ 359247 w 4716235"/>
              <a:gd name="connsiteY8567" fmla="*/ 2764764 h 4596459"/>
              <a:gd name="connsiteX8568" fmla="*/ 4052536 w 4716235"/>
              <a:gd name="connsiteY8568" fmla="*/ 2761461 h 4596459"/>
              <a:gd name="connsiteX8569" fmla="*/ 4063274 w 4716235"/>
              <a:gd name="connsiteY8569" fmla="*/ 2772197 h 4596459"/>
              <a:gd name="connsiteX8570" fmla="*/ 4052536 w 4716235"/>
              <a:gd name="connsiteY8570" fmla="*/ 2782935 h 4596459"/>
              <a:gd name="connsiteX8571" fmla="*/ 4041800 w 4716235"/>
              <a:gd name="connsiteY8571" fmla="*/ 2772197 h 4596459"/>
              <a:gd name="connsiteX8572" fmla="*/ 4052536 w 4716235"/>
              <a:gd name="connsiteY8572" fmla="*/ 2761461 h 4596459"/>
              <a:gd name="connsiteX8573" fmla="*/ 4486797 w 4716235"/>
              <a:gd name="connsiteY8573" fmla="*/ 2757496 h 4596459"/>
              <a:gd name="connsiteX8574" fmla="*/ 4497535 w 4716235"/>
              <a:gd name="connsiteY8574" fmla="*/ 2768233 h 4596459"/>
              <a:gd name="connsiteX8575" fmla="*/ 4486797 w 4716235"/>
              <a:gd name="connsiteY8575" fmla="*/ 2778971 h 4596459"/>
              <a:gd name="connsiteX8576" fmla="*/ 4476061 w 4716235"/>
              <a:gd name="connsiteY8576" fmla="*/ 2768233 h 4596459"/>
              <a:gd name="connsiteX8577" fmla="*/ 4486797 w 4716235"/>
              <a:gd name="connsiteY8577" fmla="*/ 2757496 h 4596459"/>
              <a:gd name="connsiteX8578" fmla="*/ 4388020 w 4716235"/>
              <a:gd name="connsiteY8578" fmla="*/ 2757167 h 4596459"/>
              <a:gd name="connsiteX8579" fmla="*/ 4397268 w 4716235"/>
              <a:gd name="connsiteY8579" fmla="*/ 2766417 h 4596459"/>
              <a:gd name="connsiteX8580" fmla="*/ 4403546 w 4716235"/>
              <a:gd name="connsiteY8580" fmla="*/ 2760139 h 4596459"/>
              <a:gd name="connsiteX8581" fmla="*/ 4410649 w 4716235"/>
              <a:gd name="connsiteY8581" fmla="*/ 2767242 h 4596459"/>
              <a:gd name="connsiteX8582" fmla="*/ 4415770 w 4716235"/>
              <a:gd name="connsiteY8582" fmla="*/ 2762121 h 4596459"/>
              <a:gd name="connsiteX8583" fmla="*/ 4423286 w 4716235"/>
              <a:gd name="connsiteY8583" fmla="*/ 2769637 h 4596459"/>
              <a:gd name="connsiteX8584" fmla="*/ 4428324 w 4716235"/>
              <a:gd name="connsiteY8584" fmla="*/ 2764599 h 4596459"/>
              <a:gd name="connsiteX8585" fmla="*/ 4438895 w 4716235"/>
              <a:gd name="connsiteY8585" fmla="*/ 2775171 h 4596459"/>
              <a:gd name="connsiteX8586" fmla="*/ 4444842 w 4716235"/>
              <a:gd name="connsiteY8586" fmla="*/ 2769224 h 4596459"/>
              <a:gd name="connsiteX8587" fmla="*/ 4455580 w 4716235"/>
              <a:gd name="connsiteY8587" fmla="*/ 2779961 h 4596459"/>
              <a:gd name="connsiteX8588" fmla="*/ 4444842 w 4716235"/>
              <a:gd name="connsiteY8588" fmla="*/ 2790699 h 4596459"/>
              <a:gd name="connsiteX8589" fmla="*/ 4434270 w 4716235"/>
              <a:gd name="connsiteY8589" fmla="*/ 2780127 h 4596459"/>
              <a:gd name="connsiteX8590" fmla="*/ 4428324 w 4716235"/>
              <a:gd name="connsiteY8590" fmla="*/ 2786072 h 4596459"/>
              <a:gd name="connsiteX8591" fmla="*/ 4420808 w 4716235"/>
              <a:gd name="connsiteY8591" fmla="*/ 2778558 h 4596459"/>
              <a:gd name="connsiteX8592" fmla="*/ 4415770 w 4716235"/>
              <a:gd name="connsiteY8592" fmla="*/ 2783596 h 4596459"/>
              <a:gd name="connsiteX8593" fmla="*/ 4408667 w 4716235"/>
              <a:gd name="connsiteY8593" fmla="*/ 2776492 h 4596459"/>
              <a:gd name="connsiteX8594" fmla="*/ 4403546 w 4716235"/>
              <a:gd name="connsiteY8594" fmla="*/ 2781614 h 4596459"/>
              <a:gd name="connsiteX8595" fmla="*/ 4394296 w 4716235"/>
              <a:gd name="connsiteY8595" fmla="*/ 2772363 h 4596459"/>
              <a:gd name="connsiteX8596" fmla="*/ 4388020 w 4716235"/>
              <a:gd name="connsiteY8596" fmla="*/ 2778639 h 4596459"/>
              <a:gd name="connsiteX8597" fmla="*/ 4377283 w 4716235"/>
              <a:gd name="connsiteY8597" fmla="*/ 2767903 h 4596459"/>
              <a:gd name="connsiteX8598" fmla="*/ 4388020 w 4716235"/>
              <a:gd name="connsiteY8598" fmla="*/ 2757167 h 4596459"/>
              <a:gd name="connsiteX8599" fmla="*/ 4220691 w 4716235"/>
              <a:gd name="connsiteY8599" fmla="*/ 2756010 h 4596459"/>
              <a:gd name="connsiteX8600" fmla="*/ 4231428 w 4716235"/>
              <a:gd name="connsiteY8600" fmla="*/ 2766746 h 4596459"/>
              <a:gd name="connsiteX8601" fmla="*/ 4220691 w 4716235"/>
              <a:gd name="connsiteY8601" fmla="*/ 2777484 h 4596459"/>
              <a:gd name="connsiteX8602" fmla="*/ 4209955 w 4716235"/>
              <a:gd name="connsiteY8602" fmla="*/ 2766746 h 4596459"/>
              <a:gd name="connsiteX8603" fmla="*/ 4220691 w 4716235"/>
              <a:gd name="connsiteY8603" fmla="*/ 2756010 h 4596459"/>
              <a:gd name="connsiteX8604" fmla="*/ 4363902 w 4716235"/>
              <a:gd name="connsiteY8604" fmla="*/ 2751385 h 4596459"/>
              <a:gd name="connsiteX8605" fmla="*/ 4374640 w 4716235"/>
              <a:gd name="connsiteY8605" fmla="*/ 2762121 h 4596459"/>
              <a:gd name="connsiteX8606" fmla="*/ 4363902 w 4716235"/>
              <a:gd name="connsiteY8606" fmla="*/ 2772859 h 4596459"/>
              <a:gd name="connsiteX8607" fmla="*/ 4353166 w 4716235"/>
              <a:gd name="connsiteY8607" fmla="*/ 2762121 h 4596459"/>
              <a:gd name="connsiteX8608" fmla="*/ 4363902 w 4716235"/>
              <a:gd name="connsiteY8608" fmla="*/ 2751385 h 4596459"/>
              <a:gd name="connsiteX8609" fmla="*/ 3796341 w 4716235"/>
              <a:gd name="connsiteY8609" fmla="*/ 2750228 h 4596459"/>
              <a:gd name="connsiteX8610" fmla="*/ 3807077 w 4716235"/>
              <a:gd name="connsiteY8610" fmla="*/ 2760965 h 4596459"/>
              <a:gd name="connsiteX8611" fmla="*/ 3796341 w 4716235"/>
              <a:gd name="connsiteY8611" fmla="*/ 2771701 h 4596459"/>
              <a:gd name="connsiteX8612" fmla="*/ 3785605 w 4716235"/>
              <a:gd name="connsiteY8612" fmla="*/ 2760965 h 4596459"/>
              <a:gd name="connsiteX8613" fmla="*/ 3796341 w 4716235"/>
              <a:gd name="connsiteY8613" fmla="*/ 2750228 h 4596459"/>
              <a:gd name="connsiteX8614" fmla="*/ 4461525 w 4716235"/>
              <a:gd name="connsiteY8614" fmla="*/ 2747585 h 4596459"/>
              <a:gd name="connsiteX8615" fmla="*/ 4472263 w 4716235"/>
              <a:gd name="connsiteY8615" fmla="*/ 2758322 h 4596459"/>
              <a:gd name="connsiteX8616" fmla="*/ 4461525 w 4716235"/>
              <a:gd name="connsiteY8616" fmla="*/ 2769060 h 4596459"/>
              <a:gd name="connsiteX8617" fmla="*/ 4450788 w 4716235"/>
              <a:gd name="connsiteY8617" fmla="*/ 2758322 h 4596459"/>
              <a:gd name="connsiteX8618" fmla="*/ 4461525 w 4716235"/>
              <a:gd name="connsiteY8618" fmla="*/ 2747585 h 4596459"/>
              <a:gd name="connsiteX8619" fmla="*/ 3281966 w 4716235"/>
              <a:gd name="connsiteY8619" fmla="*/ 2747254 h 4596459"/>
              <a:gd name="connsiteX8620" fmla="*/ 3292704 w 4716235"/>
              <a:gd name="connsiteY8620" fmla="*/ 2757990 h 4596459"/>
              <a:gd name="connsiteX8621" fmla="*/ 3281966 w 4716235"/>
              <a:gd name="connsiteY8621" fmla="*/ 2768729 h 4596459"/>
              <a:gd name="connsiteX8622" fmla="*/ 3271229 w 4716235"/>
              <a:gd name="connsiteY8622" fmla="*/ 2757990 h 4596459"/>
              <a:gd name="connsiteX8623" fmla="*/ 3281966 w 4716235"/>
              <a:gd name="connsiteY8623" fmla="*/ 2747254 h 4596459"/>
              <a:gd name="connsiteX8624" fmla="*/ 4506291 w 4716235"/>
              <a:gd name="connsiteY8624" fmla="*/ 2741639 h 4596459"/>
              <a:gd name="connsiteX8625" fmla="*/ 4514714 w 4716235"/>
              <a:gd name="connsiteY8625" fmla="*/ 2750063 h 4596459"/>
              <a:gd name="connsiteX8626" fmla="*/ 4506291 w 4716235"/>
              <a:gd name="connsiteY8626" fmla="*/ 2758486 h 4596459"/>
              <a:gd name="connsiteX8627" fmla="*/ 4497866 w 4716235"/>
              <a:gd name="connsiteY8627" fmla="*/ 2750063 h 4596459"/>
              <a:gd name="connsiteX8628" fmla="*/ 4506291 w 4716235"/>
              <a:gd name="connsiteY8628" fmla="*/ 2741639 h 4596459"/>
              <a:gd name="connsiteX8629" fmla="*/ 4325415 w 4716235"/>
              <a:gd name="connsiteY8629" fmla="*/ 2740482 h 4596459"/>
              <a:gd name="connsiteX8630" fmla="*/ 4336152 w 4716235"/>
              <a:gd name="connsiteY8630" fmla="*/ 2751218 h 4596459"/>
              <a:gd name="connsiteX8631" fmla="*/ 4325415 w 4716235"/>
              <a:gd name="connsiteY8631" fmla="*/ 2761957 h 4596459"/>
              <a:gd name="connsiteX8632" fmla="*/ 4314679 w 4716235"/>
              <a:gd name="connsiteY8632" fmla="*/ 2751218 h 4596459"/>
              <a:gd name="connsiteX8633" fmla="*/ 4325415 w 4716235"/>
              <a:gd name="connsiteY8633" fmla="*/ 2740482 h 4596459"/>
              <a:gd name="connsiteX8634" fmla="*/ 1842575 w 4716235"/>
              <a:gd name="connsiteY8634" fmla="*/ 2735196 h 4596459"/>
              <a:gd name="connsiteX8635" fmla="*/ 1853313 w 4716235"/>
              <a:gd name="connsiteY8635" fmla="*/ 2745933 h 4596459"/>
              <a:gd name="connsiteX8636" fmla="*/ 1842575 w 4716235"/>
              <a:gd name="connsiteY8636" fmla="*/ 2756671 h 4596459"/>
              <a:gd name="connsiteX8637" fmla="*/ 1831838 w 4716235"/>
              <a:gd name="connsiteY8637" fmla="*/ 2745933 h 4596459"/>
              <a:gd name="connsiteX8638" fmla="*/ 1842575 w 4716235"/>
              <a:gd name="connsiteY8638" fmla="*/ 2735196 h 4596459"/>
              <a:gd name="connsiteX8639" fmla="*/ 1610001 w 4716235"/>
              <a:gd name="connsiteY8639" fmla="*/ 2733214 h 4596459"/>
              <a:gd name="connsiteX8640" fmla="*/ 1620737 w 4716235"/>
              <a:gd name="connsiteY8640" fmla="*/ 2743950 h 4596459"/>
              <a:gd name="connsiteX8641" fmla="*/ 1610001 w 4716235"/>
              <a:gd name="connsiteY8641" fmla="*/ 2754689 h 4596459"/>
              <a:gd name="connsiteX8642" fmla="*/ 1599265 w 4716235"/>
              <a:gd name="connsiteY8642" fmla="*/ 2743950 h 4596459"/>
              <a:gd name="connsiteX8643" fmla="*/ 1610001 w 4716235"/>
              <a:gd name="connsiteY8643" fmla="*/ 2733214 h 4596459"/>
              <a:gd name="connsiteX8644" fmla="*/ 211244 w 4716235"/>
              <a:gd name="connsiteY8644" fmla="*/ 2732059 h 4596459"/>
              <a:gd name="connsiteX8645" fmla="*/ 221982 w 4716235"/>
              <a:gd name="connsiteY8645" fmla="*/ 2742795 h 4596459"/>
              <a:gd name="connsiteX8646" fmla="*/ 211244 w 4716235"/>
              <a:gd name="connsiteY8646" fmla="*/ 2753534 h 4596459"/>
              <a:gd name="connsiteX8647" fmla="*/ 200508 w 4716235"/>
              <a:gd name="connsiteY8647" fmla="*/ 2742795 h 4596459"/>
              <a:gd name="connsiteX8648" fmla="*/ 211244 w 4716235"/>
              <a:gd name="connsiteY8648" fmla="*/ 2732059 h 4596459"/>
              <a:gd name="connsiteX8649" fmla="*/ 2073829 w 4716235"/>
              <a:gd name="connsiteY8649" fmla="*/ 2728589 h 4596459"/>
              <a:gd name="connsiteX8650" fmla="*/ 2084567 w 4716235"/>
              <a:gd name="connsiteY8650" fmla="*/ 2739325 h 4596459"/>
              <a:gd name="connsiteX8651" fmla="*/ 2073829 w 4716235"/>
              <a:gd name="connsiteY8651" fmla="*/ 2750063 h 4596459"/>
              <a:gd name="connsiteX8652" fmla="*/ 2063092 w 4716235"/>
              <a:gd name="connsiteY8652" fmla="*/ 2739325 h 4596459"/>
              <a:gd name="connsiteX8653" fmla="*/ 2073829 w 4716235"/>
              <a:gd name="connsiteY8653" fmla="*/ 2728589 h 4596459"/>
              <a:gd name="connsiteX8654" fmla="*/ 4478704 w 4716235"/>
              <a:gd name="connsiteY8654" fmla="*/ 2727103 h 4596459"/>
              <a:gd name="connsiteX8655" fmla="*/ 4489440 w 4716235"/>
              <a:gd name="connsiteY8655" fmla="*/ 2737839 h 4596459"/>
              <a:gd name="connsiteX8656" fmla="*/ 4478704 w 4716235"/>
              <a:gd name="connsiteY8656" fmla="*/ 2748577 h 4596459"/>
              <a:gd name="connsiteX8657" fmla="*/ 4467967 w 4716235"/>
              <a:gd name="connsiteY8657" fmla="*/ 2737839 h 4596459"/>
              <a:gd name="connsiteX8658" fmla="*/ 4478704 w 4716235"/>
              <a:gd name="connsiteY8658" fmla="*/ 2727103 h 4596459"/>
              <a:gd name="connsiteX8659" fmla="*/ 4406849 w 4716235"/>
              <a:gd name="connsiteY8659" fmla="*/ 2727103 h 4596459"/>
              <a:gd name="connsiteX8660" fmla="*/ 4415687 w 4716235"/>
              <a:gd name="connsiteY8660" fmla="*/ 2735940 h 4596459"/>
              <a:gd name="connsiteX8661" fmla="*/ 4419734 w 4716235"/>
              <a:gd name="connsiteY8661" fmla="*/ 2731893 h 4596459"/>
              <a:gd name="connsiteX8662" fmla="*/ 4427250 w 4716235"/>
              <a:gd name="connsiteY8662" fmla="*/ 2739409 h 4596459"/>
              <a:gd name="connsiteX8663" fmla="*/ 4430802 w 4716235"/>
              <a:gd name="connsiteY8663" fmla="*/ 2735857 h 4596459"/>
              <a:gd name="connsiteX8664" fmla="*/ 4439721 w 4716235"/>
              <a:gd name="connsiteY8664" fmla="*/ 2744778 h 4596459"/>
              <a:gd name="connsiteX8665" fmla="*/ 4443685 w 4716235"/>
              <a:gd name="connsiteY8665" fmla="*/ 2740813 h 4596459"/>
              <a:gd name="connsiteX8666" fmla="*/ 4454422 w 4716235"/>
              <a:gd name="connsiteY8666" fmla="*/ 2751550 h 4596459"/>
              <a:gd name="connsiteX8667" fmla="*/ 4443685 w 4716235"/>
              <a:gd name="connsiteY8667" fmla="*/ 2762288 h 4596459"/>
              <a:gd name="connsiteX8668" fmla="*/ 4434766 w 4716235"/>
              <a:gd name="connsiteY8668" fmla="*/ 2753367 h 4596459"/>
              <a:gd name="connsiteX8669" fmla="*/ 4430802 w 4716235"/>
              <a:gd name="connsiteY8669" fmla="*/ 2757331 h 4596459"/>
              <a:gd name="connsiteX8670" fmla="*/ 4423286 w 4716235"/>
              <a:gd name="connsiteY8670" fmla="*/ 2749814 h 4596459"/>
              <a:gd name="connsiteX8671" fmla="*/ 4419734 w 4716235"/>
              <a:gd name="connsiteY8671" fmla="*/ 2753365 h 4596459"/>
              <a:gd name="connsiteX8672" fmla="*/ 4410897 w 4716235"/>
              <a:gd name="connsiteY8672" fmla="*/ 2744530 h 4596459"/>
              <a:gd name="connsiteX8673" fmla="*/ 4406849 w 4716235"/>
              <a:gd name="connsiteY8673" fmla="*/ 2748577 h 4596459"/>
              <a:gd name="connsiteX8674" fmla="*/ 4396113 w 4716235"/>
              <a:gd name="connsiteY8674" fmla="*/ 2737839 h 4596459"/>
              <a:gd name="connsiteX8675" fmla="*/ 4406849 w 4716235"/>
              <a:gd name="connsiteY8675" fmla="*/ 2727103 h 4596459"/>
              <a:gd name="connsiteX8676" fmla="*/ 4118444 w 4716235"/>
              <a:gd name="connsiteY8676" fmla="*/ 2726113 h 4596459"/>
              <a:gd name="connsiteX8677" fmla="*/ 4129180 w 4716235"/>
              <a:gd name="connsiteY8677" fmla="*/ 2736849 h 4596459"/>
              <a:gd name="connsiteX8678" fmla="*/ 4118444 w 4716235"/>
              <a:gd name="connsiteY8678" fmla="*/ 2747587 h 4596459"/>
              <a:gd name="connsiteX8679" fmla="*/ 4107707 w 4716235"/>
              <a:gd name="connsiteY8679" fmla="*/ 2736849 h 4596459"/>
              <a:gd name="connsiteX8680" fmla="*/ 4118444 w 4716235"/>
              <a:gd name="connsiteY8680" fmla="*/ 2726113 h 4596459"/>
              <a:gd name="connsiteX8681" fmla="*/ 1381224 w 4716235"/>
              <a:gd name="connsiteY8681" fmla="*/ 2722809 h 4596459"/>
              <a:gd name="connsiteX8682" fmla="*/ 1391962 w 4716235"/>
              <a:gd name="connsiteY8682" fmla="*/ 2733545 h 4596459"/>
              <a:gd name="connsiteX8683" fmla="*/ 1381224 w 4716235"/>
              <a:gd name="connsiteY8683" fmla="*/ 2744283 h 4596459"/>
              <a:gd name="connsiteX8684" fmla="*/ 1370487 w 4716235"/>
              <a:gd name="connsiteY8684" fmla="*/ 2733545 h 4596459"/>
              <a:gd name="connsiteX8685" fmla="*/ 1381224 w 4716235"/>
              <a:gd name="connsiteY8685" fmla="*/ 2722809 h 4596459"/>
              <a:gd name="connsiteX8686" fmla="*/ 4265950 w 4716235"/>
              <a:gd name="connsiteY8686" fmla="*/ 2721652 h 4596459"/>
              <a:gd name="connsiteX8687" fmla="*/ 4276686 w 4716235"/>
              <a:gd name="connsiteY8687" fmla="*/ 2732389 h 4596459"/>
              <a:gd name="connsiteX8688" fmla="*/ 4265950 w 4716235"/>
              <a:gd name="connsiteY8688" fmla="*/ 2743127 h 4596459"/>
              <a:gd name="connsiteX8689" fmla="*/ 4255214 w 4716235"/>
              <a:gd name="connsiteY8689" fmla="*/ 2732389 h 4596459"/>
              <a:gd name="connsiteX8690" fmla="*/ 4265950 w 4716235"/>
              <a:gd name="connsiteY8690" fmla="*/ 2721652 h 4596459"/>
              <a:gd name="connsiteX8691" fmla="*/ 4387359 w 4716235"/>
              <a:gd name="connsiteY8691" fmla="*/ 2719835 h 4596459"/>
              <a:gd name="connsiteX8692" fmla="*/ 4398095 w 4716235"/>
              <a:gd name="connsiteY8692" fmla="*/ 2730571 h 4596459"/>
              <a:gd name="connsiteX8693" fmla="*/ 4387359 w 4716235"/>
              <a:gd name="connsiteY8693" fmla="*/ 2741309 h 4596459"/>
              <a:gd name="connsiteX8694" fmla="*/ 4376622 w 4716235"/>
              <a:gd name="connsiteY8694" fmla="*/ 2730571 h 4596459"/>
              <a:gd name="connsiteX8695" fmla="*/ 4387359 w 4716235"/>
              <a:gd name="connsiteY8695" fmla="*/ 2719835 h 4596459"/>
              <a:gd name="connsiteX8696" fmla="*/ 3890164 w 4716235"/>
              <a:gd name="connsiteY8696" fmla="*/ 2715210 h 4596459"/>
              <a:gd name="connsiteX8697" fmla="*/ 3900900 w 4716235"/>
              <a:gd name="connsiteY8697" fmla="*/ 2725946 h 4596459"/>
              <a:gd name="connsiteX8698" fmla="*/ 3890164 w 4716235"/>
              <a:gd name="connsiteY8698" fmla="*/ 2736684 h 4596459"/>
              <a:gd name="connsiteX8699" fmla="*/ 3879428 w 4716235"/>
              <a:gd name="connsiteY8699" fmla="*/ 2725946 h 4596459"/>
              <a:gd name="connsiteX8700" fmla="*/ 3890164 w 4716235"/>
              <a:gd name="connsiteY8700" fmla="*/ 2715210 h 4596459"/>
              <a:gd name="connsiteX8701" fmla="*/ 3423525 w 4716235"/>
              <a:gd name="connsiteY8701" fmla="*/ 2714384 h 4596459"/>
              <a:gd name="connsiteX8702" fmla="*/ 3434262 w 4716235"/>
              <a:gd name="connsiteY8702" fmla="*/ 2725121 h 4596459"/>
              <a:gd name="connsiteX8703" fmla="*/ 3423525 w 4716235"/>
              <a:gd name="connsiteY8703" fmla="*/ 2735859 h 4596459"/>
              <a:gd name="connsiteX8704" fmla="*/ 3412789 w 4716235"/>
              <a:gd name="connsiteY8704" fmla="*/ 2725121 h 4596459"/>
              <a:gd name="connsiteX8705" fmla="*/ 3423525 w 4716235"/>
              <a:gd name="connsiteY8705" fmla="*/ 2714384 h 4596459"/>
              <a:gd name="connsiteX8706" fmla="*/ 2298475 w 4716235"/>
              <a:gd name="connsiteY8706" fmla="*/ 2714384 h 4596459"/>
              <a:gd name="connsiteX8707" fmla="*/ 2309213 w 4716235"/>
              <a:gd name="connsiteY8707" fmla="*/ 2725121 h 4596459"/>
              <a:gd name="connsiteX8708" fmla="*/ 2298475 w 4716235"/>
              <a:gd name="connsiteY8708" fmla="*/ 2735859 h 4596459"/>
              <a:gd name="connsiteX8709" fmla="*/ 2287739 w 4716235"/>
              <a:gd name="connsiteY8709" fmla="*/ 2725121 h 4596459"/>
              <a:gd name="connsiteX8710" fmla="*/ 2298475 w 4716235"/>
              <a:gd name="connsiteY8710" fmla="*/ 2714384 h 4596459"/>
              <a:gd name="connsiteX8711" fmla="*/ 4496214 w 4716235"/>
              <a:gd name="connsiteY8711" fmla="*/ 2707942 h 4596459"/>
              <a:gd name="connsiteX8712" fmla="*/ 4506950 w 4716235"/>
              <a:gd name="connsiteY8712" fmla="*/ 2718678 h 4596459"/>
              <a:gd name="connsiteX8713" fmla="*/ 4496214 w 4716235"/>
              <a:gd name="connsiteY8713" fmla="*/ 2729416 h 4596459"/>
              <a:gd name="connsiteX8714" fmla="*/ 4485477 w 4716235"/>
              <a:gd name="connsiteY8714" fmla="*/ 2718678 h 4596459"/>
              <a:gd name="connsiteX8715" fmla="*/ 4496214 w 4716235"/>
              <a:gd name="connsiteY8715" fmla="*/ 2707942 h 4596459"/>
              <a:gd name="connsiteX8716" fmla="*/ 4355975 w 4716235"/>
              <a:gd name="connsiteY8716" fmla="*/ 2707777 h 4596459"/>
              <a:gd name="connsiteX8717" fmla="*/ 4366712 w 4716235"/>
              <a:gd name="connsiteY8717" fmla="*/ 2718513 h 4596459"/>
              <a:gd name="connsiteX8718" fmla="*/ 4355975 w 4716235"/>
              <a:gd name="connsiteY8718" fmla="*/ 2729251 h 4596459"/>
              <a:gd name="connsiteX8719" fmla="*/ 4345239 w 4716235"/>
              <a:gd name="connsiteY8719" fmla="*/ 2718513 h 4596459"/>
              <a:gd name="connsiteX8720" fmla="*/ 4355975 w 4716235"/>
              <a:gd name="connsiteY8720" fmla="*/ 2707777 h 4596459"/>
              <a:gd name="connsiteX8721" fmla="*/ 1161202 w 4716235"/>
              <a:gd name="connsiteY8721" fmla="*/ 2705795 h 4596459"/>
              <a:gd name="connsiteX8722" fmla="*/ 1171940 w 4716235"/>
              <a:gd name="connsiteY8722" fmla="*/ 2716531 h 4596459"/>
              <a:gd name="connsiteX8723" fmla="*/ 1161202 w 4716235"/>
              <a:gd name="connsiteY8723" fmla="*/ 2727269 h 4596459"/>
              <a:gd name="connsiteX8724" fmla="*/ 1150466 w 4716235"/>
              <a:gd name="connsiteY8724" fmla="*/ 2716531 h 4596459"/>
              <a:gd name="connsiteX8725" fmla="*/ 1161202 w 4716235"/>
              <a:gd name="connsiteY8725" fmla="*/ 2705795 h 4596459"/>
              <a:gd name="connsiteX8726" fmla="*/ 75301 w 4716235"/>
              <a:gd name="connsiteY8726" fmla="*/ 2699023 h 4596459"/>
              <a:gd name="connsiteX8727" fmla="*/ 86037 w 4716235"/>
              <a:gd name="connsiteY8727" fmla="*/ 2709759 h 4596459"/>
              <a:gd name="connsiteX8728" fmla="*/ 75301 w 4716235"/>
              <a:gd name="connsiteY8728" fmla="*/ 2720497 h 4596459"/>
              <a:gd name="connsiteX8729" fmla="*/ 64565 w 4716235"/>
              <a:gd name="connsiteY8729" fmla="*/ 2709759 h 4596459"/>
              <a:gd name="connsiteX8730" fmla="*/ 75301 w 4716235"/>
              <a:gd name="connsiteY8730" fmla="*/ 2699023 h 4596459"/>
              <a:gd name="connsiteX8731" fmla="*/ 4424030 w 4716235"/>
              <a:gd name="connsiteY8731" fmla="*/ 2698196 h 4596459"/>
              <a:gd name="connsiteX8732" fmla="*/ 4432784 w 4716235"/>
              <a:gd name="connsiteY8732" fmla="*/ 2706950 h 4596459"/>
              <a:gd name="connsiteX8733" fmla="*/ 4434931 w 4716235"/>
              <a:gd name="connsiteY8733" fmla="*/ 2704803 h 4596459"/>
              <a:gd name="connsiteX8734" fmla="*/ 4443191 w 4716235"/>
              <a:gd name="connsiteY8734" fmla="*/ 2713063 h 4596459"/>
              <a:gd name="connsiteX8735" fmla="*/ 4445338 w 4716235"/>
              <a:gd name="connsiteY8735" fmla="*/ 2710916 h 4596459"/>
              <a:gd name="connsiteX8736" fmla="*/ 4455745 w 4716235"/>
              <a:gd name="connsiteY8736" fmla="*/ 2721321 h 4596459"/>
              <a:gd name="connsiteX8737" fmla="*/ 4459048 w 4716235"/>
              <a:gd name="connsiteY8737" fmla="*/ 2718017 h 4596459"/>
              <a:gd name="connsiteX8738" fmla="*/ 4469785 w 4716235"/>
              <a:gd name="connsiteY8738" fmla="*/ 2728754 h 4596459"/>
              <a:gd name="connsiteX8739" fmla="*/ 4459048 w 4716235"/>
              <a:gd name="connsiteY8739" fmla="*/ 2739492 h 4596459"/>
              <a:gd name="connsiteX8740" fmla="*/ 4448643 w 4716235"/>
              <a:gd name="connsiteY8740" fmla="*/ 2729085 h 4596459"/>
              <a:gd name="connsiteX8741" fmla="*/ 4445338 w 4716235"/>
              <a:gd name="connsiteY8741" fmla="*/ 2732390 h 4596459"/>
              <a:gd name="connsiteX8742" fmla="*/ 4437078 w 4716235"/>
              <a:gd name="connsiteY8742" fmla="*/ 2724129 h 4596459"/>
              <a:gd name="connsiteX8743" fmla="*/ 4434931 w 4716235"/>
              <a:gd name="connsiteY8743" fmla="*/ 2726276 h 4596459"/>
              <a:gd name="connsiteX8744" fmla="*/ 4426177 w 4716235"/>
              <a:gd name="connsiteY8744" fmla="*/ 2717523 h 4596459"/>
              <a:gd name="connsiteX8745" fmla="*/ 4424030 w 4716235"/>
              <a:gd name="connsiteY8745" fmla="*/ 2719670 h 4596459"/>
              <a:gd name="connsiteX8746" fmla="*/ 4413294 w 4716235"/>
              <a:gd name="connsiteY8746" fmla="*/ 2708932 h 4596459"/>
              <a:gd name="connsiteX8747" fmla="*/ 4424030 w 4716235"/>
              <a:gd name="connsiteY8747" fmla="*/ 2698196 h 4596459"/>
              <a:gd name="connsiteX8748" fmla="*/ 4474410 w 4716235"/>
              <a:gd name="connsiteY8748" fmla="*/ 2696545 h 4596459"/>
              <a:gd name="connsiteX8749" fmla="*/ 4485148 w 4716235"/>
              <a:gd name="connsiteY8749" fmla="*/ 2707281 h 4596459"/>
              <a:gd name="connsiteX8750" fmla="*/ 4474410 w 4716235"/>
              <a:gd name="connsiteY8750" fmla="*/ 2718017 h 4596459"/>
              <a:gd name="connsiteX8751" fmla="*/ 4463673 w 4716235"/>
              <a:gd name="connsiteY8751" fmla="*/ 2707281 h 4596459"/>
              <a:gd name="connsiteX8752" fmla="*/ 4474410 w 4716235"/>
              <a:gd name="connsiteY8752" fmla="*/ 2696545 h 4596459"/>
              <a:gd name="connsiteX8753" fmla="*/ 2512552 w 4716235"/>
              <a:gd name="connsiteY8753" fmla="*/ 2694398 h 4596459"/>
              <a:gd name="connsiteX8754" fmla="*/ 2523288 w 4716235"/>
              <a:gd name="connsiteY8754" fmla="*/ 2705134 h 4596459"/>
              <a:gd name="connsiteX8755" fmla="*/ 2512552 w 4716235"/>
              <a:gd name="connsiteY8755" fmla="*/ 2715872 h 4596459"/>
              <a:gd name="connsiteX8756" fmla="*/ 2501815 w 4716235"/>
              <a:gd name="connsiteY8756" fmla="*/ 2705134 h 4596459"/>
              <a:gd name="connsiteX8757" fmla="*/ 2512552 w 4716235"/>
              <a:gd name="connsiteY8757" fmla="*/ 2694398 h 4596459"/>
              <a:gd name="connsiteX8758" fmla="*/ 4177579 w 4716235"/>
              <a:gd name="connsiteY8758" fmla="*/ 2691920 h 4596459"/>
              <a:gd name="connsiteX8759" fmla="*/ 4188318 w 4716235"/>
              <a:gd name="connsiteY8759" fmla="*/ 2702656 h 4596459"/>
              <a:gd name="connsiteX8760" fmla="*/ 4177579 w 4716235"/>
              <a:gd name="connsiteY8760" fmla="*/ 2713392 h 4596459"/>
              <a:gd name="connsiteX8761" fmla="*/ 4166843 w 4716235"/>
              <a:gd name="connsiteY8761" fmla="*/ 2702656 h 4596459"/>
              <a:gd name="connsiteX8762" fmla="*/ 4177579 w 4716235"/>
              <a:gd name="connsiteY8762" fmla="*/ 2691920 h 4596459"/>
              <a:gd name="connsiteX8763" fmla="*/ 4514218 w 4716235"/>
              <a:gd name="connsiteY8763" fmla="*/ 2689937 h 4596459"/>
              <a:gd name="connsiteX8764" fmla="*/ 4524954 w 4716235"/>
              <a:gd name="connsiteY8764" fmla="*/ 2700674 h 4596459"/>
              <a:gd name="connsiteX8765" fmla="*/ 4514218 w 4716235"/>
              <a:gd name="connsiteY8765" fmla="*/ 2711412 h 4596459"/>
              <a:gd name="connsiteX8766" fmla="*/ 4503482 w 4716235"/>
              <a:gd name="connsiteY8766" fmla="*/ 2700674 h 4596459"/>
              <a:gd name="connsiteX8767" fmla="*/ 4514218 w 4716235"/>
              <a:gd name="connsiteY8767" fmla="*/ 2689937 h 4596459"/>
              <a:gd name="connsiteX8768" fmla="*/ 4408337 w 4716235"/>
              <a:gd name="connsiteY8768" fmla="*/ 2689441 h 4596459"/>
              <a:gd name="connsiteX8769" fmla="*/ 4419075 w 4716235"/>
              <a:gd name="connsiteY8769" fmla="*/ 2700178 h 4596459"/>
              <a:gd name="connsiteX8770" fmla="*/ 4408337 w 4716235"/>
              <a:gd name="connsiteY8770" fmla="*/ 2710916 h 4596459"/>
              <a:gd name="connsiteX8771" fmla="*/ 4397601 w 4716235"/>
              <a:gd name="connsiteY8771" fmla="*/ 2700178 h 4596459"/>
              <a:gd name="connsiteX8772" fmla="*/ 4408337 w 4716235"/>
              <a:gd name="connsiteY8772" fmla="*/ 2689441 h 4596459"/>
              <a:gd name="connsiteX8773" fmla="*/ 4306090 w 4716235"/>
              <a:gd name="connsiteY8773" fmla="*/ 2688451 h 4596459"/>
              <a:gd name="connsiteX8774" fmla="*/ 4316828 w 4716235"/>
              <a:gd name="connsiteY8774" fmla="*/ 2699188 h 4596459"/>
              <a:gd name="connsiteX8775" fmla="*/ 4306090 w 4716235"/>
              <a:gd name="connsiteY8775" fmla="*/ 2709926 h 4596459"/>
              <a:gd name="connsiteX8776" fmla="*/ 4295353 w 4716235"/>
              <a:gd name="connsiteY8776" fmla="*/ 2699188 h 4596459"/>
              <a:gd name="connsiteX8777" fmla="*/ 4306090 w 4716235"/>
              <a:gd name="connsiteY8777" fmla="*/ 2688451 h 4596459"/>
              <a:gd name="connsiteX8778" fmla="*/ 952579 w 4716235"/>
              <a:gd name="connsiteY8778" fmla="*/ 2683660 h 4596459"/>
              <a:gd name="connsiteX8779" fmla="*/ 963316 w 4716235"/>
              <a:gd name="connsiteY8779" fmla="*/ 2694396 h 4596459"/>
              <a:gd name="connsiteX8780" fmla="*/ 952579 w 4716235"/>
              <a:gd name="connsiteY8780" fmla="*/ 2705134 h 4596459"/>
              <a:gd name="connsiteX8781" fmla="*/ 941843 w 4716235"/>
              <a:gd name="connsiteY8781" fmla="*/ 2694396 h 4596459"/>
              <a:gd name="connsiteX8782" fmla="*/ 952579 w 4716235"/>
              <a:gd name="connsiteY8782" fmla="*/ 2683660 h 4596459"/>
              <a:gd name="connsiteX8783" fmla="*/ 3553194 w 4716235"/>
              <a:gd name="connsiteY8783" fmla="*/ 2681513 h 4596459"/>
              <a:gd name="connsiteX8784" fmla="*/ 3563930 w 4716235"/>
              <a:gd name="connsiteY8784" fmla="*/ 2692249 h 4596459"/>
              <a:gd name="connsiteX8785" fmla="*/ 3553194 w 4716235"/>
              <a:gd name="connsiteY8785" fmla="*/ 2702987 h 4596459"/>
              <a:gd name="connsiteX8786" fmla="*/ 3542458 w 4716235"/>
              <a:gd name="connsiteY8786" fmla="*/ 2692249 h 4596459"/>
              <a:gd name="connsiteX8787" fmla="*/ 3553194 w 4716235"/>
              <a:gd name="connsiteY8787" fmla="*/ 2681513 h 4596459"/>
              <a:gd name="connsiteX8788" fmla="*/ 3974902 w 4716235"/>
              <a:gd name="connsiteY8788" fmla="*/ 2681017 h 4596459"/>
              <a:gd name="connsiteX8789" fmla="*/ 3985638 w 4716235"/>
              <a:gd name="connsiteY8789" fmla="*/ 2691753 h 4596459"/>
              <a:gd name="connsiteX8790" fmla="*/ 3974902 w 4716235"/>
              <a:gd name="connsiteY8790" fmla="*/ 2702491 h 4596459"/>
              <a:gd name="connsiteX8791" fmla="*/ 3964165 w 4716235"/>
              <a:gd name="connsiteY8791" fmla="*/ 2691753 h 4596459"/>
              <a:gd name="connsiteX8792" fmla="*/ 3974902 w 4716235"/>
              <a:gd name="connsiteY8792" fmla="*/ 2681017 h 4596459"/>
              <a:gd name="connsiteX8793" fmla="*/ 4533050 w 4716235"/>
              <a:gd name="connsiteY8793" fmla="*/ 2676558 h 4596459"/>
              <a:gd name="connsiteX8794" fmla="*/ 4540151 w 4716235"/>
              <a:gd name="connsiteY8794" fmla="*/ 2683661 h 4596459"/>
              <a:gd name="connsiteX8795" fmla="*/ 4533050 w 4716235"/>
              <a:gd name="connsiteY8795" fmla="*/ 2690765 h 4596459"/>
              <a:gd name="connsiteX8796" fmla="*/ 4525946 w 4716235"/>
              <a:gd name="connsiteY8796" fmla="*/ 2683661 h 4596459"/>
              <a:gd name="connsiteX8797" fmla="*/ 4533050 w 4716235"/>
              <a:gd name="connsiteY8797" fmla="*/ 2676558 h 4596459"/>
              <a:gd name="connsiteX8798" fmla="*/ 4490102 w 4716235"/>
              <a:gd name="connsiteY8798" fmla="*/ 2676227 h 4596459"/>
              <a:gd name="connsiteX8799" fmla="*/ 4500839 w 4716235"/>
              <a:gd name="connsiteY8799" fmla="*/ 2686963 h 4596459"/>
              <a:gd name="connsiteX8800" fmla="*/ 4490102 w 4716235"/>
              <a:gd name="connsiteY8800" fmla="*/ 2697701 h 4596459"/>
              <a:gd name="connsiteX8801" fmla="*/ 4479366 w 4716235"/>
              <a:gd name="connsiteY8801" fmla="*/ 2686963 h 4596459"/>
              <a:gd name="connsiteX8802" fmla="*/ 4490102 w 4716235"/>
              <a:gd name="connsiteY8802" fmla="*/ 2676227 h 4596459"/>
              <a:gd name="connsiteX8803" fmla="*/ 4382899 w 4716235"/>
              <a:gd name="connsiteY8803" fmla="*/ 2676227 h 4596459"/>
              <a:gd name="connsiteX8804" fmla="*/ 4393637 w 4716235"/>
              <a:gd name="connsiteY8804" fmla="*/ 2686963 h 4596459"/>
              <a:gd name="connsiteX8805" fmla="*/ 4382899 w 4716235"/>
              <a:gd name="connsiteY8805" fmla="*/ 2697701 h 4596459"/>
              <a:gd name="connsiteX8806" fmla="*/ 4372162 w 4716235"/>
              <a:gd name="connsiteY8806" fmla="*/ 2686963 h 4596459"/>
              <a:gd name="connsiteX8807" fmla="*/ 4382899 w 4716235"/>
              <a:gd name="connsiteY8807" fmla="*/ 2676227 h 4596459"/>
              <a:gd name="connsiteX8808" fmla="*/ 4439556 w 4716235"/>
              <a:gd name="connsiteY8808" fmla="*/ 2670776 h 4596459"/>
              <a:gd name="connsiteX8809" fmla="*/ 4448394 w 4716235"/>
              <a:gd name="connsiteY8809" fmla="*/ 2679614 h 4596459"/>
              <a:gd name="connsiteX8810" fmla="*/ 4448971 w 4716235"/>
              <a:gd name="connsiteY8810" fmla="*/ 2679035 h 4596459"/>
              <a:gd name="connsiteX8811" fmla="*/ 4458388 w 4716235"/>
              <a:gd name="connsiteY8811" fmla="*/ 2688450 h 4596459"/>
              <a:gd name="connsiteX8812" fmla="*/ 4459543 w 4716235"/>
              <a:gd name="connsiteY8812" fmla="*/ 2687295 h 4596459"/>
              <a:gd name="connsiteX8813" fmla="*/ 4470279 w 4716235"/>
              <a:gd name="connsiteY8813" fmla="*/ 2698031 h 4596459"/>
              <a:gd name="connsiteX8814" fmla="*/ 4459543 w 4716235"/>
              <a:gd name="connsiteY8814" fmla="*/ 2708769 h 4596459"/>
              <a:gd name="connsiteX8815" fmla="*/ 4450128 w 4716235"/>
              <a:gd name="connsiteY8815" fmla="*/ 2699352 h 4596459"/>
              <a:gd name="connsiteX8816" fmla="*/ 4448971 w 4716235"/>
              <a:gd name="connsiteY8816" fmla="*/ 2700509 h 4596459"/>
              <a:gd name="connsiteX8817" fmla="*/ 4440135 w 4716235"/>
              <a:gd name="connsiteY8817" fmla="*/ 2691672 h 4596459"/>
              <a:gd name="connsiteX8818" fmla="*/ 4439556 w 4716235"/>
              <a:gd name="connsiteY8818" fmla="*/ 2692251 h 4596459"/>
              <a:gd name="connsiteX8819" fmla="*/ 4428820 w 4716235"/>
              <a:gd name="connsiteY8819" fmla="*/ 2681513 h 4596459"/>
              <a:gd name="connsiteX8820" fmla="*/ 4439556 w 4716235"/>
              <a:gd name="connsiteY8820" fmla="*/ 2670776 h 4596459"/>
              <a:gd name="connsiteX8821" fmla="*/ 2714238 w 4716235"/>
              <a:gd name="connsiteY8821" fmla="*/ 2670445 h 4596459"/>
              <a:gd name="connsiteX8822" fmla="*/ 2724976 w 4716235"/>
              <a:gd name="connsiteY8822" fmla="*/ 2681182 h 4596459"/>
              <a:gd name="connsiteX8823" fmla="*/ 2714238 w 4716235"/>
              <a:gd name="connsiteY8823" fmla="*/ 2691918 h 4596459"/>
              <a:gd name="connsiteX8824" fmla="*/ 2703501 w 4716235"/>
              <a:gd name="connsiteY8824" fmla="*/ 2681182 h 4596459"/>
              <a:gd name="connsiteX8825" fmla="*/ 2714238 w 4716235"/>
              <a:gd name="connsiteY8825" fmla="*/ 2670445 h 4596459"/>
              <a:gd name="connsiteX8826" fmla="*/ 4427002 w 4716235"/>
              <a:gd name="connsiteY8826" fmla="*/ 2660370 h 4596459"/>
              <a:gd name="connsiteX8827" fmla="*/ 4437739 w 4716235"/>
              <a:gd name="connsiteY8827" fmla="*/ 2671106 h 4596459"/>
              <a:gd name="connsiteX8828" fmla="*/ 4427002 w 4716235"/>
              <a:gd name="connsiteY8828" fmla="*/ 2681844 h 4596459"/>
              <a:gd name="connsiteX8829" fmla="*/ 4416266 w 4716235"/>
              <a:gd name="connsiteY8829" fmla="*/ 2671106 h 4596459"/>
              <a:gd name="connsiteX8830" fmla="*/ 4427002 w 4716235"/>
              <a:gd name="connsiteY8830" fmla="*/ 2660370 h 4596459"/>
              <a:gd name="connsiteX8831" fmla="*/ 4230271 w 4716235"/>
              <a:gd name="connsiteY8831" fmla="*/ 2658717 h 4596459"/>
              <a:gd name="connsiteX8832" fmla="*/ 4241009 w 4716235"/>
              <a:gd name="connsiteY8832" fmla="*/ 2669453 h 4596459"/>
              <a:gd name="connsiteX8833" fmla="*/ 4230271 w 4716235"/>
              <a:gd name="connsiteY8833" fmla="*/ 2680191 h 4596459"/>
              <a:gd name="connsiteX8834" fmla="*/ 4219535 w 4716235"/>
              <a:gd name="connsiteY8834" fmla="*/ 2669453 h 4596459"/>
              <a:gd name="connsiteX8835" fmla="*/ 4230271 w 4716235"/>
              <a:gd name="connsiteY8835" fmla="*/ 2658717 h 4596459"/>
              <a:gd name="connsiteX8836" fmla="*/ 757170 w 4716235"/>
              <a:gd name="connsiteY8836" fmla="*/ 2658223 h 4596459"/>
              <a:gd name="connsiteX8837" fmla="*/ 767906 w 4716235"/>
              <a:gd name="connsiteY8837" fmla="*/ 2668959 h 4596459"/>
              <a:gd name="connsiteX8838" fmla="*/ 757170 w 4716235"/>
              <a:gd name="connsiteY8838" fmla="*/ 2679697 h 4596459"/>
              <a:gd name="connsiteX8839" fmla="*/ 746433 w 4716235"/>
              <a:gd name="connsiteY8839" fmla="*/ 2668959 h 4596459"/>
              <a:gd name="connsiteX8840" fmla="*/ 757170 w 4716235"/>
              <a:gd name="connsiteY8840" fmla="*/ 2658223 h 4596459"/>
              <a:gd name="connsiteX8841" fmla="*/ 4506289 w 4716235"/>
              <a:gd name="connsiteY8841" fmla="*/ 2657066 h 4596459"/>
              <a:gd name="connsiteX8842" fmla="*/ 4517027 w 4716235"/>
              <a:gd name="connsiteY8842" fmla="*/ 2667802 h 4596459"/>
              <a:gd name="connsiteX8843" fmla="*/ 4506289 w 4716235"/>
              <a:gd name="connsiteY8843" fmla="*/ 2678539 h 4596459"/>
              <a:gd name="connsiteX8844" fmla="*/ 4495553 w 4716235"/>
              <a:gd name="connsiteY8844" fmla="*/ 2667802 h 4596459"/>
              <a:gd name="connsiteX8845" fmla="*/ 4506289 w 4716235"/>
              <a:gd name="connsiteY8845" fmla="*/ 2657066 h 4596459"/>
              <a:gd name="connsiteX8846" fmla="*/ 4341439 w 4716235"/>
              <a:gd name="connsiteY8846" fmla="*/ 2656405 h 4596459"/>
              <a:gd name="connsiteX8847" fmla="*/ 4352176 w 4716235"/>
              <a:gd name="connsiteY8847" fmla="*/ 2667142 h 4596459"/>
              <a:gd name="connsiteX8848" fmla="*/ 4341439 w 4716235"/>
              <a:gd name="connsiteY8848" fmla="*/ 2677880 h 4596459"/>
              <a:gd name="connsiteX8849" fmla="*/ 4330703 w 4716235"/>
              <a:gd name="connsiteY8849" fmla="*/ 2667142 h 4596459"/>
              <a:gd name="connsiteX8850" fmla="*/ 4341439 w 4716235"/>
              <a:gd name="connsiteY8850" fmla="*/ 2656405 h 4596459"/>
              <a:gd name="connsiteX8851" fmla="*/ 3671793 w 4716235"/>
              <a:gd name="connsiteY8851" fmla="*/ 2648808 h 4596459"/>
              <a:gd name="connsiteX8852" fmla="*/ 3682530 w 4716235"/>
              <a:gd name="connsiteY8852" fmla="*/ 2659544 h 4596459"/>
              <a:gd name="connsiteX8853" fmla="*/ 3671793 w 4716235"/>
              <a:gd name="connsiteY8853" fmla="*/ 2670280 h 4596459"/>
              <a:gd name="connsiteX8854" fmla="*/ 3661057 w 4716235"/>
              <a:gd name="connsiteY8854" fmla="*/ 2659544 h 4596459"/>
              <a:gd name="connsiteX8855" fmla="*/ 3671793 w 4716235"/>
              <a:gd name="connsiteY8855" fmla="*/ 2648808 h 4596459"/>
              <a:gd name="connsiteX8856" fmla="*/ 4051381 w 4716235"/>
              <a:gd name="connsiteY8856" fmla="*/ 2647816 h 4596459"/>
              <a:gd name="connsiteX8857" fmla="*/ 4062117 w 4716235"/>
              <a:gd name="connsiteY8857" fmla="*/ 2658552 h 4596459"/>
              <a:gd name="connsiteX8858" fmla="*/ 4051381 w 4716235"/>
              <a:gd name="connsiteY8858" fmla="*/ 2669290 h 4596459"/>
              <a:gd name="connsiteX8859" fmla="*/ 4040645 w 4716235"/>
              <a:gd name="connsiteY8859" fmla="*/ 2658552 h 4596459"/>
              <a:gd name="connsiteX8860" fmla="*/ 4051381 w 4716235"/>
              <a:gd name="connsiteY8860" fmla="*/ 2647816 h 4596459"/>
              <a:gd name="connsiteX8861" fmla="*/ 4406685 w 4716235"/>
              <a:gd name="connsiteY8861" fmla="*/ 2645998 h 4596459"/>
              <a:gd name="connsiteX8862" fmla="*/ 4417423 w 4716235"/>
              <a:gd name="connsiteY8862" fmla="*/ 2656735 h 4596459"/>
              <a:gd name="connsiteX8863" fmla="*/ 4406685 w 4716235"/>
              <a:gd name="connsiteY8863" fmla="*/ 2667473 h 4596459"/>
              <a:gd name="connsiteX8864" fmla="*/ 4395948 w 4716235"/>
              <a:gd name="connsiteY8864" fmla="*/ 2656735 h 4596459"/>
              <a:gd name="connsiteX8865" fmla="*/ 4406685 w 4716235"/>
              <a:gd name="connsiteY8865" fmla="*/ 2645998 h 4596459"/>
              <a:gd name="connsiteX8866" fmla="*/ 4453761 w 4716235"/>
              <a:gd name="connsiteY8866" fmla="*/ 2644512 h 4596459"/>
              <a:gd name="connsiteX8867" fmla="*/ 4464499 w 4716235"/>
              <a:gd name="connsiteY8867" fmla="*/ 2655249 h 4596459"/>
              <a:gd name="connsiteX8868" fmla="*/ 4463838 w 4716235"/>
              <a:gd name="connsiteY8868" fmla="*/ 2655909 h 4596459"/>
              <a:gd name="connsiteX8869" fmla="*/ 4473255 w 4716235"/>
              <a:gd name="connsiteY8869" fmla="*/ 2665324 h 4596459"/>
              <a:gd name="connsiteX8870" fmla="*/ 4473749 w 4716235"/>
              <a:gd name="connsiteY8870" fmla="*/ 2664830 h 4596459"/>
              <a:gd name="connsiteX8871" fmla="*/ 4484487 w 4716235"/>
              <a:gd name="connsiteY8871" fmla="*/ 2675566 h 4596459"/>
              <a:gd name="connsiteX8872" fmla="*/ 4473749 w 4716235"/>
              <a:gd name="connsiteY8872" fmla="*/ 2686304 h 4596459"/>
              <a:gd name="connsiteX8873" fmla="*/ 4463013 w 4716235"/>
              <a:gd name="connsiteY8873" fmla="*/ 2675566 h 4596459"/>
              <a:gd name="connsiteX8874" fmla="*/ 4462517 w 4716235"/>
              <a:gd name="connsiteY8874" fmla="*/ 2676062 h 4596459"/>
              <a:gd name="connsiteX8875" fmla="*/ 4451780 w 4716235"/>
              <a:gd name="connsiteY8875" fmla="*/ 2665324 h 4596459"/>
              <a:gd name="connsiteX8876" fmla="*/ 4452439 w 4716235"/>
              <a:gd name="connsiteY8876" fmla="*/ 2664665 h 4596459"/>
              <a:gd name="connsiteX8877" fmla="*/ 4443025 w 4716235"/>
              <a:gd name="connsiteY8877" fmla="*/ 2655249 h 4596459"/>
              <a:gd name="connsiteX8878" fmla="*/ 4453761 w 4716235"/>
              <a:gd name="connsiteY8878" fmla="*/ 2644512 h 4596459"/>
              <a:gd name="connsiteX8879" fmla="*/ 2902213 w 4716235"/>
              <a:gd name="connsiteY8879" fmla="*/ 2643687 h 4596459"/>
              <a:gd name="connsiteX8880" fmla="*/ 2912951 w 4716235"/>
              <a:gd name="connsiteY8880" fmla="*/ 2654423 h 4596459"/>
              <a:gd name="connsiteX8881" fmla="*/ 2902213 w 4716235"/>
              <a:gd name="connsiteY8881" fmla="*/ 2665161 h 4596459"/>
              <a:gd name="connsiteX8882" fmla="*/ 2891477 w 4716235"/>
              <a:gd name="connsiteY8882" fmla="*/ 2654423 h 4596459"/>
              <a:gd name="connsiteX8883" fmla="*/ 2902213 w 4716235"/>
              <a:gd name="connsiteY8883" fmla="*/ 2643687 h 4596459"/>
              <a:gd name="connsiteX8884" fmla="*/ 4487789 w 4716235"/>
              <a:gd name="connsiteY8884" fmla="*/ 2643522 h 4596459"/>
              <a:gd name="connsiteX8885" fmla="*/ 4498527 w 4716235"/>
              <a:gd name="connsiteY8885" fmla="*/ 2654258 h 4596459"/>
              <a:gd name="connsiteX8886" fmla="*/ 4487789 w 4716235"/>
              <a:gd name="connsiteY8886" fmla="*/ 2664996 h 4596459"/>
              <a:gd name="connsiteX8887" fmla="*/ 4477053 w 4716235"/>
              <a:gd name="connsiteY8887" fmla="*/ 2654258 h 4596459"/>
              <a:gd name="connsiteX8888" fmla="*/ 4487789 w 4716235"/>
              <a:gd name="connsiteY8888" fmla="*/ 2643522 h 4596459"/>
              <a:gd name="connsiteX8889" fmla="*/ 4522808 w 4716235"/>
              <a:gd name="connsiteY8889" fmla="*/ 2639062 h 4596459"/>
              <a:gd name="connsiteX8890" fmla="*/ 4533546 w 4716235"/>
              <a:gd name="connsiteY8890" fmla="*/ 2649798 h 4596459"/>
              <a:gd name="connsiteX8891" fmla="*/ 4522808 w 4716235"/>
              <a:gd name="connsiteY8891" fmla="*/ 2660536 h 4596459"/>
              <a:gd name="connsiteX8892" fmla="*/ 4512071 w 4716235"/>
              <a:gd name="connsiteY8892" fmla="*/ 2649798 h 4596459"/>
              <a:gd name="connsiteX8893" fmla="*/ 4522808 w 4716235"/>
              <a:gd name="connsiteY8893" fmla="*/ 2639062 h 4596459"/>
              <a:gd name="connsiteX8894" fmla="*/ 4443685 w 4716235"/>
              <a:gd name="connsiteY8894" fmla="*/ 2632619 h 4596459"/>
              <a:gd name="connsiteX8895" fmla="*/ 4454422 w 4716235"/>
              <a:gd name="connsiteY8895" fmla="*/ 2643355 h 4596459"/>
              <a:gd name="connsiteX8896" fmla="*/ 4443685 w 4716235"/>
              <a:gd name="connsiteY8896" fmla="*/ 2654094 h 4596459"/>
              <a:gd name="connsiteX8897" fmla="*/ 4432949 w 4716235"/>
              <a:gd name="connsiteY8897" fmla="*/ 2643355 h 4596459"/>
              <a:gd name="connsiteX8898" fmla="*/ 4443685 w 4716235"/>
              <a:gd name="connsiteY8898" fmla="*/ 2632619 h 4596459"/>
              <a:gd name="connsiteX8899" fmla="*/ 575470 w 4716235"/>
              <a:gd name="connsiteY8899" fmla="*/ 2630802 h 4596459"/>
              <a:gd name="connsiteX8900" fmla="*/ 586207 w 4716235"/>
              <a:gd name="connsiteY8900" fmla="*/ 2641538 h 4596459"/>
              <a:gd name="connsiteX8901" fmla="*/ 575470 w 4716235"/>
              <a:gd name="connsiteY8901" fmla="*/ 2652276 h 4596459"/>
              <a:gd name="connsiteX8902" fmla="*/ 564734 w 4716235"/>
              <a:gd name="connsiteY8902" fmla="*/ 2641538 h 4596459"/>
              <a:gd name="connsiteX8903" fmla="*/ 575470 w 4716235"/>
              <a:gd name="connsiteY8903" fmla="*/ 2630802 h 4596459"/>
              <a:gd name="connsiteX8904" fmla="*/ 4277018 w 4716235"/>
              <a:gd name="connsiteY8904" fmla="*/ 2626673 h 4596459"/>
              <a:gd name="connsiteX8905" fmla="*/ 4287754 w 4716235"/>
              <a:gd name="connsiteY8905" fmla="*/ 2637409 h 4596459"/>
              <a:gd name="connsiteX8906" fmla="*/ 4277018 w 4716235"/>
              <a:gd name="connsiteY8906" fmla="*/ 2648147 h 4596459"/>
              <a:gd name="connsiteX8907" fmla="*/ 4266281 w 4716235"/>
              <a:gd name="connsiteY8907" fmla="*/ 2637409 h 4596459"/>
              <a:gd name="connsiteX8908" fmla="*/ 4277018 w 4716235"/>
              <a:gd name="connsiteY8908" fmla="*/ 2626673 h 4596459"/>
              <a:gd name="connsiteX8909" fmla="*/ 4372658 w 4716235"/>
              <a:gd name="connsiteY8909" fmla="*/ 2625516 h 4596459"/>
              <a:gd name="connsiteX8910" fmla="*/ 4383396 w 4716235"/>
              <a:gd name="connsiteY8910" fmla="*/ 2636252 h 4596459"/>
              <a:gd name="connsiteX8911" fmla="*/ 4372658 w 4716235"/>
              <a:gd name="connsiteY8911" fmla="*/ 2646990 h 4596459"/>
              <a:gd name="connsiteX8912" fmla="*/ 4361922 w 4716235"/>
              <a:gd name="connsiteY8912" fmla="*/ 2636252 h 4596459"/>
              <a:gd name="connsiteX8913" fmla="*/ 4372658 w 4716235"/>
              <a:gd name="connsiteY8913" fmla="*/ 2625516 h 4596459"/>
              <a:gd name="connsiteX8914" fmla="*/ 4502160 w 4716235"/>
              <a:gd name="connsiteY8914" fmla="*/ 2623534 h 4596459"/>
              <a:gd name="connsiteX8915" fmla="*/ 4512898 w 4716235"/>
              <a:gd name="connsiteY8915" fmla="*/ 2634270 h 4596459"/>
              <a:gd name="connsiteX8916" fmla="*/ 4502160 w 4716235"/>
              <a:gd name="connsiteY8916" fmla="*/ 2645008 h 4596459"/>
              <a:gd name="connsiteX8917" fmla="*/ 4491424 w 4716235"/>
              <a:gd name="connsiteY8917" fmla="*/ 2634270 h 4596459"/>
              <a:gd name="connsiteX8918" fmla="*/ 4502160 w 4716235"/>
              <a:gd name="connsiteY8918" fmla="*/ 2623534 h 4596459"/>
              <a:gd name="connsiteX8919" fmla="*/ 4540151 w 4716235"/>
              <a:gd name="connsiteY8919" fmla="*/ 2622212 h 4596459"/>
              <a:gd name="connsiteX8920" fmla="*/ 4550887 w 4716235"/>
              <a:gd name="connsiteY8920" fmla="*/ 2632949 h 4596459"/>
              <a:gd name="connsiteX8921" fmla="*/ 4540151 w 4716235"/>
              <a:gd name="connsiteY8921" fmla="*/ 2643685 h 4596459"/>
              <a:gd name="connsiteX8922" fmla="*/ 4529415 w 4716235"/>
              <a:gd name="connsiteY8922" fmla="*/ 2632949 h 4596459"/>
              <a:gd name="connsiteX8923" fmla="*/ 4540151 w 4716235"/>
              <a:gd name="connsiteY8923" fmla="*/ 2622212 h 4596459"/>
              <a:gd name="connsiteX8924" fmla="*/ 4467142 w 4716235"/>
              <a:gd name="connsiteY8924" fmla="*/ 2619405 h 4596459"/>
              <a:gd name="connsiteX8925" fmla="*/ 4477880 w 4716235"/>
              <a:gd name="connsiteY8925" fmla="*/ 2630141 h 4596459"/>
              <a:gd name="connsiteX8926" fmla="*/ 4476144 w 4716235"/>
              <a:gd name="connsiteY8926" fmla="*/ 2631877 h 4596459"/>
              <a:gd name="connsiteX8927" fmla="*/ 4486468 w 4716235"/>
              <a:gd name="connsiteY8927" fmla="*/ 2642199 h 4596459"/>
              <a:gd name="connsiteX8928" fmla="*/ 4475731 w 4716235"/>
              <a:gd name="connsiteY8928" fmla="*/ 2652937 h 4596459"/>
              <a:gd name="connsiteX8929" fmla="*/ 4464995 w 4716235"/>
              <a:gd name="connsiteY8929" fmla="*/ 2642199 h 4596459"/>
              <a:gd name="connsiteX8930" fmla="*/ 4466729 w 4716235"/>
              <a:gd name="connsiteY8930" fmla="*/ 2640466 h 4596459"/>
              <a:gd name="connsiteX8931" fmla="*/ 4456405 w 4716235"/>
              <a:gd name="connsiteY8931" fmla="*/ 2630141 h 4596459"/>
              <a:gd name="connsiteX8932" fmla="*/ 4467142 w 4716235"/>
              <a:gd name="connsiteY8932" fmla="*/ 2619405 h 4596459"/>
              <a:gd name="connsiteX8933" fmla="*/ 4427498 w 4716235"/>
              <a:gd name="connsiteY8933" fmla="*/ 2617093 h 4596459"/>
              <a:gd name="connsiteX8934" fmla="*/ 4438235 w 4716235"/>
              <a:gd name="connsiteY8934" fmla="*/ 2627829 h 4596459"/>
              <a:gd name="connsiteX8935" fmla="*/ 4427498 w 4716235"/>
              <a:gd name="connsiteY8935" fmla="*/ 2638566 h 4596459"/>
              <a:gd name="connsiteX8936" fmla="*/ 4416762 w 4716235"/>
              <a:gd name="connsiteY8936" fmla="*/ 2627829 h 4596459"/>
              <a:gd name="connsiteX8937" fmla="*/ 4427498 w 4716235"/>
              <a:gd name="connsiteY8937" fmla="*/ 2617093 h 4596459"/>
              <a:gd name="connsiteX8938" fmla="*/ 3779492 w 4716235"/>
              <a:gd name="connsiteY8938" fmla="*/ 2616762 h 4596459"/>
              <a:gd name="connsiteX8939" fmla="*/ 3790230 w 4716235"/>
              <a:gd name="connsiteY8939" fmla="*/ 2627498 h 4596459"/>
              <a:gd name="connsiteX8940" fmla="*/ 3779492 w 4716235"/>
              <a:gd name="connsiteY8940" fmla="*/ 2638234 h 4596459"/>
              <a:gd name="connsiteX8941" fmla="*/ 3768755 w 4716235"/>
              <a:gd name="connsiteY8941" fmla="*/ 2627498 h 4596459"/>
              <a:gd name="connsiteX8942" fmla="*/ 3779492 w 4716235"/>
              <a:gd name="connsiteY8942" fmla="*/ 2616762 h 4596459"/>
              <a:gd name="connsiteX8943" fmla="*/ 3076645 w 4716235"/>
              <a:gd name="connsiteY8943" fmla="*/ 2615605 h 4596459"/>
              <a:gd name="connsiteX8944" fmla="*/ 3087383 w 4716235"/>
              <a:gd name="connsiteY8944" fmla="*/ 2626341 h 4596459"/>
              <a:gd name="connsiteX8945" fmla="*/ 3076645 w 4716235"/>
              <a:gd name="connsiteY8945" fmla="*/ 2637079 h 4596459"/>
              <a:gd name="connsiteX8946" fmla="*/ 3065908 w 4716235"/>
              <a:gd name="connsiteY8946" fmla="*/ 2626341 h 4596459"/>
              <a:gd name="connsiteX8947" fmla="*/ 3076645 w 4716235"/>
              <a:gd name="connsiteY8947" fmla="*/ 2615605 h 4596459"/>
              <a:gd name="connsiteX8948" fmla="*/ 4119930 w 4716235"/>
              <a:gd name="connsiteY8948" fmla="*/ 2615440 h 4596459"/>
              <a:gd name="connsiteX8949" fmla="*/ 4130666 w 4716235"/>
              <a:gd name="connsiteY8949" fmla="*/ 2626177 h 4596459"/>
              <a:gd name="connsiteX8950" fmla="*/ 4119930 w 4716235"/>
              <a:gd name="connsiteY8950" fmla="*/ 2636915 h 4596459"/>
              <a:gd name="connsiteX8951" fmla="*/ 4109194 w 4716235"/>
              <a:gd name="connsiteY8951" fmla="*/ 2626177 h 4596459"/>
              <a:gd name="connsiteX8952" fmla="*/ 4119930 w 4716235"/>
              <a:gd name="connsiteY8952" fmla="*/ 2615440 h 4596459"/>
              <a:gd name="connsiteX8953" fmla="*/ 4558322 w 4716235"/>
              <a:gd name="connsiteY8953" fmla="*/ 2611476 h 4596459"/>
              <a:gd name="connsiteX8954" fmla="*/ 4563772 w 4716235"/>
              <a:gd name="connsiteY8954" fmla="*/ 2616926 h 4596459"/>
              <a:gd name="connsiteX8955" fmla="*/ 4558322 w 4716235"/>
              <a:gd name="connsiteY8955" fmla="*/ 2622379 h 4596459"/>
              <a:gd name="connsiteX8956" fmla="*/ 4552871 w 4716235"/>
              <a:gd name="connsiteY8956" fmla="*/ 2616926 h 4596459"/>
              <a:gd name="connsiteX8957" fmla="*/ 4558322 w 4716235"/>
              <a:gd name="connsiteY8957" fmla="*/ 2611476 h 4596459"/>
              <a:gd name="connsiteX8958" fmla="*/ 4488615 w 4716235"/>
              <a:gd name="connsiteY8958" fmla="*/ 2609494 h 4596459"/>
              <a:gd name="connsiteX8959" fmla="*/ 4499351 w 4716235"/>
              <a:gd name="connsiteY8959" fmla="*/ 2620230 h 4596459"/>
              <a:gd name="connsiteX8960" fmla="*/ 4488615 w 4716235"/>
              <a:gd name="connsiteY8960" fmla="*/ 2630968 h 4596459"/>
              <a:gd name="connsiteX8961" fmla="*/ 4477878 w 4716235"/>
              <a:gd name="connsiteY8961" fmla="*/ 2620230 h 4596459"/>
              <a:gd name="connsiteX8962" fmla="*/ 4488615 w 4716235"/>
              <a:gd name="connsiteY8962" fmla="*/ 2609494 h 4596459"/>
              <a:gd name="connsiteX8963" fmla="*/ 4458717 w 4716235"/>
              <a:gd name="connsiteY8963" fmla="*/ 2606025 h 4596459"/>
              <a:gd name="connsiteX8964" fmla="*/ 4469454 w 4716235"/>
              <a:gd name="connsiteY8964" fmla="*/ 2616762 h 4596459"/>
              <a:gd name="connsiteX8965" fmla="*/ 4458717 w 4716235"/>
              <a:gd name="connsiteY8965" fmla="*/ 2627500 h 4596459"/>
              <a:gd name="connsiteX8966" fmla="*/ 4447981 w 4716235"/>
              <a:gd name="connsiteY8966" fmla="*/ 2616762 h 4596459"/>
              <a:gd name="connsiteX8967" fmla="*/ 4458717 w 4716235"/>
              <a:gd name="connsiteY8967" fmla="*/ 2606025 h 4596459"/>
              <a:gd name="connsiteX8968" fmla="*/ 4516861 w 4716235"/>
              <a:gd name="connsiteY8968" fmla="*/ 2604537 h 4596459"/>
              <a:gd name="connsiteX8969" fmla="*/ 4527597 w 4716235"/>
              <a:gd name="connsiteY8969" fmla="*/ 2615274 h 4596459"/>
              <a:gd name="connsiteX8970" fmla="*/ 4516861 w 4716235"/>
              <a:gd name="connsiteY8970" fmla="*/ 2626012 h 4596459"/>
              <a:gd name="connsiteX8971" fmla="*/ 4506125 w 4716235"/>
              <a:gd name="connsiteY8971" fmla="*/ 2615274 h 4596459"/>
              <a:gd name="connsiteX8972" fmla="*/ 4516861 w 4716235"/>
              <a:gd name="connsiteY8972" fmla="*/ 2604537 h 4596459"/>
              <a:gd name="connsiteX8973" fmla="*/ 407481 w 4716235"/>
              <a:gd name="connsiteY8973" fmla="*/ 2602226 h 4596459"/>
              <a:gd name="connsiteX8974" fmla="*/ 418218 w 4716235"/>
              <a:gd name="connsiteY8974" fmla="*/ 2612962 h 4596459"/>
              <a:gd name="connsiteX8975" fmla="*/ 407481 w 4716235"/>
              <a:gd name="connsiteY8975" fmla="*/ 2623700 h 4596459"/>
              <a:gd name="connsiteX8976" fmla="*/ 396745 w 4716235"/>
              <a:gd name="connsiteY8976" fmla="*/ 2612962 h 4596459"/>
              <a:gd name="connsiteX8977" fmla="*/ 407481 w 4716235"/>
              <a:gd name="connsiteY8977" fmla="*/ 2602226 h 4596459"/>
              <a:gd name="connsiteX8978" fmla="*/ 4400077 w 4716235"/>
              <a:gd name="connsiteY8978" fmla="*/ 2595783 h 4596459"/>
              <a:gd name="connsiteX8979" fmla="*/ 4410815 w 4716235"/>
              <a:gd name="connsiteY8979" fmla="*/ 2606520 h 4596459"/>
              <a:gd name="connsiteX8980" fmla="*/ 4400077 w 4716235"/>
              <a:gd name="connsiteY8980" fmla="*/ 2617258 h 4596459"/>
              <a:gd name="connsiteX8981" fmla="*/ 4389341 w 4716235"/>
              <a:gd name="connsiteY8981" fmla="*/ 2606520 h 4596459"/>
              <a:gd name="connsiteX8982" fmla="*/ 4400077 w 4716235"/>
              <a:gd name="connsiteY8982" fmla="*/ 2595783 h 4596459"/>
              <a:gd name="connsiteX8983" fmla="*/ 4318479 w 4716235"/>
              <a:gd name="connsiteY8983" fmla="*/ 2595783 h 4596459"/>
              <a:gd name="connsiteX8984" fmla="*/ 4329217 w 4716235"/>
              <a:gd name="connsiteY8984" fmla="*/ 2606520 h 4596459"/>
              <a:gd name="connsiteX8985" fmla="*/ 4318479 w 4716235"/>
              <a:gd name="connsiteY8985" fmla="*/ 2617258 h 4596459"/>
              <a:gd name="connsiteX8986" fmla="*/ 4307742 w 4716235"/>
              <a:gd name="connsiteY8986" fmla="*/ 2606520 h 4596459"/>
              <a:gd name="connsiteX8987" fmla="*/ 4318479 w 4716235"/>
              <a:gd name="connsiteY8987" fmla="*/ 2595783 h 4596459"/>
              <a:gd name="connsiteX8988" fmla="*/ 4479696 w 4716235"/>
              <a:gd name="connsiteY8988" fmla="*/ 2595619 h 4596459"/>
              <a:gd name="connsiteX8989" fmla="*/ 4490432 w 4716235"/>
              <a:gd name="connsiteY8989" fmla="*/ 2606355 h 4596459"/>
              <a:gd name="connsiteX8990" fmla="*/ 4479696 w 4716235"/>
              <a:gd name="connsiteY8990" fmla="*/ 2617091 h 4596459"/>
              <a:gd name="connsiteX8991" fmla="*/ 4468959 w 4716235"/>
              <a:gd name="connsiteY8991" fmla="*/ 2606355 h 4596459"/>
              <a:gd name="connsiteX8992" fmla="*/ 4479696 w 4716235"/>
              <a:gd name="connsiteY8992" fmla="*/ 2595619 h 4596459"/>
              <a:gd name="connsiteX8993" fmla="*/ 4445999 w 4716235"/>
              <a:gd name="connsiteY8993" fmla="*/ 2589342 h 4596459"/>
              <a:gd name="connsiteX8994" fmla="*/ 4456737 w 4716235"/>
              <a:gd name="connsiteY8994" fmla="*/ 2600079 h 4596459"/>
              <a:gd name="connsiteX8995" fmla="*/ 4445999 w 4716235"/>
              <a:gd name="connsiteY8995" fmla="*/ 2610817 h 4596459"/>
              <a:gd name="connsiteX8996" fmla="*/ 4435262 w 4716235"/>
              <a:gd name="connsiteY8996" fmla="*/ 2600079 h 4596459"/>
              <a:gd name="connsiteX8997" fmla="*/ 4445999 w 4716235"/>
              <a:gd name="connsiteY8997" fmla="*/ 2589342 h 4596459"/>
              <a:gd name="connsiteX8998" fmla="*/ 4501500 w 4716235"/>
              <a:gd name="connsiteY8998" fmla="*/ 2588515 h 4596459"/>
              <a:gd name="connsiteX8999" fmla="*/ 4512236 w 4716235"/>
              <a:gd name="connsiteY8999" fmla="*/ 2599252 h 4596459"/>
              <a:gd name="connsiteX9000" fmla="*/ 4501500 w 4716235"/>
              <a:gd name="connsiteY9000" fmla="*/ 2609990 h 4596459"/>
              <a:gd name="connsiteX9001" fmla="*/ 4490763 w 4716235"/>
              <a:gd name="connsiteY9001" fmla="*/ 2599252 h 4596459"/>
              <a:gd name="connsiteX9002" fmla="*/ 4501500 w 4716235"/>
              <a:gd name="connsiteY9002" fmla="*/ 2588515 h 4596459"/>
              <a:gd name="connsiteX9003" fmla="*/ 4532058 w 4716235"/>
              <a:gd name="connsiteY9003" fmla="*/ 2586698 h 4596459"/>
              <a:gd name="connsiteX9004" fmla="*/ 4542796 w 4716235"/>
              <a:gd name="connsiteY9004" fmla="*/ 2597434 h 4596459"/>
              <a:gd name="connsiteX9005" fmla="*/ 4532058 w 4716235"/>
              <a:gd name="connsiteY9005" fmla="*/ 2608172 h 4596459"/>
              <a:gd name="connsiteX9006" fmla="*/ 4521321 w 4716235"/>
              <a:gd name="connsiteY9006" fmla="*/ 2597434 h 4596459"/>
              <a:gd name="connsiteX9007" fmla="*/ 4532058 w 4716235"/>
              <a:gd name="connsiteY9007" fmla="*/ 2586698 h 4596459"/>
              <a:gd name="connsiteX9008" fmla="*/ 3237532 w 4716235"/>
              <a:gd name="connsiteY9008" fmla="*/ 2586698 h 4596459"/>
              <a:gd name="connsiteX9009" fmla="*/ 3248270 w 4716235"/>
              <a:gd name="connsiteY9009" fmla="*/ 2597434 h 4596459"/>
              <a:gd name="connsiteX9010" fmla="*/ 3237532 w 4716235"/>
              <a:gd name="connsiteY9010" fmla="*/ 2608172 h 4596459"/>
              <a:gd name="connsiteX9011" fmla="*/ 3226796 w 4716235"/>
              <a:gd name="connsiteY9011" fmla="*/ 2597434 h 4596459"/>
              <a:gd name="connsiteX9012" fmla="*/ 3237532 w 4716235"/>
              <a:gd name="connsiteY9012" fmla="*/ 2586698 h 4596459"/>
              <a:gd name="connsiteX9013" fmla="*/ 3877444 w 4716235"/>
              <a:gd name="connsiteY9013" fmla="*/ 2585376 h 4596459"/>
              <a:gd name="connsiteX9014" fmla="*/ 3888180 w 4716235"/>
              <a:gd name="connsiteY9014" fmla="*/ 2596113 h 4596459"/>
              <a:gd name="connsiteX9015" fmla="*/ 3877444 w 4716235"/>
              <a:gd name="connsiteY9015" fmla="*/ 2606851 h 4596459"/>
              <a:gd name="connsiteX9016" fmla="*/ 3866707 w 4716235"/>
              <a:gd name="connsiteY9016" fmla="*/ 2596113 h 4596459"/>
              <a:gd name="connsiteX9017" fmla="*/ 3877444 w 4716235"/>
              <a:gd name="connsiteY9017" fmla="*/ 2585376 h 4596459"/>
              <a:gd name="connsiteX9018" fmla="*/ 4181377 w 4716235"/>
              <a:gd name="connsiteY9018" fmla="*/ 2584055 h 4596459"/>
              <a:gd name="connsiteX9019" fmla="*/ 4192114 w 4716235"/>
              <a:gd name="connsiteY9019" fmla="*/ 2594791 h 4596459"/>
              <a:gd name="connsiteX9020" fmla="*/ 4181377 w 4716235"/>
              <a:gd name="connsiteY9020" fmla="*/ 2605529 h 4596459"/>
              <a:gd name="connsiteX9021" fmla="*/ 4170641 w 4716235"/>
              <a:gd name="connsiteY9021" fmla="*/ 2594791 h 4596459"/>
              <a:gd name="connsiteX9022" fmla="*/ 4181377 w 4716235"/>
              <a:gd name="connsiteY9022" fmla="*/ 2584055 h 4596459"/>
              <a:gd name="connsiteX9023" fmla="*/ 4472261 w 4716235"/>
              <a:gd name="connsiteY9023" fmla="*/ 2580751 h 4596459"/>
              <a:gd name="connsiteX9024" fmla="*/ 4482999 w 4716235"/>
              <a:gd name="connsiteY9024" fmla="*/ 2591488 h 4596459"/>
              <a:gd name="connsiteX9025" fmla="*/ 4472261 w 4716235"/>
              <a:gd name="connsiteY9025" fmla="*/ 2602226 h 4596459"/>
              <a:gd name="connsiteX9026" fmla="*/ 4461525 w 4716235"/>
              <a:gd name="connsiteY9026" fmla="*/ 2591488 h 4596459"/>
              <a:gd name="connsiteX9027" fmla="*/ 4472261 w 4716235"/>
              <a:gd name="connsiteY9027" fmla="*/ 2580751 h 4596459"/>
              <a:gd name="connsiteX9028" fmla="*/ 252705 w 4716235"/>
              <a:gd name="connsiteY9028" fmla="*/ 2573154 h 4596459"/>
              <a:gd name="connsiteX9029" fmla="*/ 263441 w 4716235"/>
              <a:gd name="connsiteY9029" fmla="*/ 2583890 h 4596459"/>
              <a:gd name="connsiteX9030" fmla="*/ 252705 w 4716235"/>
              <a:gd name="connsiteY9030" fmla="*/ 2594627 h 4596459"/>
              <a:gd name="connsiteX9031" fmla="*/ 241969 w 4716235"/>
              <a:gd name="connsiteY9031" fmla="*/ 2583890 h 4596459"/>
              <a:gd name="connsiteX9032" fmla="*/ 252705 w 4716235"/>
              <a:gd name="connsiteY9032" fmla="*/ 2573154 h 4596459"/>
              <a:gd name="connsiteX9033" fmla="*/ 4491753 w 4716235"/>
              <a:gd name="connsiteY9033" fmla="*/ 2572989 h 4596459"/>
              <a:gd name="connsiteX9034" fmla="*/ 4502490 w 4716235"/>
              <a:gd name="connsiteY9034" fmla="*/ 2583725 h 4596459"/>
              <a:gd name="connsiteX9035" fmla="*/ 4491753 w 4716235"/>
              <a:gd name="connsiteY9035" fmla="*/ 2594464 h 4596459"/>
              <a:gd name="connsiteX9036" fmla="*/ 4481017 w 4716235"/>
              <a:gd name="connsiteY9036" fmla="*/ 2583725 h 4596459"/>
              <a:gd name="connsiteX9037" fmla="*/ 4491753 w 4716235"/>
              <a:gd name="connsiteY9037" fmla="*/ 2572989 h 4596459"/>
              <a:gd name="connsiteX9038" fmla="*/ 4548080 w 4716235"/>
              <a:gd name="connsiteY9038" fmla="*/ 2570015 h 4596459"/>
              <a:gd name="connsiteX9039" fmla="*/ 4558818 w 4716235"/>
              <a:gd name="connsiteY9039" fmla="*/ 2580751 h 4596459"/>
              <a:gd name="connsiteX9040" fmla="*/ 4548080 w 4716235"/>
              <a:gd name="connsiteY9040" fmla="*/ 2591489 h 4596459"/>
              <a:gd name="connsiteX9041" fmla="*/ 4537343 w 4716235"/>
              <a:gd name="connsiteY9041" fmla="*/ 2580751 h 4596459"/>
              <a:gd name="connsiteX9042" fmla="*/ 4548080 w 4716235"/>
              <a:gd name="connsiteY9042" fmla="*/ 2570015 h 4596459"/>
              <a:gd name="connsiteX9043" fmla="*/ 4514548 w 4716235"/>
              <a:gd name="connsiteY9043" fmla="*/ 2568858 h 4596459"/>
              <a:gd name="connsiteX9044" fmla="*/ 4525286 w 4716235"/>
              <a:gd name="connsiteY9044" fmla="*/ 2579595 h 4596459"/>
              <a:gd name="connsiteX9045" fmla="*/ 4514548 w 4716235"/>
              <a:gd name="connsiteY9045" fmla="*/ 2590333 h 4596459"/>
              <a:gd name="connsiteX9046" fmla="*/ 4503811 w 4716235"/>
              <a:gd name="connsiteY9046" fmla="*/ 2579595 h 4596459"/>
              <a:gd name="connsiteX9047" fmla="*/ 4514548 w 4716235"/>
              <a:gd name="connsiteY9047" fmla="*/ 2568858 h 4596459"/>
              <a:gd name="connsiteX9048" fmla="*/ 4424195 w 4716235"/>
              <a:gd name="connsiteY9048" fmla="*/ 2567372 h 4596459"/>
              <a:gd name="connsiteX9049" fmla="*/ 4434933 w 4716235"/>
              <a:gd name="connsiteY9049" fmla="*/ 2578108 h 4596459"/>
              <a:gd name="connsiteX9050" fmla="*/ 4424195 w 4716235"/>
              <a:gd name="connsiteY9050" fmla="*/ 2588847 h 4596459"/>
              <a:gd name="connsiteX9051" fmla="*/ 4413458 w 4716235"/>
              <a:gd name="connsiteY9051" fmla="*/ 2578108 h 4596459"/>
              <a:gd name="connsiteX9052" fmla="*/ 4424195 w 4716235"/>
              <a:gd name="connsiteY9052" fmla="*/ 2567372 h 4596459"/>
              <a:gd name="connsiteX9053" fmla="*/ 4354983 w 4716235"/>
              <a:gd name="connsiteY9053" fmla="*/ 2566051 h 4596459"/>
              <a:gd name="connsiteX9054" fmla="*/ 4365720 w 4716235"/>
              <a:gd name="connsiteY9054" fmla="*/ 2576787 h 4596459"/>
              <a:gd name="connsiteX9055" fmla="*/ 4354983 w 4716235"/>
              <a:gd name="connsiteY9055" fmla="*/ 2587525 h 4596459"/>
              <a:gd name="connsiteX9056" fmla="*/ 4344247 w 4716235"/>
              <a:gd name="connsiteY9056" fmla="*/ 2576787 h 4596459"/>
              <a:gd name="connsiteX9057" fmla="*/ 4354983 w 4716235"/>
              <a:gd name="connsiteY9057" fmla="*/ 2566051 h 4596459"/>
              <a:gd name="connsiteX9058" fmla="*/ 4462352 w 4716235"/>
              <a:gd name="connsiteY9058" fmla="*/ 2562912 h 4596459"/>
              <a:gd name="connsiteX9059" fmla="*/ 4473088 w 4716235"/>
              <a:gd name="connsiteY9059" fmla="*/ 2573648 h 4596459"/>
              <a:gd name="connsiteX9060" fmla="*/ 4462352 w 4716235"/>
              <a:gd name="connsiteY9060" fmla="*/ 2584386 h 4596459"/>
              <a:gd name="connsiteX9061" fmla="*/ 4451616 w 4716235"/>
              <a:gd name="connsiteY9061" fmla="*/ 2573648 h 4596459"/>
              <a:gd name="connsiteX9062" fmla="*/ 4462352 w 4716235"/>
              <a:gd name="connsiteY9062" fmla="*/ 2562912 h 4596459"/>
              <a:gd name="connsiteX9063" fmla="*/ 3385370 w 4716235"/>
              <a:gd name="connsiteY9063" fmla="*/ 2557628 h 4596459"/>
              <a:gd name="connsiteX9064" fmla="*/ 3396106 w 4716235"/>
              <a:gd name="connsiteY9064" fmla="*/ 2568364 h 4596459"/>
              <a:gd name="connsiteX9065" fmla="*/ 3385370 w 4716235"/>
              <a:gd name="connsiteY9065" fmla="*/ 2579102 h 4596459"/>
              <a:gd name="connsiteX9066" fmla="*/ 3374634 w 4716235"/>
              <a:gd name="connsiteY9066" fmla="*/ 2568364 h 4596459"/>
              <a:gd name="connsiteX9067" fmla="*/ 3385370 w 4716235"/>
              <a:gd name="connsiteY9067" fmla="*/ 2557628 h 4596459"/>
              <a:gd name="connsiteX9068" fmla="*/ 4484817 w 4716235"/>
              <a:gd name="connsiteY9068" fmla="*/ 2556636 h 4596459"/>
              <a:gd name="connsiteX9069" fmla="*/ 4495553 w 4716235"/>
              <a:gd name="connsiteY9069" fmla="*/ 2567372 h 4596459"/>
              <a:gd name="connsiteX9070" fmla="*/ 4484817 w 4716235"/>
              <a:gd name="connsiteY9070" fmla="*/ 2578108 h 4596459"/>
              <a:gd name="connsiteX9071" fmla="*/ 4474080 w 4716235"/>
              <a:gd name="connsiteY9071" fmla="*/ 2567372 h 4596459"/>
              <a:gd name="connsiteX9072" fmla="*/ 4484817 w 4716235"/>
              <a:gd name="connsiteY9072" fmla="*/ 2556636 h 4596459"/>
              <a:gd name="connsiteX9073" fmla="*/ 3965816 w 4716235"/>
              <a:gd name="connsiteY9073" fmla="*/ 2554654 h 4596459"/>
              <a:gd name="connsiteX9074" fmla="*/ 3976554 w 4716235"/>
              <a:gd name="connsiteY9074" fmla="*/ 2565390 h 4596459"/>
              <a:gd name="connsiteX9075" fmla="*/ 3965816 w 4716235"/>
              <a:gd name="connsiteY9075" fmla="*/ 2576128 h 4596459"/>
              <a:gd name="connsiteX9076" fmla="*/ 3955080 w 4716235"/>
              <a:gd name="connsiteY9076" fmla="*/ 2565390 h 4596459"/>
              <a:gd name="connsiteX9077" fmla="*/ 3965816 w 4716235"/>
              <a:gd name="connsiteY9077" fmla="*/ 2554654 h 4596459"/>
              <a:gd name="connsiteX9078" fmla="*/ 4564763 w 4716235"/>
              <a:gd name="connsiteY9078" fmla="*/ 2554324 h 4596459"/>
              <a:gd name="connsiteX9079" fmla="*/ 4575501 w 4716235"/>
              <a:gd name="connsiteY9079" fmla="*/ 2565060 h 4596459"/>
              <a:gd name="connsiteX9080" fmla="*/ 4564763 w 4716235"/>
              <a:gd name="connsiteY9080" fmla="*/ 2575797 h 4596459"/>
              <a:gd name="connsiteX9081" fmla="*/ 4554026 w 4716235"/>
              <a:gd name="connsiteY9081" fmla="*/ 2565060 h 4596459"/>
              <a:gd name="connsiteX9082" fmla="*/ 4564763 w 4716235"/>
              <a:gd name="connsiteY9082" fmla="*/ 2554324 h 4596459"/>
              <a:gd name="connsiteX9083" fmla="*/ 4236218 w 4716235"/>
              <a:gd name="connsiteY9083" fmla="*/ 2553828 h 4596459"/>
              <a:gd name="connsiteX9084" fmla="*/ 4246954 w 4716235"/>
              <a:gd name="connsiteY9084" fmla="*/ 2564564 h 4596459"/>
              <a:gd name="connsiteX9085" fmla="*/ 4236218 w 4716235"/>
              <a:gd name="connsiteY9085" fmla="*/ 2575301 h 4596459"/>
              <a:gd name="connsiteX9086" fmla="*/ 4225481 w 4716235"/>
              <a:gd name="connsiteY9086" fmla="*/ 2564564 h 4596459"/>
              <a:gd name="connsiteX9087" fmla="*/ 4236218 w 4716235"/>
              <a:gd name="connsiteY9087" fmla="*/ 2553828 h 4596459"/>
              <a:gd name="connsiteX9088" fmla="*/ 4503646 w 4716235"/>
              <a:gd name="connsiteY9088" fmla="*/ 2551681 h 4596459"/>
              <a:gd name="connsiteX9089" fmla="*/ 4514383 w 4716235"/>
              <a:gd name="connsiteY9089" fmla="*/ 2562418 h 4596459"/>
              <a:gd name="connsiteX9090" fmla="*/ 4503646 w 4716235"/>
              <a:gd name="connsiteY9090" fmla="*/ 2573156 h 4596459"/>
              <a:gd name="connsiteX9091" fmla="*/ 4492910 w 4716235"/>
              <a:gd name="connsiteY9091" fmla="*/ 2562418 h 4596459"/>
              <a:gd name="connsiteX9092" fmla="*/ 4503646 w 4716235"/>
              <a:gd name="connsiteY9092" fmla="*/ 2551681 h 4596459"/>
              <a:gd name="connsiteX9093" fmla="*/ 4527929 w 4716235"/>
              <a:gd name="connsiteY9093" fmla="*/ 2550360 h 4596459"/>
              <a:gd name="connsiteX9094" fmla="*/ 4538667 w 4716235"/>
              <a:gd name="connsiteY9094" fmla="*/ 2561096 h 4596459"/>
              <a:gd name="connsiteX9095" fmla="*/ 4527929 w 4716235"/>
              <a:gd name="connsiteY9095" fmla="*/ 2571834 h 4596459"/>
              <a:gd name="connsiteX9096" fmla="*/ 4517192 w 4716235"/>
              <a:gd name="connsiteY9096" fmla="*/ 2561096 h 4596459"/>
              <a:gd name="connsiteX9097" fmla="*/ 4527929 w 4716235"/>
              <a:gd name="connsiteY9097" fmla="*/ 2550360 h 4596459"/>
              <a:gd name="connsiteX9098" fmla="*/ 4582273 w 4716235"/>
              <a:gd name="connsiteY9098" fmla="*/ 2546560 h 4596459"/>
              <a:gd name="connsiteX9099" fmla="*/ 4585908 w 4716235"/>
              <a:gd name="connsiteY9099" fmla="*/ 2550195 h 4596459"/>
              <a:gd name="connsiteX9100" fmla="*/ 4582273 w 4716235"/>
              <a:gd name="connsiteY9100" fmla="*/ 2553828 h 4596459"/>
              <a:gd name="connsiteX9101" fmla="*/ 4578640 w 4716235"/>
              <a:gd name="connsiteY9101" fmla="*/ 2550195 h 4596459"/>
              <a:gd name="connsiteX9102" fmla="*/ 4582273 w 4716235"/>
              <a:gd name="connsiteY9102" fmla="*/ 2546560 h 4596459"/>
              <a:gd name="connsiteX9103" fmla="*/ 110649 w 4716235"/>
              <a:gd name="connsiteY9103" fmla="*/ 2544082 h 4596459"/>
              <a:gd name="connsiteX9104" fmla="*/ 121386 w 4716235"/>
              <a:gd name="connsiteY9104" fmla="*/ 2554818 h 4596459"/>
              <a:gd name="connsiteX9105" fmla="*/ 110649 w 4716235"/>
              <a:gd name="connsiteY9105" fmla="*/ 2565556 h 4596459"/>
              <a:gd name="connsiteX9106" fmla="*/ 99913 w 4716235"/>
              <a:gd name="connsiteY9106" fmla="*/ 2554818 h 4596459"/>
              <a:gd name="connsiteX9107" fmla="*/ 110649 w 4716235"/>
              <a:gd name="connsiteY9107" fmla="*/ 2544082 h 4596459"/>
              <a:gd name="connsiteX9108" fmla="*/ 4445173 w 4716235"/>
              <a:gd name="connsiteY9108" fmla="*/ 2540118 h 4596459"/>
              <a:gd name="connsiteX9109" fmla="*/ 4455910 w 4716235"/>
              <a:gd name="connsiteY9109" fmla="*/ 2550854 h 4596459"/>
              <a:gd name="connsiteX9110" fmla="*/ 4445173 w 4716235"/>
              <a:gd name="connsiteY9110" fmla="*/ 2561590 h 4596459"/>
              <a:gd name="connsiteX9111" fmla="*/ 4434437 w 4716235"/>
              <a:gd name="connsiteY9111" fmla="*/ 2550854 h 4596459"/>
              <a:gd name="connsiteX9112" fmla="*/ 4445173 w 4716235"/>
              <a:gd name="connsiteY9112" fmla="*/ 2540118 h 4596459"/>
              <a:gd name="connsiteX9113" fmla="*/ 4476886 w 4716235"/>
              <a:gd name="connsiteY9113" fmla="*/ 2537639 h 4596459"/>
              <a:gd name="connsiteX9114" fmla="*/ 4487624 w 4716235"/>
              <a:gd name="connsiteY9114" fmla="*/ 2548376 h 4596459"/>
              <a:gd name="connsiteX9115" fmla="*/ 4476886 w 4716235"/>
              <a:gd name="connsiteY9115" fmla="*/ 2559114 h 4596459"/>
              <a:gd name="connsiteX9116" fmla="*/ 4466150 w 4716235"/>
              <a:gd name="connsiteY9116" fmla="*/ 2548376 h 4596459"/>
              <a:gd name="connsiteX9117" fmla="*/ 4476886 w 4716235"/>
              <a:gd name="connsiteY9117" fmla="*/ 2537639 h 4596459"/>
              <a:gd name="connsiteX9118" fmla="*/ 4387029 w 4716235"/>
              <a:gd name="connsiteY9118" fmla="*/ 2537310 h 4596459"/>
              <a:gd name="connsiteX9119" fmla="*/ 4397767 w 4716235"/>
              <a:gd name="connsiteY9119" fmla="*/ 2548046 h 4596459"/>
              <a:gd name="connsiteX9120" fmla="*/ 4387029 w 4716235"/>
              <a:gd name="connsiteY9120" fmla="*/ 2558783 h 4596459"/>
              <a:gd name="connsiteX9121" fmla="*/ 4376293 w 4716235"/>
              <a:gd name="connsiteY9121" fmla="*/ 2548046 h 4596459"/>
              <a:gd name="connsiteX9122" fmla="*/ 4387029 w 4716235"/>
              <a:gd name="connsiteY9122" fmla="*/ 2537310 h 4596459"/>
              <a:gd name="connsiteX9123" fmla="*/ 1724140 w 4716235"/>
              <a:gd name="connsiteY9123" fmla="*/ 2533842 h 4596459"/>
              <a:gd name="connsiteX9124" fmla="*/ 1734878 w 4716235"/>
              <a:gd name="connsiteY9124" fmla="*/ 2544578 h 4596459"/>
              <a:gd name="connsiteX9125" fmla="*/ 1724140 w 4716235"/>
              <a:gd name="connsiteY9125" fmla="*/ 2555316 h 4596459"/>
              <a:gd name="connsiteX9126" fmla="*/ 1713404 w 4716235"/>
              <a:gd name="connsiteY9126" fmla="*/ 2544578 h 4596459"/>
              <a:gd name="connsiteX9127" fmla="*/ 1724140 w 4716235"/>
              <a:gd name="connsiteY9127" fmla="*/ 2533842 h 4596459"/>
              <a:gd name="connsiteX9128" fmla="*/ 4541804 w 4716235"/>
              <a:gd name="connsiteY9128" fmla="*/ 2532850 h 4596459"/>
              <a:gd name="connsiteX9129" fmla="*/ 4552540 w 4716235"/>
              <a:gd name="connsiteY9129" fmla="*/ 2543586 h 4596459"/>
              <a:gd name="connsiteX9130" fmla="*/ 4541804 w 4716235"/>
              <a:gd name="connsiteY9130" fmla="*/ 2554324 h 4596459"/>
              <a:gd name="connsiteX9131" fmla="*/ 4531067 w 4716235"/>
              <a:gd name="connsiteY9131" fmla="*/ 2543586 h 4596459"/>
              <a:gd name="connsiteX9132" fmla="*/ 4541804 w 4716235"/>
              <a:gd name="connsiteY9132" fmla="*/ 2532850 h 4596459"/>
              <a:gd name="connsiteX9133" fmla="*/ 4515375 w 4716235"/>
              <a:gd name="connsiteY9133" fmla="*/ 2531363 h 4596459"/>
              <a:gd name="connsiteX9134" fmla="*/ 4526111 w 4716235"/>
              <a:gd name="connsiteY9134" fmla="*/ 2542100 h 4596459"/>
              <a:gd name="connsiteX9135" fmla="*/ 4515375 w 4716235"/>
              <a:gd name="connsiteY9135" fmla="*/ 2552836 h 4596459"/>
              <a:gd name="connsiteX9136" fmla="*/ 4507117 w 4716235"/>
              <a:gd name="connsiteY9136" fmla="*/ 2544578 h 4596459"/>
              <a:gd name="connsiteX9137" fmla="*/ 4496543 w 4716235"/>
              <a:gd name="connsiteY9137" fmla="*/ 2555148 h 4596459"/>
              <a:gd name="connsiteX9138" fmla="*/ 4485807 w 4716235"/>
              <a:gd name="connsiteY9138" fmla="*/ 2544411 h 4596459"/>
              <a:gd name="connsiteX9139" fmla="*/ 4496543 w 4716235"/>
              <a:gd name="connsiteY9139" fmla="*/ 2533675 h 4596459"/>
              <a:gd name="connsiteX9140" fmla="*/ 4504803 w 4716235"/>
              <a:gd name="connsiteY9140" fmla="*/ 2541935 h 4596459"/>
              <a:gd name="connsiteX9141" fmla="*/ 1965470 w 4716235"/>
              <a:gd name="connsiteY9141" fmla="*/ 2531363 h 4596459"/>
              <a:gd name="connsiteX9142" fmla="*/ 1976208 w 4716235"/>
              <a:gd name="connsiteY9142" fmla="*/ 2542100 h 4596459"/>
              <a:gd name="connsiteX9143" fmla="*/ 1965470 w 4716235"/>
              <a:gd name="connsiteY9143" fmla="*/ 2552836 h 4596459"/>
              <a:gd name="connsiteX9144" fmla="*/ 1954733 w 4716235"/>
              <a:gd name="connsiteY9144" fmla="*/ 2542100 h 4596459"/>
              <a:gd name="connsiteX9145" fmla="*/ 1965470 w 4716235"/>
              <a:gd name="connsiteY9145" fmla="*/ 2531363 h 4596459"/>
              <a:gd name="connsiteX9146" fmla="*/ 3520819 w 4716235"/>
              <a:gd name="connsiteY9146" fmla="*/ 2528721 h 4596459"/>
              <a:gd name="connsiteX9147" fmla="*/ 3531555 w 4716235"/>
              <a:gd name="connsiteY9147" fmla="*/ 2539457 h 4596459"/>
              <a:gd name="connsiteX9148" fmla="*/ 3520819 w 4716235"/>
              <a:gd name="connsiteY9148" fmla="*/ 2550195 h 4596459"/>
              <a:gd name="connsiteX9149" fmla="*/ 3510082 w 4716235"/>
              <a:gd name="connsiteY9149" fmla="*/ 2539457 h 4596459"/>
              <a:gd name="connsiteX9150" fmla="*/ 3520819 w 4716235"/>
              <a:gd name="connsiteY9150" fmla="*/ 2528721 h 4596459"/>
              <a:gd name="connsiteX9151" fmla="*/ 1484297 w 4716235"/>
              <a:gd name="connsiteY9151" fmla="*/ 2527399 h 4596459"/>
              <a:gd name="connsiteX9152" fmla="*/ 1495033 w 4716235"/>
              <a:gd name="connsiteY9152" fmla="*/ 2538135 h 4596459"/>
              <a:gd name="connsiteX9153" fmla="*/ 1484297 w 4716235"/>
              <a:gd name="connsiteY9153" fmla="*/ 2548874 h 4596459"/>
              <a:gd name="connsiteX9154" fmla="*/ 1473561 w 4716235"/>
              <a:gd name="connsiteY9154" fmla="*/ 2538135 h 4596459"/>
              <a:gd name="connsiteX9155" fmla="*/ 1484297 w 4716235"/>
              <a:gd name="connsiteY9155" fmla="*/ 2527399 h 4596459"/>
              <a:gd name="connsiteX9156" fmla="*/ 4045433 w 4716235"/>
              <a:gd name="connsiteY9156" fmla="*/ 2524921 h 4596459"/>
              <a:gd name="connsiteX9157" fmla="*/ 4056171 w 4716235"/>
              <a:gd name="connsiteY9157" fmla="*/ 2535657 h 4596459"/>
              <a:gd name="connsiteX9158" fmla="*/ 4045433 w 4716235"/>
              <a:gd name="connsiteY9158" fmla="*/ 2546394 h 4596459"/>
              <a:gd name="connsiteX9159" fmla="*/ 4034696 w 4716235"/>
              <a:gd name="connsiteY9159" fmla="*/ 2535657 h 4596459"/>
              <a:gd name="connsiteX9160" fmla="*/ 4045433 w 4716235"/>
              <a:gd name="connsiteY9160" fmla="*/ 2524921 h 4596459"/>
              <a:gd name="connsiteX9161" fmla="*/ 4284782 w 4716235"/>
              <a:gd name="connsiteY9161" fmla="*/ 2524591 h 4596459"/>
              <a:gd name="connsiteX9162" fmla="*/ 4295518 w 4716235"/>
              <a:gd name="connsiteY9162" fmla="*/ 2535328 h 4596459"/>
              <a:gd name="connsiteX9163" fmla="*/ 4284782 w 4716235"/>
              <a:gd name="connsiteY9163" fmla="*/ 2546066 h 4596459"/>
              <a:gd name="connsiteX9164" fmla="*/ 4274045 w 4716235"/>
              <a:gd name="connsiteY9164" fmla="*/ 2535328 h 4596459"/>
              <a:gd name="connsiteX9165" fmla="*/ 4284782 w 4716235"/>
              <a:gd name="connsiteY9165" fmla="*/ 2524591 h 4596459"/>
              <a:gd name="connsiteX9166" fmla="*/ 2201348 w 4716235"/>
              <a:gd name="connsiteY9166" fmla="*/ 2520792 h 4596459"/>
              <a:gd name="connsiteX9167" fmla="*/ 2212087 w 4716235"/>
              <a:gd name="connsiteY9167" fmla="*/ 2531528 h 4596459"/>
              <a:gd name="connsiteX9168" fmla="*/ 2201348 w 4716235"/>
              <a:gd name="connsiteY9168" fmla="*/ 2542265 h 4596459"/>
              <a:gd name="connsiteX9169" fmla="*/ 2190612 w 4716235"/>
              <a:gd name="connsiteY9169" fmla="*/ 2531528 h 4596459"/>
              <a:gd name="connsiteX9170" fmla="*/ 2201348 w 4716235"/>
              <a:gd name="connsiteY9170" fmla="*/ 2520792 h 4596459"/>
              <a:gd name="connsiteX9171" fmla="*/ 4556340 w 4716235"/>
              <a:gd name="connsiteY9171" fmla="*/ 2516331 h 4596459"/>
              <a:gd name="connsiteX9172" fmla="*/ 4567078 w 4716235"/>
              <a:gd name="connsiteY9172" fmla="*/ 2527068 h 4596459"/>
              <a:gd name="connsiteX9173" fmla="*/ 4556340 w 4716235"/>
              <a:gd name="connsiteY9173" fmla="*/ 2537806 h 4596459"/>
              <a:gd name="connsiteX9174" fmla="*/ 4545603 w 4716235"/>
              <a:gd name="connsiteY9174" fmla="*/ 2527068 h 4596459"/>
              <a:gd name="connsiteX9175" fmla="*/ 4556340 w 4716235"/>
              <a:gd name="connsiteY9175" fmla="*/ 2516331 h 4596459"/>
              <a:gd name="connsiteX9176" fmla="*/ 4463673 w 4716235"/>
              <a:gd name="connsiteY9176" fmla="*/ 2514020 h 4596459"/>
              <a:gd name="connsiteX9177" fmla="*/ 4474410 w 4716235"/>
              <a:gd name="connsiteY9177" fmla="*/ 2524756 h 4596459"/>
              <a:gd name="connsiteX9178" fmla="*/ 4463673 w 4716235"/>
              <a:gd name="connsiteY9178" fmla="*/ 2535494 h 4596459"/>
              <a:gd name="connsiteX9179" fmla="*/ 4452937 w 4716235"/>
              <a:gd name="connsiteY9179" fmla="*/ 2524756 h 4596459"/>
              <a:gd name="connsiteX9180" fmla="*/ 4463673 w 4716235"/>
              <a:gd name="connsiteY9180" fmla="*/ 2514020 h 4596459"/>
              <a:gd name="connsiteX9181" fmla="*/ 1252878 w 4716235"/>
              <a:gd name="connsiteY9181" fmla="*/ 2513689 h 4596459"/>
              <a:gd name="connsiteX9182" fmla="*/ 1263616 w 4716235"/>
              <a:gd name="connsiteY9182" fmla="*/ 2524425 h 4596459"/>
              <a:gd name="connsiteX9183" fmla="*/ 1252878 w 4716235"/>
              <a:gd name="connsiteY9183" fmla="*/ 2535163 h 4596459"/>
              <a:gd name="connsiteX9184" fmla="*/ 1242142 w 4716235"/>
              <a:gd name="connsiteY9184" fmla="*/ 2524425 h 4596459"/>
              <a:gd name="connsiteX9185" fmla="*/ 1252878 w 4716235"/>
              <a:gd name="connsiteY9185" fmla="*/ 2513689 h 4596459"/>
              <a:gd name="connsiteX9186" fmla="*/ 4507611 w 4716235"/>
              <a:gd name="connsiteY9186" fmla="*/ 2512036 h 4596459"/>
              <a:gd name="connsiteX9187" fmla="*/ 4517438 w 4716235"/>
              <a:gd name="connsiteY9187" fmla="*/ 2521865 h 4596459"/>
              <a:gd name="connsiteX9188" fmla="*/ 4527101 w 4716235"/>
              <a:gd name="connsiteY9188" fmla="*/ 2512202 h 4596459"/>
              <a:gd name="connsiteX9189" fmla="*/ 4537838 w 4716235"/>
              <a:gd name="connsiteY9189" fmla="*/ 2522939 h 4596459"/>
              <a:gd name="connsiteX9190" fmla="*/ 4527101 w 4716235"/>
              <a:gd name="connsiteY9190" fmla="*/ 2533677 h 4596459"/>
              <a:gd name="connsiteX9191" fmla="*/ 4517274 w 4716235"/>
              <a:gd name="connsiteY9191" fmla="*/ 2523847 h 4596459"/>
              <a:gd name="connsiteX9192" fmla="*/ 4507611 w 4716235"/>
              <a:gd name="connsiteY9192" fmla="*/ 2533510 h 4596459"/>
              <a:gd name="connsiteX9193" fmla="*/ 4499601 w 4716235"/>
              <a:gd name="connsiteY9193" fmla="*/ 2525498 h 4596459"/>
              <a:gd name="connsiteX9194" fmla="*/ 4490102 w 4716235"/>
              <a:gd name="connsiteY9194" fmla="*/ 2534997 h 4596459"/>
              <a:gd name="connsiteX9195" fmla="*/ 4479366 w 4716235"/>
              <a:gd name="connsiteY9195" fmla="*/ 2524260 h 4596459"/>
              <a:gd name="connsiteX9196" fmla="*/ 4490102 w 4716235"/>
              <a:gd name="connsiteY9196" fmla="*/ 2513524 h 4596459"/>
              <a:gd name="connsiteX9197" fmla="*/ 4498113 w 4716235"/>
              <a:gd name="connsiteY9197" fmla="*/ 2521534 h 4596459"/>
              <a:gd name="connsiteX9198" fmla="*/ 4415109 w 4716235"/>
              <a:gd name="connsiteY9198" fmla="*/ 2509889 h 4596459"/>
              <a:gd name="connsiteX9199" fmla="*/ 4425846 w 4716235"/>
              <a:gd name="connsiteY9199" fmla="*/ 2520625 h 4596459"/>
              <a:gd name="connsiteX9200" fmla="*/ 4415109 w 4716235"/>
              <a:gd name="connsiteY9200" fmla="*/ 2531363 h 4596459"/>
              <a:gd name="connsiteX9201" fmla="*/ 4404373 w 4716235"/>
              <a:gd name="connsiteY9201" fmla="*/ 2520625 h 4596459"/>
              <a:gd name="connsiteX9202" fmla="*/ 4415109 w 4716235"/>
              <a:gd name="connsiteY9202" fmla="*/ 2509889 h 4596459"/>
              <a:gd name="connsiteX9203" fmla="*/ 2426656 w 4716235"/>
              <a:gd name="connsiteY9203" fmla="*/ 2503942 h 4596459"/>
              <a:gd name="connsiteX9204" fmla="*/ 2437394 w 4716235"/>
              <a:gd name="connsiteY9204" fmla="*/ 2514679 h 4596459"/>
              <a:gd name="connsiteX9205" fmla="*/ 2426656 w 4716235"/>
              <a:gd name="connsiteY9205" fmla="*/ 2525417 h 4596459"/>
              <a:gd name="connsiteX9206" fmla="*/ 2415919 w 4716235"/>
              <a:gd name="connsiteY9206" fmla="*/ 2514679 h 4596459"/>
              <a:gd name="connsiteX9207" fmla="*/ 2426656 w 4716235"/>
              <a:gd name="connsiteY9207" fmla="*/ 2503942 h 4596459"/>
              <a:gd name="connsiteX9208" fmla="*/ 4571701 w 4716235"/>
              <a:gd name="connsiteY9208" fmla="*/ 2500970 h 4596459"/>
              <a:gd name="connsiteX9209" fmla="*/ 4582438 w 4716235"/>
              <a:gd name="connsiteY9209" fmla="*/ 2511706 h 4596459"/>
              <a:gd name="connsiteX9210" fmla="*/ 4571701 w 4716235"/>
              <a:gd name="connsiteY9210" fmla="*/ 2522444 h 4596459"/>
              <a:gd name="connsiteX9211" fmla="*/ 4560965 w 4716235"/>
              <a:gd name="connsiteY9211" fmla="*/ 2511706 h 4596459"/>
              <a:gd name="connsiteX9212" fmla="*/ 4571701 w 4716235"/>
              <a:gd name="connsiteY9212" fmla="*/ 2500970 h 4596459"/>
              <a:gd name="connsiteX9213" fmla="*/ 3644372 w 4716235"/>
              <a:gd name="connsiteY9213" fmla="*/ 2500145 h 4596459"/>
              <a:gd name="connsiteX9214" fmla="*/ 3655111 w 4716235"/>
              <a:gd name="connsiteY9214" fmla="*/ 2510881 h 4596459"/>
              <a:gd name="connsiteX9215" fmla="*/ 3644372 w 4716235"/>
              <a:gd name="connsiteY9215" fmla="*/ 2521617 h 4596459"/>
              <a:gd name="connsiteX9216" fmla="*/ 3633636 w 4716235"/>
              <a:gd name="connsiteY9216" fmla="*/ 2510881 h 4596459"/>
              <a:gd name="connsiteX9217" fmla="*/ 3644372 w 4716235"/>
              <a:gd name="connsiteY9217" fmla="*/ 2500145 h 4596459"/>
              <a:gd name="connsiteX9218" fmla="*/ 4327729 w 4716235"/>
              <a:gd name="connsiteY9218" fmla="*/ 2496345 h 4596459"/>
              <a:gd name="connsiteX9219" fmla="*/ 4338467 w 4716235"/>
              <a:gd name="connsiteY9219" fmla="*/ 2507081 h 4596459"/>
              <a:gd name="connsiteX9220" fmla="*/ 4327729 w 4716235"/>
              <a:gd name="connsiteY9220" fmla="*/ 2517819 h 4596459"/>
              <a:gd name="connsiteX9221" fmla="*/ 4316992 w 4716235"/>
              <a:gd name="connsiteY9221" fmla="*/ 2507081 h 4596459"/>
              <a:gd name="connsiteX9222" fmla="*/ 4327729 w 4716235"/>
              <a:gd name="connsiteY9222" fmla="*/ 2496345 h 4596459"/>
              <a:gd name="connsiteX9223" fmla="*/ 4117122 w 4716235"/>
              <a:gd name="connsiteY9223" fmla="*/ 2496014 h 4596459"/>
              <a:gd name="connsiteX9224" fmla="*/ 4127860 w 4716235"/>
              <a:gd name="connsiteY9224" fmla="*/ 2506750 h 4596459"/>
              <a:gd name="connsiteX9225" fmla="*/ 4117122 w 4716235"/>
              <a:gd name="connsiteY9225" fmla="*/ 2517486 h 4596459"/>
              <a:gd name="connsiteX9226" fmla="*/ 4106386 w 4716235"/>
              <a:gd name="connsiteY9226" fmla="*/ 2506750 h 4596459"/>
              <a:gd name="connsiteX9227" fmla="*/ 4117122 w 4716235"/>
              <a:gd name="connsiteY9227" fmla="*/ 2496014 h 4596459"/>
              <a:gd name="connsiteX9228" fmla="*/ 1033849 w 4716235"/>
              <a:gd name="connsiteY9228" fmla="*/ 2494692 h 4596459"/>
              <a:gd name="connsiteX9229" fmla="*/ 1044587 w 4716235"/>
              <a:gd name="connsiteY9229" fmla="*/ 2505429 h 4596459"/>
              <a:gd name="connsiteX9230" fmla="*/ 1033849 w 4716235"/>
              <a:gd name="connsiteY9230" fmla="*/ 2516165 h 4596459"/>
              <a:gd name="connsiteX9231" fmla="*/ 1023112 w 4716235"/>
              <a:gd name="connsiteY9231" fmla="*/ 2505429 h 4596459"/>
              <a:gd name="connsiteX9232" fmla="*/ 1033849 w 4716235"/>
              <a:gd name="connsiteY9232" fmla="*/ 2494692 h 4596459"/>
              <a:gd name="connsiteX9233" fmla="*/ 4539326 w 4716235"/>
              <a:gd name="connsiteY9233" fmla="*/ 2494198 h 4596459"/>
              <a:gd name="connsiteX9234" fmla="*/ 4550064 w 4716235"/>
              <a:gd name="connsiteY9234" fmla="*/ 2504934 h 4596459"/>
              <a:gd name="connsiteX9235" fmla="*/ 4539326 w 4716235"/>
              <a:gd name="connsiteY9235" fmla="*/ 2515671 h 4596459"/>
              <a:gd name="connsiteX9236" fmla="*/ 4528589 w 4716235"/>
              <a:gd name="connsiteY9236" fmla="*/ 2504934 h 4596459"/>
              <a:gd name="connsiteX9237" fmla="*/ 4539326 w 4716235"/>
              <a:gd name="connsiteY9237" fmla="*/ 2494198 h 4596459"/>
              <a:gd name="connsiteX9238" fmla="*/ 4501829 w 4716235"/>
              <a:gd name="connsiteY9238" fmla="*/ 2490563 h 4596459"/>
              <a:gd name="connsiteX9239" fmla="*/ 4510585 w 4716235"/>
              <a:gd name="connsiteY9239" fmla="*/ 2499319 h 4596459"/>
              <a:gd name="connsiteX9240" fmla="*/ 4518514 w 4716235"/>
              <a:gd name="connsiteY9240" fmla="*/ 2491389 h 4596459"/>
              <a:gd name="connsiteX9241" fmla="*/ 4529250 w 4716235"/>
              <a:gd name="connsiteY9241" fmla="*/ 2502125 h 4596459"/>
              <a:gd name="connsiteX9242" fmla="*/ 4518514 w 4716235"/>
              <a:gd name="connsiteY9242" fmla="*/ 2512863 h 4596459"/>
              <a:gd name="connsiteX9243" fmla="*/ 4509758 w 4716235"/>
              <a:gd name="connsiteY9243" fmla="*/ 2504107 h 4596459"/>
              <a:gd name="connsiteX9244" fmla="*/ 4501829 w 4716235"/>
              <a:gd name="connsiteY9244" fmla="*/ 2512036 h 4596459"/>
              <a:gd name="connsiteX9245" fmla="*/ 4491093 w 4716235"/>
              <a:gd name="connsiteY9245" fmla="*/ 2501300 h 4596459"/>
              <a:gd name="connsiteX9246" fmla="*/ 4501829 w 4716235"/>
              <a:gd name="connsiteY9246" fmla="*/ 2490563 h 4596459"/>
              <a:gd name="connsiteX9247" fmla="*/ 4479860 w 4716235"/>
              <a:gd name="connsiteY9247" fmla="*/ 2489077 h 4596459"/>
              <a:gd name="connsiteX9248" fmla="*/ 4490597 w 4716235"/>
              <a:gd name="connsiteY9248" fmla="*/ 2499813 h 4596459"/>
              <a:gd name="connsiteX9249" fmla="*/ 4479860 w 4716235"/>
              <a:gd name="connsiteY9249" fmla="*/ 2510551 h 4596459"/>
              <a:gd name="connsiteX9250" fmla="*/ 4469124 w 4716235"/>
              <a:gd name="connsiteY9250" fmla="*/ 2499813 h 4596459"/>
              <a:gd name="connsiteX9251" fmla="*/ 4479860 w 4716235"/>
              <a:gd name="connsiteY9251" fmla="*/ 2489077 h 4596459"/>
              <a:gd name="connsiteX9252" fmla="*/ 4587723 w 4716235"/>
              <a:gd name="connsiteY9252" fmla="*/ 2486268 h 4596459"/>
              <a:gd name="connsiteX9253" fmla="*/ 4598460 w 4716235"/>
              <a:gd name="connsiteY9253" fmla="*/ 2497004 h 4596459"/>
              <a:gd name="connsiteX9254" fmla="*/ 4587723 w 4716235"/>
              <a:gd name="connsiteY9254" fmla="*/ 2507742 h 4596459"/>
              <a:gd name="connsiteX9255" fmla="*/ 4576987 w 4716235"/>
              <a:gd name="connsiteY9255" fmla="*/ 2497004 h 4596459"/>
              <a:gd name="connsiteX9256" fmla="*/ 4587723 w 4716235"/>
              <a:gd name="connsiteY9256" fmla="*/ 2486268 h 4596459"/>
              <a:gd name="connsiteX9257" fmla="*/ 4439721 w 4716235"/>
              <a:gd name="connsiteY9257" fmla="*/ 2483460 h 4596459"/>
              <a:gd name="connsiteX9258" fmla="*/ 4450459 w 4716235"/>
              <a:gd name="connsiteY9258" fmla="*/ 2494196 h 4596459"/>
              <a:gd name="connsiteX9259" fmla="*/ 4439721 w 4716235"/>
              <a:gd name="connsiteY9259" fmla="*/ 2504934 h 4596459"/>
              <a:gd name="connsiteX9260" fmla="*/ 4428985 w 4716235"/>
              <a:gd name="connsiteY9260" fmla="*/ 2494196 h 4596459"/>
              <a:gd name="connsiteX9261" fmla="*/ 4439721 w 4716235"/>
              <a:gd name="connsiteY9261" fmla="*/ 2483460 h 4596459"/>
              <a:gd name="connsiteX9262" fmla="*/ 2638254 w 4716235"/>
              <a:gd name="connsiteY9262" fmla="*/ 2483295 h 4596459"/>
              <a:gd name="connsiteX9263" fmla="*/ 2648991 w 4716235"/>
              <a:gd name="connsiteY9263" fmla="*/ 2494032 h 4596459"/>
              <a:gd name="connsiteX9264" fmla="*/ 2638254 w 4716235"/>
              <a:gd name="connsiteY9264" fmla="*/ 2504770 h 4596459"/>
              <a:gd name="connsiteX9265" fmla="*/ 2627518 w 4716235"/>
              <a:gd name="connsiteY9265" fmla="*/ 2494032 h 4596459"/>
              <a:gd name="connsiteX9266" fmla="*/ 2638254 w 4716235"/>
              <a:gd name="connsiteY9266" fmla="*/ 2483295 h 4596459"/>
              <a:gd name="connsiteX9267" fmla="*/ 4604904 w 4716235"/>
              <a:gd name="connsiteY9267" fmla="*/ 2481974 h 4596459"/>
              <a:gd name="connsiteX9268" fmla="*/ 4606555 w 4716235"/>
              <a:gd name="connsiteY9268" fmla="*/ 2483626 h 4596459"/>
              <a:gd name="connsiteX9269" fmla="*/ 4604904 w 4716235"/>
              <a:gd name="connsiteY9269" fmla="*/ 2485277 h 4596459"/>
              <a:gd name="connsiteX9270" fmla="*/ 4603251 w 4716235"/>
              <a:gd name="connsiteY9270" fmla="*/ 2483626 h 4596459"/>
              <a:gd name="connsiteX9271" fmla="*/ 4604904 w 4716235"/>
              <a:gd name="connsiteY9271" fmla="*/ 2481974 h 4596459"/>
              <a:gd name="connsiteX9272" fmla="*/ 4551879 w 4716235"/>
              <a:gd name="connsiteY9272" fmla="*/ 2477184 h 4596459"/>
              <a:gd name="connsiteX9273" fmla="*/ 4562616 w 4716235"/>
              <a:gd name="connsiteY9273" fmla="*/ 2487920 h 4596459"/>
              <a:gd name="connsiteX9274" fmla="*/ 4551879 w 4716235"/>
              <a:gd name="connsiteY9274" fmla="*/ 2498658 h 4596459"/>
              <a:gd name="connsiteX9275" fmla="*/ 4541143 w 4716235"/>
              <a:gd name="connsiteY9275" fmla="*/ 2487920 h 4596459"/>
              <a:gd name="connsiteX9276" fmla="*/ 4551879 w 4716235"/>
              <a:gd name="connsiteY9276" fmla="*/ 2477184 h 4596459"/>
              <a:gd name="connsiteX9277" fmla="*/ 828857 w 4716235"/>
              <a:gd name="connsiteY9277" fmla="*/ 2472724 h 4596459"/>
              <a:gd name="connsiteX9278" fmla="*/ 839596 w 4716235"/>
              <a:gd name="connsiteY9278" fmla="*/ 2483460 h 4596459"/>
              <a:gd name="connsiteX9279" fmla="*/ 828857 w 4716235"/>
              <a:gd name="connsiteY9279" fmla="*/ 2494198 h 4596459"/>
              <a:gd name="connsiteX9280" fmla="*/ 818121 w 4716235"/>
              <a:gd name="connsiteY9280" fmla="*/ 2483460 h 4596459"/>
              <a:gd name="connsiteX9281" fmla="*/ 828857 w 4716235"/>
              <a:gd name="connsiteY9281" fmla="*/ 2472724 h 4596459"/>
              <a:gd name="connsiteX9282" fmla="*/ 3756862 w 4716235"/>
              <a:gd name="connsiteY9282" fmla="*/ 2472063 h 4596459"/>
              <a:gd name="connsiteX9283" fmla="*/ 3767600 w 4716235"/>
              <a:gd name="connsiteY9283" fmla="*/ 2482799 h 4596459"/>
              <a:gd name="connsiteX9284" fmla="*/ 3756862 w 4716235"/>
              <a:gd name="connsiteY9284" fmla="*/ 2493537 h 4596459"/>
              <a:gd name="connsiteX9285" fmla="*/ 3746126 w 4716235"/>
              <a:gd name="connsiteY9285" fmla="*/ 2482799 h 4596459"/>
              <a:gd name="connsiteX9286" fmla="*/ 3756862 w 4716235"/>
              <a:gd name="connsiteY9286" fmla="*/ 2472063 h 4596459"/>
              <a:gd name="connsiteX9287" fmla="*/ 4365555 w 4716235"/>
              <a:gd name="connsiteY9287" fmla="*/ 2469255 h 4596459"/>
              <a:gd name="connsiteX9288" fmla="*/ 4376291 w 4716235"/>
              <a:gd name="connsiteY9288" fmla="*/ 2479992 h 4596459"/>
              <a:gd name="connsiteX9289" fmla="*/ 4365555 w 4716235"/>
              <a:gd name="connsiteY9289" fmla="*/ 2490730 h 4596459"/>
              <a:gd name="connsiteX9290" fmla="*/ 4354819 w 4716235"/>
              <a:gd name="connsiteY9290" fmla="*/ 2479992 h 4596459"/>
              <a:gd name="connsiteX9291" fmla="*/ 4365555 w 4716235"/>
              <a:gd name="connsiteY9291" fmla="*/ 2469255 h 4596459"/>
              <a:gd name="connsiteX9292" fmla="*/ 4512897 w 4716235"/>
              <a:gd name="connsiteY9292" fmla="*/ 2468759 h 4596459"/>
              <a:gd name="connsiteX9293" fmla="*/ 4522560 w 4716235"/>
              <a:gd name="connsiteY9293" fmla="*/ 2478422 h 4596459"/>
              <a:gd name="connsiteX9294" fmla="*/ 4529084 w 4716235"/>
              <a:gd name="connsiteY9294" fmla="*/ 2471898 h 4596459"/>
              <a:gd name="connsiteX9295" fmla="*/ 4539822 w 4716235"/>
              <a:gd name="connsiteY9295" fmla="*/ 2482635 h 4596459"/>
              <a:gd name="connsiteX9296" fmla="*/ 4529084 w 4716235"/>
              <a:gd name="connsiteY9296" fmla="*/ 2493373 h 4596459"/>
              <a:gd name="connsiteX9297" fmla="*/ 4519421 w 4716235"/>
              <a:gd name="connsiteY9297" fmla="*/ 2483710 h 4596459"/>
              <a:gd name="connsiteX9298" fmla="*/ 4512897 w 4716235"/>
              <a:gd name="connsiteY9298" fmla="*/ 2490234 h 4596459"/>
              <a:gd name="connsiteX9299" fmla="*/ 4502160 w 4716235"/>
              <a:gd name="connsiteY9299" fmla="*/ 2479496 h 4596459"/>
              <a:gd name="connsiteX9300" fmla="*/ 4512897 w 4716235"/>
              <a:gd name="connsiteY9300" fmla="*/ 2468759 h 4596459"/>
              <a:gd name="connsiteX9301" fmla="*/ 4181048 w 4716235"/>
              <a:gd name="connsiteY9301" fmla="*/ 2468099 h 4596459"/>
              <a:gd name="connsiteX9302" fmla="*/ 4191786 w 4716235"/>
              <a:gd name="connsiteY9302" fmla="*/ 2478835 h 4596459"/>
              <a:gd name="connsiteX9303" fmla="*/ 4181048 w 4716235"/>
              <a:gd name="connsiteY9303" fmla="*/ 2489571 h 4596459"/>
              <a:gd name="connsiteX9304" fmla="*/ 4170311 w 4716235"/>
              <a:gd name="connsiteY9304" fmla="*/ 2478835 h 4596459"/>
              <a:gd name="connsiteX9305" fmla="*/ 4181048 w 4716235"/>
              <a:gd name="connsiteY9305" fmla="*/ 2468099 h 4596459"/>
              <a:gd name="connsiteX9306" fmla="*/ 4494065 w 4716235"/>
              <a:gd name="connsiteY9306" fmla="*/ 2465291 h 4596459"/>
              <a:gd name="connsiteX9307" fmla="*/ 4504801 w 4716235"/>
              <a:gd name="connsiteY9307" fmla="*/ 2476027 h 4596459"/>
              <a:gd name="connsiteX9308" fmla="*/ 4494065 w 4716235"/>
              <a:gd name="connsiteY9308" fmla="*/ 2486764 h 4596459"/>
              <a:gd name="connsiteX9309" fmla="*/ 4483329 w 4716235"/>
              <a:gd name="connsiteY9309" fmla="*/ 2476027 h 4596459"/>
              <a:gd name="connsiteX9310" fmla="*/ 4494065 w 4716235"/>
              <a:gd name="connsiteY9310" fmla="*/ 2465291 h 4596459"/>
              <a:gd name="connsiteX9311" fmla="*/ 4565094 w 4716235"/>
              <a:gd name="connsiteY9311" fmla="*/ 2461162 h 4596459"/>
              <a:gd name="connsiteX9312" fmla="*/ 4575832 w 4716235"/>
              <a:gd name="connsiteY9312" fmla="*/ 2471898 h 4596459"/>
              <a:gd name="connsiteX9313" fmla="*/ 4565094 w 4716235"/>
              <a:gd name="connsiteY9313" fmla="*/ 2482635 h 4596459"/>
              <a:gd name="connsiteX9314" fmla="*/ 4554358 w 4716235"/>
              <a:gd name="connsiteY9314" fmla="*/ 2471898 h 4596459"/>
              <a:gd name="connsiteX9315" fmla="*/ 4565094 w 4716235"/>
              <a:gd name="connsiteY9315" fmla="*/ 2461162 h 4596459"/>
              <a:gd name="connsiteX9316" fmla="*/ 2835315 w 4716235"/>
              <a:gd name="connsiteY9316" fmla="*/ 2460335 h 4596459"/>
              <a:gd name="connsiteX9317" fmla="*/ 2846053 w 4716235"/>
              <a:gd name="connsiteY9317" fmla="*/ 2471071 h 4596459"/>
              <a:gd name="connsiteX9318" fmla="*/ 2835315 w 4716235"/>
              <a:gd name="connsiteY9318" fmla="*/ 2481809 h 4596459"/>
              <a:gd name="connsiteX9319" fmla="*/ 2824579 w 4716235"/>
              <a:gd name="connsiteY9319" fmla="*/ 2471071 h 4596459"/>
              <a:gd name="connsiteX9320" fmla="*/ 2835315 w 4716235"/>
              <a:gd name="connsiteY9320" fmla="*/ 2460335 h 4596459"/>
              <a:gd name="connsiteX9321" fmla="*/ 4461029 w 4716235"/>
              <a:gd name="connsiteY9321" fmla="*/ 2458188 h 4596459"/>
              <a:gd name="connsiteX9322" fmla="*/ 4471765 w 4716235"/>
              <a:gd name="connsiteY9322" fmla="*/ 2468924 h 4596459"/>
              <a:gd name="connsiteX9323" fmla="*/ 4461029 w 4716235"/>
              <a:gd name="connsiteY9323" fmla="*/ 2479662 h 4596459"/>
              <a:gd name="connsiteX9324" fmla="*/ 4450292 w 4716235"/>
              <a:gd name="connsiteY9324" fmla="*/ 2468924 h 4596459"/>
              <a:gd name="connsiteX9325" fmla="*/ 4461029 w 4716235"/>
              <a:gd name="connsiteY9325" fmla="*/ 2458188 h 4596459"/>
              <a:gd name="connsiteX9326" fmla="*/ 4539822 w 4716235"/>
              <a:gd name="connsiteY9326" fmla="*/ 2453398 h 4596459"/>
              <a:gd name="connsiteX9327" fmla="*/ 4550560 w 4716235"/>
              <a:gd name="connsiteY9327" fmla="*/ 2464134 h 4596459"/>
              <a:gd name="connsiteX9328" fmla="*/ 4539822 w 4716235"/>
              <a:gd name="connsiteY9328" fmla="*/ 2474871 h 4596459"/>
              <a:gd name="connsiteX9329" fmla="*/ 4529085 w 4716235"/>
              <a:gd name="connsiteY9329" fmla="*/ 2464134 h 4596459"/>
              <a:gd name="connsiteX9330" fmla="*/ 4539822 w 4716235"/>
              <a:gd name="connsiteY9330" fmla="*/ 2453398 h 4596459"/>
              <a:gd name="connsiteX9331" fmla="*/ 638735 w 4716235"/>
              <a:gd name="connsiteY9331" fmla="*/ 2449102 h 4596459"/>
              <a:gd name="connsiteX9332" fmla="*/ 649471 w 4716235"/>
              <a:gd name="connsiteY9332" fmla="*/ 2459839 h 4596459"/>
              <a:gd name="connsiteX9333" fmla="*/ 638735 w 4716235"/>
              <a:gd name="connsiteY9333" fmla="*/ 2470577 h 4596459"/>
              <a:gd name="connsiteX9334" fmla="*/ 627999 w 4716235"/>
              <a:gd name="connsiteY9334" fmla="*/ 2459839 h 4596459"/>
              <a:gd name="connsiteX9335" fmla="*/ 638735 w 4716235"/>
              <a:gd name="connsiteY9335" fmla="*/ 2449102 h 4596459"/>
              <a:gd name="connsiteX9336" fmla="*/ 4523139 w 4716235"/>
              <a:gd name="connsiteY9336" fmla="*/ 2448112 h 4596459"/>
              <a:gd name="connsiteX9337" fmla="*/ 4533875 w 4716235"/>
              <a:gd name="connsiteY9337" fmla="*/ 2458848 h 4596459"/>
              <a:gd name="connsiteX9338" fmla="*/ 4523139 w 4716235"/>
              <a:gd name="connsiteY9338" fmla="*/ 2469586 h 4596459"/>
              <a:gd name="connsiteX9339" fmla="*/ 4512402 w 4716235"/>
              <a:gd name="connsiteY9339" fmla="*/ 2458848 h 4596459"/>
              <a:gd name="connsiteX9340" fmla="*/ 4523139 w 4716235"/>
              <a:gd name="connsiteY9340" fmla="*/ 2448112 h 4596459"/>
              <a:gd name="connsiteX9341" fmla="*/ 4578969 w 4716235"/>
              <a:gd name="connsiteY9341" fmla="*/ 2445963 h 4596459"/>
              <a:gd name="connsiteX9342" fmla="*/ 4589706 w 4716235"/>
              <a:gd name="connsiteY9342" fmla="*/ 2456700 h 4596459"/>
              <a:gd name="connsiteX9343" fmla="*/ 4578969 w 4716235"/>
              <a:gd name="connsiteY9343" fmla="*/ 2467438 h 4596459"/>
              <a:gd name="connsiteX9344" fmla="*/ 4568233 w 4716235"/>
              <a:gd name="connsiteY9344" fmla="*/ 2456700 h 4596459"/>
              <a:gd name="connsiteX9345" fmla="*/ 4578969 w 4716235"/>
              <a:gd name="connsiteY9345" fmla="*/ 2445963 h 4596459"/>
              <a:gd name="connsiteX9346" fmla="*/ 3858943 w 4716235"/>
              <a:gd name="connsiteY9346" fmla="*/ 2444808 h 4596459"/>
              <a:gd name="connsiteX9347" fmla="*/ 3869682 w 4716235"/>
              <a:gd name="connsiteY9347" fmla="*/ 2455545 h 4596459"/>
              <a:gd name="connsiteX9348" fmla="*/ 3858943 w 4716235"/>
              <a:gd name="connsiteY9348" fmla="*/ 2466283 h 4596459"/>
              <a:gd name="connsiteX9349" fmla="*/ 3848207 w 4716235"/>
              <a:gd name="connsiteY9349" fmla="*/ 2455545 h 4596459"/>
              <a:gd name="connsiteX9350" fmla="*/ 3858943 w 4716235"/>
              <a:gd name="connsiteY9350" fmla="*/ 2444808 h 4596459"/>
              <a:gd name="connsiteX9351" fmla="*/ 4398591 w 4716235"/>
              <a:gd name="connsiteY9351" fmla="*/ 2443156 h 4596459"/>
              <a:gd name="connsiteX9352" fmla="*/ 4409328 w 4716235"/>
              <a:gd name="connsiteY9352" fmla="*/ 2453892 h 4596459"/>
              <a:gd name="connsiteX9353" fmla="*/ 4398591 w 4716235"/>
              <a:gd name="connsiteY9353" fmla="*/ 2464630 h 4596459"/>
              <a:gd name="connsiteX9354" fmla="*/ 4387855 w 4716235"/>
              <a:gd name="connsiteY9354" fmla="*/ 2453892 h 4596459"/>
              <a:gd name="connsiteX9355" fmla="*/ 4398591 w 4716235"/>
              <a:gd name="connsiteY9355" fmla="*/ 2443156 h 4596459"/>
              <a:gd name="connsiteX9356" fmla="*/ 4506785 w 4716235"/>
              <a:gd name="connsiteY9356" fmla="*/ 2442660 h 4596459"/>
              <a:gd name="connsiteX9357" fmla="*/ 4517523 w 4716235"/>
              <a:gd name="connsiteY9357" fmla="*/ 2453396 h 4596459"/>
              <a:gd name="connsiteX9358" fmla="*/ 4506785 w 4716235"/>
              <a:gd name="connsiteY9358" fmla="*/ 2464134 h 4596459"/>
              <a:gd name="connsiteX9359" fmla="*/ 4496049 w 4716235"/>
              <a:gd name="connsiteY9359" fmla="*/ 2453396 h 4596459"/>
              <a:gd name="connsiteX9360" fmla="*/ 4506785 w 4716235"/>
              <a:gd name="connsiteY9360" fmla="*/ 2442660 h 4596459"/>
              <a:gd name="connsiteX9361" fmla="*/ 4238035 w 4716235"/>
              <a:gd name="connsiteY9361" fmla="*/ 2441009 h 4596459"/>
              <a:gd name="connsiteX9362" fmla="*/ 4248771 w 4716235"/>
              <a:gd name="connsiteY9362" fmla="*/ 2451745 h 4596459"/>
              <a:gd name="connsiteX9363" fmla="*/ 4238035 w 4716235"/>
              <a:gd name="connsiteY9363" fmla="*/ 2462482 h 4596459"/>
              <a:gd name="connsiteX9364" fmla="*/ 4227299 w 4716235"/>
              <a:gd name="connsiteY9364" fmla="*/ 2451745 h 4596459"/>
              <a:gd name="connsiteX9365" fmla="*/ 4238035 w 4716235"/>
              <a:gd name="connsiteY9365" fmla="*/ 2441009 h 4596459"/>
              <a:gd name="connsiteX9366" fmla="*/ 3017511 w 4716235"/>
              <a:gd name="connsiteY9366" fmla="*/ 2436219 h 4596459"/>
              <a:gd name="connsiteX9367" fmla="*/ 3028249 w 4716235"/>
              <a:gd name="connsiteY9367" fmla="*/ 2446955 h 4596459"/>
              <a:gd name="connsiteX9368" fmla="*/ 3017511 w 4716235"/>
              <a:gd name="connsiteY9368" fmla="*/ 2457693 h 4596459"/>
              <a:gd name="connsiteX9369" fmla="*/ 3006774 w 4716235"/>
              <a:gd name="connsiteY9369" fmla="*/ 2446955 h 4596459"/>
              <a:gd name="connsiteX9370" fmla="*/ 3017511 w 4716235"/>
              <a:gd name="connsiteY9370" fmla="*/ 2436219 h 4596459"/>
              <a:gd name="connsiteX9371" fmla="*/ 4550723 w 4716235"/>
              <a:gd name="connsiteY9371" fmla="*/ 2435888 h 4596459"/>
              <a:gd name="connsiteX9372" fmla="*/ 4561461 w 4716235"/>
              <a:gd name="connsiteY9372" fmla="*/ 2446624 h 4596459"/>
              <a:gd name="connsiteX9373" fmla="*/ 4550723 w 4716235"/>
              <a:gd name="connsiteY9373" fmla="*/ 2457362 h 4596459"/>
              <a:gd name="connsiteX9374" fmla="*/ 4539986 w 4716235"/>
              <a:gd name="connsiteY9374" fmla="*/ 2446624 h 4596459"/>
              <a:gd name="connsiteX9375" fmla="*/ 4550723 w 4716235"/>
              <a:gd name="connsiteY9375" fmla="*/ 2435888 h 4596459"/>
              <a:gd name="connsiteX9376" fmla="*/ 4479696 w 4716235"/>
              <a:gd name="connsiteY9376" fmla="*/ 2434072 h 4596459"/>
              <a:gd name="connsiteX9377" fmla="*/ 4490432 w 4716235"/>
              <a:gd name="connsiteY9377" fmla="*/ 2444808 h 4596459"/>
              <a:gd name="connsiteX9378" fmla="*/ 4479696 w 4716235"/>
              <a:gd name="connsiteY9378" fmla="*/ 2455545 h 4596459"/>
              <a:gd name="connsiteX9379" fmla="*/ 4468959 w 4716235"/>
              <a:gd name="connsiteY9379" fmla="*/ 2444808 h 4596459"/>
              <a:gd name="connsiteX9380" fmla="*/ 4479696 w 4716235"/>
              <a:gd name="connsiteY9380" fmla="*/ 2434072 h 4596459"/>
              <a:gd name="connsiteX9381" fmla="*/ 4593670 w 4716235"/>
              <a:gd name="connsiteY9381" fmla="*/ 2431923 h 4596459"/>
              <a:gd name="connsiteX9382" fmla="*/ 4604408 w 4716235"/>
              <a:gd name="connsiteY9382" fmla="*/ 2442660 h 4596459"/>
              <a:gd name="connsiteX9383" fmla="*/ 4593670 w 4716235"/>
              <a:gd name="connsiteY9383" fmla="*/ 2453398 h 4596459"/>
              <a:gd name="connsiteX9384" fmla="*/ 4582934 w 4716235"/>
              <a:gd name="connsiteY9384" fmla="*/ 2442660 h 4596459"/>
              <a:gd name="connsiteX9385" fmla="*/ 4593670 w 4716235"/>
              <a:gd name="connsiteY9385" fmla="*/ 2431923 h 4596459"/>
              <a:gd name="connsiteX9386" fmla="*/ 4532883 w 4716235"/>
              <a:gd name="connsiteY9386" fmla="*/ 2428455 h 4596459"/>
              <a:gd name="connsiteX9387" fmla="*/ 4543619 w 4716235"/>
              <a:gd name="connsiteY9387" fmla="*/ 2439191 h 4596459"/>
              <a:gd name="connsiteX9388" fmla="*/ 4532883 w 4716235"/>
              <a:gd name="connsiteY9388" fmla="*/ 2449929 h 4596459"/>
              <a:gd name="connsiteX9389" fmla="*/ 4522147 w 4716235"/>
              <a:gd name="connsiteY9389" fmla="*/ 2439191 h 4596459"/>
              <a:gd name="connsiteX9390" fmla="*/ 4532883 w 4716235"/>
              <a:gd name="connsiteY9390" fmla="*/ 2428455 h 4596459"/>
              <a:gd name="connsiteX9391" fmla="*/ 463147 w 4716235"/>
              <a:gd name="connsiteY9391" fmla="*/ 2424820 h 4596459"/>
              <a:gd name="connsiteX9392" fmla="*/ 473885 w 4716235"/>
              <a:gd name="connsiteY9392" fmla="*/ 2435557 h 4596459"/>
              <a:gd name="connsiteX9393" fmla="*/ 463147 w 4716235"/>
              <a:gd name="connsiteY9393" fmla="*/ 2446295 h 4596459"/>
              <a:gd name="connsiteX9394" fmla="*/ 452411 w 4716235"/>
              <a:gd name="connsiteY9394" fmla="*/ 2435557 h 4596459"/>
              <a:gd name="connsiteX9395" fmla="*/ 463147 w 4716235"/>
              <a:gd name="connsiteY9395" fmla="*/ 2424820 h 4596459"/>
              <a:gd name="connsiteX9396" fmla="*/ 4518182 w 4716235"/>
              <a:gd name="connsiteY9396" fmla="*/ 2421187 h 4596459"/>
              <a:gd name="connsiteX9397" fmla="*/ 4528921 w 4716235"/>
              <a:gd name="connsiteY9397" fmla="*/ 2431923 h 4596459"/>
              <a:gd name="connsiteX9398" fmla="*/ 4518182 w 4716235"/>
              <a:gd name="connsiteY9398" fmla="*/ 2442661 h 4596459"/>
              <a:gd name="connsiteX9399" fmla="*/ 4507446 w 4716235"/>
              <a:gd name="connsiteY9399" fmla="*/ 2431923 h 4596459"/>
              <a:gd name="connsiteX9400" fmla="*/ 4518182 w 4716235"/>
              <a:gd name="connsiteY9400" fmla="*/ 2421187 h 4596459"/>
              <a:gd name="connsiteX9401" fmla="*/ 4609364 w 4716235"/>
              <a:gd name="connsiteY9401" fmla="*/ 2419536 h 4596459"/>
              <a:gd name="connsiteX9402" fmla="*/ 4619109 w 4716235"/>
              <a:gd name="connsiteY9402" fmla="*/ 2429282 h 4596459"/>
              <a:gd name="connsiteX9403" fmla="*/ 4609364 w 4716235"/>
              <a:gd name="connsiteY9403" fmla="*/ 2439027 h 4596459"/>
              <a:gd name="connsiteX9404" fmla="*/ 4599618 w 4716235"/>
              <a:gd name="connsiteY9404" fmla="*/ 2429282 h 4596459"/>
              <a:gd name="connsiteX9405" fmla="*/ 4609364 w 4716235"/>
              <a:gd name="connsiteY9405" fmla="*/ 2419536 h 4596459"/>
              <a:gd name="connsiteX9406" fmla="*/ 4561955 w 4716235"/>
              <a:gd name="connsiteY9406" fmla="*/ 2419536 h 4596459"/>
              <a:gd name="connsiteX9407" fmla="*/ 4572691 w 4716235"/>
              <a:gd name="connsiteY9407" fmla="*/ 2430272 h 4596459"/>
              <a:gd name="connsiteX9408" fmla="*/ 4561955 w 4716235"/>
              <a:gd name="connsiteY9408" fmla="*/ 2441011 h 4596459"/>
              <a:gd name="connsiteX9409" fmla="*/ 4551219 w 4716235"/>
              <a:gd name="connsiteY9409" fmla="*/ 2430272 h 4596459"/>
              <a:gd name="connsiteX9410" fmla="*/ 4561955 w 4716235"/>
              <a:gd name="connsiteY9410" fmla="*/ 2419536 h 4596459"/>
              <a:gd name="connsiteX9411" fmla="*/ 4427663 w 4716235"/>
              <a:gd name="connsiteY9411" fmla="*/ 2418215 h 4596459"/>
              <a:gd name="connsiteX9412" fmla="*/ 4438399 w 4716235"/>
              <a:gd name="connsiteY9412" fmla="*/ 2428951 h 4596459"/>
              <a:gd name="connsiteX9413" fmla="*/ 4427663 w 4716235"/>
              <a:gd name="connsiteY9413" fmla="*/ 2439689 h 4596459"/>
              <a:gd name="connsiteX9414" fmla="*/ 4416927 w 4716235"/>
              <a:gd name="connsiteY9414" fmla="*/ 2428951 h 4596459"/>
              <a:gd name="connsiteX9415" fmla="*/ 4427663 w 4716235"/>
              <a:gd name="connsiteY9415" fmla="*/ 2418215 h 4596459"/>
              <a:gd name="connsiteX9416" fmla="*/ 3951280 w 4716235"/>
              <a:gd name="connsiteY9416" fmla="*/ 2418215 h 4596459"/>
              <a:gd name="connsiteX9417" fmla="*/ 3962017 w 4716235"/>
              <a:gd name="connsiteY9417" fmla="*/ 2428951 h 4596459"/>
              <a:gd name="connsiteX9418" fmla="*/ 3951280 w 4716235"/>
              <a:gd name="connsiteY9418" fmla="*/ 2439689 h 4596459"/>
              <a:gd name="connsiteX9419" fmla="*/ 3940544 w 4716235"/>
              <a:gd name="connsiteY9419" fmla="*/ 2428951 h 4596459"/>
              <a:gd name="connsiteX9420" fmla="*/ 3951280 w 4716235"/>
              <a:gd name="connsiteY9420" fmla="*/ 2418215 h 4596459"/>
              <a:gd name="connsiteX9421" fmla="*/ 4288580 w 4716235"/>
              <a:gd name="connsiteY9421" fmla="*/ 2415076 h 4596459"/>
              <a:gd name="connsiteX9422" fmla="*/ 4299318 w 4716235"/>
              <a:gd name="connsiteY9422" fmla="*/ 2425812 h 4596459"/>
              <a:gd name="connsiteX9423" fmla="*/ 4288580 w 4716235"/>
              <a:gd name="connsiteY9423" fmla="*/ 2436550 h 4596459"/>
              <a:gd name="connsiteX9424" fmla="*/ 4277843 w 4716235"/>
              <a:gd name="connsiteY9424" fmla="*/ 2425812 h 4596459"/>
              <a:gd name="connsiteX9425" fmla="*/ 4288580 w 4716235"/>
              <a:gd name="connsiteY9425" fmla="*/ 2415076 h 4596459"/>
              <a:gd name="connsiteX9426" fmla="*/ 3185664 w 4716235"/>
              <a:gd name="connsiteY9426" fmla="*/ 2411607 h 4596459"/>
              <a:gd name="connsiteX9427" fmla="*/ 3196401 w 4716235"/>
              <a:gd name="connsiteY9427" fmla="*/ 2422344 h 4596459"/>
              <a:gd name="connsiteX9428" fmla="*/ 3185664 w 4716235"/>
              <a:gd name="connsiteY9428" fmla="*/ 2433080 h 4596459"/>
              <a:gd name="connsiteX9429" fmla="*/ 3174928 w 4716235"/>
              <a:gd name="connsiteY9429" fmla="*/ 2422344 h 4596459"/>
              <a:gd name="connsiteX9430" fmla="*/ 3185664 w 4716235"/>
              <a:gd name="connsiteY9430" fmla="*/ 2411607 h 4596459"/>
              <a:gd name="connsiteX9431" fmla="*/ 4495883 w 4716235"/>
              <a:gd name="connsiteY9431" fmla="*/ 2410945 h 4596459"/>
              <a:gd name="connsiteX9432" fmla="*/ 4506619 w 4716235"/>
              <a:gd name="connsiteY9432" fmla="*/ 2421681 h 4596459"/>
              <a:gd name="connsiteX9433" fmla="*/ 4495883 w 4716235"/>
              <a:gd name="connsiteY9433" fmla="*/ 2432419 h 4596459"/>
              <a:gd name="connsiteX9434" fmla="*/ 4485146 w 4716235"/>
              <a:gd name="connsiteY9434" fmla="*/ 2421681 h 4596459"/>
              <a:gd name="connsiteX9435" fmla="*/ 4495883 w 4716235"/>
              <a:gd name="connsiteY9435" fmla="*/ 2410945 h 4596459"/>
              <a:gd name="connsiteX9436" fmla="*/ 4542629 w 4716235"/>
              <a:gd name="connsiteY9436" fmla="*/ 2409790 h 4596459"/>
              <a:gd name="connsiteX9437" fmla="*/ 4553366 w 4716235"/>
              <a:gd name="connsiteY9437" fmla="*/ 2420526 h 4596459"/>
              <a:gd name="connsiteX9438" fmla="*/ 4542629 w 4716235"/>
              <a:gd name="connsiteY9438" fmla="*/ 2431263 h 4596459"/>
              <a:gd name="connsiteX9439" fmla="*/ 4531893 w 4716235"/>
              <a:gd name="connsiteY9439" fmla="*/ 2420526 h 4596459"/>
              <a:gd name="connsiteX9440" fmla="*/ 4542629 w 4716235"/>
              <a:gd name="connsiteY9440" fmla="*/ 2409790 h 4596459"/>
              <a:gd name="connsiteX9441" fmla="*/ 4573848 w 4716235"/>
              <a:gd name="connsiteY9441" fmla="*/ 2404008 h 4596459"/>
              <a:gd name="connsiteX9442" fmla="*/ 4584584 w 4716235"/>
              <a:gd name="connsiteY9442" fmla="*/ 2414745 h 4596459"/>
              <a:gd name="connsiteX9443" fmla="*/ 4573848 w 4716235"/>
              <a:gd name="connsiteY9443" fmla="*/ 2425483 h 4596459"/>
              <a:gd name="connsiteX9444" fmla="*/ 4563112 w 4716235"/>
              <a:gd name="connsiteY9444" fmla="*/ 2414745 h 4596459"/>
              <a:gd name="connsiteX9445" fmla="*/ 4573848 w 4716235"/>
              <a:gd name="connsiteY9445" fmla="*/ 2404008 h 4596459"/>
              <a:gd name="connsiteX9446" fmla="*/ 4528425 w 4716235"/>
              <a:gd name="connsiteY9446" fmla="*/ 2400540 h 4596459"/>
              <a:gd name="connsiteX9447" fmla="*/ 4539161 w 4716235"/>
              <a:gd name="connsiteY9447" fmla="*/ 2411276 h 4596459"/>
              <a:gd name="connsiteX9448" fmla="*/ 4528425 w 4716235"/>
              <a:gd name="connsiteY9448" fmla="*/ 2422014 h 4596459"/>
              <a:gd name="connsiteX9449" fmla="*/ 4517688 w 4716235"/>
              <a:gd name="connsiteY9449" fmla="*/ 2411276 h 4596459"/>
              <a:gd name="connsiteX9450" fmla="*/ 4528425 w 4716235"/>
              <a:gd name="connsiteY9450" fmla="*/ 2400540 h 4596459"/>
              <a:gd name="connsiteX9451" fmla="*/ 301599 w 4716235"/>
              <a:gd name="connsiteY9451" fmla="*/ 2400209 h 4596459"/>
              <a:gd name="connsiteX9452" fmla="*/ 312337 w 4716235"/>
              <a:gd name="connsiteY9452" fmla="*/ 2410945 h 4596459"/>
              <a:gd name="connsiteX9453" fmla="*/ 301599 w 4716235"/>
              <a:gd name="connsiteY9453" fmla="*/ 2421683 h 4596459"/>
              <a:gd name="connsiteX9454" fmla="*/ 290862 w 4716235"/>
              <a:gd name="connsiteY9454" fmla="*/ 2410945 h 4596459"/>
              <a:gd name="connsiteX9455" fmla="*/ 301599 w 4716235"/>
              <a:gd name="connsiteY9455" fmla="*/ 2400209 h 4596459"/>
              <a:gd name="connsiteX9456" fmla="*/ 4452771 w 4716235"/>
              <a:gd name="connsiteY9456" fmla="*/ 2394097 h 4596459"/>
              <a:gd name="connsiteX9457" fmla="*/ 4463507 w 4716235"/>
              <a:gd name="connsiteY9457" fmla="*/ 2404834 h 4596459"/>
              <a:gd name="connsiteX9458" fmla="*/ 4452771 w 4716235"/>
              <a:gd name="connsiteY9458" fmla="*/ 2415572 h 4596459"/>
              <a:gd name="connsiteX9459" fmla="*/ 4442034 w 4716235"/>
              <a:gd name="connsiteY9459" fmla="*/ 2404834 h 4596459"/>
              <a:gd name="connsiteX9460" fmla="*/ 4452771 w 4716235"/>
              <a:gd name="connsiteY9460" fmla="*/ 2394097 h 4596459"/>
              <a:gd name="connsiteX9461" fmla="*/ 4034367 w 4716235"/>
              <a:gd name="connsiteY9461" fmla="*/ 2392446 h 4596459"/>
              <a:gd name="connsiteX9462" fmla="*/ 4045103 w 4716235"/>
              <a:gd name="connsiteY9462" fmla="*/ 2403183 h 4596459"/>
              <a:gd name="connsiteX9463" fmla="*/ 4034367 w 4716235"/>
              <a:gd name="connsiteY9463" fmla="*/ 2413921 h 4596459"/>
              <a:gd name="connsiteX9464" fmla="*/ 4023630 w 4716235"/>
              <a:gd name="connsiteY9464" fmla="*/ 2403183 h 4596459"/>
              <a:gd name="connsiteX9465" fmla="*/ 4034367 w 4716235"/>
              <a:gd name="connsiteY9465" fmla="*/ 2392446 h 4596459"/>
              <a:gd name="connsiteX9466" fmla="*/ 4552209 w 4716235"/>
              <a:gd name="connsiteY9466" fmla="*/ 2392280 h 4596459"/>
              <a:gd name="connsiteX9467" fmla="*/ 4562947 w 4716235"/>
              <a:gd name="connsiteY9467" fmla="*/ 2403016 h 4596459"/>
              <a:gd name="connsiteX9468" fmla="*/ 4552209 w 4716235"/>
              <a:gd name="connsiteY9468" fmla="*/ 2413754 h 4596459"/>
              <a:gd name="connsiteX9469" fmla="*/ 4541473 w 4716235"/>
              <a:gd name="connsiteY9469" fmla="*/ 2403016 h 4596459"/>
              <a:gd name="connsiteX9470" fmla="*/ 4552209 w 4716235"/>
              <a:gd name="connsiteY9470" fmla="*/ 2392280 h 4596459"/>
              <a:gd name="connsiteX9471" fmla="*/ 4333344 w 4716235"/>
              <a:gd name="connsiteY9471" fmla="*/ 2389968 h 4596459"/>
              <a:gd name="connsiteX9472" fmla="*/ 4344082 w 4716235"/>
              <a:gd name="connsiteY9472" fmla="*/ 2400705 h 4596459"/>
              <a:gd name="connsiteX9473" fmla="*/ 4333344 w 4716235"/>
              <a:gd name="connsiteY9473" fmla="*/ 2411443 h 4596459"/>
              <a:gd name="connsiteX9474" fmla="*/ 4322608 w 4716235"/>
              <a:gd name="connsiteY9474" fmla="*/ 2400705 h 4596459"/>
              <a:gd name="connsiteX9475" fmla="*/ 4333344 w 4716235"/>
              <a:gd name="connsiteY9475" fmla="*/ 2389968 h 4596459"/>
              <a:gd name="connsiteX9476" fmla="*/ 4586402 w 4716235"/>
              <a:gd name="connsiteY9476" fmla="*/ 2389472 h 4596459"/>
              <a:gd name="connsiteX9477" fmla="*/ 4597140 w 4716235"/>
              <a:gd name="connsiteY9477" fmla="*/ 2400209 h 4596459"/>
              <a:gd name="connsiteX9478" fmla="*/ 4586402 w 4716235"/>
              <a:gd name="connsiteY9478" fmla="*/ 2410947 h 4596459"/>
              <a:gd name="connsiteX9479" fmla="*/ 4575666 w 4716235"/>
              <a:gd name="connsiteY9479" fmla="*/ 2400209 h 4596459"/>
              <a:gd name="connsiteX9480" fmla="*/ 4586402 w 4716235"/>
              <a:gd name="connsiteY9480" fmla="*/ 2389472 h 4596459"/>
              <a:gd name="connsiteX9481" fmla="*/ 4509923 w 4716235"/>
              <a:gd name="connsiteY9481" fmla="*/ 2388976 h 4596459"/>
              <a:gd name="connsiteX9482" fmla="*/ 4520661 w 4716235"/>
              <a:gd name="connsiteY9482" fmla="*/ 2399713 h 4596459"/>
              <a:gd name="connsiteX9483" fmla="*/ 4509923 w 4716235"/>
              <a:gd name="connsiteY9483" fmla="*/ 2410451 h 4596459"/>
              <a:gd name="connsiteX9484" fmla="*/ 4499186 w 4716235"/>
              <a:gd name="connsiteY9484" fmla="*/ 2399713 h 4596459"/>
              <a:gd name="connsiteX9485" fmla="*/ 4509923 w 4716235"/>
              <a:gd name="connsiteY9485" fmla="*/ 2388976 h 4596459"/>
              <a:gd name="connsiteX9486" fmla="*/ 3339945 w 4716235"/>
              <a:gd name="connsiteY9486" fmla="*/ 2387159 h 4596459"/>
              <a:gd name="connsiteX9487" fmla="*/ 3350681 w 4716235"/>
              <a:gd name="connsiteY9487" fmla="*/ 2397895 h 4596459"/>
              <a:gd name="connsiteX9488" fmla="*/ 3339945 w 4716235"/>
              <a:gd name="connsiteY9488" fmla="*/ 2408633 h 4596459"/>
              <a:gd name="connsiteX9489" fmla="*/ 3329208 w 4716235"/>
              <a:gd name="connsiteY9489" fmla="*/ 2397895 h 4596459"/>
              <a:gd name="connsiteX9490" fmla="*/ 3339945 w 4716235"/>
              <a:gd name="connsiteY9490" fmla="*/ 2387159 h 4596459"/>
              <a:gd name="connsiteX9491" fmla="*/ 4537839 w 4716235"/>
              <a:gd name="connsiteY9491" fmla="*/ 2381048 h 4596459"/>
              <a:gd name="connsiteX9492" fmla="*/ 4548578 w 4716235"/>
              <a:gd name="connsiteY9492" fmla="*/ 2391784 h 4596459"/>
              <a:gd name="connsiteX9493" fmla="*/ 4537839 w 4716235"/>
              <a:gd name="connsiteY9493" fmla="*/ 2402522 h 4596459"/>
              <a:gd name="connsiteX9494" fmla="*/ 4527103 w 4716235"/>
              <a:gd name="connsiteY9494" fmla="*/ 2391784 h 4596459"/>
              <a:gd name="connsiteX9495" fmla="*/ 4537839 w 4716235"/>
              <a:gd name="connsiteY9495" fmla="*/ 2381048 h 4596459"/>
              <a:gd name="connsiteX9496" fmla="*/ 4599948 w 4716235"/>
              <a:gd name="connsiteY9496" fmla="*/ 2375928 h 4596459"/>
              <a:gd name="connsiteX9497" fmla="*/ 4610684 w 4716235"/>
              <a:gd name="connsiteY9497" fmla="*/ 2386665 h 4596459"/>
              <a:gd name="connsiteX9498" fmla="*/ 4599948 w 4716235"/>
              <a:gd name="connsiteY9498" fmla="*/ 2397403 h 4596459"/>
              <a:gd name="connsiteX9499" fmla="*/ 4589211 w 4716235"/>
              <a:gd name="connsiteY9499" fmla="*/ 2386665 h 4596459"/>
              <a:gd name="connsiteX9500" fmla="*/ 4599948 w 4716235"/>
              <a:gd name="connsiteY9500" fmla="*/ 2375928 h 4596459"/>
              <a:gd name="connsiteX9501" fmla="*/ 153432 w 4716235"/>
              <a:gd name="connsiteY9501" fmla="*/ 2375928 h 4596459"/>
              <a:gd name="connsiteX9502" fmla="*/ 164170 w 4716235"/>
              <a:gd name="connsiteY9502" fmla="*/ 2386665 h 4596459"/>
              <a:gd name="connsiteX9503" fmla="*/ 153432 w 4716235"/>
              <a:gd name="connsiteY9503" fmla="*/ 2397403 h 4596459"/>
              <a:gd name="connsiteX9504" fmla="*/ 142695 w 4716235"/>
              <a:gd name="connsiteY9504" fmla="*/ 2386665 h 4596459"/>
              <a:gd name="connsiteX9505" fmla="*/ 153432 w 4716235"/>
              <a:gd name="connsiteY9505" fmla="*/ 2375928 h 4596459"/>
              <a:gd name="connsiteX9506" fmla="*/ 4561955 w 4716235"/>
              <a:gd name="connsiteY9506" fmla="*/ 2375597 h 4596459"/>
              <a:gd name="connsiteX9507" fmla="*/ 4572691 w 4716235"/>
              <a:gd name="connsiteY9507" fmla="*/ 2386333 h 4596459"/>
              <a:gd name="connsiteX9508" fmla="*/ 4561955 w 4716235"/>
              <a:gd name="connsiteY9508" fmla="*/ 2397071 h 4596459"/>
              <a:gd name="connsiteX9509" fmla="*/ 4551219 w 4716235"/>
              <a:gd name="connsiteY9509" fmla="*/ 2386333 h 4596459"/>
              <a:gd name="connsiteX9510" fmla="*/ 4561955 w 4716235"/>
              <a:gd name="connsiteY9510" fmla="*/ 2375597 h 4596459"/>
              <a:gd name="connsiteX9511" fmla="*/ 4474575 w 4716235"/>
              <a:gd name="connsiteY9511" fmla="*/ 2371137 h 4596459"/>
              <a:gd name="connsiteX9512" fmla="*/ 4485311 w 4716235"/>
              <a:gd name="connsiteY9512" fmla="*/ 2381873 h 4596459"/>
              <a:gd name="connsiteX9513" fmla="*/ 4474575 w 4716235"/>
              <a:gd name="connsiteY9513" fmla="*/ 2392611 h 4596459"/>
              <a:gd name="connsiteX9514" fmla="*/ 4463838 w 4716235"/>
              <a:gd name="connsiteY9514" fmla="*/ 2381873 h 4596459"/>
              <a:gd name="connsiteX9515" fmla="*/ 4474575 w 4716235"/>
              <a:gd name="connsiteY9515" fmla="*/ 2371137 h 4596459"/>
              <a:gd name="connsiteX9516" fmla="*/ 4522312 w 4716235"/>
              <a:gd name="connsiteY9516" fmla="*/ 2368000 h 4596459"/>
              <a:gd name="connsiteX9517" fmla="*/ 4533050 w 4716235"/>
              <a:gd name="connsiteY9517" fmla="*/ 2378736 h 4596459"/>
              <a:gd name="connsiteX9518" fmla="*/ 4522312 w 4716235"/>
              <a:gd name="connsiteY9518" fmla="*/ 2389472 h 4596459"/>
              <a:gd name="connsiteX9519" fmla="*/ 4511575 w 4716235"/>
              <a:gd name="connsiteY9519" fmla="*/ 2378736 h 4596459"/>
              <a:gd name="connsiteX9520" fmla="*/ 4522312 w 4716235"/>
              <a:gd name="connsiteY9520" fmla="*/ 2368000 h 4596459"/>
              <a:gd name="connsiteX9521" fmla="*/ 4109029 w 4716235"/>
              <a:gd name="connsiteY9521" fmla="*/ 2367504 h 4596459"/>
              <a:gd name="connsiteX9522" fmla="*/ 4119765 w 4716235"/>
              <a:gd name="connsiteY9522" fmla="*/ 2378240 h 4596459"/>
              <a:gd name="connsiteX9523" fmla="*/ 4109029 w 4716235"/>
              <a:gd name="connsiteY9523" fmla="*/ 2388978 h 4596459"/>
              <a:gd name="connsiteX9524" fmla="*/ 4098292 w 4716235"/>
              <a:gd name="connsiteY9524" fmla="*/ 2378240 h 4596459"/>
              <a:gd name="connsiteX9525" fmla="*/ 4109029 w 4716235"/>
              <a:gd name="connsiteY9525" fmla="*/ 2367504 h 4596459"/>
              <a:gd name="connsiteX9526" fmla="*/ 4372658 w 4716235"/>
              <a:gd name="connsiteY9526" fmla="*/ 2365851 h 4596459"/>
              <a:gd name="connsiteX9527" fmla="*/ 4383396 w 4716235"/>
              <a:gd name="connsiteY9527" fmla="*/ 2376587 h 4596459"/>
              <a:gd name="connsiteX9528" fmla="*/ 4372658 w 4716235"/>
              <a:gd name="connsiteY9528" fmla="*/ 2387325 h 4596459"/>
              <a:gd name="connsiteX9529" fmla="*/ 4361922 w 4716235"/>
              <a:gd name="connsiteY9529" fmla="*/ 2376587 h 4596459"/>
              <a:gd name="connsiteX9530" fmla="*/ 4372658 w 4716235"/>
              <a:gd name="connsiteY9530" fmla="*/ 2365851 h 4596459"/>
              <a:gd name="connsiteX9531" fmla="*/ 4614152 w 4716235"/>
              <a:gd name="connsiteY9531" fmla="*/ 2363043 h 4596459"/>
              <a:gd name="connsiteX9532" fmla="*/ 4624890 w 4716235"/>
              <a:gd name="connsiteY9532" fmla="*/ 2373780 h 4596459"/>
              <a:gd name="connsiteX9533" fmla="*/ 4614152 w 4716235"/>
              <a:gd name="connsiteY9533" fmla="*/ 2384518 h 4596459"/>
              <a:gd name="connsiteX9534" fmla="*/ 4603416 w 4716235"/>
              <a:gd name="connsiteY9534" fmla="*/ 2373780 h 4596459"/>
              <a:gd name="connsiteX9535" fmla="*/ 4614152 w 4716235"/>
              <a:gd name="connsiteY9535" fmla="*/ 2363043 h 4596459"/>
              <a:gd name="connsiteX9536" fmla="*/ 3481175 w 4716235"/>
              <a:gd name="connsiteY9536" fmla="*/ 2362878 h 4596459"/>
              <a:gd name="connsiteX9537" fmla="*/ 3491913 w 4716235"/>
              <a:gd name="connsiteY9537" fmla="*/ 2373615 h 4596459"/>
              <a:gd name="connsiteX9538" fmla="*/ 3481175 w 4716235"/>
              <a:gd name="connsiteY9538" fmla="*/ 2384351 h 4596459"/>
              <a:gd name="connsiteX9539" fmla="*/ 3470439 w 4716235"/>
              <a:gd name="connsiteY9539" fmla="*/ 2373615 h 4596459"/>
              <a:gd name="connsiteX9540" fmla="*/ 3481175 w 4716235"/>
              <a:gd name="connsiteY9540" fmla="*/ 2362878 h 4596459"/>
              <a:gd name="connsiteX9541" fmla="*/ 4546925 w 4716235"/>
              <a:gd name="connsiteY9541" fmla="*/ 2362714 h 4596459"/>
              <a:gd name="connsiteX9542" fmla="*/ 4557661 w 4716235"/>
              <a:gd name="connsiteY9542" fmla="*/ 2373450 h 4596459"/>
              <a:gd name="connsiteX9543" fmla="*/ 4546925 w 4716235"/>
              <a:gd name="connsiteY9543" fmla="*/ 2384188 h 4596459"/>
              <a:gd name="connsiteX9544" fmla="*/ 4536188 w 4716235"/>
              <a:gd name="connsiteY9544" fmla="*/ 2373450 h 4596459"/>
              <a:gd name="connsiteX9545" fmla="*/ 4546925 w 4716235"/>
              <a:gd name="connsiteY9545" fmla="*/ 2362714 h 4596459"/>
              <a:gd name="connsiteX9546" fmla="*/ 4572031 w 4716235"/>
              <a:gd name="connsiteY9546" fmla="*/ 2359904 h 4596459"/>
              <a:gd name="connsiteX9547" fmla="*/ 4582767 w 4716235"/>
              <a:gd name="connsiteY9547" fmla="*/ 2370641 h 4596459"/>
              <a:gd name="connsiteX9548" fmla="*/ 4572031 w 4716235"/>
              <a:gd name="connsiteY9548" fmla="*/ 2381379 h 4596459"/>
              <a:gd name="connsiteX9549" fmla="*/ 4561294 w 4716235"/>
              <a:gd name="connsiteY9549" fmla="*/ 2370641 h 4596459"/>
              <a:gd name="connsiteX9550" fmla="*/ 4572031 w 4716235"/>
              <a:gd name="connsiteY9550" fmla="*/ 2359904 h 4596459"/>
              <a:gd name="connsiteX9551" fmla="*/ 4629680 w 4716235"/>
              <a:gd name="connsiteY9551" fmla="*/ 2354619 h 4596459"/>
              <a:gd name="connsiteX9552" fmla="*/ 4636783 w 4716235"/>
              <a:gd name="connsiteY9552" fmla="*/ 2361722 h 4596459"/>
              <a:gd name="connsiteX9553" fmla="*/ 4629680 w 4716235"/>
              <a:gd name="connsiteY9553" fmla="*/ 2368823 h 4596459"/>
              <a:gd name="connsiteX9554" fmla="*/ 4622577 w 4716235"/>
              <a:gd name="connsiteY9554" fmla="*/ 2361722 h 4596459"/>
              <a:gd name="connsiteX9555" fmla="*/ 4629680 w 4716235"/>
              <a:gd name="connsiteY9555" fmla="*/ 2354619 h 4596459"/>
              <a:gd name="connsiteX9556" fmla="*/ 17983 w 4716235"/>
              <a:gd name="connsiteY9556" fmla="*/ 2351811 h 4596459"/>
              <a:gd name="connsiteX9557" fmla="*/ 28719 w 4716235"/>
              <a:gd name="connsiteY9557" fmla="*/ 2362547 h 4596459"/>
              <a:gd name="connsiteX9558" fmla="*/ 17983 w 4716235"/>
              <a:gd name="connsiteY9558" fmla="*/ 2373285 h 4596459"/>
              <a:gd name="connsiteX9559" fmla="*/ 7247 w 4716235"/>
              <a:gd name="connsiteY9559" fmla="*/ 2362547 h 4596459"/>
              <a:gd name="connsiteX9560" fmla="*/ 17983 w 4716235"/>
              <a:gd name="connsiteY9560" fmla="*/ 2351811 h 4596459"/>
              <a:gd name="connsiteX9561" fmla="*/ 4493404 w 4716235"/>
              <a:gd name="connsiteY9561" fmla="*/ 2349333 h 4596459"/>
              <a:gd name="connsiteX9562" fmla="*/ 4504142 w 4716235"/>
              <a:gd name="connsiteY9562" fmla="*/ 2360069 h 4596459"/>
              <a:gd name="connsiteX9563" fmla="*/ 4493404 w 4716235"/>
              <a:gd name="connsiteY9563" fmla="*/ 2370807 h 4596459"/>
              <a:gd name="connsiteX9564" fmla="*/ 4482668 w 4716235"/>
              <a:gd name="connsiteY9564" fmla="*/ 2360069 h 4596459"/>
              <a:gd name="connsiteX9565" fmla="*/ 4493404 w 4716235"/>
              <a:gd name="connsiteY9565" fmla="*/ 2349333 h 4596459"/>
              <a:gd name="connsiteX9566" fmla="*/ 4533214 w 4716235"/>
              <a:gd name="connsiteY9566" fmla="*/ 2348011 h 4596459"/>
              <a:gd name="connsiteX9567" fmla="*/ 4543952 w 4716235"/>
              <a:gd name="connsiteY9567" fmla="*/ 2358748 h 4596459"/>
              <a:gd name="connsiteX9568" fmla="*/ 4533214 w 4716235"/>
              <a:gd name="connsiteY9568" fmla="*/ 2369486 h 4596459"/>
              <a:gd name="connsiteX9569" fmla="*/ 4522478 w 4716235"/>
              <a:gd name="connsiteY9569" fmla="*/ 2358748 h 4596459"/>
              <a:gd name="connsiteX9570" fmla="*/ 4533214 w 4716235"/>
              <a:gd name="connsiteY9570" fmla="*/ 2348011 h 4596459"/>
              <a:gd name="connsiteX9571" fmla="*/ 4582769 w 4716235"/>
              <a:gd name="connsiteY9571" fmla="*/ 2345204 h 4596459"/>
              <a:gd name="connsiteX9572" fmla="*/ 4593507 w 4716235"/>
              <a:gd name="connsiteY9572" fmla="*/ 2355940 h 4596459"/>
              <a:gd name="connsiteX9573" fmla="*/ 4582769 w 4716235"/>
              <a:gd name="connsiteY9573" fmla="*/ 2366678 h 4596459"/>
              <a:gd name="connsiteX9574" fmla="*/ 4572032 w 4716235"/>
              <a:gd name="connsiteY9574" fmla="*/ 2355940 h 4596459"/>
              <a:gd name="connsiteX9575" fmla="*/ 4582769 w 4716235"/>
              <a:gd name="connsiteY9575" fmla="*/ 2345204 h 4596459"/>
              <a:gd name="connsiteX9576" fmla="*/ 4555679 w 4716235"/>
              <a:gd name="connsiteY9576" fmla="*/ 2345204 h 4596459"/>
              <a:gd name="connsiteX9577" fmla="*/ 4566415 w 4716235"/>
              <a:gd name="connsiteY9577" fmla="*/ 2355940 h 4596459"/>
              <a:gd name="connsiteX9578" fmla="*/ 4555679 w 4716235"/>
              <a:gd name="connsiteY9578" fmla="*/ 2366678 h 4596459"/>
              <a:gd name="connsiteX9579" fmla="*/ 4544943 w 4716235"/>
              <a:gd name="connsiteY9579" fmla="*/ 2355940 h 4596459"/>
              <a:gd name="connsiteX9580" fmla="*/ 4555679 w 4716235"/>
              <a:gd name="connsiteY9580" fmla="*/ 2345204 h 4596459"/>
              <a:gd name="connsiteX9581" fmla="*/ 4175762 w 4716235"/>
              <a:gd name="connsiteY9581" fmla="*/ 2343551 h 4596459"/>
              <a:gd name="connsiteX9582" fmla="*/ 4186498 w 4716235"/>
              <a:gd name="connsiteY9582" fmla="*/ 2354287 h 4596459"/>
              <a:gd name="connsiteX9583" fmla="*/ 4175762 w 4716235"/>
              <a:gd name="connsiteY9583" fmla="*/ 2365025 h 4596459"/>
              <a:gd name="connsiteX9584" fmla="*/ 4165026 w 4716235"/>
              <a:gd name="connsiteY9584" fmla="*/ 2354287 h 4596459"/>
              <a:gd name="connsiteX9585" fmla="*/ 4175762 w 4716235"/>
              <a:gd name="connsiteY9585" fmla="*/ 2343551 h 4596459"/>
              <a:gd name="connsiteX9586" fmla="*/ 4407016 w 4716235"/>
              <a:gd name="connsiteY9586" fmla="*/ 2342726 h 4596459"/>
              <a:gd name="connsiteX9587" fmla="*/ 4417752 w 4716235"/>
              <a:gd name="connsiteY9587" fmla="*/ 2353462 h 4596459"/>
              <a:gd name="connsiteX9588" fmla="*/ 4407016 w 4716235"/>
              <a:gd name="connsiteY9588" fmla="*/ 2364200 h 4596459"/>
              <a:gd name="connsiteX9589" fmla="*/ 4396279 w 4716235"/>
              <a:gd name="connsiteY9589" fmla="*/ 2353462 h 4596459"/>
              <a:gd name="connsiteX9590" fmla="*/ 4407016 w 4716235"/>
              <a:gd name="connsiteY9590" fmla="*/ 2342726 h 4596459"/>
              <a:gd name="connsiteX9591" fmla="*/ 3610016 w 4716235"/>
              <a:gd name="connsiteY9591" fmla="*/ 2339257 h 4596459"/>
              <a:gd name="connsiteX9592" fmla="*/ 3620753 w 4716235"/>
              <a:gd name="connsiteY9592" fmla="*/ 2349993 h 4596459"/>
              <a:gd name="connsiteX9593" fmla="*/ 3610016 w 4716235"/>
              <a:gd name="connsiteY9593" fmla="*/ 2360732 h 4596459"/>
              <a:gd name="connsiteX9594" fmla="*/ 3599280 w 4716235"/>
              <a:gd name="connsiteY9594" fmla="*/ 2349993 h 4596459"/>
              <a:gd name="connsiteX9595" fmla="*/ 3610016 w 4716235"/>
              <a:gd name="connsiteY9595" fmla="*/ 2339257 h 4596459"/>
              <a:gd name="connsiteX9596" fmla="*/ 4594001 w 4716235"/>
              <a:gd name="connsiteY9596" fmla="*/ 2331328 h 4596459"/>
              <a:gd name="connsiteX9597" fmla="*/ 4604739 w 4716235"/>
              <a:gd name="connsiteY9597" fmla="*/ 2342065 h 4596459"/>
              <a:gd name="connsiteX9598" fmla="*/ 4594001 w 4716235"/>
              <a:gd name="connsiteY9598" fmla="*/ 2352801 h 4596459"/>
              <a:gd name="connsiteX9599" fmla="*/ 4583265 w 4716235"/>
              <a:gd name="connsiteY9599" fmla="*/ 2342065 h 4596459"/>
              <a:gd name="connsiteX9600" fmla="*/ 4594001 w 4716235"/>
              <a:gd name="connsiteY9600" fmla="*/ 2331328 h 4596459"/>
              <a:gd name="connsiteX9601" fmla="*/ 4542960 w 4716235"/>
              <a:gd name="connsiteY9601" fmla="*/ 2329017 h 4596459"/>
              <a:gd name="connsiteX9602" fmla="*/ 4553699 w 4716235"/>
              <a:gd name="connsiteY9602" fmla="*/ 2339753 h 4596459"/>
              <a:gd name="connsiteX9603" fmla="*/ 4542960 w 4716235"/>
              <a:gd name="connsiteY9603" fmla="*/ 2350489 h 4596459"/>
              <a:gd name="connsiteX9604" fmla="*/ 4532224 w 4716235"/>
              <a:gd name="connsiteY9604" fmla="*/ 2339753 h 4596459"/>
              <a:gd name="connsiteX9605" fmla="*/ 4542960 w 4716235"/>
              <a:gd name="connsiteY9605" fmla="*/ 2329017 h 4596459"/>
              <a:gd name="connsiteX9606" fmla="*/ 4564268 w 4716235"/>
              <a:gd name="connsiteY9606" fmla="*/ 2328521 h 4596459"/>
              <a:gd name="connsiteX9607" fmla="*/ 4575005 w 4716235"/>
              <a:gd name="connsiteY9607" fmla="*/ 2339257 h 4596459"/>
              <a:gd name="connsiteX9608" fmla="*/ 4564268 w 4716235"/>
              <a:gd name="connsiteY9608" fmla="*/ 2349995 h 4596459"/>
              <a:gd name="connsiteX9609" fmla="*/ 4553532 w 4716235"/>
              <a:gd name="connsiteY9609" fmla="*/ 2339257 h 4596459"/>
              <a:gd name="connsiteX9610" fmla="*/ 4564268 w 4716235"/>
              <a:gd name="connsiteY9610" fmla="*/ 2328521 h 4596459"/>
              <a:gd name="connsiteX9611" fmla="*/ 4509758 w 4716235"/>
              <a:gd name="connsiteY9611" fmla="*/ 2328354 h 4596459"/>
              <a:gd name="connsiteX9612" fmla="*/ 4520494 w 4716235"/>
              <a:gd name="connsiteY9612" fmla="*/ 2339091 h 4596459"/>
              <a:gd name="connsiteX9613" fmla="*/ 4509758 w 4716235"/>
              <a:gd name="connsiteY9613" fmla="*/ 2349829 h 4596459"/>
              <a:gd name="connsiteX9614" fmla="*/ 4499021 w 4716235"/>
              <a:gd name="connsiteY9614" fmla="*/ 2339091 h 4596459"/>
              <a:gd name="connsiteX9615" fmla="*/ 4509758 w 4716235"/>
              <a:gd name="connsiteY9615" fmla="*/ 2328354 h 4596459"/>
              <a:gd name="connsiteX9616" fmla="*/ 4436913 w 4716235"/>
              <a:gd name="connsiteY9616" fmla="*/ 2320592 h 4596459"/>
              <a:gd name="connsiteX9617" fmla="*/ 4447650 w 4716235"/>
              <a:gd name="connsiteY9617" fmla="*/ 2331328 h 4596459"/>
              <a:gd name="connsiteX9618" fmla="*/ 4436913 w 4716235"/>
              <a:gd name="connsiteY9618" fmla="*/ 2342067 h 4596459"/>
              <a:gd name="connsiteX9619" fmla="*/ 4426177 w 4716235"/>
              <a:gd name="connsiteY9619" fmla="*/ 2331328 h 4596459"/>
              <a:gd name="connsiteX9620" fmla="*/ 4436913 w 4716235"/>
              <a:gd name="connsiteY9620" fmla="*/ 2320592 h 4596459"/>
              <a:gd name="connsiteX9621" fmla="*/ 4235227 w 4716235"/>
              <a:gd name="connsiteY9621" fmla="*/ 2320261 h 4596459"/>
              <a:gd name="connsiteX9622" fmla="*/ 4245964 w 4716235"/>
              <a:gd name="connsiteY9622" fmla="*/ 2330997 h 4596459"/>
              <a:gd name="connsiteX9623" fmla="*/ 4235227 w 4716235"/>
              <a:gd name="connsiteY9623" fmla="*/ 2341735 h 4596459"/>
              <a:gd name="connsiteX9624" fmla="*/ 4224491 w 4716235"/>
              <a:gd name="connsiteY9624" fmla="*/ 2330997 h 4596459"/>
              <a:gd name="connsiteX9625" fmla="*/ 4235227 w 4716235"/>
              <a:gd name="connsiteY9625" fmla="*/ 2320261 h 4596459"/>
              <a:gd name="connsiteX9626" fmla="*/ 4606224 w 4716235"/>
              <a:gd name="connsiteY9626" fmla="*/ 2318279 h 4596459"/>
              <a:gd name="connsiteX9627" fmla="*/ 4616960 w 4716235"/>
              <a:gd name="connsiteY9627" fmla="*/ 2329015 h 4596459"/>
              <a:gd name="connsiteX9628" fmla="*/ 4606224 w 4716235"/>
              <a:gd name="connsiteY9628" fmla="*/ 2339753 h 4596459"/>
              <a:gd name="connsiteX9629" fmla="*/ 4595487 w 4716235"/>
              <a:gd name="connsiteY9629" fmla="*/ 2329015 h 4596459"/>
              <a:gd name="connsiteX9630" fmla="*/ 4606224 w 4716235"/>
              <a:gd name="connsiteY9630" fmla="*/ 2318279 h 4596459"/>
              <a:gd name="connsiteX9631" fmla="*/ 3727459 w 4716235"/>
              <a:gd name="connsiteY9631" fmla="*/ 2315967 h 4596459"/>
              <a:gd name="connsiteX9632" fmla="*/ 3738197 w 4716235"/>
              <a:gd name="connsiteY9632" fmla="*/ 2326703 h 4596459"/>
              <a:gd name="connsiteX9633" fmla="*/ 3727459 w 4716235"/>
              <a:gd name="connsiteY9633" fmla="*/ 2337441 h 4596459"/>
              <a:gd name="connsiteX9634" fmla="*/ 3716723 w 4716235"/>
              <a:gd name="connsiteY9634" fmla="*/ 2326703 h 4596459"/>
              <a:gd name="connsiteX9635" fmla="*/ 3727459 w 4716235"/>
              <a:gd name="connsiteY9635" fmla="*/ 2315967 h 4596459"/>
              <a:gd name="connsiteX9636" fmla="*/ 1847531 w 4716235"/>
              <a:gd name="connsiteY9636" fmla="*/ 2315471 h 4596459"/>
              <a:gd name="connsiteX9637" fmla="*/ 1858269 w 4716235"/>
              <a:gd name="connsiteY9637" fmla="*/ 2326207 h 4596459"/>
              <a:gd name="connsiteX9638" fmla="*/ 1847531 w 4716235"/>
              <a:gd name="connsiteY9638" fmla="*/ 2336945 h 4596459"/>
              <a:gd name="connsiteX9639" fmla="*/ 1836795 w 4716235"/>
              <a:gd name="connsiteY9639" fmla="*/ 2326207 h 4596459"/>
              <a:gd name="connsiteX9640" fmla="*/ 1847531 w 4716235"/>
              <a:gd name="connsiteY9640" fmla="*/ 2315471 h 4596459"/>
              <a:gd name="connsiteX9641" fmla="*/ 1596951 w 4716235"/>
              <a:gd name="connsiteY9641" fmla="*/ 2313324 h 4596459"/>
              <a:gd name="connsiteX9642" fmla="*/ 1607689 w 4716235"/>
              <a:gd name="connsiteY9642" fmla="*/ 2324060 h 4596459"/>
              <a:gd name="connsiteX9643" fmla="*/ 1596951 w 4716235"/>
              <a:gd name="connsiteY9643" fmla="*/ 2334799 h 4596459"/>
              <a:gd name="connsiteX9644" fmla="*/ 1586215 w 4716235"/>
              <a:gd name="connsiteY9644" fmla="*/ 2324060 h 4596459"/>
              <a:gd name="connsiteX9645" fmla="*/ 1596951 w 4716235"/>
              <a:gd name="connsiteY9645" fmla="*/ 2313324 h 4596459"/>
              <a:gd name="connsiteX9646" fmla="*/ 4573023 w 4716235"/>
              <a:gd name="connsiteY9646" fmla="*/ 2312993 h 4596459"/>
              <a:gd name="connsiteX9647" fmla="*/ 4583761 w 4716235"/>
              <a:gd name="connsiteY9647" fmla="*/ 2323729 h 4596459"/>
              <a:gd name="connsiteX9648" fmla="*/ 4573023 w 4716235"/>
              <a:gd name="connsiteY9648" fmla="*/ 2334466 h 4596459"/>
              <a:gd name="connsiteX9649" fmla="*/ 4562286 w 4716235"/>
              <a:gd name="connsiteY9649" fmla="*/ 2323729 h 4596459"/>
              <a:gd name="connsiteX9650" fmla="*/ 4573023 w 4716235"/>
              <a:gd name="connsiteY9650" fmla="*/ 2312993 h 4596459"/>
              <a:gd name="connsiteX9651" fmla="*/ 4551715 w 4716235"/>
              <a:gd name="connsiteY9651" fmla="*/ 2311011 h 4596459"/>
              <a:gd name="connsiteX9652" fmla="*/ 4562453 w 4716235"/>
              <a:gd name="connsiteY9652" fmla="*/ 2321747 h 4596459"/>
              <a:gd name="connsiteX9653" fmla="*/ 4551715 w 4716235"/>
              <a:gd name="connsiteY9653" fmla="*/ 2332485 h 4596459"/>
              <a:gd name="connsiteX9654" fmla="*/ 4540978 w 4716235"/>
              <a:gd name="connsiteY9654" fmla="*/ 2321747 h 4596459"/>
              <a:gd name="connsiteX9655" fmla="*/ 4551715 w 4716235"/>
              <a:gd name="connsiteY9655" fmla="*/ 2311011 h 4596459"/>
              <a:gd name="connsiteX9656" fmla="*/ 2095138 w 4716235"/>
              <a:gd name="connsiteY9656" fmla="*/ 2308699 h 4596459"/>
              <a:gd name="connsiteX9657" fmla="*/ 2105876 w 4716235"/>
              <a:gd name="connsiteY9657" fmla="*/ 2319435 h 4596459"/>
              <a:gd name="connsiteX9658" fmla="*/ 2095138 w 4716235"/>
              <a:gd name="connsiteY9658" fmla="*/ 2330173 h 4596459"/>
              <a:gd name="connsiteX9659" fmla="*/ 2084402 w 4716235"/>
              <a:gd name="connsiteY9659" fmla="*/ 2319435 h 4596459"/>
              <a:gd name="connsiteX9660" fmla="*/ 2095138 w 4716235"/>
              <a:gd name="connsiteY9660" fmla="*/ 2308699 h 4596459"/>
              <a:gd name="connsiteX9661" fmla="*/ 4523798 w 4716235"/>
              <a:gd name="connsiteY9661" fmla="*/ 2308368 h 4596459"/>
              <a:gd name="connsiteX9662" fmla="*/ 4534536 w 4716235"/>
              <a:gd name="connsiteY9662" fmla="*/ 2319104 h 4596459"/>
              <a:gd name="connsiteX9663" fmla="*/ 4523798 w 4716235"/>
              <a:gd name="connsiteY9663" fmla="*/ 2329841 h 4596459"/>
              <a:gd name="connsiteX9664" fmla="*/ 4513061 w 4716235"/>
              <a:gd name="connsiteY9664" fmla="*/ 2319104 h 4596459"/>
              <a:gd name="connsiteX9665" fmla="*/ 4523798 w 4716235"/>
              <a:gd name="connsiteY9665" fmla="*/ 2308368 h 4596459"/>
              <a:gd name="connsiteX9666" fmla="*/ 4619273 w 4716235"/>
              <a:gd name="connsiteY9666" fmla="*/ 2306056 h 4596459"/>
              <a:gd name="connsiteX9667" fmla="*/ 4630010 w 4716235"/>
              <a:gd name="connsiteY9667" fmla="*/ 2316792 h 4596459"/>
              <a:gd name="connsiteX9668" fmla="*/ 4619273 w 4716235"/>
              <a:gd name="connsiteY9668" fmla="*/ 2327529 h 4596459"/>
              <a:gd name="connsiteX9669" fmla="*/ 4608537 w 4716235"/>
              <a:gd name="connsiteY9669" fmla="*/ 2316792 h 4596459"/>
              <a:gd name="connsiteX9670" fmla="*/ 4619273 w 4716235"/>
              <a:gd name="connsiteY9670" fmla="*/ 2306056 h 4596459"/>
              <a:gd name="connsiteX9671" fmla="*/ 1353640 w 4716235"/>
              <a:gd name="connsiteY9671" fmla="*/ 2303082 h 4596459"/>
              <a:gd name="connsiteX9672" fmla="*/ 1364378 w 4716235"/>
              <a:gd name="connsiteY9672" fmla="*/ 2313818 h 4596459"/>
              <a:gd name="connsiteX9673" fmla="*/ 1353640 w 4716235"/>
              <a:gd name="connsiteY9673" fmla="*/ 2324556 h 4596459"/>
              <a:gd name="connsiteX9674" fmla="*/ 1342903 w 4716235"/>
              <a:gd name="connsiteY9674" fmla="*/ 2313818 h 4596459"/>
              <a:gd name="connsiteX9675" fmla="*/ 1353640 w 4716235"/>
              <a:gd name="connsiteY9675" fmla="*/ 2303082 h 4596459"/>
              <a:gd name="connsiteX9676" fmla="*/ 4463011 w 4716235"/>
              <a:gd name="connsiteY9676" fmla="*/ 2299284 h 4596459"/>
              <a:gd name="connsiteX9677" fmla="*/ 4473749 w 4716235"/>
              <a:gd name="connsiteY9677" fmla="*/ 2310020 h 4596459"/>
              <a:gd name="connsiteX9678" fmla="*/ 4463011 w 4716235"/>
              <a:gd name="connsiteY9678" fmla="*/ 2320759 h 4596459"/>
              <a:gd name="connsiteX9679" fmla="*/ 4452275 w 4716235"/>
              <a:gd name="connsiteY9679" fmla="*/ 2310020 h 4596459"/>
              <a:gd name="connsiteX9680" fmla="*/ 4463011 w 4716235"/>
              <a:gd name="connsiteY9680" fmla="*/ 2299284 h 4596459"/>
              <a:gd name="connsiteX9681" fmla="*/ 4581943 w 4716235"/>
              <a:gd name="connsiteY9681" fmla="*/ 2298127 h 4596459"/>
              <a:gd name="connsiteX9682" fmla="*/ 4592680 w 4716235"/>
              <a:gd name="connsiteY9682" fmla="*/ 2308864 h 4596459"/>
              <a:gd name="connsiteX9683" fmla="*/ 4581943 w 4716235"/>
              <a:gd name="connsiteY9683" fmla="*/ 2319602 h 4596459"/>
              <a:gd name="connsiteX9684" fmla="*/ 4571207 w 4716235"/>
              <a:gd name="connsiteY9684" fmla="*/ 2308864 h 4596459"/>
              <a:gd name="connsiteX9685" fmla="*/ 4581943 w 4716235"/>
              <a:gd name="connsiteY9685" fmla="*/ 2298127 h 4596459"/>
              <a:gd name="connsiteX9686" fmla="*/ 4288085 w 4716235"/>
              <a:gd name="connsiteY9686" fmla="*/ 2297963 h 4596459"/>
              <a:gd name="connsiteX9687" fmla="*/ 4298823 w 4716235"/>
              <a:gd name="connsiteY9687" fmla="*/ 2308699 h 4596459"/>
              <a:gd name="connsiteX9688" fmla="*/ 4288085 w 4716235"/>
              <a:gd name="connsiteY9688" fmla="*/ 2319437 h 4596459"/>
              <a:gd name="connsiteX9689" fmla="*/ 4277349 w 4716235"/>
              <a:gd name="connsiteY9689" fmla="*/ 2308699 h 4596459"/>
              <a:gd name="connsiteX9690" fmla="*/ 4288085 w 4716235"/>
              <a:gd name="connsiteY9690" fmla="*/ 2297963 h 4596459"/>
              <a:gd name="connsiteX9691" fmla="*/ 2331843 w 4716235"/>
              <a:gd name="connsiteY9691" fmla="*/ 2295318 h 4596459"/>
              <a:gd name="connsiteX9692" fmla="*/ 2342581 w 4716235"/>
              <a:gd name="connsiteY9692" fmla="*/ 2306054 h 4596459"/>
              <a:gd name="connsiteX9693" fmla="*/ 2331843 w 4716235"/>
              <a:gd name="connsiteY9693" fmla="*/ 2316792 h 4596459"/>
              <a:gd name="connsiteX9694" fmla="*/ 2321106 w 4716235"/>
              <a:gd name="connsiteY9694" fmla="*/ 2306054 h 4596459"/>
              <a:gd name="connsiteX9695" fmla="*/ 2331843 w 4716235"/>
              <a:gd name="connsiteY9695" fmla="*/ 2295318 h 4596459"/>
              <a:gd name="connsiteX9696" fmla="*/ 4633313 w 4716235"/>
              <a:gd name="connsiteY9696" fmla="*/ 2294659 h 4596459"/>
              <a:gd name="connsiteX9697" fmla="*/ 4644051 w 4716235"/>
              <a:gd name="connsiteY9697" fmla="*/ 2305395 h 4596459"/>
              <a:gd name="connsiteX9698" fmla="*/ 4633313 w 4716235"/>
              <a:gd name="connsiteY9698" fmla="*/ 2316132 h 4596459"/>
              <a:gd name="connsiteX9699" fmla="*/ 4622577 w 4716235"/>
              <a:gd name="connsiteY9699" fmla="*/ 2305395 h 4596459"/>
              <a:gd name="connsiteX9700" fmla="*/ 4633313 w 4716235"/>
              <a:gd name="connsiteY9700" fmla="*/ 2294659 h 4596459"/>
              <a:gd name="connsiteX9701" fmla="*/ 4559973 w 4716235"/>
              <a:gd name="connsiteY9701" fmla="*/ 2293832 h 4596459"/>
              <a:gd name="connsiteX9702" fmla="*/ 4570711 w 4716235"/>
              <a:gd name="connsiteY9702" fmla="*/ 2304568 h 4596459"/>
              <a:gd name="connsiteX9703" fmla="*/ 4559973 w 4716235"/>
              <a:gd name="connsiteY9703" fmla="*/ 2315306 h 4596459"/>
              <a:gd name="connsiteX9704" fmla="*/ 4549237 w 4716235"/>
              <a:gd name="connsiteY9704" fmla="*/ 2304568 h 4596459"/>
              <a:gd name="connsiteX9705" fmla="*/ 4559973 w 4716235"/>
              <a:gd name="connsiteY9705" fmla="*/ 2293832 h 4596459"/>
              <a:gd name="connsiteX9706" fmla="*/ 3834002 w 4716235"/>
              <a:gd name="connsiteY9706" fmla="*/ 2293502 h 4596459"/>
              <a:gd name="connsiteX9707" fmla="*/ 3844739 w 4716235"/>
              <a:gd name="connsiteY9707" fmla="*/ 2304239 h 4596459"/>
              <a:gd name="connsiteX9708" fmla="*/ 3834002 w 4716235"/>
              <a:gd name="connsiteY9708" fmla="*/ 2314977 h 4596459"/>
              <a:gd name="connsiteX9709" fmla="*/ 3823266 w 4716235"/>
              <a:gd name="connsiteY9709" fmla="*/ 2304239 h 4596459"/>
              <a:gd name="connsiteX9710" fmla="*/ 3834002 w 4716235"/>
              <a:gd name="connsiteY9710" fmla="*/ 2293502 h 4596459"/>
              <a:gd name="connsiteX9711" fmla="*/ 4648512 w 4716235"/>
              <a:gd name="connsiteY9711" fmla="*/ 2290199 h 4596459"/>
              <a:gd name="connsiteX9712" fmla="*/ 4652806 w 4716235"/>
              <a:gd name="connsiteY9712" fmla="*/ 2294493 h 4596459"/>
              <a:gd name="connsiteX9713" fmla="*/ 4648512 w 4716235"/>
              <a:gd name="connsiteY9713" fmla="*/ 2298788 h 4596459"/>
              <a:gd name="connsiteX9714" fmla="*/ 4644216 w 4716235"/>
              <a:gd name="connsiteY9714" fmla="*/ 2294493 h 4596459"/>
              <a:gd name="connsiteX9715" fmla="*/ 4648512 w 4716235"/>
              <a:gd name="connsiteY9715" fmla="*/ 2290199 h 4596459"/>
              <a:gd name="connsiteX9716" fmla="*/ 4536022 w 4716235"/>
              <a:gd name="connsiteY9716" fmla="*/ 2289372 h 4596459"/>
              <a:gd name="connsiteX9717" fmla="*/ 4546758 w 4716235"/>
              <a:gd name="connsiteY9717" fmla="*/ 2300108 h 4596459"/>
              <a:gd name="connsiteX9718" fmla="*/ 4536022 w 4716235"/>
              <a:gd name="connsiteY9718" fmla="*/ 2310846 h 4596459"/>
              <a:gd name="connsiteX9719" fmla="*/ 4525286 w 4716235"/>
              <a:gd name="connsiteY9719" fmla="*/ 2300108 h 4596459"/>
              <a:gd name="connsiteX9720" fmla="*/ 4536022 w 4716235"/>
              <a:gd name="connsiteY9720" fmla="*/ 2289372 h 4596459"/>
              <a:gd name="connsiteX9721" fmla="*/ 1123541 w 4716235"/>
              <a:gd name="connsiteY9721" fmla="*/ 2287885 h 4596459"/>
              <a:gd name="connsiteX9722" fmla="*/ 1134279 w 4716235"/>
              <a:gd name="connsiteY9722" fmla="*/ 2298622 h 4596459"/>
              <a:gd name="connsiteX9723" fmla="*/ 1123541 w 4716235"/>
              <a:gd name="connsiteY9723" fmla="*/ 2309360 h 4596459"/>
              <a:gd name="connsiteX9724" fmla="*/ 1112805 w 4716235"/>
              <a:gd name="connsiteY9724" fmla="*/ 2298622 h 4596459"/>
              <a:gd name="connsiteX9725" fmla="*/ 1123541 w 4716235"/>
              <a:gd name="connsiteY9725" fmla="*/ 2287885 h 4596459"/>
              <a:gd name="connsiteX9726" fmla="*/ 4591523 w 4716235"/>
              <a:gd name="connsiteY9726" fmla="*/ 2284252 h 4596459"/>
              <a:gd name="connsiteX9727" fmla="*/ 4602261 w 4716235"/>
              <a:gd name="connsiteY9727" fmla="*/ 2294989 h 4596459"/>
              <a:gd name="connsiteX9728" fmla="*/ 4591523 w 4716235"/>
              <a:gd name="connsiteY9728" fmla="*/ 2305727 h 4596459"/>
              <a:gd name="connsiteX9729" fmla="*/ 4580787 w 4716235"/>
              <a:gd name="connsiteY9729" fmla="*/ 2294989 h 4596459"/>
              <a:gd name="connsiteX9730" fmla="*/ 4591523 w 4716235"/>
              <a:gd name="connsiteY9730" fmla="*/ 2284252 h 4596459"/>
              <a:gd name="connsiteX9731" fmla="*/ 4485477 w 4716235"/>
              <a:gd name="connsiteY9731" fmla="*/ 2278966 h 4596459"/>
              <a:gd name="connsiteX9732" fmla="*/ 4496214 w 4716235"/>
              <a:gd name="connsiteY9732" fmla="*/ 2289703 h 4596459"/>
              <a:gd name="connsiteX9733" fmla="*/ 4485477 w 4716235"/>
              <a:gd name="connsiteY9733" fmla="*/ 2300441 h 4596459"/>
              <a:gd name="connsiteX9734" fmla="*/ 4474741 w 4716235"/>
              <a:gd name="connsiteY9734" fmla="*/ 2289703 h 4596459"/>
              <a:gd name="connsiteX9735" fmla="*/ 4485477 w 4716235"/>
              <a:gd name="connsiteY9735" fmla="*/ 2278966 h 4596459"/>
              <a:gd name="connsiteX9736" fmla="*/ 2553681 w 4716235"/>
              <a:gd name="connsiteY9736" fmla="*/ 2278635 h 4596459"/>
              <a:gd name="connsiteX9737" fmla="*/ 2564420 w 4716235"/>
              <a:gd name="connsiteY9737" fmla="*/ 2289372 h 4596459"/>
              <a:gd name="connsiteX9738" fmla="*/ 2553681 w 4716235"/>
              <a:gd name="connsiteY9738" fmla="*/ 2300110 h 4596459"/>
              <a:gd name="connsiteX9739" fmla="*/ 2542945 w 4716235"/>
              <a:gd name="connsiteY9739" fmla="*/ 2289372 h 4596459"/>
              <a:gd name="connsiteX9740" fmla="*/ 2553681 w 4716235"/>
              <a:gd name="connsiteY9740" fmla="*/ 2278635 h 4596459"/>
              <a:gd name="connsiteX9741" fmla="*/ 4567902 w 4716235"/>
              <a:gd name="connsiteY9741" fmla="*/ 2277645 h 4596459"/>
              <a:gd name="connsiteX9742" fmla="*/ 4578638 w 4716235"/>
              <a:gd name="connsiteY9742" fmla="*/ 2288381 h 4596459"/>
              <a:gd name="connsiteX9743" fmla="*/ 4567902 w 4716235"/>
              <a:gd name="connsiteY9743" fmla="*/ 2299118 h 4596459"/>
              <a:gd name="connsiteX9744" fmla="*/ 4557165 w 4716235"/>
              <a:gd name="connsiteY9744" fmla="*/ 2288381 h 4596459"/>
              <a:gd name="connsiteX9745" fmla="*/ 4567902 w 4716235"/>
              <a:gd name="connsiteY9745" fmla="*/ 2277645 h 4596459"/>
              <a:gd name="connsiteX9746" fmla="*/ 4334666 w 4716235"/>
              <a:gd name="connsiteY9746" fmla="*/ 2276488 h 4596459"/>
              <a:gd name="connsiteX9747" fmla="*/ 4345402 w 4716235"/>
              <a:gd name="connsiteY9747" fmla="*/ 2287225 h 4596459"/>
              <a:gd name="connsiteX9748" fmla="*/ 4334666 w 4716235"/>
              <a:gd name="connsiteY9748" fmla="*/ 2297963 h 4596459"/>
              <a:gd name="connsiteX9749" fmla="*/ 4323929 w 4716235"/>
              <a:gd name="connsiteY9749" fmla="*/ 2287225 h 4596459"/>
              <a:gd name="connsiteX9750" fmla="*/ 4334666 w 4716235"/>
              <a:gd name="connsiteY9750" fmla="*/ 2276488 h 4596459"/>
              <a:gd name="connsiteX9751" fmla="*/ 3930302 w 4716235"/>
              <a:gd name="connsiteY9751" fmla="*/ 2271698 h 4596459"/>
              <a:gd name="connsiteX9752" fmla="*/ 3941040 w 4716235"/>
              <a:gd name="connsiteY9752" fmla="*/ 2282435 h 4596459"/>
              <a:gd name="connsiteX9753" fmla="*/ 3930302 w 4716235"/>
              <a:gd name="connsiteY9753" fmla="*/ 2293171 h 4596459"/>
              <a:gd name="connsiteX9754" fmla="*/ 3919565 w 4716235"/>
              <a:gd name="connsiteY9754" fmla="*/ 2282435 h 4596459"/>
              <a:gd name="connsiteX9755" fmla="*/ 3930302 w 4716235"/>
              <a:gd name="connsiteY9755" fmla="*/ 2271698 h 4596459"/>
              <a:gd name="connsiteX9756" fmla="*/ 4601599 w 4716235"/>
              <a:gd name="connsiteY9756" fmla="*/ 2271202 h 4596459"/>
              <a:gd name="connsiteX9757" fmla="*/ 4612335 w 4716235"/>
              <a:gd name="connsiteY9757" fmla="*/ 2281939 h 4596459"/>
              <a:gd name="connsiteX9758" fmla="*/ 4601599 w 4716235"/>
              <a:gd name="connsiteY9758" fmla="*/ 2292675 h 4596459"/>
              <a:gd name="connsiteX9759" fmla="*/ 4590862 w 4716235"/>
              <a:gd name="connsiteY9759" fmla="*/ 2281939 h 4596459"/>
              <a:gd name="connsiteX9760" fmla="*/ 4601599 w 4716235"/>
              <a:gd name="connsiteY9760" fmla="*/ 2271202 h 4596459"/>
              <a:gd name="connsiteX9761" fmla="*/ 4546758 w 4716235"/>
              <a:gd name="connsiteY9761" fmla="*/ 2271202 h 4596459"/>
              <a:gd name="connsiteX9762" fmla="*/ 4557495 w 4716235"/>
              <a:gd name="connsiteY9762" fmla="*/ 2281939 h 4596459"/>
              <a:gd name="connsiteX9763" fmla="*/ 4546758 w 4716235"/>
              <a:gd name="connsiteY9763" fmla="*/ 2292675 h 4596459"/>
              <a:gd name="connsiteX9764" fmla="*/ 4536022 w 4716235"/>
              <a:gd name="connsiteY9764" fmla="*/ 2281939 h 4596459"/>
              <a:gd name="connsiteX9765" fmla="*/ 4546758 w 4716235"/>
              <a:gd name="connsiteY9765" fmla="*/ 2271202 h 4596459"/>
              <a:gd name="connsiteX9766" fmla="*/ 909136 w 4716235"/>
              <a:gd name="connsiteY9766" fmla="*/ 2270046 h 4596459"/>
              <a:gd name="connsiteX9767" fmla="*/ 919875 w 4716235"/>
              <a:gd name="connsiteY9767" fmla="*/ 2280782 h 4596459"/>
              <a:gd name="connsiteX9768" fmla="*/ 909136 w 4716235"/>
              <a:gd name="connsiteY9768" fmla="*/ 2291520 h 4596459"/>
              <a:gd name="connsiteX9769" fmla="*/ 898400 w 4716235"/>
              <a:gd name="connsiteY9769" fmla="*/ 2280782 h 4596459"/>
              <a:gd name="connsiteX9770" fmla="*/ 909136 w 4716235"/>
              <a:gd name="connsiteY9770" fmla="*/ 2270046 h 4596459"/>
              <a:gd name="connsiteX9771" fmla="*/ 4575666 w 4716235"/>
              <a:gd name="connsiteY9771" fmla="*/ 2262282 h 4596459"/>
              <a:gd name="connsiteX9772" fmla="*/ 4586402 w 4716235"/>
              <a:gd name="connsiteY9772" fmla="*/ 2273018 h 4596459"/>
              <a:gd name="connsiteX9773" fmla="*/ 4575666 w 4716235"/>
              <a:gd name="connsiteY9773" fmla="*/ 2283756 h 4596459"/>
              <a:gd name="connsiteX9774" fmla="*/ 4564929 w 4716235"/>
              <a:gd name="connsiteY9774" fmla="*/ 2273018 h 4596459"/>
              <a:gd name="connsiteX9775" fmla="*/ 4575666 w 4716235"/>
              <a:gd name="connsiteY9775" fmla="*/ 2262282 h 4596459"/>
              <a:gd name="connsiteX9776" fmla="*/ 2759661 w 4716235"/>
              <a:gd name="connsiteY9776" fmla="*/ 2260135 h 4596459"/>
              <a:gd name="connsiteX9777" fmla="*/ 2770399 w 4716235"/>
              <a:gd name="connsiteY9777" fmla="*/ 2270871 h 4596459"/>
              <a:gd name="connsiteX9778" fmla="*/ 2759661 w 4716235"/>
              <a:gd name="connsiteY9778" fmla="*/ 2281609 h 4596459"/>
              <a:gd name="connsiteX9779" fmla="*/ 2748925 w 4716235"/>
              <a:gd name="connsiteY9779" fmla="*/ 2270871 h 4596459"/>
              <a:gd name="connsiteX9780" fmla="*/ 2759661 w 4716235"/>
              <a:gd name="connsiteY9780" fmla="*/ 2260135 h 4596459"/>
              <a:gd name="connsiteX9781" fmla="*/ 4504803 w 4716235"/>
              <a:gd name="connsiteY9781" fmla="*/ 2259639 h 4596459"/>
              <a:gd name="connsiteX9782" fmla="*/ 4515541 w 4716235"/>
              <a:gd name="connsiteY9782" fmla="*/ 2270375 h 4596459"/>
              <a:gd name="connsiteX9783" fmla="*/ 4504803 w 4716235"/>
              <a:gd name="connsiteY9783" fmla="*/ 2281113 h 4596459"/>
              <a:gd name="connsiteX9784" fmla="*/ 4494067 w 4716235"/>
              <a:gd name="connsiteY9784" fmla="*/ 2270375 h 4596459"/>
              <a:gd name="connsiteX9785" fmla="*/ 4504803 w 4716235"/>
              <a:gd name="connsiteY9785" fmla="*/ 2259639 h 4596459"/>
              <a:gd name="connsiteX9786" fmla="*/ 4612501 w 4716235"/>
              <a:gd name="connsiteY9786" fmla="*/ 2258980 h 4596459"/>
              <a:gd name="connsiteX9787" fmla="*/ 4623238 w 4716235"/>
              <a:gd name="connsiteY9787" fmla="*/ 2269716 h 4596459"/>
              <a:gd name="connsiteX9788" fmla="*/ 4612501 w 4716235"/>
              <a:gd name="connsiteY9788" fmla="*/ 2280454 h 4596459"/>
              <a:gd name="connsiteX9789" fmla="*/ 4601765 w 4716235"/>
              <a:gd name="connsiteY9789" fmla="*/ 2269716 h 4596459"/>
              <a:gd name="connsiteX9790" fmla="*/ 4612501 w 4716235"/>
              <a:gd name="connsiteY9790" fmla="*/ 2258980 h 4596459"/>
              <a:gd name="connsiteX9791" fmla="*/ 4375795 w 4716235"/>
              <a:gd name="connsiteY9791" fmla="*/ 2255841 h 4596459"/>
              <a:gd name="connsiteX9792" fmla="*/ 4386533 w 4716235"/>
              <a:gd name="connsiteY9792" fmla="*/ 2266577 h 4596459"/>
              <a:gd name="connsiteX9793" fmla="*/ 4375795 w 4716235"/>
              <a:gd name="connsiteY9793" fmla="*/ 2277315 h 4596459"/>
              <a:gd name="connsiteX9794" fmla="*/ 4365059 w 4716235"/>
              <a:gd name="connsiteY9794" fmla="*/ 2266577 h 4596459"/>
              <a:gd name="connsiteX9795" fmla="*/ 4375795 w 4716235"/>
              <a:gd name="connsiteY9795" fmla="*/ 2255841 h 4596459"/>
              <a:gd name="connsiteX9796" fmla="*/ 4556009 w 4716235"/>
              <a:gd name="connsiteY9796" fmla="*/ 2254024 h 4596459"/>
              <a:gd name="connsiteX9797" fmla="*/ 4566745 w 4716235"/>
              <a:gd name="connsiteY9797" fmla="*/ 2264760 h 4596459"/>
              <a:gd name="connsiteX9798" fmla="*/ 4556009 w 4716235"/>
              <a:gd name="connsiteY9798" fmla="*/ 2275498 h 4596459"/>
              <a:gd name="connsiteX9799" fmla="*/ 4545272 w 4716235"/>
              <a:gd name="connsiteY9799" fmla="*/ 2264760 h 4596459"/>
              <a:gd name="connsiteX9800" fmla="*/ 4556009 w 4716235"/>
              <a:gd name="connsiteY9800" fmla="*/ 2254024 h 4596459"/>
              <a:gd name="connsiteX9801" fmla="*/ 710423 w 4716235"/>
              <a:gd name="connsiteY9801" fmla="*/ 2251216 h 4596459"/>
              <a:gd name="connsiteX9802" fmla="*/ 721161 w 4716235"/>
              <a:gd name="connsiteY9802" fmla="*/ 2261952 h 4596459"/>
              <a:gd name="connsiteX9803" fmla="*/ 710423 w 4716235"/>
              <a:gd name="connsiteY9803" fmla="*/ 2272690 h 4596459"/>
              <a:gd name="connsiteX9804" fmla="*/ 699687 w 4716235"/>
              <a:gd name="connsiteY9804" fmla="*/ 2261952 h 4596459"/>
              <a:gd name="connsiteX9805" fmla="*/ 710423 w 4716235"/>
              <a:gd name="connsiteY9805" fmla="*/ 2251216 h 4596459"/>
              <a:gd name="connsiteX9806" fmla="*/ 4017188 w 4716235"/>
              <a:gd name="connsiteY9806" fmla="*/ 2250555 h 4596459"/>
              <a:gd name="connsiteX9807" fmla="*/ 4027924 w 4716235"/>
              <a:gd name="connsiteY9807" fmla="*/ 2261292 h 4596459"/>
              <a:gd name="connsiteX9808" fmla="*/ 4017188 w 4716235"/>
              <a:gd name="connsiteY9808" fmla="*/ 2272028 h 4596459"/>
              <a:gd name="connsiteX9809" fmla="*/ 4006452 w 4716235"/>
              <a:gd name="connsiteY9809" fmla="*/ 2261292 h 4596459"/>
              <a:gd name="connsiteX9810" fmla="*/ 4017188 w 4716235"/>
              <a:gd name="connsiteY9810" fmla="*/ 2250555 h 4596459"/>
              <a:gd name="connsiteX9811" fmla="*/ 4583429 w 4716235"/>
              <a:gd name="connsiteY9811" fmla="*/ 2247912 h 4596459"/>
              <a:gd name="connsiteX9812" fmla="*/ 4594166 w 4716235"/>
              <a:gd name="connsiteY9812" fmla="*/ 2258649 h 4596459"/>
              <a:gd name="connsiteX9813" fmla="*/ 4583429 w 4716235"/>
              <a:gd name="connsiteY9813" fmla="*/ 2269387 h 4596459"/>
              <a:gd name="connsiteX9814" fmla="*/ 4572693 w 4716235"/>
              <a:gd name="connsiteY9814" fmla="*/ 2258649 h 4596459"/>
              <a:gd name="connsiteX9815" fmla="*/ 4583429 w 4716235"/>
              <a:gd name="connsiteY9815" fmla="*/ 2247912 h 4596459"/>
              <a:gd name="connsiteX9816" fmla="*/ 4624230 w 4716235"/>
              <a:gd name="connsiteY9816" fmla="*/ 2247416 h 4596459"/>
              <a:gd name="connsiteX9817" fmla="*/ 4634966 w 4716235"/>
              <a:gd name="connsiteY9817" fmla="*/ 2258153 h 4596459"/>
              <a:gd name="connsiteX9818" fmla="*/ 4624230 w 4716235"/>
              <a:gd name="connsiteY9818" fmla="*/ 2268891 h 4596459"/>
              <a:gd name="connsiteX9819" fmla="*/ 4613493 w 4716235"/>
              <a:gd name="connsiteY9819" fmla="*/ 2258153 h 4596459"/>
              <a:gd name="connsiteX9820" fmla="*/ 4624230 w 4716235"/>
              <a:gd name="connsiteY9820" fmla="*/ 2247416 h 4596459"/>
              <a:gd name="connsiteX9821" fmla="*/ 4521486 w 4716235"/>
              <a:gd name="connsiteY9821" fmla="*/ 2241139 h 4596459"/>
              <a:gd name="connsiteX9822" fmla="*/ 4532222 w 4716235"/>
              <a:gd name="connsiteY9822" fmla="*/ 2251875 h 4596459"/>
              <a:gd name="connsiteX9823" fmla="*/ 4521486 w 4716235"/>
              <a:gd name="connsiteY9823" fmla="*/ 2262613 h 4596459"/>
              <a:gd name="connsiteX9824" fmla="*/ 4510750 w 4716235"/>
              <a:gd name="connsiteY9824" fmla="*/ 2251875 h 4596459"/>
              <a:gd name="connsiteX9825" fmla="*/ 4521486 w 4716235"/>
              <a:gd name="connsiteY9825" fmla="*/ 2241139 h 4596459"/>
              <a:gd name="connsiteX9826" fmla="*/ 2950117 w 4716235"/>
              <a:gd name="connsiteY9826" fmla="*/ 2240974 h 4596459"/>
              <a:gd name="connsiteX9827" fmla="*/ 2960855 w 4716235"/>
              <a:gd name="connsiteY9827" fmla="*/ 2251710 h 4596459"/>
              <a:gd name="connsiteX9828" fmla="*/ 2950117 w 4716235"/>
              <a:gd name="connsiteY9828" fmla="*/ 2262447 h 4596459"/>
              <a:gd name="connsiteX9829" fmla="*/ 2939380 w 4716235"/>
              <a:gd name="connsiteY9829" fmla="*/ 2251710 h 4596459"/>
              <a:gd name="connsiteX9830" fmla="*/ 2950117 w 4716235"/>
              <a:gd name="connsiteY9830" fmla="*/ 2240974 h 4596459"/>
              <a:gd name="connsiteX9831" fmla="*/ 4564433 w 4716235"/>
              <a:gd name="connsiteY9831" fmla="*/ 2237505 h 4596459"/>
              <a:gd name="connsiteX9832" fmla="*/ 4575170 w 4716235"/>
              <a:gd name="connsiteY9832" fmla="*/ 2248242 h 4596459"/>
              <a:gd name="connsiteX9833" fmla="*/ 4564433 w 4716235"/>
              <a:gd name="connsiteY9833" fmla="*/ 2258980 h 4596459"/>
              <a:gd name="connsiteX9834" fmla="*/ 4553697 w 4716235"/>
              <a:gd name="connsiteY9834" fmla="*/ 2248242 h 4596459"/>
              <a:gd name="connsiteX9835" fmla="*/ 4564433 w 4716235"/>
              <a:gd name="connsiteY9835" fmla="*/ 2237505 h 4596459"/>
              <a:gd name="connsiteX9836" fmla="*/ 4637113 w 4716235"/>
              <a:gd name="connsiteY9836" fmla="*/ 2236680 h 4596459"/>
              <a:gd name="connsiteX9837" fmla="*/ 4647849 w 4716235"/>
              <a:gd name="connsiteY9837" fmla="*/ 2247416 h 4596459"/>
              <a:gd name="connsiteX9838" fmla="*/ 4637113 w 4716235"/>
              <a:gd name="connsiteY9838" fmla="*/ 2258154 h 4596459"/>
              <a:gd name="connsiteX9839" fmla="*/ 4626377 w 4716235"/>
              <a:gd name="connsiteY9839" fmla="*/ 2247416 h 4596459"/>
              <a:gd name="connsiteX9840" fmla="*/ 4637113 w 4716235"/>
              <a:gd name="connsiteY9840" fmla="*/ 2236680 h 4596459"/>
              <a:gd name="connsiteX9841" fmla="*/ 4411641 w 4716235"/>
              <a:gd name="connsiteY9841" fmla="*/ 2236019 h 4596459"/>
              <a:gd name="connsiteX9842" fmla="*/ 4422377 w 4716235"/>
              <a:gd name="connsiteY9842" fmla="*/ 2246756 h 4596459"/>
              <a:gd name="connsiteX9843" fmla="*/ 4411641 w 4716235"/>
              <a:gd name="connsiteY9843" fmla="*/ 2257494 h 4596459"/>
              <a:gd name="connsiteX9844" fmla="*/ 4400905 w 4716235"/>
              <a:gd name="connsiteY9844" fmla="*/ 2246756 h 4596459"/>
              <a:gd name="connsiteX9845" fmla="*/ 4411641 w 4716235"/>
              <a:gd name="connsiteY9845" fmla="*/ 2236019 h 4596459"/>
              <a:gd name="connsiteX9846" fmla="*/ 527237 w 4716235"/>
              <a:gd name="connsiteY9846" fmla="*/ 2232055 h 4596459"/>
              <a:gd name="connsiteX9847" fmla="*/ 537974 w 4716235"/>
              <a:gd name="connsiteY9847" fmla="*/ 2242791 h 4596459"/>
              <a:gd name="connsiteX9848" fmla="*/ 527237 w 4716235"/>
              <a:gd name="connsiteY9848" fmla="*/ 2253529 h 4596459"/>
              <a:gd name="connsiteX9849" fmla="*/ 516501 w 4716235"/>
              <a:gd name="connsiteY9849" fmla="*/ 2242791 h 4596459"/>
              <a:gd name="connsiteX9850" fmla="*/ 527237 w 4716235"/>
              <a:gd name="connsiteY9850" fmla="*/ 2232055 h 4596459"/>
              <a:gd name="connsiteX9851" fmla="*/ 4095154 w 4716235"/>
              <a:gd name="connsiteY9851" fmla="*/ 2230073 h 4596459"/>
              <a:gd name="connsiteX9852" fmla="*/ 4105890 w 4716235"/>
              <a:gd name="connsiteY9852" fmla="*/ 2240809 h 4596459"/>
              <a:gd name="connsiteX9853" fmla="*/ 4095154 w 4716235"/>
              <a:gd name="connsiteY9853" fmla="*/ 2251547 h 4596459"/>
              <a:gd name="connsiteX9854" fmla="*/ 4084417 w 4716235"/>
              <a:gd name="connsiteY9854" fmla="*/ 2240809 h 4596459"/>
              <a:gd name="connsiteX9855" fmla="*/ 4095154 w 4716235"/>
              <a:gd name="connsiteY9855" fmla="*/ 2230073 h 4596459"/>
              <a:gd name="connsiteX9856" fmla="*/ 4666020 w 4716235"/>
              <a:gd name="connsiteY9856" fmla="*/ 2226769 h 4596459"/>
              <a:gd name="connsiteX9857" fmla="*/ 4667012 w 4716235"/>
              <a:gd name="connsiteY9857" fmla="*/ 2227761 h 4596459"/>
              <a:gd name="connsiteX9858" fmla="*/ 4666020 w 4716235"/>
              <a:gd name="connsiteY9858" fmla="*/ 2228751 h 4596459"/>
              <a:gd name="connsiteX9859" fmla="*/ 4665030 w 4716235"/>
              <a:gd name="connsiteY9859" fmla="*/ 2227761 h 4596459"/>
              <a:gd name="connsiteX9860" fmla="*/ 4666020 w 4716235"/>
              <a:gd name="connsiteY9860" fmla="*/ 2226769 h 4596459"/>
              <a:gd name="connsiteX9861" fmla="*/ 4650988 w 4716235"/>
              <a:gd name="connsiteY9861" fmla="*/ 2226603 h 4596459"/>
              <a:gd name="connsiteX9862" fmla="*/ 4661560 w 4716235"/>
              <a:gd name="connsiteY9862" fmla="*/ 2237174 h 4596459"/>
              <a:gd name="connsiteX9863" fmla="*/ 4650988 w 4716235"/>
              <a:gd name="connsiteY9863" fmla="*/ 2247746 h 4596459"/>
              <a:gd name="connsiteX9864" fmla="*/ 4640417 w 4716235"/>
              <a:gd name="connsiteY9864" fmla="*/ 2237174 h 4596459"/>
              <a:gd name="connsiteX9865" fmla="*/ 4650988 w 4716235"/>
              <a:gd name="connsiteY9865" fmla="*/ 2226603 h 4596459"/>
              <a:gd name="connsiteX9866" fmla="*/ 4535691 w 4716235"/>
              <a:gd name="connsiteY9866" fmla="*/ 2223465 h 4596459"/>
              <a:gd name="connsiteX9867" fmla="*/ 4546429 w 4716235"/>
              <a:gd name="connsiteY9867" fmla="*/ 2234202 h 4596459"/>
              <a:gd name="connsiteX9868" fmla="*/ 4535691 w 4716235"/>
              <a:gd name="connsiteY9868" fmla="*/ 2244938 h 4596459"/>
              <a:gd name="connsiteX9869" fmla="*/ 4524954 w 4716235"/>
              <a:gd name="connsiteY9869" fmla="*/ 2234202 h 4596459"/>
              <a:gd name="connsiteX9870" fmla="*/ 4535691 w 4716235"/>
              <a:gd name="connsiteY9870" fmla="*/ 2223465 h 4596459"/>
              <a:gd name="connsiteX9871" fmla="*/ 4572031 w 4716235"/>
              <a:gd name="connsiteY9871" fmla="*/ 2222144 h 4596459"/>
              <a:gd name="connsiteX9872" fmla="*/ 4582767 w 4716235"/>
              <a:gd name="connsiteY9872" fmla="*/ 2232880 h 4596459"/>
              <a:gd name="connsiteX9873" fmla="*/ 4572031 w 4716235"/>
              <a:gd name="connsiteY9873" fmla="*/ 2243617 h 4596459"/>
              <a:gd name="connsiteX9874" fmla="*/ 4561294 w 4716235"/>
              <a:gd name="connsiteY9874" fmla="*/ 2232880 h 4596459"/>
              <a:gd name="connsiteX9875" fmla="*/ 4572031 w 4716235"/>
              <a:gd name="connsiteY9875" fmla="*/ 2222144 h 4596459"/>
              <a:gd name="connsiteX9876" fmla="*/ 3125209 w 4716235"/>
              <a:gd name="connsiteY9876" fmla="*/ 2221813 h 4596459"/>
              <a:gd name="connsiteX9877" fmla="*/ 3135945 w 4716235"/>
              <a:gd name="connsiteY9877" fmla="*/ 2232549 h 4596459"/>
              <a:gd name="connsiteX9878" fmla="*/ 3125209 w 4716235"/>
              <a:gd name="connsiteY9878" fmla="*/ 2243287 h 4596459"/>
              <a:gd name="connsiteX9879" fmla="*/ 3114473 w 4716235"/>
              <a:gd name="connsiteY9879" fmla="*/ 2232549 h 4596459"/>
              <a:gd name="connsiteX9880" fmla="*/ 3125209 w 4716235"/>
              <a:gd name="connsiteY9880" fmla="*/ 2221813 h 4596459"/>
              <a:gd name="connsiteX9881" fmla="*/ 4442860 w 4716235"/>
              <a:gd name="connsiteY9881" fmla="*/ 2217023 h 4596459"/>
              <a:gd name="connsiteX9882" fmla="*/ 4453598 w 4716235"/>
              <a:gd name="connsiteY9882" fmla="*/ 2227759 h 4596459"/>
              <a:gd name="connsiteX9883" fmla="*/ 4442860 w 4716235"/>
              <a:gd name="connsiteY9883" fmla="*/ 2238497 h 4596459"/>
              <a:gd name="connsiteX9884" fmla="*/ 4432123 w 4716235"/>
              <a:gd name="connsiteY9884" fmla="*/ 2227759 h 4596459"/>
              <a:gd name="connsiteX9885" fmla="*/ 4442860 w 4716235"/>
              <a:gd name="connsiteY9885" fmla="*/ 2217023 h 4596459"/>
              <a:gd name="connsiteX9886" fmla="*/ 358752 w 4716235"/>
              <a:gd name="connsiteY9886" fmla="*/ 2212894 h 4596459"/>
              <a:gd name="connsiteX9887" fmla="*/ 369490 w 4716235"/>
              <a:gd name="connsiteY9887" fmla="*/ 2223630 h 4596459"/>
              <a:gd name="connsiteX9888" fmla="*/ 358752 w 4716235"/>
              <a:gd name="connsiteY9888" fmla="*/ 2234368 h 4596459"/>
              <a:gd name="connsiteX9889" fmla="*/ 348016 w 4716235"/>
              <a:gd name="connsiteY9889" fmla="*/ 2223630 h 4596459"/>
              <a:gd name="connsiteX9890" fmla="*/ 358752 w 4716235"/>
              <a:gd name="connsiteY9890" fmla="*/ 2212894 h 4596459"/>
              <a:gd name="connsiteX9891" fmla="*/ 4165026 w 4716235"/>
              <a:gd name="connsiteY9891" fmla="*/ 2210416 h 4596459"/>
              <a:gd name="connsiteX9892" fmla="*/ 4175762 w 4716235"/>
              <a:gd name="connsiteY9892" fmla="*/ 2221152 h 4596459"/>
              <a:gd name="connsiteX9893" fmla="*/ 4165026 w 4716235"/>
              <a:gd name="connsiteY9893" fmla="*/ 2231890 h 4596459"/>
              <a:gd name="connsiteX9894" fmla="*/ 4154289 w 4716235"/>
              <a:gd name="connsiteY9894" fmla="*/ 2221152 h 4596459"/>
              <a:gd name="connsiteX9895" fmla="*/ 4165026 w 4716235"/>
              <a:gd name="connsiteY9895" fmla="*/ 2210416 h 4596459"/>
              <a:gd name="connsiteX9896" fmla="*/ 4547915 w 4716235"/>
              <a:gd name="connsiteY9896" fmla="*/ 2206616 h 4596459"/>
              <a:gd name="connsiteX9897" fmla="*/ 4558651 w 4716235"/>
              <a:gd name="connsiteY9897" fmla="*/ 2217352 h 4596459"/>
              <a:gd name="connsiteX9898" fmla="*/ 4547915 w 4716235"/>
              <a:gd name="connsiteY9898" fmla="*/ 2228091 h 4596459"/>
              <a:gd name="connsiteX9899" fmla="*/ 4537179 w 4716235"/>
              <a:gd name="connsiteY9899" fmla="*/ 2217352 h 4596459"/>
              <a:gd name="connsiteX9900" fmla="*/ 4547915 w 4716235"/>
              <a:gd name="connsiteY9900" fmla="*/ 2206616 h 4596459"/>
              <a:gd name="connsiteX9901" fmla="*/ 3286095 w 4716235"/>
              <a:gd name="connsiteY9901" fmla="*/ 2202818 h 4596459"/>
              <a:gd name="connsiteX9902" fmla="*/ 3296833 w 4716235"/>
              <a:gd name="connsiteY9902" fmla="*/ 2213555 h 4596459"/>
              <a:gd name="connsiteX9903" fmla="*/ 3286095 w 4716235"/>
              <a:gd name="connsiteY9903" fmla="*/ 2224291 h 4596459"/>
              <a:gd name="connsiteX9904" fmla="*/ 3275358 w 4716235"/>
              <a:gd name="connsiteY9904" fmla="*/ 2213555 h 4596459"/>
              <a:gd name="connsiteX9905" fmla="*/ 3286095 w 4716235"/>
              <a:gd name="connsiteY9905" fmla="*/ 2202818 h 4596459"/>
              <a:gd name="connsiteX9906" fmla="*/ 4469949 w 4716235"/>
              <a:gd name="connsiteY9906" fmla="*/ 2198854 h 4596459"/>
              <a:gd name="connsiteX9907" fmla="*/ 4480686 w 4716235"/>
              <a:gd name="connsiteY9907" fmla="*/ 2209590 h 4596459"/>
              <a:gd name="connsiteX9908" fmla="*/ 4469949 w 4716235"/>
              <a:gd name="connsiteY9908" fmla="*/ 2220328 h 4596459"/>
              <a:gd name="connsiteX9909" fmla="*/ 4459213 w 4716235"/>
              <a:gd name="connsiteY9909" fmla="*/ 2209590 h 4596459"/>
              <a:gd name="connsiteX9910" fmla="*/ 4469949 w 4716235"/>
              <a:gd name="connsiteY9910" fmla="*/ 2198854 h 4596459"/>
              <a:gd name="connsiteX9911" fmla="*/ 204307 w 4716235"/>
              <a:gd name="connsiteY9911" fmla="*/ 2194229 h 4596459"/>
              <a:gd name="connsiteX9912" fmla="*/ 215046 w 4716235"/>
              <a:gd name="connsiteY9912" fmla="*/ 2204965 h 4596459"/>
              <a:gd name="connsiteX9913" fmla="*/ 204307 w 4716235"/>
              <a:gd name="connsiteY9913" fmla="*/ 2215703 h 4596459"/>
              <a:gd name="connsiteX9914" fmla="*/ 193571 w 4716235"/>
              <a:gd name="connsiteY9914" fmla="*/ 2204965 h 4596459"/>
              <a:gd name="connsiteX9915" fmla="*/ 204307 w 4716235"/>
              <a:gd name="connsiteY9915" fmla="*/ 2194229 h 4596459"/>
              <a:gd name="connsiteX9916" fmla="*/ 4227299 w 4716235"/>
              <a:gd name="connsiteY9916" fmla="*/ 2191584 h 4596459"/>
              <a:gd name="connsiteX9917" fmla="*/ 4238035 w 4716235"/>
              <a:gd name="connsiteY9917" fmla="*/ 2202321 h 4596459"/>
              <a:gd name="connsiteX9918" fmla="*/ 4227299 w 4716235"/>
              <a:gd name="connsiteY9918" fmla="*/ 2213059 h 4596459"/>
              <a:gd name="connsiteX9919" fmla="*/ 4216562 w 4716235"/>
              <a:gd name="connsiteY9919" fmla="*/ 2202321 h 4596459"/>
              <a:gd name="connsiteX9920" fmla="*/ 4227299 w 4716235"/>
              <a:gd name="connsiteY9920" fmla="*/ 2191584 h 4596459"/>
              <a:gd name="connsiteX9921" fmla="*/ 4558487 w 4716235"/>
              <a:gd name="connsiteY9921" fmla="*/ 2190594 h 4596459"/>
              <a:gd name="connsiteX9922" fmla="*/ 4569225 w 4716235"/>
              <a:gd name="connsiteY9922" fmla="*/ 2201330 h 4596459"/>
              <a:gd name="connsiteX9923" fmla="*/ 4558487 w 4716235"/>
              <a:gd name="connsiteY9923" fmla="*/ 2212068 h 4596459"/>
              <a:gd name="connsiteX9924" fmla="*/ 4547750 w 4716235"/>
              <a:gd name="connsiteY9924" fmla="*/ 2201330 h 4596459"/>
              <a:gd name="connsiteX9925" fmla="*/ 4558487 w 4716235"/>
              <a:gd name="connsiteY9925" fmla="*/ 2190594 h 4596459"/>
              <a:gd name="connsiteX9926" fmla="*/ 4629184 w 4716235"/>
              <a:gd name="connsiteY9926" fmla="*/ 2187126 h 4596459"/>
              <a:gd name="connsiteX9927" fmla="*/ 4639922 w 4716235"/>
              <a:gd name="connsiteY9927" fmla="*/ 2197862 h 4596459"/>
              <a:gd name="connsiteX9928" fmla="*/ 4629268 w 4716235"/>
              <a:gd name="connsiteY9928" fmla="*/ 2208517 h 4596459"/>
              <a:gd name="connsiteX9929" fmla="*/ 4629349 w 4716235"/>
              <a:gd name="connsiteY9929" fmla="*/ 2208598 h 4596459"/>
              <a:gd name="connsiteX9930" fmla="*/ 4618777 w 4716235"/>
              <a:gd name="connsiteY9930" fmla="*/ 2219172 h 4596459"/>
              <a:gd name="connsiteX9931" fmla="*/ 4619603 w 4716235"/>
              <a:gd name="connsiteY9931" fmla="*/ 2219995 h 4596459"/>
              <a:gd name="connsiteX9932" fmla="*/ 4609115 w 4716235"/>
              <a:gd name="connsiteY9932" fmla="*/ 2230485 h 4596459"/>
              <a:gd name="connsiteX9933" fmla="*/ 4610684 w 4716235"/>
              <a:gd name="connsiteY9933" fmla="*/ 2232055 h 4596459"/>
              <a:gd name="connsiteX9934" fmla="*/ 4599948 w 4716235"/>
              <a:gd name="connsiteY9934" fmla="*/ 2242793 h 4596459"/>
              <a:gd name="connsiteX9935" fmla="*/ 4602095 w 4716235"/>
              <a:gd name="connsiteY9935" fmla="*/ 2244938 h 4596459"/>
              <a:gd name="connsiteX9936" fmla="*/ 4591358 w 4716235"/>
              <a:gd name="connsiteY9936" fmla="*/ 2255676 h 4596459"/>
              <a:gd name="connsiteX9937" fmla="*/ 4580622 w 4716235"/>
              <a:gd name="connsiteY9937" fmla="*/ 2244938 h 4596459"/>
              <a:gd name="connsiteX9938" fmla="*/ 4591358 w 4716235"/>
              <a:gd name="connsiteY9938" fmla="*/ 2234202 h 4596459"/>
              <a:gd name="connsiteX9939" fmla="*/ 4589211 w 4716235"/>
              <a:gd name="connsiteY9939" fmla="*/ 2232055 h 4596459"/>
              <a:gd name="connsiteX9940" fmla="*/ 4599701 w 4716235"/>
              <a:gd name="connsiteY9940" fmla="*/ 2221567 h 4596459"/>
              <a:gd name="connsiteX9941" fmla="*/ 4598130 w 4716235"/>
              <a:gd name="connsiteY9941" fmla="*/ 2219995 h 4596459"/>
              <a:gd name="connsiteX9942" fmla="*/ 4608702 w 4716235"/>
              <a:gd name="connsiteY9942" fmla="*/ 2209424 h 4596459"/>
              <a:gd name="connsiteX9943" fmla="*/ 4607876 w 4716235"/>
              <a:gd name="connsiteY9943" fmla="*/ 2208598 h 4596459"/>
              <a:gd name="connsiteX9944" fmla="*/ 4618529 w 4716235"/>
              <a:gd name="connsiteY9944" fmla="*/ 2197945 h 4596459"/>
              <a:gd name="connsiteX9945" fmla="*/ 4618448 w 4716235"/>
              <a:gd name="connsiteY9945" fmla="*/ 2197862 h 4596459"/>
              <a:gd name="connsiteX9946" fmla="*/ 4629184 w 4716235"/>
              <a:gd name="connsiteY9946" fmla="*/ 2187126 h 4596459"/>
              <a:gd name="connsiteX9947" fmla="*/ 3433436 w 4716235"/>
              <a:gd name="connsiteY9947" fmla="*/ 2184316 h 4596459"/>
              <a:gd name="connsiteX9948" fmla="*/ 3444173 w 4716235"/>
              <a:gd name="connsiteY9948" fmla="*/ 2195053 h 4596459"/>
              <a:gd name="connsiteX9949" fmla="*/ 3433436 w 4716235"/>
              <a:gd name="connsiteY9949" fmla="*/ 2205791 h 4596459"/>
              <a:gd name="connsiteX9950" fmla="*/ 3422700 w 4716235"/>
              <a:gd name="connsiteY9950" fmla="*/ 2195053 h 4596459"/>
              <a:gd name="connsiteX9951" fmla="*/ 3433436 w 4716235"/>
              <a:gd name="connsiteY9951" fmla="*/ 2184316 h 4596459"/>
              <a:gd name="connsiteX9952" fmla="*/ 4493404 w 4716235"/>
              <a:gd name="connsiteY9952" fmla="*/ 2181509 h 4596459"/>
              <a:gd name="connsiteX9953" fmla="*/ 4504142 w 4716235"/>
              <a:gd name="connsiteY9953" fmla="*/ 2192245 h 4596459"/>
              <a:gd name="connsiteX9954" fmla="*/ 4493404 w 4716235"/>
              <a:gd name="connsiteY9954" fmla="*/ 2202983 h 4596459"/>
              <a:gd name="connsiteX9955" fmla="*/ 4482668 w 4716235"/>
              <a:gd name="connsiteY9955" fmla="*/ 2192245 h 4596459"/>
              <a:gd name="connsiteX9956" fmla="*/ 4493404 w 4716235"/>
              <a:gd name="connsiteY9956" fmla="*/ 2181509 h 4596459"/>
              <a:gd name="connsiteX9957" fmla="*/ 4640748 w 4716235"/>
              <a:gd name="connsiteY9957" fmla="*/ 2177048 h 4596459"/>
              <a:gd name="connsiteX9958" fmla="*/ 4651484 w 4716235"/>
              <a:gd name="connsiteY9958" fmla="*/ 2187785 h 4596459"/>
              <a:gd name="connsiteX9959" fmla="*/ 4640748 w 4716235"/>
              <a:gd name="connsiteY9959" fmla="*/ 2198523 h 4596459"/>
              <a:gd name="connsiteX9960" fmla="*/ 4630011 w 4716235"/>
              <a:gd name="connsiteY9960" fmla="*/ 2187785 h 4596459"/>
              <a:gd name="connsiteX9961" fmla="*/ 4640748 w 4716235"/>
              <a:gd name="connsiteY9961" fmla="*/ 2177048 h 4596459"/>
              <a:gd name="connsiteX9962" fmla="*/ 63077 w 4716235"/>
              <a:gd name="connsiteY9962" fmla="*/ 2175727 h 4596459"/>
              <a:gd name="connsiteX9963" fmla="*/ 73815 w 4716235"/>
              <a:gd name="connsiteY9963" fmla="*/ 2186463 h 4596459"/>
              <a:gd name="connsiteX9964" fmla="*/ 63077 w 4716235"/>
              <a:gd name="connsiteY9964" fmla="*/ 2197201 h 4596459"/>
              <a:gd name="connsiteX9965" fmla="*/ 52341 w 4716235"/>
              <a:gd name="connsiteY9965" fmla="*/ 2186463 h 4596459"/>
              <a:gd name="connsiteX9966" fmla="*/ 63077 w 4716235"/>
              <a:gd name="connsiteY9966" fmla="*/ 2175727 h 4596459"/>
              <a:gd name="connsiteX9967" fmla="*/ 4567572 w 4716235"/>
              <a:gd name="connsiteY9967" fmla="*/ 2175233 h 4596459"/>
              <a:gd name="connsiteX9968" fmla="*/ 4578308 w 4716235"/>
              <a:gd name="connsiteY9968" fmla="*/ 2185969 h 4596459"/>
              <a:gd name="connsiteX9969" fmla="*/ 4567572 w 4716235"/>
              <a:gd name="connsiteY9969" fmla="*/ 2196707 h 4596459"/>
              <a:gd name="connsiteX9970" fmla="*/ 4556836 w 4716235"/>
              <a:gd name="connsiteY9970" fmla="*/ 2185969 h 4596459"/>
              <a:gd name="connsiteX9971" fmla="*/ 4567572 w 4716235"/>
              <a:gd name="connsiteY9971" fmla="*/ 2175233 h 4596459"/>
              <a:gd name="connsiteX9972" fmla="*/ 4282635 w 4716235"/>
              <a:gd name="connsiteY9972" fmla="*/ 2173250 h 4596459"/>
              <a:gd name="connsiteX9973" fmla="*/ 4293371 w 4716235"/>
              <a:gd name="connsiteY9973" fmla="*/ 2183987 h 4596459"/>
              <a:gd name="connsiteX9974" fmla="*/ 4282635 w 4716235"/>
              <a:gd name="connsiteY9974" fmla="*/ 2194725 h 4596459"/>
              <a:gd name="connsiteX9975" fmla="*/ 4271898 w 4716235"/>
              <a:gd name="connsiteY9975" fmla="*/ 2183987 h 4596459"/>
              <a:gd name="connsiteX9976" fmla="*/ 4282635 w 4716235"/>
              <a:gd name="connsiteY9976" fmla="*/ 2173250 h 4596459"/>
              <a:gd name="connsiteX9977" fmla="*/ 4653466 w 4716235"/>
              <a:gd name="connsiteY9977" fmla="*/ 2167633 h 4596459"/>
              <a:gd name="connsiteX9978" fmla="*/ 4664204 w 4716235"/>
              <a:gd name="connsiteY9978" fmla="*/ 2178370 h 4596459"/>
              <a:gd name="connsiteX9979" fmla="*/ 4653466 w 4716235"/>
              <a:gd name="connsiteY9979" fmla="*/ 2189108 h 4596459"/>
              <a:gd name="connsiteX9980" fmla="*/ 4642730 w 4716235"/>
              <a:gd name="connsiteY9980" fmla="*/ 2178370 h 4596459"/>
              <a:gd name="connsiteX9981" fmla="*/ 4653466 w 4716235"/>
              <a:gd name="connsiteY9981" fmla="*/ 2167633 h 4596459"/>
              <a:gd name="connsiteX9982" fmla="*/ 3568060 w 4716235"/>
              <a:gd name="connsiteY9982" fmla="*/ 2166147 h 4596459"/>
              <a:gd name="connsiteX9983" fmla="*/ 3578796 w 4716235"/>
              <a:gd name="connsiteY9983" fmla="*/ 2176883 h 4596459"/>
              <a:gd name="connsiteX9984" fmla="*/ 3568060 w 4716235"/>
              <a:gd name="connsiteY9984" fmla="*/ 2187620 h 4596459"/>
              <a:gd name="connsiteX9985" fmla="*/ 3557323 w 4716235"/>
              <a:gd name="connsiteY9985" fmla="*/ 2176883 h 4596459"/>
              <a:gd name="connsiteX9986" fmla="*/ 3568060 w 4716235"/>
              <a:gd name="connsiteY9986" fmla="*/ 2166147 h 4596459"/>
              <a:gd name="connsiteX9987" fmla="*/ 4513393 w 4716235"/>
              <a:gd name="connsiteY9987" fmla="*/ 2164990 h 4596459"/>
              <a:gd name="connsiteX9988" fmla="*/ 4524129 w 4716235"/>
              <a:gd name="connsiteY9988" fmla="*/ 2175727 h 4596459"/>
              <a:gd name="connsiteX9989" fmla="*/ 4513393 w 4716235"/>
              <a:gd name="connsiteY9989" fmla="*/ 2186465 h 4596459"/>
              <a:gd name="connsiteX9990" fmla="*/ 4502656 w 4716235"/>
              <a:gd name="connsiteY9990" fmla="*/ 2175727 h 4596459"/>
              <a:gd name="connsiteX9991" fmla="*/ 4513393 w 4716235"/>
              <a:gd name="connsiteY9991" fmla="*/ 2164990 h 4596459"/>
              <a:gd name="connsiteX9992" fmla="*/ 4667343 w 4716235"/>
              <a:gd name="connsiteY9992" fmla="*/ 2161357 h 4596459"/>
              <a:gd name="connsiteX9993" fmla="*/ 4675602 w 4716235"/>
              <a:gd name="connsiteY9993" fmla="*/ 2169616 h 4596459"/>
              <a:gd name="connsiteX9994" fmla="*/ 4667343 w 4716235"/>
              <a:gd name="connsiteY9994" fmla="*/ 2177875 h 4596459"/>
              <a:gd name="connsiteX9995" fmla="*/ 4659083 w 4716235"/>
              <a:gd name="connsiteY9995" fmla="*/ 2169616 h 4596459"/>
              <a:gd name="connsiteX9996" fmla="*/ 4667343 w 4716235"/>
              <a:gd name="connsiteY9996" fmla="*/ 2161357 h 4596459"/>
              <a:gd name="connsiteX9997" fmla="*/ 4331528 w 4716235"/>
              <a:gd name="connsiteY9997" fmla="*/ 2155905 h 4596459"/>
              <a:gd name="connsiteX9998" fmla="*/ 4342265 w 4716235"/>
              <a:gd name="connsiteY9998" fmla="*/ 2166641 h 4596459"/>
              <a:gd name="connsiteX9999" fmla="*/ 4331528 w 4716235"/>
              <a:gd name="connsiteY9999" fmla="*/ 2177379 h 4596459"/>
              <a:gd name="connsiteX10000" fmla="*/ 4320792 w 4716235"/>
              <a:gd name="connsiteY10000" fmla="*/ 2166641 h 4596459"/>
              <a:gd name="connsiteX10001" fmla="*/ 4331528 w 4716235"/>
              <a:gd name="connsiteY10001" fmla="*/ 2155905 h 4596459"/>
              <a:gd name="connsiteX10002" fmla="*/ 4530571 w 4716235"/>
              <a:gd name="connsiteY10002" fmla="*/ 2149133 h 4596459"/>
              <a:gd name="connsiteX10003" fmla="*/ 4541310 w 4716235"/>
              <a:gd name="connsiteY10003" fmla="*/ 2159869 h 4596459"/>
              <a:gd name="connsiteX10004" fmla="*/ 4530571 w 4716235"/>
              <a:gd name="connsiteY10004" fmla="*/ 2170606 h 4596459"/>
              <a:gd name="connsiteX10005" fmla="*/ 4519835 w 4716235"/>
              <a:gd name="connsiteY10005" fmla="*/ 2159869 h 4596459"/>
              <a:gd name="connsiteX10006" fmla="*/ 4530571 w 4716235"/>
              <a:gd name="connsiteY10006" fmla="*/ 2149133 h 4596459"/>
              <a:gd name="connsiteX10007" fmla="*/ 3690458 w 4716235"/>
              <a:gd name="connsiteY10007" fmla="*/ 2148472 h 4596459"/>
              <a:gd name="connsiteX10008" fmla="*/ 3701195 w 4716235"/>
              <a:gd name="connsiteY10008" fmla="*/ 2159209 h 4596459"/>
              <a:gd name="connsiteX10009" fmla="*/ 3690458 w 4716235"/>
              <a:gd name="connsiteY10009" fmla="*/ 2169947 h 4596459"/>
              <a:gd name="connsiteX10010" fmla="*/ 3679722 w 4716235"/>
              <a:gd name="connsiteY10010" fmla="*/ 2159209 h 4596459"/>
              <a:gd name="connsiteX10011" fmla="*/ 3690458 w 4716235"/>
              <a:gd name="connsiteY10011" fmla="*/ 2148472 h 4596459"/>
              <a:gd name="connsiteX10012" fmla="*/ 4374476 w 4716235"/>
              <a:gd name="connsiteY10012" fmla="*/ 2139057 h 4596459"/>
              <a:gd name="connsiteX10013" fmla="*/ 4385212 w 4716235"/>
              <a:gd name="connsiteY10013" fmla="*/ 2149794 h 4596459"/>
              <a:gd name="connsiteX10014" fmla="*/ 4374476 w 4716235"/>
              <a:gd name="connsiteY10014" fmla="*/ 2160530 h 4596459"/>
              <a:gd name="connsiteX10015" fmla="*/ 4363739 w 4716235"/>
              <a:gd name="connsiteY10015" fmla="*/ 2149794 h 4596459"/>
              <a:gd name="connsiteX10016" fmla="*/ 4374476 w 4716235"/>
              <a:gd name="connsiteY10016" fmla="*/ 2139057 h 4596459"/>
              <a:gd name="connsiteX10017" fmla="*/ 4545107 w 4716235"/>
              <a:gd name="connsiteY10017" fmla="*/ 2134103 h 4596459"/>
              <a:gd name="connsiteX10018" fmla="*/ 4555846 w 4716235"/>
              <a:gd name="connsiteY10018" fmla="*/ 2144839 h 4596459"/>
              <a:gd name="connsiteX10019" fmla="*/ 4545107 w 4716235"/>
              <a:gd name="connsiteY10019" fmla="*/ 2155577 h 4596459"/>
              <a:gd name="connsiteX10020" fmla="*/ 4534371 w 4716235"/>
              <a:gd name="connsiteY10020" fmla="*/ 2144839 h 4596459"/>
              <a:gd name="connsiteX10021" fmla="*/ 4545107 w 4716235"/>
              <a:gd name="connsiteY10021" fmla="*/ 2134103 h 4596459"/>
              <a:gd name="connsiteX10022" fmla="*/ 3801792 w 4716235"/>
              <a:gd name="connsiteY10022" fmla="*/ 2131460 h 4596459"/>
              <a:gd name="connsiteX10023" fmla="*/ 3812530 w 4716235"/>
              <a:gd name="connsiteY10023" fmla="*/ 2142196 h 4596459"/>
              <a:gd name="connsiteX10024" fmla="*/ 3801792 w 4716235"/>
              <a:gd name="connsiteY10024" fmla="*/ 2152934 h 4596459"/>
              <a:gd name="connsiteX10025" fmla="*/ 3791055 w 4716235"/>
              <a:gd name="connsiteY10025" fmla="*/ 2142196 h 4596459"/>
              <a:gd name="connsiteX10026" fmla="*/ 3801792 w 4716235"/>
              <a:gd name="connsiteY10026" fmla="*/ 2131460 h 4596459"/>
              <a:gd name="connsiteX10027" fmla="*/ 4412137 w 4716235"/>
              <a:gd name="connsiteY10027" fmla="*/ 2123035 h 4596459"/>
              <a:gd name="connsiteX10028" fmla="*/ 4422873 w 4716235"/>
              <a:gd name="connsiteY10028" fmla="*/ 2133772 h 4596459"/>
              <a:gd name="connsiteX10029" fmla="*/ 4412137 w 4716235"/>
              <a:gd name="connsiteY10029" fmla="*/ 2144508 h 4596459"/>
              <a:gd name="connsiteX10030" fmla="*/ 4401401 w 4716235"/>
              <a:gd name="connsiteY10030" fmla="*/ 2133772 h 4596459"/>
              <a:gd name="connsiteX10031" fmla="*/ 4412137 w 4716235"/>
              <a:gd name="connsiteY10031" fmla="*/ 2123035 h 4596459"/>
              <a:gd name="connsiteX10032" fmla="*/ 4557495 w 4716235"/>
              <a:gd name="connsiteY10032" fmla="*/ 2119732 h 4596459"/>
              <a:gd name="connsiteX10033" fmla="*/ 4568233 w 4716235"/>
              <a:gd name="connsiteY10033" fmla="*/ 2130468 h 4596459"/>
              <a:gd name="connsiteX10034" fmla="*/ 4557495 w 4716235"/>
              <a:gd name="connsiteY10034" fmla="*/ 2141206 h 4596459"/>
              <a:gd name="connsiteX10035" fmla="*/ 4546758 w 4716235"/>
              <a:gd name="connsiteY10035" fmla="*/ 2130468 h 4596459"/>
              <a:gd name="connsiteX10036" fmla="*/ 4557495 w 4716235"/>
              <a:gd name="connsiteY10036" fmla="*/ 2119732 h 4596459"/>
              <a:gd name="connsiteX10037" fmla="*/ 3902387 w 4716235"/>
              <a:gd name="connsiteY10037" fmla="*/ 2114942 h 4596459"/>
              <a:gd name="connsiteX10038" fmla="*/ 3913125 w 4716235"/>
              <a:gd name="connsiteY10038" fmla="*/ 2125678 h 4596459"/>
              <a:gd name="connsiteX10039" fmla="*/ 3902387 w 4716235"/>
              <a:gd name="connsiteY10039" fmla="*/ 2136416 h 4596459"/>
              <a:gd name="connsiteX10040" fmla="*/ 3891650 w 4716235"/>
              <a:gd name="connsiteY10040" fmla="*/ 2125678 h 4596459"/>
              <a:gd name="connsiteX10041" fmla="*/ 3902387 w 4716235"/>
              <a:gd name="connsiteY10041" fmla="*/ 2114942 h 4596459"/>
              <a:gd name="connsiteX10042" fmla="*/ 4444842 w 4716235"/>
              <a:gd name="connsiteY10042" fmla="*/ 2107507 h 4596459"/>
              <a:gd name="connsiteX10043" fmla="*/ 4455580 w 4716235"/>
              <a:gd name="connsiteY10043" fmla="*/ 2118244 h 4596459"/>
              <a:gd name="connsiteX10044" fmla="*/ 4444842 w 4716235"/>
              <a:gd name="connsiteY10044" fmla="*/ 2128980 h 4596459"/>
              <a:gd name="connsiteX10045" fmla="*/ 4434106 w 4716235"/>
              <a:gd name="connsiteY10045" fmla="*/ 2118244 h 4596459"/>
              <a:gd name="connsiteX10046" fmla="*/ 4444842 w 4716235"/>
              <a:gd name="connsiteY10046" fmla="*/ 2107507 h 4596459"/>
              <a:gd name="connsiteX10047" fmla="*/ 4568068 w 4716235"/>
              <a:gd name="connsiteY10047" fmla="*/ 2106021 h 4596459"/>
              <a:gd name="connsiteX10048" fmla="*/ 4578804 w 4716235"/>
              <a:gd name="connsiteY10048" fmla="*/ 2116757 h 4596459"/>
              <a:gd name="connsiteX10049" fmla="*/ 4568068 w 4716235"/>
              <a:gd name="connsiteY10049" fmla="*/ 2127494 h 4596459"/>
              <a:gd name="connsiteX10050" fmla="*/ 4557332 w 4716235"/>
              <a:gd name="connsiteY10050" fmla="*/ 2116757 h 4596459"/>
              <a:gd name="connsiteX10051" fmla="*/ 4568068 w 4716235"/>
              <a:gd name="connsiteY10051" fmla="*/ 2106021 h 4596459"/>
              <a:gd name="connsiteX10052" fmla="*/ 4668497 w 4716235"/>
              <a:gd name="connsiteY10052" fmla="*/ 2099414 h 4596459"/>
              <a:gd name="connsiteX10053" fmla="*/ 4679235 w 4716235"/>
              <a:gd name="connsiteY10053" fmla="*/ 2110150 h 4596459"/>
              <a:gd name="connsiteX10054" fmla="*/ 4668497 w 4716235"/>
              <a:gd name="connsiteY10054" fmla="*/ 2120888 h 4596459"/>
              <a:gd name="connsiteX10055" fmla="*/ 4666102 w 4716235"/>
              <a:gd name="connsiteY10055" fmla="*/ 2118493 h 4596459"/>
              <a:gd name="connsiteX10056" fmla="*/ 4655778 w 4716235"/>
              <a:gd name="connsiteY10056" fmla="*/ 2128817 h 4596459"/>
              <a:gd name="connsiteX10057" fmla="*/ 4654373 w 4716235"/>
              <a:gd name="connsiteY10057" fmla="*/ 2127412 h 4596459"/>
              <a:gd name="connsiteX10058" fmla="*/ 4644381 w 4716235"/>
              <a:gd name="connsiteY10058" fmla="*/ 2137406 h 4596459"/>
              <a:gd name="connsiteX10059" fmla="*/ 4643639 w 4716235"/>
              <a:gd name="connsiteY10059" fmla="*/ 2136664 h 4596459"/>
              <a:gd name="connsiteX10060" fmla="*/ 4634966 w 4716235"/>
              <a:gd name="connsiteY10060" fmla="*/ 2145335 h 4596459"/>
              <a:gd name="connsiteX10061" fmla="*/ 4635131 w 4716235"/>
              <a:gd name="connsiteY10061" fmla="*/ 2145498 h 4596459"/>
              <a:gd name="connsiteX10062" fmla="*/ 4625551 w 4716235"/>
              <a:gd name="connsiteY10062" fmla="*/ 2155080 h 4596459"/>
              <a:gd name="connsiteX10063" fmla="*/ 4626377 w 4716235"/>
              <a:gd name="connsiteY10063" fmla="*/ 2155905 h 4596459"/>
              <a:gd name="connsiteX10064" fmla="*/ 4616878 w 4716235"/>
              <a:gd name="connsiteY10064" fmla="*/ 2165405 h 4596459"/>
              <a:gd name="connsiteX10065" fmla="*/ 4618448 w 4716235"/>
              <a:gd name="connsiteY10065" fmla="*/ 2166973 h 4596459"/>
              <a:gd name="connsiteX10066" fmla="*/ 4608868 w 4716235"/>
              <a:gd name="connsiteY10066" fmla="*/ 2176554 h 4596459"/>
              <a:gd name="connsiteX10067" fmla="*/ 4611015 w 4716235"/>
              <a:gd name="connsiteY10067" fmla="*/ 2178701 h 4596459"/>
              <a:gd name="connsiteX10068" fmla="*/ 4601267 w 4716235"/>
              <a:gd name="connsiteY10068" fmla="*/ 2188447 h 4596459"/>
              <a:gd name="connsiteX10069" fmla="*/ 4603910 w 4716235"/>
              <a:gd name="connsiteY10069" fmla="*/ 2191090 h 4596459"/>
              <a:gd name="connsiteX10070" fmla="*/ 4593918 w 4716235"/>
              <a:gd name="connsiteY10070" fmla="*/ 2201082 h 4596459"/>
              <a:gd name="connsiteX10071" fmla="*/ 4596973 w 4716235"/>
              <a:gd name="connsiteY10071" fmla="*/ 2204138 h 4596459"/>
              <a:gd name="connsiteX10072" fmla="*/ 4586485 w 4716235"/>
              <a:gd name="connsiteY10072" fmla="*/ 2214628 h 4596459"/>
              <a:gd name="connsiteX10073" fmla="*/ 4590037 w 4716235"/>
              <a:gd name="connsiteY10073" fmla="*/ 2218180 h 4596459"/>
              <a:gd name="connsiteX10074" fmla="*/ 4579300 w 4716235"/>
              <a:gd name="connsiteY10074" fmla="*/ 2228916 h 4596459"/>
              <a:gd name="connsiteX10075" fmla="*/ 4568564 w 4716235"/>
              <a:gd name="connsiteY10075" fmla="*/ 2218180 h 4596459"/>
              <a:gd name="connsiteX10076" fmla="*/ 4579052 w 4716235"/>
              <a:gd name="connsiteY10076" fmla="*/ 2207691 h 4596459"/>
              <a:gd name="connsiteX10077" fmla="*/ 4575501 w 4716235"/>
              <a:gd name="connsiteY10077" fmla="*/ 2204138 h 4596459"/>
              <a:gd name="connsiteX10078" fmla="*/ 4585493 w 4716235"/>
              <a:gd name="connsiteY10078" fmla="*/ 2194146 h 4596459"/>
              <a:gd name="connsiteX10079" fmla="*/ 4582438 w 4716235"/>
              <a:gd name="connsiteY10079" fmla="*/ 2191090 h 4596459"/>
              <a:gd name="connsiteX10080" fmla="*/ 4592184 w 4716235"/>
              <a:gd name="connsiteY10080" fmla="*/ 2181344 h 4596459"/>
              <a:gd name="connsiteX10081" fmla="*/ 4589541 w 4716235"/>
              <a:gd name="connsiteY10081" fmla="*/ 2178701 h 4596459"/>
              <a:gd name="connsiteX10082" fmla="*/ 4599122 w 4716235"/>
              <a:gd name="connsiteY10082" fmla="*/ 2169120 h 4596459"/>
              <a:gd name="connsiteX10083" fmla="*/ 4596975 w 4716235"/>
              <a:gd name="connsiteY10083" fmla="*/ 2166973 h 4596459"/>
              <a:gd name="connsiteX10084" fmla="*/ 4606473 w 4716235"/>
              <a:gd name="connsiteY10084" fmla="*/ 2157474 h 4596459"/>
              <a:gd name="connsiteX10085" fmla="*/ 4604904 w 4716235"/>
              <a:gd name="connsiteY10085" fmla="*/ 2155905 h 4596459"/>
              <a:gd name="connsiteX10086" fmla="*/ 4614484 w 4716235"/>
              <a:gd name="connsiteY10086" fmla="*/ 2146325 h 4596459"/>
              <a:gd name="connsiteX10087" fmla="*/ 4613658 w 4716235"/>
              <a:gd name="connsiteY10087" fmla="*/ 2145498 h 4596459"/>
              <a:gd name="connsiteX10088" fmla="*/ 4623238 w 4716235"/>
              <a:gd name="connsiteY10088" fmla="*/ 2135919 h 4596459"/>
              <a:gd name="connsiteX10089" fmla="*/ 4623073 w 4716235"/>
              <a:gd name="connsiteY10089" fmla="*/ 2135754 h 4596459"/>
              <a:gd name="connsiteX10090" fmla="*/ 4633809 w 4716235"/>
              <a:gd name="connsiteY10090" fmla="*/ 2125017 h 4596459"/>
              <a:gd name="connsiteX10091" fmla="*/ 4634553 w 4716235"/>
              <a:gd name="connsiteY10091" fmla="*/ 2125761 h 4596459"/>
              <a:gd name="connsiteX10092" fmla="*/ 4644381 w 4716235"/>
              <a:gd name="connsiteY10092" fmla="*/ 2115932 h 4596459"/>
              <a:gd name="connsiteX10093" fmla="*/ 4645786 w 4716235"/>
              <a:gd name="connsiteY10093" fmla="*/ 2117337 h 4596459"/>
              <a:gd name="connsiteX10094" fmla="*/ 4655778 w 4716235"/>
              <a:gd name="connsiteY10094" fmla="*/ 2107343 h 4596459"/>
              <a:gd name="connsiteX10095" fmla="*/ 4658173 w 4716235"/>
              <a:gd name="connsiteY10095" fmla="*/ 2109738 h 4596459"/>
              <a:gd name="connsiteX10096" fmla="*/ 3993235 w 4716235"/>
              <a:gd name="connsiteY10096" fmla="*/ 2099083 h 4596459"/>
              <a:gd name="connsiteX10097" fmla="*/ 4003973 w 4716235"/>
              <a:gd name="connsiteY10097" fmla="*/ 2109819 h 4596459"/>
              <a:gd name="connsiteX10098" fmla="*/ 3993235 w 4716235"/>
              <a:gd name="connsiteY10098" fmla="*/ 2120557 h 4596459"/>
              <a:gd name="connsiteX10099" fmla="*/ 3982499 w 4716235"/>
              <a:gd name="connsiteY10099" fmla="*/ 2109819 h 4596459"/>
              <a:gd name="connsiteX10100" fmla="*/ 3993235 w 4716235"/>
              <a:gd name="connsiteY10100" fmla="*/ 2099083 h 4596459"/>
              <a:gd name="connsiteX10101" fmla="*/ 4682374 w 4716235"/>
              <a:gd name="connsiteY10101" fmla="*/ 2098092 h 4596459"/>
              <a:gd name="connsiteX10102" fmla="*/ 4686834 w 4716235"/>
              <a:gd name="connsiteY10102" fmla="*/ 2102553 h 4596459"/>
              <a:gd name="connsiteX10103" fmla="*/ 4682374 w 4716235"/>
              <a:gd name="connsiteY10103" fmla="*/ 2107013 h 4596459"/>
              <a:gd name="connsiteX10104" fmla="*/ 4677913 w 4716235"/>
              <a:gd name="connsiteY10104" fmla="*/ 2102553 h 4596459"/>
              <a:gd name="connsiteX10105" fmla="*/ 4682374 w 4716235"/>
              <a:gd name="connsiteY10105" fmla="*/ 2098092 h 4596459"/>
              <a:gd name="connsiteX10106" fmla="*/ 4473253 w 4716235"/>
              <a:gd name="connsiteY10106" fmla="*/ 2092807 h 4596459"/>
              <a:gd name="connsiteX10107" fmla="*/ 4483991 w 4716235"/>
              <a:gd name="connsiteY10107" fmla="*/ 2103543 h 4596459"/>
              <a:gd name="connsiteX10108" fmla="*/ 4473253 w 4716235"/>
              <a:gd name="connsiteY10108" fmla="*/ 2114281 h 4596459"/>
              <a:gd name="connsiteX10109" fmla="*/ 4462517 w 4716235"/>
              <a:gd name="connsiteY10109" fmla="*/ 2103543 h 4596459"/>
              <a:gd name="connsiteX10110" fmla="*/ 4473253 w 4716235"/>
              <a:gd name="connsiteY10110" fmla="*/ 2092807 h 4596459"/>
              <a:gd name="connsiteX10111" fmla="*/ 4075001 w 4716235"/>
              <a:gd name="connsiteY10111" fmla="*/ 2083886 h 4596459"/>
              <a:gd name="connsiteX10112" fmla="*/ 4085737 w 4716235"/>
              <a:gd name="connsiteY10112" fmla="*/ 2094622 h 4596459"/>
              <a:gd name="connsiteX10113" fmla="*/ 4075001 w 4716235"/>
              <a:gd name="connsiteY10113" fmla="*/ 2105360 h 4596459"/>
              <a:gd name="connsiteX10114" fmla="*/ 4064264 w 4716235"/>
              <a:gd name="connsiteY10114" fmla="*/ 2094622 h 4596459"/>
              <a:gd name="connsiteX10115" fmla="*/ 4075001 w 4716235"/>
              <a:gd name="connsiteY10115" fmla="*/ 2083886 h 4596459"/>
              <a:gd name="connsiteX10116" fmla="*/ 1719682 w 4716235"/>
              <a:gd name="connsiteY10116" fmla="*/ 2079261 h 4596459"/>
              <a:gd name="connsiteX10117" fmla="*/ 1730418 w 4716235"/>
              <a:gd name="connsiteY10117" fmla="*/ 2089997 h 4596459"/>
              <a:gd name="connsiteX10118" fmla="*/ 1719682 w 4716235"/>
              <a:gd name="connsiteY10118" fmla="*/ 2100735 h 4596459"/>
              <a:gd name="connsiteX10119" fmla="*/ 1708945 w 4716235"/>
              <a:gd name="connsiteY10119" fmla="*/ 2089997 h 4596459"/>
              <a:gd name="connsiteX10120" fmla="*/ 1719682 w 4716235"/>
              <a:gd name="connsiteY10120" fmla="*/ 2079261 h 4596459"/>
              <a:gd name="connsiteX10121" fmla="*/ 4497700 w 4716235"/>
              <a:gd name="connsiteY10121" fmla="*/ 2078767 h 4596459"/>
              <a:gd name="connsiteX10122" fmla="*/ 4508436 w 4716235"/>
              <a:gd name="connsiteY10122" fmla="*/ 2089503 h 4596459"/>
              <a:gd name="connsiteX10123" fmla="*/ 4497700 w 4716235"/>
              <a:gd name="connsiteY10123" fmla="*/ 2100241 h 4596459"/>
              <a:gd name="connsiteX10124" fmla="*/ 4486964 w 4716235"/>
              <a:gd name="connsiteY10124" fmla="*/ 2089503 h 4596459"/>
              <a:gd name="connsiteX10125" fmla="*/ 4497700 w 4716235"/>
              <a:gd name="connsiteY10125" fmla="*/ 2078767 h 4596459"/>
              <a:gd name="connsiteX10126" fmla="*/ 1979015 w 4716235"/>
              <a:gd name="connsiteY10126" fmla="*/ 2076784 h 4596459"/>
              <a:gd name="connsiteX10127" fmla="*/ 1989753 w 4716235"/>
              <a:gd name="connsiteY10127" fmla="*/ 2087521 h 4596459"/>
              <a:gd name="connsiteX10128" fmla="*/ 1979015 w 4716235"/>
              <a:gd name="connsiteY10128" fmla="*/ 2098259 h 4596459"/>
              <a:gd name="connsiteX10129" fmla="*/ 1968279 w 4716235"/>
              <a:gd name="connsiteY10129" fmla="*/ 2087521 h 4596459"/>
              <a:gd name="connsiteX10130" fmla="*/ 1979015 w 4716235"/>
              <a:gd name="connsiteY10130" fmla="*/ 2076784 h 4596459"/>
              <a:gd name="connsiteX10131" fmla="*/ 1463979 w 4716235"/>
              <a:gd name="connsiteY10131" fmla="*/ 2072985 h 4596459"/>
              <a:gd name="connsiteX10132" fmla="*/ 1474717 w 4716235"/>
              <a:gd name="connsiteY10132" fmla="*/ 2083721 h 4596459"/>
              <a:gd name="connsiteX10133" fmla="*/ 1463979 w 4716235"/>
              <a:gd name="connsiteY10133" fmla="*/ 2094458 h 4596459"/>
              <a:gd name="connsiteX10134" fmla="*/ 1453243 w 4716235"/>
              <a:gd name="connsiteY10134" fmla="*/ 2083721 h 4596459"/>
              <a:gd name="connsiteX10135" fmla="*/ 1463979 w 4716235"/>
              <a:gd name="connsiteY10135" fmla="*/ 2072985 h 4596459"/>
              <a:gd name="connsiteX10136" fmla="*/ 4148176 w 4716235"/>
              <a:gd name="connsiteY10136" fmla="*/ 2069021 h 4596459"/>
              <a:gd name="connsiteX10137" fmla="*/ 4158914 w 4716235"/>
              <a:gd name="connsiteY10137" fmla="*/ 2079757 h 4596459"/>
              <a:gd name="connsiteX10138" fmla="*/ 4148176 w 4716235"/>
              <a:gd name="connsiteY10138" fmla="*/ 2090495 h 4596459"/>
              <a:gd name="connsiteX10139" fmla="*/ 4137440 w 4716235"/>
              <a:gd name="connsiteY10139" fmla="*/ 2079757 h 4596459"/>
              <a:gd name="connsiteX10140" fmla="*/ 4148176 w 4716235"/>
              <a:gd name="connsiteY10140" fmla="*/ 2069021 h 4596459"/>
              <a:gd name="connsiteX10141" fmla="*/ 2227613 w 4716235"/>
              <a:gd name="connsiteY10141" fmla="*/ 2067534 h 4596459"/>
              <a:gd name="connsiteX10142" fmla="*/ 2238349 w 4716235"/>
              <a:gd name="connsiteY10142" fmla="*/ 2078271 h 4596459"/>
              <a:gd name="connsiteX10143" fmla="*/ 2227613 w 4716235"/>
              <a:gd name="connsiteY10143" fmla="*/ 2089007 h 4596459"/>
              <a:gd name="connsiteX10144" fmla="*/ 2216877 w 4716235"/>
              <a:gd name="connsiteY10144" fmla="*/ 2078271 h 4596459"/>
              <a:gd name="connsiteX10145" fmla="*/ 2227613 w 4716235"/>
              <a:gd name="connsiteY10145" fmla="*/ 2067534 h 4596459"/>
              <a:gd name="connsiteX10146" fmla="*/ 4518678 w 4716235"/>
              <a:gd name="connsiteY10146" fmla="*/ 2065387 h 4596459"/>
              <a:gd name="connsiteX10147" fmla="*/ 4529416 w 4716235"/>
              <a:gd name="connsiteY10147" fmla="*/ 2076124 h 4596459"/>
              <a:gd name="connsiteX10148" fmla="*/ 4518678 w 4716235"/>
              <a:gd name="connsiteY10148" fmla="*/ 2086862 h 4596459"/>
              <a:gd name="connsiteX10149" fmla="*/ 4507942 w 4716235"/>
              <a:gd name="connsiteY10149" fmla="*/ 2076124 h 4596459"/>
              <a:gd name="connsiteX10150" fmla="*/ 4518678 w 4716235"/>
              <a:gd name="connsiteY10150" fmla="*/ 2065387 h 4596459"/>
              <a:gd name="connsiteX10151" fmla="*/ 1222981 w 4716235"/>
              <a:gd name="connsiteY10151" fmla="*/ 2062249 h 4596459"/>
              <a:gd name="connsiteX10152" fmla="*/ 1233719 w 4716235"/>
              <a:gd name="connsiteY10152" fmla="*/ 2072985 h 4596459"/>
              <a:gd name="connsiteX10153" fmla="*/ 1222981 w 4716235"/>
              <a:gd name="connsiteY10153" fmla="*/ 2083723 h 4596459"/>
              <a:gd name="connsiteX10154" fmla="*/ 1212245 w 4716235"/>
              <a:gd name="connsiteY10154" fmla="*/ 2072985 h 4596459"/>
              <a:gd name="connsiteX10155" fmla="*/ 1222981 w 4716235"/>
              <a:gd name="connsiteY10155" fmla="*/ 2062249 h 4596459"/>
              <a:gd name="connsiteX10156" fmla="*/ 2459692 w 4716235"/>
              <a:gd name="connsiteY10156" fmla="*/ 2055641 h 4596459"/>
              <a:gd name="connsiteX10157" fmla="*/ 2470430 w 4716235"/>
              <a:gd name="connsiteY10157" fmla="*/ 2066378 h 4596459"/>
              <a:gd name="connsiteX10158" fmla="*/ 2459692 w 4716235"/>
              <a:gd name="connsiteY10158" fmla="*/ 2077116 h 4596459"/>
              <a:gd name="connsiteX10159" fmla="*/ 2448956 w 4716235"/>
              <a:gd name="connsiteY10159" fmla="*/ 2066378 h 4596459"/>
              <a:gd name="connsiteX10160" fmla="*/ 2459692 w 4716235"/>
              <a:gd name="connsiteY10160" fmla="*/ 2055641 h 4596459"/>
              <a:gd name="connsiteX10161" fmla="*/ 4213588 w 4716235"/>
              <a:gd name="connsiteY10161" fmla="*/ 2054981 h 4596459"/>
              <a:gd name="connsiteX10162" fmla="*/ 4224326 w 4716235"/>
              <a:gd name="connsiteY10162" fmla="*/ 2065717 h 4596459"/>
              <a:gd name="connsiteX10163" fmla="*/ 4213588 w 4716235"/>
              <a:gd name="connsiteY10163" fmla="*/ 2076455 h 4596459"/>
              <a:gd name="connsiteX10164" fmla="*/ 4202852 w 4716235"/>
              <a:gd name="connsiteY10164" fmla="*/ 2065717 h 4596459"/>
              <a:gd name="connsiteX10165" fmla="*/ 4213588 w 4716235"/>
              <a:gd name="connsiteY10165" fmla="*/ 2054981 h 4596459"/>
              <a:gd name="connsiteX10166" fmla="*/ 4536518 w 4716235"/>
              <a:gd name="connsiteY10166" fmla="*/ 2052502 h 4596459"/>
              <a:gd name="connsiteX10167" fmla="*/ 4547254 w 4716235"/>
              <a:gd name="connsiteY10167" fmla="*/ 2063239 h 4596459"/>
              <a:gd name="connsiteX10168" fmla="*/ 4536518 w 4716235"/>
              <a:gd name="connsiteY10168" fmla="*/ 2073977 h 4596459"/>
              <a:gd name="connsiteX10169" fmla="*/ 4525782 w 4716235"/>
              <a:gd name="connsiteY10169" fmla="*/ 2063239 h 4596459"/>
              <a:gd name="connsiteX10170" fmla="*/ 4536518 w 4716235"/>
              <a:gd name="connsiteY10170" fmla="*/ 2052502 h 4596459"/>
              <a:gd name="connsiteX10171" fmla="*/ 998829 w 4716235"/>
              <a:gd name="connsiteY10171" fmla="*/ 2049695 h 4596459"/>
              <a:gd name="connsiteX10172" fmla="*/ 1009565 w 4716235"/>
              <a:gd name="connsiteY10172" fmla="*/ 2060431 h 4596459"/>
              <a:gd name="connsiteX10173" fmla="*/ 998829 w 4716235"/>
              <a:gd name="connsiteY10173" fmla="*/ 2071169 h 4596459"/>
              <a:gd name="connsiteX10174" fmla="*/ 988092 w 4716235"/>
              <a:gd name="connsiteY10174" fmla="*/ 2060431 h 4596459"/>
              <a:gd name="connsiteX10175" fmla="*/ 998829 w 4716235"/>
              <a:gd name="connsiteY10175" fmla="*/ 2049695 h 4596459"/>
              <a:gd name="connsiteX10176" fmla="*/ 2674594 w 4716235"/>
              <a:gd name="connsiteY10176" fmla="*/ 2042921 h 4596459"/>
              <a:gd name="connsiteX10177" fmla="*/ 2685332 w 4716235"/>
              <a:gd name="connsiteY10177" fmla="*/ 2053657 h 4596459"/>
              <a:gd name="connsiteX10178" fmla="*/ 2674594 w 4716235"/>
              <a:gd name="connsiteY10178" fmla="*/ 2064395 h 4596459"/>
              <a:gd name="connsiteX10179" fmla="*/ 2663858 w 4716235"/>
              <a:gd name="connsiteY10179" fmla="*/ 2053657 h 4596459"/>
              <a:gd name="connsiteX10180" fmla="*/ 2674594 w 4716235"/>
              <a:gd name="connsiteY10180" fmla="*/ 2042921 h 4596459"/>
              <a:gd name="connsiteX10181" fmla="*/ 4271567 w 4716235"/>
              <a:gd name="connsiteY10181" fmla="*/ 2041270 h 4596459"/>
              <a:gd name="connsiteX10182" fmla="*/ 4282305 w 4716235"/>
              <a:gd name="connsiteY10182" fmla="*/ 2052006 h 4596459"/>
              <a:gd name="connsiteX10183" fmla="*/ 4271567 w 4716235"/>
              <a:gd name="connsiteY10183" fmla="*/ 2062745 h 4596459"/>
              <a:gd name="connsiteX10184" fmla="*/ 4260831 w 4716235"/>
              <a:gd name="connsiteY10184" fmla="*/ 2052006 h 4596459"/>
              <a:gd name="connsiteX10185" fmla="*/ 4271567 w 4716235"/>
              <a:gd name="connsiteY10185" fmla="*/ 2041270 h 4596459"/>
              <a:gd name="connsiteX10186" fmla="*/ 4551550 w 4716235"/>
              <a:gd name="connsiteY10186" fmla="*/ 2040278 h 4596459"/>
              <a:gd name="connsiteX10187" fmla="*/ 4562286 w 4716235"/>
              <a:gd name="connsiteY10187" fmla="*/ 2051014 h 4596459"/>
              <a:gd name="connsiteX10188" fmla="*/ 4551550 w 4716235"/>
              <a:gd name="connsiteY10188" fmla="*/ 2061753 h 4596459"/>
              <a:gd name="connsiteX10189" fmla="*/ 4540814 w 4716235"/>
              <a:gd name="connsiteY10189" fmla="*/ 2051014 h 4596459"/>
              <a:gd name="connsiteX10190" fmla="*/ 4551550 w 4716235"/>
              <a:gd name="connsiteY10190" fmla="*/ 2040278 h 4596459"/>
              <a:gd name="connsiteX10191" fmla="*/ 791857 w 4716235"/>
              <a:gd name="connsiteY10191" fmla="*/ 2036974 h 4596459"/>
              <a:gd name="connsiteX10192" fmla="*/ 802595 w 4716235"/>
              <a:gd name="connsiteY10192" fmla="*/ 2047711 h 4596459"/>
              <a:gd name="connsiteX10193" fmla="*/ 791857 w 4716235"/>
              <a:gd name="connsiteY10193" fmla="*/ 2058449 h 4596459"/>
              <a:gd name="connsiteX10194" fmla="*/ 781120 w 4716235"/>
              <a:gd name="connsiteY10194" fmla="*/ 2047711 h 4596459"/>
              <a:gd name="connsiteX10195" fmla="*/ 791857 w 4716235"/>
              <a:gd name="connsiteY10195" fmla="*/ 2036974 h 4596459"/>
              <a:gd name="connsiteX10196" fmla="*/ 4696249 w 4716235"/>
              <a:gd name="connsiteY10196" fmla="*/ 2035820 h 4596459"/>
              <a:gd name="connsiteX10197" fmla="*/ 4696745 w 4716235"/>
              <a:gd name="connsiteY10197" fmla="*/ 2036316 h 4596459"/>
              <a:gd name="connsiteX10198" fmla="*/ 4696249 w 4716235"/>
              <a:gd name="connsiteY10198" fmla="*/ 2036811 h 4596459"/>
              <a:gd name="connsiteX10199" fmla="*/ 4695753 w 4716235"/>
              <a:gd name="connsiteY10199" fmla="*/ 2036316 h 4596459"/>
              <a:gd name="connsiteX10200" fmla="*/ 4696249 w 4716235"/>
              <a:gd name="connsiteY10200" fmla="*/ 2035820 h 4596459"/>
              <a:gd name="connsiteX10201" fmla="*/ 4682209 w 4716235"/>
              <a:gd name="connsiteY10201" fmla="*/ 2031855 h 4596459"/>
              <a:gd name="connsiteX10202" fmla="*/ 4692780 w 4716235"/>
              <a:gd name="connsiteY10202" fmla="*/ 2042427 h 4596459"/>
              <a:gd name="connsiteX10203" fmla="*/ 4682209 w 4716235"/>
              <a:gd name="connsiteY10203" fmla="*/ 2052998 h 4596459"/>
              <a:gd name="connsiteX10204" fmla="*/ 4679235 w 4716235"/>
              <a:gd name="connsiteY10204" fmla="*/ 2050024 h 4596459"/>
              <a:gd name="connsiteX10205" fmla="*/ 4669324 w 4716235"/>
              <a:gd name="connsiteY10205" fmla="*/ 2059937 h 4596459"/>
              <a:gd name="connsiteX10206" fmla="*/ 4667177 w 4716235"/>
              <a:gd name="connsiteY10206" fmla="*/ 2057790 h 4596459"/>
              <a:gd name="connsiteX10207" fmla="*/ 4657927 w 4716235"/>
              <a:gd name="connsiteY10207" fmla="*/ 2067040 h 4596459"/>
              <a:gd name="connsiteX10208" fmla="*/ 4656522 w 4716235"/>
              <a:gd name="connsiteY10208" fmla="*/ 2065635 h 4596459"/>
              <a:gd name="connsiteX10209" fmla="*/ 4647520 w 4716235"/>
              <a:gd name="connsiteY10209" fmla="*/ 2074638 h 4596459"/>
              <a:gd name="connsiteX10210" fmla="*/ 4646857 w 4716235"/>
              <a:gd name="connsiteY10210" fmla="*/ 2073975 h 4596459"/>
              <a:gd name="connsiteX10211" fmla="*/ 4640252 w 4716235"/>
              <a:gd name="connsiteY10211" fmla="*/ 2080582 h 4596459"/>
              <a:gd name="connsiteX10212" fmla="*/ 4631829 w 4716235"/>
              <a:gd name="connsiteY10212" fmla="*/ 2089007 h 4596459"/>
              <a:gd name="connsiteX10213" fmla="*/ 4632654 w 4716235"/>
              <a:gd name="connsiteY10213" fmla="*/ 2089833 h 4596459"/>
              <a:gd name="connsiteX10214" fmla="*/ 4624230 w 4716235"/>
              <a:gd name="connsiteY10214" fmla="*/ 2098257 h 4596459"/>
              <a:gd name="connsiteX10215" fmla="*/ 4625551 w 4716235"/>
              <a:gd name="connsiteY10215" fmla="*/ 2099579 h 4596459"/>
              <a:gd name="connsiteX10216" fmla="*/ 4617126 w 4716235"/>
              <a:gd name="connsiteY10216" fmla="*/ 2108003 h 4596459"/>
              <a:gd name="connsiteX10217" fmla="*/ 4618942 w 4716235"/>
              <a:gd name="connsiteY10217" fmla="*/ 2109819 h 4596459"/>
              <a:gd name="connsiteX10218" fmla="*/ 4610271 w 4716235"/>
              <a:gd name="connsiteY10218" fmla="*/ 2118492 h 4596459"/>
              <a:gd name="connsiteX10219" fmla="*/ 4612668 w 4716235"/>
              <a:gd name="connsiteY10219" fmla="*/ 2120887 h 4596459"/>
              <a:gd name="connsiteX10220" fmla="*/ 4603745 w 4716235"/>
              <a:gd name="connsiteY10220" fmla="*/ 2129807 h 4596459"/>
              <a:gd name="connsiteX10221" fmla="*/ 4606390 w 4716235"/>
              <a:gd name="connsiteY10221" fmla="*/ 2132450 h 4596459"/>
              <a:gd name="connsiteX10222" fmla="*/ 4597057 w 4716235"/>
              <a:gd name="connsiteY10222" fmla="*/ 2141784 h 4596459"/>
              <a:gd name="connsiteX10223" fmla="*/ 4600114 w 4716235"/>
              <a:gd name="connsiteY10223" fmla="*/ 2144839 h 4596459"/>
              <a:gd name="connsiteX10224" fmla="*/ 4590286 w 4716235"/>
              <a:gd name="connsiteY10224" fmla="*/ 2154667 h 4596459"/>
              <a:gd name="connsiteX10225" fmla="*/ 4593507 w 4716235"/>
              <a:gd name="connsiteY10225" fmla="*/ 2157887 h 4596459"/>
              <a:gd name="connsiteX10226" fmla="*/ 4583017 w 4716235"/>
              <a:gd name="connsiteY10226" fmla="*/ 2168377 h 4596459"/>
              <a:gd name="connsiteX10227" fmla="*/ 4586239 w 4716235"/>
              <a:gd name="connsiteY10227" fmla="*/ 2171598 h 4596459"/>
              <a:gd name="connsiteX10228" fmla="*/ 4575501 w 4716235"/>
              <a:gd name="connsiteY10228" fmla="*/ 2182336 h 4596459"/>
              <a:gd name="connsiteX10229" fmla="*/ 4564764 w 4716235"/>
              <a:gd name="connsiteY10229" fmla="*/ 2171598 h 4596459"/>
              <a:gd name="connsiteX10230" fmla="*/ 4575253 w 4716235"/>
              <a:gd name="connsiteY10230" fmla="*/ 2161109 h 4596459"/>
              <a:gd name="connsiteX10231" fmla="*/ 4572032 w 4716235"/>
              <a:gd name="connsiteY10231" fmla="*/ 2157887 h 4596459"/>
              <a:gd name="connsiteX10232" fmla="*/ 4581860 w 4716235"/>
              <a:gd name="connsiteY10232" fmla="*/ 2148060 h 4596459"/>
              <a:gd name="connsiteX10233" fmla="*/ 4578640 w 4716235"/>
              <a:gd name="connsiteY10233" fmla="*/ 2144839 h 4596459"/>
              <a:gd name="connsiteX10234" fmla="*/ 4587971 w 4716235"/>
              <a:gd name="connsiteY10234" fmla="*/ 2135508 h 4596459"/>
              <a:gd name="connsiteX10235" fmla="*/ 4584916 w 4716235"/>
              <a:gd name="connsiteY10235" fmla="*/ 2132450 h 4596459"/>
              <a:gd name="connsiteX10236" fmla="*/ 4593836 w 4716235"/>
              <a:gd name="connsiteY10236" fmla="*/ 2123529 h 4596459"/>
              <a:gd name="connsiteX10237" fmla="*/ 4591193 w 4716235"/>
              <a:gd name="connsiteY10237" fmla="*/ 2120887 h 4596459"/>
              <a:gd name="connsiteX10238" fmla="*/ 4599864 w 4716235"/>
              <a:gd name="connsiteY10238" fmla="*/ 2112216 h 4596459"/>
              <a:gd name="connsiteX10239" fmla="*/ 4597469 w 4716235"/>
              <a:gd name="connsiteY10239" fmla="*/ 2109819 h 4596459"/>
              <a:gd name="connsiteX10240" fmla="*/ 4605892 w 4716235"/>
              <a:gd name="connsiteY10240" fmla="*/ 2101396 h 4596459"/>
              <a:gd name="connsiteX10241" fmla="*/ 4604077 w 4716235"/>
              <a:gd name="connsiteY10241" fmla="*/ 2099579 h 4596459"/>
              <a:gd name="connsiteX10242" fmla="*/ 4612501 w 4716235"/>
              <a:gd name="connsiteY10242" fmla="*/ 2091154 h 4596459"/>
              <a:gd name="connsiteX10243" fmla="*/ 4611180 w 4716235"/>
              <a:gd name="connsiteY10243" fmla="*/ 2089833 h 4596459"/>
              <a:gd name="connsiteX10244" fmla="*/ 4619605 w 4716235"/>
              <a:gd name="connsiteY10244" fmla="*/ 2081408 h 4596459"/>
              <a:gd name="connsiteX10245" fmla="*/ 4618779 w 4716235"/>
              <a:gd name="connsiteY10245" fmla="*/ 2080582 h 4596459"/>
              <a:gd name="connsiteX10246" fmla="*/ 4627369 w 4716235"/>
              <a:gd name="connsiteY10246" fmla="*/ 2071995 h 4596459"/>
              <a:gd name="connsiteX10247" fmla="*/ 4627367 w 4716235"/>
              <a:gd name="connsiteY10247" fmla="*/ 2071993 h 4596459"/>
              <a:gd name="connsiteX10248" fmla="*/ 4638103 w 4716235"/>
              <a:gd name="connsiteY10248" fmla="*/ 2061257 h 4596459"/>
              <a:gd name="connsiteX10249" fmla="*/ 4638766 w 4716235"/>
              <a:gd name="connsiteY10249" fmla="*/ 2061919 h 4596459"/>
              <a:gd name="connsiteX10250" fmla="*/ 4647520 w 4716235"/>
              <a:gd name="connsiteY10250" fmla="*/ 2053163 h 4596459"/>
              <a:gd name="connsiteX10251" fmla="*/ 4648925 w 4716235"/>
              <a:gd name="connsiteY10251" fmla="*/ 2054568 h 4596459"/>
              <a:gd name="connsiteX10252" fmla="*/ 4657927 w 4716235"/>
              <a:gd name="connsiteY10252" fmla="*/ 2045566 h 4596459"/>
              <a:gd name="connsiteX10253" fmla="*/ 4660074 w 4716235"/>
              <a:gd name="connsiteY10253" fmla="*/ 2047713 h 4596459"/>
              <a:gd name="connsiteX10254" fmla="*/ 4669324 w 4716235"/>
              <a:gd name="connsiteY10254" fmla="*/ 2038462 h 4596459"/>
              <a:gd name="connsiteX10255" fmla="*/ 4672463 w 4716235"/>
              <a:gd name="connsiteY10255" fmla="*/ 2041601 h 4596459"/>
              <a:gd name="connsiteX10256" fmla="*/ 2872977 w 4716235"/>
              <a:gd name="connsiteY10256" fmla="*/ 2030038 h 4596459"/>
              <a:gd name="connsiteX10257" fmla="*/ 2883715 w 4716235"/>
              <a:gd name="connsiteY10257" fmla="*/ 2040774 h 4596459"/>
              <a:gd name="connsiteX10258" fmla="*/ 2872977 w 4716235"/>
              <a:gd name="connsiteY10258" fmla="*/ 2051512 h 4596459"/>
              <a:gd name="connsiteX10259" fmla="*/ 2862240 w 4716235"/>
              <a:gd name="connsiteY10259" fmla="*/ 2040774 h 4596459"/>
              <a:gd name="connsiteX10260" fmla="*/ 2872977 w 4716235"/>
              <a:gd name="connsiteY10260" fmla="*/ 2030038 h 4596459"/>
              <a:gd name="connsiteX10261" fmla="*/ 4564433 w 4716235"/>
              <a:gd name="connsiteY10261" fmla="*/ 2028552 h 4596459"/>
              <a:gd name="connsiteX10262" fmla="*/ 4575170 w 4716235"/>
              <a:gd name="connsiteY10262" fmla="*/ 2039288 h 4596459"/>
              <a:gd name="connsiteX10263" fmla="*/ 4564433 w 4716235"/>
              <a:gd name="connsiteY10263" fmla="*/ 2050026 h 4596459"/>
              <a:gd name="connsiteX10264" fmla="*/ 4553697 w 4716235"/>
              <a:gd name="connsiteY10264" fmla="*/ 2039288 h 4596459"/>
              <a:gd name="connsiteX10265" fmla="*/ 4564433 w 4716235"/>
              <a:gd name="connsiteY10265" fmla="*/ 2028552 h 4596459"/>
              <a:gd name="connsiteX10266" fmla="*/ 4322939 w 4716235"/>
              <a:gd name="connsiteY10266" fmla="*/ 2028220 h 4596459"/>
              <a:gd name="connsiteX10267" fmla="*/ 4333675 w 4716235"/>
              <a:gd name="connsiteY10267" fmla="*/ 2038957 h 4596459"/>
              <a:gd name="connsiteX10268" fmla="*/ 4322939 w 4716235"/>
              <a:gd name="connsiteY10268" fmla="*/ 2049695 h 4596459"/>
              <a:gd name="connsiteX10269" fmla="*/ 4312203 w 4716235"/>
              <a:gd name="connsiteY10269" fmla="*/ 2038957 h 4596459"/>
              <a:gd name="connsiteX10270" fmla="*/ 4322939 w 4716235"/>
              <a:gd name="connsiteY10270" fmla="*/ 2028220 h 4596459"/>
              <a:gd name="connsiteX10271" fmla="*/ 600907 w 4716235"/>
              <a:gd name="connsiteY10271" fmla="*/ 2024091 h 4596459"/>
              <a:gd name="connsiteX10272" fmla="*/ 611644 w 4716235"/>
              <a:gd name="connsiteY10272" fmla="*/ 2034828 h 4596459"/>
              <a:gd name="connsiteX10273" fmla="*/ 600907 w 4716235"/>
              <a:gd name="connsiteY10273" fmla="*/ 2045566 h 4596459"/>
              <a:gd name="connsiteX10274" fmla="*/ 590171 w 4716235"/>
              <a:gd name="connsiteY10274" fmla="*/ 2034828 h 4596459"/>
              <a:gd name="connsiteX10275" fmla="*/ 600907 w 4716235"/>
              <a:gd name="connsiteY10275" fmla="*/ 2024091 h 4596459"/>
              <a:gd name="connsiteX10276" fmla="*/ 3055501 w 4716235"/>
              <a:gd name="connsiteY10276" fmla="*/ 2017484 h 4596459"/>
              <a:gd name="connsiteX10277" fmla="*/ 3066240 w 4716235"/>
              <a:gd name="connsiteY10277" fmla="*/ 2028220 h 4596459"/>
              <a:gd name="connsiteX10278" fmla="*/ 3055501 w 4716235"/>
              <a:gd name="connsiteY10278" fmla="*/ 2038957 h 4596459"/>
              <a:gd name="connsiteX10279" fmla="*/ 3044765 w 4716235"/>
              <a:gd name="connsiteY10279" fmla="*/ 2028220 h 4596459"/>
              <a:gd name="connsiteX10280" fmla="*/ 3055501 w 4716235"/>
              <a:gd name="connsiteY10280" fmla="*/ 2017484 h 4596459"/>
              <a:gd name="connsiteX10281" fmla="*/ 4368198 w 4716235"/>
              <a:gd name="connsiteY10281" fmla="*/ 2015667 h 4596459"/>
              <a:gd name="connsiteX10282" fmla="*/ 4378934 w 4716235"/>
              <a:gd name="connsiteY10282" fmla="*/ 2026403 h 4596459"/>
              <a:gd name="connsiteX10283" fmla="*/ 4368198 w 4716235"/>
              <a:gd name="connsiteY10283" fmla="*/ 2037139 h 4596459"/>
              <a:gd name="connsiteX10284" fmla="*/ 4357461 w 4716235"/>
              <a:gd name="connsiteY10284" fmla="*/ 2026403 h 4596459"/>
              <a:gd name="connsiteX10285" fmla="*/ 4368198 w 4716235"/>
              <a:gd name="connsiteY10285" fmla="*/ 2015667 h 4596459"/>
              <a:gd name="connsiteX10286" fmla="*/ 425319 w 4716235"/>
              <a:gd name="connsiteY10286" fmla="*/ 2011702 h 4596459"/>
              <a:gd name="connsiteX10287" fmla="*/ 436057 w 4716235"/>
              <a:gd name="connsiteY10287" fmla="*/ 2022439 h 4596459"/>
              <a:gd name="connsiteX10288" fmla="*/ 425319 w 4716235"/>
              <a:gd name="connsiteY10288" fmla="*/ 2033177 h 4596459"/>
              <a:gd name="connsiteX10289" fmla="*/ 414583 w 4716235"/>
              <a:gd name="connsiteY10289" fmla="*/ 2022439 h 4596459"/>
              <a:gd name="connsiteX10290" fmla="*/ 425319 w 4716235"/>
              <a:gd name="connsiteY10290" fmla="*/ 2011702 h 4596459"/>
              <a:gd name="connsiteX10291" fmla="*/ 3223161 w 4716235"/>
              <a:gd name="connsiteY10291" fmla="*/ 2005095 h 4596459"/>
              <a:gd name="connsiteX10292" fmla="*/ 3233899 w 4716235"/>
              <a:gd name="connsiteY10292" fmla="*/ 2015831 h 4596459"/>
              <a:gd name="connsiteX10293" fmla="*/ 3223161 w 4716235"/>
              <a:gd name="connsiteY10293" fmla="*/ 2026568 h 4596459"/>
              <a:gd name="connsiteX10294" fmla="*/ 3212425 w 4716235"/>
              <a:gd name="connsiteY10294" fmla="*/ 2015831 h 4596459"/>
              <a:gd name="connsiteX10295" fmla="*/ 3223161 w 4716235"/>
              <a:gd name="connsiteY10295" fmla="*/ 2005095 h 4596459"/>
              <a:gd name="connsiteX10296" fmla="*/ 4407841 w 4716235"/>
              <a:gd name="connsiteY10296" fmla="*/ 2003773 h 4596459"/>
              <a:gd name="connsiteX10297" fmla="*/ 4418579 w 4716235"/>
              <a:gd name="connsiteY10297" fmla="*/ 2014510 h 4596459"/>
              <a:gd name="connsiteX10298" fmla="*/ 4407841 w 4716235"/>
              <a:gd name="connsiteY10298" fmla="*/ 2025248 h 4596459"/>
              <a:gd name="connsiteX10299" fmla="*/ 4397105 w 4716235"/>
              <a:gd name="connsiteY10299" fmla="*/ 2014510 h 4596459"/>
              <a:gd name="connsiteX10300" fmla="*/ 4407841 w 4716235"/>
              <a:gd name="connsiteY10300" fmla="*/ 2003773 h 4596459"/>
              <a:gd name="connsiteX10301" fmla="*/ 264269 w 4716235"/>
              <a:gd name="connsiteY10301" fmla="*/ 1999480 h 4596459"/>
              <a:gd name="connsiteX10302" fmla="*/ 275007 w 4716235"/>
              <a:gd name="connsiteY10302" fmla="*/ 2010216 h 4596459"/>
              <a:gd name="connsiteX10303" fmla="*/ 264269 w 4716235"/>
              <a:gd name="connsiteY10303" fmla="*/ 2020954 h 4596459"/>
              <a:gd name="connsiteX10304" fmla="*/ 253532 w 4716235"/>
              <a:gd name="connsiteY10304" fmla="*/ 2010216 h 4596459"/>
              <a:gd name="connsiteX10305" fmla="*/ 264269 w 4716235"/>
              <a:gd name="connsiteY10305" fmla="*/ 1999480 h 4596459"/>
              <a:gd name="connsiteX10306" fmla="*/ 3376780 w 4716235"/>
              <a:gd name="connsiteY10306" fmla="*/ 1993037 h 4596459"/>
              <a:gd name="connsiteX10307" fmla="*/ 3387517 w 4716235"/>
              <a:gd name="connsiteY10307" fmla="*/ 2003773 h 4596459"/>
              <a:gd name="connsiteX10308" fmla="*/ 3376780 w 4716235"/>
              <a:gd name="connsiteY10308" fmla="*/ 2014512 h 4596459"/>
              <a:gd name="connsiteX10309" fmla="*/ 3366044 w 4716235"/>
              <a:gd name="connsiteY10309" fmla="*/ 2003773 h 4596459"/>
              <a:gd name="connsiteX10310" fmla="*/ 3376780 w 4716235"/>
              <a:gd name="connsiteY10310" fmla="*/ 1993037 h 4596459"/>
              <a:gd name="connsiteX10311" fmla="*/ 4442364 w 4716235"/>
              <a:gd name="connsiteY10311" fmla="*/ 1992212 h 4596459"/>
              <a:gd name="connsiteX10312" fmla="*/ 4453102 w 4716235"/>
              <a:gd name="connsiteY10312" fmla="*/ 2002948 h 4596459"/>
              <a:gd name="connsiteX10313" fmla="*/ 4442364 w 4716235"/>
              <a:gd name="connsiteY10313" fmla="*/ 2013684 h 4596459"/>
              <a:gd name="connsiteX10314" fmla="*/ 4431627 w 4716235"/>
              <a:gd name="connsiteY10314" fmla="*/ 2002948 h 4596459"/>
              <a:gd name="connsiteX10315" fmla="*/ 4442364 w 4716235"/>
              <a:gd name="connsiteY10315" fmla="*/ 1992212 h 4596459"/>
              <a:gd name="connsiteX10316" fmla="*/ 116927 w 4716235"/>
              <a:gd name="connsiteY10316" fmla="*/ 1987587 h 4596459"/>
              <a:gd name="connsiteX10317" fmla="*/ 127665 w 4716235"/>
              <a:gd name="connsiteY10317" fmla="*/ 1998323 h 4596459"/>
              <a:gd name="connsiteX10318" fmla="*/ 116927 w 4716235"/>
              <a:gd name="connsiteY10318" fmla="*/ 2009061 h 4596459"/>
              <a:gd name="connsiteX10319" fmla="*/ 106191 w 4716235"/>
              <a:gd name="connsiteY10319" fmla="*/ 1998323 h 4596459"/>
              <a:gd name="connsiteX10320" fmla="*/ 116927 w 4716235"/>
              <a:gd name="connsiteY10320" fmla="*/ 1987587 h 4596459"/>
              <a:gd name="connsiteX10321" fmla="*/ 4472261 w 4716235"/>
              <a:gd name="connsiteY10321" fmla="*/ 1981309 h 4596459"/>
              <a:gd name="connsiteX10322" fmla="*/ 4482999 w 4716235"/>
              <a:gd name="connsiteY10322" fmla="*/ 1992045 h 4596459"/>
              <a:gd name="connsiteX10323" fmla="*/ 4472261 w 4716235"/>
              <a:gd name="connsiteY10323" fmla="*/ 2002783 h 4596459"/>
              <a:gd name="connsiteX10324" fmla="*/ 4461525 w 4716235"/>
              <a:gd name="connsiteY10324" fmla="*/ 1992045 h 4596459"/>
              <a:gd name="connsiteX10325" fmla="*/ 4472261 w 4716235"/>
              <a:gd name="connsiteY10325" fmla="*/ 1981309 h 4596459"/>
              <a:gd name="connsiteX10326" fmla="*/ 3517184 w 4716235"/>
              <a:gd name="connsiteY10326" fmla="*/ 1981309 h 4596459"/>
              <a:gd name="connsiteX10327" fmla="*/ 3527920 w 4716235"/>
              <a:gd name="connsiteY10327" fmla="*/ 1992045 h 4596459"/>
              <a:gd name="connsiteX10328" fmla="*/ 3517184 w 4716235"/>
              <a:gd name="connsiteY10328" fmla="*/ 2002783 h 4596459"/>
              <a:gd name="connsiteX10329" fmla="*/ 3506447 w 4716235"/>
              <a:gd name="connsiteY10329" fmla="*/ 1992045 h 4596459"/>
              <a:gd name="connsiteX10330" fmla="*/ 3517184 w 4716235"/>
              <a:gd name="connsiteY10330" fmla="*/ 1981309 h 4596459"/>
              <a:gd name="connsiteX10331" fmla="*/ 4498029 w 4716235"/>
              <a:gd name="connsiteY10331" fmla="*/ 1970737 h 4596459"/>
              <a:gd name="connsiteX10332" fmla="*/ 4508768 w 4716235"/>
              <a:gd name="connsiteY10332" fmla="*/ 1981474 h 4596459"/>
              <a:gd name="connsiteX10333" fmla="*/ 4498029 w 4716235"/>
              <a:gd name="connsiteY10333" fmla="*/ 1992212 h 4596459"/>
              <a:gd name="connsiteX10334" fmla="*/ 4487293 w 4716235"/>
              <a:gd name="connsiteY10334" fmla="*/ 1981474 h 4596459"/>
              <a:gd name="connsiteX10335" fmla="*/ 4498029 w 4716235"/>
              <a:gd name="connsiteY10335" fmla="*/ 1970737 h 4596459"/>
              <a:gd name="connsiteX10336" fmla="*/ 4681713 w 4716235"/>
              <a:gd name="connsiteY10336" fmla="*/ 1970243 h 4596459"/>
              <a:gd name="connsiteX10337" fmla="*/ 4692449 w 4716235"/>
              <a:gd name="connsiteY10337" fmla="*/ 1980979 h 4596459"/>
              <a:gd name="connsiteX10338" fmla="*/ 4681713 w 4716235"/>
              <a:gd name="connsiteY10338" fmla="*/ 1991716 h 4596459"/>
              <a:gd name="connsiteX10339" fmla="*/ 4678740 w 4716235"/>
              <a:gd name="connsiteY10339" fmla="*/ 1988743 h 4596459"/>
              <a:gd name="connsiteX10340" fmla="*/ 4669984 w 4716235"/>
              <a:gd name="connsiteY10340" fmla="*/ 1997497 h 4596459"/>
              <a:gd name="connsiteX10341" fmla="*/ 4667754 w 4716235"/>
              <a:gd name="connsiteY10341" fmla="*/ 1995267 h 4596459"/>
              <a:gd name="connsiteX10342" fmla="*/ 4659413 w 4716235"/>
              <a:gd name="connsiteY10342" fmla="*/ 2003609 h 4596459"/>
              <a:gd name="connsiteX10343" fmla="*/ 4657927 w 4716235"/>
              <a:gd name="connsiteY10343" fmla="*/ 2002123 h 4596459"/>
              <a:gd name="connsiteX10344" fmla="*/ 4649998 w 4716235"/>
              <a:gd name="connsiteY10344" fmla="*/ 2010050 h 4596459"/>
              <a:gd name="connsiteX10345" fmla="*/ 4649256 w 4716235"/>
              <a:gd name="connsiteY10345" fmla="*/ 2009307 h 4596459"/>
              <a:gd name="connsiteX10346" fmla="*/ 4641573 w 4716235"/>
              <a:gd name="connsiteY10346" fmla="*/ 2016990 h 4596459"/>
              <a:gd name="connsiteX10347" fmla="*/ 4641490 w 4716235"/>
              <a:gd name="connsiteY10347" fmla="*/ 2016906 h 4596459"/>
              <a:gd name="connsiteX10348" fmla="*/ 4637444 w 4716235"/>
              <a:gd name="connsiteY10348" fmla="*/ 2020952 h 4596459"/>
              <a:gd name="connsiteX10349" fmla="*/ 4637940 w 4716235"/>
              <a:gd name="connsiteY10349" fmla="*/ 2021448 h 4596459"/>
              <a:gd name="connsiteX10350" fmla="*/ 4630589 w 4716235"/>
              <a:gd name="connsiteY10350" fmla="*/ 2028800 h 4596459"/>
              <a:gd name="connsiteX10351" fmla="*/ 4631662 w 4716235"/>
              <a:gd name="connsiteY10351" fmla="*/ 2029871 h 4596459"/>
              <a:gd name="connsiteX10352" fmla="*/ 4624393 w 4716235"/>
              <a:gd name="connsiteY10352" fmla="*/ 2037141 h 4596459"/>
              <a:gd name="connsiteX10353" fmla="*/ 4625881 w 4716235"/>
              <a:gd name="connsiteY10353" fmla="*/ 2038627 h 4596459"/>
              <a:gd name="connsiteX10354" fmla="*/ 4618366 w 4716235"/>
              <a:gd name="connsiteY10354" fmla="*/ 2046143 h 4596459"/>
              <a:gd name="connsiteX10355" fmla="*/ 4620265 w 4716235"/>
              <a:gd name="connsiteY10355" fmla="*/ 2048042 h 4596459"/>
              <a:gd name="connsiteX10356" fmla="*/ 4612501 w 4716235"/>
              <a:gd name="connsiteY10356" fmla="*/ 2055806 h 4596459"/>
              <a:gd name="connsiteX10357" fmla="*/ 4614650 w 4716235"/>
              <a:gd name="connsiteY10357" fmla="*/ 2057953 h 4596459"/>
              <a:gd name="connsiteX10358" fmla="*/ 4606473 w 4716235"/>
              <a:gd name="connsiteY10358" fmla="*/ 2066130 h 4596459"/>
              <a:gd name="connsiteX10359" fmla="*/ 4608868 w 4716235"/>
              <a:gd name="connsiteY10359" fmla="*/ 2068525 h 4596459"/>
              <a:gd name="connsiteX10360" fmla="*/ 4600196 w 4716235"/>
              <a:gd name="connsiteY10360" fmla="*/ 2077197 h 4596459"/>
              <a:gd name="connsiteX10361" fmla="*/ 4602591 w 4716235"/>
              <a:gd name="connsiteY10361" fmla="*/ 2079592 h 4596459"/>
              <a:gd name="connsiteX10362" fmla="*/ 4593259 w 4716235"/>
              <a:gd name="connsiteY10362" fmla="*/ 2088926 h 4596459"/>
              <a:gd name="connsiteX10363" fmla="*/ 4595652 w 4716235"/>
              <a:gd name="connsiteY10363" fmla="*/ 2091319 h 4596459"/>
              <a:gd name="connsiteX10364" fmla="*/ 4585576 w 4716235"/>
              <a:gd name="connsiteY10364" fmla="*/ 2101396 h 4596459"/>
              <a:gd name="connsiteX10365" fmla="*/ 4587890 w 4716235"/>
              <a:gd name="connsiteY10365" fmla="*/ 2103708 h 4596459"/>
              <a:gd name="connsiteX10366" fmla="*/ 4577152 w 4716235"/>
              <a:gd name="connsiteY10366" fmla="*/ 2114446 h 4596459"/>
              <a:gd name="connsiteX10367" fmla="*/ 4566415 w 4716235"/>
              <a:gd name="connsiteY10367" fmla="*/ 2103708 h 4596459"/>
              <a:gd name="connsiteX10368" fmla="*/ 4576491 w 4716235"/>
              <a:gd name="connsiteY10368" fmla="*/ 2093632 h 4596459"/>
              <a:gd name="connsiteX10369" fmla="*/ 4574179 w 4716235"/>
              <a:gd name="connsiteY10369" fmla="*/ 2091319 h 4596459"/>
              <a:gd name="connsiteX10370" fmla="*/ 4583511 w 4716235"/>
              <a:gd name="connsiteY10370" fmla="*/ 2081987 h 4596459"/>
              <a:gd name="connsiteX10371" fmla="*/ 4581118 w 4716235"/>
              <a:gd name="connsiteY10371" fmla="*/ 2079592 h 4596459"/>
              <a:gd name="connsiteX10372" fmla="*/ 4589789 w 4716235"/>
              <a:gd name="connsiteY10372" fmla="*/ 2070921 h 4596459"/>
              <a:gd name="connsiteX10373" fmla="*/ 4587394 w 4716235"/>
              <a:gd name="connsiteY10373" fmla="*/ 2068525 h 4596459"/>
              <a:gd name="connsiteX10374" fmla="*/ 4595571 w 4716235"/>
              <a:gd name="connsiteY10374" fmla="*/ 2060348 h 4596459"/>
              <a:gd name="connsiteX10375" fmla="*/ 4593176 w 4716235"/>
              <a:gd name="connsiteY10375" fmla="*/ 2057953 h 4596459"/>
              <a:gd name="connsiteX10376" fmla="*/ 4600938 w 4716235"/>
              <a:gd name="connsiteY10376" fmla="*/ 2050191 h 4596459"/>
              <a:gd name="connsiteX10377" fmla="*/ 4598791 w 4716235"/>
              <a:gd name="connsiteY10377" fmla="*/ 2048042 h 4596459"/>
              <a:gd name="connsiteX10378" fmla="*/ 4606307 w 4716235"/>
              <a:gd name="connsiteY10378" fmla="*/ 2040526 h 4596459"/>
              <a:gd name="connsiteX10379" fmla="*/ 4604408 w 4716235"/>
              <a:gd name="connsiteY10379" fmla="*/ 2038627 h 4596459"/>
              <a:gd name="connsiteX10380" fmla="*/ 4611676 w 4716235"/>
              <a:gd name="connsiteY10380" fmla="*/ 2031359 h 4596459"/>
              <a:gd name="connsiteX10381" fmla="*/ 4610188 w 4716235"/>
              <a:gd name="connsiteY10381" fmla="*/ 2029871 h 4596459"/>
              <a:gd name="connsiteX10382" fmla="*/ 4617537 w 4716235"/>
              <a:gd name="connsiteY10382" fmla="*/ 2022522 h 4596459"/>
              <a:gd name="connsiteX10383" fmla="*/ 4616466 w 4716235"/>
              <a:gd name="connsiteY10383" fmla="*/ 2021448 h 4596459"/>
              <a:gd name="connsiteX10384" fmla="*/ 4623734 w 4716235"/>
              <a:gd name="connsiteY10384" fmla="*/ 2014180 h 4596459"/>
              <a:gd name="connsiteX10385" fmla="*/ 4623238 w 4716235"/>
              <a:gd name="connsiteY10385" fmla="*/ 2013684 h 4596459"/>
              <a:gd name="connsiteX10386" fmla="*/ 4633974 w 4716235"/>
              <a:gd name="connsiteY10386" fmla="*/ 2002948 h 4596459"/>
              <a:gd name="connsiteX10387" fmla="*/ 4634057 w 4716235"/>
              <a:gd name="connsiteY10387" fmla="*/ 2003031 h 4596459"/>
              <a:gd name="connsiteX10388" fmla="*/ 4641573 w 4716235"/>
              <a:gd name="connsiteY10388" fmla="*/ 1995515 h 4596459"/>
              <a:gd name="connsiteX10389" fmla="*/ 4642317 w 4716235"/>
              <a:gd name="connsiteY10389" fmla="*/ 1996259 h 4596459"/>
              <a:gd name="connsiteX10390" fmla="*/ 4649998 w 4716235"/>
              <a:gd name="connsiteY10390" fmla="*/ 1988577 h 4596459"/>
              <a:gd name="connsiteX10391" fmla="*/ 4651486 w 4716235"/>
              <a:gd name="connsiteY10391" fmla="*/ 1990065 h 4596459"/>
              <a:gd name="connsiteX10392" fmla="*/ 4659413 w 4716235"/>
              <a:gd name="connsiteY10392" fmla="*/ 1982136 h 4596459"/>
              <a:gd name="connsiteX10393" fmla="*/ 4661641 w 4716235"/>
              <a:gd name="connsiteY10393" fmla="*/ 1984366 h 4596459"/>
              <a:gd name="connsiteX10394" fmla="*/ 4669984 w 4716235"/>
              <a:gd name="connsiteY10394" fmla="*/ 1976023 h 4596459"/>
              <a:gd name="connsiteX10395" fmla="*/ 4672959 w 4716235"/>
              <a:gd name="connsiteY10395" fmla="*/ 1978997 h 4596459"/>
              <a:gd name="connsiteX10396" fmla="*/ 3645035 w 4716235"/>
              <a:gd name="connsiteY10396" fmla="*/ 1970077 h 4596459"/>
              <a:gd name="connsiteX10397" fmla="*/ 3655771 w 4716235"/>
              <a:gd name="connsiteY10397" fmla="*/ 1980813 h 4596459"/>
              <a:gd name="connsiteX10398" fmla="*/ 3645035 w 4716235"/>
              <a:gd name="connsiteY10398" fmla="*/ 1991551 h 4596459"/>
              <a:gd name="connsiteX10399" fmla="*/ 3634299 w 4716235"/>
              <a:gd name="connsiteY10399" fmla="*/ 1980813 h 4596459"/>
              <a:gd name="connsiteX10400" fmla="*/ 3645035 w 4716235"/>
              <a:gd name="connsiteY10400" fmla="*/ 1970077 h 4596459"/>
              <a:gd name="connsiteX10401" fmla="*/ 4694761 w 4716235"/>
              <a:gd name="connsiteY10401" fmla="*/ 1968922 h 4596459"/>
              <a:gd name="connsiteX10402" fmla="*/ 4701533 w 4716235"/>
              <a:gd name="connsiteY10402" fmla="*/ 1975694 h 4596459"/>
              <a:gd name="connsiteX10403" fmla="*/ 4694761 w 4716235"/>
              <a:gd name="connsiteY10403" fmla="*/ 1982467 h 4596459"/>
              <a:gd name="connsiteX10404" fmla="*/ 4687989 w 4716235"/>
              <a:gd name="connsiteY10404" fmla="*/ 1975694 h 4596459"/>
              <a:gd name="connsiteX10405" fmla="*/ 4694761 w 4716235"/>
              <a:gd name="connsiteY10405" fmla="*/ 1968922 h 4596459"/>
              <a:gd name="connsiteX10406" fmla="*/ 4520165 w 4716235"/>
              <a:gd name="connsiteY10406" fmla="*/ 1960826 h 4596459"/>
              <a:gd name="connsiteX10407" fmla="*/ 4530901 w 4716235"/>
              <a:gd name="connsiteY10407" fmla="*/ 1971563 h 4596459"/>
              <a:gd name="connsiteX10408" fmla="*/ 4520165 w 4716235"/>
              <a:gd name="connsiteY10408" fmla="*/ 1982301 h 4596459"/>
              <a:gd name="connsiteX10409" fmla="*/ 4509428 w 4716235"/>
              <a:gd name="connsiteY10409" fmla="*/ 1971563 h 4596459"/>
              <a:gd name="connsiteX10410" fmla="*/ 4520165 w 4716235"/>
              <a:gd name="connsiteY10410" fmla="*/ 1960826 h 4596459"/>
              <a:gd name="connsiteX10411" fmla="*/ 3761323 w 4716235"/>
              <a:gd name="connsiteY10411" fmla="*/ 1959340 h 4596459"/>
              <a:gd name="connsiteX10412" fmla="*/ 3772059 w 4716235"/>
              <a:gd name="connsiteY10412" fmla="*/ 1970077 h 4596459"/>
              <a:gd name="connsiteX10413" fmla="*/ 3761323 w 4716235"/>
              <a:gd name="connsiteY10413" fmla="*/ 1980815 h 4596459"/>
              <a:gd name="connsiteX10414" fmla="*/ 3750586 w 4716235"/>
              <a:gd name="connsiteY10414" fmla="*/ 1970077 h 4596459"/>
              <a:gd name="connsiteX10415" fmla="*/ 3761323 w 4716235"/>
              <a:gd name="connsiteY10415" fmla="*/ 1959340 h 4596459"/>
              <a:gd name="connsiteX10416" fmla="*/ 4538994 w 4716235"/>
              <a:gd name="connsiteY10416" fmla="*/ 1951247 h 4596459"/>
              <a:gd name="connsiteX10417" fmla="*/ 4549731 w 4716235"/>
              <a:gd name="connsiteY10417" fmla="*/ 1961983 h 4596459"/>
              <a:gd name="connsiteX10418" fmla="*/ 4538994 w 4716235"/>
              <a:gd name="connsiteY10418" fmla="*/ 1972721 h 4596459"/>
              <a:gd name="connsiteX10419" fmla="*/ 4528258 w 4716235"/>
              <a:gd name="connsiteY10419" fmla="*/ 1961983 h 4596459"/>
              <a:gd name="connsiteX10420" fmla="*/ 4538994 w 4716235"/>
              <a:gd name="connsiteY10420" fmla="*/ 1951247 h 4596459"/>
              <a:gd name="connsiteX10421" fmla="*/ 3866707 w 4716235"/>
              <a:gd name="connsiteY10421" fmla="*/ 1948769 h 4596459"/>
              <a:gd name="connsiteX10422" fmla="*/ 3877445 w 4716235"/>
              <a:gd name="connsiteY10422" fmla="*/ 1959505 h 4596459"/>
              <a:gd name="connsiteX10423" fmla="*/ 3866707 w 4716235"/>
              <a:gd name="connsiteY10423" fmla="*/ 1970243 h 4596459"/>
              <a:gd name="connsiteX10424" fmla="*/ 3855971 w 4716235"/>
              <a:gd name="connsiteY10424" fmla="*/ 1959505 h 4596459"/>
              <a:gd name="connsiteX10425" fmla="*/ 3866707 w 4716235"/>
              <a:gd name="connsiteY10425" fmla="*/ 1948769 h 4596459"/>
              <a:gd name="connsiteX10426" fmla="*/ 4554852 w 4716235"/>
              <a:gd name="connsiteY10426" fmla="*/ 1942161 h 4596459"/>
              <a:gd name="connsiteX10427" fmla="*/ 4565590 w 4716235"/>
              <a:gd name="connsiteY10427" fmla="*/ 1952898 h 4596459"/>
              <a:gd name="connsiteX10428" fmla="*/ 4554852 w 4716235"/>
              <a:gd name="connsiteY10428" fmla="*/ 1963636 h 4596459"/>
              <a:gd name="connsiteX10429" fmla="*/ 4544115 w 4716235"/>
              <a:gd name="connsiteY10429" fmla="*/ 1952898 h 4596459"/>
              <a:gd name="connsiteX10430" fmla="*/ 4554852 w 4716235"/>
              <a:gd name="connsiteY10430" fmla="*/ 1942161 h 4596459"/>
              <a:gd name="connsiteX10431" fmla="*/ 3962017 w 4716235"/>
              <a:gd name="connsiteY10431" fmla="*/ 1938693 h 4596459"/>
              <a:gd name="connsiteX10432" fmla="*/ 3972753 w 4716235"/>
              <a:gd name="connsiteY10432" fmla="*/ 1949429 h 4596459"/>
              <a:gd name="connsiteX10433" fmla="*/ 3962017 w 4716235"/>
              <a:gd name="connsiteY10433" fmla="*/ 1960167 h 4596459"/>
              <a:gd name="connsiteX10434" fmla="*/ 3951280 w 4716235"/>
              <a:gd name="connsiteY10434" fmla="*/ 1949429 h 4596459"/>
              <a:gd name="connsiteX10435" fmla="*/ 3962017 w 4716235"/>
              <a:gd name="connsiteY10435" fmla="*/ 1938693 h 4596459"/>
              <a:gd name="connsiteX10436" fmla="*/ 4047746 w 4716235"/>
              <a:gd name="connsiteY10436" fmla="*/ 1929112 h 4596459"/>
              <a:gd name="connsiteX10437" fmla="*/ 4058482 w 4716235"/>
              <a:gd name="connsiteY10437" fmla="*/ 1939848 h 4596459"/>
              <a:gd name="connsiteX10438" fmla="*/ 4047746 w 4716235"/>
              <a:gd name="connsiteY10438" fmla="*/ 1950586 h 4596459"/>
              <a:gd name="connsiteX10439" fmla="*/ 4037010 w 4716235"/>
              <a:gd name="connsiteY10439" fmla="*/ 1939848 h 4596459"/>
              <a:gd name="connsiteX10440" fmla="*/ 4047746 w 4716235"/>
              <a:gd name="connsiteY10440" fmla="*/ 1929112 h 4596459"/>
              <a:gd name="connsiteX10441" fmla="*/ 4124555 w 4716235"/>
              <a:gd name="connsiteY10441" fmla="*/ 1919697 h 4596459"/>
              <a:gd name="connsiteX10442" fmla="*/ 4135291 w 4716235"/>
              <a:gd name="connsiteY10442" fmla="*/ 1930433 h 4596459"/>
              <a:gd name="connsiteX10443" fmla="*/ 4124555 w 4716235"/>
              <a:gd name="connsiteY10443" fmla="*/ 1941171 h 4596459"/>
              <a:gd name="connsiteX10444" fmla="*/ 4113819 w 4716235"/>
              <a:gd name="connsiteY10444" fmla="*/ 1930433 h 4596459"/>
              <a:gd name="connsiteX10445" fmla="*/ 4124555 w 4716235"/>
              <a:gd name="connsiteY10445" fmla="*/ 1919697 h 4596459"/>
              <a:gd name="connsiteX10446" fmla="*/ 4193270 w 4716235"/>
              <a:gd name="connsiteY10446" fmla="*/ 1910776 h 4596459"/>
              <a:gd name="connsiteX10447" fmla="*/ 4204007 w 4716235"/>
              <a:gd name="connsiteY10447" fmla="*/ 1921512 h 4596459"/>
              <a:gd name="connsiteX10448" fmla="*/ 4193270 w 4716235"/>
              <a:gd name="connsiteY10448" fmla="*/ 1932250 h 4596459"/>
              <a:gd name="connsiteX10449" fmla="*/ 4182534 w 4716235"/>
              <a:gd name="connsiteY10449" fmla="*/ 1921512 h 4596459"/>
              <a:gd name="connsiteX10450" fmla="*/ 4193270 w 4716235"/>
              <a:gd name="connsiteY10450" fmla="*/ 1910776 h 4596459"/>
              <a:gd name="connsiteX10451" fmla="*/ 4706160 w 4716235"/>
              <a:gd name="connsiteY10451" fmla="*/ 1907143 h 4596459"/>
              <a:gd name="connsiteX10452" fmla="*/ 4708638 w 4716235"/>
              <a:gd name="connsiteY10452" fmla="*/ 1909621 h 4596459"/>
              <a:gd name="connsiteX10453" fmla="*/ 4706160 w 4716235"/>
              <a:gd name="connsiteY10453" fmla="*/ 1912099 h 4596459"/>
              <a:gd name="connsiteX10454" fmla="*/ 4703681 w 4716235"/>
              <a:gd name="connsiteY10454" fmla="*/ 1909621 h 4596459"/>
              <a:gd name="connsiteX10455" fmla="*/ 4706160 w 4716235"/>
              <a:gd name="connsiteY10455" fmla="*/ 1907143 h 4596459"/>
              <a:gd name="connsiteX10456" fmla="*/ 4692779 w 4716235"/>
              <a:gd name="connsiteY10456" fmla="*/ 1903014 h 4596459"/>
              <a:gd name="connsiteX10457" fmla="*/ 4703517 w 4716235"/>
              <a:gd name="connsiteY10457" fmla="*/ 1913750 h 4596459"/>
              <a:gd name="connsiteX10458" fmla="*/ 4692779 w 4716235"/>
              <a:gd name="connsiteY10458" fmla="*/ 1924488 h 4596459"/>
              <a:gd name="connsiteX10459" fmla="*/ 4688898 w 4716235"/>
              <a:gd name="connsiteY10459" fmla="*/ 1920607 h 4596459"/>
              <a:gd name="connsiteX10460" fmla="*/ 4680721 w 4716235"/>
              <a:gd name="connsiteY10460" fmla="*/ 1928782 h 4596459"/>
              <a:gd name="connsiteX10461" fmla="*/ 4677665 w 4716235"/>
              <a:gd name="connsiteY10461" fmla="*/ 1925726 h 4596459"/>
              <a:gd name="connsiteX10462" fmla="*/ 4669984 w 4716235"/>
              <a:gd name="connsiteY10462" fmla="*/ 1933405 h 4596459"/>
              <a:gd name="connsiteX10463" fmla="*/ 4667673 w 4716235"/>
              <a:gd name="connsiteY10463" fmla="*/ 1931094 h 4596459"/>
              <a:gd name="connsiteX10464" fmla="*/ 4660403 w 4716235"/>
              <a:gd name="connsiteY10464" fmla="*/ 1938363 h 4596459"/>
              <a:gd name="connsiteX10465" fmla="*/ 4658834 w 4716235"/>
              <a:gd name="connsiteY10465" fmla="*/ 1936794 h 4596459"/>
              <a:gd name="connsiteX10466" fmla="*/ 4651978 w 4716235"/>
              <a:gd name="connsiteY10466" fmla="*/ 1943649 h 4596459"/>
              <a:gd name="connsiteX10467" fmla="*/ 4650986 w 4716235"/>
              <a:gd name="connsiteY10467" fmla="*/ 1942657 h 4596459"/>
              <a:gd name="connsiteX10468" fmla="*/ 4644381 w 4716235"/>
              <a:gd name="connsiteY10468" fmla="*/ 1949265 h 4596459"/>
              <a:gd name="connsiteX10469" fmla="*/ 4644050 w 4716235"/>
              <a:gd name="connsiteY10469" fmla="*/ 1948933 h 4596459"/>
              <a:gd name="connsiteX10470" fmla="*/ 4642151 w 4716235"/>
              <a:gd name="connsiteY10470" fmla="*/ 1950834 h 4596459"/>
              <a:gd name="connsiteX10471" fmla="*/ 4642234 w 4716235"/>
              <a:gd name="connsiteY10471" fmla="*/ 1950915 h 4596459"/>
              <a:gd name="connsiteX10472" fmla="*/ 4635958 w 4716235"/>
              <a:gd name="connsiteY10472" fmla="*/ 1957193 h 4596459"/>
              <a:gd name="connsiteX10473" fmla="*/ 4636617 w 4716235"/>
              <a:gd name="connsiteY10473" fmla="*/ 1957852 h 4596459"/>
              <a:gd name="connsiteX10474" fmla="*/ 4630422 w 4716235"/>
              <a:gd name="connsiteY10474" fmla="*/ 1964048 h 4596459"/>
              <a:gd name="connsiteX10475" fmla="*/ 4631331 w 4716235"/>
              <a:gd name="connsiteY10475" fmla="*/ 1964955 h 4596459"/>
              <a:gd name="connsiteX10476" fmla="*/ 4625055 w 4716235"/>
              <a:gd name="connsiteY10476" fmla="*/ 1971233 h 4596459"/>
              <a:gd name="connsiteX10477" fmla="*/ 4626377 w 4716235"/>
              <a:gd name="connsiteY10477" fmla="*/ 1972555 h 4596459"/>
              <a:gd name="connsiteX10478" fmla="*/ 4619688 w 4716235"/>
              <a:gd name="connsiteY10478" fmla="*/ 1979245 h 4596459"/>
              <a:gd name="connsiteX10479" fmla="*/ 4621091 w 4716235"/>
              <a:gd name="connsiteY10479" fmla="*/ 1980648 h 4596459"/>
              <a:gd name="connsiteX10480" fmla="*/ 4614071 w 4716235"/>
              <a:gd name="connsiteY10480" fmla="*/ 1987670 h 4596459"/>
              <a:gd name="connsiteX10481" fmla="*/ 4615640 w 4716235"/>
              <a:gd name="connsiteY10481" fmla="*/ 1989238 h 4596459"/>
              <a:gd name="connsiteX10482" fmla="*/ 4608206 w 4716235"/>
              <a:gd name="connsiteY10482" fmla="*/ 1996670 h 4596459"/>
              <a:gd name="connsiteX10483" fmla="*/ 4609692 w 4716235"/>
              <a:gd name="connsiteY10483" fmla="*/ 1998156 h 4596459"/>
              <a:gd name="connsiteX10484" fmla="*/ 4601515 w 4716235"/>
              <a:gd name="connsiteY10484" fmla="*/ 2006335 h 4596459"/>
              <a:gd name="connsiteX10485" fmla="*/ 4602920 w 4716235"/>
              <a:gd name="connsiteY10485" fmla="*/ 2007738 h 4596459"/>
              <a:gd name="connsiteX10486" fmla="*/ 4594083 w 4716235"/>
              <a:gd name="connsiteY10486" fmla="*/ 2016577 h 4596459"/>
              <a:gd name="connsiteX10487" fmla="*/ 4595156 w 4716235"/>
              <a:gd name="connsiteY10487" fmla="*/ 2017649 h 4596459"/>
              <a:gd name="connsiteX10488" fmla="*/ 4585245 w 4716235"/>
              <a:gd name="connsiteY10488" fmla="*/ 2027560 h 4596459"/>
              <a:gd name="connsiteX10489" fmla="*/ 4585906 w 4716235"/>
              <a:gd name="connsiteY10489" fmla="*/ 2028220 h 4596459"/>
              <a:gd name="connsiteX10490" fmla="*/ 4575170 w 4716235"/>
              <a:gd name="connsiteY10490" fmla="*/ 2038957 h 4596459"/>
              <a:gd name="connsiteX10491" fmla="*/ 4564433 w 4716235"/>
              <a:gd name="connsiteY10491" fmla="*/ 2028220 h 4596459"/>
              <a:gd name="connsiteX10492" fmla="*/ 4574344 w 4716235"/>
              <a:gd name="connsiteY10492" fmla="*/ 2018309 h 4596459"/>
              <a:gd name="connsiteX10493" fmla="*/ 4573683 w 4716235"/>
              <a:gd name="connsiteY10493" fmla="*/ 2017649 h 4596459"/>
              <a:gd name="connsiteX10494" fmla="*/ 4582521 w 4716235"/>
              <a:gd name="connsiteY10494" fmla="*/ 2008811 h 4596459"/>
              <a:gd name="connsiteX10495" fmla="*/ 4581447 w 4716235"/>
              <a:gd name="connsiteY10495" fmla="*/ 2007738 h 4596459"/>
              <a:gd name="connsiteX10496" fmla="*/ 4589624 w 4716235"/>
              <a:gd name="connsiteY10496" fmla="*/ 1999561 h 4596459"/>
              <a:gd name="connsiteX10497" fmla="*/ 4588219 w 4716235"/>
              <a:gd name="connsiteY10497" fmla="*/ 1998156 h 4596459"/>
              <a:gd name="connsiteX10498" fmla="*/ 4595652 w 4716235"/>
              <a:gd name="connsiteY10498" fmla="*/ 1990724 h 4596459"/>
              <a:gd name="connsiteX10499" fmla="*/ 4594166 w 4716235"/>
              <a:gd name="connsiteY10499" fmla="*/ 1989238 h 4596459"/>
              <a:gd name="connsiteX10500" fmla="*/ 4601186 w 4716235"/>
              <a:gd name="connsiteY10500" fmla="*/ 1982218 h 4596459"/>
              <a:gd name="connsiteX10501" fmla="*/ 4599618 w 4716235"/>
              <a:gd name="connsiteY10501" fmla="*/ 1980648 h 4596459"/>
              <a:gd name="connsiteX10502" fmla="*/ 4606307 w 4716235"/>
              <a:gd name="connsiteY10502" fmla="*/ 1973959 h 4596459"/>
              <a:gd name="connsiteX10503" fmla="*/ 4604904 w 4716235"/>
              <a:gd name="connsiteY10503" fmla="*/ 1972555 h 4596459"/>
              <a:gd name="connsiteX10504" fmla="*/ 4611180 w 4716235"/>
              <a:gd name="connsiteY10504" fmla="*/ 1966279 h 4596459"/>
              <a:gd name="connsiteX10505" fmla="*/ 4609858 w 4716235"/>
              <a:gd name="connsiteY10505" fmla="*/ 1964955 h 4596459"/>
              <a:gd name="connsiteX10506" fmla="*/ 4616053 w 4716235"/>
              <a:gd name="connsiteY10506" fmla="*/ 1958761 h 4596459"/>
              <a:gd name="connsiteX10507" fmla="*/ 4615144 w 4716235"/>
              <a:gd name="connsiteY10507" fmla="*/ 1957852 h 4596459"/>
              <a:gd name="connsiteX10508" fmla="*/ 4621420 w 4716235"/>
              <a:gd name="connsiteY10508" fmla="*/ 1951576 h 4596459"/>
              <a:gd name="connsiteX10509" fmla="*/ 4620761 w 4716235"/>
              <a:gd name="connsiteY10509" fmla="*/ 1950915 h 4596459"/>
              <a:gd name="connsiteX10510" fmla="*/ 4626956 w 4716235"/>
              <a:gd name="connsiteY10510" fmla="*/ 1944721 h 4596459"/>
              <a:gd name="connsiteX10511" fmla="*/ 4626873 w 4716235"/>
              <a:gd name="connsiteY10511" fmla="*/ 1944638 h 4596459"/>
              <a:gd name="connsiteX10512" fmla="*/ 4637609 w 4716235"/>
              <a:gd name="connsiteY10512" fmla="*/ 1933901 h 4596459"/>
              <a:gd name="connsiteX10513" fmla="*/ 4637938 w 4716235"/>
              <a:gd name="connsiteY10513" fmla="*/ 1934233 h 4596459"/>
              <a:gd name="connsiteX10514" fmla="*/ 4644381 w 4716235"/>
              <a:gd name="connsiteY10514" fmla="*/ 1927790 h 4596459"/>
              <a:gd name="connsiteX10515" fmla="*/ 4645371 w 4716235"/>
              <a:gd name="connsiteY10515" fmla="*/ 1928782 h 4596459"/>
              <a:gd name="connsiteX10516" fmla="*/ 4651978 w 4716235"/>
              <a:gd name="connsiteY10516" fmla="*/ 1922175 h 4596459"/>
              <a:gd name="connsiteX10517" fmla="*/ 4653548 w 4716235"/>
              <a:gd name="connsiteY10517" fmla="*/ 1923744 h 4596459"/>
              <a:gd name="connsiteX10518" fmla="*/ 4660403 w 4716235"/>
              <a:gd name="connsiteY10518" fmla="*/ 1916889 h 4596459"/>
              <a:gd name="connsiteX10519" fmla="*/ 4662717 w 4716235"/>
              <a:gd name="connsiteY10519" fmla="*/ 1919202 h 4596459"/>
              <a:gd name="connsiteX10520" fmla="*/ 4669984 w 4716235"/>
              <a:gd name="connsiteY10520" fmla="*/ 1911933 h 4596459"/>
              <a:gd name="connsiteX10521" fmla="*/ 4673040 w 4716235"/>
              <a:gd name="connsiteY10521" fmla="*/ 1914988 h 4596459"/>
              <a:gd name="connsiteX10522" fmla="*/ 4680721 w 4716235"/>
              <a:gd name="connsiteY10522" fmla="*/ 1907308 h 4596459"/>
              <a:gd name="connsiteX10523" fmla="*/ 4684604 w 4716235"/>
              <a:gd name="connsiteY10523" fmla="*/ 1911190 h 4596459"/>
              <a:gd name="connsiteX10524" fmla="*/ 4254388 w 4716235"/>
              <a:gd name="connsiteY10524" fmla="*/ 1902187 h 4596459"/>
              <a:gd name="connsiteX10525" fmla="*/ 4265126 w 4716235"/>
              <a:gd name="connsiteY10525" fmla="*/ 1912923 h 4596459"/>
              <a:gd name="connsiteX10526" fmla="*/ 4254388 w 4716235"/>
              <a:gd name="connsiteY10526" fmla="*/ 1923661 h 4596459"/>
              <a:gd name="connsiteX10527" fmla="*/ 4243652 w 4716235"/>
              <a:gd name="connsiteY10527" fmla="*/ 1912923 h 4596459"/>
              <a:gd name="connsiteX10528" fmla="*/ 4254388 w 4716235"/>
              <a:gd name="connsiteY10528" fmla="*/ 1902187 h 4596459"/>
              <a:gd name="connsiteX10529" fmla="*/ 4308568 w 4716235"/>
              <a:gd name="connsiteY10529" fmla="*/ 1893928 h 4596459"/>
              <a:gd name="connsiteX10530" fmla="*/ 4319306 w 4716235"/>
              <a:gd name="connsiteY10530" fmla="*/ 1904665 h 4596459"/>
              <a:gd name="connsiteX10531" fmla="*/ 4308568 w 4716235"/>
              <a:gd name="connsiteY10531" fmla="*/ 1915403 h 4596459"/>
              <a:gd name="connsiteX10532" fmla="*/ 4297831 w 4716235"/>
              <a:gd name="connsiteY10532" fmla="*/ 1904665 h 4596459"/>
              <a:gd name="connsiteX10533" fmla="*/ 4308568 w 4716235"/>
              <a:gd name="connsiteY10533" fmla="*/ 1893928 h 4596459"/>
              <a:gd name="connsiteX10534" fmla="*/ 4356470 w 4716235"/>
              <a:gd name="connsiteY10534" fmla="*/ 1886000 h 4596459"/>
              <a:gd name="connsiteX10535" fmla="*/ 4367206 w 4716235"/>
              <a:gd name="connsiteY10535" fmla="*/ 1896736 h 4596459"/>
              <a:gd name="connsiteX10536" fmla="*/ 4356470 w 4716235"/>
              <a:gd name="connsiteY10536" fmla="*/ 1907474 h 4596459"/>
              <a:gd name="connsiteX10537" fmla="*/ 4345733 w 4716235"/>
              <a:gd name="connsiteY10537" fmla="*/ 1896736 h 4596459"/>
              <a:gd name="connsiteX10538" fmla="*/ 4356470 w 4716235"/>
              <a:gd name="connsiteY10538" fmla="*/ 1886000 h 4596459"/>
              <a:gd name="connsiteX10539" fmla="*/ 4398426 w 4716235"/>
              <a:gd name="connsiteY10539" fmla="*/ 1878567 h 4596459"/>
              <a:gd name="connsiteX10540" fmla="*/ 4409165 w 4716235"/>
              <a:gd name="connsiteY10540" fmla="*/ 1889303 h 4596459"/>
              <a:gd name="connsiteX10541" fmla="*/ 4398426 w 4716235"/>
              <a:gd name="connsiteY10541" fmla="*/ 1900041 h 4596459"/>
              <a:gd name="connsiteX10542" fmla="*/ 4387690 w 4716235"/>
              <a:gd name="connsiteY10542" fmla="*/ 1889303 h 4596459"/>
              <a:gd name="connsiteX10543" fmla="*/ 4398426 w 4716235"/>
              <a:gd name="connsiteY10543" fmla="*/ 1878567 h 4596459"/>
              <a:gd name="connsiteX10544" fmla="*/ 4434931 w 4716235"/>
              <a:gd name="connsiteY10544" fmla="*/ 1871299 h 4596459"/>
              <a:gd name="connsiteX10545" fmla="*/ 4445667 w 4716235"/>
              <a:gd name="connsiteY10545" fmla="*/ 1882035 h 4596459"/>
              <a:gd name="connsiteX10546" fmla="*/ 4434931 w 4716235"/>
              <a:gd name="connsiteY10546" fmla="*/ 1892773 h 4596459"/>
              <a:gd name="connsiteX10547" fmla="*/ 4424195 w 4716235"/>
              <a:gd name="connsiteY10547" fmla="*/ 1882035 h 4596459"/>
              <a:gd name="connsiteX10548" fmla="*/ 4434931 w 4716235"/>
              <a:gd name="connsiteY10548" fmla="*/ 1871299 h 4596459"/>
              <a:gd name="connsiteX10549" fmla="*/ 4466811 w 4716235"/>
              <a:gd name="connsiteY10549" fmla="*/ 1864360 h 4596459"/>
              <a:gd name="connsiteX10550" fmla="*/ 4477547 w 4716235"/>
              <a:gd name="connsiteY10550" fmla="*/ 1875097 h 4596459"/>
              <a:gd name="connsiteX10551" fmla="*/ 4466811 w 4716235"/>
              <a:gd name="connsiteY10551" fmla="*/ 1885835 h 4596459"/>
              <a:gd name="connsiteX10552" fmla="*/ 4456074 w 4716235"/>
              <a:gd name="connsiteY10552" fmla="*/ 1875097 h 4596459"/>
              <a:gd name="connsiteX10553" fmla="*/ 4466811 w 4716235"/>
              <a:gd name="connsiteY10553" fmla="*/ 1864360 h 4596459"/>
              <a:gd name="connsiteX10554" fmla="*/ 4494232 w 4716235"/>
              <a:gd name="connsiteY10554" fmla="*/ 1857753 h 4596459"/>
              <a:gd name="connsiteX10555" fmla="*/ 4504968 w 4716235"/>
              <a:gd name="connsiteY10555" fmla="*/ 1868490 h 4596459"/>
              <a:gd name="connsiteX10556" fmla="*/ 4494232 w 4716235"/>
              <a:gd name="connsiteY10556" fmla="*/ 1879228 h 4596459"/>
              <a:gd name="connsiteX10557" fmla="*/ 4483495 w 4716235"/>
              <a:gd name="connsiteY10557" fmla="*/ 1868490 h 4596459"/>
              <a:gd name="connsiteX10558" fmla="*/ 4494232 w 4716235"/>
              <a:gd name="connsiteY10558" fmla="*/ 1857753 h 4596459"/>
              <a:gd name="connsiteX10559" fmla="*/ 4517686 w 4716235"/>
              <a:gd name="connsiteY10559" fmla="*/ 1851477 h 4596459"/>
              <a:gd name="connsiteX10560" fmla="*/ 4528425 w 4716235"/>
              <a:gd name="connsiteY10560" fmla="*/ 1862214 h 4596459"/>
              <a:gd name="connsiteX10561" fmla="*/ 4517686 w 4716235"/>
              <a:gd name="connsiteY10561" fmla="*/ 1872952 h 4596459"/>
              <a:gd name="connsiteX10562" fmla="*/ 4506950 w 4716235"/>
              <a:gd name="connsiteY10562" fmla="*/ 1862214 h 4596459"/>
              <a:gd name="connsiteX10563" fmla="*/ 4517686 w 4716235"/>
              <a:gd name="connsiteY10563" fmla="*/ 1851477 h 4596459"/>
              <a:gd name="connsiteX10564" fmla="*/ 4537675 w 4716235"/>
              <a:gd name="connsiteY10564" fmla="*/ 1845364 h 4596459"/>
              <a:gd name="connsiteX10565" fmla="*/ 4548411 w 4716235"/>
              <a:gd name="connsiteY10565" fmla="*/ 1856101 h 4596459"/>
              <a:gd name="connsiteX10566" fmla="*/ 4537675 w 4716235"/>
              <a:gd name="connsiteY10566" fmla="*/ 1866839 h 4596459"/>
              <a:gd name="connsiteX10567" fmla="*/ 4526938 w 4716235"/>
              <a:gd name="connsiteY10567" fmla="*/ 1856101 h 4596459"/>
              <a:gd name="connsiteX10568" fmla="*/ 4537675 w 4716235"/>
              <a:gd name="connsiteY10568" fmla="*/ 1845364 h 4596459"/>
              <a:gd name="connsiteX10569" fmla="*/ 4702691 w 4716235"/>
              <a:gd name="connsiteY10569" fmla="*/ 1838923 h 4596459"/>
              <a:gd name="connsiteX10570" fmla="*/ 4711116 w 4716235"/>
              <a:gd name="connsiteY10570" fmla="*/ 1847348 h 4596459"/>
              <a:gd name="connsiteX10571" fmla="*/ 4702691 w 4716235"/>
              <a:gd name="connsiteY10571" fmla="*/ 1855771 h 4596459"/>
              <a:gd name="connsiteX10572" fmla="*/ 4699221 w 4716235"/>
              <a:gd name="connsiteY10572" fmla="*/ 1852303 h 4596459"/>
              <a:gd name="connsiteX10573" fmla="*/ 4690302 w 4716235"/>
              <a:gd name="connsiteY10573" fmla="*/ 1861223 h 4596459"/>
              <a:gd name="connsiteX10574" fmla="*/ 4686338 w 4716235"/>
              <a:gd name="connsiteY10574" fmla="*/ 1857259 h 4596459"/>
              <a:gd name="connsiteX10575" fmla="*/ 4679235 w 4716235"/>
              <a:gd name="connsiteY10575" fmla="*/ 1864362 h 4596459"/>
              <a:gd name="connsiteX10576" fmla="*/ 4676013 w 4716235"/>
              <a:gd name="connsiteY10576" fmla="*/ 1861140 h 4596459"/>
              <a:gd name="connsiteX10577" fmla="*/ 4669324 w 4716235"/>
              <a:gd name="connsiteY10577" fmla="*/ 1867829 h 4596459"/>
              <a:gd name="connsiteX10578" fmla="*/ 4666847 w 4716235"/>
              <a:gd name="connsiteY10578" fmla="*/ 1865352 h 4596459"/>
              <a:gd name="connsiteX10579" fmla="*/ 4660570 w 4716235"/>
              <a:gd name="connsiteY10579" fmla="*/ 1871630 h 4596459"/>
              <a:gd name="connsiteX10580" fmla="*/ 4658669 w 4716235"/>
              <a:gd name="connsiteY10580" fmla="*/ 1869730 h 4596459"/>
              <a:gd name="connsiteX10581" fmla="*/ 4652806 w 4716235"/>
              <a:gd name="connsiteY10581" fmla="*/ 1875593 h 4596459"/>
              <a:gd name="connsiteX10582" fmla="*/ 4651484 w 4716235"/>
              <a:gd name="connsiteY10582" fmla="*/ 1874271 h 4596459"/>
              <a:gd name="connsiteX10583" fmla="*/ 4646034 w 4716235"/>
              <a:gd name="connsiteY10583" fmla="*/ 1879722 h 4596459"/>
              <a:gd name="connsiteX10584" fmla="*/ 4645290 w 4716235"/>
              <a:gd name="connsiteY10584" fmla="*/ 1878978 h 4596459"/>
              <a:gd name="connsiteX10585" fmla="*/ 4639921 w 4716235"/>
              <a:gd name="connsiteY10585" fmla="*/ 1884347 h 4596459"/>
              <a:gd name="connsiteX10586" fmla="*/ 4639591 w 4716235"/>
              <a:gd name="connsiteY10586" fmla="*/ 1884017 h 4596459"/>
              <a:gd name="connsiteX10587" fmla="*/ 4635131 w 4716235"/>
              <a:gd name="connsiteY10587" fmla="*/ 1888478 h 4596459"/>
              <a:gd name="connsiteX10588" fmla="*/ 4635460 w 4716235"/>
              <a:gd name="connsiteY10588" fmla="*/ 1888807 h 4596459"/>
              <a:gd name="connsiteX10589" fmla="*/ 4630258 w 4716235"/>
              <a:gd name="connsiteY10589" fmla="*/ 1894012 h 4596459"/>
              <a:gd name="connsiteX10590" fmla="*/ 4630672 w 4716235"/>
              <a:gd name="connsiteY10590" fmla="*/ 1894424 h 4596459"/>
              <a:gd name="connsiteX10591" fmla="*/ 4625303 w 4716235"/>
              <a:gd name="connsiteY10591" fmla="*/ 1899793 h 4596459"/>
              <a:gd name="connsiteX10592" fmla="*/ 4625881 w 4716235"/>
              <a:gd name="connsiteY10592" fmla="*/ 1900371 h 4596459"/>
              <a:gd name="connsiteX10593" fmla="*/ 4620017 w 4716235"/>
              <a:gd name="connsiteY10593" fmla="*/ 1906236 h 4596459"/>
              <a:gd name="connsiteX10594" fmla="*/ 4620595 w 4716235"/>
              <a:gd name="connsiteY10594" fmla="*/ 1906812 h 4596459"/>
              <a:gd name="connsiteX10595" fmla="*/ 4614236 w 4716235"/>
              <a:gd name="connsiteY10595" fmla="*/ 1913173 h 4596459"/>
              <a:gd name="connsiteX10596" fmla="*/ 4614650 w 4716235"/>
              <a:gd name="connsiteY10596" fmla="*/ 1913585 h 4596459"/>
              <a:gd name="connsiteX10597" fmla="*/ 4607795 w 4716235"/>
              <a:gd name="connsiteY10597" fmla="*/ 1920441 h 4596459"/>
              <a:gd name="connsiteX10598" fmla="*/ 4607876 w 4716235"/>
              <a:gd name="connsiteY10598" fmla="*/ 1920522 h 4596459"/>
              <a:gd name="connsiteX10599" fmla="*/ 4597138 w 4716235"/>
              <a:gd name="connsiteY10599" fmla="*/ 1931260 h 4596459"/>
              <a:gd name="connsiteX10600" fmla="*/ 4596890 w 4716235"/>
              <a:gd name="connsiteY10600" fmla="*/ 1931012 h 4596459"/>
              <a:gd name="connsiteX10601" fmla="*/ 4589045 w 4716235"/>
              <a:gd name="connsiteY10601" fmla="*/ 1938858 h 4596459"/>
              <a:gd name="connsiteX10602" fmla="*/ 4588219 w 4716235"/>
              <a:gd name="connsiteY10602" fmla="*/ 1938032 h 4596459"/>
              <a:gd name="connsiteX10603" fmla="*/ 4579630 w 4716235"/>
              <a:gd name="connsiteY10603" fmla="*/ 1946622 h 4596459"/>
              <a:gd name="connsiteX10604" fmla="*/ 4578144 w 4716235"/>
              <a:gd name="connsiteY10604" fmla="*/ 1945135 h 4596459"/>
              <a:gd name="connsiteX10605" fmla="*/ 4568398 w 4716235"/>
              <a:gd name="connsiteY10605" fmla="*/ 1954882 h 4596459"/>
              <a:gd name="connsiteX10606" fmla="*/ 4557661 w 4716235"/>
              <a:gd name="connsiteY10606" fmla="*/ 1944143 h 4596459"/>
              <a:gd name="connsiteX10607" fmla="*/ 4568398 w 4716235"/>
              <a:gd name="connsiteY10607" fmla="*/ 1933407 h 4596459"/>
              <a:gd name="connsiteX10608" fmla="*/ 4569884 w 4716235"/>
              <a:gd name="connsiteY10608" fmla="*/ 1934893 h 4596459"/>
              <a:gd name="connsiteX10609" fmla="*/ 4579630 w 4716235"/>
              <a:gd name="connsiteY10609" fmla="*/ 1925147 h 4596459"/>
              <a:gd name="connsiteX10610" fmla="*/ 4580455 w 4716235"/>
              <a:gd name="connsiteY10610" fmla="*/ 1925973 h 4596459"/>
              <a:gd name="connsiteX10611" fmla="*/ 4589045 w 4716235"/>
              <a:gd name="connsiteY10611" fmla="*/ 1917383 h 4596459"/>
              <a:gd name="connsiteX10612" fmla="*/ 4589293 w 4716235"/>
              <a:gd name="connsiteY10612" fmla="*/ 1917631 h 4596459"/>
              <a:gd name="connsiteX10613" fmla="*/ 4593257 w 4716235"/>
              <a:gd name="connsiteY10613" fmla="*/ 1913667 h 4596459"/>
              <a:gd name="connsiteX10614" fmla="*/ 4593176 w 4716235"/>
              <a:gd name="connsiteY10614" fmla="*/ 1913585 h 4596459"/>
              <a:gd name="connsiteX10615" fmla="*/ 4599535 w 4716235"/>
              <a:gd name="connsiteY10615" fmla="*/ 1907226 h 4596459"/>
              <a:gd name="connsiteX10616" fmla="*/ 4599122 w 4716235"/>
              <a:gd name="connsiteY10616" fmla="*/ 1906812 h 4596459"/>
              <a:gd name="connsiteX10617" fmla="*/ 4604985 w 4716235"/>
              <a:gd name="connsiteY10617" fmla="*/ 1900948 h 4596459"/>
              <a:gd name="connsiteX10618" fmla="*/ 4604408 w 4716235"/>
              <a:gd name="connsiteY10618" fmla="*/ 1900371 h 4596459"/>
              <a:gd name="connsiteX10619" fmla="*/ 4609775 w 4716235"/>
              <a:gd name="connsiteY10619" fmla="*/ 1895004 h 4596459"/>
              <a:gd name="connsiteX10620" fmla="*/ 4609198 w 4716235"/>
              <a:gd name="connsiteY10620" fmla="*/ 1894424 h 4596459"/>
              <a:gd name="connsiteX10621" fmla="*/ 4614400 w 4716235"/>
              <a:gd name="connsiteY10621" fmla="*/ 1889222 h 4596459"/>
              <a:gd name="connsiteX10622" fmla="*/ 4613988 w 4716235"/>
              <a:gd name="connsiteY10622" fmla="*/ 1888807 h 4596459"/>
              <a:gd name="connsiteX10623" fmla="*/ 4619109 w 4716235"/>
              <a:gd name="connsiteY10623" fmla="*/ 1883686 h 4596459"/>
              <a:gd name="connsiteX10624" fmla="*/ 4618779 w 4716235"/>
              <a:gd name="connsiteY10624" fmla="*/ 1883357 h 4596459"/>
              <a:gd name="connsiteX10625" fmla="*/ 4623817 w 4716235"/>
              <a:gd name="connsiteY10625" fmla="*/ 1878319 h 4596459"/>
              <a:gd name="connsiteX10626" fmla="*/ 4623734 w 4716235"/>
              <a:gd name="connsiteY10626" fmla="*/ 1878236 h 4596459"/>
              <a:gd name="connsiteX10627" fmla="*/ 4634470 w 4716235"/>
              <a:gd name="connsiteY10627" fmla="*/ 1867499 h 4596459"/>
              <a:gd name="connsiteX10628" fmla="*/ 4634883 w 4716235"/>
              <a:gd name="connsiteY10628" fmla="*/ 1867912 h 4596459"/>
              <a:gd name="connsiteX10629" fmla="*/ 4639921 w 4716235"/>
              <a:gd name="connsiteY10629" fmla="*/ 1862874 h 4596459"/>
              <a:gd name="connsiteX10630" fmla="*/ 4640665 w 4716235"/>
              <a:gd name="connsiteY10630" fmla="*/ 1863618 h 4596459"/>
              <a:gd name="connsiteX10631" fmla="*/ 4646034 w 4716235"/>
              <a:gd name="connsiteY10631" fmla="*/ 1858249 h 4596459"/>
              <a:gd name="connsiteX10632" fmla="*/ 4647355 w 4716235"/>
              <a:gd name="connsiteY10632" fmla="*/ 1859571 h 4596459"/>
              <a:gd name="connsiteX10633" fmla="*/ 4652806 w 4716235"/>
              <a:gd name="connsiteY10633" fmla="*/ 1854120 h 4596459"/>
              <a:gd name="connsiteX10634" fmla="*/ 4654706 w 4716235"/>
              <a:gd name="connsiteY10634" fmla="*/ 1856021 h 4596459"/>
              <a:gd name="connsiteX10635" fmla="*/ 4660570 w 4716235"/>
              <a:gd name="connsiteY10635" fmla="*/ 1850156 h 4596459"/>
              <a:gd name="connsiteX10636" fmla="*/ 4663048 w 4716235"/>
              <a:gd name="connsiteY10636" fmla="*/ 1852634 h 4596459"/>
              <a:gd name="connsiteX10637" fmla="*/ 4669324 w 4716235"/>
              <a:gd name="connsiteY10637" fmla="*/ 1846356 h 4596459"/>
              <a:gd name="connsiteX10638" fmla="*/ 4672544 w 4716235"/>
              <a:gd name="connsiteY10638" fmla="*/ 1849578 h 4596459"/>
              <a:gd name="connsiteX10639" fmla="*/ 4679235 w 4716235"/>
              <a:gd name="connsiteY10639" fmla="*/ 1842888 h 4596459"/>
              <a:gd name="connsiteX10640" fmla="*/ 4683199 w 4716235"/>
              <a:gd name="connsiteY10640" fmla="*/ 1846852 h 4596459"/>
              <a:gd name="connsiteX10641" fmla="*/ 4690302 w 4716235"/>
              <a:gd name="connsiteY10641" fmla="*/ 1839749 h 4596459"/>
              <a:gd name="connsiteX10642" fmla="*/ 4696084 w 4716235"/>
              <a:gd name="connsiteY10642" fmla="*/ 1845531 h 4596459"/>
              <a:gd name="connsiteX10643" fmla="*/ 1852486 w 4716235"/>
              <a:gd name="connsiteY10643" fmla="*/ 1824056 h 4596459"/>
              <a:gd name="connsiteX10644" fmla="*/ 1863224 w 4716235"/>
              <a:gd name="connsiteY10644" fmla="*/ 1834793 h 4596459"/>
              <a:gd name="connsiteX10645" fmla="*/ 1852486 w 4716235"/>
              <a:gd name="connsiteY10645" fmla="*/ 1845531 h 4596459"/>
              <a:gd name="connsiteX10646" fmla="*/ 1841749 w 4716235"/>
              <a:gd name="connsiteY10646" fmla="*/ 1834793 h 4596459"/>
              <a:gd name="connsiteX10647" fmla="*/ 1852486 w 4716235"/>
              <a:gd name="connsiteY10647" fmla="*/ 1824056 h 4596459"/>
              <a:gd name="connsiteX10648" fmla="*/ 1584727 w 4716235"/>
              <a:gd name="connsiteY10648" fmla="*/ 1822405 h 4596459"/>
              <a:gd name="connsiteX10649" fmla="*/ 1595465 w 4716235"/>
              <a:gd name="connsiteY10649" fmla="*/ 1833142 h 4596459"/>
              <a:gd name="connsiteX10650" fmla="*/ 1584727 w 4716235"/>
              <a:gd name="connsiteY10650" fmla="*/ 1843880 h 4596459"/>
              <a:gd name="connsiteX10651" fmla="*/ 1573991 w 4716235"/>
              <a:gd name="connsiteY10651" fmla="*/ 1833142 h 4596459"/>
              <a:gd name="connsiteX10652" fmla="*/ 1584727 w 4716235"/>
              <a:gd name="connsiteY10652" fmla="*/ 1822405 h 4596459"/>
              <a:gd name="connsiteX10653" fmla="*/ 2112978 w 4716235"/>
              <a:gd name="connsiteY10653" fmla="*/ 1819762 h 4596459"/>
              <a:gd name="connsiteX10654" fmla="*/ 2123716 w 4716235"/>
              <a:gd name="connsiteY10654" fmla="*/ 1830499 h 4596459"/>
              <a:gd name="connsiteX10655" fmla="*/ 2112978 w 4716235"/>
              <a:gd name="connsiteY10655" fmla="*/ 1841235 h 4596459"/>
              <a:gd name="connsiteX10656" fmla="*/ 2102241 w 4716235"/>
              <a:gd name="connsiteY10656" fmla="*/ 1830499 h 4596459"/>
              <a:gd name="connsiteX10657" fmla="*/ 2112978 w 4716235"/>
              <a:gd name="connsiteY10657" fmla="*/ 1819762 h 4596459"/>
              <a:gd name="connsiteX10658" fmla="*/ 1332826 w 4716235"/>
              <a:gd name="connsiteY10658" fmla="*/ 1817449 h 4596459"/>
              <a:gd name="connsiteX10659" fmla="*/ 1343564 w 4716235"/>
              <a:gd name="connsiteY10659" fmla="*/ 1828185 h 4596459"/>
              <a:gd name="connsiteX10660" fmla="*/ 1332826 w 4716235"/>
              <a:gd name="connsiteY10660" fmla="*/ 1838922 h 4596459"/>
              <a:gd name="connsiteX10661" fmla="*/ 1322090 w 4716235"/>
              <a:gd name="connsiteY10661" fmla="*/ 1828185 h 4596459"/>
              <a:gd name="connsiteX10662" fmla="*/ 1332826 w 4716235"/>
              <a:gd name="connsiteY10662" fmla="*/ 1817449 h 4596459"/>
              <a:gd name="connsiteX10663" fmla="*/ 2354803 w 4716235"/>
              <a:gd name="connsiteY10663" fmla="*/ 1814641 h 4596459"/>
              <a:gd name="connsiteX10664" fmla="*/ 2365541 w 4716235"/>
              <a:gd name="connsiteY10664" fmla="*/ 1825378 h 4596459"/>
              <a:gd name="connsiteX10665" fmla="*/ 2354803 w 4716235"/>
              <a:gd name="connsiteY10665" fmla="*/ 1836114 h 4596459"/>
              <a:gd name="connsiteX10666" fmla="*/ 2344067 w 4716235"/>
              <a:gd name="connsiteY10666" fmla="*/ 1825378 h 4596459"/>
              <a:gd name="connsiteX10667" fmla="*/ 2354803 w 4716235"/>
              <a:gd name="connsiteY10667" fmla="*/ 1814641 h 4596459"/>
              <a:gd name="connsiteX10668" fmla="*/ 1099590 w 4716235"/>
              <a:gd name="connsiteY10668" fmla="*/ 1812163 h 4596459"/>
              <a:gd name="connsiteX10669" fmla="*/ 1110328 w 4716235"/>
              <a:gd name="connsiteY10669" fmla="*/ 1822900 h 4596459"/>
              <a:gd name="connsiteX10670" fmla="*/ 1099590 w 4716235"/>
              <a:gd name="connsiteY10670" fmla="*/ 1833638 h 4596459"/>
              <a:gd name="connsiteX10671" fmla="*/ 1088854 w 4716235"/>
              <a:gd name="connsiteY10671" fmla="*/ 1822900 h 4596459"/>
              <a:gd name="connsiteX10672" fmla="*/ 1099590 w 4716235"/>
              <a:gd name="connsiteY10672" fmla="*/ 1812163 h 4596459"/>
              <a:gd name="connsiteX10673" fmla="*/ 2578458 w 4716235"/>
              <a:gd name="connsiteY10673" fmla="*/ 1809356 h 4596459"/>
              <a:gd name="connsiteX10674" fmla="*/ 2589194 w 4716235"/>
              <a:gd name="connsiteY10674" fmla="*/ 1820092 h 4596459"/>
              <a:gd name="connsiteX10675" fmla="*/ 2578458 w 4716235"/>
              <a:gd name="connsiteY10675" fmla="*/ 1830828 h 4596459"/>
              <a:gd name="connsiteX10676" fmla="*/ 2567722 w 4716235"/>
              <a:gd name="connsiteY10676" fmla="*/ 1820092 h 4596459"/>
              <a:gd name="connsiteX10677" fmla="*/ 2578458 w 4716235"/>
              <a:gd name="connsiteY10677" fmla="*/ 1809356 h 4596459"/>
              <a:gd name="connsiteX10678" fmla="*/ 884194 w 4716235"/>
              <a:gd name="connsiteY10678" fmla="*/ 1807044 h 4596459"/>
              <a:gd name="connsiteX10679" fmla="*/ 894932 w 4716235"/>
              <a:gd name="connsiteY10679" fmla="*/ 1817780 h 4596459"/>
              <a:gd name="connsiteX10680" fmla="*/ 884194 w 4716235"/>
              <a:gd name="connsiteY10680" fmla="*/ 1828518 h 4596459"/>
              <a:gd name="connsiteX10681" fmla="*/ 873457 w 4716235"/>
              <a:gd name="connsiteY10681" fmla="*/ 1817780 h 4596459"/>
              <a:gd name="connsiteX10682" fmla="*/ 884194 w 4716235"/>
              <a:gd name="connsiteY10682" fmla="*/ 1807044 h 4596459"/>
              <a:gd name="connsiteX10683" fmla="*/ 2784771 w 4716235"/>
              <a:gd name="connsiteY10683" fmla="*/ 1804399 h 4596459"/>
              <a:gd name="connsiteX10684" fmla="*/ 2795509 w 4716235"/>
              <a:gd name="connsiteY10684" fmla="*/ 1815136 h 4596459"/>
              <a:gd name="connsiteX10685" fmla="*/ 2784771 w 4716235"/>
              <a:gd name="connsiteY10685" fmla="*/ 1825874 h 4596459"/>
              <a:gd name="connsiteX10686" fmla="*/ 2774034 w 4716235"/>
              <a:gd name="connsiteY10686" fmla="*/ 1815136 h 4596459"/>
              <a:gd name="connsiteX10687" fmla="*/ 2784771 w 4716235"/>
              <a:gd name="connsiteY10687" fmla="*/ 1804399 h 4596459"/>
              <a:gd name="connsiteX10688" fmla="*/ 685480 w 4716235"/>
              <a:gd name="connsiteY10688" fmla="*/ 1802088 h 4596459"/>
              <a:gd name="connsiteX10689" fmla="*/ 696218 w 4716235"/>
              <a:gd name="connsiteY10689" fmla="*/ 1812824 h 4596459"/>
              <a:gd name="connsiteX10690" fmla="*/ 685480 w 4716235"/>
              <a:gd name="connsiteY10690" fmla="*/ 1823562 h 4596459"/>
              <a:gd name="connsiteX10691" fmla="*/ 674744 w 4716235"/>
              <a:gd name="connsiteY10691" fmla="*/ 1812824 h 4596459"/>
              <a:gd name="connsiteX10692" fmla="*/ 685480 w 4716235"/>
              <a:gd name="connsiteY10692" fmla="*/ 1802088 h 4596459"/>
              <a:gd name="connsiteX10693" fmla="*/ 2974893 w 4716235"/>
              <a:gd name="connsiteY10693" fmla="*/ 1799609 h 4596459"/>
              <a:gd name="connsiteX10694" fmla="*/ 2985631 w 4716235"/>
              <a:gd name="connsiteY10694" fmla="*/ 1810346 h 4596459"/>
              <a:gd name="connsiteX10695" fmla="*/ 2974893 w 4716235"/>
              <a:gd name="connsiteY10695" fmla="*/ 1821084 h 4596459"/>
              <a:gd name="connsiteX10696" fmla="*/ 2964157 w 4716235"/>
              <a:gd name="connsiteY10696" fmla="*/ 1810346 h 4596459"/>
              <a:gd name="connsiteX10697" fmla="*/ 2974893 w 4716235"/>
              <a:gd name="connsiteY10697" fmla="*/ 1799609 h 4596459"/>
              <a:gd name="connsiteX10698" fmla="*/ 502624 w 4716235"/>
              <a:gd name="connsiteY10698" fmla="*/ 1797298 h 4596459"/>
              <a:gd name="connsiteX10699" fmla="*/ 513362 w 4716235"/>
              <a:gd name="connsiteY10699" fmla="*/ 1808034 h 4596459"/>
              <a:gd name="connsiteX10700" fmla="*/ 502624 w 4716235"/>
              <a:gd name="connsiteY10700" fmla="*/ 1818772 h 4596459"/>
              <a:gd name="connsiteX10701" fmla="*/ 491888 w 4716235"/>
              <a:gd name="connsiteY10701" fmla="*/ 1808034 h 4596459"/>
              <a:gd name="connsiteX10702" fmla="*/ 502624 w 4716235"/>
              <a:gd name="connsiteY10702" fmla="*/ 1797298 h 4596459"/>
              <a:gd name="connsiteX10703" fmla="*/ 3149656 w 4716235"/>
              <a:gd name="connsiteY10703" fmla="*/ 1794820 h 4596459"/>
              <a:gd name="connsiteX10704" fmla="*/ 3160392 w 4716235"/>
              <a:gd name="connsiteY10704" fmla="*/ 1805556 h 4596459"/>
              <a:gd name="connsiteX10705" fmla="*/ 3149656 w 4716235"/>
              <a:gd name="connsiteY10705" fmla="*/ 1816294 h 4596459"/>
              <a:gd name="connsiteX10706" fmla="*/ 3138919 w 4716235"/>
              <a:gd name="connsiteY10706" fmla="*/ 1805556 h 4596459"/>
              <a:gd name="connsiteX10707" fmla="*/ 3149656 w 4716235"/>
              <a:gd name="connsiteY10707" fmla="*/ 1794820 h 4596459"/>
              <a:gd name="connsiteX10708" fmla="*/ 334635 w 4716235"/>
              <a:gd name="connsiteY10708" fmla="*/ 1792673 h 4596459"/>
              <a:gd name="connsiteX10709" fmla="*/ 345373 w 4716235"/>
              <a:gd name="connsiteY10709" fmla="*/ 1803409 h 4596459"/>
              <a:gd name="connsiteX10710" fmla="*/ 334635 w 4716235"/>
              <a:gd name="connsiteY10710" fmla="*/ 1814145 h 4596459"/>
              <a:gd name="connsiteX10711" fmla="*/ 323899 w 4716235"/>
              <a:gd name="connsiteY10711" fmla="*/ 1803409 h 4596459"/>
              <a:gd name="connsiteX10712" fmla="*/ 334635 w 4716235"/>
              <a:gd name="connsiteY10712" fmla="*/ 1792673 h 4596459"/>
              <a:gd name="connsiteX10713" fmla="*/ 3309881 w 4716235"/>
              <a:gd name="connsiteY10713" fmla="*/ 1790359 h 4596459"/>
              <a:gd name="connsiteX10714" fmla="*/ 3320619 w 4716235"/>
              <a:gd name="connsiteY10714" fmla="*/ 1801096 h 4596459"/>
              <a:gd name="connsiteX10715" fmla="*/ 3309881 w 4716235"/>
              <a:gd name="connsiteY10715" fmla="*/ 1811832 h 4596459"/>
              <a:gd name="connsiteX10716" fmla="*/ 3299144 w 4716235"/>
              <a:gd name="connsiteY10716" fmla="*/ 1801096 h 4596459"/>
              <a:gd name="connsiteX10717" fmla="*/ 3309881 w 4716235"/>
              <a:gd name="connsiteY10717" fmla="*/ 1790359 h 4596459"/>
              <a:gd name="connsiteX10718" fmla="*/ 180853 w 4716235"/>
              <a:gd name="connsiteY10718" fmla="*/ 1788212 h 4596459"/>
              <a:gd name="connsiteX10719" fmla="*/ 191589 w 4716235"/>
              <a:gd name="connsiteY10719" fmla="*/ 1798949 h 4596459"/>
              <a:gd name="connsiteX10720" fmla="*/ 180853 w 4716235"/>
              <a:gd name="connsiteY10720" fmla="*/ 1809687 h 4596459"/>
              <a:gd name="connsiteX10721" fmla="*/ 170116 w 4716235"/>
              <a:gd name="connsiteY10721" fmla="*/ 1798949 h 4596459"/>
              <a:gd name="connsiteX10722" fmla="*/ 180853 w 4716235"/>
              <a:gd name="connsiteY10722" fmla="*/ 1788212 h 4596459"/>
              <a:gd name="connsiteX10723" fmla="*/ 3456562 w 4716235"/>
              <a:gd name="connsiteY10723" fmla="*/ 1785901 h 4596459"/>
              <a:gd name="connsiteX10724" fmla="*/ 3467298 w 4716235"/>
              <a:gd name="connsiteY10724" fmla="*/ 1796637 h 4596459"/>
              <a:gd name="connsiteX10725" fmla="*/ 3456562 w 4716235"/>
              <a:gd name="connsiteY10725" fmla="*/ 1807375 h 4596459"/>
              <a:gd name="connsiteX10726" fmla="*/ 3445825 w 4716235"/>
              <a:gd name="connsiteY10726" fmla="*/ 1796637 h 4596459"/>
              <a:gd name="connsiteX10727" fmla="*/ 3456562 w 4716235"/>
              <a:gd name="connsiteY10727" fmla="*/ 1785901 h 4596459"/>
              <a:gd name="connsiteX10728" fmla="*/ 40283 w 4716235"/>
              <a:gd name="connsiteY10728" fmla="*/ 1783918 h 4596459"/>
              <a:gd name="connsiteX10729" fmla="*/ 51021 w 4716235"/>
              <a:gd name="connsiteY10729" fmla="*/ 1794655 h 4596459"/>
              <a:gd name="connsiteX10730" fmla="*/ 40283 w 4716235"/>
              <a:gd name="connsiteY10730" fmla="*/ 1805391 h 4596459"/>
              <a:gd name="connsiteX10731" fmla="*/ 29546 w 4716235"/>
              <a:gd name="connsiteY10731" fmla="*/ 1794655 h 4596459"/>
              <a:gd name="connsiteX10732" fmla="*/ 40283 w 4716235"/>
              <a:gd name="connsiteY10732" fmla="*/ 1783918 h 4596459"/>
              <a:gd name="connsiteX10733" fmla="*/ 3590359 w 4716235"/>
              <a:gd name="connsiteY10733" fmla="*/ 1781770 h 4596459"/>
              <a:gd name="connsiteX10734" fmla="*/ 3601096 w 4716235"/>
              <a:gd name="connsiteY10734" fmla="*/ 1792506 h 4596459"/>
              <a:gd name="connsiteX10735" fmla="*/ 3590359 w 4716235"/>
              <a:gd name="connsiteY10735" fmla="*/ 1803244 h 4596459"/>
              <a:gd name="connsiteX10736" fmla="*/ 3579623 w 4716235"/>
              <a:gd name="connsiteY10736" fmla="*/ 1792506 h 4596459"/>
              <a:gd name="connsiteX10737" fmla="*/ 3590359 w 4716235"/>
              <a:gd name="connsiteY10737" fmla="*/ 1781770 h 4596459"/>
              <a:gd name="connsiteX10738" fmla="*/ 4711775 w 4716235"/>
              <a:gd name="connsiteY10738" fmla="*/ 1778633 h 4596459"/>
              <a:gd name="connsiteX10739" fmla="*/ 4715079 w 4716235"/>
              <a:gd name="connsiteY10739" fmla="*/ 1781936 h 4596459"/>
              <a:gd name="connsiteX10740" fmla="*/ 4711775 w 4716235"/>
              <a:gd name="connsiteY10740" fmla="*/ 1785240 h 4596459"/>
              <a:gd name="connsiteX10741" fmla="*/ 4708471 w 4716235"/>
              <a:gd name="connsiteY10741" fmla="*/ 1781936 h 4596459"/>
              <a:gd name="connsiteX10742" fmla="*/ 4711775 w 4716235"/>
              <a:gd name="connsiteY10742" fmla="*/ 1778633 h 4596459"/>
              <a:gd name="connsiteX10743" fmla="*/ 3712098 w 4716235"/>
              <a:gd name="connsiteY10743" fmla="*/ 1777641 h 4596459"/>
              <a:gd name="connsiteX10744" fmla="*/ 3722834 w 4716235"/>
              <a:gd name="connsiteY10744" fmla="*/ 1788377 h 4596459"/>
              <a:gd name="connsiteX10745" fmla="*/ 3712098 w 4716235"/>
              <a:gd name="connsiteY10745" fmla="*/ 1799115 h 4596459"/>
              <a:gd name="connsiteX10746" fmla="*/ 3701361 w 4716235"/>
              <a:gd name="connsiteY10746" fmla="*/ 1788377 h 4596459"/>
              <a:gd name="connsiteX10747" fmla="*/ 3712098 w 4716235"/>
              <a:gd name="connsiteY10747" fmla="*/ 1777641 h 4596459"/>
              <a:gd name="connsiteX10748" fmla="*/ 3822604 w 4716235"/>
              <a:gd name="connsiteY10748" fmla="*/ 1773676 h 4596459"/>
              <a:gd name="connsiteX10749" fmla="*/ 3833340 w 4716235"/>
              <a:gd name="connsiteY10749" fmla="*/ 1784413 h 4596459"/>
              <a:gd name="connsiteX10750" fmla="*/ 3822604 w 4716235"/>
              <a:gd name="connsiteY10750" fmla="*/ 1795151 h 4596459"/>
              <a:gd name="connsiteX10751" fmla="*/ 3811867 w 4716235"/>
              <a:gd name="connsiteY10751" fmla="*/ 1784413 h 4596459"/>
              <a:gd name="connsiteX10752" fmla="*/ 3822604 w 4716235"/>
              <a:gd name="connsiteY10752" fmla="*/ 1773676 h 4596459"/>
              <a:gd name="connsiteX10753" fmla="*/ 4698890 w 4716235"/>
              <a:gd name="connsiteY10753" fmla="*/ 1773180 h 4596459"/>
              <a:gd name="connsiteX10754" fmla="*/ 4709628 w 4716235"/>
              <a:gd name="connsiteY10754" fmla="*/ 1783917 h 4596459"/>
              <a:gd name="connsiteX10755" fmla="*/ 4698890 w 4716235"/>
              <a:gd name="connsiteY10755" fmla="*/ 1794655 h 4596459"/>
              <a:gd name="connsiteX10756" fmla="*/ 4693935 w 4716235"/>
              <a:gd name="connsiteY10756" fmla="*/ 1789700 h 4596459"/>
              <a:gd name="connsiteX10757" fmla="*/ 4687163 w 4716235"/>
              <a:gd name="connsiteY10757" fmla="*/ 1796472 h 4596459"/>
              <a:gd name="connsiteX10758" fmla="*/ 4683116 w 4716235"/>
              <a:gd name="connsiteY10758" fmla="*/ 1792425 h 4596459"/>
              <a:gd name="connsiteX10759" fmla="*/ 4676921 w 4716235"/>
              <a:gd name="connsiteY10759" fmla="*/ 1798619 h 4596459"/>
              <a:gd name="connsiteX10760" fmla="*/ 4673453 w 4716235"/>
              <a:gd name="connsiteY10760" fmla="*/ 1795151 h 4596459"/>
              <a:gd name="connsiteX10761" fmla="*/ 4667836 w 4716235"/>
              <a:gd name="connsiteY10761" fmla="*/ 1800766 h 4596459"/>
              <a:gd name="connsiteX10762" fmla="*/ 4664945 w 4716235"/>
              <a:gd name="connsiteY10762" fmla="*/ 1797875 h 4596459"/>
              <a:gd name="connsiteX10763" fmla="*/ 4659742 w 4716235"/>
              <a:gd name="connsiteY10763" fmla="*/ 1803078 h 4596459"/>
              <a:gd name="connsiteX10764" fmla="*/ 4657514 w 4716235"/>
              <a:gd name="connsiteY10764" fmla="*/ 1800849 h 4596459"/>
              <a:gd name="connsiteX10765" fmla="*/ 4652806 w 4716235"/>
              <a:gd name="connsiteY10765" fmla="*/ 1805558 h 4596459"/>
              <a:gd name="connsiteX10766" fmla="*/ 4651070 w 4716235"/>
              <a:gd name="connsiteY10766" fmla="*/ 1803822 h 4596459"/>
              <a:gd name="connsiteX10767" fmla="*/ 4646528 w 4716235"/>
              <a:gd name="connsiteY10767" fmla="*/ 1808365 h 4596459"/>
              <a:gd name="connsiteX10768" fmla="*/ 4645206 w 4716235"/>
              <a:gd name="connsiteY10768" fmla="*/ 1807044 h 4596459"/>
              <a:gd name="connsiteX10769" fmla="*/ 4641077 w 4716235"/>
              <a:gd name="connsiteY10769" fmla="*/ 1811173 h 4596459"/>
              <a:gd name="connsiteX10770" fmla="*/ 4640004 w 4716235"/>
              <a:gd name="connsiteY10770" fmla="*/ 1810100 h 4596459"/>
              <a:gd name="connsiteX10771" fmla="*/ 4635956 w 4716235"/>
              <a:gd name="connsiteY10771" fmla="*/ 1814145 h 4596459"/>
              <a:gd name="connsiteX10772" fmla="*/ 4635212 w 4716235"/>
              <a:gd name="connsiteY10772" fmla="*/ 1813403 h 4596459"/>
              <a:gd name="connsiteX10773" fmla="*/ 4631331 w 4716235"/>
              <a:gd name="connsiteY10773" fmla="*/ 1817284 h 4596459"/>
              <a:gd name="connsiteX10774" fmla="*/ 4630837 w 4716235"/>
              <a:gd name="connsiteY10774" fmla="*/ 1816790 h 4596459"/>
              <a:gd name="connsiteX10775" fmla="*/ 4626873 w 4716235"/>
              <a:gd name="connsiteY10775" fmla="*/ 1820754 h 4596459"/>
              <a:gd name="connsiteX10776" fmla="*/ 4626460 w 4716235"/>
              <a:gd name="connsiteY10776" fmla="*/ 1820342 h 4596459"/>
              <a:gd name="connsiteX10777" fmla="*/ 4622412 w 4716235"/>
              <a:gd name="connsiteY10777" fmla="*/ 1824387 h 4596459"/>
              <a:gd name="connsiteX10778" fmla="*/ 4621916 w 4716235"/>
              <a:gd name="connsiteY10778" fmla="*/ 1823893 h 4596459"/>
              <a:gd name="connsiteX10779" fmla="*/ 4617622 w 4716235"/>
              <a:gd name="connsiteY10779" fmla="*/ 1828187 h 4596459"/>
              <a:gd name="connsiteX10780" fmla="*/ 4616962 w 4716235"/>
              <a:gd name="connsiteY10780" fmla="*/ 1827526 h 4596459"/>
              <a:gd name="connsiteX10781" fmla="*/ 4612337 w 4716235"/>
              <a:gd name="connsiteY10781" fmla="*/ 1832151 h 4596459"/>
              <a:gd name="connsiteX10782" fmla="*/ 4611509 w 4716235"/>
              <a:gd name="connsiteY10782" fmla="*/ 1831324 h 4596459"/>
              <a:gd name="connsiteX10783" fmla="*/ 4606388 w 4716235"/>
              <a:gd name="connsiteY10783" fmla="*/ 1836445 h 4596459"/>
              <a:gd name="connsiteX10784" fmla="*/ 4605069 w 4716235"/>
              <a:gd name="connsiteY10784" fmla="*/ 1835126 h 4596459"/>
              <a:gd name="connsiteX10785" fmla="*/ 4599287 w 4716235"/>
              <a:gd name="connsiteY10785" fmla="*/ 1840906 h 4596459"/>
              <a:gd name="connsiteX10786" fmla="*/ 4597386 w 4716235"/>
              <a:gd name="connsiteY10786" fmla="*/ 1839005 h 4596459"/>
              <a:gd name="connsiteX10787" fmla="*/ 4590862 w 4716235"/>
              <a:gd name="connsiteY10787" fmla="*/ 1845531 h 4596459"/>
              <a:gd name="connsiteX10788" fmla="*/ 4588384 w 4716235"/>
              <a:gd name="connsiteY10788" fmla="*/ 1843053 h 4596459"/>
              <a:gd name="connsiteX10789" fmla="*/ 4580951 w 4716235"/>
              <a:gd name="connsiteY10789" fmla="*/ 1850487 h 4596459"/>
              <a:gd name="connsiteX10790" fmla="*/ 4577566 w 4716235"/>
              <a:gd name="connsiteY10790" fmla="*/ 1847102 h 4596459"/>
              <a:gd name="connsiteX10791" fmla="*/ 4568894 w 4716235"/>
              <a:gd name="connsiteY10791" fmla="*/ 1855773 h 4596459"/>
              <a:gd name="connsiteX10792" fmla="*/ 4564515 w 4716235"/>
              <a:gd name="connsiteY10792" fmla="*/ 1851394 h 4596459"/>
              <a:gd name="connsiteX10793" fmla="*/ 4554687 w 4716235"/>
              <a:gd name="connsiteY10793" fmla="*/ 1861223 h 4596459"/>
              <a:gd name="connsiteX10794" fmla="*/ 4543951 w 4716235"/>
              <a:gd name="connsiteY10794" fmla="*/ 1850485 h 4596459"/>
              <a:gd name="connsiteX10795" fmla="*/ 4554687 w 4716235"/>
              <a:gd name="connsiteY10795" fmla="*/ 1839749 h 4596459"/>
              <a:gd name="connsiteX10796" fmla="*/ 4559066 w 4716235"/>
              <a:gd name="connsiteY10796" fmla="*/ 1844128 h 4596459"/>
              <a:gd name="connsiteX10797" fmla="*/ 4568894 w 4716235"/>
              <a:gd name="connsiteY10797" fmla="*/ 1834298 h 4596459"/>
              <a:gd name="connsiteX10798" fmla="*/ 4572280 w 4716235"/>
              <a:gd name="connsiteY10798" fmla="*/ 1837685 h 4596459"/>
              <a:gd name="connsiteX10799" fmla="*/ 4580951 w 4716235"/>
              <a:gd name="connsiteY10799" fmla="*/ 1829013 h 4596459"/>
              <a:gd name="connsiteX10800" fmla="*/ 4583428 w 4716235"/>
              <a:gd name="connsiteY10800" fmla="*/ 1831491 h 4596459"/>
              <a:gd name="connsiteX10801" fmla="*/ 4590862 w 4716235"/>
              <a:gd name="connsiteY10801" fmla="*/ 1824056 h 4596459"/>
              <a:gd name="connsiteX10802" fmla="*/ 4592761 w 4716235"/>
              <a:gd name="connsiteY10802" fmla="*/ 1825957 h 4596459"/>
              <a:gd name="connsiteX10803" fmla="*/ 4599287 w 4716235"/>
              <a:gd name="connsiteY10803" fmla="*/ 1819431 h 4596459"/>
              <a:gd name="connsiteX10804" fmla="*/ 4600608 w 4716235"/>
              <a:gd name="connsiteY10804" fmla="*/ 1820753 h 4596459"/>
              <a:gd name="connsiteX10805" fmla="*/ 4606388 w 4716235"/>
              <a:gd name="connsiteY10805" fmla="*/ 1814971 h 4596459"/>
              <a:gd name="connsiteX10806" fmla="*/ 4607216 w 4716235"/>
              <a:gd name="connsiteY10806" fmla="*/ 1815798 h 4596459"/>
              <a:gd name="connsiteX10807" fmla="*/ 4612337 w 4716235"/>
              <a:gd name="connsiteY10807" fmla="*/ 1810677 h 4596459"/>
              <a:gd name="connsiteX10808" fmla="*/ 4612997 w 4716235"/>
              <a:gd name="connsiteY10808" fmla="*/ 1811338 h 4596459"/>
              <a:gd name="connsiteX10809" fmla="*/ 4617622 w 4716235"/>
              <a:gd name="connsiteY10809" fmla="*/ 1806713 h 4596459"/>
              <a:gd name="connsiteX10810" fmla="*/ 4618118 w 4716235"/>
              <a:gd name="connsiteY10810" fmla="*/ 1807209 h 4596459"/>
              <a:gd name="connsiteX10811" fmla="*/ 4622412 w 4716235"/>
              <a:gd name="connsiteY10811" fmla="*/ 1802913 h 4596459"/>
              <a:gd name="connsiteX10812" fmla="*/ 4622827 w 4716235"/>
              <a:gd name="connsiteY10812" fmla="*/ 1803328 h 4596459"/>
              <a:gd name="connsiteX10813" fmla="*/ 4626873 w 4716235"/>
              <a:gd name="connsiteY10813" fmla="*/ 1799280 h 4596459"/>
              <a:gd name="connsiteX10814" fmla="*/ 4627367 w 4716235"/>
              <a:gd name="connsiteY10814" fmla="*/ 1799774 h 4596459"/>
              <a:gd name="connsiteX10815" fmla="*/ 4631331 w 4716235"/>
              <a:gd name="connsiteY10815" fmla="*/ 1795810 h 4596459"/>
              <a:gd name="connsiteX10816" fmla="*/ 4632075 w 4716235"/>
              <a:gd name="connsiteY10816" fmla="*/ 1796554 h 4596459"/>
              <a:gd name="connsiteX10817" fmla="*/ 4635956 w 4716235"/>
              <a:gd name="connsiteY10817" fmla="*/ 1792673 h 4596459"/>
              <a:gd name="connsiteX10818" fmla="*/ 4637030 w 4716235"/>
              <a:gd name="connsiteY10818" fmla="*/ 1793746 h 4596459"/>
              <a:gd name="connsiteX10819" fmla="*/ 4641077 w 4716235"/>
              <a:gd name="connsiteY10819" fmla="*/ 1789699 h 4596459"/>
              <a:gd name="connsiteX10820" fmla="*/ 4642399 w 4716235"/>
              <a:gd name="connsiteY10820" fmla="*/ 1791020 h 4596459"/>
              <a:gd name="connsiteX10821" fmla="*/ 4646528 w 4716235"/>
              <a:gd name="connsiteY10821" fmla="*/ 1786891 h 4596459"/>
              <a:gd name="connsiteX10822" fmla="*/ 4648264 w 4716235"/>
              <a:gd name="connsiteY10822" fmla="*/ 1788627 h 4596459"/>
              <a:gd name="connsiteX10823" fmla="*/ 4652806 w 4716235"/>
              <a:gd name="connsiteY10823" fmla="*/ 1784083 h 4596459"/>
              <a:gd name="connsiteX10824" fmla="*/ 4655034 w 4716235"/>
              <a:gd name="connsiteY10824" fmla="*/ 1786313 h 4596459"/>
              <a:gd name="connsiteX10825" fmla="*/ 4659742 w 4716235"/>
              <a:gd name="connsiteY10825" fmla="*/ 1781605 h 4596459"/>
              <a:gd name="connsiteX10826" fmla="*/ 4662633 w 4716235"/>
              <a:gd name="connsiteY10826" fmla="*/ 1784496 h 4596459"/>
              <a:gd name="connsiteX10827" fmla="*/ 4667836 w 4716235"/>
              <a:gd name="connsiteY10827" fmla="*/ 1779292 h 4596459"/>
              <a:gd name="connsiteX10828" fmla="*/ 4671306 w 4716235"/>
              <a:gd name="connsiteY10828" fmla="*/ 1782762 h 4596459"/>
              <a:gd name="connsiteX10829" fmla="*/ 4676921 w 4716235"/>
              <a:gd name="connsiteY10829" fmla="*/ 1777145 h 4596459"/>
              <a:gd name="connsiteX10830" fmla="*/ 4680969 w 4716235"/>
              <a:gd name="connsiteY10830" fmla="*/ 1781192 h 4596459"/>
              <a:gd name="connsiteX10831" fmla="*/ 4687163 w 4716235"/>
              <a:gd name="connsiteY10831" fmla="*/ 1774998 h 4596459"/>
              <a:gd name="connsiteX10832" fmla="*/ 4692118 w 4716235"/>
              <a:gd name="connsiteY10832" fmla="*/ 1779952 h 4596459"/>
              <a:gd name="connsiteX10833" fmla="*/ 3922538 w 4716235"/>
              <a:gd name="connsiteY10833" fmla="*/ 1770042 h 4596459"/>
              <a:gd name="connsiteX10834" fmla="*/ 3933276 w 4716235"/>
              <a:gd name="connsiteY10834" fmla="*/ 1780778 h 4596459"/>
              <a:gd name="connsiteX10835" fmla="*/ 3922538 w 4716235"/>
              <a:gd name="connsiteY10835" fmla="*/ 1791516 h 4596459"/>
              <a:gd name="connsiteX10836" fmla="*/ 3911801 w 4716235"/>
              <a:gd name="connsiteY10836" fmla="*/ 1780778 h 4596459"/>
              <a:gd name="connsiteX10837" fmla="*/ 3922538 w 4716235"/>
              <a:gd name="connsiteY10837" fmla="*/ 1770042 h 4596459"/>
              <a:gd name="connsiteX10838" fmla="*/ 4012563 w 4716235"/>
              <a:gd name="connsiteY10838" fmla="*/ 1766408 h 4596459"/>
              <a:gd name="connsiteX10839" fmla="*/ 4023299 w 4716235"/>
              <a:gd name="connsiteY10839" fmla="*/ 1777145 h 4596459"/>
              <a:gd name="connsiteX10840" fmla="*/ 4012563 w 4716235"/>
              <a:gd name="connsiteY10840" fmla="*/ 1787883 h 4596459"/>
              <a:gd name="connsiteX10841" fmla="*/ 4001827 w 4716235"/>
              <a:gd name="connsiteY10841" fmla="*/ 1777145 h 4596459"/>
              <a:gd name="connsiteX10842" fmla="*/ 4012563 w 4716235"/>
              <a:gd name="connsiteY10842" fmla="*/ 1766408 h 4596459"/>
              <a:gd name="connsiteX10843" fmla="*/ 4093501 w 4716235"/>
              <a:gd name="connsiteY10843" fmla="*/ 1762940 h 4596459"/>
              <a:gd name="connsiteX10844" fmla="*/ 4104237 w 4716235"/>
              <a:gd name="connsiteY10844" fmla="*/ 1773676 h 4596459"/>
              <a:gd name="connsiteX10845" fmla="*/ 4093501 w 4716235"/>
              <a:gd name="connsiteY10845" fmla="*/ 1784414 h 4596459"/>
              <a:gd name="connsiteX10846" fmla="*/ 4082765 w 4716235"/>
              <a:gd name="connsiteY10846" fmla="*/ 1773676 h 4596459"/>
              <a:gd name="connsiteX10847" fmla="*/ 4093501 w 4716235"/>
              <a:gd name="connsiteY10847" fmla="*/ 1762940 h 4596459"/>
              <a:gd name="connsiteX10848" fmla="*/ 4166016 w 4716235"/>
              <a:gd name="connsiteY10848" fmla="*/ 1759636 h 4596459"/>
              <a:gd name="connsiteX10849" fmla="*/ 4176752 w 4716235"/>
              <a:gd name="connsiteY10849" fmla="*/ 1770373 h 4596459"/>
              <a:gd name="connsiteX10850" fmla="*/ 4166016 w 4716235"/>
              <a:gd name="connsiteY10850" fmla="*/ 1781109 h 4596459"/>
              <a:gd name="connsiteX10851" fmla="*/ 4155280 w 4716235"/>
              <a:gd name="connsiteY10851" fmla="*/ 1770373 h 4596459"/>
              <a:gd name="connsiteX10852" fmla="*/ 4166016 w 4716235"/>
              <a:gd name="connsiteY10852" fmla="*/ 1759636 h 4596459"/>
              <a:gd name="connsiteX10853" fmla="*/ 4230602 w 4716235"/>
              <a:gd name="connsiteY10853" fmla="*/ 1756333 h 4596459"/>
              <a:gd name="connsiteX10854" fmla="*/ 4241340 w 4716235"/>
              <a:gd name="connsiteY10854" fmla="*/ 1767069 h 4596459"/>
              <a:gd name="connsiteX10855" fmla="*/ 4230602 w 4716235"/>
              <a:gd name="connsiteY10855" fmla="*/ 1777807 h 4596459"/>
              <a:gd name="connsiteX10856" fmla="*/ 4219866 w 4716235"/>
              <a:gd name="connsiteY10856" fmla="*/ 1767069 h 4596459"/>
              <a:gd name="connsiteX10857" fmla="*/ 4230602 w 4716235"/>
              <a:gd name="connsiteY10857" fmla="*/ 1756333 h 4596459"/>
              <a:gd name="connsiteX10858" fmla="*/ 4288085 w 4716235"/>
              <a:gd name="connsiteY10858" fmla="*/ 1753359 h 4596459"/>
              <a:gd name="connsiteX10859" fmla="*/ 4298823 w 4716235"/>
              <a:gd name="connsiteY10859" fmla="*/ 1764095 h 4596459"/>
              <a:gd name="connsiteX10860" fmla="*/ 4288085 w 4716235"/>
              <a:gd name="connsiteY10860" fmla="*/ 1774833 h 4596459"/>
              <a:gd name="connsiteX10861" fmla="*/ 4277349 w 4716235"/>
              <a:gd name="connsiteY10861" fmla="*/ 1764095 h 4596459"/>
              <a:gd name="connsiteX10862" fmla="*/ 4288085 w 4716235"/>
              <a:gd name="connsiteY10862" fmla="*/ 1753359 h 4596459"/>
              <a:gd name="connsiteX10863" fmla="*/ 4338630 w 4716235"/>
              <a:gd name="connsiteY10863" fmla="*/ 1750386 h 4596459"/>
              <a:gd name="connsiteX10864" fmla="*/ 4349368 w 4716235"/>
              <a:gd name="connsiteY10864" fmla="*/ 1761123 h 4596459"/>
              <a:gd name="connsiteX10865" fmla="*/ 4338630 w 4716235"/>
              <a:gd name="connsiteY10865" fmla="*/ 1771861 h 4596459"/>
              <a:gd name="connsiteX10866" fmla="*/ 4327894 w 4716235"/>
              <a:gd name="connsiteY10866" fmla="*/ 1761123 h 4596459"/>
              <a:gd name="connsiteX10867" fmla="*/ 4338630 w 4716235"/>
              <a:gd name="connsiteY10867" fmla="*/ 1750386 h 4596459"/>
              <a:gd name="connsiteX10868" fmla="*/ 4383230 w 4716235"/>
              <a:gd name="connsiteY10868" fmla="*/ 1747577 h 4596459"/>
              <a:gd name="connsiteX10869" fmla="*/ 4393966 w 4716235"/>
              <a:gd name="connsiteY10869" fmla="*/ 1758313 h 4596459"/>
              <a:gd name="connsiteX10870" fmla="*/ 4383230 w 4716235"/>
              <a:gd name="connsiteY10870" fmla="*/ 1769051 h 4596459"/>
              <a:gd name="connsiteX10871" fmla="*/ 4372493 w 4716235"/>
              <a:gd name="connsiteY10871" fmla="*/ 1758313 h 4596459"/>
              <a:gd name="connsiteX10872" fmla="*/ 4383230 w 4716235"/>
              <a:gd name="connsiteY10872" fmla="*/ 1747577 h 4596459"/>
              <a:gd name="connsiteX10873" fmla="*/ 4422213 w 4716235"/>
              <a:gd name="connsiteY10873" fmla="*/ 1744936 h 4596459"/>
              <a:gd name="connsiteX10874" fmla="*/ 4432951 w 4716235"/>
              <a:gd name="connsiteY10874" fmla="*/ 1755672 h 4596459"/>
              <a:gd name="connsiteX10875" fmla="*/ 4422213 w 4716235"/>
              <a:gd name="connsiteY10875" fmla="*/ 1766408 h 4596459"/>
              <a:gd name="connsiteX10876" fmla="*/ 4411476 w 4716235"/>
              <a:gd name="connsiteY10876" fmla="*/ 1755672 h 4596459"/>
              <a:gd name="connsiteX10877" fmla="*/ 4422213 w 4716235"/>
              <a:gd name="connsiteY10877" fmla="*/ 1744936 h 4596459"/>
              <a:gd name="connsiteX10878" fmla="*/ 4456239 w 4716235"/>
              <a:gd name="connsiteY10878" fmla="*/ 1742293 h 4596459"/>
              <a:gd name="connsiteX10879" fmla="*/ 4466977 w 4716235"/>
              <a:gd name="connsiteY10879" fmla="*/ 1753029 h 4596459"/>
              <a:gd name="connsiteX10880" fmla="*/ 4456239 w 4716235"/>
              <a:gd name="connsiteY10880" fmla="*/ 1763767 h 4596459"/>
              <a:gd name="connsiteX10881" fmla="*/ 4445503 w 4716235"/>
              <a:gd name="connsiteY10881" fmla="*/ 1753029 h 4596459"/>
              <a:gd name="connsiteX10882" fmla="*/ 4456239 w 4716235"/>
              <a:gd name="connsiteY10882" fmla="*/ 1742293 h 4596459"/>
              <a:gd name="connsiteX10883" fmla="*/ 4485477 w 4716235"/>
              <a:gd name="connsiteY10883" fmla="*/ 1739815 h 4596459"/>
              <a:gd name="connsiteX10884" fmla="*/ 4496214 w 4716235"/>
              <a:gd name="connsiteY10884" fmla="*/ 1750551 h 4596459"/>
              <a:gd name="connsiteX10885" fmla="*/ 4485477 w 4716235"/>
              <a:gd name="connsiteY10885" fmla="*/ 1761289 h 4596459"/>
              <a:gd name="connsiteX10886" fmla="*/ 4474741 w 4716235"/>
              <a:gd name="connsiteY10886" fmla="*/ 1750551 h 4596459"/>
              <a:gd name="connsiteX10887" fmla="*/ 4485477 w 4716235"/>
              <a:gd name="connsiteY10887" fmla="*/ 1739815 h 4596459"/>
              <a:gd name="connsiteX10888" fmla="*/ 4510750 w 4716235"/>
              <a:gd name="connsiteY10888" fmla="*/ 1737501 h 4596459"/>
              <a:gd name="connsiteX10889" fmla="*/ 4521486 w 4716235"/>
              <a:gd name="connsiteY10889" fmla="*/ 1748238 h 4596459"/>
              <a:gd name="connsiteX10890" fmla="*/ 4510750 w 4716235"/>
              <a:gd name="connsiteY10890" fmla="*/ 1758976 h 4596459"/>
              <a:gd name="connsiteX10891" fmla="*/ 4500013 w 4716235"/>
              <a:gd name="connsiteY10891" fmla="*/ 1748238 h 4596459"/>
              <a:gd name="connsiteX10892" fmla="*/ 4510750 w 4716235"/>
              <a:gd name="connsiteY10892" fmla="*/ 1737501 h 4596459"/>
              <a:gd name="connsiteX10893" fmla="*/ 4694100 w 4716235"/>
              <a:gd name="connsiteY10893" fmla="*/ 1708265 h 4596459"/>
              <a:gd name="connsiteX10894" fmla="*/ 4700872 w 4716235"/>
              <a:gd name="connsiteY10894" fmla="*/ 1715038 h 4596459"/>
              <a:gd name="connsiteX10895" fmla="*/ 4706324 w 4716235"/>
              <a:gd name="connsiteY10895" fmla="*/ 1709586 h 4596459"/>
              <a:gd name="connsiteX10896" fmla="*/ 4715079 w 4716235"/>
              <a:gd name="connsiteY10896" fmla="*/ 1718340 h 4596459"/>
              <a:gd name="connsiteX10897" fmla="*/ 4706324 w 4716235"/>
              <a:gd name="connsiteY10897" fmla="*/ 1727096 h 4596459"/>
              <a:gd name="connsiteX10898" fmla="*/ 4701533 w 4716235"/>
              <a:gd name="connsiteY10898" fmla="*/ 1722305 h 4596459"/>
              <a:gd name="connsiteX10899" fmla="*/ 4694100 w 4716235"/>
              <a:gd name="connsiteY10899" fmla="*/ 1729737 h 4596459"/>
              <a:gd name="connsiteX10900" fmla="*/ 4689146 w 4716235"/>
              <a:gd name="connsiteY10900" fmla="*/ 1724783 h 4596459"/>
              <a:gd name="connsiteX10901" fmla="*/ 4683364 w 4716235"/>
              <a:gd name="connsiteY10901" fmla="*/ 1730564 h 4596459"/>
              <a:gd name="connsiteX10902" fmla="*/ 4678903 w 4716235"/>
              <a:gd name="connsiteY10902" fmla="*/ 1726104 h 4596459"/>
              <a:gd name="connsiteX10903" fmla="*/ 4673784 w 4716235"/>
              <a:gd name="connsiteY10903" fmla="*/ 1731223 h 4596459"/>
              <a:gd name="connsiteX10904" fmla="*/ 4669986 w 4716235"/>
              <a:gd name="connsiteY10904" fmla="*/ 1727426 h 4596459"/>
              <a:gd name="connsiteX10905" fmla="*/ 4665359 w 4716235"/>
              <a:gd name="connsiteY10905" fmla="*/ 1732052 h 4596459"/>
              <a:gd name="connsiteX10906" fmla="*/ 4662056 w 4716235"/>
              <a:gd name="connsiteY10906" fmla="*/ 1728749 h 4596459"/>
              <a:gd name="connsiteX10907" fmla="*/ 4657927 w 4716235"/>
              <a:gd name="connsiteY10907" fmla="*/ 1732876 h 4596459"/>
              <a:gd name="connsiteX10908" fmla="*/ 4655117 w 4716235"/>
              <a:gd name="connsiteY10908" fmla="*/ 1730067 h 4596459"/>
              <a:gd name="connsiteX10909" fmla="*/ 4651318 w 4716235"/>
              <a:gd name="connsiteY10909" fmla="*/ 1733866 h 4596459"/>
              <a:gd name="connsiteX10910" fmla="*/ 4649008 w 4716235"/>
              <a:gd name="connsiteY10910" fmla="*/ 1731556 h 4596459"/>
              <a:gd name="connsiteX10911" fmla="*/ 4645702 w 4716235"/>
              <a:gd name="connsiteY10911" fmla="*/ 1734860 h 4596459"/>
              <a:gd name="connsiteX10912" fmla="*/ 4643720 w 4716235"/>
              <a:gd name="connsiteY10912" fmla="*/ 1732878 h 4596459"/>
              <a:gd name="connsiteX10913" fmla="*/ 4640581 w 4716235"/>
              <a:gd name="connsiteY10913" fmla="*/ 1736015 h 4596459"/>
              <a:gd name="connsiteX10914" fmla="*/ 4638682 w 4716235"/>
              <a:gd name="connsiteY10914" fmla="*/ 1734116 h 4596459"/>
              <a:gd name="connsiteX10915" fmla="*/ 4635792 w 4716235"/>
              <a:gd name="connsiteY10915" fmla="*/ 1737005 h 4596459"/>
              <a:gd name="connsiteX10916" fmla="*/ 4634305 w 4716235"/>
              <a:gd name="connsiteY10916" fmla="*/ 1735521 h 4596459"/>
              <a:gd name="connsiteX10917" fmla="*/ 4631498 w 4716235"/>
              <a:gd name="connsiteY10917" fmla="*/ 1738328 h 4596459"/>
              <a:gd name="connsiteX10918" fmla="*/ 4629928 w 4716235"/>
              <a:gd name="connsiteY10918" fmla="*/ 1736759 h 4596459"/>
              <a:gd name="connsiteX10919" fmla="*/ 4627202 w 4716235"/>
              <a:gd name="connsiteY10919" fmla="*/ 1739485 h 4596459"/>
              <a:gd name="connsiteX10920" fmla="*/ 4625633 w 4716235"/>
              <a:gd name="connsiteY10920" fmla="*/ 1737916 h 4596459"/>
              <a:gd name="connsiteX10921" fmla="*/ 4622742 w 4716235"/>
              <a:gd name="connsiteY10921" fmla="*/ 1740807 h 4596459"/>
              <a:gd name="connsiteX10922" fmla="*/ 4621008 w 4716235"/>
              <a:gd name="connsiteY10922" fmla="*/ 1739072 h 4596459"/>
              <a:gd name="connsiteX10923" fmla="*/ 4617787 w 4716235"/>
              <a:gd name="connsiteY10923" fmla="*/ 1742293 h 4596459"/>
              <a:gd name="connsiteX10924" fmla="*/ 4615805 w 4716235"/>
              <a:gd name="connsiteY10924" fmla="*/ 1740311 h 4596459"/>
              <a:gd name="connsiteX10925" fmla="*/ 4612337 w 4716235"/>
              <a:gd name="connsiteY10925" fmla="*/ 1743779 h 4596459"/>
              <a:gd name="connsiteX10926" fmla="*/ 4610025 w 4716235"/>
              <a:gd name="connsiteY10926" fmla="*/ 1741467 h 4596459"/>
              <a:gd name="connsiteX10927" fmla="*/ 4606059 w 4716235"/>
              <a:gd name="connsiteY10927" fmla="*/ 1745432 h 4596459"/>
              <a:gd name="connsiteX10928" fmla="*/ 4603085 w 4716235"/>
              <a:gd name="connsiteY10928" fmla="*/ 1742458 h 4596459"/>
              <a:gd name="connsiteX10929" fmla="*/ 4598461 w 4716235"/>
              <a:gd name="connsiteY10929" fmla="*/ 1747083 h 4596459"/>
              <a:gd name="connsiteX10930" fmla="*/ 4594828 w 4716235"/>
              <a:gd name="connsiteY10930" fmla="*/ 1743450 h 4596459"/>
              <a:gd name="connsiteX10931" fmla="*/ 4589541 w 4716235"/>
              <a:gd name="connsiteY10931" fmla="*/ 1748735 h 4596459"/>
              <a:gd name="connsiteX10932" fmla="*/ 4585080 w 4716235"/>
              <a:gd name="connsiteY10932" fmla="*/ 1744275 h 4596459"/>
              <a:gd name="connsiteX10933" fmla="*/ 4578804 w 4716235"/>
              <a:gd name="connsiteY10933" fmla="*/ 1750551 h 4596459"/>
              <a:gd name="connsiteX10934" fmla="*/ 4573352 w 4716235"/>
              <a:gd name="connsiteY10934" fmla="*/ 1745099 h 4596459"/>
              <a:gd name="connsiteX10935" fmla="*/ 4565919 w 4716235"/>
              <a:gd name="connsiteY10935" fmla="*/ 1752533 h 4596459"/>
              <a:gd name="connsiteX10936" fmla="*/ 4559231 w 4716235"/>
              <a:gd name="connsiteY10936" fmla="*/ 1745844 h 4596459"/>
              <a:gd name="connsiteX10937" fmla="*/ 4550393 w 4716235"/>
              <a:gd name="connsiteY10937" fmla="*/ 1754682 h 4596459"/>
              <a:gd name="connsiteX10938" fmla="*/ 4542300 w 4716235"/>
              <a:gd name="connsiteY10938" fmla="*/ 1746587 h 4596459"/>
              <a:gd name="connsiteX10939" fmla="*/ 4532222 w 4716235"/>
              <a:gd name="connsiteY10939" fmla="*/ 1756664 h 4596459"/>
              <a:gd name="connsiteX10940" fmla="*/ 4521486 w 4716235"/>
              <a:gd name="connsiteY10940" fmla="*/ 1745926 h 4596459"/>
              <a:gd name="connsiteX10941" fmla="*/ 4532222 w 4716235"/>
              <a:gd name="connsiteY10941" fmla="*/ 1735190 h 4596459"/>
              <a:gd name="connsiteX10942" fmla="*/ 4540318 w 4716235"/>
              <a:gd name="connsiteY10942" fmla="*/ 1743283 h 4596459"/>
              <a:gd name="connsiteX10943" fmla="*/ 4550393 w 4716235"/>
              <a:gd name="connsiteY10943" fmla="*/ 1733207 h 4596459"/>
              <a:gd name="connsiteX10944" fmla="*/ 4557082 w 4716235"/>
              <a:gd name="connsiteY10944" fmla="*/ 1739896 h 4596459"/>
              <a:gd name="connsiteX10945" fmla="*/ 4565919 w 4716235"/>
              <a:gd name="connsiteY10945" fmla="*/ 1731059 h 4596459"/>
              <a:gd name="connsiteX10946" fmla="*/ 4571370 w 4716235"/>
              <a:gd name="connsiteY10946" fmla="*/ 1736511 h 4596459"/>
              <a:gd name="connsiteX10947" fmla="*/ 4578804 w 4716235"/>
              <a:gd name="connsiteY10947" fmla="*/ 1729077 h 4596459"/>
              <a:gd name="connsiteX10948" fmla="*/ 4583265 w 4716235"/>
              <a:gd name="connsiteY10948" fmla="*/ 1733537 h 4596459"/>
              <a:gd name="connsiteX10949" fmla="*/ 4589541 w 4716235"/>
              <a:gd name="connsiteY10949" fmla="*/ 1727261 h 4596459"/>
              <a:gd name="connsiteX10950" fmla="*/ 4593176 w 4716235"/>
              <a:gd name="connsiteY10950" fmla="*/ 1730896 h 4596459"/>
              <a:gd name="connsiteX10951" fmla="*/ 4598461 w 4716235"/>
              <a:gd name="connsiteY10951" fmla="*/ 1725608 h 4596459"/>
              <a:gd name="connsiteX10952" fmla="*/ 4601434 w 4716235"/>
              <a:gd name="connsiteY10952" fmla="*/ 1728582 h 4596459"/>
              <a:gd name="connsiteX10953" fmla="*/ 4606059 w 4716235"/>
              <a:gd name="connsiteY10953" fmla="*/ 1723957 h 4596459"/>
              <a:gd name="connsiteX10954" fmla="*/ 4608372 w 4716235"/>
              <a:gd name="connsiteY10954" fmla="*/ 1726271 h 4596459"/>
              <a:gd name="connsiteX10955" fmla="*/ 4612337 w 4716235"/>
              <a:gd name="connsiteY10955" fmla="*/ 1722305 h 4596459"/>
              <a:gd name="connsiteX10956" fmla="*/ 4614319 w 4716235"/>
              <a:gd name="connsiteY10956" fmla="*/ 1724287 h 4596459"/>
              <a:gd name="connsiteX10957" fmla="*/ 4617787 w 4716235"/>
              <a:gd name="connsiteY10957" fmla="*/ 1720818 h 4596459"/>
              <a:gd name="connsiteX10958" fmla="*/ 4619521 w 4716235"/>
              <a:gd name="connsiteY10958" fmla="*/ 1722553 h 4596459"/>
              <a:gd name="connsiteX10959" fmla="*/ 4622742 w 4716235"/>
              <a:gd name="connsiteY10959" fmla="*/ 1719332 h 4596459"/>
              <a:gd name="connsiteX10960" fmla="*/ 4624311 w 4716235"/>
              <a:gd name="connsiteY10960" fmla="*/ 1720902 h 4596459"/>
              <a:gd name="connsiteX10961" fmla="*/ 4627202 w 4716235"/>
              <a:gd name="connsiteY10961" fmla="*/ 1718011 h 4596459"/>
              <a:gd name="connsiteX10962" fmla="*/ 4628772 w 4716235"/>
              <a:gd name="connsiteY10962" fmla="*/ 1719580 h 4596459"/>
              <a:gd name="connsiteX10963" fmla="*/ 4631498 w 4716235"/>
              <a:gd name="connsiteY10963" fmla="*/ 1716854 h 4596459"/>
              <a:gd name="connsiteX10964" fmla="*/ 4632984 w 4716235"/>
              <a:gd name="connsiteY10964" fmla="*/ 1718340 h 4596459"/>
              <a:gd name="connsiteX10965" fmla="*/ 4635792 w 4716235"/>
              <a:gd name="connsiteY10965" fmla="*/ 1715533 h 4596459"/>
              <a:gd name="connsiteX10966" fmla="*/ 4637690 w 4716235"/>
              <a:gd name="connsiteY10966" fmla="*/ 1717431 h 4596459"/>
              <a:gd name="connsiteX10967" fmla="*/ 4640581 w 4716235"/>
              <a:gd name="connsiteY10967" fmla="*/ 1714541 h 4596459"/>
              <a:gd name="connsiteX10968" fmla="*/ 4642565 w 4716235"/>
              <a:gd name="connsiteY10968" fmla="*/ 1716525 h 4596459"/>
              <a:gd name="connsiteX10969" fmla="*/ 4645702 w 4716235"/>
              <a:gd name="connsiteY10969" fmla="*/ 1713386 h 4596459"/>
              <a:gd name="connsiteX10970" fmla="*/ 4648014 w 4716235"/>
              <a:gd name="connsiteY10970" fmla="*/ 1715697 h 4596459"/>
              <a:gd name="connsiteX10971" fmla="*/ 4651318 w 4716235"/>
              <a:gd name="connsiteY10971" fmla="*/ 1712394 h 4596459"/>
              <a:gd name="connsiteX10972" fmla="*/ 4654127 w 4716235"/>
              <a:gd name="connsiteY10972" fmla="*/ 1715203 h 4596459"/>
              <a:gd name="connsiteX10973" fmla="*/ 4657927 w 4716235"/>
              <a:gd name="connsiteY10973" fmla="*/ 1711403 h 4596459"/>
              <a:gd name="connsiteX10974" fmla="*/ 4661230 w 4716235"/>
              <a:gd name="connsiteY10974" fmla="*/ 1714707 h 4596459"/>
              <a:gd name="connsiteX10975" fmla="*/ 4665359 w 4716235"/>
              <a:gd name="connsiteY10975" fmla="*/ 1710578 h 4596459"/>
              <a:gd name="connsiteX10976" fmla="*/ 4669159 w 4716235"/>
              <a:gd name="connsiteY10976" fmla="*/ 1714378 h 4596459"/>
              <a:gd name="connsiteX10977" fmla="*/ 4673784 w 4716235"/>
              <a:gd name="connsiteY10977" fmla="*/ 1709751 h 4596459"/>
              <a:gd name="connsiteX10978" fmla="*/ 4678243 w 4716235"/>
              <a:gd name="connsiteY10978" fmla="*/ 1714211 h 4596459"/>
              <a:gd name="connsiteX10979" fmla="*/ 4683364 w 4716235"/>
              <a:gd name="connsiteY10979" fmla="*/ 1709090 h 4596459"/>
              <a:gd name="connsiteX10980" fmla="*/ 4688320 w 4716235"/>
              <a:gd name="connsiteY10980" fmla="*/ 1714046 h 4596459"/>
              <a:gd name="connsiteX10981" fmla="*/ 4522147 w 4716235"/>
              <a:gd name="connsiteY10981" fmla="*/ 1621049 h 4596459"/>
              <a:gd name="connsiteX10982" fmla="*/ 4532883 w 4716235"/>
              <a:gd name="connsiteY10982" fmla="*/ 1631785 h 4596459"/>
              <a:gd name="connsiteX10983" fmla="*/ 4541969 w 4716235"/>
              <a:gd name="connsiteY10983" fmla="*/ 1622700 h 4596459"/>
              <a:gd name="connsiteX10984" fmla="*/ 4551137 w 4716235"/>
              <a:gd name="connsiteY10984" fmla="*/ 1631867 h 4596459"/>
              <a:gd name="connsiteX10985" fmla="*/ 4558651 w 4716235"/>
              <a:gd name="connsiteY10985" fmla="*/ 1624352 h 4596459"/>
              <a:gd name="connsiteX10986" fmla="*/ 4566499 w 4716235"/>
              <a:gd name="connsiteY10986" fmla="*/ 1632200 h 4596459"/>
              <a:gd name="connsiteX10987" fmla="*/ 4572858 w 4716235"/>
              <a:gd name="connsiteY10987" fmla="*/ 1625839 h 4596459"/>
              <a:gd name="connsiteX10988" fmla="*/ 4579384 w 4716235"/>
              <a:gd name="connsiteY10988" fmla="*/ 1632363 h 4596459"/>
              <a:gd name="connsiteX10989" fmla="*/ 4584586 w 4716235"/>
              <a:gd name="connsiteY10989" fmla="*/ 1627160 h 4596459"/>
              <a:gd name="connsiteX10990" fmla="*/ 4590285 w 4716235"/>
              <a:gd name="connsiteY10990" fmla="*/ 1632859 h 4596459"/>
              <a:gd name="connsiteX10991" fmla="*/ 4594497 w 4716235"/>
              <a:gd name="connsiteY10991" fmla="*/ 1628646 h 4596459"/>
              <a:gd name="connsiteX10992" fmla="*/ 4599204 w 4716235"/>
              <a:gd name="connsiteY10992" fmla="*/ 1633355 h 4596459"/>
              <a:gd name="connsiteX10993" fmla="*/ 4602591 w 4716235"/>
              <a:gd name="connsiteY10993" fmla="*/ 1629968 h 4596459"/>
              <a:gd name="connsiteX10994" fmla="*/ 4606636 w 4716235"/>
              <a:gd name="connsiteY10994" fmla="*/ 1634015 h 4596459"/>
              <a:gd name="connsiteX10995" fmla="*/ 4609527 w 4716235"/>
              <a:gd name="connsiteY10995" fmla="*/ 1631124 h 4596459"/>
              <a:gd name="connsiteX10996" fmla="*/ 4612997 w 4716235"/>
              <a:gd name="connsiteY10996" fmla="*/ 1634595 h 4596459"/>
              <a:gd name="connsiteX10997" fmla="*/ 4615309 w 4716235"/>
              <a:gd name="connsiteY10997" fmla="*/ 1632281 h 4596459"/>
              <a:gd name="connsiteX10998" fmla="*/ 4618448 w 4716235"/>
              <a:gd name="connsiteY10998" fmla="*/ 1635420 h 4596459"/>
              <a:gd name="connsiteX10999" fmla="*/ 4620430 w 4716235"/>
              <a:gd name="connsiteY10999" fmla="*/ 1633438 h 4596459"/>
              <a:gd name="connsiteX11000" fmla="*/ 4623238 w 4716235"/>
              <a:gd name="connsiteY11000" fmla="*/ 1636246 h 4596459"/>
              <a:gd name="connsiteX11001" fmla="*/ 4625055 w 4716235"/>
              <a:gd name="connsiteY11001" fmla="*/ 1634428 h 4596459"/>
              <a:gd name="connsiteX11002" fmla="*/ 4627781 w 4716235"/>
              <a:gd name="connsiteY11002" fmla="*/ 1637154 h 4596459"/>
              <a:gd name="connsiteX11003" fmla="*/ 4629515 w 4716235"/>
              <a:gd name="connsiteY11003" fmla="*/ 1635420 h 4596459"/>
              <a:gd name="connsiteX11004" fmla="*/ 4632157 w 4716235"/>
              <a:gd name="connsiteY11004" fmla="*/ 1638063 h 4596459"/>
              <a:gd name="connsiteX11005" fmla="*/ 4633809 w 4716235"/>
              <a:gd name="connsiteY11005" fmla="*/ 1636410 h 4596459"/>
              <a:gd name="connsiteX11006" fmla="*/ 4636454 w 4716235"/>
              <a:gd name="connsiteY11006" fmla="*/ 1639055 h 4596459"/>
              <a:gd name="connsiteX11007" fmla="*/ 4638270 w 4716235"/>
              <a:gd name="connsiteY11007" fmla="*/ 1637237 h 4596459"/>
              <a:gd name="connsiteX11008" fmla="*/ 4641159 w 4716235"/>
              <a:gd name="connsiteY11008" fmla="*/ 1640128 h 4596459"/>
              <a:gd name="connsiteX11009" fmla="*/ 4643224 w 4716235"/>
              <a:gd name="connsiteY11009" fmla="*/ 1638063 h 4596459"/>
              <a:gd name="connsiteX11010" fmla="*/ 4646280 w 4716235"/>
              <a:gd name="connsiteY11010" fmla="*/ 1641119 h 4596459"/>
              <a:gd name="connsiteX11011" fmla="*/ 4648510 w 4716235"/>
              <a:gd name="connsiteY11011" fmla="*/ 1638888 h 4596459"/>
              <a:gd name="connsiteX11012" fmla="*/ 4651978 w 4716235"/>
              <a:gd name="connsiteY11012" fmla="*/ 1642357 h 4596459"/>
              <a:gd name="connsiteX11013" fmla="*/ 4654621 w 4716235"/>
              <a:gd name="connsiteY11013" fmla="*/ 1639714 h 4596459"/>
              <a:gd name="connsiteX11014" fmla="*/ 4658421 w 4716235"/>
              <a:gd name="connsiteY11014" fmla="*/ 1643514 h 4596459"/>
              <a:gd name="connsiteX11015" fmla="*/ 4661560 w 4716235"/>
              <a:gd name="connsiteY11015" fmla="*/ 1640375 h 4596459"/>
              <a:gd name="connsiteX11016" fmla="*/ 4665854 w 4716235"/>
              <a:gd name="connsiteY11016" fmla="*/ 1644670 h 4596459"/>
              <a:gd name="connsiteX11017" fmla="*/ 4669489 w 4716235"/>
              <a:gd name="connsiteY11017" fmla="*/ 1641035 h 4596459"/>
              <a:gd name="connsiteX11018" fmla="*/ 4674280 w 4716235"/>
              <a:gd name="connsiteY11018" fmla="*/ 1645827 h 4596459"/>
              <a:gd name="connsiteX11019" fmla="*/ 4678409 w 4716235"/>
              <a:gd name="connsiteY11019" fmla="*/ 1641696 h 4596459"/>
              <a:gd name="connsiteX11020" fmla="*/ 4683778 w 4716235"/>
              <a:gd name="connsiteY11020" fmla="*/ 1647065 h 4596459"/>
              <a:gd name="connsiteX11021" fmla="*/ 4688650 w 4716235"/>
              <a:gd name="connsiteY11021" fmla="*/ 1642192 h 4596459"/>
              <a:gd name="connsiteX11022" fmla="*/ 4694679 w 4716235"/>
              <a:gd name="connsiteY11022" fmla="*/ 1648222 h 4596459"/>
              <a:gd name="connsiteX11023" fmla="*/ 4700213 w 4716235"/>
              <a:gd name="connsiteY11023" fmla="*/ 1642688 h 4596459"/>
              <a:gd name="connsiteX11024" fmla="*/ 4710537 w 4716235"/>
              <a:gd name="connsiteY11024" fmla="*/ 1653012 h 4596459"/>
              <a:gd name="connsiteX11025" fmla="*/ 4712932 w 4716235"/>
              <a:gd name="connsiteY11025" fmla="*/ 1650617 h 4596459"/>
              <a:gd name="connsiteX11026" fmla="*/ 4716235 w 4716235"/>
              <a:gd name="connsiteY11026" fmla="*/ 1653920 h 4596459"/>
              <a:gd name="connsiteX11027" fmla="*/ 4712932 w 4716235"/>
              <a:gd name="connsiteY11027" fmla="*/ 1657224 h 4596459"/>
              <a:gd name="connsiteX11028" fmla="*/ 4710041 w 4716235"/>
              <a:gd name="connsiteY11028" fmla="*/ 1654333 h 4596459"/>
              <a:gd name="connsiteX11029" fmla="*/ 4700213 w 4716235"/>
              <a:gd name="connsiteY11029" fmla="*/ 1664162 h 4596459"/>
              <a:gd name="connsiteX11030" fmla="*/ 4694183 w 4716235"/>
              <a:gd name="connsiteY11030" fmla="*/ 1658133 h 4596459"/>
              <a:gd name="connsiteX11031" fmla="*/ 4688650 w 4716235"/>
              <a:gd name="connsiteY11031" fmla="*/ 1663665 h 4596459"/>
              <a:gd name="connsiteX11032" fmla="*/ 4683282 w 4716235"/>
              <a:gd name="connsiteY11032" fmla="*/ 1658297 h 4596459"/>
              <a:gd name="connsiteX11033" fmla="*/ 4678409 w 4716235"/>
              <a:gd name="connsiteY11033" fmla="*/ 1663169 h 4596459"/>
              <a:gd name="connsiteX11034" fmla="*/ 4673619 w 4716235"/>
              <a:gd name="connsiteY11034" fmla="*/ 1658379 h 4596459"/>
              <a:gd name="connsiteX11035" fmla="*/ 4669489 w 4716235"/>
              <a:gd name="connsiteY11035" fmla="*/ 1662510 h 4596459"/>
              <a:gd name="connsiteX11036" fmla="*/ 4665195 w 4716235"/>
              <a:gd name="connsiteY11036" fmla="*/ 1658214 h 4596459"/>
              <a:gd name="connsiteX11037" fmla="*/ 4661560 w 4716235"/>
              <a:gd name="connsiteY11037" fmla="*/ 1661849 h 4596459"/>
              <a:gd name="connsiteX11038" fmla="*/ 4657760 w 4716235"/>
              <a:gd name="connsiteY11038" fmla="*/ 1658049 h 4596459"/>
              <a:gd name="connsiteX11039" fmla="*/ 4654621 w 4716235"/>
              <a:gd name="connsiteY11039" fmla="*/ 1661188 h 4596459"/>
              <a:gd name="connsiteX11040" fmla="*/ 4651153 w 4716235"/>
              <a:gd name="connsiteY11040" fmla="*/ 1657720 h 4596459"/>
              <a:gd name="connsiteX11041" fmla="*/ 4648510 w 4716235"/>
              <a:gd name="connsiteY11041" fmla="*/ 1660363 h 4596459"/>
              <a:gd name="connsiteX11042" fmla="*/ 4645454 w 4716235"/>
              <a:gd name="connsiteY11042" fmla="*/ 1657307 h 4596459"/>
              <a:gd name="connsiteX11043" fmla="*/ 4643224 w 4716235"/>
              <a:gd name="connsiteY11043" fmla="*/ 1659536 h 4596459"/>
              <a:gd name="connsiteX11044" fmla="*/ 4640335 w 4716235"/>
              <a:gd name="connsiteY11044" fmla="*/ 1656647 h 4596459"/>
              <a:gd name="connsiteX11045" fmla="*/ 4638270 w 4716235"/>
              <a:gd name="connsiteY11045" fmla="*/ 1658712 h 4596459"/>
              <a:gd name="connsiteX11046" fmla="*/ 4635627 w 4716235"/>
              <a:gd name="connsiteY11046" fmla="*/ 1656069 h 4596459"/>
              <a:gd name="connsiteX11047" fmla="*/ 4633809 w 4716235"/>
              <a:gd name="connsiteY11047" fmla="*/ 1657885 h 4596459"/>
              <a:gd name="connsiteX11048" fmla="*/ 4631168 w 4716235"/>
              <a:gd name="connsiteY11048" fmla="*/ 1655244 h 4596459"/>
              <a:gd name="connsiteX11049" fmla="*/ 4629515 w 4716235"/>
              <a:gd name="connsiteY11049" fmla="*/ 1656895 h 4596459"/>
              <a:gd name="connsiteX11050" fmla="*/ 4626789 w 4716235"/>
              <a:gd name="connsiteY11050" fmla="*/ 1654168 h 4596459"/>
              <a:gd name="connsiteX11051" fmla="*/ 4625055 w 4716235"/>
              <a:gd name="connsiteY11051" fmla="*/ 1655903 h 4596459"/>
              <a:gd name="connsiteX11052" fmla="*/ 4622248 w 4716235"/>
              <a:gd name="connsiteY11052" fmla="*/ 1653095 h 4596459"/>
              <a:gd name="connsiteX11053" fmla="*/ 4620430 w 4716235"/>
              <a:gd name="connsiteY11053" fmla="*/ 1654911 h 4596459"/>
              <a:gd name="connsiteX11054" fmla="*/ 4617291 w 4716235"/>
              <a:gd name="connsiteY11054" fmla="*/ 1651773 h 4596459"/>
              <a:gd name="connsiteX11055" fmla="*/ 4615309 w 4716235"/>
              <a:gd name="connsiteY11055" fmla="*/ 1653756 h 4596459"/>
              <a:gd name="connsiteX11056" fmla="*/ 4611839 w 4716235"/>
              <a:gd name="connsiteY11056" fmla="*/ 1650286 h 4596459"/>
              <a:gd name="connsiteX11057" fmla="*/ 4609527 w 4716235"/>
              <a:gd name="connsiteY11057" fmla="*/ 1652597 h 4596459"/>
              <a:gd name="connsiteX11058" fmla="*/ 4605481 w 4716235"/>
              <a:gd name="connsiteY11058" fmla="*/ 1648551 h 4596459"/>
              <a:gd name="connsiteX11059" fmla="*/ 4602591 w 4716235"/>
              <a:gd name="connsiteY11059" fmla="*/ 1651442 h 4596459"/>
              <a:gd name="connsiteX11060" fmla="*/ 4597884 w 4716235"/>
              <a:gd name="connsiteY11060" fmla="*/ 1646734 h 4596459"/>
              <a:gd name="connsiteX11061" fmla="*/ 4594497 w 4716235"/>
              <a:gd name="connsiteY11061" fmla="*/ 1650121 h 4596459"/>
              <a:gd name="connsiteX11062" fmla="*/ 4588799 w 4716235"/>
              <a:gd name="connsiteY11062" fmla="*/ 1644422 h 4596459"/>
              <a:gd name="connsiteX11063" fmla="*/ 4584586 w 4716235"/>
              <a:gd name="connsiteY11063" fmla="*/ 1648635 h 4596459"/>
              <a:gd name="connsiteX11064" fmla="*/ 4578062 w 4716235"/>
              <a:gd name="connsiteY11064" fmla="*/ 1642109 h 4596459"/>
              <a:gd name="connsiteX11065" fmla="*/ 4572858 w 4716235"/>
              <a:gd name="connsiteY11065" fmla="*/ 1647313 h 4596459"/>
              <a:gd name="connsiteX11066" fmla="*/ 4565012 w 4716235"/>
              <a:gd name="connsiteY11066" fmla="*/ 1639466 h 4596459"/>
              <a:gd name="connsiteX11067" fmla="*/ 4558651 w 4716235"/>
              <a:gd name="connsiteY11067" fmla="*/ 1645827 h 4596459"/>
              <a:gd name="connsiteX11068" fmla="*/ 4549485 w 4716235"/>
              <a:gd name="connsiteY11068" fmla="*/ 1636658 h 4596459"/>
              <a:gd name="connsiteX11069" fmla="*/ 4541969 w 4716235"/>
              <a:gd name="connsiteY11069" fmla="*/ 1644174 h 4596459"/>
              <a:gd name="connsiteX11070" fmla="*/ 4531232 w 4716235"/>
              <a:gd name="connsiteY11070" fmla="*/ 1633436 h 4596459"/>
              <a:gd name="connsiteX11071" fmla="*/ 4522147 w 4716235"/>
              <a:gd name="connsiteY11071" fmla="*/ 1642522 h 4596459"/>
              <a:gd name="connsiteX11072" fmla="*/ 4511410 w 4716235"/>
              <a:gd name="connsiteY11072" fmla="*/ 1631785 h 4596459"/>
              <a:gd name="connsiteX11073" fmla="*/ 4522147 w 4716235"/>
              <a:gd name="connsiteY11073" fmla="*/ 1621049 h 4596459"/>
              <a:gd name="connsiteX11074" fmla="*/ 4498857 w 4716235"/>
              <a:gd name="connsiteY11074" fmla="*/ 1619231 h 4596459"/>
              <a:gd name="connsiteX11075" fmla="*/ 4509593 w 4716235"/>
              <a:gd name="connsiteY11075" fmla="*/ 1629968 h 4596459"/>
              <a:gd name="connsiteX11076" fmla="*/ 4498857 w 4716235"/>
              <a:gd name="connsiteY11076" fmla="*/ 1640704 h 4596459"/>
              <a:gd name="connsiteX11077" fmla="*/ 4488120 w 4716235"/>
              <a:gd name="connsiteY11077" fmla="*/ 1629968 h 4596459"/>
              <a:gd name="connsiteX11078" fmla="*/ 4498857 w 4716235"/>
              <a:gd name="connsiteY11078" fmla="*/ 1619231 h 4596459"/>
              <a:gd name="connsiteX11079" fmla="*/ 4471602 w 4716235"/>
              <a:gd name="connsiteY11079" fmla="*/ 1617416 h 4596459"/>
              <a:gd name="connsiteX11080" fmla="*/ 4482339 w 4716235"/>
              <a:gd name="connsiteY11080" fmla="*/ 1628152 h 4596459"/>
              <a:gd name="connsiteX11081" fmla="*/ 4471602 w 4716235"/>
              <a:gd name="connsiteY11081" fmla="*/ 1638888 h 4596459"/>
              <a:gd name="connsiteX11082" fmla="*/ 4460866 w 4716235"/>
              <a:gd name="connsiteY11082" fmla="*/ 1628152 h 4596459"/>
              <a:gd name="connsiteX11083" fmla="*/ 4471602 w 4716235"/>
              <a:gd name="connsiteY11083" fmla="*/ 1617416 h 4596459"/>
              <a:gd name="connsiteX11084" fmla="*/ 4440052 w 4716235"/>
              <a:gd name="connsiteY11084" fmla="*/ 1615432 h 4596459"/>
              <a:gd name="connsiteX11085" fmla="*/ 4450788 w 4716235"/>
              <a:gd name="connsiteY11085" fmla="*/ 1626168 h 4596459"/>
              <a:gd name="connsiteX11086" fmla="*/ 4440052 w 4716235"/>
              <a:gd name="connsiteY11086" fmla="*/ 1636906 h 4596459"/>
              <a:gd name="connsiteX11087" fmla="*/ 4429316 w 4716235"/>
              <a:gd name="connsiteY11087" fmla="*/ 1626168 h 4596459"/>
              <a:gd name="connsiteX11088" fmla="*/ 4440052 w 4716235"/>
              <a:gd name="connsiteY11088" fmla="*/ 1615432 h 4596459"/>
              <a:gd name="connsiteX11089" fmla="*/ 4403712 w 4716235"/>
              <a:gd name="connsiteY11089" fmla="*/ 1613450 h 4596459"/>
              <a:gd name="connsiteX11090" fmla="*/ 4414450 w 4716235"/>
              <a:gd name="connsiteY11090" fmla="*/ 1624186 h 4596459"/>
              <a:gd name="connsiteX11091" fmla="*/ 4403712 w 4716235"/>
              <a:gd name="connsiteY11091" fmla="*/ 1634924 h 4596459"/>
              <a:gd name="connsiteX11092" fmla="*/ 4392976 w 4716235"/>
              <a:gd name="connsiteY11092" fmla="*/ 1624186 h 4596459"/>
              <a:gd name="connsiteX11093" fmla="*/ 4403712 w 4716235"/>
              <a:gd name="connsiteY11093" fmla="*/ 1613450 h 4596459"/>
              <a:gd name="connsiteX11094" fmla="*/ 4362087 w 4716235"/>
              <a:gd name="connsiteY11094" fmla="*/ 1611469 h 4596459"/>
              <a:gd name="connsiteX11095" fmla="*/ 4372823 w 4716235"/>
              <a:gd name="connsiteY11095" fmla="*/ 1622206 h 4596459"/>
              <a:gd name="connsiteX11096" fmla="*/ 4362087 w 4716235"/>
              <a:gd name="connsiteY11096" fmla="*/ 1632944 h 4596459"/>
              <a:gd name="connsiteX11097" fmla="*/ 4351350 w 4716235"/>
              <a:gd name="connsiteY11097" fmla="*/ 1622206 h 4596459"/>
              <a:gd name="connsiteX11098" fmla="*/ 4362087 w 4716235"/>
              <a:gd name="connsiteY11098" fmla="*/ 1611469 h 4596459"/>
              <a:gd name="connsiteX11099" fmla="*/ 4314514 w 4716235"/>
              <a:gd name="connsiteY11099" fmla="*/ 1609156 h 4596459"/>
              <a:gd name="connsiteX11100" fmla="*/ 4325251 w 4716235"/>
              <a:gd name="connsiteY11100" fmla="*/ 1619892 h 4596459"/>
              <a:gd name="connsiteX11101" fmla="*/ 4314514 w 4716235"/>
              <a:gd name="connsiteY11101" fmla="*/ 1630629 h 4596459"/>
              <a:gd name="connsiteX11102" fmla="*/ 4303778 w 4716235"/>
              <a:gd name="connsiteY11102" fmla="*/ 1619892 h 4596459"/>
              <a:gd name="connsiteX11103" fmla="*/ 4314514 w 4716235"/>
              <a:gd name="connsiteY11103" fmla="*/ 1609156 h 4596459"/>
              <a:gd name="connsiteX11104" fmla="*/ 4260500 w 4716235"/>
              <a:gd name="connsiteY11104" fmla="*/ 1606844 h 4596459"/>
              <a:gd name="connsiteX11105" fmla="*/ 4271236 w 4716235"/>
              <a:gd name="connsiteY11105" fmla="*/ 1617580 h 4596459"/>
              <a:gd name="connsiteX11106" fmla="*/ 4260500 w 4716235"/>
              <a:gd name="connsiteY11106" fmla="*/ 1628317 h 4596459"/>
              <a:gd name="connsiteX11107" fmla="*/ 4249763 w 4716235"/>
              <a:gd name="connsiteY11107" fmla="*/ 1617580 h 4596459"/>
              <a:gd name="connsiteX11108" fmla="*/ 4260500 w 4716235"/>
              <a:gd name="connsiteY11108" fmla="*/ 1606844 h 4596459"/>
              <a:gd name="connsiteX11109" fmla="*/ 4199713 w 4716235"/>
              <a:gd name="connsiteY11109" fmla="*/ 1604531 h 4596459"/>
              <a:gd name="connsiteX11110" fmla="*/ 4210451 w 4716235"/>
              <a:gd name="connsiteY11110" fmla="*/ 1615267 h 4596459"/>
              <a:gd name="connsiteX11111" fmla="*/ 4199713 w 4716235"/>
              <a:gd name="connsiteY11111" fmla="*/ 1626003 h 4596459"/>
              <a:gd name="connsiteX11112" fmla="*/ 4188977 w 4716235"/>
              <a:gd name="connsiteY11112" fmla="*/ 1615267 h 4596459"/>
              <a:gd name="connsiteX11113" fmla="*/ 4199713 w 4716235"/>
              <a:gd name="connsiteY11113" fmla="*/ 1604531 h 4596459"/>
              <a:gd name="connsiteX11114" fmla="*/ 4131162 w 4716235"/>
              <a:gd name="connsiteY11114" fmla="*/ 1602053 h 4596459"/>
              <a:gd name="connsiteX11115" fmla="*/ 4141900 w 4716235"/>
              <a:gd name="connsiteY11115" fmla="*/ 1612789 h 4596459"/>
              <a:gd name="connsiteX11116" fmla="*/ 4131162 w 4716235"/>
              <a:gd name="connsiteY11116" fmla="*/ 1623527 h 4596459"/>
              <a:gd name="connsiteX11117" fmla="*/ 4120426 w 4716235"/>
              <a:gd name="connsiteY11117" fmla="*/ 1612789 h 4596459"/>
              <a:gd name="connsiteX11118" fmla="*/ 4131162 w 4716235"/>
              <a:gd name="connsiteY11118" fmla="*/ 1602053 h 4596459"/>
              <a:gd name="connsiteX11119" fmla="*/ 4054518 w 4716235"/>
              <a:gd name="connsiteY11119" fmla="*/ 1599410 h 4596459"/>
              <a:gd name="connsiteX11120" fmla="*/ 4065254 w 4716235"/>
              <a:gd name="connsiteY11120" fmla="*/ 1610146 h 4596459"/>
              <a:gd name="connsiteX11121" fmla="*/ 4054518 w 4716235"/>
              <a:gd name="connsiteY11121" fmla="*/ 1620884 h 4596459"/>
              <a:gd name="connsiteX11122" fmla="*/ 4043782 w 4716235"/>
              <a:gd name="connsiteY11122" fmla="*/ 1610146 h 4596459"/>
              <a:gd name="connsiteX11123" fmla="*/ 4054518 w 4716235"/>
              <a:gd name="connsiteY11123" fmla="*/ 1599410 h 4596459"/>
              <a:gd name="connsiteX11124" fmla="*/ 3969120 w 4716235"/>
              <a:gd name="connsiteY11124" fmla="*/ 1596767 h 4596459"/>
              <a:gd name="connsiteX11125" fmla="*/ 3979856 w 4716235"/>
              <a:gd name="connsiteY11125" fmla="*/ 1607503 h 4596459"/>
              <a:gd name="connsiteX11126" fmla="*/ 3969120 w 4716235"/>
              <a:gd name="connsiteY11126" fmla="*/ 1618239 h 4596459"/>
              <a:gd name="connsiteX11127" fmla="*/ 3958383 w 4716235"/>
              <a:gd name="connsiteY11127" fmla="*/ 1607503 h 4596459"/>
              <a:gd name="connsiteX11128" fmla="*/ 3969120 w 4716235"/>
              <a:gd name="connsiteY11128" fmla="*/ 1596767 h 4596459"/>
              <a:gd name="connsiteX11129" fmla="*/ 3874307 w 4716235"/>
              <a:gd name="connsiteY11129" fmla="*/ 1593794 h 4596459"/>
              <a:gd name="connsiteX11130" fmla="*/ 3885043 w 4716235"/>
              <a:gd name="connsiteY11130" fmla="*/ 1604531 h 4596459"/>
              <a:gd name="connsiteX11131" fmla="*/ 3874307 w 4716235"/>
              <a:gd name="connsiteY11131" fmla="*/ 1615269 h 4596459"/>
              <a:gd name="connsiteX11132" fmla="*/ 3863570 w 4716235"/>
              <a:gd name="connsiteY11132" fmla="*/ 1604531 h 4596459"/>
              <a:gd name="connsiteX11133" fmla="*/ 3874307 w 4716235"/>
              <a:gd name="connsiteY11133" fmla="*/ 1593794 h 4596459"/>
              <a:gd name="connsiteX11134" fmla="*/ 3769085 w 4716235"/>
              <a:gd name="connsiteY11134" fmla="*/ 1590985 h 4596459"/>
              <a:gd name="connsiteX11135" fmla="*/ 3779821 w 4716235"/>
              <a:gd name="connsiteY11135" fmla="*/ 1601721 h 4596459"/>
              <a:gd name="connsiteX11136" fmla="*/ 3769085 w 4716235"/>
              <a:gd name="connsiteY11136" fmla="*/ 1612459 h 4596459"/>
              <a:gd name="connsiteX11137" fmla="*/ 3758348 w 4716235"/>
              <a:gd name="connsiteY11137" fmla="*/ 1601721 h 4596459"/>
              <a:gd name="connsiteX11138" fmla="*/ 3769085 w 4716235"/>
              <a:gd name="connsiteY11138" fmla="*/ 1590985 h 4596459"/>
              <a:gd name="connsiteX11139" fmla="*/ 3653128 w 4716235"/>
              <a:gd name="connsiteY11139" fmla="*/ 1588013 h 4596459"/>
              <a:gd name="connsiteX11140" fmla="*/ 3663866 w 4716235"/>
              <a:gd name="connsiteY11140" fmla="*/ 1598749 h 4596459"/>
              <a:gd name="connsiteX11141" fmla="*/ 3653128 w 4716235"/>
              <a:gd name="connsiteY11141" fmla="*/ 1609485 h 4596459"/>
              <a:gd name="connsiteX11142" fmla="*/ 3642392 w 4716235"/>
              <a:gd name="connsiteY11142" fmla="*/ 1598749 h 4596459"/>
              <a:gd name="connsiteX11143" fmla="*/ 3653128 w 4716235"/>
              <a:gd name="connsiteY11143" fmla="*/ 1588013 h 4596459"/>
              <a:gd name="connsiteX11144" fmla="*/ 3525444 w 4716235"/>
              <a:gd name="connsiteY11144" fmla="*/ 1584709 h 4596459"/>
              <a:gd name="connsiteX11145" fmla="*/ 3536180 w 4716235"/>
              <a:gd name="connsiteY11145" fmla="*/ 1595445 h 4596459"/>
              <a:gd name="connsiteX11146" fmla="*/ 3525444 w 4716235"/>
              <a:gd name="connsiteY11146" fmla="*/ 1606183 h 4596459"/>
              <a:gd name="connsiteX11147" fmla="*/ 3514707 w 4716235"/>
              <a:gd name="connsiteY11147" fmla="*/ 1595445 h 4596459"/>
              <a:gd name="connsiteX11148" fmla="*/ 3525444 w 4716235"/>
              <a:gd name="connsiteY11148" fmla="*/ 1584709 h 4596459"/>
              <a:gd name="connsiteX11149" fmla="*/ 108502 w 4716235"/>
              <a:gd name="connsiteY11149" fmla="*/ 1583058 h 4596459"/>
              <a:gd name="connsiteX11150" fmla="*/ 119240 w 4716235"/>
              <a:gd name="connsiteY11150" fmla="*/ 1593794 h 4596459"/>
              <a:gd name="connsiteX11151" fmla="*/ 108502 w 4716235"/>
              <a:gd name="connsiteY11151" fmla="*/ 1604532 h 4596459"/>
              <a:gd name="connsiteX11152" fmla="*/ 97766 w 4716235"/>
              <a:gd name="connsiteY11152" fmla="*/ 1593794 h 4596459"/>
              <a:gd name="connsiteX11153" fmla="*/ 108502 w 4716235"/>
              <a:gd name="connsiteY11153" fmla="*/ 1583058 h 4596459"/>
              <a:gd name="connsiteX11154" fmla="*/ 3385370 w 4716235"/>
              <a:gd name="connsiteY11154" fmla="*/ 1581405 h 4596459"/>
              <a:gd name="connsiteX11155" fmla="*/ 3396106 w 4716235"/>
              <a:gd name="connsiteY11155" fmla="*/ 1592142 h 4596459"/>
              <a:gd name="connsiteX11156" fmla="*/ 3385370 w 4716235"/>
              <a:gd name="connsiteY11156" fmla="*/ 1602880 h 4596459"/>
              <a:gd name="connsiteX11157" fmla="*/ 3374634 w 4716235"/>
              <a:gd name="connsiteY11157" fmla="*/ 1592142 h 4596459"/>
              <a:gd name="connsiteX11158" fmla="*/ 3385370 w 4716235"/>
              <a:gd name="connsiteY11158" fmla="*/ 1581405 h 4596459"/>
              <a:gd name="connsiteX11159" fmla="*/ 255513 w 4716235"/>
              <a:gd name="connsiteY11159" fmla="*/ 1579588 h 4596459"/>
              <a:gd name="connsiteX11160" fmla="*/ 266251 w 4716235"/>
              <a:gd name="connsiteY11160" fmla="*/ 1590324 h 4596459"/>
              <a:gd name="connsiteX11161" fmla="*/ 255513 w 4716235"/>
              <a:gd name="connsiteY11161" fmla="*/ 1601062 h 4596459"/>
              <a:gd name="connsiteX11162" fmla="*/ 244776 w 4716235"/>
              <a:gd name="connsiteY11162" fmla="*/ 1590324 h 4596459"/>
              <a:gd name="connsiteX11163" fmla="*/ 255513 w 4716235"/>
              <a:gd name="connsiteY11163" fmla="*/ 1579588 h 4596459"/>
              <a:gd name="connsiteX11164" fmla="*/ 3232082 w 4716235"/>
              <a:gd name="connsiteY11164" fmla="*/ 1578102 h 4596459"/>
              <a:gd name="connsiteX11165" fmla="*/ 3242818 w 4716235"/>
              <a:gd name="connsiteY11165" fmla="*/ 1588838 h 4596459"/>
              <a:gd name="connsiteX11166" fmla="*/ 3232082 w 4716235"/>
              <a:gd name="connsiteY11166" fmla="*/ 1599576 h 4596459"/>
              <a:gd name="connsiteX11167" fmla="*/ 3221345 w 4716235"/>
              <a:gd name="connsiteY11167" fmla="*/ 1588838 h 4596459"/>
              <a:gd name="connsiteX11168" fmla="*/ 3232082 w 4716235"/>
              <a:gd name="connsiteY11168" fmla="*/ 1578102 h 4596459"/>
              <a:gd name="connsiteX11169" fmla="*/ 416235 w 4716235"/>
              <a:gd name="connsiteY11169" fmla="*/ 1576120 h 4596459"/>
              <a:gd name="connsiteX11170" fmla="*/ 426972 w 4716235"/>
              <a:gd name="connsiteY11170" fmla="*/ 1586856 h 4596459"/>
              <a:gd name="connsiteX11171" fmla="*/ 416235 w 4716235"/>
              <a:gd name="connsiteY11171" fmla="*/ 1597592 h 4596459"/>
              <a:gd name="connsiteX11172" fmla="*/ 405499 w 4716235"/>
              <a:gd name="connsiteY11172" fmla="*/ 1586856 h 4596459"/>
              <a:gd name="connsiteX11173" fmla="*/ 416235 w 4716235"/>
              <a:gd name="connsiteY11173" fmla="*/ 1576120 h 4596459"/>
              <a:gd name="connsiteX11174" fmla="*/ 3064752 w 4716235"/>
              <a:gd name="connsiteY11174" fmla="*/ 1574467 h 4596459"/>
              <a:gd name="connsiteX11175" fmla="*/ 3075490 w 4716235"/>
              <a:gd name="connsiteY11175" fmla="*/ 1585203 h 4596459"/>
              <a:gd name="connsiteX11176" fmla="*/ 3064752 w 4716235"/>
              <a:gd name="connsiteY11176" fmla="*/ 1595941 h 4596459"/>
              <a:gd name="connsiteX11177" fmla="*/ 3054015 w 4716235"/>
              <a:gd name="connsiteY11177" fmla="*/ 1585203 h 4596459"/>
              <a:gd name="connsiteX11178" fmla="*/ 3064752 w 4716235"/>
              <a:gd name="connsiteY11178" fmla="*/ 1574467 h 4596459"/>
              <a:gd name="connsiteX11179" fmla="*/ 591492 w 4716235"/>
              <a:gd name="connsiteY11179" fmla="*/ 1572651 h 4596459"/>
              <a:gd name="connsiteX11180" fmla="*/ 602229 w 4716235"/>
              <a:gd name="connsiteY11180" fmla="*/ 1583388 h 4596459"/>
              <a:gd name="connsiteX11181" fmla="*/ 591492 w 4716235"/>
              <a:gd name="connsiteY11181" fmla="*/ 1594126 h 4596459"/>
              <a:gd name="connsiteX11182" fmla="*/ 580756 w 4716235"/>
              <a:gd name="connsiteY11182" fmla="*/ 1583388 h 4596459"/>
              <a:gd name="connsiteX11183" fmla="*/ 591492 w 4716235"/>
              <a:gd name="connsiteY11183" fmla="*/ 1572651 h 4596459"/>
              <a:gd name="connsiteX11184" fmla="*/ 2882391 w 4716235"/>
              <a:gd name="connsiteY11184" fmla="*/ 1570834 h 4596459"/>
              <a:gd name="connsiteX11185" fmla="*/ 2893128 w 4716235"/>
              <a:gd name="connsiteY11185" fmla="*/ 1581570 h 4596459"/>
              <a:gd name="connsiteX11186" fmla="*/ 2882391 w 4716235"/>
              <a:gd name="connsiteY11186" fmla="*/ 1592308 h 4596459"/>
              <a:gd name="connsiteX11187" fmla="*/ 2871655 w 4716235"/>
              <a:gd name="connsiteY11187" fmla="*/ 1581570 h 4596459"/>
              <a:gd name="connsiteX11188" fmla="*/ 2882391 w 4716235"/>
              <a:gd name="connsiteY11188" fmla="*/ 1570834 h 4596459"/>
              <a:gd name="connsiteX11189" fmla="*/ 782111 w 4716235"/>
              <a:gd name="connsiteY11189" fmla="*/ 1568852 h 4596459"/>
              <a:gd name="connsiteX11190" fmla="*/ 792849 w 4716235"/>
              <a:gd name="connsiteY11190" fmla="*/ 1579588 h 4596459"/>
              <a:gd name="connsiteX11191" fmla="*/ 782111 w 4716235"/>
              <a:gd name="connsiteY11191" fmla="*/ 1590326 h 4596459"/>
              <a:gd name="connsiteX11192" fmla="*/ 771374 w 4716235"/>
              <a:gd name="connsiteY11192" fmla="*/ 1579588 h 4596459"/>
              <a:gd name="connsiteX11193" fmla="*/ 782111 w 4716235"/>
              <a:gd name="connsiteY11193" fmla="*/ 1568852 h 4596459"/>
              <a:gd name="connsiteX11194" fmla="*/ 2684340 w 4716235"/>
              <a:gd name="connsiteY11194" fmla="*/ 1567034 h 4596459"/>
              <a:gd name="connsiteX11195" fmla="*/ 2695078 w 4716235"/>
              <a:gd name="connsiteY11195" fmla="*/ 1577770 h 4596459"/>
              <a:gd name="connsiteX11196" fmla="*/ 2684340 w 4716235"/>
              <a:gd name="connsiteY11196" fmla="*/ 1588509 h 4596459"/>
              <a:gd name="connsiteX11197" fmla="*/ 2673604 w 4716235"/>
              <a:gd name="connsiteY11197" fmla="*/ 1577770 h 4596459"/>
              <a:gd name="connsiteX11198" fmla="*/ 2684340 w 4716235"/>
              <a:gd name="connsiteY11198" fmla="*/ 1567034 h 4596459"/>
              <a:gd name="connsiteX11199" fmla="*/ 989084 w 4716235"/>
              <a:gd name="connsiteY11199" fmla="*/ 1565052 h 4596459"/>
              <a:gd name="connsiteX11200" fmla="*/ 999821 w 4716235"/>
              <a:gd name="connsiteY11200" fmla="*/ 1575788 h 4596459"/>
              <a:gd name="connsiteX11201" fmla="*/ 989084 w 4716235"/>
              <a:gd name="connsiteY11201" fmla="*/ 1586525 h 4596459"/>
              <a:gd name="connsiteX11202" fmla="*/ 978348 w 4716235"/>
              <a:gd name="connsiteY11202" fmla="*/ 1575788 h 4596459"/>
              <a:gd name="connsiteX11203" fmla="*/ 989084 w 4716235"/>
              <a:gd name="connsiteY11203" fmla="*/ 1565052 h 4596459"/>
              <a:gd name="connsiteX11204" fmla="*/ 2469438 w 4716235"/>
              <a:gd name="connsiteY11204" fmla="*/ 1563070 h 4596459"/>
              <a:gd name="connsiteX11205" fmla="*/ 2480175 w 4716235"/>
              <a:gd name="connsiteY11205" fmla="*/ 1573806 h 4596459"/>
              <a:gd name="connsiteX11206" fmla="*/ 2469438 w 4716235"/>
              <a:gd name="connsiteY11206" fmla="*/ 1584544 h 4596459"/>
              <a:gd name="connsiteX11207" fmla="*/ 2458702 w 4716235"/>
              <a:gd name="connsiteY11207" fmla="*/ 1573806 h 4596459"/>
              <a:gd name="connsiteX11208" fmla="*/ 2469438 w 4716235"/>
              <a:gd name="connsiteY11208" fmla="*/ 1563070 h 4596459"/>
              <a:gd name="connsiteX11209" fmla="*/ 1213400 w 4716235"/>
              <a:gd name="connsiteY11209" fmla="*/ 1560923 h 4596459"/>
              <a:gd name="connsiteX11210" fmla="*/ 1224138 w 4716235"/>
              <a:gd name="connsiteY11210" fmla="*/ 1571659 h 4596459"/>
              <a:gd name="connsiteX11211" fmla="*/ 1213400 w 4716235"/>
              <a:gd name="connsiteY11211" fmla="*/ 1582396 h 4596459"/>
              <a:gd name="connsiteX11212" fmla="*/ 1202663 w 4716235"/>
              <a:gd name="connsiteY11212" fmla="*/ 1571659 h 4596459"/>
              <a:gd name="connsiteX11213" fmla="*/ 1213400 w 4716235"/>
              <a:gd name="connsiteY11213" fmla="*/ 1560923 h 4596459"/>
              <a:gd name="connsiteX11214" fmla="*/ 2236863 w 4716235"/>
              <a:gd name="connsiteY11214" fmla="*/ 1559105 h 4596459"/>
              <a:gd name="connsiteX11215" fmla="*/ 2247601 w 4716235"/>
              <a:gd name="connsiteY11215" fmla="*/ 1569842 h 4596459"/>
              <a:gd name="connsiteX11216" fmla="*/ 2236863 w 4716235"/>
              <a:gd name="connsiteY11216" fmla="*/ 1580578 h 4596459"/>
              <a:gd name="connsiteX11217" fmla="*/ 2226127 w 4716235"/>
              <a:gd name="connsiteY11217" fmla="*/ 1569842 h 4596459"/>
              <a:gd name="connsiteX11218" fmla="*/ 2236863 w 4716235"/>
              <a:gd name="connsiteY11218" fmla="*/ 1559105 h 4596459"/>
              <a:gd name="connsiteX11219" fmla="*/ 1455886 w 4716235"/>
              <a:gd name="connsiteY11219" fmla="*/ 1556959 h 4596459"/>
              <a:gd name="connsiteX11220" fmla="*/ 1466622 w 4716235"/>
              <a:gd name="connsiteY11220" fmla="*/ 1567695 h 4596459"/>
              <a:gd name="connsiteX11221" fmla="*/ 1455886 w 4716235"/>
              <a:gd name="connsiteY11221" fmla="*/ 1578433 h 4596459"/>
              <a:gd name="connsiteX11222" fmla="*/ 1445149 w 4716235"/>
              <a:gd name="connsiteY11222" fmla="*/ 1567695 h 4596459"/>
              <a:gd name="connsiteX11223" fmla="*/ 1455886 w 4716235"/>
              <a:gd name="connsiteY11223" fmla="*/ 1556959 h 4596459"/>
              <a:gd name="connsiteX11224" fmla="*/ 1985623 w 4716235"/>
              <a:gd name="connsiteY11224" fmla="*/ 1555141 h 4596459"/>
              <a:gd name="connsiteX11225" fmla="*/ 1996361 w 4716235"/>
              <a:gd name="connsiteY11225" fmla="*/ 1565877 h 4596459"/>
              <a:gd name="connsiteX11226" fmla="*/ 1985623 w 4716235"/>
              <a:gd name="connsiteY11226" fmla="*/ 1576616 h 4596459"/>
              <a:gd name="connsiteX11227" fmla="*/ 1974886 w 4716235"/>
              <a:gd name="connsiteY11227" fmla="*/ 1565877 h 4596459"/>
              <a:gd name="connsiteX11228" fmla="*/ 1985623 w 4716235"/>
              <a:gd name="connsiteY11228" fmla="*/ 1555141 h 4596459"/>
              <a:gd name="connsiteX11229" fmla="*/ 1717203 w 4716235"/>
              <a:gd name="connsiteY11229" fmla="*/ 1553490 h 4596459"/>
              <a:gd name="connsiteX11230" fmla="*/ 1727941 w 4716235"/>
              <a:gd name="connsiteY11230" fmla="*/ 1564226 h 4596459"/>
              <a:gd name="connsiteX11231" fmla="*/ 1717203 w 4716235"/>
              <a:gd name="connsiteY11231" fmla="*/ 1574965 h 4596459"/>
              <a:gd name="connsiteX11232" fmla="*/ 1706467 w 4716235"/>
              <a:gd name="connsiteY11232" fmla="*/ 1564226 h 4596459"/>
              <a:gd name="connsiteX11233" fmla="*/ 1717203 w 4716235"/>
              <a:gd name="connsiteY11233" fmla="*/ 1553490 h 4596459"/>
              <a:gd name="connsiteX11234" fmla="*/ 4709793 w 4716235"/>
              <a:gd name="connsiteY11234" fmla="*/ 1523593 h 4596459"/>
              <a:gd name="connsiteX11235" fmla="*/ 4712106 w 4716235"/>
              <a:gd name="connsiteY11235" fmla="*/ 1525904 h 4596459"/>
              <a:gd name="connsiteX11236" fmla="*/ 4709793 w 4716235"/>
              <a:gd name="connsiteY11236" fmla="*/ 1528218 h 4596459"/>
              <a:gd name="connsiteX11237" fmla="*/ 4707481 w 4716235"/>
              <a:gd name="connsiteY11237" fmla="*/ 1525904 h 4596459"/>
              <a:gd name="connsiteX11238" fmla="*/ 4709793 w 4716235"/>
              <a:gd name="connsiteY11238" fmla="*/ 1523593 h 4596459"/>
              <a:gd name="connsiteX11239" fmla="*/ 4547254 w 4716235"/>
              <a:gd name="connsiteY11239" fmla="*/ 1514011 h 4596459"/>
              <a:gd name="connsiteX11240" fmla="*/ 4557578 w 4716235"/>
              <a:gd name="connsiteY11240" fmla="*/ 1524337 h 4596459"/>
              <a:gd name="connsiteX11241" fmla="*/ 4562782 w 4716235"/>
              <a:gd name="connsiteY11241" fmla="*/ 1519132 h 4596459"/>
              <a:gd name="connsiteX11242" fmla="*/ 4571784 w 4716235"/>
              <a:gd name="connsiteY11242" fmla="*/ 1528135 h 4596459"/>
              <a:gd name="connsiteX11243" fmla="*/ 4575830 w 4716235"/>
              <a:gd name="connsiteY11243" fmla="*/ 1524087 h 4596459"/>
              <a:gd name="connsiteX11244" fmla="*/ 4583594 w 4716235"/>
              <a:gd name="connsiteY11244" fmla="*/ 1531851 h 4596459"/>
              <a:gd name="connsiteX11245" fmla="*/ 4586733 w 4716235"/>
              <a:gd name="connsiteY11245" fmla="*/ 1528712 h 4596459"/>
              <a:gd name="connsiteX11246" fmla="*/ 4593588 w 4716235"/>
              <a:gd name="connsiteY11246" fmla="*/ 1535567 h 4596459"/>
              <a:gd name="connsiteX11247" fmla="*/ 4595983 w 4716235"/>
              <a:gd name="connsiteY11247" fmla="*/ 1533172 h 4596459"/>
              <a:gd name="connsiteX11248" fmla="*/ 4601847 w 4716235"/>
              <a:gd name="connsiteY11248" fmla="*/ 1539036 h 4596459"/>
              <a:gd name="connsiteX11249" fmla="*/ 4603581 w 4716235"/>
              <a:gd name="connsiteY11249" fmla="*/ 1537302 h 4596459"/>
              <a:gd name="connsiteX11250" fmla="*/ 4608783 w 4716235"/>
              <a:gd name="connsiteY11250" fmla="*/ 1542506 h 4596459"/>
              <a:gd name="connsiteX11251" fmla="*/ 4610023 w 4716235"/>
              <a:gd name="connsiteY11251" fmla="*/ 1541266 h 4596459"/>
              <a:gd name="connsiteX11252" fmla="*/ 4614732 w 4716235"/>
              <a:gd name="connsiteY11252" fmla="*/ 1545974 h 4596459"/>
              <a:gd name="connsiteX11253" fmla="*/ 4615640 w 4716235"/>
              <a:gd name="connsiteY11253" fmla="*/ 1545065 h 4596459"/>
              <a:gd name="connsiteX11254" fmla="*/ 4619936 w 4716235"/>
              <a:gd name="connsiteY11254" fmla="*/ 1549361 h 4596459"/>
              <a:gd name="connsiteX11255" fmla="*/ 4620595 w 4716235"/>
              <a:gd name="connsiteY11255" fmla="*/ 1548700 h 4596459"/>
              <a:gd name="connsiteX11256" fmla="*/ 4624559 w 4716235"/>
              <a:gd name="connsiteY11256" fmla="*/ 1552665 h 4596459"/>
              <a:gd name="connsiteX11257" fmla="*/ 4625220 w 4716235"/>
              <a:gd name="connsiteY11257" fmla="*/ 1552002 h 4596459"/>
              <a:gd name="connsiteX11258" fmla="*/ 4628936 w 4716235"/>
              <a:gd name="connsiteY11258" fmla="*/ 1555720 h 4596459"/>
              <a:gd name="connsiteX11259" fmla="*/ 4629515 w 4716235"/>
              <a:gd name="connsiteY11259" fmla="*/ 1555141 h 4596459"/>
              <a:gd name="connsiteX11260" fmla="*/ 4633397 w 4716235"/>
              <a:gd name="connsiteY11260" fmla="*/ 1559024 h 4596459"/>
              <a:gd name="connsiteX11261" fmla="*/ 4634141 w 4716235"/>
              <a:gd name="connsiteY11261" fmla="*/ 1558280 h 4596459"/>
              <a:gd name="connsiteX11262" fmla="*/ 4637940 w 4716235"/>
              <a:gd name="connsiteY11262" fmla="*/ 1562080 h 4596459"/>
              <a:gd name="connsiteX11263" fmla="*/ 4638930 w 4716235"/>
              <a:gd name="connsiteY11263" fmla="*/ 1561088 h 4596459"/>
              <a:gd name="connsiteX11264" fmla="*/ 4642813 w 4716235"/>
              <a:gd name="connsiteY11264" fmla="*/ 1564970 h 4596459"/>
              <a:gd name="connsiteX11265" fmla="*/ 4644051 w 4716235"/>
              <a:gd name="connsiteY11265" fmla="*/ 1563731 h 4596459"/>
              <a:gd name="connsiteX11266" fmla="*/ 4648181 w 4716235"/>
              <a:gd name="connsiteY11266" fmla="*/ 1567860 h 4596459"/>
              <a:gd name="connsiteX11267" fmla="*/ 4649831 w 4716235"/>
              <a:gd name="connsiteY11267" fmla="*/ 1566209 h 4596459"/>
              <a:gd name="connsiteX11268" fmla="*/ 4654375 w 4716235"/>
              <a:gd name="connsiteY11268" fmla="*/ 1570752 h 4596459"/>
              <a:gd name="connsiteX11269" fmla="*/ 4656439 w 4716235"/>
              <a:gd name="connsiteY11269" fmla="*/ 1568687 h 4596459"/>
              <a:gd name="connsiteX11270" fmla="*/ 4661312 w 4716235"/>
              <a:gd name="connsiteY11270" fmla="*/ 1573560 h 4596459"/>
              <a:gd name="connsiteX11271" fmla="*/ 4664038 w 4716235"/>
              <a:gd name="connsiteY11271" fmla="*/ 1570834 h 4596459"/>
              <a:gd name="connsiteX11272" fmla="*/ 4669322 w 4716235"/>
              <a:gd name="connsiteY11272" fmla="*/ 1576120 h 4596459"/>
              <a:gd name="connsiteX11273" fmla="*/ 4672461 w 4716235"/>
              <a:gd name="connsiteY11273" fmla="*/ 1572981 h 4596459"/>
              <a:gd name="connsiteX11274" fmla="*/ 4678243 w 4716235"/>
              <a:gd name="connsiteY11274" fmla="*/ 1578762 h 4596459"/>
              <a:gd name="connsiteX11275" fmla="*/ 4682207 w 4716235"/>
              <a:gd name="connsiteY11275" fmla="*/ 1574798 h 4596459"/>
              <a:gd name="connsiteX11276" fmla="*/ 4688568 w 4716235"/>
              <a:gd name="connsiteY11276" fmla="*/ 1581159 h 4596459"/>
              <a:gd name="connsiteX11277" fmla="*/ 4693110 w 4716235"/>
              <a:gd name="connsiteY11277" fmla="*/ 1576616 h 4596459"/>
              <a:gd name="connsiteX11278" fmla="*/ 4701205 w 4716235"/>
              <a:gd name="connsiteY11278" fmla="*/ 1584709 h 4596459"/>
              <a:gd name="connsiteX11279" fmla="*/ 4705334 w 4716235"/>
              <a:gd name="connsiteY11279" fmla="*/ 1580580 h 4596459"/>
              <a:gd name="connsiteX11280" fmla="*/ 4713759 w 4716235"/>
              <a:gd name="connsiteY11280" fmla="*/ 1589005 h 4596459"/>
              <a:gd name="connsiteX11281" fmla="*/ 4705334 w 4716235"/>
              <a:gd name="connsiteY11281" fmla="*/ 1597429 h 4596459"/>
              <a:gd name="connsiteX11282" fmla="*/ 4699552 w 4716235"/>
              <a:gd name="connsiteY11282" fmla="*/ 1591647 h 4596459"/>
              <a:gd name="connsiteX11283" fmla="*/ 4693110 w 4716235"/>
              <a:gd name="connsiteY11283" fmla="*/ 1598090 h 4596459"/>
              <a:gd name="connsiteX11284" fmla="*/ 4686751 w 4716235"/>
              <a:gd name="connsiteY11284" fmla="*/ 1591729 h 4596459"/>
              <a:gd name="connsiteX11285" fmla="*/ 4682207 w 4716235"/>
              <a:gd name="connsiteY11285" fmla="*/ 1596273 h 4596459"/>
              <a:gd name="connsiteX11286" fmla="*/ 4676425 w 4716235"/>
              <a:gd name="connsiteY11286" fmla="*/ 1590491 h 4596459"/>
              <a:gd name="connsiteX11287" fmla="*/ 4672461 w 4716235"/>
              <a:gd name="connsiteY11287" fmla="*/ 1594455 h 4596459"/>
              <a:gd name="connsiteX11288" fmla="*/ 4667177 w 4716235"/>
              <a:gd name="connsiteY11288" fmla="*/ 1589169 h 4596459"/>
              <a:gd name="connsiteX11289" fmla="*/ 4664038 w 4716235"/>
              <a:gd name="connsiteY11289" fmla="*/ 1592308 h 4596459"/>
              <a:gd name="connsiteX11290" fmla="*/ 4659165 w 4716235"/>
              <a:gd name="connsiteY11290" fmla="*/ 1587435 h 4596459"/>
              <a:gd name="connsiteX11291" fmla="*/ 4656439 w 4716235"/>
              <a:gd name="connsiteY11291" fmla="*/ 1590161 h 4596459"/>
              <a:gd name="connsiteX11292" fmla="*/ 4651897 w 4716235"/>
              <a:gd name="connsiteY11292" fmla="*/ 1585619 h 4596459"/>
              <a:gd name="connsiteX11293" fmla="*/ 4649831 w 4716235"/>
              <a:gd name="connsiteY11293" fmla="*/ 1587683 h 4596459"/>
              <a:gd name="connsiteX11294" fmla="*/ 4645702 w 4716235"/>
              <a:gd name="connsiteY11294" fmla="*/ 1583554 h 4596459"/>
              <a:gd name="connsiteX11295" fmla="*/ 4644051 w 4716235"/>
              <a:gd name="connsiteY11295" fmla="*/ 1585203 h 4596459"/>
              <a:gd name="connsiteX11296" fmla="*/ 4640170 w 4716235"/>
              <a:gd name="connsiteY11296" fmla="*/ 1581322 h 4596459"/>
              <a:gd name="connsiteX11297" fmla="*/ 4638930 w 4716235"/>
              <a:gd name="connsiteY11297" fmla="*/ 1582562 h 4596459"/>
              <a:gd name="connsiteX11298" fmla="*/ 4635133 w 4716235"/>
              <a:gd name="connsiteY11298" fmla="*/ 1578764 h 4596459"/>
              <a:gd name="connsiteX11299" fmla="*/ 4634141 w 4716235"/>
              <a:gd name="connsiteY11299" fmla="*/ 1579754 h 4596459"/>
              <a:gd name="connsiteX11300" fmla="*/ 4630259 w 4716235"/>
              <a:gd name="connsiteY11300" fmla="*/ 1575873 h 4596459"/>
              <a:gd name="connsiteX11301" fmla="*/ 4629515 w 4716235"/>
              <a:gd name="connsiteY11301" fmla="*/ 1576616 h 4596459"/>
              <a:gd name="connsiteX11302" fmla="*/ 4625799 w 4716235"/>
              <a:gd name="connsiteY11302" fmla="*/ 1572899 h 4596459"/>
              <a:gd name="connsiteX11303" fmla="*/ 4625220 w 4716235"/>
              <a:gd name="connsiteY11303" fmla="*/ 1573477 h 4596459"/>
              <a:gd name="connsiteX11304" fmla="*/ 4621257 w 4716235"/>
              <a:gd name="connsiteY11304" fmla="*/ 1569514 h 4596459"/>
              <a:gd name="connsiteX11305" fmla="*/ 4620595 w 4716235"/>
              <a:gd name="connsiteY11305" fmla="*/ 1570175 h 4596459"/>
              <a:gd name="connsiteX11306" fmla="*/ 4616301 w 4716235"/>
              <a:gd name="connsiteY11306" fmla="*/ 1565881 h 4596459"/>
              <a:gd name="connsiteX11307" fmla="*/ 4615640 w 4716235"/>
              <a:gd name="connsiteY11307" fmla="*/ 1566540 h 4596459"/>
              <a:gd name="connsiteX11308" fmla="*/ 4610932 w 4716235"/>
              <a:gd name="connsiteY11308" fmla="*/ 1561832 h 4596459"/>
              <a:gd name="connsiteX11309" fmla="*/ 4610023 w 4716235"/>
              <a:gd name="connsiteY11309" fmla="*/ 1562740 h 4596459"/>
              <a:gd name="connsiteX11310" fmla="*/ 4604821 w 4716235"/>
              <a:gd name="connsiteY11310" fmla="*/ 1557536 h 4596459"/>
              <a:gd name="connsiteX11311" fmla="*/ 4603581 w 4716235"/>
              <a:gd name="connsiteY11311" fmla="*/ 1558776 h 4596459"/>
              <a:gd name="connsiteX11312" fmla="*/ 4597717 w 4716235"/>
              <a:gd name="connsiteY11312" fmla="*/ 1552913 h 4596459"/>
              <a:gd name="connsiteX11313" fmla="*/ 4595983 w 4716235"/>
              <a:gd name="connsiteY11313" fmla="*/ 1554647 h 4596459"/>
              <a:gd name="connsiteX11314" fmla="*/ 4589128 w 4716235"/>
              <a:gd name="connsiteY11314" fmla="*/ 1547792 h 4596459"/>
              <a:gd name="connsiteX11315" fmla="*/ 4586733 w 4716235"/>
              <a:gd name="connsiteY11315" fmla="*/ 1550187 h 4596459"/>
              <a:gd name="connsiteX11316" fmla="*/ 4578969 w 4716235"/>
              <a:gd name="connsiteY11316" fmla="*/ 1542423 h 4596459"/>
              <a:gd name="connsiteX11317" fmla="*/ 4575830 w 4716235"/>
              <a:gd name="connsiteY11317" fmla="*/ 1545561 h 4596459"/>
              <a:gd name="connsiteX11318" fmla="*/ 4566830 w 4716235"/>
              <a:gd name="connsiteY11318" fmla="*/ 1536559 h 4596459"/>
              <a:gd name="connsiteX11319" fmla="*/ 4562782 w 4716235"/>
              <a:gd name="connsiteY11319" fmla="*/ 1540607 h 4596459"/>
              <a:gd name="connsiteX11320" fmla="*/ 4552459 w 4716235"/>
              <a:gd name="connsiteY11320" fmla="*/ 1530282 h 4596459"/>
              <a:gd name="connsiteX11321" fmla="*/ 4547254 w 4716235"/>
              <a:gd name="connsiteY11321" fmla="*/ 1535486 h 4596459"/>
              <a:gd name="connsiteX11322" fmla="*/ 4536518 w 4716235"/>
              <a:gd name="connsiteY11322" fmla="*/ 1524748 h 4596459"/>
              <a:gd name="connsiteX11323" fmla="*/ 4547254 w 4716235"/>
              <a:gd name="connsiteY11323" fmla="*/ 1514011 h 4596459"/>
              <a:gd name="connsiteX11324" fmla="*/ 4528919 w 4716235"/>
              <a:gd name="connsiteY11324" fmla="*/ 1508726 h 4596459"/>
              <a:gd name="connsiteX11325" fmla="*/ 4539655 w 4716235"/>
              <a:gd name="connsiteY11325" fmla="*/ 1519462 h 4596459"/>
              <a:gd name="connsiteX11326" fmla="*/ 4528919 w 4716235"/>
              <a:gd name="connsiteY11326" fmla="*/ 1530200 h 4596459"/>
              <a:gd name="connsiteX11327" fmla="*/ 4518182 w 4716235"/>
              <a:gd name="connsiteY11327" fmla="*/ 1519462 h 4596459"/>
              <a:gd name="connsiteX11328" fmla="*/ 4528919 w 4716235"/>
              <a:gd name="connsiteY11328" fmla="*/ 1508726 h 4596459"/>
              <a:gd name="connsiteX11329" fmla="*/ 4507115 w 4716235"/>
              <a:gd name="connsiteY11329" fmla="*/ 1502944 h 4596459"/>
              <a:gd name="connsiteX11330" fmla="*/ 4517851 w 4716235"/>
              <a:gd name="connsiteY11330" fmla="*/ 1513680 h 4596459"/>
              <a:gd name="connsiteX11331" fmla="*/ 4507115 w 4716235"/>
              <a:gd name="connsiteY11331" fmla="*/ 1524418 h 4596459"/>
              <a:gd name="connsiteX11332" fmla="*/ 4496379 w 4716235"/>
              <a:gd name="connsiteY11332" fmla="*/ 1513680 h 4596459"/>
              <a:gd name="connsiteX11333" fmla="*/ 4507115 w 4716235"/>
              <a:gd name="connsiteY11333" fmla="*/ 1502944 h 4596459"/>
              <a:gd name="connsiteX11334" fmla="*/ 4481843 w 4716235"/>
              <a:gd name="connsiteY11334" fmla="*/ 1497164 h 4596459"/>
              <a:gd name="connsiteX11335" fmla="*/ 4492579 w 4716235"/>
              <a:gd name="connsiteY11335" fmla="*/ 1507900 h 4596459"/>
              <a:gd name="connsiteX11336" fmla="*/ 4481843 w 4716235"/>
              <a:gd name="connsiteY11336" fmla="*/ 1518636 h 4596459"/>
              <a:gd name="connsiteX11337" fmla="*/ 4471106 w 4716235"/>
              <a:gd name="connsiteY11337" fmla="*/ 1507900 h 4596459"/>
              <a:gd name="connsiteX11338" fmla="*/ 4481843 w 4716235"/>
              <a:gd name="connsiteY11338" fmla="*/ 1497164 h 4596459"/>
              <a:gd name="connsiteX11339" fmla="*/ 4452275 w 4716235"/>
              <a:gd name="connsiteY11339" fmla="*/ 1490886 h 4596459"/>
              <a:gd name="connsiteX11340" fmla="*/ 4463011 w 4716235"/>
              <a:gd name="connsiteY11340" fmla="*/ 1501622 h 4596459"/>
              <a:gd name="connsiteX11341" fmla="*/ 4452275 w 4716235"/>
              <a:gd name="connsiteY11341" fmla="*/ 1512360 h 4596459"/>
              <a:gd name="connsiteX11342" fmla="*/ 4441538 w 4716235"/>
              <a:gd name="connsiteY11342" fmla="*/ 1501622 h 4596459"/>
              <a:gd name="connsiteX11343" fmla="*/ 4452275 w 4716235"/>
              <a:gd name="connsiteY11343" fmla="*/ 1490886 h 4596459"/>
              <a:gd name="connsiteX11344" fmla="*/ 4418248 w 4716235"/>
              <a:gd name="connsiteY11344" fmla="*/ 1484443 h 4596459"/>
              <a:gd name="connsiteX11345" fmla="*/ 4428985 w 4716235"/>
              <a:gd name="connsiteY11345" fmla="*/ 1495180 h 4596459"/>
              <a:gd name="connsiteX11346" fmla="*/ 4418248 w 4716235"/>
              <a:gd name="connsiteY11346" fmla="*/ 1505918 h 4596459"/>
              <a:gd name="connsiteX11347" fmla="*/ 4407512 w 4716235"/>
              <a:gd name="connsiteY11347" fmla="*/ 1495180 h 4596459"/>
              <a:gd name="connsiteX11348" fmla="*/ 4418248 w 4716235"/>
              <a:gd name="connsiteY11348" fmla="*/ 1484443 h 4596459"/>
              <a:gd name="connsiteX11349" fmla="*/ 4379101 w 4716235"/>
              <a:gd name="connsiteY11349" fmla="*/ 1477671 h 4596459"/>
              <a:gd name="connsiteX11350" fmla="*/ 4389837 w 4716235"/>
              <a:gd name="connsiteY11350" fmla="*/ 1488408 h 4596459"/>
              <a:gd name="connsiteX11351" fmla="*/ 4379101 w 4716235"/>
              <a:gd name="connsiteY11351" fmla="*/ 1499146 h 4596459"/>
              <a:gd name="connsiteX11352" fmla="*/ 4368364 w 4716235"/>
              <a:gd name="connsiteY11352" fmla="*/ 1488408 h 4596459"/>
              <a:gd name="connsiteX11353" fmla="*/ 4379101 w 4716235"/>
              <a:gd name="connsiteY11353" fmla="*/ 1477671 h 4596459"/>
              <a:gd name="connsiteX11354" fmla="*/ 4334336 w 4716235"/>
              <a:gd name="connsiteY11354" fmla="*/ 1470568 h 4596459"/>
              <a:gd name="connsiteX11355" fmla="*/ 4345072 w 4716235"/>
              <a:gd name="connsiteY11355" fmla="*/ 1481305 h 4596459"/>
              <a:gd name="connsiteX11356" fmla="*/ 4334336 w 4716235"/>
              <a:gd name="connsiteY11356" fmla="*/ 1492041 h 4596459"/>
              <a:gd name="connsiteX11357" fmla="*/ 4323600 w 4716235"/>
              <a:gd name="connsiteY11357" fmla="*/ 1481305 h 4596459"/>
              <a:gd name="connsiteX11358" fmla="*/ 4334336 w 4716235"/>
              <a:gd name="connsiteY11358" fmla="*/ 1470568 h 4596459"/>
              <a:gd name="connsiteX11359" fmla="*/ 4283460 w 4716235"/>
              <a:gd name="connsiteY11359" fmla="*/ 1463300 h 4596459"/>
              <a:gd name="connsiteX11360" fmla="*/ 4294197 w 4716235"/>
              <a:gd name="connsiteY11360" fmla="*/ 1474037 h 4596459"/>
              <a:gd name="connsiteX11361" fmla="*/ 4283460 w 4716235"/>
              <a:gd name="connsiteY11361" fmla="*/ 1484775 h 4596459"/>
              <a:gd name="connsiteX11362" fmla="*/ 4272724 w 4716235"/>
              <a:gd name="connsiteY11362" fmla="*/ 1474037 h 4596459"/>
              <a:gd name="connsiteX11363" fmla="*/ 4283460 w 4716235"/>
              <a:gd name="connsiteY11363" fmla="*/ 1463300 h 4596459"/>
              <a:gd name="connsiteX11364" fmla="*/ 4225812 w 4716235"/>
              <a:gd name="connsiteY11364" fmla="*/ 1455372 h 4596459"/>
              <a:gd name="connsiteX11365" fmla="*/ 4236549 w 4716235"/>
              <a:gd name="connsiteY11365" fmla="*/ 1466108 h 4596459"/>
              <a:gd name="connsiteX11366" fmla="*/ 4225812 w 4716235"/>
              <a:gd name="connsiteY11366" fmla="*/ 1476844 h 4596459"/>
              <a:gd name="connsiteX11367" fmla="*/ 4215076 w 4716235"/>
              <a:gd name="connsiteY11367" fmla="*/ 1466108 h 4596459"/>
              <a:gd name="connsiteX11368" fmla="*/ 4225812 w 4716235"/>
              <a:gd name="connsiteY11368" fmla="*/ 1455372 h 4596459"/>
              <a:gd name="connsiteX11369" fmla="*/ 4161060 w 4716235"/>
              <a:gd name="connsiteY11369" fmla="*/ 1447443 h 4596459"/>
              <a:gd name="connsiteX11370" fmla="*/ 4171798 w 4716235"/>
              <a:gd name="connsiteY11370" fmla="*/ 1458179 h 4596459"/>
              <a:gd name="connsiteX11371" fmla="*/ 4161060 w 4716235"/>
              <a:gd name="connsiteY11371" fmla="*/ 1468917 h 4596459"/>
              <a:gd name="connsiteX11372" fmla="*/ 4150323 w 4716235"/>
              <a:gd name="connsiteY11372" fmla="*/ 1458179 h 4596459"/>
              <a:gd name="connsiteX11373" fmla="*/ 4161060 w 4716235"/>
              <a:gd name="connsiteY11373" fmla="*/ 1447443 h 4596459"/>
              <a:gd name="connsiteX11374" fmla="*/ 4088382 w 4716235"/>
              <a:gd name="connsiteY11374" fmla="*/ 1439185 h 4596459"/>
              <a:gd name="connsiteX11375" fmla="*/ 4099118 w 4716235"/>
              <a:gd name="connsiteY11375" fmla="*/ 1449921 h 4596459"/>
              <a:gd name="connsiteX11376" fmla="*/ 4088382 w 4716235"/>
              <a:gd name="connsiteY11376" fmla="*/ 1460659 h 4596459"/>
              <a:gd name="connsiteX11377" fmla="*/ 4077645 w 4716235"/>
              <a:gd name="connsiteY11377" fmla="*/ 1449921 h 4596459"/>
              <a:gd name="connsiteX11378" fmla="*/ 4088382 w 4716235"/>
              <a:gd name="connsiteY11378" fmla="*/ 1439185 h 4596459"/>
              <a:gd name="connsiteX11379" fmla="*/ 4007277 w 4716235"/>
              <a:gd name="connsiteY11379" fmla="*/ 1430429 h 4596459"/>
              <a:gd name="connsiteX11380" fmla="*/ 4018015 w 4716235"/>
              <a:gd name="connsiteY11380" fmla="*/ 1441165 h 4596459"/>
              <a:gd name="connsiteX11381" fmla="*/ 4007277 w 4716235"/>
              <a:gd name="connsiteY11381" fmla="*/ 1451903 h 4596459"/>
              <a:gd name="connsiteX11382" fmla="*/ 3996541 w 4716235"/>
              <a:gd name="connsiteY11382" fmla="*/ 1441165 h 4596459"/>
              <a:gd name="connsiteX11383" fmla="*/ 4007277 w 4716235"/>
              <a:gd name="connsiteY11383" fmla="*/ 1430429 h 4596459"/>
              <a:gd name="connsiteX11384" fmla="*/ 3916922 w 4716235"/>
              <a:gd name="connsiteY11384" fmla="*/ 1421345 h 4596459"/>
              <a:gd name="connsiteX11385" fmla="*/ 3927661 w 4716235"/>
              <a:gd name="connsiteY11385" fmla="*/ 1432081 h 4596459"/>
              <a:gd name="connsiteX11386" fmla="*/ 3916922 w 4716235"/>
              <a:gd name="connsiteY11386" fmla="*/ 1442820 h 4596459"/>
              <a:gd name="connsiteX11387" fmla="*/ 3906186 w 4716235"/>
              <a:gd name="connsiteY11387" fmla="*/ 1432081 h 4596459"/>
              <a:gd name="connsiteX11388" fmla="*/ 3916922 w 4716235"/>
              <a:gd name="connsiteY11388" fmla="*/ 1421345 h 4596459"/>
              <a:gd name="connsiteX11389" fmla="*/ 4563112 w 4716235"/>
              <a:gd name="connsiteY11389" fmla="*/ 1418041 h 4596459"/>
              <a:gd name="connsiteX11390" fmla="*/ 4573271 w 4716235"/>
              <a:gd name="connsiteY11390" fmla="*/ 1428200 h 4596459"/>
              <a:gd name="connsiteX11391" fmla="*/ 4575336 w 4716235"/>
              <a:gd name="connsiteY11391" fmla="*/ 1426135 h 4596459"/>
              <a:gd name="connsiteX11392" fmla="*/ 4584255 w 4716235"/>
              <a:gd name="connsiteY11392" fmla="*/ 1435054 h 4596459"/>
              <a:gd name="connsiteX11393" fmla="*/ 4585576 w 4716235"/>
              <a:gd name="connsiteY11393" fmla="*/ 1433732 h 4596459"/>
              <a:gd name="connsiteX11394" fmla="*/ 4593587 w 4716235"/>
              <a:gd name="connsiteY11394" fmla="*/ 1441744 h 4596459"/>
              <a:gd name="connsiteX11395" fmla="*/ 4594331 w 4716235"/>
              <a:gd name="connsiteY11395" fmla="*/ 1441000 h 4596459"/>
              <a:gd name="connsiteX11396" fmla="*/ 4601434 w 4716235"/>
              <a:gd name="connsiteY11396" fmla="*/ 1448104 h 4596459"/>
              <a:gd name="connsiteX11397" fmla="*/ 4601599 w 4716235"/>
              <a:gd name="connsiteY11397" fmla="*/ 1447939 h 4596459"/>
              <a:gd name="connsiteX11398" fmla="*/ 4612335 w 4716235"/>
              <a:gd name="connsiteY11398" fmla="*/ 1458675 h 4596459"/>
              <a:gd name="connsiteX11399" fmla="*/ 4612252 w 4716235"/>
              <a:gd name="connsiteY11399" fmla="*/ 1458758 h 4596459"/>
              <a:gd name="connsiteX11400" fmla="*/ 4618613 w 4716235"/>
              <a:gd name="connsiteY11400" fmla="*/ 1465118 h 4596459"/>
              <a:gd name="connsiteX11401" fmla="*/ 4618200 w 4716235"/>
              <a:gd name="connsiteY11401" fmla="*/ 1465530 h 4596459"/>
              <a:gd name="connsiteX11402" fmla="*/ 4624063 w 4716235"/>
              <a:gd name="connsiteY11402" fmla="*/ 1471394 h 4596459"/>
              <a:gd name="connsiteX11403" fmla="*/ 4623650 w 4716235"/>
              <a:gd name="connsiteY11403" fmla="*/ 1471808 h 4596459"/>
              <a:gd name="connsiteX11404" fmla="*/ 4629020 w 4716235"/>
              <a:gd name="connsiteY11404" fmla="*/ 1477176 h 4596459"/>
              <a:gd name="connsiteX11405" fmla="*/ 4628607 w 4716235"/>
              <a:gd name="connsiteY11405" fmla="*/ 1477588 h 4596459"/>
              <a:gd name="connsiteX11406" fmla="*/ 4633811 w 4716235"/>
              <a:gd name="connsiteY11406" fmla="*/ 1482793 h 4596459"/>
              <a:gd name="connsiteX11407" fmla="*/ 4633482 w 4716235"/>
              <a:gd name="connsiteY11407" fmla="*/ 1483122 h 4596459"/>
              <a:gd name="connsiteX11408" fmla="*/ 4637527 w 4716235"/>
              <a:gd name="connsiteY11408" fmla="*/ 1487168 h 4596459"/>
              <a:gd name="connsiteX11409" fmla="*/ 4637774 w 4716235"/>
              <a:gd name="connsiteY11409" fmla="*/ 1486922 h 4596459"/>
              <a:gd name="connsiteX11410" fmla="*/ 4642812 w 4716235"/>
              <a:gd name="connsiteY11410" fmla="*/ 1491961 h 4596459"/>
              <a:gd name="connsiteX11411" fmla="*/ 4643555 w 4716235"/>
              <a:gd name="connsiteY11411" fmla="*/ 1491217 h 4596459"/>
              <a:gd name="connsiteX11412" fmla="*/ 4648758 w 4716235"/>
              <a:gd name="connsiteY11412" fmla="*/ 1496420 h 4596459"/>
              <a:gd name="connsiteX11413" fmla="*/ 4649831 w 4716235"/>
              <a:gd name="connsiteY11413" fmla="*/ 1495346 h 4596459"/>
              <a:gd name="connsiteX11414" fmla="*/ 4655449 w 4716235"/>
              <a:gd name="connsiteY11414" fmla="*/ 1500962 h 4596459"/>
              <a:gd name="connsiteX11415" fmla="*/ 4657099 w 4716235"/>
              <a:gd name="connsiteY11415" fmla="*/ 1499311 h 4596459"/>
              <a:gd name="connsiteX11416" fmla="*/ 4663046 w 4716235"/>
              <a:gd name="connsiteY11416" fmla="*/ 1505257 h 4596459"/>
              <a:gd name="connsiteX11417" fmla="*/ 4665359 w 4716235"/>
              <a:gd name="connsiteY11417" fmla="*/ 1502944 h 4596459"/>
              <a:gd name="connsiteX11418" fmla="*/ 4671637 w 4716235"/>
              <a:gd name="connsiteY11418" fmla="*/ 1509220 h 4596459"/>
              <a:gd name="connsiteX11419" fmla="*/ 4674610 w 4716235"/>
              <a:gd name="connsiteY11419" fmla="*/ 1506247 h 4596459"/>
              <a:gd name="connsiteX11420" fmla="*/ 4681465 w 4716235"/>
              <a:gd name="connsiteY11420" fmla="*/ 1513101 h 4596459"/>
              <a:gd name="connsiteX11421" fmla="*/ 4685015 w 4716235"/>
              <a:gd name="connsiteY11421" fmla="*/ 1509551 h 4596459"/>
              <a:gd name="connsiteX11422" fmla="*/ 4692366 w 4716235"/>
              <a:gd name="connsiteY11422" fmla="*/ 1516902 h 4596459"/>
              <a:gd name="connsiteX11423" fmla="*/ 4696743 w 4716235"/>
              <a:gd name="connsiteY11423" fmla="*/ 1512525 h 4596459"/>
              <a:gd name="connsiteX11424" fmla="*/ 4707481 w 4716235"/>
              <a:gd name="connsiteY11424" fmla="*/ 1523262 h 4596459"/>
              <a:gd name="connsiteX11425" fmla="*/ 4696743 w 4716235"/>
              <a:gd name="connsiteY11425" fmla="*/ 1534000 h 4596459"/>
              <a:gd name="connsiteX11426" fmla="*/ 4689392 w 4716235"/>
              <a:gd name="connsiteY11426" fmla="*/ 1526648 h 4596459"/>
              <a:gd name="connsiteX11427" fmla="*/ 4685015 w 4716235"/>
              <a:gd name="connsiteY11427" fmla="*/ 1531024 h 4596459"/>
              <a:gd name="connsiteX11428" fmla="*/ 4678161 w 4716235"/>
              <a:gd name="connsiteY11428" fmla="*/ 1524170 h 4596459"/>
              <a:gd name="connsiteX11429" fmla="*/ 4674610 w 4716235"/>
              <a:gd name="connsiteY11429" fmla="*/ 1527722 h 4596459"/>
              <a:gd name="connsiteX11430" fmla="*/ 4668334 w 4716235"/>
              <a:gd name="connsiteY11430" fmla="*/ 1521444 h 4596459"/>
              <a:gd name="connsiteX11431" fmla="*/ 4665359 w 4716235"/>
              <a:gd name="connsiteY11431" fmla="*/ 1524418 h 4596459"/>
              <a:gd name="connsiteX11432" fmla="*/ 4659413 w 4716235"/>
              <a:gd name="connsiteY11432" fmla="*/ 1518472 h 4596459"/>
              <a:gd name="connsiteX11433" fmla="*/ 4657099 w 4716235"/>
              <a:gd name="connsiteY11433" fmla="*/ 1520785 h 4596459"/>
              <a:gd name="connsiteX11434" fmla="*/ 4651482 w 4716235"/>
              <a:gd name="connsiteY11434" fmla="*/ 1515168 h 4596459"/>
              <a:gd name="connsiteX11435" fmla="*/ 4649831 w 4716235"/>
              <a:gd name="connsiteY11435" fmla="*/ 1516819 h 4596459"/>
              <a:gd name="connsiteX11436" fmla="*/ 4644629 w 4716235"/>
              <a:gd name="connsiteY11436" fmla="*/ 1511616 h 4596459"/>
              <a:gd name="connsiteX11437" fmla="*/ 4643555 w 4716235"/>
              <a:gd name="connsiteY11437" fmla="*/ 1512690 h 4596459"/>
              <a:gd name="connsiteX11438" fmla="*/ 4638518 w 4716235"/>
              <a:gd name="connsiteY11438" fmla="*/ 1507652 h 4596459"/>
              <a:gd name="connsiteX11439" fmla="*/ 4637774 w 4716235"/>
              <a:gd name="connsiteY11439" fmla="*/ 1508396 h 4596459"/>
              <a:gd name="connsiteX11440" fmla="*/ 4632901 w 4716235"/>
              <a:gd name="connsiteY11440" fmla="*/ 1503523 h 4596459"/>
              <a:gd name="connsiteX11441" fmla="*/ 4632653 w 4716235"/>
              <a:gd name="connsiteY11441" fmla="*/ 1503771 h 4596459"/>
              <a:gd name="connsiteX11442" fmla="*/ 4621916 w 4716235"/>
              <a:gd name="connsiteY11442" fmla="*/ 1493033 h 4596459"/>
              <a:gd name="connsiteX11443" fmla="*/ 4616962 w 4716235"/>
              <a:gd name="connsiteY11443" fmla="*/ 1488077 h 4596459"/>
              <a:gd name="connsiteX11444" fmla="*/ 4617291 w 4716235"/>
              <a:gd name="connsiteY11444" fmla="*/ 1487747 h 4596459"/>
              <a:gd name="connsiteX11445" fmla="*/ 4612337 w 4716235"/>
              <a:gd name="connsiteY11445" fmla="*/ 1482793 h 4596459"/>
              <a:gd name="connsiteX11446" fmla="*/ 4612749 w 4716235"/>
              <a:gd name="connsiteY11446" fmla="*/ 1482380 h 4596459"/>
              <a:gd name="connsiteX11447" fmla="*/ 4607545 w 4716235"/>
              <a:gd name="connsiteY11447" fmla="*/ 1477176 h 4596459"/>
              <a:gd name="connsiteX11448" fmla="*/ 4607958 w 4716235"/>
              <a:gd name="connsiteY11448" fmla="*/ 1476763 h 4596459"/>
              <a:gd name="connsiteX11449" fmla="*/ 4602591 w 4716235"/>
              <a:gd name="connsiteY11449" fmla="*/ 1471394 h 4596459"/>
              <a:gd name="connsiteX11450" fmla="*/ 4603003 w 4716235"/>
              <a:gd name="connsiteY11450" fmla="*/ 1470983 h 4596459"/>
              <a:gd name="connsiteX11451" fmla="*/ 4597140 w 4716235"/>
              <a:gd name="connsiteY11451" fmla="*/ 1465118 h 4596459"/>
              <a:gd name="connsiteX11452" fmla="*/ 4597221 w 4716235"/>
              <a:gd name="connsiteY11452" fmla="*/ 1465036 h 4596459"/>
              <a:gd name="connsiteX11453" fmla="*/ 4594495 w 4716235"/>
              <a:gd name="connsiteY11453" fmla="*/ 1462310 h 4596459"/>
              <a:gd name="connsiteX11454" fmla="*/ 4594331 w 4716235"/>
              <a:gd name="connsiteY11454" fmla="*/ 1462475 h 4596459"/>
              <a:gd name="connsiteX11455" fmla="*/ 4586320 w 4716235"/>
              <a:gd name="connsiteY11455" fmla="*/ 1454463 h 4596459"/>
              <a:gd name="connsiteX11456" fmla="*/ 4585576 w 4716235"/>
              <a:gd name="connsiteY11456" fmla="*/ 1455207 h 4596459"/>
              <a:gd name="connsiteX11457" fmla="*/ 4576657 w 4716235"/>
              <a:gd name="connsiteY11457" fmla="*/ 1446288 h 4596459"/>
              <a:gd name="connsiteX11458" fmla="*/ 4575336 w 4716235"/>
              <a:gd name="connsiteY11458" fmla="*/ 1447609 h 4596459"/>
              <a:gd name="connsiteX11459" fmla="*/ 4565177 w 4716235"/>
              <a:gd name="connsiteY11459" fmla="*/ 1437450 h 4596459"/>
              <a:gd name="connsiteX11460" fmla="*/ 4563112 w 4716235"/>
              <a:gd name="connsiteY11460" fmla="*/ 1439516 h 4596459"/>
              <a:gd name="connsiteX11461" fmla="*/ 4552375 w 4716235"/>
              <a:gd name="connsiteY11461" fmla="*/ 1428778 h 4596459"/>
              <a:gd name="connsiteX11462" fmla="*/ 4563112 w 4716235"/>
              <a:gd name="connsiteY11462" fmla="*/ 1418041 h 4596459"/>
              <a:gd name="connsiteX11463" fmla="*/ 3816657 w 4716235"/>
              <a:gd name="connsiteY11463" fmla="*/ 1411930 h 4596459"/>
              <a:gd name="connsiteX11464" fmla="*/ 3827395 w 4716235"/>
              <a:gd name="connsiteY11464" fmla="*/ 1422667 h 4596459"/>
              <a:gd name="connsiteX11465" fmla="*/ 3816657 w 4716235"/>
              <a:gd name="connsiteY11465" fmla="*/ 1433405 h 4596459"/>
              <a:gd name="connsiteX11466" fmla="*/ 3805921 w 4716235"/>
              <a:gd name="connsiteY11466" fmla="*/ 1422667 h 4596459"/>
              <a:gd name="connsiteX11467" fmla="*/ 3816657 w 4716235"/>
              <a:gd name="connsiteY11467" fmla="*/ 1411930 h 4596459"/>
              <a:gd name="connsiteX11468" fmla="*/ 4548411 w 4716235"/>
              <a:gd name="connsiteY11468" fmla="*/ 1409617 h 4596459"/>
              <a:gd name="connsiteX11469" fmla="*/ 4559147 w 4716235"/>
              <a:gd name="connsiteY11469" fmla="*/ 1420353 h 4596459"/>
              <a:gd name="connsiteX11470" fmla="*/ 4548411 w 4716235"/>
              <a:gd name="connsiteY11470" fmla="*/ 1431091 h 4596459"/>
              <a:gd name="connsiteX11471" fmla="*/ 4537675 w 4716235"/>
              <a:gd name="connsiteY11471" fmla="*/ 1420353 h 4596459"/>
              <a:gd name="connsiteX11472" fmla="*/ 4548411 w 4716235"/>
              <a:gd name="connsiteY11472" fmla="*/ 1409617 h 4596459"/>
              <a:gd name="connsiteX11473" fmla="*/ 3705986 w 4716235"/>
              <a:gd name="connsiteY11473" fmla="*/ 1402184 h 4596459"/>
              <a:gd name="connsiteX11474" fmla="*/ 3716723 w 4716235"/>
              <a:gd name="connsiteY11474" fmla="*/ 1412920 h 4596459"/>
              <a:gd name="connsiteX11475" fmla="*/ 3705986 w 4716235"/>
              <a:gd name="connsiteY11475" fmla="*/ 1423657 h 4596459"/>
              <a:gd name="connsiteX11476" fmla="*/ 3695250 w 4716235"/>
              <a:gd name="connsiteY11476" fmla="*/ 1412920 h 4596459"/>
              <a:gd name="connsiteX11477" fmla="*/ 3705986 w 4716235"/>
              <a:gd name="connsiteY11477" fmla="*/ 1402184 h 4596459"/>
              <a:gd name="connsiteX11478" fmla="*/ 4531232 w 4716235"/>
              <a:gd name="connsiteY11478" fmla="*/ 1400696 h 4596459"/>
              <a:gd name="connsiteX11479" fmla="*/ 4541969 w 4716235"/>
              <a:gd name="connsiteY11479" fmla="*/ 1411432 h 4596459"/>
              <a:gd name="connsiteX11480" fmla="*/ 4531232 w 4716235"/>
              <a:gd name="connsiteY11480" fmla="*/ 1422171 h 4596459"/>
              <a:gd name="connsiteX11481" fmla="*/ 4520496 w 4716235"/>
              <a:gd name="connsiteY11481" fmla="*/ 1411432 h 4596459"/>
              <a:gd name="connsiteX11482" fmla="*/ 4531232 w 4716235"/>
              <a:gd name="connsiteY11482" fmla="*/ 1400696 h 4596459"/>
              <a:gd name="connsiteX11483" fmla="*/ 4702360 w 4716235"/>
              <a:gd name="connsiteY11483" fmla="*/ 1398220 h 4596459"/>
              <a:gd name="connsiteX11484" fmla="*/ 4702854 w 4716235"/>
              <a:gd name="connsiteY11484" fmla="*/ 1398716 h 4596459"/>
              <a:gd name="connsiteX11485" fmla="*/ 4702360 w 4716235"/>
              <a:gd name="connsiteY11485" fmla="*/ 1399210 h 4596459"/>
              <a:gd name="connsiteX11486" fmla="*/ 4701864 w 4716235"/>
              <a:gd name="connsiteY11486" fmla="*/ 1398716 h 4596459"/>
              <a:gd name="connsiteX11487" fmla="*/ 4702360 w 4716235"/>
              <a:gd name="connsiteY11487" fmla="*/ 1398220 h 4596459"/>
              <a:gd name="connsiteX11488" fmla="*/ 3584082 w 4716235"/>
              <a:gd name="connsiteY11488" fmla="*/ 1392108 h 4596459"/>
              <a:gd name="connsiteX11489" fmla="*/ 3594818 w 4716235"/>
              <a:gd name="connsiteY11489" fmla="*/ 1402845 h 4596459"/>
              <a:gd name="connsiteX11490" fmla="*/ 3584082 w 4716235"/>
              <a:gd name="connsiteY11490" fmla="*/ 1413581 h 4596459"/>
              <a:gd name="connsiteX11491" fmla="*/ 3573345 w 4716235"/>
              <a:gd name="connsiteY11491" fmla="*/ 1402845 h 4596459"/>
              <a:gd name="connsiteX11492" fmla="*/ 3584082 w 4716235"/>
              <a:gd name="connsiteY11492" fmla="*/ 1392108 h 4596459"/>
              <a:gd name="connsiteX11493" fmla="*/ 4510914 w 4716235"/>
              <a:gd name="connsiteY11493" fmla="*/ 1391446 h 4596459"/>
              <a:gd name="connsiteX11494" fmla="*/ 4521653 w 4716235"/>
              <a:gd name="connsiteY11494" fmla="*/ 1402182 h 4596459"/>
              <a:gd name="connsiteX11495" fmla="*/ 4510914 w 4716235"/>
              <a:gd name="connsiteY11495" fmla="*/ 1412920 h 4596459"/>
              <a:gd name="connsiteX11496" fmla="*/ 4500178 w 4716235"/>
              <a:gd name="connsiteY11496" fmla="*/ 1402182 h 4596459"/>
              <a:gd name="connsiteX11497" fmla="*/ 4510914 w 4716235"/>
              <a:gd name="connsiteY11497" fmla="*/ 1391446 h 4596459"/>
              <a:gd name="connsiteX11498" fmla="*/ 46724 w 4716235"/>
              <a:gd name="connsiteY11498" fmla="*/ 1386491 h 4596459"/>
              <a:gd name="connsiteX11499" fmla="*/ 57462 w 4716235"/>
              <a:gd name="connsiteY11499" fmla="*/ 1397228 h 4596459"/>
              <a:gd name="connsiteX11500" fmla="*/ 46724 w 4716235"/>
              <a:gd name="connsiteY11500" fmla="*/ 1407966 h 4596459"/>
              <a:gd name="connsiteX11501" fmla="*/ 35987 w 4716235"/>
              <a:gd name="connsiteY11501" fmla="*/ 1397228 h 4596459"/>
              <a:gd name="connsiteX11502" fmla="*/ 46724 w 4716235"/>
              <a:gd name="connsiteY11502" fmla="*/ 1386491 h 4596459"/>
              <a:gd name="connsiteX11503" fmla="*/ 4487128 w 4716235"/>
              <a:gd name="connsiteY11503" fmla="*/ 1381702 h 4596459"/>
              <a:gd name="connsiteX11504" fmla="*/ 4497865 w 4716235"/>
              <a:gd name="connsiteY11504" fmla="*/ 1392438 h 4596459"/>
              <a:gd name="connsiteX11505" fmla="*/ 4487128 w 4716235"/>
              <a:gd name="connsiteY11505" fmla="*/ 1403176 h 4596459"/>
              <a:gd name="connsiteX11506" fmla="*/ 4476392 w 4716235"/>
              <a:gd name="connsiteY11506" fmla="*/ 1392438 h 4596459"/>
              <a:gd name="connsiteX11507" fmla="*/ 4487128 w 4716235"/>
              <a:gd name="connsiteY11507" fmla="*/ 1381702 h 4596459"/>
              <a:gd name="connsiteX11508" fmla="*/ 3449955 w 4716235"/>
              <a:gd name="connsiteY11508" fmla="*/ 1381537 h 4596459"/>
              <a:gd name="connsiteX11509" fmla="*/ 3460691 w 4716235"/>
              <a:gd name="connsiteY11509" fmla="*/ 1392273 h 4596459"/>
              <a:gd name="connsiteX11510" fmla="*/ 3449955 w 4716235"/>
              <a:gd name="connsiteY11510" fmla="*/ 1403010 h 4596459"/>
              <a:gd name="connsiteX11511" fmla="*/ 3439218 w 4716235"/>
              <a:gd name="connsiteY11511" fmla="*/ 1392273 h 4596459"/>
              <a:gd name="connsiteX11512" fmla="*/ 3449955 w 4716235"/>
              <a:gd name="connsiteY11512" fmla="*/ 1381537 h 4596459"/>
              <a:gd name="connsiteX11513" fmla="*/ 187458 w 4716235"/>
              <a:gd name="connsiteY11513" fmla="*/ 1375755 h 4596459"/>
              <a:gd name="connsiteX11514" fmla="*/ 198196 w 4716235"/>
              <a:gd name="connsiteY11514" fmla="*/ 1386491 h 4596459"/>
              <a:gd name="connsiteX11515" fmla="*/ 187458 w 4716235"/>
              <a:gd name="connsiteY11515" fmla="*/ 1397230 h 4596459"/>
              <a:gd name="connsiteX11516" fmla="*/ 176722 w 4716235"/>
              <a:gd name="connsiteY11516" fmla="*/ 1386491 h 4596459"/>
              <a:gd name="connsiteX11517" fmla="*/ 187458 w 4716235"/>
              <a:gd name="connsiteY11517" fmla="*/ 1375755 h 4596459"/>
              <a:gd name="connsiteX11518" fmla="*/ 4459378 w 4716235"/>
              <a:gd name="connsiteY11518" fmla="*/ 1371459 h 4596459"/>
              <a:gd name="connsiteX11519" fmla="*/ 4470116 w 4716235"/>
              <a:gd name="connsiteY11519" fmla="*/ 1382196 h 4596459"/>
              <a:gd name="connsiteX11520" fmla="*/ 4459378 w 4716235"/>
              <a:gd name="connsiteY11520" fmla="*/ 1392932 h 4596459"/>
              <a:gd name="connsiteX11521" fmla="*/ 4448642 w 4716235"/>
              <a:gd name="connsiteY11521" fmla="*/ 1382196 h 4596459"/>
              <a:gd name="connsiteX11522" fmla="*/ 4459378 w 4716235"/>
              <a:gd name="connsiteY11522" fmla="*/ 1371459 h 4596459"/>
              <a:gd name="connsiteX11523" fmla="*/ 3303109 w 4716235"/>
              <a:gd name="connsiteY11523" fmla="*/ 1370634 h 4596459"/>
              <a:gd name="connsiteX11524" fmla="*/ 3313847 w 4716235"/>
              <a:gd name="connsiteY11524" fmla="*/ 1381370 h 4596459"/>
              <a:gd name="connsiteX11525" fmla="*/ 3303109 w 4716235"/>
              <a:gd name="connsiteY11525" fmla="*/ 1392108 h 4596459"/>
              <a:gd name="connsiteX11526" fmla="*/ 3292372 w 4716235"/>
              <a:gd name="connsiteY11526" fmla="*/ 1381370 h 4596459"/>
              <a:gd name="connsiteX11527" fmla="*/ 3303109 w 4716235"/>
              <a:gd name="connsiteY11527" fmla="*/ 1370634 h 4596459"/>
              <a:gd name="connsiteX11528" fmla="*/ 341573 w 4716235"/>
              <a:gd name="connsiteY11528" fmla="*/ 1364687 h 4596459"/>
              <a:gd name="connsiteX11529" fmla="*/ 352312 w 4716235"/>
              <a:gd name="connsiteY11529" fmla="*/ 1375424 h 4596459"/>
              <a:gd name="connsiteX11530" fmla="*/ 341573 w 4716235"/>
              <a:gd name="connsiteY11530" fmla="*/ 1386162 h 4596459"/>
              <a:gd name="connsiteX11531" fmla="*/ 330837 w 4716235"/>
              <a:gd name="connsiteY11531" fmla="*/ 1375424 h 4596459"/>
              <a:gd name="connsiteX11532" fmla="*/ 341573 w 4716235"/>
              <a:gd name="connsiteY11532" fmla="*/ 1364687 h 4596459"/>
              <a:gd name="connsiteX11533" fmla="*/ 4427167 w 4716235"/>
              <a:gd name="connsiteY11533" fmla="*/ 1360888 h 4596459"/>
              <a:gd name="connsiteX11534" fmla="*/ 4437903 w 4716235"/>
              <a:gd name="connsiteY11534" fmla="*/ 1371624 h 4596459"/>
              <a:gd name="connsiteX11535" fmla="*/ 4427167 w 4716235"/>
              <a:gd name="connsiteY11535" fmla="*/ 1382361 h 4596459"/>
              <a:gd name="connsiteX11536" fmla="*/ 4416431 w 4716235"/>
              <a:gd name="connsiteY11536" fmla="*/ 1371624 h 4596459"/>
              <a:gd name="connsiteX11537" fmla="*/ 4427167 w 4716235"/>
              <a:gd name="connsiteY11537" fmla="*/ 1360888 h 4596459"/>
              <a:gd name="connsiteX11538" fmla="*/ 3142717 w 4716235"/>
              <a:gd name="connsiteY11538" fmla="*/ 1359402 h 4596459"/>
              <a:gd name="connsiteX11539" fmla="*/ 3153454 w 4716235"/>
              <a:gd name="connsiteY11539" fmla="*/ 1370138 h 4596459"/>
              <a:gd name="connsiteX11540" fmla="*/ 3142717 w 4716235"/>
              <a:gd name="connsiteY11540" fmla="*/ 1380876 h 4596459"/>
              <a:gd name="connsiteX11541" fmla="*/ 3131981 w 4716235"/>
              <a:gd name="connsiteY11541" fmla="*/ 1370138 h 4596459"/>
              <a:gd name="connsiteX11542" fmla="*/ 3142717 w 4716235"/>
              <a:gd name="connsiteY11542" fmla="*/ 1359402 h 4596459"/>
              <a:gd name="connsiteX11543" fmla="*/ 509562 w 4716235"/>
              <a:gd name="connsiteY11543" fmla="*/ 1353290 h 4596459"/>
              <a:gd name="connsiteX11544" fmla="*/ 520300 w 4716235"/>
              <a:gd name="connsiteY11544" fmla="*/ 1364027 h 4596459"/>
              <a:gd name="connsiteX11545" fmla="*/ 509562 w 4716235"/>
              <a:gd name="connsiteY11545" fmla="*/ 1374765 h 4596459"/>
              <a:gd name="connsiteX11546" fmla="*/ 498826 w 4716235"/>
              <a:gd name="connsiteY11546" fmla="*/ 1364027 h 4596459"/>
              <a:gd name="connsiteX11547" fmla="*/ 509562 w 4716235"/>
              <a:gd name="connsiteY11547" fmla="*/ 1353290 h 4596459"/>
              <a:gd name="connsiteX11548" fmla="*/ 4390166 w 4716235"/>
              <a:gd name="connsiteY11548" fmla="*/ 1349656 h 4596459"/>
              <a:gd name="connsiteX11549" fmla="*/ 4400905 w 4716235"/>
              <a:gd name="connsiteY11549" fmla="*/ 1360392 h 4596459"/>
              <a:gd name="connsiteX11550" fmla="*/ 4390166 w 4716235"/>
              <a:gd name="connsiteY11550" fmla="*/ 1371130 h 4596459"/>
              <a:gd name="connsiteX11551" fmla="*/ 4379430 w 4716235"/>
              <a:gd name="connsiteY11551" fmla="*/ 1360392 h 4596459"/>
              <a:gd name="connsiteX11552" fmla="*/ 4390166 w 4716235"/>
              <a:gd name="connsiteY11552" fmla="*/ 1349656 h 4596459"/>
              <a:gd name="connsiteX11553" fmla="*/ 2967791 w 4716235"/>
              <a:gd name="connsiteY11553" fmla="*/ 1347838 h 4596459"/>
              <a:gd name="connsiteX11554" fmla="*/ 2978530 w 4716235"/>
              <a:gd name="connsiteY11554" fmla="*/ 1358574 h 4596459"/>
              <a:gd name="connsiteX11555" fmla="*/ 2967791 w 4716235"/>
              <a:gd name="connsiteY11555" fmla="*/ 1369313 h 4596459"/>
              <a:gd name="connsiteX11556" fmla="*/ 2957055 w 4716235"/>
              <a:gd name="connsiteY11556" fmla="*/ 1358574 h 4596459"/>
              <a:gd name="connsiteX11557" fmla="*/ 2967791 w 4716235"/>
              <a:gd name="connsiteY11557" fmla="*/ 1347838 h 4596459"/>
              <a:gd name="connsiteX11558" fmla="*/ 692748 w 4716235"/>
              <a:gd name="connsiteY11558" fmla="*/ 1341562 h 4596459"/>
              <a:gd name="connsiteX11559" fmla="*/ 703486 w 4716235"/>
              <a:gd name="connsiteY11559" fmla="*/ 1352298 h 4596459"/>
              <a:gd name="connsiteX11560" fmla="*/ 692748 w 4716235"/>
              <a:gd name="connsiteY11560" fmla="*/ 1363037 h 4596459"/>
              <a:gd name="connsiteX11561" fmla="*/ 682012 w 4716235"/>
              <a:gd name="connsiteY11561" fmla="*/ 1352298 h 4596459"/>
              <a:gd name="connsiteX11562" fmla="*/ 692748 w 4716235"/>
              <a:gd name="connsiteY11562" fmla="*/ 1341562 h 4596459"/>
              <a:gd name="connsiteX11563" fmla="*/ 4347880 w 4716235"/>
              <a:gd name="connsiteY11563" fmla="*/ 1338094 h 4596459"/>
              <a:gd name="connsiteX11564" fmla="*/ 4358618 w 4716235"/>
              <a:gd name="connsiteY11564" fmla="*/ 1348830 h 4596459"/>
              <a:gd name="connsiteX11565" fmla="*/ 4347880 w 4716235"/>
              <a:gd name="connsiteY11565" fmla="*/ 1359568 h 4596459"/>
              <a:gd name="connsiteX11566" fmla="*/ 4337144 w 4716235"/>
              <a:gd name="connsiteY11566" fmla="*/ 1348830 h 4596459"/>
              <a:gd name="connsiteX11567" fmla="*/ 4347880 w 4716235"/>
              <a:gd name="connsiteY11567" fmla="*/ 1338094 h 4596459"/>
              <a:gd name="connsiteX11568" fmla="*/ 2777501 w 4716235"/>
              <a:gd name="connsiteY11568" fmla="*/ 1336112 h 4596459"/>
              <a:gd name="connsiteX11569" fmla="*/ 2788239 w 4716235"/>
              <a:gd name="connsiteY11569" fmla="*/ 1346848 h 4596459"/>
              <a:gd name="connsiteX11570" fmla="*/ 2777501 w 4716235"/>
              <a:gd name="connsiteY11570" fmla="*/ 1357584 h 4596459"/>
              <a:gd name="connsiteX11571" fmla="*/ 2766765 w 4716235"/>
              <a:gd name="connsiteY11571" fmla="*/ 1346848 h 4596459"/>
              <a:gd name="connsiteX11572" fmla="*/ 2777501 w 4716235"/>
              <a:gd name="connsiteY11572" fmla="*/ 1336112 h 4596459"/>
              <a:gd name="connsiteX11573" fmla="*/ 4571536 w 4716235"/>
              <a:gd name="connsiteY11573" fmla="*/ 1331982 h 4596459"/>
              <a:gd name="connsiteX11574" fmla="*/ 4582273 w 4716235"/>
              <a:gd name="connsiteY11574" fmla="*/ 1342719 h 4596459"/>
              <a:gd name="connsiteX11575" fmla="*/ 4582025 w 4716235"/>
              <a:gd name="connsiteY11575" fmla="*/ 1342967 h 4596459"/>
              <a:gd name="connsiteX11576" fmla="*/ 4592184 w 4716235"/>
              <a:gd name="connsiteY11576" fmla="*/ 1353124 h 4596459"/>
              <a:gd name="connsiteX11577" fmla="*/ 4591358 w 4716235"/>
              <a:gd name="connsiteY11577" fmla="*/ 1353951 h 4596459"/>
              <a:gd name="connsiteX11578" fmla="*/ 4600442 w 4716235"/>
              <a:gd name="connsiteY11578" fmla="*/ 1363035 h 4596459"/>
              <a:gd name="connsiteX11579" fmla="*/ 4599368 w 4716235"/>
              <a:gd name="connsiteY11579" fmla="*/ 1364108 h 4596459"/>
              <a:gd name="connsiteX11580" fmla="*/ 4607710 w 4716235"/>
              <a:gd name="connsiteY11580" fmla="*/ 1372450 h 4596459"/>
              <a:gd name="connsiteX11581" fmla="*/ 4606388 w 4716235"/>
              <a:gd name="connsiteY11581" fmla="*/ 1373771 h 4596459"/>
              <a:gd name="connsiteX11582" fmla="*/ 4613988 w 4716235"/>
              <a:gd name="connsiteY11582" fmla="*/ 1381370 h 4596459"/>
              <a:gd name="connsiteX11583" fmla="*/ 4612583 w 4716235"/>
              <a:gd name="connsiteY11583" fmla="*/ 1382775 h 4596459"/>
              <a:gd name="connsiteX11584" fmla="*/ 4619603 w 4716235"/>
              <a:gd name="connsiteY11584" fmla="*/ 1389795 h 4596459"/>
              <a:gd name="connsiteX11585" fmla="*/ 4618281 w 4716235"/>
              <a:gd name="connsiteY11585" fmla="*/ 1391116 h 4596459"/>
              <a:gd name="connsiteX11586" fmla="*/ 4624890 w 4716235"/>
              <a:gd name="connsiteY11586" fmla="*/ 1397724 h 4596459"/>
              <a:gd name="connsiteX11587" fmla="*/ 4623569 w 4716235"/>
              <a:gd name="connsiteY11587" fmla="*/ 1399045 h 4596459"/>
              <a:gd name="connsiteX11588" fmla="*/ 4629845 w 4716235"/>
              <a:gd name="connsiteY11588" fmla="*/ 1405321 h 4596459"/>
              <a:gd name="connsiteX11589" fmla="*/ 4628855 w 4716235"/>
              <a:gd name="connsiteY11589" fmla="*/ 1406313 h 4596459"/>
              <a:gd name="connsiteX11590" fmla="*/ 4634966 w 4716235"/>
              <a:gd name="connsiteY11590" fmla="*/ 1412424 h 4596459"/>
              <a:gd name="connsiteX11591" fmla="*/ 4634222 w 4716235"/>
              <a:gd name="connsiteY11591" fmla="*/ 1413168 h 4596459"/>
              <a:gd name="connsiteX11592" fmla="*/ 4640252 w 4716235"/>
              <a:gd name="connsiteY11592" fmla="*/ 1419196 h 4596459"/>
              <a:gd name="connsiteX11593" fmla="*/ 4639921 w 4716235"/>
              <a:gd name="connsiteY11593" fmla="*/ 1419528 h 4596459"/>
              <a:gd name="connsiteX11594" fmla="*/ 4641409 w 4716235"/>
              <a:gd name="connsiteY11594" fmla="*/ 1421016 h 4596459"/>
              <a:gd name="connsiteX11595" fmla="*/ 4641573 w 4716235"/>
              <a:gd name="connsiteY11595" fmla="*/ 1420849 h 4596459"/>
              <a:gd name="connsiteX11596" fmla="*/ 4647934 w 4716235"/>
              <a:gd name="connsiteY11596" fmla="*/ 1427208 h 4596459"/>
              <a:gd name="connsiteX11597" fmla="*/ 4648677 w 4716235"/>
              <a:gd name="connsiteY11597" fmla="*/ 1426466 h 4596459"/>
              <a:gd name="connsiteX11598" fmla="*/ 4655365 w 4716235"/>
              <a:gd name="connsiteY11598" fmla="*/ 1433155 h 4596459"/>
              <a:gd name="connsiteX11599" fmla="*/ 4656770 w 4716235"/>
              <a:gd name="connsiteY11599" fmla="*/ 1431750 h 4596459"/>
              <a:gd name="connsiteX11600" fmla="*/ 4663625 w 4716235"/>
              <a:gd name="connsiteY11600" fmla="*/ 1438605 h 4596459"/>
              <a:gd name="connsiteX11601" fmla="*/ 4665689 w 4716235"/>
              <a:gd name="connsiteY11601" fmla="*/ 1436542 h 4596459"/>
              <a:gd name="connsiteX11602" fmla="*/ 4673040 w 4716235"/>
              <a:gd name="connsiteY11602" fmla="*/ 1443893 h 4596459"/>
              <a:gd name="connsiteX11603" fmla="*/ 4675765 w 4716235"/>
              <a:gd name="connsiteY11603" fmla="*/ 1441167 h 4596459"/>
              <a:gd name="connsiteX11604" fmla="*/ 4683612 w 4716235"/>
              <a:gd name="connsiteY11604" fmla="*/ 1449014 h 4596459"/>
              <a:gd name="connsiteX11605" fmla="*/ 4687163 w 4716235"/>
              <a:gd name="connsiteY11605" fmla="*/ 1445461 h 4596459"/>
              <a:gd name="connsiteX11606" fmla="*/ 4697405 w 4716235"/>
              <a:gd name="connsiteY11606" fmla="*/ 1455703 h 4596459"/>
              <a:gd name="connsiteX11607" fmla="*/ 4699884 w 4716235"/>
              <a:gd name="connsiteY11607" fmla="*/ 1453225 h 4596459"/>
              <a:gd name="connsiteX11608" fmla="*/ 4706820 w 4716235"/>
              <a:gd name="connsiteY11608" fmla="*/ 1460161 h 4596459"/>
              <a:gd name="connsiteX11609" fmla="*/ 4699884 w 4716235"/>
              <a:gd name="connsiteY11609" fmla="*/ 1467100 h 4596459"/>
              <a:gd name="connsiteX11610" fmla="*/ 4693441 w 4716235"/>
              <a:gd name="connsiteY11610" fmla="*/ 1460657 h 4596459"/>
              <a:gd name="connsiteX11611" fmla="*/ 4687163 w 4716235"/>
              <a:gd name="connsiteY11611" fmla="*/ 1466935 h 4596459"/>
              <a:gd name="connsiteX11612" fmla="*/ 4679316 w 4716235"/>
              <a:gd name="connsiteY11612" fmla="*/ 1459088 h 4596459"/>
              <a:gd name="connsiteX11613" fmla="*/ 4675765 w 4716235"/>
              <a:gd name="connsiteY11613" fmla="*/ 1462640 h 4596459"/>
              <a:gd name="connsiteX11614" fmla="*/ 4668415 w 4716235"/>
              <a:gd name="connsiteY11614" fmla="*/ 1455290 h 4596459"/>
              <a:gd name="connsiteX11615" fmla="*/ 4665689 w 4716235"/>
              <a:gd name="connsiteY11615" fmla="*/ 1458016 h 4596459"/>
              <a:gd name="connsiteX11616" fmla="*/ 4658834 w 4716235"/>
              <a:gd name="connsiteY11616" fmla="*/ 1451161 h 4596459"/>
              <a:gd name="connsiteX11617" fmla="*/ 4656770 w 4716235"/>
              <a:gd name="connsiteY11617" fmla="*/ 1453225 h 4596459"/>
              <a:gd name="connsiteX11618" fmla="*/ 4650081 w 4716235"/>
              <a:gd name="connsiteY11618" fmla="*/ 1446534 h 4596459"/>
              <a:gd name="connsiteX11619" fmla="*/ 4648677 w 4716235"/>
              <a:gd name="connsiteY11619" fmla="*/ 1447939 h 4596459"/>
              <a:gd name="connsiteX11620" fmla="*/ 4642317 w 4716235"/>
              <a:gd name="connsiteY11620" fmla="*/ 1441580 h 4596459"/>
              <a:gd name="connsiteX11621" fmla="*/ 4641573 w 4716235"/>
              <a:gd name="connsiteY11621" fmla="*/ 1442324 h 4596459"/>
              <a:gd name="connsiteX11622" fmla="*/ 4635462 w 4716235"/>
              <a:gd name="connsiteY11622" fmla="*/ 1436211 h 4596459"/>
              <a:gd name="connsiteX11623" fmla="*/ 4635296 w 4716235"/>
              <a:gd name="connsiteY11623" fmla="*/ 1436377 h 4596459"/>
              <a:gd name="connsiteX11624" fmla="*/ 4624559 w 4716235"/>
              <a:gd name="connsiteY11624" fmla="*/ 1425639 h 4596459"/>
              <a:gd name="connsiteX11625" fmla="*/ 4624890 w 4716235"/>
              <a:gd name="connsiteY11625" fmla="*/ 1425309 h 4596459"/>
              <a:gd name="connsiteX11626" fmla="*/ 4618779 w 4716235"/>
              <a:gd name="connsiteY11626" fmla="*/ 1419196 h 4596459"/>
              <a:gd name="connsiteX11627" fmla="*/ 4619523 w 4716235"/>
              <a:gd name="connsiteY11627" fmla="*/ 1418454 h 4596459"/>
              <a:gd name="connsiteX11628" fmla="*/ 4613493 w 4716235"/>
              <a:gd name="connsiteY11628" fmla="*/ 1412424 h 4596459"/>
              <a:gd name="connsiteX11629" fmla="*/ 4614484 w 4716235"/>
              <a:gd name="connsiteY11629" fmla="*/ 1411434 h 4596459"/>
              <a:gd name="connsiteX11630" fmla="*/ 4608372 w 4716235"/>
              <a:gd name="connsiteY11630" fmla="*/ 1405321 h 4596459"/>
              <a:gd name="connsiteX11631" fmla="*/ 4609692 w 4716235"/>
              <a:gd name="connsiteY11631" fmla="*/ 1404002 h 4596459"/>
              <a:gd name="connsiteX11632" fmla="*/ 4603416 w 4716235"/>
              <a:gd name="connsiteY11632" fmla="*/ 1397724 h 4596459"/>
              <a:gd name="connsiteX11633" fmla="*/ 4604737 w 4716235"/>
              <a:gd name="connsiteY11633" fmla="*/ 1396404 h 4596459"/>
              <a:gd name="connsiteX11634" fmla="*/ 4598130 w 4716235"/>
              <a:gd name="connsiteY11634" fmla="*/ 1389795 h 4596459"/>
              <a:gd name="connsiteX11635" fmla="*/ 4599535 w 4716235"/>
              <a:gd name="connsiteY11635" fmla="*/ 1388392 h 4596459"/>
              <a:gd name="connsiteX11636" fmla="*/ 4592515 w 4716235"/>
              <a:gd name="connsiteY11636" fmla="*/ 1381370 h 4596459"/>
              <a:gd name="connsiteX11637" fmla="*/ 4593836 w 4716235"/>
              <a:gd name="connsiteY11637" fmla="*/ 1380051 h 4596459"/>
              <a:gd name="connsiteX11638" fmla="*/ 4586237 w 4716235"/>
              <a:gd name="connsiteY11638" fmla="*/ 1372450 h 4596459"/>
              <a:gd name="connsiteX11639" fmla="*/ 4587311 w 4716235"/>
              <a:gd name="connsiteY11639" fmla="*/ 1371378 h 4596459"/>
              <a:gd name="connsiteX11640" fmla="*/ 4578969 w 4716235"/>
              <a:gd name="connsiteY11640" fmla="*/ 1363035 h 4596459"/>
              <a:gd name="connsiteX11641" fmla="*/ 4579795 w 4716235"/>
              <a:gd name="connsiteY11641" fmla="*/ 1362209 h 4596459"/>
              <a:gd name="connsiteX11642" fmla="*/ 4570711 w 4716235"/>
              <a:gd name="connsiteY11642" fmla="*/ 1353124 h 4596459"/>
              <a:gd name="connsiteX11643" fmla="*/ 4570959 w 4716235"/>
              <a:gd name="connsiteY11643" fmla="*/ 1352878 h 4596459"/>
              <a:gd name="connsiteX11644" fmla="*/ 4560800 w 4716235"/>
              <a:gd name="connsiteY11644" fmla="*/ 1342719 h 4596459"/>
              <a:gd name="connsiteX11645" fmla="*/ 4571536 w 4716235"/>
              <a:gd name="connsiteY11645" fmla="*/ 1331982 h 4596459"/>
              <a:gd name="connsiteX11646" fmla="*/ 891626 w 4716235"/>
              <a:gd name="connsiteY11646" fmla="*/ 1329834 h 4596459"/>
              <a:gd name="connsiteX11647" fmla="*/ 902363 w 4716235"/>
              <a:gd name="connsiteY11647" fmla="*/ 1340570 h 4596459"/>
              <a:gd name="connsiteX11648" fmla="*/ 891626 w 4716235"/>
              <a:gd name="connsiteY11648" fmla="*/ 1351308 h 4596459"/>
              <a:gd name="connsiteX11649" fmla="*/ 880890 w 4716235"/>
              <a:gd name="connsiteY11649" fmla="*/ 1340570 h 4596459"/>
              <a:gd name="connsiteX11650" fmla="*/ 891626 w 4716235"/>
              <a:gd name="connsiteY11650" fmla="*/ 1329834 h 4596459"/>
              <a:gd name="connsiteX11651" fmla="*/ 4689806 w 4716235"/>
              <a:gd name="connsiteY11651" fmla="*/ 1328018 h 4596459"/>
              <a:gd name="connsiteX11652" fmla="*/ 4694265 w 4716235"/>
              <a:gd name="connsiteY11652" fmla="*/ 1332478 h 4596459"/>
              <a:gd name="connsiteX11653" fmla="*/ 4689806 w 4716235"/>
              <a:gd name="connsiteY11653" fmla="*/ 1336937 h 4596459"/>
              <a:gd name="connsiteX11654" fmla="*/ 4685346 w 4716235"/>
              <a:gd name="connsiteY11654" fmla="*/ 1332478 h 4596459"/>
              <a:gd name="connsiteX11655" fmla="*/ 4689806 w 4716235"/>
              <a:gd name="connsiteY11655" fmla="*/ 1328018 h 4596459"/>
              <a:gd name="connsiteX11656" fmla="*/ 4299812 w 4716235"/>
              <a:gd name="connsiteY11656" fmla="*/ 1325869 h 4596459"/>
              <a:gd name="connsiteX11657" fmla="*/ 4310550 w 4716235"/>
              <a:gd name="connsiteY11657" fmla="*/ 1336606 h 4596459"/>
              <a:gd name="connsiteX11658" fmla="*/ 4299812 w 4716235"/>
              <a:gd name="connsiteY11658" fmla="*/ 1347344 h 4596459"/>
              <a:gd name="connsiteX11659" fmla="*/ 4289076 w 4716235"/>
              <a:gd name="connsiteY11659" fmla="*/ 1336606 h 4596459"/>
              <a:gd name="connsiteX11660" fmla="*/ 4299812 w 4716235"/>
              <a:gd name="connsiteY11660" fmla="*/ 1325869 h 4596459"/>
              <a:gd name="connsiteX11661" fmla="*/ 2570860 w 4716235"/>
              <a:gd name="connsiteY11661" fmla="*/ 1324219 h 4596459"/>
              <a:gd name="connsiteX11662" fmla="*/ 2581597 w 4716235"/>
              <a:gd name="connsiteY11662" fmla="*/ 1334955 h 4596459"/>
              <a:gd name="connsiteX11663" fmla="*/ 2570860 w 4716235"/>
              <a:gd name="connsiteY11663" fmla="*/ 1345691 h 4596459"/>
              <a:gd name="connsiteX11664" fmla="*/ 2560124 w 4716235"/>
              <a:gd name="connsiteY11664" fmla="*/ 1334955 h 4596459"/>
              <a:gd name="connsiteX11665" fmla="*/ 2570860 w 4716235"/>
              <a:gd name="connsiteY11665" fmla="*/ 1324219 h 4596459"/>
              <a:gd name="connsiteX11666" fmla="*/ 4559808 w 4716235"/>
              <a:gd name="connsiteY11666" fmla="*/ 1321080 h 4596459"/>
              <a:gd name="connsiteX11667" fmla="*/ 4570544 w 4716235"/>
              <a:gd name="connsiteY11667" fmla="*/ 1331816 h 4596459"/>
              <a:gd name="connsiteX11668" fmla="*/ 4559808 w 4716235"/>
              <a:gd name="connsiteY11668" fmla="*/ 1342554 h 4596459"/>
              <a:gd name="connsiteX11669" fmla="*/ 4549072 w 4716235"/>
              <a:gd name="connsiteY11669" fmla="*/ 1331816 h 4596459"/>
              <a:gd name="connsiteX11670" fmla="*/ 4559808 w 4716235"/>
              <a:gd name="connsiteY11670" fmla="*/ 1321080 h 4596459"/>
              <a:gd name="connsiteX11671" fmla="*/ 1107189 w 4716235"/>
              <a:gd name="connsiteY11671" fmla="*/ 1317941 h 4596459"/>
              <a:gd name="connsiteX11672" fmla="*/ 1117927 w 4716235"/>
              <a:gd name="connsiteY11672" fmla="*/ 1328677 h 4596459"/>
              <a:gd name="connsiteX11673" fmla="*/ 1107189 w 4716235"/>
              <a:gd name="connsiteY11673" fmla="*/ 1339415 h 4596459"/>
              <a:gd name="connsiteX11674" fmla="*/ 1096453 w 4716235"/>
              <a:gd name="connsiteY11674" fmla="*/ 1328677 h 4596459"/>
              <a:gd name="connsiteX11675" fmla="*/ 1107189 w 4716235"/>
              <a:gd name="connsiteY11675" fmla="*/ 1317941 h 4596459"/>
              <a:gd name="connsiteX11676" fmla="*/ 4245138 w 4716235"/>
              <a:gd name="connsiteY11676" fmla="*/ 1313316 h 4596459"/>
              <a:gd name="connsiteX11677" fmla="*/ 4255876 w 4716235"/>
              <a:gd name="connsiteY11677" fmla="*/ 1324052 h 4596459"/>
              <a:gd name="connsiteX11678" fmla="*/ 4245138 w 4716235"/>
              <a:gd name="connsiteY11678" fmla="*/ 1334790 h 4596459"/>
              <a:gd name="connsiteX11679" fmla="*/ 4234402 w 4716235"/>
              <a:gd name="connsiteY11679" fmla="*/ 1324052 h 4596459"/>
              <a:gd name="connsiteX11680" fmla="*/ 4245138 w 4716235"/>
              <a:gd name="connsiteY11680" fmla="*/ 1313316 h 4596459"/>
              <a:gd name="connsiteX11681" fmla="*/ 2347371 w 4716235"/>
              <a:gd name="connsiteY11681" fmla="*/ 1312490 h 4596459"/>
              <a:gd name="connsiteX11682" fmla="*/ 2358107 w 4716235"/>
              <a:gd name="connsiteY11682" fmla="*/ 1323227 h 4596459"/>
              <a:gd name="connsiteX11683" fmla="*/ 2347371 w 4716235"/>
              <a:gd name="connsiteY11683" fmla="*/ 1333965 h 4596459"/>
              <a:gd name="connsiteX11684" fmla="*/ 2336634 w 4716235"/>
              <a:gd name="connsiteY11684" fmla="*/ 1323227 h 4596459"/>
              <a:gd name="connsiteX11685" fmla="*/ 2347371 w 4716235"/>
              <a:gd name="connsiteY11685" fmla="*/ 1312490 h 4596459"/>
              <a:gd name="connsiteX11686" fmla="*/ 4545933 w 4716235"/>
              <a:gd name="connsiteY11686" fmla="*/ 1309518 h 4596459"/>
              <a:gd name="connsiteX11687" fmla="*/ 4556669 w 4716235"/>
              <a:gd name="connsiteY11687" fmla="*/ 1320254 h 4596459"/>
              <a:gd name="connsiteX11688" fmla="*/ 4545933 w 4716235"/>
              <a:gd name="connsiteY11688" fmla="*/ 1330991 h 4596459"/>
              <a:gd name="connsiteX11689" fmla="*/ 4535197 w 4716235"/>
              <a:gd name="connsiteY11689" fmla="*/ 1320254 h 4596459"/>
              <a:gd name="connsiteX11690" fmla="*/ 4545933 w 4716235"/>
              <a:gd name="connsiteY11690" fmla="*/ 1309518 h 4596459"/>
              <a:gd name="connsiteX11691" fmla="*/ 1339929 w 4716235"/>
              <a:gd name="connsiteY11691" fmla="*/ 1306708 h 4596459"/>
              <a:gd name="connsiteX11692" fmla="*/ 1350667 w 4716235"/>
              <a:gd name="connsiteY11692" fmla="*/ 1317445 h 4596459"/>
              <a:gd name="connsiteX11693" fmla="*/ 1339929 w 4716235"/>
              <a:gd name="connsiteY11693" fmla="*/ 1328181 h 4596459"/>
              <a:gd name="connsiteX11694" fmla="*/ 1329193 w 4716235"/>
              <a:gd name="connsiteY11694" fmla="*/ 1317445 h 4596459"/>
              <a:gd name="connsiteX11695" fmla="*/ 1339929 w 4716235"/>
              <a:gd name="connsiteY11695" fmla="*/ 1306708 h 4596459"/>
              <a:gd name="connsiteX11696" fmla="*/ 2106536 w 4716235"/>
              <a:gd name="connsiteY11696" fmla="*/ 1302083 h 4596459"/>
              <a:gd name="connsiteX11697" fmla="*/ 2117273 w 4716235"/>
              <a:gd name="connsiteY11697" fmla="*/ 1312820 h 4596459"/>
              <a:gd name="connsiteX11698" fmla="*/ 2106536 w 4716235"/>
              <a:gd name="connsiteY11698" fmla="*/ 1323558 h 4596459"/>
              <a:gd name="connsiteX11699" fmla="*/ 2095799 w 4716235"/>
              <a:gd name="connsiteY11699" fmla="*/ 1312820 h 4596459"/>
              <a:gd name="connsiteX11700" fmla="*/ 2106536 w 4716235"/>
              <a:gd name="connsiteY11700" fmla="*/ 1302083 h 4596459"/>
              <a:gd name="connsiteX11701" fmla="*/ 4183691 w 4716235"/>
              <a:gd name="connsiteY11701" fmla="*/ 1300101 h 4596459"/>
              <a:gd name="connsiteX11702" fmla="*/ 4194429 w 4716235"/>
              <a:gd name="connsiteY11702" fmla="*/ 1310838 h 4596459"/>
              <a:gd name="connsiteX11703" fmla="*/ 4183691 w 4716235"/>
              <a:gd name="connsiteY11703" fmla="*/ 1321576 h 4596459"/>
              <a:gd name="connsiteX11704" fmla="*/ 4172954 w 4716235"/>
              <a:gd name="connsiteY11704" fmla="*/ 1310838 h 4596459"/>
              <a:gd name="connsiteX11705" fmla="*/ 4183691 w 4716235"/>
              <a:gd name="connsiteY11705" fmla="*/ 1300101 h 4596459"/>
              <a:gd name="connsiteX11706" fmla="*/ 1589683 w 4716235"/>
              <a:gd name="connsiteY11706" fmla="*/ 1297954 h 4596459"/>
              <a:gd name="connsiteX11707" fmla="*/ 1600421 w 4716235"/>
              <a:gd name="connsiteY11707" fmla="*/ 1308691 h 4596459"/>
              <a:gd name="connsiteX11708" fmla="*/ 1589683 w 4716235"/>
              <a:gd name="connsiteY11708" fmla="*/ 1319429 h 4596459"/>
              <a:gd name="connsiteX11709" fmla="*/ 1578947 w 4716235"/>
              <a:gd name="connsiteY11709" fmla="*/ 1308691 h 4596459"/>
              <a:gd name="connsiteX11710" fmla="*/ 1589683 w 4716235"/>
              <a:gd name="connsiteY11710" fmla="*/ 1297954 h 4596459"/>
              <a:gd name="connsiteX11711" fmla="*/ 4529580 w 4716235"/>
              <a:gd name="connsiteY11711" fmla="*/ 1297458 h 4596459"/>
              <a:gd name="connsiteX11712" fmla="*/ 4540318 w 4716235"/>
              <a:gd name="connsiteY11712" fmla="*/ 1308195 h 4596459"/>
              <a:gd name="connsiteX11713" fmla="*/ 4529580 w 4716235"/>
              <a:gd name="connsiteY11713" fmla="*/ 1318933 h 4596459"/>
              <a:gd name="connsiteX11714" fmla="*/ 4518843 w 4716235"/>
              <a:gd name="connsiteY11714" fmla="*/ 1308195 h 4596459"/>
              <a:gd name="connsiteX11715" fmla="*/ 4529580 w 4716235"/>
              <a:gd name="connsiteY11715" fmla="*/ 1297458 h 4596459"/>
              <a:gd name="connsiteX11716" fmla="*/ 1850339 w 4716235"/>
              <a:gd name="connsiteY11716" fmla="*/ 1295807 h 4596459"/>
              <a:gd name="connsiteX11717" fmla="*/ 1861077 w 4716235"/>
              <a:gd name="connsiteY11717" fmla="*/ 1306544 h 4596459"/>
              <a:gd name="connsiteX11718" fmla="*/ 1850339 w 4716235"/>
              <a:gd name="connsiteY11718" fmla="*/ 1317282 h 4596459"/>
              <a:gd name="connsiteX11719" fmla="*/ 1839602 w 4716235"/>
              <a:gd name="connsiteY11719" fmla="*/ 1306544 h 4596459"/>
              <a:gd name="connsiteX11720" fmla="*/ 1850339 w 4716235"/>
              <a:gd name="connsiteY11720" fmla="*/ 1295807 h 4596459"/>
              <a:gd name="connsiteX11721" fmla="*/ 4114479 w 4716235"/>
              <a:gd name="connsiteY11721" fmla="*/ 1286391 h 4596459"/>
              <a:gd name="connsiteX11722" fmla="*/ 4125217 w 4716235"/>
              <a:gd name="connsiteY11722" fmla="*/ 1297127 h 4596459"/>
              <a:gd name="connsiteX11723" fmla="*/ 4114479 w 4716235"/>
              <a:gd name="connsiteY11723" fmla="*/ 1307865 h 4596459"/>
              <a:gd name="connsiteX11724" fmla="*/ 4103743 w 4716235"/>
              <a:gd name="connsiteY11724" fmla="*/ 1297127 h 4596459"/>
              <a:gd name="connsiteX11725" fmla="*/ 4114479 w 4716235"/>
              <a:gd name="connsiteY11725" fmla="*/ 1286391 h 4596459"/>
              <a:gd name="connsiteX11726" fmla="*/ 4510254 w 4716235"/>
              <a:gd name="connsiteY11726" fmla="*/ 1284740 h 4596459"/>
              <a:gd name="connsiteX11727" fmla="*/ 4520990 w 4716235"/>
              <a:gd name="connsiteY11727" fmla="*/ 1295476 h 4596459"/>
              <a:gd name="connsiteX11728" fmla="*/ 4510254 w 4716235"/>
              <a:gd name="connsiteY11728" fmla="*/ 1306212 h 4596459"/>
              <a:gd name="connsiteX11729" fmla="*/ 4499517 w 4716235"/>
              <a:gd name="connsiteY11729" fmla="*/ 1295476 h 4596459"/>
              <a:gd name="connsiteX11730" fmla="*/ 4510254 w 4716235"/>
              <a:gd name="connsiteY11730" fmla="*/ 1284740 h 4596459"/>
              <a:gd name="connsiteX11731" fmla="*/ 4037174 w 4716235"/>
              <a:gd name="connsiteY11731" fmla="*/ 1272186 h 4596459"/>
              <a:gd name="connsiteX11732" fmla="*/ 4047913 w 4716235"/>
              <a:gd name="connsiteY11732" fmla="*/ 1282922 h 4596459"/>
              <a:gd name="connsiteX11733" fmla="*/ 4037174 w 4716235"/>
              <a:gd name="connsiteY11733" fmla="*/ 1293660 h 4596459"/>
              <a:gd name="connsiteX11734" fmla="*/ 4026438 w 4716235"/>
              <a:gd name="connsiteY11734" fmla="*/ 1282922 h 4596459"/>
              <a:gd name="connsiteX11735" fmla="*/ 4037174 w 4716235"/>
              <a:gd name="connsiteY11735" fmla="*/ 1272186 h 4596459"/>
              <a:gd name="connsiteX11736" fmla="*/ 4487789 w 4716235"/>
              <a:gd name="connsiteY11736" fmla="*/ 1271525 h 4596459"/>
              <a:gd name="connsiteX11737" fmla="*/ 4498527 w 4716235"/>
              <a:gd name="connsiteY11737" fmla="*/ 1282262 h 4596459"/>
              <a:gd name="connsiteX11738" fmla="*/ 4487789 w 4716235"/>
              <a:gd name="connsiteY11738" fmla="*/ 1293000 h 4596459"/>
              <a:gd name="connsiteX11739" fmla="*/ 4477053 w 4716235"/>
              <a:gd name="connsiteY11739" fmla="*/ 1282262 h 4596459"/>
              <a:gd name="connsiteX11740" fmla="*/ 4487789 w 4716235"/>
              <a:gd name="connsiteY11740" fmla="*/ 1271525 h 4596459"/>
              <a:gd name="connsiteX11741" fmla="*/ 4461525 w 4716235"/>
              <a:gd name="connsiteY11741" fmla="*/ 1257650 h 4596459"/>
              <a:gd name="connsiteX11742" fmla="*/ 4472263 w 4716235"/>
              <a:gd name="connsiteY11742" fmla="*/ 1268386 h 4596459"/>
              <a:gd name="connsiteX11743" fmla="*/ 4461525 w 4716235"/>
              <a:gd name="connsiteY11743" fmla="*/ 1279123 h 4596459"/>
              <a:gd name="connsiteX11744" fmla="*/ 4450788 w 4716235"/>
              <a:gd name="connsiteY11744" fmla="*/ 1268386 h 4596459"/>
              <a:gd name="connsiteX11745" fmla="*/ 4461525 w 4716235"/>
              <a:gd name="connsiteY11745" fmla="*/ 1257650 h 4596459"/>
              <a:gd name="connsiteX11746" fmla="*/ 3951115 w 4716235"/>
              <a:gd name="connsiteY11746" fmla="*/ 1257321 h 4596459"/>
              <a:gd name="connsiteX11747" fmla="*/ 3961852 w 4716235"/>
              <a:gd name="connsiteY11747" fmla="*/ 1268057 h 4596459"/>
              <a:gd name="connsiteX11748" fmla="*/ 3951115 w 4716235"/>
              <a:gd name="connsiteY11748" fmla="*/ 1278795 h 4596459"/>
              <a:gd name="connsiteX11749" fmla="*/ 3940379 w 4716235"/>
              <a:gd name="connsiteY11749" fmla="*/ 1268057 h 4596459"/>
              <a:gd name="connsiteX11750" fmla="*/ 3951115 w 4716235"/>
              <a:gd name="connsiteY11750" fmla="*/ 1257321 h 4596459"/>
              <a:gd name="connsiteX11751" fmla="*/ 4676262 w 4716235"/>
              <a:gd name="connsiteY11751" fmla="*/ 1257154 h 4596459"/>
              <a:gd name="connsiteX11752" fmla="*/ 4684520 w 4716235"/>
              <a:gd name="connsiteY11752" fmla="*/ 1265414 h 4596459"/>
              <a:gd name="connsiteX11753" fmla="*/ 4676262 w 4716235"/>
              <a:gd name="connsiteY11753" fmla="*/ 1273672 h 4596459"/>
              <a:gd name="connsiteX11754" fmla="*/ 4668002 w 4716235"/>
              <a:gd name="connsiteY11754" fmla="*/ 1265414 h 4596459"/>
              <a:gd name="connsiteX11755" fmla="*/ 4676262 w 4716235"/>
              <a:gd name="connsiteY11755" fmla="*/ 1257154 h 4596459"/>
              <a:gd name="connsiteX11756" fmla="*/ 4574509 w 4716235"/>
              <a:gd name="connsiteY11756" fmla="*/ 1254842 h 4596459"/>
              <a:gd name="connsiteX11757" fmla="*/ 4585247 w 4716235"/>
              <a:gd name="connsiteY11757" fmla="*/ 1265579 h 4596459"/>
              <a:gd name="connsiteX11758" fmla="*/ 4583183 w 4716235"/>
              <a:gd name="connsiteY11758" fmla="*/ 1267644 h 4596459"/>
              <a:gd name="connsiteX11759" fmla="*/ 4593507 w 4716235"/>
              <a:gd name="connsiteY11759" fmla="*/ 1277966 h 4596459"/>
              <a:gd name="connsiteX11760" fmla="*/ 4591277 w 4716235"/>
              <a:gd name="connsiteY11760" fmla="*/ 1280198 h 4596459"/>
              <a:gd name="connsiteX11761" fmla="*/ 4600775 w 4716235"/>
              <a:gd name="connsiteY11761" fmla="*/ 1289694 h 4596459"/>
              <a:gd name="connsiteX11762" fmla="*/ 4598461 w 4716235"/>
              <a:gd name="connsiteY11762" fmla="*/ 1292008 h 4596459"/>
              <a:gd name="connsiteX11763" fmla="*/ 4607216 w 4716235"/>
              <a:gd name="connsiteY11763" fmla="*/ 1300762 h 4596459"/>
              <a:gd name="connsiteX11764" fmla="*/ 4604985 w 4716235"/>
              <a:gd name="connsiteY11764" fmla="*/ 1302994 h 4596459"/>
              <a:gd name="connsiteX11765" fmla="*/ 4613162 w 4716235"/>
              <a:gd name="connsiteY11765" fmla="*/ 1311169 h 4596459"/>
              <a:gd name="connsiteX11766" fmla="*/ 4611015 w 4716235"/>
              <a:gd name="connsiteY11766" fmla="*/ 1313317 h 4596459"/>
              <a:gd name="connsiteX11767" fmla="*/ 4618779 w 4716235"/>
              <a:gd name="connsiteY11767" fmla="*/ 1321080 h 4596459"/>
              <a:gd name="connsiteX11768" fmla="*/ 4616797 w 4716235"/>
              <a:gd name="connsiteY11768" fmla="*/ 1323064 h 4596459"/>
              <a:gd name="connsiteX11769" fmla="*/ 4624228 w 4716235"/>
              <a:gd name="connsiteY11769" fmla="*/ 1330495 h 4596459"/>
              <a:gd name="connsiteX11770" fmla="*/ 4622577 w 4716235"/>
              <a:gd name="connsiteY11770" fmla="*/ 1332145 h 4596459"/>
              <a:gd name="connsiteX11771" fmla="*/ 4629845 w 4716235"/>
              <a:gd name="connsiteY11771" fmla="*/ 1339413 h 4596459"/>
              <a:gd name="connsiteX11772" fmla="*/ 4628607 w 4716235"/>
              <a:gd name="connsiteY11772" fmla="*/ 1340653 h 4596459"/>
              <a:gd name="connsiteX11773" fmla="*/ 4635793 w 4716235"/>
              <a:gd name="connsiteY11773" fmla="*/ 1347838 h 4596459"/>
              <a:gd name="connsiteX11774" fmla="*/ 4635214 w 4716235"/>
              <a:gd name="connsiteY11774" fmla="*/ 1348417 h 4596459"/>
              <a:gd name="connsiteX11775" fmla="*/ 4642399 w 4716235"/>
              <a:gd name="connsiteY11775" fmla="*/ 1355602 h 4596459"/>
              <a:gd name="connsiteX11776" fmla="*/ 4642234 w 4716235"/>
              <a:gd name="connsiteY11776" fmla="*/ 1355767 h 4596459"/>
              <a:gd name="connsiteX11777" fmla="*/ 4646198 w 4716235"/>
              <a:gd name="connsiteY11777" fmla="*/ 1359731 h 4596459"/>
              <a:gd name="connsiteX11778" fmla="*/ 4646693 w 4716235"/>
              <a:gd name="connsiteY11778" fmla="*/ 1359237 h 4596459"/>
              <a:gd name="connsiteX11779" fmla="*/ 4654375 w 4716235"/>
              <a:gd name="connsiteY11779" fmla="*/ 1366918 h 4596459"/>
              <a:gd name="connsiteX11780" fmla="*/ 4655449 w 4716235"/>
              <a:gd name="connsiteY11780" fmla="*/ 1365844 h 4596459"/>
              <a:gd name="connsiteX11781" fmla="*/ 4663460 w 4716235"/>
              <a:gd name="connsiteY11781" fmla="*/ 1373854 h 4596459"/>
              <a:gd name="connsiteX11782" fmla="*/ 4665359 w 4716235"/>
              <a:gd name="connsiteY11782" fmla="*/ 1371955 h 4596459"/>
              <a:gd name="connsiteX11783" fmla="*/ 4673703 w 4716235"/>
              <a:gd name="connsiteY11783" fmla="*/ 1380297 h 4596459"/>
              <a:gd name="connsiteX11784" fmla="*/ 4676427 w 4716235"/>
              <a:gd name="connsiteY11784" fmla="*/ 1377572 h 4596459"/>
              <a:gd name="connsiteX11785" fmla="*/ 4685348 w 4716235"/>
              <a:gd name="connsiteY11785" fmla="*/ 1386493 h 4596459"/>
              <a:gd name="connsiteX11786" fmla="*/ 4688816 w 4716235"/>
              <a:gd name="connsiteY11786" fmla="*/ 1383023 h 4596459"/>
              <a:gd name="connsiteX11787" fmla="*/ 4699388 w 4716235"/>
              <a:gd name="connsiteY11787" fmla="*/ 1393595 h 4596459"/>
              <a:gd name="connsiteX11788" fmla="*/ 4688816 w 4716235"/>
              <a:gd name="connsiteY11788" fmla="*/ 1404166 h 4596459"/>
              <a:gd name="connsiteX11789" fmla="*/ 4680062 w 4716235"/>
              <a:gd name="connsiteY11789" fmla="*/ 1395412 h 4596459"/>
              <a:gd name="connsiteX11790" fmla="*/ 4676427 w 4716235"/>
              <a:gd name="connsiteY11790" fmla="*/ 1399047 h 4596459"/>
              <a:gd name="connsiteX11791" fmla="*/ 4668086 w 4716235"/>
              <a:gd name="connsiteY11791" fmla="*/ 1390704 h 4596459"/>
              <a:gd name="connsiteX11792" fmla="*/ 4665359 w 4716235"/>
              <a:gd name="connsiteY11792" fmla="*/ 1393430 h 4596459"/>
              <a:gd name="connsiteX11793" fmla="*/ 4657349 w 4716235"/>
              <a:gd name="connsiteY11793" fmla="*/ 1385418 h 4596459"/>
              <a:gd name="connsiteX11794" fmla="*/ 4655449 w 4716235"/>
              <a:gd name="connsiteY11794" fmla="*/ 1387319 h 4596459"/>
              <a:gd name="connsiteX11795" fmla="*/ 4647768 w 4716235"/>
              <a:gd name="connsiteY11795" fmla="*/ 1379636 h 4596459"/>
              <a:gd name="connsiteX11796" fmla="*/ 4646693 w 4716235"/>
              <a:gd name="connsiteY11796" fmla="*/ 1380711 h 4596459"/>
              <a:gd name="connsiteX11797" fmla="*/ 4639260 w 4716235"/>
              <a:gd name="connsiteY11797" fmla="*/ 1373279 h 4596459"/>
              <a:gd name="connsiteX11798" fmla="*/ 4638766 w 4716235"/>
              <a:gd name="connsiteY11798" fmla="*/ 1373773 h 4596459"/>
              <a:gd name="connsiteX11799" fmla="*/ 4628029 w 4716235"/>
              <a:gd name="connsiteY11799" fmla="*/ 1363035 h 4596459"/>
              <a:gd name="connsiteX11800" fmla="*/ 4628194 w 4716235"/>
              <a:gd name="connsiteY11800" fmla="*/ 1362870 h 4596459"/>
              <a:gd name="connsiteX11801" fmla="*/ 4620926 w 4716235"/>
              <a:gd name="connsiteY11801" fmla="*/ 1355602 h 4596459"/>
              <a:gd name="connsiteX11802" fmla="*/ 4621504 w 4716235"/>
              <a:gd name="connsiteY11802" fmla="*/ 1355025 h 4596459"/>
              <a:gd name="connsiteX11803" fmla="*/ 4614319 w 4716235"/>
              <a:gd name="connsiteY11803" fmla="*/ 1347838 h 4596459"/>
              <a:gd name="connsiteX11804" fmla="*/ 4615557 w 4716235"/>
              <a:gd name="connsiteY11804" fmla="*/ 1346600 h 4596459"/>
              <a:gd name="connsiteX11805" fmla="*/ 4608372 w 4716235"/>
              <a:gd name="connsiteY11805" fmla="*/ 1339413 h 4596459"/>
              <a:gd name="connsiteX11806" fmla="*/ 4610023 w 4716235"/>
              <a:gd name="connsiteY11806" fmla="*/ 1337764 h 4596459"/>
              <a:gd name="connsiteX11807" fmla="*/ 4602755 w 4716235"/>
              <a:gd name="connsiteY11807" fmla="*/ 1330495 h 4596459"/>
              <a:gd name="connsiteX11808" fmla="*/ 4604737 w 4716235"/>
              <a:gd name="connsiteY11808" fmla="*/ 1328514 h 4596459"/>
              <a:gd name="connsiteX11809" fmla="*/ 4597305 w 4716235"/>
              <a:gd name="connsiteY11809" fmla="*/ 1321080 h 4596459"/>
              <a:gd name="connsiteX11810" fmla="*/ 4599452 w 4716235"/>
              <a:gd name="connsiteY11810" fmla="*/ 1318934 h 4596459"/>
              <a:gd name="connsiteX11811" fmla="*/ 4591688 w 4716235"/>
              <a:gd name="connsiteY11811" fmla="*/ 1311169 h 4596459"/>
              <a:gd name="connsiteX11812" fmla="*/ 4593918 w 4716235"/>
              <a:gd name="connsiteY11812" fmla="*/ 1308939 h 4596459"/>
              <a:gd name="connsiteX11813" fmla="*/ 4585743 w 4716235"/>
              <a:gd name="connsiteY11813" fmla="*/ 1300762 h 4596459"/>
              <a:gd name="connsiteX11814" fmla="*/ 4588055 w 4716235"/>
              <a:gd name="connsiteY11814" fmla="*/ 1298450 h 4596459"/>
              <a:gd name="connsiteX11815" fmla="*/ 4579300 w 4716235"/>
              <a:gd name="connsiteY11815" fmla="*/ 1289694 h 4596459"/>
              <a:gd name="connsiteX11816" fmla="*/ 4581531 w 4716235"/>
              <a:gd name="connsiteY11816" fmla="*/ 1287466 h 4596459"/>
              <a:gd name="connsiteX11817" fmla="*/ 4572032 w 4716235"/>
              <a:gd name="connsiteY11817" fmla="*/ 1277966 h 4596459"/>
              <a:gd name="connsiteX11818" fmla="*/ 4574096 w 4716235"/>
              <a:gd name="connsiteY11818" fmla="*/ 1275904 h 4596459"/>
              <a:gd name="connsiteX11819" fmla="*/ 4563772 w 4716235"/>
              <a:gd name="connsiteY11819" fmla="*/ 1265579 h 4596459"/>
              <a:gd name="connsiteX11820" fmla="*/ 4574509 w 4716235"/>
              <a:gd name="connsiteY11820" fmla="*/ 1254842 h 4596459"/>
              <a:gd name="connsiteX11821" fmla="*/ 4431131 w 4716235"/>
              <a:gd name="connsiteY11821" fmla="*/ 1243114 h 4596459"/>
              <a:gd name="connsiteX11822" fmla="*/ 4441868 w 4716235"/>
              <a:gd name="connsiteY11822" fmla="*/ 1253850 h 4596459"/>
              <a:gd name="connsiteX11823" fmla="*/ 4431131 w 4716235"/>
              <a:gd name="connsiteY11823" fmla="*/ 1264588 h 4596459"/>
              <a:gd name="connsiteX11824" fmla="*/ 4420395 w 4716235"/>
              <a:gd name="connsiteY11824" fmla="*/ 1253850 h 4596459"/>
              <a:gd name="connsiteX11825" fmla="*/ 4431131 w 4716235"/>
              <a:gd name="connsiteY11825" fmla="*/ 1243114 h 4596459"/>
              <a:gd name="connsiteX11826" fmla="*/ 4564763 w 4716235"/>
              <a:gd name="connsiteY11826" fmla="*/ 1241957 h 4596459"/>
              <a:gd name="connsiteX11827" fmla="*/ 4575501 w 4716235"/>
              <a:gd name="connsiteY11827" fmla="*/ 1252694 h 4596459"/>
              <a:gd name="connsiteX11828" fmla="*/ 4564763 w 4716235"/>
              <a:gd name="connsiteY11828" fmla="*/ 1263432 h 4596459"/>
              <a:gd name="connsiteX11829" fmla="*/ 4554026 w 4716235"/>
              <a:gd name="connsiteY11829" fmla="*/ 1252694 h 4596459"/>
              <a:gd name="connsiteX11830" fmla="*/ 4564763 w 4716235"/>
              <a:gd name="connsiteY11830" fmla="*/ 1241957 h 4596459"/>
              <a:gd name="connsiteX11831" fmla="*/ 3855475 w 4716235"/>
              <a:gd name="connsiteY11831" fmla="*/ 1241957 h 4596459"/>
              <a:gd name="connsiteX11832" fmla="*/ 3866213 w 4716235"/>
              <a:gd name="connsiteY11832" fmla="*/ 1252694 h 4596459"/>
              <a:gd name="connsiteX11833" fmla="*/ 3855475 w 4716235"/>
              <a:gd name="connsiteY11833" fmla="*/ 1263432 h 4596459"/>
              <a:gd name="connsiteX11834" fmla="*/ 3844739 w 4716235"/>
              <a:gd name="connsiteY11834" fmla="*/ 1252694 h 4596459"/>
              <a:gd name="connsiteX11835" fmla="*/ 3855475 w 4716235"/>
              <a:gd name="connsiteY11835" fmla="*/ 1241957 h 4596459"/>
              <a:gd name="connsiteX11836" fmla="*/ 4553366 w 4716235"/>
              <a:gd name="connsiteY11836" fmla="*/ 1228249 h 4596459"/>
              <a:gd name="connsiteX11837" fmla="*/ 4564104 w 4716235"/>
              <a:gd name="connsiteY11837" fmla="*/ 1238985 h 4596459"/>
              <a:gd name="connsiteX11838" fmla="*/ 4553366 w 4716235"/>
              <a:gd name="connsiteY11838" fmla="*/ 1249721 h 4596459"/>
              <a:gd name="connsiteX11839" fmla="*/ 4542629 w 4716235"/>
              <a:gd name="connsiteY11839" fmla="*/ 1238985 h 4596459"/>
              <a:gd name="connsiteX11840" fmla="*/ 4553366 w 4716235"/>
              <a:gd name="connsiteY11840" fmla="*/ 1228249 h 4596459"/>
              <a:gd name="connsiteX11841" fmla="*/ 4395948 w 4716235"/>
              <a:gd name="connsiteY11841" fmla="*/ 1227917 h 4596459"/>
              <a:gd name="connsiteX11842" fmla="*/ 4406686 w 4716235"/>
              <a:gd name="connsiteY11842" fmla="*/ 1238654 h 4596459"/>
              <a:gd name="connsiteX11843" fmla="*/ 4395948 w 4716235"/>
              <a:gd name="connsiteY11843" fmla="*/ 1249392 h 4596459"/>
              <a:gd name="connsiteX11844" fmla="*/ 4385212 w 4716235"/>
              <a:gd name="connsiteY11844" fmla="*/ 1238654 h 4596459"/>
              <a:gd name="connsiteX11845" fmla="*/ 4395948 w 4716235"/>
              <a:gd name="connsiteY11845" fmla="*/ 1227917 h 4596459"/>
              <a:gd name="connsiteX11846" fmla="*/ 3749759 w 4716235"/>
              <a:gd name="connsiteY11846" fmla="*/ 1225935 h 4596459"/>
              <a:gd name="connsiteX11847" fmla="*/ 3760495 w 4716235"/>
              <a:gd name="connsiteY11847" fmla="*/ 1236672 h 4596459"/>
              <a:gd name="connsiteX11848" fmla="*/ 3749759 w 4716235"/>
              <a:gd name="connsiteY11848" fmla="*/ 1247410 h 4596459"/>
              <a:gd name="connsiteX11849" fmla="*/ 3739023 w 4716235"/>
              <a:gd name="connsiteY11849" fmla="*/ 1236672 h 4596459"/>
              <a:gd name="connsiteX11850" fmla="*/ 3749759 w 4716235"/>
              <a:gd name="connsiteY11850" fmla="*/ 1225935 h 4596459"/>
              <a:gd name="connsiteX11851" fmla="*/ 4540151 w 4716235"/>
              <a:gd name="connsiteY11851" fmla="*/ 1213877 h 4596459"/>
              <a:gd name="connsiteX11852" fmla="*/ 4550887 w 4716235"/>
              <a:gd name="connsiteY11852" fmla="*/ 1224614 h 4596459"/>
              <a:gd name="connsiteX11853" fmla="*/ 4540151 w 4716235"/>
              <a:gd name="connsiteY11853" fmla="*/ 1235352 h 4596459"/>
              <a:gd name="connsiteX11854" fmla="*/ 4529415 w 4716235"/>
              <a:gd name="connsiteY11854" fmla="*/ 1224614 h 4596459"/>
              <a:gd name="connsiteX11855" fmla="*/ 4540151 w 4716235"/>
              <a:gd name="connsiteY11855" fmla="*/ 1213877 h 4596459"/>
              <a:gd name="connsiteX11856" fmla="*/ 4355809 w 4716235"/>
              <a:gd name="connsiteY11856" fmla="*/ 1212060 h 4596459"/>
              <a:gd name="connsiteX11857" fmla="*/ 4366545 w 4716235"/>
              <a:gd name="connsiteY11857" fmla="*/ 1222796 h 4596459"/>
              <a:gd name="connsiteX11858" fmla="*/ 4355809 w 4716235"/>
              <a:gd name="connsiteY11858" fmla="*/ 1233534 h 4596459"/>
              <a:gd name="connsiteX11859" fmla="*/ 4345072 w 4716235"/>
              <a:gd name="connsiteY11859" fmla="*/ 1222796 h 4596459"/>
              <a:gd name="connsiteX11860" fmla="*/ 4355809 w 4716235"/>
              <a:gd name="connsiteY11860" fmla="*/ 1212060 h 4596459"/>
              <a:gd name="connsiteX11861" fmla="*/ 3632975 w 4716235"/>
              <a:gd name="connsiteY11861" fmla="*/ 1209417 h 4596459"/>
              <a:gd name="connsiteX11862" fmla="*/ 3643713 w 4716235"/>
              <a:gd name="connsiteY11862" fmla="*/ 1220153 h 4596459"/>
              <a:gd name="connsiteX11863" fmla="*/ 3632975 w 4716235"/>
              <a:gd name="connsiteY11863" fmla="*/ 1230892 h 4596459"/>
              <a:gd name="connsiteX11864" fmla="*/ 3622239 w 4716235"/>
              <a:gd name="connsiteY11864" fmla="*/ 1220153 h 4596459"/>
              <a:gd name="connsiteX11865" fmla="*/ 3632975 w 4716235"/>
              <a:gd name="connsiteY11865" fmla="*/ 1209417 h 4596459"/>
              <a:gd name="connsiteX11866" fmla="*/ 0 w 4716235"/>
              <a:gd name="connsiteY11866" fmla="*/ 1205803 h 4596459"/>
              <a:gd name="connsiteX11867" fmla="*/ 5431 w 4716235"/>
              <a:gd name="connsiteY11867" fmla="*/ 1211233 h 4596459"/>
              <a:gd name="connsiteX11868" fmla="*/ 0 w 4716235"/>
              <a:gd name="connsiteY11868" fmla="*/ 1216664 h 4596459"/>
              <a:gd name="connsiteX11869" fmla="*/ 4675765 w 4716235"/>
              <a:gd name="connsiteY11869" fmla="*/ 1205123 h 4596459"/>
              <a:gd name="connsiteX11870" fmla="*/ 4676756 w 4716235"/>
              <a:gd name="connsiteY11870" fmla="*/ 1206113 h 4596459"/>
              <a:gd name="connsiteX11871" fmla="*/ 4675765 w 4716235"/>
              <a:gd name="connsiteY11871" fmla="*/ 1207105 h 4596459"/>
              <a:gd name="connsiteX11872" fmla="*/ 4674774 w 4716235"/>
              <a:gd name="connsiteY11872" fmla="*/ 1206113 h 4596459"/>
              <a:gd name="connsiteX11873" fmla="*/ 4675765 w 4716235"/>
              <a:gd name="connsiteY11873" fmla="*/ 1205123 h 4596459"/>
              <a:gd name="connsiteX11874" fmla="*/ 4524294 w 4716235"/>
              <a:gd name="connsiteY11874" fmla="*/ 1198845 h 4596459"/>
              <a:gd name="connsiteX11875" fmla="*/ 4535030 w 4716235"/>
              <a:gd name="connsiteY11875" fmla="*/ 1209582 h 4596459"/>
              <a:gd name="connsiteX11876" fmla="*/ 4524294 w 4716235"/>
              <a:gd name="connsiteY11876" fmla="*/ 1220320 h 4596459"/>
              <a:gd name="connsiteX11877" fmla="*/ 4513557 w 4716235"/>
              <a:gd name="connsiteY11877" fmla="*/ 1209582 h 4596459"/>
              <a:gd name="connsiteX11878" fmla="*/ 4524294 w 4716235"/>
              <a:gd name="connsiteY11878" fmla="*/ 1198845 h 4596459"/>
              <a:gd name="connsiteX11879" fmla="*/ 4310054 w 4716235"/>
              <a:gd name="connsiteY11879" fmla="*/ 1195542 h 4596459"/>
              <a:gd name="connsiteX11880" fmla="*/ 4320790 w 4716235"/>
              <a:gd name="connsiteY11880" fmla="*/ 1206278 h 4596459"/>
              <a:gd name="connsiteX11881" fmla="*/ 4310054 w 4716235"/>
              <a:gd name="connsiteY11881" fmla="*/ 1217016 h 4596459"/>
              <a:gd name="connsiteX11882" fmla="*/ 4299318 w 4716235"/>
              <a:gd name="connsiteY11882" fmla="*/ 1206278 h 4596459"/>
              <a:gd name="connsiteX11883" fmla="*/ 4310054 w 4716235"/>
              <a:gd name="connsiteY11883" fmla="*/ 1195542 h 4596459"/>
              <a:gd name="connsiteX11884" fmla="*/ 3504630 w 4716235"/>
              <a:gd name="connsiteY11884" fmla="*/ 1192403 h 4596459"/>
              <a:gd name="connsiteX11885" fmla="*/ 3515366 w 4716235"/>
              <a:gd name="connsiteY11885" fmla="*/ 1203139 h 4596459"/>
              <a:gd name="connsiteX11886" fmla="*/ 3504630 w 4716235"/>
              <a:gd name="connsiteY11886" fmla="*/ 1213876 h 4596459"/>
              <a:gd name="connsiteX11887" fmla="*/ 3493894 w 4716235"/>
              <a:gd name="connsiteY11887" fmla="*/ 1203139 h 4596459"/>
              <a:gd name="connsiteX11888" fmla="*/ 3504630 w 4716235"/>
              <a:gd name="connsiteY11888" fmla="*/ 1192403 h 4596459"/>
              <a:gd name="connsiteX11889" fmla="*/ 4661395 w 4716235"/>
              <a:gd name="connsiteY11889" fmla="*/ 1187117 h 4596459"/>
              <a:gd name="connsiteX11890" fmla="*/ 4672131 w 4716235"/>
              <a:gd name="connsiteY11890" fmla="*/ 1197854 h 4596459"/>
              <a:gd name="connsiteX11891" fmla="*/ 4661395 w 4716235"/>
              <a:gd name="connsiteY11891" fmla="*/ 1208590 h 4596459"/>
              <a:gd name="connsiteX11892" fmla="*/ 4650659 w 4716235"/>
              <a:gd name="connsiteY11892" fmla="*/ 1197854 h 4596459"/>
              <a:gd name="connsiteX11893" fmla="*/ 4661395 w 4716235"/>
              <a:gd name="connsiteY11893" fmla="*/ 1187117 h 4596459"/>
              <a:gd name="connsiteX11894" fmla="*/ 4573519 w 4716235"/>
              <a:gd name="connsiteY11894" fmla="*/ 1185631 h 4596459"/>
              <a:gd name="connsiteX11895" fmla="*/ 4584257 w 4716235"/>
              <a:gd name="connsiteY11895" fmla="*/ 1196367 h 4596459"/>
              <a:gd name="connsiteX11896" fmla="*/ 4581199 w 4716235"/>
              <a:gd name="connsiteY11896" fmla="*/ 1199425 h 4596459"/>
              <a:gd name="connsiteX11897" fmla="*/ 4591854 w 4716235"/>
              <a:gd name="connsiteY11897" fmla="*/ 1210078 h 4596459"/>
              <a:gd name="connsiteX11898" fmla="*/ 4588714 w 4716235"/>
              <a:gd name="connsiteY11898" fmla="*/ 1213218 h 4596459"/>
              <a:gd name="connsiteX11899" fmla="*/ 4598626 w 4716235"/>
              <a:gd name="connsiteY11899" fmla="*/ 1223128 h 4596459"/>
              <a:gd name="connsiteX11900" fmla="*/ 4595571 w 4716235"/>
              <a:gd name="connsiteY11900" fmla="*/ 1226183 h 4596459"/>
              <a:gd name="connsiteX11901" fmla="*/ 4604904 w 4716235"/>
              <a:gd name="connsiteY11901" fmla="*/ 1235515 h 4596459"/>
              <a:gd name="connsiteX11902" fmla="*/ 4602095 w 4716235"/>
              <a:gd name="connsiteY11902" fmla="*/ 1238324 h 4596459"/>
              <a:gd name="connsiteX11903" fmla="*/ 4611015 w 4716235"/>
              <a:gd name="connsiteY11903" fmla="*/ 1247243 h 4596459"/>
              <a:gd name="connsiteX11904" fmla="*/ 4608619 w 4716235"/>
              <a:gd name="connsiteY11904" fmla="*/ 1249640 h 4596459"/>
              <a:gd name="connsiteX11905" fmla="*/ 4617293 w 4716235"/>
              <a:gd name="connsiteY11905" fmla="*/ 1258311 h 4596459"/>
              <a:gd name="connsiteX11906" fmla="*/ 4615228 w 4716235"/>
              <a:gd name="connsiteY11906" fmla="*/ 1260376 h 4596459"/>
              <a:gd name="connsiteX11907" fmla="*/ 4623567 w 4716235"/>
              <a:gd name="connsiteY11907" fmla="*/ 1268716 h 4596459"/>
              <a:gd name="connsiteX11908" fmla="*/ 4621998 w 4716235"/>
              <a:gd name="connsiteY11908" fmla="*/ 1270285 h 4596459"/>
              <a:gd name="connsiteX11909" fmla="*/ 4630341 w 4716235"/>
              <a:gd name="connsiteY11909" fmla="*/ 1278628 h 4596459"/>
              <a:gd name="connsiteX11910" fmla="*/ 4629351 w 4716235"/>
              <a:gd name="connsiteY11910" fmla="*/ 1279619 h 4596459"/>
              <a:gd name="connsiteX11911" fmla="*/ 4637609 w 4716235"/>
              <a:gd name="connsiteY11911" fmla="*/ 1287877 h 4596459"/>
              <a:gd name="connsiteX11912" fmla="*/ 4637194 w 4716235"/>
              <a:gd name="connsiteY11912" fmla="*/ 1288291 h 4596459"/>
              <a:gd name="connsiteX11913" fmla="*/ 4643307 w 4716235"/>
              <a:gd name="connsiteY11913" fmla="*/ 1294403 h 4596459"/>
              <a:gd name="connsiteX11914" fmla="*/ 4643720 w 4716235"/>
              <a:gd name="connsiteY11914" fmla="*/ 1293990 h 4596459"/>
              <a:gd name="connsiteX11915" fmla="*/ 4652393 w 4716235"/>
              <a:gd name="connsiteY11915" fmla="*/ 1302661 h 4596459"/>
              <a:gd name="connsiteX11916" fmla="*/ 4653466 w 4716235"/>
              <a:gd name="connsiteY11916" fmla="*/ 1301587 h 4596459"/>
              <a:gd name="connsiteX11917" fmla="*/ 4662552 w 4716235"/>
              <a:gd name="connsiteY11917" fmla="*/ 1310671 h 4596459"/>
              <a:gd name="connsiteX11918" fmla="*/ 4664367 w 4716235"/>
              <a:gd name="connsiteY11918" fmla="*/ 1308855 h 4596459"/>
              <a:gd name="connsiteX11919" fmla="*/ 4673784 w 4716235"/>
              <a:gd name="connsiteY11919" fmla="*/ 1318272 h 4596459"/>
              <a:gd name="connsiteX11920" fmla="*/ 4676592 w 4716235"/>
              <a:gd name="connsiteY11920" fmla="*/ 1315464 h 4596459"/>
              <a:gd name="connsiteX11921" fmla="*/ 4687330 w 4716235"/>
              <a:gd name="connsiteY11921" fmla="*/ 1326201 h 4596459"/>
              <a:gd name="connsiteX11922" fmla="*/ 4676592 w 4716235"/>
              <a:gd name="connsiteY11922" fmla="*/ 1336937 h 4596459"/>
              <a:gd name="connsiteX11923" fmla="*/ 4667177 w 4716235"/>
              <a:gd name="connsiteY11923" fmla="*/ 1327522 h 4596459"/>
              <a:gd name="connsiteX11924" fmla="*/ 4664367 w 4716235"/>
              <a:gd name="connsiteY11924" fmla="*/ 1330330 h 4596459"/>
              <a:gd name="connsiteX11925" fmla="*/ 4655284 w 4716235"/>
              <a:gd name="connsiteY11925" fmla="*/ 1321244 h 4596459"/>
              <a:gd name="connsiteX11926" fmla="*/ 4653466 w 4716235"/>
              <a:gd name="connsiteY11926" fmla="*/ 1323062 h 4596459"/>
              <a:gd name="connsiteX11927" fmla="*/ 4644795 w 4716235"/>
              <a:gd name="connsiteY11927" fmla="*/ 1314389 h 4596459"/>
              <a:gd name="connsiteX11928" fmla="*/ 4643720 w 4716235"/>
              <a:gd name="connsiteY11928" fmla="*/ 1315464 h 4596459"/>
              <a:gd name="connsiteX11929" fmla="*/ 4635214 w 4716235"/>
              <a:gd name="connsiteY11929" fmla="*/ 1306956 h 4596459"/>
              <a:gd name="connsiteX11930" fmla="*/ 4634800 w 4716235"/>
              <a:gd name="connsiteY11930" fmla="*/ 1307371 h 4596459"/>
              <a:gd name="connsiteX11931" fmla="*/ 4624063 w 4716235"/>
              <a:gd name="connsiteY11931" fmla="*/ 1296633 h 4596459"/>
              <a:gd name="connsiteX11932" fmla="*/ 4624478 w 4716235"/>
              <a:gd name="connsiteY11932" fmla="*/ 1296220 h 4596459"/>
              <a:gd name="connsiteX11933" fmla="*/ 4616136 w 4716235"/>
              <a:gd name="connsiteY11933" fmla="*/ 1287877 h 4596459"/>
              <a:gd name="connsiteX11934" fmla="*/ 4617126 w 4716235"/>
              <a:gd name="connsiteY11934" fmla="*/ 1286888 h 4596459"/>
              <a:gd name="connsiteX11935" fmla="*/ 4608868 w 4716235"/>
              <a:gd name="connsiteY11935" fmla="*/ 1278628 h 4596459"/>
              <a:gd name="connsiteX11936" fmla="*/ 4610438 w 4716235"/>
              <a:gd name="connsiteY11936" fmla="*/ 1277061 h 4596459"/>
              <a:gd name="connsiteX11937" fmla="*/ 4602095 w 4716235"/>
              <a:gd name="connsiteY11937" fmla="*/ 1268716 h 4596459"/>
              <a:gd name="connsiteX11938" fmla="*/ 4604160 w 4716235"/>
              <a:gd name="connsiteY11938" fmla="*/ 1266652 h 4596459"/>
              <a:gd name="connsiteX11939" fmla="*/ 4595819 w 4716235"/>
              <a:gd name="connsiteY11939" fmla="*/ 1258311 h 4596459"/>
              <a:gd name="connsiteX11940" fmla="*/ 4598213 w 4716235"/>
              <a:gd name="connsiteY11940" fmla="*/ 1255916 h 4596459"/>
              <a:gd name="connsiteX11941" fmla="*/ 4589541 w 4716235"/>
              <a:gd name="connsiteY11941" fmla="*/ 1247243 h 4596459"/>
              <a:gd name="connsiteX11942" fmla="*/ 4592348 w 4716235"/>
              <a:gd name="connsiteY11942" fmla="*/ 1244436 h 4596459"/>
              <a:gd name="connsiteX11943" fmla="*/ 4583429 w 4716235"/>
              <a:gd name="connsiteY11943" fmla="*/ 1235515 h 4596459"/>
              <a:gd name="connsiteX11944" fmla="*/ 4586483 w 4716235"/>
              <a:gd name="connsiteY11944" fmla="*/ 1232461 h 4596459"/>
              <a:gd name="connsiteX11945" fmla="*/ 4577152 w 4716235"/>
              <a:gd name="connsiteY11945" fmla="*/ 1223128 h 4596459"/>
              <a:gd name="connsiteX11946" fmla="*/ 4580291 w 4716235"/>
              <a:gd name="connsiteY11946" fmla="*/ 1219989 h 4596459"/>
              <a:gd name="connsiteX11947" fmla="*/ 4570380 w 4716235"/>
              <a:gd name="connsiteY11947" fmla="*/ 1210078 h 4596459"/>
              <a:gd name="connsiteX11948" fmla="*/ 4573437 w 4716235"/>
              <a:gd name="connsiteY11948" fmla="*/ 1207022 h 4596459"/>
              <a:gd name="connsiteX11949" fmla="*/ 4562782 w 4716235"/>
              <a:gd name="connsiteY11949" fmla="*/ 1196367 h 4596459"/>
              <a:gd name="connsiteX11950" fmla="*/ 4573519 w 4716235"/>
              <a:gd name="connsiteY11950" fmla="*/ 1185631 h 4596459"/>
              <a:gd name="connsiteX11951" fmla="*/ 4505958 w 4716235"/>
              <a:gd name="connsiteY11951" fmla="*/ 1183153 h 4596459"/>
              <a:gd name="connsiteX11952" fmla="*/ 4516695 w 4716235"/>
              <a:gd name="connsiteY11952" fmla="*/ 1193889 h 4596459"/>
              <a:gd name="connsiteX11953" fmla="*/ 4505958 w 4716235"/>
              <a:gd name="connsiteY11953" fmla="*/ 1204627 h 4596459"/>
              <a:gd name="connsiteX11954" fmla="*/ 4495222 w 4716235"/>
              <a:gd name="connsiteY11954" fmla="*/ 1193889 h 4596459"/>
              <a:gd name="connsiteX11955" fmla="*/ 4505958 w 4716235"/>
              <a:gd name="connsiteY11955" fmla="*/ 1183153 h 4596459"/>
              <a:gd name="connsiteX11956" fmla="*/ 129645 w 4716235"/>
              <a:gd name="connsiteY11956" fmla="*/ 1183153 h 4596459"/>
              <a:gd name="connsiteX11957" fmla="*/ 140384 w 4716235"/>
              <a:gd name="connsiteY11957" fmla="*/ 1193889 h 4596459"/>
              <a:gd name="connsiteX11958" fmla="*/ 129645 w 4716235"/>
              <a:gd name="connsiteY11958" fmla="*/ 1204627 h 4596459"/>
              <a:gd name="connsiteX11959" fmla="*/ 118909 w 4716235"/>
              <a:gd name="connsiteY11959" fmla="*/ 1193889 h 4596459"/>
              <a:gd name="connsiteX11960" fmla="*/ 129645 w 4716235"/>
              <a:gd name="connsiteY11960" fmla="*/ 1183153 h 4596459"/>
              <a:gd name="connsiteX11961" fmla="*/ 4258186 w 4716235"/>
              <a:gd name="connsiteY11961" fmla="*/ 1178363 h 4596459"/>
              <a:gd name="connsiteX11962" fmla="*/ 4268923 w 4716235"/>
              <a:gd name="connsiteY11962" fmla="*/ 1189099 h 4596459"/>
              <a:gd name="connsiteX11963" fmla="*/ 4258186 w 4716235"/>
              <a:gd name="connsiteY11963" fmla="*/ 1199837 h 4596459"/>
              <a:gd name="connsiteX11964" fmla="*/ 4247450 w 4716235"/>
              <a:gd name="connsiteY11964" fmla="*/ 1189099 h 4596459"/>
              <a:gd name="connsiteX11965" fmla="*/ 4258186 w 4716235"/>
              <a:gd name="connsiteY11965" fmla="*/ 1178363 h 4596459"/>
              <a:gd name="connsiteX11966" fmla="*/ 3363895 w 4716235"/>
              <a:gd name="connsiteY11966" fmla="*/ 1174895 h 4596459"/>
              <a:gd name="connsiteX11967" fmla="*/ 3374632 w 4716235"/>
              <a:gd name="connsiteY11967" fmla="*/ 1185631 h 4596459"/>
              <a:gd name="connsiteX11968" fmla="*/ 3363895 w 4716235"/>
              <a:gd name="connsiteY11968" fmla="*/ 1196369 h 4596459"/>
              <a:gd name="connsiteX11969" fmla="*/ 3353159 w 4716235"/>
              <a:gd name="connsiteY11969" fmla="*/ 1185631 h 4596459"/>
              <a:gd name="connsiteX11970" fmla="*/ 3363895 w 4716235"/>
              <a:gd name="connsiteY11970" fmla="*/ 1174895 h 4596459"/>
              <a:gd name="connsiteX11971" fmla="*/ 4565094 w 4716235"/>
              <a:gd name="connsiteY11971" fmla="*/ 1171095 h 4596459"/>
              <a:gd name="connsiteX11972" fmla="*/ 4575832 w 4716235"/>
              <a:gd name="connsiteY11972" fmla="*/ 1181831 h 4596459"/>
              <a:gd name="connsiteX11973" fmla="*/ 4565094 w 4716235"/>
              <a:gd name="connsiteY11973" fmla="*/ 1192569 h 4596459"/>
              <a:gd name="connsiteX11974" fmla="*/ 4554358 w 4716235"/>
              <a:gd name="connsiteY11974" fmla="*/ 1181831 h 4596459"/>
              <a:gd name="connsiteX11975" fmla="*/ 4565094 w 4716235"/>
              <a:gd name="connsiteY11975" fmla="*/ 1171095 h 4596459"/>
              <a:gd name="connsiteX11976" fmla="*/ 4484321 w 4716235"/>
              <a:gd name="connsiteY11976" fmla="*/ 1166635 h 4596459"/>
              <a:gd name="connsiteX11977" fmla="*/ 4495057 w 4716235"/>
              <a:gd name="connsiteY11977" fmla="*/ 1177371 h 4596459"/>
              <a:gd name="connsiteX11978" fmla="*/ 4484321 w 4716235"/>
              <a:gd name="connsiteY11978" fmla="*/ 1188109 h 4596459"/>
              <a:gd name="connsiteX11979" fmla="*/ 4473584 w 4716235"/>
              <a:gd name="connsiteY11979" fmla="*/ 1177371 h 4596459"/>
              <a:gd name="connsiteX11980" fmla="*/ 4484321 w 4716235"/>
              <a:gd name="connsiteY11980" fmla="*/ 1166635 h 4596459"/>
              <a:gd name="connsiteX11981" fmla="*/ 277317 w 4716235"/>
              <a:gd name="connsiteY11981" fmla="*/ 1165313 h 4596459"/>
              <a:gd name="connsiteX11982" fmla="*/ 288055 w 4716235"/>
              <a:gd name="connsiteY11982" fmla="*/ 1176050 h 4596459"/>
              <a:gd name="connsiteX11983" fmla="*/ 277317 w 4716235"/>
              <a:gd name="connsiteY11983" fmla="*/ 1186788 h 4596459"/>
              <a:gd name="connsiteX11984" fmla="*/ 266580 w 4716235"/>
              <a:gd name="connsiteY11984" fmla="*/ 1176050 h 4596459"/>
              <a:gd name="connsiteX11985" fmla="*/ 277317 w 4716235"/>
              <a:gd name="connsiteY11985" fmla="*/ 1165313 h 4596459"/>
              <a:gd name="connsiteX11986" fmla="*/ 4199548 w 4716235"/>
              <a:gd name="connsiteY11986" fmla="*/ 1160359 h 4596459"/>
              <a:gd name="connsiteX11987" fmla="*/ 4210284 w 4716235"/>
              <a:gd name="connsiteY11987" fmla="*/ 1171095 h 4596459"/>
              <a:gd name="connsiteX11988" fmla="*/ 4199548 w 4716235"/>
              <a:gd name="connsiteY11988" fmla="*/ 1181831 h 4596459"/>
              <a:gd name="connsiteX11989" fmla="*/ 4188812 w 4716235"/>
              <a:gd name="connsiteY11989" fmla="*/ 1171095 h 4596459"/>
              <a:gd name="connsiteX11990" fmla="*/ 4199548 w 4716235"/>
              <a:gd name="connsiteY11990" fmla="*/ 1160359 h 4596459"/>
              <a:gd name="connsiteX11991" fmla="*/ 3209947 w 4716235"/>
              <a:gd name="connsiteY11991" fmla="*/ 1157055 h 4596459"/>
              <a:gd name="connsiteX11992" fmla="*/ 3220683 w 4716235"/>
              <a:gd name="connsiteY11992" fmla="*/ 1167791 h 4596459"/>
              <a:gd name="connsiteX11993" fmla="*/ 3209947 w 4716235"/>
              <a:gd name="connsiteY11993" fmla="*/ 1178529 h 4596459"/>
              <a:gd name="connsiteX11994" fmla="*/ 3199210 w 4716235"/>
              <a:gd name="connsiteY11994" fmla="*/ 1167791 h 4596459"/>
              <a:gd name="connsiteX11995" fmla="*/ 3209947 w 4716235"/>
              <a:gd name="connsiteY11995" fmla="*/ 1157055 h 4596459"/>
              <a:gd name="connsiteX11996" fmla="*/ 4555513 w 4716235"/>
              <a:gd name="connsiteY11996" fmla="*/ 1155734 h 4596459"/>
              <a:gd name="connsiteX11997" fmla="*/ 4566249 w 4716235"/>
              <a:gd name="connsiteY11997" fmla="*/ 1166470 h 4596459"/>
              <a:gd name="connsiteX11998" fmla="*/ 4555513 w 4716235"/>
              <a:gd name="connsiteY11998" fmla="*/ 1177208 h 4596459"/>
              <a:gd name="connsiteX11999" fmla="*/ 4544776 w 4716235"/>
              <a:gd name="connsiteY11999" fmla="*/ 1166470 h 4596459"/>
              <a:gd name="connsiteX12000" fmla="*/ 4555513 w 4716235"/>
              <a:gd name="connsiteY12000" fmla="*/ 1155734 h 4596459"/>
              <a:gd name="connsiteX12001" fmla="*/ 4459378 w 4716235"/>
              <a:gd name="connsiteY12001" fmla="*/ 1149291 h 4596459"/>
              <a:gd name="connsiteX12002" fmla="*/ 4470116 w 4716235"/>
              <a:gd name="connsiteY12002" fmla="*/ 1160027 h 4596459"/>
              <a:gd name="connsiteX12003" fmla="*/ 4459378 w 4716235"/>
              <a:gd name="connsiteY12003" fmla="*/ 1170766 h 4596459"/>
              <a:gd name="connsiteX12004" fmla="*/ 4448642 w 4716235"/>
              <a:gd name="connsiteY12004" fmla="*/ 1160027 h 4596459"/>
              <a:gd name="connsiteX12005" fmla="*/ 4459378 w 4716235"/>
              <a:gd name="connsiteY12005" fmla="*/ 1149291 h 4596459"/>
              <a:gd name="connsiteX12006" fmla="*/ 438700 w 4716235"/>
              <a:gd name="connsiteY12006" fmla="*/ 1147309 h 4596459"/>
              <a:gd name="connsiteX12007" fmla="*/ 449436 w 4716235"/>
              <a:gd name="connsiteY12007" fmla="*/ 1158045 h 4596459"/>
              <a:gd name="connsiteX12008" fmla="*/ 438700 w 4716235"/>
              <a:gd name="connsiteY12008" fmla="*/ 1168783 h 4596459"/>
              <a:gd name="connsiteX12009" fmla="*/ 427964 w 4716235"/>
              <a:gd name="connsiteY12009" fmla="*/ 1158045 h 4596459"/>
              <a:gd name="connsiteX12010" fmla="*/ 438700 w 4716235"/>
              <a:gd name="connsiteY12010" fmla="*/ 1147309 h 4596459"/>
              <a:gd name="connsiteX12011" fmla="*/ 4133640 w 4716235"/>
              <a:gd name="connsiteY12011" fmla="*/ 1141858 h 4596459"/>
              <a:gd name="connsiteX12012" fmla="*/ 4144378 w 4716235"/>
              <a:gd name="connsiteY12012" fmla="*/ 1152595 h 4596459"/>
              <a:gd name="connsiteX12013" fmla="*/ 4133640 w 4716235"/>
              <a:gd name="connsiteY12013" fmla="*/ 1163333 h 4596459"/>
              <a:gd name="connsiteX12014" fmla="*/ 4122904 w 4716235"/>
              <a:gd name="connsiteY12014" fmla="*/ 1152595 h 4596459"/>
              <a:gd name="connsiteX12015" fmla="*/ 4133640 w 4716235"/>
              <a:gd name="connsiteY12015" fmla="*/ 1141858 h 4596459"/>
              <a:gd name="connsiteX12016" fmla="*/ 4544282 w 4716235"/>
              <a:gd name="connsiteY12016" fmla="*/ 1139711 h 4596459"/>
              <a:gd name="connsiteX12017" fmla="*/ 4555018 w 4716235"/>
              <a:gd name="connsiteY12017" fmla="*/ 1150448 h 4596459"/>
              <a:gd name="connsiteX12018" fmla="*/ 4544282 w 4716235"/>
              <a:gd name="connsiteY12018" fmla="*/ 1161184 h 4596459"/>
              <a:gd name="connsiteX12019" fmla="*/ 4533546 w 4716235"/>
              <a:gd name="connsiteY12019" fmla="*/ 1150448 h 4596459"/>
              <a:gd name="connsiteX12020" fmla="*/ 4544282 w 4716235"/>
              <a:gd name="connsiteY12020" fmla="*/ 1139711 h 4596459"/>
              <a:gd name="connsiteX12021" fmla="*/ 3041957 w 4716235"/>
              <a:gd name="connsiteY12021" fmla="*/ 1138719 h 4596459"/>
              <a:gd name="connsiteX12022" fmla="*/ 3052696 w 4716235"/>
              <a:gd name="connsiteY12022" fmla="*/ 1149456 h 4596459"/>
              <a:gd name="connsiteX12023" fmla="*/ 3041957 w 4716235"/>
              <a:gd name="connsiteY12023" fmla="*/ 1160194 h 4596459"/>
              <a:gd name="connsiteX12024" fmla="*/ 3031221 w 4716235"/>
              <a:gd name="connsiteY12024" fmla="*/ 1149456 h 4596459"/>
              <a:gd name="connsiteX12025" fmla="*/ 3041957 w 4716235"/>
              <a:gd name="connsiteY12025" fmla="*/ 1138719 h 4596459"/>
              <a:gd name="connsiteX12026" fmla="*/ 4577648 w 4716235"/>
              <a:gd name="connsiteY12026" fmla="*/ 1138059 h 4596459"/>
              <a:gd name="connsiteX12027" fmla="*/ 4588386 w 4716235"/>
              <a:gd name="connsiteY12027" fmla="*/ 1148795 h 4596459"/>
              <a:gd name="connsiteX12028" fmla="*/ 4584834 w 4716235"/>
              <a:gd name="connsiteY12028" fmla="*/ 1152347 h 4596459"/>
              <a:gd name="connsiteX12029" fmla="*/ 4595323 w 4716235"/>
              <a:gd name="connsiteY12029" fmla="*/ 1162835 h 4596459"/>
              <a:gd name="connsiteX12030" fmla="*/ 4592100 w 4716235"/>
              <a:gd name="connsiteY12030" fmla="*/ 1166057 h 4596459"/>
              <a:gd name="connsiteX12031" fmla="*/ 4602095 w 4716235"/>
              <a:gd name="connsiteY12031" fmla="*/ 1176050 h 4596459"/>
              <a:gd name="connsiteX12032" fmla="*/ 4599287 w 4716235"/>
              <a:gd name="connsiteY12032" fmla="*/ 1178859 h 4596459"/>
              <a:gd name="connsiteX12033" fmla="*/ 4609033 w 4716235"/>
              <a:gd name="connsiteY12033" fmla="*/ 1188603 h 4596459"/>
              <a:gd name="connsiteX12034" fmla="*/ 4606638 w 4716235"/>
              <a:gd name="connsiteY12034" fmla="*/ 1191000 h 4596459"/>
              <a:gd name="connsiteX12035" fmla="*/ 4616136 w 4716235"/>
              <a:gd name="connsiteY12035" fmla="*/ 1200496 h 4596459"/>
              <a:gd name="connsiteX12036" fmla="*/ 4614484 w 4716235"/>
              <a:gd name="connsiteY12036" fmla="*/ 1202149 h 4596459"/>
              <a:gd name="connsiteX12037" fmla="*/ 4623900 w 4716235"/>
              <a:gd name="connsiteY12037" fmla="*/ 1211564 h 4596459"/>
              <a:gd name="connsiteX12038" fmla="*/ 4622660 w 4716235"/>
              <a:gd name="connsiteY12038" fmla="*/ 1212804 h 4596459"/>
              <a:gd name="connsiteX12039" fmla="*/ 4631992 w 4716235"/>
              <a:gd name="connsiteY12039" fmla="*/ 1222136 h 4596459"/>
              <a:gd name="connsiteX12040" fmla="*/ 4631579 w 4716235"/>
              <a:gd name="connsiteY12040" fmla="*/ 1222548 h 4596459"/>
              <a:gd name="connsiteX12041" fmla="*/ 4639839 w 4716235"/>
              <a:gd name="connsiteY12041" fmla="*/ 1230808 h 4596459"/>
              <a:gd name="connsiteX12042" fmla="*/ 4640085 w 4716235"/>
              <a:gd name="connsiteY12042" fmla="*/ 1230560 h 4596459"/>
              <a:gd name="connsiteX12043" fmla="*/ 4649831 w 4716235"/>
              <a:gd name="connsiteY12043" fmla="*/ 1240306 h 4596459"/>
              <a:gd name="connsiteX12044" fmla="*/ 4650988 w 4716235"/>
              <a:gd name="connsiteY12044" fmla="*/ 1239150 h 4596459"/>
              <a:gd name="connsiteX12045" fmla="*/ 4661064 w 4716235"/>
              <a:gd name="connsiteY12045" fmla="*/ 1249225 h 4596459"/>
              <a:gd name="connsiteX12046" fmla="*/ 4663046 w 4716235"/>
              <a:gd name="connsiteY12046" fmla="*/ 1247243 h 4596459"/>
              <a:gd name="connsiteX12047" fmla="*/ 4673782 w 4716235"/>
              <a:gd name="connsiteY12047" fmla="*/ 1257980 h 4596459"/>
              <a:gd name="connsiteX12048" fmla="*/ 4663046 w 4716235"/>
              <a:gd name="connsiteY12048" fmla="*/ 1268718 h 4596459"/>
              <a:gd name="connsiteX12049" fmla="*/ 4652970 w 4716235"/>
              <a:gd name="connsiteY12049" fmla="*/ 1258642 h 4596459"/>
              <a:gd name="connsiteX12050" fmla="*/ 4650988 w 4716235"/>
              <a:gd name="connsiteY12050" fmla="*/ 1260624 h 4596459"/>
              <a:gd name="connsiteX12051" fmla="*/ 4641242 w 4716235"/>
              <a:gd name="connsiteY12051" fmla="*/ 1250876 h 4596459"/>
              <a:gd name="connsiteX12052" fmla="*/ 4640085 w 4716235"/>
              <a:gd name="connsiteY12052" fmla="*/ 1252033 h 4596459"/>
              <a:gd name="connsiteX12053" fmla="*/ 4630589 w 4716235"/>
              <a:gd name="connsiteY12053" fmla="*/ 1242537 h 4596459"/>
              <a:gd name="connsiteX12054" fmla="*/ 4630341 w 4716235"/>
              <a:gd name="connsiteY12054" fmla="*/ 1242785 h 4596459"/>
              <a:gd name="connsiteX12055" fmla="*/ 4619605 w 4716235"/>
              <a:gd name="connsiteY12055" fmla="*/ 1232046 h 4596459"/>
              <a:gd name="connsiteX12056" fmla="*/ 4620017 w 4716235"/>
              <a:gd name="connsiteY12056" fmla="*/ 1231635 h 4596459"/>
              <a:gd name="connsiteX12057" fmla="*/ 4610519 w 4716235"/>
              <a:gd name="connsiteY12057" fmla="*/ 1222136 h 4596459"/>
              <a:gd name="connsiteX12058" fmla="*/ 4611757 w 4716235"/>
              <a:gd name="connsiteY12058" fmla="*/ 1220897 h 4596459"/>
              <a:gd name="connsiteX12059" fmla="*/ 4602426 w 4716235"/>
              <a:gd name="connsiteY12059" fmla="*/ 1211564 h 4596459"/>
              <a:gd name="connsiteX12060" fmla="*/ 4604078 w 4716235"/>
              <a:gd name="connsiteY12060" fmla="*/ 1209913 h 4596459"/>
              <a:gd name="connsiteX12061" fmla="*/ 4594662 w 4716235"/>
              <a:gd name="connsiteY12061" fmla="*/ 1200496 h 4596459"/>
              <a:gd name="connsiteX12062" fmla="*/ 4597057 w 4716235"/>
              <a:gd name="connsiteY12062" fmla="*/ 1198103 h 4596459"/>
              <a:gd name="connsiteX12063" fmla="*/ 4587559 w 4716235"/>
              <a:gd name="connsiteY12063" fmla="*/ 1188603 h 4596459"/>
              <a:gd name="connsiteX12064" fmla="*/ 4590366 w 4716235"/>
              <a:gd name="connsiteY12064" fmla="*/ 1185796 h 4596459"/>
              <a:gd name="connsiteX12065" fmla="*/ 4580622 w 4716235"/>
              <a:gd name="connsiteY12065" fmla="*/ 1176050 h 4596459"/>
              <a:gd name="connsiteX12066" fmla="*/ 4583844 w 4716235"/>
              <a:gd name="connsiteY12066" fmla="*/ 1172829 h 4596459"/>
              <a:gd name="connsiteX12067" fmla="*/ 4573850 w 4716235"/>
              <a:gd name="connsiteY12067" fmla="*/ 1162835 h 4596459"/>
              <a:gd name="connsiteX12068" fmla="*/ 4577400 w 4716235"/>
              <a:gd name="connsiteY12068" fmla="*/ 1159285 h 4596459"/>
              <a:gd name="connsiteX12069" fmla="*/ 4566911 w 4716235"/>
              <a:gd name="connsiteY12069" fmla="*/ 1148795 h 4596459"/>
              <a:gd name="connsiteX12070" fmla="*/ 4577648 w 4716235"/>
              <a:gd name="connsiteY12070" fmla="*/ 1138059 h 4596459"/>
              <a:gd name="connsiteX12071" fmla="*/ 4659578 w 4716235"/>
              <a:gd name="connsiteY12071" fmla="*/ 1135086 h 4596459"/>
              <a:gd name="connsiteX12072" fmla="*/ 4663708 w 4716235"/>
              <a:gd name="connsiteY12072" fmla="*/ 1139215 h 4596459"/>
              <a:gd name="connsiteX12073" fmla="*/ 4659578 w 4716235"/>
              <a:gd name="connsiteY12073" fmla="*/ 1143345 h 4596459"/>
              <a:gd name="connsiteX12074" fmla="*/ 4655449 w 4716235"/>
              <a:gd name="connsiteY12074" fmla="*/ 1139215 h 4596459"/>
              <a:gd name="connsiteX12075" fmla="*/ 4659578 w 4716235"/>
              <a:gd name="connsiteY12075" fmla="*/ 1135086 h 4596459"/>
              <a:gd name="connsiteX12076" fmla="*/ 4430306 w 4716235"/>
              <a:gd name="connsiteY12076" fmla="*/ 1131287 h 4596459"/>
              <a:gd name="connsiteX12077" fmla="*/ 4441042 w 4716235"/>
              <a:gd name="connsiteY12077" fmla="*/ 1142023 h 4596459"/>
              <a:gd name="connsiteX12078" fmla="*/ 4430306 w 4716235"/>
              <a:gd name="connsiteY12078" fmla="*/ 1152761 h 4596459"/>
              <a:gd name="connsiteX12079" fmla="*/ 4419570 w 4716235"/>
              <a:gd name="connsiteY12079" fmla="*/ 1142023 h 4596459"/>
              <a:gd name="connsiteX12080" fmla="*/ 4430306 w 4716235"/>
              <a:gd name="connsiteY12080" fmla="*/ 1131287 h 4596459"/>
              <a:gd name="connsiteX12081" fmla="*/ 614453 w 4716235"/>
              <a:gd name="connsiteY12081" fmla="*/ 1128809 h 4596459"/>
              <a:gd name="connsiteX12082" fmla="*/ 625189 w 4716235"/>
              <a:gd name="connsiteY12082" fmla="*/ 1139545 h 4596459"/>
              <a:gd name="connsiteX12083" fmla="*/ 614453 w 4716235"/>
              <a:gd name="connsiteY12083" fmla="*/ 1150283 h 4596459"/>
              <a:gd name="connsiteX12084" fmla="*/ 603717 w 4716235"/>
              <a:gd name="connsiteY12084" fmla="*/ 1139545 h 4596459"/>
              <a:gd name="connsiteX12085" fmla="*/ 614453 w 4716235"/>
              <a:gd name="connsiteY12085" fmla="*/ 1128809 h 4596459"/>
              <a:gd name="connsiteX12086" fmla="*/ 4570380 w 4716235"/>
              <a:gd name="connsiteY12086" fmla="*/ 1123193 h 4596459"/>
              <a:gd name="connsiteX12087" fmla="*/ 4581118 w 4716235"/>
              <a:gd name="connsiteY12087" fmla="*/ 1133930 h 4596459"/>
              <a:gd name="connsiteX12088" fmla="*/ 4570380 w 4716235"/>
              <a:gd name="connsiteY12088" fmla="*/ 1144666 h 4596459"/>
              <a:gd name="connsiteX12089" fmla="*/ 4559643 w 4716235"/>
              <a:gd name="connsiteY12089" fmla="*/ 1133930 h 4596459"/>
              <a:gd name="connsiteX12090" fmla="*/ 4570380 w 4716235"/>
              <a:gd name="connsiteY12090" fmla="*/ 1123193 h 4596459"/>
              <a:gd name="connsiteX12091" fmla="*/ 4531232 w 4716235"/>
              <a:gd name="connsiteY12091" fmla="*/ 1122862 h 4596459"/>
              <a:gd name="connsiteX12092" fmla="*/ 4541969 w 4716235"/>
              <a:gd name="connsiteY12092" fmla="*/ 1133598 h 4596459"/>
              <a:gd name="connsiteX12093" fmla="*/ 4531232 w 4716235"/>
              <a:gd name="connsiteY12093" fmla="*/ 1144337 h 4596459"/>
              <a:gd name="connsiteX12094" fmla="*/ 4520496 w 4716235"/>
              <a:gd name="connsiteY12094" fmla="*/ 1133598 h 4596459"/>
              <a:gd name="connsiteX12095" fmla="*/ 4531232 w 4716235"/>
              <a:gd name="connsiteY12095" fmla="*/ 1122862 h 4596459"/>
              <a:gd name="connsiteX12096" fmla="*/ 4059969 w 4716235"/>
              <a:gd name="connsiteY12096" fmla="*/ 1122366 h 4596459"/>
              <a:gd name="connsiteX12097" fmla="*/ 4070705 w 4716235"/>
              <a:gd name="connsiteY12097" fmla="*/ 1133102 h 4596459"/>
              <a:gd name="connsiteX12098" fmla="*/ 4059969 w 4716235"/>
              <a:gd name="connsiteY12098" fmla="*/ 1143841 h 4596459"/>
              <a:gd name="connsiteX12099" fmla="*/ 4049232 w 4716235"/>
              <a:gd name="connsiteY12099" fmla="*/ 1133102 h 4596459"/>
              <a:gd name="connsiteX12100" fmla="*/ 4059969 w 4716235"/>
              <a:gd name="connsiteY12100" fmla="*/ 1122366 h 4596459"/>
              <a:gd name="connsiteX12101" fmla="*/ 2859266 w 4716235"/>
              <a:gd name="connsiteY12101" fmla="*/ 1120219 h 4596459"/>
              <a:gd name="connsiteX12102" fmla="*/ 2870004 w 4716235"/>
              <a:gd name="connsiteY12102" fmla="*/ 1130956 h 4596459"/>
              <a:gd name="connsiteX12103" fmla="*/ 2859266 w 4716235"/>
              <a:gd name="connsiteY12103" fmla="*/ 1141694 h 4596459"/>
              <a:gd name="connsiteX12104" fmla="*/ 2848530 w 4716235"/>
              <a:gd name="connsiteY12104" fmla="*/ 1130956 h 4596459"/>
              <a:gd name="connsiteX12105" fmla="*/ 2859266 w 4716235"/>
              <a:gd name="connsiteY12105" fmla="*/ 1120219 h 4596459"/>
              <a:gd name="connsiteX12106" fmla="*/ 4645206 w 4716235"/>
              <a:gd name="connsiteY12106" fmla="*/ 1118898 h 4596459"/>
              <a:gd name="connsiteX12107" fmla="*/ 4655945 w 4716235"/>
              <a:gd name="connsiteY12107" fmla="*/ 1129634 h 4596459"/>
              <a:gd name="connsiteX12108" fmla="*/ 4645206 w 4716235"/>
              <a:gd name="connsiteY12108" fmla="*/ 1140372 h 4596459"/>
              <a:gd name="connsiteX12109" fmla="*/ 4634470 w 4716235"/>
              <a:gd name="connsiteY12109" fmla="*/ 1129634 h 4596459"/>
              <a:gd name="connsiteX12110" fmla="*/ 4645206 w 4716235"/>
              <a:gd name="connsiteY12110" fmla="*/ 1118898 h 4596459"/>
              <a:gd name="connsiteX12111" fmla="*/ 4396938 w 4716235"/>
              <a:gd name="connsiteY12111" fmla="*/ 1112455 h 4596459"/>
              <a:gd name="connsiteX12112" fmla="*/ 4407677 w 4716235"/>
              <a:gd name="connsiteY12112" fmla="*/ 1123192 h 4596459"/>
              <a:gd name="connsiteX12113" fmla="*/ 4396938 w 4716235"/>
              <a:gd name="connsiteY12113" fmla="*/ 1133930 h 4596459"/>
              <a:gd name="connsiteX12114" fmla="*/ 4386202 w 4716235"/>
              <a:gd name="connsiteY12114" fmla="*/ 1123192 h 4596459"/>
              <a:gd name="connsiteX12115" fmla="*/ 4396938 w 4716235"/>
              <a:gd name="connsiteY12115" fmla="*/ 1112455 h 4596459"/>
              <a:gd name="connsiteX12116" fmla="*/ 4589211 w 4716235"/>
              <a:gd name="connsiteY12116" fmla="*/ 1110804 h 4596459"/>
              <a:gd name="connsiteX12117" fmla="*/ 4599948 w 4716235"/>
              <a:gd name="connsiteY12117" fmla="*/ 1121541 h 4596459"/>
              <a:gd name="connsiteX12118" fmla="*/ 4597469 w 4716235"/>
              <a:gd name="connsiteY12118" fmla="*/ 1124019 h 4596459"/>
              <a:gd name="connsiteX12119" fmla="*/ 4608041 w 4716235"/>
              <a:gd name="connsiteY12119" fmla="*/ 1134590 h 4596459"/>
              <a:gd name="connsiteX12120" fmla="*/ 4606225 w 4716235"/>
              <a:gd name="connsiteY12120" fmla="*/ 1136408 h 4596459"/>
              <a:gd name="connsiteX12121" fmla="*/ 4616632 w 4716235"/>
              <a:gd name="connsiteY12121" fmla="*/ 1146813 h 4596459"/>
              <a:gd name="connsiteX12122" fmla="*/ 4615474 w 4716235"/>
              <a:gd name="connsiteY12122" fmla="*/ 1147971 h 4596459"/>
              <a:gd name="connsiteX12123" fmla="*/ 4625881 w 4716235"/>
              <a:gd name="connsiteY12123" fmla="*/ 1158376 h 4596459"/>
              <a:gd name="connsiteX12124" fmla="*/ 4625468 w 4716235"/>
              <a:gd name="connsiteY12124" fmla="*/ 1158789 h 4596459"/>
              <a:gd name="connsiteX12125" fmla="*/ 4635875 w 4716235"/>
              <a:gd name="connsiteY12125" fmla="*/ 1169196 h 4596459"/>
              <a:gd name="connsiteX12126" fmla="*/ 4636287 w 4716235"/>
              <a:gd name="connsiteY12126" fmla="*/ 1168783 h 4596459"/>
              <a:gd name="connsiteX12127" fmla="*/ 4646942 w 4716235"/>
              <a:gd name="connsiteY12127" fmla="*/ 1179438 h 4596459"/>
              <a:gd name="connsiteX12128" fmla="*/ 4648181 w 4716235"/>
              <a:gd name="connsiteY12128" fmla="*/ 1178198 h 4596459"/>
              <a:gd name="connsiteX12129" fmla="*/ 4658917 w 4716235"/>
              <a:gd name="connsiteY12129" fmla="*/ 1188935 h 4596459"/>
              <a:gd name="connsiteX12130" fmla="*/ 4648181 w 4716235"/>
              <a:gd name="connsiteY12130" fmla="*/ 1199673 h 4596459"/>
              <a:gd name="connsiteX12131" fmla="*/ 4637527 w 4716235"/>
              <a:gd name="connsiteY12131" fmla="*/ 1189018 h 4596459"/>
              <a:gd name="connsiteX12132" fmla="*/ 4636287 w 4716235"/>
              <a:gd name="connsiteY12132" fmla="*/ 1190258 h 4596459"/>
              <a:gd name="connsiteX12133" fmla="*/ 4625633 w 4716235"/>
              <a:gd name="connsiteY12133" fmla="*/ 1179601 h 4596459"/>
              <a:gd name="connsiteX12134" fmla="*/ 4625220 w 4716235"/>
              <a:gd name="connsiteY12134" fmla="*/ 1180014 h 4596459"/>
              <a:gd name="connsiteX12135" fmla="*/ 4614484 w 4716235"/>
              <a:gd name="connsiteY12135" fmla="*/ 1169278 h 4596459"/>
              <a:gd name="connsiteX12136" fmla="*/ 4614896 w 4716235"/>
              <a:gd name="connsiteY12136" fmla="*/ 1168867 h 4596459"/>
              <a:gd name="connsiteX12137" fmla="*/ 4604408 w 4716235"/>
              <a:gd name="connsiteY12137" fmla="*/ 1158376 h 4596459"/>
              <a:gd name="connsiteX12138" fmla="*/ 4605565 w 4716235"/>
              <a:gd name="connsiteY12138" fmla="*/ 1157220 h 4596459"/>
              <a:gd name="connsiteX12139" fmla="*/ 4595158 w 4716235"/>
              <a:gd name="connsiteY12139" fmla="*/ 1146813 h 4596459"/>
              <a:gd name="connsiteX12140" fmla="*/ 4596973 w 4716235"/>
              <a:gd name="connsiteY12140" fmla="*/ 1144997 h 4596459"/>
              <a:gd name="connsiteX12141" fmla="*/ 4586568 w 4716235"/>
              <a:gd name="connsiteY12141" fmla="*/ 1134590 h 4596459"/>
              <a:gd name="connsiteX12142" fmla="*/ 4589047 w 4716235"/>
              <a:gd name="connsiteY12142" fmla="*/ 1132112 h 4596459"/>
              <a:gd name="connsiteX12143" fmla="*/ 4578475 w 4716235"/>
              <a:gd name="connsiteY12143" fmla="*/ 1121541 h 4596459"/>
              <a:gd name="connsiteX12144" fmla="*/ 4589211 w 4716235"/>
              <a:gd name="connsiteY12144" fmla="*/ 1110804 h 4596459"/>
              <a:gd name="connsiteX12145" fmla="*/ 805403 w 4716235"/>
              <a:gd name="connsiteY12145" fmla="*/ 1110473 h 4596459"/>
              <a:gd name="connsiteX12146" fmla="*/ 816141 w 4716235"/>
              <a:gd name="connsiteY12146" fmla="*/ 1121209 h 4596459"/>
              <a:gd name="connsiteX12147" fmla="*/ 805403 w 4716235"/>
              <a:gd name="connsiteY12147" fmla="*/ 1131947 h 4596459"/>
              <a:gd name="connsiteX12148" fmla="*/ 794666 w 4716235"/>
              <a:gd name="connsiteY12148" fmla="*/ 1121209 h 4596459"/>
              <a:gd name="connsiteX12149" fmla="*/ 805403 w 4716235"/>
              <a:gd name="connsiteY12149" fmla="*/ 1110473 h 4596459"/>
              <a:gd name="connsiteX12150" fmla="*/ 4631992 w 4716235"/>
              <a:gd name="connsiteY12150" fmla="*/ 1108657 h 4596459"/>
              <a:gd name="connsiteX12151" fmla="*/ 4642728 w 4716235"/>
              <a:gd name="connsiteY12151" fmla="*/ 1119394 h 4596459"/>
              <a:gd name="connsiteX12152" fmla="*/ 4631992 w 4716235"/>
              <a:gd name="connsiteY12152" fmla="*/ 1130132 h 4596459"/>
              <a:gd name="connsiteX12153" fmla="*/ 4621256 w 4716235"/>
              <a:gd name="connsiteY12153" fmla="*/ 1119394 h 4596459"/>
              <a:gd name="connsiteX12154" fmla="*/ 4631992 w 4716235"/>
              <a:gd name="connsiteY12154" fmla="*/ 1108657 h 4596459"/>
              <a:gd name="connsiteX12155" fmla="*/ 4562451 w 4716235"/>
              <a:gd name="connsiteY12155" fmla="*/ 1107501 h 4596459"/>
              <a:gd name="connsiteX12156" fmla="*/ 4573187 w 4716235"/>
              <a:gd name="connsiteY12156" fmla="*/ 1118237 h 4596459"/>
              <a:gd name="connsiteX12157" fmla="*/ 4562451 w 4716235"/>
              <a:gd name="connsiteY12157" fmla="*/ 1128975 h 4596459"/>
              <a:gd name="connsiteX12158" fmla="*/ 4551715 w 4716235"/>
              <a:gd name="connsiteY12158" fmla="*/ 1118237 h 4596459"/>
              <a:gd name="connsiteX12159" fmla="*/ 4562451 w 4716235"/>
              <a:gd name="connsiteY12159" fmla="*/ 1107501 h 4596459"/>
              <a:gd name="connsiteX12160" fmla="*/ 4515871 w 4716235"/>
              <a:gd name="connsiteY12160" fmla="*/ 1105187 h 4596459"/>
              <a:gd name="connsiteX12161" fmla="*/ 4526607 w 4716235"/>
              <a:gd name="connsiteY12161" fmla="*/ 1115924 h 4596459"/>
              <a:gd name="connsiteX12162" fmla="*/ 4515871 w 4716235"/>
              <a:gd name="connsiteY12162" fmla="*/ 1126662 h 4596459"/>
              <a:gd name="connsiteX12163" fmla="*/ 4505134 w 4716235"/>
              <a:gd name="connsiteY12163" fmla="*/ 1115924 h 4596459"/>
              <a:gd name="connsiteX12164" fmla="*/ 4515871 w 4716235"/>
              <a:gd name="connsiteY12164" fmla="*/ 1105187 h 4596459"/>
              <a:gd name="connsiteX12165" fmla="*/ 3977709 w 4716235"/>
              <a:gd name="connsiteY12165" fmla="*/ 1102380 h 4596459"/>
              <a:gd name="connsiteX12166" fmla="*/ 3988447 w 4716235"/>
              <a:gd name="connsiteY12166" fmla="*/ 1113116 h 4596459"/>
              <a:gd name="connsiteX12167" fmla="*/ 3977709 w 4716235"/>
              <a:gd name="connsiteY12167" fmla="*/ 1123854 h 4596459"/>
              <a:gd name="connsiteX12168" fmla="*/ 3966973 w 4716235"/>
              <a:gd name="connsiteY12168" fmla="*/ 1113116 h 4596459"/>
              <a:gd name="connsiteX12169" fmla="*/ 3977709 w 4716235"/>
              <a:gd name="connsiteY12169" fmla="*/ 1102380 h 4596459"/>
              <a:gd name="connsiteX12170" fmla="*/ 2661215 w 4716235"/>
              <a:gd name="connsiteY12170" fmla="*/ 1102048 h 4596459"/>
              <a:gd name="connsiteX12171" fmla="*/ 2671951 w 4716235"/>
              <a:gd name="connsiteY12171" fmla="*/ 1112785 h 4596459"/>
              <a:gd name="connsiteX12172" fmla="*/ 2661215 w 4716235"/>
              <a:gd name="connsiteY12172" fmla="*/ 1123523 h 4596459"/>
              <a:gd name="connsiteX12173" fmla="*/ 2650479 w 4716235"/>
              <a:gd name="connsiteY12173" fmla="*/ 1112785 h 4596459"/>
              <a:gd name="connsiteX12174" fmla="*/ 2661215 w 4716235"/>
              <a:gd name="connsiteY12174" fmla="*/ 1102048 h 4596459"/>
              <a:gd name="connsiteX12175" fmla="*/ 4619769 w 4716235"/>
              <a:gd name="connsiteY12175" fmla="*/ 1097590 h 4596459"/>
              <a:gd name="connsiteX12176" fmla="*/ 4630506 w 4716235"/>
              <a:gd name="connsiteY12176" fmla="*/ 1108326 h 4596459"/>
              <a:gd name="connsiteX12177" fmla="*/ 4619769 w 4716235"/>
              <a:gd name="connsiteY12177" fmla="*/ 1119064 h 4596459"/>
              <a:gd name="connsiteX12178" fmla="*/ 4609033 w 4716235"/>
              <a:gd name="connsiteY12178" fmla="*/ 1108326 h 4596459"/>
              <a:gd name="connsiteX12179" fmla="*/ 4619769 w 4716235"/>
              <a:gd name="connsiteY12179" fmla="*/ 1097590 h 4596459"/>
              <a:gd name="connsiteX12180" fmla="*/ 4581447 w 4716235"/>
              <a:gd name="connsiteY12180" fmla="*/ 1096929 h 4596459"/>
              <a:gd name="connsiteX12181" fmla="*/ 4592184 w 4716235"/>
              <a:gd name="connsiteY12181" fmla="*/ 1107665 h 4596459"/>
              <a:gd name="connsiteX12182" fmla="*/ 4581447 w 4716235"/>
              <a:gd name="connsiteY12182" fmla="*/ 1118403 h 4596459"/>
              <a:gd name="connsiteX12183" fmla="*/ 4570711 w 4716235"/>
              <a:gd name="connsiteY12183" fmla="*/ 1107665 h 4596459"/>
              <a:gd name="connsiteX12184" fmla="*/ 4581447 w 4716235"/>
              <a:gd name="connsiteY12184" fmla="*/ 1096929 h 4596459"/>
              <a:gd name="connsiteX12185" fmla="*/ 4358616 w 4716235"/>
              <a:gd name="connsiteY12185" fmla="*/ 1092798 h 4596459"/>
              <a:gd name="connsiteX12186" fmla="*/ 4369355 w 4716235"/>
              <a:gd name="connsiteY12186" fmla="*/ 1103535 h 4596459"/>
              <a:gd name="connsiteX12187" fmla="*/ 4358616 w 4716235"/>
              <a:gd name="connsiteY12187" fmla="*/ 1114273 h 4596459"/>
              <a:gd name="connsiteX12188" fmla="*/ 4347880 w 4716235"/>
              <a:gd name="connsiteY12188" fmla="*/ 1103535 h 4596459"/>
              <a:gd name="connsiteX12189" fmla="*/ 4358616 w 4716235"/>
              <a:gd name="connsiteY12189" fmla="*/ 1092798 h 4596459"/>
              <a:gd name="connsiteX12190" fmla="*/ 1012045 w 4716235"/>
              <a:gd name="connsiteY12190" fmla="*/ 1092633 h 4596459"/>
              <a:gd name="connsiteX12191" fmla="*/ 1022781 w 4716235"/>
              <a:gd name="connsiteY12191" fmla="*/ 1103370 h 4596459"/>
              <a:gd name="connsiteX12192" fmla="*/ 1012045 w 4716235"/>
              <a:gd name="connsiteY12192" fmla="*/ 1114108 h 4596459"/>
              <a:gd name="connsiteX12193" fmla="*/ 1001308 w 4716235"/>
              <a:gd name="connsiteY12193" fmla="*/ 1103370 h 4596459"/>
              <a:gd name="connsiteX12194" fmla="*/ 1012045 w 4716235"/>
              <a:gd name="connsiteY12194" fmla="*/ 1092633 h 4596459"/>
              <a:gd name="connsiteX12195" fmla="*/ 4553862 w 4716235"/>
              <a:gd name="connsiteY12195" fmla="*/ 1091147 h 4596459"/>
              <a:gd name="connsiteX12196" fmla="*/ 4564600 w 4716235"/>
              <a:gd name="connsiteY12196" fmla="*/ 1101884 h 4596459"/>
              <a:gd name="connsiteX12197" fmla="*/ 4553862 w 4716235"/>
              <a:gd name="connsiteY12197" fmla="*/ 1112622 h 4596459"/>
              <a:gd name="connsiteX12198" fmla="*/ 4543125 w 4716235"/>
              <a:gd name="connsiteY12198" fmla="*/ 1101884 h 4596459"/>
              <a:gd name="connsiteX12199" fmla="*/ 4553862 w 4716235"/>
              <a:gd name="connsiteY12199" fmla="*/ 1091147 h 4596459"/>
              <a:gd name="connsiteX12200" fmla="*/ 4498196 w 4716235"/>
              <a:gd name="connsiteY12200" fmla="*/ 1086522 h 4596459"/>
              <a:gd name="connsiteX12201" fmla="*/ 4508932 w 4716235"/>
              <a:gd name="connsiteY12201" fmla="*/ 1097259 h 4596459"/>
              <a:gd name="connsiteX12202" fmla="*/ 4498196 w 4716235"/>
              <a:gd name="connsiteY12202" fmla="*/ 1107995 h 4596459"/>
              <a:gd name="connsiteX12203" fmla="*/ 4487460 w 4716235"/>
              <a:gd name="connsiteY12203" fmla="*/ 1097259 h 4596459"/>
              <a:gd name="connsiteX12204" fmla="*/ 4498196 w 4716235"/>
              <a:gd name="connsiteY12204" fmla="*/ 1086522 h 4596459"/>
              <a:gd name="connsiteX12205" fmla="*/ 4608537 w 4716235"/>
              <a:gd name="connsiteY12205" fmla="*/ 1085861 h 4596459"/>
              <a:gd name="connsiteX12206" fmla="*/ 4619275 w 4716235"/>
              <a:gd name="connsiteY12206" fmla="*/ 1096598 h 4596459"/>
              <a:gd name="connsiteX12207" fmla="*/ 4608537 w 4716235"/>
              <a:gd name="connsiteY12207" fmla="*/ 1107336 h 4596459"/>
              <a:gd name="connsiteX12208" fmla="*/ 4597801 w 4716235"/>
              <a:gd name="connsiteY12208" fmla="*/ 1096598 h 4596459"/>
              <a:gd name="connsiteX12209" fmla="*/ 4608537 w 4716235"/>
              <a:gd name="connsiteY12209" fmla="*/ 1085861 h 4596459"/>
              <a:gd name="connsiteX12210" fmla="*/ 2446974 w 4716235"/>
              <a:gd name="connsiteY12210" fmla="*/ 1084870 h 4596459"/>
              <a:gd name="connsiteX12211" fmla="*/ 2457710 w 4716235"/>
              <a:gd name="connsiteY12211" fmla="*/ 1095606 h 4596459"/>
              <a:gd name="connsiteX12212" fmla="*/ 2446974 w 4716235"/>
              <a:gd name="connsiteY12212" fmla="*/ 1106344 h 4596459"/>
              <a:gd name="connsiteX12213" fmla="*/ 2436237 w 4716235"/>
              <a:gd name="connsiteY12213" fmla="*/ 1095606 h 4596459"/>
              <a:gd name="connsiteX12214" fmla="*/ 2446974 w 4716235"/>
              <a:gd name="connsiteY12214" fmla="*/ 1084870 h 4596459"/>
              <a:gd name="connsiteX12215" fmla="*/ 4573848 w 4716235"/>
              <a:gd name="connsiteY12215" fmla="*/ 1082227 h 4596459"/>
              <a:gd name="connsiteX12216" fmla="*/ 4584584 w 4716235"/>
              <a:gd name="connsiteY12216" fmla="*/ 1092963 h 4596459"/>
              <a:gd name="connsiteX12217" fmla="*/ 4573848 w 4716235"/>
              <a:gd name="connsiteY12217" fmla="*/ 1103701 h 4596459"/>
              <a:gd name="connsiteX12218" fmla="*/ 4563112 w 4716235"/>
              <a:gd name="connsiteY12218" fmla="*/ 1092963 h 4596459"/>
              <a:gd name="connsiteX12219" fmla="*/ 4573848 w 4716235"/>
              <a:gd name="connsiteY12219" fmla="*/ 1082227 h 4596459"/>
              <a:gd name="connsiteX12220" fmla="*/ 3886200 w 4716235"/>
              <a:gd name="connsiteY12220" fmla="*/ 1081568 h 4596459"/>
              <a:gd name="connsiteX12221" fmla="*/ 3896936 w 4716235"/>
              <a:gd name="connsiteY12221" fmla="*/ 1092304 h 4596459"/>
              <a:gd name="connsiteX12222" fmla="*/ 3886200 w 4716235"/>
              <a:gd name="connsiteY12222" fmla="*/ 1103042 h 4596459"/>
              <a:gd name="connsiteX12223" fmla="*/ 3875463 w 4716235"/>
              <a:gd name="connsiteY12223" fmla="*/ 1092304 h 4596459"/>
              <a:gd name="connsiteX12224" fmla="*/ 3886200 w 4716235"/>
              <a:gd name="connsiteY12224" fmla="*/ 1081568 h 4596459"/>
              <a:gd name="connsiteX12225" fmla="*/ 1234709 w 4716235"/>
              <a:gd name="connsiteY12225" fmla="*/ 1076447 h 4596459"/>
              <a:gd name="connsiteX12226" fmla="*/ 1245446 w 4716235"/>
              <a:gd name="connsiteY12226" fmla="*/ 1087183 h 4596459"/>
              <a:gd name="connsiteX12227" fmla="*/ 1234709 w 4716235"/>
              <a:gd name="connsiteY12227" fmla="*/ 1097919 h 4596459"/>
              <a:gd name="connsiteX12228" fmla="*/ 1223973 w 4716235"/>
              <a:gd name="connsiteY12228" fmla="*/ 1087183 h 4596459"/>
              <a:gd name="connsiteX12229" fmla="*/ 1234709 w 4716235"/>
              <a:gd name="connsiteY12229" fmla="*/ 1076447 h 4596459"/>
              <a:gd name="connsiteX12230" fmla="*/ 4543951 w 4716235"/>
              <a:gd name="connsiteY12230" fmla="*/ 1073639 h 4596459"/>
              <a:gd name="connsiteX12231" fmla="*/ 4554689 w 4716235"/>
              <a:gd name="connsiteY12231" fmla="*/ 1084375 h 4596459"/>
              <a:gd name="connsiteX12232" fmla="*/ 4543951 w 4716235"/>
              <a:gd name="connsiteY12232" fmla="*/ 1095112 h 4596459"/>
              <a:gd name="connsiteX12233" fmla="*/ 4533214 w 4716235"/>
              <a:gd name="connsiteY12233" fmla="*/ 1084375 h 4596459"/>
              <a:gd name="connsiteX12234" fmla="*/ 4543951 w 4716235"/>
              <a:gd name="connsiteY12234" fmla="*/ 1073639 h 4596459"/>
              <a:gd name="connsiteX12235" fmla="*/ 4598130 w 4716235"/>
              <a:gd name="connsiteY12235" fmla="*/ 1073472 h 4596459"/>
              <a:gd name="connsiteX12236" fmla="*/ 4608868 w 4716235"/>
              <a:gd name="connsiteY12236" fmla="*/ 1084209 h 4596459"/>
              <a:gd name="connsiteX12237" fmla="*/ 4598130 w 4716235"/>
              <a:gd name="connsiteY12237" fmla="*/ 1094947 h 4596459"/>
              <a:gd name="connsiteX12238" fmla="*/ 4587394 w 4716235"/>
              <a:gd name="connsiteY12238" fmla="*/ 1084209 h 4596459"/>
              <a:gd name="connsiteX12239" fmla="*/ 4598130 w 4716235"/>
              <a:gd name="connsiteY12239" fmla="*/ 1073472 h 4596459"/>
              <a:gd name="connsiteX12240" fmla="*/ 4315010 w 4716235"/>
              <a:gd name="connsiteY12240" fmla="*/ 1072317 h 4596459"/>
              <a:gd name="connsiteX12241" fmla="*/ 4325747 w 4716235"/>
              <a:gd name="connsiteY12241" fmla="*/ 1083054 h 4596459"/>
              <a:gd name="connsiteX12242" fmla="*/ 4315010 w 4716235"/>
              <a:gd name="connsiteY12242" fmla="*/ 1093790 h 4596459"/>
              <a:gd name="connsiteX12243" fmla="*/ 4304274 w 4716235"/>
              <a:gd name="connsiteY12243" fmla="*/ 1083054 h 4596459"/>
              <a:gd name="connsiteX12244" fmla="*/ 4315010 w 4716235"/>
              <a:gd name="connsiteY12244" fmla="*/ 1072317 h 4596459"/>
              <a:gd name="connsiteX12245" fmla="*/ 2217041 w 4716235"/>
              <a:gd name="connsiteY12245" fmla="*/ 1069839 h 4596459"/>
              <a:gd name="connsiteX12246" fmla="*/ 2227777 w 4716235"/>
              <a:gd name="connsiteY12246" fmla="*/ 1080576 h 4596459"/>
              <a:gd name="connsiteX12247" fmla="*/ 2217041 w 4716235"/>
              <a:gd name="connsiteY12247" fmla="*/ 1091314 h 4596459"/>
              <a:gd name="connsiteX12248" fmla="*/ 2206305 w 4716235"/>
              <a:gd name="connsiteY12248" fmla="*/ 1080576 h 4596459"/>
              <a:gd name="connsiteX12249" fmla="*/ 2217041 w 4716235"/>
              <a:gd name="connsiteY12249" fmla="*/ 1069839 h 4596459"/>
              <a:gd name="connsiteX12250" fmla="*/ 4477382 w 4716235"/>
              <a:gd name="connsiteY12250" fmla="*/ 1067196 h 4596459"/>
              <a:gd name="connsiteX12251" fmla="*/ 4488120 w 4716235"/>
              <a:gd name="connsiteY12251" fmla="*/ 1077933 h 4596459"/>
              <a:gd name="connsiteX12252" fmla="*/ 4477382 w 4716235"/>
              <a:gd name="connsiteY12252" fmla="*/ 1088669 h 4596459"/>
              <a:gd name="connsiteX12253" fmla="*/ 4466646 w 4716235"/>
              <a:gd name="connsiteY12253" fmla="*/ 1077933 h 4596459"/>
              <a:gd name="connsiteX12254" fmla="*/ 4477382 w 4716235"/>
              <a:gd name="connsiteY12254" fmla="*/ 1067196 h 4596459"/>
              <a:gd name="connsiteX12255" fmla="*/ 4566086 w 4716235"/>
              <a:gd name="connsiteY12255" fmla="*/ 1066700 h 4596459"/>
              <a:gd name="connsiteX12256" fmla="*/ 4576822 w 4716235"/>
              <a:gd name="connsiteY12256" fmla="*/ 1077437 h 4596459"/>
              <a:gd name="connsiteX12257" fmla="*/ 4566086 w 4716235"/>
              <a:gd name="connsiteY12257" fmla="*/ 1088175 h 4596459"/>
              <a:gd name="connsiteX12258" fmla="*/ 4555350 w 4716235"/>
              <a:gd name="connsiteY12258" fmla="*/ 1077437 h 4596459"/>
              <a:gd name="connsiteX12259" fmla="*/ 4566086 w 4716235"/>
              <a:gd name="connsiteY12259" fmla="*/ 1066700 h 4596459"/>
              <a:gd name="connsiteX12260" fmla="*/ 4642234 w 4716235"/>
              <a:gd name="connsiteY12260" fmla="*/ 1064718 h 4596459"/>
              <a:gd name="connsiteX12261" fmla="*/ 4649336 w 4716235"/>
              <a:gd name="connsiteY12261" fmla="*/ 1071821 h 4596459"/>
              <a:gd name="connsiteX12262" fmla="*/ 4642234 w 4716235"/>
              <a:gd name="connsiteY12262" fmla="*/ 1078925 h 4596459"/>
              <a:gd name="connsiteX12263" fmla="*/ 4635131 w 4716235"/>
              <a:gd name="connsiteY12263" fmla="*/ 1071821 h 4596459"/>
              <a:gd name="connsiteX12264" fmla="*/ 4642234 w 4716235"/>
              <a:gd name="connsiteY12264" fmla="*/ 1064718 h 4596459"/>
              <a:gd name="connsiteX12265" fmla="*/ 1472569 w 4716235"/>
              <a:gd name="connsiteY12265" fmla="*/ 1063562 h 4596459"/>
              <a:gd name="connsiteX12266" fmla="*/ 1483307 w 4716235"/>
              <a:gd name="connsiteY12266" fmla="*/ 1074298 h 4596459"/>
              <a:gd name="connsiteX12267" fmla="*/ 1472569 w 4716235"/>
              <a:gd name="connsiteY12267" fmla="*/ 1085034 h 4596459"/>
              <a:gd name="connsiteX12268" fmla="*/ 1461832 w 4716235"/>
              <a:gd name="connsiteY12268" fmla="*/ 1074298 h 4596459"/>
              <a:gd name="connsiteX12269" fmla="*/ 1472569 w 4716235"/>
              <a:gd name="connsiteY12269" fmla="*/ 1063562 h 4596459"/>
              <a:gd name="connsiteX12270" fmla="*/ 4588549 w 4716235"/>
              <a:gd name="connsiteY12270" fmla="*/ 1060093 h 4596459"/>
              <a:gd name="connsiteX12271" fmla="*/ 4599285 w 4716235"/>
              <a:gd name="connsiteY12271" fmla="*/ 1070830 h 4596459"/>
              <a:gd name="connsiteX12272" fmla="*/ 4588549 w 4716235"/>
              <a:gd name="connsiteY12272" fmla="*/ 1081568 h 4596459"/>
              <a:gd name="connsiteX12273" fmla="*/ 4577812 w 4716235"/>
              <a:gd name="connsiteY12273" fmla="*/ 1070830 h 4596459"/>
              <a:gd name="connsiteX12274" fmla="*/ 4588549 w 4716235"/>
              <a:gd name="connsiteY12274" fmla="*/ 1060093 h 4596459"/>
              <a:gd name="connsiteX12275" fmla="*/ 3784942 w 4716235"/>
              <a:gd name="connsiteY12275" fmla="*/ 1060093 h 4596459"/>
              <a:gd name="connsiteX12276" fmla="*/ 3795679 w 4716235"/>
              <a:gd name="connsiteY12276" fmla="*/ 1070830 h 4596459"/>
              <a:gd name="connsiteX12277" fmla="*/ 3784942 w 4716235"/>
              <a:gd name="connsiteY12277" fmla="*/ 1081568 h 4596459"/>
              <a:gd name="connsiteX12278" fmla="*/ 3774206 w 4716235"/>
              <a:gd name="connsiteY12278" fmla="*/ 1070830 h 4596459"/>
              <a:gd name="connsiteX12279" fmla="*/ 3784942 w 4716235"/>
              <a:gd name="connsiteY12279" fmla="*/ 1060093 h 4596459"/>
              <a:gd name="connsiteX12280" fmla="*/ 1973234 w 4716235"/>
              <a:gd name="connsiteY12280" fmla="*/ 1059432 h 4596459"/>
              <a:gd name="connsiteX12281" fmla="*/ 1983972 w 4716235"/>
              <a:gd name="connsiteY12281" fmla="*/ 1070169 h 4596459"/>
              <a:gd name="connsiteX12282" fmla="*/ 1973234 w 4716235"/>
              <a:gd name="connsiteY12282" fmla="*/ 1080905 h 4596459"/>
              <a:gd name="connsiteX12283" fmla="*/ 1962497 w 4716235"/>
              <a:gd name="connsiteY12283" fmla="*/ 1070169 h 4596459"/>
              <a:gd name="connsiteX12284" fmla="*/ 1973234 w 4716235"/>
              <a:gd name="connsiteY12284" fmla="*/ 1059432 h 4596459"/>
              <a:gd name="connsiteX12285" fmla="*/ 1721664 w 4716235"/>
              <a:gd name="connsiteY12285" fmla="*/ 1056954 h 4596459"/>
              <a:gd name="connsiteX12286" fmla="*/ 1732402 w 4716235"/>
              <a:gd name="connsiteY12286" fmla="*/ 1067691 h 4596459"/>
              <a:gd name="connsiteX12287" fmla="*/ 1721664 w 4716235"/>
              <a:gd name="connsiteY12287" fmla="*/ 1078429 h 4596459"/>
              <a:gd name="connsiteX12288" fmla="*/ 1710927 w 4716235"/>
              <a:gd name="connsiteY12288" fmla="*/ 1067691 h 4596459"/>
              <a:gd name="connsiteX12289" fmla="*/ 1721664 w 4716235"/>
              <a:gd name="connsiteY12289" fmla="*/ 1056954 h 4596459"/>
              <a:gd name="connsiteX12290" fmla="*/ 4532718 w 4716235"/>
              <a:gd name="connsiteY12290" fmla="*/ 1055468 h 4596459"/>
              <a:gd name="connsiteX12291" fmla="*/ 4543456 w 4716235"/>
              <a:gd name="connsiteY12291" fmla="*/ 1066204 h 4596459"/>
              <a:gd name="connsiteX12292" fmla="*/ 4532718 w 4716235"/>
              <a:gd name="connsiteY12292" fmla="*/ 1076943 h 4596459"/>
              <a:gd name="connsiteX12293" fmla="*/ 4521982 w 4716235"/>
              <a:gd name="connsiteY12293" fmla="*/ 1066204 h 4596459"/>
              <a:gd name="connsiteX12294" fmla="*/ 4532718 w 4716235"/>
              <a:gd name="connsiteY12294" fmla="*/ 1055468 h 4596459"/>
              <a:gd name="connsiteX12295" fmla="*/ 4265456 w 4716235"/>
              <a:gd name="connsiteY12295" fmla="*/ 1050843 h 4596459"/>
              <a:gd name="connsiteX12296" fmla="*/ 4276192 w 4716235"/>
              <a:gd name="connsiteY12296" fmla="*/ 1061579 h 4596459"/>
              <a:gd name="connsiteX12297" fmla="*/ 4265456 w 4716235"/>
              <a:gd name="connsiteY12297" fmla="*/ 1072317 h 4596459"/>
              <a:gd name="connsiteX12298" fmla="*/ 4254720 w 4716235"/>
              <a:gd name="connsiteY12298" fmla="*/ 1061579 h 4596459"/>
              <a:gd name="connsiteX12299" fmla="*/ 4265456 w 4716235"/>
              <a:gd name="connsiteY12299" fmla="*/ 1050843 h 4596459"/>
              <a:gd name="connsiteX12300" fmla="*/ 4558157 w 4716235"/>
              <a:gd name="connsiteY12300" fmla="*/ 1050347 h 4596459"/>
              <a:gd name="connsiteX12301" fmla="*/ 4568894 w 4716235"/>
              <a:gd name="connsiteY12301" fmla="*/ 1061083 h 4596459"/>
              <a:gd name="connsiteX12302" fmla="*/ 4558157 w 4716235"/>
              <a:gd name="connsiteY12302" fmla="*/ 1071821 h 4596459"/>
              <a:gd name="connsiteX12303" fmla="*/ 4547421 w 4716235"/>
              <a:gd name="connsiteY12303" fmla="*/ 1061083 h 4596459"/>
              <a:gd name="connsiteX12304" fmla="*/ 4558157 w 4716235"/>
              <a:gd name="connsiteY12304" fmla="*/ 1050347 h 4596459"/>
              <a:gd name="connsiteX12305" fmla="*/ 4627698 w 4716235"/>
              <a:gd name="connsiteY12305" fmla="*/ 1050182 h 4596459"/>
              <a:gd name="connsiteX12306" fmla="*/ 4638436 w 4716235"/>
              <a:gd name="connsiteY12306" fmla="*/ 1060919 h 4596459"/>
              <a:gd name="connsiteX12307" fmla="*/ 4627698 w 4716235"/>
              <a:gd name="connsiteY12307" fmla="*/ 1071657 h 4596459"/>
              <a:gd name="connsiteX12308" fmla="*/ 4616962 w 4716235"/>
              <a:gd name="connsiteY12308" fmla="*/ 1060919 h 4596459"/>
              <a:gd name="connsiteX12309" fmla="*/ 4627698 w 4716235"/>
              <a:gd name="connsiteY12309" fmla="*/ 1050182 h 4596459"/>
              <a:gd name="connsiteX12310" fmla="*/ 4453267 w 4716235"/>
              <a:gd name="connsiteY12310" fmla="*/ 1046879 h 4596459"/>
              <a:gd name="connsiteX12311" fmla="*/ 4464005 w 4716235"/>
              <a:gd name="connsiteY12311" fmla="*/ 1057615 h 4596459"/>
              <a:gd name="connsiteX12312" fmla="*/ 4453267 w 4716235"/>
              <a:gd name="connsiteY12312" fmla="*/ 1068353 h 4596459"/>
              <a:gd name="connsiteX12313" fmla="*/ 4442530 w 4716235"/>
              <a:gd name="connsiteY12313" fmla="*/ 1057615 h 4596459"/>
              <a:gd name="connsiteX12314" fmla="*/ 4453267 w 4716235"/>
              <a:gd name="connsiteY12314" fmla="*/ 1046879 h 4596459"/>
              <a:gd name="connsiteX12315" fmla="*/ 4579300 w 4716235"/>
              <a:gd name="connsiteY12315" fmla="*/ 1045887 h 4596459"/>
              <a:gd name="connsiteX12316" fmla="*/ 4590037 w 4716235"/>
              <a:gd name="connsiteY12316" fmla="*/ 1056623 h 4596459"/>
              <a:gd name="connsiteX12317" fmla="*/ 4579300 w 4716235"/>
              <a:gd name="connsiteY12317" fmla="*/ 1067361 h 4596459"/>
              <a:gd name="connsiteX12318" fmla="*/ 4568564 w 4716235"/>
              <a:gd name="connsiteY12318" fmla="*/ 1056623 h 4596459"/>
              <a:gd name="connsiteX12319" fmla="*/ 4579300 w 4716235"/>
              <a:gd name="connsiteY12319" fmla="*/ 1045887 h 4596459"/>
              <a:gd name="connsiteX12320" fmla="*/ 4614152 w 4716235"/>
              <a:gd name="connsiteY12320" fmla="*/ 1038454 h 4596459"/>
              <a:gd name="connsiteX12321" fmla="*/ 4624890 w 4716235"/>
              <a:gd name="connsiteY12321" fmla="*/ 1049190 h 4596459"/>
              <a:gd name="connsiteX12322" fmla="*/ 4614152 w 4716235"/>
              <a:gd name="connsiteY12322" fmla="*/ 1059928 h 4596459"/>
              <a:gd name="connsiteX12323" fmla="*/ 4603416 w 4716235"/>
              <a:gd name="connsiteY12323" fmla="*/ 1049190 h 4596459"/>
              <a:gd name="connsiteX12324" fmla="*/ 4614152 w 4716235"/>
              <a:gd name="connsiteY12324" fmla="*/ 1038454 h 4596459"/>
              <a:gd name="connsiteX12325" fmla="*/ 3673280 w 4716235"/>
              <a:gd name="connsiteY12325" fmla="*/ 1037960 h 4596459"/>
              <a:gd name="connsiteX12326" fmla="*/ 3684018 w 4716235"/>
              <a:gd name="connsiteY12326" fmla="*/ 1048696 h 4596459"/>
              <a:gd name="connsiteX12327" fmla="*/ 3673280 w 4716235"/>
              <a:gd name="connsiteY12327" fmla="*/ 1059434 h 4596459"/>
              <a:gd name="connsiteX12328" fmla="*/ 3662543 w 4716235"/>
              <a:gd name="connsiteY12328" fmla="*/ 1048696 h 4596459"/>
              <a:gd name="connsiteX12329" fmla="*/ 3673280 w 4716235"/>
              <a:gd name="connsiteY12329" fmla="*/ 1037960 h 4596459"/>
              <a:gd name="connsiteX12330" fmla="*/ 4519669 w 4716235"/>
              <a:gd name="connsiteY12330" fmla="*/ 1036307 h 4596459"/>
              <a:gd name="connsiteX12331" fmla="*/ 4530407 w 4716235"/>
              <a:gd name="connsiteY12331" fmla="*/ 1047043 h 4596459"/>
              <a:gd name="connsiteX12332" fmla="*/ 4519669 w 4716235"/>
              <a:gd name="connsiteY12332" fmla="*/ 1057782 h 4596459"/>
              <a:gd name="connsiteX12333" fmla="*/ 4508932 w 4716235"/>
              <a:gd name="connsiteY12333" fmla="*/ 1047043 h 4596459"/>
              <a:gd name="connsiteX12334" fmla="*/ 4519669 w 4716235"/>
              <a:gd name="connsiteY12334" fmla="*/ 1036307 h 4596459"/>
              <a:gd name="connsiteX12335" fmla="*/ 4549897 w 4716235"/>
              <a:gd name="connsiteY12335" fmla="*/ 1033003 h 4596459"/>
              <a:gd name="connsiteX12336" fmla="*/ 4560634 w 4716235"/>
              <a:gd name="connsiteY12336" fmla="*/ 1043740 h 4596459"/>
              <a:gd name="connsiteX12337" fmla="*/ 4549897 w 4716235"/>
              <a:gd name="connsiteY12337" fmla="*/ 1054478 h 4596459"/>
              <a:gd name="connsiteX12338" fmla="*/ 4539161 w 4716235"/>
              <a:gd name="connsiteY12338" fmla="*/ 1043740 h 4596459"/>
              <a:gd name="connsiteX12339" fmla="*/ 4549897 w 4716235"/>
              <a:gd name="connsiteY12339" fmla="*/ 1033003 h 4596459"/>
              <a:gd name="connsiteX12340" fmla="*/ 4570711 w 4716235"/>
              <a:gd name="connsiteY12340" fmla="*/ 1031021 h 4596459"/>
              <a:gd name="connsiteX12341" fmla="*/ 4581447 w 4716235"/>
              <a:gd name="connsiteY12341" fmla="*/ 1041758 h 4596459"/>
              <a:gd name="connsiteX12342" fmla="*/ 4570711 w 4716235"/>
              <a:gd name="connsiteY12342" fmla="*/ 1052494 h 4596459"/>
              <a:gd name="connsiteX12343" fmla="*/ 4559975 w 4716235"/>
              <a:gd name="connsiteY12343" fmla="*/ 1041758 h 4596459"/>
              <a:gd name="connsiteX12344" fmla="*/ 4570711 w 4716235"/>
              <a:gd name="connsiteY12344" fmla="*/ 1031021 h 4596459"/>
              <a:gd name="connsiteX12345" fmla="*/ 4209459 w 4716235"/>
              <a:gd name="connsiteY12345" fmla="*/ 1028710 h 4596459"/>
              <a:gd name="connsiteX12346" fmla="*/ 4220197 w 4716235"/>
              <a:gd name="connsiteY12346" fmla="*/ 1039446 h 4596459"/>
              <a:gd name="connsiteX12347" fmla="*/ 4209459 w 4716235"/>
              <a:gd name="connsiteY12347" fmla="*/ 1050182 h 4596459"/>
              <a:gd name="connsiteX12348" fmla="*/ 4198723 w 4716235"/>
              <a:gd name="connsiteY12348" fmla="*/ 1039446 h 4596459"/>
              <a:gd name="connsiteX12349" fmla="*/ 4209459 w 4716235"/>
              <a:gd name="connsiteY12349" fmla="*/ 1028710 h 4596459"/>
              <a:gd name="connsiteX12350" fmla="*/ 4601763 w 4716235"/>
              <a:gd name="connsiteY12350" fmla="*/ 1026067 h 4596459"/>
              <a:gd name="connsiteX12351" fmla="*/ 4612501 w 4716235"/>
              <a:gd name="connsiteY12351" fmla="*/ 1036803 h 4596459"/>
              <a:gd name="connsiteX12352" fmla="*/ 4601763 w 4716235"/>
              <a:gd name="connsiteY12352" fmla="*/ 1047541 h 4596459"/>
              <a:gd name="connsiteX12353" fmla="*/ 4591027 w 4716235"/>
              <a:gd name="connsiteY12353" fmla="*/ 1036803 h 4596459"/>
              <a:gd name="connsiteX12354" fmla="*/ 4601763 w 4716235"/>
              <a:gd name="connsiteY12354" fmla="*/ 1026067 h 4596459"/>
              <a:gd name="connsiteX12355" fmla="*/ 4425516 w 4716235"/>
              <a:gd name="connsiteY12355" fmla="*/ 1025571 h 4596459"/>
              <a:gd name="connsiteX12356" fmla="*/ 4436253 w 4716235"/>
              <a:gd name="connsiteY12356" fmla="*/ 1036307 h 4596459"/>
              <a:gd name="connsiteX12357" fmla="*/ 4425516 w 4716235"/>
              <a:gd name="connsiteY12357" fmla="*/ 1047045 h 4596459"/>
              <a:gd name="connsiteX12358" fmla="*/ 4414780 w 4716235"/>
              <a:gd name="connsiteY12358" fmla="*/ 1036307 h 4596459"/>
              <a:gd name="connsiteX12359" fmla="*/ 4425516 w 4716235"/>
              <a:gd name="connsiteY12359" fmla="*/ 1025571 h 4596459"/>
              <a:gd name="connsiteX12360" fmla="*/ 4504638 w 4716235"/>
              <a:gd name="connsiteY12360" fmla="*/ 1016154 h 4596459"/>
              <a:gd name="connsiteX12361" fmla="*/ 4515375 w 4716235"/>
              <a:gd name="connsiteY12361" fmla="*/ 1026890 h 4596459"/>
              <a:gd name="connsiteX12362" fmla="*/ 4504638 w 4716235"/>
              <a:gd name="connsiteY12362" fmla="*/ 1037629 h 4596459"/>
              <a:gd name="connsiteX12363" fmla="*/ 4493902 w 4716235"/>
              <a:gd name="connsiteY12363" fmla="*/ 1026890 h 4596459"/>
              <a:gd name="connsiteX12364" fmla="*/ 4504638 w 4716235"/>
              <a:gd name="connsiteY12364" fmla="*/ 1016154 h 4596459"/>
              <a:gd name="connsiteX12365" fmla="*/ 3550220 w 4716235"/>
              <a:gd name="connsiteY12365" fmla="*/ 1015329 h 4596459"/>
              <a:gd name="connsiteX12366" fmla="*/ 3560956 w 4716235"/>
              <a:gd name="connsiteY12366" fmla="*/ 1026065 h 4596459"/>
              <a:gd name="connsiteX12367" fmla="*/ 3550220 w 4716235"/>
              <a:gd name="connsiteY12367" fmla="*/ 1036803 h 4596459"/>
              <a:gd name="connsiteX12368" fmla="*/ 3539484 w 4716235"/>
              <a:gd name="connsiteY12368" fmla="*/ 1026065 h 4596459"/>
              <a:gd name="connsiteX12369" fmla="*/ 3550220 w 4716235"/>
              <a:gd name="connsiteY12369" fmla="*/ 1015329 h 4596459"/>
              <a:gd name="connsiteX12370" fmla="*/ 4562120 w 4716235"/>
              <a:gd name="connsiteY12370" fmla="*/ 1015164 h 4596459"/>
              <a:gd name="connsiteX12371" fmla="*/ 4572858 w 4716235"/>
              <a:gd name="connsiteY12371" fmla="*/ 1025900 h 4596459"/>
              <a:gd name="connsiteX12372" fmla="*/ 4562120 w 4716235"/>
              <a:gd name="connsiteY12372" fmla="*/ 1036638 h 4596459"/>
              <a:gd name="connsiteX12373" fmla="*/ 4551383 w 4716235"/>
              <a:gd name="connsiteY12373" fmla="*/ 1025900 h 4596459"/>
              <a:gd name="connsiteX12374" fmla="*/ 4562120 w 4716235"/>
              <a:gd name="connsiteY12374" fmla="*/ 1015164 h 4596459"/>
              <a:gd name="connsiteX12375" fmla="*/ 4540647 w 4716235"/>
              <a:gd name="connsiteY12375" fmla="*/ 1014833 h 4596459"/>
              <a:gd name="connsiteX12376" fmla="*/ 4551383 w 4716235"/>
              <a:gd name="connsiteY12376" fmla="*/ 1025569 h 4596459"/>
              <a:gd name="connsiteX12377" fmla="*/ 4540647 w 4716235"/>
              <a:gd name="connsiteY12377" fmla="*/ 1036307 h 4596459"/>
              <a:gd name="connsiteX12378" fmla="*/ 4529911 w 4716235"/>
              <a:gd name="connsiteY12378" fmla="*/ 1025569 h 4596459"/>
              <a:gd name="connsiteX12379" fmla="*/ 4540647 w 4716235"/>
              <a:gd name="connsiteY12379" fmla="*/ 1014833 h 4596459"/>
              <a:gd name="connsiteX12380" fmla="*/ 4590201 w 4716235"/>
              <a:gd name="connsiteY12380" fmla="*/ 1012686 h 4596459"/>
              <a:gd name="connsiteX12381" fmla="*/ 4600938 w 4716235"/>
              <a:gd name="connsiteY12381" fmla="*/ 1023422 h 4596459"/>
              <a:gd name="connsiteX12382" fmla="*/ 4590201 w 4716235"/>
              <a:gd name="connsiteY12382" fmla="*/ 1034160 h 4596459"/>
              <a:gd name="connsiteX12383" fmla="*/ 4579465 w 4716235"/>
              <a:gd name="connsiteY12383" fmla="*/ 1023422 h 4596459"/>
              <a:gd name="connsiteX12384" fmla="*/ 4590201 w 4716235"/>
              <a:gd name="connsiteY12384" fmla="*/ 1012686 h 4596459"/>
              <a:gd name="connsiteX12385" fmla="*/ 4146524 w 4716235"/>
              <a:gd name="connsiteY12385" fmla="*/ 1005749 h 4596459"/>
              <a:gd name="connsiteX12386" fmla="*/ 4157262 w 4716235"/>
              <a:gd name="connsiteY12386" fmla="*/ 1016485 h 4596459"/>
              <a:gd name="connsiteX12387" fmla="*/ 4146524 w 4716235"/>
              <a:gd name="connsiteY12387" fmla="*/ 1027222 h 4596459"/>
              <a:gd name="connsiteX12388" fmla="*/ 4135787 w 4716235"/>
              <a:gd name="connsiteY12388" fmla="*/ 1016485 h 4596459"/>
              <a:gd name="connsiteX12389" fmla="*/ 4146524 w 4716235"/>
              <a:gd name="connsiteY12389" fmla="*/ 1005749 h 4596459"/>
              <a:gd name="connsiteX12390" fmla="*/ 4393470 w 4716235"/>
              <a:gd name="connsiteY12390" fmla="*/ 1003436 h 4596459"/>
              <a:gd name="connsiteX12391" fmla="*/ 4404206 w 4716235"/>
              <a:gd name="connsiteY12391" fmla="*/ 1014172 h 4596459"/>
              <a:gd name="connsiteX12392" fmla="*/ 4393470 w 4716235"/>
              <a:gd name="connsiteY12392" fmla="*/ 1024908 h 4596459"/>
              <a:gd name="connsiteX12393" fmla="*/ 4382734 w 4716235"/>
              <a:gd name="connsiteY12393" fmla="*/ 1014172 h 4596459"/>
              <a:gd name="connsiteX12394" fmla="*/ 4393470 w 4716235"/>
              <a:gd name="connsiteY12394" fmla="*/ 1003436 h 4596459"/>
              <a:gd name="connsiteX12395" fmla="*/ 80917 w 4716235"/>
              <a:gd name="connsiteY12395" fmla="*/ 1002940 h 4596459"/>
              <a:gd name="connsiteX12396" fmla="*/ 91655 w 4716235"/>
              <a:gd name="connsiteY12396" fmla="*/ 1013676 h 4596459"/>
              <a:gd name="connsiteX12397" fmla="*/ 80917 w 4716235"/>
              <a:gd name="connsiteY12397" fmla="*/ 1024414 h 4596459"/>
              <a:gd name="connsiteX12398" fmla="*/ 70180 w 4716235"/>
              <a:gd name="connsiteY12398" fmla="*/ 1013676 h 4596459"/>
              <a:gd name="connsiteX12399" fmla="*/ 80917 w 4716235"/>
              <a:gd name="connsiteY12399" fmla="*/ 1002940 h 4596459"/>
              <a:gd name="connsiteX12400" fmla="*/ 4579300 w 4716235"/>
              <a:gd name="connsiteY12400" fmla="*/ 998646 h 4596459"/>
              <a:gd name="connsiteX12401" fmla="*/ 4590037 w 4716235"/>
              <a:gd name="connsiteY12401" fmla="*/ 1009382 h 4596459"/>
              <a:gd name="connsiteX12402" fmla="*/ 4579300 w 4716235"/>
              <a:gd name="connsiteY12402" fmla="*/ 1020120 h 4596459"/>
              <a:gd name="connsiteX12403" fmla="*/ 4568564 w 4716235"/>
              <a:gd name="connsiteY12403" fmla="*/ 1009382 h 4596459"/>
              <a:gd name="connsiteX12404" fmla="*/ 4579300 w 4716235"/>
              <a:gd name="connsiteY12404" fmla="*/ 998646 h 4596459"/>
              <a:gd name="connsiteX12405" fmla="*/ 4553532 w 4716235"/>
              <a:gd name="connsiteY12405" fmla="*/ 998315 h 4596459"/>
              <a:gd name="connsiteX12406" fmla="*/ 4564268 w 4716235"/>
              <a:gd name="connsiteY12406" fmla="*/ 1009051 h 4596459"/>
              <a:gd name="connsiteX12407" fmla="*/ 4553532 w 4716235"/>
              <a:gd name="connsiteY12407" fmla="*/ 1019789 h 4596459"/>
              <a:gd name="connsiteX12408" fmla="*/ 4542796 w 4716235"/>
              <a:gd name="connsiteY12408" fmla="*/ 1009051 h 4596459"/>
              <a:gd name="connsiteX12409" fmla="*/ 4553532 w 4716235"/>
              <a:gd name="connsiteY12409" fmla="*/ 998315 h 4596459"/>
              <a:gd name="connsiteX12410" fmla="*/ 4530571 w 4716235"/>
              <a:gd name="connsiteY12410" fmla="*/ 995507 h 4596459"/>
              <a:gd name="connsiteX12411" fmla="*/ 4541310 w 4716235"/>
              <a:gd name="connsiteY12411" fmla="*/ 1006243 h 4596459"/>
              <a:gd name="connsiteX12412" fmla="*/ 4530571 w 4716235"/>
              <a:gd name="connsiteY12412" fmla="*/ 1016981 h 4596459"/>
              <a:gd name="connsiteX12413" fmla="*/ 4519835 w 4716235"/>
              <a:gd name="connsiteY12413" fmla="*/ 1006243 h 4596459"/>
              <a:gd name="connsiteX12414" fmla="*/ 4530571 w 4716235"/>
              <a:gd name="connsiteY12414" fmla="*/ 995507 h 4596459"/>
              <a:gd name="connsiteX12415" fmla="*/ 4487293 w 4716235"/>
              <a:gd name="connsiteY12415" fmla="*/ 995177 h 4596459"/>
              <a:gd name="connsiteX12416" fmla="*/ 4498031 w 4716235"/>
              <a:gd name="connsiteY12416" fmla="*/ 1005914 h 4596459"/>
              <a:gd name="connsiteX12417" fmla="*/ 4487293 w 4716235"/>
              <a:gd name="connsiteY12417" fmla="*/ 1016650 h 4596459"/>
              <a:gd name="connsiteX12418" fmla="*/ 4476557 w 4716235"/>
              <a:gd name="connsiteY12418" fmla="*/ 1005914 h 4596459"/>
              <a:gd name="connsiteX12419" fmla="*/ 4487293 w 4716235"/>
              <a:gd name="connsiteY12419" fmla="*/ 995177 h 4596459"/>
              <a:gd name="connsiteX12420" fmla="*/ 4623404 w 4716235"/>
              <a:gd name="connsiteY12420" fmla="*/ 993856 h 4596459"/>
              <a:gd name="connsiteX12421" fmla="*/ 4633315 w 4716235"/>
              <a:gd name="connsiteY12421" fmla="*/ 1003767 h 4596459"/>
              <a:gd name="connsiteX12422" fmla="*/ 4623404 w 4716235"/>
              <a:gd name="connsiteY12422" fmla="*/ 1013678 h 4596459"/>
              <a:gd name="connsiteX12423" fmla="*/ 4613493 w 4716235"/>
              <a:gd name="connsiteY12423" fmla="*/ 1003767 h 4596459"/>
              <a:gd name="connsiteX12424" fmla="*/ 4623404 w 4716235"/>
              <a:gd name="connsiteY12424" fmla="*/ 993856 h 4596459"/>
              <a:gd name="connsiteX12425" fmla="*/ 3415267 w 4716235"/>
              <a:gd name="connsiteY12425" fmla="*/ 992038 h 4596459"/>
              <a:gd name="connsiteX12426" fmla="*/ 3426004 w 4716235"/>
              <a:gd name="connsiteY12426" fmla="*/ 1002775 h 4596459"/>
              <a:gd name="connsiteX12427" fmla="*/ 3415267 w 4716235"/>
              <a:gd name="connsiteY12427" fmla="*/ 1013513 h 4596459"/>
              <a:gd name="connsiteX12428" fmla="*/ 3404531 w 4716235"/>
              <a:gd name="connsiteY12428" fmla="*/ 1002775 h 4596459"/>
              <a:gd name="connsiteX12429" fmla="*/ 3415267 w 4716235"/>
              <a:gd name="connsiteY12429" fmla="*/ 992038 h 4596459"/>
              <a:gd name="connsiteX12430" fmla="*/ 4569058 w 4716235"/>
              <a:gd name="connsiteY12430" fmla="*/ 983449 h 4596459"/>
              <a:gd name="connsiteX12431" fmla="*/ 4579795 w 4716235"/>
              <a:gd name="connsiteY12431" fmla="*/ 994185 h 4596459"/>
              <a:gd name="connsiteX12432" fmla="*/ 4569058 w 4716235"/>
              <a:gd name="connsiteY12432" fmla="*/ 1004923 h 4596459"/>
              <a:gd name="connsiteX12433" fmla="*/ 4558322 w 4716235"/>
              <a:gd name="connsiteY12433" fmla="*/ 994185 h 4596459"/>
              <a:gd name="connsiteX12434" fmla="*/ 4569058 w 4716235"/>
              <a:gd name="connsiteY12434" fmla="*/ 983449 h 4596459"/>
              <a:gd name="connsiteX12435" fmla="*/ 4075993 w 4716235"/>
              <a:gd name="connsiteY12435" fmla="*/ 981796 h 4596459"/>
              <a:gd name="connsiteX12436" fmla="*/ 4086729 w 4716235"/>
              <a:gd name="connsiteY12436" fmla="*/ 992533 h 4596459"/>
              <a:gd name="connsiteX12437" fmla="*/ 4075993 w 4716235"/>
              <a:gd name="connsiteY12437" fmla="*/ 1003271 h 4596459"/>
              <a:gd name="connsiteX12438" fmla="*/ 4065256 w 4716235"/>
              <a:gd name="connsiteY12438" fmla="*/ 992533 h 4596459"/>
              <a:gd name="connsiteX12439" fmla="*/ 4075993 w 4716235"/>
              <a:gd name="connsiteY12439" fmla="*/ 981796 h 4596459"/>
              <a:gd name="connsiteX12440" fmla="*/ 4608702 w 4716235"/>
              <a:gd name="connsiteY12440" fmla="*/ 980971 h 4596459"/>
              <a:gd name="connsiteX12441" fmla="*/ 4619438 w 4716235"/>
              <a:gd name="connsiteY12441" fmla="*/ 991707 h 4596459"/>
              <a:gd name="connsiteX12442" fmla="*/ 4608702 w 4716235"/>
              <a:gd name="connsiteY12442" fmla="*/ 1002444 h 4596459"/>
              <a:gd name="connsiteX12443" fmla="*/ 4597965 w 4716235"/>
              <a:gd name="connsiteY12443" fmla="*/ 991707 h 4596459"/>
              <a:gd name="connsiteX12444" fmla="*/ 4608702 w 4716235"/>
              <a:gd name="connsiteY12444" fmla="*/ 980971 h 4596459"/>
              <a:gd name="connsiteX12445" fmla="*/ 4544943 w 4716235"/>
              <a:gd name="connsiteY12445" fmla="*/ 980477 h 4596459"/>
              <a:gd name="connsiteX12446" fmla="*/ 4555679 w 4716235"/>
              <a:gd name="connsiteY12446" fmla="*/ 991213 h 4596459"/>
              <a:gd name="connsiteX12447" fmla="*/ 4544943 w 4716235"/>
              <a:gd name="connsiteY12447" fmla="*/ 1001949 h 4596459"/>
              <a:gd name="connsiteX12448" fmla="*/ 4534206 w 4716235"/>
              <a:gd name="connsiteY12448" fmla="*/ 991213 h 4596459"/>
              <a:gd name="connsiteX12449" fmla="*/ 4544943 w 4716235"/>
              <a:gd name="connsiteY12449" fmla="*/ 980477 h 4596459"/>
              <a:gd name="connsiteX12450" fmla="*/ 4356801 w 4716235"/>
              <a:gd name="connsiteY12450" fmla="*/ 980310 h 4596459"/>
              <a:gd name="connsiteX12451" fmla="*/ 4367537 w 4716235"/>
              <a:gd name="connsiteY12451" fmla="*/ 991047 h 4596459"/>
              <a:gd name="connsiteX12452" fmla="*/ 4356801 w 4716235"/>
              <a:gd name="connsiteY12452" fmla="*/ 1001785 h 4596459"/>
              <a:gd name="connsiteX12453" fmla="*/ 4346064 w 4716235"/>
              <a:gd name="connsiteY12453" fmla="*/ 991047 h 4596459"/>
              <a:gd name="connsiteX12454" fmla="*/ 4356801 w 4716235"/>
              <a:gd name="connsiteY12454" fmla="*/ 980310 h 4596459"/>
              <a:gd name="connsiteX12455" fmla="*/ 222643 w 4716235"/>
              <a:gd name="connsiteY12455" fmla="*/ 979485 h 4596459"/>
              <a:gd name="connsiteX12456" fmla="*/ 233379 w 4716235"/>
              <a:gd name="connsiteY12456" fmla="*/ 990221 h 4596459"/>
              <a:gd name="connsiteX12457" fmla="*/ 222643 w 4716235"/>
              <a:gd name="connsiteY12457" fmla="*/ 1000959 h 4596459"/>
              <a:gd name="connsiteX12458" fmla="*/ 211907 w 4716235"/>
              <a:gd name="connsiteY12458" fmla="*/ 990221 h 4596459"/>
              <a:gd name="connsiteX12459" fmla="*/ 222643 w 4716235"/>
              <a:gd name="connsiteY12459" fmla="*/ 979485 h 4596459"/>
              <a:gd name="connsiteX12460" fmla="*/ 4519008 w 4716235"/>
              <a:gd name="connsiteY12460" fmla="*/ 975356 h 4596459"/>
              <a:gd name="connsiteX12461" fmla="*/ 4529744 w 4716235"/>
              <a:gd name="connsiteY12461" fmla="*/ 986092 h 4596459"/>
              <a:gd name="connsiteX12462" fmla="*/ 4519008 w 4716235"/>
              <a:gd name="connsiteY12462" fmla="*/ 996830 h 4596459"/>
              <a:gd name="connsiteX12463" fmla="*/ 4508272 w 4716235"/>
              <a:gd name="connsiteY12463" fmla="*/ 986092 h 4596459"/>
              <a:gd name="connsiteX12464" fmla="*/ 4519008 w 4716235"/>
              <a:gd name="connsiteY12464" fmla="*/ 975356 h 4596459"/>
              <a:gd name="connsiteX12465" fmla="*/ 4467142 w 4716235"/>
              <a:gd name="connsiteY12465" fmla="*/ 973042 h 4596459"/>
              <a:gd name="connsiteX12466" fmla="*/ 4477880 w 4716235"/>
              <a:gd name="connsiteY12466" fmla="*/ 983779 h 4596459"/>
              <a:gd name="connsiteX12467" fmla="*/ 4467142 w 4716235"/>
              <a:gd name="connsiteY12467" fmla="*/ 994517 h 4596459"/>
              <a:gd name="connsiteX12468" fmla="*/ 4456405 w 4716235"/>
              <a:gd name="connsiteY12468" fmla="*/ 983779 h 4596459"/>
              <a:gd name="connsiteX12469" fmla="*/ 4467142 w 4716235"/>
              <a:gd name="connsiteY12469" fmla="*/ 973042 h 4596459"/>
              <a:gd name="connsiteX12470" fmla="*/ 3267594 w 4716235"/>
              <a:gd name="connsiteY12470" fmla="*/ 968417 h 4596459"/>
              <a:gd name="connsiteX12471" fmla="*/ 3278331 w 4716235"/>
              <a:gd name="connsiteY12471" fmla="*/ 979153 h 4596459"/>
              <a:gd name="connsiteX12472" fmla="*/ 3267594 w 4716235"/>
              <a:gd name="connsiteY12472" fmla="*/ 989892 h 4596459"/>
              <a:gd name="connsiteX12473" fmla="*/ 3256858 w 4716235"/>
              <a:gd name="connsiteY12473" fmla="*/ 979153 h 4596459"/>
              <a:gd name="connsiteX12474" fmla="*/ 3267594 w 4716235"/>
              <a:gd name="connsiteY12474" fmla="*/ 968417 h 4596459"/>
              <a:gd name="connsiteX12475" fmla="*/ 4594827 w 4716235"/>
              <a:gd name="connsiteY12475" fmla="*/ 967921 h 4596459"/>
              <a:gd name="connsiteX12476" fmla="*/ 4605563 w 4716235"/>
              <a:gd name="connsiteY12476" fmla="*/ 978657 h 4596459"/>
              <a:gd name="connsiteX12477" fmla="*/ 4594827 w 4716235"/>
              <a:gd name="connsiteY12477" fmla="*/ 989396 h 4596459"/>
              <a:gd name="connsiteX12478" fmla="*/ 4584090 w 4716235"/>
              <a:gd name="connsiteY12478" fmla="*/ 978657 h 4596459"/>
              <a:gd name="connsiteX12479" fmla="*/ 4594827 w 4716235"/>
              <a:gd name="connsiteY12479" fmla="*/ 967921 h 4596459"/>
              <a:gd name="connsiteX12480" fmla="*/ 4559312 w 4716235"/>
              <a:gd name="connsiteY12480" fmla="*/ 967592 h 4596459"/>
              <a:gd name="connsiteX12481" fmla="*/ 4570048 w 4716235"/>
              <a:gd name="connsiteY12481" fmla="*/ 978328 h 4596459"/>
              <a:gd name="connsiteX12482" fmla="*/ 4559312 w 4716235"/>
              <a:gd name="connsiteY12482" fmla="*/ 989066 h 4596459"/>
              <a:gd name="connsiteX12483" fmla="*/ 4548576 w 4716235"/>
              <a:gd name="connsiteY12483" fmla="*/ 978328 h 4596459"/>
              <a:gd name="connsiteX12484" fmla="*/ 4559312 w 4716235"/>
              <a:gd name="connsiteY12484" fmla="*/ 967592 h 4596459"/>
              <a:gd name="connsiteX12485" fmla="*/ 4535857 w 4716235"/>
              <a:gd name="connsiteY12485" fmla="*/ 961810 h 4596459"/>
              <a:gd name="connsiteX12486" fmla="*/ 4546595 w 4716235"/>
              <a:gd name="connsiteY12486" fmla="*/ 972546 h 4596459"/>
              <a:gd name="connsiteX12487" fmla="*/ 4535857 w 4716235"/>
              <a:gd name="connsiteY12487" fmla="*/ 983284 h 4596459"/>
              <a:gd name="connsiteX12488" fmla="*/ 4525121 w 4716235"/>
              <a:gd name="connsiteY12488" fmla="*/ 972546 h 4596459"/>
              <a:gd name="connsiteX12489" fmla="*/ 4535857 w 4716235"/>
              <a:gd name="connsiteY12489" fmla="*/ 961810 h 4596459"/>
              <a:gd name="connsiteX12490" fmla="*/ 3997201 w 4716235"/>
              <a:gd name="connsiteY12490" fmla="*/ 957185 h 4596459"/>
              <a:gd name="connsiteX12491" fmla="*/ 4007938 w 4716235"/>
              <a:gd name="connsiteY12491" fmla="*/ 967921 h 4596459"/>
              <a:gd name="connsiteX12492" fmla="*/ 3997201 w 4716235"/>
              <a:gd name="connsiteY12492" fmla="*/ 978659 h 4596459"/>
              <a:gd name="connsiteX12493" fmla="*/ 3986465 w 4716235"/>
              <a:gd name="connsiteY12493" fmla="*/ 967921 h 4596459"/>
              <a:gd name="connsiteX12494" fmla="*/ 3997201 w 4716235"/>
              <a:gd name="connsiteY12494" fmla="*/ 957185 h 4596459"/>
              <a:gd name="connsiteX12495" fmla="*/ 4315010 w 4716235"/>
              <a:gd name="connsiteY12495" fmla="*/ 956195 h 4596459"/>
              <a:gd name="connsiteX12496" fmla="*/ 4325747 w 4716235"/>
              <a:gd name="connsiteY12496" fmla="*/ 966931 h 4596459"/>
              <a:gd name="connsiteX12497" fmla="*/ 4315010 w 4716235"/>
              <a:gd name="connsiteY12497" fmla="*/ 977667 h 4596459"/>
              <a:gd name="connsiteX12498" fmla="*/ 4304274 w 4716235"/>
              <a:gd name="connsiteY12498" fmla="*/ 966931 h 4596459"/>
              <a:gd name="connsiteX12499" fmla="*/ 4315010 w 4716235"/>
              <a:gd name="connsiteY12499" fmla="*/ 956195 h 4596459"/>
              <a:gd name="connsiteX12500" fmla="*/ 377417 w 4716235"/>
              <a:gd name="connsiteY12500" fmla="*/ 955534 h 4596459"/>
              <a:gd name="connsiteX12501" fmla="*/ 388156 w 4716235"/>
              <a:gd name="connsiteY12501" fmla="*/ 966270 h 4596459"/>
              <a:gd name="connsiteX12502" fmla="*/ 377417 w 4716235"/>
              <a:gd name="connsiteY12502" fmla="*/ 977008 h 4596459"/>
              <a:gd name="connsiteX12503" fmla="*/ 366681 w 4716235"/>
              <a:gd name="connsiteY12503" fmla="*/ 966270 h 4596459"/>
              <a:gd name="connsiteX12504" fmla="*/ 377417 w 4716235"/>
              <a:gd name="connsiteY12504" fmla="*/ 955534 h 4596459"/>
              <a:gd name="connsiteX12505" fmla="*/ 4505958 w 4716235"/>
              <a:gd name="connsiteY12505" fmla="*/ 954212 h 4596459"/>
              <a:gd name="connsiteX12506" fmla="*/ 4516695 w 4716235"/>
              <a:gd name="connsiteY12506" fmla="*/ 964949 h 4596459"/>
              <a:gd name="connsiteX12507" fmla="*/ 4505958 w 4716235"/>
              <a:gd name="connsiteY12507" fmla="*/ 975687 h 4596459"/>
              <a:gd name="connsiteX12508" fmla="*/ 4495222 w 4716235"/>
              <a:gd name="connsiteY12508" fmla="*/ 964949 h 4596459"/>
              <a:gd name="connsiteX12509" fmla="*/ 4505958 w 4716235"/>
              <a:gd name="connsiteY12509" fmla="*/ 954212 h 4596459"/>
              <a:gd name="connsiteX12510" fmla="*/ 4581943 w 4716235"/>
              <a:gd name="connsiteY12510" fmla="*/ 953881 h 4596459"/>
              <a:gd name="connsiteX12511" fmla="*/ 4592680 w 4716235"/>
              <a:gd name="connsiteY12511" fmla="*/ 964618 h 4596459"/>
              <a:gd name="connsiteX12512" fmla="*/ 4581943 w 4716235"/>
              <a:gd name="connsiteY12512" fmla="*/ 975354 h 4596459"/>
              <a:gd name="connsiteX12513" fmla="*/ 4571207 w 4716235"/>
              <a:gd name="connsiteY12513" fmla="*/ 964618 h 4596459"/>
              <a:gd name="connsiteX12514" fmla="*/ 4581943 w 4716235"/>
              <a:gd name="connsiteY12514" fmla="*/ 953881 h 4596459"/>
              <a:gd name="connsiteX12515" fmla="*/ 4549732 w 4716235"/>
              <a:gd name="connsiteY12515" fmla="*/ 950578 h 4596459"/>
              <a:gd name="connsiteX12516" fmla="*/ 4560471 w 4716235"/>
              <a:gd name="connsiteY12516" fmla="*/ 961314 h 4596459"/>
              <a:gd name="connsiteX12517" fmla="*/ 4549732 w 4716235"/>
              <a:gd name="connsiteY12517" fmla="*/ 972052 h 4596459"/>
              <a:gd name="connsiteX12518" fmla="*/ 4538996 w 4716235"/>
              <a:gd name="connsiteY12518" fmla="*/ 961314 h 4596459"/>
              <a:gd name="connsiteX12519" fmla="*/ 4549732 w 4716235"/>
              <a:gd name="connsiteY12519" fmla="*/ 950578 h 4596459"/>
              <a:gd name="connsiteX12520" fmla="*/ 4443850 w 4716235"/>
              <a:gd name="connsiteY12520" fmla="*/ 950082 h 4596459"/>
              <a:gd name="connsiteX12521" fmla="*/ 4454588 w 4716235"/>
              <a:gd name="connsiteY12521" fmla="*/ 960818 h 4596459"/>
              <a:gd name="connsiteX12522" fmla="*/ 4443850 w 4716235"/>
              <a:gd name="connsiteY12522" fmla="*/ 971556 h 4596459"/>
              <a:gd name="connsiteX12523" fmla="*/ 4433114 w 4716235"/>
              <a:gd name="connsiteY12523" fmla="*/ 960818 h 4596459"/>
              <a:gd name="connsiteX12524" fmla="*/ 4443850 w 4716235"/>
              <a:gd name="connsiteY12524" fmla="*/ 950082 h 4596459"/>
              <a:gd name="connsiteX12525" fmla="*/ 4619275 w 4716235"/>
              <a:gd name="connsiteY12525" fmla="*/ 946778 h 4596459"/>
              <a:gd name="connsiteX12526" fmla="*/ 4620926 w 4716235"/>
              <a:gd name="connsiteY12526" fmla="*/ 948431 h 4596459"/>
              <a:gd name="connsiteX12527" fmla="*/ 4619275 w 4716235"/>
              <a:gd name="connsiteY12527" fmla="*/ 950082 h 4596459"/>
              <a:gd name="connsiteX12528" fmla="*/ 4617622 w 4716235"/>
              <a:gd name="connsiteY12528" fmla="*/ 948431 h 4596459"/>
              <a:gd name="connsiteX12529" fmla="*/ 4619275 w 4716235"/>
              <a:gd name="connsiteY12529" fmla="*/ 946778 h 4596459"/>
              <a:gd name="connsiteX12530" fmla="*/ 3106542 w 4716235"/>
              <a:gd name="connsiteY12530" fmla="*/ 944466 h 4596459"/>
              <a:gd name="connsiteX12531" fmla="*/ 3117280 w 4716235"/>
              <a:gd name="connsiteY12531" fmla="*/ 955203 h 4596459"/>
              <a:gd name="connsiteX12532" fmla="*/ 3106542 w 4716235"/>
              <a:gd name="connsiteY12532" fmla="*/ 965941 h 4596459"/>
              <a:gd name="connsiteX12533" fmla="*/ 3095806 w 4716235"/>
              <a:gd name="connsiteY12533" fmla="*/ 955203 h 4596459"/>
              <a:gd name="connsiteX12534" fmla="*/ 3106542 w 4716235"/>
              <a:gd name="connsiteY12534" fmla="*/ 944466 h 4596459"/>
              <a:gd name="connsiteX12535" fmla="*/ 4526111 w 4716235"/>
              <a:gd name="connsiteY12535" fmla="*/ 941988 h 4596459"/>
              <a:gd name="connsiteX12536" fmla="*/ 4536847 w 4716235"/>
              <a:gd name="connsiteY12536" fmla="*/ 952724 h 4596459"/>
              <a:gd name="connsiteX12537" fmla="*/ 4526111 w 4716235"/>
              <a:gd name="connsiteY12537" fmla="*/ 963461 h 4596459"/>
              <a:gd name="connsiteX12538" fmla="*/ 4515375 w 4716235"/>
              <a:gd name="connsiteY12538" fmla="*/ 952724 h 4596459"/>
              <a:gd name="connsiteX12539" fmla="*/ 4526111 w 4716235"/>
              <a:gd name="connsiteY12539" fmla="*/ 941988 h 4596459"/>
              <a:gd name="connsiteX12540" fmla="*/ 4569884 w 4716235"/>
              <a:gd name="connsiteY12540" fmla="*/ 939180 h 4596459"/>
              <a:gd name="connsiteX12541" fmla="*/ 4580622 w 4716235"/>
              <a:gd name="connsiteY12541" fmla="*/ 949917 h 4596459"/>
              <a:gd name="connsiteX12542" fmla="*/ 4569884 w 4716235"/>
              <a:gd name="connsiteY12542" fmla="*/ 960653 h 4596459"/>
              <a:gd name="connsiteX12543" fmla="*/ 4559147 w 4716235"/>
              <a:gd name="connsiteY12543" fmla="*/ 949917 h 4596459"/>
              <a:gd name="connsiteX12544" fmla="*/ 4569884 w 4716235"/>
              <a:gd name="connsiteY12544" fmla="*/ 939180 h 4596459"/>
              <a:gd name="connsiteX12545" fmla="*/ 4540316 w 4716235"/>
              <a:gd name="connsiteY12545" fmla="*/ 932738 h 4596459"/>
              <a:gd name="connsiteX12546" fmla="*/ 4551054 w 4716235"/>
              <a:gd name="connsiteY12546" fmla="*/ 943474 h 4596459"/>
              <a:gd name="connsiteX12547" fmla="*/ 4540316 w 4716235"/>
              <a:gd name="connsiteY12547" fmla="*/ 954212 h 4596459"/>
              <a:gd name="connsiteX12548" fmla="*/ 4529580 w 4716235"/>
              <a:gd name="connsiteY12548" fmla="*/ 943474 h 4596459"/>
              <a:gd name="connsiteX12549" fmla="*/ 4540316 w 4716235"/>
              <a:gd name="connsiteY12549" fmla="*/ 932738 h 4596459"/>
              <a:gd name="connsiteX12550" fmla="*/ 4491093 w 4716235"/>
              <a:gd name="connsiteY12550" fmla="*/ 932077 h 4596459"/>
              <a:gd name="connsiteX12551" fmla="*/ 4501829 w 4716235"/>
              <a:gd name="connsiteY12551" fmla="*/ 942814 h 4596459"/>
              <a:gd name="connsiteX12552" fmla="*/ 4491093 w 4716235"/>
              <a:gd name="connsiteY12552" fmla="*/ 953552 h 4596459"/>
              <a:gd name="connsiteX12553" fmla="*/ 4480356 w 4716235"/>
              <a:gd name="connsiteY12553" fmla="*/ 942814 h 4596459"/>
              <a:gd name="connsiteX12554" fmla="*/ 4491093 w 4716235"/>
              <a:gd name="connsiteY12554" fmla="*/ 932077 h 4596459"/>
              <a:gd name="connsiteX12555" fmla="*/ 545902 w 4716235"/>
              <a:gd name="connsiteY12555" fmla="*/ 931748 h 4596459"/>
              <a:gd name="connsiteX12556" fmla="*/ 556639 w 4716235"/>
              <a:gd name="connsiteY12556" fmla="*/ 942484 h 4596459"/>
              <a:gd name="connsiteX12557" fmla="*/ 545902 w 4716235"/>
              <a:gd name="connsiteY12557" fmla="*/ 953222 h 4596459"/>
              <a:gd name="connsiteX12558" fmla="*/ 535166 w 4716235"/>
              <a:gd name="connsiteY12558" fmla="*/ 942484 h 4596459"/>
              <a:gd name="connsiteX12559" fmla="*/ 545902 w 4716235"/>
              <a:gd name="connsiteY12559" fmla="*/ 931748 h 4596459"/>
              <a:gd name="connsiteX12560" fmla="*/ 3909819 w 4716235"/>
              <a:gd name="connsiteY12560" fmla="*/ 931583 h 4596459"/>
              <a:gd name="connsiteX12561" fmla="*/ 3920556 w 4716235"/>
              <a:gd name="connsiteY12561" fmla="*/ 942319 h 4596459"/>
              <a:gd name="connsiteX12562" fmla="*/ 3909819 w 4716235"/>
              <a:gd name="connsiteY12562" fmla="*/ 953057 h 4596459"/>
              <a:gd name="connsiteX12563" fmla="*/ 3899083 w 4716235"/>
              <a:gd name="connsiteY12563" fmla="*/ 942319 h 4596459"/>
              <a:gd name="connsiteX12564" fmla="*/ 3909819 w 4716235"/>
              <a:gd name="connsiteY12564" fmla="*/ 931583 h 4596459"/>
              <a:gd name="connsiteX12565" fmla="*/ 4267603 w 4716235"/>
              <a:gd name="connsiteY12565" fmla="*/ 931252 h 4596459"/>
              <a:gd name="connsiteX12566" fmla="*/ 4278339 w 4716235"/>
              <a:gd name="connsiteY12566" fmla="*/ 941988 h 4596459"/>
              <a:gd name="connsiteX12567" fmla="*/ 4267603 w 4716235"/>
              <a:gd name="connsiteY12567" fmla="*/ 952726 h 4596459"/>
              <a:gd name="connsiteX12568" fmla="*/ 4256866 w 4716235"/>
              <a:gd name="connsiteY12568" fmla="*/ 941988 h 4596459"/>
              <a:gd name="connsiteX12569" fmla="*/ 4267603 w 4716235"/>
              <a:gd name="connsiteY12569" fmla="*/ 931252 h 4596459"/>
              <a:gd name="connsiteX12570" fmla="*/ 4416927 w 4716235"/>
              <a:gd name="connsiteY12570" fmla="*/ 925966 h 4596459"/>
              <a:gd name="connsiteX12571" fmla="*/ 4427663 w 4716235"/>
              <a:gd name="connsiteY12571" fmla="*/ 936702 h 4596459"/>
              <a:gd name="connsiteX12572" fmla="*/ 4416927 w 4716235"/>
              <a:gd name="connsiteY12572" fmla="*/ 947440 h 4596459"/>
              <a:gd name="connsiteX12573" fmla="*/ 4406190 w 4716235"/>
              <a:gd name="connsiteY12573" fmla="*/ 936702 h 4596459"/>
              <a:gd name="connsiteX12574" fmla="*/ 4416927 w 4716235"/>
              <a:gd name="connsiteY12574" fmla="*/ 925966 h 4596459"/>
              <a:gd name="connsiteX12575" fmla="*/ 4603251 w 4716235"/>
              <a:gd name="connsiteY12575" fmla="*/ 924976 h 4596459"/>
              <a:gd name="connsiteX12576" fmla="*/ 4613988 w 4716235"/>
              <a:gd name="connsiteY12576" fmla="*/ 935712 h 4596459"/>
              <a:gd name="connsiteX12577" fmla="*/ 4603251 w 4716235"/>
              <a:gd name="connsiteY12577" fmla="*/ 946448 h 4596459"/>
              <a:gd name="connsiteX12578" fmla="*/ 4592515 w 4716235"/>
              <a:gd name="connsiteY12578" fmla="*/ 935712 h 4596459"/>
              <a:gd name="connsiteX12579" fmla="*/ 4603251 w 4716235"/>
              <a:gd name="connsiteY12579" fmla="*/ 924976 h 4596459"/>
              <a:gd name="connsiteX12580" fmla="*/ 4558487 w 4716235"/>
              <a:gd name="connsiteY12580" fmla="*/ 923323 h 4596459"/>
              <a:gd name="connsiteX12581" fmla="*/ 4569225 w 4716235"/>
              <a:gd name="connsiteY12581" fmla="*/ 934059 h 4596459"/>
              <a:gd name="connsiteX12582" fmla="*/ 4558487 w 4716235"/>
              <a:gd name="connsiteY12582" fmla="*/ 944797 h 4596459"/>
              <a:gd name="connsiteX12583" fmla="*/ 4547750 w 4716235"/>
              <a:gd name="connsiteY12583" fmla="*/ 934059 h 4596459"/>
              <a:gd name="connsiteX12584" fmla="*/ 4558487 w 4716235"/>
              <a:gd name="connsiteY12584" fmla="*/ 923323 h 4596459"/>
              <a:gd name="connsiteX12585" fmla="*/ 4515540 w 4716235"/>
              <a:gd name="connsiteY12585" fmla="*/ 921341 h 4596459"/>
              <a:gd name="connsiteX12586" fmla="*/ 4526278 w 4716235"/>
              <a:gd name="connsiteY12586" fmla="*/ 932077 h 4596459"/>
              <a:gd name="connsiteX12587" fmla="*/ 4515540 w 4716235"/>
              <a:gd name="connsiteY12587" fmla="*/ 942814 h 4596459"/>
              <a:gd name="connsiteX12588" fmla="*/ 4504803 w 4716235"/>
              <a:gd name="connsiteY12588" fmla="*/ 932077 h 4596459"/>
              <a:gd name="connsiteX12589" fmla="*/ 4515540 w 4716235"/>
              <a:gd name="connsiteY12589" fmla="*/ 921341 h 4596459"/>
              <a:gd name="connsiteX12590" fmla="*/ 2931452 w 4716235"/>
              <a:gd name="connsiteY12590" fmla="*/ 920680 h 4596459"/>
              <a:gd name="connsiteX12591" fmla="*/ 2942188 w 4716235"/>
              <a:gd name="connsiteY12591" fmla="*/ 931417 h 4596459"/>
              <a:gd name="connsiteX12592" fmla="*/ 2931452 w 4716235"/>
              <a:gd name="connsiteY12592" fmla="*/ 942155 h 4596459"/>
              <a:gd name="connsiteX12593" fmla="*/ 2920715 w 4716235"/>
              <a:gd name="connsiteY12593" fmla="*/ 931417 h 4596459"/>
              <a:gd name="connsiteX12594" fmla="*/ 2931452 w 4716235"/>
              <a:gd name="connsiteY12594" fmla="*/ 920680 h 4596459"/>
              <a:gd name="connsiteX12595" fmla="*/ 4530736 w 4716235"/>
              <a:gd name="connsiteY12595" fmla="*/ 913908 h 4596459"/>
              <a:gd name="connsiteX12596" fmla="*/ 4541473 w 4716235"/>
              <a:gd name="connsiteY12596" fmla="*/ 924645 h 4596459"/>
              <a:gd name="connsiteX12597" fmla="*/ 4530736 w 4716235"/>
              <a:gd name="connsiteY12597" fmla="*/ 935383 h 4596459"/>
              <a:gd name="connsiteX12598" fmla="*/ 4520000 w 4716235"/>
              <a:gd name="connsiteY12598" fmla="*/ 924645 h 4596459"/>
              <a:gd name="connsiteX12599" fmla="*/ 4530736 w 4716235"/>
              <a:gd name="connsiteY12599" fmla="*/ 913908 h 4596459"/>
              <a:gd name="connsiteX12600" fmla="*/ 4588055 w 4716235"/>
              <a:gd name="connsiteY12600" fmla="*/ 911430 h 4596459"/>
              <a:gd name="connsiteX12601" fmla="*/ 4598791 w 4716235"/>
              <a:gd name="connsiteY12601" fmla="*/ 922166 h 4596459"/>
              <a:gd name="connsiteX12602" fmla="*/ 4588055 w 4716235"/>
              <a:gd name="connsiteY12602" fmla="*/ 932904 h 4596459"/>
              <a:gd name="connsiteX12603" fmla="*/ 4577318 w 4716235"/>
              <a:gd name="connsiteY12603" fmla="*/ 922166 h 4596459"/>
              <a:gd name="connsiteX12604" fmla="*/ 4588055 w 4716235"/>
              <a:gd name="connsiteY12604" fmla="*/ 911430 h 4596459"/>
              <a:gd name="connsiteX12605" fmla="*/ 4473914 w 4716235"/>
              <a:gd name="connsiteY12605" fmla="*/ 908787 h 4596459"/>
              <a:gd name="connsiteX12606" fmla="*/ 4484652 w 4716235"/>
              <a:gd name="connsiteY12606" fmla="*/ 919523 h 4596459"/>
              <a:gd name="connsiteX12607" fmla="*/ 4473914 w 4716235"/>
              <a:gd name="connsiteY12607" fmla="*/ 930262 h 4596459"/>
              <a:gd name="connsiteX12608" fmla="*/ 4463177 w 4716235"/>
              <a:gd name="connsiteY12608" fmla="*/ 919523 h 4596459"/>
              <a:gd name="connsiteX12609" fmla="*/ 4473914 w 4716235"/>
              <a:gd name="connsiteY12609" fmla="*/ 908787 h 4596459"/>
              <a:gd name="connsiteX12610" fmla="*/ 728759 w 4716235"/>
              <a:gd name="connsiteY12610" fmla="*/ 908291 h 4596459"/>
              <a:gd name="connsiteX12611" fmla="*/ 739496 w 4716235"/>
              <a:gd name="connsiteY12611" fmla="*/ 919027 h 4596459"/>
              <a:gd name="connsiteX12612" fmla="*/ 728759 w 4716235"/>
              <a:gd name="connsiteY12612" fmla="*/ 929766 h 4596459"/>
              <a:gd name="connsiteX12613" fmla="*/ 718022 w 4716235"/>
              <a:gd name="connsiteY12613" fmla="*/ 919027 h 4596459"/>
              <a:gd name="connsiteX12614" fmla="*/ 728759 w 4716235"/>
              <a:gd name="connsiteY12614" fmla="*/ 908291 h 4596459"/>
              <a:gd name="connsiteX12615" fmla="*/ 4547419 w 4716235"/>
              <a:gd name="connsiteY12615" fmla="*/ 906474 h 4596459"/>
              <a:gd name="connsiteX12616" fmla="*/ 4558155 w 4716235"/>
              <a:gd name="connsiteY12616" fmla="*/ 917210 h 4596459"/>
              <a:gd name="connsiteX12617" fmla="*/ 4547419 w 4716235"/>
              <a:gd name="connsiteY12617" fmla="*/ 927948 h 4596459"/>
              <a:gd name="connsiteX12618" fmla="*/ 4536683 w 4716235"/>
              <a:gd name="connsiteY12618" fmla="*/ 917210 h 4596459"/>
              <a:gd name="connsiteX12619" fmla="*/ 4547419 w 4716235"/>
              <a:gd name="connsiteY12619" fmla="*/ 906474 h 4596459"/>
              <a:gd name="connsiteX12620" fmla="*/ 4213919 w 4716235"/>
              <a:gd name="connsiteY12620" fmla="*/ 905319 h 4596459"/>
              <a:gd name="connsiteX12621" fmla="*/ 4224656 w 4716235"/>
              <a:gd name="connsiteY12621" fmla="*/ 916055 h 4596459"/>
              <a:gd name="connsiteX12622" fmla="*/ 4213919 w 4716235"/>
              <a:gd name="connsiteY12622" fmla="*/ 926793 h 4596459"/>
              <a:gd name="connsiteX12623" fmla="*/ 4203183 w 4716235"/>
              <a:gd name="connsiteY12623" fmla="*/ 916055 h 4596459"/>
              <a:gd name="connsiteX12624" fmla="*/ 4213919 w 4716235"/>
              <a:gd name="connsiteY12624" fmla="*/ 905319 h 4596459"/>
              <a:gd name="connsiteX12625" fmla="*/ 3812859 w 4716235"/>
              <a:gd name="connsiteY12625" fmla="*/ 905319 h 4596459"/>
              <a:gd name="connsiteX12626" fmla="*/ 3823595 w 4716235"/>
              <a:gd name="connsiteY12626" fmla="*/ 916055 h 4596459"/>
              <a:gd name="connsiteX12627" fmla="*/ 3812859 w 4716235"/>
              <a:gd name="connsiteY12627" fmla="*/ 926793 h 4596459"/>
              <a:gd name="connsiteX12628" fmla="*/ 3802123 w 4716235"/>
              <a:gd name="connsiteY12628" fmla="*/ 916055 h 4596459"/>
              <a:gd name="connsiteX12629" fmla="*/ 3812859 w 4716235"/>
              <a:gd name="connsiteY12629" fmla="*/ 905319 h 4596459"/>
              <a:gd name="connsiteX12630" fmla="*/ 4386037 w 4716235"/>
              <a:gd name="connsiteY12630" fmla="*/ 900858 h 4596459"/>
              <a:gd name="connsiteX12631" fmla="*/ 4396775 w 4716235"/>
              <a:gd name="connsiteY12631" fmla="*/ 911595 h 4596459"/>
              <a:gd name="connsiteX12632" fmla="*/ 4386037 w 4716235"/>
              <a:gd name="connsiteY12632" fmla="*/ 922333 h 4596459"/>
              <a:gd name="connsiteX12633" fmla="*/ 4375301 w 4716235"/>
              <a:gd name="connsiteY12633" fmla="*/ 911595 h 4596459"/>
              <a:gd name="connsiteX12634" fmla="*/ 4386037 w 4716235"/>
              <a:gd name="connsiteY12634" fmla="*/ 900858 h 4596459"/>
              <a:gd name="connsiteX12635" fmla="*/ 4503646 w 4716235"/>
              <a:gd name="connsiteY12635" fmla="*/ 899372 h 4596459"/>
              <a:gd name="connsiteX12636" fmla="*/ 4514383 w 4716235"/>
              <a:gd name="connsiteY12636" fmla="*/ 910109 h 4596459"/>
              <a:gd name="connsiteX12637" fmla="*/ 4503646 w 4716235"/>
              <a:gd name="connsiteY12637" fmla="*/ 920847 h 4596459"/>
              <a:gd name="connsiteX12638" fmla="*/ 4492910 w 4716235"/>
              <a:gd name="connsiteY12638" fmla="*/ 910109 h 4596459"/>
              <a:gd name="connsiteX12639" fmla="*/ 4503646 w 4716235"/>
              <a:gd name="connsiteY12639" fmla="*/ 899372 h 4596459"/>
              <a:gd name="connsiteX12640" fmla="*/ 2741657 w 4716235"/>
              <a:gd name="connsiteY12640" fmla="*/ 897555 h 4596459"/>
              <a:gd name="connsiteX12641" fmla="*/ 2752395 w 4716235"/>
              <a:gd name="connsiteY12641" fmla="*/ 908291 h 4596459"/>
              <a:gd name="connsiteX12642" fmla="*/ 2741657 w 4716235"/>
              <a:gd name="connsiteY12642" fmla="*/ 919029 h 4596459"/>
              <a:gd name="connsiteX12643" fmla="*/ 2730921 w 4716235"/>
              <a:gd name="connsiteY12643" fmla="*/ 908291 h 4596459"/>
              <a:gd name="connsiteX12644" fmla="*/ 2741657 w 4716235"/>
              <a:gd name="connsiteY12644" fmla="*/ 897555 h 4596459"/>
              <a:gd name="connsiteX12645" fmla="*/ 4573848 w 4716235"/>
              <a:gd name="connsiteY12645" fmla="*/ 897059 h 4596459"/>
              <a:gd name="connsiteX12646" fmla="*/ 4584584 w 4716235"/>
              <a:gd name="connsiteY12646" fmla="*/ 907795 h 4596459"/>
              <a:gd name="connsiteX12647" fmla="*/ 4573848 w 4716235"/>
              <a:gd name="connsiteY12647" fmla="*/ 918533 h 4596459"/>
              <a:gd name="connsiteX12648" fmla="*/ 4563112 w 4716235"/>
              <a:gd name="connsiteY12648" fmla="*/ 907795 h 4596459"/>
              <a:gd name="connsiteX12649" fmla="*/ 4573848 w 4716235"/>
              <a:gd name="connsiteY12649" fmla="*/ 897059 h 4596459"/>
              <a:gd name="connsiteX12650" fmla="*/ 4536847 w 4716235"/>
              <a:gd name="connsiteY12650" fmla="*/ 888801 h 4596459"/>
              <a:gd name="connsiteX12651" fmla="*/ 4547586 w 4716235"/>
              <a:gd name="connsiteY12651" fmla="*/ 899537 h 4596459"/>
              <a:gd name="connsiteX12652" fmla="*/ 4536847 w 4716235"/>
              <a:gd name="connsiteY12652" fmla="*/ 910275 h 4596459"/>
              <a:gd name="connsiteX12653" fmla="*/ 4531397 w 4716235"/>
              <a:gd name="connsiteY12653" fmla="*/ 904824 h 4596459"/>
              <a:gd name="connsiteX12654" fmla="*/ 4520825 w 4716235"/>
              <a:gd name="connsiteY12654" fmla="*/ 915396 h 4596459"/>
              <a:gd name="connsiteX12655" fmla="*/ 4510089 w 4716235"/>
              <a:gd name="connsiteY12655" fmla="*/ 904658 h 4596459"/>
              <a:gd name="connsiteX12656" fmla="*/ 4520825 w 4716235"/>
              <a:gd name="connsiteY12656" fmla="*/ 893922 h 4596459"/>
              <a:gd name="connsiteX12657" fmla="*/ 4526276 w 4716235"/>
              <a:gd name="connsiteY12657" fmla="*/ 899372 h 4596459"/>
              <a:gd name="connsiteX12658" fmla="*/ 926645 w 4716235"/>
              <a:gd name="connsiteY12658" fmla="*/ 885662 h 4596459"/>
              <a:gd name="connsiteX12659" fmla="*/ 937383 w 4716235"/>
              <a:gd name="connsiteY12659" fmla="*/ 896398 h 4596459"/>
              <a:gd name="connsiteX12660" fmla="*/ 926645 w 4716235"/>
              <a:gd name="connsiteY12660" fmla="*/ 907136 h 4596459"/>
              <a:gd name="connsiteX12661" fmla="*/ 915908 w 4716235"/>
              <a:gd name="connsiteY12661" fmla="*/ 896398 h 4596459"/>
              <a:gd name="connsiteX12662" fmla="*/ 926645 w 4716235"/>
              <a:gd name="connsiteY12662" fmla="*/ 885662 h 4596459"/>
              <a:gd name="connsiteX12663" fmla="*/ 4454092 w 4716235"/>
              <a:gd name="connsiteY12663" fmla="*/ 884340 h 4596459"/>
              <a:gd name="connsiteX12664" fmla="*/ 4464828 w 4716235"/>
              <a:gd name="connsiteY12664" fmla="*/ 895077 h 4596459"/>
              <a:gd name="connsiteX12665" fmla="*/ 4454092 w 4716235"/>
              <a:gd name="connsiteY12665" fmla="*/ 905815 h 4596459"/>
              <a:gd name="connsiteX12666" fmla="*/ 4443356 w 4716235"/>
              <a:gd name="connsiteY12666" fmla="*/ 895077 h 4596459"/>
              <a:gd name="connsiteX12667" fmla="*/ 4454092 w 4716235"/>
              <a:gd name="connsiteY12667" fmla="*/ 884340 h 4596459"/>
              <a:gd name="connsiteX12668" fmla="*/ 4560469 w 4716235"/>
              <a:gd name="connsiteY12668" fmla="*/ 881533 h 4596459"/>
              <a:gd name="connsiteX12669" fmla="*/ 4571207 w 4716235"/>
              <a:gd name="connsiteY12669" fmla="*/ 892269 h 4596459"/>
              <a:gd name="connsiteX12670" fmla="*/ 4560469 w 4716235"/>
              <a:gd name="connsiteY12670" fmla="*/ 903007 h 4596459"/>
              <a:gd name="connsiteX12671" fmla="*/ 4549732 w 4716235"/>
              <a:gd name="connsiteY12671" fmla="*/ 892269 h 4596459"/>
              <a:gd name="connsiteX12672" fmla="*/ 4560469 w 4716235"/>
              <a:gd name="connsiteY12672" fmla="*/ 881533 h 4596459"/>
              <a:gd name="connsiteX12673" fmla="*/ 4153627 w 4716235"/>
              <a:gd name="connsiteY12673" fmla="*/ 878229 h 4596459"/>
              <a:gd name="connsiteX12674" fmla="*/ 4164363 w 4716235"/>
              <a:gd name="connsiteY12674" fmla="*/ 888965 h 4596459"/>
              <a:gd name="connsiteX12675" fmla="*/ 4153627 w 4716235"/>
              <a:gd name="connsiteY12675" fmla="*/ 899702 h 4596459"/>
              <a:gd name="connsiteX12676" fmla="*/ 4142891 w 4716235"/>
              <a:gd name="connsiteY12676" fmla="*/ 888965 h 4596459"/>
              <a:gd name="connsiteX12677" fmla="*/ 4153627 w 4716235"/>
              <a:gd name="connsiteY12677" fmla="*/ 878229 h 4596459"/>
              <a:gd name="connsiteX12678" fmla="*/ 3705655 w 4716235"/>
              <a:gd name="connsiteY12678" fmla="*/ 878229 h 4596459"/>
              <a:gd name="connsiteX12679" fmla="*/ 3716393 w 4716235"/>
              <a:gd name="connsiteY12679" fmla="*/ 888965 h 4596459"/>
              <a:gd name="connsiteX12680" fmla="*/ 3705655 w 4716235"/>
              <a:gd name="connsiteY12680" fmla="*/ 899702 h 4596459"/>
              <a:gd name="connsiteX12681" fmla="*/ 3694919 w 4716235"/>
              <a:gd name="connsiteY12681" fmla="*/ 888965 h 4596459"/>
              <a:gd name="connsiteX12682" fmla="*/ 3705655 w 4716235"/>
              <a:gd name="connsiteY12682" fmla="*/ 878229 h 4596459"/>
              <a:gd name="connsiteX12683" fmla="*/ 4597965 w 4716235"/>
              <a:gd name="connsiteY12683" fmla="*/ 877237 h 4596459"/>
              <a:gd name="connsiteX12684" fmla="*/ 4601765 w 4716235"/>
              <a:gd name="connsiteY12684" fmla="*/ 881037 h 4596459"/>
              <a:gd name="connsiteX12685" fmla="*/ 4597965 w 4716235"/>
              <a:gd name="connsiteY12685" fmla="*/ 884835 h 4596459"/>
              <a:gd name="connsiteX12686" fmla="*/ 4594166 w 4716235"/>
              <a:gd name="connsiteY12686" fmla="*/ 881037 h 4596459"/>
              <a:gd name="connsiteX12687" fmla="*/ 4597965 w 4716235"/>
              <a:gd name="connsiteY12687" fmla="*/ 877237 h 4596459"/>
              <a:gd name="connsiteX12688" fmla="*/ 4490432 w 4716235"/>
              <a:gd name="connsiteY12688" fmla="*/ 876576 h 4596459"/>
              <a:gd name="connsiteX12689" fmla="*/ 4501170 w 4716235"/>
              <a:gd name="connsiteY12689" fmla="*/ 887313 h 4596459"/>
              <a:gd name="connsiteX12690" fmla="*/ 4490432 w 4716235"/>
              <a:gd name="connsiteY12690" fmla="*/ 898051 h 4596459"/>
              <a:gd name="connsiteX12691" fmla="*/ 4479696 w 4716235"/>
              <a:gd name="connsiteY12691" fmla="*/ 887313 h 4596459"/>
              <a:gd name="connsiteX12692" fmla="*/ 4490432 w 4716235"/>
              <a:gd name="connsiteY12692" fmla="*/ 876576 h 4596459"/>
              <a:gd name="connsiteX12693" fmla="*/ 2536999 w 4716235"/>
              <a:gd name="connsiteY12693" fmla="*/ 875916 h 4596459"/>
              <a:gd name="connsiteX12694" fmla="*/ 2547737 w 4716235"/>
              <a:gd name="connsiteY12694" fmla="*/ 886652 h 4596459"/>
              <a:gd name="connsiteX12695" fmla="*/ 2536999 w 4716235"/>
              <a:gd name="connsiteY12695" fmla="*/ 897388 h 4596459"/>
              <a:gd name="connsiteX12696" fmla="*/ 2526263 w 4716235"/>
              <a:gd name="connsiteY12696" fmla="*/ 886652 h 4596459"/>
              <a:gd name="connsiteX12697" fmla="*/ 2536999 w 4716235"/>
              <a:gd name="connsiteY12697" fmla="*/ 875916 h 4596459"/>
              <a:gd name="connsiteX12698" fmla="*/ 4350854 w 4716235"/>
              <a:gd name="connsiteY12698" fmla="*/ 874759 h 4596459"/>
              <a:gd name="connsiteX12699" fmla="*/ 4361591 w 4716235"/>
              <a:gd name="connsiteY12699" fmla="*/ 885495 h 4596459"/>
              <a:gd name="connsiteX12700" fmla="*/ 4350854 w 4716235"/>
              <a:gd name="connsiteY12700" fmla="*/ 896233 h 4596459"/>
              <a:gd name="connsiteX12701" fmla="*/ 4340118 w 4716235"/>
              <a:gd name="connsiteY12701" fmla="*/ 885495 h 4596459"/>
              <a:gd name="connsiteX12702" fmla="*/ 4350854 w 4716235"/>
              <a:gd name="connsiteY12702" fmla="*/ 874759 h 4596459"/>
              <a:gd name="connsiteX12703" fmla="*/ 4526276 w 4716235"/>
              <a:gd name="connsiteY12703" fmla="*/ 869969 h 4596459"/>
              <a:gd name="connsiteX12704" fmla="*/ 4537012 w 4716235"/>
              <a:gd name="connsiteY12704" fmla="*/ 880705 h 4596459"/>
              <a:gd name="connsiteX12705" fmla="*/ 4526276 w 4716235"/>
              <a:gd name="connsiteY12705" fmla="*/ 891444 h 4596459"/>
              <a:gd name="connsiteX12706" fmla="*/ 4519752 w 4716235"/>
              <a:gd name="connsiteY12706" fmla="*/ 884919 h 4596459"/>
              <a:gd name="connsiteX12707" fmla="*/ 4510418 w 4716235"/>
              <a:gd name="connsiteY12707" fmla="*/ 894253 h 4596459"/>
              <a:gd name="connsiteX12708" fmla="*/ 4499682 w 4716235"/>
              <a:gd name="connsiteY12708" fmla="*/ 883515 h 4596459"/>
              <a:gd name="connsiteX12709" fmla="*/ 4510418 w 4716235"/>
              <a:gd name="connsiteY12709" fmla="*/ 872778 h 4596459"/>
              <a:gd name="connsiteX12710" fmla="*/ 4516942 w 4716235"/>
              <a:gd name="connsiteY12710" fmla="*/ 879302 h 4596459"/>
              <a:gd name="connsiteX12711" fmla="*/ 1139069 w 4716235"/>
              <a:gd name="connsiteY12711" fmla="*/ 865344 h 4596459"/>
              <a:gd name="connsiteX12712" fmla="*/ 1149807 w 4716235"/>
              <a:gd name="connsiteY12712" fmla="*/ 876080 h 4596459"/>
              <a:gd name="connsiteX12713" fmla="*/ 1139069 w 4716235"/>
              <a:gd name="connsiteY12713" fmla="*/ 886818 h 4596459"/>
              <a:gd name="connsiteX12714" fmla="*/ 1128332 w 4716235"/>
              <a:gd name="connsiteY12714" fmla="*/ 876080 h 4596459"/>
              <a:gd name="connsiteX12715" fmla="*/ 1139069 w 4716235"/>
              <a:gd name="connsiteY12715" fmla="*/ 865344 h 4596459"/>
              <a:gd name="connsiteX12716" fmla="*/ 4547750 w 4716235"/>
              <a:gd name="connsiteY12716" fmla="*/ 865179 h 4596459"/>
              <a:gd name="connsiteX12717" fmla="*/ 4558487 w 4716235"/>
              <a:gd name="connsiteY12717" fmla="*/ 875916 h 4596459"/>
              <a:gd name="connsiteX12718" fmla="*/ 4547750 w 4716235"/>
              <a:gd name="connsiteY12718" fmla="*/ 886654 h 4596459"/>
              <a:gd name="connsiteX12719" fmla="*/ 4537014 w 4716235"/>
              <a:gd name="connsiteY12719" fmla="*/ 875916 h 4596459"/>
              <a:gd name="connsiteX12720" fmla="*/ 4547750 w 4716235"/>
              <a:gd name="connsiteY12720" fmla="*/ 865179 h 4596459"/>
              <a:gd name="connsiteX12721" fmla="*/ 4431298 w 4716235"/>
              <a:gd name="connsiteY12721" fmla="*/ 858901 h 4596459"/>
              <a:gd name="connsiteX12722" fmla="*/ 4442034 w 4716235"/>
              <a:gd name="connsiteY12722" fmla="*/ 869638 h 4596459"/>
              <a:gd name="connsiteX12723" fmla="*/ 4431298 w 4716235"/>
              <a:gd name="connsiteY12723" fmla="*/ 880376 h 4596459"/>
              <a:gd name="connsiteX12724" fmla="*/ 4420562 w 4716235"/>
              <a:gd name="connsiteY12724" fmla="*/ 869638 h 4596459"/>
              <a:gd name="connsiteX12725" fmla="*/ 4431298 w 4716235"/>
              <a:gd name="connsiteY12725" fmla="*/ 858901 h 4596459"/>
              <a:gd name="connsiteX12726" fmla="*/ 2317803 w 4716235"/>
              <a:gd name="connsiteY12726" fmla="*/ 857086 h 4596459"/>
              <a:gd name="connsiteX12727" fmla="*/ 2328541 w 4716235"/>
              <a:gd name="connsiteY12727" fmla="*/ 867822 h 4596459"/>
              <a:gd name="connsiteX12728" fmla="*/ 2317803 w 4716235"/>
              <a:gd name="connsiteY12728" fmla="*/ 878560 h 4596459"/>
              <a:gd name="connsiteX12729" fmla="*/ 2307066 w 4716235"/>
              <a:gd name="connsiteY12729" fmla="*/ 867822 h 4596459"/>
              <a:gd name="connsiteX12730" fmla="*/ 2317803 w 4716235"/>
              <a:gd name="connsiteY12730" fmla="*/ 857086 h 4596459"/>
              <a:gd name="connsiteX12731" fmla="*/ 4581612 w 4716235"/>
              <a:gd name="connsiteY12731" fmla="*/ 856590 h 4596459"/>
              <a:gd name="connsiteX12732" fmla="*/ 4592350 w 4716235"/>
              <a:gd name="connsiteY12732" fmla="*/ 867326 h 4596459"/>
              <a:gd name="connsiteX12733" fmla="*/ 4581612 w 4716235"/>
              <a:gd name="connsiteY12733" fmla="*/ 878064 h 4596459"/>
              <a:gd name="connsiteX12734" fmla="*/ 4570876 w 4716235"/>
              <a:gd name="connsiteY12734" fmla="*/ 867326 h 4596459"/>
              <a:gd name="connsiteX12735" fmla="*/ 4581612 w 4716235"/>
              <a:gd name="connsiteY12735" fmla="*/ 856590 h 4596459"/>
              <a:gd name="connsiteX12736" fmla="*/ 4475400 w 4716235"/>
              <a:gd name="connsiteY12736" fmla="*/ 852461 h 4596459"/>
              <a:gd name="connsiteX12737" fmla="*/ 4486138 w 4716235"/>
              <a:gd name="connsiteY12737" fmla="*/ 863197 h 4596459"/>
              <a:gd name="connsiteX12738" fmla="*/ 4475400 w 4716235"/>
              <a:gd name="connsiteY12738" fmla="*/ 873935 h 4596459"/>
              <a:gd name="connsiteX12739" fmla="*/ 4464664 w 4716235"/>
              <a:gd name="connsiteY12739" fmla="*/ 863197 h 4596459"/>
              <a:gd name="connsiteX12740" fmla="*/ 4475400 w 4716235"/>
              <a:gd name="connsiteY12740" fmla="*/ 852461 h 4596459"/>
              <a:gd name="connsiteX12741" fmla="*/ 3587717 w 4716235"/>
              <a:gd name="connsiteY12741" fmla="*/ 850643 h 4596459"/>
              <a:gd name="connsiteX12742" fmla="*/ 3598453 w 4716235"/>
              <a:gd name="connsiteY12742" fmla="*/ 861380 h 4596459"/>
              <a:gd name="connsiteX12743" fmla="*/ 3587717 w 4716235"/>
              <a:gd name="connsiteY12743" fmla="*/ 872118 h 4596459"/>
              <a:gd name="connsiteX12744" fmla="*/ 3576980 w 4716235"/>
              <a:gd name="connsiteY12744" fmla="*/ 861380 h 4596459"/>
              <a:gd name="connsiteX12745" fmla="*/ 3587717 w 4716235"/>
              <a:gd name="connsiteY12745" fmla="*/ 850643 h 4596459"/>
              <a:gd name="connsiteX12746" fmla="*/ 4086068 w 4716235"/>
              <a:gd name="connsiteY12746" fmla="*/ 850479 h 4596459"/>
              <a:gd name="connsiteX12747" fmla="*/ 4096806 w 4716235"/>
              <a:gd name="connsiteY12747" fmla="*/ 861215 h 4596459"/>
              <a:gd name="connsiteX12748" fmla="*/ 4086068 w 4716235"/>
              <a:gd name="connsiteY12748" fmla="*/ 871953 h 4596459"/>
              <a:gd name="connsiteX12749" fmla="*/ 4075332 w 4716235"/>
              <a:gd name="connsiteY12749" fmla="*/ 861215 h 4596459"/>
              <a:gd name="connsiteX12750" fmla="*/ 4086068 w 4716235"/>
              <a:gd name="connsiteY12750" fmla="*/ 850479 h 4596459"/>
              <a:gd name="connsiteX12751" fmla="*/ 4515871 w 4716235"/>
              <a:gd name="connsiteY12751" fmla="*/ 850147 h 4596459"/>
              <a:gd name="connsiteX12752" fmla="*/ 4526607 w 4716235"/>
              <a:gd name="connsiteY12752" fmla="*/ 860884 h 4596459"/>
              <a:gd name="connsiteX12753" fmla="*/ 4515871 w 4716235"/>
              <a:gd name="connsiteY12753" fmla="*/ 871622 h 4596459"/>
              <a:gd name="connsiteX12754" fmla="*/ 4507777 w 4716235"/>
              <a:gd name="connsiteY12754" fmla="*/ 863527 h 4596459"/>
              <a:gd name="connsiteX12755" fmla="*/ 4499186 w 4716235"/>
              <a:gd name="connsiteY12755" fmla="*/ 872118 h 4596459"/>
              <a:gd name="connsiteX12756" fmla="*/ 4488450 w 4716235"/>
              <a:gd name="connsiteY12756" fmla="*/ 861380 h 4596459"/>
              <a:gd name="connsiteX12757" fmla="*/ 4499186 w 4716235"/>
              <a:gd name="connsiteY12757" fmla="*/ 850643 h 4596459"/>
              <a:gd name="connsiteX12758" fmla="*/ 4507281 w 4716235"/>
              <a:gd name="connsiteY12758" fmla="*/ 858737 h 4596459"/>
              <a:gd name="connsiteX12759" fmla="*/ 1365366 w 4716235"/>
              <a:gd name="connsiteY12759" fmla="*/ 848826 h 4596459"/>
              <a:gd name="connsiteX12760" fmla="*/ 1376104 w 4716235"/>
              <a:gd name="connsiteY12760" fmla="*/ 859562 h 4596459"/>
              <a:gd name="connsiteX12761" fmla="*/ 1365366 w 4716235"/>
              <a:gd name="connsiteY12761" fmla="*/ 870300 h 4596459"/>
              <a:gd name="connsiteX12762" fmla="*/ 1354630 w 4716235"/>
              <a:gd name="connsiteY12762" fmla="*/ 859562 h 4596459"/>
              <a:gd name="connsiteX12763" fmla="*/ 1365366 w 4716235"/>
              <a:gd name="connsiteY12763" fmla="*/ 848826 h 4596459"/>
              <a:gd name="connsiteX12764" fmla="*/ 4535526 w 4716235"/>
              <a:gd name="connsiteY12764" fmla="*/ 847836 h 4596459"/>
              <a:gd name="connsiteX12765" fmla="*/ 4546262 w 4716235"/>
              <a:gd name="connsiteY12765" fmla="*/ 858572 h 4596459"/>
              <a:gd name="connsiteX12766" fmla="*/ 4535526 w 4716235"/>
              <a:gd name="connsiteY12766" fmla="*/ 869308 h 4596459"/>
              <a:gd name="connsiteX12767" fmla="*/ 4524790 w 4716235"/>
              <a:gd name="connsiteY12767" fmla="*/ 858572 h 4596459"/>
              <a:gd name="connsiteX12768" fmla="*/ 4535526 w 4716235"/>
              <a:gd name="connsiteY12768" fmla="*/ 847836 h 4596459"/>
              <a:gd name="connsiteX12769" fmla="*/ 4310550 w 4716235"/>
              <a:gd name="connsiteY12769" fmla="*/ 847504 h 4596459"/>
              <a:gd name="connsiteX12770" fmla="*/ 4321286 w 4716235"/>
              <a:gd name="connsiteY12770" fmla="*/ 858241 h 4596459"/>
              <a:gd name="connsiteX12771" fmla="*/ 4310550 w 4716235"/>
              <a:gd name="connsiteY12771" fmla="*/ 868979 h 4596459"/>
              <a:gd name="connsiteX12772" fmla="*/ 4299814 w 4716235"/>
              <a:gd name="connsiteY12772" fmla="*/ 858241 h 4596459"/>
              <a:gd name="connsiteX12773" fmla="*/ 4310550 w 4716235"/>
              <a:gd name="connsiteY12773" fmla="*/ 847504 h 4596459"/>
              <a:gd name="connsiteX12774" fmla="*/ 2085888 w 4716235"/>
              <a:gd name="connsiteY12774" fmla="*/ 843211 h 4596459"/>
              <a:gd name="connsiteX12775" fmla="*/ 2096626 w 4716235"/>
              <a:gd name="connsiteY12775" fmla="*/ 853947 h 4596459"/>
              <a:gd name="connsiteX12776" fmla="*/ 2085888 w 4716235"/>
              <a:gd name="connsiteY12776" fmla="*/ 864683 h 4596459"/>
              <a:gd name="connsiteX12777" fmla="*/ 2075152 w 4716235"/>
              <a:gd name="connsiteY12777" fmla="*/ 853947 h 4596459"/>
              <a:gd name="connsiteX12778" fmla="*/ 2085888 w 4716235"/>
              <a:gd name="connsiteY12778" fmla="*/ 843211 h 4596459"/>
              <a:gd name="connsiteX12779" fmla="*/ 4565919 w 4716235"/>
              <a:gd name="connsiteY12779" fmla="*/ 841723 h 4596459"/>
              <a:gd name="connsiteX12780" fmla="*/ 4576656 w 4716235"/>
              <a:gd name="connsiteY12780" fmla="*/ 852459 h 4596459"/>
              <a:gd name="connsiteX12781" fmla="*/ 4565919 w 4716235"/>
              <a:gd name="connsiteY12781" fmla="*/ 863197 h 4596459"/>
              <a:gd name="connsiteX12782" fmla="*/ 4555183 w 4716235"/>
              <a:gd name="connsiteY12782" fmla="*/ 852459 h 4596459"/>
              <a:gd name="connsiteX12783" fmla="*/ 4565919 w 4716235"/>
              <a:gd name="connsiteY12783" fmla="*/ 841723 h 4596459"/>
              <a:gd name="connsiteX12784" fmla="*/ 1602733 w 4716235"/>
              <a:gd name="connsiteY12784" fmla="*/ 838586 h 4596459"/>
              <a:gd name="connsiteX12785" fmla="*/ 1613471 w 4716235"/>
              <a:gd name="connsiteY12785" fmla="*/ 849322 h 4596459"/>
              <a:gd name="connsiteX12786" fmla="*/ 1602733 w 4716235"/>
              <a:gd name="connsiteY12786" fmla="*/ 860058 h 4596459"/>
              <a:gd name="connsiteX12787" fmla="*/ 1591997 w 4716235"/>
              <a:gd name="connsiteY12787" fmla="*/ 849322 h 4596459"/>
              <a:gd name="connsiteX12788" fmla="*/ 1602733 w 4716235"/>
              <a:gd name="connsiteY12788" fmla="*/ 838586 h 4596459"/>
              <a:gd name="connsiteX12789" fmla="*/ 1845384 w 4716235"/>
              <a:gd name="connsiteY12789" fmla="*/ 836437 h 4596459"/>
              <a:gd name="connsiteX12790" fmla="*/ 1856120 w 4716235"/>
              <a:gd name="connsiteY12790" fmla="*/ 847173 h 4596459"/>
              <a:gd name="connsiteX12791" fmla="*/ 1845384 w 4716235"/>
              <a:gd name="connsiteY12791" fmla="*/ 857911 h 4596459"/>
              <a:gd name="connsiteX12792" fmla="*/ 1834648 w 4716235"/>
              <a:gd name="connsiteY12792" fmla="*/ 847173 h 4596459"/>
              <a:gd name="connsiteX12793" fmla="*/ 1845384 w 4716235"/>
              <a:gd name="connsiteY12793" fmla="*/ 836437 h 4596459"/>
              <a:gd name="connsiteX12794" fmla="*/ 40447 w 4716235"/>
              <a:gd name="connsiteY12794" fmla="*/ 835611 h 4596459"/>
              <a:gd name="connsiteX12795" fmla="*/ 51184 w 4716235"/>
              <a:gd name="connsiteY12795" fmla="*/ 846348 h 4596459"/>
              <a:gd name="connsiteX12796" fmla="*/ 40447 w 4716235"/>
              <a:gd name="connsiteY12796" fmla="*/ 857084 h 4596459"/>
              <a:gd name="connsiteX12797" fmla="*/ 29711 w 4716235"/>
              <a:gd name="connsiteY12797" fmla="*/ 846348 h 4596459"/>
              <a:gd name="connsiteX12798" fmla="*/ 40447 w 4716235"/>
              <a:gd name="connsiteY12798" fmla="*/ 835611 h 4596459"/>
              <a:gd name="connsiteX12799" fmla="*/ 4405198 w 4716235"/>
              <a:gd name="connsiteY12799" fmla="*/ 832474 h 4596459"/>
              <a:gd name="connsiteX12800" fmla="*/ 4415937 w 4716235"/>
              <a:gd name="connsiteY12800" fmla="*/ 843211 h 4596459"/>
              <a:gd name="connsiteX12801" fmla="*/ 4405198 w 4716235"/>
              <a:gd name="connsiteY12801" fmla="*/ 853949 h 4596459"/>
              <a:gd name="connsiteX12802" fmla="*/ 4394462 w 4716235"/>
              <a:gd name="connsiteY12802" fmla="*/ 843211 h 4596459"/>
              <a:gd name="connsiteX12803" fmla="*/ 4405198 w 4716235"/>
              <a:gd name="connsiteY12803" fmla="*/ 832474 h 4596459"/>
              <a:gd name="connsiteX12804" fmla="*/ 4486797 w 4716235"/>
              <a:gd name="connsiteY12804" fmla="*/ 827518 h 4596459"/>
              <a:gd name="connsiteX12805" fmla="*/ 4496791 w 4716235"/>
              <a:gd name="connsiteY12805" fmla="*/ 837512 h 4596459"/>
              <a:gd name="connsiteX12806" fmla="*/ 4505133 w 4716235"/>
              <a:gd name="connsiteY12806" fmla="*/ 829171 h 4596459"/>
              <a:gd name="connsiteX12807" fmla="*/ 4514548 w 4716235"/>
              <a:gd name="connsiteY12807" fmla="*/ 838586 h 4596459"/>
              <a:gd name="connsiteX12808" fmla="*/ 4523798 w 4716235"/>
              <a:gd name="connsiteY12808" fmla="*/ 829335 h 4596459"/>
              <a:gd name="connsiteX12809" fmla="*/ 4534536 w 4716235"/>
              <a:gd name="connsiteY12809" fmla="*/ 840072 h 4596459"/>
              <a:gd name="connsiteX12810" fmla="*/ 4523798 w 4716235"/>
              <a:gd name="connsiteY12810" fmla="*/ 850810 h 4596459"/>
              <a:gd name="connsiteX12811" fmla="*/ 4514383 w 4716235"/>
              <a:gd name="connsiteY12811" fmla="*/ 841393 h 4596459"/>
              <a:gd name="connsiteX12812" fmla="*/ 4505133 w 4716235"/>
              <a:gd name="connsiteY12812" fmla="*/ 850643 h 4596459"/>
              <a:gd name="connsiteX12813" fmla="*/ 4495139 w 4716235"/>
              <a:gd name="connsiteY12813" fmla="*/ 840651 h 4596459"/>
              <a:gd name="connsiteX12814" fmla="*/ 4486797 w 4716235"/>
              <a:gd name="connsiteY12814" fmla="*/ 848992 h 4596459"/>
              <a:gd name="connsiteX12815" fmla="*/ 4476061 w 4716235"/>
              <a:gd name="connsiteY12815" fmla="*/ 838254 h 4596459"/>
              <a:gd name="connsiteX12816" fmla="*/ 4486797 w 4716235"/>
              <a:gd name="connsiteY12816" fmla="*/ 827518 h 4596459"/>
              <a:gd name="connsiteX12817" fmla="*/ 4458221 w 4716235"/>
              <a:gd name="connsiteY12817" fmla="*/ 827353 h 4596459"/>
              <a:gd name="connsiteX12818" fmla="*/ 4468958 w 4716235"/>
              <a:gd name="connsiteY12818" fmla="*/ 838090 h 4596459"/>
              <a:gd name="connsiteX12819" fmla="*/ 4458221 w 4716235"/>
              <a:gd name="connsiteY12819" fmla="*/ 848826 h 4596459"/>
              <a:gd name="connsiteX12820" fmla="*/ 4447485 w 4716235"/>
              <a:gd name="connsiteY12820" fmla="*/ 838090 h 4596459"/>
              <a:gd name="connsiteX12821" fmla="*/ 4458221 w 4716235"/>
              <a:gd name="connsiteY12821" fmla="*/ 827353 h 4596459"/>
              <a:gd name="connsiteX12822" fmla="*/ 4551219 w 4716235"/>
              <a:gd name="connsiteY12822" fmla="*/ 825865 h 4596459"/>
              <a:gd name="connsiteX12823" fmla="*/ 4561957 w 4716235"/>
              <a:gd name="connsiteY12823" fmla="*/ 836602 h 4596459"/>
              <a:gd name="connsiteX12824" fmla="*/ 4551219 w 4716235"/>
              <a:gd name="connsiteY12824" fmla="*/ 847340 h 4596459"/>
              <a:gd name="connsiteX12825" fmla="*/ 4540482 w 4716235"/>
              <a:gd name="connsiteY12825" fmla="*/ 836602 h 4596459"/>
              <a:gd name="connsiteX12826" fmla="*/ 4551219 w 4716235"/>
              <a:gd name="connsiteY12826" fmla="*/ 825865 h 4596459"/>
              <a:gd name="connsiteX12827" fmla="*/ 3458379 w 4716235"/>
              <a:gd name="connsiteY12827" fmla="*/ 822397 h 4596459"/>
              <a:gd name="connsiteX12828" fmla="*/ 3469117 w 4716235"/>
              <a:gd name="connsiteY12828" fmla="*/ 833133 h 4596459"/>
              <a:gd name="connsiteX12829" fmla="*/ 3458379 w 4716235"/>
              <a:gd name="connsiteY12829" fmla="*/ 843871 h 4596459"/>
              <a:gd name="connsiteX12830" fmla="*/ 3447643 w 4716235"/>
              <a:gd name="connsiteY12830" fmla="*/ 833133 h 4596459"/>
              <a:gd name="connsiteX12831" fmla="*/ 3458379 w 4716235"/>
              <a:gd name="connsiteY12831" fmla="*/ 822397 h 4596459"/>
              <a:gd name="connsiteX12832" fmla="*/ 4010745 w 4716235"/>
              <a:gd name="connsiteY12832" fmla="*/ 821571 h 4596459"/>
              <a:gd name="connsiteX12833" fmla="*/ 4021484 w 4716235"/>
              <a:gd name="connsiteY12833" fmla="*/ 832308 h 4596459"/>
              <a:gd name="connsiteX12834" fmla="*/ 4010745 w 4716235"/>
              <a:gd name="connsiteY12834" fmla="*/ 843046 h 4596459"/>
              <a:gd name="connsiteX12835" fmla="*/ 4000009 w 4716235"/>
              <a:gd name="connsiteY12835" fmla="*/ 832308 h 4596459"/>
              <a:gd name="connsiteX12836" fmla="*/ 4010745 w 4716235"/>
              <a:gd name="connsiteY12836" fmla="*/ 821571 h 4596459"/>
              <a:gd name="connsiteX12837" fmla="*/ 4265125 w 4716235"/>
              <a:gd name="connsiteY12837" fmla="*/ 819258 h 4596459"/>
              <a:gd name="connsiteX12838" fmla="*/ 4275861 w 4716235"/>
              <a:gd name="connsiteY12838" fmla="*/ 829994 h 4596459"/>
              <a:gd name="connsiteX12839" fmla="*/ 4265125 w 4716235"/>
              <a:gd name="connsiteY12839" fmla="*/ 840732 h 4596459"/>
              <a:gd name="connsiteX12840" fmla="*/ 4254388 w 4716235"/>
              <a:gd name="connsiteY12840" fmla="*/ 829994 h 4596459"/>
              <a:gd name="connsiteX12841" fmla="*/ 4265125 w 4716235"/>
              <a:gd name="connsiteY12841" fmla="*/ 819258 h 4596459"/>
              <a:gd name="connsiteX12842" fmla="*/ 4537179 w 4716235"/>
              <a:gd name="connsiteY12842" fmla="*/ 809018 h 4596459"/>
              <a:gd name="connsiteX12843" fmla="*/ 4547915 w 4716235"/>
              <a:gd name="connsiteY12843" fmla="*/ 819754 h 4596459"/>
              <a:gd name="connsiteX12844" fmla="*/ 4537179 w 4716235"/>
              <a:gd name="connsiteY12844" fmla="*/ 830490 h 4596459"/>
              <a:gd name="connsiteX12845" fmla="*/ 4526442 w 4716235"/>
              <a:gd name="connsiteY12845" fmla="*/ 819754 h 4596459"/>
              <a:gd name="connsiteX12846" fmla="*/ 4537179 w 4716235"/>
              <a:gd name="connsiteY12846" fmla="*/ 809018 h 4596459"/>
              <a:gd name="connsiteX12847" fmla="*/ 4575334 w 4716235"/>
              <a:gd name="connsiteY12847" fmla="*/ 808192 h 4596459"/>
              <a:gd name="connsiteX12848" fmla="*/ 4580951 w 4716235"/>
              <a:gd name="connsiteY12848" fmla="*/ 813809 h 4596459"/>
              <a:gd name="connsiteX12849" fmla="*/ 4575334 w 4716235"/>
              <a:gd name="connsiteY12849" fmla="*/ 819425 h 4596459"/>
              <a:gd name="connsiteX12850" fmla="*/ 4569719 w 4716235"/>
              <a:gd name="connsiteY12850" fmla="*/ 813809 h 4596459"/>
              <a:gd name="connsiteX12851" fmla="*/ 4575334 w 4716235"/>
              <a:gd name="connsiteY12851" fmla="*/ 808192 h 4596459"/>
              <a:gd name="connsiteX12852" fmla="*/ 176392 w 4716235"/>
              <a:gd name="connsiteY12852" fmla="*/ 807200 h 4596459"/>
              <a:gd name="connsiteX12853" fmla="*/ 187130 w 4716235"/>
              <a:gd name="connsiteY12853" fmla="*/ 817936 h 4596459"/>
              <a:gd name="connsiteX12854" fmla="*/ 176392 w 4716235"/>
              <a:gd name="connsiteY12854" fmla="*/ 828673 h 4596459"/>
              <a:gd name="connsiteX12855" fmla="*/ 165656 w 4716235"/>
              <a:gd name="connsiteY12855" fmla="*/ 817936 h 4596459"/>
              <a:gd name="connsiteX12856" fmla="*/ 176392 w 4716235"/>
              <a:gd name="connsiteY12856" fmla="*/ 807200 h 4596459"/>
              <a:gd name="connsiteX12857" fmla="*/ 4493736 w 4716235"/>
              <a:gd name="connsiteY12857" fmla="*/ 807035 h 4596459"/>
              <a:gd name="connsiteX12858" fmla="*/ 4504307 w 4716235"/>
              <a:gd name="connsiteY12858" fmla="*/ 817607 h 4596459"/>
              <a:gd name="connsiteX12859" fmla="*/ 4512071 w 4716235"/>
              <a:gd name="connsiteY12859" fmla="*/ 809843 h 4596459"/>
              <a:gd name="connsiteX12860" fmla="*/ 4522809 w 4716235"/>
              <a:gd name="connsiteY12860" fmla="*/ 820579 h 4596459"/>
              <a:gd name="connsiteX12861" fmla="*/ 4512071 w 4716235"/>
              <a:gd name="connsiteY12861" fmla="*/ 831318 h 4596459"/>
              <a:gd name="connsiteX12862" fmla="*/ 4501500 w 4716235"/>
              <a:gd name="connsiteY12862" fmla="*/ 820744 h 4596459"/>
              <a:gd name="connsiteX12863" fmla="*/ 4493736 w 4716235"/>
              <a:gd name="connsiteY12863" fmla="*/ 828510 h 4596459"/>
              <a:gd name="connsiteX12864" fmla="*/ 4482999 w 4716235"/>
              <a:gd name="connsiteY12864" fmla="*/ 817772 h 4596459"/>
              <a:gd name="connsiteX12865" fmla="*/ 4493736 w 4716235"/>
              <a:gd name="connsiteY12865" fmla="*/ 807035 h 4596459"/>
              <a:gd name="connsiteX12866" fmla="*/ 4375301 w 4716235"/>
              <a:gd name="connsiteY12866" fmla="*/ 804724 h 4596459"/>
              <a:gd name="connsiteX12867" fmla="*/ 4386039 w 4716235"/>
              <a:gd name="connsiteY12867" fmla="*/ 815460 h 4596459"/>
              <a:gd name="connsiteX12868" fmla="*/ 4375301 w 4716235"/>
              <a:gd name="connsiteY12868" fmla="*/ 826198 h 4596459"/>
              <a:gd name="connsiteX12869" fmla="*/ 4364565 w 4716235"/>
              <a:gd name="connsiteY12869" fmla="*/ 815460 h 4596459"/>
              <a:gd name="connsiteX12870" fmla="*/ 4375301 w 4716235"/>
              <a:gd name="connsiteY12870" fmla="*/ 804724 h 4596459"/>
              <a:gd name="connsiteX12871" fmla="*/ 4473253 w 4716235"/>
              <a:gd name="connsiteY12871" fmla="*/ 803071 h 4596459"/>
              <a:gd name="connsiteX12872" fmla="*/ 4483991 w 4716235"/>
              <a:gd name="connsiteY12872" fmla="*/ 813807 h 4596459"/>
              <a:gd name="connsiteX12873" fmla="*/ 4473253 w 4716235"/>
              <a:gd name="connsiteY12873" fmla="*/ 824544 h 4596459"/>
              <a:gd name="connsiteX12874" fmla="*/ 4462517 w 4716235"/>
              <a:gd name="connsiteY12874" fmla="*/ 813807 h 4596459"/>
              <a:gd name="connsiteX12875" fmla="*/ 4473253 w 4716235"/>
              <a:gd name="connsiteY12875" fmla="*/ 803071 h 4596459"/>
              <a:gd name="connsiteX12876" fmla="*/ 4438731 w 4716235"/>
              <a:gd name="connsiteY12876" fmla="*/ 800924 h 4596459"/>
              <a:gd name="connsiteX12877" fmla="*/ 4449469 w 4716235"/>
              <a:gd name="connsiteY12877" fmla="*/ 811661 h 4596459"/>
              <a:gd name="connsiteX12878" fmla="*/ 4438731 w 4716235"/>
              <a:gd name="connsiteY12878" fmla="*/ 822399 h 4596459"/>
              <a:gd name="connsiteX12879" fmla="*/ 4427994 w 4716235"/>
              <a:gd name="connsiteY12879" fmla="*/ 811661 h 4596459"/>
              <a:gd name="connsiteX12880" fmla="*/ 4438731 w 4716235"/>
              <a:gd name="connsiteY12880" fmla="*/ 800924 h 4596459"/>
              <a:gd name="connsiteX12881" fmla="*/ 3316819 w 4716235"/>
              <a:gd name="connsiteY12881" fmla="*/ 793986 h 4596459"/>
              <a:gd name="connsiteX12882" fmla="*/ 3327556 w 4716235"/>
              <a:gd name="connsiteY12882" fmla="*/ 804722 h 4596459"/>
              <a:gd name="connsiteX12883" fmla="*/ 3316819 w 4716235"/>
              <a:gd name="connsiteY12883" fmla="*/ 815460 h 4596459"/>
              <a:gd name="connsiteX12884" fmla="*/ 3306083 w 4716235"/>
              <a:gd name="connsiteY12884" fmla="*/ 804722 h 4596459"/>
              <a:gd name="connsiteX12885" fmla="*/ 3316819 w 4716235"/>
              <a:gd name="connsiteY12885" fmla="*/ 793986 h 4596459"/>
              <a:gd name="connsiteX12886" fmla="*/ 3926833 w 4716235"/>
              <a:gd name="connsiteY12886" fmla="*/ 792004 h 4596459"/>
              <a:gd name="connsiteX12887" fmla="*/ 3937570 w 4716235"/>
              <a:gd name="connsiteY12887" fmla="*/ 802740 h 4596459"/>
              <a:gd name="connsiteX12888" fmla="*/ 3926833 w 4716235"/>
              <a:gd name="connsiteY12888" fmla="*/ 813476 h 4596459"/>
              <a:gd name="connsiteX12889" fmla="*/ 3916097 w 4716235"/>
              <a:gd name="connsiteY12889" fmla="*/ 802740 h 4596459"/>
              <a:gd name="connsiteX12890" fmla="*/ 3926833 w 4716235"/>
              <a:gd name="connsiteY12890" fmla="*/ 792004 h 4596459"/>
              <a:gd name="connsiteX12891" fmla="*/ 4523633 w 4716235"/>
              <a:gd name="connsiteY12891" fmla="*/ 791178 h 4596459"/>
              <a:gd name="connsiteX12892" fmla="*/ 4534369 w 4716235"/>
              <a:gd name="connsiteY12892" fmla="*/ 801914 h 4596459"/>
              <a:gd name="connsiteX12893" fmla="*/ 4523633 w 4716235"/>
              <a:gd name="connsiteY12893" fmla="*/ 812652 h 4596459"/>
              <a:gd name="connsiteX12894" fmla="*/ 4512897 w 4716235"/>
              <a:gd name="connsiteY12894" fmla="*/ 801914 h 4596459"/>
              <a:gd name="connsiteX12895" fmla="*/ 4523633 w 4716235"/>
              <a:gd name="connsiteY12895" fmla="*/ 791178 h 4596459"/>
              <a:gd name="connsiteX12896" fmla="*/ 4213588 w 4716235"/>
              <a:gd name="connsiteY12896" fmla="*/ 790021 h 4596459"/>
              <a:gd name="connsiteX12897" fmla="*/ 4224326 w 4716235"/>
              <a:gd name="connsiteY12897" fmla="*/ 800758 h 4596459"/>
              <a:gd name="connsiteX12898" fmla="*/ 4213588 w 4716235"/>
              <a:gd name="connsiteY12898" fmla="*/ 811494 h 4596459"/>
              <a:gd name="connsiteX12899" fmla="*/ 4202852 w 4716235"/>
              <a:gd name="connsiteY12899" fmla="*/ 800758 h 4596459"/>
              <a:gd name="connsiteX12900" fmla="*/ 4213588 w 4716235"/>
              <a:gd name="connsiteY12900" fmla="*/ 790021 h 4596459"/>
              <a:gd name="connsiteX12901" fmla="*/ 4500508 w 4716235"/>
              <a:gd name="connsiteY12901" fmla="*/ 789031 h 4596459"/>
              <a:gd name="connsiteX12902" fmla="*/ 4511244 w 4716235"/>
              <a:gd name="connsiteY12902" fmla="*/ 799768 h 4596459"/>
              <a:gd name="connsiteX12903" fmla="*/ 4500508 w 4716235"/>
              <a:gd name="connsiteY12903" fmla="*/ 810504 h 4596459"/>
              <a:gd name="connsiteX12904" fmla="*/ 4489771 w 4716235"/>
              <a:gd name="connsiteY12904" fmla="*/ 799768 h 4596459"/>
              <a:gd name="connsiteX12905" fmla="*/ 4500508 w 4716235"/>
              <a:gd name="connsiteY12905" fmla="*/ 789031 h 4596459"/>
              <a:gd name="connsiteX12906" fmla="*/ 4558322 w 4716235"/>
              <a:gd name="connsiteY12906" fmla="*/ 788039 h 4596459"/>
              <a:gd name="connsiteX12907" fmla="*/ 4569058 w 4716235"/>
              <a:gd name="connsiteY12907" fmla="*/ 798775 h 4596459"/>
              <a:gd name="connsiteX12908" fmla="*/ 4558322 w 4716235"/>
              <a:gd name="connsiteY12908" fmla="*/ 809514 h 4596459"/>
              <a:gd name="connsiteX12909" fmla="*/ 4547586 w 4716235"/>
              <a:gd name="connsiteY12909" fmla="*/ 798775 h 4596459"/>
              <a:gd name="connsiteX12910" fmla="*/ 4558322 w 4716235"/>
              <a:gd name="connsiteY12910" fmla="*/ 788039 h 4596459"/>
              <a:gd name="connsiteX12911" fmla="*/ 4481843 w 4716235"/>
              <a:gd name="connsiteY12911" fmla="*/ 783745 h 4596459"/>
              <a:gd name="connsiteX12912" fmla="*/ 4492579 w 4716235"/>
              <a:gd name="connsiteY12912" fmla="*/ 794482 h 4596459"/>
              <a:gd name="connsiteX12913" fmla="*/ 4481843 w 4716235"/>
              <a:gd name="connsiteY12913" fmla="*/ 805218 h 4596459"/>
              <a:gd name="connsiteX12914" fmla="*/ 4471106 w 4716235"/>
              <a:gd name="connsiteY12914" fmla="*/ 794482 h 4596459"/>
              <a:gd name="connsiteX12915" fmla="*/ 4481843 w 4716235"/>
              <a:gd name="connsiteY12915" fmla="*/ 783745 h 4596459"/>
              <a:gd name="connsiteX12916" fmla="*/ 324559 w 4716235"/>
              <a:gd name="connsiteY12916" fmla="*/ 778789 h 4596459"/>
              <a:gd name="connsiteX12917" fmla="*/ 335298 w 4716235"/>
              <a:gd name="connsiteY12917" fmla="*/ 789525 h 4596459"/>
              <a:gd name="connsiteX12918" fmla="*/ 324559 w 4716235"/>
              <a:gd name="connsiteY12918" fmla="*/ 800263 h 4596459"/>
              <a:gd name="connsiteX12919" fmla="*/ 313823 w 4716235"/>
              <a:gd name="connsiteY12919" fmla="*/ 789525 h 4596459"/>
              <a:gd name="connsiteX12920" fmla="*/ 324559 w 4716235"/>
              <a:gd name="connsiteY12920" fmla="*/ 778789 h 4596459"/>
              <a:gd name="connsiteX12921" fmla="*/ 4458056 w 4716235"/>
              <a:gd name="connsiteY12921" fmla="*/ 777467 h 4596459"/>
              <a:gd name="connsiteX12922" fmla="*/ 4468793 w 4716235"/>
              <a:gd name="connsiteY12922" fmla="*/ 788204 h 4596459"/>
              <a:gd name="connsiteX12923" fmla="*/ 4458056 w 4716235"/>
              <a:gd name="connsiteY12923" fmla="*/ 798942 h 4596459"/>
              <a:gd name="connsiteX12924" fmla="*/ 4447320 w 4716235"/>
              <a:gd name="connsiteY12924" fmla="*/ 788204 h 4596459"/>
              <a:gd name="connsiteX12925" fmla="*/ 4458056 w 4716235"/>
              <a:gd name="connsiteY12925" fmla="*/ 777467 h 4596459"/>
              <a:gd name="connsiteX12926" fmla="*/ 4341273 w 4716235"/>
              <a:gd name="connsiteY12926" fmla="*/ 775981 h 4596459"/>
              <a:gd name="connsiteX12927" fmla="*/ 4352009 w 4716235"/>
              <a:gd name="connsiteY12927" fmla="*/ 786718 h 4596459"/>
              <a:gd name="connsiteX12928" fmla="*/ 4341273 w 4716235"/>
              <a:gd name="connsiteY12928" fmla="*/ 797454 h 4596459"/>
              <a:gd name="connsiteX12929" fmla="*/ 4330536 w 4716235"/>
              <a:gd name="connsiteY12929" fmla="*/ 786718 h 4596459"/>
              <a:gd name="connsiteX12930" fmla="*/ 4341273 w 4716235"/>
              <a:gd name="connsiteY12930" fmla="*/ 775981 h 4596459"/>
              <a:gd name="connsiteX12931" fmla="*/ 4416266 w 4716235"/>
              <a:gd name="connsiteY12931" fmla="*/ 773503 h 4596459"/>
              <a:gd name="connsiteX12932" fmla="*/ 4427002 w 4716235"/>
              <a:gd name="connsiteY12932" fmla="*/ 784240 h 4596459"/>
              <a:gd name="connsiteX12933" fmla="*/ 4416266 w 4716235"/>
              <a:gd name="connsiteY12933" fmla="*/ 794976 h 4596459"/>
              <a:gd name="connsiteX12934" fmla="*/ 4405530 w 4716235"/>
              <a:gd name="connsiteY12934" fmla="*/ 784240 h 4596459"/>
              <a:gd name="connsiteX12935" fmla="*/ 4416266 w 4716235"/>
              <a:gd name="connsiteY12935" fmla="*/ 773503 h 4596459"/>
              <a:gd name="connsiteX12936" fmla="*/ 4510583 w 4716235"/>
              <a:gd name="connsiteY12936" fmla="*/ 772182 h 4596459"/>
              <a:gd name="connsiteX12937" fmla="*/ 4521320 w 4716235"/>
              <a:gd name="connsiteY12937" fmla="*/ 782918 h 4596459"/>
              <a:gd name="connsiteX12938" fmla="*/ 4510583 w 4716235"/>
              <a:gd name="connsiteY12938" fmla="*/ 793656 h 4596459"/>
              <a:gd name="connsiteX12939" fmla="*/ 4499847 w 4716235"/>
              <a:gd name="connsiteY12939" fmla="*/ 782918 h 4596459"/>
              <a:gd name="connsiteX12940" fmla="*/ 4510583 w 4716235"/>
              <a:gd name="connsiteY12940" fmla="*/ 772182 h 4596459"/>
              <a:gd name="connsiteX12941" fmla="*/ 4542300 w 4716235"/>
              <a:gd name="connsiteY12941" fmla="*/ 771852 h 4596459"/>
              <a:gd name="connsiteX12942" fmla="*/ 4553036 w 4716235"/>
              <a:gd name="connsiteY12942" fmla="*/ 782589 h 4596459"/>
              <a:gd name="connsiteX12943" fmla="*/ 4542300 w 4716235"/>
              <a:gd name="connsiteY12943" fmla="*/ 793325 h 4596459"/>
              <a:gd name="connsiteX12944" fmla="*/ 4531563 w 4716235"/>
              <a:gd name="connsiteY12944" fmla="*/ 782589 h 4596459"/>
              <a:gd name="connsiteX12945" fmla="*/ 4542300 w 4716235"/>
              <a:gd name="connsiteY12945" fmla="*/ 771852 h 4596459"/>
              <a:gd name="connsiteX12946" fmla="*/ 4488779 w 4716235"/>
              <a:gd name="connsiteY12946" fmla="*/ 767227 h 4596459"/>
              <a:gd name="connsiteX12947" fmla="*/ 4499517 w 4716235"/>
              <a:gd name="connsiteY12947" fmla="*/ 777963 h 4596459"/>
              <a:gd name="connsiteX12948" fmla="*/ 4488779 w 4716235"/>
              <a:gd name="connsiteY12948" fmla="*/ 788700 h 4596459"/>
              <a:gd name="connsiteX12949" fmla="*/ 4478043 w 4716235"/>
              <a:gd name="connsiteY12949" fmla="*/ 777963 h 4596459"/>
              <a:gd name="connsiteX12950" fmla="*/ 4488779 w 4716235"/>
              <a:gd name="connsiteY12950" fmla="*/ 767227 h 4596459"/>
              <a:gd name="connsiteX12951" fmla="*/ 3162539 w 4716235"/>
              <a:gd name="connsiteY12951" fmla="*/ 765574 h 4596459"/>
              <a:gd name="connsiteX12952" fmla="*/ 3173275 w 4716235"/>
              <a:gd name="connsiteY12952" fmla="*/ 776311 h 4596459"/>
              <a:gd name="connsiteX12953" fmla="*/ 3162539 w 4716235"/>
              <a:gd name="connsiteY12953" fmla="*/ 787049 h 4596459"/>
              <a:gd name="connsiteX12954" fmla="*/ 3151803 w 4716235"/>
              <a:gd name="connsiteY12954" fmla="*/ 776311 h 4596459"/>
              <a:gd name="connsiteX12955" fmla="*/ 3162539 w 4716235"/>
              <a:gd name="connsiteY12955" fmla="*/ 765574 h 4596459"/>
              <a:gd name="connsiteX12956" fmla="*/ 3833836 w 4716235"/>
              <a:gd name="connsiteY12956" fmla="*/ 761445 h 4596459"/>
              <a:gd name="connsiteX12957" fmla="*/ 3844574 w 4716235"/>
              <a:gd name="connsiteY12957" fmla="*/ 772182 h 4596459"/>
              <a:gd name="connsiteX12958" fmla="*/ 3833836 w 4716235"/>
              <a:gd name="connsiteY12958" fmla="*/ 782920 h 4596459"/>
              <a:gd name="connsiteX12959" fmla="*/ 3823100 w 4716235"/>
              <a:gd name="connsiteY12959" fmla="*/ 772182 h 4596459"/>
              <a:gd name="connsiteX12960" fmla="*/ 3833836 w 4716235"/>
              <a:gd name="connsiteY12960" fmla="*/ 761445 h 4596459"/>
              <a:gd name="connsiteX12961" fmla="*/ 4155774 w 4716235"/>
              <a:gd name="connsiteY12961" fmla="*/ 759628 h 4596459"/>
              <a:gd name="connsiteX12962" fmla="*/ 4166512 w 4716235"/>
              <a:gd name="connsiteY12962" fmla="*/ 770364 h 4596459"/>
              <a:gd name="connsiteX12963" fmla="*/ 4155774 w 4716235"/>
              <a:gd name="connsiteY12963" fmla="*/ 781102 h 4596459"/>
              <a:gd name="connsiteX12964" fmla="*/ 4145037 w 4716235"/>
              <a:gd name="connsiteY12964" fmla="*/ 770364 h 4596459"/>
              <a:gd name="connsiteX12965" fmla="*/ 4155774 w 4716235"/>
              <a:gd name="connsiteY12965" fmla="*/ 759628 h 4596459"/>
              <a:gd name="connsiteX12966" fmla="*/ 4468959 w 4716235"/>
              <a:gd name="connsiteY12966" fmla="*/ 759299 h 4596459"/>
              <a:gd name="connsiteX12967" fmla="*/ 4479696 w 4716235"/>
              <a:gd name="connsiteY12967" fmla="*/ 770035 h 4596459"/>
              <a:gd name="connsiteX12968" fmla="*/ 4468959 w 4716235"/>
              <a:gd name="connsiteY12968" fmla="*/ 780773 h 4596459"/>
              <a:gd name="connsiteX12969" fmla="*/ 4458223 w 4716235"/>
              <a:gd name="connsiteY12969" fmla="*/ 770035 h 4596459"/>
              <a:gd name="connsiteX12970" fmla="*/ 4468959 w 4716235"/>
              <a:gd name="connsiteY12970" fmla="*/ 759299 h 4596459"/>
              <a:gd name="connsiteX12971" fmla="*/ 4526772 w 4716235"/>
              <a:gd name="connsiteY12971" fmla="*/ 754673 h 4596459"/>
              <a:gd name="connsiteX12972" fmla="*/ 4537508 w 4716235"/>
              <a:gd name="connsiteY12972" fmla="*/ 765410 h 4596459"/>
              <a:gd name="connsiteX12973" fmla="*/ 4526772 w 4716235"/>
              <a:gd name="connsiteY12973" fmla="*/ 776148 h 4596459"/>
              <a:gd name="connsiteX12974" fmla="*/ 4516036 w 4716235"/>
              <a:gd name="connsiteY12974" fmla="*/ 765410 h 4596459"/>
              <a:gd name="connsiteX12975" fmla="*/ 4526772 w 4716235"/>
              <a:gd name="connsiteY12975" fmla="*/ 754673 h 4596459"/>
              <a:gd name="connsiteX12976" fmla="*/ 4497865 w 4716235"/>
              <a:gd name="connsiteY12976" fmla="*/ 752031 h 4596459"/>
              <a:gd name="connsiteX12977" fmla="*/ 4508601 w 4716235"/>
              <a:gd name="connsiteY12977" fmla="*/ 762767 h 4596459"/>
              <a:gd name="connsiteX12978" fmla="*/ 4497865 w 4716235"/>
              <a:gd name="connsiteY12978" fmla="*/ 773505 h 4596459"/>
              <a:gd name="connsiteX12979" fmla="*/ 4487128 w 4716235"/>
              <a:gd name="connsiteY12979" fmla="*/ 762767 h 4596459"/>
              <a:gd name="connsiteX12980" fmla="*/ 4497865 w 4716235"/>
              <a:gd name="connsiteY12980" fmla="*/ 752031 h 4596459"/>
              <a:gd name="connsiteX12981" fmla="*/ 4440713 w 4716235"/>
              <a:gd name="connsiteY12981" fmla="*/ 750544 h 4596459"/>
              <a:gd name="connsiteX12982" fmla="*/ 4451451 w 4716235"/>
              <a:gd name="connsiteY12982" fmla="*/ 761281 h 4596459"/>
              <a:gd name="connsiteX12983" fmla="*/ 4440713 w 4716235"/>
              <a:gd name="connsiteY12983" fmla="*/ 772017 h 4596459"/>
              <a:gd name="connsiteX12984" fmla="*/ 4429976 w 4716235"/>
              <a:gd name="connsiteY12984" fmla="*/ 761281 h 4596459"/>
              <a:gd name="connsiteX12985" fmla="*/ 4440713 w 4716235"/>
              <a:gd name="connsiteY12985" fmla="*/ 750544 h 4596459"/>
              <a:gd name="connsiteX12986" fmla="*/ 485941 w 4716235"/>
              <a:gd name="connsiteY12986" fmla="*/ 750378 h 4596459"/>
              <a:gd name="connsiteX12987" fmla="*/ 496677 w 4716235"/>
              <a:gd name="connsiteY12987" fmla="*/ 761114 h 4596459"/>
              <a:gd name="connsiteX12988" fmla="*/ 485941 w 4716235"/>
              <a:gd name="connsiteY12988" fmla="*/ 771852 h 4596459"/>
              <a:gd name="connsiteX12989" fmla="*/ 475205 w 4716235"/>
              <a:gd name="connsiteY12989" fmla="*/ 761114 h 4596459"/>
              <a:gd name="connsiteX12990" fmla="*/ 485941 w 4716235"/>
              <a:gd name="connsiteY12990" fmla="*/ 750378 h 4596459"/>
              <a:gd name="connsiteX12991" fmla="*/ 4302455 w 4716235"/>
              <a:gd name="connsiteY12991" fmla="*/ 745919 h 4596459"/>
              <a:gd name="connsiteX12992" fmla="*/ 4313193 w 4716235"/>
              <a:gd name="connsiteY12992" fmla="*/ 756656 h 4596459"/>
              <a:gd name="connsiteX12993" fmla="*/ 4302455 w 4716235"/>
              <a:gd name="connsiteY12993" fmla="*/ 767392 h 4596459"/>
              <a:gd name="connsiteX12994" fmla="*/ 4291718 w 4716235"/>
              <a:gd name="connsiteY12994" fmla="*/ 756656 h 4596459"/>
              <a:gd name="connsiteX12995" fmla="*/ 4302455 w 4716235"/>
              <a:gd name="connsiteY12995" fmla="*/ 745919 h 4596459"/>
              <a:gd name="connsiteX12996" fmla="*/ 4390827 w 4716235"/>
              <a:gd name="connsiteY12996" fmla="*/ 744762 h 4596459"/>
              <a:gd name="connsiteX12997" fmla="*/ 4401564 w 4716235"/>
              <a:gd name="connsiteY12997" fmla="*/ 755499 h 4596459"/>
              <a:gd name="connsiteX12998" fmla="*/ 4390827 w 4716235"/>
              <a:gd name="connsiteY12998" fmla="*/ 766235 h 4596459"/>
              <a:gd name="connsiteX12999" fmla="*/ 4380091 w 4716235"/>
              <a:gd name="connsiteY12999" fmla="*/ 755499 h 4596459"/>
              <a:gd name="connsiteX13000" fmla="*/ 4390827 w 4716235"/>
              <a:gd name="connsiteY13000" fmla="*/ 744762 h 4596459"/>
              <a:gd name="connsiteX13001" fmla="*/ 4476721 w 4716235"/>
              <a:gd name="connsiteY13001" fmla="*/ 744266 h 4596459"/>
              <a:gd name="connsiteX13002" fmla="*/ 4487458 w 4716235"/>
              <a:gd name="connsiteY13002" fmla="*/ 755003 h 4596459"/>
              <a:gd name="connsiteX13003" fmla="*/ 4476721 w 4716235"/>
              <a:gd name="connsiteY13003" fmla="*/ 765741 h 4596459"/>
              <a:gd name="connsiteX13004" fmla="*/ 4465985 w 4716235"/>
              <a:gd name="connsiteY13004" fmla="*/ 755003 h 4596459"/>
              <a:gd name="connsiteX13005" fmla="*/ 4476721 w 4716235"/>
              <a:gd name="connsiteY13005" fmla="*/ 744266 h 4596459"/>
              <a:gd name="connsiteX13006" fmla="*/ 4551385 w 4716235"/>
              <a:gd name="connsiteY13006" fmla="*/ 739312 h 4596459"/>
              <a:gd name="connsiteX13007" fmla="*/ 4558487 w 4716235"/>
              <a:gd name="connsiteY13007" fmla="*/ 746415 h 4596459"/>
              <a:gd name="connsiteX13008" fmla="*/ 4551385 w 4716235"/>
              <a:gd name="connsiteY13008" fmla="*/ 753518 h 4596459"/>
              <a:gd name="connsiteX13009" fmla="*/ 4544282 w 4716235"/>
              <a:gd name="connsiteY13009" fmla="*/ 746415 h 4596459"/>
              <a:gd name="connsiteX13010" fmla="*/ 4551385 w 4716235"/>
              <a:gd name="connsiteY13010" fmla="*/ 739312 h 4596459"/>
              <a:gd name="connsiteX13011" fmla="*/ 2994881 w 4716235"/>
              <a:gd name="connsiteY13011" fmla="*/ 737328 h 4596459"/>
              <a:gd name="connsiteX13012" fmla="*/ 3005619 w 4716235"/>
              <a:gd name="connsiteY13012" fmla="*/ 748064 h 4596459"/>
              <a:gd name="connsiteX13013" fmla="*/ 2994881 w 4716235"/>
              <a:gd name="connsiteY13013" fmla="*/ 758803 h 4596459"/>
              <a:gd name="connsiteX13014" fmla="*/ 2984145 w 4716235"/>
              <a:gd name="connsiteY13014" fmla="*/ 748064 h 4596459"/>
              <a:gd name="connsiteX13015" fmla="*/ 2994881 w 4716235"/>
              <a:gd name="connsiteY13015" fmla="*/ 737328 h 4596459"/>
              <a:gd name="connsiteX13016" fmla="*/ 4511906 w 4716235"/>
              <a:gd name="connsiteY13016" fmla="*/ 736503 h 4596459"/>
              <a:gd name="connsiteX13017" fmla="*/ 4522643 w 4716235"/>
              <a:gd name="connsiteY13017" fmla="*/ 747239 h 4596459"/>
              <a:gd name="connsiteX13018" fmla="*/ 4511906 w 4716235"/>
              <a:gd name="connsiteY13018" fmla="*/ 757975 h 4596459"/>
              <a:gd name="connsiteX13019" fmla="*/ 4501170 w 4716235"/>
              <a:gd name="connsiteY13019" fmla="*/ 747239 h 4596459"/>
              <a:gd name="connsiteX13020" fmla="*/ 4511906 w 4716235"/>
              <a:gd name="connsiteY13020" fmla="*/ 736503 h 4596459"/>
              <a:gd name="connsiteX13021" fmla="*/ 4454918 w 4716235"/>
              <a:gd name="connsiteY13021" fmla="*/ 733530 h 4596459"/>
              <a:gd name="connsiteX13022" fmla="*/ 4465654 w 4716235"/>
              <a:gd name="connsiteY13022" fmla="*/ 744266 h 4596459"/>
              <a:gd name="connsiteX13023" fmla="*/ 4454918 w 4716235"/>
              <a:gd name="connsiteY13023" fmla="*/ 755003 h 4596459"/>
              <a:gd name="connsiteX13024" fmla="*/ 4444181 w 4716235"/>
              <a:gd name="connsiteY13024" fmla="*/ 744266 h 4596459"/>
              <a:gd name="connsiteX13025" fmla="*/ 4454918 w 4716235"/>
              <a:gd name="connsiteY13025" fmla="*/ 733530 h 4596459"/>
              <a:gd name="connsiteX13026" fmla="*/ 4485146 w 4716235"/>
              <a:gd name="connsiteY13026" fmla="*/ 730721 h 4596459"/>
              <a:gd name="connsiteX13027" fmla="*/ 4495884 w 4716235"/>
              <a:gd name="connsiteY13027" fmla="*/ 741457 h 4596459"/>
              <a:gd name="connsiteX13028" fmla="*/ 4485146 w 4716235"/>
              <a:gd name="connsiteY13028" fmla="*/ 752195 h 4596459"/>
              <a:gd name="connsiteX13029" fmla="*/ 4474410 w 4716235"/>
              <a:gd name="connsiteY13029" fmla="*/ 741457 h 4596459"/>
              <a:gd name="connsiteX13030" fmla="*/ 4485146 w 4716235"/>
              <a:gd name="connsiteY13030" fmla="*/ 730721 h 4596459"/>
              <a:gd name="connsiteX13031" fmla="*/ 3731259 w 4716235"/>
              <a:gd name="connsiteY13031" fmla="*/ 730227 h 4596459"/>
              <a:gd name="connsiteX13032" fmla="*/ 3741995 w 4716235"/>
              <a:gd name="connsiteY13032" fmla="*/ 740963 h 4596459"/>
              <a:gd name="connsiteX13033" fmla="*/ 3731259 w 4716235"/>
              <a:gd name="connsiteY13033" fmla="*/ 751701 h 4596459"/>
              <a:gd name="connsiteX13034" fmla="*/ 3720522 w 4716235"/>
              <a:gd name="connsiteY13034" fmla="*/ 740963 h 4596459"/>
              <a:gd name="connsiteX13035" fmla="*/ 3731259 w 4716235"/>
              <a:gd name="connsiteY13035" fmla="*/ 730227 h 4596459"/>
              <a:gd name="connsiteX13036" fmla="*/ 4090858 w 4716235"/>
              <a:gd name="connsiteY13036" fmla="*/ 728244 h 4596459"/>
              <a:gd name="connsiteX13037" fmla="*/ 4101596 w 4716235"/>
              <a:gd name="connsiteY13037" fmla="*/ 738981 h 4596459"/>
              <a:gd name="connsiteX13038" fmla="*/ 4090858 w 4716235"/>
              <a:gd name="connsiteY13038" fmla="*/ 749717 h 4596459"/>
              <a:gd name="connsiteX13039" fmla="*/ 4080122 w 4716235"/>
              <a:gd name="connsiteY13039" fmla="*/ 738981 h 4596459"/>
              <a:gd name="connsiteX13040" fmla="*/ 4090858 w 4716235"/>
              <a:gd name="connsiteY13040" fmla="*/ 728244 h 4596459"/>
              <a:gd name="connsiteX13041" fmla="*/ 4421221 w 4716235"/>
              <a:gd name="connsiteY13041" fmla="*/ 722627 h 4596459"/>
              <a:gd name="connsiteX13042" fmla="*/ 4431959 w 4716235"/>
              <a:gd name="connsiteY13042" fmla="*/ 733364 h 4596459"/>
              <a:gd name="connsiteX13043" fmla="*/ 4421221 w 4716235"/>
              <a:gd name="connsiteY13043" fmla="*/ 744102 h 4596459"/>
              <a:gd name="connsiteX13044" fmla="*/ 4410484 w 4716235"/>
              <a:gd name="connsiteY13044" fmla="*/ 733364 h 4596459"/>
              <a:gd name="connsiteX13045" fmla="*/ 4421221 w 4716235"/>
              <a:gd name="connsiteY13045" fmla="*/ 722627 h 4596459"/>
              <a:gd name="connsiteX13046" fmla="*/ 661033 w 4716235"/>
              <a:gd name="connsiteY13046" fmla="*/ 722627 h 4596459"/>
              <a:gd name="connsiteX13047" fmla="*/ 671770 w 4716235"/>
              <a:gd name="connsiteY13047" fmla="*/ 733364 h 4596459"/>
              <a:gd name="connsiteX13048" fmla="*/ 661033 w 4716235"/>
              <a:gd name="connsiteY13048" fmla="*/ 744102 h 4596459"/>
              <a:gd name="connsiteX13049" fmla="*/ 650297 w 4716235"/>
              <a:gd name="connsiteY13049" fmla="*/ 733364 h 4596459"/>
              <a:gd name="connsiteX13050" fmla="*/ 661033 w 4716235"/>
              <a:gd name="connsiteY13050" fmla="*/ 722627 h 4596459"/>
              <a:gd name="connsiteX13051" fmla="*/ 4533709 w 4716235"/>
              <a:gd name="connsiteY13051" fmla="*/ 719488 h 4596459"/>
              <a:gd name="connsiteX13052" fmla="*/ 4544447 w 4716235"/>
              <a:gd name="connsiteY13052" fmla="*/ 730225 h 4596459"/>
              <a:gd name="connsiteX13053" fmla="*/ 4533709 w 4716235"/>
              <a:gd name="connsiteY13053" fmla="*/ 740963 h 4596459"/>
              <a:gd name="connsiteX13054" fmla="*/ 4522972 w 4716235"/>
              <a:gd name="connsiteY13054" fmla="*/ 730225 h 4596459"/>
              <a:gd name="connsiteX13055" fmla="*/ 4533709 w 4716235"/>
              <a:gd name="connsiteY13055" fmla="*/ 719488 h 4596459"/>
              <a:gd name="connsiteX13056" fmla="*/ 4497535 w 4716235"/>
              <a:gd name="connsiteY13056" fmla="*/ 717177 h 4596459"/>
              <a:gd name="connsiteX13057" fmla="*/ 4508273 w 4716235"/>
              <a:gd name="connsiteY13057" fmla="*/ 727913 h 4596459"/>
              <a:gd name="connsiteX13058" fmla="*/ 4497535 w 4716235"/>
              <a:gd name="connsiteY13058" fmla="*/ 738651 h 4596459"/>
              <a:gd name="connsiteX13059" fmla="*/ 4486799 w 4716235"/>
              <a:gd name="connsiteY13059" fmla="*/ 727913 h 4596459"/>
              <a:gd name="connsiteX13060" fmla="*/ 4497535 w 4716235"/>
              <a:gd name="connsiteY13060" fmla="*/ 717177 h 4596459"/>
              <a:gd name="connsiteX13061" fmla="*/ 4361591 w 4716235"/>
              <a:gd name="connsiteY13061" fmla="*/ 714863 h 4596459"/>
              <a:gd name="connsiteX13062" fmla="*/ 4372327 w 4716235"/>
              <a:gd name="connsiteY13062" fmla="*/ 725600 h 4596459"/>
              <a:gd name="connsiteX13063" fmla="*/ 4361591 w 4716235"/>
              <a:gd name="connsiteY13063" fmla="*/ 736338 h 4596459"/>
              <a:gd name="connsiteX13064" fmla="*/ 4350854 w 4716235"/>
              <a:gd name="connsiteY13064" fmla="*/ 725600 h 4596459"/>
              <a:gd name="connsiteX13065" fmla="*/ 4361591 w 4716235"/>
              <a:gd name="connsiteY13065" fmla="*/ 714863 h 4596459"/>
              <a:gd name="connsiteX13066" fmla="*/ 4258517 w 4716235"/>
              <a:gd name="connsiteY13066" fmla="*/ 714863 h 4596459"/>
              <a:gd name="connsiteX13067" fmla="*/ 4269256 w 4716235"/>
              <a:gd name="connsiteY13067" fmla="*/ 725600 h 4596459"/>
              <a:gd name="connsiteX13068" fmla="*/ 4258517 w 4716235"/>
              <a:gd name="connsiteY13068" fmla="*/ 736338 h 4596459"/>
              <a:gd name="connsiteX13069" fmla="*/ 4247781 w 4716235"/>
              <a:gd name="connsiteY13069" fmla="*/ 725600 h 4596459"/>
              <a:gd name="connsiteX13070" fmla="*/ 4258517 w 4716235"/>
              <a:gd name="connsiteY13070" fmla="*/ 714863 h 4596459"/>
              <a:gd name="connsiteX13071" fmla="*/ 2813511 w 4716235"/>
              <a:gd name="connsiteY13071" fmla="*/ 710238 h 4596459"/>
              <a:gd name="connsiteX13072" fmla="*/ 2824248 w 4716235"/>
              <a:gd name="connsiteY13072" fmla="*/ 720975 h 4596459"/>
              <a:gd name="connsiteX13073" fmla="*/ 2813511 w 4716235"/>
              <a:gd name="connsiteY13073" fmla="*/ 731713 h 4596459"/>
              <a:gd name="connsiteX13074" fmla="*/ 2802775 w 4716235"/>
              <a:gd name="connsiteY13074" fmla="*/ 720975 h 4596459"/>
              <a:gd name="connsiteX13075" fmla="*/ 2813511 w 4716235"/>
              <a:gd name="connsiteY13075" fmla="*/ 710238 h 4596459"/>
              <a:gd name="connsiteX13076" fmla="*/ 4472261 w 4716235"/>
              <a:gd name="connsiteY13076" fmla="*/ 708256 h 4596459"/>
              <a:gd name="connsiteX13077" fmla="*/ 4482999 w 4716235"/>
              <a:gd name="connsiteY13077" fmla="*/ 718992 h 4596459"/>
              <a:gd name="connsiteX13078" fmla="*/ 4472840 w 4716235"/>
              <a:gd name="connsiteY13078" fmla="*/ 729151 h 4596459"/>
              <a:gd name="connsiteX13079" fmla="*/ 4474575 w 4716235"/>
              <a:gd name="connsiteY13079" fmla="*/ 730885 h 4596459"/>
              <a:gd name="connsiteX13080" fmla="*/ 4463838 w 4716235"/>
              <a:gd name="connsiteY13080" fmla="*/ 741624 h 4596459"/>
              <a:gd name="connsiteX13081" fmla="*/ 4453102 w 4716235"/>
              <a:gd name="connsiteY13081" fmla="*/ 730885 h 4596459"/>
              <a:gd name="connsiteX13082" fmla="*/ 4463259 w 4716235"/>
              <a:gd name="connsiteY13082" fmla="*/ 720728 h 4596459"/>
              <a:gd name="connsiteX13083" fmla="*/ 4461525 w 4716235"/>
              <a:gd name="connsiteY13083" fmla="*/ 718992 h 4596459"/>
              <a:gd name="connsiteX13084" fmla="*/ 4472261 w 4716235"/>
              <a:gd name="connsiteY13084" fmla="*/ 708256 h 4596459"/>
              <a:gd name="connsiteX13085" fmla="*/ 4439225 w 4716235"/>
              <a:gd name="connsiteY13085" fmla="*/ 706605 h 4596459"/>
              <a:gd name="connsiteX13086" fmla="*/ 4449963 w 4716235"/>
              <a:gd name="connsiteY13086" fmla="*/ 717341 h 4596459"/>
              <a:gd name="connsiteX13087" fmla="*/ 4439225 w 4716235"/>
              <a:gd name="connsiteY13087" fmla="*/ 728080 h 4596459"/>
              <a:gd name="connsiteX13088" fmla="*/ 4428489 w 4716235"/>
              <a:gd name="connsiteY13088" fmla="*/ 717341 h 4596459"/>
              <a:gd name="connsiteX13089" fmla="*/ 4439225 w 4716235"/>
              <a:gd name="connsiteY13089" fmla="*/ 706605 h 4596459"/>
              <a:gd name="connsiteX13090" fmla="*/ 4516861 w 4716235"/>
              <a:gd name="connsiteY13090" fmla="*/ 702145 h 4596459"/>
              <a:gd name="connsiteX13091" fmla="*/ 4527597 w 4716235"/>
              <a:gd name="connsiteY13091" fmla="*/ 712881 h 4596459"/>
              <a:gd name="connsiteX13092" fmla="*/ 4516861 w 4716235"/>
              <a:gd name="connsiteY13092" fmla="*/ 723618 h 4596459"/>
              <a:gd name="connsiteX13093" fmla="*/ 4506125 w 4716235"/>
              <a:gd name="connsiteY13093" fmla="*/ 712881 h 4596459"/>
              <a:gd name="connsiteX13094" fmla="*/ 4516861 w 4716235"/>
              <a:gd name="connsiteY13094" fmla="*/ 702145 h 4596459"/>
              <a:gd name="connsiteX13095" fmla="*/ 3618275 w 4716235"/>
              <a:gd name="connsiteY13095" fmla="*/ 698512 h 4596459"/>
              <a:gd name="connsiteX13096" fmla="*/ 3629011 w 4716235"/>
              <a:gd name="connsiteY13096" fmla="*/ 709248 h 4596459"/>
              <a:gd name="connsiteX13097" fmla="*/ 3618275 w 4716235"/>
              <a:gd name="connsiteY13097" fmla="*/ 719986 h 4596459"/>
              <a:gd name="connsiteX13098" fmla="*/ 3607538 w 4716235"/>
              <a:gd name="connsiteY13098" fmla="*/ 709248 h 4596459"/>
              <a:gd name="connsiteX13099" fmla="*/ 3618275 w 4716235"/>
              <a:gd name="connsiteY13099" fmla="*/ 698512 h 4596459"/>
              <a:gd name="connsiteX13100" fmla="*/ 4483495 w 4716235"/>
              <a:gd name="connsiteY13100" fmla="*/ 696530 h 4596459"/>
              <a:gd name="connsiteX13101" fmla="*/ 4494232 w 4716235"/>
              <a:gd name="connsiteY13101" fmla="*/ 707266 h 4596459"/>
              <a:gd name="connsiteX13102" fmla="*/ 4483495 w 4716235"/>
              <a:gd name="connsiteY13102" fmla="*/ 718004 h 4596459"/>
              <a:gd name="connsiteX13103" fmla="*/ 4472759 w 4716235"/>
              <a:gd name="connsiteY13103" fmla="*/ 707266 h 4596459"/>
              <a:gd name="connsiteX13104" fmla="*/ 4483495 w 4716235"/>
              <a:gd name="connsiteY13104" fmla="*/ 696530 h 4596459"/>
              <a:gd name="connsiteX13105" fmla="*/ 849836 w 4716235"/>
              <a:gd name="connsiteY13105" fmla="*/ 696365 h 4596459"/>
              <a:gd name="connsiteX13106" fmla="*/ 860572 w 4716235"/>
              <a:gd name="connsiteY13106" fmla="*/ 707101 h 4596459"/>
              <a:gd name="connsiteX13107" fmla="*/ 849836 w 4716235"/>
              <a:gd name="connsiteY13107" fmla="*/ 717837 h 4596459"/>
              <a:gd name="connsiteX13108" fmla="*/ 839100 w 4716235"/>
              <a:gd name="connsiteY13108" fmla="*/ 707101 h 4596459"/>
              <a:gd name="connsiteX13109" fmla="*/ 849836 w 4716235"/>
              <a:gd name="connsiteY13109" fmla="*/ 696365 h 4596459"/>
              <a:gd name="connsiteX13110" fmla="*/ 4018509 w 4716235"/>
              <a:gd name="connsiteY13110" fmla="*/ 695869 h 4596459"/>
              <a:gd name="connsiteX13111" fmla="*/ 4029248 w 4716235"/>
              <a:gd name="connsiteY13111" fmla="*/ 706605 h 4596459"/>
              <a:gd name="connsiteX13112" fmla="*/ 4018509 w 4716235"/>
              <a:gd name="connsiteY13112" fmla="*/ 717343 h 4596459"/>
              <a:gd name="connsiteX13113" fmla="*/ 4007773 w 4716235"/>
              <a:gd name="connsiteY13113" fmla="*/ 706605 h 4596459"/>
              <a:gd name="connsiteX13114" fmla="*/ 4018509 w 4716235"/>
              <a:gd name="connsiteY13114" fmla="*/ 695869 h 4596459"/>
              <a:gd name="connsiteX13115" fmla="*/ 4399087 w 4716235"/>
              <a:gd name="connsiteY13115" fmla="*/ 693226 h 4596459"/>
              <a:gd name="connsiteX13116" fmla="*/ 4409823 w 4716235"/>
              <a:gd name="connsiteY13116" fmla="*/ 703962 h 4596459"/>
              <a:gd name="connsiteX13117" fmla="*/ 4399087 w 4716235"/>
              <a:gd name="connsiteY13117" fmla="*/ 714700 h 4596459"/>
              <a:gd name="connsiteX13118" fmla="*/ 4388351 w 4716235"/>
              <a:gd name="connsiteY13118" fmla="*/ 703962 h 4596459"/>
              <a:gd name="connsiteX13119" fmla="*/ 4399087 w 4716235"/>
              <a:gd name="connsiteY13119" fmla="*/ 693226 h 4596459"/>
              <a:gd name="connsiteX13120" fmla="*/ 2618268 w 4716235"/>
              <a:gd name="connsiteY13120" fmla="*/ 684966 h 4596459"/>
              <a:gd name="connsiteX13121" fmla="*/ 2629006 w 4716235"/>
              <a:gd name="connsiteY13121" fmla="*/ 695702 h 4596459"/>
              <a:gd name="connsiteX13122" fmla="*/ 2618268 w 4716235"/>
              <a:gd name="connsiteY13122" fmla="*/ 706440 h 4596459"/>
              <a:gd name="connsiteX13123" fmla="*/ 2607531 w 4716235"/>
              <a:gd name="connsiteY13123" fmla="*/ 695702 h 4596459"/>
              <a:gd name="connsiteX13124" fmla="*/ 2618268 w 4716235"/>
              <a:gd name="connsiteY13124" fmla="*/ 684966 h 4596459"/>
              <a:gd name="connsiteX13125" fmla="*/ 4328554 w 4716235"/>
              <a:gd name="connsiteY13125" fmla="*/ 683811 h 4596459"/>
              <a:gd name="connsiteX13126" fmla="*/ 4339291 w 4716235"/>
              <a:gd name="connsiteY13126" fmla="*/ 694547 h 4596459"/>
              <a:gd name="connsiteX13127" fmla="*/ 4328554 w 4716235"/>
              <a:gd name="connsiteY13127" fmla="*/ 705286 h 4596459"/>
              <a:gd name="connsiteX13128" fmla="*/ 4317818 w 4716235"/>
              <a:gd name="connsiteY13128" fmla="*/ 694547 h 4596459"/>
              <a:gd name="connsiteX13129" fmla="*/ 4328554 w 4716235"/>
              <a:gd name="connsiteY13129" fmla="*/ 683811 h 4596459"/>
              <a:gd name="connsiteX13130" fmla="*/ 4500672 w 4716235"/>
              <a:gd name="connsiteY13130" fmla="*/ 683645 h 4596459"/>
              <a:gd name="connsiteX13131" fmla="*/ 4511410 w 4716235"/>
              <a:gd name="connsiteY13131" fmla="*/ 694381 h 4596459"/>
              <a:gd name="connsiteX13132" fmla="*/ 4500672 w 4716235"/>
              <a:gd name="connsiteY13132" fmla="*/ 705119 h 4596459"/>
              <a:gd name="connsiteX13133" fmla="*/ 4489936 w 4716235"/>
              <a:gd name="connsiteY13133" fmla="*/ 694381 h 4596459"/>
              <a:gd name="connsiteX13134" fmla="*/ 4500672 w 4716235"/>
              <a:gd name="connsiteY13134" fmla="*/ 683645 h 4596459"/>
              <a:gd name="connsiteX13135" fmla="*/ 4208963 w 4716235"/>
              <a:gd name="connsiteY13135" fmla="*/ 682654 h 4596459"/>
              <a:gd name="connsiteX13136" fmla="*/ 4219701 w 4716235"/>
              <a:gd name="connsiteY13136" fmla="*/ 693391 h 4596459"/>
              <a:gd name="connsiteX13137" fmla="*/ 4208963 w 4716235"/>
              <a:gd name="connsiteY13137" fmla="*/ 704127 h 4596459"/>
              <a:gd name="connsiteX13138" fmla="*/ 4198227 w 4716235"/>
              <a:gd name="connsiteY13138" fmla="*/ 693391 h 4596459"/>
              <a:gd name="connsiteX13139" fmla="*/ 4208963 w 4716235"/>
              <a:gd name="connsiteY13139" fmla="*/ 682654 h 4596459"/>
              <a:gd name="connsiteX13140" fmla="*/ 7247 w 4716235"/>
              <a:gd name="connsiteY13140" fmla="*/ 681166 h 4596459"/>
              <a:gd name="connsiteX13141" fmla="*/ 17985 w 4716235"/>
              <a:gd name="connsiteY13141" fmla="*/ 691903 h 4596459"/>
              <a:gd name="connsiteX13142" fmla="*/ 7247 w 4716235"/>
              <a:gd name="connsiteY13142" fmla="*/ 702641 h 4596459"/>
              <a:gd name="connsiteX13143" fmla="*/ 0 w 4716235"/>
              <a:gd name="connsiteY13143" fmla="*/ 695393 h 4596459"/>
              <a:gd name="connsiteX13144" fmla="*/ 0 w 4716235"/>
              <a:gd name="connsiteY13144" fmla="*/ 688413 h 4596459"/>
              <a:gd name="connsiteX13145" fmla="*/ 4421881 w 4716235"/>
              <a:gd name="connsiteY13145" fmla="*/ 678525 h 4596459"/>
              <a:gd name="connsiteX13146" fmla="*/ 4432618 w 4716235"/>
              <a:gd name="connsiteY13146" fmla="*/ 689262 h 4596459"/>
              <a:gd name="connsiteX13147" fmla="*/ 4421881 w 4716235"/>
              <a:gd name="connsiteY13147" fmla="*/ 699998 h 4596459"/>
              <a:gd name="connsiteX13148" fmla="*/ 4411145 w 4716235"/>
              <a:gd name="connsiteY13148" fmla="*/ 689262 h 4596459"/>
              <a:gd name="connsiteX13149" fmla="*/ 4421881 w 4716235"/>
              <a:gd name="connsiteY13149" fmla="*/ 678525 h 4596459"/>
              <a:gd name="connsiteX13150" fmla="*/ 4469618 w 4716235"/>
              <a:gd name="connsiteY13150" fmla="*/ 674890 h 4596459"/>
              <a:gd name="connsiteX13151" fmla="*/ 4480356 w 4716235"/>
              <a:gd name="connsiteY13151" fmla="*/ 685627 h 4596459"/>
              <a:gd name="connsiteX13152" fmla="*/ 4469618 w 4716235"/>
              <a:gd name="connsiteY13152" fmla="*/ 696365 h 4596459"/>
              <a:gd name="connsiteX13153" fmla="*/ 4469206 w 4716235"/>
              <a:gd name="connsiteY13153" fmla="*/ 695952 h 4596459"/>
              <a:gd name="connsiteX13154" fmla="*/ 4460370 w 4716235"/>
              <a:gd name="connsiteY13154" fmla="*/ 704789 h 4596459"/>
              <a:gd name="connsiteX13155" fmla="*/ 4461029 w 4716235"/>
              <a:gd name="connsiteY13155" fmla="*/ 705448 h 4596459"/>
              <a:gd name="connsiteX13156" fmla="*/ 4450292 w 4716235"/>
              <a:gd name="connsiteY13156" fmla="*/ 716187 h 4596459"/>
              <a:gd name="connsiteX13157" fmla="*/ 4439556 w 4716235"/>
              <a:gd name="connsiteY13157" fmla="*/ 705448 h 4596459"/>
              <a:gd name="connsiteX13158" fmla="*/ 4448971 w 4716235"/>
              <a:gd name="connsiteY13158" fmla="*/ 696034 h 4596459"/>
              <a:gd name="connsiteX13159" fmla="*/ 4448312 w 4716235"/>
              <a:gd name="connsiteY13159" fmla="*/ 695373 h 4596459"/>
              <a:gd name="connsiteX13160" fmla="*/ 4459048 w 4716235"/>
              <a:gd name="connsiteY13160" fmla="*/ 684636 h 4596459"/>
              <a:gd name="connsiteX13161" fmla="*/ 4459459 w 4716235"/>
              <a:gd name="connsiteY13161" fmla="*/ 685049 h 4596459"/>
              <a:gd name="connsiteX13162" fmla="*/ 1052347 w 4716235"/>
              <a:gd name="connsiteY13162" fmla="*/ 672579 h 4596459"/>
              <a:gd name="connsiteX13163" fmla="*/ 1063085 w 4716235"/>
              <a:gd name="connsiteY13163" fmla="*/ 683315 h 4596459"/>
              <a:gd name="connsiteX13164" fmla="*/ 1052347 w 4716235"/>
              <a:gd name="connsiteY13164" fmla="*/ 694053 h 4596459"/>
              <a:gd name="connsiteX13165" fmla="*/ 1041611 w 4716235"/>
              <a:gd name="connsiteY13165" fmla="*/ 683315 h 4596459"/>
              <a:gd name="connsiteX13166" fmla="*/ 1052347 w 4716235"/>
              <a:gd name="connsiteY13166" fmla="*/ 672579 h 4596459"/>
              <a:gd name="connsiteX13167" fmla="*/ 4525782 w 4716235"/>
              <a:gd name="connsiteY13167" fmla="*/ 670761 h 4596459"/>
              <a:gd name="connsiteX13168" fmla="*/ 4534206 w 4716235"/>
              <a:gd name="connsiteY13168" fmla="*/ 679186 h 4596459"/>
              <a:gd name="connsiteX13169" fmla="*/ 4525782 w 4716235"/>
              <a:gd name="connsiteY13169" fmla="*/ 687609 h 4596459"/>
              <a:gd name="connsiteX13170" fmla="*/ 4517357 w 4716235"/>
              <a:gd name="connsiteY13170" fmla="*/ 679186 h 4596459"/>
              <a:gd name="connsiteX13171" fmla="*/ 4525782 w 4716235"/>
              <a:gd name="connsiteY13171" fmla="*/ 670761 h 4596459"/>
              <a:gd name="connsiteX13172" fmla="*/ 3494223 w 4716235"/>
              <a:gd name="connsiteY13172" fmla="*/ 666136 h 4596459"/>
              <a:gd name="connsiteX13173" fmla="*/ 3504959 w 4716235"/>
              <a:gd name="connsiteY13173" fmla="*/ 676873 h 4596459"/>
              <a:gd name="connsiteX13174" fmla="*/ 3494223 w 4716235"/>
              <a:gd name="connsiteY13174" fmla="*/ 687609 h 4596459"/>
              <a:gd name="connsiteX13175" fmla="*/ 3483487 w 4716235"/>
              <a:gd name="connsiteY13175" fmla="*/ 676873 h 4596459"/>
              <a:gd name="connsiteX13176" fmla="*/ 3494223 w 4716235"/>
              <a:gd name="connsiteY13176" fmla="*/ 666136 h 4596459"/>
              <a:gd name="connsiteX13177" fmla="*/ 4484981 w 4716235"/>
              <a:gd name="connsiteY13177" fmla="*/ 663989 h 4596459"/>
              <a:gd name="connsiteX13178" fmla="*/ 4495718 w 4716235"/>
              <a:gd name="connsiteY13178" fmla="*/ 674726 h 4596459"/>
              <a:gd name="connsiteX13179" fmla="*/ 4484981 w 4716235"/>
              <a:gd name="connsiteY13179" fmla="*/ 685462 h 4596459"/>
              <a:gd name="connsiteX13180" fmla="*/ 4474245 w 4716235"/>
              <a:gd name="connsiteY13180" fmla="*/ 674726 h 4596459"/>
              <a:gd name="connsiteX13181" fmla="*/ 4484981 w 4716235"/>
              <a:gd name="connsiteY13181" fmla="*/ 663989 h 4596459"/>
              <a:gd name="connsiteX13182" fmla="*/ 2409644 w 4716235"/>
              <a:gd name="connsiteY13182" fmla="*/ 662833 h 4596459"/>
              <a:gd name="connsiteX13183" fmla="*/ 2420381 w 4716235"/>
              <a:gd name="connsiteY13183" fmla="*/ 673569 h 4596459"/>
              <a:gd name="connsiteX13184" fmla="*/ 2409644 w 4716235"/>
              <a:gd name="connsiteY13184" fmla="*/ 684307 h 4596459"/>
              <a:gd name="connsiteX13185" fmla="*/ 2398907 w 4716235"/>
              <a:gd name="connsiteY13185" fmla="*/ 673569 h 4596459"/>
              <a:gd name="connsiteX13186" fmla="*/ 2409644 w 4716235"/>
              <a:gd name="connsiteY13186" fmla="*/ 662833 h 4596459"/>
              <a:gd name="connsiteX13187" fmla="*/ 4373980 w 4716235"/>
              <a:gd name="connsiteY13187" fmla="*/ 662668 h 4596459"/>
              <a:gd name="connsiteX13188" fmla="*/ 4384716 w 4716235"/>
              <a:gd name="connsiteY13188" fmla="*/ 673404 h 4596459"/>
              <a:gd name="connsiteX13189" fmla="*/ 4373980 w 4716235"/>
              <a:gd name="connsiteY13189" fmla="*/ 684141 h 4596459"/>
              <a:gd name="connsiteX13190" fmla="*/ 4363243 w 4716235"/>
              <a:gd name="connsiteY13190" fmla="*/ 673404 h 4596459"/>
              <a:gd name="connsiteX13191" fmla="*/ 4373980 w 4716235"/>
              <a:gd name="connsiteY13191" fmla="*/ 662668 h 4596459"/>
              <a:gd name="connsiteX13192" fmla="*/ 3938066 w 4716235"/>
              <a:gd name="connsiteY13192" fmla="*/ 662668 h 4596459"/>
              <a:gd name="connsiteX13193" fmla="*/ 3948804 w 4716235"/>
              <a:gd name="connsiteY13193" fmla="*/ 673404 h 4596459"/>
              <a:gd name="connsiteX13194" fmla="*/ 3938066 w 4716235"/>
              <a:gd name="connsiteY13194" fmla="*/ 684141 h 4596459"/>
              <a:gd name="connsiteX13195" fmla="*/ 3927329 w 4716235"/>
              <a:gd name="connsiteY13195" fmla="*/ 673404 h 4596459"/>
              <a:gd name="connsiteX13196" fmla="*/ 3938066 w 4716235"/>
              <a:gd name="connsiteY13196" fmla="*/ 662668 h 4596459"/>
              <a:gd name="connsiteX13197" fmla="*/ 1267579 w 4716235"/>
              <a:gd name="connsiteY13197" fmla="*/ 652922 h 4596459"/>
              <a:gd name="connsiteX13198" fmla="*/ 1278317 w 4716235"/>
              <a:gd name="connsiteY13198" fmla="*/ 663658 h 4596459"/>
              <a:gd name="connsiteX13199" fmla="*/ 1267579 w 4716235"/>
              <a:gd name="connsiteY13199" fmla="*/ 674396 h 4596459"/>
              <a:gd name="connsiteX13200" fmla="*/ 1256843 w 4716235"/>
              <a:gd name="connsiteY13200" fmla="*/ 663658 h 4596459"/>
              <a:gd name="connsiteX13201" fmla="*/ 1267579 w 4716235"/>
              <a:gd name="connsiteY13201" fmla="*/ 652922 h 4596459"/>
              <a:gd name="connsiteX13202" fmla="*/ 4455743 w 4716235"/>
              <a:gd name="connsiteY13202" fmla="*/ 651930 h 4596459"/>
              <a:gd name="connsiteX13203" fmla="*/ 4466481 w 4716235"/>
              <a:gd name="connsiteY13203" fmla="*/ 662666 h 4596459"/>
              <a:gd name="connsiteX13204" fmla="*/ 4455743 w 4716235"/>
              <a:gd name="connsiteY13204" fmla="*/ 673404 h 4596459"/>
              <a:gd name="connsiteX13205" fmla="*/ 4454505 w 4716235"/>
              <a:gd name="connsiteY13205" fmla="*/ 672166 h 4596459"/>
              <a:gd name="connsiteX13206" fmla="*/ 4445503 w 4716235"/>
              <a:gd name="connsiteY13206" fmla="*/ 681166 h 4596459"/>
              <a:gd name="connsiteX13207" fmla="*/ 4444677 w 4716235"/>
              <a:gd name="connsiteY13207" fmla="*/ 680343 h 4596459"/>
              <a:gd name="connsiteX13208" fmla="*/ 4435592 w 4716235"/>
              <a:gd name="connsiteY13208" fmla="*/ 689426 h 4596459"/>
              <a:gd name="connsiteX13209" fmla="*/ 4424855 w 4716235"/>
              <a:gd name="connsiteY13209" fmla="*/ 678690 h 4596459"/>
              <a:gd name="connsiteX13210" fmla="*/ 4435592 w 4716235"/>
              <a:gd name="connsiteY13210" fmla="*/ 667954 h 4596459"/>
              <a:gd name="connsiteX13211" fmla="*/ 4436417 w 4716235"/>
              <a:gd name="connsiteY13211" fmla="*/ 668779 h 4596459"/>
              <a:gd name="connsiteX13212" fmla="*/ 4445503 w 4716235"/>
              <a:gd name="connsiteY13212" fmla="*/ 659694 h 4596459"/>
              <a:gd name="connsiteX13213" fmla="*/ 4446741 w 4716235"/>
              <a:gd name="connsiteY13213" fmla="*/ 660932 h 4596459"/>
              <a:gd name="connsiteX13214" fmla="*/ 4291058 w 4716235"/>
              <a:gd name="connsiteY13214" fmla="*/ 651436 h 4596459"/>
              <a:gd name="connsiteX13215" fmla="*/ 4301796 w 4716235"/>
              <a:gd name="connsiteY13215" fmla="*/ 662172 h 4596459"/>
              <a:gd name="connsiteX13216" fmla="*/ 4291058 w 4716235"/>
              <a:gd name="connsiteY13216" fmla="*/ 672908 h 4596459"/>
              <a:gd name="connsiteX13217" fmla="*/ 4280321 w 4716235"/>
              <a:gd name="connsiteY13217" fmla="*/ 662172 h 4596459"/>
              <a:gd name="connsiteX13218" fmla="*/ 4291058 w 4716235"/>
              <a:gd name="connsiteY13218" fmla="*/ 651436 h 4596459"/>
              <a:gd name="connsiteX13219" fmla="*/ 4507446 w 4716235"/>
              <a:gd name="connsiteY13219" fmla="*/ 651104 h 4596459"/>
              <a:gd name="connsiteX13220" fmla="*/ 4518184 w 4716235"/>
              <a:gd name="connsiteY13220" fmla="*/ 661841 h 4596459"/>
              <a:gd name="connsiteX13221" fmla="*/ 4507446 w 4716235"/>
              <a:gd name="connsiteY13221" fmla="*/ 672579 h 4596459"/>
              <a:gd name="connsiteX13222" fmla="*/ 4496710 w 4716235"/>
              <a:gd name="connsiteY13222" fmla="*/ 661841 h 4596459"/>
              <a:gd name="connsiteX13223" fmla="*/ 4507446 w 4716235"/>
              <a:gd name="connsiteY13223" fmla="*/ 651104 h 4596459"/>
              <a:gd name="connsiteX13224" fmla="*/ 4153462 w 4716235"/>
              <a:gd name="connsiteY13224" fmla="*/ 649452 h 4596459"/>
              <a:gd name="connsiteX13225" fmla="*/ 4164198 w 4716235"/>
              <a:gd name="connsiteY13225" fmla="*/ 660188 h 4596459"/>
              <a:gd name="connsiteX13226" fmla="*/ 4153462 w 4716235"/>
              <a:gd name="connsiteY13226" fmla="*/ 670926 h 4596459"/>
              <a:gd name="connsiteX13227" fmla="*/ 4142726 w 4716235"/>
              <a:gd name="connsiteY13227" fmla="*/ 660188 h 4596459"/>
              <a:gd name="connsiteX13228" fmla="*/ 4153462 w 4716235"/>
              <a:gd name="connsiteY13228" fmla="*/ 649452 h 4596459"/>
              <a:gd name="connsiteX13229" fmla="*/ 4402226 w 4716235"/>
              <a:gd name="connsiteY13229" fmla="*/ 648957 h 4596459"/>
              <a:gd name="connsiteX13230" fmla="*/ 4412962 w 4716235"/>
              <a:gd name="connsiteY13230" fmla="*/ 659694 h 4596459"/>
              <a:gd name="connsiteX13231" fmla="*/ 4402226 w 4716235"/>
              <a:gd name="connsiteY13231" fmla="*/ 670432 h 4596459"/>
              <a:gd name="connsiteX13232" fmla="*/ 4391490 w 4716235"/>
              <a:gd name="connsiteY13232" fmla="*/ 659694 h 4596459"/>
              <a:gd name="connsiteX13233" fmla="*/ 4402226 w 4716235"/>
              <a:gd name="connsiteY13233" fmla="*/ 648957 h 4596459"/>
              <a:gd name="connsiteX13234" fmla="*/ 137409 w 4716235"/>
              <a:gd name="connsiteY13234" fmla="*/ 648791 h 4596459"/>
              <a:gd name="connsiteX13235" fmla="*/ 148148 w 4716235"/>
              <a:gd name="connsiteY13235" fmla="*/ 659527 h 4596459"/>
              <a:gd name="connsiteX13236" fmla="*/ 137409 w 4716235"/>
              <a:gd name="connsiteY13236" fmla="*/ 670265 h 4596459"/>
              <a:gd name="connsiteX13237" fmla="*/ 126673 w 4716235"/>
              <a:gd name="connsiteY13237" fmla="*/ 659527 h 4596459"/>
              <a:gd name="connsiteX13238" fmla="*/ 137409 w 4716235"/>
              <a:gd name="connsiteY13238" fmla="*/ 648791 h 4596459"/>
              <a:gd name="connsiteX13239" fmla="*/ 2189126 w 4716235"/>
              <a:gd name="connsiteY13239" fmla="*/ 645654 h 4596459"/>
              <a:gd name="connsiteX13240" fmla="*/ 2199864 w 4716235"/>
              <a:gd name="connsiteY13240" fmla="*/ 656390 h 4596459"/>
              <a:gd name="connsiteX13241" fmla="*/ 2189126 w 4716235"/>
              <a:gd name="connsiteY13241" fmla="*/ 667126 h 4596459"/>
              <a:gd name="connsiteX13242" fmla="*/ 2178390 w 4716235"/>
              <a:gd name="connsiteY13242" fmla="*/ 656390 h 4596459"/>
              <a:gd name="connsiteX13243" fmla="*/ 2189126 w 4716235"/>
              <a:gd name="connsiteY13243" fmla="*/ 645654 h 4596459"/>
              <a:gd name="connsiteX13244" fmla="*/ 4469618 w 4716235"/>
              <a:gd name="connsiteY13244" fmla="*/ 643176 h 4596459"/>
              <a:gd name="connsiteX13245" fmla="*/ 4480356 w 4716235"/>
              <a:gd name="connsiteY13245" fmla="*/ 653912 h 4596459"/>
              <a:gd name="connsiteX13246" fmla="*/ 4469618 w 4716235"/>
              <a:gd name="connsiteY13246" fmla="*/ 664648 h 4596459"/>
              <a:gd name="connsiteX13247" fmla="*/ 4458882 w 4716235"/>
              <a:gd name="connsiteY13247" fmla="*/ 653912 h 4596459"/>
              <a:gd name="connsiteX13248" fmla="*/ 4469618 w 4716235"/>
              <a:gd name="connsiteY13248" fmla="*/ 643176 h 4596459"/>
              <a:gd name="connsiteX13249" fmla="*/ 1493382 w 4716235"/>
              <a:gd name="connsiteY13249" fmla="*/ 638882 h 4596459"/>
              <a:gd name="connsiteX13250" fmla="*/ 1504119 w 4716235"/>
              <a:gd name="connsiteY13250" fmla="*/ 649618 h 4596459"/>
              <a:gd name="connsiteX13251" fmla="*/ 1493382 w 4716235"/>
              <a:gd name="connsiteY13251" fmla="*/ 660356 h 4596459"/>
              <a:gd name="connsiteX13252" fmla="*/ 1482646 w 4716235"/>
              <a:gd name="connsiteY13252" fmla="*/ 649618 h 4596459"/>
              <a:gd name="connsiteX13253" fmla="*/ 1493382 w 4716235"/>
              <a:gd name="connsiteY13253" fmla="*/ 638882 h 4596459"/>
              <a:gd name="connsiteX13254" fmla="*/ 1959690 w 4716235"/>
              <a:gd name="connsiteY13254" fmla="*/ 635082 h 4596459"/>
              <a:gd name="connsiteX13255" fmla="*/ 1970426 w 4716235"/>
              <a:gd name="connsiteY13255" fmla="*/ 645818 h 4596459"/>
              <a:gd name="connsiteX13256" fmla="*/ 1959690 w 4716235"/>
              <a:gd name="connsiteY13256" fmla="*/ 656555 h 4596459"/>
              <a:gd name="connsiteX13257" fmla="*/ 1948953 w 4716235"/>
              <a:gd name="connsiteY13257" fmla="*/ 645818 h 4596459"/>
              <a:gd name="connsiteX13258" fmla="*/ 1959690 w 4716235"/>
              <a:gd name="connsiteY13258" fmla="*/ 635082 h 4596459"/>
              <a:gd name="connsiteX13259" fmla="*/ 3358610 w 4716235"/>
              <a:gd name="connsiteY13259" fmla="*/ 633596 h 4596459"/>
              <a:gd name="connsiteX13260" fmla="*/ 3369346 w 4716235"/>
              <a:gd name="connsiteY13260" fmla="*/ 644332 h 4596459"/>
              <a:gd name="connsiteX13261" fmla="*/ 3358610 w 4716235"/>
              <a:gd name="connsiteY13261" fmla="*/ 655070 h 4596459"/>
              <a:gd name="connsiteX13262" fmla="*/ 3347873 w 4716235"/>
              <a:gd name="connsiteY13262" fmla="*/ 644332 h 4596459"/>
              <a:gd name="connsiteX13263" fmla="*/ 3358610 w 4716235"/>
              <a:gd name="connsiteY13263" fmla="*/ 633596 h 4596459"/>
              <a:gd name="connsiteX13264" fmla="*/ 1725793 w 4716235"/>
              <a:gd name="connsiteY13264" fmla="*/ 632769 h 4596459"/>
              <a:gd name="connsiteX13265" fmla="*/ 1736531 w 4716235"/>
              <a:gd name="connsiteY13265" fmla="*/ 643505 h 4596459"/>
              <a:gd name="connsiteX13266" fmla="*/ 1725793 w 4716235"/>
              <a:gd name="connsiteY13266" fmla="*/ 654243 h 4596459"/>
              <a:gd name="connsiteX13267" fmla="*/ 1715056 w 4716235"/>
              <a:gd name="connsiteY13267" fmla="*/ 643505 h 4596459"/>
              <a:gd name="connsiteX13268" fmla="*/ 1725793 w 4716235"/>
              <a:gd name="connsiteY13268" fmla="*/ 632769 h 4596459"/>
              <a:gd name="connsiteX13269" fmla="*/ 4489936 w 4716235"/>
              <a:gd name="connsiteY13269" fmla="*/ 632439 h 4596459"/>
              <a:gd name="connsiteX13270" fmla="*/ 4500672 w 4716235"/>
              <a:gd name="connsiteY13270" fmla="*/ 643176 h 4596459"/>
              <a:gd name="connsiteX13271" fmla="*/ 4489936 w 4716235"/>
              <a:gd name="connsiteY13271" fmla="*/ 653914 h 4596459"/>
              <a:gd name="connsiteX13272" fmla="*/ 4479200 w 4716235"/>
              <a:gd name="connsiteY13272" fmla="*/ 643176 h 4596459"/>
              <a:gd name="connsiteX13273" fmla="*/ 4489936 w 4716235"/>
              <a:gd name="connsiteY13273" fmla="*/ 632439 h 4596459"/>
              <a:gd name="connsiteX13274" fmla="*/ 4345568 w 4716235"/>
              <a:gd name="connsiteY13274" fmla="*/ 630953 h 4596459"/>
              <a:gd name="connsiteX13275" fmla="*/ 4356305 w 4716235"/>
              <a:gd name="connsiteY13275" fmla="*/ 641689 h 4596459"/>
              <a:gd name="connsiteX13276" fmla="*/ 4345568 w 4716235"/>
              <a:gd name="connsiteY13276" fmla="*/ 652426 h 4596459"/>
              <a:gd name="connsiteX13277" fmla="*/ 4334832 w 4716235"/>
              <a:gd name="connsiteY13277" fmla="*/ 641689 h 4596459"/>
              <a:gd name="connsiteX13278" fmla="*/ 4345568 w 4716235"/>
              <a:gd name="connsiteY13278" fmla="*/ 630953 h 4596459"/>
              <a:gd name="connsiteX13279" fmla="*/ 3849033 w 4716235"/>
              <a:gd name="connsiteY13279" fmla="*/ 628640 h 4596459"/>
              <a:gd name="connsiteX13280" fmla="*/ 3859769 w 4716235"/>
              <a:gd name="connsiteY13280" fmla="*/ 639376 h 4596459"/>
              <a:gd name="connsiteX13281" fmla="*/ 3849033 w 4716235"/>
              <a:gd name="connsiteY13281" fmla="*/ 650114 h 4596459"/>
              <a:gd name="connsiteX13282" fmla="*/ 3838296 w 4716235"/>
              <a:gd name="connsiteY13282" fmla="*/ 639376 h 4596459"/>
              <a:gd name="connsiteX13283" fmla="*/ 3849033 w 4716235"/>
              <a:gd name="connsiteY13283" fmla="*/ 628640 h 4596459"/>
              <a:gd name="connsiteX13284" fmla="*/ 4454423 w 4716235"/>
              <a:gd name="connsiteY13284" fmla="*/ 621207 h 4596459"/>
              <a:gd name="connsiteX13285" fmla="*/ 4465160 w 4716235"/>
              <a:gd name="connsiteY13285" fmla="*/ 631943 h 4596459"/>
              <a:gd name="connsiteX13286" fmla="*/ 4454423 w 4716235"/>
              <a:gd name="connsiteY13286" fmla="*/ 642681 h 4596459"/>
              <a:gd name="connsiteX13287" fmla="*/ 4451284 w 4716235"/>
              <a:gd name="connsiteY13287" fmla="*/ 639543 h 4596459"/>
              <a:gd name="connsiteX13288" fmla="*/ 4441538 w 4716235"/>
              <a:gd name="connsiteY13288" fmla="*/ 649287 h 4596459"/>
              <a:gd name="connsiteX13289" fmla="*/ 4439225 w 4716235"/>
              <a:gd name="connsiteY13289" fmla="*/ 646974 h 4596459"/>
              <a:gd name="connsiteX13290" fmla="*/ 4431131 w 4716235"/>
              <a:gd name="connsiteY13290" fmla="*/ 655069 h 4596459"/>
              <a:gd name="connsiteX13291" fmla="*/ 4428489 w 4716235"/>
              <a:gd name="connsiteY13291" fmla="*/ 652426 h 4596459"/>
              <a:gd name="connsiteX13292" fmla="*/ 4419405 w 4716235"/>
              <a:gd name="connsiteY13292" fmla="*/ 661511 h 4596459"/>
              <a:gd name="connsiteX13293" fmla="*/ 4408669 w 4716235"/>
              <a:gd name="connsiteY13293" fmla="*/ 650773 h 4596459"/>
              <a:gd name="connsiteX13294" fmla="*/ 4419405 w 4716235"/>
              <a:gd name="connsiteY13294" fmla="*/ 640037 h 4596459"/>
              <a:gd name="connsiteX13295" fmla="*/ 4422048 w 4716235"/>
              <a:gd name="connsiteY13295" fmla="*/ 642680 h 4596459"/>
              <a:gd name="connsiteX13296" fmla="*/ 4431131 w 4716235"/>
              <a:gd name="connsiteY13296" fmla="*/ 633594 h 4596459"/>
              <a:gd name="connsiteX13297" fmla="*/ 4433445 w 4716235"/>
              <a:gd name="connsiteY13297" fmla="*/ 635908 h 4596459"/>
              <a:gd name="connsiteX13298" fmla="*/ 4441538 w 4716235"/>
              <a:gd name="connsiteY13298" fmla="*/ 627814 h 4596459"/>
              <a:gd name="connsiteX13299" fmla="*/ 4444677 w 4716235"/>
              <a:gd name="connsiteY13299" fmla="*/ 630953 h 4596459"/>
              <a:gd name="connsiteX13300" fmla="*/ 4380256 w 4716235"/>
              <a:gd name="connsiteY13300" fmla="*/ 618233 h 4596459"/>
              <a:gd name="connsiteX13301" fmla="*/ 4390992 w 4716235"/>
              <a:gd name="connsiteY13301" fmla="*/ 628969 h 4596459"/>
              <a:gd name="connsiteX13302" fmla="*/ 4380256 w 4716235"/>
              <a:gd name="connsiteY13302" fmla="*/ 639707 h 4596459"/>
              <a:gd name="connsiteX13303" fmla="*/ 4369519 w 4716235"/>
              <a:gd name="connsiteY13303" fmla="*/ 628969 h 4596459"/>
              <a:gd name="connsiteX13304" fmla="*/ 4380256 w 4716235"/>
              <a:gd name="connsiteY13304" fmla="*/ 618233 h 4596459"/>
              <a:gd name="connsiteX13305" fmla="*/ 4248607 w 4716235"/>
              <a:gd name="connsiteY13305" fmla="*/ 617903 h 4596459"/>
              <a:gd name="connsiteX13306" fmla="*/ 4259343 w 4716235"/>
              <a:gd name="connsiteY13306" fmla="*/ 628640 h 4596459"/>
              <a:gd name="connsiteX13307" fmla="*/ 4248607 w 4716235"/>
              <a:gd name="connsiteY13307" fmla="*/ 639376 h 4596459"/>
              <a:gd name="connsiteX13308" fmla="*/ 4237870 w 4716235"/>
              <a:gd name="connsiteY13308" fmla="*/ 628640 h 4596459"/>
              <a:gd name="connsiteX13309" fmla="*/ 4248607 w 4716235"/>
              <a:gd name="connsiteY13309" fmla="*/ 617903 h 4596459"/>
              <a:gd name="connsiteX13310" fmla="*/ 279301 w 4716235"/>
              <a:gd name="connsiteY13310" fmla="*/ 616415 h 4596459"/>
              <a:gd name="connsiteX13311" fmla="*/ 290037 w 4716235"/>
              <a:gd name="connsiteY13311" fmla="*/ 627152 h 4596459"/>
              <a:gd name="connsiteX13312" fmla="*/ 279301 w 4716235"/>
              <a:gd name="connsiteY13312" fmla="*/ 637890 h 4596459"/>
              <a:gd name="connsiteX13313" fmla="*/ 268564 w 4716235"/>
              <a:gd name="connsiteY13313" fmla="*/ 627152 h 4596459"/>
              <a:gd name="connsiteX13314" fmla="*/ 279301 w 4716235"/>
              <a:gd name="connsiteY13314" fmla="*/ 616415 h 4596459"/>
              <a:gd name="connsiteX13315" fmla="*/ 4091024 w 4716235"/>
              <a:gd name="connsiteY13315" fmla="*/ 615094 h 4596459"/>
              <a:gd name="connsiteX13316" fmla="*/ 4101761 w 4716235"/>
              <a:gd name="connsiteY13316" fmla="*/ 625830 h 4596459"/>
              <a:gd name="connsiteX13317" fmla="*/ 4091024 w 4716235"/>
              <a:gd name="connsiteY13317" fmla="*/ 636568 h 4596459"/>
              <a:gd name="connsiteX13318" fmla="*/ 4080288 w 4716235"/>
              <a:gd name="connsiteY13318" fmla="*/ 625830 h 4596459"/>
              <a:gd name="connsiteX13319" fmla="*/ 4091024 w 4716235"/>
              <a:gd name="connsiteY13319" fmla="*/ 615094 h 4596459"/>
              <a:gd name="connsiteX13320" fmla="*/ 4472757 w 4716235"/>
              <a:gd name="connsiteY13320" fmla="*/ 612782 h 4596459"/>
              <a:gd name="connsiteX13321" fmla="*/ 4483495 w 4716235"/>
              <a:gd name="connsiteY13321" fmla="*/ 623519 h 4596459"/>
              <a:gd name="connsiteX13322" fmla="*/ 4472757 w 4716235"/>
              <a:gd name="connsiteY13322" fmla="*/ 634257 h 4596459"/>
              <a:gd name="connsiteX13323" fmla="*/ 4462021 w 4716235"/>
              <a:gd name="connsiteY13323" fmla="*/ 623519 h 4596459"/>
              <a:gd name="connsiteX13324" fmla="*/ 4472757 w 4716235"/>
              <a:gd name="connsiteY13324" fmla="*/ 612782 h 4596459"/>
              <a:gd name="connsiteX13325" fmla="*/ 4498857 w 4716235"/>
              <a:gd name="connsiteY13325" fmla="*/ 602871 h 4596459"/>
              <a:gd name="connsiteX13326" fmla="*/ 4508107 w 4716235"/>
              <a:gd name="connsiteY13326" fmla="*/ 612122 h 4596459"/>
              <a:gd name="connsiteX13327" fmla="*/ 4498857 w 4716235"/>
              <a:gd name="connsiteY13327" fmla="*/ 621372 h 4596459"/>
              <a:gd name="connsiteX13328" fmla="*/ 4489607 w 4716235"/>
              <a:gd name="connsiteY13328" fmla="*/ 612122 h 4596459"/>
              <a:gd name="connsiteX13329" fmla="*/ 4498857 w 4716235"/>
              <a:gd name="connsiteY13329" fmla="*/ 602871 h 4596459"/>
              <a:gd name="connsiteX13330" fmla="*/ 3210938 w 4716235"/>
              <a:gd name="connsiteY13330" fmla="*/ 601385 h 4596459"/>
              <a:gd name="connsiteX13331" fmla="*/ 3221675 w 4716235"/>
              <a:gd name="connsiteY13331" fmla="*/ 612122 h 4596459"/>
              <a:gd name="connsiteX13332" fmla="*/ 3210938 w 4716235"/>
              <a:gd name="connsiteY13332" fmla="*/ 622858 h 4596459"/>
              <a:gd name="connsiteX13333" fmla="*/ 3200202 w 4716235"/>
              <a:gd name="connsiteY13333" fmla="*/ 612122 h 4596459"/>
              <a:gd name="connsiteX13334" fmla="*/ 3210938 w 4716235"/>
              <a:gd name="connsiteY13334" fmla="*/ 601385 h 4596459"/>
              <a:gd name="connsiteX13335" fmla="*/ 4439225 w 4716235"/>
              <a:gd name="connsiteY13335" fmla="*/ 598081 h 4596459"/>
              <a:gd name="connsiteX13336" fmla="*/ 4449963 w 4716235"/>
              <a:gd name="connsiteY13336" fmla="*/ 608818 h 4596459"/>
              <a:gd name="connsiteX13337" fmla="*/ 4439225 w 4716235"/>
              <a:gd name="connsiteY13337" fmla="*/ 619556 h 4596459"/>
              <a:gd name="connsiteX13338" fmla="*/ 4435179 w 4716235"/>
              <a:gd name="connsiteY13338" fmla="*/ 615510 h 4596459"/>
              <a:gd name="connsiteX13339" fmla="*/ 4426838 w 4716235"/>
              <a:gd name="connsiteY13339" fmla="*/ 623850 h 4596459"/>
              <a:gd name="connsiteX13340" fmla="*/ 4423038 w 4716235"/>
              <a:gd name="connsiteY13340" fmla="*/ 620050 h 4596459"/>
              <a:gd name="connsiteX13341" fmla="*/ 4415605 w 4716235"/>
              <a:gd name="connsiteY13341" fmla="*/ 627483 h 4596459"/>
              <a:gd name="connsiteX13342" fmla="*/ 4410980 w 4716235"/>
              <a:gd name="connsiteY13342" fmla="*/ 622858 h 4596459"/>
              <a:gd name="connsiteX13343" fmla="*/ 4401730 w 4716235"/>
              <a:gd name="connsiteY13343" fmla="*/ 632110 h 4596459"/>
              <a:gd name="connsiteX13344" fmla="*/ 4390994 w 4716235"/>
              <a:gd name="connsiteY13344" fmla="*/ 621372 h 4596459"/>
              <a:gd name="connsiteX13345" fmla="*/ 4401730 w 4716235"/>
              <a:gd name="connsiteY13345" fmla="*/ 610635 h 4596459"/>
              <a:gd name="connsiteX13346" fmla="*/ 4406355 w 4716235"/>
              <a:gd name="connsiteY13346" fmla="*/ 615260 h 4596459"/>
              <a:gd name="connsiteX13347" fmla="*/ 4415605 w 4716235"/>
              <a:gd name="connsiteY13347" fmla="*/ 606010 h 4596459"/>
              <a:gd name="connsiteX13348" fmla="*/ 4419403 w 4716235"/>
              <a:gd name="connsiteY13348" fmla="*/ 609810 h 4596459"/>
              <a:gd name="connsiteX13349" fmla="*/ 4426838 w 4716235"/>
              <a:gd name="connsiteY13349" fmla="*/ 602375 h 4596459"/>
              <a:gd name="connsiteX13350" fmla="*/ 4430885 w 4716235"/>
              <a:gd name="connsiteY13350" fmla="*/ 606423 h 4596459"/>
              <a:gd name="connsiteX13351" fmla="*/ 4313193 w 4716235"/>
              <a:gd name="connsiteY13351" fmla="*/ 597917 h 4596459"/>
              <a:gd name="connsiteX13352" fmla="*/ 4323931 w 4716235"/>
              <a:gd name="connsiteY13352" fmla="*/ 608653 h 4596459"/>
              <a:gd name="connsiteX13353" fmla="*/ 4313193 w 4716235"/>
              <a:gd name="connsiteY13353" fmla="*/ 619390 h 4596459"/>
              <a:gd name="connsiteX13354" fmla="*/ 4302457 w 4716235"/>
              <a:gd name="connsiteY13354" fmla="*/ 608653 h 4596459"/>
              <a:gd name="connsiteX13355" fmla="*/ 4313193 w 4716235"/>
              <a:gd name="connsiteY13355" fmla="*/ 597917 h 4596459"/>
              <a:gd name="connsiteX13356" fmla="*/ 3750584 w 4716235"/>
              <a:gd name="connsiteY13356" fmla="*/ 593786 h 4596459"/>
              <a:gd name="connsiteX13357" fmla="*/ 3761323 w 4716235"/>
              <a:gd name="connsiteY13357" fmla="*/ 604522 h 4596459"/>
              <a:gd name="connsiteX13358" fmla="*/ 3750584 w 4716235"/>
              <a:gd name="connsiteY13358" fmla="*/ 615259 h 4596459"/>
              <a:gd name="connsiteX13359" fmla="*/ 3739848 w 4716235"/>
              <a:gd name="connsiteY13359" fmla="*/ 604522 h 4596459"/>
              <a:gd name="connsiteX13360" fmla="*/ 3750584 w 4716235"/>
              <a:gd name="connsiteY13360" fmla="*/ 593786 h 4596459"/>
              <a:gd name="connsiteX13361" fmla="*/ 4456074 w 4716235"/>
              <a:gd name="connsiteY13361" fmla="*/ 591804 h 4596459"/>
              <a:gd name="connsiteX13362" fmla="*/ 4466811 w 4716235"/>
              <a:gd name="connsiteY13362" fmla="*/ 602540 h 4596459"/>
              <a:gd name="connsiteX13363" fmla="*/ 4456074 w 4716235"/>
              <a:gd name="connsiteY13363" fmla="*/ 613276 h 4596459"/>
              <a:gd name="connsiteX13364" fmla="*/ 4445338 w 4716235"/>
              <a:gd name="connsiteY13364" fmla="*/ 602540 h 4596459"/>
              <a:gd name="connsiteX13365" fmla="*/ 4456074 w 4716235"/>
              <a:gd name="connsiteY13365" fmla="*/ 591804 h 4596459"/>
              <a:gd name="connsiteX13366" fmla="*/ 4355315 w 4716235"/>
              <a:gd name="connsiteY13366" fmla="*/ 586188 h 4596459"/>
              <a:gd name="connsiteX13367" fmla="*/ 4366051 w 4716235"/>
              <a:gd name="connsiteY13367" fmla="*/ 596925 h 4596459"/>
              <a:gd name="connsiteX13368" fmla="*/ 4355315 w 4716235"/>
              <a:gd name="connsiteY13368" fmla="*/ 607663 h 4596459"/>
              <a:gd name="connsiteX13369" fmla="*/ 4344578 w 4716235"/>
              <a:gd name="connsiteY13369" fmla="*/ 596925 h 4596459"/>
              <a:gd name="connsiteX13370" fmla="*/ 4355315 w 4716235"/>
              <a:gd name="connsiteY13370" fmla="*/ 586188 h 4596459"/>
              <a:gd name="connsiteX13371" fmla="*/ 433744 w 4716235"/>
              <a:gd name="connsiteY13371" fmla="*/ 584371 h 4596459"/>
              <a:gd name="connsiteX13372" fmla="*/ 444482 w 4716235"/>
              <a:gd name="connsiteY13372" fmla="*/ 595107 h 4596459"/>
              <a:gd name="connsiteX13373" fmla="*/ 433744 w 4716235"/>
              <a:gd name="connsiteY13373" fmla="*/ 605845 h 4596459"/>
              <a:gd name="connsiteX13374" fmla="*/ 423007 w 4716235"/>
              <a:gd name="connsiteY13374" fmla="*/ 595107 h 4596459"/>
              <a:gd name="connsiteX13375" fmla="*/ 433744 w 4716235"/>
              <a:gd name="connsiteY13375" fmla="*/ 584371 h 4596459"/>
              <a:gd name="connsiteX13376" fmla="*/ 4200870 w 4716235"/>
              <a:gd name="connsiteY13376" fmla="*/ 583379 h 4596459"/>
              <a:gd name="connsiteX13377" fmla="*/ 4211606 w 4716235"/>
              <a:gd name="connsiteY13377" fmla="*/ 594115 h 4596459"/>
              <a:gd name="connsiteX13378" fmla="*/ 4200870 w 4716235"/>
              <a:gd name="connsiteY13378" fmla="*/ 604854 h 4596459"/>
              <a:gd name="connsiteX13379" fmla="*/ 4190133 w 4716235"/>
              <a:gd name="connsiteY13379" fmla="*/ 594115 h 4596459"/>
              <a:gd name="connsiteX13380" fmla="*/ 4200870 w 4716235"/>
              <a:gd name="connsiteY13380" fmla="*/ 583379 h 4596459"/>
              <a:gd name="connsiteX13381" fmla="*/ 4479696 w 4716235"/>
              <a:gd name="connsiteY13381" fmla="*/ 582885 h 4596459"/>
              <a:gd name="connsiteX13382" fmla="*/ 4490432 w 4716235"/>
              <a:gd name="connsiteY13382" fmla="*/ 593621 h 4596459"/>
              <a:gd name="connsiteX13383" fmla="*/ 4479696 w 4716235"/>
              <a:gd name="connsiteY13383" fmla="*/ 604359 h 4596459"/>
              <a:gd name="connsiteX13384" fmla="*/ 4468959 w 4716235"/>
              <a:gd name="connsiteY13384" fmla="*/ 593621 h 4596459"/>
              <a:gd name="connsiteX13385" fmla="*/ 4479696 w 4716235"/>
              <a:gd name="connsiteY13385" fmla="*/ 582885 h 4596459"/>
              <a:gd name="connsiteX13386" fmla="*/ 4021647 w 4716235"/>
              <a:gd name="connsiteY13386" fmla="*/ 579746 h 4596459"/>
              <a:gd name="connsiteX13387" fmla="*/ 4032385 w 4716235"/>
              <a:gd name="connsiteY13387" fmla="*/ 590482 h 4596459"/>
              <a:gd name="connsiteX13388" fmla="*/ 4021647 w 4716235"/>
              <a:gd name="connsiteY13388" fmla="*/ 601220 h 4596459"/>
              <a:gd name="connsiteX13389" fmla="*/ 4010910 w 4716235"/>
              <a:gd name="connsiteY13389" fmla="*/ 590482 h 4596459"/>
              <a:gd name="connsiteX13390" fmla="*/ 4021647 w 4716235"/>
              <a:gd name="connsiteY13390" fmla="*/ 579746 h 4596459"/>
              <a:gd name="connsiteX13391" fmla="*/ 4439556 w 4716235"/>
              <a:gd name="connsiteY13391" fmla="*/ 569670 h 4596459"/>
              <a:gd name="connsiteX13392" fmla="*/ 4450292 w 4716235"/>
              <a:gd name="connsiteY13392" fmla="*/ 580407 h 4596459"/>
              <a:gd name="connsiteX13393" fmla="*/ 4439556 w 4716235"/>
              <a:gd name="connsiteY13393" fmla="*/ 591145 h 4596459"/>
              <a:gd name="connsiteX13394" fmla="*/ 4433693 w 4716235"/>
              <a:gd name="connsiteY13394" fmla="*/ 585282 h 4596459"/>
              <a:gd name="connsiteX13395" fmla="*/ 4424030 w 4716235"/>
              <a:gd name="connsiteY13395" fmla="*/ 594944 h 4596459"/>
              <a:gd name="connsiteX13396" fmla="*/ 4418909 w 4716235"/>
              <a:gd name="connsiteY13396" fmla="*/ 589823 h 4596459"/>
              <a:gd name="connsiteX13397" fmla="*/ 4411641 w 4716235"/>
              <a:gd name="connsiteY13397" fmla="*/ 597091 h 4596459"/>
              <a:gd name="connsiteX13398" fmla="*/ 4406107 w 4716235"/>
              <a:gd name="connsiteY13398" fmla="*/ 591556 h 4596459"/>
              <a:gd name="connsiteX13399" fmla="*/ 4398921 w 4716235"/>
              <a:gd name="connsiteY13399" fmla="*/ 598741 h 4596459"/>
              <a:gd name="connsiteX13400" fmla="*/ 4391819 w 4716235"/>
              <a:gd name="connsiteY13400" fmla="*/ 591641 h 4596459"/>
              <a:gd name="connsiteX13401" fmla="*/ 4381908 w 4716235"/>
              <a:gd name="connsiteY13401" fmla="*/ 601550 h 4596459"/>
              <a:gd name="connsiteX13402" fmla="*/ 4371172 w 4716235"/>
              <a:gd name="connsiteY13402" fmla="*/ 590814 h 4596459"/>
              <a:gd name="connsiteX13403" fmla="*/ 4381908 w 4716235"/>
              <a:gd name="connsiteY13403" fmla="*/ 580077 h 4596459"/>
              <a:gd name="connsiteX13404" fmla="*/ 4389010 w 4716235"/>
              <a:gd name="connsiteY13404" fmla="*/ 587179 h 4596459"/>
              <a:gd name="connsiteX13405" fmla="*/ 4398921 w 4716235"/>
              <a:gd name="connsiteY13405" fmla="*/ 577268 h 4596459"/>
              <a:gd name="connsiteX13406" fmla="*/ 4404456 w 4716235"/>
              <a:gd name="connsiteY13406" fmla="*/ 582802 h 4596459"/>
              <a:gd name="connsiteX13407" fmla="*/ 4411641 w 4716235"/>
              <a:gd name="connsiteY13407" fmla="*/ 575617 h 4596459"/>
              <a:gd name="connsiteX13408" fmla="*/ 4416762 w 4716235"/>
              <a:gd name="connsiteY13408" fmla="*/ 580738 h 4596459"/>
              <a:gd name="connsiteX13409" fmla="*/ 4424030 w 4716235"/>
              <a:gd name="connsiteY13409" fmla="*/ 573470 h 4596459"/>
              <a:gd name="connsiteX13410" fmla="*/ 4429893 w 4716235"/>
              <a:gd name="connsiteY13410" fmla="*/ 579333 h 4596459"/>
              <a:gd name="connsiteX13411" fmla="*/ 3050712 w 4716235"/>
              <a:gd name="connsiteY13411" fmla="*/ 569670 h 4596459"/>
              <a:gd name="connsiteX13412" fmla="*/ 3061450 w 4716235"/>
              <a:gd name="connsiteY13412" fmla="*/ 580407 h 4596459"/>
              <a:gd name="connsiteX13413" fmla="*/ 3050712 w 4716235"/>
              <a:gd name="connsiteY13413" fmla="*/ 591145 h 4596459"/>
              <a:gd name="connsiteX13414" fmla="*/ 3039975 w 4716235"/>
              <a:gd name="connsiteY13414" fmla="*/ 580407 h 4596459"/>
              <a:gd name="connsiteX13415" fmla="*/ 3050712 w 4716235"/>
              <a:gd name="connsiteY13415" fmla="*/ 569670 h 4596459"/>
              <a:gd name="connsiteX13416" fmla="*/ 4276686 w 4716235"/>
              <a:gd name="connsiteY13416" fmla="*/ 563724 h 4596459"/>
              <a:gd name="connsiteX13417" fmla="*/ 4287425 w 4716235"/>
              <a:gd name="connsiteY13417" fmla="*/ 574460 h 4596459"/>
              <a:gd name="connsiteX13418" fmla="*/ 4276686 w 4716235"/>
              <a:gd name="connsiteY13418" fmla="*/ 585198 h 4596459"/>
              <a:gd name="connsiteX13419" fmla="*/ 4265950 w 4716235"/>
              <a:gd name="connsiteY13419" fmla="*/ 574460 h 4596459"/>
              <a:gd name="connsiteX13420" fmla="*/ 4276686 w 4716235"/>
              <a:gd name="connsiteY13420" fmla="*/ 563724 h 4596459"/>
              <a:gd name="connsiteX13421" fmla="*/ 4490928 w 4716235"/>
              <a:gd name="connsiteY13421" fmla="*/ 563228 h 4596459"/>
              <a:gd name="connsiteX13422" fmla="*/ 4491259 w 4716235"/>
              <a:gd name="connsiteY13422" fmla="*/ 563559 h 4596459"/>
              <a:gd name="connsiteX13423" fmla="*/ 4490928 w 4716235"/>
              <a:gd name="connsiteY13423" fmla="*/ 563889 h 4596459"/>
              <a:gd name="connsiteX13424" fmla="*/ 4490598 w 4716235"/>
              <a:gd name="connsiteY13424" fmla="*/ 563559 h 4596459"/>
              <a:gd name="connsiteX13425" fmla="*/ 4490928 w 4716235"/>
              <a:gd name="connsiteY13425" fmla="*/ 563228 h 4596459"/>
              <a:gd name="connsiteX13426" fmla="*/ 4461195 w 4716235"/>
              <a:gd name="connsiteY13426" fmla="*/ 563063 h 4596459"/>
              <a:gd name="connsiteX13427" fmla="*/ 4471932 w 4716235"/>
              <a:gd name="connsiteY13427" fmla="*/ 573799 h 4596459"/>
              <a:gd name="connsiteX13428" fmla="*/ 4461195 w 4716235"/>
              <a:gd name="connsiteY13428" fmla="*/ 584536 h 4596459"/>
              <a:gd name="connsiteX13429" fmla="*/ 4450459 w 4716235"/>
              <a:gd name="connsiteY13429" fmla="*/ 573799 h 4596459"/>
              <a:gd name="connsiteX13430" fmla="*/ 4461195 w 4716235"/>
              <a:gd name="connsiteY13430" fmla="*/ 563063 h 4596459"/>
              <a:gd name="connsiteX13431" fmla="*/ 3642226 w 4716235"/>
              <a:gd name="connsiteY13431" fmla="*/ 558603 h 4596459"/>
              <a:gd name="connsiteX13432" fmla="*/ 3652964 w 4716235"/>
              <a:gd name="connsiteY13432" fmla="*/ 569339 h 4596459"/>
              <a:gd name="connsiteX13433" fmla="*/ 3642226 w 4716235"/>
              <a:gd name="connsiteY13433" fmla="*/ 580077 h 4596459"/>
              <a:gd name="connsiteX13434" fmla="*/ 3631489 w 4716235"/>
              <a:gd name="connsiteY13434" fmla="*/ 569339 h 4596459"/>
              <a:gd name="connsiteX13435" fmla="*/ 3642226 w 4716235"/>
              <a:gd name="connsiteY13435" fmla="*/ 558603 h 4596459"/>
              <a:gd name="connsiteX13436" fmla="*/ 600907 w 4716235"/>
              <a:gd name="connsiteY13436" fmla="*/ 553152 h 4596459"/>
              <a:gd name="connsiteX13437" fmla="*/ 611644 w 4716235"/>
              <a:gd name="connsiteY13437" fmla="*/ 563889 h 4596459"/>
              <a:gd name="connsiteX13438" fmla="*/ 600907 w 4716235"/>
              <a:gd name="connsiteY13438" fmla="*/ 574627 h 4596459"/>
              <a:gd name="connsiteX13439" fmla="*/ 590171 w 4716235"/>
              <a:gd name="connsiteY13439" fmla="*/ 563889 h 4596459"/>
              <a:gd name="connsiteX13440" fmla="*/ 600907 w 4716235"/>
              <a:gd name="connsiteY13440" fmla="*/ 553152 h 4596459"/>
              <a:gd name="connsiteX13441" fmla="*/ 4327398 w 4716235"/>
              <a:gd name="connsiteY13441" fmla="*/ 552987 h 4596459"/>
              <a:gd name="connsiteX13442" fmla="*/ 4338134 w 4716235"/>
              <a:gd name="connsiteY13442" fmla="*/ 563724 h 4596459"/>
              <a:gd name="connsiteX13443" fmla="*/ 4327398 w 4716235"/>
              <a:gd name="connsiteY13443" fmla="*/ 574460 h 4596459"/>
              <a:gd name="connsiteX13444" fmla="*/ 4316661 w 4716235"/>
              <a:gd name="connsiteY13444" fmla="*/ 563724 h 4596459"/>
              <a:gd name="connsiteX13445" fmla="*/ 4327398 w 4716235"/>
              <a:gd name="connsiteY13445" fmla="*/ 552987 h 4596459"/>
              <a:gd name="connsiteX13446" fmla="*/ 4359940 w 4716235"/>
              <a:gd name="connsiteY13446" fmla="*/ 548196 h 4596459"/>
              <a:gd name="connsiteX13447" fmla="*/ 4370676 w 4716235"/>
              <a:gd name="connsiteY13447" fmla="*/ 558932 h 4596459"/>
              <a:gd name="connsiteX13448" fmla="*/ 4359940 w 4716235"/>
              <a:gd name="connsiteY13448" fmla="*/ 569669 h 4596459"/>
              <a:gd name="connsiteX13449" fmla="*/ 4349203 w 4716235"/>
              <a:gd name="connsiteY13449" fmla="*/ 558932 h 4596459"/>
              <a:gd name="connsiteX13450" fmla="*/ 4359940 w 4716235"/>
              <a:gd name="connsiteY13450" fmla="*/ 548196 h 4596459"/>
              <a:gd name="connsiteX13451" fmla="*/ 4147184 w 4716235"/>
              <a:gd name="connsiteY13451" fmla="*/ 547535 h 4596459"/>
              <a:gd name="connsiteX13452" fmla="*/ 4157921 w 4716235"/>
              <a:gd name="connsiteY13452" fmla="*/ 558272 h 4596459"/>
              <a:gd name="connsiteX13453" fmla="*/ 4147184 w 4716235"/>
              <a:gd name="connsiteY13453" fmla="*/ 569010 h 4596459"/>
              <a:gd name="connsiteX13454" fmla="*/ 4136448 w 4716235"/>
              <a:gd name="connsiteY13454" fmla="*/ 558272 h 4596459"/>
              <a:gd name="connsiteX13455" fmla="*/ 4147184 w 4716235"/>
              <a:gd name="connsiteY13455" fmla="*/ 547535 h 4596459"/>
              <a:gd name="connsiteX13456" fmla="*/ 4423203 w 4716235"/>
              <a:gd name="connsiteY13456" fmla="*/ 546380 h 4596459"/>
              <a:gd name="connsiteX13457" fmla="*/ 4433941 w 4716235"/>
              <a:gd name="connsiteY13457" fmla="*/ 557116 h 4596459"/>
              <a:gd name="connsiteX13458" fmla="*/ 4423203 w 4716235"/>
              <a:gd name="connsiteY13458" fmla="*/ 567853 h 4596459"/>
              <a:gd name="connsiteX13459" fmla="*/ 4416431 w 4716235"/>
              <a:gd name="connsiteY13459" fmla="*/ 561083 h 4596459"/>
              <a:gd name="connsiteX13460" fmla="*/ 4408337 w 4716235"/>
              <a:gd name="connsiteY13460" fmla="*/ 569174 h 4596459"/>
              <a:gd name="connsiteX13461" fmla="*/ 4401730 w 4716235"/>
              <a:gd name="connsiteY13461" fmla="*/ 562567 h 4596459"/>
              <a:gd name="connsiteX13462" fmla="*/ 4395288 w 4716235"/>
              <a:gd name="connsiteY13462" fmla="*/ 569010 h 4596459"/>
              <a:gd name="connsiteX13463" fmla="*/ 4387772 w 4716235"/>
              <a:gd name="connsiteY13463" fmla="*/ 561494 h 4596459"/>
              <a:gd name="connsiteX13464" fmla="*/ 4380752 w 4716235"/>
              <a:gd name="connsiteY13464" fmla="*/ 568514 h 4596459"/>
              <a:gd name="connsiteX13465" fmla="*/ 4370015 w 4716235"/>
              <a:gd name="connsiteY13465" fmla="*/ 557777 h 4596459"/>
              <a:gd name="connsiteX13466" fmla="*/ 4380752 w 4716235"/>
              <a:gd name="connsiteY13466" fmla="*/ 547041 h 4596459"/>
              <a:gd name="connsiteX13467" fmla="*/ 4388266 w 4716235"/>
              <a:gd name="connsiteY13467" fmla="*/ 554557 h 4596459"/>
              <a:gd name="connsiteX13468" fmla="*/ 4395288 w 4716235"/>
              <a:gd name="connsiteY13468" fmla="*/ 547535 h 4596459"/>
              <a:gd name="connsiteX13469" fmla="*/ 4401897 w 4716235"/>
              <a:gd name="connsiteY13469" fmla="*/ 554142 h 4596459"/>
              <a:gd name="connsiteX13470" fmla="*/ 4408337 w 4716235"/>
              <a:gd name="connsiteY13470" fmla="*/ 547702 h 4596459"/>
              <a:gd name="connsiteX13471" fmla="*/ 4415109 w 4716235"/>
              <a:gd name="connsiteY13471" fmla="*/ 554474 h 4596459"/>
              <a:gd name="connsiteX13472" fmla="*/ 3944342 w 4716235"/>
              <a:gd name="connsiteY13472" fmla="*/ 543571 h 4596459"/>
              <a:gd name="connsiteX13473" fmla="*/ 3955078 w 4716235"/>
              <a:gd name="connsiteY13473" fmla="*/ 554307 h 4596459"/>
              <a:gd name="connsiteX13474" fmla="*/ 3944342 w 4716235"/>
              <a:gd name="connsiteY13474" fmla="*/ 565044 h 4596459"/>
              <a:gd name="connsiteX13475" fmla="*/ 3933605 w 4716235"/>
              <a:gd name="connsiteY13475" fmla="*/ 554307 h 4596459"/>
              <a:gd name="connsiteX13476" fmla="*/ 3944342 w 4716235"/>
              <a:gd name="connsiteY13476" fmla="*/ 543571 h 4596459"/>
              <a:gd name="connsiteX13477" fmla="*/ 4443191 w 4716235"/>
              <a:gd name="connsiteY13477" fmla="*/ 542249 h 4596459"/>
              <a:gd name="connsiteX13478" fmla="*/ 4453927 w 4716235"/>
              <a:gd name="connsiteY13478" fmla="*/ 552986 h 4596459"/>
              <a:gd name="connsiteX13479" fmla="*/ 4443191 w 4716235"/>
              <a:gd name="connsiteY13479" fmla="*/ 563722 h 4596459"/>
              <a:gd name="connsiteX13480" fmla="*/ 4432455 w 4716235"/>
              <a:gd name="connsiteY13480" fmla="*/ 552986 h 4596459"/>
              <a:gd name="connsiteX13481" fmla="*/ 4443191 w 4716235"/>
              <a:gd name="connsiteY13481" fmla="*/ 542249 h 4596459"/>
              <a:gd name="connsiteX13482" fmla="*/ 2877437 w 4716235"/>
              <a:gd name="connsiteY13482" fmla="*/ 539277 h 4596459"/>
              <a:gd name="connsiteX13483" fmla="*/ 2888175 w 4716235"/>
              <a:gd name="connsiteY13483" fmla="*/ 550013 h 4596459"/>
              <a:gd name="connsiteX13484" fmla="*/ 2877437 w 4716235"/>
              <a:gd name="connsiteY13484" fmla="*/ 560751 h 4596459"/>
              <a:gd name="connsiteX13485" fmla="*/ 2866700 w 4716235"/>
              <a:gd name="connsiteY13485" fmla="*/ 550013 h 4596459"/>
              <a:gd name="connsiteX13486" fmla="*/ 2877437 w 4716235"/>
              <a:gd name="connsiteY13486" fmla="*/ 539277 h 4596459"/>
              <a:gd name="connsiteX13487" fmla="*/ 4470445 w 4716235"/>
              <a:gd name="connsiteY13487" fmla="*/ 535477 h 4596459"/>
              <a:gd name="connsiteX13488" fmla="*/ 4480190 w 4716235"/>
              <a:gd name="connsiteY13488" fmla="*/ 545223 h 4596459"/>
              <a:gd name="connsiteX13489" fmla="*/ 4470445 w 4716235"/>
              <a:gd name="connsiteY13489" fmla="*/ 554968 h 4596459"/>
              <a:gd name="connsiteX13490" fmla="*/ 4460699 w 4716235"/>
              <a:gd name="connsiteY13490" fmla="*/ 545223 h 4596459"/>
              <a:gd name="connsiteX13491" fmla="*/ 4470445 w 4716235"/>
              <a:gd name="connsiteY13491" fmla="*/ 535477 h 4596459"/>
              <a:gd name="connsiteX13492" fmla="*/ 4235557 w 4716235"/>
              <a:gd name="connsiteY13492" fmla="*/ 528209 h 4596459"/>
              <a:gd name="connsiteX13493" fmla="*/ 4246293 w 4716235"/>
              <a:gd name="connsiteY13493" fmla="*/ 538946 h 4596459"/>
              <a:gd name="connsiteX13494" fmla="*/ 4235557 w 4716235"/>
              <a:gd name="connsiteY13494" fmla="*/ 549682 h 4596459"/>
              <a:gd name="connsiteX13495" fmla="*/ 4224820 w 4716235"/>
              <a:gd name="connsiteY13495" fmla="*/ 538946 h 4596459"/>
              <a:gd name="connsiteX13496" fmla="*/ 4235557 w 4716235"/>
              <a:gd name="connsiteY13496" fmla="*/ 528209 h 4596459"/>
              <a:gd name="connsiteX13497" fmla="*/ 781120 w 4716235"/>
              <a:gd name="connsiteY13497" fmla="*/ 523749 h 4596459"/>
              <a:gd name="connsiteX13498" fmla="*/ 791859 w 4716235"/>
              <a:gd name="connsiteY13498" fmla="*/ 534485 h 4596459"/>
              <a:gd name="connsiteX13499" fmla="*/ 781120 w 4716235"/>
              <a:gd name="connsiteY13499" fmla="*/ 545223 h 4596459"/>
              <a:gd name="connsiteX13500" fmla="*/ 770384 w 4716235"/>
              <a:gd name="connsiteY13500" fmla="*/ 534485 h 4596459"/>
              <a:gd name="connsiteX13501" fmla="*/ 781120 w 4716235"/>
              <a:gd name="connsiteY13501" fmla="*/ 523749 h 4596459"/>
              <a:gd name="connsiteX13502" fmla="*/ 3523460 w 4716235"/>
              <a:gd name="connsiteY13502" fmla="*/ 522759 h 4596459"/>
              <a:gd name="connsiteX13503" fmla="*/ 3534198 w 4716235"/>
              <a:gd name="connsiteY13503" fmla="*/ 533495 h 4596459"/>
              <a:gd name="connsiteX13504" fmla="*/ 3523460 w 4716235"/>
              <a:gd name="connsiteY13504" fmla="*/ 544233 h 4596459"/>
              <a:gd name="connsiteX13505" fmla="*/ 3512723 w 4716235"/>
              <a:gd name="connsiteY13505" fmla="*/ 533495 h 4596459"/>
              <a:gd name="connsiteX13506" fmla="*/ 3523460 w 4716235"/>
              <a:gd name="connsiteY13506" fmla="*/ 522759 h 4596459"/>
              <a:gd name="connsiteX13507" fmla="*/ 4295683 w 4716235"/>
              <a:gd name="connsiteY13507" fmla="*/ 518298 h 4596459"/>
              <a:gd name="connsiteX13508" fmla="*/ 4306421 w 4716235"/>
              <a:gd name="connsiteY13508" fmla="*/ 529035 h 4596459"/>
              <a:gd name="connsiteX13509" fmla="*/ 4295683 w 4716235"/>
              <a:gd name="connsiteY13509" fmla="*/ 539773 h 4596459"/>
              <a:gd name="connsiteX13510" fmla="*/ 4284946 w 4716235"/>
              <a:gd name="connsiteY13510" fmla="*/ 529035 h 4596459"/>
              <a:gd name="connsiteX13511" fmla="*/ 4295683 w 4716235"/>
              <a:gd name="connsiteY13511" fmla="*/ 518298 h 4596459"/>
              <a:gd name="connsiteX13512" fmla="*/ 4360765 w 4716235"/>
              <a:gd name="connsiteY13512" fmla="*/ 515656 h 4596459"/>
              <a:gd name="connsiteX13513" fmla="*/ 4370594 w 4716235"/>
              <a:gd name="connsiteY13513" fmla="*/ 525483 h 4596459"/>
              <a:gd name="connsiteX13514" fmla="*/ 4377944 w 4716235"/>
              <a:gd name="connsiteY13514" fmla="*/ 518134 h 4596459"/>
              <a:gd name="connsiteX13515" fmla="*/ 4386204 w 4716235"/>
              <a:gd name="connsiteY13515" fmla="*/ 526394 h 4596459"/>
              <a:gd name="connsiteX13516" fmla="*/ 4391984 w 4716235"/>
              <a:gd name="connsiteY13516" fmla="*/ 520612 h 4596459"/>
              <a:gd name="connsiteX13517" fmla="*/ 4399829 w 4716235"/>
              <a:gd name="connsiteY13517" fmla="*/ 528457 h 4596459"/>
              <a:gd name="connsiteX13518" fmla="*/ 4406685 w 4716235"/>
              <a:gd name="connsiteY13518" fmla="*/ 521602 h 4596459"/>
              <a:gd name="connsiteX13519" fmla="*/ 4415274 w 4716235"/>
              <a:gd name="connsiteY13519" fmla="*/ 530192 h 4596459"/>
              <a:gd name="connsiteX13520" fmla="*/ 4425350 w 4716235"/>
              <a:gd name="connsiteY13520" fmla="*/ 520116 h 4596459"/>
              <a:gd name="connsiteX13521" fmla="*/ 4436088 w 4716235"/>
              <a:gd name="connsiteY13521" fmla="*/ 530852 h 4596459"/>
              <a:gd name="connsiteX13522" fmla="*/ 4425350 w 4716235"/>
              <a:gd name="connsiteY13522" fmla="*/ 541590 h 4596459"/>
              <a:gd name="connsiteX13523" fmla="*/ 4416760 w 4716235"/>
              <a:gd name="connsiteY13523" fmla="*/ 533001 h 4596459"/>
              <a:gd name="connsiteX13524" fmla="*/ 4406685 w 4716235"/>
              <a:gd name="connsiteY13524" fmla="*/ 543075 h 4596459"/>
              <a:gd name="connsiteX13525" fmla="*/ 4398839 w 4716235"/>
              <a:gd name="connsiteY13525" fmla="*/ 535229 h 4596459"/>
              <a:gd name="connsiteX13526" fmla="*/ 4391984 w 4716235"/>
              <a:gd name="connsiteY13526" fmla="*/ 542085 h 4596459"/>
              <a:gd name="connsiteX13527" fmla="*/ 4383726 w 4716235"/>
              <a:gd name="connsiteY13527" fmla="*/ 533826 h 4596459"/>
              <a:gd name="connsiteX13528" fmla="*/ 4377944 w 4716235"/>
              <a:gd name="connsiteY13528" fmla="*/ 539606 h 4596459"/>
              <a:gd name="connsiteX13529" fmla="*/ 4368116 w 4716235"/>
              <a:gd name="connsiteY13529" fmla="*/ 529779 h 4596459"/>
              <a:gd name="connsiteX13530" fmla="*/ 4360765 w 4716235"/>
              <a:gd name="connsiteY13530" fmla="*/ 537130 h 4596459"/>
              <a:gd name="connsiteX13531" fmla="*/ 4350029 w 4716235"/>
              <a:gd name="connsiteY13531" fmla="*/ 526392 h 4596459"/>
              <a:gd name="connsiteX13532" fmla="*/ 4360765 w 4716235"/>
              <a:gd name="connsiteY13532" fmla="*/ 515656 h 4596459"/>
              <a:gd name="connsiteX13533" fmla="*/ 4450459 w 4716235"/>
              <a:gd name="connsiteY13533" fmla="*/ 514995 h 4596459"/>
              <a:gd name="connsiteX13534" fmla="*/ 4461195 w 4716235"/>
              <a:gd name="connsiteY13534" fmla="*/ 525731 h 4596459"/>
              <a:gd name="connsiteX13535" fmla="*/ 4450459 w 4716235"/>
              <a:gd name="connsiteY13535" fmla="*/ 536469 h 4596459"/>
              <a:gd name="connsiteX13536" fmla="*/ 4439723 w 4716235"/>
              <a:gd name="connsiteY13536" fmla="*/ 525731 h 4596459"/>
              <a:gd name="connsiteX13537" fmla="*/ 4450459 w 4716235"/>
              <a:gd name="connsiteY13537" fmla="*/ 514995 h 4596459"/>
              <a:gd name="connsiteX13538" fmla="*/ 4335162 w 4716235"/>
              <a:gd name="connsiteY13538" fmla="*/ 514995 h 4596459"/>
              <a:gd name="connsiteX13539" fmla="*/ 4345898 w 4716235"/>
              <a:gd name="connsiteY13539" fmla="*/ 525731 h 4596459"/>
              <a:gd name="connsiteX13540" fmla="*/ 4335162 w 4716235"/>
              <a:gd name="connsiteY13540" fmla="*/ 536469 h 4596459"/>
              <a:gd name="connsiteX13541" fmla="*/ 4324425 w 4716235"/>
              <a:gd name="connsiteY13541" fmla="*/ 525731 h 4596459"/>
              <a:gd name="connsiteX13542" fmla="*/ 4335162 w 4716235"/>
              <a:gd name="connsiteY13542" fmla="*/ 514995 h 4596459"/>
              <a:gd name="connsiteX13543" fmla="*/ 2691442 w 4716235"/>
              <a:gd name="connsiteY13543" fmla="*/ 511030 h 4596459"/>
              <a:gd name="connsiteX13544" fmla="*/ 2702180 w 4716235"/>
              <a:gd name="connsiteY13544" fmla="*/ 521767 h 4596459"/>
              <a:gd name="connsiteX13545" fmla="*/ 2691442 w 4716235"/>
              <a:gd name="connsiteY13545" fmla="*/ 532503 h 4596459"/>
              <a:gd name="connsiteX13546" fmla="*/ 2680705 w 4716235"/>
              <a:gd name="connsiteY13546" fmla="*/ 521767 h 4596459"/>
              <a:gd name="connsiteX13547" fmla="*/ 2691442 w 4716235"/>
              <a:gd name="connsiteY13547" fmla="*/ 511030 h 4596459"/>
              <a:gd name="connsiteX13548" fmla="*/ 4087225 w 4716235"/>
              <a:gd name="connsiteY13548" fmla="*/ 510699 h 4596459"/>
              <a:gd name="connsiteX13549" fmla="*/ 4097963 w 4716235"/>
              <a:gd name="connsiteY13549" fmla="*/ 521436 h 4596459"/>
              <a:gd name="connsiteX13550" fmla="*/ 4087225 w 4716235"/>
              <a:gd name="connsiteY13550" fmla="*/ 532174 h 4596459"/>
              <a:gd name="connsiteX13551" fmla="*/ 4076488 w 4716235"/>
              <a:gd name="connsiteY13551" fmla="*/ 521436 h 4596459"/>
              <a:gd name="connsiteX13552" fmla="*/ 4087225 w 4716235"/>
              <a:gd name="connsiteY13552" fmla="*/ 510699 h 4596459"/>
              <a:gd name="connsiteX13553" fmla="*/ 3858943 w 4716235"/>
              <a:gd name="connsiteY13553" fmla="*/ 506405 h 4596459"/>
              <a:gd name="connsiteX13554" fmla="*/ 3869682 w 4716235"/>
              <a:gd name="connsiteY13554" fmla="*/ 517142 h 4596459"/>
              <a:gd name="connsiteX13555" fmla="*/ 3858943 w 4716235"/>
              <a:gd name="connsiteY13555" fmla="*/ 527878 h 4596459"/>
              <a:gd name="connsiteX13556" fmla="*/ 3848207 w 4716235"/>
              <a:gd name="connsiteY13556" fmla="*/ 517142 h 4596459"/>
              <a:gd name="connsiteX13557" fmla="*/ 3858943 w 4716235"/>
              <a:gd name="connsiteY13557" fmla="*/ 506405 h 4596459"/>
              <a:gd name="connsiteX13558" fmla="*/ 105034 w 4716235"/>
              <a:gd name="connsiteY13558" fmla="*/ 503763 h 4596459"/>
              <a:gd name="connsiteX13559" fmla="*/ 115772 w 4716235"/>
              <a:gd name="connsiteY13559" fmla="*/ 514499 h 4596459"/>
              <a:gd name="connsiteX13560" fmla="*/ 105034 w 4716235"/>
              <a:gd name="connsiteY13560" fmla="*/ 525237 h 4596459"/>
              <a:gd name="connsiteX13561" fmla="*/ 94297 w 4716235"/>
              <a:gd name="connsiteY13561" fmla="*/ 514499 h 4596459"/>
              <a:gd name="connsiteX13562" fmla="*/ 105034 w 4716235"/>
              <a:gd name="connsiteY13562" fmla="*/ 503763 h 4596459"/>
              <a:gd name="connsiteX13563" fmla="*/ 4462021 w 4716235"/>
              <a:gd name="connsiteY13563" fmla="*/ 497651 h 4596459"/>
              <a:gd name="connsiteX13564" fmla="*/ 4462515 w 4716235"/>
              <a:gd name="connsiteY13564" fmla="*/ 498147 h 4596459"/>
              <a:gd name="connsiteX13565" fmla="*/ 4462021 w 4716235"/>
              <a:gd name="connsiteY13565" fmla="*/ 498643 h 4596459"/>
              <a:gd name="connsiteX13566" fmla="*/ 4461525 w 4716235"/>
              <a:gd name="connsiteY13566" fmla="*/ 498147 h 4596459"/>
              <a:gd name="connsiteX13567" fmla="*/ 4462021 w 4716235"/>
              <a:gd name="connsiteY13567" fmla="*/ 497651 h 4596459"/>
              <a:gd name="connsiteX13568" fmla="*/ 973888 w 4716235"/>
              <a:gd name="connsiteY13568" fmla="*/ 497155 h 4596459"/>
              <a:gd name="connsiteX13569" fmla="*/ 984626 w 4716235"/>
              <a:gd name="connsiteY13569" fmla="*/ 507892 h 4596459"/>
              <a:gd name="connsiteX13570" fmla="*/ 973888 w 4716235"/>
              <a:gd name="connsiteY13570" fmla="*/ 518630 h 4596459"/>
              <a:gd name="connsiteX13571" fmla="*/ 963151 w 4716235"/>
              <a:gd name="connsiteY13571" fmla="*/ 507892 h 4596459"/>
              <a:gd name="connsiteX13572" fmla="*/ 973888 w 4716235"/>
              <a:gd name="connsiteY13572" fmla="*/ 497155 h 4596459"/>
              <a:gd name="connsiteX13573" fmla="*/ 4430967 w 4716235"/>
              <a:gd name="connsiteY13573" fmla="*/ 494181 h 4596459"/>
              <a:gd name="connsiteX13574" fmla="*/ 4441705 w 4716235"/>
              <a:gd name="connsiteY13574" fmla="*/ 504917 h 4596459"/>
              <a:gd name="connsiteX13575" fmla="*/ 4430967 w 4716235"/>
              <a:gd name="connsiteY13575" fmla="*/ 515656 h 4596459"/>
              <a:gd name="connsiteX13576" fmla="*/ 4420230 w 4716235"/>
              <a:gd name="connsiteY13576" fmla="*/ 504917 h 4596459"/>
              <a:gd name="connsiteX13577" fmla="*/ 4430967 w 4716235"/>
              <a:gd name="connsiteY13577" fmla="*/ 494181 h 4596459"/>
              <a:gd name="connsiteX13578" fmla="*/ 4189471 w 4716235"/>
              <a:gd name="connsiteY13578" fmla="*/ 491540 h 4596459"/>
              <a:gd name="connsiteX13579" fmla="*/ 4200209 w 4716235"/>
              <a:gd name="connsiteY13579" fmla="*/ 502276 h 4596459"/>
              <a:gd name="connsiteX13580" fmla="*/ 4189471 w 4716235"/>
              <a:gd name="connsiteY13580" fmla="*/ 513013 h 4596459"/>
              <a:gd name="connsiteX13581" fmla="*/ 4178734 w 4716235"/>
              <a:gd name="connsiteY13581" fmla="*/ 502276 h 4596459"/>
              <a:gd name="connsiteX13582" fmla="*/ 4189471 w 4716235"/>
              <a:gd name="connsiteY13582" fmla="*/ 491540 h 4596459"/>
              <a:gd name="connsiteX13583" fmla="*/ 4359277 w 4716235"/>
              <a:gd name="connsiteY13583" fmla="*/ 487244 h 4596459"/>
              <a:gd name="connsiteX13584" fmla="*/ 4369519 w 4716235"/>
              <a:gd name="connsiteY13584" fmla="*/ 497485 h 4596459"/>
              <a:gd name="connsiteX13585" fmla="*/ 4374970 w 4716235"/>
              <a:gd name="connsiteY13585" fmla="*/ 492034 h 4596459"/>
              <a:gd name="connsiteX13586" fmla="*/ 4384303 w 4716235"/>
              <a:gd name="connsiteY13586" fmla="*/ 501368 h 4596459"/>
              <a:gd name="connsiteX13587" fmla="*/ 4390002 w 4716235"/>
              <a:gd name="connsiteY13587" fmla="*/ 495669 h 4596459"/>
              <a:gd name="connsiteX13588" fmla="*/ 4399335 w 4716235"/>
              <a:gd name="connsiteY13588" fmla="*/ 505002 h 4596459"/>
              <a:gd name="connsiteX13589" fmla="*/ 4407677 w 4716235"/>
              <a:gd name="connsiteY13589" fmla="*/ 496659 h 4596459"/>
              <a:gd name="connsiteX13590" fmla="*/ 4418415 w 4716235"/>
              <a:gd name="connsiteY13590" fmla="*/ 507396 h 4596459"/>
              <a:gd name="connsiteX13591" fmla="*/ 4407677 w 4716235"/>
              <a:gd name="connsiteY13591" fmla="*/ 518134 h 4596459"/>
              <a:gd name="connsiteX13592" fmla="*/ 4398343 w 4716235"/>
              <a:gd name="connsiteY13592" fmla="*/ 508800 h 4596459"/>
              <a:gd name="connsiteX13593" fmla="*/ 4390002 w 4716235"/>
              <a:gd name="connsiteY13593" fmla="*/ 517142 h 4596459"/>
              <a:gd name="connsiteX13594" fmla="*/ 4380668 w 4716235"/>
              <a:gd name="connsiteY13594" fmla="*/ 507808 h 4596459"/>
              <a:gd name="connsiteX13595" fmla="*/ 4374970 w 4716235"/>
              <a:gd name="connsiteY13595" fmla="*/ 513509 h 4596459"/>
              <a:gd name="connsiteX13596" fmla="*/ 4364729 w 4716235"/>
              <a:gd name="connsiteY13596" fmla="*/ 503267 h 4596459"/>
              <a:gd name="connsiteX13597" fmla="*/ 4359277 w 4716235"/>
              <a:gd name="connsiteY13597" fmla="*/ 508719 h 4596459"/>
              <a:gd name="connsiteX13598" fmla="*/ 4348541 w 4716235"/>
              <a:gd name="connsiteY13598" fmla="*/ 497981 h 4596459"/>
              <a:gd name="connsiteX13599" fmla="*/ 4359277 w 4716235"/>
              <a:gd name="connsiteY13599" fmla="*/ 487244 h 4596459"/>
              <a:gd name="connsiteX13600" fmla="*/ 3393793 w 4716235"/>
              <a:gd name="connsiteY13600" fmla="*/ 487080 h 4596459"/>
              <a:gd name="connsiteX13601" fmla="*/ 3404529 w 4716235"/>
              <a:gd name="connsiteY13601" fmla="*/ 497816 h 4596459"/>
              <a:gd name="connsiteX13602" fmla="*/ 3393793 w 4716235"/>
              <a:gd name="connsiteY13602" fmla="*/ 508554 h 4596459"/>
              <a:gd name="connsiteX13603" fmla="*/ 3383057 w 4716235"/>
              <a:gd name="connsiteY13603" fmla="*/ 497816 h 4596459"/>
              <a:gd name="connsiteX13604" fmla="*/ 3393793 w 4716235"/>
              <a:gd name="connsiteY13604" fmla="*/ 487080 h 4596459"/>
              <a:gd name="connsiteX13605" fmla="*/ 2492895 w 4716235"/>
              <a:gd name="connsiteY13605" fmla="*/ 485923 h 4596459"/>
              <a:gd name="connsiteX13606" fmla="*/ 2503633 w 4716235"/>
              <a:gd name="connsiteY13606" fmla="*/ 496659 h 4596459"/>
              <a:gd name="connsiteX13607" fmla="*/ 2492895 w 4716235"/>
              <a:gd name="connsiteY13607" fmla="*/ 507397 h 4596459"/>
              <a:gd name="connsiteX13608" fmla="*/ 2482159 w 4716235"/>
              <a:gd name="connsiteY13608" fmla="*/ 496659 h 4596459"/>
              <a:gd name="connsiteX13609" fmla="*/ 2492895 w 4716235"/>
              <a:gd name="connsiteY13609" fmla="*/ 485923 h 4596459"/>
              <a:gd name="connsiteX13610" fmla="*/ 4338465 w 4716235"/>
              <a:gd name="connsiteY13610" fmla="*/ 482784 h 4596459"/>
              <a:gd name="connsiteX13611" fmla="*/ 4349202 w 4716235"/>
              <a:gd name="connsiteY13611" fmla="*/ 493521 h 4596459"/>
              <a:gd name="connsiteX13612" fmla="*/ 4338465 w 4716235"/>
              <a:gd name="connsiteY13612" fmla="*/ 504257 h 4596459"/>
              <a:gd name="connsiteX13613" fmla="*/ 4327729 w 4716235"/>
              <a:gd name="connsiteY13613" fmla="*/ 493521 h 4596459"/>
              <a:gd name="connsiteX13614" fmla="*/ 4338465 w 4716235"/>
              <a:gd name="connsiteY13614" fmla="*/ 482784 h 4596459"/>
              <a:gd name="connsiteX13615" fmla="*/ 4260168 w 4716235"/>
              <a:gd name="connsiteY13615" fmla="*/ 482455 h 4596459"/>
              <a:gd name="connsiteX13616" fmla="*/ 4270906 w 4716235"/>
              <a:gd name="connsiteY13616" fmla="*/ 493191 h 4596459"/>
              <a:gd name="connsiteX13617" fmla="*/ 4260168 w 4716235"/>
              <a:gd name="connsiteY13617" fmla="*/ 503929 h 4596459"/>
              <a:gd name="connsiteX13618" fmla="*/ 4249432 w 4716235"/>
              <a:gd name="connsiteY13618" fmla="*/ 493191 h 4596459"/>
              <a:gd name="connsiteX13619" fmla="*/ 4260168 w 4716235"/>
              <a:gd name="connsiteY13619" fmla="*/ 482455 h 4596459"/>
              <a:gd name="connsiteX13620" fmla="*/ 4307411 w 4716235"/>
              <a:gd name="connsiteY13620" fmla="*/ 480308 h 4596459"/>
              <a:gd name="connsiteX13621" fmla="*/ 4318147 w 4716235"/>
              <a:gd name="connsiteY13621" fmla="*/ 491044 h 4596459"/>
              <a:gd name="connsiteX13622" fmla="*/ 4307411 w 4716235"/>
              <a:gd name="connsiteY13622" fmla="*/ 501780 h 4596459"/>
              <a:gd name="connsiteX13623" fmla="*/ 4296675 w 4716235"/>
              <a:gd name="connsiteY13623" fmla="*/ 491044 h 4596459"/>
              <a:gd name="connsiteX13624" fmla="*/ 4307411 w 4716235"/>
              <a:gd name="connsiteY13624" fmla="*/ 480308 h 4596459"/>
              <a:gd name="connsiteX13625" fmla="*/ 1178546 w 4716235"/>
              <a:gd name="connsiteY13625" fmla="*/ 474361 h 4596459"/>
              <a:gd name="connsiteX13626" fmla="*/ 1189284 w 4716235"/>
              <a:gd name="connsiteY13626" fmla="*/ 485097 h 4596459"/>
              <a:gd name="connsiteX13627" fmla="*/ 1178546 w 4716235"/>
              <a:gd name="connsiteY13627" fmla="*/ 495836 h 4596459"/>
              <a:gd name="connsiteX13628" fmla="*/ 1167809 w 4716235"/>
              <a:gd name="connsiteY13628" fmla="*/ 485097 h 4596459"/>
              <a:gd name="connsiteX13629" fmla="*/ 1178546 w 4716235"/>
              <a:gd name="connsiteY13629" fmla="*/ 474361 h 4596459"/>
              <a:gd name="connsiteX13630" fmla="*/ 4020492 w 4716235"/>
              <a:gd name="connsiteY13630" fmla="*/ 472873 h 4596459"/>
              <a:gd name="connsiteX13631" fmla="*/ 4031228 w 4716235"/>
              <a:gd name="connsiteY13631" fmla="*/ 483610 h 4596459"/>
              <a:gd name="connsiteX13632" fmla="*/ 4020492 w 4716235"/>
              <a:gd name="connsiteY13632" fmla="*/ 494348 h 4596459"/>
              <a:gd name="connsiteX13633" fmla="*/ 4009755 w 4716235"/>
              <a:gd name="connsiteY13633" fmla="*/ 483610 h 4596459"/>
              <a:gd name="connsiteX13634" fmla="*/ 4020492 w 4716235"/>
              <a:gd name="connsiteY13634" fmla="*/ 472873 h 4596459"/>
              <a:gd name="connsiteX13635" fmla="*/ 4411806 w 4716235"/>
              <a:gd name="connsiteY13635" fmla="*/ 472212 h 4596459"/>
              <a:gd name="connsiteX13636" fmla="*/ 4422544 w 4716235"/>
              <a:gd name="connsiteY13636" fmla="*/ 482949 h 4596459"/>
              <a:gd name="connsiteX13637" fmla="*/ 4411806 w 4716235"/>
              <a:gd name="connsiteY13637" fmla="*/ 493685 h 4596459"/>
              <a:gd name="connsiteX13638" fmla="*/ 4401069 w 4716235"/>
              <a:gd name="connsiteY13638" fmla="*/ 482949 h 4596459"/>
              <a:gd name="connsiteX13639" fmla="*/ 4411806 w 4716235"/>
              <a:gd name="connsiteY13639" fmla="*/ 472212 h 4596459"/>
              <a:gd name="connsiteX13640" fmla="*/ 4440713 w 4716235"/>
              <a:gd name="connsiteY13640" fmla="*/ 469075 h 4596459"/>
              <a:gd name="connsiteX13641" fmla="*/ 4450457 w 4716235"/>
              <a:gd name="connsiteY13641" fmla="*/ 478822 h 4596459"/>
              <a:gd name="connsiteX13642" fmla="*/ 4440713 w 4716235"/>
              <a:gd name="connsiteY13642" fmla="*/ 488568 h 4596459"/>
              <a:gd name="connsiteX13643" fmla="*/ 4430967 w 4716235"/>
              <a:gd name="connsiteY13643" fmla="*/ 478822 h 4596459"/>
              <a:gd name="connsiteX13644" fmla="*/ 4440713 w 4716235"/>
              <a:gd name="connsiteY13644" fmla="*/ 469075 h 4596459"/>
              <a:gd name="connsiteX13645" fmla="*/ 3764460 w 4716235"/>
              <a:gd name="connsiteY13645" fmla="*/ 468744 h 4596459"/>
              <a:gd name="connsiteX13646" fmla="*/ 3775196 w 4716235"/>
              <a:gd name="connsiteY13646" fmla="*/ 479480 h 4596459"/>
              <a:gd name="connsiteX13647" fmla="*/ 3764460 w 4716235"/>
              <a:gd name="connsiteY13647" fmla="*/ 490219 h 4596459"/>
              <a:gd name="connsiteX13648" fmla="*/ 3753723 w 4716235"/>
              <a:gd name="connsiteY13648" fmla="*/ 479480 h 4596459"/>
              <a:gd name="connsiteX13649" fmla="*/ 3764460 w 4716235"/>
              <a:gd name="connsiteY13649" fmla="*/ 468744 h 4596459"/>
              <a:gd name="connsiteX13650" fmla="*/ 4372658 w 4716235"/>
              <a:gd name="connsiteY13650" fmla="*/ 468248 h 4596459"/>
              <a:gd name="connsiteX13651" fmla="*/ 4383231 w 4716235"/>
              <a:gd name="connsiteY13651" fmla="*/ 478820 h 4596459"/>
              <a:gd name="connsiteX13652" fmla="*/ 4390002 w 4716235"/>
              <a:gd name="connsiteY13652" fmla="*/ 472048 h 4596459"/>
              <a:gd name="connsiteX13653" fmla="*/ 4400738 w 4716235"/>
              <a:gd name="connsiteY13653" fmla="*/ 482784 h 4596459"/>
              <a:gd name="connsiteX13654" fmla="*/ 4390002 w 4716235"/>
              <a:gd name="connsiteY13654" fmla="*/ 493521 h 4596459"/>
              <a:gd name="connsiteX13655" fmla="*/ 4379432 w 4716235"/>
              <a:gd name="connsiteY13655" fmla="*/ 482951 h 4596459"/>
              <a:gd name="connsiteX13656" fmla="*/ 4372658 w 4716235"/>
              <a:gd name="connsiteY13656" fmla="*/ 489723 h 4596459"/>
              <a:gd name="connsiteX13657" fmla="*/ 4361922 w 4716235"/>
              <a:gd name="connsiteY13657" fmla="*/ 478984 h 4596459"/>
              <a:gd name="connsiteX13658" fmla="*/ 4372658 w 4716235"/>
              <a:gd name="connsiteY13658" fmla="*/ 468248 h 4596459"/>
              <a:gd name="connsiteX13659" fmla="*/ 240812 w 4716235"/>
              <a:gd name="connsiteY13659" fmla="*/ 468083 h 4596459"/>
              <a:gd name="connsiteX13660" fmla="*/ 251550 w 4716235"/>
              <a:gd name="connsiteY13660" fmla="*/ 478820 h 4596459"/>
              <a:gd name="connsiteX13661" fmla="*/ 240812 w 4716235"/>
              <a:gd name="connsiteY13661" fmla="*/ 489556 h 4596459"/>
              <a:gd name="connsiteX13662" fmla="*/ 230076 w 4716235"/>
              <a:gd name="connsiteY13662" fmla="*/ 478820 h 4596459"/>
              <a:gd name="connsiteX13663" fmla="*/ 240812 w 4716235"/>
              <a:gd name="connsiteY13663" fmla="*/ 468083 h 4596459"/>
              <a:gd name="connsiteX13664" fmla="*/ 2283280 w 4716235"/>
              <a:gd name="connsiteY13664" fmla="*/ 465772 h 4596459"/>
              <a:gd name="connsiteX13665" fmla="*/ 2294018 w 4716235"/>
              <a:gd name="connsiteY13665" fmla="*/ 476508 h 4596459"/>
              <a:gd name="connsiteX13666" fmla="*/ 2283280 w 4716235"/>
              <a:gd name="connsiteY13666" fmla="*/ 487244 h 4596459"/>
              <a:gd name="connsiteX13667" fmla="*/ 2272544 w 4716235"/>
              <a:gd name="connsiteY13667" fmla="*/ 476508 h 4596459"/>
              <a:gd name="connsiteX13668" fmla="*/ 2283280 w 4716235"/>
              <a:gd name="connsiteY13668" fmla="*/ 465772 h 4596459"/>
              <a:gd name="connsiteX13669" fmla="*/ 4356801 w 4716235"/>
              <a:gd name="connsiteY13669" fmla="*/ 462302 h 4596459"/>
              <a:gd name="connsiteX13670" fmla="*/ 4367537 w 4716235"/>
              <a:gd name="connsiteY13670" fmla="*/ 473038 h 4596459"/>
              <a:gd name="connsiteX13671" fmla="*/ 4356801 w 4716235"/>
              <a:gd name="connsiteY13671" fmla="*/ 483776 h 4596459"/>
              <a:gd name="connsiteX13672" fmla="*/ 4346064 w 4716235"/>
              <a:gd name="connsiteY13672" fmla="*/ 473038 h 4596459"/>
              <a:gd name="connsiteX13673" fmla="*/ 4356801 w 4716235"/>
              <a:gd name="connsiteY13673" fmla="*/ 462302 h 4596459"/>
              <a:gd name="connsiteX13674" fmla="*/ 1393282 w 4716235"/>
              <a:gd name="connsiteY13674" fmla="*/ 457347 h 4596459"/>
              <a:gd name="connsiteX13675" fmla="*/ 1404020 w 4716235"/>
              <a:gd name="connsiteY13675" fmla="*/ 468083 h 4596459"/>
              <a:gd name="connsiteX13676" fmla="*/ 1393282 w 4716235"/>
              <a:gd name="connsiteY13676" fmla="*/ 478820 h 4596459"/>
              <a:gd name="connsiteX13677" fmla="*/ 1382545 w 4716235"/>
              <a:gd name="connsiteY13677" fmla="*/ 468083 h 4596459"/>
              <a:gd name="connsiteX13678" fmla="*/ 1393282 w 4716235"/>
              <a:gd name="connsiteY13678" fmla="*/ 457347 h 4596459"/>
              <a:gd name="connsiteX13679" fmla="*/ 4338796 w 4716235"/>
              <a:gd name="connsiteY13679" fmla="*/ 455198 h 4596459"/>
              <a:gd name="connsiteX13680" fmla="*/ 4349533 w 4716235"/>
              <a:gd name="connsiteY13680" fmla="*/ 465935 h 4596459"/>
              <a:gd name="connsiteX13681" fmla="*/ 4338796 w 4716235"/>
              <a:gd name="connsiteY13681" fmla="*/ 476673 h 4596459"/>
              <a:gd name="connsiteX13682" fmla="*/ 4328060 w 4716235"/>
              <a:gd name="connsiteY13682" fmla="*/ 465935 h 4596459"/>
              <a:gd name="connsiteX13683" fmla="*/ 4338796 w 4716235"/>
              <a:gd name="connsiteY13683" fmla="*/ 455198 h 4596459"/>
              <a:gd name="connsiteX13684" fmla="*/ 4137605 w 4716235"/>
              <a:gd name="connsiteY13684" fmla="*/ 453712 h 4596459"/>
              <a:gd name="connsiteX13685" fmla="*/ 4148341 w 4716235"/>
              <a:gd name="connsiteY13685" fmla="*/ 464448 h 4596459"/>
              <a:gd name="connsiteX13686" fmla="*/ 4137605 w 4716235"/>
              <a:gd name="connsiteY13686" fmla="*/ 475187 h 4596459"/>
              <a:gd name="connsiteX13687" fmla="*/ 4126868 w 4716235"/>
              <a:gd name="connsiteY13687" fmla="*/ 464448 h 4596459"/>
              <a:gd name="connsiteX13688" fmla="*/ 4137605 w 4716235"/>
              <a:gd name="connsiteY13688" fmla="*/ 453712 h 4596459"/>
              <a:gd name="connsiteX13689" fmla="*/ 2064745 w 4716235"/>
              <a:gd name="connsiteY13689" fmla="*/ 451730 h 4596459"/>
              <a:gd name="connsiteX13690" fmla="*/ 2075481 w 4716235"/>
              <a:gd name="connsiteY13690" fmla="*/ 462466 h 4596459"/>
              <a:gd name="connsiteX13691" fmla="*/ 2064745 w 4716235"/>
              <a:gd name="connsiteY13691" fmla="*/ 473204 h 4596459"/>
              <a:gd name="connsiteX13692" fmla="*/ 2054008 w 4716235"/>
              <a:gd name="connsiteY13692" fmla="*/ 462466 h 4596459"/>
              <a:gd name="connsiteX13693" fmla="*/ 2064745 w 4716235"/>
              <a:gd name="connsiteY13693" fmla="*/ 451730 h 4596459"/>
              <a:gd name="connsiteX13694" fmla="*/ 3252562 w 4716235"/>
              <a:gd name="connsiteY13694" fmla="*/ 451565 h 4596459"/>
              <a:gd name="connsiteX13695" fmla="*/ 3263300 w 4716235"/>
              <a:gd name="connsiteY13695" fmla="*/ 462302 h 4596459"/>
              <a:gd name="connsiteX13696" fmla="*/ 3252562 w 4716235"/>
              <a:gd name="connsiteY13696" fmla="*/ 473038 h 4596459"/>
              <a:gd name="connsiteX13697" fmla="*/ 3241826 w 4716235"/>
              <a:gd name="connsiteY13697" fmla="*/ 462302 h 4596459"/>
              <a:gd name="connsiteX13698" fmla="*/ 3252562 w 4716235"/>
              <a:gd name="connsiteY13698" fmla="*/ 451565 h 4596459"/>
              <a:gd name="connsiteX13699" fmla="*/ 4392809 w 4716235"/>
              <a:gd name="connsiteY13699" fmla="*/ 448922 h 4596459"/>
              <a:gd name="connsiteX13700" fmla="*/ 4403547 w 4716235"/>
              <a:gd name="connsiteY13700" fmla="*/ 459659 h 4596459"/>
              <a:gd name="connsiteX13701" fmla="*/ 4392809 w 4716235"/>
              <a:gd name="connsiteY13701" fmla="*/ 470397 h 4596459"/>
              <a:gd name="connsiteX13702" fmla="*/ 4382073 w 4716235"/>
              <a:gd name="connsiteY13702" fmla="*/ 459659 h 4596459"/>
              <a:gd name="connsiteX13703" fmla="*/ 4392809 w 4716235"/>
              <a:gd name="connsiteY13703" fmla="*/ 448922 h 4596459"/>
              <a:gd name="connsiteX13704" fmla="*/ 4313854 w 4716235"/>
              <a:gd name="connsiteY13704" fmla="*/ 448593 h 4596459"/>
              <a:gd name="connsiteX13705" fmla="*/ 4324592 w 4716235"/>
              <a:gd name="connsiteY13705" fmla="*/ 459329 h 4596459"/>
              <a:gd name="connsiteX13706" fmla="*/ 4313854 w 4716235"/>
              <a:gd name="connsiteY13706" fmla="*/ 470066 h 4596459"/>
              <a:gd name="connsiteX13707" fmla="*/ 4303117 w 4716235"/>
              <a:gd name="connsiteY13707" fmla="*/ 459329 h 4596459"/>
              <a:gd name="connsiteX13708" fmla="*/ 4313854 w 4716235"/>
              <a:gd name="connsiteY13708" fmla="*/ 448593 h 4596459"/>
              <a:gd name="connsiteX13709" fmla="*/ 4419734 w 4716235"/>
              <a:gd name="connsiteY13709" fmla="*/ 447601 h 4596459"/>
              <a:gd name="connsiteX13710" fmla="*/ 4430471 w 4716235"/>
              <a:gd name="connsiteY13710" fmla="*/ 458337 h 4596459"/>
              <a:gd name="connsiteX13711" fmla="*/ 4419734 w 4716235"/>
              <a:gd name="connsiteY13711" fmla="*/ 469075 h 4596459"/>
              <a:gd name="connsiteX13712" fmla="*/ 4408998 w 4716235"/>
              <a:gd name="connsiteY13712" fmla="*/ 458337 h 4596459"/>
              <a:gd name="connsiteX13713" fmla="*/ 4419734 w 4716235"/>
              <a:gd name="connsiteY13713" fmla="*/ 447601 h 4596459"/>
              <a:gd name="connsiteX13714" fmla="*/ 1615285 w 4716235"/>
              <a:gd name="connsiteY13714" fmla="*/ 447271 h 4596459"/>
              <a:gd name="connsiteX13715" fmla="*/ 1626023 w 4716235"/>
              <a:gd name="connsiteY13715" fmla="*/ 458008 h 4596459"/>
              <a:gd name="connsiteX13716" fmla="*/ 1615285 w 4716235"/>
              <a:gd name="connsiteY13716" fmla="*/ 468744 h 4596459"/>
              <a:gd name="connsiteX13717" fmla="*/ 1604549 w 4716235"/>
              <a:gd name="connsiteY13717" fmla="*/ 458008 h 4596459"/>
              <a:gd name="connsiteX13718" fmla="*/ 1615285 w 4716235"/>
              <a:gd name="connsiteY13718" fmla="*/ 447271 h 4596459"/>
              <a:gd name="connsiteX13719" fmla="*/ 4371997 w 4716235"/>
              <a:gd name="connsiteY13719" fmla="*/ 445948 h 4596459"/>
              <a:gd name="connsiteX13720" fmla="*/ 4382734 w 4716235"/>
              <a:gd name="connsiteY13720" fmla="*/ 456685 h 4596459"/>
              <a:gd name="connsiteX13721" fmla="*/ 4371997 w 4716235"/>
              <a:gd name="connsiteY13721" fmla="*/ 467423 h 4596459"/>
              <a:gd name="connsiteX13722" fmla="*/ 4361261 w 4716235"/>
              <a:gd name="connsiteY13722" fmla="*/ 456685 h 4596459"/>
              <a:gd name="connsiteX13723" fmla="*/ 4371997 w 4716235"/>
              <a:gd name="connsiteY13723" fmla="*/ 445948 h 4596459"/>
              <a:gd name="connsiteX13724" fmla="*/ 4220195 w 4716235"/>
              <a:gd name="connsiteY13724" fmla="*/ 445288 h 4596459"/>
              <a:gd name="connsiteX13725" fmla="*/ 4230932 w 4716235"/>
              <a:gd name="connsiteY13725" fmla="*/ 456024 h 4596459"/>
              <a:gd name="connsiteX13726" fmla="*/ 4220195 w 4716235"/>
              <a:gd name="connsiteY13726" fmla="*/ 466762 h 4596459"/>
              <a:gd name="connsiteX13727" fmla="*/ 4209459 w 4716235"/>
              <a:gd name="connsiteY13727" fmla="*/ 456024 h 4596459"/>
              <a:gd name="connsiteX13728" fmla="*/ 4220195 w 4716235"/>
              <a:gd name="connsiteY13728" fmla="*/ 445288 h 4596459"/>
              <a:gd name="connsiteX13729" fmla="*/ 1840593 w 4716235"/>
              <a:gd name="connsiteY13729" fmla="*/ 445288 h 4596459"/>
              <a:gd name="connsiteX13730" fmla="*/ 1851331 w 4716235"/>
              <a:gd name="connsiteY13730" fmla="*/ 456024 h 4596459"/>
              <a:gd name="connsiteX13731" fmla="*/ 1840593 w 4716235"/>
              <a:gd name="connsiteY13731" fmla="*/ 466762 h 4596459"/>
              <a:gd name="connsiteX13732" fmla="*/ 1829856 w 4716235"/>
              <a:gd name="connsiteY13732" fmla="*/ 456024 h 4596459"/>
              <a:gd name="connsiteX13733" fmla="*/ 1840593 w 4716235"/>
              <a:gd name="connsiteY13733" fmla="*/ 445288 h 4596459"/>
              <a:gd name="connsiteX13734" fmla="*/ 4276357 w 4716235"/>
              <a:gd name="connsiteY13734" fmla="*/ 444462 h 4596459"/>
              <a:gd name="connsiteX13735" fmla="*/ 4287093 w 4716235"/>
              <a:gd name="connsiteY13735" fmla="*/ 455198 h 4596459"/>
              <a:gd name="connsiteX13736" fmla="*/ 4276357 w 4716235"/>
              <a:gd name="connsiteY13736" fmla="*/ 465935 h 4596459"/>
              <a:gd name="connsiteX13737" fmla="*/ 4265621 w 4716235"/>
              <a:gd name="connsiteY13737" fmla="*/ 455198 h 4596459"/>
              <a:gd name="connsiteX13738" fmla="*/ 4276357 w 4716235"/>
              <a:gd name="connsiteY13738" fmla="*/ 444462 h 4596459"/>
              <a:gd name="connsiteX13739" fmla="*/ 4354652 w 4716235"/>
              <a:gd name="connsiteY13739" fmla="*/ 439672 h 4596459"/>
              <a:gd name="connsiteX13740" fmla="*/ 4365390 w 4716235"/>
              <a:gd name="connsiteY13740" fmla="*/ 450409 h 4596459"/>
              <a:gd name="connsiteX13741" fmla="*/ 4354652 w 4716235"/>
              <a:gd name="connsiteY13741" fmla="*/ 461145 h 4596459"/>
              <a:gd name="connsiteX13742" fmla="*/ 4343916 w 4716235"/>
              <a:gd name="connsiteY13742" fmla="*/ 450409 h 4596459"/>
              <a:gd name="connsiteX13743" fmla="*/ 4354652 w 4716235"/>
              <a:gd name="connsiteY13743" fmla="*/ 439672 h 4596459"/>
              <a:gd name="connsiteX13744" fmla="*/ 3946159 w 4716235"/>
              <a:gd name="connsiteY13744" fmla="*/ 434055 h 4596459"/>
              <a:gd name="connsiteX13745" fmla="*/ 3956895 w 4716235"/>
              <a:gd name="connsiteY13745" fmla="*/ 444791 h 4596459"/>
              <a:gd name="connsiteX13746" fmla="*/ 3946159 w 4716235"/>
              <a:gd name="connsiteY13746" fmla="*/ 455530 h 4596459"/>
              <a:gd name="connsiteX13747" fmla="*/ 3935423 w 4716235"/>
              <a:gd name="connsiteY13747" fmla="*/ 444791 h 4596459"/>
              <a:gd name="connsiteX13748" fmla="*/ 3946159 w 4716235"/>
              <a:gd name="connsiteY13748" fmla="*/ 434055 h 4596459"/>
              <a:gd name="connsiteX13749" fmla="*/ 388485 w 4716235"/>
              <a:gd name="connsiteY13749" fmla="*/ 432900 h 4596459"/>
              <a:gd name="connsiteX13750" fmla="*/ 399221 w 4716235"/>
              <a:gd name="connsiteY13750" fmla="*/ 443637 h 4596459"/>
              <a:gd name="connsiteX13751" fmla="*/ 388485 w 4716235"/>
              <a:gd name="connsiteY13751" fmla="*/ 454375 h 4596459"/>
              <a:gd name="connsiteX13752" fmla="*/ 377749 w 4716235"/>
              <a:gd name="connsiteY13752" fmla="*/ 443637 h 4596459"/>
              <a:gd name="connsiteX13753" fmla="*/ 388485 w 4716235"/>
              <a:gd name="connsiteY13753" fmla="*/ 432900 h 4596459"/>
              <a:gd name="connsiteX13754" fmla="*/ 4431794 w 4716235"/>
              <a:gd name="connsiteY13754" fmla="*/ 432569 h 4596459"/>
              <a:gd name="connsiteX13755" fmla="*/ 4432288 w 4716235"/>
              <a:gd name="connsiteY13755" fmla="*/ 433065 h 4596459"/>
              <a:gd name="connsiteX13756" fmla="*/ 4431794 w 4716235"/>
              <a:gd name="connsiteY13756" fmla="*/ 433559 h 4596459"/>
              <a:gd name="connsiteX13757" fmla="*/ 4431298 w 4716235"/>
              <a:gd name="connsiteY13757" fmla="*/ 433065 h 4596459"/>
              <a:gd name="connsiteX13758" fmla="*/ 4431794 w 4716235"/>
              <a:gd name="connsiteY13758" fmla="*/ 432569 h 4596459"/>
              <a:gd name="connsiteX13759" fmla="*/ 4337473 w 4716235"/>
              <a:gd name="connsiteY13759" fmla="*/ 431083 h 4596459"/>
              <a:gd name="connsiteX13760" fmla="*/ 4348211 w 4716235"/>
              <a:gd name="connsiteY13760" fmla="*/ 441819 h 4596459"/>
              <a:gd name="connsiteX13761" fmla="*/ 4337473 w 4716235"/>
              <a:gd name="connsiteY13761" fmla="*/ 452557 h 4596459"/>
              <a:gd name="connsiteX13762" fmla="*/ 4326737 w 4716235"/>
              <a:gd name="connsiteY13762" fmla="*/ 441819 h 4596459"/>
              <a:gd name="connsiteX13763" fmla="*/ 4337473 w 4716235"/>
              <a:gd name="connsiteY13763" fmla="*/ 431083 h 4596459"/>
              <a:gd name="connsiteX13764" fmla="*/ 3660726 w 4716235"/>
              <a:gd name="connsiteY13764" fmla="*/ 430422 h 4596459"/>
              <a:gd name="connsiteX13765" fmla="*/ 3671464 w 4716235"/>
              <a:gd name="connsiteY13765" fmla="*/ 441158 h 4596459"/>
              <a:gd name="connsiteX13766" fmla="*/ 3660726 w 4716235"/>
              <a:gd name="connsiteY13766" fmla="*/ 451897 h 4596459"/>
              <a:gd name="connsiteX13767" fmla="*/ 3649989 w 4716235"/>
              <a:gd name="connsiteY13767" fmla="*/ 441158 h 4596459"/>
              <a:gd name="connsiteX13768" fmla="*/ 3660726 w 4716235"/>
              <a:gd name="connsiteY13768" fmla="*/ 430422 h 4596459"/>
              <a:gd name="connsiteX13769" fmla="*/ 4399252 w 4716235"/>
              <a:gd name="connsiteY13769" fmla="*/ 425797 h 4596459"/>
              <a:gd name="connsiteX13770" fmla="*/ 4409988 w 4716235"/>
              <a:gd name="connsiteY13770" fmla="*/ 436533 h 4596459"/>
              <a:gd name="connsiteX13771" fmla="*/ 4399252 w 4716235"/>
              <a:gd name="connsiteY13771" fmla="*/ 447271 h 4596459"/>
              <a:gd name="connsiteX13772" fmla="*/ 4388516 w 4716235"/>
              <a:gd name="connsiteY13772" fmla="*/ 436533 h 4596459"/>
              <a:gd name="connsiteX13773" fmla="*/ 4399252 w 4716235"/>
              <a:gd name="connsiteY13773" fmla="*/ 425797 h 4596459"/>
              <a:gd name="connsiteX13774" fmla="*/ 4373813 w 4716235"/>
              <a:gd name="connsiteY13774" fmla="*/ 424311 h 4596459"/>
              <a:gd name="connsiteX13775" fmla="*/ 4384549 w 4716235"/>
              <a:gd name="connsiteY13775" fmla="*/ 435047 h 4596459"/>
              <a:gd name="connsiteX13776" fmla="*/ 4373813 w 4716235"/>
              <a:gd name="connsiteY13776" fmla="*/ 445784 h 4596459"/>
              <a:gd name="connsiteX13777" fmla="*/ 4363077 w 4716235"/>
              <a:gd name="connsiteY13777" fmla="*/ 435047 h 4596459"/>
              <a:gd name="connsiteX13778" fmla="*/ 4373813 w 4716235"/>
              <a:gd name="connsiteY13778" fmla="*/ 424311 h 4596459"/>
              <a:gd name="connsiteX13779" fmla="*/ 4316330 w 4716235"/>
              <a:gd name="connsiteY13779" fmla="*/ 421668 h 4596459"/>
              <a:gd name="connsiteX13780" fmla="*/ 4327068 w 4716235"/>
              <a:gd name="connsiteY13780" fmla="*/ 432404 h 4596459"/>
              <a:gd name="connsiteX13781" fmla="*/ 4316330 w 4716235"/>
              <a:gd name="connsiteY13781" fmla="*/ 443142 h 4596459"/>
              <a:gd name="connsiteX13782" fmla="*/ 4305594 w 4716235"/>
              <a:gd name="connsiteY13782" fmla="*/ 432404 h 4596459"/>
              <a:gd name="connsiteX13783" fmla="*/ 4316330 w 4716235"/>
              <a:gd name="connsiteY13783" fmla="*/ 421668 h 4596459"/>
              <a:gd name="connsiteX13784" fmla="*/ 3099441 w 4716235"/>
              <a:gd name="connsiteY13784" fmla="*/ 417043 h 4596459"/>
              <a:gd name="connsiteX13785" fmla="*/ 3110177 w 4716235"/>
              <a:gd name="connsiteY13785" fmla="*/ 427779 h 4596459"/>
              <a:gd name="connsiteX13786" fmla="*/ 3099441 w 4716235"/>
              <a:gd name="connsiteY13786" fmla="*/ 438517 h 4596459"/>
              <a:gd name="connsiteX13787" fmla="*/ 3088704 w 4716235"/>
              <a:gd name="connsiteY13787" fmla="*/ 427779 h 4596459"/>
              <a:gd name="connsiteX13788" fmla="*/ 3099441 w 4716235"/>
              <a:gd name="connsiteY13788" fmla="*/ 417043 h 4596459"/>
              <a:gd name="connsiteX13789" fmla="*/ 4079792 w 4716235"/>
              <a:gd name="connsiteY13789" fmla="*/ 414729 h 4596459"/>
              <a:gd name="connsiteX13790" fmla="*/ 4090528 w 4716235"/>
              <a:gd name="connsiteY13790" fmla="*/ 425466 h 4596459"/>
              <a:gd name="connsiteX13791" fmla="*/ 4079792 w 4716235"/>
              <a:gd name="connsiteY13791" fmla="*/ 436204 h 4596459"/>
              <a:gd name="connsiteX13792" fmla="*/ 4069056 w 4716235"/>
              <a:gd name="connsiteY13792" fmla="*/ 425466 h 4596459"/>
              <a:gd name="connsiteX13793" fmla="*/ 4079792 w 4716235"/>
              <a:gd name="connsiteY13793" fmla="*/ 414729 h 4596459"/>
              <a:gd name="connsiteX13794" fmla="*/ 4286268 w 4716235"/>
              <a:gd name="connsiteY13794" fmla="*/ 412912 h 4596459"/>
              <a:gd name="connsiteX13795" fmla="*/ 4297004 w 4716235"/>
              <a:gd name="connsiteY13795" fmla="*/ 423648 h 4596459"/>
              <a:gd name="connsiteX13796" fmla="*/ 4286268 w 4716235"/>
              <a:gd name="connsiteY13796" fmla="*/ 434386 h 4596459"/>
              <a:gd name="connsiteX13797" fmla="*/ 4275532 w 4716235"/>
              <a:gd name="connsiteY13797" fmla="*/ 423648 h 4596459"/>
              <a:gd name="connsiteX13798" fmla="*/ 4286268 w 4716235"/>
              <a:gd name="connsiteY13798" fmla="*/ 412912 h 4596459"/>
              <a:gd name="connsiteX13799" fmla="*/ 4241503 w 4716235"/>
              <a:gd name="connsiteY13799" fmla="*/ 407297 h 4596459"/>
              <a:gd name="connsiteX13800" fmla="*/ 4252241 w 4716235"/>
              <a:gd name="connsiteY13800" fmla="*/ 418033 h 4596459"/>
              <a:gd name="connsiteX13801" fmla="*/ 4241503 w 4716235"/>
              <a:gd name="connsiteY13801" fmla="*/ 428769 h 4596459"/>
              <a:gd name="connsiteX13802" fmla="*/ 4230767 w 4716235"/>
              <a:gd name="connsiteY13802" fmla="*/ 418033 h 4596459"/>
              <a:gd name="connsiteX13803" fmla="*/ 4241503 w 4716235"/>
              <a:gd name="connsiteY13803" fmla="*/ 407297 h 4596459"/>
              <a:gd name="connsiteX13804" fmla="*/ 4175266 w 4716235"/>
              <a:gd name="connsiteY13804" fmla="*/ 406966 h 4596459"/>
              <a:gd name="connsiteX13805" fmla="*/ 4186002 w 4716235"/>
              <a:gd name="connsiteY13805" fmla="*/ 417702 h 4596459"/>
              <a:gd name="connsiteX13806" fmla="*/ 4175266 w 4716235"/>
              <a:gd name="connsiteY13806" fmla="*/ 428440 h 4596459"/>
              <a:gd name="connsiteX13807" fmla="*/ 4164530 w 4716235"/>
              <a:gd name="connsiteY13807" fmla="*/ 417702 h 4596459"/>
              <a:gd name="connsiteX13808" fmla="*/ 4175266 w 4716235"/>
              <a:gd name="connsiteY13808" fmla="*/ 406966 h 4596459"/>
              <a:gd name="connsiteX13809" fmla="*/ 4409494 w 4716235"/>
              <a:gd name="connsiteY13809" fmla="*/ 403003 h 4596459"/>
              <a:gd name="connsiteX13810" fmla="*/ 4419238 w 4716235"/>
              <a:gd name="connsiteY13810" fmla="*/ 412749 h 4596459"/>
              <a:gd name="connsiteX13811" fmla="*/ 4409494 w 4716235"/>
              <a:gd name="connsiteY13811" fmla="*/ 422495 h 4596459"/>
              <a:gd name="connsiteX13812" fmla="*/ 4399748 w 4716235"/>
              <a:gd name="connsiteY13812" fmla="*/ 412749 h 4596459"/>
              <a:gd name="connsiteX13813" fmla="*/ 4409494 w 4716235"/>
              <a:gd name="connsiteY13813" fmla="*/ 403003 h 4596459"/>
              <a:gd name="connsiteX13814" fmla="*/ 4378769 w 4716235"/>
              <a:gd name="connsiteY13814" fmla="*/ 402672 h 4596459"/>
              <a:gd name="connsiteX13815" fmla="*/ 4389507 w 4716235"/>
              <a:gd name="connsiteY13815" fmla="*/ 413408 h 4596459"/>
              <a:gd name="connsiteX13816" fmla="*/ 4378769 w 4716235"/>
              <a:gd name="connsiteY13816" fmla="*/ 424146 h 4596459"/>
              <a:gd name="connsiteX13817" fmla="*/ 4368033 w 4716235"/>
              <a:gd name="connsiteY13817" fmla="*/ 413408 h 4596459"/>
              <a:gd name="connsiteX13818" fmla="*/ 4378769 w 4716235"/>
              <a:gd name="connsiteY13818" fmla="*/ 402672 h 4596459"/>
              <a:gd name="connsiteX13819" fmla="*/ 548049 w 4716235"/>
              <a:gd name="connsiteY13819" fmla="*/ 399038 h 4596459"/>
              <a:gd name="connsiteX13820" fmla="*/ 558787 w 4716235"/>
              <a:gd name="connsiteY13820" fmla="*/ 409775 h 4596459"/>
              <a:gd name="connsiteX13821" fmla="*/ 548049 w 4716235"/>
              <a:gd name="connsiteY13821" fmla="*/ 420511 h 4596459"/>
              <a:gd name="connsiteX13822" fmla="*/ 537313 w 4716235"/>
              <a:gd name="connsiteY13822" fmla="*/ 409775 h 4596459"/>
              <a:gd name="connsiteX13823" fmla="*/ 548049 w 4716235"/>
              <a:gd name="connsiteY13823" fmla="*/ 399038 h 4596459"/>
              <a:gd name="connsiteX13824" fmla="*/ 4354819 w 4716235"/>
              <a:gd name="connsiteY13824" fmla="*/ 398378 h 4596459"/>
              <a:gd name="connsiteX13825" fmla="*/ 4365555 w 4716235"/>
              <a:gd name="connsiteY13825" fmla="*/ 409114 h 4596459"/>
              <a:gd name="connsiteX13826" fmla="*/ 4354902 w 4716235"/>
              <a:gd name="connsiteY13826" fmla="*/ 419769 h 4596459"/>
              <a:gd name="connsiteX13827" fmla="*/ 4364398 w 4716235"/>
              <a:gd name="connsiteY13827" fmla="*/ 429265 h 4596459"/>
              <a:gd name="connsiteX13828" fmla="*/ 4353662 w 4716235"/>
              <a:gd name="connsiteY13828" fmla="*/ 440002 h 4596459"/>
              <a:gd name="connsiteX13829" fmla="*/ 4342926 w 4716235"/>
              <a:gd name="connsiteY13829" fmla="*/ 429265 h 4596459"/>
              <a:gd name="connsiteX13830" fmla="*/ 4353580 w 4716235"/>
              <a:gd name="connsiteY13830" fmla="*/ 418612 h 4596459"/>
              <a:gd name="connsiteX13831" fmla="*/ 4344082 w 4716235"/>
              <a:gd name="connsiteY13831" fmla="*/ 409114 h 4596459"/>
              <a:gd name="connsiteX13832" fmla="*/ 4354819 w 4716235"/>
              <a:gd name="connsiteY13832" fmla="*/ 398378 h 4596459"/>
              <a:gd name="connsiteX13833" fmla="*/ 3864229 w 4716235"/>
              <a:gd name="connsiteY13833" fmla="*/ 394578 h 4596459"/>
              <a:gd name="connsiteX13834" fmla="*/ 3874967 w 4716235"/>
              <a:gd name="connsiteY13834" fmla="*/ 405315 h 4596459"/>
              <a:gd name="connsiteX13835" fmla="*/ 3864229 w 4716235"/>
              <a:gd name="connsiteY13835" fmla="*/ 416053 h 4596459"/>
              <a:gd name="connsiteX13836" fmla="*/ 3853493 w 4716235"/>
              <a:gd name="connsiteY13836" fmla="*/ 405315 h 4596459"/>
              <a:gd name="connsiteX13837" fmla="*/ 3864229 w 4716235"/>
              <a:gd name="connsiteY13837" fmla="*/ 394578 h 4596459"/>
              <a:gd name="connsiteX13838" fmla="*/ 3547081 w 4716235"/>
              <a:gd name="connsiteY13838" fmla="*/ 391935 h 4596459"/>
              <a:gd name="connsiteX13839" fmla="*/ 3557817 w 4716235"/>
              <a:gd name="connsiteY13839" fmla="*/ 402672 h 4596459"/>
              <a:gd name="connsiteX13840" fmla="*/ 3547081 w 4716235"/>
              <a:gd name="connsiteY13840" fmla="*/ 413408 h 4596459"/>
              <a:gd name="connsiteX13841" fmla="*/ 3536345 w 4716235"/>
              <a:gd name="connsiteY13841" fmla="*/ 402672 h 4596459"/>
              <a:gd name="connsiteX13842" fmla="*/ 3547081 w 4716235"/>
              <a:gd name="connsiteY13842" fmla="*/ 391935 h 4596459"/>
              <a:gd name="connsiteX13843" fmla="*/ 4291554 w 4716235"/>
              <a:gd name="connsiteY13843" fmla="*/ 386649 h 4596459"/>
              <a:gd name="connsiteX13844" fmla="*/ 4302292 w 4716235"/>
              <a:gd name="connsiteY13844" fmla="*/ 397386 h 4596459"/>
              <a:gd name="connsiteX13845" fmla="*/ 4291554 w 4716235"/>
              <a:gd name="connsiteY13845" fmla="*/ 408122 h 4596459"/>
              <a:gd name="connsiteX13846" fmla="*/ 4280817 w 4716235"/>
              <a:gd name="connsiteY13846" fmla="*/ 397386 h 4596459"/>
              <a:gd name="connsiteX13847" fmla="*/ 4291554 w 4716235"/>
              <a:gd name="connsiteY13847" fmla="*/ 386649 h 4596459"/>
              <a:gd name="connsiteX13848" fmla="*/ 2934259 w 4716235"/>
              <a:gd name="connsiteY13848" fmla="*/ 383840 h 4596459"/>
              <a:gd name="connsiteX13849" fmla="*/ 2944996 w 4716235"/>
              <a:gd name="connsiteY13849" fmla="*/ 394576 h 4596459"/>
              <a:gd name="connsiteX13850" fmla="*/ 2934259 w 4716235"/>
              <a:gd name="connsiteY13850" fmla="*/ 405315 h 4596459"/>
              <a:gd name="connsiteX13851" fmla="*/ 2923523 w 4716235"/>
              <a:gd name="connsiteY13851" fmla="*/ 394576 h 4596459"/>
              <a:gd name="connsiteX13852" fmla="*/ 2934259 w 4716235"/>
              <a:gd name="connsiteY13852" fmla="*/ 383840 h 4596459"/>
              <a:gd name="connsiteX13853" fmla="*/ 4387524 w 4716235"/>
              <a:gd name="connsiteY13853" fmla="*/ 380703 h 4596459"/>
              <a:gd name="connsiteX13854" fmla="*/ 4398262 w 4716235"/>
              <a:gd name="connsiteY13854" fmla="*/ 391439 h 4596459"/>
              <a:gd name="connsiteX13855" fmla="*/ 4387524 w 4716235"/>
              <a:gd name="connsiteY13855" fmla="*/ 402176 h 4596459"/>
              <a:gd name="connsiteX13856" fmla="*/ 4376787 w 4716235"/>
              <a:gd name="connsiteY13856" fmla="*/ 391439 h 4596459"/>
              <a:gd name="connsiteX13857" fmla="*/ 4387524 w 4716235"/>
              <a:gd name="connsiteY13857" fmla="*/ 380703 h 4596459"/>
              <a:gd name="connsiteX13858" fmla="*/ 4358616 w 4716235"/>
              <a:gd name="connsiteY13858" fmla="*/ 378389 h 4596459"/>
              <a:gd name="connsiteX13859" fmla="*/ 4369355 w 4716235"/>
              <a:gd name="connsiteY13859" fmla="*/ 389126 h 4596459"/>
              <a:gd name="connsiteX13860" fmla="*/ 4358616 w 4716235"/>
              <a:gd name="connsiteY13860" fmla="*/ 399862 h 4596459"/>
              <a:gd name="connsiteX13861" fmla="*/ 4347880 w 4716235"/>
              <a:gd name="connsiteY13861" fmla="*/ 389126 h 4596459"/>
              <a:gd name="connsiteX13862" fmla="*/ 4358616 w 4716235"/>
              <a:gd name="connsiteY13862" fmla="*/ 378389 h 4596459"/>
              <a:gd name="connsiteX13863" fmla="*/ 4255543 w 4716235"/>
              <a:gd name="connsiteY13863" fmla="*/ 376078 h 4596459"/>
              <a:gd name="connsiteX13864" fmla="*/ 4266281 w 4716235"/>
              <a:gd name="connsiteY13864" fmla="*/ 386814 h 4596459"/>
              <a:gd name="connsiteX13865" fmla="*/ 4255543 w 4716235"/>
              <a:gd name="connsiteY13865" fmla="*/ 397551 h 4596459"/>
              <a:gd name="connsiteX13866" fmla="*/ 4244807 w 4716235"/>
              <a:gd name="connsiteY13866" fmla="*/ 386814 h 4596459"/>
              <a:gd name="connsiteX13867" fmla="*/ 4255543 w 4716235"/>
              <a:gd name="connsiteY13867" fmla="*/ 376078 h 4596459"/>
              <a:gd name="connsiteX13868" fmla="*/ 4015535 w 4716235"/>
              <a:gd name="connsiteY13868" fmla="*/ 374756 h 4596459"/>
              <a:gd name="connsiteX13869" fmla="*/ 4026273 w 4716235"/>
              <a:gd name="connsiteY13869" fmla="*/ 385493 h 4596459"/>
              <a:gd name="connsiteX13870" fmla="*/ 4015535 w 4716235"/>
              <a:gd name="connsiteY13870" fmla="*/ 396229 h 4596459"/>
              <a:gd name="connsiteX13871" fmla="*/ 4004799 w 4716235"/>
              <a:gd name="connsiteY13871" fmla="*/ 385493 h 4596459"/>
              <a:gd name="connsiteX13872" fmla="*/ 4015535 w 4716235"/>
              <a:gd name="connsiteY13872" fmla="*/ 374756 h 4596459"/>
              <a:gd name="connsiteX13873" fmla="*/ 78605 w 4716235"/>
              <a:gd name="connsiteY13873" fmla="*/ 371288 h 4596459"/>
              <a:gd name="connsiteX13874" fmla="*/ 89343 w 4716235"/>
              <a:gd name="connsiteY13874" fmla="*/ 382024 h 4596459"/>
              <a:gd name="connsiteX13875" fmla="*/ 78605 w 4716235"/>
              <a:gd name="connsiteY13875" fmla="*/ 392761 h 4596459"/>
              <a:gd name="connsiteX13876" fmla="*/ 67869 w 4716235"/>
              <a:gd name="connsiteY13876" fmla="*/ 382024 h 4596459"/>
              <a:gd name="connsiteX13877" fmla="*/ 78605 w 4716235"/>
              <a:gd name="connsiteY13877" fmla="*/ 371288 h 4596459"/>
              <a:gd name="connsiteX13878" fmla="*/ 4202521 w 4716235"/>
              <a:gd name="connsiteY13878" fmla="*/ 368810 h 4596459"/>
              <a:gd name="connsiteX13879" fmla="*/ 4213257 w 4716235"/>
              <a:gd name="connsiteY13879" fmla="*/ 379546 h 4596459"/>
              <a:gd name="connsiteX13880" fmla="*/ 4202521 w 4716235"/>
              <a:gd name="connsiteY13880" fmla="*/ 390283 h 4596459"/>
              <a:gd name="connsiteX13881" fmla="*/ 4191784 w 4716235"/>
              <a:gd name="connsiteY13881" fmla="*/ 379546 h 4596459"/>
              <a:gd name="connsiteX13882" fmla="*/ 4202521 w 4716235"/>
              <a:gd name="connsiteY13882" fmla="*/ 368810 h 4596459"/>
              <a:gd name="connsiteX13883" fmla="*/ 4400242 w 4716235"/>
              <a:gd name="connsiteY13883" fmla="*/ 368149 h 4596459"/>
              <a:gd name="connsiteX13884" fmla="*/ 4400573 w 4716235"/>
              <a:gd name="connsiteY13884" fmla="*/ 368479 h 4596459"/>
              <a:gd name="connsiteX13885" fmla="*/ 4400242 w 4716235"/>
              <a:gd name="connsiteY13885" fmla="*/ 368810 h 4596459"/>
              <a:gd name="connsiteX13886" fmla="*/ 4399913 w 4716235"/>
              <a:gd name="connsiteY13886" fmla="*/ 368479 h 4596459"/>
              <a:gd name="connsiteX13887" fmla="*/ 4400242 w 4716235"/>
              <a:gd name="connsiteY13887" fmla="*/ 368149 h 4596459"/>
              <a:gd name="connsiteX13888" fmla="*/ 4125216 w 4716235"/>
              <a:gd name="connsiteY13888" fmla="*/ 367322 h 4596459"/>
              <a:gd name="connsiteX13889" fmla="*/ 4135952 w 4716235"/>
              <a:gd name="connsiteY13889" fmla="*/ 378058 h 4596459"/>
              <a:gd name="connsiteX13890" fmla="*/ 4125216 w 4716235"/>
              <a:gd name="connsiteY13890" fmla="*/ 388796 h 4596459"/>
              <a:gd name="connsiteX13891" fmla="*/ 4114479 w 4716235"/>
              <a:gd name="connsiteY13891" fmla="*/ 378058 h 4596459"/>
              <a:gd name="connsiteX13892" fmla="*/ 4125216 w 4716235"/>
              <a:gd name="connsiteY13892" fmla="*/ 367322 h 4596459"/>
              <a:gd name="connsiteX13893" fmla="*/ 719673 w 4716235"/>
              <a:gd name="connsiteY13893" fmla="*/ 366828 h 4596459"/>
              <a:gd name="connsiteX13894" fmla="*/ 730411 w 4716235"/>
              <a:gd name="connsiteY13894" fmla="*/ 377564 h 4596459"/>
              <a:gd name="connsiteX13895" fmla="*/ 719673 w 4716235"/>
              <a:gd name="connsiteY13895" fmla="*/ 388302 h 4596459"/>
              <a:gd name="connsiteX13896" fmla="*/ 708937 w 4716235"/>
              <a:gd name="connsiteY13896" fmla="*/ 377564 h 4596459"/>
              <a:gd name="connsiteX13897" fmla="*/ 719673 w 4716235"/>
              <a:gd name="connsiteY13897" fmla="*/ 366828 h 4596459"/>
              <a:gd name="connsiteX13898" fmla="*/ 4365720 w 4716235"/>
              <a:gd name="connsiteY13898" fmla="*/ 358072 h 4596459"/>
              <a:gd name="connsiteX13899" fmla="*/ 4376456 w 4716235"/>
              <a:gd name="connsiteY13899" fmla="*/ 368808 h 4596459"/>
              <a:gd name="connsiteX13900" fmla="*/ 4365720 w 4716235"/>
              <a:gd name="connsiteY13900" fmla="*/ 379546 h 4596459"/>
              <a:gd name="connsiteX13901" fmla="*/ 4354983 w 4716235"/>
              <a:gd name="connsiteY13901" fmla="*/ 368808 h 4596459"/>
              <a:gd name="connsiteX13902" fmla="*/ 4365720 w 4716235"/>
              <a:gd name="connsiteY13902" fmla="*/ 358072 h 4596459"/>
              <a:gd name="connsiteX13903" fmla="*/ 3773710 w 4716235"/>
              <a:gd name="connsiteY13903" fmla="*/ 354274 h 4596459"/>
              <a:gd name="connsiteX13904" fmla="*/ 3784446 w 4716235"/>
              <a:gd name="connsiteY13904" fmla="*/ 365010 h 4596459"/>
              <a:gd name="connsiteX13905" fmla="*/ 3773710 w 4716235"/>
              <a:gd name="connsiteY13905" fmla="*/ 375747 h 4596459"/>
              <a:gd name="connsiteX13906" fmla="*/ 3762974 w 4716235"/>
              <a:gd name="connsiteY13906" fmla="*/ 365010 h 4596459"/>
              <a:gd name="connsiteX13907" fmla="*/ 3773710 w 4716235"/>
              <a:gd name="connsiteY13907" fmla="*/ 354274 h 4596459"/>
              <a:gd name="connsiteX13908" fmla="*/ 3423031 w 4716235"/>
              <a:gd name="connsiteY13908" fmla="*/ 353448 h 4596459"/>
              <a:gd name="connsiteX13909" fmla="*/ 3433768 w 4716235"/>
              <a:gd name="connsiteY13909" fmla="*/ 364185 h 4596459"/>
              <a:gd name="connsiteX13910" fmla="*/ 3423031 w 4716235"/>
              <a:gd name="connsiteY13910" fmla="*/ 374923 h 4596459"/>
              <a:gd name="connsiteX13911" fmla="*/ 3412295 w 4716235"/>
              <a:gd name="connsiteY13911" fmla="*/ 364185 h 4596459"/>
              <a:gd name="connsiteX13912" fmla="*/ 3423031 w 4716235"/>
              <a:gd name="connsiteY13912" fmla="*/ 353448 h 4596459"/>
              <a:gd name="connsiteX13913" fmla="*/ 2757185 w 4716235"/>
              <a:gd name="connsiteY13913" fmla="*/ 352953 h 4596459"/>
              <a:gd name="connsiteX13914" fmla="*/ 2767923 w 4716235"/>
              <a:gd name="connsiteY13914" fmla="*/ 363689 h 4596459"/>
              <a:gd name="connsiteX13915" fmla="*/ 2757185 w 4716235"/>
              <a:gd name="connsiteY13915" fmla="*/ 374425 h 4596459"/>
              <a:gd name="connsiteX13916" fmla="*/ 2746449 w 4716235"/>
              <a:gd name="connsiteY13916" fmla="*/ 363689 h 4596459"/>
              <a:gd name="connsiteX13917" fmla="*/ 2757185 w 4716235"/>
              <a:gd name="connsiteY13917" fmla="*/ 352953 h 4596459"/>
              <a:gd name="connsiteX13918" fmla="*/ 4338300 w 4716235"/>
              <a:gd name="connsiteY13918" fmla="*/ 352786 h 4596459"/>
              <a:gd name="connsiteX13919" fmla="*/ 4349037 w 4716235"/>
              <a:gd name="connsiteY13919" fmla="*/ 363522 h 4596459"/>
              <a:gd name="connsiteX13920" fmla="*/ 4338384 w 4716235"/>
              <a:gd name="connsiteY13920" fmla="*/ 374179 h 4596459"/>
              <a:gd name="connsiteX13921" fmla="*/ 4346063 w 4716235"/>
              <a:gd name="connsiteY13921" fmla="*/ 381858 h 4596459"/>
              <a:gd name="connsiteX13922" fmla="*/ 4336317 w 4716235"/>
              <a:gd name="connsiteY13922" fmla="*/ 391606 h 4596459"/>
              <a:gd name="connsiteX13923" fmla="*/ 4345402 w 4716235"/>
              <a:gd name="connsiteY13923" fmla="*/ 400689 h 4596459"/>
              <a:gd name="connsiteX13924" fmla="*/ 4336152 w 4716235"/>
              <a:gd name="connsiteY13924" fmla="*/ 409941 h 4596459"/>
              <a:gd name="connsiteX13925" fmla="*/ 4346559 w 4716235"/>
              <a:gd name="connsiteY13925" fmla="*/ 420347 h 4596459"/>
              <a:gd name="connsiteX13926" fmla="*/ 4335822 w 4716235"/>
              <a:gd name="connsiteY13926" fmla="*/ 431083 h 4596459"/>
              <a:gd name="connsiteX13927" fmla="*/ 4325086 w 4716235"/>
              <a:gd name="connsiteY13927" fmla="*/ 420347 h 4596459"/>
              <a:gd name="connsiteX13928" fmla="*/ 4334336 w 4716235"/>
              <a:gd name="connsiteY13928" fmla="*/ 411098 h 4596459"/>
              <a:gd name="connsiteX13929" fmla="*/ 4323929 w 4716235"/>
              <a:gd name="connsiteY13929" fmla="*/ 400689 h 4596459"/>
              <a:gd name="connsiteX13930" fmla="*/ 4333675 w 4716235"/>
              <a:gd name="connsiteY13930" fmla="*/ 390945 h 4596459"/>
              <a:gd name="connsiteX13931" fmla="*/ 4324590 w 4716235"/>
              <a:gd name="connsiteY13931" fmla="*/ 381858 h 4596459"/>
              <a:gd name="connsiteX13932" fmla="*/ 4335245 w 4716235"/>
              <a:gd name="connsiteY13932" fmla="*/ 371205 h 4596459"/>
              <a:gd name="connsiteX13933" fmla="*/ 4327564 w 4716235"/>
              <a:gd name="connsiteY13933" fmla="*/ 363522 h 4596459"/>
              <a:gd name="connsiteX13934" fmla="*/ 4338300 w 4716235"/>
              <a:gd name="connsiteY13934" fmla="*/ 352786 h 4596459"/>
              <a:gd name="connsiteX13935" fmla="*/ 4264134 w 4716235"/>
              <a:gd name="connsiteY13935" fmla="*/ 350310 h 4596459"/>
              <a:gd name="connsiteX13936" fmla="*/ 4274873 w 4716235"/>
              <a:gd name="connsiteY13936" fmla="*/ 361046 h 4596459"/>
              <a:gd name="connsiteX13937" fmla="*/ 4264134 w 4716235"/>
              <a:gd name="connsiteY13937" fmla="*/ 371784 h 4596459"/>
              <a:gd name="connsiteX13938" fmla="*/ 4253398 w 4716235"/>
              <a:gd name="connsiteY13938" fmla="*/ 361046 h 4596459"/>
              <a:gd name="connsiteX13939" fmla="*/ 4264134 w 4716235"/>
              <a:gd name="connsiteY13939" fmla="*/ 350310 h 4596459"/>
              <a:gd name="connsiteX13940" fmla="*/ 4376787 w 4716235"/>
              <a:gd name="connsiteY13940" fmla="*/ 338085 h 4596459"/>
              <a:gd name="connsiteX13941" fmla="*/ 4386202 w 4716235"/>
              <a:gd name="connsiteY13941" fmla="*/ 347500 h 4596459"/>
              <a:gd name="connsiteX13942" fmla="*/ 4376787 w 4716235"/>
              <a:gd name="connsiteY13942" fmla="*/ 356915 h 4596459"/>
              <a:gd name="connsiteX13943" fmla="*/ 4367372 w 4716235"/>
              <a:gd name="connsiteY13943" fmla="*/ 347500 h 4596459"/>
              <a:gd name="connsiteX13944" fmla="*/ 4376787 w 4716235"/>
              <a:gd name="connsiteY13944" fmla="*/ 338085 h 4596459"/>
              <a:gd name="connsiteX13945" fmla="*/ 4221352 w 4716235"/>
              <a:gd name="connsiteY13945" fmla="*/ 337920 h 4596459"/>
              <a:gd name="connsiteX13946" fmla="*/ 4232090 w 4716235"/>
              <a:gd name="connsiteY13946" fmla="*/ 348657 h 4596459"/>
              <a:gd name="connsiteX13947" fmla="*/ 4221352 w 4716235"/>
              <a:gd name="connsiteY13947" fmla="*/ 359395 h 4596459"/>
              <a:gd name="connsiteX13948" fmla="*/ 4210616 w 4716235"/>
              <a:gd name="connsiteY13948" fmla="*/ 348657 h 4596459"/>
              <a:gd name="connsiteX13949" fmla="*/ 4221352 w 4716235"/>
              <a:gd name="connsiteY13949" fmla="*/ 337920 h 4596459"/>
              <a:gd name="connsiteX13950" fmla="*/ 903025 w 4716235"/>
              <a:gd name="connsiteY13950" fmla="*/ 337591 h 4596459"/>
              <a:gd name="connsiteX13951" fmla="*/ 913762 w 4716235"/>
              <a:gd name="connsiteY13951" fmla="*/ 348327 h 4596459"/>
              <a:gd name="connsiteX13952" fmla="*/ 903025 w 4716235"/>
              <a:gd name="connsiteY13952" fmla="*/ 359064 h 4596459"/>
              <a:gd name="connsiteX13953" fmla="*/ 892289 w 4716235"/>
              <a:gd name="connsiteY13953" fmla="*/ 348327 h 4596459"/>
              <a:gd name="connsiteX13954" fmla="*/ 903025 w 4716235"/>
              <a:gd name="connsiteY13954" fmla="*/ 337591 h 4596459"/>
              <a:gd name="connsiteX13955" fmla="*/ 4344247 w 4716235"/>
              <a:gd name="connsiteY13955" fmla="*/ 333956 h 4596459"/>
              <a:gd name="connsiteX13956" fmla="*/ 4354985 w 4716235"/>
              <a:gd name="connsiteY13956" fmla="*/ 344693 h 4596459"/>
              <a:gd name="connsiteX13957" fmla="*/ 4344247 w 4716235"/>
              <a:gd name="connsiteY13957" fmla="*/ 355431 h 4596459"/>
              <a:gd name="connsiteX13958" fmla="*/ 4333511 w 4716235"/>
              <a:gd name="connsiteY13958" fmla="*/ 344693 h 4596459"/>
              <a:gd name="connsiteX13959" fmla="*/ 4344247 w 4716235"/>
              <a:gd name="connsiteY13959" fmla="*/ 333956 h 4596459"/>
              <a:gd name="connsiteX13960" fmla="*/ 3944177 w 4716235"/>
              <a:gd name="connsiteY13960" fmla="*/ 333956 h 4596459"/>
              <a:gd name="connsiteX13961" fmla="*/ 3954915 w 4716235"/>
              <a:gd name="connsiteY13961" fmla="*/ 344693 h 4596459"/>
              <a:gd name="connsiteX13962" fmla="*/ 3944177 w 4716235"/>
              <a:gd name="connsiteY13962" fmla="*/ 355431 h 4596459"/>
              <a:gd name="connsiteX13963" fmla="*/ 3933441 w 4716235"/>
              <a:gd name="connsiteY13963" fmla="*/ 344693 h 4596459"/>
              <a:gd name="connsiteX13964" fmla="*/ 3944177 w 4716235"/>
              <a:gd name="connsiteY13964" fmla="*/ 333956 h 4596459"/>
              <a:gd name="connsiteX13965" fmla="*/ 208437 w 4716235"/>
              <a:gd name="connsiteY13965" fmla="*/ 332966 h 4596459"/>
              <a:gd name="connsiteX13966" fmla="*/ 219174 w 4716235"/>
              <a:gd name="connsiteY13966" fmla="*/ 343702 h 4596459"/>
              <a:gd name="connsiteX13967" fmla="*/ 208437 w 4716235"/>
              <a:gd name="connsiteY13967" fmla="*/ 354439 h 4596459"/>
              <a:gd name="connsiteX13968" fmla="*/ 197700 w 4716235"/>
              <a:gd name="connsiteY13968" fmla="*/ 343702 h 4596459"/>
              <a:gd name="connsiteX13969" fmla="*/ 208437 w 4716235"/>
              <a:gd name="connsiteY13969" fmla="*/ 332966 h 4596459"/>
              <a:gd name="connsiteX13970" fmla="*/ 4159077 w 4716235"/>
              <a:gd name="connsiteY13970" fmla="*/ 329166 h 4596459"/>
              <a:gd name="connsiteX13971" fmla="*/ 4169814 w 4716235"/>
              <a:gd name="connsiteY13971" fmla="*/ 339903 h 4596459"/>
              <a:gd name="connsiteX13972" fmla="*/ 4159077 w 4716235"/>
              <a:gd name="connsiteY13972" fmla="*/ 350641 h 4596459"/>
              <a:gd name="connsiteX13973" fmla="*/ 4148341 w 4716235"/>
              <a:gd name="connsiteY13973" fmla="*/ 339903 h 4596459"/>
              <a:gd name="connsiteX13974" fmla="*/ 4159077 w 4716235"/>
              <a:gd name="connsiteY13974" fmla="*/ 329166 h 4596459"/>
              <a:gd name="connsiteX13975" fmla="*/ 4069550 w 4716235"/>
              <a:gd name="connsiteY13975" fmla="*/ 326688 h 4596459"/>
              <a:gd name="connsiteX13976" fmla="*/ 4080288 w 4716235"/>
              <a:gd name="connsiteY13976" fmla="*/ 337425 h 4596459"/>
              <a:gd name="connsiteX13977" fmla="*/ 4069550 w 4716235"/>
              <a:gd name="connsiteY13977" fmla="*/ 348163 h 4596459"/>
              <a:gd name="connsiteX13978" fmla="*/ 4058814 w 4716235"/>
              <a:gd name="connsiteY13978" fmla="*/ 337425 h 4596459"/>
              <a:gd name="connsiteX13979" fmla="*/ 4069550 w 4716235"/>
              <a:gd name="connsiteY13979" fmla="*/ 326688 h 4596459"/>
              <a:gd name="connsiteX13980" fmla="*/ 4317653 w 4716235"/>
              <a:gd name="connsiteY13980" fmla="*/ 325698 h 4596459"/>
              <a:gd name="connsiteX13981" fmla="*/ 4328390 w 4716235"/>
              <a:gd name="connsiteY13981" fmla="*/ 336434 h 4596459"/>
              <a:gd name="connsiteX13982" fmla="*/ 4318810 w 4716235"/>
              <a:gd name="connsiteY13982" fmla="*/ 346016 h 4596459"/>
              <a:gd name="connsiteX13983" fmla="*/ 4326078 w 4716235"/>
              <a:gd name="connsiteY13983" fmla="*/ 353282 h 4596459"/>
              <a:gd name="connsiteX13984" fmla="*/ 4317240 w 4716235"/>
              <a:gd name="connsiteY13984" fmla="*/ 362119 h 4596459"/>
              <a:gd name="connsiteX13985" fmla="*/ 4325747 w 4716235"/>
              <a:gd name="connsiteY13985" fmla="*/ 370626 h 4596459"/>
              <a:gd name="connsiteX13986" fmla="*/ 4316909 w 4716235"/>
              <a:gd name="connsiteY13986" fmla="*/ 379465 h 4596459"/>
              <a:gd name="connsiteX13987" fmla="*/ 4326407 w 4716235"/>
              <a:gd name="connsiteY13987" fmla="*/ 388961 h 4596459"/>
              <a:gd name="connsiteX13988" fmla="*/ 4316661 w 4716235"/>
              <a:gd name="connsiteY13988" fmla="*/ 398709 h 4596459"/>
              <a:gd name="connsiteX13989" fmla="*/ 4327233 w 4716235"/>
              <a:gd name="connsiteY13989" fmla="*/ 409279 h 4596459"/>
              <a:gd name="connsiteX13990" fmla="*/ 4316496 w 4716235"/>
              <a:gd name="connsiteY13990" fmla="*/ 420017 h 4596459"/>
              <a:gd name="connsiteX13991" fmla="*/ 4305760 w 4716235"/>
              <a:gd name="connsiteY13991" fmla="*/ 409279 h 4596459"/>
              <a:gd name="connsiteX13992" fmla="*/ 4315506 w 4716235"/>
              <a:gd name="connsiteY13992" fmla="*/ 399535 h 4596459"/>
              <a:gd name="connsiteX13993" fmla="*/ 4304935 w 4716235"/>
              <a:gd name="connsiteY13993" fmla="*/ 388961 h 4596459"/>
              <a:gd name="connsiteX13994" fmla="*/ 4313772 w 4716235"/>
              <a:gd name="connsiteY13994" fmla="*/ 380126 h 4596459"/>
              <a:gd name="connsiteX13995" fmla="*/ 4304274 w 4716235"/>
              <a:gd name="connsiteY13995" fmla="*/ 370626 h 4596459"/>
              <a:gd name="connsiteX13996" fmla="*/ 4313110 w 4716235"/>
              <a:gd name="connsiteY13996" fmla="*/ 361790 h 4596459"/>
              <a:gd name="connsiteX13997" fmla="*/ 4304603 w 4716235"/>
              <a:gd name="connsiteY13997" fmla="*/ 353282 h 4596459"/>
              <a:gd name="connsiteX13998" fmla="*/ 4314183 w 4716235"/>
              <a:gd name="connsiteY13998" fmla="*/ 343702 h 4596459"/>
              <a:gd name="connsiteX13999" fmla="*/ 4306917 w 4716235"/>
              <a:gd name="connsiteY13999" fmla="*/ 336434 h 4596459"/>
              <a:gd name="connsiteX14000" fmla="*/ 4317653 w 4716235"/>
              <a:gd name="connsiteY14000" fmla="*/ 325698 h 4596459"/>
              <a:gd name="connsiteX14001" fmla="*/ 2568382 w 4716235"/>
              <a:gd name="connsiteY14001" fmla="*/ 325367 h 4596459"/>
              <a:gd name="connsiteX14002" fmla="*/ 2579121 w 4716235"/>
              <a:gd name="connsiteY14002" fmla="*/ 336103 h 4596459"/>
              <a:gd name="connsiteX14003" fmla="*/ 2568382 w 4716235"/>
              <a:gd name="connsiteY14003" fmla="*/ 346840 h 4596459"/>
              <a:gd name="connsiteX14004" fmla="*/ 2557646 w 4716235"/>
              <a:gd name="connsiteY14004" fmla="*/ 336103 h 4596459"/>
              <a:gd name="connsiteX14005" fmla="*/ 2568382 w 4716235"/>
              <a:gd name="connsiteY14005" fmla="*/ 325367 h 4596459"/>
              <a:gd name="connsiteX14006" fmla="*/ 3288077 w 4716235"/>
              <a:gd name="connsiteY14006" fmla="*/ 315291 h 4596459"/>
              <a:gd name="connsiteX14007" fmla="*/ 3298815 w 4716235"/>
              <a:gd name="connsiteY14007" fmla="*/ 326028 h 4596459"/>
              <a:gd name="connsiteX14008" fmla="*/ 3288077 w 4716235"/>
              <a:gd name="connsiteY14008" fmla="*/ 336764 h 4596459"/>
              <a:gd name="connsiteX14009" fmla="*/ 3277340 w 4716235"/>
              <a:gd name="connsiteY14009" fmla="*/ 326028 h 4596459"/>
              <a:gd name="connsiteX14010" fmla="*/ 3288077 w 4716235"/>
              <a:gd name="connsiteY14010" fmla="*/ 315291 h 4596459"/>
              <a:gd name="connsiteX14011" fmla="*/ 4353827 w 4716235"/>
              <a:gd name="connsiteY14011" fmla="*/ 314466 h 4596459"/>
              <a:gd name="connsiteX14012" fmla="*/ 4364563 w 4716235"/>
              <a:gd name="connsiteY14012" fmla="*/ 325202 h 4596459"/>
              <a:gd name="connsiteX14013" fmla="*/ 4353827 w 4716235"/>
              <a:gd name="connsiteY14013" fmla="*/ 335940 h 4596459"/>
              <a:gd name="connsiteX14014" fmla="*/ 4343090 w 4716235"/>
              <a:gd name="connsiteY14014" fmla="*/ 325202 h 4596459"/>
              <a:gd name="connsiteX14015" fmla="*/ 4353827 w 4716235"/>
              <a:gd name="connsiteY14015" fmla="*/ 314466 h 4596459"/>
              <a:gd name="connsiteX14016" fmla="*/ 3674272 w 4716235"/>
              <a:gd name="connsiteY14016" fmla="*/ 313639 h 4596459"/>
              <a:gd name="connsiteX14017" fmla="*/ 3685010 w 4716235"/>
              <a:gd name="connsiteY14017" fmla="*/ 324375 h 4596459"/>
              <a:gd name="connsiteX14018" fmla="*/ 3674272 w 4716235"/>
              <a:gd name="connsiteY14018" fmla="*/ 335113 h 4596459"/>
              <a:gd name="connsiteX14019" fmla="*/ 3663535 w 4716235"/>
              <a:gd name="connsiteY14019" fmla="*/ 324375 h 4596459"/>
              <a:gd name="connsiteX14020" fmla="*/ 3674272 w 4716235"/>
              <a:gd name="connsiteY14020" fmla="*/ 313639 h 4596459"/>
              <a:gd name="connsiteX14021" fmla="*/ 4233739 w 4716235"/>
              <a:gd name="connsiteY14021" fmla="*/ 312813 h 4596459"/>
              <a:gd name="connsiteX14022" fmla="*/ 4244477 w 4716235"/>
              <a:gd name="connsiteY14022" fmla="*/ 323549 h 4596459"/>
              <a:gd name="connsiteX14023" fmla="*/ 4233739 w 4716235"/>
              <a:gd name="connsiteY14023" fmla="*/ 334286 h 4596459"/>
              <a:gd name="connsiteX14024" fmla="*/ 4223003 w 4716235"/>
              <a:gd name="connsiteY14024" fmla="*/ 323549 h 4596459"/>
              <a:gd name="connsiteX14025" fmla="*/ 4233739 w 4716235"/>
              <a:gd name="connsiteY14025" fmla="*/ 312813 h 4596459"/>
              <a:gd name="connsiteX14026" fmla="*/ 1097608 w 4716235"/>
              <a:gd name="connsiteY14026" fmla="*/ 312317 h 4596459"/>
              <a:gd name="connsiteX14027" fmla="*/ 1108346 w 4716235"/>
              <a:gd name="connsiteY14027" fmla="*/ 323053 h 4596459"/>
              <a:gd name="connsiteX14028" fmla="*/ 1097608 w 4716235"/>
              <a:gd name="connsiteY14028" fmla="*/ 333790 h 4596459"/>
              <a:gd name="connsiteX14029" fmla="*/ 1086872 w 4716235"/>
              <a:gd name="connsiteY14029" fmla="*/ 323053 h 4596459"/>
              <a:gd name="connsiteX14030" fmla="*/ 1097608 w 4716235"/>
              <a:gd name="connsiteY14030" fmla="*/ 312317 h 4596459"/>
              <a:gd name="connsiteX14031" fmla="*/ 4322608 w 4716235"/>
              <a:gd name="connsiteY14031" fmla="*/ 308684 h 4596459"/>
              <a:gd name="connsiteX14032" fmla="*/ 4333346 w 4716235"/>
              <a:gd name="connsiteY14032" fmla="*/ 319420 h 4596459"/>
              <a:gd name="connsiteX14033" fmla="*/ 4322608 w 4716235"/>
              <a:gd name="connsiteY14033" fmla="*/ 330157 h 4596459"/>
              <a:gd name="connsiteX14034" fmla="*/ 4311871 w 4716235"/>
              <a:gd name="connsiteY14034" fmla="*/ 319420 h 4596459"/>
              <a:gd name="connsiteX14035" fmla="*/ 4322608 w 4716235"/>
              <a:gd name="connsiteY14035" fmla="*/ 308684 h 4596459"/>
              <a:gd name="connsiteX14036" fmla="*/ 4367372 w 4716235"/>
              <a:gd name="connsiteY14036" fmla="*/ 304388 h 4596459"/>
              <a:gd name="connsiteX14037" fmla="*/ 4367537 w 4716235"/>
              <a:gd name="connsiteY14037" fmla="*/ 304553 h 4596459"/>
              <a:gd name="connsiteX14038" fmla="*/ 4367372 w 4716235"/>
              <a:gd name="connsiteY14038" fmla="*/ 304720 h 4596459"/>
              <a:gd name="connsiteX14039" fmla="*/ 4367208 w 4716235"/>
              <a:gd name="connsiteY14039" fmla="*/ 304553 h 4596459"/>
              <a:gd name="connsiteX14040" fmla="*/ 4367372 w 4716235"/>
              <a:gd name="connsiteY14040" fmla="*/ 304388 h 4596459"/>
              <a:gd name="connsiteX14041" fmla="*/ 2369008 w 4716235"/>
              <a:gd name="connsiteY14041" fmla="*/ 302406 h 4596459"/>
              <a:gd name="connsiteX14042" fmla="*/ 2379746 w 4716235"/>
              <a:gd name="connsiteY14042" fmla="*/ 313142 h 4596459"/>
              <a:gd name="connsiteX14043" fmla="*/ 2369008 w 4716235"/>
              <a:gd name="connsiteY14043" fmla="*/ 323881 h 4596459"/>
              <a:gd name="connsiteX14044" fmla="*/ 2358272 w 4716235"/>
              <a:gd name="connsiteY14044" fmla="*/ 313142 h 4596459"/>
              <a:gd name="connsiteX14045" fmla="*/ 2369008 w 4716235"/>
              <a:gd name="connsiteY14045" fmla="*/ 302406 h 4596459"/>
              <a:gd name="connsiteX14046" fmla="*/ 4183359 w 4716235"/>
              <a:gd name="connsiteY14046" fmla="*/ 298442 h 4596459"/>
              <a:gd name="connsiteX14047" fmla="*/ 4194096 w 4716235"/>
              <a:gd name="connsiteY14047" fmla="*/ 309178 h 4596459"/>
              <a:gd name="connsiteX14048" fmla="*/ 4183359 w 4716235"/>
              <a:gd name="connsiteY14048" fmla="*/ 319916 h 4596459"/>
              <a:gd name="connsiteX14049" fmla="*/ 4172623 w 4716235"/>
              <a:gd name="connsiteY14049" fmla="*/ 309178 h 4596459"/>
              <a:gd name="connsiteX14050" fmla="*/ 4183359 w 4716235"/>
              <a:gd name="connsiteY14050" fmla="*/ 298442 h 4596459"/>
              <a:gd name="connsiteX14051" fmla="*/ 349336 w 4716235"/>
              <a:gd name="connsiteY14051" fmla="*/ 295469 h 4596459"/>
              <a:gd name="connsiteX14052" fmla="*/ 360074 w 4716235"/>
              <a:gd name="connsiteY14052" fmla="*/ 306206 h 4596459"/>
              <a:gd name="connsiteX14053" fmla="*/ 349336 w 4716235"/>
              <a:gd name="connsiteY14053" fmla="*/ 316944 h 4596459"/>
              <a:gd name="connsiteX14054" fmla="*/ 338599 w 4716235"/>
              <a:gd name="connsiteY14054" fmla="*/ 306206 h 4596459"/>
              <a:gd name="connsiteX14055" fmla="*/ 349336 w 4716235"/>
              <a:gd name="connsiteY14055" fmla="*/ 295469 h 4596459"/>
              <a:gd name="connsiteX14056" fmla="*/ 3865386 w 4716235"/>
              <a:gd name="connsiteY14056" fmla="*/ 292330 h 4596459"/>
              <a:gd name="connsiteX14057" fmla="*/ 3876122 w 4716235"/>
              <a:gd name="connsiteY14057" fmla="*/ 303067 h 4596459"/>
              <a:gd name="connsiteX14058" fmla="*/ 3865386 w 4716235"/>
              <a:gd name="connsiteY14058" fmla="*/ 313803 h 4596459"/>
              <a:gd name="connsiteX14059" fmla="*/ 3854650 w 4716235"/>
              <a:gd name="connsiteY14059" fmla="*/ 303067 h 4596459"/>
              <a:gd name="connsiteX14060" fmla="*/ 3865386 w 4716235"/>
              <a:gd name="connsiteY14060" fmla="*/ 292330 h 4596459"/>
              <a:gd name="connsiteX14061" fmla="*/ 1301937 w 4716235"/>
              <a:gd name="connsiteY14061" fmla="*/ 292330 h 4596459"/>
              <a:gd name="connsiteX14062" fmla="*/ 1312675 w 4716235"/>
              <a:gd name="connsiteY14062" fmla="*/ 303067 h 4596459"/>
              <a:gd name="connsiteX14063" fmla="*/ 1301937 w 4716235"/>
              <a:gd name="connsiteY14063" fmla="*/ 313803 h 4596459"/>
              <a:gd name="connsiteX14064" fmla="*/ 1291200 w 4716235"/>
              <a:gd name="connsiteY14064" fmla="*/ 303067 h 4596459"/>
              <a:gd name="connsiteX14065" fmla="*/ 1301937 w 4716235"/>
              <a:gd name="connsiteY14065" fmla="*/ 292330 h 4596459"/>
              <a:gd name="connsiteX14066" fmla="*/ 4330866 w 4716235"/>
              <a:gd name="connsiteY14066" fmla="*/ 291009 h 4596459"/>
              <a:gd name="connsiteX14067" fmla="*/ 4341604 w 4716235"/>
              <a:gd name="connsiteY14067" fmla="*/ 301745 h 4596459"/>
              <a:gd name="connsiteX14068" fmla="*/ 4330866 w 4716235"/>
              <a:gd name="connsiteY14068" fmla="*/ 312482 h 4596459"/>
              <a:gd name="connsiteX14069" fmla="*/ 4320130 w 4716235"/>
              <a:gd name="connsiteY14069" fmla="*/ 301745 h 4596459"/>
              <a:gd name="connsiteX14070" fmla="*/ 4330866 w 4716235"/>
              <a:gd name="connsiteY14070" fmla="*/ 291009 h 4596459"/>
              <a:gd name="connsiteX14071" fmla="*/ 4110515 w 4716235"/>
              <a:gd name="connsiteY14071" fmla="*/ 288201 h 4596459"/>
              <a:gd name="connsiteX14072" fmla="*/ 4121253 w 4716235"/>
              <a:gd name="connsiteY14072" fmla="*/ 298938 h 4596459"/>
              <a:gd name="connsiteX14073" fmla="*/ 4110515 w 4716235"/>
              <a:gd name="connsiteY14073" fmla="*/ 309674 h 4596459"/>
              <a:gd name="connsiteX14074" fmla="*/ 4099779 w 4716235"/>
              <a:gd name="connsiteY14074" fmla="*/ 298938 h 4596459"/>
              <a:gd name="connsiteX14075" fmla="*/ 4110515 w 4716235"/>
              <a:gd name="connsiteY14075" fmla="*/ 288201 h 4596459"/>
              <a:gd name="connsiteX14076" fmla="*/ 4007442 w 4716235"/>
              <a:gd name="connsiteY14076" fmla="*/ 285227 h 4596459"/>
              <a:gd name="connsiteX14077" fmla="*/ 4018178 w 4716235"/>
              <a:gd name="connsiteY14077" fmla="*/ 295964 h 4596459"/>
              <a:gd name="connsiteX14078" fmla="*/ 4007442 w 4716235"/>
              <a:gd name="connsiteY14078" fmla="*/ 306700 h 4596459"/>
              <a:gd name="connsiteX14079" fmla="*/ 3996705 w 4716235"/>
              <a:gd name="connsiteY14079" fmla="*/ 295964 h 4596459"/>
              <a:gd name="connsiteX14080" fmla="*/ 4007442 w 4716235"/>
              <a:gd name="connsiteY14080" fmla="*/ 285227 h 4596459"/>
              <a:gd name="connsiteX14081" fmla="*/ 2161046 w 4716235"/>
              <a:gd name="connsiteY14081" fmla="*/ 285227 h 4596459"/>
              <a:gd name="connsiteX14082" fmla="*/ 2171783 w 4716235"/>
              <a:gd name="connsiteY14082" fmla="*/ 295964 h 4596459"/>
              <a:gd name="connsiteX14083" fmla="*/ 2161046 w 4716235"/>
              <a:gd name="connsiteY14083" fmla="*/ 306700 h 4596459"/>
              <a:gd name="connsiteX14084" fmla="*/ 2150310 w 4716235"/>
              <a:gd name="connsiteY14084" fmla="*/ 295964 h 4596459"/>
              <a:gd name="connsiteX14085" fmla="*/ 2161046 w 4716235"/>
              <a:gd name="connsiteY14085" fmla="*/ 285227 h 4596459"/>
              <a:gd name="connsiteX14086" fmla="*/ 4300804 w 4716235"/>
              <a:gd name="connsiteY14086" fmla="*/ 282090 h 4596459"/>
              <a:gd name="connsiteX14087" fmla="*/ 4311542 w 4716235"/>
              <a:gd name="connsiteY14087" fmla="*/ 292827 h 4596459"/>
              <a:gd name="connsiteX14088" fmla="*/ 4301713 w 4716235"/>
              <a:gd name="connsiteY14088" fmla="*/ 302654 h 4596459"/>
              <a:gd name="connsiteX14089" fmla="*/ 4307246 w 4716235"/>
              <a:gd name="connsiteY14089" fmla="*/ 308188 h 4596459"/>
              <a:gd name="connsiteX14090" fmla="*/ 4298657 w 4716235"/>
              <a:gd name="connsiteY14090" fmla="*/ 316777 h 4596459"/>
              <a:gd name="connsiteX14091" fmla="*/ 4305264 w 4716235"/>
              <a:gd name="connsiteY14091" fmla="*/ 323385 h 4596459"/>
              <a:gd name="connsiteX14092" fmla="*/ 4297171 w 4716235"/>
              <a:gd name="connsiteY14092" fmla="*/ 331480 h 4596459"/>
              <a:gd name="connsiteX14093" fmla="*/ 4304768 w 4716235"/>
              <a:gd name="connsiteY14093" fmla="*/ 339076 h 4596459"/>
              <a:gd name="connsiteX14094" fmla="*/ 4296344 w 4716235"/>
              <a:gd name="connsiteY14094" fmla="*/ 347502 h 4596459"/>
              <a:gd name="connsiteX14095" fmla="*/ 4304935 w 4716235"/>
              <a:gd name="connsiteY14095" fmla="*/ 356090 h 4596459"/>
              <a:gd name="connsiteX14096" fmla="*/ 4295105 w 4716235"/>
              <a:gd name="connsiteY14096" fmla="*/ 365919 h 4596459"/>
              <a:gd name="connsiteX14097" fmla="*/ 4304439 w 4716235"/>
              <a:gd name="connsiteY14097" fmla="*/ 375251 h 4596459"/>
              <a:gd name="connsiteX14098" fmla="*/ 4293701 w 4716235"/>
              <a:gd name="connsiteY14098" fmla="*/ 385989 h 4596459"/>
              <a:gd name="connsiteX14099" fmla="*/ 4282964 w 4716235"/>
              <a:gd name="connsiteY14099" fmla="*/ 375251 h 4596459"/>
              <a:gd name="connsiteX14100" fmla="*/ 4292792 w 4716235"/>
              <a:gd name="connsiteY14100" fmla="*/ 365423 h 4596459"/>
              <a:gd name="connsiteX14101" fmla="*/ 4283460 w 4716235"/>
              <a:gd name="connsiteY14101" fmla="*/ 356090 h 4596459"/>
              <a:gd name="connsiteX14102" fmla="*/ 4291885 w 4716235"/>
              <a:gd name="connsiteY14102" fmla="*/ 347667 h 4596459"/>
              <a:gd name="connsiteX14103" fmla="*/ 4283295 w 4716235"/>
              <a:gd name="connsiteY14103" fmla="*/ 339076 h 4596459"/>
              <a:gd name="connsiteX14104" fmla="*/ 4291389 w 4716235"/>
              <a:gd name="connsiteY14104" fmla="*/ 330984 h 4596459"/>
              <a:gd name="connsiteX14105" fmla="*/ 4283791 w 4716235"/>
              <a:gd name="connsiteY14105" fmla="*/ 323385 h 4596459"/>
              <a:gd name="connsiteX14106" fmla="*/ 4292381 w 4716235"/>
              <a:gd name="connsiteY14106" fmla="*/ 314795 h 4596459"/>
              <a:gd name="connsiteX14107" fmla="*/ 4285774 w 4716235"/>
              <a:gd name="connsiteY14107" fmla="*/ 308188 h 4596459"/>
              <a:gd name="connsiteX14108" fmla="*/ 4295601 w 4716235"/>
              <a:gd name="connsiteY14108" fmla="*/ 298360 h 4596459"/>
              <a:gd name="connsiteX14109" fmla="*/ 4290067 w 4716235"/>
              <a:gd name="connsiteY14109" fmla="*/ 292827 h 4596459"/>
              <a:gd name="connsiteX14110" fmla="*/ 4300804 w 4716235"/>
              <a:gd name="connsiteY14110" fmla="*/ 282090 h 4596459"/>
              <a:gd name="connsiteX14111" fmla="*/ 1513534 w 4716235"/>
              <a:gd name="connsiteY14111" fmla="*/ 278951 h 4596459"/>
              <a:gd name="connsiteX14112" fmla="*/ 1524272 w 4716235"/>
              <a:gd name="connsiteY14112" fmla="*/ 289688 h 4596459"/>
              <a:gd name="connsiteX14113" fmla="*/ 1513534 w 4716235"/>
              <a:gd name="connsiteY14113" fmla="*/ 300426 h 4596459"/>
              <a:gd name="connsiteX14114" fmla="*/ 1502797 w 4716235"/>
              <a:gd name="connsiteY14114" fmla="*/ 289688 h 4596459"/>
              <a:gd name="connsiteX14115" fmla="*/ 1513534 w 4716235"/>
              <a:gd name="connsiteY14115" fmla="*/ 278951 h 4596459"/>
              <a:gd name="connsiteX14116" fmla="*/ 3141892 w 4716235"/>
              <a:gd name="connsiteY14116" fmla="*/ 278290 h 4596459"/>
              <a:gd name="connsiteX14117" fmla="*/ 3152628 w 4716235"/>
              <a:gd name="connsiteY14117" fmla="*/ 289027 h 4596459"/>
              <a:gd name="connsiteX14118" fmla="*/ 3141892 w 4716235"/>
              <a:gd name="connsiteY14118" fmla="*/ 299765 h 4596459"/>
              <a:gd name="connsiteX14119" fmla="*/ 3131155 w 4716235"/>
              <a:gd name="connsiteY14119" fmla="*/ 289027 h 4596459"/>
              <a:gd name="connsiteX14120" fmla="*/ 3141892 w 4716235"/>
              <a:gd name="connsiteY14120" fmla="*/ 278290 h 4596459"/>
              <a:gd name="connsiteX14121" fmla="*/ 1946805 w 4716235"/>
              <a:gd name="connsiteY14121" fmla="*/ 275152 h 4596459"/>
              <a:gd name="connsiteX14122" fmla="*/ 1957541 w 4716235"/>
              <a:gd name="connsiteY14122" fmla="*/ 285888 h 4596459"/>
              <a:gd name="connsiteX14123" fmla="*/ 1946805 w 4716235"/>
              <a:gd name="connsiteY14123" fmla="*/ 296624 h 4596459"/>
              <a:gd name="connsiteX14124" fmla="*/ 1936068 w 4716235"/>
              <a:gd name="connsiteY14124" fmla="*/ 285888 h 4596459"/>
              <a:gd name="connsiteX14125" fmla="*/ 1946805 w 4716235"/>
              <a:gd name="connsiteY14125" fmla="*/ 275152 h 4596459"/>
              <a:gd name="connsiteX14126" fmla="*/ 4342926 w 4716235"/>
              <a:gd name="connsiteY14126" fmla="*/ 273995 h 4596459"/>
              <a:gd name="connsiteX14127" fmla="*/ 4351846 w 4716235"/>
              <a:gd name="connsiteY14127" fmla="*/ 282914 h 4596459"/>
              <a:gd name="connsiteX14128" fmla="*/ 4342926 w 4716235"/>
              <a:gd name="connsiteY14128" fmla="*/ 291834 h 4596459"/>
              <a:gd name="connsiteX14129" fmla="*/ 4334007 w 4716235"/>
              <a:gd name="connsiteY14129" fmla="*/ 282914 h 4596459"/>
              <a:gd name="connsiteX14130" fmla="*/ 4342926 w 4716235"/>
              <a:gd name="connsiteY14130" fmla="*/ 273995 h 4596459"/>
              <a:gd name="connsiteX14131" fmla="*/ 4200044 w 4716235"/>
              <a:gd name="connsiteY14131" fmla="*/ 273995 h 4596459"/>
              <a:gd name="connsiteX14132" fmla="*/ 4210780 w 4716235"/>
              <a:gd name="connsiteY14132" fmla="*/ 284731 h 4596459"/>
              <a:gd name="connsiteX14133" fmla="*/ 4200044 w 4716235"/>
              <a:gd name="connsiteY14133" fmla="*/ 295468 h 4596459"/>
              <a:gd name="connsiteX14134" fmla="*/ 4189308 w 4716235"/>
              <a:gd name="connsiteY14134" fmla="*/ 284731 h 4596459"/>
              <a:gd name="connsiteX14135" fmla="*/ 4200044 w 4716235"/>
              <a:gd name="connsiteY14135" fmla="*/ 273995 h 4596459"/>
              <a:gd name="connsiteX14136" fmla="*/ 1729757 w 4716235"/>
              <a:gd name="connsiteY14136" fmla="*/ 273005 h 4596459"/>
              <a:gd name="connsiteX14137" fmla="*/ 1740493 w 4716235"/>
              <a:gd name="connsiteY14137" fmla="*/ 283741 h 4596459"/>
              <a:gd name="connsiteX14138" fmla="*/ 1729757 w 4716235"/>
              <a:gd name="connsiteY14138" fmla="*/ 294479 h 4596459"/>
              <a:gd name="connsiteX14139" fmla="*/ 1719021 w 4716235"/>
              <a:gd name="connsiteY14139" fmla="*/ 283741 h 4596459"/>
              <a:gd name="connsiteX14140" fmla="*/ 1729757 w 4716235"/>
              <a:gd name="connsiteY14140" fmla="*/ 273005 h 4596459"/>
              <a:gd name="connsiteX14141" fmla="*/ 3565417 w 4716235"/>
              <a:gd name="connsiteY14141" fmla="*/ 272840 h 4596459"/>
              <a:gd name="connsiteX14142" fmla="*/ 3576155 w 4716235"/>
              <a:gd name="connsiteY14142" fmla="*/ 283576 h 4596459"/>
              <a:gd name="connsiteX14143" fmla="*/ 3565417 w 4716235"/>
              <a:gd name="connsiteY14143" fmla="*/ 294313 h 4596459"/>
              <a:gd name="connsiteX14144" fmla="*/ 3554680 w 4716235"/>
              <a:gd name="connsiteY14144" fmla="*/ 283576 h 4596459"/>
              <a:gd name="connsiteX14145" fmla="*/ 3565417 w 4716235"/>
              <a:gd name="connsiteY14145" fmla="*/ 272840 h 4596459"/>
              <a:gd name="connsiteX14146" fmla="*/ 4308072 w 4716235"/>
              <a:gd name="connsiteY14146" fmla="*/ 266233 h 4596459"/>
              <a:gd name="connsiteX14147" fmla="*/ 4318810 w 4716235"/>
              <a:gd name="connsiteY14147" fmla="*/ 276969 h 4596459"/>
              <a:gd name="connsiteX14148" fmla="*/ 4308072 w 4716235"/>
              <a:gd name="connsiteY14148" fmla="*/ 287705 h 4596459"/>
              <a:gd name="connsiteX14149" fmla="*/ 4297335 w 4716235"/>
              <a:gd name="connsiteY14149" fmla="*/ 276969 h 4596459"/>
              <a:gd name="connsiteX14150" fmla="*/ 4308072 w 4716235"/>
              <a:gd name="connsiteY14150" fmla="*/ 266233 h 4596459"/>
              <a:gd name="connsiteX14151" fmla="*/ 501469 w 4716235"/>
              <a:gd name="connsiteY14151" fmla="*/ 259129 h 4596459"/>
              <a:gd name="connsiteX14152" fmla="*/ 512207 w 4716235"/>
              <a:gd name="connsiteY14152" fmla="*/ 269866 h 4596459"/>
              <a:gd name="connsiteX14153" fmla="*/ 501469 w 4716235"/>
              <a:gd name="connsiteY14153" fmla="*/ 280602 h 4596459"/>
              <a:gd name="connsiteX14154" fmla="*/ 490733 w 4716235"/>
              <a:gd name="connsiteY14154" fmla="*/ 269866 h 4596459"/>
              <a:gd name="connsiteX14155" fmla="*/ 501469 w 4716235"/>
              <a:gd name="connsiteY14155" fmla="*/ 259129 h 4596459"/>
              <a:gd name="connsiteX14156" fmla="*/ 4140908 w 4716235"/>
              <a:gd name="connsiteY14156" fmla="*/ 257808 h 4596459"/>
              <a:gd name="connsiteX14157" fmla="*/ 4151646 w 4716235"/>
              <a:gd name="connsiteY14157" fmla="*/ 268544 h 4596459"/>
              <a:gd name="connsiteX14158" fmla="*/ 4140908 w 4716235"/>
              <a:gd name="connsiteY14158" fmla="*/ 279283 h 4596459"/>
              <a:gd name="connsiteX14159" fmla="*/ 4130172 w 4716235"/>
              <a:gd name="connsiteY14159" fmla="*/ 268544 h 4596459"/>
              <a:gd name="connsiteX14160" fmla="*/ 4140908 w 4716235"/>
              <a:gd name="connsiteY14160" fmla="*/ 257808 h 4596459"/>
              <a:gd name="connsiteX14161" fmla="*/ 4211110 w 4716235"/>
              <a:gd name="connsiteY14161" fmla="*/ 254340 h 4596459"/>
              <a:gd name="connsiteX14162" fmla="*/ 4221848 w 4716235"/>
              <a:gd name="connsiteY14162" fmla="*/ 265076 h 4596459"/>
              <a:gd name="connsiteX14163" fmla="*/ 4211110 w 4716235"/>
              <a:gd name="connsiteY14163" fmla="*/ 275814 h 4596459"/>
              <a:gd name="connsiteX14164" fmla="*/ 4200374 w 4716235"/>
              <a:gd name="connsiteY14164" fmla="*/ 265076 h 4596459"/>
              <a:gd name="connsiteX14165" fmla="*/ 4211110 w 4716235"/>
              <a:gd name="connsiteY14165" fmla="*/ 254340 h 4596459"/>
              <a:gd name="connsiteX14166" fmla="*/ 57295 w 4716235"/>
              <a:gd name="connsiteY14166" fmla="*/ 251036 h 4596459"/>
              <a:gd name="connsiteX14167" fmla="*/ 68033 w 4716235"/>
              <a:gd name="connsiteY14167" fmla="*/ 261772 h 4596459"/>
              <a:gd name="connsiteX14168" fmla="*/ 57295 w 4716235"/>
              <a:gd name="connsiteY14168" fmla="*/ 272509 h 4596459"/>
              <a:gd name="connsiteX14169" fmla="*/ 46559 w 4716235"/>
              <a:gd name="connsiteY14169" fmla="*/ 261772 h 4596459"/>
              <a:gd name="connsiteX14170" fmla="*/ 57295 w 4716235"/>
              <a:gd name="connsiteY14170" fmla="*/ 251036 h 4596459"/>
              <a:gd name="connsiteX14171" fmla="*/ 3778666 w 4716235"/>
              <a:gd name="connsiteY14171" fmla="*/ 250209 h 4596459"/>
              <a:gd name="connsiteX14172" fmla="*/ 3789403 w 4716235"/>
              <a:gd name="connsiteY14172" fmla="*/ 260945 h 4596459"/>
              <a:gd name="connsiteX14173" fmla="*/ 3778666 w 4716235"/>
              <a:gd name="connsiteY14173" fmla="*/ 271683 h 4596459"/>
              <a:gd name="connsiteX14174" fmla="*/ 3767930 w 4716235"/>
              <a:gd name="connsiteY14174" fmla="*/ 260945 h 4596459"/>
              <a:gd name="connsiteX14175" fmla="*/ 3778666 w 4716235"/>
              <a:gd name="connsiteY14175" fmla="*/ 250209 h 4596459"/>
              <a:gd name="connsiteX14176" fmla="*/ 4318808 w 4716235"/>
              <a:gd name="connsiteY14176" fmla="*/ 249219 h 4596459"/>
              <a:gd name="connsiteX14177" fmla="*/ 4329545 w 4716235"/>
              <a:gd name="connsiteY14177" fmla="*/ 259955 h 4596459"/>
              <a:gd name="connsiteX14178" fmla="*/ 4318808 w 4716235"/>
              <a:gd name="connsiteY14178" fmla="*/ 270691 h 4596459"/>
              <a:gd name="connsiteX14179" fmla="*/ 4308072 w 4716235"/>
              <a:gd name="connsiteY14179" fmla="*/ 259955 h 4596459"/>
              <a:gd name="connsiteX14180" fmla="*/ 4318808 w 4716235"/>
              <a:gd name="connsiteY14180" fmla="*/ 249219 h 4596459"/>
              <a:gd name="connsiteX14181" fmla="*/ 4056500 w 4716235"/>
              <a:gd name="connsiteY14181" fmla="*/ 246245 h 4596459"/>
              <a:gd name="connsiteX14182" fmla="*/ 4067237 w 4716235"/>
              <a:gd name="connsiteY14182" fmla="*/ 256981 h 4596459"/>
              <a:gd name="connsiteX14183" fmla="*/ 4056500 w 4716235"/>
              <a:gd name="connsiteY14183" fmla="*/ 267717 h 4596459"/>
              <a:gd name="connsiteX14184" fmla="*/ 4045764 w 4716235"/>
              <a:gd name="connsiteY14184" fmla="*/ 256981 h 4596459"/>
              <a:gd name="connsiteX14185" fmla="*/ 4056500 w 4716235"/>
              <a:gd name="connsiteY14185" fmla="*/ 246245 h 4596459"/>
              <a:gd name="connsiteX14186" fmla="*/ 2984474 w 4716235"/>
              <a:gd name="connsiteY14186" fmla="*/ 242776 h 4596459"/>
              <a:gd name="connsiteX14187" fmla="*/ 2995212 w 4716235"/>
              <a:gd name="connsiteY14187" fmla="*/ 253512 h 4596459"/>
              <a:gd name="connsiteX14188" fmla="*/ 2984474 w 4716235"/>
              <a:gd name="connsiteY14188" fmla="*/ 264249 h 4596459"/>
              <a:gd name="connsiteX14189" fmla="*/ 2973738 w 4716235"/>
              <a:gd name="connsiteY14189" fmla="*/ 253512 h 4596459"/>
              <a:gd name="connsiteX14190" fmla="*/ 2984474 w 4716235"/>
              <a:gd name="connsiteY14190" fmla="*/ 242776 h 4596459"/>
              <a:gd name="connsiteX14191" fmla="*/ 3938891 w 4716235"/>
              <a:gd name="connsiteY14191" fmla="*/ 242611 h 4596459"/>
              <a:gd name="connsiteX14192" fmla="*/ 3949628 w 4716235"/>
              <a:gd name="connsiteY14192" fmla="*/ 253348 h 4596459"/>
              <a:gd name="connsiteX14193" fmla="*/ 3938891 w 4716235"/>
              <a:gd name="connsiteY14193" fmla="*/ 264084 h 4596459"/>
              <a:gd name="connsiteX14194" fmla="*/ 3928155 w 4716235"/>
              <a:gd name="connsiteY14194" fmla="*/ 253348 h 4596459"/>
              <a:gd name="connsiteX14195" fmla="*/ 3938891 w 4716235"/>
              <a:gd name="connsiteY14195" fmla="*/ 242611 h 4596459"/>
              <a:gd name="connsiteX14196" fmla="*/ 4333511 w 4716235"/>
              <a:gd name="connsiteY14196" fmla="*/ 241290 h 4596459"/>
              <a:gd name="connsiteX14197" fmla="*/ 4333511 w 4716235"/>
              <a:gd name="connsiteY14197" fmla="*/ 241455 h 4596459"/>
              <a:gd name="connsiteX14198" fmla="*/ 4333346 w 4716235"/>
              <a:gd name="connsiteY14198" fmla="*/ 241455 h 4596459"/>
              <a:gd name="connsiteX14199" fmla="*/ 4285111 w 4716235"/>
              <a:gd name="connsiteY14199" fmla="*/ 240133 h 4596459"/>
              <a:gd name="connsiteX14200" fmla="*/ 4295848 w 4716235"/>
              <a:gd name="connsiteY14200" fmla="*/ 250870 h 4596459"/>
              <a:gd name="connsiteX14201" fmla="*/ 4285607 w 4716235"/>
              <a:gd name="connsiteY14201" fmla="*/ 261112 h 4596459"/>
              <a:gd name="connsiteX14202" fmla="*/ 4289407 w 4716235"/>
              <a:gd name="connsiteY14202" fmla="*/ 264909 h 4596459"/>
              <a:gd name="connsiteX14203" fmla="*/ 4280734 w 4716235"/>
              <a:gd name="connsiteY14203" fmla="*/ 273582 h 4596459"/>
              <a:gd name="connsiteX14204" fmla="*/ 4285607 w 4716235"/>
              <a:gd name="connsiteY14204" fmla="*/ 278455 h 4596459"/>
              <a:gd name="connsiteX14205" fmla="*/ 4277845 w 4716235"/>
              <a:gd name="connsiteY14205" fmla="*/ 286219 h 4596459"/>
              <a:gd name="connsiteX14206" fmla="*/ 4283625 w 4716235"/>
              <a:gd name="connsiteY14206" fmla="*/ 291999 h 4596459"/>
              <a:gd name="connsiteX14207" fmla="*/ 4276028 w 4716235"/>
              <a:gd name="connsiteY14207" fmla="*/ 299598 h 4596459"/>
              <a:gd name="connsiteX14208" fmla="*/ 4282635 w 4716235"/>
              <a:gd name="connsiteY14208" fmla="*/ 306206 h 4596459"/>
              <a:gd name="connsiteX14209" fmla="*/ 4274293 w 4716235"/>
              <a:gd name="connsiteY14209" fmla="*/ 314549 h 4596459"/>
              <a:gd name="connsiteX14210" fmla="*/ 4281645 w 4716235"/>
              <a:gd name="connsiteY14210" fmla="*/ 321898 h 4596459"/>
              <a:gd name="connsiteX14211" fmla="*/ 4271567 w 4716235"/>
              <a:gd name="connsiteY14211" fmla="*/ 331974 h 4596459"/>
              <a:gd name="connsiteX14212" fmla="*/ 4279496 w 4716235"/>
              <a:gd name="connsiteY14212" fmla="*/ 339903 h 4596459"/>
              <a:gd name="connsiteX14213" fmla="*/ 4268760 w 4716235"/>
              <a:gd name="connsiteY14213" fmla="*/ 350641 h 4596459"/>
              <a:gd name="connsiteX14214" fmla="*/ 4258023 w 4716235"/>
              <a:gd name="connsiteY14214" fmla="*/ 339903 h 4596459"/>
              <a:gd name="connsiteX14215" fmla="*/ 4268099 w 4716235"/>
              <a:gd name="connsiteY14215" fmla="*/ 329827 h 4596459"/>
              <a:gd name="connsiteX14216" fmla="*/ 4260170 w 4716235"/>
              <a:gd name="connsiteY14216" fmla="*/ 321898 h 4596459"/>
              <a:gd name="connsiteX14217" fmla="*/ 4268512 w 4716235"/>
              <a:gd name="connsiteY14217" fmla="*/ 313559 h 4596459"/>
              <a:gd name="connsiteX14218" fmla="*/ 4261160 w 4716235"/>
              <a:gd name="connsiteY14218" fmla="*/ 306206 h 4596459"/>
              <a:gd name="connsiteX14219" fmla="*/ 4268760 w 4716235"/>
              <a:gd name="connsiteY14219" fmla="*/ 298608 h 4596459"/>
              <a:gd name="connsiteX14220" fmla="*/ 4262152 w 4716235"/>
              <a:gd name="connsiteY14220" fmla="*/ 291999 h 4596459"/>
              <a:gd name="connsiteX14221" fmla="*/ 4269914 w 4716235"/>
              <a:gd name="connsiteY14221" fmla="*/ 284237 h 4596459"/>
              <a:gd name="connsiteX14222" fmla="*/ 4264134 w 4716235"/>
              <a:gd name="connsiteY14222" fmla="*/ 278455 h 4596459"/>
              <a:gd name="connsiteX14223" fmla="*/ 4272805 w 4716235"/>
              <a:gd name="connsiteY14223" fmla="*/ 269784 h 4596459"/>
              <a:gd name="connsiteX14224" fmla="*/ 4267932 w 4716235"/>
              <a:gd name="connsiteY14224" fmla="*/ 264909 h 4596459"/>
              <a:gd name="connsiteX14225" fmla="*/ 4278173 w 4716235"/>
              <a:gd name="connsiteY14225" fmla="*/ 254669 h 4596459"/>
              <a:gd name="connsiteX14226" fmla="*/ 4274375 w 4716235"/>
              <a:gd name="connsiteY14226" fmla="*/ 250870 h 4596459"/>
              <a:gd name="connsiteX14227" fmla="*/ 4285111 w 4716235"/>
              <a:gd name="connsiteY14227" fmla="*/ 240133 h 4596459"/>
              <a:gd name="connsiteX14228" fmla="*/ 4162712 w 4716235"/>
              <a:gd name="connsiteY14228" fmla="*/ 233691 h 4596459"/>
              <a:gd name="connsiteX14229" fmla="*/ 4173449 w 4716235"/>
              <a:gd name="connsiteY14229" fmla="*/ 244427 h 4596459"/>
              <a:gd name="connsiteX14230" fmla="*/ 4162712 w 4716235"/>
              <a:gd name="connsiteY14230" fmla="*/ 255165 h 4596459"/>
              <a:gd name="connsiteX14231" fmla="*/ 4151976 w 4716235"/>
              <a:gd name="connsiteY14231" fmla="*/ 244427 h 4596459"/>
              <a:gd name="connsiteX14232" fmla="*/ 4162712 w 4716235"/>
              <a:gd name="connsiteY14232" fmla="*/ 233691 h 4596459"/>
              <a:gd name="connsiteX14233" fmla="*/ 3446817 w 4716235"/>
              <a:gd name="connsiteY14233" fmla="*/ 232204 h 4596459"/>
              <a:gd name="connsiteX14234" fmla="*/ 3457554 w 4716235"/>
              <a:gd name="connsiteY14234" fmla="*/ 242941 h 4596459"/>
              <a:gd name="connsiteX14235" fmla="*/ 3446817 w 4716235"/>
              <a:gd name="connsiteY14235" fmla="*/ 253679 h 4596459"/>
              <a:gd name="connsiteX14236" fmla="*/ 3436081 w 4716235"/>
              <a:gd name="connsiteY14236" fmla="*/ 242941 h 4596459"/>
              <a:gd name="connsiteX14237" fmla="*/ 3446817 w 4716235"/>
              <a:gd name="connsiteY14237" fmla="*/ 232204 h 4596459"/>
              <a:gd name="connsiteX14238" fmla="*/ 4294528 w 4716235"/>
              <a:gd name="connsiteY14238" fmla="*/ 224937 h 4596459"/>
              <a:gd name="connsiteX14239" fmla="*/ 4305264 w 4716235"/>
              <a:gd name="connsiteY14239" fmla="*/ 235673 h 4596459"/>
              <a:gd name="connsiteX14240" fmla="*/ 4294528 w 4716235"/>
              <a:gd name="connsiteY14240" fmla="*/ 246409 h 4596459"/>
              <a:gd name="connsiteX14241" fmla="*/ 4283791 w 4716235"/>
              <a:gd name="connsiteY14241" fmla="*/ 235673 h 4596459"/>
              <a:gd name="connsiteX14242" fmla="*/ 4294528 w 4716235"/>
              <a:gd name="connsiteY14242" fmla="*/ 224937 h 4596459"/>
              <a:gd name="connsiteX14243" fmla="*/ 664998 w 4716235"/>
              <a:gd name="connsiteY14243" fmla="*/ 224772 h 4596459"/>
              <a:gd name="connsiteX14244" fmla="*/ 675736 w 4716235"/>
              <a:gd name="connsiteY14244" fmla="*/ 235508 h 4596459"/>
              <a:gd name="connsiteX14245" fmla="*/ 664998 w 4716235"/>
              <a:gd name="connsiteY14245" fmla="*/ 246246 h 4596459"/>
              <a:gd name="connsiteX14246" fmla="*/ 654261 w 4716235"/>
              <a:gd name="connsiteY14246" fmla="*/ 235508 h 4596459"/>
              <a:gd name="connsiteX14247" fmla="*/ 664998 w 4716235"/>
              <a:gd name="connsiteY14247" fmla="*/ 224772 h 4596459"/>
              <a:gd name="connsiteX14248" fmla="*/ 4093667 w 4716235"/>
              <a:gd name="connsiteY14248" fmla="*/ 215851 h 4596459"/>
              <a:gd name="connsiteX14249" fmla="*/ 4104404 w 4716235"/>
              <a:gd name="connsiteY14249" fmla="*/ 226588 h 4596459"/>
              <a:gd name="connsiteX14250" fmla="*/ 4093667 w 4716235"/>
              <a:gd name="connsiteY14250" fmla="*/ 237326 h 4596459"/>
              <a:gd name="connsiteX14251" fmla="*/ 4082931 w 4716235"/>
              <a:gd name="connsiteY14251" fmla="*/ 226588 h 4596459"/>
              <a:gd name="connsiteX14252" fmla="*/ 4093667 w 4716235"/>
              <a:gd name="connsiteY14252" fmla="*/ 215851 h 4596459"/>
              <a:gd name="connsiteX14253" fmla="*/ 4177909 w 4716235"/>
              <a:gd name="connsiteY14253" fmla="*/ 215026 h 4596459"/>
              <a:gd name="connsiteX14254" fmla="*/ 4188645 w 4716235"/>
              <a:gd name="connsiteY14254" fmla="*/ 225762 h 4596459"/>
              <a:gd name="connsiteX14255" fmla="*/ 4177909 w 4716235"/>
              <a:gd name="connsiteY14255" fmla="*/ 236498 h 4596459"/>
              <a:gd name="connsiteX14256" fmla="*/ 4167173 w 4716235"/>
              <a:gd name="connsiteY14256" fmla="*/ 225762 h 4596459"/>
              <a:gd name="connsiteX14257" fmla="*/ 4177909 w 4716235"/>
              <a:gd name="connsiteY14257" fmla="*/ 215026 h 4596459"/>
              <a:gd name="connsiteX14258" fmla="*/ 4261656 w 4716235"/>
              <a:gd name="connsiteY14258" fmla="*/ 212547 h 4596459"/>
              <a:gd name="connsiteX14259" fmla="*/ 4272394 w 4716235"/>
              <a:gd name="connsiteY14259" fmla="*/ 223284 h 4596459"/>
              <a:gd name="connsiteX14260" fmla="*/ 4263390 w 4716235"/>
              <a:gd name="connsiteY14260" fmla="*/ 232288 h 4596459"/>
              <a:gd name="connsiteX14261" fmla="*/ 4266611 w 4716235"/>
              <a:gd name="connsiteY14261" fmla="*/ 235508 h 4596459"/>
              <a:gd name="connsiteX14262" fmla="*/ 4258849 w 4716235"/>
              <a:gd name="connsiteY14262" fmla="*/ 243272 h 4596459"/>
              <a:gd name="connsiteX14263" fmla="*/ 4262978 w 4716235"/>
              <a:gd name="connsiteY14263" fmla="*/ 247401 h 4596459"/>
              <a:gd name="connsiteX14264" fmla="*/ 4255875 w 4716235"/>
              <a:gd name="connsiteY14264" fmla="*/ 254504 h 4596459"/>
              <a:gd name="connsiteX14265" fmla="*/ 4260664 w 4716235"/>
              <a:gd name="connsiteY14265" fmla="*/ 259294 h 4596459"/>
              <a:gd name="connsiteX14266" fmla="*/ 4253396 w 4716235"/>
              <a:gd name="connsiteY14266" fmla="*/ 266562 h 4596459"/>
              <a:gd name="connsiteX14267" fmla="*/ 4258847 w 4716235"/>
              <a:gd name="connsiteY14267" fmla="*/ 272013 h 4596459"/>
              <a:gd name="connsiteX14268" fmla="*/ 4250424 w 4716235"/>
              <a:gd name="connsiteY14268" fmla="*/ 280437 h 4596459"/>
              <a:gd name="connsiteX14269" fmla="*/ 4256370 w 4716235"/>
              <a:gd name="connsiteY14269" fmla="*/ 286384 h 4596459"/>
              <a:gd name="connsiteX14270" fmla="*/ 4245799 w 4716235"/>
              <a:gd name="connsiteY14270" fmla="*/ 296956 h 4596459"/>
              <a:gd name="connsiteX14271" fmla="*/ 4252075 w 4716235"/>
              <a:gd name="connsiteY14271" fmla="*/ 303232 h 4596459"/>
              <a:gd name="connsiteX14272" fmla="*/ 4241339 w 4716235"/>
              <a:gd name="connsiteY14272" fmla="*/ 313970 h 4596459"/>
              <a:gd name="connsiteX14273" fmla="*/ 4230602 w 4716235"/>
              <a:gd name="connsiteY14273" fmla="*/ 303232 h 4596459"/>
              <a:gd name="connsiteX14274" fmla="*/ 4241172 w 4716235"/>
              <a:gd name="connsiteY14274" fmla="*/ 292662 h 4596459"/>
              <a:gd name="connsiteX14275" fmla="*/ 4234896 w 4716235"/>
              <a:gd name="connsiteY14275" fmla="*/ 286384 h 4596459"/>
              <a:gd name="connsiteX14276" fmla="*/ 4243321 w 4716235"/>
              <a:gd name="connsiteY14276" fmla="*/ 277961 h 4596459"/>
              <a:gd name="connsiteX14277" fmla="*/ 4237374 w 4716235"/>
              <a:gd name="connsiteY14277" fmla="*/ 272013 h 4596459"/>
              <a:gd name="connsiteX14278" fmla="*/ 4244642 w 4716235"/>
              <a:gd name="connsiteY14278" fmla="*/ 264745 h 4596459"/>
              <a:gd name="connsiteX14279" fmla="*/ 4239192 w 4716235"/>
              <a:gd name="connsiteY14279" fmla="*/ 259294 h 4596459"/>
              <a:gd name="connsiteX14280" fmla="*/ 4246295 w 4716235"/>
              <a:gd name="connsiteY14280" fmla="*/ 252191 h 4596459"/>
              <a:gd name="connsiteX14281" fmla="*/ 4241505 w 4716235"/>
              <a:gd name="connsiteY14281" fmla="*/ 247401 h 4596459"/>
              <a:gd name="connsiteX14282" fmla="*/ 4249267 w 4716235"/>
              <a:gd name="connsiteY14282" fmla="*/ 239639 h 4596459"/>
              <a:gd name="connsiteX14283" fmla="*/ 4245138 w 4716235"/>
              <a:gd name="connsiteY14283" fmla="*/ 235508 h 4596459"/>
              <a:gd name="connsiteX14284" fmla="*/ 4254142 w 4716235"/>
              <a:gd name="connsiteY14284" fmla="*/ 226506 h 4596459"/>
              <a:gd name="connsiteX14285" fmla="*/ 4250920 w 4716235"/>
              <a:gd name="connsiteY14285" fmla="*/ 223284 h 4596459"/>
              <a:gd name="connsiteX14286" fmla="*/ 4261656 w 4716235"/>
              <a:gd name="connsiteY14286" fmla="*/ 212547 h 4596459"/>
              <a:gd name="connsiteX14287" fmla="*/ 4307907 w 4716235"/>
              <a:gd name="connsiteY14287" fmla="*/ 211392 h 4596459"/>
              <a:gd name="connsiteX14288" fmla="*/ 4315671 w 4716235"/>
              <a:gd name="connsiteY14288" fmla="*/ 219156 h 4596459"/>
              <a:gd name="connsiteX14289" fmla="*/ 4307907 w 4716235"/>
              <a:gd name="connsiteY14289" fmla="*/ 226919 h 4596459"/>
              <a:gd name="connsiteX14290" fmla="*/ 4300143 w 4716235"/>
              <a:gd name="connsiteY14290" fmla="*/ 219156 h 4596459"/>
              <a:gd name="connsiteX14291" fmla="*/ 4307907 w 4716235"/>
              <a:gd name="connsiteY14291" fmla="*/ 211392 h 4596459"/>
              <a:gd name="connsiteX14292" fmla="*/ 181347 w 4716235"/>
              <a:gd name="connsiteY14292" fmla="*/ 210401 h 4596459"/>
              <a:gd name="connsiteX14293" fmla="*/ 192083 w 4716235"/>
              <a:gd name="connsiteY14293" fmla="*/ 221137 h 4596459"/>
              <a:gd name="connsiteX14294" fmla="*/ 181347 w 4716235"/>
              <a:gd name="connsiteY14294" fmla="*/ 231875 h 4596459"/>
              <a:gd name="connsiteX14295" fmla="*/ 170610 w 4716235"/>
              <a:gd name="connsiteY14295" fmla="*/ 221137 h 4596459"/>
              <a:gd name="connsiteX14296" fmla="*/ 181347 w 4716235"/>
              <a:gd name="connsiteY14296" fmla="*/ 210401 h 4596459"/>
              <a:gd name="connsiteX14297" fmla="*/ 2815825 w 4716235"/>
              <a:gd name="connsiteY14297" fmla="*/ 209740 h 4596459"/>
              <a:gd name="connsiteX14298" fmla="*/ 2826561 w 4716235"/>
              <a:gd name="connsiteY14298" fmla="*/ 220476 h 4596459"/>
              <a:gd name="connsiteX14299" fmla="*/ 2815825 w 4716235"/>
              <a:gd name="connsiteY14299" fmla="*/ 231212 h 4596459"/>
              <a:gd name="connsiteX14300" fmla="*/ 2805088 w 4716235"/>
              <a:gd name="connsiteY14300" fmla="*/ 220476 h 4596459"/>
              <a:gd name="connsiteX14301" fmla="*/ 2815825 w 4716235"/>
              <a:gd name="connsiteY14301" fmla="*/ 209740 h 4596459"/>
              <a:gd name="connsiteX14302" fmla="*/ 3683357 w 4716235"/>
              <a:gd name="connsiteY14302" fmla="*/ 207593 h 4596459"/>
              <a:gd name="connsiteX14303" fmla="*/ 3694093 w 4716235"/>
              <a:gd name="connsiteY14303" fmla="*/ 218329 h 4596459"/>
              <a:gd name="connsiteX14304" fmla="*/ 3683357 w 4716235"/>
              <a:gd name="connsiteY14304" fmla="*/ 229067 h 4596459"/>
              <a:gd name="connsiteX14305" fmla="*/ 3672621 w 4716235"/>
              <a:gd name="connsiteY14305" fmla="*/ 218329 h 4596459"/>
              <a:gd name="connsiteX14306" fmla="*/ 3683357 w 4716235"/>
              <a:gd name="connsiteY14306" fmla="*/ 207593 h 4596459"/>
              <a:gd name="connsiteX14307" fmla="*/ 3996705 w 4716235"/>
              <a:gd name="connsiteY14307" fmla="*/ 203462 h 4596459"/>
              <a:gd name="connsiteX14308" fmla="*/ 4007442 w 4716235"/>
              <a:gd name="connsiteY14308" fmla="*/ 214198 h 4596459"/>
              <a:gd name="connsiteX14309" fmla="*/ 3996705 w 4716235"/>
              <a:gd name="connsiteY14309" fmla="*/ 224937 h 4596459"/>
              <a:gd name="connsiteX14310" fmla="*/ 3985969 w 4716235"/>
              <a:gd name="connsiteY14310" fmla="*/ 214198 h 4596459"/>
              <a:gd name="connsiteX14311" fmla="*/ 3996705 w 4716235"/>
              <a:gd name="connsiteY14311" fmla="*/ 203462 h 4596459"/>
              <a:gd name="connsiteX14312" fmla="*/ 3863239 w 4716235"/>
              <a:gd name="connsiteY14312" fmla="*/ 199499 h 4596459"/>
              <a:gd name="connsiteX14313" fmla="*/ 3873977 w 4716235"/>
              <a:gd name="connsiteY14313" fmla="*/ 210236 h 4596459"/>
              <a:gd name="connsiteX14314" fmla="*/ 3863239 w 4716235"/>
              <a:gd name="connsiteY14314" fmla="*/ 220972 h 4596459"/>
              <a:gd name="connsiteX14315" fmla="*/ 3852503 w 4716235"/>
              <a:gd name="connsiteY14315" fmla="*/ 210236 h 4596459"/>
              <a:gd name="connsiteX14316" fmla="*/ 3863239 w 4716235"/>
              <a:gd name="connsiteY14316" fmla="*/ 199499 h 4596459"/>
              <a:gd name="connsiteX14317" fmla="*/ 4270410 w 4716235"/>
              <a:gd name="connsiteY14317" fmla="*/ 199333 h 4596459"/>
              <a:gd name="connsiteX14318" fmla="*/ 4281149 w 4716235"/>
              <a:gd name="connsiteY14318" fmla="*/ 210069 h 4596459"/>
              <a:gd name="connsiteX14319" fmla="*/ 4270410 w 4716235"/>
              <a:gd name="connsiteY14319" fmla="*/ 220807 h 4596459"/>
              <a:gd name="connsiteX14320" fmla="*/ 4259674 w 4716235"/>
              <a:gd name="connsiteY14320" fmla="*/ 210069 h 4596459"/>
              <a:gd name="connsiteX14321" fmla="*/ 4270410 w 4716235"/>
              <a:gd name="connsiteY14321" fmla="*/ 199333 h 4596459"/>
              <a:gd name="connsiteX14322" fmla="*/ 839429 w 4716235"/>
              <a:gd name="connsiteY14322" fmla="*/ 193222 h 4596459"/>
              <a:gd name="connsiteX14323" fmla="*/ 850167 w 4716235"/>
              <a:gd name="connsiteY14323" fmla="*/ 203958 h 4596459"/>
              <a:gd name="connsiteX14324" fmla="*/ 839429 w 4716235"/>
              <a:gd name="connsiteY14324" fmla="*/ 214694 h 4596459"/>
              <a:gd name="connsiteX14325" fmla="*/ 828693 w 4716235"/>
              <a:gd name="connsiteY14325" fmla="*/ 203958 h 4596459"/>
              <a:gd name="connsiteX14326" fmla="*/ 839429 w 4716235"/>
              <a:gd name="connsiteY14326" fmla="*/ 193222 h 4596459"/>
              <a:gd name="connsiteX14327" fmla="*/ 4121251 w 4716235"/>
              <a:gd name="connsiteY14327" fmla="*/ 192396 h 4596459"/>
              <a:gd name="connsiteX14328" fmla="*/ 4131989 w 4716235"/>
              <a:gd name="connsiteY14328" fmla="*/ 203133 h 4596459"/>
              <a:gd name="connsiteX14329" fmla="*/ 4121251 w 4716235"/>
              <a:gd name="connsiteY14329" fmla="*/ 213871 h 4596459"/>
              <a:gd name="connsiteX14330" fmla="*/ 4110515 w 4716235"/>
              <a:gd name="connsiteY14330" fmla="*/ 203133 h 4596459"/>
              <a:gd name="connsiteX14331" fmla="*/ 4121251 w 4716235"/>
              <a:gd name="connsiteY14331" fmla="*/ 192396 h 4596459"/>
              <a:gd name="connsiteX14332" fmla="*/ 3317974 w 4716235"/>
              <a:gd name="connsiteY14332" fmla="*/ 192065 h 4596459"/>
              <a:gd name="connsiteX14333" fmla="*/ 3328712 w 4716235"/>
              <a:gd name="connsiteY14333" fmla="*/ 202801 h 4596459"/>
              <a:gd name="connsiteX14334" fmla="*/ 3317974 w 4716235"/>
              <a:gd name="connsiteY14334" fmla="*/ 213540 h 4596459"/>
              <a:gd name="connsiteX14335" fmla="*/ 3307238 w 4716235"/>
              <a:gd name="connsiteY14335" fmla="*/ 202801 h 4596459"/>
              <a:gd name="connsiteX14336" fmla="*/ 3317974 w 4716235"/>
              <a:gd name="connsiteY14336" fmla="*/ 192065 h 4596459"/>
              <a:gd name="connsiteX14337" fmla="*/ 4282468 w 4716235"/>
              <a:gd name="connsiteY14337" fmla="*/ 184797 h 4596459"/>
              <a:gd name="connsiteX14338" fmla="*/ 4293205 w 4716235"/>
              <a:gd name="connsiteY14338" fmla="*/ 195533 h 4596459"/>
              <a:gd name="connsiteX14339" fmla="*/ 4282468 w 4716235"/>
              <a:gd name="connsiteY14339" fmla="*/ 206270 h 4596459"/>
              <a:gd name="connsiteX14340" fmla="*/ 4271732 w 4716235"/>
              <a:gd name="connsiteY14340" fmla="*/ 195533 h 4596459"/>
              <a:gd name="connsiteX14341" fmla="*/ 4282468 w 4716235"/>
              <a:gd name="connsiteY14341" fmla="*/ 184797 h 4596459"/>
              <a:gd name="connsiteX14342" fmla="*/ 2636437 w 4716235"/>
              <a:gd name="connsiteY14342" fmla="*/ 179842 h 4596459"/>
              <a:gd name="connsiteX14343" fmla="*/ 2647173 w 4716235"/>
              <a:gd name="connsiteY14343" fmla="*/ 190579 h 4596459"/>
              <a:gd name="connsiteX14344" fmla="*/ 2636437 w 4716235"/>
              <a:gd name="connsiteY14344" fmla="*/ 201317 h 4596459"/>
              <a:gd name="connsiteX14345" fmla="*/ 2625701 w 4716235"/>
              <a:gd name="connsiteY14345" fmla="*/ 190579 h 4596459"/>
              <a:gd name="connsiteX14346" fmla="*/ 2636437 w 4716235"/>
              <a:gd name="connsiteY14346" fmla="*/ 179842 h 4596459"/>
              <a:gd name="connsiteX14347" fmla="*/ 4141073 w 4716235"/>
              <a:gd name="connsiteY14347" fmla="*/ 174390 h 4596459"/>
              <a:gd name="connsiteX14348" fmla="*/ 4151809 w 4716235"/>
              <a:gd name="connsiteY14348" fmla="*/ 185126 h 4596459"/>
              <a:gd name="connsiteX14349" fmla="*/ 4141073 w 4716235"/>
              <a:gd name="connsiteY14349" fmla="*/ 195865 h 4596459"/>
              <a:gd name="connsiteX14350" fmla="*/ 4130337 w 4716235"/>
              <a:gd name="connsiteY14350" fmla="*/ 185126 h 4596459"/>
              <a:gd name="connsiteX14351" fmla="*/ 4141073 w 4716235"/>
              <a:gd name="connsiteY14351" fmla="*/ 174390 h 4596459"/>
              <a:gd name="connsiteX14352" fmla="*/ 4041470 w 4716235"/>
              <a:gd name="connsiteY14352" fmla="*/ 172904 h 4596459"/>
              <a:gd name="connsiteX14353" fmla="*/ 4052206 w 4716235"/>
              <a:gd name="connsiteY14353" fmla="*/ 183640 h 4596459"/>
              <a:gd name="connsiteX14354" fmla="*/ 4041470 w 4716235"/>
              <a:gd name="connsiteY14354" fmla="*/ 194378 h 4596459"/>
              <a:gd name="connsiteX14355" fmla="*/ 4030734 w 4716235"/>
              <a:gd name="connsiteY14355" fmla="*/ 183640 h 4596459"/>
              <a:gd name="connsiteX14356" fmla="*/ 4041470 w 4716235"/>
              <a:gd name="connsiteY14356" fmla="*/ 172904 h 4596459"/>
              <a:gd name="connsiteX14357" fmla="*/ 4245964 w 4716235"/>
              <a:gd name="connsiteY14357" fmla="*/ 172574 h 4596459"/>
              <a:gd name="connsiteX14358" fmla="*/ 4256700 w 4716235"/>
              <a:gd name="connsiteY14358" fmla="*/ 183311 h 4596459"/>
              <a:gd name="connsiteX14359" fmla="*/ 4247120 w 4716235"/>
              <a:gd name="connsiteY14359" fmla="*/ 192892 h 4596459"/>
              <a:gd name="connsiteX14360" fmla="*/ 4248771 w 4716235"/>
              <a:gd name="connsiteY14360" fmla="*/ 194543 h 4596459"/>
              <a:gd name="connsiteX14361" fmla="*/ 4240761 w 4716235"/>
              <a:gd name="connsiteY14361" fmla="*/ 202555 h 4596459"/>
              <a:gd name="connsiteX14362" fmla="*/ 4243156 w 4716235"/>
              <a:gd name="connsiteY14362" fmla="*/ 204950 h 4596459"/>
              <a:gd name="connsiteX14363" fmla="*/ 4236302 w 4716235"/>
              <a:gd name="connsiteY14363" fmla="*/ 211803 h 4596459"/>
              <a:gd name="connsiteX14364" fmla="*/ 4239358 w 4716235"/>
              <a:gd name="connsiteY14364" fmla="*/ 214859 h 4596459"/>
              <a:gd name="connsiteX14365" fmla="*/ 4232749 w 4716235"/>
              <a:gd name="connsiteY14365" fmla="*/ 221468 h 4596459"/>
              <a:gd name="connsiteX14366" fmla="*/ 4236382 w 4716235"/>
              <a:gd name="connsiteY14366" fmla="*/ 225101 h 4596459"/>
              <a:gd name="connsiteX14367" fmla="*/ 4229279 w 4716235"/>
              <a:gd name="connsiteY14367" fmla="*/ 232204 h 4596459"/>
              <a:gd name="connsiteX14368" fmla="*/ 4233410 w 4716235"/>
              <a:gd name="connsiteY14368" fmla="*/ 236334 h 4596459"/>
              <a:gd name="connsiteX14369" fmla="*/ 4224656 w 4716235"/>
              <a:gd name="connsiteY14369" fmla="*/ 245088 h 4596459"/>
              <a:gd name="connsiteX14370" fmla="*/ 4228951 w 4716235"/>
              <a:gd name="connsiteY14370" fmla="*/ 249383 h 4596459"/>
              <a:gd name="connsiteX14371" fmla="*/ 4218213 w 4716235"/>
              <a:gd name="connsiteY14371" fmla="*/ 260120 h 4596459"/>
              <a:gd name="connsiteX14372" fmla="*/ 4207477 w 4716235"/>
              <a:gd name="connsiteY14372" fmla="*/ 249383 h 4596459"/>
              <a:gd name="connsiteX14373" fmla="*/ 4216231 w 4716235"/>
              <a:gd name="connsiteY14373" fmla="*/ 240629 h 4596459"/>
              <a:gd name="connsiteX14374" fmla="*/ 4211937 w 4716235"/>
              <a:gd name="connsiteY14374" fmla="*/ 236334 h 4596459"/>
              <a:gd name="connsiteX14375" fmla="*/ 4219039 w 4716235"/>
              <a:gd name="connsiteY14375" fmla="*/ 229232 h 4596459"/>
              <a:gd name="connsiteX14376" fmla="*/ 4214910 w 4716235"/>
              <a:gd name="connsiteY14376" fmla="*/ 225101 h 4596459"/>
              <a:gd name="connsiteX14377" fmla="*/ 4221517 w 4716235"/>
              <a:gd name="connsiteY14377" fmla="*/ 218494 h 4596459"/>
              <a:gd name="connsiteX14378" fmla="*/ 4217884 w 4716235"/>
              <a:gd name="connsiteY14378" fmla="*/ 214859 h 4596459"/>
              <a:gd name="connsiteX14379" fmla="*/ 4224737 w 4716235"/>
              <a:gd name="connsiteY14379" fmla="*/ 208006 h 4596459"/>
              <a:gd name="connsiteX14380" fmla="*/ 4221683 w 4716235"/>
              <a:gd name="connsiteY14380" fmla="*/ 204950 h 4596459"/>
              <a:gd name="connsiteX14381" fmla="*/ 4229694 w 4716235"/>
              <a:gd name="connsiteY14381" fmla="*/ 196940 h 4596459"/>
              <a:gd name="connsiteX14382" fmla="*/ 4227299 w 4716235"/>
              <a:gd name="connsiteY14382" fmla="*/ 194543 h 4596459"/>
              <a:gd name="connsiteX14383" fmla="*/ 4236878 w 4716235"/>
              <a:gd name="connsiteY14383" fmla="*/ 184963 h 4596459"/>
              <a:gd name="connsiteX14384" fmla="*/ 4235227 w 4716235"/>
              <a:gd name="connsiteY14384" fmla="*/ 183311 h 4596459"/>
              <a:gd name="connsiteX14385" fmla="*/ 4245964 w 4716235"/>
              <a:gd name="connsiteY14385" fmla="*/ 172574 h 4596459"/>
              <a:gd name="connsiteX14386" fmla="*/ 315970 w 4716235"/>
              <a:gd name="connsiteY14386" fmla="*/ 170922 h 4596459"/>
              <a:gd name="connsiteX14387" fmla="*/ 326706 w 4716235"/>
              <a:gd name="connsiteY14387" fmla="*/ 181658 h 4596459"/>
              <a:gd name="connsiteX14388" fmla="*/ 315970 w 4716235"/>
              <a:gd name="connsiteY14388" fmla="*/ 192396 h 4596459"/>
              <a:gd name="connsiteX14389" fmla="*/ 305234 w 4716235"/>
              <a:gd name="connsiteY14389" fmla="*/ 181658 h 4596459"/>
              <a:gd name="connsiteX14390" fmla="*/ 315970 w 4716235"/>
              <a:gd name="connsiteY14390" fmla="*/ 170922 h 4596459"/>
              <a:gd name="connsiteX14391" fmla="*/ 1024432 w 4716235"/>
              <a:gd name="connsiteY14391" fmla="*/ 165636 h 4596459"/>
              <a:gd name="connsiteX14392" fmla="*/ 1035170 w 4716235"/>
              <a:gd name="connsiteY14392" fmla="*/ 176372 h 4596459"/>
              <a:gd name="connsiteX14393" fmla="*/ 1024432 w 4716235"/>
              <a:gd name="connsiteY14393" fmla="*/ 187110 h 4596459"/>
              <a:gd name="connsiteX14394" fmla="*/ 1013696 w 4716235"/>
              <a:gd name="connsiteY14394" fmla="*/ 176372 h 4596459"/>
              <a:gd name="connsiteX14395" fmla="*/ 1024432 w 4716235"/>
              <a:gd name="connsiteY14395" fmla="*/ 165636 h 4596459"/>
              <a:gd name="connsiteX14396" fmla="*/ 3579292 w 4716235"/>
              <a:gd name="connsiteY14396" fmla="*/ 164810 h 4596459"/>
              <a:gd name="connsiteX14397" fmla="*/ 3590030 w 4716235"/>
              <a:gd name="connsiteY14397" fmla="*/ 175547 h 4596459"/>
              <a:gd name="connsiteX14398" fmla="*/ 3579292 w 4716235"/>
              <a:gd name="connsiteY14398" fmla="*/ 186283 h 4596459"/>
              <a:gd name="connsiteX14399" fmla="*/ 3568556 w 4716235"/>
              <a:gd name="connsiteY14399" fmla="*/ 175547 h 4596459"/>
              <a:gd name="connsiteX14400" fmla="*/ 3579292 w 4716235"/>
              <a:gd name="connsiteY14400" fmla="*/ 164810 h 4596459"/>
              <a:gd name="connsiteX14401" fmla="*/ 4257031 w 4716235"/>
              <a:gd name="connsiteY14401" fmla="*/ 159854 h 4596459"/>
              <a:gd name="connsiteX14402" fmla="*/ 4267769 w 4716235"/>
              <a:gd name="connsiteY14402" fmla="*/ 170591 h 4596459"/>
              <a:gd name="connsiteX14403" fmla="*/ 4257031 w 4716235"/>
              <a:gd name="connsiteY14403" fmla="*/ 181329 h 4596459"/>
              <a:gd name="connsiteX14404" fmla="*/ 4246295 w 4716235"/>
              <a:gd name="connsiteY14404" fmla="*/ 170591 h 4596459"/>
              <a:gd name="connsiteX14405" fmla="*/ 4257031 w 4716235"/>
              <a:gd name="connsiteY14405" fmla="*/ 159854 h 4596459"/>
              <a:gd name="connsiteX14406" fmla="*/ 3930633 w 4716235"/>
              <a:gd name="connsiteY14406" fmla="*/ 159689 h 4596459"/>
              <a:gd name="connsiteX14407" fmla="*/ 3941369 w 4716235"/>
              <a:gd name="connsiteY14407" fmla="*/ 170426 h 4596459"/>
              <a:gd name="connsiteX14408" fmla="*/ 3930633 w 4716235"/>
              <a:gd name="connsiteY14408" fmla="*/ 181164 h 4596459"/>
              <a:gd name="connsiteX14409" fmla="*/ 3919897 w 4716235"/>
              <a:gd name="connsiteY14409" fmla="*/ 170426 h 4596459"/>
              <a:gd name="connsiteX14410" fmla="*/ 3930633 w 4716235"/>
              <a:gd name="connsiteY14410" fmla="*/ 159689 h 4596459"/>
              <a:gd name="connsiteX14411" fmla="*/ 3779988 w 4716235"/>
              <a:gd name="connsiteY14411" fmla="*/ 155725 h 4596459"/>
              <a:gd name="connsiteX14412" fmla="*/ 3790726 w 4716235"/>
              <a:gd name="connsiteY14412" fmla="*/ 166461 h 4596459"/>
              <a:gd name="connsiteX14413" fmla="*/ 3779988 w 4716235"/>
              <a:gd name="connsiteY14413" fmla="*/ 177200 h 4596459"/>
              <a:gd name="connsiteX14414" fmla="*/ 3769251 w 4716235"/>
              <a:gd name="connsiteY14414" fmla="*/ 166461 h 4596459"/>
              <a:gd name="connsiteX14415" fmla="*/ 3779988 w 4716235"/>
              <a:gd name="connsiteY14415" fmla="*/ 155725 h 4596459"/>
              <a:gd name="connsiteX14416" fmla="*/ 2446974 w 4716235"/>
              <a:gd name="connsiteY14416" fmla="*/ 154404 h 4596459"/>
              <a:gd name="connsiteX14417" fmla="*/ 2457710 w 4716235"/>
              <a:gd name="connsiteY14417" fmla="*/ 165140 h 4596459"/>
              <a:gd name="connsiteX14418" fmla="*/ 2446974 w 4716235"/>
              <a:gd name="connsiteY14418" fmla="*/ 175878 h 4596459"/>
              <a:gd name="connsiteX14419" fmla="*/ 2436237 w 4716235"/>
              <a:gd name="connsiteY14419" fmla="*/ 165140 h 4596459"/>
              <a:gd name="connsiteX14420" fmla="*/ 2446974 w 4716235"/>
              <a:gd name="connsiteY14420" fmla="*/ 154404 h 4596459"/>
              <a:gd name="connsiteX14421" fmla="*/ 3178563 w 4716235"/>
              <a:gd name="connsiteY14421" fmla="*/ 152917 h 4596459"/>
              <a:gd name="connsiteX14422" fmla="*/ 3189299 w 4716235"/>
              <a:gd name="connsiteY14422" fmla="*/ 163654 h 4596459"/>
              <a:gd name="connsiteX14423" fmla="*/ 3178563 w 4716235"/>
              <a:gd name="connsiteY14423" fmla="*/ 174390 h 4596459"/>
              <a:gd name="connsiteX14424" fmla="*/ 3167827 w 4716235"/>
              <a:gd name="connsiteY14424" fmla="*/ 163654 h 4596459"/>
              <a:gd name="connsiteX14425" fmla="*/ 3178563 w 4716235"/>
              <a:gd name="connsiteY14425" fmla="*/ 152917 h 4596459"/>
              <a:gd name="connsiteX14426" fmla="*/ 4271567 w 4716235"/>
              <a:gd name="connsiteY14426" fmla="*/ 149779 h 4596459"/>
              <a:gd name="connsiteX14427" fmla="*/ 4277845 w 4716235"/>
              <a:gd name="connsiteY14427" fmla="*/ 156056 h 4596459"/>
              <a:gd name="connsiteX14428" fmla="*/ 4271567 w 4716235"/>
              <a:gd name="connsiteY14428" fmla="*/ 162332 h 4596459"/>
              <a:gd name="connsiteX14429" fmla="*/ 4265291 w 4716235"/>
              <a:gd name="connsiteY14429" fmla="*/ 156056 h 4596459"/>
              <a:gd name="connsiteX14430" fmla="*/ 4271567 w 4716235"/>
              <a:gd name="connsiteY14430" fmla="*/ 149779 h 4596459"/>
              <a:gd name="connsiteX14431" fmla="*/ 4075497 w 4716235"/>
              <a:gd name="connsiteY14431" fmla="*/ 149779 h 4596459"/>
              <a:gd name="connsiteX14432" fmla="*/ 4086233 w 4716235"/>
              <a:gd name="connsiteY14432" fmla="*/ 160515 h 4596459"/>
              <a:gd name="connsiteX14433" fmla="*/ 4075497 w 4716235"/>
              <a:gd name="connsiteY14433" fmla="*/ 171253 h 4596459"/>
              <a:gd name="connsiteX14434" fmla="*/ 4064760 w 4716235"/>
              <a:gd name="connsiteY14434" fmla="*/ 160515 h 4596459"/>
              <a:gd name="connsiteX14435" fmla="*/ 4075497 w 4716235"/>
              <a:gd name="connsiteY14435" fmla="*/ 149779 h 4596459"/>
              <a:gd name="connsiteX14436" fmla="*/ 1218521 w 4716235"/>
              <a:gd name="connsiteY14436" fmla="*/ 143007 h 4596459"/>
              <a:gd name="connsiteX14437" fmla="*/ 1229259 w 4716235"/>
              <a:gd name="connsiteY14437" fmla="*/ 153743 h 4596459"/>
              <a:gd name="connsiteX14438" fmla="*/ 1218521 w 4716235"/>
              <a:gd name="connsiteY14438" fmla="*/ 164479 h 4596459"/>
              <a:gd name="connsiteX14439" fmla="*/ 1207784 w 4716235"/>
              <a:gd name="connsiteY14439" fmla="*/ 153743 h 4596459"/>
              <a:gd name="connsiteX14440" fmla="*/ 1218521 w 4716235"/>
              <a:gd name="connsiteY14440" fmla="*/ 143007 h 4596459"/>
              <a:gd name="connsiteX14441" fmla="*/ 40777 w 4716235"/>
              <a:gd name="connsiteY14441" fmla="*/ 142015 h 4596459"/>
              <a:gd name="connsiteX14442" fmla="*/ 51515 w 4716235"/>
              <a:gd name="connsiteY14442" fmla="*/ 152751 h 4596459"/>
              <a:gd name="connsiteX14443" fmla="*/ 40777 w 4716235"/>
              <a:gd name="connsiteY14443" fmla="*/ 163489 h 4596459"/>
              <a:gd name="connsiteX14444" fmla="*/ 30041 w 4716235"/>
              <a:gd name="connsiteY14444" fmla="*/ 152751 h 4596459"/>
              <a:gd name="connsiteX14445" fmla="*/ 40777 w 4716235"/>
              <a:gd name="connsiteY14445" fmla="*/ 142015 h 4596459"/>
              <a:gd name="connsiteX14446" fmla="*/ 2249087 w 4716235"/>
              <a:gd name="connsiteY14446" fmla="*/ 134417 h 4596459"/>
              <a:gd name="connsiteX14447" fmla="*/ 2259826 w 4716235"/>
              <a:gd name="connsiteY14447" fmla="*/ 145153 h 4596459"/>
              <a:gd name="connsiteX14448" fmla="*/ 2249087 w 4716235"/>
              <a:gd name="connsiteY14448" fmla="*/ 155892 h 4596459"/>
              <a:gd name="connsiteX14449" fmla="*/ 2238351 w 4716235"/>
              <a:gd name="connsiteY14449" fmla="*/ 145153 h 4596459"/>
              <a:gd name="connsiteX14450" fmla="*/ 2249087 w 4716235"/>
              <a:gd name="connsiteY14450" fmla="*/ 134417 h 4596459"/>
              <a:gd name="connsiteX14451" fmla="*/ 4231263 w 4716235"/>
              <a:gd name="connsiteY14451" fmla="*/ 133756 h 4596459"/>
              <a:gd name="connsiteX14452" fmla="*/ 4242001 w 4716235"/>
              <a:gd name="connsiteY14452" fmla="*/ 144493 h 4596459"/>
              <a:gd name="connsiteX14453" fmla="*/ 4231592 w 4716235"/>
              <a:gd name="connsiteY14453" fmla="*/ 154901 h 4596459"/>
              <a:gd name="connsiteX14454" fmla="*/ 4231757 w 4716235"/>
              <a:gd name="connsiteY14454" fmla="*/ 155064 h 4596459"/>
              <a:gd name="connsiteX14455" fmla="*/ 4223417 w 4716235"/>
              <a:gd name="connsiteY14455" fmla="*/ 163406 h 4596459"/>
              <a:gd name="connsiteX14456" fmla="*/ 4224326 w 4716235"/>
              <a:gd name="connsiteY14456" fmla="*/ 164315 h 4596459"/>
              <a:gd name="connsiteX14457" fmla="*/ 4217223 w 4716235"/>
              <a:gd name="connsiteY14457" fmla="*/ 171418 h 4596459"/>
              <a:gd name="connsiteX14458" fmla="*/ 4218709 w 4716235"/>
              <a:gd name="connsiteY14458" fmla="*/ 172904 h 4596459"/>
              <a:gd name="connsiteX14459" fmla="*/ 4212515 w 4716235"/>
              <a:gd name="connsiteY14459" fmla="*/ 179098 h 4596459"/>
              <a:gd name="connsiteX14460" fmla="*/ 4214414 w 4716235"/>
              <a:gd name="connsiteY14460" fmla="*/ 180997 h 4596459"/>
              <a:gd name="connsiteX14461" fmla="*/ 4208138 w 4716235"/>
              <a:gd name="connsiteY14461" fmla="*/ 187275 h 4596459"/>
              <a:gd name="connsiteX14462" fmla="*/ 4210451 w 4716235"/>
              <a:gd name="connsiteY14462" fmla="*/ 189587 h 4596459"/>
              <a:gd name="connsiteX14463" fmla="*/ 4203181 w 4716235"/>
              <a:gd name="connsiteY14463" fmla="*/ 196855 h 4596459"/>
              <a:gd name="connsiteX14464" fmla="*/ 4205659 w 4716235"/>
              <a:gd name="connsiteY14464" fmla="*/ 199333 h 4596459"/>
              <a:gd name="connsiteX14465" fmla="*/ 4196409 w 4716235"/>
              <a:gd name="connsiteY14465" fmla="*/ 208585 h 4596459"/>
              <a:gd name="connsiteX14466" fmla="*/ 4198887 w 4716235"/>
              <a:gd name="connsiteY14466" fmla="*/ 211061 h 4596459"/>
              <a:gd name="connsiteX14467" fmla="*/ 4188151 w 4716235"/>
              <a:gd name="connsiteY14467" fmla="*/ 221799 h 4596459"/>
              <a:gd name="connsiteX14468" fmla="*/ 4177415 w 4716235"/>
              <a:gd name="connsiteY14468" fmla="*/ 211061 h 4596459"/>
              <a:gd name="connsiteX14469" fmla="*/ 4186665 w 4716235"/>
              <a:gd name="connsiteY14469" fmla="*/ 201811 h 4596459"/>
              <a:gd name="connsiteX14470" fmla="*/ 4184187 w 4716235"/>
              <a:gd name="connsiteY14470" fmla="*/ 199333 h 4596459"/>
              <a:gd name="connsiteX14471" fmla="*/ 4191455 w 4716235"/>
              <a:gd name="connsiteY14471" fmla="*/ 192065 h 4596459"/>
              <a:gd name="connsiteX14472" fmla="*/ 4188977 w 4716235"/>
              <a:gd name="connsiteY14472" fmla="*/ 189587 h 4596459"/>
              <a:gd name="connsiteX14473" fmla="*/ 4195253 w 4716235"/>
              <a:gd name="connsiteY14473" fmla="*/ 183311 h 4596459"/>
              <a:gd name="connsiteX14474" fmla="*/ 4192941 w 4716235"/>
              <a:gd name="connsiteY14474" fmla="*/ 180997 h 4596459"/>
              <a:gd name="connsiteX14475" fmla="*/ 4199134 w 4716235"/>
              <a:gd name="connsiteY14475" fmla="*/ 174805 h 4596459"/>
              <a:gd name="connsiteX14476" fmla="*/ 4197235 w 4716235"/>
              <a:gd name="connsiteY14476" fmla="*/ 172904 h 4596459"/>
              <a:gd name="connsiteX14477" fmla="*/ 4204338 w 4716235"/>
              <a:gd name="connsiteY14477" fmla="*/ 165801 h 4596459"/>
              <a:gd name="connsiteX14478" fmla="*/ 4202852 w 4716235"/>
              <a:gd name="connsiteY14478" fmla="*/ 164315 h 4596459"/>
              <a:gd name="connsiteX14479" fmla="*/ 4211193 w 4716235"/>
              <a:gd name="connsiteY14479" fmla="*/ 155973 h 4596459"/>
              <a:gd name="connsiteX14480" fmla="*/ 4210284 w 4716235"/>
              <a:gd name="connsiteY14480" fmla="*/ 155064 h 4596459"/>
              <a:gd name="connsiteX14481" fmla="*/ 4220691 w 4716235"/>
              <a:gd name="connsiteY14481" fmla="*/ 144657 h 4596459"/>
              <a:gd name="connsiteX14482" fmla="*/ 4220527 w 4716235"/>
              <a:gd name="connsiteY14482" fmla="*/ 144493 h 4596459"/>
              <a:gd name="connsiteX14483" fmla="*/ 4231263 w 4716235"/>
              <a:gd name="connsiteY14483" fmla="*/ 133756 h 4596459"/>
              <a:gd name="connsiteX14484" fmla="*/ 461000 w 4716235"/>
              <a:gd name="connsiteY14484" fmla="*/ 132600 h 4596459"/>
              <a:gd name="connsiteX14485" fmla="*/ 471736 w 4716235"/>
              <a:gd name="connsiteY14485" fmla="*/ 143336 h 4596459"/>
              <a:gd name="connsiteX14486" fmla="*/ 461000 w 4716235"/>
              <a:gd name="connsiteY14486" fmla="*/ 154074 h 4596459"/>
              <a:gd name="connsiteX14487" fmla="*/ 450264 w 4716235"/>
              <a:gd name="connsiteY14487" fmla="*/ 143336 h 4596459"/>
              <a:gd name="connsiteX14488" fmla="*/ 461000 w 4716235"/>
              <a:gd name="connsiteY14488" fmla="*/ 132600 h 4596459"/>
              <a:gd name="connsiteX14489" fmla="*/ 4100604 w 4716235"/>
              <a:gd name="connsiteY14489" fmla="*/ 132435 h 4596459"/>
              <a:gd name="connsiteX14490" fmla="*/ 4111342 w 4716235"/>
              <a:gd name="connsiteY14490" fmla="*/ 143171 h 4596459"/>
              <a:gd name="connsiteX14491" fmla="*/ 4100604 w 4716235"/>
              <a:gd name="connsiteY14491" fmla="*/ 153908 h 4596459"/>
              <a:gd name="connsiteX14492" fmla="*/ 4089868 w 4716235"/>
              <a:gd name="connsiteY14492" fmla="*/ 143171 h 4596459"/>
              <a:gd name="connsiteX14493" fmla="*/ 4100604 w 4716235"/>
              <a:gd name="connsiteY14493" fmla="*/ 132435 h 4596459"/>
              <a:gd name="connsiteX14494" fmla="*/ 3983820 w 4716235"/>
              <a:gd name="connsiteY14494" fmla="*/ 129131 h 4596459"/>
              <a:gd name="connsiteX14495" fmla="*/ 3994557 w 4716235"/>
              <a:gd name="connsiteY14495" fmla="*/ 139868 h 4596459"/>
              <a:gd name="connsiteX14496" fmla="*/ 3983820 w 4716235"/>
              <a:gd name="connsiteY14496" fmla="*/ 150606 h 4596459"/>
              <a:gd name="connsiteX14497" fmla="*/ 3973084 w 4716235"/>
              <a:gd name="connsiteY14497" fmla="*/ 139868 h 4596459"/>
              <a:gd name="connsiteX14498" fmla="*/ 3983820 w 4716235"/>
              <a:gd name="connsiteY14498" fmla="*/ 129131 h 4596459"/>
              <a:gd name="connsiteX14499" fmla="*/ 1420371 w 4716235"/>
              <a:gd name="connsiteY14499" fmla="*/ 126489 h 4596459"/>
              <a:gd name="connsiteX14500" fmla="*/ 1431109 w 4716235"/>
              <a:gd name="connsiteY14500" fmla="*/ 137225 h 4596459"/>
              <a:gd name="connsiteX14501" fmla="*/ 1420371 w 4716235"/>
              <a:gd name="connsiteY14501" fmla="*/ 147961 h 4596459"/>
              <a:gd name="connsiteX14502" fmla="*/ 1409635 w 4716235"/>
              <a:gd name="connsiteY14502" fmla="*/ 137225 h 4596459"/>
              <a:gd name="connsiteX14503" fmla="*/ 1420371 w 4716235"/>
              <a:gd name="connsiteY14503" fmla="*/ 126489 h 4596459"/>
              <a:gd name="connsiteX14504" fmla="*/ 3465812 w 4716235"/>
              <a:gd name="connsiteY14504" fmla="*/ 122359 h 4596459"/>
              <a:gd name="connsiteX14505" fmla="*/ 3476548 w 4716235"/>
              <a:gd name="connsiteY14505" fmla="*/ 133096 h 4596459"/>
              <a:gd name="connsiteX14506" fmla="*/ 3465812 w 4716235"/>
              <a:gd name="connsiteY14506" fmla="*/ 143832 h 4596459"/>
              <a:gd name="connsiteX14507" fmla="*/ 3455076 w 4716235"/>
              <a:gd name="connsiteY14507" fmla="*/ 133096 h 4596459"/>
              <a:gd name="connsiteX14508" fmla="*/ 3465812 w 4716235"/>
              <a:gd name="connsiteY14508" fmla="*/ 122359 h 4596459"/>
              <a:gd name="connsiteX14509" fmla="*/ 4244807 w 4716235"/>
              <a:gd name="connsiteY14509" fmla="*/ 121203 h 4596459"/>
              <a:gd name="connsiteX14510" fmla="*/ 4255543 w 4716235"/>
              <a:gd name="connsiteY14510" fmla="*/ 131939 h 4596459"/>
              <a:gd name="connsiteX14511" fmla="*/ 4244807 w 4716235"/>
              <a:gd name="connsiteY14511" fmla="*/ 142675 h 4596459"/>
              <a:gd name="connsiteX14512" fmla="*/ 4234071 w 4716235"/>
              <a:gd name="connsiteY14512" fmla="*/ 131939 h 4596459"/>
              <a:gd name="connsiteX14513" fmla="*/ 4244807 w 4716235"/>
              <a:gd name="connsiteY14513" fmla="*/ 121203 h 4596459"/>
              <a:gd name="connsiteX14514" fmla="*/ 2044592 w 4716235"/>
              <a:gd name="connsiteY14514" fmla="*/ 121038 h 4596459"/>
              <a:gd name="connsiteX14515" fmla="*/ 2055330 w 4716235"/>
              <a:gd name="connsiteY14515" fmla="*/ 131774 h 4596459"/>
              <a:gd name="connsiteX14516" fmla="*/ 2044592 w 4716235"/>
              <a:gd name="connsiteY14516" fmla="*/ 142511 h 4596459"/>
              <a:gd name="connsiteX14517" fmla="*/ 2033855 w 4716235"/>
              <a:gd name="connsiteY14517" fmla="*/ 131774 h 4596459"/>
              <a:gd name="connsiteX14518" fmla="*/ 2044592 w 4716235"/>
              <a:gd name="connsiteY14518" fmla="*/ 121038 h 4596459"/>
              <a:gd name="connsiteX14519" fmla="*/ 4118773 w 4716235"/>
              <a:gd name="connsiteY14519" fmla="*/ 119881 h 4596459"/>
              <a:gd name="connsiteX14520" fmla="*/ 4129511 w 4716235"/>
              <a:gd name="connsiteY14520" fmla="*/ 130618 h 4596459"/>
              <a:gd name="connsiteX14521" fmla="*/ 4118773 w 4716235"/>
              <a:gd name="connsiteY14521" fmla="*/ 141354 h 4596459"/>
              <a:gd name="connsiteX14522" fmla="*/ 4108037 w 4716235"/>
              <a:gd name="connsiteY14522" fmla="*/ 130618 h 4596459"/>
              <a:gd name="connsiteX14523" fmla="*/ 4118773 w 4716235"/>
              <a:gd name="connsiteY14523" fmla="*/ 119881 h 4596459"/>
              <a:gd name="connsiteX14524" fmla="*/ 1627180 w 4716235"/>
              <a:gd name="connsiteY14524" fmla="*/ 116909 h 4596459"/>
              <a:gd name="connsiteX14525" fmla="*/ 1637918 w 4716235"/>
              <a:gd name="connsiteY14525" fmla="*/ 127645 h 4596459"/>
              <a:gd name="connsiteX14526" fmla="*/ 1627180 w 4716235"/>
              <a:gd name="connsiteY14526" fmla="*/ 138381 h 4596459"/>
              <a:gd name="connsiteX14527" fmla="*/ 1616444 w 4716235"/>
              <a:gd name="connsiteY14527" fmla="*/ 127645 h 4596459"/>
              <a:gd name="connsiteX14528" fmla="*/ 1627180 w 4716235"/>
              <a:gd name="connsiteY14528" fmla="*/ 116909 h 4596459"/>
              <a:gd name="connsiteX14529" fmla="*/ 3028576 w 4716235"/>
              <a:gd name="connsiteY14529" fmla="*/ 115421 h 4596459"/>
              <a:gd name="connsiteX14530" fmla="*/ 3039315 w 4716235"/>
              <a:gd name="connsiteY14530" fmla="*/ 126157 h 4596459"/>
              <a:gd name="connsiteX14531" fmla="*/ 3028576 w 4716235"/>
              <a:gd name="connsiteY14531" fmla="*/ 136895 h 4596459"/>
              <a:gd name="connsiteX14532" fmla="*/ 3017840 w 4716235"/>
              <a:gd name="connsiteY14532" fmla="*/ 126157 h 4596459"/>
              <a:gd name="connsiteX14533" fmla="*/ 3028576 w 4716235"/>
              <a:gd name="connsiteY14533" fmla="*/ 115421 h 4596459"/>
              <a:gd name="connsiteX14534" fmla="*/ 3857953 w 4716235"/>
              <a:gd name="connsiteY14534" fmla="*/ 115091 h 4596459"/>
              <a:gd name="connsiteX14535" fmla="*/ 3868691 w 4716235"/>
              <a:gd name="connsiteY14535" fmla="*/ 125828 h 4596459"/>
              <a:gd name="connsiteX14536" fmla="*/ 3857953 w 4716235"/>
              <a:gd name="connsiteY14536" fmla="*/ 136566 h 4596459"/>
              <a:gd name="connsiteX14537" fmla="*/ 3847217 w 4716235"/>
              <a:gd name="connsiteY14537" fmla="*/ 125828 h 4596459"/>
              <a:gd name="connsiteX14538" fmla="*/ 3857953 w 4716235"/>
              <a:gd name="connsiteY14538" fmla="*/ 115091 h 4596459"/>
              <a:gd name="connsiteX14539" fmla="*/ 1836299 w 4716235"/>
              <a:gd name="connsiteY14539" fmla="*/ 115091 h 4596459"/>
              <a:gd name="connsiteX14540" fmla="*/ 1847037 w 4716235"/>
              <a:gd name="connsiteY14540" fmla="*/ 125828 h 4596459"/>
              <a:gd name="connsiteX14541" fmla="*/ 1836299 w 4716235"/>
              <a:gd name="connsiteY14541" fmla="*/ 136566 h 4596459"/>
              <a:gd name="connsiteX14542" fmla="*/ 1825562 w 4716235"/>
              <a:gd name="connsiteY14542" fmla="*/ 125828 h 4596459"/>
              <a:gd name="connsiteX14543" fmla="*/ 1836299 w 4716235"/>
              <a:gd name="connsiteY14543" fmla="*/ 115091 h 4596459"/>
              <a:gd name="connsiteX14544" fmla="*/ 3688643 w 4716235"/>
              <a:gd name="connsiteY14544" fmla="*/ 111456 h 4596459"/>
              <a:gd name="connsiteX14545" fmla="*/ 3699381 w 4716235"/>
              <a:gd name="connsiteY14545" fmla="*/ 122193 h 4596459"/>
              <a:gd name="connsiteX14546" fmla="*/ 3688643 w 4716235"/>
              <a:gd name="connsiteY14546" fmla="*/ 132931 h 4596459"/>
              <a:gd name="connsiteX14547" fmla="*/ 3677906 w 4716235"/>
              <a:gd name="connsiteY14547" fmla="*/ 122193 h 4596459"/>
              <a:gd name="connsiteX14548" fmla="*/ 3688643 w 4716235"/>
              <a:gd name="connsiteY14548" fmla="*/ 111456 h 4596459"/>
              <a:gd name="connsiteX14549" fmla="*/ 4205328 w 4716235"/>
              <a:gd name="connsiteY14549" fmla="*/ 106171 h 4596459"/>
              <a:gd name="connsiteX14550" fmla="*/ 4216066 w 4716235"/>
              <a:gd name="connsiteY14550" fmla="*/ 116907 h 4596459"/>
              <a:gd name="connsiteX14551" fmla="*/ 4205328 w 4716235"/>
              <a:gd name="connsiteY14551" fmla="*/ 127645 h 4596459"/>
              <a:gd name="connsiteX14552" fmla="*/ 4204751 w 4716235"/>
              <a:gd name="connsiteY14552" fmla="*/ 127068 h 4596459"/>
              <a:gd name="connsiteX14553" fmla="*/ 4198971 w 4716235"/>
              <a:gd name="connsiteY14553" fmla="*/ 132848 h 4596459"/>
              <a:gd name="connsiteX14554" fmla="*/ 4199054 w 4716235"/>
              <a:gd name="connsiteY14554" fmla="*/ 132931 h 4596459"/>
              <a:gd name="connsiteX14555" fmla="*/ 4192859 w 4716235"/>
              <a:gd name="connsiteY14555" fmla="*/ 139125 h 4596459"/>
              <a:gd name="connsiteX14556" fmla="*/ 4193106 w 4716235"/>
              <a:gd name="connsiteY14556" fmla="*/ 139372 h 4596459"/>
              <a:gd name="connsiteX14557" fmla="*/ 4187324 w 4716235"/>
              <a:gd name="connsiteY14557" fmla="*/ 145155 h 4596459"/>
              <a:gd name="connsiteX14558" fmla="*/ 4187985 w 4716235"/>
              <a:gd name="connsiteY14558" fmla="*/ 145814 h 4596459"/>
              <a:gd name="connsiteX14559" fmla="*/ 4181792 w 4716235"/>
              <a:gd name="connsiteY14559" fmla="*/ 152009 h 4596459"/>
              <a:gd name="connsiteX14560" fmla="*/ 4182536 w 4716235"/>
              <a:gd name="connsiteY14560" fmla="*/ 152751 h 4596459"/>
              <a:gd name="connsiteX14561" fmla="*/ 4174937 w 4716235"/>
              <a:gd name="connsiteY14561" fmla="*/ 160352 h 4596459"/>
              <a:gd name="connsiteX14562" fmla="*/ 4175596 w 4716235"/>
              <a:gd name="connsiteY14562" fmla="*/ 161011 h 4596459"/>
              <a:gd name="connsiteX14563" fmla="*/ 4165520 w 4716235"/>
              <a:gd name="connsiteY14563" fmla="*/ 171088 h 4596459"/>
              <a:gd name="connsiteX14564" fmla="*/ 4165851 w 4716235"/>
              <a:gd name="connsiteY14564" fmla="*/ 171418 h 4596459"/>
              <a:gd name="connsiteX14565" fmla="*/ 4155115 w 4716235"/>
              <a:gd name="connsiteY14565" fmla="*/ 182154 h 4596459"/>
              <a:gd name="connsiteX14566" fmla="*/ 4144378 w 4716235"/>
              <a:gd name="connsiteY14566" fmla="*/ 171418 h 4596459"/>
              <a:gd name="connsiteX14567" fmla="*/ 4154454 w 4716235"/>
              <a:gd name="connsiteY14567" fmla="*/ 161342 h 4596459"/>
              <a:gd name="connsiteX14568" fmla="*/ 4154123 w 4716235"/>
              <a:gd name="connsiteY14568" fmla="*/ 161011 h 4596459"/>
              <a:gd name="connsiteX14569" fmla="*/ 4161722 w 4716235"/>
              <a:gd name="connsiteY14569" fmla="*/ 153412 h 4596459"/>
              <a:gd name="connsiteX14570" fmla="*/ 4161061 w 4716235"/>
              <a:gd name="connsiteY14570" fmla="*/ 152751 h 4596459"/>
              <a:gd name="connsiteX14571" fmla="*/ 4167254 w 4716235"/>
              <a:gd name="connsiteY14571" fmla="*/ 146558 h 4596459"/>
              <a:gd name="connsiteX14572" fmla="*/ 4166512 w 4716235"/>
              <a:gd name="connsiteY14572" fmla="*/ 145814 h 4596459"/>
              <a:gd name="connsiteX14573" fmla="*/ 4172294 w 4716235"/>
              <a:gd name="connsiteY14573" fmla="*/ 140032 h 4596459"/>
              <a:gd name="connsiteX14574" fmla="*/ 4171633 w 4716235"/>
              <a:gd name="connsiteY14574" fmla="*/ 139372 h 4596459"/>
              <a:gd name="connsiteX14575" fmla="*/ 4177826 w 4716235"/>
              <a:gd name="connsiteY14575" fmla="*/ 133179 h 4596459"/>
              <a:gd name="connsiteX14576" fmla="*/ 4177579 w 4716235"/>
              <a:gd name="connsiteY14576" fmla="*/ 132931 h 4596459"/>
              <a:gd name="connsiteX14577" fmla="*/ 4184931 w 4716235"/>
              <a:gd name="connsiteY14577" fmla="*/ 125580 h 4596459"/>
              <a:gd name="connsiteX14578" fmla="*/ 4184847 w 4716235"/>
              <a:gd name="connsiteY14578" fmla="*/ 125496 h 4596459"/>
              <a:gd name="connsiteX14579" fmla="*/ 4195584 w 4716235"/>
              <a:gd name="connsiteY14579" fmla="*/ 114760 h 4596459"/>
              <a:gd name="connsiteX14580" fmla="*/ 4196161 w 4716235"/>
              <a:gd name="connsiteY14580" fmla="*/ 115338 h 4596459"/>
              <a:gd name="connsiteX14581" fmla="*/ 4024785 w 4716235"/>
              <a:gd name="connsiteY14581" fmla="*/ 106171 h 4596459"/>
              <a:gd name="connsiteX14582" fmla="*/ 4035524 w 4716235"/>
              <a:gd name="connsiteY14582" fmla="*/ 116907 h 4596459"/>
              <a:gd name="connsiteX14583" fmla="*/ 4024785 w 4716235"/>
              <a:gd name="connsiteY14583" fmla="*/ 127645 h 4596459"/>
              <a:gd name="connsiteX14584" fmla="*/ 4014049 w 4716235"/>
              <a:gd name="connsiteY14584" fmla="*/ 116907 h 4596459"/>
              <a:gd name="connsiteX14585" fmla="*/ 4024785 w 4716235"/>
              <a:gd name="connsiteY14585" fmla="*/ 106171 h 4596459"/>
              <a:gd name="connsiteX14586" fmla="*/ 159378 w 4716235"/>
              <a:gd name="connsiteY14586" fmla="*/ 99895 h 4596459"/>
              <a:gd name="connsiteX14587" fmla="*/ 170116 w 4716235"/>
              <a:gd name="connsiteY14587" fmla="*/ 110631 h 4596459"/>
              <a:gd name="connsiteX14588" fmla="*/ 159378 w 4716235"/>
              <a:gd name="connsiteY14588" fmla="*/ 121367 h 4596459"/>
              <a:gd name="connsiteX14589" fmla="*/ 148642 w 4716235"/>
              <a:gd name="connsiteY14589" fmla="*/ 110631 h 4596459"/>
              <a:gd name="connsiteX14590" fmla="*/ 159378 w 4716235"/>
              <a:gd name="connsiteY14590" fmla="*/ 99895 h 4596459"/>
              <a:gd name="connsiteX14591" fmla="*/ 616600 w 4716235"/>
              <a:gd name="connsiteY14591" fmla="*/ 96260 h 4596459"/>
              <a:gd name="connsiteX14592" fmla="*/ 627338 w 4716235"/>
              <a:gd name="connsiteY14592" fmla="*/ 106996 h 4596459"/>
              <a:gd name="connsiteX14593" fmla="*/ 616600 w 4716235"/>
              <a:gd name="connsiteY14593" fmla="*/ 117733 h 4596459"/>
              <a:gd name="connsiteX14594" fmla="*/ 605864 w 4716235"/>
              <a:gd name="connsiteY14594" fmla="*/ 106996 h 4596459"/>
              <a:gd name="connsiteX14595" fmla="*/ 616600 w 4716235"/>
              <a:gd name="connsiteY14595" fmla="*/ 96260 h 4596459"/>
              <a:gd name="connsiteX14596" fmla="*/ 4218048 w 4716235"/>
              <a:gd name="connsiteY14596" fmla="*/ 95930 h 4596459"/>
              <a:gd name="connsiteX14597" fmla="*/ 4228785 w 4716235"/>
              <a:gd name="connsiteY14597" fmla="*/ 106667 h 4596459"/>
              <a:gd name="connsiteX14598" fmla="*/ 4218048 w 4716235"/>
              <a:gd name="connsiteY14598" fmla="*/ 117405 h 4596459"/>
              <a:gd name="connsiteX14599" fmla="*/ 4207312 w 4716235"/>
              <a:gd name="connsiteY14599" fmla="*/ 106667 h 4596459"/>
              <a:gd name="connsiteX14600" fmla="*/ 4218048 w 4716235"/>
              <a:gd name="connsiteY14600" fmla="*/ 95930 h 4596459"/>
              <a:gd name="connsiteX14601" fmla="*/ 4234237 w 4716235"/>
              <a:gd name="connsiteY14601" fmla="*/ 89653 h 4596459"/>
              <a:gd name="connsiteX14602" fmla="*/ 4238697 w 4716235"/>
              <a:gd name="connsiteY14602" fmla="*/ 94113 h 4596459"/>
              <a:gd name="connsiteX14603" fmla="*/ 4234237 w 4716235"/>
              <a:gd name="connsiteY14603" fmla="*/ 98573 h 4596459"/>
              <a:gd name="connsiteX14604" fmla="*/ 4229777 w 4716235"/>
              <a:gd name="connsiteY14604" fmla="*/ 94113 h 4596459"/>
              <a:gd name="connsiteX14605" fmla="*/ 4234237 w 4716235"/>
              <a:gd name="connsiteY14605" fmla="*/ 89653 h 4596459"/>
              <a:gd name="connsiteX14606" fmla="*/ 4055840 w 4716235"/>
              <a:gd name="connsiteY14606" fmla="*/ 89488 h 4596459"/>
              <a:gd name="connsiteX14607" fmla="*/ 4066576 w 4716235"/>
              <a:gd name="connsiteY14607" fmla="*/ 100224 h 4596459"/>
              <a:gd name="connsiteX14608" fmla="*/ 4055840 w 4716235"/>
              <a:gd name="connsiteY14608" fmla="*/ 110962 h 4596459"/>
              <a:gd name="connsiteX14609" fmla="*/ 4045103 w 4716235"/>
              <a:gd name="connsiteY14609" fmla="*/ 100224 h 4596459"/>
              <a:gd name="connsiteX14610" fmla="*/ 4055840 w 4716235"/>
              <a:gd name="connsiteY14610" fmla="*/ 89488 h 4596459"/>
              <a:gd name="connsiteX14611" fmla="*/ 3920061 w 4716235"/>
              <a:gd name="connsiteY14611" fmla="*/ 84202 h 4596459"/>
              <a:gd name="connsiteX14612" fmla="*/ 3930798 w 4716235"/>
              <a:gd name="connsiteY14612" fmla="*/ 94938 h 4596459"/>
              <a:gd name="connsiteX14613" fmla="*/ 3920061 w 4716235"/>
              <a:gd name="connsiteY14613" fmla="*/ 105676 h 4596459"/>
              <a:gd name="connsiteX14614" fmla="*/ 3909325 w 4716235"/>
              <a:gd name="connsiteY14614" fmla="*/ 94938 h 4596459"/>
              <a:gd name="connsiteX14615" fmla="*/ 3920061 w 4716235"/>
              <a:gd name="connsiteY14615" fmla="*/ 84202 h 4596459"/>
              <a:gd name="connsiteX14616" fmla="*/ 3342752 w 4716235"/>
              <a:gd name="connsiteY14616" fmla="*/ 80567 h 4596459"/>
              <a:gd name="connsiteX14617" fmla="*/ 3353490 w 4716235"/>
              <a:gd name="connsiteY14617" fmla="*/ 91304 h 4596459"/>
              <a:gd name="connsiteX14618" fmla="*/ 3342752 w 4716235"/>
              <a:gd name="connsiteY14618" fmla="*/ 102042 h 4596459"/>
              <a:gd name="connsiteX14619" fmla="*/ 3332016 w 4716235"/>
              <a:gd name="connsiteY14619" fmla="*/ 91304 h 4596459"/>
              <a:gd name="connsiteX14620" fmla="*/ 3342752 w 4716235"/>
              <a:gd name="connsiteY14620" fmla="*/ 80567 h 4596459"/>
              <a:gd name="connsiteX14621" fmla="*/ 2868187 w 4716235"/>
              <a:gd name="connsiteY14621" fmla="*/ 80402 h 4596459"/>
              <a:gd name="connsiteX14622" fmla="*/ 2878923 w 4716235"/>
              <a:gd name="connsiteY14622" fmla="*/ 91139 h 4596459"/>
              <a:gd name="connsiteX14623" fmla="*/ 2868187 w 4716235"/>
              <a:gd name="connsiteY14623" fmla="*/ 101875 h 4596459"/>
              <a:gd name="connsiteX14624" fmla="*/ 2857450 w 4716235"/>
              <a:gd name="connsiteY14624" fmla="*/ 91139 h 4596459"/>
              <a:gd name="connsiteX14625" fmla="*/ 2868187 w 4716235"/>
              <a:gd name="connsiteY14625" fmla="*/ 80402 h 4596459"/>
              <a:gd name="connsiteX14626" fmla="*/ 4079131 w 4716235"/>
              <a:gd name="connsiteY14626" fmla="*/ 77760 h 4596459"/>
              <a:gd name="connsiteX14627" fmla="*/ 4089868 w 4716235"/>
              <a:gd name="connsiteY14627" fmla="*/ 88496 h 4596459"/>
              <a:gd name="connsiteX14628" fmla="*/ 4079131 w 4716235"/>
              <a:gd name="connsiteY14628" fmla="*/ 99234 h 4596459"/>
              <a:gd name="connsiteX14629" fmla="*/ 4068395 w 4716235"/>
              <a:gd name="connsiteY14629" fmla="*/ 88496 h 4596459"/>
              <a:gd name="connsiteX14630" fmla="*/ 4079131 w 4716235"/>
              <a:gd name="connsiteY14630" fmla="*/ 77760 h 4596459"/>
              <a:gd name="connsiteX14631" fmla="*/ 3778005 w 4716235"/>
              <a:gd name="connsiteY14631" fmla="*/ 70162 h 4596459"/>
              <a:gd name="connsiteX14632" fmla="*/ 3788744 w 4716235"/>
              <a:gd name="connsiteY14632" fmla="*/ 80898 h 4596459"/>
              <a:gd name="connsiteX14633" fmla="*/ 3778005 w 4716235"/>
              <a:gd name="connsiteY14633" fmla="*/ 91637 h 4596459"/>
              <a:gd name="connsiteX14634" fmla="*/ 3767269 w 4716235"/>
              <a:gd name="connsiteY14634" fmla="*/ 80898 h 4596459"/>
              <a:gd name="connsiteX14635" fmla="*/ 3778005 w 4716235"/>
              <a:gd name="connsiteY14635" fmla="*/ 70162 h 4596459"/>
              <a:gd name="connsiteX14636" fmla="*/ 4190959 w 4716235"/>
              <a:gd name="connsiteY14636" fmla="*/ 69170 h 4596459"/>
              <a:gd name="connsiteX14637" fmla="*/ 4201697 w 4716235"/>
              <a:gd name="connsiteY14637" fmla="*/ 79907 h 4596459"/>
              <a:gd name="connsiteX14638" fmla="*/ 4190959 w 4716235"/>
              <a:gd name="connsiteY14638" fmla="*/ 90643 h 4596459"/>
              <a:gd name="connsiteX14639" fmla="*/ 4189060 w 4716235"/>
              <a:gd name="connsiteY14639" fmla="*/ 88744 h 4596459"/>
              <a:gd name="connsiteX14640" fmla="*/ 4178901 w 4716235"/>
              <a:gd name="connsiteY14640" fmla="*/ 98903 h 4596459"/>
              <a:gd name="connsiteX14641" fmla="*/ 4177496 w 4716235"/>
              <a:gd name="connsiteY14641" fmla="*/ 97498 h 4596459"/>
              <a:gd name="connsiteX14642" fmla="*/ 4169484 w 4716235"/>
              <a:gd name="connsiteY14642" fmla="*/ 105510 h 4596459"/>
              <a:gd name="connsiteX14643" fmla="*/ 4168328 w 4716235"/>
              <a:gd name="connsiteY14643" fmla="*/ 104355 h 4596459"/>
              <a:gd name="connsiteX14644" fmla="*/ 4161887 w 4716235"/>
              <a:gd name="connsiteY14644" fmla="*/ 110796 h 4596459"/>
              <a:gd name="connsiteX14645" fmla="*/ 4160897 w 4716235"/>
              <a:gd name="connsiteY14645" fmla="*/ 109806 h 4596459"/>
              <a:gd name="connsiteX14646" fmla="*/ 4155280 w 4716235"/>
              <a:gd name="connsiteY14646" fmla="*/ 115421 h 4596459"/>
              <a:gd name="connsiteX14647" fmla="*/ 4154454 w 4716235"/>
              <a:gd name="connsiteY14647" fmla="*/ 114595 h 4596459"/>
              <a:gd name="connsiteX14648" fmla="*/ 4149002 w 4716235"/>
              <a:gd name="connsiteY14648" fmla="*/ 120048 h 4596459"/>
              <a:gd name="connsiteX14649" fmla="*/ 4147845 w 4716235"/>
              <a:gd name="connsiteY14649" fmla="*/ 118891 h 4596459"/>
              <a:gd name="connsiteX14650" fmla="*/ 4141569 w 4716235"/>
              <a:gd name="connsiteY14650" fmla="*/ 125169 h 4596459"/>
              <a:gd name="connsiteX14651" fmla="*/ 4140248 w 4716235"/>
              <a:gd name="connsiteY14651" fmla="*/ 123847 h 4596459"/>
              <a:gd name="connsiteX14652" fmla="*/ 4131989 w 4716235"/>
              <a:gd name="connsiteY14652" fmla="*/ 132104 h 4596459"/>
              <a:gd name="connsiteX14653" fmla="*/ 4121253 w 4716235"/>
              <a:gd name="connsiteY14653" fmla="*/ 121367 h 4596459"/>
              <a:gd name="connsiteX14654" fmla="*/ 4131989 w 4716235"/>
              <a:gd name="connsiteY14654" fmla="*/ 110631 h 4596459"/>
              <a:gd name="connsiteX14655" fmla="*/ 4133311 w 4716235"/>
              <a:gd name="connsiteY14655" fmla="*/ 111952 h 4596459"/>
              <a:gd name="connsiteX14656" fmla="*/ 4141569 w 4716235"/>
              <a:gd name="connsiteY14656" fmla="*/ 103694 h 4596459"/>
              <a:gd name="connsiteX14657" fmla="*/ 4142726 w 4716235"/>
              <a:gd name="connsiteY14657" fmla="*/ 104851 h 4596459"/>
              <a:gd name="connsiteX14658" fmla="*/ 4149002 w 4716235"/>
              <a:gd name="connsiteY14658" fmla="*/ 98573 h 4596459"/>
              <a:gd name="connsiteX14659" fmla="*/ 4149827 w 4716235"/>
              <a:gd name="connsiteY14659" fmla="*/ 99401 h 4596459"/>
              <a:gd name="connsiteX14660" fmla="*/ 4155280 w 4716235"/>
              <a:gd name="connsiteY14660" fmla="*/ 93948 h 4596459"/>
              <a:gd name="connsiteX14661" fmla="*/ 4156271 w 4716235"/>
              <a:gd name="connsiteY14661" fmla="*/ 94940 h 4596459"/>
              <a:gd name="connsiteX14662" fmla="*/ 4161887 w 4716235"/>
              <a:gd name="connsiteY14662" fmla="*/ 89323 h 4596459"/>
              <a:gd name="connsiteX14663" fmla="*/ 4163042 w 4716235"/>
              <a:gd name="connsiteY14663" fmla="*/ 90480 h 4596459"/>
              <a:gd name="connsiteX14664" fmla="*/ 4169484 w 4716235"/>
              <a:gd name="connsiteY14664" fmla="*/ 84037 h 4596459"/>
              <a:gd name="connsiteX14665" fmla="*/ 4170889 w 4716235"/>
              <a:gd name="connsiteY14665" fmla="*/ 85442 h 4596459"/>
              <a:gd name="connsiteX14666" fmla="*/ 4178901 w 4716235"/>
              <a:gd name="connsiteY14666" fmla="*/ 77430 h 4596459"/>
              <a:gd name="connsiteX14667" fmla="*/ 4180800 w 4716235"/>
              <a:gd name="connsiteY14667" fmla="*/ 79329 h 4596459"/>
              <a:gd name="connsiteX14668" fmla="*/ 3589038 w 4716235"/>
              <a:gd name="connsiteY14668" fmla="*/ 67354 h 4596459"/>
              <a:gd name="connsiteX14669" fmla="*/ 3599776 w 4716235"/>
              <a:gd name="connsiteY14669" fmla="*/ 78091 h 4596459"/>
              <a:gd name="connsiteX14670" fmla="*/ 3589038 w 4716235"/>
              <a:gd name="connsiteY14670" fmla="*/ 88827 h 4596459"/>
              <a:gd name="connsiteX14671" fmla="*/ 3578302 w 4716235"/>
              <a:gd name="connsiteY14671" fmla="*/ 78091 h 4596459"/>
              <a:gd name="connsiteX14672" fmla="*/ 3589038 w 4716235"/>
              <a:gd name="connsiteY14672" fmla="*/ 67354 h 4596459"/>
              <a:gd name="connsiteX14673" fmla="*/ 782442 w 4716235"/>
              <a:gd name="connsiteY14673" fmla="*/ 62894 h 4596459"/>
              <a:gd name="connsiteX14674" fmla="*/ 793180 w 4716235"/>
              <a:gd name="connsiteY14674" fmla="*/ 73630 h 4596459"/>
              <a:gd name="connsiteX14675" fmla="*/ 782442 w 4716235"/>
              <a:gd name="connsiteY14675" fmla="*/ 84368 h 4596459"/>
              <a:gd name="connsiteX14676" fmla="*/ 771706 w 4716235"/>
              <a:gd name="connsiteY14676" fmla="*/ 73630 h 4596459"/>
              <a:gd name="connsiteX14677" fmla="*/ 782442 w 4716235"/>
              <a:gd name="connsiteY14677" fmla="*/ 62894 h 4596459"/>
              <a:gd name="connsiteX14678" fmla="*/ 3968790 w 4716235"/>
              <a:gd name="connsiteY14678" fmla="*/ 61573 h 4596459"/>
              <a:gd name="connsiteX14679" fmla="*/ 3979527 w 4716235"/>
              <a:gd name="connsiteY14679" fmla="*/ 72309 h 4596459"/>
              <a:gd name="connsiteX14680" fmla="*/ 3968790 w 4716235"/>
              <a:gd name="connsiteY14680" fmla="*/ 83045 h 4596459"/>
              <a:gd name="connsiteX14681" fmla="*/ 3958054 w 4716235"/>
              <a:gd name="connsiteY14681" fmla="*/ 72309 h 4596459"/>
              <a:gd name="connsiteX14682" fmla="*/ 3968790 w 4716235"/>
              <a:gd name="connsiteY14682" fmla="*/ 61573 h 4596459"/>
              <a:gd name="connsiteX14683" fmla="*/ 4206155 w 4716235"/>
              <a:gd name="connsiteY14683" fmla="*/ 58765 h 4596459"/>
              <a:gd name="connsiteX14684" fmla="*/ 4216892 w 4716235"/>
              <a:gd name="connsiteY14684" fmla="*/ 69501 h 4596459"/>
              <a:gd name="connsiteX14685" fmla="*/ 4206155 w 4716235"/>
              <a:gd name="connsiteY14685" fmla="*/ 80238 h 4596459"/>
              <a:gd name="connsiteX14686" fmla="*/ 4195419 w 4716235"/>
              <a:gd name="connsiteY14686" fmla="*/ 69501 h 4596459"/>
              <a:gd name="connsiteX14687" fmla="*/ 4206155 w 4716235"/>
              <a:gd name="connsiteY14687" fmla="*/ 58765 h 4596459"/>
              <a:gd name="connsiteX14688" fmla="*/ 287559 w 4716235"/>
              <a:gd name="connsiteY14688" fmla="*/ 58599 h 4596459"/>
              <a:gd name="connsiteX14689" fmla="*/ 298295 w 4716235"/>
              <a:gd name="connsiteY14689" fmla="*/ 69335 h 4596459"/>
              <a:gd name="connsiteX14690" fmla="*/ 287559 w 4716235"/>
              <a:gd name="connsiteY14690" fmla="*/ 80071 h 4596459"/>
              <a:gd name="connsiteX14691" fmla="*/ 276822 w 4716235"/>
              <a:gd name="connsiteY14691" fmla="*/ 69335 h 4596459"/>
              <a:gd name="connsiteX14692" fmla="*/ 287559 w 4716235"/>
              <a:gd name="connsiteY14692" fmla="*/ 58599 h 4596459"/>
              <a:gd name="connsiteX14693" fmla="*/ 2697555 w 4716235"/>
              <a:gd name="connsiteY14693" fmla="*/ 48523 h 4596459"/>
              <a:gd name="connsiteX14694" fmla="*/ 2708293 w 4716235"/>
              <a:gd name="connsiteY14694" fmla="*/ 59259 h 4596459"/>
              <a:gd name="connsiteX14695" fmla="*/ 2697555 w 4716235"/>
              <a:gd name="connsiteY14695" fmla="*/ 69996 h 4596459"/>
              <a:gd name="connsiteX14696" fmla="*/ 2686818 w 4716235"/>
              <a:gd name="connsiteY14696" fmla="*/ 59259 h 4596459"/>
              <a:gd name="connsiteX14697" fmla="*/ 2697555 w 4716235"/>
              <a:gd name="connsiteY14697" fmla="*/ 48523 h 4596459"/>
              <a:gd name="connsiteX14698" fmla="*/ 4006616 w 4716235"/>
              <a:gd name="connsiteY14698" fmla="*/ 45384 h 4596459"/>
              <a:gd name="connsiteX14699" fmla="*/ 4017354 w 4716235"/>
              <a:gd name="connsiteY14699" fmla="*/ 56120 h 4596459"/>
              <a:gd name="connsiteX14700" fmla="*/ 4006616 w 4716235"/>
              <a:gd name="connsiteY14700" fmla="*/ 66858 h 4596459"/>
              <a:gd name="connsiteX14701" fmla="*/ 3995880 w 4716235"/>
              <a:gd name="connsiteY14701" fmla="*/ 56120 h 4596459"/>
              <a:gd name="connsiteX14702" fmla="*/ 4006616 w 4716235"/>
              <a:gd name="connsiteY14702" fmla="*/ 45384 h 4596459"/>
              <a:gd name="connsiteX14703" fmla="*/ 28390 w 4716235"/>
              <a:gd name="connsiteY14703" fmla="*/ 43733 h 4596459"/>
              <a:gd name="connsiteX14704" fmla="*/ 39128 w 4716235"/>
              <a:gd name="connsiteY14704" fmla="*/ 54469 h 4596459"/>
              <a:gd name="connsiteX14705" fmla="*/ 28390 w 4716235"/>
              <a:gd name="connsiteY14705" fmla="*/ 65207 h 4596459"/>
              <a:gd name="connsiteX14706" fmla="*/ 17653 w 4716235"/>
              <a:gd name="connsiteY14706" fmla="*/ 54469 h 4596459"/>
              <a:gd name="connsiteX14707" fmla="*/ 28390 w 4716235"/>
              <a:gd name="connsiteY14707" fmla="*/ 43733 h 4596459"/>
              <a:gd name="connsiteX14708" fmla="*/ 4163538 w 4716235"/>
              <a:gd name="connsiteY14708" fmla="*/ 41255 h 4596459"/>
              <a:gd name="connsiteX14709" fmla="*/ 4174276 w 4716235"/>
              <a:gd name="connsiteY14709" fmla="*/ 51991 h 4596459"/>
              <a:gd name="connsiteX14710" fmla="*/ 4163538 w 4716235"/>
              <a:gd name="connsiteY14710" fmla="*/ 62729 h 4596459"/>
              <a:gd name="connsiteX14711" fmla="*/ 4160730 w 4716235"/>
              <a:gd name="connsiteY14711" fmla="*/ 59922 h 4596459"/>
              <a:gd name="connsiteX14712" fmla="*/ 4151809 w 4716235"/>
              <a:gd name="connsiteY14712" fmla="*/ 68839 h 4596459"/>
              <a:gd name="connsiteX14713" fmla="*/ 4149333 w 4716235"/>
              <a:gd name="connsiteY14713" fmla="*/ 66363 h 4596459"/>
              <a:gd name="connsiteX14714" fmla="*/ 4142395 w 4716235"/>
              <a:gd name="connsiteY14714" fmla="*/ 73301 h 4596459"/>
              <a:gd name="connsiteX14715" fmla="*/ 4140000 w 4716235"/>
              <a:gd name="connsiteY14715" fmla="*/ 70906 h 4596459"/>
              <a:gd name="connsiteX14716" fmla="*/ 4134301 w 4716235"/>
              <a:gd name="connsiteY14716" fmla="*/ 76603 h 4596459"/>
              <a:gd name="connsiteX14717" fmla="*/ 4131906 w 4716235"/>
              <a:gd name="connsiteY14717" fmla="*/ 74208 h 4596459"/>
              <a:gd name="connsiteX14718" fmla="*/ 4126704 w 4716235"/>
              <a:gd name="connsiteY14718" fmla="*/ 79410 h 4596459"/>
              <a:gd name="connsiteX14719" fmla="*/ 4124061 w 4716235"/>
              <a:gd name="connsiteY14719" fmla="*/ 76768 h 4596459"/>
              <a:gd name="connsiteX14720" fmla="*/ 4118608 w 4716235"/>
              <a:gd name="connsiteY14720" fmla="*/ 82220 h 4596459"/>
              <a:gd name="connsiteX14721" fmla="*/ 4115553 w 4716235"/>
              <a:gd name="connsiteY14721" fmla="*/ 79164 h 4596459"/>
              <a:gd name="connsiteX14722" fmla="*/ 4108862 w 4716235"/>
              <a:gd name="connsiteY14722" fmla="*/ 85855 h 4596459"/>
              <a:gd name="connsiteX14723" fmla="*/ 4105146 w 4716235"/>
              <a:gd name="connsiteY14723" fmla="*/ 82138 h 4596459"/>
              <a:gd name="connsiteX14724" fmla="*/ 4096144 w 4716235"/>
              <a:gd name="connsiteY14724" fmla="*/ 91140 h 4596459"/>
              <a:gd name="connsiteX14725" fmla="*/ 4085407 w 4716235"/>
              <a:gd name="connsiteY14725" fmla="*/ 80402 h 4596459"/>
              <a:gd name="connsiteX14726" fmla="*/ 4096144 w 4716235"/>
              <a:gd name="connsiteY14726" fmla="*/ 69666 h 4596459"/>
              <a:gd name="connsiteX14727" fmla="*/ 4099860 w 4716235"/>
              <a:gd name="connsiteY14727" fmla="*/ 73382 h 4596459"/>
              <a:gd name="connsiteX14728" fmla="*/ 4108862 w 4716235"/>
              <a:gd name="connsiteY14728" fmla="*/ 64380 h 4596459"/>
              <a:gd name="connsiteX14729" fmla="*/ 4111918 w 4716235"/>
              <a:gd name="connsiteY14729" fmla="*/ 67436 h 4596459"/>
              <a:gd name="connsiteX14730" fmla="*/ 4118608 w 4716235"/>
              <a:gd name="connsiteY14730" fmla="*/ 60745 h 4596459"/>
              <a:gd name="connsiteX14731" fmla="*/ 4121253 w 4716235"/>
              <a:gd name="connsiteY14731" fmla="*/ 63390 h 4596459"/>
              <a:gd name="connsiteX14732" fmla="*/ 4126704 w 4716235"/>
              <a:gd name="connsiteY14732" fmla="*/ 57938 h 4596459"/>
              <a:gd name="connsiteX14733" fmla="*/ 4129099 w 4716235"/>
              <a:gd name="connsiteY14733" fmla="*/ 60333 h 4596459"/>
              <a:gd name="connsiteX14734" fmla="*/ 4134301 w 4716235"/>
              <a:gd name="connsiteY14734" fmla="*/ 55130 h 4596459"/>
              <a:gd name="connsiteX14735" fmla="*/ 4136696 w 4716235"/>
              <a:gd name="connsiteY14735" fmla="*/ 57525 h 4596459"/>
              <a:gd name="connsiteX14736" fmla="*/ 4142395 w 4716235"/>
              <a:gd name="connsiteY14736" fmla="*/ 51826 h 4596459"/>
              <a:gd name="connsiteX14737" fmla="*/ 4144873 w 4716235"/>
              <a:gd name="connsiteY14737" fmla="*/ 54305 h 4596459"/>
              <a:gd name="connsiteX14738" fmla="*/ 4151809 w 4716235"/>
              <a:gd name="connsiteY14738" fmla="*/ 47366 h 4596459"/>
              <a:gd name="connsiteX14739" fmla="*/ 4154619 w 4716235"/>
              <a:gd name="connsiteY14739" fmla="*/ 50176 h 4596459"/>
              <a:gd name="connsiteX14740" fmla="*/ 3209947 w 4716235"/>
              <a:gd name="connsiteY14740" fmla="*/ 39769 h 4596459"/>
              <a:gd name="connsiteX14741" fmla="*/ 3220683 w 4716235"/>
              <a:gd name="connsiteY14741" fmla="*/ 50505 h 4596459"/>
              <a:gd name="connsiteX14742" fmla="*/ 3209947 w 4716235"/>
              <a:gd name="connsiteY14742" fmla="*/ 61241 h 4596459"/>
              <a:gd name="connsiteX14743" fmla="*/ 3199210 w 4716235"/>
              <a:gd name="connsiteY14743" fmla="*/ 50505 h 4596459"/>
              <a:gd name="connsiteX14744" fmla="*/ 3209947 w 4716235"/>
              <a:gd name="connsiteY14744" fmla="*/ 39769 h 4596459"/>
              <a:gd name="connsiteX14745" fmla="*/ 3850024 w 4716235"/>
              <a:gd name="connsiteY14745" fmla="*/ 38942 h 4596459"/>
              <a:gd name="connsiteX14746" fmla="*/ 3860761 w 4716235"/>
              <a:gd name="connsiteY14746" fmla="*/ 49678 h 4596459"/>
              <a:gd name="connsiteX14747" fmla="*/ 3850024 w 4716235"/>
              <a:gd name="connsiteY14747" fmla="*/ 60416 h 4596459"/>
              <a:gd name="connsiteX14748" fmla="*/ 3839288 w 4716235"/>
              <a:gd name="connsiteY14748" fmla="*/ 49678 h 4596459"/>
              <a:gd name="connsiteX14749" fmla="*/ 3850024 w 4716235"/>
              <a:gd name="connsiteY14749" fmla="*/ 38942 h 4596459"/>
              <a:gd name="connsiteX14750" fmla="*/ 4035357 w 4716235"/>
              <a:gd name="connsiteY14750" fmla="*/ 34483 h 4596459"/>
              <a:gd name="connsiteX14751" fmla="*/ 4046093 w 4716235"/>
              <a:gd name="connsiteY14751" fmla="*/ 45219 h 4596459"/>
              <a:gd name="connsiteX14752" fmla="*/ 4035357 w 4716235"/>
              <a:gd name="connsiteY14752" fmla="*/ 55956 h 4596459"/>
              <a:gd name="connsiteX14753" fmla="*/ 4024621 w 4716235"/>
              <a:gd name="connsiteY14753" fmla="*/ 45219 h 4596459"/>
              <a:gd name="connsiteX14754" fmla="*/ 4035357 w 4716235"/>
              <a:gd name="connsiteY14754" fmla="*/ 34483 h 4596459"/>
              <a:gd name="connsiteX14755" fmla="*/ 958360 w 4716235"/>
              <a:gd name="connsiteY14755" fmla="*/ 33161 h 4596459"/>
              <a:gd name="connsiteX14756" fmla="*/ 969096 w 4716235"/>
              <a:gd name="connsiteY14756" fmla="*/ 43898 h 4596459"/>
              <a:gd name="connsiteX14757" fmla="*/ 958360 w 4716235"/>
              <a:gd name="connsiteY14757" fmla="*/ 54634 h 4596459"/>
              <a:gd name="connsiteX14758" fmla="*/ 947623 w 4716235"/>
              <a:gd name="connsiteY14758" fmla="*/ 43898 h 4596459"/>
              <a:gd name="connsiteX14759" fmla="*/ 958360 w 4716235"/>
              <a:gd name="connsiteY14759" fmla="*/ 33161 h 4596459"/>
              <a:gd name="connsiteX14760" fmla="*/ 4178074 w 4716235"/>
              <a:gd name="connsiteY14760" fmla="*/ 32995 h 4596459"/>
              <a:gd name="connsiteX14761" fmla="*/ 4188812 w 4716235"/>
              <a:gd name="connsiteY14761" fmla="*/ 43731 h 4596459"/>
              <a:gd name="connsiteX14762" fmla="*/ 4178074 w 4716235"/>
              <a:gd name="connsiteY14762" fmla="*/ 54469 h 4596459"/>
              <a:gd name="connsiteX14763" fmla="*/ 4167337 w 4716235"/>
              <a:gd name="connsiteY14763" fmla="*/ 43731 h 4596459"/>
              <a:gd name="connsiteX14764" fmla="*/ 4178074 w 4716235"/>
              <a:gd name="connsiteY14764" fmla="*/ 32995 h 4596459"/>
              <a:gd name="connsiteX14765" fmla="*/ 4195749 w 4716235"/>
              <a:gd name="connsiteY14765" fmla="*/ 31014 h 4596459"/>
              <a:gd name="connsiteX14766" fmla="*/ 4197895 w 4716235"/>
              <a:gd name="connsiteY14766" fmla="*/ 33161 h 4596459"/>
              <a:gd name="connsiteX14767" fmla="*/ 4195749 w 4716235"/>
              <a:gd name="connsiteY14767" fmla="*/ 35308 h 4596459"/>
              <a:gd name="connsiteX14768" fmla="*/ 4193602 w 4716235"/>
              <a:gd name="connsiteY14768" fmla="*/ 33161 h 4596459"/>
              <a:gd name="connsiteX14769" fmla="*/ 4195749 w 4716235"/>
              <a:gd name="connsiteY14769" fmla="*/ 31014 h 4596459"/>
              <a:gd name="connsiteX14770" fmla="*/ 3690458 w 4716235"/>
              <a:gd name="connsiteY14770" fmla="*/ 24901 h 4596459"/>
              <a:gd name="connsiteX14771" fmla="*/ 3701195 w 4716235"/>
              <a:gd name="connsiteY14771" fmla="*/ 35638 h 4596459"/>
              <a:gd name="connsiteX14772" fmla="*/ 3690458 w 4716235"/>
              <a:gd name="connsiteY14772" fmla="*/ 46374 h 4596459"/>
              <a:gd name="connsiteX14773" fmla="*/ 3679722 w 4716235"/>
              <a:gd name="connsiteY14773" fmla="*/ 35638 h 4596459"/>
              <a:gd name="connsiteX14774" fmla="*/ 3690458 w 4716235"/>
              <a:gd name="connsiteY14774" fmla="*/ 24901 h 4596459"/>
              <a:gd name="connsiteX14775" fmla="*/ 3480679 w 4716235"/>
              <a:gd name="connsiteY14775" fmla="*/ 23415 h 4596459"/>
              <a:gd name="connsiteX14776" fmla="*/ 3491417 w 4716235"/>
              <a:gd name="connsiteY14776" fmla="*/ 34152 h 4596459"/>
              <a:gd name="connsiteX14777" fmla="*/ 3480679 w 4716235"/>
              <a:gd name="connsiteY14777" fmla="*/ 44890 h 4596459"/>
              <a:gd name="connsiteX14778" fmla="*/ 3469943 w 4716235"/>
              <a:gd name="connsiteY14778" fmla="*/ 34152 h 4596459"/>
              <a:gd name="connsiteX14779" fmla="*/ 3480679 w 4716235"/>
              <a:gd name="connsiteY14779" fmla="*/ 23415 h 4596459"/>
              <a:gd name="connsiteX14780" fmla="*/ 2517506 w 4716235"/>
              <a:gd name="connsiteY14780" fmla="*/ 20937 h 4596459"/>
              <a:gd name="connsiteX14781" fmla="*/ 2528245 w 4716235"/>
              <a:gd name="connsiteY14781" fmla="*/ 31673 h 4596459"/>
              <a:gd name="connsiteX14782" fmla="*/ 2517506 w 4716235"/>
              <a:gd name="connsiteY14782" fmla="*/ 42410 h 4596459"/>
              <a:gd name="connsiteX14783" fmla="*/ 2506770 w 4716235"/>
              <a:gd name="connsiteY14783" fmla="*/ 31673 h 4596459"/>
              <a:gd name="connsiteX14784" fmla="*/ 2517506 w 4716235"/>
              <a:gd name="connsiteY14784" fmla="*/ 20937 h 4596459"/>
              <a:gd name="connsiteX14785" fmla="*/ 425815 w 4716235"/>
              <a:gd name="connsiteY14785" fmla="*/ 18625 h 4596459"/>
              <a:gd name="connsiteX14786" fmla="*/ 436553 w 4716235"/>
              <a:gd name="connsiteY14786" fmla="*/ 29362 h 4596459"/>
              <a:gd name="connsiteX14787" fmla="*/ 425815 w 4716235"/>
              <a:gd name="connsiteY14787" fmla="*/ 40100 h 4596459"/>
              <a:gd name="connsiteX14788" fmla="*/ 415079 w 4716235"/>
              <a:gd name="connsiteY14788" fmla="*/ 29362 h 4596459"/>
              <a:gd name="connsiteX14789" fmla="*/ 425815 w 4716235"/>
              <a:gd name="connsiteY14789" fmla="*/ 18625 h 4596459"/>
              <a:gd name="connsiteX14790" fmla="*/ 3907343 w 4716235"/>
              <a:gd name="connsiteY14790" fmla="*/ 16147 h 4596459"/>
              <a:gd name="connsiteX14791" fmla="*/ 3918079 w 4716235"/>
              <a:gd name="connsiteY14791" fmla="*/ 26884 h 4596459"/>
              <a:gd name="connsiteX14792" fmla="*/ 3907343 w 4716235"/>
              <a:gd name="connsiteY14792" fmla="*/ 37620 h 4596459"/>
              <a:gd name="connsiteX14793" fmla="*/ 3896606 w 4716235"/>
              <a:gd name="connsiteY14793" fmla="*/ 26884 h 4596459"/>
              <a:gd name="connsiteX14794" fmla="*/ 3907343 w 4716235"/>
              <a:gd name="connsiteY14794" fmla="*/ 16147 h 4596459"/>
              <a:gd name="connsiteX14795" fmla="*/ 1142867 w 4716235"/>
              <a:gd name="connsiteY14795" fmla="*/ 8219 h 4596459"/>
              <a:gd name="connsiteX14796" fmla="*/ 1153605 w 4716235"/>
              <a:gd name="connsiteY14796" fmla="*/ 18955 h 4596459"/>
              <a:gd name="connsiteX14797" fmla="*/ 1142867 w 4716235"/>
              <a:gd name="connsiteY14797" fmla="*/ 29693 h 4596459"/>
              <a:gd name="connsiteX14798" fmla="*/ 1132130 w 4716235"/>
              <a:gd name="connsiteY14798" fmla="*/ 18955 h 4596459"/>
              <a:gd name="connsiteX14799" fmla="*/ 1142867 w 4716235"/>
              <a:gd name="connsiteY14799" fmla="*/ 8219 h 4596459"/>
              <a:gd name="connsiteX14800" fmla="*/ 4149498 w 4716235"/>
              <a:gd name="connsiteY14800" fmla="*/ 5905 h 4596459"/>
              <a:gd name="connsiteX14801" fmla="*/ 4160234 w 4716235"/>
              <a:gd name="connsiteY14801" fmla="*/ 16642 h 4596459"/>
              <a:gd name="connsiteX14802" fmla="*/ 4149498 w 4716235"/>
              <a:gd name="connsiteY14802" fmla="*/ 27380 h 4596459"/>
              <a:gd name="connsiteX14803" fmla="*/ 4145533 w 4716235"/>
              <a:gd name="connsiteY14803" fmla="*/ 23415 h 4596459"/>
              <a:gd name="connsiteX14804" fmla="*/ 4135458 w 4716235"/>
              <a:gd name="connsiteY14804" fmla="*/ 33491 h 4596459"/>
              <a:gd name="connsiteX14805" fmla="*/ 4131658 w 4716235"/>
              <a:gd name="connsiteY14805" fmla="*/ 29693 h 4596459"/>
              <a:gd name="connsiteX14806" fmla="*/ 4123894 w 4716235"/>
              <a:gd name="connsiteY14806" fmla="*/ 37457 h 4596459"/>
              <a:gd name="connsiteX14807" fmla="*/ 4120176 w 4716235"/>
              <a:gd name="connsiteY14807" fmla="*/ 33739 h 4596459"/>
              <a:gd name="connsiteX14808" fmla="*/ 4114148 w 4716235"/>
              <a:gd name="connsiteY14808" fmla="*/ 39769 h 4596459"/>
              <a:gd name="connsiteX14809" fmla="*/ 4110267 w 4716235"/>
              <a:gd name="connsiteY14809" fmla="*/ 35888 h 4596459"/>
              <a:gd name="connsiteX14810" fmla="*/ 4105064 w 4716235"/>
              <a:gd name="connsiteY14810" fmla="*/ 41089 h 4596459"/>
              <a:gd name="connsiteX14811" fmla="*/ 4101017 w 4716235"/>
              <a:gd name="connsiteY14811" fmla="*/ 37043 h 4596459"/>
              <a:gd name="connsiteX14812" fmla="*/ 4096144 w 4716235"/>
              <a:gd name="connsiteY14812" fmla="*/ 41916 h 4596459"/>
              <a:gd name="connsiteX14813" fmla="*/ 4091602 w 4716235"/>
              <a:gd name="connsiteY14813" fmla="*/ 37374 h 4596459"/>
              <a:gd name="connsiteX14814" fmla="*/ 4085903 w 4716235"/>
              <a:gd name="connsiteY14814" fmla="*/ 43072 h 4596459"/>
              <a:gd name="connsiteX14815" fmla="*/ 4080701 w 4716235"/>
              <a:gd name="connsiteY14815" fmla="*/ 37870 h 4596459"/>
              <a:gd name="connsiteX14816" fmla="*/ 4073350 w 4716235"/>
              <a:gd name="connsiteY14816" fmla="*/ 45219 h 4596459"/>
              <a:gd name="connsiteX14817" fmla="*/ 4067155 w 4716235"/>
              <a:gd name="connsiteY14817" fmla="*/ 39025 h 4596459"/>
              <a:gd name="connsiteX14818" fmla="*/ 4056996 w 4716235"/>
              <a:gd name="connsiteY14818" fmla="*/ 49184 h 4596459"/>
              <a:gd name="connsiteX14819" fmla="*/ 4046260 w 4716235"/>
              <a:gd name="connsiteY14819" fmla="*/ 38445 h 4596459"/>
              <a:gd name="connsiteX14820" fmla="*/ 4056996 w 4716235"/>
              <a:gd name="connsiteY14820" fmla="*/ 27709 h 4596459"/>
              <a:gd name="connsiteX14821" fmla="*/ 4063191 w 4716235"/>
              <a:gd name="connsiteY14821" fmla="*/ 33905 h 4596459"/>
              <a:gd name="connsiteX14822" fmla="*/ 4073350 w 4716235"/>
              <a:gd name="connsiteY14822" fmla="*/ 23747 h 4596459"/>
              <a:gd name="connsiteX14823" fmla="*/ 4078552 w 4716235"/>
              <a:gd name="connsiteY14823" fmla="*/ 28949 h 4596459"/>
              <a:gd name="connsiteX14824" fmla="*/ 4085903 w 4716235"/>
              <a:gd name="connsiteY14824" fmla="*/ 21598 h 4596459"/>
              <a:gd name="connsiteX14825" fmla="*/ 4090445 w 4716235"/>
              <a:gd name="connsiteY14825" fmla="*/ 26140 h 4596459"/>
              <a:gd name="connsiteX14826" fmla="*/ 4096144 w 4716235"/>
              <a:gd name="connsiteY14826" fmla="*/ 20441 h 4596459"/>
              <a:gd name="connsiteX14827" fmla="*/ 4100191 w 4716235"/>
              <a:gd name="connsiteY14827" fmla="*/ 24489 h 4596459"/>
              <a:gd name="connsiteX14828" fmla="*/ 4105064 w 4716235"/>
              <a:gd name="connsiteY14828" fmla="*/ 19616 h 4596459"/>
              <a:gd name="connsiteX14829" fmla="*/ 4108946 w 4716235"/>
              <a:gd name="connsiteY14829" fmla="*/ 23497 h 4596459"/>
              <a:gd name="connsiteX14830" fmla="*/ 4114148 w 4716235"/>
              <a:gd name="connsiteY14830" fmla="*/ 18294 h 4596459"/>
              <a:gd name="connsiteX14831" fmla="*/ 4117866 w 4716235"/>
              <a:gd name="connsiteY14831" fmla="*/ 22012 h 4596459"/>
              <a:gd name="connsiteX14832" fmla="*/ 4123894 w 4716235"/>
              <a:gd name="connsiteY14832" fmla="*/ 15983 h 4596459"/>
              <a:gd name="connsiteX14833" fmla="*/ 4127694 w 4716235"/>
              <a:gd name="connsiteY14833" fmla="*/ 19782 h 4596459"/>
              <a:gd name="connsiteX14834" fmla="*/ 4135458 w 4716235"/>
              <a:gd name="connsiteY14834" fmla="*/ 12018 h 4596459"/>
              <a:gd name="connsiteX14835" fmla="*/ 4139422 w 4716235"/>
              <a:gd name="connsiteY14835" fmla="*/ 15983 h 4596459"/>
              <a:gd name="connsiteX14836" fmla="*/ 3067065 w 4716235"/>
              <a:gd name="connsiteY14836" fmla="*/ 621 h 4596459"/>
              <a:gd name="connsiteX14837" fmla="*/ 3077803 w 4716235"/>
              <a:gd name="connsiteY14837" fmla="*/ 11357 h 4596459"/>
              <a:gd name="connsiteX14838" fmla="*/ 3067065 w 4716235"/>
              <a:gd name="connsiteY14838" fmla="*/ 22096 h 4596459"/>
              <a:gd name="connsiteX14839" fmla="*/ 3056329 w 4716235"/>
              <a:gd name="connsiteY14839" fmla="*/ 11357 h 4596459"/>
              <a:gd name="connsiteX14840" fmla="*/ 3067065 w 4716235"/>
              <a:gd name="connsiteY14840" fmla="*/ 621 h 4596459"/>
              <a:gd name="connsiteX14841" fmla="*/ 3952437 w 4716235"/>
              <a:gd name="connsiteY14841" fmla="*/ 455 h 4596459"/>
              <a:gd name="connsiteX14842" fmla="*/ 3963175 w 4716235"/>
              <a:gd name="connsiteY14842" fmla="*/ 11191 h 4596459"/>
              <a:gd name="connsiteX14843" fmla="*/ 3952437 w 4716235"/>
              <a:gd name="connsiteY14843" fmla="*/ 21929 h 4596459"/>
              <a:gd name="connsiteX14844" fmla="*/ 3941701 w 4716235"/>
              <a:gd name="connsiteY14844" fmla="*/ 11191 h 4596459"/>
              <a:gd name="connsiteX14845" fmla="*/ 3952437 w 4716235"/>
              <a:gd name="connsiteY14845" fmla="*/ 455 h 4596459"/>
              <a:gd name="connsiteX14846" fmla="*/ 141703 w 4716235"/>
              <a:gd name="connsiteY14846" fmla="*/ 125 h 4596459"/>
              <a:gd name="connsiteX14847" fmla="*/ 152441 w 4716235"/>
              <a:gd name="connsiteY14847" fmla="*/ 10862 h 4596459"/>
              <a:gd name="connsiteX14848" fmla="*/ 141703 w 4716235"/>
              <a:gd name="connsiteY14848" fmla="*/ 21598 h 4596459"/>
              <a:gd name="connsiteX14849" fmla="*/ 130967 w 4716235"/>
              <a:gd name="connsiteY14849" fmla="*/ 10862 h 4596459"/>
              <a:gd name="connsiteX14850" fmla="*/ 141703 w 4716235"/>
              <a:gd name="connsiteY14850" fmla="*/ 125 h 4596459"/>
              <a:gd name="connsiteX14851" fmla="*/ 4164488 w 4716235"/>
              <a:gd name="connsiteY14851" fmla="*/ 0 h 4596459"/>
              <a:gd name="connsiteX14852" fmla="*/ 4168535 w 4716235"/>
              <a:gd name="connsiteY14852" fmla="*/ 0 h 4596459"/>
              <a:gd name="connsiteX14853" fmla="*/ 4176919 w 4716235"/>
              <a:gd name="connsiteY14853" fmla="*/ 8383 h 4596459"/>
              <a:gd name="connsiteX14854" fmla="*/ 4166512 w 4716235"/>
              <a:gd name="connsiteY14854" fmla="*/ 18790 h 4596459"/>
              <a:gd name="connsiteX14855" fmla="*/ 4156105 w 4716235"/>
              <a:gd name="connsiteY14855" fmla="*/ 8383 h 4596459"/>
              <a:gd name="connsiteX14856" fmla="*/ 4103782 w 4716235"/>
              <a:gd name="connsiteY14856" fmla="*/ 0 h 4596459"/>
              <a:gd name="connsiteX14857" fmla="*/ 4109648 w 4716235"/>
              <a:gd name="connsiteY14857" fmla="*/ 0 h 4596459"/>
              <a:gd name="connsiteX14858" fmla="*/ 4106715 w 4716235"/>
              <a:gd name="connsiteY14858" fmla="*/ 2933 h 4596459"/>
              <a:gd name="connsiteX14859" fmla="*/ 4090237 w 4716235"/>
              <a:gd name="connsiteY14859" fmla="*/ 0 h 4596459"/>
              <a:gd name="connsiteX14860" fmla="*/ 4099738 w 4716235"/>
              <a:gd name="connsiteY14860" fmla="*/ 0 h 4596459"/>
              <a:gd name="connsiteX14861" fmla="*/ 4094987 w 4716235"/>
              <a:gd name="connsiteY14861" fmla="*/ 4750 h 4596459"/>
              <a:gd name="connsiteX14862" fmla="*/ 4079337 w 4716235"/>
              <a:gd name="connsiteY14862" fmla="*/ 0 h 4596459"/>
              <a:gd name="connsiteX14863" fmla="*/ 4089498 w 4716235"/>
              <a:gd name="connsiteY14863" fmla="*/ 0 h 4596459"/>
              <a:gd name="connsiteX14864" fmla="*/ 4084417 w 4716235"/>
              <a:gd name="connsiteY14864" fmla="*/ 5080 h 4596459"/>
              <a:gd name="connsiteX14865" fmla="*/ 4069919 w 4716235"/>
              <a:gd name="connsiteY14865" fmla="*/ 0 h 4596459"/>
              <a:gd name="connsiteX14866" fmla="*/ 4078762 w 4716235"/>
              <a:gd name="connsiteY14866" fmla="*/ 0 h 4596459"/>
              <a:gd name="connsiteX14867" fmla="*/ 4074340 w 4716235"/>
              <a:gd name="connsiteY14867" fmla="*/ 4421 h 4596459"/>
              <a:gd name="connsiteX14868" fmla="*/ 4060012 w 4716235"/>
              <a:gd name="connsiteY14868" fmla="*/ 0 h 4596459"/>
              <a:gd name="connsiteX14869" fmla="*/ 4066867 w 4716235"/>
              <a:gd name="connsiteY14869" fmla="*/ 0 h 4596459"/>
              <a:gd name="connsiteX14870" fmla="*/ 4063439 w 4716235"/>
              <a:gd name="connsiteY14870" fmla="*/ 3427 h 4596459"/>
              <a:gd name="connsiteX14871" fmla="*/ 4047954 w 4716235"/>
              <a:gd name="connsiteY14871" fmla="*/ 0 h 4596459"/>
              <a:gd name="connsiteX14872" fmla="*/ 4053487 w 4716235"/>
              <a:gd name="connsiteY14872" fmla="*/ 0 h 4596459"/>
              <a:gd name="connsiteX14873" fmla="*/ 4050720 w 4716235"/>
              <a:gd name="connsiteY14873" fmla="*/ 2766 h 4596459"/>
              <a:gd name="connsiteX14874" fmla="*/ 4031433 w 4716235"/>
              <a:gd name="connsiteY14874" fmla="*/ 0 h 4596459"/>
              <a:gd name="connsiteX14875" fmla="*/ 4037959 w 4716235"/>
              <a:gd name="connsiteY14875" fmla="*/ 0 h 4596459"/>
              <a:gd name="connsiteX14876" fmla="*/ 4034696 w 4716235"/>
              <a:gd name="connsiteY14876" fmla="*/ 3264 h 4596459"/>
              <a:gd name="connsiteX14877" fmla="*/ 4008308 w 4716235"/>
              <a:gd name="connsiteY14877" fmla="*/ 0 h 4596459"/>
              <a:gd name="connsiteX14878" fmla="*/ 4020120 w 4716235"/>
              <a:gd name="connsiteY14878" fmla="*/ 0 h 4596459"/>
              <a:gd name="connsiteX14879" fmla="*/ 4014214 w 4716235"/>
              <a:gd name="connsiteY14879" fmla="*/ 5907 h 4596459"/>
              <a:gd name="connsiteX14880" fmla="*/ 3977834 w 4716235"/>
              <a:gd name="connsiteY14880" fmla="*/ 0 h 4596459"/>
              <a:gd name="connsiteX14881" fmla="*/ 3997076 w 4716235"/>
              <a:gd name="connsiteY14881" fmla="*/ 0 h 4596459"/>
              <a:gd name="connsiteX14882" fmla="*/ 3998192 w 4716235"/>
              <a:gd name="connsiteY14882" fmla="*/ 1115 h 4596459"/>
              <a:gd name="connsiteX14883" fmla="*/ 3987455 w 4716235"/>
              <a:gd name="connsiteY14883" fmla="*/ 11853 h 4596459"/>
              <a:gd name="connsiteX14884" fmla="*/ 3976719 w 4716235"/>
              <a:gd name="connsiteY14884" fmla="*/ 1115 h 4596459"/>
              <a:gd name="connsiteX14885" fmla="*/ 3766237 w 4716235"/>
              <a:gd name="connsiteY14885" fmla="*/ 0 h 4596459"/>
              <a:gd name="connsiteX14886" fmla="*/ 3780194 w 4716235"/>
              <a:gd name="connsiteY14886" fmla="*/ 0 h 4596459"/>
              <a:gd name="connsiteX14887" fmla="*/ 3783952 w 4716235"/>
              <a:gd name="connsiteY14887" fmla="*/ 3758 h 4596459"/>
              <a:gd name="connsiteX14888" fmla="*/ 3773216 w 4716235"/>
              <a:gd name="connsiteY14888" fmla="*/ 14495 h 4596459"/>
              <a:gd name="connsiteX14889" fmla="*/ 3762479 w 4716235"/>
              <a:gd name="connsiteY14889" fmla="*/ 3758 h 4596459"/>
              <a:gd name="connsiteX14890" fmla="*/ 3594199 w 4716235"/>
              <a:gd name="connsiteY14890" fmla="*/ 0 h 4596459"/>
              <a:gd name="connsiteX14891" fmla="*/ 3596100 w 4716235"/>
              <a:gd name="connsiteY14891" fmla="*/ 0 h 4596459"/>
              <a:gd name="connsiteX14892" fmla="*/ 3595149 w 4716235"/>
              <a:gd name="connsiteY14892" fmla="*/ 951 h 4596459"/>
              <a:gd name="connsiteX14893" fmla="*/ 3361623 w 4716235"/>
              <a:gd name="connsiteY14893" fmla="*/ 0 h 4596459"/>
              <a:gd name="connsiteX14894" fmla="*/ 3364846 w 4716235"/>
              <a:gd name="connsiteY14894" fmla="*/ 0 h 4596459"/>
              <a:gd name="connsiteX14895" fmla="*/ 3363235 w 4716235"/>
              <a:gd name="connsiteY14895" fmla="*/ 1611 h 4596459"/>
              <a:gd name="connsiteX14896" fmla="*/ 2327672 w 4716235"/>
              <a:gd name="connsiteY14896" fmla="*/ 0 h 4596459"/>
              <a:gd name="connsiteX14897" fmla="*/ 2330728 w 4716235"/>
              <a:gd name="connsiteY14897" fmla="*/ 0 h 4596459"/>
              <a:gd name="connsiteX14898" fmla="*/ 2339938 w 4716235"/>
              <a:gd name="connsiteY14898" fmla="*/ 9209 h 4596459"/>
              <a:gd name="connsiteX14899" fmla="*/ 2329200 w 4716235"/>
              <a:gd name="connsiteY14899" fmla="*/ 19945 h 4596459"/>
              <a:gd name="connsiteX14900" fmla="*/ 2318464 w 4716235"/>
              <a:gd name="connsiteY14900" fmla="*/ 9209 h 4596459"/>
              <a:gd name="connsiteX14901" fmla="*/ 2130693 w 4716235"/>
              <a:gd name="connsiteY14901" fmla="*/ 0 h 4596459"/>
              <a:gd name="connsiteX14902" fmla="*/ 2137879 w 4716235"/>
              <a:gd name="connsiteY14902" fmla="*/ 0 h 4596459"/>
              <a:gd name="connsiteX14903" fmla="*/ 2134286 w 4716235"/>
              <a:gd name="connsiteY14903" fmla="*/ 3594 h 4596459"/>
              <a:gd name="connsiteX14904" fmla="*/ 1324608 w 4716235"/>
              <a:gd name="connsiteY14904" fmla="*/ 0 h 4596459"/>
              <a:gd name="connsiteX14905" fmla="*/ 1345340 w 4716235"/>
              <a:gd name="connsiteY14905" fmla="*/ 0 h 4596459"/>
              <a:gd name="connsiteX14906" fmla="*/ 1334973 w 4716235"/>
              <a:gd name="connsiteY14906" fmla="*/ 10366 h 4596459"/>
              <a:gd name="connsiteX14907" fmla="*/ 571877 w 4716235"/>
              <a:gd name="connsiteY14907" fmla="*/ 0 h 4596459"/>
              <a:gd name="connsiteX14908" fmla="*/ 576088 w 4716235"/>
              <a:gd name="connsiteY14908" fmla="*/ 0 h 4596459"/>
              <a:gd name="connsiteX14909" fmla="*/ 573982 w 4716235"/>
              <a:gd name="connsiteY14909" fmla="*/ 2106 h 4596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 ang="0">
                <a:pos x="connsiteX5218" y="connsiteY5218"/>
              </a:cxn>
              <a:cxn ang="0">
                <a:pos x="connsiteX5219" y="connsiteY5219"/>
              </a:cxn>
              <a:cxn ang="0">
                <a:pos x="connsiteX5220" y="connsiteY5220"/>
              </a:cxn>
              <a:cxn ang="0">
                <a:pos x="connsiteX5221" y="connsiteY5221"/>
              </a:cxn>
              <a:cxn ang="0">
                <a:pos x="connsiteX5222" y="connsiteY5222"/>
              </a:cxn>
              <a:cxn ang="0">
                <a:pos x="connsiteX5223" y="connsiteY5223"/>
              </a:cxn>
              <a:cxn ang="0">
                <a:pos x="connsiteX5224" y="connsiteY5224"/>
              </a:cxn>
              <a:cxn ang="0">
                <a:pos x="connsiteX5225" y="connsiteY5225"/>
              </a:cxn>
              <a:cxn ang="0">
                <a:pos x="connsiteX5226" y="connsiteY5226"/>
              </a:cxn>
              <a:cxn ang="0">
                <a:pos x="connsiteX5227" y="connsiteY5227"/>
              </a:cxn>
              <a:cxn ang="0">
                <a:pos x="connsiteX5228" y="connsiteY5228"/>
              </a:cxn>
              <a:cxn ang="0">
                <a:pos x="connsiteX5229" y="connsiteY5229"/>
              </a:cxn>
              <a:cxn ang="0">
                <a:pos x="connsiteX5230" y="connsiteY5230"/>
              </a:cxn>
              <a:cxn ang="0">
                <a:pos x="connsiteX5231" y="connsiteY5231"/>
              </a:cxn>
              <a:cxn ang="0">
                <a:pos x="connsiteX5232" y="connsiteY5232"/>
              </a:cxn>
              <a:cxn ang="0">
                <a:pos x="connsiteX5233" y="connsiteY5233"/>
              </a:cxn>
              <a:cxn ang="0">
                <a:pos x="connsiteX5234" y="connsiteY5234"/>
              </a:cxn>
              <a:cxn ang="0">
                <a:pos x="connsiteX5235" y="connsiteY5235"/>
              </a:cxn>
              <a:cxn ang="0">
                <a:pos x="connsiteX5236" y="connsiteY5236"/>
              </a:cxn>
              <a:cxn ang="0">
                <a:pos x="connsiteX5237" y="connsiteY5237"/>
              </a:cxn>
              <a:cxn ang="0">
                <a:pos x="connsiteX5238" y="connsiteY5238"/>
              </a:cxn>
              <a:cxn ang="0">
                <a:pos x="connsiteX5239" y="connsiteY5239"/>
              </a:cxn>
              <a:cxn ang="0">
                <a:pos x="connsiteX5240" y="connsiteY5240"/>
              </a:cxn>
              <a:cxn ang="0">
                <a:pos x="connsiteX5241" y="connsiteY5241"/>
              </a:cxn>
              <a:cxn ang="0">
                <a:pos x="connsiteX5242" y="connsiteY5242"/>
              </a:cxn>
              <a:cxn ang="0">
                <a:pos x="connsiteX5243" y="connsiteY5243"/>
              </a:cxn>
              <a:cxn ang="0">
                <a:pos x="connsiteX5244" y="connsiteY5244"/>
              </a:cxn>
              <a:cxn ang="0">
                <a:pos x="connsiteX5245" y="connsiteY5245"/>
              </a:cxn>
              <a:cxn ang="0">
                <a:pos x="connsiteX5246" y="connsiteY5246"/>
              </a:cxn>
              <a:cxn ang="0">
                <a:pos x="connsiteX5247" y="connsiteY5247"/>
              </a:cxn>
              <a:cxn ang="0">
                <a:pos x="connsiteX5248" y="connsiteY5248"/>
              </a:cxn>
              <a:cxn ang="0">
                <a:pos x="connsiteX5249" y="connsiteY5249"/>
              </a:cxn>
              <a:cxn ang="0">
                <a:pos x="connsiteX5250" y="connsiteY5250"/>
              </a:cxn>
              <a:cxn ang="0">
                <a:pos x="connsiteX5251" y="connsiteY5251"/>
              </a:cxn>
              <a:cxn ang="0">
                <a:pos x="connsiteX5252" y="connsiteY5252"/>
              </a:cxn>
              <a:cxn ang="0">
                <a:pos x="connsiteX5253" y="connsiteY5253"/>
              </a:cxn>
              <a:cxn ang="0">
                <a:pos x="connsiteX5254" y="connsiteY5254"/>
              </a:cxn>
              <a:cxn ang="0">
                <a:pos x="connsiteX5255" y="connsiteY5255"/>
              </a:cxn>
              <a:cxn ang="0">
                <a:pos x="connsiteX5256" y="connsiteY5256"/>
              </a:cxn>
              <a:cxn ang="0">
                <a:pos x="connsiteX5257" y="connsiteY5257"/>
              </a:cxn>
              <a:cxn ang="0">
                <a:pos x="connsiteX5258" y="connsiteY5258"/>
              </a:cxn>
              <a:cxn ang="0">
                <a:pos x="connsiteX5259" y="connsiteY5259"/>
              </a:cxn>
              <a:cxn ang="0">
                <a:pos x="connsiteX5260" y="connsiteY5260"/>
              </a:cxn>
              <a:cxn ang="0">
                <a:pos x="connsiteX5261" y="connsiteY5261"/>
              </a:cxn>
              <a:cxn ang="0">
                <a:pos x="connsiteX5262" y="connsiteY5262"/>
              </a:cxn>
              <a:cxn ang="0">
                <a:pos x="connsiteX5263" y="connsiteY5263"/>
              </a:cxn>
              <a:cxn ang="0">
                <a:pos x="connsiteX5264" y="connsiteY5264"/>
              </a:cxn>
              <a:cxn ang="0">
                <a:pos x="connsiteX5265" y="connsiteY5265"/>
              </a:cxn>
              <a:cxn ang="0">
                <a:pos x="connsiteX5266" y="connsiteY5266"/>
              </a:cxn>
              <a:cxn ang="0">
                <a:pos x="connsiteX5267" y="connsiteY5267"/>
              </a:cxn>
              <a:cxn ang="0">
                <a:pos x="connsiteX5268" y="connsiteY5268"/>
              </a:cxn>
              <a:cxn ang="0">
                <a:pos x="connsiteX5269" y="connsiteY5269"/>
              </a:cxn>
              <a:cxn ang="0">
                <a:pos x="connsiteX5270" y="connsiteY5270"/>
              </a:cxn>
              <a:cxn ang="0">
                <a:pos x="connsiteX5271" y="connsiteY5271"/>
              </a:cxn>
              <a:cxn ang="0">
                <a:pos x="connsiteX5272" y="connsiteY5272"/>
              </a:cxn>
              <a:cxn ang="0">
                <a:pos x="connsiteX5273" y="connsiteY5273"/>
              </a:cxn>
              <a:cxn ang="0">
                <a:pos x="connsiteX5274" y="connsiteY5274"/>
              </a:cxn>
              <a:cxn ang="0">
                <a:pos x="connsiteX5275" y="connsiteY5275"/>
              </a:cxn>
              <a:cxn ang="0">
                <a:pos x="connsiteX5276" y="connsiteY5276"/>
              </a:cxn>
              <a:cxn ang="0">
                <a:pos x="connsiteX5277" y="connsiteY5277"/>
              </a:cxn>
              <a:cxn ang="0">
                <a:pos x="connsiteX5278" y="connsiteY5278"/>
              </a:cxn>
              <a:cxn ang="0">
                <a:pos x="connsiteX5279" y="connsiteY5279"/>
              </a:cxn>
              <a:cxn ang="0">
                <a:pos x="connsiteX5280" y="connsiteY5280"/>
              </a:cxn>
              <a:cxn ang="0">
                <a:pos x="connsiteX5281" y="connsiteY5281"/>
              </a:cxn>
              <a:cxn ang="0">
                <a:pos x="connsiteX5282" y="connsiteY5282"/>
              </a:cxn>
              <a:cxn ang="0">
                <a:pos x="connsiteX5283" y="connsiteY5283"/>
              </a:cxn>
              <a:cxn ang="0">
                <a:pos x="connsiteX5284" y="connsiteY5284"/>
              </a:cxn>
              <a:cxn ang="0">
                <a:pos x="connsiteX5285" y="connsiteY5285"/>
              </a:cxn>
              <a:cxn ang="0">
                <a:pos x="connsiteX5286" y="connsiteY5286"/>
              </a:cxn>
              <a:cxn ang="0">
                <a:pos x="connsiteX5287" y="connsiteY5287"/>
              </a:cxn>
              <a:cxn ang="0">
                <a:pos x="connsiteX5288" y="connsiteY5288"/>
              </a:cxn>
              <a:cxn ang="0">
                <a:pos x="connsiteX5289" y="connsiteY5289"/>
              </a:cxn>
              <a:cxn ang="0">
                <a:pos x="connsiteX5290" y="connsiteY5290"/>
              </a:cxn>
              <a:cxn ang="0">
                <a:pos x="connsiteX5291" y="connsiteY5291"/>
              </a:cxn>
              <a:cxn ang="0">
                <a:pos x="connsiteX5292" y="connsiteY5292"/>
              </a:cxn>
              <a:cxn ang="0">
                <a:pos x="connsiteX5293" y="connsiteY5293"/>
              </a:cxn>
              <a:cxn ang="0">
                <a:pos x="connsiteX5294" y="connsiteY5294"/>
              </a:cxn>
              <a:cxn ang="0">
                <a:pos x="connsiteX5295" y="connsiteY5295"/>
              </a:cxn>
              <a:cxn ang="0">
                <a:pos x="connsiteX5296" y="connsiteY5296"/>
              </a:cxn>
              <a:cxn ang="0">
                <a:pos x="connsiteX5297" y="connsiteY5297"/>
              </a:cxn>
              <a:cxn ang="0">
                <a:pos x="connsiteX5298" y="connsiteY5298"/>
              </a:cxn>
              <a:cxn ang="0">
                <a:pos x="connsiteX5299" y="connsiteY5299"/>
              </a:cxn>
              <a:cxn ang="0">
                <a:pos x="connsiteX5300" y="connsiteY5300"/>
              </a:cxn>
              <a:cxn ang="0">
                <a:pos x="connsiteX5301" y="connsiteY5301"/>
              </a:cxn>
              <a:cxn ang="0">
                <a:pos x="connsiteX5302" y="connsiteY5302"/>
              </a:cxn>
              <a:cxn ang="0">
                <a:pos x="connsiteX5303" y="connsiteY5303"/>
              </a:cxn>
              <a:cxn ang="0">
                <a:pos x="connsiteX5304" y="connsiteY5304"/>
              </a:cxn>
              <a:cxn ang="0">
                <a:pos x="connsiteX5305" y="connsiteY5305"/>
              </a:cxn>
              <a:cxn ang="0">
                <a:pos x="connsiteX5306" y="connsiteY5306"/>
              </a:cxn>
              <a:cxn ang="0">
                <a:pos x="connsiteX5307" y="connsiteY5307"/>
              </a:cxn>
              <a:cxn ang="0">
                <a:pos x="connsiteX5308" y="connsiteY5308"/>
              </a:cxn>
              <a:cxn ang="0">
                <a:pos x="connsiteX5309" y="connsiteY5309"/>
              </a:cxn>
              <a:cxn ang="0">
                <a:pos x="connsiteX5310" y="connsiteY5310"/>
              </a:cxn>
              <a:cxn ang="0">
                <a:pos x="connsiteX5311" y="connsiteY5311"/>
              </a:cxn>
              <a:cxn ang="0">
                <a:pos x="connsiteX5312" y="connsiteY5312"/>
              </a:cxn>
              <a:cxn ang="0">
                <a:pos x="connsiteX5313" y="connsiteY5313"/>
              </a:cxn>
              <a:cxn ang="0">
                <a:pos x="connsiteX5314" y="connsiteY5314"/>
              </a:cxn>
              <a:cxn ang="0">
                <a:pos x="connsiteX5315" y="connsiteY5315"/>
              </a:cxn>
              <a:cxn ang="0">
                <a:pos x="connsiteX5316" y="connsiteY5316"/>
              </a:cxn>
              <a:cxn ang="0">
                <a:pos x="connsiteX5317" y="connsiteY5317"/>
              </a:cxn>
              <a:cxn ang="0">
                <a:pos x="connsiteX5318" y="connsiteY5318"/>
              </a:cxn>
              <a:cxn ang="0">
                <a:pos x="connsiteX5319" y="connsiteY5319"/>
              </a:cxn>
              <a:cxn ang="0">
                <a:pos x="connsiteX5320" y="connsiteY5320"/>
              </a:cxn>
              <a:cxn ang="0">
                <a:pos x="connsiteX5321" y="connsiteY5321"/>
              </a:cxn>
              <a:cxn ang="0">
                <a:pos x="connsiteX5322" y="connsiteY5322"/>
              </a:cxn>
              <a:cxn ang="0">
                <a:pos x="connsiteX5323" y="connsiteY5323"/>
              </a:cxn>
              <a:cxn ang="0">
                <a:pos x="connsiteX5324" y="connsiteY5324"/>
              </a:cxn>
              <a:cxn ang="0">
                <a:pos x="connsiteX5325" y="connsiteY5325"/>
              </a:cxn>
              <a:cxn ang="0">
                <a:pos x="connsiteX5326" y="connsiteY5326"/>
              </a:cxn>
              <a:cxn ang="0">
                <a:pos x="connsiteX5327" y="connsiteY5327"/>
              </a:cxn>
              <a:cxn ang="0">
                <a:pos x="connsiteX5328" y="connsiteY5328"/>
              </a:cxn>
              <a:cxn ang="0">
                <a:pos x="connsiteX5329" y="connsiteY5329"/>
              </a:cxn>
              <a:cxn ang="0">
                <a:pos x="connsiteX5330" y="connsiteY5330"/>
              </a:cxn>
              <a:cxn ang="0">
                <a:pos x="connsiteX5331" y="connsiteY5331"/>
              </a:cxn>
              <a:cxn ang="0">
                <a:pos x="connsiteX5332" y="connsiteY5332"/>
              </a:cxn>
              <a:cxn ang="0">
                <a:pos x="connsiteX5333" y="connsiteY5333"/>
              </a:cxn>
              <a:cxn ang="0">
                <a:pos x="connsiteX5334" y="connsiteY5334"/>
              </a:cxn>
              <a:cxn ang="0">
                <a:pos x="connsiteX5335" y="connsiteY5335"/>
              </a:cxn>
              <a:cxn ang="0">
                <a:pos x="connsiteX5336" y="connsiteY5336"/>
              </a:cxn>
              <a:cxn ang="0">
                <a:pos x="connsiteX5337" y="connsiteY5337"/>
              </a:cxn>
              <a:cxn ang="0">
                <a:pos x="connsiteX5338" y="connsiteY5338"/>
              </a:cxn>
              <a:cxn ang="0">
                <a:pos x="connsiteX5339" y="connsiteY5339"/>
              </a:cxn>
              <a:cxn ang="0">
                <a:pos x="connsiteX5340" y="connsiteY5340"/>
              </a:cxn>
              <a:cxn ang="0">
                <a:pos x="connsiteX5341" y="connsiteY5341"/>
              </a:cxn>
              <a:cxn ang="0">
                <a:pos x="connsiteX5342" y="connsiteY5342"/>
              </a:cxn>
              <a:cxn ang="0">
                <a:pos x="connsiteX5343" y="connsiteY5343"/>
              </a:cxn>
              <a:cxn ang="0">
                <a:pos x="connsiteX5344" y="connsiteY5344"/>
              </a:cxn>
              <a:cxn ang="0">
                <a:pos x="connsiteX5345" y="connsiteY5345"/>
              </a:cxn>
              <a:cxn ang="0">
                <a:pos x="connsiteX5346" y="connsiteY5346"/>
              </a:cxn>
              <a:cxn ang="0">
                <a:pos x="connsiteX5347" y="connsiteY5347"/>
              </a:cxn>
              <a:cxn ang="0">
                <a:pos x="connsiteX5348" y="connsiteY5348"/>
              </a:cxn>
              <a:cxn ang="0">
                <a:pos x="connsiteX5349" y="connsiteY5349"/>
              </a:cxn>
              <a:cxn ang="0">
                <a:pos x="connsiteX5350" y="connsiteY5350"/>
              </a:cxn>
              <a:cxn ang="0">
                <a:pos x="connsiteX5351" y="connsiteY5351"/>
              </a:cxn>
              <a:cxn ang="0">
                <a:pos x="connsiteX5352" y="connsiteY5352"/>
              </a:cxn>
              <a:cxn ang="0">
                <a:pos x="connsiteX5353" y="connsiteY5353"/>
              </a:cxn>
              <a:cxn ang="0">
                <a:pos x="connsiteX5354" y="connsiteY5354"/>
              </a:cxn>
              <a:cxn ang="0">
                <a:pos x="connsiteX5355" y="connsiteY5355"/>
              </a:cxn>
              <a:cxn ang="0">
                <a:pos x="connsiteX5356" y="connsiteY5356"/>
              </a:cxn>
              <a:cxn ang="0">
                <a:pos x="connsiteX5357" y="connsiteY5357"/>
              </a:cxn>
              <a:cxn ang="0">
                <a:pos x="connsiteX5358" y="connsiteY5358"/>
              </a:cxn>
              <a:cxn ang="0">
                <a:pos x="connsiteX5359" y="connsiteY5359"/>
              </a:cxn>
              <a:cxn ang="0">
                <a:pos x="connsiteX5360" y="connsiteY5360"/>
              </a:cxn>
              <a:cxn ang="0">
                <a:pos x="connsiteX5361" y="connsiteY5361"/>
              </a:cxn>
              <a:cxn ang="0">
                <a:pos x="connsiteX5362" y="connsiteY5362"/>
              </a:cxn>
              <a:cxn ang="0">
                <a:pos x="connsiteX5363" y="connsiteY5363"/>
              </a:cxn>
              <a:cxn ang="0">
                <a:pos x="connsiteX5364" y="connsiteY5364"/>
              </a:cxn>
              <a:cxn ang="0">
                <a:pos x="connsiteX5365" y="connsiteY5365"/>
              </a:cxn>
              <a:cxn ang="0">
                <a:pos x="connsiteX5366" y="connsiteY5366"/>
              </a:cxn>
              <a:cxn ang="0">
                <a:pos x="connsiteX5367" y="connsiteY5367"/>
              </a:cxn>
              <a:cxn ang="0">
                <a:pos x="connsiteX5368" y="connsiteY5368"/>
              </a:cxn>
              <a:cxn ang="0">
                <a:pos x="connsiteX5369" y="connsiteY5369"/>
              </a:cxn>
              <a:cxn ang="0">
                <a:pos x="connsiteX5370" y="connsiteY5370"/>
              </a:cxn>
              <a:cxn ang="0">
                <a:pos x="connsiteX5371" y="connsiteY5371"/>
              </a:cxn>
              <a:cxn ang="0">
                <a:pos x="connsiteX5372" y="connsiteY5372"/>
              </a:cxn>
              <a:cxn ang="0">
                <a:pos x="connsiteX5373" y="connsiteY5373"/>
              </a:cxn>
              <a:cxn ang="0">
                <a:pos x="connsiteX5374" y="connsiteY5374"/>
              </a:cxn>
              <a:cxn ang="0">
                <a:pos x="connsiteX5375" y="connsiteY5375"/>
              </a:cxn>
              <a:cxn ang="0">
                <a:pos x="connsiteX5376" y="connsiteY5376"/>
              </a:cxn>
              <a:cxn ang="0">
                <a:pos x="connsiteX5377" y="connsiteY5377"/>
              </a:cxn>
              <a:cxn ang="0">
                <a:pos x="connsiteX5378" y="connsiteY5378"/>
              </a:cxn>
              <a:cxn ang="0">
                <a:pos x="connsiteX5379" y="connsiteY5379"/>
              </a:cxn>
              <a:cxn ang="0">
                <a:pos x="connsiteX5380" y="connsiteY5380"/>
              </a:cxn>
              <a:cxn ang="0">
                <a:pos x="connsiteX5381" y="connsiteY5381"/>
              </a:cxn>
              <a:cxn ang="0">
                <a:pos x="connsiteX5382" y="connsiteY5382"/>
              </a:cxn>
              <a:cxn ang="0">
                <a:pos x="connsiteX5383" y="connsiteY5383"/>
              </a:cxn>
              <a:cxn ang="0">
                <a:pos x="connsiteX5384" y="connsiteY5384"/>
              </a:cxn>
              <a:cxn ang="0">
                <a:pos x="connsiteX5385" y="connsiteY5385"/>
              </a:cxn>
              <a:cxn ang="0">
                <a:pos x="connsiteX5386" y="connsiteY5386"/>
              </a:cxn>
              <a:cxn ang="0">
                <a:pos x="connsiteX5387" y="connsiteY5387"/>
              </a:cxn>
              <a:cxn ang="0">
                <a:pos x="connsiteX5388" y="connsiteY5388"/>
              </a:cxn>
              <a:cxn ang="0">
                <a:pos x="connsiteX5389" y="connsiteY5389"/>
              </a:cxn>
              <a:cxn ang="0">
                <a:pos x="connsiteX5390" y="connsiteY5390"/>
              </a:cxn>
              <a:cxn ang="0">
                <a:pos x="connsiteX5391" y="connsiteY5391"/>
              </a:cxn>
              <a:cxn ang="0">
                <a:pos x="connsiteX5392" y="connsiteY5392"/>
              </a:cxn>
              <a:cxn ang="0">
                <a:pos x="connsiteX5393" y="connsiteY5393"/>
              </a:cxn>
              <a:cxn ang="0">
                <a:pos x="connsiteX5394" y="connsiteY5394"/>
              </a:cxn>
              <a:cxn ang="0">
                <a:pos x="connsiteX5395" y="connsiteY5395"/>
              </a:cxn>
              <a:cxn ang="0">
                <a:pos x="connsiteX5396" y="connsiteY5396"/>
              </a:cxn>
              <a:cxn ang="0">
                <a:pos x="connsiteX5397" y="connsiteY5397"/>
              </a:cxn>
              <a:cxn ang="0">
                <a:pos x="connsiteX5398" y="connsiteY5398"/>
              </a:cxn>
              <a:cxn ang="0">
                <a:pos x="connsiteX5399" y="connsiteY5399"/>
              </a:cxn>
              <a:cxn ang="0">
                <a:pos x="connsiteX5400" y="connsiteY5400"/>
              </a:cxn>
              <a:cxn ang="0">
                <a:pos x="connsiteX5401" y="connsiteY5401"/>
              </a:cxn>
              <a:cxn ang="0">
                <a:pos x="connsiteX5402" y="connsiteY5402"/>
              </a:cxn>
              <a:cxn ang="0">
                <a:pos x="connsiteX5403" y="connsiteY5403"/>
              </a:cxn>
              <a:cxn ang="0">
                <a:pos x="connsiteX5404" y="connsiteY5404"/>
              </a:cxn>
              <a:cxn ang="0">
                <a:pos x="connsiteX5405" y="connsiteY5405"/>
              </a:cxn>
              <a:cxn ang="0">
                <a:pos x="connsiteX5406" y="connsiteY5406"/>
              </a:cxn>
              <a:cxn ang="0">
                <a:pos x="connsiteX5407" y="connsiteY5407"/>
              </a:cxn>
              <a:cxn ang="0">
                <a:pos x="connsiteX5408" y="connsiteY5408"/>
              </a:cxn>
              <a:cxn ang="0">
                <a:pos x="connsiteX5409" y="connsiteY5409"/>
              </a:cxn>
              <a:cxn ang="0">
                <a:pos x="connsiteX5410" y="connsiteY5410"/>
              </a:cxn>
              <a:cxn ang="0">
                <a:pos x="connsiteX5411" y="connsiteY5411"/>
              </a:cxn>
              <a:cxn ang="0">
                <a:pos x="connsiteX5412" y="connsiteY5412"/>
              </a:cxn>
              <a:cxn ang="0">
                <a:pos x="connsiteX5413" y="connsiteY5413"/>
              </a:cxn>
              <a:cxn ang="0">
                <a:pos x="connsiteX5414" y="connsiteY5414"/>
              </a:cxn>
              <a:cxn ang="0">
                <a:pos x="connsiteX5415" y="connsiteY5415"/>
              </a:cxn>
              <a:cxn ang="0">
                <a:pos x="connsiteX5416" y="connsiteY5416"/>
              </a:cxn>
              <a:cxn ang="0">
                <a:pos x="connsiteX5417" y="connsiteY5417"/>
              </a:cxn>
              <a:cxn ang="0">
                <a:pos x="connsiteX5418" y="connsiteY5418"/>
              </a:cxn>
              <a:cxn ang="0">
                <a:pos x="connsiteX5419" y="connsiteY5419"/>
              </a:cxn>
              <a:cxn ang="0">
                <a:pos x="connsiteX5420" y="connsiteY5420"/>
              </a:cxn>
              <a:cxn ang="0">
                <a:pos x="connsiteX5421" y="connsiteY5421"/>
              </a:cxn>
              <a:cxn ang="0">
                <a:pos x="connsiteX5422" y="connsiteY5422"/>
              </a:cxn>
              <a:cxn ang="0">
                <a:pos x="connsiteX5423" y="connsiteY5423"/>
              </a:cxn>
              <a:cxn ang="0">
                <a:pos x="connsiteX5424" y="connsiteY5424"/>
              </a:cxn>
              <a:cxn ang="0">
                <a:pos x="connsiteX5425" y="connsiteY5425"/>
              </a:cxn>
              <a:cxn ang="0">
                <a:pos x="connsiteX5426" y="connsiteY5426"/>
              </a:cxn>
              <a:cxn ang="0">
                <a:pos x="connsiteX5427" y="connsiteY5427"/>
              </a:cxn>
              <a:cxn ang="0">
                <a:pos x="connsiteX5428" y="connsiteY5428"/>
              </a:cxn>
              <a:cxn ang="0">
                <a:pos x="connsiteX5429" y="connsiteY5429"/>
              </a:cxn>
              <a:cxn ang="0">
                <a:pos x="connsiteX5430" y="connsiteY5430"/>
              </a:cxn>
              <a:cxn ang="0">
                <a:pos x="connsiteX5431" y="connsiteY5431"/>
              </a:cxn>
              <a:cxn ang="0">
                <a:pos x="connsiteX5432" y="connsiteY5432"/>
              </a:cxn>
              <a:cxn ang="0">
                <a:pos x="connsiteX5433" y="connsiteY5433"/>
              </a:cxn>
              <a:cxn ang="0">
                <a:pos x="connsiteX5434" y="connsiteY5434"/>
              </a:cxn>
              <a:cxn ang="0">
                <a:pos x="connsiteX5435" y="connsiteY5435"/>
              </a:cxn>
              <a:cxn ang="0">
                <a:pos x="connsiteX5436" y="connsiteY5436"/>
              </a:cxn>
              <a:cxn ang="0">
                <a:pos x="connsiteX5437" y="connsiteY5437"/>
              </a:cxn>
              <a:cxn ang="0">
                <a:pos x="connsiteX5438" y="connsiteY5438"/>
              </a:cxn>
              <a:cxn ang="0">
                <a:pos x="connsiteX5439" y="connsiteY5439"/>
              </a:cxn>
              <a:cxn ang="0">
                <a:pos x="connsiteX5440" y="connsiteY5440"/>
              </a:cxn>
              <a:cxn ang="0">
                <a:pos x="connsiteX5441" y="connsiteY5441"/>
              </a:cxn>
              <a:cxn ang="0">
                <a:pos x="connsiteX5442" y="connsiteY5442"/>
              </a:cxn>
              <a:cxn ang="0">
                <a:pos x="connsiteX5443" y="connsiteY5443"/>
              </a:cxn>
              <a:cxn ang="0">
                <a:pos x="connsiteX5444" y="connsiteY5444"/>
              </a:cxn>
              <a:cxn ang="0">
                <a:pos x="connsiteX5445" y="connsiteY5445"/>
              </a:cxn>
              <a:cxn ang="0">
                <a:pos x="connsiteX5446" y="connsiteY5446"/>
              </a:cxn>
              <a:cxn ang="0">
                <a:pos x="connsiteX5447" y="connsiteY5447"/>
              </a:cxn>
              <a:cxn ang="0">
                <a:pos x="connsiteX5448" y="connsiteY5448"/>
              </a:cxn>
              <a:cxn ang="0">
                <a:pos x="connsiteX5449" y="connsiteY5449"/>
              </a:cxn>
              <a:cxn ang="0">
                <a:pos x="connsiteX5450" y="connsiteY5450"/>
              </a:cxn>
              <a:cxn ang="0">
                <a:pos x="connsiteX5451" y="connsiteY5451"/>
              </a:cxn>
              <a:cxn ang="0">
                <a:pos x="connsiteX5452" y="connsiteY5452"/>
              </a:cxn>
              <a:cxn ang="0">
                <a:pos x="connsiteX5453" y="connsiteY5453"/>
              </a:cxn>
              <a:cxn ang="0">
                <a:pos x="connsiteX5454" y="connsiteY5454"/>
              </a:cxn>
              <a:cxn ang="0">
                <a:pos x="connsiteX5455" y="connsiteY5455"/>
              </a:cxn>
              <a:cxn ang="0">
                <a:pos x="connsiteX5456" y="connsiteY5456"/>
              </a:cxn>
              <a:cxn ang="0">
                <a:pos x="connsiteX5457" y="connsiteY5457"/>
              </a:cxn>
              <a:cxn ang="0">
                <a:pos x="connsiteX5458" y="connsiteY5458"/>
              </a:cxn>
              <a:cxn ang="0">
                <a:pos x="connsiteX5459" y="connsiteY5459"/>
              </a:cxn>
              <a:cxn ang="0">
                <a:pos x="connsiteX5460" y="connsiteY5460"/>
              </a:cxn>
              <a:cxn ang="0">
                <a:pos x="connsiteX5461" y="connsiteY5461"/>
              </a:cxn>
              <a:cxn ang="0">
                <a:pos x="connsiteX5462" y="connsiteY5462"/>
              </a:cxn>
              <a:cxn ang="0">
                <a:pos x="connsiteX5463" y="connsiteY5463"/>
              </a:cxn>
              <a:cxn ang="0">
                <a:pos x="connsiteX5464" y="connsiteY5464"/>
              </a:cxn>
              <a:cxn ang="0">
                <a:pos x="connsiteX5465" y="connsiteY5465"/>
              </a:cxn>
              <a:cxn ang="0">
                <a:pos x="connsiteX5466" y="connsiteY5466"/>
              </a:cxn>
              <a:cxn ang="0">
                <a:pos x="connsiteX5467" y="connsiteY5467"/>
              </a:cxn>
              <a:cxn ang="0">
                <a:pos x="connsiteX5468" y="connsiteY5468"/>
              </a:cxn>
              <a:cxn ang="0">
                <a:pos x="connsiteX5469" y="connsiteY5469"/>
              </a:cxn>
              <a:cxn ang="0">
                <a:pos x="connsiteX5470" y="connsiteY5470"/>
              </a:cxn>
              <a:cxn ang="0">
                <a:pos x="connsiteX5471" y="connsiteY5471"/>
              </a:cxn>
              <a:cxn ang="0">
                <a:pos x="connsiteX5472" y="connsiteY5472"/>
              </a:cxn>
              <a:cxn ang="0">
                <a:pos x="connsiteX5473" y="connsiteY5473"/>
              </a:cxn>
              <a:cxn ang="0">
                <a:pos x="connsiteX5474" y="connsiteY5474"/>
              </a:cxn>
              <a:cxn ang="0">
                <a:pos x="connsiteX5475" y="connsiteY5475"/>
              </a:cxn>
              <a:cxn ang="0">
                <a:pos x="connsiteX5476" y="connsiteY5476"/>
              </a:cxn>
              <a:cxn ang="0">
                <a:pos x="connsiteX5477" y="connsiteY5477"/>
              </a:cxn>
              <a:cxn ang="0">
                <a:pos x="connsiteX5478" y="connsiteY5478"/>
              </a:cxn>
              <a:cxn ang="0">
                <a:pos x="connsiteX5479" y="connsiteY5479"/>
              </a:cxn>
              <a:cxn ang="0">
                <a:pos x="connsiteX5480" y="connsiteY5480"/>
              </a:cxn>
              <a:cxn ang="0">
                <a:pos x="connsiteX5481" y="connsiteY5481"/>
              </a:cxn>
              <a:cxn ang="0">
                <a:pos x="connsiteX5482" y="connsiteY5482"/>
              </a:cxn>
              <a:cxn ang="0">
                <a:pos x="connsiteX5483" y="connsiteY5483"/>
              </a:cxn>
              <a:cxn ang="0">
                <a:pos x="connsiteX5484" y="connsiteY5484"/>
              </a:cxn>
              <a:cxn ang="0">
                <a:pos x="connsiteX5485" y="connsiteY5485"/>
              </a:cxn>
              <a:cxn ang="0">
                <a:pos x="connsiteX5486" y="connsiteY5486"/>
              </a:cxn>
              <a:cxn ang="0">
                <a:pos x="connsiteX5487" y="connsiteY5487"/>
              </a:cxn>
              <a:cxn ang="0">
                <a:pos x="connsiteX5488" y="connsiteY5488"/>
              </a:cxn>
              <a:cxn ang="0">
                <a:pos x="connsiteX5489" y="connsiteY5489"/>
              </a:cxn>
              <a:cxn ang="0">
                <a:pos x="connsiteX5490" y="connsiteY5490"/>
              </a:cxn>
              <a:cxn ang="0">
                <a:pos x="connsiteX5491" y="connsiteY5491"/>
              </a:cxn>
              <a:cxn ang="0">
                <a:pos x="connsiteX5492" y="connsiteY5492"/>
              </a:cxn>
              <a:cxn ang="0">
                <a:pos x="connsiteX5493" y="connsiteY5493"/>
              </a:cxn>
              <a:cxn ang="0">
                <a:pos x="connsiteX5494" y="connsiteY5494"/>
              </a:cxn>
              <a:cxn ang="0">
                <a:pos x="connsiteX5495" y="connsiteY5495"/>
              </a:cxn>
              <a:cxn ang="0">
                <a:pos x="connsiteX5496" y="connsiteY5496"/>
              </a:cxn>
              <a:cxn ang="0">
                <a:pos x="connsiteX5497" y="connsiteY5497"/>
              </a:cxn>
              <a:cxn ang="0">
                <a:pos x="connsiteX5498" y="connsiteY5498"/>
              </a:cxn>
              <a:cxn ang="0">
                <a:pos x="connsiteX5499" y="connsiteY5499"/>
              </a:cxn>
              <a:cxn ang="0">
                <a:pos x="connsiteX5500" y="connsiteY5500"/>
              </a:cxn>
              <a:cxn ang="0">
                <a:pos x="connsiteX5501" y="connsiteY5501"/>
              </a:cxn>
              <a:cxn ang="0">
                <a:pos x="connsiteX5502" y="connsiteY5502"/>
              </a:cxn>
              <a:cxn ang="0">
                <a:pos x="connsiteX5503" y="connsiteY5503"/>
              </a:cxn>
              <a:cxn ang="0">
                <a:pos x="connsiteX5504" y="connsiteY5504"/>
              </a:cxn>
              <a:cxn ang="0">
                <a:pos x="connsiteX5505" y="connsiteY5505"/>
              </a:cxn>
              <a:cxn ang="0">
                <a:pos x="connsiteX5506" y="connsiteY5506"/>
              </a:cxn>
              <a:cxn ang="0">
                <a:pos x="connsiteX5507" y="connsiteY5507"/>
              </a:cxn>
              <a:cxn ang="0">
                <a:pos x="connsiteX5508" y="connsiteY5508"/>
              </a:cxn>
              <a:cxn ang="0">
                <a:pos x="connsiteX5509" y="connsiteY5509"/>
              </a:cxn>
              <a:cxn ang="0">
                <a:pos x="connsiteX5510" y="connsiteY5510"/>
              </a:cxn>
              <a:cxn ang="0">
                <a:pos x="connsiteX5511" y="connsiteY5511"/>
              </a:cxn>
              <a:cxn ang="0">
                <a:pos x="connsiteX5512" y="connsiteY5512"/>
              </a:cxn>
              <a:cxn ang="0">
                <a:pos x="connsiteX5513" y="connsiteY5513"/>
              </a:cxn>
              <a:cxn ang="0">
                <a:pos x="connsiteX5514" y="connsiteY5514"/>
              </a:cxn>
              <a:cxn ang="0">
                <a:pos x="connsiteX5515" y="connsiteY5515"/>
              </a:cxn>
              <a:cxn ang="0">
                <a:pos x="connsiteX5516" y="connsiteY5516"/>
              </a:cxn>
              <a:cxn ang="0">
                <a:pos x="connsiteX5517" y="connsiteY5517"/>
              </a:cxn>
              <a:cxn ang="0">
                <a:pos x="connsiteX5518" y="connsiteY5518"/>
              </a:cxn>
              <a:cxn ang="0">
                <a:pos x="connsiteX5519" y="connsiteY5519"/>
              </a:cxn>
              <a:cxn ang="0">
                <a:pos x="connsiteX5520" y="connsiteY5520"/>
              </a:cxn>
              <a:cxn ang="0">
                <a:pos x="connsiteX5521" y="connsiteY5521"/>
              </a:cxn>
              <a:cxn ang="0">
                <a:pos x="connsiteX5522" y="connsiteY5522"/>
              </a:cxn>
              <a:cxn ang="0">
                <a:pos x="connsiteX5523" y="connsiteY5523"/>
              </a:cxn>
              <a:cxn ang="0">
                <a:pos x="connsiteX5524" y="connsiteY5524"/>
              </a:cxn>
              <a:cxn ang="0">
                <a:pos x="connsiteX5525" y="connsiteY5525"/>
              </a:cxn>
              <a:cxn ang="0">
                <a:pos x="connsiteX5526" y="connsiteY5526"/>
              </a:cxn>
              <a:cxn ang="0">
                <a:pos x="connsiteX5527" y="connsiteY5527"/>
              </a:cxn>
              <a:cxn ang="0">
                <a:pos x="connsiteX5528" y="connsiteY5528"/>
              </a:cxn>
              <a:cxn ang="0">
                <a:pos x="connsiteX5529" y="connsiteY5529"/>
              </a:cxn>
              <a:cxn ang="0">
                <a:pos x="connsiteX5530" y="connsiteY5530"/>
              </a:cxn>
              <a:cxn ang="0">
                <a:pos x="connsiteX5531" y="connsiteY5531"/>
              </a:cxn>
              <a:cxn ang="0">
                <a:pos x="connsiteX5532" y="connsiteY5532"/>
              </a:cxn>
              <a:cxn ang="0">
                <a:pos x="connsiteX5533" y="connsiteY5533"/>
              </a:cxn>
              <a:cxn ang="0">
                <a:pos x="connsiteX5534" y="connsiteY5534"/>
              </a:cxn>
              <a:cxn ang="0">
                <a:pos x="connsiteX5535" y="connsiteY5535"/>
              </a:cxn>
              <a:cxn ang="0">
                <a:pos x="connsiteX5536" y="connsiteY5536"/>
              </a:cxn>
              <a:cxn ang="0">
                <a:pos x="connsiteX5537" y="connsiteY5537"/>
              </a:cxn>
              <a:cxn ang="0">
                <a:pos x="connsiteX5538" y="connsiteY5538"/>
              </a:cxn>
              <a:cxn ang="0">
                <a:pos x="connsiteX5539" y="connsiteY5539"/>
              </a:cxn>
              <a:cxn ang="0">
                <a:pos x="connsiteX5540" y="connsiteY5540"/>
              </a:cxn>
              <a:cxn ang="0">
                <a:pos x="connsiteX5541" y="connsiteY5541"/>
              </a:cxn>
              <a:cxn ang="0">
                <a:pos x="connsiteX5542" y="connsiteY5542"/>
              </a:cxn>
              <a:cxn ang="0">
                <a:pos x="connsiteX5543" y="connsiteY5543"/>
              </a:cxn>
              <a:cxn ang="0">
                <a:pos x="connsiteX5544" y="connsiteY5544"/>
              </a:cxn>
              <a:cxn ang="0">
                <a:pos x="connsiteX5545" y="connsiteY5545"/>
              </a:cxn>
              <a:cxn ang="0">
                <a:pos x="connsiteX5546" y="connsiteY5546"/>
              </a:cxn>
              <a:cxn ang="0">
                <a:pos x="connsiteX5547" y="connsiteY5547"/>
              </a:cxn>
              <a:cxn ang="0">
                <a:pos x="connsiteX5548" y="connsiteY5548"/>
              </a:cxn>
              <a:cxn ang="0">
                <a:pos x="connsiteX5549" y="connsiteY5549"/>
              </a:cxn>
              <a:cxn ang="0">
                <a:pos x="connsiteX5550" y="connsiteY5550"/>
              </a:cxn>
              <a:cxn ang="0">
                <a:pos x="connsiteX5551" y="connsiteY5551"/>
              </a:cxn>
              <a:cxn ang="0">
                <a:pos x="connsiteX5552" y="connsiteY5552"/>
              </a:cxn>
              <a:cxn ang="0">
                <a:pos x="connsiteX5553" y="connsiteY5553"/>
              </a:cxn>
              <a:cxn ang="0">
                <a:pos x="connsiteX5554" y="connsiteY5554"/>
              </a:cxn>
              <a:cxn ang="0">
                <a:pos x="connsiteX5555" y="connsiteY5555"/>
              </a:cxn>
              <a:cxn ang="0">
                <a:pos x="connsiteX5556" y="connsiteY5556"/>
              </a:cxn>
              <a:cxn ang="0">
                <a:pos x="connsiteX5557" y="connsiteY5557"/>
              </a:cxn>
              <a:cxn ang="0">
                <a:pos x="connsiteX5558" y="connsiteY5558"/>
              </a:cxn>
              <a:cxn ang="0">
                <a:pos x="connsiteX5559" y="connsiteY5559"/>
              </a:cxn>
              <a:cxn ang="0">
                <a:pos x="connsiteX5560" y="connsiteY5560"/>
              </a:cxn>
              <a:cxn ang="0">
                <a:pos x="connsiteX5561" y="connsiteY5561"/>
              </a:cxn>
              <a:cxn ang="0">
                <a:pos x="connsiteX5562" y="connsiteY5562"/>
              </a:cxn>
              <a:cxn ang="0">
                <a:pos x="connsiteX5563" y="connsiteY5563"/>
              </a:cxn>
              <a:cxn ang="0">
                <a:pos x="connsiteX5564" y="connsiteY5564"/>
              </a:cxn>
              <a:cxn ang="0">
                <a:pos x="connsiteX5565" y="connsiteY5565"/>
              </a:cxn>
              <a:cxn ang="0">
                <a:pos x="connsiteX5566" y="connsiteY5566"/>
              </a:cxn>
              <a:cxn ang="0">
                <a:pos x="connsiteX5567" y="connsiteY5567"/>
              </a:cxn>
              <a:cxn ang="0">
                <a:pos x="connsiteX5568" y="connsiteY5568"/>
              </a:cxn>
              <a:cxn ang="0">
                <a:pos x="connsiteX5569" y="connsiteY5569"/>
              </a:cxn>
              <a:cxn ang="0">
                <a:pos x="connsiteX5570" y="connsiteY5570"/>
              </a:cxn>
              <a:cxn ang="0">
                <a:pos x="connsiteX5571" y="connsiteY5571"/>
              </a:cxn>
              <a:cxn ang="0">
                <a:pos x="connsiteX5572" y="connsiteY5572"/>
              </a:cxn>
              <a:cxn ang="0">
                <a:pos x="connsiteX5573" y="connsiteY5573"/>
              </a:cxn>
              <a:cxn ang="0">
                <a:pos x="connsiteX5574" y="connsiteY5574"/>
              </a:cxn>
              <a:cxn ang="0">
                <a:pos x="connsiteX5575" y="connsiteY5575"/>
              </a:cxn>
              <a:cxn ang="0">
                <a:pos x="connsiteX5576" y="connsiteY5576"/>
              </a:cxn>
              <a:cxn ang="0">
                <a:pos x="connsiteX5577" y="connsiteY5577"/>
              </a:cxn>
              <a:cxn ang="0">
                <a:pos x="connsiteX5578" y="connsiteY5578"/>
              </a:cxn>
              <a:cxn ang="0">
                <a:pos x="connsiteX5579" y="connsiteY5579"/>
              </a:cxn>
              <a:cxn ang="0">
                <a:pos x="connsiteX5580" y="connsiteY5580"/>
              </a:cxn>
              <a:cxn ang="0">
                <a:pos x="connsiteX5581" y="connsiteY5581"/>
              </a:cxn>
              <a:cxn ang="0">
                <a:pos x="connsiteX5582" y="connsiteY5582"/>
              </a:cxn>
              <a:cxn ang="0">
                <a:pos x="connsiteX5583" y="connsiteY5583"/>
              </a:cxn>
              <a:cxn ang="0">
                <a:pos x="connsiteX5584" y="connsiteY5584"/>
              </a:cxn>
              <a:cxn ang="0">
                <a:pos x="connsiteX5585" y="connsiteY5585"/>
              </a:cxn>
              <a:cxn ang="0">
                <a:pos x="connsiteX5586" y="connsiteY5586"/>
              </a:cxn>
              <a:cxn ang="0">
                <a:pos x="connsiteX5587" y="connsiteY5587"/>
              </a:cxn>
              <a:cxn ang="0">
                <a:pos x="connsiteX5588" y="connsiteY5588"/>
              </a:cxn>
              <a:cxn ang="0">
                <a:pos x="connsiteX5589" y="connsiteY5589"/>
              </a:cxn>
              <a:cxn ang="0">
                <a:pos x="connsiteX5590" y="connsiteY5590"/>
              </a:cxn>
              <a:cxn ang="0">
                <a:pos x="connsiteX5591" y="connsiteY5591"/>
              </a:cxn>
              <a:cxn ang="0">
                <a:pos x="connsiteX5592" y="connsiteY5592"/>
              </a:cxn>
              <a:cxn ang="0">
                <a:pos x="connsiteX5593" y="connsiteY5593"/>
              </a:cxn>
              <a:cxn ang="0">
                <a:pos x="connsiteX5594" y="connsiteY5594"/>
              </a:cxn>
              <a:cxn ang="0">
                <a:pos x="connsiteX5595" y="connsiteY5595"/>
              </a:cxn>
              <a:cxn ang="0">
                <a:pos x="connsiteX5596" y="connsiteY5596"/>
              </a:cxn>
              <a:cxn ang="0">
                <a:pos x="connsiteX5597" y="connsiteY5597"/>
              </a:cxn>
              <a:cxn ang="0">
                <a:pos x="connsiteX5598" y="connsiteY5598"/>
              </a:cxn>
              <a:cxn ang="0">
                <a:pos x="connsiteX5599" y="connsiteY5599"/>
              </a:cxn>
              <a:cxn ang="0">
                <a:pos x="connsiteX5600" y="connsiteY5600"/>
              </a:cxn>
              <a:cxn ang="0">
                <a:pos x="connsiteX5601" y="connsiteY5601"/>
              </a:cxn>
              <a:cxn ang="0">
                <a:pos x="connsiteX5602" y="connsiteY5602"/>
              </a:cxn>
              <a:cxn ang="0">
                <a:pos x="connsiteX5603" y="connsiteY5603"/>
              </a:cxn>
              <a:cxn ang="0">
                <a:pos x="connsiteX5604" y="connsiteY5604"/>
              </a:cxn>
              <a:cxn ang="0">
                <a:pos x="connsiteX5605" y="connsiteY5605"/>
              </a:cxn>
              <a:cxn ang="0">
                <a:pos x="connsiteX5606" y="connsiteY5606"/>
              </a:cxn>
              <a:cxn ang="0">
                <a:pos x="connsiteX5607" y="connsiteY5607"/>
              </a:cxn>
              <a:cxn ang="0">
                <a:pos x="connsiteX5608" y="connsiteY5608"/>
              </a:cxn>
              <a:cxn ang="0">
                <a:pos x="connsiteX5609" y="connsiteY5609"/>
              </a:cxn>
              <a:cxn ang="0">
                <a:pos x="connsiteX5610" y="connsiteY5610"/>
              </a:cxn>
              <a:cxn ang="0">
                <a:pos x="connsiteX5611" y="connsiteY5611"/>
              </a:cxn>
              <a:cxn ang="0">
                <a:pos x="connsiteX5612" y="connsiteY5612"/>
              </a:cxn>
              <a:cxn ang="0">
                <a:pos x="connsiteX5613" y="connsiteY5613"/>
              </a:cxn>
              <a:cxn ang="0">
                <a:pos x="connsiteX5614" y="connsiteY5614"/>
              </a:cxn>
              <a:cxn ang="0">
                <a:pos x="connsiteX5615" y="connsiteY5615"/>
              </a:cxn>
              <a:cxn ang="0">
                <a:pos x="connsiteX5616" y="connsiteY5616"/>
              </a:cxn>
              <a:cxn ang="0">
                <a:pos x="connsiteX5617" y="connsiteY5617"/>
              </a:cxn>
              <a:cxn ang="0">
                <a:pos x="connsiteX5618" y="connsiteY5618"/>
              </a:cxn>
              <a:cxn ang="0">
                <a:pos x="connsiteX5619" y="connsiteY5619"/>
              </a:cxn>
              <a:cxn ang="0">
                <a:pos x="connsiteX5620" y="connsiteY5620"/>
              </a:cxn>
              <a:cxn ang="0">
                <a:pos x="connsiteX5621" y="connsiteY5621"/>
              </a:cxn>
              <a:cxn ang="0">
                <a:pos x="connsiteX5622" y="connsiteY5622"/>
              </a:cxn>
              <a:cxn ang="0">
                <a:pos x="connsiteX5623" y="connsiteY5623"/>
              </a:cxn>
              <a:cxn ang="0">
                <a:pos x="connsiteX5624" y="connsiteY5624"/>
              </a:cxn>
              <a:cxn ang="0">
                <a:pos x="connsiteX5625" y="connsiteY5625"/>
              </a:cxn>
              <a:cxn ang="0">
                <a:pos x="connsiteX5626" y="connsiteY5626"/>
              </a:cxn>
              <a:cxn ang="0">
                <a:pos x="connsiteX5627" y="connsiteY5627"/>
              </a:cxn>
              <a:cxn ang="0">
                <a:pos x="connsiteX5628" y="connsiteY5628"/>
              </a:cxn>
              <a:cxn ang="0">
                <a:pos x="connsiteX5629" y="connsiteY5629"/>
              </a:cxn>
              <a:cxn ang="0">
                <a:pos x="connsiteX5630" y="connsiteY5630"/>
              </a:cxn>
              <a:cxn ang="0">
                <a:pos x="connsiteX5631" y="connsiteY5631"/>
              </a:cxn>
              <a:cxn ang="0">
                <a:pos x="connsiteX5632" y="connsiteY5632"/>
              </a:cxn>
              <a:cxn ang="0">
                <a:pos x="connsiteX5633" y="connsiteY5633"/>
              </a:cxn>
              <a:cxn ang="0">
                <a:pos x="connsiteX5634" y="connsiteY5634"/>
              </a:cxn>
              <a:cxn ang="0">
                <a:pos x="connsiteX5635" y="connsiteY5635"/>
              </a:cxn>
              <a:cxn ang="0">
                <a:pos x="connsiteX5636" y="connsiteY5636"/>
              </a:cxn>
              <a:cxn ang="0">
                <a:pos x="connsiteX5637" y="connsiteY5637"/>
              </a:cxn>
              <a:cxn ang="0">
                <a:pos x="connsiteX5638" y="connsiteY5638"/>
              </a:cxn>
              <a:cxn ang="0">
                <a:pos x="connsiteX5639" y="connsiteY5639"/>
              </a:cxn>
              <a:cxn ang="0">
                <a:pos x="connsiteX5640" y="connsiteY5640"/>
              </a:cxn>
              <a:cxn ang="0">
                <a:pos x="connsiteX5641" y="connsiteY5641"/>
              </a:cxn>
              <a:cxn ang="0">
                <a:pos x="connsiteX5642" y="connsiteY5642"/>
              </a:cxn>
              <a:cxn ang="0">
                <a:pos x="connsiteX5643" y="connsiteY5643"/>
              </a:cxn>
              <a:cxn ang="0">
                <a:pos x="connsiteX5644" y="connsiteY5644"/>
              </a:cxn>
              <a:cxn ang="0">
                <a:pos x="connsiteX5645" y="connsiteY5645"/>
              </a:cxn>
              <a:cxn ang="0">
                <a:pos x="connsiteX5646" y="connsiteY5646"/>
              </a:cxn>
              <a:cxn ang="0">
                <a:pos x="connsiteX5647" y="connsiteY5647"/>
              </a:cxn>
              <a:cxn ang="0">
                <a:pos x="connsiteX5648" y="connsiteY5648"/>
              </a:cxn>
              <a:cxn ang="0">
                <a:pos x="connsiteX5649" y="connsiteY5649"/>
              </a:cxn>
              <a:cxn ang="0">
                <a:pos x="connsiteX5650" y="connsiteY5650"/>
              </a:cxn>
              <a:cxn ang="0">
                <a:pos x="connsiteX5651" y="connsiteY5651"/>
              </a:cxn>
              <a:cxn ang="0">
                <a:pos x="connsiteX5652" y="connsiteY5652"/>
              </a:cxn>
              <a:cxn ang="0">
                <a:pos x="connsiteX5653" y="connsiteY5653"/>
              </a:cxn>
              <a:cxn ang="0">
                <a:pos x="connsiteX5654" y="connsiteY5654"/>
              </a:cxn>
              <a:cxn ang="0">
                <a:pos x="connsiteX5655" y="connsiteY5655"/>
              </a:cxn>
              <a:cxn ang="0">
                <a:pos x="connsiteX5656" y="connsiteY5656"/>
              </a:cxn>
              <a:cxn ang="0">
                <a:pos x="connsiteX5657" y="connsiteY5657"/>
              </a:cxn>
              <a:cxn ang="0">
                <a:pos x="connsiteX5658" y="connsiteY5658"/>
              </a:cxn>
              <a:cxn ang="0">
                <a:pos x="connsiteX5659" y="connsiteY5659"/>
              </a:cxn>
              <a:cxn ang="0">
                <a:pos x="connsiteX5660" y="connsiteY5660"/>
              </a:cxn>
              <a:cxn ang="0">
                <a:pos x="connsiteX5661" y="connsiteY5661"/>
              </a:cxn>
              <a:cxn ang="0">
                <a:pos x="connsiteX5662" y="connsiteY5662"/>
              </a:cxn>
              <a:cxn ang="0">
                <a:pos x="connsiteX5663" y="connsiteY5663"/>
              </a:cxn>
              <a:cxn ang="0">
                <a:pos x="connsiteX5664" y="connsiteY5664"/>
              </a:cxn>
              <a:cxn ang="0">
                <a:pos x="connsiteX5665" y="connsiteY5665"/>
              </a:cxn>
              <a:cxn ang="0">
                <a:pos x="connsiteX5666" y="connsiteY5666"/>
              </a:cxn>
              <a:cxn ang="0">
                <a:pos x="connsiteX5667" y="connsiteY5667"/>
              </a:cxn>
              <a:cxn ang="0">
                <a:pos x="connsiteX5668" y="connsiteY5668"/>
              </a:cxn>
              <a:cxn ang="0">
                <a:pos x="connsiteX5669" y="connsiteY5669"/>
              </a:cxn>
              <a:cxn ang="0">
                <a:pos x="connsiteX5670" y="connsiteY5670"/>
              </a:cxn>
              <a:cxn ang="0">
                <a:pos x="connsiteX5671" y="connsiteY5671"/>
              </a:cxn>
              <a:cxn ang="0">
                <a:pos x="connsiteX5672" y="connsiteY5672"/>
              </a:cxn>
              <a:cxn ang="0">
                <a:pos x="connsiteX5673" y="connsiteY5673"/>
              </a:cxn>
              <a:cxn ang="0">
                <a:pos x="connsiteX5674" y="connsiteY5674"/>
              </a:cxn>
              <a:cxn ang="0">
                <a:pos x="connsiteX5675" y="connsiteY5675"/>
              </a:cxn>
              <a:cxn ang="0">
                <a:pos x="connsiteX5676" y="connsiteY5676"/>
              </a:cxn>
              <a:cxn ang="0">
                <a:pos x="connsiteX5677" y="connsiteY5677"/>
              </a:cxn>
              <a:cxn ang="0">
                <a:pos x="connsiteX5678" y="connsiteY5678"/>
              </a:cxn>
              <a:cxn ang="0">
                <a:pos x="connsiteX5679" y="connsiteY5679"/>
              </a:cxn>
              <a:cxn ang="0">
                <a:pos x="connsiteX5680" y="connsiteY5680"/>
              </a:cxn>
              <a:cxn ang="0">
                <a:pos x="connsiteX5681" y="connsiteY5681"/>
              </a:cxn>
              <a:cxn ang="0">
                <a:pos x="connsiteX5682" y="connsiteY5682"/>
              </a:cxn>
              <a:cxn ang="0">
                <a:pos x="connsiteX5683" y="connsiteY5683"/>
              </a:cxn>
              <a:cxn ang="0">
                <a:pos x="connsiteX5684" y="connsiteY5684"/>
              </a:cxn>
              <a:cxn ang="0">
                <a:pos x="connsiteX5685" y="connsiteY5685"/>
              </a:cxn>
              <a:cxn ang="0">
                <a:pos x="connsiteX5686" y="connsiteY5686"/>
              </a:cxn>
              <a:cxn ang="0">
                <a:pos x="connsiteX5687" y="connsiteY5687"/>
              </a:cxn>
              <a:cxn ang="0">
                <a:pos x="connsiteX5688" y="connsiteY5688"/>
              </a:cxn>
              <a:cxn ang="0">
                <a:pos x="connsiteX5689" y="connsiteY5689"/>
              </a:cxn>
              <a:cxn ang="0">
                <a:pos x="connsiteX5690" y="connsiteY5690"/>
              </a:cxn>
              <a:cxn ang="0">
                <a:pos x="connsiteX5691" y="connsiteY5691"/>
              </a:cxn>
              <a:cxn ang="0">
                <a:pos x="connsiteX5692" y="connsiteY5692"/>
              </a:cxn>
              <a:cxn ang="0">
                <a:pos x="connsiteX5693" y="connsiteY5693"/>
              </a:cxn>
              <a:cxn ang="0">
                <a:pos x="connsiteX5694" y="connsiteY5694"/>
              </a:cxn>
              <a:cxn ang="0">
                <a:pos x="connsiteX5695" y="connsiteY5695"/>
              </a:cxn>
              <a:cxn ang="0">
                <a:pos x="connsiteX5696" y="connsiteY5696"/>
              </a:cxn>
              <a:cxn ang="0">
                <a:pos x="connsiteX5697" y="connsiteY5697"/>
              </a:cxn>
              <a:cxn ang="0">
                <a:pos x="connsiteX5698" y="connsiteY5698"/>
              </a:cxn>
              <a:cxn ang="0">
                <a:pos x="connsiteX5699" y="connsiteY5699"/>
              </a:cxn>
              <a:cxn ang="0">
                <a:pos x="connsiteX5700" y="connsiteY5700"/>
              </a:cxn>
              <a:cxn ang="0">
                <a:pos x="connsiteX5701" y="connsiteY5701"/>
              </a:cxn>
              <a:cxn ang="0">
                <a:pos x="connsiteX5702" y="connsiteY5702"/>
              </a:cxn>
              <a:cxn ang="0">
                <a:pos x="connsiteX5703" y="connsiteY5703"/>
              </a:cxn>
              <a:cxn ang="0">
                <a:pos x="connsiteX5704" y="connsiteY5704"/>
              </a:cxn>
              <a:cxn ang="0">
                <a:pos x="connsiteX5705" y="connsiteY5705"/>
              </a:cxn>
              <a:cxn ang="0">
                <a:pos x="connsiteX5706" y="connsiteY5706"/>
              </a:cxn>
              <a:cxn ang="0">
                <a:pos x="connsiteX5707" y="connsiteY5707"/>
              </a:cxn>
              <a:cxn ang="0">
                <a:pos x="connsiteX5708" y="connsiteY5708"/>
              </a:cxn>
              <a:cxn ang="0">
                <a:pos x="connsiteX5709" y="connsiteY5709"/>
              </a:cxn>
              <a:cxn ang="0">
                <a:pos x="connsiteX5710" y="connsiteY5710"/>
              </a:cxn>
              <a:cxn ang="0">
                <a:pos x="connsiteX5711" y="connsiteY5711"/>
              </a:cxn>
              <a:cxn ang="0">
                <a:pos x="connsiteX5712" y="connsiteY5712"/>
              </a:cxn>
              <a:cxn ang="0">
                <a:pos x="connsiteX5713" y="connsiteY5713"/>
              </a:cxn>
              <a:cxn ang="0">
                <a:pos x="connsiteX5714" y="connsiteY5714"/>
              </a:cxn>
              <a:cxn ang="0">
                <a:pos x="connsiteX5715" y="connsiteY5715"/>
              </a:cxn>
              <a:cxn ang="0">
                <a:pos x="connsiteX5716" y="connsiteY5716"/>
              </a:cxn>
              <a:cxn ang="0">
                <a:pos x="connsiteX5717" y="connsiteY5717"/>
              </a:cxn>
              <a:cxn ang="0">
                <a:pos x="connsiteX5718" y="connsiteY5718"/>
              </a:cxn>
              <a:cxn ang="0">
                <a:pos x="connsiteX5719" y="connsiteY5719"/>
              </a:cxn>
              <a:cxn ang="0">
                <a:pos x="connsiteX5720" y="connsiteY5720"/>
              </a:cxn>
              <a:cxn ang="0">
                <a:pos x="connsiteX5721" y="connsiteY5721"/>
              </a:cxn>
              <a:cxn ang="0">
                <a:pos x="connsiteX5722" y="connsiteY5722"/>
              </a:cxn>
              <a:cxn ang="0">
                <a:pos x="connsiteX5723" y="connsiteY5723"/>
              </a:cxn>
              <a:cxn ang="0">
                <a:pos x="connsiteX5724" y="connsiteY5724"/>
              </a:cxn>
              <a:cxn ang="0">
                <a:pos x="connsiteX5725" y="connsiteY5725"/>
              </a:cxn>
              <a:cxn ang="0">
                <a:pos x="connsiteX5726" y="connsiteY5726"/>
              </a:cxn>
              <a:cxn ang="0">
                <a:pos x="connsiteX5727" y="connsiteY5727"/>
              </a:cxn>
              <a:cxn ang="0">
                <a:pos x="connsiteX5728" y="connsiteY5728"/>
              </a:cxn>
              <a:cxn ang="0">
                <a:pos x="connsiteX5729" y="connsiteY5729"/>
              </a:cxn>
              <a:cxn ang="0">
                <a:pos x="connsiteX5730" y="connsiteY5730"/>
              </a:cxn>
              <a:cxn ang="0">
                <a:pos x="connsiteX5731" y="connsiteY5731"/>
              </a:cxn>
              <a:cxn ang="0">
                <a:pos x="connsiteX5732" y="connsiteY5732"/>
              </a:cxn>
              <a:cxn ang="0">
                <a:pos x="connsiteX5733" y="connsiteY5733"/>
              </a:cxn>
              <a:cxn ang="0">
                <a:pos x="connsiteX5734" y="connsiteY5734"/>
              </a:cxn>
              <a:cxn ang="0">
                <a:pos x="connsiteX5735" y="connsiteY5735"/>
              </a:cxn>
              <a:cxn ang="0">
                <a:pos x="connsiteX5736" y="connsiteY5736"/>
              </a:cxn>
              <a:cxn ang="0">
                <a:pos x="connsiteX5737" y="connsiteY5737"/>
              </a:cxn>
              <a:cxn ang="0">
                <a:pos x="connsiteX5738" y="connsiteY5738"/>
              </a:cxn>
              <a:cxn ang="0">
                <a:pos x="connsiteX5739" y="connsiteY5739"/>
              </a:cxn>
              <a:cxn ang="0">
                <a:pos x="connsiteX5740" y="connsiteY5740"/>
              </a:cxn>
              <a:cxn ang="0">
                <a:pos x="connsiteX5741" y="connsiteY5741"/>
              </a:cxn>
              <a:cxn ang="0">
                <a:pos x="connsiteX5742" y="connsiteY5742"/>
              </a:cxn>
              <a:cxn ang="0">
                <a:pos x="connsiteX5743" y="connsiteY5743"/>
              </a:cxn>
              <a:cxn ang="0">
                <a:pos x="connsiteX5744" y="connsiteY5744"/>
              </a:cxn>
              <a:cxn ang="0">
                <a:pos x="connsiteX5745" y="connsiteY5745"/>
              </a:cxn>
              <a:cxn ang="0">
                <a:pos x="connsiteX5746" y="connsiteY5746"/>
              </a:cxn>
              <a:cxn ang="0">
                <a:pos x="connsiteX5747" y="connsiteY5747"/>
              </a:cxn>
              <a:cxn ang="0">
                <a:pos x="connsiteX5748" y="connsiteY5748"/>
              </a:cxn>
              <a:cxn ang="0">
                <a:pos x="connsiteX5749" y="connsiteY5749"/>
              </a:cxn>
              <a:cxn ang="0">
                <a:pos x="connsiteX5750" y="connsiteY5750"/>
              </a:cxn>
              <a:cxn ang="0">
                <a:pos x="connsiteX5751" y="connsiteY5751"/>
              </a:cxn>
              <a:cxn ang="0">
                <a:pos x="connsiteX5752" y="connsiteY5752"/>
              </a:cxn>
              <a:cxn ang="0">
                <a:pos x="connsiteX5753" y="connsiteY5753"/>
              </a:cxn>
              <a:cxn ang="0">
                <a:pos x="connsiteX5754" y="connsiteY5754"/>
              </a:cxn>
              <a:cxn ang="0">
                <a:pos x="connsiteX5755" y="connsiteY5755"/>
              </a:cxn>
              <a:cxn ang="0">
                <a:pos x="connsiteX5756" y="connsiteY5756"/>
              </a:cxn>
              <a:cxn ang="0">
                <a:pos x="connsiteX5757" y="connsiteY5757"/>
              </a:cxn>
              <a:cxn ang="0">
                <a:pos x="connsiteX5758" y="connsiteY5758"/>
              </a:cxn>
              <a:cxn ang="0">
                <a:pos x="connsiteX5759" y="connsiteY5759"/>
              </a:cxn>
              <a:cxn ang="0">
                <a:pos x="connsiteX5760" y="connsiteY5760"/>
              </a:cxn>
              <a:cxn ang="0">
                <a:pos x="connsiteX5761" y="connsiteY5761"/>
              </a:cxn>
              <a:cxn ang="0">
                <a:pos x="connsiteX5762" y="connsiteY5762"/>
              </a:cxn>
              <a:cxn ang="0">
                <a:pos x="connsiteX5763" y="connsiteY5763"/>
              </a:cxn>
              <a:cxn ang="0">
                <a:pos x="connsiteX5764" y="connsiteY5764"/>
              </a:cxn>
              <a:cxn ang="0">
                <a:pos x="connsiteX5765" y="connsiteY5765"/>
              </a:cxn>
              <a:cxn ang="0">
                <a:pos x="connsiteX5766" y="connsiteY5766"/>
              </a:cxn>
              <a:cxn ang="0">
                <a:pos x="connsiteX5767" y="connsiteY5767"/>
              </a:cxn>
              <a:cxn ang="0">
                <a:pos x="connsiteX5768" y="connsiteY5768"/>
              </a:cxn>
              <a:cxn ang="0">
                <a:pos x="connsiteX5769" y="connsiteY5769"/>
              </a:cxn>
              <a:cxn ang="0">
                <a:pos x="connsiteX5770" y="connsiteY5770"/>
              </a:cxn>
              <a:cxn ang="0">
                <a:pos x="connsiteX5771" y="connsiteY5771"/>
              </a:cxn>
              <a:cxn ang="0">
                <a:pos x="connsiteX5772" y="connsiteY5772"/>
              </a:cxn>
              <a:cxn ang="0">
                <a:pos x="connsiteX5773" y="connsiteY5773"/>
              </a:cxn>
              <a:cxn ang="0">
                <a:pos x="connsiteX5774" y="connsiteY5774"/>
              </a:cxn>
              <a:cxn ang="0">
                <a:pos x="connsiteX5775" y="connsiteY5775"/>
              </a:cxn>
              <a:cxn ang="0">
                <a:pos x="connsiteX5776" y="connsiteY5776"/>
              </a:cxn>
              <a:cxn ang="0">
                <a:pos x="connsiteX5777" y="connsiteY5777"/>
              </a:cxn>
              <a:cxn ang="0">
                <a:pos x="connsiteX5778" y="connsiteY5778"/>
              </a:cxn>
              <a:cxn ang="0">
                <a:pos x="connsiteX5779" y="connsiteY5779"/>
              </a:cxn>
              <a:cxn ang="0">
                <a:pos x="connsiteX5780" y="connsiteY5780"/>
              </a:cxn>
              <a:cxn ang="0">
                <a:pos x="connsiteX5781" y="connsiteY5781"/>
              </a:cxn>
              <a:cxn ang="0">
                <a:pos x="connsiteX5782" y="connsiteY5782"/>
              </a:cxn>
              <a:cxn ang="0">
                <a:pos x="connsiteX5783" y="connsiteY5783"/>
              </a:cxn>
              <a:cxn ang="0">
                <a:pos x="connsiteX5784" y="connsiteY5784"/>
              </a:cxn>
              <a:cxn ang="0">
                <a:pos x="connsiteX5785" y="connsiteY5785"/>
              </a:cxn>
              <a:cxn ang="0">
                <a:pos x="connsiteX5786" y="connsiteY5786"/>
              </a:cxn>
              <a:cxn ang="0">
                <a:pos x="connsiteX5787" y="connsiteY5787"/>
              </a:cxn>
              <a:cxn ang="0">
                <a:pos x="connsiteX5788" y="connsiteY5788"/>
              </a:cxn>
              <a:cxn ang="0">
                <a:pos x="connsiteX5789" y="connsiteY5789"/>
              </a:cxn>
              <a:cxn ang="0">
                <a:pos x="connsiteX5790" y="connsiteY5790"/>
              </a:cxn>
              <a:cxn ang="0">
                <a:pos x="connsiteX5791" y="connsiteY5791"/>
              </a:cxn>
              <a:cxn ang="0">
                <a:pos x="connsiteX5792" y="connsiteY5792"/>
              </a:cxn>
              <a:cxn ang="0">
                <a:pos x="connsiteX5793" y="connsiteY5793"/>
              </a:cxn>
              <a:cxn ang="0">
                <a:pos x="connsiteX5794" y="connsiteY5794"/>
              </a:cxn>
              <a:cxn ang="0">
                <a:pos x="connsiteX5795" y="connsiteY5795"/>
              </a:cxn>
              <a:cxn ang="0">
                <a:pos x="connsiteX5796" y="connsiteY5796"/>
              </a:cxn>
              <a:cxn ang="0">
                <a:pos x="connsiteX5797" y="connsiteY5797"/>
              </a:cxn>
              <a:cxn ang="0">
                <a:pos x="connsiteX5798" y="connsiteY5798"/>
              </a:cxn>
              <a:cxn ang="0">
                <a:pos x="connsiteX5799" y="connsiteY5799"/>
              </a:cxn>
              <a:cxn ang="0">
                <a:pos x="connsiteX5800" y="connsiteY5800"/>
              </a:cxn>
              <a:cxn ang="0">
                <a:pos x="connsiteX5801" y="connsiteY5801"/>
              </a:cxn>
              <a:cxn ang="0">
                <a:pos x="connsiteX5802" y="connsiteY5802"/>
              </a:cxn>
              <a:cxn ang="0">
                <a:pos x="connsiteX5803" y="connsiteY5803"/>
              </a:cxn>
              <a:cxn ang="0">
                <a:pos x="connsiteX5804" y="connsiteY5804"/>
              </a:cxn>
              <a:cxn ang="0">
                <a:pos x="connsiteX5805" y="connsiteY5805"/>
              </a:cxn>
              <a:cxn ang="0">
                <a:pos x="connsiteX5806" y="connsiteY5806"/>
              </a:cxn>
              <a:cxn ang="0">
                <a:pos x="connsiteX5807" y="connsiteY5807"/>
              </a:cxn>
              <a:cxn ang="0">
                <a:pos x="connsiteX5808" y="connsiteY5808"/>
              </a:cxn>
              <a:cxn ang="0">
                <a:pos x="connsiteX5809" y="connsiteY5809"/>
              </a:cxn>
              <a:cxn ang="0">
                <a:pos x="connsiteX5810" y="connsiteY5810"/>
              </a:cxn>
              <a:cxn ang="0">
                <a:pos x="connsiteX5811" y="connsiteY5811"/>
              </a:cxn>
              <a:cxn ang="0">
                <a:pos x="connsiteX5812" y="connsiteY5812"/>
              </a:cxn>
              <a:cxn ang="0">
                <a:pos x="connsiteX5813" y="connsiteY5813"/>
              </a:cxn>
              <a:cxn ang="0">
                <a:pos x="connsiteX5814" y="connsiteY5814"/>
              </a:cxn>
              <a:cxn ang="0">
                <a:pos x="connsiteX5815" y="connsiteY5815"/>
              </a:cxn>
              <a:cxn ang="0">
                <a:pos x="connsiteX5816" y="connsiteY5816"/>
              </a:cxn>
              <a:cxn ang="0">
                <a:pos x="connsiteX5817" y="connsiteY5817"/>
              </a:cxn>
              <a:cxn ang="0">
                <a:pos x="connsiteX5818" y="connsiteY5818"/>
              </a:cxn>
              <a:cxn ang="0">
                <a:pos x="connsiteX5819" y="connsiteY5819"/>
              </a:cxn>
              <a:cxn ang="0">
                <a:pos x="connsiteX5820" y="connsiteY5820"/>
              </a:cxn>
              <a:cxn ang="0">
                <a:pos x="connsiteX5821" y="connsiteY5821"/>
              </a:cxn>
              <a:cxn ang="0">
                <a:pos x="connsiteX5822" y="connsiteY5822"/>
              </a:cxn>
              <a:cxn ang="0">
                <a:pos x="connsiteX5823" y="connsiteY5823"/>
              </a:cxn>
              <a:cxn ang="0">
                <a:pos x="connsiteX5824" y="connsiteY5824"/>
              </a:cxn>
              <a:cxn ang="0">
                <a:pos x="connsiteX5825" y="connsiteY5825"/>
              </a:cxn>
              <a:cxn ang="0">
                <a:pos x="connsiteX5826" y="connsiteY5826"/>
              </a:cxn>
              <a:cxn ang="0">
                <a:pos x="connsiteX5827" y="connsiteY5827"/>
              </a:cxn>
              <a:cxn ang="0">
                <a:pos x="connsiteX5828" y="connsiteY5828"/>
              </a:cxn>
              <a:cxn ang="0">
                <a:pos x="connsiteX5829" y="connsiteY5829"/>
              </a:cxn>
              <a:cxn ang="0">
                <a:pos x="connsiteX5830" y="connsiteY5830"/>
              </a:cxn>
              <a:cxn ang="0">
                <a:pos x="connsiteX5831" y="connsiteY5831"/>
              </a:cxn>
              <a:cxn ang="0">
                <a:pos x="connsiteX5832" y="connsiteY5832"/>
              </a:cxn>
              <a:cxn ang="0">
                <a:pos x="connsiteX5833" y="connsiteY5833"/>
              </a:cxn>
              <a:cxn ang="0">
                <a:pos x="connsiteX5834" y="connsiteY5834"/>
              </a:cxn>
              <a:cxn ang="0">
                <a:pos x="connsiteX5835" y="connsiteY5835"/>
              </a:cxn>
              <a:cxn ang="0">
                <a:pos x="connsiteX5836" y="connsiteY5836"/>
              </a:cxn>
              <a:cxn ang="0">
                <a:pos x="connsiteX5837" y="connsiteY5837"/>
              </a:cxn>
              <a:cxn ang="0">
                <a:pos x="connsiteX5838" y="connsiteY5838"/>
              </a:cxn>
              <a:cxn ang="0">
                <a:pos x="connsiteX5839" y="connsiteY5839"/>
              </a:cxn>
              <a:cxn ang="0">
                <a:pos x="connsiteX5840" y="connsiteY5840"/>
              </a:cxn>
              <a:cxn ang="0">
                <a:pos x="connsiteX5841" y="connsiteY5841"/>
              </a:cxn>
              <a:cxn ang="0">
                <a:pos x="connsiteX5842" y="connsiteY5842"/>
              </a:cxn>
              <a:cxn ang="0">
                <a:pos x="connsiteX5843" y="connsiteY5843"/>
              </a:cxn>
              <a:cxn ang="0">
                <a:pos x="connsiteX5844" y="connsiteY5844"/>
              </a:cxn>
              <a:cxn ang="0">
                <a:pos x="connsiteX5845" y="connsiteY5845"/>
              </a:cxn>
              <a:cxn ang="0">
                <a:pos x="connsiteX5846" y="connsiteY5846"/>
              </a:cxn>
              <a:cxn ang="0">
                <a:pos x="connsiteX5847" y="connsiteY5847"/>
              </a:cxn>
              <a:cxn ang="0">
                <a:pos x="connsiteX5848" y="connsiteY5848"/>
              </a:cxn>
              <a:cxn ang="0">
                <a:pos x="connsiteX5849" y="connsiteY5849"/>
              </a:cxn>
              <a:cxn ang="0">
                <a:pos x="connsiteX5850" y="connsiteY5850"/>
              </a:cxn>
              <a:cxn ang="0">
                <a:pos x="connsiteX5851" y="connsiteY5851"/>
              </a:cxn>
              <a:cxn ang="0">
                <a:pos x="connsiteX5852" y="connsiteY5852"/>
              </a:cxn>
              <a:cxn ang="0">
                <a:pos x="connsiteX5853" y="connsiteY5853"/>
              </a:cxn>
              <a:cxn ang="0">
                <a:pos x="connsiteX5854" y="connsiteY5854"/>
              </a:cxn>
              <a:cxn ang="0">
                <a:pos x="connsiteX5855" y="connsiteY5855"/>
              </a:cxn>
              <a:cxn ang="0">
                <a:pos x="connsiteX5856" y="connsiteY5856"/>
              </a:cxn>
              <a:cxn ang="0">
                <a:pos x="connsiteX5857" y="connsiteY5857"/>
              </a:cxn>
              <a:cxn ang="0">
                <a:pos x="connsiteX5858" y="connsiteY5858"/>
              </a:cxn>
              <a:cxn ang="0">
                <a:pos x="connsiteX5859" y="connsiteY5859"/>
              </a:cxn>
              <a:cxn ang="0">
                <a:pos x="connsiteX5860" y="connsiteY5860"/>
              </a:cxn>
              <a:cxn ang="0">
                <a:pos x="connsiteX5861" y="connsiteY5861"/>
              </a:cxn>
              <a:cxn ang="0">
                <a:pos x="connsiteX5862" y="connsiteY5862"/>
              </a:cxn>
              <a:cxn ang="0">
                <a:pos x="connsiteX5863" y="connsiteY5863"/>
              </a:cxn>
              <a:cxn ang="0">
                <a:pos x="connsiteX5864" y="connsiteY5864"/>
              </a:cxn>
              <a:cxn ang="0">
                <a:pos x="connsiteX5865" y="connsiteY5865"/>
              </a:cxn>
              <a:cxn ang="0">
                <a:pos x="connsiteX5866" y="connsiteY5866"/>
              </a:cxn>
              <a:cxn ang="0">
                <a:pos x="connsiteX5867" y="connsiteY5867"/>
              </a:cxn>
              <a:cxn ang="0">
                <a:pos x="connsiteX5868" y="connsiteY5868"/>
              </a:cxn>
              <a:cxn ang="0">
                <a:pos x="connsiteX5869" y="connsiteY5869"/>
              </a:cxn>
              <a:cxn ang="0">
                <a:pos x="connsiteX5870" y="connsiteY5870"/>
              </a:cxn>
              <a:cxn ang="0">
                <a:pos x="connsiteX5871" y="connsiteY5871"/>
              </a:cxn>
              <a:cxn ang="0">
                <a:pos x="connsiteX5872" y="connsiteY5872"/>
              </a:cxn>
              <a:cxn ang="0">
                <a:pos x="connsiteX5873" y="connsiteY5873"/>
              </a:cxn>
              <a:cxn ang="0">
                <a:pos x="connsiteX5874" y="connsiteY5874"/>
              </a:cxn>
              <a:cxn ang="0">
                <a:pos x="connsiteX5875" y="connsiteY5875"/>
              </a:cxn>
              <a:cxn ang="0">
                <a:pos x="connsiteX5876" y="connsiteY5876"/>
              </a:cxn>
              <a:cxn ang="0">
                <a:pos x="connsiteX5877" y="connsiteY5877"/>
              </a:cxn>
              <a:cxn ang="0">
                <a:pos x="connsiteX5878" y="connsiteY5878"/>
              </a:cxn>
              <a:cxn ang="0">
                <a:pos x="connsiteX5879" y="connsiteY5879"/>
              </a:cxn>
              <a:cxn ang="0">
                <a:pos x="connsiteX5880" y="connsiteY5880"/>
              </a:cxn>
              <a:cxn ang="0">
                <a:pos x="connsiteX5881" y="connsiteY5881"/>
              </a:cxn>
              <a:cxn ang="0">
                <a:pos x="connsiteX5882" y="connsiteY5882"/>
              </a:cxn>
              <a:cxn ang="0">
                <a:pos x="connsiteX5883" y="connsiteY5883"/>
              </a:cxn>
              <a:cxn ang="0">
                <a:pos x="connsiteX5884" y="connsiteY5884"/>
              </a:cxn>
              <a:cxn ang="0">
                <a:pos x="connsiteX5885" y="connsiteY5885"/>
              </a:cxn>
              <a:cxn ang="0">
                <a:pos x="connsiteX5886" y="connsiteY5886"/>
              </a:cxn>
              <a:cxn ang="0">
                <a:pos x="connsiteX5887" y="connsiteY5887"/>
              </a:cxn>
              <a:cxn ang="0">
                <a:pos x="connsiteX5888" y="connsiteY5888"/>
              </a:cxn>
              <a:cxn ang="0">
                <a:pos x="connsiteX5889" y="connsiteY5889"/>
              </a:cxn>
              <a:cxn ang="0">
                <a:pos x="connsiteX5890" y="connsiteY5890"/>
              </a:cxn>
              <a:cxn ang="0">
                <a:pos x="connsiteX5891" y="connsiteY5891"/>
              </a:cxn>
              <a:cxn ang="0">
                <a:pos x="connsiteX5892" y="connsiteY5892"/>
              </a:cxn>
              <a:cxn ang="0">
                <a:pos x="connsiteX5893" y="connsiteY5893"/>
              </a:cxn>
              <a:cxn ang="0">
                <a:pos x="connsiteX5894" y="connsiteY5894"/>
              </a:cxn>
              <a:cxn ang="0">
                <a:pos x="connsiteX5895" y="connsiteY5895"/>
              </a:cxn>
              <a:cxn ang="0">
                <a:pos x="connsiteX5896" y="connsiteY5896"/>
              </a:cxn>
              <a:cxn ang="0">
                <a:pos x="connsiteX5897" y="connsiteY5897"/>
              </a:cxn>
              <a:cxn ang="0">
                <a:pos x="connsiteX5898" y="connsiteY5898"/>
              </a:cxn>
              <a:cxn ang="0">
                <a:pos x="connsiteX5899" y="connsiteY5899"/>
              </a:cxn>
              <a:cxn ang="0">
                <a:pos x="connsiteX5900" y="connsiteY5900"/>
              </a:cxn>
              <a:cxn ang="0">
                <a:pos x="connsiteX5901" y="connsiteY5901"/>
              </a:cxn>
              <a:cxn ang="0">
                <a:pos x="connsiteX5902" y="connsiteY5902"/>
              </a:cxn>
              <a:cxn ang="0">
                <a:pos x="connsiteX5903" y="connsiteY5903"/>
              </a:cxn>
              <a:cxn ang="0">
                <a:pos x="connsiteX5904" y="connsiteY5904"/>
              </a:cxn>
              <a:cxn ang="0">
                <a:pos x="connsiteX5905" y="connsiteY5905"/>
              </a:cxn>
              <a:cxn ang="0">
                <a:pos x="connsiteX5906" y="connsiteY5906"/>
              </a:cxn>
              <a:cxn ang="0">
                <a:pos x="connsiteX5907" y="connsiteY5907"/>
              </a:cxn>
              <a:cxn ang="0">
                <a:pos x="connsiteX5908" y="connsiteY5908"/>
              </a:cxn>
              <a:cxn ang="0">
                <a:pos x="connsiteX5909" y="connsiteY5909"/>
              </a:cxn>
              <a:cxn ang="0">
                <a:pos x="connsiteX5910" y="connsiteY5910"/>
              </a:cxn>
              <a:cxn ang="0">
                <a:pos x="connsiteX5911" y="connsiteY5911"/>
              </a:cxn>
              <a:cxn ang="0">
                <a:pos x="connsiteX5912" y="connsiteY5912"/>
              </a:cxn>
              <a:cxn ang="0">
                <a:pos x="connsiteX5913" y="connsiteY5913"/>
              </a:cxn>
              <a:cxn ang="0">
                <a:pos x="connsiteX5914" y="connsiteY5914"/>
              </a:cxn>
              <a:cxn ang="0">
                <a:pos x="connsiteX5915" y="connsiteY5915"/>
              </a:cxn>
              <a:cxn ang="0">
                <a:pos x="connsiteX5916" y="connsiteY5916"/>
              </a:cxn>
              <a:cxn ang="0">
                <a:pos x="connsiteX5917" y="connsiteY5917"/>
              </a:cxn>
              <a:cxn ang="0">
                <a:pos x="connsiteX5918" y="connsiteY5918"/>
              </a:cxn>
              <a:cxn ang="0">
                <a:pos x="connsiteX5919" y="connsiteY5919"/>
              </a:cxn>
              <a:cxn ang="0">
                <a:pos x="connsiteX5920" y="connsiteY5920"/>
              </a:cxn>
              <a:cxn ang="0">
                <a:pos x="connsiteX5921" y="connsiteY5921"/>
              </a:cxn>
              <a:cxn ang="0">
                <a:pos x="connsiteX5922" y="connsiteY5922"/>
              </a:cxn>
              <a:cxn ang="0">
                <a:pos x="connsiteX5923" y="connsiteY5923"/>
              </a:cxn>
              <a:cxn ang="0">
                <a:pos x="connsiteX5924" y="connsiteY5924"/>
              </a:cxn>
              <a:cxn ang="0">
                <a:pos x="connsiteX5925" y="connsiteY5925"/>
              </a:cxn>
              <a:cxn ang="0">
                <a:pos x="connsiteX5926" y="connsiteY5926"/>
              </a:cxn>
              <a:cxn ang="0">
                <a:pos x="connsiteX5927" y="connsiteY5927"/>
              </a:cxn>
              <a:cxn ang="0">
                <a:pos x="connsiteX5928" y="connsiteY5928"/>
              </a:cxn>
              <a:cxn ang="0">
                <a:pos x="connsiteX5929" y="connsiteY5929"/>
              </a:cxn>
              <a:cxn ang="0">
                <a:pos x="connsiteX5930" y="connsiteY5930"/>
              </a:cxn>
              <a:cxn ang="0">
                <a:pos x="connsiteX5931" y="connsiteY5931"/>
              </a:cxn>
              <a:cxn ang="0">
                <a:pos x="connsiteX5932" y="connsiteY5932"/>
              </a:cxn>
              <a:cxn ang="0">
                <a:pos x="connsiteX5933" y="connsiteY5933"/>
              </a:cxn>
              <a:cxn ang="0">
                <a:pos x="connsiteX5934" y="connsiteY5934"/>
              </a:cxn>
              <a:cxn ang="0">
                <a:pos x="connsiteX5935" y="connsiteY5935"/>
              </a:cxn>
              <a:cxn ang="0">
                <a:pos x="connsiteX5936" y="connsiteY5936"/>
              </a:cxn>
              <a:cxn ang="0">
                <a:pos x="connsiteX5937" y="connsiteY5937"/>
              </a:cxn>
              <a:cxn ang="0">
                <a:pos x="connsiteX5938" y="connsiteY5938"/>
              </a:cxn>
              <a:cxn ang="0">
                <a:pos x="connsiteX5939" y="connsiteY5939"/>
              </a:cxn>
              <a:cxn ang="0">
                <a:pos x="connsiteX5940" y="connsiteY5940"/>
              </a:cxn>
              <a:cxn ang="0">
                <a:pos x="connsiteX5941" y="connsiteY5941"/>
              </a:cxn>
              <a:cxn ang="0">
                <a:pos x="connsiteX5942" y="connsiteY5942"/>
              </a:cxn>
              <a:cxn ang="0">
                <a:pos x="connsiteX5943" y="connsiteY5943"/>
              </a:cxn>
              <a:cxn ang="0">
                <a:pos x="connsiteX5944" y="connsiteY5944"/>
              </a:cxn>
              <a:cxn ang="0">
                <a:pos x="connsiteX5945" y="connsiteY5945"/>
              </a:cxn>
              <a:cxn ang="0">
                <a:pos x="connsiteX5946" y="connsiteY5946"/>
              </a:cxn>
              <a:cxn ang="0">
                <a:pos x="connsiteX5947" y="connsiteY5947"/>
              </a:cxn>
              <a:cxn ang="0">
                <a:pos x="connsiteX5948" y="connsiteY5948"/>
              </a:cxn>
              <a:cxn ang="0">
                <a:pos x="connsiteX5949" y="connsiteY5949"/>
              </a:cxn>
              <a:cxn ang="0">
                <a:pos x="connsiteX5950" y="connsiteY5950"/>
              </a:cxn>
              <a:cxn ang="0">
                <a:pos x="connsiteX5951" y="connsiteY5951"/>
              </a:cxn>
              <a:cxn ang="0">
                <a:pos x="connsiteX5952" y="connsiteY5952"/>
              </a:cxn>
              <a:cxn ang="0">
                <a:pos x="connsiteX5953" y="connsiteY5953"/>
              </a:cxn>
              <a:cxn ang="0">
                <a:pos x="connsiteX5954" y="connsiteY5954"/>
              </a:cxn>
              <a:cxn ang="0">
                <a:pos x="connsiteX5955" y="connsiteY5955"/>
              </a:cxn>
              <a:cxn ang="0">
                <a:pos x="connsiteX5956" y="connsiteY5956"/>
              </a:cxn>
              <a:cxn ang="0">
                <a:pos x="connsiteX5957" y="connsiteY5957"/>
              </a:cxn>
              <a:cxn ang="0">
                <a:pos x="connsiteX5958" y="connsiteY5958"/>
              </a:cxn>
              <a:cxn ang="0">
                <a:pos x="connsiteX5959" y="connsiteY5959"/>
              </a:cxn>
              <a:cxn ang="0">
                <a:pos x="connsiteX5960" y="connsiteY5960"/>
              </a:cxn>
              <a:cxn ang="0">
                <a:pos x="connsiteX5961" y="connsiteY5961"/>
              </a:cxn>
              <a:cxn ang="0">
                <a:pos x="connsiteX5962" y="connsiteY5962"/>
              </a:cxn>
              <a:cxn ang="0">
                <a:pos x="connsiteX5963" y="connsiteY5963"/>
              </a:cxn>
              <a:cxn ang="0">
                <a:pos x="connsiteX5964" y="connsiteY5964"/>
              </a:cxn>
              <a:cxn ang="0">
                <a:pos x="connsiteX5965" y="connsiteY5965"/>
              </a:cxn>
              <a:cxn ang="0">
                <a:pos x="connsiteX5966" y="connsiteY5966"/>
              </a:cxn>
              <a:cxn ang="0">
                <a:pos x="connsiteX5967" y="connsiteY5967"/>
              </a:cxn>
              <a:cxn ang="0">
                <a:pos x="connsiteX5968" y="connsiteY5968"/>
              </a:cxn>
              <a:cxn ang="0">
                <a:pos x="connsiteX5969" y="connsiteY5969"/>
              </a:cxn>
              <a:cxn ang="0">
                <a:pos x="connsiteX5970" y="connsiteY5970"/>
              </a:cxn>
              <a:cxn ang="0">
                <a:pos x="connsiteX5971" y="connsiteY5971"/>
              </a:cxn>
              <a:cxn ang="0">
                <a:pos x="connsiteX5972" y="connsiteY5972"/>
              </a:cxn>
              <a:cxn ang="0">
                <a:pos x="connsiteX5973" y="connsiteY5973"/>
              </a:cxn>
              <a:cxn ang="0">
                <a:pos x="connsiteX5974" y="connsiteY5974"/>
              </a:cxn>
              <a:cxn ang="0">
                <a:pos x="connsiteX5975" y="connsiteY5975"/>
              </a:cxn>
              <a:cxn ang="0">
                <a:pos x="connsiteX5976" y="connsiteY5976"/>
              </a:cxn>
              <a:cxn ang="0">
                <a:pos x="connsiteX5977" y="connsiteY5977"/>
              </a:cxn>
              <a:cxn ang="0">
                <a:pos x="connsiteX5978" y="connsiteY5978"/>
              </a:cxn>
              <a:cxn ang="0">
                <a:pos x="connsiteX5979" y="connsiteY5979"/>
              </a:cxn>
              <a:cxn ang="0">
                <a:pos x="connsiteX5980" y="connsiteY5980"/>
              </a:cxn>
              <a:cxn ang="0">
                <a:pos x="connsiteX5981" y="connsiteY5981"/>
              </a:cxn>
              <a:cxn ang="0">
                <a:pos x="connsiteX5982" y="connsiteY5982"/>
              </a:cxn>
              <a:cxn ang="0">
                <a:pos x="connsiteX5983" y="connsiteY5983"/>
              </a:cxn>
              <a:cxn ang="0">
                <a:pos x="connsiteX5984" y="connsiteY5984"/>
              </a:cxn>
              <a:cxn ang="0">
                <a:pos x="connsiteX5985" y="connsiteY5985"/>
              </a:cxn>
              <a:cxn ang="0">
                <a:pos x="connsiteX5986" y="connsiteY5986"/>
              </a:cxn>
              <a:cxn ang="0">
                <a:pos x="connsiteX5987" y="connsiteY5987"/>
              </a:cxn>
              <a:cxn ang="0">
                <a:pos x="connsiteX5988" y="connsiteY5988"/>
              </a:cxn>
              <a:cxn ang="0">
                <a:pos x="connsiteX5989" y="connsiteY5989"/>
              </a:cxn>
              <a:cxn ang="0">
                <a:pos x="connsiteX5990" y="connsiteY5990"/>
              </a:cxn>
              <a:cxn ang="0">
                <a:pos x="connsiteX5991" y="connsiteY5991"/>
              </a:cxn>
              <a:cxn ang="0">
                <a:pos x="connsiteX5992" y="connsiteY5992"/>
              </a:cxn>
              <a:cxn ang="0">
                <a:pos x="connsiteX5993" y="connsiteY5993"/>
              </a:cxn>
              <a:cxn ang="0">
                <a:pos x="connsiteX5994" y="connsiteY5994"/>
              </a:cxn>
              <a:cxn ang="0">
                <a:pos x="connsiteX5995" y="connsiteY5995"/>
              </a:cxn>
              <a:cxn ang="0">
                <a:pos x="connsiteX5996" y="connsiteY5996"/>
              </a:cxn>
              <a:cxn ang="0">
                <a:pos x="connsiteX5997" y="connsiteY5997"/>
              </a:cxn>
              <a:cxn ang="0">
                <a:pos x="connsiteX5998" y="connsiteY5998"/>
              </a:cxn>
              <a:cxn ang="0">
                <a:pos x="connsiteX5999" y="connsiteY5999"/>
              </a:cxn>
              <a:cxn ang="0">
                <a:pos x="connsiteX6000" y="connsiteY6000"/>
              </a:cxn>
              <a:cxn ang="0">
                <a:pos x="connsiteX6001" y="connsiteY6001"/>
              </a:cxn>
              <a:cxn ang="0">
                <a:pos x="connsiteX6002" y="connsiteY6002"/>
              </a:cxn>
              <a:cxn ang="0">
                <a:pos x="connsiteX6003" y="connsiteY6003"/>
              </a:cxn>
              <a:cxn ang="0">
                <a:pos x="connsiteX6004" y="connsiteY6004"/>
              </a:cxn>
              <a:cxn ang="0">
                <a:pos x="connsiteX6005" y="connsiteY6005"/>
              </a:cxn>
              <a:cxn ang="0">
                <a:pos x="connsiteX6006" y="connsiteY6006"/>
              </a:cxn>
              <a:cxn ang="0">
                <a:pos x="connsiteX6007" y="connsiteY6007"/>
              </a:cxn>
              <a:cxn ang="0">
                <a:pos x="connsiteX6008" y="connsiteY6008"/>
              </a:cxn>
              <a:cxn ang="0">
                <a:pos x="connsiteX6009" y="connsiteY6009"/>
              </a:cxn>
              <a:cxn ang="0">
                <a:pos x="connsiteX6010" y="connsiteY6010"/>
              </a:cxn>
              <a:cxn ang="0">
                <a:pos x="connsiteX6011" y="connsiteY6011"/>
              </a:cxn>
              <a:cxn ang="0">
                <a:pos x="connsiteX6012" y="connsiteY6012"/>
              </a:cxn>
              <a:cxn ang="0">
                <a:pos x="connsiteX6013" y="connsiteY6013"/>
              </a:cxn>
              <a:cxn ang="0">
                <a:pos x="connsiteX6014" y="connsiteY6014"/>
              </a:cxn>
              <a:cxn ang="0">
                <a:pos x="connsiteX6015" y="connsiteY6015"/>
              </a:cxn>
              <a:cxn ang="0">
                <a:pos x="connsiteX6016" y="connsiteY6016"/>
              </a:cxn>
              <a:cxn ang="0">
                <a:pos x="connsiteX6017" y="connsiteY6017"/>
              </a:cxn>
              <a:cxn ang="0">
                <a:pos x="connsiteX6018" y="connsiteY6018"/>
              </a:cxn>
              <a:cxn ang="0">
                <a:pos x="connsiteX6019" y="connsiteY6019"/>
              </a:cxn>
              <a:cxn ang="0">
                <a:pos x="connsiteX6020" y="connsiteY6020"/>
              </a:cxn>
              <a:cxn ang="0">
                <a:pos x="connsiteX6021" y="connsiteY6021"/>
              </a:cxn>
              <a:cxn ang="0">
                <a:pos x="connsiteX6022" y="connsiteY6022"/>
              </a:cxn>
              <a:cxn ang="0">
                <a:pos x="connsiteX6023" y="connsiteY6023"/>
              </a:cxn>
              <a:cxn ang="0">
                <a:pos x="connsiteX6024" y="connsiteY6024"/>
              </a:cxn>
              <a:cxn ang="0">
                <a:pos x="connsiteX6025" y="connsiteY6025"/>
              </a:cxn>
              <a:cxn ang="0">
                <a:pos x="connsiteX6026" y="connsiteY6026"/>
              </a:cxn>
              <a:cxn ang="0">
                <a:pos x="connsiteX6027" y="connsiteY6027"/>
              </a:cxn>
              <a:cxn ang="0">
                <a:pos x="connsiteX6028" y="connsiteY6028"/>
              </a:cxn>
              <a:cxn ang="0">
                <a:pos x="connsiteX6029" y="connsiteY6029"/>
              </a:cxn>
              <a:cxn ang="0">
                <a:pos x="connsiteX6030" y="connsiteY6030"/>
              </a:cxn>
              <a:cxn ang="0">
                <a:pos x="connsiteX6031" y="connsiteY6031"/>
              </a:cxn>
              <a:cxn ang="0">
                <a:pos x="connsiteX6032" y="connsiteY6032"/>
              </a:cxn>
              <a:cxn ang="0">
                <a:pos x="connsiteX6033" y="connsiteY6033"/>
              </a:cxn>
              <a:cxn ang="0">
                <a:pos x="connsiteX6034" y="connsiteY6034"/>
              </a:cxn>
              <a:cxn ang="0">
                <a:pos x="connsiteX6035" y="connsiteY6035"/>
              </a:cxn>
              <a:cxn ang="0">
                <a:pos x="connsiteX6036" y="connsiteY6036"/>
              </a:cxn>
              <a:cxn ang="0">
                <a:pos x="connsiteX6037" y="connsiteY6037"/>
              </a:cxn>
              <a:cxn ang="0">
                <a:pos x="connsiteX6038" y="connsiteY6038"/>
              </a:cxn>
              <a:cxn ang="0">
                <a:pos x="connsiteX6039" y="connsiteY6039"/>
              </a:cxn>
              <a:cxn ang="0">
                <a:pos x="connsiteX6040" y="connsiteY6040"/>
              </a:cxn>
              <a:cxn ang="0">
                <a:pos x="connsiteX6041" y="connsiteY6041"/>
              </a:cxn>
              <a:cxn ang="0">
                <a:pos x="connsiteX6042" y="connsiteY6042"/>
              </a:cxn>
              <a:cxn ang="0">
                <a:pos x="connsiteX6043" y="connsiteY6043"/>
              </a:cxn>
              <a:cxn ang="0">
                <a:pos x="connsiteX6044" y="connsiteY6044"/>
              </a:cxn>
              <a:cxn ang="0">
                <a:pos x="connsiteX6045" y="connsiteY6045"/>
              </a:cxn>
              <a:cxn ang="0">
                <a:pos x="connsiteX6046" y="connsiteY6046"/>
              </a:cxn>
              <a:cxn ang="0">
                <a:pos x="connsiteX6047" y="connsiteY6047"/>
              </a:cxn>
              <a:cxn ang="0">
                <a:pos x="connsiteX6048" y="connsiteY6048"/>
              </a:cxn>
              <a:cxn ang="0">
                <a:pos x="connsiteX6049" y="connsiteY6049"/>
              </a:cxn>
              <a:cxn ang="0">
                <a:pos x="connsiteX6050" y="connsiteY6050"/>
              </a:cxn>
              <a:cxn ang="0">
                <a:pos x="connsiteX6051" y="connsiteY6051"/>
              </a:cxn>
              <a:cxn ang="0">
                <a:pos x="connsiteX6052" y="connsiteY6052"/>
              </a:cxn>
              <a:cxn ang="0">
                <a:pos x="connsiteX6053" y="connsiteY6053"/>
              </a:cxn>
              <a:cxn ang="0">
                <a:pos x="connsiteX6054" y="connsiteY6054"/>
              </a:cxn>
              <a:cxn ang="0">
                <a:pos x="connsiteX6055" y="connsiteY6055"/>
              </a:cxn>
              <a:cxn ang="0">
                <a:pos x="connsiteX6056" y="connsiteY6056"/>
              </a:cxn>
              <a:cxn ang="0">
                <a:pos x="connsiteX6057" y="connsiteY6057"/>
              </a:cxn>
              <a:cxn ang="0">
                <a:pos x="connsiteX6058" y="connsiteY6058"/>
              </a:cxn>
              <a:cxn ang="0">
                <a:pos x="connsiteX6059" y="connsiteY6059"/>
              </a:cxn>
              <a:cxn ang="0">
                <a:pos x="connsiteX6060" y="connsiteY6060"/>
              </a:cxn>
              <a:cxn ang="0">
                <a:pos x="connsiteX6061" y="connsiteY6061"/>
              </a:cxn>
              <a:cxn ang="0">
                <a:pos x="connsiteX6062" y="connsiteY6062"/>
              </a:cxn>
              <a:cxn ang="0">
                <a:pos x="connsiteX6063" y="connsiteY6063"/>
              </a:cxn>
              <a:cxn ang="0">
                <a:pos x="connsiteX6064" y="connsiteY6064"/>
              </a:cxn>
              <a:cxn ang="0">
                <a:pos x="connsiteX6065" y="connsiteY6065"/>
              </a:cxn>
              <a:cxn ang="0">
                <a:pos x="connsiteX6066" y="connsiteY6066"/>
              </a:cxn>
              <a:cxn ang="0">
                <a:pos x="connsiteX6067" y="connsiteY6067"/>
              </a:cxn>
              <a:cxn ang="0">
                <a:pos x="connsiteX6068" y="connsiteY6068"/>
              </a:cxn>
              <a:cxn ang="0">
                <a:pos x="connsiteX6069" y="connsiteY6069"/>
              </a:cxn>
              <a:cxn ang="0">
                <a:pos x="connsiteX6070" y="connsiteY6070"/>
              </a:cxn>
              <a:cxn ang="0">
                <a:pos x="connsiteX6071" y="connsiteY6071"/>
              </a:cxn>
              <a:cxn ang="0">
                <a:pos x="connsiteX6072" y="connsiteY6072"/>
              </a:cxn>
              <a:cxn ang="0">
                <a:pos x="connsiteX6073" y="connsiteY6073"/>
              </a:cxn>
              <a:cxn ang="0">
                <a:pos x="connsiteX6074" y="connsiteY6074"/>
              </a:cxn>
              <a:cxn ang="0">
                <a:pos x="connsiteX6075" y="connsiteY6075"/>
              </a:cxn>
              <a:cxn ang="0">
                <a:pos x="connsiteX6076" y="connsiteY6076"/>
              </a:cxn>
              <a:cxn ang="0">
                <a:pos x="connsiteX6077" y="connsiteY6077"/>
              </a:cxn>
              <a:cxn ang="0">
                <a:pos x="connsiteX6078" y="connsiteY6078"/>
              </a:cxn>
              <a:cxn ang="0">
                <a:pos x="connsiteX6079" y="connsiteY6079"/>
              </a:cxn>
              <a:cxn ang="0">
                <a:pos x="connsiteX6080" y="connsiteY6080"/>
              </a:cxn>
              <a:cxn ang="0">
                <a:pos x="connsiteX6081" y="connsiteY6081"/>
              </a:cxn>
              <a:cxn ang="0">
                <a:pos x="connsiteX6082" y="connsiteY6082"/>
              </a:cxn>
              <a:cxn ang="0">
                <a:pos x="connsiteX6083" y="connsiteY6083"/>
              </a:cxn>
              <a:cxn ang="0">
                <a:pos x="connsiteX6084" y="connsiteY6084"/>
              </a:cxn>
              <a:cxn ang="0">
                <a:pos x="connsiteX6085" y="connsiteY6085"/>
              </a:cxn>
              <a:cxn ang="0">
                <a:pos x="connsiteX6086" y="connsiteY6086"/>
              </a:cxn>
              <a:cxn ang="0">
                <a:pos x="connsiteX6087" y="connsiteY6087"/>
              </a:cxn>
              <a:cxn ang="0">
                <a:pos x="connsiteX6088" y="connsiteY6088"/>
              </a:cxn>
              <a:cxn ang="0">
                <a:pos x="connsiteX6089" y="connsiteY6089"/>
              </a:cxn>
              <a:cxn ang="0">
                <a:pos x="connsiteX6090" y="connsiteY6090"/>
              </a:cxn>
              <a:cxn ang="0">
                <a:pos x="connsiteX6091" y="connsiteY6091"/>
              </a:cxn>
              <a:cxn ang="0">
                <a:pos x="connsiteX6092" y="connsiteY6092"/>
              </a:cxn>
              <a:cxn ang="0">
                <a:pos x="connsiteX6093" y="connsiteY6093"/>
              </a:cxn>
              <a:cxn ang="0">
                <a:pos x="connsiteX6094" y="connsiteY6094"/>
              </a:cxn>
              <a:cxn ang="0">
                <a:pos x="connsiteX6095" y="connsiteY6095"/>
              </a:cxn>
              <a:cxn ang="0">
                <a:pos x="connsiteX6096" y="connsiteY6096"/>
              </a:cxn>
              <a:cxn ang="0">
                <a:pos x="connsiteX6097" y="connsiteY6097"/>
              </a:cxn>
              <a:cxn ang="0">
                <a:pos x="connsiteX6098" y="connsiteY6098"/>
              </a:cxn>
              <a:cxn ang="0">
                <a:pos x="connsiteX6099" y="connsiteY6099"/>
              </a:cxn>
              <a:cxn ang="0">
                <a:pos x="connsiteX6100" y="connsiteY6100"/>
              </a:cxn>
              <a:cxn ang="0">
                <a:pos x="connsiteX6101" y="connsiteY6101"/>
              </a:cxn>
              <a:cxn ang="0">
                <a:pos x="connsiteX6102" y="connsiteY6102"/>
              </a:cxn>
              <a:cxn ang="0">
                <a:pos x="connsiteX6103" y="connsiteY6103"/>
              </a:cxn>
              <a:cxn ang="0">
                <a:pos x="connsiteX6104" y="connsiteY6104"/>
              </a:cxn>
              <a:cxn ang="0">
                <a:pos x="connsiteX6105" y="connsiteY6105"/>
              </a:cxn>
              <a:cxn ang="0">
                <a:pos x="connsiteX6106" y="connsiteY6106"/>
              </a:cxn>
              <a:cxn ang="0">
                <a:pos x="connsiteX6107" y="connsiteY6107"/>
              </a:cxn>
              <a:cxn ang="0">
                <a:pos x="connsiteX6108" y="connsiteY6108"/>
              </a:cxn>
              <a:cxn ang="0">
                <a:pos x="connsiteX6109" y="connsiteY6109"/>
              </a:cxn>
              <a:cxn ang="0">
                <a:pos x="connsiteX6110" y="connsiteY6110"/>
              </a:cxn>
              <a:cxn ang="0">
                <a:pos x="connsiteX6111" y="connsiteY6111"/>
              </a:cxn>
              <a:cxn ang="0">
                <a:pos x="connsiteX6112" y="connsiteY6112"/>
              </a:cxn>
              <a:cxn ang="0">
                <a:pos x="connsiteX6113" y="connsiteY6113"/>
              </a:cxn>
              <a:cxn ang="0">
                <a:pos x="connsiteX6114" y="connsiteY6114"/>
              </a:cxn>
              <a:cxn ang="0">
                <a:pos x="connsiteX6115" y="connsiteY6115"/>
              </a:cxn>
              <a:cxn ang="0">
                <a:pos x="connsiteX6116" y="connsiteY6116"/>
              </a:cxn>
              <a:cxn ang="0">
                <a:pos x="connsiteX6117" y="connsiteY6117"/>
              </a:cxn>
              <a:cxn ang="0">
                <a:pos x="connsiteX6118" y="connsiteY6118"/>
              </a:cxn>
              <a:cxn ang="0">
                <a:pos x="connsiteX6119" y="connsiteY6119"/>
              </a:cxn>
              <a:cxn ang="0">
                <a:pos x="connsiteX6120" y="connsiteY6120"/>
              </a:cxn>
              <a:cxn ang="0">
                <a:pos x="connsiteX6121" y="connsiteY6121"/>
              </a:cxn>
              <a:cxn ang="0">
                <a:pos x="connsiteX6122" y="connsiteY6122"/>
              </a:cxn>
              <a:cxn ang="0">
                <a:pos x="connsiteX6123" y="connsiteY6123"/>
              </a:cxn>
              <a:cxn ang="0">
                <a:pos x="connsiteX6124" y="connsiteY6124"/>
              </a:cxn>
              <a:cxn ang="0">
                <a:pos x="connsiteX6125" y="connsiteY6125"/>
              </a:cxn>
              <a:cxn ang="0">
                <a:pos x="connsiteX6126" y="connsiteY6126"/>
              </a:cxn>
              <a:cxn ang="0">
                <a:pos x="connsiteX6127" y="connsiteY6127"/>
              </a:cxn>
              <a:cxn ang="0">
                <a:pos x="connsiteX6128" y="connsiteY6128"/>
              </a:cxn>
              <a:cxn ang="0">
                <a:pos x="connsiteX6129" y="connsiteY6129"/>
              </a:cxn>
              <a:cxn ang="0">
                <a:pos x="connsiteX6130" y="connsiteY6130"/>
              </a:cxn>
              <a:cxn ang="0">
                <a:pos x="connsiteX6131" y="connsiteY6131"/>
              </a:cxn>
              <a:cxn ang="0">
                <a:pos x="connsiteX6132" y="connsiteY6132"/>
              </a:cxn>
              <a:cxn ang="0">
                <a:pos x="connsiteX6133" y="connsiteY6133"/>
              </a:cxn>
              <a:cxn ang="0">
                <a:pos x="connsiteX6134" y="connsiteY6134"/>
              </a:cxn>
              <a:cxn ang="0">
                <a:pos x="connsiteX6135" y="connsiteY6135"/>
              </a:cxn>
              <a:cxn ang="0">
                <a:pos x="connsiteX6136" y="connsiteY6136"/>
              </a:cxn>
              <a:cxn ang="0">
                <a:pos x="connsiteX6137" y="connsiteY6137"/>
              </a:cxn>
              <a:cxn ang="0">
                <a:pos x="connsiteX6138" y="connsiteY6138"/>
              </a:cxn>
              <a:cxn ang="0">
                <a:pos x="connsiteX6139" y="connsiteY6139"/>
              </a:cxn>
              <a:cxn ang="0">
                <a:pos x="connsiteX6140" y="connsiteY6140"/>
              </a:cxn>
              <a:cxn ang="0">
                <a:pos x="connsiteX6141" y="connsiteY6141"/>
              </a:cxn>
              <a:cxn ang="0">
                <a:pos x="connsiteX6142" y="connsiteY6142"/>
              </a:cxn>
              <a:cxn ang="0">
                <a:pos x="connsiteX6143" y="connsiteY6143"/>
              </a:cxn>
              <a:cxn ang="0">
                <a:pos x="connsiteX6144" y="connsiteY6144"/>
              </a:cxn>
              <a:cxn ang="0">
                <a:pos x="connsiteX6145" y="connsiteY6145"/>
              </a:cxn>
              <a:cxn ang="0">
                <a:pos x="connsiteX6146" y="connsiteY6146"/>
              </a:cxn>
              <a:cxn ang="0">
                <a:pos x="connsiteX6147" y="connsiteY6147"/>
              </a:cxn>
              <a:cxn ang="0">
                <a:pos x="connsiteX6148" y="connsiteY6148"/>
              </a:cxn>
              <a:cxn ang="0">
                <a:pos x="connsiteX6149" y="connsiteY6149"/>
              </a:cxn>
              <a:cxn ang="0">
                <a:pos x="connsiteX6150" y="connsiteY6150"/>
              </a:cxn>
              <a:cxn ang="0">
                <a:pos x="connsiteX6151" y="connsiteY6151"/>
              </a:cxn>
              <a:cxn ang="0">
                <a:pos x="connsiteX6152" y="connsiteY6152"/>
              </a:cxn>
              <a:cxn ang="0">
                <a:pos x="connsiteX6153" y="connsiteY6153"/>
              </a:cxn>
              <a:cxn ang="0">
                <a:pos x="connsiteX6154" y="connsiteY6154"/>
              </a:cxn>
              <a:cxn ang="0">
                <a:pos x="connsiteX6155" y="connsiteY6155"/>
              </a:cxn>
              <a:cxn ang="0">
                <a:pos x="connsiteX6156" y="connsiteY6156"/>
              </a:cxn>
              <a:cxn ang="0">
                <a:pos x="connsiteX6157" y="connsiteY6157"/>
              </a:cxn>
              <a:cxn ang="0">
                <a:pos x="connsiteX6158" y="connsiteY6158"/>
              </a:cxn>
              <a:cxn ang="0">
                <a:pos x="connsiteX6159" y="connsiteY6159"/>
              </a:cxn>
              <a:cxn ang="0">
                <a:pos x="connsiteX6160" y="connsiteY6160"/>
              </a:cxn>
              <a:cxn ang="0">
                <a:pos x="connsiteX6161" y="connsiteY6161"/>
              </a:cxn>
              <a:cxn ang="0">
                <a:pos x="connsiteX6162" y="connsiteY6162"/>
              </a:cxn>
              <a:cxn ang="0">
                <a:pos x="connsiteX6163" y="connsiteY6163"/>
              </a:cxn>
              <a:cxn ang="0">
                <a:pos x="connsiteX6164" y="connsiteY6164"/>
              </a:cxn>
              <a:cxn ang="0">
                <a:pos x="connsiteX6165" y="connsiteY6165"/>
              </a:cxn>
              <a:cxn ang="0">
                <a:pos x="connsiteX6166" y="connsiteY6166"/>
              </a:cxn>
              <a:cxn ang="0">
                <a:pos x="connsiteX6167" y="connsiteY6167"/>
              </a:cxn>
              <a:cxn ang="0">
                <a:pos x="connsiteX6168" y="connsiteY6168"/>
              </a:cxn>
              <a:cxn ang="0">
                <a:pos x="connsiteX6169" y="connsiteY6169"/>
              </a:cxn>
              <a:cxn ang="0">
                <a:pos x="connsiteX6170" y="connsiteY6170"/>
              </a:cxn>
              <a:cxn ang="0">
                <a:pos x="connsiteX6171" y="connsiteY6171"/>
              </a:cxn>
              <a:cxn ang="0">
                <a:pos x="connsiteX6172" y="connsiteY6172"/>
              </a:cxn>
              <a:cxn ang="0">
                <a:pos x="connsiteX6173" y="connsiteY6173"/>
              </a:cxn>
              <a:cxn ang="0">
                <a:pos x="connsiteX6174" y="connsiteY6174"/>
              </a:cxn>
              <a:cxn ang="0">
                <a:pos x="connsiteX6175" y="connsiteY6175"/>
              </a:cxn>
              <a:cxn ang="0">
                <a:pos x="connsiteX6176" y="connsiteY6176"/>
              </a:cxn>
              <a:cxn ang="0">
                <a:pos x="connsiteX6177" y="connsiteY6177"/>
              </a:cxn>
              <a:cxn ang="0">
                <a:pos x="connsiteX6178" y="connsiteY6178"/>
              </a:cxn>
              <a:cxn ang="0">
                <a:pos x="connsiteX6179" y="connsiteY6179"/>
              </a:cxn>
              <a:cxn ang="0">
                <a:pos x="connsiteX6180" y="connsiteY6180"/>
              </a:cxn>
              <a:cxn ang="0">
                <a:pos x="connsiteX6181" y="connsiteY6181"/>
              </a:cxn>
              <a:cxn ang="0">
                <a:pos x="connsiteX6182" y="connsiteY6182"/>
              </a:cxn>
              <a:cxn ang="0">
                <a:pos x="connsiteX6183" y="connsiteY6183"/>
              </a:cxn>
              <a:cxn ang="0">
                <a:pos x="connsiteX6184" y="connsiteY6184"/>
              </a:cxn>
              <a:cxn ang="0">
                <a:pos x="connsiteX6185" y="connsiteY6185"/>
              </a:cxn>
              <a:cxn ang="0">
                <a:pos x="connsiteX6186" y="connsiteY6186"/>
              </a:cxn>
              <a:cxn ang="0">
                <a:pos x="connsiteX6187" y="connsiteY6187"/>
              </a:cxn>
              <a:cxn ang="0">
                <a:pos x="connsiteX6188" y="connsiteY6188"/>
              </a:cxn>
              <a:cxn ang="0">
                <a:pos x="connsiteX6189" y="connsiteY6189"/>
              </a:cxn>
              <a:cxn ang="0">
                <a:pos x="connsiteX6190" y="connsiteY6190"/>
              </a:cxn>
              <a:cxn ang="0">
                <a:pos x="connsiteX6191" y="connsiteY6191"/>
              </a:cxn>
              <a:cxn ang="0">
                <a:pos x="connsiteX6192" y="connsiteY6192"/>
              </a:cxn>
              <a:cxn ang="0">
                <a:pos x="connsiteX6193" y="connsiteY6193"/>
              </a:cxn>
              <a:cxn ang="0">
                <a:pos x="connsiteX6194" y="connsiteY6194"/>
              </a:cxn>
              <a:cxn ang="0">
                <a:pos x="connsiteX6195" y="connsiteY6195"/>
              </a:cxn>
              <a:cxn ang="0">
                <a:pos x="connsiteX6196" y="connsiteY6196"/>
              </a:cxn>
              <a:cxn ang="0">
                <a:pos x="connsiteX6197" y="connsiteY6197"/>
              </a:cxn>
              <a:cxn ang="0">
                <a:pos x="connsiteX6198" y="connsiteY6198"/>
              </a:cxn>
              <a:cxn ang="0">
                <a:pos x="connsiteX6199" y="connsiteY6199"/>
              </a:cxn>
              <a:cxn ang="0">
                <a:pos x="connsiteX6200" y="connsiteY6200"/>
              </a:cxn>
              <a:cxn ang="0">
                <a:pos x="connsiteX6201" y="connsiteY6201"/>
              </a:cxn>
              <a:cxn ang="0">
                <a:pos x="connsiteX6202" y="connsiteY6202"/>
              </a:cxn>
              <a:cxn ang="0">
                <a:pos x="connsiteX6203" y="connsiteY6203"/>
              </a:cxn>
              <a:cxn ang="0">
                <a:pos x="connsiteX6204" y="connsiteY6204"/>
              </a:cxn>
              <a:cxn ang="0">
                <a:pos x="connsiteX6205" y="connsiteY6205"/>
              </a:cxn>
              <a:cxn ang="0">
                <a:pos x="connsiteX6206" y="connsiteY6206"/>
              </a:cxn>
              <a:cxn ang="0">
                <a:pos x="connsiteX6207" y="connsiteY6207"/>
              </a:cxn>
              <a:cxn ang="0">
                <a:pos x="connsiteX6208" y="connsiteY6208"/>
              </a:cxn>
              <a:cxn ang="0">
                <a:pos x="connsiteX6209" y="connsiteY6209"/>
              </a:cxn>
              <a:cxn ang="0">
                <a:pos x="connsiteX6210" y="connsiteY6210"/>
              </a:cxn>
              <a:cxn ang="0">
                <a:pos x="connsiteX6211" y="connsiteY6211"/>
              </a:cxn>
              <a:cxn ang="0">
                <a:pos x="connsiteX6212" y="connsiteY6212"/>
              </a:cxn>
              <a:cxn ang="0">
                <a:pos x="connsiteX6213" y="connsiteY6213"/>
              </a:cxn>
              <a:cxn ang="0">
                <a:pos x="connsiteX6214" y="connsiteY6214"/>
              </a:cxn>
              <a:cxn ang="0">
                <a:pos x="connsiteX6215" y="connsiteY6215"/>
              </a:cxn>
              <a:cxn ang="0">
                <a:pos x="connsiteX6216" y="connsiteY6216"/>
              </a:cxn>
              <a:cxn ang="0">
                <a:pos x="connsiteX6217" y="connsiteY6217"/>
              </a:cxn>
              <a:cxn ang="0">
                <a:pos x="connsiteX6218" y="connsiteY6218"/>
              </a:cxn>
              <a:cxn ang="0">
                <a:pos x="connsiteX6219" y="connsiteY6219"/>
              </a:cxn>
              <a:cxn ang="0">
                <a:pos x="connsiteX6220" y="connsiteY6220"/>
              </a:cxn>
              <a:cxn ang="0">
                <a:pos x="connsiteX6221" y="connsiteY6221"/>
              </a:cxn>
              <a:cxn ang="0">
                <a:pos x="connsiteX6222" y="connsiteY6222"/>
              </a:cxn>
              <a:cxn ang="0">
                <a:pos x="connsiteX6223" y="connsiteY6223"/>
              </a:cxn>
              <a:cxn ang="0">
                <a:pos x="connsiteX6224" y="connsiteY6224"/>
              </a:cxn>
              <a:cxn ang="0">
                <a:pos x="connsiteX6225" y="connsiteY6225"/>
              </a:cxn>
              <a:cxn ang="0">
                <a:pos x="connsiteX6226" y="connsiteY6226"/>
              </a:cxn>
              <a:cxn ang="0">
                <a:pos x="connsiteX6227" y="connsiteY6227"/>
              </a:cxn>
              <a:cxn ang="0">
                <a:pos x="connsiteX6228" y="connsiteY6228"/>
              </a:cxn>
              <a:cxn ang="0">
                <a:pos x="connsiteX6229" y="connsiteY6229"/>
              </a:cxn>
              <a:cxn ang="0">
                <a:pos x="connsiteX6230" y="connsiteY6230"/>
              </a:cxn>
              <a:cxn ang="0">
                <a:pos x="connsiteX6231" y="connsiteY6231"/>
              </a:cxn>
              <a:cxn ang="0">
                <a:pos x="connsiteX6232" y="connsiteY6232"/>
              </a:cxn>
              <a:cxn ang="0">
                <a:pos x="connsiteX6233" y="connsiteY6233"/>
              </a:cxn>
              <a:cxn ang="0">
                <a:pos x="connsiteX6234" y="connsiteY6234"/>
              </a:cxn>
              <a:cxn ang="0">
                <a:pos x="connsiteX6235" y="connsiteY6235"/>
              </a:cxn>
              <a:cxn ang="0">
                <a:pos x="connsiteX6236" y="connsiteY6236"/>
              </a:cxn>
              <a:cxn ang="0">
                <a:pos x="connsiteX6237" y="connsiteY6237"/>
              </a:cxn>
              <a:cxn ang="0">
                <a:pos x="connsiteX6238" y="connsiteY6238"/>
              </a:cxn>
              <a:cxn ang="0">
                <a:pos x="connsiteX6239" y="connsiteY6239"/>
              </a:cxn>
              <a:cxn ang="0">
                <a:pos x="connsiteX6240" y="connsiteY6240"/>
              </a:cxn>
              <a:cxn ang="0">
                <a:pos x="connsiteX6241" y="connsiteY6241"/>
              </a:cxn>
              <a:cxn ang="0">
                <a:pos x="connsiteX6242" y="connsiteY6242"/>
              </a:cxn>
              <a:cxn ang="0">
                <a:pos x="connsiteX6243" y="connsiteY6243"/>
              </a:cxn>
              <a:cxn ang="0">
                <a:pos x="connsiteX6244" y="connsiteY6244"/>
              </a:cxn>
              <a:cxn ang="0">
                <a:pos x="connsiteX6245" y="connsiteY6245"/>
              </a:cxn>
              <a:cxn ang="0">
                <a:pos x="connsiteX6246" y="connsiteY6246"/>
              </a:cxn>
              <a:cxn ang="0">
                <a:pos x="connsiteX6247" y="connsiteY6247"/>
              </a:cxn>
              <a:cxn ang="0">
                <a:pos x="connsiteX6248" y="connsiteY6248"/>
              </a:cxn>
              <a:cxn ang="0">
                <a:pos x="connsiteX6249" y="connsiteY6249"/>
              </a:cxn>
              <a:cxn ang="0">
                <a:pos x="connsiteX6250" y="connsiteY6250"/>
              </a:cxn>
              <a:cxn ang="0">
                <a:pos x="connsiteX6251" y="connsiteY6251"/>
              </a:cxn>
              <a:cxn ang="0">
                <a:pos x="connsiteX6252" y="connsiteY6252"/>
              </a:cxn>
              <a:cxn ang="0">
                <a:pos x="connsiteX6253" y="connsiteY6253"/>
              </a:cxn>
              <a:cxn ang="0">
                <a:pos x="connsiteX6254" y="connsiteY6254"/>
              </a:cxn>
              <a:cxn ang="0">
                <a:pos x="connsiteX6255" y="connsiteY6255"/>
              </a:cxn>
              <a:cxn ang="0">
                <a:pos x="connsiteX6256" y="connsiteY6256"/>
              </a:cxn>
              <a:cxn ang="0">
                <a:pos x="connsiteX6257" y="connsiteY6257"/>
              </a:cxn>
              <a:cxn ang="0">
                <a:pos x="connsiteX6258" y="connsiteY6258"/>
              </a:cxn>
              <a:cxn ang="0">
                <a:pos x="connsiteX6259" y="connsiteY6259"/>
              </a:cxn>
              <a:cxn ang="0">
                <a:pos x="connsiteX6260" y="connsiteY6260"/>
              </a:cxn>
              <a:cxn ang="0">
                <a:pos x="connsiteX6261" y="connsiteY6261"/>
              </a:cxn>
              <a:cxn ang="0">
                <a:pos x="connsiteX6262" y="connsiteY6262"/>
              </a:cxn>
              <a:cxn ang="0">
                <a:pos x="connsiteX6263" y="connsiteY6263"/>
              </a:cxn>
              <a:cxn ang="0">
                <a:pos x="connsiteX6264" y="connsiteY6264"/>
              </a:cxn>
              <a:cxn ang="0">
                <a:pos x="connsiteX6265" y="connsiteY6265"/>
              </a:cxn>
              <a:cxn ang="0">
                <a:pos x="connsiteX6266" y="connsiteY6266"/>
              </a:cxn>
              <a:cxn ang="0">
                <a:pos x="connsiteX6267" y="connsiteY6267"/>
              </a:cxn>
              <a:cxn ang="0">
                <a:pos x="connsiteX6268" y="connsiteY6268"/>
              </a:cxn>
              <a:cxn ang="0">
                <a:pos x="connsiteX6269" y="connsiteY6269"/>
              </a:cxn>
              <a:cxn ang="0">
                <a:pos x="connsiteX6270" y="connsiteY6270"/>
              </a:cxn>
              <a:cxn ang="0">
                <a:pos x="connsiteX6271" y="connsiteY6271"/>
              </a:cxn>
              <a:cxn ang="0">
                <a:pos x="connsiteX6272" y="connsiteY6272"/>
              </a:cxn>
              <a:cxn ang="0">
                <a:pos x="connsiteX6273" y="connsiteY6273"/>
              </a:cxn>
              <a:cxn ang="0">
                <a:pos x="connsiteX6274" y="connsiteY6274"/>
              </a:cxn>
              <a:cxn ang="0">
                <a:pos x="connsiteX6275" y="connsiteY6275"/>
              </a:cxn>
              <a:cxn ang="0">
                <a:pos x="connsiteX6276" y="connsiteY6276"/>
              </a:cxn>
              <a:cxn ang="0">
                <a:pos x="connsiteX6277" y="connsiteY6277"/>
              </a:cxn>
              <a:cxn ang="0">
                <a:pos x="connsiteX6278" y="connsiteY6278"/>
              </a:cxn>
              <a:cxn ang="0">
                <a:pos x="connsiteX6279" y="connsiteY6279"/>
              </a:cxn>
              <a:cxn ang="0">
                <a:pos x="connsiteX6280" y="connsiteY6280"/>
              </a:cxn>
              <a:cxn ang="0">
                <a:pos x="connsiteX6281" y="connsiteY6281"/>
              </a:cxn>
              <a:cxn ang="0">
                <a:pos x="connsiteX6282" y="connsiteY6282"/>
              </a:cxn>
              <a:cxn ang="0">
                <a:pos x="connsiteX6283" y="connsiteY6283"/>
              </a:cxn>
              <a:cxn ang="0">
                <a:pos x="connsiteX6284" y="connsiteY6284"/>
              </a:cxn>
              <a:cxn ang="0">
                <a:pos x="connsiteX6285" y="connsiteY6285"/>
              </a:cxn>
              <a:cxn ang="0">
                <a:pos x="connsiteX6286" y="connsiteY6286"/>
              </a:cxn>
              <a:cxn ang="0">
                <a:pos x="connsiteX6287" y="connsiteY6287"/>
              </a:cxn>
              <a:cxn ang="0">
                <a:pos x="connsiteX6288" y="connsiteY6288"/>
              </a:cxn>
              <a:cxn ang="0">
                <a:pos x="connsiteX6289" y="connsiteY6289"/>
              </a:cxn>
              <a:cxn ang="0">
                <a:pos x="connsiteX6290" y="connsiteY6290"/>
              </a:cxn>
              <a:cxn ang="0">
                <a:pos x="connsiteX6291" y="connsiteY6291"/>
              </a:cxn>
              <a:cxn ang="0">
                <a:pos x="connsiteX6292" y="connsiteY6292"/>
              </a:cxn>
              <a:cxn ang="0">
                <a:pos x="connsiteX6293" y="connsiteY6293"/>
              </a:cxn>
              <a:cxn ang="0">
                <a:pos x="connsiteX6294" y="connsiteY6294"/>
              </a:cxn>
              <a:cxn ang="0">
                <a:pos x="connsiteX6295" y="connsiteY6295"/>
              </a:cxn>
              <a:cxn ang="0">
                <a:pos x="connsiteX6296" y="connsiteY6296"/>
              </a:cxn>
              <a:cxn ang="0">
                <a:pos x="connsiteX6297" y="connsiteY6297"/>
              </a:cxn>
              <a:cxn ang="0">
                <a:pos x="connsiteX6298" y="connsiteY6298"/>
              </a:cxn>
              <a:cxn ang="0">
                <a:pos x="connsiteX6299" y="connsiteY6299"/>
              </a:cxn>
              <a:cxn ang="0">
                <a:pos x="connsiteX6300" y="connsiteY6300"/>
              </a:cxn>
              <a:cxn ang="0">
                <a:pos x="connsiteX6301" y="connsiteY6301"/>
              </a:cxn>
              <a:cxn ang="0">
                <a:pos x="connsiteX6302" y="connsiteY6302"/>
              </a:cxn>
              <a:cxn ang="0">
                <a:pos x="connsiteX6303" y="connsiteY6303"/>
              </a:cxn>
              <a:cxn ang="0">
                <a:pos x="connsiteX6304" y="connsiteY6304"/>
              </a:cxn>
              <a:cxn ang="0">
                <a:pos x="connsiteX6305" y="connsiteY6305"/>
              </a:cxn>
              <a:cxn ang="0">
                <a:pos x="connsiteX6306" y="connsiteY6306"/>
              </a:cxn>
              <a:cxn ang="0">
                <a:pos x="connsiteX6307" y="connsiteY6307"/>
              </a:cxn>
              <a:cxn ang="0">
                <a:pos x="connsiteX6308" y="connsiteY6308"/>
              </a:cxn>
              <a:cxn ang="0">
                <a:pos x="connsiteX6309" y="connsiteY6309"/>
              </a:cxn>
              <a:cxn ang="0">
                <a:pos x="connsiteX6310" y="connsiteY6310"/>
              </a:cxn>
              <a:cxn ang="0">
                <a:pos x="connsiteX6311" y="connsiteY6311"/>
              </a:cxn>
              <a:cxn ang="0">
                <a:pos x="connsiteX6312" y="connsiteY6312"/>
              </a:cxn>
              <a:cxn ang="0">
                <a:pos x="connsiteX6313" y="connsiteY6313"/>
              </a:cxn>
              <a:cxn ang="0">
                <a:pos x="connsiteX6314" y="connsiteY6314"/>
              </a:cxn>
              <a:cxn ang="0">
                <a:pos x="connsiteX6315" y="connsiteY6315"/>
              </a:cxn>
              <a:cxn ang="0">
                <a:pos x="connsiteX6316" y="connsiteY6316"/>
              </a:cxn>
              <a:cxn ang="0">
                <a:pos x="connsiteX6317" y="connsiteY6317"/>
              </a:cxn>
              <a:cxn ang="0">
                <a:pos x="connsiteX6318" y="connsiteY6318"/>
              </a:cxn>
              <a:cxn ang="0">
                <a:pos x="connsiteX6319" y="connsiteY6319"/>
              </a:cxn>
              <a:cxn ang="0">
                <a:pos x="connsiteX6320" y="connsiteY6320"/>
              </a:cxn>
              <a:cxn ang="0">
                <a:pos x="connsiteX6321" y="connsiteY6321"/>
              </a:cxn>
              <a:cxn ang="0">
                <a:pos x="connsiteX6322" y="connsiteY6322"/>
              </a:cxn>
              <a:cxn ang="0">
                <a:pos x="connsiteX6323" y="connsiteY6323"/>
              </a:cxn>
              <a:cxn ang="0">
                <a:pos x="connsiteX6324" y="connsiteY6324"/>
              </a:cxn>
              <a:cxn ang="0">
                <a:pos x="connsiteX6325" y="connsiteY6325"/>
              </a:cxn>
              <a:cxn ang="0">
                <a:pos x="connsiteX6326" y="connsiteY6326"/>
              </a:cxn>
              <a:cxn ang="0">
                <a:pos x="connsiteX6327" y="connsiteY6327"/>
              </a:cxn>
              <a:cxn ang="0">
                <a:pos x="connsiteX6328" y="connsiteY6328"/>
              </a:cxn>
              <a:cxn ang="0">
                <a:pos x="connsiteX6329" y="connsiteY6329"/>
              </a:cxn>
              <a:cxn ang="0">
                <a:pos x="connsiteX6330" y="connsiteY6330"/>
              </a:cxn>
              <a:cxn ang="0">
                <a:pos x="connsiteX6331" y="connsiteY6331"/>
              </a:cxn>
              <a:cxn ang="0">
                <a:pos x="connsiteX6332" y="connsiteY6332"/>
              </a:cxn>
              <a:cxn ang="0">
                <a:pos x="connsiteX6333" y="connsiteY6333"/>
              </a:cxn>
              <a:cxn ang="0">
                <a:pos x="connsiteX6334" y="connsiteY6334"/>
              </a:cxn>
              <a:cxn ang="0">
                <a:pos x="connsiteX6335" y="connsiteY6335"/>
              </a:cxn>
              <a:cxn ang="0">
                <a:pos x="connsiteX6336" y="connsiteY6336"/>
              </a:cxn>
              <a:cxn ang="0">
                <a:pos x="connsiteX6337" y="connsiteY6337"/>
              </a:cxn>
              <a:cxn ang="0">
                <a:pos x="connsiteX6338" y="connsiteY6338"/>
              </a:cxn>
              <a:cxn ang="0">
                <a:pos x="connsiteX6339" y="connsiteY6339"/>
              </a:cxn>
              <a:cxn ang="0">
                <a:pos x="connsiteX6340" y="connsiteY6340"/>
              </a:cxn>
              <a:cxn ang="0">
                <a:pos x="connsiteX6341" y="connsiteY6341"/>
              </a:cxn>
              <a:cxn ang="0">
                <a:pos x="connsiteX6342" y="connsiteY6342"/>
              </a:cxn>
              <a:cxn ang="0">
                <a:pos x="connsiteX6343" y="connsiteY6343"/>
              </a:cxn>
              <a:cxn ang="0">
                <a:pos x="connsiteX6344" y="connsiteY6344"/>
              </a:cxn>
              <a:cxn ang="0">
                <a:pos x="connsiteX6345" y="connsiteY6345"/>
              </a:cxn>
              <a:cxn ang="0">
                <a:pos x="connsiteX6346" y="connsiteY6346"/>
              </a:cxn>
              <a:cxn ang="0">
                <a:pos x="connsiteX6347" y="connsiteY6347"/>
              </a:cxn>
              <a:cxn ang="0">
                <a:pos x="connsiteX6348" y="connsiteY6348"/>
              </a:cxn>
              <a:cxn ang="0">
                <a:pos x="connsiteX6349" y="connsiteY6349"/>
              </a:cxn>
              <a:cxn ang="0">
                <a:pos x="connsiteX6350" y="connsiteY6350"/>
              </a:cxn>
              <a:cxn ang="0">
                <a:pos x="connsiteX6351" y="connsiteY6351"/>
              </a:cxn>
              <a:cxn ang="0">
                <a:pos x="connsiteX6352" y="connsiteY6352"/>
              </a:cxn>
              <a:cxn ang="0">
                <a:pos x="connsiteX6353" y="connsiteY6353"/>
              </a:cxn>
              <a:cxn ang="0">
                <a:pos x="connsiteX6354" y="connsiteY6354"/>
              </a:cxn>
              <a:cxn ang="0">
                <a:pos x="connsiteX6355" y="connsiteY6355"/>
              </a:cxn>
              <a:cxn ang="0">
                <a:pos x="connsiteX6356" y="connsiteY6356"/>
              </a:cxn>
              <a:cxn ang="0">
                <a:pos x="connsiteX6357" y="connsiteY6357"/>
              </a:cxn>
              <a:cxn ang="0">
                <a:pos x="connsiteX6358" y="connsiteY6358"/>
              </a:cxn>
              <a:cxn ang="0">
                <a:pos x="connsiteX6359" y="connsiteY6359"/>
              </a:cxn>
              <a:cxn ang="0">
                <a:pos x="connsiteX6360" y="connsiteY6360"/>
              </a:cxn>
              <a:cxn ang="0">
                <a:pos x="connsiteX6361" y="connsiteY6361"/>
              </a:cxn>
              <a:cxn ang="0">
                <a:pos x="connsiteX6362" y="connsiteY6362"/>
              </a:cxn>
              <a:cxn ang="0">
                <a:pos x="connsiteX6363" y="connsiteY6363"/>
              </a:cxn>
              <a:cxn ang="0">
                <a:pos x="connsiteX6364" y="connsiteY6364"/>
              </a:cxn>
              <a:cxn ang="0">
                <a:pos x="connsiteX6365" y="connsiteY6365"/>
              </a:cxn>
              <a:cxn ang="0">
                <a:pos x="connsiteX6366" y="connsiteY6366"/>
              </a:cxn>
              <a:cxn ang="0">
                <a:pos x="connsiteX6367" y="connsiteY6367"/>
              </a:cxn>
              <a:cxn ang="0">
                <a:pos x="connsiteX6368" y="connsiteY6368"/>
              </a:cxn>
              <a:cxn ang="0">
                <a:pos x="connsiteX6369" y="connsiteY6369"/>
              </a:cxn>
              <a:cxn ang="0">
                <a:pos x="connsiteX6370" y="connsiteY6370"/>
              </a:cxn>
              <a:cxn ang="0">
                <a:pos x="connsiteX6371" y="connsiteY6371"/>
              </a:cxn>
              <a:cxn ang="0">
                <a:pos x="connsiteX6372" y="connsiteY6372"/>
              </a:cxn>
              <a:cxn ang="0">
                <a:pos x="connsiteX6373" y="connsiteY6373"/>
              </a:cxn>
              <a:cxn ang="0">
                <a:pos x="connsiteX6374" y="connsiteY6374"/>
              </a:cxn>
              <a:cxn ang="0">
                <a:pos x="connsiteX6375" y="connsiteY6375"/>
              </a:cxn>
              <a:cxn ang="0">
                <a:pos x="connsiteX6376" y="connsiteY6376"/>
              </a:cxn>
              <a:cxn ang="0">
                <a:pos x="connsiteX6377" y="connsiteY6377"/>
              </a:cxn>
              <a:cxn ang="0">
                <a:pos x="connsiteX6378" y="connsiteY6378"/>
              </a:cxn>
              <a:cxn ang="0">
                <a:pos x="connsiteX6379" y="connsiteY6379"/>
              </a:cxn>
              <a:cxn ang="0">
                <a:pos x="connsiteX6380" y="connsiteY6380"/>
              </a:cxn>
              <a:cxn ang="0">
                <a:pos x="connsiteX6381" y="connsiteY6381"/>
              </a:cxn>
              <a:cxn ang="0">
                <a:pos x="connsiteX6382" y="connsiteY6382"/>
              </a:cxn>
              <a:cxn ang="0">
                <a:pos x="connsiteX6383" y="connsiteY6383"/>
              </a:cxn>
              <a:cxn ang="0">
                <a:pos x="connsiteX6384" y="connsiteY6384"/>
              </a:cxn>
              <a:cxn ang="0">
                <a:pos x="connsiteX6385" y="connsiteY6385"/>
              </a:cxn>
              <a:cxn ang="0">
                <a:pos x="connsiteX6386" y="connsiteY6386"/>
              </a:cxn>
              <a:cxn ang="0">
                <a:pos x="connsiteX6387" y="connsiteY6387"/>
              </a:cxn>
              <a:cxn ang="0">
                <a:pos x="connsiteX6388" y="connsiteY6388"/>
              </a:cxn>
              <a:cxn ang="0">
                <a:pos x="connsiteX6389" y="connsiteY6389"/>
              </a:cxn>
              <a:cxn ang="0">
                <a:pos x="connsiteX6390" y="connsiteY6390"/>
              </a:cxn>
              <a:cxn ang="0">
                <a:pos x="connsiteX6391" y="connsiteY6391"/>
              </a:cxn>
              <a:cxn ang="0">
                <a:pos x="connsiteX6392" y="connsiteY6392"/>
              </a:cxn>
              <a:cxn ang="0">
                <a:pos x="connsiteX6393" y="connsiteY6393"/>
              </a:cxn>
              <a:cxn ang="0">
                <a:pos x="connsiteX6394" y="connsiteY6394"/>
              </a:cxn>
              <a:cxn ang="0">
                <a:pos x="connsiteX6395" y="connsiteY6395"/>
              </a:cxn>
              <a:cxn ang="0">
                <a:pos x="connsiteX6396" y="connsiteY6396"/>
              </a:cxn>
              <a:cxn ang="0">
                <a:pos x="connsiteX6397" y="connsiteY6397"/>
              </a:cxn>
              <a:cxn ang="0">
                <a:pos x="connsiteX6398" y="connsiteY6398"/>
              </a:cxn>
              <a:cxn ang="0">
                <a:pos x="connsiteX6399" y="connsiteY6399"/>
              </a:cxn>
              <a:cxn ang="0">
                <a:pos x="connsiteX6400" y="connsiteY6400"/>
              </a:cxn>
              <a:cxn ang="0">
                <a:pos x="connsiteX6401" y="connsiteY6401"/>
              </a:cxn>
              <a:cxn ang="0">
                <a:pos x="connsiteX6402" y="connsiteY6402"/>
              </a:cxn>
              <a:cxn ang="0">
                <a:pos x="connsiteX6403" y="connsiteY6403"/>
              </a:cxn>
              <a:cxn ang="0">
                <a:pos x="connsiteX6404" y="connsiteY6404"/>
              </a:cxn>
              <a:cxn ang="0">
                <a:pos x="connsiteX6405" y="connsiteY6405"/>
              </a:cxn>
              <a:cxn ang="0">
                <a:pos x="connsiteX6406" y="connsiteY6406"/>
              </a:cxn>
              <a:cxn ang="0">
                <a:pos x="connsiteX6407" y="connsiteY6407"/>
              </a:cxn>
              <a:cxn ang="0">
                <a:pos x="connsiteX6408" y="connsiteY6408"/>
              </a:cxn>
              <a:cxn ang="0">
                <a:pos x="connsiteX6409" y="connsiteY6409"/>
              </a:cxn>
              <a:cxn ang="0">
                <a:pos x="connsiteX6410" y="connsiteY6410"/>
              </a:cxn>
              <a:cxn ang="0">
                <a:pos x="connsiteX6411" y="connsiteY6411"/>
              </a:cxn>
              <a:cxn ang="0">
                <a:pos x="connsiteX6412" y="connsiteY6412"/>
              </a:cxn>
              <a:cxn ang="0">
                <a:pos x="connsiteX6413" y="connsiteY6413"/>
              </a:cxn>
              <a:cxn ang="0">
                <a:pos x="connsiteX6414" y="connsiteY6414"/>
              </a:cxn>
              <a:cxn ang="0">
                <a:pos x="connsiteX6415" y="connsiteY6415"/>
              </a:cxn>
              <a:cxn ang="0">
                <a:pos x="connsiteX6416" y="connsiteY6416"/>
              </a:cxn>
              <a:cxn ang="0">
                <a:pos x="connsiteX6417" y="connsiteY6417"/>
              </a:cxn>
              <a:cxn ang="0">
                <a:pos x="connsiteX6418" y="connsiteY6418"/>
              </a:cxn>
              <a:cxn ang="0">
                <a:pos x="connsiteX6419" y="connsiteY6419"/>
              </a:cxn>
              <a:cxn ang="0">
                <a:pos x="connsiteX6420" y="connsiteY6420"/>
              </a:cxn>
              <a:cxn ang="0">
                <a:pos x="connsiteX6421" y="connsiteY6421"/>
              </a:cxn>
              <a:cxn ang="0">
                <a:pos x="connsiteX6422" y="connsiteY6422"/>
              </a:cxn>
              <a:cxn ang="0">
                <a:pos x="connsiteX6423" y="connsiteY6423"/>
              </a:cxn>
              <a:cxn ang="0">
                <a:pos x="connsiteX6424" y="connsiteY6424"/>
              </a:cxn>
              <a:cxn ang="0">
                <a:pos x="connsiteX6425" y="connsiteY6425"/>
              </a:cxn>
              <a:cxn ang="0">
                <a:pos x="connsiteX6426" y="connsiteY6426"/>
              </a:cxn>
              <a:cxn ang="0">
                <a:pos x="connsiteX6427" y="connsiteY6427"/>
              </a:cxn>
              <a:cxn ang="0">
                <a:pos x="connsiteX6428" y="connsiteY6428"/>
              </a:cxn>
              <a:cxn ang="0">
                <a:pos x="connsiteX6429" y="connsiteY6429"/>
              </a:cxn>
              <a:cxn ang="0">
                <a:pos x="connsiteX6430" y="connsiteY6430"/>
              </a:cxn>
              <a:cxn ang="0">
                <a:pos x="connsiteX6431" y="connsiteY6431"/>
              </a:cxn>
              <a:cxn ang="0">
                <a:pos x="connsiteX6432" y="connsiteY6432"/>
              </a:cxn>
              <a:cxn ang="0">
                <a:pos x="connsiteX6433" y="connsiteY6433"/>
              </a:cxn>
              <a:cxn ang="0">
                <a:pos x="connsiteX6434" y="connsiteY6434"/>
              </a:cxn>
              <a:cxn ang="0">
                <a:pos x="connsiteX6435" y="connsiteY6435"/>
              </a:cxn>
              <a:cxn ang="0">
                <a:pos x="connsiteX6436" y="connsiteY6436"/>
              </a:cxn>
              <a:cxn ang="0">
                <a:pos x="connsiteX6437" y="connsiteY6437"/>
              </a:cxn>
              <a:cxn ang="0">
                <a:pos x="connsiteX6438" y="connsiteY6438"/>
              </a:cxn>
              <a:cxn ang="0">
                <a:pos x="connsiteX6439" y="connsiteY6439"/>
              </a:cxn>
              <a:cxn ang="0">
                <a:pos x="connsiteX6440" y="connsiteY6440"/>
              </a:cxn>
              <a:cxn ang="0">
                <a:pos x="connsiteX6441" y="connsiteY6441"/>
              </a:cxn>
              <a:cxn ang="0">
                <a:pos x="connsiteX6442" y="connsiteY6442"/>
              </a:cxn>
              <a:cxn ang="0">
                <a:pos x="connsiteX6443" y="connsiteY6443"/>
              </a:cxn>
              <a:cxn ang="0">
                <a:pos x="connsiteX6444" y="connsiteY6444"/>
              </a:cxn>
              <a:cxn ang="0">
                <a:pos x="connsiteX6445" y="connsiteY6445"/>
              </a:cxn>
              <a:cxn ang="0">
                <a:pos x="connsiteX6446" y="connsiteY6446"/>
              </a:cxn>
              <a:cxn ang="0">
                <a:pos x="connsiteX6447" y="connsiteY6447"/>
              </a:cxn>
              <a:cxn ang="0">
                <a:pos x="connsiteX6448" y="connsiteY6448"/>
              </a:cxn>
              <a:cxn ang="0">
                <a:pos x="connsiteX6449" y="connsiteY6449"/>
              </a:cxn>
              <a:cxn ang="0">
                <a:pos x="connsiteX6450" y="connsiteY6450"/>
              </a:cxn>
              <a:cxn ang="0">
                <a:pos x="connsiteX6451" y="connsiteY6451"/>
              </a:cxn>
              <a:cxn ang="0">
                <a:pos x="connsiteX6452" y="connsiteY6452"/>
              </a:cxn>
              <a:cxn ang="0">
                <a:pos x="connsiteX6453" y="connsiteY6453"/>
              </a:cxn>
              <a:cxn ang="0">
                <a:pos x="connsiteX6454" y="connsiteY6454"/>
              </a:cxn>
              <a:cxn ang="0">
                <a:pos x="connsiteX6455" y="connsiteY6455"/>
              </a:cxn>
              <a:cxn ang="0">
                <a:pos x="connsiteX6456" y="connsiteY6456"/>
              </a:cxn>
              <a:cxn ang="0">
                <a:pos x="connsiteX6457" y="connsiteY6457"/>
              </a:cxn>
              <a:cxn ang="0">
                <a:pos x="connsiteX6458" y="connsiteY6458"/>
              </a:cxn>
              <a:cxn ang="0">
                <a:pos x="connsiteX6459" y="connsiteY6459"/>
              </a:cxn>
              <a:cxn ang="0">
                <a:pos x="connsiteX6460" y="connsiteY6460"/>
              </a:cxn>
              <a:cxn ang="0">
                <a:pos x="connsiteX6461" y="connsiteY6461"/>
              </a:cxn>
              <a:cxn ang="0">
                <a:pos x="connsiteX6462" y="connsiteY6462"/>
              </a:cxn>
              <a:cxn ang="0">
                <a:pos x="connsiteX6463" y="connsiteY6463"/>
              </a:cxn>
              <a:cxn ang="0">
                <a:pos x="connsiteX6464" y="connsiteY6464"/>
              </a:cxn>
              <a:cxn ang="0">
                <a:pos x="connsiteX6465" y="connsiteY6465"/>
              </a:cxn>
              <a:cxn ang="0">
                <a:pos x="connsiteX6466" y="connsiteY6466"/>
              </a:cxn>
              <a:cxn ang="0">
                <a:pos x="connsiteX6467" y="connsiteY6467"/>
              </a:cxn>
              <a:cxn ang="0">
                <a:pos x="connsiteX6468" y="connsiteY6468"/>
              </a:cxn>
              <a:cxn ang="0">
                <a:pos x="connsiteX6469" y="connsiteY6469"/>
              </a:cxn>
              <a:cxn ang="0">
                <a:pos x="connsiteX6470" y="connsiteY6470"/>
              </a:cxn>
              <a:cxn ang="0">
                <a:pos x="connsiteX6471" y="connsiteY6471"/>
              </a:cxn>
              <a:cxn ang="0">
                <a:pos x="connsiteX6472" y="connsiteY6472"/>
              </a:cxn>
              <a:cxn ang="0">
                <a:pos x="connsiteX6473" y="connsiteY6473"/>
              </a:cxn>
              <a:cxn ang="0">
                <a:pos x="connsiteX6474" y="connsiteY6474"/>
              </a:cxn>
              <a:cxn ang="0">
                <a:pos x="connsiteX6475" y="connsiteY6475"/>
              </a:cxn>
              <a:cxn ang="0">
                <a:pos x="connsiteX6476" y="connsiteY6476"/>
              </a:cxn>
              <a:cxn ang="0">
                <a:pos x="connsiteX6477" y="connsiteY6477"/>
              </a:cxn>
              <a:cxn ang="0">
                <a:pos x="connsiteX6478" y="connsiteY6478"/>
              </a:cxn>
              <a:cxn ang="0">
                <a:pos x="connsiteX6479" y="connsiteY6479"/>
              </a:cxn>
              <a:cxn ang="0">
                <a:pos x="connsiteX6480" y="connsiteY6480"/>
              </a:cxn>
              <a:cxn ang="0">
                <a:pos x="connsiteX6481" y="connsiteY6481"/>
              </a:cxn>
              <a:cxn ang="0">
                <a:pos x="connsiteX6482" y="connsiteY6482"/>
              </a:cxn>
              <a:cxn ang="0">
                <a:pos x="connsiteX6483" y="connsiteY6483"/>
              </a:cxn>
              <a:cxn ang="0">
                <a:pos x="connsiteX6484" y="connsiteY6484"/>
              </a:cxn>
              <a:cxn ang="0">
                <a:pos x="connsiteX6485" y="connsiteY6485"/>
              </a:cxn>
              <a:cxn ang="0">
                <a:pos x="connsiteX6486" y="connsiteY6486"/>
              </a:cxn>
              <a:cxn ang="0">
                <a:pos x="connsiteX6487" y="connsiteY6487"/>
              </a:cxn>
              <a:cxn ang="0">
                <a:pos x="connsiteX6488" y="connsiteY6488"/>
              </a:cxn>
              <a:cxn ang="0">
                <a:pos x="connsiteX6489" y="connsiteY6489"/>
              </a:cxn>
              <a:cxn ang="0">
                <a:pos x="connsiteX6490" y="connsiteY6490"/>
              </a:cxn>
              <a:cxn ang="0">
                <a:pos x="connsiteX6491" y="connsiteY6491"/>
              </a:cxn>
              <a:cxn ang="0">
                <a:pos x="connsiteX6492" y="connsiteY6492"/>
              </a:cxn>
              <a:cxn ang="0">
                <a:pos x="connsiteX6493" y="connsiteY6493"/>
              </a:cxn>
              <a:cxn ang="0">
                <a:pos x="connsiteX6494" y="connsiteY6494"/>
              </a:cxn>
              <a:cxn ang="0">
                <a:pos x="connsiteX6495" y="connsiteY6495"/>
              </a:cxn>
              <a:cxn ang="0">
                <a:pos x="connsiteX6496" y="connsiteY6496"/>
              </a:cxn>
              <a:cxn ang="0">
                <a:pos x="connsiteX6497" y="connsiteY6497"/>
              </a:cxn>
              <a:cxn ang="0">
                <a:pos x="connsiteX6498" y="connsiteY6498"/>
              </a:cxn>
              <a:cxn ang="0">
                <a:pos x="connsiteX6499" y="connsiteY6499"/>
              </a:cxn>
              <a:cxn ang="0">
                <a:pos x="connsiteX6500" y="connsiteY6500"/>
              </a:cxn>
              <a:cxn ang="0">
                <a:pos x="connsiteX6501" y="connsiteY6501"/>
              </a:cxn>
              <a:cxn ang="0">
                <a:pos x="connsiteX6502" y="connsiteY6502"/>
              </a:cxn>
              <a:cxn ang="0">
                <a:pos x="connsiteX6503" y="connsiteY6503"/>
              </a:cxn>
              <a:cxn ang="0">
                <a:pos x="connsiteX6504" y="connsiteY6504"/>
              </a:cxn>
              <a:cxn ang="0">
                <a:pos x="connsiteX6505" y="connsiteY6505"/>
              </a:cxn>
              <a:cxn ang="0">
                <a:pos x="connsiteX6506" y="connsiteY6506"/>
              </a:cxn>
              <a:cxn ang="0">
                <a:pos x="connsiteX6507" y="connsiteY6507"/>
              </a:cxn>
              <a:cxn ang="0">
                <a:pos x="connsiteX6508" y="connsiteY6508"/>
              </a:cxn>
              <a:cxn ang="0">
                <a:pos x="connsiteX6509" y="connsiteY6509"/>
              </a:cxn>
              <a:cxn ang="0">
                <a:pos x="connsiteX6510" y="connsiteY6510"/>
              </a:cxn>
              <a:cxn ang="0">
                <a:pos x="connsiteX6511" y="connsiteY6511"/>
              </a:cxn>
              <a:cxn ang="0">
                <a:pos x="connsiteX6512" y="connsiteY6512"/>
              </a:cxn>
              <a:cxn ang="0">
                <a:pos x="connsiteX6513" y="connsiteY6513"/>
              </a:cxn>
              <a:cxn ang="0">
                <a:pos x="connsiteX6514" y="connsiteY6514"/>
              </a:cxn>
              <a:cxn ang="0">
                <a:pos x="connsiteX6515" y="connsiteY6515"/>
              </a:cxn>
              <a:cxn ang="0">
                <a:pos x="connsiteX6516" y="connsiteY6516"/>
              </a:cxn>
              <a:cxn ang="0">
                <a:pos x="connsiteX6517" y="connsiteY6517"/>
              </a:cxn>
              <a:cxn ang="0">
                <a:pos x="connsiteX6518" y="connsiteY6518"/>
              </a:cxn>
              <a:cxn ang="0">
                <a:pos x="connsiteX6519" y="connsiteY6519"/>
              </a:cxn>
              <a:cxn ang="0">
                <a:pos x="connsiteX6520" y="connsiteY6520"/>
              </a:cxn>
              <a:cxn ang="0">
                <a:pos x="connsiteX6521" y="connsiteY6521"/>
              </a:cxn>
              <a:cxn ang="0">
                <a:pos x="connsiteX6522" y="connsiteY6522"/>
              </a:cxn>
              <a:cxn ang="0">
                <a:pos x="connsiteX6523" y="connsiteY6523"/>
              </a:cxn>
              <a:cxn ang="0">
                <a:pos x="connsiteX6524" y="connsiteY6524"/>
              </a:cxn>
              <a:cxn ang="0">
                <a:pos x="connsiteX6525" y="connsiteY6525"/>
              </a:cxn>
              <a:cxn ang="0">
                <a:pos x="connsiteX6526" y="connsiteY6526"/>
              </a:cxn>
              <a:cxn ang="0">
                <a:pos x="connsiteX6527" y="connsiteY6527"/>
              </a:cxn>
              <a:cxn ang="0">
                <a:pos x="connsiteX6528" y="connsiteY6528"/>
              </a:cxn>
              <a:cxn ang="0">
                <a:pos x="connsiteX6529" y="connsiteY6529"/>
              </a:cxn>
              <a:cxn ang="0">
                <a:pos x="connsiteX6530" y="connsiteY6530"/>
              </a:cxn>
              <a:cxn ang="0">
                <a:pos x="connsiteX6531" y="connsiteY6531"/>
              </a:cxn>
              <a:cxn ang="0">
                <a:pos x="connsiteX6532" y="connsiteY6532"/>
              </a:cxn>
              <a:cxn ang="0">
                <a:pos x="connsiteX6533" y="connsiteY6533"/>
              </a:cxn>
              <a:cxn ang="0">
                <a:pos x="connsiteX6534" y="connsiteY6534"/>
              </a:cxn>
              <a:cxn ang="0">
                <a:pos x="connsiteX6535" y="connsiteY6535"/>
              </a:cxn>
              <a:cxn ang="0">
                <a:pos x="connsiteX6536" y="connsiteY6536"/>
              </a:cxn>
              <a:cxn ang="0">
                <a:pos x="connsiteX6537" y="connsiteY6537"/>
              </a:cxn>
              <a:cxn ang="0">
                <a:pos x="connsiteX6538" y="connsiteY6538"/>
              </a:cxn>
              <a:cxn ang="0">
                <a:pos x="connsiteX6539" y="connsiteY6539"/>
              </a:cxn>
              <a:cxn ang="0">
                <a:pos x="connsiteX6540" y="connsiteY6540"/>
              </a:cxn>
              <a:cxn ang="0">
                <a:pos x="connsiteX6541" y="connsiteY6541"/>
              </a:cxn>
              <a:cxn ang="0">
                <a:pos x="connsiteX6542" y="connsiteY6542"/>
              </a:cxn>
              <a:cxn ang="0">
                <a:pos x="connsiteX6543" y="connsiteY6543"/>
              </a:cxn>
              <a:cxn ang="0">
                <a:pos x="connsiteX6544" y="connsiteY6544"/>
              </a:cxn>
              <a:cxn ang="0">
                <a:pos x="connsiteX6545" y="connsiteY6545"/>
              </a:cxn>
              <a:cxn ang="0">
                <a:pos x="connsiteX6546" y="connsiteY6546"/>
              </a:cxn>
              <a:cxn ang="0">
                <a:pos x="connsiteX6547" y="connsiteY6547"/>
              </a:cxn>
              <a:cxn ang="0">
                <a:pos x="connsiteX6548" y="connsiteY6548"/>
              </a:cxn>
              <a:cxn ang="0">
                <a:pos x="connsiteX6549" y="connsiteY6549"/>
              </a:cxn>
              <a:cxn ang="0">
                <a:pos x="connsiteX6550" y="connsiteY6550"/>
              </a:cxn>
              <a:cxn ang="0">
                <a:pos x="connsiteX6551" y="connsiteY6551"/>
              </a:cxn>
              <a:cxn ang="0">
                <a:pos x="connsiteX6552" y="connsiteY6552"/>
              </a:cxn>
              <a:cxn ang="0">
                <a:pos x="connsiteX6553" y="connsiteY6553"/>
              </a:cxn>
              <a:cxn ang="0">
                <a:pos x="connsiteX6554" y="connsiteY6554"/>
              </a:cxn>
              <a:cxn ang="0">
                <a:pos x="connsiteX6555" y="connsiteY6555"/>
              </a:cxn>
              <a:cxn ang="0">
                <a:pos x="connsiteX6556" y="connsiteY6556"/>
              </a:cxn>
              <a:cxn ang="0">
                <a:pos x="connsiteX6557" y="connsiteY6557"/>
              </a:cxn>
              <a:cxn ang="0">
                <a:pos x="connsiteX6558" y="connsiteY6558"/>
              </a:cxn>
              <a:cxn ang="0">
                <a:pos x="connsiteX6559" y="connsiteY6559"/>
              </a:cxn>
              <a:cxn ang="0">
                <a:pos x="connsiteX6560" y="connsiteY6560"/>
              </a:cxn>
              <a:cxn ang="0">
                <a:pos x="connsiteX6561" y="connsiteY6561"/>
              </a:cxn>
              <a:cxn ang="0">
                <a:pos x="connsiteX6562" y="connsiteY6562"/>
              </a:cxn>
              <a:cxn ang="0">
                <a:pos x="connsiteX6563" y="connsiteY6563"/>
              </a:cxn>
              <a:cxn ang="0">
                <a:pos x="connsiteX6564" y="connsiteY6564"/>
              </a:cxn>
              <a:cxn ang="0">
                <a:pos x="connsiteX6565" y="connsiteY6565"/>
              </a:cxn>
              <a:cxn ang="0">
                <a:pos x="connsiteX6566" y="connsiteY6566"/>
              </a:cxn>
              <a:cxn ang="0">
                <a:pos x="connsiteX6567" y="connsiteY6567"/>
              </a:cxn>
              <a:cxn ang="0">
                <a:pos x="connsiteX6568" y="connsiteY6568"/>
              </a:cxn>
              <a:cxn ang="0">
                <a:pos x="connsiteX6569" y="connsiteY6569"/>
              </a:cxn>
              <a:cxn ang="0">
                <a:pos x="connsiteX6570" y="connsiteY6570"/>
              </a:cxn>
              <a:cxn ang="0">
                <a:pos x="connsiteX6571" y="connsiteY6571"/>
              </a:cxn>
              <a:cxn ang="0">
                <a:pos x="connsiteX6572" y="connsiteY6572"/>
              </a:cxn>
              <a:cxn ang="0">
                <a:pos x="connsiteX6573" y="connsiteY6573"/>
              </a:cxn>
              <a:cxn ang="0">
                <a:pos x="connsiteX6574" y="connsiteY6574"/>
              </a:cxn>
              <a:cxn ang="0">
                <a:pos x="connsiteX6575" y="connsiteY6575"/>
              </a:cxn>
              <a:cxn ang="0">
                <a:pos x="connsiteX6576" y="connsiteY6576"/>
              </a:cxn>
              <a:cxn ang="0">
                <a:pos x="connsiteX6577" y="connsiteY6577"/>
              </a:cxn>
              <a:cxn ang="0">
                <a:pos x="connsiteX6578" y="connsiteY6578"/>
              </a:cxn>
              <a:cxn ang="0">
                <a:pos x="connsiteX6579" y="connsiteY6579"/>
              </a:cxn>
              <a:cxn ang="0">
                <a:pos x="connsiteX6580" y="connsiteY6580"/>
              </a:cxn>
              <a:cxn ang="0">
                <a:pos x="connsiteX6581" y="connsiteY6581"/>
              </a:cxn>
              <a:cxn ang="0">
                <a:pos x="connsiteX6582" y="connsiteY6582"/>
              </a:cxn>
              <a:cxn ang="0">
                <a:pos x="connsiteX6583" y="connsiteY6583"/>
              </a:cxn>
              <a:cxn ang="0">
                <a:pos x="connsiteX6584" y="connsiteY6584"/>
              </a:cxn>
              <a:cxn ang="0">
                <a:pos x="connsiteX6585" y="connsiteY6585"/>
              </a:cxn>
              <a:cxn ang="0">
                <a:pos x="connsiteX6586" y="connsiteY6586"/>
              </a:cxn>
              <a:cxn ang="0">
                <a:pos x="connsiteX6587" y="connsiteY6587"/>
              </a:cxn>
              <a:cxn ang="0">
                <a:pos x="connsiteX6588" y="connsiteY6588"/>
              </a:cxn>
              <a:cxn ang="0">
                <a:pos x="connsiteX6589" y="connsiteY6589"/>
              </a:cxn>
              <a:cxn ang="0">
                <a:pos x="connsiteX6590" y="connsiteY6590"/>
              </a:cxn>
              <a:cxn ang="0">
                <a:pos x="connsiteX6591" y="connsiteY6591"/>
              </a:cxn>
              <a:cxn ang="0">
                <a:pos x="connsiteX6592" y="connsiteY6592"/>
              </a:cxn>
              <a:cxn ang="0">
                <a:pos x="connsiteX6593" y="connsiteY6593"/>
              </a:cxn>
              <a:cxn ang="0">
                <a:pos x="connsiteX6594" y="connsiteY6594"/>
              </a:cxn>
              <a:cxn ang="0">
                <a:pos x="connsiteX6595" y="connsiteY6595"/>
              </a:cxn>
              <a:cxn ang="0">
                <a:pos x="connsiteX6596" y="connsiteY6596"/>
              </a:cxn>
              <a:cxn ang="0">
                <a:pos x="connsiteX6597" y="connsiteY6597"/>
              </a:cxn>
              <a:cxn ang="0">
                <a:pos x="connsiteX6598" y="connsiteY6598"/>
              </a:cxn>
              <a:cxn ang="0">
                <a:pos x="connsiteX6599" y="connsiteY6599"/>
              </a:cxn>
              <a:cxn ang="0">
                <a:pos x="connsiteX6600" y="connsiteY6600"/>
              </a:cxn>
              <a:cxn ang="0">
                <a:pos x="connsiteX6601" y="connsiteY6601"/>
              </a:cxn>
              <a:cxn ang="0">
                <a:pos x="connsiteX6602" y="connsiteY6602"/>
              </a:cxn>
              <a:cxn ang="0">
                <a:pos x="connsiteX6603" y="connsiteY6603"/>
              </a:cxn>
              <a:cxn ang="0">
                <a:pos x="connsiteX6604" y="connsiteY6604"/>
              </a:cxn>
              <a:cxn ang="0">
                <a:pos x="connsiteX6605" y="connsiteY6605"/>
              </a:cxn>
              <a:cxn ang="0">
                <a:pos x="connsiteX6606" y="connsiteY6606"/>
              </a:cxn>
              <a:cxn ang="0">
                <a:pos x="connsiteX6607" y="connsiteY6607"/>
              </a:cxn>
              <a:cxn ang="0">
                <a:pos x="connsiteX6608" y="connsiteY6608"/>
              </a:cxn>
              <a:cxn ang="0">
                <a:pos x="connsiteX6609" y="connsiteY6609"/>
              </a:cxn>
              <a:cxn ang="0">
                <a:pos x="connsiteX6610" y="connsiteY6610"/>
              </a:cxn>
              <a:cxn ang="0">
                <a:pos x="connsiteX6611" y="connsiteY6611"/>
              </a:cxn>
              <a:cxn ang="0">
                <a:pos x="connsiteX6612" y="connsiteY6612"/>
              </a:cxn>
              <a:cxn ang="0">
                <a:pos x="connsiteX6613" y="connsiteY6613"/>
              </a:cxn>
              <a:cxn ang="0">
                <a:pos x="connsiteX6614" y="connsiteY6614"/>
              </a:cxn>
              <a:cxn ang="0">
                <a:pos x="connsiteX6615" y="connsiteY6615"/>
              </a:cxn>
              <a:cxn ang="0">
                <a:pos x="connsiteX6616" y="connsiteY6616"/>
              </a:cxn>
              <a:cxn ang="0">
                <a:pos x="connsiteX6617" y="connsiteY6617"/>
              </a:cxn>
              <a:cxn ang="0">
                <a:pos x="connsiteX6618" y="connsiteY6618"/>
              </a:cxn>
              <a:cxn ang="0">
                <a:pos x="connsiteX6619" y="connsiteY6619"/>
              </a:cxn>
              <a:cxn ang="0">
                <a:pos x="connsiteX6620" y="connsiteY6620"/>
              </a:cxn>
              <a:cxn ang="0">
                <a:pos x="connsiteX6621" y="connsiteY6621"/>
              </a:cxn>
              <a:cxn ang="0">
                <a:pos x="connsiteX6622" y="connsiteY6622"/>
              </a:cxn>
              <a:cxn ang="0">
                <a:pos x="connsiteX6623" y="connsiteY6623"/>
              </a:cxn>
              <a:cxn ang="0">
                <a:pos x="connsiteX6624" y="connsiteY6624"/>
              </a:cxn>
              <a:cxn ang="0">
                <a:pos x="connsiteX6625" y="connsiteY6625"/>
              </a:cxn>
              <a:cxn ang="0">
                <a:pos x="connsiteX6626" y="connsiteY6626"/>
              </a:cxn>
              <a:cxn ang="0">
                <a:pos x="connsiteX6627" y="connsiteY6627"/>
              </a:cxn>
              <a:cxn ang="0">
                <a:pos x="connsiteX6628" y="connsiteY6628"/>
              </a:cxn>
              <a:cxn ang="0">
                <a:pos x="connsiteX6629" y="connsiteY6629"/>
              </a:cxn>
              <a:cxn ang="0">
                <a:pos x="connsiteX6630" y="connsiteY6630"/>
              </a:cxn>
              <a:cxn ang="0">
                <a:pos x="connsiteX6631" y="connsiteY6631"/>
              </a:cxn>
              <a:cxn ang="0">
                <a:pos x="connsiteX6632" y="connsiteY6632"/>
              </a:cxn>
              <a:cxn ang="0">
                <a:pos x="connsiteX6633" y="connsiteY6633"/>
              </a:cxn>
              <a:cxn ang="0">
                <a:pos x="connsiteX6634" y="connsiteY6634"/>
              </a:cxn>
              <a:cxn ang="0">
                <a:pos x="connsiteX6635" y="connsiteY6635"/>
              </a:cxn>
              <a:cxn ang="0">
                <a:pos x="connsiteX6636" y="connsiteY6636"/>
              </a:cxn>
              <a:cxn ang="0">
                <a:pos x="connsiteX6637" y="connsiteY6637"/>
              </a:cxn>
              <a:cxn ang="0">
                <a:pos x="connsiteX6638" y="connsiteY6638"/>
              </a:cxn>
              <a:cxn ang="0">
                <a:pos x="connsiteX6639" y="connsiteY6639"/>
              </a:cxn>
              <a:cxn ang="0">
                <a:pos x="connsiteX6640" y="connsiteY6640"/>
              </a:cxn>
              <a:cxn ang="0">
                <a:pos x="connsiteX6641" y="connsiteY6641"/>
              </a:cxn>
              <a:cxn ang="0">
                <a:pos x="connsiteX6642" y="connsiteY6642"/>
              </a:cxn>
              <a:cxn ang="0">
                <a:pos x="connsiteX6643" y="connsiteY6643"/>
              </a:cxn>
              <a:cxn ang="0">
                <a:pos x="connsiteX6644" y="connsiteY6644"/>
              </a:cxn>
              <a:cxn ang="0">
                <a:pos x="connsiteX6645" y="connsiteY6645"/>
              </a:cxn>
              <a:cxn ang="0">
                <a:pos x="connsiteX6646" y="connsiteY6646"/>
              </a:cxn>
              <a:cxn ang="0">
                <a:pos x="connsiteX6647" y="connsiteY6647"/>
              </a:cxn>
              <a:cxn ang="0">
                <a:pos x="connsiteX6648" y="connsiteY6648"/>
              </a:cxn>
              <a:cxn ang="0">
                <a:pos x="connsiteX6649" y="connsiteY6649"/>
              </a:cxn>
              <a:cxn ang="0">
                <a:pos x="connsiteX6650" y="connsiteY6650"/>
              </a:cxn>
              <a:cxn ang="0">
                <a:pos x="connsiteX6651" y="connsiteY6651"/>
              </a:cxn>
              <a:cxn ang="0">
                <a:pos x="connsiteX6652" y="connsiteY6652"/>
              </a:cxn>
              <a:cxn ang="0">
                <a:pos x="connsiteX6653" y="connsiteY6653"/>
              </a:cxn>
              <a:cxn ang="0">
                <a:pos x="connsiteX6654" y="connsiteY6654"/>
              </a:cxn>
              <a:cxn ang="0">
                <a:pos x="connsiteX6655" y="connsiteY6655"/>
              </a:cxn>
              <a:cxn ang="0">
                <a:pos x="connsiteX6656" y="connsiteY6656"/>
              </a:cxn>
              <a:cxn ang="0">
                <a:pos x="connsiteX6657" y="connsiteY6657"/>
              </a:cxn>
              <a:cxn ang="0">
                <a:pos x="connsiteX6658" y="connsiteY6658"/>
              </a:cxn>
              <a:cxn ang="0">
                <a:pos x="connsiteX6659" y="connsiteY6659"/>
              </a:cxn>
              <a:cxn ang="0">
                <a:pos x="connsiteX6660" y="connsiteY6660"/>
              </a:cxn>
              <a:cxn ang="0">
                <a:pos x="connsiteX6661" y="connsiteY6661"/>
              </a:cxn>
              <a:cxn ang="0">
                <a:pos x="connsiteX6662" y="connsiteY6662"/>
              </a:cxn>
              <a:cxn ang="0">
                <a:pos x="connsiteX6663" y="connsiteY6663"/>
              </a:cxn>
              <a:cxn ang="0">
                <a:pos x="connsiteX6664" y="connsiteY6664"/>
              </a:cxn>
              <a:cxn ang="0">
                <a:pos x="connsiteX6665" y="connsiteY6665"/>
              </a:cxn>
              <a:cxn ang="0">
                <a:pos x="connsiteX6666" y="connsiteY6666"/>
              </a:cxn>
              <a:cxn ang="0">
                <a:pos x="connsiteX6667" y="connsiteY6667"/>
              </a:cxn>
              <a:cxn ang="0">
                <a:pos x="connsiteX6668" y="connsiteY6668"/>
              </a:cxn>
              <a:cxn ang="0">
                <a:pos x="connsiteX6669" y="connsiteY6669"/>
              </a:cxn>
              <a:cxn ang="0">
                <a:pos x="connsiteX6670" y="connsiteY6670"/>
              </a:cxn>
              <a:cxn ang="0">
                <a:pos x="connsiteX6671" y="connsiteY6671"/>
              </a:cxn>
              <a:cxn ang="0">
                <a:pos x="connsiteX6672" y="connsiteY6672"/>
              </a:cxn>
              <a:cxn ang="0">
                <a:pos x="connsiteX6673" y="connsiteY6673"/>
              </a:cxn>
              <a:cxn ang="0">
                <a:pos x="connsiteX6674" y="connsiteY6674"/>
              </a:cxn>
              <a:cxn ang="0">
                <a:pos x="connsiteX6675" y="connsiteY6675"/>
              </a:cxn>
              <a:cxn ang="0">
                <a:pos x="connsiteX6676" y="connsiteY6676"/>
              </a:cxn>
              <a:cxn ang="0">
                <a:pos x="connsiteX6677" y="connsiteY6677"/>
              </a:cxn>
              <a:cxn ang="0">
                <a:pos x="connsiteX6678" y="connsiteY6678"/>
              </a:cxn>
              <a:cxn ang="0">
                <a:pos x="connsiteX6679" y="connsiteY6679"/>
              </a:cxn>
              <a:cxn ang="0">
                <a:pos x="connsiteX6680" y="connsiteY6680"/>
              </a:cxn>
              <a:cxn ang="0">
                <a:pos x="connsiteX6681" y="connsiteY6681"/>
              </a:cxn>
              <a:cxn ang="0">
                <a:pos x="connsiteX6682" y="connsiteY6682"/>
              </a:cxn>
              <a:cxn ang="0">
                <a:pos x="connsiteX6683" y="connsiteY6683"/>
              </a:cxn>
              <a:cxn ang="0">
                <a:pos x="connsiteX6684" y="connsiteY6684"/>
              </a:cxn>
              <a:cxn ang="0">
                <a:pos x="connsiteX6685" y="connsiteY6685"/>
              </a:cxn>
              <a:cxn ang="0">
                <a:pos x="connsiteX6686" y="connsiteY6686"/>
              </a:cxn>
              <a:cxn ang="0">
                <a:pos x="connsiteX6687" y="connsiteY6687"/>
              </a:cxn>
              <a:cxn ang="0">
                <a:pos x="connsiteX6688" y="connsiteY6688"/>
              </a:cxn>
              <a:cxn ang="0">
                <a:pos x="connsiteX6689" y="connsiteY6689"/>
              </a:cxn>
              <a:cxn ang="0">
                <a:pos x="connsiteX6690" y="connsiteY6690"/>
              </a:cxn>
              <a:cxn ang="0">
                <a:pos x="connsiteX6691" y="connsiteY6691"/>
              </a:cxn>
              <a:cxn ang="0">
                <a:pos x="connsiteX6692" y="connsiteY6692"/>
              </a:cxn>
              <a:cxn ang="0">
                <a:pos x="connsiteX6693" y="connsiteY6693"/>
              </a:cxn>
              <a:cxn ang="0">
                <a:pos x="connsiteX6694" y="connsiteY6694"/>
              </a:cxn>
              <a:cxn ang="0">
                <a:pos x="connsiteX6695" y="connsiteY6695"/>
              </a:cxn>
              <a:cxn ang="0">
                <a:pos x="connsiteX6696" y="connsiteY6696"/>
              </a:cxn>
              <a:cxn ang="0">
                <a:pos x="connsiteX6697" y="connsiteY6697"/>
              </a:cxn>
              <a:cxn ang="0">
                <a:pos x="connsiteX6698" y="connsiteY6698"/>
              </a:cxn>
              <a:cxn ang="0">
                <a:pos x="connsiteX6699" y="connsiteY6699"/>
              </a:cxn>
              <a:cxn ang="0">
                <a:pos x="connsiteX6700" y="connsiteY6700"/>
              </a:cxn>
              <a:cxn ang="0">
                <a:pos x="connsiteX6701" y="connsiteY6701"/>
              </a:cxn>
              <a:cxn ang="0">
                <a:pos x="connsiteX6702" y="connsiteY6702"/>
              </a:cxn>
              <a:cxn ang="0">
                <a:pos x="connsiteX6703" y="connsiteY6703"/>
              </a:cxn>
              <a:cxn ang="0">
                <a:pos x="connsiteX6704" y="connsiteY6704"/>
              </a:cxn>
              <a:cxn ang="0">
                <a:pos x="connsiteX6705" y="connsiteY6705"/>
              </a:cxn>
              <a:cxn ang="0">
                <a:pos x="connsiteX6706" y="connsiteY6706"/>
              </a:cxn>
              <a:cxn ang="0">
                <a:pos x="connsiteX6707" y="connsiteY6707"/>
              </a:cxn>
              <a:cxn ang="0">
                <a:pos x="connsiteX6708" y="connsiteY6708"/>
              </a:cxn>
              <a:cxn ang="0">
                <a:pos x="connsiteX6709" y="connsiteY6709"/>
              </a:cxn>
              <a:cxn ang="0">
                <a:pos x="connsiteX6710" y="connsiteY6710"/>
              </a:cxn>
              <a:cxn ang="0">
                <a:pos x="connsiteX6711" y="connsiteY6711"/>
              </a:cxn>
              <a:cxn ang="0">
                <a:pos x="connsiteX6712" y="connsiteY6712"/>
              </a:cxn>
              <a:cxn ang="0">
                <a:pos x="connsiteX6713" y="connsiteY6713"/>
              </a:cxn>
              <a:cxn ang="0">
                <a:pos x="connsiteX6714" y="connsiteY6714"/>
              </a:cxn>
              <a:cxn ang="0">
                <a:pos x="connsiteX6715" y="connsiteY6715"/>
              </a:cxn>
              <a:cxn ang="0">
                <a:pos x="connsiteX6716" y="connsiteY6716"/>
              </a:cxn>
              <a:cxn ang="0">
                <a:pos x="connsiteX6717" y="connsiteY6717"/>
              </a:cxn>
              <a:cxn ang="0">
                <a:pos x="connsiteX6718" y="connsiteY6718"/>
              </a:cxn>
              <a:cxn ang="0">
                <a:pos x="connsiteX6719" y="connsiteY6719"/>
              </a:cxn>
              <a:cxn ang="0">
                <a:pos x="connsiteX6720" y="connsiteY6720"/>
              </a:cxn>
              <a:cxn ang="0">
                <a:pos x="connsiteX6721" y="connsiteY6721"/>
              </a:cxn>
              <a:cxn ang="0">
                <a:pos x="connsiteX6722" y="connsiteY6722"/>
              </a:cxn>
              <a:cxn ang="0">
                <a:pos x="connsiteX6723" y="connsiteY6723"/>
              </a:cxn>
              <a:cxn ang="0">
                <a:pos x="connsiteX6724" y="connsiteY6724"/>
              </a:cxn>
              <a:cxn ang="0">
                <a:pos x="connsiteX6725" y="connsiteY6725"/>
              </a:cxn>
              <a:cxn ang="0">
                <a:pos x="connsiteX6726" y="connsiteY6726"/>
              </a:cxn>
              <a:cxn ang="0">
                <a:pos x="connsiteX6727" y="connsiteY6727"/>
              </a:cxn>
              <a:cxn ang="0">
                <a:pos x="connsiteX6728" y="connsiteY6728"/>
              </a:cxn>
              <a:cxn ang="0">
                <a:pos x="connsiteX6729" y="connsiteY6729"/>
              </a:cxn>
              <a:cxn ang="0">
                <a:pos x="connsiteX6730" y="connsiteY6730"/>
              </a:cxn>
              <a:cxn ang="0">
                <a:pos x="connsiteX6731" y="connsiteY6731"/>
              </a:cxn>
              <a:cxn ang="0">
                <a:pos x="connsiteX6732" y="connsiteY6732"/>
              </a:cxn>
              <a:cxn ang="0">
                <a:pos x="connsiteX6733" y="connsiteY6733"/>
              </a:cxn>
              <a:cxn ang="0">
                <a:pos x="connsiteX6734" y="connsiteY6734"/>
              </a:cxn>
              <a:cxn ang="0">
                <a:pos x="connsiteX6735" y="connsiteY6735"/>
              </a:cxn>
              <a:cxn ang="0">
                <a:pos x="connsiteX6736" y="connsiteY6736"/>
              </a:cxn>
              <a:cxn ang="0">
                <a:pos x="connsiteX6737" y="connsiteY6737"/>
              </a:cxn>
              <a:cxn ang="0">
                <a:pos x="connsiteX6738" y="connsiteY6738"/>
              </a:cxn>
              <a:cxn ang="0">
                <a:pos x="connsiteX6739" y="connsiteY6739"/>
              </a:cxn>
              <a:cxn ang="0">
                <a:pos x="connsiteX6740" y="connsiteY6740"/>
              </a:cxn>
              <a:cxn ang="0">
                <a:pos x="connsiteX6741" y="connsiteY6741"/>
              </a:cxn>
              <a:cxn ang="0">
                <a:pos x="connsiteX6742" y="connsiteY6742"/>
              </a:cxn>
              <a:cxn ang="0">
                <a:pos x="connsiteX6743" y="connsiteY6743"/>
              </a:cxn>
              <a:cxn ang="0">
                <a:pos x="connsiteX6744" y="connsiteY6744"/>
              </a:cxn>
              <a:cxn ang="0">
                <a:pos x="connsiteX6745" y="connsiteY6745"/>
              </a:cxn>
              <a:cxn ang="0">
                <a:pos x="connsiteX6746" y="connsiteY6746"/>
              </a:cxn>
              <a:cxn ang="0">
                <a:pos x="connsiteX6747" y="connsiteY6747"/>
              </a:cxn>
              <a:cxn ang="0">
                <a:pos x="connsiteX6748" y="connsiteY6748"/>
              </a:cxn>
              <a:cxn ang="0">
                <a:pos x="connsiteX6749" y="connsiteY6749"/>
              </a:cxn>
              <a:cxn ang="0">
                <a:pos x="connsiteX6750" y="connsiteY6750"/>
              </a:cxn>
              <a:cxn ang="0">
                <a:pos x="connsiteX6751" y="connsiteY6751"/>
              </a:cxn>
              <a:cxn ang="0">
                <a:pos x="connsiteX6752" y="connsiteY6752"/>
              </a:cxn>
              <a:cxn ang="0">
                <a:pos x="connsiteX6753" y="connsiteY6753"/>
              </a:cxn>
              <a:cxn ang="0">
                <a:pos x="connsiteX6754" y="connsiteY6754"/>
              </a:cxn>
              <a:cxn ang="0">
                <a:pos x="connsiteX6755" y="connsiteY6755"/>
              </a:cxn>
              <a:cxn ang="0">
                <a:pos x="connsiteX6756" y="connsiteY6756"/>
              </a:cxn>
              <a:cxn ang="0">
                <a:pos x="connsiteX6757" y="connsiteY6757"/>
              </a:cxn>
              <a:cxn ang="0">
                <a:pos x="connsiteX6758" y="connsiteY6758"/>
              </a:cxn>
              <a:cxn ang="0">
                <a:pos x="connsiteX6759" y="connsiteY6759"/>
              </a:cxn>
              <a:cxn ang="0">
                <a:pos x="connsiteX6760" y="connsiteY6760"/>
              </a:cxn>
              <a:cxn ang="0">
                <a:pos x="connsiteX6761" y="connsiteY6761"/>
              </a:cxn>
              <a:cxn ang="0">
                <a:pos x="connsiteX6762" y="connsiteY6762"/>
              </a:cxn>
              <a:cxn ang="0">
                <a:pos x="connsiteX6763" y="connsiteY6763"/>
              </a:cxn>
              <a:cxn ang="0">
                <a:pos x="connsiteX6764" y="connsiteY6764"/>
              </a:cxn>
              <a:cxn ang="0">
                <a:pos x="connsiteX6765" y="connsiteY6765"/>
              </a:cxn>
              <a:cxn ang="0">
                <a:pos x="connsiteX6766" y="connsiteY6766"/>
              </a:cxn>
              <a:cxn ang="0">
                <a:pos x="connsiteX6767" y="connsiteY6767"/>
              </a:cxn>
              <a:cxn ang="0">
                <a:pos x="connsiteX6768" y="connsiteY6768"/>
              </a:cxn>
              <a:cxn ang="0">
                <a:pos x="connsiteX6769" y="connsiteY6769"/>
              </a:cxn>
              <a:cxn ang="0">
                <a:pos x="connsiteX6770" y="connsiteY6770"/>
              </a:cxn>
              <a:cxn ang="0">
                <a:pos x="connsiteX6771" y="connsiteY6771"/>
              </a:cxn>
              <a:cxn ang="0">
                <a:pos x="connsiteX6772" y="connsiteY6772"/>
              </a:cxn>
              <a:cxn ang="0">
                <a:pos x="connsiteX6773" y="connsiteY6773"/>
              </a:cxn>
              <a:cxn ang="0">
                <a:pos x="connsiteX6774" y="connsiteY6774"/>
              </a:cxn>
              <a:cxn ang="0">
                <a:pos x="connsiteX6775" y="connsiteY6775"/>
              </a:cxn>
              <a:cxn ang="0">
                <a:pos x="connsiteX6776" y="connsiteY6776"/>
              </a:cxn>
              <a:cxn ang="0">
                <a:pos x="connsiteX6777" y="connsiteY6777"/>
              </a:cxn>
              <a:cxn ang="0">
                <a:pos x="connsiteX6778" y="connsiteY6778"/>
              </a:cxn>
              <a:cxn ang="0">
                <a:pos x="connsiteX6779" y="connsiteY6779"/>
              </a:cxn>
              <a:cxn ang="0">
                <a:pos x="connsiteX6780" y="connsiteY6780"/>
              </a:cxn>
              <a:cxn ang="0">
                <a:pos x="connsiteX6781" y="connsiteY6781"/>
              </a:cxn>
              <a:cxn ang="0">
                <a:pos x="connsiteX6782" y="connsiteY6782"/>
              </a:cxn>
              <a:cxn ang="0">
                <a:pos x="connsiteX6783" y="connsiteY6783"/>
              </a:cxn>
              <a:cxn ang="0">
                <a:pos x="connsiteX6784" y="connsiteY6784"/>
              </a:cxn>
              <a:cxn ang="0">
                <a:pos x="connsiteX6785" y="connsiteY6785"/>
              </a:cxn>
              <a:cxn ang="0">
                <a:pos x="connsiteX6786" y="connsiteY6786"/>
              </a:cxn>
              <a:cxn ang="0">
                <a:pos x="connsiteX6787" y="connsiteY6787"/>
              </a:cxn>
              <a:cxn ang="0">
                <a:pos x="connsiteX6788" y="connsiteY6788"/>
              </a:cxn>
              <a:cxn ang="0">
                <a:pos x="connsiteX6789" y="connsiteY6789"/>
              </a:cxn>
              <a:cxn ang="0">
                <a:pos x="connsiteX6790" y="connsiteY6790"/>
              </a:cxn>
              <a:cxn ang="0">
                <a:pos x="connsiteX6791" y="connsiteY6791"/>
              </a:cxn>
              <a:cxn ang="0">
                <a:pos x="connsiteX6792" y="connsiteY6792"/>
              </a:cxn>
              <a:cxn ang="0">
                <a:pos x="connsiteX6793" y="connsiteY6793"/>
              </a:cxn>
              <a:cxn ang="0">
                <a:pos x="connsiteX6794" y="connsiteY6794"/>
              </a:cxn>
              <a:cxn ang="0">
                <a:pos x="connsiteX6795" y="connsiteY6795"/>
              </a:cxn>
              <a:cxn ang="0">
                <a:pos x="connsiteX6796" y="connsiteY6796"/>
              </a:cxn>
              <a:cxn ang="0">
                <a:pos x="connsiteX6797" y="connsiteY6797"/>
              </a:cxn>
              <a:cxn ang="0">
                <a:pos x="connsiteX6798" y="connsiteY6798"/>
              </a:cxn>
              <a:cxn ang="0">
                <a:pos x="connsiteX6799" y="connsiteY6799"/>
              </a:cxn>
              <a:cxn ang="0">
                <a:pos x="connsiteX6800" y="connsiteY6800"/>
              </a:cxn>
              <a:cxn ang="0">
                <a:pos x="connsiteX6801" y="connsiteY6801"/>
              </a:cxn>
              <a:cxn ang="0">
                <a:pos x="connsiteX6802" y="connsiteY6802"/>
              </a:cxn>
              <a:cxn ang="0">
                <a:pos x="connsiteX6803" y="connsiteY6803"/>
              </a:cxn>
              <a:cxn ang="0">
                <a:pos x="connsiteX6804" y="connsiteY6804"/>
              </a:cxn>
              <a:cxn ang="0">
                <a:pos x="connsiteX6805" y="connsiteY6805"/>
              </a:cxn>
              <a:cxn ang="0">
                <a:pos x="connsiteX6806" y="connsiteY6806"/>
              </a:cxn>
              <a:cxn ang="0">
                <a:pos x="connsiteX6807" y="connsiteY6807"/>
              </a:cxn>
              <a:cxn ang="0">
                <a:pos x="connsiteX6808" y="connsiteY6808"/>
              </a:cxn>
              <a:cxn ang="0">
                <a:pos x="connsiteX6809" y="connsiteY6809"/>
              </a:cxn>
              <a:cxn ang="0">
                <a:pos x="connsiteX6810" y="connsiteY6810"/>
              </a:cxn>
              <a:cxn ang="0">
                <a:pos x="connsiteX6811" y="connsiteY6811"/>
              </a:cxn>
              <a:cxn ang="0">
                <a:pos x="connsiteX6812" y="connsiteY6812"/>
              </a:cxn>
              <a:cxn ang="0">
                <a:pos x="connsiteX6813" y="connsiteY6813"/>
              </a:cxn>
              <a:cxn ang="0">
                <a:pos x="connsiteX6814" y="connsiteY6814"/>
              </a:cxn>
              <a:cxn ang="0">
                <a:pos x="connsiteX6815" y="connsiteY6815"/>
              </a:cxn>
              <a:cxn ang="0">
                <a:pos x="connsiteX6816" y="connsiteY6816"/>
              </a:cxn>
              <a:cxn ang="0">
                <a:pos x="connsiteX6817" y="connsiteY6817"/>
              </a:cxn>
              <a:cxn ang="0">
                <a:pos x="connsiteX6818" y="connsiteY6818"/>
              </a:cxn>
              <a:cxn ang="0">
                <a:pos x="connsiteX6819" y="connsiteY6819"/>
              </a:cxn>
              <a:cxn ang="0">
                <a:pos x="connsiteX6820" y="connsiteY6820"/>
              </a:cxn>
              <a:cxn ang="0">
                <a:pos x="connsiteX6821" y="connsiteY6821"/>
              </a:cxn>
              <a:cxn ang="0">
                <a:pos x="connsiteX6822" y="connsiteY6822"/>
              </a:cxn>
              <a:cxn ang="0">
                <a:pos x="connsiteX6823" y="connsiteY6823"/>
              </a:cxn>
              <a:cxn ang="0">
                <a:pos x="connsiteX6824" y="connsiteY6824"/>
              </a:cxn>
              <a:cxn ang="0">
                <a:pos x="connsiteX6825" y="connsiteY6825"/>
              </a:cxn>
              <a:cxn ang="0">
                <a:pos x="connsiteX6826" y="connsiteY6826"/>
              </a:cxn>
              <a:cxn ang="0">
                <a:pos x="connsiteX6827" y="connsiteY6827"/>
              </a:cxn>
              <a:cxn ang="0">
                <a:pos x="connsiteX6828" y="connsiteY6828"/>
              </a:cxn>
              <a:cxn ang="0">
                <a:pos x="connsiteX6829" y="connsiteY6829"/>
              </a:cxn>
              <a:cxn ang="0">
                <a:pos x="connsiteX6830" y="connsiteY6830"/>
              </a:cxn>
              <a:cxn ang="0">
                <a:pos x="connsiteX6831" y="connsiteY6831"/>
              </a:cxn>
              <a:cxn ang="0">
                <a:pos x="connsiteX6832" y="connsiteY6832"/>
              </a:cxn>
              <a:cxn ang="0">
                <a:pos x="connsiteX6833" y="connsiteY6833"/>
              </a:cxn>
              <a:cxn ang="0">
                <a:pos x="connsiteX6834" y="connsiteY6834"/>
              </a:cxn>
              <a:cxn ang="0">
                <a:pos x="connsiteX6835" y="connsiteY6835"/>
              </a:cxn>
              <a:cxn ang="0">
                <a:pos x="connsiteX6836" y="connsiteY6836"/>
              </a:cxn>
              <a:cxn ang="0">
                <a:pos x="connsiteX6837" y="connsiteY6837"/>
              </a:cxn>
              <a:cxn ang="0">
                <a:pos x="connsiteX6838" y="connsiteY6838"/>
              </a:cxn>
              <a:cxn ang="0">
                <a:pos x="connsiteX6839" y="connsiteY6839"/>
              </a:cxn>
              <a:cxn ang="0">
                <a:pos x="connsiteX6840" y="connsiteY6840"/>
              </a:cxn>
              <a:cxn ang="0">
                <a:pos x="connsiteX6841" y="connsiteY6841"/>
              </a:cxn>
              <a:cxn ang="0">
                <a:pos x="connsiteX6842" y="connsiteY6842"/>
              </a:cxn>
              <a:cxn ang="0">
                <a:pos x="connsiteX6843" y="connsiteY6843"/>
              </a:cxn>
              <a:cxn ang="0">
                <a:pos x="connsiteX6844" y="connsiteY6844"/>
              </a:cxn>
              <a:cxn ang="0">
                <a:pos x="connsiteX6845" y="connsiteY6845"/>
              </a:cxn>
              <a:cxn ang="0">
                <a:pos x="connsiteX6846" y="connsiteY6846"/>
              </a:cxn>
              <a:cxn ang="0">
                <a:pos x="connsiteX6847" y="connsiteY6847"/>
              </a:cxn>
              <a:cxn ang="0">
                <a:pos x="connsiteX6848" y="connsiteY6848"/>
              </a:cxn>
              <a:cxn ang="0">
                <a:pos x="connsiteX6849" y="connsiteY6849"/>
              </a:cxn>
              <a:cxn ang="0">
                <a:pos x="connsiteX6850" y="connsiteY6850"/>
              </a:cxn>
              <a:cxn ang="0">
                <a:pos x="connsiteX6851" y="connsiteY6851"/>
              </a:cxn>
              <a:cxn ang="0">
                <a:pos x="connsiteX6852" y="connsiteY6852"/>
              </a:cxn>
              <a:cxn ang="0">
                <a:pos x="connsiteX6853" y="connsiteY6853"/>
              </a:cxn>
              <a:cxn ang="0">
                <a:pos x="connsiteX6854" y="connsiteY6854"/>
              </a:cxn>
              <a:cxn ang="0">
                <a:pos x="connsiteX6855" y="connsiteY6855"/>
              </a:cxn>
              <a:cxn ang="0">
                <a:pos x="connsiteX6856" y="connsiteY6856"/>
              </a:cxn>
              <a:cxn ang="0">
                <a:pos x="connsiteX6857" y="connsiteY6857"/>
              </a:cxn>
              <a:cxn ang="0">
                <a:pos x="connsiteX6858" y="connsiteY6858"/>
              </a:cxn>
              <a:cxn ang="0">
                <a:pos x="connsiteX6859" y="connsiteY6859"/>
              </a:cxn>
              <a:cxn ang="0">
                <a:pos x="connsiteX6860" y="connsiteY6860"/>
              </a:cxn>
              <a:cxn ang="0">
                <a:pos x="connsiteX6861" y="connsiteY6861"/>
              </a:cxn>
              <a:cxn ang="0">
                <a:pos x="connsiteX6862" y="connsiteY6862"/>
              </a:cxn>
              <a:cxn ang="0">
                <a:pos x="connsiteX6863" y="connsiteY6863"/>
              </a:cxn>
              <a:cxn ang="0">
                <a:pos x="connsiteX6864" y="connsiteY6864"/>
              </a:cxn>
              <a:cxn ang="0">
                <a:pos x="connsiteX6865" y="connsiteY6865"/>
              </a:cxn>
              <a:cxn ang="0">
                <a:pos x="connsiteX6866" y="connsiteY6866"/>
              </a:cxn>
              <a:cxn ang="0">
                <a:pos x="connsiteX6867" y="connsiteY6867"/>
              </a:cxn>
              <a:cxn ang="0">
                <a:pos x="connsiteX6868" y="connsiteY6868"/>
              </a:cxn>
              <a:cxn ang="0">
                <a:pos x="connsiteX6869" y="connsiteY6869"/>
              </a:cxn>
              <a:cxn ang="0">
                <a:pos x="connsiteX6870" y="connsiteY6870"/>
              </a:cxn>
              <a:cxn ang="0">
                <a:pos x="connsiteX6871" y="connsiteY6871"/>
              </a:cxn>
              <a:cxn ang="0">
                <a:pos x="connsiteX6872" y="connsiteY6872"/>
              </a:cxn>
              <a:cxn ang="0">
                <a:pos x="connsiteX6873" y="connsiteY6873"/>
              </a:cxn>
              <a:cxn ang="0">
                <a:pos x="connsiteX6874" y="connsiteY6874"/>
              </a:cxn>
              <a:cxn ang="0">
                <a:pos x="connsiteX6875" y="connsiteY6875"/>
              </a:cxn>
              <a:cxn ang="0">
                <a:pos x="connsiteX6876" y="connsiteY6876"/>
              </a:cxn>
              <a:cxn ang="0">
                <a:pos x="connsiteX6877" y="connsiteY6877"/>
              </a:cxn>
              <a:cxn ang="0">
                <a:pos x="connsiteX6878" y="connsiteY6878"/>
              </a:cxn>
              <a:cxn ang="0">
                <a:pos x="connsiteX6879" y="connsiteY6879"/>
              </a:cxn>
              <a:cxn ang="0">
                <a:pos x="connsiteX6880" y="connsiteY6880"/>
              </a:cxn>
              <a:cxn ang="0">
                <a:pos x="connsiteX6881" y="connsiteY6881"/>
              </a:cxn>
              <a:cxn ang="0">
                <a:pos x="connsiteX6882" y="connsiteY6882"/>
              </a:cxn>
              <a:cxn ang="0">
                <a:pos x="connsiteX6883" y="connsiteY6883"/>
              </a:cxn>
              <a:cxn ang="0">
                <a:pos x="connsiteX6884" y="connsiteY6884"/>
              </a:cxn>
              <a:cxn ang="0">
                <a:pos x="connsiteX6885" y="connsiteY6885"/>
              </a:cxn>
              <a:cxn ang="0">
                <a:pos x="connsiteX6886" y="connsiteY6886"/>
              </a:cxn>
              <a:cxn ang="0">
                <a:pos x="connsiteX6887" y="connsiteY6887"/>
              </a:cxn>
              <a:cxn ang="0">
                <a:pos x="connsiteX6888" y="connsiteY6888"/>
              </a:cxn>
              <a:cxn ang="0">
                <a:pos x="connsiteX6889" y="connsiteY6889"/>
              </a:cxn>
              <a:cxn ang="0">
                <a:pos x="connsiteX6890" y="connsiteY6890"/>
              </a:cxn>
              <a:cxn ang="0">
                <a:pos x="connsiteX6891" y="connsiteY6891"/>
              </a:cxn>
              <a:cxn ang="0">
                <a:pos x="connsiteX6892" y="connsiteY6892"/>
              </a:cxn>
              <a:cxn ang="0">
                <a:pos x="connsiteX6893" y="connsiteY6893"/>
              </a:cxn>
              <a:cxn ang="0">
                <a:pos x="connsiteX6894" y="connsiteY6894"/>
              </a:cxn>
              <a:cxn ang="0">
                <a:pos x="connsiteX6895" y="connsiteY6895"/>
              </a:cxn>
              <a:cxn ang="0">
                <a:pos x="connsiteX6896" y="connsiteY6896"/>
              </a:cxn>
              <a:cxn ang="0">
                <a:pos x="connsiteX6897" y="connsiteY6897"/>
              </a:cxn>
              <a:cxn ang="0">
                <a:pos x="connsiteX6898" y="connsiteY6898"/>
              </a:cxn>
              <a:cxn ang="0">
                <a:pos x="connsiteX6899" y="connsiteY6899"/>
              </a:cxn>
              <a:cxn ang="0">
                <a:pos x="connsiteX6900" y="connsiteY6900"/>
              </a:cxn>
              <a:cxn ang="0">
                <a:pos x="connsiteX6901" y="connsiteY6901"/>
              </a:cxn>
              <a:cxn ang="0">
                <a:pos x="connsiteX6902" y="connsiteY6902"/>
              </a:cxn>
              <a:cxn ang="0">
                <a:pos x="connsiteX6903" y="connsiteY6903"/>
              </a:cxn>
              <a:cxn ang="0">
                <a:pos x="connsiteX6904" y="connsiteY6904"/>
              </a:cxn>
              <a:cxn ang="0">
                <a:pos x="connsiteX6905" y="connsiteY6905"/>
              </a:cxn>
              <a:cxn ang="0">
                <a:pos x="connsiteX6906" y="connsiteY6906"/>
              </a:cxn>
              <a:cxn ang="0">
                <a:pos x="connsiteX6907" y="connsiteY6907"/>
              </a:cxn>
              <a:cxn ang="0">
                <a:pos x="connsiteX6908" y="connsiteY6908"/>
              </a:cxn>
              <a:cxn ang="0">
                <a:pos x="connsiteX6909" y="connsiteY6909"/>
              </a:cxn>
              <a:cxn ang="0">
                <a:pos x="connsiteX6910" y="connsiteY6910"/>
              </a:cxn>
              <a:cxn ang="0">
                <a:pos x="connsiteX6911" y="connsiteY6911"/>
              </a:cxn>
              <a:cxn ang="0">
                <a:pos x="connsiteX6912" y="connsiteY6912"/>
              </a:cxn>
              <a:cxn ang="0">
                <a:pos x="connsiteX6913" y="connsiteY6913"/>
              </a:cxn>
              <a:cxn ang="0">
                <a:pos x="connsiteX6914" y="connsiteY6914"/>
              </a:cxn>
              <a:cxn ang="0">
                <a:pos x="connsiteX6915" y="connsiteY6915"/>
              </a:cxn>
              <a:cxn ang="0">
                <a:pos x="connsiteX6916" y="connsiteY6916"/>
              </a:cxn>
              <a:cxn ang="0">
                <a:pos x="connsiteX6917" y="connsiteY6917"/>
              </a:cxn>
              <a:cxn ang="0">
                <a:pos x="connsiteX6918" y="connsiteY6918"/>
              </a:cxn>
              <a:cxn ang="0">
                <a:pos x="connsiteX6919" y="connsiteY6919"/>
              </a:cxn>
              <a:cxn ang="0">
                <a:pos x="connsiteX6920" y="connsiteY6920"/>
              </a:cxn>
              <a:cxn ang="0">
                <a:pos x="connsiteX6921" y="connsiteY6921"/>
              </a:cxn>
              <a:cxn ang="0">
                <a:pos x="connsiteX6922" y="connsiteY6922"/>
              </a:cxn>
              <a:cxn ang="0">
                <a:pos x="connsiteX6923" y="connsiteY6923"/>
              </a:cxn>
              <a:cxn ang="0">
                <a:pos x="connsiteX6924" y="connsiteY6924"/>
              </a:cxn>
              <a:cxn ang="0">
                <a:pos x="connsiteX6925" y="connsiteY6925"/>
              </a:cxn>
              <a:cxn ang="0">
                <a:pos x="connsiteX6926" y="connsiteY6926"/>
              </a:cxn>
              <a:cxn ang="0">
                <a:pos x="connsiteX6927" y="connsiteY6927"/>
              </a:cxn>
              <a:cxn ang="0">
                <a:pos x="connsiteX6928" y="connsiteY6928"/>
              </a:cxn>
              <a:cxn ang="0">
                <a:pos x="connsiteX6929" y="connsiteY6929"/>
              </a:cxn>
              <a:cxn ang="0">
                <a:pos x="connsiteX6930" y="connsiteY6930"/>
              </a:cxn>
              <a:cxn ang="0">
                <a:pos x="connsiteX6931" y="connsiteY6931"/>
              </a:cxn>
              <a:cxn ang="0">
                <a:pos x="connsiteX6932" y="connsiteY6932"/>
              </a:cxn>
              <a:cxn ang="0">
                <a:pos x="connsiteX6933" y="connsiteY6933"/>
              </a:cxn>
              <a:cxn ang="0">
                <a:pos x="connsiteX6934" y="connsiteY6934"/>
              </a:cxn>
              <a:cxn ang="0">
                <a:pos x="connsiteX6935" y="connsiteY6935"/>
              </a:cxn>
              <a:cxn ang="0">
                <a:pos x="connsiteX6936" y="connsiteY6936"/>
              </a:cxn>
              <a:cxn ang="0">
                <a:pos x="connsiteX6937" y="connsiteY6937"/>
              </a:cxn>
              <a:cxn ang="0">
                <a:pos x="connsiteX6938" y="connsiteY6938"/>
              </a:cxn>
              <a:cxn ang="0">
                <a:pos x="connsiteX6939" y="connsiteY6939"/>
              </a:cxn>
              <a:cxn ang="0">
                <a:pos x="connsiteX6940" y="connsiteY6940"/>
              </a:cxn>
              <a:cxn ang="0">
                <a:pos x="connsiteX6941" y="connsiteY6941"/>
              </a:cxn>
              <a:cxn ang="0">
                <a:pos x="connsiteX6942" y="connsiteY6942"/>
              </a:cxn>
              <a:cxn ang="0">
                <a:pos x="connsiteX6943" y="connsiteY6943"/>
              </a:cxn>
              <a:cxn ang="0">
                <a:pos x="connsiteX6944" y="connsiteY6944"/>
              </a:cxn>
              <a:cxn ang="0">
                <a:pos x="connsiteX6945" y="connsiteY6945"/>
              </a:cxn>
              <a:cxn ang="0">
                <a:pos x="connsiteX6946" y="connsiteY6946"/>
              </a:cxn>
              <a:cxn ang="0">
                <a:pos x="connsiteX6947" y="connsiteY6947"/>
              </a:cxn>
              <a:cxn ang="0">
                <a:pos x="connsiteX6948" y="connsiteY6948"/>
              </a:cxn>
              <a:cxn ang="0">
                <a:pos x="connsiteX6949" y="connsiteY6949"/>
              </a:cxn>
              <a:cxn ang="0">
                <a:pos x="connsiteX6950" y="connsiteY6950"/>
              </a:cxn>
              <a:cxn ang="0">
                <a:pos x="connsiteX6951" y="connsiteY6951"/>
              </a:cxn>
              <a:cxn ang="0">
                <a:pos x="connsiteX6952" y="connsiteY6952"/>
              </a:cxn>
              <a:cxn ang="0">
                <a:pos x="connsiteX6953" y="connsiteY6953"/>
              </a:cxn>
              <a:cxn ang="0">
                <a:pos x="connsiteX6954" y="connsiteY6954"/>
              </a:cxn>
              <a:cxn ang="0">
                <a:pos x="connsiteX6955" y="connsiteY6955"/>
              </a:cxn>
              <a:cxn ang="0">
                <a:pos x="connsiteX6956" y="connsiteY6956"/>
              </a:cxn>
              <a:cxn ang="0">
                <a:pos x="connsiteX6957" y="connsiteY6957"/>
              </a:cxn>
              <a:cxn ang="0">
                <a:pos x="connsiteX6958" y="connsiteY6958"/>
              </a:cxn>
              <a:cxn ang="0">
                <a:pos x="connsiteX6959" y="connsiteY6959"/>
              </a:cxn>
              <a:cxn ang="0">
                <a:pos x="connsiteX6960" y="connsiteY6960"/>
              </a:cxn>
              <a:cxn ang="0">
                <a:pos x="connsiteX6961" y="connsiteY6961"/>
              </a:cxn>
              <a:cxn ang="0">
                <a:pos x="connsiteX6962" y="connsiteY6962"/>
              </a:cxn>
              <a:cxn ang="0">
                <a:pos x="connsiteX6963" y="connsiteY6963"/>
              </a:cxn>
              <a:cxn ang="0">
                <a:pos x="connsiteX6964" y="connsiteY6964"/>
              </a:cxn>
              <a:cxn ang="0">
                <a:pos x="connsiteX6965" y="connsiteY6965"/>
              </a:cxn>
              <a:cxn ang="0">
                <a:pos x="connsiteX6966" y="connsiteY6966"/>
              </a:cxn>
              <a:cxn ang="0">
                <a:pos x="connsiteX6967" y="connsiteY6967"/>
              </a:cxn>
              <a:cxn ang="0">
                <a:pos x="connsiteX6968" y="connsiteY6968"/>
              </a:cxn>
              <a:cxn ang="0">
                <a:pos x="connsiteX6969" y="connsiteY6969"/>
              </a:cxn>
              <a:cxn ang="0">
                <a:pos x="connsiteX6970" y="connsiteY6970"/>
              </a:cxn>
              <a:cxn ang="0">
                <a:pos x="connsiteX6971" y="connsiteY6971"/>
              </a:cxn>
              <a:cxn ang="0">
                <a:pos x="connsiteX6972" y="connsiteY6972"/>
              </a:cxn>
              <a:cxn ang="0">
                <a:pos x="connsiteX6973" y="connsiteY6973"/>
              </a:cxn>
              <a:cxn ang="0">
                <a:pos x="connsiteX6974" y="connsiteY6974"/>
              </a:cxn>
              <a:cxn ang="0">
                <a:pos x="connsiteX6975" y="connsiteY6975"/>
              </a:cxn>
              <a:cxn ang="0">
                <a:pos x="connsiteX6976" y="connsiteY6976"/>
              </a:cxn>
              <a:cxn ang="0">
                <a:pos x="connsiteX6977" y="connsiteY6977"/>
              </a:cxn>
              <a:cxn ang="0">
                <a:pos x="connsiteX6978" y="connsiteY6978"/>
              </a:cxn>
              <a:cxn ang="0">
                <a:pos x="connsiteX6979" y="connsiteY6979"/>
              </a:cxn>
              <a:cxn ang="0">
                <a:pos x="connsiteX6980" y="connsiteY6980"/>
              </a:cxn>
              <a:cxn ang="0">
                <a:pos x="connsiteX6981" y="connsiteY6981"/>
              </a:cxn>
              <a:cxn ang="0">
                <a:pos x="connsiteX6982" y="connsiteY6982"/>
              </a:cxn>
              <a:cxn ang="0">
                <a:pos x="connsiteX6983" y="connsiteY6983"/>
              </a:cxn>
              <a:cxn ang="0">
                <a:pos x="connsiteX6984" y="connsiteY6984"/>
              </a:cxn>
              <a:cxn ang="0">
                <a:pos x="connsiteX6985" y="connsiteY6985"/>
              </a:cxn>
              <a:cxn ang="0">
                <a:pos x="connsiteX6986" y="connsiteY6986"/>
              </a:cxn>
              <a:cxn ang="0">
                <a:pos x="connsiteX6987" y="connsiteY6987"/>
              </a:cxn>
              <a:cxn ang="0">
                <a:pos x="connsiteX6988" y="connsiteY6988"/>
              </a:cxn>
              <a:cxn ang="0">
                <a:pos x="connsiteX6989" y="connsiteY6989"/>
              </a:cxn>
              <a:cxn ang="0">
                <a:pos x="connsiteX6990" y="connsiteY6990"/>
              </a:cxn>
              <a:cxn ang="0">
                <a:pos x="connsiteX6991" y="connsiteY6991"/>
              </a:cxn>
              <a:cxn ang="0">
                <a:pos x="connsiteX6992" y="connsiteY6992"/>
              </a:cxn>
              <a:cxn ang="0">
                <a:pos x="connsiteX6993" y="connsiteY6993"/>
              </a:cxn>
              <a:cxn ang="0">
                <a:pos x="connsiteX6994" y="connsiteY6994"/>
              </a:cxn>
              <a:cxn ang="0">
                <a:pos x="connsiteX6995" y="connsiteY6995"/>
              </a:cxn>
              <a:cxn ang="0">
                <a:pos x="connsiteX6996" y="connsiteY6996"/>
              </a:cxn>
              <a:cxn ang="0">
                <a:pos x="connsiteX6997" y="connsiteY6997"/>
              </a:cxn>
              <a:cxn ang="0">
                <a:pos x="connsiteX6998" y="connsiteY6998"/>
              </a:cxn>
              <a:cxn ang="0">
                <a:pos x="connsiteX6999" y="connsiteY6999"/>
              </a:cxn>
              <a:cxn ang="0">
                <a:pos x="connsiteX7000" y="connsiteY7000"/>
              </a:cxn>
              <a:cxn ang="0">
                <a:pos x="connsiteX7001" y="connsiteY7001"/>
              </a:cxn>
              <a:cxn ang="0">
                <a:pos x="connsiteX7002" y="connsiteY7002"/>
              </a:cxn>
              <a:cxn ang="0">
                <a:pos x="connsiteX7003" y="connsiteY7003"/>
              </a:cxn>
              <a:cxn ang="0">
                <a:pos x="connsiteX7004" y="connsiteY7004"/>
              </a:cxn>
              <a:cxn ang="0">
                <a:pos x="connsiteX7005" y="connsiteY7005"/>
              </a:cxn>
              <a:cxn ang="0">
                <a:pos x="connsiteX7006" y="connsiteY7006"/>
              </a:cxn>
              <a:cxn ang="0">
                <a:pos x="connsiteX7007" y="connsiteY7007"/>
              </a:cxn>
              <a:cxn ang="0">
                <a:pos x="connsiteX7008" y="connsiteY7008"/>
              </a:cxn>
              <a:cxn ang="0">
                <a:pos x="connsiteX7009" y="connsiteY7009"/>
              </a:cxn>
              <a:cxn ang="0">
                <a:pos x="connsiteX7010" y="connsiteY7010"/>
              </a:cxn>
              <a:cxn ang="0">
                <a:pos x="connsiteX7011" y="connsiteY7011"/>
              </a:cxn>
              <a:cxn ang="0">
                <a:pos x="connsiteX7012" y="connsiteY7012"/>
              </a:cxn>
              <a:cxn ang="0">
                <a:pos x="connsiteX7013" y="connsiteY7013"/>
              </a:cxn>
              <a:cxn ang="0">
                <a:pos x="connsiteX7014" y="connsiteY7014"/>
              </a:cxn>
              <a:cxn ang="0">
                <a:pos x="connsiteX7015" y="connsiteY7015"/>
              </a:cxn>
              <a:cxn ang="0">
                <a:pos x="connsiteX7016" y="connsiteY7016"/>
              </a:cxn>
              <a:cxn ang="0">
                <a:pos x="connsiteX7017" y="connsiteY7017"/>
              </a:cxn>
              <a:cxn ang="0">
                <a:pos x="connsiteX7018" y="connsiteY7018"/>
              </a:cxn>
              <a:cxn ang="0">
                <a:pos x="connsiteX7019" y="connsiteY7019"/>
              </a:cxn>
              <a:cxn ang="0">
                <a:pos x="connsiteX7020" y="connsiteY7020"/>
              </a:cxn>
              <a:cxn ang="0">
                <a:pos x="connsiteX7021" y="connsiteY7021"/>
              </a:cxn>
              <a:cxn ang="0">
                <a:pos x="connsiteX7022" y="connsiteY7022"/>
              </a:cxn>
              <a:cxn ang="0">
                <a:pos x="connsiteX7023" y="connsiteY7023"/>
              </a:cxn>
              <a:cxn ang="0">
                <a:pos x="connsiteX7024" y="connsiteY7024"/>
              </a:cxn>
              <a:cxn ang="0">
                <a:pos x="connsiteX7025" y="connsiteY7025"/>
              </a:cxn>
              <a:cxn ang="0">
                <a:pos x="connsiteX7026" y="connsiteY7026"/>
              </a:cxn>
              <a:cxn ang="0">
                <a:pos x="connsiteX7027" y="connsiteY7027"/>
              </a:cxn>
              <a:cxn ang="0">
                <a:pos x="connsiteX7028" y="connsiteY7028"/>
              </a:cxn>
              <a:cxn ang="0">
                <a:pos x="connsiteX7029" y="connsiteY7029"/>
              </a:cxn>
              <a:cxn ang="0">
                <a:pos x="connsiteX7030" y="connsiteY7030"/>
              </a:cxn>
              <a:cxn ang="0">
                <a:pos x="connsiteX7031" y="connsiteY7031"/>
              </a:cxn>
              <a:cxn ang="0">
                <a:pos x="connsiteX7032" y="connsiteY7032"/>
              </a:cxn>
              <a:cxn ang="0">
                <a:pos x="connsiteX7033" y="connsiteY7033"/>
              </a:cxn>
              <a:cxn ang="0">
                <a:pos x="connsiteX7034" y="connsiteY7034"/>
              </a:cxn>
              <a:cxn ang="0">
                <a:pos x="connsiteX7035" y="connsiteY7035"/>
              </a:cxn>
              <a:cxn ang="0">
                <a:pos x="connsiteX7036" y="connsiteY7036"/>
              </a:cxn>
              <a:cxn ang="0">
                <a:pos x="connsiteX7037" y="connsiteY7037"/>
              </a:cxn>
              <a:cxn ang="0">
                <a:pos x="connsiteX7038" y="connsiteY7038"/>
              </a:cxn>
              <a:cxn ang="0">
                <a:pos x="connsiteX7039" y="connsiteY7039"/>
              </a:cxn>
              <a:cxn ang="0">
                <a:pos x="connsiteX7040" y="connsiteY7040"/>
              </a:cxn>
              <a:cxn ang="0">
                <a:pos x="connsiteX7041" y="connsiteY7041"/>
              </a:cxn>
              <a:cxn ang="0">
                <a:pos x="connsiteX7042" y="connsiteY7042"/>
              </a:cxn>
              <a:cxn ang="0">
                <a:pos x="connsiteX7043" y="connsiteY7043"/>
              </a:cxn>
              <a:cxn ang="0">
                <a:pos x="connsiteX7044" y="connsiteY7044"/>
              </a:cxn>
              <a:cxn ang="0">
                <a:pos x="connsiteX7045" y="connsiteY7045"/>
              </a:cxn>
              <a:cxn ang="0">
                <a:pos x="connsiteX7046" y="connsiteY7046"/>
              </a:cxn>
              <a:cxn ang="0">
                <a:pos x="connsiteX7047" y="connsiteY7047"/>
              </a:cxn>
              <a:cxn ang="0">
                <a:pos x="connsiteX7048" y="connsiteY7048"/>
              </a:cxn>
              <a:cxn ang="0">
                <a:pos x="connsiteX7049" y="connsiteY7049"/>
              </a:cxn>
              <a:cxn ang="0">
                <a:pos x="connsiteX7050" y="connsiteY7050"/>
              </a:cxn>
              <a:cxn ang="0">
                <a:pos x="connsiteX7051" y="connsiteY7051"/>
              </a:cxn>
              <a:cxn ang="0">
                <a:pos x="connsiteX7052" y="connsiteY7052"/>
              </a:cxn>
              <a:cxn ang="0">
                <a:pos x="connsiteX7053" y="connsiteY7053"/>
              </a:cxn>
              <a:cxn ang="0">
                <a:pos x="connsiteX7054" y="connsiteY7054"/>
              </a:cxn>
              <a:cxn ang="0">
                <a:pos x="connsiteX7055" y="connsiteY7055"/>
              </a:cxn>
              <a:cxn ang="0">
                <a:pos x="connsiteX7056" y="connsiteY7056"/>
              </a:cxn>
              <a:cxn ang="0">
                <a:pos x="connsiteX7057" y="connsiteY7057"/>
              </a:cxn>
              <a:cxn ang="0">
                <a:pos x="connsiteX7058" y="connsiteY7058"/>
              </a:cxn>
              <a:cxn ang="0">
                <a:pos x="connsiteX7059" y="connsiteY7059"/>
              </a:cxn>
              <a:cxn ang="0">
                <a:pos x="connsiteX7060" y="connsiteY7060"/>
              </a:cxn>
              <a:cxn ang="0">
                <a:pos x="connsiteX7061" y="connsiteY7061"/>
              </a:cxn>
              <a:cxn ang="0">
                <a:pos x="connsiteX7062" y="connsiteY7062"/>
              </a:cxn>
              <a:cxn ang="0">
                <a:pos x="connsiteX7063" y="connsiteY7063"/>
              </a:cxn>
              <a:cxn ang="0">
                <a:pos x="connsiteX7064" y="connsiteY7064"/>
              </a:cxn>
              <a:cxn ang="0">
                <a:pos x="connsiteX7065" y="connsiteY7065"/>
              </a:cxn>
              <a:cxn ang="0">
                <a:pos x="connsiteX7066" y="connsiteY7066"/>
              </a:cxn>
              <a:cxn ang="0">
                <a:pos x="connsiteX7067" y="connsiteY7067"/>
              </a:cxn>
              <a:cxn ang="0">
                <a:pos x="connsiteX7068" y="connsiteY7068"/>
              </a:cxn>
              <a:cxn ang="0">
                <a:pos x="connsiteX7069" y="connsiteY7069"/>
              </a:cxn>
              <a:cxn ang="0">
                <a:pos x="connsiteX7070" y="connsiteY7070"/>
              </a:cxn>
              <a:cxn ang="0">
                <a:pos x="connsiteX7071" y="connsiteY7071"/>
              </a:cxn>
              <a:cxn ang="0">
                <a:pos x="connsiteX7072" y="connsiteY7072"/>
              </a:cxn>
              <a:cxn ang="0">
                <a:pos x="connsiteX7073" y="connsiteY7073"/>
              </a:cxn>
              <a:cxn ang="0">
                <a:pos x="connsiteX7074" y="connsiteY7074"/>
              </a:cxn>
              <a:cxn ang="0">
                <a:pos x="connsiteX7075" y="connsiteY7075"/>
              </a:cxn>
              <a:cxn ang="0">
                <a:pos x="connsiteX7076" y="connsiteY7076"/>
              </a:cxn>
              <a:cxn ang="0">
                <a:pos x="connsiteX7077" y="connsiteY7077"/>
              </a:cxn>
              <a:cxn ang="0">
                <a:pos x="connsiteX7078" y="connsiteY7078"/>
              </a:cxn>
              <a:cxn ang="0">
                <a:pos x="connsiteX7079" y="connsiteY7079"/>
              </a:cxn>
              <a:cxn ang="0">
                <a:pos x="connsiteX7080" y="connsiteY7080"/>
              </a:cxn>
              <a:cxn ang="0">
                <a:pos x="connsiteX7081" y="connsiteY7081"/>
              </a:cxn>
              <a:cxn ang="0">
                <a:pos x="connsiteX7082" y="connsiteY7082"/>
              </a:cxn>
              <a:cxn ang="0">
                <a:pos x="connsiteX7083" y="connsiteY7083"/>
              </a:cxn>
              <a:cxn ang="0">
                <a:pos x="connsiteX7084" y="connsiteY7084"/>
              </a:cxn>
              <a:cxn ang="0">
                <a:pos x="connsiteX7085" y="connsiteY7085"/>
              </a:cxn>
              <a:cxn ang="0">
                <a:pos x="connsiteX7086" y="connsiteY7086"/>
              </a:cxn>
              <a:cxn ang="0">
                <a:pos x="connsiteX7087" y="connsiteY7087"/>
              </a:cxn>
              <a:cxn ang="0">
                <a:pos x="connsiteX7088" y="connsiteY7088"/>
              </a:cxn>
              <a:cxn ang="0">
                <a:pos x="connsiteX7089" y="connsiteY7089"/>
              </a:cxn>
              <a:cxn ang="0">
                <a:pos x="connsiteX7090" y="connsiteY7090"/>
              </a:cxn>
              <a:cxn ang="0">
                <a:pos x="connsiteX7091" y="connsiteY7091"/>
              </a:cxn>
              <a:cxn ang="0">
                <a:pos x="connsiteX7092" y="connsiteY7092"/>
              </a:cxn>
              <a:cxn ang="0">
                <a:pos x="connsiteX7093" y="connsiteY7093"/>
              </a:cxn>
              <a:cxn ang="0">
                <a:pos x="connsiteX7094" y="connsiteY7094"/>
              </a:cxn>
              <a:cxn ang="0">
                <a:pos x="connsiteX7095" y="connsiteY7095"/>
              </a:cxn>
              <a:cxn ang="0">
                <a:pos x="connsiteX7096" y="connsiteY7096"/>
              </a:cxn>
              <a:cxn ang="0">
                <a:pos x="connsiteX7097" y="connsiteY7097"/>
              </a:cxn>
              <a:cxn ang="0">
                <a:pos x="connsiteX7098" y="connsiteY7098"/>
              </a:cxn>
              <a:cxn ang="0">
                <a:pos x="connsiteX7099" y="connsiteY7099"/>
              </a:cxn>
              <a:cxn ang="0">
                <a:pos x="connsiteX7100" y="connsiteY7100"/>
              </a:cxn>
              <a:cxn ang="0">
                <a:pos x="connsiteX7101" y="connsiteY7101"/>
              </a:cxn>
              <a:cxn ang="0">
                <a:pos x="connsiteX7102" y="connsiteY7102"/>
              </a:cxn>
              <a:cxn ang="0">
                <a:pos x="connsiteX7103" y="connsiteY7103"/>
              </a:cxn>
              <a:cxn ang="0">
                <a:pos x="connsiteX7104" y="connsiteY7104"/>
              </a:cxn>
              <a:cxn ang="0">
                <a:pos x="connsiteX7105" y="connsiteY7105"/>
              </a:cxn>
              <a:cxn ang="0">
                <a:pos x="connsiteX7106" y="connsiteY7106"/>
              </a:cxn>
              <a:cxn ang="0">
                <a:pos x="connsiteX7107" y="connsiteY7107"/>
              </a:cxn>
              <a:cxn ang="0">
                <a:pos x="connsiteX7108" y="connsiteY7108"/>
              </a:cxn>
              <a:cxn ang="0">
                <a:pos x="connsiteX7109" y="connsiteY7109"/>
              </a:cxn>
              <a:cxn ang="0">
                <a:pos x="connsiteX7110" y="connsiteY7110"/>
              </a:cxn>
              <a:cxn ang="0">
                <a:pos x="connsiteX7111" y="connsiteY7111"/>
              </a:cxn>
              <a:cxn ang="0">
                <a:pos x="connsiteX7112" y="connsiteY7112"/>
              </a:cxn>
              <a:cxn ang="0">
                <a:pos x="connsiteX7113" y="connsiteY7113"/>
              </a:cxn>
              <a:cxn ang="0">
                <a:pos x="connsiteX7114" y="connsiteY7114"/>
              </a:cxn>
              <a:cxn ang="0">
                <a:pos x="connsiteX7115" y="connsiteY7115"/>
              </a:cxn>
              <a:cxn ang="0">
                <a:pos x="connsiteX7116" y="connsiteY7116"/>
              </a:cxn>
              <a:cxn ang="0">
                <a:pos x="connsiteX7117" y="connsiteY7117"/>
              </a:cxn>
              <a:cxn ang="0">
                <a:pos x="connsiteX7118" y="connsiteY7118"/>
              </a:cxn>
              <a:cxn ang="0">
                <a:pos x="connsiteX7119" y="connsiteY7119"/>
              </a:cxn>
              <a:cxn ang="0">
                <a:pos x="connsiteX7120" y="connsiteY7120"/>
              </a:cxn>
              <a:cxn ang="0">
                <a:pos x="connsiteX7121" y="connsiteY7121"/>
              </a:cxn>
              <a:cxn ang="0">
                <a:pos x="connsiteX7122" y="connsiteY7122"/>
              </a:cxn>
              <a:cxn ang="0">
                <a:pos x="connsiteX7123" y="connsiteY7123"/>
              </a:cxn>
              <a:cxn ang="0">
                <a:pos x="connsiteX7124" y="connsiteY7124"/>
              </a:cxn>
              <a:cxn ang="0">
                <a:pos x="connsiteX7125" y="connsiteY7125"/>
              </a:cxn>
              <a:cxn ang="0">
                <a:pos x="connsiteX7126" y="connsiteY7126"/>
              </a:cxn>
              <a:cxn ang="0">
                <a:pos x="connsiteX7127" y="connsiteY7127"/>
              </a:cxn>
              <a:cxn ang="0">
                <a:pos x="connsiteX7128" y="connsiteY7128"/>
              </a:cxn>
              <a:cxn ang="0">
                <a:pos x="connsiteX7129" y="connsiteY7129"/>
              </a:cxn>
              <a:cxn ang="0">
                <a:pos x="connsiteX7130" y="connsiteY7130"/>
              </a:cxn>
              <a:cxn ang="0">
                <a:pos x="connsiteX7131" y="connsiteY7131"/>
              </a:cxn>
              <a:cxn ang="0">
                <a:pos x="connsiteX7132" y="connsiteY7132"/>
              </a:cxn>
              <a:cxn ang="0">
                <a:pos x="connsiteX7133" y="connsiteY7133"/>
              </a:cxn>
              <a:cxn ang="0">
                <a:pos x="connsiteX7134" y="connsiteY7134"/>
              </a:cxn>
              <a:cxn ang="0">
                <a:pos x="connsiteX7135" y="connsiteY7135"/>
              </a:cxn>
              <a:cxn ang="0">
                <a:pos x="connsiteX7136" y="connsiteY7136"/>
              </a:cxn>
              <a:cxn ang="0">
                <a:pos x="connsiteX7137" y="connsiteY7137"/>
              </a:cxn>
              <a:cxn ang="0">
                <a:pos x="connsiteX7138" y="connsiteY7138"/>
              </a:cxn>
              <a:cxn ang="0">
                <a:pos x="connsiteX7139" y="connsiteY7139"/>
              </a:cxn>
              <a:cxn ang="0">
                <a:pos x="connsiteX7140" y="connsiteY7140"/>
              </a:cxn>
              <a:cxn ang="0">
                <a:pos x="connsiteX7141" y="connsiteY7141"/>
              </a:cxn>
              <a:cxn ang="0">
                <a:pos x="connsiteX7142" y="connsiteY7142"/>
              </a:cxn>
              <a:cxn ang="0">
                <a:pos x="connsiteX7143" y="connsiteY7143"/>
              </a:cxn>
              <a:cxn ang="0">
                <a:pos x="connsiteX7144" y="connsiteY7144"/>
              </a:cxn>
              <a:cxn ang="0">
                <a:pos x="connsiteX7145" y="connsiteY7145"/>
              </a:cxn>
              <a:cxn ang="0">
                <a:pos x="connsiteX7146" y="connsiteY7146"/>
              </a:cxn>
              <a:cxn ang="0">
                <a:pos x="connsiteX7147" y="connsiteY7147"/>
              </a:cxn>
              <a:cxn ang="0">
                <a:pos x="connsiteX7148" y="connsiteY7148"/>
              </a:cxn>
              <a:cxn ang="0">
                <a:pos x="connsiteX7149" y="connsiteY7149"/>
              </a:cxn>
              <a:cxn ang="0">
                <a:pos x="connsiteX7150" y="connsiteY7150"/>
              </a:cxn>
              <a:cxn ang="0">
                <a:pos x="connsiteX7151" y="connsiteY7151"/>
              </a:cxn>
              <a:cxn ang="0">
                <a:pos x="connsiteX7152" y="connsiteY7152"/>
              </a:cxn>
              <a:cxn ang="0">
                <a:pos x="connsiteX7153" y="connsiteY7153"/>
              </a:cxn>
              <a:cxn ang="0">
                <a:pos x="connsiteX7154" y="connsiteY7154"/>
              </a:cxn>
              <a:cxn ang="0">
                <a:pos x="connsiteX7155" y="connsiteY7155"/>
              </a:cxn>
              <a:cxn ang="0">
                <a:pos x="connsiteX7156" y="connsiteY7156"/>
              </a:cxn>
              <a:cxn ang="0">
                <a:pos x="connsiteX7157" y="connsiteY7157"/>
              </a:cxn>
              <a:cxn ang="0">
                <a:pos x="connsiteX7158" y="connsiteY7158"/>
              </a:cxn>
              <a:cxn ang="0">
                <a:pos x="connsiteX7159" y="connsiteY7159"/>
              </a:cxn>
              <a:cxn ang="0">
                <a:pos x="connsiteX7160" y="connsiteY7160"/>
              </a:cxn>
              <a:cxn ang="0">
                <a:pos x="connsiteX7161" y="connsiteY7161"/>
              </a:cxn>
              <a:cxn ang="0">
                <a:pos x="connsiteX7162" y="connsiteY7162"/>
              </a:cxn>
              <a:cxn ang="0">
                <a:pos x="connsiteX7163" y="connsiteY7163"/>
              </a:cxn>
              <a:cxn ang="0">
                <a:pos x="connsiteX7164" y="connsiteY7164"/>
              </a:cxn>
              <a:cxn ang="0">
                <a:pos x="connsiteX7165" y="connsiteY7165"/>
              </a:cxn>
              <a:cxn ang="0">
                <a:pos x="connsiteX7166" y="connsiteY7166"/>
              </a:cxn>
              <a:cxn ang="0">
                <a:pos x="connsiteX7167" y="connsiteY7167"/>
              </a:cxn>
              <a:cxn ang="0">
                <a:pos x="connsiteX7168" y="connsiteY7168"/>
              </a:cxn>
              <a:cxn ang="0">
                <a:pos x="connsiteX7169" y="connsiteY7169"/>
              </a:cxn>
              <a:cxn ang="0">
                <a:pos x="connsiteX7170" y="connsiteY7170"/>
              </a:cxn>
              <a:cxn ang="0">
                <a:pos x="connsiteX7171" y="connsiteY7171"/>
              </a:cxn>
              <a:cxn ang="0">
                <a:pos x="connsiteX7172" y="connsiteY7172"/>
              </a:cxn>
              <a:cxn ang="0">
                <a:pos x="connsiteX7173" y="connsiteY7173"/>
              </a:cxn>
              <a:cxn ang="0">
                <a:pos x="connsiteX7174" y="connsiteY7174"/>
              </a:cxn>
              <a:cxn ang="0">
                <a:pos x="connsiteX7175" y="connsiteY7175"/>
              </a:cxn>
              <a:cxn ang="0">
                <a:pos x="connsiteX7176" y="connsiteY7176"/>
              </a:cxn>
              <a:cxn ang="0">
                <a:pos x="connsiteX7177" y="connsiteY7177"/>
              </a:cxn>
              <a:cxn ang="0">
                <a:pos x="connsiteX7178" y="connsiteY7178"/>
              </a:cxn>
              <a:cxn ang="0">
                <a:pos x="connsiteX7179" y="connsiteY7179"/>
              </a:cxn>
              <a:cxn ang="0">
                <a:pos x="connsiteX7180" y="connsiteY7180"/>
              </a:cxn>
              <a:cxn ang="0">
                <a:pos x="connsiteX7181" y="connsiteY7181"/>
              </a:cxn>
              <a:cxn ang="0">
                <a:pos x="connsiteX7182" y="connsiteY7182"/>
              </a:cxn>
              <a:cxn ang="0">
                <a:pos x="connsiteX7183" y="connsiteY7183"/>
              </a:cxn>
              <a:cxn ang="0">
                <a:pos x="connsiteX7184" y="connsiteY7184"/>
              </a:cxn>
              <a:cxn ang="0">
                <a:pos x="connsiteX7185" y="connsiteY7185"/>
              </a:cxn>
              <a:cxn ang="0">
                <a:pos x="connsiteX7186" y="connsiteY7186"/>
              </a:cxn>
              <a:cxn ang="0">
                <a:pos x="connsiteX7187" y="connsiteY7187"/>
              </a:cxn>
              <a:cxn ang="0">
                <a:pos x="connsiteX7188" y="connsiteY7188"/>
              </a:cxn>
              <a:cxn ang="0">
                <a:pos x="connsiteX7189" y="connsiteY7189"/>
              </a:cxn>
              <a:cxn ang="0">
                <a:pos x="connsiteX7190" y="connsiteY7190"/>
              </a:cxn>
              <a:cxn ang="0">
                <a:pos x="connsiteX7191" y="connsiteY7191"/>
              </a:cxn>
              <a:cxn ang="0">
                <a:pos x="connsiteX7192" y="connsiteY7192"/>
              </a:cxn>
              <a:cxn ang="0">
                <a:pos x="connsiteX7193" y="connsiteY7193"/>
              </a:cxn>
              <a:cxn ang="0">
                <a:pos x="connsiteX7194" y="connsiteY7194"/>
              </a:cxn>
              <a:cxn ang="0">
                <a:pos x="connsiteX7195" y="connsiteY7195"/>
              </a:cxn>
              <a:cxn ang="0">
                <a:pos x="connsiteX7196" y="connsiteY7196"/>
              </a:cxn>
              <a:cxn ang="0">
                <a:pos x="connsiteX7197" y="connsiteY7197"/>
              </a:cxn>
              <a:cxn ang="0">
                <a:pos x="connsiteX7198" y="connsiteY7198"/>
              </a:cxn>
              <a:cxn ang="0">
                <a:pos x="connsiteX7199" y="connsiteY7199"/>
              </a:cxn>
              <a:cxn ang="0">
                <a:pos x="connsiteX7200" y="connsiteY7200"/>
              </a:cxn>
              <a:cxn ang="0">
                <a:pos x="connsiteX7201" y="connsiteY7201"/>
              </a:cxn>
              <a:cxn ang="0">
                <a:pos x="connsiteX7202" y="connsiteY7202"/>
              </a:cxn>
              <a:cxn ang="0">
                <a:pos x="connsiteX7203" y="connsiteY7203"/>
              </a:cxn>
              <a:cxn ang="0">
                <a:pos x="connsiteX7204" y="connsiteY7204"/>
              </a:cxn>
              <a:cxn ang="0">
                <a:pos x="connsiteX7205" y="connsiteY7205"/>
              </a:cxn>
              <a:cxn ang="0">
                <a:pos x="connsiteX7206" y="connsiteY7206"/>
              </a:cxn>
              <a:cxn ang="0">
                <a:pos x="connsiteX7207" y="connsiteY7207"/>
              </a:cxn>
              <a:cxn ang="0">
                <a:pos x="connsiteX7208" y="connsiteY7208"/>
              </a:cxn>
              <a:cxn ang="0">
                <a:pos x="connsiteX7209" y="connsiteY7209"/>
              </a:cxn>
              <a:cxn ang="0">
                <a:pos x="connsiteX7210" y="connsiteY7210"/>
              </a:cxn>
              <a:cxn ang="0">
                <a:pos x="connsiteX7211" y="connsiteY7211"/>
              </a:cxn>
              <a:cxn ang="0">
                <a:pos x="connsiteX7212" y="connsiteY7212"/>
              </a:cxn>
              <a:cxn ang="0">
                <a:pos x="connsiteX7213" y="connsiteY7213"/>
              </a:cxn>
              <a:cxn ang="0">
                <a:pos x="connsiteX7214" y="connsiteY7214"/>
              </a:cxn>
              <a:cxn ang="0">
                <a:pos x="connsiteX7215" y="connsiteY7215"/>
              </a:cxn>
              <a:cxn ang="0">
                <a:pos x="connsiteX7216" y="connsiteY7216"/>
              </a:cxn>
              <a:cxn ang="0">
                <a:pos x="connsiteX7217" y="connsiteY7217"/>
              </a:cxn>
              <a:cxn ang="0">
                <a:pos x="connsiteX7218" y="connsiteY7218"/>
              </a:cxn>
              <a:cxn ang="0">
                <a:pos x="connsiteX7219" y="connsiteY7219"/>
              </a:cxn>
              <a:cxn ang="0">
                <a:pos x="connsiteX7220" y="connsiteY7220"/>
              </a:cxn>
              <a:cxn ang="0">
                <a:pos x="connsiteX7221" y="connsiteY7221"/>
              </a:cxn>
              <a:cxn ang="0">
                <a:pos x="connsiteX7222" y="connsiteY7222"/>
              </a:cxn>
              <a:cxn ang="0">
                <a:pos x="connsiteX7223" y="connsiteY7223"/>
              </a:cxn>
              <a:cxn ang="0">
                <a:pos x="connsiteX7224" y="connsiteY7224"/>
              </a:cxn>
              <a:cxn ang="0">
                <a:pos x="connsiteX7225" y="connsiteY7225"/>
              </a:cxn>
              <a:cxn ang="0">
                <a:pos x="connsiteX7226" y="connsiteY7226"/>
              </a:cxn>
              <a:cxn ang="0">
                <a:pos x="connsiteX7227" y="connsiteY7227"/>
              </a:cxn>
              <a:cxn ang="0">
                <a:pos x="connsiteX7228" y="connsiteY7228"/>
              </a:cxn>
              <a:cxn ang="0">
                <a:pos x="connsiteX7229" y="connsiteY7229"/>
              </a:cxn>
              <a:cxn ang="0">
                <a:pos x="connsiteX7230" y="connsiteY7230"/>
              </a:cxn>
              <a:cxn ang="0">
                <a:pos x="connsiteX7231" y="connsiteY7231"/>
              </a:cxn>
              <a:cxn ang="0">
                <a:pos x="connsiteX7232" y="connsiteY7232"/>
              </a:cxn>
              <a:cxn ang="0">
                <a:pos x="connsiteX7233" y="connsiteY7233"/>
              </a:cxn>
              <a:cxn ang="0">
                <a:pos x="connsiteX7234" y="connsiteY7234"/>
              </a:cxn>
              <a:cxn ang="0">
                <a:pos x="connsiteX7235" y="connsiteY7235"/>
              </a:cxn>
              <a:cxn ang="0">
                <a:pos x="connsiteX7236" y="connsiteY7236"/>
              </a:cxn>
              <a:cxn ang="0">
                <a:pos x="connsiteX7237" y="connsiteY7237"/>
              </a:cxn>
              <a:cxn ang="0">
                <a:pos x="connsiteX7238" y="connsiteY7238"/>
              </a:cxn>
              <a:cxn ang="0">
                <a:pos x="connsiteX7239" y="connsiteY7239"/>
              </a:cxn>
              <a:cxn ang="0">
                <a:pos x="connsiteX7240" y="connsiteY7240"/>
              </a:cxn>
              <a:cxn ang="0">
                <a:pos x="connsiteX7241" y="connsiteY7241"/>
              </a:cxn>
              <a:cxn ang="0">
                <a:pos x="connsiteX7242" y="connsiteY7242"/>
              </a:cxn>
              <a:cxn ang="0">
                <a:pos x="connsiteX7243" y="connsiteY7243"/>
              </a:cxn>
              <a:cxn ang="0">
                <a:pos x="connsiteX7244" y="connsiteY7244"/>
              </a:cxn>
              <a:cxn ang="0">
                <a:pos x="connsiteX7245" y="connsiteY7245"/>
              </a:cxn>
              <a:cxn ang="0">
                <a:pos x="connsiteX7246" y="connsiteY7246"/>
              </a:cxn>
              <a:cxn ang="0">
                <a:pos x="connsiteX7247" y="connsiteY7247"/>
              </a:cxn>
              <a:cxn ang="0">
                <a:pos x="connsiteX7248" y="connsiteY7248"/>
              </a:cxn>
              <a:cxn ang="0">
                <a:pos x="connsiteX7249" y="connsiteY7249"/>
              </a:cxn>
              <a:cxn ang="0">
                <a:pos x="connsiteX7250" y="connsiteY7250"/>
              </a:cxn>
              <a:cxn ang="0">
                <a:pos x="connsiteX7251" y="connsiteY7251"/>
              </a:cxn>
              <a:cxn ang="0">
                <a:pos x="connsiteX7252" y="connsiteY7252"/>
              </a:cxn>
              <a:cxn ang="0">
                <a:pos x="connsiteX7253" y="connsiteY7253"/>
              </a:cxn>
              <a:cxn ang="0">
                <a:pos x="connsiteX7254" y="connsiteY7254"/>
              </a:cxn>
              <a:cxn ang="0">
                <a:pos x="connsiteX7255" y="connsiteY7255"/>
              </a:cxn>
              <a:cxn ang="0">
                <a:pos x="connsiteX7256" y="connsiteY7256"/>
              </a:cxn>
              <a:cxn ang="0">
                <a:pos x="connsiteX7257" y="connsiteY7257"/>
              </a:cxn>
              <a:cxn ang="0">
                <a:pos x="connsiteX7258" y="connsiteY7258"/>
              </a:cxn>
              <a:cxn ang="0">
                <a:pos x="connsiteX7259" y="connsiteY7259"/>
              </a:cxn>
              <a:cxn ang="0">
                <a:pos x="connsiteX7260" y="connsiteY7260"/>
              </a:cxn>
              <a:cxn ang="0">
                <a:pos x="connsiteX7261" y="connsiteY7261"/>
              </a:cxn>
              <a:cxn ang="0">
                <a:pos x="connsiteX7262" y="connsiteY7262"/>
              </a:cxn>
              <a:cxn ang="0">
                <a:pos x="connsiteX7263" y="connsiteY7263"/>
              </a:cxn>
              <a:cxn ang="0">
                <a:pos x="connsiteX7264" y="connsiteY7264"/>
              </a:cxn>
              <a:cxn ang="0">
                <a:pos x="connsiteX7265" y="connsiteY7265"/>
              </a:cxn>
              <a:cxn ang="0">
                <a:pos x="connsiteX7266" y="connsiteY7266"/>
              </a:cxn>
              <a:cxn ang="0">
                <a:pos x="connsiteX7267" y="connsiteY7267"/>
              </a:cxn>
              <a:cxn ang="0">
                <a:pos x="connsiteX7268" y="connsiteY7268"/>
              </a:cxn>
              <a:cxn ang="0">
                <a:pos x="connsiteX7269" y="connsiteY7269"/>
              </a:cxn>
              <a:cxn ang="0">
                <a:pos x="connsiteX7270" y="connsiteY7270"/>
              </a:cxn>
              <a:cxn ang="0">
                <a:pos x="connsiteX7271" y="connsiteY7271"/>
              </a:cxn>
              <a:cxn ang="0">
                <a:pos x="connsiteX7272" y="connsiteY7272"/>
              </a:cxn>
              <a:cxn ang="0">
                <a:pos x="connsiteX7273" y="connsiteY7273"/>
              </a:cxn>
              <a:cxn ang="0">
                <a:pos x="connsiteX7274" y="connsiteY7274"/>
              </a:cxn>
              <a:cxn ang="0">
                <a:pos x="connsiteX7275" y="connsiteY7275"/>
              </a:cxn>
              <a:cxn ang="0">
                <a:pos x="connsiteX7276" y="connsiteY7276"/>
              </a:cxn>
              <a:cxn ang="0">
                <a:pos x="connsiteX7277" y="connsiteY7277"/>
              </a:cxn>
              <a:cxn ang="0">
                <a:pos x="connsiteX7278" y="connsiteY7278"/>
              </a:cxn>
              <a:cxn ang="0">
                <a:pos x="connsiteX7279" y="connsiteY7279"/>
              </a:cxn>
              <a:cxn ang="0">
                <a:pos x="connsiteX7280" y="connsiteY7280"/>
              </a:cxn>
              <a:cxn ang="0">
                <a:pos x="connsiteX7281" y="connsiteY7281"/>
              </a:cxn>
              <a:cxn ang="0">
                <a:pos x="connsiteX7282" y="connsiteY7282"/>
              </a:cxn>
              <a:cxn ang="0">
                <a:pos x="connsiteX7283" y="connsiteY7283"/>
              </a:cxn>
              <a:cxn ang="0">
                <a:pos x="connsiteX7284" y="connsiteY7284"/>
              </a:cxn>
              <a:cxn ang="0">
                <a:pos x="connsiteX7285" y="connsiteY7285"/>
              </a:cxn>
              <a:cxn ang="0">
                <a:pos x="connsiteX7286" y="connsiteY7286"/>
              </a:cxn>
              <a:cxn ang="0">
                <a:pos x="connsiteX7287" y="connsiteY7287"/>
              </a:cxn>
              <a:cxn ang="0">
                <a:pos x="connsiteX7288" y="connsiteY7288"/>
              </a:cxn>
              <a:cxn ang="0">
                <a:pos x="connsiteX7289" y="connsiteY7289"/>
              </a:cxn>
              <a:cxn ang="0">
                <a:pos x="connsiteX7290" y="connsiteY7290"/>
              </a:cxn>
              <a:cxn ang="0">
                <a:pos x="connsiteX7291" y="connsiteY7291"/>
              </a:cxn>
              <a:cxn ang="0">
                <a:pos x="connsiteX7292" y="connsiteY7292"/>
              </a:cxn>
              <a:cxn ang="0">
                <a:pos x="connsiteX7293" y="connsiteY7293"/>
              </a:cxn>
              <a:cxn ang="0">
                <a:pos x="connsiteX7294" y="connsiteY7294"/>
              </a:cxn>
              <a:cxn ang="0">
                <a:pos x="connsiteX7295" y="connsiteY7295"/>
              </a:cxn>
              <a:cxn ang="0">
                <a:pos x="connsiteX7296" y="connsiteY7296"/>
              </a:cxn>
              <a:cxn ang="0">
                <a:pos x="connsiteX7297" y="connsiteY7297"/>
              </a:cxn>
              <a:cxn ang="0">
                <a:pos x="connsiteX7298" y="connsiteY7298"/>
              </a:cxn>
              <a:cxn ang="0">
                <a:pos x="connsiteX7299" y="connsiteY7299"/>
              </a:cxn>
              <a:cxn ang="0">
                <a:pos x="connsiteX7300" y="connsiteY7300"/>
              </a:cxn>
              <a:cxn ang="0">
                <a:pos x="connsiteX7301" y="connsiteY7301"/>
              </a:cxn>
              <a:cxn ang="0">
                <a:pos x="connsiteX7302" y="connsiteY7302"/>
              </a:cxn>
              <a:cxn ang="0">
                <a:pos x="connsiteX7303" y="connsiteY7303"/>
              </a:cxn>
              <a:cxn ang="0">
                <a:pos x="connsiteX7304" y="connsiteY7304"/>
              </a:cxn>
              <a:cxn ang="0">
                <a:pos x="connsiteX7305" y="connsiteY7305"/>
              </a:cxn>
              <a:cxn ang="0">
                <a:pos x="connsiteX7306" y="connsiteY7306"/>
              </a:cxn>
              <a:cxn ang="0">
                <a:pos x="connsiteX7307" y="connsiteY7307"/>
              </a:cxn>
              <a:cxn ang="0">
                <a:pos x="connsiteX7308" y="connsiteY7308"/>
              </a:cxn>
              <a:cxn ang="0">
                <a:pos x="connsiteX7309" y="connsiteY7309"/>
              </a:cxn>
              <a:cxn ang="0">
                <a:pos x="connsiteX7310" y="connsiteY7310"/>
              </a:cxn>
              <a:cxn ang="0">
                <a:pos x="connsiteX7311" y="connsiteY7311"/>
              </a:cxn>
              <a:cxn ang="0">
                <a:pos x="connsiteX7312" y="connsiteY7312"/>
              </a:cxn>
              <a:cxn ang="0">
                <a:pos x="connsiteX7313" y="connsiteY7313"/>
              </a:cxn>
              <a:cxn ang="0">
                <a:pos x="connsiteX7314" y="connsiteY7314"/>
              </a:cxn>
              <a:cxn ang="0">
                <a:pos x="connsiteX7315" y="connsiteY7315"/>
              </a:cxn>
              <a:cxn ang="0">
                <a:pos x="connsiteX7316" y="connsiteY7316"/>
              </a:cxn>
              <a:cxn ang="0">
                <a:pos x="connsiteX7317" y="connsiteY7317"/>
              </a:cxn>
              <a:cxn ang="0">
                <a:pos x="connsiteX7318" y="connsiteY7318"/>
              </a:cxn>
              <a:cxn ang="0">
                <a:pos x="connsiteX7319" y="connsiteY7319"/>
              </a:cxn>
              <a:cxn ang="0">
                <a:pos x="connsiteX7320" y="connsiteY7320"/>
              </a:cxn>
              <a:cxn ang="0">
                <a:pos x="connsiteX7321" y="connsiteY7321"/>
              </a:cxn>
              <a:cxn ang="0">
                <a:pos x="connsiteX7322" y="connsiteY7322"/>
              </a:cxn>
              <a:cxn ang="0">
                <a:pos x="connsiteX7323" y="connsiteY7323"/>
              </a:cxn>
              <a:cxn ang="0">
                <a:pos x="connsiteX7324" y="connsiteY7324"/>
              </a:cxn>
              <a:cxn ang="0">
                <a:pos x="connsiteX7325" y="connsiteY7325"/>
              </a:cxn>
              <a:cxn ang="0">
                <a:pos x="connsiteX7326" y="connsiteY7326"/>
              </a:cxn>
              <a:cxn ang="0">
                <a:pos x="connsiteX7327" y="connsiteY7327"/>
              </a:cxn>
              <a:cxn ang="0">
                <a:pos x="connsiteX7328" y="connsiteY7328"/>
              </a:cxn>
              <a:cxn ang="0">
                <a:pos x="connsiteX7329" y="connsiteY7329"/>
              </a:cxn>
              <a:cxn ang="0">
                <a:pos x="connsiteX7330" y="connsiteY7330"/>
              </a:cxn>
              <a:cxn ang="0">
                <a:pos x="connsiteX7331" y="connsiteY7331"/>
              </a:cxn>
              <a:cxn ang="0">
                <a:pos x="connsiteX7332" y="connsiteY7332"/>
              </a:cxn>
              <a:cxn ang="0">
                <a:pos x="connsiteX7333" y="connsiteY7333"/>
              </a:cxn>
              <a:cxn ang="0">
                <a:pos x="connsiteX7334" y="connsiteY7334"/>
              </a:cxn>
              <a:cxn ang="0">
                <a:pos x="connsiteX7335" y="connsiteY7335"/>
              </a:cxn>
              <a:cxn ang="0">
                <a:pos x="connsiteX7336" y="connsiteY7336"/>
              </a:cxn>
              <a:cxn ang="0">
                <a:pos x="connsiteX7337" y="connsiteY7337"/>
              </a:cxn>
              <a:cxn ang="0">
                <a:pos x="connsiteX7338" y="connsiteY7338"/>
              </a:cxn>
              <a:cxn ang="0">
                <a:pos x="connsiteX7339" y="connsiteY7339"/>
              </a:cxn>
              <a:cxn ang="0">
                <a:pos x="connsiteX7340" y="connsiteY7340"/>
              </a:cxn>
              <a:cxn ang="0">
                <a:pos x="connsiteX7341" y="connsiteY7341"/>
              </a:cxn>
              <a:cxn ang="0">
                <a:pos x="connsiteX7342" y="connsiteY7342"/>
              </a:cxn>
              <a:cxn ang="0">
                <a:pos x="connsiteX7343" y="connsiteY7343"/>
              </a:cxn>
              <a:cxn ang="0">
                <a:pos x="connsiteX7344" y="connsiteY7344"/>
              </a:cxn>
              <a:cxn ang="0">
                <a:pos x="connsiteX7345" y="connsiteY7345"/>
              </a:cxn>
              <a:cxn ang="0">
                <a:pos x="connsiteX7346" y="connsiteY7346"/>
              </a:cxn>
              <a:cxn ang="0">
                <a:pos x="connsiteX7347" y="connsiteY7347"/>
              </a:cxn>
              <a:cxn ang="0">
                <a:pos x="connsiteX7348" y="connsiteY7348"/>
              </a:cxn>
              <a:cxn ang="0">
                <a:pos x="connsiteX7349" y="connsiteY7349"/>
              </a:cxn>
              <a:cxn ang="0">
                <a:pos x="connsiteX7350" y="connsiteY7350"/>
              </a:cxn>
              <a:cxn ang="0">
                <a:pos x="connsiteX7351" y="connsiteY7351"/>
              </a:cxn>
              <a:cxn ang="0">
                <a:pos x="connsiteX7352" y="connsiteY7352"/>
              </a:cxn>
              <a:cxn ang="0">
                <a:pos x="connsiteX7353" y="connsiteY7353"/>
              </a:cxn>
              <a:cxn ang="0">
                <a:pos x="connsiteX7354" y="connsiteY7354"/>
              </a:cxn>
              <a:cxn ang="0">
                <a:pos x="connsiteX7355" y="connsiteY7355"/>
              </a:cxn>
              <a:cxn ang="0">
                <a:pos x="connsiteX7356" y="connsiteY7356"/>
              </a:cxn>
              <a:cxn ang="0">
                <a:pos x="connsiteX7357" y="connsiteY7357"/>
              </a:cxn>
              <a:cxn ang="0">
                <a:pos x="connsiteX7358" y="connsiteY7358"/>
              </a:cxn>
              <a:cxn ang="0">
                <a:pos x="connsiteX7359" y="connsiteY7359"/>
              </a:cxn>
              <a:cxn ang="0">
                <a:pos x="connsiteX7360" y="connsiteY7360"/>
              </a:cxn>
              <a:cxn ang="0">
                <a:pos x="connsiteX7361" y="connsiteY7361"/>
              </a:cxn>
              <a:cxn ang="0">
                <a:pos x="connsiteX7362" y="connsiteY7362"/>
              </a:cxn>
              <a:cxn ang="0">
                <a:pos x="connsiteX7363" y="connsiteY7363"/>
              </a:cxn>
              <a:cxn ang="0">
                <a:pos x="connsiteX7364" y="connsiteY7364"/>
              </a:cxn>
              <a:cxn ang="0">
                <a:pos x="connsiteX7365" y="connsiteY7365"/>
              </a:cxn>
              <a:cxn ang="0">
                <a:pos x="connsiteX7366" y="connsiteY7366"/>
              </a:cxn>
              <a:cxn ang="0">
                <a:pos x="connsiteX7367" y="connsiteY7367"/>
              </a:cxn>
              <a:cxn ang="0">
                <a:pos x="connsiteX7368" y="connsiteY7368"/>
              </a:cxn>
              <a:cxn ang="0">
                <a:pos x="connsiteX7369" y="connsiteY7369"/>
              </a:cxn>
              <a:cxn ang="0">
                <a:pos x="connsiteX7370" y="connsiteY7370"/>
              </a:cxn>
              <a:cxn ang="0">
                <a:pos x="connsiteX7371" y="connsiteY7371"/>
              </a:cxn>
              <a:cxn ang="0">
                <a:pos x="connsiteX7372" y="connsiteY7372"/>
              </a:cxn>
              <a:cxn ang="0">
                <a:pos x="connsiteX7373" y="connsiteY7373"/>
              </a:cxn>
              <a:cxn ang="0">
                <a:pos x="connsiteX7374" y="connsiteY7374"/>
              </a:cxn>
              <a:cxn ang="0">
                <a:pos x="connsiteX7375" y="connsiteY7375"/>
              </a:cxn>
              <a:cxn ang="0">
                <a:pos x="connsiteX7376" y="connsiteY7376"/>
              </a:cxn>
              <a:cxn ang="0">
                <a:pos x="connsiteX7377" y="connsiteY7377"/>
              </a:cxn>
              <a:cxn ang="0">
                <a:pos x="connsiteX7378" y="connsiteY7378"/>
              </a:cxn>
              <a:cxn ang="0">
                <a:pos x="connsiteX7379" y="connsiteY7379"/>
              </a:cxn>
              <a:cxn ang="0">
                <a:pos x="connsiteX7380" y="connsiteY7380"/>
              </a:cxn>
              <a:cxn ang="0">
                <a:pos x="connsiteX7381" y="connsiteY7381"/>
              </a:cxn>
              <a:cxn ang="0">
                <a:pos x="connsiteX7382" y="connsiteY7382"/>
              </a:cxn>
              <a:cxn ang="0">
                <a:pos x="connsiteX7383" y="connsiteY7383"/>
              </a:cxn>
              <a:cxn ang="0">
                <a:pos x="connsiteX7384" y="connsiteY7384"/>
              </a:cxn>
              <a:cxn ang="0">
                <a:pos x="connsiteX7385" y="connsiteY7385"/>
              </a:cxn>
              <a:cxn ang="0">
                <a:pos x="connsiteX7386" y="connsiteY7386"/>
              </a:cxn>
              <a:cxn ang="0">
                <a:pos x="connsiteX7387" y="connsiteY7387"/>
              </a:cxn>
              <a:cxn ang="0">
                <a:pos x="connsiteX7388" y="connsiteY7388"/>
              </a:cxn>
              <a:cxn ang="0">
                <a:pos x="connsiteX7389" y="connsiteY7389"/>
              </a:cxn>
              <a:cxn ang="0">
                <a:pos x="connsiteX7390" y="connsiteY7390"/>
              </a:cxn>
              <a:cxn ang="0">
                <a:pos x="connsiteX7391" y="connsiteY7391"/>
              </a:cxn>
              <a:cxn ang="0">
                <a:pos x="connsiteX7392" y="connsiteY7392"/>
              </a:cxn>
              <a:cxn ang="0">
                <a:pos x="connsiteX7393" y="connsiteY7393"/>
              </a:cxn>
              <a:cxn ang="0">
                <a:pos x="connsiteX7394" y="connsiteY7394"/>
              </a:cxn>
              <a:cxn ang="0">
                <a:pos x="connsiteX7395" y="connsiteY7395"/>
              </a:cxn>
              <a:cxn ang="0">
                <a:pos x="connsiteX7396" y="connsiteY7396"/>
              </a:cxn>
              <a:cxn ang="0">
                <a:pos x="connsiteX7397" y="connsiteY7397"/>
              </a:cxn>
              <a:cxn ang="0">
                <a:pos x="connsiteX7398" y="connsiteY7398"/>
              </a:cxn>
              <a:cxn ang="0">
                <a:pos x="connsiteX7399" y="connsiteY7399"/>
              </a:cxn>
              <a:cxn ang="0">
                <a:pos x="connsiteX7400" y="connsiteY7400"/>
              </a:cxn>
              <a:cxn ang="0">
                <a:pos x="connsiteX7401" y="connsiteY7401"/>
              </a:cxn>
              <a:cxn ang="0">
                <a:pos x="connsiteX7402" y="connsiteY7402"/>
              </a:cxn>
              <a:cxn ang="0">
                <a:pos x="connsiteX7403" y="connsiteY7403"/>
              </a:cxn>
              <a:cxn ang="0">
                <a:pos x="connsiteX7404" y="connsiteY7404"/>
              </a:cxn>
              <a:cxn ang="0">
                <a:pos x="connsiteX7405" y="connsiteY7405"/>
              </a:cxn>
              <a:cxn ang="0">
                <a:pos x="connsiteX7406" y="connsiteY7406"/>
              </a:cxn>
              <a:cxn ang="0">
                <a:pos x="connsiteX7407" y="connsiteY7407"/>
              </a:cxn>
              <a:cxn ang="0">
                <a:pos x="connsiteX7408" y="connsiteY7408"/>
              </a:cxn>
              <a:cxn ang="0">
                <a:pos x="connsiteX7409" y="connsiteY7409"/>
              </a:cxn>
              <a:cxn ang="0">
                <a:pos x="connsiteX7410" y="connsiteY7410"/>
              </a:cxn>
              <a:cxn ang="0">
                <a:pos x="connsiteX7411" y="connsiteY7411"/>
              </a:cxn>
              <a:cxn ang="0">
                <a:pos x="connsiteX7412" y="connsiteY7412"/>
              </a:cxn>
              <a:cxn ang="0">
                <a:pos x="connsiteX7413" y="connsiteY7413"/>
              </a:cxn>
              <a:cxn ang="0">
                <a:pos x="connsiteX7414" y="connsiteY7414"/>
              </a:cxn>
              <a:cxn ang="0">
                <a:pos x="connsiteX7415" y="connsiteY7415"/>
              </a:cxn>
              <a:cxn ang="0">
                <a:pos x="connsiteX7416" y="connsiteY7416"/>
              </a:cxn>
              <a:cxn ang="0">
                <a:pos x="connsiteX7417" y="connsiteY7417"/>
              </a:cxn>
              <a:cxn ang="0">
                <a:pos x="connsiteX7418" y="connsiteY7418"/>
              </a:cxn>
              <a:cxn ang="0">
                <a:pos x="connsiteX7419" y="connsiteY7419"/>
              </a:cxn>
              <a:cxn ang="0">
                <a:pos x="connsiteX7420" y="connsiteY7420"/>
              </a:cxn>
              <a:cxn ang="0">
                <a:pos x="connsiteX7421" y="connsiteY7421"/>
              </a:cxn>
              <a:cxn ang="0">
                <a:pos x="connsiteX7422" y="connsiteY7422"/>
              </a:cxn>
              <a:cxn ang="0">
                <a:pos x="connsiteX7423" y="connsiteY7423"/>
              </a:cxn>
              <a:cxn ang="0">
                <a:pos x="connsiteX7424" y="connsiteY7424"/>
              </a:cxn>
              <a:cxn ang="0">
                <a:pos x="connsiteX7425" y="connsiteY7425"/>
              </a:cxn>
              <a:cxn ang="0">
                <a:pos x="connsiteX7426" y="connsiteY7426"/>
              </a:cxn>
              <a:cxn ang="0">
                <a:pos x="connsiteX7427" y="connsiteY7427"/>
              </a:cxn>
              <a:cxn ang="0">
                <a:pos x="connsiteX7428" y="connsiteY7428"/>
              </a:cxn>
              <a:cxn ang="0">
                <a:pos x="connsiteX7429" y="connsiteY7429"/>
              </a:cxn>
              <a:cxn ang="0">
                <a:pos x="connsiteX7430" y="connsiteY7430"/>
              </a:cxn>
              <a:cxn ang="0">
                <a:pos x="connsiteX7431" y="connsiteY7431"/>
              </a:cxn>
              <a:cxn ang="0">
                <a:pos x="connsiteX7432" y="connsiteY7432"/>
              </a:cxn>
              <a:cxn ang="0">
                <a:pos x="connsiteX7433" y="connsiteY7433"/>
              </a:cxn>
              <a:cxn ang="0">
                <a:pos x="connsiteX7434" y="connsiteY7434"/>
              </a:cxn>
              <a:cxn ang="0">
                <a:pos x="connsiteX7435" y="connsiteY7435"/>
              </a:cxn>
              <a:cxn ang="0">
                <a:pos x="connsiteX7436" y="connsiteY7436"/>
              </a:cxn>
              <a:cxn ang="0">
                <a:pos x="connsiteX7437" y="connsiteY7437"/>
              </a:cxn>
              <a:cxn ang="0">
                <a:pos x="connsiteX7438" y="connsiteY7438"/>
              </a:cxn>
              <a:cxn ang="0">
                <a:pos x="connsiteX7439" y="connsiteY7439"/>
              </a:cxn>
              <a:cxn ang="0">
                <a:pos x="connsiteX7440" y="connsiteY7440"/>
              </a:cxn>
              <a:cxn ang="0">
                <a:pos x="connsiteX7441" y="connsiteY7441"/>
              </a:cxn>
              <a:cxn ang="0">
                <a:pos x="connsiteX7442" y="connsiteY7442"/>
              </a:cxn>
              <a:cxn ang="0">
                <a:pos x="connsiteX7443" y="connsiteY7443"/>
              </a:cxn>
              <a:cxn ang="0">
                <a:pos x="connsiteX7444" y="connsiteY7444"/>
              </a:cxn>
              <a:cxn ang="0">
                <a:pos x="connsiteX7445" y="connsiteY7445"/>
              </a:cxn>
              <a:cxn ang="0">
                <a:pos x="connsiteX7446" y="connsiteY7446"/>
              </a:cxn>
              <a:cxn ang="0">
                <a:pos x="connsiteX7447" y="connsiteY7447"/>
              </a:cxn>
              <a:cxn ang="0">
                <a:pos x="connsiteX7448" y="connsiteY7448"/>
              </a:cxn>
              <a:cxn ang="0">
                <a:pos x="connsiteX7449" y="connsiteY7449"/>
              </a:cxn>
              <a:cxn ang="0">
                <a:pos x="connsiteX7450" y="connsiteY7450"/>
              </a:cxn>
              <a:cxn ang="0">
                <a:pos x="connsiteX7451" y="connsiteY7451"/>
              </a:cxn>
              <a:cxn ang="0">
                <a:pos x="connsiteX7452" y="connsiteY7452"/>
              </a:cxn>
              <a:cxn ang="0">
                <a:pos x="connsiteX7453" y="connsiteY7453"/>
              </a:cxn>
              <a:cxn ang="0">
                <a:pos x="connsiteX7454" y="connsiteY7454"/>
              </a:cxn>
              <a:cxn ang="0">
                <a:pos x="connsiteX7455" y="connsiteY7455"/>
              </a:cxn>
              <a:cxn ang="0">
                <a:pos x="connsiteX7456" y="connsiteY7456"/>
              </a:cxn>
              <a:cxn ang="0">
                <a:pos x="connsiteX7457" y="connsiteY7457"/>
              </a:cxn>
              <a:cxn ang="0">
                <a:pos x="connsiteX7458" y="connsiteY7458"/>
              </a:cxn>
              <a:cxn ang="0">
                <a:pos x="connsiteX7459" y="connsiteY7459"/>
              </a:cxn>
              <a:cxn ang="0">
                <a:pos x="connsiteX7460" y="connsiteY7460"/>
              </a:cxn>
              <a:cxn ang="0">
                <a:pos x="connsiteX7461" y="connsiteY7461"/>
              </a:cxn>
              <a:cxn ang="0">
                <a:pos x="connsiteX7462" y="connsiteY7462"/>
              </a:cxn>
              <a:cxn ang="0">
                <a:pos x="connsiteX7463" y="connsiteY7463"/>
              </a:cxn>
              <a:cxn ang="0">
                <a:pos x="connsiteX7464" y="connsiteY7464"/>
              </a:cxn>
              <a:cxn ang="0">
                <a:pos x="connsiteX7465" y="connsiteY7465"/>
              </a:cxn>
              <a:cxn ang="0">
                <a:pos x="connsiteX7466" y="connsiteY7466"/>
              </a:cxn>
              <a:cxn ang="0">
                <a:pos x="connsiteX7467" y="connsiteY7467"/>
              </a:cxn>
              <a:cxn ang="0">
                <a:pos x="connsiteX7468" y="connsiteY7468"/>
              </a:cxn>
              <a:cxn ang="0">
                <a:pos x="connsiteX7469" y="connsiteY7469"/>
              </a:cxn>
              <a:cxn ang="0">
                <a:pos x="connsiteX7470" y="connsiteY7470"/>
              </a:cxn>
              <a:cxn ang="0">
                <a:pos x="connsiteX7471" y="connsiteY7471"/>
              </a:cxn>
              <a:cxn ang="0">
                <a:pos x="connsiteX7472" y="connsiteY7472"/>
              </a:cxn>
              <a:cxn ang="0">
                <a:pos x="connsiteX7473" y="connsiteY7473"/>
              </a:cxn>
              <a:cxn ang="0">
                <a:pos x="connsiteX7474" y="connsiteY7474"/>
              </a:cxn>
              <a:cxn ang="0">
                <a:pos x="connsiteX7475" y="connsiteY7475"/>
              </a:cxn>
              <a:cxn ang="0">
                <a:pos x="connsiteX7476" y="connsiteY7476"/>
              </a:cxn>
              <a:cxn ang="0">
                <a:pos x="connsiteX7477" y="connsiteY7477"/>
              </a:cxn>
              <a:cxn ang="0">
                <a:pos x="connsiteX7478" y="connsiteY7478"/>
              </a:cxn>
              <a:cxn ang="0">
                <a:pos x="connsiteX7479" y="connsiteY7479"/>
              </a:cxn>
              <a:cxn ang="0">
                <a:pos x="connsiteX7480" y="connsiteY7480"/>
              </a:cxn>
              <a:cxn ang="0">
                <a:pos x="connsiteX7481" y="connsiteY7481"/>
              </a:cxn>
              <a:cxn ang="0">
                <a:pos x="connsiteX7482" y="connsiteY7482"/>
              </a:cxn>
              <a:cxn ang="0">
                <a:pos x="connsiteX7483" y="connsiteY7483"/>
              </a:cxn>
              <a:cxn ang="0">
                <a:pos x="connsiteX7484" y="connsiteY7484"/>
              </a:cxn>
              <a:cxn ang="0">
                <a:pos x="connsiteX7485" y="connsiteY7485"/>
              </a:cxn>
              <a:cxn ang="0">
                <a:pos x="connsiteX7486" y="connsiteY7486"/>
              </a:cxn>
              <a:cxn ang="0">
                <a:pos x="connsiteX7487" y="connsiteY7487"/>
              </a:cxn>
              <a:cxn ang="0">
                <a:pos x="connsiteX7488" y="connsiteY7488"/>
              </a:cxn>
              <a:cxn ang="0">
                <a:pos x="connsiteX7489" y="connsiteY7489"/>
              </a:cxn>
              <a:cxn ang="0">
                <a:pos x="connsiteX7490" y="connsiteY7490"/>
              </a:cxn>
              <a:cxn ang="0">
                <a:pos x="connsiteX7491" y="connsiteY7491"/>
              </a:cxn>
              <a:cxn ang="0">
                <a:pos x="connsiteX7492" y="connsiteY7492"/>
              </a:cxn>
              <a:cxn ang="0">
                <a:pos x="connsiteX7493" y="connsiteY7493"/>
              </a:cxn>
              <a:cxn ang="0">
                <a:pos x="connsiteX7494" y="connsiteY7494"/>
              </a:cxn>
              <a:cxn ang="0">
                <a:pos x="connsiteX7495" y="connsiteY7495"/>
              </a:cxn>
              <a:cxn ang="0">
                <a:pos x="connsiteX7496" y="connsiteY7496"/>
              </a:cxn>
              <a:cxn ang="0">
                <a:pos x="connsiteX7497" y="connsiteY7497"/>
              </a:cxn>
              <a:cxn ang="0">
                <a:pos x="connsiteX7498" y="connsiteY7498"/>
              </a:cxn>
              <a:cxn ang="0">
                <a:pos x="connsiteX7499" y="connsiteY7499"/>
              </a:cxn>
              <a:cxn ang="0">
                <a:pos x="connsiteX7500" y="connsiteY7500"/>
              </a:cxn>
              <a:cxn ang="0">
                <a:pos x="connsiteX7501" y="connsiteY7501"/>
              </a:cxn>
              <a:cxn ang="0">
                <a:pos x="connsiteX7502" y="connsiteY7502"/>
              </a:cxn>
              <a:cxn ang="0">
                <a:pos x="connsiteX7503" y="connsiteY7503"/>
              </a:cxn>
              <a:cxn ang="0">
                <a:pos x="connsiteX7504" y="connsiteY7504"/>
              </a:cxn>
              <a:cxn ang="0">
                <a:pos x="connsiteX7505" y="connsiteY7505"/>
              </a:cxn>
              <a:cxn ang="0">
                <a:pos x="connsiteX7506" y="connsiteY7506"/>
              </a:cxn>
              <a:cxn ang="0">
                <a:pos x="connsiteX7507" y="connsiteY7507"/>
              </a:cxn>
              <a:cxn ang="0">
                <a:pos x="connsiteX7508" y="connsiteY7508"/>
              </a:cxn>
              <a:cxn ang="0">
                <a:pos x="connsiteX7509" y="connsiteY7509"/>
              </a:cxn>
              <a:cxn ang="0">
                <a:pos x="connsiteX7510" y="connsiteY7510"/>
              </a:cxn>
              <a:cxn ang="0">
                <a:pos x="connsiteX7511" y="connsiteY7511"/>
              </a:cxn>
              <a:cxn ang="0">
                <a:pos x="connsiteX7512" y="connsiteY7512"/>
              </a:cxn>
              <a:cxn ang="0">
                <a:pos x="connsiteX7513" y="connsiteY7513"/>
              </a:cxn>
              <a:cxn ang="0">
                <a:pos x="connsiteX7514" y="connsiteY7514"/>
              </a:cxn>
              <a:cxn ang="0">
                <a:pos x="connsiteX7515" y="connsiteY7515"/>
              </a:cxn>
              <a:cxn ang="0">
                <a:pos x="connsiteX7516" y="connsiteY7516"/>
              </a:cxn>
              <a:cxn ang="0">
                <a:pos x="connsiteX7517" y="connsiteY7517"/>
              </a:cxn>
              <a:cxn ang="0">
                <a:pos x="connsiteX7518" y="connsiteY7518"/>
              </a:cxn>
              <a:cxn ang="0">
                <a:pos x="connsiteX7519" y="connsiteY7519"/>
              </a:cxn>
              <a:cxn ang="0">
                <a:pos x="connsiteX7520" y="connsiteY7520"/>
              </a:cxn>
              <a:cxn ang="0">
                <a:pos x="connsiteX7521" y="connsiteY7521"/>
              </a:cxn>
              <a:cxn ang="0">
                <a:pos x="connsiteX7522" y="connsiteY7522"/>
              </a:cxn>
              <a:cxn ang="0">
                <a:pos x="connsiteX7523" y="connsiteY7523"/>
              </a:cxn>
              <a:cxn ang="0">
                <a:pos x="connsiteX7524" y="connsiteY7524"/>
              </a:cxn>
              <a:cxn ang="0">
                <a:pos x="connsiteX7525" y="connsiteY7525"/>
              </a:cxn>
              <a:cxn ang="0">
                <a:pos x="connsiteX7526" y="connsiteY7526"/>
              </a:cxn>
              <a:cxn ang="0">
                <a:pos x="connsiteX7527" y="connsiteY7527"/>
              </a:cxn>
              <a:cxn ang="0">
                <a:pos x="connsiteX7528" y="connsiteY7528"/>
              </a:cxn>
              <a:cxn ang="0">
                <a:pos x="connsiteX7529" y="connsiteY7529"/>
              </a:cxn>
              <a:cxn ang="0">
                <a:pos x="connsiteX7530" y="connsiteY7530"/>
              </a:cxn>
              <a:cxn ang="0">
                <a:pos x="connsiteX7531" y="connsiteY7531"/>
              </a:cxn>
              <a:cxn ang="0">
                <a:pos x="connsiteX7532" y="connsiteY7532"/>
              </a:cxn>
              <a:cxn ang="0">
                <a:pos x="connsiteX7533" y="connsiteY7533"/>
              </a:cxn>
              <a:cxn ang="0">
                <a:pos x="connsiteX7534" y="connsiteY7534"/>
              </a:cxn>
              <a:cxn ang="0">
                <a:pos x="connsiteX7535" y="connsiteY7535"/>
              </a:cxn>
              <a:cxn ang="0">
                <a:pos x="connsiteX7536" y="connsiteY7536"/>
              </a:cxn>
              <a:cxn ang="0">
                <a:pos x="connsiteX7537" y="connsiteY7537"/>
              </a:cxn>
              <a:cxn ang="0">
                <a:pos x="connsiteX7538" y="connsiteY7538"/>
              </a:cxn>
              <a:cxn ang="0">
                <a:pos x="connsiteX7539" y="connsiteY7539"/>
              </a:cxn>
              <a:cxn ang="0">
                <a:pos x="connsiteX7540" y="connsiteY7540"/>
              </a:cxn>
              <a:cxn ang="0">
                <a:pos x="connsiteX7541" y="connsiteY7541"/>
              </a:cxn>
              <a:cxn ang="0">
                <a:pos x="connsiteX7542" y="connsiteY7542"/>
              </a:cxn>
              <a:cxn ang="0">
                <a:pos x="connsiteX7543" y="connsiteY7543"/>
              </a:cxn>
              <a:cxn ang="0">
                <a:pos x="connsiteX7544" y="connsiteY7544"/>
              </a:cxn>
              <a:cxn ang="0">
                <a:pos x="connsiteX7545" y="connsiteY7545"/>
              </a:cxn>
              <a:cxn ang="0">
                <a:pos x="connsiteX7546" y="connsiteY7546"/>
              </a:cxn>
              <a:cxn ang="0">
                <a:pos x="connsiteX7547" y="connsiteY7547"/>
              </a:cxn>
              <a:cxn ang="0">
                <a:pos x="connsiteX7548" y="connsiteY7548"/>
              </a:cxn>
              <a:cxn ang="0">
                <a:pos x="connsiteX7549" y="connsiteY7549"/>
              </a:cxn>
              <a:cxn ang="0">
                <a:pos x="connsiteX7550" y="connsiteY7550"/>
              </a:cxn>
              <a:cxn ang="0">
                <a:pos x="connsiteX7551" y="connsiteY7551"/>
              </a:cxn>
              <a:cxn ang="0">
                <a:pos x="connsiteX7552" y="connsiteY7552"/>
              </a:cxn>
              <a:cxn ang="0">
                <a:pos x="connsiteX7553" y="connsiteY7553"/>
              </a:cxn>
              <a:cxn ang="0">
                <a:pos x="connsiteX7554" y="connsiteY7554"/>
              </a:cxn>
              <a:cxn ang="0">
                <a:pos x="connsiteX7555" y="connsiteY7555"/>
              </a:cxn>
              <a:cxn ang="0">
                <a:pos x="connsiteX7556" y="connsiteY7556"/>
              </a:cxn>
              <a:cxn ang="0">
                <a:pos x="connsiteX7557" y="connsiteY7557"/>
              </a:cxn>
              <a:cxn ang="0">
                <a:pos x="connsiteX7558" y="connsiteY7558"/>
              </a:cxn>
              <a:cxn ang="0">
                <a:pos x="connsiteX7559" y="connsiteY7559"/>
              </a:cxn>
              <a:cxn ang="0">
                <a:pos x="connsiteX7560" y="connsiteY7560"/>
              </a:cxn>
              <a:cxn ang="0">
                <a:pos x="connsiteX7561" y="connsiteY7561"/>
              </a:cxn>
              <a:cxn ang="0">
                <a:pos x="connsiteX7562" y="connsiteY7562"/>
              </a:cxn>
              <a:cxn ang="0">
                <a:pos x="connsiteX7563" y="connsiteY7563"/>
              </a:cxn>
              <a:cxn ang="0">
                <a:pos x="connsiteX7564" y="connsiteY7564"/>
              </a:cxn>
              <a:cxn ang="0">
                <a:pos x="connsiteX7565" y="connsiteY7565"/>
              </a:cxn>
              <a:cxn ang="0">
                <a:pos x="connsiteX7566" y="connsiteY7566"/>
              </a:cxn>
              <a:cxn ang="0">
                <a:pos x="connsiteX7567" y="connsiteY7567"/>
              </a:cxn>
              <a:cxn ang="0">
                <a:pos x="connsiteX7568" y="connsiteY7568"/>
              </a:cxn>
              <a:cxn ang="0">
                <a:pos x="connsiteX7569" y="connsiteY7569"/>
              </a:cxn>
              <a:cxn ang="0">
                <a:pos x="connsiteX7570" y="connsiteY7570"/>
              </a:cxn>
              <a:cxn ang="0">
                <a:pos x="connsiteX7571" y="connsiteY7571"/>
              </a:cxn>
              <a:cxn ang="0">
                <a:pos x="connsiteX7572" y="connsiteY7572"/>
              </a:cxn>
              <a:cxn ang="0">
                <a:pos x="connsiteX7573" y="connsiteY7573"/>
              </a:cxn>
              <a:cxn ang="0">
                <a:pos x="connsiteX7574" y="connsiteY7574"/>
              </a:cxn>
              <a:cxn ang="0">
                <a:pos x="connsiteX7575" y="connsiteY7575"/>
              </a:cxn>
              <a:cxn ang="0">
                <a:pos x="connsiteX7576" y="connsiteY7576"/>
              </a:cxn>
              <a:cxn ang="0">
                <a:pos x="connsiteX7577" y="connsiteY7577"/>
              </a:cxn>
              <a:cxn ang="0">
                <a:pos x="connsiteX7578" y="connsiteY7578"/>
              </a:cxn>
              <a:cxn ang="0">
                <a:pos x="connsiteX7579" y="connsiteY7579"/>
              </a:cxn>
              <a:cxn ang="0">
                <a:pos x="connsiteX7580" y="connsiteY7580"/>
              </a:cxn>
              <a:cxn ang="0">
                <a:pos x="connsiteX7581" y="connsiteY7581"/>
              </a:cxn>
              <a:cxn ang="0">
                <a:pos x="connsiteX7582" y="connsiteY7582"/>
              </a:cxn>
              <a:cxn ang="0">
                <a:pos x="connsiteX7583" y="connsiteY7583"/>
              </a:cxn>
              <a:cxn ang="0">
                <a:pos x="connsiteX7584" y="connsiteY7584"/>
              </a:cxn>
              <a:cxn ang="0">
                <a:pos x="connsiteX7585" y="connsiteY7585"/>
              </a:cxn>
              <a:cxn ang="0">
                <a:pos x="connsiteX7586" y="connsiteY7586"/>
              </a:cxn>
              <a:cxn ang="0">
                <a:pos x="connsiteX7587" y="connsiteY7587"/>
              </a:cxn>
              <a:cxn ang="0">
                <a:pos x="connsiteX7588" y="connsiteY7588"/>
              </a:cxn>
              <a:cxn ang="0">
                <a:pos x="connsiteX7589" y="connsiteY7589"/>
              </a:cxn>
              <a:cxn ang="0">
                <a:pos x="connsiteX7590" y="connsiteY7590"/>
              </a:cxn>
              <a:cxn ang="0">
                <a:pos x="connsiteX7591" y="connsiteY7591"/>
              </a:cxn>
              <a:cxn ang="0">
                <a:pos x="connsiteX7592" y="connsiteY7592"/>
              </a:cxn>
              <a:cxn ang="0">
                <a:pos x="connsiteX7593" y="connsiteY7593"/>
              </a:cxn>
              <a:cxn ang="0">
                <a:pos x="connsiteX7594" y="connsiteY7594"/>
              </a:cxn>
              <a:cxn ang="0">
                <a:pos x="connsiteX7595" y="connsiteY7595"/>
              </a:cxn>
              <a:cxn ang="0">
                <a:pos x="connsiteX7596" y="connsiteY7596"/>
              </a:cxn>
              <a:cxn ang="0">
                <a:pos x="connsiteX7597" y="connsiteY7597"/>
              </a:cxn>
              <a:cxn ang="0">
                <a:pos x="connsiteX7598" y="connsiteY7598"/>
              </a:cxn>
              <a:cxn ang="0">
                <a:pos x="connsiteX7599" y="connsiteY7599"/>
              </a:cxn>
              <a:cxn ang="0">
                <a:pos x="connsiteX7600" y="connsiteY7600"/>
              </a:cxn>
              <a:cxn ang="0">
                <a:pos x="connsiteX7601" y="connsiteY7601"/>
              </a:cxn>
              <a:cxn ang="0">
                <a:pos x="connsiteX7602" y="connsiteY7602"/>
              </a:cxn>
              <a:cxn ang="0">
                <a:pos x="connsiteX7603" y="connsiteY7603"/>
              </a:cxn>
              <a:cxn ang="0">
                <a:pos x="connsiteX7604" y="connsiteY7604"/>
              </a:cxn>
              <a:cxn ang="0">
                <a:pos x="connsiteX7605" y="connsiteY7605"/>
              </a:cxn>
              <a:cxn ang="0">
                <a:pos x="connsiteX7606" y="connsiteY7606"/>
              </a:cxn>
              <a:cxn ang="0">
                <a:pos x="connsiteX7607" y="connsiteY7607"/>
              </a:cxn>
              <a:cxn ang="0">
                <a:pos x="connsiteX7608" y="connsiteY7608"/>
              </a:cxn>
              <a:cxn ang="0">
                <a:pos x="connsiteX7609" y="connsiteY7609"/>
              </a:cxn>
              <a:cxn ang="0">
                <a:pos x="connsiteX7610" y="connsiteY7610"/>
              </a:cxn>
              <a:cxn ang="0">
                <a:pos x="connsiteX7611" y="connsiteY7611"/>
              </a:cxn>
              <a:cxn ang="0">
                <a:pos x="connsiteX7612" y="connsiteY7612"/>
              </a:cxn>
              <a:cxn ang="0">
                <a:pos x="connsiteX7613" y="connsiteY7613"/>
              </a:cxn>
              <a:cxn ang="0">
                <a:pos x="connsiteX7614" y="connsiteY7614"/>
              </a:cxn>
              <a:cxn ang="0">
                <a:pos x="connsiteX7615" y="connsiteY7615"/>
              </a:cxn>
              <a:cxn ang="0">
                <a:pos x="connsiteX7616" y="connsiteY7616"/>
              </a:cxn>
              <a:cxn ang="0">
                <a:pos x="connsiteX7617" y="connsiteY7617"/>
              </a:cxn>
              <a:cxn ang="0">
                <a:pos x="connsiteX7618" y="connsiteY7618"/>
              </a:cxn>
              <a:cxn ang="0">
                <a:pos x="connsiteX7619" y="connsiteY7619"/>
              </a:cxn>
              <a:cxn ang="0">
                <a:pos x="connsiteX7620" y="connsiteY7620"/>
              </a:cxn>
              <a:cxn ang="0">
                <a:pos x="connsiteX7621" y="connsiteY7621"/>
              </a:cxn>
              <a:cxn ang="0">
                <a:pos x="connsiteX7622" y="connsiteY7622"/>
              </a:cxn>
              <a:cxn ang="0">
                <a:pos x="connsiteX7623" y="connsiteY7623"/>
              </a:cxn>
              <a:cxn ang="0">
                <a:pos x="connsiteX7624" y="connsiteY7624"/>
              </a:cxn>
              <a:cxn ang="0">
                <a:pos x="connsiteX7625" y="connsiteY7625"/>
              </a:cxn>
              <a:cxn ang="0">
                <a:pos x="connsiteX7626" y="connsiteY7626"/>
              </a:cxn>
              <a:cxn ang="0">
                <a:pos x="connsiteX7627" y="connsiteY7627"/>
              </a:cxn>
              <a:cxn ang="0">
                <a:pos x="connsiteX7628" y="connsiteY7628"/>
              </a:cxn>
              <a:cxn ang="0">
                <a:pos x="connsiteX7629" y="connsiteY7629"/>
              </a:cxn>
              <a:cxn ang="0">
                <a:pos x="connsiteX7630" y="connsiteY7630"/>
              </a:cxn>
              <a:cxn ang="0">
                <a:pos x="connsiteX7631" y="connsiteY7631"/>
              </a:cxn>
              <a:cxn ang="0">
                <a:pos x="connsiteX7632" y="connsiteY7632"/>
              </a:cxn>
              <a:cxn ang="0">
                <a:pos x="connsiteX7633" y="connsiteY7633"/>
              </a:cxn>
              <a:cxn ang="0">
                <a:pos x="connsiteX7634" y="connsiteY7634"/>
              </a:cxn>
              <a:cxn ang="0">
                <a:pos x="connsiteX7635" y="connsiteY7635"/>
              </a:cxn>
              <a:cxn ang="0">
                <a:pos x="connsiteX7636" y="connsiteY7636"/>
              </a:cxn>
              <a:cxn ang="0">
                <a:pos x="connsiteX7637" y="connsiteY7637"/>
              </a:cxn>
              <a:cxn ang="0">
                <a:pos x="connsiteX7638" y="connsiteY7638"/>
              </a:cxn>
              <a:cxn ang="0">
                <a:pos x="connsiteX7639" y="connsiteY7639"/>
              </a:cxn>
              <a:cxn ang="0">
                <a:pos x="connsiteX7640" y="connsiteY7640"/>
              </a:cxn>
              <a:cxn ang="0">
                <a:pos x="connsiteX7641" y="connsiteY7641"/>
              </a:cxn>
              <a:cxn ang="0">
                <a:pos x="connsiteX7642" y="connsiteY7642"/>
              </a:cxn>
              <a:cxn ang="0">
                <a:pos x="connsiteX7643" y="connsiteY7643"/>
              </a:cxn>
              <a:cxn ang="0">
                <a:pos x="connsiteX7644" y="connsiteY7644"/>
              </a:cxn>
              <a:cxn ang="0">
                <a:pos x="connsiteX7645" y="connsiteY7645"/>
              </a:cxn>
              <a:cxn ang="0">
                <a:pos x="connsiteX7646" y="connsiteY7646"/>
              </a:cxn>
              <a:cxn ang="0">
                <a:pos x="connsiteX7647" y="connsiteY7647"/>
              </a:cxn>
              <a:cxn ang="0">
                <a:pos x="connsiteX7648" y="connsiteY7648"/>
              </a:cxn>
              <a:cxn ang="0">
                <a:pos x="connsiteX7649" y="connsiteY7649"/>
              </a:cxn>
              <a:cxn ang="0">
                <a:pos x="connsiteX7650" y="connsiteY7650"/>
              </a:cxn>
              <a:cxn ang="0">
                <a:pos x="connsiteX7651" y="connsiteY7651"/>
              </a:cxn>
              <a:cxn ang="0">
                <a:pos x="connsiteX7652" y="connsiteY7652"/>
              </a:cxn>
              <a:cxn ang="0">
                <a:pos x="connsiteX7653" y="connsiteY7653"/>
              </a:cxn>
              <a:cxn ang="0">
                <a:pos x="connsiteX7654" y="connsiteY7654"/>
              </a:cxn>
              <a:cxn ang="0">
                <a:pos x="connsiteX7655" y="connsiteY7655"/>
              </a:cxn>
              <a:cxn ang="0">
                <a:pos x="connsiteX7656" y="connsiteY7656"/>
              </a:cxn>
              <a:cxn ang="0">
                <a:pos x="connsiteX7657" y="connsiteY7657"/>
              </a:cxn>
              <a:cxn ang="0">
                <a:pos x="connsiteX7658" y="connsiteY7658"/>
              </a:cxn>
              <a:cxn ang="0">
                <a:pos x="connsiteX7659" y="connsiteY7659"/>
              </a:cxn>
              <a:cxn ang="0">
                <a:pos x="connsiteX7660" y="connsiteY7660"/>
              </a:cxn>
              <a:cxn ang="0">
                <a:pos x="connsiteX7661" y="connsiteY7661"/>
              </a:cxn>
              <a:cxn ang="0">
                <a:pos x="connsiteX7662" y="connsiteY7662"/>
              </a:cxn>
              <a:cxn ang="0">
                <a:pos x="connsiteX7663" y="connsiteY7663"/>
              </a:cxn>
              <a:cxn ang="0">
                <a:pos x="connsiteX7664" y="connsiteY7664"/>
              </a:cxn>
              <a:cxn ang="0">
                <a:pos x="connsiteX7665" y="connsiteY7665"/>
              </a:cxn>
              <a:cxn ang="0">
                <a:pos x="connsiteX7666" y="connsiteY7666"/>
              </a:cxn>
              <a:cxn ang="0">
                <a:pos x="connsiteX7667" y="connsiteY7667"/>
              </a:cxn>
              <a:cxn ang="0">
                <a:pos x="connsiteX7668" y="connsiteY7668"/>
              </a:cxn>
              <a:cxn ang="0">
                <a:pos x="connsiteX7669" y="connsiteY7669"/>
              </a:cxn>
              <a:cxn ang="0">
                <a:pos x="connsiteX7670" y="connsiteY7670"/>
              </a:cxn>
              <a:cxn ang="0">
                <a:pos x="connsiteX7671" y="connsiteY7671"/>
              </a:cxn>
              <a:cxn ang="0">
                <a:pos x="connsiteX7672" y="connsiteY7672"/>
              </a:cxn>
              <a:cxn ang="0">
                <a:pos x="connsiteX7673" y="connsiteY7673"/>
              </a:cxn>
              <a:cxn ang="0">
                <a:pos x="connsiteX7674" y="connsiteY7674"/>
              </a:cxn>
              <a:cxn ang="0">
                <a:pos x="connsiteX7675" y="connsiteY7675"/>
              </a:cxn>
              <a:cxn ang="0">
                <a:pos x="connsiteX7676" y="connsiteY7676"/>
              </a:cxn>
              <a:cxn ang="0">
                <a:pos x="connsiteX7677" y="connsiteY7677"/>
              </a:cxn>
              <a:cxn ang="0">
                <a:pos x="connsiteX7678" y="connsiteY7678"/>
              </a:cxn>
              <a:cxn ang="0">
                <a:pos x="connsiteX7679" y="connsiteY7679"/>
              </a:cxn>
              <a:cxn ang="0">
                <a:pos x="connsiteX7680" y="connsiteY7680"/>
              </a:cxn>
              <a:cxn ang="0">
                <a:pos x="connsiteX7681" y="connsiteY7681"/>
              </a:cxn>
              <a:cxn ang="0">
                <a:pos x="connsiteX7682" y="connsiteY7682"/>
              </a:cxn>
              <a:cxn ang="0">
                <a:pos x="connsiteX7683" y="connsiteY7683"/>
              </a:cxn>
              <a:cxn ang="0">
                <a:pos x="connsiteX7684" y="connsiteY7684"/>
              </a:cxn>
              <a:cxn ang="0">
                <a:pos x="connsiteX7685" y="connsiteY7685"/>
              </a:cxn>
              <a:cxn ang="0">
                <a:pos x="connsiteX7686" y="connsiteY7686"/>
              </a:cxn>
              <a:cxn ang="0">
                <a:pos x="connsiteX7687" y="connsiteY7687"/>
              </a:cxn>
              <a:cxn ang="0">
                <a:pos x="connsiteX7688" y="connsiteY7688"/>
              </a:cxn>
              <a:cxn ang="0">
                <a:pos x="connsiteX7689" y="connsiteY7689"/>
              </a:cxn>
              <a:cxn ang="0">
                <a:pos x="connsiteX7690" y="connsiteY7690"/>
              </a:cxn>
              <a:cxn ang="0">
                <a:pos x="connsiteX7691" y="connsiteY7691"/>
              </a:cxn>
              <a:cxn ang="0">
                <a:pos x="connsiteX7692" y="connsiteY7692"/>
              </a:cxn>
              <a:cxn ang="0">
                <a:pos x="connsiteX7693" y="connsiteY7693"/>
              </a:cxn>
              <a:cxn ang="0">
                <a:pos x="connsiteX7694" y="connsiteY7694"/>
              </a:cxn>
              <a:cxn ang="0">
                <a:pos x="connsiteX7695" y="connsiteY7695"/>
              </a:cxn>
              <a:cxn ang="0">
                <a:pos x="connsiteX7696" y="connsiteY7696"/>
              </a:cxn>
              <a:cxn ang="0">
                <a:pos x="connsiteX7697" y="connsiteY7697"/>
              </a:cxn>
              <a:cxn ang="0">
                <a:pos x="connsiteX7698" y="connsiteY7698"/>
              </a:cxn>
              <a:cxn ang="0">
                <a:pos x="connsiteX7699" y="connsiteY7699"/>
              </a:cxn>
              <a:cxn ang="0">
                <a:pos x="connsiteX7700" y="connsiteY7700"/>
              </a:cxn>
              <a:cxn ang="0">
                <a:pos x="connsiteX7701" y="connsiteY7701"/>
              </a:cxn>
              <a:cxn ang="0">
                <a:pos x="connsiteX7702" y="connsiteY7702"/>
              </a:cxn>
              <a:cxn ang="0">
                <a:pos x="connsiteX7703" y="connsiteY7703"/>
              </a:cxn>
              <a:cxn ang="0">
                <a:pos x="connsiteX7704" y="connsiteY7704"/>
              </a:cxn>
              <a:cxn ang="0">
                <a:pos x="connsiteX7705" y="connsiteY7705"/>
              </a:cxn>
              <a:cxn ang="0">
                <a:pos x="connsiteX7706" y="connsiteY7706"/>
              </a:cxn>
              <a:cxn ang="0">
                <a:pos x="connsiteX7707" y="connsiteY7707"/>
              </a:cxn>
              <a:cxn ang="0">
                <a:pos x="connsiteX7708" y="connsiteY7708"/>
              </a:cxn>
              <a:cxn ang="0">
                <a:pos x="connsiteX7709" y="connsiteY7709"/>
              </a:cxn>
              <a:cxn ang="0">
                <a:pos x="connsiteX7710" y="connsiteY7710"/>
              </a:cxn>
              <a:cxn ang="0">
                <a:pos x="connsiteX7711" y="connsiteY7711"/>
              </a:cxn>
              <a:cxn ang="0">
                <a:pos x="connsiteX7712" y="connsiteY7712"/>
              </a:cxn>
              <a:cxn ang="0">
                <a:pos x="connsiteX7713" y="connsiteY7713"/>
              </a:cxn>
              <a:cxn ang="0">
                <a:pos x="connsiteX7714" y="connsiteY7714"/>
              </a:cxn>
              <a:cxn ang="0">
                <a:pos x="connsiteX7715" y="connsiteY7715"/>
              </a:cxn>
              <a:cxn ang="0">
                <a:pos x="connsiteX7716" y="connsiteY7716"/>
              </a:cxn>
              <a:cxn ang="0">
                <a:pos x="connsiteX7717" y="connsiteY7717"/>
              </a:cxn>
              <a:cxn ang="0">
                <a:pos x="connsiteX7718" y="connsiteY7718"/>
              </a:cxn>
              <a:cxn ang="0">
                <a:pos x="connsiteX7719" y="connsiteY7719"/>
              </a:cxn>
              <a:cxn ang="0">
                <a:pos x="connsiteX7720" y="connsiteY7720"/>
              </a:cxn>
              <a:cxn ang="0">
                <a:pos x="connsiteX7721" y="connsiteY7721"/>
              </a:cxn>
              <a:cxn ang="0">
                <a:pos x="connsiteX7722" y="connsiteY7722"/>
              </a:cxn>
              <a:cxn ang="0">
                <a:pos x="connsiteX7723" y="connsiteY7723"/>
              </a:cxn>
              <a:cxn ang="0">
                <a:pos x="connsiteX7724" y="connsiteY7724"/>
              </a:cxn>
              <a:cxn ang="0">
                <a:pos x="connsiteX7725" y="connsiteY7725"/>
              </a:cxn>
              <a:cxn ang="0">
                <a:pos x="connsiteX7726" y="connsiteY7726"/>
              </a:cxn>
              <a:cxn ang="0">
                <a:pos x="connsiteX7727" y="connsiteY7727"/>
              </a:cxn>
              <a:cxn ang="0">
                <a:pos x="connsiteX7728" y="connsiteY7728"/>
              </a:cxn>
              <a:cxn ang="0">
                <a:pos x="connsiteX7729" y="connsiteY7729"/>
              </a:cxn>
              <a:cxn ang="0">
                <a:pos x="connsiteX7730" y="connsiteY7730"/>
              </a:cxn>
              <a:cxn ang="0">
                <a:pos x="connsiteX7731" y="connsiteY7731"/>
              </a:cxn>
              <a:cxn ang="0">
                <a:pos x="connsiteX7732" y="connsiteY7732"/>
              </a:cxn>
              <a:cxn ang="0">
                <a:pos x="connsiteX7733" y="connsiteY7733"/>
              </a:cxn>
              <a:cxn ang="0">
                <a:pos x="connsiteX7734" y="connsiteY7734"/>
              </a:cxn>
              <a:cxn ang="0">
                <a:pos x="connsiteX7735" y="connsiteY7735"/>
              </a:cxn>
              <a:cxn ang="0">
                <a:pos x="connsiteX7736" y="connsiteY7736"/>
              </a:cxn>
              <a:cxn ang="0">
                <a:pos x="connsiteX7737" y="connsiteY7737"/>
              </a:cxn>
              <a:cxn ang="0">
                <a:pos x="connsiteX7738" y="connsiteY7738"/>
              </a:cxn>
              <a:cxn ang="0">
                <a:pos x="connsiteX7739" y="connsiteY7739"/>
              </a:cxn>
              <a:cxn ang="0">
                <a:pos x="connsiteX7740" y="connsiteY7740"/>
              </a:cxn>
              <a:cxn ang="0">
                <a:pos x="connsiteX7741" y="connsiteY7741"/>
              </a:cxn>
              <a:cxn ang="0">
                <a:pos x="connsiteX7742" y="connsiteY7742"/>
              </a:cxn>
              <a:cxn ang="0">
                <a:pos x="connsiteX7743" y="connsiteY7743"/>
              </a:cxn>
              <a:cxn ang="0">
                <a:pos x="connsiteX7744" y="connsiteY7744"/>
              </a:cxn>
              <a:cxn ang="0">
                <a:pos x="connsiteX7745" y="connsiteY7745"/>
              </a:cxn>
              <a:cxn ang="0">
                <a:pos x="connsiteX7746" y="connsiteY7746"/>
              </a:cxn>
              <a:cxn ang="0">
                <a:pos x="connsiteX7747" y="connsiteY7747"/>
              </a:cxn>
              <a:cxn ang="0">
                <a:pos x="connsiteX7748" y="connsiteY7748"/>
              </a:cxn>
              <a:cxn ang="0">
                <a:pos x="connsiteX7749" y="connsiteY7749"/>
              </a:cxn>
              <a:cxn ang="0">
                <a:pos x="connsiteX7750" y="connsiteY7750"/>
              </a:cxn>
              <a:cxn ang="0">
                <a:pos x="connsiteX7751" y="connsiteY7751"/>
              </a:cxn>
              <a:cxn ang="0">
                <a:pos x="connsiteX7752" y="connsiteY7752"/>
              </a:cxn>
              <a:cxn ang="0">
                <a:pos x="connsiteX7753" y="connsiteY7753"/>
              </a:cxn>
              <a:cxn ang="0">
                <a:pos x="connsiteX7754" y="connsiteY7754"/>
              </a:cxn>
              <a:cxn ang="0">
                <a:pos x="connsiteX7755" y="connsiteY7755"/>
              </a:cxn>
              <a:cxn ang="0">
                <a:pos x="connsiteX7756" y="connsiteY7756"/>
              </a:cxn>
              <a:cxn ang="0">
                <a:pos x="connsiteX7757" y="connsiteY7757"/>
              </a:cxn>
              <a:cxn ang="0">
                <a:pos x="connsiteX7758" y="connsiteY7758"/>
              </a:cxn>
              <a:cxn ang="0">
                <a:pos x="connsiteX7759" y="connsiteY7759"/>
              </a:cxn>
              <a:cxn ang="0">
                <a:pos x="connsiteX7760" y="connsiteY7760"/>
              </a:cxn>
              <a:cxn ang="0">
                <a:pos x="connsiteX7761" y="connsiteY7761"/>
              </a:cxn>
              <a:cxn ang="0">
                <a:pos x="connsiteX7762" y="connsiteY7762"/>
              </a:cxn>
              <a:cxn ang="0">
                <a:pos x="connsiteX7763" y="connsiteY7763"/>
              </a:cxn>
              <a:cxn ang="0">
                <a:pos x="connsiteX7764" y="connsiteY7764"/>
              </a:cxn>
              <a:cxn ang="0">
                <a:pos x="connsiteX7765" y="connsiteY7765"/>
              </a:cxn>
              <a:cxn ang="0">
                <a:pos x="connsiteX7766" y="connsiteY7766"/>
              </a:cxn>
              <a:cxn ang="0">
                <a:pos x="connsiteX7767" y="connsiteY7767"/>
              </a:cxn>
              <a:cxn ang="0">
                <a:pos x="connsiteX7768" y="connsiteY7768"/>
              </a:cxn>
              <a:cxn ang="0">
                <a:pos x="connsiteX7769" y="connsiteY7769"/>
              </a:cxn>
              <a:cxn ang="0">
                <a:pos x="connsiteX7770" y="connsiteY7770"/>
              </a:cxn>
              <a:cxn ang="0">
                <a:pos x="connsiteX7771" y="connsiteY7771"/>
              </a:cxn>
              <a:cxn ang="0">
                <a:pos x="connsiteX7772" y="connsiteY7772"/>
              </a:cxn>
              <a:cxn ang="0">
                <a:pos x="connsiteX7773" y="connsiteY7773"/>
              </a:cxn>
              <a:cxn ang="0">
                <a:pos x="connsiteX7774" y="connsiteY7774"/>
              </a:cxn>
              <a:cxn ang="0">
                <a:pos x="connsiteX7775" y="connsiteY7775"/>
              </a:cxn>
              <a:cxn ang="0">
                <a:pos x="connsiteX7776" y="connsiteY7776"/>
              </a:cxn>
              <a:cxn ang="0">
                <a:pos x="connsiteX7777" y="connsiteY7777"/>
              </a:cxn>
              <a:cxn ang="0">
                <a:pos x="connsiteX7778" y="connsiteY7778"/>
              </a:cxn>
              <a:cxn ang="0">
                <a:pos x="connsiteX7779" y="connsiteY7779"/>
              </a:cxn>
              <a:cxn ang="0">
                <a:pos x="connsiteX7780" y="connsiteY7780"/>
              </a:cxn>
              <a:cxn ang="0">
                <a:pos x="connsiteX7781" y="connsiteY7781"/>
              </a:cxn>
              <a:cxn ang="0">
                <a:pos x="connsiteX7782" y="connsiteY7782"/>
              </a:cxn>
              <a:cxn ang="0">
                <a:pos x="connsiteX7783" y="connsiteY7783"/>
              </a:cxn>
              <a:cxn ang="0">
                <a:pos x="connsiteX7784" y="connsiteY7784"/>
              </a:cxn>
              <a:cxn ang="0">
                <a:pos x="connsiteX7785" y="connsiteY7785"/>
              </a:cxn>
              <a:cxn ang="0">
                <a:pos x="connsiteX7786" y="connsiteY7786"/>
              </a:cxn>
              <a:cxn ang="0">
                <a:pos x="connsiteX7787" y="connsiteY7787"/>
              </a:cxn>
              <a:cxn ang="0">
                <a:pos x="connsiteX7788" y="connsiteY7788"/>
              </a:cxn>
              <a:cxn ang="0">
                <a:pos x="connsiteX7789" y="connsiteY7789"/>
              </a:cxn>
              <a:cxn ang="0">
                <a:pos x="connsiteX7790" y="connsiteY7790"/>
              </a:cxn>
              <a:cxn ang="0">
                <a:pos x="connsiteX7791" y="connsiteY7791"/>
              </a:cxn>
              <a:cxn ang="0">
                <a:pos x="connsiteX7792" y="connsiteY7792"/>
              </a:cxn>
              <a:cxn ang="0">
                <a:pos x="connsiteX7793" y="connsiteY7793"/>
              </a:cxn>
              <a:cxn ang="0">
                <a:pos x="connsiteX7794" y="connsiteY7794"/>
              </a:cxn>
              <a:cxn ang="0">
                <a:pos x="connsiteX7795" y="connsiteY7795"/>
              </a:cxn>
              <a:cxn ang="0">
                <a:pos x="connsiteX7796" y="connsiteY7796"/>
              </a:cxn>
              <a:cxn ang="0">
                <a:pos x="connsiteX7797" y="connsiteY7797"/>
              </a:cxn>
              <a:cxn ang="0">
                <a:pos x="connsiteX7798" y="connsiteY7798"/>
              </a:cxn>
              <a:cxn ang="0">
                <a:pos x="connsiteX7799" y="connsiteY7799"/>
              </a:cxn>
              <a:cxn ang="0">
                <a:pos x="connsiteX7800" y="connsiteY7800"/>
              </a:cxn>
              <a:cxn ang="0">
                <a:pos x="connsiteX7801" y="connsiteY7801"/>
              </a:cxn>
              <a:cxn ang="0">
                <a:pos x="connsiteX7802" y="connsiteY7802"/>
              </a:cxn>
              <a:cxn ang="0">
                <a:pos x="connsiteX7803" y="connsiteY7803"/>
              </a:cxn>
              <a:cxn ang="0">
                <a:pos x="connsiteX7804" y="connsiteY7804"/>
              </a:cxn>
              <a:cxn ang="0">
                <a:pos x="connsiteX7805" y="connsiteY7805"/>
              </a:cxn>
              <a:cxn ang="0">
                <a:pos x="connsiteX7806" y="connsiteY7806"/>
              </a:cxn>
              <a:cxn ang="0">
                <a:pos x="connsiteX7807" y="connsiteY7807"/>
              </a:cxn>
              <a:cxn ang="0">
                <a:pos x="connsiteX7808" y="connsiteY7808"/>
              </a:cxn>
              <a:cxn ang="0">
                <a:pos x="connsiteX7809" y="connsiteY7809"/>
              </a:cxn>
              <a:cxn ang="0">
                <a:pos x="connsiteX7810" y="connsiteY7810"/>
              </a:cxn>
              <a:cxn ang="0">
                <a:pos x="connsiteX7811" y="connsiteY7811"/>
              </a:cxn>
              <a:cxn ang="0">
                <a:pos x="connsiteX7812" y="connsiteY7812"/>
              </a:cxn>
              <a:cxn ang="0">
                <a:pos x="connsiteX7813" y="connsiteY7813"/>
              </a:cxn>
              <a:cxn ang="0">
                <a:pos x="connsiteX7814" y="connsiteY7814"/>
              </a:cxn>
              <a:cxn ang="0">
                <a:pos x="connsiteX7815" y="connsiteY7815"/>
              </a:cxn>
              <a:cxn ang="0">
                <a:pos x="connsiteX7816" y="connsiteY7816"/>
              </a:cxn>
              <a:cxn ang="0">
                <a:pos x="connsiteX7817" y="connsiteY7817"/>
              </a:cxn>
              <a:cxn ang="0">
                <a:pos x="connsiteX7818" y="connsiteY7818"/>
              </a:cxn>
              <a:cxn ang="0">
                <a:pos x="connsiteX7819" y="connsiteY7819"/>
              </a:cxn>
              <a:cxn ang="0">
                <a:pos x="connsiteX7820" y="connsiteY7820"/>
              </a:cxn>
              <a:cxn ang="0">
                <a:pos x="connsiteX7821" y="connsiteY7821"/>
              </a:cxn>
              <a:cxn ang="0">
                <a:pos x="connsiteX7822" y="connsiteY7822"/>
              </a:cxn>
              <a:cxn ang="0">
                <a:pos x="connsiteX7823" y="connsiteY7823"/>
              </a:cxn>
              <a:cxn ang="0">
                <a:pos x="connsiteX7824" y="connsiteY7824"/>
              </a:cxn>
              <a:cxn ang="0">
                <a:pos x="connsiteX7825" y="connsiteY7825"/>
              </a:cxn>
              <a:cxn ang="0">
                <a:pos x="connsiteX7826" y="connsiteY7826"/>
              </a:cxn>
              <a:cxn ang="0">
                <a:pos x="connsiteX7827" y="connsiteY7827"/>
              </a:cxn>
              <a:cxn ang="0">
                <a:pos x="connsiteX7828" y="connsiteY7828"/>
              </a:cxn>
              <a:cxn ang="0">
                <a:pos x="connsiteX7829" y="connsiteY7829"/>
              </a:cxn>
              <a:cxn ang="0">
                <a:pos x="connsiteX7830" y="connsiteY7830"/>
              </a:cxn>
              <a:cxn ang="0">
                <a:pos x="connsiteX7831" y="connsiteY7831"/>
              </a:cxn>
              <a:cxn ang="0">
                <a:pos x="connsiteX7832" y="connsiteY7832"/>
              </a:cxn>
              <a:cxn ang="0">
                <a:pos x="connsiteX7833" y="connsiteY7833"/>
              </a:cxn>
              <a:cxn ang="0">
                <a:pos x="connsiteX7834" y="connsiteY7834"/>
              </a:cxn>
              <a:cxn ang="0">
                <a:pos x="connsiteX7835" y="connsiteY7835"/>
              </a:cxn>
              <a:cxn ang="0">
                <a:pos x="connsiteX7836" y="connsiteY7836"/>
              </a:cxn>
              <a:cxn ang="0">
                <a:pos x="connsiteX7837" y="connsiteY7837"/>
              </a:cxn>
              <a:cxn ang="0">
                <a:pos x="connsiteX7838" y="connsiteY7838"/>
              </a:cxn>
              <a:cxn ang="0">
                <a:pos x="connsiteX7839" y="connsiteY7839"/>
              </a:cxn>
              <a:cxn ang="0">
                <a:pos x="connsiteX7840" y="connsiteY7840"/>
              </a:cxn>
              <a:cxn ang="0">
                <a:pos x="connsiteX7841" y="connsiteY7841"/>
              </a:cxn>
              <a:cxn ang="0">
                <a:pos x="connsiteX7842" y="connsiteY7842"/>
              </a:cxn>
              <a:cxn ang="0">
                <a:pos x="connsiteX7843" y="connsiteY7843"/>
              </a:cxn>
              <a:cxn ang="0">
                <a:pos x="connsiteX7844" y="connsiteY7844"/>
              </a:cxn>
              <a:cxn ang="0">
                <a:pos x="connsiteX7845" y="connsiteY7845"/>
              </a:cxn>
              <a:cxn ang="0">
                <a:pos x="connsiteX7846" y="connsiteY7846"/>
              </a:cxn>
              <a:cxn ang="0">
                <a:pos x="connsiteX7847" y="connsiteY7847"/>
              </a:cxn>
              <a:cxn ang="0">
                <a:pos x="connsiteX7848" y="connsiteY7848"/>
              </a:cxn>
              <a:cxn ang="0">
                <a:pos x="connsiteX7849" y="connsiteY7849"/>
              </a:cxn>
              <a:cxn ang="0">
                <a:pos x="connsiteX7850" y="connsiteY7850"/>
              </a:cxn>
              <a:cxn ang="0">
                <a:pos x="connsiteX7851" y="connsiteY7851"/>
              </a:cxn>
              <a:cxn ang="0">
                <a:pos x="connsiteX7852" y="connsiteY7852"/>
              </a:cxn>
              <a:cxn ang="0">
                <a:pos x="connsiteX7853" y="connsiteY7853"/>
              </a:cxn>
              <a:cxn ang="0">
                <a:pos x="connsiteX7854" y="connsiteY7854"/>
              </a:cxn>
              <a:cxn ang="0">
                <a:pos x="connsiteX7855" y="connsiteY7855"/>
              </a:cxn>
              <a:cxn ang="0">
                <a:pos x="connsiteX7856" y="connsiteY7856"/>
              </a:cxn>
              <a:cxn ang="0">
                <a:pos x="connsiteX7857" y="connsiteY7857"/>
              </a:cxn>
              <a:cxn ang="0">
                <a:pos x="connsiteX7858" y="connsiteY7858"/>
              </a:cxn>
              <a:cxn ang="0">
                <a:pos x="connsiteX7859" y="connsiteY7859"/>
              </a:cxn>
              <a:cxn ang="0">
                <a:pos x="connsiteX7860" y="connsiteY7860"/>
              </a:cxn>
              <a:cxn ang="0">
                <a:pos x="connsiteX7861" y="connsiteY7861"/>
              </a:cxn>
              <a:cxn ang="0">
                <a:pos x="connsiteX7862" y="connsiteY7862"/>
              </a:cxn>
              <a:cxn ang="0">
                <a:pos x="connsiteX7863" y="connsiteY7863"/>
              </a:cxn>
              <a:cxn ang="0">
                <a:pos x="connsiteX7864" y="connsiteY7864"/>
              </a:cxn>
              <a:cxn ang="0">
                <a:pos x="connsiteX7865" y="connsiteY7865"/>
              </a:cxn>
              <a:cxn ang="0">
                <a:pos x="connsiteX7866" y="connsiteY7866"/>
              </a:cxn>
              <a:cxn ang="0">
                <a:pos x="connsiteX7867" y="connsiteY7867"/>
              </a:cxn>
              <a:cxn ang="0">
                <a:pos x="connsiteX7868" y="connsiteY7868"/>
              </a:cxn>
              <a:cxn ang="0">
                <a:pos x="connsiteX7869" y="connsiteY7869"/>
              </a:cxn>
              <a:cxn ang="0">
                <a:pos x="connsiteX7870" y="connsiteY7870"/>
              </a:cxn>
              <a:cxn ang="0">
                <a:pos x="connsiteX7871" y="connsiteY7871"/>
              </a:cxn>
              <a:cxn ang="0">
                <a:pos x="connsiteX7872" y="connsiteY7872"/>
              </a:cxn>
              <a:cxn ang="0">
                <a:pos x="connsiteX7873" y="connsiteY7873"/>
              </a:cxn>
              <a:cxn ang="0">
                <a:pos x="connsiteX7874" y="connsiteY7874"/>
              </a:cxn>
              <a:cxn ang="0">
                <a:pos x="connsiteX7875" y="connsiteY7875"/>
              </a:cxn>
              <a:cxn ang="0">
                <a:pos x="connsiteX7876" y="connsiteY7876"/>
              </a:cxn>
              <a:cxn ang="0">
                <a:pos x="connsiteX7877" y="connsiteY7877"/>
              </a:cxn>
              <a:cxn ang="0">
                <a:pos x="connsiteX7878" y="connsiteY7878"/>
              </a:cxn>
              <a:cxn ang="0">
                <a:pos x="connsiteX7879" y="connsiteY7879"/>
              </a:cxn>
              <a:cxn ang="0">
                <a:pos x="connsiteX7880" y="connsiteY7880"/>
              </a:cxn>
              <a:cxn ang="0">
                <a:pos x="connsiteX7881" y="connsiteY7881"/>
              </a:cxn>
              <a:cxn ang="0">
                <a:pos x="connsiteX7882" y="connsiteY7882"/>
              </a:cxn>
              <a:cxn ang="0">
                <a:pos x="connsiteX7883" y="connsiteY7883"/>
              </a:cxn>
              <a:cxn ang="0">
                <a:pos x="connsiteX7884" y="connsiteY7884"/>
              </a:cxn>
              <a:cxn ang="0">
                <a:pos x="connsiteX7885" y="connsiteY7885"/>
              </a:cxn>
              <a:cxn ang="0">
                <a:pos x="connsiteX7886" y="connsiteY7886"/>
              </a:cxn>
              <a:cxn ang="0">
                <a:pos x="connsiteX7887" y="connsiteY7887"/>
              </a:cxn>
              <a:cxn ang="0">
                <a:pos x="connsiteX7888" y="connsiteY7888"/>
              </a:cxn>
              <a:cxn ang="0">
                <a:pos x="connsiteX7889" y="connsiteY7889"/>
              </a:cxn>
              <a:cxn ang="0">
                <a:pos x="connsiteX7890" y="connsiteY7890"/>
              </a:cxn>
              <a:cxn ang="0">
                <a:pos x="connsiteX7891" y="connsiteY7891"/>
              </a:cxn>
              <a:cxn ang="0">
                <a:pos x="connsiteX7892" y="connsiteY7892"/>
              </a:cxn>
              <a:cxn ang="0">
                <a:pos x="connsiteX7893" y="connsiteY7893"/>
              </a:cxn>
              <a:cxn ang="0">
                <a:pos x="connsiteX7894" y="connsiteY7894"/>
              </a:cxn>
              <a:cxn ang="0">
                <a:pos x="connsiteX7895" y="connsiteY7895"/>
              </a:cxn>
              <a:cxn ang="0">
                <a:pos x="connsiteX7896" y="connsiteY7896"/>
              </a:cxn>
              <a:cxn ang="0">
                <a:pos x="connsiteX7897" y="connsiteY7897"/>
              </a:cxn>
              <a:cxn ang="0">
                <a:pos x="connsiteX7898" y="connsiteY7898"/>
              </a:cxn>
              <a:cxn ang="0">
                <a:pos x="connsiteX7899" y="connsiteY7899"/>
              </a:cxn>
              <a:cxn ang="0">
                <a:pos x="connsiteX7900" y="connsiteY7900"/>
              </a:cxn>
              <a:cxn ang="0">
                <a:pos x="connsiteX7901" y="connsiteY7901"/>
              </a:cxn>
              <a:cxn ang="0">
                <a:pos x="connsiteX7902" y="connsiteY7902"/>
              </a:cxn>
              <a:cxn ang="0">
                <a:pos x="connsiteX7903" y="connsiteY7903"/>
              </a:cxn>
              <a:cxn ang="0">
                <a:pos x="connsiteX7904" y="connsiteY7904"/>
              </a:cxn>
              <a:cxn ang="0">
                <a:pos x="connsiteX7905" y="connsiteY7905"/>
              </a:cxn>
              <a:cxn ang="0">
                <a:pos x="connsiteX7906" y="connsiteY7906"/>
              </a:cxn>
              <a:cxn ang="0">
                <a:pos x="connsiteX7907" y="connsiteY7907"/>
              </a:cxn>
              <a:cxn ang="0">
                <a:pos x="connsiteX7908" y="connsiteY7908"/>
              </a:cxn>
              <a:cxn ang="0">
                <a:pos x="connsiteX7909" y="connsiteY7909"/>
              </a:cxn>
              <a:cxn ang="0">
                <a:pos x="connsiteX7910" y="connsiteY7910"/>
              </a:cxn>
              <a:cxn ang="0">
                <a:pos x="connsiteX7911" y="connsiteY7911"/>
              </a:cxn>
              <a:cxn ang="0">
                <a:pos x="connsiteX7912" y="connsiteY7912"/>
              </a:cxn>
              <a:cxn ang="0">
                <a:pos x="connsiteX7913" y="connsiteY7913"/>
              </a:cxn>
              <a:cxn ang="0">
                <a:pos x="connsiteX7914" y="connsiteY7914"/>
              </a:cxn>
              <a:cxn ang="0">
                <a:pos x="connsiteX7915" y="connsiteY7915"/>
              </a:cxn>
              <a:cxn ang="0">
                <a:pos x="connsiteX7916" y="connsiteY7916"/>
              </a:cxn>
              <a:cxn ang="0">
                <a:pos x="connsiteX7917" y="connsiteY7917"/>
              </a:cxn>
              <a:cxn ang="0">
                <a:pos x="connsiteX7918" y="connsiteY7918"/>
              </a:cxn>
              <a:cxn ang="0">
                <a:pos x="connsiteX7919" y="connsiteY7919"/>
              </a:cxn>
              <a:cxn ang="0">
                <a:pos x="connsiteX7920" y="connsiteY7920"/>
              </a:cxn>
              <a:cxn ang="0">
                <a:pos x="connsiteX7921" y="connsiteY7921"/>
              </a:cxn>
              <a:cxn ang="0">
                <a:pos x="connsiteX7922" y="connsiteY7922"/>
              </a:cxn>
              <a:cxn ang="0">
                <a:pos x="connsiteX7923" y="connsiteY7923"/>
              </a:cxn>
              <a:cxn ang="0">
                <a:pos x="connsiteX7924" y="connsiteY7924"/>
              </a:cxn>
              <a:cxn ang="0">
                <a:pos x="connsiteX7925" y="connsiteY7925"/>
              </a:cxn>
              <a:cxn ang="0">
                <a:pos x="connsiteX7926" y="connsiteY7926"/>
              </a:cxn>
              <a:cxn ang="0">
                <a:pos x="connsiteX7927" y="connsiteY7927"/>
              </a:cxn>
              <a:cxn ang="0">
                <a:pos x="connsiteX7928" y="connsiteY7928"/>
              </a:cxn>
              <a:cxn ang="0">
                <a:pos x="connsiteX7929" y="connsiteY7929"/>
              </a:cxn>
              <a:cxn ang="0">
                <a:pos x="connsiteX7930" y="connsiteY7930"/>
              </a:cxn>
              <a:cxn ang="0">
                <a:pos x="connsiteX7931" y="connsiteY7931"/>
              </a:cxn>
              <a:cxn ang="0">
                <a:pos x="connsiteX7932" y="connsiteY7932"/>
              </a:cxn>
              <a:cxn ang="0">
                <a:pos x="connsiteX7933" y="connsiteY7933"/>
              </a:cxn>
              <a:cxn ang="0">
                <a:pos x="connsiteX7934" y="connsiteY7934"/>
              </a:cxn>
              <a:cxn ang="0">
                <a:pos x="connsiteX7935" y="connsiteY7935"/>
              </a:cxn>
              <a:cxn ang="0">
                <a:pos x="connsiteX7936" y="connsiteY7936"/>
              </a:cxn>
              <a:cxn ang="0">
                <a:pos x="connsiteX7937" y="connsiteY7937"/>
              </a:cxn>
              <a:cxn ang="0">
                <a:pos x="connsiteX7938" y="connsiteY7938"/>
              </a:cxn>
              <a:cxn ang="0">
                <a:pos x="connsiteX7939" y="connsiteY7939"/>
              </a:cxn>
              <a:cxn ang="0">
                <a:pos x="connsiteX7940" y="connsiteY7940"/>
              </a:cxn>
              <a:cxn ang="0">
                <a:pos x="connsiteX7941" y="connsiteY7941"/>
              </a:cxn>
              <a:cxn ang="0">
                <a:pos x="connsiteX7942" y="connsiteY7942"/>
              </a:cxn>
              <a:cxn ang="0">
                <a:pos x="connsiteX7943" y="connsiteY7943"/>
              </a:cxn>
              <a:cxn ang="0">
                <a:pos x="connsiteX7944" y="connsiteY7944"/>
              </a:cxn>
              <a:cxn ang="0">
                <a:pos x="connsiteX7945" y="connsiteY7945"/>
              </a:cxn>
              <a:cxn ang="0">
                <a:pos x="connsiteX7946" y="connsiteY7946"/>
              </a:cxn>
              <a:cxn ang="0">
                <a:pos x="connsiteX7947" y="connsiteY7947"/>
              </a:cxn>
              <a:cxn ang="0">
                <a:pos x="connsiteX7948" y="connsiteY7948"/>
              </a:cxn>
              <a:cxn ang="0">
                <a:pos x="connsiteX7949" y="connsiteY7949"/>
              </a:cxn>
              <a:cxn ang="0">
                <a:pos x="connsiteX7950" y="connsiteY7950"/>
              </a:cxn>
              <a:cxn ang="0">
                <a:pos x="connsiteX7951" y="connsiteY7951"/>
              </a:cxn>
              <a:cxn ang="0">
                <a:pos x="connsiteX7952" y="connsiteY7952"/>
              </a:cxn>
              <a:cxn ang="0">
                <a:pos x="connsiteX7953" y="connsiteY7953"/>
              </a:cxn>
              <a:cxn ang="0">
                <a:pos x="connsiteX7954" y="connsiteY7954"/>
              </a:cxn>
              <a:cxn ang="0">
                <a:pos x="connsiteX7955" y="connsiteY7955"/>
              </a:cxn>
              <a:cxn ang="0">
                <a:pos x="connsiteX7956" y="connsiteY7956"/>
              </a:cxn>
              <a:cxn ang="0">
                <a:pos x="connsiteX7957" y="connsiteY7957"/>
              </a:cxn>
              <a:cxn ang="0">
                <a:pos x="connsiteX7958" y="connsiteY7958"/>
              </a:cxn>
              <a:cxn ang="0">
                <a:pos x="connsiteX7959" y="connsiteY7959"/>
              </a:cxn>
              <a:cxn ang="0">
                <a:pos x="connsiteX7960" y="connsiteY7960"/>
              </a:cxn>
              <a:cxn ang="0">
                <a:pos x="connsiteX7961" y="connsiteY7961"/>
              </a:cxn>
              <a:cxn ang="0">
                <a:pos x="connsiteX7962" y="connsiteY7962"/>
              </a:cxn>
              <a:cxn ang="0">
                <a:pos x="connsiteX7963" y="connsiteY7963"/>
              </a:cxn>
              <a:cxn ang="0">
                <a:pos x="connsiteX7964" y="connsiteY7964"/>
              </a:cxn>
              <a:cxn ang="0">
                <a:pos x="connsiteX7965" y="connsiteY7965"/>
              </a:cxn>
              <a:cxn ang="0">
                <a:pos x="connsiteX7966" y="connsiteY7966"/>
              </a:cxn>
              <a:cxn ang="0">
                <a:pos x="connsiteX7967" y="connsiteY7967"/>
              </a:cxn>
              <a:cxn ang="0">
                <a:pos x="connsiteX7968" y="connsiteY7968"/>
              </a:cxn>
              <a:cxn ang="0">
                <a:pos x="connsiteX7969" y="connsiteY7969"/>
              </a:cxn>
              <a:cxn ang="0">
                <a:pos x="connsiteX7970" y="connsiteY7970"/>
              </a:cxn>
              <a:cxn ang="0">
                <a:pos x="connsiteX7971" y="connsiteY7971"/>
              </a:cxn>
              <a:cxn ang="0">
                <a:pos x="connsiteX7972" y="connsiteY7972"/>
              </a:cxn>
              <a:cxn ang="0">
                <a:pos x="connsiteX7973" y="connsiteY7973"/>
              </a:cxn>
              <a:cxn ang="0">
                <a:pos x="connsiteX7974" y="connsiteY7974"/>
              </a:cxn>
              <a:cxn ang="0">
                <a:pos x="connsiteX7975" y="connsiteY7975"/>
              </a:cxn>
              <a:cxn ang="0">
                <a:pos x="connsiteX7976" y="connsiteY7976"/>
              </a:cxn>
              <a:cxn ang="0">
                <a:pos x="connsiteX7977" y="connsiteY7977"/>
              </a:cxn>
              <a:cxn ang="0">
                <a:pos x="connsiteX7978" y="connsiteY7978"/>
              </a:cxn>
              <a:cxn ang="0">
                <a:pos x="connsiteX7979" y="connsiteY7979"/>
              </a:cxn>
              <a:cxn ang="0">
                <a:pos x="connsiteX7980" y="connsiteY7980"/>
              </a:cxn>
              <a:cxn ang="0">
                <a:pos x="connsiteX7981" y="connsiteY7981"/>
              </a:cxn>
              <a:cxn ang="0">
                <a:pos x="connsiteX7982" y="connsiteY7982"/>
              </a:cxn>
              <a:cxn ang="0">
                <a:pos x="connsiteX7983" y="connsiteY7983"/>
              </a:cxn>
              <a:cxn ang="0">
                <a:pos x="connsiteX7984" y="connsiteY7984"/>
              </a:cxn>
              <a:cxn ang="0">
                <a:pos x="connsiteX7985" y="connsiteY7985"/>
              </a:cxn>
              <a:cxn ang="0">
                <a:pos x="connsiteX7986" y="connsiteY7986"/>
              </a:cxn>
              <a:cxn ang="0">
                <a:pos x="connsiteX7987" y="connsiteY7987"/>
              </a:cxn>
              <a:cxn ang="0">
                <a:pos x="connsiteX7988" y="connsiteY7988"/>
              </a:cxn>
              <a:cxn ang="0">
                <a:pos x="connsiteX7989" y="connsiteY7989"/>
              </a:cxn>
              <a:cxn ang="0">
                <a:pos x="connsiteX7990" y="connsiteY7990"/>
              </a:cxn>
              <a:cxn ang="0">
                <a:pos x="connsiteX7991" y="connsiteY7991"/>
              </a:cxn>
              <a:cxn ang="0">
                <a:pos x="connsiteX7992" y="connsiteY7992"/>
              </a:cxn>
              <a:cxn ang="0">
                <a:pos x="connsiteX7993" y="connsiteY7993"/>
              </a:cxn>
              <a:cxn ang="0">
                <a:pos x="connsiteX7994" y="connsiteY7994"/>
              </a:cxn>
              <a:cxn ang="0">
                <a:pos x="connsiteX7995" y="connsiteY7995"/>
              </a:cxn>
              <a:cxn ang="0">
                <a:pos x="connsiteX7996" y="connsiteY7996"/>
              </a:cxn>
              <a:cxn ang="0">
                <a:pos x="connsiteX7997" y="connsiteY7997"/>
              </a:cxn>
              <a:cxn ang="0">
                <a:pos x="connsiteX7998" y="connsiteY7998"/>
              </a:cxn>
              <a:cxn ang="0">
                <a:pos x="connsiteX7999" y="connsiteY7999"/>
              </a:cxn>
              <a:cxn ang="0">
                <a:pos x="connsiteX8000" y="connsiteY8000"/>
              </a:cxn>
              <a:cxn ang="0">
                <a:pos x="connsiteX8001" y="connsiteY8001"/>
              </a:cxn>
              <a:cxn ang="0">
                <a:pos x="connsiteX8002" y="connsiteY8002"/>
              </a:cxn>
              <a:cxn ang="0">
                <a:pos x="connsiteX8003" y="connsiteY8003"/>
              </a:cxn>
              <a:cxn ang="0">
                <a:pos x="connsiteX8004" y="connsiteY8004"/>
              </a:cxn>
              <a:cxn ang="0">
                <a:pos x="connsiteX8005" y="connsiteY8005"/>
              </a:cxn>
              <a:cxn ang="0">
                <a:pos x="connsiteX8006" y="connsiteY8006"/>
              </a:cxn>
              <a:cxn ang="0">
                <a:pos x="connsiteX8007" y="connsiteY8007"/>
              </a:cxn>
              <a:cxn ang="0">
                <a:pos x="connsiteX8008" y="connsiteY8008"/>
              </a:cxn>
              <a:cxn ang="0">
                <a:pos x="connsiteX8009" y="connsiteY8009"/>
              </a:cxn>
              <a:cxn ang="0">
                <a:pos x="connsiteX8010" y="connsiteY8010"/>
              </a:cxn>
              <a:cxn ang="0">
                <a:pos x="connsiteX8011" y="connsiteY8011"/>
              </a:cxn>
              <a:cxn ang="0">
                <a:pos x="connsiteX8012" y="connsiteY8012"/>
              </a:cxn>
              <a:cxn ang="0">
                <a:pos x="connsiteX8013" y="connsiteY8013"/>
              </a:cxn>
              <a:cxn ang="0">
                <a:pos x="connsiteX8014" y="connsiteY8014"/>
              </a:cxn>
              <a:cxn ang="0">
                <a:pos x="connsiteX8015" y="connsiteY8015"/>
              </a:cxn>
              <a:cxn ang="0">
                <a:pos x="connsiteX8016" y="connsiteY8016"/>
              </a:cxn>
              <a:cxn ang="0">
                <a:pos x="connsiteX8017" y="connsiteY8017"/>
              </a:cxn>
              <a:cxn ang="0">
                <a:pos x="connsiteX8018" y="connsiteY8018"/>
              </a:cxn>
              <a:cxn ang="0">
                <a:pos x="connsiteX8019" y="connsiteY8019"/>
              </a:cxn>
              <a:cxn ang="0">
                <a:pos x="connsiteX8020" y="connsiteY8020"/>
              </a:cxn>
              <a:cxn ang="0">
                <a:pos x="connsiteX8021" y="connsiteY8021"/>
              </a:cxn>
              <a:cxn ang="0">
                <a:pos x="connsiteX8022" y="connsiteY8022"/>
              </a:cxn>
              <a:cxn ang="0">
                <a:pos x="connsiteX8023" y="connsiteY8023"/>
              </a:cxn>
              <a:cxn ang="0">
                <a:pos x="connsiteX8024" y="connsiteY8024"/>
              </a:cxn>
              <a:cxn ang="0">
                <a:pos x="connsiteX8025" y="connsiteY8025"/>
              </a:cxn>
              <a:cxn ang="0">
                <a:pos x="connsiteX8026" y="connsiteY8026"/>
              </a:cxn>
              <a:cxn ang="0">
                <a:pos x="connsiteX8027" y="connsiteY8027"/>
              </a:cxn>
              <a:cxn ang="0">
                <a:pos x="connsiteX8028" y="connsiteY8028"/>
              </a:cxn>
              <a:cxn ang="0">
                <a:pos x="connsiteX8029" y="connsiteY8029"/>
              </a:cxn>
              <a:cxn ang="0">
                <a:pos x="connsiteX8030" y="connsiteY8030"/>
              </a:cxn>
              <a:cxn ang="0">
                <a:pos x="connsiteX8031" y="connsiteY8031"/>
              </a:cxn>
              <a:cxn ang="0">
                <a:pos x="connsiteX8032" y="connsiteY8032"/>
              </a:cxn>
              <a:cxn ang="0">
                <a:pos x="connsiteX8033" y="connsiteY8033"/>
              </a:cxn>
              <a:cxn ang="0">
                <a:pos x="connsiteX8034" y="connsiteY8034"/>
              </a:cxn>
              <a:cxn ang="0">
                <a:pos x="connsiteX8035" y="connsiteY8035"/>
              </a:cxn>
              <a:cxn ang="0">
                <a:pos x="connsiteX8036" y="connsiteY8036"/>
              </a:cxn>
              <a:cxn ang="0">
                <a:pos x="connsiteX8037" y="connsiteY8037"/>
              </a:cxn>
              <a:cxn ang="0">
                <a:pos x="connsiteX8038" y="connsiteY8038"/>
              </a:cxn>
              <a:cxn ang="0">
                <a:pos x="connsiteX8039" y="connsiteY8039"/>
              </a:cxn>
              <a:cxn ang="0">
                <a:pos x="connsiteX8040" y="connsiteY8040"/>
              </a:cxn>
              <a:cxn ang="0">
                <a:pos x="connsiteX8041" y="connsiteY8041"/>
              </a:cxn>
              <a:cxn ang="0">
                <a:pos x="connsiteX8042" y="connsiteY8042"/>
              </a:cxn>
              <a:cxn ang="0">
                <a:pos x="connsiteX8043" y="connsiteY8043"/>
              </a:cxn>
              <a:cxn ang="0">
                <a:pos x="connsiteX8044" y="connsiteY8044"/>
              </a:cxn>
              <a:cxn ang="0">
                <a:pos x="connsiteX8045" y="connsiteY8045"/>
              </a:cxn>
              <a:cxn ang="0">
                <a:pos x="connsiteX8046" y="connsiteY8046"/>
              </a:cxn>
              <a:cxn ang="0">
                <a:pos x="connsiteX8047" y="connsiteY8047"/>
              </a:cxn>
              <a:cxn ang="0">
                <a:pos x="connsiteX8048" y="connsiteY8048"/>
              </a:cxn>
              <a:cxn ang="0">
                <a:pos x="connsiteX8049" y="connsiteY8049"/>
              </a:cxn>
              <a:cxn ang="0">
                <a:pos x="connsiteX8050" y="connsiteY8050"/>
              </a:cxn>
              <a:cxn ang="0">
                <a:pos x="connsiteX8051" y="connsiteY8051"/>
              </a:cxn>
              <a:cxn ang="0">
                <a:pos x="connsiteX8052" y="connsiteY8052"/>
              </a:cxn>
              <a:cxn ang="0">
                <a:pos x="connsiteX8053" y="connsiteY8053"/>
              </a:cxn>
              <a:cxn ang="0">
                <a:pos x="connsiteX8054" y="connsiteY8054"/>
              </a:cxn>
              <a:cxn ang="0">
                <a:pos x="connsiteX8055" y="connsiteY8055"/>
              </a:cxn>
              <a:cxn ang="0">
                <a:pos x="connsiteX8056" y="connsiteY8056"/>
              </a:cxn>
              <a:cxn ang="0">
                <a:pos x="connsiteX8057" y="connsiteY8057"/>
              </a:cxn>
              <a:cxn ang="0">
                <a:pos x="connsiteX8058" y="connsiteY8058"/>
              </a:cxn>
              <a:cxn ang="0">
                <a:pos x="connsiteX8059" y="connsiteY8059"/>
              </a:cxn>
              <a:cxn ang="0">
                <a:pos x="connsiteX8060" y="connsiteY8060"/>
              </a:cxn>
              <a:cxn ang="0">
                <a:pos x="connsiteX8061" y="connsiteY8061"/>
              </a:cxn>
              <a:cxn ang="0">
                <a:pos x="connsiteX8062" y="connsiteY8062"/>
              </a:cxn>
              <a:cxn ang="0">
                <a:pos x="connsiteX8063" y="connsiteY8063"/>
              </a:cxn>
              <a:cxn ang="0">
                <a:pos x="connsiteX8064" y="connsiteY8064"/>
              </a:cxn>
              <a:cxn ang="0">
                <a:pos x="connsiteX8065" y="connsiteY8065"/>
              </a:cxn>
              <a:cxn ang="0">
                <a:pos x="connsiteX8066" y="connsiteY8066"/>
              </a:cxn>
              <a:cxn ang="0">
                <a:pos x="connsiteX8067" y="connsiteY8067"/>
              </a:cxn>
              <a:cxn ang="0">
                <a:pos x="connsiteX8068" y="connsiteY8068"/>
              </a:cxn>
              <a:cxn ang="0">
                <a:pos x="connsiteX8069" y="connsiteY8069"/>
              </a:cxn>
              <a:cxn ang="0">
                <a:pos x="connsiteX8070" y="connsiteY8070"/>
              </a:cxn>
              <a:cxn ang="0">
                <a:pos x="connsiteX8071" y="connsiteY8071"/>
              </a:cxn>
              <a:cxn ang="0">
                <a:pos x="connsiteX8072" y="connsiteY8072"/>
              </a:cxn>
              <a:cxn ang="0">
                <a:pos x="connsiteX8073" y="connsiteY8073"/>
              </a:cxn>
              <a:cxn ang="0">
                <a:pos x="connsiteX8074" y="connsiteY8074"/>
              </a:cxn>
              <a:cxn ang="0">
                <a:pos x="connsiteX8075" y="connsiteY8075"/>
              </a:cxn>
              <a:cxn ang="0">
                <a:pos x="connsiteX8076" y="connsiteY8076"/>
              </a:cxn>
              <a:cxn ang="0">
                <a:pos x="connsiteX8077" y="connsiteY8077"/>
              </a:cxn>
              <a:cxn ang="0">
                <a:pos x="connsiteX8078" y="connsiteY8078"/>
              </a:cxn>
              <a:cxn ang="0">
                <a:pos x="connsiteX8079" y="connsiteY8079"/>
              </a:cxn>
              <a:cxn ang="0">
                <a:pos x="connsiteX8080" y="connsiteY8080"/>
              </a:cxn>
              <a:cxn ang="0">
                <a:pos x="connsiteX8081" y="connsiteY8081"/>
              </a:cxn>
              <a:cxn ang="0">
                <a:pos x="connsiteX8082" y="connsiteY8082"/>
              </a:cxn>
              <a:cxn ang="0">
                <a:pos x="connsiteX8083" y="connsiteY8083"/>
              </a:cxn>
              <a:cxn ang="0">
                <a:pos x="connsiteX8084" y="connsiteY8084"/>
              </a:cxn>
              <a:cxn ang="0">
                <a:pos x="connsiteX8085" y="connsiteY8085"/>
              </a:cxn>
              <a:cxn ang="0">
                <a:pos x="connsiteX8086" y="connsiteY8086"/>
              </a:cxn>
              <a:cxn ang="0">
                <a:pos x="connsiteX8087" y="connsiteY8087"/>
              </a:cxn>
              <a:cxn ang="0">
                <a:pos x="connsiteX8088" y="connsiteY8088"/>
              </a:cxn>
              <a:cxn ang="0">
                <a:pos x="connsiteX8089" y="connsiteY8089"/>
              </a:cxn>
              <a:cxn ang="0">
                <a:pos x="connsiteX8090" y="connsiteY8090"/>
              </a:cxn>
              <a:cxn ang="0">
                <a:pos x="connsiteX8091" y="connsiteY8091"/>
              </a:cxn>
              <a:cxn ang="0">
                <a:pos x="connsiteX8092" y="connsiteY8092"/>
              </a:cxn>
              <a:cxn ang="0">
                <a:pos x="connsiteX8093" y="connsiteY8093"/>
              </a:cxn>
              <a:cxn ang="0">
                <a:pos x="connsiteX8094" y="connsiteY8094"/>
              </a:cxn>
              <a:cxn ang="0">
                <a:pos x="connsiteX8095" y="connsiteY8095"/>
              </a:cxn>
              <a:cxn ang="0">
                <a:pos x="connsiteX8096" y="connsiteY8096"/>
              </a:cxn>
              <a:cxn ang="0">
                <a:pos x="connsiteX8097" y="connsiteY8097"/>
              </a:cxn>
              <a:cxn ang="0">
                <a:pos x="connsiteX8098" y="connsiteY8098"/>
              </a:cxn>
              <a:cxn ang="0">
                <a:pos x="connsiteX8099" y="connsiteY8099"/>
              </a:cxn>
              <a:cxn ang="0">
                <a:pos x="connsiteX8100" y="connsiteY8100"/>
              </a:cxn>
              <a:cxn ang="0">
                <a:pos x="connsiteX8101" y="connsiteY8101"/>
              </a:cxn>
              <a:cxn ang="0">
                <a:pos x="connsiteX8102" y="connsiteY8102"/>
              </a:cxn>
              <a:cxn ang="0">
                <a:pos x="connsiteX8103" y="connsiteY8103"/>
              </a:cxn>
              <a:cxn ang="0">
                <a:pos x="connsiteX8104" y="connsiteY8104"/>
              </a:cxn>
              <a:cxn ang="0">
                <a:pos x="connsiteX8105" y="connsiteY8105"/>
              </a:cxn>
              <a:cxn ang="0">
                <a:pos x="connsiteX8106" y="connsiteY8106"/>
              </a:cxn>
              <a:cxn ang="0">
                <a:pos x="connsiteX8107" y="connsiteY8107"/>
              </a:cxn>
              <a:cxn ang="0">
                <a:pos x="connsiteX8108" y="connsiteY8108"/>
              </a:cxn>
              <a:cxn ang="0">
                <a:pos x="connsiteX8109" y="connsiteY8109"/>
              </a:cxn>
              <a:cxn ang="0">
                <a:pos x="connsiteX8110" y="connsiteY8110"/>
              </a:cxn>
              <a:cxn ang="0">
                <a:pos x="connsiteX8111" y="connsiteY8111"/>
              </a:cxn>
              <a:cxn ang="0">
                <a:pos x="connsiteX8112" y="connsiteY8112"/>
              </a:cxn>
              <a:cxn ang="0">
                <a:pos x="connsiteX8113" y="connsiteY8113"/>
              </a:cxn>
              <a:cxn ang="0">
                <a:pos x="connsiteX8114" y="connsiteY8114"/>
              </a:cxn>
              <a:cxn ang="0">
                <a:pos x="connsiteX8115" y="connsiteY8115"/>
              </a:cxn>
              <a:cxn ang="0">
                <a:pos x="connsiteX8116" y="connsiteY8116"/>
              </a:cxn>
              <a:cxn ang="0">
                <a:pos x="connsiteX8117" y="connsiteY8117"/>
              </a:cxn>
              <a:cxn ang="0">
                <a:pos x="connsiteX8118" y="connsiteY8118"/>
              </a:cxn>
              <a:cxn ang="0">
                <a:pos x="connsiteX8119" y="connsiteY8119"/>
              </a:cxn>
              <a:cxn ang="0">
                <a:pos x="connsiteX8120" y="connsiteY8120"/>
              </a:cxn>
              <a:cxn ang="0">
                <a:pos x="connsiteX8121" y="connsiteY8121"/>
              </a:cxn>
              <a:cxn ang="0">
                <a:pos x="connsiteX8122" y="connsiteY8122"/>
              </a:cxn>
              <a:cxn ang="0">
                <a:pos x="connsiteX8123" y="connsiteY8123"/>
              </a:cxn>
              <a:cxn ang="0">
                <a:pos x="connsiteX8124" y="connsiteY8124"/>
              </a:cxn>
              <a:cxn ang="0">
                <a:pos x="connsiteX8125" y="connsiteY8125"/>
              </a:cxn>
              <a:cxn ang="0">
                <a:pos x="connsiteX8126" y="connsiteY8126"/>
              </a:cxn>
              <a:cxn ang="0">
                <a:pos x="connsiteX8127" y="connsiteY8127"/>
              </a:cxn>
              <a:cxn ang="0">
                <a:pos x="connsiteX8128" y="connsiteY8128"/>
              </a:cxn>
              <a:cxn ang="0">
                <a:pos x="connsiteX8129" y="connsiteY8129"/>
              </a:cxn>
              <a:cxn ang="0">
                <a:pos x="connsiteX8130" y="connsiteY8130"/>
              </a:cxn>
              <a:cxn ang="0">
                <a:pos x="connsiteX8131" y="connsiteY8131"/>
              </a:cxn>
              <a:cxn ang="0">
                <a:pos x="connsiteX8132" y="connsiteY8132"/>
              </a:cxn>
              <a:cxn ang="0">
                <a:pos x="connsiteX8133" y="connsiteY8133"/>
              </a:cxn>
              <a:cxn ang="0">
                <a:pos x="connsiteX8134" y="connsiteY8134"/>
              </a:cxn>
              <a:cxn ang="0">
                <a:pos x="connsiteX8135" y="connsiteY8135"/>
              </a:cxn>
              <a:cxn ang="0">
                <a:pos x="connsiteX8136" y="connsiteY8136"/>
              </a:cxn>
              <a:cxn ang="0">
                <a:pos x="connsiteX8137" y="connsiteY8137"/>
              </a:cxn>
              <a:cxn ang="0">
                <a:pos x="connsiteX8138" y="connsiteY8138"/>
              </a:cxn>
              <a:cxn ang="0">
                <a:pos x="connsiteX8139" y="connsiteY8139"/>
              </a:cxn>
              <a:cxn ang="0">
                <a:pos x="connsiteX8140" y="connsiteY8140"/>
              </a:cxn>
              <a:cxn ang="0">
                <a:pos x="connsiteX8141" y="connsiteY8141"/>
              </a:cxn>
              <a:cxn ang="0">
                <a:pos x="connsiteX8142" y="connsiteY8142"/>
              </a:cxn>
              <a:cxn ang="0">
                <a:pos x="connsiteX8143" y="connsiteY8143"/>
              </a:cxn>
              <a:cxn ang="0">
                <a:pos x="connsiteX8144" y="connsiteY8144"/>
              </a:cxn>
              <a:cxn ang="0">
                <a:pos x="connsiteX8145" y="connsiteY8145"/>
              </a:cxn>
              <a:cxn ang="0">
                <a:pos x="connsiteX8146" y="connsiteY8146"/>
              </a:cxn>
              <a:cxn ang="0">
                <a:pos x="connsiteX8147" y="connsiteY8147"/>
              </a:cxn>
              <a:cxn ang="0">
                <a:pos x="connsiteX8148" y="connsiteY8148"/>
              </a:cxn>
              <a:cxn ang="0">
                <a:pos x="connsiteX8149" y="connsiteY8149"/>
              </a:cxn>
              <a:cxn ang="0">
                <a:pos x="connsiteX8150" y="connsiteY8150"/>
              </a:cxn>
              <a:cxn ang="0">
                <a:pos x="connsiteX8151" y="connsiteY8151"/>
              </a:cxn>
              <a:cxn ang="0">
                <a:pos x="connsiteX8152" y="connsiteY8152"/>
              </a:cxn>
              <a:cxn ang="0">
                <a:pos x="connsiteX8153" y="connsiteY8153"/>
              </a:cxn>
              <a:cxn ang="0">
                <a:pos x="connsiteX8154" y="connsiteY8154"/>
              </a:cxn>
              <a:cxn ang="0">
                <a:pos x="connsiteX8155" y="connsiteY8155"/>
              </a:cxn>
              <a:cxn ang="0">
                <a:pos x="connsiteX8156" y="connsiteY8156"/>
              </a:cxn>
              <a:cxn ang="0">
                <a:pos x="connsiteX8157" y="connsiteY8157"/>
              </a:cxn>
              <a:cxn ang="0">
                <a:pos x="connsiteX8158" y="connsiteY8158"/>
              </a:cxn>
              <a:cxn ang="0">
                <a:pos x="connsiteX8159" y="connsiteY8159"/>
              </a:cxn>
              <a:cxn ang="0">
                <a:pos x="connsiteX8160" y="connsiteY8160"/>
              </a:cxn>
              <a:cxn ang="0">
                <a:pos x="connsiteX8161" y="connsiteY8161"/>
              </a:cxn>
              <a:cxn ang="0">
                <a:pos x="connsiteX8162" y="connsiteY8162"/>
              </a:cxn>
              <a:cxn ang="0">
                <a:pos x="connsiteX8163" y="connsiteY8163"/>
              </a:cxn>
              <a:cxn ang="0">
                <a:pos x="connsiteX8164" y="connsiteY8164"/>
              </a:cxn>
              <a:cxn ang="0">
                <a:pos x="connsiteX8165" y="connsiteY8165"/>
              </a:cxn>
              <a:cxn ang="0">
                <a:pos x="connsiteX8166" y="connsiteY8166"/>
              </a:cxn>
              <a:cxn ang="0">
                <a:pos x="connsiteX8167" y="connsiteY8167"/>
              </a:cxn>
              <a:cxn ang="0">
                <a:pos x="connsiteX8168" y="connsiteY8168"/>
              </a:cxn>
              <a:cxn ang="0">
                <a:pos x="connsiteX8169" y="connsiteY8169"/>
              </a:cxn>
              <a:cxn ang="0">
                <a:pos x="connsiteX8170" y="connsiteY8170"/>
              </a:cxn>
              <a:cxn ang="0">
                <a:pos x="connsiteX8171" y="connsiteY8171"/>
              </a:cxn>
              <a:cxn ang="0">
                <a:pos x="connsiteX8172" y="connsiteY8172"/>
              </a:cxn>
              <a:cxn ang="0">
                <a:pos x="connsiteX8173" y="connsiteY8173"/>
              </a:cxn>
              <a:cxn ang="0">
                <a:pos x="connsiteX8174" y="connsiteY8174"/>
              </a:cxn>
              <a:cxn ang="0">
                <a:pos x="connsiteX8175" y="connsiteY8175"/>
              </a:cxn>
              <a:cxn ang="0">
                <a:pos x="connsiteX8176" y="connsiteY8176"/>
              </a:cxn>
              <a:cxn ang="0">
                <a:pos x="connsiteX8177" y="connsiteY8177"/>
              </a:cxn>
              <a:cxn ang="0">
                <a:pos x="connsiteX8178" y="connsiteY8178"/>
              </a:cxn>
              <a:cxn ang="0">
                <a:pos x="connsiteX8179" y="connsiteY8179"/>
              </a:cxn>
              <a:cxn ang="0">
                <a:pos x="connsiteX8180" y="connsiteY8180"/>
              </a:cxn>
              <a:cxn ang="0">
                <a:pos x="connsiteX8181" y="connsiteY8181"/>
              </a:cxn>
              <a:cxn ang="0">
                <a:pos x="connsiteX8182" y="connsiteY8182"/>
              </a:cxn>
              <a:cxn ang="0">
                <a:pos x="connsiteX8183" y="connsiteY8183"/>
              </a:cxn>
              <a:cxn ang="0">
                <a:pos x="connsiteX8184" y="connsiteY8184"/>
              </a:cxn>
              <a:cxn ang="0">
                <a:pos x="connsiteX8185" y="connsiteY8185"/>
              </a:cxn>
              <a:cxn ang="0">
                <a:pos x="connsiteX8186" y="connsiteY8186"/>
              </a:cxn>
              <a:cxn ang="0">
                <a:pos x="connsiteX8187" y="connsiteY8187"/>
              </a:cxn>
              <a:cxn ang="0">
                <a:pos x="connsiteX8188" y="connsiteY8188"/>
              </a:cxn>
              <a:cxn ang="0">
                <a:pos x="connsiteX8189" y="connsiteY8189"/>
              </a:cxn>
              <a:cxn ang="0">
                <a:pos x="connsiteX8190" y="connsiteY8190"/>
              </a:cxn>
              <a:cxn ang="0">
                <a:pos x="connsiteX8191" y="connsiteY8191"/>
              </a:cxn>
              <a:cxn ang="0">
                <a:pos x="connsiteX8192" y="connsiteY8192"/>
              </a:cxn>
              <a:cxn ang="0">
                <a:pos x="connsiteX8193" y="connsiteY8193"/>
              </a:cxn>
              <a:cxn ang="0">
                <a:pos x="connsiteX8194" y="connsiteY8194"/>
              </a:cxn>
              <a:cxn ang="0">
                <a:pos x="connsiteX8195" y="connsiteY8195"/>
              </a:cxn>
              <a:cxn ang="0">
                <a:pos x="connsiteX8196" y="connsiteY8196"/>
              </a:cxn>
              <a:cxn ang="0">
                <a:pos x="connsiteX8197" y="connsiteY8197"/>
              </a:cxn>
              <a:cxn ang="0">
                <a:pos x="connsiteX8198" y="connsiteY8198"/>
              </a:cxn>
              <a:cxn ang="0">
                <a:pos x="connsiteX8199" y="connsiteY8199"/>
              </a:cxn>
              <a:cxn ang="0">
                <a:pos x="connsiteX8200" y="connsiteY8200"/>
              </a:cxn>
              <a:cxn ang="0">
                <a:pos x="connsiteX8201" y="connsiteY8201"/>
              </a:cxn>
              <a:cxn ang="0">
                <a:pos x="connsiteX8202" y="connsiteY8202"/>
              </a:cxn>
              <a:cxn ang="0">
                <a:pos x="connsiteX8203" y="connsiteY8203"/>
              </a:cxn>
              <a:cxn ang="0">
                <a:pos x="connsiteX8204" y="connsiteY8204"/>
              </a:cxn>
              <a:cxn ang="0">
                <a:pos x="connsiteX8205" y="connsiteY8205"/>
              </a:cxn>
              <a:cxn ang="0">
                <a:pos x="connsiteX8206" y="connsiteY8206"/>
              </a:cxn>
              <a:cxn ang="0">
                <a:pos x="connsiteX8207" y="connsiteY8207"/>
              </a:cxn>
              <a:cxn ang="0">
                <a:pos x="connsiteX8208" y="connsiteY8208"/>
              </a:cxn>
              <a:cxn ang="0">
                <a:pos x="connsiteX8209" y="connsiteY8209"/>
              </a:cxn>
              <a:cxn ang="0">
                <a:pos x="connsiteX8210" y="connsiteY8210"/>
              </a:cxn>
              <a:cxn ang="0">
                <a:pos x="connsiteX8211" y="connsiteY8211"/>
              </a:cxn>
              <a:cxn ang="0">
                <a:pos x="connsiteX8212" y="connsiteY8212"/>
              </a:cxn>
              <a:cxn ang="0">
                <a:pos x="connsiteX8213" y="connsiteY8213"/>
              </a:cxn>
              <a:cxn ang="0">
                <a:pos x="connsiteX8214" y="connsiteY8214"/>
              </a:cxn>
              <a:cxn ang="0">
                <a:pos x="connsiteX8215" y="connsiteY8215"/>
              </a:cxn>
              <a:cxn ang="0">
                <a:pos x="connsiteX8216" y="connsiteY8216"/>
              </a:cxn>
              <a:cxn ang="0">
                <a:pos x="connsiteX8217" y="connsiteY8217"/>
              </a:cxn>
              <a:cxn ang="0">
                <a:pos x="connsiteX8218" y="connsiteY8218"/>
              </a:cxn>
              <a:cxn ang="0">
                <a:pos x="connsiteX8219" y="connsiteY8219"/>
              </a:cxn>
              <a:cxn ang="0">
                <a:pos x="connsiteX8220" y="connsiteY8220"/>
              </a:cxn>
              <a:cxn ang="0">
                <a:pos x="connsiteX8221" y="connsiteY8221"/>
              </a:cxn>
              <a:cxn ang="0">
                <a:pos x="connsiteX8222" y="connsiteY8222"/>
              </a:cxn>
              <a:cxn ang="0">
                <a:pos x="connsiteX8223" y="connsiteY8223"/>
              </a:cxn>
              <a:cxn ang="0">
                <a:pos x="connsiteX8224" y="connsiteY8224"/>
              </a:cxn>
              <a:cxn ang="0">
                <a:pos x="connsiteX8225" y="connsiteY8225"/>
              </a:cxn>
              <a:cxn ang="0">
                <a:pos x="connsiteX8226" y="connsiteY8226"/>
              </a:cxn>
              <a:cxn ang="0">
                <a:pos x="connsiteX8227" y="connsiteY8227"/>
              </a:cxn>
              <a:cxn ang="0">
                <a:pos x="connsiteX8228" y="connsiteY8228"/>
              </a:cxn>
              <a:cxn ang="0">
                <a:pos x="connsiteX8229" y="connsiteY8229"/>
              </a:cxn>
              <a:cxn ang="0">
                <a:pos x="connsiteX8230" y="connsiteY8230"/>
              </a:cxn>
              <a:cxn ang="0">
                <a:pos x="connsiteX8231" y="connsiteY8231"/>
              </a:cxn>
              <a:cxn ang="0">
                <a:pos x="connsiteX8232" y="connsiteY8232"/>
              </a:cxn>
              <a:cxn ang="0">
                <a:pos x="connsiteX8233" y="connsiteY8233"/>
              </a:cxn>
              <a:cxn ang="0">
                <a:pos x="connsiteX8234" y="connsiteY8234"/>
              </a:cxn>
              <a:cxn ang="0">
                <a:pos x="connsiteX8235" y="connsiteY8235"/>
              </a:cxn>
              <a:cxn ang="0">
                <a:pos x="connsiteX8236" y="connsiteY8236"/>
              </a:cxn>
              <a:cxn ang="0">
                <a:pos x="connsiteX8237" y="connsiteY8237"/>
              </a:cxn>
              <a:cxn ang="0">
                <a:pos x="connsiteX8238" y="connsiteY8238"/>
              </a:cxn>
              <a:cxn ang="0">
                <a:pos x="connsiteX8239" y="connsiteY8239"/>
              </a:cxn>
              <a:cxn ang="0">
                <a:pos x="connsiteX8240" y="connsiteY8240"/>
              </a:cxn>
              <a:cxn ang="0">
                <a:pos x="connsiteX8241" y="connsiteY8241"/>
              </a:cxn>
              <a:cxn ang="0">
                <a:pos x="connsiteX8242" y="connsiteY8242"/>
              </a:cxn>
              <a:cxn ang="0">
                <a:pos x="connsiteX8243" y="connsiteY8243"/>
              </a:cxn>
              <a:cxn ang="0">
                <a:pos x="connsiteX8244" y="connsiteY8244"/>
              </a:cxn>
              <a:cxn ang="0">
                <a:pos x="connsiteX8245" y="connsiteY8245"/>
              </a:cxn>
              <a:cxn ang="0">
                <a:pos x="connsiteX8246" y="connsiteY8246"/>
              </a:cxn>
              <a:cxn ang="0">
                <a:pos x="connsiteX8247" y="connsiteY8247"/>
              </a:cxn>
              <a:cxn ang="0">
                <a:pos x="connsiteX8248" y="connsiteY8248"/>
              </a:cxn>
              <a:cxn ang="0">
                <a:pos x="connsiteX8249" y="connsiteY8249"/>
              </a:cxn>
              <a:cxn ang="0">
                <a:pos x="connsiteX8250" y="connsiteY8250"/>
              </a:cxn>
              <a:cxn ang="0">
                <a:pos x="connsiteX8251" y="connsiteY8251"/>
              </a:cxn>
              <a:cxn ang="0">
                <a:pos x="connsiteX8252" y="connsiteY8252"/>
              </a:cxn>
              <a:cxn ang="0">
                <a:pos x="connsiteX8253" y="connsiteY8253"/>
              </a:cxn>
              <a:cxn ang="0">
                <a:pos x="connsiteX8254" y="connsiteY8254"/>
              </a:cxn>
              <a:cxn ang="0">
                <a:pos x="connsiteX8255" y="connsiteY8255"/>
              </a:cxn>
              <a:cxn ang="0">
                <a:pos x="connsiteX8256" y="connsiteY8256"/>
              </a:cxn>
              <a:cxn ang="0">
                <a:pos x="connsiteX8257" y="connsiteY8257"/>
              </a:cxn>
              <a:cxn ang="0">
                <a:pos x="connsiteX8258" y="connsiteY8258"/>
              </a:cxn>
              <a:cxn ang="0">
                <a:pos x="connsiteX8259" y="connsiteY8259"/>
              </a:cxn>
              <a:cxn ang="0">
                <a:pos x="connsiteX8260" y="connsiteY8260"/>
              </a:cxn>
              <a:cxn ang="0">
                <a:pos x="connsiteX8261" y="connsiteY8261"/>
              </a:cxn>
              <a:cxn ang="0">
                <a:pos x="connsiteX8262" y="connsiteY8262"/>
              </a:cxn>
              <a:cxn ang="0">
                <a:pos x="connsiteX8263" y="connsiteY8263"/>
              </a:cxn>
              <a:cxn ang="0">
                <a:pos x="connsiteX8264" y="connsiteY8264"/>
              </a:cxn>
              <a:cxn ang="0">
                <a:pos x="connsiteX8265" y="connsiteY8265"/>
              </a:cxn>
              <a:cxn ang="0">
                <a:pos x="connsiteX8266" y="connsiteY8266"/>
              </a:cxn>
              <a:cxn ang="0">
                <a:pos x="connsiteX8267" y="connsiteY8267"/>
              </a:cxn>
              <a:cxn ang="0">
                <a:pos x="connsiteX8268" y="connsiteY8268"/>
              </a:cxn>
              <a:cxn ang="0">
                <a:pos x="connsiteX8269" y="connsiteY8269"/>
              </a:cxn>
              <a:cxn ang="0">
                <a:pos x="connsiteX8270" y="connsiteY8270"/>
              </a:cxn>
              <a:cxn ang="0">
                <a:pos x="connsiteX8271" y="connsiteY8271"/>
              </a:cxn>
              <a:cxn ang="0">
                <a:pos x="connsiteX8272" y="connsiteY8272"/>
              </a:cxn>
              <a:cxn ang="0">
                <a:pos x="connsiteX8273" y="connsiteY8273"/>
              </a:cxn>
              <a:cxn ang="0">
                <a:pos x="connsiteX8274" y="connsiteY8274"/>
              </a:cxn>
              <a:cxn ang="0">
                <a:pos x="connsiteX8275" y="connsiteY8275"/>
              </a:cxn>
              <a:cxn ang="0">
                <a:pos x="connsiteX8276" y="connsiteY8276"/>
              </a:cxn>
              <a:cxn ang="0">
                <a:pos x="connsiteX8277" y="connsiteY8277"/>
              </a:cxn>
              <a:cxn ang="0">
                <a:pos x="connsiteX8278" y="connsiteY8278"/>
              </a:cxn>
              <a:cxn ang="0">
                <a:pos x="connsiteX8279" y="connsiteY8279"/>
              </a:cxn>
              <a:cxn ang="0">
                <a:pos x="connsiteX8280" y="connsiteY8280"/>
              </a:cxn>
              <a:cxn ang="0">
                <a:pos x="connsiteX8281" y="connsiteY8281"/>
              </a:cxn>
              <a:cxn ang="0">
                <a:pos x="connsiteX8282" y="connsiteY8282"/>
              </a:cxn>
              <a:cxn ang="0">
                <a:pos x="connsiteX8283" y="connsiteY8283"/>
              </a:cxn>
              <a:cxn ang="0">
                <a:pos x="connsiteX8284" y="connsiteY8284"/>
              </a:cxn>
              <a:cxn ang="0">
                <a:pos x="connsiteX8285" y="connsiteY8285"/>
              </a:cxn>
              <a:cxn ang="0">
                <a:pos x="connsiteX8286" y="connsiteY8286"/>
              </a:cxn>
              <a:cxn ang="0">
                <a:pos x="connsiteX8287" y="connsiteY8287"/>
              </a:cxn>
              <a:cxn ang="0">
                <a:pos x="connsiteX8288" y="connsiteY8288"/>
              </a:cxn>
              <a:cxn ang="0">
                <a:pos x="connsiteX8289" y="connsiteY8289"/>
              </a:cxn>
              <a:cxn ang="0">
                <a:pos x="connsiteX8290" y="connsiteY8290"/>
              </a:cxn>
              <a:cxn ang="0">
                <a:pos x="connsiteX8291" y="connsiteY8291"/>
              </a:cxn>
              <a:cxn ang="0">
                <a:pos x="connsiteX8292" y="connsiteY8292"/>
              </a:cxn>
              <a:cxn ang="0">
                <a:pos x="connsiteX8293" y="connsiteY8293"/>
              </a:cxn>
              <a:cxn ang="0">
                <a:pos x="connsiteX8294" y="connsiteY8294"/>
              </a:cxn>
              <a:cxn ang="0">
                <a:pos x="connsiteX8295" y="connsiteY8295"/>
              </a:cxn>
              <a:cxn ang="0">
                <a:pos x="connsiteX8296" y="connsiteY8296"/>
              </a:cxn>
              <a:cxn ang="0">
                <a:pos x="connsiteX8297" y="connsiteY8297"/>
              </a:cxn>
              <a:cxn ang="0">
                <a:pos x="connsiteX8298" y="connsiteY8298"/>
              </a:cxn>
              <a:cxn ang="0">
                <a:pos x="connsiteX8299" y="connsiteY8299"/>
              </a:cxn>
              <a:cxn ang="0">
                <a:pos x="connsiteX8300" y="connsiteY8300"/>
              </a:cxn>
              <a:cxn ang="0">
                <a:pos x="connsiteX8301" y="connsiteY8301"/>
              </a:cxn>
              <a:cxn ang="0">
                <a:pos x="connsiteX8302" y="connsiteY8302"/>
              </a:cxn>
              <a:cxn ang="0">
                <a:pos x="connsiteX8303" y="connsiteY8303"/>
              </a:cxn>
              <a:cxn ang="0">
                <a:pos x="connsiteX8304" y="connsiteY8304"/>
              </a:cxn>
              <a:cxn ang="0">
                <a:pos x="connsiteX8305" y="connsiteY8305"/>
              </a:cxn>
              <a:cxn ang="0">
                <a:pos x="connsiteX8306" y="connsiteY8306"/>
              </a:cxn>
              <a:cxn ang="0">
                <a:pos x="connsiteX8307" y="connsiteY8307"/>
              </a:cxn>
              <a:cxn ang="0">
                <a:pos x="connsiteX8308" y="connsiteY8308"/>
              </a:cxn>
              <a:cxn ang="0">
                <a:pos x="connsiteX8309" y="connsiteY8309"/>
              </a:cxn>
              <a:cxn ang="0">
                <a:pos x="connsiteX8310" y="connsiteY8310"/>
              </a:cxn>
              <a:cxn ang="0">
                <a:pos x="connsiteX8311" y="connsiteY8311"/>
              </a:cxn>
              <a:cxn ang="0">
                <a:pos x="connsiteX8312" y="connsiteY8312"/>
              </a:cxn>
              <a:cxn ang="0">
                <a:pos x="connsiteX8313" y="connsiteY8313"/>
              </a:cxn>
              <a:cxn ang="0">
                <a:pos x="connsiteX8314" y="connsiteY8314"/>
              </a:cxn>
              <a:cxn ang="0">
                <a:pos x="connsiteX8315" y="connsiteY8315"/>
              </a:cxn>
              <a:cxn ang="0">
                <a:pos x="connsiteX8316" y="connsiteY8316"/>
              </a:cxn>
              <a:cxn ang="0">
                <a:pos x="connsiteX8317" y="connsiteY8317"/>
              </a:cxn>
              <a:cxn ang="0">
                <a:pos x="connsiteX8318" y="connsiteY8318"/>
              </a:cxn>
              <a:cxn ang="0">
                <a:pos x="connsiteX8319" y="connsiteY8319"/>
              </a:cxn>
              <a:cxn ang="0">
                <a:pos x="connsiteX8320" y="connsiteY8320"/>
              </a:cxn>
              <a:cxn ang="0">
                <a:pos x="connsiteX8321" y="connsiteY8321"/>
              </a:cxn>
              <a:cxn ang="0">
                <a:pos x="connsiteX8322" y="connsiteY8322"/>
              </a:cxn>
              <a:cxn ang="0">
                <a:pos x="connsiteX8323" y="connsiteY8323"/>
              </a:cxn>
              <a:cxn ang="0">
                <a:pos x="connsiteX8324" y="connsiteY8324"/>
              </a:cxn>
              <a:cxn ang="0">
                <a:pos x="connsiteX8325" y="connsiteY8325"/>
              </a:cxn>
              <a:cxn ang="0">
                <a:pos x="connsiteX8326" y="connsiteY8326"/>
              </a:cxn>
              <a:cxn ang="0">
                <a:pos x="connsiteX8327" y="connsiteY8327"/>
              </a:cxn>
              <a:cxn ang="0">
                <a:pos x="connsiteX8328" y="connsiteY8328"/>
              </a:cxn>
              <a:cxn ang="0">
                <a:pos x="connsiteX8329" y="connsiteY8329"/>
              </a:cxn>
              <a:cxn ang="0">
                <a:pos x="connsiteX8330" y="connsiteY8330"/>
              </a:cxn>
              <a:cxn ang="0">
                <a:pos x="connsiteX8331" y="connsiteY8331"/>
              </a:cxn>
              <a:cxn ang="0">
                <a:pos x="connsiteX8332" y="connsiteY8332"/>
              </a:cxn>
              <a:cxn ang="0">
                <a:pos x="connsiteX8333" y="connsiteY8333"/>
              </a:cxn>
              <a:cxn ang="0">
                <a:pos x="connsiteX8334" y="connsiteY8334"/>
              </a:cxn>
              <a:cxn ang="0">
                <a:pos x="connsiteX8335" y="connsiteY8335"/>
              </a:cxn>
              <a:cxn ang="0">
                <a:pos x="connsiteX8336" y="connsiteY8336"/>
              </a:cxn>
              <a:cxn ang="0">
                <a:pos x="connsiteX8337" y="connsiteY8337"/>
              </a:cxn>
              <a:cxn ang="0">
                <a:pos x="connsiteX8338" y="connsiteY8338"/>
              </a:cxn>
              <a:cxn ang="0">
                <a:pos x="connsiteX8339" y="connsiteY8339"/>
              </a:cxn>
              <a:cxn ang="0">
                <a:pos x="connsiteX8340" y="connsiteY8340"/>
              </a:cxn>
              <a:cxn ang="0">
                <a:pos x="connsiteX8341" y="connsiteY8341"/>
              </a:cxn>
              <a:cxn ang="0">
                <a:pos x="connsiteX8342" y="connsiteY8342"/>
              </a:cxn>
              <a:cxn ang="0">
                <a:pos x="connsiteX8343" y="connsiteY8343"/>
              </a:cxn>
              <a:cxn ang="0">
                <a:pos x="connsiteX8344" y="connsiteY8344"/>
              </a:cxn>
              <a:cxn ang="0">
                <a:pos x="connsiteX8345" y="connsiteY8345"/>
              </a:cxn>
              <a:cxn ang="0">
                <a:pos x="connsiteX8346" y="connsiteY8346"/>
              </a:cxn>
              <a:cxn ang="0">
                <a:pos x="connsiteX8347" y="connsiteY8347"/>
              </a:cxn>
              <a:cxn ang="0">
                <a:pos x="connsiteX8348" y="connsiteY8348"/>
              </a:cxn>
              <a:cxn ang="0">
                <a:pos x="connsiteX8349" y="connsiteY8349"/>
              </a:cxn>
              <a:cxn ang="0">
                <a:pos x="connsiteX8350" y="connsiteY8350"/>
              </a:cxn>
              <a:cxn ang="0">
                <a:pos x="connsiteX8351" y="connsiteY8351"/>
              </a:cxn>
              <a:cxn ang="0">
                <a:pos x="connsiteX8352" y="connsiteY8352"/>
              </a:cxn>
              <a:cxn ang="0">
                <a:pos x="connsiteX8353" y="connsiteY8353"/>
              </a:cxn>
              <a:cxn ang="0">
                <a:pos x="connsiteX8354" y="connsiteY8354"/>
              </a:cxn>
              <a:cxn ang="0">
                <a:pos x="connsiteX8355" y="connsiteY8355"/>
              </a:cxn>
              <a:cxn ang="0">
                <a:pos x="connsiteX8356" y="connsiteY8356"/>
              </a:cxn>
              <a:cxn ang="0">
                <a:pos x="connsiteX8357" y="connsiteY8357"/>
              </a:cxn>
              <a:cxn ang="0">
                <a:pos x="connsiteX8358" y="connsiteY8358"/>
              </a:cxn>
              <a:cxn ang="0">
                <a:pos x="connsiteX8359" y="connsiteY8359"/>
              </a:cxn>
              <a:cxn ang="0">
                <a:pos x="connsiteX8360" y="connsiteY8360"/>
              </a:cxn>
              <a:cxn ang="0">
                <a:pos x="connsiteX8361" y="connsiteY8361"/>
              </a:cxn>
              <a:cxn ang="0">
                <a:pos x="connsiteX8362" y="connsiteY8362"/>
              </a:cxn>
              <a:cxn ang="0">
                <a:pos x="connsiteX8363" y="connsiteY8363"/>
              </a:cxn>
              <a:cxn ang="0">
                <a:pos x="connsiteX8364" y="connsiteY8364"/>
              </a:cxn>
              <a:cxn ang="0">
                <a:pos x="connsiteX8365" y="connsiteY8365"/>
              </a:cxn>
              <a:cxn ang="0">
                <a:pos x="connsiteX8366" y="connsiteY8366"/>
              </a:cxn>
              <a:cxn ang="0">
                <a:pos x="connsiteX8367" y="connsiteY8367"/>
              </a:cxn>
              <a:cxn ang="0">
                <a:pos x="connsiteX8368" y="connsiteY8368"/>
              </a:cxn>
              <a:cxn ang="0">
                <a:pos x="connsiteX8369" y="connsiteY8369"/>
              </a:cxn>
              <a:cxn ang="0">
                <a:pos x="connsiteX8370" y="connsiteY8370"/>
              </a:cxn>
              <a:cxn ang="0">
                <a:pos x="connsiteX8371" y="connsiteY8371"/>
              </a:cxn>
              <a:cxn ang="0">
                <a:pos x="connsiteX8372" y="connsiteY8372"/>
              </a:cxn>
              <a:cxn ang="0">
                <a:pos x="connsiteX8373" y="connsiteY8373"/>
              </a:cxn>
              <a:cxn ang="0">
                <a:pos x="connsiteX8374" y="connsiteY8374"/>
              </a:cxn>
              <a:cxn ang="0">
                <a:pos x="connsiteX8375" y="connsiteY8375"/>
              </a:cxn>
              <a:cxn ang="0">
                <a:pos x="connsiteX8376" y="connsiteY8376"/>
              </a:cxn>
              <a:cxn ang="0">
                <a:pos x="connsiteX8377" y="connsiteY8377"/>
              </a:cxn>
              <a:cxn ang="0">
                <a:pos x="connsiteX8378" y="connsiteY8378"/>
              </a:cxn>
              <a:cxn ang="0">
                <a:pos x="connsiteX8379" y="connsiteY8379"/>
              </a:cxn>
              <a:cxn ang="0">
                <a:pos x="connsiteX8380" y="connsiteY8380"/>
              </a:cxn>
              <a:cxn ang="0">
                <a:pos x="connsiteX8381" y="connsiteY8381"/>
              </a:cxn>
              <a:cxn ang="0">
                <a:pos x="connsiteX8382" y="connsiteY8382"/>
              </a:cxn>
              <a:cxn ang="0">
                <a:pos x="connsiteX8383" y="connsiteY8383"/>
              </a:cxn>
              <a:cxn ang="0">
                <a:pos x="connsiteX8384" y="connsiteY8384"/>
              </a:cxn>
              <a:cxn ang="0">
                <a:pos x="connsiteX8385" y="connsiteY8385"/>
              </a:cxn>
              <a:cxn ang="0">
                <a:pos x="connsiteX8386" y="connsiteY8386"/>
              </a:cxn>
              <a:cxn ang="0">
                <a:pos x="connsiteX8387" y="connsiteY8387"/>
              </a:cxn>
              <a:cxn ang="0">
                <a:pos x="connsiteX8388" y="connsiteY8388"/>
              </a:cxn>
              <a:cxn ang="0">
                <a:pos x="connsiteX8389" y="connsiteY8389"/>
              </a:cxn>
              <a:cxn ang="0">
                <a:pos x="connsiteX8390" y="connsiteY8390"/>
              </a:cxn>
              <a:cxn ang="0">
                <a:pos x="connsiteX8391" y="connsiteY8391"/>
              </a:cxn>
              <a:cxn ang="0">
                <a:pos x="connsiteX8392" y="connsiteY8392"/>
              </a:cxn>
              <a:cxn ang="0">
                <a:pos x="connsiteX8393" y="connsiteY8393"/>
              </a:cxn>
              <a:cxn ang="0">
                <a:pos x="connsiteX8394" y="connsiteY8394"/>
              </a:cxn>
              <a:cxn ang="0">
                <a:pos x="connsiteX8395" y="connsiteY8395"/>
              </a:cxn>
              <a:cxn ang="0">
                <a:pos x="connsiteX8396" y="connsiteY8396"/>
              </a:cxn>
              <a:cxn ang="0">
                <a:pos x="connsiteX8397" y="connsiteY8397"/>
              </a:cxn>
              <a:cxn ang="0">
                <a:pos x="connsiteX8398" y="connsiteY8398"/>
              </a:cxn>
              <a:cxn ang="0">
                <a:pos x="connsiteX8399" y="connsiteY8399"/>
              </a:cxn>
              <a:cxn ang="0">
                <a:pos x="connsiteX8400" y="connsiteY8400"/>
              </a:cxn>
              <a:cxn ang="0">
                <a:pos x="connsiteX8401" y="connsiteY8401"/>
              </a:cxn>
              <a:cxn ang="0">
                <a:pos x="connsiteX8402" y="connsiteY8402"/>
              </a:cxn>
              <a:cxn ang="0">
                <a:pos x="connsiteX8403" y="connsiteY8403"/>
              </a:cxn>
              <a:cxn ang="0">
                <a:pos x="connsiteX8404" y="connsiteY8404"/>
              </a:cxn>
              <a:cxn ang="0">
                <a:pos x="connsiteX8405" y="connsiteY8405"/>
              </a:cxn>
              <a:cxn ang="0">
                <a:pos x="connsiteX8406" y="connsiteY8406"/>
              </a:cxn>
              <a:cxn ang="0">
                <a:pos x="connsiteX8407" y="connsiteY8407"/>
              </a:cxn>
              <a:cxn ang="0">
                <a:pos x="connsiteX8408" y="connsiteY8408"/>
              </a:cxn>
              <a:cxn ang="0">
                <a:pos x="connsiteX8409" y="connsiteY8409"/>
              </a:cxn>
              <a:cxn ang="0">
                <a:pos x="connsiteX8410" y="connsiteY8410"/>
              </a:cxn>
              <a:cxn ang="0">
                <a:pos x="connsiteX8411" y="connsiteY8411"/>
              </a:cxn>
              <a:cxn ang="0">
                <a:pos x="connsiteX8412" y="connsiteY8412"/>
              </a:cxn>
              <a:cxn ang="0">
                <a:pos x="connsiteX8413" y="connsiteY8413"/>
              </a:cxn>
              <a:cxn ang="0">
                <a:pos x="connsiteX8414" y="connsiteY8414"/>
              </a:cxn>
              <a:cxn ang="0">
                <a:pos x="connsiteX8415" y="connsiteY8415"/>
              </a:cxn>
              <a:cxn ang="0">
                <a:pos x="connsiteX8416" y="connsiteY8416"/>
              </a:cxn>
              <a:cxn ang="0">
                <a:pos x="connsiteX8417" y="connsiteY8417"/>
              </a:cxn>
              <a:cxn ang="0">
                <a:pos x="connsiteX8418" y="connsiteY8418"/>
              </a:cxn>
              <a:cxn ang="0">
                <a:pos x="connsiteX8419" y="connsiteY8419"/>
              </a:cxn>
              <a:cxn ang="0">
                <a:pos x="connsiteX8420" y="connsiteY8420"/>
              </a:cxn>
              <a:cxn ang="0">
                <a:pos x="connsiteX8421" y="connsiteY8421"/>
              </a:cxn>
              <a:cxn ang="0">
                <a:pos x="connsiteX8422" y="connsiteY8422"/>
              </a:cxn>
              <a:cxn ang="0">
                <a:pos x="connsiteX8423" y="connsiteY8423"/>
              </a:cxn>
              <a:cxn ang="0">
                <a:pos x="connsiteX8424" y="connsiteY8424"/>
              </a:cxn>
              <a:cxn ang="0">
                <a:pos x="connsiteX8425" y="connsiteY8425"/>
              </a:cxn>
              <a:cxn ang="0">
                <a:pos x="connsiteX8426" y="connsiteY8426"/>
              </a:cxn>
              <a:cxn ang="0">
                <a:pos x="connsiteX8427" y="connsiteY8427"/>
              </a:cxn>
              <a:cxn ang="0">
                <a:pos x="connsiteX8428" y="connsiteY8428"/>
              </a:cxn>
              <a:cxn ang="0">
                <a:pos x="connsiteX8429" y="connsiteY8429"/>
              </a:cxn>
              <a:cxn ang="0">
                <a:pos x="connsiteX8430" y="connsiteY8430"/>
              </a:cxn>
              <a:cxn ang="0">
                <a:pos x="connsiteX8431" y="connsiteY8431"/>
              </a:cxn>
              <a:cxn ang="0">
                <a:pos x="connsiteX8432" y="connsiteY8432"/>
              </a:cxn>
              <a:cxn ang="0">
                <a:pos x="connsiteX8433" y="connsiteY8433"/>
              </a:cxn>
              <a:cxn ang="0">
                <a:pos x="connsiteX8434" y="connsiteY8434"/>
              </a:cxn>
              <a:cxn ang="0">
                <a:pos x="connsiteX8435" y="connsiteY8435"/>
              </a:cxn>
              <a:cxn ang="0">
                <a:pos x="connsiteX8436" y="connsiteY8436"/>
              </a:cxn>
              <a:cxn ang="0">
                <a:pos x="connsiteX8437" y="connsiteY8437"/>
              </a:cxn>
              <a:cxn ang="0">
                <a:pos x="connsiteX8438" y="connsiteY8438"/>
              </a:cxn>
              <a:cxn ang="0">
                <a:pos x="connsiteX8439" y="connsiteY8439"/>
              </a:cxn>
              <a:cxn ang="0">
                <a:pos x="connsiteX8440" y="connsiteY8440"/>
              </a:cxn>
              <a:cxn ang="0">
                <a:pos x="connsiteX8441" y="connsiteY8441"/>
              </a:cxn>
              <a:cxn ang="0">
                <a:pos x="connsiteX8442" y="connsiteY8442"/>
              </a:cxn>
              <a:cxn ang="0">
                <a:pos x="connsiteX8443" y="connsiteY8443"/>
              </a:cxn>
              <a:cxn ang="0">
                <a:pos x="connsiteX8444" y="connsiteY8444"/>
              </a:cxn>
              <a:cxn ang="0">
                <a:pos x="connsiteX8445" y="connsiteY8445"/>
              </a:cxn>
              <a:cxn ang="0">
                <a:pos x="connsiteX8446" y="connsiteY8446"/>
              </a:cxn>
              <a:cxn ang="0">
                <a:pos x="connsiteX8447" y="connsiteY8447"/>
              </a:cxn>
              <a:cxn ang="0">
                <a:pos x="connsiteX8448" y="connsiteY8448"/>
              </a:cxn>
              <a:cxn ang="0">
                <a:pos x="connsiteX8449" y="connsiteY8449"/>
              </a:cxn>
              <a:cxn ang="0">
                <a:pos x="connsiteX8450" y="connsiteY8450"/>
              </a:cxn>
              <a:cxn ang="0">
                <a:pos x="connsiteX8451" y="connsiteY8451"/>
              </a:cxn>
              <a:cxn ang="0">
                <a:pos x="connsiteX8452" y="connsiteY8452"/>
              </a:cxn>
              <a:cxn ang="0">
                <a:pos x="connsiteX8453" y="connsiteY8453"/>
              </a:cxn>
              <a:cxn ang="0">
                <a:pos x="connsiteX8454" y="connsiteY8454"/>
              </a:cxn>
              <a:cxn ang="0">
                <a:pos x="connsiteX8455" y="connsiteY8455"/>
              </a:cxn>
              <a:cxn ang="0">
                <a:pos x="connsiteX8456" y="connsiteY8456"/>
              </a:cxn>
              <a:cxn ang="0">
                <a:pos x="connsiteX8457" y="connsiteY8457"/>
              </a:cxn>
              <a:cxn ang="0">
                <a:pos x="connsiteX8458" y="connsiteY8458"/>
              </a:cxn>
              <a:cxn ang="0">
                <a:pos x="connsiteX8459" y="connsiteY8459"/>
              </a:cxn>
              <a:cxn ang="0">
                <a:pos x="connsiteX8460" y="connsiteY8460"/>
              </a:cxn>
              <a:cxn ang="0">
                <a:pos x="connsiteX8461" y="connsiteY8461"/>
              </a:cxn>
              <a:cxn ang="0">
                <a:pos x="connsiteX8462" y="connsiteY8462"/>
              </a:cxn>
              <a:cxn ang="0">
                <a:pos x="connsiteX8463" y="connsiteY8463"/>
              </a:cxn>
              <a:cxn ang="0">
                <a:pos x="connsiteX8464" y="connsiteY8464"/>
              </a:cxn>
              <a:cxn ang="0">
                <a:pos x="connsiteX8465" y="connsiteY8465"/>
              </a:cxn>
              <a:cxn ang="0">
                <a:pos x="connsiteX8466" y="connsiteY8466"/>
              </a:cxn>
              <a:cxn ang="0">
                <a:pos x="connsiteX8467" y="connsiteY8467"/>
              </a:cxn>
              <a:cxn ang="0">
                <a:pos x="connsiteX8468" y="connsiteY8468"/>
              </a:cxn>
              <a:cxn ang="0">
                <a:pos x="connsiteX8469" y="connsiteY8469"/>
              </a:cxn>
              <a:cxn ang="0">
                <a:pos x="connsiteX8470" y="connsiteY8470"/>
              </a:cxn>
              <a:cxn ang="0">
                <a:pos x="connsiteX8471" y="connsiteY8471"/>
              </a:cxn>
              <a:cxn ang="0">
                <a:pos x="connsiteX8472" y="connsiteY8472"/>
              </a:cxn>
              <a:cxn ang="0">
                <a:pos x="connsiteX8473" y="connsiteY8473"/>
              </a:cxn>
              <a:cxn ang="0">
                <a:pos x="connsiteX8474" y="connsiteY8474"/>
              </a:cxn>
              <a:cxn ang="0">
                <a:pos x="connsiteX8475" y="connsiteY8475"/>
              </a:cxn>
              <a:cxn ang="0">
                <a:pos x="connsiteX8476" y="connsiteY8476"/>
              </a:cxn>
              <a:cxn ang="0">
                <a:pos x="connsiteX8477" y="connsiteY8477"/>
              </a:cxn>
              <a:cxn ang="0">
                <a:pos x="connsiteX8478" y="connsiteY8478"/>
              </a:cxn>
              <a:cxn ang="0">
                <a:pos x="connsiteX8479" y="connsiteY8479"/>
              </a:cxn>
              <a:cxn ang="0">
                <a:pos x="connsiteX8480" y="connsiteY8480"/>
              </a:cxn>
              <a:cxn ang="0">
                <a:pos x="connsiteX8481" y="connsiteY8481"/>
              </a:cxn>
              <a:cxn ang="0">
                <a:pos x="connsiteX8482" y="connsiteY8482"/>
              </a:cxn>
              <a:cxn ang="0">
                <a:pos x="connsiteX8483" y="connsiteY8483"/>
              </a:cxn>
              <a:cxn ang="0">
                <a:pos x="connsiteX8484" y="connsiteY8484"/>
              </a:cxn>
              <a:cxn ang="0">
                <a:pos x="connsiteX8485" y="connsiteY8485"/>
              </a:cxn>
              <a:cxn ang="0">
                <a:pos x="connsiteX8486" y="connsiteY8486"/>
              </a:cxn>
              <a:cxn ang="0">
                <a:pos x="connsiteX8487" y="connsiteY8487"/>
              </a:cxn>
              <a:cxn ang="0">
                <a:pos x="connsiteX8488" y="connsiteY8488"/>
              </a:cxn>
              <a:cxn ang="0">
                <a:pos x="connsiteX8489" y="connsiteY8489"/>
              </a:cxn>
              <a:cxn ang="0">
                <a:pos x="connsiteX8490" y="connsiteY8490"/>
              </a:cxn>
              <a:cxn ang="0">
                <a:pos x="connsiteX8491" y="connsiteY8491"/>
              </a:cxn>
              <a:cxn ang="0">
                <a:pos x="connsiteX8492" y="connsiteY8492"/>
              </a:cxn>
              <a:cxn ang="0">
                <a:pos x="connsiteX8493" y="connsiteY8493"/>
              </a:cxn>
              <a:cxn ang="0">
                <a:pos x="connsiteX8494" y="connsiteY8494"/>
              </a:cxn>
              <a:cxn ang="0">
                <a:pos x="connsiteX8495" y="connsiteY8495"/>
              </a:cxn>
              <a:cxn ang="0">
                <a:pos x="connsiteX8496" y="connsiteY8496"/>
              </a:cxn>
              <a:cxn ang="0">
                <a:pos x="connsiteX8497" y="connsiteY8497"/>
              </a:cxn>
              <a:cxn ang="0">
                <a:pos x="connsiteX8498" y="connsiteY8498"/>
              </a:cxn>
              <a:cxn ang="0">
                <a:pos x="connsiteX8499" y="connsiteY8499"/>
              </a:cxn>
              <a:cxn ang="0">
                <a:pos x="connsiteX8500" y="connsiteY8500"/>
              </a:cxn>
              <a:cxn ang="0">
                <a:pos x="connsiteX8501" y="connsiteY8501"/>
              </a:cxn>
              <a:cxn ang="0">
                <a:pos x="connsiteX8502" y="connsiteY8502"/>
              </a:cxn>
              <a:cxn ang="0">
                <a:pos x="connsiteX8503" y="connsiteY8503"/>
              </a:cxn>
              <a:cxn ang="0">
                <a:pos x="connsiteX8504" y="connsiteY8504"/>
              </a:cxn>
              <a:cxn ang="0">
                <a:pos x="connsiteX8505" y="connsiteY8505"/>
              </a:cxn>
              <a:cxn ang="0">
                <a:pos x="connsiteX8506" y="connsiteY8506"/>
              </a:cxn>
              <a:cxn ang="0">
                <a:pos x="connsiteX8507" y="connsiteY8507"/>
              </a:cxn>
              <a:cxn ang="0">
                <a:pos x="connsiteX8508" y="connsiteY8508"/>
              </a:cxn>
              <a:cxn ang="0">
                <a:pos x="connsiteX8509" y="connsiteY8509"/>
              </a:cxn>
              <a:cxn ang="0">
                <a:pos x="connsiteX8510" y="connsiteY8510"/>
              </a:cxn>
              <a:cxn ang="0">
                <a:pos x="connsiteX8511" y="connsiteY8511"/>
              </a:cxn>
              <a:cxn ang="0">
                <a:pos x="connsiteX8512" y="connsiteY8512"/>
              </a:cxn>
              <a:cxn ang="0">
                <a:pos x="connsiteX8513" y="connsiteY8513"/>
              </a:cxn>
              <a:cxn ang="0">
                <a:pos x="connsiteX8514" y="connsiteY8514"/>
              </a:cxn>
              <a:cxn ang="0">
                <a:pos x="connsiteX8515" y="connsiteY8515"/>
              </a:cxn>
              <a:cxn ang="0">
                <a:pos x="connsiteX8516" y="connsiteY8516"/>
              </a:cxn>
              <a:cxn ang="0">
                <a:pos x="connsiteX8517" y="connsiteY8517"/>
              </a:cxn>
              <a:cxn ang="0">
                <a:pos x="connsiteX8518" y="connsiteY8518"/>
              </a:cxn>
              <a:cxn ang="0">
                <a:pos x="connsiteX8519" y="connsiteY8519"/>
              </a:cxn>
              <a:cxn ang="0">
                <a:pos x="connsiteX8520" y="connsiteY8520"/>
              </a:cxn>
              <a:cxn ang="0">
                <a:pos x="connsiteX8521" y="connsiteY8521"/>
              </a:cxn>
              <a:cxn ang="0">
                <a:pos x="connsiteX8522" y="connsiteY8522"/>
              </a:cxn>
              <a:cxn ang="0">
                <a:pos x="connsiteX8523" y="connsiteY8523"/>
              </a:cxn>
              <a:cxn ang="0">
                <a:pos x="connsiteX8524" y="connsiteY8524"/>
              </a:cxn>
              <a:cxn ang="0">
                <a:pos x="connsiteX8525" y="connsiteY8525"/>
              </a:cxn>
              <a:cxn ang="0">
                <a:pos x="connsiteX8526" y="connsiteY8526"/>
              </a:cxn>
              <a:cxn ang="0">
                <a:pos x="connsiteX8527" y="connsiteY8527"/>
              </a:cxn>
              <a:cxn ang="0">
                <a:pos x="connsiteX8528" y="connsiteY8528"/>
              </a:cxn>
              <a:cxn ang="0">
                <a:pos x="connsiteX8529" y="connsiteY8529"/>
              </a:cxn>
              <a:cxn ang="0">
                <a:pos x="connsiteX8530" y="connsiteY8530"/>
              </a:cxn>
              <a:cxn ang="0">
                <a:pos x="connsiteX8531" y="connsiteY8531"/>
              </a:cxn>
              <a:cxn ang="0">
                <a:pos x="connsiteX8532" y="connsiteY8532"/>
              </a:cxn>
              <a:cxn ang="0">
                <a:pos x="connsiteX8533" y="connsiteY8533"/>
              </a:cxn>
              <a:cxn ang="0">
                <a:pos x="connsiteX8534" y="connsiteY8534"/>
              </a:cxn>
              <a:cxn ang="0">
                <a:pos x="connsiteX8535" y="connsiteY8535"/>
              </a:cxn>
              <a:cxn ang="0">
                <a:pos x="connsiteX8536" y="connsiteY8536"/>
              </a:cxn>
              <a:cxn ang="0">
                <a:pos x="connsiteX8537" y="connsiteY8537"/>
              </a:cxn>
              <a:cxn ang="0">
                <a:pos x="connsiteX8538" y="connsiteY8538"/>
              </a:cxn>
              <a:cxn ang="0">
                <a:pos x="connsiteX8539" y="connsiteY8539"/>
              </a:cxn>
              <a:cxn ang="0">
                <a:pos x="connsiteX8540" y="connsiteY8540"/>
              </a:cxn>
              <a:cxn ang="0">
                <a:pos x="connsiteX8541" y="connsiteY8541"/>
              </a:cxn>
              <a:cxn ang="0">
                <a:pos x="connsiteX8542" y="connsiteY8542"/>
              </a:cxn>
              <a:cxn ang="0">
                <a:pos x="connsiteX8543" y="connsiteY8543"/>
              </a:cxn>
              <a:cxn ang="0">
                <a:pos x="connsiteX8544" y="connsiteY8544"/>
              </a:cxn>
              <a:cxn ang="0">
                <a:pos x="connsiteX8545" y="connsiteY8545"/>
              </a:cxn>
              <a:cxn ang="0">
                <a:pos x="connsiteX8546" y="connsiteY8546"/>
              </a:cxn>
              <a:cxn ang="0">
                <a:pos x="connsiteX8547" y="connsiteY8547"/>
              </a:cxn>
              <a:cxn ang="0">
                <a:pos x="connsiteX8548" y="connsiteY8548"/>
              </a:cxn>
              <a:cxn ang="0">
                <a:pos x="connsiteX8549" y="connsiteY8549"/>
              </a:cxn>
              <a:cxn ang="0">
                <a:pos x="connsiteX8550" y="connsiteY8550"/>
              </a:cxn>
              <a:cxn ang="0">
                <a:pos x="connsiteX8551" y="connsiteY8551"/>
              </a:cxn>
              <a:cxn ang="0">
                <a:pos x="connsiteX8552" y="connsiteY8552"/>
              </a:cxn>
              <a:cxn ang="0">
                <a:pos x="connsiteX8553" y="connsiteY8553"/>
              </a:cxn>
              <a:cxn ang="0">
                <a:pos x="connsiteX8554" y="connsiteY8554"/>
              </a:cxn>
              <a:cxn ang="0">
                <a:pos x="connsiteX8555" y="connsiteY8555"/>
              </a:cxn>
              <a:cxn ang="0">
                <a:pos x="connsiteX8556" y="connsiteY8556"/>
              </a:cxn>
              <a:cxn ang="0">
                <a:pos x="connsiteX8557" y="connsiteY8557"/>
              </a:cxn>
              <a:cxn ang="0">
                <a:pos x="connsiteX8558" y="connsiteY8558"/>
              </a:cxn>
              <a:cxn ang="0">
                <a:pos x="connsiteX8559" y="connsiteY8559"/>
              </a:cxn>
              <a:cxn ang="0">
                <a:pos x="connsiteX8560" y="connsiteY8560"/>
              </a:cxn>
              <a:cxn ang="0">
                <a:pos x="connsiteX8561" y="connsiteY8561"/>
              </a:cxn>
              <a:cxn ang="0">
                <a:pos x="connsiteX8562" y="connsiteY8562"/>
              </a:cxn>
              <a:cxn ang="0">
                <a:pos x="connsiteX8563" y="connsiteY8563"/>
              </a:cxn>
              <a:cxn ang="0">
                <a:pos x="connsiteX8564" y="connsiteY8564"/>
              </a:cxn>
              <a:cxn ang="0">
                <a:pos x="connsiteX8565" y="connsiteY8565"/>
              </a:cxn>
              <a:cxn ang="0">
                <a:pos x="connsiteX8566" y="connsiteY8566"/>
              </a:cxn>
              <a:cxn ang="0">
                <a:pos x="connsiteX8567" y="connsiteY8567"/>
              </a:cxn>
              <a:cxn ang="0">
                <a:pos x="connsiteX8568" y="connsiteY8568"/>
              </a:cxn>
              <a:cxn ang="0">
                <a:pos x="connsiteX8569" y="connsiteY8569"/>
              </a:cxn>
              <a:cxn ang="0">
                <a:pos x="connsiteX8570" y="connsiteY8570"/>
              </a:cxn>
              <a:cxn ang="0">
                <a:pos x="connsiteX8571" y="connsiteY8571"/>
              </a:cxn>
              <a:cxn ang="0">
                <a:pos x="connsiteX8572" y="connsiteY8572"/>
              </a:cxn>
              <a:cxn ang="0">
                <a:pos x="connsiteX8573" y="connsiteY8573"/>
              </a:cxn>
              <a:cxn ang="0">
                <a:pos x="connsiteX8574" y="connsiteY8574"/>
              </a:cxn>
              <a:cxn ang="0">
                <a:pos x="connsiteX8575" y="connsiteY8575"/>
              </a:cxn>
              <a:cxn ang="0">
                <a:pos x="connsiteX8576" y="connsiteY8576"/>
              </a:cxn>
              <a:cxn ang="0">
                <a:pos x="connsiteX8577" y="connsiteY8577"/>
              </a:cxn>
              <a:cxn ang="0">
                <a:pos x="connsiteX8578" y="connsiteY8578"/>
              </a:cxn>
              <a:cxn ang="0">
                <a:pos x="connsiteX8579" y="connsiteY8579"/>
              </a:cxn>
              <a:cxn ang="0">
                <a:pos x="connsiteX8580" y="connsiteY8580"/>
              </a:cxn>
              <a:cxn ang="0">
                <a:pos x="connsiteX8581" y="connsiteY8581"/>
              </a:cxn>
              <a:cxn ang="0">
                <a:pos x="connsiteX8582" y="connsiteY8582"/>
              </a:cxn>
              <a:cxn ang="0">
                <a:pos x="connsiteX8583" y="connsiteY8583"/>
              </a:cxn>
              <a:cxn ang="0">
                <a:pos x="connsiteX8584" y="connsiteY8584"/>
              </a:cxn>
              <a:cxn ang="0">
                <a:pos x="connsiteX8585" y="connsiteY8585"/>
              </a:cxn>
              <a:cxn ang="0">
                <a:pos x="connsiteX8586" y="connsiteY8586"/>
              </a:cxn>
              <a:cxn ang="0">
                <a:pos x="connsiteX8587" y="connsiteY8587"/>
              </a:cxn>
              <a:cxn ang="0">
                <a:pos x="connsiteX8588" y="connsiteY8588"/>
              </a:cxn>
              <a:cxn ang="0">
                <a:pos x="connsiteX8589" y="connsiteY8589"/>
              </a:cxn>
              <a:cxn ang="0">
                <a:pos x="connsiteX8590" y="connsiteY8590"/>
              </a:cxn>
              <a:cxn ang="0">
                <a:pos x="connsiteX8591" y="connsiteY8591"/>
              </a:cxn>
              <a:cxn ang="0">
                <a:pos x="connsiteX8592" y="connsiteY8592"/>
              </a:cxn>
              <a:cxn ang="0">
                <a:pos x="connsiteX8593" y="connsiteY8593"/>
              </a:cxn>
              <a:cxn ang="0">
                <a:pos x="connsiteX8594" y="connsiteY8594"/>
              </a:cxn>
              <a:cxn ang="0">
                <a:pos x="connsiteX8595" y="connsiteY8595"/>
              </a:cxn>
              <a:cxn ang="0">
                <a:pos x="connsiteX8596" y="connsiteY8596"/>
              </a:cxn>
              <a:cxn ang="0">
                <a:pos x="connsiteX8597" y="connsiteY8597"/>
              </a:cxn>
              <a:cxn ang="0">
                <a:pos x="connsiteX8598" y="connsiteY8598"/>
              </a:cxn>
              <a:cxn ang="0">
                <a:pos x="connsiteX8599" y="connsiteY8599"/>
              </a:cxn>
              <a:cxn ang="0">
                <a:pos x="connsiteX8600" y="connsiteY8600"/>
              </a:cxn>
              <a:cxn ang="0">
                <a:pos x="connsiteX8601" y="connsiteY8601"/>
              </a:cxn>
              <a:cxn ang="0">
                <a:pos x="connsiteX8602" y="connsiteY8602"/>
              </a:cxn>
              <a:cxn ang="0">
                <a:pos x="connsiteX8603" y="connsiteY8603"/>
              </a:cxn>
              <a:cxn ang="0">
                <a:pos x="connsiteX8604" y="connsiteY8604"/>
              </a:cxn>
              <a:cxn ang="0">
                <a:pos x="connsiteX8605" y="connsiteY8605"/>
              </a:cxn>
              <a:cxn ang="0">
                <a:pos x="connsiteX8606" y="connsiteY8606"/>
              </a:cxn>
              <a:cxn ang="0">
                <a:pos x="connsiteX8607" y="connsiteY8607"/>
              </a:cxn>
              <a:cxn ang="0">
                <a:pos x="connsiteX8608" y="connsiteY8608"/>
              </a:cxn>
              <a:cxn ang="0">
                <a:pos x="connsiteX8609" y="connsiteY8609"/>
              </a:cxn>
              <a:cxn ang="0">
                <a:pos x="connsiteX8610" y="connsiteY8610"/>
              </a:cxn>
              <a:cxn ang="0">
                <a:pos x="connsiteX8611" y="connsiteY8611"/>
              </a:cxn>
              <a:cxn ang="0">
                <a:pos x="connsiteX8612" y="connsiteY8612"/>
              </a:cxn>
              <a:cxn ang="0">
                <a:pos x="connsiteX8613" y="connsiteY8613"/>
              </a:cxn>
              <a:cxn ang="0">
                <a:pos x="connsiteX8614" y="connsiteY8614"/>
              </a:cxn>
              <a:cxn ang="0">
                <a:pos x="connsiteX8615" y="connsiteY8615"/>
              </a:cxn>
              <a:cxn ang="0">
                <a:pos x="connsiteX8616" y="connsiteY8616"/>
              </a:cxn>
              <a:cxn ang="0">
                <a:pos x="connsiteX8617" y="connsiteY8617"/>
              </a:cxn>
              <a:cxn ang="0">
                <a:pos x="connsiteX8618" y="connsiteY8618"/>
              </a:cxn>
              <a:cxn ang="0">
                <a:pos x="connsiteX8619" y="connsiteY8619"/>
              </a:cxn>
              <a:cxn ang="0">
                <a:pos x="connsiteX8620" y="connsiteY8620"/>
              </a:cxn>
              <a:cxn ang="0">
                <a:pos x="connsiteX8621" y="connsiteY8621"/>
              </a:cxn>
              <a:cxn ang="0">
                <a:pos x="connsiteX8622" y="connsiteY8622"/>
              </a:cxn>
              <a:cxn ang="0">
                <a:pos x="connsiteX8623" y="connsiteY8623"/>
              </a:cxn>
              <a:cxn ang="0">
                <a:pos x="connsiteX8624" y="connsiteY8624"/>
              </a:cxn>
              <a:cxn ang="0">
                <a:pos x="connsiteX8625" y="connsiteY8625"/>
              </a:cxn>
              <a:cxn ang="0">
                <a:pos x="connsiteX8626" y="connsiteY8626"/>
              </a:cxn>
              <a:cxn ang="0">
                <a:pos x="connsiteX8627" y="connsiteY8627"/>
              </a:cxn>
              <a:cxn ang="0">
                <a:pos x="connsiteX8628" y="connsiteY8628"/>
              </a:cxn>
              <a:cxn ang="0">
                <a:pos x="connsiteX8629" y="connsiteY8629"/>
              </a:cxn>
              <a:cxn ang="0">
                <a:pos x="connsiteX8630" y="connsiteY8630"/>
              </a:cxn>
              <a:cxn ang="0">
                <a:pos x="connsiteX8631" y="connsiteY8631"/>
              </a:cxn>
              <a:cxn ang="0">
                <a:pos x="connsiteX8632" y="connsiteY8632"/>
              </a:cxn>
              <a:cxn ang="0">
                <a:pos x="connsiteX8633" y="connsiteY8633"/>
              </a:cxn>
              <a:cxn ang="0">
                <a:pos x="connsiteX8634" y="connsiteY8634"/>
              </a:cxn>
              <a:cxn ang="0">
                <a:pos x="connsiteX8635" y="connsiteY8635"/>
              </a:cxn>
              <a:cxn ang="0">
                <a:pos x="connsiteX8636" y="connsiteY8636"/>
              </a:cxn>
              <a:cxn ang="0">
                <a:pos x="connsiteX8637" y="connsiteY8637"/>
              </a:cxn>
              <a:cxn ang="0">
                <a:pos x="connsiteX8638" y="connsiteY8638"/>
              </a:cxn>
              <a:cxn ang="0">
                <a:pos x="connsiteX8639" y="connsiteY8639"/>
              </a:cxn>
              <a:cxn ang="0">
                <a:pos x="connsiteX8640" y="connsiteY8640"/>
              </a:cxn>
              <a:cxn ang="0">
                <a:pos x="connsiteX8641" y="connsiteY8641"/>
              </a:cxn>
              <a:cxn ang="0">
                <a:pos x="connsiteX8642" y="connsiteY8642"/>
              </a:cxn>
              <a:cxn ang="0">
                <a:pos x="connsiteX8643" y="connsiteY8643"/>
              </a:cxn>
              <a:cxn ang="0">
                <a:pos x="connsiteX8644" y="connsiteY8644"/>
              </a:cxn>
              <a:cxn ang="0">
                <a:pos x="connsiteX8645" y="connsiteY8645"/>
              </a:cxn>
              <a:cxn ang="0">
                <a:pos x="connsiteX8646" y="connsiteY8646"/>
              </a:cxn>
              <a:cxn ang="0">
                <a:pos x="connsiteX8647" y="connsiteY8647"/>
              </a:cxn>
              <a:cxn ang="0">
                <a:pos x="connsiteX8648" y="connsiteY8648"/>
              </a:cxn>
              <a:cxn ang="0">
                <a:pos x="connsiteX8649" y="connsiteY8649"/>
              </a:cxn>
              <a:cxn ang="0">
                <a:pos x="connsiteX8650" y="connsiteY8650"/>
              </a:cxn>
              <a:cxn ang="0">
                <a:pos x="connsiteX8651" y="connsiteY8651"/>
              </a:cxn>
              <a:cxn ang="0">
                <a:pos x="connsiteX8652" y="connsiteY8652"/>
              </a:cxn>
              <a:cxn ang="0">
                <a:pos x="connsiteX8653" y="connsiteY8653"/>
              </a:cxn>
              <a:cxn ang="0">
                <a:pos x="connsiteX8654" y="connsiteY8654"/>
              </a:cxn>
              <a:cxn ang="0">
                <a:pos x="connsiteX8655" y="connsiteY8655"/>
              </a:cxn>
              <a:cxn ang="0">
                <a:pos x="connsiteX8656" y="connsiteY8656"/>
              </a:cxn>
              <a:cxn ang="0">
                <a:pos x="connsiteX8657" y="connsiteY8657"/>
              </a:cxn>
              <a:cxn ang="0">
                <a:pos x="connsiteX8658" y="connsiteY8658"/>
              </a:cxn>
              <a:cxn ang="0">
                <a:pos x="connsiteX8659" y="connsiteY8659"/>
              </a:cxn>
              <a:cxn ang="0">
                <a:pos x="connsiteX8660" y="connsiteY8660"/>
              </a:cxn>
              <a:cxn ang="0">
                <a:pos x="connsiteX8661" y="connsiteY8661"/>
              </a:cxn>
              <a:cxn ang="0">
                <a:pos x="connsiteX8662" y="connsiteY8662"/>
              </a:cxn>
              <a:cxn ang="0">
                <a:pos x="connsiteX8663" y="connsiteY8663"/>
              </a:cxn>
              <a:cxn ang="0">
                <a:pos x="connsiteX8664" y="connsiteY8664"/>
              </a:cxn>
              <a:cxn ang="0">
                <a:pos x="connsiteX8665" y="connsiteY8665"/>
              </a:cxn>
              <a:cxn ang="0">
                <a:pos x="connsiteX8666" y="connsiteY8666"/>
              </a:cxn>
              <a:cxn ang="0">
                <a:pos x="connsiteX8667" y="connsiteY8667"/>
              </a:cxn>
              <a:cxn ang="0">
                <a:pos x="connsiteX8668" y="connsiteY8668"/>
              </a:cxn>
              <a:cxn ang="0">
                <a:pos x="connsiteX8669" y="connsiteY8669"/>
              </a:cxn>
              <a:cxn ang="0">
                <a:pos x="connsiteX8670" y="connsiteY8670"/>
              </a:cxn>
              <a:cxn ang="0">
                <a:pos x="connsiteX8671" y="connsiteY8671"/>
              </a:cxn>
              <a:cxn ang="0">
                <a:pos x="connsiteX8672" y="connsiteY8672"/>
              </a:cxn>
              <a:cxn ang="0">
                <a:pos x="connsiteX8673" y="connsiteY8673"/>
              </a:cxn>
              <a:cxn ang="0">
                <a:pos x="connsiteX8674" y="connsiteY8674"/>
              </a:cxn>
              <a:cxn ang="0">
                <a:pos x="connsiteX8675" y="connsiteY8675"/>
              </a:cxn>
              <a:cxn ang="0">
                <a:pos x="connsiteX8676" y="connsiteY8676"/>
              </a:cxn>
              <a:cxn ang="0">
                <a:pos x="connsiteX8677" y="connsiteY8677"/>
              </a:cxn>
              <a:cxn ang="0">
                <a:pos x="connsiteX8678" y="connsiteY8678"/>
              </a:cxn>
              <a:cxn ang="0">
                <a:pos x="connsiteX8679" y="connsiteY8679"/>
              </a:cxn>
              <a:cxn ang="0">
                <a:pos x="connsiteX8680" y="connsiteY8680"/>
              </a:cxn>
              <a:cxn ang="0">
                <a:pos x="connsiteX8681" y="connsiteY8681"/>
              </a:cxn>
              <a:cxn ang="0">
                <a:pos x="connsiteX8682" y="connsiteY8682"/>
              </a:cxn>
              <a:cxn ang="0">
                <a:pos x="connsiteX8683" y="connsiteY8683"/>
              </a:cxn>
              <a:cxn ang="0">
                <a:pos x="connsiteX8684" y="connsiteY8684"/>
              </a:cxn>
              <a:cxn ang="0">
                <a:pos x="connsiteX8685" y="connsiteY8685"/>
              </a:cxn>
              <a:cxn ang="0">
                <a:pos x="connsiteX8686" y="connsiteY8686"/>
              </a:cxn>
              <a:cxn ang="0">
                <a:pos x="connsiteX8687" y="connsiteY8687"/>
              </a:cxn>
              <a:cxn ang="0">
                <a:pos x="connsiteX8688" y="connsiteY8688"/>
              </a:cxn>
              <a:cxn ang="0">
                <a:pos x="connsiteX8689" y="connsiteY8689"/>
              </a:cxn>
              <a:cxn ang="0">
                <a:pos x="connsiteX8690" y="connsiteY8690"/>
              </a:cxn>
              <a:cxn ang="0">
                <a:pos x="connsiteX8691" y="connsiteY8691"/>
              </a:cxn>
              <a:cxn ang="0">
                <a:pos x="connsiteX8692" y="connsiteY8692"/>
              </a:cxn>
              <a:cxn ang="0">
                <a:pos x="connsiteX8693" y="connsiteY8693"/>
              </a:cxn>
              <a:cxn ang="0">
                <a:pos x="connsiteX8694" y="connsiteY8694"/>
              </a:cxn>
              <a:cxn ang="0">
                <a:pos x="connsiteX8695" y="connsiteY8695"/>
              </a:cxn>
              <a:cxn ang="0">
                <a:pos x="connsiteX8696" y="connsiteY8696"/>
              </a:cxn>
              <a:cxn ang="0">
                <a:pos x="connsiteX8697" y="connsiteY8697"/>
              </a:cxn>
              <a:cxn ang="0">
                <a:pos x="connsiteX8698" y="connsiteY8698"/>
              </a:cxn>
              <a:cxn ang="0">
                <a:pos x="connsiteX8699" y="connsiteY8699"/>
              </a:cxn>
              <a:cxn ang="0">
                <a:pos x="connsiteX8700" y="connsiteY8700"/>
              </a:cxn>
              <a:cxn ang="0">
                <a:pos x="connsiteX8701" y="connsiteY8701"/>
              </a:cxn>
              <a:cxn ang="0">
                <a:pos x="connsiteX8702" y="connsiteY8702"/>
              </a:cxn>
              <a:cxn ang="0">
                <a:pos x="connsiteX8703" y="connsiteY8703"/>
              </a:cxn>
              <a:cxn ang="0">
                <a:pos x="connsiteX8704" y="connsiteY8704"/>
              </a:cxn>
              <a:cxn ang="0">
                <a:pos x="connsiteX8705" y="connsiteY8705"/>
              </a:cxn>
              <a:cxn ang="0">
                <a:pos x="connsiteX8706" y="connsiteY8706"/>
              </a:cxn>
              <a:cxn ang="0">
                <a:pos x="connsiteX8707" y="connsiteY8707"/>
              </a:cxn>
              <a:cxn ang="0">
                <a:pos x="connsiteX8708" y="connsiteY8708"/>
              </a:cxn>
              <a:cxn ang="0">
                <a:pos x="connsiteX8709" y="connsiteY8709"/>
              </a:cxn>
              <a:cxn ang="0">
                <a:pos x="connsiteX8710" y="connsiteY8710"/>
              </a:cxn>
              <a:cxn ang="0">
                <a:pos x="connsiteX8711" y="connsiteY8711"/>
              </a:cxn>
              <a:cxn ang="0">
                <a:pos x="connsiteX8712" y="connsiteY8712"/>
              </a:cxn>
              <a:cxn ang="0">
                <a:pos x="connsiteX8713" y="connsiteY8713"/>
              </a:cxn>
              <a:cxn ang="0">
                <a:pos x="connsiteX8714" y="connsiteY8714"/>
              </a:cxn>
              <a:cxn ang="0">
                <a:pos x="connsiteX8715" y="connsiteY8715"/>
              </a:cxn>
              <a:cxn ang="0">
                <a:pos x="connsiteX8716" y="connsiteY8716"/>
              </a:cxn>
              <a:cxn ang="0">
                <a:pos x="connsiteX8717" y="connsiteY8717"/>
              </a:cxn>
              <a:cxn ang="0">
                <a:pos x="connsiteX8718" y="connsiteY8718"/>
              </a:cxn>
              <a:cxn ang="0">
                <a:pos x="connsiteX8719" y="connsiteY8719"/>
              </a:cxn>
              <a:cxn ang="0">
                <a:pos x="connsiteX8720" y="connsiteY8720"/>
              </a:cxn>
              <a:cxn ang="0">
                <a:pos x="connsiteX8721" y="connsiteY8721"/>
              </a:cxn>
              <a:cxn ang="0">
                <a:pos x="connsiteX8722" y="connsiteY8722"/>
              </a:cxn>
              <a:cxn ang="0">
                <a:pos x="connsiteX8723" y="connsiteY8723"/>
              </a:cxn>
              <a:cxn ang="0">
                <a:pos x="connsiteX8724" y="connsiteY8724"/>
              </a:cxn>
              <a:cxn ang="0">
                <a:pos x="connsiteX8725" y="connsiteY8725"/>
              </a:cxn>
              <a:cxn ang="0">
                <a:pos x="connsiteX8726" y="connsiteY8726"/>
              </a:cxn>
              <a:cxn ang="0">
                <a:pos x="connsiteX8727" y="connsiteY8727"/>
              </a:cxn>
              <a:cxn ang="0">
                <a:pos x="connsiteX8728" y="connsiteY8728"/>
              </a:cxn>
              <a:cxn ang="0">
                <a:pos x="connsiteX8729" y="connsiteY8729"/>
              </a:cxn>
              <a:cxn ang="0">
                <a:pos x="connsiteX8730" y="connsiteY8730"/>
              </a:cxn>
              <a:cxn ang="0">
                <a:pos x="connsiteX8731" y="connsiteY8731"/>
              </a:cxn>
              <a:cxn ang="0">
                <a:pos x="connsiteX8732" y="connsiteY8732"/>
              </a:cxn>
              <a:cxn ang="0">
                <a:pos x="connsiteX8733" y="connsiteY8733"/>
              </a:cxn>
              <a:cxn ang="0">
                <a:pos x="connsiteX8734" y="connsiteY8734"/>
              </a:cxn>
              <a:cxn ang="0">
                <a:pos x="connsiteX8735" y="connsiteY8735"/>
              </a:cxn>
              <a:cxn ang="0">
                <a:pos x="connsiteX8736" y="connsiteY8736"/>
              </a:cxn>
              <a:cxn ang="0">
                <a:pos x="connsiteX8737" y="connsiteY8737"/>
              </a:cxn>
              <a:cxn ang="0">
                <a:pos x="connsiteX8738" y="connsiteY8738"/>
              </a:cxn>
              <a:cxn ang="0">
                <a:pos x="connsiteX8739" y="connsiteY8739"/>
              </a:cxn>
              <a:cxn ang="0">
                <a:pos x="connsiteX8740" y="connsiteY8740"/>
              </a:cxn>
              <a:cxn ang="0">
                <a:pos x="connsiteX8741" y="connsiteY8741"/>
              </a:cxn>
              <a:cxn ang="0">
                <a:pos x="connsiteX8742" y="connsiteY8742"/>
              </a:cxn>
              <a:cxn ang="0">
                <a:pos x="connsiteX8743" y="connsiteY8743"/>
              </a:cxn>
              <a:cxn ang="0">
                <a:pos x="connsiteX8744" y="connsiteY8744"/>
              </a:cxn>
              <a:cxn ang="0">
                <a:pos x="connsiteX8745" y="connsiteY8745"/>
              </a:cxn>
              <a:cxn ang="0">
                <a:pos x="connsiteX8746" y="connsiteY8746"/>
              </a:cxn>
              <a:cxn ang="0">
                <a:pos x="connsiteX8747" y="connsiteY8747"/>
              </a:cxn>
              <a:cxn ang="0">
                <a:pos x="connsiteX8748" y="connsiteY8748"/>
              </a:cxn>
              <a:cxn ang="0">
                <a:pos x="connsiteX8749" y="connsiteY8749"/>
              </a:cxn>
              <a:cxn ang="0">
                <a:pos x="connsiteX8750" y="connsiteY8750"/>
              </a:cxn>
              <a:cxn ang="0">
                <a:pos x="connsiteX8751" y="connsiteY8751"/>
              </a:cxn>
              <a:cxn ang="0">
                <a:pos x="connsiteX8752" y="connsiteY8752"/>
              </a:cxn>
              <a:cxn ang="0">
                <a:pos x="connsiteX8753" y="connsiteY8753"/>
              </a:cxn>
              <a:cxn ang="0">
                <a:pos x="connsiteX8754" y="connsiteY8754"/>
              </a:cxn>
              <a:cxn ang="0">
                <a:pos x="connsiteX8755" y="connsiteY8755"/>
              </a:cxn>
              <a:cxn ang="0">
                <a:pos x="connsiteX8756" y="connsiteY8756"/>
              </a:cxn>
              <a:cxn ang="0">
                <a:pos x="connsiteX8757" y="connsiteY8757"/>
              </a:cxn>
              <a:cxn ang="0">
                <a:pos x="connsiteX8758" y="connsiteY8758"/>
              </a:cxn>
              <a:cxn ang="0">
                <a:pos x="connsiteX8759" y="connsiteY8759"/>
              </a:cxn>
              <a:cxn ang="0">
                <a:pos x="connsiteX8760" y="connsiteY8760"/>
              </a:cxn>
              <a:cxn ang="0">
                <a:pos x="connsiteX8761" y="connsiteY8761"/>
              </a:cxn>
              <a:cxn ang="0">
                <a:pos x="connsiteX8762" y="connsiteY8762"/>
              </a:cxn>
              <a:cxn ang="0">
                <a:pos x="connsiteX8763" y="connsiteY8763"/>
              </a:cxn>
              <a:cxn ang="0">
                <a:pos x="connsiteX8764" y="connsiteY8764"/>
              </a:cxn>
              <a:cxn ang="0">
                <a:pos x="connsiteX8765" y="connsiteY8765"/>
              </a:cxn>
              <a:cxn ang="0">
                <a:pos x="connsiteX8766" y="connsiteY8766"/>
              </a:cxn>
              <a:cxn ang="0">
                <a:pos x="connsiteX8767" y="connsiteY8767"/>
              </a:cxn>
              <a:cxn ang="0">
                <a:pos x="connsiteX8768" y="connsiteY8768"/>
              </a:cxn>
              <a:cxn ang="0">
                <a:pos x="connsiteX8769" y="connsiteY8769"/>
              </a:cxn>
              <a:cxn ang="0">
                <a:pos x="connsiteX8770" y="connsiteY8770"/>
              </a:cxn>
              <a:cxn ang="0">
                <a:pos x="connsiteX8771" y="connsiteY8771"/>
              </a:cxn>
              <a:cxn ang="0">
                <a:pos x="connsiteX8772" y="connsiteY8772"/>
              </a:cxn>
              <a:cxn ang="0">
                <a:pos x="connsiteX8773" y="connsiteY8773"/>
              </a:cxn>
              <a:cxn ang="0">
                <a:pos x="connsiteX8774" y="connsiteY8774"/>
              </a:cxn>
              <a:cxn ang="0">
                <a:pos x="connsiteX8775" y="connsiteY8775"/>
              </a:cxn>
              <a:cxn ang="0">
                <a:pos x="connsiteX8776" y="connsiteY8776"/>
              </a:cxn>
              <a:cxn ang="0">
                <a:pos x="connsiteX8777" y="connsiteY8777"/>
              </a:cxn>
              <a:cxn ang="0">
                <a:pos x="connsiteX8778" y="connsiteY8778"/>
              </a:cxn>
              <a:cxn ang="0">
                <a:pos x="connsiteX8779" y="connsiteY8779"/>
              </a:cxn>
              <a:cxn ang="0">
                <a:pos x="connsiteX8780" y="connsiteY8780"/>
              </a:cxn>
              <a:cxn ang="0">
                <a:pos x="connsiteX8781" y="connsiteY8781"/>
              </a:cxn>
              <a:cxn ang="0">
                <a:pos x="connsiteX8782" y="connsiteY8782"/>
              </a:cxn>
              <a:cxn ang="0">
                <a:pos x="connsiteX8783" y="connsiteY8783"/>
              </a:cxn>
              <a:cxn ang="0">
                <a:pos x="connsiteX8784" y="connsiteY8784"/>
              </a:cxn>
              <a:cxn ang="0">
                <a:pos x="connsiteX8785" y="connsiteY8785"/>
              </a:cxn>
              <a:cxn ang="0">
                <a:pos x="connsiteX8786" y="connsiteY8786"/>
              </a:cxn>
              <a:cxn ang="0">
                <a:pos x="connsiteX8787" y="connsiteY8787"/>
              </a:cxn>
              <a:cxn ang="0">
                <a:pos x="connsiteX8788" y="connsiteY8788"/>
              </a:cxn>
              <a:cxn ang="0">
                <a:pos x="connsiteX8789" y="connsiteY8789"/>
              </a:cxn>
              <a:cxn ang="0">
                <a:pos x="connsiteX8790" y="connsiteY8790"/>
              </a:cxn>
              <a:cxn ang="0">
                <a:pos x="connsiteX8791" y="connsiteY8791"/>
              </a:cxn>
              <a:cxn ang="0">
                <a:pos x="connsiteX8792" y="connsiteY8792"/>
              </a:cxn>
              <a:cxn ang="0">
                <a:pos x="connsiteX8793" y="connsiteY8793"/>
              </a:cxn>
              <a:cxn ang="0">
                <a:pos x="connsiteX8794" y="connsiteY8794"/>
              </a:cxn>
              <a:cxn ang="0">
                <a:pos x="connsiteX8795" y="connsiteY8795"/>
              </a:cxn>
              <a:cxn ang="0">
                <a:pos x="connsiteX8796" y="connsiteY8796"/>
              </a:cxn>
              <a:cxn ang="0">
                <a:pos x="connsiteX8797" y="connsiteY8797"/>
              </a:cxn>
              <a:cxn ang="0">
                <a:pos x="connsiteX8798" y="connsiteY8798"/>
              </a:cxn>
              <a:cxn ang="0">
                <a:pos x="connsiteX8799" y="connsiteY8799"/>
              </a:cxn>
              <a:cxn ang="0">
                <a:pos x="connsiteX8800" y="connsiteY8800"/>
              </a:cxn>
              <a:cxn ang="0">
                <a:pos x="connsiteX8801" y="connsiteY8801"/>
              </a:cxn>
              <a:cxn ang="0">
                <a:pos x="connsiteX8802" y="connsiteY8802"/>
              </a:cxn>
              <a:cxn ang="0">
                <a:pos x="connsiteX8803" y="connsiteY8803"/>
              </a:cxn>
              <a:cxn ang="0">
                <a:pos x="connsiteX8804" y="connsiteY8804"/>
              </a:cxn>
              <a:cxn ang="0">
                <a:pos x="connsiteX8805" y="connsiteY8805"/>
              </a:cxn>
              <a:cxn ang="0">
                <a:pos x="connsiteX8806" y="connsiteY8806"/>
              </a:cxn>
              <a:cxn ang="0">
                <a:pos x="connsiteX8807" y="connsiteY8807"/>
              </a:cxn>
              <a:cxn ang="0">
                <a:pos x="connsiteX8808" y="connsiteY8808"/>
              </a:cxn>
              <a:cxn ang="0">
                <a:pos x="connsiteX8809" y="connsiteY8809"/>
              </a:cxn>
              <a:cxn ang="0">
                <a:pos x="connsiteX8810" y="connsiteY8810"/>
              </a:cxn>
              <a:cxn ang="0">
                <a:pos x="connsiteX8811" y="connsiteY8811"/>
              </a:cxn>
              <a:cxn ang="0">
                <a:pos x="connsiteX8812" y="connsiteY8812"/>
              </a:cxn>
              <a:cxn ang="0">
                <a:pos x="connsiteX8813" y="connsiteY8813"/>
              </a:cxn>
              <a:cxn ang="0">
                <a:pos x="connsiteX8814" y="connsiteY8814"/>
              </a:cxn>
              <a:cxn ang="0">
                <a:pos x="connsiteX8815" y="connsiteY8815"/>
              </a:cxn>
              <a:cxn ang="0">
                <a:pos x="connsiteX8816" y="connsiteY8816"/>
              </a:cxn>
              <a:cxn ang="0">
                <a:pos x="connsiteX8817" y="connsiteY8817"/>
              </a:cxn>
              <a:cxn ang="0">
                <a:pos x="connsiteX8818" y="connsiteY8818"/>
              </a:cxn>
              <a:cxn ang="0">
                <a:pos x="connsiteX8819" y="connsiteY8819"/>
              </a:cxn>
              <a:cxn ang="0">
                <a:pos x="connsiteX8820" y="connsiteY8820"/>
              </a:cxn>
              <a:cxn ang="0">
                <a:pos x="connsiteX8821" y="connsiteY8821"/>
              </a:cxn>
              <a:cxn ang="0">
                <a:pos x="connsiteX8822" y="connsiteY8822"/>
              </a:cxn>
              <a:cxn ang="0">
                <a:pos x="connsiteX8823" y="connsiteY8823"/>
              </a:cxn>
              <a:cxn ang="0">
                <a:pos x="connsiteX8824" y="connsiteY8824"/>
              </a:cxn>
              <a:cxn ang="0">
                <a:pos x="connsiteX8825" y="connsiteY8825"/>
              </a:cxn>
              <a:cxn ang="0">
                <a:pos x="connsiteX8826" y="connsiteY8826"/>
              </a:cxn>
              <a:cxn ang="0">
                <a:pos x="connsiteX8827" y="connsiteY8827"/>
              </a:cxn>
              <a:cxn ang="0">
                <a:pos x="connsiteX8828" y="connsiteY8828"/>
              </a:cxn>
              <a:cxn ang="0">
                <a:pos x="connsiteX8829" y="connsiteY8829"/>
              </a:cxn>
              <a:cxn ang="0">
                <a:pos x="connsiteX8830" y="connsiteY8830"/>
              </a:cxn>
              <a:cxn ang="0">
                <a:pos x="connsiteX8831" y="connsiteY8831"/>
              </a:cxn>
              <a:cxn ang="0">
                <a:pos x="connsiteX8832" y="connsiteY8832"/>
              </a:cxn>
              <a:cxn ang="0">
                <a:pos x="connsiteX8833" y="connsiteY8833"/>
              </a:cxn>
              <a:cxn ang="0">
                <a:pos x="connsiteX8834" y="connsiteY8834"/>
              </a:cxn>
              <a:cxn ang="0">
                <a:pos x="connsiteX8835" y="connsiteY8835"/>
              </a:cxn>
              <a:cxn ang="0">
                <a:pos x="connsiteX8836" y="connsiteY8836"/>
              </a:cxn>
              <a:cxn ang="0">
                <a:pos x="connsiteX8837" y="connsiteY8837"/>
              </a:cxn>
              <a:cxn ang="0">
                <a:pos x="connsiteX8838" y="connsiteY8838"/>
              </a:cxn>
              <a:cxn ang="0">
                <a:pos x="connsiteX8839" y="connsiteY8839"/>
              </a:cxn>
              <a:cxn ang="0">
                <a:pos x="connsiteX8840" y="connsiteY8840"/>
              </a:cxn>
              <a:cxn ang="0">
                <a:pos x="connsiteX8841" y="connsiteY8841"/>
              </a:cxn>
              <a:cxn ang="0">
                <a:pos x="connsiteX8842" y="connsiteY8842"/>
              </a:cxn>
              <a:cxn ang="0">
                <a:pos x="connsiteX8843" y="connsiteY8843"/>
              </a:cxn>
              <a:cxn ang="0">
                <a:pos x="connsiteX8844" y="connsiteY8844"/>
              </a:cxn>
              <a:cxn ang="0">
                <a:pos x="connsiteX8845" y="connsiteY8845"/>
              </a:cxn>
              <a:cxn ang="0">
                <a:pos x="connsiteX8846" y="connsiteY8846"/>
              </a:cxn>
              <a:cxn ang="0">
                <a:pos x="connsiteX8847" y="connsiteY8847"/>
              </a:cxn>
              <a:cxn ang="0">
                <a:pos x="connsiteX8848" y="connsiteY8848"/>
              </a:cxn>
              <a:cxn ang="0">
                <a:pos x="connsiteX8849" y="connsiteY8849"/>
              </a:cxn>
              <a:cxn ang="0">
                <a:pos x="connsiteX8850" y="connsiteY8850"/>
              </a:cxn>
              <a:cxn ang="0">
                <a:pos x="connsiteX8851" y="connsiteY8851"/>
              </a:cxn>
              <a:cxn ang="0">
                <a:pos x="connsiteX8852" y="connsiteY8852"/>
              </a:cxn>
              <a:cxn ang="0">
                <a:pos x="connsiteX8853" y="connsiteY8853"/>
              </a:cxn>
              <a:cxn ang="0">
                <a:pos x="connsiteX8854" y="connsiteY8854"/>
              </a:cxn>
              <a:cxn ang="0">
                <a:pos x="connsiteX8855" y="connsiteY8855"/>
              </a:cxn>
              <a:cxn ang="0">
                <a:pos x="connsiteX8856" y="connsiteY8856"/>
              </a:cxn>
              <a:cxn ang="0">
                <a:pos x="connsiteX8857" y="connsiteY8857"/>
              </a:cxn>
              <a:cxn ang="0">
                <a:pos x="connsiteX8858" y="connsiteY8858"/>
              </a:cxn>
              <a:cxn ang="0">
                <a:pos x="connsiteX8859" y="connsiteY8859"/>
              </a:cxn>
              <a:cxn ang="0">
                <a:pos x="connsiteX8860" y="connsiteY8860"/>
              </a:cxn>
              <a:cxn ang="0">
                <a:pos x="connsiteX8861" y="connsiteY8861"/>
              </a:cxn>
              <a:cxn ang="0">
                <a:pos x="connsiteX8862" y="connsiteY8862"/>
              </a:cxn>
              <a:cxn ang="0">
                <a:pos x="connsiteX8863" y="connsiteY8863"/>
              </a:cxn>
              <a:cxn ang="0">
                <a:pos x="connsiteX8864" y="connsiteY8864"/>
              </a:cxn>
              <a:cxn ang="0">
                <a:pos x="connsiteX8865" y="connsiteY8865"/>
              </a:cxn>
              <a:cxn ang="0">
                <a:pos x="connsiteX8866" y="connsiteY8866"/>
              </a:cxn>
              <a:cxn ang="0">
                <a:pos x="connsiteX8867" y="connsiteY8867"/>
              </a:cxn>
              <a:cxn ang="0">
                <a:pos x="connsiteX8868" y="connsiteY8868"/>
              </a:cxn>
              <a:cxn ang="0">
                <a:pos x="connsiteX8869" y="connsiteY8869"/>
              </a:cxn>
              <a:cxn ang="0">
                <a:pos x="connsiteX8870" y="connsiteY8870"/>
              </a:cxn>
              <a:cxn ang="0">
                <a:pos x="connsiteX8871" y="connsiteY8871"/>
              </a:cxn>
              <a:cxn ang="0">
                <a:pos x="connsiteX8872" y="connsiteY8872"/>
              </a:cxn>
              <a:cxn ang="0">
                <a:pos x="connsiteX8873" y="connsiteY8873"/>
              </a:cxn>
              <a:cxn ang="0">
                <a:pos x="connsiteX8874" y="connsiteY8874"/>
              </a:cxn>
              <a:cxn ang="0">
                <a:pos x="connsiteX8875" y="connsiteY8875"/>
              </a:cxn>
              <a:cxn ang="0">
                <a:pos x="connsiteX8876" y="connsiteY8876"/>
              </a:cxn>
              <a:cxn ang="0">
                <a:pos x="connsiteX8877" y="connsiteY8877"/>
              </a:cxn>
              <a:cxn ang="0">
                <a:pos x="connsiteX8878" y="connsiteY8878"/>
              </a:cxn>
              <a:cxn ang="0">
                <a:pos x="connsiteX8879" y="connsiteY8879"/>
              </a:cxn>
              <a:cxn ang="0">
                <a:pos x="connsiteX8880" y="connsiteY8880"/>
              </a:cxn>
              <a:cxn ang="0">
                <a:pos x="connsiteX8881" y="connsiteY8881"/>
              </a:cxn>
              <a:cxn ang="0">
                <a:pos x="connsiteX8882" y="connsiteY8882"/>
              </a:cxn>
              <a:cxn ang="0">
                <a:pos x="connsiteX8883" y="connsiteY8883"/>
              </a:cxn>
              <a:cxn ang="0">
                <a:pos x="connsiteX8884" y="connsiteY8884"/>
              </a:cxn>
              <a:cxn ang="0">
                <a:pos x="connsiteX8885" y="connsiteY8885"/>
              </a:cxn>
              <a:cxn ang="0">
                <a:pos x="connsiteX8886" y="connsiteY8886"/>
              </a:cxn>
              <a:cxn ang="0">
                <a:pos x="connsiteX8887" y="connsiteY8887"/>
              </a:cxn>
              <a:cxn ang="0">
                <a:pos x="connsiteX8888" y="connsiteY8888"/>
              </a:cxn>
              <a:cxn ang="0">
                <a:pos x="connsiteX8889" y="connsiteY8889"/>
              </a:cxn>
              <a:cxn ang="0">
                <a:pos x="connsiteX8890" y="connsiteY8890"/>
              </a:cxn>
              <a:cxn ang="0">
                <a:pos x="connsiteX8891" y="connsiteY8891"/>
              </a:cxn>
              <a:cxn ang="0">
                <a:pos x="connsiteX8892" y="connsiteY8892"/>
              </a:cxn>
              <a:cxn ang="0">
                <a:pos x="connsiteX8893" y="connsiteY8893"/>
              </a:cxn>
              <a:cxn ang="0">
                <a:pos x="connsiteX8894" y="connsiteY8894"/>
              </a:cxn>
              <a:cxn ang="0">
                <a:pos x="connsiteX8895" y="connsiteY8895"/>
              </a:cxn>
              <a:cxn ang="0">
                <a:pos x="connsiteX8896" y="connsiteY8896"/>
              </a:cxn>
              <a:cxn ang="0">
                <a:pos x="connsiteX8897" y="connsiteY8897"/>
              </a:cxn>
              <a:cxn ang="0">
                <a:pos x="connsiteX8898" y="connsiteY8898"/>
              </a:cxn>
              <a:cxn ang="0">
                <a:pos x="connsiteX8899" y="connsiteY8899"/>
              </a:cxn>
              <a:cxn ang="0">
                <a:pos x="connsiteX8900" y="connsiteY8900"/>
              </a:cxn>
              <a:cxn ang="0">
                <a:pos x="connsiteX8901" y="connsiteY8901"/>
              </a:cxn>
              <a:cxn ang="0">
                <a:pos x="connsiteX8902" y="connsiteY8902"/>
              </a:cxn>
              <a:cxn ang="0">
                <a:pos x="connsiteX8903" y="connsiteY8903"/>
              </a:cxn>
              <a:cxn ang="0">
                <a:pos x="connsiteX8904" y="connsiteY8904"/>
              </a:cxn>
              <a:cxn ang="0">
                <a:pos x="connsiteX8905" y="connsiteY8905"/>
              </a:cxn>
              <a:cxn ang="0">
                <a:pos x="connsiteX8906" y="connsiteY8906"/>
              </a:cxn>
              <a:cxn ang="0">
                <a:pos x="connsiteX8907" y="connsiteY8907"/>
              </a:cxn>
              <a:cxn ang="0">
                <a:pos x="connsiteX8908" y="connsiteY8908"/>
              </a:cxn>
              <a:cxn ang="0">
                <a:pos x="connsiteX8909" y="connsiteY8909"/>
              </a:cxn>
              <a:cxn ang="0">
                <a:pos x="connsiteX8910" y="connsiteY8910"/>
              </a:cxn>
              <a:cxn ang="0">
                <a:pos x="connsiteX8911" y="connsiteY8911"/>
              </a:cxn>
              <a:cxn ang="0">
                <a:pos x="connsiteX8912" y="connsiteY8912"/>
              </a:cxn>
              <a:cxn ang="0">
                <a:pos x="connsiteX8913" y="connsiteY8913"/>
              </a:cxn>
              <a:cxn ang="0">
                <a:pos x="connsiteX8914" y="connsiteY8914"/>
              </a:cxn>
              <a:cxn ang="0">
                <a:pos x="connsiteX8915" y="connsiteY8915"/>
              </a:cxn>
              <a:cxn ang="0">
                <a:pos x="connsiteX8916" y="connsiteY8916"/>
              </a:cxn>
              <a:cxn ang="0">
                <a:pos x="connsiteX8917" y="connsiteY8917"/>
              </a:cxn>
              <a:cxn ang="0">
                <a:pos x="connsiteX8918" y="connsiteY8918"/>
              </a:cxn>
              <a:cxn ang="0">
                <a:pos x="connsiteX8919" y="connsiteY8919"/>
              </a:cxn>
              <a:cxn ang="0">
                <a:pos x="connsiteX8920" y="connsiteY8920"/>
              </a:cxn>
              <a:cxn ang="0">
                <a:pos x="connsiteX8921" y="connsiteY8921"/>
              </a:cxn>
              <a:cxn ang="0">
                <a:pos x="connsiteX8922" y="connsiteY8922"/>
              </a:cxn>
              <a:cxn ang="0">
                <a:pos x="connsiteX8923" y="connsiteY8923"/>
              </a:cxn>
              <a:cxn ang="0">
                <a:pos x="connsiteX8924" y="connsiteY8924"/>
              </a:cxn>
              <a:cxn ang="0">
                <a:pos x="connsiteX8925" y="connsiteY8925"/>
              </a:cxn>
              <a:cxn ang="0">
                <a:pos x="connsiteX8926" y="connsiteY8926"/>
              </a:cxn>
              <a:cxn ang="0">
                <a:pos x="connsiteX8927" y="connsiteY8927"/>
              </a:cxn>
              <a:cxn ang="0">
                <a:pos x="connsiteX8928" y="connsiteY8928"/>
              </a:cxn>
              <a:cxn ang="0">
                <a:pos x="connsiteX8929" y="connsiteY8929"/>
              </a:cxn>
              <a:cxn ang="0">
                <a:pos x="connsiteX8930" y="connsiteY8930"/>
              </a:cxn>
              <a:cxn ang="0">
                <a:pos x="connsiteX8931" y="connsiteY8931"/>
              </a:cxn>
              <a:cxn ang="0">
                <a:pos x="connsiteX8932" y="connsiteY8932"/>
              </a:cxn>
              <a:cxn ang="0">
                <a:pos x="connsiteX8933" y="connsiteY8933"/>
              </a:cxn>
              <a:cxn ang="0">
                <a:pos x="connsiteX8934" y="connsiteY8934"/>
              </a:cxn>
              <a:cxn ang="0">
                <a:pos x="connsiteX8935" y="connsiteY8935"/>
              </a:cxn>
              <a:cxn ang="0">
                <a:pos x="connsiteX8936" y="connsiteY8936"/>
              </a:cxn>
              <a:cxn ang="0">
                <a:pos x="connsiteX8937" y="connsiteY8937"/>
              </a:cxn>
              <a:cxn ang="0">
                <a:pos x="connsiteX8938" y="connsiteY8938"/>
              </a:cxn>
              <a:cxn ang="0">
                <a:pos x="connsiteX8939" y="connsiteY8939"/>
              </a:cxn>
              <a:cxn ang="0">
                <a:pos x="connsiteX8940" y="connsiteY8940"/>
              </a:cxn>
              <a:cxn ang="0">
                <a:pos x="connsiteX8941" y="connsiteY8941"/>
              </a:cxn>
              <a:cxn ang="0">
                <a:pos x="connsiteX8942" y="connsiteY8942"/>
              </a:cxn>
              <a:cxn ang="0">
                <a:pos x="connsiteX8943" y="connsiteY8943"/>
              </a:cxn>
              <a:cxn ang="0">
                <a:pos x="connsiteX8944" y="connsiteY8944"/>
              </a:cxn>
              <a:cxn ang="0">
                <a:pos x="connsiteX8945" y="connsiteY8945"/>
              </a:cxn>
              <a:cxn ang="0">
                <a:pos x="connsiteX8946" y="connsiteY8946"/>
              </a:cxn>
              <a:cxn ang="0">
                <a:pos x="connsiteX8947" y="connsiteY8947"/>
              </a:cxn>
              <a:cxn ang="0">
                <a:pos x="connsiteX8948" y="connsiteY8948"/>
              </a:cxn>
              <a:cxn ang="0">
                <a:pos x="connsiteX8949" y="connsiteY8949"/>
              </a:cxn>
              <a:cxn ang="0">
                <a:pos x="connsiteX8950" y="connsiteY8950"/>
              </a:cxn>
              <a:cxn ang="0">
                <a:pos x="connsiteX8951" y="connsiteY8951"/>
              </a:cxn>
              <a:cxn ang="0">
                <a:pos x="connsiteX8952" y="connsiteY8952"/>
              </a:cxn>
              <a:cxn ang="0">
                <a:pos x="connsiteX8953" y="connsiteY8953"/>
              </a:cxn>
              <a:cxn ang="0">
                <a:pos x="connsiteX8954" y="connsiteY8954"/>
              </a:cxn>
              <a:cxn ang="0">
                <a:pos x="connsiteX8955" y="connsiteY8955"/>
              </a:cxn>
              <a:cxn ang="0">
                <a:pos x="connsiteX8956" y="connsiteY8956"/>
              </a:cxn>
              <a:cxn ang="0">
                <a:pos x="connsiteX8957" y="connsiteY8957"/>
              </a:cxn>
              <a:cxn ang="0">
                <a:pos x="connsiteX8958" y="connsiteY8958"/>
              </a:cxn>
              <a:cxn ang="0">
                <a:pos x="connsiteX8959" y="connsiteY8959"/>
              </a:cxn>
              <a:cxn ang="0">
                <a:pos x="connsiteX8960" y="connsiteY8960"/>
              </a:cxn>
              <a:cxn ang="0">
                <a:pos x="connsiteX8961" y="connsiteY8961"/>
              </a:cxn>
              <a:cxn ang="0">
                <a:pos x="connsiteX8962" y="connsiteY8962"/>
              </a:cxn>
              <a:cxn ang="0">
                <a:pos x="connsiteX8963" y="connsiteY8963"/>
              </a:cxn>
              <a:cxn ang="0">
                <a:pos x="connsiteX8964" y="connsiteY8964"/>
              </a:cxn>
              <a:cxn ang="0">
                <a:pos x="connsiteX8965" y="connsiteY8965"/>
              </a:cxn>
              <a:cxn ang="0">
                <a:pos x="connsiteX8966" y="connsiteY8966"/>
              </a:cxn>
              <a:cxn ang="0">
                <a:pos x="connsiteX8967" y="connsiteY8967"/>
              </a:cxn>
              <a:cxn ang="0">
                <a:pos x="connsiteX8968" y="connsiteY8968"/>
              </a:cxn>
              <a:cxn ang="0">
                <a:pos x="connsiteX8969" y="connsiteY8969"/>
              </a:cxn>
              <a:cxn ang="0">
                <a:pos x="connsiteX8970" y="connsiteY8970"/>
              </a:cxn>
              <a:cxn ang="0">
                <a:pos x="connsiteX8971" y="connsiteY8971"/>
              </a:cxn>
              <a:cxn ang="0">
                <a:pos x="connsiteX8972" y="connsiteY8972"/>
              </a:cxn>
              <a:cxn ang="0">
                <a:pos x="connsiteX8973" y="connsiteY8973"/>
              </a:cxn>
              <a:cxn ang="0">
                <a:pos x="connsiteX8974" y="connsiteY8974"/>
              </a:cxn>
              <a:cxn ang="0">
                <a:pos x="connsiteX8975" y="connsiteY8975"/>
              </a:cxn>
              <a:cxn ang="0">
                <a:pos x="connsiteX8976" y="connsiteY8976"/>
              </a:cxn>
              <a:cxn ang="0">
                <a:pos x="connsiteX8977" y="connsiteY8977"/>
              </a:cxn>
              <a:cxn ang="0">
                <a:pos x="connsiteX8978" y="connsiteY8978"/>
              </a:cxn>
              <a:cxn ang="0">
                <a:pos x="connsiteX8979" y="connsiteY8979"/>
              </a:cxn>
              <a:cxn ang="0">
                <a:pos x="connsiteX8980" y="connsiteY8980"/>
              </a:cxn>
              <a:cxn ang="0">
                <a:pos x="connsiteX8981" y="connsiteY8981"/>
              </a:cxn>
              <a:cxn ang="0">
                <a:pos x="connsiteX8982" y="connsiteY8982"/>
              </a:cxn>
              <a:cxn ang="0">
                <a:pos x="connsiteX8983" y="connsiteY8983"/>
              </a:cxn>
              <a:cxn ang="0">
                <a:pos x="connsiteX8984" y="connsiteY8984"/>
              </a:cxn>
              <a:cxn ang="0">
                <a:pos x="connsiteX8985" y="connsiteY8985"/>
              </a:cxn>
              <a:cxn ang="0">
                <a:pos x="connsiteX8986" y="connsiteY8986"/>
              </a:cxn>
              <a:cxn ang="0">
                <a:pos x="connsiteX8987" y="connsiteY8987"/>
              </a:cxn>
              <a:cxn ang="0">
                <a:pos x="connsiteX8988" y="connsiteY8988"/>
              </a:cxn>
              <a:cxn ang="0">
                <a:pos x="connsiteX8989" y="connsiteY8989"/>
              </a:cxn>
              <a:cxn ang="0">
                <a:pos x="connsiteX8990" y="connsiteY8990"/>
              </a:cxn>
              <a:cxn ang="0">
                <a:pos x="connsiteX8991" y="connsiteY8991"/>
              </a:cxn>
              <a:cxn ang="0">
                <a:pos x="connsiteX8992" y="connsiteY8992"/>
              </a:cxn>
              <a:cxn ang="0">
                <a:pos x="connsiteX8993" y="connsiteY8993"/>
              </a:cxn>
              <a:cxn ang="0">
                <a:pos x="connsiteX8994" y="connsiteY8994"/>
              </a:cxn>
              <a:cxn ang="0">
                <a:pos x="connsiteX8995" y="connsiteY8995"/>
              </a:cxn>
              <a:cxn ang="0">
                <a:pos x="connsiteX8996" y="connsiteY8996"/>
              </a:cxn>
              <a:cxn ang="0">
                <a:pos x="connsiteX8997" y="connsiteY8997"/>
              </a:cxn>
              <a:cxn ang="0">
                <a:pos x="connsiteX8998" y="connsiteY8998"/>
              </a:cxn>
              <a:cxn ang="0">
                <a:pos x="connsiteX8999" y="connsiteY8999"/>
              </a:cxn>
              <a:cxn ang="0">
                <a:pos x="connsiteX9000" y="connsiteY9000"/>
              </a:cxn>
              <a:cxn ang="0">
                <a:pos x="connsiteX9001" y="connsiteY9001"/>
              </a:cxn>
              <a:cxn ang="0">
                <a:pos x="connsiteX9002" y="connsiteY9002"/>
              </a:cxn>
              <a:cxn ang="0">
                <a:pos x="connsiteX9003" y="connsiteY9003"/>
              </a:cxn>
              <a:cxn ang="0">
                <a:pos x="connsiteX9004" y="connsiteY9004"/>
              </a:cxn>
              <a:cxn ang="0">
                <a:pos x="connsiteX9005" y="connsiteY9005"/>
              </a:cxn>
              <a:cxn ang="0">
                <a:pos x="connsiteX9006" y="connsiteY9006"/>
              </a:cxn>
              <a:cxn ang="0">
                <a:pos x="connsiteX9007" y="connsiteY9007"/>
              </a:cxn>
              <a:cxn ang="0">
                <a:pos x="connsiteX9008" y="connsiteY9008"/>
              </a:cxn>
              <a:cxn ang="0">
                <a:pos x="connsiteX9009" y="connsiteY9009"/>
              </a:cxn>
              <a:cxn ang="0">
                <a:pos x="connsiteX9010" y="connsiteY9010"/>
              </a:cxn>
              <a:cxn ang="0">
                <a:pos x="connsiteX9011" y="connsiteY9011"/>
              </a:cxn>
              <a:cxn ang="0">
                <a:pos x="connsiteX9012" y="connsiteY9012"/>
              </a:cxn>
              <a:cxn ang="0">
                <a:pos x="connsiteX9013" y="connsiteY9013"/>
              </a:cxn>
              <a:cxn ang="0">
                <a:pos x="connsiteX9014" y="connsiteY9014"/>
              </a:cxn>
              <a:cxn ang="0">
                <a:pos x="connsiteX9015" y="connsiteY9015"/>
              </a:cxn>
              <a:cxn ang="0">
                <a:pos x="connsiteX9016" y="connsiteY9016"/>
              </a:cxn>
              <a:cxn ang="0">
                <a:pos x="connsiteX9017" y="connsiteY9017"/>
              </a:cxn>
              <a:cxn ang="0">
                <a:pos x="connsiteX9018" y="connsiteY9018"/>
              </a:cxn>
              <a:cxn ang="0">
                <a:pos x="connsiteX9019" y="connsiteY9019"/>
              </a:cxn>
              <a:cxn ang="0">
                <a:pos x="connsiteX9020" y="connsiteY9020"/>
              </a:cxn>
              <a:cxn ang="0">
                <a:pos x="connsiteX9021" y="connsiteY9021"/>
              </a:cxn>
              <a:cxn ang="0">
                <a:pos x="connsiteX9022" y="connsiteY9022"/>
              </a:cxn>
              <a:cxn ang="0">
                <a:pos x="connsiteX9023" y="connsiteY9023"/>
              </a:cxn>
              <a:cxn ang="0">
                <a:pos x="connsiteX9024" y="connsiteY9024"/>
              </a:cxn>
              <a:cxn ang="0">
                <a:pos x="connsiteX9025" y="connsiteY9025"/>
              </a:cxn>
              <a:cxn ang="0">
                <a:pos x="connsiteX9026" y="connsiteY9026"/>
              </a:cxn>
              <a:cxn ang="0">
                <a:pos x="connsiteX9027" y="connsiteY9027"/>
              </a:cxn>
              <a:cxn ang="0">
                <a:pos x="connsiteX9028" y="connsiteY9028"/>
              </a:cxn>
              <a:cxn ang="0">
                <a:pos x="connsiteX9029" y="connsiteY9029"/>
              </a:cxn>
              <a:cxn ang="0">
                <a:pos x="connsiteX9030" y="connsiteY9030"/>
              </a:cxn>
              <a:cxn ang="0">
                <a:pos x="connsiteX9031" y="connsiteY9031"/>
              </a:cxn>
              <a:cxn ang="0">
                <a:pos x="connsiteX9032" y="connsiteY9032"/>
              </a:cxn>
              <a:cxn ang="0">
                <a:pos x="connsiteX9033" y="connsiteY9033"/>
              </a:cxn>
              <a:cxn ang="0">
                <a:pos x="connsiteX9034" y="connsiteY9034"/>
              </a:cxn>
              <a:cxn ang="0">
                <a:pos x="connsiteX9035" y="connsiteY9035"/>
              </a:cxn>
              <a:cxn ang="0">
                <a:pos x="connsiteX9036" y="connsiteY9036"/>
              </a:cxn>
              <a:cxn ang="0">
                <a:pos x="connsiteX9037" y="connsiteY9037"/>
              </a:cxn>
              <a:cxn ang="0">
                <a:pos x="connsiteX9038" y="connsiteY9038"/>
              </a:cxn>
              <a:cxn ang="0">
                <a:pos x="connsiteX9039" y="connsiteY9039"/>
              </a:cxn>
              <a:cxn ang="0">
                <a:pos x="connsiteX9040" y="connsiteY9040"/>
              </a:cxn>
              <a:cxn ang="0">
                <a:pos x="connsiteX9041" y="connsiteY9041"/>
              </a:cxn>
              <a:cxn ang="0">
                <a:pos x="connsiteX9042" y="connsiteY9042"/>
              </a:cxn>
              <a:cxn ang="0">
                <a:pos x="connsiteX9043" y="connsiteY9043"/>
              </a:cxn>
              <a:cxn ang="0">
                <a:pos x="connsiteX9044" y="connsiteY9044"/>
              </a:cxn>
              <a:cxn ang="0">
                <a:pos x="connsiteX9045" y="connsiteY9045"/>
              </a:cxn>
              <a:cxn ang="0">
                <a:pos x="connsiteX9046" y="connsiteY9046"/>
              </a:cxn>
              <a:cxn ang="0">
                <a:pos x="connsiteX9047" y="connsiteY9047"/>
              </a:cxn>
              <a:cxn ang="0">
                <a:pos x="connsiteX9048" y="connsiteY9048"/>
              </a:cxn>
              <a:cxn ang="0">
                <a:pos x="connsiteX9049" y="connsiteY9049"/>
              </a:cxn>
              <a:cxn ang="0">
                <a:pos x="connsiteX9050" y="connsiteY9050"/>
              </a:cxn>
              <a:cxn ang="0">
                <a:pos x="connsiteX9051" y="connsiteY9051"/>
              </a:cxn>
              <a:cxn ang="0">
                <a:pos x="connsiteX9052" y="connsiteY9052"/>
              </a:cxn>
              <a:cxn ang="0">
                <a:pos x="connsiteX9053" y="connsiteY9053"/>
              </a:cxn>
              <a:cxn ang="0">
                <a:pos x="connsiteX9054" y="connsiteY9054"/>
              </a:cxn>
              <a:cxn ang="0">
                <a:pos x="connsiteX9055" y="connsiteY9055"/>
              </a:cxn>
              <a:cxn ang="0">
                <a:pos x="connsiteX9056" y="connsiteY9056"/>
              </a:cxn>
              <a:cxn ang="0">
                <a:pos x="connsiteX9057" y="connsiteY9057"/>
              </a:cxn>
              <a:cxn ang="0">
                <a:pos x="connsiteX9058" y="connsiteY9058"/>
              </a:cxn>
              <a:cxn ang="0">
                <a:pos x="connsiteX9059" y="connsiteY9059"/>
              </a:cxn>
              <a:cxn ang="0">
                <a:pos x="connsiteX9060" y="connsiteY9060"/>
              </a:cxn>
              <a:cxn ang="0">
                <a:pos x="connsiteX9061" y="connsiteY9061"/>
              </a:cxn>
              <a:cxn ang="0">
                <a:pos x="connsiteX9062" y="connsiteY9062"/>
              </a:cxn>
              <a:cxn ang="0">
                <a:pos x="connsiteX9063" y="connsiteY9063"/>
              </a:cxn>
              <a:cxn ang="0">
                <a:pos x="connsiteX9064" y="connsiteY9064"/>
              </a:cxn>
              <a:cxn ang="0">
                <a:pos x="connsiteX9065" y="connsiteY9065"/>
              </a:cxn>
              <a:cxn ang="0">
                <a:pos x="connsiteX9066" y="connsiteY9066"/>
              </a:cxn>
              <a:cxn ang="0">
                <a:pos x="connsiteX9067" y="connsiteY9067"/>
              </a:cxn>
              <a:cxn ang="0">
                <a:pos x="connsiteX9068" y="connsiteY9068"/>
              </a:cxn>
              <a:cxn ang="0">
                <a:pos x="connsiteX9069" y="connsiteY9069"/>
              </a:cxn>
              <a:cxn ang="0">
                <a:pos x="connsiteX9070" y="connsiteY9070"/>
              </a:cxn>
              <a:cxn ang="0">
                <a:pos x="connsiteX9071" y="connsiteY9071"/>
              </a:cxn>
              <a:cxn ang="0">
                <a:pos x="connsiteX9072" y="connsiteY9072"/>
              </a:cxn>
              <a:cxn ang="0">
                <a:pos x="connsiteX9073" y="connsiteY9073"/>
              </a:cxn>
              <a:cxn ang="0">
                <a:pos x="connsiteX9074" y="connsiteY9074"/>
              </a:cxn>
              <a:cxn ang="0">
                <a:pos x="connsiteX9075" y="connsiteY9075"/>
              </a:cxn>
              <a:cxn ang="0">
                <a:pos x="connsiteX9076" y="connsiteY9076"/>
              </a:cxn>
              <a:cxn ang="0">
                <a:pos x="connsiteX9077" y="connsiteY9077"/>
              </a:cxn>
              <a:cxn ang="0">
                <a:pos x="connsiteX9078" y="connsiteY9078"/>
              </a:cxn>
              <a:cxn ang="0">
                <a:pos x="connsiteX9079" y="connsiteY9079"/>
              </a:cxn>
              <a:cxn ang="0">
                <a:pos x="connsiteX9080" y="connsiteY9080"/>
              </a:cxn>
              <a:cxn ang="0">
                <a:pos x="connsiteX9081" y="connsiteY9081"/>
              </a:cxn>
              <a:cxn ang="0">
                <a:pos x="connsiteX9082" y="connsiteY9082"/>
              </a:cxn>
              <a:cxn ang="0">
                <a:pos x="connsiteX9083" y="connsiteY9083"/>
              </a:cxn>
              <a:cxn ang="0">
                <a:pos x="connsiteX9084" y="connsiteY9084"/>
              </a:cxn>
              <a:cxn ang="0">
                <a:pos x="connsiteX9085" y="connsiteY9085"/>
              </a:cxn>
              <a:cxn ang="0">
                <a:pos x="connsiteX9086" y="connsiteY9086"/>
              </a:cxn>
              <a:cxn ang="0">
                <a:pos x="connsiteX9087" y="connsiteY9087"/>
              </a:cxn>
              <a:cxn ang="0">
                <a:pos x="connsiteX9088" y="connsiteY9088"/>
              </a:cxn>
              <a:cxn ang="0">
                <a:pos x="connsiteX9089" y="connsiteY9089"/>
              </a:cxn>
              <a:cxn ang="0">
                <a:pos x="connsiteX9090" y="connsiteY9090"/>
              </a:cxn>
              <a:cxn ang="0">
                <a:pos x="connsiteX9091" y="connsiteY9091"/>
              </a:cxn>
              <a:cxn ang="0">
                <a:pos x="connsiteX9092" y="connsiteY9092"/>
              </a:cxn>
              <a:cxn ang="0">
                <a:pos x="connsiteX9093" y="connsiteY9093"/>
              </a:cxn>
              <a:cxn ang="0">
                <a:pos x="connsiteX9094" y="connsiteY9094"/>
              </a:cxn>
              <a:cxn ang="0">
                <a:pos x="connsiteX9095" y="connsiteY9095"/>
              </a:cxn>
              <a:cxn ang="0">
                <a:pos x="connsiteX9096" y="connsiteY9096"/>
              </a:cxn>
              <a:cxn ang="0">
                <a:pos x="connsiteX9097" y="connsiteY9097"/>
              </a:cxn>
              <a:cxn ang="0">
                <a:pos x="connsiteX9098" y="connsiteY9098"/>
              </a:cxn>
              <a:cxn ang="0">
                <a:pos x="connsiteX9099" y="connsiteY9099"/>
              </a:cxn>
              <a:cxn ang="0">
                <a:pos x="connsiteX9100" y="connsiteY9100"/>
              </a:cxn>
              <a:cxn ang="0">
                <a:pos x="connsiteX9101" y="connsiteY9101"/>
              </a:cxn>
              <a:cxn ang="0">
                <a:pos x="connsiteX9102" y="connsiteY9102"/>
              </a:cxn>
              <a:cxn ang="0">
                <a:pos x="connsiteX9103" y="connsiteY9103"/>
              </a:cxn>
              <a:cxn ang="0">
                <a:pos x="connsiteX9104" y="connsiteY9104"/>
              </a:cxn>
              <a:cxn ang="0">
                <a:pos x="connsiteX9105" y="connsiteY9105"/>
              </a:cxn>
              <a:cxn ang="0">
                <a:pos x="connsiteX9106" y="connsiteY9106"/>
              </a:cxn>
              <a:cxn ang="0">
                <a:pos x="connsiteX9107" y="connsiteY9107"/>
              </a:cxn>
              <a:cxn ang="0">
                <a:pos x="connsiteX9108" y="connsiteY9108"/>
              </a:cxn>
              <a:cxn ang="0">
                <a:pos x="connsiteX9109" y="connsiteY9109"/>
              </a:cxn>
              <a:cxn ang="0">
                <a:pos x="connsiteX9110" y="connsiteY9110"/>
              </a:cxn>
              <a:cxn ang="0">
                <a:pos x="connsiteX9111" y="connsiteY9111"/>
              </a:cxn>
              <a:cxn ang="0">
                <a:pos x="connsiteX9112" y="connsiteY9112"/>
              </a:cxn>
              <a:cxn ang="0">
                <a:pos x="connsiteX9113" y="connsiteY9113"/>
              </a:cxn>
              <a:cxn ang="0">
                <a:pos x="connsiteX9114" y="connsiteY9114"/>
              </a:cxn>
              <a:cxn ang="0">
                <a:pos x="connsiteX9115" y="connsiteY9115"/>
              </a:cxn>
              <a:cxn ang="0">
                <a:pos x="connsiteX9116" y="connsiteY9116"/>
              </a:cxn>
              <a:cxn ang="0">
                <a:pos x="connsiteX9117" y="connsiteY9117"/>
              </a:cxn>
              <a:cxn ang="0">
                <a:pos x="connsiteX9118" y="connsiteY9118"/>
              </a:cxn>
              <a:cxn ang="0">
                <a:pos x="connsiteX9119" y="connsiteY9119"/>
              </a:cxn>
              <a:cxn ang="0">
                <a:pos x="connsiteX9120" y="connsiteY9120"/>
              </a:cxn>
              <a:cxn ang="0">
                <a:pos x="connsiteX9121" y="connsiteY9121"/>
              </a:cxn>
              <a:cxn ang="0">
                <a:pos x="connsiteX9122" y="connsiteY9122"/>
              </a:cxn>
              <a:cxn ang="0">
                <a:pos x="connsiteX9123" y="connsiteY9123"/>
              </a:cxn>
              <a:cxn ang="0">
                <a:pos x="connsiteX9124" y="connsiteY9124"/>
              </a:cxn>
              <a:cxn ang="0">
                <a:pos x="connsiteX9125" y="connsiteY9125"/>
              </a:cxn>
              <a:cxn ang="0">
                <a:pos x="connsiteX9126" y="connsiteY9126"/>
              </a:cxn>
              <a:cxn ang="0">
                <a:pos x="connsiteX9127" y="connsiteY9127"/>
              </a:cxn>
              <a:cxn ang="0">
                <a:pos x="connsiteX9128" y="connsiteY9128"/>
              </a:cxn>
              <a:cxn ang="0">
                <a:pos x="connsiteX9129" y="connsiteY9129"/>
              </a:cxn>
              <a:cxn ang="0">
                <a:pos x="connsiteX9130" y="connsiteY9130"/>
              </a:cxn>
              <a:cxn ang="0">
                <a:pos x="connsiteX9131" y="connsiteY9131"/>
              </a:cxn>
              <a:cxn ang="0">
                <a:pos x="connsiteX9132" y="connsiteY9132"/>
              </a:cxn>
              <a:cxn ang="0">
                <a:pos x="connsiteX9133" y="connsiteY9133"/>
              </a:cxn>
              <a:cxn ang="0">
                <a:pos x="connsiteX9134" y="connsiteY9134"/>
              </a:cxn>
              <a:cxn ang="0">
                <a:pos x="connsiteX9135" y="connsiteY9135"/>
              </a:cxn>
              <a:cxn ang="0">
                <a:pos x="connsiteX9136" y="connsiteY9136"/>
              </a:cxn>
              <a:cxn ang="0">
                <a:pos x="connsiteX9137" y="connsiteY9137"/>
              </a:cxn>
              <a:cxn ang="0">
                <a:pos x="connsiteX9138" y="connsiteY9138"/>
              </a:cxn>
              <a:cxn ang="0">
                <a:pos x="connsiteX9139" y="connsiteY9139"/>
              </a:cxn>
              <a:cxn ang="0">
                <a:pos x="connsiteX9140" y="connsiteY9140"/>
              </a:cxn>
              <a:cxn ang="0">
                <a:pos x="connsiteX9141" y="connsiteY9141"/>
              </a:cxn>
              <a:cxn ang="0">
                <a:pos x="connsiteX9142" y="connsiteY9142"/>
              </a:cxn>
              <a:cxn ang="0">
                <a:pos x="connsiteX9143" y="connsiteY9143"/>
              </a:cxn>
              <a:cxn ang="0">
                <a:pos x="connsiteX9144" y="connsiteY9144"/>
              </a:cxn>
              <a:cxn ang="0">
                <a:pos x="connsiteX9145" y="connsiteY9145"/>
              </a:cxn>
              <a:cxn ang="0">
                <a:pos x="connsiteX9146" y="connsiteY9146"/>
              </a:cxn>
              <a:cxn ang="0">
                <a:pos x="connsiteX9147" y="connsiteY9147"/>
              </a:cxn>
              <a:cxn ang="0">
                <a:pos x="connsiteX9148" y="connsiteY9148"/>
              </a:cxn>
              <a:cxn ang="0">
                <a:pos x="connsiteX9149" y="connsiteY9149"/>
              </a:cxn>
              <a:cxn ang="0">
                <a:pos x="connsiteX9150" y="connsiteY9150"/>
              </a:cxn>
              <a:cxn ang="0">
                <a:pos x="connsiteX9151" y="connsiteY9151"/>
              </a:cxn>
              <a:cxn ang="0">
                <a:pos x="connsiteX9152" y="connsiteY9152"/>
              </a:cxn>
              <a:cxn ang="0">
                <a:pos x="connsiteX9153" y="connsiteY9153"/>
              </a:cxn>
              <a:cxn ang="0">
                <a:pos x="connsiteX9154" y="connsiteY9154"/>
              </a:cxn>
              <a:cxn ang="0">
                <a:pos x="connsiteX9155" y="connsiteY9155"/>
              </a:cxn>
              <a:cxn ang="0">
                <a:pos x="connsiteX9156" y="connsiteY9156"/>
              </a:cxn>
              <a:cxn ang="0">
                <a:pos x="connsiteX9157" y="connsiteY9157"/>
              </a:cxn>
              <a:cxn ang="0">
                <a:pos x="connsiteX9158" y="connsiteY9158"/>
              </a:cxn>
              <a:cxn ang="0">
                <a:pos x="connsiteX9159" y="connsiteY9159"/>
              </a:cxn>
              <a:cxn ang="0">
                <a:pos x="connsiteX9160" y="connsiteY9160"/>
              </a:cxn>
              <a:cxn ang="0">
                <a:pos x="connsiteX9161" y="connsiteY9161"/>
              </a:cxn>
              <a:cxn ang="0">
                <a:pos x="connsiteX9162" y="connsiteY9162"/>
              </a:cxn>
              <a:cxn ang="0">
                <a:pos x="connsiteX9163" y="connsiteY9163"/>
              </a:cxn>
              <a:cxn ang="0">
                <a:pos x="connsiteX9164" y="connsiteY9164"/>
              </a:cxn>
              <a:cxn ang="0">
                <a:pos x="connsiteX9165" y="connsiteY9165"/>
              </a:cxn>
              <a:cxn ang="0">
                <a:pos x="connsiteX9166" y="connsiteY9166"/>
              </a:cxn>
              <a:cxn ang="0">
                <a:pos x="connsiteX9167" y="connsiteY9167"/>
              </a:cxn>
              <a:cxn ang="0">
                <a:pos x="connsiteX9168" y="connsiteY9168"/>
              </a:cxn>
              <a:cxn ang="0">
                <a:pos x="connsiteX9169" y="connsiteY9169"/>
              </a:cxn>
              <a:cxn ang="0">
                <a:pos x="connsiteX9170" y="connsiteY9170"/>
              </a:cxn>
              <a:cxn ang="0">
                <a:pos x="connsiteX9171" y="connsiteY9171"/>
              </a:cxn>
              <a:cxn ang="0">
                <a:pos x="connsiteX9172" y="connsiteY9172"/>
              </a:cxn>
              <a:cxn ang="0">
                <a:pos x="connsiteX9173" y="connsiteY9173"/>
              </a:cxn>
              <a:cxn ang="0">
                <a:pos x="connsiteX9174" y="connsiteY9174"/>
              </a:cxn>
              <a:cxn ang="0">
                <a:pos x="connsiteX9175" y="connsiteY9175"/>
              </a:cxn>
              <a:cxn ang="0">
                <a:pos x="connsiteX9176" y="connsiteY9176"/>
              </a:cxn>
              <a:cxn ang="0">
                <a:pos x="connsiteX9177" y="connsiteY9177"/>
              </a:cxn>
              <a:cxn ang="0">
                <a:pos x="connsiteX9178" y="connsiteY9178"/>
              </a:cxn>
              <a:cxn ang="0">
                <a:pos x="connsiteX9179" y="connsiteY9179"/>
              </a:cxn>
              <a:cxn ang="0">
                <a:pos x="connsiteX9180" y="connsiteY9180"/>
              </a:cxn>
              <a:cxn ang="0">
                <a:pos x="connsiteX9181" y="connsiteY9181"/>
              </a:cxn>
              <a:cxn ang="0">
                <a:pos x="connsiteX9182" y="connsiteY9182"/>
              </a:cxn>
              <a:cxn ang="0">
                <a:pos x="connsiteX9183" y="connsiteY9183"/>
              </a:cxn>
              <a:cxn ang="0">
                <a:pos x="connsiteX9184" y="connsiteY9184"/>
              </a:cxn>
              <a:cxn ang="0">
                <a:pos x="connsiteX9185" y="connsiteY9185"/>
              </a:cxn>
              <a:cxn ang="0">
                <a:pos x="connsiteX9186" y="connsiteY9186"/>
              </a:cxn>
              <a:cxn ang="0">
                <a:pos x="connsiteX9187" y="connsiteY9187"/>
              </a:cxn>
              <a:cxn ang="0">
                <a:pos x="connsiteX9188" y="connsiteY9188"/>
              </a:cxn>
              <a:cxn ang="0">
                <a:pos x="connsiteX9189" y="connsiteY9189"/>
              </a:cxn>
              <a:cxn ang="0">
                <a:pos x="connsiteX9190" y="connsiteY9190"/>
              </a:cxn>
              <a:cxn ang="0">
                <a:pos x="connsiteX9191" y="connsiteY9191"/>
              </a:cxn>
              <a:cxn ang="0">
                <a:pos x="connsiteX9192" y="connsiteY9192"/>
              </a:cxn>
              <a:cxn ang="0">
                <a:pos x="connsiteX9193" y="connsiteY9193"/>
              </a:cxn>
              <a:cxn ang="0">
                <a:pos x="connsiteX9194" y="connsiteY9194"/>
              </a:cxn>
              <a:cxn ang="0">
                <a:pos x="connsiteX9195" y="connsiteY9195"/>
              </a:cxn>
              <a:cxn ang="0">
                <a:pos x="connsiteX9196" y="connsiteY9196"/>
              </a:cxn>
              <a:cxn ang="0">
                <a:pos x="connsiteX9197" y="connsiteY9197"/>
              </a:cxn>
              <a:cxn ang="0">
                <a:pos x="connsiteX9198" y="connsiteY9198"/>
              </a:cxn>
              <a:cxn ang="0">
                <a:pos x="connsiteX9199" y="connsiteY9199"/>
              </a:cxn>
              <a:cxn ang="0">
                <a:pos x="connsiteX9200" y="connsiteY9200"/>
              </a:cxn>
              <a:cxn ang="0">
                <a:pos x="connsiteX9201" y="connsiteY9201"/>
              </a:cxn>
              <a:cxn ang="0">
                <a:pos x="connsiteX9202" y="connsiteY9202"/>
              </a:cxn>
              <a:cxn ang="0">
                <a:pos x="connsiteX9203" y="connsiteY9203"/>
              </a:cxn>
              <a:cxn ang="0">
                <a:pos x="connsiteX9204" y="connsiteY9204"/>
              </a:cxn>
              <a:cxn ang="0">
                <a:pos x="connsiteX9205" y="connsiteY9205"/>
              </a:cxn>
              <a:cxn ang="0">
                <a:pos x="connsiteX9206" y="connsiteY9206"/>
              </a:cxn>
              <a:cxn ang="0">
                <a:pos x="connsiteX9207" y="connsiteY9207"/>
              </a:cxn>
              <a:cxn ang="0">
                <a:pos x="connsiteX9208" y="connsiteY9208"/>
              </a:cxn>
              <a:cxn ang="0">
                <a:pos x="connsiteX9209" y="connsiteY9209"/>
              </a:cxn>
              <a:cxn ang="0">
                <a:pos x="connsiteX9210" y="connsiteY9210"/>
              </a:cxn>
              <a:cxn ang="0">
                <a:pos x="connsiteX9211" y="connsiteY9211"/>
              </a:cxn>
              <a:cxn ang="0">
                <a:pos x="connsiteX9212" y="connsiteY9212"/>
              </a:cxn>
              <a:cxn ang="0">
                <a:pos x="connsiteX9213" y="connsiteY9213"/>
              </a:cxn>
              <a:cxn ang="0">
                <a:pos x="connsiteX9214" y="connsiteY9214"/>
              </a:cxn>
              <a:cxn ang="0">
                <a:pos x="connsiteX9215" y="connsiteY9215"/>
              </a:cxn>
              <a:cxn ang="0">
                <a:pos x="connsiteX9216" y="connsiteY9216"/>
              </a:cxn>
              <a:cxn ang="0">
                <a:pos x="connsiteX9217" y="connsiteY9217"/>
              </a:cxn>
              <a:cxn ang="0">
                <a:pos x="connsiteX9218" y="connsiteY9218"/>
              </a:cxn>
              <a:cxn ang="0">
                <a:pos x="connsiteX9219" y="connsiteY9219"/>
              </a:cxn>
              <a:cxn ang="0">
                <a:pos x="connsiteX9220" y="connsiteY9220"/>
              </a:cxn>
              <a:cxn ang="0">
                <a:pos x="connsiteX9221" y="connsiteY9221"/>
              </a:cxn>
              <a:cxn ang="0">
                <a:pos x="connsiteX9222" y="connsiteY9222"/>
              </a:cxn>
              <a:cxn ang="0">
                <a:pos x="connsiteX9223" y="connsiteY9223"/>
              </a:cxn>
              <a:cxn ang="0">
                <a:pos x="connsiteX9224" y="connsiteY9224"/>
              </a:cxn>
              <a:cxn ang="0">
                <a:pos x="connsiteX9225" y="connsiteY9225"/>
              </a:cxn>
              <a:cxn ang="0">
                <a:pos x="connsiteX9226" y="connsiteY9226"/>
              </a:cxn>
              <a:cxn ang="0">
                <a:pos x="connsiteX9227" y="connsiteY9227"/>
              </a:cxn>
              <a:cxn ang="0">
                <a:pos x="connsiteX9228" y="connsiteY9228"/>
              </a:cxn>
              <a:cxn ang="0">
                <a:pos x="connsiteX9229" y="connsiteY9229"/>
              </a:cxn>
              <a:cxn ang="0">
                <a:pos x="connsiteX9230" y="connsiteY9230"/>
              </a:cxn>
              <a:cxn ang="0">
                <a:pos x="connsiteX9231" y="connsiteY9231"/>
              </a:cxn>
              <a:cxn ang="0">
                <a:pos x="connsiteX9232" y="connsiteY9232"/>
              </a:cxn>
              <a:cxn ang="0">
                <a:pos x="connsiteX9233" y="connsiteY9233"/>
              </a:cxn>
              <a:cxn ang="0">
                <a:pos x="connsiteX9234" y="connsiteY9234"/>
              </a:cxn>
              <a:cxn ang="0">
                <a:pos x="connsiteX9235" y="connsiteY9235"/>
              </a:cxn>
              <a:cxn ang="0">
                <a:pos x="connsiteX9236" y="connsiteY9236"/>
              </a:cxn>
              <a:cxn ang="0">
                <a:pos x="connsiteX9237" y="connsiteY9237"/>
              </a:cxn>
              <a:cxn ang="0">
                <a:pos x="connsiteX9238" y="connsiteY9238"/>
              </a:cxn>
              <a:cxn ang="0">
                <a:pos x="connsiteX9239" y="connsiteY9239"/>
              </a:cxn>
              <a:cxn ang="0">
                <a:pos x="connsiteX9240" y="connsiteY9240"/>
              </a:cxn>
              <a:cxn ang="0">
                <a:pos x="connsiteX9241" y="connsiteY9241"/>
              </a:cxn>
              <a:cxn ang="0">
                <a:pos x="connsiteX9242" y="connsiteY9242"/>
              </a:cxn>
              <a:cxn ang="0">
                <a:pos x="connsiteX9243" y="connsiteY9243"/>
              </a:cxn>
              <a:cxn ang="0">
                <a:pos x="connsiteX9244" y="connsiteY9244"/>
              </a:cxn>
              <a:cxn ang="0">
                <a:pos x="connsiteX9245" y="connsiteY9245"/>
              </a:cxn>
              <a:cxn ang="0">
                <a:pos x="connsiteX9246" y="connsiteY9246"/>
              </a:cxn>
              <a:cxn ang="0">
                <a:pos x="connsiteX9247" y="connsiteY9247"/>
              </a:cxn>
              <a:cxn ang="0">
                <a:pos x="connsiteX9248" y="connsiteY9248"/>
              </a:cxn>
              <a:cxn ang="0">
                <a:pos x="connsiteX9249" y="connsiteY9249"/>
              </a:cxn>
              <a:cxn ang="0">
                <a:pos x="connsiteX9250" y="connsiteY9250"/>
              </a:cxn>
              <a:cxn ang="0">
                <a:pos x="connsiteX9251" y="connsiteY9251"/>
              </a:cxn>
              <a:cxn ang="0">
                <a:pos x="connsiteX9252" y="connsiteY9252"/>
              </a:cxn>
              <a:cxn ang="0">
                <a:pos x="connsiteX9253" y="connsiteY9253"/>
              </a:cxn>
              <a:cxn ang="0">
                <a:pos x="connsiteX9254" y="connsiteY9254"/>
              </a:cxn>
              <a:cxn ang="0">
                <a:pos x="connsiteX9255" y="connsiteY9255"/>
              </a:cxn>
              <a:cxn ang="0">
                <a:pos x="connsiteX9256" y="connsiteY9256"/>
              </a:cxn>
              <a:cxn ang="0">
                <a:pos x="connsiteX9257" y="connsiteY9257"/>
              </a:cxn>
              <a:cxn ang="0">
                <a:pos x="connsiteX9258" y="connsiteY9258"/>
              </a:cxn>
              <a:cxn ang="0">
                <a:pos x="connsiteX9259" y="connsiteY9259"/>
              </a:cxn>
              <a:cxn ang="0">
                <a:pos x="connsiteX9260" y="connsiteY9260"/>
              </a:cxn>
              <a:cxn ang="0">
                <a:pos x="connsiteX9261" y="connsiteY9261"/>
              </a:cxn>
              <a:cxn ang="0">
                <a:pos x="connsiteX9262" y="connsiteY9262"/>
              </a:cxn>
              <a:cxn ang="0">
                <a:pos x="connsiteX9263" y="connsiteY9263"/>
              </a:cxn>
              <a:cxn ang="0">
                <a:pos x="connsiteX9264" y="connsiteY9264"/>
              </a:cxn>
              <a:cxn ang="0">
                <a:pos x="connsiteX9265" y="connsiteY9265"/>
              </a:cxn>
              <a:cxn ang="0">
                <a:pos x="connsiteX9266" y="connsiteY9266"/>
              </a:cxn>
              <a:cxn ang="0">
                <a:pos x="connsiteX9267" y="connsiteY9267"/>
              </a:cxn>
              <a:cxn ang="0">
                <a:pos x="connsiteX9268" y="connsiteY9268"/>
              </a:cxn>
              <a:cxn ang="0">
                <a:pos x="connsiteX9269" y="connsiteY9269"/>
              </a:cxn>
              <a:cxn ang="0">
                <a:pos x="connsiteX9270" y="connsiteY9270"/>
              </a:cxn>
              <a:cxn ang="0">
                <a:pos x="connsiteX9271" y="connsiteY9271"/>
              </a:cxn>
              <a:cxn ang="0">
                <a:pos x="connsiteX9272" y="connsiteY9272"/>
              </a:cxn>
              <a:cxn ang="0">
                <a:pos x="connsiteX9273" y="connsiteY9273"/>
              </a:cxn>
              <a:cxn ang="0">
                <a:pos x="connsiteX9274" y="connsiteY9274"/>
              </a:cxn>
              <a:cxn ang="0">
                <a:pos x="connsiteX9275" y="connsiteY9275"/>
              </a:cxn>
              <a:cxn ang="0">
                <a:pos x="connsiteX9276" y="connsiteY9276"/>
              </a:cxn>
              <a:cxn ang="0">
                <a:pos x="connsiteX9277" y="connsiteY9277"/>
              </a:cxn>
              <a:cxn ang="0">
                <a:pos x="connsiteX9278" y="connsiteY9278"/>
              </a:cxn>
              <a:cxn ang="0">
                <a:pos x="connsiteX9279" y="connsiteY9279"/>
              </a:cxn>
              <a:cxn ang="0">
                <a:pos x="connsiteX9280" y="connsiteY9280"/>
              </a:cxn>
              <a:cxn ang="0">
                <a:pos x="connsiteX9281" y="connsiteY9281"/>
              </a:cxn>
              <a:cxn ang="0">
                <a:pos x="connsiteX9282" y="connsiteY9282"/>
              </a:cxn>
              <a:cxn ang="0">
                <a:pos x="connsiteX9283" y="connsiteY9283"/>
              </a:cxn>
              <a:cxn ang="0">
                <a:pos x="connsiteX9284" y="connsiteY9284"/>
              </a:cxn>
              <a:cxn ang="0">
                <a:pos x="connsiteX9285" y="connsiteY9285"/>
              </a:cxn>
              <a:cxn ang="0">
                <a:pos x="connsiteX9286" y="connsiteY9286"/>
              </a:cxn>
              <a:cxn ang="0">
                <a:pos x="connsiteX9287" y="connsiteY9287"/>
              </a:cxn>
              <a:cxn ang="0">
                <a:pos x="connsiteX9288" y="connsiteY9288"/>
              </a:cxn>
              <a:cxn ang="0">
                <a:pos x="connsiteX9289" y="connsiteY9289"/>
              </a:cxn>
              <a:cxn ang="0">
                <a:pos x="connsiteX9290" y="connsiteY9290"/>
              </a:cxn>
              <a:cxn ang="0">
                <a:pos x="connsiteX9291" y="connsiteY9291"/>
              </a:cxn>
              <a:cxn ang="0">
                <a:pos x="connsiteX9292" y="connsiteY9292"/>
              </a:cxn>
              <a:cxn ang="0">
                <a:pos x="connsiteX9293" y="connsiteY9293"/>
              </a:cxn>
              <a:cxn ang="0">
                <a:pos x="connsiteX9294" y="connsiteY9294"/>
              </a:cxn>
              <a:cxn ang="0">
                <a:pos x="connsiteX9295" y="connsiteY9295"/>
              </a:cxn>
              <a:cxn ang="0">
                <a:pos x="connsiteX9296" y="connsiteY9296"/>
              </a:cxn>
              <a:cxn ang="0">
                <a:pos x="connsiteX9297" y="connsiteY9297"/>
              </a:cxn>
              <a:cxn ang="0">
                <a:pos x="connsiteX9298" y="connsiteY9298"/>
              </a:cxn>
              <a:cxn ang="0">
                <a:pos x="connsiteX9299" y="connsiteY9299"/>
              </a:cxn>
              <a:cxn ang="0">
                <a:pos x="connsiteX9300" y="connsiteY9300"/>
              </a:cxn>
              <a:cxn ang="0">
                <a:pos x="connsiteX9301" y="connsiteY9301"/>
              </a:cxn>
              <a:cxn ang="0">
                <a:pos x="connsiteX9302" y="connsiteY9302"/>
              </a:cxn>
              <a:cxn ang="0">
                <a:pos x="connsiteX9303" y="connsiteY9303"/>
              </a:cxn>
              <a:cxn ang="0">
                <a:pos x="connsiteX9304" y="connsiteY9304"/>
              </a:cxn>
              <a:cxn ang="0">
                <a:pos x="connsiteX9305" y="connsiteY9305"/>
              </a:cxn>
              <a:cxn ang="0">
                <a:pos x="connsiteX9306" y="connsiteY9306"/>
              </a:cxn>
              <a:cxn ang="0">
                <a:pos x="connsiteX9307" y="connsiteY9307"/>
              </a:cxn>
              <a:cxn ang="0">
                <a:pos x="connsiteX9308" y="connsiteY9308"/>
              </a:cxn>
              <a:cxn ang="0">
                <a:pos x="connsiteX9309" y="connsiteY9309"/>
              </a:cxn>
              <a:cxn ang="0">
                <a:pos x="connsiteX9310" y="connsiteY9310"/>
              </a:cxn>
              <a:cxn ang="0">
                <a:pos x="connsiteX9311" y="connsiteY9311"/>
              </a:cxn>
              <a:cxn ang="0">
                <a:pos x="connsiteX9312" y="connsiteY9312"/>
              </a:cxn>
              <a:cxn ang="0">
                <a:pos x="connsiteX9313" y="connsiteY9313"/>
              </a:cxn>
              <a:cxn ang="0">
                <a:pos x="connsiteX9314" y="connsiteY9314"/>
              </a:cxn>
              <a:cxn ang="0">
                <a:pos x="connsiteX9315" y="connsiteY9315"/>
              </a:cxn>
              <a:cxn ang="0">
                <a:pos x="connsiteX9316" y="connsiteY9316"/>
              </a:cxn>
              <a:cxn ang="0">
                <a:pos x="connsiteX9317" y="connsiteY9317"/>
              </a:cxn>
              <a:cxn ang="0">
                <a:pos x="connsiteX9318" y="connsiteY9318"/>
              </a:cxn>
              <a:cxn ang="0">
                <a:pos x="connsiteX9319" y="connsiteY9319"/>
              </a:cxn>
              <a:cxn ang="0">
                <a:pos x="connsiteX9320" y="connsiteY9320"/>
              </a:cxn>
              <a:cxn ang="0">
                <a:pos x="connsiteX9321" y="connsiteY9321"/>
              </a:cxn>
              <a:cxn ang="0">
                <a:pos x="connsiteX9322" y="connsiteY9322"/>
              </a:cxn>
              <a:cxn ang="0">
                <a:pos x="connsiteX9323" y="connsiteY9323"/>
              </a:cxn>
              <a:cxn ang="0">
                <a:pos x="connsiteX9324" y="connsiteY9324"/>
              </a:cxn>
              <a:cxn ang="0">
                <a:pos x="connsiteX9325" y="connsiteY9325"/>
              </a:cxn>
              <a:cxn ang="0">
                <a:pos x="connsiteX9326" y="connsiteY9326"/>
              </a:cxn>
              <a:cxn ang="0">
                <a:pos x="connsiteX9327" y="connsiteY9327"/>
              </a:cxn>
              <a:cxn ang="0">
                <a:pos x="connsiteX9328" y="connsiteY9328"/>
              </a:cxn>
              <a:cxn ang="0">
                <a:pos x="connsiteX9329" y="connsiteY9329"/>
              </a:cxn>
              <a:cxn ang="0">
                <a:pos x="connsiteX9330" y="connsiteY9330"/>
              </a:cxn>
              <a:cxn ang="0">
                <a:pos x="connsiteX9331" y="connsiteY9331"/>
              </a:cxn>
              <a:cxn ang="0">
                <a:pos x="connsiteX9332" y="connsiteY9332"/>
              </a:cxn>
              <a:cxn ang="0">
                <a:pos x="connsiteX9333" y="connsiteY9333"/>
              </a:cxn>
              <a:cxn ang="0">
                <a:pos x="connsiteX9334" y="connsiteY9334"/>
              </a:cxn>
              <a:cxn ang="0">
                <a:pos x="connsiteX9335" y="connsiteY9335"/>
              </a:cxn>
              <a:cxn ang="0">
                <a:pos x="connsiteX9336" y="connsiteY9336"/>
              </a:cxn>
              <a:cxn ang="0">
                <a:pos x="connsiteX9337" y="connsiteY9337"/>
              </a:cxn>
              <a:cxn ang="0">
                <a:pos x="connsiteX9338" y="connsiteY9338"/>
              </a:cxn>
              <a:cxn ang="0">
                <a:pos x="connsiteX9339" y="connsiteY9339"/>
              </a:cxn>
              <a:cxn ang="0">
                <a:pos x="connsiteX9340" y="connsiteY9340"/>
              </a:cxn>
              <a:cxn ang="0">
                <a:pos x="connsiteX9341" y="connsiteY9341"/>
              </a:cxn>
              <a:cxn ang="0">
                <a:pos x="connsiteX9342" y="connsiteY9342"/>
              </a:cxn>
              <a:cxn ang="0">
                <a:pos x="connsiteX9343" y="connsiteY9343"/>
              </a:cxn>
              <a:cxn ang="0">
                <a:pos x="connsiteX9344" y="connsiteY9344"/>
              </a:cxn>
              <a:cxn ang="0">
                <a:pos x="connsiteX9345" y="connsiteY9345"/>
              </a:cxn>
              <a:cxn ang="0">
                <a:pos x="connsiteX9346" y="connsiteY9346"/>
              </a:cxn>
              <a:cxn ang="0">
                <a:pos x="connsiteX9347" y="connsiteY9347"/>
              </a:cxn>
              <a:cxn ang="0">
                <a:pos x="connsiteX9348" y="connsiteY9348"/>
              </a:cxn>
              <a:cxn ang="0">
                <a:pos x="connsiteX9349" y="connsiteY9349"/>
              </a:cxn>
              <a:cxn ang="0">
                <a:pos x="connsiteX9350" y="connsiteY9350"/>
              </a:cxn>
              <a:cxn ang="0">
                <a:pos x="connsiteX9351" y="connsiteY9351"/>
              </a:cxn>
              <a:cxn ang="0">
                <a:pos x="connsiteX9352" y="connsiteY9352"/>
              </a:cxn>
              <a:cxn ang="0">
                <a:pos x="connsiteX9353" y="connsiteY9353"/>
              </a:cxn>
              <a:cxn ang="0">
                <a:pos x="connsiteX9354" y="connsiteY9354"/>
              </a:cxn>
              <a:cxn ang="0">
                <a:pos x="connsiteX9355" y="connsiteY9355"/>
              </a:cxn>
              <a:cxn ang="0">
                <a:pos x="connsiteX9356" y="connsiteY9356"/>
              </a:cxn>
              <a:cxn ang="0">
                <a:pos x="connsiteX9357" y="connsiteY9357"/>
              </a:cxn>
              <a:cxn ang="0">
                <a:pos x="connsiteX9358" y="connsiteY9358"/>
              </a:cxn>
              <a:cxn ang="0">
                <a:pos x="connsiteX9359" y="connsiteY9359"/>
              </a:cxn>
              <a:cxn ang="0">
                <a:pos x="connsiteX9360" y="connsiteY9360"/>
              </a:cxn>
              <a:cxn ang="0">
                <a:pos x="connsiteX9361" y="connsiteY9361"/>
              </a:cxn>
              <a:cxn ang="0">
                <a:pos x="connsiteX9362" y="connsiteY9362"/>
              </a:cxn>
              <a:cxn ang="0">
                <a:pos x="connsiteX9363" y="connsiteY9363"/>
              </a:cxn>
              <a:cxn ang="0">
                <a:pos x="connsiteX9364" y="connsiteY9364"/>
              </a:cxn>
              <a:cxn ang="0">
                <a:pos x="connsiteX9365" y="connsiteY9365"/>
              </a:cxn>
              <a:cxn ang="0">
                <a:pos x="connsiteX9366" y="connsiteY9366"/>
              </a:cxn>
              <a:cxn ang="0">
                <a:pos x="connsiteX9367" y="connsiteY9367"/>
              </a:cxn>
              <a:cxn ang="0">
                <a:pos x="connsiteX9368" y="connsiteY9368"/>
              </a:cxn>
              <a:cxn ang="0">
                <a:pos x="connsiteX9369" y="connsiteY9369"/>
              </a:cxn>
              <a:cxn ang="0">
                <a:pos x="connsiteX9370" y="connsiteY9370"/>
              </a:cxn>
              <a:cxn ang="0">
                <a:pos x="connsiteX9371" y="connsiteY9371"/>
              </a:cxn>
              <a:cxn ang="0">
                <a:pos x="connsiteX9372" y="connsiteY9372"/>
              </a:cxn>
              <a:cxn ang="0">
                <a:pos x="connsiteX9373" y="connsiteY9373"/>
              </a:cxn>
              <a:cxn ang="0">
                <a:pos x="connsiteX9374" y="connsiteY9374"/>
              </a:cxn>
              <a:cxn ang="0">
                <a:pos x="connsiteX9375" y="connsiteY9375"/>
              </a:cxn>
              <a:cxn ang="0">
                <a:pos x="connsiteX9376" y="connsiteY9376"/>
              </a:cxn>
              <a:cxn ang="0">
                <a:pos x="connsiteX9377" y="connsiteY9377"/>
              </a:cxn>
              <a:cxn ang="0">
                <a:pos x="connsiteX9378" y="connsiteY9378"/>
              </a:cxn>
              <a:cxn ang="0">
                <a:pos x="connsiteX9379" y="connsiteY9379"/>
              </a:cxn>
              <a:cxn ang="0">
                <a:pos x="connsiteX9380" y="connsiteY9380"/>
              </a:cxn>
              <a:cxn ang="0">
                <a:pos x="connsiteX9381" y="connsiteY9381"/>
              </a:cxn>
              <a:cxn ang="0">
                <a:pos x="connsiteX9382" y="connsiteY9382"/>
              </a:cxn>
              <a:cxn ang="0">
                <a:pos x="connsiteX9383" y="connsiteY9383"/>
              </a:cxn>
              <a:cxn ang="0">
                <a:pos x="connsiteX9384" y="connsiteY9384"/>
              </a:cxn>
              <a:cxn ang="0">
                <a:pos x="connsiteX9385" y="connsiteY9385"/>
              </a:cxn>
              <a:cxn ang="0">
                <a:pos x="connsiteX9386" y="connsiteY9386"/>
              </a:cxn>
              <a:cxn ang="0">
                <a:pos x="connsiteX9387" y="connsiteY9387"/>
              </a:cxn>
              <a:cxn ang="0">
                <a:pos x="connsiteX9388" y="connsiteY9388"/>
              </a:cxn>
              <a:cxn ang="0">
                <a:pos x="connsiteX9389" y="connsiteY9389"/>
              </a:cxn>
              <a:cxn ang="0">
                <a:pos x="connsiteX9390" y="connsiteY9390"/>
              </a:cxn>
              <a:cxn ang="0">
                <a:pos x="connsiteX9391" y="connsiteY9391"/>
              </a:cxn>
              <a:cxn ang="0">
                <a:pos x="connsiteX9392" y="connsiteY9392"/>
              </a:cxn>
              <a:cxn ang="0">
                <a:pos x="connsiteX9393" y="connsiteY9393"/>
              </a:cxn>
              <a:cxn ang="0">
                <a:pos x="connsiteX9394" y="connsiteY9394"/>
              </a:cxn>
              <a:cxn ang="0">
                <a:pos x="connsiteX9395" y="connsiteY9395"/>
              </a:cxn>
              <a:cxn ang="0">
                <a:pos x="connsiteX9396" y="connsiteY9396"/>
              </a:cxn>
              <a:cxn ang="0">
                <a:pos x="connsiteX9397" y="connsiteY9397"/>
              </a:cxn>
              <a:cxn ang="0">
                <a:pos x="connsiteX9398" y="connsiteY9398"/>
              </a:cxn>
              <a:cxn ang="0">
                <a:pos x="connsiteX9399" y="connsiteY9399"/>
              </a:cxn>
              <a:cxn ang="0">
                <a:pos x="connsiteX9400" y="connsiteY9400"/>
              </a:cxn>
              <a:cxn ang="0">
                <a:pos x="connsiteX9401" y="connsiteY9401"/>
              </a:cxn>
              <a:cxn ang="0">
                <a:pos x="connsiteX9402" y="connsiteY9402"/>
              </a:cxn>
              <a:cxn ang="0">
                <a:pos x="connsiteX9403" y="connsiteY9403"/>
              </a:cxn>
              <a:cxn ang="0">
                <a:pos x="connsiteX9404" y="connsiteY9404"/>
              </a:cxn>
              <a:cxn ang="0">
                <a:pos x="connsiteX9405" y="connsiteY9405"/>
              </a:cxn>
              <a:cxn ang="0">
                <a:pos x="connsiteX9406" y="connsiteY9406"/>
              </a:cxn>
              <a:cxn ang="0">
                <a:pos x="connsiteX9407" y="connsiteY9407"/>
              </a:cxn>
              <a:cxn ang="0">
                <a:pos x="connsiteX9408" y="connsiteY9408"/>
              </a:cxn>
              <a:cxn ang="0">
                <a:pos x="connsiteX9409" y="connsiteY9409"/>
              </a:cxn>
              <a:cxn ang="0">
                <a:pos x="connsiteX9410" y="connsiteY9410"/>
              </a:cxn>
              <a:cxn ang="0">
                <a:pos x="connsiteX9411" y="connsiteY9411"/>
              </a:cxn>
              <a:cxn ang="0">
                <a:pos x="connsiteX9412" y="connsiteY9412"/>
              </a:cxn>
              <a:cxn ang="0">
                <a:pos x="connsiteX9413" y="connsiteY9413"/>
              </a:cxn>
              <a:cxn ang="0">
                <a:pos x="connsiteX9414" y="connsiteY9414"/>
              </a:cxn>
              <a:cxn ang="0">
                <a:pos x="connsiteX9415" y="connsiteY9415"/>
              </a:cxn>
              <a:cxn ang="0">
                <a:pos x="connsiteX9416" y="connsiteY9416"/>
              </a:cxn>
              <a:cxn ang="0">
                <a:pos x="connsiteX9417" y="connsiteY9417"/>
              </a:cxn>
              <a:cxn ang="0">
                <a:pos x="connsiteX9418" y="connsiteY9418"/>
              </a:cxn>
              <a:cxn ang="0">
                <a:pos x="connsiteX9419" y="connsiteY9419"/>
              </a:cxn>
              <a:cxn ang="0">
                <a:pos x="connsiteX9420" y="connsiteY9420"/>
              </a:cxn>
              <a:cxn ang="0">
                <a:pos x="connsiteX9421" y="connsiteY9421"/>
              </a:cxn>
              <a:cxn ang="0">
                <a:pos x="connsiteX9422" y="connsiteY9422"/>
              </a:cxn>
              <a:cxn ang="0">
                <a:pos x="connsiteX9423" y="connsiteY9423"/>
              </a:cxn>
              <a:cxn ang="0">
                <a:pos x="connsiteX9424" y="connsiteY9424"/>
              </a:cxn>
              <a:cxn ang="0">
                <a:pos x="connsiteX9425" y="connsiteY9425"/>
              </a:cxn>
              <a:cxn ang="0">
                <a:pos x="connsiteX9426" y="connsiteY9426"/>
              </a:cxn>
              <a:cxn ang="0">
                <a:pos x="connsiteX9427" y="connsiteY9427"/>
              </a:cxn>
              <a:cxn ang="0">
                <a:pos x="connsiteX9428" y="connsiteY9428"/>
              </a:cxn>
              <a:cxn ang="0">
                <a:pos x="connsiteX9429" y="connsiteY9429"/>
              </a:cxn>
              <a:cxn ang="0">
                <a:pos x="connsiteX9430" y="connsiteY9430"/>
              </a:cxn>
              <a:cxn ang="0">
                <a:pos x="connsiteX9431" y="connsiteY9431"/>
              </a:cxn>
              <a:cxn ang="0">
                <a:pos x="connsiteX9432" y="connsiteY9432"/>
              </a:cxn>
              <a:cxn ang="0">
                <a:pos x="connsiteX9433" y="connsiteY9433"/>
              </a:cxn>
              <a:cxn ang="0">
                <a:pos x="connsiteX9434" y="connsiteY9434"/>
              </a:cxn>
              <a:cxn ang="0">
                <a:pos x="connsiteX9435" y="connsiteY9435"/>
              </a:cxn>
              <a:cxn ang="0">
                <a:pos x="connsiteX9436" y="connsiteY9436"/>
              </a:cxn>
              <a:cxn ang="0">
                <a:pos x="connsiteX9437" y="connsiteY9437"/>
              </a:cxn>
              <a:cxn ang="0">
                <a:pos x="connsiteX9438" y="connsiteY9438"/>
              </a:cxn>
              <a:cxn ang="0">
                <a:pos x="connsiteX9439" y="connsiteY9439"/>
              </a:cxn>
              <a:cxn ang="0">
                <a:pos x="connsiteX9440" y="connsiteY9440"/>
              </a:cxn>
              <a:cxn ang="0">
                <a:pos x="connsiteX9441" y="connsiteY9441"/>
              </a:cxn>
              <a:cxn ang="0">
                <a:pos x="connsiteX9442" y="connsiteY9442"/>
              </a:cxn>
              <a:cxn ang="0">
                <a:pos x="connsiteX9443" y="connsiteY9443"/>
              </a:cxn>
              <a:cxn ang="0">
                <a:pos x="connsiteX9444" y="connsiteY9444"/>
              </a:cxn>
              <a:cxn ang="0">
                <a:pos x="connsiteX9445" y="connsiteY9445"/>
              </a:cxn>
              <a:cxn ang="0">
                <a:pos x="connsiteX9446" y="connsiteY9446"/>
              </a:cxn>
              <a:cxn ang="0">
                <a:pos x="connsiteX9447" y="connsiteY9447"/>
              </a:cxn>
              <a:cxn ang="0">
                <a:pos x="connsiteX9448" y="connsiteY9448"/>
              </a:cxn>
              <a:cxn ang="0">
                <a:pos x="connsiteX9449" y="connsiteY9449"/>
              </a:cxn>
              <a:cxn ang="0">
                <a:pos x="connsiteX9450" y="connsiteY9450"/>
              </a:cxn>
              <a:cxn ang="0">
                <a:pos x="connsiteX9451" y="connsiteY9451"/>
              </a:cxn>
              <a:cxn ang="0">
                <a:pos x="connsiteX9452" y="connsiteY9452"/>
              </a:cxn>
              <a:cxn ang="0">
                <a:pos x="connsiteX9453" y="connsiteY9453"/>
              </a:cxn>
              <a:cxn ang="0">
                <a:pos x="connsiteX9454" y="connsiteY9454"/>
              </a:cxn>
              <a:cxn ang="0">
                <a:pos x="connsiteX9455" y="connsiteY9455"/>
              </a:cxn>
              <a:cxn ang="0">
                <a:pos x="connsiteX9456" y="connsiteY9456"/>
              </a:cxn>
              <a:cxn ang="0">
                <a:pos x="connsiteX9457" y="connsiteY9457"/>
              </a:cxn>
              <a:cxn ang="0">
                <a:pos x="connsiteX9458" y="connsiteY9458"/>
              </a:cxn>
              <a:cxn ang="0">
                <a:pos x="connsiteX9459" y="connsiteY9459"/>
              </a:cxn>
              <a:cxn ang="0">
                <a:pos x="connsiteX9460" y="connsiteY9460"/>
              </a:cxn>
              <a:cxn ang="0">
                <a:pos x="connsiteX9461" y="connsiteY9461"/>
              </a:cxn>
              <a:cxn ang="0">
                <a:pos x="connsiteX9462" y="connsiteY9462"/>
              </a:cxn>
              <a:cxn ang="0">
                <a:pos x="connsiteX9463" y="connsiteY9463"/>
              </a:cxn>
              <a:cxn ang="0">
                <a:pos x="connsiteX9464" y="connsiteY9464"/>
              </a:cxn>
              <a:cxn ang="0">
                <a:pos x="connsiteX9465" y="connsiteY9465"/>
              </a:cxn>
              <a:cxn ang="0">
                <a:pos x="connsiteX9466" y="connsiteY9466"/>
              </a:cxn>
              <a:cxn ang="0">
                <a:pos x="connsiteX9467" y="connsiteY9467"/>
              </a:cxn>
              <a:cxn ang="0">
                <a:pos x="connsiteX9468" y="connsiteY9468"/>
              </a:cxn>
              <a:cxn ang="0">
                <a:pos x="connsiteX9469" y="connsiteY9469"/>
              </a:cxn>
              <a:cxn ang="0">
                <a:pos x="connsiteX9470" y="connsiteY9470"/>
              </a:cxn>
              <a:cxn ang="0">
                <a:pos x="connsiteX9471" y="connsiteY9471"/>
              </a:cxn>
              <a:cxn ang="0">
                <a:pos x="connsiteX9472" y="connsiteY9472"/>
              </a:cxn>
              <a:cxn ang="0">
                <a:pos x="connsiteX9473" y="connsiteY9473"/>
              </a:cxn>
              <a:cxn ang="0">
                <a:pos x="connsiteX9474" y="connsiteY9474"/>
              </a:cxn>
              <a:cxn ang="0">
                <a:pos x="connsiteX9475" y="connsiteY9475"/>
              </a:cxn>
              <a:cxn ang="0">
                <a:pos x="connsiteX9476" y="connsiteY9476"/>
              </a:cxn>
              <a:cxn ang="0">
                <a:pos x="connsiteX9477" y="connsiteY9477"/>
              </a:cxn>
              <a:cxn ang="0">
                <a:pos x="connsiteX9478" y="connsiteY9478"/>
              </a:cxn>
              <a:cxn ang="0">
                <a:pos x="connsiteX9479" y="connsiteY9479"/>
              </a:cxn>
              <a:cxn ang="0">
                <a:pos x="connsiteX9480" y="connsiteY9480"/>
              </a:cxn>
              <a:cxn ang="0">
                <a:pos x="connsiteX9481" y="connsiteY9481"/>
              </a:cxn>
              <a:cxn ang="0">
                <a:pos x="connsiteX9482" y="connsiteY9482"/>
              </a:cxn>
              <a:cxn ang="0">
                <a:pos x="connsiteX9483" y="connsiteY9483"/>
              </a:cxn>
              <a:cxn ang="0">
                <a:pos x="connsiteX9484" y="connsiteY9484"/>
              </a:cxn>
              <a:cxn ang="0">
                <a:pos x="connsiteX9485" y="connsiteY9485"/>
              </a:cxn>
              <a:cxn ang="0">
                <a:pos x="connsiteX9486" y="connsiteY9486"/>
              </a:cxn>
              <a:cxn ang="0">
                <a:pos x="connsiteX9487" y="connsiteY9487"/>
              </a:cxn>
              <a:cxn ang="0">
                <a:pos x="connsiteX9488" y="connsiteY9488"/>
              </a:cxn>
              <a:cxn ang="0">
                <a:pos x="connsiteX9489" y="connsiteY9489"/>
              </a:cxn>
              <a:cxn ang="0">
                <a:pos x="connsiteX9490" y="connsiteY9490"/>
              </a:cxn>
              <a:cxn ang="0">
                <a:pos x="connsiteX9491" y="connsiteY9491"/>
              </a:cxn>
              <a:cxn ang="0">
                <a:pos x="connsiteX9492" y="connsiteY9492"/>
              </a:cxn>
              <a:cxn ang="0">
                <a:pos x="connsiteX9493" y="connsiteY9493"/>
              </a:cxn>
              <a:cxn ang="0">
                <a:pos x="connsiteX9494" y="connsiteY9494"/>
              </a:cxn>
              <a:cxn ang="0">
                <a:pos x="connsiteX9495" y="connsiteY9495"/>
              </a:cxn>
              <a:cxn ang="0">
                <a:pos x="connsiteX9496" y="connsiteY9496"/>
              </a:cxn>
              <a:cxn ang="0">
                <a:pos x="connsiteX9497" y="connsiteY9497"/>
              </a:cxn>
              <a:cxn ang="0">
                <a:pos x="connsiteX9498" y="connsiteY9498"/>
              </a:cxn>
              <a:cxn ang="0">
                <a:pos x="connsiteX9499" y="connsiteY9499"/>
              </a:cxn>
              <a:cxn ang="0">
                <a:pos x="connsiteX9500" y="connsiteY9500"/>
              </a:cxn>
              <a:cxn ang="0">
                <a:pos x="connsiteX9501" y="connsiteY9501"/>
              </a:cxn>
              <a:cxn ang="0">
                <a:pos x="connsiteX9502" y="connsiteY9502"/>
              </a:cxn>
              <a:cxn ang="0">
                <a:pos x="connsiteX9503" y="connsiteY9503"/>
              </a:cxn>
              <a:cxn ang="0">
                <a:pos x="connsiteX9504" y="connsiteY9504"/>
              </a:cxn>
              <a:cxn ang="0">
                <a:pos x="connsiteX9505" y="connsiteY9505"/>
              </a:cxn>
              <a:cxn ang="0">
                <a:pos x="connsiteX9506" y="connsiteY9506"/>
              </a:cxn>
              <a:cxn ang="0">
                <a:pos x="connsiteX9507" y="connsiteY9507"/>
              </a:cxn>
              <a:cxn ang="0">
                <a:pos x="connsiteX9508" y="connsiteY9508"/>
              </a:cxn>
              <a:cxn ang="0">
                <a:pos x="connsiteX9509" y="connsiteY9509"/>
              </a:cxn>
              <a:cxn ang="0">
                <a:pos x="connsiteX9510" y="connsiteY9510"/>
              </a:cxn>
              <a:cxn ang="0">
                <a:pos x="connsiteX9511" y="connsiteY9511"/>
              </a:cxn>
              <a:cxn ang="0">
                <a:pos x="connsiteX9512" y="connsiteY9512"/>
              </a:cxn>
              <a:cxn ang="0">
                <a:pos x="connsiteX9513" y="connsiteY9513"/>
              </a:cxn>
              <a:cxn ang="0">
                <a:pos x="connsiteX9514" y="connsiteY9514"/>
              </a:cxn>
              <a:cxn ang="0">
                <a:pos x="connsiteX9515" y="connsiteY9515"/>
              </a:cxn>
              <a:cxn ang="0">
                <a:pos x="connsiteX9516" y="connsiteY9516"/>
              </a:cxn>
              <a:cxn ang="0">
                <a:pos x="connsiteX9517" y="connsiteY9517"/>
              </a:cxn>
              <a:cxn ang="0">
                <a:pos x="connsiteX9518" y="connsiteY9518"/>
              </a:cxn>
              <a:cxn ang="0">
                <a:pos x="connsiteX9519" y="connsiteY9519"/>
              </a:cxn>
              <a:cxn ang="0">
                <a:pos x="connsiteX9520" y="connsiteY9520"/>
              </a:cxn>
              <a:cxn ang="0">
                <a:pos x="connsiteX9521" y="connsiteY9521"/>
              </a:cxn>
              <a:cxn ang="0">
                <a:pos x="connsiteX9522" y="connsiteY9522"/>
              </a:cxn>
              <a:cxn ang="0">
                <a:pos x="connsiteX9523" y="connsiteY9523"/>
              </a:cxn>
              <a:cxn ang="0">
                <a:pos x="connsiteX9524" y="connsiteY9524"/>
              </a:cxn>
              <a:cxn ang="0">
                <a:pos x="connsiteX9525" y="connsiteY9525"/>
              </a:cxn>
              <a:cxn ang="0">
                <a:pos x="connsiteX9526" y="connsiteY9526"/>
              </a:cxn>
              <a:cxn ang="0">
                <a:pos x="connsiteX9527" y="connsiteY9527"/>
              </a:cxn>
              <a:cxn ang="0">
                <a:pos x="connsiteX9528" y="connsiteY9528"/>
              </a:cxn>
              <a:cxn ang="0">
                <a:pos x="connsiteX9529" y="connsiteY9529"/>
              </a:cxn>
              <a:cxn ang="0">
                <a:pos x="connsiteX9530" y="connsiteY9530"/>
              </a:cxn>
              <a:cxn ang="0">
                <a:pos x="connsiteX9531" y="connsiteY9531"/>
              </a:cxn>
              <a:cxn ang="0">
                <a:pos x="connsiteX9532" y="connsiteY9532"/>
              </a:cxn>
              <a:cxn ang="0">
                <a:pos x="connsiteX9533" y="connsiteY9533"/>
              </a:cxn>
              <a:cxn ang="0">
                <a:pos x="connsiteX9534" y="connsiteY9534"/>
              </a:cxn>
              <a:cxn ang="0">
                <a:pos x="connsiteX9535" y="connsiteY9535"/>
              </a:cxn>
              <a:cxn ang="0">
                <a:pos x="connsiteX9536" y="connsiteY9536"/>
              </a:cxn>
              <a:cxn ang="0">
                <a:pos x="connsiteX9537" y="connsiteY9537"/>
              </a:cxn>
              <a:cxn ang="0">
                <a:pos x="connsiteX9538" y="connsiteY9538"/>
              </a:cxn>
              <a:cxn ang="0">
                <a:pos x="connsiteX9539" y="connsiteY9539"/>
              </a:cxn>
              <a:cxn ang="0">
                <a:pos x="connsiteX9540" y="connsiteY9540"/>
              </a:cxn>
              <a:cxn ang="0">
                <a:pos x="connsiteX9541" y="connsiteY9541"/>
              </a:cxn>
              <a:cxn ang="0">
                <a:pos x="connsiteX9542" y="connsiteY9542"/>
              </a:cxn>
              <a:cxn ang="0">
                <a:pos x="connsiteX9543" y="connsiteY9543"/>
              </a:cxn>
              <a:cxn ang="0">
                <a:pos x="connsiteX9544" y="connsiteY9544"/>
              </a:cxn>
              <a:cxn ang="0">
                <a:pos x="connsiteX9545" y="connsiteY9545"/>
              </a:cxn>
              <a:cxn ang="0">
                <a:pos x="connsiteX9546" y="connsiteY9546"/>
              </a:cxn>
              <a:cxn ang="0">
                <a:pos x="connsiteX9547" y="connsiteY9547"/>
              </a:cxn>
              <a:cxn ang="0">
                <a:pos x="connsiteX9548" y="connsiteY9548"/>
              </a:cxn>
              <a:cxn ang="0">
                <a:pos x="connsiteX9549" y="connsiteY9549"/>
              </a:cxn>
              <a:cxn ang="0">
                <a:pos x="connsiteX9550" y="connsiteY9550"/>
              </a:cxn>
              <a:cxn ang="0">
                <a:pos x="connsiteX9551" y="connsiteY9551"/>
              </a:cxn>
              <a:cxn ang="0">
                <a:pos x="connsiteX9552" y="connsiteY9552"/>
              </a:cxn>
              <a:cxn ang="0">
                <a:pos x="connsiteX9553" y="connsiteY9553"/>
              </a:cxn>
              <a:cxn ang="0">
                <a:pos x="connsiteX9554" y="connsiteY9554"/>
              </a:cxn>
              <a:cxn ang="0">
                <a:pos x="connsiteX9555" y="connsiteY9555"/>
              </a:cxn>
              <a:cxn ang="0">
                <a:pos x="connsiteX9556" y="connsiteY9556"/>
              </a:cxn>
              <a:cxn ang="0">
                <a:pos x="connsiteX9557" y="connsiteY9557"/>
              </a:cxn>
              <a:cxn ang="0">
                <a:pos x="connsiteX9558" y="connsiteY9558"/>
              </a:cxn>
              <a:cxn ang="0">
                <a:pos x="connsiteX9559" y="connsiteY9559"/>
              </a:cxn>
              <a:cxn ang="0">
                <a:pos x="connsiteX9560" y="connsiteY9560"/>
              </a:cxn>
              <a:cxn ang="0">
                <a:pos x="connsiteX9561" y="connsiteY9561"/>
              </a:cxn>
              <a:cxn ang="0">
                <a:pos x="connsiteX9562" y="connsiteY9562"/>
              </a:cxn>
              <a:cxn ang="0">
                <a:pos x="connsiteX9563" y="connsiteY9563"/>
              </a:cxn>
              <a:cxn ang="0">
                <a:pos x="connsiteX9564" y="connsiteY9564"/>
              </a:cxn>
              <a:cxn ang="0">
                <a:pos x="connsiteX9565" y="connsiteY9565"/>
              </a:cxn>
              <a:cxn ang="0">
                <a:pos x="connsiteX9566" y="connsiteY9566"/>
              </a:cxn>
              <a:cxn ang="0">
                <a:pos x="connsiteX9567" y="connsiteY9567"/>
              </a:cxn>
              <a:cxn ang="0">
                <a:pos x="connsiteX9568" y="connsiteY9568"/>
              </a:cxn>
              <a:cxn ang="0">
                <a:pos x="connsiteX9569" y="connsiteY9569"/>
              </a:cxn>
              <a:cxn ang="0">
                <a:pos x="connsiteX9570" y="connsiteY9570"/>
              </a:cxn>
              <a:cxn ang="0">
                <a:pos x="connsiteX9571" y="connsiteY9571"/>
              </a:cxn>
              <a:cxn ang="0">
                <a:pos x="connsiteX9572" y="connsiteY9572"/>
              </a:cxn>
              <a:cxn ang="0">
                <a:pos x="connsiteX9573" y="connsiteY9573"/>
              </a:cxn>
              <a:cxn ang="0">
                <a:pos x="connsiteX9574" y="connsiteY9574"/>
              </a:cxn>
              <a:cxn ang="0">
                <a:pos x="connsiteX9575" y="connsiteY9575"/>
              </a:cxn>
              <a:cxn ang="0">
                <a:pos x="connsiteX9576" y="connsiteY9576"/>
              </a:cxn>
              <a:cxn ang="0">
                <a:pos x="connsiteX9577" y="connsiteY9577"/>
              </a:cxn>
              <a:cxn ang="0">
                <a:pos x="connsiteX9578" y="connsiteY9578"/>
              </a:cxn>
              <a:cxn ang="0">
                <a:pos x="connsiteX9579" y="connsiteY9579"/>
              </a:cxn>
              <a:cxn ang="0">
                <a:pos x="connsiteX9580" y="connsiteY9580"/>
              </a:cxn>
              <a:cxn ang="0">
                <a:pos x="connsiteX9581" y="connsiteY9581"/>
              </a:cxn>
              <a:cxn ang="0">
                <a:pos x="connsiteX9582" y="connsiteY9582"/>
              </a:cxn>
              <a:cxn ang="0">
                <a:pos x="connsiteX9583" y="connsiteY9583"/>
              </a:cxn>
              <a:cxn ang="0">
                <a:pos x="connsiteX9584" y="connsiteY9584"/>
              </a:cxn>
              <a:cxn ang="0">
                <a:pos x="connsiteX9585" y="connsiteY9585"/>
              </a:cxn>
              <a:cxn ang="0">
                <a:pos x="connsiteX9586" y="connsiteY9586"/>
              </a:cxn>
              <a:cxn ang="0">
                <a:pos x="connsiteX9587" y="connsiteY9587"/>
              </a:cxn>
              <a:cxn ang="0">
                <a:pos x="connsiteX9588" y="connsiteY9588"/>
              </a:cxn>
              <a:cxn ang="0">
                <a:pos x="connsiteX9589" y="connsiteY9589"/>
              </a:cxn>
              <a:cxn ang="0">
                <a:pos x="connsiteX9590" y="connsiteY9590"/>
              </a:cxn>
              <a:cxn ang="0">
                <a:pos x="connsiteX9591" y="connsiteY9591"/>
              </a:cxn>
              <a:cxn ang="0">
                <a:pos x="connsiteX9592" y="connsiteY9592"/>
              </a:cxn>
              <a:cxn ang="0">
                <a:pos x="connsiteX9593" y="connsiteY9593"/>
              </a:cxn>
              <a:cxn ang="0">
                <a:pos x="connsiteX9594" y="connsiteY9594"/>
              </a:cxn>
              <a:cxn ang="0">
                <a:pos x="connsiteX9595" y="connsiteY9595"/>
              </a:cxn>
              <a:cxn ang="0">
                <a:pos x="connsiteX9596" y="connsiteY9596"/>
              </a:cxn>
              <a:cxn ang="0">
                <a:pos x="connsiteX9597" y="connsiteY9597"/>
              </a:cxn>
              <a:cxn ang="0">
                <a:pos x="connsiteX9598" y="connsiteY9598"/>
              </a:cxn>
              <a:cxn ang="0">
                <a:pos x="connsiteX9599" y="connsiteY9599"/>
              </a:cxn>
              <a:cxn ang="0">
                <a:pos x="connsiteX9600" y="connsiteY9600"/>
              </a:cxn>
              <a:cxn ang="0">
                <a:pos x="connsiteX9601" y="connsiteY9601"/>
              </a:cxn>
              <a:cxn ang="0">
                <a:pos x="connsiteX9602" y="connsiteY9602"/>
              </a:cxn>
              <a:cxn ang="0">
                <a:pos x="connsiteX9603" y="connsiteY9603"/>
              </a:cxn>
              <a:cxn ang="0">
                <a:pos x="connsiteX9604" y="connsiteY9604"/>
              </a:cxn>
              <a:cxn ang="0">
                <a:pos x="connsiteX9605" y="connsiteY9605"/>
              </a:cxn>
              <a:cxn ang="0">
                <a:pos x="connsiteX9606" y="connsiteY9606"/>
              </a:cxn>
              <a:cxn ang="0">
                <a:pos x="connsiteX9607" y="connsiteY9607"/>
              </a:cxn>
              <a:cxn ang="0">
                <a:pos x="connsiteX9608" y="connsiteY9608"/>
              </a:cxn>
              <a:cxn ang="0">
                <a:pos x="connsiteX9609" y="connsiteY9609"/>
              </a:cxn>
              <a:cxn ang="0">
                <a:pos x="connsiteX9610" y="connsiteY9610"/>
              </a:cxn>
              <a:cxn ang="0">
                <a:pos x="connsiteX9611" y="connsiteY9611"/>
              </a:cxn>
              <a:cxn ang="0">
                <a:pos x="connsiteX9612" y="connsiteY9612"/>
              </a:cxn>
              <a:cxn ang="0">
                <a:pos x="connsiteX9613" y="connsiteY9613"/>
              </a:cxn>
              <a:cxn ang="0">
                <a:pos x="connsiteX9614" y="connsiteY9614"/>
              </a:cxn>
              <a:cxn ang="0">
                <a:pos x="connsiteX9615" y="connsiteY9615"/>
              </a:cxn>
              <a:cxn ang="0">
                <a:pos x="connsiteX9616" y="connsiteY9616"/>
              </a:cxn>
              <a:cxn ang="0">
                <a:pos x="connsiteX9617" y="connsiteY9617"/>
              </a:cxn>
              <a:cxn ang="0">
                <a:pos x="connsiteX9618" y="connsiteY9618"/>
              </a:cxn>
              <a:cxn ang="0">
                <a:pos x="connsiteX9619" y="connsiteY9619"/>
              </a:cxn>
              <a:cxn ang="0">
                <a:pos x="connsiteX9620" y="connsiteY9620"/>
              </a:cxn>
              <a:cxn ang="0">
                <a:pos x="connsiteX9621" y="connsiteY9621"/>
              </a:cxn>
              <a:cxn ang="0">
                <a:pos x="connsiteX9622" y="connsiteY9622"/>
              </a:cxn>
              <a:cxn ang="0">
                <a:pos x="connsiteX9623" y="connsiteY9623"/>
              </a:cxn>
              <a:cxn ang="0">
                <a:pos x="connsiteX9624" y="connsiteY9624"/>
              </a:cxn>
              <a:cxn ang="0">
                <a:pos x="connsiteX9625" y="connsiteY9625"/>
              </a:cxn>
              <a:cxn ang="0">
                <a:pos x="connsiteX9626" y="connsiteY9626"/>
              </a:cxn>
              <a:cxn ang="0">
                <a:pos x="connsiteX9627" y="connsiteY9627"/>
              </a:cxn>
              <a:cxn ang="0">
                <a:pos x="connsiteX9628" y="connsiteY9628"/>
              </a:cxn>
              <a:cxn ang="0">
                <a:pos x="connsiteX9629" y="connsiteY9629"/>
              </a:cxn>
              <a:cxn ang="0">
                <a:pos x="connsiteX9630" y="connsiteY9630"/>
              </a:cxn>
              <a:cxn ang="0">
                <a:pos x="connsiteX9631" y="connsiteY9631"/>
              </a:cxn>
              <a:cxn ang="0">
                <a:pos x="connsiteX9632" y="connsiteY9632"/>
              </a:cxn>
              <a:cxn ang="0">
                <a:pos x="connsiteX9633" y="connsiteY9633"/>
              </a:cxn>
              <a:cxn ang="0">
                <a:pos x="connsiteX9634" y="connsiteY9634"/>
              </a:cxn>
              <a:cxn ang="0">
                <a:pos x="connsiteX9635" y="connsiteY9635"/>
              </a:cxn>
              <a:cxn ang="0">
                <a:pos x="connsiteX9636" y="connsiteY9636"/>
              </a:cxn>
              <a:cxn ang="0">
                <a:pos x="connsiteX9637" y="connsiteY9637"/>
              </a:cxn>
              <a:cxn ang="0">
                <a:pos x="connsiteX9638" y="connsiteY9638"/>
              </a:cxn>
              <a:cxn ang="0">
                <a:pos x="connsiteX9639" y="connsiteY9639"/>
              </a:cxn>
              <a:cxn ang="0">
                <a:pos x="connsiteX9640" y="connsiteY9640"/>
              </a:cxn>
              <a:cxn ang="0">
                <a:pos x="connsiteX9641" y="connsiteY9641"/>
              </a:cxn>
              <a:cxn ang="0">
                <a:pos x="connsiteX9642" y="connsiteY9642"/>
              </a:cxn>
              <a:cxn ang="0">
                <a:pos x="connsiteX9643" y="connsiteY9643"/>
              </a:cxn>
              <a:cxn ang="0">
                <a:pos x="connsiteX9644" y="connsiteY9644"/>
              </a:cxn>
              <a:cxn ang="0">
                <a:pos x="connsiteX9645" y="connsiteY9645"/>
              </a:cxn>
              <a:cxn ang="0">
                <a:pos x="connsiteX9646" y="connsiteY9646"/>
              </a:cxn>
              <a:cxn ang="0">
                <a:pos x="connsiteX9647" y="connsiteY9647"/>
              </a:cxn>
              <a:cxn ang="0">
                <a:pos x="connsiteX9648" y="connsiteY9648"/>
              </a:cxn>
              <a:cxn ang="0">
                <a:pos x="connsiteX9649" y="connsiteY9649"/>
              </a:cxn>
              <a:cxn ang="0">
                <a:pos x="connsiteX9650" y="connsiteY9650"/>
              </a:cxn>
              <a:cxn ang="0">
                <a:pos x="connsiteX9651" y="connsiteY9651"/>
              </a:cxn>
              <a:cxn ang="0">
                <a:pos x="connsiteX9652" y="connsiteY9652"/>
              </a:cxn>
              <a:cxn ang="0">
                <a:pos x="connsiteX9653" y="connsiteY9653"/>
              </a:cxn>
              <a:cxn ang="0">
                <a:pos x="connsiteX9654" y="connsiteY9654"/>
              </a:cxn>
              <a:cxn ang="0">
                <a:pos x="connsiteX9655" y="connsiteY9655"/>
              </a:cxn>
              <a:cxn ang="0">
                <a:pos x="connsiteX9656" y="connsiteY9656"/>
              </a:cxn>
              <a:cxn ang="0">
                <a:pos x="connsiteX9657" y="connsiteY9657"/>
              </a:cxn>
              <a:cxn ang="0">
                <a:pos x="connsiteX9658" y="connsiteY9658"/>
              </a:cxn>
              <a:cxn ang="0">
                <a:pos x="connsiteX9659" y="connsiteY9659"/>
              </a:cxn>
              <a:cxn ang="0">
                <a:pos x="connsiteX9660" y="connsiteY9660"/>
              </a:cxn>
              <a:cxn ang="0">
                <a:pos x="connsiteX9661" y="connsiteY9661"/>
              </a:cxn>
              <a:cxn ang="0">
                <a:pos x="connsiteX9662" y="connsiteY9662"/>
              </a:cxn>
              <a:cxn ang="0">
                <a:pos x="connsiteX9663" y="connsiteY9663"/>
              </a:cxn>
              <a:cxn ang="0">
                <a:pos x="connsiteX9664" y="connsiteY9664"/>
              </a:cxn>
              <a:cxn ang="0">
                <a:pos x="connsiteX9665" y="connsiteY9665"/>
              </a:cxn>
              <a:cxn ang="0">
                <a:pos x="connsiteX9666" y="connsiteY9666"/>
              </a:cxn>
              <a:cxn ang="0">
                <a:pos x="connsiteX9667" y="connsiteY9667"/>
              </a:cxn>
              <a:cxn ang="0">
                <a:pos x="connsiteX9668" y="connsiteY9668"/>
              </a:cxn>
              <a:cxn ang="0">
                <a:pos x="connsiteX9669" y="connsiteY9669"/>
              </a:cxn>
              <a:cxn ang="0">
                <a:pos x="connsiteX9670" y="connsiteY9670"/>
              </a:cxn>
              <a:cxn ang="0">
                <a:pos x="connsiteX9671" y="connsiteY9671"/>
              </a:cxn>
              <a:cxn ang="0">
                <a:pos x="connsiteX9672" y="connsiteY9672"/>
              </a:cxn>
              <a:cxn ang="0">
                <a:pos x="connsiteX9673" y="connsiteY9673"/>
              </a:cxn>
              <a:cxn ang="0">
                <a:pos x="connsiteX9674" y="connsiteY9674"/>
              </a:cxn>
              <a:cxn ang="0">
                <a:pos x="connsiteX9675" y="connsiteY9675"/>
              </a:cxn>
              <a:cxn ang="0">
                <a:pos x="connsiteX9676" y="connsiteY9676"/>
              </a:cxn>
              <a:cxn ang="0">
                <a:pos x="connsiteX9677" y="connsiteY9677"/>
              </a:cxn>
              <a:cxn ang="0">
                <a:pos x="connsiteX9678" y="connsiteY9678"/>
              </a:cxn>
              <a:cxn ang="0">
                <a:pos x="connsiteX9679" y="connsiteY9679"/>
              </a:cxn>
              <a:cxn ang="0">
                <a:pos x="connsiteX9680" y="connsiteY9680"/>
              </a:cxn>
              <a:cxn ang="0">
                <a:pos x="connsiteX9681" y="connsiteY9681"/>
              </a:cxn>
              <a:cxn ang="0">
                <a:pos x="connsiteX9682" y="connsiteY9682"/>
              </a:cxn>
              <a:cxn ang="0">
                <a:pos x="connsiteX9683" y="connsiteY9683"/>
              </a:cxn>
              <a:cxn ang="0">
                <a:pos x="connsiteX9684" y="connsiteY9684"/>
              </a:cxn>
              <a:cxn ang="0">
                <a:pos x="connsiteX9685" y="connsiteY9685"/>
              </a:cxn>
              <a:cxn ang="0">
                <a:pos x="connsiteX9686" y="connsiteY9686"/>
              </a:cxn>
              <a:cxn ang="0">
                <a:pos x="connsiteX9687" y="connsiteY9687"/>
              </a:cxn>
              <a:cxn ang="0">
                <a:pos x="connsiteX9688" y="connsiteY9688"/>
              </a:cxn>
              <a:cxn ang="0">
                <a:pos x="connsiteX9689" y="connsiteY9689"/>
              </a:cxn>
              <a:cxn ang="0">
                <a:pos x="connsiteX9690" y="connsiteY9690"/>
              </a:cxn>
              <a:cxn ang="0">
                <a:pos x="connsiteX9691" y="connsiteY9691"/>
              </a:cxn>
              <a:cxn ang="0">
                <a:pos x="connsiteX9692" y="connsiteY9692"/>
              </a:cxn>
              <a:cxn ang="0">
                <a:pos x="connsiteX9693" y="connsiteY9693"/>
              </a:cxn>
              <a:cxn ang="0">
                <a:pos x="connsiteX9694" y="connsiteY9694"/>
              </a:cxn>
              <a:cxn ang="0">
                <a:pos x="connsiteX9695" y="connsiteY9695"/>
              </a:cxn>
              <a:cxn ang="0">
                <a:pos x="connsiteX9696" y="connsiteY9696"/>
              </a:cxn>
              <a:cxn ang="0">
                <a:pos x="connsiteX9697" y="connsiteY9697"/>
              </a:cxn>
              <a:cxn ang="0">
                <a:pos x="connsiteX9698" y="connsiteY9698"/>
              </a:cxn>
              <a:cxn ang="0">
                <a:pos x="connsiteX9699" y="connsiteY9699"/>
              </a:cxn>
              <a:cxn ang="0">
                <a:pos x="connsiteX9700" y="connsiteY9700"/>
              </a:cxn>
              <a:cxn ang="0">
                <a:pos x="connsiteX9701" y="connsiteY9701"/>
              </a:cxn>
              <a:cxn ang="0">
                <a:pos x="connsiteX9702" y="connsiteY9702"/>
              </a:cxn>
              <a:cxn ang="0">
                <a:pos x="connsiteX9703" y="connsiteY9703"/>
              </a:cxn>
              <a:cxn ang="0">
                <a:pos x="connsiteX9704" y="connsiteY9704"/>
              </a:cxn>
              <a:cxn ang="0">
                <a:pos x="connsiteX9705" y="connsiteY9705"/>
              </a:cxn>
              <a:cxn ang="0">
                <a:pos x="connsiteX9706" y="connsiteY9706"/>
              </a:cxn>
              <a:cxn ang="0">
                <a:pos x="connsiteX9707" y="connsiteY9707"/>
              </a:cxn>
              <a:cxn ang="0">
                <a:pos x="connsiteX9708" y="connsiteY9708"/>
              </a:cxn>
              <a:cxn ang="0">
                <a:pos x="connsiteX9709" y="connsiteY9709"/>
              </a:cxn>
              <a:cxn ang="0">
                <a:pos x="connsiteX9710" y="connsiteY9710"/>
              </a:cxn>
              <a:cxn ang="0">
                <a:pos x="connsiteX9711" y="connsiteY9711"/>
              </a:cxn>
              <a:cxn ang="0">
                <a:pos x="connsiteX9712" y="connsiteY9712"/>
              </a:cxn>
              <a:cxn ang="0">
                <a:pos x="connsiteX9713" y="connsiteY9713"/>
              </a:cxn>
              <a:cxn ang="0">
                <a:pos x="connsiteX9714" y="connsiteY9714"/>
              </a:cxn>
              <a:cxn ang="0">
                <a:pos x="connsiteX9715" y="connsiteY9715"/>
              </a:cxn>
              <a:cxn ang="0">
                <a:pos x="connsiteX9716" y="connsiteY9716"/>
              </a:cxn>
              <a:cxn ang="0">
                <a:pos x="connsiteX9717" y="connsiteY9717"/>
              </a:cxn>
              <a:cxn ang="0">
                <a:pos x="connsiteX9718" y="connsiteY9718"/>
              </a:cxn>
              <a:cxn ang="0">
                <a:pos x="connsiteX9719" y="connsiteY9719"/>
              </a:cxn>
              <a:cxn ang="0">
                <a:pos x="connsiteX9720" y="connsiteY9720"/>
              </a:cxn>
              <a:cxn ang="0">
                <a:pos x="connsiteX9721" y="connsiteY9721"/>
              </a:cxn>
              <a:cxn ang="0">
                <a:pos x="connsiteX9722" y="connsiteY9722"/>
              </a:cxn>
              <a:cxn ang="0">
                <a:pos x="connsiteX9723" y="connsiteY9723"/>
              </a:cxn>
              <a:cxn ang="0">
                <a:pos x="connsiteX9724" y="connsiteY9724"/>
              </a:cxn>
              <a:cxn ang="0">
                <a:pos x="connsiteX9725" y="connsiteY9725"/>
              </a:cxn>
              <a:cxn ang="0">
                <a:pos x="connsiteX9726" y="connsiteY9726"/>
              </a:cxn>
              <a:cxn ang="0">
                <a:pos x="connsiteX9727" y="connsiteY9727"/>
              </a:cxn>
              <a:cxn ang="0">
                <a:pos x="connsiteX9728" y="connsiteY9728"/>
              </a:cxn>
              <a:cxn ang="0">
                <a:pos x="connsiteX9729" y="connsiteY9729"/>
              </a:cxn>
              <a:cxn ang="0">
                <a:pos x="connsiteX9730" y="connsiteY9730"/>
              </a:cxn>
              <a:cxn ang="0">
                <a:pos x="connsiteX9731" y="connsiteY9731"/>
              </a:cxn>
              <a:cxn ang="0">
                <a:pos x="connsiteX9732" y="connsiteY9732"/>
              </a:cxn>
              <a:cxn ang="0">
                <a:pos x="connsiteX9733" y="connsiteY9733"/>
              </a:cxn>
              <a:cxn ang="0">
                <a:pos x="connsiteX9734" y="connsiteY9734"/>
              </a:cxn>
              <a:cxn ang="0">
                <a:pos x="connsiteX9735" y="connsiteY9735"/>
              </a:cxn>
              <a:cxn ang="0">
                <a:pos x="connsiteX9736" y="connsiteY9736"/>
              </a:cxn>
              <a:cxn ang="0">
                <a:pos x="connsiteX9737" y="connsiteY9737"/>
              </a:cxn>
              <a:cxn ang="0">
                <a:pos x="connsiteX9738" y="connsiteY9738"/>
              </a:cxn>
              <a:cxn ang="0">
                <a:pos x="connsiteX9739" y="connsiteY9739"/>
              </a:cxn>
              <a:cxn ang="0">
                <a:pos x="connsiteX9740" y="connsiteY9740"/>
              </a:cxn>
              <a:cxn ang="0">
                <a:pos x="connsiteX9741" y="connsiteY9741"/>
              </a:cxn>
              <a:cxn ang="0">
                <a:pos x="connsiteX9742" y="connsiteY9742"/>
              </a:cxn>
              <a:cxn ang="0">
                <a:pos x="connsiteX9743" y="connsiteY9743"/>
              </a:cxn>
              <a:cxn ang="0">
                <a:pos x="connsiteX9744" y="connsiteY9744"/>
              </a:cxn>
              <a:cxn ang="0">
                <a:pos x="connsiteX9745" y="connsiteY9745"/>
              </a:cxn>
              <a:cxn ang="0">
                <a:pos x="connsiteX9746" y="connsiteY9746"/>
              </a:cxn>
              <a:cxn ang="0">
                <a:pos x="connsiteX9747" y="connsiteY9747"/>
              </a:cxn>
              <a:cxn ang="0">
                <a:pos x="connsiteX9748" y="connsiteY9748"/>
              </a:cxn>
              <a:cxn ang="0">
                <a:pos x="connsiteX9749" y="connsiteY9749"/>
              </a:cxn>
              <a:cxn ang="0">
                <a:pos x="connsiteX9750" y="connsiteY9750"/>
              </a:cxn>
              <a:cxn ang="0">
                <a:pos x="connsiteX9751" y="connsiteY9751"/>
              </a:cxn>
              <a:cxn ang="0">
                <a:pos x="connsiteX9752" y="connsiteY9752"/>
              </a:cxn>
              <a:cxn ang="0">
                <a:pos x="connsiteX9753" y="connsiteY9753"/>
              </a:cxn>
              <a:cxn ang="0">
                <a:pos x="connsiteX9754" y="connsiteY9754"/>
              </a:cxn>
              <a:cxn ang="0">
                <a:pos x="connsiteX9755" y="connsiteY9755"/>
              </a:cxn>
              <a:cxn ang="0">
                <a:pos x="connsiteX9756" y="connsiteY9756"/>
              </a:cxn>
              <a:cxn ang="0">
                <a:pos x="connsiteX9757" y="connsiteY9757"/>
              </a:cxn>
              <a:cxn ang="0">
                <a:pos x="connsiteX9758" y="connsiteY9758"/>
              </a:cxn>
              <a:cxn ang="0">
                <a:pos x="connsiteX9759" y="connsiteY9759"/>
              </a:cxn>
              <a:cxn ang="0">
                <a:pos x="connsiteX9760" y="connsiteY9760"/>
              </a:cxn>
              <a:cxn ang="0">
                <a:pos x="connsiteX9761" y="connsiteY9761"/>
              </a:cxn>
              <a:cxn ang="0">
                <a:pos x="connsiteX9762" y="connsiteY9762"/>
              </a:cxn>
              <a:cxn ang="0">
                <a:pos x="connsiteX9763" y="connsiteY9763"/>
              </a:cxn>
              <a:cxn ang="0">
                <a:pos x="connsiteX9764" y="connsiteY9764"/>
              </a:cxn>
              <a:cxn ang="0">
                <a:pos x="connsiteX9765" y="connsiteY9765"/>
              </a:cxn>
              <a:cxn ang="0">
                <a:pos x="connsiteX9766" y="connsiteY9766"/>
              </a:cxn>
              <a:cxn ang="0">
                <a:pos x="connsiteX9767" y="connsiteY9767"/>
              </a:cxn>
              <a:cxn ang="0">
                <a:pos x="connsiteX9768" y="connsiteY9768"/>
              </a:cxn>
              <a:cxn ang="0">
                <a:pos x="connsiteX9769" y="connsiteY9769"/>
              </a:cxn>
              <a:cxn ang="0">
                <a:pos x="connsiteX9770" y="connsiteY9770"/>
              </a:cxn>
              <a:cxn ang="0">
                <a:pos x="connsiteX9771" y="connsiteY9771"/>
              </a:cxn>
              <a:cxn ang="0">
                <a:pos x="connsiteX9772" y="connsiteY9772"/>
              </a:cxn>
              <a:cxn ang="0">
                <a:pos x="connsiteX9773" y="connsiteY9773"/>
              </a:cxn>
              <a:cxn ang="0">
                <a:pos x="connsiteX9774" y="connsiteY9774"/>
              </a:cxn>
              <a:cxn ang="0">
                <a:pos x="connsiteX9775" y="connsiteY9775"/>
              </a:cxn>
              <a:cxn ang="0">
                <a:pos x="connsiteX9776" y="connsiteY9776"/>
              </a:cxn>
              <a:cxn ang="0">
                <a:pos x="connsiteX9777" y="connsiteY9777"/>
              </a:cxn>
              <a:cxn ang="0">
                <a:pos x="connsiteX9778" y="connsiteY9778"/>
              </a:cxn>
              <a:cxn ang="0">
                <a:pos x="connsiteX9779" y="connsiteY9779"/>
              </a:cxn>
              <a:cxn ang="0">
                <a:pos x="connsiteX9780" y="connsiteY9780"/>
              </a:cxn>
              <a:cxn ang="0">
                <a:pos x="connsiteX9781" y="connsiteY9781"/>
              </a:cxn>
              <a:cxn ang="0">
                <a:pos x="connsiteX9782" y="connsiteY9782"/>
              </a:cxn>
              <a:cxn ang="0">
                <a:pos x="connsiteX9783" y="connsiteY9783"/>
              </a:cxn>
              <a:cxn ang="0">
                <a:pos x="connsiteX9784" y="connsiteY9784"/>
              </a:cxn>
              <a:cxn ang="0">
                <a:pos x="connsiteX9785" y="connsiteY9785"/>
              </a:cxn>
              <a:cxn ang="0">
                <a:pos x="connsiteX9786" y="connsiteY9786"/>
              </a:cxn>
              <a:cxn ang="0">
                <a:pos x="connsiteX9787" y="connsiteY9787"/>
              </a:cxn>
              <a:cxn ang="0">
                <a:pos x="connsiteX9788" y="connsiteY9788"/>
              </a:cxn>
              <a:cxn ang="0">
                <a:pos x="connsiteX9789" y="connsiteY9789"/>
              </a:cxn>
              <a:cxn ang="0">
                <a:pos x="connsiteX9790" y="connsiteY9790"/>
              </a:cxn>
              <a:cxn ang="0">
                <a:pos x="connsiteX9791" y="connsiteY9791"/>
              </a:cxn>
              <a:cxn ang="0">
                <a:pos x="connsiteX9792" y="connsiteY9792"/>
              </a:cxn>
              <a:cxn ang="0">
                <a:pos x="connsiteX9793" y="connsiteY9793"/>
              </a:cxn>
              <a:cxn ang="0">
                <a:pos x="connsiteX9794" y="connsiteY9794"/>
              </a:cxn>
              <a:cxn ang="0">
                <a:pos x="connsiteX9795" y="connsiteY9795"/>
              </a:cxn>
              <a:cxn ang="0">
                <a:pos x="connsiteX9796" y="connsiteY9796"/>
              </a:cxn>
              <a:cxn ang="0">
                <a:pos x="connsiteX9797" y="connsiteY9797"/>
              </a:cxn>
              <a:cxn ang="0">
                <a:pos x="connsiteX9798" y="connsiteY9798"/>
              </a:cxn>
              <a:cxn ang="0">
                <a:pos x="connsiteX9799" y="connsiteY9799"/>
              </a:cxn>
              <a:cxn ang="0">
                <a:pos x="connsiteX9800" y="connsiteY9800"/>
              </a:cxn>
              <a:cxn ang="0">
                <a:pos x="connsiteX9801" y="connsiteY9801"/>
              </a:cxn>
              <a:cxn ang="0">
                <a:pos x="connsiteX9802" y="connsiteY9802"/>
              </a:cxn>
              <a:cxn ang="0">
                <a:pos x="connsiteX9803" y="connsiteY9803"/>
              </a:cxn>
              <a:cxn ang="0">
                <a:pos x="connsiteX9804" y="connsiteY9804"/>
              </a:cxn>
              <a:cxn ang="0">
                <a:pos x="connsiteX9805" y="connsiteY9805"/>
              </a:cxn>
              <a:cxn ang="0">
                <a:pos x="connsiteX9806" y="connsiteY9806"/>
              </a:cxn>
              <a:cxn ang="0">
                <a:pos x="connsiteX9807" y="connsiteY9807"/>
              </a:cxn>
              <a:cxn ang="0">
                <a:pos x="connsiteX9808" y="connsiteY9808"/>
              </a:cxn>
              <a:cxn ang="0">
                <a:pos x="connsiteX9809" y="connsiteY9809"/>
              </a:cxn>
              <a:cxn ang="0">
                <a:pos x="connsiteX9810" y="connsiteY9810"/>
              </a:cxn>
              <a:cxn ang="0">
                <a:pos x="connsiteX9811" y="connsiteY9811"/>
              </a:cxn>
              <a:cxn ang="0">
                <a:pos x="connsiteX9812" y="connsiteY9812"/>
              </a:cxn>
              <a:cxn ang="0">
                <a:pos x="connsiteX9813" y="connsiteY9813"/>
              </a:cxn>
              <a:cxn ang="0">
                <a:pos x="connsiteX9814" y="connsiteY9814"/>
              </a:cxn>
              <a:cxn ang="0">
                <a:pos x="connsiteX9815" y="connsiteY9815"/>
              </a:cxn>
              <a:cxn ang="0">
                <a:pos x="connsiteX9816" y="connsiteY9816"/>
              </a:cxn>
              <a:cxn ang="0">
                <a:pos x="connsiteX9817" y="connsiteY9817"/>
              </a:cxn>
              <a:cxn ang="0">
                <a:pos x="connsiteX9818" y="connsiteY9818"/>
              </a:cxn>
              <a:cxn ang="0">
                <a:pos x="connsiteX9819" y="connsiteY9819"/>
              </a:cxn>
              <a:cxn ang="0">
                <a:pos x="connsiteX9820" y="connsiteY9820"/>
              </a:cxn>
              <a:cxn ang="0">
                <a:pos x="connsiteX9821" y="connsiteY9821"/>
              </a:cxn>
              <a:cxn ang="0">
                <a:pos x="connsiteX9822" y="connsiteY9822"/>
              </a:cxn>
              <a:cxn ang="0">
                <a:pos x="connsiteX9823" y="connsiteY9823"/>
              </a:cxn>
              <a:cxn ang="0">
                <a:pos x="connsiteX9824" y="connsiteY9824"/>
              </a:cxn>
              <a:cxn ang="0">
                <a:pos x="connsiteX9825" y="connsiteY9825"/>
              </a:cxn>
              <a:cxn ang="0">
                <a:pos x="connsiteX9826" y="connsiteY9826"/>
              </a:cxn>
              <a:cxn ang="0">
                <a:pos x="connsiteX9827" y="connsiteY9827"/>
              </a:cxn>
              <a:cxn ang="0">
                <a:pos x="connsiteX9828" y="connsiteY9828"/>
              </a:cxn>
              <a:cxn ang="0">
                <a:pos x="connsiteX9829" y="connsiteY9829"/>
              </a:cxn>
              <a:cxn ang="0">
                <a:pos x="connsiteX9830" y="connsiteY9830"/>
              </a:cxn>
              <a:cxn ang="0">
                <a:pos x="connsiteX9831" y="connsiteY9831"/>
              </a:cxn>
              <a:cxn ang="0">
                <a:pos x="connsiteX9832" y="connsiteY9832"/>
              </a:cxn>
              <a:cxn ang="0">
                <a:pos x="connsiteX9833" y="connsiteY9833"/>
              </a:cxn>
              <a:cxn ang="0">
                <a:pos x="connsiteX9834" y="connsiteY9834"/>
              </a:cxn>
              <a:cxn ang="0">
                <a:pos x="connsiteX9835" y="connsiteY9835"/>
              </a:cxn>
              <a:cxn ang="0">
                <a:pos x="connsiteX9836" y="connsiteY9836"/>
              </a:cxn>
              <a:cxn ang="0">
                <a:pos x="connsiteX9837" y="connsiteY9837"/>
              </a:cxn>
              <a:cxn ang="0">
                <a:pos x="connsiteX9838" y="connsiteY9838"/>
              </a:cxn>
              <a:cxn ang="0">
                <a:pos x="connsiteX9839" y="connsiteY9839"/>
              </a:cxn>
              <a:cxn ang="0">
                <a:pos x="connsiteX9840" y="connsiteY9840"/>
              </a:cxn>
              <a:cxn ang="0">
                <a:pos x="connsiteX9841" y="connsiteY9841"/>
              </a:cxn>
              <a:cxn ang="0">
                <a:pos x="connsiteX9842" y="connsiteY9842"/>
              </a:cxn>
              <a:cxn ang="0">
                <a:pos x="connsiteX9843" y="connsiteY9843"/>
              </a:cxn>
              <a:cxn ang="0">
                <a:pos x="connsiteX9844" y="connsiteY9844"/>
              </a:cxn>
              <a:cxn ang="0">
                <a:pos x="connsiteX9845" y="connsiteY9845"/>
              </a:cxn>
              <a:cxn ang="0">
                <a:pos x="connsiteX9846" y="connsiteY9846"/>
              </a:cxn>
              <a:cxn ang="0">
                <a:pos x="connsiteX9847" y="connsiteY9847"/>
              </a:cxn>
              <a:cxn ang="0">
                <a:pos x="connsiteX9848" y="connsiteY9848"/>
              </a:cxn>
              <a:cxn ang="0">
                <a:pos x="connsiteX9849" y="connsiteY9849"/>
              </a:cxn>
              <a:cxn ang="0">
                <a:pos x="connsiteX9850" y="connsiteY9850"/>
              </a:cxn>
              <a:cxn ang="0">
                <a:pos x="connsiteX9851" y="connsiteY9851"/>
              </a:cxn>
              <a:cxn ang="0">
                <a:pos x="connsiteX9852" y="connsiteY9852"/>
              </a:cxn>
              <a:cxn ang="0">
                <a:pos x="connsiteX9853" y="connsiteY9853"/>
              </a:cxn>
              <a:cxn ang="0">
                <a:pos x="connsiteX9854" y="connsiteY9854"/>
              </a:cxn>
              <a:cxn ang="0">
                <a:pos x="connsiteX9855" y="connsiteY9855"/>
              </a:cxn>
              <a:cxn ang="0">
                <a:pos x="connsiteX9856" y="connsiteY9856"/>
              </a:cxn>
              <a:cxn ang="0">
                <a:pos x="connsiteX9857" y="connsiteY9857"/>
              </a:cxn>
              <a:cxn ang="0">
                <a:pos x="connsiteX9858" y="connsiteY9858"/>
              </a:cxn>
              <a:cxn ang="0">
                <a:pos x="connsiteX9859" y="connsiteY9859"/>
              </a:cxn>
              <a:cxn ang="0">
                <a:pos x="connsiteX9860" y="connsiteY9860"/>
              </a:cxn>
              <a:cxn ang="0">
                <a:pos x="connsiteX9861" y="connsiteY9861"/>
              </a:cxn>
              <a:cxn ang="0">
                <a:pos x="connsiteX9862" y="connsiteY9862"/>
              </a:cxn>
              <a:cxn ang="0">
                <a:pos x="connsiteX9863" y="connsiteY9863"/>
              </a:cxn>
              <a:cxn ang="0">
                <a:pos x="connsiteX9864" y="connsiteY9864"/>
              </a:cxn>
              <a:cxn ang="0">
                <a:pos x="connsiteX9865" y="connsiteY9865"/>
              </a:cxn>
              <a:cxn ang="0">
                <a:pos x="connsiteX9866" y="connsiteY9866"/>
              </a:cxn>
              <a:cxn ang="0">
                <a:pos x="connsiteX9867" y="connsiteY9867"/>
              </a:cxn>
              <a:cxn ang="0">
                <a:pos x="connsiteX9868" y="connsiteY9868"/>
              </a:cxn>
              <a:cxn ang="0">
                <a:pos x="connsiteX9869" y="connsiteY9869"/>
              </a:cxn>
              <a:cxn ang="0">
                <a:pos x="connsiteX9870" y="connsiteY9870"/>
              </a:cxn>
              <a:cxn ang="0">
                <a:pos x="connsiteX9871" y="connsiteY9871"/>
              </a:cxn>
              <a:cxn ang="0">
                <a:pos x="connsiteX9872" y="connsiteY9872"/>
              </a:cxn>
              <a:cxn ang="0">
                <a:pos x="connsiteX9873" y="connsiteY9873"/>
              </a:cxn>
              <a:cxn ang="0">
                <a:pos x="connsiteX9874" y="connsiteY9874"/>
              </a:cxn>
              <a:cxn ang="0">
                <a:pos x="connsiteX9875" y="connsiteY9875"/>
              </a:cxn>
              <a:cxn ang="0">
                <a:pos x="connsiteX9876" y="connsiteY9876"/>
              </a:cxn>
              <a:cxn ang="0">
                <a:pos x="connsiteX9877" y="connsiteY9877"/>
              </a:cxn>
              <a:cxn ang="0">
                <a:pos x="connsiteX9878" y="connsiteY9878"/>
              </a:cxn>
              <a:cxn ang="0">
                <a:pos x="connsiteX9879" y="connsiteY9879"/>
              </a:cxn>
              <a:cxn ang="0">
                <a:pos x="connsiteX9880" y="connsiteY9880"/>
              </a:cxn>
              <a:cxn ang="0">
                <a:pos x="connsiteX9881" y="connsiteY9881"/>
              </a:cxn>
              <a:cxn ang="0">
                <a:pos x="connsiteX9882" y="connsiteY9882"/>
              </a:cxn>
              <a:cxn ang="0">
                <a:pos x="connsiteX9883" y="connsiteY9883"/>
              </a:cxn>
              <a:cxn ang="0">
                <a:pos x="connsiteX9884" y="connsiteY9884"/>
              </a:cxn>
              <a:cxn ang="0">
                <a:pos x="connsiteX9885" y="connsiteY9885"/>
              </a:cxn>
              <a:cxn ang="0">
                <a:pos x="connsiteX9886" y="connsiteY9886"/>
              </a:cxn>
              <a:cxn ang="0">
                <a:pos x="connsiteX9887" y="connsiteY9887"/>
              </a:cxn>
              <a:cxn ang="0">
                <a:pos x="connsiteX9888" y="connsiteY9888"/>
              </a:cxn>
              <a:cxn ang="0">
                <a:pos x="connsiteX9889" y="connsiteY9889"/>
              </a:cxn>
              <a:cxn ang="0">
                <a:pos x="connsiteX9890" y="connsiteY9890"/>
              </a:cxn>
              <a:cxn ang="0">
                <a:pos x="connsiteX9891" y="connsiteY9891"/>
              </a:cxn>
              <a:cxn ang="0">
                <a:pos x="connsiteX9892" y="connsiteY9892"/>
              </a:cxn>
              <a:cxn ang="0">
                <a:pos x="connsiteX9893" y="connsiteY9893"/>
              </a:cxn>
              <a:cxn ang="0">
                <a:pos x="connsiteX9894" y="connsiteY9894"/>
              </a:cxn>
              <a:cxn ang="0">
                <a:pos x="connsiteX9895" y="connsiteY9895"/>
              </a:cxn>
              <a:cxn ang="0">
                <a:pos x="connsiteX9896" y="connsiteY9896"/>
              </a:cxn>
              <a:cxn ang="0">
                <a:pos x="connsiteX9897" y="connsiteY9897"/>
              </a:cxn>
              <a:cxn ang="0">
                <a:pos x="connsiteX9898" y="connsiteY9898"/>
              </a:cxn>
              <a:cxn ang="0">
                <a:pos x="connsiteX9899" y="connsiteY9899"/>
              </a:cxn>
              <a:cxn ang="0">
                <a:pos x="connsiteX9900" y="connsiteY9900"/>
              </a:cxn>
              <a:cxn ang="0">
                <a:pos x="connsiteX9901" y="connsiteY9901"/>
              </a:cxn>
              <a:cxn ang="0">
                <a:pos x="connsiteX9902" y="connsiteY9902"/>
              </a:cxn>
              <a:cxn ang="0">
                <a:pos x="connsiteX9903" y="connsiteY9903"/>
              </a:cxn>
              <a:cxn ang="0">
                <a:pos x="connsiteX9904" y="connsiteY9904"/>
              </a:cxn>
              <a:cxn ang="0">
                <a:pos x="connsiteX9905" y="connsiteY9905"/>
              </a:cxn>
              <a:cxn ang="0">
                <a:pos x="connsiteX9906" y="connsiteY9906"/>
              </a:cxn>
              <a:cxn ang="0">
                <a:pos x="connsiteX9907" y="connsiteY9907"/>
              </a:cxn>
              <a:cxn ang="0">
                <a:pos x="connsiteX9908" y="connsiteY9908"/>
              </a:cxn>
              <a:cxn ang="0">
                <a:pos x="connsiteX9909" y="connsiteY9909"/>
              </a:cxn>
              <a:cxn ang="0">
                <a:pos x="connsiteX9910" y="connsiteY9910"/>
              </a:cxn>
              <a:cxn ang="0">
                <a:pos x="connsiteX9911" y="connsiteY9911"/>
              </a:cxn>
              <a:cxn ang="0">
                <a:pos x="connsiteX9912" y="connsiteY9912"/>
              </a:cxn>
              <a:cxn ang="0">
                <a:pos x="connsiteX9913" y="connsiteY9913"/>
              </a:cxn>
              <a:cxn ang="0">
                <a:pos x="connsiteX9914" y="connsiteY9914"/>
              </a:cxn>
              <a:cxn ang="0">
                <a:pos x="connsiteX9915" y="connsiteY9915"/>
              </a:cxn>
              <a:cxn ang="0">
                <a:pos x="connsiteX9916" y="connsiteY9916"/>
              </a:cxn>
              <a:cxn ang="0">
                <a:pos x="connsiteX9917" y="connsiteY9917"/>
              </a:cxn>
              <a:cxn ang="0">
                <a:pos x="connsiteX9918" y="connsiteY9918"/>
              </a:cxn>
              <a:cxn ang="0">
                <a:pos x="connsiteX9919" y="connsiteY9919"/>
              </a:cxn>
              <a:cxn ang="0">
                <a:pos x="connsiteX9920" y="connsiteY9920"/>
              </a:cxn>
              <a:cxn ang="0">
                <a:pos x="connsiteX9921" y="connsiteY9921"/>
              </a:cxn>
              <a:cxn ang="0">
                <a:pos x="connsiteX9922" y="connsiteY9922"/>
              </a:cxn>
              <a:cxn ang="0">
                <a:pos x="connsiteX9923" y="connsiteY9923"/>
              </a:cxn>
              <a:cxn ang="0">
                <a:pos x="connsiteX9924" y="connsiteY9924"/>
              </a:cxn>
              <a:cxn ang="0">
                <a:pos x="connsiteX9925" y="connsiteY9925"/>
              </a:cxn>
              <a:cxn ang="0">
                <a:pos x="connsiteX9926" y="connsiteY9926"/>
              </a:cxn>
              <a:cxn ang="0">
                <a:pos x="connsiteX9927" y="connsiteY9927"/>
              </a:cxn>
              <a:cxn ang="0">
                <a:pos x="connsiteX9928" y="connsiteY9928"/>
              </a:cxn>
              <a:cxn ang="0">
                <a:pos x="connsiteX9929" y="connsiteY9929"/>
              </a:cxn>
              <a:cxn ang="0">
                <a:pos x="connsiteX9930" y="connsiteY9930"/>
              </a:cxn>
              <a:cxn ang="0">
                <a:pos x="connsiteX9931" y="connsiteY9931"/>
              </a:cxn>
              <a:cxn ang="0">
                <a:pos x="connsiteX9932" y="connsiteY9932"/>
              </a:cxn>
              <a:cxn ang="0">
                <a:pos x="connsiteX9933" y="connsiteY9933"/>
              </a:cxn>
              <a:cxn ang="0">
                <a:pos x="connsiteX9934" y="connsiteY9934"/>
              </a:cxn>
              <a:cxn ang="0">
                <a:pos x="connsiteX9935" y="connsiteY9935"/>
              </a:cxn>
              <a:cxn ang="0">
                <a:pos x="connsiteX9936" y="connsiteY9936"/>
              </a:cxn>
              <a:cxn ang="0">
                <a:pos x="connsiteX9937" y="connsiteY9937"/>
              </a:cxn>
              <a:cxn ang="0">
                <a:pos x="connsiteX9938" y="connsiteY9938"/>
              </a:cxn>
              <a:cxn ang="0">
                <a:pos x="connsiteX9939" y="connsiteY9939"/>
              </a:cxn>
              <a:cxn ang="0">
                <a:pos x="connsiteX9940" y="connsiteY9940"/>
              </a:cxn>
              <a:cxn ang="0">
                <a:pos x="connsiteX9941" y="connsiteY9941"/>
              </a:cxn>
              <a:cxn ang="0">
                <a:pos x="connsiteX9942" y="connsiteY9942"/>
              </a:cxn>
              <a:cxn ang="0">
                <a:pos x="connsiteX9943" y="connsiteY9943"/>
              </a:cxn>
              <a:cxn ang="0">
                <a:pos x="connsiteX9944" y="connsiteY9944"/>
              </a:cxn>
              <a:cxn ang="0">
                <a:pos x="connsiteX9945" y="connsiteY9945"/>
              </a:cxn>
              <a:cxn ang="0">
                <a:pos x="connsiteX9946" y="connsiteY9946"/>
              </a:cxn>
              <a:cxn ang="0">
                <a:pos x="connsiteX9947" y="connsiteY9947"/>
              </a:cxn>
              <a:cxn ang="0">
                <a:pos x="connsiteX9948" y="connsiteY9948"/>
              </a:cxn>
              <a:cxn ang="0">
                <a:pos x="connsiteX9949" y="connsiteY9949"/>
              </a:cxn>
              <a:cxn ang="0">
                <a:pos x="connsiteX9950" y="connsiteY9950"/>
              </a:cxn>
              <a:cxn ang="0">
                <a:pos x="connsiteX9951" y="connsiteY9951"/>
              </a:cxn>
              <a:cxn ang="0">
                <a:pos x="connsiteX9952" y="connsiteY9952"/>
              </a:cxn>
              <a:cxn ang="0">
                <a:pos x="connsiteX9953" y="connsiteY9953"/>
              </a:cxn>
              <a:cxn ang="0">
                <a:pos x="connsiteX9954" y="connsiteY9954"/>
              </a:cxn>
              <a:cxn ang="0">
                <a:pos x="connsiteX9955" y="connsiteY9955"/>
              </a:cxn>
              <a:cxn ang="0">
                <a:pos x="connsiteX9956" y="connsiteY9956"/>
              </a:cxn>
              <a:cxn ang="0">
                <a:pos x="connsiteX9957" y="connsiteY9957"/>
              </a:cxn>
              <a:cxn ang="0">
                <a:pos x="connsiteX9958" y="connsiteY9958"/>
              </a:cxn>
              <a:cxn ang="0">
                <a:pos x="connsiteX9959" y="connsiteY9959"/>
              </a:cxn>
              <a:cxn ang="0">
                <a:pos x="connsiteX9960" y="connsiteY9960"/>
              </a:cxn>
              <a:cxn ang="0">
                <a:pos x="connsiteX9961" y="connsiteY9961"/>
              </a:cxn>
              <a:cxn ang="0">
                <a:pos x="connsiteX9962" y="connsiteY9962"/>
              </a:cxn>
              <a:cxn ang="0">
                <a:pos x="connsiteX9963" y="connsiteY9963"/>
              </a:cxn>
              <a:cxn ang="0">
                <a:pos x="connsiteX9964" y="connsiteY9964"/>
              </a:cxn>
              <a:cxn ang="0">
                <a:pos x="connsiteX9965" y="connsiteY9965"/>
              </a:cxn>
              <a:cxn ang="0">
                <a:pos x="connsiteX9966" y="connsiteY9966"/>
              </a:cxn>
              <a:cxn ang="0">
                <a:pos x="connsiteX9967" y="connsiteY9967"/>
              </a:cxn>
              <a:cxn ang="0">
                <a:pos x="connsiteX9968" y="connsiteY9968"/>
              </a:cxn>
              <a:cxn ang="0">
                <a:pos x="connsiteX9969" y="connsiteY9969"/>
              </a:cxn>
              <a:cxn ang="0">
                <a:pos x="connsiteX9970" y="connsiteY9970"/>
              </a:cxn>
              <a:cxn ang="0">
                <a:pos x="connsiteX9971" y="connsiteY9971"/>
              </a:cxn>
              <a:cxn ang="0">
                <a:pos x="connsiteX9972" y="connsiteY9972"/>
              </a:cxn>
              <a:cxn ang="0">
                <a:pos x="connsiteX9973" y="connsiteY9973"/>
              </a:cxn>
              <a:cxn ang="0">
                <a:pos x="connsiteX9974" y="connsiteY9974"/>
              </a:cxn>
              <a:cxn ang="0">
                <a:pos x="connsiteX9975" y="connsiteY9975"/>
              </a:cxn>
              <a:cxn ang="0">
                <a:pos x="connsiteX9976" y="connsiteY9976"/>
              </a:cxn>
              <a:cxn ang="0">
                <a:pos x="connsiteX9977" y="connsiteY9977"/>
              </a:cxn>
              <a:cxn ang="0">
                <a:pos x="connsiteX9978" y="connsiteY9978"/>
              </a:cxn>
              <a:cxn ang="0">
                <a:pos x="connsiteX9979" y="connsiteY9979"/>
              </a:cxn>
              <a:cxn ang="0">
                <a:pos x="connsiteX9980" y="connsiteY9980"/>
              </a:cxn>
              <a:cxn ang="0">
                <a:pos x="connsiteX9981" y="connsiteY9981"/>
              </a:cxn>
              <a:cxn ang="0">
                <a:pos x="connsiteX9982" y="connsiteY9982"/>
              </a:cxn>
              <a:cxn ang="0">
                <a:pos x="connsiteX9983" y="connsiteY9983"/>
              </a:cxn>
              <a:cxn ang="0">
                <a:pos x="connsiteX9984" y="connsiteY9984"/>
              </a:cxn>
              <a:cxn ang="0">
                <a:pos x="connsiteX9985" y="connsiteY9985"/>
              </a:cxn>
              <a:cxn ang="0">
                <a:pos x="connsiteX9986" y="connsiteY9986"/>
              </a:cxn>
              <a:cxn ang="0">
                <a:pos x="connsiteX9987" y="connsiteY9987"/>
              </a:cxn>
              <a:cxn ang="0">
                <a:pos x="connsiteX9988" y="connsiteY9988"/>
              </a:cxn>
              <a:cxn ang="0">
                <a:pos x="connsiteX9989" y="connsiteY9989"/>
              </a:cxn>
              <a:cxn ang="0">
                <a:pos x="connsiteX9990" y="connsiteY9990"/>
              </a:cxn>
              <a:cxn ang="0">
                <a:pos x="connsiteX9991" y="connsiteY9991"/>
              </a:cxn>
              <a:cxn ang="0">
                <a:pos x="connsiteX9992" y="connsiteY9992"/>
              </a:cxn>
              <a:cxn ang="0">
                <a:pos x="connsiteX9993" y="connsiteY9993"/>
              </a:cxn>
              <a:cxn ang="0">
                <a:pos x="connsiteX9994" y="connsiteY9994"/>
              </a:cxn>
              <a:cxn ang="0">
                <a:pos x="connsiteX9995" y="connsiteY9995"/>
              </a:cxn>
              <a:cxn ang="0">
                <a:pos x="connsiteX9996" y="connsiteY9996"/>
              </a:cxn>
              <a:cxn ang="0">
                <a:pos x="connsiteX9997" y="connsiteY9997"/>
              </a:cxn>
              <a:cxn ang="0">
                <a:pos x="connsiteX9998" y="connsiteY9998"/>
              </a:cxn>
              <a:cxn ang="0">
                <a:pos x="connsiteX9999" y="connsiteY9999"/>
              </a:cxn>
              <a:cxn ang="0">
                <a:pos x="connsiteX10000" y="connsiteY10000"/>
              </a:cxn>
              <a:cxn ang="0">
                <a:pos x="connsiteX10001" y="connsiteY10001"/>
              </a:cxn>
              <a:cxn ang="0">
                <a:pos x="connsiteX10002" y="connsiteY10002"/>
              </a:cxn>
              <a:cxn ang="0">
                <a:pos x="connsiteX10003" y="connsiteY10003"/>
              </a:cxn>
              <a:cxn ang="0">
                <a:pos x="connsiteX10004" y="connsiteY10004"/>
              </a:cxn>
              <a:cxn ang="0">
                <a:pos x="connsiteX10005" y="connsiteY10005"/>
              </a:cxn>
              <a:cxn ang="0">
                <a:pos x="connsiteX10006" y="connsiteY10006"/>
              </a:cxn>
              <a:cxn ang="0">
                <a:pos x="connsiteX10007" y="connsiteY10007"/>
              </a:cxn>
              <a:cxn ang="0">
                <a:pos x="connsiteX10008" y="connsiteY10008"/>
              </a:cxn>
              <a:cxn ang="0">
                <a:pos x="connsiteX10009" y="connsiteY10009"/>
              </a:cxn>
              <a:cxn ang="0">
                <a:pos x="connsiteX10010" y="connsiteY10010"/>
              </a:cxn>
              <a:cxn ang="0">
                <a:pos x="connsiteX10011" y="connsiteY10011"/>
              </a:cxn>
              <a:cxn ang="0">
                <a:pos x="connsiteX10012" y="connsiteY10012"/>
              </a:cxn>
              <a:cxn ang="0">
                <a:pos x="connsiteX10013" y="connsiteY10013"/>
              </a:cxn>
              <a:cxn ang="0">
                <a:pos x="connsiteX10014" y="connsiteY10014"/>
              </a:cxn>
              <a:cxn ang="0">
                <a:pos x="connsiteX10015" y="connsiteY10015"/>
              </a:cxn>
              <a:cxn ang="0">
                <a:pos x="connsiteX10016" y="connsiteY10016"/>
              </a:cxn>
              <a:cxn ang="0">
                <a:pos x="connsiteX10017" y="connsiteY10017"/>
              </a:cxn>
              <a:cxn ang="0">
                <a:pos x="connsiteX10018" y="connsiteY10018"/>
              </a:cxn>
              <a:cxn ang="0">
                <a:pos x="connsiteX10019" y="connsiteY10019"/>
              </a:cxn>
              <a:cxn ang="0">
                <a:pos x="connsiteX10020" y="connsiteY10020"/>
              </a:cxn>
              <a:cxn ang="0">
                <a:pos x="connsiteX10021" y="connsiteY10021"/>
              </a:cxn>
              <a:cxn ang="0">
                <a:pos x="connsiteX10022" y="connsiteY10022"/>
              </a:cxn>
              <a:cxn ang="0">
                <a:pos x="connsiteX10023" y="connsiteY10023"/>
              </a:cxn>
              <a:cxn ang="0">
                <a:pos x="connsiteX10024" y="connsiteY10024"/>
              </a:cxn>
              <a:cxn ang="0">
                <a:pos x="connsiteX10025" y="connsiteY10025"/>
              </a:cxn>
              <a:cxn ang="0">
                <a:pos x="connsiteX10026" y="connsiteY10026"/>
              </a:cxn>
              <a:cxn ang="0">
                <a:pos x="connsiteX10027" y="connsiteY10027"/>
              </a:cxn>
              <a:cxn ang="0">
                <a:pos x="connsiteX10028" y="connsiteY10028"/>
              </a:cxn>
              <a:cxn ang="0">
                <a:pos x="connsiteX10029" y="connsiteY10029"/>
              </a:cxn>
              <a:cxn ang="0">
                <a:pos x="connsiteX10030" y="connsiteY10030"/>
              </a:cxn>
              <a:cxn ang="0">
                <a:pos x="connsiteX10031" y="connsiteY10031"/>
              </a:cxn>
              <a:cxn ang="0">
                <a:pos x="connsiteX10032" y="connsiteY10032"/>
              </a:cxn>
              <a:cxn ang="0">
                <a:pos x="connsiteX10033" y="connsiteY10033"/>
              </a:cxn>
              <a:cxn ang="0">
                <a:pos x="connsiteX10034" y="connsiteY10034"/>
              </a:cxn>
              <a:cxn ang="0">
                <a:pos x="connsiteX10035" y="connsiteY10035"/>
              </a:cxn>
              <a:cxn ang="0">
                <a:pos x="connsiteX10036" y="connsiteY10036"/>
              </a:cxn>
              <a:cxn ang="0">
                <a:pos x="connsiteX10037" y="connsiteY10037"/>
              </a:cxn>
              <a:cxn ang="0">
                <a:pos x="connsiteX10038" y="connsiteY10038"/>
              </a:cxn>
              <a:cxn ang="0">
                <a:pos x="connsiteX10039" y="connsiteY10039"/>
              </a:cxn>
              <a:cxn ang="0">
                <a:pos x="connsiteX10040" y="connsiteY10040"/>
              </a:cxn>
              <a:cxn ang="0">
                <a:pos x="connsiteX10041" y="connsiteY10041"/>
              </a:cxn>
              <a:cxn ang="0">
                <a:pos x="connsiteX10042" y="connsiteY10042"/>
              </a:cxn>
              <a:cxn ang="0">
                <a:pos x="connsiteX10043" y="connsiteY10043"/>
              </a:cxn>
              <a:cxn ang="0">
                <a:pos x="connsiteX10044" y="connsiteY10044"/>
              </a:cxn>
              <a:cxn ang="0">
                <a:pos x="connsiteX10045" y="connsiteY10045"/>
              </a:cxn>
              <a:cxn ang="0">
                <a:pos x="connsiteX10046" y="connsiteY10046"/>
              </a:cxn>
              <a:cxn ang="0">
                <a:pos x="connsiteX10047" y="connsiteY10047"/>
              </a:cxn>
              <a:cxn ang="0">
                <a:pos x="connsiteX10048" y="connsiteY10048"/>
              </a:cxn>
              <a:cxn ang="0">
                <a:pos x="connsiteX10049" y="connsiteY10049"/>
              </a:cxn>
              <a:cxn ang="0">
                <a:pos x="connsiteX10050" y="connsiteY10050"/>
              </a:cxn>
              <a:cxn ang="0">
                <a:pos x="connsiteX10051" y="connsiteY10051"/>
              </a:cxn>
              <a:cxn ang="0">
                <a:pos x="connsiteX10052" y="connsiteY10052"/>
              </a:cxn>
              <a:cxn ang="0">
                <a:pos x="connsiteX10053" y="connsiteY10053"/>
              </a:cxn>
              <a:cxn ang="0">
                <a:pos x="connsiteX10054" y="connsiteY10054"/>
              </a:cxn>
              <a:cxn ang="0">
                <a:pos x="connsiteX10055" y="connsiteY10055"/>
              </a:cxn>
              <a:cxn ang="0">
                <a:pos x="connsiteX10056" y="connsiteY10056"/>
              </a:cxn>
              <a:cxn ang="0">
                <a:pos x="connsiteX10057" y="connsiteY10057"/>
              </a:cxn>
              <a:cxn ang="0">
                <a:pos x="connsiteX10058" y="connsiteY10058"/>
              </a:cxn>
              <a:cxn ang="0">
                <a:pos x="connsiteX10059" y="connsiteY10059"/>
              </a:cxn>
              <a:cxn ang="0">
                <a:pos x="connsiteX10060" y="connsiteY10060"/>
              </a:cxn>
              <a:cxn ang="0">
                <a:pos x="connsiteX10061" y="connsiteY10061"/>
              </a:cxn>
              <a:cxn ang="0">
                <a:pos x="connsiteX10062" y="connsiteY10062"/>
              </a:cxn>
              <a:cxn ang="0">
                <a:pos x="connsiteX10063" y="connsiteY10063"/>
              </a:cxn>
              <a:cxn ang="0">
                <a:pos x="connsiteX10064" y="connsiteY10064"/>
              </a:cxn>
              <a:cxn ang="0">
                <a:pos x="connsiteX10065" y="connsiteY10065"/>
              </a:cxn>
              <a:cxn ang="0">
                <a:pos x="connsiteX10066" y="connsiteY10066"/>
              </a:cxn>
              <a:cxn ang="0">
                <a:pos x="connsiteX10067" y="connsiteY10067"/>
              </a:cxn>
              <a:cxn ang="0">
                <a:pos x="connsiteX10068" y="connsiteY10068"/>
              </a:cxn>
              <a:cxn ang="0">
                <a:pos x="connsiteX10069" y="connsiteY10069"/>
              </a:cxn>
              <a:cxn ang="0">
                <a:pos x="connsiteX10070" y="connsiteY10070"/>
              </a:cxn>
              <a:cxn ang="0">
                <a:pos x="connsiteX10071" y="connsiteY10071"/>
              </a:cxn>
              <a:cxn ang="0">
                <a:pos x="connsiteX10072" y="connsiteY10072"/>
              </a:cxn>
              <a:cxn ang="0">
                <a:pos x="connsiteX10073" y="connsiteY10073"/>
              </a:cxn>
              <a:cxn ang="0">
                <a:pos x="connsiteX10074" y="connsiteY10074"/>
              </a:cxn>
              <a:cxn ang="0">
                <a:pos x="connsiteX10075" y="connsiteY10075"/>
              </a:cxn>
              <a:cxn ang="0">
                <a:pos x="connsiteX10076" y="connsiteY10076"/>
              </a:cxn>
              <a:cxn ang="0">
                <a:pos x="connsiteX10077" y="connsiteY10077"/>
              </a:cxn>
              <a:cxn ang="0">
                <a:pos x="connsiteX10078" y="connsiteY10078"/>
              </a:cxn>
              <a:cxn ang="0">
                <a:pos x="connsiteX10079" y="connsiteY10079"/>
              </a:cxn>
              <a:cxn ang="0">
                <a:pos x="connsiteX10080" y="connsiteY10080"/>
              </a:cxn>
              <a:cxn ang="0">
                <a:pos x="connsiteX10081" y="connsiteY10081"/>
              </a:cxn>
              <a:cxn ang="0">
                <a:pos x="connsiteX10082" y="connsiteY10082"/>
              </a:cxn>
              <a:cxn ang="0">
                <a:pos x="connsiteX10083" y="connsiteY10083"/>
              </a:cxn>
              <a:cxn ang="0">
                <a:pos x="connsiteX10084" y="connsiteY10084"/>
              </a:cxn>
              <a:cxn ang="0">
                <a:pos x="connsiteX10085" y="connsiteY10085"/>
              </a:cxn>
              <a:cxn ang="0">
                <a:pos x="connsiteX10086" y="connsiteY10086"/>
              </a:cxn>
              <a:cxn ang="0">
                <a:pos x="connsiteX10087" y="connsiteY10087"/>
              </a:cxn>
              <a:cxn ang="0">
                <a:pos x="connsiteX10088" y="connsiteY10088"/>
              </a:cxn>
              <a:cxn ang="0">
                <a:pos x="connsiteX10089" y="connsiteY10089"/>
              </a:cxn>
              <a:cxn ang="0">
                <a:pos x="connsiteX10090" y="connsiteY10090"/>
              </a:cxn>
              <a:cxn ang="0">
                <a:pos x="connsiteX10091" y="connsiteY10091"/>
              </a:cxn>
              <a:cxn ang="0">
                <a:pos x="connsiteX10092" y="connsiteY10092"/>
              </a:cxn>
              <a:cxn ang="0">
                <a:pos x="connsiteX10093" y="connsiteY10093"/>
              </a:cxn>
              <a:cxn ang="0">
                <a:pos x="connsiteX10094" y="connsiteY10094"/>
              </a:cxn>
              <a:cxn ang="0">
                <a:pos x="connsiteX10095" y="connsiteY10095"/>
              </a:cxn>
              <a:cxn ang="0">
                <a:pos x="connsiteX10096" y="connsiteY10096"/>
              </a:cxn>
              <a:cxn ang="0">
                <a:pos x="connsiteX10097" y="connsiteY10097"/>
              </a:cxn>
              <a:cxn ang="0">
                <a:pos x="connsiteX10098" y="connsiteY10098"/>
              </a:cxn>
              <a:cxn ang="0">
                <a:pos x="connsiteX10099" y="connsiteY10099"/>
              </a:cxn>
              <a:cxn ang="0">
                <a:pos x="connsiteX10100" y="connsiteY10100"/>
              </a:cxn>
              <a:cxn ang="0">
                <a:pos x="connsiteX10101" y="connsiteY10101"/>
              </a:cxn>
              <a:cxn ang="0">
                <a:pos x="connsiteX10102" y="connsiteY10102"/>
              </a:cxn>
              <a:cxn ang="0">
                <a:pos x="connsiteX10103" y="connsiteY10103"/>
              </a:cxn>
              <a:cxn ang="0">
                <a:pos x="connsiteX10104" y="connsiteY10104"/>
              </a:cxn>
              <a:cxn ang="0">
                <a:pos x="connsiteX10105" y="connsiteY10105"/>
              </a:cxn>
              <a:cxn ang="0">
                <a:pos x="connsiteX10106" y="connsiteY10106"/>
              </a:cxn>
              <a:cxn ang="0">
                <a:pos x="connsiteX10107" y="connsiteY10107"/>
              </a:cxn>
              <a:cxn ang="0">
                <a:pos x="connsiteX10108" y="connsiteY10108"/>
              </a:cxn>
              <a:cxn ang="0">
                <a:pos x="connsiteX10109" y="connsiteY10109"/>
              </a:cxn>
              <a:cxn ang="0">
                <a:pos x="connsiteX10110" y="connsiteY10110"/>
              </a:cxn>
              <a:cxn ang="0">
                <a:pos x="connsiteX10111" y="connsiteY10111"/>
              </a:cxn>
              <a:cxn ang="0">
                <a:pos x="connsiteX10112" y="connsiteY10112"/>
              </a:cxn>
              <a:cxn ang="0">
                <a:pos x="connsiteX10113" y="connsiteY10113"/>
              </a:cxn>
              <a:cxn ang="0">
                <a:pos x="connsiteX10114" y="connsiteY10114"/>
              </a:cxn>
              <a:cxn ang="0">
                <a:pos x="connsiteX10115" y="connsiteY10115"/>
              </a:cxn>
              <a:cxn ang="0">
                <a:pos x="connsiteX10116" y="connsiteY10116"/>
              </a:cxn>
              <a:cxn ang="0">
                <a:pos x="connsiteX10117" y="connsiteY10117"/>
              </a:cxn>
              <a:cxn ang="0">
                <a:pos x="connsiteX10118" y="connsiteY10118"/>
              </a:cxn>
              <a:cxn ang="0">
                <a:pos x="connsiteX10119" y="connsiteY10119"/>
              </a:cxn>
              <a:cxn ang="0">
                <a:pos x="connsiteX10120" y="connsiteY10120"/>
              </a:cxn>
              <a:cxn ang="0">
                <a:pos x="connsiteX10121" y="connsiteY10121"/>
              </a:cxn>
              <a:cxn ang="0">
                <a:pos x="connsiteX10122" y="connsiteY10122"/>
              </a:cxn>
              <a:cxn ang="0">
                <a:pos x="connsiteX10123" y="connsiteY10123"/>
              </a:cxn>
              <a:cxn ang="0">
                <a:pos x="connsiteX10124" y="connsiteY10124"/>
              </a:cxn>
              <a:cxn ang="0">
                <a:pos x="connsiteX10125" y="connsiteY10125"/>
              </a:cxn>
              <a:cxn ang="0">
                <a:pos x="connsiteX10126" y="connsiteY10126"/>
              </a:cxn>
              <a:cxn ang="0">
                <a:pos x="connsiteX10127" y="connsiteY10127"/>
              </a:cxn>
              <a:cxn ang="0">
                <a:pos x="connsiteX10128" y="connsiteY10128"/>
              </a:cxn>
              <a:cxn ang="0">
                <a:pos x="connsiteX10129" y="connsiteY10129"/>
              </a:cxn>
              <a:cxn ang="0">
                <a:pos x="connsiteX10130" y="connsiteY10130"/>
              </a:cxn>
              <a:cxn ang="0">
                <a:pos x="connsiteX10131" y="connsiteY10131"/>
              </a:cxn>
              <a:cxn ang="0">
                <a:pos x="connsiteX10132" y="connsiteY10132"/>
              </a:cxn>
              <a:cxn ang="0">
                <a:pos x="connsiteX10133" y="connsiteY10133"/>
              </a:cxn>
              <a:cxn ang="0">
                <a:pos x="connsiteX10134" y="connsiteY10134"/>
              </a:cxn>
              <a:cxn ang="0">
                <a:pos x="connsiteX10135" y="connsiteY10135"/>
              </a:cxn>
              <a:cxn ang="0">
                <a:pos x="connsiteX10136" y="connsiteY10136"/>
              </a:cxn>
              <a:cxn ang="0">
                <a:pos x="connsiteX10137" y="connsiteY10137"/>
              </a:cxn>
              <a:cxn ang="0">
                <a:pos x="connsiteX10138" y="connsiteY10138"/>
              </a:cxn>
              <a:cxn ang="0">
                <a:pos x="connsiteX10139" y="connsiteY10139"/>
              </a:cxn>
              <a:cxn ang="0">
                <a:pos x="connsiteX10140" y="connsiteY10140"/>
              </a:cxn>
              <a:cxn ang="0">
                <a:pos x="connsiteX10141" y="connsiteY10141"/>
              </a:cxn>
              <a:cxn ang="0">
                <a:pos x="connsiteX10142" y="connsiteY10142"/>
              </a:cxn>
              <a:cxn ang="0">
                <a:pos x="connsiteX10143" y="connsiteY10143"/>
              </a:cxn>
              <a:cxn ang="0">
                <a:pos x="connsiteX10144" y="connsiteY10144"/>
              </a:cxn>
              <a:cxn ang="0">
                <a:pos x="connsiteX10145" y="connsiteY10145"/>
              </a:cxn>
              <a:cxn ang="0">
                <a:pos x="connsiteX10146" y="connsiteY10146"/>
              </a:cxn>
              <a:cxn ang="0">
                <a:pos x="connsiteX10147" y="connsiteY10147"/>
              </a:cxn>
              <a:cxn ang="0">
                <a:pos x="connsiteX10148" y="connsiteY10148"/>
              </a:cxn>
              <a:cxn ang="0">
                <a:pos x="connsiteX10149" y="connsiteY10149"/>
              </a:cxn>
              <a:cxn ang="0">
                <a:pos x="connsiteX10150" y="connsiteY10150"/>
              </a:cxn>
              <a:cxn ang="0">
                <a:pos x="connsiteX10151" y="connsiteY10151"/>
              </a:cxn>
              <a:cxn ang="0">
                <a:pos x="connsiteX10152" y="connsiteY10152"/>
              </a:cxn>
              <a:cxn ang="0">
                <a:pos x="connsiteX10153" y="connsiteY10153"/>
              </a:cxn>
              <a:cxn ang="0">
                <a:pos x="connsiteX10154" y="connsiteY10154"/>
              </a:cxn>
              <a:cxn ang="0">
                <a:pos x="connsiteX10155" y="connsiteY10155"/>
              </a:cxn>
              <a:cxn ang="0">
                <a:pos x="connsiteX10156" y="connsiteY10156"/>
              </a:cxn>
              <a:cxn ang="0">
                <a:pos x="connsiteX10157" y="connsiteY10157"/>
              </a:cxn>
              <a:cxn ang="0">
                <a:pos x="connsiteX10158" y="connsiteY10158"/>
              </a:cxn>
              <a:cxn ang="0">
                <a:pos x="connsiteX10159" y="connsiteY10159"/>
              </a:cxn>
              <a:cxn ang="0">
                <a:pos x="connsiteX10160" y="connsiteY10160"/>
              </a:cxn>
              <a:cxn ang="0">
                <a:pos x="connsiteX10161" y="connsiteY10161"/>
              </a:cxn>
              <a:cxn ang="0">
                <a:pos x="connsiteX10162" y="connsiteY10162"/>
              </a:cxn>
              <a:cxn ang="0">
                <a:pos x="connsiteX10163" y="connsiteY10163"/>
              </a:cxn>
              <a:cxn ang="0">
                <a:pos x="connsiteX10164" y="connsiteY10164"/>
              </a:cxn>
              <a:cxn ang="0">
                <a:pos x="connsiteX10165" y="connsiteY10165"/>
              </a:cxn>
              <a:cxn ang="0">
                <a:pos x="connsiteX10166" y="connsiteY10166"/>
              </a:cxn>
              <a:cxn ang="0">
                <a:pos x="connsiteX10167" y="connsiteY10167"/>
              </a:cxn>
              <a:cxn ang="0">
                <a:pos x="connsiteX10168" y="connsiteY10168"/>
              </a:cxn>
              <a:cxn ang="0">
                <a:pos x="connsiteX10169" y="connsiteY10169"/>
              </a:cxn>
              <a:cxn ang="0">
                <a:pos x="connsiteX10170" y="connsiteY10170"/>
              </a:cxn>
              <a:cxn ang="0">
                <a:pos x="connsiteX10171" y="connsiteY10171"/>
              </a:cxn>
              <a:cxn ang="0">
                <a:pos x="connsiteX10172" y="connsiteY10172"/>
              </a:cxn>
              <a:cxn ang="0">
                <a:pos x="connsiteX10173" y="connsiteY10173"/>
              </a:cxn>
              <a:cxn ang="0">
                <a:pos x="connsiteX10174" y="connsiteY10174"/>
              </a:cxn>
              <a:cxn ang="0">
                <a:pos x="connsiteX10175" y="connsiteY10175"/>
              </a:cxn>
              <a:cxn ang="0">
                <a:pos x="connsiteX10176" y="connsiteY10176"/>
              </a:cxn>
              <a:cxn ang="0">
                <a:pos x="connsiteX10177" y="connsiteY10177"/>
              </a:cxn>
              <a:cxn ang="0">
                <a:pos x="connsiteX10178" y="connsiteY10178"/>
              </a:cxn>
              <a:cxn ang="0">
                <a:pos x="connsiteX10179" y="connsiteY10179"/>
              </a:cxn>
              <a:cxn ang="0">
                <a:pos x="connsiteX10180" y="connsiteY10180"/>
              </a:cxn>
              <a:cxn ang="0">
                <a:pos x="connsiteX10181" y="connsiteY10181"/>
              </a:cxn>
              <a:cxn ang="0">
                <a:pos x="connsiteX10182" y="connsiteY10182"/>
              </a:cxn>
              <a:cxn ang="0">
                <a:pos x="connsiteX10183" y="connsiteY10183"/>
              </a:cxn>
              <a:cxn ang="0">
                <a:pos x="connsiteX10184" y="connsiteY10184"/>
              </a:cxn>
              <a:cxn ang="0">
                <a:pos x="connsiteX10185" y="connsiteY10185"/>
              </a:cxn>
              <a:cxn ang="0">
                <a:pos x="connsiteX10186" y="connsiteY10186"/>
              </a:cxn>
              <a:cxn ang="0">
                <a:pos x="connsiteX10187" y="connsiteY10187"/>
              </a:cxn>
              <a:cxn ang="0">
                <a:pos x="connsiteX10188" y="connsiteY10188"/>
              </a:cxn>
              <a:cxn ang="0">
                <a:pos x="connsiteX10189" y="connsiteY10189"/>
              </a:cxn>
              <a:cxn ang="0">
                <a:pos x="connsiteX10190" y="connsiteY10190"/>
              </a:cxn>
              <a:cxn ang="0">
                <a:pos x="connsiteX10191" y="connsiteY10191"/>
              </a:cxn>
              <a:cxn ang="0">
                <a:pos x="connsiteX10192" y="connsiteY10192"/>
              </a:cxn>
              <a:cxn ang="0">
                <a:pos x="connsiteX10193" y="connsiteY10193"/>
              </a:cxn>
              <a:cxn ang="0">
                <a:pos x="connsiteX10194" y="connsiteY10194"/>
              </a:cxn>
              <a:cxn ang="0">
                <a:pos x="connsiteX10195" y="connsiteY10195"/>
              </a:cxn>
              <a:cxn ang="0">
                <a:pos x="connsiteX10196" y="connsiteY10196"/>
              </a:cxn>
              <a:cxn ang="0">
                <a:pos x="connsiteX10197" y="connsiteY10197"/>
              </a:cxn>
              <a:cxn ang="0">
                <a:pos x="connsiteX10198" y="connsiteY10198"/>
              </a:cxn>
              <a:cxn ang="0">
                <a:pos x="connsiteX10199" y="connsiteY10199"/>
              </a:cxn>
              <a:cxn ang="0">
                <a:pos x="connsiteX10200" y="connsiteY10200"/>
              </a:cxn>
              <a:cxn ang="0">
                <a:pos x="connsiteX10201" y="connsiteY10201"/>
              </a:cxn>
              <a:cxn ang="0">
                <a:pos x="connsiteX10202" y="connsiteY10202"/>
              </a:cxn>
              <a:cxn ang="0">
                <a:pos x="connsiteX10203" y="connsiteY10203"/>
              </a:cxn>
              <a:cxn ang="0">
                <a:pos x="connsiteX10204" y="connsiteY10204"/>
              </a:cxn>
              <a:cxn ang="0">
                <a:pos x="connsiteX10205" y="connsiteY10205"/>
              </a:cxn>
              <a:cxn ang="0">
                <a:pos x="connsiteX10206" y="connsiteY10206"/>
              </a:cxn>
              <a:cxn ang="0">
                <a:pos x="connsiteX10207" y="connsiteY10207"/>
              </a:cxn>
              <a:cxn ang="0">
                <a:pos x="connsiteX10208" y="connsiteY10208"/>
              </a:cxn>
              <a:cxn ang="0">
                <a:pos x="connsiteX10209" y="connsiteY10209"/>
              </a:cxn>
              <a:cxn ang="0">
                <a:pos x="connsiteX10210" y="connsiteY10210"/>
              </a:cxn>
              <a:cxn ang="0">
                <a:pos x="connsiteX10211" y="connsiteY10211"/>
              </a:cxn>
              <a:cxn ang="0">
                <a:pos x="connsiteX10212" y="connsiteY10212"/>
              </a:cxn>
              <a:cxn ang="0">
                <a:pos x="connsiteX10213" y="connsiteY10213"/>
              </a:cxn>
              <a:cxn ang="0">
                <a:pos x="connsiteX10214" y="connsiteY10214"/>
              </a:cxn>
              <a:cxn ang="0">
                <a:pos x="connsiteX10215" y="connsiteY10215"/>
              </a:cxn>
              <a:cxn ang="0">
                <a:pos x="connsiteX10216" y="connsiteY10216"/>
              </a:cxn>
              <a:cxn ang="0">
                <a:pos x="connsiteX10217" y="connsiteY10217"/>
              </a:cxn>
              <a:cxn ang="0">
                <a:pos x="connsiteX10218" y="connsiteY10218"/>
              </a:cxn>
              <a:cxn ang="0">
                <a:pos x="connsiteX10219" y="connsiteY10219"/>
              </a:cxn>
              <a:cxn ang="0">
                <a:pos x="connsiteX10220" y="connsiteY10220"/>
              </a:cxn>
              <a:cxn ang="0">
                <a:pos x="connsiteX10221" y="connsiteY10221"/>
              </a:cxn>
              <a:cxn ang="0">
                <a:pos x="connsiteX10222" y="connsiteY10222"/>
              </a:cxn>
              <a:cxn ang="0">
                <a:pos x="connsiteX10223" y="connsiteY10223"/>
              </a:cxn>
              <a:cxn ang="0">
                <a:pos x="connsiteX10224" y="connsiteY10224"/>
              </a:cxn>
              <a:cxn ang="0">
                <a:pos x="connsiteX10225" y="connsiteY10225"/>
              </a:cxn>
              <a:cxn ang="0">
                <a:pos x="connsiteX10226" y="connsiteY10226"/>
              </a:cxn>
              <a:cxn ang="0">
                <a:pos x="connsiteX10227" y="connsiteY10227"/>
              </a:cxn>
              <a:cxn ang="0">
                <a:pos x="connsiteX10228" y="connsiteY10228"/>
              </a:cxn>
              <a:cxn ang="0">
                <a:pos x="connsiteX10229" y="connsiteY10229"/>
              </a:cxn>
              <a:cxn ang="0">
                <a:pos x="connsiteX10230" y="connsiteY10230"/>
              </a:cxn>
              <a:cxn ang="0">
                <a:pos x="connsiteX10231" y="connsiteY10231"/>
              </a:cxn>
              <a:cxn ang="0">
                <a:pos x="connsiteX10232" y="connsiteY10232"/>
              </a:cxn>
              <a:cxn ang="0">
                <a:pos x="connsiteX10233" y="connsiteY10233"/>
              </a:cxn>
              <a:cxn ang="0">
                <a:pos x="connsiteX10234" y="connsiteY10234"/>
              </a:cxn>
              <a:cxn ang="0">
                <a:pos x="connsiteX10235" y="connsiteY10235"/>
              </a:cxn>
              <a:cxn ang="0">
                <a:pos x="connsiteX10236" y="connsiteY10236"/>
              </a:cxn>
              <a:cxn ang="0">
                <a:pos x="connsiteX10237" y="connsiteY10237"/>
              </a:cxn>
              <a:cxn ang="0">
                <a:pos x="connsiteX10238" y="connsiteY10238"/>
              </a:cxn>
              <a:cxn ang="0">
                <a:pos x="connsiteX10239" y="connsiteY10239"/>
              </a:cxn>
              <a:cxn ang="0">
                <a:pos x="connsiteX10240" y="connsiteY10240"/>
              </a:cxn>
              <a:cxn ang="0">
                <a:pos x="connsiteX10241" y="connsiteY10241"/>
              </a:cxn>
              <a:cxn ang="0">
                <a:pos x="connsiteX10242" y="connsiteY10242"/>
              </a:cxn>
              <a:cxn ang="0">
                <a:pos x="connsiteX10243" y="connsiteY10243"/>
              </a:cxn>
              <a:cxn ang="0">
                <a:pos x="connsiteX10244" y="connsiteY10244"/>
              </a:cxn>
              <a:cxn ang="0">
                <a:pos x="connsiteX10245" y="connsiteY10245"/>
              </a:cxn>
              <a:cxn ang="0">
                <a:pos x="connsiteX10246" y="connsiteY10246"/>
              </a:cxn>
              <a:cxn ang="0">
                <a:pos x="connsiteX10247" y="connsiteY10247"/>
              </a:cxn>
              <a:cxn ang="0">
                <a:pos x="connsiteX10248" y="connsiteY10248"/>
              </a:cxn>
              <a:cxn ang="0">
                <a:pos x="connsiteX10249" y="connsiteY10249"/>
              </a:cxn>
              <a:cxn ang="0">
                <a:pos x="connsiteX10250" y="connsiteY10250"/>
              </a:cxn>
              <a:cxn ang="0">
                <a:pos x="connsiteX10251" y="connsiteY10251"/>
              </a:cxn>
              <a:cxn ang="0">
                <a:pos x="connsiteX10252" y="connsiteY10252"/>
              </a:cxn>
              <a:cxn ang="0">
                <a:pos x="connsiteX10253" y="connsiteY10253"/>
              </a:cxn>
              <a:cxn ang="0">
                <a:pos x="connsiteX10254" y="connsiteY10254"/>
              </a:cxn>
              <a:cxn ang="0">
                <a:pos x="connsiteX10255" y="connsiteY10255"/>
              </a:cxn>
              <a:cxn ang="0">
                <a:pos x="connsiteX10256" y="connsiteY10256"/>
              </a:cxn>
              <a:cxn ang="0">
                <a:pos x="connsiteX10257" y="connsiteY10257"/>
              </a:cxn>
              <a:cxn ang="0">
                <a:pos x="connsiteX10258" y="connsiteY10258"/>
              </a:cxn>
              <a:cxn ang="0">
                <a:pos x="connsiteX10259" y="connsiteY10259"/>
              </a:cxn>
              <a:cxn ang="0">
                <a:pos x="connsiteX10260" y="connsiteY10260"/>
              </a:cxn>
              <a:cxn ang="0">
                <a:pos x="connsiteX10261" y="connsiteY10261"/>
              </a:cxn>
              <a:cxn ang="0">
                <a:pos x="connsiteX10262" y="connsiteY10262"/>
              </a:cxn>
              <a:cxn ang="0">
                <a:pos x="connsiteX10263" y="connsiteY10263"/>
              </a:cxn>
              <a:cxn ang="0">
                <a:pos x="connsiteX10264" y="connsiteY10264"/>
              </a:cxn>
              <a:cxn ang="0">
                <a:pos x="connsiteX10265" y="connsiteY10265"/>
              </a:cxn>
              <a:cxn ang="0">
                <a:pos x="connsiteX10266" y="connsiteY10266"/>
              </a:cxn>
              <a:cxn ang="0">
                <a:pos x="connsiteX10267" y="connsiteY10267"/>
              </a:cxn>
              <a:cxn ang="0">
                <a:pos x="connsiteX10268" y="connsiteY10268"/>
              </a:cxn>
              <a:cxn ang="0">
                <a:pos x="connsiteX10269" y="connsiteY10269"/>
              </a:cxn>
              <a:cxn ang="0">
                <a:pos x="connsiteX10270" y="connsiteY10270"/>
              </a:cxn>
              <a:cxn ang="0">
                <a:pos x="connsiteX10271" y="connsiteY10271"/>
              </a:cxn>
              <a:cxn ang="0">
                <a:pos x="connsiteX10272" y="connsiteY10272"/>
              </a:cxn>
              <a:cxn ang="0">
                <a:pos x="connsiteX10273" y="connsiteY10273"/>
              </a:cxn>
              <a:cxn ang="0">
                <a:pos x="connsiteX10274" y="connsiteY10274"/>
              </a:cxn>
              <a:cxn ang="0">
                <a:pos x="connsiteX10275" y="connsiteY10275"/>
              </a:cxn>
              <a:cxn ang="0">
                <a:pos x="connsiteX10276" y="connsiteY10276"/>
              </a:cxn>
              <a:cxn ang="0">
                <a:pos x="connsiteX10277" y="connsiteY10277"/>
              </a:cxn>
              <a:cxn ang="0">
                <a:pos x="connsiteX10278" y="connsiteY10278"/>
              </a:cxn>
              <a:cxn ang="0">
                <a:pos x="connsiteX10279" y="connsiteY10279"/>
              </a:cxn>
              <a:cxn ang="0">
                <a:pos x="connsiteX10280" y="connsiteY10280"/>
              </a:cxn>
              <a:cxn ang="0">
                <a:pos x="connsiteX10281" y="connsiteY10281"/>
              </a:cxn>
              <a:cxn ang="0">
                <a:pos x="connsiteX10282" y="connsiteY10282"/>
              </a:cxn>
              <a:cxn ang="0">
                <a:pos x="connsiteX10283" y="connsiteY10283"/>
              </a:cxn>
              <a:cxn ang="0">
                <a:pos x="connsiteX10284" y="connsiteY10284"/>
              </a:cxn>
              <a:cxn ang="0">
                <a:pos x="connsiteX10285" y="connsiteY10285"/>
              </a:cxn>
              <a:cxn ang="0">
                <a:pos x="connsiteX10286" y="connsiteY10286"/>
              </a:cxn>
              <a:cxn ang="0">
                <a:pos x="connsiteX10287" y="connsiteY10287"/>
              </a:cxn>
              <a:cxn ang="0">
                <a:pos x="connsiteX10288" y="connsiteY10288"/>
              </a:cxn>
              <a:cxn ang="0">
                <a:pos x="connsiteX10289" y="connsiteY10289"/>
              </a:cxn>
              <a:cxn ang="0">
                <a:pos x="connsiteX10290" y="connsiteY10290"/>
              </a:cxn>
              <a:cxn ang="0">
                <a:pos x="connsiteX10291" y="connsiteY10291"/>
              </a:cxn>
              <a:cxn ang="0">
                <a:pos x="connsiteX10292" y="connsiteY10292"/>
              </a:cxn>
              <a:cxn ang="0">
                <a:pos x="connsiteX10293" y="connsiteY10293"/>
              </a:cxn>
              <a:cxn ang="0">
                <a:pos x="connsiteX10294" y="connsiteY10294"/>
              </a:cxn>
              <a:cxn ang="0">
                <a:pos x="connsiteX10295" y="connsiteY10295"/>
              </a:cxn>
              <a:cxn ang="0">
                <a:pos x="connsiteX10296" y="connsiteY10296"/>
              </a:cxn>
              <a:cxn ang="0">
                <a:pos x="connsiteX10297" y="connsiteY10297"/>
              </a:cxn>
              <a:cxn ang="0">
                <a:pos x="connsiteX10298" y="connsiteY10298"/>
              </a:cxn>
              <a:cxn ang="0">
                <a:pos x="connsiteX10299" y="connsiteY10299"/>
              </a:cxn>
              <a:cxn ang="0">
                <a:pos x="connsiteX10300" y="connsiteY10300"/>
              </a:cxn>
              <a:cxn ang="0">
                <a:pos x="connsiteX10301" y="connsiteY10301"/>
              </a:cxn>
              <a:cxn ang="0">
                <a:pos x="connsiteX10302" y="connsiteY10302"/>
              </a:cxn>
              <a:cxn ang="0">
                <a:pos x="connsiteX10303" y="connsiteY10303"/>
              </a:cxn>
              <a:cxn ang="0">
                <a:pos x="connsiteX10304" y="connsiteY10304"/>
              </a:cxn>
              <a:cxn ang="0">
                <a:pos x="connsiteX10305" y="connsiteY10305"/>
              </a:cxn>
              <a:cxn ang="0">
                <a:pos x="connsiteX10306" y="connsiteY10306"/>
              </a:cxn>
              <a:cxn ang="0">
                <a:pos x="connsiteX10307" y="connsiteY10307"/>
              </a:cxn>
              <a:cxn ang="0">
                <a:pos x="connsiteX10308" y="connsiteY10308"/>
              </a:cxn>
              <a:cxn ang="0">
                <a:pos x="connsiteX10309" y="connsiteY10309"/>
              </a:cxn>
              <a:cxn ang="0">
                <a:pos x="connsiteX10310" y="connsiteY10310"/>
              </a:cxn>
              <a:cxn ang="0">
                <a:pos x="connsiteX10311" y="connsiteY10311"/>
              </a:cxn>
              <a:cxn ang="0">
                <a:pos x="connsiteX10312" y="connsiteY10312"/>
              </a:cxn>
              <a:cxn ang="0">
                <a:pos x="connsiteX10313" y="connsiteY10313"/>
              </a:cxn>
              <a:cxn ang="0">
                <a:pos x="connsiteX10314" y="connsiteY10314"/>
              </a:cxn>
              <a:cxn ang="0">
                <a:pos x="connsiteX10315" y="connsiteY10315"/>
              </a:cxn>
              <a:cxn ang="0">
                <a:pos x="connsiteX10316" y="connsiteY10316"/>
              </a:cxn>
              <a:cxn ang="0">
                <a:pos x="connsiteX10317" y="connsiteY10317"/>
              </a:cxn>
              <a:cxn ang="0">
                <a:pos x="connsiteX10318" y="connsiteY10318"/>
              </a:cxn>
              <a:cxn ang="0">
                <a:pos x="connsiteX10319" y="connsiteY10319"/>
              </a:cxn>
              <a:cxn ang="0">
                <a:pos x="connsiteX10320" y="connsiteY10320"/>
              </a:cxn>
              <a:cxn ang="0">
                <a:pos x="connsiteX10321" y="connsiteY10321"/>
              </a:cxn>
              <a:cxn ang="0">
                <a:pos x="connsiteX10322" y="connsiteY10322"/>
              </a:cxn>
              <a:cxn ang="0">
                <a:pos x="connsiteX10323" y="connsiteY10323"/>
              </a:cxn>
              <a:cxn ang="0">
                <a:pos x="connsiteX10324" y="connsiteY10324"/>
              </a:cxn>
              <a:cxn ang="0">
                <a:pos x="connsiteX10325" y="connsiteY10325"/>
              </a:cxn>
              <a:cxn ang="0">
                <a:pos x="connsiteX10326" y="connsiteY10326"/>
              </a:cxn>
              <a:cxn ang="0">
                <a:pos x="connsiteX10327" y="connsiteY10327"/>
              </a:cxn>
              <a:cxn ang="0">
                <a:pos x="connsiteX10328" y="connsiteY10328"/>
              </a:cxn>
              <a:cxn ang="0">
                <a:pos x="connsiteX10329" y="connsiteY10329"/>
              </a:cxn>
              <a:cxn ang="0">
                <a:pos x="connsiteX10330" y="connsiteY10330"/>
              </a:cxn>
              <a:cxn ang="0">
                <a:pos x="connsiteX10331" y="connsiteY10331"/>
              </a:cxn>
              <a:cxn ang="0">
                <a:pos x="connsiteX10332" y="connsiteY10332"/>
              </a:cxn>
              <a:cxn ang="0">
                <a:pos x="connsiteX10333" y="connsiteY10333"/>
              </a:cxn>
              <a:cxn ang="0">
                <a:pos x="connsiteX10334" y="connsiteY10334"/>
              </a:cxn>
              <a:cxn ang="0">
                <a:pos x="connsiteX10335" y="connsiteY10335"/>
              </a:cxn>
              <a:cxn ang="0">
                <a:pos x="connsiteX10336" y="connsiteY10336"/>
              </a:cxn>
              <a:cxn ang="0">
                <a:pos x="connsiteX10337" y="connsiteY10337"/>
              </a:cxn>
              <a:cxn ang="0">
                <a:pos x="connsiteX10338" y="connsiteY10338"/>
              </a:cxn>
              <a:cxn ang="0">
                <a:pos x="connsiteX10339" y="connsiteY10339"/>
              </a:cxn>
              <a:cxn ang="0">
                <a:pos x="connsiteX10340" y="connsiteY10340"/>
              </a:cxn>
              <a:cxn ang="0">
                <a:pos x="connsiteX10341" y="connsiteY10341"/>
              </a:cxn>
              <a:cxn ang="0">
                <a:pos x="connsiteX10342" y="connsiteY10342"/>
              </a:cxn>
              <a:cxn ang="0">
                <a:pos x="connsiteX10343" y="connsiteY10343"/>
              </a:cxn>
              <a:cxn ang="0">
                <a:pos x="connsiteX10344" y="connsiteY10344"/>
              </a:cxn>
              <a:cxn ang="0">
                <a:pos x="connsiteX10345" y="connsiteY10345"/>
              </a:cxn>
              <a:cxn ang="0">
                <a:pos x="connsiteX10346" y="connsiteY10346"/>
              </a:cxn>
              <a:cxn ang="0">
                <a:pos x="connsiteX10347" y="connsiteY10347"/>
              </a:cxn>
              <a:cxn ang="0">
                <a:pos x="connsiteX10348" y="connsiteY10348"/>
              </a:cxn>
              <a:cxn ang="0">
                <a:pos x="connsiteX10349" y="connsiteY10349"/>
              </a:cxn>
              <a:cxn ang="0">
                <a:pos x="connsiteX10350" y="connsiteY10350"/>
              </a:cxn>
              <a:cxn ang="0">
                <a:pos x="connsiteX10351" y="connsiteY10351"/>
              </a:cxn>
              <a:cxn ang="0">
                <a:pos x="connsiteX10352" y="connsiteY10352"/>
              </a:cxn>
              <a:cxn ang="0">
                <a:pos x="connsiteX10353" y="connsiteY10353"/>
              </a:cxn>
              <a:cxn ang="0">
                <a:pos x="connsiteX10354" y="connsiteY10354"/>
              </a:cxn>
              <a:cxn ang="0">
                <a:pos x="connsiteX10355" y="connsiteY10355"/>
              </a:cxn>
              <a:cxn ang="0">
                <a:pos x="connsiteX10356" y="connsiteY10356"/>
              </a:cxn>
              <a:cxn ang="0">
                <a:pos x="connsiteX10357" y="connsiteY10357"/>
              </a:cxn>
              <a:cxn ang="0">
                <a:pos x="connsiteX10358" y="connsiteY10358"/>
              </a:cxn>
              <a:cxn ang="0">
                <a:pos x="connsiteX10359" y="connsiteY10359"/>
              </a:cxn>
              <a:cxn ang="0">
                <a:pos x="connsiteX10360" y="connsiteY10360"/>
              </a:cxn>
              <a:cxn ang="0">
                <a:pos x="connsiteX10361" y="connsiteY10361"/>
              </a:cxn>
              <a:cxn ang="0">
                <a:pos x="connsiteX10362" y="connsiteY10362"/>
              </a:cxn>
              <a:cxn ang="0">
                <a:pos x="connsiteX10363" y="connsiteY10363"/>
              </a:cxn>
              <a:cxn ang="0">
                <a:pos x="connsiteX10364" y="connsiteY10364"/>
              </a:cxn>
              <a:cxn ang="0">
                <a:pos x="connsiteX10365" y="connsiteY10365"/>
              </a:cxn>
              <a:cxn ang="0">
                <a:pos x="connsiteX10366" y="connsiteY10366"/>
              </a:cxn>
              <a:cxn ang="0">
                <a:pos x="connsiteX10367" y="connsiteY10367"/>
              </a:cxn>
              <a:cxn ang="0">
                <a:pos x="connsiteX10368" y="connsiteY10368"/>
              </a:cxn>
              <a:cxn ang="0">
                <a:pos x="connsiteX10369" y="connsiteY10369"/>
              </a:cxn>
              <a:cxn ang="0">
                <a:pos x="connsiteX10370" y="connsiteY10370"/>
              </a:cxn>
              <a:cxn ang="0">
                <a:pos x="connsiteX10371" y="connsiteY10371"/>
              </a:cxn>
              <a:cxn ang="0">
                <a:pos x="connsiteX10372" y="connsiteY10372"/>
              </a:cxn>
              <a:cxn ang="0">
                <a:pos x="connsiteX10373" y="connsiteY10373"/>
              </a:cxn>
              <a:cxn ang="0">
                <a:pos x="connsiteX10374" y="connsiteY10374"/>
              </a:cxn>
              <a:cxn ang="0">
                <a:pos x="connsiteX10375" y="connsiteY10375"/>
              </a:cxn>
              <a:cxn ang="0">
                <a:pos x="connsiteX10376" y="connsiteY10376"/>
              </a:cxn>
              <a:cxn ang="0">
                <a:pos x="connsiteX10377" y="connsiteY10377"/>
              </a:cxn>
              <a:cxn ang="0">
                <a:pos x="connsiteX10378" y="connsiteY10378"/>
              </a:cxn>
              <a:cxn ang="0">
                <a:pos x="connsiteX10379" y="connsiteY10379"/>
              </a:cxn>
              <a:cxn ang="0">
                <a:pos x="connsiteX10380" y="connsiteY10380"/>
              </a:cxn>
              <a:cxn ang="0">
                <a:pos x="connsiteX10381" y="connsiteY10381"/>
              </a:cxn>
              <a:cxn ang="0">
                <a:pos x="connsiteX10382" y="connsiteY10382"/>
              </a:cxn>
              <a:cxn ang="0">
                <a:pos x="connsiteX10383" y="connsiteY10383"/>
              </a:cxn>
              <a:cxn ang="0">
                <a:pos x="connsiteX10384" y="connsiteY10384"/>
              </a:cxn>
              <a:cxn ang="0">
                <a:pos x="connsiteX10385" y="connsiteY10385"/>
              </a:cxn>
              <a:cxn ang="0">
                <a:pos x="connsiteX10386" y="connsiteY10386"/>
              </a:cxn>
              <a:cxn ang="0">
                <a:pos x="connsiteX10387" y="connsiteY10387"/>
              </a:cxn>
              <a:cxn ang="0">
                <a:pos x="connsiteX10388" y="connsiteY10388"/>
              </a:cxn>
              <a:cxn ang="0">
                <a:pos x="connsiteX10389" y="connsiteY10389"/>
              </a:cxn>
              <a:cxn ang="0">
                <a:pos x="connsiteX10390" y="connsiteY10390"/>
              </a:cxn>
              <a:cxn ang="0">
                <a:pos x="connsiteX10391" y="connsiteY10391"/>
              </a:cxn>
              <a:cxn ang="0">
                <a:pos x="connsiteX10392" y="connsiteY10392"/>
              </a:cxn>
              <a:cxn ang="0">
                <a:pos x="connsiteX10393" y="connsiteY10393"/>
              </a:cxn>
              <a:cxn ang="0">
                <a:pos x="connsiteX10394" y="connsiteY10394"/>
              </a:cxn>
              <a:cxn ang="0">
                <a:pos x="connsiteX10395" y="connsiteY10395"/>
              </a:cxn>
              <a:cxn ang="0">
                <a:pos x="connsiteX10396" y="connsiteY10396"/>
              </a:cxn>
              <a:cxn ang="0">
                <a:pos x="connsiteX10397" y="connsiteY10397"/>
              </a:cxn>
              <a:cxn ang="0">
                <a:pos x="connsiteX10398" y="connsiteY10398"/>
              </a:cxn>
              <a:cxn ang="0">
                <a:pos x="connsiteX10399" y="connsiteY10399"/>
              </a:cxn>
              <a:cxn ang="0">
                <a:pos x="connsiteX10400" y="connsiteY10400"/>
              </a:cxn>
              <a:cxn ang="0">
                <a:pos x="connsiteX10401" y="connsiteY10401"/>
              </a:cxn>
              <a:cxn ang="0">
                <a:pos x="connsiteX10402" y="connsiteY10402"/>
              </a:cxn>
              <a:cxn ang="0">
                <a:pos x="connsiteX10403" y="connsiteY10403"/>
              </a:cxn>
              <a:cxn ang="0">
                <a:pos x="connsiteX10404" y="connsiteY10404"/>
              </a:cxn>
              <a:cxn ang="0">
                <a:pos x="connsiteX10405" y="connsiteY10405"/>
              </a:cxn>
              <a:cxn ang="0">
                <a:pos x="connsiteX10406" y="connsiteY10406"/>
              </a:cxn>
              <a:cxn ang="0">
                <a:pos x="connsiteX10407" y="connsiteY10407"/>
              </a:cxn>
              <a:cxn ang="0">
                <a:pos x="connsiteX10408" y="connsiteY10408"/>
              </a:cxn>
              <a:cxn ang="0">
                <a:pos x="connsiteX10409" y="connsiteY10409"/>
              </a:cxn>
              <a:cxn ang="0">
                <a:pos x="connsiteX10410" y="connsiteY10410"/>
              </a:cxn>
              <a:cxn ang="0">
                <a:pos x="connsiteX10411" y="connsiteY10411"/>
              </a:cxn>
              <a:cxn ang="0">
                <a:pos x="connsiteX10412" y="connsiteY10412"/>
              </a:cxn>
              <a:cxn ang="0">
                <a:pos x="connsiteX10413" y="connsiteY10413"/>
              </a:cxn>
              <a:cxn ang="0">
                <a:pos x="connsiteX10414" y="connsiteY10414"/>
              </a:cxn>
              <a:cxn ang="0">
                <a:pos x="connsiteX10415" y="connsiteY10415"/>
              </a:cxn>
              <a:cxn ang="0">
                <a:pos x="connsiteX10416" y="connsiteY10416"/>
              </a:cxn>
              <a:cxn ang="0">
                <a:pos x="connsiteX10417" y="connsiteY10417"/>
              </a:cxn>
              <a:cxn ang="0">
                <a:pos x="connsiteX10418" y="connsiteY10418"/>
              </a:cxn>
              <a:cxn ang="0">
                <a:pos x="connsiteX10419" y="connsiteY10419"/>
              </a:cxn>
              <a:cxn ang="0">
                <a:pos x="connsiteX10420" y="connsiteY10420"/>
              </a:cxn>
              <a:cxn ang="0">
                <a:pos x="connsiteX10421" y="connsiteY10421"/>
              </a:cxn>
              <a:cxn ang="0">
                <a:pos x="connsiteX10422" y="connsiteY10422"/>
              </a:cxn>
              <a:cxn ang="0">
                <a:pos x="connsiteX10423" y="connsiteY10423"/>
              </a:cxn>
              <a:cxn ang="0">
                <a:pos x="connsiteX10424" y="connsiteY10424"/>
              </a:cxn>
              <a:cxn ang="0">
                <a:pos x="connsiteX10425" y="connsiteY10425"/>
              </a:cxn>
              <a:cxn ang="0">
                <a:pos x="connsiteX10426" y="connsiteY10426"/>
              </a:cxn>
              <a:cxn ang="0">
                <a:pos x="connsiteX10427" y="connsiteY10427"/>
              </a:cxn>
              <a:cxn ang="0">
                <a:pos x="connsiteX10428" y="connsiteY10428"/>
              </a:cxn>
              <a:cxn ang="0">
                <a:pos x="connsiteX10429" y="connsiteY10429"/>
              </a:cxn>
              <a:cxn ang="0">
                <a:pos x="connsiteX10430" y="connsiteY10430"/>
              </a:cxn>
              <a:cxn ang="0">
                <a:pos x="connsiteX10431" y="connsiteY10431"/>
              </a:cxn>
              <a:cxn ang="0">
                <a:pos x="connsiteX10432" y="connsiteY10432"/>
              </a:cxn>
              <a:cxn ang="0">
                <a:pos x="connsiteX10433" y="connsiteY10433"/>
              </a:cxn>
              <a:cxn ang="0">
                <a:pos x="connsiteX10434" y="connsiteY10434"/>
              </a:cxn>
              <a:cxn ang="0">
                <a:pos x="connsiteX10435" y="connsiteY10435"/>
              </a:cxn>
              <a:cxn ang="0">
                <a:pos x="connsiteX10436" y="connsiteY10436"/>
              </a:cxn>
              <a:cxn ang="0">
                <a:pos x="connsiteX10437" y="connsiteY10437"/>
              </a:cxn>
              <a:cxn ang="0">
                <a:pos x="connsiteX10438" y="connsiteY10438"/>
              </a:cxn>
              <a:cxn ang="0">
                <a:pos x="connsiteX10439" y="connsiteY10439"/>
              </a:cxn>
              <a:cxn ang="0">
                <a:pos x="connsiteX10440" y="connsiteY10440"/>
              </a:cxn>
              <a:cxn ang="0">
                <a:pos x="connsiteX10441" y="connsiteY10441"/>
              </a:cxn>
              <a:cxn ang="0">
                <a:pos x="connsiteX10442" y="connsiteY10442"/>
              </a:cxn>
              <a:cxn ang="0">
                <a:pos x="connsiteX10443" y="connsiteY10443"/>
              </a:cxn>
              <a:cxn ang="0">
                <a:pos x="connsiteX10444" y="connsiteY10444"/>
              </a:cxn>
              <a:cxn ang="0">
                <a:pos x="connsiteX10445" y="connsiteY10445"/>
              </a:cxn>
              <a:cxn ang="0">
                <a:pos x="connsiteX10446" y="connsiteY10446"/>
              </a:cxn>
              <a:cxn ang="0">
                <a:pos x="connsiteX10447" y="connsiteY10447"/>
              </a:cxn>
              <a:cxn ang="0">
                <a:pos x="connsiteX10448" y="connsiteY10448"/>
              </a:cxn>
              <a:cxn ang="0">
                <a:pos x="connsiteX10449" y="connsiteY10449"/>
              </a:cxn>
              <a:cxn ang="0">
                <a:pos x="connsiteX10450" y="connsiteY10450"/>
              </a:cxn>
              <a:cxn ang="0">
                <a:pos x="connsiteX10451" y="connsiteY10451"/>
              </a:cxn>
              <a:cxn ang="0">
                <a:pos x="connsiteX10452" y="connsiteY10452"/>
              </a:cxn>
              <a:cxn ang="0">
                <a:pos x="connsiteX10453" y="connsiteY10453"/>
              </a:cxn>
              <a:cxn ang="0">
                <a:pos x="connsiteX10454" y="connsiteY10454"/>
              </a:cxn>
              <a:cxn ang="0">
                <a:pos x="connsiteX10455" y="connsiteY10455"/>
              </a:cxn>
              <a:cxn ang="0">
                <a:pos x="connsiteX10456" y="connsiteY10456"/>
              </a:cxn>
              <a:cxn ang="0">
                <a:pos x="connsiteX10457" y="connsiteY10457"/>
              </a:cxn>
              <a:cxn ang="0">
                <a:pos x="connsiteX10458" y="connsiteY10458"/>
              </a:cxn>
              <a:cxn ang="0">
                <a:pos x="connsiteX10459" y="connsiteY10459"/>
              </a:cxn>
              <a:cxn ang="0">
                <a:pos x="connsiteX10460" y="connsiteY10460"/>
              </a:cxn>
              <a:cxn ang="0">
                <a:pos x="connsiteX10461" y="connsiteY10461"/>
              </a:cxn>
              <a:cxn ang="0">
                <a:pos x="connsiteX10462" y="connsiteY10462"/>
              </a:cxn>
              <a:cxn ang="0">
                <a:pos x="connsiteX10463" y="connsiteY10463"/>
              </a:cxn>
              <a:cxn ang="0">
                <a:pos x="connsiteX10464" y="connsiteY10464"/>
              </a:cxn>
              <a:cxn ang="0">
                <a:pos x="connsiteX10465" y="connsiteY10465"/>
              </a:cxn>
              <a:cxn ang="0">
                <a:pos x="connsiteX10466" y="connsiteY10466"/>
              </a:cxn>
              <a:cxn ang="0">
                <a:pos x="connsiteX10467" y="connsiteY10467"/>
              </a:cxn>
              <a:cxn ang="0">
                <a:pos x="connsiteX10468" y="connsiteY10468"/>
              </a:cxn>
              <a:cxn ang="0">
                <a:pos x="connsiteX10469" y="connsiteY10469"/>
              </a:cxn>
              <a:cxn ang="0">
                <a:pos x="connsiteX10470" y="connsiteY10470"/>
              </a:cxn>
              <a:cxn ang="0">
                <a:pos x="connsiteX10471" y="connsiteY10471"/>
              </a:cxn>
              <a:cxn ang="0">
                <a:pos x="connsiteX10472" y="connsiteY10472"/>
              </a:cxn>
              <a:cxn ang="0">
                <a:pos x="connsiteX10473" y="connsiteY10473"/>
              </a:cxn>
              <a:cxn ang="0">
                <a:pos x="connsiteX10474" y="connsiteY10474"/>
              </a:cxn>
              <a:cxn ang="0">
                <a:pos x="connsiteX10475" y="connsiteY10475"/>
              </a:cxn>
              <a:cxn ang="0">
                <a:pos x="connsiteX10476" y="connsiteY10476"/>
              </a:cxn>
              <a:cxn ang="0">
                <a:pos x="connsiteX10477" y="connsiteY10477"/>
              </a:cxn>
              <a:cxn ang="0">
                <a:pos x="connsiteX10478" y="connsiteY10478"/>
              </a:cxn>
              <a:cxn ang="0">
                <a:pos x="connsiteX10479" y="connsiteY10479"/>
              </a:cxn>
              <a:cxn ang="0">
                <a:pos x="connsiteX10480" y="connsiteY10480"/>
              </a:cxn>
              <a:cxn ang="0">
                <a:pos x="connsiteX10481" y="connsiteY10481"/>
              </a:cxn>
              <a:cxn ang="0">
                <a:pos x="connsiteX10482" y="connsiteY10482"/>
              </a:cxn>
              <a:cxn ang="0">
                <a:pos x="connsiteX10483" y="connsiteY10483"/>
              </a:cxn>
              <a:cxn ang="0">
                <a:pos x="connsiteX10484" y="connsiteY10484"/>
              </a:cxn>
              <a:cxn ang="0">
                <a:pos x="connsiteX10485" y="connsiteY10485"/>
              </a:cxn>
              <a:cxn ang="0">
                <a:pos x="connsiteX10486" y="connsiteY10486"/>
              </a:cxn>
              <a:cxn ang="0">
                <a:pos x="connsiteX10487" y="connsiteY10487"/>
              </a:cxn>
              <a:cxn ang="0">
                <a:pos x="connsiteX10488" y="connsiteY10488"/>
              </a:cxn>
              <a:cxn ang="0">
                <a:pos x="connsiteX10489" y="connsiteY10489"/>
              </a:cxn>
              <a:cxn ang="0">
                <a:pos x="connsiteX10490" y="connsiteY10490"/>
              </a:cxn>
              <a:cxn ang="0">
                <a:pos x="connsiteX10491" y="connsiteY10491"/>
              </a:cxn>
              <a:cxn ang="0">
                <a:pos x="connsiteX10492" y="connsiteY10492"/>
              </a:cxn>
              <a:cxn ang="0">
                <a:pos x="connsiteX10493" y="connsiteY10493"/>
              </a:cxn>
              <a:cxn ang="0">
                <a:pos x="connsiteX10494" y="connsiteY10494"/>
              </a:cxn>
              <a:cxn ang="0">
                <a:pos x="connsiteX10495" y="connsiteY10495"/>
              </a:cxn>
              <a:cxn ang="0">
                <a:pos x="connsiteX10496" y="connsiteY10496"/>
              </a:cxn>
              <a:cxn ang="0">
                <a:pos x="connsiteX10497" y="connsiteY10497"/>
              </a:cxn>
              <a:cxn ang="0">
                <a:pos x="connsiteX10498" y="connsiteY10498"/>
              </a:cxn>
              <a:cxn ang="0">
                <a:pos x="connsiteX10499" y="connsiteY10499"/>
              </a:cxn>
              <a:cxn ang="0">
                <a:pos x="connsiteX10500" y="connsiteY10500"/>
              </a:cxn>
              <a:cxn ang="0">
                <a:pos x="connsiteX10501" y="connsiteY10501"/>
              </a:cxn>
              <a:cxn ang="0">
                <a:pos x="connsiteX10502" y="connsiteY10502"/>
              </a:cxn>
              <a:cxn ang="0">
                <a:pos x="connsiteX10503" y="connsiteY10503"/>
              </a:cxn>
              <a:cxn ang="0">
                <a:pos x="connsiteX10504" y="connsiteY10504"/>
              </a:cxn>
              <a:cxn ang="0">
                <a:pos x="connsiteX10505" y="connsiteY10505"/>
              </a:cxn>
              <a:cxn ang="0">
                <a:pos x="connsiteX10506" y="connsiteY10506"/>
              </a:cxn>
              <a:cxn ang="0">
                <a:pos x="connsiteX10507" y="connsiteY10507"/>
              </a:cxn>
              <a:cxn ang="0">
                <a:pos x="connsiteX10508" y="connsiteY10508"/>
              </a:cxn>
              <a:cxn ang="0">
                <a:pos x="connsiteX10509" y="connsiteY10509"/>
              </a:cxn>
              <a:cxn ang="0">
                <a:pos x="connsiteX10510" y="connsiteY10510"/>
              </a:cxn>
              <a:cxn ang="0">
                <a:pos x="connsiteX10511" y="connsiteY10511"/>
              </a:cxn>
              <a:cxn ang="0">
                <a:pos x="connsiteX10512" y="connsiteY10512"/>
              </a:cxn>
              <a:cxn ang="0">
                <a:pos x="connsiteX10513" y="connsiteY10513"/>
              </a:cxn>
              <a:cxn ang="0">
                <a:pos x="connsiteX10514" y="connsiteY10514"/>
              </a:cxn>
              <a:cxn ang="0">
                <a:pos x="connsiteX10515" y="connsiteY10515"/>
              </a:cxn>
              <a:cxn ang="0">
                <a:pos x="connsiteX10516" y="connsiteY10516"/>
              </a:cxn>
              <a:cxn ang="0">
                <a:pos x="connsiteX10517" y="connsiteY10517"/>
              </a:cxn>
              <a:cxn ang="0">
                <a:pos x="connsiteX10518" y="connsiteY10518"/>
              </a:cxn>
              <a:cxn ang="0">
                <a:pos x="connsiteX10519" y="connsiteY10519"/>
              </a:cxn>
              <a:cxn ang="0">
                <a:pos x="connsiteX10520" y="connsiteY10520"/>
              </a:cxn>
              <a:cxn ang="0">
                <a:pos x="connsiteX10521" y="connsiteY10521"/>
              </a:cxn>
              <a:cxn ang="0">
                <a:pos x="connsiteX10522" y="connsiteY10522"/>
              </a:cxn>
              <a:cxn ang="0">
                <a:pos x="connsiteX10523" y="connsiteY10523"/>
              </a:cxn>
              <a:cxn ang="0">
                <a:pos x="connsiteX10524" y="connsiteY10524"/>
              </a:cxn>
              <a:cxn ang="0">
                <a:pos x="connsiteX10525" y="connsiteY10525"/>
              </a:cxn>
              <a:cxn ang="0">
                <a:pos x="connsiteX10526" y="connsiteY10526"/>
              </a:cxn>
              <a:cxn ang="0">
                <a:pos x="connsiteX10527" y="connsiteY10527"/>
              </a:cxn>
              <a:cxn ang="0">
                <a:pos x="connsiteX10528" y="connsiteY10528"/>
              </a:cxn>
              <a:cxn ang="0">
                <a:pos x="connsiteX10529" y="connsiteY10529"/>
              </a:cxn>
              <a:cxn ang="0">
                <a:pos x="connsiteX10530" y="connsiteY10530"/>
              </a:cxn>
              <a:cxn ang="0">
                <a:pos x="connsiteX10531" y="connsiteY10531"/>
              </a:cxn>
              <a:cxn ang="0">
                <a:pos x="connsiteX10532" y="connsiteY10532"/>
              </a:cxn>
              <a:cxn ang="0">
                <a:pos x="connsiteX10533" y="connsiteY10533"/>
              </a:cxn>
              <a:cxn ang="0">
                <a:pos x="connsiteX10534" y="connsiteY10534"/>
              </a:cxn>
              <a:cxn ang="0">
                <a:pos x="connsiteX10535" y="connsiteY10535"/>
              </a:cxn>
              <a:cxn ang="0">
                <a:pos x="connsiteX10536" y="connsiteY10536"/>
              </a:cxn>
              <a:cxn ang="0">
                <a:pos x="connsiteX10537" y="connsiteY10537"/>
              </a:cxn>
              <a:cxn ang="0">
                <a:pos x="connsiteX10538" y="connsiteY10538"/>
              </a:cxn>
              <a:cxn ang="0">
                <a:pos x="connsiteX10539" y="connsiteY10539"/>
              </a:cxn>
              <a:cxn ang="0">
                <a:pos x="connsiteX10540" y="connsiteY10540"/>
              </a:cxn>
              <a:cxn ang="0">
                <a:pos x="connsiteX10541" y="connsiteY10541"/>
              </a:cxn>
              <a:cxn ang="0">
                <a:pos x="connsiteX10542" y="connsiteY10542"/>
              </a:cxn>
              <a:cxn ang="0">
                <a:pos x="connsiteX10543" y="connsiteY10543"/>
              </a:cxn>
              <a:cxn ang="0">
                <a:pos x="connsiteX10544" y="connsiteY10544"/>
              </a:cxn>
              <a:cxn ang="0">
                <a:pos x="connsiteX10545" y="connsiteY10545"/>
              </a:cxn>
              <a:cxn ang="0">
                <a:pos x="connsiteX10546" y="connsiteY10546"/>
              </a:cxn>
              <a:cxn ang="0">
                <a:pos x="connsiteX10547" y="connsiteY10547"/>
              </a:cxn>
              <a:cxn ang="0">
                <a:pos x="connsiteX10548" y="connsiteY10548"/>
              </a:cxn>
              <a:cxn ang="0">
                <a:pos x="connsiteX10549" y="connsiteY10549"/>
              </a:cxn>
              <a:cxn ang="0">
                <a:pos x="connsiteX10550" y="connsiteY10550"/>
              </a:cxn>
              <a:cxn ang="0">
                <a:pos x="connsiteX10551" y="connsiteY10551"/>
              </a:cxn>
              <a:cxn ang="0">
                <a:pos x="connsiteX10552" y="connsiteY10552"/>
              </a:cxn>
              <a:cxn ang="0">
                <a:pos x="connsiteX10553" y="connsiteY10553"/>
              </a:cxn>
              <a:cxn ang="0">
                <a:pos x="connsiteX10554" y="connsiteY10554"/>
              </a:cxn>
              <a:cxn ang="0">
                <a:pos x="connsiteX10555" y="connsiteY10555"/>
              </a:cxn>
              <a:cxn ang="0">
                <a:pos x="connsiteX10556" y="connsiteY10556"/>
              </a:cxn>
              <a:cxn ang="0">
                <a:pos x="connsiteX10557" y="connsiteY10557"/>
              </a:cxn>
              <a:cxn ang="0">
                <a:pos x="connsiteX10558" y="connsiteY10558"/>
              </a:cxn>
              <a:cxn ang="0">
                <a:pos x="connsiteX10559" y="connsiteY10559"/>
              </a:cxn>
              <a:cxn ang="0">
                <a:pos x="connsiteX10560" y="connsiteY10560"/>
              </a:cxn>
              <a:cxn ang="0">
                <a:pos x="connsiteX10561" y="connsiteY10561"/>
              </a:cxn>
              <a:cxn ang="0">
                <a:pos x="connsiteX10562" y="connsiteY10562"/>
              </a:cxn>
              <a:cxn ang="0">
                <a:pos x="connsiteX10563" y="connsiteY10563"/>
              </a:cxn>
              <a:cxn ang="0">
                <a:pos x="connsiteX10564" y="connsiteY10564"/>
              </a:cxn>
              <a:cxn ang="0">
                <a:pos x="connsiteX10565" y="connsiteY10565"/>
              </a:cxn>
              <a:cxn ang="0">
                <a:pos x="connsiteX10566" y="connsiteY10566"/>
              </a:cxn>
              <a:cxn ang="0">
                <a:pos x="connsiteX10567" y="connsiteY10567"/>
              </a:cxn>
              <a:cxn ang="0">
                <a:pos x="connsiteX10568" y="connsiteY10568"/>
              </a:cxn>
              <a:cxn ang="0">
                <a:pos x="connsiteX10569" y="connsiteY10569"/>
              </a:cxn>
              <a:cxn ang="0">
                <a:pos x="connsiteX10570" y="connsiteY10570"/>
              </a:cxn>
              <a:cxn ang="0">
                <a:pos x="connsiteX10571" y="connsiteY10571"/>
              </a:cxn>
              <a:cxn ang="0">
                <a:pos x="connsiteX10572" y="connsiteY10572"/>
              </a:cxn>
              <a:cxn ang="0">
                <a:pos x="connsiteX10573" y="connsiteY10573"/>
              </a:cxn>
              <a:cxn ang="0">
                <a:pos x="connsiteX10574" y="connsiteY10574"/>
              </a:cxn>
              <a:cxn ang="0">
                <a:pos x="connsiteX10575" y="connsiteY10575"/>
              </a:cxn>
              <a:cxn ang="0">
                <a:pos x="connsiteX10576" y="connsiteY10576"/>
              </a:cxn>
              <a:cxn ang="0">
                <a:pos x="connsiteX10577" y="connsiteY10577"/>
              </a:cxn>
              <a:cxn ang="0">
                <a:pos x="connsiteX10578" y="connsiteY10578"/>
              </a:cxn>
              <a:cxn ang="0">
                <a:pos x="connsiteX10579" y="connsiteY10579"/>
              </a:cxn>
              <a:cxn ang="0">
                <a:pos x="connsiteX10580" y="connsiteY10580"/>
              </a:cxn>
              <a:cxn ang="0">
                <a:pos x="connsiteX10581" y="connsiteY10581"/>
              </a:cxn>
              <a:cxn ang="0">
                <a:pos x="connsiteX10582" y="connsiteY10582"/>
              </a:cxn>
              <a:cxn ang="0">
                <a:pos x="connsiteX10583" y="connsiteY10583"/>
              </a:cxn>
              <a:cxn ang="0">
                <a:pos x="connsiteX10584" y="connsiteY10584"/>
              </a:cxn>
              <a:cxn ang="0">
                <a:pos x="connsiteX10585" y="connsiteY10585"/>
              </a:cxn>
              <a:cxn ang="0">
                <a:pos x="connsiteX10586" y="connsiteY10586"/>
              </a:cxn>
              <a:cxn ang="0">
                <a:pos x="connsiteX10587" y="connsiteY10587"/>
              </a:cxn>
              <a:cxn ang="0">
                <a:pos x="connsiteX10588" y="connsiteY10588"/>
              </a:cxn>
              <a:cxn ang="0">
                <a:pos x="connsiteX10589" y="connsiteY10589"/>
              </a:cxn>
              <a:cxn ang="0">
                <a:pos x="connsiteX10590" y="connsiteY10590"/>
              </a:cxn>
              <a:cxn ang="0">
                <a:pos x="connsiteX10591" y="connsiteY10591"/>
              </a:cxn>
              <a:cxn ang="0">
                <a:pos x="connsiteX10592" y="connsiteY10592"/>
              </a:cxn>
              <a:cxn ang="0">
                <a:pos x="connsiteX10593" y="connsiteY10593"/>
              </a:cxn>
              <a:cxn ang="0">
                <a:pos x="connsiteX10594" y="connsiteY10594"/>
              </a:cxn>
              <a:cxn ang="0">
                <a:pos x="connsiteX10595" y="connsiteY10595"/>
              </a:cxn>
              <a:cxn ang="0">
                <a:pos x="connsiteX10596" y="connsiteY10596"/>
              </a:cxn>
              <a:cxn ang="0">
                <a:pos x="connsiteX10597" y="connsiteY10597"/>
              </a:cxn>
              <a:cxn ang="0">
                <a:pos x="connsiteX10598" y="connsiteY10598"/>
              </a:cxn>
              <a:cxn ang="0">
                <a:pos x="connsiteX10599" y="connsiteY10599"/>
              </a:cxn>
              <a:cxn ang="0">
                <a:pos x="connsiteX10600" y="connsiteY10600"/>
              </a:cxn>
              <a:cxn ang="0">
                <a:pos x="connsiteX10601" y="connsiteY10601"/>
              </a:cxn>
              <a:cxn ang="0">
                <a:pos x="connsiteX10602" y="connsiteY10602"/>
              </a:cxn>
              <a:cxn ang="0">
                <a:pos x="connsiteX10603" y="connsiteY10603"/>
              </a:cxn>
              <a:cxn ang="0">
                <a:pos x="connsiteX10604" y="connsiteY10604"/>
              </a:cxn>
              <a:cxn ang="0">
                <a:pos x="connsiteX10605" y="connsiteY10605"/>
              </a:cxn>
              <a:cxn ang="0">
                <a:pos x="connsiteX10606" y="connsiteY10606"/>
              </a:cxn>
              <a:cxn ang="0">
                <a:pos x="connsiteX10607" y="connsiteY10607"/>
              </a:cxn>
              <a:cxn ang="0">
                <a:pos x="connsiteX10608" y="connsiteY10608"/>
              </a:cxn>
              <a:cxn ang="0">
                <a:pos x="connsiteX10609" y="connsiteY10609"/>
              </a:cxn>
              <a:cxn ang="0">
                <a:pos x="connsiteX10610" y="connsiteY10610"/>
              </a:cxn>
              <a:cxn ang="0">
                <a:pos x="connsiteX10611" y="connsiteY10611"/>
              </a:cxn>
              <a:cxn ang="0">
                <a:pos x="connsiteX10612" y="connsiteY10612"/>
              </a:cxn>
              <a:cxn ang="0">
                <a:pos x="connsiteX10613" y="connsiteY10613"/>
              </a:cxn>
              <a:cxn ang="0">
                <a:pos x="connsiteX10614" y="connsiteY10614"/>
              </a:cxn>
              <a:cxn ang="0">
                <a:pos x="connsiteX10615" y="connsiteY10615"/>
              </a:cxn>
              <a:cxn ang="0">
                <a:pos x="connsiteX10616" y="connsiteY10616"/>
              </a:cxn>
              <a:cxn ang="0">
                <a:pos x="connsiteX10617" y="connsiteY10617"/>
              </a:cxn>
              <a:cxn ang="0">
                <a:pos x="connsiteX10618" y="connsiteY10618"/>
              </a:cxn>
              <a:cxn ang="0">
                <a:pos x="connsiteX10619" y="connsiteY10619"/>
              </a:cxn>
              <a:cxn ang="0">
                <a:pos x="connsiteX10620" y="connsiteY10620"/>
              </a:cxn>
              <a:cxn ang="0">
                <a:pos x="connsiteX10621" y="connsiteY10621"/>
              </a:cxn>
              <a:cxn ang="0">
                <a:pos x="connsiteX10622" y="connsiteY10622"/>
              </a:cxn>
              <a:cxn ang="0">
                <a:pos x="connsiteX10623" y="connsiteY10623"/>
              </a:cxn>
              <a:cxn ang="0">
                <a:pos x="connsiteX10624" y="connsiteY10624"/>
              </a:cxn>
              <a:cxn ang="0">
                <a:pos x="connsiteX10625" y="connsiteY10625"/>
              </a:cxn>
              <a:cxn ang="0">
                <a:pos x="connsiteX10626" y="connsiteY10626"/>
              </a:cxn>
              <a:cxn ang="0">
                <a:pos x="connsiteX10627" y="connsiteY10627"/>
              </a:cxn>
              <a:cxn ang="0">
                <a:pos x="connsiteX10628" y="connsiteY10628"/>
              </a:cxn>
              <a:cxn ang="0">
                <a:pos x="connsiteX10629" y="connsiteY10629"/>
              </a:cxn>
              <a:cxn ang="0">
                <a:pos x="connsiteX10630" y="connsiteY10630"/>
              </a:cxn>
              <a:cxn ang="0">
                <a:pos x="connsiteX10631" y="connsiteY10631"/>
              </a:cxn>
              <a:cxn ang="0">
                <a:pos x="connsiteX10632" y="connsiteY10632"/>
              </a:cxn>
              <a:cxn ang="0">
                <a:pos x="connsiteX10633" y="connsiteY10633"/>
              </a:cxn>
              <a:cxn ang="0">
                <a:pos x="connsiteX10634" y="connsiteY10634"/>
              </a:cxn>
              <a:cxn ang="0">
                <a:pos x="connsiteX10635" y="connsiteY10635"/>
              </a:cxn>
              <a:cxn ang="0">
                <a:pos x="connsiteX10636" y="connsiteY10636"/>
              </a:cxn>
              <a:cxn ang="0">
                <a:pos x="connsiteX10637" y="connsiteY10637"/>
              </a:cxn>
              <a:cxn ang="0">
                <a:pos x="connsiteX10638" y="connsiteY10638"/>
              </a:cxn>
              <a:cxn ang="0">
                <a:pos x="connsiteX10639" y="connsiteY10639"/>
              </a:cxn>
              <a:cxn ang="0">
                <a:pos x="connsiteX10640" y="connsiteY10640"/>
              </a:cxn>
              <a:cxn ang="0">
                <a:pos x="connsiteX10641" y="connsiteY10641"/>
              </a:cxn>
              <a:cxn ang="0">
                <a:pos x="connsiteX10642" y="connsiteY10642"/>
              </a:cxn>
              <a:cxn ang="0">
                <a:pos x="connsiteX10643" y="connsiteY10643"/>
              </a:cxn>
              <a:cxn ang="0">
                <a:pos x="connsiteX10644" y="connsiteY10644"/>
              </a:cxn>
              <a:cxn ang="0">
                <a:pos x="connsiteX10645" y="connsiteY10645"/>
              </a:cxn>
              <a:cxn ang="0">
                <a:pos x="connsiteX10646" y="connsiteY10646"/>
              </a:cxn>
              <a:cxn ang="0">
                <a:pos x="connsiteX10647" y="connsiteY10647"/>
              </a:cxn>
              <a:cxn ang="0">
                <a:pos x="connsiteX10648" y="connsiteY10648"/>
              </a:cxn>
              <a:cxn ang="0">
                <a:pos x="connsiteX10649" y="connsiteY10649"/>
              </a:cxn>
              <a:cxn ang="0">
                <a:pos x="connsiteX10650" y="connsiteY10650"/>
              </a:cxn>
              <a:cxn ang="0">
                <a:pos x="connsiteX10651" y="connsiteY10651"/>
              </a:cxn>
              <a:cxn ang="0">
                <a:pos x="connsiteX10652" y="connsiteY10652"/>
              </a:cxn>
              <a:cxn ang="0">
                <a:pos x="connsiteX10653" y="connsiteY10653"/>
              </a:cxn>
              <a:cxn ang="0">
                <a:pos x="connsiteX10654" y="connsiteY10654"/>
              </a:cxn>
              <a:cxn ang="0">
                <a:pos x="connsiteX10655" y="connsiteY10655"/>
              </a:cxn>
              <a:cxn ang="0">
                <a:pos x="connsiteX10656" y="connsiteY10656"/>
              </a:cxn>
              <a:cxn ang="0">
                <a:pos x="connsiteX10657" y="connsiteY10657"/>
              </a:cxn>
              <a:cxn ang="0">
                <a:pos x="connsiteX10658" y="connsiteY10658"/>
              </a:cxn>
              <a:cxn ang="0">
                <a:pos x="connsiteX10659" y="connsiteY10659"/>
              </a:cxn>
              <a:cxn ang="0">
                <a:pos x="connsiteX10660" y="connsiteY10660"/>
              </a:cxn>
              <a:cxn ang="0">
                <a:pos x="connsiteX10661" y="connsiteY10661"/>
              </a:cxn>
              <a:cxn ang="0">
                <a:pos x="connsiteX10662" y="connsiteY10662"/>
              </a:cxn>
              <a:cxn ang="0">
                <a:pos x="connsiteX10663" y="connsiteY10663"/>
              </a:cxn>
              <a:cxn ang="0">
                <a:pos x="connsiteX10664" y="connsiteY10664"/>
              </a:cxn>
              <a:cxn ang="0">
                <a:pos x="connsiteX10665" y="connsiteY10665"/>
              </a:cxn>
              <a:cxn ang="0">
                <a:pos x="connsiteX10666" y="connsiteY10666"/>
              </a:cxn>
              <a:cxn ang="0">
                <a:pos x="connsiteX10667" y="connsiteY10667"/>
              </a:cxn>
              <a:cxn ang="0">
                <a:pos x="connsiteX10668" y="connsiteY10668"/>
              </a:cxn>
              <a:cxn ang="0">
                <a:pos x="connsiteX10669" y="connsiteY10669"/>
              </a:cxn>
              <a:cxn ang="0">
                <a:pos x="connsiteX10670" y="connsiteY10670"/>
              </a:cxn>
              <a:cxn ang="0">
                <a:pos x="connsiteX10671" y="connsiteY10671"/>
              </a:cxn>
              <a:cxn ang="0">
                <a:pos x="connsiteX10672" y="connsiteY10672"/>
              </a:cxn>
              <a:cxn ang="0">
                <a:pos x="connsiteX10673" y="connsiteY10673"/>
              </a:cxn>
              <a:cxn ang="0">
                <a:pos x="connsiteX10674" y="connsiteY10674"/>
              </a:cxn>
              <a:cxn ang="0">
                <a:pos x="connsiteX10675" y="connsiteY10675"/>
              </a:cxn>
              <a:cxn ang="0">
                <a:pos x="connsiteX10676" y="connsiteY10676"/>
              </a:cxn>
              <a:cxn ang="0">
                <a:pos x="connsiteX10677" y="connsiteY10677"/>
              </a:cxn>
              <a:cxn ang="0">
                <a:pos x="connsiteX10678" y="connsiteY10678"/>
              </a:cxn>
              <a:cxn ang="0">
                <a:pos x="connsiteX10679" y="connsiteY10679"/>
              </a:cxn>
              <a:cxn ang="0">
                <a:pos x="connsiteX10680" y="connsiteY10680"/>
              </a:cxn>
              <a:cxn ang="0">
                <a:pos x="connsiteX10681" y="connsiteY10681"/>
              </a:cxn>
              <a:cxn ang="0">
                <a:pos x="connsiteX10682" y="connsiteY10682"/>
              </a:cxn>
              <a:cxn ang="0">
                <a:pos x="connsiteX10683" y="connsiteY10683"/>
              </a:cxn>
              <a:cxn ang="0">
                <a:pos x="connsiteX10684" y="connsiteY10684"/>
              </a:cxn>
              <a:cxn ang="0">
                <a:pos x="connsiteX10685" y="connsiteY10685"/>
              </a:cxn>
              <a:cxn ang="0">
                <a:pos x="connsiteX10686" y="connsiteY10686"/>
              </a:cxn>
              <a:cxn ang="0">
                <a:pos x="connsiteX10687" y="connsiteY10687"/>
              </a:cxn>
              <a:cxn ang="0">
                <a:pos x="connsiteX10688" y="connsiteY10688"/>
              </a:cxn>
              <a:cxn ang="0">
                <a:pos x="connsiteX10689" y="connsiteY10689"/>
              </a:cxn>
              <a:cxn ang="0">
                <a:pos x="connsiteX10690" y="connsiteY10690"/>
              </a:cxn>
              <a:cxn ang="0">
                <a:pos x="connsiteX10691" y="connsiteY10691"/>
              </a:cxn>
              <a:cxn ang="0">
                <a:pos x="connsiteX10692" y="connsiteY10692"/>
              </a:cxn>
              <a:cxn ang="0">
                <a:pos x="connsiteX10693" y="connsiteY10693"/>
              </a:cxn>
              <a:cxn ang="0">
                <a:pos x="connsiteX10694" y="connsiteY10694"/>
              </a:cxn>
              <a:cxn ang="0">
                <a:pos x="connsiteX10695" y="connsiteY10695"/>
              </a:cxn>
              <a:cxn ang="0">
                <a:pos x="connsiteX10696" y="connsiteY10696"/>
              </a:cxn>
              <a:cxn ang="0">
                <a:pos x="connsiteX10697" y="connsiteY10697"/>
              </a:cxn>
              <a:cxn ang="0">
                <a:pos x="connsiteX10698" y="connsiteY10698"/>
              </a:cxn>
              <a:cxn ang="0">
                <a:pos x="connsiteX10699" y="connsiteY10699"/>
              </a:cxn>
              <a:cxn ang="0">
                <a:pos x="connsiteX10700" y="connsiteY10700"/>
              </a:cxn>
              <a:cxn ang="0">
                <a:pos x="connsiteX10701" y="connsiteY10701"/>
              </a:cxn>
              <a:cxn ang="0">
                <a:pos x="connsiteX10702" y="connsiteY10702"/>
              </a:cxn>
              <a:cxn ang="0">
                <a:pos x="connsiteX10703" y="connsiteY10703"/>
              </a:cxn>
              <a:cxn ang="0">
                <a:pos x="connsiteX10704" y="connsiteY10704"/>
              </a:cxn>
              <a:cxn ang="0">
                <a:pos x="connsiteX10705" y="connsiteY10705"/>
              </a:cxn>
              <a:cxn ang="0">
                <a:pos x="connsiteX10706" y="connsiteY10706"/>
              </a:cxn>
              <a:cxn ang="0">
                <a:pos x="connsiteX10707" y="connsiteY10707"/>
              </a:cxn>
              <a:cxn ang="0">
                <a:pos x="connsiteX10708" y="connsiteY10708"/>
              </a:cxn>
              <a:cxn ang="0">
                <a:pos x="connsiteX10709" y="connsiteY10709"/>
              </a:cxn>
              <a:cxn ang="0">
                <a:pos x="connsiteX10710" y="connsiteY10710"/>
              </a:cxn>
              <a:cxn ang="0">
                <a:pos x="connsiteX10711" y="connsiteY10711"/>
              </a:cxn>
              <a:cxn ang="0">
                <a:pos x="connsiteX10712" y="connsiteY10712"/>
              </a:cxn>
              <a:cxn ang="0">
                <a:pos x="connsiteX10713" y="connsiteY10713"/>
              </a:cxn>
              <a:cxn ang="0">
                <a:pos x="connsiteX10714" y="connsiteY10714"/>
              </a:cxn>
              <a:cxn ang="0">
                <a:pos x="connsiteX10715" y="connsiteY10715"/>
              </a:cxn>
              <a:cxn ang="0">
                <a:pos x="connsiteX10716" y="connsiteY10716"/>
              </a:cxn>
              <a:cxn ang="0">
                <a:pos x="connsiteX10717" y="connsiteY10717"/>
              </a:cxn>
              <a:cxn ang="0">
                <a:pos x="connsiteX10718" y="connsiteY10718"/>
              </a:cxn>
              <a:cxn ang="0">
                <a:pos x="connsiteX10719" y="connsiteY10719"/>
              </a:cxn>
              <a:cxn ang="0">
                <a:pos x="connsiteX10720" y="connsiteY10720"/>
              </a:cxn>
              <a:cxn ang="0">
                <a:pos x="connsiteX10721" y="connsiteY10721"/>
              </a:cxn>
              <a:cxn ang="0">
                <a:pos x="connsiteX10722" y="connsiteY10722"/>
              </a:cxn>
              <a:cxn ang="0">
                <a:pos x="connsiteX10723" y="connsiteY10723"/>
              </a:cxn>
              <a:cxn ang="0">
                <a:pos x="connsiteX10724" y="connsiteY10724"/>
              </a:cxn>
              <a:cxn ang="0">
                <a:pos x="connsiteX10725" y="connsiteY10725"/>
              </a:cxn>
              <a:cxn ang="0">
                <a:pos x="connsiteX10726" y="connsiteY10726"/>
              </a:cxn>
              <a:cxn ang="0">
                <a:pos x="connsiteX10727" y="connsiteY10727"/>
              </a:cxn>
              <a:cxn ang="0">
                <a:pos x="connsiteX10728" y="connsiteY10728"/>
              </a:cxn>
              <a:cxn ang="0">
                <a:pos x="connsiteX10729" y="connsiteY10729"/>
              </a:cxn>
              <a:cxn ang="0">
                <a:pos x="connsiteX10730" y="connsiteY10730"/>
              </a:cxn>
              <a:cxn ang="0">
                <a:pos x="connsiteX10731" y="connsiteY10731"/>
              </a:cxn>
              <a:cxn ang="0">
                <a:pos x="connsiteX10732" y="connsiteY10732"/>
              </a:cxn>
              <a:cxn ang="0">
                <a:pos x="connsiteX10733" y="connsiteY10733"/>
              </a:cxn>
              <a:cxn ang="0">
                <a:pos x="connsiteX10734" y="connsiteY10734"/>
              </a:cxn>
              <a:cxn ang="0">
                <a:pos x="connsiteX10735" y="connsiteY10735"/>
              </a:cxn>
              <a:cxn ang="0">
                <a:pos x="connsiteX10736" y="connsiteY10736"/>
              </a:cxn>
              <a:cxn ang="0">
                <a:pos x="connsiteX10737" y="connsiteY10737"/>
              </a:cxn>
              <a:cxn ang="0">
                <a:pos x="connsiteX10738" y="connsiteY10738"/>
              </a:cxn>
              <a:cxn ang="0">
                <a:pos x="connsiteX10739" y="connsiteY10739"/>
              </a:cxn>
              <a:cxn ang="0">
                <a:pos x="connsiteX10740" y="connsiteY10740"/>
              </a:cxn>
              <a:cxn ang="0">
                <a:pos x="connsiteX10741" y="connsiteY10741"/>
              </a:cxn>
              <a:cxn ang="0">
                <a:pos x="connsiteX10742" y="connsiteY10742"/>
              </a:cxn>
              <a:cxn ang="0">
                <a:pos x="connsiteX10743" y="connsiteY10743"/>
              </a:cxn>
              <a:cxn ang="0">
                <a:pos x="connsiteX10744" y="connsiteY10744"/>
              </a:cxn>
              <a:cxn ang="0">
                <a:pos x="connsiteX10745" y="connsiteY10745"/>
              </a:cxn>
              <a:cxn ang="0">
                <a:pos x="connsiteX10746" y="connsiteY10746"/>
              </a:cxn>
              <a:cxn ang="0">
                <a:pos x="connsiteX10747" y="connsiteY10747"/>
              </a:cxn>
              <a:cxn ang="0">
                <a:pos x="connsiteX10748" y="connsiteY10748"/>
              </a:cxn>
              <a:cxn ang="0">
                <a:pos x="connsiteX10749" y="connsiteY10749"/>
              </a:cxn>
              <a:cxn ang="0">
                <a:pos x="connsiteX10750" y="connsiteY10750"/>
              </a:cxn>
              <a:cxn ang="0">
                <a:pos x="connsiteX10751" y="connsiteY10751"/>
              </a:cxn>
              <a:cxn ang="0">
                <a:pos x="connsiteX10752" y="connsiteY10752"/>
              </a:cxn>
              <a:cxn ang="0">
                <a:pos x="connsiteX10753" y="connsiteY10753"/>
              </a:cxn>
              <a:cxn ang="0">
                <a:pos x="connsiteX10754" y="connsiteY10754"/>
              </a:cxn>
              <a:cxn ang="0">
                <a:pos x="connsiteX10755" y="connsiteY10755"/>
              </a:cxn>
              <a:cxn ang="0">
                <a:pos x="connsiteX10756" y="connsiteY10756"/>
              </a:cxn>
              <a:cxn ang="0">
                <a:pos x="connsiteX10757" y="connsiteY10757"/>
              </a:cxn>
              <a:cxn ang="0">
                <a:pos x="connsiteX10758" y="connsiteY10758"/>
              </a:cxn>
              <a:cxn ang="0">
                <a:pos x="connsiteX10759" y="connsiteY10759"/>
              </a:cxn>
              <a:cxn ang="0">
                <a:pos x="connsiteX10760" y="connsiteY10760"/>
              </a:cxn>
              <a:cxn ang="0">
                <a:pos x="connsiteX10761" y="connsiteY10761"/>
              </a:cxn>
              <a:cxn ang="0">
                <a:pos x="connsiteX10762" y="connsiteY10762"/>
              </a:cxn>
              <a:cxn ang="0">
                <a:pos x="connsiteX10763" y="connsiteY10763"/>
              </a:cxn>
              <a:cxn ang="0">
                <a:pos x="connsiteX10764" y="connsiteY10764"/>
              </a:cxn>
              <a:cxn ang="0">
                <a:pos x="connsiteX10765" y="connsiteY10765"/>
              </a:cxn>
              <a:cxn ang="0">
                <a:pos x="connsiteX10766" y="connsiteY10766"/>
              </a:cxn>
              <a:cxn ang="0">
                <a:pos x="connsiteX10767" y="connsiteY10767"/>
              </a:cxn>
              <a:cxn ang="0">
                <a:pos x="connsiteX10768" y="connsiteY10768"/>
              </a:cxn>
              <a:cxn ang="0">
                <a:pos x="connsiteX10769" y="connsiteY10769"/>
              </a:cxn>
              <a:cxn ang="0">
                <a:pos x="connsiteX10770" y="connsiteY10770"/>
              </a:cxn>
              <a:cxn ang="0">
                <a:pos x="connsiteX10771" y="connsiteY10771"/>
              </a:cxn>
              <a:cxn ang="0">
                <a:pos x="connsiteX10772" y="connsiteY10772"/>
              </a:cxn>
              <a:cxn ang="0">
                <a:pos x="connsiteX10773" y="connsiteY10773"/>
              </a:cxn>
              <a:cxn ang="0">
                <a:pos x="connsiteX10774" y="connsiteY10774"/>
              </a:cxn>
              <a:cxn ang="0">
                <a:pos x="connsiteX10775" y="connsiteY10775"/>
              </a:cxn>
              <a:cxn ang="0">
                <a:pos x="connsiteX10776" y="connsiteY10776"/>
              </a:cxn>
              <a:cxn ang="0">
                <a:pos x="connsiteX10777" y="connsiteY10777"/>
              </a:cxn>
              <a:cxn ang="0">
                <a:pos x="connsiteX10778" y="connsiteY10778"/>
              </a:cxn>
              <a:cxn ang="0">
                <a:pos x="connsiteX10779" y="connsiteY10779"/>
              </a:cxn>
              <a:cxn ang="0">
                <a:pos x="connsiteX10780" y="connsiteY10780"/>
              </a:cxn>
              <a:cxn ang="0">
                <a:pos x="connsiteX10781" y="connsiteY10781"/>
              </a:cxn>
              <a:cxn ang="0">
                <a:pos x="connsiteX10782" y="connsiteY10782"/>
              </a:cxn>
              <a:cxn ang="0">
                <a:pos x="connsiteX10783" y="connsiteY10783"/>
              </a:cxn>
              <a:cxn ang="0">
                <a:pos x="connsiteX10784" y="connsiteY10784"/>
              </a:cxn>
              <a:cxn ang="0">
                <a:pos x="connsiteX10785" y="connsiteY10785"/>
              </a:cxn>
              <a:cxn ang="0">
                <a:pos x="connsiteX10786" y="connsiteY10786"/>
              </a:cxn>
              <a:cxn ang="0">
                <a:pos x="connsiteX10787" y="connsiteY10787"/>
              </a:cxn>
              <a:cxn ang="0">
                <a:pos x="connsiteX10788" y="connsiteY10788"/>
              </a:cxn>
              <a:cxn ang="0">
                <a:pos x="connsiteX10789" y="connsiteY10789"/>
              </a:cxn>
              <a:cxn ang="0">
                <a:pos x="connsiteX10790" y="connsiteY10790"/>
              </a:cxn>
              <a:cxn ang="0">
                <a:pos x="connsiteX10791" y="connsiteY10791"/>
              </a:cxn>
              <a:cxn ang="0">
                <a:pos x="connsiteX10792" y="connsiteY10792"/>
              </a:cxn>
              <a:cxn ang="0">
                <a:pos x="connsiteX10793" y="connsiteY10793"/>
              </a:cxn>
              <a:cxn ang="0">
                <a:pos x="connsiteX10794" y="connsiteY10794"/>
              </a:cxn>
              <a:cxn ang="0">
                <a:pos x="connsiteX10795" y="connsiteY10795"/>
              </a:cxn>
              <a:cxn ang="0">
                <a:pos x="connsiteX10796" y="connsiteY10796"/>
              </a:cxn>
              <a:cxn ang="0">
                <a:pos x="connsiteX10797" y="connsiteY10797"/>
              </a:cxn>
              <a:cxn ang="0">
                <a:pos x="connsiteX10798" y="connsiteY10798"/>
              </a:cxn>
              <a:cxn ang="0">
                <a:pos x="connsiteX10799" y="connsiteY10799"/>
              </a:cxn>
              <a:cxn ang="0">
                <a:pos x="connsiteX10800" y="connsiteY10800"/>
              </a:cxn>
              <a:cxn ang="0">
                <a:pos x="connsiteX10801" y="connsiteY10801"/>
              </a:cxn>
              <a:cxn ang="0">
                <a:pos x="connsiteX10802" y="connsiteY10802"/>
              </a:cxn>
              <a:cxn ang="0">
                <a:pos x="connsiteX10803" y="connsiteY10803"/>
              </a:cxn>
              <a:cxn ang="0">
                <a:pos x="connsiteX10804" y="connsiteY10804"/>
              </a:cxn>
              <a:cxn ang="0">
                <a:pos x="connsiteX10805" y="connsiteY10805"/>
              </a:cxn>
              <a:cxn ang="0">
                <a:pos x="connsiteX10806" y="connsiteY10806"/>
              </a:cxn>
              <a:cxn ang="0">
                <a:pos x="connsiteX10807" y="connsiteY10807"/>
              </a:cxn>
              <a:cxn ang="0">
                <a:pos x="connsiteX10808" y="connsiteY10808"/>
              </a:cxn>
              <a:cxn ang="0">
                <a:pos x="connsiteX10809" y="connsiteY10809"/>
              </a:cxn>
              <a:cxn ang="0">
                <a:pos x="connsiteX10810" y="connsiteY10810"/>
              </a:cxn>
              <a:cxn ang="0">
                <a:pos x="connsiteX10811" y="connsiteY10811"/>
              </a:cxn>
              <a:cxn ang="0">
                <a:pos x="connsiteX10812" y="connsiteY10812"/>
              </a:cxn>
              <a:cxn ang="0">
                <a:pos x="connsiteX10813" y="connsiteY10813"/>
              </a:cxn>
              <a:cxn ang="0">
                <a:pos x="connsiteX10814" y="connsiteY10814"/>
              </a:cxn>
              <a:cxn ang="0">
                <a:pos x="connsiteX10815" y="connsiteY10815"/>
              </a:cxn>
              <a:cxn ang="0">
                <a:pos x="connsiteX10816" y="connsiteY10816"/>
              </a:cxn>
              <a:cxn ang="0">
                <a:pos x="connsiteX10817" y="connsiteY10817"/>
              </a:cxn>
              <a:cxn ang="0">
                <a:pos x="connsiteX10818" y="connsiteY10818"/>
              </a:cxn>
              <a:cxn ang="0">
                <a:pos x="connsiteX10819" y="connsiteY10819"/>
              </a:cxn>
              <a:cxn ang="0">
                <a:pos x="connsiteX10820" y="connsiteY10820"/>
              </a:cxn>
              <a:cxn ang="0">
                <a:pos x="connsiteX10821" y="connsiteY10821"/>
              </a:cxn>
              <a:cxn ang="0">
                <a:pos x="connsiteX10822" y="connsiteY10822"/>
              </a:cxn>
              <a:cxn ang="0">
                <a:pos x="connsiteX10823" y="connsiteY10823"/>
              </a:cxn>
              <a:cxn ang="0">
                <a:pos x="connsiteX10824" y="connsiteY10824"/>
              </a:cxn>
              <a:cxn ang="0">
                <a:pos x="connsiteX10825" y="connsiteY10825"/>
              </a:cxn>
              <a:cxn ang="0">
                <a:pos x="connsiteX10826" y="connsiteY10826"/>
              </a:cxn>
              <a:cxn ang="0">
                <a:pos x="connsiteX10827" y="connsiteY10827"/>
              </a:cxn>
              <a:cxn ang="0">
                <a:pos x="connsiteX10828" y="connsiteY10828"/>
              </a:cxn>
              <a:cxn ang="0">
                <a:pos x="connsiteX10829" y="connsiteY10829"/>
              </a:cxn>
              <a:cxn ang="0">
                <a:pos x="connsiteX10830" y="connsiteY10830"/>
              </a:cxn>
              <a:cxn ang="0">
                <a:pos x="connsiteX10831" y="connsiteY10831"/>
              </a:cxn>
              <a:cxn ang="0">
                <a:pos x="connsiteX10832" y="connsiteY10832"/>
              </a:cxn>
              <a:cxn ang="0">
                <a:pos x="connsiteX10833" y="connsiteY10833"/>
              </a:cxn>
              <a:cxn ang="0">
                <a:pos x="connsiteX10834" y="connsiteY10834"/>
              </a:cxn>
              <a:cxn ang="0">
                <a:pos x="connsiteX10835" y="connsiteY10835"/>
              </a:cxn>
              <a:cxn ang="0">
                <a:pos x="connsiteX10836" y="connsiteY10836"/>
              </a:cxn>
              <a:cxn ang="0">
                <a:pos x="connsiteX10837" y="connsiteY10837"/>
              </a:cxn>
              <a:cxn ang="0">
                <a:pos x="connsiteX10838" y="connsiteY10838"/>
              </a:cxn>
              <a:cxn ang="0">
                <a:pos x="connsiteX10839" y="connsiteY10839"/>
              </a:cxn>
              <a:cxn ang="0">
                <a:pos x="connsiteX10840" y="connsiteY10840"/>
              </a:cxn>
              <a:cxn ang="0">
                <a:pos x="connsiteX10841" y="connsiteY10841"/>
              </a:cxn>
              <a:cxn ang="0">
                <a:pos x="connsiteX10842" y="connsiteY10842"/>
              </a:cxn>
              <a:cxn ang="0">
                <a:pos x="connsiteX10843" y="connsiteY10843"/>
              </a:cxn>
              <a:cxn ang="0">
                <a:pos x="connsiteX10844" y="connsiteY10844"/>
              </a:cxn>
              <a:cxn ang="0">
                <a:pos x="connsiteX10845" y="connsiteY10845"/>
              </a:cxn>
              <a:cxn ang="0">
                <a:pos x="connsiteX10846" y="connsiteY10846"/>
              </a:cxn>
              <a:cxn ang="0">
                <a:pos x="connsiteX10847" y="connsiteY10847"/>
              </a:cxn>
              <a:cxn ang="0">
                <a:pos x="connsiteX10848" y="connsiteY10848"/>
              </a:cxn>
              <a:cxn ang="0">
                <a:pos x="connsiteX10849" y="connsiteY10849"/>
              </a:cxn>
              <a:cxn ang="0">
                <a:pos x="connsiteX10850" y="connsiteY10850"/>
              </a:cxn>
              <a:cxn ang="0">
                <a:pos x="connsiteX10851" y="connsiteY10851"/>
              </a:cxn>
              <a:cxn ang="0">
                <a:pos x="connsiteX10852" y="connsiteY10852"/>
              </a:cxn>
              <a:cxn ang="0">
                <a:pos x="connsiteX10853" y="connsiteY10853"/>
              </a:cxn>
              <a:cxn ang="0">
                <a:pos x="connsiteX10854" y="connsiteY10854"/>
              </a:cxn>
              <a:cxn ang="0">
                <a:pos x="connsiteX10855" y="connsiteY10855"/>
              </a:cxn>
              <a:cxn ang="0">
                <a:pos x="connsiteX10856" y="connsiteY10856"/>
              </a:cxn>
              <a:cxn ang="0">
                <a:pos x="connsiteX10857" y="connsiteY10857"/>
              </a:cxn>
              <a:cxn ang="0">
                <a:pos x="connsiteX10858" y="connsiteY10858"/>
              </a:cxn>
              <a:cxn ang="0">
                <a:pos x="connsiteX10859" y="connsiteY10859"/>
              </a:cxn>
              <a:cxn ang="0">
                <a:pos x="connsiteX10860" y="connsiteY10860"/>
              </a:cxn>
              <a:cxn ang="0">
                <a:pos x="connsiteX10861" y="connsiteY10861"/>
              </a:cxn>
              <a:cxn ang="0">
                <a:pos x="connsiteX10862" y="connsiteY10862"/>
              </a:cxn>
              <a:cxn ang="0">
                <a:pos x="connsiteX10863" y="connsiteY10863"/>
              </a:cxn>
              <a:cxn ang="0">
                <a:pos x="connsiteX10864" y="connsiteY10864"/>
              </a:cxn>
              <a:cxn ang="0">
                <a:pos x="connsiteX10865" y="connsiteY10865"/>
              </a:cxn>
              <a:cxn ang="0">
                <a:pos x="connsiteX10866" y="connsiteY10866"/>
              </a:cxn>
              <a:cxn ang="0">
                <a:pos x="connsiteX10867" y="connsiteY10867"/>
              </a:cxn>
              <a:cxn ang="0">
                <a:pos x="connsiteX10868" y="connsiteY10868"/>
              </a:cxn>
              <a:cxn ang="0">
                <a:pos x="connsiteX10869" y="connsiteY10869"/>
              </a:cxn>
              <a:cxn ang="0">
                <a:pos x="connsiteX10870" y="connsiteY10870"/>
              </a:cxn>
              <a:cxn ang="0">
                <a:pos x="connsiteX10871" y="connsiteY10871"/>
              </a:cxn>
              <a:cxn ang="0">
                <a:pos x="connsiteX10872" y="connsiteY10872"/>
              </a:cxn>
              <a:cxn ang="0">
                <a:pos x="connsiteX10873" y="connsiteY10873"/>
              </a:cxn>
              <a:cxn ang="0">
                <a:pos x="connsiteX10874" y="connsiteY10874"/>
              </a:cxn>
              <a:cxn ang="0">
                <a:pos x="connsiteX10875" y="connsiteY10875"/>
              </a:cxn>
              <a:cxn ang="0">
                <a:pos x="connsiteX10876" y="connsiteY10876"/>
              </a:cxn>
              <a:cxn ang="0">
                <a:pos x="connsiteX10877" y="connsiteY10877"/>
              </a:cxn>
              <a:cxn ang="0">
                <a:pos x="connsiteX10878" y="connsiteY10878"/>
              </a:cxn>
              <a:cxn ang="0">
                <a:pos x="connsiteX10879" y="connsiteY10879"/>
              </a:cxn>
              <a:cxn ang="0">
                <a:pos x="connsiteX10880" y="connsiteY10880"/>
              </a:cxn>
              <a:cxn ang="0">
                <a:pos x="connsiteX10881" y="connsiteY10881"/>
              </a:cxn>
              <a:cxn ang="0">
                <a:pos x="connsiteX10882" y="connsiteY10882"/>
              </a:cxn>
              <a:cxn ang="0">
                <a:pos x="connsiteX10883" y="connsiteY10883"/>
              </a:cxn>
              <a:cxn ang="0">
                <a:pos x="connsiteX10884" y="connsiteY10884"/>
              </a:cxn>
              <a:cxn ang="0">
                <a:pos x="connsiteX10885" y="connsiteY10885"/>
              </a:cxn>
              <a:cxn ang="0">
                <a:pos x="connsiteX10886" y="connsiteY10886"/>
              </a:cxn>
              <a:cxn ang="0">
                <a:pos x="connsiteX10887" y="connsiteY10887"/>
              </a:cxn>
              <a:cxn ang="0">
                <a:pos x="connsiteX10888" y="connsiteY10888"/>
              </a:cxn>
              <a:cxn ang="0">
                <a:pos x="connsiteX10889" y="connsiteY10889"/>
              </a:cxn>
              <a:cxn ang="0">
                <a:pos x="connsiteX10890" y="connsiteY10890"/>
              </a:cxn>
              <a:cxn ang="0">
                <a:pos x="connsiteX10891" y="connsiteY10891"/>
              </a:cxn>
              <a:cxn ang="0">
                <a:pos x="connsiteX10892" y="connsiteY10892"/>
              </a:cxn>
              <a:cxn ang="0">
                <a:pos x="connsiteX10893" y="connsiteY10893"/>
              </a:cxn>
              <a:cxn ang="0">
                <a:pos x="connsiteX10894" y="connsiteY10894"/>
              </a:cxn>
              <a:cxn ang="0">
                <a:pos x="connsiteX10895" y="connsiteY10895"/>
              </a:cxn>
              <a:cxn ang="0">
                <a:pos x="connsiteX10896" y="connsiteY10896"/>
              </a:cxn>
              <a:cxn ang="0">
                <a:pos x="connsiteX10897" y="connsiteY10897"/>
              </a:cxn>
              <a:cxn ang="0">
                <a:pos x="connsiteX10898" y="connsiteY10898"/>
              </a:cxn>
              <a:cxn ang="0">
                <a:pos x="connsiteX10899" y="connsiteY10899"/>
              </a:cxn>
              <a:cxn ang="0">
                <a:pos x="connsiteX10900" y="connsiteY10900"/>
              </a:cxn>
              <a:cxn ang="0">
                <a:pos x="connsiteX10901" y="connsiteY10901"/>
              </a:cxn>
              <a:cxn ang="0">
                <a:pos x="connsiteX10902" y="connsiteY10902"/>
              </a:cxn>
              <a:cxn ang="0">
                <a:pos x="connsiteX10903" y="connsiteY10903"/>
              </a:cxn>
              <a:cxn ang="0">
                <a:pos x="connsiteX10904" y="connsiteY10904"/>
              </a:cxn>
              <a:cxn ang="0">
                <a:pos x="connsiteX10905" y="connsiteY10905"/>
              </a:cxn>
              <a:cxn ang="0">
                <a:pos x="connsiteX10906" y="connsiteY10906"/>
              </a:cxn>
              <a:cxn ang="0">
                <a:pos x="connsiteX10907" y="connsiteY10907"/>
              </a:cxn>
              <a:cxn ang="0">
                <a:pos x="connsiteX10908" y="connsiteY10908"/>
              </a:cxn>
              <a:cxn ang="0">
                <a:pos x="connsiteX10909" y="connsiteY10909"/>
              </a:cxn>
              <a:cxn ang="0">
                <a:pos x="connsiteX10910" y="connsiteY10910"/>
              </a:cxn>
              <a:cxn ang="0">
                <a:pos x="connsiteX10911" y="connsiteY10911"/>
              </a:cxn>
              <a:cxn ang="0">
                <a:pos x="connsiteX10912" y="connsiteY10912"/>
              </a:cxn>
              <a:cxn ang="0">
                <a:pos x="connsiteX10913" y="connsiteY10913"/>
              </a:cxn>
              <a:cxn ang="0">
                <a:pos x="connsiteX10914" y="connsiteY10914"/>
              </a:cxn>
              <a:cxn ang="0">
                <a:pos x="connsiteX10915" y="connsiteY10915"/>
              </a:cxn>
              <a:cxn ang="0">
                <a:pos x="connsiteX10916" y="connsiteY10916"/>
              </a:cxn>
              <a:cxn ang="0">
                <a:pos x="connsiteX10917" y="connsiteY10917"/>
              </a:cxn>
              <a:cxn ang="0">
                <a:pos x="connsiteX10918" y="connsiteY10918"/>
              </a:cxn>
              <a:cxn ang="0">
                <a:pos x="connsiteX10919" y="connsiteY10919"/>
              </a:cxn>
              <a:cxn ang="0">
                <a:pos x="connsiteX10920" y="connsiteY10920"/>
              </a:cxn>
              <a:cxn ang="0">
                <a:pos x="connsiteX10921" y="connsiteY10921"/>
              </a:cxn>
              <a:cxn ang="0">
                <a:pos x="connsiteX10922" y="connsiteY10922"/>
              </a:cxn>
              <a:cxn ang="0">
                <a:pos x="connsiteX10923" y="connsiteY10923"/>
              </a:cxn>
              <a:cxn ang="0">
                <a:pos x="connsiteX10924" y="connsiteY10924"/>
              </a:cxn>
              <a:cxn ang="0">
                <a:pos x="connsiteX10925" y="connsiteY10925"/>
              </a:cxn>
              <a:cxn ang="0">
                <a:pos x="connsiteX10926" y="connsiteY10926"/>
              </a:cxn>
              <a:cxn ang="0">
                <a:pos x="connsiteX10927" y="connsiteY10927"/>
              </a:cxn>
              <a:cxn ang="0">
                <a:pos x="connsiteX10928" y="connsiteY10928"/>
              </a:cxn>
              <a:cxn ang="0">
                <a:pos x="connsiteX10929" y="connsiteY10929"/>
              </a:cxn>
              <a:cxn ang="0">
                <a:pos x="connsiteX10930" y="connsiteY10930"/>
              </a:cxn>
              <a:cxn ang="0">
                <a:pos x="connsiteX10931" y="connsiteY10931"/>
              </a:cxn>
              <a:cxn ang="0">
                <a:pos x="connsiteX10932" y="connsiteY10932"/>
              </a:cxn>
              <a:cxn ang="0">
                <a:pos x="connsiteX10933" y="connsiteY10933"/>
              </a:cxn>
              <a:cxn ang="0">
                <a:pos x="connsiteX10934" y="connsiteY10934"/>
              </a:cxn>
              <a:cxn ang="0">
                <a:pos x="connsiteX10935" y="connsiteY10935"/>
              </a:cxn>
              <a:cxn ang="0">
                <a:pos x="connsiteX10936" y="connsiteY10936"/>
              </a:cxn>
              <a:cxn ang="0">
                <a:pos x="connsiteX10937" y="connsiteY10937"/>
              </a:cxn>
              <a:cxn ang="0">
                <a:pos x="connsiteX10938" y="connsiteY10938"/>
              </a:cxn>
              <a:cxn ang="0">
                <a:pos x="connsiteX10939" y="connsiteY10939"/>
              </a:cxn>
              <a:cxn ang="0">
                <a:pos x="connsiteX10940" y="connsiteY10940"/>
              </a:cxn>
              <a:cxn ang="0">
                <a:pos x="connsiteX10941" y="connsiteY10941"/>
              </a:cxn>
              <a:cxn ang="0">
                <a:pos x="connsiteX10942" y="connsiteY10942"/>
              </a:cxn>
              <a:cxn ang="0">
                <a:pos x="connsiteX10943" y="connsiteY10943"/>
              </a:cxn>
              <a:cxn ang="0">
                <a:pos x="connsiteX10944" y="connsiteY10944"/>
              </a:cxn>
              <a:cxn ang="0">
                <a:pos x="connsiteX10945" y="connsiteY10945"/>
              </a:cxn>
              <a:cxn ang="0">
                <a:pos x="connsiteX10946" y="connsiteY10946"/>
              </a:cxn>
              <a:cxn ang="0">
                <a:pos x="connsiteX10947" y="connsiteY10947"/>
              </a:cxn>
              <a:cxn ang="0">
                <a:pos x="connsiteX10948" y="connsiteY10948"/>
              </a:cxn>
              <a:cxn ang="0">
                <a:pos x="connsiteX10949" y="connsiteY10949"/>
              </a:cxn>
              <a:cxn ang="0">
                <a:pos x="connsiteX10950" y="connsiteY10950"/>
              </a:cxn>
              <a:cxn ang="0">
                <a:pos x="connsiteX10951" y="connsiteY10951"/>
              </a:cxn>
              <a:cxn ang="0">
                <a:pos x="connsiteX10952" y="connsiteY10952"/>
              </a:cxn>
              <a:cxn ang="0">
                <a:pos x="connsiteX10953" y="connsiteY10953"/>
              </a:cxn>
              <a:cxn ang="0">
                <a:pos x="connsiteX10954" y="connsiteY10954"/>
              </a:cxn>
              <a:cxn ang="0">
                <a:pos x="connsiteX10955" y="connsiteY10955"/>
              </a:cxn>
              <a:cxn ang="0">
                <a:pos x="connsiteX10956" y="connsiteY10956"/>
              </a:cxn>
              <a:cxn ang="0">
                <a:pos x="connsiteX10957" y="connsiteY10957"/>
              </a:cxn>
              <a:cxn ang="0">
                <a:pos x="connsiteX10958" y="connsiteY10958"/>
              </a:cxn>
              <a:cxn ang="0">
                <a:pos x="connsiteX10959" y="connsiteY10959"/>
              </a:cxn>
              <a:cxn ang="0">
                <a:pos x="connsiteX10960" y="connsiteY10960"/>
              </a:cxn>
              <a:cxn ang="0">
                <a:pos x="connsiteX10961" y="connsiteY10961"/>
              </a:cxn>
              <a:cxn ang="0">
                <a:pos x="connsiteX10962" y="connsiteY10962"/>
              </a:cxn>
              <a:cxn ang="0">
                <a:pos x="connsiteX10963" y="connsiteY10963"/>
              </a:cxn>
              <a:cxn ang="0">
                <a:pos x="connsiteX10964" y="connsiteY10964"/>
              </a:cxn>
              <a:cxn ang="0">
                <a:pos x="connsiteX10965" y="connsiteY10965"/>
              </a:cxn>
              <a:cxn ang="0">
                <a:pos x="connsiteX10966" y="connsiteY10966"/>
              </a:cxn>
              <a:cxn ang="0">
                <a:pos x="connsiteX10967" y="connsiteY10967"/>
              </a:cxn>
              <a:cxn ang="0">
                <a:pos x="connsiteX10968" y="connsiteY10968"/>
              </a:cxn>
              <a:cxn ang="0">
                <a:pos x="connsiteX10969" y="connsiteY10969"/>
              </a:cxn>
              <a:cxn ang="0">
                <a:pos x="connsiteX10970" y="connsiteY10970"/>
              </a:cxn>
              <a:cxn ang="0">
                <a:pos x="connsiteX10971" y="connsiteY10971"/>
              </a:cxn>
              <a:cxn ang="0">
                <a:pos x="connsiteX10972" y="connsiteY10972"/>
              </a:cxn>
              <a:cxn ang="0">
                <a:pos x="connsiteX10973" y="connsiteY10973"/>
              </a:cxn>
              <a:cxn ang="0">
                <a:pos x="connsiteX10974" y="connsiteY10974"/>
              </a:cxn>
              <a:cxn ang="0">
                <a:pos x="connsiteX10975" y="connsiteY10975"/>
              </a:cxn>
              <a:cxn ang="0">
                <a:pos x="connsiteX10976" y="connsiteY10976"/>
              </a:cxn>
              <a:cxn ang="0">
                <a:pos x="connsiteX10977" y="connsiteY10977"/>
              </a:cxn>
              <a:cxn ang="0">
                <a:pos x="connsiteX10978" y="connsiteY10978"/>
              </a:cxn>
              <a:cxn ang="0">
                <a:pos x="connsiteX10979" y="connsiteY10979"/>
              </a:cxn>
              <a:cxn ang="0">
                <a:pos x="connsiteX10980" y="connsiteY10980"/>
              </a:cxn>
              <a:cxn ang="0">
                <a:pos x="connsiteX10981" y="connsiteY10981"/>
              </a:cxn>
              <a:cxn ang="0">
                <a:pos x="connsiteX10982" y="connsiteY10982"/>
              </a:cxn>
              <a:cxn ang="0">
                <a:pos x="connsiteX10983" y="connsiteY10983"/>
              </a:cxn>
              <a:cxn ang="0">
                <a:pos x="connsiteX10984" y="connsiteY10984"/>
              </a:cxn>
              <a:cxn ang="0">
                <a:pos x="connsiteX10985" y="connsiteY10985"/>
              </a:cxn>
              <a:cxn ang="0">
                <a:pos x="connsiteX10986" y="connsiteY10986"/>
              </a:cxn>
              <a:cxn ang="0">
                <a:pos x="connsiteX10987" y="connsiteY10987"/>
              </a:cxn>
              <a:cxn ang="0">
                <a:pos x="connsiteX10988" y="connsiteY10988"/>
              </a:cxn>
              <a:cxn ang="0">
                <a:pos x="connsiteX10989" y="connsiteY10989"/>
              </a:cxn>
              <a:cxn ang="0">
                <a:pos x="connsiteX10990" y="connsiteY10990"/>
              </a:cxn>
              <a:cxn ang="0">
                <a:pos x="connsiteX10991" y="connsiteY10991"/>
              </a:cxn>
              <a:cxn ang="0">
                <a:pos x="connsiteX10992" y="connsiteY10992"/>
              </a:cxn>
              <a:cxn ang="0">
                <a:pos x="connsiteX10993" y="connsiteY10993"/>
              </a:cxn>
              <a:cxn ang="0">
                <a:pos x="connsiteX10994" y="connsiteY10994"/>
              </a:cxn>
              <a:cxn ang="0">
                <a:pos x="connsiteX10995" y="connsiteY10995"/>
              </a:cxn>
              <a:cxn ang="0">
                <a:pos x="connsiteX10996" y="connsiteY10996"/>
              </a:cxn>
              <a:cxn ang="0">
                <a:pos x="connsiteX10997" y="connsiteY10997"/>
              </a:cxn>
              <a:cxn ang="0">
                <a:pos x="connsiteX10998" y="connsiteY10998"/>
              </a:cxn>
              <a:cxn ang="0">
                <a:pos x="connsiteX10999" y="connsiteY10999"/>
              </a:cxn>
              <a:cxn ang="0">
                <a:pos x="connsiteX11000" y="connsiteY11000"/>
              </a:cxn>
              <a:cxn ang="0">
                <a:pos x="connsiteX11001" y="connsiteY11001"/>
              </a:cxn>
              <a:cxn ang="0">
                <a:pos x="connsiteX11002" y="connsiteY11002"/>
              </a:cxn>
              <a:cxn ang="0">
                <a:pos x="connsiteX11003" y="connsiteY11003"/>
              </a:cxn>
              <a:cxn ang="0">
                <a:pos x="connsiteX11004" y="connsiteY11004"/>
              </a:cxn>
              <a:cxn ang="0">
                <a:pos x="connsiteX11005" y="connsiteY11005"/>
              </a:cxn>
              <a:cxn ang="0">
                <a:pos x="connsiteX11006" y="connsiteY11006"/>
              </a:cxn>
              <a:cxn ang="0">
                <a:pos x="connsiteX11007" y="connsiteY11007"/>
              </a:cxn>
              <a:cxn ang="0">
                <a:pos x="connsiteX11008" y="connsiteY11008"/>
              </a:cxn>
              <a:cxn ang="0">
                <a:pos x="connsiteX11009" y="connsiteY11009"/>
              </a:cxn>
              <a:cxn ang="0">
                <a:pos x="connsiteX11010" y="connsiteY11010"/>
              </a:cxn>
              <a:cxn ang="0">
                <a:pos x="connsiteX11011" y="connsiteY11011"/>
              </a:cxn>
              <a:cxn ang="0">
                <a:pos x="connsiteX11012" y="connsiteY11012"/>
              </a:cxn>
              <a:cxn ang="0">
                <a:pos x="connsiteX11013" y="connsiteY11013"/>
              </a:cxn>
              <a:cxn ang="0">
                <a:pos x="connsiteX11014" y="connsiteY11014"/>
              </a:cxn>
              <a:cxn ang="0">
                <a:pos x="connsiteX11015" y="connsiteY11015"/>
              </a:cxn>
              <a:cxn ang="0">
                <a:pos x="connsiteX11016" y="connsiteY11016"/>
              </a:cxn>
              <a:cxn ang="0">
                <a:pos x="connsiteX11017" y="connsiteY11017"/>
              </a:cxn>
              <a:cxn ang="0">
                <a:pos x="connsiteX11018" y="connsiteY11018"/>
              </a:cxn>
              <a:cxn ang="0">
                <a:pos x="connsiteX11019" y="connsiteY11019"/>
              </a:cxn>
              <a:cxn ang="0">
                <a:pos x="connsiteX11020" y="connsiteY11020"/>
              </a:cxn>
              <a:cxn ang="0">
                <a:pos x="connsiteX11021" y="connsiteY11021"/>
              </a:cxn>
              <a:cxn ang="0">
                <a:pos x="connsiteX11022" y="connsiteY11022"/>
              </a:cxn>
              <a:cxn ang="0">
                <a:pos x="connsiteX11023" y="connsiteY11023"/>
              </a:cxn>
              <a:cxn ang="0">
                <a:pos x="connsiteX11024" y="connsiteY11024"/>
              </a:cxn>
              <a:cxn ang="0">
                <a:pos x="connsiteX11025" y="connsiteY11025"/>
              </a:cxn>
              <a:cxn ang="0">
                <a:pos x="connsiteX11026" y="connsiteY11026"/>
              </a:cxn>
              <a:cxn ang="0">
                <a:pos x="connsiteX11027" y="connsiteY11027"/>
              </a:cxn>
              <a:cxn ang="0">
                <a:pos x="connsiteX11028" y="connsiteY11028"/>
              </a:cxn>
              <a:cxn ang="0">
                <a:pos x="connsiteX11029" y="connsiteY11029"/>
              </a:cxn>
              <a:cxn ang="0">
                <a:pos x="connsiteX11030" y="connsiteY11030"/>
              </a:cxn>
              <a:cxn ang="0">
                <a:pos x="connsiteX11031" y="connsiteY11031"/>
              </a:cxn>
              <a:cxn ang="0">
                <a:pos x="connsiteX11032" y="connsiteY11032"/>
              </a:cxn>
              <a:cxn ang="0">
                <a:pos x="connsiteX11033" y="connsiteY11033"/>
              </a:cxn>
              <a:cxn ang="0">
                <a:pos x="connsiteX11034" y="connsiteY11034"/>
              </a:cxn>
              <a:cxn ang="0">
                <a:pos x="connsiteX11035" y="connsiteY11035"/>
              </a:cxn>
              <a:cxn ang="0">
                <a:pos x="connsiteX11036" y="connsiteY11036"/>
              </a:cxn>
              <a:cxn ang="0">
                <a:pos x="connsiteX11037" y="connsiteY11037"/>
              </a:cxn>
              <a:cxn ang="0">
                <a:pos x="connsiteX11038" y="connsiteY11038"/>
              </a:cxn>
              <a:cxn ang="0">
                <a:pos x="connsiteX11039" y="connsiteY11039"/>
              </a:cxn>
              <a:cxn ang="0">
                <a:pos x="connsiteX11040" y="connsiteY11040"/>
              </a:cxn>
              <a:cxn ang="0">
                <a:pos x="connsiteX11041" y="connsiteY11041"/>
              </a:cxn>
              <a:cxn ang="0">
                <a:pos x="connsiteX11042" y="connsiteY11042"/>
              </a:cxn>
              <a:cxn ang="0">
                <a:pos x="connsiteX11043" y="connsiteY11043"/>
              </a:cxn>
              <a:cxn ang="0">
                <a:pos x="connsiteX11044" y="connsiteY11044"/>
              </a:cxn>
              <a:cxn ang="0">
                <a:pos x="connsiteX11045" y="connsiteY11045"/>
              </a:cxn>
              <a:cxn ang="0">
                <a:pos x="connsiteX11046" y="connsiteY11046"/>
              </a:cxn>
              <a:cxn ang="0">
                <a:pos x="connsiteX11047" y="connsiteY11047"/>
              </a:cxn>
              <a:cxn ang="0">
                <a:pos x="connsiteX11048" y="connsiteY11048"/>
              </a:cxn>
              <a:cxn ang="0">
                <a:pos x="connsiteX11049" y="connsiteY11049"/>
              </a:cxn>
              <a:cxn ang="0">
                <a:pos x="connsiteX11050" y="connsiteY11050"/>
              </a:cxn>
              <a:cxn ang="0">
                <a:pos x="connsiteX11051" y="connsiteY11051"/>
              </a:cxn>
              <a:cxn ang="0">
                <a:pos x="connsiteX11052" y="connsiteY11052"/>
              </a:cxn>
              <a:cxn ang="0">
                <a:pos x="connsiteX11053" y="connsiteY11053"/>
              </a:cxn>
              <a:cxn ang="0">
                <a:pos x="connsiteX11054" y="connsiteY11054"/>
              </a:cxn>
              <a:cxn ang="0">
                <a:pos x="connsiteX11055" y="connsiteY11055"/>
              </a:cxn>
              <a:cxn ang="0">
                <a:pos x="connsiteX11056" y="connsiteY11056"/>
              </a:cxn>
              <a:cxn ang="0">
                <a:pos x="connsiteX11057" y="connsiteY11057"/>
              </a:cxn>
              <a:cxn ang="0">
                <a:pos x="connsiteX11058" y="connsiteY11058"/>
              </a:cxn>
              <a:cxn ang="0">
                <a:pos x="connsiteX11059" y="connsiteY11059"/>
              </a:cxn>
              <a:cxn ang="0">
                <a:pos x="connsiteX11060" y="connsiteY11060"/>
              </a:cxn>
              <a:cxn ang="0">
                <a:pos x="connsiteX11061" y="connsiteY11061"/>
              </a:cxn>
              <a:cxn ang="0">
                <a:pos x="connsiteX11062" y="connsiteY11062"/>
              </a:cxn>
              <a:cxn ang="0">
                <a:pos x="connsiteX11063" y="connsiteY11063"/>
              </a:cxn>
              <a:cxn ang="0">
                <a:pos x="connsiteX11064" y="connsiteY11064"/>
              </a:cxn>
              <a:cxn ang="0">
                <a:pos x="connsiteX11065" y="connsiteY11065"/>
              </a:cxn>
              <a:cxn ang="0">
                <a:pos x="connsiteX11066" y="connsiteY11066"/>
              </a:cxn>
              <a:cxn ang="0">
                <a:pos x="connsiteX11067" y="connsiteY11067"/>
              </a:cxn>
              <a:cxn ang="0">
                <a:pos x="connsiteX11068" y="connsiteY11068"/>
              </a:cxn>
              <a:cxn ang="0">
                <a:pos x="connsiteX11069" y="connsiteY11069"/>
              </a:cxn>
              <a:cxn ang="0">
                <a:pos x="connsiteX11070" y="connsiteY11070"/>
              </a:cxn>
              <a:cxn ang="0">
                <a:pos x="connsiteX11071" y="connsiteY11071"/>
              </a:cxn>
              <a:cxn ang="0">
                <a:pos x="connsiteX11072" y="connsiteY11072"/>
              </a:cxn>
              <a:cxn ang="0">
                <a:pos x="connsiteX11073" y="connsiteY11073"/>
              </a:cxn>
              <a:cxn ang="0">
                <a:pos x="connsiteX11074" y="connsiteY11074"/>
              </a:cxn>
              <a:cxn ang="0">
                <a:pos x="connsiteX11075" y="connsiteY11075"/>
              </a:cxn>
              <a:cxn ang="0">
                <a:pos x="connsiteX11076" y="connsiteY11076"/>
              </a:cxn>
              <a:cxn ang="0">
                <a:pos x="connsiteX11077" y="connsiteY11077"/>
              </a:cxn>
              <a:cxn ang="0">
                <a:pos x="connsiteX11078" y="connsiteY11078"/>
              </a:cxn>
              <a:cxn ang="0">
                <a:pos x="connsiteX11079" y="connsiteY11079"/>
              </a:cxn>
              <a:cxn ang="0">
                <a:pos x="connsiteX11080" y="connsiteY11080"/>
              </a:cxn>
              <a:cxn ang="0">
                <a:pos x="connsiteX11081" y="connsiteY11081"/>
              </a:cxn>
              <a:cxn ang="0">
                <a:pos x="connsiteX11082" y="connsiteY11082"/>
              </a:cxn>
              <a:cxn ang="0">
                <a:pos x="connsiteX11083" y="connsiteY11083"/>
              </a:cxn>
              <a:cxn ang="0">
                <a:pos x="connsiteX11084" y="connsiteY11084"/>
              </a:cxn>
              <a:cxn ang="0">
                <a:pos x="connsiteX11085" y="connsiteY11085"/>
              </a:cxn>
              <a:cxn ang="0">
                <a:pos x="connsiteX11086" y="connsiteY11086"/>
              </a:cxn>
              <a:cxn ang="0">
                <a:pos x="connsiteX11087" y="connsiteY11087"/>
              </a:cxn>
              <a:cxn ang="0">
                <a:pos x="connsiteX11088" y="connsiteY11088"/>
              </a:cxn>
              <a:cxn ang="0">
                <a:pos x="connsiteX11089" y="connsiteY11089"/>
              </a:cxn>
              <a:cxn ang="0">
                <a:pos x="connsiteX11090" y="connsiteY11090"/>
              </a:cxn>
              <a:cxn ang="0">
                <a:pos x="connsiteX11091" y="connsiteY11091"/>
              </a:cxn>
              <a:cxn ang="0">
                <a:pos x="connsiteX11092" y="connsiteY11092"/>
              </a:cxn>
              <a:cxn ang="0">
                <a:pos x="connsiteX11093" y="connsiteY11093"/>
              </a:cxn>
              <a:cxn ang="0">
                <a:pos x="connsiteX11094" y="connsiteY11094"/>
              </a:cxn>
              <a:cxn ang="0">
                <a:pos x="connsiteX11095" y="connsiteY11095"/>
              </a:cxn>
              <a:cxn ang="0">
                <a:pos x="connsiteX11096" y="connsiteY11096"/>
              </a:cxn>
              <a:cxn ang="0">
                <a:pos x="connsiteX11097" y="connsiteY11097"/>
              </a:cxn>
              <a:cxn ang="0">
                <a:pos x="connsiteX11098" y="connsiteY11098"/>
              </a:cxn>
              <a:cxn ang="0">
                <a:pos x="connsiteX11099" y="connsiteY11099"/>
              </a:cxn>
              <a:cxn ang="0">
                <a:pos x="connsiteX11100" y="connsiteY11100"/>
              </a:cxn>
              <a:cxn ang="0">
                <a:pos x="connsiteX11101" y="connsiteY11101"/>
              </a:cxn>
              <a:cxn ang="0">
                <a:pos x="connsiteX11102" y="connsiteY11102"/>
              </a:cxn>
              <a:cxn ang="0">
                <a:pos x="connsiteX11103" y="connsiteY11103"/>
              </a:cxn>
              <a:cxn ang="0">
                <a:pos x="connsiteX11104" y="connsiteY11104"/>
              </a:cxn>
              <a:cxn ang="0">
                <a:pos x="connsiteX11105" y="connsiteY11105"/>
              </a:cxn>
              <a:cxn ang="0">
                <a:pos x="connsiteX11106" y="connsiteY11106"/>
              </a:cxn>
              <a:cxn ang="0">
                <a:pos x="connsiteX11107" y="connsiteY11107"/>
              </a:cxn>
              <a:cxn ang="0">
                <a:pos x="connsiteX11108" y="connsiteY11108"/>
              </a:cxn>
              <a:cxn ang="0">
                <a:pos x="connsiteX11109" y="connsiteY11109"/>
              </a:cxn>
              <a:cxn ang="0">
                <a:pos x="connsiteX11110" y="connsiteY11110"/>
              </a:cxn>
              <a:cxn ang="0">
                <a:pos x="connsiteX11111" y="connsiteY11111"/>
              </a:cxn>
              <a:cxn ang="0">
                <a:pos x="connsiteX11112" y="connsiteY11112"/>
              </a:cxn>
              <a:cxn ang="0">
                <a:pos x="connsiteX11113" y="connsiteY11113"/>
              </a:cxn>
              <a:cxn ang="0">
                <a:pos x="connsiteX11114" y="connsiteY11114"/>
              </a:cxn>
              <a:cxn ang="0">
                <a:pos x="connsiteX11115" y="connsiteY11115"/>
              </a:cxn>
              <a:cxn ang="0">
                <a:pos x="connsiteX11116" y="connsiteY11116"/>
              </a:cxn>
              <a:cxn ang="0">
                <a:pos x="connsiteX11117" y="connsiteY11117"/>
              </a:cxn>
              <a:cxn ang="0">
                <a:pos x="connsiteX11118" y="connsiteY11118"/>
              </a:cxn>
              <a:cxn ang="0">
                <a:pos x="connsiteX11119" y="connsiteY11119"/>
              </a:cxn>
              <a:cxn ang="0">
                <a:pos x="connsiteX11120" y="connsiteY11120"/>
              </a:cxn>
              <a:cxn ang="0">
                <a:pos x="connsiteX11121" y="connsiteY11121"/>
              </a:cxn>
              <a:cxn ang="0">
                <a:pos x="connsiteX11122" y="connsiteY11122"/>
              </a:cxn>
              <a:cxn ang="0">
                <a:pos x="connsiteX11123" y="connsiteY11123"/>
              </a:cxn>
              <a:cxn ang="0">
                <a:pos x="connsiteX11124" y="connsiteY11124"/>
              </a:cxn>
              <a:cxn ang="0">
                <a:pos x="connsiteX11125" y="connsiteY11125"/>
              </a:cxn>
              <a:cxn ang="0">
                <a:pos x="connsiteX11126" y="connsiteY11126"/>
              </a:cxn>
              <a:cxn ang="0">
                <a:pos x="connsiteX11127" y="connsiteY11127"/>
              </a:cxn>
              <a:cxn ang="0">
                <a:pos x="connsiteX11128" y="connsiteY11128"/>
              </a:cxn>
              <a:cxn ang="0">
                <a:pos x="connsiteX11129" y="connsiteY11129"/>
              </a:cxn>
              <a:cxn ang="0">
                <a:pos x="connsiteX11130" y="connsiteY11130"/>
              </a:cxn>
              <a:cxn ang="0">
                <a:pos x="connsiteX11131" y="connsiteY11131"/>
              </a:cxn>
              <a:cxn ang="0">
                <a:pos x="connsiteX11132" y="connsiteY11132"/>
              </a:cxn>
              <a:cxn ang="0">
                <a:pos x="connsiteX11133" y="connsiteY11133"/>
              </a:cxn>
              <a:cxn ang="0">
                <a:pos x="connsiteX11134" y="connsiteY11134"/>
              </a:cxn>
              <a:cxn ang="0">
                <a:pos x="connsiteX11135" y="connsiteY11135"/>
              </a:cxn>
              <a:cxn ang="0">
                <a:pos x="connsiteX11136" y="connsiteY11136"/>
              </a:cxn>
              <a:cxn ang="0">
                <a:pos x="connsiteX11137" y="connsiteY11137"/>
              </a:cxn>
              <a:cxn ang="0">
                <a:pos x="connsiteX11138" y="connsiteY11138"/>
              </a:cxn>
              <a:cxn ang="0">
                <a:pos x="connsiteX11139" y="connsiteY11139"/>
              </a:cxn>
              <a:cxn ang="0">
                <a:pos x="connsiteX11140" y="connsiteY11140"/>
              </a:cxn>
              <a:cxn ang="0">
                <a:pos x="connsiteX11141" y="connsiteY11141"/>
              </a:cxn>
              <a:cxn ang="0">
                <a:pos x="connsiteX11142" y="connsiteY11142"/>
              </a:cxn>
              <a:cxn ang="0">
                <a:pos x="connsiteX11143" y="connsiteY11143"/>
              </a:cxn>
              <a:cxn ang="0">
                <a:pos x="connsiteX11144" y="connsiteY11144"/>
              </a:cxn>
              <a:cxn ang="0">
                <a:pos x="connsiteX11145" y="connsiteY11145"/>
              </a:cxn>
              <a:cxn ang="0">
                <a:pos x="connsiteX11146" y="connsiteY11146"/>
              </a:cxn>
              <a:cxn ang="0">
                <a:pos x="connsiteX11147" y="connsiteY11147"/>
              </a:cxn>
              <a:cxn ang="0">
                <a:pos x="connsiteX11148" y="connsiteY11148"/>
              </a:cxn>
              <a:cxn ang="0">
                <a:pos x="connsiteX11149" y="connsiteY11149"/>
              </a:cxn>
              <a:cxn ang="0">
                <a:pos x="connsiteX11150" y="connsiteY11150"/>
              </a:cxn>
              <a:cxn ang="0">
                <a:pos x="connsiteX11151" y="connsiteY11151"/>
              </a:cxn>
              <a:cxn ang="0">
                <a:pos x="connsiteX11152" y="connsiteY11152"/>
              </a:cxn>
              <a:cxn ang="0">
                <a:pos x="connsiteX11153" y="connsiteY11153"/>
              </a:cxn>
              <a:cxn ang="0">
                <a:pos x="connsiteX11154" y="connsiteY11154"/>
              </a:cxn>
              <a:cxn ang="0">
                <a:pos x="connsiteX11155" y="connsiteY11155"/>
              </a:cxn>
              <a:cxn ang="0">
                <a:pos x="connsiteX11156" y="connsiteY11156"/>
              </a:cxn>
              <a:cxn ang="0">
                <a:pos x="connsiteX11157" y="connsiteY11157"/>
              </a:cxn>
              <a:cxn ang="0">
                <a:pos x="connsiteX11158" y="connsiteY11158"/>
              </a:cxn>
              <a:cxn ang="0">
                <a:pos x="connsiteX11159" y="connsiteY11159"/>
              </a:cxn>
              <a:cxn ang="0">
                <a:pos x="connsiteX11160" y="connsiteY11160"/>
              </a:cxn>
              <a:cxn ang="0">
                <a:pos x="connsiteX11161" y="connsiteY11161"/>
              </a:cxn>
              <a:cxn ang="0">
                <a:pos x="connsiteX11162" y="connsiteY11162"/>
              </a:cxn>
              <a:cxn ang="0">
                <a:pos x="connsiteX11163" y="connsiteY11163"/>
              </a:cxn>
              <a:cxn ang="0">
                <a:pos x="connsiteX11164" y="connsiteY11164"/>
              </a:cxn>
              <a:cxn ang="0">
                <a:pos x="connsiteX11165" y="connsiteY11165"/>
              </a:cxn>
              <a:cxn ang="0">
                <a:pos x="connsiteX11166" y="connsiteY11166"/>
              </a:cxn>
              <a:cxn ang="0">
                <a:pos x="connsiteX11167" y="connsiteY11167"/>
              </a:cxn>
              <a:cxn ang="0">
                <a:pos x="connsiteX11168" y="connsiteY11168"/>
              </a:cxn>
              <a:cxn ang="0">
                <a:pos x="connsiteX11169" y="connsiteY11169"/>
              </a:cxn>
              <a:cxn ang="0">
                <a:pos x="connsiteX11170" y="connsiteY11170"/>
              </a:cxn>
              <a:cxn ang="0">
                <a:pos x="connsiteX11171" y="connsiteY11171"/>
              </a:cxn>
              <a:cxn ang="0">
                <a:pos x="connsiteX11172" y="connsiteY11172"/>
              </a:cxn>
              <a:cxn ang="0">
                <a:pos x="connsiteX11173" y="connsiteY11173"/>
              </a:cxn>
              <a:cxn ang="0">
                <a:pos x="connsiteX11174" y="connsiteY11174"/>
              </a:cxn>
              <a:cxn ang="0">
                <a:pos x="connsiteX11175" y="connsiteY11175"/>
              </a:cxn>
              <a:cxn ang="0">
                <a:pos x="connsiteX11176" y="connsiteY11176"/>
              </a:cxn>
              <a:cxn ang="0">
                <a:pos x="connsiteX11177" y="connsiteY11177"/>
              </a:cxn>
              <a:cxn ang="0">
                <a:pos x="connsiteX11178" y="connsiteY11178"/>
              </a:cxn>
              <a:cxn ang="0">
                <a:pos x="connsiteX11179" y="connsiteY11179"/>
              </a:cxn>
              <a:cxn ang="0">
                <a:pos x="connsiteX11180" y="connsiteY11180"/>
              </a:cxn>
              <a:cxn ang="0">
                <a:pos x="connsiteX11181" y="connsiteY11181"/>
              </a:cxn>
              <a:cxn ang="0">
                <a:pos x="connsiteX11182" y="connsiteY11182"/>
              </a:cxn>
              <a:cxn ang="0">
                <a:pos x="connsiteX11183" y="connsiteY11183"/>
              </a:cxn>
              <a:cxn ang="0">
                <a:pos x="connsiteX11184" y="connsiteY11184"/>
              </a:cxn>
              <a:cxn ang="0">
                <a:pos x="connsiteX11185" y="connsiteY11185"/>
              </a:cxn>
              <a:cxn ang="0">
                <a:pos x="connsiteX11186" y="connsiteY11186"/>
              </a:cxn>
              <a:cxn ang="0">
                <a:pos x="connsiteX11187" y="connsiteY11187"/>
              </a:cxn>
              <a:cxn ang="0">
                <a:pos x="connsiteX11188" y="connsiteY11188"/>
              </a:cxn>
              <a:cxn ang="0">
                <a:pos x="connsiteX11189" y="connsiteY11189"/>
              </a:cxn>
              <a:cxn ang="0">
                <a:pos x="connsiteX11190" y="connsiteY11190"/>
              </a:cxn>
              <a:cxn ang="0">
                <a:pos x="connsiteX11191" y="connsiteY11191"/>
              </a:cxn>
              <a:cxn ang="0">
                <a:pos x="connsiteX11192" y="connsiteY11192"/>
              </a:cxn>
              <a:cxn ang="0">
                <a:pos x="connsiteX11193" y="connsiteY11193"/>
              </a:cxn>
              <a:cxn ang="0">
                <a:pos x="connsiteX11194" y="connsiteY11194"/>
              </a:cxn>
              <a:cxn ang="0">
                <a:pos x="connsiteX11195" y="connsiteY11195"/>
              </a:cxn>
              <a:cxn ang="0">
                <a:pos x="connsiteX11196" y="connsiteY11196"/>
              </a:cxn>
              <a:cxn ang="0">
                <a:pos x="connsiteX11197" y="connsiteY11197"/>
              </a:cxn>
              <a:cxn ang="0">
                <a:pos x="connsiteX11198" y="connsiteY11198"/>
              </a:cxn>
              <a:cxn ang="0">
                <a:pos x="connsiteX11199" y="connsiteY11199"/>
              </a:cxn>
              <a:cxn ang="0">
                <a:pos x="connsiteX11200" y="connsiteY11200"/>
              </a:cxn>
              <a:cxn ang="0">
                <a:pos x="connsiteX11201" y="connsiteY11201"/>
              </a:cxn>
              <a:cxn ang="0">
                <a:pos x="connsiteX11202" y="connsiteY11202"/>
              </a:cxn>
              <a:cxn ang="0">
                <a:pos x="connsiteX11203" y="connsiteY11203"/>
              </a:cxn>
              <a:cxn ang="0">
                <a:pos x="connsiteX11204" y="connsiteY11204"/>
              </a:cxn>
              <a:cxn ang="0">
                <a:pos x="connsiteX11205" y="connsiteY11205"/>
              </a:cxn>
              <a:cxn ang="0">
                <a:pos x="connsiteX11206" y="connsiteY11206"/>
              </a:cxn>
              <a:cxn ang="0">
                <a:pos x="connsiteX11207" y="connsiteY11207"/>
              </a:cxn>
              <a:cxn ang="0">
                <a:pos x="connsiteX11208" y="connsiteY11208"/>
              </a:cxn>
              <a:cxn ang="0">
                <a:pos x="connsiteX11209" y="connsiteY11209"/>
              </a:cxn>
              <a:cxn ang="0">
                <a:pos x="connsiteX11210" y="connsiteY11210"/>
              </a:cxn>
              <a:cxn ang="0">
                <a:pos x="connsiteX11211" y="connsiteY11211"/>
              </a:cxn>
              <a:cxn ang="0">
                <a:pos x="connsiteX11212" y="connsiteY11212"/>
              </a:cxn>
              <a:cxn ang="0">
                <a:pos x="connsiteX11213" y="connsiteY11213"/>
              </a:cxn>
              <a:cxn ang="0">
                <a:pos x="connsiteX11214" y="connsiteY11214"/>
              </a:cxn>
              <a:cxn ang="0">
                <a:pos x="connsiteX11215" y="connsiteY11215"/>
              </a:cxn>
              <a:cxn ang="0">
                <a:pos x="connsiteX11216" y="connsiteY11216"/>
              </a:cxn>
              <a:cxn ang="0">
                <a:pos x="connsiteX11217" y="connsiteY11217"/>
              </a:cxn>
              <a:cxn ang="0">
                <a:pos x="connsiteX11218" y="connsiteY11218"/>
              </a:cxn>
              <a:cxn ang="0">
                <a:pos x="connsiteX11219" y="connsiteY11219"/>
              </a:cxn>
              <a:cxn ang="0">
                <a:pos x="connsiteX11220" y="connsiteY11220"/>
              </a:cxn>
              <a:cxn ang="0">
                <a:pos x="connsiteX11221" y="connsiteY11221"/>
              </a:cxn>
              <a:cxn ang="0">
                <a:pos x="connsiteX11222" y="connsiteY11222"/>
              </a:cxn>
              <a:cxn ang="0">
                <a:pos x="connsiteX11223" y="connsiteY11223"/>
              </a:cxn>
              <a:cxn ang="0">
                <a:pos x="connsiteX11224" y="connsiteY11224"/>
              </a:cxn>
              <a:cxn ang="0">
                <a:pos x="connsiteX11225" y="connsiteY11225"/>
              </a:cxn>
              <a:cxn ang="0">
                <a:pos x="connsiteX11226" y="connsiteY11226"/>
              </a:cxn>
              <a:cxn ang="0">
                <a:pos x="connsiteX11227" y="connsiteY11227"/>
              </a:cxn>
              <a:cxn ang="0">
                <a:pos x="connsiteX11228" y="connsiteY11228"/>
              </a:cxn>
              <a:cxn ang="0">
                <a:pos x="connsiteX11229" y="connsiteY11229"/>
              </a:cxn>
              <a:cxn ang="0">
                <a:pos x="connsiteX11230" y="connsiteY11230"/>
              </a:cxn>
              <a:cxn ang="0">
                <a:pos x="connsiteX11231" y="connsiteY11231"/>
              </a:cxn>
              <a:cxn ang="0">
                <a:pos x="connsiteX11232" y="connsiteY11232"/>
              </a:cxn>
              <a:cxn ang="0">
                <a:pos x="connsiteX11233" y="connsiteY11233"/>
              </a:cxn>
              <a:cxn ang="0">
                <a:pos x="connsiteX11234" y="connsiteY11234"/>
              </a:cxn>
              <a:cxn ang="0">
                <a:pos x="connsiteX11235" y="connsiteY11235"/>
              </a:cxn>
              <a:cxn ang="0">
                <a:pos x="connsiteX11236" y="connsiteY11236"/>
              </a:cxn>
              <a:cxn ang="0">
                <a:pos x="connsiteX11237" y="connsiteY11237"/>
              </a:cxn>
              <a:cxn ang="0">
                <a:pos x="connsiteX11238" y="connsiteY11238"/>
              </a:cxn>
              <a:cxn ang="0">
                <a:pos x="connsiteX11239" y="connsiteY11239"/>
              </a:cxn>
              <a:cxn ang="0">
                <a:pos x="connsiteX11240" y="connsiteY11240"/>
              </a:cxn>
              <a:cxn ang="0">
                <a:pos x="connsiteX11241" y="connsiteY11241"/>
              </a:cxn>
              <a:cxn ang="0">
                <a:pos x="connsiteX11242" y="connsiteY11242"/>
              </a:cxn>
              <a:cxn ang="0">
                <a:pos x="connsiteX11243" y="connsiteY11243"/>
              </a:cxn>
              <a:cxn ang="0">
                <a:pos x="connsiteX11244" y="connsiteY11244"/>
              </a:cxn>
              <a:cxn ang="0">
                <a:pos x="connsiteX11245" y="connsiteY11245"/>
              </a:cxn>
              <a:cxn ang="0">
                <a:pos x="connsiteX11246" y="connsiteY11246"/>
              </a:cxn>
              <a:cxn ang="0">
                <a:pos x="connsiteX11247" y="connsiteY11247"/>
              </a:cxn>
              <a:cxn ang="0">
                <a:pos x="connsiteX11248" y="connsiteY11248"/>
              </a:cxn>
              <a:cxn ang="0">
                <a:pos x="connsiteX11249" y="connsiteY11249"/>
              </a:cxn>
              <a:cxn ang="0">
                <a:pos x="connsiteX11250" y="connsiteY11250"/>
              </a:cxn>
              <a:cxn ang="0">
                <a:pos x="connsiteX11251" y="connsiteY11251"/>
              </a:cxn>
              <a:cxn ang="0">
                <a:pos x="connsiteX11252" y="connsiteY11252"/>
              </a:cxn>
              <a:cxn ang="0">
                <a:pos x="connsiteX11253" y="connsiteY11253"/>
              </a:cxn>
              <a:cxn ang="0">
                <a:pos x="connsiteX11254" y="connsiteY11254"/>
              </a:cxn>
              <a:cxn ang="0">
                <a:pos x="connsiteX11255" y="connsiteY11255"/>
              </a:cxn>
              <a:cxn ang="0">
                <a:pos x="connsiteX11256" y="connsiteY11256"/>
              </a:cxn>
              <a:cxn ang="0">
                <a:pos x="connsiteX11257" y="connsiteY11257"/>
              </a:cxn>
              <a:cxn ang="0">
                <a:pos x="connsiteX11258" y="connsiteY11258"/>
              </a:cxn>
              <a:cxn ang="0">
                <a:pos x="connsiteX11259" y="connsiteY11259"/>
              </a:cxn>
              <a:cxn ang="0">
                <a:pos x="connsiteX11260" y="connsiteY11260"/>
              </a:cxn>
              <a:cxn ang="0">
                <a:pos x="connsiteX11261" y="connsiteY11261"/>
              </a:cxn>
              <a:cxn ang="0">
                <a:pos x="connsiteX11262" y="connsiteY11262"/>
              </a:cxn>
              <a:cxn ang="0">
                <a:pos x="connsiteX11263" y="connsiteY11263"/>
              </a:cxn>
              <a:cxn ang="0">
                <a:pos x="connsiteX11264" y="connsiteY11264"/>
              </a:cxn>
              <a:cxn ang="0">
                <a:pos x="connsiteX11265" y="connsiteY11265"/>
              </a:cxn>
              <a:cxn ang="0">
                <a:pos x="connsiteX11266" y="connsiteY11266"/>
              </a:cxn>
              <a:cxn ang="0">
                <a:pos x="connsiteX11267" y="connsiteY11267"/>
              </a:cxn>
              <a:cxn ang="0">
                <a:pos x="connsiteX11268" y="connsiteY11268"/>
              </a:cxn>
              <a:cxn ang="0">
                <a:pos x="connsiteX11269" y="connsiteY11269"/>
              </a:cxn>
              <a:cxn ang="0">
                <a:pos x="connsiteX11270" y="connsiteY11270"/>
              </a:cxn>
              <a:cxn ang="0">
                <a:pos x="connsiteX11271" y="connsiteY11271"/>
              </a:cxn>
              <a:cxn ang="0">
                <a:pos x="connsiteX11272" y="connsiteY11272"/>
              </a:cxn>
              <a:cxn ang="0">
                <a:pos x="connsiteX11273" y="connsiteY11273"/>
              </a:cxn>
              <a:cxn ang="0">
                <a:pos x="connsiteX11274" y="connsiteY11274"/>
              </a:cxn>
              <a:cxn ang="0">
                <a:pos x="connsiteX11275" y="connsiteY11275"/>
              </a:cxn>
              <a:cxn ang="0">
                <a:pos x="connsiteX11276" y="connsiteY11276"/>
              </a:cxn>
              <a:cxn ang="0">
                <a:pos x="connsiteX11277" y="connsiteY11277"/>
              </a:cxn>
              <a:cxn ang="0">
                <a:pos x="connsiteX11278" y="connsiteY11278"/>
              </a:cxn>
              <a:cxn ang="0">
                <a:pos x="connsiteX11279" y="connsiteY11279"/>
              </a:cxn>
              <a:cxn ang="0">
                <a:pos x="connsiteX11280" y="connsiteY11280"/>
              </a:cxn>
              <a:cxn ang="0">
                <a:pos x="connsiteX11281" y="connsiteY11281"/>
              </a:cxn>
              <a:cxn ang="0">
                <a:pos x="connsiteX11282" y="connsiteY11282"/>
              </a:cxn>
              <a:cxn ang="0">
                <a:pos x="connsiteX11283" y="connsiteY11283"/>
              </a:cxn>
              <a:cxn ang="0">
                <a:pos x="connsiteX11284" y="connsiteY11284"/>
              </a:cxn>
              <a:cxn ang="0">
                <a:pos x="connsiteX11285" y="connsiteY11285"/>
              </a:cxn>
              <a:cxn ang="0">
                <a:pos x="connsiteX11286" y="connsiteY11286"/>
              </a:cxn>
              <a:cxn ang="0">
                <a:pos x="connsiteX11287" y="connsiteY11287"/>
              </a:cxn>
              <a:cxn ang="0">
                <a:pos x="connsiteX11288" y="connsiteY11288"/>
              </a:cxn>
              <a:cxn ang="0">
                <a:pos x="connsiteX11289" y="connsiteY11289"/>
              </a:cxn>
              <a:cxn ang="0">
                <a:pos x="connsiteX11290" y="connsiteY11290"/>
              </a:cxn>
              <a:cxn ang="0">
                <a:pos x="connsiteX11291" y="connsiteY11291"/>
              </a:cxn>
              <a:cxn ang="0">
                <a:pos x="connsiteX11292" y="connsiteY11292"/>
              </a:cxn>
              <a:cxn ang="0">
                <a:pos x="connsiteX11293" y="connsiteY11293"/>
              </a:cxn>
              <a:cxn ang="0">
                <a:pos x="connsiteX11294" y="connsiteY11294"/>
              </a:cxn>
              <a:cxn ang="0">
                <a:pos x="connsiteX11295" y="connsiteY11295"/>
              </a:cxn>
              <a:cxn ang="0">
                <a:pos x="connsiteX11296" y="connsiteY11296"/>
              </a:cxn>
              <a:cxn ang="0">
                <a:pos x="connsiteX11297" y="connsiteY11297"/>
              </a:cxn>
              <a:cxn ang="0">
                <a:pos x="connsiteX11298" y="connsiteY11298"/>
              </a:cxn>
              <a:cxn ang="0">
                <a:pos x="connsiteX11299" y="connsiteY11299"/>
              </a:cxn>
              <a:cxn ang="0">
                <a:pos x="connsiteX11300" y="connsiteY11300"/>
              </a:cxn>
              <a:cxn ang="0">
                <a:pos x="connsiteX11301" y="connsiteY11301"/>
              </a:cxn>
              <a:cxn ang="0">
                <a:pos x="connsiteX11302" y="connsiteY11302"/>
              </a:cxn>
              <a:cxn ang="0">
                <a:pos x="connsiteX11303" y="connsiteY11303"/>
              </a:cxn>
              <a:cxn ang="0">
                <a:pos x="connsiteX11304" y="connsiteY11304"/>
              </a:cxn>
              <a:cxn ang="0">
                <a:pos x="connsiteX11305" y="connsiteY11305"/>
              </a:cxn>
              <a:cxn ang="0">
                <a:pos x="connsiteX11306" y="connsiteY11306"/>
              </a:cxn>
              <a:cxn ang="0">
                <a:pos x="connsiteX11307" y="connsiteY11307"/>
              </a:cxn>
              <a:cxn ang="0">
                <a:pos x="connsiteX11308" y="connsiteY11308"/>
              </a:cxn>
              <a:cxn ang="0">
                <a:pos x="connsiteX11309" y="connsiteY11309"/>
              </a:cxn>
              <a:cxn ang="0">
                <a:pos x="connsiteX11310" y="connsiteY11310"/>
              </a:cxn>
              <a:cxn ang="0">
                <a:pos x="connsiteX11311" y="connsiteY11311"/>
              </a:cxn>
              <a:cxn ang="0">
                <a:pos x="connsiteX11312" y="connsiteY11312"/>
              </a:cxn>
              <a:cxn ang="0">
                <a:pos x="connsiteX11313" y="connsiteY11313"/>
              </a:cxn>
              <a:cxn ang="0">
                <a:pos x="connsiteX11314" y="connsiteY11314"/>
              </a:cxn>
              <a:cxn ang="0">
                <a:pos x="connsiteX11315" y="connsiteY11315"/>
              </a:cxn>
              <a:cxn ang="0">
                <a:pos x="connsiteX11316" y="connsiteY11316"/>
              </a:cxn>
              <a:cxn ang="0">
                <a:pos x="connsiteX11317" y="connsiteY11317"/>
              </a:cxn>
              <a:cxn ang="0">
                <a:pos x="connsiteX11318" y="connsiteY11318"/>
              </a:cxn>
              <a:cxn ang="0">
                <a:pos x="connsiteX11319" y="connsiteY11319"/>
              </a:cxn>
              <a:cxn ang="0">
                <a:pos x="connsiteX11320" y="connsiteY11320"/>
              </a:cxn>
              <a:cxn ang="0">
                <a:pos x="connsiteX11321" y="connsiteY11321"/>
              </a:cxn>
              <a:cxn ang="0">
                <a:pos x="connsiteX11322" y="connsiteY11322"/>
              </a:cxn>
              <a:cxn ang="0">
                <a:pos x="connsiteX11323" y="connsiteY11323"/>
              </a:cxn>
              <a:cxn ang="0">
                <a:pos x="connsiteX11324" y="connsiteY11324"/>
              </a:cxn>
              <a:cxn ang="0">
                <a:pos x="connsiteX11325" y="connsiteY11325"/>
              </a:cxn>
              <a:cxn ang="0">
                <a:pos x="connsiteX11326" y="connsiteY11326"/>
              </a:cxn>
              <a:cxn ang="0">
                <a:pos x="connsiteX11327" y="connsiteY11327"/>
              </a:cxn>
              <a:cxn ang="0">
                <a:pos x="connsiteX11328" y="connsiteY11328"/>
              </a:cxn>
              <a:cxn ang="0">
                <a:pos x="connsiteX11329" y="connsiteY11329"/>
              </a:cxn>
              <a:cxn ang="0">
                <a:pos x="connsiteX11330" y="connsiteY11330"/>
              </a:cxn>
              <a:cxn ang="0">
                <a:pos x="connsiteX11331" y="connsiteY11331"/>
              </a:cxn>
              <a:cxn ang="0">
                <a:pos x="connsiteX11332" y="connsiteY11332"/>
              </a:cxn>
              <a:cxn ang="0">
                <a:pos x="connsiteX11333" y="connsiteY11333"/>
              </a:cxn>
              <a:cxn ang="0">
                <a:pos x="connsiteX11334" y="connsiteY11334"/>
              </a:cxn>
              <a:cxn ang="0">
                <a:pos x="connsiteX11335" y="connsiteY11335"/>
              </a:cxn>
              <a:cxn ang="0">
                <a:pos x="connsiteX11336" y="connsiteY11336"/>
              </a:cxn>
              <a:cxn ang="0">
                <a:pos x="connsiteX11337" y="connsiteY11337"/>
              </a:cxn>
              <a:cxn ang="0">
                <a:pos x="connsiteX11338" y="connsiteY11338"/>
              </a:cxn>
              <a:cxn ang="0">
                <a:pos x="connsiteX11339" y="connsiteY11339"/>
              </a:cxn>
              <a:cxn ang="0">
                <a:pos x="connsiteX11340" y="connsiteY11340"/>
              </a:cxn>
              <a:cxn ang="0">
                <a:pos x="connsiteX11341" y="connsiteY11341"/>
              </a:cxn>
              <a:cxn ang="0">
                <a:pos x="connsiteX11342" y="connsiteY11342"/>
              </a:cxn>
              <a:cxn ang="0">
                <a:pos x="connsiteX11343" y="connsiteY11343"/>
              </a:cxn>
              <a:cxn ang="0">
                <a:pos x="connsiteX11344" y="connsiteY11344"/>
              </a:cxn>
              <a:cxn ang="0">
                <a:pos x="connsiteX11345" y="connsiteY11345"/>
              </a:cxn>
              <a:cxn ang="0">
                <a:pos x="connsiteX11346" y="connsiteY11346"/>
              </a:cxn>
              <a:cxn ang="0">
                <a:pos x="connsiteX11347" y="connsiteY11347"/>
              </a:cxn>
              <a:cxn ang="0">
                <a:pos x="connsiteX11348" y="connsiteY11348"/>
              </a:cxn>
              <a:cxn ang="0">
                <a:pos x="connsiteX11349" y="connsiteY11349"/>
              </a:cxn>
              <a:cxn ang="0">
                <a:pos x="connsiteX11350" y="connsiteY11350"/>
              </a:cxn>
              <a:cxn ang="0">
                <a:pos x="connsiteX11351" y="connsiteY11351"/>
              </a:cxn>
              <a:cxn ang="0">
                <a:pos x="connsiteX11352" y="connsiteY11352"/>
              </a:cxn>
              <a:cxn ang="0">
                <a:pos x="connsiteX11353" y="connsiteY11353"/>
              </a:cxn>
              <a:cxn ang="0">
                <a:pos x="connsiteX11354" y="connsiteY11354"/>
              </a:cxn>
              <a:cxn ang="0">
                <a:pos x="connsiteX11355" y="connsiteY11355"/>
              </a:cxn>
              <a:cxn ang="0">
                <a:pos x="connsiteX11356" y="connsiteY11356"/>
              </a:cxn>
              <a:cxn ang="0">
                <a:pos x="connsiteX11357" y="connsiteY11357"/>
              </a:cxn>
              <a:cxn ang="0">
                <a:pos x="connsiteX11358" y="connsiteY11358"/>
              </a:cxn>
              <a:cxn ang="0">
                <a:pos x="connsiteX11359" y="connsiteY11359"/>
              </a:cxn>
              <a:cxn ang="0">
                <a:pos x="connsiteX11360" y="connsiteY11360"/>
              </a:cxn>
              <a:cxn ang="0">
                <a:pos x="connsiteX11361" y="connsiteY11361"/>
              </a:cxn>
              <a:cxn ang="0">
                <a:pos x="connsiteX11362" y="connsiteY11362"/>
              </a:cxn>
              <a:cxn ang="0">
                <a:pos x="connsiteX11363" y="connsiteY11363"/>
              </a:cxn>
              <a:cxn ang="0">
                <a:pos x="connsiteX11364" y="connsiteY11364"/>
              </a:cxn>
              <a:cxn ang="0">
                <a:pos x="connsiteX11365" y="connsiteY11365"/>
              </a:cxn>
              <a:cxn ang="0">
                <a:pos x="connsiteX11366" y="connsiteY11366"/>
              </a:cxn>
              <a:cxn ang="0">
                <a:pos x="connsiteX11367" y="connsiteY11367"/>
              </a:cxn>
              <a:cxn ang="0">
                <a:pos x="connsiteX11368" y="connsiteY11368"/>
              </a:cxn>
              <a:cxn ang="0">
                <a:pos x="connsiteX11369" y="connsiteY11369"/>
              </a:cxn>
              <a:cxn ang="0">
                <a:pos x="connsiteX11370" y="connsiteY11370"/>
              </a:cxn>
              <a:cxn ang="0">
                <a:pos x="connsiteX11371" y="connsiteY11371"/>
              </a:cxn>
              <a:cxn ang="0">
                <a:pos x="connsiteX11372" y="connsiteY11372"/>
              </a:cxn>
              <a:cxn ang="0">
                <a:pos x="connsiteX11373" y="connsiteY11373"/>
              </a:cxn>
              <a:cxn ang="0">
                <a:pos x="connsiteX11374" y="connsiteY11374"/>
              </a:cxn>
              <a:cxn ang="0">
                <a:pos x="connsiteX11375" y="connsiteY11375"/>
              </a:cxn>
              <a:cxn ang="0">
                <a:pos x="connsiteX11376" y="connsiteY11376"/>
              </a:cxn>
              <a:cxn ang="0">
                <a:pos x="connsiteX11377" y="connsiteY11377"/>
              </a:cxn>
              <a:cxn ang="0">
                <a:pos x="connsiteX11378" y="connsiteY11378"/>
              </a:cxn>
              <a:cxn ang="0">
                <a:pos x="connsiteX11379" y="connsiteY11379"/>
              </a:cxn>
              <a:cxn ang="0">
                <a:pos x="connsiteX11380" y="connsiteY11380"/>
              </a:cxn>
              <a:cxn ang="0">
                <a:pos x="connsiteX11381" y="connsiteY11381"/>
              </a:cxn>
              <a:cxn ang="0">
                <a:pos x="connsiteX11382" y="connsiteY11382"/>
              </a:cxn>
              <a:cxn ang="0">
                <a:pos x="connsiteX11383" y="connsiteY11383"/>
              </a:cxn>
              <a:cxn ang="0">
                <a:pos x="connsiteX11384" y="connsiteY11384"/>
              </a:cxn>
              <a:cxn ang="0">
                <a:pos x="connsiteX11385" y="connsiteY11385"/>
              </a:cxn>
              <a:cxn ang="0">
                <a:pos x="connsiteX11386" y="connsiteY11386"/>
              </a:cxn>
              <a:cxn ang="0">
                <a:pos x="connsiteX11387" y="connsiteY11387"/>
              </a:cxn>
              <a:cxn ang="0">
                <a:pos x="connsiteX11388" y="connsiteY11388"/>
              </a:cxn>
              <a:cxn ang="0">
                <a:pos x="connsiteX11389" y="connsiteY11389"/>
              </a:cxn>
              <a:cxn ang="0">
                <a:pos x="connsiteX11390" y="connsiteY11390"/>
              </a:cxn>
              <a:cxn ang="0">
                <a:pos x="connsiteX11391" y="connsiteY11391"/>
              </a:cxn>
              <a:cxn ang="0">
                <a:pos x="connsiteX11392" y="connsiteY11392"/>
              </a:cxn>
              <a:cxn ang="0">
                <a:pos x="connsiteX11393" y="connsiteY11393"/>
              </a:cxn>
              <a:cxn ang="0">
                <a:pos x="connsiteX11394" y="connsiteY11394"/>
              </a:cxn>
              <a:cxn ang="0">
                <a:pos x="connsiteX11395" y="connsiteY11395"/>
              </a:cxn>
              <a:cxn ang="0">
                <a:pos x="connsiteX11396" y="connsiteY11396"/>
              </a:cxn>
              <a:cxn ang="0">
                <a:pos x="connsiteX11397" y="connsiteY11397"/>
              </a:cxn>
              <a:cxn ang="0">
                <a:pos x="connsiteX11398" y="connsiteY11398"/>
              </a:cxn>
              <a:cxn ang="0">
                <a:pos x="connsiteX11399" y="connsiteY11399"/>
              </a:cxn>
              <a:cxn ang="0">
                <a:pos x="connsiteX11400" y="connsiteY11400"/>
              </a:cxn>
              <a:cxn ang="0">
                <a:pos x="connsiteX11401" y="connsiteY11401"/>
              </a:cxn>
              <a:cxn ang="0">
                <a:pos x="connsiteX11402" y="connsiteY11402"/>
              </a:cxn>
              <a:cxn ang="0">
                <a:pos x="connsiteX11403" y="connsiteY11403"/>
              </a:cxn>
              <a:cxn ang="0">
                <a:pos x="connsiteX11404" y="connsiteY11404"/>
              </a:cxn>
              <a:cxn ang="0">
                <a:pos x="connsiteX11405" y="connsiteY11405"/>
              </a:cxn>
              <a:cxn ang="0">
                <a:pos x="connsiteX11406" y="connsiteY11406"/>
              </a:cxn>
              <a:cxn ang="0">
                <a:pos x="connsiteX11407" y="connsiteY11407"/>
              </a:cxn>
              <a:cxn ang="0">
                <a:pos x="connsiteX11408" y="connsiteY11408"/>
              </a:cxn>
              <a:cxn ang="0">
                <a:pos x="connsiteX11409" y="connsiteY11409"/>
              </a:cxn>
              <a:cxn ang="0">
                <a:pos x="connsiteX11410" y="connsiteY11410"/>
              </a:cxn>
              <a:cxn ang="0">
                <a:pos x="connsiteX11411" y="connsiteY11411"/>
              </a:cxn>
              <a:cxn ang="0">
                <a:pos x="connsiteX11412" y="connsiteY11412"/>
              </a:cxn>
              <a:cxn ang="0">
                <a:pos x="connsiteX11413" y="connsiteY11413"/>
              </a:cxn>
              <a:cxn ang="0">
                <a:pos x="connsiteX11414" y="connsiteY11414"/>
              </a:cxn>
              <a:cxn ang="0">
                <a:pos x="connsiteX11415" y="connsiteY11415"/>
              </a:cxn>
              <a:cxn ang="0">
                <a:pos x="connsiteX11416" y="connsiteY11416"/>
              </a:cxn>
              <a:cxn ang="0">
                <a:pos x="connsiteX11417" y="connsiteY11417"/>
              </a:cxn>
              <a:cxn ang="0">
                <a:pos x="connsiteX11418" y="connsiteY11418"/>
              </a:cxn>
              <a:cxn ang="0">
                <a:pos x="connsiteX11419" y="connsiteY11419"/>
              </a:cxn>
              <a:cxn ang="0">
                <a:pos x="connsiteX11420" y="connsiteY11420"/>
              </a:cxn>
              <a:cxn ang="0">
                <a:pos x="connsiteX11421" y="connsiteY11421"/>
              </a:cxn>
              <a:cxn ang="0">
                <a:pos x="connsiteX11422" y="connsiteY11422"/>
              </a:cxn>
              <a:cxn ang="0">
                <a:pos x="connsiteX11423" y="connsiteY11423"/>
              </a:cxn>
              <a:cxn ang="0">
                <a:pos x="connsiteX11424" y="connsiteY11424"/>
              </a:cxn>
              <a:cxn ang="0">
                <a:pos x="connsiteX11425" y="connsiteY11425"/>
              </a:cxn>
              <a:cxn ang="0">
                <a:pos x="connsiteX11426" y="connsiteY11426"/>
              </a:cxn>
              <a:cxn ang="0">
                <a:pos x="connsiteX11427" y="connsiteY11427"/>
              </a:cxn>
              <a:cxn ang="0">
                <a:pos x="connsiteX11428" y="connsiteY11428"/>
              </a:cxn>
              <a:cxn ang="0">
                <a:pos x="connsiteX11429" y="connsiteY11429"/>
              </a:cxn>
              <a:cxn ang="0">
                <a:pos x="connsiteX11430" y="connsiteY11430"/>
              </a:cxn>
              <a:cxn ang="0">
                <a:pos x="connsiteX11431" y="connsiteY11431"/>
              </a:cxn>
              <a:cxn ang="0">
                <a:pos x="connsiteX11432" y="connsiteY11432"/>
              </a:cxn>
              <a:cxn ang="0">
                <a:pos x="connsiteX11433" y="connsiteY11433"/>
              </a:cxn>
              <a:cxn ang="0">
                <a:pos x="connsiteX11434" y="connsiteY11434"/>
              </a:cxn>
              <a:cxn ang="0">
                <a:pos x="connsiteX11435" y="connsiteY11435"/>
              </a:cxn>
              <a:cxn ang="0">
                <a:pos x="connsiteX11436" y="connsiteY11436"/>
              </a:cxn>
              <a:cxn ang="0">
                <a:pos x="connsiteX11437" y="connsiteY11437"/>
              </a:cxn>
              <a:cxn ang="0">
                <a:pos x="connsiteX11438" y="connsiteY11438"/>
              </a:cxn>
              <a:cxn ang="0">
                <a:pos x="connsiteX11439" y="connsiteY11439"/>
              </a:cxn>
              <a:cxn ang="0">
                <a:pos x="connsiteX11440" y="connsiteY11440"/>
              </a:cxn>
              <a:cxn ang="0">
                <a:pos x="connsiteX11441" y="connsiteY11441"/>
              </a:cxn>
              <a:cxn ang="0">
                <a:pos x="connsiteX11442" y="connsiteY11442"/>
              </a:cxn>
              <a:cxn ang="0">
                <a:pos x="connsiteX11443" y="connsiteY11443"/>
              </a:cxn>
              <a:cxn ang="0">
                <a:pos x="connsiteX11444" y="connsiteY11444"/>
              </a:cxn>
              <a:cxn ang="0">
                <a:pos x="connsiteX11445" y="connsiteY11445"/>
              </a:cxn>
              <a:cxn ang="0">
                <a:pos x="connsiteX11446" y="connsiteY11446"/>
              </a:cxn>
              <a:cxn ang="0">
                <a:pos x="connsiteX11447" y="connsiteY11447"/>
              </a:cxn>
              <a:cxn ang="0">
                <a:pos x="connsiteX11448" y="connsiteY11448"/>
              </a:cxn>
              <a:cxn ang="0">
                <a:pos x="connsiteX11449" y="connsiteY11449"/>
              </a:cxn>
              <a:cxn ang="0">
                <a:pos x="connsiteX11450" y="connsiteY11450"/>
              </a:cxn>
              <a:cxn ang="0">
                <a:pos x="connsiteX11451" y="connsiteY11451"/>
              </a:cxn>
              <a:cxn ang="0">
                <a:pos x="connsiteX11452" y="connsiteY11452"/>
              </a:cxn>
              <a:cxn ang="0">
                <a:pos x="connsiteX11453" y="connsiteY11453"/>
              </a:cxn>
              <a:cxn ang="0">
                <a:pos x="connsiteX11454" y="connsiteY11454"/>
              </a:cxn>
              <a:cxn ang="0">
                <a:pos x="connsiteX11455" y="connsiteY11455"/>
              </a:cxn>
              <a:cxn ang="0">
                <a:pos x="connsiteX11456" y="connsiteY11456"/>
              </a:cxn>
              <a:cxn ang="0">
                <a:pos x="connsiteX11457" y="connsiteY11457"/>
              </a:cxn>
              <a:cxn ang="0">
                <a:pos x="connsiteX11458" y="connsiteY11458"/>
              </a:cxn>
              <a:cxn ang="0">
                <a:pos x="connsiteX11459" y="connsiteY11459"/>
              </a:cxn>
              <a:cxn ang="0">
                <a:pos x="connsiteX11460" y="connsiteY11460"/>
              </a:cxn>
              <a:cxn ang="0">
                <a:pos x="connsiteX11461" y="connsiteY11461"/>
              </a:cxn>
              <a:cxn ang="0">
                <a:pos x="connsiteX11462" y="connsiteY11462"/>
              </a:cxn>
              <a:cxn ang="0">
                <a:pos x="connsiteX11463" y="connsiteY11463"/>
              </a:cxn>
              <a:cxn ang="0">
                <a:pos x="connsiteX11464" y="connsiteY11464"/>
              </a:cxn>
              <a:cxn ang="0">
                <a:pos x="connsiteX11465" y="connsiteY11465"/>
              </a:cxn>
              <a:cxn ang="0">
                <a:pos x="connsiteX11466" y="connsiteY11466"/>
              </a:cxn>
              <a:cxn ang="0">
                <a:pos x="connsiteX11467" y="connsiteY11467"/>
              </a:cxn>
              <a:cxn ang="0">
                <a:pos x="connsiteX11468" y="connsiteY11468"/>
              </a:cxn>
              <a:cxn ang="0">
                <a:pos x="connsiteX11469" y="connsiteY11469"/>
              </a:cxn>
              <a:cxn ang="0">
                <a:pos x="connsiteX11470" y="connsiteY11470"/>
              </a:cxn>
              <a:cxn ang="0">
                <a:pos x="connsiteX11471" y="connsiteY11471"/>
              </a:cxn>
              <a:cxn ang="0">
                <a:pos x="connsiteX11472" y="connsiteY11472"/>
              </a:cxn>
              <a:cxn ang="0">
                <a:pos x="connsiteX11473" y="connsiteY11473"/>
              </a:cxn>
              <a:cxn ang="0">
                <a:pos x="connsiteX11474" y="connsiteY11474"/>
              </a:cxn>
              <a:cxn ang="0">
                <a:pos x="connsiteX11475" y="connsiteY11475"/>
              </a:cxn>
              <a:cxn ang="0">
                <a:pos x="connsiteX11476" y="connsiteY11476"/>
              </a:cxn>
              <a:cxn ang="0">
                <a:pos x="connsiteX11477" y="connsiteY11477"/>
              </a:cxn>
              <a:cxn ang="0">
                <a:pos x="connsiteX11478" y="connsiteY11478"/>
              </a:cxn>
              <a:cxn ang="0">
                <a:pos x="connsiteX11479" y="connsiteY11479"/>
              </a:cxn>
              <a:cxn ang="0">
                <a:pos x="connsiteX11480" y="connsiteY11480"/>
              </a:cxn>
              <a:cxn ang="0">
                <a:pos x="connsiteX11481" y="connsiteY11481"/>
              </a:cxn>
              <a:cxn ang="0">
                <a:pos x="connsiteX11482" y="connsiteY11482"/>
              </a:cxn>
              <a:cxn ang="0">
                <a:pos x="connsiteX11483" y="connsiteY11483"/>
              </a:cxn>
              <a:cxn ang="0">
                <a:pos x="connsiteX11484" y="connsiteY11484"/>
              </a:cxn>
              <a:cxn ang="0">
                <a:pos x="connsiteX11485" y="connsiteY11485"/>
              </a:cxn>
              <a:cxn ang="0">
                <a:pos x="connsiteX11486" y="connsiteY11486"/>
              </a:cxn>
              <a:cxn ang="0">
                <a:pos x="connsiteX11487" y="connsiteY11487"/>
              </a:cxn>
              <a:cxn ang="0">
                <a:pos x="connsiteX11488" y="connsiteY11488"/>
              </a:cxn>
              <a:cxn ang="0">
                <a:pos x="connsiteX11489" y="connsiteY11489"/>
              </a:cxn>
              <a:cxn ang="0">
                <a:pos x="connsiteX11490" y="connsiteY11490"/>
              </a:cxn>
              <a:cxn ang="0">
                <a:pos x="connsiteX11491" y="connsiteY11491"/>
              </a:cxn>
              <a:cxn ang="0">
                <a:pos x="connsiteX11492" y="connsiteY11492"/>
              </a:cxn>
              <a:cxn ang="0">
                <a:pos x="connsiteX11493" y="connsiteY11493"/>
              </a:cxn>
              <a:cxn ang="0">
                <a:pos x="connsiteX11494" y="connsiteY11494"/>
              </a:cxn>
              <a:cxn ang="0">
                <a:pos x="connsiteX11495" y="connsiteY11495"/>
              </a:cxn>
              <a:cxn ang="0">
                <a:pos x="connsiteX11496" y="connsiteY11496"/>
              </a:cxn>
              <a:cxn ang="0">
                <a:pos x="connsiteX11497" y="connsiteY11497"/>
              </a:cxn>
              <a:cxn ang="0">
                <a:pos x="connsiteX11498" y="connsiteY11498"/>
              </a:cxn>
              <a:cxn ang="0">
                <a:pos x="connsiteX11499" y="connsiteY11499"/>
              </a:cxn>
              <a:cxn ang="0">
                <a:pos x="connsiteX11500" y="connsiteY11500"/>
              </a:cxn>
              <a:cxn ang="0">
                <a:pos x="connsiteX11501" y="connsiteY11501"/>
              </a:cxn>
              <a:cxn ang="0">
                <a:pos x="connsiteX11502" y="connsiteY11502"/>
              </a:cxn>
              <a:cxn ang="0">
                <a:pos x="connsiteX11503" y="connsiteY11503"/>
              </a:cxn>
              <a:cxn ang="0">
                <a:pos x="connsiteX11504" y="connsiteY11504"/>
              </a:cxn>
              <a:cxn ang="0">
                <a:pos x="connsiteX11505" y="connsiteY11505"/>
              </a:cxn>
              <a:cxn ang="0">
                <a:pos x="connsiteX11506" y="connsiteY11506"/>
              </a:cxn>
              <a:cxn ang="0">
                <a:pos x="connsiteX11507" y="connsiteY11507"/>
              </a:cxn>
              <a:cxn ang="0">
                <a:pos x="connsiteX11508" y="connsiteY11508"/>
              </a:cxn>
              <a:cxn ang="0">
                <a:pos x="connsiteX11509" y="connsiteY11509"/>
              </a:cxn>
              <a:cxn ang="0">
                <a:pos x="connsiteX11510" y="connsiteY11510"/>
              </a:cxn>
              <a:cxn ang="0">
                <a:pos x="connsiteX11511" y="connsiteY11511"/>
              </a:cxn>
              <a:cxn ang="0">
                <a:pos x="connsiteX11512" y="connsiteY11512"/>
              </a:cxn>
              <a:cxn ang="0">
                <a:pos x="connsiteX11513" y="connsiteY11513"/>
              </a:cxn>
              <a:cxn ang="0">
                <a:pos x="connsiteX11514" y="connsiteY11514"/>
              </a:cxn>
              <a:cxn ang="0">
                <a:pos x="connsiteX11515" y="connsiteY11515"/>
              </a:cxn>
              <a:cxn ang="0">
                <a:pos x="connsiteX11516" y="connsiteY11516"/>
              </a:cxn>
              <a:cxn ang="0">
                <a:pos x="connsiteX11517" y="connsiteY11517"/>
              </a:cxn>
              <a:cxn ang="0">
                <a:pos x="connsiteX11518" y="connsiteY11518"/>
              </a:cxn>
              <a:cxn ang="0">
                <a:pos x="connsiteX11519" y="connsiteY11519"/>
              </a:cxn>
              <a:cxn ang="0">
                <a:pos x="connsiteX11520" y="connsiteY11520"/>
              </a:cxn>
              <a:cxn ang="0">
                <a:pos x="connsiteX11521" y="connsiteY11521"/>
              </a:cxn>
              <a:cxn ang="0">
                <a:pos x="connsiteX11522" y="connsiteY11522"/>
              </a:cxn>
              <a:cxn ang="0">
                <a:pos x="connsiteX11523" y="connsiteY11523"/>
              </a:cxn>
              <a:cxn ang="0">
                <a:pos x="connsiteX11524" y="connsiteY11524"/>
              </a:cxn>
              <a:cxn ang="0">
                <a:pos x="connsiteX11525" y="connsiteY11525"/>
              </a:cxn>
              <a:cxn ang="0">
                <a:pos x="connsiteX11526" y="connsiteY11526"/>
              </a:cxn>
              <a:cxn ang="0">
                <a:pos x="connsiteX11527" y="connsiteY11527"/>
              </a:cxn>
              <a:cxn ang="0">
                <a:pos x="connsiteX11528" y="connsiteY11528"/>
              </a:cxn>
              <a:cxn ang="0">
                <a:pos x="connsiteX11529" y="connsiteY11529"/>
              </a:cxn>
              <a:cxn ang="0">
                <a:pos x="connsiteX11530" y="connsiteY11530"/>
              </a:cxn>
              <a:cxn ang="0">
                <a:pos x="connsiteX11531" y="connsiteY11531"/>
              </a:cxn>
              <a:cxn ang="0">
                <a:pos x="connsiteX11532" y="connsiteY11532"/>
              </a:cxn>
              <a:cxn ang="0">
                <a:pos x="connsiteX11533" y="connsiteY11533"/>
              </a:cxn>
              <a:cxn ang="0">
                <a:pos x="connsiteX11534" y="connsiteY11534"/>
              </a:cxn>
              <a:cxn ang="0">
                <a:pos x="connsiteX11535" y="connsiteY11535"/>
              </a:cxn>
              <a:cxn ang="0">
                <a:pos x="connsiteX11536" y="connsiteY11536"/>
              </a:cxn>
              <a:cxn ang="0">
                <a:pos x="connsiteX11537" y="connsiteY11537"/>
              </a:cxn>
              <a:cxn ang="0">
                <a:pos x="connsiteX11538" y="connsiteY11538"/>
              </a:cxn>
              <a:cxn ang="0">
                <a:pos x="connsiteX11539" y="connsiteY11539"/>
              </a:cxn>
              <a:cxn ang="0">
                <a:pos x="connsiteX11540" y="connsiteY11540"/>
              </a:cxn>
              <a:cxn ang="0">
                <a:pos x="connsiteX11541" y="connsiteY11541"/>
              </a:cxn>
              <a:cxn ang="0">
                <a:pos x="connsiteX11542" y="connsiteY11542"/>
              </a:cxn>
              <a:cxn ang="0">
                <a:pos x="connsiteX11543" y="connsiteY11543"/>
              </a:cxn>
              <a:cxn ang="0">
                <a:pos x="connsiteX11544" y="connsiteY11544"/>
              </a:cxn>
              <a:cxn ang="0">
                <a:pos x="connsiteX11545" y="connsiteY11545"/>
              </a:cxn>
              <a:cxn ang="0">
                <a:pos x="connsiteX11546" y="connsiteY11546"/>
              </a:cxn>
              <a:cxn ang="0">
                <a:pos x="connsiteX11547" y="connsiteY11547"/>
              </a:cxn>
              <a:cxn ang="0">
                <a:pos x="connsiteX11548" y="connsiteY11548"/>
              </a:cxn>
              <a:cxn ang="0">
                <a:pos x="connsiteX11549" y="connsiteY11549"/>
              </a:cxn>
              <a:cxn ang="0">
                <a:pos x="connsiteX11550" y="connsiteY11550"/>
              </a:cxn>
              <a:cxn ang="0">
                <a:pos x="connsiteX11551" y="connsiteY11551"/>
              </a:cxn>
              <a:cxn ang="0">
                <a:pos x="connsiteX11552" y="connsiteY11552"/>
              </a:cxn>
              <a:cxn ang="0">
                <a:pos x="connsiteX11553" y="connsiteY11553"/>
              </a:cxn>
              <a:cxn ang="0">
                <a:pos x="connsiteX11554" y="connsiteY11554"/>
              </a:cxn>
              <a:cxn ang="0">
                <a:pos x="connsiteX11555" y="connsiteY11555"/>
              </a:cxn>
              <a:cxn ang="0">
                <a:pos x="connsiteX11556" y="connsiteY11556"/>
              </a:cxn>
              <a:cxn ang="0">
                <a:pos x="connsiteX11557" y="connsiteY11557"/>
              </a:cxn>
              <a:cxn ang="0">
                <a:pos x="connsiteX11558" y="connsiteY11558"/>
              </a:cxn>
              <a:cxn ang="0">
                <a:pos x="connsiteX11559" y="connsiteY11559"/>
              </a:cxn>
              <a:cxn ang="0">
                <a:pos x="connsiteX11560" y="connsiteY11560"/>
              </a:cxn>
              <a:cxn ang="0">
                <a:pos x="connsiteX11561" y="connsiteY11561"/>
              </a:cxn>
              <a:cxn ang="0">
                <a:pos x="connsiteX11562" y="connsiteY11562"/>
              </a:cxn>
              <a:cxn ang="0">
                <a:pos x="connsiteX11563" y="connsiteY11563"/>
              </a:cxn>
              <a:cxn ang="0">
                <a:pos x="connsiteX11564" y="connsiteY11564"/>
              </a:cxn>
              <a:cxn ang="0">
                <a:pos x="connsiteX11565" y="connsiteY11565"/>
              </a:cxn>
              <a:cxn ang="0">
                <a:pos x="connsiteX11566" y="connsiteY11566"/>
              </a:cxn>
              <a:cxn ang="0">
                <a:pos x="connsiteX11567" y="connsiteY11567"/>
              </a:cxn>
              <a:cxn ang="0">
                <a:pos x="connsiteX11568" y="connsiteY11568"/>
              </a:cxn>
              <a:cxn ang="0">
                <a:pos x="connsiteX11569" y="connsiteY11569"/>
              </a:cxn>
              <a:cxn ang="0">
                <a:pos x="connsiteX11570" y="connsiteY11570"/>
              </a:cxn>
              <a:cxn ang="0">
                <a:pos x="connsiteX11571" y="connsiteY11571"/>
              </a:cxn>
              <a:cxn ang="0">
                <a:pos x="connsiteX11572" y="connsiteY11572"/>
              </a:cxn>
              <a:cxn ang="0">
                <a:pos x="connsiteX11573" y="connsiteY11573"/>
              </a:cxn>
              <a:cxn ang="0">
                <a:pos x="connsiteX11574" y="connsiteY11574"/>
              </a:cxn>
              <a:cxn ang="0">
                <a:pos x="connsiteX11575" y="connsiteY11575"/>
              </a:cxn>
              <a:cxn ang="0">
                <a:pos x="connsiteX11576" y="connsiteY11576"/>
              </a:cxn>
              <a:cxn ang="0">
                <a:pos x="connsiteX11577" y="connsiteY11577"/>
              </a:cxn>
              <a:cxn ang="0">
                <a:pos x="connsiteX11578" y="connsiteY11578"/>
              </a:cxn>
              <a:cxn ang="0">
                <a:pos x="connsiteX11579" y="connsiteY11579"/>
              </a:cxn>
              <a:cxn ang="0">
                <a:pos x="connsiteX11580" y="connsiteY11580"/>
              </a:cxn>
              <a:cxn ang="0">
                <a:pos x="connsiteX11581" y="connsiteY11581"/>
              </a:cxn>
              <a:cxn ang="0">
                <a:pos x="connsiteX11582" y="connsiteY11582"/>
              </a:cxn>
              <a:cxn ang="0">
                <a:pos x="connsiteX11583" y="connsiteY11583"/>
              </a:cxn>
              <a:cxn ang="0">
                <a:pos x="connsiteX11584" y="connsiteY11584"/>
              </a:cxn>
              <a:cxn ang="0">
                <a:pos x="connsiteX11585" y="connsiteY11585"/>
              </a:cxn>
              <a:cxn ang="0">
                <a:pos x="connsiteX11586" y="connsiteY11586"/>
              </a:cxn>
              <a:cxn ang="0">
                <a:pos x="connsiteX11587" y="connsiteY11587"/>
              </a:cxn>
              <a:cxn ang="0">
                <a:pos x="connsiteX11588" y="connsiteY11588"/>
              </a:cxn>
              <a:cxn ang="0">
                <a:pos x="connsiteX11589" y="connsiteY11589"/>
              </a:cxn>
              <a:cxn ang="0">
                <a:pos x="connsiteX11590" y="connsiteY11590"/>
              </a:cxn>
              <a:cxn ang="0">
                <a:pos x="connsiteX11591" y="connsiteY11591"/>
              </a:cxn>
              <a:cxn ang="0">
                <a:pos x="connsiteX11592" y="connsiteY11592"/>
              </a:cxn>
              <a:cxn ang="0">
                <a:pos x="connsiteX11593" y="connsiteY11593"/>
              </a:cxn>
              <a:cxn ang="0">
                <a:pos x="connsiteX11594" y="connsiteY11594"/>
              </a:cxn>
              <a:cxn ang="0">
                <a:pos x="connsiteX11595" y="connsiteY11595"/>
              </a:cxn>
              <a:cxn ang="0">
                <a:pos x="connsiteX11596" y="connsiteY11596"/>
              </a:cxn>
              <a:cxn ang="0">
                <a:pos x="connsiteX11597" y="connsiteY11597"/>
              </a:cxn>
              <a:cxn ang="0">
                <a:pos x="connsiteX11598" y="connsiteY11598"/>
              </a:cxn>
              <a:cxn ang="0">
                <a:pos x="connsiteX11599" y="connsiteY11599"/>
              </a:cxn>
              <a:cxn ang="0">
                <a:pos x="connsiteX11600" y="connsiteY11600"/>
              </a:cxn>
              <a:cxn ang="0">
                <a:pos x="connsiteX11601" y="connsiteY11601"/>
              </a:cxn>
              <a:cxn ang="0">
                <a:pos x="connsiteX11602" y="connsiteY11602"/>
              </a:cxn>
              <a:cxn ang="0">
                <a:pos x="connsiteX11603" y="connsiteY11603"/>
              </a:cxn>
              <a:cxn ang="0">
                <a:pos x="connsiteX11604" y="connsiteY11604"/>
              </a:cxn>
              <a:cxn ang="0">
                <a:pos x="connsiteX11605" y="connsiteY11605"/>
              </a:cxn>
              <a:cxn ang="0">
                <a:pos x="connsiteX11606" y="connsiteY11606"/>
              </a:cxn>
              <a:cxn ang="0">
                <a:pos x="connsiteX11607" y="connsiteY11607"/>
              </a:cxn>
              <a:cxn ang="0">
                <a:pos x="connsiteX11608" y="connsiteY11608"/>
              </a:cxn>
              <a:cxn ang="0">
                <a:pos x="connsiteX11609" y="connsiteY11609"/>
              </a:cxn>
              <a:cxn ang="0">
                <a:pos x="connsiteX11610" y="connsiteY11610"/>
              </a:cxn>
              <a:cxn ang="0">
                <a:pos x="connsiteX11611" y="connsiteY11611"/>
              </a:cxn>
              <a:cxn ang="0">
                <a:pos x="connsiteX11612" y="connsiteY11612"/>
              </a:cxn>
              <a:cxn ang="0">
                <a:pos x="connsiteX11613" y="connsiteY11613"/>
              </a:cxn>
              <a:cxn ang="0">
                <a:pos x="connsiteX11614" y="connsiteY11614"/>
              </a:cxn>
              <a:cxn ang="0">
                <a:pos x="connsiteX11615" y="connsiteY11615"/>
              </a:cxn>
              <a:cxn ang="0">
                <a:pos x="connsiteX11616" y="connsiteY11616"/>
              </a:cxn>
              <a:cxn ang="0">
                <a:pos x="connsiteX11617" y="connsiteY11617"/>
              </a:cxn>
              <a:cxn ang="0">
                <a:pos x="connsiteX11618" y="connsiteY11618"/>
              </a:cxn>
              <a:cxn ang="0">
                <a:pos x="connsiteX11619" y="connsiteY11619"/>
              </a:cxn>
              <a:cxn ang="0">
                <a:pos x="connsiteX11620" y="connsiteY11620"/>
              </a:cxn>
              <a:cxn ang="0">
                <a:pos x="connsiteX11621" y="connsiteY11621"/>
              </a:cxn>
              <a:cxn ang="0">
                <a:pos x="connsiteX11622" y="connsiteY11622"/>
              </a:cxn>
              <a:cxn ang="0">
                <a:pos x="connsiteX11623" y="connsiteY11623"/>
              </a:cxn>
              <a:cxn ang="0">
                <a:pos x="connsiteX11624" y="connsiteY11624"/>
              </a:cxn>
              <a:cxn ang="0">
                <a:pos x="connsiteX11625" y="connsiteY11625"/>
              </a:cxn>
              <a:cxn ang="0">
                <a:pos x="connsiteX11626" y="connsiteY11626"/>
              </a:cxn>
              <a:cxn ang="0">
                <a:pos x="connsiteX11627" y="connsiteY11627"/>
              </a:cxn>
              <a:cxn ang="0">
                <a:pos x="connsiteX11628" y="connsiteY11628"/>
              </a:cxn>
              <a:cxn ang="0">
                <a:pos x="connsiteX11629" y="connsiteY11629"/>
              </a:cxn>
              <a:cxn ang="0">
                <a:pos x="connsiteX11630" y="connsiteY11630"/>
              </a:cxn>
              <a:cxn ang="0">
                <a:pos x="connsiteX11631" y="connsiteY11631"/>
              </a:cxn>
              <a:cxn ang="0">
                <a:pos x="connsiteX11632" y="connsiteY11632"/>
              </a:cxn>
              <a:cxn ang="0">
                <a:pos x="connsiteX11633" y="connsiteY11633"/>
              </a:cxn>
              <a:cxn ang="0">
                <a:pos x="connsiteX11634" y="connsiteY11634"/>
              </a:cxn>
              <a:cxn ang="0">
                <a:pos x="connsiteX11635" y="connsiteY11635"/>
              </a:cxn>
              <a:cxn ang="0">
                <a:pos x="connsiteX11636" y="connsiteY11636"/>
              </a:cxn>
              <a:cxn ang="0">
                <a:pos x="connsiteX11637" y="connsiteY11637"/>
              </a:cxn>
              <a:cxn ang="0">
                <a:pos x="connsiteX11638" y="connsiteY11638"/>
              </a:cxn>
              <a:cxn ang="0">
                <a:pos x="connsiteX11639" y="connsiteY11639"/>
              </a:cxn>
              <a:cxn ang="0">
                <a:pos x="connsiteX11640" y="connsiteY11640"/>
              </a:cxn>
              <a:cxn ang="0">
                <a:pos x="connsiteX11641" y="connsiteY11641"/>
              </a:cxn>
              <a:cxn ang="0">
                <a:pos x="connsiteX11642" y="connsiteY11642"/>
              </a:cxn>
              <a:cxn ang="0">
                <a:pos x="connsiteX11643" y="connsiteY11643"/>
              </a:cxn>
              <a:cxn ang="0">
                <a:pos x="connsiteX11644" y="connsiteY11644"/>
              </a:cxn>
              <a:cxn ang="0">
                <a:pos x="connsiteX11645" y="connsiteY11645"/>
              </a:cxn>
              <a:cxn ang="0">
                <a:pos x="connsiteX11646" y="connsiteY11646"/>
              </a:cxn>
              <a:cxn ang="0">
                <a:pos x="connsiteX11647" y="connsiteY11647"/>
              </a:cxn>
              <a:cxn ang="0">
                <a:pos x="connsiteX11648" y="connsiteY11648"/>
              </a:cxn>
              <a:cxn ang="0">
                <a:pos x="connsiteX11649" y="connsiteY11649"/>
              </a:cxn>
              <a:cxn ang="0">
                <a:pos x="connsiteX11650" y="connsiteY11650"/>
              </a:cxn>
              <a:cxn ang="0">
                <a:pos x="connsiteX11651" y="connsiteY11651"/>
              </a:cxn>
              <a:cxn ang="0">
                <a:pos x="connsiteX11652" y="connsiteY11652"/>
              </a:cxn>
              <a:cxn ang="0">
                <a:pos x="connsiteX11653" y="connsiteY11653"/>
              </a:cxn>
              <a:cxn ang="0">
                <a:pos x="connsiteX11654" y="connsiteY11654"/>
              </a:cxn>
              <a:cxn ang="0">
                <a:pos x="connsiteX11655" y="connsiteY11655"/>
              </a:cxn>
              <a:cxn ang="0">
                <a:pos x="connsiteX11656" y="connsiteY11656"/>
              </a:cxn>
              <a:cxn ang="0">
                <a:pos x="connsiteX11657" y="connsiteY11657"/>
              </a:cxn>
              <a:cxn ang="0">
                <a:pos x="connsiteX11658" y="connsiteY11658"/>
              </a:cxn>
              <a:cxn ang="0">
                <a:pos x="connsiteX11659" y="connsiteY11659"/>
              </a:cxn>
              <a:cxn ang="0">
                <a:pos x="connsiteX11660" y="connsiteY11660"/>
              </a:cxn>
              <a:cxn ang="0">
                <a:pos x="connsiteX11661" y="connsiteY11661"/>
              </a:cxn>
              <a:cxn ang="0">
                <a:pos x="connsiteX11662" y="connsiteY11662"/>
              </a:cxn>
              <a:cxn ang="0">
                <a:pos x="connsiteX11663" y="connsiteY11663"/>
              </a:cxn>
              <a:cxn ang="0">
                <a:pos x="connsiteX11664" y="connsiteY11664"/>
              </a:cxn>
              <a:cxn ang="0">
                <a:pos x="connsiteX11665" y="connsiteY11665"/>
              </a:cxn>
              <a:cxn ang="0">
                <a:pos x="connsiteX11666" y="connsiteY11666"/>
              </a:cxn>
              <a:cxn ang="0">
                <a:pos x="connsiteX11667" y="connsiteY11667"/>
              </a:cxn>
              <a:cxn ang="0">
                <a:pos x="connsiteX11668" y="connsiteY11668"/>
              </a:cxn>
              <a:cxn ang="0">
                <a:pos x="connsiteX11669" y="connsiteY11669"/>
              </a:cxn>
              <a:cxn ang="0">
                <a:pos x="connsiteX11670" y="connsiteY11670"/>
              </a:cxn>
              <a:cxn ang="0">
                <a:pos x="connsiteX11671" y="connsiteY11671"/>
              </a:cxn>
              <a:cxn ang="0">
                <a:pos x="connsiteX11672" y="connsiteY11672"/>
              </a:cxn>
              <a:cxn ang="0">
                <a:pos x="connsiteX11673" y="connsiteY11673"/>
              </a:cxn>
              <a:cxn ang="0">
                <a:pos x="connsiteX11674" y="connsiteY11674"/>
              </a:cxn>
              <a:cxn ang="0">
                <a:pos x="connsiteX11675" y="connsiteY11675"/>
              </a:cxn>
              <a:cxn ang="0">
                <a:pos x="connsiteX11676" y="connsiteY11676"/>
              </a:cxn>
              <a:cxn ang="0">
                <a:pos x="connsiteX11677" y="connsiteY11677"/>
              </a:cxn>
              <a:cxn ang="0">
                <a:pos x="connsiteX11678" y="connsiteY11678"/>
              </a:cxn>
              <a:cxn ang="0">
                <a:pos x="connsiteX11679" y="connsiteY11679"/>
              </a:cxn>
              <a:cxn ang="0">
                <a:pos x="connsiteX11680" y="connsiteY11680"/>
              </a:cxn>
              <a:cxn ang="0">
                <a:pos x="connsiteX11681" y="connsiteY11681"/>
              </a:cxn>
              <a:cxn ang="0">
                <a:pos x="connsiteX11682" y="connsiteY11682"/>
              </a:cxn>
              <a:cxn ang="0">
                <a:pos x="connsiteX11683" y="connsiteY11683"/>
              </a:cxn>
              <a:cxn ang="0">
                <a:pos x="connsiteX11684" y="connsiteY11684"/>
              </a:cxn>
              <a:cxn ang="0">
                <a:pos x="connsiteX11685" y="connsiteY11685"/>
              </a:cxn>
              <a:cxn ang="0">
                <a:pos x="connsiteX11686" y="connsiteY11686"/>
              </a:cxn>
              <a:cxn ang="0">
                <a:pos x="connsiteX11687" y="connsiteY11687"/>
              </a:cxn>
              <a:cxn ang="0">
                <a:pos x="connsiteX11688" y="connsiteY11688"/>
              </a:cxn>
              <a:cxn ang="0">
                <a:pos x="connsiteX11689" y="connsiteY11689"/>
              </a:cxn>
              <a:cxn ang="0">
                <a:pos x="connsiteX11690" y="connsiteY11690"/>
              </a:cxn>
              <a:cxn ang="0">
                <a:pos x="connsiteX11691" y="connsiteY11691"/>
              </a:cxn>
              <a:cxn ang="0">
                <a:pos x="connsiteX11692" y="connsiteY11692"/>
              </a:cxn>
              <a:cxn ang="0">
                <a:pos x="connsiteX11693" y="connsiteY11693"/>
              </a:cxn>
              <a:cxn ang="0">
                <a:pos x="connsiteX11694" y="connsiteY11694"/>
              </a:cxn>
              <a:cxn ang="0">
                <a:pos x="connsiteX11695" y="connsiteY11695"/>
              </a:cxn>
              <a:cxn ang="0">
                <a:pos x="connsiteX11696" y="connsiteY11696"/>
              </a:cxn>
              <a:cxn ang="0">
                <a:pos x="connsiteX11697" y="connsiteY11697"/>
              </a:cxn>
              <a:cxn ang="0">
                <a:pos x="connsiteX11698" y="connsiteY11698"/>
              </a:cxn>
              <a:cxn ang="0">
                <a:pos x="connsiteX11699" y="connsiteY11699"/>
              </a:cxn>
              <a:cxn ang="0">
                <a:pos x="connsiteX11700" y="connsiteY11700"/>
              </a:cxn>
              <a:cxn ang="0">
                <a:pos x="connsiteX11701" y="connsiteY11701"/>
              </a:cxn>
              <a:cxn ang="0">
                <a:pos x="connsiteX11702" y="connsiteY11702"/>
              </a:cxn>
              <a:cxn ang="0">
                <a:pos x="connsiteX11703" y="connsiteY11703"/>
              </a:cxn>
              <a:cxn ang="0">
                <a:pos x="connsiteX11704" y="connsiteY11704"/>
              </a:cxn>
              <a:cxn ang="0">
                <a:pos x="connsiteX11705" y="connsiteY11705"/>
              </a:cxn>
              <a:cxn ang="0">
                <a:pos x="connsiteX11706" y="connsiteY11706"/>
              </a:cxn>
              <a:cxn ang="0">
                <a:pos x="connsiteX11707" y="connsiteY11707"/>
              </a:cxn>
              <a:cxn ang="0">
                <a:pos x="connsiteX11708" y="connsiteY11708"/>
              </a:cxn>
              <a:cxn ang="0">
                <a:pos x="connsiteX11709" y="connsiteY11709"/>
              </a:cxn>
              <a:cxn ang="0">
                <a:pos x="connsiteX11710" y="connsiteY11710"/>
              </a:cxn>
              <a:cxn ang="0">
                <a:pos x="connsiteX11711" y="connsiteY11711"/>
              </a:cxn>
              <a:cxn ang="0">
                <a:pos x="connsiteX11712" y="connsiteY11712"/>
              </a:cxn>
              <a:cxn ang="0">
                <a:pos x="connsiteX11713" y="connsiteY11713"/>
              </a:cxn>
              <a:cxn ang="0">
                <a:pos x="connsiteX11714" y="connsiteY11714"/>
              </a:cxn>
              <a:cxn ang="0">
                <a:pos x="connsiteX11715" y="connsiteY11715"/>
              </a:cxn>
              <a:cxn ang="0">
                <a:pos x="connsiteX11716" y="connsiteY11716"/>
              </a:cxn>
              <a:cxn ang="0">
                <a:pos x="connsiteX11717" y="connsiteY11717"/>
              </a:cxn>
              <a:cxn ang="0">
                <a:pos x="connsiteX11718" y="connsiteY11718"/>
              </a:cxn>
              <a:cxn ang="0">
                <a:pos x="connsiteX11719" y="connsiteY11719"/>
              </a:cxn>
              <a:cxn ang="0">
                <a:pos x="connsiteX11720" y="connsiteY11720"/>
              </a:cxn>
              <a:cxn ang="0">
                <a:pos x="connsiteX11721" y="connsiteY11721"/>
              </a:cxn>
              <a:cxn ang="0">
                <a:pos x="connsiteX11722" y="connsiteY11722"/>
              </a:cxn>
              <a:cxn ang="0">
                <a:pos x="connsiteX11723" y="connsiteY11723"/>
              </a:cxn>
              <a:cxn ang="0">
                <a:pos x="connsiteX11724" y="connsiteY11724"/>
              </a:cxn>
              <a:cxn ang="0">
                <a:pos x="connsiteX11725" y="connsiteY11725"/>
              </a:cxn>
              <a:cxn ang="0">
                <a:pos x="connsiteX11726" y="connsiteY11726"/>
              </a:cxn>
              <a:cxn ang="0">
                <a:pos x="connsiteX11727" y="connsiteY11727"/>
              </a:cxn>
              <a:cxn ang="0">
                <a:pos x="connsiteX11728" y="connsiteY11728"/>
              </a:cxn>
              <a:cxn ang="0">
                <a:pos x="connsiteX11729" y="connsiteY11729"/>
              </a:cxn>
              <a:cxn ang="0">
                <a:pos x="connsiteX11730" y="connsiteY11730"/>
              </a:cxn>
              <a:cxn ang="0">
                <a:pos x="connsiteX11731" y="connsiteY11731"/>
              </a:cxn>
              <a:cxn ang="0">
                <a:pos x="connsiteX11732" y="connsiteY11732"/>
              </a:cxn>
              <a:cxn ang="0">
                <a:pos x="connsiteX11733" y="connsiteY11733"/>
              </a:cxn>
              <a:cxn ang="0">
                <a:pos x="connsiteX11734" y="connsiteY11734"/>
              </a:cxn>
              <a:cxn ang="0">
                <a:pos x="connsiteX11735" y="connsiteY11735"/>
              </a:cxn>
              <a:cxn ang="0">
                <a:pos x="connsiteX11736" y="connsiteY11736"/>
              </a:cxn>
              <a:cxn ang="0">
                <a:pos x="connsiteX11737" y="connsiteY11737"/>
              </a:cxn>
              <a:cxn ang="0">
                <a:pos x="connsiteX11738" y="connsiteY11738"/>
              </a:cxn>
              <a:cxn ang="0">
                <a:pos x="connsiteX11739" y="connsiteY11739"/>
              </a:cxn>
              <a:cxn ang="0">
                <a:pos x="connsiteX11740" y="connsiteY11740"/>
              </a:cxn>
              <a:cxn ang="0">
                <a:pos x="connsiteX11741" y="connsiteY11741"/>
              </a:cxn>
              <a:cxn ang="0">
                <a:pos x="connsiteX11742" y="connsiteY11742"/>
              </a:cxn>
              <a:cxn ang="0">
                <a:pos x="connsiteX11743" y="connsiteY11743"/>
              </a:cxn>
              <a:cxn ang="0">
                <a:pos x="connsiteX11744" y="connsiteY11744"/>
              </a:cxn>
              <a:cxn ang="0">
                <a:pos x="connsiteX11745" y="connsiteY11745"/>
              </a:cxn>
              <a:cxn ang="0">
                <a:pos x="connsiteX11746" y="connsiteY11746"/>
              </a:cxn>
              <a:cxn ang="0">
                <a:pos x="connsiteX11747" y="connsiteY11747"/>
              </a:cxn>
              <a:cxn ang="0">
                <a:pos x="connsiteX11748" y="connsiteY11748"/>
              </a:cxn>
              <a:cxn ang="0">
                <a:pos x="connsiteX11749" y="connsiteY11749"/>
              </a:cxn>
              <a:cxn ang="0">
                <a:pos x="connsiteX11750" y="connsiteY11750"/>
              </a:cxn>
              <a:cxn ang="0">
                <a:pos x="connsiteX11751" y="connsiteY11751"/>
              </a:cxn>
              <a:cxn ang="0">
                <a:pos x="connsiteX11752" y="connsiteY11752"/>
              </a:cxn>
              <a:cxn ang="0">
                <a:pos x="connsiteX11753" y="connsiteY11753"/>
              </a:cxn>
              <a:cxn ang="0">
                <a:pos x="connsiteX11754" y="connsiteY11754"/>
              </a:cxn>
              <a:cxn ang="0">
                <a:pos x="connsiteX11755" y="connsiteY11755"/>
              </a:cxn>
              <a:cxn ang="0">
                <a:pos x="connsiteX11756" y="connsiteY11756"/>
              </a:cxn>
              <a:cxn ang="0">
                <a:pos x="connsiteX11757" y="connsiteY11757"/>
              </a:cxn>
              <a:cxn ang="0">
                <a:pos x="connsiteX11758" y="connsiteY11758"/>
              </a:cxn>
              <a:cxn ang="0">
                <a:pos x="connsiteX11759" y="connsiteY11759"/>
              </a:cxn>
              <a:cxn ang="0">
                <a:pos x="connsiteX11760" y="connsiteY11760"/>
              </a:cxn>
              <a:cxn ang="0">
                <a:pos x="connsiteX11761" y="connsiteY11761"/>
              </a:cxn>
              <a:cxn ang="0">
                <a:pos x="connsiteX11762" y="connsiteY11762"/>
              </a:cxn>
              <a:cxn ang="0">
                <a:pos x="connsiteX11763" y="connsiteY11763"/>
              </a:cxn>
              <a:cxn ang="0">
                <a:pos x="connsiteX11764" y="connsiteY11764"/>
              </a:cxn>
              <a:cxn ang="0">
                <a:pos x="connsiteX11765" y="connsiteY11765"/>
              </a:cxn>
              <a:cxn ang="0">
                <a:pos x="connsiteX11766" y="connsiteY11766"/>
              </a:cxn>
              <a:cxn ang="0">
                <a:pos x="connsiteX11767" y="connsiteY11767"/>
              </a:cxn>
              <a:cxn ang="0">
                <a:pos x="connsiteX11768" y="connsiteY11768"/>
              </a:cxn>
              <a:cxn ang="0">
                <a:pos x="connsiteX11769" y="connsiteY11769"/>
              </a:cxn>
              <a:cxn ang="0">
                <a:pos x="connsiteX11770" y="connsiteY11770"/>
              </a:cxn>
              <a:cxn ang="0">
                <a:pos x="connsiteX11771" y="connsiteY11771"/>
              </a:cxn>
              <a:cxn ang="0">
                <a:pos x="connsiteX11772" y="connsiteY11772"/>
              </a:cxn>
              <a:cxn ang="0">
                <a:pos x="connsiteX11773" y="connsiteY11773"/>
              </a:cxn>
              <a:cxn ang="0">
                <a:pos x="connsiteX11774" y="connsiteY11774"/>
              </a:cxn>
              <a:cxn ang="0">
                <a:pos x="connsiteX11775" y="connsiteY11775"/>
              </a:cxn>
              <a:cxn ang="0">
                <a:pos x="connsiteX11776" y="connsiteY11776"/>
              </a:cxn>
              <a:cxn ang="0">
                <a:pos x="connsiteX11777" y="connsiteY11777"/>
              </a:cxn>
              <a:cxn ang="0">
                <a:pos x="connsiteX11778" y="connsiteY11778"/>
              </a:cxn>
              <a:cxn ang="0">
                <a:pos x="connsiteX11779" y="connsiteY11779"/>
              </a:cxn>
              <a:cxn ang="0">
                <a:pos x="connsiteX11780" y="connsiteY11780"/>
              </a:cxn>
              <a:cxn ang="0">
                <a:pos x="connsiteX11781" y="connsiteY11781"/>
              </a:cxn>
              <a:cxn ang="0">
                <a:pos x="connsiteX11782" y="connsiteY11782"/>
              </a:cxn>
              <a:cxn ang="0">
                <a:pos x="connsiteX11783" y="connsiteY11783"/>
              </a:cxn>
              <a:cxn ang="0">
                <a:pos x="connsiteX11784" y="connsiteY11784"/>
              </a:cxn>
              <a:cxn ang="0">
                <a:pos x="connsiteX11785" y="connsiteY11785"/>
              </a:cxn>
              <a:cxn ang="0">
                <a:pos x="connsiteX11786" y="connsiteY11786"/>
              </a:cxn>
              <a:cxn ang="0">
                <a:pos x="connsiteX11787" y="connsiteY11787"/>
              </a:cxn>
              <a:cxn ang="0">
                <a:pos x="connsiteX11788" y="connsiteY11788"/>
              </a:cxn>
              <a:cxn ang="0">
                <a:pos x="connsiteX11789" y="connsiteY11789"/>
              </a:cxn>
              <a:cxn ang="0">
                <a:pos x="connsiteX11790" y="connsiteY11790"/>
              </a:cxn>
              <a:cxn ang="0">
                <a:pos x="connsiteX11791" y="connsiteY11791"/>
              </a:cxn>
              <a:cxn ang="0">
                <a:pos x="connsiteX11792" y="connsiteY11792"/>
              </a:cxn>
              <a:cxn ang="0">
                <a:pos x="connsiteX11793" y="connsiteY11793"/>
              </a:cxn>
              <a:cxn ang="0">
                <a:pos x="connsiteX11794" y="connsiteY11794"/>
              </a:cxn>
              <a:cxn ang="0">
                <a:pos x="connsiteX11795" y="connsiteY11795"/>
              </a:cxn>
              <a:cxn ang="0">
                <a:pos x="connsiteX11796" y="connsiteY11796"/>
              </a:cxn>
              <a:cxn ang="0">
                <a:pos x="connsiteX11797" y="connsiteY11797"/>
              </a:cxn>
              <a:cxn ang="0">
                <a:pos x="connsiteX11798" y="connsiteY11798"/>
              </a:cxn>
              <a:cxn ang="0">
                <a:pos x="connsiteX11799" y="connsiteY11799"/>
              </a:cxn>
              <a:cxn ang="0">
                <a:pos x="connsiteX11800" y="connsiteY11800"/>
              </a:cxn>
              <a:cxn ang="0">
                <a:pos x="connsiteX11801" y="connsiteY11801"/>
              </a:cxn>
              <a:cxn ang="0">
                <a:pos x="connsiteX11802" y="connsiteY11802"/>
              </a:cxn>
              <a:cxn ang="0">
                <a:pos x="connsiteX11803" y="connsiteY11803"/>
              </a:cxn>
              <a:cxn ang="0">
                <a:pos x="connsiteX11804" y="connsiteY11804"/>
              </a:cxn>
              <a:cxn ang="0">
                <a:pos x="connsiteX11805" y="connsiteY11805"/>
              </a:cxn>
              <a:cxn ang="0">
                <a:pos x="connsiteX11806" y="connsiteY11806"/>
              </a:cxn>
              <a:cxn ang="0">
                <a:pos x="connsiteX11807" y="connsiteY11807"/>
              </a:cxn>
              <a:cxn ang="0">
                <a:pos x="connsiteX11808" y="connsiteY11808"/>
              </a:cxn>
              <a:cxn ang="0">
                <a:pos x="connsiteX11809" y="connsiteY11809"/>
              </a:cxn>
              <a:cxn ang="0">
                <a:pos x="connsiteX11810" y="connsiteY11810"/>
              </a:cxn>
              <a:cxn ang="0">
                <a:pos x="connsiteX11811" y="connsiteY11811"/>
              </a:cxn>
              <a:cxn ang="0">
                <a:pos x="connsiteX11812" y="connsiteY11812"/>
              </a:cxn>
              <a:cxn ang="0">
                <a:pos x="connsiteX11813" y="connsiteY11813"/>
              </a:cxn>
              <a:cxn ang="0">
                <a:pos x="connsiteX11814" y="connsiteY11814"/>
              </a:cxn>
              <a:cxn ang="0">
                <a:pos x="connsiteX11815" y="connsiteY11815"/>
              </a:cxn>
              <a:cxn ang="0">
                <a:pos x="connsiteX11816" y="connsiteY11816"/>
              </a:cxn>
              <a:cxn ang="0">
                <a:pos x="connsiteX11817" y="connsiteY11817"/>
              </a:cxn>
              <a:cxn ang="0">
                <a:pos x="connsiteX11818" y="connsiteY11818"/>
              </a:cxn>
              <a:cxn ang="0">
                <a:pos x="connsiteX11819" y="connsiteY11819"/>
              </a:cxn>
              <a:cxn ang="0">
                <a:pos x="connsiteX11820" y="connsiteY11820"/>
              </a:cxn>
              <a:cxn ang="0">
                <a:pos x="connsiteX11821" y="connsiteY11821"/>
              </a:cxn>
              <a:cxn ang="0">
                <a:pos x="connsiteX11822" y="connsiteY11822"/>
              </a:cxn>
              <a:cxn ang="0">
                <a:pos x="connsiteX11823" y="connsiteY11823"/>
              </a:cxn>
              <a:cxn ang="0">
                <a:pos x="connsiteX11824" y="connsiteY11824"/>
              </a:cxn>
              <a:cxn ang="0">
                <a:pos x="connsiteX11825" y="connsiteY11825"/>
              </a:cxn>
              <a:cxn ang="0">
                <a:pos x="connsiteX11826" y="connsiteY11826"/>
              </a:cxn>
              <a:cxn ang="0">
                <a:pos x="connsiteX11827" y="connsiteY11827"/>
              </a:cxn>
              <a:cxn ang="0">
                <a:pos x="connsiteX11828" y="connsiteY11828"/>
              </a:cxn>
              <a:cxn ang="0">
                <a:pos x="connsiteX11829" y="connsiteY11829"/>
              </a:cxn>
              <a:cxn ang="0">
                <a:pos x="connsiteX11830" y="connsiteY11830"/>
              </a:cxn>
              <a:cxn ang="0">
                <a:pos x="connsiteX11831" y="connsiteY11831"/>
              </a:cxn>
              <a:cxn ang="0">
                <a:pos x="connsiteX11832" y="connsiteY11832"/>
              </a:cxn>
              <a:cxn ang="0">
                <a:pos x="connsiteX11833" y="connsiteY11833"/>
              </a:cxn>
              <a:cxn ang="0">
                <a:pos x="connsiteX11834" y="connsiteY11834"/>
              </a:cxn>
              <a:cxn ang="0">
                <a:pos x="connsiteX11835" y="connsiteY11835"/>
              </a:cxn>
              <a:cxn ang="0">
                <a:pos x="connsiteX11836" y="connsiteY11836"/>
              </a:cxn>
              <a:cxn ang="0">
                <a:pos x="connsiteX11837" y="connsiteY11837"/>
              </a:cxn>
              <a:cxn ang="0">
                <a:pos x="connsiteX11838" y="connsiteY11838"/>
              </a:cxn>
              <a:cxn ang="0">
                <a:pos x="connsiteX11839" y="connsiteY11839"/>
              </a:cxn>
              <a:cxn ang="0">
                <a:pos x="connsiteX11840" y="connsiteY11840"/>
              </a:cxn>
              <a:cxn ang="0">
                <a:pos x="connsiteX11841" y="connsiteY11841"/>
              </a:cxn>
              <a:cxn ang="0">
                <a:pos x="connsiteX11842" y="connsiteY11842"/>
              </a:cxn>
              <a:cxn ang="0">
                <a:pos x="connsiteX11843" y="connsiteY11843"/>
              </a:cxn>
              <a:cxn ang="0">
                <a:pos x="connsiteX11844" y="connsiteY11844"/>
              </a:cxn>
              <a:cxn ang="0">
                <a:pos x="connsiteX11845" y="connsiteY11845"/>
              </a:cxn>
              <a:cxn ang="0">
                <a:pos x="connsiteX11846" y="connsiteY11846"/>
              </a:cxn>
              <a:cxn ang="0">
                <a:pos x="connsiteX11847" y="connsiteY11847"/>
              </a:cxn>
              <a:cxn ang="0">
                <a:pos x="connsiteX11848" y="connsiteY11848"/>
              </a:cxn>
              <a:cxn ang="0">
                <a:pos x="connsiteX11849" y="connsiteY11849"/>
              </a:cxn>
              <a:cxn ang="0">
                <a:pos x="connsiteX11850" y="connsiteY11850"/>
              </a:cxn>
              <a:cxn ang="0">
                <a:pos x="connsiteX11851" y="connsiteY11851"/>
              </a:cxn>
              <a:cxn ang="0">
                <a:pos x="connsiteX11852" y="connsiteY11852"/>
              </a:cxn>
              <a:cxn ang="0">
                <a:pos x="connsiteX11853" y="connsiteY11853"/>
              </a:cxn>
              <a:cxn ang="0">
                <a:pos x="connsiteX11854" y="connsiteY11854"/>
              </a:cxn>
              <a:cxn ang="0">
                <a:pos x="connsiteX11855" y="connsiteY11855"/>
              </a:cxn>
              <a:cxn ang="0">
                <a:pos x="connsiteX11856" y="connsiteY11856"/>
              </a:cxn>
              <a:cxn ang="0">
                <a:pos x="connsiteX11857" y="connsiteY11857"/>
              </a:cxn>
              <a:cxn ang="0">
                <a:pos x="connsiteX11858" y="connsiteY11858"/>
              </a:cxn>
              <a:cxn ang="0">
                <a:pos x="connsiteX11859" y="connsiteY11859"/>
              </a:cxn>
              <a:cxn ang="0">
                <a:pos x="connsiteX11860" y="connsiteY11860"/>
              </a:cxn>
              <a:cxn ang="0">
                <a:pos x="connsiteX11861" y="connsiteY11861"/>
              </a:cxn>
              <a:cxn ang="0">
                <a:pos x="connsiteX11862" y="connsiteY11862"/>
              </a:cxn>
              <a:cxn ang="0">
                <a:pos x="connsiteX11863" y="connsiteY11863"/>
              </a:cxn>
              <a:cxn ang="0">
                <a:pos x="connsiteX11864" y="connsiteY11864"/>
              </a:cxn>
              <a:cxn ang="0">
                <a:pos x="connsiteX11865" y="connsiteY11865"/>
              </a:cxn>
              <a:cxn ang="0">
                <a:pos x="connsiteX11866" y="connsiteY11866"/>
              </a:cxn>
              <a:cxn ang="0">
                <a:pos x="connsiteX11867" y="connsiteY11867"/>
              </a:cxn>
              <a:cxn ang="0">
                <a:pos x="connsiteX11868" y="connsiteY11868"/>
              </a:cxn>
              <a:cxn ang="0">
                <a:pos x="connsiteX11869" y="connsiteY11869"/>
              </a:cxn>
              <a:cxn ang="0">
                <a:pos x="connsiteX11870" y="connsiteY11870"/>
              </a:cxn>
              <a:cxn ang="0">
                <a:pos x="connsiteX11871" y="connsiteY11871"/>
              </a:cxn>
              <a:cxn ang="0">
                <a:pos x="connsiteX11872" y="connsiteY11872"/>
              </a:cxn>
              <a:cxn ang="0">
                <a:pos x="connsiteX11873" y="connsiteY11873"/>
              </a:cxn>
              <a:cxn ang="0">
                <a:pos x="connsiteX11874" y="connsiteY11874"/>
              </a:cxn>
              <a:cxn ang="0">
                <a:pos x="connsiteX11875" y="connsiteY11875"/>
              </a:cxn>
              <a:cxn ang="0">
                <a:pos x="connsiteX11876" y="connsiteY11876"/>
              </a:cxn>
              <a:cxn ang="0">
                <a:pos x="connsiteX11877" y="connsiteY11877"/>
              </a:cxn>
              <a:cxn ang="0">
                <a:pos x="connsiteX11878" y="connsiteY11878"/>
              </a:cxn>
              <a:cxn ang="0">
                <a:pos x="connsiteX11879" y="connsiteY11879"/>
              </a:cxn>
              <a:cxn ang="0">
                <a:pos x="connsiteX11880" y="connsiteY11880"/>
              </a:cxn>
              <a:cxn ang="0">
                <a:pos x="connsiteX11881" y="connsiteY11881"/>
              </a:cxn>
              <a:cxn ang="0">
                <a:pos x="connsiteX11882" y="connsiteY11882"/>
              </a:cxn>
              <a:cxn ang="0">
                <a:pos x="connsiteX11883" y="connsiteY11883"/>
              </a:cxn>
              <a:cxn ang="0">
                <a:pos x="connsiteX11884" y="connsiteY11884"/>
              </a:cxn>
              <a:cxn ang="0">
                <a:pos x="connsiteX11885" y="connsiteY11885"/>
              </a:cxn>
              <a:cxn ang="0">
                <a:pos x="connsiteX11886" y="connsiteY11886"/>
              </a:cxn>
              <a:cxn ang="0">
                <a:pos x="connsiteX11887" y="connsiteY11887"/>
              </a:cxn>
              <a:cxn ang="0">
                <a:pos x="connsiteX11888" y="connsiteY11888"/>
              </a:cxn>
              <a:cxn ang="0">
                <a:pos x="connsiteX11889" y="connsiteY11889"/>
              </a:cxn>
              <a:cxn ang="0">
                <a:pos x="connsiteX11890" y="connsiteY11890"/>
              </a:cxn>
              <a:cxn ang="0">
                <a:pos x="connsiteX11891" y="connsiteY11891"/>
              </a:cxn>
              <a:cxn ang="0">
                <a:pos x="connsiteX11892" y="connsiteY11892"/>
              </a:cxn>
              <a:cxn ang="0">
                <a:pos x="connsiteX11893" y="connsiteY11893"/>
              </a:cxn>
              <a:cxn ang="0">
                <a:pos x="connsiteX11894" y="connsiteY11894"/>
              </a:cxn>
              <a:cxn ang="0">
                <a:pos x="connsiteX11895" y="connsiteY11895"/>
              </a:cxn>
              <a:cxn ang="0">
                <a:pos x="connsiteX11896" y="connsiteY11896"/>
              </a:cxn>
              <a:cxn ang="0">
                <a:pos x="connsiteX11897" y="connsiteY11897"/>
              </a:cxn>
              <a:cxn ang="0">
                <a:pos x="connsiteX11898" y="connsiteY11898"/>
              </a:cxn>
              <a:cxn ang="0">
                <a:pos x="connsiteX11899" y="connsiteY11899"/>
              </a:cxn>
              <a:cxn ang="0">
                <a:pos x="connsiteX11900" y="connsiteY11900"/>
              </a:cxn>
              <a:cxn ang="0">
                <a:pos x="connsiteX11901" y="connsiteY11901"/>
              </a:cxn>
              <a:cxn ang="0">
                <a:pos x="connsiteX11902" y="connsiteY11902"/>
              </a:cxn>
              <a:cxn ang="0">
                <a:pos x="connsiteX11903" y="connsiteY11903"/>
              </a:cxn>
              <a:cxn ang="0">
                <a:pos x="connsiteX11904" y="connsiteY11904"/>
              </a:cxn>
              <a:cxn ang="0">
                <a:pos x="connsiteX11905" y="connsiteY11905"/>
              </a:cxn>
              <a:cxn ang="0">
                <a:pos x="connsiteX11906" y="connsiteY11906"/>
              </a:cxn>
              <a:cxn ang="0">
                <a:pos x="connsiteX11907" y="connsiteY11907"/>
              </a:cxn>
              <a:cxn ang="0">
                <a:pos x="connsiteX11908" y="connsiteY11908"/>
              </a:cxn>
              <a:cxn ang="0">
                <a:pos x="connsiteX11909" y="connsiteY11909"/>
              </a:cxn>
              <a:cxn ang="0">
                <a:pos x="connsiteX11910" y="connsiteY11910"/>
              </a:cxn>
              <a:cxn ang="0">
                <a:pos x="connsiteX11911" y="connsiteY11911"/>
              </a:cxn>
              <a:cxn ang="0">
                <a:pos x="connsiteX11912" y="connsiteY11912"/>
              </a:cxn>
              <a:cxn ang="0">
                <a:pos x="connsiteX11913" y="connsiteY11913"/>
              </a:cxn>
              <a:cxn ang="0">
                <a:pos x="connsiteX11914" y="connsiteY11914"/>
              </a:cxn>
              <a:cxn ang="0">
                <a:pos x="connsiteX11915" y="connsiteY11915"/>
              </a:cxn>
              <a:cxn ang="0">
                <a:pos x="connsiteX11916" y="connsiteY11916"/>
              </a:cxn>
              <a:cxn ang="0">
                <a:pos x="connsiteX11917" y="connsiteY11917"/>
              </a:cxn>
              <a:cxn ang="0">
                <a:pos x="connsiteX11918" y="connsiteY11918"/>
              </a:cxn>
              <a:cxn ang="0">
                <a:pos x="connsiteX11919" y="connsiteY11919"/>
              </a:cxn>
              <a:cxn ang="0">
                <a:pos x="connsiteX11920" y="connsiteY11920"/>
              </a:cxn>
              <a:cxn ang="0">
                <a:pos x="connsiteX11921" y="connsiteY11921"/>
              </a:cxn>
              <a:cxn ang="0">
                <a:pos x="connsiteX11922" y="connsiteY11922"/>
              </a:cxn>
              <a:cxn ang="0">
                <a:pos x="connsiteX11923" y="connsiteY11923"/>
              </a:cxn>
              <a:cxn ang="0">
                <a:pos x="connsiteX11924" y="connsiteY11924"/>
              </a:cxn>
              <a:cxn ang="0">
                <a:pos x="connsiteX11925" y="connsiteY11925"/>
              </a:cxn>
              <a:cxn ang="0">
                <a:pos x="connsiteX11926" y="connsiteY11926"/>
              </a:cxn>
              <a:cxn ang="0">
                <a:pos x="connsiteX11927" y="connsiteY11927"/>
              </a:cxn>
              <a:cxn ang="0">
                <a:pos x="connsiteX11928" y="connsiteY11928"/>
              </a:cxn>
              <a:cxn ang="0">
                <a:pos x="connsiteX11929" y="connsiteY11929"/>
              </a:cxn>
              <a:cxn ang="0">
                <a:pos x="connsiteX11930" y="connsiteY11930"/>
              </a:cxn>
              <a:cxn ang="0">
                <a:pos x="connsiteX11931" y="connsiteY11931"/>
              </a:cxn>
              <a:cxn ang="0">
                <a:pos x="connsiteX11932" y="connsiteY11932"/>
              </a:cxn>
              <a:cxn ang="0">
                <a:pos x="connsiteX11933" y="connsiteY11933"/>
              </a:cxn>
              <a:cxn ang="0">
                <a:pos x="connsiteX11934" y="connsiteY11934"/>
              </a:cxn>
              <a:cxn ang="0">
                <a:pos x="connsiteX11935" y="connsiteY11935"/>
              </a:cxn>
              <a:cxn ang="0">
                <a:pos x="connsiteX11936" y="connsiteY11936"/>
              </a:cxn>
              <a:cxn ang="0">
                <a:pos x="connsiteX11937" y="connsiteY11937"/>
              </a:cxn>
              <a:cxn ang="0">
                <a:pos x="connsiteX11938" y="connsiteY11938"/>
              </a:cxn>
              <a:cxn ang="0">
                <a:pos x="connsiteX11939" y="connsiteY11939"/>
              </a:cxn>
              <a:cxn ang="0">
                <a:pos x="connsiteX11940" y="connsiteY11940"/>
              </a:cxn>
              <a:cxn ang="0">
                <a:pos x="connsiteX11941" y="connsiteY11941"/>
              </a:cxn>
              <a:cxn ang="0">
                <a:pos x="connsiteX11942" y="connsiteY11942"/>
              </a:cxn>
              <a:cxn ang="0">
                <a:pos x="connsiteX11943" y="connsiteY11943"/>
              </a:cxn>
              <a:cxn ang="0">
                <a:pos x="connsiteX11944" y="connsiteY11944"/>
              </a:cxn>
              <a:cxn ang="0">
                <a:pos x="connsiteX11945" y="connsiteY11945"/>
              </a:cxn>
              <a:cxn ang="0">
                <a:pos x="connsiteX11946" y="connsiteY11946"/>
              </a:cxn>
              <a:cxn ang="0">
                <a:pos x="connsiteX11947" y="connsiteY11947"/>
              </a:cxn>
              <a:cxn ang="0">
                <a:pos x="connsiteX11948" y="connsiteY11948"/>
              </a:cxn>
              <a:cxn ang="0">
                <a:pos x="connsiteX11949" y="connsiteY11949"/>
              </a:cxn>
              <a:cxn ang="0">
                <a:pos x="connsiteX11950" y="connsiteY11950"/>
              </a:cxn>
              <a:cxn ang="0">
                <a:pos x="connsiteX11951" y="connsiteY11951"/>
              </a:cxn>
              <a:cxn ang="0">
                <a:pos x="connsiteX11952" y="connsiteY11952"/>
              </a:cxn>
              <a:cxn ang="0">
                <a:pos x="connsiteX11953" y="connsiteY11953"/>
              </a:cxn>
              <a:cxn ang="0">
                <a:pos x="connsiteX11954" y="connsiteY11954"/>
              </a:cxn>
              <a:cxn ang="0">
                <a:pos x="connsiteX11955" y="connsiteY11955"/>
              </a:cxn>
              <a:cxn ang="0">
                <a:pos x="connsiteX11956" y="connsiteY11956"/>
              </a:cxn>
              <a:cxn ang="0">
                <a:pos x="connsiteX11957" y="connsiteY11957"/>
              </a:cxn>
              <a:cxn ang="0">
                <a:pos x="connsiteX11958" y="connsiteY11958"/>
              </a:cxn>
              <a:cxn ang="0">
                <a:pos x="connsiteX11959" y="connsiteY11959"/>
              </a:cxn>
              <a:cxn ang="0">
                <a:pos x="connsiteX11960" y="connsiteY11960"/>
              </a:cxn>
              <a:cxn ang="0">
                <a:pos x="connsiteX11961" y="connsiteY11961"/>
              </a:cxn>
              <a:cxn ang="0">
                <a:pos x="connsiteX11962" y="connsiteY11962"/>
              </a:cxn>
              <a:cxn ang="0">
                <a:pos x="connsiteX11963" y="connsiteY11963"/>
              </a:cxn>
              <a:cxn ang="0">
                <a:pos x="connsiteX11964" y="connsiteY11964"/>
              </a:cxn>
              <a:cxn ang="0">
                <a:pos x="connsiteX11965" y="connsiteY11965"/>
              </a:cxn>
              <a:cxn ang="0">
                <a:pos x="connsiteX11966" y="connsiteY11966"/>
              </a:cxn>
              <a:cxn ang="0">
                <a:pos x="connsiteX11967" y="connsiteY11967"/>
              </a:cxn>
              <a:cxn ang="0">
                <a:pos x="connsiteX11968" y="connsiteY11968"/>
              </a:cxn>
              <a:cxn ang="0">
                <a:pos x="connsiteX11969" y="connsiteY11969"/>
              </a:cxn>
              <a:cxn ang="0">
                <a:pos x="connsiteX11970" y="connsiteY11970"/>
              </a:cxn>
              <a:cxn ang="0">
                <a:pos x="connsiteX11971" y="connsiteY11971"/>
              </a:cxn>
              <a:cxn ang="0">
                <a:pos x="connsiteX11972" y="connsiteY11972"/>
              </a:cxn>
              <a:cxn ang="0">
                <a:pos x="connsiteX11973" y="connsiteY11973"/>
              </a:cxn>
              <a:cxn ang="0">
                <a:pos x="connsiteX11974" y="connsiteY11974"/>
              </a:cxn>
              <a:cxn ang="0">
                <a:pos x="connsiteX11975" y="connsiteY11975"/>
              </a:cxn>
              <a:cxn ang="0">
                <a:pos x="connsiteX11976" y="connsiteY11976"/>
              </a:cxn>
              <a:cxn ang="0">
                <a:pos x="connsiteX11977" y="connsiteY11977"/>
              </a:cxn>
              <a:cxn ang="0">
                <a:pos x="connsiteX11978" y="connsiteY11978"/>
              </a:cxn>
              <a:cxn ang="0">
                <a:pos x="connsiteX11979" y="connsiteY11979"/>
              </a:cxn>
              <a:cxn ang="0">
                <a:pos x="connsiteX11980" y="connsiteY11980"/>
              </a:cxn>
              <a:cxn ang="0">
                <a:pos x="connsiteX11981" y="connsiteY11981"/>
              </a:cxn>
              <a:cxn ang="0">
                <a:pos x="connsiteX11982" y="connsiteY11982"/>
              </a:cxn>
              <a:cxn ang="0">
                <a:pos x="connsiteX11983" y="connsiteY11983"/>
              </a:cxn>
              <a:cxn ang="0">
                <a:pos x="connsiteX11984" y="connsiteY11984"/>
              </a:cxn>
              <a:cxn ang="0">
                <a:pos x="connsiteX11985" y="connsiteY11985"/>
              </a:cxn>
              <a:cxn ang="0">
                <a:pos x="connsiteX11986" y="connsiteY11986"/>
              </a:cxn>
              <a:cxn ang="0">
                <a:pos x="connsiteX11987" y="connsiteY11987"/>
              </a:cxn>
              <a:cxn ang="0">
                <a:pos x="connsiteX11988" y="connsiteY11988"/>
              </a:cxn>
              <a:cxn ang="0">
                <a:pos x="connsiteX11989" y="connsiteY11989"/>
              </a:cxn>
              <a:cxn ang="0">
                <a:pos x="connsiteX11990" y="connsiteY11990"/>
              </a:cxn>
              <a:cxn ang="0">
                <a:pos x="connsiteX11991" y="connsiteY11991"/>
              </a:cxn>
              <a:cxn ang="0">
                <a:pos x="connsiteX11992" y="connsiteY11992"/>
              </a:cxn>
              <a:cxn ang="0">
                <a:pos x="connsiteX11993" y="connsiteY11993"/>
              </a:cxn>
              <a:cxn ang="0">
                <a:pos x="connsiteX11994" y="connsiteY11994"/>
              </a:cxn>
              <a:cxn ang="0">
                <a:pos x="connsiteX11995" y="connsiteY11995"/>
              </a:cxn>
              <a:cxn ang="0">
                <a:pos x="connsiteX11996" y="connsiteY11996"/>
              </a:cxn>
              <a:cxn ang="0">
                <a:pos x="connsiteX11997" y="connsiteY11997"/>
              </a:cxn>
              <a:cxn ang="0">
                <a:pos x="connsiteX11998" y="connsiteY11998"/>
              </a:cxn>
              <a:cxn ang="0">
                <a:pos x="connsiteX11999" y="connsiteY11999"/>
              </a:cxn>
              <a:cxn ang="0">
                <a:pos x="connsiteX12000" y="connsiteY12000"/>
              </a:cxn>
              <a:cxn ang="0">
                <a:pos x="connsiteX12001" y="connsiteY12001"/>
              </a:cxn>
              <a:cxn ang="0">
                <a:pos x="connsiteX12002" y="connsiteY12002"/>
              </a:cxn>
              <a:cxn ang="0">
                <a:pos x="connsiteX12003" y="connsiteY12003"/>
              </a:cxn>
              <a:cxn ang="0">
                <a:pos x="connsiteX12004" y="connsiteY12004"/>
              </a:cxn>
              <a:cxn ang="0">
                <a:pos x="connsiteX12005" y="connsiteY12005"/>
              </a:cxn>
              <a:cxn ang="0">
                <a:pos x="connsiteX12006" y="connsiteY12006"/>
              </a:cxn>
              <a:cxn ang="0">
                <a:pos x="connsiteX12007" y="connsiteY12007"/>
              </a:cxn>
              <a:cxn ang="0">
                <a:pos x="connsiteX12008" y="connsiteY12008"/>
              </a:cxn>
              <a:cxn ang="0">
                <a:pos x="connsiteX12009" y="connsiteY12009"/>
              </a:cxn>
              <a:cxn ang="0">
                <a:pos x="connsiteX12010" y="connsiteY12010"/>
              </a:cxn>
              <a:cxn ang="0">
                <a:pos x="connsiteX12011" y="connsiteY12011"/>
              </a:cxn>
              <a:cxn ang="0">
                <a:pos x="connsiteX12012" y="connsiteY12012"/>
              </a:cxn>
              <a:cxn ang="0">
                <a:pos x="connsiteX12013" y="connsiteY12013"/>
              </a:cxn>
              <a:cxn ang="0">
                <a:pos x="connsiteX12014" y="connsiteY12014"/>
              </a:cxn>
              <a:cxn ang="0">
                <a:pos x="connsiteX12015" y="connsiteY12015"/>
              </a:cxn>
              <a:cxn ang="0">
                <a:pos x="connsiteX12016" y="connsiteY12016"/>
              </a:cxn>
              <a:cxn ang="0">
                <a:pos x="connsiteX12017" y="connsiteY12017"/>
              </a:cxn>
              <a:cxn ang="0">
                <a:pos x="connsiteX12018" y="connsiteY12018"/>
              </a:cxn>
              <a:cxn ang="0">
                <a:pos x="connsiteX12019" y="connsiteY12019"/>
              </a:cxn>
              <a:cxn ang="0">
                <a:pos x="connsiteX12020" y="connsiteY12020"/>
              </a:cxn>
              <a:cxn ang="0">
                <a:pos x="connsiteX12021" y="connsiteY12021"/>
              </a:cxn>
              <a:cxn ang="0">
                <a:pos x="connsiteX12022" y="connsiteY12022"/>
              </a:cxn>
              <a:cxn ang="0">
                <a:pos x="connsiteX12023" y="connsiteY12023"/>
              </a:cxn>
              <a:cxn ang="0">
                <a:pos x="connsiteX12024" y="connsiteY12024"/>
              </a:cxn>
              <a:cxn ang="0">
                <a:pos x="connsiteX12025" y="connsiteY12025"/>
              </a:cxn>
              <a:cxn ang="0">
                <a:pos x="connsiteX12026" y="connsiteY12026"/>
              </a:cxn>
              <a:cxn ang="0">
                <a:pos x="connsiteX12027" y="connsiteY12027"/>
              </a:cxn>
              <a:cxn ang="0">
                <a:pos x="connsiteX12028" y="connsiteY12028"/>
              </a:cxn>
              <a:cxn ang="0">
                <a:pos x="connsiteX12029" y="connsiteY12029"/>
              </a:cxn>
              <a:cxn ang="0">
                <a:pos x="connsiteX12030" y="connsiteY12030"/>
              </a:cxn>
              <a:cxn ang="0">
                <a:pos x="connsiteX12031" y="connsiteY12031"/>
              </a:cxn>
              <a:cxn ang="0">
                <a:pos x="connsiteX12032" y="connsiteY12032"/>
              </a:cxn>
              <a:cxn ang="0">
                <a:pos x="connsiteX12033" y="connsiteY12033"/>
              </a:cxn>
              <a:cxn ang="0">
                <a:pos x="connsiteX12034" y="connsiteY12034"/>
              </a:cxn>
              <a:cxn ang="0">
                <a:pos x="connsiteX12035" y="connsiteY12035"/>
              </a:cxn>
              <a:cxn ang="0">
                <a:pos x="connsiteX12036" y="connsiteY12036"/>
              </a:cxn>
              <a:cxn ang="0">
                <a:pos x="connsiteX12037" y="connsiteY12037"/>
              </a:cxn>
              <a:cxn ang="0">
                <a:pos x="connsiteX12038" y="connsiteY12038"/>
              </a:cxn>
              <a:cxn ang="0">
                <a:pos x="connsiteX12039" y="connsiteY12039"/>
              </a:cxn>
              <a:cxn ang="0">
                <a:pos x="connsiteX12040" y="connsiteY12040"/>
              </a:cxn>
              <a:cxn ang="0">
                <a:pos x="connsiteX12041" y="connsiteY12041"/>
              </a:cxn>
              <a:cxn ang="0">
                <a:pos x="connsiteX12042" y="connsiteY12042"/>
              </a:cxn>
              <a:cxn ang="0">
                <a:pos x="connsiteX12043" y="connsiteY12043"/>
              </a:cxn>
              <a:cxn ang="0">
                <a:pos x="connsiteX12044" y="connsiteY12044"/>
              </a:cxn>
              <a:cxn ang="0">
                <a:pos x="connsiteX12045" y="connsiteY12045"/>
              </a:cxn>
              <a:cxn ang="0">
                <a:pos x="connsiteX12046" y="connsiteY12046"/>
              </a:cxn>
              <a:cxn ang="0">
                <a:pos x="connsiteX12047" y="connsiteY12047"/>
              </a:cxn>
              <a:cxn ang="0">
                <a:pos x="connsiteX12048" y="connsiteY12048"/>
              </a:cxn>
              <a:cxn ang="0">
                <a:pos x="connsiteX12049" y="connsiteY12049"/>
              </a:cxn>
              <a:cxn ang="0">
                <a:pos x="connsiteX12050" y="connsiteY12050"/>
              </a:cxn>
              <a:cxn ang="0">
                <a:pos x="connsiteX12051" y="connsiteY12051"/>
              </a:cxn>
              <a:cxn ang="0">
                <a:pos x="connsiteX12052" y="connsiteY12052"/>
              </a:cxn>
              <a:cxn ang="0">
                <a:pos x="connsiteX12053" y="connsiteY12053"/>
              </a:cxn>
              <a:cxn ang="0">
                <a:pos x="connsiteX12054" y="connsiteY12054"/>
              </a:cxn>
              <a:cxn ang="0">
                <a:pos x="connsiteX12055" y="connsiteY12055"/>
              </a:cxn>
              <a:cxn ang="0">
                <a:pos x="connsiteX12056" y="connsiteY12056"/>
              </a:cxn>
              <a:cxn ang="0">
                <a:pos x="connsiteX12057" y="connsiteY12057"/>
              </a:cxn>
              <a:cxn ang="0">
                <a:pos x="connsiteX12058" y="connsiteY12058"/>
              </a:cxn>
              <a:cxn ang="0">
                <a:pos x="connsiteX12059" y="connsiteY12059"/>
              </a:cxn>
              <a:cxn ang="0">
                <a:pos x="connsiteX12060" y="connsiteY12060"/>
              </a:cxn>
              <a:cxn ang="0">
                <a:pos x="connsiteX12061" y="connsiteY12061"/>
              </a:cxn>
              <a:cxn ang="0">
                <a:pos x="connsiteX12062" y="connsiteY12062"/>
              </a:cxn>
              <a:cxn ang="0">
                <a:pos x="connsiteX12063" y="connsiteY12063"/>
              </a:cxn>
              <a:cxn ang="0">
                <a:pos x="connsiteX12064" y="connsiteY12064"/>
              </a:cxn>
              <a:cxn ang="0">
                <a:pos x="connsiteX12065" y="connsiteY12065"/>
              </a:cxn>
              <a:cxn ang="0">
                <a:pos x="connsiteX12066" y="connsiteY12066"/>
              </a:cxn>
              <a:cxn ang="0">
                <a:pos x="connsiteX12067" y="connsiteY12067"/>
              </a:cxn>
              <a:cxn ang="0">
                <a:pos x="connsiteX12068" y="connsiteY12068"/>
              </a:cxn>
              <a:cxn ang="0">
                <a:pos x="connsiteX12069" y="connsiteY12069"/>
              </a:cxn>
              <a:cxn ang="0">
                <a:pos x="connsiteX12070" y="connsiteY12070"/>
              </a:cxn>
              <a:cxn ang="0">
                <a:pos x="connsiteX12071" y="connsiteY12071"/>
              </a:cxn>
              <a:cxn ang="0">
                <a:pos x="connsiteX12072" y="connsiteY12072"/>
              </a:cxn>
              <a:cxn ang="0">
                <a:pos x="connsiteX12073" y="connsiteY12073"/>
              </a:cxn>
              <a:cxn ang="0">
                <a:pos x="connsiteX12074" y="connsiteY12074"/>
              </a:cxn>
              <a:cxn ang="0">
                <a:pos x="connsiteX12075" y="connsiteY12075"/>
              </a:cxn>
              <a:cxn ang="0">
                <a:pos x="connsiteX12076" y="connsiteY12076"/>
              </a:cxn>
              <a:cxn ang="0">
                <a:pos x="connsiteX12077" y="connsiteY12077"/>
              </a:cxn>
              <a:cxn ang="0">
                <a:pos x="connsiteX12078" y="connsiteY12078"/>
              </a:cxn>
              <a:cxn ang="0">
                <a:pos x="connsiteX12079" y="connsiteY12079"/>
              </a:cxn>
              <a:cxn ang="0">
                <a:pos x="connsiteX12080" y="connsiteY12080"/>
              </a:cxn>
              <a:cxn ang="0">
                <a:pos x="connsiteX12081" y="connsiteY12081"/>
              </a:cxn>
              <a:cxn ang="0">
                <a:pos x="connsiteX12082" y="connsiteY12082"/>
              </a:cxn>
              <a:cxn ang="0">
                <a:pos x="connsiteX12083" y="connsiteY12083"/>
              </a:cxn>
              <a:cxn ang="0">
                <a:pos x="connsiteX12084" y="connsiteY12084"/>
              </a:cxn>
              <a:cxn ang="0">
                <a:pos x="connsiteX12085" y="connsiteY12085"/>
              </a:cxn>
              <a:cxn ang="0">
                <a:pos x="connsiteX12086" y="connsiteY12086"/>
              </a:cxn>
              <a:cxn ang="0">
                <a:pos x="connsiteX12087" y="connsiteY12087"/>
              </a:cxn>
              <a:cxn ang="0">
                <a:pos x="connsiteX12088" y="connsiteY12088"/>
              </a:cxn>
              <a:cxn ang="0">
                <a:pos x="connsiteX12089" y="connsiteY12089"/>
              </a:cxn>
              <a:cxn ang="0">
                <a:pos x="connsiteX12090" y="connsiteY12090"/>
              </a:cxn>
              <a:cxn ang="0">
                <a:pos x="connsiteX12091" y="connsiteY12091"/>
              </a:cxn>
              <a:cxn ang="0">
                <a:pos x="connsiteX12092" y="connsiteY12092"/>
              </a:cxn>
              <a:cxn ang="0">
                <a:pos x="connsiteX12093" y="connsiteY12093"/>
              </a:cxn>
              <a:cxn ang="0">
                <a:pos x="connsiteX12094" y="connsiteY12094"/>
              </a:cxn>
              <a:cxn ang="0">
                <a:pos x="connsiteX12095" y="connsiteY12095"/>
              </a:cxn>
              <a:cxn ang="0">
                <a:pos x="connsiteX12096" y="connsiteY12096"/>
              </a:cxn>
              <a:cxn ang="0">
                <a:pos x="connsiteX12097" y="connsiteY12097"/>
              </a:cxn>
              <a:cxn ang="0">
                <a:pos x="connsiteX12098" y="connsiteY12098"/>
              </a:cxn>
              <a:cxn ang="0">
                <a:pos x="connsiteX12099" y="connsiteY12099"/>
              </a:cxn>
              <a:cxn ang="0">
                <a:pos x="connsiteX12100" y="connsiteY12100"/>
              </a:cxn>
              <a:cxn ang="0">
                <a:pos x="connsiteX12101" y="connsiteY12101"/>
              </a:cxn>
              <a:cxn ang="0">
                <a:pos x="connsiteX12102" y="connsiteY12102"/>
              </a:cxn>
              <a:cxn ang="0">
                <a:pos x="connsiteX12103" y="connsiteY12103"/>
              </a:cxn>
              <a:cxn ang="0">
                <a:pos x="connsiteX12104" y="connsiteY12104"/>
              </a:cxn>
              <a:cxn ang="0">
                <a:pos x="connsiteX12105" y="connsiteY12105"/>
              </a:cxn>
              <a:cxn ang="0">
                <a:pos x="connsiteX12106" y="connsiteY12106"/>
              </a:cxn>
              <a:cxn ang="0">
                <a:pos x="connsiteX12107" y="connsiteY12107"/>
              </a:cxn>
              <a:cxn ang="0">
                <a:pos x="connsiteX12108" y="connsiteY12108"/>
              </a:cxn>
              <a:cxn ang="0">
                <a:pos x="connsiteX12109" y="connsiteY12109"/>
              </a:cxn>
              <a:cxn ang="0">
                <a:pos x="connsiteX12110" y="connsiteY12110"/>
              </a:cxn>
              <a:cxn ang="0">
                <a:pos x="connsiteX12111" y="connsiteY12111"/>
              </a:cxn>
              <a:cxn ang="0">
                <a:pos x="connsiteX12112" y="connsiteY12112"/>
              </a:cxn>
              <a:cxn ang="0">
                <a:pos x="connsiteX12113" y="connsiteY12113"/>
              </a:cxn>
              <a:cxn ang="0">
                <a:pos x="connsiteX12114" y="connsiteY12114"/>
              </a:cxn>
              <a:cxn ang="0">
                <a:pos x="connsiteX12115" y="connsiteY12115"/>
              </a:cxn>
              <a:cxn ang="0">
                <a:pos x="connsiteX12116" y="connsiteY12116"/>
              </a:cxn>
              <a:cxn ang="0">
                <a:pos x="connsiteX12117" y="connsiteY12117"/>
              </a:cxn>
              <a:cxn ang="0">
                <a:pos x="connsiteX12118" y="connsiteY12118"/>
              </a:cxn>
              <a:cxn ang="0">
                <a:pos x="connsiteX12119" y="connsiteY12119"/>
              </a:cxn>
              <a:cxn ang="0">
                <a:pos x="connsiteX12120" y="connsiteY12120"/>
              </a:cxn>
              <a:cxn ang="0">
                <a:pos x="connsiteX12121" y="connsiteY12121"/>
              </a:cxn>
              <a:cxn ang="0">
                <a:pos x="connsiteX12122" y="connsiteY12122"/>
              </a:cxn>
              <a:cxn ang="0">
                <a:pos x="connsiteX12123" y="connsiteY12123"/>
              </a:cxn>
              <a:cxn ang="0">
                <a:pos x="connsiteX12124" y="connsiteY12124"/>
              </a:cxn>
              <a:cxn ang="0">
                <a:pos x="connsiteX12125" y="connsiteY12125"/>
              </a:cxn>
              <a:cxn ang="0">
                <a:pos x="connsiteX12126" y="connsiteY12126"/>
              </a:cxn>
              <a:cxn ang="0">
                <a:pos x="connsiteX12127" y="connsiteY12127"/>
              </a:cxn>
              <a:cxn ang="0">
                <a:pos x="connsiteX12128" y="connsiteY12128"/>
              </a:cxn>
              <a:cxn ang="0">
                <a:pos x="connsiteX12129" y="connsiteY12129"/>
              </a:cxn>
              <a:cxn ang="0">
                <a:pos x="connsiteX12130" y="connsiteY12130"/>
              </a:cxn>
              <a:cxn ang="0">
                <a:pos x="connsiteX12131" y="connsiteY12131"/>
              </a:cxn>
              <a:cxn ang="0">
                <a:pos x="connsiteX12132" y="connsiteY12132"/>
              </a:cxn>
              <a:cxn ang="0">
                <a:pos x="connsiteX12133" y="connsiteY12133"/>
              </a:cxn>
              <a:cxn ang="0">
                <a:pos x="connsiteX12134" y="connsiteY12134"/>
              </a:cxn>
              <a:cxn ang="0">
                <a:pos x="connsiteX12135" y="connsiteY12135"/>
              </a:cxn>
              <a:cxn ang="0">
                <a:pos x="connsiteX12136" y="connsiteY12136"/>
              </a:cxn>
              <a:cxn ang="0">
                <a:pos x="connsiteX12137" y="connsiteY12137"/>
              </a:cxn>
              <a:cxn ang="0">
                <a:pos x="connsiteX12138" y="connsiteY12138"/>
              </a:cxn>
              <a:cxn ang="0">
                <a:pos x="connsiteX12139" y="connsiteY12139"/>
              </a:cxn>
              <a:cxn ang="0">
                <a:pos x="connsiteX12140" y="connsiteY12140"/>
              </a:cxn>
              <a:cxn ang="0">
                <a:pos x="connsiteX12141" y="connsiteY12141"/>
              </a:cxn>
              <a:cxn ang="0">
                <a:pos x="connsiteX12142" y="connsiteY12142"/>
              </a:cxn>
              <a:cxn ang="0">
                <a:pos x="connsiteX12143" y="connsiteY12143"/>
              </a:cxn>
              <a:cxn ang="0">
                <a:pos x="connsiteX12144" y="connsiteY12144"/>
              </a:cxn>
              <a:cxn ang="0">
                <a:pos x="connsiteX12145" y="connsiteY12145"/>
              </a:cxn>
              <a:cxn ang="0">
                <a:pos x="connsiteX12146" y="connsiteY12146"/>
              </a:cxn>
              <a:cxn ang="0">
                <a:pos x="connsiteX12147" y="connsiteY12147"/>
              </a:cxn>
              <a:cxn ang="0">
                <a:pos x="connsiteX12148" y="connsiteY12148"/>
              </a:cxn>
              <a:cxn ang="0">
                <a:pos x="connsiteX12149" y="connsiteY12149"/>
              </a:cxn>
              <a:cxn ang="0">
                <a:pos x="connsiteX12150" y="connsiteY12150"/>
              </a:cxn>
              <a:cxn ang="0">
                <a:pos x="connsiteX12151" y="connsiteY12151"/>
              </a:cxn>
              <a:cxn ang="0">
                <a:pos x="connsiteX12152" y="connsiteY12152"/>
              </a:cxn>
              <a:cxn ang="0">
                <a:pos x="connsiteX12153" y="connsiteY12153"/>
              </a:cxn>
              <a:cxn ang="0">
                <a:pos x="connsiteX12154" y="connsiteY12154"/>
              </a:cxn>
              <a:cxn ang="0">
                <a:pos x="connsiteX12155" y="connsiteY12155"/>
              </a:cxn>
              <a:cxn ang="0">
                <a:pos x="connsiteX12156" y="connsiteY12156"/>
              </a:cxn>
              <a:cxn ang="0">
                <a:pos x="connsiteX12157" y="connsiteY12157"/>
              </a:cxn>
              <a:cxn ang="0">
                <a:pos x="connsiteX12158" y="connsiteY12158"/>
              </a:cxn>
              <a:cxn ang="0">
                <a:pos x="connsiteX12159" y="connsiteY12159"/>
              </a:cxn>
              <a:cxn ang="0">
                <a:pos x="connsiteX12160" y="connsiteY12160"/>
              </a:cxn>
              <a:cxn ang="0">
                <a:pos x="connsiteX12161" y="connsiteY12161"/>
              </a:cxn>
              <a:cxn ang="0">
                <a:pos x="connsiteX12162" y="connsiteY12162"/>
              </a:cxn>
              <a:cxn ang="0">
                <a:pos x="connsiteX12163" y="connsiteY12163"/>
              </a:cxn>
              <a:cxn ang="0">
                <a:pos x="connsiteX12164" y="connsiteY12164"/>
              </a:cxn>
              <a:cxn ang="0">
                <a:pos x="connsiteX12165" y="connsiteY12165"/>
              </a:cxn>
              <a:cxn ang="0">
                <a:pos x="connsiteX12166" y="connsiteY12166"/>
              </a:cxn>
              <a:cxn ang="0">
                <a:pos x="connsiteX12167" y="connsiteY12167"/>
              </a:cxn>
              <a:cxn ang="0">
                <a:pos x="connsiteX12168" y="connsiteY12168"/>
              </a:cxn>
              <a:cxn ang="0">
                <a:pos x="connsiteX12169" y="connsiteY12169"/>
              </a:cxn>
              <a:cxn ang="0">
                <a:pos x="connsiteX12170" y="connsiteY12170"/>
              </a:cxn>
              <a:cxn ang="0">
                <a:pos x="connsiteX12171" y="connsiteY12171"/>
              </a:cxn>
              <a:cxn ang="0">
                <a:pos x="connsiteX12172" y="connsiteY12172"/>
              </a:cxn>
              <a:cxn ang="0">
                <a:pos x="connsiteX12173" y="connsiteY12173"/>
              </a:cxn>
              <a:cxn ang="0">
                <a:pos x="connsiteX12174" y="connsiteY12174"/>
              </a:cxn>
              <a:cxn ang="0">
                <a:pos x="connsiteX12175" y="connsiteY12175"/>
              </a:cxn>
              <a:cxn ang="0">
                <a:pos x="connsiteX12176" y="connsiteY12176"/>
              </a:cxn>
              <a:cxn ang="0">
                <a:pos x="connsiteX12177" y="connsiteY12177"/>
              </a:cxn>
              <a:cxn ang="0">
                <a:pos x="connsiteX12178" y="connsiteY12178"/>
              </a:cxn>
              <a:cxn ang="0">
                <a:pos x="connsiteX12179" y="connsiteY12179"/>
              </a:cxn>
              <a:cxn ang="0">
                <a:pos x="connsiteX12180" y="connsiteY12180"/>
              </a:cxn>
              <a:cxn ang="0">
                <a:pos x="connsiteX12181" y="connsiteY12181"/>
              </a:cxn>
              <a:cxn ang="0">
                <a:pos x="connsiteX12182" y="connsiteY12182"/>
              </a:cxn>
              <a:cxn ang="0">
                <a:pos x="connsiteX12183" y="connsiteY12183"/>
              </a:cxn>
              <a:cxn ang="0">
                <a:pos x="connsiteX12184" y="connsiteY12184"/>
              </a:cxn>
              <a:cxn ang="0">
                <a:pos x="connsiteX12185" y="connsiteY12185"/>
              </a:cxn>
              <a:cxn ang="0">
                <a:pos x="connsiteX12186" y="connsiteY12186"/>
              </a:cxn>
              <a:cxn ang="0">
                <a:pos x="connsiteX12187" y="connsiteY12187"/>
              </a:cxn>
              <a:cxn ang="0">
                <a:pos x="connsiteX12188" y="connsiteY12188"/>
              </a:cxn>
              <a:cxn ang="0">
                <a:pos x="connsiteX12189" y="connsiteY12189"/>
              </a:cxn>
              <a:cxn ang="0">
                <a:pos x="connsiteX12190" y="connsiteY12190"/>
              </a:cxn>
              <a:cxn ang="0">
                <a:pos x="connsiteX12191" y="connsiteY12191"/>
              </a:cxn>
              <a:cxn ang="0">
                <a:pos x="connsiteX12192" y="connsiteY12192"/>
              </a:cxn>
              <a:cxn ang="0">
                <a:pos x="connsiteX12193" y="connsiteY12193"/>
              </a:cxn>
              <a:cxn ang="0">
                <a:pos x="connsiteX12194" y="connsiteY12194"/>
              </a:cxn>
              <a:cxn ang="0">
                <a:pos x="connsiteX12195" y="connsiteY12195"/>
              </a:cxn>
              <a:cxn ang="0">
                <a:pos x="connsiteX12196" y="connsiteY12196"/>
              </a:cxn>
              <a:cxn ang="0">
                <a:pos x="connsiteX12197" y="connsiteY12197"/>
              </a:cxn>
              <a:cxn ang="0">
                <a:pos x="connsiteX12198" y="connsiteY12198"/>
              </a:cxn>
              <a:cxn ang="0">
                <a:pos x="connsiteX12199" y="connsiteY12199"/>
              </a:cxn>
              <a:cxn ang="0">
                <a:pos x="connsiteX12200" y="connsiteY12200"/>
              </a:cxn>
              <a:cxn ang="0">
                <a:pos x="connsiteX12201" y="connsiteY12201"/>
              </a:cxn>
              <a:cxn ang="0">
                <a:pos x="connsiteX12202" y="connsiteY12202"/>
              </a:cxn>
              <a:cxn ang="0">
                <a:pos x="connsiteX12203" y="connsiteY12203"/>
              </a:cxn>
              <a:cxn ang="0">
                <a:pos x="connsiteX12204" y="connsiteY12204"/>
              </a:cxn>
              <a:cxn ang="0">
                <a:pos x="connsiteX12205" y="connsiteY12205"/>
              </a:cxn>
              <a:cxn ang="0">
                <a:pos x="connsiteX12206" y="connsiteY12206"/>
              </a:cxn>
              <a:cxn ang="0">
                <a:pos x="connsiteX12207" y="connsiteY12207"/>
              </a:cxn>
              <a:cxn ang="0">
                <a:pos x="connsiteX12208" y="connsiteY12208"/>
              </a:cxn>
              <a:cxn ang="0">
                <a:pos x="connsiteX12209" y="connsiteY12209"/>
              </a:cxn>
              <a:cxn ang="0">
                <a:pos x="connsiteX12210" y="connsiteY12210"/>
              </a:cxn>
              <a:cxn ang="0">
                <a:pos x="connsiteX12211" y="connsiteY12211"/>
              </a:cxn>
              <a:cxn ang="0">
                <a:pos x="connsiteX12212" y="connsiteY12212"/>
              </a:cxn>
              <a:cxn ang="0">
                <a:pos x="connsiteX12213" y="connsiteY12213"/>
              </a:cxn>
              <a:cxn ang="0">
                <a:pos x="connsiteX12214" y="connsiteY12214"/>
              </a:cxn>
              <a:cxn ang="0">
                <a:pos x="connsiteX12215" y="connsiteY12215"/>
              </a:cxn>
              <a:cxn ang="0">
                <a:pos x="connsiteX12216" y="connsiteY12216"/>
              </a:cxn>
              <a:cxn ang="0">
                <a:pos x="connsiteX12217" y="connsiteY12217"/>
              </a:cxn>
              <a:cxn ang="0">
                <a:pos x="connsiteX12218" y="connsiteY12218"/>
              </a:cxn>
              <a:cxn ang="0">
                <a:pos x="connsiteX12219" y="connsiteY12219"/>
              </a:cxn>
              <a:cxn ang="0">
                <a:pos x="connsiteX12220" y="connsiteY12220"/>
              </a:cxn>
              <a:cxn ang="0">
                <a:pos x="connsiteX12221" y="connsiteY12221"/>
              </a:cxn>
              <a:cxn ang="0">
                <a:pos x="connsiteX12222" y="connsiteY12222"/>
              </a:cxn>
              <a:cxn ang="0">
                <a:pos x="connsiteX12223" y="connsiteY12223"/>
              </a:cxn>
              <a:cxn ang="0">
                <a:pos x="connsiteX12224" y="connsiteY12224"/>
              </a:cxn>
              <a:cxn ang="0">
                <a:pos x="connsiteX12225" y="connsiteY12225"/>
              </a:cxn>
              <a:cxn ang="0">
                <a:pos x="connsiteX12226" y="connsiteY12226"/>
              </a:cxn>
              <a:cxn ang="0">
                <a:pos x="connsiteX12227" y="connsiteY12227"/>
              </a:cxn>
              <a:cxn ang="0">
                <a:pos x="connsiteX12228" y="connsiteY12228"/>
              </a:cxn>
              <a:cxn ang="0">
                <a:pos x="connsiteX12229" y="connsiteY12229"/>
              </a:cxn>
              <a:cxn ang="0">
                <a:pos x="connsiteX12230" y="connsiteY12230"/>
              </a:cxn>
              <a:cxn ang="0">
                <a:pos x="connsiteX12231" y="connsiteY12231"/>
              </a:cxn>
              <a:cxn ang="0">
                <a:pos x="connsiteX12232" y="connsiteY12232"/>
              </a:cxn>
              <a:cxn ang="0">
                <a:pos x="connsiteX12233" y="connsiteY12233"/>
              </a:cxn>
              <a:cxn ang="0">
                <a:pos x="connsiteX12234" y="connsiteY12234"/>
              </a:cxn>
              <a:cxn ang="0">
                <a:pos x="connsiteX12235" y="connsiteY12235"/>
              </a:cxn>
              <a:cxn ang="0">
                <a:pos x="connsiteX12236" y="connsiteY12236"/>
              </a:cxn>
              <a:cxn ang="0">
                <a:pos x="connsiteX12237" y="connsiteY12237"/>
              </a:cxn>
              <a:cxn ang="0">
                <a:pos x="connsiteX12238" y="connsiteY12238"/>
              </a:cxn>
              <a:cxn ang="0">
                <a:pos x="connsiteX12239" y="connsiteY12239"/>
              </a:cxn>
              <a:cxn ang="0">
                <a:pos x="connsiteX12240" y="connsiteY12240"/>
              </a:cxn>
              <a:cxn ang="0">
                <a:pos x="connsiteX12241" y="connsiteY12241"/>
              </a:cxn>
              <a:cxn ang="0">
                <a:pos x="connsiteX12242" y="connsiteY12242"/>
              </a:cxn>
              <a:cxn ang="0">
                <a:pos x="connsiteX12243" y="connsiteY12243"/>
              </a:cxn>
              <a:cxn ang="0">
                <a:pos x="connsiteX12244" y="connsiteY12244"/>
              </a:cxn>
              <a:cxn ang="0">
                <a:pos x="connsiteX12245" y="connsiteY12245"/>
              </a:cxn>
              <a:cxn ang="0">
                <a:pos x="connsiteX12246" y="connsiteY12246"/>
              </a:cxn>
              <a:cxn ang="0">
                <a:pos x="connsiteX12247" y="connsiteY12247"/>
              </a:cxn>
              <a:cxn ang="0">
                <a:pos x="connsiteX12248" y="connsiteY12248"/>
              </a:cxn>
              <a:cxn ang="0">
                <a:pos x="connsiteX12249" y="connsiteY12249"/>
              </a:cxn>
              <a:cxn ang="0">
                <a:pos x="connsiteX12250" y="connsiteY12250"/>
              </a:cxn>
              <a:cxn ang="0">
                <a:pos x="connsiteX12251" y="connsiteY12251"/>
              </a:cxn>
              <a:cxn ang="0">
                <a:pos x="connsiteX12252" y="connsiteY12252"/>
              </a:cxn>
              <a:cxn ang="0">
                <a:pos x="connsiteX12253" y="connsiteY12253"/>
              </a:cxn>
              <a:cxn ang="0">
                <a:pos x="connsiteX12254" y="connsiteY12254"/>
              </a:cxn>
              <a:cxn ang="0">
                <a:pos x="connsiteX12255" y="connsiteY12255"/>
              </a:cxn>
              <a:cxn ang="0">
                <a:pos x="connsiteX12256" y="connsiteY12256"/>
              </a:cxn>
              <a:cxn ang="0">
                <a:pos x="connsiteX12257" y="connsiteY12257"/>
              </a:cxn>
              <a:cxn ang="0">
                <a:pos x="connsiteX12258" y="connsiteY12258"/>
              </a:cxn>
              <a:cxn ang="0">
                <a:pos x="connsiteX12259" y="connsiteY12259"/>
              </a:cxn>
              <a:cxn ang="0">
                <a:pos x="connsiteX12260" y="connsiteY12260"/>
              </a:cxn>
              <a:cxn ang="0">
                <a:pos x="connsiteX12261" y="connsiteY12261"/>
              </a:cxn>
              <a:cxn ang="0">
                <a:pos x="connsiteX12262" y="connsiteY12262"/>
              </a:cxn>
              <a:cxn ang="0">
                <a:pos x="connsiteX12263" y="connsiteY12263"/>
              </a:cxn>
              <a:cxn ang="0">
                <a:pos x="connsiteX12264" y="connsiteY12264"/>
              </a:cxn>
              <a:cxn ang="0">
                <a:pos x="connsiteX12265" y="connsiteY12265"/>
              </a:cxn>
              <a:cxn ang="0">
                <a:pos x="connsiteX12266" y="connsiteY12266"/>
              </a:cxn>
              <a:cxn ang="0">
                <a:pos x="connsiteX12267" y="connsiteY12267"/>
              </a:cxn>
              <a:cxn ang="0">
                <a:pos x="connsiteX12268" y="connsiteY12268"/>
              </a:cxn>
              <a:cxn ang="0">
                <a:pos x="connsiteX12269" y="connsiteY12269"/>
              </a:cxn>
              <a:cxn ang="0">
                <a:pos x="connsiteX12270" y="connsiteY12270"/>
              </a:cxn>
              <a:cxn ang="0">
                <a:pos x="connsiteX12271" y="connsiteY12271"/>
              </a:cxn>
              <a:cxn ang="0">
                <a:pos x="connsiteX12272" y="connsiteY12272"/>
              </a:cxn>
              <a:cxn ang="0">
                <a:pos x="connsiteX12273" y="connsiteY12273"/>
              </a:cxn>
              <a:cxn ang="0">
                <a:pos x="connsiteX12274" y="connsiteY12274"/>
              </a:cxn>
              <a:cxn ang="0">
                <a:pos x="connsiteX12275" y="connsiteY12275"/>
              </a:cxn>
              <a:cxn ang="0">
                <a:pos x="connsiteX12276" y="connsiteY12276"/>
              </a:cxn>
              <a:cxn ang="0">
                <a:pos x="connsiteX12277" y="connsiteY12277"/>
              </a:cxn>
              <a:cxn ang="0">
                <a:pos x="connsiteX12278" y="connsiteY12278"/>
              </a:cxn>
              <a:cxn ang="0">
                <a:pos x="connsiteX12279" y="connsiteY12279"/>
              </a:cxn>
              <a:cxn ang="0">
                <a:pos x="connsiteX12280" y="connsiteY12280"/>
              </a:cxn>
              <a:cxn ang="0">
                <a:pos x="connsiteX12281" y="connsiteY12281"/>
              </a:cxn>
              <a:cxn ang="0">
                <a:pos x="connsiteX12282" y="connsiteY12282"/>
              </a:cxn>
              <a:cxn ang="0">
                <a:pos x="connsiteX12283" y="connsiteY12283"/>
              </a:cxn>
              <a:cxn ang="0">
                <a:pos x="connsiteX12284" y="connsiteY12284"/>
              </a:cxn>
              <a:cxn ang="0">
                <a:pos x="connsiteX12285" y="connsiteY12285"/>
              </a:cxn>
              <a:cxn ang="0">
                <a:pos x="connsiteX12286" y="connsiteY12286"/>
              </a:cxn>
              <a:cxn ang="0">
                <a:pos x="connsiteX12287" y="connsiteY12287"/>
              </a:cxn>
              <a:cxn ang="0">
                <a:pos x="connsiteX12288" y="connsiteY12288"/>
              </a:cxn>
              <a:cxn ang="0">
                <a:pos x="connsiteX12289" y="connsiteY12289"/>
              </a:cxn>
              <a:cxn ang="0">
                <a:pos x="connsiteX12290" y="connsiteY12290"/>
              </a:cxn>
              <a:cxn ang="0">
                <a:pos x="connsiteX12291" y="connsiteY12291"/>
              </a:cxn>
              <a:cxn ang="0">
                <a:pos x="connsiteX12292" y="connsiteY12292"/>
              </a:cxn>
              <a:cxn ang="0">
                <a:pos x="connsiteX12293" y="connsiteY12293"/>
              </a:cxn>
              <a:cxn ang="0">
                <a:pos x="connsiteX12294" y="connsiteY12294"/>
              </a:cxn>
              <a:cxn ang="0">
                <a:pos x="connsiteX12295" y="connsiteY12295"/>
              </a:cxn>
              <a:cxn ang="0">
                <a:pos x="connsiteX12296" y="connsiteY12296"/>
              </a:cxn>
              <a:cxn ang="0">
                <a:pos x="connsiteX12297" y="connsiteY12297"/>
              </a:cxn>
              <a:cxn ang="0">
                <a:pos x="connsiteX12298" y="connsiteY12298"/>
              </a:cxn>
              <a:cxn ang="0">
                <a:pos x="connsiteX12299" y="connsiteY12299"/>
              </a:cxn>
              <a:cxn ang="0">
                <a:pos x="connsiteX12300" y="connsiteY12300"/>
              </a:cxn>
              <a:cxn ang="0">
                <a:pos x="connsiteX12301" y="connsiteY12301"/>
              </a:cxn>
              <a:cxn ang="0">
                <a:pos x="connsiteX12302" y="connsiteY12302"/>
              </a:cxn>
              <a:cxn ang="0">
                <a:pos x="connsiteX12303" y="connsiteY12303"/>
              </a:cxn>
              <a:cxn ang="0">
                <a:pos x="connsiteX12304" y="connsiteY12304"/>
              </a:cxn>
              <a:cxn ang="0">
                <a:pos x="connsiteX12305" y="connsiteY12305"/>
              </a:cxn>
              <a:cxn ang="0">
                <a:pos x="connsiteX12306" y="connsiteY12306"/>
              </a:cxn>
              <a:cxn ang="0">
                <a:pos x="connsiteX12307" y="connsiteY12307"/>
              </a:cxn>
              <a:cxn ang="0">
                <a:pos x="connsiteX12308" y="connsiteY12308"/>
              </a:cxn>
              <a:cxn ang="0">
                <a:pos x="connsiteX12309" y="connsiteY12309"/>
              </a:cxn>
              <a:cxn ang="0">
                <a:pos x="connsiteX12310" y="connsiteY12310"/>
              </a:cxn>
              <a:cxn ang="0">
                <a:pos x="connsiteX12311" y="connsiteY12311"/>
              </a:cxn>
              <a:cxn ang="0">
                <a:pos x="connsiteX12312" y="connsiteY12312"/>
              </a:cxn>
              <a:cxn ang="0">
                <a:pos x="connsiteX12313" y="connsiteY12313"/>
              </a:cxn>
              <a:cxn ang="0">
                <a:pos x="connsiteX12314" y="connsiteY12314"/>
              </a:cxn>
              <a:cxn ang="0">
                <a:pos x="connsiteX12315" y="connsiteY12315"/>
              </a:cxn>
              <a:cxn ang="0">
                <a:pos x="connsiteX12316" y="connsiteY12316"/>
              </a:cxn>
              <a:cxn ang="0">
                <a:pos x="connsiteX12317" y="connsiteY12317"/>
              </a:cxn>
              <a:cxn ang="0">
                <a:pos x="connsiteX12318" y="connsiteY12318"/>
              </a:cxn>
              <a:cxn ang="0">
                <a:pos x="connsiteX12319" y="connsiteY12319"/>
              </a:cxn>
              <a:cxn ang="0">
                <a:pos x="connsiteX12320" y="connsiteY12320"/>
              </a:cxn>
              <a:cxn ang="0">
                <a:pos x="connsiteX12321" y="connsiteY12321"/>
              </a:cxn>
              <a:cxn ang="0">
                <a:pos x="connsiteX12322" y="connsiteY12322"/>
              </a:cxn>
              <a:cxn ang="0">
                <a:pos x="connsiteX12323" y="connsiteY12323"/>
              </a:cxn>
              <a:cxn ang="0">
                <a:pos x="connsiteX12324" y="connsiteY12324"/>
              </a:cxn>
              <a:cxn ang="0">
                <a:pos x="connsiteX12325" y="connsiteY12325"/>
              </a:cxn>
              <a:cxn ang="0">
                <a:pos x="connsiteX12326" y="connsiteY12326"/>
              </a:cxn>
              <a:cxn ang="0">
                <a:pos x="connsiteX12327" y="connsiteY12327"/>
              </a:cxn>
              <a:cxn ang="0">
                <a:pos x="connsiteX12328" y="connsiteY12328"/>
              </a:cxn>
              <a:cxn ang="0">
                <a:pos x="connsiteX12329" y="connsiteY12329"/>
              </a:cxn>
              <a:cxn ang="0">
                <a:pos x="connsiteX12330" y="connsiteY12330"/>
              </a:cxn>
              <a:cxn ang="0">
                <a:pos x="connsiteX12331" y="connsiteY12331"/>
              </a:cxn>
              <a:cxn ang="0">
                <a:pos x="connsiteX12332" y="connsiteY12332"/>
              </a:cxn>
              <a:cxn ang="0">
                <a:pos x="connsiteX12333" y="connsiteY12333"/>
              </a:cxn>
              <a:cxn ang="0">
                <a:pos x="connsiteX12334" y="connsiteY12334"/>
              </a:cxn>
              <a:cxn ang="0">
                <a:pos x="connsiteX12335" y="connsiteY12335"/>
              </a:cxn>
              <a:cxn ang="0">
                <a:pos x="connsiteX12336" y="connsiteY12336"/>
              </a:cxn>
              <a:cxn ang="0">
                <a:pos x="connsiteX12337" y="connsiteY12337"/>
              </a:cxn>
              <a:cxn ang="0">
                <a:pos x="connsiteX12338" y="connsiteY12338"/>
              </a:cxn>
              <a:cxn ang="0">
                <a:pos x="connsiteX12339" y="connsiteY12339"/>
              </a:cxn>
              <a:cxn ang="0">
                <a:pos x="connsiteX12340" y="connsiteY12340"/>
              </a:cxn>
              <a:cxn ang="0">
                <a:pos x="connsiteX12341" y="connsiteY12341"/>
              </a:cxn>
              <a:cxn ang="0">
                <a:pos x="connsiteX12342" y="connsiteY12342"/>
              </a:cxn>
              <a:cxn ang="0">
                <a:pos x="connsiteX12343" y="connsiteY12343"/>
              </a:cxn>
              <a:cxn ang="0">
                <a:pos x="connsiteX12344" y="connsiteY12344"/>
              </a:cxn>
              <a:cxn ang="0">
                <a:pos x="connsiteX12345" y="connsiteY12345"/>
              </a:cxn>
              <a:cxn ang="0">
                <a:pos x="connsiteX12346" y="connsiteY12346"/>
              </a:cxn>
              <a:cxn ang="0">
                <a:pos x="connsiteX12347" y="connsiteY12347"/>
              </a:cxn>
              <a:cxn ang="0">
                <a:pos x="connsiteX12348" y="connsiteY12348"/>
              </a:cxn>
              <a:cxn ang="0">
                <a:pos x="connsiteX12349" y="connsiteY12349"/>
              </a:cxn>
              <a:cxn ang="0">
                <a:pos x="connsiteX12350" y="connsiteY12350"/>
              </a:cxn>
              <a:cxn ang="0">
                <a:pos x="connsiteX12351" y="connsiteY12351"/>
              </a:cxn>
              <a:cxn ang="0">
                <a:pos x="connsiteX12352" y="connsiteY12352"/>
              </a:cxn>
              <a:cxn ang="0">
                <a:pos x="connsiteX12353" y="connsiteY12353"/>
              </a:cxn>
              <a:cxn ang="0">
                <a:pos x="connsiteX12354" y="connsiteY12354"/>
              </a:cxn>
              <a:cxn ang="0">
                <a:pos x="connsiteX12355" y="connsiteY12355"/>
              </a:cxn>
              <a:cxn ang="0">
                <a:pos x="connsiteX12356" y="connsiteY12356"/>
              </a:cxn>
              <a:cxn ang="0">
                <a:pos x="connsiteX12357" y="connsiteY12357"/>
              </a:cxn>
              <a:cxn ang="0">
                <a:pos x="connsiteX12358" y="connsiteY12358"/>
              </a:cxn>
              <a:cxn ang="0">
                <a:pos x="connsiteX12359" y="connsiteY12359"/>
              </a:cxn>
              <a:cxn ang="0">
                <a:pos x="connsiteX12360" y="connsiteY12360"/>
              </a:cxn>
              <a:cxn ang="0">
                <a:pos x="connsiteX12361" y="connsiteY12361"/>
              </a:cxn>
              <a:cxn ang="0">
                <a:pos x="connsiteX12362" y="connsiteY12362"/>
              </a:cxn>
              <a:cxn ang="0">
                <a:pos x="connsiteX12363" y="connsiteY12363"/>
              </a:cxn>
              <a:cxn ang="0">
                <a:pos x="connsiteX12364" y="connsiteY12364"/>
              </a:cxn>
              <a:cxn ang="0">
                <a:pos x="connsiteX12365" y="connsiteY12365"/>
              </a:cxn>
              <a:cxn ang="0">
                <a:pos x="connsiteX12366" y="connsiteY12366"/>
              </a:cxn>
              <a:cxn ang="0">
                <a:pos x="connsiteX12367" y="connsiteY12367"/>
              </a:cxn>
              <a:cxn ang="0">
                <a:pos x="connsiteX12368" y="connsiteY12368"/>
              </a:cxn>
              <a:cxn ang="0">
                <a:pos x="connsiteX12369" y="connsiteY12369"/>
              </a:cxn>
              <a:cxn ang="0">
                <a:pos x="connsiteX12370" y="connsiteY12370"/>
              </a:cxn>
              <a:cxn ang="0">
                <a:pos x="connsiteX12371" y="connsiteY12371"/>
              </a:cxn>
              <a:cxn ang="0">
                <a:pos x="connsiteX12372" y="connsiteY12372"/>
              </a:cxn>
              <a:cxn ang="0">
                <a:pos x="connsiteX12373" y="connsiteY12373"/>
              </a:cxn>
              <a:cxn ang="0">
                <a:pos x="connsiteX12374" y="connsiteY12374"/>
              </a:cxn>
              <a:cxn ang="0">
                <a:pos x="connsiteX12375" y="connsiteY12375"/>
              </a:cxn>
              <a:cxn ang="0">
                <a:pos x="connsiteX12376" y="connsiteY12376"/>
              </a:cxn>
              <a:cxn ang="0">
                <a:pos x="connsiteX12377" y="connsiteY12377"/>
              </a:cxn>
              <a:cxn ang="0">
                <a:pos x="connsiteX12378" y="connsiteY12378"/>
              </a:cxn>
              <a:cxn ang="0">
                <a:pos x="connsiteX12379" y="connsiteY12379"/>
              </a:cxn>
              <a:cxn ang="0">
                <a:pos x="connsiteX12380" y="connsiteY12380"/>
              </a:cxn>
              <a:cxn ang="0">
                <a:pos x="connsiteX12381" y="connsiteY12381"/>
              </a:cxn>
              <a:cxn ang="0">
                <a:pos x="connsiteX12382" y="connsiteY12382"/>
              </a:cxn>
              <a:cxn ang="0">
                <a:pos x="connsiteX12383" y="connsiteY12383"/>
              </a:cxn>
              <a:cxn ang="0">
                <a:pos x="connsiteX12384" y="connsiteY12384"/>
              </a:cxn>
              <a:cxn ang="0">
                <a:pos x="connsiteX12385" y="connsiteY12385"/>
              </a:cxn>
              <a:cxn ang="0">
                <a:pos x="connsiteX12386" y="connsiteY12386"/>
              </a:cxn>
              <a:cxn ang="0">
                <a:pos x="connsiteX12387" y="connsiteY12387"/>
              </a:cxn>
              <a:cxn ang="0">
                <a:pos x="connsiteX12388" y="connsiteY12388"/>
              </a:cxn>
              <a:cxn ang="0">
                <a:pos x="connsiteX12389" y="connsiteY12389"/>
              </a:cxn>
              <a:cxn ang="0">
                <a:pos x="connsiteX12390" y="connsiteY12390"/>
              </a:cxn>
              <a:cxn ang="0">
                <a:pos x="connsiteX12391" y="connsiteY12391"/>
              </a:cxn>
              <a:cxn ang="0">
                <a:pos x="connsiteX12392" y="connsiteY12392"/>
              </a:cxn>
              <a:cxn ang="0">
                <a:pos x="connsiteX12393" y="connsiteY12393"/>
              </a:cxn>
              <a:cxn ang="0">
                <a:pos x="connsiteX12394" y="connsiteY12394"/>
              </a:cxn>
              <a:cxn ang="0">
                <a:pos x="connsiteX12395" y="connsiteY12395"/>
              </a:cxn>
              <a:cxn ang="0">
                <a:pos x="connsiteX12396" y="connsiteY12396"/>
              </a:cxn>
              <a:cxn ang="0">
                <a:pos x="connsiteX12397" y="connsiteY12397"/>
              </a:cxn>
              <a:cxn ang="0">
                <a:pos x="connsiteX12398" y="connsiteY12398"/>
              </a:cxn>
              <a:cxn ang="0">
                <a:pos x="connsiteX12399" y="connsiteY12399"/>
              </a:cxn>
              <a:cxn ang="0">
                <a:pos x="connsiteX12400" y="connsiteY12400"/>
              </a:cxn>
              <a:cxn ang="0">
                <a:pos x="connsiteX12401" y="connsiteY12401"/>
              </a:cxn>
              <a:cxn ang="0">
                <a:pos x="connsiteX12402" y="connsiteY12402"/>
              </a:cxn>
              <a:cxn ang="0">
                <a:pos x="connsiteX12403" y="connsiteY12403"/>
              </a:cxn>
              <a:cxn ang="0">
                <a:pos x="connsiteX12404" y="connsiteY12404"/>
              </a:cxn>
              <a:cxn ang="0">
                <a:pos x="connsiteX12405" y="connsiteY12405"/>
              </a:cxn>
              <a:cxn ang="0">
                <a:pos x="connsiteX12406" y="connsiteY12406"/>
              </a:cxn>
              <a:cxn ang="0">
                <a:pos x="connsiteX12407" y="connsiteY12407"/>
              </a:cxn>
              <a:cxn ang="0">
                <a:pos x="connsiteX12408" y="connsiteY12408"/>
              </a:cxn>
              <a:cxn ang="0">
                <a:pos x="connsiteX12409" y="connsiteY12409"/>
              </a:cxn>
              <a:cxn ang="0">
                <a:pos x="connsiteX12410" y="connsiteY12410"/>
              </a:cxn>
              <a:cxn ang="0">
                <a:pos x="connsiteX12411" y="connsiteY12411"/>
              </a:cxn>
              <a:cxn ang="0">
                <a:pos x="connsiteX12412" y="connsiteY12412"/>
              </a:cxn>
              <a:cxn ang="0">
                <a:pos x="connsiteX12413" y="connsiteY12413"/>
              </a:cxn>
              <a:cxn ang="0">
                <a:pos x="connsiteX12414" y="connsiteY12414"/>
              </a:cxn>
              <a:cxn ang="0">
                <a:pos x="connsiteX12415" y="connsiteY12415"/>
              </a:cxn>
              <a:cxn ang="0">
                <a:pos x="connsiteX12416" y="connsiteY12416"/>
              </a:cxn>
              <a:cxn ang="0">
                <a:pos x="connsiteX12417" y="connsiteY12417"/>
              </a:cxn>
              <a:cxn ang="0">
                <a:pos x="connsiteX12418" y="connsiteY12418"/>
              </a:cxn>
              <a:cxn ang="0">
                <a:pos x="connsiteX12419" y="connsiteY12419"/>
              </a:cxn>
              <a:cxn ang="0">
                <a:pos x="connsiteX12420" y="connsiteY12420"/>
              </a:cxn>
              <a:cxn ang="0">
                <a:pos x="connsiteX12421" y="connsiteY12421"/>
              </a:cxn>
              <a:cxn ang="0">
                <a:pos x="connsiteX12422" y="connsiteY12422"/>
              </a:cxn>
              <a:cxn ang="0">
                <a:pos x="connsiteX12423" y="connsiteY12423"/>
              </a:cxn>
              <a:cxn ang="0">
                <a:pos x="connsiteX12424" y="connsiteY12424"/>
              </a:cxn>
              <a:cxn ang="0">
                <a:pos x="connsiteX12425" y="connsiteY12425"/>
              </a:cxn>
              <a:cxn ang="0">
                <a:pos x="connsiteX12426" y="connsiteY12426"/>
              </a:cxn>
              <a:cxn ang="0">
                <a:pos x="connsiteX12427" y="connsiteY12427"/>
              </a:cxn>
              <a:cxn ang="0">
                <a:pos x="connsiteX12428" y="connsiteY12428"/>
              </a:cxn>
              <a:cxn ang="0">
                <a:pos x="connsiteX12429" y="connsiteY12429"/>
              </a:cxn>
              <a:cxn ang="0">
                <a:pos x="connsiteX12430" y="connsiteY12430"/>
              </a:cxn>
              <a:cxn ang="0">
                <a:pos x="connsiteX12431" y="connsiteY12431"/>
              </a:cxn>
              <a:cxn ang="0">
                <a:pos x="connsiteX12432" y="connsiteY12432"/>
              </a:cxn>
              <a:cxn ang="0">
                <a:pos x="connsiteX12433" y="connsiteY12433"/>
              </a:cxn>
              <a:cxn ang="0">
                <a:pos x="connsiteX12434" y="connsiteY12434"/>
              </a:cxn>
              <a:cxn ang="0">
                <a:pos x="connsiteX12435" y="connsiteY12435"/>
              </a:cxn>
              <a:cxn ang="0">
                <a:pos x="connsiteX12436" y="connsiteY12436"/>
              </a:cxn>
              <a:cxn ang="0">
                <a:pos x="connsiteX12437" y="connsiteY12437"/>
              </a:cxn>
              <a:cxn ang="0">
                <a:pos x="connsiteX12438" y="connsiteY12438"/>
              </a:cxn>
              <a:cxn ang="0">
                <a:pos x="connsiteX12439" y="connsiteY12439"/>
              </a:cxn>
              <a:cxn ang="0">
                <a:pos x="connsiteX12440" y="connsiteY12440"/>
              </a:cxn>
              <a:cxn ang="0">
                <a:pos x="connsiteX12441" y="connsiteY12441"/>
              </a:cxn>
              <a:cxn ang="0">
                <a:pos x="connsiteX12442" y="connsiteY12442"/>
              </a:cxn>
              <a:cxn ang="0">
                <a:pos x="connsiteX12443" y="connsiteY12443"/>
              </a:cxn>
              <a:cxn ang="0">
                <a:pos x="connsiteX12444" y="connsiteY12444"/>
              </a:cxn>
              <a:cxn ang="0">
                <a:pos x="connsiteX12445" y="connsiteY12445"/>
              </a:cxn>
              <a:cxn ang="0">
                <a:pos x="connsiteX12446" y="connsiteY12446"/>
              </a:cxn>
              <a:cxn ang="0">
                <a:pos x="connsiteX12447" y="connsiteY12447"/>
              </a:cxn>
              <a:cxn ang="0">
                <a:pos x="connsiteX12448" y="connsiteY12448"/>
              </a:cxn>
              <a:cxn ang="0">
                <a:pos x="connsiteX12449" y="connsiteY12449"/>
              </a:cxn>
              <a:cxn ang="0">
                <a:pos x="connsiteX12450" y="connsiteY12450"/>
              </a:cxn>
              <a:cxn ang="0">
                <a:pos x="connsiteX12451" y="connsiteY12451"/>
              </a:cxn>
              <a:cxn ang="0">
                <a:pos x="connsiteX12452" y="connsiteY12452"/>
              </a:cxn>
              <a:cxn ang="0">
                <a:pos x="connsiteX12453" y="connsiteY12453"/>
              </a:cxn>
              <a:cxn ang="0">
                <a:pos x="connsiteX12454" y="connsiteY12454"/>
              </a:cxn>
              <a:cxn ang="0">
                <a:pos x="connsiteX12455" y="connsiteY12455"/>
              </a:cxn>
              <a:cxn ang="0">
                <a:pos x="connsiteX12456" y="connsiteY12456"/>
              </a:cxn>
              <a:cxn ang="0">
                <a:pos x="connsiteX12457" y="connsiteY12457"/>
              </a:cxn>
              <a:cxn ang="0">
                <a:pos x="connsiteX12458" y="connsiteY12458"/>
              </a:cxn>
              <a:cxn ang="0">
                <a:pos x="connsiteX12459" y="connsiteY12459"/>
              </a:cxn>
              <a:cxn ang="0">
                <a:pos x="connsiteX12460" y="connsiteY12460"/>
              </a:cxn>
              <a:cxn ang="0">
                <a:pos x="connsiteX12461" y="connsiteY12461"/>
              </a:cxn>
              <a:cxn ang="0">
                <a:pos x="connsiteX12462" y="connsiteY12462"/>
              </a:cxn>
              <a:cxn ang="0">
                <a:pos x="connsiteX12463" y="connsiteY12463"/>
              </a:cxn>
              <a:cxn ang="0">
                <a:pos x="connsiteX12464" y="connsiteY12464"/>
              </a:cxn>
              <a:cxn ang="0">
                <a:pos x="connsiteX12465" y="connsiteY12465"/>
              </a:cxn>
              <a:cxn ang="0">
                <a:pos x="connsiteX12466" y="connsiteY12466"/>
              </a:cxn>
              <a:cxn ang="0">
                <a:pos x="connsiteX12467" y="connsiteY12467"/>
              </a:cxn>
              <a:cxn ang="0">
                <a:pos x="connsiteX12468" y="connsiteY12468"/>
              </a:cxn>
              <a:cxn ang="0">
                <a:pos x="connsiteX12469" y="connsiteY12469"/>
              </a:cxn>
              <a:cxn ang="0">
                <a:pos x="connsiteX12470" y="connsiteY12470"/>
              </a:cxn>
              <a:cxn ang="0">
                <a:pos x="connsiteX12471" y="connsiteY12471"/>
              </a:cxn>
              <a:cxn ang="0">
                <a:pos x="connsiteX12472" y="connsiteY12472"/>
              </a:cxn>
              <a:cxn ang="0">
                <a:pos x="connsiteX12473" y="connsiteY12473"/>
              </a:cxn>
              <a:cxn ang="0">
                <a:pos x="connsiteX12474" y="connsiteY12474"/>
              </a:cxn>
              <a:cxn ang="0">
                <a:pos x="connsiteX12475" y="connsiteY12475"/>
              </a:cxn>
              <a:cxn ang="0">
                <a:pos x="connsiteX12476" y="connsiteY12476"/>
              </a:cxn>
              <a:cxn ang="0">
                <a:pos x="connsiteX12477" y="connsiteY12477"/>
              </a:cxn>
              <a:cxn ang="0">
                <a:pos x="connsiteX12478" y="connsiteY12478"/>
              </a:cxn>
              <a:cxn ang="0">
                <a:pos x="connsiteX12479" y="connsiteY12479"/>
              </a:cxn>
              <a:cxn ang="0">
                <a:pos x="connsiteX12480" y="connsiteY12480"/>
              </a:cxn>
              <a:cxn ang="0">
                <a:pos x="connsiteX12481" y="connsiteY12481"/>
              </a:cxn>
              <a:cxn ang="0">
                <a:pos x="connsiteX12482" y="connsiteY12482"/>
              </a:cxn>
              <a:cxn ang="0">
                <a:pos x="connsiteX12483" y="connsiteY12483"/>
              </a:cxn>
              <a:cxn ang="0">
                <a:pos x="connsiteX12484" y="connsiteY12484"/>
              </a:cxn>
              <a:cxn ang="0">
                <a:pos x="connsiteX12485" y="connsiteY12485"/>
              </a:cxn>
              <a:cxn ang="0">
                <a:pos x="connsiteX12486" y="connsiteY12486"/>
              </a:cxn>
              <a:cxn ang="0">
                <a:pos x="connsiteX12487" y="connsiteY12487"/>
              </a:cxn>
              <a:cxn ang="0">
                <a:pos x="connsiteX12488" y="connsiteY12488"/>
              </a:cxn>
              <a:cxn ang="0">
                <a:pos x="connsiteX12489" y="connsiteY12489"/>
              </a:cxn>
              <a:cxn ang="0">
                <a:pos x="connsiteX12490" y="connsiteY12490"/>
              </a:cxn>
              <a:cxn ang="0">
                <a:pos x="connsiteX12491" y="connsiteY12491"/>
              </a:cxn>
              <a:cxn ang="0">
                <a:pos x="connsiteX12492" y="connsiteY12492"/>
              </a:cxn>
              <a:cxn ang="0">
                <a:pos x="connsiteX12493" y="connsiteY12493"/>
              </a:cxn>
              <a:cxn ang="0">
                <a:pos x="connsiteX12494" y="connsiteY12494"/>
              </a:cxn>
              <a:cxn ang="0">
                <a:pos x="connsiteX12495" y="connsiteY12495"/>
              </a:cxn>
              <a:cxn ang="0">
                <a:pos x="connsiteX12496" y="connsiteY12496"/>
              </a:cxn>
              <a:cxn ang="0">
                <a:pos x="connsiteX12497" y="connsiteY12497"/>
              </a:cxn>
              <a:cxn ang="0">
                <a:pos x="connsiteX12498" y="connsiteY12498"/>
              </a:cxn>
              <a:cxn ang="0">
                <a:pos x="connsiteX12499" y="connsiteY12499"/>
              </a:cxn>
              <a:cxn ang="0">
                <a:pos x="connsiteX12500" y="connsiteY12500"/>
              </a:cxn>
              <a:cxn ang="0">
                <a:pos x="connsiteX12501" y="connsiteY12501"/>
              </a:cxn>
              <a:cxn ang="0">
                <a:pos x="connsiteX12502" y="connsiteY12502"/>
              </a:cxn>
              <a:cxn ang="0">
                <a:pos x="connsiteX12503" y="connsiteY12503"/>
              </a:cxn>
              <a:cxn ang="0">
                <a:pos x="connsiteX12504" y="connsiteY12504"/>
              </a:cxn>
              <a:cxn ang="0">
                <a:pos x="connsiteX12505" y="connsiteY12505"/>
              </a:cxn>
              <a:cxn ang="0">
                <a:pos x="connsiteX12506" y="connsiteY12506"/>
              </a:cxn>
              <a:cxn ang="0">
                <a:pos x="connsiteX12507" y="connsiteY12507"/>
              </a:cxn>
              <a:cxn ang="0">
                <a:pos x="connsiteX12508" y="connsiteY12508"/>
              </a:cxn>
              <a:cxn ang="0">
                <a:pos x="connsiteX12509" y="connsiteY12509"/>
              </a:cxn>
              <a:cxn ang="0">
                <a:pos x="connsiteX12510" y="connsiteY12510"/>
              </a:cxn>
              <a:cxn ang="0">
                <a:pos x="connsiteX12511" y="connsiteY12511"/>
              </a:cxn>
              <a:cxn ang="0">
                <a:pos x="connsiteX12512" y="connsiteY12512"/>
              </a:cxn>
              <a:cxn ang="0">
                <a:pos x="connsiteX12513" y="connsiteY12513"/>
              </a:cxn>
              <a:cxn ang="0">
                <a:pos x="connsiteX12514" y="connsiteY12514"/>
              </a:cxn>
              <a:cxn ang="0">
                <a:pos x="connsiteX12515" y="connsiteY12515"/>
              </a:cxn>
              <a:cxn ang="0">
                <a:pos x="connsiteX12516" y="connsiteY12516"/>
              </a:cxn>
              <a:cxn ang="0">
                <a:pos x="connsiteX12517" y="connsiteY12517"/>
              </a:cxn>
              <a:cxn ang="0">
                <a:pos x="connsiteX12518" y="connsiteY12518"/>
              </a:cxn>
              <a:cxn ang="0">
                <a:pos x="connsiteX12519" y="connsiteY12519"/>
              </a:cxn>
              <a:cxn ang="0">
                <a:pos x="connsiteX12520" y="connsiteY12520"/>
              </a:cxn>
              <a:cxn ang="0">
                <a:pos x="connsiteX12521" y="connsiteY12521"/>
              </a:cxn>
              <a:cxn ang="0">
                <a:pos x="connsiteX12522" y="connsiteY12522"/>
              </a:cxn>
              <a:cxn ang="0">
                <a:pos x="connsiteX12523" y="connsiteY12523"/>
              </a:cxn>
              <a:cxn ang="0">
                <a:pos x="connsiteX12524" y="connsiteY12524"/>
              </a:cxn>
              <a:cxn ang="0">
                <a:pos x="connsiteX12525" y="connsiteY12525"/>
              </a:cxn>
              <a:cxn ang="0">
                <a:pos x="connsiteX12526" y="connsiteY12526"/>
              </a:cxn>
              <a:cxn ang="0">
                <a:pos x="connsiteX12527" y="connsiteY12527"/>
              </a:cxn>
              <a:cxn ang="0">
                <a:pos x="connsiteX12528" y="connsiteY12528"/>
              </a:cxn>
              <a:cxn ang="0">
                <a:pos x="connsiteX12529" y="connsiteY12529"/>
              </a:cxn>
              <a:cxn ang="0">
                <a:pos x="connsiteX12530" y="connsiteY12530"/>
              </a:cxn>
              <a:cxn ang="0">
                <a:pos x="connsiteX12531" y="connsiteY12531"/>
              </a:cxn>
              <a:cxn ang="0">
                <a:pos x="connsiteX12532" y="connsiteY12532"/>
              </a:cxn>
              <a:cxn ang="0">
                <a:pos x="connsiteX12533" y="connsiteY12533"/>
              </a:cxn>
              <a:cxn ang="0">
                <a:pos x="connsiteX12534" y="connsiteY12534"/>
              </a:cxn>
              <a:cxn ang="0">
                <a:pos x="connsiteX12535" y="connsiteY12535"/>
              </a:cxn>
              <a:cxn ang="0">
                <a:pos x="connsiteX12536" y="connsiteY12536"/>
              </a:cxn>
              <a:cxn ang="0">
                <a:pos x="connsiteX12537" y="connsiteY12537"/>
              </a:cxn>
              <a:cxn ang="0">
                <a:pos x="connsiteX12538" y="connsiteY12538"/>
              </a:cxn>
              <a:cxn ang="0">
                <a:pos x="connsiteX12539" y="connsiteY12539"/>
              </a:cxn>
              <a:cxn ang="0">
                <a:pos x="connsiteX12540" y="connsiteY12540"/>
              </a:cxn>
              <a:cxn ang="0">
                <a:pos x="connsiteX12541" y="connsiteY12541"/>
              </a:cxn>
              <a:cxn ang="0">
                <a:pos x="connsiteX12542" y="connsiteY12542"/>
              </a:cxn>
              <a:cxn ang="0">
                <a:pos x="connsiteX12543" y="connsiteY12543"/>
              </a:cxn>
              <a:cxn ang="0">
                <a:pos x="connsiteX12544" y="connsiteY12544"/>
              </a:cxn>
              <a:cxn ang="0">
                <a:pos x="connsiteX12545" y="connsiteY12545"/>
              </a:cxn>
              <a:cxn ang="0">
                <a:pos x="connsiteX12546" y="connsiteY12546"/>
              </a:cxn>
              <a:cxn ang="0">
                <a:pos x="connsiteX12547" y="connsiteY12547"/>
              </a:cxn>
              <a:cxn ang="0">
                <a:pos x="connsiteX12548" y="connsiteY12548"/>
              </a:cxn>
              <a:cxn ang="0">
                <a:pos x="connsiteX12549" y="connsiteY12549"/>
              </a:cxn>
              <a:cxn ang="0">
                <a:pos x="connsiteX12550" y="connsiteY12550"/>
              </a:cxn>
              <a:cxn ang="0">
                <a:pos x="connsiteX12551" y="connsiteY12551"/>
              </a:cxn>
              <a:cxn ang="0">
                <a:pos x="connsiteX12552" y="connsiteY12552"/>
              </a:cxn>
              <a:cxn ang="0">
                <a:pos x="connsiteX12553" y="connsiteY12553"/>
              </a:cxn>
              <a:cxn ang="0">
                <a:pos x="connsiteX12554" y="connsiteY12554"/>
              </a:cxn>
              <a:cxn ang="0">
                <a:pos x="connsiteX12555" y="connsiteY12555"/>
              </a:cxn>
              <a:cxn ang="0">
                <a:pos x="connsiteX12556" y="connsiteY12556"/>
              </a:cxn>
              <a:cxn ang="0">
                <a:pos x="connsiteX12557" y="connsiteY12557"/>
              </a:cxn>
              <a:cxn ang="0">
                <a:pos x="connsiteX12558" y="connsiteY12558"/>
              </a:cxn>
              <a:cxn ang="0">
                <a:pos x="connsiteX12559" y="connsiteY12559"/>
              </a:cxn>
              <a:cxn ang="0">
                <a:pos x="connsiteX12560" y="connsiteY12560"/>
              </a:cxn>
              <a:cxn ang="0">
                <a:pos x="connsiteX12561" y="connsiteY12561"/>
              </a:cxn>
              <a:cxn ang="0">
                <a:pos x="connsiteX12562" y="connsiteY12562"/>
              </a:cxn>
              <a:cxn ang="0">
                <a:pos x="connsiteX12563" y="connsiteY12563"/>
              </a:cxn>
              <a:cxn ang="0">
                <a:pos x="connsiteX12564" y="connsiteY12564"/>
              </a:cxn>
              <a:cxn ang="0">
                <a:pos x="connsiteX12565" y="connsiteY12565"/>
              </a:cxn>
              <a:cxn ang="0">
                <a:pos x="connsiteX12566" y="connsiteY12566"/>
              </a:cxn>
              <a:cxn ang="0">
                <a:pos x="connsiteX12567" y="connsiteY12567"/>
              </a:cxn>
              <a:cxn ang="0">
                <a:pos x="connsiteX12568" y="connsiteY12568"/>
              </a:cxn>
              <a:cxn ang="0">
                <a:pos x="connsiteX12569" y="connsiteY12569"/>
              </a:cxn>
              <a:cxn ang="0">
                <a:pos x="connsiteX12570" y="connsiteY12570"/>
              </a:cxn>
              <a:cxn ang="0">
                <a:pos x="connsiteX12571" y="connsiteY12571"/>
              </a:cxn>
              <a:cxn ang="0">
                <a:pos x="connsiteX12572" y="connsiteY12572"/>
              </a:cxn>
              <a:cxn ang="0">
                <a:pos x="connsiteX12573" y="connsiteY12573"/>
              </a:cxn>
              <a:cxn ang="0">
                <a:pos x="connsiteX12574" y="connsiteY12574"/>
              </a:cxn>
              <a:cxn ang="0">
                <a:pos x="connsiteX12575" y="connsiteY12575"/>
              </a:cxn>
              <a:cxn ang="0">
                <a:pos x="connsiteX12576" y="connsiteY12576"/>
              </a:cxn>
              <a:cxn ang="0">
                <a:pos x="connsiteX12577" y="connsiteY12577"/>
              </a:cxn>
              <a:cxn ang="0">
                <a:pos x="connsiteX12578" y="connsiteY12578"/>
              </a:cxn>
              <a:cxn ang="0">
                <a:pos x="connsiteX12579" y="connsiteY12579"/>
              </a:cxn>
              <a:cxn ang="0">
                <a:pos x="connsiteX12580" y="connsiteY12580"/>
              </a:cxn>
              <a:cxn ang="0">
                <a:pos x="connsiteX12581" y="connsiteY12581"/>
              </a:cxn>
              <a:cxn ang="0">
                <a:pos x="connsiteX12582" y="connsiteY12582"/>
              </a:cxn>
              <a:cxn ang="0">
                <a:pos x="connsiteX12583" y="connsiteY12583"/>
              </a:cxn>
              <a:cxn ang="0">
                <a:pos x="connsiteX12584" y="connsiteY12584"/>
              </a:cxn>
              <a:cxn ang="0">
                <a:pos x="connsiteX12585" y="connsiteY12585"/>
              </a:cxn>
              <a:cxn ang="0">
                <a:pos x="connsiteX12586" y="connsiteY12586"/>
              </a:cxn>
              <a:cxn ang="0">
                <a:pos x="connsiteX12587" y="connsiteY12587"/>
              </a:cxn>
              <a:cxn ang="0">
                <a:pos x="connsiteX12588" y="connsiteY12588"/>
              </a:cxn>
              <a:cxn ang="0">
                <a:pos x="connsiteX12589" y="connsiteY12589"/>
              </a:cxn>
              <a:cxn ang="0">
                <a:pos x="connsiteX12590" y="connsiteY12590"/>
              </a:cxn>
              <a:cxn ang="0">
                <a:pos x="connsiteX12591" y="connsiteY12591"/>
              </a:cxn>
              <a:cxn ang="0">
                <a:pos x="connsiteX12592" y="connsiteY12592"/>
              </a:cxn>
              <a:cxn ang="0">
                <a:pos x="connsiteX12593" y="connsiteY12593"/>
              </a:cxn>
              <a:cxn ang="0">
                <a:pos x="connsiteX12594" y="connsiteY12594"/>
              </a:cxn>
              <a:cxn ang="0">
                <a:pos x="connsiteX12595" y="connsiteY12595"/>
              </a:cxn>
              <a:cxn ang="0">
                <a:pos x="connsiteX12596" y="connsiteY12596"/>
              </a:cxn>
              <a:cxn ang="0">
                <a:pos x="connsiteX12597" y="connsiteY12597"/>
              </a:cxn>
              <a:cxn ang="0">
                <a:pos x="connsiteX12598" y="connsiteY12598"/>
              </a:cxn>
              <a:cxn ang="0">
                <a:pos x="connsiteX12599" y="connsiteY12599"/>
              </a:cxn>
              <a:cxn ang="0">
                <a:pos x="connsiteX12600" y="connsiteY12600"/>
              </a:cxn>
              <a:cxn ang="0">
                <a:pos x="connsiteX12601" y="connsiteY12601"/>
              </a:cxn>
              <a:cxn ang="0">
                <a:pos x="connsiteX12602" y="connsiteY12602"/>
              </a:cxn>
              <a:cxn ang="0">
                <a:pos x="connsiteX12603" y="connsiteY12603"/>
              </a:cxn>
              <a:cxn ang="0">
                <a:pos x="connsiteX12604" y="connsiteY12604"/>
              </a:cxn>
              <a:cxn ang="0">
                <a:pos x="connsiteX12605" y="connsiteY12605"/>
              </a:cxn>
              <a:cxn ang="0">
                <a:pos x="connsiteX12606" y="connsiteY12606"/>
              </a:cxn>
              <a:cxn ang="0">
                <a:pos x="connsiteX12607" y="connsiteY12607"/>
              </a:cxn>
              <a:cxn ang="0">
                <a:pos x="connsiteX12608" y="connsiteY12608"/>
              </a:cxn>
              <a:cxn ang="0">
                <a:pos x="connsiteX12609" y="connsiteY12609"/>
              </a:cxn>
              <a:cxn ang="0">
                <a:pos x="connsiteX12610" y="connsiteY12610"/>
              </a:cxn>
              <a:cxn ang="0">
                <a:pos x="connsiteX12611" y="connsiteY12611"/>
              </a:cxn>
              <a:cxn ang="0">
                <a:pos x="connsiteX12612" y="connsiteY12612"/>
              </a:cxn>
              <a:cxn ang="0">
                <a:pos x="connsiteX12613" y="connsiteY12613"/>
              </a:cxn>
              <a:cxn ang="0">
                <a:pos x="connsiteX12614" y="connsiteY12614"/>
              </a:cxn>
              <a:cxn ang="0">
                <a:pos x="connsiteX12615" y="connsiteY12615"/>
              </a:cxn>
              <a:cxn ang="0">
                <a:pos x="connsiteX12616" y="connsiteY12616"/>
              </a:cxn>
              <a:cxn ang="0">
                <a:pos x="connsiteX12617" y="connsiteY12617"/>
              </a:cxn>
              <a:cxn ang="0">
                <a:pos x="connsiteX12618" y="connsiteY12618"/>
              </a:cxn>
              <a:cxn ang="0">
                <a:pos x="connsiteX12619" y="connsiteY12619"/>
              </a:cxn>
              <a:cxn ang="0">
                <a:pos x="connsiteX12620" y="connsiteY12620"/>
              </a:cxn>
              <a:cxn ang="0">
                <a:pos x="connsiteX12621" y="connsiteY12621"/>
              </a:cxn>
              <a:cxn ang="0">
                <a:pos x="connsiteX12622" y="connsiteY12622"/>
              </a:cxn>
              <a:cxn ang="0">
                <a:pos x="connsiteX12623" y="connsiteY12623"/>
              </a:cxn>
              <a:cxn ang="0">
                <a:pos x="connsiteX12624" y="connsiteY12624"/>
              </a:cxn>
              <a:cxn ang="0">
                <a:pos x="connsiteX12625" y="connsiteY12625"/>
              </a:cxn>
              <a:cxn ang="0">
                <a:pos x="connsiteX12626" y="connsiteY12626"/>
              </a:cxn>
              <a:cxn ang="0">
                <a:pos x="connsiteX12627" y="connsiteY12627"/>
              </a:cxn>
              <a:cxn ang="0">
                <a:pos x="connsiteX12628" y="connsiteY12628"/>
              </a:cxn>
              <a:cxn ang="0">
                <a:pos x="connsiteX12629" y="connsiteY12629"/>
              </a:cxn>
              <a:cxn ang="0">
                <a:pos x="connsiteX12630" y="connsiteY12630"/>
              </a:cxn>
              <a:cxn ang="0">
                <a:pos x="connsiteX12631" y="connsiteY12631"/>
              </a:cxn>
              <a:cxn ang="0">
                <a:pos x="connsiteX12632" y="connsiteY12632"/>
              </a:cxn>
              <a:cxn ang="0">
                <a:pos x="connsiteX12633" y="connsiteY12633"/>
              </a:cxn>
              <a:cxn ang="0">
                <a:pos x="connsiteX12634" y="connsiteY12634"/>
              </a:cxn>
              <a:cxn ang="0">
                <a:pos x="connsiteX12635" y="connsiteY12635"/>
              </a:cxn>
              <a:cxn ang="0">
                <a:pos x="connsiteX12636" y="connsiteY12636"/>
              </a:cxn>
              <a:cxn ang="0">
                <a:pos x="connsiteX12637" y="connsiteY12637"/>
              </a:cxn>
              <a:cxn ang="0">
                <a:pos x="connsiteX12638" y="connsiteY12638"/>
              </a:cxn>
              <a:cxn ang="0">
                <a:pos x="connsiteX12639" y="connsiteY12639"/>
              </a:cxn>
              <a:cxn ang="0">
                <a:pos x="connsiteX12640" y="connsiteY12640"/>
              </a:cxn>
              <a:cxn ang="0">
                <a:pos x="connsiteX12641" y="connsiteY12641"/>
              </a:cxn>
              <a:cxn ang="0">
                <a:pos x="connsiteX12642" y="connsiteY12642"/>
              </a:cxn>
              <a:cxn ang="0">
                <a:pos x="connsiteX12643" y="connsiteY12643"/>
              </a:cxn>
              <a:cxn ang="0">
                <a:pos x="connsiteX12644" y="connsiteY12644"/>
              </a:cxn>
              <a:cxn ang="0">
                <a:pos x="connsiteX12645" y="connsiteY12645"/>
              </a:cxn>
              <a:cxn ang="0">
                <a:pos x="connsiteX12646" y="connsiteY12646"/>
              </a:cxn>
              <a:cxn ang="0">
                <a:pos x="connsiteX12647" y="connsiteY12647"/>
              </a:cxn>
              <a:cxn ang="0">
                <a:pos x="connsiteX12648" y="connsiteY12648"/>
              </a:cxn>
              <a:cxn ang="0">
                <a:pos x="connsiteX12649" y="connsiteY12649"/>
              </a:cxn>
              <a:cxn ang="0">
                <a:pos x="connsiteX12650" y="connsiteY12650"/>
              </a:cxn>
              <a:cxn ang="0">
                <a:pos x="connsiteX12651" y="connsiteY12651"/>
              </a:cxn>
              <a:cxn ang="0">
                <a:pos x="connsiteX12652" y="connsiteY12652"/>
              </a:cxn>
              <a:cxn ang="0">
                <a:pos x="connsiteX12653" y="connsiteY12653"/>
              </a:cxn>
              <a:cxn ang="0">
                <a:pos x="connsiteX12654" y="connsiteY12654"/>
              </a:cxn>
              <a:cxn ang="0">
                <a:pos x="connsiteX12655" y="connsiteY12655"/>
              </a:cxn>
              <a:cxn ang="0">
                <a:pos x="connsiteX12656" y="connsiteY12656"/>
              </a:cxn>
              <a:cxn ang="0">
                <a:pos x="connsiteX12657" y="connsiteY12657"/>
              </a:cxn>
              <a:cxn ang="0">
                <a:pos x="connsiteX12658" y="connsiteY12658"/>
              </a:cxn>
              <a:cxn ang="0">
                <a:pos x="connsiteX12659" y="connsiteY12659"/>
              </a:cxn>
              <a:cxn ang="0">
                <a:pos x="connsiteX12660" y="connsiteY12660"/>
              </a:cxn>
              <a:cxn ang="0">
                <a:pos x="connsiteX12661" y="connsiteY12661"/>
              </a:cxn>
              <a:cxn ang="0">
                <a:pos x="connsiteX12662" y="connsiteY12662"/>
              </a:cxn>
              <a:cxn ang="0">
                <a:pos x="connsiteX12663" y="connsiteY12663"/>
              </a:cxn>
              <a:cxn ang="0">
                <a:pos x="connsiteX12664" y="connsiteY12664"/>
              </a:cxn>
              <a:cxn ang="0">
                <a:pos x="connsiteX12665" y="connsiteY12665"/>
              </a:cxn>
              <a:cxn ang="0">
                <a:pos x="connsiteX12666" y="connsiteY12666"/>
              </a:cxn>
              <a:cxn ang="0">
                <a:pos x="connsiteX12667" y="connsiteY12667"/>
              </a:cxn>
              <a:cxn ang="0">
                <a:pos x="connsiteX12668" y="connsiteY12668"/>
              </a:cxn>
              <a:cxn ang="0">
                <a:pos x="connsiteX12669" y="connsiteY12669"/>
              </a:cxn>
              <a:cxn ang="0">
                <a:pos x="connsiteX12670" y="connsiteY12670"/>
              </a:cxn>
              <a:cxn ang="0">
                <a:pos x="connsiteX12671" y="connsiteY12671"/>
              </a:cxn>
              <a:cxn ang="0">
                <a:pos x="connsiteX12672" y="connsiteY12672"/>
              </a:cxn>
              <a:cxn ang="0">
                <a:pos x="connsiteX12673" y="connsiteY12673"/>
              </a:cxn>
              <a:cxn ang="0">
                <a:pos x="connsiteX12674" y="connsiteY12674"/>
              </a:cxn>
              <a:cxn ang="0">
                <a:pos x="connsiteX12675" y="connsiteY12675"/>
              </a:cxn>
              <a:cxn ang="0">
                <a:pos x="connsiteX12676" y="connsiteY12676"/>
              </a:cxn>
              <a:cxn ang="0">
                <a:pos x="connsiteX12677" y="connsiteY12677"/>
              </a:cxn>
              <a:cxn ang="0">
                <a:pos x="connsiteX12678" y="connsiteY12678"/>
              </a:cxn>
              <a:cxn ang="0">
                <a:pos x="connsiteX12679" y="connsiteY12679"/>
              </a:cxn>
              <a:cxn ang="0">
                <a:pos x="connsiteX12680" y="connsiteY12680"/>
              </a:cxn>
              <a:cxn ang="0">
                <a:pos x="connsiteX12681" y="connsiteY12681"/>
              </a:cxn>
              <a:cxn ang="0">
                <a:pos x="connsiteX12682" y="connsiteY12682"/>
              </a:cxn>
              <a:cxn ang="0">
                <a:pos x="connsiteX12683" y="connsiteY12683"/>
              </a:cxn>
              <a:cxn ang="0">
                <a:pos x="connsiteX12684" y="connsiteY12684"/>
              </a:cxn>
              <a:cxn ang="0">
                <a:pos x="connsiteX12685" y="connsiteY12685"/>
              </a:cxn>
              <a:cxn ang="0">
                <a:pos x="connsiteX12686" y="connsiteY12686"/>
              </a:cxn>
              <a:cxn ang="0">
                <a:pos x="connsiteX12687" y="connsiteY12687"/>
              </a:cxn>
              <a:cxn ang="0">
                <a:pos x="connsiteX12688" y="connsiteY12688"/>
              </a:cxn>
              <a:cxn ang="0">
                <a:pos x="connsiteX12689" y="connsiteY12689"/>
              </a:cxn>
              <a:cxn ang="0">
                <a:pos x="connsiteX12690" y="connsiteY12690"/>
              </a:cxn>
              <a:cxn ang="0">
                <a:pos x="connsiteX12691" y="connsiteY12691"/>
              </a:cxn>
              <a:cxn ang="0">
                <a:pos x="connsiteX12692" y="connsiteY12692"/>
              </a:cxn>
              <a:cxn ang="0">
                <a:pos x="connsiteX12693" y="connsiteY12693"/>
              </a:cxn>
              <a:cxn ang="0">
                <a:pos x="connsiteX12694" y="connsiteY12694"/>
              </a:cxn>
              <a:cxn ang="0">
                <a:pos x="connsiteX12695" y="connsiteY12695"/>
              </a:cxn>
              <a:cxn ang="0">
                <a:pos x="connsiteX12696" y="connsiteY12696"/>
              </a:cxn>
              <a:cxn ang="0">
                <a:pos x="connsiteX12697" y="connsiteY12697"/>
              </a:cxn>
              <a:cxn ang="0">
                <a:pos x="connsiteX12698" y="connsiteY12698"/>
              </a:cxn>
              <a:cxn ang="0">
                <a:pos x="connsiteX12699" y="connsiteY12699"/>
              </a:cxn>
              <a:cxn ang="0">
                <a:pos x="connsiteX12700" y="connsiteY12700"/>
              </a:cxn>
              <a:cxn ang="0">
                <a:pos x="connsiteX12701" y="connsiteY12701"/>
              </a:cxn>
              <a:cxn ang="0">
                <a:pos x="connsiteX12702" y="connsiteY12702"/>
              </a:cxn>
              <a:cxn ang="0">
                <a:pos x="connsiteX12703" y="connsiteY12703"/>
              </a:cxn>
              <a:cxn ang="0">
                <a:pos x="connsiteX12704" y="connsiteY12704"/>
              </a:cxn>
              <a:cxn ang="0">
                <a:pos x="connsiteX12705" y="connsiteY12705"/>
              </a:cxn>
              <a:cxn ang="0">
                <a:pos x="connsiteX12706" y="connsiteY12706"/>
              </a:cxn>
              <a:cxn ang="0">
                <a:pos x="connsiteX12707" y="connsiteY12707"/>
              </a:cxn>
              <a:cxn ang="0">
                <a:pos x="connsiteX12708" y="connsiteY12708"/>
              </a:cxn>
              <a:cxn ang="0">
                <a:pos x="connsiteX12709" y="connsiteY12709"/>
              </a:cxn>
              <a:cxn ang="0">
                <a:pos x="connsiteX12710" y="connsiteY12710"/>
              </a:cxn>
              <a:cxn ang="0">
                <a:pos x="connsiteX12711" y="connsiteY12711"/>
              </a:cxn>
              <a:cxn ang="0">
                <a:pos x="connsiteX12712" y="connsiteY12712"/>
              </a:cxn>
              <a:cxn ang="0">
                <a:pos x="connsiteX12713" y="connsiteY12713"/>
              </a:cxn>
              <a:cxn ang="0">
                <a:pos x="connsiteX12714" y="connsiteY12714"/>
              </a:cxn>
              <a:cxn ang="0">
                <a:pos x="connsiteX12715" y="connsiteY12715"/>
              </a:cxn>
              <a:cxn ang="0">
                <a:pos x="connsiteX12716" y="connsiteY12716"/>
              </a:cxn>
              <a:cxn ang="0">
                <a:pos x="connsiteX12717" y="connsiteY12717"/>
              </a:cxn>
              <a:cxn ang="0">
                <a:pos x="connsiteX12718" y="connsiteY12718"/>
              </a:cxn>
              <a:cxn ang="0">
                <a:pos x="connsiteX12719" y="connsiteY12719"/>
              </a:cxn>
              <a:cxn ang="0">
                <a:pos x="connsiteX12720" y="connsiteY12720"/>
              </a:cxn>
              <a:cxn ang="0">
                <a:pos x="connsiteX12721" y="connsiteY12721"/>
              </a:cxn>
              <a:cxn ang="0">
                <a:pos x="connsiteX12722" y="connsiteY12722"/>
              </a:cxn>
              <a:cxn ang="0">
                <a:pos x="connsiteX12723" y="connsiteY12723"/>
              </a:cxn>
              <a:cxn ang="0">
                <a:pos x="connsiteX12724" y="connsiteY12724"/>
              </a:cxn>
              <a:cxn ang="0">
                <a:pos x="connsiteX12725" y="connsiteY12725"/>
              </a:cxn>
              <a:cxn ang="0">
                <a:pos x="connsiteX12726" y="connsiteY12726"/>
              </a:cxn>
              <a:cxn ang="0">
                <a:pos x="connsiteX12727" y="connsiteY12727"/>
              </a:cxn>
              <a:cxn ang="0">
                <a:pos x="connsiteX12728" y="connsiteY12728"/>
              </a:cxn>
              <a:cxn ang="0">
                <a:pos x="connsiteX12729" y="connsiteY12729"/>
              </a:cxn>
              <a:cxn ang="0">
                <a:pos x="connsiteX12730" y="connsiteY12730"/>
              </a:cxn>
              <a:cxn ang="0">
                <a:pos x="connsiteX12731" y="connsiteY12731"/>
              </a:cxn>
              <a:cxn ang="0">
                <a:pos x="connsiteX12732" y="connsiteY12732"/>
              </a:cxn>
              <a:cxn ang="0">
                <a:pos x="connsiteX12733" y="connsiteY12733"/>
              </a:cxn>
              <a:cxn ang="0">
                <a:pos x="connsiteX12734" y="connsiteY12734"/>
              </a:cxn>
              <a:cxn ang="0">
                <a:pos x="connsiteX12735" y="connsiteY12735"/>
              </a:cxn>
              <a:cxn ang="0">
                <a:pos x="connsiteX12736" y="connsiteY12736"/>
              </a:cxn>
              <a:cxn ang="0">
                <a:pos x="connsiteX12737" y="connsiteY12737"/>
              </a:cxn>
              <a:cxn ang="0">
                <a:pos x="connsiteX12738" y="connsiteY12738"/>
              </a:cxn>
              <a:cxn ang="0">
                <a:pos x="connsiteX12739" y="connsiteY12739"/>
              </a:cxn>
              <a:cxn ang="0">
                <a:pos x="connsiteX12740" y="connsiteY12740"/>
              </a:cxn>
              <a:cxn ang="0">
                <a:pos x="connsiteX12741" y="connsiteY12741"/>
              </a:cxn>
              <a:cxn ang="0">
                <a:pos x="connsiteX12742" y="connsiteY12742"/>
              </a:cxn>
              <a:cxn ang="0">
                <a:pos x="connsiteX12743" y="connsiteY12743"/>
              </a:cxn>
              <a:cxn ang="0">
                <a:pos x="connsiteX12744" y="connsiteY12744"/>
              </a:cxn>
              <a:cxn ang="0">
                <a:pos x="connsiteX12745" y="connsiteY12745"/>
              </a:cxn>
              <a:cxn ang="0">
                <a:pos x="connsiteX12746" y="connsiteY12746"/>
              </a:cxn>
              <a:cxn ang="0">
                <a:pos x="connsiteX12747" y="connsiteY12747"/>
              </a:cxn>
              <a:cxn ang="0">
                <a:pos x="connsiteX12748" y="connsiteY12748"/>
              </a:cxn>
              <a:cxn ang="0">
                <a:pos x="connsiteX12749" y="connsiteY12749"/>
              </a:cxn>
              <a:cxn ang="0">
                <a:pos x="connsiteX12750" y="connsiteY12750"/>
              </a:cxn>
              <a:cxn ang="0">
                <a:pos x="connsiteX12751" y="connsiteY12751"/>
              </a:cxn>
              <a:cxn ang="0">
                <a:pos x="connsiteX12752" y="connsiteY12752"/>
              </a:cxn>
              <a:cxn ang="0">
                <a:pos x="connsiteX12753" y="connsiteY12753"/>
              </a:cxn>
              <a:cxn ang="0">
                <a:pos x="connsiteX12754" y="connsiteY12754"/>
              </a:cxn>
              <a:cxn ang="0">
                <a:pos x="connsiteX12755" y="connsiteY12755"/>
              </a:cxn>
              <a:cxn ang="0">
                <a:pos x="connsiteX12756" y="connsiteY12756"/>
              </a:cxn>
              <a:cxn ang="0">
                <a:pos x="connsiteX12757" y="connsiteY12757"/>
              </a:cxn>
              <a:cxn ang="0">
                <a:pos x="connsiteX12758" y="connsiteY12758"/>
              </a:cxn>
              <a:cxn ang="0">
                <a:pos x="connsiteX12759" y="connsiteY12759"/>
              </a:cxn>
              <a:cxn ang="0">
                <a:pos x="connsiteX12760" y="connsiteY12760"/>
              </a:cxn>
              <a:cxn ang="0">
                <a:pos x="connsiteX12761" y="connsiteY12761"/>
              </a:cxn>
              <a:cxn ang="0">
                <a:pos x="connsiteX12762" y="connsiteY12762"/>
              </a:cxn>
              <a:cxn ang="0">
                <a:pos x="connsiteX12763" y="connsiteY12763"/>
              </a:cxn>
              <a:cxn ang="0">
                <a:pos x="connsiteX12764" y="connsiteY12764"/>
              </a:cxn>
              <a:cxn ang="0">
                <a:pos x="connsiteX12765" y="connsiteY12765"/>
              </a:cxn>
              <a:cxn ang="0">
                <a:pos x="connsiteX12766" y="connsiteY12766"/>
              </a:cxn>
              <a:cxn ang="0">
                <a:pos x="connsiteX12767" y="connsiteY12767"/>
              </a:cxn>
              <a:cxn ang="0">
                <a:pos x="connsiteX12768" y="connsiteY12768"/>
              </a:cxn>
              <a:cxn ang="0">
                <a:pos x="connsiteX12769" y="connsiteY12769"/>
              </a:cxn>
              <a:cxn ang="0">
                <a:pos x="connsiteX12770" y="connsiteY12770"/>
              </a:cxn>
              <a:cxn ang="0">
                <a:pos x="connsiteX12771" y="connsiteY12771"/>
              </a:cxn>
              <a:cxn ang="0">
                <a:pos x="connsiteX12772" y="connsiteY12772"/>
              </a:cxn>
              <a:cxn ang="0">
                <a:pos x="connsiteX12773" y="connsiteY12773"/>
              </a:cxn>
              <a:cxn ang="0">
                <a:pos x="connsiteX12774" y="connsiteY12774"/>
              </a:cxn>
              <a:cxn ang="0">
                <a:pos x="connsiteX12775" y="connsiteY12775"/>
              </a:cxn>
              <a:cxn ang="0">
                <a:pos x="connsiteX12776" y="connsiteY12776"/>
              </a:cxn>
              <a:cxn ang="0">
                <a:pos x="connsiteX12777" y="connsiteY12777"/>
              </a:cxn>
              <a:cxn ang="0">
                <a:pos x="connsiteX12778" y="connsiteY12778"/>
              </a:cxn>
              <a:cxn ang="0">
                <a:pos x="connsiteX12779" y="connsiteY12779"/>
              </a:cxn>
              <a:cxn ang="0">
                <a:pos x="connsiteX12780" y="connsiteY12780"/>
              </a:cxn>
              <a:cxn ang="0">
                <a:pos x="connsiteX12781" y="connsiteY12781"/>
              </a:cxn>
              <a:cxn ang="0">
                <a:pos x="connsiteX12782" y="connsiteY12782"/>
              </a:cxn>
              <a:cxn ang="0">
                <a:pos x="connsiteX12783" y="connsiteY12783"/>
              </a:cxn>
              <a:cxn ang="0">
                <a:pos x="connsiteX12784" y="connsiteY12784"/>
              </a:cxn>
              <a:cxn ang="0">
                <a:pos x="connsiteX12785" y="connsiteY12785"/>
              </a:cxn>
              <a:cxn ang="0">
                <a:pos x="connsiteX12786" y="connsiteY12786"/>
              </a:cxn>
              <a:cxn ang="0">
                <a:pos x="connsiteX12787" y="connsiteY12787"/>
              </a:cxn>
              <a:cxn ang="0">
                <a:pos x="connsiteX12788" y="connsiteY12788"/>
              </a:cxn>
              <a:cxn ang="0">
                <a:pos x="connsiteX12789" y="connsiteY12789"/>
              </a:cxn>
              <a:cxn ang="0">
                <a:pos x="connsiteX12790" y="connsiteY12790"/>
              </a:cxn>
              <a:cxn ang="0">
                <a:pos x="connsiteX12791" y="connsiteY12791"/>
              </a:cxn>
              <a:cxn ang="0">
                <a:pos x="connsiteX12792" y="connsiteY12792"/>
              </a:cxn>
              <a:cxn ang="0">
                <a:pos x="connsiteX12793" y="connsiteY12793"/>
              </a:cxn>
              <a:cxn ang="0">
                <a:pos x="connsiteX12794" y="connsiteY12794"/>
              </a:cxn>
              <a:cxn ang="0">
                <a:pos x="connsiteX12795" y="connsiteY12795"/>
              </a:cxn>
              <a:cxn ang="0">
                <a:pos x="connsiteX12796" y="connsiteY12796"/>
              </a:cxn>
              <a:cxn ang="0">
                <a:pos x="connsiteX12797" y="connsiteY12797"/>
              </a:cxn>
              <a:cxn ang="0">
                <a:pos x="connsiteX12798" y="connsiteY12798"/>
              </a:cxn>
              <a:cxn ang="0">
                <a:pos x="connsiteX12799" y="connsiteY12799"/>
              </a:cxn>
              <a:cxn ang="0">
                <a:pos x="connsiteX12800" y="connsiteY12800"/>
              </a:cxn>
              <a:cxn ang="0">
                <a:pos x="connsiteX12801" y="connsiteY12801"/>
              </a:cxn>
              <a:cxn ang="0">
                <a:pos x="connsiteX12802" y="connsiteY12802"/>
              </a:cxn>
              <a:cxn ang="0">
                <a:pos x="connsiteX12803" y="connsiteY12803"/>
              </a:cxn>
              <a:cxn ang="0">
                <a:pos x="connsiteX12804" y="connsiteY12804"/>
              </a:cxn>
              <a:cxn ang="0">
                <a:pos x="connsiteX12805" y="connsiteY12805"/>
              </a:cxn>
              <a:cxn ang="0">
                <a:pos x="connsiteX12806" y="connsiteY12806"/>
              </a:cxn>
              <a:cxn ang="0">
                <a:pos x="connsiteX12807" y="connsiteY12807"/>
              </a:cxn>
              <a:cxn ang="0">
                <a:pos x="connsiteX12808" y="connsiteY12808"/>
              </a:cxn>
              <a:cxn ang="0">
                <a:pos x="connsiteX12809" y="connsiteY12809"/>
              </a:cxn>
              <a:cxn ang="0">
                <a:pos x="connsiteX12810" y="connsiteY12810"/>
              </a:cxn>
              <a:cxn ang="0">
                <a:pos x="connsiteX12811" y="connsiteY12811"/>
              </a:cxn>
              <a:cxn ang="0">
                <a:pos x="connsiteX12812" y="connsiteY12812"/>
              </a:cxn>
              <a:cxn ang="0">
                <a:pos x="connsiteX12813" y="connsiteY12813"/>
              </a:cxn>
              <a:cxn ang="0">
                <a:pos x="connsiteX12814" y="connsiteY12814"/>
              </a:cxn>
              <a:cxn ang="0">
                <a:pos x="connsiteX12815" y="connsiteY12815"/>
              </a:cxn>
              <a:cxn ang="0">
                <a:pos x="connsiteX12816" y="connsiteY12816"/>
              </a:cxn>
              <a:cxn ang="0">
                <a:pos x="connsiteX12817" y="connsiteY12817"/>
              </a:cxn>
              <a:cxn ang="0">
                <a:pos x="connsiteX12818" y="connsiteY12818"/>
              </a:cxn>
              <a:cxn ang="0">
                <a:pos x="connsiteX12819" y="connsiteY12819"/>
              </a:cxn>
              <a:cxn ang="0">
                <a:pos x="connsiteX12820" y="connsiteY12820"/>
              </a:cxn>
              <a:cxn ang="0">
                <a:pos x="connsiteX12821" y="connsiteY12821"/>
              </a:cxn>
              <a:cxn ang="0">
                <a:pos x="connsiteX12822" y="connsiteY12822"/>
              </a:cxn>
              <a:cxn ang="0">
                <a:pos x="connsiteX12823" y="connsiteY12823"/>
              </a:cxn>
              <a:cxn ang="0">
                <a:pos x="connsiteX12824" y="connsiteY12824"/>
              </a:cxn>
              <a:cxn ang="0">
                <a:pos x="connsiteX12825" y="connsiteY12825"/>
              </a:cxn>
              <a:cxn ang="0">
                <a:pos x="connsiteX12826" y="connsiteY12826"/>
              </a:cxn>
              <a:cxn ang="0">
                <a:pos x="connsiteX12827" y="connsiteY12827"/>
              </a:cxn>
              <a:cxn ang="0">
                <a:pos x="connsiteX12828" y="connsiteY12828"/>
              </a:cxn>
              <a:cxn ang="0">
                <a:pos x="connsiteX12829" y="connsiteY12829"/>
              </a:cxn>
              <a:cxn ang="0">
                <a:pos x="connsiteX12830" y="connsiteY12830"/>
              </a:cxn>
              <a:cxn ang="0">
                <a:pos x="connsiteX12831" y="connsiteY12831"/>
              </a:cxn>
              <a:cxn ang="0">
                <a:pos x="connsiteX12832" y="connsiteY12832"/>
              </a:cxn>
              <a:cxn ang="0">
                <a:pos x="connsiteX12833" y="connsiteY12833"/>
              </a:cxn>
              <a:cxn ang="0">
                <a:pos x="connsiteX12834" y="connsiteY12834"/>
              </a:cxn>
              <a:cxn ang="0">
                <a:pos x="connsiteX12835" y="connsiteY12835"/>
              </a:cxn>
              <a:cxn ang="0">
                <a:pos x="connsiteX12836" y="connsiteY12836"/>
              </a:cxn>
              <a:cxn ang="0">
                <a:pos x="connsiteX12837" y="connsiteY12837"/>
              </a:cxn>
              <a:cxn ang="0">
                <a:pos x="connsiteX12838" y="connsiteY12838"/>
              </a:cxn>
              <a:cxn ang="0">
                <a:pos x="connsiteX12839" y="connsiteY12839"/>
              </a:cxn>
              <a:cxn ang="0">
                <a:pos x="connsiteX12840" y="connsiteY12840"/>
              </a:cxn>
              <a:cxn ang="0">
                <a:pos x="connsiteX12841" y="connsiteY12841"/>
              </a:cxn>
              <a:cxn ang="0">
                <a:pos x="connsiteX12842" y="connsiteY12842"/>
              </a:cxn>
              <a:cxn ang="0">
                <a:pos x="connsiteX12843" y="connsiteY12843"/>
              </a:cxn>
              <a:cxn ang="0">
                <a:pos x="connsiteX12844" y="connsiteY12844"/>
              </a:cxn>
              <a:cxn ang="0">
                <a:pos x="connsiteX12845" y="connsiteY12845"/>
              </a:cxn>
              <a:cxn ang="0">
                <a:pos x="connsiteX12846" y="connsiteY12846"/>
              </a:cxn>
              <a:cxn ang="0">
                <a:pos x="connsiteX12847" y="connsiteY12847"/>
              </a:cxn>
              <a:cxn ang="0">
                <a:pos x="connsiteX12848" y="connsiteY12848"/>
              </a:cxn>
              <a:cxn ang="0">
                <a:pos x="connsiteX12849" y="connsiteY12849"/>
              </a:cxn>
              <a:cxn ang="0">
                <a:pos x="connsiteX12850" y="connsiteY12850"/>
              </a:cxn>
              <a:cxn ang="0">
                <a:pos x="connsiteX12851" y="connsiteY12851"/>
              </a:cxn>
              <a:cxn ang="0">
                <a:pos x="connsiteX12852" y="connsiteY12852"/>
              </a:cxn>
              <a:cxn ang="0">
                <a:pos x="connsiteX12853" y="connsiteY12853"/>
              </a:cxn>
              <a:cxn ang="0">
                <a:pos x="connsiteX12854" y="connsiteY12854"/>
              </a:cxn>
              <a:cxn ang="0">
                <a:pos x="connsiteX12855" y="connsiteY12855"/>
              </a:cxn>
              <a:cxn ang="0">
                <a:pos x="connsiteX12856" y="connsiteY12856"/>
              </a:cxn>
              <a:cxn ang="0">
                <a:pos x="connsiteX12857" y="connsiteY12857"/>
              </a:cxn>
              <a:cxn ang="0">
                <a:pos x="connsiteX12858" y="connsiteY12858"/>
              </a:cxn>
              <a:cxn ang="0">
                <a:pos x="connsiteX12859" y="connsiteY12859"/>
              </a:cxn>
              <a:cxn ang="0">
                <a:pos x="connsiteX12860" y="connsiteY12860"/>
              </a:cxn>
              <a:cxn ang="0">
                <a:pos x="connsiteX12861" y="connsiteY12861"/>
              </a:cxn>
              <a:cxn ang="0">
                <a:pos x="connsiteX12862" y="connsiteY12862"/>
              </a:cxn>
              <a:cxn ang="0">
                <a:pos x="connsiteX12863" y="connsiteY12863"/>
              </a:cxn>
              <a:cxn ang="0">
                <a:pos x="connsiteX12864" y="connsiteY12864"/>
              </a:cxn>
              <a:cxn ang="0">
                <a:pos x="connsiteX12865" y="connsiteY12865"/>
              </a:cxn>
              <a:cxn ang="0">
                <a:pos x="connsiteX12866" y="connsiteY12866"/>
              </a:cxn>
              <a:cxn ang="0">
                <a:pos x="connsiteX12867" y="connsiteY12867"/>
              </a:cxn>
              <a:cxn ang="0">
                <a:pos x="connsiteX12868" y="connsiteY12868"/>
              </a:cxn>
              <a:cxn ang="0">
                <a:pos x="connsiteX12869" y="connsiteY12869"/>
              </a:cxn>
              <a:cxn ang="0">
                <a:pos x="connsiteX12870" y="connsiteY12870"/>
              </a:cxn>
              <a:cxn ang="0">
                <a:pos x="connsiteX12871" y="connsiteY12871"/>
              </a:cxn>
              <a:cxn ang="0">
                <a:pos x="connsiteX12872" y="connsiteY12872"/>
              </a:cxn>
              <a:cxn ang="0">
                <a:pos x="connsiteX12873" y="connsiteY12873"/>
              </a:cxn>
              <a:cxn ang="0">
                <a:pos x="connsiteX12874" y="connsiteY12874"/>
              </a:cxn>
              <a:cxn ang="0">
                <a:pos x="connsiteX12875" y="connsiteY12875"/>
              </a:cxn>
              <a:cxn ang="0">
                <a:pos x="connsiteX12876" y="connsiteY12876"/>
              </a:cxn>
              <a:cxn ang="0">
                <a:pos x="connsiteX12877" y="connsiteY12877"/>
              </a:cxn>
              <a:cxn ang="0">
                <a:pos x="connsiteX12878" y="connsiteY12878"/>
              </a:cxn>
              <a:cxn ang="0">
                <a:pos x="connsiteX12879" y="connsiteY12879"/>
              </a:cxn>
              <a:cxn ang="0">
                <a:pos x="connsiteX12880" y="connsiteY12880"/>
              </a:cxn>
              <a:cxn ang="0">
                <a:pos x="connsiteX12881" y="connsiteY12881"/>
              </a:cxn>
              <a:cxn ang="0">
                <a:pos x="connsiteX12882" y="connsiteY12882"/>
              </a:cxn>
              <a:cxn ang="0">
                <a:pos x="connsiteX12883" y="connsiteY12883"/>
              </a:cxn>
              <a:cxn ang="0">
                <a:pos x="connsiteX12884" y="connsiteY12884"/>
              </a:cxn>
              <a:cxn ang="0">
                <a:pos x="connsiteX12885" y="connsiteY12885"/>
              </a:cxn>
              <a:cxn ang="0">
                <a:pos x="connsiteX12886" y="connsiteY12886"/>
              </a:cxn>
              <a:cxn ang="0">
                <a:pos x="connsiteX12887" y="connsiteY12887"/>
              </a:cxn>
              <a:cxn ang="0">
                <a:pos x="connsiteX12888" y="connsiteY12888"/>
              </a:cxn>
              <a:cxn ang="0">
                <a:pos x="connsiteX12889" y="connsiteY12889"/>
              </a:cxn>
              <a:cxn ang="0">
                <a:pos x="connsiteX12890" y="connsiteY12890"/>
              </a:cxn>
              <a:cxn ang="0">
                <a:pos x="connsiteX12891" y="connsiteY12891"/>
              </a:cxn>
              <a:cxn ang="0">
                <a:pos x="connsiteX12892" y="connsiteY12892"/>
              </a:cxn>
              <a:cxn ang="0">
                <a:pos x="connsiteX12893" y="connsiteY12893"/>
              </a:cxn>
              <a:cxn ang="0">
                <a:pos x="connsiteX12894" y="connsiteY12894"/>
              </a:cxn>
              <a:cxn ang="0">
                <a:pos x="connsiteX12895" y="connsiteY12895"/>
              </a:cxn>
              <a:cxn ang="0">
                <a:pos x="connsiteX12896" y="connsiteY12896"/>
              </a:cxn>
              <a:cxn ang="0">
                <a:pos x="connsiteX12897" y="connsiteY12897"/>
              </a:cxn>
              <a:cxn ang="0">
                <a:pos x="connsiteX12898" y="connsiteY12898"/>
              </a:cxn>
              <a:cxn ang="0">
                <a:pos x="connsiteX12899" y="connsiteY12899"/>
              </a:cxn>
              <a:cxn ang="0">
                <a:pos x="connsiteX12900" y="connsiteY12900"/>
              </a:cxn>
              <a:cxn ang="0">
                <a:pos x="connsiteX12901" y="connsiteY12901"/>
              </a:cxn>
              <a:cxn ang="0">
                <a:pos x="connsiteX12902" y="connsiteY12902"/>
              </a:cxn>
              <a:cxn ang="0">
                <a:pos x="connsiteX12903" y="connsiteY12903"/>
              </a:cxn>
              <a:cxn ang="0">
                <a:pos x="connsiteX12904" y="connsiteY12904"/>
              </a:cxn>
              <a:cxn ang="0">
                <a:pos x="connsiteX12905" y="connsiteY12905"/>
              </a:cxn>
              <a:cxn ang="0">
                <a:pos x="connsiteX12906" y="connsiteY12906"/>
              </a:cxn>
              <a:cxn ang="0">
                <a:pos x="connsiteX12907" y="connsiteY12907"/>
              </a:cxn>
              <a:cxn ang="0">
                <a:pos x="connsiteX12908" y="connsiteY12908"/>
              </a:cxn>
              <a:cxn ang="0">
                <a:pos x="connsiteX12909" y="connsiteY12909"/>
              </a:cxn>
              <a:cxn ang="0">
                <a:pos x="connsiteX12910" y="connsiteY12910"/>
              </a:cxn>
              <a:cxn ang="0">
                <a:pos x="connsiteX12911" y="connsiteY12911"/>
              </a:cxn>
              <a:cxn ang="0">
                <a:pos x="connsiteX12912" y="connsiteY12912"/>
              </a:cxn>
              <a:cxn ang="0">
                <a:pos x="connsiteX12913" y="connsiteY12913"/>
              </a:cxn>
              <a:cxn ang="0">
                <a:pos x="connsiteX12914" y="connsiteY12914"/>
              </a:cxn>
              <a:cxn ang="0">
                <a:pos x="connsiteX12915" y="connsiteY12915"/>
              </a:cxn>
              <a:cxn ang="0">
                <a:pos x="connsiteX12916" y="connsiteY12916"/>
              </a:cxn>
              <a:cxn ang="0">
                <a:pos x="connsiteX12917" y="connsiteY12917"/>
              </a:cxn>
              <a:cxn ang="0">
                <a:pos x="connsiteX12918" y="connsiteY12918"/>
              </a:cxn>
              <a:cxn ang="0">
                <a:pos x="connsiteX12919" y="connsiteY12919"/>
              </a:cxn>
              <a:cxn ang="0">
                <a:pos x="connsiteX12920" y="connsiteY12920"/>
              </a:cxn>
              <a:cxn ang="0">
                <a:pos x="connsiteX12921" y="connsiteY12921"/>
              </a:cxn>
              <a:cxn ang="0">
                <a:pos x="connsiteX12922" y="connsiteY12922"/>
              </a:cxn>
              <a:cxn ang="0">
                <a:pos x="connsiteX12923" y="connsiteY12923"/>
              </a:cxn>
              <a:cxn ang="0">
                <a:pos x="connsiteX12924" y="connsiteY12924"/>
              </a:cxn>
              <a:cxn ang="0">
                <a:pos x="connsiteX12925" y="connsiteY12925"/>
              </a:cxn>
              <a:cxn ang="0">
                <a:pos x="connsiteX12926" y="connsiteY12926"/>
              </a:cxn>
              <a:cxn ang="0">
                <a:pos x="connsiteX12927" y="connsiteY12927"/>
              </a:cxn>
              <a:cxn ang="0">
                <a:pos x="connsiteX12928" y="connsiteY12928"/>
              </a:cxn>
              <a:cxn ang="0">
                <a:pos x="connsiteX12929" y="connsiteY12929"/>
              </a:cxn>
              <a:cxn ang="0">
                <a:pos x="connsiteX12930" y="connsiteY12930"/>
              </a:cxn>
              <a:cxn ang="0">
                <a:pos x="connsiteX12931" y="connsiteY12931"/>
              </a:cxn>
              <a:cxn ang="0">
                <a:pos x="connsiteX12932" y="connsiteY12932"/>
              </a:cxn>
              <a:cxn ang="0">
                <a:pos x="connsiteX12933" y="connsiteY12933"/>
              </a:cxn>
              <a:cxn ang="0">
                <a:pos x="connsiteX12934" y="connsiteY12934"/>
              </a:cxn>
              <a:cxn ang="0">
                <a:pos x="connsiteX12935" y="connsiteY12935"/>
              </a:cxn>
              <a:cxn ang="0">
                <a:pos x="connsiteX12936" y="connsiteY12936"/>
              </a:cxn>
              <a:cxn ang="0">
                <a:pos x="connsiteX12937" y="connsiteY12937"/>
              </a:cxn>
              <a:cxn ang="0">
                <a:pos x="connsiteX12938" y="connsiteY12938"/>
              </a:cxn>
              <a:cxn ang="0">
                <a:pos x="connsiteX12939" y="connsiteY12939"/>
              </a:cxn>
              <a:cxn ang="0">
                <a:pos x="connsiteX12940" y="connsiteY12940"/>
              </a:cxn>
              <a:cxn ang="0">
                <a:pos x="connsiteX12941" y="connsiteY12941"/>
              </a:cxn>
              <a:cxn ang="0">
                <a:pos x="connsiteX12942" y="connsiteY12942"/>
              </a:cxn>
              <a:cxn ang="0">
                <a:pos x="connsiteX12943" y="connsiteY12943"/>
              </a:cxn>
              <a:cxn ang="0">
                <a:pos x="connsiteX12944" y="connsiteY12944"/>
              </a:cxn>
              <a:cxn ang="0">
                <a:pos x="connsiteX12945" y="connsiteY12945"/>
              </a:cxn>
              <a:cxn ang="0">
                <a:pos x="connsiteX12946" y="connsiteY12946"/>
              </a:cxn>
              <a:cxn ang="0">
                <a:pos x="connsiteX12947" y="connsiteY12947"/>
              </a:cxn>
              <a:cxn ang="0">
                <a:pos x="connsiteX12948" y="connsiteY12948"/>
              </a:cxn>
              <a:cxn ang="0">
                <a:pos x="connsiteX12949" y="connsiteY12949"/>
              </a:cxn>
              <a:cxn ang="0">
                <a:pos x="connsiteX12950" y="connsiteY12950"/>
              </a:cxn>
              <a:cxn ang="0">
                <a:pos x="connsiteX12951" y="connsiteY12951"/>
              </a:cxn>
              <a:cxn ang="0">
                <a:pos x="connsiteX12952" y="connsiteY12952"/>
              </a:cxn>
              <a:cxn ang="0">
                <a:pos x="connsiteX12953" y="connsiteY12953"/>
              </a:cxn>
              <a:cxn ang="0">
                <a:pos x="connsiteX12954" y="connsiteY12954"/>
              </a:cxn>
              <a:cxn ang="0">
                <a:pos x="connsiteX12955" y="connsiteY12955"/>
              </a:cxn>
              <a:cxn ang="0">
                <a:pos x="connsiteX12956" y="connsiteY12956"/>
              </a:cxn>
              <a:cxn ang="0">
                <a:pos x="connsiteX12957" y="connsiteY12957"/>
              </a:cxn>
              <a:cxn ang="0">
                <a:pos x="connsiteX12958" y="connsiteY12958"/>
              </a:cxn>
              <a:cxn ang="0">
                <a:pos x="connsiteX12959" y="connsiteY12959"/>
              </a:cxn>
              <a:cxn ang="0">
                <a:pos x="connsiteX12960" y="connsiteY12960"/>
              </a:cxn>
              <a:cxn ang="0">
                <a:pos x="connsiteX12961" y="connsiteY12961"/>
              </a:cxn>
              <a:cxn ang="0">
                <a:pos x="connsiteX12962" y="connsiteY12962"/>
              </a:cxn>
              <a:cxn ang="0">
                <a:pos x="connsiteX12963" y="connsiteY12963"/>
              </a:cxn>
              <a:cxn ang="0">
                <a:pos x="connsiteX12964" y="connsiteY12964"/>
              </a:cxn>
              <a:cxn ang="0">
                <a:pos x="connsiteX12965" y="connsiteY12965"/>
              </a:cxn>
              <a:cxn ang="0">
                <a:pos x="connsiteX12966" y="connsiteY12966"/>
              </a:cxn>
              <a:cxn ang="0">
                <a:pos x="connsiteX12967" y="connsiteY12967"/>
              </a:cxn>
              <a:cxn ang="0">
                <a:pos x="connsiteX12968" y="connsiteY12968"/>
              </a:cxn>
              <a:cxn ang="0">
                <a:pos x="connsiteX12969" y="connsiteY12969"/>
              </a:cxn>
              <a:cxn ang="0">
                <a:pos x="connsiteX12970" y="connsiteY12970"/>
              </a:cxn>
              <a:cxn ang="0">
                <a:pos x="connsiteX12971" y="connsiteY12971"/>
              </a:cxn>
              <a:cxn ang="0">
                <a:pos x="connsiteX12972" y="connsiteY12972"/>
              </a:cxn>
              <a:cxn ang="0">
                <a:pos x="connsiteX12973" y="connsiteY12973"/>
              </a:cxn>
              <a:cxn ang="0">
                <a:pos x="connsiteX12974" y="connsiteY12974"/>
              </a:cxn>
              <a:cxn ang="0">
                <a:pos x="connsiteX12975" y="connsiteY12975"/>
              </a:cxn>
              <a:cxn ang="0">
                <a:pos x="connsiteX12976" y="connsiteY12976"/>
              </a:cxn>
              <a:cxn ang="0">
                <a:pos x="connsiteX12977" y="connsiteY12977"/>
              </a:cxn>
              <a:cxn ang="0">
                <a:pos x="connsiteX12978" y="connsiteY12978"/>
              </a:cxn>
              <a:cxn ang="0">
                <a:pos x="connsiteX12979" y="connsiteY12979"/>
              </a:cxn>
              <a:cxn ang="0">
                <a:pos x="connsiteX12980" y="connsiteY12980"/>
              </a:cxn>
              <a:cxn ang="0">
                <a:pos x="connsiteX12981" y="connsiteY12981"/>
              </a:cxn>
              <a:cxn ang="0">
                <a:pos x="connsiteX12982" y="connsiteY12982"/>
              </a:cxn>
              <a:cxn ang="0">
                <a:pos x="connsiteX12983" y="connsiteY12983"/>
              </a:cxn>
              <a:cxn ang="0">
                <a:pos x="connsiteX12984" y="connsiteY12984"/>
              </a:cxn>
              <a:cxn ang="0">
                <a:pos x="connsiteX12985" y="connsiteY12985"/>
              </a:cxn>
              <a:cxn ang="0">
                <a:pos x="connsiteX12986" y="connsiteY12986"/>
              </a:cxn>
              <a:cxn ang="0">
                <a:pos x="connsiteX12987" y="connsiteY12987"/>
              </a:cxn>
              <a:cxn ang="0">
                <a:pos x="connsiteX12988" y="connsiteY12988"/>
              </a:cxn>
              <a:cxn ang="0">
                <a:pos x="connsiteX12989" y="connsiteY12989"/>
              </a:cxn>
              <a:cxn ang="0">
                <a:pos x="connsiteX12990" y="connsiteY12990"/>
              </a:cxn>
              <a:cxn ang="0">
                <a:pos x="connsiteX12991" y="connsiteY12991"/>
              </a:cxn>
              <a:cxn ang="0">
                <a:pos x="connsiteX12992" y="connsiteY12992"/>
              </a:cxn>
              <a:cxn ang="0">
                <a:pos x="connsiteX12993" y="connsiteY12993"/>
              </a:cxn>
              <a:cxn ang="0">
                <a:pos x="connsiteX12994" y="connsiteY12994"/>
              </a:cxn>
              <a:cxn ang="0">
                <a:pos x="connsiteX12995" y="connsiteY12995"/>
              </a:cxn>
              <a:cxn ang="0">
                <a:pos x="connsiteX12996" y="connsiteY12996"/>
              </a:cxn>
              <a:cxn ang="0">
                <a:pos x="connsiteX12997" y="connsiteY12997"/>
              </a:cxn>
              <a:cxn ang="0">
                <a:pos x="connsiteX12998" y="connsiteY12998"/>
              </a:cxn>
              <a:cxn ang="0">
                <a:pos x="connsiteX12999" y="connsiteY12999"/>
              </a:cxn>
              <a:cxn ang="0">
                <a:pos x="connsiteX13000" y="connsiteY13000"/>
              </a:cxn>
              <a:cxn ang="0">
                <a:pos x="connsiteX13001" y="connsiteY13001"/>
              </a:cxn>
              <a:cxn ang="0">
                <a:pos x="connsiteX13002" y="connsiteY13002"/>
              </a:cxn>
              <a:cxn ang="0">
                <a:pos x="connsiteX13003" y="connsiteY13003"/>
              </a:cxn>
              <a:cxn ang="0">
                <a:pos x="connsiteX13004" y="connsiteY13004"/>
              </a:cxn>
              <a:cxn ang="0">
                <a:pos x="connsiteX13005" y="connsiteY13005"/>
              </a:cxn>
              <a:cxn ang="0">
                <a:pos x="connsiteX13006" y="connsiteY13006"/>
              </a:cxn>
              <a:cxn ang="0">
                <a:pos x="connsiteX13007" y="connsiteY13007"/>
              </a:cxn>
              <a:cxn ang="0">
                <a:pos x="connsiteX13008" y="connsiteY13008"/>
              </a:cxn>
              <a:cxn ang="0">
                <a:pos x="connsiteX13009" y="connsiteY13009"/>
              </a:cxn>
              <a:cxn ang="0">
                <a:pos x="connsiteX13010" y="connsiteY13010"/>
              </a:cxn>
              <a:cxn ang="0">
                <a:pos x="connsiteX13011" y="connsiteY13011"/>
              </a:cxn>
              <a:cxn ang="0">
                <a:pos x="connsiteX13012" y="connsiteY13012"/>
              </a:cxn>
              <a:cxn ang="0">
                <a:pos x="connsiteX13013" y="connsiteY13013"/>
              </a:cxn>
              <a:cxn ang="0">
                <a:pos x="connsiteX13014" y="connsiteY13014"/>
              </a:cxn>
              <a:cxn ang="0">
                <a:pos x="connsiteX13015" y="connsiteY13015"/>
              </a:cxn>
              <a:cxn ang="0">
                <a:pos x="connsiteX13016" y="connsiteY13016"/>
              </a:cxn>
              <a:cxn ang="0">
                <a:pos x="connsiteX13017" y="connsiteY13017"/>
              </a:cxn>
              <a:cxn ang="0">
                <a:pos x="connsiteX13018" y="connsiteY13018"/>
              </a:cxn>
              <a:cxn ang="0">
                <a:pos x="connsiteX13019" y="connsiteY13019"/>
              </a:cxn>
              <a:cxn ang="0">
                <a:pos x="connsiteX13020" y="connsiteY13020"/>
              </a:cxn>
              <a:cxn ang="0">
                <a:pos x="connsiteX13021" y="connsiteY13021"/>
              </a:cxn>
              <a:cxn ang="0">
                <a:pos x="connsiteX13022" y="connsiteY13022"/>
              </a:cxn>
              <a:cxn ang="0">
                <a:pos x="connsiteX13023" y="connsiteY13023"/>
              </a:cxn>
              <a:cxn ang="0">
                <a:pos x="connsiteX13024" y="connsiteY13024"/>
              </a:cxn>
              <a:cxn ang="0">
                <a:pos x="connsiteX13025" y="connsiteY13025"/>
              </a:cxn>
              <a:cxn ang="0">
                <a:pos x="connsiteX13026" y="connsiteY13026"/>
              </a:cxn>
              <a:cxn ang="0">
                <a:pos x="connsiteX13027" y="connsiteY13027"/>
              </a:cxn>
              <a:cxn ang="0">
                <a:pos x="connsiteX13028" y="connsiteY13028"/>
              </a:cxn>
              <a:cxn ang="0">
                <a:pos x="connsiteX13029" y="connsiteY13029"/>
              </a:cxn>
              <a:cxn ang="0">
                <a:pos x="connsiteX13030" y="connsiteY13030"/>
              </a:cxn>
              <a:cxn ang="0">
                <a:pos x="connsiteX13031" y="connsiteY13031"/>
              </a:cxn>
              <a:cxn ang="0">
                <a:pos x="connsiteX13032" y="connsiteY13032"/>
              </a:cxn>
              <a:cxn ang="0">
                <a:pos x="connsiteX13033" y="connsiteY13033"/>
              </a:cxn>
              <a:cxn ang="0">
                <a:pos x="connsiteX13034" y="connsiteY13034"/>
              </a:cxn>
              <a:cxn ang="0">
                <a:pos x="connsiteX13035" y="connsiteY13035"/>
              </a:cxn>
              <a:cxn ang="0">
                <a:pos x="connsiteX13036" y="connsiteY13036"/>
              </a:cxn>
              <a:cxn ang="0">
                <a:pos x="connsiteX13037" y="connsiteY13037"/>
              </a:cxn>
              <a:cxn ang="0">
                <a:pos x="connsiteX13038" y="connsiteY13038"/>
              </a:cxn>
              <a:cxn ang="0">
                <a:pos x="connsiteX13039" y="connsiteY13039"/>
              </a:cxn>
              <a:cxn ang="0">
                <a:pos x="connsiteX13040" y="connsiteY13040"/>
              </a:cxn>
              <a:cxn ang="0">
                <a:pos x="connsiteX13041" y="connsiteY13041"/>
              </a:cxn>
              <a:cxn ang="0">
                <a:pos x="connsiteX13042" y="connsiteY13042"/>
              </a:cxn>
              <a:cxn ang="0">
                <a:pos x="connsiteX13043" y="connsiteY13043"/>
              </a:cxn>
              <a:cxn ang="0">
                <a:pos x="connsiteX13044" y="connsiteY13044"/>
              </a:cxn>
              <a:cxn ang="0">
                <a:pos x="connsiteX13045" y="connsiteY13045"/>
              </a:cxn>
              <a:cxn ang="0">
                <a:pos x="connsiteX13046" y="connsiteY13046"/>
              </a:cxn>
              <a:cxn ang="0">
                <a:pos x="connsiteX13047" y="connsiteY13047"/>
              </a:cxn>
              <a:cxn ang="0">
                <a:pos x="connsiteX13048" y="connsiteY13048"/>
              </a:cxn>
              <a:cxn ang="0">
                <a:pos x="connsiteX13049" y="connsiteY13049"/>
              </a:cxn>
              <a:cxn ang="0">
                <a:pos x="connsiteX13050" y="connsiteY13050"/>
              </a:cxn>
              <a:cxn ang="0">
                <a:pos x="connsiteX13051" y="connsiteY13051"/>
              </a:cxn>
              <a:cxn ang="0">
                <a:pos x="connsiteX13052" y="connsiteY13052"/>
              </a:cxn>
              <a:cxn ang="0">
                <a:pos x="connsiteX13053" y="connsiteY13053"/>
              </a:cxn>
              <a:cxn ang="0">
                <a:pos x="connsiteX13054" y="connsiteY13054"/>
              </a:cxn>
              <a:cxn ang="0">
                <a:pos x="connsiteX13055" y="connsiteY13055"/>
              </a:cxn>
              <a:cxn ang="0">
                <a:pos x="connsiteX13056" y="connsiteY13056"/>
              </a:cxn>
              <a:cxn ang="0">
                <a:pos x="connsiteX13057" y="connsiteY13057"/>
              </a:cxn>
              <a:cxn ang="0">
                <a:pos x="connsiteX13058" y="connsiteY13058"/>
              </a:cxn>
              <a:cxn ang="0">
                <a:pos x="connsiteX13059" y="connsiteY13059"/>
              </a:cxn>
              <a:cxn ang="0">
                <a:pos x="connsiteX13060" y="connsiteY13060"/>
              </a:cxn>
              <a:cxn ang="0">
                <a:pos x="connsiteX13061" y="connsiteY13061"/>
              </a:cxn>
              <a:cxn ang="0">
                <a:pos x="connsiteX13062" y="connsiteY13062"/>
              </a:cxn>
              <a:cxn ang="0">
                <a:pos x="connsiteX13063" y="connsiteY13063"/>
              </a:cxn>
              <a:cxn ang="0">
                <a:pos x="connsiteX13064" y="connsiteY13064"/>
              </a:cxn>
              <a:cxn ang="0">
                <a:pos x="connsiteX13065" y="connsiteY13065"/>
              </a:cxn>
              <a:cxn ang="0">
                <a:pos x="connsiteX13066" y="connsiteY13066"/>
              </a:cxn>
              <a:cxn ang="0">
                <a:pos x="connsiteX13067" y="connsiteY13067"/>
              </a:cxn>
              <a:cxn ang="0">
                <a:pos x="connsiteX13068" y="connsiteY13068"/>
              </a:cxn>
              <a:cxn ang="0">
                <a:pos x="connsiteX13069" y="connsiteY13069"/>
              </a:cxn>
              <a:cxn ang="0">
                <a:pos x="connsiteX13070" y="connsiteY13070"/>
              </a:cxn>
              <a:cxn ang="0">
                <a:pos x="connsiteX13071" y="connsiteY13071"/>
              </a:cxn>
              <a:cxn ang="0">
                <a:pos x="connsiteX13072" y="connsiteY13072"/>
              </a:cxn>
              <a:cxn ang="0">
                <a:pos x="connsiteX13073" y="connsiteY13073"/>
              </a:cxn>
              <a:cxn ang="0">
                <a:pos x="connsiteX13074" y="connsiteY13074"/>
              </a:cxn>
              <a:cxn ang="0">
                <a:pos x="connsiteX13075" y="connsiteY13075"/>
              </a:cxn>
              <a:cxn ang="0">
                <a:pos x="connsiteX13076" y="connsiteY13076"/>
              </a:cxn>
              <a:cxn ang="0">
                <a:pos x="connsiteX13077" y="connsiteY13077"/>
              </a:cxn>
              <a:cxn ang="0">
                <a:pos x="connsiteX13078" y="connsiteY13078"/>
              </a:cxn>
              <a:cxn ang="0">
                <a:pos x="connsiteX13079" y="connsiteY13079"/>
              </a:cxn>
              <a:cxn ang="0">
                <a:pos x="connsiteX13080" y="connsiteY13080"/>
              </a:cxn>
              <a:cxn ang="0">
                <a:pos x="connsiteX13081" y="connsiteY13081"/>
              </a:cxn>
              <a:cxn ang="0">
                <a:pos x="connsiteX13082" y="connsiteY13082"/>
              </a:cxn>
              <a:cxn ang="0">
                <a:pos x="connsiteX13083" y="connsiteY13083"/>
              </a:cxn>
              <a:cxn ang="0">
                <a:pos x="connsiteX13084" y="connsiteY13084"/>
              </a:cxn>
              <a:cxn ang="0">
                <a:pos x="connsiteX13085" y="connsiteY13085"/>
              </a:cxn>
              <a:cxn ang="0">
                <a:pos x="connsiteX13086" y="connsiteY13086"/>
              </a:cxn>
              <a:cxn ang="0">
                <a:pos x="connsiteX13087" y="connsiteY13087"/>
              </a:cxn>
              <a:cxn ang="0">
                <a:pos x="connsiteX13088" y="connsiteY13088"/>
              </a:cxn>
              <a:cxn ang="0">
                <a:pos x="connsiteX13089" y="connsiteY13089"/>
              </a:cxn>
              <a:cxn ang="0">
                <a:pos x="connsiteX13090" y="connsiteY13090"/>
              </a:cxn>
              <a:cxn ang="0">
                <a:pos x="connsiteX13091" y="connsiteY13091"/>
              </a:cxn>
              <a:cxn ang="0">
                <a:pos x="connsiteX13092" y="connsiteY13092"/>
              </a:cxn>
              <a:cxn ang="0">
                <a:pos x="connsiteX13093" y="connsiteY13093"/>
              </a:cxn>
              <a:cxn ang="0">
                <a:pos x="connsiteX13094" y="connsiteY13094"/>
              </a:cxn>
              <a:cxn ang="0">
                <a:pos x="connsiteX13095" y="connsiteY13095"/>
              </a:cxn>
              <a:cxn ang="0">
                <a:pos x="connsiteX13096" y="connsiteY13096"/>
              </a:cxn>
              <a:cxn ang="0">
                <a:pos x="connsiteX13097" y="connsiteY13097"/>
              </a:cxn>
              <a:cxn ang="0">
                <a:pos x="connsiteX13098" y="connsiteY13098"/>
              </a:cxn>
              <a:cxn ang="0">
                <a:pos x="connsiteX13099" y="connsiteY13099"/>
              </a:cxn>
              <a:cxn ang="0">
                <a:pos x="connsiteX13100" y="connsiteY13100"/>
              </a:cxn>
              <a:cxn ang="0">
                <a:pos x="connsiteX13101" y="connsiteY13101"/>
              </a:cxn>
              <a:cxn ang="0">
                <a:pos x="connsiteX13102" y="connsiteY13102"/>
              </a:cxn>
              <a:cxn ang="0">
                <a:pos x="connsiteX13103" y="connsiteY13103"/>
              </a:cxn>
              <a:cxn ang="0">
                <a:pos x="connsiteX13104" y="connsiteY13104"/>
              </a:cxn>
              <a:cxn ang="0">
                <a:pos x="connsiteX13105" y="connsiteY13105"/>
              </a:cxn>
              <a:cxn ang="0">
                <a:pos x="connsiteX13106" y="connsiteY13106"/>
              </a:cxn>
              <a:cxn ang="0">
                <a:pos x="connsiteX13107" y="connsiteY13107"/>
              </a:cxn>
              <a:cxn ang="0">
                <a:pos x="connsiteX13108" y="connsiteY13108"/>
              </a:cxn>
              <a:cxn ang="0">
                <a:pos x="connsiteX13109" y="connsiteY13109"/>
              </a:cxn>
              <a:cxn ang="0">
                <a:pos x="connsiteX13110" y="connsiteY13110"/>
              </a:cxn>
              <a:cxn ang="0">
                <a:pos x="connsiteX13111" y="connsiteY13111"/>
              </a:cxn>
              <a:cxn ang="0">
                <a:pos x="connsiteX13112" y="connsiteY13112"/>
              </a:cxn>
              <a:cxn ang="0">
                <a:pos x="connsiteX13113" y="connsiteY13113"/>
              </a:cxn>
              <a:cxn ang="0">
                <a:pos x="connsiteX13114" y="connsiteY13114"/>
              </a:cxn>
              <a:cxn ang="0">
                <a:pos x="connsiteX13115" y="connsiteY13115"/>
              </a:cxn>
              <a:cxn ang="0">
                <a:pos x="connsiteX13116" y="connsiteY13116"/>
              </a:cxn>
              <a:cxn ang="0">
                <a:pos x="connsiteX13117" y="connsiteY13117"/>
              </a:cxn>
              <a:cxn ang="0">
                <a:pos x="connsiteX13118" y="connsiteY13118"/>
              </a:cxn>
              <a:cxn ang="0">
                <a:pos x="connsiteX13119" y="connsiteY13119"/>
              </a:cxn>
              <a:cxn ang="0">
                <a:pos x="connsiteX13120" y="connsiteY13120"/>
              </a:cxn>
              <a:cxn ang="0">
                <a:pos x="connsiteX13121" y="connsiteY13121"/>
              </a:cxn>
              <a:cxn ang="0">
                <a:pos x="connsiteX13122" y="connsiteY13122"/>
              </a:cxn>
              <a:cxn ang="0">
                <a:pos x="connsiteX13123" y="connsiteY13123"/>
              </a:cxn>
              <a:cxn ang="0">
                <a:pos x="connsiteX13124" y="connsiteY13124"/>
              </a:cxn>
              <a:cxn ang="0">
                <a:pos x="connsiteX13125" y="connsiteY13125"/>
              </a:cxn>
              <a:cxn ang="0">
                <a:pos x="connsiteX13126" y="connsiteY13126"/>
              </a:cxn>
              <a:cxn ang="0">
                <a:pos x="connsiteX13127" y="connsiteY13127"/>
              </a:cxn>
              <a:cxn ang="0">
                <a:pos x="connsiteX13128" y="connsiteY13128"/>
              </a:cxn>
              <a:cxn ang="0">
                <a:pos x="connsiteX13129" y="connsiteY13129"/>
              </a:cxn>
              <a:cxn ang="0">
                <a:pos x="connsiteX13130" y="connsiteY13130"/>
              </a:cxn>
              <a:cxn ang="0">
                <a:pos x="connsiteX13131" y="connsiteY13131"/>
              </a:cxn>
              <a:cxn ang="0">
                <a:pos x="connsiteX13132" y="connsiteY13132"/>
              </a:cxn>
              <a:cxn ang="0">
                <a:pos x="connsiteX13133" y="connsiteY13133"/>
              </a:cxn>
              <a:cxn ang="0">
                <a:pos x="connsiteX13134" y="connsiteY13134"/>
              </a:cxn>
              <a:cxn ang="0">
                <a:pos x="connsiteX13135" y="connsiteY13135"/>
              </a:cxn>
              <a:cxn ang="0">
                <a:pos x="connsiteX13136" y="connsiteY13136"/>
              </a:cxn>
              <a:cxn ang="0">
                <a:pos x="connsiteX13137" y="connsiteY13137"/>
              </a:cxn>
              <a:cxn ang="0">
                <a:pos x="connsiteX13138" y="connsiteY13138"/>
              </a:cxn>
              <a:cxn ang="0">
                <a:pos x="connsiteX13139" y="connsiteY13139"/>
              </a:cxn>
              <a:cxn ang="0">
                <a:pos x="connsiteX13140" y="connsiteY13140"/>
              </a:cxn>
              <a:cxn ang="0">
                <a:pos x="connsiteX13141" y="connsiteY13141"/>
              </a:cxn>
              <a:cxn ang="0">
                <a:pos x="connsiteX13142" y="connsiteY13142"/>
              </a:cxn>
              <a:cxn ang="0">
                <a:pos x="connsiteX13143" y="connsiteY13143"/>
              </a:cxn>
              <a:cxn ang="0">
                <a:pos x="connsiteX13144" y="connsiteY13144"/>
              </a:cxn>
              <a:cxn ang="0">
                <a:pos x="connsiteX13145" y="connsiteY13145"/>
              </a:cxn>
              <a:cxn ang="0">
                <a:pos x="connsiteX13146" y="connsiteY13146"/>
              </a:cxn>
              <a:cxn ang="0">
                <a:pos x="connsiteX13147" y="connsiteY13147"/>
              </a:cxn>
              <a:cxn ang="0">
                <a:pos x="connsiteX13148" y="connsiteY13148"/>
              </a:cxn>
              <a:cxn ang="0">
                <a:pos x="connsiteX13149" y="connsiteY13149"/>
              </a:cxn>
              <a:cxn ang="0">
                <a:pos x="connsiteX13150" y="connsiteY13150"/>
              </a:cxn>
              <a:cxn ang="0">
                <a:pos x="connsiteX13151" y="connsiteY13151"/>
              </a:cxn>
              <a:cxn ang="0">
                <a:pos x="connsiteX13152" y="connsiteY13152"/>
              </a:cxn>
              <a:cxn ang="0">
                <a:pos x="connsiteX13153" y="connsiteY13153"/>
              </a:cxn>
              <a:cxn ang="0">
                <a:pos x="connsiteX13154" y="connsiteY13154"/>
              </a:cxn>
              <a:cxn ang="0">
                <a:pos x="connsiteX13155" y="connsiteY13155"/>
              </a:cxn>
              <a:cxn ang="0">
                <a:pos x="connsiteX13156" y="connsiteY13156"/>
              </a:cxn>
              <a:cxn ang="0">
                <a:pos x="connsiteX13157" y="connsiteY13157"/>
              </a:cxn>
              <a:cxn ang="0">
                <a:pos x="connsiteX13158" y="connsiteY13158"/>
              </a:cxn>
              <a:cxn ang="0">
                <a:pos x="connsiteX13159" y="connsiteY13159"/>
              </a:cxn>
              <a:cxn ang="0">
                <a:pos x="connsiteX13160" y="connsiteY13160"/>
              </a:cxn>
              <a:cxn ang="0">
                <a:pos x="connsiteX13161" y="connsiteY13161"/>
              </a:cxn>
              <a:cxn ang="0">
                <a:pos x="connsiteX13162" y="connsiteY13162"/>
              </a:cxn>
              <a:cxn ang="0">
                <a:pos x="connsiteX13163" y="connsiteY13163"/>
              </a:cxn>
              <a:cxn ang="0">
                <a:pos x="connsiteX13164" y="connsiteY13164"/>
              </a:cxn>
              <a:cxn ang="0">
                <a:pos x="connsiteX13165" y="connsiteY13165"/>
              </a:cxn>
              <a:cxn ang="0">
                <a:pos x="connsiteX13166" y="connsiteY13166"/>
              </a:cxn>
              <a:cxn ang="0">
                <a:pos x="connsiteX13167" y="connsiteY13167"/>
              </a:cxn>
              <a:cxn ang="0">
                <a:pos x="connsiteX13168" y="connsiteY13168"/>
              </a:cxn>
              <a:cxn ang="0">
                <a:pos x="connsiteX13169" y="connsiteY13169"/>
              </a:cxn>
              <a:cxn ang="0">
                <a:pos x="connsiteX13170" y="connsiteY13170"/>
              </a:cxn>
              <a:cxn ang="0">
                <a:pos x="connsiteX13171" y="connsiteY13171"/>
              </a:cxn>
              <a:cxn ang="0">
                <a:pos x="connsiteX13172" y="connsiteY13172"/>
              </a:cxn>
              <a:cxn ang="0">
                <a:pos x="connsiteX13173" y="connsiteY13173"/>
              </a:cxn>
              <a:cxn ang="0">
                <a:pos x="connsiteX13174" y="connsiteY13174"/>
              </a:cxn>
              <a:cxn ang="0">
                <a:pos x="connsiteX13175" y="connsiteY13175"/>
              </a:cxn>
              <a:cxn ang="0">
                <a:pos x="connsiteX13176" y="connsiteY13176"/>
              </a:cxn>
              <a:cxn ang="0">
                <a:pos x="connsiteX13177" y="connsiteY13177"/>
              </a:cxn>
              <a:cxn ang="0">
                <a:pos x="connsiteX13178" y="connsiteY13178"/>
              </a:cxn>
              <a:cxn ang="0">
                <a:pos x="connsiteX13179" y="connsiteY13179"/>
              </a:cxn>
              <a:cxn ang="0">
                <a:pos x="connsiteX13180" y="connsiteY13180"/>
              </a:cxn>
              <a:cxn ang="0">
                <a:pos x="connsiteX13181" y="connsiteY13181"/>
              </a:cxn>
              <a:cxn ang="0">
                <a:pos x="connsiteX13182" y="connsiteY13182"/>
              </a:cxn>
              <a:cxn ang="0">
                <a:pos x="connsiteX13183" y="connsiteY13183"/>
              </a:cxn>
              <a:cxn ang="0">
                <a:pos x="connsiteX13184" y="connsiteY13184"/>
              </a:cxn>
              <a:cxn ang="0">
                <a:pos x="connsiteX13185" y="connsiteY13185"/>
              </a:cxn>
              <a:cxn ang="0">
                <a:pos x="connsiteX13186" y="connsiteY13186"/>
              </a:cxn>
              <a:cxn ang="0">
                <a:pos x="connsiteX13187" y="connsiteY13187"/>
              </a:cxn>
              <a:cxn ang="0">
                <a:pos x="connsiteX13188" y="connsiteY13188"/>
              </a:cxn>
              <a:cxn ang="0">
                <a:pos x="connsiteX13189" y="connsiteY13189"/>
              </a:cxn>
              <a:cxn ang="0">
                <a:pos x="connsiteX13190" y="connsiteY13190"/>
              </a:cxn>
              <a:cxn ang="0">
                <a:pos x="connsiteX13191" y="connsiteY13191"/>
              </a:cxn>
              <a:cxn ang="0">
                <a:pos x="connsiteX13192" y="connsiteY13192"/>
              </a:cxn>
              <a:cxn ang="0">
                <a:pos x="connsiteX13193" y="connsiteY13193"/>
              </a:cxn>
              <a:cxn ang="0">
                <a:pos x="connsiteX13194" y="connsiteY13194"/>
              </a:cxn>
              <a:cxn ang="0">
                <a:pos x="connsiteX13195" y="connsiteY13195"/>
              </a:cxn>
              <a:cxn ang="0">
                <a:pos x="connsiteX13196" y="connsiteY13196"/>
              </a:cxn>
              <a:cxn ang="0">
                <a:pos x="connsiteX13197" y="connsiteY13197"/>
              </a:cxn>
              <a:cxn ang="0">
                <a:pos x="connsiteX13198" y="connsiteY13198"/>
              </a:cxn>
              <a:cxn ang="0">
                <a:pos x="connsiteX13199" y="connsiteY13199"/>
              </a:cxn>
              <a:cxn ang="0">
                <a:pos x="connsiteX13200" y="connsiteY13200"/>
              </a:cxn>
              <a:cxn ang="0">
                <a:pos x="connsiteX13201" y="connsiteY13201"/>
              </a:cxn>
              <a:cxn ang="0">
                <a:pos x="connsiteX13202" y="connsiteY13202"/>
              </a:cxn>
              <a:cxn ang="0">
                <a:pos x="connsiteX13203" y="connsiteY13203"/>
              </a:cxn>
              <a:cxn ang="0">
                <a:pos x="connsiteX13204" y="connsiteY13204"/>
              </a:cxn>
              <a:cxn ang="0">
                <a:pos x="connsiteX13205" y="connsiteY13205"/>
              </a:cxn>
              <a:cxn ang="0">
                <a:pos x="connsiteX13206" y="connsiteY13206"/>
              </a:cxn>
              <a:cxn ang="0">
                <a:pos x="connsiteX13207" y="connsiteY13207"/>
              </a:cxn>
              <a:cxn ang="0">
                <a:pos x="connsiteX13208" y="connsiteY13208"/>
              </a:cxn>
              <a:cxn ang="0">
                <a:pos x="connsiteX13209" y="connsiteY13209"/>
              </a:cxn>
              <a:cxn ang="0">
                <a:pos x="connsiteX13210" y="connsiteY13210"/>
              </a:cxn>
              <a:cxn ang="0">
                <a:pos x="connsiteX13211" y="connsiteY13211"/>
              </a:cxn>
              <a:cxn ang="0">
                <a:pos x="connsiteX13212" y="connsiteY13212"/>
              </a:cxn>
              <a:cxn ang="0">
                <a:pos x="connsiteX13213" y="connsiteY13213"/>
              </a:cxn>
              <a:cxn ang="0">
                <a:pos x="connsiteX13214" y="connsiteY13214"/>
              </a:cxn>
              <a:cxn ang="0">
                <a:pos x="connsiteX13215" y="connsiteY13215"/>
              </a:cxn>
              <a:cxn ang="0">
                <a:pos x="connsiteX13216" y="connsiteY13216"/>
              </a:cxn>
              <a:cxn ang="0">
                <a:pos x="connsiteX13217" y="connsiteY13217"/>
              </a:cxn>
              <a:cxn ang="0">
                <a:pos x="connsiteX13218" y="connsiteY13218"/>
              </a:cxn>
              <a:cxn ang="0">
                <a:pos x="connsiteX13219" y="connsiteY13219"/>
              </a:cxn>
              <a:cxn ang="0">
                <a:pos x="connsiteX13220" y="connsiteY13220"/>
              </a:cxn>
              <a:cxn ang="0">
                <a:pos x="connsiteX13221" y="connsiteY13221"/>
              </a:cxn>
              <a:cxn ang="0">
                <a:pos x="connsiteX13222" y="connsiteY13222"/>
              </a:cxn>
              <a:cxn ang="0">
                <a:pos x="connsiteX13223" y="connsiteY13223"/>
              </a:cxn>
              <a:cxn ang="0">
                <a:pos x="connsiteX13224" y="connsiteY13224"/>
              </a:cxn>
              <a:cxn ang="0">
                <a:pos x="connsiteX13225" y="connsiteY13225"/>
              </a:cxn>
              <a:cxn ang="0">
                <a:pos x="connsiteX13226" y="connsiteY13226"/>
              </a:cxn>
              <a:cxn ang="0">
                <a:pos x="connsiteX13227" y="connsiteY13227"/>
              </a:cxn>
              <a:cxn ang="0">
                <a:pos x="connsiteX13228" y="connsiteY13228"/>
              </a:cxn>
              <a:cxn ang="0">
                <a:pos x="connsiteX13229" y="connsiteY13229"/>
              </a:cxn>
              <a:cxn ang="0">
                <a:pos x="connsiteX13230" y="connsiteY13230"/>
              </a:cxn>
              <a:cxn ang="0">
                <a:pos x="connsiteX13231" y="connsiteY13231"/>
              </a:cxn>
              <a:cxn ang="0">
                <a:pos x="connsiteX13232" y="connsiteY13232"/>
              </a:cxn>
              <a:cxn ang="0">
                <a:pos x="connsiteX13233" y="connsiteY13233"/>
              </a:cxn>
              <a:cxn ang="0">
                <a:pos x="connsiteX13234" y="connsiteY13234"/>
              </a:cxn>
              <a:cxn ang="0">
                <a:pos x="connsiteX13235" y="connsiteY13235"/>
              </a:cxn>
              <a:cxn ang="0">
                <a:pos x="connsiteX13236" y="connsiteY13236"/>
              </a:cxn>
              <a:cxn ang="0">
                <a:pos x="connsiteX13237" y="connsiteY13237"/>
              </a:cxn>
              <a:cxn ang="0">
                <a:pos x="connsiteX13238" y="connsiteY13238"/>
              </a:cxn>
              <a:cxn ang="0">
                <a:pos x="connsiteX13239" y="connsiteY13239"/>
              </a:cxn>
              <a:cxn ang="0">
                <a:pos x="connsiteX13240" y="connsiteY13240"/>
              </a:cxn>
              <a:cxn ang="0">
                <a:pos x="connsiteX13241" y="connsiteY13241"/>
              </a:cxn>
              <a:cxn ang="0">
                <a:pos x="connsiteX13242" y="connsiteY13242"/>
              </a:cxn>
              <a:cxn ang="0">
                <a:pos x="connsiteX13243" y="connsiteY13243"/>
              </a:cxn>
              <a:cxn ang="0">
                <a:pos x="connsiteX13244" y="connsiteY13244"/>
              </a:cxn>
              <a:cxn ang="0">
                <a:pos x="connsiteX13245" y="connsiteY13245"/>
              </a:cxn>
              <a:cxn ang="0">
                <a:pos x="connsiteX13246" y="connsiteY13246"/>
              </a:cxn>
              <a:cxn ang="0">
                <a:pos x="connsiteX13247" y="connsiteY13247"/>
              </a:cxn>
              <a:cxn ang="0">
                <a:pos x="connsiteX13248" y="connsiteY13248"/>
              </a:cxn>
              <a:cxn ang="0">
                <a:pos x="connsiteX13249" y="connsiteY13249"/>
              </a:cxn>
              <a:cxn ang="0">
                <a:pos x="connsiteX13250" y="connsiteY13250"/>
              </a:cxn>
              <a:cxn ang="0">
                <a:pos x="connsiteX13251" y="connsiteY13251"/>
              </a:cxn>
              <a:cxn ang="0">
                <a:pos x="connsiteX13252" y="connsiteY13252"/>
              </a:cxn>
              <a:cxn ang="0">
                <a:pos x="connsiteX13253" y="connsiteY13253"/>
              </a:cxn>
              <a:cxn ang="0">
                <a:pos x="connsiteX13254" y="connsiteY13254"/>
              </a:cxn>
              <a:cxn ang="0">
                <a:pos x="connsiteX13255" y="connsiteY13255"/>
              </a:cxn>
              <a:cxn ang="0">
                <a:pos x="connsiteX13256" y="connsiteY13256"/>
              </a:cxn>
              <a:cxn ang="0">
                <a:pos x="connsiteX13257" y="connsiteY13257"/>
              </a:cxn>
              <a:cxn ang="0">
                <a:pos x="connsiteX13258" y="connsiteY13258"/>
              </a:cxn>
              <a:cxn ang="0">
                <a:pos x="connsiteX13259" y="connsiteY13259"/>
              </a:cxn>
              <a:cxn ang="0">
                <a:pos x="connsiteX13260" y="connsiteY13260"/>
              </a:cxn>
              <a:cxn ang="0">
                <a:pos x="connsiteX13261" y="connsiteY13261"/>
              </a:cxn>
              <a:cxn ang="0">
                <a:pos x="connsiteX13262" y="connsiteY13262"/>
              </a:cxn>
              <a:cxn ang="0">
                <a:pos x="connsiteX13263" y="connsiteY13263"/>
              </a:cxn>
              <a:cxn ang="0">
                <a:pos x="connsiteX13264" y="connsiteY13264"/>
              </a:cxn>
              <a:cxn ang="0">
                <a:pos x="connsiteX13265" y="connsiteY13265"/>
              </a:cxn>
              <a:cxn ang="0">
                <a:pos x="connsiteX13266" y="connsiteY13266"/>
              </a:cxn>
              <a:cxn ang="0">
                <a:pos x="connsiteX13267" y="connsiteY13267"/>
              </a:cxn>
              <a:cxn ang="0">
                <a:pos x="connsiteX13268" y="connsiteY13268"/>
              </a:cxn>
              <a:cxn ang="0">
                <a:pos x="connsiteX13269" y="connsiteY13269"/>
              </a:cxn>
              <a:cxn ang="0">
                <a:pos x="connsiteX13270" y="connsiteY13270"/>
              </a:cxn>
              <a:cxn ang="0">
                <a:pos x="connsiteX13271" y="connsiteY13271"/>
              </a:cxn>
              <a:cxn ang="0">
                <a:pos x="connsiteX13272" y="connsiteY13272"/>
              </a:cxn>
              <a:cxn ang="0">
                <a:pos x="connsiteX13273" y="connsiteY13273"/>
              </a:cxn>
              <a:cxn ang="0">
                <a:pos x="connsiteX13274" y="connsiteY13274"/>
              </a:cxn>
              <a:cxn ang="0">
                <a:pos x="connsiteX13275" y="connsiteY13275"/>
              </a:cxn>
              <a:cxn ang="0">
                <a:pos x="connsiteX13276" y="connsiteY13276"/>
              </a:cxn>
              <a:cxn ang="0">
                <a:pos x="connsiteX13277" y="connsiteY13277"/>
              </a:cxn>
              <a:cxn ang="0">
                <a:pos x="connsiteX13278" y="connsiteY13278"/>
              </a:cxn>
              <a:cxn ang="0">
                <a:pos x="connsiteX13279" y="connsiteY13279"/>
              </a:cxn>
              <a:cxn ang="0">
                <a:pos x="connsiteX13280" y="connsiteY13280"/>
              </a:cxn>
              <a:cxn ang="0">
                <a:pos x="connsiteX13281" y="connsiteY13281"/>
              </a:cxn>
              <a:cxn ang="0">
                <a:pos x="connsiteX13282" y="connsiteY13282"/>
              </a:cxn>
              <a:cxn ang="0">
                <a:pos x="connsiteX13283" y="connsiteY13283"/>
              </a:cxn>
              <a:cxn ang="0">
                <a:pos x="connsiteX13284" y="connsiteY13284"/>
              </a:cxn>
              <a:cxn ang="0">
                <a:pos x="connsiteX13285" y="connsiteY13285"/>
              </a:cxn>
              <a:cxn ang="0">
                <a:pos x="connsiteX13286" y="connsiteY13286"/>
              </a:cxn>
              <a:cxn ang="0">
                <a:pos x="connsiteX13287" y="connsiteY13287"/>
              </a:cxn>
              <a:cxn ang="0">
                <a:pos x="connsiteX13288" y="connsiteY13288"/>
              </a:cxn>
              <a:cxn ang="0">
                <a:pos x="connsiteX13289" y="connsiteY13289"/>
              </a:cxn>
              <a:cxn ang="0">
                <a:pos x="connsiteX13290" y="connsiteY13290"/>
              </a:cxn>
              <a:cxn ang="0">
                <a:pos x="connsiteX13291" y="connsiteY13291"/>
              </a:cxn>
              <a:cxn ang="0">
                <a:pos x="connsiteX13292" y="connsiteY13292"/>
              </a:cxn>
              <a:cxn ang="0">
                <a:pos x="connsiteX13293" y="connsiteY13293"/>
              </a:cxn>
              <a:cxn ang="0">
                <a:pos x="connsiteX13294" y="connsiteY13294"/>
              </a:cxn>
              <a:cxn ang="0">
                <a:pos x="connsiteX13295" y="connsiteY13295"/>
              </a:cxn>
              <a:cxn ang="0">
                <a:pos x="connsiteX13296" y="connsiteY13296"/>
              </a:cxn>
              <a:cxn ang="0">
                <a:pos x="connsiteX13297" y="connsiteY13297"/>
              </a:cxn>
              <a:cxn ang="0">
                <a:pos x="connsiteX13298" y="connsiteY13298"/>
              </a:cxn>
              <a:cxn ang="0">
                <a:pos x="connsiteX13299" y="connsiteY13299"/>
              </a:cxn>
              <a:cxn ang="0">
                <a:pos x="connsiteX13300" y="connsiteY13300"/>
              </a:cxn>
              <a:cxn ang="0">
                <a:pos x="connsiteX13301" y="connsiteY13301"/>
              </a:cxn>
              <a:cxn ang="0">
                <a:pos x="connsiteX13302" y="connsiteY13302"/>
              </a:cxn>
              <a:cxn ang="0">
                <a:pos x="connsiteX13303" y="connsiteY13303"/>
              </a:cxn>
              <a:cxn ang="0">
                <a:pos x="connsiteX13304" y="connsiteY13304"/>
              </a:cxn>
              <a:cxn ang="0">
                <a:pos x="connsiteX13305" y="connsiteY13305"/>
              </a:cxn>
              <a:cxn ang="0">
                <a:pos x="connsiteX13306" y="connsiteY13306"/>
              </a:cxn>
              <a:cxn ang="0">
                <a:pos x="connsiteX13307" y="connsiteY13307"/>
              </a:cxn>
              <a:cxn ang="0">
                <a:pos x="connsiteX13308" y="connsiteY13308"/>
              </a:cxn>
              <a:cxn ang="0">
                <a:pos x="connsiteX13309" y="connsiteY13309"/>
              </a:cxn>
              <a:cxn ang="0">
                <a:pos x="connsiteX13310" y="connsiteY13310"/>
              </a:cxn>
              <a:cxn ang="0">
                <a:pos x="connsiteX13311" y="connsiteY13311"/>
              </a:cxn>
              <a:cxn ang="0">
                <a:pos x="connsiteX13312" y="connsiteY13312"/>
              </a:cxn>
              <a:cxn ang="0">
                <a:pos x="connsiteX13313" y="connsiteY13313"/>
              </a:cxn>
              <a:cxn ang="0">
                <a:pos x="connsiteX13314" y="connsiteY13314"/>
              </a:cxn>
              <a:cxn ang="0">
                <a:pos x="connsiteX13315" y="connsiteY13315"/>
              </a:cxn>
              <a:cxn ang="0">
                <a:pos x="connsiteX13316" y="connsiteY13316"/>
              </a:cxn>
              <a:cxn ang="0">
                <a:pos x="connsiteX13317" y="connsiteY13317"/>
              </a:cxn>
              <a:cxn ang="0">
                <a:pos x="connsiteX13318" y="connsiteY13318"/>
              </a:cxn>
              <a:cxn ang="0">
                <a:pos x="connsiteX13319" y="connsiteY13319"/>
              </a:cxn>
              <a:cxn ang="0">
                <a:pos x="connsiteX13320" y="connsiteY13320"/>
              </a:cxn>
              <a:cxn ang="0">
                <a:pos x="connsiteX13321" y="connsiteY13321"/>
              </a:cxn>
              <a:cxn ang="0">
                <a:pos x="connsiteX13322" y="connsiteY13322"/>
              </a:cxn>
              <a:cxn ang="0">
                <a:pos x="connsiteX13323" y="connsiteY13323"/>
              </a:cxn>
              <a:cxn ang="0">
                <a:pos x="connsiteX13324" y="connsiteY13324"/>
              </a:cxn>
              <a:cxn ang="0">
                <a:pos x="connsiteX13325" y="connsiteY13325"/>
              </a:cxn>
              <a:cxn ang="0">
                <a:pos x="connsiteX13326" y="connsiteY13326"/>
              </a:cxn>
              <a:cxn ang="0">
                <a:pos x="connsiteX13327" y="connsiteY13327"/>
              </a:cxn>
              <a:cxn ang="0">
                <a:pos x="connsiteX13328" y="connsiteY13328"/>
              </a:cxn>
              <a:cxn ang="0">
                <a:pos x="connsiteX13329" y="connsiteY13329"/>
              </a:cxn>
              <a:cxn ang="0">
                <a:pos x="connsiteX13330" y="connsiteY13330"/>
              </a:cxn>
              <a:cxn ang="0">
                <a:pos x="connsiteX13331" y="connsiteY13331"/>
              </a:cxn>
              <a:cxn ang="0">
                <a:pos x="connsiteX13332" y="connsiteY13332"/>
              </a:cxn>
              <a:cxn ang="0">
                <a:pos x="connsiteX13333" y="connsiteY13333"/>
              </a:cxn>
              <a:cxn ang="0">
                <a:pos x="connsiteX13334" y="connsiteY13334"/>
              </a:cxn>
              <a:cxn ang="0">
                <a:pos x="connsiteX13335" y="connsiteY13335"/>
              </a:cxn>
              <a:cxn ang="0">
                <a:pos x="connsiteX13336" y="connsiteY13336"/>
              </a:cxn>
              <a:cxn ang="0">
                <a:pos x="connsiteX13337" y="connsiteY13337"/>
              </a:cxn>
              <a:cxn ang="0">
                <a:pos x="connsiteX13338" y="connsiteY13338"/>
              </a:cxn>
              <a:cxn ang="0">
                <a:pos x="connsiteX13339" y="connsiteY13339"/>
              </a:cxn>
              <a:cxn ang="0">
                <a:pos x="connsiteX13340" y="connsiteY13340"/>
              </a:cxn>
              <a:cxn ang="0">
                <a:pos x="connsiteX13341" y="connsiteY13341"/>
              </a:cxn>
              <a:cxn ang="0">
                <a:pos x="connsiteX13342" y="connsiteY13342"/>
              </a:cxn>
              <a:cxn ang="0">
                <a:pos x="connsiteX13343" y="connsiteY13343"/>
              </a:cxn>
              <a:cxn ang="0">
                <a:pos x="connsiteX13344" y="connsiteY13344"/>
              </a:cxn>
              <a:cxn ang="0">
                <a:pos x="connsiteX13345" y="connsiteY13345"/>
              </a:cxn>
              <a:cxn ang="0">
                <a:pos x="connsiteX13346" y="connsiteY13346"/>
              </a:cxn>
              <a:cxn ang="0">
                <a:pos x="connsiteX13347" y="connsiteY13347"/>
              </a:cxn>
              <a:cxn ang="0">
                <a:pos x="connsiteX13348" y="connsiteY13348"/>
              </a:cxn>
              <a:cxn ang="0">
                <a:pos x="connsiteX13349" y="connsiteY13349"/>
              </a:cxn>
              <a:cxn ang="0">
                <a:pos x="connsiteX13350" y="connsiteY13350"/>
              </a:cxn>
              <a:cxn ang="0">
                <a:pos x="connsiteX13351" y="connsiteY13351"/>
              </a:cxn>
              <a:cxn ang="0">
                <a:pos x="connsiteX13352" y="connsiteY13352"/>
              </a:cxn>
              <a:cxn ang="0">
                <a:pos x="connsiteX13353" y="connsiteY13353"/>
              </a:cxn>
              <a:cxn ang="0">
                <a:pos x="connsiteX13354" y="connsiteY13354"/>
              </a:cxn>
              <a:cxn ang="0">
                <a:pos x="connsiteX13355" y="connsiteY13355"/>
              </a:cxn>
              <a:cxn ang="0">
                <a:pos x="connsiteX13356" y="connsiteY13356"/>
              </a:cxn>
              <a:cxn ang="0">
                <a:pos x="connsiteX13357" y="connsiteY13357"/>
              </a:cxn>
              <a:cxn ang="0">
                <a:pos x="connsiteX13358" y="connsiteY13358"/>
              </a:cxn>
              <a:cxn ang="0">
                <a:pos x="connsiteX13359" y="connsiteY13359"/>
              </a:cxn>
              <a:cxn ang="0">
                <a:pos x="connsiteX13360" y="connsiteY13360"/>
              </a:cxn>
              <a:cxn ang="0">
                <a:pos x="connsiteX13361" y="connsiteY13361"/>
              </a:cxn>
              <a:cxn ang="0">
                <a:pos x="connsiteX13362" y="connsiteY13362"/>
              </a:cxn>
              <a:cxn ang="0">
                <a:pos x="connsiteX13363" y="connsiteY13363"/>
              </a:cxn>
              <a:cxn ang="0">
                <a:pos x="connsiteX13364" y="connsiteY13364"/>
              </a:cxn>
              <a:cxn ang="0">
                <a:pos x="connsiteX13365" y="connsiteY13365"/>
              </a:cxn>
              <a:cxn ang="0">
                <a:pos x="connsiteX13366" y="connsiteY13366"/>
              </a:cxn>
              <a:cxn ang="0">
                <a:pos x="connsiteX13367" y="connsiteY13367"/>
              </a:cxn>
              <a:cxn ang="0">
                <a:pos x="connsiteX13368" y="connsiteY13368"/>
              </a:cxn>
              <a:cxn ang="0">
                <a:pos x="connsiteX13369" y="connsiteY13369"/>
              </a:cxn>
              <a:cxn ang="0">
                <a:pos x="connsiteX13370" y="connsiteY13370"/>
              </a:cxn>
              <a:cxn ang="0">
                <a:pos x="connsiteX13371" y="connsiteY13371"/>
              </a:cxn>
              <a:cxn ang="0">
                <a:pos x="connsiteX13372" y="connsiteY13372"/>
              </a:cxn>
              <a:cxn ang="0">
                <a:pos x="connsiteX13373" y="connsiteY13373"/>
              </a:cxn>
              <a:cxn ang="0">
                <a:pos x="connsiteX13374" y="connsiteY13374"/>
              </a:cxn>
              <a:cxn ang="0">
                <a:pos x="connsiteX13375" y="connsiteY13375"/>
              </a:cxn>
              <a:cxn ang="0">
                <a:pos x="connsiteX13376" y="connsiteY13376"/>
              </a:cxn>
              <a:cxn ang="0">
                <a:pos x="connsiteX13377" y="connsiteY13377"/>
              </a:cxn>
              <a:cxn ang="0">
                <a:pos x="connsiteX13378" y="connsiteY13378"/>
              </a:cxn>
              <a:cxn ang="0">
                <a:pos x="connsiteX13379" y="connsiteY13379"/>
              </a:cxn>
              <a:cxn ang="0">
                <a:pos x="connsiteX13380" y="connsiteY13380"/>
              </a:cxn>
              <a:cxn ang="0">
                <a:pos x="connsiteX13381" y="connsiteY13381"/>
              </a:cxn>
              <a:cxn ang="0">
                <a:pos x="connsiteX13382" y="connsiteY13382"/>
              </a:cxn>
              <a:cxn ang="0">
                <a:pos x="connsiteX13383" y="connsiteY13383"/>
              </a:cxn>
              <a:cxn ang="0">
                <a:pos x="connsiteX13384" y="connsiteY13384"/>
              </a:cxn>
              <a:cxn ang="0">
                <a:pos x="connsiteX13385" y="connsiteY13385"/>
              </a:cxn>
              <a:cxn ang="0">
                <a:pos x="connsiteX13386" y="connsiteY13386"/>
              </a:cxn>
              <a:cxn ang="0">
                <a:pos x="connsiteX13387" y="connsiteY13387"/>
              </a:cxn>
              <a:cxn ang="0">
                <a:pos x="connsiteX13388" y="connsiteY13388"/>
              </a:cxn>
              <a:cxn ang="0">
                <a:pos x="connsiteX13389" y="connsiteY13389"/>
              </a:cxn>
              <a:cxn ang="0">
                <a:pos x="connsiteX13390" y="connsiteY13390"/>
              </a:cxn>
              <a:cxn ang="0">
                <a:pos x="connsiteX13391" y="connsiteY13391"/>
              </a:cxn>
              <a:cxn ang="0">
                <a:pos x="connsiteX13392" y="connsiteY13392"/>
              </a:cxn>
              <a:cxn ang="0">
                <a:pos x="connsiteX13393" y="connsiteY13393"/>
              </a:cxn>
              <a:cxn ang="0">
                <a:pos x="connsiteX13394" y="connsiteY13394"/>
              </a:cxn>
              <a:cxn ang="0">
                <a:pos x="connsiteX13395" y="connsiteY13395"/>
              </a:cxn>
              <a:cxn ang="0">
                <a:pos x="connsiteX13396" y="connsiteY13396"/>
              </a:cxn>
              <a:cxn ang="0">
                <a:pos x="connsiteX13397" y="connsiteY13397"/>
              </a:cxn>
              <a:cxn ang="0">
                <a:pos x="connsiteX13398" y="connsiteY13398"/>
              </a:cxn>
              <a:cxn ang="0">
                <a:pos x="connsiteX13399" y="connsiteY13399"/>
              </a:cxn>
              <a:cxn ang="0">
                <a:pos x="connsiteX13400" y="connsiteY13400"/>
              </a:cxn>
              <a:cxn ang="0">
                <a:pos x="connsiteX13401" y="connsiteY13401"/>
              </a:cxn>
              <a:cxn ang="0">
                <a:pos x="connsiteX13402" y="connsiteY13402"/>
              </a:cxn>
              <a:cxn ang="0">
                <a:pos x="connsiteX13403" y="connsiteY13403"/>
              </a:cxn>
              <a:cxn ang="0">
                <a:pos x="connsiteX13404" y="connsiteY13404"/>
              </a:cxn>
              <a:cxn ang="0">
                <a:pos x="connsiteX13405" y="connsiteY13405"/>
              </a:cxn>
              <a:cxn ang="0">
                <a:pos x="connsiteX13406" y="connsiteY13406"/>
              </a:cxn>
              <a:cxn ang="0">
                <a:pos x="connsiteX13407" y="connsiteY13407"/>
              </a:cxn>
              <a:cxn ang="0">
                <a:pos x="connsiteX13408" y="connsiteY13408"/>
              </a:cxn>
              <a:cxn ang="0">
                <a:pos x="connsiteX13409" y="connsiteY13409"/>
              </a:cxn>
              <a:cxn ang="0">
                <a:pos x="connsiteX13410" y="connsiteY13410"/>
              </a:cxn>
              <a:cxn ang="0">
                <a:pos x="connsiteX13411" y="connsiteY13411"/>
              </a:cxn>
              <a:cxn ang="0">
                <a:pos x="connsiteX13412" y="connsiteY13412"/>
              </a:cxn>
              <a:cxn ang="0">
                <a:pos x="connsiteX13413" y="connsiteY13413"/>
              </a:cxn>
              <a:cxn ang="0">
                <a:pos x="connsiteX13414" y="connsiteY13414"/>
              </a:cxn>
              <a:cxn ang="0">
                <a:pos x="connsiteX13415" y="connsiteY13415"/>
              </a:cxn>
              <a:cxn ang="0">
                <a:pos x="connsiteX13416" y="connsiteY13416"/>
              </a:cxn>
              <a:cxn ang="0">
                <a:pos x="connsiteX13417" y="connsiteY13417"/>
              </a:cxn>
              <a:cxn ang="0">
                <a:pos x="connsiteX13418" y="connsiteY13418"/>
              </a:cxn>
              <a:cxn ang="0">
                <a:pos x="connsiteX13419" y="connsiteY13419"/>
              </a:cxn>
              <a:cxn ang="0">
                <a:pos x="connsiteX13420" y="connsiteY13420"/>
              </a:cxn>
              <a:cxn ang="0">
                <a:pos x="connsiteX13421" y="connsiteY13421"/>
              </a:cxn>
              <a:cxn ang="0">
                <a:pos x="connsiteX13422" y="connsiteY13422"/>
              </a:cxn>
              <a:cxn ang="0">
                <a:pos x="connsiteX13423" y="connsiteY13423"/>
              </a:cxn>
              <a:cxn ang="0">
                <a:pos x="connsiteX13424" y="connsiteY13424"/>
              </a:cxn>
              <a:cxn ang="0">
                <a:pos x="connsiteX13425" y="connsiteY13425"/>
              </a:cxn>
              <a:cxn ang="0">
                <a:pos x="connsiteX13426" y="connsiteY13426"/>
              </a:cxn>
              <a:cxn ang="0">
                <a:pos x="connsiteX13427" y="connsiteY13427"/>
              </a:cxn>
              <a:cxn ang="0">
                <a:pos x="connsiteX13428" y="connsiteY13428"/>
              </a:cxn>
              <a:cxn ang="0">
                <a:pos x="connsiteX13429" y="connsiteY13429"/>
              </a:cxn>
              <a:cxn ang="0">
                <a:pos x="connsiteX13430" y="connsiteY13430"/>
              </a:cxn>
              <a:cxn ang="0">
                <a:pos x="connsiteX13431" y="connsiteY13431"/>
              </a:cxn>
              <a:cxn ang="0">
                <a:pos x="connsiteX13432" y="connsiteY13432"/>
              </a:cxn>
              <a:cxn ang="0">
                <a:pos x="connsiteX13433" y="connsiteY13433"/>
              </a:cxn>
              <a:cxn ang="0">
                <a:pos x="connsiteX13434" y="connsiteY13434"/>
              </a:cxn>
              <a:cxn ang="0">
                <a:pos x="connsiteX13435" y="connsiteY13435"/>
              </a:cxn>
              <a:cxn ang="0">
                <a:pos x="connsiteX13436" y="connsiteY13436"/>
              </a:cxn>
              <a:cxn ang="0">
                <a:pos x="connsiteX13437" y="connsiteY13437"/>
              </a:cxn>
              <a:cxn ang="0">
                <a:pos x="connsiteX13438" y="connsiteY13438"/>
              </a:cxn>
              <a:cxn ang="0">
                <a:pos x="connsiteX13439" y="connsiteY13439"/>
              </a:cxn>
              <a:cxn ang="0">
                <a:pos x="connsiteX13440" y="connsiteY13440"/>
              </a:cxn>
              <a:cxn ang="0">
                <a:pos x="connsiteX13441" y="connsiteY13441"/>
              </a:cxn>
              <a:cxn ang="0">
                <a:pos x="connsiteX13442" y="connsiteY13442"/>
              </a:cxn>
              <a:cxn ang="0">
                <a:pos x="connsiteX13443" y="connsiteY13443"/>
              </a:cxn>
              <a:cxn ang="0">
                <a:pos x="connsiteX13444" y="connsiteY13444"/>
              </a:cxn>
              <a:cxn ang="0">
                <a:pos x="connsiteX13445" y="connsiteY13445"/>
              </a:cxn>
              <a:cxn ang="0">
                <a:pos x="connsiteX13446" y="connsiteY13446"/>
              </a:cxn>
              <a:cxn ang="0">
                <a:pos x="connsiteX13447" y="connsiteY13447"/>
              </a:cxn>
              <a:cxn ang="0">
                <a:pos x="connsiteX13448" y="connsiteY13448"/>
              </a:cxn>
              <a:cxn ang="0">
                <a:pos x="connsiteX13449" y="connsiteY13449"/>
              </a:cxn>
              <a:cxn ang="0">
                <a:pos x="connsiteX13450" y="connsiteY13450"/>
              </a:cxn>
              <a:cxn ang="0">
                <a:pos x="connsiteX13451" y="connsiteY13451"/>
              </a:cxn>
              <a:cxn ang="0">
                <a:pos x="connsiteX13452" y="connsiteY13452"/>
              </a:cxn>
              <a:cxn ang="0">
                <a:pos x="connsiteX13453" y="connsiteY13453"/>
              </a:cxn>
              <a:cxn ang="0">
                <a:pos x="connsiteX13454" y="connsiteY13454"/>
              </a:cxn>
              <a:cxn ang="0">
                <a:pos x="connsiteX13455" y="connsiteY13455"/>
              </a:cxn>
              <a:cxn ang="0">
                <a:pos x="connsiteX13456" y="connsiteY13456"/>
              </a:cxn>
              <a:cxn ang="0">
                <a:pos x="connsiteX13457" y="connsiteY13457"/>
              </a:cxn>
              <a:cxn ang="0">
                <a:pos x="connsiteX13458" y="connsiteY13458"/>
              </a:cxn>
              <a:cxn ang="0">
                <a:pos x="connsiteX13459" y="connsiteY13459"/>
              </a:cxn>
              <a:cxn ang="0">
                <a:pos x="connsiteX13460" y="connsiteY13460"/>
              </a:cxn>
              <a:cxn ang="0">
                <a:pos x="connsiteX13461" y="connsiteY13461"/>
              </a:cxn>
              <a:cxn ang="0">
                <a:pos x="connsiteX13462" y="connsiteY13462"/>
              </a:cxn>
              <a:cxn ang="0">
                <a:pos x="connsiteX13463" y="connsiteY13463"/>
              </a:cxn>
              <a:cxn ang="0">
                <a:pos x="connsiteX13464" y="connsiteY13464"/>
              </a:cxn>
              <a:cxn ang="0">
                <a:pos x="connsiteX13465" y="connsiteY13465"/>
              </a:cxn>
              <a:cxn ang="0">
                <a:pos x="connsiteX13466" y="connsiteY13466"/>
              </a:cxn>
              <a:cxn ang="0">
                <a:pos x="connsiteX13467" y="connsiteY13467"/>
              </a:cxn>
              <a:cxn ang="0">
                <a:pos x="connsiteX13468" y="connsiteY13468"/>
              </a:cxn>
              <a:cxn ang="0">
                <a:pos x="connsiteX13469" y="connsiteY13469"/>
              </a:cxn>
              <a:cxn ang="0">
                <a:pos x="connsiteX13470" y="connsiteY13470"/>
              </a:cxn>
              <a:cxn ang="0">
                <a:pos x="connsiteX13471" y="connsiteY13471"/>
              </a:cxn>
              <a:cxn ang="0">
                <a:pos x="connsiteX13472" y="connsiteY13472"/>
              </a:cxn>
              <a:cxn ang="0">
                <a:pos x="connsiteX13473" y="connsiteY13473"/>
              </a:cxn>
              <a:cxn ang="0">
                <a:pos x="connsiteX13474" y="connsiteY13474"/>
              </a:cxn>
              <a:cxn ang="0">
                <a:pos x="connsiteX13475" y="connsiteY13475"/>
              </a:cxn>
              <a:cxn ang="0">
                <a:pos x="connsiteX13476" y="connsiteY13476"/>
              </a:cxn>
              <a:cxn ang="0">
                <a:pos x="connsiteX13477" y="connsiteY13477"/>
              </a:cxn>
              <a:cxn ang="0">
                <a:pos x="connsiteX13478" y="connsiteY13478"/>
              </a:cxn>
              <a:cxn ang="0">
                <a:pos x="connsiteX13479" y="connsiteY13479"/>
              </a:cxn>
              <a:cxn ang="0">
                <a:pos x="connsiteX13480" y="connsiteY13480"/>
              </a:cxn>
              <a:cxn ang="0">
                <a:pos x="connsiteX13481" y="connsiteY13481"/>
              </a:cxn>
              <a:cxn ang="0">
                <a:pos x="connsiteX13482" y="connsiteY13482"/>
              </a:cxn>
              <a:cxn ang="0">
                <a:pos x="connsiteX13483" y="connsiteY13483"/>
              </a:cxn>
              <a:cxn ang="0">
                <a:pos x="connsiteX13484" y="connsiteY13484"/>
              </a:cxn>
              <a:cxn ang="0">
                <a:pos x="connsiteX13485" y="connsiteY13485"/>
              </a:cxn>
              <a:cxn ang="0">
                <a:pos x="connsiteX13486" y="connsiteY13486"/>
              </a:cxn>
              <a:cxn ang="0">
                <a:pos x="connsiteX13487" y="connsiteY13487"/>
              </a:cxn>
              <a:cxn ang="0">
                <a:pos x="connsiteX13488" y="connsiteY13488"/>
              </a:cxn>
              <a:cxn ang="0">
                <a:pos x="connsiteX13489" y="connsiteY13489"/>
              </a:cxn>
              <a:cxn ang="0">
                <a:pos x="connsiteX13490" y="connsiteY13490"/>
              </a:cxn>
              <a:cxn ang="0">
                <a:pos x="connsiteX13491" y="connsiteY13491"/>
              </a:cxn>
              <a:cxn ang="0">
                <a:pos x="connsiteX13492" y="connsiteY13492"/>
              </a:cxn>
              <a:cxn ang="0">
                <a:pos x="connsiteX13493" y="connsiteY13493"/>
              </a:cxn>
              <a:cxn ang="0">
                <a:pos x="connsiteX13494" y="connsiteY13494"/>
              </a:cxn>
              <a:cxn ang="0">
                <a:pos x="connsiteX13495" y="connsiteY13495"/>
              </a:cxn>
              <a:cxn ang="0">
                <a:pos x="connsiteX13496" y="connsiteY13496"/>
              </a:cxn>
              <a:cxn ang="0">
                <a:pos x="connsiteX13497" y="connsiteY13497"/>
              </a:cxn>
              <a:cxn ang="0">
                <a:pos x="connsiteX13498" y="connsiteY13498"/>
              </a:cxn>
              <a:cxn ang="0">
                <a:pos x="connsiteX13499" y="connsiteY13499"/>
              </a:cxn>
              <a:cxn ang="0">
                <a:pos x="connsiteX13500" y="connsiteY13500"/>
              </a:cxn>
              <a:cxn ang="0">
                <a:pos x="connsiteX13501" y="connsiteY13501"/>
              </a:cxn>
              <a:cxn ang="0">
                <a:pos x="connsiteX13502" y="connsiteY13502"/>
              </a:cxn>
              <a:cxn ang="0">
                <a:pos x="connsiteX13503" y="connsiteY13503"/>
              </a:cxn>
              <a:cxn ang="0">
                <a:pos x="connsiteX13504" y="connsiteY13504"/>
              </a:cxn>
              <a:cxn ang="0">
                <a:pos x="connsiteX13505" y="connsiteY13505"/>
              </a:cxn>
              <a:cxn ang="0">
                <a:pos x="connsiteX13506" y="connsiteY13506"/>
              </a:cxn>
              <a:cxn ang="0">
                <a:pos x="connsiteX13507" y="connsiteY13507"/>
              </a:cxn>
              <a:cxn ang="0">
                <a:pos x="connsiteX13508" y="connsiteY13508"/>
              </a:cxn>
              <a:cxn ang="0">
                <a:pos x="connsiteX13509" y="connsiteY13509"/>
              </a:cxn>
              <a:cxn ang="0">
                <a:pos x="connsiteX13510" y="connsiteY13510"/>
              </a:cxn>
              <a:cxn ang="0">
                <a:pos x="connsiteX13511" y="connsiteY13511"/>
              </a:cxn>
              <a:cxn ang="0">
                <a:pos x="connsiteX13512" y="connsiteY13512"/>
              </a:cxn>
              <a:cxn ang="0">
                <a:pos x="connsiteX13513" y="connsiteY13513"/>
              </a:cxn>
              <a:cxn ang="0">
                <a:pos x="connsiteX13514" y="connsiteY13514"/>
              </a:cxn>
              <a:cxn ang="0">
                <a:pos x="connsiteX13515" y="connsiteY13515"/>
              </a:cxn>
              <a:cxn ang="0">
                <a:pos x="connsiteX13516" y="connsiteY13516"/>
              </a:cxn>
              <a:cxn ang="0">
                <a:pos x="connsiteX13517" y="connsiteY13517"/>
              </a:cxn>
              <a:cxn ang="0">
                <a:pos x="connsiteX13518" y="connsiteY13518"/>
              </a:cxn>
              <a:cxn ang="0">
                <a:pos x="connsiteX13519" y="connsiteY13519"/>
              </a:cxn>
              <a:cxn ang="0">
                <a:pos x="connsiteX13520" y="connsiteY13520"/>
              </a:cxn>
              <a:cxn ang="0">
                <a:pos x="connsiteX13521" y="connsiteY13521"/>
              </a:cxn>
              <a:cxn ang="0">
                <a:pos x="connsiteX13522" y="connsiteY13522"/>
              </a:cxn>
              <a:cxn ang="0">
                <a:pos x="connsiteX13523" y="connsiteY13523"/>
              </a:cxn>
              <a:cxn ang="0">
                <a:pos x="connsiteX13524" y="connsiteY13524"/>
              </a:cxn>
              <a:cxn ang="0">
                <a:pos x="connsiteX13525" y="connsiteY13525"/>
              </a:cxn>
              <a:cxn ang="0">
                <a:pos x="connsiteX13526" y="connsiteY13526"/>
              </a:cxn>
              <a:cxn ang="0">
                <a:pos x="connsiteX13527" y="connsiteY13527"/>
              </a:cxn>
              <a:cxn ang="0">
                <a:pos x="connsiteX13528" y="connsiteY13528"/>
              </a:cxn>
              <a:cxn ang="0">
                <a:pos x="connsiteX13529" y="connsiteY13529"/>
              </a:cxn>
              <a:cxn ang="0">
                <a:pos x="connsiteX13530" y="connsiteY13530"/>
              </a:cxn>
              <a:cxn ang="0">
                <a:pos x="connsiteX13531" y="connsiteY13531"/>
              </a:cxn>
              <a:cxn ang="0">
                <a:pos x="connsiteX13532" y="connsiteY13532"/>
              </a:cxn>
              <a:cxn ang="0">
                <a:pos x="connsiteX13533" y="connsiteY13533"/>
              </a:cxn>
              <a:cxn ang="0">
                <a:pos x="connsiteX13534" y="connsiteY13534"/>
              </a:cxn>
              <a:cxn ang="0">
                <a:pos x="connsiteX13535" y="connsiteY13535"/>
              </a:cxn>
              <a:cxn ang="0">
                <a:pos x="connsiteX13536" y="connsiteY13536"/>
              </a:cxn>
              <a:cxn ang="0">
                <a:pos x="connsiteX13537" y="connsiteY13537"/>
              </a:cxn>
              <a:cxn ang="0">
                <a:pos x="connsiteX13538" y="connsiteY13538"/>
              </a:cxn>
              <a:cxn ang="0">
                <a:pos x="connsiteX13539" y="connsiteY13539"/>
              </a:cxn>
              <a:cxn ang="0">
                <a:pos x="connsiteX13540" y="connsiteY13540"/>
              </a:cxn>
              <a:cxn ang="0">
                <a:pos x="connsiteX13541" y="connsiteY13541"/>
              </a:cxn>
              <a:cxn ang="0">
                <a:pos x="connsiteX13542" y="connsiteY13542"/>
              </a:cxn>
              <a:cxn ang="0">
                <a:pos x="connsiteX13543" y="connsiteY13543"/>
              </a:cxn>
              <a:cxn ang="0">
                <a:pos x="connsiteX13544" y="connsiteY13544"/>
              </a:cxn>
              <a:cxn ang="0">
                <a:pos x="connsiteX13545" y="connsiteY13545"/>
              </a:cxn>
              <a:cxn ang="0">
                <a:pos x="connsiteX13546" y="connsiteY13546"/>
              </a:cxn>
              <a:cxn ang="0">
                <a:pos x="connsiteX13547" y="connsiteY13547"/>
              </a:cxn>
              <a:cxn ang="0">
                <a:pos x="connsiteX13548" y="connsiteY13548"/>
              </a:cxn>
              <a:cxn ang="0">
                <a:pos x="connsiteX13549" y="connsiteY13549"/>
              </a:cxn>
              <a:cxn ang="0">
                <a:pos x="connsiteX13550" y="connsiteY13550"/>
              </a:cxn>
              <a:cxn ang="0">
                <a:pos x="connsiteX13551" y="connsiteY13551"/>
              </a:cxn>
              <a:cxn ang="0">
                <a:pos x="connsiteX13552" y="connsiteY13552"/>
              </a:cxn>
              <a:cxn ang="0">
                <a:pos x="connsiteX13553" y="connsiteY13553"/>
              </a:cxn>
              <a:cxn ang="0">
                <a:pos x="connsiteX13554" y="connsiteY13554"/>
              </a:cxn>
              <a:cxn ang="0">
                <a:pos x="connsiteX13555" y="connsiteY13555"/>
              </a:cxn>
              <a:cxn ang="0">
                <a:pos x="connsiteX13556" y="connsiteY13556"/>
              </a:cxn>
              <a:cxn ang="0">
                <a:pos x="connsiteX13557" y="connsiteY13557"/>
              </a:cxn>
              <a:cxn ang="0">
                <a:pos x="connsiteX13558" y="connsiteY13558"/>
              </a:cxn>
              <a:cxn ang="0">
                <a:pos x="connsiteX13559" y="connsiteY13559"/>
              </a:cxn>
              <a:cxn ang="0">
                <a:pos x="connsiteX13560" y="connsiteY13560"/>
              </a:cxn>
              <a:cxn ang="0">
                <a:pos x="connsiteX13561" y="connsiteY13561"/>
              </a:cxn>
              <a:cxn ang="0">
                <a:pos x="connsiteX13562" y="connsiteY13562"/>
              </a:cxn>
              <a:cxn ang="0">
                <a:pos x="connsiteX13563" y="connsiteY13563"/>
              </a:cxn>
              <a:cxn ang="0">
                <a:pos x="connsiteX13564" y="connsiteY13564"/>
              </a:cxn>
              <a:cxn ang="0">
                <a:pos x="connsiteX13565" y="connsiteY13565"/>
              </a:cxn>
              <a:cxn ang="0">
                <a:pos x="connsiteX13566" y="connsiteY13566"/>
              </a:cxn>
              <a:cxn ang="0">
                <a:pos x="connsiteX13567" y="connsiteY13567"/>
              </a:cxn>
              <a:cxn ang="0">
                <a:pos x="connsiteX13568" y="connsiteY13568"/>
              </a:cxn>
              <a:cxn ang="0">
                <a:pos x="connsiteX13569" y="connsiteY13569"/>
              </a:cxn>
              <a:cxn ang="0">
                <a:pos x="connsiteX13570" y="connsiteY13570"/>
              </a:cxn>
              <a:cxn ang="0">
                <a:pos x="connsiteX13571" y="connsiteY13571"/>
              </a:cxn>
              <a:cxn ang="0">
                <a:pos x="connsiteX13572" y="connsiteY13572"/>
              </a:cxn>
              <a:cxn ang="0">
                <a:pos x="connsiteX13573" y="connsiteY13573"/>
              </a:cxn>
              <a:cxn ang="0">
                <a:pos x="connsiteX13574" y="connsiteY13574"/>
              </a:cxn>
              <a:cxn ang="0">
                <a:pos x="connsiteX13575" y="connsiteY13575"/>
              </a:cxn>
              <a:cxn ang="0">
                <a:pos x="connsiteX13576" y="connsiteY13576"/>
              </a:cxn>
              <a:cxn ang="0">
                <a:pos x="connsiteX13577" y="connsiteY13577"/>
              </a:cxn>
              <a:cxn ang="0">
                <a:pos x="connsiteX13578" y="connsiteY13578"/>
              </a:cxn>
              <a:cxn ang="0">
                <a:pos x="connsiteX13579" y="connsiteY13579"/>
              </a:cxn>
              <a:cxn ang="0">
                <a:pos x="connsiteX13580" y="connsiteY13580"/>
              </a:cxn>
              <a:cxn ang="0">
                <a:pos x="connsiteX13581" y="connsiteY13581"/>
              </a:cxn>
              <a:cxn ang="0">
                <a:pos x="connsiteX13582" y="connsiteY13582"/>
              </a:cxn>
              <a:cxn ang="0">
                <a:pos x="connsiteX13583" y="connsiteY13583"/>
              </a:cxn>
              <a:cxn ang="0">
                <a:pos x="connsiteX13584" y="connsiteY13584"/>
              </a:cxn>
              <a:cxn ang="0">
                <a:pos x="connsiteX13585" y="connsiteY13585"/>
              </a:cxn>
              <a:cxn ang="0">
                <a:pos x="connsiteX13586" y="connsiteY13586"/>
              </a:cxn>
              <a:cxn ang="0">
                <a:pos x="connsiteX13587" y="connsiteY13587"/>
              </a:cxn>
              <a:cxn ang="0">
                <a:pos x="connsiteX13588" y="connsiteY13588"/>
              </a:cxn>
              <a:cxn ang="0">
                <a:pos x="connsiteX13589" y="connsiteY13589"/>
              </a:cxn>
              <a:cxn ang="0">
                <a:pos x="connsiteX13590" y="connsiteY13590"/>
              </a:cxn>
              <a:cxn ang="0">
                <a:pos x="connsiteX13591" y="connsiteY13591"/>
              </a:cxn>
              <a:cxn ang="0">
                <a:pos x="connsiteX13592" y="connsiteY13592"/>
              </a:cxn>
              <a:cxn ang="0">
                <a:pos x="connsiteX13593" y="connsiteY13593"/>
              </a:cxn>
              <a:cxn ang="0">
                <a:pos x="connsiteX13594" y="connsiteY13594"/>
              </a:cxn>
              <a:cxn ang="0">
                <a:pos x="connsiteX13595" y="connsiteY13595"/>
              </a:cxn>
              <a:cxn ang="0">
                <a:pos x="connsiteX13596" y="connsiteY13596"/>
              </a:cxn>
              <a:cxn ang="0">
                <a:pos x="connsiteX13597" y="connsiteY13597"/>
              </a:cxn>
              <a:cxn ang="0">
                <a:pos x="connsiteX13598" y="connsiteY13598"/>
              </a:cxn>
              <a:cxn ang="0">
                <a:pos x="connsiteX13599" y="connsiteY13599"/>
              </a:cxn>
              <a:cxn ang="0">
                <a:pos x="connsiteX13600" y="connsiteY13600"/>
              </a:cxn>
              <a:cxn ang="0">
                <a:pos x="connsiteX13601" y="connsiteY13601"/>
              </a:cxn>
              <a:cxn ang="0">
                <a:pos x="connsiteX13602" y="connsiteY13602"/>
              </a:cxn>
              <a:cxn ang="0">
                <a:pos x="connsiteX13603" y="connsiteY13603"/>
              </a:cxn>
              <a:cxn ang="0">
                <a:pos x="connsiteX13604" y="connsiteY13604"/>
              </a:cxn>
              <a:cxn ang="0">
                <a:pos x="connsiteX13605" y="connsiteY13605"/>
              </a:cxn>
              <a:cxn ang="0">
                <a:pos x="connsiteX13606" y="connsiteY13606"/>
              </a:cxn>
              <a:cxn ang="0">
                <a:pos x="connsiteX13607" y="connsiteY13607"/>
              </a:cxn>
              <a:cxn ang="0">
                <a:pos x="connsiteX13608" y="connsiteY13608"/>
              </a:cxn>
              <a:cxn ang="0">
                <a:pos x="connsiteX13609" y="connsiteY13609"/>
              </a:cxn>
              <a:cxn ang="0">
                <a:pos x="connsiteX13610" y="connsiteY13610"/>
              </a:cxn>
              <a:cxn ang="0">
                <a:pos x="connsiteX13611" y="connsiteY13611"/>
              </a:cxn>
              <a:cxn ang="0">
                <a:pos x="connsiteX13612" y="connsiteY13612"/>
              </a:cxn>
              <a:cxn ang="0">
                <a:pos x="connsiteX13613" y="connsiteY13613"/>
              </a:cxn>
              <a:cxn ang="0">
                <a:pos x="connsiteX13614" y="connsiteY13614"/>
              </a:cxn>
              <a:cxn ang="0">
                <a:pos x="connsiteX13615" y="connsiteY13615"/>
              </a:cxn>
              <a:cxn ang="0">
                <a:pos x="connsiteX13616" y="connsiteY13616"/>
              </a:cxn>
              <a:cxn ang="0">
                <a:pos x="connsiteX13617" y="connsiteY13617"/>
              </a:cxn>
              <a:cxn ang="0">
                <a:pos x="connsiteX13618" y="connsiteY13618"/>
              </a:cxn>
              <a:cxn ang="0">
                <a:pos x="connsiteX13619" y="connsiteY13619"/>
              </a:cxn>
              <a:cxn ang="0">
                <a:pos x="connsiteX13620" y="connsiteY13620"/>
              </a:cxn>
              <a:cxn ang="0">
                <a:pos x="connsiteX13621" y="connsiteY13621"/>
              </a:cxn>
              <a:cxn ang="0">
                <a:pos x="connsiteX13622" y="connsiteY13622"/>
              </a:cxn>
              <a:cxn ang="0">
                <a:pos x="connsiteX13623" y="connsiteY13623"/>
              </a:cxn>
              <a:cxn ang="0">
                <a:pos x="connsiteX13624" y="connsiteY13624"/>
              </a:cxn>
              <a:cxn ang="0">
                <a:pos x="connsiteX13625" y="connsiteY13625"/>
              </a:cxn>
              <a:cxn ang="0">
                <a:pos x="connsiteX13626" y="connsiteY13626"/>
              </a:cxn>
              <a:cxn ang="0">
                <a:pos x="connsiteX13627" y="connsiteY13627"/>
              </a:cxn>
              <a:cxn ang="0">
                <a:pos x="connsiteX13628" y="connsiteY13628"/>
              </a:cxn>
              <a:cxn ang="0">
                <a:pos x="connsiteX13629" y="connsiteY13629"/>
              </a:cxn>
              <a:cxn ang="0">
                <a:pos x="connsiteX13630" y="connsiteY13630"/>
              </a:cxn>
              <a:cxn ang="0">
                <a:pos x="connsiteX13631" y="connsiteY13631"/>
              </a:cxn>
              <a:cxn ang="0">
                <a:pos x="connsiteX13632" y="connsiteY13632"/>
              </a:cxn>
              <a:cxn ang="0">
                <a:pos x="connsiteX13633" y="connsiteY13633"/>
              </a:cxn>
              <a:cxn ang="0">
                <a:pos x="connsiteX13634" y="connsiteY13634"/>
              </a:cxn>
              <a:cxn ang="0">
                <a:pos x="connsiteX13635" y="connsiteY13635"/>
              </a:cxn>
              <a:cxn ang="0">
                <a:pos x="connsiteX13636" y="connsiteY13636"/>
              </a:cxn>
              <a:cxn ang="0">
                <a:pos x="connsiteX13637" y="connsiteY13637"/>
              </a:cxn>
              <a:cxn ang="0">
                <a:pos x="connsiteX13638" y="connsiteY13638"/>
              </a:cxn>
              <a:cxn ang="0">
                <a:pos x="connsiteX13639" y="connsiteY13639"/>
              </a:cxn>
              <a:cxn ang="0">
                <a:pos x="connsiteX13640" y="connsiteY13640"/>
              </a:cxn>
              <a:cxn ang="0">
                <a:pos x="connsiteX13641" y="connsiteY13641"/>
              </a:cxn>
              <a:cxn ang="0">
                <a:pos x="connsiteX13642" y="connsiteY13642"/>
              </a:cxn>
              <a:cxn ang="0">
                <a:pos x="connsiteX13643" y="connsiteY13643"/>
              </a:cxn>
              <a:cxn ang="0">
                <a:pos x="connsiteX13644" y="connsiteY13644"/>
              </a:cxn>
              <a:cxn ang="0">
                <a:pos x="connsiteX13645" y="connsiteY13645"/>
              </a:cxn>
              <a:cxn ang="0">
                <a:pos x="connsiteX13646" y="connsiteY13646"/>
              </a:cxn>
              <a:cxn ang="0">
                <a:pos x="connsiteX13647" y="connsiteY13647"/>
              </a:cxn>
              <a:cxn ang="0">
                <a:pos x="connsiteX13648" y="connsiteY13648"/>
              </a:cxn>
              <a:cxn ang="0">
                <a:pos x="connsiteX13649" y="connsiteY13649"/>
              </a:cxn>
              <a:cxn ang="0">
                <a:pos x="connsiteX13650" y="connsiteY13650"/>
              </a:cxn>
              <a:cxn ang="0">
                <a:pos x="connsiteX13651" y="connsiteY13651"/>
              </a:cxn>
              <a:cxn ang="0">
                <a:pos x="connsiteX13652" y="connsiteY13652"/>
              </a:cxn>
              <a:cxn ang="0">
                <a:pos x="connsiteX13653" y="connsiteY13653"/>
              </a:cxn>
              <a:cxn ang="0">
                <a:pos x="connsiteX13654" y="connsiteY13654"/>
              </a:cxn>
              <a:cxn ang="0">
                <a:pos x="connsiteX13655" y="connsiteY13655"/>
              </a:cxn>
              <a:cxn ang="0">
                <a:pos x="connsiteX13656" y="connsiteY13656"/>
              </a:cxn>
              <a:cxn ang="0">
                <a:pos x="connsiteX13657" y="connsiteY13657"/>
              </a:cxn>
              <a:cxn ang="0">
                <a:pos x="connsiteX13658" y="connsiteY13658"/>
              </a:cxn>
              <a:cxn ang="0">
                <a:pos x="connsiteX13659" y="connsiteY13659"/>
              </a:cxn>
              <a:cxn ang="0">
                <a:pos x="connsiteX13660" y="connsiteY13660"/>
              </a:cxn>
              <a:cxn ang="0">
                <a:pos x="connsiteX13661" y="connsiteY13661"/>
              </a:cxn>
              <a:cxn ang="0">
                <a:pos x="connsiteX13662" y="connsiteY13662"/>
              </a:cxn>
              <a:cxn ang="0">
                <a:pos x="connsiteX13663" y="connsiteY13663"/>
              </a:cxn>
              <a:cxn ang="0">
                <a:pos x="connsiteX13664" y="connsiteY13664"/>
              </a:cxn>
              <a:cxn ang="0">
                <a:pos x="connsiteX13665" y="connsiteY13665"/>
              </a:cxn>
              <a:cxn ang="0">
                <a:pos x="connsiteX13666" y="connsiteY13666"/>
              </a:cxn>
              <a:cxn ang="0">
                <a:pos x="connsiteX13667" y="connsiteY13667"/>
              </a:cxn>
              <a:cxn ang="0">
                <a:pos x="connsiteX13668" y="connsiteY13668"/>
              </a:cxn>
              <a:cxn ang="0">
                <a:pos x="connsiteX13669" y="connsiteY13669"/>
              </a:cxn>
              <a:cxn ang="0">
                <a:pos x="connsiteX13670" y="connsiteY13670"/>
              </a:cxn>
              <a:cxn ang="0">
                <a:pos x="connsiteX13671" y="connsiteY13671"/>
              </a:cxn>
              <a:cxn ang="0">
                <a:pos x="connsiteX13672" y="connsiteY13672"/>
              </a:cxn>
              <a:cxn ang="0">
                <a:pos x="connsiteX13673" y="connsiteY13673"/>
              </a:cxn>
              <a:cxn ang="0">
                <a:pos x="connsiteX13674" y="connsiteY13674"/>
              </a:cxn>
              <a:cxn ang="0">
                <a:pos x="connsiteX13675" y="connsiteY13675"/>
              </a:cxn>
              <a:cxn ang="0">
                <a:pos x="connsiteX13676" y="connsiteY13676"/>
              </a:cxn>
              <a:cxn ang="0">
                <a:pos x="connsiteX13677" y="connsiteY13677"/>
              </a:cxn>
              <a:cxn ang="0">
                <a:pos x="connsiteX13678" y="connsiteY13678"/>
              </a:cxn>
              <a:cxn ang="0">
                <a:pos x="connsiteX13679" y="connsiteY13679"/>
              </a:cxn>
              <a:cxn ang="0">
                <a:pos x="connsiteX13680" y="connsiteY13680"/>
              </a:cxn>
              <a:cxn ang="0">
                <a:pos x="connsiteX13681" y="connsiteY13681"/>
              </a:cxn>
              <a:cxn ang="0">
                <a:pos x="connsiteX13682" y="connsiteY13682"/>
              </a:cxn>
              <a:cxn ang="0">
                <a:pos x="connsiteX13683" y="connsiteY13683"/>
              </a:cxn>
              <a:cxn ang="0">
                <a:pos x="connsiteX13684" y="connsiteY13684"/>
              </a:cxn>
              <a:cxn ang="0">
                <a:pos x="connsiteX13685" y="connsiteY13685"/>
              </a:cxn>
              <a:cxn ang="0">
                <a:pos x="connsiteX13686" y="connsiteY13686"/>
              </a:cxn>
              <a:cxn ang="0">
                <a:pos x="connsiteX13687" y="connsiteY13687"/>
              </a:cxn>
              <a:cxn ang="0">
                <a:pos x="connsiteX13688" y="connsiteY13688"/>
              </a:cxn>
              <a:cxn ang="0">
                <a:pos x="connsiteX13689" y="connsiteY13689"/>
              </a:cxn>
              <a:cxn ang="0">
                <a:pos x="connsiteX13690" y="connsiteY13690"/>
              </a:cxn>
              <a:cxn ang="0">
                <a:pos x="connsiteX13691" y="connsiteY13691"/>
              </a:cxn>
              <a:cxn ang="0">
                <a:pos x="connsiteX13692" y="connsiteY13692"/>
              </a:cxn>
              <a:cxn ang="0">
                <a:pos x="connsiteX13693" y="connsiteY13693"/>
              </a:cxn>
              <a:cxn ang="0">
                <a:pos x="connsiteX13694" y="connsiteY13694"/>
              </a:cxn>
              <a:cxn ang="0">
                <a:pos x="connsiteX13695" y="connsiteY13695"/>
              </a:cxn>
              <a:cxn ang="0">
                <a:pos x="connsiteX13696" y="connsiteY13696"/>
              </a:cxn>
              <a:cxn ang="0">
                <a:pos x="connsiteX13697" y="connsiteY13697"/>
              </a:cxn>
              <a:cxn ang="0">
                <a:pos x="connsiteX13698" y="connsiteY13698"/>
              </a:cxn>
              <a:cxn ang="0">
                <a:pos x="connsiteX13699" y="connsiteY13699"/>
              </a:cxn>
              <a:cxn ang="0">
                <a:pos x="connsiteX13700" y="connsiteY13700"/>
              </a:cxn>
              <a:cxn ang="0">
                <a:pos x="connsiteX13701" y="connsiteY13701"/>
              </a:cxn>
              <a:cxn ang="0">
                <a:pos x="connsiteX13702" y="connsiteY13702"/>
              </a:cxn>
              <a:cxn ang="0">
                <a:pos x="connsiteX13703" y="connsiteY13703"/>
              </a:cxn>
              <a:cxn ang="0">
                <a:pos x="connsiteX13704" y="connsiteY13704"/>
              </a:cxn>
              <a:cxn ang="0">
                <a:pos x="connsiteX13705" y="connsiteY13705"/>
              </a:cxn>
              <a:cxn ang="0">
                <a:pos x="connsiteX13706" y="connsiteY13706"/>
              </a:cxn>
              <a:cxn ang="0">
                <a:pos x="connsiteX13707" y="connsiteY13707"/>
              </a:cxn>
              <a:cxn ang="0">
                <a:pos x="connsiteX13708" y="connsiteY13708"/>
              </a:cxn>
              <a:cxn ang="0">
                <a:pos x="connsiteX13709" y="connsiteY13709"/>
              </a:cxn>
              <a:cxn ang="0">
                <a:pos x="connsiteX13710" y="connsiteY13710"/>
              </a:cxn>
              <a:cxn ang="0">
                <a:pos x="connsiteX13711" y="connsiteY13711"/>
              </a:cxn>
              <a:cxn ang="0">
                <a:pos x="connsiteX13712" y="connsiteY13712"/>
              </a:cxn>
              <a:cxn ang="0">
                <a:pos x="connsiteX13713" y="connsiteY13713"/>
              </a:cxn>
              <a:cxn ang="0">
                <a:pos x="connsiteX13714" y="connsiteY13714"/>
              </a:cxn>
              <a:cxn ang="0">
                <a:pos x="connsiteX13715" y="connsiteY13715"/>
              </a:cxn>
              <a:cxn ang="0">
                <a:pos x="connsiteX13716" y="connsiteY13716"/>
              </a:cxn>
              <a:cxn ang="0">
                <a:pos x="connsiteX13717" y="connsiteY13717"/>
              </a:cxn>
              <a:cxn ang="0">
                <a:pos x="connsiteX13718" y="connsiteY13718"/>
              </a:cxn>
              <a:cxn ang="0">
                <a:pos x="connsiteX13719" y="connsiteY13719"/>
              </a:cxn>
              <a:cxn ang="0">
                <a:pos x="connsiteX13720" y="connsiteY13720"/>
              </a:cxn>
              <a:cxn ang="0">
                <a:pos x="connsiteX13721" y="connsiteY13721"/>
              </a:cxn>
              <a:cxn ang="0">
                <a:pos x="connsiteX13722" y="connsiteY13722"/>
              </a:cxn>
              <a:cxn ang="0">
                <a:pos x="connsiteX13723" y="connsiteY13723"/>
              </a:cxn>
              <a:cxn ang="0">
                <a:pos x="connsiteX13724" y="connsiteY13724"/>
              </a:cxn>
              <a:cxn ang="0">
                <a:pos x="connsiteX13725" y="connsiteY13725"/>
              </a:cxn>
              <a:cxn ang="0">
                <a:pos x="connsiteX13726" y="connsiteY13726"/>
              </a:cxn>
              <a:cxn ang="0">
                <a:pos x="connsiteX13727" y="connsiteY13727"/>
              </a:cxn>
              <a:cxn ang="0">
                <a:pos x="connsiteX13728" y="connsiteY13728"/>
              </a:cxn>
              <a:cxn ang="0">
                <a:pos x="connsiteX13729" y="connsiteY13729"/>
              </a:cxn>
              <a:cxn ang="0">
                <a:pos x="connsiteX13730" y="connsiteY13730"/>
              </a:cxn>
              <a:cxn ang="0">
                <a:pos x="connsiteX13731" y="connsiteY13731"/>
              </a:cxn>
              <a:cxn ang="0">
                <a:pos x="connsiteX13732" y="connsiteY13732"/>
              </a:cxn>
              <a:cxn ang="0">
                <a:pos x="connsiteX13733" y="connsiteY13733"/>
              </a:cxn>
              <a:cxn ang="0">
                <a:pos x="connsiteX13734" y="connsiteY13734"/>
              </a:cxn>
              <a:cxn ang="0">
                <a:pos x="connsiteX13735" y="connsiteY13735"/>
              </a:cxn>
              <a:cxn ang="0">
                <a:pos x="connsiteX13736" y="connsiteY13736"/>
              </a:cxn>
              <a:cxn ang="0">
                <a:pos x="connsiteX13737" y="connsiteY13737"/>
              </a:cxn>
              <a:cxn ang="0">
                <a:pos x="connsiteX13738" y="connsiteY13738"/>
              </a:cxn>
              <a:cxn ang="0">
                <a:pos x="connsiteX13739" y="connsiteY13739"/>
              </a:cxn>
              <a:cxn ang="0">
                <a:pos x="connsiteX13740" y="connsiteY13740"/>
              </a:cxn>
              <a:cxn ang="0">
                <a:pos x="connsiteX13741" y="connsiteY13741"/>
              </a:cxn>
              <a:cxn ang="0">
                <a:pos x="connsiteX13742" y="connsiteY13742"/>
              </a:cxn>
              <a:cxn ang="0">
                <a:pos x="connsiteX13743" y="connsiteY13743"/>
              </a:cxn>
              <a:cxn ang="0">
                <a:pos x="connsiteX13744" y="connsiteY13744"/>
              </a:cxn>
              <a:cxn ang="0">
                <a:pos x="connsiteX13745" y="connsiteY13745"/>
              </a:cxn>
              <a:cxn ang="0">
                <a:pos x="connsiteX13746" y="connsiteY13746"/>
              </a:cxn>
              <a:cxn ang="0">
                <a:pos x="connsiteX13747" y="connsiteY13747"/>
              </a:cxn>
              <a:cxn ang="0">
                <a:pos x="connsiteX13748" y="connsiteY13748"/>
              </a:cxn>
              <a:cxn ang="0">
                <a:pos x="connsiteX13749" y="connsiteY13749"/>
              </a:cxn>
              <a:cxn ang="0">
                <a:pos x="connsiteX13750" y="connsiteY13750"/>
              </a:cxn>
              <a:cxn ang="0">
                <a:pos x="connsiteX13751" y="connsiteY13751"/>
              </a:cxn>
              <a:cxn ang="0">
                <a:pos x="connsiteX13752" y="connsiteY13752"/>
              </a:cxn>
              <a:cxn ang="0">
                <a:pos x="connsiteX13753" y="connsiteY13753"/>
              </a:cxn>
              <a:cxn ang="0">
                <a:pos x="connsiteX13754" y="connsiteY13754"/>
              </a:cxn>
              <a:cxn ang="0">
                <a:pos x="connsiteX13755" y="connsiteY13755"/>
              </a:cxn>
              <a:cxn ang="0">
                <a:pos x="connsiteX13756" y="connsiteY13756"/>
              </a:cxn>
              <a:cxn ang="0">
                <a:pos x="connsiteX13757" y="connsiteY13757"/>
              </a:cxn>
              <a:cxn ang="0">
                <a:pos x="connsiteX13758" y="connsiteY13758"/>
              </a:cxn>
              <a:cxn ang="0">
                <a:pos x="connsiteX13759" y="connsiteY13759"/>
              </a:cxn>
              <a:cxn ang="0">
                <a:pos x="connsiteX13760" y="connsiteY13760"/>
              </a:cxn>
              <a:cxn ang="0">
                <a:pos x="connsiteX13761" y="connsiteY13761"/>
              </a:cxn>
              <a:cxn ang="0">
                <a:pos x="connsiteX13762" y="connsiteY13762"/>
              </a:cxn>
              <a:cxn ang="0">
                <a:pos x="connsiteX13763" y="connsiteY13763"/>
              </a:cxn>
              <a:cxn ang="0">
                <a:pos x="connsiteX13764" y="connsiteY13764"/>
              </a:cxn>
              <a:cxn ang="0">
                <a:pos x="connsiteX13765" y="connsiteY13765"/>
              </a:cxn>
              <a:cxn ang="0">
                <a:pos x="connsiteX13766" y="connsiteY13766"/>
              </a:cxn>
              <a:cxn ang="0">
                <a:pos x="connsiteX13767" y="connsiteY13767"/>
              </a:cxn>
              <a:cxn ang="0">
                <a:pos x="connsiteX13768" y="connsiteY13768"/>
              </a:cxn>
              <a:cxn ang="0">
                <a:pos x="connsiteX13769" y="connsiteY13769"/>
              </a:cxn>
              <a:cxn ang="0">
                <a:pos x="connsiteX13770" y="connsiteY13770"/>
              </a:cxn>
              <a:cxn ang="0">
                <a:pos x="connsiteX13771" y="connsiteY13771"/>
              </a:cxn>
              <a:cxn ang="0">
                <a:pos x="connsiteX13772" y="connsiteY13772"/>
              </a:cxn>
              <a:cxn ang="0">
                <a:pos x="connsiteX13773" y="connsiteY13773"/>
              </a:cxn>
              <a:cxn ang="0">
                <a:pos x="connsiteX13774" y="connsiteY13774"/>
              </a:cxn>
              <a:cxn ang="0">
                <a:pos x="connsiteX13775" y="connsiteY13775"/>
              </a:cxn>
              <a:cxn ang="0">
                <a:pos x="connsiteX13776" y="connsiteY13776"/>
              </a:cxn>
              <a:cxn ang="0">
                <a:pos x="connsiteX13777" y="connsiteY13777"/>
              </a:cxn>
              <a:cxn ang="0">
                <a:pos x="connsiteX13778" y="connsiteY13778"/>
              </a:cxn>
              <a:cxn ang="0">
                <a:pos x="connsiteX13779" y="connsiteY13779"/>
              </a:cxn>
              <a:cxn ang="0">
                <a:pos x="connsiteX13780" y="connsiteY13780"/>
              </a:cxn>
              <a:cxn ang="0">
                <a:pos x="connsiteX13781" y="connsiteY13781"/>
              </a:cxn>
              <a:cxn ang="0">
                <a:pos x="connsiteX13782" y="connsiteY13782"/>
              </a:cxn>
              <a:cxn ang="0">
                <a:pos x="connsiteX13783" y="connsiteY13783"/>
              </a:cxn>
              <a:cxn ang="0">
                <a:pos x="connsiteX13784" y="connsiteY13784"/>
              </a:cxn>
              <a:cxn ang="0">
                <a:pos x="connsiteX13785" y="connsiteY13785"/>
              </a:cxn>
              <a:cxn ang="0">
                <a:pos x="connsiteX13786" y="connsiteY13786"/>
              </a:cxn>
              <a:cxn ang="0">
                <a:pos x="connsiteX13787" y="connsiteY13787"/>
              </a:cxn>
              <a:cxn ang="0">
                <a:pos x="connsiteX13788" y="connsiteY13788"/>
              </a:cxn>
              <a:cxn ang="0">
                <a:pos x="connsiteX13789" y="connsiteY13789"/>
              </a:cxn>
              <a:cxn ang="0">
                <a:pos x="connsiteX13790" y="connsiteY13790"/>
              </a:cxn>
              <a:cxn ang="0">
                <a:pos x="connsiteX13791" y="connsiteY13791"/>
              </a:cxn>
              <a:cxn ang="0">
                <a:pos x="connsiteX13792" y="connsiteY13792"/>
              </a:cxn>
              <a:cxn ang="0">
                <a:pos x="connsiteX13793" y="connsiteY13793"/>
              </a:cxn>
              <a:cxn ang="0">
                <a:pos x="connsiteX13794" y="connsiteY13794"/>
              </a:cxn>
              <a:cxn ang="0">
                <a:pos x="connsiteX13795" y="connsiteY13795"/>
              </a:cxn>
              <a:cxn ang="0">
                <a:pos x="connsiteX13796" y="connsiteY13796"/>
              </a:cxn>
              <a:cxn ang="0">
                <a:pos x="connsiteX13797" y="connsiteY13797"/>
              </a:cxn>
              <a:cxn ang="0">
                <a:pos x="connsiteX13798" y="connsiteY13798"/>
              </a:cxn>
              <a:cxn ang="0">
                <a:pos x="connsiteX13799" y="connsiteY13799"/>
              </a:cxn>
              <a:cxn ang="0">
                <a:pos x="connsiteX13800" y="connsiteY13800"/>
              </a:cxn>
              <a:cxn ang="0">
                <a:pos x="connsiteX13801" y="connsiteY13801"/>
              </a:cxn>
              <a:cxn ang="0">
                <a:pos x="connsiteX13802" y="connsiteY13802"/>
              </a:cxn>
              <a:cxn ang="0">
                <a:pos x="connsiteX13803" y="connsiteY13803"/>
              </a:cxn>
              <a:cxn ang="0">
                <a:pos x="connsiteX13804" y="connsiteY13804"/>
              </a:cxn>
              <a:cxn ang="0">
                <a:pos x="connsiteX13805" y="connsiteY13805"/>
              </a:cxn>
              <a:cxn ang="0">
                <a:pos x="connsiteX13806" y="connsiteY13806"/>
              </a:cxn>
              <a:cxn ang="0">
                <a:pos x="connsiteX13807" y="connsiteY13807"/>
              </a:cxn>
              <a:cxn ang="0">
                <a:pos x="connsiteX13808" y="connsiteY13808"/>
              </a:cxn>
              <a:cxn ang="0">
                <a:pos x="connsiteX13809" y="connsiteY13809"/>
              </a:cxn>
              <a:cxn ang="0">
                <a:pos x="connsiteX13810" y="connsiteY13810"/>
              </a:cxn>
              <a:cxn ang="0">
                <a:pos x="connsiteX13811" y="connsiteY13811"/>
              </a:cxn>
              <a:cxn ang="0">
                <a:pos x="connsiteX13812" y="connsiteY13812"/>
              </a:cxn>
              <a:cxn ang="0">
                <a:pos x="connsiteX13813" y="connsiteY13813"/>
              </a:cxn>
              <a:cxn ang="0">
                <a:pos x="connsiteX13814" y="connsiteY13814"/>
              </a:cxn>
              <a:cxn ang="0">
                <a:pos x="connsiteX13815" y="connsiteY13815"/>
              </a:cxn>
              <a:cxn ang="0">
                <a:pos x="connsiteX13816" y="connsiteY13816"/>
              </a:cxn>
              <a:cxn ang="0">
                <a:pos x="connsiteX13817" y="connsiteY13817"/>
              </a:cxn>
              <a:cxn ang="0">
                <a:pos x="connsiteX13818" y="connsiteY13818"/>
              </a:cxn>
              <a:cxn ang="0">
                <a:pos x="connsiteX13819" y="connsiteY13819"/>
              </a:cxn>
              <a:cxn ang="0">
                <a:pos x="connsiteX13820" y="connsiteY13820"/>
              </a:cxn>
              <a:cxn ang="0">
                <a:pos x="connsiteX13821" y="connsiteY13821"/>
              </a:cxn>
              <a:cxn ang="0">
                <a:pos x="connsiteX13822" y="connsiteY13822"/>
              </a:cxn>
              <a:cxn ang="0">
                <a:pos x="connsiteX13823" y="connsiteY13823"/>
              </a:cxn>
              <a:cxn ang="0">
                <a:pos x="connsiteX13824" y="connsiteY13824"/>
              </a:cxn>
              <a:cxn ang="0">
                <a:pos x="connsiteX13825" y="connsiteY13825"/>
              </a:cxn>
              <a:cxn ang="0">
                <a:pos x="connsiteX13826" y="connsiteY13826"/>
              </a:cxn>
              <a:cxn ang="0">
                <a:pos x="connsiteX13827" y="connsiteY13827"/>
              </a:cxn>
              <a:cxn ang="0">
                <a:pos x="connsiteX13828" y="connsiteY13828"/>
              </a:cxn>
              <a:cxn ang="0">
                <a:pos x="connsiteX13829" y="connsiteY13829"/>
              </a:cxn>
              <a:cxn ang="0">
                <a:pos x="connsiteX13830" y="connsiteY13830"/>
              </a:cxn>
              <a:cxn ang="0">
                <a:pos x="connsiteX13831" y="connsiteY13831"/>
              </a:cxn>
              <a:cxn ang="0">
                <a:pos x="connsiteX13832" y="connsiteY13832"/>
              </a:cxn>
              <a:cxn ang="0">
                <a:pos x="connsiteX13833" y="connsiteY13833"/>
              </a:cxn>
              <a:cxn ang="0">
                <a:pos x="connsiteX13834" y="connsiteY13834"/>
              </a:cxn>
              <a:cxn ang="0">
                <a:pos x="connsiteX13835" y="connsiteY13835"/>
              </a:cxn>
              <a:cxn ang="0">
                <a:pos x="connsiteX13836" y="connsiteY13836"/>
              </a:cxn>
              <a:cxn ang="0">
                <a:pos x="connsiteX13837" y="connsiteY13837"/>
              </a:cxn>
              <a:cxn ang="0">
                <a:pos x="connsiteX13838" y="connsiteY13838"/>
              </a:cxn>
              <a:cxn ang="0">
                <a:pos x="connsiteX13839" y="connsiteY13839"/>
              </a:cxn>
              <a:cxn ang="0">
                <a:pos x="connsiteX13840" y="connsiteY13840"/>
              </a:cxn>
              <a:cxn ang="0">
                <a:pos x="connsiteX13841" y="connsiteY13841"/>
              </a:cxn>
              <a:cxn ang="0">
                <a:pos x="connsiteX13842" y="connsiteY13842"/>
              </a:cxn>
              <a:cxn ang="0">
                <a:pos x="connsiteX13843" y="connsiteY13843"/>
              </a:cxn>
              <a:cxn ang="0">
                <a:pos x="connsiteX13844" y="connsiteY13844"/>
              </a:cxn>
              <a:cxn ang="0">
                <a:pos x="connsiteX13845" y="connsiteY13845"/>
              </a:cxn>
              <a:cxn ang="0">
                <a:pos x="connsiteX13846" y="connsiteY13846"/>
              </a:cxn>
              <a:cxn ang="0">
                <a:pos x="connsiteX13847" y="connsiteY13847"/>
              </a:cxn>
              <a:cxn ang="0">
                <a:pos x="connsiteX13848" y="connsiteY13848"/>
              </a:cxn>
              <a:cxn ang="0">
                <a:pos x="connsiteX13849" y="connsiteY13849"/>
              </a:cxn>
              <a:cxn ang="0">
                <a:pos x="connsiteX13850" y="connsiteY13850"/>
              </a:cxn>
              <a:cxn ang="0">
                <a:pos x="connsiteX13851" y="connsiteY13851"/>
              </a:cxn>
              <a:cxn ang="0">
                <a:pos x="connsiteX13852" y="connsiteY13852"/>
              </a:cxn>
              <a:cxn ang="0">
                <a:pos x="connsiteX13853" y="connsiteY13853"/>
              </a:cxn>
              <a:cxn ang="0">
                <a:pos x="connsiteX13854" y="connsiteY13854"/>
              </a:cxn>
              <a:cxn ang="0">
                <a:pos x="connsiteX13855" y="connsiteY13855"/>
              </a:cxn>
              <a:cxn ang="0">
                <a:pos x="connsiteX13856" y="connsiteY13856"/>
              </a:cxn>
              <a:cxn ang="0">
                <a:pos x="connsiteX13857" y="connsiteY13857"/>
              </a:cxn>
              <a:cxn ang="0">
                <a:pos x="connsiteX13858" y="connsiteY13858"/>
              </a:cxn>
              <a:cxn ang="0">
                <a:pos x="connsiteX13859" y="connsiteY13859"/>
              </a:cxn>
              <a:cxn ang="0">
                <a:pos x="connsiteX13860" y="connsiteY13860"/>
              </a:cxn>
              <a:cxn ang="0">
                <a:pos x="connsiteX13861" y="connsiteY13861"/>
              </a:cxn>
              <a:cxn ang="0">
                <a:pos x="connsiteX13862" y="connsiteY13862"/>
              </a:cxn>
              <a:cxn ang="0">
                <a:pos x="connsiteX13863" y="connsiteY13863"/>
              </a:cxn>
              <a:cxn ang="0">
                <a:pos x="connsiteX13864" y="connsiteY13864"/>
              </a:cxn>
              <a:cxn ang="0">
                <a:pos x="connsiteX13865" y="connsiteY13865"/>
              </a:cxn>
              <a:cxn ang="0">
                <a:pos x="connsiteX13866" y="connsiteY13866"/>
              </a:cxn>
              <a:cxn ang="0">
                <a:pos x="connsiteX13867" y="connsiteY13867"/>
              </a:cxn>
              <a:cxn ang="0">
                <a:pos x="connsiteX13868" y="connsiteY13868"/>
              </a:cxn>
              <a:cxn ang="0">
                <a:pos x="connsiteX13869" y="connsiteY13869"/>
              </a:cxn>
              <a:cxn ang="0">
                <a:pos x="connsiteX13870" y="connsiteY13870"/>
              </a:cxn>
              <a:cxn ang="0">
                <a:pos x="connsiteX13871" y="connsiteY13871"/>
              </a:cxn>
              <a:cxn ang="0">
                <a:pos x="connsiteX13872" y="connsiteY13872"/>
              </a:cxn>
              <a:cxn ang="0">
                <a:pos x="connsiteX13873" y="connsiteY13873"/>
              </a:cxn>
              <a:cxn ang="0">
                <a:pos x="connsiteX13874" y="connsiteY13874"/>
              </a:cxn>
              <a:cxn ang="0">
                <a:pos x="connsiteX13875" y="connsiteY13875"/>
              </a:cxn>
              <a:cxn ang="0">
                <a:pos x="connsiteX13876" y="connsiteY13876"/>
              </a:cxn>
              <a:cxn ang="0">
                <a:pos x="connsiteX13877" y="connsiteY13877"/>
              </a:cxn>
              <a:cxn ang="0">
                <a:pos x="connsiteX13878" y="connsiteY13878"/>
              </a:cxn>
              <a:cxn ang="0">
                <a:pos x="connsiteX13879" y="connsiteY13879"/>
              </a:cxn>
              <a:cxn ang="0">
                <a:pos x="connsiteX13880" y="connsiteY13880"/>
              </a:cxn>
              <a:cxn ang="0">
                <a:pos x="connsiteX13881" y="connsiteY13881"/>
              </a:cxn>
              <a:cxn ang="0">
                <a:pos x="connsiteX13882" y="connsiteY13882"/>
              </a:cxn>
              <a:cxn ang="0">
                <a:pos x="connsiteX13883" y="connsiteY13883"/>
              </a:cxn>
              <a:cxn ang="0">
                <a:pos x="connsiteX13884" y="connsiteY13884"/>
              </a:cxn>
              <a:cxn ang="0">
                <a:pos x="connsiteX13885" y="connsiteY13885"/>
              </a:cxn>
              <a:cxn ang="0">
                <a:pos x="connsiteX13886" y="connsiteY13886"/>
              </a:cxn>
              <a:cxn ang="0">
                <a:pos x="connsiteX13887" y="connsiteY13887"/>
              </a:cxn>
              <a:cxn ang="0">
                <a:pos x="connsiteX13888" y="connsiteY13888"/>
              </a:cxn>
              <a:cxn ang="0">
                <a:pos x="connsiteX13889" y="connsiteY13889"/>
              </a:cxn>
              <a:cxn ang="0">
                <a:pos x="connsiteX13890" y="connsiteY13890"/>
              </a:cxn>
              <a:cxn ang="0">
                <a:pos x="connsiteX13891" y="connsiteY13891"/>
              </a:cxn>
              <a:cxn ang="0">
                <a:pos x="connsiteX13892" y="connsiteY13892"/>
              </a:cxn>
              <a:cxn ang="0">
                <a:pos x="connsiteX13893" y="connsiteY13893"/>
              </a:cxn>
              <a:cxn ang="0">
                <a:pos x="connsiteX13894" y="connsiteY13894"/>
              </a:cxn>
              <a:cxn ang="0">
                <a:pos x="connsiteX13895" y="connsiteY13895"/>
              </a:cxn>
              <a:cxn ang="0">
                <a:pos x="connsiteX13896" y="connsiteY13896"/>
              </a:cxn>
              <a:cxn ang="0">
                <a:pos x="connsiteX13897" y="connsiteY13897"/>
              </a:cxn>
              <a:cxn ang="0">
                <a:pos x="connsiteX13898" y="connsiteY13898"/>
              </a:cxn>
              <a:cxn ang="0">
                <a:pos x="connsiteX13899" y="connsiteY13899"/>
              </a:cxn>
              <a:cxn ang="0">
                <a:pos x="connsiteX13900" y="connsiteY13900"/>
              </a:cxn>
              <a:cxn ang="0">
                <a:pos x="connsiteX13901" y="connsiteY13901"/>
              </a:cxn>
              <a:cxn ang="0">
                <a:pos x="connsiteX13902" y="connsiteY13902"/>
              </a:cxn>
              <a:cxn ang="0">
                <a:pos x="connsiteX13903" y="connsiteY13903"/>
              </a:cxn>
              <a:cxn ang="0">
                <a:pos x="connsiteX13904" y="connsiteY13904"/>
              </a:cxn>
              <a:cxn ang="0">
                <a:pos x="connsiteX13905" y="connsiteY13905"/>
              </a:cxn>
              <a:cxn ang="0">
                <a:pos x="connsiteX13906" y="connsiteY13906"/>
              </a:cxn>
              <a:cxn ang="0">
                <a:pos x="connsiteX13907" y="connsiteY13907"/>
              </a:cxn>
              <a:cxn ang="0">
                <a:pos x="connsiteX13908" y="connsiteY13908"/>
              </a:cxn>
              <a:cxn ang="0">
                <a:pos x="connsiteX13909" y="connsiteY13909"/>
              </a:cxn>
              <a:cxn ang="0">
                <a:pos x="connsiteX13910" y="connsiteY13910"/>
              </a:cxn>
              <a:cxn ang="0">
                <a:pos x="connsiteX13911" y="connsiteY13911"/>
              </a:cxn>
              <a:cxn ang="0">
                <a:pos x="connsiteX13912" y="connsiteY13912"/>
              </a:cxn>
              <a:cxn ang="0">
                <a:pos x="connsiteX13913" y="connsiteY13913"/>
              </a:cxn>
              <a:cxn ang="0">
                <a:pos x="connsiteX13914" y="connsiteY13914"/>
              </a:cxn>
              <a:cxn ang="0">
                <a:pos x="connsiteX13915" y="connsiteY13915"/>
              </a:cxn>
              <a:cxn ang="0">
                <a:pos x="connsiteX13916" y="connsiteY13916"/>
              </a:cxn>
              <a:cxn ang="0">
                <a:pos x="connsiteX13917" y="connsiteY13917"/>
              </a:cxn>
              <a:cxn ang="0">
                <a:pos x="connsiteX13918" y="connsiteY13918"/>
              </a:cxn>
              <a:cxn ang="0">
                <a:pos x="connsiteX13919" y="connsiteY13919"/>
              </a:cxn>
              <a:cxn ang="0">
                <a:pos x="connsiteX13920" y="connsiteY13920"/>
              </a:cxn>
              <a:cxn ang="0">
                <a:pos x="connsiteX13921" y="connsiteY13921"/>
              </a:cxn>
              <a:cxn ang="0">
                <a:pos x="connsiteX13922" y="connsiteY13922"/>
              </a:cxn>
              <a:cxn ang="0">
                <a:pos x="connsiteX13923" y="connsiteY13923"/>
              </a:cxn>
              <a:cxn ang="0">
                <a:pos x="connsiteX13924" y="connsiteY13924"/>
              </a:cxn>
              <a:cxn ang="0">
                <a:pos x="connsiteX13925" y="connsiteY13925"/>
              </a:cxn>
              <a:cxn ang="0">
                <a:pos x="connsiteX13926" y="connsiteY13926"/>
              </a:cxn>
              <a:cxn ang="0">
                <a:pos x="connsiteX13927" y="connsiteY13927"/>
              </a:cxn>
              <a:cxn ang="0">
                <a:pos x="connsiteX13928" y="connsiteY13928"/>
              </a:cxn>
              <a:cxn ang="0">
                <a:pos x="connsiteX13929" y="connsiteY13929"/>
              </a:cxn>
              <a:cxn ang="0">
                <a:pos x="connsiteX13930" y="connsiteY13930"/>
              </a:cxn>
              <a:cxn ang="0">
                <a:pos x="connsiteX13931" y="connsiteY13931"/>
              </a:cxn>
              <a:cxn ang="0">
                <a:pos x="connsiteX13932" y="connsiteY13932"/>
              </a:cxn>
              <a:cxn ang="0">
                <a:pos x="connsiteX13933" y="connsiteY13933"/>
              </a:cxn>
              <a:cxn ang="0">
                <a:pos x="connsiteX13934" y="connsiteY13934"/>
              </a:cxn>
              <a:cxn ang="0">
                <a:pos x="connsiteX13935" y="connsiteY13935"/>
              </a:cxn>
              <a:cxn ang="0">
                <a:pos x="connsiteX13936" y="connsiteY13936"/>
              </a:cxn>
              <a:cxn ang="0">
                <a:pos x="connsiteX13937" y="connsiteY13937"/>
              </a:cxn>
              <a:cxn ang="0">
                <a:pos x="connsiteX13938" y="connsiteY13938"/>
              </a:cxn>
              <a:cxn ang="0">
                <a:pos x="connsiteX13939" y="connsiteY13939"/>
              </a:cxn>
              <a:cxn ang="0">
                <a:pos x="connsiteX13940" y="connsiteY13940"/>
              </a:cxn>
              <a:cxn ang="0">
                <a:pos x="connsiteX13941" y="connsiteY13941"/>
              </a:cxn>
              <a:cxn ang="0">
                <a:pos x="connsiteX13942" y="connsiteY13942"/>
              </a:cxn>
              <a:cxn ang="0">
                <a:pos x="connsiteX13943" y="connsiteY13943"/>
              </a:cxn>
              <a:cxn ang="0">
                <a:pos x="connsiteX13944" y="connsiteY13944"/>
              </a:cxn>
              <a:cxn ang="0">
                <a:pos x="connsiteX13945" y="connsiteY13945"/>
              </a:cxn>
              <a:cxn ang="0">
                <a:pos x="connsiteX13946" y="connsiteY13946"/>
              </a:cxn>
              <a:cxn ang="0">
                <a:pos x="connsiteX13947" y="connsiteY13947"/>
              </a:cxn>
              <a:cxn ang="0">
                <a:pos x="connsiteX13948" y="connsiteY13948"/>
              </a:cxn>
              <a:cxn ang="0">
                <a:pos x="connsiteX13949" y="connsiteY13949"/>
              </a:cxn>
              <a:cxn ang="0">
                <a:pos x="connsiteX13950" y="connsiteY13950"/>
              </a:cxn>
              <a:cxn ang="0">
                <a:pos x="connsiteX13951" y="connsiteY13951"/>
              </a:cxn>
              <a:cxn ang="0">
                <a:pos x="connsiteX13952" y="connsiteY13952"/>
              </a:cxn>
              <a:cxn ang="0">
                <a:pos x="connsiteX13953" y="connsiteY13953"/>
              </a:cxn>
              <a:cxn ang="0">
                <a:pos x="connsiteX13954" y="connsiteY13954"/>
              </a:cxn>
              <a:cxn ang="0">
                <a:pos x="connsiteX13955" y="connsiteY13955"/>
              </a:cxn>
              <a:cxn ang="0">
                <a:pos x="connsiteX13956" y="connsiteY13956"/>
              </a:cxn>
              <a:cxn ang="0">
                <a:pos x="connsiteX13957" y="connsiteY13957"/>
              </a:cxn>
              <a:cxn ang="0">
                <a:pos x="connsiteX13958" y="connsiteY13958"/>
              </a:cxn>
              <a:cxn ang="0">
                <a:pos x="connsiteX13959" y="connsiteY13959"/>
              </a:cxn>
              <a:cxn ang="0">
                <a:pos x="connsiteX13960" y="connsiteY13960"/>
              </a:cxn>
              <a:cxn ang="0">
                <a:pos x="connsiteX13961" y="connsiteY13961"/>
              </a:cxn>
              <a:cxn ang="0">
                <a:pos x="connsiteX13962" y="connsiteY13962"/>
              </a:cxn>
              <a:cxn ang="0">
                <a:pos x="connsiteX13963" y="connsiteY13963"/>
              </a:cxn>
              <a:cxn ang="0">
                <a:pos x="connsiteX13964" y="connsiteY13964"/>
              </a:cxn>
              <a:cxn ang="0">
                <a:pos x="connsiteX13965" y="connsiteY13965"/>
              </a:cxn>
              <a:cxn ang="0">
                <a:pos x="connsiteX13966" y="connsiteY13966"/>
              </a:cxn>
              <a:cxn ang="0">
                <a:pos x="connsiteX13967" y="connsiteY13967"/>
              </a:cxn>
              <a:cxn ang="0">
                <a:pos x="connsiteX13968" y="connsiteY13968"/>
              </a:cxn>
              <a:cxn ang="0">
                <a:pos x="connsiteX13969" y="connsiteY13969"/>
              </a:cxn>
              <a:cxn ang="0">
                <a:pos x="connsiteX13970" y="connsiteY13970"/>
              </a:cxn>
              <a:cxn ang="0">
                <a:pos x="connsiteX13971" y="connsiteY13971"/>
              </a:cxn>
              <a:cxn ang="0">
                <a:pos x="connsiteX13972" y="connsiteY13972"/>
              </a:cxn>
              <a:cxn ang="0">
                <a:pos x="connsiteX13973" y="connsiteY13973"/>
              </a:cxn>
              <a:cxn ang="0">
                <a:pos x="connsiteX13974" y="connsiteY13974"/>
              </a:cxn>
              <a:cxn ang="0">
                <a:pos x="connsiteX13975" y="connsiteY13975"/>
              </a:cxn>
              <a:cxn ang="0">
                <a:pos x="connsiteX13976" y="connsiteY13976"/>
              </a:cxn>
              <a:cxn ang="0">
                <a:pos x="connsiteX13977" y="connsiteY13977"/>
              </a:cxn>
              <a:cxn ang="0">
                <a:pos x="connsiteX13978" y="connsiteY13978"/>
              </a:cxn>
              <a:cxn ang="0">
                <a:pos x="connsiteX13979" y="connsiteY13979"/>
              </a:cxn>
              <a:cxn ang="0">
                <a:pos x="connsiteX13980" y="connsiteY13980"/>
              </a:cxn>
              <a:cxn ang="0">
                <a:pos x="connsiteX13981" y="connsiteY13981"/>
              </a:cxn>
              <a:cxn ang="0">
                <a:pos x="connsiteX13982" y="connsiteY13982"/>
              </a:cxn>
              <a:cxn ang="0">
                <a:pos x="connsiteX13983" y="connsiteY13983"/>
              </a:cxn>
              <a:cxn ang="0">
                <a:pos x="connsiteX13984" y="connsiteY13984"/>
              </a:cxn>
              <a:cxn ang="0">
                <a:pos x="connsiteX13985" y="connsiteY13985"/>
              </a:cxn>
              <a:cxn ang="0">
                <a:pos x="connsiteX13986" y="connsiteY13986"/>
              </a:cxn>
              <a:cxn ang="0">
                <a:pos x="connsiteX13987" y="connsiteY13987"/>
              </a:cxn>
              <a:cxn ang="0">
                <a:pos x="connsiteX13988" y="connsiteY13988"/>
              </a:cxn>
              <a:cxn ang="0">
                <a:pos x="connsiteX13989" y="connsiteY13989"/>
              </a:cxn>
              <a:cxn ang="0">
                <a:pos x="connsiteX13990" y="connsiteY13990"/>
              </a:cxn>
              <a:cxn ang="0">
                <a:pos x="connsiteX13991" y="connsiteY13991"/>
              </a:cxn>
              <a:cxn ang="0">
                <a:pos x="connsiteX13992" y="connsiteY13992"/>
              </a:cxn>
              <a:cxn ang="0">
                <a:pos x="connsiteX13993" y="connsiteY13993"/>
              </a:cxn>
              <a:cxn ang="0">
                <a:pos x="connsiteX13994" y="connsiteY13994"/>
              </a:cxn>
              <a:cxn ang="0">
                <a:pos x="connsiteX13995" y="connsiteY13995"/>
              </a:cxn>
              <a:cxn ang="0">
                <a:pos x="connsiteX13996" y="connsiteY13996"/>
              </a:cxn>
              <a:cxn ang="0">
                <a:pos x="connsiteX13997" y="connsiteY13997"/>
              </a:cxn>
              <a:cxn ang="0">
                <a:pos x="connsiteX13998" y="connsiteY13998"/>
              </a:cxn>
              <a:cxn ang="0">
                <a:pos x="connsiteX13999" y="connsiteY13999"/>
              </a:cxn>
              <a:cxn ang="0">
                <a:pos x="connsiteX14000" y="connsiteY14000"/>
              </a:cxn>
              <a:cxn ang="0">
                <a:pos x="connsiteX14001" y="connsiteY14001"/>
              </a:cxn>
              <a:cxn ang="0">
                <a:pos x="connsiteX14002" y="connsiteY14002"/>
              </a:cxn>
              <a:cxn ang="0">
                <a:pos x="connsiteX14003" y="connsiteY14003"/>
              </a:cxn>
              <a:cxn ang="0">
                <a:pos x="connsiteX14004" y="connsiteY14004"/>
              </a:cxn>
              <a:cxn ang="0">
                <a:pos x="connsiteX14005" y="connsiteY14005"/>
              </a:cxn>
              <a:cxn ang="0">
                <a:pos x="connsiteX14006" y="connsiteY14006"/>
              </a:cxn>
              <a:cxn ang="0">
                <a:pos x="connsiteX14007" y="connsiteY14007"/>
              </a:cxn>
              <a:cxn ang="0">
                <a:pos x="connsiteX14008" y="connsiteY14008"/>
              </a:cxn>
              <a:cxn ang="0">
                <a:pos x="connsiteX14009" y="connsiteY14009"/>
              </a:cxn>
              <a:cxn ang="0">
                <a:pos x="connsiteX14010" y="connsiteY14010"/>
              </a:cxn>
              <a:cxn ang="0">
                <a:pos x="connsiteX14011" y="connsiteY14011"/>
              </a:cxn>
              <a:cxn ang="0">
                <a:pos x="connsiteX14012" y="connsiteY14012"/>
              </a:cxn>
              <a:cxn ang="0">
                <a:pos x="connsiteX14013" y="connsiteY14013"/>
              </a:cxn>
              <a:cxn ang="0">
                <a:pos x="connsiteX14014" y="connsiteY14014"/>
              </a:cxn>
              <a:cxn ang="0">
                <a:pos x="connsiteX14015" y="connsiteY14015"/>
              </a:cxn>
              <a:cxn ang="0">
                <a:pos x="connsiteX14016" y="connsiteY14016"/>
              </a:cxn>
              <a:cxn ang="0">
                <a:pos x="connsiteX14017" y="connsiteY14017"/>
              </a:cxn>
              <a:cxn ang="0">
                <a:pos x="connsiteX14018" y="connsiteY14018"/>
              </a:cxn>
              <a:cxn ang="0">
                <a:pos x="connsiteX14019" y="connsiteY14019"/>
              </a:cxn>
              <a:cxn ang="0">
                <a:pos x="connsiteX14020" y="connsiteY14020"/>
              </a:cxn>
              <a:cxn ang="0">
                <a:pos x="connsiteX14021" y="connsiteY14021"/>
              </a:cxn>
              <a:cxn ang="0">
                <a:pos x="connsiteX14022" y="connsiteY14022"/>
              </a:cxn>
              <a:cxn ang="0">
                <a:pos x="connsiteX14023" y="connsiteY14023"/>
              </a:cxn>
              <a:cxn ang="0">
                <a:pos x="connsiteX14024" y="connsiteY14024"/>
              </a:cxn>
              <a:cxn ang="0">
                <a:pos x="connsiteX14025" y="connsiteY14025"/>
              </a:cxn>
              <a:cxn ang="0">
                <a:pos x="connsiteX14026" y="connsiteY14026"/>
              </a:cxn>
              <a:cxn ang="0">
                <a:pos x="connsiteX14027" y="connsiteY14027"/>
              </a:cxn>
              <a:cxn ang="0">
                <a:pos x="connsiteX14028" y="connsiteY14028"/>
              </a:cxn>
              <a:cxn ang="0">
                <a:pos x="connsiteX14029" y="connsiteY14029"/>
              </a:cxn>
              <a:cxn ang="0">
                <a:pos x="connsiteX14030" y="connsiteY14030"/>
              </a:cxn>
              <a:cxn ang="0">
                <a:pos x="connsiteX14031" y="connsiteY14031"/>
              </a:cxn>
              <a:cxn ang="0">
                <a:pos x="connsiteX14032" y="connsiteY14032"/>
              </a:cxn>
              <a:cxn ang="0">
                <a:pos x="connsiteX14033" y="connsiteY14033"/>
              </a:cxn>
              <a:cxn ang="0">
                <a:pos x="connsiteX14034" y="connsiteY14034"/>
              </a:cxn>
              <a:cxn ang="0">
                <a:pos x="connsiteX14035" y="connsiteY14035"/>
              </a:cxn>
              <a:cxn ang="0">
                <a:pos x="connsiteX14036" y="connsiteY14036"/>
              </a:cxn>
              <a:cxn ang="0">
                <a:pos x="connsiteX14037" y="connsiteY14037"/>
              </a:cxn>
              <a:cxn ang="0">
                <a:pos x="connsiteX14038" y="connsiteY14038"/>
              </a:cxn>
              <a:cxn ang="0">
                <a:pos x="connsiteX14039" y="connsiteY14039"/>
              </a:cxn>
              <a:cxn ang="0">
                <a:pos x="connsiteX14040" y="connsiteY14040"/>
              </a:cxn>
              <a:cxn ang="0">
                <a:pos x="connsiteX14041" y="connsiteY14041"/>
              </a:cxn>
              <a:cxn ang="0">
                <a:pos x="connsiteX14042" y="connsiteY14042"/>
              </a:cxn>
              <a:cxn ang="0">
                <a:pos x="connsiteX14043" y="connsiteY14043"/>
              </a:cxn>
              <a:cxn ang="0">
                <a:pos x="connsiteX14044" y="connsiteY14044"/>
              </a:cxn>
              <a:cxn ang="0">
                <a:pos x="connsiteX14045" y="connsiteY14045"/>
              </a:cxn>
              <a:cxn ang="0">
                <a:pos x="connsiteX14046" y="connsiteY14046"/>
              </a:cxn>
              <a:cxn ang="0">
                <a:pos x="connsiteX14047" y="connsiteY14047"/>
              </a:cxn>
              <a:cxn ang="0">
                <a:pos x="connsiteX14048" y="connsiteY14048"/>
              </a:cxn>
              <a:cxn ang="0">
                <a:pos x="connsiteX14049" y="connsiteY14049"/>
              </a:cxn>
              <a:cxn ang="0">
                <a:pos x="connsiteX14050" y="connsiteY14050"/>
              </a:cxn>
              <a:cxn ang="0">
                <a:pos x="connsiteX14051" y="connsiteY14051"/>
              </a:cxn>
              <a:cxn ang="0">
                <a:pos x="connsiteX14052" y="connsiteY14052"/>
              </a:cxn>
              <a:cxn ang="0">
                <a:pos x="connsiteX14053" y="connsiteY14053"/>
              </a:cxn>
              <a:cxn ang="0">
                <a:pos x="connsiteX14054" y="connsiteY14054"/>
              </a:cxn>
              <a:cxn ang="0">
                <a:pos x="connsiteX14055" y="connsiteY14055"/>
              </a:cxn>
              <a:cxn ang="0">
                <a:pos x="connsiteX14056" y="connsiteY14056"/>
              </a:cxn>
              <a:cxn ang="0">
                <a:pos x="connsiteX14057" y="connsiteY14057"/>
              </a:cxn>
              <a:cxn ang="0">
                <a:pos x="connsiteX14058" y="connsiteY14058"/>
              </a:cxn>
              <a:cxn ang="0">
                <a:pos x="connsiteX14059" y="connsiteY14059"/>
              </a:cxn>
              <a:cxn ang="0">
                <a:pos x="connsiteX14060" y="connsiteY14060"/>
              </a:cxn>
              <a:cxn ang="0">
                <a:pos x="connsiteX14061" y="connsiteY14061"/>
              </a:cxn>
              <a:cxn ang="0">
                <a:pos x="connsiteX14062" y="connsiteY14062"/>
              </a:cxn>
              <a:cxn ang="0">
                <a:pos x="connsiteX14063" y="connsiteY14063"/>
              </a:cxn>
              <a:cxn ang="0">
                <a:pos x="connsiteX14064" y="connsiteY14064"/>
              </a:cxn>
              <a:cxn ang="0">
                <a:pos x="connsiteX14065" y="connsiteY14065"/>
              </a:cxn>
              <a:cxn ang="0">
                <a:pos x="connsiteX14066" y="connsiteY14066"/>
              </a:cxn>
              <a:cxn ang="0">
                <a:pos x="connsiteX14067" y="connsiteY14067"/>
              </a:cxn>
              <a:cxn ang="0">
                <a:pos x="connsiteX14068" y="connsiteY14068"/>
              </a:cxn>
              <a:cxn ang="0">
                <a:pos x="connsiteX14069" y="connsiteY14069"/>
              </a:cxn>
              <a:cxn ang="0">
                <a:pos x="connsiteX14070" y="connsiteY14070"/>
              </a:cxn>
              <a:cxn ang="0">
                <a:pos x="connsiteX14071" y="connsiteY14071"/>
              </a:cxn>
              <a:cxn ang="0">
                <a:pos x="connsiteX14072" y="connsiteY14072"/>
              </a:cxn>
              <a:cxn ang="0">
                <a:pos x="connsiteX14073" y="connsiteY14073"/>
              </a:cxn>
              <a:cxn ang="0">
                <a:pos x="connsiteX14074" y="connsiteY14074"/>
              </a:cxn>
              <a:cxn ang="0">
                <a:pos x="connsiteX14075" y="connsiteY14075"/>
              </a:cxn>
              <a:cxn ang="0">
                <a:pos x="connsiteX14076" y="connsiteY14076"/>
              </a:cxn>
              <a:cxn ang="0">
                <a:pos x="connsiteX14077" y="connsiteY14077"/>
              </a:cxn>
              <a:cxn ang="0">
                <a:pos x="connsiteX14078" y="connsiteY14078"/>
              </a:cxn>
              <a:cxn ang="0">
                <a:pos x="connsiteX14079" y="connsiteY14079"/>
              </a:cxn>
              <a:cxn ang="0">
                <a:pos x="connsiteX14080" y="connsiteY14080"/>
              </a:cxn>
              <a:cxn ang="0">
                <a:pos x="connsiteX14081" y="connsiteY14081"/>
              </a:cxn>
              <a:cxn ang="0">
                <a:pos x="connsiteX14082" y="connsiteY14082"/>
              </a:cxn>
              <a:cxn ang="0">
                <a:pos x="connsiteX14083" y="connsiteY14083"/>
              </a:cxn>
              <a:cxn ang="0">
                <a:pos x="connsiteX14084" y="connsiteY14084"/>
              </a:cxn>
              <a:cxn ang="0">
                <a:pos x="connsiteX14085" y="connsiteY14085"/>
              </a:cxn>
              <a:cxn ang="0">
                <a:pos x="connsiteX14086" y="connsiteY14086"/>
              </a:cxn>
              <a:cxn ang="0">
                <a:pos x="connsiteX14087" y="connsiteY14087"/>
              </a:cxn>
              <a:cxn ang="0">
                <a:pos x="connsiteX14088" y="connsiteY14088"/>
              </a:cxn>
              <a:cxn ang="0">
                <a:pos x="connsiteX14089" y="connsiteY14089"/>
              </a:cxn>
              <a:cxn ang="0">
                <a:pos x="connsiteX14090" y="connsiteY14090"/>
              </a:cxn>
              <a:cxn ang="0">
                <a:pos x="connsiteX14091" y="connsiteY14091"/>
              </a:cxn>
              <a:cxn ang="0">
                <a:pos x="connsiteX14092" y="connsiteY14092"/>
              </a:cxn>
              <a:cxn ang="0">
                <a:pos x="connsiteX14093" y="connsiteY14093"/>
              </a:cxn>
              <a:cxn ang="0">
                <a:pos x="connsiteX14094" y="connsiteY14094"/>
              </a:cxn>
              <a:cxn ang="0">
                <a:pos x="connsiteX14095" y="connsiteY14095"/>
              </a:cxn>
              <a:cxn ang="0">
                <a:pos x="connsiteX14096" y="connsiteY14096"/>
              </a:cxn>
              <a:cxn ang="0">
                <a:pos x="connsiteX14097" y="connsiteY14097"/>
              </a:cxn>
              <a:cxn ang="0">
                <a:pos x="connsiteX14098" y="connsiteY14098"/>
              </a:cxn>
              <a:cxn ang="0">
                <a:pos x="connsiteX14099" y="connsiteY14099"/>
              </a:cxn>
              <a:cxn ang="0">
                <a:pos x="connsiteX14100" y="connsiteY14100"/>
              </a:cxn>
              <a:cxn ang="0">
                <a:pos x="connsiteX14101" y="connsiteY14101"/>
              </a:cxn>
              <a:cxn ang="0">
                <a:pos x="connsiteX14102" y="connsiteY14102"/>
              </a:cxn>
              <a:cxn ang="0">
                <a:pos x="connsiteX14103" y="connsiteY14103"/>
              </a:cxn>
              <a:cxn ang="0">
                <a:pos x="connsiteX14104" y="connsiteY14104"/>
              </a:cxn>
              <a:cxn ang="0">
                <a:pos x="connsiteX14105" y="connsiteY14105"/>
              </a:cxn>
              <a:cxn ang="0">
                <a:pos x="connsiteX14106" y="connsiteY14106"/>
              </a:cxn>
              <a:cxn ang="0">
                <a:pos x="connsiteX14107" y="connsiteY14107"/>
              </a:cxn>
              <a:cxn ang="0">
                <a:pos x="connsiteX14108" y="connsiteY14108"/>
              </a:cxn>
              <a:cxn ang="0">
                <a:pos x="connsiteX14109" y="connsiteY14109"/>
              </a:cxn>
              <a:cxn ang="0">
                <a:pos x="connsiteX14110" y="connsiteY14110"/>
              </a:cxn>
              <a:cxn ang="0">
                <a:pos x="connsiteX14111" y="connsiteY14111"/>
              </a:cxn>
              <a:cxn ang="0">
                <a:pos x="connsiteX14112" y="connsiteY14112"/>
              </a:cxn>
              <a:cxn ang="0">
                <a:pos x="connsiteX14113" y="connsiteY14113"/>
              </a:cxn>
              <a:cxn ang="0">
                <a:pos x="connsiteX14114" y="connsiteY14114"/>
              </a:cxn>
              <a:cxn ang="0">
                <a:pos x="connsiteX14115" y="connsiteY14115"/>
              </a:cxn>
              <a:cxn ang="0">
                <a:pos x="connsiteX14116" y="connsiteY14116"/>
              </a:cxn>
              <a:cxn ang="0">
                <a:pos x="connsiteX14117" y="connsiteY14117"/>
              </a:cxn>
              <a:cxn ang="0">
                <a:pos x="connsiteX14118" y="connsiteY14118"/>
              </a:cxn>
              <a:cxn ang="0">
                <a:pos x="connsiteX14119" y="connsiteY14119"/>
              </a:cxn>
              <a:cxn ang="0">
                <a:pos x="connsiteX14120" y="connsiteY14120"/>
              </a:cxn>
              <a:cxn ang="0">
                <a:pos x="connsiteX14121" y="connsiteY14121"/>
              </a:cxn>
              <a:cxn ang="0">
                <a:pos x="connsiteX14122" y="connsiteY14122"/>
              </a:cxn>
              <a:cxn ang="0">
                <a:pos x="connsiteX14123" y="connsiteY14123"/>
              </a:cxn>
              <a:cxn ang="0">
                <a:pos x="connsiteX14124" y="connsiteY14124"/>
              </a:cxn>
              <a:cxn ang="0">
                <a:pos x="connsiteX14125" y="connsiteY14125"/>
              </a:cxn>
              <a:cxn ang="0">
                <a:pos x="connsiteX14126" y="connsiteY14126"/>
              </a:cxn>
              <a:cxn ang="0">
                <a:pos x="connsiteX14127" y="connsiteY14127"/>
              </a:cxn>
              <a:cxn ang="0">
                <a:pos x="connsiteX14128" y="connsiteY14128"/>
              </a:cxn>
              <a:cxn ang="0">
                <a:pos x="connsiteX14129" y="connsiteY14129"/>
              </a:cxn>
              <a:cxn ang="0">
                <a:pos x="connsiteX14130" y="connsiteY14130"/>
              </a:cxn>
              <a:cxn ang="0">
                <a:pos x="connsiteX14131" y="connsiteY14131"/>
              </a:cxn>
              <a:cxn ang="0">
                <a:pos x="connsiteX14132" y="connsiteY14132"/>
              </a:cxn>
              <a:cxn ang="0">
                <a:pos x="connsiteX14133" y="connsiteY14133"/>
              </a:cxn>
              <a:cxn ang="0">
                <a:pos x="connsiteX14134" y="connsiteY14134"/>
              </a:cxn>
              <a:cxn ang="0">
                <a:pos x="connsiteX14135" y="connsiteY14135"/>
              </a:cxn>
              <a:cxn ang="0">
                <a:pos x="connsiteX14136" y="connsiteY14136"/>
              </a:cxn>
              <a:cxn ang="0">
                <a:pos x="connsiteX14137" y="connsiteY14137"/>
              </a:cxn>
              <a:cxn ang="0">
                <a:pos x="connsiteX14138" y="connsiteY14138"/>
              </a:cxn>
              <a:cxn ang="0">
                <a:pos x="connsiteX14139" y="connsiteY14139"/>
              </a:cxn>
              <a:cxn ang="0">
                <a:pos x="connsiteX14140" y="connsiteY14140"/>
              </a:cxn>
              <a:cxn ang="0">
                <a:pos x="connsiteX14141" y="connsiteY14141"/>
              </a:cxn>
              <a:cxn ang="0">
                <a:pos x="connsiteX14142" y="connsiteY14142"/>
              </a:cxn>
              <a:cxn ang="0">
                <a:pos x="connsiteX14143" y="connsiteY14143"/>
              </a:cxn>
              <a:cxn ang="0">
                <a:pos x="connsiteX14144" y="connsiteY14144"/>
              </a:cxn>
              <a:cxn ang="0">
                <a:pos x="connsiteX14145" y="connsiteY14145"/>
              </a:cxn>
              <a:cxn ang="0">
                <a:pos x="connsiteX14146" y="connsiteY14146"/>
              </a:cxn>
              <a:cxn ang="0">
                <a:pos x="connsiteX14147" y="connsiteY14147"/>
              </a:cxn>
              <a:cxn ang="0">
                <a:pos x="connsiteX14148" y="connsiteY14148"/>
              </a:cxn>
              <a:cxn ang="0">
                <a:pos x="connsiteX14149" y="connsiteY14149"/>
              </a:cxn>
              <a:cxn ang="0">
                <a:pos x="connsiteX14150" y="connsiteY14150"/>
              </a:cxn>
              <a:cxn ang="0">
                <a:pos x="connsiteX14151" y="connsiteY14151"/>
              </a:cxn>
              <a:cxn ang="0">
                <a:pos x="connsiteX14152" y="connsiteY14152"/>
              </a:cxn>
              <a:cxn ang="0">
                <a:pos x="connsiteX14153" y="connsiteY14153"/>
              </a:cxn>
              <a:cxn ang="0">
                <a:pos x="connsiteX14154" y="connsiteY14154"/>
              </a:cxn>
              <a:cxn ang="0">
                <a:pos x="connsiteX14155" y="connsiteY14155"/>
              </a:cxn>
              <a:cxn ang="0">
                <a:pos x="connsiteX14156" y="connsiteY14156"/>
              </a:cxn>
              <a:cxn ang="0">
                <a:pos x="connsiteX14157" y="connsiteY14157"/>
              </a:cxn>
              <a:cxn ang="0">
                <a:pos x="connsiteX14158" y="connsiteY14158"/>
              </a:cxn>
              <a:cxn ang="0">
                <a:pos x="connsiteX14159" y="connsiteY14159"/>
              </a:cxn>
              <a:cxn ang="0">
                <a:pos x="connsiteX14160" y="connsiteY14160"/>
              </a:cxn>
              <a:cxn ang="0">
                <a:pos x="connsiteX14161" y="connsiteY14161"/>
              </a:cxn>
              <a:cxn ang="0">
                <a:pos x="connsiteX14162" y="connsiteY14162"/>
              </a:cxn>
              <a:cxn ang="0">
                <a:pos x="connsiteX14163" y="connsiteY14163"/>
              </a:cxn>
              <a:cxn ang="0">
                <a:pos x="connsiteX14164" y="connsiteY14164"/>
              </a:cxn>
              <a:cxn ang="0">
                <a:pos x="connsiteX14165" y="connsiteY14165"/>
              </a:cxn>
              <a:cxn ang="0">
                <a:pos x="connsiteX14166" y="connsiteY14166"/>
              </a:cxn>
              <a:cxn ang="0">
                <a:pos x="connsiteX14167" y="connsiteY14167"/>
              </a:cxn>
              <a:cxn ang="0">
                <a:pos x="connsiteX14168" y="connsiteY14168"/>
              </a:cxn>
              <a:cxn ang="0">
                <a:pos x="connsiteX14169" y="connsiteY14169"/>
              </a:cxn>
              <a:cxn ang="0">
                <a:pos x="connsiteX14170" y="connsiteY14170"/>
              </a:cxn>
              <a:cxn ang="0">
                <a:pos x="connsiteX14171" y="connsiteY14171"/>
              </a:cxn>
              <a:cxn ang="0">
                <a:pos x="connsiteX14172" y="connsiteY14172"/>
              </a:cxn>
              <a:cxn ang="0">
                <a:pos x="connsiteX14173" y="connsiteY14173"/>
              </a:cxn>
              <a:cxn ang="0">
                <a:pos x="connsiteX14174" y="connsiteY14174"/>
              </a:cxn>
              <a:cxn ang="0">
                <a:pos x="connsiteX14175" y="connsiteY14175"/>
              </a:cxn>
              <a:cxn ang="0">
                <a:pos x="connsiteX14176" y="connsiteY14176"/>
              </a:cxn>
              <a:cxn ang="0">
                <a:pos x="connsiteX14177" y="connsiteY14177"/>
              </a:cxn>
              <a:cxn ang="0">
                <a:pos x="connsiteX14178" y="connsiteY14178"/>
              </a:cxn>
              <a:cxn ang="0">
                <a:pos x="connsiteX14179" y="connsiteY14179"/>
              </a:cxn>
              <a:cxn ang="0">
                <a:pos x="connsiteX14180" y="connsiteY14180"/>
              </a:cxn>
              <a:cxn ang="0">
                <a:pos x="connsiteX14181" y="connsiteY14181"/>
              </a:cxn>
              <a:cxn ang="0">
                <a:pos x="connsiteX14182" y="connsiteY14182"/>
              </a:cxn>
              <a:cxn ang="0">
                <a:pos x="connsiteX14183" y="connsiteY14183"/>
              </a:cxn>
              <a:cxn ang="0">
                <a:pos x="connsiteX14184" y="connsiteY14184"/>
              </a:cxn>
              <a:cxn ang="0">
                <a:pos x="connsiteX14185" y="connsiteY14185"/>
              </a:cxn>
              <a:cxn ang="0">
                <a:pos x="connsiteX14186" y="connsiteY14186"/>
              </a:cxn>
              <a:cxn ang="0">
                <a:pos x="connsiteX14187" y="connsiteY14187"/>
              </a:cxn>
              <a:cxn ang="0">
                <a:pos x="connsiteX14188" y="connsiteY14188"/>
              </a:cxn>
              <a:cxn ang="0">
                <a:pos x="connsiteX14189" y="connsiteY14189"/>
              </a:cxn>
              <a:cxn ang="0">
                <a:pos x="connsiteX14190" y="connsiteY14190"/>
              </a:cxn>
              <a:cxn ang="0">
                <a:pos x="connsiteX14191" y="connsiteY14191"/>
              </a:cxn>
              <a:cxn ang="0">
                <a:pos x="connsiteX14192" y="connsiteY14192"/>
              </a:cxn>
              <a:cxn ang="0">
                <a:pos x="connsiteX14193" y="connsiteY14193"/>
              </a:cxn>
              <a:cxn ang="0">
                <a:pos x="connsiteX14194" y="connsiteY14194"/>
              </a:cxn>
              <a:cxn ang="0">
                <a:pos x="connsiteX14195" y="connsiteY14195"/>
              </a:cxn>
              <a:cxn ang="0">
                <a:pos x="connsiteX14196" y="connsiteY14196"/>
              </a:cxn>
              <a:cxn ang="0">
                <a:pos x="connsiteX14197" y="connsiteY14197"/>
              </a:cxn>
              <a:cxn ang="0">
                <a:pos x="connsiteX14198" y="connsiteY14198"/>
              </a:cxn>
              <a:cxn ang="0">
                <a:pos x="connsiteX14199" y="connsiteY14199"/>
              </a:cxn>
              <a:cxn ang="0">
                <a:pos x="connsiteX14200" y="connsiteY14200"/>
              </a:cxn>
              <a:cxn ang="0">
                <a:pos x="connsiteX14201" y="connsiteY14201"/>
              </a:cxn>
              <a:cxn ang="0">
                <a:pos x="connsiteX14202" y="connsiteY14202"/>
              </a:cxn>
              <a:cxn ang="0">
                <a:pos x="connsiteX14203" y="connsiteY14203"/>
              </a:cxn>
              <a:cxn ang="0">
                <a:pos x="connsiteX14204" y="connsiteY14204"/>
              </a:cxn>
              <a:cxn ang="0">
                <a:pos x="connsiteX14205" y="connsiteY14205"/>
              </a:cxn>
              <a:cxn ang="0">
                <a:pos x="connsiteX14206" y="connsiteY14206"/>
              </a:cxn>
              <a:cxn ang="0">
                <a:pos x="connsiteX14207" y="connsiteY14207"/>
              </a:cxn>
              <a:cxn ang="0">
                <a:pos x="connsiteX14208" y="connsiteY14208"/>
              </a:cxn>
              <a:cxn ang="0">
                <a:pos x="connsiteX14209" y="connsiteY14209"/>
              </a:cxn>
              <a:cxn ang="0">
                <a:pos x="connsiteX14210" y="connsiteY14210"/>
              </a:cxn>
              <a:cxn ang="0">
                <a:pos x="connsiteX14211" y="connsiteY14211"/>
              </a:cxn>
              <a:cxn ang="0">
                <a:pos x="connsiteX14212" y="connsiteY14212"/>
              </a:cxn>
              <a:cxn ang="0">
                <a:pos x="connsiteX14213" y="connsiteY14213"/>
              </a:cxn>
              <a:cxn ang="0">
                <a:pos x="connsiteX14214" y="connsiteY14214"/>
              </a:cxn>
              <a:cxn ang="0">
                <a:pos x="connsiteX14215" y="connsiteY14215"/>
              </a:cxn>
              <a:cxn ang="0">
                <a:pos x="connsiteX14216" y="connsiteY14216"/>
              </a:cxn>
              <a:cxn ang="0">
                <a:pos x="connsiteX14217" y="connsiteY14217"/>
              </a:cxn>
              <a:cxn ang="0">
                <a:pos x="connsiteX14218" y="connsiteY14218"/>
              </a:cxn>
              <a:cxn ang="0">
                <a:pos x="connsiteX14219" y="connsiteY14219"/>
              </a:cxn>
              <a:cxn ang="0">
                <a:pos x="connsiteX14220" y="connsiteY14220"/>
              </a:cxn>
              <a:cxn ang="0">
                <a:pos x="connsiteX14221" y="connsiteY14221"/>
              </a:cxn>
              <a:cxn ang="0">
                <a:pos x="connsiteX14222" y="connsiteY14222"/>
              </a:cxn>
              <a:cxn ang="0">
                <a:pos x="connsiteX14223" y="connsiteY14223"/>
              </a:cxn>
              <a:cxn ang="0">
                <a:pos x="connsiteX14224" y="connsiteY14224"/>
              </a:cxn>
              <a:cxn ang="0">
                <a:pos x="connsiteX14225" y="connsiteY14225"/>
              </a:cxn>
              <a:cxn ang="0">
                <a:pos x="connsiteX14226" y="connsiteY14226"/>
              </a:cxn>
              <a:cxn ang="0">
                <a:pos x="connsiteX14227" y="connsiteY14227"/>
              </a:cxn>
              <a:cxn ang="0">
                <a:pos x="connsiteX14228" y="connsiteY14228"/>
              </a:cxn>
              <a:cxn ang="0">
                <a:pos x="connsiteX14229" y="connsiteY14229"/>
              </a:cxn>
              <a:cxn ang="0">
                <a:pos x="connsiteX14230" y="connsiteY14230"/>
              </a:cxn>
              <a:cxn ang="0">
                <a:pos x="connsiteX14231" y="connsiteY14231"/>
              </a:cxn>
              <a:cxn ang="0">
                <a:pos x="connsiteX14232" y="connsiteY14232"/>
              </a:cxn>
              <a:cxn ang="0">
                <a:pos x="connsiteX14233" y="connsiteY14233"/>
              </a:cxn>
              <a:cxn ang="0">
                <a:pos x="connsiteX14234" y="connsiteY14234"/>
              </a:cxn>
              <a:cxn ang="0">
                <a:pos x="connsiteX14235" y="connsiteY14235"/>
              </a:cxn>
              <a:cxn ang="0">
                <a:pos x="connsiteX14236" y="connsiteY14236"/>
              </a:cxn>
              <a:cxn ang="0">
                <a:pos x="connsiteX14237" y="connsiteY14237"/>
              </a:cxn>
              <a:cxn ang="0">
                <a:pos x="connsiteX14238" y="connsiteY14238"/>
              </a:cxn>
              <a:cxn ang="0">
                <a:pos x="connsiteX14239" y="connsiteY14239"/>
              </a:cxn>
              <a:cxn ang="0">
                <a:pos x="connsiteX14240" y="connsiteY14240"/>
              </a:cxn>
              <a:cxn ang="0">
                <a:pos x="connsiteX14241" y="connsiteY14241"/>
              </a:cxn>
              <a:cxn ang="0">
                <a:pos x="connsiteX14242" y="connsiteY14242"/>
              </a:cxn>
              <a:cxn ang="0">
                <a:pos x="connsiteX14243" y="connsiteY14243"/>
              </a:cxn>
              <a:cxn ang="0">
                <a:pos x="connsiteX14244" y="connsiteY14244"/>
              </a:cxn>
              <a:cxn ang="0">
                <a:pos x="connsiteX14245" y="connsiteY14245"/>
              </a:cxn>
              <a:cxn ang="0">
                <a:pos x="connsiteX14246" y="connsiteY14246"/>
              </a:cxn>
              <a:cxn ang="0">
                <a:pos x="connsiteX14247" y="connsiteY14247"/>
              </a:cxn>
              <a:cxn ang="0">
                <a:pos x="connsiteX14248" y="connsiteY14248"/>
              </a:cxn>
              <a:cxn ang="0">
                <a:pos x="connsiteX14249" y="connsiteY14249"/>
              </a:cxn>
              <a:cxn ang="0">
                <a:pos x="connsiteX14250" y="connsiteY14250"/>
              </a:cxn>
              <a:cxn ang="0">
                <a:pos x="connsiteX14251" y="connsiteY14251"/>
              </a:cxn>
              <a:cxn ang="0">
                <a:pos x="connsiteX14252" y="connsiteY14252"/>
              </a:cxn>
              <a:cxn ang="0">
                <a:pos x="connsiteX14253" y="connsiteY14253"/>
              </a:cxn>
              <a:cxn ang="0">
                <a:pos x="connsiteX14254" y="connsiteY14254"/>
              </a:cxn>
              <a:cxn ang="0">
                <a:pos x="connsiteX14255" y="connsiteY14255"/>
              </a:cxn>
              <a:cxn ang="0">
                <a:pos x="connsiteX14256" y="connsiteY14256"/>
              </a:cxn>
              <a:cxn ang="0">
                <a:pos x="connsiteX14257" y="connsiteY14257"/>
              </a:cxn>
              <a:cxn ang="0">
                <a:pos x="connsiteX14258" y="connsiteY14258"/>
              </a:cxn>
              <a:cxn ang="0">
                <a:pos x="connsiteX14259" y="connsiteY14259"/>
              </a:cxn>
              <a:cxn ang="0">
                <a:pos x="connsiteX14260" y="connsiteY14260"/>
              </a:cxn>
              <a:cxn ang="0">
                <a:pos x="connsiteX14261" y="connsiteY14261"/>
              </a:cxn>
              <a:cxn ang="0">
                <a:pos x="connsiteX14262" y="connsiteY14262"/>
              </a:cxn>
              <a:cxn ang="0">
                <a:pos x="connsiteX14263" y="connsiteY14263"/>
              </a:cxn>
              <a:cxn ang="0">
                <a:pos x="connsiteX14264" y="connsiteY14264"/>
              </a:cxn>
              <a:cxn ang="0">
                <a:pos x="connsiteX14265" y="connsiteY14265"/>
              </a:cxn>
              <a:cxn ang="0">
                <a:pos x="connsiteX14266" y="connsiteY14266"/>
              </a:cxn>
              <a:cxn ang="0">
                <a:pos x="connsiteX14267" y="connsiteY14267"/>
              </a:cxn>
              <a:cxn ang="0">
                <a:pos x="connsiteX14268" y="connsiteY14268"/>
              </a:cxn>
              <a:cxn ang="0">
                <a:pos x="connsiteX14269" y="connsiteY14269"/>
              </a:cxn>
              <a:cxn ang="0">
                <a:pos x="connsiteX14270" y="connsiteY14270"/>
              </a:cxn>
              <a:cxn ang="0">
                <a:pos x="connsiteX14271" y="connsiteY14271"/>
              </a:cxn>
              <a:cxn ang="0">
                <a:pos x="connsiteX14272" y="connsiteY14272"/>
              </a:cxn>
              <a:cxn ang="0">
                <a:pos x="connsiteX14273" y="connsiteY14273"/>
              </a:cxn>
              <a:cxn ang="0">
                <a:pos x="connsiteX14274" y="connsiteY14274"/>
              </a:cxn>
              <a:cxn ang="0">
                <a:pos x="connsiteX14275" y="connsiteY14275"/>
              </a:cxn>
              <a:cxn ang="0">
                <a:pos x="connsiteX14276" y="connsiteY14276"/>
              </a:cxn>
              <a:cxn ang="0">
                <a:pos x="connsiteX14277" y="connsiteY14277"/>
              </a:cxn>
              <a:cxn ang="0">
                <a:pos x="connsiteX14278" y="connsiteY14278"/>
              </a:cxn>
              <a:cxn ang="0">
                <a:pos x="connsiteX14279" y="connsiteY14279"/>
              </a:cxn>
              <a:cxn ang="0">
                <a:pos x="connsiteX14280" y="connsiteY14280"/>
              </a:cxn>
              <a:cxn ang="0">
                <a:pos x="connsiteX14281" y="connsiteY14281"/>
              </a:cxn>
              <a:cxn ang="0">
                <a:pos x="connsiteX14282" y="connsiteY14282"/>
              </a:cxn>
              <a:cxn ang="0">
                <a:pos x="connsiteX14283" y="connsiteY14283"/>
              </a:cxn>
              <a:cxn ang="0">
                <a:pos x="connsiteX14284" y="connsiteY14284"/>
              </a:cxn>
              <a:cxn ang="0">
                <a:pos x="connsiteX14285" y="connsiteY14285"/>
              </a:cxn>
              <a:cxn ang="0">
                <a:pos x="connsiteX14286" y="connsiteY14286"/>
              </a:cxn>
              <a:cxn ang="0">
                <a:pos x="connsiteX14287" y="connsiteY14287"/>
              </a:cxn>
              <a:cxn ang="0">
                <a:pos x="connsiteX14288" y="connsiteY14288"/>
              </a:cxn>
              <a:cxn ang="0">
                <a:pos x="connsiteX14289" y="connsiteY14289"/>
              </a:cxn>
              <a:cxn ang="0">
                <a:pos x="connsiteX14290" y="connsiteY14290"/>
              </a:cxn>
              <a:cxn ang="0">
                <a:pos x="connsiteX14291" y="connsiteY14291"/>
              </a:cxn>
              <a:cxn ang="0">
                <a:pos x="connsiteX14292" y="connsiteY14292"/>
              </a:cxn>
              <a:cxn ang="0">
                <a:pos x="connsiteX14293" y="connsiteY14293"/>
              </a:cxn>
              <a:cxn ang="0">
                <a:pos x="connsiteX14294" y="connsiteY14294"/>
              </a:cxn>
              <a:cxn ang="0">
                <a:pos x="connsiteX14295" y="connsiteY14295"/>
              </a:cxn>
              <a:cxn ang="0">
                <a:pos x="connsiteX14296" y="connsiteY14296"/>
              </a:cxn>
              <a:cxn ang="0">
                <a:pos x="connsiteX14297" y="connsiteY14297"/>
              </a:cxn>
              <a:cxn ang="0">
                <a:pos x="connsiteX14298" y="connsiteY14298"/>
              </a:cxn>
              <a:cxn ang="0">
                <a:pos x="connsiteX14299" y="connsiteY14299"/>
              </a:cxn>
              <a:cxn ang="0">
                <a:pos x="connsiteX14300" y="connsiteY14300"/>
              </a:cxn>
              <a:cxn ang="0">
                <a:pos x="connsiteX14301" y="connsiteY14301"/>
              </a:cxn>
              <a:cxn ang="0">
                <a:pos x="connsiteX14302" y="connsiteY14302"/>
              </a:cxn>
              <a:cxn ang="0">
                <a:pos x="connsiteX14303" y="connsiteY14303"/>
              </a:cxn>
              <a:cxn ang="0">
                <a:pos x="connsiteX14304" y="connsiteY14304"/>
              </a:cxn>
              <a:cxn ang="0">
                <a:pos x="connsiteX14305" y="connsiteY14305"/>
              </a:cxn>
              <a:cxn ang="0">
                <a:pos x="connsiteX14306" y="connsiteY14306"/>
              </a:cxn>
              <a:cxn ang="0">
                <a:pos x="connsiteX14307" y="connsiteY14307"/>
              </a:cxn>
              <a:cxn ang="0">
                <a:pos x="connsiteX14308" y="connsiteY14308"/>
              </a:cxn>
              <a:cxn ang="0">
                <a:pos x="connsiteX14309" y="connsiteY14309"/>
              </a:cxn>
              <a:cxn ang="0">
                <a:pos x="connsiteX14310" y="connsiteY14310"/>
              </a:cxn>
              <a:cxn ang="0">
                <a:pos x="connsiteX14311" y="connsiteY14311"/>
              </a:cxn>
              <a:cxn ang="0">
                <a:pos x="connsiteX14312" y="connsiteY14312"/>
              </a:cxn>
              <a:cxn ang="0">
                <a:pos x="connsiteX14313" y="connsiteY14313"/>
              </a:cxn>
              <a:cxn ang="0">
                <a:pos x="connsiteX14314" y="connsiteY14314"/>
              </a:cxn>
              <a:cxn ang="0">
                <a:pos x="connsiteX14315" y="connsiteY14315"/>
              </a:cxn>
              <a:cxn ang="0">
                <a:pos x="connsiteX14316" y="connsiteY14316"/>
              </a:cxn>
              <a:cxn ang="0">
                <a:pos x="connsiteX14317" y="connsiteY14317"/>
              </a:cxn>
              <a:cxn ang="0">
                <a:pos x="connsiteX14318" y="connsiteY14318"/>
              </a:cxn>
              <a:cxn ang="0">
                <a:pos x="connsiteX14319" y="connsiteY14319"/>
              </a:cxn>
              <a:cxn ang="0">
                <a:pos x="connsiteX14320" y="connsiteY14320"/>
              </a:cxn>
              <a:cxn ang="0">
                <a:pos x="connsiteX14321" y="connsiteY14321"/>
              </a:cxn>
              <a:cxn ang="0">
                <a:pos x="connsiteX14322" y="connsiteY14322"/>
              </a:cxn>
              <a:cxn ang="0">
                <a:pos x="connsiteX14323" y="connsiteY14323"/>
              </a:cxn>
              <a:cxn ang="0">
                <a:pos x="connsiteX14324" y="connsiteY14324"/>
              </a:cxn>
              <a:cxn ang="0">
                <a:pos x="connsiteX14325" y="connsiteY14325"/>
              </a:cxn>
              <a:cxn ang="0">
                <a:pos x="connsiteX14326" y="connsiteY14326"/>
              </a:cxn>
              <a:cxn ang="0">
                <a:pos x="connsiteX14327" y="connsiteY14327"/>
              </a:cxn>
              <a:cxn ang="0">
                <a:pos x="connsiteX14328" y="connsiteY14328"/>
              </a:cxn>
              <a:cxn ang="0">
                <a:pos x="connsiteX14329" y="connsiteY14329"/>
              </a:cxn>
              <a:cxn ang="0">
                <a:pos x="connsiteX14330" y="connsiteY14330"/>
              </a:cxn>
              <a:cxn ang="0">
                <a:pos x="connsiteX14331" y="connsiteY14331"/>
              </a:cxn>
              <a:cxn ang="0">
                <a:pos x="connsiteX14332" y="connsiteY14332"/>
              </a:cxn>
              <a:cxn ang="0">
                <a:pos x="connsiteX14333" y="connsiteY14333"/>
              </a:cxn>
              <a:cxn ang="0">
                <a:pos x="connsiteX14334" y="connsiteY14334"/>
              </a:cxn>
              <a:cxn ang="0">
                <a:pos x="connsiteX14335" y="connsiteY14335"/>
              </a:cxn>
              <a:cxn ang="0">
                <a:pos x="connsiteX14336" y="connsiteY14336"/>
              </a:cxn>
              <a:cxn ang="0">
                <a:pos x="connsiteX14337" y="connsiteY14337"/>
              </a:cxn>
              <a:cxn ang="0">
                <a:pos x="connsiteX14338" y="connsiteY14338"/>
              </a:cxn>
              <a:cxn ang="0">
                <a:pos x="connsiteX14339" y="connsiteY14339"/>
              </a:cxn>
              <a:cxn ang="0">
                <a:pos x="connsiteX14340" y="connsiteY14340"/>
              </a:cxn>
              <a:cxn ang="0">
                <a:pos x="connsiteX14341" y="connsiteY14341"/>
              </a:cxn>
              <a:cxn ang="0">
                <a:pos x="connsiteX14342" y="connsiteY14342"/>
              </a:cxn>
              <a:cxn ang="0">
                <a:pos x="connsiteX14343" y="connsiteY14343"/>
              </a:cxn>
              <a:cxn ang="0">
                <a:pos x="connsiteX14344" y="connsiteY14344"/>
              </a:cxn>
              <a:cxn ang="0">
                <a:pos x="connsiteX14345" y="connsiteY14345"/>
              </a:cxn>
              <a:cxn ang="0">
                <a:pos x="connsiteX14346" y="connsiteY14346"/>
              </a:cxn>
              <a:cxn ang="0">
                <a:pos x="connsiteX14347" y="connsiteY14347"/>
              </a:cxn>
              <a:cxn ang="0">
                <a:pos x="connsiteX14348" y="connsiteY14348"/>
              </a:cxn>
              <a:cxn ang="0">
                <a:pos x="connsiteX14349" y="connsiteY14349"/>
              </a:cxn>
              <a:cxn ang="0">
                <a:pos x="connsiteX14350" y="connsiteY14350"/>
              </a:cxn>
              <a:cxn ang="0">
                <a:pos x="connsiteX14351" y="connsiteY14351"/>
              </a:cxn>
              <a:cxn ang="0">
                <a:pos x="connsiteX14352" y="connsiteY14352"/>
              </a:cxn>
              <a:cxn ang="0">
                <a:pos x="connsiteX14353" y="connsiteY14353"/>
              </a:cxn>
              <a:cxn ang="0">
                <a:pos x="connsiteX14354" y="connsiteY14354"/>
              </a:cxn>
              <a:cxn ang="0">
                <a:pos x="connsiteX14355" y="connsiteY14355"/>
              </a:cxn>
              <a:cxn ang="0">
                <a:pos x="connsiteX14356" y="connsiteY14356"/>
              </a:cxn>
              <a:cxn ang="0">
                <a:pos x="connsiteX14357" y="connsiteY14357"/>
              </a:cxn>
              <a:cxn ang="0">
                <a:pos x="connsiteX14358" y="connsiteY14358"/>
              </a:cxn>
              <a:cxn ang="0">
                <a:pos x="connsiteX14359" y="connsiteY14359"/>
              </a:cxn>
              <a:cxn ang="0">
                <a:pos x="connsiteX14360" y="connsiteY14360"/>
              </a:cxn>
              <a:cxn ang="0">
                <a:pos x="connsiteX14361" y="connsiteY14361"/>
              </a:cxn>
              <a:cxn ang="0">
                <a:pos x="connsiteX14362" y="connsiteY14362"/>
              </a:cxn>
              <a:cxn ang="0">
                <a:pos x="connsiteX14363" y="connsiteY14363"/>
              </a:cxn>
              <a:cxn ang="0">
                <a:pos x="connsiteX14364" y="connsiteY14364"/>
              </a:cxn>
              <a:cxn ang="0">
                <a:pos x="connsiteX14365" y="connsiteY14365"/>
              </a:cxn>
              <a:cxn ang="0">
                <a:pos x="connsiteX14366" y="connsiteY14366"/>
              </a:cxn>
              <a:cxn ang="0">
                <a:pos x="connsiteX14367" y="connsiteY14367"/>
              </a:cxn>
              <a:cxn ang="0">
                <a:pos x="connsiteX14368" y="connsiteY14368"/>
              </a:cxn>
              <a:cxn ang="0">
                <a:pos x="connsiteX14369" y="connsiteY14369"/>
              </a:cxn>
              <a:cxn ang="0">
                <a:pos x="connsiteX14370" y="connsiteY14370"/>
              </a:cxn>
              <a:cxn ang="0">
                <a:pos x="connsiteX14371" y="connsiteY14371"/>
              </a:cxn>
              <a:cxn ang="0">
                <a:pos x="connsiteX14372" y="connsiteY14372"/>
              </a:cxn>
              <a:cxn ang="0">
                <a:pos x="connsiteX14373" y="connsiteY14373"/>
              </a:cxn>
              <a:cxn ang="0">
                <a:pos x="connsiteX14374" y="connsiteY14374"/>
              </a:cxn>
              <a:cxn ang="0">
                <a:pos x="connsiteX14375" y="connsiteY14375"/>
              </a:cxn>
              <a:cxn ang="0">
                <a:pos x="connsiteX14376" y="connsiteY14376"/>
              </a:cxn>
              <a:cxn ang="0">
                <a:pos x="connsiteX14377" y="connsiteY14377"/>
              </a:cxn>
              <a:cxn ang="0">
                <a:pos x="connsiteX14378" y="connsiteY14378"/>
              </a:cxn>
              <a:cxn ang="0">
                <a:pos x="connsiteX14379" y="connsiteY14379"/>
              </a:cxn>
              <a:cxn ang="0">
                <a:pos x="connsiteX14380" y="connsiteY14380"/>
              </a:cxn>
              <a:cxn ang="0">
                <a:pos x="connsiteX14381" y="connsiteY14381"/>
              </a:cxn>
              <a:cxn ang="0">
                <a:pos x="connsiteX14382" y="connsiteY14382"/>
              </a:cxn>
              <a:cxn ang="0">
                <a:pos x="connsiteX14383" y="connsiteY14383"/>
              </a:cxn>
              <a:cxn ang="0">
                <a:pos x="connsiteX14384" y="connsiteY14384"/>
              </a:cxn>
              <a:cxn ang="0">
                <a:pos x="connsiteX14385" y="connsiteY14385"/>
              </a:cxn>
              <a:cxn ang="0">
                <a:pos x="connsiteX14386" y="connsiteY14386"/>
              </a:cxn>
              <a:cxn ang="0">
                <a:pos x="connsiteX14387" y="connsiteY14387"/>
              </a:cxn>
              <a:cxn ang="0">
                <a:pos x="connsiteX14388" y="connsiteY14388"/>
              </a:cxn>
              <a:cxn ang="0">
                <a:pos x="connsiteX14389" y="connsiteY14389"/>
              </a:cxn>
              <a:cxn ang="0">
                <a:pos x="connsiteX14390" y="connsiteY14390"/>
              </a:cxn>
              <a:cxn ang="0">
                <a:pos x="connsiteX14391" y="connsiteY14391"/>
              </a:cxn>
              <a:cxn ang="0">
                <a:pos x="connsiteX14392" y="connsiteY14392"/>
              </a:cxn>
              <a:cxn ang="0">
                <a:pos x="connsiteX14393" y="connsiteY14393"/>
              </a:cxn>
              <a:cxn ang="0">
                <a:pos x="connsiteX14394" y="connsiteY14394"/>
              </a:cxn>
              <a:cxn ang="0">
                <a:pos x="connsiteX14395" y="connsiteY14395"/>
              </a:cxn>
              <a:cxn ang="0">
                <a:pos x="connsiteX14396" y="connsiteY14396"/>
              </a:cxn>
              <a:cxn ang="0">
                <a:pos x="connsiteX14397" y="connsiteY14397"/>
              </a:cxn>
              <a:cxn ang="0">
                <a:pos x="connsiteX14398" y="connsiteY14398"/>
              </a:cxn>
              <a:cxn ang="0">
                <a:pos x="connsiteX14399" y="connsiteY14399"/>
              </a:cxn>
              <a:cxn ang="0">
                <a:pos x="connsiteX14400" y="connsiteY14400"/>
              </a:cxn>
              <a:cxn ang="0">
                <a:pos x="connsiteX14401" y="connsiteY14401"/>
              </a:cxn>
              <a:cxn ang="0">
                <a:pos x="connsiteX14402" y="connsiteY14402"/>
              </a:cxn>
              <a:cxn ang="0">
                <a:pos x="connsiteX14403" y="connsiteY14403"/>
              </a:cxn>
              <a:cxn ang="0">
                <a:pos x="connsiteX14404" y="connsiteY14404"/>
              </a:cxn>
              <a:cxn ang="0">
                <a:pos x="connsiteX14405" y="connsiteY14405"/>
              </a:cxn>
              <a:cxn ang="0">
                <a:pos x="connsiteX14406" y="connsiteY14406"/>
              </a:cxn>
              <a:cxn ang="0">
                <a:pos x="connsiteX14407" y="connsiteY14407"/>
              </a:cxn>
              <a:cxn ang="0">
                <a:pos x="connsiteX14408" y="connsiteY14408"/>
              </a:cxn>
              <a:cxn ang="0">
                <a:pos x="connsiteX14409" y="connsiteY14409"/>
              </a:cxn>
              <a:cxn ang="0">
                <a:pos x="connsiteX14410" y="connsiteY14410"/>
              </a:cxn>
              <a:cxn ang="0">
                <a:pos x="connsiteX14411" y="connsiteY14411"/>
              </a:cxn>
              <a:cxn ang="0">
                <a:pos x="connsiteX14412" y="connsiteY14412"/>
              </a:cxn>
              <a:cxn ang="0">
                <a:pos x="connsiteX14413" y="connsiteY14413"/>
              </a:cxn>
              <a:cxn ang="0">
                <a:pos x="connsiteX14414" y="connsiteY14414"/>
              </a:cxn>
              <a:cxn ang="0">
                <a:pos x="connsiteX14415" y="connsiteY14415"/>
              </a:cxn>
              <a:cxn ang="0">
                <a:pos x="connsiteX14416" y="connsiteY14416"/>
              </a:cxn>
              <a:cxn ang="0">
                <a:pos x="connsiteX14417" y="connsiteY14417"/>
              </a:cxn>
              <a:cxn ang="0">
                <a:pos x="connsiteX14418" y="connsiteY14418"/>
              </a:cxn>
              <a:cxn ang="0">
                <a:pos x="connsiteX14419" y="connsiteY14419"/>
              </a:cxn>
              <a:cxn ang="0">
                <a:pos x="connsiteX14420" y="connsiteY14420"/>
              </a:cxn>
              <a:cxn ang="0">
                <a:pos x="connsiteX14421" y="connsiteY14421"/>
              </a:cxn>
              <a:cxn ang="0">
                <a:pos x="connsiteX14422" y="connsiteY14422"/>
              </a:cxn>
              <a:cxn ang="0">
                <a:pos x="connsiteX14423" y="connsiteY14423"/>
              </a:cxn>
              <a:cxn ang="0">
                <a:pos x="connsiteX14424" y="connsiteY14424"/>
              </a:cxn>
              <a:cxn ang="0">
                <a:pos x="connsiteX14425" y="connsiteY14425"/>
              </a:cxn>
              <a:cxn ang="0">
                <a:pos x="connsiteX14426" y="connsiteY14426"/>
              </a:cxn>
              <a:cxn ang="0">
                <a:pos x="connsiteX14427" y="connsiteY14427"/>
              </a:cxn>
              <a:cxn ang="0">
                <a:pos x="connsiteX14428" y="connsiteY14428"/>
              </a:cxn>
              <a:cxn ang="0">
                <a:pos x="connsiteX14429" y="connsiteY14429"/>
              </a:cxn>
              <a:cxn ang="0">
                <a:pos x="connsiteX14430" y="connsiteY14430"/>
              </a:cxn>
              <a:cxn ang="0">
                <a:pos x="connsiteX14431" y="connsiteY14431"/>
              </a:cxn>
              <a:cxn ang="0">
                <a:pos x="connsiteX14432" y="connsiteY14432"/>
              </a:cxn>
              <a:cxn ang="0">
                <a:pos x="connsiteX14433" y="connsiteY14433"/>
              </a:cxn>
              <a:cxn ang="0">
                <a:pos x="connsiteX14434" y="connsiteY14434"/>
              </a:cxn>
              <a:cxn ang="0">
                <a:pos x="connsiteX14435" y="connsiteY14435"/>
              </a:cxn>
              <a:cxn ang="0">
                <a:pos x="connsiteX14436" y="connsiteY14436"/>
              </a:cxn>
              <a:cxn ang="0">
                <a:pos x="connsiteX14437" y="connsiteY14437"/>
              </a:cxn>
              <a:cxn ang="0">
                <a:pos x="connsiteX14438" y="connsiteY14438"/>
              </a:cxn>
              <a:cxn ang="0">
                <a:pos x="connsiteX14439" y="connsiteY14439"/>
              </a:cxn>
              <a:cxn ang="0">
                <a:pos x="connsiteX14440" y="connsiteY14440"/>
              </a:cxn>
              <a:cxn ang="0">
                <a:pos x="connsiteX14441" y="connsiteY14441"/>
              </a:cxn>
              <a:cxn ang="0">
                <a:pos x="connsiteX14442" y="connsiteY14442"/>
              </a:cxn>
              <a:cxn ang="0">
                <a:pos x="connsiteX14443" y="connsiteY14443"/>
              </a:cxn>
              <a:cxn ang="0">
                <a:pos x="connsiteX14444" y="connsiteY14444"/>
              </a:cxn>
              <a:cxn ang="0">
                <a:pos x="connsiteX14445" y="connsiteY14445"/>
              </a:cxn>
              <a:cxn ang="0">
                <a:pos x="connsiteX14446" y="connsiteY14446"/>
              </a:cxn>
              <a:cxn ang="0">
                <a:pos x="connsiteX14447" y="connsiteY14447"/>
              </a:cxn>
              <a:cxn ang="0">
                <a:pos x="connsiteX14448" y="connsiteY14448"/>
              </a:cxn>
              <a:cxn ang="0">
                <a:pos x="connsiteX14449" y="connsiteY14449"/>
              </a:cxn>
              <a:cxn ang="0">
                <a:pos x="connsiteX14450" y="connsiteY14450"/>
              </a:cxn>
              <a:cxn ang="0">
                <a:pos x="connsiteX14451" y="connsiteY14451"/>
              </a:cxn>
              <a:cxn ang="0">
                <a:pos x="connsiteX14452" y="connsiteY14452"/>
              </a:cxn>
              <a:cxn ang="0">
                <a:pos x="connsiteX14453" y="connsiteY14453"/>
              </a:cxn>
              <a:cxn ang="0">
                <a:pos x="connsiteX14454" y="connsiteY14454"/>
              </a:cxn>
              <a:cxn ang="0">
                <a:pos x="connsiteX14455" y="connsiteY14455"/>
              </a:cxn>
              <a:cxn ang="0">
                <a:pos x="connsiteX14456" y="connsiteY14456"/>
              </a:cxn>
              <a:cxn ang="0">
                <a:pos x="connsiteX14457" y="connsiteY14457"/>
              </a:cxn>
              <a:cxn ang="0">
                <a:pos x="connsiteX14458" y="connsiteY14458"/>
              </a:cxn>
              <a:cxn ang="0">
                <a:pos x="connsiteX14459" y="connsiteY14459"/>
              </a:cxn>
              <a:cxn ang="0">
                <a:pos x="connsiteX14460" y="connsiteY14460"/>
              </a:cxn>
              <a:cxn ang="0">
                <a:pos x="connsiteX14461" y="connsiteY14461"/>
              </a:cxn>
              <a:cxn ang="0">
                <a:pos x="connsiteX14462" y="connsiteY14462"/>
              </a:cxn>
              <a:cxn ang="0">
                <a:pos x="connsiteX14463" y="connsiteY14463"/>
              </a:cxn>
              <a:cxn ang="0">
                <a:pos x="connsiteX14464" y="connsiteY14464"/>
              </a:cxn>
              <a:cxn ang="0">
                <a:pos x="connsiteX14465" y="connsiteY14465"/>
              </a:cxn>
              <a:cxn ang="0">
                <a:pos x="connsiteX14466" y="connsiteY14466"/>
              </a:cxn>
              <a:cxn ang="0">
                <a:pos x="connsiteX14467" y="connsiteY14467"/>
              </a:cxn>
              <a:cxn ang="0">
                <a:pos x="connsiteX14468" y="connsiteY14468"/>
              </a:cxn>
              <a:cxn ang="0">
                <a:pos x="connsiteX14469" y="connsiteY14469"/>
              </a:cxn>
              <a:cxn ang="0">
                <a:pos x="connsiteX14470" y="connsiteY14470"/>
              </a:cxn>
              <a:cxn ang="0">
                <a:pos x="connsiteX14471" y="connsiteY14471"/>
              </a:cxn>
              <a:cxn ang="0">
                <a:pos x="connsiteX14472" y="connsiteY14472"/>
              </a:cxn>
              <a:cxn ang="0">
                <a:pos x="connsiteX14473" y="connsiteY14473"/>
              </a:cxn>
              <a:cxn ang="0">
                <a:pos x="connsiteX14474" y="connsiteY14474"/>
              </a:cxn>
              <a:cxn ang="0">
                <a:pos x="connsiteX14475" y="connsiteY14475"/>
              </a:cxn>
              <a:cxn ang="0">
                <a:pos x="connsiteX14476" y="connsiteY14476"/>
              </a:cxn>
              <a:cxn ang="0">
                <a:pos x="connsiteX14477" y="connsiteY14477"/>
              </a:cxn>
              <a:cxn ang="0">
                <a:pos x="connsiteX14478" y="connsiteY14478"/>
              </a:cxn>
              <a:cxn ang="0">
                <a:pos x="connsiteX14479" y="connsiteY14479"/>
              </a:cxn>
              <a:cxn ang="0">
                <a:pos x="connsiteX14480" y="connsiteY14480"/>
              </a:cxn>
              <a:cxn ang="0">
                <a:pos x="connsiteX14481" y="connsiteY14481"/>
              </a:cxn>
              <a:cxn ang="0">
                <a:pos x="connsiteX14482" y="connsiteY14482"/>
              </a:cxn>
              <a:cxn ang="0">
                <a:pos x="connsiteX14483" y="connsiteY14483"/>
              </a:cxn>
              <a:cxn ang="0">
                <a:pos x="connsiteX14484" y="connsiteY14484"/>
              </a:cxn>
              <a:cxn ang="0">
                <a:pos x="connsiteX14485" y="connsiteY14485"/>
              </a:cxn>
              <a:cxn ang="0">
                <a:pos x="connsiteX14486" y="connsiteY14486"/>
              </a:cxn>
              <a:cxn ang="0">
                <a:pos x="connsiteX14487" y="connsiteY14487"/>
              </a:cxn>
              <a:cxn ang="0">
                <a:pos x="connsiteX14488" y="connsiteY14488"/>
              </a:cxn>
              <a:cxn ang="0">
                <a:pos x="connsiteX14489" y="connsiteY14489"/>
              </a:cxn>
              <a:cxn ang="0">
                <a:pos x="connsiteX14490" y="connsiteY14490"/>
              </a:cxn>
              <a:cxn ang="0">
                <a:pos x="connsiteX14491" y="connsiteY14491"/>
              </a:cxn>
              <a:cxn ang="0">
                <a:pos x="connsiteX14492" y="connsiteY14492"/>
              </a:cxn>
              <a:cxn ang="0">
                <a:pos x="connsiteX14493" y="connsiteY14493"/>
              </a:cxn>
              <a:cxn ang="0">
                <a:pos x="connsiteX14494" y="connsiteY14494"/>
              </a:cxn>
              <a:cxn ang="0">
                <a:pos x="connsiteX14495" y="connsiteY14495"/>
              </a:cxn>
              <a:cxn ang="0">
                <a:pos x="connsiteX14496" y="connsiteY14496"/>
              </a:cxn>
              <a:cxn ang="0">
                <a:pos x="connsiteX14497" y="connsiteY14497"/>
              </a:cxn>
              <a:cxn ang="0">
                <a:pos x="connsiteX14498" y="connsiteY14498"/>
              </a:cxn>
              <a:cxn ang="0">
                <a:pos x="connsiteX14499" y="connsiteY14499"/>
              </a:cxn>
              <a:cxn ang="0">
                <a:pos x="connsiteX14500" y="connsiteY14500"/>
              </a:cxn>
              <a:cxn ang="0">
                <a:pos x="connsiteX14501" y="connsiteY14501"/>
              </a:cxn>
              <a:cxn ang="0">
                <a:pos x="connsiteX14502" y="connsiteY14502"/>
              </a:cxn>
              <a:cxn ang="0">
                <a:pos x="connsiteX14503" y="connsiteY14503"/>
              </a:cxn>
              <a:cxn ang="0">
                <a:pos x="connsiteX14504" y="connsiteY14504"/>
              </a:cxn>
              <a:cxn ang="0">
                <a:pos x="connsiteX14505" y="connsiteY14505"/>
              </a:cxn>
              <a:cxn ang="0">
                <a:pos x="connsiteX14506" y="connsiteY14506"/>
              </a:cxn>
              <a:cxn ang="0">
                <a:pos x="connsiteX14507" y="connsiteY14507"/>
              </a:cxn>
              <a:cxn ang="0">
                <a:pos x="connsiteX14508" y="connsiteY14508"/>
              </a:cxn>
              <a:cxn ang="0">
                <a:pos x="connsiteX14509" y="connsiteY14509"/>
              </a:cxn>
              <a:cxn ang="0">
                <a:pos x="connsiteX14510" y="connsiteY14510"/>
              </a:cxn>
              <a:cxn ang="0">
                <a:pos x="connsiteX14511" y="connsiteY14511"/>
              </a:cxn>
              <a:cxn ang="0">
                <a:pos x="connsiteX14512" y="connsiteY14512"/>
              </a:cxn>
              <a:cxn ang="0">
                <a:pos x="connsiteX14513" y="connsiteY14513"/>
              </a:cxn>
              <a:cxn ang="0">
                <a:pos x="connsiteX14514" y="connsiteY14514"/>
              </a:cxn>
              <a:cxn ang="0">
                <a:pos x="connsiteX14515" y="connsiteY14515"/>
              </a:cxn>
              <a:cxn ang="0">
                <a:pos x="connsiteX14516" y="connsiteY14516"/>
              </a:cxn>
              <a:cxn ang="0">
                <a:pos x="connsiteX14517" y="connsiteY14517"/>
              </a:cxn>
              <a:cxn ang="0">
                <a:pos x="connsiteX14518" y="connsiteY14518"/>
              </a:cxn>
              <a:cxn ang="0">
                <a:pos x="connsiteX14519" y="connsiteY14519"/>
              </a:cxn>
              <a:cxn ang="0">
                <a:pos x="connsiteX14520" y="connsiteY14520"/>
              </a:cxn>
              <a:cxn ang="0">
                <a:pos x="connsiteX14521" y="connsiteY14521"/>
              </a:cxn>
              <a:cxn ang="0">
                <a:pos x="connsiteX14522" y="connsiteY14522"/>
              </a:cxn>
              <a:cxn ang="0">
                <a:pos x="connsiteX14523" y="connsiteY14523"/>
              </a:cxn>
              <a:cxn ang="0">
                <a:pos x="connsiteX14524" y="connsiteY14524"/>
              </a:cxn>
              <a:cxn ang="0">
                <a:pos x="connsiteX14525" y="connsiteY14525"/>
              </a:cxn>
              <a:cxn ang="0">
                <a:pos x="connsiteX14526" y="connsiteY14526"/>
              </a:cxn>
              <a:cxn ang="0">
                <a:pos x="connsiteX14527" y="connsiteY14527"/>
              </a:cxn>
              <a:cxn ang="0">
                <a:pos x="connsiteX14528" y="connsiteY14528"/>
              </a:cxn>
              <a:cxn ang="0">
                <a:pos x="connsiteX14529" y="connsiteY14529"/>
              </a:cxn>
              <a:cxn ang="0">
                <a:pos x="connsiteX14530" y="connsiteY14530"/>
              </a:cxn>
              <a:cxn ang="0">
                <a:pos x="connsiteX14531" y="connsiteY14531"/>
              </a:cxn>
              <a:cxn ang="0">
                <a:pos x="connsiteX14532" y="connsiteY14532"/>
              </a:cxn>
              <a:cxn ang="0">
                <a:pos x="connsiteX14533" y="connsiteY14533"/>
              </a:cxn>
              <a:cxn ang="0">
                <a:pos x="connsiteX14534" y="connsiteY14534"/>
              </a:cxn>
              <a:cxn ang="0">
                <a:pos x="connsiteX14535" y="connsiteY14535"/>
              </a:cxn>
              <a:cxn ang="0">
                <a:pos x="connsiteX14536" y="connsiteY14536"/>
              </a:cxn>
              <a:cxn ang="0">
                <a:pos x="connsiteX14537" y="connsiteY14537"/>
              </a:cxn>
              <a:cxn ang="0">
                <a:pos x="connsiteX14538" y="connsiteY14538"/>
              </a:cxn>
              <a:cxn ang="0">
                <a:pos x="connsiteX14539" y="connsiteY14539"/>
              </a:cxn>
              <a:cxn ang="0">
                <a:pos x="connsiteX14540" y="connsiteY14540"/>
              </a:cxn>
              <a:cxn ang="0">
                <a:pos x="connsiteX14541" y="connsiteY14541"/>
              </a:cxn>
              <a:cxn ang="0">
                <a:pos x="connsiteX14542" y="connsiteY14542"/>
              </a:cxn>
              <a:cxn ang="0">
                <a:pos x="connsiteX14543" y="connsiteY14543"/>
              </a:cxn>
              <a:cxn ang="0">
                <a:pos x="connsiteX14544" y="connsiteY14544"/>
              </a:cxn>
              <a:cxn ang="0">
                <a:pos x="connsiteX14545" y="connsiteY14545"/>
              </a:cxn>
              <a:cxn ang="0">
                <a:pos x="connsiteX14546" y="connsiteY14546"/>
              </a:cxn>
              <a:cxn ang="0">
                <a:pos x="connsiteX14547" y="connsiteY14547"/>
              </a:cxn>
              <a:cxn ang="0">
                <a:pos x="connsiteX14548" y="connsiteY14548"/>
              </a:cxn>
              <a:cxn ang="0">
                <a:pos x="connsiteX14549" y="connsiteY14549"/>
              </a:cxn>
              <a:cxn ang="0">
                <a:pos x="connsiteX14550" y="connsiteY14550"/>
              </a:cxn>
              <a:cxn ang="0">
                <a:pos x="connsiteX14551" y="connsiteY14551"/>
              </a:cxn>
              <a:cxn ang="0">
                <a:pos x="connsiteX14552" y="connsiteY14552"/>
              </a:cxn>
              <a:cxn ang="0">
                <a:pos x="connsiteX14553" y="connsiteY14553"/>
              </a:cxn>
              <a:cxn ang="0">
                <a:pos x="connsiteX14554" y="connsiteY14554"/>
              </a:cxn>
              <a:cxn ang="0">
                <a:pos x="connsiteX14555" y="connsiteY14555"/>
              </a:cxn>
              <a:cxn ang="0">
                <a:pos x="connsiteX14556" y="connsiteY14556"/>
              </a:cxn>
              <a:cxn ang="0">
                <a:pos x="connsiteX14557" y="connsiteY14557"/>
              </a:cxn>
              <a:cxn ang="0">
                <a:pos x="connsiteX14558" y="connsiteY14558"/>
              </a:cxn>
              <a:cxn ang="0">
                <a:pos x="connsiteX14559" y="connsiteY14559"/>
              </a:cxn>
              <a:cxn ang="0">
                <a:pos x="connsiteX14560" y="connsiteY14560"/>
              </a:cxn>
              <a:cxn ang="0">
                <a:pos x="connsiteX14561" y="connsiteY14561"/>
              </a:cxn>
              <a:cxn ang="0">
                <a:pos x="connsiteX14562" y="connsiteY14562"/>
              </a:cxn>
              <a:cxn ang="0">
                <a:pos x="connsiteX14563" y="connsiteY14563"/>
              </a:cxn>
              <a:cxn ang="0">
                <a:pos x="connsiteX14564" y="connsiteY14564"/>
              </a:cxn>
              <a:cxn ang="0">
                <a:pos x="connsiteX14565" y="connsiteY14565"/>
              </a:cxn>
              <a:cxn ang="0">
                <a:pos x="connsiteX14566" y="connsiteY14566"/>
              </a:cxn>
              <a:cxn ang="0">
                <a:pos x="connsiteX14567" y="connsiteY14567"/>
              </a:cxn>
              <a:cxn ang="0">
                <a:pos x="connsiteX14568" y="connsiteY14568"/>
              </a:cxn>
              <a:cxn ang="0">
                <a:pos x="connsiteX14569" y="connsiteY14569"/>
              </a:cxn>
              <a:cxn ang="0">
                <a:pos x="connsiteX14570" y="connsiteY14570"/>
              </a:cxn>
              <a:cxn ang="0">
                <a:pos x="connsiteX14571" y="connsiteY14571"/>
              </a:cxn>
              <a:cxn ang="0">
                <a:pos x="connsiteX14572" y="connsiteY14572"/>
              </a:cxn>
              <a:cxn ang="0">
                <a:pos x="connsiteX14573" y="connsiteY14573"/>
              </a:cxn>
              <a:cxn ang="0">
                <a:pos x="connsiteX14574" y="connsiteY14574"/>
              </a:cxn>
              <a:cxn ang="0">
                <a:pos x="connsiteX14575" y="connsiteY14575"/>
              </a:cxn>
              <a:cxn ang="0">
                <a:pos x="connsiteX14576" y="connsiteY14576"/>
              </a:cxn>
              <a:cxn ang="0">
                <a:pos x="connsiteX14577" y="connsiteY14577"/>
              </a:cxn>
              <a:cxn ang="0">
                <a:pos x="connsiteX14578" y="connsiteY14578"/>
              </a:cxn>
              <a:cxn ang="0">
                <a:pos x="connsiteX14579" y="connsiteY14579"/>
              </a:cxn>
              <a:cxn ang="0">
                <a:pos x="connsiteX14580" y="connsiteY14580"/>
              </a:cxn>
              <a:cxn ang="0">
                <a:pos x="connsiteX14581" y="connsiteY14581"/>
              </a:cxn>
              <a:cxn ang="0">
                <a:pos x="connsiteX14582" y="connsiteY14582"/>
              </a:cxn>
              <a:cxn ang="0">
                <a:pos x="connsiteX14583" y="connsiteY14583"/>
              </a:cxn>
              <a:cxn ang="0">
                <a:pos x="connsiteX14584" y="connsiteY14584"/>
              </a:cxn>
              <a:cxn ang="0">
                <a:pos x="connsiteX14585" y="connsiteY14585"/>
              </a:cxn>
              <a:cxn ang="0">
                <a:pos x="connsiteX14586" y="connsiteY14586"/>
              </a:cxn>
              <a:cxn ang="0">
                <a:pos x="connsiteX14587" y="connsiteY14587"/>
              </a:cxn>
              <a:cxn ang="0">
                <a:pos x="connsiteX14588" y="connsiteY14588"/>
              </a:cxn>
              <a:cxn ang="0">
                <a:pos x="connsiteX14589" y="connsiteY14589"/>
              </a:cxn>
              <a:cxn ang="0">
                <a:pos x="connsiteX14590" y="connsiteY14590"/>
              </a:cxn>
              <a:cxn ang="0">
                <a:pos x="connsiteX14591" y="connsiteY14591"/>
              </a:cxn>
              <a:cxn ang="0">
                <a:pos x="connsiteX14592" y="connsiteY14592"/>
              </a:cxn>
              <a:cxn ang="0">
                <a:pos x="connsiteX14593" y="connsiteY14593"/>
              </a:cxn>
              <a:cxn ang="0">
                <a:pos x="connsiteX14594" y="connsiteY14594"/>
              </a:cxn>
              <a:cxn ang="0">
                <a:pos x="connsiteX14595" y="connsiteY14595"/>
              </a:cxn>
              <a:cxn ang="0">
                <a:pos x="connsiteX14596" y="connsiteY14596"/>
              </a:cxn>
              <a:cxn ang="0">
                <a:pos x="connsiteX14597" y="connsiteY14597"/>
              </a:cxn>
              <a:cxn ang="0">
                <a:pos x="connsiteX14598" y="connsiteY14598"/>
              </a:cxn>
              <a:cxn ang="0">
                <a:pos x="connsiteX14599" y="connsiteY14599"/>
              </a:cxn>
              <a:cxn ang="0">
                <a:pos x="connsiteX14600" y="connsiteY14600"/>
              </a:cxn>
              <a:cxn ang="0">
                <a:pos x="connsiteX14601" y="connsiteY14601"/>
              </a:cxn>
              <a:cxn ang="0">
                <a:pos x="connsiteX14602" y="connsiteY14602"/>
              </a:cxn>
              <a:cxn ang="0">
                <a:pos x="connsiteX14603" y="connsiteY14603"/>
              </a:cxn>
              <a:cxn ang="0">
                <a:pos x="connsiteX14604" y="connsiteY14604"/>
              </a:cxn>
              <a:cxn ang="0">
                <a:pos x="connsiteX14605" y="connsiteY14605"/>
              </a:cxn>
              <a:cxn ang="0">
                <a:pos x="connsiteX14606" y="connsiteY14606"/>
              </a:cxn>
              <a:cxn ang="0">
                <a:pos x="connsiteX14607" y="connsiteY14607"/>
              </a:cxn>
              <a:cxn ang="0">
                <a:pos x="connsiteX14608" y="connsiteY14608"/>
              </a:cxn>
              <a:cxn ang="0">
                <a:pos x="connsiteX14609" y="connsiteY14609"/>
              </a:cxn>
              <a:cxn ang="0">
                <a:pos x="connsiteX14610" y="connsiteY14610"/>
              </a:cxn>
              <a:cxn ang="0">
                <a:pos x="connsiteX14611" y="connsiteY14611"/>
              </a:cxn>
              <a:cxn ang="0">
                <a:pos x="connsiteX14612" y="connsiteY14612"/>
              </a:cxn>
              <a:cxn ang="0">
                <a:pos x="connsiteX14613" y="connsiteY14613"/>
              </a:cxn>
              <a:cxn ang="0">
                <a:pos x="connsiteX14614" y="connsiteY14614"/>
              </a:cxn>
              <a:cxn ang="0">
                <a:pos x="connsiteX14615" y="connsiteY14615"/>
              </a:cxn>
              <a:cxn ang="0">
                <a:pos x="connsiteX14616" y="connsiteY14616"/>
              </a:cxn>
              <a:cxn ang="0">
                <a:pos x="connsiteX14617" y="connsiteY14617"/>
              </a:cxn>
              <a:cxn ang="0">
                <a:pos x="connsiteX14618" y="connsiteY14618"/>
              </a:cxn>
              <a:cxn ang="0">
                <a:pos x="connsiteX14619" y="connsiteY14619"/>
              </a:cxn>
              <a:cxn ang="0">
                <a:pos x="connsiteX14620" y="connsiteY14620"/>
              </a:cxn>
              <a:cxn ang="0">
                <a:pos x="connsiteX14621" y="connsiteY14621"/>
              </a:cxn>
              <a:cxn ang="0">
                <a:pos x="connsiteX14622" y="connsiteY14622"/>
              </a:cxn>
              <a:cxn ang="0">
                <a:pos x="connsiteX14623" y="connsiteY14623"/>
              </a:cxn>
              <a:cxn ang="0">
                <a:pos x="connsiteX14624" y="connsiteY14624"/>
              </a:cxn>
              <a:cxn ang="0">
                <a:pos x="connsiteX14625" y="connsiteY14625"/>
              </a:cxn>
              <a:cxn ang="0">
                <a:pos x="connsiteX14626" y="connsiteY14626"/>
              </a:cxn>
              <a:cxn ang="0">
                <a:pos x="connsiteX14627" y="connsiteY14627"/>
              </a:cxn>
              <a:cxn ang="0">
                <a:pos x="connsiteX14628" y="connsiteY14628"/>
              </a:cxn>
              <a:cxn ang="0">
                <a:pos x="connsiteX14629" y="connsiteY14629"/>
              </a:cxn>
              <a:cxn ang="0">
                <a:pos x="connsiteX14630" y="connsiteY14630"/>
              </a:cxn>
              <a:cxn ang="0">
                <a:pos x="connsiteX14631" y="connsiteY14631"/>
              </a:cxn>
              <a:cxn ang="0">
                <a:pos x="connsiteX14632" y="connsiteY14632"/>
              </a:cxn>
              <a:cxn ang="0">
                <a:pos x="connsiteX14633" y="connsiteY14633"/>
              </a:cxn>
              <a:cxn ang="0">
                <a:pos x="connsiteX14634" y="connsiteY14634"/>
              </a:cxn>
              <a:cxn ang="0">
                <a:pos x="connsiteX14635" y="connsiteY14635"/>
              </a:cxn>
              <a:cxn ang="0">
                <a:pos x="connsiteX14636" y="connsiteY14636"/>
              </a:cxn>
              <a:cxn ang="0">
                <a:pos x="connsiteX14637" y="connsiteY14637"/>
              </a:cxn>
              <a:cxn ang="0">
                <a:pos x="connsiteX14638" y="connsiteY14638"/>
              </a:cxn>
              <a:cxn ang="0">
                <a:pos x="connsiteX14639" y="connsiteY14639"/>
              </a:cxn>
              <a:cxn ang="0">
                <a:pos x="connsiteX14640" y="connsiteY14640"/>
              </a:cxn>
              <a:cxn ang="0">
                <a:pos x="connsiteX14641" y="connsiteY14641"/>
              </a:cxn>
              <a:cxn ang="0">
                <a:pos x="connsiteX14642" y="connsiteY14642"/>
              </a:cxn>
              <a:cxn ang="0">
                <a:pos x="connsiteX14643" y="connsiteY14643"/>
              </a:cxn>
              <a:cxn ang="0">
                <a:pos x="connsiteX14644" y="connsiteY14644"/>
              </a:cxn>
              <a:cxn ang="0">
                <a:pos x="connsiteX14645" y="connsiteY14645"/>
              </a:cxn>
              <a:cxn ang="0">
                <a:pos x="connsiteX14646" y="connsiteY14646"/>
              </a:cxn>
              <a:cxn ang="0">
                <a:pos x="connsiteX14647" y="connsiteY14647"/>
              </a:cxn>
              <a:cxn ang="0">
                <a:pos x="connsiteX14648" y="connsiteY14648"/>
              </a:cxn>
              <a:cxn ang="0">
                <a:pos x="connsiteX14649" y="connsiteY14649"/>
              </a:cxn>
              <a:cxn ang="0">
                <a:pos x="connsiteX14650" y="connsiteY14650"/>
              </a:cxn>
              <a:cxn ang="0">
                <a:pos x="connsiteX14651" y="connsiteY14651"/>
              </a:cxn>
              <a:cxn ang="0">
                <a:pos x="connsiteX14652" y="connsiteY14652"/>
              </a:cxn>
              <a:cxn ang="0">
                <a:pos x="connsiteX14653" y="connsiteY14653"/>
              </a:cxn>
              <a:cxn ang="0">
                <a:pos x="connsiteX14654" y="connsiteY14654"/>
              </a:cxn>
              <a:cxn ang="0">
                <a:pos x="connsiteX14655" y="connsiteY14655"/>
              </a:cxn>
              <a:cxn ang="0">
                <a:pos x="connsiteX14656" y="connsiteY14656"/>
              </a:cxn>
              <a:cxn ang="0">
                <a:pos x="connsiteX14657" y="connsiteY14657"/>
              </a:cxn>
              <a:cxn ang="0">
                <a:pos x="connsiteX14658" y="connsiteY14658"/>
              </a:cxn>
              <a:cxn ang="0">
                <a:pos x="connsiteX14659" y="connsiteY14659"/>
              </a:cxn>
              <a:cxn ang="0">
                <a:pos x="connsiteX14660" y="connsiteY14660"/>
              </a:cxn>
              <a:cxn ang="0">
                <a:pos x="connsiteX14661" y="connsiteY14661"/>
              </a:cxn>
              <a:cxn ang="0">
                <a:pos x="connsiteX14662" y="connsiteY14662"/>
              </a:cxn>
              <a:cxn ang="0">
                <a:pos x="connsiteX14663" y="connsiteY14663"/>
              </a:cxn>
              <a:cxn ang="0">
                <a:pos x="connsiteX14664" y="connsiteY14664"/>
              </a:cxn>
              <a:cxn ang="0">
                <a:pos x="connsiteX14665" y="connsiteY14665"/>
              </a:cxn>
              <a:cxn ang="0">
                <a:pos x="connsiteX14666" y="connsiteY14666"/>
              </a:cxn>
              <a:cxn ang="0">
                <a:pos x="connsiteX14667" y="connsiteY14667"/>
              </a:cxn>
              <a:cxn ang="0">
                <a:pos x="connsiteX14668" y="connsiteY14668"/>
              </a:cxn>
              <a:cxn ang="0">
                <a:pos x="connsiteX14669" y="connsiteY14669"/>
              </a:cxn>
              <a:cxn ang="0">
                <a:pos x="connsiteX14670" y="connsiteY14670"/>
              </a:cxn>
              <a:cxn ang="0">
                <a:pos x="connsiteX14671" y="connsiteY14671"/>
              </a:cxn>
              <a:cxn ang="0">
                <a:pos x="connsiteX14672" y="connsiteY14672"/>
              </a:cxn>
              <a:cxn ang="0">
                <a:pos x="connsiteX14673" y="connsiteY14673"/>
              </a:cxn>
              <a:cxn ang="0">
                <a:pos x="connsiteX14674" y="connsiteY14674"/>
              </a:cxn>
              <a:cxn ang="0">
                <a:pos x="connsiteX14675" y="connsiteY14675"/>
              </a:cxn>
              <a:cxn ang="0">
                <a:pos x="connsiteX14676" y="connsiteY14676"/>
              </a:cxn>
              <a:cxn ang="0">
                <a:pos x="connsiteX14677" y="connsiteY14677"/>
              </a:cxn>
              <a:cxn ang="0">
                <a:pos x="connsiteX14678" y="connsiteY14678"/>
              </a:cxn>
              <a:cxn ang="0">
                <a:pos x="connsiteX14679" y="connsiteY14679"/>
              </a:cxn>
              <a:cxn ang="0">
                <a:pos x="connsiteX14680" y="connsiteY14680"/>
              </a:cxn>
              <a:cxn ang="0">
                <a:pos x="connsiteX14681" y="connsiteY14681"/>
              </a:cxn>
              <a:cxn ang="0">
                <a:pos x="connsiteX14682" y="connsiteY14682"/>
              </a:cxn>
              <a:cxn ang="0">
                <a:pos x="connsiteX14683" y="connsiteY14683"/>
              </a:cxn>
              <a:cxn ang="0">
                <a:pos x="connsiteX14684" y="connsiteY14684"/>
              </a:cxn>
              <a:cxn ang="0">
                <a:pos x="connsiteX14685" y="connsiteY14685"/>
              </a:cxn>
              <a:cxn ang="0">
                <a:pos x="connsiteX14686" y="connsiteY14686"/>
              </a:cxn>
              <a:cxn ang="0">
                <a:pos x="connsiteX14687" y="connsiteY14687"/>
              </a:cxn>
              <a:cxn ang="0">
                <a:pos x="connsiteX14688" y="connsiteY14688"/>
              </a:cxn>
              <a:cxn ang="0">
                <a:pos x="connsiteX14689" y="connsiteY14689"/>
              </a:cxn>
              <a:cxn ang="0">
                <a:pos x="connsiteX14690" y="connsiteY14690"/>
              </a:cxn>
              <a:cxn ang="0">
                <a:pos x="connsiteX14691" y="connsiteY14691"/>
              </a:cxn>
              <a:cxn ang="0">
                <a:pos x="connsiteX14692" y="connsiteY14692"/>
              </a:cxn>
              <a:cxn ang="0">
                <a:pos x="connsiteX14693" y="connsiteY14693"/>
              </a:cxn>
              <a:cxn ang="0">
                <a:pos x="connsiteX14694" y="connsiteY14694"/>
              </a:cxn>
              <a:cxn ang="0">
                <a:pos x="connsiteX14695" y="connsiteY14695"/>
              </a:cxn>
              <a:cxn ang="0">
                <a:pos x="connsiteX14696" y="connsiteY14696"/>
              </a:cxn>
              <a:cxn ang="0">
                <a:pos x="connsiteX14697" y="connsiteY14697"/>
              </a:cxn>
              <a:cxn ang="0">
                <a:pos x="connsiteX14698" y="connsiteY14698"/>
              </a:cxn>
              <a:cxn ang="0">
                <a:pos x="connsiteX14699" y="connsiteY14699"/>
              </a:cxn>
              <a:cxn ang="0">
                <a:pos x="connsiteX14700" y="connsiteY14700"/>
              </a:cxn>
              <a:cxn ang="0">
                <a:pos x="connsiteX14701" y="connsiteY14701"/>
              </a:cxn>
              <a:cxn ang="0">
                <a:pos x="connsiteX14702" y="connsiteY14702"/>
              </a:cxn>
              <a:cxn ang="0">
                <a:pos x="connsiteX14703" y="connsiteY14703"/>
              </a:cxn>
              <a:cxn ang="0">
                <a:pos x="connsiteX14704" y="connsiteY14704"/>
              </a:cxn>
              <a:cxn ang="0">
                <a:pos x="connsiteX14705" y="connsiteY14705"/>
              </a:cxn>
              <a:cxn ang="0">
                <a:pos x="connsiteX14706" y="connsiteY14706"/>
              </a:cxn>
              <a:cxn ang="0">
                <a:pos x="connsiteX14707" y="connsiteY14707"/>
              </a:cxn>
              <a:cxn ang="0">
                <a:pos x="connsiteX14708" y="connsiteY14708"/>
              </a:cxn>
              <a:cxn ang="0">
                <a:pos x="connsiteX14709" y="connsiteY14709"/>
              </a:cxn>
              <a:cxn ang="0">
                <a:pos x="connsiteX14710" y="connsiteY14710"/>
              </a:cxn>
              <a:cxn ang="0">
                <a:pos x="connsiteX14711" y="connsiteY14711"/>
              </a:cxn>
              <a:cxn ang="0">
                <a:pos x="connsiteX14712" y="connsiteY14712"/>
              </a:cxn>
              <a:cxn ang="0">
                <a:pos x="connsiteX14713" y="connsiteY14713"/>
              </a:cxn>
              <a:cxn ang="0">
                <a:pos x="connsiteX14714" y="connsiteY14714"/>
              </a:cxn>
              <a:cxn ang="0">
                <a:pos x="connsiteX14715" y="connsiteY14715"/>
              </a:cxn>
              <a:cxn ang="0">
                <a:pos x="connsiteX14716" y="connsiteY14716"/>
              </a:cxn>
              <a:cxn ang="0">
                <a:pos x="connsiteX14717" y="connsiteY14717"/>
              </a:cxn>
              <a:cxn ang="0">
                <a:pos x="connsiteX14718" y="connsiteY14718"/>
              </a:cxn>
              <a:cxn ang="0">
                <a:pos x="connsiteX14719" y="connsiteY14719"/>
              </a:cxn>
              <a:cxn ang="0">
                <a:pos x="connsiteX14720" y="connsiteY14720"/>
              </a:cxn>
              <a:cxn ang="0">
                <a:pos x="connsiteX14721" y="connsiteY14721"/>
              </a:cxn>
              <a:cxn ang="0">
                <a:pos x="connsiteX14722" y="connsiteY14722"/>
              </a:cxn>
              <a:cxn ang="0">
                <a:pos x="connsiteX14723" y="connsiteY14723"/>
              </a:cxn>
              <a:cxn ang="0">
                <a:pos x="connsiteX14724" y="connsiteY14724"/>
              </a:cxn>
              <a:cxn ang="0">
                <a:pos x="connsiteX14725" y="connsiteY14725"/>
              </a:cxn>
              <a:cxn ang="0">
                <a:pos x="connsiteX14726" y="connsiteY14726"/>
              </a:cxn>
              <a:cxn ang="0">
                <a:pos x="connsiteX14727" y="connsiteY14727"/>
              </a:cxn>
              <a:cxn ang="0">
                <a:pos x="connsiteX14728" y="connsiteY14728"/>
              </a:cxn>
              <a:cxn ang="0">
                <a:pos x="connsiteX14729" y="connsiteY14729"/>
              </a:cxn>
              <a:cxn ang="0">
                <a:pos x="connsiteX14730" y="connsiteY14730"/>
              </a:cxn>
              <a:cxn ang="0">
                <a:pos x="connsiteX14731" y="connsiteY14731"/>
              </a:cxn>
              <a:cxn ang="0">
                <a:pos x="connsiteX14732" y="connsiteY14732"/>
              </a:cxn>
              <a:cxn ang="0">
                <a:pos x="connsiteX14733" y="connsiteY14733"/>
              </a:cxn>
              <a:cxn ang="0">
                <a:pos x="connsiteX14734" y="connsiteY14734"/>
              </a:cxn>
              <a:cxn ang="0">
                <a:pos x="connsiteX14735" y="connsiteY14735"/>
              </a:cxn>
              <a:cxn ang="0">
                <a:pos x="connsiteX14736" y="connsiteY14736"/>
              </a:cxn>
              <a:cxn ang="0">
                <a:pos x="connsiteX14737" y="connsiteY14737"/>
              </a:cxn>
              <a:cxn ang="0">
                <a:pos x="connsiteX14738" y="connsiteY14738"/>
              </a:cxn>
              <a:cxn ang="0">
                <a:pos x="connsiteX14739" y="connsiteY14739"/>
              </a:cxn>
              <a:cxn ang="0">
                <a:pos x="connsiteX14740" y="connsiteY14740"/>
              </a:cxn>
              <a:cxn ang="0">
                <a:pos x="connsiteX14741" y="connsiteY14741"/>
              </a:cxn>
              <a:cxn ang="0">
                <a:pos x="connsiteX14742" y="connsiteY14742"/>
              </a:cxn>
              <a:cxn ang="0">
                <a:pos x="connsiteX14743" y="connsiteY14743"/>
              </a:cxn>
              <a:cxn ang="0">
                <a:pos x="connsiteX14744" y="connsiteY14744"/>
              </a:cxn>
              <a:cxn ang="0">
                <a:pos x="connsiteX14745" y="connsiteY14745"/>
              </a:cxn>
              <a:cxn ang="0">
                <a:pos x="connsiteX14746" y="connsiteY14746"/>
              </a:cxn>
              <a:cxn ang="0">
                <a:pos x="connsiteX14747" y="connsiteY14747"/>
              </a:cxn>
              <a:cxn ang="0">
                <a:pos x="connsiteX14748" y="connsiteY14748"/>
              </a:cxn>
              <a:cxn ang="0">
                <a:pos x="connsiteX14749" y="connsiteY14749"/>
              </a:cxn>
              <a:cxn ang="0">
                <a:pos x="connsiteX14750" y="connsiteY14750"/>
              </a:cxn>
              <a:cxn ang="0">
                <a:pos x="connsiteX14751" y="connsiteY14751"/>
              </a:cxn>
              <a:cxn ang="0">
                <a:pos x="connsiteX14752" y="connsiteY14752"/>
              </a:cxn>
              <a:cxn ang="0">
                <a:pos x="connsiteX14753" y="connsiteY14753"/>
              </a:cxn>
              <a:cxn ang="0">
                <a:pos x="connsiteX14754" y="connsiteY14754"/>
              </a:cxn>
              <a:cxn ang="0">
                <a:pos x="connsiteX14755" y="connsiteY14755"/>
              </a:cxn>
              <a:cxn ang="0">
                <a:pos x="connsiteX14756" y="connsiteY14756"/>
              </a:cxn>
              <a:cxn ang="0">
                <a:pos x="connsiteX14757" y="connsiteY14757"/>
              </a:cxn>
              <a:cxn ang="0">
                <a:pos x="connsiteX14758" y="connsiteY14758"/>
              </a:cxn>
              <a:cxn ang="0">
                <a:pos x="connsiteX14759" y="connsiteY14759"/>
              </a:cxn>
              <a:cxn ang="0">
                <a:pos x="connsiteX14760" y="connsiteY14760"/>
              </a:cxn>
              <a:cxn ang="0">
                <a:pos x="connsiteX14761" y="connsiteY14761"/>
              </a:cxn>
              <a:cxn ang="0">
                <a:pos x="connsiteX14762" y="connsiteY14762"/>
              </a:cxn>
              <a:cxn ang="0">
                <a:pos x="connsiteX14763" y="connsiteY14763"/>
              </a:cxn>
              <a:cxn ang="0">
                <a:pos x="connsiteX14764" y="connsiteY14764"/>
              </a:cxn>
              <a:cxn ang="0">
                <a:pos x="connsiteX14765" y="connsiteY14765"/>
              </a:cxn>
              <a:cxn ang="0">
                <a:pos x="connsiteX14766" y="connsiteY14766"/>
              </a:cxn>
              <a:cxn ang="0">
                <a:pos x="connsiteX14767" y="connsiteY14767"/>
              </a:cxn>
              <a:cxn ang="0">
                <a:pos x="connsiteX14768" y="connsiteY14768"/>
              </a:cxn>
              <a:cxn ang="0">
                <a:pos x="connsiteX14769" y="connsiteY14769"/>
              </a:cxn>
              <a:cxn ang="0">
                <a:pos x="connsiteX14770" y="connsiteY14770"/>
              </a:cxn>
              <a:cxn ang="0">
                <a:pos x="connsiteX14771" y="connsiteY14771"/>
              </a:cxn>
              <a:cxn ang="0">
                <a:pos x="connsiteX14772" y="connsiteY14772"/>
              </a:cxn>
              <a:cxn ang="0">
                <a:pos x="connsiteX14773" y="connsiteY14773"/>
              </a:cxn>
              <a:cxn ang="0">
                <a:pos x="connsiteX14774" y="connsiteY14774"/>
              </a:cxn>
              <a:cxn ang="0">
                <a:pos x="connsiteX14775" y="connsiteY14775"/>
              </a:cxn>
              <a:cxn ang="0">
                <a:pos x="connsiteX14776" y="connsiteY14776"/>
              </a:cxn>
              <a:cxn ang="0">
                <a:pos x="connsiteX14777" y="connsiteY14777"/>
              </a:cxn>
              <a:cxn ang="0">
                <a:pos x="connsiteX14778" y="connsiteY14778"/>
              </a:cxn>
              <a:cxn ang="0">
                <a:pos x="connsiteX14779" y="connsiteY14779"/>
              </a:cxn>
              <a:cxn ang="0">
                <a:pos x="connsiteX14780" y="connsiteY14780"/>
              </a:cxn>
              <a:cxn ang="0">
                <a:pos x="connsiteX14781" y="connsiteY14781"/>
              </a:cxn>
              <a:cxn ang="0">
                <a:pos x="connsiteX14782" y="connsiteY14782"/>
              </a:cxn>
              <a:cxn ang="0">
                <a:pos x="connsiteX14783" y="connsiteY14783"/>
              </a:cxn>
              <a:cxn ang="0">
                <a:pos x="connsiteX14784" y="connsiteY14784"/>
              </a:cxn>
              <a:cxn ang="0">
                <a:pos x="connsiteX14785" y="connsiteY14785"/>
              </a:cxn>
              <a:cxn ang="0">
                <a:pos x="connsiteX14786" y="connsiteY14786"/>
              </a:cxn>
              <a:cxn ang="0">
                <a:pos x="connsiteX14787" y="connsiteY14787"/>
              </a:cxn>
              <a:cxn ang="0">
                <a:pos x="connsiteX14788" y="connsiteY14788"/>
              </a:cxn>
              <a:cxn ang="0">
                <a:pos x="connsiteX14789" y="connsiteY14789"/>
              </a:cxn>
              <a:cxn ang="0">
                <a:pos x="connsiteX14790" y="connsiteY14790"/>
              </a:cxn>
              <a:cxn ang="0">
                <a:pos x="connsiteX14791" y="connsiteY14791"/>
              </a:cxn>
              <a:cxn ang="0">
                <a:pos x="connsiteX14792" y="connsiteY14792"/>
              </a:cxn>
              <a:cxn ang="0">
                <a:pos x="connsiteX14793" y="connsiteY14793"/>
              </a:cxn>
              <a:cxn ang="0">
                <a:pos x="connsiteX14794" y="connsiteY14794"/>
              </a:cxn>
              <a:cxn ang="0">
                <a:pos x="connsiteX14795" y="connsiteY14795"/>
              </a:cxn>
              <a:cxn ang="0">
                <a:pos x="connsiteX14796" y="connsiteY14796"/>
              </a:cxn>
              <a:cxn ang="0">
                <a:pos x="connsiteX14797" y="connsiteY14797"/>
              </a:cxn>
              <a:cxn ang="0">
                <a:pos x="connsiteX14798" y="connsiteY14798"/>
              </a:cxn>
              <a:cxn ang="0">
                <a:pos x="connsiteX14799" y="connsiteY14799"/>
              </a:cxn>
              <a:cxn ang="0">
                <a:pos x="connsiteX14800" y="connsiteY14800"/>
              </a:cxn>
              <a:cxn ang="0">
                <a:pos x="connsiteX14801" y="connsiteY14801"/>
              </a:cxn>
              <a:cxn ang="0">
                <a:pos x="connsiteX14802" y="connsiteY14802"/>
              </a:cxn>
              <a:cxn ang="0">
                <a:pos x="connsiteX14803" y="connsiteY14803"/>
              </a:cxn>
              <a:cxn ang="0">
                <a:pos x="connsiteX14804" y="connsiteY14804"/>
              </a:cxn>
              <a:cxn ang="0">
                <a:pos x="connsiteX14805" y="connsiteY14805"/>
              </a:cxn>
              <a:cxn ang="0">
                <a:pos x="connsiteX14806" y="connsiteY14806"/>
              </a:cxn>
              <a:cxn ang="0">
                <a:pos x="connsiteX14807" y="connsiteY14807"/>
              </a:cxn>
              <a:cxn ang="0">
                <a:pos x="connsiteX14808" y="connsiteY14808"/>
              </a:cxn>
              <a:cxn ang="0">
                <a:pos x="connsiteX14809" y="connsiteY14809"/>
              </a:cxn>
              <a:cxn ang="0">
                <a:pos x="connsiteX14810" y="connsiteY14810"/>
              </a:cxn>
              <a:cxn ang="0">
                <a:pos x="connsiteX14811" y="connsiteY14811"/>
              </a:cxn>
              <a:cxn ang="0">
                <a:pos x="connsiteX14812" y="connsiteY14812"/>
              </a:cxn>
              <a:cxn ang="0">
                <a:pos x="connsiteX14813" y="connsiteY14813"/>
              </a:cxn>
              <a:cxn ang="0">
                <a:pos x="connsiteX14814" y="connsiteY14814"/>
              </a:cxn>
              <a:cxn ang="0">
                <a:pos x="connsiteX14815" y="connsiteY14815"/>
              </a:cxn>
              <a:cxn ang="0">
                <a:pos x="connsiteX14816" y="connsiteY14816"/>
              </a:cxn>
              <a:cxn ang="0">
                <a:pos x="connsiteX14817" y="connsiteY14817"/>
              </a:cxn>
              <a:cxn ang="0">
                <a:pos x="connsiteX14818" y="connsiteY14818"/>
              </a:cxn>
              <a:cxn ang="0">
                <a:pos x="connsiteX14819" y="connsiteY14819"/>
              </a:cxn>
              <a:cxn ang="0">
                <a:pos x="connsiteX14820" y="connsiteY14820"/>
              </a:cxn>
              <a:cxn ang="0">
                <a:pos x="connsiteX14821" y="connsiteY14821"/>
              </a:cxn>
              <a:cxn ang="0">
                <a:pos x="connsiteX14822" y="connsiteY14822"/>
              </a:cxn>
              <a:cxn ang="0">
                <a:pos x="connsiteX14823" y="connsiteY14823"/>
              </a:cxn>
              <a:cxn ang="0">
                <a:pos x="connsiteX14824" y="connsiteY14824"/>
              </a:cxn>
              <a:cxn ang="0">
                <a:pos x="connsiteX14825" y="connsiteY14825"/>
              </a:cxn>
              <a:cxn ang="0">
                <a:pos x="connsiteX14826" y="connsiteY14826"/>
              </a:cxn>
              <a:cxn ang="0">
                <a:pos x="connsiteX14827" y="connsiteY14827"/>
              </a:cxn>
              <a:cxn ang="0">
                <a:pos x="connsiteX14828" y="connsiteY14828"/>
              </a:cxn>
              <a:cxn ang="0">
                <a:pos x="connsiteX14829" y="connsiteY14829"/>
              </a:cxn>
              <a:cxn ang="0">
                <a:pos x="connsiteX14830" y="connsiteY14830"/>
              </a:cxn>
              <a:cxn ang="0">
                <a:pos x="connsiteX14831" y="connsiteY14831"/>
              </a:cxn>
              <a:cxn ang="0">
                <a:pos x="connsiteX14832" y="connsiteY14832"/>
              </a:cxn>
              <a:cxn ang="0">
                <a:pos x="connsiteX14833" y="connsiteY14833"/>
              </a:cxn>
              <a:cxn ang="0">
                <a:pos x="connsiteX14834" y="connsiteY14834"/>
              </a:cxn>
              <a:cxn ang="0">
                <a:pos x="connsiteX14835" y="connsiteY14835"/>
              </a:cxn>
              <a:cxn ang="0">
                <a:pos x="connsiteX14836" y="connsiteY14836"/>
              </a:cxn>
              <a:cxn ang="0">
                <a:pos x="connsiteX14837" y="connsiteY14837"/>
              </a:cxn>
              <a:cxn ang="0">
                <a:pos x="connsiteX14838" y="connsiteY14838"/>
              </a:cxn>
              <a:cxn ang="0">
                <a:pos x="connsiteX14839" y="connsiteY14839"/>
              </a:cxn>
              <a:cxn ang="0">
                <a:pos x="connsiteX14840" y="connsiteY14840"/>
              </a:cxn>
              <a:cxn ang="0">
                <a:pos x="connsiteX14841" y="connsiteY14841"/>
              </a:cxn>
              <a:cxn ang="0">
                <a:pos x="connsiteX14842" y="connsiteY14842"/>
              </a:cxn>
              <a:cxn ang="0">
                <a:pos x="connsiteX14843" y="connsiteY14843"/>
              </a:cxn>
              <a:cxn ang="0">
                <a:pos x="connsiteX14844" y="connsiteY14844"/>
              </a:cxn>
              <a:cxn ang="0">
                <a:pos x="connsiteX14845" y="connsiteY14845"/>
              </a:cxn>
              <a:cxn ang="0">
                <a:pos x="connsiteX14846" y="connsiteY14846"/>
              </a:cxn>
              <a:cxn ang="0">
                <a:pos x="connsiteX14847" y="connsiteY14847"/>
              </a:cxn>
              <a:cxn ang="0">
                <a:pos x="connsiteX14848" y="connsiteY14848"/>
              </a:cxn>
              <a:cxn ang="0">
                <a:pos x="connsiteX14849" y="connsiteY14849"/>
              </a:cxn>
              <a:cxn ang="0">
                <a:pos x="connsiteX14850" y="connsiteY14850"/>
              </a:cxn>
              <a:cxn ang="0">
                <a:pos x="connsiteX14851" y="connsiteY14851"/>
              </a:cxn>
              <a:cxn ang="0">
                <a:pos x="connsiteX14852" y="connsiteY14852"/>
              </a:cxn>
              <a:cxn ang="0">
                <a:pos x="connsiteX14853" y="connsiteY14853"/>
              </a:cxn>
              <a:cxn ang="0">
                <a:pos x="connsiteX14854" y="connsiteY14854"/>
              </a:cxn>
              <a:cxn ang="0">
                <a:pos x="connsiteX14855" y="connsiteY14855"/>
              </a:cxn>
              <a:cxn ang="0">
                <a:pos x="connsiteX14856" y="connsiteY14856"/>
              </a:cxn>
              <a:cxn ang="0">
                <a:pos x="connsiteX14857" y="connsiteY14857"/>
              </a:cxn>
              <a:cxn ang="0">
                <a:pos x="connsiteX14858" y="connsiteY14858"/>
              </a:cxn>
              <a:cxn ang="0">
                <a:pos x="connsiteX14859" y="connsiteY14859"/>
              </a:cxn>
              <a:cxn ang="0">
                <a:pos x="connsiteX14860" y="connsiteY14860"/>
              </a:cxn>
              <a:cxn ang="0">
                <a:pos x="connsiteX14861" y="connsiteY14861"/>
              </a:cxn>
              <a:cxn ang="0">
                <a:pos x="connsiteX14862" y="connsiteY14862"/>
              </a:cxn>
              <a:cxn ang="0">
                <a:pos x="connsiteX14863" y="connsiteY14863"/>
              </a:cxn>
              <a:cxn ang="0">
                <a:pos x="connsiteX14864" y="connsiteY14864"/>
              </a:cxn>
              <a:cxn ang="0">
                <a:pos x="connsiteX14865" y="connsiteY14865"/>
              </a:cxn>
              <a:cxn ang="0">
                <a:pos x="connsiteX14866" y="connsiteY14866"/>
              </a:cxn>
              <a:cxn ang="0">
                <a:pos x="connsiteX14867" y="connsiteY14867"/>
              </a:cxn>
              <a:cxn ang="0">
                <a:pos x="connsiteX14868" y="connsiteY14868"/>
              </a:cxn>
              <a:cxn ang="0">
                <a:pos x="connsiteX14869" y="connsiteY14869"/>
              </a:cxn>
              <a:cxn ang="0">
                <a:pos x="connsiteX14870" y="connsiteY14870"/>
              </a:cxn>
              <a:cxn ang="0">
                <a:pos x="connsiteX14871" y="connsiteY14871"/>
              </a:cxn>
              <a:cxn ang="0">
                <a:pos x="connsiteX14872" y="connsiteY14872"/>
              </a:cxn>
              <a:cxn ang="0">
                <a:pos x="connsiteX14873" y="connsiteY14873"/>
              </a:cxn>
              <a:cxn ang="0">
                <a:pos x="connsiteX14874" y="connsiteY14874"/>
              </a:cxn>
              <a:cxn ang="0">
                <a:pos x="connsiteX14875" y="connsiteY14875"/>
              </a:cxn>
              <a:cxn ang="0">
                <a:pos x="connsiteX14876" y="connsiteY14876"/>
              </a:cxn>
              <a:cxn ang="0">
                <a:pos x="connsiteX14877" y="connsiteY14877"/>
              </a:cxn>
              <a:cxn ang="0">
                <a:pos x="connsiteX14878" y="connsiteY14878"/>
              </a:cxn>
              <a:cxn ang="0">
                <a:pos x="connsiteX14879" y="connsiteY14879"/>
              </a:cxn>
              <a:cxn ang="0">
                <a:pos x="connsiteX14880" y="connsiteY14880"/>
              </a:cxn>
              <a:cxn ang="0">
                <a:pos x="connsiteX14881" y="connsiteY14881"/>
              </a:cxn>
              <a:cxn ang="0">
                <a:pos x="connsiteX14882" y="connsiteY14882"/>
              </a:cxn>
              <a:cxn ang="0">
                <a:pos x="connsiteX14883" y="connsiteY14883"/>
              </a:cxn>
              <a:cxn ang="0">
                <a:pos x="connsiteX14884" y="connsiteY14884"/>
              </a:cxn>
              <a:cxn ang="0">
                <a:pos x="connsiteX14885" y="connsiteY14885"/>
              </a:cxn>
              <a:cxn ang="0">
                <a:pos x="connsiteX14886" y="connsiteY14886"/>
              </a:cxn>
              <a:cxn ang="0">
                <a:pos x="connsiteX14887" y="connsiteY14887"/>
              </a:cxn>
              <a:cxn ang="0">
                <a:pos x="connsiteX14888" y="connsiteY14888"/>
              </a:cxn>
              <a:cxn ang="0">
                <a:pos x="connsiteX14889" y="connsiteY14889"/>
              </a:cxn>
              <a:cxn ang="0">
                <a:pos x="connsiteX14890" y="connsiteY14890"/>
              </a:cxn>
              <a:cxn ang="0">
                <a:pos x="connsiteX14891" y="connsiteY14891"/>
              </a:cxn>
              <a:cxn ang="0">
                <a:pos x="connsiteX14892" y="connsiteY14892"/>
              </a:cxn>
              <a:cxn ang="0">
                <a:pos x="connsiteX14893" y="connsiteY14893"/>
              </a:cxn>
              <a:cxn ang="0">
                <a:pos x="connsiteX14894" y="connsiteY14894"/>
              </a:cxn>
              <a:cxn ang="0">
                <a:pos x="connsiteX14895" y="connsiteY14895"/>
              </a:cxn>
              <a:cxn ang="0">
                <a:pos x="connsiteX14896" y="connsiteY14896"/>
              </a:cxn>
              <a:cxn ang="0">
                <a:pos x="connsiteX14897" y="connsiteY14897"/>
              </a:cxn>
              <a:cxn ang="0">
                <a:pos x="connsiteX14898" y="connsiteY14898"/>
              </a:cxn>
              <a:cxn ang="0">
                <a:pos x="connsiteX14899" y="connsiteY14899"/>
              </a:cxn>
              <a:cxn ang="0">
                <a:pos x="connsiteX14900" y="connsiteY14900"/>
              </a:cxn>
              <a:cxn ang="0">
                <a:pos x="connsiteX14901" y="connsiteY14901"/>
              </a:cxn>
              <a:cxn ang="0">
                <a:pos x="connsiteX14902" y="connsiteY14902"/>
              </a:cxn>
              <a:cxn ang="0">
                <a:pos x="connsiteX14903" y="connsiteY14903"/>
              </a:cxn>
              <a:cxn ang="0">
                <a:pos x="connsiteX14904" y="connsiteY14904"/>
              </a:cxn>
              <a:cxn ang="0">
                <a:pos x="connsiteX14905" y="connsiteY14905"/>
              </a:cxn>
              <a:cxn ang="0">
                <a:pos x="connsiteX14906" y="connsiteY14906"/>
              </a:cxn>
              <a:cxn ang="0">
                <a:pos x="connsiteX14907" y="connsiteY14907"/>
              </a:cxn>
              <a:cxn ang="0">
                <a:pos x="connsiteX14908" y="connsiteY14908"/>
              </a:cxn>
              <a:cxn ang="0">
                <a:pos x="connsiteX14909" y="connsiteY14909"/>
              </a:cxn>
            </a:cxnLst>
            <a:rect l="l" t="t" r="r" b="b"/>
            <a:pathLst>
              <a:path w="4716235" h="4596459">
                <a:moveTo>
                  <a:pt x="1764776" y="4580106"/>
                </a:moveTo>
                <a:cubicBezTo>
                  <a:pt x="1769236" y="4580106"/>
                  <a:pt x="1772869" y="4583741"/>
                  <a:pt x="1772869" y="4588035"/>
                </a:cubicBezTo>
                <a:cubicBezTo>
                  <a:pt x="1772869" y="4592330"/>
                  <a:pt x="1769236" y="4595963"/>
                  <a:pt x="1764776" y="4595963"/>
                </a:cubicBezTo>
                <a:cubicBezTo>
                  <a:pt x="1760482" y="4595963"/>
                  <a:pt x="1756847" y="4592330"/>
                  <a:pt x="1756847" y="4588035"/>
                </a:cubicBezTo>
                <a:cubicBezTo>
                  <a:pt x="1756847" y="4583741"/>
                  <a:pt x="1760315" y="4580106"/>
                  <a:pt x="1764776" y="4580106"/>
                </a:cubicBezTo>
                <a:close/>
                <a:moveTo>
                  <a:pt x="1698042" y="4579447"/>
                </a:moveTo>
                <a:cubicBezTo>
                  <a:pt x="1702171" y="4579447"/>
                  <a:pt x="1705475" y="4582751"/>
                  <a:pt x="1705475" y="4586880"/>
                </a:cubicBezTo>
                <a:cubicBezTo>
                  <a:pt x="1705475" y="4591009"/>
                  <a:pt x="1702171" y="4594312"/>
                  <a:pt x="1698042" y="4594312"/>
                </a:cubicBezTo>
                <a:cubicBezTo>
                  <a:pt x="1693913" y="4594312"/>
                  <a:pt x="1690610" y="4591009"/>
                  <a:pt x="1690610" y="4586880"/>
                </a:cubicBezTo>
                <a:cubicBezTo>
                  <a:pt x="1690610" y="4582751"/>
                  <a:pt x="1693913" y="4579447"/>
                  <a:pt x="1698042" y="4579447"/>
                </a:cubicBezTo>
                <a:close/>
                <a:moveTo>
                  <a:pt x="1831509" y="4578951"/>
                </a:moveTo>
                <a:cubicBezTo>
                  <a:pt x="1836299" y="4578951"/>
                  <a:pt x="1840263" y="4582915"/>
                  <a:pt x="1840263" y="4587705"/>
                </a:cubicBezTo>
                <a:cubicBezTo>
                  <a:pt x="1840263" y="4592495"/>
                  <a:pt x="1836299" y="4596459"/>
                  <a:pt x="1831509" y="4596459"/>
                </a:cubicBezTo>
                <a:cubicBezTo>
                  <a:pt x="1826719" y="4596459"/>
                  <a:pt x="1822755" y="4592495"/>
                  <a:pt x="1822755" y="4587705"/>
                </a:cubicBezTo>
                <a:cubicBezTo>
                  <a:pt x="1822755" y="4582915"/>
                  <a:pt x="1826719" y="4578951"/>
                  <a:pt x="1831509" y="4578951"/>
                </a:cubicBezTo>
                <a:close/>
                <a:moveTo>
                  <a:pt x="1631476" y="4578290"/>
                </a:moveTo>
                <a:cubicBezTo>
                  <a:pt x="1635109" y="4578290"/>
                  <a:pt x="1637916" y="4581098"/>
                  <a:pt x="1637916" y="4584733"/>
                </a:cubicBezTo>
                <a:cubicBezTo>
                  <a:pt x="1637916" y="4588366"/>
                  <a:pt x="1635109" y="4591173"/>
                  <a:pt x="1631476" y="4591173"/>
                </a:cubicBezTo>
                <a:cubicBezTo>
                  <a:pt x="1627841" y="4591173"/>
                  <a:pt x="1625033" y="4588366"/>
                  <a:pt x="1625033" y="4584733"/>
                </a:cubicBezTo>
                <a:cubicBezTo>
                  <a:pt x="1625033" y="4581098"/>
                  <a:pt x="1627841" y="4578290"/>
                  <a:pt x="1631476" y="4578290"/>
                </a:cubicBezTo>
                <a:close/>
                <a:moveTo>
                  <a:pt x="1898077" y="4577298"/>
                </a:moveTo>
                <a:cubicBezTo>
                  <a:pt x="1902912" y="4577298"/>
                  <a:pt x="1906833" y="4581217"/>
                  <a:pt x="1906833" y="4586052"/>
                </a:cubicBezTo>
                <a:cubicBezTo>
                  <a:pt x="1906833" y="4590889"/>
                  <a:pt x="1902912" y="4594808"/>
                  <a:pt x="1898077" y="4594808"/>
                </a:cubicBezTo>
                <a:cubicBezTo>
                  <a:pt x="1893242" y="4594808"/>
                  <a:pt x="1889323" y="4590889"/>
                  <a:pt x="1889323" y="4586052"/>
                </a:cubicBezTo>
                <a:cubicBezTo>
                  <a:pt x="1889323" y="4581217"/>
                  <a:pt x="1893242" y="4577298"/>
                  <a:pt x="1898077" y="4577298"/>
                </a:cubicBezTo>
                <a:close/>
                <a:moveTo>
                  <a:pt x="1565072" y="4576308"/>
                </a:moveTo>
                <a:cubicBezTo>
                  <a:pt x="1567879" y="4576308"/>
                  <a:pt x="1570191" y="4578620"/>
                  <a:pt x="1570191" y="4581429"/>
                </a:cubicBezTo>
                <a:cubicBezTo>
                  <a:pt x="1570191" y="4584237"/>
                  <a:pt x="1567879" y="4586548"/>
                  <a:pt x="1565072" y="4586548"/>
                </a:cubicBezTo>
                <a:cubicBezTo>
                  <a:pt x="1562262" y="4586548"/>
                  <a:pt x="1559951" y="4584237"/>
                  <a:pt x="1559951" y="4581429"/>
                </a:cubicBezTo>
                <a:cubicBezTo>
                  <a:pt x="1559951" y="4578620"/>
                  <a:pt x="1562262" y="4576308"/>
                  <a:pt x="1565072" y="4576308"/>
                </a:cubicBezTo>
                <a:close/>
                <a:moveTo>
                  <a:pt x="1964644" y="4574326"/>
                </a:moveTo>
                <a:cubicBezTo>
                  <a:pt x="1969479" y="4574326"/>
                  <a:pt x="1973400" y="4578245"/>
                  <a:pt x="1973400" y="4583080"/>
                </a:cubicBezTo>
                <a:cubicBezTo>
                  <a:pt x="1973400" y="4587917"/>
                  <a:pt x="1969479" y="4591836"/>
                  <a:pt x="1964644" y="4591836"/>
                </a:cubicBezTo>
                <a:cubicBezTo>
                  <a:pt x="1959809" y="4591836"/>
                  <a:pt x="1955890" y="4587917"/>
                  <a:pt x="1955890" y="4583080"/>
                </a:cubicBezTo>
                <a:cubicBezTo>
                  <a:pt x="1955890" y="4578245"/>
                  <a:pt x="1959809" y="4574326"/>
                  <a:pt x="1964644" y="4574326"/>
                </a:cubicBezTo>
                <a:close/>
                <a:moveTo>
                  <a:pt x="1498998" y="4573004"/>
                </a:moveTo>
                <a:cubicBezTo>
                  <a:pt x="1501006" y="4573004"/>
                  <a:pt x="1502632" y="4574631"/>
                  <a:pt x="1502632" y="4576637"/>
                </a:cubicBezTo>
                <a:cubicBezTo>
                  <a:pt x="1502632" y="4578646"/>
                  <a:pt x="1501006" y="4580272"/>
                  <a:pt x="1498998" y="4580272"/>
                </a:cubicBezTo>
                <a:cubicBezTo>
                  <a:pt x="1496991" y="4580272"/>
                  <a:pt x="1495364" y="4578646"/>
                  <a:pt x="1495364" y="4576637"/>
                </a:cubicBezTo>
                <a:cubicBezTo>
                  <a:pt x="1495364" y="4574631"/>
                  <a:pt x="1496991" y="4573004"/>
                  <a:pt x="1498998" y="4573004"/>
                </a:cubicBezTo>
                <a:close/>
                <a:moveTo>
                  <a:pt x="2030881" y="4570197"/>
                </a:moveTo>
                <a:cubicBezTo>
                  <a:pt x="2035673" y="4570197"/>
                  <a:pt x="2039636" y="4574161"/>
                  <a:pt x="2039636" y="4578951"/>
                </a:cubicBezTo>
                <a:cubicBezTo>
                  <a:pt x="2039636" y="4583741"/>
                  <a:pt x="2035673" y="4587705"/>
                  <a:pt x="2030881" y="4587705"/>
                </a:cubicBezTo>
                <a:cubicBezTo>
                  <a:pt x="2026092" y="4587705"/>
                  <a:pt x="2022127" y="4583741"/>
                  <a:pt x="2022127" y="4578951"/>
                </a:cubicBezTo>
                <a:cubicBezTo>
                  <a:pt x="2022127" y="4574161"/>
                  <a:pt x="2026092" y="4570197"/>
                  <a:pt x="2030881" y="4570197"/>
                </a:cubicBezTo>
                <a:close/>
                <a:moveTo>
                  <a:pt x="1433256" y="4568709"/>
                </a:moveTo>
                <a:cubicBezTo>
                  <a:pt x="1434351" y="4568709"/>
                  <a:pt x="1435238" y="4569597"/>
                  <a:pt x="1435238" y="4570691"/>
                </a:cubicBezTo>
                <a:cubicBezTo>
                  <a:pt x="1435238" y="4571785"/>
                  <a:pt x="1434351" y="4572673"/>
                  <a:pt x="1433256" y="4572673"/>
                </a:cubicBezTo>
                <a:cubicBezTo>
                  <a:pt x="1432162" y="4572673"/>
                  <a:pt x="1431274" y="4571785"/>
                  <a:pt x="1431274" y="4570691"/>
                </a:cubicBezTo>
                <a:cubicBezTo>
                  <a:pt x="1431274" y="4569597"/>
                  <a:pt x="1432162" y="4568709"/>
                  <a:pt x="1433256" y="4568709"/>
                </a:cubicBezTo>
                <a:close/>
                <a:moveTo>
                  <a:pt x="2096791" y="4565570"/>
                </a:moveTo>
                <a:cubicBezTo>
                  <a:pt x="2101085" y="4565570"/>
                  <a:pt x="2104720" y="4569205"/>
                  <a:pt x="2104720" y="4573499"/>
                </a:cubicBezTo>
                <a:cubicBezTo>
                  <a:pt x="2104720" y="4577794"/>
                  <a:pt x="2101251" y="4581427"/>
                  <a:pt x="2096791" y="4581427"/>
                </a:cubicBezTo>
                <a:cubicBezTo>
                  <a:pt x="2092497" y="4581427"/>
                  <a:pt x="2088862" y="4577794"/>
                  <a:pt x="2088862" y="4573499"/>
                </a:cubicBezTo>
                <a:cubicBezTo>
                  <a:pt x="2088862" y="4569205"/>
                  <a:pt x="2092497" y="4565570"/>
                  <a:pt x="2096791" y="4565570"/>
                </a:cubicBezTo>
                <a:close/>
                <a:moveTo>
                  <a:pt x="1662528" y="4565405"/>
                </a:moveTo>
                <a:cubicBezTo>
                  <a:pt x="1668474" y="4565405"/>
                  <a:pt x="1673266" y="4570195"/>
                  <a:pt x="1673266" y="4576142"/>
                </a:cubicBezTo>
                <a:cubicBezTo>
                  <a:pt x="1673266" y="4582088"/>
                  <a:pt x="1668474" y="4586878"/>
                  <a:pt x="1662528" y="4586878"/>
                </a:cubicBezTo>
                <a:cubicBezTo>
                  <a:pt x="1656581" y="4586878"/>
                  <a:pt x="1651792" y="4582088"/>
                  <a:pt x="1651792" y="4576142"/>
                </a:cubicBezTo>
                <a:cubicBezTo>
                  <a:pt x="1651792" y="4570195"/>
                  <a:pt x="1656581" y="4565405"/>
                  <a:pt x="1662528" y="4565405"/>
                </a:cubicBezTo>
                <a:close/>
                <a:moveTo>
                  <a:pt x="1934417" y="4563919"/>
                </a:moveTo>
                <a:cubicBezTo>
                  <a:pt x="1940364" y="4563919"/>
                  <a:pt x="1945154" y="4568709"/>
                  <a:pt x="1945154" y="4574655"/>
                </a:cubicBezTo>
                <a:cubicBezTo>
                  <a:pt x="1945154" y="4580602"/>
                  <a:pt x="1940364" y="4585392"/>
                  <a:pt x="1934417" y="4585392"/>
                </a:cubicBezTo>
                <a:cubicBezTo>
                  <a:pt x="1928471" y="4585392"/>
                  <a:pt x="1923681" y="4580602"/>
                  <a:pt x="1923681" y="4574655"/>
                </a:cubicBezTo>
                <a:cubicBezTo>
                  <a:pt x="1923681" y="4568709"/>
                  <a:pt x="1928471" y="4563919"/>
                  <a:pt x="1934417" y="4563919"/>
                </a:cubicBezTo>
                <a:close/>
                <a:moveTo>
                  <a:pt x="1368011" y="4563093"/>
                </a:moveTo>
                <a:cubicBezTo>
                  <a:pt x="1368340" y="4563093"/>
                  <a:pt x="1368340" y="4563093"/>
                  <a:pt x="1368340" y="4563425"/>
                </a:cubicBezTo>
                <a:cubicBezTo>
                  <a:pt x="1368340" y="4563754"/>
                  <a:pt x="1368011" y="4563754"/>
                  <a:pt x="1368011" y="4563754"/>
                </a:cubicBezTo>
                <a:cubicBezTo>
                  <a:pt x="1367680" y="4563754"/>
                  <a:pt x="1367680" y="4563754"/>
                  <a:pt x="1367680" y="4563425"/>
                </a:cubicBezTo>
                <a:cubicBezTo>
                  <a:pt x="1367680" y="4563093"/>
                  <a:pt x="1367680" y="4563093"/>
                  <a:pt x="1368011" y="4563093"/>
                </a:cubicBezTo>
                <a:close/>
                <a:moveTo>
                  <a:pt x="1594638" y="4562268"/>
                </a:moveTo>
                <a:cubicBezTo>
                  <a:pt x="1600585" y="4562268"/>
                  <a:pt x="1605376" y="4567058"/>
                  <a:pt x="1605376" y="4573004"/>
                </a:cubicBezTo>
                <a:cubicBezTo>
                  <a:pt x="1605376" y="4578951"/>
                  <a:pt x="1600585" y="4583741"/>
                  <a:pt x="1594638" y="4583741"/>
                </a:cubicBezTo>
                <a:cubicBezTo>
                  <a:pt x="1588691" y="4583741"/>
                  <a:pt x="1583902" y="4578951"/>
                  <a:pt x="1583902" y="4573004"/>
                </a:cubicBezTo>
                <a:cubicBezTo>
                  <a:pt x="1583902" y="4567058"/>
                  <a:pt x="1588691" y="4562268"/>
                  <a:pt x="1594638" y="4562268"/>
                </a:cubicBezTo>
                <a:close/>
                <a:moveTo>
                  <a:pt x="2001976" y="4560119"/>
                </a:moveTo>
                <a:cubicBezTo>
                  <a:pt x="2007922" y="4560119"/>
                  <a:pt x="2012714" y="4564909"/>
                  <a:pt x="2012714" y="4570856"/>
                </a:cubicBezTo>
                <a:cubicBezTo>
                  <a:pt x="2012714" y="4576802"/>
                  <a:pt x="2007922" y="4581592"/>
                  <a:pt x="2001976" y="4581592"/>
                </a:cubicBezTo>
                <a:cubicBezTo>
                  <a:pt x="1996029" y="4581592"/>
                  <a:pt x="1991240" y="4576802"/>
                  <a:pt x="1991240" y="4570856"/>
                </a:cubicBezTo>
                <a:cubicBezTo>
                  <a:pt x="1991240" y="4564909"/>
                  <a:pt x="1996029" y="4560119"/>
                  <a:pt x="2001976" y="4560119"/>
                </a:cubicBezTo>
                <a:close/>
                <a:moveTo>
                  <a:pt x="2162201" y="4559459"/>
                </a:moveTo>
                <a:cubicBezTo>
                  <a:pt x="2166307" y="4559459"/>
                  <a:pt x="2169636" y="4562787"/>
                  <a:pt x="2169636" y="4566891"/>
                </a:cubicBezTo>
                <a:cubicBezTo>
                  <a:pt x="2169636" y="4570998"/>
                  <a:pt x="2166306" y="4574326"/>
                  <a:pt x="2162201" y="4574326"/>
                </a:cubicBezTo>
                <a:cubicBezTo>
                  <a:pt x="2158096" y="4574326"/>
                  <a:pt x="2154768" y="4570998"/>
                  <a:pt x="2154768" y="4566891"/>
                </a:cubicBezTo>
                <a:cubicBezTo>
                  <a:pt x="2154768" y="4562787"/>
                  <a:pt x="2158096" y="4559459"/>
                  <a:pt x="2162201" y="4559459"/>
                </a:cubicBezTo>
                <a:close/>
                <a:moveTo>
                  <a:pt x="1527079" y="4557808"/>
                </a:moveTo>
                <a:cubicBezTo>
                  <a:pt x="1533026" y="4557808"/>
                  <a:pt x="1537817" y="4562598"/>
                  <a:pt x="1537817" y="4568544"/>
                </a:cubicBezTo>
                <a:cubicBezTo>
                  <a:pt x="1537817" y="4574491"/>
                  <a:pt x="1533026" y="4579280"/>
                  <a:pt x="1527079" y="4579280"/>
                </a:cubicBezTo>
                <a:cubicBezTo>
                  <a:pt x="1521133" y="4579280"/>
                  <a:pt x="1516343" y="4574491"/>
                  <a:pt x="1516343" y="4568544"/>
                </a:cubicBezTo>
                <a:cubicBezTo>
                  <a:pt x="1516343" y="4562598"/>
                  <a:pt x="1521133" y="4557808"/>
                  <a:pt x="1527079" y="4557808"/>
                </a:cubicBezTo>
                <a:close/>
                <a:moveTo>
                  <a:pt x="2069370" y="4555000"/>
                </a:moveTo>
                <a:cubicBezTo>
                  <a:pt x="2075316" y="4555000"/>
                  <a:pt x="2080108" y="4559790"/>
                  <a:pt x="2080108" y="4565736"/>
                </a:cubicBezTo>
                <a:cubicBezTo>
                  <a:pt x="2080108" y="4571683"/>
                  <a:pt x="2075316" y="4576473"/>
                  <a:pt x="2069370" y="4576473"/>
                </a:cubicBezTo>
                <a:cubicBezTo>
                  <a:pt x="2063423" y="4576473"/>
                  <a:pt x="2058634" y="4571683"/>
                  <a:pt x="2058634" y="4565736"/>
                </a:cubicBezTo>
                <a:cubicBezTo>
                  <a:pt x="2058634" y="4559790"/>
                  <a:pt x="2063423" y="4555000"/>
                  <a:pt x="2069370" y="4555000"/>
                </a:cubicBezTo>
                <a:close/>
                <a:moveTo>
                  <a:pt x="1625363" y="4555000"/>
                </a:moveTo>
                <a:cubicBezTo>
                  <a:pt x="1631309" y="4555000"/>
                  <a:pt x="1636101" y="4559790"/>
                  <a:pt x="1636101" y="4565736"/>
                </a:cubicBezTo>
                <a:cubicBezTo>
                  <a:pt x="1636101" y="4571683"/>
                  <a:pt x="1631309" y="4576473"/>
                  <a:pt x="1625363" y="4576473"/>
                </a:cubicBezTo>
                <a:cubicBezTo>
                  <a:pt x="1619416" y="4576473"/>
                  <a:pt x="1614626" y="4571683"/>
                  <a:pt x="1614626" y="4565736"/>
                </a:cubicBezTo>
                <a:cubicBezTo>
                  <a:pt x="1614626" y="4559790"/>
                  <a:pt x="1619416" y="4555000"/>
                  <a:pt x="1625363" y="4555000"/>
                </a:cubicBezTo>
                <a:close/>
                <a:moveTo>
                  <a:pt x="1972079" y="4553018"/>
                </a:moveTo>
                <a:cubicBezTo>
                  <a:pt x="1978025" y="4553018"/>
                  <a:pt x="1982815" y="4557808"/>
                  <a:pt x="1982815" y="4563754"/>
                </a:cubicBezTo>
                <a:cubicBezTo>
                  <a:pt x="1982815" y="4569701"/>
                  <a:pt x="1978025" y="4574491"/>
                  <a:pt x="1972079" y="4574491"/>
                </a:cubicBezTo>
                <a:cubicBezTo>
                  <a:pt x="1966132" y="4574491"/>
                  <a:pt x="1961342" y="4569701"/>
                  <a:pt x="1961342" y="4563754"/>
                </a:cubicBezTo>
                <a:cubicBezTo>
                  <a:pt x="1961342" y="4557808"/>
                  <a:pt x="1966132" y="4553018"/>
                  <a:pt x="1972079" y="4553018"/>
                </a:cubicBezTo>
                <a:close/>
                <a:moveTo>
                  <a:pt x="2227283" y="4552687"/>
                </a:moveTo>
                <a:cubicBezTo>
                  <a:pt x="2230917" y="4552687"/>
                  <a:pt x="2233724" y="4555494"/>
                  <a:pt x="2233724" y="4559129"/>
                </a:cubicBezTo>
                <a:cubicBezTo>
                  <a:pt x="2233724" y="4562762"/>
                  <a:pt x="2230752" y="4565570"/>
                  <a:pt x="2227283" y="4565570"/>
                </a:cubicBezTo>
                <a:cubicBezTo>
                  <a:pt x="2223648" y="4565570"/>
                  <a:pt x="2220841" y="4562762"/>
                  <a:pt x="2220841" y="4559129"/>
                </a:cubicBezTo>
                <a:cubicBezTo>
                  <a:pt x="2220841" y="4555494"/>
                  <a:pt x="2223648" y="4552687"/>
                  <a:pt x="2227283" y="4552687"/>
                </a:cubicBezTo>
                <a:close/>
                <a:moveTo>
                  <a:pt x="1460017" y="4552191"/>
                </a:moveTo>
                <a:cubicBezTo>
                  <a:pt x="1465963" y="4552191"/>
                  <a:pt x="1470753" y="4556980"/>
                  <a:pt x="1470753" y="4562927"/>
                </a:cubicBezTo>
                <a:cubicBezTo>
                  <a:pt x="1470753" y="4568874"/>
                  <a:pt x="1465963" y="4573665"/>
                  <a:pt x="1460017" y="4573665"/>
                </a:cubicBezTo>
                <a:cubicBezTo>
                  <a:pt x="1454070" y="4573665"/>
                  <a:pt x="1449280" y="4568874"/>
                  <a:pt x="1449280" y="4562927"/>
                </a:cubicBezTo>
                <a:cubicBezTo>
                  <a:pt x="1449280" y="4556980"/>
                  <a:pt x="1454070" y="4552191"/>
                  <a:pt x="1460017" y="4552191"/>
                </a:cubicBezTo>
                <a:close/>
                <a:moveTo>
                  <a:pt x="1556316" y="4551036"/>
                </a:moveTo>
                <a:cubicBezTo>
                  <a:pt x="1562262" y="4551036"/>
                  <a:pt x="1567052" y="4555826"/>
                  <a:pt x="1567052" y="4561772"/>
                </a:cubicBezTo>
                <a:cubicBezTo>
                  <a:pt x="1567052" y="4567719"/>
                  <a:pt x="1562262" y="4572508"/>
                  <a:pt x="1556316" y="4572508"/>
                </a:cubicBezTo>
                <a:cubicBezTo>
                  <a:pt x="1550369" y="4572508"/>
                  <a:pt x="1545580" y="4567719"/>
                  <a:pt x="1545580" y="4561772"/>
                </a:cubicBezTo>
                <a:cubicBezTo>
                  <a:pt x="1545580" y="4555826"/>
                  <a:pt x="1550369" y="4551036"/>
                  <a:pt x="1556316" y="4551036"/>
                </a:cubicBezTo>
                <a:close/>
                <a:moveTo>
                  <a:pt x="2136433" y="4548558"/>
                </a:moveTo>
                <a:cubicBezTo>
                  <a:pt x="2142379" y="4548558"/>
                  <a:pt x="2147171" y="4553347"/>
                  <a:pt x="2147171" y="4559294"/>
                </a:cubicBezTo>
                <a:cubicBezTo>
                  <a:pt x="2147171" y="4565240"/>
                  <a:pt x="2142379" y="4570032"/>
                  <a:pt x="2136433" y="4570032"/>
                </a:cubicBezTo>
                <a:cubicBezTo>
                  <a:pt x="2130486" y="4570032"/>
                  <a:pt x="2125697" y="4565240"/>
                  <a:pt x="2125697" y="4559294"/>
                </a:cubicBezTo>
                <a:cubicBezTo>
                  <a:pt x="2125697" y="4553347"/>
                  <a:pt x="2130486" y="4548558"/>
                  <a:pt x="2136433" y="4548558"/>
                </a:cubicBezTo>
                <a:close/>
                <a:moveTo>
                  <a:pt x="2041123" y="4548226"/>
                </a:moveTo>
                <a:cubicBezTo>
                  <a:pt x="2047070" y="4548226"/>
                  <a:pt x="2051862" y="4553016"/>
                  <a:pt x="2051862" y="4558963"/>
                </a:cubicBezTo>
                <a:cubicBezTo>
                  <a:pt x="2051862" y="4564909"/>
                  <a:pt x="2047070" y="4569699"/>
                  <a:pt x="2041123" y="4569699"/>
                </a:cubicBezTo>
                <a:cubicBezTo>
                  <a:pt x="2035177" y="4569699"/>
                  <a:pt x="2030387" y="4564909"/>
                  <a:pt x="2030387" y="4558963"/>
                </a:cubicBezTo>
                <a:cubicBezTo>
                  <a:pt x="2030387" y="4553016"/>
                  <a:pt x="2035177" y="4548226"/>
                  <a:pt x="2041123" y="4548226"/>
                </a:cubicBezTo>
                <a:close/>
                <a:moveTo>
                  <a:pt x="1487601" y="4545583"/>
                </a:moveTo>
                <a:cubicBezTo>
                  <a:pt x="1493547" y="4545583"/>
                  <a:pt x="1498339" y="4550373"/>
                  <a:pt x="1498339" y="4556320"/>
                </a:cubicBezTo>
                <a:cubicBezTo>
                  <a:pt x="1498339" y="4562266"/>
                  <a:pt x="1493547" y="4567058"/>
                  <a:pt x="1487601" y="4567058"/>
                </a:cubicBezTo>
                <a:cubicBezTo>
                  <a:pt x="1481654" y="4567058"/>
                  <a:pt x="1476864" y="4562266"/>
                  <a:pt x="1476864" y="4556320"/>
                </a:cubicBezTo>
                <a:cubicBezTo>
                  <a:pt x="1476864" y="4550373"/>
                  <a:pt x="1481654" y="4545583"/>
                  <a:pt x="1487601" y="4545583"/>
                </a:cubicBezTo>
                <a:close/>
                <a:moveTo>
                  <a:pt x="2291705" y="4545254"/>
                </a:moveTo>
                <a:cubicBezTo>
                  <a:pt x="2294533" y="4545254"/>
                  <a:pt x="2296826" y="4547547"/>
                  <a:pt x="2296826" y="4550375"/>
                </a:cubicBezTo>
                <a:cubicBezTo>
                  <a:pt x="2296826" y="4553202"/>
                  <a:pt x="2294533" y="4555496"/>
                  <a:pt x="2291705" y="4555496"/>
                </a:cubicBezTo>
                <a:cubicBezTo>
                  <a:pt x="2288876" y="4555496"/>
                  <a:pt x="2286584" y="4553202"/>
                  <a:pt x="2286584" y="4550375"/>
                </a:cubicBezTo>
                <a:cubicBezTo>
                  <a:pt x="2286584" y="4547547"/>
                  <a:pt x="2288876" y="4545254"/>
                  <a:pt x="2291705" y="4545254"/>
                </a:cubicBezTo>
                <a:close/>
                <a:moveTo>
                  <a:pt x="1393283" y="4545089"/>
                </a:moveTo>
                <a:cubicBezTo>
                  <a:pt x="1399214" y="4545089"/>
                  <a:pt x="1404020" y="4549896"/>
                  <a:pt x="1404020" y="4555826"/>
                </a:cubicBezTo>
                <a:cubicBezTo>
                  <a:pt x="1404020" y="4561755"/>
                  <a:pt x="1399214" y="4566562"/>
                  <a:pt x="1393283" y="4566562"/>
                </a:cubicBezTo>
                <a:cubicBezTo>
                  <a:pt x="1387354" y="4566562"/>
                  <a:pt x="1382547" y="4561755"/>
                  <a:pt x="1382547" y="4555826"/>
                </a:cubicBezTo>
                <a:cubicBezTo>
                  <a:pt x="1382547" y="4549896"/>
                  <a:pt x="1387354" y="4545089"/>
                  <a:pt x="1393283" y="4545089"/>
                </a:cubicBezTo>
                <a:close/>
                <a:moveTo>
                  <a:pt x="1586709" y="4545087"/>
                </a:moveTo>
                <a:cubicBezTo>
                  <a:pt x="1592656" y="4545087"/>
                  <a:pt x="1597447" y="4549877"/>
                  <a:pt x="1597447" y="4555824"/>
                </a:cubicBezTo>
                <a:cubicBezTo>
                  <a:pt x="1597447" y="4561770"/>
                  <a:pt x="1592656" y="4566562"/>
                  <a:pt x="1586709" y="4566562"/>
                </a:cubicBezTo>
                <a:cubicBezTo>
                  <a:pt x="1580763" y="4566562"/>
                  <a:pt x="1575973" y="4561770"/>
                  <a:pt x="1575973" y="4555824"/>
                </a:cubicBezTo>
                <a:cubicBezTo>
                  <a:pt x="1575973" y="4549877"/>
                  <a:pt x="1580763" y="4545087"/>
                  <a:pt x="1586709" y="4545087"/>
                </a:cubicBezTo>
                <a:close/>
                <a:moveTo>
                  <a:pt x="2011556" y="4542611"/>
                </a:moveTo>
                <a:cubicBezTo>
                  <a:pt x="2017502" y="4542611"/>
                  <a:pt x="2022294" y="4547401"/>
                  <a:pt x="2022294" y="4553347"/>
                </a:cubicBezTo>
                <a:cubicBezTo>
                  <a:pt x="2022294" y="4559294"/>
                  <a:pt x="2017502" y="4564084"/>
                  <a:pt x="2011556" y="4564084"/>
                </a:cubicBezTo>
                <a:cubicBezTo>
                  <a:pt x="2005609" y="4564084"/>
                  <a:pt x="2000819" y="4559294"/>
                  <a:pt x="2000819" y="4553347"/>
                </a:cubicBezTo>
                <a:cubicBezTo>
                  <a:pt x="2000819" y="4547401"/>
                  <a:pt x="2005609" y="4542611"/>
                  <a:pt x="2011556" y="4542611"/>
                </a:cubicBezTo>
                <a:close/>
                <a:moveTo>
                  <a:pt x="2109508" y="4542115"/>
                </a:moveTo>
                <a:cubicBezTo>
                  <a:pt x="2115454" y="4542115"/>
                  <a:pt x="2120246" y="4546905"/>
                  <a:pt x="2120246" y="4552851"/>
                </a:cubicBezTo>
                <a:cubicBezTo>
                  <a:pt x="2120246" y="4558798"/>
                  <a:pt x="2115454" y="4563588"/>
                  <a:pt x="2109508" y="4563588"/>
                </a:cubicBezTo>
                <a:cubicBezTo>
                  <a:pt x="2103561" y="4563588"/>
                  <a:pt x="2098772" y="4558798"/>
                  <a:pt x="2098772" y="4552851"/>
                </a:cubicBezTo>
                <a:cubicBezTo>
                  <a:pt x="2098772" y="4546905"/>
                  <a:pt x="2103561" y="4542115"/>
                  <a:pt x="2109508" y="4542115"/>
                </a:cubicBezTo>
                <a:close/>
                <a:moveTo>
                  <a:pt x="2202836" y="4540958"/>
                </a:moveTo>
                <a:cubicBezTo>
                  <a:pt x="2208783" y="4540958"/>
                  <a:pt x="2213573" y="4545748"/>
                  <a:pt x="2213573" y="4551695"/>
                </a:cubicBezTo>
                <a:cubicBezTo>
                  <a:pt x="2213573" y="4557641"/>
                  <a:pt x="2208783" y="4562433"/>
                  <a:pt x="2202836" y="4562433"/>
                </a:cubicBezTo>
                <a:cubicBezTo>
                  <a:pt x="2196890" y="4562433"/>
                  <a:pt x="2192100" y="4557641"/>
                  <a:pt x="2192100" y="4551695"/>
                </a:cubicBezTo>
                <a:cubicBezTo>
                  <a:pt x="2192100" y="4545748"/>
                  <a:pt x="2196890" y="4540958"/>
                  <a:pt x="2202836" y="4540958"/>
                </a:cubicBezTo>
                <a:close/>
                <a:moveTo>
                  <a:pt x="1516343" y="4540133"/>
                </a:moveTo>
                <a:cubicBezTo>
                  <a:pt x="1522289" y="4540133"/>
                  <a:pt x="1527081" y="4544923"/>
                  <a:pt x="1527081" y="4550869"/>
                </a:cubicBezTo>
                <a:cubicBezTo>
                  <a:pt x="1527081" y="4556816"/>
                  <a:pt x="1522289" y="4561606"/>
                  <a:pt x="1516343" y="4561606"/>
                </a:cubicBezTo>
                <a:cubicBezTo>
                  <a:pt x="1510396" y="4561606"/>
                  <a:pt x="1505607" y="4556816"/>
                  <a:pt x="1505607" y="4550869"/>
                </a:cubicBezTo>
                <a:cubicBezTo>
                  <a:pt x="1505607" y="4544923"/>
                  <a:pt x="1510396" y="4540133"/>
                  <a:pt x="1516343" y="4540133"/>
                </a:cubicBezTo>
                <a:close/>
                <a:moveTo>
                  <a:pt x="1419216" y="4538811"/>
                </a:moveTo>
                <a:cubicBezTo>
                  <a:pt x="1425163" y="4538811"/>
                  <a:pt x="1429954" y="4543601"/>
                  <a:pt x="1429954" y="4549548"/>
                </a:cubicBezTo>
                <a:cubicBezTo>
                  <a:pt x="1429954" y="4555494"/>
                  <a:pt x="1425163" y="4560286"/>
                  <a:pt x="1419216" y="4560286"/>
                </a:cubicBezTo>
                <a:cubicBezTo>
                  <a:pt x="1413270" y="4560286"/>
                  <a:pt x="1408480" y="4555494"/>
                  <a:pt x="1408480" y="4549548"/>
                </a:cubicBezTo>
                <a:cubicBezTo>
                  <a:pt x="1408480" y="4543601"/>
                  <a:pt x="1413270" y="4538811"/>
                  <a:pt x="1419216" y="4538811"/>
                </a:cubicBezTo>
                <a:close/>
                <a:moveTo>
                  <a:pt x="1327046" y="4537986"/>
                </a:moveTo>
                <a:cubicBezTo>
                  <a:pt x="1332332" y="4537986"/>
                  <a:pt x="1336626" y="4542282"/>
                  <a:pt x="1336626" y="4547566"/>
                </a:cubicBezTo>
                <a:cubicBezTo>
                  <a:pt x="1336626" y="4552851"/>
                  <a:pt x="1332332" y="4557147"/>
                  <a:pt x="1327046" y="4557147"/>
                </a:cubicBezTo>
                <a:cubicBezTo>
                  <a:pt x="1321760" y="4557147"/>
                  <a:pt x="1317465" y="4552851"/>
                  <a:pt x="1317465" y="4547566"/>
                </a:cubicBezTo>
                <a:cubicBezTo>
                  <a:pt x="1317465" y="4542282"/>
                  <a:pt x="1321760" y="4537986"/>
                  <a:pt x="1327046" y="4537986"/>
                </a:cubicBezTo>
                <a:close/>
                <a:moveTo>
                  <a:pt x="1980833" y="4537819"/>
                </a:moveTo>
                <a:cubicBezTo>
                  <a:pt x="1986779" y="4537819"/>
                  <a:pt x="1991571" y="4542609"/>
                  <a:pt x="1991571" y="4548556"/>
                </a:cubicBezTo>
                <a:cubicBezTo>
                  <a:pt x="1991571" y="4554502"/>
                  <a:pt x="1986779" y="4559294"/>
                  <a:pt x="1980833" y="4559294"/>
                </a:cubicBezTo>
                <a:cubicBezTo>
                  <a:pt x="1974886" y="4559294"/>
                  <a:pt x="1970096" y="4554502"/>
                  <a:pt x="1970096" y="4548556"/>
                </a:cubicBezTo>
                <a:cubicBezTo>
                  <a:pt x="1970096" y="4542609"/>
                  <a:pt x="1974886" y="4537819"/>
                  <a:pt x="1980833" y="4537819"/>
                </a:cubicBezTo>
                <a:close/>
                <a:moveTo>
                  <a:pt x="2355630" y="4536829"/>
                </a:moveTo>
                <a:cubicBezTo>
                  <a:pt x="2357637" y="4536829"/>
                  <a:pt x="2359264" y="4538456"/>
                  <a:pt x="2359264" y="4540462"/>
                </a:cubicBezTo>
                <a:cubicBezTo>
                  <a:pt x="2359264" y="4542471"/>
                  <a:pt x="2357637" y="4544097"/>
                  <a:pt x="2355630" y="4544097"/>
                </a:cubicBezTo>
                <a:cubicBezTo>
                  <a:pt x="2353622" y="4544097"/>
                  <a:pt x="2351996" y="4542471"/>
                  <a:pt x="2351996" y="4540462"/>
                </a:cubicBezTo>
                <a:cubicBezTo>
                  <a:pt x="2351996" y="4538456"/>
                  <a:pt x="2353622" y="4536829"/>
                  <a:pt x="2355630" y="4536829"/>
                </a:cubicBezTo>
                <a:close/>
                <a:moveTo>
                  <a:pt x="2081759" y="4536829"/>
                </a:moveTo>
                <a:cubicBezTo>
                  <a:pt x="2087705" y="4536829"/>
                  <a:pt x="2092497" y="4541619"/>
                  <a:pt x="2092497" y="4547566"/>
                </a:cubicBezTo>
                <a:cubicBezTo>
                  <a:pt x="2092497" y="4553512"/>
                  <a:pt x="2087705" y="4558304"/>
                  <a:pt x="2081759" y="4558304"/>
                </a:cubicBezTo>
                <a:cubicBezTo>
                  <a:pt x="2075812" y="4558304"/>
                  <a:pt x="2071023" y="4553512"/>
                  <a:pt x="2071023" y="4547566"/>
                </a:cubicBezTo>
                <a:cubicBezTo>
                  <a:pt x="2071023" y="4541619"/>
                  <a:pt x="2075812" y="4536829"/>
                  <a:pt x="2081759" y="4536829"/>
                </a:cubicBezTo>
                <a:close/>
                <a:moveTo>
                  <a:pt x="1546240" y="4535508"/>
                </a:moveTo>
                <a:cubicBezTo>
                  <a:pt x="1552187" y="4535508"/>
                  <a:pt x="1556977" y="4540298"/>
                  <a:pt x="1556977" y="4546244"/>
                </a:cubicBezTo>
                <a:cubicBezTo>
                  <a:pt x="1556977" y="4552191"/>
                  <a:pt x="1552187" y="4556980"/>
                  <a:pt x="1546240" y="4556980"/>
                </a:cubicBezTo>
                <a:cubicBezTo>
                  <a:pt x="1540294" y="4556980"/>
                  <a:pt x="1535504" y="4552191"/>
                  <a:pt x="1535504" y="4546244"/>
                </a:cubicBezTo>
                <a:cubicBezTo>
                  <a:pt x="1535504" y="4540298"/>
                  <a:pt x="1540294" y="4535508"/>
                  <a:pt x="1546240" y="4535508"/>
                </a:cubicBezTo>
                <a:close/>
                <a:moveTo>
                  <a:pt x="2177564" y="4534518"/>
                </a:moveTo>
                <a:cubicBezTo>
                  <a:pt x="2183511" y="4534518"/>
                  <a:pt x="2188300" y="4539307"/>
                  <a:pt x="2188300" y="4545254"/>
                </a:cubicBezTo>
                <a:cubicBezTo>
                  <a:pt x="2188300" y="4551200"/>
                  <a:pt x="2183511" y="4555990"/>
                  <a:pt x="2177564" y="4555990"/>
                </a:cubicBezTo>
                <a:cubicBezTo>
                  <a:pt x="2171618" y="4555990"/>
                  <a:pt x="2166828" y="4551200"/>
                  <a:pt x="2166828" y="4545254"/>
                </a:cubicBezTo>
                <a:cubicBezTo>
                  <a:pt x="2166828" y="4539307"/>
                  <a:pt x="2171618" y="4534518"/>
                  <a:pt x="2177564" y="4534518"/>
                </a:cubicBezTo>
                <a:close/>
                <a:moveTo>
                  <a:pt x="1446306" y="4533526"/>
                </a:moveTo>
                <a:cubicBezTo>
                  <a:pt x="1452237" y="4533526"/>
                  <a:pt x="1457044" y="4538333"/>
                  <a:pt x="1457044" y="4544262"/>
                </a:cubicBezTo>
                <a:cubicBezTo>
                  <a:pt x="1457044" y="4550193"/>
                  <a:pt x="1452237" y="4555000"/>
                  <a:pt x="1446306" y="4555000"/>
                </a:cubicBezTo>
                <a:cubicBezTo>
                  <a:pt x="1440377" y="4555000"/>
                  <a:pt x="1435570" y="4550193"/>
                  <a:pt x="1435570" y="4544262"/>
                </a:cubicBezTo>
                <a:cubicBezTo>
                  <a:pt x="1435570" y="4538333"/>
                  <a:pt x="1440377" y="4533526"/>
                  <a:pt x="1446306" y="4533526"/>
                </a:cubicBezTo>
                <a:close/>
                <a:moveTo>
                  <a:pt x="2052685" y="4532369"/>
                </a:moveTo>
                <a:cubicBezTo>
                  <a:pt x="2058632" y="4532369"/>
                  <a:pt x="2063423" y="4537159"/>
                  <a:pt x="2063423" y="4543105"/>
                </a:cubicBezTo>
                <a:cubicBezTo>
                  <a:pt x="2063423" y="4549052"/>
                  <a:pt x="2058632" y="4553842"/>
                  <a:pt x="2052685" y="4553842"/>
                </a:cubicBezTo>
                <a:cubicBezTo>
                  <a:pt x="2046739" y="4553842"/>
                  <a:pt x="2041949" y="4549052"/>
                  <a:pt x="2041949" y="4543105"/>
                </a:cubicBezTo>
                <a:cubicBezTo>
                  <a:pt x="2041949" y="4537159"/>
                  <a:pt x="2046739" y="4532369"/>
                  <a:pt x="2052685" y="4532369"/>
                </a:cubicBezTo>
                <a:close/>
                <a:moveTo>
                  <a:pt x="2268743" y="4532039"/>
                </a:moveTo>
                <a:cubicBezTo>
                  <a:pt x="2274689" y="4532039"/>
                  <a:pt x="2279481" y="4536829"/>
                  <a:pt x="2279481" y="4542776"/>
                </a:cubicBezTo>
                <a:cubicBezTo>
                  <a:pt x="2279481" y="4548722"/>
                  <a:pt x="2274689" y="4553514"/>
                  <a:pt x="2268743" y="4553514"/>
                </a:cubicBezTo>
                <a:cubicBezTo>
                  <a:pt x="2262796" y="4553514"/>
                  <a:pt x="2258006" y="4548722"/>
                  <a:pt x="2258006" y="4542776"/>
                </a:cubicBezTo>
                <a:cubicBezTo>
                  <a:pt x="2258006" y="4536829"/>
                  <a:pt x="2262796" y="4532039"/>
                  <a:pt x="2268743" y="4532039"/>
                </a:cubicBezTo>
                <a:close/>
                <a:moveTo>
                  <a:pt x="1261303" y="4531047"/>
                </a:moveTo>
                <a:cubicBezTo>
                  <a:pt x="1265267" y="4531047"/>
                  <a:pt x="1268404" y="4534186"/>
                  <a:pt x="1268404" y="4538151"/>
                </a:cubicBezTo>
                <a:cubicBezTo>
                  <a:pt x="1268404" y="4542115"/>
                  <a:pt x="1265267" y="4545254"/>
                  <a:pt x="1261303" y="4545254"/>
                </a:cubicBezTo>
                <a:cubicBezTo>
                  <a:pt x="1257339" y="4545254"/>
                  <a:pt x="1254200" y="4542115"/>
                  <a:pt x="1254200" y="4538151"/>
                </a:cubicBezTo>
                <a:cubicBezTo>
                  <a:pt x="1254200" y="4534186"/>
                  <a:pt x="1257339" y="4531047"/>
                  <a:pt x="1261303" y="4531047"/>
                </a:cubicBezTo>
                <a:close/>
                <a:moveTo>
                  <a:pt x="1351491" y="4530551"/>
                </a:moveTo>
                <a:cubicBezTo>
                  <a:pt x="1357438" y="4530551"/>
                  <a:pt x="1362229" y="4535341"/>
                  <a:pt x="1362229" y="4541288"/>
                </a:cubicBezTo>
                <a:cubicBezTo>
                  <a:pt x="1362229" y="4547234"/>
                  <a:pt x="1357438" y="4552026"/>
                  <a:pt x="1351491" y="4552026"/>
                </a:cubicBezTo>
                <a:cubicBezTo>
                  <a:pt x="1345545" y="4552026"/>
                  <a:pt x="1340755" y="4547234"/>
                  <a:pt x="1340755" y="4541288"/>
                </a:cubicBezTo>
                <a:cubicBezTo>
                  <a:pt x="1340755" y="4535341"/>
                  <a:pt x="1345545" y="4530551"/>
                  <a:pt x="1351491" y="4530551"/>
                </a:cubicBezTo>
                <a:close/>
                <a:moveTo>
                  <a:pt x="2151465" y="4529397"/>
                </a:moveTo>
                <a:cubicBezTo>
                  <a:pt x="2157411" y="4529397"/>
                  <a:pt x="2162201" y="4534186"/>
                  <a:pt x="2162201" y="4540133"/>
                </a:cubicBezTo>
                <a:cubicBezTo>
                  <a:pt x="2162201" y="4546079"/>
                  <a:pt x="2157411" y="4550869"/>
                  <a:pt x="2151465" y="4550869"/>
                </a:cubicBezTo>
                <a:cubicBezTo>
                  <a:pt x="2145518" y="4550869"/>
                  <a:pt x="2140728" y="4546079"/>
                  <a:pt x="2140728" y="4540133"/>
                </a:cubicBezTo>
                <a:cubicBezTo>
                  <a:pt x="2140728" y="4534186"/>
                  <a:pt x="2145518" y="4529397"/>
                  <a:pt x="2151465" y="4529397"/>
                </a:cubicBezTo>
                <a:close/>
                <a:moveTo>
                  <a:pt x="1474551" y="4529397"/>
                </a:moveTo>
                <a:cubicBezTo>
                  <a:pt x="1480497" y="4529397"/>
                  <a:pt x="1485289" y="4534186"/>
                  <a:pt x="1485289" y="4540133"/>
                </a:cubicBezTo>
                <a:cubicBezTo>
                  <a:pt x="1485289" y="4546079"/>
                  <a:pt x="1480497" y="4550869"/>
                  <a:pt x="1474551" y="4550869"/>
                </a:cubicBezTo>
                <a:cubicBezTo>
                  <a:pt x="1468604" y="4550869"/>
                  <a:pt x="1463814" y="4546079"/>
                  <a:pt x="1463814" y="4540133"/>
                </a:cubicBezTo>
                <a:cubicBezTo>
                  <a:pt x="1463814" y="4534186"/>
                  <a:pt x="1468604" y="4529397"/>
                  <a:pt x="1474551" y="4529397"/>
                </a:cubicBezTo>
                <a:close/>
                <a:moveTo>
                  <a:pt x="2022458" y="4528901"/>
                </a:moveTo>
                <a:cubicBezTo>
                  <a:pt x="2028405" y="4528901"/>
                  <a:pt x="2033197" y="4533690"/>
                  <a:pt x="2033197" y="4539637"/>
                </a:cubicBezTo>
                <a:cubicBezTo>
                  <a:pt x="2033197" y="4545583"/>
                  <a:pt x="2028405" y="4550373"/>
                  <a:pt x="2022458" y="4550373"/>
                </a:cubicBezTo>
                <a:cubicBezTo>
                  <a:pt x="2016512" y="4550373"/>
                  <a:pt x="2011722" y="4545583"/>
                  <a:pt x="2011722" y="4539637"/>
                </a:cubicBezTo>
                <a:cubicBezTo>
                  <a:pt x="2011722" y="4533690"/>
                  <a:pt x="2016512" y="4528901"/>
                  <a:pt x="2022458" y="4528901"/>
                </a:cubicBezTo>
                <a:close/>
                <a:moveTo>
                  <a:pt x="2418729" y="4527579"/>
                </a:moveTo>
                <a:cubicBezTo>
                  <a:pt x="2419823" y="4527579"/>
                  <a:pt x="2420711" y="4528467"/>
                  <a:pt x="2420711" y="4529561"/>
                </a:cubicBezTo>
                <a:cubicBezTo>
                  <a:pt x="2420711" y="4530656"/>
                  <a:pt x="2419823" y="4531543"/>
                  <a:pt x="2418729" y="4531543"/>
                </a:cubicBezTo>
                <a:cubicBezTo>
                  <a:pt x="2417635" y="4531543"/>
                  <a:pt x="2416747" y="4530656"/>
                  <a:pt x="2416747" y="4529561"/>
                </a:cubicBezTo>
                <a:cubicBezTo>
                  <a:pt x="2416747" y="4528467"/>
                  <a:pt x="2417635" y="4527579"/>
                  <a:pt x="2418729" y="4527579"/>
                </a:cubicBezTo>
                <a:close/>
                <a:moveTo>
                  <a:pt x="1503954" y="4525926"/>
                </a:moveTo>
                <a:cubicBezTo>
                  <a:pt x="1509900" y="4525926"/>
                  <a:pt x="1514692" y="4530716"/>
                  <a:pt x="1514692" y="4536663"/>
                </a:cubicBezTo>
                <a:cubicBezTo>
                  <a:pt x="1514692" y="4542609"/>
                  <a:pt x="1509900" y="4547401"/>
                  <a:pt x="1503954" y="4547401"/>
                </a:cubicBezTo>
                <a:cubicBezTo>
                  <a:pt x="1498007" y="4547401"/>
                  <a:pt x="1493218" y="4542609"/>
                  <a:pt x="1493218" y="4536663"/>
                </a:cubicBezTo>
                <a:cubicBezTo>
                  <a:pt x="1493218" y="4530716"/>
                  <a:pt x="1498007" y="4525926"/>
                  <a:pt x="1503954" y="4525926"/>
                </a:cubicBezTo>
                <a:close/>
                <a:moveTo>
                  <a:pt x="2245123" y="4525762"/>
                </a:moveTo>
                <a:cubicBezTo>
                  <a:pt x="2251069" y="4525762"/>
                  <a:pt x="2255861" y="4530551"/>
                  <a:pt x="2255861" y="4536498"/>
                </a:cubicBezTo>
                <a:cubicBezTo>
                  <a:pt x="2255861" y="4542445"/>
                  <a:pt x="2251069" y="4547234"/>
                  <a:pt x="2245123" y="4547234"/>
                </a:cubicBezTo>
                <a:cubicBezTo>
                  <a:pt x="2239176" y="4547234"/>
                  <a:pt x="2234387" y="4542445"/>
                  <a:pt x="2234387" y="4536498"/>
                </a:cubicBezTo>
                <a:cubicBezTo>
                  <a:pt x="2234387" y="4530551"/>
                  <a:pt x="2239176" y="4525762"/>
                  <a:pt x="2245123" y="4525762"/>
                </a:cubicBezTo>
                <a:close/>
                <a:moveTo>
                  <a:pt x="1376930" y="4525597"/>
                </a:moveTo>
                <a:cubicBezTo>
                  <a:pt x="1382876" y="4525597"/>
                  <a:pt x="1387666" y="4530387"/>
                  <a:pt x="1387666" y="4536333"/>
                </a:cubicBezTo>
                <a:cubicBezTo>
                  <a:pt x="1387666" y="4542280"/>
                  <a:pt x="1382876" y="4547070"/>
                  <a:pt x="1376930" y="4547070"/>
                </a:cubicBezTo>
                <a:cubicBezTo>
                  <a:pt x="1370983" y="4547070"/>
                  <a:pt x="1366194" y="4542280"/>
                  <a:pt x="1366194" y="4536333"/>
                </a:cubicBezTo>
                <a:cubicBezTo>
                  <a:pt x="1366194" y="4530387"/>
                  <a:pt x="1370983" y="4525597"/>
                  <a:pt x="1376930" y="4525597"/>
                </a:cubicBezTo>
                <a:close/>
                <a:moveTo>
                  <a:pt x="2124210" y="4525432"/>
                </a:moveTo>
                <a:cubicBezTo>
                  <a:pt x="2130157" y="4525432"/>
                  <a:pt x="2134948" y="4530222"/>
                  <a:pt x="2134948" y="4536169"/>
                </a:cubicBezTo>
                <a:cubicBezTo>
                  <a:pt x="2134948" y="4542115"/>
                  <a:pt x="2130157" y="4546907"/>
                  <a:pt x="2124210" y="4546907"/>
                </a:cubicBezTo>
                <a:cubicBezTo>
                  <a:pt x="2118264" y="4546907"/>
                  <a:pt x="2113474" y="4542115"/>
                  <a:pt x="2113474" y="4536169"/>
                </a:cubicBezTo>
                <a:cubicBezTo>
                  <a:pt x="2113474" y="4530222"/>
                  <a:pt x="2118264" y="4525432"/>
                  <a:pt x="2124210" y="4525432"/>
                </a:cubicBezTo>
                <a:close/>
                <a:moveTo>
                  <a:pt x="1534843" y="4523119"/>
                </a:moveTo>
                <a:cubicBezTo>
                  <a:pt x="1540790" y="4523119"/>
                  <a:pt x="1545581" y="4527909"/>
                  <a:pt x="1545581" y="4533855"/>
                </a:cubicBezTo>
                <a:cubicBezTo>
                  <a:pt x="1545581" y="4539802"/>
                  <a:pt x="1540790" y="4544591"/>
                  <a:pt x="1534843" y="4544591"/>
                </a:cubicBezTo>
                <a:cubicBezTo>
                  <a:pt x="1528897" y="4544591"/>
                  <a:pt x="1524107" y="4539802"/>
                  <a:pt x="1524107" y="4533855"/>
                </a:cubicBezTo>
                <a:cubicBezTo>
                  <a:pt x="1524107" y="4527909"/>
                  <a:pt x="1528897" y="4523119"/>
                  <a:pt x="1534843" y="4523119"/>
                </a:cubicBezTo>
                <a:close/>
                <a:moveTo>
                  <a:pt x="1196387" y="4523119"/>
                </a:moveTo>
                <a:cubicBezTo>
                  <a:pt x="1198864" y="4523119"/>
                  <a:pt x="1200846" y="4525101"/>
                  <a:pt x="1200846" y="4527579"/>
                </a:cubicBezTo>
                <a:cubicBezTo>
                  <a:pt x="1200846" y="4530056"/>
                  <a:pt x="1198864" y="4532038"/>
                  <a:pt x="1196387" y="4532038"/>
                </a:cubicBezTo>
                <a:cubicBezTo>
                  <a:pt x="1193909" y="4532038"/>
                  <a:pt x="1191927" y="4530056"/>
                  <a:pt x="1191927" y="4527579"/>
                </a:cubicBezTo>
                <a:cubicBezTo>
                  <a:pt x="1191927" y="4525101"/>
                  <a:pt x="1193909" y="4523119"/>
                  <a:pt x="1196387" y="4523119"/>
                </a:cubicBezTo>
                <a:close/>
                <a:moveTo>
                  <a:pt x="2095799" y="4522129"/>
                </a:moveTo>
                <a:cubicBezTo>
                  <a:pt x="2101730" y="4522129"/>
                  <a:pt x="2106536" y="4526936"/>
                  <a:pt x="2106536" y="4532865"/>
                </a:cubicBezTo>
                <a:cubicBezTo>
                  <a:pt x="2106536" y="4538796"/>
                  <a:pt x="2101730" y="4543601"/>
                  <a:pt x="2095799" y="4543601"/>
                </a:cubicBezTo>
                <a:cubicBezTo>
                  <a:pt x="2089870" y="4543601"/>
                  <a:pt x="2085063" y="4538796"/>
                  <a:pt x="2085063" y="4532865"/>
                </a:cubicBezTo>
                <a:cubicBezTo>
                  <a:pt x="2085063" y="4526936"/>
                  <a:pt x="2089870" y="4522129"/>
                  <a:pt x="2095799" y="4522129"/>
                </a:cubicBezTo>
                <a:close/>
                <a:moveTo>
                  <a:pt x="2333989" y="4521964"/>
                </a:moveTo>
                <a:cubicBezTo>
                  <a:pt x="2339936" y="4521964"/>
                  <a:pt x="2344728" y="4526754"/>
                  <a:pt x="2344728" y="4532700"/>
                </a:cubicBezTo>
                <a:cubicBezTo>
                  <a:pt x="2344728" y="4538647"/>
                  <a:pt x="2339936" y="4543436"/>
                  <a:pt x="2333989" y="4543436"/>
                </a:cubicBezTo>
                <a:cubicBezTo>
                  <a:pt x="2328043" y="4543436"/>
                  <a:pt x="2323253" y="4538647"/>
                  <a:pt x="2323253" y="4532700"/>
                </a:cubicBezTo>
                <a:cubicBezTo>
                  <a:pt x="2323253" y="4526754"/>
                  <a:pt x="2328043" y="4521964"/>
                  <a:pt x="2333989" y="4521964"/>
                </a:cubicBezTo>
                <a:close/>
                <a:moveTo>
                  <a:pt x="1403359" y="4521633"/>
                </a:moveTo>
                <a:cubicBezTo>
                  <a:pt x="1409305" y="4521633"/>
                  <a:pt x="1414097" y="4526422"/>
                  <a:pt x="1414097" y="4532369"/>
                </a:cubicBezTo>
                <a:cubicBezTo>
                  <a:pt x="1414097" y="4538315"/>
                  <a:pt x="1409305" y="4543105"/>
                  <a:pt x="1403359" y="4543105"/>
                </a:cubicBezTo>
                <a:cubicBezTo>
                  <a:pt x="1397412" y="4543105"/>
                  <a:pt x="1392623" y="4538315"/>
                  <a:pt x="1392623" y="4532369"/>
                </a:cubicBezTo>
                <a:cubicBezTo>
                  <a:pt x="1392623" y="4526422"/>
                  <a:pt x="1397412" y="4521633"/>
                  <a:pt x="1403359" y="4521633"/>
                </a:cubicBezTo>
                <a:close/>
                <a:moveTo>
                  <a:pt x="1284264" y="4521137"/>
                </a:moveTo>
                <a:cubicBezTo>
                  <a:pt x="1290210" y="4521137"/>
                  <a:pt x="1295000" y="4525926"/>
                  <a:pt x="1295000" y="4531873"/>
                </a:cubicBezTo>
                <a:cubicBezTo>
                  <a:pt x="1295000" y="4537819"/>
                  <a:pt x="1290210" y="4542609"/>
                  <a:pt x="1284264" y="4542609"/>
                </a:cubicBezTo>
                <a:cubicBezTo>
                  <a:pt x="1278317" y="4542609"/>
                  <a:pt x="1273527" y="4537819"/>
                  <a:pt x="1273527" y="4531873"/>
                </a:cubicBezTo>
                <a:cubicBezTo>
                  <a:pt x="1273527" y="4525926"/>
                  <a:pt x="1278317" y="4521137"/>
                  <a:pt x="1284264" y="4521137"/>
                </a:cubicBezTo>
                <a:close/>
                <a:moveTo>
                  <a:pt x="2220511" y="4520642"/>
                </a:moveTo>
                <a:cubicBezTo>
                  <a:pt x="2226442" y="4520642"/>
                  <a:pt x="2231250" y="4525450"/>
                  <a:pt x="2231250" y="4531379"/>
                </a:cubicBezTo>
                <a:cubicBezTo>
                  <a:pt x="2231250" y="4537310"/>
                  <a:pt x="2226442" y="4542117"/>
                  <a:pt x="2220511" y="4542117"/>
                </a:cubicBezTo>
                <a:cubicBezTo>
                  <a:pt x="2214582" y="4542117"/>
                  <a:pt x="2209775" y="4537310"/>
                  <a:pt x="2209775" y="4531379"/>
                </a:cubicBezTo>
                <a:cubicBezTo>
                  <a:pt x="2209775" y="4525450"/>
                  <a:pt x="2214582" y="4520642"/>
                  <a:pt x="2220511" y="4520642"/>
                </a:cubicBezTo>
                <a:close/>
                <a:moveTo>
                  <a:pt x="2065900" y="4519650"/>
                </a:moveTo>
                <a:cubicBezTo>
                  <a:pt x="2071846" y="4519650"/>
                  <a:pt x="2076638" y="4524440"/>
                  <a:pt x="2076638" y="4530387"/>
                </a:cubicBezTo>
                <a:cubicBezTo>
                  <a:pt x="2076638" y="4536333"/>
                  <a:pt x="2071846" y="4541125"/>
                  <a:pt x="2065900" y="4541125"/>
                </a:cubicBezTo>
                <a:cubicBezTo>
                  <a:pt x="2059953" y="4541125"/>
                  <a:pt x="2055163" y="4536333"/>
                  <a:pt x="2055163" y="4530387"/>
                </a:cubicBezTo>
                <a:cubicBezTo>
                  <a:pt x="2055163" y="4524440"/>
                  <a:pt x="2059953" y="4519650"/>
                  <a:pt x="2065900" y="4519650"/>
                </a:cubicBezTo>
                <a:close/>
                <a:moveTo>
                  <a:pt x="1430778" y="4518494"/>
                </a:moveTo>
                <a:cubicBezTo>
                  <a:pt x="1436725" y="4518494"/>
                  <a:pt x="1441516" y="4523284"/>
                  <a:pt x="1441516" y="4529230"/>
                </a:cubicBezTo>
                <a:cubicBezTo>
                  <a:pt x="1441516" y="4535177"/>
                  <a:pt x="1436725" y="4539966"/>
                  <a:pt x="1430778" y="4539966"/>
                </a:cubicBezTo>
                <a:cubicBezTo>
                  <a:pt x="1424832" y="4539966"/>
                  <a:pt x="1420042" y="4535177"/>
                  <a:pt x="1420042" y="4529230"/>
                </a:cubicBezTo>
                <a:cubicBezTo>
                  <a:pt x="1420042" y="4523284"/>
                  <a:pt x="1424832" y="4518494"/>
                  <a:pt x="1430778" y="4518494"/>
                </a:cubicBezTo>
                <a:close/>
                <a:moveTo>
                  <a:pt x="2034681" y="4517668"/>
                </a:moveTo>
                <a:cubicBezTo>
                  <a:pt x="2040627" y="4517668"/>
                  <a:pt x="2045419" y="4522458"/>
                  <a:pt x="2045419" y="4528405"/>
                </a:cubicBezTo>
                <a:cubicBezTo>
                  <a:pt x="2045419" y="4534351"/>
                  <a:pt x="2040627" y="4539143"/>
                  <a:pt x="2034681" y="4539143"/>
                </a:cubicBezTo>
                <a:cubicBezTo>
                  <a:pt x="2028734" y="4539143"/>
                  <a:pt x="2023945" y="4534351"/>
                  <a:pt x="2023945" y="4528405"/>
                </a:cubicBezTo>
                <a:cubicBezTo>
                  <a:pt x="2023945" y="4522458"/>
                  <a:pt x="2028734" y="4517668"/>
                  <a:pt x="2034681" y="4517668"/>
                </a:cubicBezTo>
                <a:close/>
                <a:moveTo>
                  <a:pt x="2481168" y="4517339"/>
                </a:moveTo>
                <a:cubicBezTo>
                  <a:pt x="2481498" y="4517339"/>
                  <a:pt x="2481498" y="4517339"/>
                  <a:pt x="2481498" y="4517668"/>
                </a:cubicBezTo>
                <a:cubicBezTo>
                  <a:pt x="2481498" y="4517999"/>
                  <a:pt x="2481168" y="4517999"/>
                  <a:pt x="2481168" y="4517999"/>
                </a:cubicBezTo>
                <a:cubicBezTo>
                  <a:pt x="2480837" y="4517999"/>
                  <a:pt x="2480837" y="4517999"/>
                  <a:pt x="2480837" y="4517668"/>
                </a:cubicBezTo>
                <a:cubicBezTo>
                  <a:pt x="2480837" y="4517339"/>
                  <a:pt x="2480837" y="4517339"/>
                  <a:pt x="2481168" y="4517339"/>
                </a:cubicBezTo>
                <a:close/>
                <a:moveTo>
                  <a:pt x="2195072" y="4516843"/>
                </a:moveTo>
                <a:cubicBezTo>
                  <a:pt x="2201019" y="4516843"/>
                  <a:pt x="2205809" y="4521633"/>
                  <a:pt x="2205809" y="4527579"/>
                </a:cubicBezTo>
                <a:cubicBezTo>
                  <a:pt x="2205809" y="4533526"/>
                  <a:pt x="2201019" y="4538315"/>
                  <a:pt x="2195072" y="4538315"/>
                </a:cubicBezTo>
                <a:cubicBezTo>
                  <a:pt x="2189126" y="4538315"/>
                  <a:pt x="2184336" y="4533526"/>
                  <a:pt x="2184336" y="4527579"/>
                </a:cubicBezTo>
                <a:cubicBezTo>
                  <a:pt x="2184336" y="4521633"/>
                  <a:pt x="2189126" y="4516843"/>
                  <a:pt x="2195072" y="4516843"/>
                </a:cubicBezTo>
                <a:close/>
                <a:moveTo>
                  <a:pt x="1459685" y="4516182"/>
                </a:moveTo>
                <a:cubicBezTo>
                  <a:pt x="1465632" y="4516182"/>
                  <a:pt x="1470423" y="4520972"/>
                  <a:pt x="1470423" y="4526918"/>
                </a:cubicBezTo>
                <a:cubicBezTo>
                  <a:pt x="1470423" y="4532865"/>
                  <a:pt x="1465632" y="4537656"/>
                  <a:pt x="1459685" y="4537656"/>
                </a:cubicBezTo>
                <a:cubicBezTo>
                  <a:pt x="1453739" y="4537656"/>
                  <a:pt x="1448949" y="4532865"/>
                  <a:pt x="1448949" y="4526918"/>
                </a:cubicBezTo>
                <a:cubicBezTo>
                  <a:pt x="1448949" y="4520972"/>
                  <a:pt x="1453739" y="4516182"/>
                  <a:pt x="1459685" y="4516182"/>
                </a:cubicBezTo>
                <a:close/>
                <a:moveTo>
                  <a:pt x="1308048" y="4516182"/>
                </a:moveTo>
                <a:cubicBezTo>
                  <a:pt x="1313995" y="4516182"/>
                  <a:pt x="1318786" y="4520972"/>
                  <a:pt x="1318786" y="4526918"/>
                </a:cubicBezTo>
                <a:cubicBezTo>
                  <a:pt x="1318786" y="4532865"/>
                  <a:pt x="1313995" y="4537656"/>
                  <a:pt x="1308048" y="4537656"/>
                </a:cubicBezTo>
                <a:cubicBezTo>
                  <a:pt x="1302101" y="4537656"/>
                  <a:pt x="1297312" y="4532865"/>
                  <a:pt x="1297312" y="4526918"/>
                </a:cubicBezTo>
                <a:cubicBezTo>
                  <a:pt x="1297312" y="4520972"/>
                  <a:pt x="1302101" y="4516182"/>
                  <a:pt x="1308048" y="4516182"/>
                </a:cubicBezTo>
                <a:close/>
                <a:moveTo>
                  <a:pt x="2001645" y="4515686"/>
                </a:moveTo>
                <a:cubicBezTo>
                  <a:pt x="2007591" y="4515686"/>
                  <a:pt x="2012383" y="4520476"/>
                  <a:pt x="2012383" y="4526422"/>
                </a:cubicBezTo>
                <a:cubicBezTo>
                  <a:pt x="2012383" y="4532369"/>
                  <a:pt x="2007591" y="4537160"/>
                  <a:pt x="2001645" y="4537160"/>
                </a:cubicBezTo>
                <a:lnTo>
                  <a:pt x="2001150" y="4536666"/>
                </a:lnTo>
                <a:lnTo>
                  <a:pt x="1990579" y="4547234"/>
                </a:lnTo>
                <a:cubicBezTo>
                  <a:pt x="1984632" y="4547234"/>
                  <a:pt x="1979843" y="4542445"/>
                  <a:pt x="1979843" y="4536498"/>
                </a:cubicBezTo>
                <a:cubicBezTo>
                  <a:pt x="1979843" y="4530551"/>
                  <a:pt x="1984632" y="4525762"/>
                  <a:pt x="1990579" y="4525762"/>
                </a:cubicBezTo>
                <a:lnTo>
                  <a:pt x="1991075" y="4526258"/>
                </a:lnTo>
                <a:close/>
                <a:moveTo>
                  <a:pt x="2311856" y="4515521"/>
                </a:moveTo>
                <a:cubicBezTo>
                  <a:pt x="2317803" y="4515521"/>
                  <a:pt x="2322594" y="4520311"/>
                  <a:pt x="2322594" y="4526258"/>
                </a:cubicBezTo>
                <a:cubicBezTo>
                  <a:pt x="2322594" y="4532204"/>
                  <a:pt x="2317803" y="4536996"/>
                  <a:pt x="2311856" y="4536996"/>
                </a:cubicBezTo>
                <a:cubicBezTo>
                  <a:pt x="2305910" y="4536996"/>
                  <a:pt x="2301120" y="4532204"/>
                  <a:pt x="2301120" y="4526258"/>
                </a:cubicBezTo>
                <a:cubicBezTo>
                  <a:pt x="2301120" y="4520311"/>
                  <a:pt x="2305910" y="4515521"/>
                  <a:pt x="2311856" y="4515521"/>
                </a:cubicBezTo>
                <a:close/>
                <a:moveTo>
                  <a:pt x="1490079" y="4514365"/>
                </a:moveTo>
                <a:cubicBezTo>
                  <a:pt x="1496025" y="4514365"/>
                  <a:pt x="1500817" y="4519154"/>
                  <a:pt x="1500817" y="4525101"/>
                </a:cubicBezTo>
                <a:cubicBezTo>
                  <a:pt x="1500817" y="4531047"/>
                  <a:pt x="1496025" y="4535837"/>
                  <a:pt x="1490079" y="4535837"/>
                </a:cubicBezTo>
                <a:cubicBezTo>
                  <a:pt x="1484132" y="4535837"/>
                  <a:pt x="1479342" y="4531047"/>
                  <a:pt x="1479342" y="4525101"/>
                </a:cubicBezTo>
                <a:cubicBezTo>
                  <a:pt x="1479342" y="4519154"/>
                  <a:pt x="1484132" y="4514365"/>
                  <a:pt x="1490079" y="4514365"/>
                </a:cubicBezTo>
                <a:close/>
                <a:moveTo>
                  <a:pt x="1132297" y="4514200"/>
                </a:moveTo>
                <a:cubicBezTo>
                  <a:pt x="1133287" y="4514200"/>
                  <a:pt x="1133948" y="4514861"/>
                  <a:pt x="1133948" y="4515853"/>
                </a:cubicBezTo>
                <a:cubicBezTo>
                  <a:pt x="1133948" y="4516843"/>
                  <a:pt x="1133122" y="4517503"/>
                  <a:pt x="1132297" y="4517503"/>
                </a:cubicBezTo>
                <a:cubicBezTo>
                  <a:pt x="1131305" y="4517503"/>
                  <a:pt x="1130644" y="4516843"/>
                  <a:pt x="1130644" y="4515853"/>
                </a:cubicBezTo>
                <a:cubicBezTo>
                  <a:pt x="1130644" y="4514861"/>
                  <a:pt x="1131305" y="4514200"/>
                  <a:pt x="1132297" y="4514200"/>
                </a:cubicBezTo>
                <a:close/>
                <a:moveTo>
                  <a:pt x="2168643" y="4513869"/>
                </a:moveTo>
                <a:cubicBezTo>
                  <a:pt x="2174590" y="4513869"/>
                  <a:pt x="2179382" y="4518658"/>
                  <a:pt x="2179382" y="4524605"/>
                </a:cubicBezTo>
                <a:cubicBezTo>
                  <a:pt x="2179382" y="4530551"/>
                  <a:pt x="2174590" y="4535341"/>
                  <a:pt x="2168643" y="4535341"/>
                </a:cubicBezTo>
                <a:cubicBezTo>
                  <a:pt x="2162697" y="4535341"/>
                  <a:pt x="2157907" y="4530551"/>
                  <a:pt x="2157907" y="4524605"/>
                </a:cubicBezTo>
                <a:cubicBezTo>
                  <a:pt x="2157907" y="4518658"/>
                  <a:pt x="2162697" y="4513869"/>
                  <a:pt x="2168643" y="4513869"/>
                </a:cubicBezTo>
                <a:close/>
                <a:moveTo>
                  <a:pt x="1521958" y="4512714"/>
                </a:moveTo>
                <a:cubicBezTo>
                  <a:pt x="1527905" y="4512714"/>
                  <a:pt x="1532695" y="4517503"/>
                  <a:pt x="1532695" y="4523450"/>
                </a:cubicBezTo>
                <a:cubicBezTo>
                  <a:pt x="1532695" y="4529397"/>
                  <a:pt x="1527905" y="4534186"/>
                  <a:pt x="1521958" y="4534186"/>
                </a:cubicBezTo>
                <a:cubicBezTo>
                  <a:pt x="1516012" y="4534186"/>
                  <a:pt x="1511222" y="4529397"/>
                  <a:pt x="1511222" y="4523450"/>
                </a:cubicBezTo>
                <a:cubicBezTo>
                  <a:pt x="1511222" y="4517503"/>
                  <a:pt x="1516012" y="4512714"/>
                  <a:pt x="1521958" y="4512714"/>
                </a:cubicBezTo>
                <a:close/>
                <a:moveTo>
                  <a:pt x="2140728" y="4511722"/>
                </a:moveTo>
                <a:cubicBezTo>
                  <a:pt x="2146675" y="4511722"/>
                  <a:pt x="2151467" y="4516512"/>
                  <a:pt x="2151467" y="4522458"/>
                </a:cubicBezTo>
                <a:cubicBezTo>
                  <a:pt x="2151467" y="4528405"/>
                  <a:pt x="2146675" y="4533194"/>
                  <a:pt x="2140728" y="4533194"/>
                </a:cubicBezTo>
                <a:cubicBezTo>
                  <a:pt x="2134782" y="4533194"/>
                  <a:pt x="2129992" y="4528405"/>
                  <a:pt x="2129992" y="4522458"/>
                </a:cubicBezTo>
                <a:cubicBezTo>
                  <a:pt x="2129992" y="4516512"/>
                  <a:pt x="2134782" y="4511722"/>
                  <a:pt x="2140728" y="4511722"/>
                </a:cubicBezTo>
                <a:close/>
                <a:moveTo>
                  <a:pt x="1555820" y="4511061"/>
                </a:moveTo>
                <a:lnTo>
                  <a:pt x="1566477" y="4521716"/>
                </a:lnTo>
                <a:lnTo>
                  <a:pt x="1567383" y="4520807"/>
                </a:lnTo>
                <a:cubicBezTo>
                  <a:pt x="1573330" y="4520807"/>
                  <a:pt x="1578120" y="4525597"/>
                  <a:pt x="1578120" y="4531543"/>
                </a:cubicBezTo>
                <a:lnTo>
                  <a:pt x="1577790" y="4531873"/>
                </a:lnTo>
                <a:lnTo>
                  <a:pt x="1588364" y="4542445"/>
                </a:lnTo>
                <a:cubicBezTo>
                  <a:pt x="1588364" y="4548391"/>
                  <a:pt x="1583572" y="4553181"/>
                  <a:pt x="1577626" y="4553181"/>
                </a:cubicBezTo>
                <a:cubicBezTo>
                  <a:pt x="1571679" y="4553181"/>
                  <a:pt x="1566889" y="4548391"/>
                  <a:pt x="1566889" y="4542445"/>
                </a:cubicBezTo>
                <a:lnTo>
                  <a:pt x="1567219" y="4542117"/>
                </a:lnTo>
                <a:lnTo>
                  <a:pt x="1556729" y="4531625"/>
                </a:lnTo>
                <a:lnTo>
                  <a:pt x="1555820" y="4532534"/>
                </a:lnTo>
                <a:cubicBezTo>
                  <a:pt x="1549873" y="4532534"/>
                  <a:pt x="1545084" y="4527744"/>
                  <a:pt x="1545084" y="4521797"/>
                </a:cubicBezTo>
                <a:cubicBezTo>
                  <a:pt x="1545084" y="4515851"/>
                  <a:pt x="1549873" y="4511061"/>
                  <a:pt x="1555820" y="4511061"/>
                </a:cubicBezTo>
                <a:close/>
                <a:moveTo>
                  <a:pt x="2398576" y="4510731"/>
                </a:moveTo>
                <a:cubicBezTo>
                  <a:pt x="2404522" y="4510731"/>
                  <a:pt x="2409314" y="4515521"/>
                  <a:pt x="2409314" y="4521468"/>
                </a:cubicBezTo>
                <a:cubicBezTo>
                  <a:pt x="2409314" y="4527414"/>
                  <a:pt x="2404522" y="4532204"/>
                  <a:pt x="2398576" y="4532204"/>
                </a:cubicBezTo>
                <a:cubicBezTo>
                  <a:pt x="2392630" y="4532204"/>
                  <a:pt x="2387839" y="4527414"/>
                  <a:pt x="2387839" y="4521468"/>
                </a:cubicBezTo>
                <a:cubicBezTo>
                  <a:pt x="2387839" y="4515521"/>
                  <a:pt x="2392630" y="4510731"/>
                  <a:pt x="2398576" y="4510731"/>
                </a:cubicBezTo>
                <a:close/>
                <a:moveTo>
                  <a:pt x="1217860" y="4510565"/>
                </a:moveTo>
                <a:cubicBezTo>
                  <a:pt x="1223806" y="4510565"/>
                  <a:pt x="1228598" y="4515355"/>
                  <a:pt x="1228598" y="4521301"/>
                </a:cubicBezTo>
                <a:cubicBezTo>
                  <a:pt x="1228598" y="4527248"/>
                  <a:pt x="1223806" y="4532038"/>
                  <a:pt x="1217860" y="4532038"/>
                </a:cubicBezTo>
                <a:cubicBezTo>
                  <a:pt x="1211913" y="4532038"/>
                  <a:pt x="1207124" y="4527248"/>
                  <a:pt x="1207124" y="4521301"/>
                </a:cubicBezTo>
                <a:cubicBezTo>
                  <a:pt x="1207124" y="4515355"/>
                  <a:pt x="1211913" y="4510565"/>
                  <a:pt x="1217860" y="4510565"/>
                </a:cubicBezTo>
                <a:close/>
                <a:moveTo>
                  <a:pt x="2111656" y="4510071"/>
                </a:moveTo>
                <a:cubicBezTo>
                  <a:pt x="2117603" y="4510071"/>
                  <a:pt x="2122395" y="4514861"/>
                  <a:pt x="2122395" y="4520807"/>
                </a:cubicBezTo>
                <a:cubicBezTo>
                  <a:pt x="2122395" y="4526754"/>
                  <a:pt x="2117603" y="4531543"/>
                  <a:pt x="2111656" y="4531543"/>
                </a:cubicBezTo>
                <a:cubicBezTo>
                  <a:pt x="2105710" y="4531543"/>
                  <a:pt x="2100920" y="4526754"/>
                  <a:pt x="2100920" y="4520807"/>
                </a:cubicBezTo>
                <a:cubicBezTo>
                  <a:pt x="2100920" y="4514861"/>
                  <a:pt x="2105710" y="4510071"/>
                  <a:pt x="2111656" y="4510071"/>
                </a:cubicBezTo>
                <a:close/>
                <a:moveTo>
                  <a:pt x="1591499" y="4509244"/>
                </a:moveTo>
                <a:lnTo>
                  <a:pt x="1601164" y="4518906"/>
                </a:lnTo>
                <a:lnTo>
                  <a:pt x="1601576" y="4518494"/>
                </a:lnTo>
                <a:cubicBezTo>
                  <a:pt x="1607523" y="4518494"/>
                  <a:pt x="1612315" y="4523284"/>
                  <a:pt x="1612315" y="4529230"/>
                </a:cubicBezTo>
                <a:lnTo>
                  <a:pt x="1611900" y="4529644"/>
                </a:lnTo>
                <a:lnTo>
                  <a:pt x="1621232" y="4538976"/>
                </a:lnTo>
                <a:lnTo>
                  <a:pt x="1619250" y="4540958"/>
                </a:lnTo>
                <a:lnTo>
                  <a:pt x="1629162" y="4550869"/>
                </a:lnTo>
                <a:cubicBezTo>
                  <a:pt x="1629162" y="4556816"/>
                  <a:pt x="1624371" y="4561606"/>
                  <a:pt x="1618424" y="4561606"/>
                </a:cubicBezTo>
                <a:cubicBezTo>
                  <a:pt x="1612478" y="4561606"/>
                  <a:pt x="1607688" y="4556816"/>
                  <a:pt x="1607688" y="4550869"/>
                </a:cubicBezTo>
                <a:lnTo>
                  <a:pt x="1609670" y="4548887"/>
                </a:lnTo>
                <a:lnTo>
                  <a:pt x="1599759" y="4538976"/>
                </a:lnTo>
                <a:lnTo>
                  <a:pt x="1600173" y="4538563"/>
                </a:lnTo>
                <a:lnTo>
                  <a:pt x="1591914" y="4530303"/>
                </a:lnTo>
                <a:lnTo>
                  <a:pt x="1591499" y="4530716"/>
                </a:lnTo>
                <a:cubicBezTo>
                  <a:pt x="1585553" y="4530716"/>
                  <a:pt x="1580763" y="4525926"/>
                  <a:pt x="1580763" y="4519980"/>
                </a:cubicBezTo>
                <a:cubicBezTo>
                  <a:pt x="1580763" y="4514033"/>
                  <a:pt x="1585553" y="4509244"/>
                  <a:pt x="1591499" y="4509244"/>
                </a:cubicBezTo>
                <a:close/>
                <a:moveTo>
                  <a:pt x="2080932" y="4508749"/>
                </a:moveTo>
                <a:cubicBezTo>
                  <a:pt x="2086878" y="4508749"/>
                  <a:pt x="2091670" y="4513539"/>
                  <a:pt x="2091670" y="4519486"/>
                </a:cubicBezTo>
                <a:cubicBezTo>
                  <a:pt x="2091670" y="4525432"/>
                  <a:pt x="2086878" y="4530222"/>
                  <a:pt x="2080932" y="4530222"/>
                </a:cubicBezTo>
                <a:cubicBezTo>
                  <a:pt x="2074985" y="4530222"/>
                  <a:pt x="2070195" y="4525432"/>
                  <a:pt x="2070195" y="4519486"/>
                </a:cubicBezTo>
                <a:cubicBezTo>
                  <a:pt x="2070195" y="4513539"/>
                  <a:pt x="2074985" y="4508749"/>
                  <a:pt x="2080932" y="4508749"/>
                </a:cubicBezTo>
                <a:close/>
                <a:moveTo>
                  <a:pt x="2048391" y="4507593"/>
                </a:moveTo>
                <a:cubicBezTo>
                  <a:pt x="2054338" y="4507593"/>
                  <a:pt x="2059130" y="4512382"/>
                  <a:pt x="2059130" y="4518329"/>
                </a:cubicBezTo>
                <a:cubicBezTo>
                  <a:pt x="2059130" y="4524275"/>
                  <a:pt x="2054338" y="4529065"/>
                  <a:pt x="2048391" y="4529065"/>
                </a:cubicBezTo>
                <a:cubicBezTo>
                  <a:pt x="2042445" y="4529065"/>
                  <a:pt x="2037655" y="4524275"/>
                  <a:pt x="2037655" y="4518329"/>
                </a:cubicBezTo>
                <a:cubicBezTo>
                  <a:pt x="2037655" y="4512382"/>
                  <a:pt x="2042445" y="4507593"/>
                  <a:pt x="2048391" y="4507593"/>
                </a:cubicBezTo>
                <a:close/>
                <a:moveTo>
                  <a:pt x="2014034" y="4506106"/>
                </a:moveTo>
                <a:cubicBezTo>
                  <a:pt x="2019980" y="4506106"/>
                  <a:pt x="2024772" y="4510896"/>
                  <a:pt x="2024772" y="4516843"/>
                </a:cubicBezTo>
                <a:cubicBezTo>
                  <a:pt x="2024772" y="4522789"/>
                  <a:pt x="2019980" y="4527579"/>
                  <a:pt x="2014034" y="4527579"/>
                </a:cubicBezTo>
                <a:cubicBezTo>
                  <a:pt x="2008087" y="4527579"/>
                  <a:pt x="2003297" y="4522789"/>
                  <a:pt x="2003297" y="4516843"/>
                </a:cubicBezTo>
                <a:cubicBezTo>
                  <a:pt x="2003297" y="4510896"/>
                  <a:pt x="2008087" y="4506106"/>
                  <a:pt x="2014034" y="4506106"/>
                </a:cubicBezTo>
                <a:close/>
                <a:moveTo>
                  <a:pt x="1413435" y="4506106"/>
                </a:moveTo>
                <a:cubicBezTo>
                  <a:pt x="1419381" y="4506106"/>
                  <a:pt x="1424173" y="4510896"/>
                  <a:pt x="1424173" y="4516843"/>
                </a:cubicBezTo>
                <a:cubicBezTo>
                  <a:pt x="1424173" y="4522789"/>
                  <a:pt x="1419381" y="4527579"/>
                  <a:pt x="1413435" y="4527579"/>
                </a:cubicBezTo>
                <a:cubicBezTo>
                  <a:pt x="1407488" y="4527579"/>
                  <a:pt x="1402698" y="4522789"/>
                  <a:pt x="1402698" y="4516843"/>
                </a:cubicBezTo>
                <a:cubicBezTo>
                  <a:pt x="1402698" y="4510896"/>
                  <a:pt x="1407488" y="4506106"/>
                  <a:pt x="1413435" y="4506106"/>
                </a:cubicBezTo>
                <a:close/>
                <a:moveTo>
                  <a:pt x="1239993" y="4505446"/>
                </a:moveTo>
                <a:cubicBezTo>
                  <a:pt x="1245940" y="4505446"/>
                  <a:pt x="1250731" y="4510235"/>
                  <a:pt x="1250731" y="4516182"/>
                </a:cubicBezTo>
                <a:cubicBezTo>
                  <a:pt x="1250731" y="4522129"/>
                  <a:pt x="1245940" y="4526918"/>
                  <a:pt x="1239993" y="4526918"/>
                </a:cubicBezTo>
                <a:cubicBezTo>
                  <a:pt x="1234047" y="4526918"/>
                  <a:pt x="1229257" y="4522129"/>
                  <a:pt x="1229257" y="4516182"/>
                </a:cubicBezTo>
                <a:cubicBezTo>
                  <a:pt x="1229257" y="4510235"/>
                  <a:pt x="1234047" y="4505446"/>
                  <a:pt x="1239993" y="4505446"/>
                </a:cubicBezTo>
                <a:close/>
                <a:moveTo>
                  <a:pt x="1443002" y="4504950"/>
                </a:moveTo>
                <a:cubicBezTo>
                  <a:pt x="1448949" y="4504950"/>
                  <a:pt x="1453739" y="4509740"/>
                  <a:pt x="1453739" y="4515686"/>
                </a:cubicBezTo>
                <a:cubicBezTo>
                  <a:pt x="1453739" y="4521633"/>
                  <a:pt x="1448949" y="4526422"/>
                  <a:pt x="1443002" y="4526422"/>
                </a:cubicBezTo>
                <a:cubicBezTo>
                  <a:pt x="1437056" y="4526422"/>
                  <a:pt x="1432266" y="4521633"/>
                  <a:pt x="1432266" y="4515686"/>
                </a:cubicBezTo>
                <a:cubicBezTo>
                  <a:pt x="1432266" y="4509740"/>
                  <a:pt x="1437056" y="4504950"/>
                  <a:pt x="1443002" y="4504950"/>
                </a:cubicBezTo>
                <a:close/>
                <a:moveTo>
                  <a:pt x="2377929" y="4504289"/>
                </a:moveTo>
                <a:cubicBezTo>
                  <a:pt x="2383875" y="4504289"/>
                  <a:pt x="2388667" y="4509079"/>
                  <a:pt x="2388667" y="4515025"/>
                </a:cubicBezTo>
                <a:cubicBezTo>
                  <a:pt x="2388667" y="4520972"/>
                  <a:pt x="2383875" y="4525763"/>
                  <a:pt x="2377929" y="4525763"/>
                </a:cubicBezTo>
                <a:cubicBezTo>
                  <a:pt x="2371982" y="4525763"/>
                  <a:pt x="2367192" y="4520972"/>
                  <a:pt x="2367192" y="4515025"/>
                </a:cubicBezTo>
                <a:cubicBezTo>
                  <a:pt x="2367192" y="4509079"/>
                  <a:pt x="2371982" y="4504289"/>
                  <a:pt x="2377929" y="4504289"/>
                </a:cubicBezTo>
                <a:close/>
                <a:moveTo>
                  <a:pt x="1977529" y="4503958"/>
                </a:moveTo>
                <a:cubicBezTo>
                  <a:pt x="1983476" y="4503958"/>
                  <a:pt x="1988265" y="4508748"/>
                  <a:pt x="1988265" y="4514694"/>
                </a:cubicBezTo>
                <a:cubicBezTo>
                  <a:pt x="1988265" y="4520641"/>
                  <a:pt x="1983476" y="4525430"/>
                  <a:pt x="1977529" y="4525430"/>
                </a:cubicBezTo>
                <a:lnTo>
                  <a:pt x="1977033" y="4524936"/>
                </a:lnTo>
                <a:lnTo>
                  <a:pt x="1966791" y="4535177"/>
                </a:lnTo>
                <a:lnTo>
                  <a:pt x="1966710" y="4535095"/>
                </a:lnTo>
                <a:lnTo>
                  <a:pt x="1958368" y="4543436"/>
                </a:lnTo>
                <a:lnTo>
                  <a:pt x="1959358" y="4544427"/>
                </a:lnTo>
                <a:lnTo>
                  <a:pt x="1948953" y="4554832"/>
                </a:lnTo>
                <a:lnTo>
                  <a:pt x="1951763" y="4557641"/>
                </a:lnTo>
                <a:cubicBezTo>
                  <a:pt x="1951763" y="4563588"/>
                  <a:pt x="1946971" y="4568378"/>
                  <a:pt x="1941024" y="4568378"/>
                </a:cubicBezTo>
                <a:cubicBezTo>
                  <a:pt x="1935078" y="4568378"/>
                  <a:pt x="1930288" y="4563588"/>
                  <a:pt x="1930288" y="4557641"/>
                </a:cubicBezTo>
                <a:lnTo>
                  <a:pt x="1940695" y="4547236"/>
                </a:lnTo>
                <a:lnTo>
                  <a:pt x="1937886" y="4544427"/>
                </a:lnTo>
                <a:lnTo>
                  <a:pt x="1947465" y="4534847"/>
                </a:lnTo>
                <a:lnTo>
                  <a:pt x="1946475" y="4533855"/>
                </a:lnTo>
                <a:cubicBezTo>
                  <a:pt x="1946475" y="4527909"/>
                  <a:pt x="1951265" y="4523119"/>
                  <a:pt x="1957211" y="4523119"/>
                </a:cubicBezTo>
                <a:lnTo>
                  <a:pt x="1957295" y="4523202"/>
                </a:lnTo>
                <a:lnTo>
                  <a:pt x="1966791" y="4513704"/>
                </a:lnTo>
                <a:lnTo>
                  <a:pt x="1967287" y="4514200"/>
                </a:lnTo>
                <a:close/>
                <a:moveTo>
                  <a:pt x="1474386" y="4503958"/>
                </a:moveTo>
                <a:cubicBezTo>
                  <a:pt x="1480333" y="4503958"/>
                  <a:pt x="1485124" y="4508748"/>
                  <a:pt x="1485124" y="4514694"/>
                </a:cubicBezTo>
                <a:cubicBezTo>
                  <a:pt x="1485124" y="4520641"/>
                  <a:pt x="1480333" y="4525430"/>
                  <a:pt x="1474386" y="4525430"/>
                </a:cubicBezTo>
                <a:cubicBezTo>
                  <a:pt x="1468439" y="4525430"/>
                  <a:pt x="1463650" y="4520641"/>
                  <a:pt x="1463650" y="4514694"/>
                </a:cubicBezTo>
                <a:cubicBezTo>
                  <a:pt x="1463650" y="4508748"/>
                  <a:pt x="1468439" y="4503958"/>
                  <a:pt x="1474386" y="4503958"/>
                </a:cubicBezTo>
                <a:close/>
                <a:moveTo>
                  <a:pt x="1507587" y="4502801"/>
                </a:moveTo>
                <a:cubicBezTo>
                  <a:pt x="1513534" y="4502801"/>
                  <a:pt x="1518325" y="4507591"/>
                  <a:pt x="1518325" y="4513537"/>
                </a:cubicBezTo>
                <a:cubicBezTo>
                  <a:pt x="1518325" y="4519484"/>
                  <a:pt x="1513534" y="4524274"/>
                  <a:pt x="1507587" y="4524274"/>
                </a:cubicBezTo>
                <a:cubicBezTo>
                  <a:pt x="1501640" y="4524274"/>
                  <a:pt x="1496851" y="4519484"/>
                  <a:pt x="1496851" y="4513537"/>
                </a:cubicBezTo>
                <a:cubicBezTo>
                  <a:pt x="1496851" y="4507591"/>
                  <a:pt x="1501640" y="4502801"/>
                  <a:pt x="1507587" y="4502801"/>
                </a:cubicBezTo>
                <a:close/>
                <a:moveTo>
                  <a:pt x="1938711" y="4501150"/>
                </a:moveTo>
                <a:cubicBezTo>
                  <a:pt x="1944658" y="4501150"/>
                  <a:pt x="1949449" y="4505940"/>
                  <a:pt x="1949449" y="4511886"/>
                </a:cubicBezTo>
                <a:lnTo>
                  <a:pt x="1939870" y="4521468"/>
                </a:lnTo>
                <a:lnTo>
                  <a:pt x="1940528" y="4522127"/>
                </a:lnTo>
                <a:lnTo>
                  <a:pt x="1932022" y="4530635"/>
                </a:lnTo>
                <a:lnTo>
                  <a:pt x="1932600" y="4531212"/>
                </a:lnTo>
                <a:lnTo>
                  <a:pt x="1924258" y="4539554"/>
                </a:lnTo>
                <a:lnTo>
                  <a:pt x="1925498" y="4540794"/>
                </a:lnTo>
                <a:lnTo>
                  <a:pt x="1916578" y="4549713"/>
                </a:lnTo>
                <a:lnTo>
                  <a:pt x="1919221" y="4552355"/>
                </a:lnTo>
                <a:lnTo>
                  <a:pt x="1909143" y="4562431"/>
                </a:lnTo>
                <a:lnTo>
                  <a:pt x="1913770" y="4567056"/>
                </a:lnTo>
                <a:cubicBezTo>
                  <a:pt x="1913770" y="4573003"/>
                  <a:pt x="1908978" y="4577794"/>
                  <a:pt x="1903032" y="4577794"/>
                </a:cubicBezTo>
                <a:cubicBezTo>
                  <a:pt x="1897085" y="4577794"/>
                  <a:pt x="1892296" y="4573003"/>
                  <a:pt x="1892296" y="4567056"/>
                </a:cubicBezTo>
                <a:lnTo>
                  <a:pt x="1902371" y="4556980"/>
                </a:lnTo>
                <a:lnTo>
                  <a:pt x="1897746" y="4552355"/>
                </a:lnTo>
                <a:lnTo>
                  <a:pt x="1906667" y="4543436"/>
                </a:lnTo>
                <a:lnTo>
                  <a:pt x="1904024" y="4540794"/>
                </a:lnTo>
                <a:lnTo>
                  <a:pt x="1912366" y="4532452"/>
                </a:lnTo>
                <a:lnTo>
                  <a:pt x="1911125" y="4531212"/>
                </a:lnTo>
                <a:lnTo>
                  <a:pt x="1919633" y="4522704"/>
                </a:lnTo>
                <a:lnTo>
                  <a:pt x="1919056" y="4522127"/>
                </a:lnTo>
                <a:lnTo>
                  <a:pt x="1928635" y="4512547"/>
                </a:lnTo>
                <a:lnTo>
                  <a:pt x="1927975" y="4511886"/>
                </a:lnTo>
                <a:cubicBezTo>
                  <a:pt x="1927975" y="4505940"/>
                  <a:pt x="1932765" y="4501150"/>
                  <a:pt x="1938711" y="4501150"/>
                </a:cubicBezTo>
                <a:close/>
                <a:moveTo>
                  <a:pt x="1542772" y="4501150"/>
                </a:moveTo>
                <a:cubicBezTo>
                  <a:pt x="1548719" y="4501150"/>
                  <a:pt x="1553510" y="4505940"/>
                  <a:pt x="1553510" y="4511886"/>
                </a:cubicBezTo>
                <a:cubicBezTo>
                  <a:pt x="1553510" y="4517833"/>
                  <a:pt x="1548719" y="4522625"/>
                  <a:pt x="1542772" y="4522625"/>
                </a:cubicBezTo>
                <a:cubicBezTo>
                  <a:pt x="1536825" y="4522625"/>
                  <a:pt x="1532036" y="4517833"/>
                  <a:pt x="1532036" y="4511886"/>
                </a:cubicBezTo>
                <a:cubicBezTo>
                  <a:pt x="1532036" y="4505940"/>
                  <a:pt x="1536825" y="4501150"/>
                  <a:pt x="1542772" y="4501150"/>
                </a:cubicBezTo>
                <a:close/>
                <a:moveTo>
                  <a:pt x="2159393" y="4499829"/>
                </a:moveTo>
                <a:cubicBezTo>
                  <a:pt x="2165340" y="4499829"/>
                  <a:pt x="2170132" y="4504618"/>
                  <a:pt x="2170132" y="4510565"/>
                </a:cubicBezTo>
                <a:cubicBezTo>
                  <a:pt x="2170132" y="4516512"/>
                  <a:pt x="2165340" y="4521301"/>
                  <a:pt x="2159393" y="4521301"/>
                </a:cubicBezTo>
                <a:cubicBezTo>
                  <a:pt x="2153447" y="4521301"/>
                  <a:pt x="2148657" y="4516512"/>
                  <a:pt x="2148657" y="4510565"/>
                </a:cubicBezTo>
                <a:cubicBezTo>
                  <a:pt x="2148657" y="4504618"/>
                  <a:pt x="2153447" y="4499829"/>
                  <a:pt x="2159393" y="4499829"/>
                </a:cubicBezTo>
                <a:close/>
                <a:moveTo>
                  <a:pt x="2356621" y="4499168"/>
                </a:moveTo>
                <a:cubicBezTo>
                  <a:pt x="2362567" y="4499168"/>
                  <a:pt x="2367359" y="4503958"/>
                  <a:pt x="2367359" y="4509904"/>
                </a:cubicBezTo>
                <a:cubicBezTo>
                  <a:pt x="2367359" y="4515851"/>
                  <a:pt x="2362567" y="4520642"/>
                  <a:pt x="2356621" y="4520642"/>
                </a:cubicBezTo>
                <a:cubicBezTo>
                  <a:pt x="2350674" y="4520642"/>
                  <a:pt x="2345884" y="4515851"/>
                  <a:pt x="2345884" y="4509904"/>
                </a:cubicBezTo>
                <a:cubicBezTo>
                  <a:pt x="2345884" y="4503958"/>
                  <a:pt x="2350674" y="4499168"/>
                  <a:pt x="2356621" y="4499168"/>
                </a:cubicBezTo>
                <a:close/>
                <a:moveTo>
                  <a:pt x="2129496" y="4499168"/>
                </a:moveTo>
                <a:cubicBezTo>
                  <a:pt x="2135443" y="4499168"/>
                  <a:pt x="2140234" y="4503958"/>
                  <a:pt x="2140234" y="4509904"/>
                </a:cubicBezTo>
                <a:cubicBezTo>
                  <a:pt x="2140234" y="4515851"/>
                  <a:pt x="2135443" y="4520642"/>
                  <a:pt x="2129496" y="4520642"/>
                </a:cubicBezTo>
                <a:cubicBezTo>
                  <a:pt x="2123549" y="4520642"/>
                  <a:pt x="2118760" y="4515851"/>
                  <a:pt x="2118760" y="4509904"/>
                </a:cubicBezTo>
                <a:cubicBezTo>
                  <a:pt x="2118760" y="4503958"/>
                  <a:pt x="2123549" y="4499168"/>
                  <a:pt x="2129496" y="4499168"/>
                </a:cubicBezTo>
                <a:close/>
                <a:moveTo>
                  <a:pt x="2462337" y="4498838"/>
                </a:moveTo>
                <a:cubicBezTo>
                  <a:pt x="2468118" y="4498838"/>
                  <a:pt x="2472909" y="4503628"/>
                  <a:pt x="2472909" y="4509410"/>
                </a:cubicBezTo>
                <a:cubicBezTo>
                  <a:pt x="2472909" y="4515192"/>
                  <a:pt x="2468283" y="4519982"/>
                  <a:pt x="2462337" y="4519982"/>
                </a:cubicBezTo>
                <a:cubicBezTo>
                  <a:pt x="2456555" y="4519982"/>
                  <a:pt x="2451765" y="4515192"/>
                  <a:pt x="2451765" y="4509410"/>
                </a:cubicBezTo>
                <a:cubicBezTo>
                  <a:pt x="2451765" y="4503628"/>
                  <a:pt x="2456555" y="4498838"/>
                  <a:pt x="2462337" y="4498838"/>
                </a:cubicBezTo>
                <a:close/>
                <a:moveTo>
                  <a:pt x="1580269" y="4498672"/>
                </a:moveTo>
                <a:cubicBezTo>
                  <a:pt x="1586215" y="4498672"/>
                  <a:pt x="1591007" y="4503462"/>
                  <a:pt x="1591007" y="4509408"/>
                </a:cubicBezTo>
                <a:cubicBezTo>
                  <a:pt x="1591007" y="4515355"/>
                  <a:pt x="1586215" y="4520145"/>
                  <a:pt x="1580269" y="4520145"/>
                </a:cubicBezTo>
                <a:cubicBezTo>
                  <a:pt x="1574322" y="4520145"/>
                  <a:pt x="1569532" y="4515355"/>
                  <a:pt x="1569532" y="4509408"/>
                </a:cubicBezTo>
                <a:cubicBezTo>
                  <a:pt x="1569532" y="4503462"/>
                  <a:pt x="1574322" y="4498672"/>
                  <a:pt x="1580269" y="4498672"/>
                </a:cubicBezTo>
                <a:close/>
                <a:moveTo>
                  <a:pt x="1152283" y="4498672"/>
                </a:moveTo>
                <a:cubicBezTo>
                  <a:pt x="1158230" y="4498672"/>
                  <a:pt x="1163021" y="4503462"/>
                  <a:pt x="1163021" y="4509408"/>
                </a:cubicBezTo>
                <a:cubicBezTo>
                  <a:pt x="1163021" y="4515355"/>
                  <a:pt x="1158230" y="4520145"/>
                  <a:pt x="1152283" y="4520145"/>
                </a:cubicBezTo>
                <a:cubicBezTo>
                  <a:pt x="1146337" y="4520145"/>
                  <a:pt x="1141547" y="4515355"/>
                  <a:pt x="1141547" y="4509408"/>
                </a:cubicBezTo>
                <a:cubicBezTo>
                  <a:pt x="1141547" y="4503462"/>
                  <a:pt x="1146337" y="4498672"/>
                  <a:pt x="1152283" y="4498672"/>
                </a:cubicBezTo>
                <a:close/>
                <a:moveTo>
                  <a:pt x="2097615" y="4498342"/>
                </a:moveTo>
                <a:cubicBezTo>
                  <a:pt x="2103561" y="4498342"/>
                  <a:pt x="2108353" y="4503132"/>
                  <a:pt x="2108353" y="4509079"/>
                </a:cubicBezTo>
                <a:cubicBezTo>
                  <a:pt x="2108353" y="4515025"/>
                  <a:pt x="2103561" y="4519815"/>
                  <a:pt x="2097615" y="4519815"/>
                </a:cubicBezTo>
                <a:cubicBezTo>
                  <a:pt x="2091668" y="4519815"/>
                  <a:pt x="2086878" y="4515025"/>
                  <a:pt x="2086878" y="4509079"/>
                </a:cubicBezTo>
                <a:cubicBezTo>
                  <a:pt x="2086878" y="4503132"/>
                  <a:pt x="2091668" y="4498342"/>
                  <a:pt x="2097615" y="4498342"/>
                </a:cubicBezTo>
                <a:close/>
                <a:moveTo>
                  <a:pt x="2063753" y="4497021"/>
                </a:moveTo>
                <a:cubicBezTo>
                  <a:pt x="2069699" y="4497021"/>
                  <a:pt x="2074491" y="4501811"/>
                  <a:pt x="2074491" y="4507757"/>
                </a:cubicBezTo>
                <a:cubicBezTo>
                  <a:pt x="2074491" y="4513704"/>
                  <a:pt x="2069699" y="4518495"/>
                  <a:pt x="2063753" y="4518495"/>
                </a:cubicBezTo>
                <a:cubicBezTo>
                  <a:pt x="2057806" y="4518495"/>
                  <a:pt x="2053017" y="4513704"/>
                  <a:pt x="2053017" y="4507757"/>
                </a:cubicBezTo>
                <a:cubicBezTo>
                  <a:pt x="2053017" y="4501811"/>
                  <a:pt x="2057806" y="4497021"/>
                  <a:pt x="2063753" y="4497021"/>
                </a:cubicBezTo>
                <a:close/>
                <a:moveTo>
                  <a:pt x="1897417" y="4497021"/>
                </a:moveTo>
                <a:cubicBezTo>
                  <a:pt x="1903363" y="4497021"/>
                  <a:pt x="1908155" y="4501811"/>
                  <a:pt x="1908155" y="4507757"/>
                </a:cubicBezTo>
                <a:lnTo>
                  <a:pt x="1899069" y="4516843"/>
                </a:lnTo>
                <a:lnTo>
                  <a:pt x="1901381" y="4519154"/>
                </a:lnTo>
                <a:lnTo>
                  <a:pt x="1893782" y="4526754"/>
                </a:lnTo>
                <a:lnTo>
                  <a:pt x="1895434" y="4528405"/>
                </a:lnTo>
                <a:lnTo>
                  <a:pt x="1888248" y="4535591"/>
                </a:lnTo>
                <a:lnTo>
                  <a:pt x="1889984" y="4537325"/>
                </a:lnTo>
                <a:lnTo>
                  <a:pt x="1882468" y="4544841"/>
                </a:lnTo>
                <a:lnTo>
                  <a:pt x="1885194" y="4547566"/>
                </a:lnTo>
                <a:lnTo>
                  <a:pt x="1876605" y="4556157"/>
                </a:lnTo>
                <a:lnTo>
                  <a:pt x="1880897" y="4560449"/>
                </a:lnTo>
                <a:lnTo>
                  <a:pt x="1870821" y="4570526"/>
                </a:lnTo>
                <a:lnTo>
                  <a:pt x="1877264" y="4576967"/>
                </a:lnTo>
                <a:cubicBezTo>
                  <a:pt x="1877264" y="4582914"/>
                  <a:pt x="1872474" y="4587705"/>
                  <a:pt x="1866527" y="4587705"/>
                </a:cubicBezTo>
                <a:cubicBezTo>
                  <a:pt x="1860581" y="4587705"/>
                  <a:pt x="1855791" y="4582914"/>
                  <a:pt x="1855791" y="4576967"/>
                </a:cubicBezTo>
                <a:lnTo>
                  <a:pt x="1865867" y="4566893"/>
                </a:lnTo>
                <a:lnTo>
                  <a:pt x="1859424" y="4560449"/>
                </a:lnTo>
                <a:lnTo>
                  <a:pt x="1868013" y="4551859"/>
                </a:lnTo>
                <a:lnTo>
                  <a:pt x="1863720" y="4547566"/>
                </a:lnTo>
                <a:lnTo>
                  <a:pt x="1871236" y="4540051"/>
                </a:lnTo>
                <a:lnTo>
                  <a:pt x="1868509" y="4537325"/>
                </a:lnTo>
                <a:lnTo>
                  <a:pt x="1875694" y="4530140"/>
                </a:lnTo>
                <a:lnTo>
                  <a:pt x="1873960" y="4528405"/>
                </a:lnTo>
                <a:lnTo>
                  <a:pt x="1881557" y="4520807"/>
                </a:lnTo>
                <a:lnTo>
                  <a:pt x="1879907" y="4519154"/>
                </a:lnTo>
                <a:lnTo>
                  <a:pt x="1888992" y="4510069"/>
                </a:lnTo>
                <a:lnTo>
                  <a:pt x="1886680" y="4507757"/>
                </a:lnTo>
                <a:cubicBezTo>
                  <a:pt x="1886680" y="4501811"/>
                  <a:pt x="1891470" y="4497021"/>
                  <a:pt x="1897417" y="4497021"/>
                </a:cubicBezTo>
                <a:close/>
                <a:moveTo>
                  <a:pt x="2334650" y="4495368"/>
                </a:moveTo>
                <a:cubicBezTo>
                  <a:pt x="2340597" y="4495368"/>
                  <a:pt x="2345389" y="4500158"/>
                  <a:pt x="2345389" y="4506105"/>
                </a:cubicBezTo>
                <a:cubicBezTo>
                  <a:pt x="2345389" y="4512051"/>
                  <a:pt x="2340597" y="4516843"/>
                  <a:pt x="2334650" y="4516843"/>
                </a:cubicBezTo>
                <a:cubicBezTo>
                  <a:pt x="2328704" y="4516843"/>
                  <a:pt x="2323914" y="4512051"/>
                  <a:pt x="2323914" y="4506105"/>
                </a:cubicBezTo>
                <a:cubicBezTo>
                  <a:pt x="2323914" y="4500158"/>
                  <a:pt x="2328704" y="4495368"/>
                  <a:pt x="2334650" y="4495368"/>
                </a:cubicBezTo>
                <a:close/>
                <a:moveTo>
                  <a:pt x="2027909" y="4495039"/>
                </a:moveTo>
                <a:cubicBezTo>
                  <a:pt x="2033855" y="4495039"/>
                  <a:pt x="2038647" y="4499829"/>
                  <a:pt x="2038647" y="4505775"/>
                </a:cubicBezTo>
                <a:cubicBezTo>
                  <a:pt x="2038647" y="4511722"/>
                  <a:pt x="2033855" y="4516513"/>
                  <a:pt x="2027909" y="4516513"/>
                </a:cubicBezTo>
                <a:cubicBezTo>
                  <a:pt x="2021962" y="4516513"/>
                  <a:pt x="2017173" y="4511722"/>
                  <a:pt x="2017173" y="4505775"/>
                </a:cubicBezTo>
                <a:cubicBezTo>
                  <a:pt x="2017173" y="4499829"/>
                  <a:pt x="2021962" y="4495039"/>
                  <a:pt x="2027909" y="4495039"/>
                </a:cubicBezTo>
                <a:close/>
                <a:moveTo>
                  <a:pt x="1620242" y="4495039"/>
                </a:moveTo>
                <a:cubicBezTo>
                  <a:pt x="1626188" y="4495039"/>
                  <a:pt x="1630980" y="4499829"/>
                  <a:pt x="1630980" y="4505775"/>
                </a:cubicBezTo>
                <a:lnTo>
                  <a:pt x="1629823" y="4506932"/>
                </a:lnTo>
                <a:lnTo>
                  <a:pt x="1640230" y="4517337"/>
                </a:lnTo>
                <a:lnTo>
                  <a:pt x="1639567" y="4517999"/>
                </a:lnTo>
                <a:lnTo>
                  <a:pt x="1648488" y="4526918"/>
                </a:lnTo>
                <a:lnTo>
                  <a:pt x="1647579" y="4527827"/>
                </a:lnTo>
                <a:lnTo>
                  <a:pt x="1655758" y="4536004"/>
                </a:lnTo>
                <a:lnTo>
                  <a:pt x="1653857" y="4537904"/>
                </a:lnTo>
                <a:lnTo>
                  <a:pt x="1662363" y="4546409"/>
                </a:lnTo>
                <a:lnTo>
                  <a:pt x="1658812" y="4549962"/>
                </a:lnTo>
                <a:lnTo>
                  <a:pt x="1668145" y="4559294"/>
                </a:lnTo>
                <a:cubicBezTo>
                  <a:pt x="1668145" y="4565240"/>
                  <a:pt x="1663353" y="4570032"/>
                  <a:pt x="1657407" y="4570032"/>
                </a:cubicBezTo>
                <a:cubicBezTo>
                  <a:pt x="1651460" y="4570032"/>
                  <a:pt x="1646671" y="4565240"/>
                  <a:pt x="1646671" y="4559294"/>
                </a:cubicBezTo>
                <a:lnTo>
                  <a:pt x="1650222" y="4555744"/>
                </a:lnTo>
                <a:lnTo>
                  <a:pt x="1640889" y="4546409"/>
                </a:lnTo>
                <a:lnTo>
                  <a:pt x="1642789" y="4544510"/>
                </a:lnTo>
                <a:lnTo>
                  <a:pt x="1634283" y="4536004"/>
                </a:lnTo>
                <a:lnTo>
                  <a:pt x="1635190" y="4535097"/>
                </a:lnTo>
                <a:lnTo>
                  <a:pt x="1627014" y="4526918"/>
                </a:lnTo>
                <a:lnTo>
                  <a:pt x="1627676" y="4526258"/>
                </a:lnTo>
                <a:lnTo>
                  <a:pt x="1618755" y="4517337"/>
                </a:lnTo>
                <a:lnTo>
                  <a:pt x="1619910" y="4516182"/>
                </a:lnTo>
                <a:lnTo>
                  <a:pt x="1609505" y="4505775"/>
                </a:lnTo>
                <a:cubicBezTo>
                  <a:pt x="1609505" y="4499829"/>
                  <a:pt x="1614295" y="4495039"/>
                  <a:pt x="1620242" y="4495039"/>
                </a:cubicBezTo>
                <a:close/>
                <a:moveTo>
                  <a:pt x="1393778" y="4494543"/>
                </a:moveTo>
                <a:cubicBezTo>
                  <a:pt x="1399724" y="4494543"/>
                  <a:pt x="1404516" y="4499333"/>
                  <a:pt x="1404516" y="4505279"/>
                </a:cubicBezTo>
                <a:lnTo>
                  <a:pt x="1393778" y="4516016"/>
                </a:lnTo>
                <a:lnTo>
                  <a:pt x="1395924" y="4518162"/>
                </a:lnTo>
                <a:cubicBezTo>
                  <a:pt x="1395924" y="4524109"/>
                  <a:pt x="1391135" y="4528901"/>
                  <a:pt x="1385188" y="4528901"/>
                </a:cubicBezTo>
                <a:cubicBezTo>
                  <a:pt x="1379242" y="4528901"/>
                  <a:pt x="1374452" y="4524109"/>
                  <a:pt x="1374452" y="4518162"/>
                </a:cubicBezTo>
                <a:lnTo>
                  <a:pt x="1385188" y="4507426"/>
                </a:lnTo>
                <a:lnTo>
                  <a:pt x="1383041" y="4505279"/>
                </a:lnTo>
                <a:cubicBezTo>
                  <a:pt x="1383041" y="4499333"/>
                  <a:pt x="1387831" y="4494543"/>
                  <a:pt x="1393778" y="4494543"/>
                </a:cubicBezTo>
                <a:close/>
                <a:moveTo>
                  <a:pt x="1424337" y="4494047"/>
                </a:moveTo>
                <a:cubicBezTo>
                  <a:pt x="1430284" y="4494047"/>
                  <a:pt x="1435075" y="4498837"/>
                  <a:pt x="1435075" y="4504783"/>
                </a:cubicBezTo>
                <a:cubicBezTo>
                  <a:pt x="1435075" y="4510730"/>
                  <a:pt x="1430284" y="4515520"/>
                  <a:pt x="1424337" y="4515520"/>
                </a:cubicBezTo>
                <a:cubicBezTo>
                  <a:pt x="1418391" y="4515520"/>
                  <a:pt x="1413601" y="4510730"/>
                  <a:pt x="1413601" y="4504783"/>
                </a:cubicBezTo>
                <a:cubicBezTo>
                  <a:pt x="1413601" y="4498837"/>
                  <a:pt x="1418391" y="4494047"/>
                  <a:pt x="1424337" y="4494047"/>
                </a:cubicBezTo>
                <a:close/>
                <a:moveTo>
                  <a:pt x="1172766" y="4493386"/>
                </a:moveTo>
                <a:cubicBezTo>
                  <a:pt x="1178712" y="4493386"/>
                  <a:pt x="1183502" y="4498176"/>
                  <a:pt x="1183502" y="4504122"/>
                </a:cubicBezTo>
                <a:cubicBezTo>
                  <a:pt x="1183502" y="4510069"/>
                  <a:pt x="1178712" y="4514861"/>
                  <a:pt x="1172766" y="4514861"/>
                </a:cubicBezTo>
                <a:cubicBezTo>
                  <a:pt x="1166819" y="4514861"/>
                  <a:pt x="1162029" y="4510069"/>
                  <a:pt x="1162029" y="4504122"/>
                </a:cubicBezTo>
                <a:cubicBezTo>
                  <a:pt x="1162029" y="4498176"/>
                  <a:pt x="1166819" y="4493386"/>
                  <a:pt x="1172766" y="4493386"/>
                </a:cubicBezTo>
                <a:close/>
                <a:moveTo>
                  <a:pt x="1456878" y="4493057"/>
                </a:moveTo>
                <a:cubicBezTo>
                  <a:pt x="1462824" y="4493057"/>
                  <a:pt x="1467616" y="4497846"/>
                  <a:pt x="1467616" y="4503793"/>
                </a:cubicBezTo>
                <a:cubicBezTo>
                  <a:pt x="1467616" y="4509740"/>
                  <a:pt x="1462824" y="4514529"/>
                  <a:pt x="1456878" y="4514529"/>
                </a:cubicBezTo>
                <a:cubicBezTo>
                  <a:pt x="1450931" y="4514529"/>
                  <a:pt x="1446141" y="4509740"/>
                  <a:pt x="1446141" y="4503793"/>
                </a:cubicBezTo>
                <a:cubicBezTo>
                  <a:pt x="1446141" y="4497846"/>
                  <a:pt x="1450931" y="4493057"/>
                  <a:pt x="1456878" y="4493057"/>
                </a:cubicBezTo>
                <a:close/>
                <a:moveTo>
                  <a:pt x="1989587" y="4492065"/>
                </a:moveTo>
                <a:cubicBezTo>
                  <a:pt x="1995533" y="4492065"/>
                  <a:pt x="2000325" y="4496854"/>
                  <a:pt x="2000325" y="4502801"/>
                </a:cubicBezTo>
                <a:cubicBezTo>
                  <a:pt x="2000325" y="4508748"/>
                  <a:pt x="1995533" y="4513537"/>
                  <a:pt x="1989587" y="4513537"/>
                </a:cubicBezTo>
                <a:cubicBezTo>
                  <a:pt x="1983640" y="4513537"/>
                  <a:pt x="1978851" y="4508748"/>
                  <a:pt x="1978851" y="4502801"/>
                </a:cubicBezTo>
                <a:cubicBezTo>
                  <a:pt x="1978851" y="4496854"/>
                  <a:pt x="1983640" y="4492065"/>
                  <a:pt x="1989587" y="4492065"/>
                </a:cubicBezTo>
                <a:close/>
                <a:moveTo>
                  <a:pt x="2443174" y="4491900"/>
                </a:moveTo>
                <a:cubicBezTo>
                  <a:pt x="2449121" y="4491900"/>
                  <a:pt x="2453912" y="4496690"/>
                  <a:pt x="2453912" y="4502636"/>
                </a:cubicBezTo>
                <a:cubicBezTo>
                  <a:pt x="2453912" y="4508583"/>
                  <a:pt x="2449121" y="4513374"/>
                  <a:pt x="2443174" y="4513374"/>
                </a:cubicBezTo>
                <a:cubicBezTo>
                  <a:pt x="2437227" y="4513374"/>
                  <a:pt x="2432438" y="4508583"/>
                  <a:pt x="2432438" y="4502636"/>
                </a:cubicBezTo>
                <a:cubicBezTo>
                  <a:pt x="2432438" y="4496690"/>
                  <a:pt x="2437227" y="4491900"/>
                  <a:pt x="2443174" y="4491900"/>
                </a:cubicBezTo>
                <a:close/>
                <a:moveTo>
                  <a:pt x="1491400" y="4491404"/>
                </a:moveTo>
                <a:cubicBezTo>
                  <a:pt x="1497331" y="4491404"/>
                  <a:pt x="1502138" y="4496211"/>
                  <a:pt x="1502138" y="4502140"/>
                </a:cubicBezTo>
                <a:cubicBezTo>
                  <a:pt x="1502138" y="4508069"/>
                  <a:pt x="1497331" y="4512877"/>
                  <a:pt x="1491400" y="4512877"/>
                </a:cubicBezTo>
                <a:cubicBezTo>
                  <a:pt x="1485471" y="4512877"/>
                  <a:pt x="1480664" y="4508069"/>
                  <a:pt x="1480664" y="4502140"/>
                </a:cubicBezTo>
                <a:cubicBezTo>
                  <a:pt x="1480664" y="4496211"/>
                  <a:pt x="1485471" y="4491404"/>
                  <a:pt x="1491400" y="4491404"/>
                </a:cubicBezTo>
                <a:close/>
                <a:moveTo>
                  <a:pt x="1853478" y="4491239"/>
                </a:moveTo>
                <a:cubicBezTo>
                  <a:pt x="1859424" y="4491239"/>
                  <a:pt x="1864216" y="4496029"/>
                  <a:pt x="1864216" y="4501976"/>
                </a:cubicBezTo>
                <a:lnTo>
                  <a:pt x="1855462" y="4510730"/>
                </a:lnTo>
                <a:lnTo>
                  <a:pt x="1859922" y="4515190"/>
                </a:lnTo>
                <a:lnTo>
                  <a:pt x="1852983" y="4522129"/>
                </a:lnTo>
                <a:lnTo>
                  <a:pt x="1855956" y="4525101"/>
                </a:lnTo>
                <a:lnTo>
                  <a:pt x="1849843" y="4531212"/>
                </a:lnTo>
                <a:lnTo>
                  <a:pt x="1852486" y="4533855"/>
                </a:lnTo>
                <a:lnTo>
                  <a:pt x="1846293" y="4540048"/>
                </a:lnTo>
                <a:lnTo>
                  <a:pt x="1849515" y="4543270"/>
                </a:lnTo>
                <a:lnTo>
                  <a:pt x="1842493" y="4550292"/>
                </a:lnTo>
                <a:lnTo>
                  <a:pt x="1846706" y="4554504"/>
                </a:lnTo>
                <a:lnTo>
                  <a:pt x="1838364" y="4562846"/>
                </a:lnTo>
                <a:lnTo>
                  <a:pt x="1844394" y="4568874"/>
                </a:lnTo>
                <a:cubicBezTo>
                  <a:pt x="1844394" y="4574820"/>
                  <a:pt x="1839602" y="4579610"/>
                  <a:pt x="1833656" y="4579610"/>
                </a:cubicBezTo>
                <a:cubicBezTo>
                  <a:pt x="1827709" y="4579610"/>
                  <a:pt x="1822919" y="4574820"/>
                  <a:pt x="1822919" y="4568874"/>
                </a:cubicBezTo>
                <a:lnTo>
                  <a:pt x="1831259" y="4560534"/>
                </a:lnTo>
                <a:lnTo>
                  <a:pt x="1825231" y="4554504"/>
                </a:lnTo>
                <a:lnTo>
                  <a:pt x="1832253" y="4547482"/>
                </a:lnTo>
                <a:lnTo>
                  <a:pt x="1828040" y="4543270"/>
                </a:lnTo>
                <a:lnTo>
                  <a:pt x="1834235" y="4537077"/>
                </a:lnTo>
                <a:lnTo>
                  <a:pt x="1831013" y="4533855"/>
                </a:lnTo>
                <a:lnTo>
                  <a:pt x="1837124" y="4527744"/>
                </a:lnTo>
                <a:lnTo>
                  <a:pt x="1834481" y="4525101"/>
                </a:lnTo>
                <a:lnTo>
                  <a:pt x="1841420" y="4518162"/>
                </a:lnTo>
                <a:lnTo>
                  <a:pt x="1838447" y="4515190"/>
                </a:lnTo>
                <a:lnTo>
                  <a:pt x="1847201" y="4506436"/>
                </a:lnTo>
                <a:lnTo>
                  <a:pt x="1842741" y="4501976"/>
                </a:lnTo>
                <a:cubicBezTo>
                  <a:pt x="1842741" y="4496029"/>
                  <a:pt x="1847531" y="4491239"/>
                  <a:pt x="1853478" y="4491239"/>
                </a:cubicBezTo>
                <a:close/>
                <a:moveTo>
                  <a:pt x="1662693" y="4489918"/>
                </a:moveTo>
                <a:cubicBezTo>
                  <a:pt x="1668639" y="4489918"/>
                  <a:pt x="1673431" y="4494708"/>
                  <a:pt x="1673431" y="4500654"/>
                </a:cubicBezTo>
                <a:lnTo>
                  <a:pt x="1670292" y="4503793"/>
                </a:lnTo>
                <a:lnTo>
                  <a:pt x="1680368" y="4513869"/>
                </a:lnTo>
                <a:lnTo>
                  <a:pt x="1678385" y="4515853"/>
                </a:lnTo>
                <a:lnTo>
                  <a:pt x="1686645" y="4524111"/>
                </a:lnTo>
                <a:lnTo>
                  <a:pt x="1685076" y="4525680"/>
                </a:lnTo>
                <a:lnTo>
                  <a:pt x="1692262" y="4532865"/>
                </a:lnTo>
                <a:lnTo>
                  <a:pt x="1690032" y="4535095"/>
                </a:lnTo>
                <a:lnTo>
                  <a:pt x="1697217" y="4542280"/>
                </a:lnTo>
                <a:lnTo>
                  <a:pt x="1693665" y="4545831"/>
                </a:lnTo>
                <a:lnTo>
                  <a:pt x="1701511" y="4553677"/>
                </a:lnTo>
                <a:lnTo>
                  <a:pt x="1696225" y="4558963"/>
                </a:lnTo>
                <a:lnTo>
                  <a:pt x="1705477" y="4568213"/>
                </a:lnTo>
                <a:cubicBezTo>
                  <a:pt x="1705477" y="4574159"/>
                  <a:pt x="1700685" y="4578951"/>
                  <a:pt x="1694739" y="4578951"/>
                </a:cubicBezTo>
                <a:cubicBezTo>
                  <a:pt x="1688792" y="4578951"/>
                  <a:pt x="1684002" y="4574159"/>
                  <a:pt x="1684002" y="4568213"/>
                </a:cubicBezTo>
                <a:lnTo>
                  <a:pt x="1689288" y="4562929"/>
                </a:lnTo>
                <a:lnTo>
                  <a:pt x="1680038" y="4553677"/>
                </a:lnTo>
                <a:lnTo>
                  <a:pt x="1683588" y="4550127"/>
                </a:lnTo>
                <a:lnTo>
                  <a:pt x="1675742" y="4542280"/>
                </a:lnTo>
                <a:lnTo>
                  <a:pt x="1677973" y="4540050"/>
                </a:lnTo>
                <a:lnTo>
                  <a:pt x="1670788" y="4532865"/>
                </a:lnTo>
                <a:lnTo>
                  <a:pt x="1672357" y="4531297"/>
                </a:lnTo>
                <a:lnTo>
                  <a:pt x="1665171" y="4524111"/>
                </a:lnTo>
                <a:lnTo>
                  <a:pt x="1667153" y="4522129"/>
                </a:lnTo>
                <a:lnTo>
                  <a:pt x="1658895" y="4513869"/>
                </a:lnTo>
                <a:lnTo>
                  <a:pt x="1662034" y="4510731"/>
                </a:lnTo>
                <a:lnTo>
                  <a:pt x="1651956" y="4500654"/>
                </a:lnTo>
                <a:cubicBezTo>
                  <a:pt x="1651956" y="4494708"/>
                  <a:pt x="1656746" y="4489918"/>
                  <a:pt x="1662693" y="4489918"/>
                </a:cubicBezTo>
                <a:close/>
                <a:moveTo>
                  <a:pt x="1193909" y="4489588"/>
                </a:moveTo>
                <a:cubicBezTo>
                  <a:pt x="1199856" y="4489588"/>
                  <a:pt x="1204647" y="4494378"/>
                  <a:pt x="1204647" y="4500325"/>
                </a:cubicBezTo>
                <a:cubicBezTo>
                  <a:pt x="1204647" y="4506271"/>
                  <a:pt x="1199856" y="4511061"/>
                  <a:pt x="1193909" y="4511061"/>
                </a:cubicBezTo>
                <a:cubicBezTo>
                  <a:pt x="1187962" y="4511061"/>
                  <a:pt x="1183173" y="4506271"/>
                  <a:pt x="1183173" y="4500325"/>
                </a:cubicBezTo>
                <a:cubicBezTo>
                  <a:pt x="1183173" y="4494378"/>
                  <a:pt x="1187962" y="4489588"/>
                  <a:pt x="1193909" y="4489588"/>
                </a:cubicBezTo>
                <a:close/>
                <a:moveTo>
                  <a:pt x="1528401" y="4488761"/>
                </a:moveTo>
                <a:cubicBezTo>
                  <a:pt x="1534347" y="4488761"/>
                  <a:pt x="1539139" y="4493551"/>
                  <a:pt x="1539139" y="4499497"/>
                </a:cubicBezTo>
                <a:cubicBezTo>
                  <a:pt x="1539139" y="4505444"/>
                  <a:pt x="1534347" y="4510235"/>
                  <a:pt x="1528401" y="4510235"/>
                </a:cubicBezTo>
                <a:cubicBezTo>
                  <a:pt x="1522454" y="4510235"/>
                  <a:pt x="1517664" y="4505444"/>
                  <a:pt x="1517664" y="4499497"/>
                </a:cubicBezTo>
                <a:cubicBezTo>
                  <a:pt x="1517664" y="4493551"/>
                  <a:pt x="1522454" y="4488761"/>
                  <a:pt x="1528401" y="4488761"/>
                </a:cubicBezTo>
                <a:close/>
                <a:moveTo>
                  <a:pt x="2180372" y="4488432"/>
                </a:moveTo>
                <a:cubicBezTo>
                  <a:pt x="2186318" y="4488432"/>
                  <a:pt x="2191108" y="4493221"/>
                  <a:pt x="2191108" y="4499168"/>
                </a:cubicBezTo>
                <a:lnTo>
                  <a:pt x="2188713" y="4501565"/>
                </a:lnTo>
                <a:lnTo>
                  <a:pt x="2198708" y="4511557"/>
                </a:lnTo>
                <a:cubicBezTo>
                  <a:pt x="2198708" y="4517503"/>
                  <a:pt x="2193916" y="4522293"/>
                  <a:pt x="2187969" y="4522293"/>
                </a:cubicBezTo>
                <a:cubicBezTo>
                  <a:pt x="2182023" y="4522293"/>
                  <a:pt x="2177233" y="4517503"/>
                  <a:pt x="2177233" y="4511557"/>
                </a:cubicBezTo>
                <a:lnTo>
                  <a:pt x="2179628" y="4509162"/>
                </a:lnTo>
                <a:lnTo>
                  <a:pt x="2169636" y="4499168"/>
                </a:lnTo>
                <a:cubicBezTo>
                  <a:pt x="2169636" y="4493221"/>
                  <a:pt x="2174425" y="4488432"/>
                  <a:pt x="2180372" y="4488432"/>
                </a:cubicBezTo>
                <a:close/>
                <a:moveTo>
                  <a:pt x="2149318" y="4487771"/>
                </a:moveTo>
                <a:cubicBezTo>
                  <a:pt x="2155264" y="4487771"/>
                  <a:pt x="2160056" y="4492561"/>
                  <a:pt x="2160056" y="4498507"/>
                </a:cubicBezTo>
                <a:cubicBezTo>
                  <a:pt x="2160056" y="4504454"/>
                  <a:pt x="2155264" y="4509245"/>
                  <a:pt x="2149318" y="4509245"/>
                </a:cubicBezTo>
                <a:cubicBezTo>
                  <a:pt x="2143371" y="4509245"/>
                  <a:pt x="2138581" y="4504454"/>
                  <a:pt x="2138581" y="4498507"/>
                </a:cubicBezTo>
                <a:cubicBezTo>
                  <a:pt x="2138581" y="4492561"/>
                  <a:pt x="2143371" y="4487771"/>
                  <a:pt x="2149318" y="4487771"/>
                </a:cubicBezTo>
                <a:close/>
                <a:moveTo>
                  <a:pt x="1948622" y="4487440"/>
                </a:moveTo>
                <a:cubicBezTo>
                  <a:pt x="1954568" y="4487440"/>
                  <a:pt x="1959358" y="4492229"/>
                  <a:pt x="1959358" y="4498176"/>
                </a:cubicBezTo>
                <a:cubicBezTo>
                  <a:pt x="1959358" y="4504122"/>
                  <a:pt x="1954568" y="4508912"/>
                  <a:pt x="1948622" y="4508912"/>
                </a:cubicBezTo>
                <a:cubicBezTo>
                  <a:pt x="1942675" y="4508912"/>
                  <a:pt x="1937886" y="4504122"/>
                  <a:pt x="1937886" y="4498176"/>
                </a:cubicBezTo>
                <a:cubicBezTo>
                  <a:pt x="1937886" y="4492229"/>
                  <a:pt x="1942675" y="4487440"/>
                  <a:pt x="1948622" y="4487440"/>
                </a:cubicBezTo>
                <a:close/>
                <a:moveTo>
                  <a:pt x="1215713" y="4486779"/>
                </a:moveTo>
                <a:cubicBezTo>
                  <a:pt x="1221659" y="4486779"/>
                  <a:pt x="1226451" y="4491569"/>
                  <a:pt x="1226451" y="4497515"/>
                </a:cubicBezTo>
                <a:cubicBezTo>
                  <a:pt x="1226451" y="4503462"/>
                  <a:pt x="1221659" y="4508253"/>
                  <a:pt x="1215713" y="4508253"/>
                </a:cubicBezTo>
                <a:cubicBezTo>
                  <a:pt x="1209766" y="4508253"/>
                  <a:pt x="1204977" y="4503462"/>
                  <a:pt x="1204977" y="4497515"/>
                </a:cubicBezTo>
                <a:cubicBezTo>
                  <a:pt x="1204977" y="4491569"/>
                  <a:pt x="1209766" y="4486779"/>
                  <a:pt x="1215713" y="4486779"/>
                </a:cubicBezTo>
                <a:close/>
                <a:moveTo>
                  <a:pt x="2423519" y="4486449"/>
                </a:moveTo>
                <a:cubicBezTo>
                  <a:pt x="2429465" y="4486449"/>
                  <a:pt x="2434255" y="4491239"/>
                  <a:pt x="2434255" y="4497186"/>
                </a:cubicBezTo>
                <a:cubicBezTo>
                  <a:pt x="2434255" y="4503132"/>
                  <a:pt x="2429465" y="4507922"/>
                  <a:pt x="2423519" y="4507922"/>
                </a:cubicBezTo>
                <a:cubicBezTo>
                  <a:pt x="2417572" y="4507922"/>
                  <a:pt x="2412782" y="4503132"/>
                  <a:pt x="2412782" y="4497186"/>
                </a:cubicBezTo>
                <a:cubicBezTo>
                  <a:pt x="2412782" y="4491239"/>
                  <a:pt x="2417572" y="4486449"/>
                  <a:pt x="2423519" y="4486449"/>
                </a:cubicBezTo>
                <a:close/>
                <a:moveTo>
                  <a:pt x="2116282" y="4486449"/>
                </a:moveTo>
                <a:cubicBezTo>
                  <a:pt x="2122228" y="4486449"/>
                  <a:pt x="2127019" y="4491239"/>
                  <a:pt x="2127019" y="4497186"/>
                </a:cubicBezTo>
                <a:cubicBezTo>
                  <a:pt x="2127019" y="4503132"/>
                  <a:pt x="2122228" y="4507922"/>
                  <a:pt x="2116282" y="4507922"/>
                </a:cubicBezTo>
                <a:cubicBezTo>
                  <a:pt x="2110335" y="4507922"/>
                  <a:pt x="2105545" y="4503132"/>
                  <a:pt x="2105545" y="4497186"/>
                </a:cubicBezTo>
                <a:cubicBezTo>
                  <a:pt x="2105545" y="4491239"/>
                  <a:pt x="2110335" y="4486449"/>
                  <a:pt x="2116282" y="4486449"/>
                </a:cubicBezTo>
                <a:close/>
                <a:moveTo>
                  <a:pt x="2525270" y="4486283"/>
                </a:moveTo>
                <a:cubicBezTo>
                  <a:pt x="2530721" y="4486283"/>
                  <a:pt x="2535017" y="4490578"/>
                  <a:pt x="2535017" y="4496029"/>
                </a:cubicBezTo>
                <a:cubicBezTo>
                  <a:pt x="2535017" y="4501480"/>
                  <a:pt x="2530556" y="4505773"/>
                  <a:pt x="2525270" y="4505773"/>
                </a:cubicBezTo>
                <a:cubicBezTo>
                  <a:pt x="2519820" y="4505773"/>
                  <a:pt x="2515524" y="4501480"/>
                  <a:pt x="2515524" y="4496029"/>
                </a:cubicBezTo>
                <a:cubicBezTo>
                  <a:pt x="2515524" y="4490578"/>
                  <a:pt x="2519820" y="4486283"/>
                  <a:pt x="2525270" y="4486283"/>
                </a:cubicBezTo>
                <a:close/>
                <a:moveTo>
                  <a:pt x="1087366" y="4486118"/>
                </a:moveTo>
                <a:cubicBezTo>
                  <a:pt x="1092983" y="4486118"/>
                  <a:pt x="1097608" y="4490743"/>
                  <a:pt x="1097608" y="4496360"/>
                </a:cubicBezTo>
                <a:cubicBezTo>
                  <a:pt x="1097608" y="4501976"/>
                  <a:pt x="1092983" y="4506601"/>
                  <a:pt x="1087366" y="4506601"/>
                </a:cubicBezTo>
                <a:cubicBezTo>
                  <a:pt x="1081750" y="4506601"/>
                  <a:pt x="1077125" y="4501976"/>
                  <a:pt x="1077125" y="4496360"/>
                </a:cubicBezTo>
                <a:cubicBezTo>
                  <a:pt x="1077125" y="4490743"/>
                  <a:pt x="1081750" y="4486118"/>
                  <a:pt x="1087366" y="4486118"/>
                </a:cubicBezTo>
                <a:close/>
                <a:moveTo>
                  <a:pt x="1567879" y="4484797"/>
                </a:moveTo>
                <a:cubicBezTo>
                  <a:pt x="1573826" y="4484797"/>
                  <a:pt x="1578618" y="4489587"/>
                  <a:pt x="1578618" y="4495533"/>
                </a:cubicBezTo>
                <a:cubicBezTo>
                  <a:pt x="1578618" y="4501480"/>
                  <a:pt x="1573826" y="4506269"/>
                  <a:pt x="1567879" y="4506269"/>
                </a:cubicBezTo>
                <a:cubicBezTo>
                  <a:pt x="1561933" y="4506269"/>
                  <a:pt x="1557143" y="4501480"/>
                  <a:pt x="1557143" y="4495533"/>
                </a:cubicBezTo>
                <a:cubicBezTo>
                  <a:pt x="1557143" y="4489587"/>
                  <a:pt x="1561933" y="4484797"/>
                  <a:pt x="1567879" y="4484797"/>
                </a:cubicBezTo>
                <a:close/>
                <a:moveTo>
                  <a:pt x="2080932" y="4484302"/>
                </a:moveTo>
                <a:cubicBezTo>
                  <a:pt x="2086878" y="4484302"/>
                  <a:pt x="2091670" y="4489092"/>
                  <a:pt x="2091670" y="4495039"/>
                </a:cubicBezTo>
                <a:cubicBezTo>
                  <a:pt x="2091670" y="4500985"/>
                  <a:pt x="2086878" y="4505775"/>
                  <a:pt x="2080932" y="4505775"/>
                </a:cubicBezTo>
                <a:cubicBezTo>
                  <a:pt x="2074985" y="4505775"/>
                  <a:pt x="2070195" y="4500985"/>
                  <a:pt x="2070195" y="4495039"/>
                </a:cubicBezTo>
                <a:cubicBezTo>
                  <a:pt x="2070195" y="4489092"/>
                  <a:pt x="2074985" y="4484302"/>
                  <a:pt x="2080932" y="4484302"/>
                </a:cubicBezTo>
                <a:close/>
                <a:moveTo>
                  <a:pt x="1806566" y="4483475"/>
                </a:moveTo>
                <a:cubicBezTo>
                  <a:pt x="1812513" y="4483475"/>
                  <a:pt x="1817304" y="4488265"/>
                  <a:pt x="1817304" y="4494212"/>
                </a:cubicBezTo>
                <a:lnTo>
                  <a:pt x="1808713" y="4502801"/>
                </a:lnTo>
                <a:lnTo>
                  <a:pt x="1815818" y="4509904"/>
                </a:lnTo>
                <a:lnTo>
                  <a:pt x="1809457" y="4516265"/>
                </a:lnTo>
                <a:lnTo>
                  <a:pt x="1814330" y="4521137"/>
                </a:lnTo>
                <a:lnTo>
                  <a:pt x="1809127" y="4526341"/>
                </a:lnTo>
                <a:lnTo>
                  <a:pt x="1813009" y="4530222"/>
                </a:lnTo>
                <a:lnTo>
                  <a:pt x="1808054" y="4535177"/>
                </a:lnTo>
                <a:lnTo>
                  <a:pt x="1811854" y="4538976"/>
                </a:lnTo>
                <a:lnTo>
                  <a:pt x="1806401" y="4544428"/>
                </a:lnTo>
                <a:lnTo>
                  <a:pt x="1810862" y="4548887"/>
                </a:lnTo>
                <a:lnTo>
                  <a:pt x="1804088" y="4555659"/>
                </a:lnTo>
                <a:lnTo>
                  <a:pt x="1810036" y="4561606"/>
                </a:lnTo>
                <a:lnTo>
                  <a:pt x="1801363" y="4570278"/>
                </a:lnTo>
                <a:lnTo>
                  <a:pt x="1809211" y="4578124"/>
                </a:lnTo>
                <a:cubicBezTo>
                  <a:pt x="1809211" y="4584070"/>
                  <a:pt x="1804419" y="4588860"/>
                  <a:pt x="1798473" y="4588860"/>
                </a:cubicBezTo>
                <a:cubicBezTo>
                  <a:pt x="1792526" y="4588860"/>
                  <a:pt x="1787736" y="4584070"/>
                  <a:pt x="1787736" y="4578124"/>
                </a:cubicBezTo>
                <a:lnTo>
                  <a:pt x="1796409" y="4569453"/>
                </a:lnTo>
                <a:lnTo>
                  <a:pt x="1788562" y="4561606"/>
                </a:lnTo>
                <a:lnTo>
                  <a:pt x="1795334" y="4554834"/>
                </a:lnTo>
                <a:lnTo>
                  <a:pt x="1789387" y="4548887"/>
                </a:lnTo>
                <a:lnTo>
                  <a:pt x="1794839" y="4543436"/>
                </a:lnTo>
                <a:lnTo>
                  <a:pt x="1790379" y="4538976"/>
                </a:lnTo>
                <a:lnTo>
                  <a:pt x="1795335" y="4534022"/>
                </a:lnTo>
                <a:lnTo>
                  <a:pt x="1791536" y="4530222"/>
                </a:lnTo>
                <a:lnTo>
                  <a:pt x="1796738" y="4525019"/>
                </a:lnTo>
                <a:lnTo>
                  <a:pt x="1792856" y="4521137"/>
                </a:lnTo>
                <a:lnTo>
                  <a:pt x="1799215" y="4514777"/>
                </a:lnTo>
                <a:lnTo>
                  <a:pt x="1794344" y="4509904"/>
                </a:lnTo>
                <a:lnTo>
                  <a:pt x="1802933" y="4501315"/>
                </a:lnTo>
                <a:lnTo>
                  <a:pt x="1795830" y="4494212"/>
                </a:lnTo>
                <a:cubicBezTo>
                  <a:pt x="1795830" y="4488265"/>
                  <a:pt x="1800619" y="4483475"/>
                  <a:pt x="1806566" y="4483475"/>
                </a:cubicBezTo>
                <a:close/>
                <a:moveTo>
                  <a:pt x="1708118" y="4482815"/>
                </a:moveTo>
                <a:cubicBezTo>
                  <a:pt x="1714064" y="4482815"/>
                  <a:pt x="1718856" y="4487604"/>
                  <a:pt x="1718856" y="4493551"/>
                </a:cubicBezTo>
                <a:lnTo>
                  <a:pt x="1713239" y="4499168"/>
                </a:lnTo>
                <a:lnTo>
                  <a:pt x="1723316" y="4509244"/>
                </a:lnTo>
                <a:lnTo>
                  <a:pt x="1719598" y="4512962"/>
                </a:lnTo>
                <a:lnTo>
                  <a:pt x="1727114" y="4520476"/>
                </a:lnTo>
                <a:lnTo>
                  <a:pt x="1724223" y="4523367"/>
                </a:lnTo>
                <a:lnTo>
                  <a:pt x="1730584" y="4529726"/>
                </a:lnTo>
                <a:lnTo>
                  <a:pt x="1727858" y="4532452"/>
                </a:lnTo>
                <a:lnTo>
                  <a:pt x="1733723" y="4538315"/>
                </a:lnTo>
                <a:lnTo>
                  <a:pt x="1730007" y="4542032"/>
                </a:lnTo>
                <a:lnTo>
                  <a:pt x="1736531" y="4548556"/>
                </a:lnTo>
                <a:lnTo>
                  <a:pt x="1731408" y="4553679"/>
                </a:lnTo>
                <a:lnTo>
                  <a:pt x="1739007" y="4561276"/>
                </a:lnTo>
                <a:lnTo>
                  <a:pt x="1731821" y="4568461"/>
                </a:lnTo>
                <a:lnTo>
                  <a:pt x="1741156" y="4577794"/>
                </a:lnTo>
                <a:cubicBezTo>
                  <a:pt x="1741156" y="4583741"/>
                  <a:pt x="1736364" y="4588531"/>
                  <a:pt x="1730418" y="4588531"/>
                </a:cubicBezTo>
                <a:cubicBezTo>
                  <a:pt x="1724471" y="4588531"/>
                  <a:pt x="1719682" y="4583741"/>
                  <a:pt x="1719682" y="4577794"/>
                </a:cubicBezTo>
                <a:lnTo>
                  <a:pt x="1726866" y="4570609"/>
                </a:lnTo>
                <a:lnTo>
                  <a:pt x="1717533" y="4561276"/>
                </a:lnTo>
                <a:lnTo>
                  <a:pt x="1722654" y="4556155"/>
                </a:lnTo>
                <a:lnTo>
                  <a:pt x="1715056" y="4548556"/>
                </a:lnTo>
                <a:lnTo>
                  <a:pt x="1718773" y="4544839"/>
                </a:lnTo>
                <a:lnTo>
                  <a:pt x="1712249" y="4538315"/>
                </a:lnTo>
                <a:lnTo>
                  <a:pt x="1714975" y="4535591"/>
                </a:lnTo>
                <a:lnTo>
                  <a:pt x="1709110" y="4529726"/>
                </a:lnTo>
                <a:lnTo>
                  <a:pt x="1712001" y="4526837"/>
                </a:lnTo>
                <a:lnTo>
                  <a:pt x="1705640" y="4520476"/>
                </a:lnTo>
                <a:lnTo>
                  <a:pt x="1709356" y="4516759"/>
                </a:lnTo>
                <a:lnTo>
                  <a:pt x="1701842" y="4509244"/>
                </a:lnTo>
                <a:lnTo>
                  <a:pt x="1707459" y="4503628"/>
                </a:lnTo>
                <a:lnTo>
                  <a:pt x="1697382" y="4493551"/>
                </a:lnTo>
                <a:cubicBezTo>
                  <a:pt x="1697382" y="4487604"/>
                  <a:pt x="1702171" y="4482815"/>
                  <a:pt x="1708118" y="4482815"/>
                </a:cubicBezTo>
                <a:close/>
                <a:moveTo>
                  <a:pt x="1371644" y="4482650"/>
                </a:moveTo>
                <a:cubicBezTo>
                  <a:pt x="1377591" y="4482650"/>
                  <a:pt x="1382382" y="4487440"/>
                  <a:pt x="1382382" y="4493386"/>
                </a:cubicBezTo>
                <a:lnTo>
                  <a:pt x="1372801" y="4502968"/>
                </a:lnTo>
                <a:lnTo>
                  <a:pt x="1375608" y="4505775"/>
                </a:lnTo>
                <a:lnTo>
                  <a:pt x="1365120" y="4516264"/>
                </a:lnTo>
                <a:lnTo>
                  <a:pt x="1369168" y="4520311"/>
                </a:lnTo>
                <a:cubicBezTo>
                  <a:pt x="1369168" y="4526258"/>
                  <a:pt x="1364376" y="4531047"/>
                  <a:pt x="1358430" y="4531047"/>
                </a:cubicBezTo>
                <a:cubicBezTo>
                  <a:pt x="1352483" y="4531047"/>
                  <a:pt x="1347693" y="4526258"/>
                  <a:pt x="1347693" y="4520311"/>
                </a:cubicBezTo>
                <a:lnTo>
                  <a:pt x="1358182" y="4509823"/>
                </a:lnTo>
                <a:lnTo>
                  <a:pt x="1354134" y="4505775"/>
                </a:lnTo>
                <a:lnTo>
                  <a:pt x="1363715" y="4496194"/>
                </a:lnTo>
                <a:lnTo>
                  <a:pt x="1360908" y="4493386"/>
                </a:lnTo>
                <a:cubicBezTo>
                  <a:pt x="1360908" y="4487440"/>
                  <a:pt x="1365698" y="4482650"/>
                  <a:pt x="1371644" y="4482650"/>
                </a:cubicBezTo>
                <a:close/>
                <a:moveTo>
                  <a:pt x="2403201" y="4482485"/>
                </a:moveTo>
                <a:cubicBezTo>
                  <a:pt x="2409148" y="4482485"/>
                  <a:pt x="2413939" y="4487275"/>
                  <a:pt x="2413939" y="4493221"/>
                </a:cubicBezTo>
                <a:cubicBezTo>
                  <a:pt x="2413939" y="4499168"/>
                  <a:pt x="2409148" y="4503959"/>
                  <a:pt x="2403201" y="4503959"/>
                </a:cubicBezTo>
                <a:cubicBezTo>
                  <a:pt x="2397254" y="4503959"/>
                  <a:pt x="2392465" y="4499168"/>
                  <a:pt x="2392465" y="4493221"/>
                </a:cubicBezTo>
                <a:cubicBezTo>
                  <a:pt x="2392465" y="4487275"/>
                  <a:pt x="2397254" y="4482485"/>
                  <a:pt x="2403201" y="4482485"/>
                </a:cubicBezTo>
                <a:close/>
                <a:moveTo>
                  <a:pt x="1403359" y="4481658"/>
                </a:moveTo>
                <a:cubicBezTo>
                  <a:pt x="1409305" y="4481658"/>
                  <a:pt x="1414097" y="4486448"/>
                  <a:pt x="1414097" y="4492394"/>
                </a:cubicBezTo>
                <a:cubicBezTo>
                  <a:pt x="1414097" y="4498341"/>
                  <a:pt x="1409305" y="4503131"/>
                  <a:pt x="1403359" y="4503131"/>
                </a:cubicBezTo>
                <a:cubicBezTo>
                  <a:pt x="1397412" y="4503131"/>
                  <a:pt x="1392623" y="4498341"/>
                  <a:pt x="1392623" y="4492394"/>
                </a:cubicBezTo>
                <a:cubicBezTo>
                  <a:pt x="1392623" y="4486448"/>
                  <a:pt x="1397412" y="4481658"/>
                  <a:pt x="1403359" y="4481658"/>
                </a:cubicBezTo>
                <a:close/>
                <a:moveTo>
                  <a:pt x="1905014" y="4481164"/>
                </a:moveTo>
                <a:cubicBezTo>
                  <a:pt x="1910961" y="4481164"/>
                  <a:pt x="1915750" y="4485953"/>
                  <a:pt x="1915750" y="4491900"/>
                </a:cubicBezTo>
                <a:cubicBezTo>
                  <a:pt x="1915750" y="4497846"/>
                  <a:pt x="1910961" y="4502636"/>
                  <a:pt x="1905014" y="4502636"/>
                </a:cubicBezTo>
                <a:cubicBezTo>
                  <a:pt x="1899068" y="4502636"/>
                  <a:pt x="1894278" y="4497846"/>
                  <a:pt x="1894278" y="4491900"/>
                </a:cubicBezTo>
                <a:cubicBezTo>
                  <a:pt x="1894278" y="4485953"/>
                  <a:pt x="1899068" y="4481164"/>
                  <a:pt x="1905014" y="4481164"/>
                </a:cubicBezTo>
                <a:close/>
                <a:moveTo>
                  <a:pt x="2043270" y="4480832"/>
                </a:moveTo>
                <a:cubicBezTo>
                  <a:pt x="2049217" y="4480832"/>
                  <a:pt x="2054008" y="4485622"/>
                  <a:pt x="2054008" y="4491569"/>
                </a:cubicBezTo>
                <a:cubicBezTo>
                  <a:pt x="2054008" y="4497515"/>
                  <a:pt x="2049217" y="4502305"/>
                  <a:pt x="2043270" y="4502305"/>
                </a:cubicBezTo>
                <a:cubicBezTo>
                  <a:pt x="2037324" y="4502305"/>
                  <a:pt x="2032534" y="4497515"/>
                  <a:pt x="2032534" y="4491569"/>
                </a:cubicBezTo>
                <a:cubicBezTo>
                  <a:pt x="2032534" y="4485622"/>
                  <a:pt x="2037324" y="4480832"/>
                  <a:pt x="2043270" y="4480832"/>
                </a:cubicBezTo>
                <a:close/>
                <a:moveTo>
                  <a:pt x="1106362" y="4480172"/>
                </a:moveTo>
                <a:cubicBezTo>
                  <a:pt x="1112309" y="4480172"/>
                  <a:pt x="1117100" y="4484961"/>
                  <a:pt x="1117100" y="4490908"/>
                </a:cubicBezTo>
                <a:cubicBezTo>
                  <a:pt x="1117100" y="4496854"/>
                  <a:pt x="1112309" y="4501644"/>
                  <a:pt x="1106362" y="4501644"/>
                </a:cubicBezTo>
                <a:cubicBezTo>
                  <a:pt x="1100416" y="4501644"/>
                  <a:pt x="1095626" y="4496854"/>
                  <a:pt x="1095626" y="4490908"/>
                </a:cubicBezTo>
                <a:cubicBezTo>
                  <a:pt x="1095626" y="4484961"/>
                  <a:pt x="1100416" y="4480172"/>
                  <a:pt x="1106362" y="4480172"/>
                </a:cubicBezTo>
                <a:close/>
                <a:moveTo>
                  <a:pt x="1437221" y="4479842"/>
                </a:moveTo>
                <a:cubicBezTo>
                  <a:pt x="1443167" y="4479842"/>
                  <a:pt x="1447959" y="4484632"/>
                  <a:pt x="1447959" y="4490578"/>
                </a:cubicBezTo>
                <a:cubicBezTo>
                  <a:pt x="1447959" y="4496525"/>
                  <a:pt x="1443167" y="4501315"/>
                  <a:pt x="1437221" y="4501315"/>
                </a:cubicBezTo>
                <a:cubicBezTo>
                  <a:pt x="1431274" y="4501315"/>
                  <a:pt x="1426484" y="4496525"/>
                  <a:pt x="1426484" y="4490578"/>
                </a:cubicBezTo>
                <a:cubicBezTo>
                  <a:pt x="1426484" y="4484632"/>
                  <a:pt x="1431274" y="4479842"/>
                  <a:pt x="1437221" y="4479842"/>
                </a:cubicBezTo>
                <a:close/>
                <a:moveTo>
                  <a:pt x="2382389" y="4479677"/>
                </a:moveTo>
                <a:cubicBezTo>
                  <a:pt x="2388336" y="4479677"/>
                  <a:pt x="2393127" y="4484467"/>
                  <a:pt x="2393127" y="4490414"/>
                </a:cubicBezTo>
                <a:cubicBezTo>
                  <a:pt x="2393127" y="4496360"/>
                  <a:pt x="2388336" y="4501150"/>
                  <a:pt x="2382389" y="4501150"/>
                </a:cubicBezTo>
                <a:cubicBezTo>
                  <a:pt x="2376442" y="4501150"/>
                  <a:pt x="2371653" y="4496360"/>
                  <a:pt x="2371653" y="4490414"/>
                </a:cubicBezTo>
                <a:cubicBezTo>
                  <a:pt x="2371653" y="4484467"/>
                  <a:pt x="2376442" y="4479677"/>
                  <a:pt x="2382389" y="4479677"/>
                </a:cubicBezTo>
                <a:close/>
                <a:moveTo>
                  <a:pt x="1610001" y="4478850"/>
                </a:moveTo>
                <a:cubicBezTo>
                  <a:pt x="1615948" y="4478850"/>
                  <a:pt x="1620737" y="4483640"/>
                  <a:pt x="1620737" y="4489587"/>
                </a:cubicBezTo>
                <a:cubicBezTo>
                  <a:pt x="1620737" y="4495533"/>
                  <a:pt x="1615948" y="4500325"/>
                  <a:pt x="1610001" y="4500325"/>
                </a:cubicBezTo>
                <a:cubicBezTo>
                  <a:pt x="1604055" y="4500325"/>
                  <a:pt x="1599265" y="4495533"/>
                  <a:pt x="1599265" y="4489587"/>
                </a:cubicBezTo>
                <a:cubicBezTo>
                  <a:pt x="1599265" y="4483640"/>
                  <a:pt x="1604055" y="4478850"/>
                  <a:pt x="1610001" y="4478850"/>
                </a:cubicBezTo>
                <a:close/>
                <a:moveTo>
                  <a:pt x="2507431" y="4478354"/>
                </a:moveTo>
                <a:cubicBezTo>
                  <a:pt x="2513377" y="4478354"/>
                  <a:pt x="2518169" y="4483144"/>
                  <a:pt x="2518169" y="4489091"/>
                </a:cubicBezTo>
                <a:cubicBezTo>
                  <a:pt x="2518169" y="4495037"/>
                  <a:pt x="2513377" y="4499829"/>
                  <a:pt x="2507431" y="4499829"/>
                </a:cubicBezTo>
                <a:cubicBezTo>
                  <a:pt x="2501484" y="4499829"/>
                  <a:pt x="2496694" y="4495037"/>
                  <a:pt x="2496694" y="4489091"/>
                </a:cubicBezTo>
                <a:cubicBezTo>
                  <a:pt x="2496694" y="4483144"/>
                  <a:pt x="2501484" y="4478354"/>
                  <a:pt x="2507431" y="4478354"/>
                </a:cubicBezTo>
                <a:close/>
                <a:moveTo>
                  <a:pt x="2360583" y="4477860"/>
                </a:moveTo>
                <a:cubicBezTo>
                  <a:pt x="2366530" y="4477860"/>
                  <a:pt x="2371322" y="4482650"/>
                  <a:pt x="2371322" y="4488596"/>
                </a:cubicBezTo>
                <a:cubicBezTo>
                  <a:pt x="2371322" y="4494543"/>
                  <a:pt x="2366530" y="4499334"/>
                  <a:pt x="2360583" y="4499334"/>
                </a:cubicBezTo>
                <a:cubicBezTo>
                  <a:pt x="2354637" y="4499334"/>
                  <a:pt x="2349847" y="4494543"/>
                  <a:pt x="2349847" y="4488596"/>
                </a:cubicBezTo>
                <a:cubicBezTo>
                  <a:pt x="2349847" y="4482650"/>
                  <a:pt x="2354637" y="4477860"/>
                  <a:pt x="2360583" y="4477860"/>
                </a:cubicBezTo>
                <a:close/>
                <a:moveTo>
                  <a:pt x="1473561" y="4476703"/>
                </a:moveTo>
                <a:cubicBezTo>
                  <a:pt x="1479507" y="4476703"/>
                  <a:pt x="1484299" y="4481493"/>
                  <a:pt x="1484299" y="4487440"/>
                </a:cubicBezTo>
                <a:cubicBezTo>
                  <a:pt x="1484299" y="4493386"/>
                  <a:pt x="1479507" y="4498176"/>
                  <a:pt x="1473561" y="4498176"/>
                </a:cubicBezTo>
                <a:cubicBezTo>
                  <a:pt x="1467614" y="4498176"/>
                  <a:pt x="1462824" y="4493386"/>
                  <a:pt x="1462824" y="4487440"/>
                </a:cubicBezTo>
                <a:cubicBezTo>
                  <a:pt x="1462824" y="4481493"/>
                  <a:pt x="1467614" y="4476703"/>
                  <a:pt x="1473561" y="4476703"/>
                </a:cubicBezTo>
                <a:close/>
                <a:moveTo>
                  <a:pt x="1125688" y="4476043"/>
                </a:moveTo>
                <a:cubicBezTo>
                  <a:pt x="1131634" y="4476043"/>
                  <a:pt x="1136426" y="4480832"/>
                  <a:pt x="1136426" y="4486779"/>
                </a:cubicBezTo>
                <a:cubicBezTo>
                  <a:pt x="1136426" y="4492725"/>
                  <a:pt x="1131634" y="4497515"/>
                  <a:pt x="1125688" y="4497515"/>
                </a:cubicBezTo>
                <a:cubicBezTo>
                  <a:pt x="1119741" y="4497515"/>
                  <a:pt x="1114951" y="4492725"/>
                  <a:pt x="1114951" y="4486779"/>
                </a:cubicBezTo>
                <a:cubicBezTo>
                  <a:pt x="1114951" y="4480832"/>
                  <a:pt x="1119741" y="4476043"/>
                  <a:pt x="1125688" y="4476043"/>
                </a:cubicBezTo>
                <a:close/>
                <a:moveTo>
                  <a:pt x="2002966" y="4475547"/>
                </a:moveTo>
                <a:cubicBezTo>
                  <a:pt x="2008913" y="4475547"/>
                  <a:pt x="2013704" y="4480336"/>
                  <a:pt x="2013704" y="4486283"/>
                </a:cubicBezTo>
                <a:cubicBezTo>
                  <a:pt x="2013704" y="4492229"/>
                  <a:pt x="2008913" y="4497019"/>
                  <a:pt x="2002966" y="4497019"/>
                </a:cubicBezTo>
                <a:cubicBezTo>
                  <a:pt x="1997020" y="4497019"/>
                  <a:pt x="1992230" y="4492229"/>
                  <a:pt x="1992230" y="4486283"/>
                </a:cubicBezTo>
                <a:cubicBezTo>
                  <a:pt x="1992230" y="4480336"/>
                  <a:pt x="1997020" y="4475547"/>
                  <a:pt x="2002966" y="4475547"/>
                </a:cubicBezTo>
                <a:close/>
                <a:moveTo>
                  <a:pt x="2203827" y="4475382"/>
                </a:moveTo>
                <a:cubicBezTo>
                  <a:pt x="2209773" y="4475382"/>
                  <a:pt x="2214565" y="4480172"/>
                  <a:pt x="2214565" y="4486118"/>
                </a:cubicBezTo>
                <a:lnTo>
                  <a:pt x="2210765" y="4489918"/>
                </a:lnTo>
                <a:lnTo>
                  <a:pt x="2220346" y="4499497"/>
                </a:lnTo>
                <a:lnTo>
                  <a:pt x="2216299" y="4503545"/>
                </a:lnTo>
                <a:lnTo>
                  <a:pt x="2225633" y="4512877"/>
                </a:lnTo>
                <a:cubicBezTo>
                  <a:pt x="2225633" y="4518823"/>
                  <a:pt x="2220841" y="4523615"/>
                  <a:pt x="2214894" y="4523615"/>
                </a:cubicBezTo>
                <a:cubicBezTo>
                  <a:pt x="2208948" y="4523615"/>
                  <a:pt x="2204158" y="4518823"/>
                  <a:pt x="2204158" y="4512877"/>
                </a:cubicBezTo>
                <a:lnTo>
                  <a:pt x="2208204" y="4508831"/>
                </a:lnTo>
                <a:lnTo>
                  <a:pt x="2198872" y="4499497"/>
                </a:lnTo>
                <a:lnTo>
                  <a:pt x="2202670" y="4495700"/>
                </a:lnTo>
                <a:lnTo>
                  <a:pt x="2193090" y="4486118"/>
                </a:lnTo>
                <a:cubicBezTo>
                  <a:pt x="2193090" y="4480172"/>
                  <a:pt x="2197880" y="4475382"/>
                  <a:pt x="2203827" y="4475382"/>
                </a:cubicBezTo>
                <a:close/>
                <a:moveTo>
                  <a:pt x="2587378" y="4475052"/>
                </a:moveTo>
                <a:cubicBezTo>
                  <a:pt x="2591301" y="4475052"/>
                  <a:pt x="2594482" y="4478233"/>
                  <a:pt x="2594482" y="4482156"/>
                </a:cubicBezTo>
                <a:cubicBezTo>
                  <a:pt x="2594482" y="4486078"/>
                  <a:pt x="2591301" y="4489257"/>
                  <a:pt x="2587378" y="4489257"/>
                </a:cubicBezTo>
                <a:cubicBezTo>
                  <a:pt x="2583456" y="4489257"/>
                  <a:pt x="2580275" y="4486078"/>
                  <a:pt x="2580275" y="4482156"/>
                </a:cubicBezTo>
                <a:cubicBezTo>
                  <a:pt x="2580275" y="4478233"/>
                  <a:pt x="2583456" y="4475052"/>
                  <a:pt x="2587378" y="4475052"/>
                </a:cubicBezTo>
                <a:close/>
                <a:moveTo>
                  <a:pt x="1023442" y="4474886"/>
                </a:moveTo>
                <a:cubicBezTo>
                  <a:pt x="1027573" y="4474886"/>
                  <a:pt x="1030876" y="4478189"/>
                  <a:pt x="1030876" y="4482319"/>
                </a:cubicBezTo>
                <a:cubicBezTo>
                  <a:pt x="1030876" y="4486449"/>
                  <a:pt x="1027573" y="4489751"/>
                  <a:pt x="1023442" y="4489751"/>
                </a:cubicBezTo>
                <a:cubicBezTo>
                  <a:pt x="1019313" y="4489751"/>
                  <a:pt x="1016009" y="4486449"/>
                  <a:pt x="1016009" y="4482319"/>
                </a:cubicBezTo>
                <a:cubicBezTo>
                  <a:pt x="1016009" y="4478189"/>
                  <a:pt x="1019313" y="4474886"/>
                  <a:pt x="1023442" y="4474886"/>
                </a:cubicBezTo>
                <a:close/>
                <a:moveTo>
                  <a:pt x="2171618" y="4473896"/>
                </a:moveTo>
                <a:cubicBezTo>
                  <a:pt x="2177564" y="4473896"/>
                  <a:pt x="2182354" y="4478685"/>
                  <a:pt x="2182354" y="4484632"/>
                </a:cubicBezTo>
                <a:cubicBezTo>
                  <a:pt x="2182354" y="4490578"/>
                  <a:pt x="2177564" y="4495368"/>
                  <a:pt x="2171618" y="4495368"/>
                </a:cubicBezTo>
                <a:cubicBezTo>
                  <a:pt x="2165671" y="4495368"/>
                  <a:pt x="2160881" y="4490578"/>
                  <a:pt x="2160881" y="4484632"/>
                </a:cubicBezTo>
                <a:cubicBezTo>
                  <a:pt x="2160881" y="4478685"/>
                  <a:pt x="2165671" y="4473896"/>
                  <a:pt x="2171618" y="4473896"/>
                </a:cubicBezTo>
                <a:close/>
                <a:moveTo>
                  <a:pt x="1756680" y="4473400"/>
                </a:moveTo>
                <a:cubicBezTo>
                  <a:pt x="1762627" y="4473400"/>
                  <a:pt x="1767418" y="4478189"/>
                  <a:pt x="1767418" y="4484136"/>
                </a:cubicBezTo>
                <a:lnTo>
                  <a:pt x="1758829" y="4492725"/>
                </a:lnTo>
                <a:lnTo>
                  <a:pt x="1768906" y="4502801"/>
                </a:lnTo>
                <a:lnTo>
                  <a:pt x="1762958" y="4508748"/>
                </a:lnTo>
                <a:lnTo>
                  <a:pt x="1770063" y="4515851"/>
                </a:lnTo>
                <a:lnTo>
                  <a:pt x="1765768" y="4520146"/>
                </a:lnTo>
                <a:lnTo>
                  <a:pt x="1771385" y="4525762"/>
                </a:lnTo>
                <a:lnTo>
                  <a:pt x="1767502" y="4529644"/>
                </a:lnTo>
                <a:lnTo>
                  <a:pt x="1772375" y="4534516"/>
                </a:lnTo>
                <a:lnTo>
                  <a:pt x="1768244" y="4538647"/>
                </a:lnTo>
                <a:lnTo>
                  <a:pt x="1773365" y="4543766"/>
                </a:lnTo>
                <a:lnTo>
                  <a:pt x="1768244" y="4548887"/>
                </a:lnTo>
                <a:lnTo>
                  <a:pt x="1774192" y="4554834"/>
                </a:lnTo>
                <a:lnTo>
                  <a:pt x="1767335" y="4561689"/>
                </a:lnTo>
                <a:lnTo>
                  <a:pt x="1774851" y="4569205"/>
                </a:lnTo>
                <a:cubicBezTo>
                  <a:pt x="1774851" y="4575134"/>
                  <a:pt x="1770046" y="4579941"/>
                  <a:pt x="1764115" y="4579941"/>
                </a:cubicBezTo>
                <a:cubicBezTo>
                  <a:pt x="1758186" y="4579941"/>
                  <a:pt x="1753379" y="4575134"/>
                  <a:pt x="1753379" y="4569205"/>
                </a:cubicBezTo>
                <a:lnTo>
                  <a:pt x="1760234" y="4562350"/>
                </a:lnTo>
                <a:lnTo>
                  <a:pt x="1752718" y="4554834"/>
                </a:lnTo>
                <a:lnTo>
                  <a:pt x="1757839" y="4549714"/>
                </a:lnTo>
                <a:lnTo>
                  <a:pt x="1751891" y="4543766"/>
                </a:lnTo>
                <a:lnTo>
                  <a:pt x="1756020" y="4539637"/>
                </a:lnTo>
                <a:lnTo>
                  <a:pt x="1750900" y="4534516"/>
                </a:lnTo>
                <a:lnTo>
                  <a:pt x="1754781" y="4530635"/>
                </a:lnTo>
                <a:lnTo>
                  <a:pt x="1749910" y="4525762"/>
                </a:lnTo>
                <a:lnTo>
                  <a:pt x="1754206" y="4521468"/>
                </a:lnTo>
                <a:lnTo>
                  <a:pt x="1748589" y="4515851"/>
                </a:lnTo>
                <a:lnTo>
                  <a:pt x="1754535" y="4509904"/>
                </a:lnTo>
                <a:lnTo>
                  <a:pt x="1747432" y="4502801"/>
                </a:lnTo>
                <a:lnTo>
                  <a:pt x="1756021" y="4494213"/>
                </a:lnTo>
                <a:lnTo>
                  <a:pt x="1745944" y="4484136"/>
                </a:lnTo>
                <a:cubicBezTo>
                  <a:pt x="1745944" y="4478189"/>
                  <a:pt x="1750734" y="4473400"/>
                  <a:pt x="1756680" y="4473400"/>
                </a:cubicBezTo>
                <a:close/>
                <a:moveTo>
                  <a:pt x="1145841" y="4473070"/>
                </a:moveTo>
                <a:cubicBezTo>
                  <a:pt x="1151787" y="4473070"/>
                  <a:pt x="1156579" y="4477860"/>
                  <a:pt x="1156579" y="4483806"/>
                </a:cubicBezTo>
                <a:cubicBezTo>
                  <a:pt x="1156579" y="4489753"/>
                  <a:pt x="1151787" y="4494543"/>
                  <a:pt x="1145841" y="4494543"/>
                </a:cubicBezTo>
                <a:cubicBezTo>
                  <a:pt x="1139894" y="4494543"/>
                  <a:pt x="1135104" y="4489753"/>
                  <a:pt x="1135104" y="4483806"/>
                </a:cubicBezTo>
                <a:cubicBezTo>
                  <a:pt x="1135104" y="4477860"/>
                  <a:pt x="1139894" y="4473070"/>
                  <a:pt x="1145841" y="4473070"/>
                </a:cubicBezTo>
                <a:close/>
                <a:moveTo>
                  <a:pt x="2489425" y="4472574"/>
                </a:moveTo>
                <a:cubicBezTo>
                  <a:pt x="2495371" y="4472574"/>
                  <a:pt x="2500163" y="4477364"/>
                  <a:pt x="2500163" y="4483310"/>
                </a:cubicBezTo>
                <a:cubicBezTo>
                  <a:pt x="2500163" y="4489257"/>
                  <a:pt x="2495371" y="4494047"/>
                  <a:pt x="2489425" y="4494047"/>
                </a:cubicBezTo>
                <a:cubicBezTo>
                  <a:pt x="2483478" y="4494047"/>
                  <a:pt x="2478688" y="4489257"/>
                  <a:pt x="2478688" y="4483310"/>
                </a:cubicBezTo>
                <a:cubicBezTo>
                  <a:pt x="2478688" y="4477364"/>
                  <a:pt x="2483478" y="4472574"/>
                  <a:pt x="2489425" y="4472574"/>
                </a:cubicBezTo>
                <a:close/>
                <a:moveTo>
                  <a:pt x="1858267" y="4472409"/>
                </a:moveTo>
                <a:cubicBezTo>
                  <a:pt x="1864214" y="4472409"/>
                  <a:pt x="1869004" y="4477199"/>
                  <a:pt x="1869004" y="4483146"/>
                </a:cubicBezTo>
                <a:cubicBezTo>
                  <a:pt x="1869004" y="4489092"/>
                  <a:pt x="1864214" y="4493882"/>
                  <a:pt x="1858267" y="4493882"/>
                </a:cubicBezTo>
                <a:cubicBezTo>
                  <a:pt x="1852321" y="4493882"/>
                  <a:pt x="1847531" y="4489092"/>
                  <a:pt x="1847531" y="4483146"/>
                </a:cubicBezTo>
                <a:cubicBezTo>
                  <a:pt x="1847531" y="4477199"/>
                  <a:pt x="1852321" y="4472409"/>
                  <a:pt x="1858267" y="4472409"/>
                </a:cubicBezTo>
                <a:close/>
                <a:moveTo>
                  <a:pt x="1512379" y="4472078"/>
                </a:moveTo>
                <a:cubicBezTo>
                  <a:pt x="1518325" y="4472078"/>
                  <a:pt x="1523117" y="4476868"/>
                  <a:pt x="1523117" y="4482815"/>
                </a:cubicBezTo>
                <a:cubicBezTo>
                  <a:pt x="1523117" y="4488761"/>
                  <a:pt x="1518325" y="4493551"/>
                  <a:pt x="1512379" y="4493551"/>
                </a:cubicBezTo>
                <a:cubicBezTo>
                  <a:pt x="1506432" y="4493551"/>
                  <a:pt x="1501642" y="4488761"/>
                  <a:pt x="1501642" y="4482815"/>
                </a:cubicBezTo>
                <a:cubicBezTo>
                  <a:pt x="1501642" y="4476868"/>
                  <a:pt x="1506432" y="4472078"/>
                  <a:pt x="1512379" y="4472078"/>
                </a:cubicBezTo>
                <a:close/>
                <a:moveTo>
                  <a:pt x="2137094" y="4471253"/>
                </a:moveTo>
                <a:cubicBezTo>
                  <a:pt x="2143040" y="4471253"/>
                  <a:pt x="2147831" y="4476043"/>
                  <a:pt x="2147831" y="4481989"/>
                </a:cubicBezTo>
                <a:cubicBezTo>
                  <a:pt x="2147831" y="4487936"/>
                  <a:pt x="2143040" y="4492727"/>
                  <a:pt x="2137094" y="4492727"/>
                </a:cubicBezTo>
                <a:cubicBezTo>
                  <a:pt x="2131147" y="4492727"/>
                  <a:pt x="2126357" y="4487936"/>
                  <a:pt x="2126357" y="4481989"/>
                </a:cubicBezTo>
                <a:cubicBezTo>
                  <a:pt x="2126357" y="4476043"/>
                  <a:pt x="2131147" y="4471253"/>
                  <a:pt x="2137094" y="4471253"/>
                </a:cubicBezTo>
                <a:close/>
                <a:moveTo>
                  <a:pt x="1166653" y="4471253"/>
                </a:moveTo>
                <a:cubicBezTo>
                  <a:pt x="1172599" y="4471253"/>
                  <a:pt x="1177391" y="4476043"/>
                  <a:pt x="1177391" y="4481989"/>
                </a:cubicBezTo>
                <a:cubicBezTo>
                  <a:pt x="1177391" y="4487936"/>
                  <a:pt x="1172599" y="4492727"/>
                  <a:pt x="1166653" y="4492727"/>
                </a:cubicBezTo>
                <a:cubicBezTo>
                  <a:pt x="1160706" y="4492727"/>
                  <a:pt x="1155916" y="4487936"/>
                  <a:pt x="1155916" y="4481989"/>
                </a:cubicBezTo>
                <a:cubicBezTo>
                  <a:pt x="1155916" y="4476043"/>
                  <a:pt x="1160706" y="4471253"/>
                  <a:pt x="1166653" y="4471253"/>
                </a:cubicBezTo>
                <a:close/>
                <a:moveTo>
                  <a:pt x="1655095" y="4470921"/>
                </a:moveTo>
                <a:cubicBezTo>
                  <a:pt x="1661042" y="4470921"/>
                  <a:pt x="1665833" y="4475711"/>
                  <a:pt x="1665833" y="4481658"/>
                </a:cubicBezTo>
                <a:cubicBezTo>
                  <a:pt x="1665833" y="4487604"/>
                  <a:pt x="1661042" y="4492394"/>
                  <a:pt x="1655095" y="4492394"/>
                </a:cubicBezTo>
                <a:cubicBezTo>
                  <a:pt x="1649149" y="4492394"/>
                  <a:pt x="1644359" y="4487604"/>
                  <a:pt x="1644359" y="4481658"/>
                </a:cubicBezTo>
                <a:cubicBezTo>
                  <a:pt x="1644359" y="4475711"/>
                  <a:pt x="1649149" y="4470921"/>
                  <a:pt x="1655095" y="4470921"/>
                </a:cubicBezTo>
                <a:close/>
                <a:moveTo>
                  <a:pt x="1188292" y="4470261"/>
                </a:moveTo>
                <a:cubicBezTo>
                  <a:pt x="1194238" y="4470261"/>
                  <a:pt x="1199030" y="4475051"/>
                  <a:pt x="1199030" y="4480997"/>
                </a:cubicBezTo>
                <a:cubicBezTo>
                  <a:pt x="1199030" y="4486944"/>
                  <a:pt x="1194238" y="4491735"/>
                  <a:pt x="1188292" y="4491735"/>
                </a:cubicBezTo>
                <a:cubicBezTo>
                  <a:pt x="1182345" y="4491735"/>
                  <a:pt x="1177556" y="4486944"/>
                  <a:pt x="1177556" y="4480997"/>
                </a:cubicBezTo>
                <a:cubicBezTo>
                  <a:pt x="1177556" y="4475051"/>
                  <a:pt x="1182345" y="4470261"/>
                  <a:pt x="1188292" y="4470261"/>
                </a:cubicBezTo>
                <a:close/>
                <a:moveTo>
                  <a:pt x="1316473" y="4469435"/>
                </a:moveTo>
                <a:cubicBezTo>
                  <a:pt x="1322419" y="4469435"/>
                  <a:pt x="1327211" y="4474225"/>
                  <a:pt x="1327211" y="4480172"/>
                </a:cubicBezTo>
                <a:lnTo>
                  <a:pt x="1319032" y="4488348"/>
                </a:lnTo>
                <a:lnTo>
                  <a:pt x="1324568" y="4493882"/>
                </a:lnTo>
                <a:lnTo>
                  <a:pt x="1316391" y="4502059"/>
                </a:lnTo>
                <a:lnTo>
                  <a:pt x="1322090" y="4507757"/>
                </a:lnTo>
                <a:cubicBezTo>
                  <a:pt x="1322090" y="4513704"/>
                  <a:pt x="1317300" y="4518495"/>
                  <a:pt x="1311353" y="4518495"/>
                </a:cubicBezTo>
                <a:cubicBezTo>
                  <a:pt x="1305407" y="4518495"/>
                  <a:pt x="1300617" y="4513704"/>
                  <a:pt x="1300617" y="4507757"/>
                </a:cubicBezTo>
                <a:lnTo>
                  <a:pt x="1308792" y="4499582"/>
                </a:lnTo>
                <a:lnTo>
                  <a:pt x="1303093" y="4493882"/>
                </a:lnTo>
                <a:lnTo>
                  <a:pt x="1311270" y="4485705"/>
                </a:lnTo>
                <a:lnTo>
                  <a:pt x="1305736" y="4480172"/>
                </a:lnTo>
                <a:cubicBezTo>
                  <a:pt x="1305736" y="4474225"/>
                  <a:pt x="1310526" y="4469435"/>
                  <a:pt x="1316473" y="4469435"/>
                </a:cubicBezTo>
                <a:close/>
                <a:moveTo>
                  <a:pt x="2470760" y="4468279"/>
                </a:moveTo>
                <a:cubicBezTo>
                  <a:pt x="2476691" y="4468279"/>
                  <a:pt x="2481496" y="4473086"/>
                  <a:pt x="2481496" y="4479015"/>
                </a:cubicBezTo>
                <a:cubicBezTo>
                  <a:pt x="2481496" y="4484944"/>
                  <a:pt x="2476691" y="4489751"/>
                  <a:pt x="2470760" y="4489751"/>
                </a:cubicBezTo>
                <a:cubicBezTo>
                  <a:pt x="2464830" y="4489751"/>
                  <a:pt x="2460023" y="4484944"/>
                  <a:pt x="2460023" y="4479015"/>
                </a:cubicBezTo>
                <a:cubicBezTo>
                  <a:pt x="2460023" y="4473086"/>
                  <a:pt x="2464830" y="4468279"/>
                  <a:pt x="2470760" y="4468279"/>
                </a:cubicBezTo>
                <a:close/>
                <a:moveTo>
                  <a:pt x="1959690" y="4468279"/>
                </a:moveTo>
                <a:cubicBezTo>
                  <a:pt x="1965636" y="4468279"/>
                  <a:pt x="1970426" y="4473068"/>
                  <a:pt x="1970426" y="4479015"/>
                </a:cubicBezTo>
                <a:cubicBezTo>
                  <a:pt x="1970426" y="4484961"/>
                  <a:pt x="1965636" y="4489751"/>
                  <a:pt x="1959690" y="4489751"/>
                </a:cubicBezTo>
                <a:cubicBezTo>
                  <a:pt x="1953743" y="4489751"/>
                  <a:pt x="1948953" y="4484961"/>
                  <a:pt x="1948953" y="4479015"/>
                </a:cubicBezTo>
                <a:cubicBezTo>
                  <a:pt x="1948953" y="4473068"/>
                  <a:pt x="1953743" y="4468279"/>
                  <a:pt x="1959690" y="4468279"/>
                </a:cubicBezTo>
                <a:close/>
                <a:moveTo>
                  <a:pt x="1347197" y="4468114"/>
                </a:moveTo>
                <a:cubicBezTo>
                  <a:pt x="1353144" y="4468114"/>
                  <a:pt x="1357935" y="4472904"/>
                  <a:pt x="1357935" y="4478850"/>
                </a:cubicBezTo>
                <a:lnTo>
                  <a:pt x="1347860" y="4488926"/>
                </a:lnTo>
                <a:lnTo>
                  <a:pt x="1352650" y="4493716"/>
                </a:lnTo>
                <a:lnTo>
                  <a:pt x="1343977" y="4502390"/>
                </a:lnTo>
                <a:lnTo>
                  <a:pt x="1348187" y="4506601"/>
                </a:lnTo>
                <a:lnTo>
                  <a:pt x="1337534" y="4517255"/>
                </a:lnTo>
                <a:lnTo>
                  <a:pt x="1343399" y="4523119"/>
                </a:lnTo>
                <a:cubicBezTo>
                  <a:pt x="1343399" y="4529065"/>
                  <a:pt x="1338608" y="4533855"/>
                  <a:pt x="1332661" y="4533855"/>
                </a:cubicBezTo>
                <a:cubicBezTo>
                  <a:pt x="1326715" y="4533855"/>
                  <a:pt x="1321925" y="4529065"/>
                  <a:pt x="1321925" y="4523119"/>
                </a:cubicBezTo>
                <a:lnTo>
                  <a:pt x="1332580" y="4512466"/>
                </a:lnTo>
                <a:lnTo>
                  <a:pt x="1326715" y="4506601"/>
                </a:lnTo>
                <a:lnTo>
                  <a:pt x="1335387" y="4497928"/>
                </a:lnTo>
                <a:lnTo>
                  <a:pt x="1331175" y="4493716"/>
                </a:lnTo>
                <a:lnTo>
                  <a:pt x="1341251" y="4483640"/>
                </a:lnTo>
                <a:lnTo>
                  <a:pt x="1336461" y="4478850"/>
                </a:lnTo>
                <a:cubicBezTo>
                  <a:pt x="1336461" y="4472904"/>
                  <a:pt x="1341251" y="4468114"/>
                  <a:pt x="1347197" y="4468114"/>
                </a:cubicBezTo>
                <a:close/>
                <a:moveTo>
                  <a:pt x="2100093" y="4467122"/>
                </a:moveTo>
                <a:cubicBezTo>
                  <a:pt x="2106039" y="4467122"/>
                  <a:pt x="2110829" y="4471912"/>
                  <a:pt x="2110829" y="4477858"/>
                </a:cubicBezTo>
                <a:cubicBezTo>
                  <a:pt x="2110829" y="4483805"/>
                  <a:pt x="2106039" y="4488596"/>
                  <a:pt x="2100093" y="4488596"/>
                </a:cubicBezTo>
                <a:cubicBezTo>
                  <a:pt x="2094146" y="4488596"/>
                  <a:pt x="2089356" y="4483805"/>
                  <a:pt x="2089356" y="4477858"/>
                </a:cubicBezTo>
                <a:cubicBezTo>
                  <a:pt x="2089356" y="4471912"/>
                  <a:pt x="2094146" y="4467122"/>
                  <a:pt x="2100093" y="4467122"/>
                </a:cubicBezTo>
                <a:close/>
                <a:moveTo>
                  <a:pt x="1380234" y="4465802"/>
                </a:moveTo>
                <a:cubicBezTo>
                  <a:pt x="1386180" y="4465802"/>
                  <a:pt x="1390972" y="4470592"/>
                  <a:pt x="1390972" y="4476538"/>
                </a:cubicBezTo>
                <a:cubicBezTo>
                  <a:pt x="1390972" y="4482485"/>
                  <a:pt x="1386180" y="4487275"/>
                  <a:pt x="1380234" y="4487275"/>
                </a:cubicBezTo>
                <a:cubicBezTo>
                  <a:pt x="1374287" y="4487275"/>
                  <a:pt x="1369497" y="4482485"/>
                  <a:pt x="1369497" y="4476538"/>
                </a:cubicBezTo>
                <a:cubicBezTo>
                  <a:pt x="1369497" y="4470592"/>
                  <a:pt x="1374287" y="4465802"/>
                  <a:pt x="1380234" y="4465802"/>
                </a:cubicBezTo>
                <a:close/>
                <a:moveTo>
                  <a:pt x="1040785" y="4465802"/>
                </a:moveTo>
                <a:cubicBezTo>
                  <a:pt x="1046732" y="4465802"/>
                  <a:pt x="1051524" y="4470592"/>
                  <a:pt x="1051524" y="4476538"/>
                </a:cubicBezTo>
                <a:cubicBezTo>
                  <a:pt x="1051524" y="4482485"/>
                  <a:pt x="1046732" y="4487275"/>
                  <a:pt x="1040785" y="4487275"/>
                </a:cubicBezTo>
                <a:cubicBezTo>
                  <a:pt x="1034839" y="4487275"/>
                  <a:pt x="1030049" y="4482485"/>
                  <a:pt x="1030049" y="4476538"/>
                </a:cubicBezTo>
                <a:cubicBezTo>
                  <a:pt x="1030049" y="4470592"/>
                  <a:pt x="1034839" y="4465802"/>
                  <a:pt x="1040785" y="4465802"/>
                </a:cubicBezTo>
                <a:close/>
                <a:moveTo>
                  <a:pt x="2451764" y="4465306"/>
                </a:moveTo>
                <a:cubicBezTo>
                  <a:pt x="2457710" y="4465306"/>
                  <a:pt x="2462502" y="4470096"/>
                  <a:pt x="2462502" y="4476043"/>
                </a:cubicBezTo>
                <a:cubicBezTo>
                  <a:pt x="2462502" y="4481989"/>
                  <a:pt x="2457710" y="4486779"/>
                  <a:pt x="2451764" y="4486779"/>
                </a:cubicBezTo>
                <a:cubicBezTo>
                  <a:pt x="2445817" y="4486779"/>
                  <a:pt x="2441027" y="4481989"/>
                  <a:pt x="2441027" y="4476043"/>
                </a:cubicBezTo>
                <a:cubicBezTo>
                  <a:pt x="2441027" y="4470096"/>
                  <a:pt x="2445817" y="4465306"/>
                  <a:pt x="2451764" y="4465306"/>
                </a:cubicBezTo>
                <a:close/>
                <a:moveTo>
                  <a:pt x="1554004" y="4465306"/>
                </a:moveTo>
                <a:cubicBezTo>
                  <a:pt x="1559951" y="4465306"/>
                  <a:pt x="1564741" y="4470096"/>
                  <a:pt x="1564741" y="4476043"/>
                </a:cubicBezTo>
                <a:cubicBezTo>
                  <a:pt x="1564741" y="4481989"/>
                  <a:pt x="1559951" y="4486779"/>
                  <a:pt x="1554004" y="4486779"/>
                </a:cubicBezTo>
                <a:cubicBezTo>
                  <a:pt x="1548058" y="4486779"/>
                  <a:pt x="1543268" y="4481989"/>
                  <a:pt x="1543268" y="4476043"/>
                </a:cubicBezTo>
                <a:cubicBezTo>
                  <a:pt x="1543268" y="4470096"/>
                  <a:pt x="1548058" y="4465306"/>
                  <a:pt x="1554004" y="4465306"/>
                </a:cubicBezTo>
                <a:close/>
                <a:moveTo>
                  <a:pt x="2570860" y="4463820"/>
                </a:moveTo>
                <a:cubicBezTo>
                  <a:pt x="2576807" y="4463820"/>
                  <a:pt x="2581597" y="4468610"/>
                  <a:pt x="2581597" y="4474556"/>
                </a:cubicBezTo>
                <a:cubicBezTo>
                  <a:pt x="2581597" y="4480503"/>
                  <a:pt x="2576807" y="4485293"/>
                  <a:pt x="2570860" y="4485293"/>
                </a:cubicBezTo>
                <a:cubicBezTo>
                  <a:pt x="2564914" y="4485293"/>
                  <a:pt x="2560124" y="4480503"/>
                  <a:pt x="2560124" y="4474556"/>
                </a:cubicBezTo>
                <a:cubicBezTo>
                  <a:pt x="2560124" y="4468610"/>
                  <a:pt x="2564914" y="4463820"/>
                  <a:pt x="2570860" y="4463820"/>
                </a:cubicBezTo>
                <a:close/>
                <a:moveTo>
                  <a:pt x="960508" y="4463820"/>
                </a:moveTo>
                <a:cubicBezTo>
                  <a:pt x="962515" y="4463820"/>
                  <a:pt x="964141" y="4465447"/>
                  <a:pt x="964141" y="4467455"/>
                </a:cubicBezTo>
                <a:cubicBezTo>
                  <a:pt x="964141" y="4469461"/>
                  <a:pt x="962515" y="4471088"/>
                  <a:pt x="960508" y="4471088"/>
                </a:cubicBezTo>
                <a:cubicBezTo>
                  <a:pt x="958500" y="4471088"/>
                  <a:pt x="956873" y="4469461"/>
                  <a:pt x="956873" y="4467455"/>
                </a:cubicBezTo>
                <a:cubicBezTo>
                  <a:pt x="956873" y="4465447"/>
                  <a:pt x="958500" y="4463820"/>
                  <a:pt x="960508" y="4463820"/>
                </a:cubicBezTo>
                <a:close/>
                <a:moveTo>
                  <a:pt x="2431943" y="4463324"/>
                </a:moveTo>
                <a:cubicBezTo>
                  <a:pt x="2437890" y="4463324"/>
                  <a:pt x="2442682" y="4468114"/>
                  <a:pt x="2442682" y="4474060"/>
                </a:cubicBezTo>
                <a:cubicBezTo>
                  <a:pt x="2442682" y="4480007"/>
                  <a:pt x="2437890" y="4484797"/>
                  <a:pt x="2431943" y="4484797"/>
                </a:cubicBezTo>
                <a:cubicBezTo>
                  <a:pt x="2425997" y="4484797"/>
                  <a:pt x="2421207" y="4480007"/>
                  <a:pt x="2421207" y="4474060"/>
                </a:cubicBezTo>
                <a:cubicBezTo>
                  <a:pt x="2421207" y="4468114"/>
                  <a:pt x="2425997" y="4463324"/>
                  <a:pt x="2431943" y="4463324"/>
                </a:cubicBezTo>
                <a:close/>
                <a:moveTo>
                  <a:pt x="2648496" y="4462663"/>
                </a:moveTo>
                <a:cubicBezTo>
                  <a:pt x="2651051" y="4462663"/>
                  <a:pt x="2653122" y="4464734"/>
                  <a:pt x="2653122" y="4467288"/>
                </a:cubicBezTo>
                <a:cubicBezTo>
                  <a:pt x="2653122" y="4469843"/>
                  <a:pt x="2651051" y="4471913"/>
                  <a:pt x="2648496" y="4471913"/>
                </a:cubicBezTo>
                <a:cubicBezTo>
                  <a:pt x="2645942" y="4471913"/>
                  <a:pt x="2643871" y="4469843"/>
                  <a:pt x="2643871" y="4467288"/>
                </a:cubicBezTo>
                <a:cubicBezTo>
                  <a:pt x="2643871" y="4464734"/>
                  <a:pt x="2645942" y="4462663"/>
                  <a:pt x="2648496" y="4462663"/>
                </a:cubicBezTo>
                <a:close/>
                <a:moveTo>
                  <a:pt x="2411295" y="4462167"/>
                </a:moveTo>
                <a:cubicBezTo>
                  <a:pt x="2417241" y="4462167"/>
                  <a:pt x="2422032" y="4466957"/>
                  <a:pt x="2422032" y="4472904"/>
                </a:cubicBezTo>
                <a:cubicBezTo>
                  <a:pt x="2422032" y="4478850"/>
                  <a:pt x="2417241" y="4483640"/>
                  <a:pt x="2411295" y="4483640"/>
                </a:cubicBezTo>
                <a:cubicBezTo>
                  <a:pt x="2405348" y="4483640"/>
                  <a:pt x="2400558" y="4478850"/>
                  <a:pt x="2400558" y="4472904"/>
                </a:cubicBezTo>
                <a:cubicBezTo>
                  <a:pt x="2400558" y="4466957"/>
                  <a:pt x="2405348" y="4462167"/>
                  <a:pt x="2411295" y="4462167"/>
                </a:cubicBezTo>
                <a:close/>
                <a:moveTo>
                  <a:pt x="2317471" y="4462167"/>
                </a:moveTo>
                <a:cubicBezTo>
                  <a:pt x="2323418" y="4462167"/>
                  <a:pt x="2328210" y="4466957"/>
                  <a:pt x="2328210" y="4472904"/>
                </a:cubicBezTo>
                <a:lnTo>
                  <a:pt x="2319372" y="4481741"/>
                </a:lnTo>
                <a:lnTo>
                  <a:pt x="2324741" y="4487108"/>
                </a:lnTo>
                <a:lnTo>
                  <a:pt x="2315656" y="4496196"/>
                </a:lnTo>
                <a:lnTo>
                  <a:pt x="2322757" y="4503297"/>
                </a:lnTo>
                <a:cubicBezTo>
                  <a:pt x="2322757" y="4509244"/>
                  <a:pt x="2317968" y="4514033"/>
                  <a:pt x="2312021" y="4514033"/>
                </a:cubicBezTo>
                <a:cubicBezTo>
                  <a:pt x="2306074" y="4514033"/>
                  <a:pt x="2301285" y="4509244"/>
                  <a:pt x="2301285" y="4503297"/>
                </a:cubicBezTo>
                <a:lnTo>
                  <a:pt x="2310370" y="4494213"/>
                </a:lnTo>
                <a:lnTo>
                  <a:pt x="2303267" y="4487108"/>
                </a:lnTo>
                <a:lnTo>
                  <a:pt x="2312103" y="4478273"/>
                </a:lnTo>
                <a:lnTo>
                  <a:pt x="2306735" y="4472904"/>
                </a:lnTo>
                <a:cubicBezTo>
                  <a:pt x="2306735" y="4466957"/>
                  <a:pt x="2311525" y="4462167"/>
                  <a:pt x="2317471" y="4462167"/>
                </a:cubicBezTo>
                <a:close/>
                <a:moveTo>
                  <a:pt x="2342910" y="4462003"/>
                </a:moveTo>
                <a:cubicBezTo>
                  <a:pt x="2348857" y="4462003"/>
                  <a:pt x="2353648" y="4466792"/>
                  <a:pt x="2353648" y="4472739"/>
                </a:cubicBezTo>
                <a:lnTo>
                  <a:pt x="2343819" y="4482568"/>
                </a:lnTo>
                <a:lnTo>
                  <a:pt x="2348692" y="4487440"/>
                </a:lnTo>
                <a:cubicBezTo>
                  <a:pt x="2348692" y="4493386"/>
                  <a:pt x="2343900" y="4498176"/>
                  <a:pt x="2337954" y="4498176"/>
                </a:cubicBezTo>
                <a:cubicBezTo>
                  <a:pt x="2332007" y="4498176"/>
                  <a:pt x="2327217" y="4493386"/>
                  <a:pt x="2327217" y="4487440"/>
                </a:cubicBezTo>
                <a:lnTo>
                  <a:pt x="2337045" y="4477612"/>
                </a:lnTo>
                <a:lnTo>
                  <a:pt x="2332174" y="4472739"/>
                </a:lnTo>
                <a:cubicBezTo>
                  <a:pt x="2332174" y="4466792"/>
                  <a:pt x="2336964" y="4462003"/>
                  <a:pt x="2342910" y="4462003"/>
                </a:cubicBezTo>
                <a:close/>
                <a:moveTo>
                  <a:pt x="1415581" y="4462003"/>
                </a:moveTo>
                <a:cubicBezTo>
                  <a:pt x="1421528" y="4462003"/>
                  <a:pt x="1426320" y="4466792"/>
                  <a:pt x="1426320" y="4472739"/>
                </a:cubicBezTo>
                <a:cubicBezTo>
                  <a:pt x="1426320" y="4478685"/>
                  <a:pt x="1421528" y="4483477"/>
                  <a:pt x="1415581" y="4483477"/>
                </a:cubicBezTo>
                <a:cubicBezTo>
                  <a:pt x="1409635" y="4483477"/>
                  <a:pt x="1404845" y="4478685"/>
                  <a:pt x="1404845" y="4472739"/>
                </a:cubicBezTo>
                <a:cubicBezTo>
                  <a:pt x="1404845" y="4466792"/>
                  <a:pt x="1409635" y="4462003"/>
                  <a:pt x="1415581" y="4462003"/>
                </a:cubicBezTo>
                <a:close/>
                <a:moveTo>
                  <a:pt x="2367026" y="4461836"/>
                </a:moveTo>
                <a:cubicBezTo>
                  <a:pt x="2372973" y="4461836"/>
                  <a:pt x="2377764" y="4466626"/>
                  <a:pt x="2377764" y="4472572"/>
                </a:cubicBezTo>
                <a:cubicBezTo>
                  <a:pt x="2377764" y="4478519"/>
                  <a:pt x="2372973" y="4483310"/>
                  <a:pt x="2367026" y="4483310"/>
                </a:cubicBezTo>
                <a:cubicBezTo>
                  <a:pt x="2361079" y="4483310"/>
                  <a:pt x="2356290" y="4478519"/>
                  <a:pt x="2356290" y="4472572"/>
                </a:cubicBezTo>
                <a:cubicBezTo>
                  <a:pt x="2356290" y="4466626"/>
                  <a:pt x="2361079" y="4461836"/>
                  <a:pt x="2367026" y="4461836"/>
                </a:cubicBezTo>
                <a:close/>
                <a:moveTo>
                  <a:pt x="2389822" y="4461671"/>
                </a:moveTo>
                <a:cubicBezTo>
                  <a:pt x="2395768" y="4461671"/>
                  <a:pt x="2400560" y="4466461"/>
                  <a:pt x="2400560" y="4472408"/>
                </a:cubicBezTo>
                <a:cubicBezTo>
                  <a:pt x="2400560" y="4478354"/>
                  <a:pt x="2395768" y="4483144"/>
                  <a:pt x="2389822" y="4483144"/>
                </a:cubicBezTo>
                <a:cubicBezTo>
                  <a:pt x="2383875" y="4483144"/>
                  <a:pt x="2379086" y="4478354"/>
                  <a:pt x="2379086" y="4472408"/>
                </a:cubicBezTo>
                <a:cubicBezTo>
                  <a:pt x="2379086" y="4466461"/>
                  <a:pt x="2383875" y="4461671"/>
                  <a:pt x="2389822" y="4461671"/>
                </a:cubicBezTo>
                <a:close/>
                <a:moveTo>
                  <a:pt x="1808383" y="4461177"/>
                </a:moveTo>
                <a:cubicBezTo>
                  <a:pt x="1814330" y="4461177"/>
                  <a:pt x="1819122" y="4465967"/>
                  <a:pt x="1819122" y="4471913"/>
                </a:cubicBezTo>
                <a:cubicBezTo>
                  <a:pt x="1819122" y="4477860"/>
                  <a:pt x="1814330" y="4482650"/>
                  <a:pt x="1808383" y="4482650"/>
                </a:cubicBezTo>
                <a:cubicBezTo>
                  <a:pt x="1802437" y="4482650"/>
                  <a:pt x="1797647" y="4477860"/>
                  <a:pt x="1797647" y="4471913"/>
                </a:cubicBezTo>
                <a:cubicBezTo>
                  <a:pt x="1797647" y="4465967"/>
                  <a:pt x="1802437" y="4461177"/>
                  <a:pt x="1808383" y="4461177"/>
                </a:cubicBezTo>
                <a:close/>
                <a:moveTo>
                  <a:pt x="2260980" y="4460846"/>
                </a:moveTo>
                <a:cubicBezTo>
                  <a:pt x="2266927" y="4460846"/>
                  <a:pt x="2271718" y="4465636"/>
                  <a:pt x="2271718" y="4471582"/>
                </a:cubicBezTo>
                <a:lnTo>
                  <a:pt x="2264698" y="4478604"/>
                </a:lnTo>
                <a:lnTo>
                  <a:pt x="2273040" y="4486944"/>
                </a:lnTo>
                <a:lnTo>
                  <a:pt x="2266927" y="4493057"/>
                </a:lnTo>
                <a:lnTo>
                  <a:pt x="2274196" y="4500325"/>
                </a:lnTo>
                <a:lnTo>
                  <a:pt x="2266514" y="4508005"/>
                </a:lnTo>
                <a:lnTo>
                  <a:pt x="2276011" y="4517502"/>
                </a:lnTo>
                <a:cubicBezTo>
                  <a:pt x="2276011" y="4523448"/>
                  <a:pt x="2271221" y="4528240"/>
                  <a:pt x="2265274" y="4528240"/>
                </a:cubicBezTo>
                <a:cubicBezTo>
                  <a:pt x="2259328" y="4528240"/>
                  <a:pt x="2254538" y="4523448"/>
                  <a:pt x="2254538" y="4517502"/>
                </a:cubicBezTo>
                <a:lnTo>
                  <a:pt x="2262218" y="4509821"/>
                </a:lnTo>
                <a:lnTo>
                  <a:pt x="2252722" y="4500325"/>
                </a:lnTo>
                <a:lnTo>
                  <a:pt x="2258833" y="4494213"/>
                </a:lnTo>
                <a:lnTo>
                  <a:pt x="2251566" y="4486944"/>
                </a:lnTo>
                <a:lnTo>
                  <a:pt x="2258585" y="4479925"/>
                </a:lnTo>
                <a:lnTo>
                  <a:pt x="2250244" y="4471582"/>
                </a:lnTo>
                <a:cubicBezTo>
                  <a:pt x="2250244" y="4465636"/>
                  <a:pt x="2255034" y="4460846"/>
                  <a:pt x="2260980" y="4460846"/>
                </a:cubicBezTo>
                <a:close/>
                <a:moveTo>
                  <a:pt x="2060285" y="4460846"/>
                </a:moveTo>
                <a:cubicBezTo>
                  <a:pt x="2066231" y="4460846"/>
                  <a:pt x="2071023" y="4465636"/>
                  <a:pt x="2071023" y="4471582"/>
                </a:cubicBezTo>
                <a:cubicBezTo>
                  <a:pt x="2071023" y="4477529"/>
                  <a:pt x="2066231" y="4482320"/>
                  <a:pt x="2060285" y="4482320"/>
                </a:cubicBezTo>
                <a:cubicBezTo>
                  <a:pt x="2054338" y="4482320"/>
                  <a:pt x="2049548" y="4477529"/>
                  <a:pt x="2049548" y="4471582"/>
                </a:cubicBezTo>
                <a:cubicBezTo>
                  <a:pt x="2049548" y="4465636"/>
                  <a:pt x="2054338" y="4460846"/>
                  <a:pt x="2060285" y="4460846"/>
                </a:cubicBezTo>
                <a:close/>
                <a:moveTo>
                  <a:pt x="1703328" y="4460350"/>
                </a:moveTo>
                <a:cubicBezTo>
                  <a:pt x="1709275" y="4460350"/>
                  <a:pt x="1714066" y="4465140"/>
                  <a:pt x="1714066" y="4471086"/>
                </a:cubicBezTo>
                <a:cubicBezTo>
                  <a:pt x="1714066" y="4477033"/>
                  <a:pt x="1709275" y="4481824"/>
                  <a:pt x="1703328" y="4481824"/>
                </a:cubicBezTo>
                <a:cubicBezTo>
                  <a:pt x="1697382" y="4481824"/>
                  <a:pt x="1692592" y="4477033"/>
                  <a:pt x="1692592" y="4471086"/>
                </a:cubicBezTo>
                <a:cubicBezTo>
                  <a:pt x="1692592" y="4465140"/>
                  <a:pt x="1697382" y="4460350"/>
                  <a:pt x="1703328" y="4460350"/>
                </a:cubicBezTo>
                <a:close/>
                <a:moveTo>
                  <a:pt x="2229760" y="4458864"/>
                </a:moveTo>
                <a:cubicBezTo>
                  <a:pt x="2235706" y="4458864"/>
                  <a:pt x="2240498" y="4463653"/>
                  <a:pt x="2240498" y="4469600"/>
                </a:cubicBezTo>
                <a:lnTo>
                  <a:pt x="2234055" y="4476043"/>
                </a:lnTo>
                <a:lnTo>
                  <a:pt x="2244792" y="4486779"/>
                </a:lnTo>
                <a:lnTo>
                  <a:pt x="2239837" y="4491735"/>
                </a:lnTo>
                <a:lnTo>
                  <a:pt x="2247932" y="4499829"/>
                </a:lnTo>
                <a:lnTo>
                  <a:pt x="2242232" y="4505527"/>
                </a:lnTo>
                <a:lnTo>
                  <a:pt x="2251401" y="4514694"/>
                </a:lnTo>
                <a:cubicBezTo>
                  <a:pt x="2251401" y="4520641"/>
                  <a:pt x="2246609" y="4525430"/>
                  <a:pt x="2240662" y="4525430"/>
                </a:cubicBezTo>
                <a:cubicBezTo>
                  <a:pt x="2234716" y="4525430"/>
                  <a:pt x="2229926" y="4520641"/>
                  <a:pt x="2229926" y="4514694"/>
                </a:cubicBezTo>
                <a:lnTo>
                  <a:pt x="2235625" y="4508996"/>
                </a:lnTo>
                <a:lnTo>
                  <a:pt x="2226458" y="4499829"/>
                </a:lnTo>
                <a:lnTo>
                  <a:pt x="2231414" y="4494874"/>
                </a:lnTo>
                <a:lnTo>
                  <a:pt x="2223319" y="4486779"/>
                </a:lnTo>
                <a:lnTo>
                  <a:pt x="2229760" y="4480338"/>
                </a:lnTo>
                <a:lnTo>
                  <a:pt x="2219024" y="4469600"/>
                </a:lnTo>
                <a:cubicBezTo>
                  <a:pt x="2219024" y="4463653"/>
                  <a:pt x="2223813" y="4458864"/>
                  <a:pt x="2229760" y="4458864"/>
                </a:cubicBezTo>
                <a:close/>
                <a:moveTo>
                  <a:pt x="1913274" y="4458368"/>
                </a:moveTo>
                <a:cubicBezTo>
                  <a:pt x="1919221" y="4458368"/>
                  <a:pt x="1924010" y="4463158"/>
                  <a:pt x="1924010" y="4469104"/>
                </a:cubicBezTo>
                <a:cubicBezTo>
                  <a:pt x="1924010" y="4475051"/>
                  <a:pt x="1919221" y="4479842"/>
                  <a:pt x="1913274" y="4479842"/>
                </a:cubicBezTo>
                <a:cubicBezTo>
                  <a:pt x="1907327" y="4479842"/>
                  <a:pt x="1902538" y="4475051"/>
                  <a:pt x="1902538" y="4469104"/>
                </a:cubicBezTo>
                <a:cubicBezTo>
                  <a:pt x="1902538" y="4463158"/>
                  <a:pt x="1907327" y="4458368"/>
                  <a:pt x="1913274" y="4458368"/>
                </a:cubicBezTo>
                <a:close/>
                <a:moveTo>
                  <a:pt x="2554342" y="4457707"/>
                </a:moveTo>
                <a:cubicBezTo>
                  <a:pt x="2560289" y="4457707"/>
                  <a:pt x="2565079" y="4462497"/>
                  <a:pt x="2565079" y="4468443"/>
                </a:cubicBezTo>
                <a:cubicBezTo>
                  <a:pt x="2565079" y="4474390"/>
                  <a:pt x="2560289" y="4479181"/>
                  <a:pt x="2554342" y="4479181"/>
                </a:cubicBezTo>
                <a:cubicBezTo>
                  <a:pt x="2548396" y="4479181"/>
                  <a:pt x="2543606" y="4474390"/>
                  <a:pt x="2543606" y="4468443"/>
                </a:cubicBezTo>
                <a:cubicBezTo>
                  <a:pt x="2543606" y="4462497"/>
                  <a:pt x="2548396" y="4457707"/>
                  <a:pt x="2554342" y="4457707"/>
                </a:cubicBezTo>
                <a:close/>
                <a:moveTo>
                  <a:pt x="1453739" y="4456386"/>
                </a:moveTo>
                <a:cubicBezTo>
                  <a:pt x="1459685" y="4456386"/>
                  <a:pt x="1464477" y="4461175"/>
                  <a:pt x="1464477" y="4467122"/>
                </a:cubicBezTo>
                <a:cubicBezTo>
                  <a:pt x="1464477" y="4473068"/>
                  <a:pt x="1459685" y="4477858"/>
                  <a:pt x="1453739" y="4477858"/>
                </a:cubicBezTo>
                <a:cubicBezTo>
                  <a:pt x="1447792" y="4477858"/>
                  <a:pt x="1443002" y="4473068"/>
                  <a:pt x="1443002" y="4467122"/>
                </a:cubicBezTo>
                <a:cubicBezTo>
                  <a:pt x="1443002" y="4461175"/>
                  <a:pt x="1447792" y="4456386"/>
                  <a:pt x="1453739" y="4456386"/>
                </a:cubicBezTo>
                <a:close/>
                <a:moveTo>
                  <a:pt x="1598602" y="4456056"/>
                </a:moveTo>
                <a:cubicBezTo>
                  <a:pt x="1604549" y="4456056"/>
                  <a:pt x="1609340" y="4460846"/>
                  <a:pt x="1609340" y="4466792"/>
                </a:cubicBezTo>
                <a:cubicBezTo>
                  <a:pt x="1609340" y="4472739"/>
                  <a:pt x="1604549" y="4477529"/>
                  <a:pt x="1598602" y="4477529"/>
                </a:cubicBezTo>
                <a:cubicBezTo>
                  <a:pt x="1592656" y="4477529"/>
                  <a:pt x="1587866" y="4472739"/>
                  <a:pt x="1587866" y="4466792"/>
                </a:cubicBezTo>
                <a:cubicBezTo>
                  <a:pt x="1587866" y="4460846"/>
                  <a:pt x="1592656" y="4456056"/>
                  <a:pt x="1598602" y="4456056"/>
                </a:cubicBezTo>
                <a:close/>
                <a:moveTo>
                  <a:pt x="2196229" y="4455560"/>
                </a:moveTo>
                <a:cubicBezTo>
                  <a:pt x="2202176" y="4455560"/>
                  <a:pt x="2206967" y="4460350"/>
                  <a:pt x="2206967" y="4466296"/>
                </a:cubicBezTo>
                <a:cubicBezTo>
                  <a:pt x="2206967" y="4472243"/>
                  <a:pt x="2202176" y="4477033"/>
                  <a:pt x="2196229" y="4477033"/>
                </a:cubicBezTo>
                <a:cubicBezTo>
                  <a:pt x="2190283" y="4477033"/>
                  <a:pt x="2185493" y="4472243"/>
                  <a:pt x="2185493" y="4466296"/>
                </a:cubicBezTo>
                <a:cubicBezTo>
                  <a:pt x="2185493" y="4460350"/>
                  <a:pt x="2190283" y="4455560"/>
                  <a:pt x="2196229" y="4455560"/>
                </a:cubicBezTo>
                <a:close/>
                <a:moveTo>
                  <a:pt x="1204810" y="4454899"/>
                </a:moveTo>
                <a:cubicBezTo>
                  <a:pt x="1210757" y="4454899"/>
                  <a:pt x="1215548" y="4459689"/>
                  <a:pt x="1215548" y="4465636"/>
                </a:cubicBezTo>
                <a:lnTo>
                  <a:pt x="1211253" y="4469931"/>
                </a:lnTo>
                <a:lnTo>
                  <a:pt x="1221826" y="4480501"/>
                </a:lnTo>
                <a:cubicBezTo>
                  <a:pt x="1221826" y="4486448"/>
                  <a:pt x="1217034" y="4491237"/>
                  <a:pt x="1211088" y="4491237"/>
                </a:cubicBezTo>
                <a:cubicBezTo>
                  <a:pt x="1205141" y="4491237"/>
                  <a:pt x="1200352" y="4486448"/>
                  <a:pt x="1200352" y="4480501"/>
                </a:cubicBezTo>
                <a:lnTo>
                  <a:pt x="1204645" y="4476207"/>
                </a:lnTo>
                <a:lnTo>
                  <a:pt x="1194074" y="4465636"/>
                </a:lnTo>
                <a:cubicBezTo>
                  <a:pt x="1194074" y="4459689"/>
                  <a:pt x="1198864" y="4454899"/>
                  <a:pt x="1204810" y="4454899"/>
                </a:cubicBezTo>
                <a:close/>
                <a:moveTo>
                  <a:pt x="1230578" y="4454735"/>
                </a:moveTo>
                <a:cubicBezTo>
                  <a:pt x="1236525" y="4454735"/>
                  <a:pt x="1241315" y="4459524"/>
                  <a:pt x="1241315" y="4465471"/>
                </a:cubicBezTo>
                <a:lnTo>
                  <a:pt x="1236112" y="4470673"/>
                </a:lnTo>
                <a:lnTo>
                  <a:pt x="1245942" y="4480501"/>
                </a:lnTo>
                <a:lnTo>
                  <a:pt x="1239993" y="4486449"/>
                </a:lnTo>
                <a:lnTo>
                  <a:pt x="1249245" y="4495700"/>
                </a:lnTo>
                <a:cubicBezTo>
                  <a:pt x="1249245" y="4501646"/>
                  <a:pt x="1244454" y="4506436"/>
                  <a:pt x="1238507" y="4506436"/>
                </a:cubicBezTo>
                <a:cubicBezTo>
                  <a:pt x="1232561" y="4506436"/>
                  <a:pt x="1227771" y="4501646"/>
                  <a:pt x="1227771" y="4495700"/>
                </a:cubicBezTo>
                <a:lnTo>
                  <a:pt x="1233719" y="4489753"/>
                </a:lnTo>
                <a:lnTo>
                  <a:pt x="1224467" y="4480501"/>
                </a:lnTo>
                <a:lnTo>
                  <a:pt x="1229670" y="4475300"/>
                </a:lnTo>
                <a:lnTo>
                  <a:pt x="1219842" y="4465471"/>
                </a:lnTo>
                <a:cubicBezTo>
                  <a:pt x="1219842" y="4459524"/>
                  <a:pt x="1224632" y="4454735"/>
                  <a:pt x="1230578" y="4454735"/>
                </a:cubicBezTo>
                <a:close/>
                <a:moveTo>
                  <a:pt x="1180530" y="4454735"/>
                </a:moveTo>
                <a:cubicBezTo>
                  <a:pt x="1186476" y="4454735"/>
                  <a:pt x="1191266" y="4459524"/>
                  <a:pt x="1191266" y="4465471"/>
                </a:cubicBezTo>
                <a:cubicBezTo>
                  <a:pt x="1191266" y="4471417"/>
                  <a:pt x="1186476" y="4476209"/>
                  <a:pt x="1180530" y="4476209"/>
                </a:cubicBezTo>
                <a:cubicBezTo>
                  <a:pt x="1174583" y="4476209"/>
                  <a:pt x="1169793" y="4471417"/>
                  <a:pt x="1169793" y="4465471"/>
                </a:cubicBezTo>
                <a:cubicBezTo>
                  <a:pt x="1169793" y="4459524"/>
                  <a:pt x="1174583" y="4454735"/>
                  <a:pt x="1180530" y="4454735"/>
                </a:cubicBezTo>
                <a:close/>
                <a:moveTo>
                  <a:pt x="1157569" y="4454403"/>
                </a:moveTo>
                <a:cubicBezTo>
                  <a:pt x="1163516" y="4454403"/>
                  <a:pt x="1168305" y="4459193"/>
                  <a:pt x="1168305" y="4465140"/>
                </a:cubicBezTo>
                <a:cubicBezTo>
                  <a:pt x="1168305" y="4471086"/>
                  <a:pt x="1163516" y="4475876"/>
                  <a:pt x="1157569" y="4475876"/>
                </a:cubicBezTo>
                <a:cubicBezTo>
                  <a:pt x="1151623" y="4475876"/>
                  <a:pt x="1146833" y="4471086"/>
                  <a:pt x="1146833" y="4465140"/>
                </a:cubicBezTo>
                <a:cubicBezTo>
                  <a:pt x="1146833" y="4459193"/>
                  <a:pt x="1151623" y="4454403"/>
                  <a:pt x="1157569" y="4454403"/>
                </a:cubicBezTo>
                <a:close/>
                <a:moveTo>
                  <a:pt x="1135930" y="4454403"/>
                </a:moveTo>
                <a:cubicBezTo>
                  <a:pt x="1141876" y="4454403"/>
                  <a:pt x="1146668" y="4459193"/>
                  <a:pt x="1146668" y="4465140"/>
                </a:cubicBezTo>
                <a:cubicBezTo>
                  <a:pt x="1146668" y="4471086"/>
                  <a:pt x="1141876" y="4475876"/>
                  <a:pt x="1135930" y="4475876"/>
                </a:cubicBezTo>
                <a:lnTo>
                  <a:pt x="1125938" y="4465884"/>
                </a:lnTo>
                <a:lnTo>
                  <a:pt x="1115447" y="4476372"/>
                </a:lnTo>
                <a:lnTo>
                  <a:pt x="1106199" y="4467124"/>
                </a:lnTo>
                <a:lnTo>
                  <a:pt x="1095790" y="4477529"/>
                </a:lnTo>
                <a:lnTo>
                  <a:pt x="1087451" y="4469189"/>
                </a:lnTo>
                <a:lnTo>
                  <a:pt x="1076961" y="4479677"/>
                </a:lnTo>
                <a:lnTo>
                  <a:pt x="1069363" y="4472078"/>
                </a:lnTo>
                <a:lnTo>
                  <a:pt x="1058625" y="4482816"/>
                </a:lnTo>
                <a:cubicBezTo>
                  <a:pt x="1052679" y="4482816"/>
                  <a:pt x="1047889" y="4478025"/>
                  <a:pt x="1047889" y="4472078"/>
                </a:cubicBezTo>
                <a:cubicBezTo>
                  <a:pt x="1047889" y="4466132"/>
                  <a:pt x="1052679" y="4461342"/>
                  <a:pt x="1058625" y="4461342"/>
                </a:cubicBezTo>
                <a:lnTo>
                  <a:pt x="1068038" y="4470755"/>
                </a:lnTo>
                <a:lnTo>
                  <a:pt x="1066224" y="4468939"/>
                </a:lnTo>
                <a:cubicBezTo>
                  <a:pt x="1066224" y="4462993"/>
                  <a:pt x="1071014" y="4458203"/>
                  <a:pt x="1076961" y="4458203"/>
                </a:cubicBezTo>
                <a:lnTo>
                  <a:pt x="1085302" y="4466544"/>
                </a:lnTo>
                <a:lnTo>
                  <a:pt x="1095790" y="4456056"/>
                </a:lnTo>
                <a:lnTo>
                  <a:pt x="1105041" y="4465306"/>
                </a:lnTo>
                <a:lnTo>
                  <a:pt x="1115447" y="4454899"/>
                </a:lnTo>
                <a:lnTo>
                  <a:pt x="1125442" y="4464892"/>
                </a:lnTo>
                <a:close/>
                <a:moveTo>
                  <a:pt x="1258329" y="4454074"/>
                </a:moveTo>
                <a:cubicBezTo>
                  <a:pt x="1264275" y="4454074"/>
                  <a:pt x="1269067" y="4458864"/>
                  <a:pt x="1269067" y="4464810"/>
                </a:cubicBezTo>
                <a:lnTo>
                  <a:pt x="1262378" y="4471501"/>
                </a:lnTo>
                <a:lnTo>
                  <a:pt x="1271380" y="4480501"/>
                </a:lnTo>
                <a:lnTo>
                  <a:pt x="1265266" y="4486614"/>
                </a:lnTo>
                <a:lnTo>
                  <a:pt x="1273196" y="4494543"/>
                </a:lnTo>
                <a:lnTo>
                  <a:pt x="1264440" y="4503297"/>
                </a:lnTo>
                <a:lnTo>
                  <a:pt x="1273527" y="4512382"/>
                </a:lnTo>
                <a:cubicBezTo>
                  <a:pt x="1273527" y="4518329"/>
                  <a:pt x="1268736" y="4523120"/>
                  <a:pt x="1262789" y="4523120"/>
                </a:cubicBezTo>
                <a:cubicBezTo>
                  <a:pt x="1256843" y="4523120"/>
                  <a:pt x="1252053" y="4518329"/>
                  <a:pt x="1252053" y="4512382"/>
                </a:cubicBezTo>
                <a:lnTo>
                  <a:pt x="1260807" y="4503628"/>
                </a:lnTo>
                <a:lnTo>
                  <a:pt x="1251722" y="4494543"/>
                </a:lnTo>
                <a:lnTo>
                  <a:pt x="1257835" y="4488430"/>
                </a:lnTo>
                <a:lnTo>
                  <a:pt x="1249906" y="4480501"/>
                </a:lnTo>
                <a:lnTo>
                  <a:pt x="1256595" y="4473814"/>
                </a:lnTo>
                <a:lnTo>
                  <a:pt x="1247592" y="4464810"/>
                </a:lnTo>
                <a:cubicBezTo>
                  <a:pt x="1247592" y="4458864"/>
                  <a:pt x="1252382" y="4454074"/>
                  <a:pt x="1258329" y="4454074"/>
                </a:cubicBezTo>
                <a:close/>
                <a:moveTo>
                  <a:pt x="2017667" y="4452421"/>
                </a:moveTo>
                <a:cubicBezTo>
                  <a:pt x="2023613" y="4452421"/>
                  <a:pt x="2028405" y="4457211"/>
                  <a:pt x="2028405" y="4463158"/>
                </a:cubicBezTo>
                <a:cubicBezTo>
                  <a:pt x="2028405" y="4469104"/>
                  <a:pt x="2023613" y="4473894"/>
                  <a:pt x="2017667" y="4473894"/>
                </a:cubicBezTo>
                <a:cubicBezTo>
                  <a:pt x="2011720" y="4473894"/>
                  <a:pt x="2006931" y="4469104"/>
                  <a:pt x="2006931" y="4463158"/>
                </a:cubicBezTo>
                <a:cubicBezTo>
                  <a:pt x="2006931" y="4457211"/>
                  <a:pt x="2011720" y="4452421"/>
                  <a:pt x="2017667" y="4452421"/>
                </a:cubicBezTo>
                <a:close/>
                <a:moveTo>
                  <a:pt x="1288061" y="4452256"/>
                </a:moveTo>
                <a:cubicBezTo>
                  <a:pt x="1294008" y="4452256"/>
                  <a:pt x="1298800" y="4457046"/>
                  <a:pt x="1298800" y="4462993"/>
                </a:cubicBezTo>
                <a:lnTo>
                  <a:pt x="1289797" y="4471995"/>
                </a:lnTo>
                <a:lnTo>
                  <a:pt x="1298305" y="4480501"/>
                </a:lnTo>
                <a:lnTo>
                  <a:pt x="1291448" y="4487358"/>
                </a:lnTo>
                <a:lnTo>
                  <a:pt x="1298139" y="4494047"/>
                </a:lnTo>
                <a:lnTo>
                  <a:pt x="1289960" y="4502224"/>
                </a:lnTo>
                <a:lnTo>
                  <a:pt x="1297312" y="4509575"/>
                </a:lnTo>
                <a:cubicBezTo>
                  <a:pt x="1297312" y="4515521"/>
                  <a:pt x="1292522" y="4520311"/>
                  <a:pt x="1286575" y="4520311"/>
                </a:cubicBezTo>
                <a:cubicBezTo>
                  <a:pt x="1280629" y="4520311"/>
                  <a:pt x="1275839" y="4515521"/>
                  <a:pt x="1275839" y="4509575"/>
                </a:cubicBezTo>
                <a:lnTo>
                  <a:pt x="1284016" y="4501398"/>
                </a:lnTo>
                <a:lnTo>
                  <a:pt x="1276664" y="4494047"/>
                </a:lnTo>
                <a:lnTo>
                  <a:pt x="1283521" y="4487192"/>
                </a:lnTo>
                <a:lnTo>
                  <a:pt x="1276831" y="4480501"/>
                </a:lnTo>
                <a:lnTo>
                  <a:pt x="1285833" y="4471501"/>
                </a:lnTo>
                <a:lnTo>
                  <a:pt x="1277325" y="4462993"/>
                </a:lnTo>
                <a:cubicBezTo>
                  <a:pt x="1277325" y="4457046"/>
                  <a:pt x="1282115" y="4452256"/>
                  <a:pt x="1288061" y="4452256"/>
                </a:cubicBezTo>
                <a:close/>
                <a:moveTo>
                  <a:pt x="898400" y="4451100"/>
                </a:moveTo>
                <a:cubicBezTo>
                  <a:pt x="898674" y="4451100"/>
                  <a:pt x="898894" y="4451322"/>
                  <a:pt x="898894" y="4451596"/>
                </a:cubicBezTo>
                <a:cubicBezTo>
                  <a:pt x="898894" y="4451870"/>
                  <a:pt x="898674" y="4452090"/>
                  <a:pt x="898400" y="4452090"/>
                </a:cubicBezTo>
                <a:cubicBezTo>
                  <a:pt x="898126" y="4452090"/>
                  <a:pt x="897904" y="4451870"/>
                  <a:pt x="897904" y="4451596"/>
                </a:cubicBezTo>
                <a:cubicBezTo>
                  <a:pt x="897904" y="4451322"/>
                  <a:pt x="898126" y="4451100"/>
                  <a:pt x="898400" y="4451100"/>
                </a:cubicBezTo>
                <a:close/>
                <a:moveTo>
                  <a:pt x="2160054" y="4450439"/>
                </a:moveTo>
                <a:cubicBezTo>
                  <a:pt x="2166001" y="4450439"/>
                  <a:pt x="2170792" y="4455229"/>
                  <a:pt x="2170792" y="4461175"/>
                </a:cubicBezTo>
                <a:cubicBezTo>
                  <a:pt x="2170792" y="4467122"/>
                  <a:pt x="2166001" y="4471912"/>
                  <a:pt x="2160054" y="4471912"/>
                </a:cubicBezTo>
                <a:cubicBezTo>
                  <a:pt x="2154108" y="4471912"/>
                  <a:pt x="2149318" y="4467122"/>
                  <a:pt x="2149318" y="4461175"/>
                </a:cubicBezTo>
                <a:cubicBezTo>
                  <a:pt x="2149318" y="4455229"/>
                  <a:pt x="2154108" y="4450439"/>
                  <a:pt x="2160054" y="4450439"/>
                </a:cubicBezTo>
                <a:close/>
                <a:moveTo>
                  <a:pt x="2708787" y="4450109"/>
                </a:moveTo>
                <a:cubicBezTo>
                  <a:pt x="2709613" y="4450109"/>
                  <a:pt x="2710438" y="4450935"/>
                  <a:pt x="2710438" y="4451762"/>
                </a:cubicBezTo>
                <a:cubicBezTo>
                  <a:pt x="2710438" y="4452588"/>
                  <a:pt x="2709777" y="4453413"/>
                  <a:pt x="2708787" y="4453413"/>
                </a:cubicBezTo>
                <a:cubicBezTo>
                  <a:pt x="2707960" y="4453413"/>
                  <a:pt x="2707134" y="4452588"/>
                  <a:pt x="2707134" y="4451762"/>
                </a:cubicBezTo>
                <a:cubicBezTo>
                  <a:pt x="2707134" y="4450935"/>
                  <a:pt x="2707960" y="4450109"/>
                  <a:pt x="2708787" y="4450109"/>
                </a:cubicBezTo>
                <a:close/>
                <a:moveTo>
                  <a:pt x="1319941" y="4449284"/>
                </a:moveTo>
                <a:cubicBezTo>
                  <a:pt x="1325888" y="4449284"/>
                  <a:pt x="1330679" y="4454074"/>
                  <a:pt x="1330679" y="4460020"/>
                </a:cubicBezTo>
                <a:cubicBezTo>
                  <a:pt x="1330679" y="4465967"/>
                  <a:pt x="1325888" y="4470757"/>
                  <a:pt x="1319941" y="4470757"/>
                </a:cubicBezTo>
                <a:cubicBezTo>
                  <a:pt x="1313995" y="4470757"/>
                  <a:pt x="1309205" y="4465967"/>
                  <a:pt x="1309205" y="4460020"/>
                </a:cubicBezTo>
                <a:cubicBezTo>
                  <a:pt x="1309205" y="4454074"/>
                  <a:pt x="1313995" y="4449284"/>
                  <a:pt x="1319941" y="4449284"/>
                </a:cubicBezTo>
                <a:close/>
                <a:moveTo>
                  <a:pt x="2633298" y="4448457"/>
                </a:moveTo>
                <a:cubicBezTo>
                  <a:pt x="2639245" y="4448457"/>
                  <a:pt x="2644036" y="4453247"/>
                  <a:pt x="2644036" y="4459193"/>
                </a:cubicBezTo>
                <a:cubicBezTo>
                  <a:pt x="2644036" y="4465140"/>
                  <a:pt x="2639245" y="4469931"/>
                  <a:pt x="2633298" y="4469931"/>
                </a:cubicBezTo>
                <a:cubicBezTo>
                  <a:pt x="2627351" y="4469931"/>
                  <a:pt x="2622562" y="4465140"/>
                  <a:pt x="2622562" y="4459193"/>
                </a:cubicBezTo>
                <a:cubicBezTo>
                  <a:pt x="2622562" y="4453247"/>
                  <a:pt x="2627351" y="4448457"/>
                  <a:pt x="2633298" y="4448457"/>
                </a:cubicBezTo>
                <a:close/>
                <a:moveTo>
                  <a:pt x="1494539" y="4448457"/>
                </a:moveTo>
                <a:cubicBezTo>
                  <a:pt x="1500485" y="4448457"/>
                  <a:pt x="1505277" y="4453247"/>
                  <a:pt x="1505277" y="4459193"/>
                </a:cubicBezTo>
                <a:cubicBezTo>
                  <a:pt x="1505277" y="4465140"/>
                  <a:pt x="1500485" y="4469931"/>
                  <a:pt x="1494539" y="4469931"/>
                </a:cubicBezTo>
                <a:cubicBezTo>
                  <a:pt x="1488592" y="4469931"/>
                  <a:pt x="1483803" y="4465140"/>
                  <a:pt x="1483803" y="4459193"/>
                </a:cubicBezTo>
                <a:cubicBezTo>
                  <a:pt x="1483803" y="4453247"/>
                  <a:pt x="1488592" y="4448457"/>
                  <a:pt x="1494539" y="4448457"/>
                </a:cubicBezTo>
                <a:close/>
                <a:moveTo>
                  <a:pt x="1755029" y="4446475"/>
                </a:moveTo>
                <a:cubicBezTo>
                  <a:pt x="1760976" y="4446475"/>
                  <a:pt x="1765766" y="4451264"/>
                  <a:pt x="1765766" y="4457211"/>
                </a:cubicBezTo>
                <a:cubicBezTo>
                  <a:pt x="1765766" y="4463158"/>
                  <a:pt x="1760976" y="4467949"/>
                  <a:pt x="1755029" y="4467949"/>
                </a:cubicBezTo>
                <a:cubicBezTo>
                  <a:pt x="1749083" y="4467949"/>
                  <a:pt x="1744293" y="4463158"/>
                  <a:pt x="1744293" y="4457211"/>
                </a:cubicBezTo>
                <a:cubicBezTo>
                  <a:pt x="1744293" y="4451264"/>
                  <a:pt x="1749083" y="4446475"/>
                  <a:pt x="1755029" y="4446475"/>
                </a:cubicBezTo>
                <a:close/>
                <a:moveTo>
                  <a:pt x="2399566" y="4445979"/>
                </a:moveTo>
                <a:cubicBezTo>
                  <a:pt x="2405513" y="4445979"/>
                  <a:pt x="2410304" y="4450768"/>
                  <a:pt x="2410304" y="4456715"/>
                </a:cubicBezTo>
                <a:cubicBezTo>
                  <a:pt x="2410304" y="4462662"/>
                  <a:pt x="2405513" y="4467453"/>
                  <a:pt x="2399566" y="4467453"/>
                </a:cubicBezTo>
                <a:cubicBezTo>
                  <a:pt x="2393620" y="4467453"/>
                  <a:pt x="2388830" y="4462662"/>
                  <a:pt x="2388830" y="4456715"/>
                </a:cubicBezTo>
                <a:cubicBezTo>
                  <a:pt x="2388830" y="4450768"/>
                  <a:pt x="2393620" y="4445979"/>
                  <a:pt x="2399566" y="4445979"/>
                </a:cubicBezTo>
                <a:close/>
                <a:moveTo>
                  <a:pt x="2375119" y="4445979"/>
                </a:moveTo>
                <a:cubicBezTo>
                  <a:pt x="2381066" y="4445979"/>
                  <a:pt x="2385857" y="4450768"/>
                  <a:pt x="2385857" y="4456715"/>
                </a:cubicBezTo>
                <a:cubicBezTo>
                  <a:pt x="2385857" y="4462662"/>
                  <a:pt x="2381066" y="4467453"/>
                  <a:pt x="2375119" y="4467453"/>
                </a:cubicBezTo>
                <a:cubicBezTo>
                  <a:pt x="2369173" y="4467453"/>
                  <a:pt x="2364383" y="4462662"/>
                  <a:pt x="2364383" y="4456715"/>
                </a:cubicBezTo>
                <a:cubicBezTo>
                  <a:pt x="2364383" y="4450768"/>
                  <a:pt x="2369173" y="4445979"/>
                  <a:pt x="2375119" y="4445979"/>
                </a:cubicBezTo>
                <a:close/>
                <a:moveTo>
                  <a:pt x="2422362" y="4445649"/>
                </a:moveTo>
                <a:cubicBezTo>
                  <a:pt x="2428309" y="4445649"/>
                  <a:pt x="2433100" y="4450439"/>
                  <a:pt x="2433100" y="4456386"/>
                </a:cubicBezTo>
                <a:cubicBezTo>
                  <a:pt x="2433100" y="4462332"/>
                  <a:pt x="2428309" y="4467122"/>
                  <a:pt x="2422362" y="4467122"/>
                </a:cubicBezTo>
                <a:cubicBezTo>
                  <a:pt x="2416415" y="4467122"/>
                  <a:pt x="2411626" y="4462332"/>
                  <a:pt x="2411626" y="4456386"/>
                </a:cubicBezTo>
                <a:cubicBezTo>
                  <a:pt x="2411626" y="4450439"/>
                  <a:pt x="2416415" y="4445649"/>
                  <a:pt x="2422362" y="4445649"/>
                </a:cubicBezTo>
                <a:close/>
                <a:moveTo>
                  <a:pt x="1863553" y="4445649"/>
                </a:moveTo>
                <a:cubicBezTo>
                  <a:pt x="1869500" y="4445649"/>
                  <a:pt x="1874291" y="4450439"/>
                  <a:pt x="1874291" y="4456386"/>
                </a:cubicBezTo>
                <a:cubicBezTo>
                  <a:pt x="1874291" y="4462332"/>
                  <a:pt x="1869500" y="4467122"/>
                  <a:pt x="1863553" y="4467122"/>
                </a:cubicBezTo>
                <a:cubicBezTo>
                  <a:pt x="1857607" y="4467122"/>
                  <a:pt x="1852817" y="4462332"/>
                  <a:pt x="1852817" y="4456386"/>
                </a:cubicBezTo>
                <a:cubicBezTo>
                  <a:pt x="1852817" y="4450439"/>
                  <a:pt x="1857607" y="4445649"/>
                  <a:pt x="1863553" y="4445649"/>
                </a:cubicBezTo>
                <a:close/>
                <a:moveTo>
                  <a:pt x="2443837" y="4445484"/>
                </a:moveTo>
                <a:lnTo>
                  <a:pt x="2453995" y="4455642"/>
                </a:lnTo>
                <a:lnTo>
                  <a:pt x="2464152" y="4445484"/>
                </a:lnTo>
                <a:lnTo>
                  <a:pt x="2474230" y="4455560"/>
                </a:lnTo>
                <a:lnTo>
                  <a:pt x="2483645" y="4446145"/>
                </a:lnTo>
                <a:lnTo>
                  <a:pt x="2493473" y="4455975"/>
                </a:lnTo>
                <a:lnTo>
                  <a:pt x="2502145" y="4447302"/>
                </a:lnTo>
                <a:lnTo>
                  <a:pt x="2512221" y="4457377"/>
                </a:lnTo>
                <a:lnTo>
                  <a:pt x="2519985" y="4449614"/>
                </a:lnTo>
                <a:lnTo>
                  <a:pt x="2530391" y="4460019"/>
                </a:lnTo>
                <a:lnTo>
                  <a:pt x="2537328" y="4453082"/>
                </a:lnTo>
                <a:cubicBezTo>
                  <a:pt x="2543275" y="4453082"/>
                  <a:pt x="2548065" y="4457872"/>
                  <a:pt x="2548065" y="4463818"/>
                </a:cubicBezTo>
                <a:cubicBezTo>
                  <a:pt x="2548065" y="4469765"/>
                  <a:pt x="2543275" y="4474556"/>
                  <a:pt x="2537328" y="4474556"/>
                </a:cubicBezTo>
                <a:lnTo>
                  <a:pt x="2526923" y="4464149"/>
                </a:lnTo>
                <a:lnTo>
                  <a:pt x="2519985" y="4471088"/>
                </a:lnTo>
                <a:lnTo>
                  <a:pt x="2509909" y="4461012"/>
                </a:lnTo>
                <a:lnTo>
                  <a:pt x="2502145" y="4468775"/>
                </a:lnTo>
                <a:lnTo>
                  <a:pt x="2492317" y="4458947"/>
                </a:lnTo>
                <a:lnTo>
                  <a:pt x="2483645" y="4467618"/>
                </a:lnTo>
                <a:lnTo>
                  <a:pt x="2473569" y="4457542"/>
                </a:lnTo>
                <a:lnTo>
                  <a:pt x="2464152" y="4466959"/>
                </a:lnTo>
                <a:lnTo>
                  <a:pt x="2453995" y="4456800"/>
                </a:lnTo>
                <a:lnTo>
                  <a:pt x="2443837" y="4466959"/>
                </a:lnTo>
                <a:cubicBezTo>
                  <a:pt x="2437890" y="4466959"/>
                  <a:pt x="2433100" y="4462167"/>
                  <a:pt x="2433100" y="4456221"/>
                </a:cubicBezTo>
                <a:cubicBezTo>
                  <a:pt x="2433100" y="4450274"/>
                  <a:pt x="2437890" y="4445484"/>
                  <a:pt x="2443837" y="4445484"/>
                </a:cubicBezTo>
                <a:close/>
                <a:moveTo>
                  <a:pt x="2349186" y="4445484"/>
                </a:moveTo>
                <a:cubicBezTo>
                  <a:pt x="2355133" y="4445484"/>
                  <a:pt x="2359923" y="4450274"/>
                  <a:pt x="2359923" y="4456221"/>
                </a:cubicBezTo>
                <a:cubicBezTo>
                  <a:pt x="2359923" y="4462167"/>
                  <a:pt x="2355133" y="4466959"/>
                  <a:pt x="2349186" y="4466959"/>
                </a:cubicBezTo>
                <a:cubicBezTo>
                  <a:pt x="2343240" y="4466959"/>
                  <a:pt x="2338450" y="4462167"/>
                  <a:pt x="2338450" y="4456221"/>
                </a:cubicBezTo>
                <a:cubicBezTo>
                  <a:pt x="2338450" y="4450274"/>
                  <a:pt x="2343240" y="4445484"/>
                  <a:pt x="2349186" y="4445484"/>
                </a:cubicBezTo>
                <a:close/>
                <a:moveTo>
                  <a:pt x="1354465" y="4444492"/>
                </a:moveTo>
                <a:cubicBezTo>
                  <a:pt x="1360412" y="4444492"/>
                  <a:pt x="1365202" y="4449282"/>
                  <a:pt x="1365202" y="4455229"/>
                </a:cubicBezTo>
                <a:cubicBezTo>
                  <a:pt x="1365202" y="4461175"/>
                  <a:pt x="1360412" y="4465965"/>
                  <a:pt x="1354465" y="4465965"/>
                </a:cubicBezTo>
                <a:cubicBezTo>
                  <a:pt x="1348519" y="4465965"/>
                  <a:pt x="1343729" y="4461175"/>
                  <a:pt x="1343729" y="4455229"/>
                </a:cubicBezTo>
                <a:cubicBezTo>
                  <a:pt x="1343729" y="4449282"/>
                  <a:pt x="1348519" y="4444492"/>
                  <a:pt x="1354465" y="4444492"/>
                </a:cubicBezTo>
                <a:close/>
                <a:moveTo>
                  <a:pt x="2321106" y="4443998"/>
                </a:moveTo>
                <a:cubicBezTo>
                  <a:pt x="2327053" y="4443998"/>
                  <a:pt x="2331845" y="4448788"/>
                  <a:pt x="2331845" y="4454735"/>
                </a:cubicBezTo>
                <a:cubicBezTo>
                  <a:pt x="2331845" y="4460681"/>
                  <a:pt x="2327053" y="4465471"/>
                  <a:pt x="2321106" y="4465471"/>
                </a:cubicBezTo>
                <a:cubicBezTo>
                  <a:pt x="2315160" y="4465471"/>
                  <a:pt x="2310370" y="4460681"/>
                  <a:pt x="2310370" y="4454735"/>
                </a:cubicBezTo>
                <a:cubicBezTo>
                  <a:pt x="2310370" y="4448788"/>
                  <a:pt x="2315160" y="4443998"/>
                  <a:pt x="2321106" y="4443998"/>
                </a:cubicBezTo>
                <a:close/>
                <a:moveTo>
                  <a:pt x="1646671" y="4443832"/>
                </a:moveTo>
                <a:cubicBezTo>
                  <a:pt x="1652617" y="4443832"/>
                  <a:pt x="1657409" y="4448622"/>
                  <a:pt x="1657409" y="4454568"/>
                </a:cubicBezTo>
                <a:cubicBezTo>
                  <a:pt x="1657409" y="4460515"/>
                  <a:pt x="1652617" y="4465306"/>
                  <a:pt x="1646671" y="4465306"/>
                </a:cubicBezTo>
                <a:cubicBezTo>
                  <a:pt x="1640724" y="4465306"/>
                  <a:pt x="1635934" y="4460515"/>
                  <a:pt x="1635934" y="4454568"/>
                </a:cubicBezTo>
                <a:cubicBezTo>
                  <a:pt x="1635934" y="4448622"/>
                  <a:pt x="1640724" y="4443832"/>
                  <a:pt x="1646671" y="4443832"/>
                </a:cubicBezTo>
                <a:close/>
                <a:moveTo>
                  <a:pt x="2121236" y="4443006"/>
                </a:moveTo>
                <a:cubicBezTo>
                  <a:pt x="2127182" y="4443006"/>
                  <a:pt x="2131974" y="4447796"/>
                  <a:pt x="2131974" y="4453743"/>
                </a:cubicBezTo>
                <a:cubicBezTo>
                  <a:pt x="2131974" y="4459689"/>
                  <a:pt x="2127182" y="4464479"/>
                  <a:pt x="2121236" y="4464479"/>
                </a:cubicBezTo>
                <a:cubicBezTo>
                  <a:pt x="2115289" y="4464479"/>
                  <a:pt x="2110500" y="4459689"/>
                  <a:pt x="2110500" y="4453743"/>
                </a:cubicBezTo>
                <a:cubicBezTo>
                  <a:pt x="2110500" y="4447796"/>
                  <a:pt x="2115289" y="4443006"/>
                  <a:pt x="2121236" y="4443006"/>
                </a:cubicBezTo>
                <a:close/>
                <a:moveTo>
                  <a:pt x="2291043" y="4441189"/>
                </a:moveTo>
                <a:cubicBezTo>
                  <a:pt x="2296989" y="4441189"/>
                  <a:pt x="2301780" y="4445979"/>
                  <a:pt x="2301780" y="4451925"/>
                </a:cubicBezTo>
                <a:lnTo>
                  <a:pt x="2291044" y="4462663"/>
                </a:lnTo>
                <a:lnTo>
                  <a:pt x="2300955" y="4472572"/>
                </a:lnTo>
                <a:lnTo>
                  <a:pt x="2293108" y="4480420"/>
                </a:lnTo>
                <a:lnTo>
                  <a:pt x="2299634" y="4486944"/>
                </a:lnTo>
                <a:lnTo>
                  <a:pt x="2292035" y="4494543"/>
                </a:lnTo>
                <a:lnTo>
                  <a:pt x="2298973" y="4501480"/>
                </a:lnTo>
                <a:lnTo>
                  <a:pt x="2289473" y="4510979"/>
                </a:lnTo>
                <a:lnTo>
                  <a:pt x="2299797" y="4521301"/>
                </a:lnTo>
                <a:cubicBezTo>
                  <a:pt x="2299797" y="4527248"/>
                  <a:pt x="2295007" y="4532038"/>
                  <a:pt x="2289060" y="4532038"/>
                </a:cubicBezTo>
                <a:cubicBezTo>
                  <a:pt x="2283114" y="4532038"/>
                  <a:pt x="2278324" y="4527248"/>
                  <a:pt x="2278324" y="4521301"/>
                </a:cubicBezTo>
                <a:lnTo>
                  <a:pt x="2287822" y="4511805"/>
                </a:lnTo>
                <a:lnTo>
                  <a:pt x="2277498" y="4501480"/>
                </a:lnTo>
                <a:lnTo>
                  <a:pt x="2285096" y="4493882"/>
                </a:lnTo>
                <a:lnTo>
                  <a:pt x="2278159" y="4486944"/>
                </a:lnTo>
                <a:lnTo>
                  <a:pt x="2286005" y="4479098"/>
                </a:lnTo>
                <a:lnTo>
                  <a:pt x="2279481" y="4472572"/>
                </a:lnTo>
                <a:lnTo>
                  <a:pt x="2290217" y="4461838"/>
                </a:lnTo>
                <a:lnTo>
                  <a:pt x="2280306" y="4451925"/>
                </a:lnTo>
                <a:cubicBezTo>
                  <a:pt x="2280306" y="4445979"/>
                  <a:pt x="2285096" y="4441189"/>
                  <a:pt x="2291043" y="4441189"/>
                </a:cubicBezTo>
                <a:close/>
                <a:moveTo>
                  <a:pt x="1971747" y="4441024"/>
                </a:moveTo>
                <a:cubicBezTo>
                  <a:pt x="1977694" y="4441024"/>
                  <a:pt x="1982485" y="4445814"/>
                  <a:pt x="1982485" y="4451760"/>
                </a:cubicBezTo>
                <a:cubicBezTo>
                  <a:pt x="1982485" y="4457707"/>
                  <a:pt x="1977694" y="4462497"/>
                  <a:pt x="1971747" y="4462497"/>
                </a:cubicBezTo>
                <a:cubicBezTo>
                  <a:pt x="1965801" y="4462497"/>
                  <a:pt x="1961011" y="4457707"/>
                  <a:pt x="1961011" y="4451760"/>
                </a:cubicBezTo>
                <a:cubicBezTo>
                  <a:pt x="1961011" y="4445814"/>
                  <a:pt x="1965801" y="4441024"/>
                  <a:pt x="1971747" y="4441024"/>
                </a:cubicBezTo>
                <a:close/>
                <a:moveTo>
                  <a:pt x="1146337" y="4437885"/>
                </a:moveTo>
                <a:cubicBezTo>
                  <a:pt x="1152283" y="4437885"/>
                  <a:pt x="1157075" y="4442675"/>
                  <a:pt x="1157075" y="4448622"/>
                </a:cubicBezTo>
                <a:cubicBezTo>
                  <a:pt x="1157075" y="4454568"/>
                  <a:pt x="1152283" y="4459358"/>
                  <a:pt x="1146337" y="4459358"/>
                </a:cubicBezTo>
                <a:cubicBezTo>
                  <a:pt x="1140390" y="4459358"/>
                  <a:pt x="1135600" y="4454568"/>
                  <a:pt x="1135600" y="4448622"/>
                </a:cubicBezTo>
                <a:cubicBezTo>
                  <a:pt x="1135600" y="4442675"/>
                  <a:pt x="1140390" y="4437885"/>
                  <a:pt x="1146337" y="4437885"/>
                </a:cubicBezTo>
                <a:close/>
                <a:moveTo>
                  <a:pt x="1538641" y="4437720"/>
                </a:moveTo>
                <a:cubicBezTo>
                  <a:pt x="1544588" y="4437720"/>
                  <a:pt x="1549379" y="4442510"/>
                  <a:pt x="1549379" y="4448457"/>
                </a:cubicBezTo>
                <a:cubicBezTo>
                  <a:pt x="1549379" y="4454403"/>
                  <a:pt x="1544588" y="4459195"/>
                  <a:pt x="1538641" y="4459195"/>
                </a:cubicBezTo>
                <a:cubicBezTo>
                  <a:pt x="1532695" y="4459195"/>
                  <a:pt x="1527905" y="4454403"/>
                  <a:pt x="1527905" y="4448457"/>
                </a:cubicBezTo>
                <a:cubicBezTo>
                  <a:pt x="1527905" y="4442510"/>
                  <a:pt x="1532695" y="4437720"/>
                  <a:pt x="1538641" y="4437720"/>
                </a:cubicBezTo>
                <a:close/>
                <a:moveTo>
                  <a:pt x="1123376" y="4437720"/>
                </a:moveTo>
                <a:cubicBezTo>
                  <a:pt x="1129323" y="4437720"/>
                  <a:pt x="1134114" y="4442510"/>
                  <a:pt x="1134114" y="4448457"/>
                </a:cubicBezTo>
                <a:cubicBezTo>
                  <a:pt x="1134114" y="4454403"/>
                  <a:pt x="1129323" y="4459195"/>
                  <a:pt x="1123376" y="4459195"/>
                </a:cubicBezTo>
                <a:cubicBezTo>
                  <a:pt x="1117430" y="4459195"/>
                  <a:pt x="1112640" y="4454403"/>
                  <a:pt x="1112640" y="4448457"/>
                </a:cubicBezTo>
                <a:cubicBezTo>
                  <a:pt x="1112640" y="4442510"/>
                  <a:pt x="1117430" y="4437720"/>
                  <a:pt x="1123376" y="4437720"/>
                </a:cubicBezTo>
                <a:close/>
                <a:moveTo>
                  <a:pt x="1391631" y="4437391"/>
                </a:moveTo>
                <a:cubicBezTo>
                  <a:pt x="1397577" y="4437391"/>
                  <a:pt x="1402367" y="4442181"/>
                  <a:pt x="1402367" y="4448127"/>
                </a:cubicBezTo>
                <a:cubicBezTo>
                  <a:pt x="1402367" y="4454074"/>
                  <a:pt x="1397577" y="4458864"/>
                  <a:pt x="1391631" y="4458864"/>
                </a:cubicBezTo>
                <a:cubicBezTo>
                  <a:pt x="1385684" y="4458864"/>
                  <a:pt x="1380894" y="4454074"/>
                  <a:pt x="1380894" y="4448127"/>
                </a:cubicBezTo>
                <a:cubicBezTo>
                  <a:pt x="1380894" y="4442181"/>
                  <a:pt x="1385684" y="4437391"/>
                  <a:pt x="1391631" y="4437391"/>
                </a:cubicBezTo>
                <a:close/>
                <a:moveTo>
                  <a:pt x="1170948" y="4437391"/>
                </a:moveTo>
                <a:cubicBezTo>
                  <a:pt x="1176895" y="4437391"/>
                  <a:pt x="1181685" y="4442181"/>
                  <a:pt x="1181685" y="4448127"/>
                </a:cubicBezTo>
                <a:cubicBezTo>
                  <a:pt x="1181685" y="4454074"/>
                  <a:pt x="1176895" y="4458864"/>
                  <a:pt x="1170948" y="4458864"/>
                </a:cubicBezTo>
                <a:cubicBezTo>
                  <a:pt x="1165002" y="4458864"/>
                  <a:pt x="1160212" y="4454074"/>
                  <a:pt x="1160212" y="4448127"/>
                </a:cubicBezTo>
                <a:cubicBezTo>
                  <a:pt x="1160212" y="4442181"/>
                  <a:pt x="1165002" y="4437391"/>
                  <a:pt x="1170948" y="4437391"/>
                </a:cubicBezTo>
                <a:close/>
                <a:moveTo>
                  <a:pt x="2258667" y="4436729"/>
                </a:moveTo>
                <a:cubicBezTo>
                  <a:pt x="2264614" y="4436729"/>
                  <a:pt x="2269405" y="4441518"/>
                  <a:pt x="2269405" y="4447465"/>
                </a:cubicBezTo>
                <a:cubicBezTo>
                  <a:pt x="2269405" y="4453411"/>
                  <a:pt x="2264614" y="4458201"/>
                  <a:pt x="2258667" y="4458201"/>
                </a:cubicBezTo>
                <a:cubicBezTo>
                  <a:pt x="2252720" y="4458201"/>
                  <a:pt x="2247931" y="4453411"/>
                  <a:pt x="2247931" y="4447465"/>
                </a:cubicBezTo>
                <a:cubicBezTo>
                  <a:pt x="2247931" y="4441518"/>
                  <a:pt x="2252720" y="4436729"/>
                  <a:pt x="2258667" y="4436729"/>
                </a:cubicBezTo>
                <a:close/>
                <a:moveTo>
                  <a:pt x="1197377" y="4436068"/>
                </a:moveTo>
                <a:cubicBezTo>
                  <a:pt x="1203324" y="4436068"/>
                  <a:pt x="1208115" y="4440858"/>
                  <a:pt x="1208115" y="4446804"/>
                </a:cubicBezTo>
                <a:cubicBezTo>
                  <a:pt x="1208115" y="4452751"/>
                  <a:pt x="1203324" y="4457542"/>
                  <a:pt x="1197377" y="4457542"/>
                </a:cubicBezTo>
                <a:cubicBezTo>
                  <a:pt x="1191431" y="4457542"/>
                  <a:pt x="1186641" y="4452751"/>
                  <a:pt x="1186641" y="4446804"/>
                </a:cubicBezTo>
                <a:cubicBezTo>
                  <a:pt x="1186641" y="4440858"/>
                  <a:pt x="1191431" y="4436068"/>
                  <a:pt x="1197377" y="4436068"/>
                </a:cubicBezTo>
                <a:close/>
                <a:moveTo>
                  <a:pt x="1225953" y="4433591"/>
                </a:moveTo>
                <a:cubicBezTo>
                  <a:pt x="1231900" y="4433591"/>
                  <a:pt x="1236690" y="4438381"/>
                  <a:pt x="1236690" y="4444328"/>
                </a:cubicBezTo>
                <a:cubicBezTo>
                  <a:pt x="1236690" y="4450274"/>
                  <a:pt x="1231900" y="4455066"/>
                  <a:pt x="1225953" y="4455066"/>
                </a:cubicBezTo>
                <a:cubicBezTo>
                  <a:pt x="1220007" y="4455066"/>
                  <a:pt x="1215217" y="4450274"/>
                  <a:pt x="1215217" y="4444328"/>
                </a:cubicBezTo>
                <a:cubicBezTo>
                  <a:pt x="1215217" y="4438381"/>
                  <a:pt x="1220007" y="4433591"/>
                  <a:pt x="1225953" y="4433591"/>
                </a:cubicBezTo>
                <a:close/>
                <a:moveTo>
                  <a:pt x="2079281" y="4432766"/>
                </a:moveTo>
                <a:cubicBezTo>
                  <a:pt x="2085227" y="4432766"/>
                  <a:pt x="2090019" y="4437556"/>
                  <a:pt x="2090019" y="4443502"/>
                </a:cubicBezTo>
                <a:cubicBezTo>
                  <a:pt x="2090019" y="4449449"/>
                  <a:pt x="2085227" y="4454239"/>
                  <a:pt x="2079281" y="4454239"/>
                </a:cubicBezTo>
                <a:cubicBezTo>
                  <a:pt x="2073334" y="4454239"/>
                  <a:pt x="2068544" y="4449449"/>
                  <a:pt x="2068544" y="4443502"/>
                </a:cubicBezTo>
                <a:cubicBezTo>
                  <a:pt x="2068544" y="4437556"/>
                  <a:pt x="2073334" y="4432766"/>
                  <a:pt x="2079281" y="4432766"/>
                </a:cubicBezTo>
                <a:close/>
                <a:moveTo>
                  <a:pt x="2223484" y="4430288"/>
                </a:moveTo>
                <a:cubicBezTo>
                  <a:pt x="2229430" y="4430288"/>
                  <a:pt x="2234220" y="4435078"/>
                  <a:pt x="2234220" y="4441024"/>
                </a:cubicBezTo>
                <a:cubicBezTo>
                  <a:pt x="2234220" y="4446971"/>
                  <a:pt x="2229430" y="4451760"/>
                  <a:pt x="2223484" y="4451760"/>
                </a:cubicBezTo>
                <a:cubicBezTo>
                  <a:pt x="2217537" y="4451760"/>
                  <a:pt x="2212747" y="4446971"/>
                  <a:pt x="2212747" y="4441024"/>
                </a:cubicBezTo>
                <a:cubicBezTo>
                  <a:pt x="2212747" y="4435078"/>
                  <a:pt x="2217537" y="4430288"/>
                  <a:pt x="2223484" y="4430288"/>
                </a:cubicBezTo>
                <a:close/>
                <a:moveTo>
                  <a:pt x="1053423" y="4430204"/>
                </a:moveTo>
                <a:lnTo>
                  <a:pt x="1044667" y="4438960"/>
                </a:lnTo>
                <a:lnTo>
                  <a:pt x="1052595" y="4446889"/>
                </a:lnTo>
                <a:lnTo>
                  <a:pt x="1061351" y="4438133"/>
                </a:lnTo>
                <a:close/>
                <a:moveTo>
                  <a:pt x="1256678" y="4429461"/>
                </a:moveTo>
                <a:cubicBezTo>
                  <a:pt x="1262624" y="4429461"/>
                  <a:pt x="1267414" y="4434250"/>
                  <a:pt x="1267414" y="4440197"/>
                </a:cubicBezTo>
                <a:cubicBezTo>
                  <a:pt x="1267414" y="4446143"/>
                  <a:pt x="1262624" y="4450935"/>
                  <a:pt x="1256678" y="4450935"/>
                </a:cubicBezTo>
                <a:cubicBezTo>
                  <a:pt x="1250731" y="4450935"/>
                  <a:pt x="1245942" y="4446143"/>
                  <a:pt x="1245942" y="4440197"/>
                </a:cubicBezTo>
                <a:cubicBezTo>
                  <a:pt x="1245942" y="4434250"/>
                  <a:pt x="1250731" y="4429461"/>
                  <a:pt x="1256678" y="4429461"/>
                </a:cubicBezTo>
                <a:close/>
                <a:moveTo>
                  <a:pt x="1810366" y="4429131"/>
                </a:moveTo>
                <a:cubicBezTo>
                  <a:pt x="1816312" y="4429131"/>
                  <a:pt x="1821104" y="4433921"/>
                  <a:pt x="1821104" y="4439867"/>
                </a:cubicBezTo>
                <a:cubicBezTo>
                  <a:pt x="1821104" y="4445814"/>
                  <a:pt x="1816312" y="4450604"/>
                  <a:pt x="1810366" y="4450604"/>
                </a:cubicBezTo>
                <a:cubicBezTo>
                  <a:pt x="1804419" y="4450604"/>
                  <a:pt x="1799629" y="4445814"/>
                  <a:pt x="1799629" y="4439867"/>
                </a:cubicBezTo>
                <a:cubicBezTo>
                  <a:pt x="1799629" y="4433921"/>
                  <a:pt x="1804419" y="4429131"/>
                  <a:pt x="1810366" y="4429131"/>
                </a:cubicBezTo>
                <a:close/>
                <a:moveTo>
                  <a:pt x="1698042" y="4428306"/>
                </a:moveTo>
                <a:cubicBezTo>
                  <a:pt x="1703989" y="4428306"/>
                  <a:pt x="1708780" y="4433095"/>
                  <a:pt x="1708780" y="4439042"/>
                </a:cubicBezTo>
                <a:cubicBezTo>
                  <a:pt x="1708780" y="4444988"/>
                  <a:pt x="1703989" y="4449780"/>
                  <a:pt x="1698042" y="4449780"/>
                </a:cubicBezTo>
                <a:cubicBezTo>
                  <a:pt x="1692096" y="4449780"/>
                  <a:pt x="1687306" y="4444988"/>
                  <a:pt x="1687306" y="4439042"/>
                </a:cubicBezTo>
                <a:cubicBezTo>
                  <a:pt x="1687306" y="4433095"/>
                  <a:pt x="1692096" y="4428306"/>
                  <a:pt x="1698042" y="4428306"/>
                </a:cubicBezTo>
                <a:close/>
                <a:moveTo>
                  <a:pt x="2458702" y="4427974"/>
                </a:moveTo>
                <a:cubicBezTo>
                  <a:pt x="2464649" y="4427974"/>
                  <a:pt x="2469440" y="4432764"/>
                  <a:pt x="2469440" y="4438711"/>
                </a:cubicBezTo>
                <a:cubicBezTo>
                  <a:pt x="2469440" y="4444657"/>
                  <a:pt x="2464649" y="4449447"/>
                  <a:pt x="2458702" y="4449447"/>
                </a:cubicBezTo>
                <a:cubicBezTo>
                  <a:pt x="2452755" y="4449447"/>
                  <a:pt x="2447966" y="4444657"/>
                  <a:pt x="2447966" y="4438711"/>
                </a:cubicBezTo>
                <a:cubicBezTo>
                  <a:pt x="2447966" y="4432764"/>
                  <a:pt x="2452755" y="4427974"/>
                  <a:pt x="2458702" y="4427974"/>
                </a:cubicBezTo>
                <a:close/>
                <a:moveTo>
                  <a:pt x="1431770" y="4427810"/>
                </a:moveTo>
                <a:cubicBezTo>
                  <a:pt x="1437717" y="4427810"/>
                  <a:pt x="1442508" y="4432599"/>
                  <a:pt x="1442508" y="4438546"/>
                </a:cubicBezTo>
                <a:cubicBezTo>
                  <a:pt x="1442508" y="4444492"/>
                  <a:pt x="1437717" y="4449284"/>
                  <a:pt x="1431770" y="4449284"/>
                </a:cubicBezTo>
                <a:cubicBezTo>
                  <a:pt x="1425824" y="4449284"/>
                  <a:pt x="1421034" y="4444492"/>
                  <a:pt x="1421034" y="4438546"/>
                </a:cubicBezTo>
                <a:cubicBezTo>
                  <a:pt x="1421034" y="4432599"/>
                  <a:pt x="1425824" y="4427810"/>
                  <a:pt x="1431770" y="4427810"/>
                </a:cubicBezTo>
                <a:close/>
                <a:moveTo>
                  <a:pt x="2435741" y="4427480"/>
                </a:moveTo>
                <a:cubicBezTo>
                  <a:pt x="2441688" y="4427480"/>
                  <a:pt x="2446479" y="4432270"/>
                  <a:pt x="2446479" y="4438216"/>
                </a:cubicBezTo>
                <a:cubicBezTo>
                  <a:pt x="2446479" y="4444163"/>
                  <a:pt x="2441688" y="4448953"/>
                  <a:pt x="2435741" y="4448953"/>
                </a:cubicBezTo>
                <a:cubicBezTo>
                  <a:pt x="2429795" y="4448953"/>
                  <a:pt x="2425005" y="4444163"/>
                  <a:pt x="2425005" y="4438216"/>
                </a:cubicBezTo>
                <a:cubicBezTo>
                  <a:pt x="2425005" y="4432270"/>
                  <a:pt x="2429795" y="4427480"/>
                  <a:pt x="2435741" y="4427480"/>
                </a:cubicBezTo>
                <a:close/>
                <a:moveTo>
                  <a:pt x="2410965" y="4426323"/>
                </a:moveTo>
                <a:cubicBezTo>
                  <a:pt x="2416912" y="4426323"/>
                  <a:pt x="2421703" y="4431113"/>
                  <a:pt x="2421703" y="4437060"/>
                </a:cubicBezTo>
                <a:cubicBezTo>
                  <a:pt x="2421703" y="4443006"/>
                  <a:pt x="2416912" y="4447798"/>
                  <a:pt x="2410965" y="4447798"/>
                </a:cubicBezTo>
                <a:cubicBezTo>
                  <a:pt x="2405018" y="4447798"/>
                  <a:pt x="2400229" y="4443006"/>
                  <a:pt x="2400229" y="4437060"/>
                </a:cubicBezTo>
                <a:cubicBezTo>
                  <a:pt x="2400229" y="4431113"/>
                  <a:pt x="2405018" y="4426323"/>
                  <a:pt x="2410965" y="4426323"/>
                </a:cubicBezTo>
                <a:close/>
                <a:moveTo>
                  <a:pt x="1922358" y="4426323"/>
                </a:moveTo>
                <a:cubicBezTo>
                  <a:pt x="1928304" y="4426323"/>
                  <a:pt x="1933096" y="4431113"/>
                  <a:pt x="1933096" y="4437060"/>
                </a:cubicBezTo>
                <a:cubicBezTo>
                  <a:pt x="1933096" y="4443006"/>
                  <a:pt x="1928304" y="4447798"/>
                  <a:pt x="1922358" y="4447798"/>
                </a:cubicBezTo>
                <a:cubicBezTo>
                  <a:pt x="1916411" y="4447798"/>
                  <a:pt x="1911621" y="4443006"/>
                  <a:pt x="1911621" y="4437060"/>
                </a:cubicBezTo>
                <a:cubicBezTo>
                  <a:pt x="1911621" y="4431113"/>
                  <a:pt x="1916411" y="4426323"/>
                  <a:pt x="1922358" y="4426323"/>
                </a:cubicBezTo>
                <a:close/>
                <a:moveTo>
                  <a:pt x="2384370" y="4424010"/>
                </a:moveTo>
                <a:cubicBezTo>
                  <a:pt x="2390316" y="4424010"/>
                  <a:pt x="2395107" y="4428800"/>
                  <a:pt x="2395107" y="4434746"/>
                </a:cubicBezTo>
                <a:cubicBezTo>
                  <a:pt x="2395107" y="4440693"/>
                  <a:pt x="2390316" y="4445483"/>
                  <a:pt x="2384370" y="4445483"/>
                </a:cubicBezTo>
                <a:cubicBezTo>
                  <a:pt x="2378423" y="4445483"/>
                  <a:pt x="2373633" y="4440693"/>
                  <a:pt x="2373633" y="4434746"/>
                </a:cubicBezTo>
                <a:cubicBezTo>
                  <a:pt x="2373633" y="4428800"/>
                  <a:pt x="2378423" y="4424010"/>
                  <a:pt x="2384370" y="4424010"/>
                </a:cubicBezTo>
                <a:close/>
                <a:moveTo>
                  <a:pt x="1586215" y="4423680"/>
                </a:moveTo>
                <a:cubicBezTo>
                  <a:pt x="1592162" y="4423680"/>
                  <a:pt x="1596953" y="4428470"/>
                  <a:pt x="1596953" y="4434417"/>
                </a:cubicBezTo>
                <a:cubicBezTo>
                  <a:pt x="1596953" y="4440363"/>
                  <a:pt x="1592162" y="4445155"/>
                  <a:pt x="1586215" y="4445155"/>
                </a:cubicBezTo>
                <a:cubicBezTo>
                  <a:pt x="1580269" y="4445155"/>
                  <a:pt x="1575479" y="4440363"/>
                  <a:pt x="1575479" y="4434417"/>
                </a:cubicBezTo>
                <a:cubicBezTo>
                  <a:pt x="1575479" y="4428470"/>
                  <a:pt x="1580269" y="4423680"/>
                  <a:pt x="1586215" y="4423680"/>
                </a:cubicBezTo>
                <a:close/>
                <a:moveTo>
                  <a:pt x="1290044" y="4423349"/>
                </a:moveTo>
                <a:cubicBezTo>
                  <a:pt x="1295990" y="4423349"/>
                  <a:pt x="1300782" y="4428139"/>
                  <a:pt x="1300782" y="4434086"/>
                </a:cubicBezTo>
                <a:cubicBezTo>
                  <a:pt x="1300782" y="4440032"/>
                  <a:pt x="1295990" y="4444822"/>
                  <a:pt x="1290044" y="4444822"/>
                </a:cubicBezTo>
                <a:cubicBezTo>
                  <a:pt x="1284097" y="4444822"/>
                  <a:pt x="1279307" y="4440032"/>
                  <a:pt x="1279307" y="4434086"/>
                </a:cubicBezTo>
                <a:cubicBezTo>
                  <a:pt x="1279307" y="4428139"/>
                  <a:pt x="1284097" y="4423349"/>
                  <a:pt x="1290044" y="4423349"/>
                </a:cubicBezTo>
                <a:close/>
                <a:moveTo>
                  <a:pt x="2185493" y="4421202"/>
                </a:moveTo>
                <a:cubicBezTo>
                  <a:pt x="2191439" y="4421202"/>
                  <a:pt x="2196231" y="4425992"/>
                  <a:pt x="2196231" y="4431939"/>
                </a:cubicBezTo>
                <a:cubicBezTo>
                  <a:pt x="2196231" y="4437885"/>
                  <a:pt x="2191439" y="4442677"/>
                  <a:pt x="2185493" y="4442677"/>
                </a:cubicBezTo>
                <a:cubicBezTo>
                  <a:pt x="2179547" y="4442677"/>
                  <a:pt x="2174756" y="4437885"/>
                  <a:pt x="2174756" y="4431939"/>
                </a:cubicBezTo>
                <a:cubicBezTo>
                  <a:pt x="2174756" y="4425992"/>
                  <a:pt x="2179547" y="4421202"/>
                  <a:pt x="2185493" y="4421202"/>
                </a:cubicBezTo>
                <a:close/>
                <a:moveTo>
                  <a:pt x="2355464" y="4420210"/>
                </a:moveTo>
                <a:cubicBezTo>
                  <a:pt x="2361410" y="4420210"/>
                  <a:pt x="2366202" y="4425000"/>
                  <a:pt x="2366202" y="4430947"/>
                </a:cubicBezTo>
                <a:cubicBezTo>
                  <a:pt x="2366202" y="4436893"/>
                  <a:pt x="2361410" y="4441683"/>
                  <a:pt x="2355464" y="4441683"/>
                </a:cubicBezTo>
                <a:cubicBezTo>
                  <a:pt x="2349517" y="4441683"/>
                  <a:pt x="2344728" y="4436893"/>
                  <a:pt x="2344728" y="4430947"/>
                </a:cubicBezTo>
                <a:cubicBezTo>
                  <a:pt x="2344728" y="4425000"/>
                  <a:pt x="2349517" y="4420210"/>
                  <a:pt x="2355464" y="4420210"/>
                </a:cubicBezTo>
                <a:close/>
                <a:moveTo>
                  <a:pt x="2034020" y="4419550"/>
                </a:moveTo>
                <a:cubicBezTo>
                  <a:pt x="2039967" y="4419550"/>
                  <a:pt x="2044757" y="4424339"/>
                  <a:pt x="2044757" y="4430286"/>
                </a:cubicBezTo>
                <a:cubicBezTo>
                  <a:pt x="2044757" y="4436233"/>
                  <a:pt x="2039967" y="4441024"/>
                  <a:pt x="2034020" y="4441024"/>
                </a:cubicBezTo>
                <a:cubicBezTo>
                  <a:pt x="2028074" y="4441024"/>
                  <a:pt x="2023284" y="4436233"/>
                  <a:pt x="2023284" y="4430286"/>
                </a:cubicBezTo>
                <a:cubicBezTo>
                  <a:pt x="2023284" y="4424339"/>
                  <a:pt x="2028074" y="4419550"/>
                  <a:pt x="2034020" y="4419550"/>
                </a:cubicBezTo>
                <a:close/>
                <a:moveTo>
                  <a:pt x="850828" y="4419055"/>
                </a:moveTo>
                <a:cubicBezTo>
                  <a:pt x="855453" y="4419055"/>
                  <a:pt x="859252" y="4422855"/>
                  <a:pt x="859252" y="4427480"/>
                </a:cubicBezTo>
                <a:cubicBezTo>
                  <a:pt x="859252" y="4432105"/>
                  <a:pt x="855453" y="4435905"/>
                  <a:pt x="850828" y="4435905"/>
                </a:cubicBezTo>
                <a:cubicBezTo>
                  <a:pt x="846203" y="4435905"/>
                  <a:pt x="842403" y="4432105"/>
                  <a:pt x="842403" y="4427480"/>
                </a:cubicBezTo>
                <a:cubicBezTo>
                  <a:pt x="842403" y="4422855"/>
                  <a:pt x="846203" y="4419055"/>
                  <a:pt x="850828" y="4419055"/>
                </a:cubicBezTo>
                <a:close/>
                <a:moveTo>
                  <a:pt x="1085219" y="4418559"/>
                </a:moveTo>
                <a:cubicBezTo>
                  <a:pt x="1091165" y="4418559"/>
                  <a:pt x="1095957" y="4423349"/>
                  <a:pt x="1095957" y="4429296"/>
                </a:cubicBezTo>
                <a:cubicBezTo>
                  <a:pt x="1095957" y="4435242"/>
                  <a:pt x="1091165" y="4440034"/>
                  <a:pt x="1085219" y="4440034"/>
                </a:cubicBezTo>
                <a:cubicBezTo>
                  <a:pt x="1079272" y="4440034"/>
                  <a:pt x="1074482" y="4435242"/>
                  <a:pt x="1074482" y="4429296"/>
                </a:cubicBezTo>
                <a:cubicBezTo>
                  <a:pt x="1074482" y="4423349"/>
                  <a:pt x="1079272" y="4418559"/>
                  <a:pt x="1085219" y="4418559"/>
                </a:cubicBezTo>
                <a:close/>
                <a:moveTo>
                  <a:pt x="1006759" y="4418559"/>
                </a:moveTo>
                <a:lnTo>
                  <a:pt x="1015680" y="4427478"/>
                </a:lnTo>
                <a:lnTo>
                  <a:pt x="1024599" y="4418559"/>
                </a:lnTo>
                <a:lnTo>
                  <a:pt x="1034097" y="4428056"/>
                </a:lnTo>
                <a:lnTo>
                  <a:pt x="1043428" y="4418724"/>
                </a:lnTo>
                <a:lnTo>
                  <a:pt x="1053589" y="4428883"/>
                </a:lnTo>
                <a:lnTo>
                  <a:pt x="1063581" y="4418891"/>
                </a:lnTo>
                <a:cubicBezTo>
                  <a:pt x="1069528" y="4418891"/>
                  <a:pt x="1074318" y="4423680"/>
                  <a:pt x="1074318" y="4429627"/>
                </a:cubicBezTo>
                <a:lnTo>
                  <a:pt x="1064324" y="4439621"/>
                </a:lnTo>
                <a:lnTo>
                  <a:pt x="1071675" y="4446971"/>
                </a:lnTo>
                <a:lnTo>
                  <a:pt x="1081421" y="4437224"/>
                </a:lnTo>
                <a:lnTo>
                  <a:pt x="1091745" y="4447548"/>
                </a:lnTo>
                <a:lnTo>
                  <a:pt x="1101737" y="4437556"/>
                </a:lnTo>
                <a:cubicBezTo>
                  <a:pt x="1107683" y="4437556"/>
                  <a:pt x="1112475" y="4442346"/>
                  <a:pt x="1112475" y="4448292"/>
                </a:cubicBezTo>
                <a:cubicBezTo>
                  <a:pt x="1112475" y="4454239"/>
                  <a:pt x="1107683" y="4459030"/>
                  <a:pt x="1101737" y="4459030"/>
                </a:cubicBezTo>
                <a:lnTo>
                  <a:pt x="1091413" y="4448705"/>
                </a:lnTo>
                <a:lnTo>
                  <a:pt x="1081421" y="4458699"/>
                </a:lnTo>
                <a:lnTo>
                  <a:pt x="1071841" y="4449118"/>
                </a:lnTo>
                <a:lnTo>
                  <a:pt x="1062093" y="4458864"/>
                </a:lnTo>
                <a:lnTo>
                  <a:pt x="1053256" y="4450028"/>
                </a:lnTo>
                <a:lnTo>
                  <a:pt x="1043758" y="4459524"/>
                </a:lnTo>
                <a:lnTo>
                  <a:pt x="1035748" y="4451514"/>
                </a:lnTo>
                <a:lnTo>
                  <a:pt x="1026250" y="4461011"/>
                </a:lnTo>
                <a:lnTo>
                  <a:pt x="1018983" y="4453744"/>
                </a:lnTo>
                <a:lnTo>
                  <a:pt x="1009235" y="4463489"/>
                </a:lnTo>
                <a:lnTo>
                  <a:pt x="1002628" y="4456881"/>
                </a:lnTo>
                <a:lnTo>
                  <a:pt x="992553" y="4466959"/>
                </a:lnTo>
                <a:lnTo>
                  <a:pt x="986936" y="4461342"/>
                </a:lnTo>
                <a:lnTo>
                  <a:pt x="976364" y="4471912"/>
                </a:lnTo>
                <a:cubicBezTo>
                  <a:pt x="970417" y="4471912"/>
                  <a:pt x="965628" y="4467122"/>
                  <a:pt x="965628" y="4461175"/>
                </a:cubicBezTo>
                <a:cubicBezTo>
                  <a:pt x="965628" y="4455229"/>
                  <a:pt x="970417" y="4450439"/>
                  <a:pt x="976364" y="4450439"/>
                </a:cubicBezTo>
                <a:lnTo>
                  <a:pt x="981981" y="4456056"/>
                </a:lnTo>
                <a:lnTo>
                  <a:pt x="992553" y="4445484"/>
                </a:lnTo>
                <a:lnTo>
                  <a:pt x="999160" y="4452092"/>
                </a:lnTo>
                <a:lnTo>
                  <a:pt x="1009235" y="4442016"/>
                </a:lnTo>
                <a:lnTo>
                  <a:pt x="1016503" y="4449284"/>
                </a:lnTo>
                <a:lnTo>
                  <a:pt x="1026250" y="4439538"/>
                </a:lnTo>
                <a:lnTo>
                  <a:pt x="1034261" y="4447548"/>
                </a:lnTo>
                <a:lnTo>
                  <a:pt x="1042521" y="4439290"/>
                </a:lnTo>
                <a:lnTo>
                  <a:pt x="1033932" y="4430700"/>
                </a:lnTo>
                <a:lnTo>
                  <a:pt x="1024599" y="4440034"/>
                </a:lnTo>
                <a:lnTo>
                  <a:pt x="1015680" y="4431113"/>
                </a:lnTo>
                <a:lnTo>
                  <a:pt x="1006759" y="4440034"/>
                </a:lnTo>
                <a:lnTo>
                  <a:pt x="998418" y="4431691"/>
                </a:lnTo>
                <a:lnTo>
                  <a:pt x="989745" y="4440363"/>
                </a:lnTo>
                <a:lnTo>
                  <a:pt x="982064" y="4432683"/>
                </a:lnTo>
                <a:lnTo>
                  <a:pt x="973391" y="4441354"/>
                </a:lnTo>
                <a:lnTo>
                  <a:pt x="966538" y="4434500"/>
                </a:lnTo>
                <a:lnTo>
                  <a:pt x="957865" y="4443173"/>
                </a:lnTo>
                <a:lnTo>
                  <a:pt x="951671" y="4436976"/>
                </a:lnTo>
                <a:lnTo>
                  <a:pt x="942667" y="4445979"/>
                </a:lnTo>
                <a:lnTo>
                  <a:pt x="937216" y="4440528"/>
                </a:lnTo>
                <a:lnTo>
                  <a:pt x="927637" y="4450108"/>
                </a:lnTo>
                <a:lnTo>
                  <a:pt x="923013" y="4445484"/>
                </a:lnTo>
                <a:lnTo>
                  <a:pt x="913101" y="4455394"/>
                </a:lnTo>
                <a:cubicBezTo>
                  <a:pt x="907154" y="4455394"/>
                  <a:pt x="902364" y="4450604"/>
                  <a:pt x="902364" y="4444657"/>
                </a:cubicBezTo>
                <a:cubicBezTo>
                  <a:pt x="902364" y="4438711"/>
                  <a:pt x="907154" y="4433921"/>
                  <a:pt x="913101" y="4433921"/>
                </a:cubicBezTo>
                <a:lnTo>
                  <a:pt x="917726" y="4438546"/>
                </a:lnTo>
                <a:lnTo>
                  <a:pt x="927637" y="4428635"/>
                </a:lnTo>
                <a:lnTo>
                  <a:pt x="933087" y="4434086"/>
                </a:lnTo>
                <a:lnTo>
                  <a:pt x="942667" y="4424506"/>
                </a:lnTo>
                <a:lnTo>
                  <a:pt x="948863" y="4430700"/>
                </a:lnTo>
                <a:lnTo>
                  <a:pt x="957865" y="4421698"/>
                </a:lnTo>
                <a:lnTo>
                  <a:pt x="964721" y="4428554"/>
                </a:lnTo>
                <a:lnTo>
                  <a:pt x="973391" y="4419881"/>
                </a:lnTo>
                <a:lnTo>
                  <a:pt x="981074" y="4427562"/>
                </a:lnTo>
                <a:lnTo>
                  <a:pt x="989745" y="4418891"/>
                </a:lnTo>
                <a:lnTo>
                  <a:pt x="998086" y="4427232"/>
                </a:lnTo>
                <a:close/>
                <a:moveTo>
                  <a:pt x="1108511" y="4417403"/>
                </a:moveTo>
                <a:cubicBezTo>
                  <a:pt x="1114457" y="4417403"/>
                  <a:pt x="1119247" y="4422193"/>
                  <a:pt x="1119247" y="4428139"/>
                </a:cubicBezTo>
                <a:cubicBezTo>
                  <a:pt x="1119247" y="4434086"/>
                  <a:pt x="1114457" y="4438875"/>
                  <a:pt x="1108511" y="4438875"/>
                </a:cubicBezTo>
                <a:cubicBezTo>
                  <a:pt x="1102564" y="4438875"/>
                  <a:pt x="1097774" y="4434086"/>
                  <a:pt x="1097774" y="4428139"/>
                </a:cubicBezTo>
                <a:cubicBezTo>
                  <a:pt x="1097774" y="4422193"/>
                  <a:pt x="1102564" y="4417403"/>
                  <a:pt x="1108511" y="4417403"/>
                </a:cubicBezTo>
                <a:close/>
                <a:moveTo>
                  <a:pt x="1475047" y="4415256"/>
                </a:moveTo>
                <a:cubicBezTo>
                  <a:pt x="1480993" y="4415256"/>
                  <a:pt x="1485785" y="4420046"/>
                  <a:pt x="1485785" y="4425992"/>
                </a:cubicBezTo>
                <a:cubicBezTo>
                  <a:pt x="1485785" y="4431939"/>
                  <a:pt x="1480993" y="4436729"/>
                  <a:pt x="1475047" y="4436729"/>
                </a:cubicBezTo>
                <a:cubicBezTo>
                  <a:pt x="1469100" y="4436729"/>
                  <a:pt x="1464310" y="4431939"/>
                  <a:pt x="1464310" y="4425992"/>
                </a:cubicBezTo>
                <a:cubicBezTo>
                  <a:pt x="1464310" y="4420046"/>
                  <a:pt x="1469100" y="4415256"/>
                  <a:pt x="1475047" y="4415256"/>
                </a:cubicBezTo>
                <a:close/>
                <a:moveTo>
                  <a:pt x="1133452" y="4415256"/>
                </a:moveTo>
                <a:cubicBezTo>
                  <a:pt x="1139398" y="4415256"/>
                  <a:pt x="1144190" y="4420046"/>
                  <a:pt x="1144190" y="4425992"/>
                </a:cubicBezTo>
                <a:cubicBezTo>
                  <a:pt x="1144190" y="4431939"/>
                  <a:pt x="1139398" y="4436729"/>
                  <a:pt x="1133452" y="4436729"/>
                </a:cubicBezTo>
                <a:cubicBezTo>
                  <a:pt x="1127505" y="4436729"/>
                  <a:pt x="1122715" y="4431939"/>
                  <a:pt x="1122715" y="4425992"/>
                </a:cubicBezTo>
                <a:cubicBezTo>
                  <a:pt x="1122715" y="4420046"/>
                  <a:pt x="1127505" y="4415256"/>
                  <a:pt x="1133452" y="4415256"/>
                </a:cubicBezTo>
                <a:close/>
                <a:moveTo>
                  <a:pt x="1326054" y="4414595"/>
                </a:moveTo>
                <a:cubicBezTo>
                  <a:pt x="1332001" y="4414595"/>
                  <a:pt x="1336792" y="4419385"/>
                  <a:pt x="1336792" y="4425331"/>
                </a:cubicBezTo>
                <a:cubicBezTo>
                  <a:pt x="1336792" y="4431278"/>
                  <a:pt x="1332001" y="4436068"/>
                  <a:pt x="1326054" y="4436068"/>
                </a:cubicBezTo>
                <a:cubicBezTo>
                  <a:pt x="1320108" y="4436068"/>
                  <a:pt x="1315318" y="4431278"/>
                  <a:pt x="1315318" y="4425331"/>
                </a:cubicBezTo>
                <a:cubicBezTo>
                  <a:pt x="1315318" y="4419385"/>
                  <a:pt x="1320108" y="4414595"/>
                  <a:pt x="1326054" y="4414595"/>
                </a:cubicBezTo>
                <a:close/>
                <a:moveTo>
                  <a:pt x="2324244" y="4414430"/>
                </a:moveTo>
                <a:cubicBezTo>
                  <a:pt x="2330190" y="4414430"/>
                  <a:pt x="2334982" y="4419220"/>
                  <a:pt x="2334982" y="4425167"/>
                </a:cubicBezTo>
                <a:cubicBezTo>
                  <a:pt x="2334982" y="4431113"/>
                  <a:pt x="2330190" y="4435905"/>
                  <a:pt x="2324244" y="4435905"/>
                </a:cubicBezTo>
                <a:cubicBezTo>
                  <a:pt x="2318297" y="4435905"/>
                  <a:pt x="2313507" y="4431113"/>
                  <a:pt x="2313507" y="4425167"/>
                </a:cubicBezTo>
                <a:cubicBezTo>
                  <a:pt x="2313507" y="4419220"/>
                  <a:pt x="2318297" y="4414430"/>
                  <a:pt x="2324244" y="4414430"/>
                </a:cubicBezTo>
                <a:close/>
                <a:moveTo>
                  <a:pt x="1160706" y="4411456"/>
                </a:moveTo>
                <a:cubicBezTo>
                  <a:pt x="1166653" y="4411456"/>
                  <a:pt x="1171444" y="4416246"/>
                  <a:pt x="1171444" y="4422193"/>
                </a:cubicBezTo>
                <a:cubicBezTo>
                  <a:pt x="1171444" y="4428139"/>
                  <a:pt x="1166653" y="4432929"/>
                  <a:pt x="1160706" y="4432929"/>
                </a:cubicBezTo>
                <a:cubicBezTo>
                  <a:pt x="1154760" y="4432929"/>
                  <a:pt x="1149970" y="4428139"/>
                  <a:pt x="1149970" y="4422193"/>
                </a:cubicBezTo>
                <a:cubicBezTo>
                  <a:pt x="1149970" y="4416246"/>
                  <a:pt x="1154760" y="4411456"/>
                  <a:pt x="1160706" y="4411456"/>
                </a:cubicBezTo>
                <a:close/>
                <a:moveTo>
                  <a:pt x="2144528" y="4409145"/>
                </a:moveTo>
                <a:cubicBezTo>
                  <a:pt x="2150475" y="4409145"/>
                  <a:pt x="2155264" y="4413934"/>
                  <a:pt x="2155264" y="4419881"/>
                </a:cubicBezTo>
                <a:cubicBezTo>
                  <a:pt x="2155264" y="4425827"/>
                  <a:pt x="2150475" y="4430617"/>
                  <a:pt x="2144528" y="4430617"/>
                </a:cubicBezTo>
                <a:cubicBezTo>
                  <a:pt x="2138581" y="4430617"/>
                  <a:pt x="2133792" y="4425827"/>
                  <a:pt x="2133792" y="4419881"/>
                </a:cubicBezTo>
                <a:cubicBezTo>
                  <a:pt x="2133792" y="4413934"/>
                  <a:pt x="2138581" y="4409145"/>
                  <a:pt x="2144528" y="4409145"/>
                </a:cubicBezTo>
                <a:close/>
                <a:moveTo>
                  <a:pt x="1753212" y="4408813"/>
                </a:moveTo>
                <a:cubicBezTo>
                  <a:pt x="1759159" y="4408813"/>
                  <a:pt x="1763948" y="4413603"/>
                  <a:pt x="1763948" y="4419550"/>
                </a:cubicBezTo>
                <a:cubicBezTo>
                  <a:pt x="1763948" y="4425496"/>
                  <a:pt x="1759159" y="4430288"/>
                  <a:pt x="1753212" y="4430288"/>
                </a:cubicBezTo>
                <a:cubicBezTo>
                  <a:pt x="1747265" y="4430288"/>
                  <a:pt x="1742476" y="4425496"/>
                  <a:pt x="1742476" y="4419550"/>
                </a:cubicBezTo>
                <a:cubicBezTo>
                  <a:pt x="1742476" y="4413603"/>
                  <a:pt x="1747265" y="4408813"/>
                  <a:pt x="1753212" y="4408813"/>
                </a:cubicBezTo>
                <a:close/>
                <a:moveTo>
                  <a:pt x="1869335" y="4407657"/>
                </a:moveTo>
                <a:cubicBezTo>
                  <a:pt x="1875281" y="4407657"/>
                  <a:pt x="1880073" y="4412446"/>
                  <a:pt x="1880073" y="4418393"/>
                </a:cubicBezTo>
                <a:cubicBezTo>
                  <a:pt x="1880073" y="4424339"/>
                  <a:pt x="1875281" y="4429131"/>
                  <a:pt x="1869335" y="4429131"/>
                </a:cubicBezTo>
                <a:cubicBezTo>
                  <a:pt x="1863388" y="4429131"/>
                  <a:pt x="1858599" y="4424339"/>
                  <a:pt x="1858599" y="4418393"/>
                </a:cubicBezTo>
                <a:cubicBezTo>
                  <a:pt x="1858599" y="4412446"/>
                  <a:pt x="1863388" y="4407657"/>
                  <a:pt x="1869335" y="4407657"/>
                </a:cubicBezTo>
                <a:close/>
                <a:moveTo>
                  <a:pt x="2520481" y="4407492"/>
                </a:moveTo>
                <a:lnTo>
                  <a:pt x="2530639" y="4417651"/>
                </a:lnTo>
                <a:lnTo>
                  <a:pt x="2540467" y="4407823"/>
                </a:lnTo>
                <a:lnTo>
                  <a:pt x="2549800" y="4417155"/>
                </a:lnTo>
                <a:lnTo>
                  <a:pt x="2559132" y="4407823"/>
                </a:lnTo>
                <a:lnTo>
                  <a:pt x="2567803" y="4416494"/>
                </a:lnTo>
                <a:lnTo>
                  <a:pt x="2576641" y="4407657"/>
                </a:lnTo>
                <a:lnTo>
                  <a:pt x="2584984" y="4415998"/>
                </a:lnTo>
                <a:lnTo>
                  <a:pt x="2593159" y="4407823"/>
                </a:lnTo>
                <a:lnTo>
                  <a:pt x="2601335" y="4416000"/>
                </a:lnTo>
                <a:lnTo>
                  <a:pt x="2609018" y="4408317"/>
                </a:lnTo>
                <a:lnTo>
                  <a:pt x="2617194" y="4416494"/>
                </a:lnTo>
                <a:lnTo>
                  <a:pt x="2624048" y="4409641"/>
                </a:lnTo>
                <a:lnTo>
                  <a:pt x="2632391" y="4417984"/>
                </a:lnTo>
                <a:lnTo>
                  <a:pt x="2638750" y="4411623"/>
                </a:lnTo>
                <a:lnTo>
                  <a:pt x="2647504" y="4420377"/>
                </a:lnTo>
                <a:lnTo>
                  <a:pt x="2653120" y="4414760"/>
                </a:lnTo>
                <a:lnTo>
                  <a:pt x="2662288" y="4423927"/>
                </a:lnTo>
                <a:lnTo>
                  <a:pt x="2666995" y="4419220"/>
                </a:lnTo>
                <a:lnTo>
                  <a:pt x="2676908" y="4429131"/>
                </a:lnTo>
                <a:lnTo>
                  <a:pt x="2681037" y="4425002"/>
                </a:lnTo>
                <a:lnTo>
                  <a:pt x="2691525" y="4435490"/>
                </a:lnTo>
                <a:lnTo>
                  <a:pt x="2694745" y="4432270"/>
                </a:lnTo>
                <a:cubicBezTo>
                  <a:pt x="2700692" y="4432270"/>
                  <a:pt x="2705482" y="4437060"/>
                  <a:pt x="2705482" y="4443006"/>
                </a:cubicBezTo>
                <a:cubicBezTo>
                  <a:pt x="2705482" y="4448953"/>
                  <a:pt x="2700692" y="4453743"/>
                  <a:pt x="2694745" y="4453743"/>
                </a:cubicBezTo>
                <a:lnTo>
                  <a:pt x="2684257" y="4443254"/>
                </a:lnTo>
                <a:lnTo>
                  <a:pt x="2681037" y="4446475"/>
                </a:lnTo>
                <a:lnTo>
                  <a:pt x="2671126" y="4436564"/>
                </a:lnTo>
                <a:lnTo>
                  <a:pt x="2666995" y="4440693"/>
                </a:lnTo>
                <a:lnTo>
                  <a:pt x="2657828" y="4431526"/>
                </a:lnTo>
                <a:lnTo>
                  <a:pt x="2653120" y="4436233"/>
                </a:lnTo>
                <a:lnTo>
                  <a:pt x="2644366" y="4427480"/>
                </a:lnTo>
                <a:lnTo>
                  <a:pt x="2638750" y="4433095"/>
                </a:lnTo>
                <a:lnTo>
                  <a:pt x="2630409" y="4424754"/>
                </a:lnTo>
                <a:lnTo>
                  <a:pt x="2624048" y="4431113"/>
                </a:lnTo>
                <a:lnTo>
                  <a:pt x="2615871" y="4422938"/>
                </a:lnTo>
                <a:lnTo>
                  <a:pt x="2609018" y="4429792"/>
                </a:lnTo>
                <a:lnTo>
                  <a:pt x="2600841" y="4421615"/>
                </a:lnTo>
                <a:lnTo>
                  <a:pt x="2593159" y="4429296"/>
                </a:lnTo>
                <a:lnTo>
                  <a:pt x="2584817" y="4420954"/>
                </a:lnTo>
                <a:lnTo>
                  <a:pt x="2576641" y="4429131"/>
                </a:lnTo>
                <a:lnTo>
                  <a:pt x="2567970" y="4420460"/>
                </a:lnTo>
                <a:lnTo>
                  <a:pt x="2559132" y="4429296"/>
                </a:lnTo>
                <a:lnTo>
                  <a:pt x="2549800" y="4419964"/>
                </a:lnTo>
                <a:lnTo>
                  <a:pt x="2540467" y="4429296"/>
                </a:lnTo>
                <a:lnTo>
                  <a:pt x="2530308" y="4419139"/>
                </a:lnTo>
                <a:lnTo>
                  <a:pt x="2520645" y="4428802"/>
                </a:lnTo>
                <a:lnTo>
                  <a:pt x="2528409" y="4436564"/>
                </a:lnTo>
                <a:lnTo>
                  <a:pt x="2537328" y="4427645"/>
                </a:lnTo>
                <a:lnTo>
                  <a:pt x="2546331" y="4436647"/>
                </a:lnTo>
                <a:lnTo>
                  <a:pt x="2554507" y="4428470"/>
                </a:lnTo>
                <a:lnTo>
                  <a:pt x="2563593" y="4437556"/>
                </a:lnTo>
                <a:lnTo>
                  <a:pt x="2571025" y="4430123"/>
                </a:lnTo>
                <a:lnTo>
                  <a:pt x="2580440" y="4439538"/>
                </a:lnTo>
                <a:lnTo>
                  <a:pt x="2587212" y="4432766"/>
                </a:lnTo>
                <a:lnTo>
                  <a:pt x="2596875" y="4442429"/>
                </a:lnTo>
                <a:lnTo>
                  <a:pt x="2602740" y="4436564"/>
                </a:lnTo>
                <a:lnTo>
                  <a:pt x="2613064" y="4446887"/>
                </a:lnTo>
                <a:lnTo>
                  <a:pt x="2618101" y="4441850"/>
                </a:lnTo>
                <a:cubicBezTo>
                  <a:pt x="2624048" y="4441850"/>
                  <a:pt x="2628838" y="4446639"/>
                  <a:pt x="2628838" y="4452586"/>
                </a:cubicBezTo>
                <a:cubicBezTo>
                  <a:pt x="2628838" y="4458532"/>
                  <a:pt x="2624048" y="4463324"/>
                  <a:pt x="2618101" y="4463324"/>
                </a:cubicBezTo>
                <a:lnTo>
                  <a:pt x="2607778" y="4453000"/>
                </a:lnTo>
                <a:lnTo>
                  <a:pt x="2602740" y="4458038"/>
                </a:lnTo>
                <a:lnTo>
                  <a:pt x="2593077" y="4448375"/>
                </a:lnTo>
                <a:lnTo>
                  <a:pt x="2587212" y="4454239"/>
                </a:lnTo>
                <a:lnTo>
                  <a:pt x="2577797" y="4444825"/>
                </a:lnTo>
                <a:lnTo>
                  <a:pt x="2571025" y="4451596"/>
                </a:lnTo>
                <a:lnTo>
                  <a:pt x="2561940" y="4442512"/>
                </a:lnTo>
                <a:lnTo>
                  <a:pt x="2554507" y="4449943"/>
                </a:lnTo>
                <a:lnTo>
                  <a:pt x="2545505" y="4440941"/>
                </a:lnTo>
                <a:lnTo>
                  <a:pt x="2537328" y="4449118"/>
                </a:lnTo>
                <a:lnTo>
                  <a:pt x="2528245" y="4440034"/>
                </a:lnTo>
                <a:lnTo>
                  <a:pt x="2519324" y="4448953"/>
                </a:lnTo>
                <a:lnTo>
                  <a:pt x="2509909" y="4439538"/>
                </a:lnTo>
                <a:lnTo>
                  <a:pt x="2500327" y="4449118"/>
                </a:lnTo>
                <a:lnTo>
                  <a:pt x="2490333" y="4439125"/>
                </a:lnTo>
                <a:lnTo>
                  <a:pt x="2480175" y="4449284"/>
                </a:lnTo>
                <a:cubicBezTo>
                  <a:pt x="2474228" y="4449284"/>
                  <a:pt x="2469438" y="4444492"/>
                  <a:pt x="2469438" y="4438546"/>
                </a:cubicBezTo>
                <a:cubicBezTo>
                  <a:pt x="2469438" y="4432599"/>
                  <a:pt x="2474228" y="4427810"/>
                  <a:pt x="2480175" y="4427810"/>
                </a:cubicBezTo>
                <a:lnTo>
                  <a:pt x="2490169" y="4437804"/>
                </a:lnTo>
                <a:lnTo>
                  <a:pt x="2500327" y="4427645"/>
                </a:lnTo>
                <a:lnTo>
                  <a:pt x="2509744" y="4437060"/>
                </a:lnTo>
                <a:lnTo>
                  <a:pt x="2519159" y="4427645"/>
                </a:lnTo>
                <a:lnTo>
                  <a:pt x="2509744" y="4418228"/>
                </a:lnTo>
                <a:cubicBezTo>
                  <a:pt x="2509744" y="4412282"/>
                  <a:pt x="2514534" y="4407492"/>
                  <a:pt x="2520481" y="4407492"/>
                </a:cubicBezTo>
                <a:close/>
                <a:moveTo>
                  <a:pt x="2498842" y="4406337"/>
                </a:moveTo>
                <a:cubicBezTo>
                  <a:pt x="2504788" y="4406337"/>
                  <a:pt x="2509579" y="4411127"/>
                  <a:pt x="2509579" y="4417073"/>
                </a:cubicBezTo>
                <a:cubicBezTo>
                  <a:pt x="2509579" y="4423020"/>
                  <a:pt x="2504788" y="4427810"/>
                  <a:pt x="2498842" y="4427810"/>
                </a:cubicBezTo>
                <a:cubicBezTo>
                  <a:pt x="2492895" y="4427810"/>
                  <a:pt x="2488105" y="4423020"/>
                  <a:pt x="2488105" y="4417073"/>
                </a:cubicBezTo>
                <a:cubicBezTo>
                  <a:pt x="2488105" y="4411127"/>
                  <a:pt x="2492895" y="4406337"/>
                  <a:pt x="2498842" y="4406337"/>
                </a:cubicBezTo>
                <a:close/>
                <a:moveTo>
                  <a:pt x="2290382" y="4406170"/>
                </a:moveTo>
                <a:cubicBezTo>
                  <a:pt x="2296328" y="4406170"/>
                  <a:pt x="2301120" y="4410960"/>
                  <a:pt x="2301120" y="4416907"/>
                </a:cubicBezTo>
                <a:cubicBezTo>
                  <a:pt x="2301120" y="4422853"/>
                  <a:pt x="2296328" y="4427645"/>
                  <a:pt x="2290382" y="4427645"/>
                </a:cubicBezTo>
                <a:cubicBezTo>
                  <a:pt x="2284435" y="4427645"/>
                  <a:pt x="2279645" y="4422853"/>
                  <a:pt x="2279645" y="4416907"/>
                </a:cubicBezTo>
                <a:cubicBezTo>
                  <a:pt x="2279645" y="4410960"/>
                  <a:pt x="2284435" y="4406170"/>
                  <a:pt x="2290382" y="4406170"/>
                </a:cubicBezTo>
                <a:close/>
                <a:moveTo>
                  <a:pt x="1637256" y="4405841"/>
                </a:moveTo>
                <a:cubicBezTo>
                  <a:pt x="1643202" y="4405841"/>
                  <a:pt x="1647994" y="4410631"/>
                  <a:pt x="1647994" y="4416577"/>
                </a:cubicBezTo>
                <a:cubicBezTo>
                  <a:pt x="1647994" y="4422524"/>
                  <a:pt x="1643202" y="4427314"/>
                  <a:pt x="1637256" y="4427314"/>
                </a:cubicBezTo>
                <a:cubicBezTo>
                  <a:pt x="1631309" y="4427314"/>
                  <a:pt x="1626519" y="4422524"/>
                  <a:pt x="1626519" y="4416577"/>
                </a:cubicBezTo>
                <a:cubicBezTo>
                  <a:pt x="1626519" y="4410631"/>
                  <a:pt x="1631309" y="4405841"/>
                  <a:pt x="1637256" y="4405841"/>
                </a:cubicBezTo>
                <a:close/>
                <a:moveTo>
                  <a:pt x="1190109" y="4405841"/>
                </a:moveTo>
                <a:cubicBezTo>
                  <a:pt x="1196040" y="4405841"/>
                  <a:pt x="1200846" y="4410648"/>
                  <a:pt x="1200846" y="4416577"/>
                </a:cubicBezTo>
                <a:cubicBezTo>
                  <a:pt x="1200846" y="4422506"/>
                  <a:pt x="1196040" y="4427314"/>
                  <a:pt x="1190109" y="4427314"/>
                </a:cubicBezTo>
                <a:cubicBezTo>
                  <a:pt x="1184180" y="4427314"/>
                  <a:pt x="1179373" y="4422506"/>
                  <a:pt x="1179373" y="4416577"/>
                </a:cubicBezTo>
                <a:cubicBezTo>
                  <a:pt x="1179373" y="4410648"/>
                  <a:pt x="1184180" y="4405841"/>
                  <a:pt x="1190109" y="4405841"/>
                </a:cubicBezTo>
                <a:close/>
                <a:moveTo>
                  <a:pt x="789545" y="4405510"/>
                </a:moveTo>
                <a:cubicBezTo>
                  <a:pt x="791692" y="4405510"/>
                  <a:pt x="793510" y="4407327"/>
                  <a:pt x="793510" y="4409474"/>
                </a:cubicBezTo>
                <a:cubicBezTo>
                  <a:pt x="793510" y="4411621"/>
                  <a:pt x="791692" y="4413438"/>
                  <a:pt x="789545" y="4413438"/>
                </a:cubicBezTo>
                <a:cubicBezTo>
                  <a:pt x="787398" y="4413438"/>
                  <a:pt x="785581" y="4411621"/>
                  <a:pt x="785581" y="4409474"/>
                </a:cubicBezTo>
                <a:cubicBezTo>
                  <a:pt x="785581" y="4407327"/>
                  <a:pt x="787398" y="4405510"/>
                  <a:pt x="789545" y="4405510"/>
                </a:cubicBezTo>
                <a:close/>
                <a:moveTo>
                  <a:pt x="2475716" y="4404355"/>
                </a:moveTo>
                <a:cubicBezTo>
                  <a:pt x="2481663" y="4404355"/>
                  <a:pt x="2486454" y="4409145"/>
                  <a:pt x="2486454" y="4415091"/>
                </a:cubicBezTo>
                <a:cubicBezTo>
                  <a:pt x="2486454" y="4421038"/>
                  <a:pt x="2481663" y="4425827"/>
                  <a:pt x="2475716" y="4425827"/>
                </a:cubicBezTo>
                <a:cubicBezTo>
                  <a:pt x="2469769" y="4425827"/>
                  <a:pt x="2464980" y="4421038"/>
                  <a:pt x="2464980" y="4415091"/>
                </a:cubicBezTo>
                <a:cubicBezTo>
                  <a:pt x="2464980" y="4409145"/>
                  <a:pt x="2469769" y="4404355"/>
                  <a:pt x="2475716" y="4404355"/>
                </a:cubicBezTo>
                <a:close/>
                <a:moveTo>
                  <a:pt x="1365202" y="4403198"/>
                </a:moveTo>
                <a:cubicBezTo>
                  <a:pt x="1371148" y="4403198"/>
                  <a:pt x="1375940" y="4407988"/>
                  <a:pt x="1375940" y="4413934"/>
                </a:cubicBezTo>
                <a:cubicBezTo>
                  <a:pt x="1375940" y="4419881"/>
                  <a:pt x="1371148" y="4424671"/>
                  <a:pt x="1365202" y="4424671"/>
                </a:cubicBezTo>
                <a:cubicBezTo>
                  <a:pt x="1359255" y="4424671"/>
                  <a:pt x="1354465" y="4419881"/>
                  <a:pt x="1354465" y="4413934"/>
                </a:cubicBezTo>
                <a:cubicBezTo>
                  <a:pt x="1354465" y="4407988"/>
                  <a:pt x="1359255" y="4403198"/>
                  <a:pt x="1365202" y="4403198"/>
                </a:cubicBezTo>
                <a:close/>
                <a:moveTo>
                  <a:pt x="1985127" y="4402702"/>
                </a:moveTo>
                <a:cubicBezTo>
                  <a:pt x="1991073" y="4402702"/>
                  <a:pt x="1995865" y="4407492"/>
                  <a:pt x="1995865" y="4413438"/>
                </a:cubicBezTo>
                <a:cubicBezTo>
                  <a:pt x="1995865" y="4419385"/>
                  <a:pt x="1991073" y="4424175"/>
                  <a:pt x="1985127" y="4424175"/>
                </a:cubicBezTo>
                <a:cubicBezTo>
                  <a:pt x="1979180" y="4424175"/>
                  <a:pt x="1974390" y="4419385"/>
                  <a:pt x="1974390" y="4413438"/>
                </a:cubicBezTo>
                <a:cubicBezTo>
                  <a:pt x="1974390" y="4407492"/>
                  <a:pt x="1979180" y="4402702"/>
                  <a:pt x="1985127" y="4402702"/>
                </a:cubicBezTo>
                <a:close/>
                <a:moveTo>
                  <a:pt x="2814668" y="4401049"/>
                </a:moveTo>
                <a:cubicBezTo>
                  <a:pt x="2818632" y="4401049"/>
                  <a:pt x="2821936" y="4404353"/>
                  <a:pt x="2821936" y="4408317"/>
                </a:cubicBezTo>
                <a:cubicBezTo>
                  <a:pt x="2821936" y="4412282"/>
                  <a:pt x="2818632" y="4415585"/>
                  <a:pt x="2814668" y="4415585"/>
                </a:cubicBezTo>
                <a:cubicBezTo>
                  <a:pt x="2810704" y="4415585"/>
                  <a:pt x="2807400" y="4412282"/>
                  <a:pt x="2807400" y="4408317"/>
                </a:cubicBezTo>
                <a:cubicBezTo>
                  <a:pt x="2807400" y="4404353"/>
                  <a:pt x="2810704" y="4401049"/>
                  <a:pt x="2814668" y="4401049"/>
                </a:cubicBezTo>
                <a:close/>
                <a:moveTo>
                  <a:pt x="2450442" y="4400885"/>
                </a:moveTo>
                <a:cubicBezTo>
                  <a:pt x="2456388" y="4400885"/>
                  <a:pt x="2461180" y="4405674"/>
                  <a:pt x="2461180" y="4411621"/>
                </a:cubicBezTo>
                <a:cubicBezTo>
                  <a:pt x="2461180" y="4417567"/>
                  <a:pt x="2456388" y="4422357"/>
                  <a:pt x="2450442" y="4422357"/>
                </a:cubicBezTo>
                <a:cubicBezTo>
                  <a:pt x="2444495" y="4422357"/>
                  <a:pt x="2439706" y="4417567"/>
                  <a:pt x="2439706" y="4411621"/>
                </a:cubicBezTo>
                <a:cubicBezTo>
                  <a:pt x="2439706" y="4405674"/>
                  <a:pt x="2444495" y="4400885"/>
                  <a:pt x="2450442" y="4400885"/>
                </a:cubicBezTo>
                <a:close/>
                <a:moveTo>
                  <a:pt x="1521793" y="4398902"/>
                </a:moveTo>
                <a:cubicBezTo>
                  <a:pt x="1527740" y="4398902"/>
                  <a:pt x="1532532" y="4403692"/>
                  <a:pt x="1532532" y="4409639"/>
                </a:cubicBezTo>
                <a:cubicBezTo>
                  <a:pt x="1532532" y="4415585"/>
                  <a:pt x="1527740" y="4420377"/>
                  <a:pt x="1521793" y="4420377"/>
                </a:cubicBezTo>
                <a:cubicBezTo>
                  <a:pt x="1515847" y="4420377"/>
                  <a:pt x="1511057" y="4415585"/>
                  <a:pt x="1511057" y="4409639"/>
                </a:cubicBezTo>
                <a:cubicBezTo>
                  <a:pt x="1511057" y="4403692"/>
                  <a:pt x="1515847" y="4398902"/>
                  <a:pt x="1521793" y="4398902"/>
                </a:cubicBezTo>
                <a:close/>
                <a:moveTo>
                  <a:pt x="1222154" y="4398077"/>
                </a:moveTo>
                <a:cubicBezTo>
                  <a:pt x="1228100" y="4398077"/>
                  <a:pt x="1232892" y="4402867"/>
                  <a:pt x="1232892" y="4408813"/>
                </a:cubicBezTo>
                <a:cubicBezTo>
                  <a:pt x="1232892" y="4414760"/>
                  <a:pt x="1228100" y="4419550"/>
                  <a:pt x="1222154" y="4419550"/>
                </a:cubicBezTo>
                <a:cubicBezTo>
                  <a:pt x="1216207" y="4419550"/>
                  <a:pt x="1211417" y="4414760"/>
                  <a:pt x="1211417" y="4408813"/>
                </a:cubicBezTo>
                <a:cubicBezTo>
                  <a:pt x="1211417" y="4402867"/>
                  <a:pt x="1216207" y="4398077"/>
                  <a:pt x="1222154" y="4398077"/>
                </a:cubicBezTo>
                <a:close/>
                <a:moveTo>
                  <a:pt x="1021460" y="4396260"/>
                </a:moveTo>
                <a:cubicBezTo>
                  <a:pt x="1027406" y="4396260"/>
                  <a:pt x="1032198" y="4401049"/>
                  <a:pt x="1032198" y="4406996"/>
                </a:cubicBezTo>
                <a:cubicBezTo>
                  <a:pt x="1032198" y="4412942"/>
                  <a:pt x="1027406" y="4417734"/>
                  <a:pt x="1021460" y="4417734"/>
                </a:cubicBezTo>
                <a:lnTo>
                  <a:pt x="1011962" y="4408236"/>
                </a:lnTo>
                <a:lnTo>
                  <a:pt x="1001307" y="4418891"/>
                </a:lnTo>
                <a:lnTo>
                  <a:pt x="992223" y="4409805"/>
                </a:lnTo>
                <a:lnTo>
                  <a:pt x="982806" y="4419220"/>
                </a:lnTo>
                <a:lnTo>
                  <a:pt x="974136" y="4410549"/>
                </a:lnTo>
                <a:lnTo>
                  <a:pt x="965298" y="4419387"/>
                </a:lnTo>
                <a:lnTo>
                  <a:pt x="957121" y="4411208"/>
                </a:lnTo>
                <a:lnTo>
                  <a:pt x="948945" y="4419387"/>
                </a:lnTo>
                <a:lnTo>
                  <a:pt x="941429" y="4411869"/>
                </a:lnTo>
                <a:lnTo>
                  <a:pt x="933583" y="4419714"/>
                </a:lnTo>
                <a:lnTo>
                  <a:pt x="926482" y="4412613"/>
                </a:lnTo>
                <a:lnTo>
                  <a:pt x="918716" y="4420377"/>
                </a:lnTo>
                <a:lnTo>
                  <a:pt x="912357" y="4414018"/>
                </a:lnTo>
                <a:lnTo>
                  <a:pt x="904511" y="4421863"/>
                </a:lnTo>
                <a:lnTo>
                  <a:pt x="898813" y="4416165"/>
                </a:lnTo>
                <a:lnTo>
                  <a:pt x="890801" y="4424175"/>
                </a:lnTo>
                <a:lnTo>
                  <a:pt x="885763" y="4419137"/>
                </a:lnTo>
                <a:lnTo>
                  <a:pt x="877255" y="4427645"/>
                </a:lnTo>
                <a:lnTo>
                  <a:pt x="872961" y="4423351"/>
                </a:lnTo>
                <a:lnTo>
                  <a:pt x="864042" y="4432270"/>
                </a:lnTo>
                <a:cubicBezTo>
                  <a:pt x="858096" y="4432270"/>
                  <a:pt x="853306" y="4427478"/>
                  <a:pt x="853306" y="4421532"/>
                </a:cubicBezTo>
                <a:cubicBezTo>
                  <a:pt x="853306" y="4415585"/>
                  <a:pt x="858096" y="4410795"/>
                  <a:pt x="864042" y="4410795"/>
                </a:cubicBezTo>
                <a:lnTo>
                  <a:pt x="868336" y="4415089"/>
                </a:lnTo>
                <a:lnTo>
                  <a:pt x="877255" y="4406170"/>
                </a:lnTo>
                <a:lnTo>
                  <a:pt x="882295" y="4411210"/>
                </a:lnTo>
                <a:lnTo>
                  <a:pt x="890801" y="4402702"/>
                </a:lnTo>
                <a:lnTo>
                  <a:pt x="896499" y="4408401"/>
                </a:lnTo>
                <a:lnTo>
                  <a:pt x="904511" y="4400389"/>
                </a:lnTo>
                <a:lnTo>
                  <a:pt x="910871" y="4406748"/>
                </a:lnTo>
                <a:lnTo>
                  <a:pt x="918716" y="4398902"/>
                </a:lnTo>
                <a:lnTo>
                  <a:pt x="925819" y="4406006"/>
                </a:lnTo>
                <a:lnTo>
                  <a:pt x="933583" y="4398242"/>
                </a:lnTo>
                <a:lnTo>
                  <a:pt x="941099" y="4405758"/>
                </a:lnTo>
                <a:lnTo>
                  <a:pt x="948945" y="4397912"/>
                </a:lnTo>
                <a:lnTo>
                  <a:pt x="957121" y="4406089"/>
                </a:lnTo>
                <a:lnTo>
                  <a:pt x="965298" y="4397912"/>
                </a:lnTo>
                <a:lnTo>
                  <a:pt x="973971" y="4406583"/>
                </a:lnTo>
                <a:lnTo>
                  <a:pt x="982806" y="4397747"/>
                </a:lnTo>
                <a:lnTo>
                  <a:pt x="991892" y="4406831"/>
                </a:lnTo>
                <a:lnTo>
                  <a:pt x="1001307" y="4397416"/>
                </a:lnTo>
                <a:lnTo>
                  <a:pt x="1010807" y="4406914"/>
                </a:lnTo>
                <a:close/>
                <a:moveTo>
                  <a:pt x="2423023" y="4395599"/>
                </a:moveTo>
                <a:cubicBezTo>
                  <a:pt x="2428969" y="4395599"/>
                  <a:pt x="2433761" y="4400389"/>
                  <a:pt x="2433761" y="4406335"/>
                </a:cubicBezTo>
                <a:cubicBezTo>
                  <a:pt x="2433761" y="4412282"/>
                  <a:pt x="2428969" y="4417071"/>
                  <a:pt x="2423023" y="4417071"/>
                </a:cubicBezTo>
                <a:cubicBezTo>
                  <a:pt x="2417076" y="4417071"/>
                  <a:pt x="2412286" y="4412282"/>
                  <a:pt x="2412286" y="4406335"/>
                </a:cubicBezTo>
                <a:cubicBezTo>
                  <a:pt x="2412286" y="4400389"/>
                  <a:pt x="2417076" y="4395599"/>
                  <a:pt x="2423023" y="4395599"/>
                </a:cubicBezTo>
                <a:close/>
                <a:moveTo>
                  <a:pt x="2253546" y="4395269"/>
                </a:moveTo>
                <a:cubicBezTo>
                  <a:pt x="2259493" y="4395269"/>
                  <a:pt x="2264284" y="4400059"/>
                  <a:pt x="2264284" y="4406006"/>
                </a:cubicBezTo>
                <a:cubicBezTo>
                  <a:pt x="2264284" y="4411952"/>
                  <a:pt x="2259493" y="4416744"/>
                  <a:pt x="2253546" y="4416744"/>
                </a:cubicBezTo>
                <a:cubicBezTo>
                  <a:pt x="2247599" y="4416744"/>
                  <a:pt x="2242809" y="4411952"/>
                  <a:pt x="2242809" y="4406006"/>
                </a:cubicBezTo>
                <a:cubicBezTo>
                  <a:pt x="2242809" y="4400059"/>
                  <a:pt x="2247599" y="4395269"/>
                  <a:pt x="2253546" y="4395269"/>
                </a:cubicBezTo>
                <a:close/>
                <a:moveTo>
                  <a:pt x="1043097" y="4394277"/>
                </a:moveTo>
                <a:cubicBezTo>
                  <a:pt x="1049044" y="4394277"/>
                  <a:pt x="1053835" y="4399067"/>
                  <a:pt x="1053835" y="4405014"/>
                </a:cubicBezTo>
                <a:cubicBezTo>
                  <a:pt x="1053835" y="4410960"/>
                  <a:pt x="1049044" y="4415752"/>
                  <a:pt x="1043097" y="4415752"/>
                </a:cubicBezTo>
                <a:cubicBezTo>
                  <a:pt x="1037151" y="4415752"/>
                  <a:pt x="1032361" y="4410960"/>
                  <a:pt x="1032361" y="4405014"/>
                </a:cubicBezTo>
                <a:cubicBezTo>
                  <a:pt x="1032361" y="4399067"/>
                  <a:pt x="1037151" y="4394277"/>
                  <a:pt x="1043097" y="4394277"/>
                </a:cubicBezTo>
                <a:close/>
                <a:moveTo>
                  <a:pt x="2100093" y="4393617"/>
                </a:moveTo>
                <a:cubicBezTo>
                  <a:pt x="2106039" y="4393617"/>
                  <a:pt x="2110829" y="4398406"/>
                  <a:pt x="2110829" y="4404353"/>
                </a:cubicBezTo>
                <a:cubicBezTo>
                  <a:pt x="2110829" y="4410299"/>
                  <a:pt x="2106039" y="4415089"/>
                  <a:pt x="2100093" y="4415089"/>
                </a:cubicBezTo>
                <a:cubicBezTo>
                  <a:pt x="2094146" y="4415089"/>
                  <a:pt x="2089356" y="4410299"/>
                  <a:pt x="2089356" y="4404353"/>
                </a:cubicBezTo>
                <a:cubicBezTo>
                  <a:pt x="2089356" y="4398406"/>
                  <a:pt x="2094146" y="4393617"/>
                  <a:pt x="2100093" y="4393617"/>
                </a:cubicBezTo>
                <a:close/>
                <a:moveTo>
                  <a:pt x="1066719" y="4390974"/>
                </a:moveTo>
                <a:cubicBezTo>
                  <a:pt x="1072665" y="4390974"/>
                  <a:pt x="1077455" y="4395764"/>
                  <a:pt x="1077455" y="4401710"/>
                </a:cubicBezTo>
                <a:cubicBezTo>
                  <a:pt x="1077455" y="4407657"/>
                  <a:pt x="1072665" y="4412446"/>
                  <a:pt x="1066719" y="4412446"/>
                </a:cubicBezTo>
                <a:cubicBezTo>
                  <a:pt x="1060772" y="4412446"/>
                  <a:pt x="1055982" y="4407657"/>
                  <a:pt x="1055982" y="4401710"/>
                </a:cubicBezTo>
                <a:cubicBezTo>
                  <a:pt x="1055982" y="4395764"/>
                  <a:pt x="1060772" y="4390974"/>
                  <a:pt x="1066719" y="4390974"/>
                </a:cubicBezTo>
                <a:close/>
                <a:moveTo>
                  <a:pt x="729584" y="4390479"/>
                </a:moveTo>
                <a:cubicBezTo>
                  <a:pt x="729915" y="4390479"/>
                  <a:pt x="729915" y="4390479"/>
                  <a:pt x="729915" y="4390809"/>
                </a:cubicBezTo>
                <a:cubicBezTo>
                  <a:pt x="729915" y="4391140"/>
                  <a:pt x="729584" y="4391140"/>
                  <a:pt x="729584" y="4391140"/>
                </a:cubicBezTo>
                <a:cubicBezTo>
                  <a:pt x="729254" y="4391140"/>
                  <a:pt x="729254" y="4391140"/>
                  <a:pt x="729254" y="4390809"/>
                </a:cubicBezTo>
                <a:cubicBezTo>
                  <a:pt x="729254" y="4390479"/>
                  <a:pt x="729254" y="4390479"/>
                  <a:pt x="729584" y="4390479"/>
                </a:cubicBezTo>
                <a:close/>
                <a:moveTo>
                  <a:pt x="1407653" y="4388166"/>
                </a:moveTo>
                <a:cubicBezTo>
                  <a:pt x="1413599" y="4388166"/>
                  <a:pt x="1418389" y="4392956"/>
                  <a:pt x="1418389" y="4398902"/>
                </a:cubicBezTo>
                <a:cubicBezTo>
                  <a:pt x="1418389" y="4404849"/>
                  <a:pt x="1413599" y="4409641"/>
                  <a:pt x="1407653" y="4409641"/>
                </a:cubicBezTo>
                <a:cubicBezTo>
                  <a:pt x="1401706" y="4409641"/>
                  <a:pt x="1396916" y="4404849"/>
                  <a:pt x="1396916" y="4398902"/>
                </a:cubicBezTo>
                <a:cubicBezTo>
                  <a:pt x="1396916" y="4392956"/>
                  <a:pt x="1401706" y="4388166"/>
                  <a:pt x="1407653" y="4388166"/>
                </a:cubicBezTo>
                <a:close/>
                <a:moveTo>
                  <a:pt x="2393125" y="4388001"/>
                </a:moveTo>
                <a:cubicBezTo>
                  <a:pt x="2399072" y="4388001"/>
                  <a:pt x="2403864" y="4392791"/>
                  <a:pt x="2403864" y="4398738"/>
                </a:cubicBezTo>
                <a:cubicBezTo>
                  <a:pt x="2403864" y="4404684"/>
                  <a:pt x="2399072" y="4409476"/>
                  <a:pt x="2393125" y="4409476"/>
                </a:cubicBezTo>
                <a:cubicBezTo>
                  <a:pt x="2387179" y="4409476"/>
                  <a:pt x="2382389" y="4404684"/>
                  <a:pt x="2382389" y="4398738"/>
                </a:cubicBezTo>
                <a:cubicBezTo>
                  <a:pt x="2382389" y="4392791"/>
                  <a:pt x="2387179" y="4388001"/>
                  <a:pt x="2393125" y="4388001"/>
                </a:cubicBezTo>
                <a:close/>
                <a:moveTo>
                  <a:pt x="1257007" y="4387505"/>
                </a:moveTo>
                <a:cubicBezTo>
                  <a:pt x="1262954" y="4387505"/>
                  <a:pt x="1267745" y="4392295"/>
                  <a:pt x="1267745" y="4398242"/>
                </a:cubicBezTo>
                <a:cubicBezTo>
                  <a:pt x="1267745" y="4404188"/>
                  <a:pt x="1262954" y="4408980"/>
                  <a:pt x="1257007" y="4408980"/>
                </a:cubicBezTo>
                <a:cubicBezTo>
                  <a:pt x="1251061" y="4408980"/>
                  <a:pt x="1246271" y="4404188"/>
                  <a:pt x="1246271" y="4398242"/>
                </a:cubicBezTo>
                <a:cubicBezTo>
                  <a:pt x="1246271" y="4392295"/>
                  <a:pt x="1251061" y="4387505"/>
                  <a:pt x="1257007" y="4387505"/>
                </a:cubicBezTo>
                <a:close/>
                <a:moveTo>
                  <a:pt x="2872812" y="4386515"/>
                </a:moveTo>
                <a:cubicBezTo>
                  <a:pt x="2874820" y="4386515"/>
                  <a:pt x="2876447" y="4388142"/>
                  <a:pt x="2876447" y="4390148"/>
                </a:cubicBezTo>
                <a:cubicBezTo>
                  <a:pt x="2876447" y="4392156"/>
                  <a:pt x="2874820" y="4393783"/>
                  <a:pt x="2872812" y="4393783"/>
                </a:cubicBezTo>
                <a:cubicBezTo>
                  <a:pt x="2870805" y="4393783"/>
                  <a:pt x="2869179" y="4392156"/>
                  <a:pt x="2869179" y="4390148"/>
                </a:cubicBezTo>
                <a:cubicBezTo>
                  <a:pt x="2869179" y="4388142"/>
                  <a:pt x="2870805" y="4386515"/>
                  <a:pt x="2872812" y="4386515"/>
                </a:cubicBezTo>
                <a:close/>
                <a:moveTo>
                  <a:pt x="1092322" y="4385854"/>
                </a:moveTo>
                <a:cubicBezTo>
                  <a:pt x="1098269" y="4385854"/>
                  <a:pt x="1103060" y="4390644"/>
                  <a:pt x="1103060" y="4396591"/>
                </a:cubicBezTo>
                <a:cubicBezTo>
                  <a:pt x="1103060" y="4402537"/>
                  <a:pt x="1098269" y="4407327"/>
                  <a:pt x="1092322" y="4407327"/>
                </a:cubicBezTo>
                <a:cubicBezTo>
                  <a:pt x="1086376" y="4407327"/>
                  <a:pt x="1081586" y="4402537"/>
                  <a:pt x="1081586" y="4396591"/>
                </a:cubicBezTo>
                <a:cubicBezTo>
                  <a:pt x="1081586" y="4390644"/>
                  <a:pt x="1086376" y="4385854"/>
                  <a:pt x="1092322" y="4385854"/>
                </a:cubicBezTo>
                <a:close/>
                <a:moveTo>
                  <a:pt x="1812513" y="4384698"/>
                </a:moveTo>
                <a:cubicBezTo>
                  <a:pt x="1818459" y="4384698"/>
                  <a:pt x="1823251" y="4389488"/>
                  <a:pt x="1823251" y="4395434"/>
                </a:cubicBezTo>
                <a:cubicBezTo>
                  <a:pt x="1823251" y="4401381"/>
                  <a:pt x="1818459" y="4406170"/>
                  <a:pt x="1812513" y="4406170"/>
                </a:cubicBezTo>
                <a:cubicBezTo>
                  <a:pt x="1806566" y="4406170"/>
                  <a:pt x="1801776" y="4401381"/>
                  <a:pt x="1801776" y="4395434"/>
                </a:cubicBezTo>
                <a:cubicBezTo>
                  <a:pt x="1801776" y="4389488"/>
                  <a:pt x="1806566" y="4384698"/>
                  <a:pt x="1812513" y="4384698"/>
                </a:cubicBezTo>
                <a:close/>
                <a:moveTo>
                  <a:pt x="2584901" y="4384202"/>
                </a:moveTo>
                <a:lnTo>
                  <a:pt x="2594565" y="4393865"/>
                </a:lnTo>
                <a:lnTo>
                  <a:pt x="2603236" y="4385194"/>
                </a:lnTo>
                <a:lnTo>
                  <a:pt x="2611990" y="4393946"/>
                </a:lnTo>
                <a:lnTo>
                  <a:pt x="2620248" y="4385688"/>
                </a:lnTo>
                <a:lnTo>
                  <a:pt x="2628427" y="4393865"/>
                </a:lnTo>
                <a:lnTo>
                  <a:pt x="2636272" y="4386019"/>
                </a:lnTo>
                <a:lnTo>
                  <a:pt x="2643871" y="4393617"/>
                </a:lnTo>
                <a:lnTo>
                  <a:pt x="2651304" y="4386184"/>
                </a:lnTo>
                <a:lnTo>
                  <a:pt x="2658655" y="4393533"/>
                </a:lnTo>
                <a:lnTo>
                  <a:pt x="2665509" y="4386680"/>
                </a:lnTo>
                <a:lnTo>
                  <a:pt x="2672777" y="4393946"/>
                </a:lnTo>
                <a:lnTo>
                  <a:pt x="2679053" y="4387670"/>
                </a:lnTo>
                <a:lnTo>
                  <a:pt x="2686487" y="4395103"/>
                </a:lnTo>
                <a:lnTo>
                  <a:pt x="2692267" y="4389323"/>
                </a:lnTo>
                <a:lnTo>
                  <a:pt x="2700031" y="4397087"/>
                </a:lnTo>
                <a:lnTo>
                  <a:pt x="2704988" y="4392130"/>
                </a:lnTo>
                <a:lnTo>
                  <a:pt x="2713164" y="4400305"/>
                </a:lnTo>
                <a:lnTo>
                  <a:pt x="2717706" y="4395764"/>
                </a:lnTo>
                <a:lnTo>
                  <a:pt x="2726462" y="4404518"/>
                </a:lnTo>
                <a:lnTo>
                  <a:pt x="2730095" y="4400885"/>
                </a:lnTo>
                <a:lnTo>
                  <a:pt x="2739593" y="4410383"/>
                </a:lnTo>
                <a:lnTo>
                  <a:pt x="2742649" y="4407327"/>
                </a:lnTo>
                <a:lnTo>
                  <a:pt x="2753056" y="4417734"/>
                </a:lnTo>
                <a:lnTo>
                  <a:pt x="2755203" y="4415587"/>
                </a:lnTo>
                <a:cubicBezTo>
                  <a:pt x="2760950" y="4415587"/>
                  <a:pt x="2765610" y="4420247"/>
                  <a:pt x="2765610" y="4425994"/>
                </a:cubicBezTo>
                <a:cubicBezTo>
                  <a:pt x="2765610" y="4431741"/>
                  <a:pt x="2760950" y="4436401"/>
                  <a:pt x="2755203" y="4436401"/>
                </a:cubicBezTo>
                <a:lnTo>
                  <a:pt x="2745125" y="4426323"/>
                </a:lnTo>
                <a:lnTo>
                  <a:pt x="2742649" y="4428800"/>
                </a:lnTo>
                <a:lnTo>
                  <a:pt x="2733151" y="4419302"/>
                </a:lnTo>
                <a:lnTo>
                  <a:pt x="2730095" y="4422357"/>
                </a:lnTo>
                <a:lnTo>
                  <a:pt x="2721341" y="4413603"/>
                </a:lnTo>
                <a:lnTo>
                  <a:pt x="2717706" y="4417238"/>
                </a:lnTo>
                <a:lnTo>
                  <a:pt x="2709531" y="4409061"/>
                </a:lnTo>
                <a:lnTo>
                  <a:pt x="2704988" y="4413605"/>
                </a:lnTo>
                <a:lnTo>
                  <a:pt x="2697224" y="4405841"/>
                </a:lnTo>
                <a:lnTo>
                  <a:pt x="2692267" y="4410795"/>
                </a:lnTo>
                <a:lnTo>
                  <a:pt x="2684835" y="4403363"/>
                </a:lnTo>
                <a:lnTo>
                  <a:pt x="2679053" y="4409145"/>
                </a:lnTo>
                <a:lnTo>
                  <a:pt x="2671787" y="4401877"/>
                </a:lnTo>
                <a:lnTo>
                  <a:pt x="2665509" y="4408153"/>
                </a:lnTo>
                <a:lnTo>
                  <a:pt x="2658159" y="4400803"/>
                </a:lnTo>
                <a:lnTo>
                  <a:pt x="2651304" y="4407657"/>
                </a:lnTo>
                <a:lnTo>
                  <a:pt x="2643707" y="4400059"/>
                </a:lnTo>
                <a:lnTo>
                  <a:pt x="2636272" y="4407494"/>
                </a:lnTo>
                <a:lnTo>
                  <a:pt x="2628095" y="4399315"/>
                </a:lnTo>
                <a:lnTo>
                  <a:pt x="2620248" y="4407161"/>
                </a:lnTo>
                <a:lnTo>
                  <a:pt x="2611496" y="4398408"/>
                </a:lnTo>
                <a:lnTo>
                  <a:pt x="2603236" y="4406666"/>
                </a:lnTo>
                <a:lnTo>
                  <a:pt x="2593573" y="4397003"/>
                </a:lnTo>
                <a:lnTo>
                  <a:pt x="2584901" y="4405674"/>
                </a:lnTo>
                <a:cubicBezTo>
                  <a:pt x="2578954" y="4405674"/>
                  <a:pt x="2574164" y="4400885"/>
                  <a:pt x="2574164" y="4394938"/>
                </a:cubicBezTo>
                <a:cubicBezTo>
                  <a:pt x="2574164" y="4388992"/>
                  <a:pt x="2578954" y="4384202"/>
                  <a:pt x="2584901" y="4384202"/>
                </a:cubicBezTo>
                <a:close/>
                <a:moveTo>
                  <a:pt x="1692261" y="4383706"/>
                </a:moveTo>
                <a:cubicBezTo>
                  <a:pt x="1698207" y="4383706"/>
                  <a:pt x="1702999" y="4388496"/>
                  <a:pt x="1702999" y="4394442"/>
                </a:cubicBezTo>
                <a:cubicBezTo>
                  <a:pt x="1702999" y="4400389"/>
                  <a:pt x="1698207" y="4405178"/>
                  <a:pt x="1692261" y="4405178"/>
                </a:cubicBezTo>
                <a:cubicBezTo>
                  <a:pt x="1686314" y="4405178"/>
                  <a:pt x="1681524" y="4400389"/>
                  <a:pt x="1681524" y="4394442"/>
                </a:cubicBezTo>
                <a:cubicBezTo>
                  <a:pt x="1681524" y="4388496"/>
                  <a:pt x="1686314" y="4383706"/>
                  <a:pt x="1692261" y="4383706"/>
                </a:cubicBezTo>
                <a:close/>
                <a:moveTo>
                  <a:pt x="2564914" y="4382220"/>
                </a:moveTo>
                <a:cubicBezTo>
                  <a:pt x="2570860" y="4382220"/>
                  <a:pt x="2575652" y="4387009"/>
                  <a:pt x="2575652" y="4392956"/>
                </a:cubicBezTo>
                <a:cubicBezTo>
                  <a:pt x="2575652" y="4398902"/>
                  <a:pt x="2570860" y="4403692"/>
                  <a:pt x="2564914" y="4403692"/>
                </a:cubicBezTo>
                <a:cubicBezTo>
                  <a:pt x="2558967" y="4403692"/>
                  <a:pt x="2554178" y="4398902"/>
                  <a:pt x="2554178" y="4392956"/>
                </a:cubicBezTo>
                <a:cubicBezTo>
                  <a:pt x="2554178" y="4387009"/>
                  <a:pt x="2558967" y="4382220"/>
                  <a:pt x="2564914" y="4382220"/>
                </a:cubicBezTo>
                <a:close/>
                <a:moveTo>
                  <a:pt x="1932600" y="4381559"/>
                </a:moveTo>
                <a:cubicBezTo>
                  <a:pt x="1938546" y="4381559"/>
                  <a:pt x="1943336" y="4386349"/>
                  <a:pt x="1943336" y="4392295"/>
                </a:cubicBezTo>
                <a:cubicBezTo>
                  <a:pt x="1943336" y="4398242"/>
                  <a:pt x="1938546" y="4403032"/>
                  <a:pt x="1932600" y="4403032"/>
                </a:cubicBezTo>
                <a:cubicBezTo>
                  <a:pt x="1926653" y="4403032"/>
                  <a:pt x="1921863" y="4398242"/>
                  <a:pt x="1921863" y="4392295"/>
                </a:cubicBezTo>
                <a:cubicBezTo>
                  <a:pt x="1921863" y="4386349"/>
                  <a:pt x="1926653" y="4381559"/>
                  <a:pt x="1932600" y="4381559"/>
                </a:cubicBezTo>
                <a:close/>
                <a:moveTo>
                  <a:pt x="2213573" y="4380898"/>
                </a:moveTo>
                <a:cubicBezTo>
                  <a:pt x="2219520" y="4380898"/>
                  <a:pt x="2224311" y="4385688"/>
                  <a:pt x="2224311" y="4391634"/>
                </a:cubicBezTo>
                <a:cubicBezTo>
                  <a:pt x="2224311" y="4397581"/>
                  <a:pt x="2219520" y="4402373"/>
                  <a:pt x="2213573" y="4402373"/>
                </a:cubicBezTo>
                <a:cubicBezTo>
                  <a:pt x="2207626" y="4402373"/>
                  <a:pt x="2202836" y="4397581"/>
                  <a:pt x="2202836" y="4391634"/>
                </a:cubicBezTo>
                <a:cubicBezTo>
                  <a:pt x="2202836" y="4385688"/>
                  <a:pt x="2207626" y="4380898"/>
                  <a:pt x="2213573" y="4380898"/>
                </a:cubicBezTo>
                <a:close/>
                <a:moveTo>
                  <a:pt x="2543275" y="4378751"/>
                </a:moveTo>
                <a:cubicBezTo>
                  <a:pt x="2549221" y="4378751"/>
                  <a:pt x="2554011" y="4383541"/>
                  <a:pt x="2554011" y="4389488"/>
                </a:cubicBezTo>
                <a:cubicBezTo>
                  <a:pt x="2554011" y="4395434"/>
                  <a:pt x="2549221" y="4400226"/>
                  <a:pt x="2543275" y="4400226"/>
                </a:cubicBezTo>
                <a:cubicBezTo>
                  <a:pt x="2537328" y="4400226"/>
                  <a:pt x="2532538" y="4395434"/>
                  <a:pt x="2532538" y="4389488"/>
                </a:cubicBezTo>
                <a:cubicBezTo>
                  <a:pt x="2532538" y="4383541"/>
                  <a:pt x="2537328" y="4378751"/>
                  <a:pt x="2543275" y="4378751"/>
                </a:cubicBezTo>
                <a:close/>
                <a:moveTo>
                  <a:pt x="1572338" y="4378586"/>
                </a:moveTo>
                <a:cubicBezTo>
                  <a:pt x="1578285" y="4378586"/>
                  <a:pt x="1583076" y="4383376"/>
                  <a:pt x="1583076" y="4389323"/>
                </a:cubicBezTo>
                <a:cubicBezTo>
                  <a:pt x="1583076" y="4395269"/>
                  <a:pt x="1578285" y="4400059"/>
                  <a:pt x="1572338" y="4400059"/>
                </a:cubicBezTo>
                <a:cubicBezTo>
                  <a:pt x="1566392" y="4400059"/>
                  <a:pt x="1561602" y="4395269"/>
                  <a:pt x="1561602" y="4389323"/>
                </a:cubicBezTo>
                <a:cubicBezTo>
                  <a:pt x="1561602" y="4383376"/>
                  <a:pt x="1566392" y="4378586"/>
                  <a:pt x="1572338" y="4378586"/>
                </a:cubicBezTo>
                <a:close/>
                <a:moveTo>
                  <a:pt x="1120238" y="4378586"/>
                </a:moveTo>
                <a:cubicBezTo>
                  <a:pt x="1126184" y="4378586"/>
                  <a:pt x="1130975" y="4383376"/>
                  <a:pt x="1130975" y="4389323"/>
                </a:cubicBezTo>
                <a:cubicBezTo>
                  <a:pt x="1130975" y="4395269"/>
                  <a:pt x="1126184" y="4400059"/>
                  <a:pt x="1120238" y="4400059"/>
                </a:cubicBezTo>
                <a:cubicBezTo>
                  <a:pt x="1114291" y="4400059"/>
                  <a:pt x="1109501" y="4395269"/>
                  <a:pt x="1109501" y="4389323"/>
                </a:cubicBezTo>
                <a:cubicBezTo>
                  <a:pt x="1109501" y="4383376"/>
                  <a:pt x="1114291" y="4378586"/>
                  <a:pt x="1120238" y="4378586"/>
                </a:cubicBezTo>
                <a:close/>
                <a:moveTo>
                  <a:pt x="2360750" y="4377759"/>
                </a:moveTo>
                <a:cubicBezTo>
                  <a:pt x="2366696" y="4377759"/>
                  <a:pt x="2371488" y="4382549"/>
                  <a:pt x="2371488" y="4388496"/>
                </a:cubicBezTo>
                <a:cubicBezTo>
                  <a:pt x="2371488" y="4394442"/>
                  <a:pt x="2366696" y="4399234"/>
                  <a:pt x="2360750" y="4399234"/>
                </a:cubicBezTo>
                <a:cubicBezTo>
                  <a:pt x="2354803" y="4399234"/>
                  <a:pt x="2350013" y="4394442"/>
                  <a:pt x="2350013" y="4388496"/>
                </a:cubicBezTo>
                <a:cubicBezTo>
                  <a:pt x="2350013" y="4382549"/>
                  <a:pt x="2354803" y="4377759"/>
                  <a:pt x="2360750" y="4377759"/>
                </a:cubicBezTo>
                <a:close/>
                <a:moveTo>
                  <a:pt x="2051860" y="4374126"/>
                </a:moveTo>
                <a:cubicBezTo>
                  <a:pt x="2057806" y="4374126"/>
                  <a:pt x="2062596" y="4378916"/>
                  <a:pt x="2062596" y="4384862"/>
                </a:cubicBezTo>
                <a:cubicBezTo>
                  <a:pt x="2062596" y="4390809"/>
                  <a:pt x="2057806" y="4395601"/>
                  <a:pt x="2051860" y="4395601"/>
                </a:cubicBezTo>
                <a:cubicBezTo>
                  <a:pt x="2045913" y="4395601"/>
                  <a:pt x="2041123" y="4390809"/>
                  <a:pt x="2041123" y="4384862"/>
                </a:cubicBezTo>
                <a:cubicBezTo>
                  <a:pt x="2041123" y="4378916"/>
                  <a:pt x="2045913" y="4374126"/>
                  <a:pt x="2051860" y="4374126"/>
                </a:cubicBezTo>
                <a:close/>
                <a:moveTo>
                  <a:pt x="2519654" y="4373795"/>
                </a:moveTo>
                <a:cubicBezTo>
                  <a:pt x="2525600" y="4373795"/>
                  <a:pt x="2530391" y="4378585"/>
                  <a:pt x="2530391" y="4384531"/>
                </a:cubicBezTo>
                <a:cubicBezTo>
                  <a:pt x="2530391" y="4390478"/>
                  <a:pt x="2525600" y="4395268"/>
                  <a:pt x="2519654" y="4395268"/>
                </a:cubicBezTo>
                <a:cubicBezTo>
                  <a:pt x="2513707" y="4395268"/>
                  <a:pt x="2508917" y="4390478"/>
                  <a:pt x="2508917" y="4384531"/>
                </a:cubicBezTo>
                <a:cubicBezTo>
                  <a:pt x="2508917" y="4378585"/>
                  <a:pt x="2513707" y="4373795"/>
                  <a:pt x="2519654" y="4373795"/>
                </a:cubicBezTo>
                <a:close/>
                <a:moveTo>
                  <a:pt x="1294835" y="4373795"/>
                </a:moveTo>
                <a:cubicBezTo>
                  <a:pt x="1300782" y="4373795"/>
                  <a:pt x="1305572" y="4378585"/>
                  <a:pt x="1305572" y="4384531"/>
                </a:cubicBezTo>
                <a:cubicBezTo>
                  <a:pt x="1305572" y="4390478"/>
                  <a:pt x="1300782" y="4395268"/>
                  <a:pt x="1294835" y="4395268"/>
                </a:cubicBezTo>
                <a:cubicBezTo>
                  <a:pt x="1288889" y="4395268"/>
                  <a:pt x="1284099" y="4390478"/>
                  <a:pt x="1284099" y="4384531"/>
                </a:cubicBezTo>
                <a:cubicBezTo>
                  <a:pt x="1284099" y="4378585"/>
                  <a:pt x="1288889" y="4373795"/>
                  <a:pt x="1294835" y="4373795"/>
                </a:cubicBezTo>
                <a:close/>
                <a:moveTo>
                  <a:pt x="2930130" y="4371152"/>
                </a:moveTo>
                <a:cubicBezTo>
                  <a:pt x="2930404" y="4371152"/>
                  <a:pt x="2930624" y="4371374"/>
                  <a:pt x="2930624" y="4371648"/>
                </a:cubicBezTo>
                <a:cubicBezTo>
                  <a:pt x="2930624" y="4371922"/>
                  <a:pt x="2930404" y="4372142"/>
                  <a:pt x="2930130" y="4372142"/>
                </a:cubicBezTo>
                <a:cubicBezTo>
                  <a:pt x="2929856" y="4372142"/>
                  <a:pt x="2929634" y="4371922"/>
                  <a:pt x="2929634" y="4371648"/>
                </a:cubicBezTo>
                <a:cubicBezTo>
                  <a:pt x="2929634" y="4371374"/>
                  <a:pt x="2929856" y="4371152"/>
                  <a:pt x="2930130" y="4371152"/>
                </a:cubicBezTo>
                <a:close/>
                <a:moveTo>
                  <a:pt x="954891" y="4370987"/>
                </a:moveTo>
                <a:cubicBezTo>
                  <a:pt x="960838" y="4370987"/>
                  <a:pt x="965628" y="4375777"/>
                  <a:pt x="965628" y="4381724"/>
                </a:cubicBezTo>
                <a:cubicBezTo>
                  <a:pt x="965628" y="4387670"/>
                  <a:pt x="960838" y="4392462"/>
                  <a:pt x="954891" y="4392462"/>
                </a:cubicBezTo>
                <a:lnTo>
                  <a:pt x="946796" y="4384366"/>
                </a:lnTo>
                <a:lnTo>
                  <a:pt x="936556" y="4394609"/>
                </a:lnTo>
                <a:lnTo>
                  <a:pt x="928627" y="4386680"/>
                </a:lnTo>
                <a:lnTo>
                  <a:pt x="919543" y="4395764"/>
                </a:lnTo>
                <a:lnTo>
                  <a:pt x="911946" y="4388166"/>
                </a:lnTo>
                <a:lnTo>
                  <a:pt x="903851" y="4396260"/>
                </a:lnTo>
                <a:lnTo>
                  <a:pt x="896666" y="4389075"/>
                </a:lnTo>
                <a:lnTo>
                  <a:pt x="888984" y="4396755"/>
                </a:lnTo>
                <a:lnTo>
                  <a:pt x="882295" y="4390067"/>
                </a:lnTo>
                <a:lnTo>
                  <a:pt x="875275" y="4397087"/>
                </a:lnTo>
                <a:lnTo>
                  <a:pt x="869080" y="4390892"/>
                </a:lnTo>
                <a:lnTo>
                  <a:pt x="862060" y="4397910"/>
                </a:lnTo>
                <a:lnTo>
                  <a:pt x="856278" y="4392129"/>
                </a:lnTo>
                <a:lnTo>
                  <a:pt x="849340" y="4399067"/>
                </a:lnTo>
                <a:lnTo>
                  <a:pt x="844221" y="4393948"/>
                </a:lnTo>
                <a:lnTo>
                  <a:pt x="837117" y="4401049"/>
                </a:lnTo>
                <a:lnTo>
                  <a:pt x="832575" y="4396508"/>
                </a:lnTo>
                <a:lnTo>
                  <a:pt x="825060" y="4404022"/>
                </a:lnTo>
                <a:lnTo>
                  <a:pt x="821262" y="4400224"/>
                </a:lnTo>
                <a:lnTo>
                  <a:pt x="813331" y="4408153"/>
                </a:lnTo>
                <a:lnTo>
                  <a:pt x="810111" y="4404932"/>
                </a:lnTo>
                <a:lnTo>
                  <a:pt x="801438" y="4413605"/>
                </a:lnTo>
                <a:cubicBezTo>
                  <a:pt x="795492" y="4413605"/>
                  <a:pt x="790702" y="4408813"/>
                  <a:pt x="790702" y="4402867"/>
                </a:cubicBezTo>
                <a:cubicBezTo>
                  <a:pt x="790702" y="4396920"/>
                  <a:pt x="795492" y="4392130"/>
                  <a:pt x="801438" y="4392130"/>
                </a:cubicBezTo>
                <a:lnTo>
                  <a:pt x="804660" y="4395353"/>
                </a:lnTo>
                <a:lnTo>
                  <a:pt x="813331" y="4386680"/>
                </a:lnTo>
                <a:lnTo>
                  <a:pt x="817131" y="4390479"/>
                </a:lnTo>
                <a:lnTo>
                  <a:pt x="825060" y="4382549"/>
                </a:lnTo>
                <a:lnTo>
                  <a:pt x="829603" y="4387093"/>
                </a:lnTo>
                <a:lnTo>
                  <a:pt x="837117" y="4379577"/>
                </a:lnTo>
                <a:lnTo>
                  <a:pt x="842238" y="4384698"/>
                </a:lnTo>
                <a:lnTo>
                  <a:pt x="849340" y="4377594"/>
                </a:lnTo>
                <a:lnTo>
                  <a:pt x="855122" y="4383376"/>
                </a:lnTo>
                <a:lnTo>
                  <a:pt x="862060" y="4376438"/>
                </a:lnTo>
                <a:lnTo>
                  <a:pt x="868255" y="4382632"/>
                </a:lnTo>
                <a:lnTo>
                  <a:pt x="875275" y="4375612"/>
                </a:lnTo>
                <a:lnTo>
                  <a:pt x="881963" y="4382301"/>
                </a:lnTo>
                <a:lnTo>
                  <a:pt x="888984" y="4375281"/>
                </a:lnTo>
                <a:lnTo>
                  <a:pt x="896170" y="4382468"/>
                </a:lnTo>
                <a:lnTo>
                  <a:pt x="903851" y="4374787"/>
                </a:lnTo>
                <a:lnTo>
                  <a:pt x="911450" y="4382384"/>
                </a:lnTo>
                <a:lnTo>
                  <a:pt x="919543" y="4374291"/>
                </a:lnTo>
                <a:lnTo>
                  <a:pt x="927472" y="4382220"/>
                </a:lnTo>
                <a:lnTo>
                  <a:pt x="936556" y="4373134"/>
                </a:lnTo>
                <a:lnTo>
                  <a:pt x="944651" y="4381229"/>
                </a:lnTo>
                <a:close/>
                <a:moveTo>
                  <a:pt x="1453574" y="4369336"/>
                </a:moveTo>
                <a:cubicBezTo>
                  <a:pt x="1459521" y="4369336"/>
                  <a:pt x="1464310" y="4374126"/>
                  <a:pt x="1464310" y="4380073"/>
                </a:cubicBezTo>
                <a:cubicBezTo>
                  <a:pt x="1464310" y="4386019"/>
                  <a:pt x="1459521" y="4390809"/>
                  <a:pt x="1453574" y="4390809"/>
                </a:cubicBezTo>
                <a:cubicBezTo>
                  <a:pt x="1447627" y="4390809"/>
                  <a:pt x="1442838" y="4386019"/>
                  <a:pt x="1442838" y="4380073"/>
                </a:cubicBezTo>
                <a:cubicBezTo>
                  <a:pt x="1442838" y="4374126"/>
                  <a:pt x="1447627" y="4369336"/>
                  <a:pt x="1453574" y="4369336"/>
                </a:cubicBezTo>
                <a:close/>
                <a:moveTo>
                  <a:pt x="1150797" y="4368676"/>
                </a:moveTo>
                <a:cubicBezTo>
                  <a:pt x="1156744" y="4368676"/>
                  <a:pt x="1161535" y="4373465"/>
                  <a:pt x="1161535" y="4379412"/>
                </a:cubicBezTo>
                <a:cubicBezTo>
                  <a:pt x="1161535" y="4385358"/>
                  <a:pt x="1156744" y="4390148"/>
                  <a:pt x="1150797" y="4390148"/>
                </a:cubicBezTo>
                <a:cubicBezTo>
                  <a:pt x="1144851" y="4390148"/>
                  <a:pt x="1140061" y="4385358"/>
                  <a:pt x="1140061" y="4379412"/>
                </a:cubicBezTo>
                <a:cubicBezTo>
                  <a:pt x="1140061" y="4373465"/>
                  <a:pt x="1144851" y="4368676"/>
                  <a:pt x="1150797" y="4368676"/>
                </a:cubicBezTo>
                <a:close/>
                <a:moveTo>
                  <a:pt x="974878" y="4367848"/>
                </a:moveTo>
                <a:cubicBezTo>
                  <a:pt x="980824" y="4367848"/>
                  <a:pt x="985614" y="4372638"/>
                  <a:pt x="985614" y="4378585"/>
                </a:cubicBezTo>
                <a:cubicBezTo>
                  <a:pt x="985614" y="4384531"/>
                  <a:pt x="980824" y="4389321"/>
                  <a:pt x="974878" y="4389321"/>
                </a:cubicBezTo>
                <a:cubicBezTo>
                  <a:pt x="968931" y="4389321"/>
                  <a:pt x="964141" y="4384531"/>
                  <a:pt x="964141" y="4378585"/>
                </a:cubicBezTo>
                <a:cubicBezTo>
                  <a:pt x="964141" y="4372638"/>
                  <a:pt x="968931" y="4367848"/>
                  <a:pt x="974878" y="4367848"/>
                </a:cubicBezTo>
                <a:close/>
                <a:moveTo>
                  <a:pt x="2493885" y="4366693"/>
                </a:moveTo>
                <a:cubicBezTo>
                  <a:pt x="2499832" y="4366693"/>
                  <a:pt x="2504623" y="4371483"/>
                  <a:pt x="2504623" y="4377430"/>
                </a:cubicBezTo>
                <a:cubicBezTo>
                  <a:pt x="2504623" y="4383376"/>
                  <a:pt x="2499832" y="4388166"/>
                  <a:pt x="2493885" y="4388166"/>
                </a:cubicBezTo>
                <a:cubicBezTo>
                  <a:pt x="2487939" y="4388166"/>
                  <a:pt x="2483149" y="4383376"/>
                  <a:pt x="2483149" y="4377430"/>
                </a:cubicBezTo>
                <a:cubicBezTo>
                  <a:pt x="2483149" y="4371483"/>
                  <a:pt x="2487939" y="4366693"/>
                  <a:pt x="2493885" y="4366693"/>
                </a:cubicBezTo>
                <a:close/>
                <a:moveTo>
                  <a:pt x="2325235" y="4364545"/>
                </a:moveTo>
                <a:cubicBezTo>
                  <a:pt x="2331182" y="4364545"/>
                  <a:pt x="2335974" y="4369335"/>
                  <a:pt x="2335974" y="4375281"/>
                </a:cubicBezTo>
                <a:cubicBezTo>
                  <a:pt x="2335974" y="4381228"/>
                  <a:pt x="2331182" y="4386017"/>
                  <a:pt x="2325235" y="4386017"/>
                </a:cubicBezTo>
                <a:cubicBezTo>
                  <a:pt x="2319289" y="4386017"/>
                  <a:pt x="2314499" y="4381228"/>
                  <a:pt x="2314499" y="4375281"/>
                </a:cubicBezTo>
                <a:cubicBezTo>
                  <a:pt x="2314499" y="4369335"/>
                  <a:pt x="2319289" y="4364545"/>
                  <a:pt x="2325235" y="4364545"/>
                </a:cubicBezTo>
                <a:close/>
                <a:moveTo>
                  <a:pt x="996846" y="4362894"/>
                </a:moveTo>
                <a:cubicBezTo>
                  <a:pt x="1002793" y="4362894"/>
                  <a:pt x="1007584" y="4367684"/>
                  <a:pt x="1007584" y="4373630"/>
                </a:cubicBezTo>
                <a:cubicBezTo>
                  <a:pt x="1007584" y="4379577"/>
                  <a:pt x="1002793" y="4384368"/>
                  <a:pt x="996846" y="4384368"/>
                </a:cubicBezTo>
                <a:cubicBezTo>
                  <a:pt x="990900" y="4384368"/>
                  <a:pt x="986110" y="4379577"/>
                  <a:pt x="986110" y="4373630"/>
                </a:cubicBezTo>
                <a:cubicBezTo>
                  <a:pt x="986110" y="4367684"/>
                  <a:pt x="990900" y="4362894"/>
                  <a:pt x="996846" y="4362894"/>
                </a:cubicBezTo>
                <a:close/>
                <a:moveTo>
                  <a:pt x="2169965" y="4362727"/>
                </a:moveTo>
                <a:cubicBezTo>
                  <a:pt x="2175911" y="4362727"/>
                  <a:pt x="2180703" y="4367517"/>
                  <a:pt x="2180703" y="4373464"/>
                </a:cubicBezTo>
                <a:cubicBezTo>
                  <a:pt x="2180703" y="4379410"/>
                  <a:pt x="2175911" y="4384202"/>
                  <a:pt x="2169965" y="4384202"/>
                </a:cubicBezTo>
                <a:cubicBezTo>
                  <a:pt x="2164019" y="4384202"/>
                  <a:pt x="2159229" y="4379410"/>
                  <a:pt x="2159229" y="4373464"/>
                </a:cubicBezTo>
                <a:cubicBezTo>
                  <a:pt x="2159229" y="4367517"/>
                  <a:pt x="2164019" y="4362727"/>
                  <a:pt x="2169965" y="4362727"/>
                </a:cubicBezTo>
                <a:close/>
                <a:moveTo>
                  <a:pt x="2651963" y="4357773"/>
                </a:moveTo>
                <a:lnTo>
                  <a:pt x="2661213" y="4367023"/>
                </a:lnTo>
                <a:lnTo>
                  <a:pt x="2668481" y="4359755"/>
                </a:lnTo>
                <a:lnTo>
                  <a:pt x="2676824" y="4368096"/>
                </a:lnTo>
                <a:lnTo>
                  <a:pt x="2683844" y="4361076"/>
                </a:lnTo>
                <a:lnTo>
                  <a:pt x="2691442" y="4368674"/>
                </a:lnTo>
                <a:lnTo>
                  <a:pt x="2698214" y="4361902"/>
                </a:lnTo>
                <a:lnTo>
                  <a:pt x="2705152" y="4368839"/>
                </a:lnTo>
                <a:lnTo>
                  <a:pt x="2711428" y="4362563"/>
                </a:lnTo>
                <a:lnTo>
                  <a:pt x="2718119" y="4369253"/>
                </a:lnTo>
                <a:lnTo>
                  <a:pt x="2724149" y="4363223"/>
                </a:lnTo>
                <a:lnTo>
                  <a:pt x="2730591" y="4369666"/>
                </a:lnTo>
                <a:lnTo>
                  <a:pt x="2736042" y="4364215"/>
                </a:lnTo>
                <a:lnTo>
                  <a:pt x="2742566" y="4370739"/>
                </a:lnTo>
                <a:lnTo>
                  <a:pt x="2747603" y="4365701"/>
                </a:lnTo>
                <a:lnTo>
                  <a:pt x="2754459" y="4372557"/>
                </a:lnTo>
                <a:lnTo>
                  <a:pt x="2758836" y="4368180"/>
                </a:lnTo>
                <a:lnTo>
                  <a:pt x="2766022" y="4375364"/>
                </a:lnTo>
                <a:lnTo>
                  <a:pt x="2769903" y="4371483"/>
                </a:lnTo>
                <a:lnTo>
                  <a:pt x="2777667" y="4379247"/>
                </a:lnTo>
                <a:lnTo>
                  <a:pt x="2780971" y="4375944"/>
                </a:lnTo>
                <a:lnTo>
                  <a:pt x="2789394" y="4384368"/>
                </a:lnTo>
                <a:lnTo>
                  <a:pt x="2792039" y="4381724"/>
                </a:lnTo>
                <a:lnTo>
                  <a:pt x="2801205" y="4390890"/>
                </a:lnTo>
                <a:lnTo>
                  <a:pt x="2803104" y="4388992"/>
                </a:lnTo>
                <a:cubicBezTo>
                  <a:pt x="2809051" y="4388992"/>
                  <a:pt x="2813842" y="4393781"/>
                  <a:pt x="2813842" y="4399728"/>
                </a:cubicBezTo>
                <a:cubicBezTo>
                  <a:pt x="2813842" y="4405674"/>
                  <a:pt x="2809051" y="4410464"/>
                  <a:pt x="2803104" y="4410464"/>
                </a:cubicBezTo>
                <a:lnTo>
                  <a:pt x="2793937" y="4401297"/>
                </a:lnTo>
                <a:lnTo>
                  <a:pt x="2792039" y="4403196"/>
                </a:lnTo>
                <a:lnTo>
                  <a:pt x="2783614" y="4394773"/>
                </a:lnTo>
                <a:lnTo>
                  <a:pt x="2780971" y="4397416"/>
                </a:lnTo>
                <a:lnTo>
                  <a:pt x="2773209" y="4389654"/>
                </a:lnTo>
                <a:lnTo>
                  <a:pt x="2769903" y="4392958"/>
                </a:lnTo>
                <a:lnTo>
                  <a:pt x="2762719" y="4385771"/>
                </a:lnTo>
                <a:lnTo>
                  <a:pt x="2758836" y="4389652"/>
                </a:lnTo>
                <a:lnTo>
                  <a:pt x="2751981" y="4382797"/>
                </a:lnTo>
                <a:lnTo>
                  <a:pt x="2747603" y="4387174"/>
                </a:lnTo>
                <a:lnTo>
                  <a:pt x="2741079" y="4380650"/>
                </a:lnTo>
                <a:lnTo>
                  <a:pt x="2736042" y="4385688"/>
                </a:lnTo>
                <a:lnTo>
                  <a:pt x="2729599" y="4379247"/>
                </a:lnTo>
                <a:lnTo>
                  <a:pt x="2724149" y="4384698"/>
                </a:lnTo>
                <a:lnTo>
                  <a:pt x="2717458" y="4378007"/>
                </a:lnTo>
                <a:lnTo>
                  <a:pt x="2711428" y="4384035"/>
                </a:lnTo>
                <a:lnTo>
                  <a:pt x="2704492" y="4377098"/>
                </a:lnTo>
                <a:lnTo>
                  <a:pt x="2698214" y="4383375"/>
                </a:lnTo>
                <a:lnTo>
                  <a:pt x="2690616" y="4375779"/>
                </a:lnTo>
                <a:lnTo>
                  <a:pt x="2683844" y="4382549"/>
                </a:lnTo>
                <a:lnTo>
                  <a:pt x="2675503" y="4374208"/>
                </a:lnTo>
                <a:lnTo>
                  <a:pt x="2668481" y="4381229"/>
                </a:lnTo>
                <a:lnTo>
                  <a:pt x="2659231" y="4371979"/>
                </a:lnTo>
                <a:lnTo>
                  <a:pt x="2651963" y="4379245"/>
                </a:lnTo>
                <a:cubicBezTo>
                  <a:pt x="2646017" y="4379245"/>
                  <a:pt x="2641227" y="4374456"/>
                  <a:pt x="2641227" y="4368509"/>
                </a:cubicBezTo>
                <a:cubicBezTo>
                  <a:pt x="2641227" y="4362563"/>
                  <a:pt x="2646017" y="4357773"/>
                  <a:pt x="2651963" y="4357773"/>
                </a:cubicBezTo>
                <a:close/>
                <a:moveTo>
                  <a:pt x="2465639" y="4357112"/>
                </a:moveTo>
                <a:cubicBezTo>
                  <a:pt x="2471585" y="4357112"/>
                  <a:pt x="2476377" y="4361902"/>
                  <a:pt x="2476377" y="4367848"/>
                </a:cubicBezTo>
                <a:cubicBezTo>
                  <a:pt x="2476377" y="4373795"/>
                  <a:pt x="2471585" y="4378586"/>
                  <a:pt x="2465639" y="4378586"/>
                </a:cubicBezTo>
                <a:cubicBezTo>
                  <a:pt x="2459692" y="4378586"/>
                  <a:pt x="2454902" y="4373795"/>
                  <a:pt x="2454902" y="4367848"/>
                </a:cubicBezTo>
                <a:cubicBezTo>
                  <a:pt x="2454902" y="4361902"/>
                  <a:pt x="2459692" y="4357112"/>
                  <a:pt x="2465639" y="4357112"/>
                </a:cubicBezTo>
                <a:close/>
                <a:moveTo>
                  <a:pt x="1751396" y="4356782"/>
                </a:moveTo>
                <a:cubicBezTo>
                  <a:pt x="1757343" y="4356782"/>
                  <a:pt x="1762134" y="4361572"/>
                  <a:pt x="1762134" y="4367519"/>
                </a:cubicBezTo>
                <a:cubicBezTo>
                  <a:pt x="1762134" y="4373465"/>
                  <a:pt x="1757343" y="4378255"/>
                  <a:pt x="1751396" y="4378255"/>
                </a:cubicBezTo>
                <a:cubicBezTo>
                  <a:pt x="1745450" y="4378255"/>
                  <a:pt x="1740660" y="4373465"/>
                  <a:pt x="1740660" y="4367519"/>
                </a:cubicBezTo>
                <a:cubicBezTo>
                  <a:pt x="1740660" y="4361572"/>
                  <a:pt x="1745450" y="4356782"/>
                  <a:pt x="1751396" y="4356782"/>
                </a:cubicBezTo>
                <a:close/>
                <a:moveTo>
                  <a:pt x="1336130" y="4356120"/>
                </a:moveTo>
                <a:cubicBezTo>
                  <a:pt x="1342076" y="4356120"/>
                  <a:pt x="1346866" y="4360910"/>
                  <a:pt x="1346866" y="4366856"/>
                </a:cubicBezTo>
                <a:cubicBezTo>
                  <a:pt x="1346866" y="4372803"/>
                  <a:pt x="1342076" y="4377594"/>
                  <a:pt x="1336130" y="4377594"/>
                </a:cubicBezTo>
                <a:cubicBezTo>
                  <a:pt x="1330183" y="4377594"/>
                  <a:pt x="1325393" y="4372803"/>
                  <a:pt x="1325393" y="4366856"/>
                </a:cubicBezTo>
                <a:cubicBezTo>
                  <a:pt x="1325393" y="4360910"/>
                  <a:pt x="1330183" y="4356120"/>
                  <a:pt x="1336130" y="4356120"/>
                </a:cubicBezTo>
                <a:close/>
                <a:moveTo>
                  <a:pt x="1020799" y="4355955"/>
                </a:moveTo>
                <a:cubicBezTo>
                  <a:pt x="1026746" y="4355955"/>
                  <a:pt x="1031537" y="4360745"/>
                  <a:pt x="1031537" y="4366692"/>
                </a:cubicBezTo>
                <a:cubicBezTo>
                  <a:pt x="1031537" y="4372638"/>
                  <a:pt x="1026746" y="4377428"/>
                  <a:pt x="1020799" y="4377428"/>
                </a:cubicBezTo>
                <a:cubicBezTo>
                  <a:pt x="1014852" y="4377428"/>
                  <a:pt x="1010063" y="4372638"/>
                  <a:pt x="1010063" y="4366692"/>
                </a:cubicBezTo>
                <a:cubicBezTo>
                  <a:pt x="1010063" y="4360745"/>
                  <a:pt x="1014852" y="4355955"/>
                  <a:pt x="1020799" y="4355955"/>
                </a:cubicBezTo>
                <a:close/>
                <a:moveTo>
                  <a:pt x="1184163" y="4355626"/>
                </a:moveTo>
                <a:cubicBezTo>
                  <a:pt x="1190109" y="4355626"/>
                  <a:pt x="1194901" y="4360416"/>
                  <a:pt x="1194901" y="4366362"/>
                </a:cubicBezTo>
                <a:cubicBezTo>
                  <a:pt x="1194901" y="4372309"/>
                  <a:pt x="1190109" y="4377100"/>
                  <a:pt x="1184163" y="4377100"/>
                </a:cubicBezTo>
                <a:cubicBezTo>
                  <a:pt x="1178216" y="4377100"/>
                  <a:pt x="1173427" y="4372309"/>
                  <a:pt x="1173427" y="4366362"/>
                </a:cubicBezTo>
                <a:cubicBezTo>
                  <a:pt x="1173427" y="4360416"/>
                  <a:pt x="1178216" y="4355626"/>
                  <a:pt x="1184163" y="4355626"/>
                </a:cubicBezTo>
                <a:close/>
                <a:moveTo>
                  <a:pt x="1875777" y="4355461"/>
                </a:moveTo>
                <a:cubicBezTo>
                  <a:pt x="1881724" y="4355461"/>
                  <a:pt x="1886516" y="4360251"/>
                  <a:pt x="1886516" y="4366197"/>
                </a:cubicBezTo>
                <a:cubicBezTo>
                  <a:pt x="1886516" y="4372144"/>
                  <a:pt x="1881724" y="4376934"/>
                  <a:pt x="1875777" y="4376934"/>
                </a:cubicBezTo>
                <a:cubicBezTo>
                  <a:pt x="1869831" y="4376934"/>
                  <a:pt x="1865041" y="4372144"/>
                  <a:pt x="1865041" y="4366197"/>
                </a:cubicBezTo>
                <a:cubicBezTo>
                  <a:pt x="1865041" y="4360251"/>
                  <a:pt x="1869831" y="4355461"/>
                  <a:pt x="1875777" y="4355461"/>
                </a:cubicBezTo>
                <a:close/>
                <a:moveTo>
                  <a:pt x="2633794" y="4354304"/>
                </a:moveTo>
                <a:cubicBezTo>
                  <a:pt x="2639741" y="4354304"/>
                  <a:pt x="2644532" y="4359094"/>
                  <a:pt x="2644532" y="4365041"/>
                </a:cubicBezTo>
                <a:cubicBezTo>
                  <a:pt x="2644532" y="4370987"/>
                  <a:pt x="2639741" y="4375777"/>
                  <a:pt x="2633794" y="4375777"/>
                </a:cubicBezTo>
                <a:cubicBezTo>
                  <a:pt x="2627847" y="4375777"/>
                  <a:pt x="2623058" y="4370987"/>
                  <a:pt x="2623058" y="4365041"/>
                </a:cubicBezTo>
                <a:cubicBezTo>
                  <a:pt x="2623058" y="4359094"/>
                  <a:pt x="2627847" y="4354304"/>
                  <a:pt x="2633794" y="4354304"/>
                </a:cubicBezTo>
                <a:close/>
                <a:moveTo>
                  <a:pt x="1627014" y="4353477"/>
                </a:moveTo>
                <a:cubicBezTo>
                  <a:pt x="1632960" y="4353477"/>
                  <a:pt x="1637750" y="4358267"/>
                  <a:pt x="1637750" y="4364213"/>
                </a:cubicBezTo>
                <a:cubicBezTo>
                  <a:pt x="1637750" y="4370160"/>
                  <a:pt x="1632960" y="4374952"/>
                  <a:pt x="1627014" y="4374952"/>
                </a:cubicBezTo>
                <a:cubicBezTo>
                  <a:pt x="1621067" y="4374952"/>
                  <a:pt x="1616277" y="4370160"/>
                  <a:pt x="1616277" y="4364213"/>
                </a:cubicBezTo>
                <a:cubicBezTo>
                  <a:pt x="1616277" y="4358267"/>
                  <a:pt x="1621067" y="4353477"/>
                  <a:pt x="1627014" y="4353477"/>
                </a:cubicBezTo>
                <a:close/>
                <a:moveTo>
                  <a:pt x="1999827" y="4350009"/>
                </a:moveTo>
                <a:cubicBezTo>
                  <a:pt x="2005774" y="4350009"/>
                  <a:pt x="2010565" y="4354799"/>
                  <a:pt x="2010565" y="4360745"/>
                </a:cubicBezTo>
                <a:cubicBezTo>
                  <a:pt x="2010565" y="4366692"/>
                  <a:pt x="2005774" y="4371481"/>
                  <a:pt x="1999827" y="4371481"/>
                </a:cubicBezTo>
                <a:cubicBezTo>
                  <a:pt x="1993881" y="4371481"/>
                  <a:pt x="1989091" y="4366692"/>
                  <a:pt x="1989091" y="4360745"/>
                </a:cubicBezTo>
                <a:cubicBezTo>
                  <a:pt x="1989091" y="4354799"/>
                  <a:pt x="1993881" y="4350009"/>
                  <a:pt x="1999827" y="4350009"/>
                </a:cubicBezTo>
                <a:close/>
                <a:moveTo>
                  <a:pt x="2613807" y="4349513"/>
                </a:moveTo>
                <a:cubicBezTo>
                  <a:pt x="2619754" y="4349513"/>
                  <a:pt x="2624546" y="4354303"/>
                  <a:pt x="2624546" y="4360249"/>
                </a:cubicBezTo>
                <a:cubicBezTo>
                  <a:pt x="2624546" y="4366196"/>
                  <a:pt x="2619754" y="4370985"/>
                  <a:pt x="2613807" y="4370985"/>
                </a:cubicBezTo>
                <a:cubicBezTo>
                  <a:pt x="2607861" y="4370985"/>
                  <a:pt x="2603071" y="4366196"/>
                  <a:pt x="2603071" y="4360249"/>
                </a:cubicBezTo>
                <a:cubicBezTo>
                  <a:pt x="2603071" y="4354303"/>
                  <a:pt x="2607861" y="4349513"/>
                  <a:pt x="2613807" y="4349513"/>
                </a:cubicBezTo>
                <a:close/>
                <a:moveTo>
                  <a:pt x="2286417" y="4347532"/>
                </a:moveTo>
                <a:cubicBezTo>
                  <a:pt x="2292364" y="4347532"/>
                  <a:pt x="2297156" y="4352322"/>
                  <a:pt x="2297156" y="4358269"/>
                </a:cubicBezTo>
                <a:cubicBezTo>
                  <a:pt x="2297156" y="4364215"/>
                  <a:pt x="2292364" y="4369005"/>
                  <a:pt x="2286417" y="4369005"/>
                </a:cubicBezTo>
                <a:cubicBezTo>
                  <a:pt x="2280471" y="4369005"/>
                  <a:pt x="2275681" y="4364215"/>
                  <a:pt x="2275681" y="4358269"/>
                </a:cubicBezTo>
                <a:cubicBezTo>
                  <a:pt x="2275681" y="4352322"/>
                  <a:pt x="2280471" y="4347532"/>
                  <a:pt x="2286417" y="4347532"/>
                </a:cubicBezTo>
                <a:close/>
                <a:moveTo>
                  <a:pt x="1047063" y="4346540"/>
                </a:moveTo>
                <a:cubicBezTo>
                  <a:pt x="1053010" y="4346540"/>
                  <a:pt x="1057800" y="4351330"/>
                  <a:pt x="1057800" y="4357277"/>
                </a:cubicBezTo>
                <a:cubicBezTo>
                  <a:pt x="1057800" y="4363223"/>
                  <a:pt x="1053010" y="4368013"/>
                  <a:pt x="1047063" y="4368013"/>
                </a:cubicBezTo>
                <a:cubicBezTo>
                  <a:pt x="1041117" y="4368013"/>
                  <a:pt x="1036327" y="4363223"/>
                  <a:pt x="1036327" y="4357277"/>
                </a:cubicBezTo>
                <a:cubicBezTo>
                  <a:pt x="1036327" y="4351330"/>
                  <a:pt x="1041117" y="4346540"/>
                  <a:pt x="1047063" y="4346540"/>
                </a:cubicBezTo>
                <a:close/>
                <a:moveTo>
                  <a:pt x="1503458" y="4346044"/>
                </a:moveTo>
                <a:cubicBezTo>
                  <a:pt x="1509404" y="4346044"/>
                  <a:pt x="1514196" y="4350834"/>
                  <a:pt x="1514196" y="4356781"/>
                </a:cubicBezTo>
                <a:cubicBezTo>
                  <a:pt x="1514196" y="4362727"/>
                  <a:pt x="1509404" y="4367517"/>
                  <a:pt x="1503458" y="4367517"/>
                </a:cubicBezTo>
                <a:cubicBezTo>
                  <a:pt x="1497511" y="4367517"/>
                  <a:pt x="1492722" y="4362727"/>
                  <a:pt x="1492722" y="4356781"/>
                </a:cubicBezTo>
                <a:cubicBezTo>
                  <a:pt x="1492722" y="4350834"/>
                  <a:pt x="1497511" y="4346044"/>
                  <a:pt x="1503458" y="4346044"/>
                </a:cubicBezTo>
                <a:close/>
                <a:moveTo>
                  <a:pt x="2434586" y="4344558"/>
                </a:moveTo>
                <a:cubicBezTo>
                  <a:pt x="2440533" y="4344558"/>
                  <a:pt x="2445323" y="4349348"/>
                  <a:pt x="2445323" y="4355295"/>
                </a:cubicBezTo>
                <a:cubicBezTo>
                  <a:pt x="2445323" y="4361241"/>
                  <a:pt x="2440533" y="4366031"/>
                  <a:pt x="2434586" y="4366031"/>
                </a:cubicBezTo>
                <a:cubicBezTo>
                  <a:pt x="2428640" y="4366031"/>
                  <a:pt x="2423850" y="4361241"/>
                  <a:pt x="2423850" y="4355295"/>
                </a:cubicBezTo>
                <a:cubicBezTo>
                  <a:pt x="2423850" y="4349348"/>
                  <a:pt x="2428640" y="4344558"/>
                  <a:pt x="2434586" y="4344558"/>
                </a:cubicBezTo>
                <a:close/>
                <a:moveTo>
                  <a:pt x="2592004" y="4342576"/>
                </a:moveTo>
                <a:cubicBezTo>
                  <a:pt x="2597950" y="4342576"/>
                  <a:pt x="2602742" y="4347366"/>
                  <a:pt x="2602742" y="4353312"/>
                </a:cubicBezTo>
                <a:cubicBezTo>
                  <a:pt x="2602742" y="4359259"/>
                  <a:pt x="2597950" y="4364050"/>
                  <a:pt x="2592004" y="4364050"/>
                </a:cubicBezTo>
                <a:cubicBezTo>
                  <a:pt x="2586057" y="4364050"/>
                  <a:pt x="2581267" y="4359259"/>
                  <a:pt x="2581267" y="4353312"/>
                </a:cubicBezTo>
                <a:cubicBezTo>
                  <a:pt x="2581267" y="4347366"/>
                  <a:pt x="2586057" y="4342576"/>
                  <a:pt x="2592004" y="4342576"/>
                </a:cubicBezTo>
                <a:close/>
                <a:moveTo>
                  <a:pt x="885680" y="4342245"/>
                </a:moveTo>
                <a:cubicBezTo>
                  <a:pt x="891626" y="4342245"/>
                  <a:pt x="896418" y="4347035"/>
                  <a:pt x="896418" y="4352981"/>
                </a:cubicBezTo>
                <a:cubicBezTo>
                  <a:pt x="896418" y="4358928"/>
                  <a:pt x="891626" y="4363719"/>
                  <a:pt x="885680" y="4363719"/>
                </a:cubicBezTo>
                <a:lnTo>
                  <a:pt x="878991" y="4357030"/>
                </a:lnTo>
                <a:lnTo>
                  <a:pt x="868997" y="4367023"/>
                </a:lnTo>
                <a:lnTo>
                  <a:pt x="862556" y="4360582"/>
                </a:lnTo>
                <a:lnTo>
                  <a:pt x="853800" y="4369336"/>
                </a:lnTo>
                <a:lnTo>
                  <a:pt x="847606" y="4363142"/>
                </a:lnTo>
                <a:lnTo>
                  <a:pt x="839925" y="4370822"/>
                </a:lnTo>
                <a:lnTo>
                  <a:pt x="833897" y="4364793"/>
                </a:lnTo>
                <a:lnTo>
                  <a:pt x="826875" y="4371814"/>
                </a:lnTo>
                <a:lnTo>
                  <a:pt x="821177" y="4366116"/>
                </a:lnTo>
                <a:lnTo>
                  <a:pt x="814653" y="4372638"/>
                </a:lnTo>
                <a:lnTo>
                  <a:pt x="809367" y="4367352"/>
                </a:lnTo>
                <a:lnTo>
                  <a:pt x="803256" y="4373465"/>
                </a:lnTo>
                <a:lnTo>
                  <a:pt x="798383" y="4368592"/>
                </a:lnTo>
                <a:lnTo>
                  <a:pt x="792188" y="4374785"/>
                </a:lnTo>
                <a:lnTo>
                  <a:pt x="787894" y="4370491"/>
                </a:lnTo>
                <a:lnTo>
                  <a:pt x="781617" y="4376767"/>
                </a:lnTo>
                <a:lnTo>
                  <a:pt x="777735" y="4372886"/>
                </a:lnTo>
                <a:lnTo>
                  <a:pt x="771210" y="4379410"/>
                </a:lnTo>
                <a:lnTo>
                  <a:pt x="767906" y="4376108"/>
                </a:lnTo>
                <a:lnTo>
                  <a:pt x="760968" y="4383045"/>
                </a:lnTo>
                <a:lnTo>
                  <a:pt x="758162" y="4380239"/>
                </a:lnTo>
                <a:lnTo>
                  <a:pt x="750562" y="4387837"/>
                </a:lnTo>
                <a:lnTo>
                  <a:pt x="748414" y="4385688"/>
                </a:lnTo>
                <a:lnTo>
                  <a:pt x="740156" y="4393946"/>
                </a:lnTo>
                <a:cubicBezTo>
                  <a:pt x="734209" y="4393946"/>
                  <a:pt x="729419" y="4389156"/>
                  <a:pt x="729419" y="4383210"/>
                </a:cubicBezTo>
                <a:cubicBezTo>
                  <a:pt x="729419" y="4377263"/>
                  <a:pt x="734209" y="4372473"/>
                  <a:pt x="740156" y="4372473"/>
                </a:cubicBezTo>
                <a:lnTo>
                  <a:pt x="742304" y="4374622"/>
                </a:lnTo>
                <a:lnTo>
                  <a:pt x="750562" y="4366362"/>
                </a:lnTo>
                <a:lnTo>
                  <a:pt x="753370" y="4369170"/>
                </a:lnTo>
                <a:lnTo>
                  <a:pt x="760968" y="4361572"/>
                </a:lnTo>
                <a:lnTo>
                  <a:pt x="764271" y="4364876"/>
                </a:lnTo>
                <a:lnTo>
                  <a:pt x="771210" y="4357937"/>
                </a:lnTo>
                <a:lnTo>
                  <a:pt x="775093" y="4361820"/>
                </a:lnTo>
                <a:lnTo>
                  <a:pt x="781617" y="4355295"/>
                </a:lnTo>
                <a:lnTo>
                  <a:pt x="785912" y="4359590"/>
                </a:lnTo>
                <a:lnTo>
                  <a:pt x="792188" y="4353312"/>
                </a:lnTo>
                <a:lnTo>
                  <a:pt x="797061" y="4358185"/>
                </a:lnTo>
                <a:lnTo>
                  <a:pt x="803256" y="4351991"/>
                </a:lnTo>
                <a:lnTo>
                  <a:pt x="808542" y="4357277"/>
                </a:lnTo>
                <a:lnTo>
                  <a:pt x="814653" y="4351165"/>
                </a:lnTo>
                <a:lnTo>
                  <a:pt x="820351" y="4356864"/>
                </a:lnTo>
                <a:lnTo>
                  <a:pt x="826875" y="4350340"/>
                </a:lnTo>
                <a:lnTo>
                  <a:pt x="832905" y="4356370"/>
                </a:lnTo>
                <a:lnTo>
                  <a:pt x="839925" y="4349348"/>
                </a:lnTo>
                <a:lnTo>
                  <a:pt x="846119" y="4355543"/>
                </a:lnTo>
                <a:lnTo>
                  <a:pt x="853800" y="4347862"/>
                </a:lnTo>
                <a:lnTo>
                  <a:pt x="860243" y="4354304"/>
                </a:lnTo>
                <a:lnTo>
                  <a:pt x="868997" y="4345550"/>
                </a:lnTo>
                <a:lnTo>
                  <a:pt x="875686" y="4352239"/>
                </a:lnTo>
                <a:close/>
                <a:moveTo>
                  <a:pt x="2122724" y="4340264"/>
                </a:moveTo>
                <a:cubicBezTo>
                  <a:pt x="2128670" y="4340264"/>
                  <a:pt x="2133462" y="4345054"/>
                  <a:pt x="2133462" y="4351001"/>
                </a:cubicBezTo>
                <a:cubicBezTo>
                  <a:pt x="2133462" y="4356947"/>
                  <a:pt x="2128670" y="4361737"/>
                  <a:pt x="2122724" y="4361737"/>
                </a:cubicBezTo>
                <a:cubicBezTo>
                  <a:pt x="2116778" y="4361737"/>
                  <a:pt x="2111988" y="4356947"/>
                  <a:pt x="2111988" y="4351001"/>
                </a:cubicBezTo>
                <a:cubicBezTo>
                  <a:pt x="2111988" y="4345054"/>
                  <a:pt x="2116778" y="4340264"/>
                  <a:pt x="2122724" y="4340264"/>
                </a:cubicBezTo>
                <a:close/>
                <a:moveTo>
                  <a:pt x="621390" y="4340264"/>
                </a:moveTo>
                <a:cubicBezTo>
                  <a:pt x="622576" y="4340264"/>
                  <a:pt x="623537" y="4341225"/>
                  <a:pt x="623537" y="4342411"/>
                </a:cubicBezTo>
                <a:cubicBezTo>
                  <a:pt x="623537" y="4343597"/>
                  <a:pt x="622576" y="4344560"/>
                  <a:pt x="621390" y="4344560"/>
                </a:cubicBezTo>
                <a:cubicBezTo>
                  <a:pt x="620204" y="4344560"/>
                  <a:pt x="619243" y="4343597"/>
                  <a:pt x="619243" y="4342411"/>
                </a:cubicBezTo>
                <a:cubicBezTo>
                  <a:pt x="619243" y="4341225"/>
                  <a:pt x="620204" y="4340264"/>
                  <a:pt x="621390" y="4340264"/>
                </a:cubicBezTo>
                <a:close/>
                <a:moveTo>
                  <a:pt x="1220832" y="4339108"/>
                </a:moveTo>
                <a:cubicBezTo>
                  <a:pt x="1226779" y="4339108"/>
                  <a:pt x="1231570" y="4343897"/>
                  <a:pt x="1231570" y="4349844"/>
                </a:cubicBezTo>
                <a:cubicBezTo>
                  <a:pt x="1231570" y="4355791"/>
                  <a:pt x="1226779" y="4360582"/>
                  <a:pt x="1220832" y="4360582"/>
                </a:cubicBezTo>
                <a:cubicBezTo>
                  <a:pt x="1214886" y="4360582"/>
                  <a:pt x="1210096" y="4355791"/>
                  <a:pt x="1210096" y="4349844"/>
                </a:cubicBezTo>
                <a:cubicBezTo>
                  <a:pt x="1210096" y="4343897"/>
                  <a:pt x="1214886" y="4339108"/>
                  <a:pt x="1220832" y="4339108"/>
                </a:cubicBezTo>
                <a:close/>
                <a:moveTo>
                  <a:pt x="903851" y="4337290"/>
                </a:moveTo>
                <a:cubicBezTo>
                  <a:pt x="909797" y="4337290"/>
                  <a:pt x="914589" y="4342080"/>
                  <a:pt x="914589" y="4348027"/>
                </a:cubicBezTo>
                <a:cubicBezTo>
                  <a:pt x="914589" y="4353973"/>
                  <a:pt x="909797" y="4358763"/>
                  <a:pt x="903851" y="4358763"/>
                </a:cubicBezTo>
                <a:cubicBezTo>
                  <a:pt x="897904" y="4358763"/>
                  <a:pt x="893114" y="4353973"/>
                  <a:pt x="893114" y="4348027"/>
                </a:cubicBezTo>
                <a:cubicBezTo>
                  <a:pt x="893114" y="4342080"/>
                  <a:pt x="897904" y="4337290"/>
                  <a:pt x="903851" y="4337290"/>
                </a:cubicBezTo>
                <a:close/>
                <a:moveTo>
                  <a:pt x="1381059" y="4334151"/>
                </a:moveTo>
                <a:cubicBezTo>
                  <a:pt x="1387006" y="4334151"/>
                  <a:pt x="1391795" y="4338941"/>
                  <a:pt x="1391795" y="4344888"/>
                </a:cubicBezTo>
                <a:cubicBezTo>
                  <a:pt x="1391795" y="4350834"/>
                  <a:pt x="1387006" y="4355624"/>
                  <a:pt x="1381059" y="4355624"/>
                </a:cubicBezTo>
                <a:cubicBezTo>
                  <a:pt x="1375112" y="4355624"/>
                  <a:pt x="1370323" y="4350834"/>
                  <a:pt x="1370323" y="4344888"/>
                </a:cubicBezTo>
                <a:cubicBezTo>
                  <a:pt x="1370323" y="4338941"/>
                  <a:pt x="1375112" y="4334151"/>
                  <a:pt x="1381059" y="4334151"/>
                </a:cubicBezTo>
                <a:close/>
                <a:moveTo>
                  <a:pt x="1075969" y="4334151"/>
                </a:moveTo>
                <a:cubicBezTo>
                  <a:pt x="1081915" y="4334151"/>
                  <a:pt x="1086705" y="4338941"/>
                  <a:pt x="1086705" y="4344888"/>
                </a:cubicBezTo>
                <a:cubicBezTo>
                  <a:pt x="1086705" y="4350834"/>
                  <a:pt x="1081915" y="4355624"/>
                  <a:pt x="1075969" y="4355624"/>
                </a:cubicBezTo>
                <a:cubicBezTo>
                  <a:pt x="1070022" y="4355624"/>
                  <a:pt x="1065232" y="4350834"/>
                  <a:pt x="1065232" y="4344888"/>
                </a:cubicBezTo>
                <a:cubicBezTo>
                  <a:pt x="1065232" y="4338941"/>
                  <a:pt x="1070022" y="4334151"/>
                  <a:pt x="1075969" y="4334151"/>
                </a:cubicBezTo>
                <a:close/>
                <a:moveTo>
                  <a:pt x="2567886" y="4333491"/>
                </a:moveTo>
                <a:cubicBezTo>
                  <a:pt x="2573833" y="4333491"/>
                  <a:pt x="2578624" y="4338280"/>
                  <a:pt x="2578624" y="4344227"/>
                </a:cubicBezTo>
                <a:cubicBezTo>
                  <a:pt x="2578624" y="4350174"/>
                  <a:pt x="2573833" y="4354963"/>
                  <a:pt x="2567886" y="4354963"/>
                </a:cubicBezTo>
                <a:cubicBezTo>
                  <a:pt x="2561940" y="4354963"/>
                  <a:pt x="2557150" y="4350174"/>
                  <a:pt x="2557150" y="4344227"/>
                </a:cubicBezTo>
                <a:cubicBezTo>
                  <a:pt x="2557150" y="4338280"/>
                  <a:pt x="2561940" y="4333491"/>
                  <a:pt x="2567886" y="4333491"/>
                </a:cubicBezTo>
                <a:close/>
                <a:moveTo>
                  <a:pt x="923837" y="4330518"/>
                </a:moveTo>
                <a:cubicBezTo>
                  <a:pt x="929784" y="4330518"/>
                  <a:pt x="934575" y="4335308"/>
                  <a:pt x="934575" y="4341255"/>
                </a:cubicBezTo>
                <a:cubicBezTo>
                  <a:pt x="934575" y="4347201"/>
                  <a:pt x="929784" y="4351991"/>
                  <a:pt x="923837" y="4351991"/>
                </a:cubicBezTo>
                <a:cubicBezTo>
                  <a:pt x="917891" y="4351991"/>
                  <a:pt x="913101" y="4347201"/>
                  <a:pt x="913101" y="4341255"/>
                </a:cubicBezTo>
                <a:cubicBezTo>
                  <a:pt x="913101" y="4335308"/>
                  <a:pt x="917891" y="4330518"/>
                  <a:pt x="923837" y="4330518"/>
                </a:cubicBezTo>
                <a:close/>
                <a:moveTo>
                  <a:pt x="2400558" y="4328371"/>
                </a:moveTo>
                <a:cubicBezTo>
                  <a:pt x="2406505" y="4328371"/>
                  <a:pt x="2411295" y="4333161"/>
                  <a:pt x="2411295" y="4339108"/>
                </a:cubicBezTo>
                <a:cubicBezTo>
                  <a:pt x="2411295" y="4345054"/>
                  <a:pt x="2406505" y="4349844"/>
                  <a:pt x="2400558" y="4349844"/>
                </a:cubicBezTo>
                <a:cubicBezTo>
                  <a:pt x="2394612" y="4349844"/>
                  <a:pt x="2389822" y="4345054"/>
                  <a:pt x="2389822" y="4339108"/>
                </a:cubicBezTo>
                <a:cubicBezTo>
                  <a:pt x="2389822" y="4333161"/>
                  <a:pt x="2394612" y="4328371"/>
                  <a:pt x="2400558" y="4328371"/>
                </a:cubicBezTo>
                <a:close/>
                <a:moveTo>
                  <a:pt x="2244131" y="4326223"/>
                </a:moveTo>
                <a:cubicBezTo>
                  <a:pt x="2250078" y="4326223"/>
                  <a:pt x="2254867" y="4331012"/>
                  <a:pt x="2254867" y="4336959"/>
                </a:cubicBezTo>
                <a:cubicBezTo>
                  <a:pt x="2254867" y="4342906"/>
                  <a:pt x="2250078" y="4347697"/>
                  <a:pt x="2244131" y="4347697"/>
                </a:cubicBezTo>
                <a:cubicBezTo>
                  <a:pt x="2238185" y="4347697"/>
                  <a:pt x="2233395" y="4342906"/>
                  <a:pt x="2233395" y="4336959"/>
                </a:cubicBezTo>
                <a:cubicBezTo>
                  <a:pt x="2233395" y="4331012"/>
                  <a:pt x="2238185" y="4326223"/>
                  <a:pt x="2244131" y="4326223"/>
                </a:cubicBezTo>
                <a:close/>
                <a:moveTo>
                  <a:pt x="1814826" y="4324240"/>
                </a:moveTo>
                <a:cubicBezTo>
                  <a:pt x="1820772" y="4324240"/>
                  <a:pt x="1825564" y="4329030"/>
                  <a:pt x="1825564" y="4334977"/>
                </a:cubicBezTo>
                <a:cubicBezTo>
                  <a:pt x="1825564" y="4340923"/>
                  <a:pt x="1820772" y="4345713"/>
                  <a:pt x="1814826" y="4345713"/>
                </a:cubicBezTo>
                <a:cubicBezTo>
                  <a:pt x="1808879" y="4345713"/>
                  <a:pt x="1804090" y="4340923"/>
                  <a:pt x="1804090" y="4334977"/>
                </a:cubicBezTo>
                <a:cubicBezTo>
                  <a:pt x="1804090" y="4329030"/>
                  <a:pt x="1808879" y="4324240"/>
                  <a:pt x="1814826" y="4324240"/>
                </a:cubicBezTo>
                <a:close/>
                <a:moveTo>
                  <a:pt x="1685818" y="4323084"/>
                </a:moveTo>
                <a:cubicBezTo>
                  <a:pt x="1691765" y="4323084"/>
                  <a:pt x="1696556" y="4327874"/>
                  <a:pt x="1696556" y="4333820"/>
                </a:cubicBezTo>
                <a:cubicBezTo>
                  <a:pt x="1696556" y="4339767"/>
                  <a:pt x="1691765" y="4344558"/>
                  <a:pt x="1685818" y="4344558"/>
                </a:cubicBezTo>
                <a:cubicBezTo>
                  <a:pt x="1679872" y="4344558"/>
                  <a:pt x="1675082" y="4339767"/>
                  <a:pt x="1675082" y="4333820"/>
                </a:cubicBezTo>
                <a:cubicBezTo>
                  <a:pt x="1675082" y="4327874"/>
                  <a:pt x="1679872" y="4323084"/>
                  <a:pt x="1685818" y="4323084"/>
                </a:cubicBezTo>
                <a:close/>
                <a:moveTo>
                  <a:pt x="2705317" y="4322754"/>
                </a:moveTo>
                <a:lnTo>
                  <a:pt x="2715972" y="4333407"/>
                </a:lnTo>
                <a:lnTo>
                  <a:pt x="2721670" y="4327709"/>
                </a:lnTo>
                <a:lnTo>
                  <a:pt x="2730756" y="4336794"/>
                </a:lnTo>
                <a:lnTo>
                  <a:pt x="2736371" y="4331179"/>
                </a:lnTo>
                <a:lnTo>
                  <a:pt x="2744383" y="4339191"/>
                </a:lnTo>
                <a:lnTo>
                  <a:pt x="2749917" y="4333657"/>
                </a:lnTo>
                <a:lnTo>
                  <a:pt x="2756937" y="4340677"/>
                </a:lnTo>
                <a:lnTo>
                  <a:pt x="2762306" y="4335308"/>
                </a:lnTo>
                <a:lnTo>
                  <a:pt x="2768665" y="4341667"/>
                </a:lnTo>
                <a:lnTo>
                  <a:pt x="2773868" y="4336465"/>
                </a:lnTo>
                <a:lnTo>
                  <a:pt x="2779898" y="4342493"/>
                </a:lnTo>
                <a:lnTo>
                  <a:pt x="2784771" y="4337620"/>
                </a:lnTo>
                <a:lnTo>
                  <a:pt x="2790552" y="4343402"/>
                </a:lnTo>
                <a:lnTo>
                  <a:pt x="2795011" y="4338943"/>
                </a:lnTo>
                <a:lnTo>
                  <a:pt x="2800709" y="4344641"/>
                </a:lnTo>
                <a:lnTo>
                  <a:pt x="2804922" y="4340429"/>
                </a:lnTo>
                <a:lnTo>
                  <a:pt x="2810868" y="4346376"/>
                </a:lnTo>
                <a:lnTo>
                  <a:pt x="2814503" y="4342741"/>
                </a:lnTo>
                <a:lnTo>
                  <a:pt x="2820779" y="4349019"/>
                </a:lnTo>
                <a:lnTo>
                  <a:pt x="2823918" y="4345880"/>
                </a:lnTo>
                <a:lnTo>
                  <a:pt x="2830690" y="4352652"/>
                </a:lnTo>
                <a:lnTo>
                  <a:pt x="2833333" y="4350009"/>
                </a:lnTo>
                <a:lnTo>
                  <a:pt x="2840767" y="4357441"/>
                </a:lnTo>
                <a:lnTo>
                  <a:pt x="2842914" y="4355295"/>
                </a:lnTo>
                <a:lnTo>
                  <a:pt x="2851089" y="4363471"/>
                </a:lnTo>
                <a:lnTo>
                  <a:pt x="2852659" y="4361902"/>
                </a:lnTo>
                <a:lnTo>
                  <a:pt x="2861661" y="4370904"/>
                </a:lnTo>
                <a:lnTo>
                  <a:pt x="2862570" y="4369995"/>
                </a:lnTo>
                <a:cubicBezTo>
                  <a:pt x="2868516" y="4369995"/>
                  <a:pt x="2873308" y="4374785"/>
                  <a:pt x="2873308" y="4380732"/>
                </a:cubicBezTo>
                <a:cubicBezTo>
                  <a:pt x="2873308" y="4386678"/>
                  <a:pt x="2868516" y="4391470"/>
                  <a:pt x="2862570" y="4391470"/>
                </a:cubicBezTo>
                <a:lnTo>
                  <a:pt x="2853568" y="4382466"/>
                </a:lnTo>
                <a:lnTo>
                  <a:pt x="2852659" y="4383375"/>
                </a:lnTo>
                <a:lnTo>
                  <a:pt x="2844482" y="4375200"/>
                </a:lnTo>
                <a:lnTo>
                  <a:pt x="2842914" y="4376767"/>
                </a:lnTo>
                <a:lnTo>
                  <a:pt x="2835482" y="4369335"/>
                </a:lnTo>
                <a:lnTo>
                  <a:pt x="2833333" y="4371481"/>
                </a:lnTo>
                <a:lnTo>
                  <a:pt x="2826561" y="4364709"/>
                </a:lnTo>
                <a:lnTo>
                  <a:pt x="2823918" y="4367352"/>
                </a:lnTo>
                <a:lnTo>
                  <a:pt x="2817642" y="4361076"/>
                </a:lnTo>
                <a:lnTo>
                  <a:pt x="2814503" y="4364215"/>
                </a:lnTo>
                <a:lnTo>
                  <a:pt x="2808557" y="4358269"/>
                </a:lnTo>
                <a:lnTo>
                  <a:pt x="2804922" y="4361902"/>
                </a:lnTo>
                <a:lnTo>
                  <a:pt x="2799223" y="4356203"/>
                </a:lnTo>
                <a:lnTo>
                  <a:pt x="2795011" y="4360416"/>
                </a:lnTo>
                <a:lnTo>
                  <a:pt x="2789229" y="4354634"/>
                </a:lnTo>
                <a:lnTo>
                  <a:pt x="2784771" y="4359092"/>
                </a:lnTo>
                <a:lnTo>
                  <a:pt x="2778743" y="4353064"/>
                </a:lnTo>
                <a:lnTo>
                  <a:pt x="2773868" y="4357939"/>
                </a:lnTo>
                <a:lnTo>
                  <a:pt x="2767508" y="4351580"/>
                </a:lnTo>
                <a:lnTo>
                  <a:pt x="2762306" y="4356781"/>
                </a:lnTo>
                <a:lnTo>
                  <a:pt x="2755286" y="4349763"/>
                </a:lnTo>
                <a:lnTo>
                  <a:pt x="2749917" y="4355130"/>
                </a:lnTo>
                <a:lnTo>
                  <a:pt x="2741905" y="4347118"/>
                </a:lnTo>
                <a:lnTo>
                  <a:pt x="2736371" y="4352652"/>
                </a:lnTo>
                <a:lnTo>
                  <a:pt x="2727286" y="4343568"/>
                </a:lnTo>
                <a:lnTo>
                  <a:pt x="2721670" y="4349183"/>
                </a:lnTo>
                <a:lnTo>
                  <a:pt x="2711017" y="4338528"/>
                </a:lnTo>
                <a:lnTo>
                  <a:pt x="2705317" y="4344227"/>
                </a:lnTo>
                <a:cubicBezTo>
                  <a:pt x="2699371" y="4344227"/>
                  <a:pt x="2694581" y="4339437"/>
                  <a:pt x="2694581" y="4333491"/>
                </a:cubicBezTo>
                <a:cubicBezTo>
                  <a:pt x="2694581" y="4327544"/>
                  <a:pt x="2699371" y="4322754"/>
                  <a:pt x="2705317" y="4322754"/>
                </a:cubicBezTo>
                <a:close/>
                <a:moveTo>
                  <a:pt x="945972" y="4321433"/>
                </a:moveTo>
                <a:cubicBezTo>
                  <a:pt x="951919" y="4321433"/>
                  <a:pt x="956709" y="4326223"/>
                  <a:pt x="956709" y="4332169"/>
                </a:cubicBezTo>
                <a:cubicBezTo>
                  <a:pt x="956709" y="4338116"/>
                  <a:pt x="951919" y="4342907"/>
                  <a:pt x="945972" y="4342907"/>
                </a:cubicBezTo>
                <a:cubicBezTo>
                  <a:pt x="940026" y="4342907"/>
                  <a:pt x="935236" y="4338116"/>
                  <a:pt x="935236" y="4332169"/>
                </a:cubicBezTo>
                <a:cubicBezTo>
                  <a:pt x="935236" y="4326223"/>
                  <a:pt x="940026" y="4321433"/>
                  <a:pt x="945972" y="4321433"/>
                </a:cubicBezTo>
                <a:close/>
                <a:moveTo>
                  <a:pt x="2541293" y="4321268"/>
                </a:moveTo>
                <a:cubicBezTo>
                  <a:pt x="2547239" y="4321268"/>
                  <a:pt x="2552031" y="4326058"/>
                  <a:pt x="2552031" y="4332004"/>
                </a:cubicBezTo>
                <a:cubicBezTo>
                  <a:pt x="2552031" y="4337951"/>
                  <a:pt x="2547239" y="4342741"/>
                  <a:pt x="2541293" y="4342741"/>
                </a:cubicBezTo>
                <a:cubicBezTo>
                  <a:pt x="2535346" y="4342741"/>
                  <a:pt x="2530556" y="4337951"/>
                  <a:pt x="2530556" y="4332004"/>
                </a:cubicBezTo>
                <a:cubicBezTo>
                  <a:pt x="2530556" y="4326058"/>
                  <a:pt x="2535346" y="4321268"/>
                  <a:pt x="2541293" y="4321268"/>
                </a:cubicBezTo>
                <a:close/>
                <a:moveTo>
                  <a:pt x="1943501" y="4320772"/>
                </a:moveTo>
                <a:cubicBezTo>
                  <a:pt x="1949447" y="4320772"/>
                  <a:pt x="1954239" y="4325562"/>
                  <a:pt x="1954239" y="4331508"/>
                </a:cubicBezTo>
                <a:cubicBezTo>
                  <a:pt x="1954239" y="4337455"/>
                  <a:pt x="1949447" y="4342245"/>
                  <a:pt x="1943501" y="4342245"/>
                </a:cubicBezTo>
                <a:cubicBezTo>
                  <a:pt x="1937554" y="4342245"/>
                  <a:pt x="1932765" y="4337455"/>
                  <a:pt x="1932765" y="4331508"/>
                </a:cubicBezTo>
                <a:cubicBezTo>
                  <a:pt x="1932765" y="4325562"/>
                  <a:pt x="1937554" y="4320772"/>
                  <a:pt x="1943501" y="4320772"/>
                </a:cubicBezTo>
                <a:close/>
                <a:moveTo>
                  <a:pt x="1260807" y="4318294"/>
                </a:moveTo>
                <a:cubicBezTo>
                  <a:pt x="1266754" y="4318294"/>
                  <a:pt x="1271543" y="4323084"/>
                  <a:pt x="1271543" y="4329030"/>
                </a:cubicBezTo>
                <a:cubicBezTo>
                  <a:pt x="1271543" y="4334977"/>
                  <a:pt x="1266754" y="4339767"/>
                  <a:pt x="1260807" y="4339767"/>
                </a:cubicBezTo>
                <a:cubicBezTo>
                  <a:pt x="1254860" y="4339767"/>
                  <a:pt x="1250071" y="4334977"/>
                  <a:pt x="1250071" y="4329030"/>
                </a:cubicBezTo>
                <a:cubicBezTo>
                  <a:pt x="1250071" y="4323084"/>
                  <a:pt x="1254860" y="4318294"/>
                  <a:pt x="1260807" y="4318294"/>
                </a:cubicBezTo>
                <a:close/>
                <a:moveTo>
                  <a:pt x="1107848" y="4318294"/>
                </a:moveTo>
                <a:cubicBezTo>
                  <a:pt x="1113795" y="4318294"/>
                  <a:pt x="1118586" y="4323084"/>
                  <a:pt x="1118586" y="4329030"/>
                </a:cubicBezTo>
                <a:cubicBezTo>
                  <a:pt x="1118586" y="4334977"/>
                  <a:pt x="1113795" y="4339767"/>
                  <a:pt x="1107848" y="4339767"/>
                </a:cubicBezTo>
                <a:cubicBezTo>
                  <a:pt x="1101902" y="4339767"/>
                  <a:pt x="1097112" y="4334977"/>
                  <a:pt x="1097112" y="4329030"/>
                </a:cubicBezTo>
                <a:cubicBezTo>
                  <a:pt x="1097112" y="4323084"/>
                  <a:pt x="1101902" y="4318294"/>
                  <a:pt x="1107848" y="4318294"/>
                </a:cubicBezTo>
                <a:close/>
                <a:moveTo>
                  <a:pt x="1557308" y="4317468"/>
                </a:moveTo>
                <a:cubicBezTo>
                  <a:pt x="1563254" y="4317468"/>
                  <a:pt x="1568046" y="4322258"/>
                  <a:pt x="1568046" y="4328205"/>
                </a:cubicBezTo>
                <a:cubicBezTo>
                  <a:pt x="1568046" y="4334151"/>
                  <a:pt x="1563254" y="4338943"/>
                  <a:pt x="1557308" y="4338943"/>
                </a:cubicBezTo>
                <a:cubicBezTo>
                  <a:pt x="1551361" y="4338943"/>
                  <a:pt x="1546572" y="4334151"/>
                  <a:pt x="1546572" y="4328205"/>
                </a:cubicBezTo>
                <a:cubicBezTo>
                  <a:pt x="1546572" y="4322258"/>
                  <a:pt x="1551361" y="4317468"/>
                  <a:pt x="1557308" y="4317468"/>
                </a:cubicBezTo>
                <a:close/>
                <a:moveTo>
                  <a:pt x="3033697" y="4316808"/>
                </a:moveTo>
                <a:cubicBezTo>
                  <a:pt x="3035844" y="4316808"/>
                  <a:pt x="3037662" y="4318625"/>
                  <a:pt x="3037662" y="4320772"/>
                </a:cubicBezTo>
                <a:cubicBezTo>
                  <a:pt x="3037662" y="4322919"/>
                  <a:pt x="3035844" y="4324736"/>
                  <a:pt x="3033697" y="4324736"/>
                </a:cubicBezTo>
                <a:cubicBezTo>
                  <a:pt x="3031551" y="4324736"/>
                  <a:pt x="3029733" y="4322919"/>
                  <a:pt x="3029733" y="4320772"/>
                </a:cubicBezTo>
                <a:cubicBezTo>
                  <a:pt x="3029733" y="4318625"/>
                  <a:pt x="3031551" y="4316808"/>
                  <a:pt x="3033697" y="4316808"/>
                </a:cubicBezTo>
                <a:close/>
                <a:moveTo>
                  <a:pt x="2687313" y="4315982"/>
                </a:moveTo>
                <a:cubicBezTo>
                  <a:pt x="2693259" y="4315982"/>
                  <a:pt x="2698051" y="4320772"/>
                  <a:pt x="2698051" y="4326719"/>
                </a:cubicBezTo>
                <a:cubicBezTo>
                  <a:pt x="2698051" y="4332665"/>
                  <a:pt x="2693259" y="4337455"/>
                  <a:pt x="2687313" y="4337455"/>
                </a:cubicBezTo>
                <a:cubicBezTo>
                  <a:pt x="2681366" y="4337455"/>
                  <a:pt x="2676576" y="4332665"/>
                  <a:pt x="2676576" y="4326719"/>
                </a:cubicBezTo>
                <a:cubicBezTo>
                  <a:pt x="2676576" y="4320772"/>
                  <a:pt x="2681366" y="4315982"/>
                  <a:pt x="2687313" y="4315982"/>
                </a:cubicBezTo>
                <a:close/>
                <a:moveTo>
                  <a:pt x="2071517" y="4312679"/>
                </a:moveTo>
                <a:cubicBezTo>
                  <a:pt x="2077463" y="4312679"/>
                  <a:pt x="2082255" y="4317468"/>
                  <a:pt x="2082255" y="4323415"/>
                </a:cubicBezTo>
                <a:cubicBezTo>
                  <a:pt x="2082255" y="4329362"/>
                  <a:pt x="2077463" y="4334153"/>
                  <a:pt x="2071517" y="4334153"/>
                </a:cubicBezTo>
                <a:cubicBezTo>
                  <a:pt x="2065570" y="4334153"/>
                  <a:pt x="2060781" y="4329362"/>
                  <a:pt x="2060781" y="4323415"/>
                </a:cubicBezTo>
                <a:cubicBezTo>
                  <a:pt x="2060781" y="4317468"/>
                  <a:pt x="2065570" y="4312679"/>
                  <a:pt x="2071517" y="4312679"/>
                </a:cubicBezTo>
                <a:close/>
                <a:moveTo>
                  <a:pt x="813661" y="4309540"/>
                </a:moveTo>
                <a:cubicBezTo>
                  <a:pt x="819607" y="4309540"/>
                  <a:pt x="824399" y="4314330"/>
                  <a:pt x="824399" y="4320276"/>
                </a:cubicBezTo>
                <a:cubicBezTo>
                  <a:pt x="824399" y="4326223"/>
                  <a:pt x="819607" y="4331014"/>
                  <a:pt x="813661" y="4331014"/>
                </a:cubicBezTo>
                <a:lnTo>
                  <a:pt x="808790" y="4326141"/>
                </a:lnTo>
                <a:lnTo>
                  <a:pt x="798960" y="4335969"/>
                </a:lnTo>
                <a:lnTo>
                  <a:pt x="794252" y="4331262"/>
                </a:lnTo>
                <a:lnTo>
                  <a:pt x="785746" y="4339767"/>
                </a:lnTo>
                <a:lnTo>
                  <a:pt x="780873" y="4334895"/>
                </a:lnTo>
                <a:lnTo>
                  <a:pt x="773521" y="4342245"/>
                </a:lnTo>
                <a:lnTo>
                  <a:pt x="768980" y="4337703"/>
                </a:lnTo>
                <a:lnTo>
                  <a:pt x="762455" y="4344227"/>
                </a:lnTo>
                <a:lnTo>
                  <a:pt x="757995" y="4339768"/>
                </a:lnTo>
                <a:lnTo>
                  <a:pt x="752049" y="4345713"/>
                </a:lnTo>
                <a:lnTo>
                  <a:pt x="747920" y="4341586"/>
                </a:lnTo>
                <a:lnTo>
                  <a:pt x="742469" y="4347036"/>
                </a:lnTo>
                <a:lnTo>
                  <a:pt x="738669" y="4343237"/>
                </a:lnTo>
                <a:lnTo>
                  <a:pt x="733217" y="4348689"/>
                </a:lnTo>
                <a:lnTo>
                  <a:pt x="729749" y="4345221"/>
                </a:lnTo>
                <a:lnTo>
                  <a:pt x="724298" y="4350671"/>
                </a:lnTo>
                <a:lnTo>
                  <a:pt x="721159" y="4347532"/>
                </a:lnTo>
                <a:lnTo>
                  <a:pt x="715544" y="4353148"/>
                </a:lnTo>
                <a:lnTo>
                  <a:pt x="712901" y="4350505"/>
                </a:lnTo>
                <a:lnTo>
                  <a:pt x="706788" y="4356616"/>
                </a:lnTo>
                <a:lnTo>
                  <a:pt x="704808" y="4354636"/>
                </a:lnTo>
                <a:lnTo>
                  <a:pt x="698200" y="4361241"/>
                </a:lnTo>
                <a:lnTo>
                  <a:pt x="696548" y="4359588"/>
                </a:lnTo>
                <a:lnTo>
                  <a:pt x="689280" y="4366856"/>
                </a:lnTo>
                <a:lnTo>
                  <a:pt x="686639" y="4364215"/>
                </a:lnTo>
                <a:lnTo>
                  <a:pt x="680194" y="4370658"/>
                </a:lnTo>
                <a:cubicBezTo>
                  <a:pt x="675999" y="4370658"/>
                  <a:pt x="672597" y="4367255"/>
                  <a:pt x="672597" y="4363060"/>
                </a:cubicBezTo>
                <a:lnTo>
                  <a:pt x="679039" y="4356616"/>
                </a:lnTo>
                <a:lnTo>
                  <a:pt x="678543" y="4356120"/>
                </a:lnTo>
                <a:cubicBezTo>
                  <a:pt x="678543" y="4350174"/>
                  <a:pt x="683333" y="4345384"/>
                  <a:pt x="689280" y="4345384"/>
                </a:cubicBezTo>
                <a:lnTo>
                  <a:pt x="690932" y="4347036"/>
                </a:lnTo>
                <a:lnTo>
                  <a:pt x="698200" y="4339768"/>
                </a:lnTo>
                <a:lnTo>
                  <a:pt x="700183" y="4341751"/>
                </a:lnTo>
                <a:lnTo>
                  <a:pt x="706788" y="4335143"/>
                </a:lnTo>
                <a:lnTo>
                  <a:pt x="709433" y="4337788"/>
                </a:lnTo>
                <a:lnTo>
                  <a:pt x="715544" y="4331675"/>
                </a:lnTo>
                <a:lnTo>
                  <a:pt x="718683" y="4334814"/>
                </a:lnTo>
                <a:lnTo>
                  <a:pt x="724298" y="4329197"/>
                </a:lnTo>
                <a:lnTo>
                  <a:pt x="727766" y="4332665"/>
                </a:lnTo>
                <a:lnTo>
                  <a:pt x="733217" y="4327215"/>
                </a:lnTo>
                <a:lnTo>
                  <a:pt x="737017" y="4331014"/>
                </a:lnTo>
                <a:lnTo>
                  <a:pt x="742469" y="4325562"/>
                </a:lnTo>
                <a:lnTo>
                  <a:pt x="746598" y="4329691"/>
                </a:lnTo>
                <a:lnTo>
                  <a:pt x="752049" y="4324240"/>
                </a:lnTo>
                <a:lnTo>
                  <a:pt x="756509" y="4328701"/>
                </a:lnTo>
                <a:lnTo>
                  <a:pt x="762455" y="4322754"/>
                </a:lnTo>
                <a:lnTo>
                  <a:pt x="766997" y="4327296"/>
                </a:lnTo>
                <a:lnTo>
                  <a:pt x="773521" y="4320772"/>
                </a:lnTo>
                <a:lnTo>
                  <a:pt x="778394" y="4325645"/>
                </a:lnTo>
                <a:lnTo>
                  <a:pt x="785746" y="4318294"/>
                </a:lnTo>
                <a:lnTo>
                  <a:pt x="790454" y="4323002"/>
                </a:lnTo>
                <a:lnTo>
                  <a:pt x="798960" y="4314496"/>
                </a:lnTo>
                <a:lnTo>
                  <a:pt x="803833" y="4319369"/>
                </a:lnTo>
                <a:close/>
                <a:moveTo>
                  <a:pt x="970584" y="4309375"/>
                </a:moveTo>
                <a:cubicBezTo>
                  <a:pt x="976530" y="4309375"/>
                  <a:pt x="981322" y="4314165"/>
                  <a:pt x="981322" y="4320111"/>
                </a:cubicBezTo>
                <a:cubicBezTo>
                  <a:pt x="981322" y="4326058"/>
                  <a:pt x="976530" y="4330848"/>
                  <a:pt x="970584" y="4330848"/>
                </a:cubicBezTo>
                <a:cubicBezTo>
                  <a:pt x="964637" y="4330848"/>
                  <a:pt x="959848" y="4326058"/>
                  <a:pt x="959848" y="4320111"/>
                </a:cubicBezTo>
                <a:cubicBezTo>
                  <a:pt x="959848" y="4314165"/>
                  <a:pt x="964637" y="4309375"/>
                  <a:pt x="970584" y="4309375"/>
                </a:cubicBezTo>
                <a:close/>
                <a:moveTo>
                  <a:pt x="2363226" y="4308218"/>
                </a:moveTo>
                <a:cubicBezTo>
                  <a:pt x="2369173" y="4308218"/>
                  <a:pt x="2373964" y="4313008"/>
                  <a:pt x="2373964" y="4318955"/>
                </a:cubicBezTo>
                <a:cubicBezTo>
                  <a:pt x="2373964" y="4324901"/>
                  <a:pt x="2369173" y="4329691"/>
                  <a:pt x="2363226" y="4329691"/>
                </a:cubicBezTo>
                <a:cubicBezTo>
                  <a:pt x="2357280" y="4329691"/>
                  <a:pt x="2352490" y="4324901"/>
                  <a:pt x="2352490" y="4318955"/>
                </a:cubicBezTo>
                <a:cubicBezTo>
                  <a:pt x="2352490" y="4313008"/>
                  <a:pt x="2357280" y="4308218"/>
                  <a:pt x="2363226" y="4308218"/>
                </a:cubicBezTo>
                <a:close/>
                <a:moveTo>
                  <a:pt x="1429953" y="4307393"/>
                </a:moveTo>
                <a:cubicBezTo>
                  <a:pt x="1435899" y="4307393"/>
                  <a:pt x="1440691" y="4312183"/>
                  <a:pt x="1440691" y="4318129"/>
                </a:cubicBezTo>
                <a:cubicBezTo>
                  <a:pt x="1440691" y="4324076"/>
                  <a:pt x="1435899" y="4328866"/>
                  <a:pt x="1429953" y="4328866"/>
                </a:cubicBezTo>
                <a:cubicBezTo>
                  <a:pt x="1424006" y="4328866"/>
                  <a:pt x="1419216" y="4324076"/>
                  <a:pt x="1419216" y="4318129"/>
                </a:cubicBezTo>
                <a:cubicBezTo>
                  <a:pt x="1419216" y="4312183"/>
                  <a:pt x="1424006" y="4307393"/>
                  <a:pt x="1429953" y="4307393"/>
                </a:cubicBezTo>
                <a:close/>
                <a:moveTo>
                  <a:pt x="2667326" y="4306897"/>
                </a:moveTo>
                <a:cubicBezTo>
                  <a:pt x="2673273" y="4306897"/>
                  <a:pt x="2678064" y="4311687"/>
                  <a:pt x="2678064" y="4317633"/>
                </a:cubicBezTo>
                <a:cubicBezTo>
                  <a:pt x="2678064" y="4323580"/>
                  <a:pt x="2673273" y="4328370"/>
                  <a:pt x="2667326" y="4328370"/>
                </a:cubicBezTo>
                <a:cubicBezTo>
                  <a:pt x="2661380" y="4328370"/>
                  <a:pt x="2656590" y="4323580"/>
                  <a:pt x="2656590" y="4317633"/>
                </a:cubicBezTo>
                <a:cubicBezTo>
                  <a:pt x="2656590" y="4311687"/>
                  <a:pt x="2661380" y="4306897"/>
                  <a:pt x="2667326" y="4306897"/>
                </a:cubicBezTo>
                <a:close/>
                <a:moveTo>
                  <a:pt x="2512056" y="4305907"/>
                </a:moveTo>
                <a:cubicBezTo>
                  <a:pt x="2518003" y="4305907"/>
                  <a:pt x="2522792" y="4310696"/>
                  <a:pt x="2522792" y="4316643"/>
                </a:cubicBezTo>
                <a:cubicBezTo>
                  <a:pt x="2522792" y="4322590"/>
                  <a:pt x="2518003" y="4327379"/>
                  <a:pt x="2512056" y="4327379"/>
                </a:cubicBezTo>
                <a:cubicBezTo>
                  <a:pt x="2506109" y="4327379"/>
                  <a:pt x="2501320" y="4322590"/>
                  <a:pt x="2501320" y="4316643"/>
                </a:cubicBezTo>
                <a:cubicBezTo>
                  <a:pt x="2501320" y="4310696"/>
                  <a:pt x="2506109" y="4305907"/>
                  <a:pt x="2512056" y="4305907"/>
                </a:cubicBezTo>
                <a:close/>
                <a:moveTo>
                  <a:pt x="830014" y="4302603"/>
                </a:moveTo>
                <a:cubicBezTo>
                  <a:pt x="835961" y="4302603"/>
                  <a:pt x="840752" y="4307393"/>
                  <a:pt x="840752" y="4313339"/>
                </a:cubicBezTo>
                <a:cubicBezTo>
                  <a:pt x="840752" y="4319286"/>
                  <a:pt x="835961" y="4324076"/>
                  <a:pt x="830014" y="4324076"/>
                </a:cubicBezTo>
                <a:cubicBezTo>
                  <a:pt x="824068" y="4324076"/>
                  <a:pt x="819278" y="4319286"/>
                  <a:pt x="819278" y="4313339"/>
                </a:cubicBezTo>
                <a:cubicBezTo>
                  <a:pt x="819278" y="4307393"/>
                  <a:pt x="824068" y="4302603"/>
                  <a:pt x="830014" y="4302603"/>
                </a:cubicBezTo>
                <a:close/>
                <a:moveTo>
                  <a:pt x="2198045" y="4300290"/>
                </a:moveTo>
                <a:cubicBezTo>
                  <a:pt x="2203992" y="4300290"/>
                  <a:pt x="2208783" y="4305079"/>
                  <a:pt x="2208783" y="4311026"/>
                </a:cubicBezTo>
                <a:cubicBezTo>
                  <a:pt x="2208783" y="4316972"/>
                  <a:pt x="2203992" y="4321764"/>
                  <a:pt x="2198045" y="4321764"/>
                </a:cubicBezTo>
                <a:cubicBezTo>
                  <a:pt x="2192099" y="4321764"/>
                  <a:pt x="2187308" y="4316972"/>
                  <a:pt x="2187308" y="4311026"/>
                </a:cubicBezTo>
                <a:cubicBezTo>
                  <a:pt x="2187308" y="4305079"/>
                  <a:pt x="2192099" y="4300290"/>
                  <a:pt x="2198045" y="4300290"/>
                </a:cubicBezTo>
                <a:close/>
                <a:moveTo>
                  <a:pt x="3088538" y="4299960"/>
                </a:moveTo>
                <a:cubicBezTo>
                  <a:pt x="3088722" y="4299960"/>
                  <a:pt x="3088869" y="4300108"/>
                  <a:pt x="3088869" y="4300290"/>
                </a:cubicBezTo>
                <a:cubicBezTo>
                  <a:pt x="3088869" y="4300473"/>
                  <a:pt x="3088722" y="4300621"/>
                  <a:pt x="3088538" y="4300621"/>
                </a:cubicBezTo>
                <a:cubicBezTo>
                  <a:pt x="3088356" y="4300621"/>
                  <a:pt x="3088208" y="4300473"/>
                  <a:pt x="3088208" y="4300290"/>
                </a:cubicBezTo>
                <a:cubicBezTo>
                  <a:pt x="3088208" y="4300108"/>
                  <a:pt x="3088356" y="4299960"/>
                  <a:pt x="3088538" y="4299960"/>
                </a:cubicBezTo>
                <a:close/>
                <a:moveTo>
                  <a:pt x="1142702" y="4298639"/>
                </a:moveTo>
                <a:cubicBezTo>
                  <a:pt x="1148648" y="4298639"/>
                  <a:pt x="1153440" y="4303428"/>
                  <a:pt x="1153440" y="4309375"/>
                </a:cubicBezTo>
                <a:cubicBezTo>
                  <a:pt x="1153440" y="4315322"/>
                  <a:pt x="1148648" y="4320111"/>
                  <a:pt x="1142702" y="4320111"/>
                </a:cubicBezTo>
                <a:cubicBezTo>
                  <a:pt x="1136755" y="4320111"/>
                  <a:pt x="1131966" y="4315322"/>
                  <a:pt x="1131966" y="4309375"/>
                </a:cubicBezTo>
                <a:cubicBezTo>
                  <a:pt x="1131966" y="4303428"/>
                  <a:pt x="1136755" y="4298639"/>
                  <a:pt x="1142702" y="4298639"/>
                </a:cubicBezTo>
                <a:close/>
                <a:moveTo>
                  <a:pt x="2645191" y="4295004"/>
                </a:moveTo>
                <a:cubicBezTo>
                  <a:pt x="2651138" y="4295004"/>
                  <a:pt x="2655927" y="4299794"/>
                  <a:pt x="2655927" y="4305740"/>
                </a:cubicBezTo>
                <a:cubicBezTo>
                  <a:pt x="2655927" y="4311687"/>
                  <a:pt x="2651138" y="4316477"/>
                  <a:pt x="2645191" y="4316477"/>
                </a:cubicBezTo>
                <a:cubicBezTo>
                  <a:pt x="2639245" y="4316477"/>
                  <a:pt x="2634455" y="4311687"/>
                  <a:pt x="2634455" y="4305740"/>
                </a:cubicBezTo>
                <a:cubicBezTo>
                  <a:pt x="2634455" y="4299794"/>
                  <a:pt x="2639245" y="4295004"/>
                  <a:pt x="2645191" y="4295004"/>
                </a:cubicBezTo>
                <a:close/>
                <a:moveTo>
                  <a:pt x="997674" y="4294178"/>
                </a:moveTo>
                <a:cubicBezTo>
                  <a:pt x="1003620" y="4294178"/>
                  <a:pt x="1008412" y="4298968"/>
                  <a:pt x="1008412" y="4304915"/>
                </a:cubicBezTo>
                <a:cubicBezTo>
                  <a:pt x="1008412" y="4310861"/>
                  <a:pt x="1003620" y="4315653"/>
                  <a:pt x="997674" y="4315653"/>
                </a:cubicBezTo>
                <a:cubicBezTo>
                  <a:pt x="991727" y="4315653"/>
                  <a:pt x="986937" y="4310861"/>
                  <a:pt x="986937" y="4304915"/>
                </a:cubicBezTo>
                <a:cubicBezTo>
                  <a:pt x="986937" y="4298968"/>
                  <a:pt x="991727" y="4294178"/>
                  <a:pt x="997674" y="4294178"/>
                </a:cubicBezTo>
                <a:close/>
                <a:moveTo>
                  <a:pt x="848019" y="4293518"/>
                </a:moveTo>
                <a:cubicBezTo>
                  <a:pt x="853965" y="4293518"/>
                  <a:pt x="858755" y="4298307"/>
                  <a:pt x="858755" y="4304254"/>
                </a:cubicBezTo>
                <a:cubicBezTo>
                  <a:pt x="858755" y="4310200"/>
                  <a:pt x="853965" y="4314990"/>
                  <a:pt x="848019" y="4314990"/>
                </a:cubicBezTo>
                <a:cubicBezTo>
                  <a:pt x="842072" y="4314990"/>
                  <a:pt x="837282" y="4310200"/>
                  <a:pt x="837282" y="4304254"/>
                </a:cubicBezTo>
                <a:cubicBezTo>
                  <a:pt x="837282" y="4298307"/>
                  <a:pt x="842072" y="4293518"/>
                  <a:pt x="848019" y="4293518"/>
                </a:cubicBezTo>
                <a:close/>
                <a:moveTo>
                  <a:pt x="1304415" y="4293022"/>
                </a:moveTo>
                <a:cubicBezTo>
                  <a:pt x="1310361" y="4293022"/>
                  <a:pt x="1315151" y="4297811"/>
                  <a:pt x="1315151" y="4303758"/>
                </a:cubicBezTo>
                <a:cubicBezTo>
                  <a:pt x="1315151" y="4309705"/>
                  <a:pt x="1310361" y="4314496"/>
                  <a:pt x="1304415" y="4314496"/>
                </a:cubicBezTo>
                <a:cubicBezTo>
                  <a:pt x="1298468" y="4314496"/>
                  <a:pt x="1293679" y="4309705"/>
                  <a:pt x="1293679" y="4303758"/>
                </a:cubicBezTo>
                <a:cubicBezTo>
                  <a:pt x="1293679" y="4297811"/>
                  <a:pt x="1298468" y="4293022"/>
                  <a:pt x="1304415" y="4293022"/>
                </a:cubicBezTo>
                <a:close/>
                <a:moveTo>
                  <a:pt x="1749248" y="4286910"/>
                </a:moveTo>
                <a:cubicBezTo>
                  <a:pt x="1755194" y="4286910"/>
                  <a:pt x="1759986" y="4291700"/>
                  <a:pt x="1759986" y="4297647"/>
                </a:cubicBezTo>
                <a:cubicBezTo>
                  <a:pt x="1759986" y="4303593"/>
                  <a:pt x="1755194" y="4308385"/>
                  <a:pt x="1749248" y="4308385"/>
                </a:cubicBezTo>
                <a:cubicBezTo>
                  <a:pt x="1743301" y="4308385"/>
                  <a:pt x="1738511" y="4303593"/>
                  <a:pt x="1738511" y="4297647"/>
                </a:cubicBezTo>
                <a:cubicBezTo>
                  <a:pt x="1738511" y="4291700"/>
                  <a:pt x="1743301" y="4286910"/>
                  <a:pt x="1749248" y="4286910"/>
                </a:cubicBezTo>
                <a:close/>
                <a:moveTo>
                  <a:pt x="2779650" y="4286746"/>
                </a:moveTo>
                <a:lnTo>
                  <a:pt x="2790221" y="4297315"/>
                </a:lnTo>
                <a:lnTo>
                  <a:pt x="2793854" y="4293682"/>
                </a:lnTo>
                <a:lnTo>
                  <a:pt x="2802940" y="4302768"/>
                </a:lnTo>
                <a:lnTo>
                  <a:pt x="2806739" y="4298968"/>
                </a:lnTo>
                <a:lnTo>
                  <a:pt x="2814420" y="4306649"/>
                </a:lnTo>
                <a:lnTo>
                  <a:pt x="2818301" y="4302768"/>
                </a:lnTo>
                <a:lnTo>
                  <a:pt x="2824992" y="4309457"/>
                </a:lnTo>
                <a:lnTo>
                  <a:pt x="2828873" y="4305575"/>
                </a:lnTo>
                <a:lnTo>
                  <a:pt x="2834821" y="4311522"/>
                </a:lnTo>
                <a:lnTo>
                  <a:pt x="2838454" y="4307889"/>
                </a:lnTo>
                <a:lnTo>
                  <a:pt x="2843905" y="4313339"/>
                </a:lnTo>
                <a:lnTo>
                  <a:pt x="2847539" y="4309705"/>
                </a:lnTo>
                <a:lnTo>
                  <a:pt x="2852577" y="4314742"/>
                </a:lnTo>
                <a:lnTo>
                  <a:pt x="2855962" y="4311357"/>
                </a:lnTo>
                <a:lnTo>
                  <a:pt x="2861002" y="4316397"/>
                </a:lnTo>
                <a:lnTo>
                  <a:pt x="2864058" y="4313339"/>
                </a:lnTo>
                <a:lnTo>
                  <a:pt x="2869177" y="4318459"/>
                </a:lnTo>
                <a:lnTo>
                  <a:pt x="2871820" y="4315816"/>
                </a:lnTo>
                <a:lnTo>
                  <a:pt x="2877189" y="4321185"/>
                </a:lnTo>
                <a:lnTo>
                  <a:pt x="2879584" y="4318790"/>
                </a:lnTo>
                <a:lnTo>
                  <a:pt x="2885530" y="4324736"/>
                </a:lnTo>
                <a:lnTo>
                  <a:pt x="2887512" y="4322754"/>
                </a:lnTo>
                <a:lnTo>
                  <a:pt x="2893872" y="4329114"/>
                </a:lnTo>
                <a:lnTo>
                  <a:pt x="2895276" y="4327709"/>
                </a:lnTo>
                <a:lnTo>
                  <a:pt x="2902463" y="4334894"/>
                </a:lnTo>
                <a:lnTo>
                  <a:pt x="2903535" y="4333822"/>
                </a:lnTo>
                <a:lnTo>
                  <a:pt x="2911547" y="4341832"/>
                </a:lnTo>
                <a:lnTo>
                  <a:pt x="2911959" y="4341419"/>
                </a:lnTo>
                <a:cubicBezTo>
                  <a:pt x="2917906" y="4341419"/>
                  <a:pt x="2922697" y="4346209"/>
                  <a:pt x="2922697" y="4352156"/>
                </a:cubicBezTo>
                <a:lnTo>
                  <a:pt x="2922614" y="4352241"/>
                </a:lnTo>
                <a:lnTo>
                  <a:pt x="2931452" y="4361076"/>
                </a:lnTo>
                <a:cubicBezTo>
                  <a:pt x="2931452" y="4367023"/>
                  <a:pt x="2926660" y="4371814"/>
                  <a:pt x="2920713" y="4371814"/>
                </a:cubicBezTo>
                <a:cubicBezTo>
                  <a:pt x="2914767" y="4371814"/>
                  <a:pt x="2909977" y="4367023"/>
                  <a:pt x="2909977" y="4361076"/>
                </a:cubicBezTo>
                <a:lnTo>
                  <a:pt x="2910060" y="4360993"/>
                </a:lnTo>
                <a:lnTo>
                  <a:pt x="2903949" y="4354882"/>
                </a:lnTo>
                <a:lnTo>
                  <a:pt x="2903535" y="4355296"/>
                </a:lnTo>
                <a:lnTo>
                  <a:pt x="2896350" y="4348110"/>
                </a:lnTo>
                <a:lnTo>
                  <a:pt x="2895276" y="4349183"/>
                </a:lnTo>
                <a:lnTo>
                  <a:pt x="2888917" y="4342824"/>
                </a:lnTo>
                <a:lnTo>
                  <a:pt x="2887512" y="4344227"/>
                </a:lnTo>
                <a:lnTo>
                  <a:pt x="2881566" y="4338280"/>
                </a:lnTo>
                <a:lnTo>
                  <a:pt x="2879584" y="4340263"/>
                </a:lnTo>
                <a:lnTo>
                  <a:pt x="2874215" y="4334895"/>
                </a:lnTo>
                <a:lnTo>
                  <a:pt x="2871820" y="4337290"/>
                </a:lnTo>
                <a:lnTo>
                  <a:pt x="2866700" y="4332171"/>
                </a:lnTo>
                <a:lnTo>
                  <a:pt x="2864058" y="4334814"/>
                </a:lnTo>
                <a:lnTo>
                  <a:pt x="2859018" y="4329774"/>
                </a:lnTo>
                <a:lnTo>
                  <a:pt x="2855962" y="4332830"/>
                </a:lnTo>
                <a:lnTo>
                  <a:pt x="2850925" y="4327794"/>
                </a:lnTo>
                <a:lnTo>
                  <a:pt x="2847539" y="4331179"/>
                </a:lnTo>
                <a:lnTo>
                  <a:pt x="2842089" y="4325728"/>
                </a:lnTo>
                <a:lnTo>
                  <a:pt x="2838454" y="4329362"/>
                </a:lnTo>
                <a:lnTo>
                  <a:pt x="2832508" y="4323415"/>
                </a:lnTo>
                <a:lnTo>
                  <a:pt x="2828873" y="4327050"/>
                </a:lnTo>
                <a:lnTo>
                  <a:pt x="2822184" y="4320359"/>
                </a:lnTo>
                <a:lnTo>
                  <a:pt x="2818301" y="4324240"/>
                </a:lnTo>
                <a:lnTo>
                  <a:pt x="2810620" y="4316560"/>
                </a:lnTo>
                <a:lnTo>
                  <a:pt x="2806739" y="4320441"/>
                </a:lnTo>
                <a:lnTo>
                  <a:pt x="2797654" y="4311357"/>
                </a:lnTo>
                <a:lnTo>
                  <a:pt x="2793854" y="4315157"/>
                </a:lnTo>
                <a:lnTo>
                  <a:pt x="2783284" y="4304585"/>
                </a:lnTo>
                <a:lnTo>
                  <a:pt x="2779650" y="4308218"/>
                </a:lnTo>
                <a:cubicBezTo>
                  <a:pt x="2773703" y="4308218"/>
                  <a:pt x="2768913" y="4303428"/>
                  <a:pt x="2768913" y="4297482"/>
                </a:cubicBezTo>
                <a:cubicBezTo>
                  <a:pt x="2768913" y="4291535"/>
                  <a:pt x="2773703" y="4286746"/>
                  <a:pt x="2779650" y="4286746"/>
                </a:cubicBezTo>
                <a:close/>
                <a:moveTo>
                  <a:pt x="2479681" y="4286579"/>
                </a:moveTo>
                <a:cubicBezTo>
                  <a:pt x="2485627" y="4286579"/>
                  <a:pt x="2490418" y="4291369"/>
                  <a:pt x="2490418" y="4297315"/>
                </a:cubicBezTo>
                <a:cubicBezTo>
                  <a:pt x="2490418" y="4303262"/>
                  <a:pt x="2485627" y="4308052"/>
                  <a:pt x="2479681" y="4308052"/>
                </a:cubicBezTo>
                <a:cubicBezTo>
                  <a:pt x="2473734" y="4308052"/>
                  <a:pt x="2468944" y="4303262"/>
                  <a:pt x="2468944" y="4297315"/>
                </a:cubicBezTo>
                <a:cubicBezTo>
                  <a:pt x="2468944" y="4291369"/>
                  <a:pt x="2473734" y="4286579"/>
                  <a:pt x="2479681" y="4286579"/>
                </a:cubicBezTo>
                <a:close/>
                <a:moveTo>
                  <a:pt x="1882879" y="4285589"/>
                </a:moveTo>
                <a:cubicBezTo>
                  <a:pt x="1888825" y="4285589"/>
                  <a:pt x="1893617" y="4290379"/>
                  <a:pt x="1893617" y="4296325"/>
                </a:cubicBezTo>
                <a:cubicBezTo>
                  <a:pt x="1893617" y="4302272"/>
                  <a:pt x="1888825" y="4307062"/>
                  <a:pt x="1882879" y="4307062"/>
                </a:cubicBezTo>
                <a:cubicBezTo>
                  <a:pt x="1876932" y="4307062"/>
                  <a:pt x="1872143" y="4302272"/>
                  <a:pt x="1872143" y="4296325"/>
                </a:cubicBezTo>
                <a:cubicBezTo>
                  <a:pt x="1872143" y="4290379"/>
                  <a:pt x="1876932" y="4285589"/>
                  <a:pt x="1882879" y="4285589"/>
                </a:cubicBezTo>
                <a:close/>
                <a:moveTo>
                  <a:pt x="2322428" y="4283440"/>
                </a:moveTo>
                <a:cubicBezTo>
                  <a:pt x="2328374" y="4283440"/>
                  <a:pt x="2333166" y="4288230"/>
                  <a:pt x="2333166" y="4294177"/>
                </a:cubicBezTo>
                <a:cubicBezTo>
                  <a:pt x="2333166" y="4300123"/>
                  <a:pt x="2328374" y="4304913"/>
                  <a:pt x="2322428" y="4304913"/>
                </a:cubicBezTo>
                <a:cubicBezTo>
                  <a:pt x="2316481" y="4304913"/>
                  <a:pt x="2311691" y="4300123"/>
                  <a:pt x="2311691" y="4294177"/>
                </a:cubicBezTo>
                <a:cubicBezTo>
                  <a:pt x="2311691" y="4288230"/>
                  <a:pt x="2316481" y="4283440"/>
                  <a:pt x="2322428" y="4283440"/>
                </a:cubicBezTo>
                <a:close/>
                <a:moveTo>
                  <a:pt x="1615781" y="4283276"/>
                </a:moveTo>
                <a:cubicBezTo>
                  <a:pt x="1621728" y="4283276"/>
                  <a:pt x="1626519" y="4288065"/>
                  <a:pt x="1626519" y="4294012"/>
                </a:cubicBezTo>
                <a:cubicBezTo>
                  <a:pt x="1626519" y="4299958"/>
                  <a:pt x="1621728" y="4304750"/>
                  <a:pt x="1615781" y="4304750"/>
                </a:cubicBezTo>
                <a:cubicBezTo>
                  <a:pt x="1609835" y="4304750"/>
                  <a:pt x="1605045" y="4299958"/>
                  <a:pt x="1605045" y="4294012"/>
                </a:cubicBezTo>
                <a:cubicBezTo>
                  <a:pt x="1605045" y="4288065"/>
                  <a:pt x="1609835" y="4283276"/>
                  <a:pt x="1615781" y="4283276"/>
                </a:cubicBezTo>
                <a:close/>
                <a:moveTo>
                  <a:pt x="868172" y="4281789"/>
                </a:moveTo>
                <a:cubicBezTo>
                  <a:pt x="874118" y="4281789"/>
                  <a:pt x="878908" y="4286579"/>
                  <a:pt x="878908" y="4292526"/>
                </a:cubicBezTo>
                <a:cubicBezTo>
                  <a:pt x="878908" y="4298472"/>
                  <a:pt x="874118" y="4303264"/>
                  <a:pt x="868172" y="4303264"/>
                </a:cubicBezTo>
                <a:cubicBezTo>
                  <a:pt x="862225" y="4303264"/>
                  <a:pt x="857435" y="4298472"/>
                  <a:pt x="857435" y="4292526"/>
                </a:cubicBezTo>
                <a:cubicBezTo>
                  <a:pt x="857435" y="4286579"/>
                  <a:pt x="862225" y="4281789"/>
                  <a:pt x="868172" y="4281789"/>
                </a:cubicBezTo>
                <a:close/>
                <a:moveTo>
                  <a:pt x="2620415" y="4279972"/>
                </a:moveTo>
                <a:cubicBezTo>
                  <a:pt x="2626361" y="4279972"/>
                  <a:pt x="2631151" y="4284762"/>
                  <a:pt x="2631151" y="4290708"/>
                </a:cubicBezTo>
                <a:cubicBezTo>
                  <a:pt x="2631151" y="4296655"/>
                  <a:pt x="2626361" y="4301445"/>
                  <a:pt x="2620415" y="4301445"/>
                </a:cubicBezTo>
                <a:cubicBezTo>
                  <a:pt x="2614468" y="4301445"/>
                  <a:pt x="2609678" y="4296655"/>
                  <a:pt x="2609678" y="4290708"/>
                </a:cubicBezTo>
                <a:cubicBezTo>
                  <a:pt x="2609678" y="4284762"/>
                  <a:pt x="2614468" y="4279972"/>
                  <a:pt x="2620415" y="4279972"/>
                </a:cubicBezTo>
                <a:close/>
                <a:moveTo>
                  <a:pt x="2015851" y="4279478"/>
                </a:moveTo>
                <a:cubicBezTo>
                  <a:pt x="2021798" y="4279478"/>
                  <a:pt x="2026589" y="4284267"/>
                  <a:pt x="2026589" y="4290214"/>
                </a:cubicBezTo>
                <a:cubicBezTo>
                  <a:pt x="2026589" y="4296161"/>
                  <a:pt x="2021798" y="4300950"/>
                  <a:pt x="2015851" y="4300950"/>
                </a:cubicBezTo>
                <a:cubicBezTo>
                  <a:pt x="2009905" y="4300950"/>
                  <a:pt x="2005115" y="4296161"/>
                  <a:pt x="2005115" y="4290214"/>
                </a:cubicBezTo>
                <a:cubicBezTo>
                  <a:pt x="2005115" y="4284267"/>
                  <a:pt x="2009905" y="4279478"/>
                  <a:pt x="2015851" y="4279478"/>
                </a:cubicBezTo>
                <a:close/>
                <a:moveTo>
                  <a:pt x="2763627" y="4277660"/>
                </a:moveTo>
                <a:cubicBezTo>
                  <a:pt x="2769574" y="4277660"/>
                  <a:pt x="2774365" y="4282450"/>
                  <a:pt x="2774365" y="4288397"/>
                </a:cubicBezTo>
                <a:cubicBezTo>
                  <a:pt x="2774365" y="4294343"/>
                  <a:pt x="2769574" y="4299135"/>
                  <a:pt x="2763627" y="4299135"/>
                </a:cubicBezTo>
                <a:cubicBezTo>
                  <a:pt x="2757681" y="4299135"/>
                  <a:pt x="2752891" y="4294343"/>
                  <a:pt x="2752891" y="4288397"/>
                </a:cubicBezTo>
                <a:cubicBezTo>
                  <a:pt x="2752891" y="4282450"/>
                  <a:pt x="2757681" y="4277660"/>
                  <a:pt x="2763627" y="4277660"/>
                </a:cubicBezTo>
                <a:close/>
                <a:moveTo>
                  <a:pt x="1483140" y="4275182"/>
                </a:moveTo>
                <a:cubicBezTo>
                  <a:pt x="1489087" y="4275182"/>
                  <a:pt x="1493878" y="4279972"/>
                  <a:pt x="1493878" y="4285918"/>
                </a:cubicBezTo>
                <a:cubicBezTo>
                  <a:pt x="1493878" y="4291865"/>
                  <a:pt x="1489087" y="4296655"/>
                  <a:pt x="1483140" y="4296655"/>
                </a:cubicBezTo>
                <a:cubicBezTo>
                  <a:pt x="1477194" y="4296655"/>
                  <a:pt x="1472404" y="4291865"/>
                  <a:pt x="1472404" y="4285918"/>
                </a:cubicBezTo>
                <a:cubicBezTo>
                  <a:pt x="1472404" y="4279972"/>
                  <a:pt x="1477194" y="4275182"/>
                  <a:pt x="1483140" y="4275182"/>
                </a:cubicBezTo>
                <a:close/>
                <a:moveTo>
                  <a:pt x="1027736" y="4275182"/>
                </a:moveTo>
                <a:cubicBezTo>
                  <a:pt x="1033682" y="4275182"/>
                  <a:pt x="1038472" y="4279972"/>
                  <a:pt x="1038472" y="4285918"/>
                </a:cubicBezTo>
                <a:cubicBezTo>
                  <a:pt x="1038472" y="4291865"/>
                  <a:pt x="1033682" y="4296655"/>
                  <a:pt x="1027736" y="4296655"/>
                </a:cubicBezTo>
                <a:cubicBezTo>
                  <a:pt x="1021789" y="4296655"/>
                  <a:pt x="1016999" y="4291865"/>
                  <a:pt x="1016999" y="4285918"/>
                </a:cubicBezTo>
                <a:cubicBezTo>
                  <a:pt x="1016999" y="4279972"/>
                  <a:pt x="1021789" y="4275182"/>
                  <a:pt x="1027736" y="4275182"/>
                </a:cubicBezTo>
                <a:close/>
                <a:moveTo>
                  <a:pt x="1181190" y="4274357"/>
                </a:moveTo>
                <a:cubicBezTo>
                  <a:pt x="1187137" y="4274357"/>
                  <a:pt x="1191929" y="4279146"/>
                  <a:pt x="1191929" y="4285093"/>
                </a:cubicBezTo>
                <a:cubicBezTo>
                  <a:pt x="1191929" y="4291039"/>
                  <a:pt x="1187137" y="4295829"/>
                  <a:pt x="1181190" y="4295829"/>
                </a:cubicBezTo>
                <a:cubicBezTo>
                  <a:pt x="1175244" y="4295829"/>
                  <a:pt x="1170454" y="4291039"/>
                  <a:pt x="1170454" y="4285093"/>
                </a:cubicBezTo>
                <a:cubicBezTo>
                  <a:pt x="1170454" y="4279146"/>
                  <a:pt x="1175244" y="4274357"/>
                  <a:pt x="1181190" y="4274357"/>
                </a:cubicBezTo>
                <a:close/>
                <a:moveTo>
                  <a:pt x="739164" y="4272539"/>
                </a:moveTo>
                <a:cubicBezTo>
                  <a:pt x="745110" y="4272539"/>
                  <a:pt x="749902" y="4277329"/>
                  <a:pt x="749902" y="4283276"/>
                </a:cubicBezTo>
                <a:cubicBezTo>
                  <a:pt x="749902" y="4289222"/>
                  <a:pt x="745110" y="4294014"/>
                  <a:pt x="739164" y="4294014"/>
                </a:cubicBezTo>
                <a:lnTo>
                  <a:pt x="736356" y="4291206"/>
                </a:lnTo>
                <a:lnTo>
                  <a:pt x="726445" y="4301117"/>
                </a:lnTo>
                <a:lnTo>
                  <a:pt x="723471" y="4298143"/>
                </a:lnTo>
                <a:lnTo>
                  <a:pt x="715213" y="4306403"/>
                </a:lnTo>
                <a:lnTo>
                  <a:pt x="712157" y="4303347"/>
                </a:lnTo>
                <a:lnTo>
                  <a:pt x="704972" y="4310532"/>
                </a:lnTo>
                <a:lnTo>
                  <a:pt x="701915" y="4307474"/>
                </a:lnTo>
                <a:lnTo>
                  <a:pt x="695887" y="4313504"/>
                </a:lnTo>
                <a:lnTo>
                  <a:pt x="692913" y="4310530"/>
                </a:lnTo>
                <a:lnTo>
                  <a:pt x="687462" y="4315981"/>
                </a:lnTo>
                <a:lnTo>
                  <a:pt x="684573" y="4313091"/>
                </a:lnTo>
                <a:lnTo>
                  <a:pt x="679534" y="4318129"/>
                </a:lnTo>
                <a:lnTo>
                  <a:pt x="676974" y="4315570"/>
                </a:lnTo>
                <a:lnTo>
                  <a:pt x="672266" y="4320278"/>
                </a:lnTo>
                <a:lnTo>
                  <a:pt x="669787" y="4317800"/>
                </a:lnTo>
                <a:lnTo>
                  <a:pt x="664998" y="4322588"/>
                </a:lnTo>
                <a:lnTo>
                  <a:pt x="662934" y="4320524"/>
                </a:lnTo>
                <a:lnTo>
                  <a:pt x="658061" y="4325397"/>
                </a:lnTo>
                <a:lnTo>
                  <a:pt x="656327" y="4323663"/>
                </a:lnTo>
                <a:lnTo>
                  <a:pt x="651122" y="4328866"/>
                </a:lnTo>
                <a:lnTo>
                  <a:pt x="649803" y="4327546"/>
                </a:lnTo>
                <a:lnTo>
                  <a:pt x="644186" y="4333161"/>
                </a:lnTo>
                <a:lnTo>
                  <a:pt x="643277" y="4332252"/>
                </a:lnTo>
                <a:lnTo>
                  <a:pt x="636918" y="4338612"/>
                </a:lnTo>
                <a:lnTo>
                  <a:pt x="636422" y="4338117"/>
                </a:lnTo>
                <a:lnTo>
                  <a:pt x="629318" y="4345219"/>
                </a:lnTo>
                <a:cubicBezTo>
                  <a:pt x="623372" y="4345219"/>
                  <a:pt x="618582" y="4340429"/>
                  <a:pt x="618582" y="4334483"/>
                </a:cubicBezTo>
                <a:cubicBezTo>
                  <a:pt x="618582" y="4328536"/>
                  <a:pt x="623372" y="4323746"/>
                  <a:pt x="629318" y="4323746"/>
                </a:cubicBezTo>
                <a:lnTo>
                  <a:pt x="629814" y="4324242"/>
                </a:lnTo>
                <a:lnTo>
                  <a:pt x="636918" y="4317139"/>
                </a:lnTo>
                <a:lnTo>
                  <a:pt x="637826" y="4318048"/>
                </a:lnTo>
                <a:lnTo>
                  <a:pt x="644186" y="4311687"/>
                </a:lnTo>
                <a:lnTo>
                  <a:pt x="645507" y="4313008"/>
                </a:lnTo>
                <a:lnTo>
                  <a:pt x="651122" y="4307393"/>
                </a:lnTo>
                <a:lnTo>
                  <a:pt x="652857" y="4309127"/>
                </a:lnTo>
                <a:lnTo>
                  <a:pt x="658061" y="4303923"/>
                </a:lnTo>
                <a:lnTo>
                  <a:pt x="660126" y="4305988"/>
                </a:lnTo>
                <a:lnTo>
                  <a:pt x="664998" y="4301115"/>
                </a:lnTo>
                <a:lnTo>
                  <a:pt x="667476" y="4303593"/>
                </a:lnTo>
                <a:lnTo>
                  <a:pt x="672266" y="4298803"/>
                </a:lnTo>
                <a:lnTo>
                  <a:pt x="674825" y="4301363"/>
                </a:lnTo>
                <a:lnTo>
                  <a:pt x="679534" y="4296655"/>
                </a:lnTo>
                <a:lnTo>
                  <a:pt x="682425" y="4299546"/>
                </a:lnTo>
                <a:lnTo>
                  <a:pt x="687462" y="4294508"/>
                </a:lnTo>
                <a:lnTo>
                  <a:pt x="690436" y="4297482"/>
                </a:lnTo>
                <a:lnTo>
                  <a:pt x="695887" y="4292030"/>
                </a:lnTo>
                <a:lnTo>
                  <a:pt x="698944" y="4295087"/>
                </a:lnTo>
                <a:lnTo>
                  <a:pt x="704972" y="4289057"/>
                </a:lnTo>
                <a:lnTo>
                  <a:pt x="708028" y="4292113"/>
                </a:lnTo>
                <a:lnTo>
                  <a:pt x="715213" y="4284928"/>
                </a:lnTo>
                <a:lnTo>
                  <a:pt x="718187" y="4287902"/>
                </a:lnTo>
                <a:lnTo>
                  <a:pt x="726445" y="4279642"/>
                </a:lnTo>
                <a:lnTo>
                  <a:pt x="729253" y="4282450"/>
                </a:lnTo>
                <a:close/>
                <a:moveTo>
                  <a:pt x="2147665" y="4268740"/>
                </a:moveTo>
                <a:cubicBezTo>
                  <a:pt x="2153612" y="4268740"/>
                  <a:pt x="2158403" y="4273529"/>
                  <a:pt x="2158403" y="4279476"/>
                </a:cubicBezTo>
                <a:cubicBezTo>
                  <a:pt x="2158403" y="4285422"/>
                  <a:pt x="2153612" y="4290212"/>
                  <a:pt x="2147665" y="4290212"/>
                </a:cubicBezTo>
                <a:cubicBezTo>
                  <a:pt x="2141718" y="4290212"/>
                  <a:pt x="2136929" y="4285422"/>
                  <a:pt x="2136929" y="4279476"/>
                </a:cubicBezTo>
                <a:cubicBezTo>
                  <a:pt x="2136929" y="4273529"/>
                  <a:pt x="2141718" y="4268740"/>
                  <a:pt x="2147665" y="4268740"/>
                </a:cubicBezTo>
                <a:close/>
                <a:moveTo>
                  <a:pt x="890801" y="4266922"/>
                </a:moveTo>
                <a:cubicBezTo>
                  <a:pt x="896747" y="4266922"/>
                  <a:pt x="901539" y="4271712"/>
                  <a:pt x="901539" y="4277658"/>
                </a:cubicBezTo>
                <a:cubicBezTo>
                  <a:pt x="901539" y="4283605"/>
                  <a:pt x="896747" y="4288395"/>
                  <a:pt x="890801" y="4288395"/>
                </a:cubicBezTo>
                <a:cubicBezTo>
                  <a:pt x="884854" y="4288395"/>
                  <a:pt x="880064" y="4283605"/>
                  <a:pt x="880064" y="4277658"/>
                </a:cubicBezTo>
                <a:cubicBezTo>
                  <a:pt x="880064" y="4271712"/>
                  <a:pt x="884854" y="4266922"/>
                  <a:pt x="890801" y="4266922"/>
                </a:cubicBezTo>
                <a:close/>
                <a:moveTo>
                  <a:pt x="457530" y="4266593"/>
                </a:moveTo>
                <a:cubicBezTo>
                  <a:pt x="457622" y="4266593"/>
                  <a:pt x="457695" y="4266667"/>
                  <a:pt x="457695" y="4266757"/>
                </a:cubicBezTo>
                <a:cubicBezTo>
                  <a:pt x="457695" y="4266849"/>
                  <a:pt x="457622" y="4266922"/>
                  <a:pt x="457530" y="4266922"/>
                </a:cubicBezTo>
                <a:cubicBezTo>
                  <a:pt x="457440" y="4266922"/>
                  <a:pt x="457365" y="4266849"/>
                  <a:pt x="457365" y="4266757"/>
                </a:cubicBezTo>
                <a:cubicBezTo>
                  <a:pt x="457365" y="4266667"/>
                  <a:pt x="457440" y="4266593"/>
                  <a:pt x="457530" y="4266593"/>
                </a:cubicBezTo>
                <a:close/>
                <a:moveTo>
                  <a:pt x="2745621" y="4265932"/>
                </a:moveTo>
                <a:cubicBezTo>
                  <a:pt x="2751568" y="4265932"/>
                  <a:pt x="2756358" y="4270722"/>
                  <a:pt x="2756358" y="4276668"/>
                </a:cubicBezTo>
                <a:cubicBezTo>
                  <a:pt x="2756358" y="4282615"/>
                  <a:pt x="2751568" y="4287405"/>
                  <a:pt x="2745621" y="4287405"/>
                </a:cubicBezTo>
                <a:cubicBezTo>
                  <a:pt x="2739675" y="4287405"/>
                  <a:pt x="2734885" y="4282615"/>
                  <a:pt x="2734885" y="4276668"/>
                </a:cubicBezTo>
                <a:cubicBezTo>
                  <a:pt x="2734885" y="4270722"/>
                  <a:pt x="2739675" y="4265932"/>
                  <a:pt x="2745621" y="4265932"/>
                </a:cubicBezTo>
                <a:close/>
                <a:moveTo>
                  <a:pt x="753370" y="4263289"/>
                </a:moveTo>
                <a:cubicBezTo>
                  <a:pt x="759317" y="4263289"/>
                  <a:pt x="764108" y="4268079"/>
                  <a:pt x="764108" y="4274025"/>
                </a:cubicBezTo>
                <a:cubicBezTo>
                  <a:pt x="764108" y="4279972"/>
                  <a:pt x="759317" y="4284762"/>
                  <a:pt x="753370" y="4284762"/>
                </a:cubicBezTo>
                <a:cubicBezTo>
                  <a:pt x="747424" y="4284762"/>
                  <a:pt x="742634" y="4279972"/>
                  <a:pt x="742634" y="4274025"/>
                </a:cubicBezTo>
                <a:cubicBezTo>
                  <a:pt x="742634" y="4268079"/>
                  <a:pt x="747424" y="4263289"/>
                  <a:pt x="753370" y="4263289"/>
                </a:cubicBezTo>
                <a:close/>
                <a:moveTo>
                  <a:pt x="2444001" y="4262628"/>
                </a:moveTo>
                <a:cubicBezTo>
                  <a:pt x="2449932" y="4262628"/>
                  <a:pt x="2454739" y="4267435"/>
                  <a:pt x="2454739" y="4273365"/>
                </a:cubicBezTo>
                <a:cubicBezTo>
                  <a:pt x="2454739" y="4279296"/>
                  <a:pt x="2449932" y="4284103"/>
                  <a:pt x="2444001" y="4284103"/>
                </a:cubicBezTo>
                <a:cubicBezTo>
                  <a:pt x="2438072" y="4284103"/>
                  <a:pt x="2433265" y="4279296"/>
                  <a:pt x="2433265" y="4273365"/>
                </a:cubicBezTo>
                <a:cubicBezTo>
                  <a:pt x="2433265" y="4267435"/>
                  <a:pt x="2438072" y="4262628"/>
                  <a:pt x="2444001" y="4262628"/>
                </a:cubicBezTo>
                <a:close/>
                <a:moveTo>
                  <a:pt x="1352152" y="4262299"/>
                </a:moveTo>
                <a:cubicBezTo>
                  <a:pt x="1358098" y="4262299"/>
                  <a:pt x="1362888" y="4267089"/>
                  <a:pt x="1362888" y="4273035"/>
                </a:cubicBezTo>
                <a:cubicBezTo>
                  <a:pt x="1362888" y="4278982"/>
                  <a:pt x="1358098" y="4283771"/>
                  <a:pt x="1352152" y="4283771"/>
                </a:cubicBezTo>
                <a:cubicBezTo>
                  <a:pt x="1346205" y="4283771"/>
                  <a:pt x="1341415" y="4278982"/>
                  <a:pt x="1341415" y="4273035"/>
                </a:cubicBezTo>
                <a:cubicBezTo>
                  <a:pt x="1341415" y="4267089"/>
                  <a:pt x="1346205" y="4262299"/>
                  <a:pt x="1352152" y="4262299"/>
                </a:cubicBezTo>
                <a:close/>
                <a:moveTo>
                  <a:pt x="2593159" y="4261307"/>
                </a:moveTo>
                <a:cubicBezTo>
                  <a:pt x="2599105" y="4261307"/>
                  <a:pt x="2603897" y="4266097"/>
                  <a:pt x="2603897" y="4272043"/>
                </a:cubicBezTo>
                <a:cubicBezTo>
                  <a:pt x="2603897" y="4277990"/>
                  <a:pt x="2599105" y="4282780"/>
                  <a:pt x="2593159" y="4282780"/>
                </a:cubicBezTo>
                <a:cubicBezTo>
                  <a:pt x="2587212" y="4282780"/>
                  <a:pt x="2582422" y="4277990"/>
                  <a:pt x="2582422" y="4272043"/>
                </a:cubicBezTo>
                <a:cubicBezTo>
                  <a:pt x="2582422" y="4266097"/>
                  <a:pt x="2587212" y="4261307"/>
                  <a:pt x="2593159" y="4261307"/>
                </a:cubicBezTo>
                <a:close/>
                <a:moveTo>
                  <a:pt x="2277498" y="4253543"/>
                </a:moveTo>
                <a:cubicBezTo>
                  <a:pt x="2283445" y="4253543"/>
                  <a:pt x="2288237" y="4258333"/>
                  <a:pt x="2288237" y="4264279"/>
                </a:cubicBezTo>
                <a:cubicBezTo>
                  <a:pt x="2288237" y="4270226"/>
                  <a:pt x="2283445" y="4275016"/>
                  <a:pt x="2277498" y="4275016"/>
                </a:cubicBezTo>
                <a:cubicBezTo>
                  <a:pt x="2271552" y="4275016"/>
                  <a:pt x="2266762" y="4270226"/>
                  <a:pt x="2266762" y="4264279"/>
                </a:cubicBezTo>
                <a:cubicBezTo>
                  <a:pt x="2266762" y="4258333"/>
                  <a:pt x="2271552" y="4253543"/>
                  <a:pt x="2277498" y="4253543"/>
                </a:cubicBezTo>
                <a:close/>
                <a:moveTo>
                  <a:pt x="1060938" y="4251892"/>
                </a:moveTo>
                <a:cubicBezTo>
                  <a:pt x="1066885" y="4251892"/>
                  <a:pt x="1071677" y="4256682"/>
                  <a:pt x="1071677" y="4262628"/>
                </a:cubicBezTo>
                <a:cubicBezTo>
                  <a:pt x="1071677" y="4268575"/>
                  <a:pt x="1066885" y="4273366"/>
                  <a:pt x="1060938" y="4273366"/>
                </a:cubicBezTo>
                <a:cubicBezTo>
                  <a:pt x="1054992" y="4273366"/>
                  <a:pt x="1050202" y="4268575"/>
                  <a:pt x="1050202" y="4262628"/>
                </a:cubicBezTo>
                <a:cubicBezTo>
                  <a:pt x="1050202" y="4256682"/>
                  <a:pt x="1054992" y="4251892"/>
                  <a:pt x="1060938" y="4251892"/>
                </a:cubicBezTo>
                <a:close/>
                <a:moveTo>
                  <a:pt x="769392" y="4251396"/>
                </a:moveTo>
                <a:cubicBezTo>
                  <a:pt x="775323" y="4251396"/>
                  <a:pt x="780130" y="4256203"/>
                  <a:pt x="780130" y="4262132"/>
                </a:cubicBezTo>
                <a:cubicBezTo>
                  <a:pt x="780130" y="4268061"/>
                  <a:pt x="775323" y="4272869"/>
                  <a:pt x="769392" y="4272869"/>
                </a:cubicBezTo>
                <a:cubicBezTo>
                  <a:pt x="763463" y="4272869"/>
                  <a:pt x="758656" y="4268061"/>
                  <a:pt x="758656" y="4262132"/>
                </a:cubicBezTo>
                <a:cubicBezTo>
                  <a:pt x="758656" y="4256203"/>
                  <a:pt x="763463" y="4251396"/>
                  <a:pt x="769392" y="4251396"/>
                </a:cubicBezTo>
                <a:close/>
                <a:moveTo>
                  <a:pt x="2725470" y="4251066"/>
                </a:moveTo>
                <a:cubicBezTo>
                  <a:pt x="2731417" y="4251066"/>
                  <a:pt x="2736206" y="4255856"/>
                  <a:pt x="2736206" y="4261803"/>
                </a:cubicBezTo>
                <a:cubicBezTo>
                  <a:pt x="2736206" y="4267749"/>
                  <a:pt x="2731417" y="4272539"/>
                  <a:pt x="2725470" y="4272539"/>
                </a:cubicBezTo>
                <a:cubicBezTo>
                  <a:pt x="2719524" y="4272539"/>
                  <a:pt x="2714734" y="4267749"/>
                  <a:pt x="2714734" y="4261803"/>
                </a:cubicBezTo>
                <a:cubicBezTo>
                  <a:pt x="2714734" y="4255856"/>
                  <a:pt x="2719524" y="4251066"/>
                  <a:pt x="2725470" y="4251066"/>
                </a:cubicBezTo>
                <a:close/>
                <a:moveTo>
                  <a:pt x="915908" y="4248424"/>
                </a:moveTo>
                <a:cubicBezTo>
                  <a:pt x="921855" y="4248424"/>
                  <a:pt x="926645" y="4253213"/>
                  <a:pt x="926645" y="4259160"/>
                </a:cubicBezTo>
                <a:cubicBezTo>
                  <a:pt x="926645" y="4265106"/>
                  <a:pt x="921855" y="4269896"/>
                  <a:pt x="915908" y="4269896"/>
                </a:cubicBezTo>
                <a:cubicBezTo>
                  <a:pt x="909962" y="4269896"/>
                  <a:pt x="905172" y="4265106"/>
                  <a:pt x="905172" y="4259160"/>
                </a:cubicBezTo>
                <a:cubicBezTo>
                  <a:pt x="905172" y="4253213"/>
                  <a:pt x="909962" y="4248424"/>
                  <a:pt x="915908" y="4248424"/>
                </a:cubicBezTo>
                <a:close/>
                <a:moveTo>
                  <a:pt x="2856623" y="4246110"/>
                </a:moveTo>
                <a:lnTo>
                  <a:pt x="2867361" y="4256847"/>
                </a:lnTo>
                <a:lnTo>
                  <a:pt x="2868683" y="4255525"/>
                </a:lnTo>
                <a:lnTo>
                  <a:pt x="2877685" y="4264527"/>
                </a:lnTo>
                <a:lnTo>
                  <a:pt x="2879419" y="4262793"/>
                </a:lnTo>
                <a:lnTo>
                  <a:pt x="2887018" y="4270391"/>
                </a:lnTo>
                <a:lnTo>
                  <a:pt x="2888999" y="4268410"/>
                </a:lnTo>
                <a:lnTo>
                  <a:pt x="2895441" y="4274851"/>
                </a:lnTo>
                <a:lnTo>
                  <a:pt x="2897588" y="4272704"/>
                </a:lnTo>
                <a:lnTo>
                  <a:pt x="2903122" y="4278238"/>
                </a:lnTo>
                <a:lnTo>
                  <a:pt x="2905187" y="4276172"/>
                </a:lnTo>
                <a:lnTo>
                  <a:pt x="2910144" y="4281129"/>
                </a:lnTo>
                <a:lnTo>
                  <a:pt x="2912291" y="4278982"/>
                </a:lnTo>
                <a:lnTo>
                  <a:pt x="2916751" y="4283442"/>
                </a:lnTo>
                <a:lnTo>
                  <a:pt x="2918731" y="4281460"/>
                </a:lnTo>
                <a:lnTo>
                  <a:pt x="2923108" y="4285837"/>
                </a:lnTo>
                <a:lnTo>
                  <a:pt x="2925009" y="4283936"/>
                </a:lnTo>
                <a:lnTo>
                  <a:pt x="2929469" y="4288397"/>
                </a:lnTo>
                <a:lnTo>
                  <a:pt x="2931120" y="4286746"/>
                </a:lnTo>
                <a:lnTo>
                  <a:pt x="2935745" y="4291371"/>
                </a:lnTo>
                <a:lnTo>
                  <a:pt x="2937067" y="4290048"/>
                </a:lnTo>
                <a:lnTo>
                  <a:pt x="2942106" y="4295087"/>
                </a:lnTo>
                <a:lnTo>
                  <a:pt x="2943178" y="4294014"/>
                </a:lnTo>
                <a:lnTo>
                  <a:pt x="2948629" y="4299464"/>
                </a:lnTo>
                <a:lnTo>
                  <a:pt x="2949289" y="4298803"/>
                </a:lnTo>
                <a:lnTo>
                  <a:pt x="2955567" y="4305081"/>
                </a:lnTo>
                <a:lnTo>
                  <a:pt x="2955898" y="4304750"/>
                </a:lnTo>
                <a:cubicBezTo>
                  <a:pt x="2961845" y="4304750"/>
                  <a:pt x="2966636" y="4309540"/>
                  <a:pt x="2966636" y="4315486"/>
                </a:cubicBezTo>
                <a:lnTo>
                  <a:pt x="2966387" y="4315736"/>
                </a:lnTo>
                <a:lnTo>
                  <a:pt x="2973407" y="4322754"/>
                </a:lnTo>
                <a:lnTo>
                  <a:pt x="2972829" y="4323332"/>
                </a:lnTo>
                <a:lnTo>
                  <a:pt x="2980676" y="4331177"/>
                </a:lnTo>
                <a:lnTo>
                  <a:pt x="2978528" y="4333326"/>
                </a:lnTo>
                <a:lnTo>
                  <a:pt x="2986290" y="4341090"/>
                </a:lnTo>
                <a:cubicBezTo>
                  <a:pt x="2986290" y="4345743"/>
                  <a:pt x="2982520" y="4349513"/>
                  <a:pt x="2977867" y="4349513"/>
                </a:cubicBezTo>
                <a:lnTo>
                  <a:pt x="2970103" y="4341751"/>
                </a:lnTo>
                <a:lnTo>
                  <a:pt x="2969938" y="4341915"/>
                </a:lnTo>
                <a:cubicBezTo>
                  <a:pt x="2963992" y="4341915"/>
                  <a:pt x="2959202" y="4337124"/>
                  <a:pt x="2959202" y="4331177"/>
                </a:cubicBezTo>
                <a:lnTo>
                  <a:pt x="2959780" y="4330600"/>
                </a:lnTo>
                <a:lnTo>
                  <a:pt x="2951934" y="4322754"/>
                </a:lnTo>
                <a:lnTo>
                  <a:pt x="2952182" y="4322506"/>
                </a:lnTo>
                <a:lnTo>
                  <a:pt x="2949621" y="4319947"/>
                </a:lnTo>
                <a:lnTo>
                  <a:pt x="2949289" y="4320278"/>
                </a:lnTo>
                <a:lnTo>
                  <a:pt x="2943839" y="4314827"/>
                </a:lnTo>
                <a:lnTo>
                  <a:pt x="2943178" y="4315486"/>
                </a:lnTo>
                <a:lnTo>
                  <a:pt x="2938140" y="4310448"/>
                </a:lnTo>
                <a:lnTo>
                  <a:pt x="2937067" y="4311522"/>
                </a:lnTo>
                <a:lnTo>
                  <a:pt x="2932442" y="4306897"/>
                </a:lnTo>
                <a:lnTo>
                  <a:pt x="2931120" y="4308218"/>
                </a:lnTo>
                <a:lnTo>
                  <a:pt x="2926660" y="4303758"/>
                </a:lnTo>
                <a:lnTo>
                  <a:pt x="2925009" y="4305409"/>
                </a:lnTo>
                <a:lnTo>
                  <a:pt x="2920632" y="4301032"/>
                </a:lnTo>
                <a:lnTo>
                  <a:pt x="2918731" y="4302933"/>
                </a:lnTo>
                <a:lnTo>
                  <a:pt x="2914273" y="4298474"/>
                </a:lnTo>
                <a:lnTo>
                  <a:pt x="2912291" y="4300454"/>
                </a:lnTo>
                <a:lnTo>
                  <a:pt x="2907334" y="4295500"/>
                </a:lnTo>
                <a:lnTo>
                  <a:pt x="2905187" y="4297647"/>
                </a:lnTo>
                <a:lnTo>
                  <a:pt x="2899654" y="4292113"/>
                </a:lnTo>
                <a:lnTo>
                  <a:pt x="2897588" y="4294177"/>
                </a:lnTo>
                <a:lnTo>
                  <a:pt x="2891147" y="4287736"/>
                </a:lnTo>
                <a:lnTo>
                  <a:pt x="2888999" y="4289884"/>
                </a:lnTo>
                <a:lnTo>
                  <a:pt x="2881399" y="4282285"/>
                </a:lnTo>
                <a:lnTo>
                  <a:pt x="2879419" y="4284266"/>
                </a:lnTo>
                <a:lnTo>
                  <a:pt x="2870419" y="4275265"/>
                </a:lnTo>
                <a:lnTo>
                  <a:pt x="2868683" y="4276999"/>
                </a:lnTo>
                <a:lnTo>
                  <a:pt x="2857946" y="4266261"/>
                </a:lnTo>
                <a:lnTo>
                  <a:pt x="2856623" y="4267585"/>
                </a:lnTo>
                <a:cubicBezTo>
                  <a:pt x="2850677" y="4267585"/>
                  <a:pt x="2845887" y="4262793"/>
                  <a:pt x="2845887" y="4256847"/>
                </a:cubicBezTo>
                <a:cubicBezTo>
                  <a:pt x="2845887" y="4250900"/>
                  <a:pt x="2850677" y="4246110"/>
                  <a:pt x="2856623" y="4246110"/>
                </a:cubicBezTo>
                <a:close/>
                <a:moveTo>
                  <a:pt x="1223475" y="4244953"/>
                </a:moveTo>
                <a:cubicBezTo>
                  <a:pt x="1229422" y="4244953"/>
                  <a:pt x="1234213" y="4249743"/>
                  <a:pt x="1234213" y="4255690"/>
                </a:cubicBezTo>
                <a:cubicBezTo>
                  <a:pt x="1234213" y="4261636"/>
                  <a:pt x="1229422" y="4266426"/>
                  <a:pt x="1223475" y="4266426"/>
                </a:cubicBezTo>
                <a:cubicBezTo>
                  <a:pt x="1217529" y="4266426"/>
                  <a:pt x="1212739" y="4261636"/>
                  <a:pt x="1212739" y="4255690"/>
                </a:cubicBezTo>
                <a:cubicBezTo>
                  <a:pt x="1212739" y="4249743"/>
                  <a:pt x="1217529" y="4244953"/>
                  <a:pt x="1223475" y="4244953"/>
                </a:cubicBezTo>
                <a:close/>
                <a:moveTo>
                  <a:pt x="1817302" y="4243963"/>
                </a:moveTo>
                <a:cubicBezTo>
                  <a:pt x="1823249" y="4243963"/>
                  <a:pt x="1828040" y="4248753"/>
                  <a:pt x="1828040" y="4254700"/>
                </a:cubicBezTo>
                <a:cubicBezTo>
                  <a:pt x="1828040" y="4260646"/>
                  <a:pt x="1823249" y="4265436"/>
                  <a:pt x="1817302" y="4265436"/>
                </a:cubicBezTo>
                <a:cubicBezTo>
                  <a:pt x="1811356" y="4265436"/>
                  <a:pt x="1806566" y="4260646"/>
                  <a:pt x="1806566" y="4254700"/>
                </a:cubicBezTo>
                <a:cubicBezTo>
                  <a:pt x="1806566" y="4248753"/>
                  <a:pt x="1811356" y="4243963"/>
                  <a:pt x="1817302" y="4243963"/>
                </a:cubicBezTo>
                <a:close/>
                <a:moveTo>
                  <a:pt x="1678881" y="4242807"/>
                </a:moveTo>
                <a:cubicBezTo>
                  <a:pt x="1684828" y="4242807"/>
                  <a:pt x="1689618" y="4247596"/>
                  <a:pt x="1689618" y="4253543"/>
                </a:cubicBezTo>
                <a:cubicBezTo>
                  <a:pt x="1689618" y="4259489"/>
                  <a:pt x="1684828" y="4264279"/>
                  <a:pt x="1678881" y="4264279"/>
                </a:cubicBezTo>
                <a:cubicBezTo>
                  <a:pt x="1672935" y="4264279"/>
                  <a:pt x="1668145" y="4259489"/>
                  <a:pt x="1668145" y="4253543"/>
                </a:cubicBezTo>
                <a:cubicBezTo>
                  <a:pt x="1668145" y="4247596"/>
                  <a:pt x="1672935" y="4242807"/>
                  <a:pt x="1678881" y="4242807"/>
                </a:cubicBezTo>
                <a:close/>
                <a:moveTo>
                  <a:pt x="3190125" y="4241816"/>
                </a:moveTo>
                <a:cubicBezTo>
                  <a:pt x="3191446" y="4241816"/>
                  <a:pt x="3192603" y="4242973"/>
                  <a:pt x="3192603" y="4244294"/>
                </a:cubicBezTo>
                <a:cubicBezTo>
                  <a:pt x="3192603" y="4245616"/>
                  <a:pt x="3191446" y="4246771"/>
                  <a:pt x="3190125" y="4246771"/>
                </a:cubicBezTo>
                <a:cubicBezTo>
                  <a:pt x="3188803" y="4246771"/>
                  <a:pt x="3187647" y="4245616"/>
                  <a:pt x="3187647" y="4244294"/>
                </a:cubicBezTo>
                <a:cubicBezTo>
                  <a:pt x="3187647" y="4242973"/>
                  <a:pt x="3188803" y="4241816"/>
                  <a:pt x="3190125" y="4241816"/>
                </a:cubicBezTo>
                <a:close/>
                <a:moveTo>
                  <a:pt x="1955725" y="4240164"/>
                </a:moveTo>
                <a:cubicBezTo>
                  <a:pt x="1961672" y="4240164"/>
                  <a:pt x="1966463" y="4244953"/>
                  <a:pt x="1966463" y="4250900"/>
                </a:cubicBezTo>
                <a:cubicBezTo>
                  <a:pt x="1966463" y="4256847"/>
                  <a:pt x="1961672" y="4261636"/>
                  <a:pt x="1955725" y="4261636"/>
                </a:cubicBezTo>
                <a:cubicBezTo>
                  <a:pt x="1949779" y="4261636"/>
                  <a:pt x="1944989" y="4256847"/>
                  <a:pt x="1944989" y="4250900"/>
                </a:cubicBezTo>
                <a:cubicBezTo>
                  <a:pt x="1944989" y="4244953"/>
                  <a:pt x="1949779" y="4240164"/>
                  <a:pt x="1955725" y="4240164"/>
                </a:cubicBezTo>
                <a:close/>
                <a:moveTo>
                  <a:pt x="2562600" y="4238181"/>
                </a:moveTo>
                <a:cubicBezTo>
                  <a:pt x="2568547" y="4238181"/>
                  <a:pt x="2573337" y="4242971"/>
                  <a:pt x="2573337" y="4248918"/>
                </a:cubicBezTo>
                <a:cubicBezTo>
                  <a:pt x="2573337" y="4254864"/>
                  <a:pt x="2568547" y="4259654"/>
                  <a:pt x="2562600" y="4259654"/>
                </a:cubicBezTo>
                <a:cubicBezTo>
                  <a:pt x="2556654" y="4259654"/>
                  <a:pt x="2551864" y="4254864"/>
                  <a:pt x="2551864" y="4248918"/>
                </a:cubicBezTo>
                <a:cubicBezTo>
                  <a:pt x="2551864" y="4242971"/>
                  <a:pt x="2556654" y="4238181"/>
                  <a:pt x="2562600" y="4238181"/>
                </a:cubicBezTo>
                <a:close/>
                <a:moveTo>
                  <a:pt x="1540954" y="4236695"/>
                </a:moveTo>
                <a:cubicBezTo>
                  <a:pt x="1546901" y="4236695"/>
                  <a:pt x="1551693" y="4241485"/>
                  <a:pt x="1551693" y="4247432"/>
                </a:cubicBezTo>
                <a:cubicBezTo>
                  <a:pt x="1551693" y="4253378"/>
                  <a:pt x="1546901" y="4258168"/>
                  <a:pt x="1540954" y="4258168"/>
                </a:cubicBezTo>
                <a:cubicBezTo>
                  <a:pt x="1535008" y="4258168"/>
                  <a:pt x="1530218" y="4253378"/>
                  <a:pt x="1530218" y="4247432"/>
                </a:cubicBezTo>
                <a:cubicBezTo>
                  <a:pt x="1530218" y="4241485"/>
                  <a:pt x="1535008" y="4236695"/>
                  <a:pt x="1540954" y="4236695"/>
                </a:cubicBezTo>
                <a:close/>
                <a:moveTo>
                  <a:pt x="787398" y="4236695"/>
                </a:moveTo>
                <a:cubicBezTo>
                  <a:pt x="793345" y="4236695"/>
                  <a:pt x="798135" y="4241485"/>
                  <a:pt x="798135" y="4247432"/>
                </a:cubicBezTo>
                <a:cubicBezTo>
                  <a:pt x="798135" y="4253378"/>
                  <a:pt x="793345" y="4258168"/>
                  <a:pt x="787398" y="4258168"/>
                </a:cubicBezTo>
                <a:cubicBezTo>
                  <a:pt x="781452" y="4258168"/>
                  <a:pt x="776662" y="4253378"/>
                  <a:pt x="776662" y="4247432"/>
                </a:cubicBezTo>
                <a:cubicBezTo>
                  <a:pt x="776662" y="4241485"/>
                  <a:pt x="781452" y="4236695"/>
                  <a:pt x="787398" y="4236695"/>
                </a:cubicBezTo>
                <a:close/>
                <a:moveTo>
                  <a:pt x="2842748" y="4234382"/>
                </a:moveTo>
                <a:cubicBezTo>
                  <a:pt x="2848694" y="4234382"/>
                  <a:pt x="2853486" y="4239172"/>
                  <a:pt x="2853486" y="4245118"/>
                </a:cubicBezTo>
                <a:cubicBezTo>
                  <a:pt x="2853486" y="4251065"/>
                  <a:pt x="2848694" y="4255855"/>
                  <a:pt x="2842748" y="4255855"/>
                </a:cubicBezTo>
                <a:cubicBezTo>
                  <a:pt x="2836801" y="4255855"/>
                  <a:pt x="2832012" y="4251065"/>
                  <a:pt x="2832012" y="4245118"/>
                </a:cubicBezTo>
                <a:cubicBezTo>
                  <a:pt x="2832012" y="4239172"/>
                  <a:pt x="2836801" y="4234382"/>
                  <a:pt x="2842748" y="4234382"/>
                </a:cubicBezTo>
                <a:close/>
                <a:moveTo>
                  <a:pt x="2404854" y="4234052"/>
                </a:moveTo>
                <a:cubicBezTo>
                  <a:pt x="2410800" y="4234052"/>
                  <a:pt x="2415592" y="4238842"/>
                  <a:pt x="2415592" y="4244789"/>
                </a:cubicBezTo>
                <a:cubicBezTo>
                  <a:pt x="2415592" y="4250735"/>
                  <a:pt x="2410800" y="4255525"/>
                  <a:pt x="2404854" y="4255525"/>
                </a:cubicBezTo>
                <a:cubicBezTo>
                  <a:pt x="2398907" y="4255525"/>
                  <a:pt x="2394117" y="4250735"/>
                  <a:pt x="2394117" y="4244789"/>
                </a:cubicBezTo>
                <a:cubicBezTo>
                  <a:pt x="2394117" y="4238842"/>
                  <a:pt x="2398907" y="4234052"/>
                  <a:pt x="2404854" y="4234052"/>
                </a:cubicBezTo>
                <a:close/>
                <a:moveTo>
                  <a:pt x="2702841" y="4232731"/>
                </a:moveTo>
                <a:cubicBezTo>
                  <a:pt x="2708772" y="4232731"/>
                  <a:pt x="2713577" y="4237538"/>
                  <a:pt x="2713577" y="4243467"/>
                </a:cubicBezTo>
                <a:cubicBezTo>
                  <a:pt x="2713577" y="4249396"/>
                  <a:pt x="2708772" y="4254204"/>
                  <a:pt x="2702841" y="4254204"/>
                </a:cubicBezTo>
                <a:cubicBezTo>
                  <a:pt x="2696911" y="4254204"/>
                  <a:pt x="2692104" y="4249396"/>
                  <a:pt x="2692104" y="4243467"/>
                </a:cubicBezTo>
                <a:cubicBezTo>
                  <a:pt x="2692104" y="4237538"/>
                  <a:pt x="2696911" y="4232731"/>
                  <a:pt x="2702841" y="4232731"/>
                </a:cubicBezTo>
                <a:close/>
                <a:moveTo>
                  <a:pt x="2092991" y="4231245"/>
                </a:moveTo>
                <a:cubicBezTo>
                  <a:pt x="2098922" y="4231245"/>
                  <a:pt x="2103730" y="4236052"/>
                  <a:pt x="2103730" y="4241981"/>
                </a:cubicBezTo>
                <a:cubicBezTo>
                  <a:pt x="2103730" y="4247910"/>
                  <a:pt x="2098922" y="4252717"/>
                  <a:pt x="2092991" y="4252717"/>
                </a:cubicBezTo>
                <a:cubicBezTo>
                  <a:pt x="2087062" y="4252717"/>
                  <a:pt x="2082255" y="4247910"/>
                  <a:pt x="2082255" y="4241981"/>
                </a:cubicBezTo>
                <a:cubicBezTo>
                  <a:pt x="2082255" y="4236052"/>
                  <a:pt x="2087062" y="4231245"/>
                  <a:pt x="2092991" y="4231245"/>
                </a:cubicBezTo>
                <a:close/>
                <a:moveTo>
                  <a:pt x="662025" y="4230749"/>
                </a:moveTo>
                <a:cubicBezTo>
                  <a:pt x="667972" y="4230749"/>
                  <a:pt x="672763" y="4235539"/>
                  <a:pt x="672763" y="4241485"/>
                </a:cubicBezTo>
                <a:cubicBezTo>
                  <a:pt x="672763" y="4247432"/>
                  <a:pt x="667972" y="4252223"/>
                  <a:pt x="662025" y="4252223"/>
                </a:cubicBezTo>
                <a:lnTo>
                  <a:pt x="661529" y="4251727"/>
                </a:lnTo>
                <a:lnTo>
                  <a:pt x="651454" y="4261801"/>
                </a:lnTo>
                <a:lnTo>
                  <a:pt x="650628" y="4260976"/>
                </a:lnTo>
                <a:lnTo>
                  <a:pt x="642368" y="4269236"/>
                </a:lnTo>
                <a:lnTo>
                  <a:pt x="641212" y="4268081"/>
                </a:lnTo>
                <a:lnTo>
                  <a:pt x="634275" y="4275016"/>
                </a:lnTo>
                <a:lnTo>
                  <a:pt x="633036" y="4273777"/>
                </a:lnTo>
                <a:lnTo>
                  <a:pt x="627171" y="4279641"/>
                </a:lnTo>
                <a:lnTo>
                  <a:pt x="625850" y="4278319"/>
                </a:lnTo>
                <a:lnTo>
                  <a:pt x="620729" y="4283440"/>
                </a:lnTo>
                <a:lnTo>
                  <a:pt x="619326" y="4282037"/>
                </a:lnTo>
                <a:lnTo>
                  <a:pt x="614783" y="4286579"/>
                </a:lnTo>
                <a:lnTo>
                  <a:pt x="613544" y="4285341"/>
                </a:lnTo>
                <a:lnTo>
                  <a:pt x="609332" y="4289552"/>
                </a:lnTo>
                <a:lnTo>
                  <a:pt x="608094" y="4288313"/>
                </a:lnTo>
                <a:lnTo>
                  <a:pt x="604046" y="4292361"/>
                </a:lnTo>
                <a:lnTo>
                  <a:pt x="603137" y="4291452"/>
                </a:lnTo>
                <a:lnTo>
                  <a:pt x="598925" y="4295665"/>
                </a:lnTo>
                <a:lnTo>
                  <a:pt x="598183" y="4294922"/>
                </a:lnTo>
                <a:lnTo>
                  <a:pt x="593806" y="4299298"/>
                </a:lnTo>
                <a:lnTo>
                  <a:pt x="593393" y="4298887"/>
                </a:lnTo>
                <a:lnTo>
                  <a:pt x="588520" y="4303760"/>
                </a:lnTo>
                <a:lnTo>
                  <a:pt x="588272" y="4303512"/>
                </a:lnTo>
                <a:lnTo>
                  <a:pt x="587447" y="4304337"/>
                </a:lnTo>
                <a:lnTo>
                  <a:pt x="587859" y="4304750"/>
                </a:lnTo>
                <a:lnTo>
                  <a:pt x="580427" y="4312183"/>
                </a:lnTo>
                <a:cubicBezTo>
                  <a:pt x="580427" y="4317633"/>
                  <a:pt x="576131" y="4321927"/>
                  <a:pt x="570680" y="4321927"/>
                </a:cubicBezTo>
                <a:cubicBezTo>
                  <a:pt x="565230" y="4321927"/>
                  <a:pt x="560934" y="4317633"/>
                  <a:pt x="560934" y="4312183"/>
                </a:cubicBezTo>
                <a:lnTo>
                  <a:pt x="567377" y="4305742"/>
                </a:lnTo>
                <a:lnTo>
                  <a:pt x="566385" y="4304750"/>
                </a:lnTo>
                <a:lnTo>
                  <a:pt x="572579" y="4298555"/>
                </a:lnTo>
                <a:lnTo>
                  <a:pt x="572167" y="4298143"/>
                </a:lnTo>
                <a:cubicBezTo>
                  <a:pt x="572167" y="4292214"/>
                  <a:pt x="576974" y="4287406"/>
                  <a:pt x="582903" y="4287406"/>
                </a:cubicBezTo>
                <a:lnTo>
                  <a:pt x="583151" y="4287654"/>
                </a:lnTo>
                <a:lnTo>
                  <a:pt x="588520" y="4282285"/>
                </a:lnTo>
                <a:lnTo>
                  <a:pt x="588933" y="4282698"/>
                </a:lnTo>
                <a:lnTo>
                  <a:pt x="593806" y="4277825"/>
                </a:lnTo>
                <a:lnTo>
                  <a:pt x="594550" y="4278569"/>
                </a:lnTo>
                <a:lnTo>
                  <a:pt x="598925" y="4274192"/>
                </a:lnTo>
                <a:lnTo>
                  <a:pt x="599834" y="4275101"/>
                </a:lnTo>
                <a:lnTo>
                  <a:pt x="604046" y="4270886"/>
                </a:lnTo>
                <a:lnTo>
                  <a:pt x="605286" y="4272126"/>
                </a:lnTo>
                <a:lnTo>
                  <a:pt x="609332" y="4268079"/>
                </a:lnTo>
                <a:lnTo>
                  <a:pt x="610572" y="4269319"/>
                </a:lnTo>
                <a:lnTo>
                  <a:pt x="614783" y="4265106"/>
                </a:lnTo>
                <a:lnTo>
                  <a:pt x="616187" y="4266511"/>
                </a:lnTo>
                <a:lnTo>
                  <a:pt x="620729" y="4261968"/>
                </a:lnTo>
                <a:lnTo>
                  <a:pt x="622051" y="4263289"/>
                </a:lnTo>
                <a:lnTo>
                  <a:pt x="627171" y="4258168"/>
                </a:lnTo>
                <a:lnTo>
                  <a:pt x="628412" y="4259408"/>
                </a:lnTo>
                <a:lnTo>
                  <a:pt x="634275" y="4253543"/>
                </a:lnTo>
                <a:lnTo>
                  <a:pt x="635432" y="4254700"/>
                </a:lnTo>
                <a:lnTo>
                  <a:pt x="642368" y="4247761"/>
                </a:lnTo>
                <a:lnTo>
                  <a:pt x="643195" y="4248588"/>
                </a:lnTo>
                <a:lnTo>
                  <a:pt x="651454" y="4240328"/>
                </a:lnTo>
                <a:lnTo>
                  <a:pt x="651950" y="4240824"/>
                </a:lnTo>
                <a:close/>
                <a:moveTo>
                  <a:pt x="1404349" y="4225628"/>
                </a:moveTo>
                <a:cubicBezTo>
                  <a:pt x="1410296" y="4225628"/>
                  <a:pt x="1415087" y="4230417"/>
                  <a:pt x="1415087" y="4236364"/>
                </a:cubicBezTo>
                <a:cubicBezTo>
                  <a:pt x="1415087" y="4242311"/>
                  <a:pt x="1410296" y="4247100"/>
                  <a:pt x="1404349" y="4247100"/>
                </a:cubicBezTo>
                <a:cubicBezTo>
                  <a:pt x="1398403" y="4247100"/>
                  <a:pt x="1393613" y="4242311"/>
                  <a:pt x="1393613" y="4236364"/>
                </a:cubicBezTo>
                <a:cubicBezTo>
                  <a:pt x="1393613" y="4230417"/>
                  <a:pt x="1398403" y="4225628"/>
                  <a:pt x="1404349" y="4225628"/>
                </a:cubicBezTo>
                <a:close/>
                <a:moveTo>
                  <a:pt x="943990" y="4225628"/>
                </a:moveTo>
                <a:cubicBezTo>
                  <a:pt x="949921" y="4225628"/>
                  <a:pt x="954728" y="4230435"/>
                  <a:pt x="954728" y="4236364"/>
                </a:cubicBezTo>
                <a:cubicBezTo>
                  <a:pt x="954728" y="4242293"/>
                  <a:pt x="949921" y="4247100"/>
                  <a:pt x="943990" y="4247100"/>
                </a:cubicBezTo>
                <a:cubicBezTo>
                  <a:pt x="938061" y="4247100"/>
                  <a:pt x="933254" y="4242293"/>
                  <a:pt x="933254" y="4236364"/>
                </a:cubicBezTo>
                <a:cubicBezTo>
                  <a:pt x="933254" y="4230435"/>
                  <a:pt x="938061" y="4225628"/>
                  <a:pt x="943990" y="4225628"/>
                </a:cubicBezTo>
                <a:close/>
                <a:moveTo>
                  <a:pt x="1097608" y="4223481"/>
                </a:moveTo>
                <a:cubicBezTo>
                  <a:pt x="1103554" y="4223481"/>
                  <a:pt x="1108346" y="4228271"/>
                  <a:pt x="1108346" y="4234217"/>
                </a:cubicBezTo>
                <a:cubicBezTo>
                  <a:pt x="1108346" y="4240164"/>
                  <a:pt x="1103554" y="4244955"/>
                  <a:pt x="1097608" y="4244955"/>
                </a:cubicBezTo>
                <a:cubicBezTo>
                  <a:pt x="1091661" y="4244955"/>
                  <a:pt x="1086872" y="4240164"/>
                  <a:pt x="1086872" y="4234217"/>
                </a:cubicBezTo>
                <a:cubicBezTo>
                  <a:pt x="1086872" y="4228271"/>
                  <a:pt x="1091661" y="4223481"/>
                  <a:pt x="1097608" y="4223481"/>
                </a:cubicBezTo>
                <a:close/>
                <a:moveTo>
                  <a:pt x="2826891" y="4219516"/>
                </a:moveTo>
                <a:cubicBezTo>
                  <a:pt x="2832837" y="4219516"/>
                  <a:pt x="2837627" y="4224306"/>
                  <a:pt x="2837627" y="4230253"/>
                </a:cubicBezTo>
                <a:cubicBezTo>
                  <a:pt x="2837627" y="4236199"/>
                  <a:pt x="2832837" y="4240989"/>
                  <a:pt x="2826891" y="4240989"/>
                </a:cubicBezTo>
                <a:cubicBezTo>
                  <a:pt x="2820944" y="4240989"/>
                  <a:pt x="2816154" y="4236199"/>
                  <a:pt x="2816154" y="4230253"/>
                </a:cubicBezTo>
                <a:cubicBezTo>
                  <a:pt x="2816154" y="4224306"/>
                  <a:pt x="2820944" y="4219516"/>
                  <a:pt x="2826891" y="4219516"/>
                </a:cubicBezTo>
                <a:close/>
                <a:moveTo>
                  <a:pt x="674083" y="4218856"/>
                </a:moveTo>
                <a:cubicBezTo>
                  <a:pt x="680030" y="4218856"/>
                  <a:pt x="684819" y="4223645"/>
                  <a:pt x="684819" y="4229592"/>
                </a:cubicBezTo>
                <a:cubicBezTo>
                  <a:pt x="684819" y="4235539"/>
                  <a:pt x="680030" y="4240330"/>
                  <a:pt x="674083" y="4240330"/>
                </a:cubicBezTo>
                <a:cubicBezTo>
                  <a:pt x="668137" y="4240330"/>
                  <a:pt x="663347" y="4235539"/>
                  <a:pt x="663347" y="4229592"/>
                </a:cubicBezTo>
                <a:cubicBezTo>
                  <a:pt x="663347" y="4223645"/>
                  <a:pt x="668137" y="4218856"/>
                  <a:pt x="674083" y="4218856"/>
                </a:cubicBezTo>
                <a:close/>
                <a:moveTo>
                  <a:pt x="807881" y="4218524"/>
                </a:moveTo>
                <a:cubicBezTo>
                  <a:pt x="813827" y="4218524"/>
                  <a:pt x="818617" y="4223314"/>
                  <a:pt x="818617" y="4229261"/>
                </a:cubicBezTo>
                <a:cubicBezTo>
                  <a:pt x="818617" y="4235207"/>
                  <a:pt x="813827" y="4239997"/>
                  <a:pt x="807881" y="4239997"/>
                </a:cubicBezTo>
                <a:cubicBezTo>
                  <a:pt x="801934" y="4239997"/>
                  <a:pt x="797144" y="4235207"/>
                  <a:pt x="797144" y="4229261"/>
                </a:cubicBezTo>
                <a:cubicBezTo>
                  <a:pt x="797144" y="4223314"/>
                  <a:pt x="801934" y="4218524"/>
                  <a:pt x="807881" y="4218524"/>
                </a:cubicBezTo>
                <a:close/>
                <a:moveTo>
                  <a:pt x="2228440" y="4217699"/>
                </a:moveTo>
                <a:cubicBezTo>
                  <a:pt x="2234371" y="4217699"/>
                  <a:pt x="2239176" y="4222506"/>
                  <a:pt x="2239176" y="4228435"/>
                </a:cubicBezTo>
                <a:cubicBezTo>
                  <a:pt x="2239176" y="4234366"/>
                  <a:pt x="2234371" y="4239173"/>
                  <a:pt x="2228440" y="4239173"/>
                </a:cubicBezTo>
                <a:cubicBezTo>
                  <a:pt x="2222511" y="4239173"/>
                  <a:pt x="2217704" y="4234366"/>
                  <a:pt x="2217704" y="4228435"/>
                </a:cubicBezTo>
                <a:cubicBezTo>
                  <a:pt x="2217704" y="4222506"/>
                  <a:pt x="2222511" y="4217699"/>
                  <a:pt x="2228440" y="4217699"/>
                </a:cubicBezTo>
                <a:close/>
                <a:moveTo>
                  <a:pt x="2945986" y="4212578"/>
                </a:moveTo>
                <a:cubicBezTo>
                  <a:pt x="2951932" y="4212578"/>
                  <a:pt x="2956724" y="4217368"/>
                  <a:pt x="2956724" y="4223314"/>
                </a:cubicBezTo>
                <a:lnTo>
                  <a:pt x="2956146" y="4223893"/>
                </a:lnTo>
                <a:lnTo>
                  <a:pt x="2965315" y="4233060"/>
                </a:lnTo>
                <a:lnTo>
                  <a:pt x="2965149" y="4233227"/>
                </a:lnTo>
                <a:lnTo>
                  <a:pt x="2968204" y="4236283"/>
                </a:lnTo>
                <a:lnTo>
                  <a:pt x="2968286" y="4236199"/>
                </a:lnTo>
                <a:lnTo>
                  <a:pt x="2973573" y="4241487"/>
                </a:lnTo>
                <a:lnTo>
                  <a:pt x="2973903" y="4241156"/>
                </a:lnTo>
                <a:lnTo>
                  <a:pt x="2978528" y="4245781"/>
                </a:lnTo>
                <a:lnTo>
                  <a:pt x="2979022" y="4245285"/>
                </a:lnTo>
                <a:lnTo>
                  <a:pt x="2983070" y="4249332"/>
                </a:lnTo>
                <a:lnTo>
                  <a:pt x="2983482" y="4248918"/>
                </a:lnTo>
                <a:lnTo>
                  <a:pt x="2987282" y="4252717"/>
                </a:lnTo>
                <a:lnTo>
                  <a:pt x="2987778" y="4252221"/>
                </a:lnTo>
                <a:lnTo>
                  <a:pt x="2991578" y="4256021"/>
                </a:lnTo>
                <a:lnTo>
                  <a:pt x="2991907" y="4255692"/>
                </a:lnTo>
                <a:lnTo>
                  <a:pt x="2995788" y="4259573"/>
                </a:lnTo>
                <a:lnTo>
                  <a:pt x="2996036" y="4259325"/>
                </a:lnTo>
                <a:lnTo>
                  <a:pt x="3000332" y="4263620"/>
                </a:lnTo>
                <a:lnTo>
                  <a:pt x="3000332" y="4263619"/>
                </a:lnTo>
                <a:cubicBezTo>
                  <a:pt x="3006278" y="4263619"/>
                  <a:pt x="3011068" y="4268408"/>
                  <a:pt x="3011068" y="4274355"/>
                </a:cubicBezTo>
                <a:lnTo>
                  <a:pt x="3010903" y="4274521"/>
                </a:lnTo>
                <a:lnTo>
                  <a:pt x="3015528" y="4279146"/>
                </a:lnTo>
                <a:lnTo>
                  <a:pt x="3014951" y="4279726"/>
                </a:lnTo>
                <a:lnTo>
                  <a:pt x="3020320" y="4285093"/>
                </a:lnTo>
                <a:lnTo>
                  <a:pt x="3019495" y="4285920"/>
                </a:lnTo>
                <a:lnTo>
                  <a:pt x="3025606" y="4292030"/>
                </a:lnTo>
                <a:lnTo>
                  <a:pt x="3024366" y="4293270"/>
                </a:lnTo>
                <a:lnTo>
                  <a:pt x="3031388" y="4300290"/>
                </a:lnTo>
                <a:lnTo>
                  <a:pt x="3029735" y="4301942"/>
                </a:lnTo>
                <a:lnTo>
                  <a:pt x="3037662" y="4309869"/>
                </a:lnTo>
                <a:cubicBezTo>
                  <a:pt x="3037662" y="4315816"/>
                  <a:pt x="3032872" y="4320606"/>
                  <a:pt x="3026925" y="4320606"/>
                </a:cubicBezTo>
                <a:cubicBezTo>
                  <a:pt x="3020979" y="4320606"/>
                  <a:pt x="3016189" y="4315816"/>
                  <a:pt x="3016189" y="4309869"/>
                </a:cubicBezTo>
                <a:lnTo>
                  <a:pt x="3017840" y="4308218"/>
                </a:lnTo>
                <a:lnTo>
                  <a:pt x="3009913" y="4300290"/>
                </a:lnTo>
                <a:lnTo>
                  <a:pt x="3011151" y="4299051"/>
                </a:lnTo>
                <a:lnTo>
                  <a:pt x="3004131" y="4292030"/>
                </a:lnTo>
                <a:lnTo>
                  <a:pt x="3004957" y="4291204"/>
                </a:lnTo>
                <a:lnTo>
                  <a:pt x="2998846" y="4285093"/>
                </a:lnTo>
                <a:lnTo>
                  <a:pt x="2999423" y="4284515"/>
                </a:lnTo>
                <a:lnTo>
                  <a:pt x="2994056" y="4279146"/>
                </a:lnTo>
                <a:lnTo>
                  <a:pt x="2994220" y="4278982"/>
                </a:lnTo>
                <a:lnTo>
                  <a:pt x="2992155" y="4276916"/>
                </a:lnTo>
                <a:lnTo>
                  <a:pt x="2991907" y="4277164"/>
                </a:lnTo>
                <a:lnTo>
                  <a:pt x="2988107" y="4273365"/>
                </a:lnTo>
                <a:lnTo>
                  <a:pt x="2987778" y="4273694"/>
                </a:lnTo>
                <a:lnTo>
                  <a:pt x="2983978" y="4269895"/>
                </a:lnTo>
                <a:lnTo>
                  <a:pt x="2983482" y="4270391"/>
                </a:lnTo>
                <a:lnTo>
                  <a:pt x="2979437" y="4266345"/>
                </a:lnTo>
                <a:lnTo>
                  <a:pt x="2979022" y="4266757"/>
                </a:lnTo>
                <a:lnTo>
                  <a:pt x="2974399" y="4262134"/>
                </a:lnTo>
                <a:lnTo>
                  <a:pt x="2973903" y="4262628"/>
                </a:lnTo>
                <a:lnTo>
                  <a:pt x="2968617" y="4257342"/>
                </a:lnTo>
                <a:lnTo>
                  <a:pt x="2968286" y="4257672"/>
                </a:lnTo>
                <a:lnTo>
                  <a:pt x="2962093" y="4251479"/>
                </a:lnTo>
                <a:lnTo>
                  <a:pt x="2962010" y="4251562"/>
                </a:lnTo>
                <a:cubicBezTo>
                  <a:pt x="2956063" y="4251562"/>
                  <a:pt x="2951273" y="4246771"/>
                  <a:pt x="2951273" y="4240824"/>
                </a:cubicBezTo>
                <a:lnTo>
                  <a:pt x="2951438" y="4240660"/>
                </a:lnTo>
                <a:lnTo>
                  <a:pt x="2943841" y="4233060"/>
                </a:lnTo>
                <a:lnTo>
                  <a:pt x="2944418" y="4232485"/>
                </a:lnTo>
                <a:lnTo>
                  <a:pt x="2935249" y="4223314"/>
                </a:lnTo>
                <a:cubicBezTo>
                  <a:pt x="2935249" y="4217368"/>
                  <a:pt x="2940039" y="4212578"/>
                  <a:pt x="2945986" y="4212578"/>
                </a:cubicBezTo>
                <a:close/>
                <a:moveTo>
                  <a:pt x="2528739" y="4210431"/>
                </a:moveTo>
                <a:cubicBezTo>
                  <a:pt x="2534685" y="4210431"/>
                  <a:pt x="2539477" y="4215221"/>
                  <a:pt x="2539477" y="4221167"/>
                </a:cubicBezTo>
                <a:cubicBezTo>
                  <a:pt x="2539477" y="4227114"/>
                  <a:pt x="2534685" y="4231905"/>
                  <a:pt x="2528739" y="4231905"/>
                </a:cubicBezTo>
                <a:cubicBezTo>
                  <a:pt x="2522792" y="4231905"/>
                  <a:pt x="2518003" y="4227114"/>
                  <a:pt x="2518003" y="4221167"/>
                </a:cubicBezTo>
                <a:cubicBezTo>
                  <a:pt x="2518003" y="4215221"/>
                  <a:pt x="2522792" y="4210431"/>
                  <a:pt x="2528739" y="4210431"/>
                </a:cubicBezTo>
                <a:close/>
                <a:moveTo>
                  <a:pt x="2677567" y="4210266"/>
                </a:moveTo>
                <a:cubicBezTo>
                  <a:pt x="2683513" y="4210266"/>
                  <a:pt x="2688305" y="4215056"/>
                  <a:pt x="2688305" y="4221003"/>
                </a:cubicBezTo>
                <a:cubicBezTo>
                  <a:pt x="2688305" y="4226949"/>
                  <a:pt x="2683513" y="4231739"/>
                  <a:pt x="2677567" y="4231739"/>
                </a:cubicBezTo>
                <a:cubicBezTo>
                  <a:pt x="2671620" y="4231739"/>
                  <a:pt x="2666830" y="4226949"/>
                  <a:pt x="2666830" y="4221003"/>
                </a:cubicBezTo>
                <a:cubicBezTo>
                  <a:pt x="2666830" y="4215056"/>
                  <a:pt x="2671620" y="4210266"/>
                  <a:pt x="2677567" y="4210266"/>
                </a:cubicBezTo>
                <a:close/>
                <a:moveTo>
                  <a:pt x="1269892" y="4209935"/>
                </a:moveTo>
                <a:cubicBezTo>
                  <a:pt x="1275839" y="4209935"/>
                  <a:pt x="1280630" y="4214725"/>
                  <a:pt x="1280630" y="4220671"/>
                </a:cubicBezTo>
                <a:cubicBezTo>
                  <a:pt x="1280630" y="4226618"/>
                  <a:pt x="1275839" y="4231409"/>
                  <a:pt x="1269892" y="4231409"/>
                </a:cubicBezTo>
                <a:cubicBezTo>
                  <a:pt x="1263946" y="4231409"/>
                  <a:pt x="1259156" y="4226618"/>
                  <a:pt x="1259156" y="4220671"/>
                </a:cubicBezTo>
                <a:cubicBezTo>
                  <a:pt x="1259156" y="4214725"/>
                  <a:pt x="1263946" y="4209935"/>
                  <a:pt x="1269892" y="4209935"/>
                </a:cubicBezTo>
                <a:close/>
                <a:moveTo>
                  <a:pt x="352312" y="4207788"/>
                </a:moveTo>
                <a:cubicBezTo>
                  <a:pt x="352476" y="4207788"/>
                  <a:pt x="352806" y="4208118"/>
                  <a:pt x="352806" y="4208284"/>
                </a:cubicBezTo>
                <a:cubicBezTo>
                  <a:pt x="352806" y="4208449"/>
                  <a:pt x="352312" y="4208778"/>
                  <a:pt x="352312" y="4208778"/>
                </a:cubicBezTo>
                <a:cubicBezTo>
                  <a:pt x="352145" y="4208778"/>
                  <a:pt x="351816" y="4208449"/>
                  <a:pt x="351816" y="4208284"/>
                </a:cubicBezTo>
                <a:cubicBezTo>
                  <a:pt x="351816" y="4208118"/>
                  <a:pt x="352145" y="4207788"/>
                  <a:pt x="352312" y="4207788"/>
                </a:cubicBezTo>
                <a:close/>
                <a:moveTo>
                  <a:pt x="687793" y="4203988"/>
                </a:moveTo>
                <a:cubicBezTo>
                  <a:pt x="693740" y="4203988"/>
                  <a:pt x="698532" y="4208778"/>
                  <a:pt x="698532" y="4214725"/>
                </a:cubicBezTo>
                <a:cubicBezTo>
                  <a:pt x="698532" y="4220671"/>
                  <a:pt x="693740" y="4225461"/>
                  <a:pt x="687793" y="4225461"/>
                </a:cubicBezTo>
                <a:cubicBezTo>
                  <a:pt x="681847" y="4225461"/>
                  <a:pt x="677057" y="4220671"/>
                  <a:pt x="677057" y="4214725"/>
                </a:cubicBezTo>
                <a:cubicBezTo>
                  <a:pt x="677057" y="4208778"/>
                  <a:pt x="681847" y="4203988"/>
                  <a:pt x="687793" y="4203988"/>
                </a:cubicBezTo>
                <a:close/>
                <a:moveTo>
                  <a:pt x="2808886" y="4201346"/>
                </a:moveTo>
                <a:cubicBezTo>
                  <a:pt x="2814833" y="4201346"/>
                  <a:pt x="2819624" y="4206135"/>
                  <a:pt x="2819624" y="4212082"/>
                </a:cubicBezTo>
                <a:cubicBezTo>
                  <a:pt x="2819624" y="4218028"/>
                  <a:pt x="2814833" y="4222818"/>
                  <a:pt x="2808886" y="4222818"/>
                </a:cubicBezTo>
                <a:cubicBezTo>
                  <a:pt x="2802940" y="4222818"/>
                  <a:pt x="2798150" y="4218028"/>
                  <a:pt x="2798150" y="4212082"/>
                </a:cubicBezTo>
                <a:cubicBezTo>
                  <a:pt x="2798150" y="4206135"/>
                  <a:pt x="2802940" y="4201346"/>
                  <a:pt x="2808886" y="4201346"/>
                </a:cubicBezTo>
                <a:close/>
                <a:moveTo>
                  <a:pt x="2935910" y="4200355"/>
                </a:moveTo>
                <a:cubicBezTo>
                  <a:pt x="2941857" y="4200355"/>
                  <a:pt x="2946648" y="4205145"/>
                  <a:pt x="2946648" y="4211092"/>
                </a:cubicBezTo>
                <a:cubicBezTo>
                  <a:pt x="2946648" y="4217038"/>
                  <a:pt x="2941857" y="4221828"/>
                  <a:pt x="2935910" y="4221828"/>
                </a:cubicBezTo>
                <a:cubicBezTo>
                  <a:pt x="2929964" y="4221828"/>
                  <a:pt x="2925174" y="4217038"/>
                  <a:pt x="2925174" y="4211092"/>
                </a:cubicBezTo>
                <a:cubicBezTo>
                  <a:pt x="2925174" y="4205145"/>
                  <a:pt x="2929964" y="4200355"/>
                  <a:pt x="2935910" y="4200355"/>
                </a:cubicBezTo>
                <a:close/>
                <a:moveTo>
                  <a:pt x="2361410" y="4199695"/>
                </a:moveTo>
                <a:cubicBezTo>
                  <a:pt x="2367357" y="4199695"/>
                  <a:pt x="2372149" y="4204484"/>
                  <a:pt x="2372149" y="4210431"/>
                </a:cubicBezTo>
                <a:cubicBezTo>
                  <a:pt x="2372149" y="4216378"/>
                  <a:pt x="2367357" y="4221169"/>
                  <a:pt x="2361410" y="4221169"/>
                </a:cubicBezTo>
                <a:cubicBezTo>
                  <a:pt x="2355464" y="4221169"/>
                  <a:pt x="2350674" y="4216378"/>
                  <a:pt x="2350674" y="4210431"/>
                </a:cubicBezTo>
                <a:cubicBezTo>
                  <a:pt x="2350674" y="4204484"/>
                  <a:pt x="2355464" y="4199695"/>
                  <a:pt x="2361410" y="4199695"/>
                </a:cubicBezTo>
                <a:close/>
                <a:moveTo>
                  <a:pt x="975374" y="4198207"/>
                </a:moveTo>
                <a:cubicBezTo>
                  <a:pt x="981320" y="4198207"/>
                  <a:pt x="986110" y="4202997"/>
                  <a:pt x="986110" y="4208943"/>
                </a:cubicBezTo>
                <a:cubicBezTo>
                  <a:pt x="986110" y="4214890"/>
                  <a:pt x="981320" y="4219681"/>
                  <a:pt x="975374" y="4219681"/>
                </a:cubicBezTo>
                <a:cubicBezTo>
                  <a:pt x="969427" y="4219681"/>
                  <a:pt x="964637" y="4214890"/>
                  <a:pt x="964637" y="4208943"/>
                </a:cubicBezTo>
                <a:cubicBezTo>
                  <a:pt x="964637" y="4202997"/>
                  <a:pt x="969427" y="4198207"/>
                  <a:pt x="975374" y="4198207"/>
                </a:cubicBezTo>
                <a:close/>
                <a:moveTo>
                  <a:pt x="830840" y="4196060"/>
                </a:moveTo>
                <a:cubicBezTo>
                  <a:pt x="836786" y="4196060"/>
                  <a:pt x="841576" y="4200850"/>
                  <a:pt x="841576" y="4206796"/>
                </a:cubicBezTo>
                <a:cubicBezTo>
                  <a:pt x="841576" y="4212743"/>
                  <a:pt x="836786" y="4217534"/>
                  <a:pt x="830840" y="4217534"/>
                </a:cubicBezTo>
                <a:cubicBezTo>
                  <a:pt x="824893" y="4217534"/>
                  <a:pt x="820103" y="4212743"/>
                  <a:pt x="820103" y="4206796"/>
                </a:cubicBezTo>
                <a:cubicBezTo>
                  <a:pt x="820103" y="4200850"/>
                  <a:pt x="824893" y="4196060"/>
                  <a:pt x="830840" y="4196060"/>
                </a:cubicBezTo>
                <a:close/>
                <a:moveTo>
                  <a:pt x="1746936" y="4195234"/>
                </a:moveTo>
                <a:cubicBezTo>
                  <a:pt x="1752883" y="4195234"/>
                  <a:pt x="1757674" y="4200024"/>
                  <a:pt x="1757674" y="4205971"/>
                </a:cubicBezTo>
                <a:cubicBezTo>
                  <a:pt x="1757674" y="4211917"/>
                  <a:pt x="1752883" y="4216707"/>
                  <a:pt x="1746936" y="4216707"/>
                </a:cubicBezTo>
                <a:cubicBezTo>
                  <a:pt x="1740989" y="4216707"/>
                  <a:pt x="1736200" y="4211917"/>
                  <a:pt x="1736200" y="4205971"/>
                </a:cubicBezTo>
                <a:cubicBezTo>
                  <a:pt x="1736200" y="4200024"/>
                  <a:pt x="1740989" y="4195234"/>
                  <a:pt x="1746936" y="4195234"/>
                </a:cubicBezTo>
                <a:close/>
                <a:moveTo>
                  <a:pt x="1890478" y="4193913"/>
                </a:moveTo>
                <a:cubicBezTo>
                  <a:pt x="1896425" y="4193913"/>
                  <a:pt x="1901216" y="4198703"/>
                  <a:pt x="1901216" y="4204649"/>
                </a:cubicBezTo>
                <a:cubicBezTo>
                  <a:pt x="1901216" y="4210596"/>
                  <a:pt x="1896425" y="4215387"/>
                  <a:pt x="1890478" y="4215387"/>
                </a:cubicBezTo>
                <a:cubicBezTo>
                  <a:pt x="1884532" y="4215387"/>
                  <a:pt x="1879742" y="4210596"/>
                  <a:pt x="1879742" y="4204649"/>
                </a:cubicBezTo>
                <a:cubicBezTo>
                  <a:pt x="1879742" y="4198703"/>
                  <a:pt x="1884532" y="4193913"/>
                  <a:pt x="1890478" y="4193913"/>
                </a:cubicBezTo>
                <a:close/>
                <a:moveTo>
                  <a:pt x="1603392" y="4191435"/>
                </a:moveTo>
                <a:cubicBezTo>
                  <a:pt x="1609339" y="4191435"/>
                  <a:pt x="1614130" y="4196225"/>
                  <a:pt x="1614130" y="4202171"/>
                </a:cubicBezTo>
                <a:cubicBezTo>
                  <a:pt x="1614130" y="4208118"/>
                  <a:pt x="1609339" y="4212909"/>
                  <a:pt x="1603392" y="4212909"/>
                </a:cubicBezTo>
                <a:cubicBezTo>
                  <a:pt x="1597446" y="4212909"/>
                  <a:pt x="1592656" y="4208118"/>
                  <a:pt x="1592656" y="4202171"/>
                </a:cubicBezTo>
                <a:cubicBezTo>
                  <a:pt x="1592656" y="4196225"/>
                  <a:pt x="1597446" y="4191435"/>
                  <a:pt x="1603392" y="4191435"/>
                </a:cubicBezTo>
                <a:close/>
                <a:moveTo>
                  <a:pt x="1138242" y="4189784"/>
                </a:moveTo>
                <a:cubicBezTo>
                  <a:pt x="1144188" y="4189784"/>
                  <a:pt x="1148980" y="4194574"/>
                  <a:pt x="1148980" y="4200520"/>
                </a:cubicBezTo>
                <a:cubicBezTo>
                  <a:pt x="1148980" y="4206467"/>
                  <a:pt x="1144188" y="4211258"/>
                  <a:pt x="1138242" y="4211258"/>
                </a:cubicBezTo>
                <a:cubicBezTo>
                  <a:pt x="1132295" y="4211258"/>
                  <a:pt x="1127505" y="4206467"/>
                  <a:pt x="1127505" y="4200520"/>
                </a:cubicBezTo>
                <a:cubicBezTo>
                  <a:pt x="1127505" y="4194574"/>
                  <a:pt x="1132295" y="4189784"/>
                  <a:pt x="1138242" y="4189784"/>
                </a:cubicBezTo>
                <a:close/>
                <a:moveTo>
                  <a:pt x="2033526" y="4187306"/>
                </a:moveTo>
                <a:cubicBezTo>
                  <a:pt x="2039473" y="4187306"/>
                  <a:pt x="2044262" y="4192095"/>
                  <a:pt x="2044262" y="4198042"/>
                </a:cubicBezTo>
                <a:cubicBezTo>
                  <a:pt x="2044262" y="4203988"/>
                  <a:pt x="2039473" y="4208780"/>
                  <a:pt x="2033526" y="4208780"/>
                </a:cubicBezTo>
                <a:cubicBezTo>
                  <a:pt x="2027579" y="4208780"/>
                  <a:pt x="2022790" y="4203988"/>
                  <a:pt x="2022790" y="4198042"/>
                </a:cubicBezTo>
                <a:cubicBezTo>
                  <a:pt x="2022790" y="4192095"/>
                  <a:pt x="2027579" y="4187306"/>
                  <a:pt x="2033526" y="4187306"/>
                </a:cubicBezTo>
                <a:close/>
                <a:moveTo>
                  <a:pt x="703816" y="4185653"/>
                </a:moveTo>
                <a:cubicBezTo>
                  <a:pt x="709762" y="4185653"/>
                  <a:pt x="714554" y="4190443"/>
                  <a:pt x="714554" y="4196389"/>
                </a:cubicBezTo>
                <a:cubicBezTo>
                  <a:pt x="714554" y="4202336"/>
                  <a:pt x="709762" y="4207127"/>
                  <a:pt x="703816" y="4207127"/>
                </a:cubicBezTo>
                <a:cubicBezTo>
                  <a:pt x="697869" y="4207127"/>
                  <a:pt x="693079" y="4202336"/>
                  <a:pt x="693079" y="4196389"/>
                </a:cubicBezTo>
                <a:cubicBezTo>
                  <a:pt x="693079" y="4190443"/>
                  <a:pt x="697869" y="4185653"/>
                  <a:pt x="703816" y="4185653"/>
                </a:cubicBezTo>
                <a:close/>
                <a:moveTo>
                  <a:pt x="2924348" y="4185488"/>
                </a:moveTo>
                <a:cubicBezTo>
                  <a:pt x="2930295" y="4185488"/>
                  <a:pt x="2935086" y="4190278"/>
                  <a:pt x="2935086" y="4196225"/>
                </a:cubicBezTo>
                <a:cubicBezTo>
                  <a:pt x="2935086" y="4202171"/>
                  <a:pt x="2930295" y="4206961"/>
                  <a:pt x="2924348" y="4206961"/>
                </a:cubicBezTo>
                <a:cubicBezTo>
                  <a:pt x="2918402" y="4206961"/>
                  <a:pt x="2913612" y="4202171"/>
                  <a:pt x="2913612" y="4196225"/>
                </a:cubicBezTo>
                <a:cubicBezTo>
                  <a:pt x="2913612" y="4190278"/>
                  <a:pt x="2918402" y="4185488"/>
                  <a:pt x="2924348" y="4185488"/>
                </a:cubicBezTo>
                <a:close/>
                <a:moveTo>
                  <a:pt x="582573" y="4184002"/>
                </a:moveTo>
                <a:cubicBezTo>
                  <a:pt x="588520" y="4184002"/>
                  <a:pt x="593310" y="4188792"/>
                  <a:pt x="593310" y="4194738"/>
                </a:cubicBezTo>
                <a:lnTo>
                  <a:pt x="583068" y="4204980"/>
                </a:lnTo>
                <a:lnTo>
                  <a:pt x="585050" y="4206963"/>
                </a:lnTo>
                <a:lnTo>
                  <a:pt x="576460" y="4215552"/>
                </a:lnTo>
                <a:lnTo>
                  <a:pt x="577947" y="4217038"/>
                </a:lnTo>
                <a:lnTo>
                  <a:pt x="571093" y="4223893"/>
                </a:lnTo>
                <a:lnTo>
                  <a:pt x="572167" y="4224967"/>
                </a:lnTo>
                <a:lnTo>
                  <a:pt x="566386" y="4230749"/>
                </a:lnTo>
                <a:lnTo>
                  <a:pt x="567047" y="4231409"/>
                </a:lnTo>
                <a:lnTo>
                  <a:pt x="562172" y="4236284"/>
                </a:lnTo>
                <a:lnTo>
                  <a:pt x="562750" y="4236860"/>
                </a:lnTo>
                <a:lnTo>
                  <a:pt x="558623" y="4240987"/>
                </a:lnTo>
                <a:lnTo>
                  <a:pt x="558954" y="4241319"/>
                </a:lnTo>
                <a:lnTo>
                  <a:pt x="555236" y="4245038"/>
                </a:lnTo>
                <a:lnTo>
                  <a:pt x="555482" y="4245285"/>
                </a:lnTo>
                <a:lnTo>
                  <a:pt x="551932" y="4248835"/>
                </a:lnTo>
                <a:lnTo>
                  <a:pt x="552180" y="4249083"/>
                </a:lnTo>
                <a:lnTo>
                  <a:pt x="548629" y="4252634"/>
                </a:lnTo>
                <a:lnTo>
                  <a:pt x="548876" y="4252882"/>
                </a:lnTo>
                <a:lnTo>
                  <a:pt x="545158" y="4256600"/>
                </a:lnTo>
                <a:lnTo>
                  <a:pt x="545571" y="4257011"/>
                </a:lnTo>
                <a:lnTo>
                  <a:pt x="541442" y="4261142"/>
                </a:lnTo>
                <a:lnTo>
                  <a:pt x="542103" y="4261803"/>
                </a:lnTo>
                <a:lnTo>
                  <a:pt x="537479" y="4266428"/>
                </a:lnTo>
                <a:lnTo>
                  <a:pt x="538305" y="4267253"/>
                </a:lnTo>
                <a:lnTo>
                  <a:pt x="533102" y="4272456"/>
                </a:lnTo>
                <a:lnTo>
                  <a:pt x="534176" y="4273529"/>
                </a:lnTo>
                <a:lnTo>
                  <a:pt x="528144" y="4279559"/>
                </a:lnTo>
                <a:lnTo>
                  <a:pt x="529549" y="4280964"/>
                </a:lnTo>
                <a:cubicBezTo>
                  <a:pt x="529549" y="4286910"/>
                  <a:pt x="524759" y="4291700"/>
                  <a:pt x="518813" y="4291700"/>
                </a:cubicBezTo>
                <a:lnTo>
                  <a:pt x="517410" y="4290297"/>
                </a:lnTo>
                <a:lnTo>
                  <a:pt x="513529" y="4294177"/>
                </a:lnTo>
                <a:cubicBezTo>
                  <a:pt x="511064" y="4294177"/>
                  <a:pt x="509068" y="4292181"/>
                  <a:pt x="509068" y="4289718"/>
                </a:cubicBezTo>
                <a:lnTo>
                  <a:pt x="512949" y="4285837"/>
                </a:lnTo>
                <a:lnTo>
                  <a:pt x="508076" y="4280964"/>
                </a:lnTo>
                <a:lnTo>
                  <a:pt x="514106" y="4274934"/>
                </a:lnTo>
                <a:lnTo>
                  <a:pt x="512701" y="4273529"/>
                </a:lnTo>
                <a:lnTo>
                  <a:pt x="517904" y="4268327"/>
                </a:lnTo>
                <a:lnTo>
                  <a:pt x="516830" y="4267253"/>
                </a:lnTo>
                <a:lnTo>
                  <a:pt x="521456" y="4262628"/>
                </a:lnTo>
                <a:lnTo>
                  <a:pt x="520630" y="4261803"/>
                </a:lnTo>
                <a:lnTo>
                  <a:pt x="524761" y="4257674"/>
                </a:lnTo>
                <a:lnTo>
                  <a:pt x="524098" y="4257011"/>
                </a:lnTo>
                <a:lnTo>
                  <a:pt x="527815" y="4253295"/>
                </a:lnTo>
                <a:lnTo>
                  <a:pt x="527402" y="4252882"/>
                </a:lnTo>
                <a:lnTo>
                  <a:pt x="530954" y="4249331"/>
                </a:lnTo>
                <a:lnTo>
                  <a:pt x="530706" y="4249083"/>
                </a:lnTo>
                <a:lnTo>
                  <a:pt x="534257" y="4245533"/>
                </a:lnTo>
                <a:lnTo>
                  <a:pt x="534009" y="4245285"/>
                </a:lnTo>
                <a:lnTo>
                  <a:pt x="537727" y="4241567"/>
                </a:lnTo>
                <a:lnTo>
                  <a:pt x="537479" y="4241319"/>
                </a:lnTo>
                <a:lnTo>
                  <a:pt x="541608" y="4237191"/>
                </a:lnTo>
                <a:lnTo>
                  <a:pt x="541277" y="4236860"/>
                </a:lnTo>
                <a:lnTo>
                  <a:pt x="546150" y="4231987"/>
                </a:lnTo>
                <a:lnTo>
                  <a:pt x="545573" y="4231409"/>
                </a:lnTo>
                <a:lnTo>
                  <a:pt x="551355" y="4225628"/>
                </a:lnTo>
                <a:lnTo>
                  <a:pt x="550694" y="4224967"/>
                </a:lnTo>
                <a:lnTo>
                  <a:pt x="557547" y="4218113"/>
                </a:lnTo>
                <a:lnTo>
                  <a:pt x="556474" y="4217038"/>
                </a:lnTo>
                <a:lnTo>
                  <a:pt x="565063" y="4208449"/>
                </a:lnTo>
                <a:lnTo>
                  <a:pt x="563577" y="4206963"/>
                </a:lnTo>
                <a:lnTo>
                  <a:pt x="573819" y="4196721"/>
                </a:lnTo>
                <a:lnTo>
                  <a:pt x="571837" y="4194738"/>
                </a:lnTo>
                <a:cubicBezTo>
                  <a:pt x="571837" y="4188792"/>
                  <a:pt x="576627" y="4184002"/>
                  <a:pt x="582573" y="4184002"/>
                </a:cubicBezTo>
                <a:close/>
                <a:moveTo>
                  <a:pt x="2649155" y="4183012"/>
                </a:moveTo>
                <a:cubicBezTo>
                  <a:pt x="2655102" y="4183012"/>
                  <a:pt x="2659894" y="4187802"/>
                  <a:pt x="2659894" y="4193748"/>
                </a:cubicBezTo>
                <a:cubicBezTo>
                  <a:pt x="2659894" y="4199695"/>
                  <a:pt x="2655102" y="4204484"/>
                  <a:pt x="2649155" y="4204484"/>
                </a:cubicBezTo>
                <a:cubicBezTo>
                  <a:pt x="2643209" y="4204484"/>
                  <a:pt x="2638419" y="4199695"/>
                  <a:pt x="2638419" y="4193748"/>
                </a:cubicBezTo>
                <a:cubicBezTo>
                  <a:pt x="2638419" y="4187802"/>
                  <a:pt x="2643209" y="4183012"/>
                  <a:pt x="2649155" y="4183012"/>
                </a:cubicBezTo>
                <a:close/>
                <a:moveTo>
                  <a:pt x="1461171" y="4182516"/>
                </a:moveTo>
                <a:cubicBezTo>
                  <a:pt x="1467118" y="4182516"/>
                  <a:pt x="1471910" y="4187306"/>
                  <a:pt x="1471910" y="4193252"/>
                </a:cubicBezTo>
                <a:cubicBezTo>
                  <a:pt x="1471910" y="4199199"/>
                  <a:pt x="1467118" y="4203988"/>
                  <a:pt x="1461171" y="4203988"/>
                </a:cubicBezTo>
                <a:cubicBezTo>
                  <a:pt x="1455225" y="4203988"/>
                  <a:pt x="1450435" y="4199199"/>
                  <a:pt x="1450435" y="4193252"/>
                </a:cubicBezTo>
                <a:cubicBezTo>
                  <a:pt x="1450435" y="4187306"/>
                  <a:pt x="1455225" y="4182516"/>
                  <a:pt x="1461171" y="4182516"/>
                </a:cubicBezTo>
                <a:close/>
                <a:moveTo>
                  <a:pt x="3290390" y="4180202"/>
                </a:moveTo>
                <a:cubicBezTo>
                  <a:pt x="3292867" y="4180202"/>
                  <a:pt x="3294849" y="4182185"/>
                  <a:pt x="3294849" y="4184663"/>
                </a:cubicBezTo>
                <a:cubicBezTo>
                  <a:pt x="3294849" y="4187141"/>
                  <a:pt x="3292867" y="4189123"/>
                  <a:pt x="3290390" y="4189123"/>
                </a:cubicBezTo>
                <a:cubicBezTo>
                  <a:pt x="3287912" y="4189123"/>
                  <a:pt x="3285930" y="4187141"/>
                  <a:pt x="3285930" y="4184663"/>
                </a:cubicBezTo>
                <a:cubicBezTo>
                  <a:pt x="3285930" y="4182185"/>
                  <a:pt x="3287912" y="4180202"/>
                  <a:pt x="3290390" y="4180202"/>
                </a:cubicBezTo>
                <a:close/>
                <a:moveTo>
                  <a:pt x="2788404" y="4179046"/>
                </a:moveTo>
                <a:cubicBezTo>
                  <a:pt x="2794350" y="4179046"/>
                  <a:pt x="2799142" y="4183836"/>
                  <a:pt x="2799142" y="4189782"/>
                </a:cubicBezTo>
                <a:cubicBezTo>
                  <a:pt x="2799142" y="4195729"/>
                  <a:pt x="2794350" y="4200520"/>
                  <a:pt x="2788404" y="4200520"/>
                </a:cubicBezTo>
                <a:cubicBezTo>
                  <a:pt x="2782457" y="4200520"/>
                  <a:pt x="2777667" y="4195729"/>
                  <a:pt x="2777667" y="4189782"/>
                </a:cubicBezTo>
                <a:cubicBezTo>
                  <a:pt x="2777667" y="4183836"/>
                  <a:pt x="2782457" y="4179046"/>
                  <a:pt x="2788404" y="4179046"/>
                </a:cubicBezTo>
                <a:close/>
                <a:moveTo>
                  <a:pt x="2491242" y="4177230"/>
                </a:moveTo>
                <a:cubicBezTo>
                  <a:pt x="2497189" y="4177230"/>
                  <a:pt x="2501980" y="4182020"/>
                  <a:pt x="2501980" y="4187966"/>
                </a:cubicBezTo>
                <a:cubicBezTo>
                  <a:pt x="2501980" y="4193913"/>
                  <a:pt x="2497189" y="4198703"/>
                  <a:pt x="2491242" y="4198703"/>
                </a:cubicBezTo>
                <a:cubicBezTo>
                  <a:pt x="2485296" y="4198703"/>
                  <a:pt x="2480506" y="4193913"/>
                  <a:pt x="2480506" y="4187966"/>
                </a:cubicBezTo>
                <a:cubicBezTo>
                  <a:pt x="2480506" y="4182020"/>
                  <a:pt x="2485296" y="4177230"/>
                  <a:pt x="2491242" y="4177230"/>
                </a:cubicBezTo>
                <a:close/>
                <a:moveTo>
                  <a:pt x="2174921" y="4175577"/>
                </a:moveTo>
                <a:cubicBezTo>
                  <a:pt x="2180868" y="4175577"/>
                  <a:pt x="2185660" y="4180367"/>
                  <a:pt x="2185660" y="4186314"/>
                </a:cubicBezTo>
                <a:cubicBezTo>
                  <a:pt x="2185660" y="4192260"/>
                  <a:pt x="2180868" y="4197050"/>
                  <a:pt x="2174921" y="4197050"/>
                </a:cubicBezTo>
                <a:cubicBezTo>
                  <a:pt x="2168975" y="4197050"/>
                  <a:pt x="2164185" y="4192260"/>
                  <a:pt x="2164185" y="4186314"/>
                </a:cubicBezTo>
                <a:cubicBezTo>
                  <a:pt x="2164185" y="4180367"/>
                  <a:pt x="2168975" y="4175577"/>
                  <a:pt x="2174921" y="4175577"/>
                </a:cubicBezTo>
                <a:close/>
                <a:moveTo>
                  <a:pt x="856939" y="4169135"/>
                </a:moveTo>
                <a:cubicBezTo>
                  <a:pt x="862886" y="4169135"/>
                  <a:pt x="867676" y="4173925"/>
                  <a:pt x="867676" y="4179871"/>
                </a:cubicBezTo>
                <a:cubicBezTo>
                  <a:pt x="867676" y="4185818"/>
                  <a:pt x="862886" y="4190609"/>
                  <a:pt x="856939" y="4190609"/>
                </a:cubicBezTo>
                <a:cubicBezTo>
                  <a:pt x="850993" y="4190609"/>
                  <a:pt x="846203" y="4185818"/>
                  <a:pt x="846203" y="4179871"/>
                </a:cubicBezTo>
                <a:cubicBezTo>
                  <a:pt x="846203" y="4173925"/>
                  <a:pt x="850993" y="4169135"/>
                  <a:pt x="856939" y="4169135"/>
                </a:cubicBezTo>
                <a:close/>
                <a:moveTo>
                  <a:pt x="592318" y="4168970"/>
                </a:moveTo>
                <a:cubicBezTo>
                  <a:pt x="598264" y="4168970"/>
                  <a:pt x="603056" y="4173760"/>
                  <a:pt x="603056" y="4179706"/>
                </a:cubicBezTo>
                <a:cubicBezTo>
                  <a:pt x="603056" y="4185653"/>
                  <a:pt x="598264" y="4190443"/>
                  <a:pt x="592318" y="4190443"/>
                </a:cubicBezTo>
                <a:cubicBezTo>
                  <a:pt x="586371" y="4190443"/>
                  <a:pt x="581582" y="4185653"/>
                  <a:pt x="581582" y="4179706"/>
                </a:cubicBezTo>
                <a:cubicBezTo>
                  <a:pt x="581582" y="4173760"/>
                  <a:pt x="586371" y="4168970"/>
                  <a:pt x="592318" y="4168970"/>
                </a:cubicBezTo>
                <a:close/>
                <a:moveTo>
                  <a:pt x="1320768" y="4168476"/>
                </a:moveTo>
                <a:cubicBezTo>
                  <a:pt x="1326715" y="4168476"/>
                  <a:pt x="1331506" y="4173266"/>
                  <a:pt x="1331506" y="4179212"/>
                </a:cubicBezTo>
                <a:cubicBezTo>
                  <a:pt x="1331506" y="4185159"/>
                  <a:pt x="1326715" y="4189949"/>
                  <a:pt x="1320768" y="4189949"/>
                </a:cubicBezTo>
                <a:cubicBezTo>
                  <a:pt x="1314822" y="4189949"/>
                  <a:pt x="1310032" y="4185159"/>
                  <a:pt x="1310032" y="4179212"/>
                </a:cubicBezTo>
                <a:cubicBezTo>
                  <a:pt x="1310032" y="4173266"/>
                  <a:pt x="1314822" y="4168476"/>
                  <a:pt x="1320768" y="4168476"/>
                </a:cubicBezTo>
                <a:close/>
                <a:moveTo>
                  <a:pt x="2910803" y="4167153"/>
                </a:moveTo>
                <a:cubicBezTo>
                  <a:pt x="2916749" y="4167153"/>
                  <a:pt x="2921539" y="4171942"/>
                  <a:pt x="2921539" y="4177889"/>
                </a:cubicBezTo>
                <a:cubicBezTo>
                  <a:pt x="2921539" y="4183836"/>
                  <a:pt x="2916749" y="4188627"/>
                  <a:pt x="2910803" y="4188627"/>
                </a:cubicBezTo>
                <a:cubicBezTo>
                  <a:pt x="2904856" y="4188627"/>
                  <a:pt x="2900066" y="4183836"/>
                  <a:pt x="2900066" y="4177889"/>
                </a:cubicBezTo>
                <a:cubicBezTo>
                  <a:pt x="2900066" y="4171942"/>
                  <a:pt x="2904856" y="4167153"/>
                  <a:pt x="2910803" y="4167153"/>
                </a:cubicBezTo>
                <a:close/>
                <a:moveTo>
                  <a:pt x="1010227" y="4165337"/>
                </a:moveTo>
                <a:cubicBezTo>
                  <a:pt x="1016174" y="4165337"/>
                  <a:pt x="1020964" y="4170127"/>
                  <a:pt x="1020964" y="4176073"/>
                </a:cubicBezTo>
                <a:cubicBezTo>
                  <a:pt x="1020964" y="4182020"/>
                  <a:pt x="1016174" y="4186810"/>
                  <a:pt x="1010227" y="4186810"/>
                </a:cubicBezTo>
                <a:cubicBezTo>
                  <a:pt x="1004281" y="4186810"/>
                  <a:pt x="999491" y="4182020"/>
                  <a:pt x="999491" y="4176073"/>
                </a:cubicBezTo>
                <a:cubicBezTo>
                  <a:pt x="999491" y="4170127"/>
                  <a:pt x="1004281" y="4165337"/>
                  <a:pt x="1010227" y="4165337"/>
                </a:cubicBezTo>
                <a:close/>
                <a:moveTo>
                  <a:pt x="3025439" y="4164510"/>
                </a:moveTo>
                <a:cubicBezTo>
                  <a:pt x="3031386" y="4164510"/>
                  <a:pt x="3036177" y="4169300"/>
                  <a:pt x="3036177" y="4175246"/>
                </a:cubicBezTo>
                <a:lnTo>
                  <a:pt x="3033039" y="4178387"/>
                </a:lnTo>
                <a:lnTo>
                  <a:pt x="3042453" y="4187800"/>
                </a:lnTo>
                <a:lnTo>
                  <a:pt x="3039892" y="4190361"/>
                </a:lnTo>
                <a:lnTo>
                  <a:pt x="3047574" y="4198042"/>
                </a:lnTo>
                <a:lnTo>
                  <a:pt x="3045509" y="4200107"/>
                </a:lnTo>
                <a:lnTo>
                  <a:pt x="3051868" y="4206467"/>
                </a:lnTo>
                <a:lnTo>
                  <a:pt x="3050134" y="4208201"/>
                </a:lnTo>
                <a:lnTo>
                  <a:pt x="3055338" y="4213403"/>
                </a:lnTo>
                <a:lnTo>
                  <a:pt x="3054015" y="4214727"/>
                </a:lnTo>
                <a:lnTo>
                  <a:pt x="3058309" y="4219020"/>
                </a:lnTo>
                <a:lnTo>
                  <a:pt x="3057071" y="4220259"/>
                </a:lnTo>
                <a:lnTo>
                  <a:pt x="3060789" y="4223975"/>
                </a:lnTo>
                <a:lnTo>
                  <a:pt x="3059714" y="4225050"/>
                </a:lnTo>
                <a:lnTo>
                  <a:pt x="3063101" y="4228435"/>
                </a:lnTo>
                <a:lnTo>
                  <a:pt x="3062027" y="4229509"/>
                </a:lnTo>
                <a:lnTo>
                  <a:pt x="3065249" y="4232729"/>
                </a:lnTo>
                <a:lnTo>
                  <a:pt x="3064174" y="4233804"/>
                </a:lnTo>
                <a:lnTo>
                  <a:pt x="3067561" y="4237189"/>
                </a:lnTo>
                <a:lnTo>
                  <a:pt x="3066404" y="4238346"/>
                </a:lnTo>
                <a:lnTo>
                  <a:pt x="3069874" y="4241815"/>
                </a:lnTo>
                <a:lnTo>
                  <a:pt x="3068551" y="4243138"/>
                </a:lnTo>
                <a:lnTo>
                  <a:pt x="3072516" y="4247100"/>
                </a:lnTo>
                <a:lnTo>
                  <a:pt x="3071029" y="4248588"/>
                </a:lnTo>
                <a:lnTo>
                  <a:pt x="3075654" y="4253212"/>
                </a:lnTo>
                <a:lnTo>
                  <a:pt x="3073920" y="4254946"/>
                </a:lnTo>
                <a:lnTo>
                  <a:pt x="3079125" y="4260150"/>
                </a:lnTo>
                <a:lnTo>
                  <a:pt x="3077059" y="4262216"/>
                </a:lnTo>
                <a:lnTo>
                  <a:pt x="3083087" y="4268244"/>
                </a:lnTo>
                <a:lnTo>
                  <a:pt x="3080857" y="4270474"/>
                </a:lnTo>
                <a:lnTo>
                  <a:pt x="3087879" y="4277494"/>
                </a:lnTo>
                <a:lnTo>
                  <a:pt x="3085236" y="4280138"/>
                </a:lnTo>
                <a:lnTo>
                  <a:pt x="3093163" y="4288065"/>
                </a:lnTo>
                <a:cubicBezTo>
                  <a:pt x="3093163" y="4294012"/>
                  <a:pt x="3088373" y="4298802"/>
                  <a:pt x="3082426" y="4298802"/>
                </a:cubicBezTo>
                <a:cubicBezTo>
                  <a:pt x="3076480" y="4298802"/>
                  <a:pt x="3071690" y="4294012"/>
                  <a:pt x="3071690" y="4288065"/>
                </a:cubicBezTo>
                <a:lnTo>
                  <a:pt x="3074333" y="4285424"/>
                </a:lnTo>
                <a:lnTo>
                  <a:pt x="3066404" y="4277494"/>
                </a:lnTo>
                <a:lnTo>
                  <a:pt x="3068634" y="4275265"/>
                </a:lnTo>
                <a:lnTo>
                  <a:pt x="3061614" y="4268244"/>
                </a:lnTo>
                <a:lnTo>
                  <a:pt x="3063680" y="4266180"/>
                </a:lnTo>
                <a:lnTo>
                  <a:pt x="3057650" y="4260150"/>
                </a:lnTo>
                <a:lnTo>
                  <a:pt x="3059384" y="4258416"/>
                </a:lnTo>
                <a:lnTo>
                  <a:pt x="3054180" y="4253212"/>
                </a:lnTo>
                <a:lnTo>
                  <a:pt x="3055666" y="4251725"/>
                </a:lnTo>
                <a:lnTo>
                  <a:pt x="3051043" y="4247100"/>
                </a:lnTo>
                <a:lnTo>
                  <a:pt x="3052364" y="4245779"/>
                </a:lnTo>
                <a:lnTo>
                  <a:pt x="3048400" y="4241815"/>
                </a:lnTo>
                <a:lnTo>
                  <a:pt x="3049555" y="4240660"/>
                </a:lnTo>
                <a:lnTo>
                  <a:pt x="3046087" y="4237189"/>
                </a:lnTo>
                <a:lnTo>
                  <a:pt x="3047162" y="4236116"/>
                </a:lnTo>
                <a:lnTo>
                  <a:pt x="3043775" y="4232729"/>
                </a:lnTo>
                <a:lnTo>
                  <a:pt x="3044847" y="4231657"/>
                </a:lnTo>
                <a:lnTo>
                  <a:pt x="3041626" y="4228435"/>
                </a:lnTo>
                <a:lnTo>
                  <a:pt x="3042701" y="4227362"/>
                </a:lnTo>
                <a:lnTo>
                  <a:pt x="3039315" y="4223975"/>
                </a:lnTo>
                <a:lnTo>
                  <a:pt x="3040553" y="4222737"/>
                </a:lnTo>
                <a:lnTo>
                  <a:pt x="3036836" y="4219020"/>
                </a:lnTo>
                <a:lnTo>
                  <a:pt x="3038158" y="4217699"/>
                </a:lnTo>
                <a:lnTo>
                  <a:pt x="3033864" y="4213403"/>
                </a:lnTo>
                <a:lnTo>
                  <a:pt x="3035598" y="4211669"/>
                </a:lnTo>
                <a:lnTo>
                  <a:pt x="3030396" y="4206467"/>
                </a:lnTo>
                <a:lnTo>
                  <a:pt x="3032459" y="4204403"/>
                </a:lnTo>
                <a:lnTo>
                  <a:pt x="3026100" y="4198042"/>
                </a:lnTo>
                <a:lnTo>
                  <a:pt x="3028660" y="4195482"/>
                </a:lnTo>
                <a:lnTo>
                  <a:pt x="3020979" y="4187800"/>
                </a:lnTo>
                <a:lnTo>
                  <a:pt x="3024118" y="4184663"/>
                </a:lnTo>
                <a:lnTo>
                  <a:pt x="3014703" y="4175246"/>
                </a:lnTo>
                <a:cubicBezTo>
                  <a:pt x="3014703" y="4169300"/>
                  <a:pt x="3019493" y="4164510"/>
                  <a:pt x="3025439" y="4164510"/>
                </a:cubicBezTo>
                <a:close/>
                <a:moveTo>
                  <a:pt x="721985" y="4163520"/>
                </a:moveTo>
                <a:cubicBezTo>
                  <a:pt x="727931" y="4163520"/>
                  <a:pt x="732723" y="4168309"/>
                  <a:pt x="732723" y="4174256"/>
                </a:cubicBezTo>
                <a:cubicBezTo>
                  <a:pt x="732723" y="4180202"/>
                  <a:pt x="727931" y="4184994"/>
                  <a:pt x="721985" y="4184994"/>
                </a:cubicBezTo>
                <a:cubicBezTo>
                  <a:pt x="716038" y="4184994"/>
                  <a:pt x="711248" y="4180202"/>
                  <a:pt x="711248" y="4174256"/>
                </a:cubicBezTo>
                <a:cubicBezTo>
                  <a:pt x="711248" y="4168309"/>
                  <a:pt x="716038" y="4163520"/>
                  <a:pt x="721985" y="4163520"/>
                </a:cubicBezTo>
                <a:close/>
                <a:moveTo>
                  <a:pt x="3340772" y="4161373"/>
                </a:moveTo>
                <a:cubicBezTo>
                  <a:pt x="3340954" y="4161373"/>
                  <a:pt x="3341101" y="4161520"/>
                  <a:pt x="3341101" y="4161704"/>
                </a:cubicBezTo>
                <a:cubicBezTo>
                  <a:pt x="3341101" y="4161886"/>
                  <a:pt x="3340954" y="4162033"/>
                  <a:pt x="3340772" y="4162033"/>
                </a:cubicBezTo>
                <a:cubicBezTo>
                  <a:pt x="3340588" y="4162033"/>
                  <a:pt x="3340441" y="4161886"/>
                  <a:pt x="3340441" y="4161704"/>
                </a:cubicBezTo>
                <a:cubicBezTo>
                  <a:pt x="3340441" y="4161520"/>
                  <a:pt x="3340588" y="4161373"/>
                  <a:pt x="3340772" y="4161373"/>
                </a:cubicBezTo>
                <a:close/>
                <a:moveTo>
                  <a:pt x="2313838" y="4159059"/>
                </a:moveTo>
                <a:cubicBezTo>
                  <a:pt x="2319785" y="4159059"/>
                  <a:pt x="2324575" y="4163849"/>
                  <a:pt x="2324575" y="4169796"/>
                </a:cubicBezTo>
                <a:cubicBezTo>
                  <a:pt x="2324575" y="4175742"/>
                  <a:pt x="2319785" y="4180532"/>
                  <a:pt x="2313838" y="4180532"/>
                </a:cubicBezTo>
                <a:cubicBezTo>
                  <a:pt x="2307892" y="4180532"/>
                  <a:pt x="2303102" y="4175742"/>
                  <a:pt x="2303102" y="4169796"/>
                </a:cubicBezTo>
                <a:cubicBezTo>
                  <a:pt x="2303102" y="4163849"/>
                  <a:pt x="2307892" y="4159059"/>
                  <a:pt x="2313838" y="4159059"/>
                </a:cubicBezTo>
                <a:close/>
                <a:moveTo>
                  <a:pt x="2765278" y="4152287"/>
                </a:moveTo>
                <a:cubicBezTo>
                  <a:pt x="2771225" y="4152287"/>
                  <a:pt x="2776016" y="4157077"/>
                  <a:pt x="2776016" y="4163024"/>
                </a:cubicBezTo>
                <a:cubicBezTo>
                  <a:pt x="2776016" y="4168970"/>
                  <a:pt x="2771225" y="4173762"/>
                  <a:pt x="2765278" y="4173762"/>
                </a:cubicBezTo>
                <a:cubicBezTo>
                  <a:pt x="2759332" y="4173762"/>
                  <a:pt x="2754542" y="4168970"/>
                  <a:pt x="2754542" y="4163024"/>
                </a:cubicBezTo>
                <a:cubicBezTo>
                  <a:pt x="2754542" y="4157077"/>
                  <a:pt x="2759332" y="4152287"/>
                  <a:pt x="2765278" y="4152287"/>
                </a:cubicBezTo>
                <a:close/>
                <a:moveTo>
                  <a:pt x="2617276" y="4150634"/>
                </a:moveTo>
                <a:cubicBezTo>
                  <a:pt x="2623222" y="4150634"/>
                  <a:pt x="2628014" y="4155424"/>
                  <a:pt x="2628014" y="4161371"/>
                </a:cubicBezTo>
                <a:cubicBezTo>
                  <a:pt x="2628014" y="4167317"/>
                  <a:pt x="2623222" y="4172109"/>
                  <a:pt x="2617276" y="4172109"/>
                </a:cubicBezTo>
                <a:cubicBezTo>
                  <a:pt x="2611329" y="4172109"/>
                  <a:pt x="2606540" y="4167317"/>
                  <a:pt x="2606540" y="4161371"/>
                </a:cubicBezTo>
                <a:cubicBezTo>
                  <a:pt x="2606540" y="4155424"/>
                  <a:pt x="2611329" y="4150634"/>
                  <a:pt x="2617276" y="4150634"/>
                </a:cubicBezTo>
                <a:close/>
                <a:moveTo>
                  <a:pt x="603881" y="4150470"/>
                </a:moveTo>
                <a:cubicBezTo>
                  <a:pt x="609828" y="4150470"/>
                  <a:pt x="614618" y="4155260"/>
                  <a:pt x="614618" y="4161206"/>
                </a:cubicBezTo>
                <a:cubicBezTo>
                  <a:pt x="614618" y="4167153"/>
                  <a:pt x="609828" y="4171942"/>
                  <a:pt x="603881" y="4171942"/>
                </a:cubicBezTo>
                <a:cubicBezTo>
                  <a:pt x="597935" y="4171942"/>
                  <a:pt x="593145" y="4167153"/>
                  <a:pt x="593145" y="4161206"/>
                </a:cubicBezTo>
                <a:cubicBezTo>
                  <a:pt x="593145" y="4155260"/>
                  <a:pt x="597935" y="4150470"/>
                  <a:pt x="603881" y="4150470"/>
                </a:cubicBezTo>
                <a:close/>
                <a:moveTo>
                  <a:pt x="1183006" y="4149809"/>
                </a:moveTo>
                <a:cubicBezTo>
                  <a:pt x="1188953" y="4149809"/>
                  <a:pt x="1193744" y="4154599"/>
                  <a:pt x="1193744" y="4160545"/>
                </a:cubicBezTo>
                <a:cubicBezTo>
                  <a:pt x="1193744" y="4166492"/>
                  <a:pt x="1188953" y="4171282"/>
                  <a:pt x="1183006" y="4171282"/>
                </a:cubicBezTo>
                <a:cubicBezTo>
                  <a:pt x="1177060" y="4171282"/>
                  <a:pt x="1172270" y="4166492"/>
                  <a:pt x="1172270" y="4160545"/>
                </a:cubicBezTo>
                <a:cubicBezTo>
                  <a:pt x="1172270" y="4154599"/>
                  <a:pt x="1177060" y="4149809"/>
                  <a:pt x="1183006" y="4149809"/>
                </a:cubicBezTo>
                <a:close/>
                <a:moveTo>
                  <a:pt x="3017675" y="4149315"/>
                </a:moveTo>
                <a:cubicBezTo>
                  <a:pt x="3023622" y="4149315"/>
                  <a:pt x="3028413" y="4154105"/>
                  <a:pt x="3028413" y="4160051"/>
                </a:cubicBezTo>
                <a:cubicBezTo>
                  <a:pt x="3028413" y="4165998"/>
                  <a:pt x="3023622" y="4170787"/>
                  <a:pt x="3017675" y="4170787"/>
                </a:cubicBezTo>
                <a:cubicBezTo>
                  <a:pt x="3011729" y="4170787"/>
                  <a:pt x="3006939" y="4165998"/>
                  <a:pt x="3006939" y="4160051"/>
                </a:cubicBezTo>
                <a:cubicBezTo>
                  <a:pt x="3006939" y="4154105"/>
                  <a:pt x="3011729" y="4149315"/>
                  <a:pt x="3017675" y="4149315"/>
                </a:cubicBezTo>
                <a:close/>
                <a:moveTo>
                  <a:pt x="494862" y="4147333"/>
                </a:moveTo>
                <a:cubicBezTo>
                  <a:pt x="500808" y="4147333"/>
                  <a:pt x="505600" y="4152122"/>
                  <a:pt x="505600" y="4158069"/>
                </a:cubicBezTo>
                <a:lnTo>
                  <a:pt x="496927" y="4166742"/>
                </a:lnTo>
                <a:lnTo>
                  <a:pt x="500975" y="4170787"/>
                </a:lnTo>
                <a:lnTo>
                  <a:pt x="493871" y="4177891"/>
                </a:lnTo>
                <a:lnTo>
                  <a:pt x="497340" y="4181359"/>
                </a:lnTo>
                <a:lnTo>
                  <a:pt x="491558" y="4187141"/>
                </a:lnTo>
                <a:lnTo>
                  <a:pt x="494366" y="4189949"/>
                </a:lnTo>
                <a:lnTo>
                  <a:pt x="489576" y="4194738"/>
                </a:lnTo>
                <a:lnTo>
                  <a:pt x="492219" y="4197381"/>
                </a:lnTo>
                <a:lnTo>
                  <a:pt x="488336" y="4201264"/>
                </a:lnTo>
                <a:lnTo>
                  <a:pt x="490566" y="4203493"/>
                </a:lnTo>
                <a:lnTo>
                  <a:pt x="487181" y="4206878"/>
                </a:lnTo>
                <a:lnTo>
                  <a:pt x="489082" y="4208778"/>
                </a:lnTo>
                <a:lnTo>
                  <a:pt x="485943" y="4211919"/>
                </a:lnTo>
                <a:lnTo>
                  <a:pt x="487758" y="4213735"/>
                </a:lnTo>
                <a:lnTo>
                  <a:pt x="484703" y="4216790"/>
                </a:lnTo>
                <a:lnTo>
                  <a:pt x="486437" y="4218524"/>
                </a:lnTo>
                <a:lnTo>
                  <a:pt x="483381" y="4221580"/>
                </a:lnTo>
                <a:lnTo>
                  <a:pt x="485117" y="4223314"/>
                </a:lnTo>
                <a:lnTo>
                  <a:pt x="481647" y="4226784"/>
                </a:lnTo>
                <a:lnTo>
                  <a:pt x="483465" y="4228600"/>
                </a:lnTo>
                <a:lnTo>
                  <a:pt x="479582" y="4232483"/>
                </a:lnTo>
                <a:lnTo>
                  <a:pt x="481483" y="4234382"/>
                </a:lnTo>
                <a:lnTo>
                  <a:pt x="477105" y="4238759"/>
                </a:lnTo>
                <a:lnTo>
                  <a:pt x="479171" y="4240824"/>
                </a:lnTo>
                <a:lnTo>
                  <a:pt x="473885" y="4246110"/>
                </a:lnTo>
                <a:lnTo>
                  <a:pt x="476197" y="4248422"/>
                </a:lnTo>
                <a:lnTo>
                  <a:pt x="470084" y="4254533"/>
                </a:lnTo>
                <a:lnTo>
                  <a:pt x="472397" y="4256847"/>
                </a:lnTo>
                <a:cubicBezTo>
                  <a:pt x="472397" y="4262628"/>
                  <a:pt x="467607" y="4267418"/>
                  <a:pt x="461826" y="4267418"/>
                </a:cubicBezTo>
                <a:cubicBezTo>
                  <a:pt x="456044" y="4267418"/>
                  <a:pt x="451254" y="4262628"/>
                  <a:pt x="451254" y="4256847"/>
                </a:cubicBezTo>
                <a:lnTo>
                  <a:pt x="457200" y="4250900"/>
                </a:lnTo>
                <a:lnTo>
                  <a:pt x="454722" y="4248422"/>
                </a:lnTo>
                <a:lnTo>
                  <a:pt x="460008" y="4243136"/>
                </a:lnTo>
                <a:lnTo>
                  <a:pt x="457696" y="4240824"/>
                </a:lnTo>
                <a:lnTo>
                  <a:pt x="462074" y="4236447"/>
                </a:lnTo>
                <a:lnTo>
                  <a:pt x="460008" y="4234382"/>
                </a:lnTo>
                <a:lnTo>
                  <a:pt x="463891" y="4230501"/>
                </a:lnTo>
                <a:lnTo>
                  <a:pt x="461990" y="4228600"/>
                </a:lnTo>
                <a:lnTo>
                  <a:pt x="465459" y="4225132"/>
                </a:lnTo>
                <a:lnTo>
                  <a:pt x="463643" y="4223314"/>
                </a:lnTo>
                <a:lnTo>
                  <a:pt x="466699" y="4220259"/>
                </a:lnTo>
                <a:lnTo>
                  <a:pt x="464964" y="4218524"/>
                </a:lnTo>
                <a:lnTo>
                  <a:pt x="468020" y="4215469"/>
                </a:lnTo>
                <a:lnTo>
                  <a:pt x="466286" y="4213735"/>
                </a:lnTo>
                <a:lnTo>
                  <a:pt x="469425" y="4210596"/>
                </a:lnTo>
                <a:lnTo>
                  <a:pt x="467607" y="4208778"/>
                </a:lnTo>
                <a:lnTo>
                  <a:pt x="470994" y="4205393"/>
                </a:lnTo>
                <a:lnTo>
                  <a:pt x="469093" y="4203493"/>
                </a:lnTo>
                <a:lnTo>
                  <a:pt x="472975" y="4199611"/>
                </a:lnTo>
                <a:lnTo>
                  <a:pt x="470744" y="4197381"/>
                </a:lnTo>
                <a:lnTo>
                  <a:pt x="475536" y="4192591"/>
                </a:lnTo>
                <a:lnTo>
                  <a:pt x="472893" y="4189949"/>
                </a:lnTo>
                <a:lnTo>
                  <a:pt x="478675" y="4184168"/>
                </a:lnTo>
                <a:lnTo>
                  <a:pt x="475865" y="4181359"/>
                </a:lnTo>
                <a:lnTo>
                  <a:pt x="482969" y="4174256"/>
                </a:lnTo>
                <a:lnTo>
                  <a:pt x="479500" y="4170787"/>
                </a:lnTo>
                <a:lnTo>
                  <a:pt x="488173" y="4162117"/>
                </a:lnTo>
                <a:lnTo>
                  <a:pt x="484125" y="4158069"/>
                </a:lnTo>
                <a:cubicBezTo>
                  <a:pt x="484125" y="4152122"/>
                  <a:pt x="488915" y="4147333"/>
                  <a:pt x="494862" y="4147333"/>
                </a:cubicBezTo>
                <a:close/>
                <a:moveTo>
                  <a:pt x="2895110" y="4145019"/>
                </a:moveTo>
                <a:cubicBezTo>
                  <a:pt x="2901056" y="4145019"/>
                  <a:pt x="2905848" y="4149809"/>
                  <a:pt x="2905848" y="4155756"/>
                </a:cubicBezTo>
                <a:cubicBezTo>
                  <a:pt x="2905848" y="4161702"/>
                  <a:pt x="2901056" y="4166494"/>
                  <a:pt x="2895110" y="4166494"/>
                </a:cubicBezTo>
                <a:cubicBezTo>
                  <a:pt x="2889163" y="4166494"/>
                  <a:pt x="2884374" y="4161702"/>
                  <a:pt x="2884374" y="4155756"/>
                </a:cubicBezTo>
                <a:cubicBezTo>
                  <a:pt x="2884374" y="4149809"/>
                  <a:pt x="2889163" y="4145019"/>
                  <a:pt x="2895110" y="4145019"/>
                </a:cubicBezTo>
                <a:close/>
                <a:moveTo>
                  <a:pt x="248578" y="4145019"/>
                </a:moveTo>
                <a:cubicBezTo>
                  <a:pt x="248743" y="4145019"/>
                  <a:pt x="249072" y="4145350"/>
                  <a:pt x="249072" y="4145515"/>
                </a:cubicBezTo>
                <a:cubicBezTo>
                  <a:pt x="249072" y="4145680"/>
                  <a:pt x="248578" y="4146009"/>
                  <a:pt x="248578" y="4146009"/>
                </a:cubicBezTo>
                <a:cubicBezTo>
                  <a:pt x="248411" y="4146009"/>
                  <a:pt x="248082" y="4145680"/>
                  <a:pt x="248082" y="4145515"/>
                </a:cubicBezTo>
                <a:cubicBezTo>
                  <a:pt x="248082" y="4145350"/>
                  <a:pt x="248411" y="4145019"/>
                  <a:pt x="248578" y="4145019"/>
                </a:cubicBezTo>
                <a:close/>
                <a:moveTo>
                  <a:pt x="1820112" y="4139898"/>
                </a:moveTo>
                <a:cubicBezTo>
                  <a:pt x="1826043" y="4139898"/>
                  <a:pt x="1830848" y="4144705"/>
                  <a:pt x="1830848" y="4150634"/>
                </a:cubicBezTo>
                <a:cubicBezTo>
                  <a:pt x="1830848" y="4156564"/>
                  <a:pt x="1826043" y="4161371"/>
                  <a:pt x="1820112" y="4161371"/>
                </a:cubicBezTo>
                <a:cubicBezTo>
                  <a:pt x="1814183" y="4161371"/>
                  <a:pt x="1809375" y="4156564"/>
                  <a:pt x="1809375" y="4150634"/>
                </a:cubicBezTo>
                <a:cubicBezTo>
                  <a:pt x="1809375" y="4144705"/>
                  <a:pt x="1814183" y="4139898"/>
                  <a:pt x="1820112" y="4139898"/>
                </a:cubicBezTo>
                <a:close/>
                <a:moveTo>
                  <a:pt x="1671117" y="4138741"/>
                </a:moveTo>
                <a:cubicBezTo>
                  <a:pt x="1677064" y="4138741"/>
                  <a:pt x="1681855" y="4143531"/>
                  <a:pt x="1681855" y="4149478"/>
                </a:cubicBezTo>
                <a:cubicBezTo>
                  <a:pt x="1681855" y="4155424"/>
                  <a:pt x="1677064" y="4160216"/>
                  <a:pt x="1671117" y="4160216"/>
                </a:cubicBezTo>
                <a:cubicBezTo>
                  <a:pt x="1665171" y="4160216"/>
                  <a:pt x="1660381" y="4155424"/>
                  <a:pt x="1660381" y="4149478"/>
                </a:cubicBezTo>
                <a:cubicBezTo>
                  <a:pt x="1660381" y="4143531"/>
                  <a:pt x="1665171" y="4138741"/>
                  <a:pt x="1671117" y="4138741"/>
                </a:cubicBezTo>
                <a:close/>
                <a:moveTo>
                  <a:pt x="2449783" y="4137916"/>
                </a:moveTo>
                <a:cubicBezTo>
                  <a:pt x="2455730" y="4137916"/>
                  <a:pt x="2460521" y="4142706"/>
                  <a:pt x="2460521" y="4148652"/>
                </a:cubicBezTo>
                <a:cubicBezTo>
                  <a:pt x="2460521" y="4154599"/>
                  <a:pt x="2455730" y="4159389"/>
                  <a:pt x="2449783" y="4159389"/>
                </a:cubicBezTo>
                <a:cubicBezTo>
                  <a:pt x="2443837" y="4159389"/>
                  <a:pt x="2439047" y="4154599"/>
                  <a:pt x="2439047" y="4148652"/>
                </a:cubicBezTo>
                <a:cubicBezTo>
                  <a:pt x="2439047" y="4142706"/>
                  <a:pt x="2443837" y="4137916"/>
                  <a:pt x="2449783" y="4137916"/>
                </a:cubicBezTo>
                <a:close/>
                <a:moveTo>
                  <a:pt x="886011" y="4137090"/>
                </a:moveTo>
                <a:cubicBezTo>
                  <a:pt x="891958" y="4137090"/>
                  <a:pt x="896749" y="4141880"/>
                  <a:pt x="896749" y="4147827"/>
                </a:cubicBezTo>
                <a:cubicBezTo>
                  <a:pt x="896749" y="4153773"/>
                  <a:pt x="891958" y="4158563"/>
                  <a:pt x="886011" y="4158563"/>
                </a:cubicBezTo>
                <a:cubicBezTo>
                  <a:pt x="880064" y="4158563"/>
                  <a:pt x="875275" y="4153773"/>
                  <a:pt x="875275" y="4147827"/>
                </a:cubicBezTo>
                <a:cubicBezTo>
                  <a:pt x="875275" y="4141880"/>
                  <a:pt x="880064" y="4137090"/>
                  <a:pt x="886011" y="4137090"/>
                </a:cubicBezTo>
                <a:close/>
                <a:moveTo>
                  <a:pt x="742798" y="4136926"/>
                </a:moveTo>
                <a:cubicBezTo>
                  <a:pt x="748745" y="4136926"/>
                  <a:pt x="753537" y="4141716"/>
                  <a:pt x="753537" y="4147662"/>
                </a:cubicBezTo>
                <a:cubicBezTo>
                  <a:pt x="753537" y="4153609"/>
                  <a:pt x="748745" y="4158398"/>
                  <a:pt x="742798" y="4158398"/>
                </a:cubicBezTo>
                <a:cubicBezTo>
                  <a:pt x="736852" y="4158398"/>
                  <a:pt x="732062" y="4153609"/>
                  <a:pt x="732062" y="4147662"/>
                </a:cubicBezTo>
                <a:cubicBezTo>
                  <a:pt x="732062" y="4141716"/>
                  <a:pt x="736852" y="4136926"/>
                  <a:pt x="742798" y="4136926"/>
                </a:cubicBezTo>
                <a:close/>
                <a:moveTo>
                  <a:pt x="1968940" y="4135769"/>
                </a:moveTo>
                <a:cubicBezTo>
                  <a:pt x="1974886" y="4135769"/>
                  <a:pt x="1979678" y="4140559"/>
                  <a:pt x="1979678" y="4146505"/>
                </a:cubicBezTo>
                <a:cubicBezTo>
                  <a:pt x="1979678" y="4152452"/>
                  <a:pt x="1974886" y="4157243"/>
                  <a:pt x="1968940" y="4157243"/>
                </a:cubicBezTo>
                <a:cubicBezTo>
                  <a:pt x="1962993" y="4157243"/>
                  <a:pt x="1958203" y="4152452"/>
                  <a:pt x="1958203" y="4146505"/>
                </a:cubicBezTo>
                <a:cubicBezTo>
                  <a:pt x="1958203" y="4140559"/>
                  <a:pt x="1962993" y="4135769"/>
                  <a:pt x="1968940" y="4135769"/>
                </a:cubicBezTo>
                <a:close/>
                <a:moveTo>
                  <a:pt x="1522950" y="4131969"/>
                </a:moveTo>
                <a:cubicBezTo>
                  <a:pt x="1528897" y="4131969"/>
                  <a:pt x="1533688" y="4136759"/>
                  <a:pt x="1533688" y="4142706"/>
                </a:cubicBezTo>
                <a:cubicBezTo>
                  <a:pt x="1533688" y="4148652"/>
                  <a:pt x="1528897" y="4153444"/>
                  <a:pt x="1522950" y="4153444"/>
                </a:cubicBezTo>
                <a:cubicBezTo>
                  <a:pt x="1517004" y="4153444"/>
                  <a:pt x="1512214" y="4148652"/>
                  <a:pt x="1512214" y="4142706"/>
                </a:cubicBezTo>
                <a:cubicBezTo>
                  <a:pt x="1512214" y="4136759"/>
                  <a:pt x="1517004" y="4131969"/>
                  <a:pt x="1522950" y="4131969"/>
                </a:cubicBezTo>
                <a:close/>
                <a:moveTo>
                  <a:pt x="500808" y="4131805"/>
                </a:moveTo>
                <a:cubicBezTo>
                  <a:pt x="506755" y="4131805"/>
                  <a:pt x="511546" y="4136595"/>
                  <a:pt x="511546" y="4142541"/>
                </a:cubicBezTo>
                <a:cubicBezTo>
                  <a:pt x="511546" y="4148488"/>
                  <a:pt x="506755" y="4153277"/>
                  <a:pt x="500808" y="4153277"/>
                </a:cubicBezTo>
                <a:cubicBezTo>
                  <a:pt x="494862" y="4153277"/>
                  <a:pt x="490072" y="4148488"/>
                  <a:pt x="490072" y="4142541"/>
                </a:cubicBezTo>
                <a:cubicBezTo>
                  <a:pt x="490072" y="4136595"/>
                  <a:pt x="494862" y="4131805"/>
                  <a:pt x="500808" y="4131805"/>
                </a:cubicBezTo>
                <a:close/>
                <a:moveTo>
                  <a:pt x="3008425" y="4130814"/>
                </a:moveTo>
                <a:cubicBezTo>
                  <a:pt x="3014372" y="4130814"/>
                  <a:pt x="3019163" y="4135604"/>
                  <a:pt x="3019163" y="4141551"/>
                </a:cubicBezTo>
                <a:cubicBezTo>
                  <a:pt x="3019163" y="4147497"/>
                  <a:pt x="3014372" y="4152287"/>
                  <a:pt x="3008425" y="4152287"/>
                </a:cubicBezTo>
                <a:cubicBezTo>
                  <a:pt x="3002479" y="4152287"/>
                  <a:pt x="2997689" y="4147497"/>
                  <a:pt x="2997689" y="4141551"/>
                </a:cubicBezTo>
                <a:cubicBezTo>
                  <a:pt x="2997689" y="4135604"/>
                  <a:pt x="3002479" y="4130814"/>
                  <a:pt x="3008425" y="4130814"/>
                </a:cubicBezTo>
                <a:close/>
                <a:moveTo>
                  <a:pt x="617425" y="4128336"/>
                </a:moveTo>
                <a:cubicBezTo>
                  <a:pt x="623372" y="4128336"/>
                  <a:pt x="628162" y="4133126"/>
                  <a:pt x="628162" y="4139073"/>
                </a:cubicBezTo>
                <a:cubicBezTo>
                  <a:pt x="628162" y="4145019"/>
                  <a:pt x="623372" y="4149809"/>
                  <a:pt x="617425" y="4149809"/>
                </a:cubicBezTo>
                <a:cubicBezTo>
                  <a:pt x="611479" y="4149809"/>
                  <a:pt x="606689" y="4145019"/>
                  <a:pt x="606689" y="4139073"/>
                </a:cubicBezTo>
                <a:cubicBezTo>
                  <a:pt x="606689" y="4133126"/>
                  <a:pt x="611479" y="4128336"/>
                  <a:pt x="617425" y="4128336"/>
                </a:cubicBezTo>
                <a:close/>
                <a:moveTo>
                  <a:pt x="1048879" y="4126519"/>
                </a:moveTo>
                <a:cubicBezTo>
                  <a:pt x="1054825" y="4126519"/>
                  <a:pt x="1059615" y="4131309"/>
                  <a:pt x="1059615" y="4137255"/>
                </a:cubicBezTo>
                <a:cubicBezTo>
                  <a:pt x="1059615" y="4143202"/>
                  <a:pt x="1054825" y="4147992"/>
                  <a:pt x="1048879" y="4147992"/>
                </a:cubicBezTo>
                <a:cubicBezTo>
                  <a:pt x="1042932" y="4147992"/>
                  <a:pt x="1038143" y="4143202"/>
                  <a:pt x="1038143" y="4137255"/>
                </a:cubicBezTo>
                <a:cubicBezTo>
                  <a:pt x="1038143" y="4131309"/>
                  <a:pt x="1042932" y="4126519"/>
                  <a:pt x="1048879" y="4126519"/>
                </a:cubicBezTo>
                <a:close/>
                <a:moveTo>
                  <a:pt x="2116282" y="4126189"/>
                </a:moveTo>
                <a:cubicBezTo>
                  <a:pt x="2122228" y="4126189"/>
                  <a:pt x="2127019" y="4130979"/>
                  <a:pt x="2127019" y="4136926"/>
                </a:cubicBezTo>
                <a:cubicBezTo>
                  <a:pt x="2127019" y="4142872"/>
                  <a:pt x="2122228" y="4147662"/>
                  <a:pt x="2116282" y="4147662"/>
                </a:cubicBezTo>
                <a:cubicBezTo>
                  <a:pt x="2110335" y="4147662"/>
                  <a:pt x="2105545" y="4142872"/>
                  <a:pt x="2105545" y="4136926"/>
                </a:cubicBezTo>
                <a:cubicBezTo>
                  <a:pt x="2105545" y="4130979"/>
                  <a:pt x="2110335" y="4126189"/>
                  <a:pt x="2116282" y="4126189"/>
                </a:cubicBezTo>
                <a:close/>
                <a:moveTo>
                  <a:pt x="2739014" y="4120572"/>
                </a:moveTo>
                <a:cubicBezTo>
                  <a:pt x="2744961" y="4120572"/>
                  <a:pt x="2749752" y="4125362"/>
                  <a:pt x="2749752" y="4131309"/>
                </a:cubicBezTo>
                <a:cubicBezTo>
                  <a:pt x="2749752" y="4137255"/>
                  <a:pt x="2744961" y="4142045"/>
                  <a:pt x="2739014" y="4142045"/>
                </a:cubicBezTo>
                <a:cubicBezTo>
                  <a:pt x="2733068" y="4142045"/>
                  <a:pt x="2728278" y="4137255"/>
                  <a:pt x="2728278" y="4131309"/>
                </a:cubicBezTo>
                <a:cubicBezTo>
                  <a:pt x="2728278" y="4125362"/>
                  <a:pt x="2733068" y="4120572"/>
                  <a:pt x="2739014" y="4120572"/>
                </a:cubicBezTo>
                <a:close/>
                <a:moveTo>
                  <a:pt x="1376269" y="4120076"/>
                </a:moveTo>
                <a:cubicBezTo>
                  <a:pt x="1382216" y="4120076"/>
                  <a:pt x="1387007" y="4124866"/>
                  <a:pt x="1387007" y="4130813"/>
                </a:cubicBezTo>
                <a:cubicBezTo>
                  <a:pt x="1387007" y="4136759"/>
                  <a:pt x="1382216" y="4141549"/>
                  <a:pt x="1376269" y="4141549"/>
                </a:cubicBezTo>
                <a:cubicBezTo>
                  <a:pt x="1370323" y="4141549"/>
                  <a:pt x="1365533" y="4136759"/>
                  <a:pt x="1365533" y="4130813"/>
                </a:cubicBezTo>
                <a:cubicBezTo>
                  <a:pt x="1365533" y="4124866"/>
                  <a:pt x="1370323" y="4120076"/>
                  <a:pt x="1376269" y="4120076"/>
                </a:cubicBezTo>
                <a:close/>
                <a:moveTo>
                  <a:pt x="2876941" y="4118590"/>
                </a:moveTo>
                <a:cubicBezTo>
                  <a:pt x="2882887" y="4118590"/>
                  <a:pt x="2887679" y="4123380"/>
                  <a:pt x="2887679" y="4129327"/>
                </a:cubicBezTo>
                <a:cubicBezTo>
                  <a:pt x="2887679" y="4135273"/>
                  <a:pt x="2882887" y="4140065"/>
                  <a:pt x="2876941" y="4140065"/>
                </a:cubicBezTo>
                <a:cubicBezTo>
                  <a:pt x="2870994" y="4140065"/>
                  <a:pt x="2866205" y="4135273"/>
                  <a:pt x="2866205" y="4129327"/>
                </a:cubicBezTo>
                <a:cubicBezTo>
                  <a:pt x="2866205" y="4123380"/>
                  <a:pt x="2870994" y="4118590"/>
                  <a:pt x="2876941" y="4118590"/>
                </a:cubicBezTo>
                <a:close/>
                <a:moveTo>
                  <a:pt x="508406" y="4113140"/>
                </a:moveTo>
                <a:cubicBezTo>
                  <a:pt x="514337" y="4113140"/>
                  <a:pt x="519142" y="4117947"/>
                  <a:pt x="519142" y="4123876"/>
                </a:cubicBezTo>
                <a:cubicBezTo>
                  <a:pt x="519142" y="4129805"/>
                  <a:pt x="514337" y="4134612"/>
                  <a:pt x="508406" y="4134612"/>
                </a:cubicBezTo>
                <a:cubicBezTo>
                  <a:pt x="502476" y="4134612"/>
                  <a:pt x="497669" y="4129805"/>
                  <a:pt x="497669" y="4123876"/>
                </a:cubicBezTo>
                <a:cubicBezTo>
                  <a:pt x="497669" y="4117947"/>
                  <a:pt x="502476" y="4113140"/>
                  <a:pt x="508406" y="4113140"/>
                </a:cubicBezTo>
                <a:close/>
                <a:moveTo>
                  <a:pt x="2581761" y="4112314"/>
                </a:moveTo>
                <a:cubicBezTo>
                  <a:pt x="2587708" y="4112314"/>
                  <a:pt x="2592500" y="4117104"/>
                  <a:pt x="2592500" y="4123051"/>
                </a:cubicBezTo>
                <a:cubicBezTo>
                  <a:pt x="2592500" y="4128997"/>
                  <a:pt x="2587708" y="4133787"/>
                  <a:pt x="2581761" y="4133787"/>
                </a:cubicBezTo>
                <a:cubicBezTo>
                  <a:pt x="2575815" y="4133787"/>
                  <a:pt x="2571025" y="4128997"/>
                  <a:pt x="2571025" y="4123051"/>
                </a:cubicBezTo>
                <a:cubicBezTo>
                  <a:pt x="2571025" y="4117104"/>
                  <a:pt x="2575815" y="4112314"/>
                  <a:pt x="2581761" y="4112314"/>
                </a:cubicBezTo>
                <a:close/>
                <a:moveTo>
                  <a:pt x="2261641" y="4111487"/>
                </a:moveTo>
                <a:cubicBezTo>
                  <a:pt x="2267587" y="4111487"/>
                  <a:pt x="2272379" y="4116277"/>
                  <a:pt x="2272379" y="4122223"/>
                </a:cubicBezTo>
                <a:cubicBezTo>
                  <a:pt x="2272379" y="4128170"/>
                  <a:pt x="2267587" y="4132961"/>
                  <a:pt x="2261641" y="4132961"/>
                </a:cubicBezTo>
                <a:cubicBezTo>
                  <a:pt x="2255695" y="4132961"/>
                  <a:pt x="2250905" y="4128170"/>
                  <a:pt x="2250905" y="4122223"/>
                </a:cubicBezTo>
                <a:cubicBezTo>
                  <a:pt x="2250905" y="4116277"/>
                  <a:pt x="2255695" y="4111487"/>
                  <a:pt x="2261641" y="4111487"/>
                </a:cubicBezTo>
                <a:close/>
                <a:moveTo>
                  <a:pt x="3106873" y="4111322"/>
                </a:moveTo>
                <a:cubicBezTo>
                  <a:pt x="3112820" y="4111322"/>
                  <a:pt x="3117611" y="4116112"/>
                  <a:pt x="3117611" y="4122059"/>
                </a:cubicBezTo>
                <a:lnTo>
                  <a:pt x="3111746" y="4127924"/>
                </a:lnTo>
                <a:lnTo>
                  <a:pt x="3121574" y="4137751"/>
                </a:lnTo>
                <a:lnTo>
                  <a:pt x="3116455" y="4142872"/>
                </a:lnTo>
                <a:lnTo>
                  <a:pt x="3124548" y="4150966"/>
                </a:lnTo>
                <a:lnTo>
                  <a:pt x="3120088" y="4155426"/>
                </a:lnTo>
                <a:lnTo>
                  <a:pt x="3126530" y="4161867"/>
                </a:lnTo>
                <a:lnTo>
                  <a:pt x="3122648" y="4165750"/>
                </a:lnTo>
                <a:lnTo>
                  <a:pt x="3127852" y="4170952"/>
                </a:lnTo>
                <a:lnTo>
                  <a:pt x="3124383" y="4174421"/>
                </a:lnTo>
                <a:lnTo>
                  <a:pt x="3128514" y="4178551"/>
                </a:lnTo>
                <a:lnTo>
                  <a:pt x="3125459" y="4181607"/>
                </a:lnTo>
                <a:lnTo>
                  <a:pt x="3129009" y="4185157"/>
                </a:lnTo>
                <a:lnTo>
                  <a:pt x="3126116" y="4188050"/>
                </a:lnTo>
                <a:lnTo>
                  <a:pt x="3129172" y="4191105"/>
                </a:lnTo>
                <a:lnTo>
                  <a:pt x="3126530" y="4193746"/>
                </a:lnTo>
                <a:lnTo>
                  <a:pt x="3129340" y="4196556"/>
                </a:lnTo>
                <a:lnTo>
                  <a:pt x="3126862" y="4199036"/>
                </a:lnTo>
                <a:lnTo>
                  <a:pt x="3129668" y="4201842"/>
                </a:lnTo>
                <a:lnTo>
                  <a:pt x="3127191" y="4204318"/>
                </a:lnTo>
                <a:lnTo>
                  <a:pt x="3130165" y="4207292"/>
                </a:lnTo>
                <a:lnTo>
                  <a:pt x="3127687" y="4209770"/>
                </a:lnTo>
                <a:lnTo>
                  <a:pt x="3130991" y="4213074"/>
                </a:lnTo>
                <a:lnTo>
                  <a:pt x="3128348" y="4215717"/>
                </a:lnTo>
                <a:lnTo>
                  <a:pt x="3132147" y="4219516"/>
                </a:lnTo>
                <a:lnTo>
                  <a:pt x="3129505" y="4222159"/>
                </a:lnTo>
                <a:lnTo>
                  <a:pt x="3133963" y="4226618"/>
                </a:lnTo>
                <a:lnTo>
                  <a:pt x="3131072" y="4229509"/>
                </a:lnTo>
                <a:lnTo>
                  <a:pt x="3136277" y="4234711"/>
                </a:lnTo>
                <a:lnTo>
                  <a:pt x="3133138" y="4237850"/>
                </a:lnTo>
                <a:lnTo>
                  <a:pt x="3139251" y="4243961"/>
                </a:lnTo>
                <a:lnTo>
                  <a:pt x="3135862" y="4247350"/>
                </a:lnTo>
                <a:lnTo>
                  <a:pt x="3143049" y="4254535"/>
                </a:lnTo>
                <a:lnTo>
                  <a:pt x="3137846" y="4259737"/>
                </a:lnTo>
                <a:lnTo>
                  <a:pt x="3144370" y="4266261"/>
                </a:lnTo>
                <a:cubicBezTo>
                  <a:pt x="3144370" y="4270391"/>
                  <a:pt x="3141066" y="4273694"/>
                  <a:pt x="3136937" y="4273694"/>
                </a:cubicBezTo>
                <a:cubicBezTo>
                  <a:pt x="3132808" y="4273694"/>
                  <a:pt x="3129505" y="4270391"/>
                  <a:pt x="3129505" y="4266261"/>
                </a:cubicBezTo>
                <a:lnTo>
                  <a:pt x="3131402" y="4264364"/>
                </a:lnTo>
                <a:lnTo>
                  <a:pt x="3121574" y="4254535"/>
                </a:lnTo>
                <a:lnTo>
                  <a:pt x="3124961" y="4251148"/>
                </a:lnTo>
                <a:lnTo>
                  <a:pt x="3117776" y="4243961"/>
                </a:lnTo>
                <a:lnTo>
                  <a:pt x="3120913" y="4240824"/>
                </a:lnTo>
                <a:lnTo>
                  <a:pt x="3114802" y="4234711"/>
                </a:lnTo>
                <a:lnTo>
                  <a:pt x="3117693" y="4231820"/>
                </a:lnTo>
                <a:lnTo>
                  <a:pt x="3112490" y="4226618"/>
                </a:lnTo>
                <a:lnTo>
                  <a:pt x="3115132" y="4223977"/>
                </a:lnTo>
                <a:lnTo>
                  <a:pt x="3110673" y="4219516"/>
                </a:lnTo>
                <a:lnTo>
                  <a:pt x="3113316" y="4216873"/>
                </a:lnTo>
                <a:lnTo>
                  <a:pt x="3109516" y="4213074"/>
                </a:lnTo>
                <a:lnTo>
                  <a:pt x="3111994" y="4210596"/>
                </a:lnTo>
                <a:lnTo>
                  <a:pt x="3108691" y="4207292"/>
                </a:lnTo>
                <a:lnTo>
                  <a:pt x="3111169" y="4204816"/>
                </a:lnTo>
                <a:lnTo>
                  <a:pt x="3108195" y="4201842"/>
                </a:lnTo>
                <a:lnTo>
                  <a:pt x="3110673" y="4199363"/>
                </a:lnTo>
                <a:lnTo>
                  <a:pt x="3107865" y="4196556"/>
                </a:lnTo>
                <a:lnTo>
                  <a:pt x="3110508" y="4193915"/>
                </a:lnTo>
                <a:lnTo>
                  <a:pt x="3107699" y="4191105"/>
                </a:lnTo>
                <a:lnTo>
                  <a:pt x="3110590" y="4188214"/>
                </a:lnTo>
                <a:lnTo>
                  <a:pt x="3107534" y="4185157"/>
                </a:lnTo>
                <a:lnTo>
                  <a:pt x="3110590" y="4182101"/>
                </a:lnTo>
                <a:lnTo>
                  <a:pt x="3107040" y="4178551"/>
                </a:lnTo>
                <a:lnTo>
                  <a:pt x="3110508" y="4175083"/>
                </a:lnTo>
                <a:lnTo>
                  <a:pt x="3106377" y="4170952"/>
                </a:lnTo>
                <a:lnTo>
                  <a:pt x="3110259" y="4167071"/>
                </a:lnTo>
                <a:lnTo>
                  <a:pt x="3105056" y="4161867"/>
                </a:lnTo>
                <a:lnTo>
                  <a:pt x="3109516" y="4157408"/>
                </a:lnTo>
                <a:lnTo>
                  <a:pt x="3103076" y="4150966"/>
                </a:lnTo>
                <a:lnTo>
                  <a:pt x="3108197" y="4145846"/>
                </a:lnTo>
                <a:lnTo>
                  <a:pt x="3100101" y="4137751"/>
                </a:lnTo>
                <a:lnTo>
                  <a:pt x="3105965" y="4131888"/>
                </a:lnTo>
                <a:lnTo>
                  <a:pt x="3096137" y="4122059"/>
                </a:lnTo>
                <a:cubicBezTo>
                  <a:pt x="3096137" y="4116112"/>
                  <a:pt x="3100927" y="4111322"/>
                  <a:pt x="3106873" y="4111322"/>
                </a:cubicBezTo>
                <a:close/>
                <a:moveTo>
                  <a:pt x="2997193" y="4108515"/>
                </a:moveTo>
                <a:cubicBezTo>
                  <a:pt x="3003139" y="4108515"/>
                  <a:pt x="3007931" y="4113304"/>
                  <a:pt x="3007931" y="4119251"/>
                </a:cubicBezTo>
                <a:cubicBezTo>
                  <a:pt x="3007931" y="4125197"/>
                  <a:pt x="3003139" y="4129987"/>
                  <a:pt x="2997193" y="4129987"/>
                </a:cubicBezTo>
                <a:cubicBezTo>
                  <a:pt x="2991246" y="4129987"/>
                  <a:pt x="2986457" y="4125197"/>
                  <a:pt x="2986457" y="4119251"/>
                </a:cubicBezTo>
                <a:cubicBezTo>
                  <a:pt x="2986457" y="4113304"/>
                  <a:pt x="2991246" y="4108515"/>
                  <a:pt x="2997193" y="4108515"/>
                </a:cubicBezTo>
                <a:close/>
                <a:moveTo>
                  <a:pt x="766420" y="4105376"/>
                </a:moveTo>
                <a:cubicBezTo>
                  <a:pt x="772366" y="4105376"/>
                  <a:pt x="777158" y="4110166"/>
                  <a:pt x="777158" y="4116112"/>
                </a:cubicBezTo>
                <a:cubicBezTo>
                  <a:pt x="777158" y="4122059"/>
                  <a:pt x="772366" y="4126848"/>
                  <a:pt x="766420" y="4126848"/>
                </a:cubicBezTo>
                <a:cubicBezTo>
                  <a:pt x="760473" y="4126848"/>
                  <a:pt x="755683" y="4122059"/>
                  <a:pt x="755683" y="4116112"/>
                </a:cubicBezTo>
                <a:cubicBezTo>
                  <a:pt x="755683" y="4110166"/>
                  <a:pt x="760473" y="4105376"/>
                  <a:pt x="766420" y="4105376"/>
                </a:cubicBezTo>
                <a:close/>
                <a:moveTo>
                  <a:pt x="1232396" y="4102898"/>
                </a:moveTo>
                <a:cubicBezTo>
                  <a:pt x="1238343" y="4102898"/>
                  <a:pt x="1243132" y="4107687"/>
                  <a:pt x="1243132" y="4113634"/>
                </a:cubicBezTo>
                <a:cubicBezTo>
                  <a:pt x="1243132" y="4119580"/>
                  <a:pt x="1238343" y="4124370"/>
                  <a:pt x="1232396" y="4124370"/>
                </a:cubicBezTo>
                <a:cubicBezTo>
                  <a:pt x="1226449" y="4124370"/>
                  <a:pt x="1221659" y="4119580"/>
                  <a:pt x="1221659" y="4113634"/>
                </a:cubicBezTo>
                <a:cubicBezTo>
                  <a:pt x="1221659" y="4107687"/>
                  <a:pt x="1226449" y="4102898"/>
                  <a:pt x="1232396" y="4102898"/>
                </a:cubicBezTo>
                <a:close/>
                <a:moveTo>
                  <a:pt x="633283" y="4101907"/>
                </a:moveTo>
                <a:cubicBezTo>
                  <a:pt x="639229" y="4101907"/>
                  <a:pt x="644019" y="4106697"/>
                  <a:pt x="644019" y="4112644"/>
                </a:cubicBezTo>
                <a:cubicBezTo>
                  <a:pt x="644019" y="4118590"/>
                  <a:pt x="639229" y="4123380"/>
                  <a:pt x="633283" y="4123380"/>
                </a:cubicBezTo>
                <a:cubicBezTo>
                  <a:pt x="627336" y="4123380"/>
                  <a:pt x="622546" y="4118590"/>
                  <a:pt x="622546" y="4112644"/>
                </a:cubicBezTo>
                <a:cubicBezTo>
                  <a:pt x="622546" y="4106697"/>
                  <a:pt x="627336" y="4101907"/>
                  <a:pt x="633283" y="4101907"/>
                </a:cubicBezTo>
                <a:close/>
                <a:moveTo>
                  <a:pt x="918716" y="4099264"/>
                </a:moveTo>
                <a:cubicBezTo>
                  <a:pt x="924663" y="4099264"/>
                  <a:pt x="929454" y="4104054"/>
                  <a:pt x="929454" y="4110001"/>
                </a:cubicBezTo>
                <a:cubicBezTo>
                  <a:pt x="929454" y="4115947"/>
                  <a:pt x="924663" y="4120737"/>
                  <a:pt x="918716" y="4120737"/>
                </a:cubicBezTo>
                <a:cubicBezTo>
                  <a:pt x="912770" y="4120737"/>
                  <a:pt x="907980" y="4115947"/>
                  <a:pt x="907980" y="4110001"/>
                </a:cubicBezTo>
                <a:cubicBezTo>
                  <a:pt x="907980" y="4104054"/>
                  <a:pt x="912770" y="4099264"/>
                  <a:pt x="918716" y="4099264"/>
                </a:cubicBezTo>
                <a:close/>
                <a:moveTo>
                  <a:pt x="3437567" y="4097282"/>
                </a:moveTo>
                <a:cubicBezTo>
                  <a:pt x="3437897" y="4097282"/>
                  <a:pt x="3438061" y="4097447"/>
                  <a:pt x="3438061" y="4097778"/>
                </a:cubicBezTo>
                <a:cubicBezTo>
                  <a:pt x="3438061" y="4098108"/>
                  <a:pt x="3437567" y="4098272"/>
                  <a:pt x="3437567" y="4098272"/>
                </a:cubicBezTo>
                <a:cubicBezTo>
                  <a:pt x="3437236" y="4098272"/>
                  <a:pt x="3437071" y="4098108"/>
                  <a:pt x="3437071" y="4097778"/>
                </a:cubicBezTo>
                <a:cubicBezTo>
                  <a:pt x="3437071" y="4097447"/>
                  <a:pt x="3437236" y="4097282"/>
                  <a:pt x="3437567" y="4097282"/>
                </a:cubicBezTo>
                <a:close/>
                <a:moveTo>
                  <a:pt x="413757" y="4092987"/>
                </a:moveTo>
                <a:cubicBezTo>
                  <a:pt x="419704" y="4092987"/>
                  <a:pt x="424494" y="4097776"/>
                  <a:pt x="424494" y="4103723"/>
                </a:cubicBezTo>
                <a:lnTo>
                  <a:pt x="415243" y="4112975"/>
                </a:lnTo>
                <a:lnTo>
                  <a:pt x="422017" y="4119747"/>
                </a:lnTo>
                <a:lnTo>
                  <a:pt x="414583" y="4127180"/>
                </a:lnTo>
                <a:lnTo>
                  <a:pt x="420696" y="4133291"/>
                </a:lnTo>
                <a:lnTo>
                  <a:pt x="414749" y="4139237"/>
                </a:lnTo>
                <a:lnTo>
                  <a:pt x="420035" y="4144523"/>
                </a:lnTo>
                <a:lnTo>
                  <a:pt x="415327" y="4149232"/>
                </a:lnTo>
                <a:lnTo>
                  <a:pt x="420035" y="4153938"/>
                </a:lnTo>
                <a:lnTo>
                  <a:pt x="416152" y="4157821"/>
                </a:lnTo>
                <a:lnTo>
                  <a:pt x="420365" y="4162032"/>
                </a:lnTo>
                <a:lnTo>
                  <a:pt x="417226" y="4165170"/>
                </a:lnTo>
                <a:lnTo>
                  <a:pt x="421192" y="4169135"/>
                </a:lnTo>
                <a:lnTo>
                  <a:pt x="418301" y="4172026"/>
                </a:lnTo>
                <a:lnTo>
                  <a:pt x="421852" y="4175577"/>
                </a:lnTo>
                <a:lnTo>
                  <a:pt x="419291" y="4178139"/>
                </a:lnTo>
                <a:lnTo>
                  <a:pt x="422678" y="4181524"/>
                </a:lnTo>
                <a:lnTo>
                  <a:pt x="420035" y="4184167"/>
                </a:lnTo>
                <a:lnTo>
                  <a:pt x="423174" y="4187306"/>
                </a:lnTo>
                <a:lnTo>
                  <a:pt x="420365" y="4190115"/>
                </a:lnTo>
                <a:lnTo>
                  <a:pt x="423503" y="4193252"/>
                </a:lnTo>
                <a:lnTo>
                  <a:pt x="420283" y="4196474"/>
                </a:lnTo>
                <a:lnTo>
                  <a:pt x="423337" y="4199528"/>
                </a:lnTo>
                <a:lnTo>
                  <a:pt x="419621" y="4203245"/>
                </a:lnTo>
                <a:lnTo>
                  <a:pt x="422843" y="4206467"/>
                </a:lnTo>
                <a:lnTo>
                  <a:pt x="418301" y="4211008"/>
                </a:lnTo>
                <a:lnTo>
                  <a:pt x="421523" y="4214231"/>
                </a:lnTo>
                <a:lnTo>
                  <a:pt x="416320" y="4219433"/>
                </a:lnTo>
                <a:lnTo>
                  <a:pt x="419705" y="4222818"/>
                </a:lnTo>
                <a:lnTo>
                  <a:pt x="411031" y="4231493"/>
                </a:lnTo>
                <a:lnTo>
                  <a:pt x="412105" y="4232566"/>
                </a:lnTo>
                <a:cubicBezTo>
                  <a:pt x="412105" y="4235705"/>
                  <a:pt x="409463" y="4238346"/>
                  <a:pt x="406324" y="4238346"/>
                </a:cubicBezTo>
                <a:cubicBezTo>
                  <a:pt x="403186" y="4238346"/>
                  <a:pt x="400543" y="4235705"/>
                  <a:pt x="400543" y="4232566"/>
                </a:cubicBezTo>
                <a:lnTo>
                  <a:pt x="404261" y="4228850"/>
                </a:lnTo>
                <a:lnTo>
                  <a:pt x="398231" y="4222818"/>
                </a:lnTo>
                <a:lnTo>
                  <a:pt x="403434" y="4217616"/>
                </a:lnTo>
                <a:lnTo>
                  <a:pt x="400049" y="4214231"/>
                </a:lnTo>
                <a:lnTo>
                  <a:pt x="404592" y="4209689"/>
                </a:lnTo>
                <a:lnTo>
                  <a:pt x="401370" y="4206467"/>
                </a:lnTo>
                <a:lnTo>
                  <a:pt x="405086" y="4202750"/>
                </a:lnTo>
                <a:lnTo>
                  <a:pt x="401864" y="4199528"/>
                </a:lnTo>
                <a:lnTo>
                  <a:pt x="405086" y="4196308"/>
                </a:lnTo>
                <a:lnTo>
                  <a:pt x="402031" y="4193252"/>
                </a:lnTo>
                <a:lnTo>
                  <a:pt x="404838" y="4190444"/>
                </a:lnTo>
                <a:lnTo>
                  <a:pt x="401700" y="4187306"/>
                </a:lnTo>
                <a:lnTo>
                  <a:pt x="404342" y="4184663"/>
                </a:lnTo>
                <a:lnTo>
                  <a:pt x="401204" y="4181524"/>
                </a:lnTo>
                <a:lnTo>
                  <a:pt x="403765" y="4178964"/>
                </a:lnTo>
                <a:lnTo>
                  <a:pt x="400378" y="4175577"/>
                </a:lnTo>
                <a:lnTo>
                  <a:pt x="403269" y="4172686"/>
                </a:lnTo>
                <a:lnTo>
                  <a:pt x="399717" y="4169135"/>
                </a:lnTo>
                <a:lnTo>
                  <a:pt x="402856" y="4165996"/>
                </a:lnTo>
                <a:lnTo>
                  <a:pt x="398892" y="4162032"/>
                </a:lnTo>
                <a:lnTo>
                  <a:pt x="402773" y="4158150"/>
                </a:lnTo>
                <a:lnTo>
                  <a:pt x="398561" y="4153938"/>
                </a:lnTo>
                <a:lnTo>
                  <a:pt x="403269" y="4149232"/>
                </a:lnTo>
                <a:lnTo>
                  <a:pt x="398561" y="4144523"/>
                </a:lnTo>
                <a:lnTo>
                  <a:pt x="404507" y="4138577"/>
                </a:lnTo>
                <a:lnTo>
                  <a:pt x="399221" y="4133291"/>
                </a:lnTo>
                <a:lnTo>
                  <a:pt x="406654" y="4125858"/>
                </a:lnTo>
                <a:lnTo>
                  <a:pt x="400543" y="4119747"/>
                </a:lnTo>
                <a:lnTo>
                  <a:pt x="409795" y="4110497"/>
                </a:lnTo>
                <a:lnTo>
                  <a:pt x="403021" y="4103723"/>
                </a:lnTo>
                <a:cubicBezTo>
                  <a:pt x="403021" y="4097776"/>
                  <a:pt x="407811" y="4092987"/>
                  <a:pt x="413757" y="4092987"/>
                </a:cubicBezTo>
                <a:close/>
                <a:moveTo>
                  <a:pt x="3101423" y="4092326"/>
                </a:moveTo>
                <a:cubicBezTo>
                  <a:pt x="3107369" y="4092326"/>
                  <a:pt x="3112161" y="4097116"/>
                  <a:pt x="3112161" y="4103062"/>
                </a:cubicBezTo>
                <a:cubicBezTo>
                  <a:pt x="3112161" y="4109009"/>
                  <a:pt x="3107369" y="4113800"/>
                  <a:pt x="3101423" y="4113800"/>
                </a:cubicBezTo>
                <a:cubicBezTo>
                  <a:pt x="3095476" y="4113800"/>
                  <a:pt x="3090686" y="4109009"/>
                  <a:pt x="3090686" y="4103062"/>
                </a:cubicBezTo>
                <a:cubicBezTo>
                  <a:pt x="3090686" y="4097116"/>
                  <a:pt x="3095476" y="4092326"/>
                  <a:pt x="3101423" y="4092326"/>
                </a:cubicBezTo>
                <a:close/>
                <a:moveTo>
                  <a:pt x="2403862" y="4091830"/>
                </a:moveTo>
                <a:cubicBezTo>
                  <a:pt x="2409808" y="4091830"/>
                  <a:pt x="2414600" y="4096620"/>
                  <a:pt x="2414600" y="4102566"/>
                </a:cubicBezTo>
                <a:cubicBezTo>
                  <a:pt x="2414600" y="4108513"/>
                  <a:pt x="2409808" y="4113304"/>
                  <a:pt x="2403862" y="4113304"/>
                </a:cubicBezTo>
                <a:cubicBezTo>
                  <a:pt x="2397915" y="4113304"/>
                  <a:pt x="2393125" y="4108513"/>
                  <a:pt x="2393125" y="4102566"/>
                </a:cubicBezTo>
                <a:cubicBezTo>
                  <a:pt x="2393125" y="4096620"/>
                  <a:pt x="2397915" y="4091830"/>
                  <a:pt x="2403862" y="4091830"/>
                </a:cubicBezTo>
                <a:close/>
                <a:moveTo>
                  <a:pt x="517491" y="4090840"/>
                </a:moveTo>
                <a:cubicBezTo>
                  <a:pt x="523438" y="4090840"/>
                  <a:pt x="528229" y="4095630"/>
                  <a:pt x="528229" y="4101576"/>
                </a:cubicBezTo>
                <a:cubicBezTo>
                  <a:pt x="528229" y="4107523"/>
                  <a:pt x="523438" y="4112314"/>
                  <a:pt x="517491" y="4112314"/>
                </a:cubicBezTo>
                <a:cubicBezTo>
                  <a:pt x="511545" y="4112314"/>
                  <a:pt x="506755" y="4107523"/>
                  <a:pt x="506755" y="4101576"/>
                </a:cubicBezTo>
                <a:cubicBezTo>
                  <a:pt x="506755" y="4095630"/>
                  <a:pt x="511545" y="4090840"/>
                  <a:pt x="517491" y="4090840"/>
                </a:cubicBezTo>
                <a:close/>
                <a:moveTo>
                  <a:pt x="2856127" y="4087040"/>
                </a:moveTo>
                <a:cubicBezTo>
                  <a:pt x="2862074" y="4087040"/>
                  <a:pt x="2866865" y="4091830"/>
                  <a:pt x="2866865" y="4097776"/>
                </a:cubicBezTo>
                <a:cubicBezTo>
                  <a:pt x="2866865" y="4103723"/>
                  <a:pt x="2862074" y="4108513"/>
                  <a:pt x="2856127" y="4108513"/>
                </a:cubicBezTo>
                <a:cubicBezTo>
                  <a:pt x="2850181" y="4108513"/>
                  <a:pt x="2845391" y="4103723"/>
                  <a:pt x="2845391" y="4097776"/>
                </a:cubicBezTo>
                <a:cubicBezTo>
                  <a:pt x="2845391" y="4091830"/>
                  <a:pt x="2850181" y="4087040"/>
                  <a:pt x="2856127" y="4087040"/>
                </a:cubicBezTo>
                <a:close/>
                <a:moveTo>
                  <a:pt x="2709448" y="4082911"/>
                </a:moveTo>
                <a:cubicBezTo>
                  <a:pt x="2715394" y="4082911"/>
                  <a:pt x="2720186" y="4087701"/>
                  <a:pt x="2720186" y="4093647"/>
                </a:cubicBezTo>
                <a:cubicBezTo>
                  <a:pt x="2720186" y="4099594"/>
                  <a:pt x="2715394" y="4104384"/>
                  <a:pt x="2709448" y="4104384"/>
                </a:cubicBezTo>
                <a:cubicBezTo>
                  <a:pt x="2703501" y="4104384"/>
                  <a:pt x="2698712" y="4099594"/>
                  <a:pt x="2698712" y="4093647"/>
                </a:cubicBezTo>
                <a:cubicBezTo>
                  <a:pt x="2698712" y="4087701"/>
                  <a:pt x="2703501" y="4082911"/>
                  <a:pt x="2709448" y="4082911"/>
                </a:cubicBezTo>
                <a:close/>
                <a:moveTo>
                  <a:pt x="2983814" y="4082086"/>
                </a:moveTo>
                <a:cubicBezTo>
                  <a:pt x="2989760" y="4082086"/>
                  <a:pt x="2994550" y="4086875"/>
                  <a:pt x="2994550" y="4092822"/>
                </a:cubicBezTo>
                <a:cubicBezTo>
                  <a:pt x="2994550" y="4098768"/>
                  <a:pt x="2989760" y="4103560"/>
                  <a:pt x="2983814" y="4103560"/>
                </a:cubicBezTo>
                <a:cubicBezTo>
                  <a:pt x="2977867" y="4103560"/>
                  <a:pt x="2973077" y="4098768"/>
                  <a:pt x="2973077" y="4092822"/>
                </a:cubicBezTo>
                <a:cubicBezTo>
                  <a:pt x="2973077" y="4086875"/>
                  <a:pt x="2977867" y="4082086"/>
                  <a:pt x="2983814" y="4082086"/>
                </a:cubicBezTo>
                <a:close/>
                <a:moveTo>
                  <a:pt x="1091826" y="4081094"/>
                </a:moveTo>
                <a:cubicBezTo>
                  <a:pt x="1097773" y="4081094"/>
                  <a:pt x="1102564" y="4085883"/>
                  <a:pt x="1102564" y="4091830"/>
                </a:cubicBezTo>
                <a:cubicBezTo>
                  <a:pt x="1102564" y="4097776"/>
                  <a:pt x="1097773" y="4102566"/>
                  <a:pt x="1091826" y="4102566"/>
                </a:cubicBezTo>
                <a:cubicBezTo>
                  <a:pt x="1085880" y="4102566"/>
                  <a:pt x="1081090" y="4097776"/>
                  <a:pt x="1081090" y="4091830"/>
                </a:cubicBezTo>
                <a:cubicBezTo>
                  <a:pt x="1081090" y="4085883"/>
                  <a:pt x="1085880" y="4081094"/>
                  <a:pt x="1091826" y="4081094"/>
                </a:cubicBezTo>
                <a:close/>
                <a:moveTo>
                  <a:pt x="146826" y="4078782"/>
                </a:moveTo>
                <a:cubicBezTo>
                  <a:pt x="147008" y="4078782"/>
                  <a:pt x="147155" y="4078929"/>
                  <a:pt x="147155" y="4079113"/>
                </a:cubicBezTo>
                <a:cubicBezTo>
                  <a:pt x="147155" y="4079295"/>
                  <a:pt x="147008" y="4079443"/>
                  <a:pt x="146826" y="4079443"/>
                </a:cubicBezTo>
                <a:cubicBezTo>
                  <a:pt x="146642" y="4079443"/>
                  <a:pt x="146495" y="4079295"/>
                  <a:pt x="146495" y="4079113"/>
                </a:cubicBezTo>
                <a:cubicBezTo>
                  <a:pt x="146495" y="4078929"/>
                  <a:pt x="146642" y="4078782"/>
                  <a:pt x="146826" y="4078782"/>
                </a:cubicBezTo>
                <a:close/>
                <a:moveTo>
                  <a:pt x="1744293" y="4077625"/>
                </a:moveTo>
                <a:cubicBezTo>
                  <a:pt x="1750240" y="4077625"/>
                  <a:pt x="1755031" y="4082415"/>
                  <a:pt x="1755031" y="4088362"/>
                </a:cubicBezTo>
                <a:cubicBezTo>
                  <a:pt x="1755031" y="4094308"/>
                  <a:pt x="1750240" y="4099098"/>
                  <a:pt x="1744293" y="4099098"/>
                </a:cubicBezTo>
                <a:cubicBezTo>
                  <a:pt x="1738347" y="4099098"/>
                  <a:pt x="1733557" y="4094308"/>
                  <a:pt x="1733557" y="4088362"/>
                </a:cubicBezTo>
                <a:cubicBezTo>
                  <a:pt x="1733557" y="4082415"/>
                  <a:pt x="1738347" y="4077625"/>
                  <a:pt x="1744293" y="4077625"/>
                </a:cubicBezTo>
                <a:close/>
                <a:moveTo>
                  <a:pt x="1898903" y="4076139"/>
                </a:moveTo>
                <a:cubicBezTo>
                  <a:pt x="1904849" y="4076139"/>
                  <a:pt x="1909641" y="4080929"/>
                  <a:pt x="1909641" y="4086875"/>
                </a:cubicBezTo>
                <a:cubicBezTo>
                  <a:pt x="1909641" y="4092822"/>
                  <a:pt x="1904849" y="4097612"/>
                  <a:pt x="1898903" y="4097612"/>
                </a:cubicBezTo>
                <a:cubicBezTo>
                  <a:pt x="1892956" y="4097612"/>
                  <a:pt x="1888166" y="4092822"/>
                  <a:pt x="1888166" y="4086875"/>
                </a:cubicBezTo>
                <a:cubicBezTo>
                  <a:pt x="1888166" y="4080929"/>
                  <a:pt x="1892956" y="4076139"/>
                  <a:pt x="1898903" y="4076139"/>
                </a:cubicBezTo>
                <a:close/>
                <a:moveTo>
                  <a:pt x="417392" y="4073992"/>
                </a:moveTo>
                <a:cubicBezTo>
                  <a:pt x="423339" y="4073992"/>
                  <a:pt x="428129" y="4078782"/>
                  <a:pt x="428129" y="4084728"/>
                </a:cubicBezTo>
                <a:cubicBezTo>
                  <a:pt x="428129" y="4090675"/>
                  <a:pt x="423339" y="4095465"/>
                  <a:pt x="417392" y="4095465"/>
                </a:cubicBezTo>
                <a:cubicBezTo>
                  <a:pt x="411446" y="4095465"/>
                  <a:pt x="406656" y="4090675"/>
                  <a:pt x="406656" y="4084728"/>
                </a:cubicBezTo>
                <a:cubicBezTo>
                  <a:pt x="406656" y="4078782"/>
                  <a:pt x="411446" y="4073992"/>
                  <a:pt x="417392" y="4073992"/>
                </a:cubicBezTo>
                <a:close/>
                <a:moveTo>
                  <a:pt x="1590013" y="4073496"/>
                </a:moveTo>
                <a:cubicBezTo>
                  <a:pt x="1595959" y="4073496"/>
                  <a:pt x="1600751" y="4078286"/>
                  <a:pt x="1600751" y="4084232"/>
                </a:cubicBezTo>
                <a:cubicBezTo>
                  <a:pt x="1600751" y="4090179"/>
                  <a:pt x="1595959" y="4094969"/>
                  <a:pt x="1590013" y="4094969"/>
                </a:cubicBezTo>
                <a:cubicBezTo>
                  <a:pt x="1584066" y="4094969"/>
                  <a:pt x="1579277" y="4090179"/>
                  <a:pt x="1579277" y="4084232"/>
                </a:cubicBezTo>
                <a:cubicBezTo>
                  <a:pt x="1579277" y="4078286"/>
                  <a:pt x="1584066" y="4073496"/>
                  <a:pt x="1590013" y="4073496"/>
                </a:cubicBezTo>
                <a:close/>
                <a:moveTo>
                  <a:pt x="651783" y="4070522"/>
                </a:moveTo>
                <a:cubicBezTo>
                  <a:pt x="657730" y="4070522"/>
                  <a:pt x="662521" y="4075312"/>
                  <a:pt x="662521" y="4081258"/>
                </a:cubicBezTo>
                <a:cubicBezTo>
                  <a:pt x="662521" y="4087205"/>
                  <a:pt x="657730" y="4091995"/>
                  <a:pt x="651783" y="4091995"/>
                </a:cubicBezTo>
                <a:cubicBezTo>
                  <a:pt x="645837" y="4091995"/>
                  <a:pt x="641047" y="4087205"/>
                  <a:pt x="641047" y="4081258"/>
                </a:cubicBezTo>
                <a:cubicBezTo>
                  <a:pt x="641047" y="4075312"/>
                  <a:pt x="645837" y="4070522"/>
                  <a:pt x="651783" y="4070522"/>
                </a:cubicBezTo>
                <a:close/>
                <a:moveTo>
                  <a:pt x="3094484" y="4069861"/>
                </a:moveTo>
                <a:cubicBezTo>
                  <a:pt x="3100431" y="4069861"/>
                  <a:pt x="3105222" y="4074651"/>
                  <a:pt x="3105222" y="4080598"/>
                </a:cubicBezTo>
                <a:cubicBezTo>
                  <a:pt x="3105222" y="4086544"/>
                  <a:pt x="3100431" y="4091334"/>
                  <a:pt x="3094484" y="4091334"/>
                </a:cubicBezTo>
                <a:cubicBezTo>
                  <a:pt x="3088538" y="4091334"/>
                  <a:pt x="3083748" y="4086544"/>
                  <a:pt x="3083748" y="4080598"/>
                </a:cubicBezTo>
                <a:cubicBezTo>
                  <a:pt x="3083748" y="4074651"/>
                  <a:pt x="3088538" y="4069861"/>
                  <a:pt x="3094484" y="4069861"/>
                </a:cubicBezTo>
                <a:close/>
                <a:moveTo>
                  <a:pt x="2052521" y="4068871"/>
                </a:moveTo>
                <a:cubicBezTo>
                  <a:pt x="2058467" y="4068871"/>
                  <a:pt x="2063259" y="4073661"/>
                  <a:pt x="2063259" y="4079607"/>
                </a:cubicBezTo>
                <a:cubicBezTo>
                  <a:pt x="2063259" y="4085554"/>
                  <a:pt x="2058467" y="4090344"/>
                  <a:pt x="2052521" y="4090344"/>
                </a:cubicBezTo>
                <a:cubicBezTo>
                  <a:pt x="2046574" y="4090344"/>
                  <a:pt x="2041784" y="4085554"/>
                  <a:pt x="2041784" y="4079607"/>
                </a:cubicBezTo>
                <a:cubicBezTo>
                  <a:pt x="2041784" y="4073661"/>
                  <a:pt x="2046574" y="4068871"/>
                  <a:pt x="2052521" y="4068871"/>
                </a:cubicBezTo>
                <a:close/>
                <a:moveTo>
                  <a:pt x="793343" y="4068044"/>
                </a:moveTo>
                <a:cubicBezTo>
                  <a:pt x="799290" y="4068044"/>
                  <a:pt x="804081" y="4072834"/>
                  <a:pt x="804081" y="4078780"/>
                </a:cubicBezTo>
                <a:cubicBezTo>
                  <a:pt x="804081" y="4084727"/>
                  <a:pt x="799290" y="4089518"/>
                  <a:pt x="793343" y="4089518"/>
                </a:cubicBezTo>
                <a:cubicBezTo>
                  <a:pt x="787397" y="4089518"/>
                  <a:pt x="782607" y="4084727"/>
                  <a:pt x="782607" y="4078780"/>
                </a:cubicBezTo>
                <a:cubicBezTo>
                  <a:pt x="782607" y="4072834"/>
                  <a:pt x="787397" y="4068044"/>
                  <a:pt x="793343" y="4068044"/>
                </a:cubicBezTo>
                <a:close/>
                <a:moveTo>
                  <a:pt x="2542283" y="4067550"/>
                </a:moveTo>
                <a:cubicBezTo>
                  <a:pt x="2548229" y="4067550"/>
                  <a:pt x="2553021" y="4072339"/>
                  <a:pt x="2553021" y="4078286"/>
                </a:cubicBezTo>
                <a:cubicBezTo>
                  <a:pt x="2553021" y="4084232"/>
                  <a:pt x="2548229" y="4089024"/>
                  <a:pt x="2542283" y="4089024"/>
                </a:cubicBezTo>
                <a:cubicBezTo>
                  <a:pt x="2536336" y="4089024"/>
                  <a:pt x="2531547" y="4084232"/>
                  <a:pt x="2531547" y="4078286"/>
                </a:cubicBezTo>
                <a:cubicBezTo>
                  <a:pt x="2531547" y="4072339"/>
                  <a:pt x="2536336" y="4067550"/>
                  <a:pt x="2542283" y="4067550"/>
                </a:cubicBezTo>
                <a:close/>
                <a:moveTo>
                  <a:pt x="528724" y="4064246"/>
                </a:moveTo>
                <a:cubicBezTo>
                  <a:pt x="534670" y="4064246"/>
                  <a:pt x="539461" y="4069036"/>
                  <a:pt x="539461" y="4074982"/>
                </a:cubicBezTo>
                <a:cubicBezTo>
                  <a:pt x="539461" y="4080929"/>
                  <a:pt x="534670" y="4085719"/>
                  <a:pt x="528724" y="4085719"/>
                </a:cubicBezTo>
                <a:cubicBezTo>
                  <a:pt x="522777" y="4085719"/>
                  <a:pt x="517987" y="4080929"/>
                  <a:pt x="517987" y="4074982"/>
                </a:cubicBezTo>
                <a:cubicBezTo>
                  <a:pt x="517987" y="4069036"/>
                  <a:pt x="522777" y="4064246"/>
                  <a:pt x="528724" y="4064246"/>
                </a:cubicBezTo>
                <a:close/>
                <a:moveTo>
                  <a:pt x="1437056" y="4063750"/>
                </a:moveTo>
                <a:cubicBezTo>
                  <a:pt x="1443002" y="4063750"/>
                  <a:pt x="1447792" y="4068540"/>
                  <a:pt x="1447792" y="4074486"/>
                </a:cubicBezTo>
                <a:cubicBezTo>
                  <a:pt x="1447792" y="4080433"/>
                  <a:pt x="1443002" y="4085223"/>
                  <a:pt x="1437056" y="4085223"/>
                </a:cubicBezTo>
                <a:cubicBezTo>
                  <a:pt x="1431109" y="4085223"/>
                  <a:pt x="1426320" y="4080433"/>
                  <a:pt x="1426320" y="4074486"/>
                </a:cubicBezTo>
                <a:cubicBezTo>
                  <a:pt x="1426320" y="4068540"/>
                  <a:pt x="1431109" y="4063750"/>
                  <a:pt x="1437056" y="4063750"/>
                </a:cubicBezTo>
                <a:close/>
                <a:moveTo>
                  <a:pt x="2204323" y="4056317"/>
                </a:moveTo>
                <a:cubicBezTo>
                  <a:pt x="2210269" y="4056317"/>
                  <a:pt x="2215061" y="4061107"/>
                  <a:pt x="2215061" y="4067054"/>
                </a:cubicBezTo>
                <a:cubicBezTo>
                  <a:pt x="2215061" y="4073000"/>
                  <a:pt x="2210269" y="4077790"/>
                  <a:pt x="2204323" y="4077790"/>
                </a:cubicBezTo>
                <a:cubicBezTo>
                  <a:pt x="2198376" y="4077790"/>
                  <a:pt x="2193586" y="4073000"/>
                  <a:pt x="2193586" y="4067054"/>
                </a:cubicBezTo>
                <a:cubicBezTo>
                  <a:pt x="2193586" y="4061107"/>
                  <a:pt x="2198376" y="4056317"/>
                  <a:pt x="2204323" y="4056317"/>
                </a:cubicBezTo>
                <a:close/>
                <a:moveTo>
                  <a:pt x="955387" y="4054831"/>
                </a:moveTo>
                <a:cubicBezTo>
                  <a:pt x="961334" y="4054831"/>
                  <a:pt x="966124" y="4059621"/>
                  <a:pt x="966124" y="4065567"/>
                </a:cubicBezTo>
                <a:cubicBezTo>
                  <a:pt x="966124" y="4071514"/>
                  <a:pt x="961334" y="4076304"/>
                  <a:pt x="955387" y="4076304"/>
                </a:cubicBezTo>
                <a:cubicBezTo>
                  <a:pt x="949441" y="4076304"/>
                  <a:pt x="944651" y="4071514"/>
                  <a:pt x="944651" y="4065567"/>
                </a:cubicBezTo>
                <a:cubicBezTo>
                  <a:pt x="944651" y="4059621"/>
                  <a:pt x="949441" y="4054831"/>
                  <a:pt x="955387" y="4054831"/>
                </a:cubicBezTo>
                <a:close/>
                <a:moveTo>
                  <a:pt x="3189960" y="4052353"/>
                </a:moveTo>
                <a:cubicBezTo>
                  <a:pt x="3195907" y="4052353"/>
                  <a:pt x="3200698" y="4057143"/>
                  <a:pt x="3200698" y="4063089"/>
                </a:cubicBezTo>
                <a:lnTo>
                  <a:pt x="3191942" y="4071843"/>
                </a:lnTo>
                <a:lnTo>
                  <a:pt x="3202514" y="4082415"/>
                </a:lnTo>
                <a:lnTo>
                  <a:pt x="3194585" y="4090345"/>
                </a:lnTo>
                <a:lnTo>
                  <a:pt x="3203008" y="4098768"/>
                </a:lnTo>
                <a:lnTo>
                  <a:pt x="3195988" y="4105788"/>
                </a:lnTo>
                <a:lnTo>
                  <a:pt x="3202845" y="4112644"/>
                </a:lnTo>
                <a:lnTo>
                  <a:pt x="3196484" y="4119005"/>
                </a:lnTo>
                <a:lnTo>
                  <a:pt x="3201853" y="4124372"/>
                </a:lnTo>
                <a:lnTo>
                  <a:pt x="3196236" y="4129989"/>
                </a:lnTo>
                <a:lnTo>
                  <a:pt x="3200532" y="4134283"/>
                </a:lnTo>
                <a:lnTo>
                  <a:pt x="3195329" y="4139485"/>
                </a:lnTo>
                <a:lnTo>
                  <a:pt x="3198716" y="4142871"/>
                </a:lnTo>
                <a:lnTo>
                  <a:pt x="3194008" y="4147581"/>
                </a:lnTo>
                <a:lnTo>
                  <a:pt x="3196897" y="4150470"/>
                </a:lnTo>
                <a:lnTo>
                  <a:pt x="3192436" y="4154930"/>
                </a:lnTo>
                <a:lnTo>
                  <a:pt x="3194915" y="4157408"/>
                </a:lnTo>
                <a:lnTo>
                  <a:pt x="3190869" y="4161454"/>
                </a:lnTo>
                <a:lnTo>
                  <a:pt x="3193264" y="4163849"/>
                </a:lnTo>
                <a:lnTo>
                  <a:pt x="3189298" y="4167815"/>
                </a:lnTo>
                <a:lnTo>
                  <a:pt x="3191776" y="4170292"/>
                </a:lnTo>
                <a:lnTo>
                  <a:pt x="3187895" y="4174173"/>
                </a:lnTo>
                <a:lnTo>
                  <a:pt x="3190621" y="4176899"/>
                </a:lnTo>
                <a:lnTo>
                  <a:pt x="3186823" y="4180698"/>
                </a:lnTo>
                <a:lnTo>
                  <a:pt x="3189962" y="4183837"/>
                </a:lnTo>
                <a:lnTo>
                  <a:pt x="3186162" y="4187637"/>
                </a:lnTo>
                <a:lnTo>
                  <a:pt x="3189960" y="4191435"/>
                </a:lnTo>
                <a:lnTo>
                  <a:pt x="3185996" y="4195399"/>
                </a:lnTo>
                <a:lnTo>
                  <a:pt x="3190456" y="4199859"/>
                </a:lnTo>
                <a:lnTo>
                  <a:pt x="3186490" y="4203825"/>
                </a:lnTo>
                <a:lnTo>
                  <a:pt x="3191776" y="4209110"/>
                </a:lnTo>
                <a:lnTo>
                  <a:pt x="3187647" y="4213239"/>
                </a:lnTo>
                <a:lnTo>
                  <a:pt x="3193926" y="4219516"/>
                </a:lnTo>
                <a:lnTo>
                  <a:pt x="3189547" y="4223895"/>
                </a:lnTo>
                <a:lnTo>
                  <a:pt x="3196897" y="4231243"/>
                </a:lnTo>
                <a:cubicBezTo>
                  <a:pt x="3196897" y="4237189"/>
                  <a:pt x="3192107" y="4241979"/>
                  <a:pt x="3186160" y="4241979"/>
                </a:cubicBezTo>
                <a:cubicBezTo>
                  <a:pt x="3180214" y="4241979"/>
                  <a:pt x="3175424" y="4237189"/>
                  <a:pt x="3175424" y="4231243"/>
                </a:cubicBezTo>
                <a:lnTo>
                  <a:pt x="3179801" y="4226866"/>
                </a:lnTo>
                <a:lnTo>
                  <a:pt x="3172452" y="4219516"/>
                </a:lnTo>
                <a:lnTo>
                  <a:pt x="3176581" y="4215387"/>
                </a:lnTo>
                <a:lnTo>
                  <a:pt x="3170303" y="4209110"/>
                </a:lnTo>
                <a:lnTo>
                  <a:pt x="3174267" y="4205145"/>
                </a:lnTo>
                <a:lnTo>
                  <a:pt x="3168982" y="4199859"/>
                </a:lnTo>
                <a:lnTo>
                  <a:pt x="3172946" y="4195895"/>
                </a:lnTo>
                <a:lnTo>
                  <a:pt x="3168486" y="4191435"/>
                </a:lnTo>
                <a:lnTo>
                  <a:pt x="3172285" y="4187635"/>
                </a:lnTo>
                <a:lnTo>
                  <a:pt x="3168487" y="4183837"/>
                </a:lnTo>
                <a:lnTo>
                  <a:pt x="3172287" y="4180038"/>
                </a:lnTo>
                <a:lnTo>
                  <a:pt x="3169148" y="4176899"/>
                </a:lnTo>
                <a:lnTo>
                  <a:pt x="3173029" y="4173018"/>
                </a:lnTo>
                <a:lnTo>
                  <a:pt x="3170303" y="4170292"/>
                </a:lnTo>
                <a:lnTo>
                  <a:pt x="3174269" y="4166327"/>
                </a:lnTo>
                <a:lnTo>
                  <a:pt x="3171791" y="4163849"/>
                </a:lnTo>
                <a:lnTo>
                  <a:pt x="3175837" y="4159803"/>
                </a:lnTo>
                <a:lnTo>
                  <a:pt x="3173442" y="4157408"/>
                </a:lnTo>
                <a:lnTo>
                  <a:pt x="3177902" y="4152948"/>
                </a:lnTo>
                <a:lnTo>
                  <a:pt x="3175424" y="4150470"/>
                </a:lnTo>
                <a:lnTo>
                  <a:pt x="3180132" y="4145761"/>
                </a:lnTo>
                <a:lnTo>
                  <a:pt x="3177241" y="4142871"/>
                </a:lnTo>
                <a:lnTo>
                  <a:pt x="3182444" y="4137668"/>
                </a:lnTo>
                <a:lnTo>
                  <a:pt x="3179059" y="4134283"/>
                </a:lnTo>
                <a:lnTo>
                  <a:pt x="3184674" y="4128668"/>
                </a:lnTo>
                <a:lnTo>
                  <a:pt x="3180379" y="4124372"/>
                </a:lnTo>
                <a:lnTo>
                  <a:pt x="3186738" y="4118013"/>
                </a:lnTo>
                <a:lnTo>
                  <a:pt x="3181371" y="4112644"/>
                </a:lnTo>
                <a:lnTo>
                  <a:pt x="3188391" y="4105624"/>
                </a:lnTo>
                <a:lnTo>
                  <a:pt x="3181535" y="4098768"/>
                </a:lnTo>
                <a:lnTo>
                  <a:pt x="3189464" y="4090840"/>
                </a:lnTo>
                <a:lnTo>
                  <a:pt x="3181041" y="4082415"/>
                </a:lnTo>
                <a:lnTo>
                  <a:pt x="3189795" y="4073661"/>
                </a:lnTo>
                <a:lnTo>
                  <a:pt x="3179224" y="4063089"/>
                </a:lnTo>
                <a:cubicBezTo>
                  <a:pt x="3179224" y="4057143"/>
                  <a:pt x="3184013" y="4052353"/>
                  <a:pt x="3189960" y="4052353"/>
                </a:cubicBezTo>
                <a:close/>
                <a:moveTo>
                  <a:pt x="422512" y="4051196"/>
                </a:moveTo>
                <a:cubicBezTo>
                  <a:pt x="428458" y="4051196"/>
                  <a:pt x="433250" y="4055986"/>
                  <a:pt x="433250" y="4061933"/>
                </a:cubicBezTo>
                <a:cubicBezTo>
                  <a:pt x="433250" y="4067879"/>
                  <a:pt x="428458" y="4072669"/>
                  <a:pt x="422512" y="4072669"/>
                </a:cubicBezTo>
                <a:cubicBezTo>
                  <a:pt x="416565" y="4072669"/>
                  <a:pt x="411775" y="4067879"/>
                  <a:pt x="411775" y="4061933"/>
                </a:cubicBezTo>
                <a:cubicBezTo>
                  <a:pt x="411775" y="4055986"/>
                  <a:pt x="416565" y="4051196"/>
                  <a:pt x="422512" y="4051196"/>
                </a:cubicBezTo>
                <a:close/>
                <a:moveTo>
                  <a:pt x="2968121" y="4050700"/>
                </a:moveTo>
                <a:cubicBezTo>
                  <a:pt x="2974067" y="4050700"/>
                  <a:pt x="2978859" y="4055490"/>
                  <a:pt x="2978859" y="4061437"/>
                </a:cubicBezTo>
                <a:cubicBezTo>
                  <a:pt x="2978859" y="4067383"/>
                  <a:pt x="2974067" y="4072173"/>
                  <a:pt x="2968121" y="4072173"/>
                </a:cubicBezTo>
                <a:cubicBezTo>
                  <a:pt x="2962174" y="4072173"/>
                  <a:pt x="2957385" y="4067383"/>
                  <a:pt x="2957385" y="4061437"/>
                </a:cubicBezTo>
                <a:cubicBezTo>
                  <a:pt x="2957385" y="4055490"/>
                  <a:pt x="2962174" y="4050700"/>
                  <a:pt x="2968121" y="4050700"/>
                </a:cubicBezTo>
                <a:close/>
                <a:moveTo>
                  <a:pt x="2832176" y="4050040"/>
                </a:moveTo>
                <a:cubicBezTo>
                  <a:pt x="2838123" y="4050040"/>
                  <a:pt x="2842914" y="4054829"/>
                  <a:pt x="2842914" y="4060776"/>
                </a:cubicBezTo>
                <a:cubicBezTo>
                  <a:pt x="2842914" y="4066722"/>
                  <a:pt x="2838123" y="4071514"/>
                  <a:pt x="2832176" y="4071514"/>
                </a:cubicBezTo>
                <a:cubicBezTo>
                  <a:pt x="2826230" y="4071514"/>
                  <a:pt x="2821440" y="4066722"/>
                  <a:pt x="2821440" y="4060776"/>
                </a:cubicBezTo>
                <a:cubicBezTo>
                  <a:pt x="2821440" y="4054829"/>
                  <a:pt x="2826230" y="4050040"/>
                  <a:pt x="2832176" y="4050040"/>
                </a:cubicBezTo>
                <a:close/>
                <a:moveTo>
                  <a:pt x="3485635" y="4049545"/>
                </a:moveTo>
                <a:cubicBezTo>
                  <a:pt x="3489102" y="4049545"/>
                  <a:pt x="3491911" y="4052355"/>
                  <a:pt x="3491911" y="4055823"/>
                </a:cubicBezTo>
                <a:cubicBezTo>
                  <a:pt x="3491911" y="4059290"/>
                  <a:pt x="3489102" y="4062099"/>
                  <a:pt x="3485635" y="4062099"/>
                </a:cubicBezTo>
                <a:cubicBezTo>
                  <a:pt x="3482169" y="4062099"/>
                  <a:pt x="3479358" y="4059290"/>
                  <a:pt x="3479358" y="4055823"/>
                </a:cubicBezTo>
                <a:cubicBezTo>
                  <a:pt x="3479358" y="4052355"/>
                  <a:pt x="3482169" y="4049545"/>
                  <a:pt x="3485635" y="4049545"/>
                </a:cubicBezTo>
                <a:close/>
                <a:moveTo>
                  <a:pt x="1286575" y="4048553"/>
                </a:moveTo>
                <a:cubicBezTo>
                  <a:pt x="1292522" y="4048553"/>
                  <a:pt x="1297312" y="4053343"/>
                  <a:pt x="1297312" y="4059290"/>
                </a:cubicBezTo>
                <a:cubicBezTo>
                  <a:pt x="1297312" y="4065236"/>
                  <a:pt x="1292522" y="4070026"/>
                  <a:pt x="1286575" y="4070026"/>
                </a:cubicBezTo>
                <a:cubicBezTo>
                  <a:pt x="1280629" y="4070026"/>
                  <a:pt x="1275839" y="4065236"/>
                  <a:pt x="1275839" y="4059290"/>
                </a:cubicBezTo>
                <a:cubicBezTo>
                  <a:pt x="1275839" y="4053343"/>
                  <a:pt x="1280629" y="4048553"/>
                  <a:pt x="1286575" y="4048553"/>
                </a:cubicBezTo>
                <a:close/>
                <a:moveTo>
                  <a:pt x="3085730" y="4043268"/>
                </a:moveTo>
                <a:cubicBezTo>
                  <a:pt x="3091677" y="4043268"/>
                  <a:pt x="3096468" y="4048057"/>
                  <a:pt x="3096468" y="4054004"/>
                </a:cubicBezTo>
                <a:cubicBezTo>
                  <a:pt x="3096468" y="4059950"/>
                  <a:pt x="3091677" y="4064742"/>
                  <a:pt x="3085730" y="4064742"/>
                </a:cubicBezTo>
                <a:cubicBezTo>
                  <a:pt x="3079784" y="4064742"/>
                  <a:pt x="3074994" y="4059950"/>
                  <a:pt x="3074994" y="4054004"/>
                </a:cubicBezTo>
                <a:cubicBezTo>
                  <a:pt x="3074994" y="4048057"/>
                  <a:pt x="3079784" y="4043268"/>
                  <a:pt x="3085730" y="4043268"/>
                </a:cubicBezTo>
                <a:close/>
                <a:moveTo>
                  <a:pt x="2676245" y="4039138"/>
                </a:moveTo>
                <a:cubicBezTo>
                  <a:pt x="2682192" y="4039138"/>
                  <a:pt x="2686983" y="4043928"/>
                  <a:pt x="2686983" y="4049875"/>
                </a:cubicBezTo>
                <a:cubicBezTo>
                  <a:pt x="2686983" y="4055821"/>
                  <a:pt x="2682192" y="4060613"/>
                  <a:pt x="2676245" y="4060613"/>
                </a:cubicBezTo>
                <a:cubicBezTo>
                  <a:pt x="2670299" y="4060613"/>
                  <a:pt x="2665509" y="4055821"/>
                  <a:pt x="2665509" y="4049875"/>
                </a:cubicBezTo>
                <a:cubicBezTo>
                  <a:pt x="2665509" y="4043928"/>
                  <a:pt x="2670299" y="4039138"/>
                  <a:pt x="2676245" y="4039138"/>
                </a:cubicBezTo>
                <a:close/>
                <a:moveTo>
                  <a:pt x="2353317" y="4038313"/>
                </a:moveTo>
                <a:cubicBezTo>
                  <a:pt x="2359264" y="4038313"/>
                  <a:pt x="2364054" y="4043103"/>
                  <a:pt x="2364054" y="4049049"/>
                </a:cubicBezTo>
                <a:cubicBezTo>
                  <a:pt x="2364054" y="4054996"/>
                  <a:pt x="2359264" y="4059786"/>
                  <a:pt x="2353317" y="4059786"/>
                </a:cubicBezTo>
                <a:cubicBezTo>
                  <a:pt x="2347371" y="4059786"/>
                  <a:pt x="2342581" y="4054996"/>
                  <a:pt x="2342581" y="4049049"/>
                </a:cubicBezTo>
                <a:cubicBezTo>
                  <a:pt x="2342581" y="4043103"/>
                  <a:pt x="2347371" y="4038313"/>
                  <a:pt x="2353317" y="4038313"/>
                </a:cubicBezTo>
                <a:close/>
                <a:moveTo>
                  <a:pt x="673091" y="4033688"/>
                </a:moveTo>
                <a:cubicBezTo>
                  <a:pt x="679038" y="4033688"/>
                  <a:pt x="683829" y="4038478"/>
                  <a:pt x="683829" y="4044424"/>
                </a:cubicBezTo>
                <a:cubicBezTo>
                  <a:pt x="683829" y="4050371"/>
                  <a:pt x="679038" y="4055161"/>
                  <a:pt x="673091" y="4055161"/>
                </a:cubicBezTo>
                <a:cubicBezTo>
                  <a:pt x="667145" y="4055161"/>
                  <a:pt x="662355" y="4050371"/>
                  <a:pt x="662355" y="4044424"/>
                </a:cubicBezTo>
                <a:cubicBezTo>
                  <a:pt x="662355" y="4038478"/>
                  <a:pt x="667145" y="4033688"/>
                  <a:pt x="673091" y="4033688"/>
                </a:cubicBezTo>
                <a:close/>
                <a:moveTo>
                  <a:pt x="331002" y="4033192"/>
                </a:moveTo>
                <a:cubicBezTo>
                  <a:pt x="336948" y="4033192"/>
                  <a:pt x="341740" y="4037982"/>
                  <a:pt x="341740" y="4043928"/>
                </a:cubicBezTo>
                <a:lnTo>
                  <a:pt x="331827" y="4053841"/>
                </a:lnTo>
                <a:lnTo>
                  <a:pt x="341573" y="4063585"/>
                </a:lnTo>
                <a:lnTo>
                  <a:pt x="333645" y="4071514"/>
                </a:lnTo>
                <a:lnTo>
                  <a:pt x="342401" y="4080268"/>
                </a:lnTo>
                <a:lnTo>
                  <a:pt x="336123" y="4086546"/>
                </a:lnTo>
                <a:lnTo>
                  <a:pt x="344052" y="4094473"/>
                </a:lnTo>
                <a:lnTo>
                  <a:pt x="339177" y="4099346"/>
                </a:lnTo>
                <a:lnTo>
                  <a:pt x="346365" y="4106532"/>
                </a:lnTo>
                <a:lnTo>
                  <a:pt x="342401" y="4110497"/>
                </a:lnTo>
                <a:lnTo>
                  <a:pt x="348841" y="4116938"/>
                </a:lnTo>
                <a:lnTo>
                  <a:pt x="345703" y="4120076"/>
                </a:lnTo>
                <a:lnTo>
                  <a:pt x="351651" y="4126023"/>
                </a:lnTo>
                <a:lnTo>
                  <a:pt x="349089" y="4128584"/>
                </a:lnTo>
                <a:lnTo>
                  <a:pt x="354623" y="4134116"/>
                </a:lnTo>
                <a:lnTo>
                  <a:pt x="352310" y="4136430"/>
                </a:lnTo>
                <a:lnTo>
                  <a:pt x="357431" y="4141551"/>
                </a:lnTo>
                <a:lnTo>
                  <a:pt x="355201" y="4143781"/>
                </a:lnTo>
                <a:lnTo>
                  <a:pt x="359909" y="4148488"/>
                </a:lnTo>
                <a:lnTo>
                  <a:pt x="357596" y="4150801"/>
                </a:lnTo>
                <a:lnTo>
                  <a:pt x="362222" y="4155426"/>
                </a:lnTo>
                <a:lnTo>
                  <a:pt x="359496" y="4158152"/>
                </a:lnTo>
                <a:lnTo>
                  <a:pt x="364038" y="4162694"/>
                </a:lnTo>
                <a:lnTo>
                  <a:pt x="360899" y="4165833"/>
                </a:lnTo>
                <a:lnTo>
                  <a:pt x="365195" y="4170127"/>
                </a:lnTo>
                <a:lnTo>
                  <a:pt x="361395" y="4173926"/>
                </a:lnTo>
                <a:lnTo>
                  <a:pt x="365855" y="4178385"/>
                </a:lnTo>
                <a:lnTo>
                  <a:pt x="361312" y="4182929"/>
                </a:lnTo>
                <a:lnTo>
                  <a:pt x="365689" y="4187306"/>
                </a:lnTo>
                <a:lnTo>
                  <a:pt x="360403" y="4192591"/>
                </a:lnTo>
                <a:lnTo>
                  <a:pt x="364865" y="4197052"/>
                </a:lnTo>
                <a:cubicBezTo>
                  <a:pt x="364865" y="4202981"/>
                  <a:pt x="360058" y="4207788"/>
                  <a:pt x="354127" y="4207788"/>
                </a:cubicBezTo>
                <a:cubicBezTo>
                  <a:pt x="348198" y="4207788"/>
                  <a:pt x="343391" y="4202981"/>
                  <a:pt x="343391" y="4197052"/>
                </a:cubicBezTo>
                <a:lnTo>
                  <a:pt x="348677" y="4191766"/>
                </a:lnTo>
                <a:lnTo>
                  <a:pt x="344216" y="4187306"/>
                </a:lnTo>
                <a:lnTo>
                  <a:pt x="348758" y="4182764"/>
                </a:lnTo>
                <a:lnTo>
                  <a:pt x="344381" y="4178385"/>
                </a:lnTo>
                <a:lnTo>
                  <a:pt x="348179" y="4174587"/>
                </a:lnTo>
                <a:lnTo>
                  <a:pt x="343720" y="4170127"/>
                </a:lnTo>
                <a:lnTo>
                  <a:pt x="346859" y="4166990"/>
                </a:lnTo>
                <a:lnTo>
                  <a:pt x="342564" y="4162694"/>
                </a:lnTo>
                <a:lnTo>
                  <a:pt x="345290" y="4159968"/>
                </a:lnTo>
                <a:lnTo>
                  <a:pt x="340748" y="4155426"/>
                </a:lnTo>
                <a:lnTo>
                  <a:pt x="343060" y="4153114"/>
                </a:lnTo>
                <a:lnTo>
                  <a:pt x="338435" y="4148488"/>
                </a:lnTo>
                <a:lnTo>
                  <a:pt x="340665" y="4146257"/>
                </a:lnTo>
                <a:lnTo>
                  <a:pt x="335958" y="4141551"/>
                </a:lnTo>
                <a:lnTo>
                  <a:pt x="338270" y="4139239"/>
                </a:lnTo>
                <a:lnTo>
                  <a:pt x="333149" y="4134116"/>
                </a:lnTo>
                <a:lnTo>
                  <a:pt x="335710" y="4131557"/>
                </a:lnTo>
                <a:lnTo>
                  <a:pt x="330176" y="4126023"/>
                </a:lnTo>
                <a:lnTo>
                  <a:pt x="333313" y="4122886"/>
                </a:lnTo>
                <a:lnTo>
                  <a:pt x="327367" y="4116938"/>
                </a:lnTo>
                <a:lnTo>
                  <a:pt x="331331" y="4112973"/>
                </a:lnTo>
                <a:lnTo>
                  <a:pt x="324891" y="4106532"/>
                </a:lnTo>
                <a:lnTo>
                  <a:pt x="329764" y="4101659"/>
                </a:lnTo>
                <a:lnTo>
                  <a:pt x="322577" y="4094473"/>
                </a:lnTo>
                <a:lnTo>
                  <a:pt x="328853" y="4088197"/>
                </a:lnTo>
                <a:lnTo>
                  <a:pt x="320926" y="4080268"/>
                </a:lnTo>
                <a:lnTo>
                  <a:pt x="328855" y="4072341"/>
                </a:lnTo>
                <a:lnTo>
                  <a:pt x="320099" y="4063585"/>
                </a:lnTo>
                <a:lnTo>
                  <a:pt x="330012" y="4053674"/>
                </a:lnTo>
                <a:lnTo>
                  <a:pt x="320265" y="4043928"/>
                </a:lnTo>
                <a:cubicBezTo>
                  <a:pt x="320265" y="4037982"/>
                  <a:pt x="325055" y="4033192"/>
                  <a:pt x="331002" y="4033192"/>
                </a:cubicBezTo>
                <a:close/>
                <a:moveTo>
                  <a:pt x="542103" y="4032861"/>
                </a:moveTo>
                <a:cubicBezTo>
                  <a:pt x="548034" y="4032861"/>
                  <a:pt x="552841" y="4037668"/>
                  <a:pt x="552841" y="4043597"/>
                </a:cubicBezTo>
                <a:cubicBezTo>
                  <a:pt x="552841" y="4049528"/>
                  <a:pt x="548034" y="4054335"/>
                  <a:pt x="542103" y="4054335"/>
                </a:cubicBezTo>
                <a:cubicBezTo>
                  <a:pt x="536174" y="4054335"/>
                  <a:pt x="531366" y="4049528"/>
                  <a:pt x="531366" y="4043597"/>
                </a:cubicBezTo>
                <a:cubicBezTo>
                  <a:pt x="531366" y="4037668"/>
                  <a:pt x="536174" y="4032861"/>
                  <a:pt x="542103" y="4032861"/>
                </a:cubicBezTo>
                <a:close/>
                <a:moveTo>
                  <a:pt x="95123" y="4032365"/>
                </a:moveTo>
                <a:cubicBezTo>
                  <a:pt x="97435" y="4032365"/>
                  <a:pt x="99417" y="4034347"/>
                  <a:pt x="99417" y="4036660"/>
                </a:cubicBezTo>
                <a:cubicBezTo>
                  <a:pt x="99417" y="4038972"/>
                  <a:pt x="97435" y="4040954"/>
                  <a:pt x="95123" y="4040954"/>
                </a:cubicBezTo>
                <a:cubicBezTo>
                  <a:pt x="92645" y="4040954"/>
                  <a:pt x="90827" y="4038972"/>
                  <a:pt x="90827" y="4036660"/>
                </a:cubicBezTo>
                <a:cubicBezTo>
                  <a:pt x="90827" y="4034347"/>
                  <a:pt x="92810" y="4032365"/>
                  <a:pt x="95123" y="4032365"/>
                </a:cubicBezTo>
                <a:close/>
                <a:moveTo>
                  <a:pt x="3272219" y="4030878"/>
                </a:moveTo>
                <a:cubicBezTo>
                  <a:pt x="3278166" y="4030878"/>
                  <a:pt x="3282958" y="4035668"/>
                  <a:pt x="3282958" y="4041615"/>
                </a:cubicBezTo>
                <a:lnTo>
                  <a:pt x="3273211" y="4051361"/>
                </a:lnTo>
                <a:lnTo>
                  <a:pt x="3280479" y="4058629"/>
                </a:lnTo>
                <a:lnTo>
                  <a:pt x="3271560" y="4067550"/>
                </a:lnTo>
                <a:lnTo>
                  <a:pt x="3277340" y="4073330"/>
                </a:lnTo>
                <a:lnTo>
                  <a:pt x="3269247" y="4081425"/>
                </a:lnTo>
                <a:lnTo>
                  <a:pt x="3273706" y="4085883"/>
                </a:lnTo>
                <a:lnTo>
                  <a:pt x="3266273" y="4093318"/>
                </a:lnTo>
                <a:lnTo>
                  <a:pt x="3269741" y="4096786"/>
                </a:lnTo>
                <a:lnTo>
                  <a:pt x="3262971" y="4103558"/>
                </a:lnTo>
                <a:lnTo>
                  <a:pt x="3265779" y="4106366"/>
                </a:lnTo>
                <a:lnTo>
                  <a:pt x="3259501" y="4112644"/>
                </a:lnTo>
                <a:lnTo>
                  <a:pt x="3261813" y="4114955"/>
                </a:lnTo>
                <a:lnTo>
                  <a:pt x="3255866" y="4120904"/>
                </a:lnTo>
                <a:lnTo>
                  <a:pt x="3258015" y="4123051"/>
                </a:lnTo>
                <a:lnTo>
                  <a:pt x="3252481" y="4128584"/>
                </a:lnTo>
                <a:lnTo>
                  <a:pt x="3254546" y="4130648"/>
                </a:lnTo>
                <a:lnTo>
                  <a:pt x="3249177" y="4136017"/>
                </a:lnTo>
                <a:lnTo>
                  <a:pt x="3251572" y="4138412"/>
                </a:lnTo>
                <a:lnTo>
                  <a:pt x="3246451" y="4143533"/>
                </a:lnTo>
                <a:lnTo>
                  <a:pt x="3249094" y="4146176"/>
                </a:lnTo>
                <a:lnTo>
                  <a:pt x="3244056" y="4151214"/>
                </a:lnTo>
                <a:lnTo>
                  <a:pt x="3247112" y="4154269"/>
                </a:lnTo>
                <a:lnTo>
                  <a:pt x="3242074" y="4159307"/>
                </a:lnTo>
                <a:lnTo>
                  <a:pt x="3245955" y="4163188"/>
                </a:lnTo>
                <a:lnTo>
                  <a:pt x="3240917" y="4168226"/>
                </a:lnTo>
                <a:lnTo>
                  <a:pt x="3245461" y="4172770"/>
                </a:lnTo>
                <a:lnTo>
                  <a:pt x="3240423" y="4177809"/>
                </a:lnTo>
                <a:lnTo>
                  <a:pt x="3245955" y="4183341"/>
                </a:lnTo>
                <a:lnTo>
                  <a:pt x="3240753" y="4188544"/>
                </a:lnTo>
                <a:lnTo>
                  <a:pt x="3247278" y="4195068"/>
                </a:lnTo>
                <a:lnTo>
                  <a:pt x="3241497" y="4200850"/>
                </a:lnTo>
                <a:lnTo>
                  <a:pt x="3248598" y="4207953"/>
                </a:lnTo>
                <a:cubicBezTo>
                  <a:pt x="3248598" y="4213403"/>
                  <a:pt x="3244304" y="4217697"/>
                  <a:pt x="3238854" y="4217697"/>
                </a:cubicBezTo>
                <a:cubicBezTo>
                  <a:pt x="3233403" y="4217697"/>
                  <a:pt x="3229108" y="4213403"/>
                  <a:pt x="3229108" y="4207953"/>
                </a:cubicBezTo>
                <a:lnTo>
                  <a:pt x="3233899" y="4203163"/>
                </a:lnTo>
                <a:lnTo>
                  <a:pt x="3225804" y="4195068"/>
                </a:lnTo>
                <a:lnTo>
                  <a:pt x="3231006" y="4189865"/>
                </a:lnTo>
                <a:lnTo>
                  <a:pt x="3224482" y="4183341"/>
                </a:lnTo>
                <a:lnTo>
                  <a:pt x="3229520" y="4178303"/>
                </a:lnTo>
                <a:lnTo>
                  <a:pt x="3223988" y="4172770"/>
                </a:lnTo>
                <a:lnTo>
                  <a:pt x="3229026" y="4167732"/>
                </a:lnTo>
                <a:lnTo>
                  <a:pt x="3224482" y="4163188"/>
                </a:lnTo>
                <a:lnTo>
                  <a:pt x="3229520" y="4158150"/>
                </a:lnTo>
                <a:lnTo>
                  <a:pt x="3225639" y="4154269"/>
                </a:lnTo>
                <a:lnTo>
                  <a:pt x="3230677" y="4149232"/>
                </a:lnTo>
                <a:lnTo>
                  <a:pt x="3227621" y="4146176"/>
                </a:lnTo>
                <a:lnTo>
                  <a:pt x="3232742" y="4141055"/>
                </a:lnTo>
                <a:lnTo>
                  <a:pt x="3230099" y="4138412"/>
                </a:lnTo>
                <a:lnTo>
                  <a:pt x="3235467" y="4133045"/>
                </a:lnTo>
                <a:lnTo>
                  <a:pt x="3233072" y="4130648"/>
                </a:lnTo>
                <a:lnTo>
                  <a:pt x="3238606" y="4125116"/>
                </a:lnTo>
                <a:lnTo>
                  <a:pt x="3236540" y="4123051"/>
                </a:lnTo>
                <a:lnTo>
                  <a:pt x="3242487" y="4117104"/>
                </a:lnTo>
                <a:lnTo>
                  <a:pt x="3240340" y="4114955"/>
                </a:lnTo>
                <a:lnTo>
                  <a:pt x="3246616" y="4108679"/>
                </a:lnTo>
                <a:lnTo>
                  <a:pt x="3244304" y="4106366"/>
                </a:lnTo>
                <a:lnTo>
                  <a:pt x="3251076" y="4099594"/>
                </a:lnTo>
                <a:lnTo>
                  <a:pt x="3248269" y="4096786"/>
                </a:lnTo>
                <a:lnTo>
                  <a:pt x="3255701" y="4089354"/>
                </a:lnTo>
                <a:lnTo>
                  <a:pt x="3252233" y="4085883"/>
                </a:lnTo>
                <a:lnTo>
                  <a:pt x="3260326" y="4077790"/>
                </a:lnTo>
                <a:lnTo>
                  <a:pt x="3255868" y="4073330"/>
                </a:lnTo>
                <a:lnTo>
                  <a:pt x="3264787" y="4064411"/>
                </a:lnTo>
                <a:lnTo>
                  <a:pt x="3259007" y="4058629"/>
                </a:lnTo>
                <a:lnTo>
                  <a:pt x="3268751" y="4048885"/>
                </a:lnTo>
                <a:lnTo>
                  <a:pt x="3261483" y="4041615"/>
                </a:lnTo>
                <a:cubicBezTo>
                  <a:pt x="3261483" y="4035668"/>
                  <a:pt x="3266273" y="4030878"/>
                  <a:pt x="3272219" y="4030878"/>
                </a:cubicBezTo>
                <a:close/>
                <a:moveTo>
                  <a:pt x="3532216" y="4030549"/>
                </a:moveTo>
                <a:cubicBezTo>
                  <a:pt x="3532545" y="4030549"/>
                  <a:pt x="3532710" y="4030714"/>
                  <a:pt x="3532710" y="4031045"/>
                </a:cubicBezTo>
                <a:cubicBezTo>
                  <a:pt x="3532710" y="4031374"/>
                  <a:pt x="3532216" y="4031539"/>
                  <a:pt x="3532216" y="4031539"/>
                </a:cubicBezTo>
                <a:cubicBezTo>
                  <a:pt x="3531884" y="4031539"/>
                  <a:pt x="3531720" y="4031374"/>
                  <a:pt x="3531720" y="4031045"/>
                </a:cubicBezTo>
                <a:cubicBezTo>
                  <a:pt x="3531720" y="4030714"/>
                  <a:pt x="3531884" y="4030549"/>
                  <a:pt x="3532216" y="4030549"/>
                </a:cubicBezTo>
                <a:close/>
                <a:moveTo>
                  <a:pt x="3186986" y="4029392"/>
                </a:moveTo>
                <a:cubicBezTo>
                  <a:pt x="3192932" y="4029392"/>
                  <a:pt x="3197724" y="4034182"/>
                  <a:pt x="3197724" y="4040129"/>
                </a:cubicBezTo>
                <a:cubicBezTo>
                  <a:pt x="3197724" y="4046075"/>
                  <a:pt x="3192932" y="4050867"/>
                  <a:pt x="3186986" y="4050867"/>
                </a:cubicBezTo>
                <a:cubicBezTo>
                  <a:pt x="3181039" y="4050867"/>
                  <a:pt x="3176250" y="4046075"/>
                  <a:pt x="3176250" y="4040129"/>
                </a:cubicBezTo>
                <a:cubicBezTo>
                  <a:pt x="3176250" y="4034182"/>
                  <a:pt x="3181039" y="4029392"/>
                  <a:pt x="3186986" y="4029392"/>
                </a:cubicBezTo>
                <a:close/>
                <a:moveTo>
                  <a:pt x="256175" y="4029063"/>
                </a:moveTo>
                <a:cubicBezTo>
                  <a:pt x="262122" y="4029063"/>
                  <a:pt x="266913" y="4033853"/>
                  <a:pt x="266913" y="4039799"/>
                </a:cubicBezTo>
                <a:lnTo>
                  <a:pt x="261626" y="4045085"/>
                </a:lnTo>
                <a:lnTo>
                  <a:pt x="271372" y="4054829"/>
                </a:lnTo>
                <a:lnTo>
                  <a:pt x="267323" y="4058877"/>
                </a:lnTo>
                <a:lnTo>
                  <a:pt x="276162" y="4067714"/>
                </a:lnTo>
                <a:lnTo>
                  <a:pt x="272941" y="4070935"/>
                </a:lnTo>
                <a:lnTo>
                  <a:pt x="281118" y="4079111"/>
                </a:lnTo>
                <a:lnTo>
                  <a:pt x="278557" y="4081673"/>
                </a:lnTo>
                <a:lnTo>
                  <a:pt x="286072" y="4089187"/>
                </a:lnTo>
                <a:lnTo>
                  <a:pt x="283842" y="4091417"/>
                </a:lnTo>
                <a:lnTo>
                  <a:pt x="290864" y="4098437"/>
                </a:lnTo>
                <a:lnTo>
                  <a:pt x="288882" y="4100421"/>
                </a:lnTo>
                <a:lnTo>
                  <a:pt x="295487" y="4107027"/>
                </a:lnTo>
                <a:lnTo>
                  <a:pt x="293505" y="4109011"/>
                </a:lnTo>
                <a:lnTo>
                  <a:pt x="299616" y="4115122"/>
                </a:lnTo>
                <a:lnTo>
                  <a:pt x="297388" y="4117352"/>
                </a:lnTo>
                <a:lnTo>
                  <a:pt x="303418" y="4123380"/>
                </a:lnTo>
                <a:lnTo>
                  <a:pt x="300773" y="4126025"/>
                </a:lnTo>
                <a:lnTo>
                  <a:pt x="306555" y="4131805"/>
                </a:lnTo>
                <a:lnTo>
                  <a:pt x="303335" y="4135027"/>
                </a:lnTo>
                <a:lnTo>
                  <a:pt x="308867" y="4140559"/>
                </a:lnTo>
                <a:lnTo>
                  <a:pt x="305150" y="4144275"/>
                </a:lnTo>
                <a:lnTo>
                  <a:pt x="310684" y="4149809"/>
                </a:lnTo>
                <a:lnTo>
                  <a:pt x="305811" y="4154682"/>
                </a:lnTo>
                <a:lnTo>
                  <a:pt x="311345" y="4160216"/>
                </a:lnTo>
                <a:lnTo>
                  <a:pt x="303583" y="4167978"/>
                </a:lnTo>
                <a:lnTo>
                  <a:pt x="306886" y="4171282"/>
                </a:lnTo>
                <a:cubicBezTo>
                  <a:pt x="306886" y="4174748"/>
                  <a:pt x="304075" y="4177559"/>
                  <a:pt x="300610" y="4177559"/>
                </a:cubicBezTo>
                <a:cubicBezTo>
                  <a:pt x="297144" y="4177559"/>
                  <a:pt x="294333" y="4174748"/>
                  <a:pt x="294333" y="4171282"/>
                </a:cubicBezTo>
                <a:lnTo>
                  <a:pt x="297636" y="4167980"/>
                </a:lnTo>
                <a:lnTo>
                  <a:pt x="289872" y="4160216"/>
                </a:lnTo>
                <a:lnTo>
                  <a:pt x="294745" y="4155343"/>
                </a:lnTo>
                <a:lnTo>
                  <a:pt x="289211" y="4149809"/>
                </a:lnTo>
                <a:lnTo>
                  <a:pt x="292928" y="4146093"/>
                </a:lnTo>
                <a:lnTo>
                  <a:pt x="287394" y="4140559"/>
                </a:lnTo>
                <a:lnTo>
                  <a:pt x="290616" y="4137338"/>
                </a:lnTo>
                <a:lnTo>
                  <a:pt x="285082" y="4131805"/>
                </a:lnTo>
                <a:lnTo>
                  <a:pt x="287725" y="4129162"/>
                </a:lnTo>
                <a:lnTo>
                  <a:pt x="281944" y="4123380"/>
                </a:lnTo>
                <a:lnTo>
                  <a:pt x="284174" y="4121152"/>
                </a:lnTo>
                <a:lnTo>
                  <a:pt x="278144" y="4115122"/>
                </a:lnTo>
                <a:lnTo>
                  <a:pt x="280128" y="4113140"/>
                </a:lnTo>
                <a:lnTo>
                  <a:pt x="274015" y="4107027"/>
                </a:lnTo>
                <a:lnTo>
                  <a:pt x="275997" y="4105046"/>
                </a:lnTo>
                <a:lnTo>
                  <a:pt x="269390" y="4098437"/>
                </a:lnTo>
                <a:lnTo>
                  <a:pt x="271620" y="4096209"/>
                </a:lnTo>
                <a:lnTo>
                  <a:pt x="264600" y="4089187"/>
                </a:lnTo>
                <a:lnTo>
                  <a:pt x="267159" y="4086627"/>
                </a:lnTo>
                <a:lnTo>
                  <a:pt x="259643" y="4079111"/>
                </a:lnTo>
                <a:lnTo>
                  <a:pt x="262864" y="4075891"/>
                </a:lnTo>
                <a:lnTo>
                  <a:pt x="254687" y="4067714"/>
                </a:lnTo>
                <a:lnTo>
                  <a:pt x="258735" y="4063667"/>
                </a:lnTo>
                <a:lnTo>
                  <a:pt x="249897" y="4054829"/>
                </a:lnTo>
                <a:lnTo>
                  <a:pt x="255183" y="4049544"/>
                </a:lnTo>
                <a:lnTo>
                  <a:pt x="245439" y="4039799"/>
                </a:lnTo>
                <a:cubicBezTo>
                  <a:pt x="245439" y="4033853"/>
                  <a:pt x="250229" y="4029063"/>
                  <a:pt x="256175" y="4029063"/>
                </a:cubicBezTo>
                <a:close/>
                <a:moveTo>
                  <a:pt x="1139398" y="4028400"/>
                </a:moveTo>
                <a:cubicBezTo>
                  <a:pt x="1145345" y="4028400"/>
                  <a:pt x="1150136" y="4033190"/>
                  <a:pt x="1150136" y="4039137"/>
                </a:cubicBezTo>
                <a:cubicBezTo>
                  <a:pt x="1150136" y="4045083"/>
                  <a:pt x="1145345" y="4049875"/>
                  <a:pt x="1139398" y="4049875"/>
                </a:cubicBezTo>
                <a:cubicBezTo>
                  <a:pt x="1133452" y="4049875"/>
                  <a:pt x="1128662" y="4045083"/>
                  <a:pt x="1128662" y="4039137"/>
                </a:cubicBezTo>
                <a:cubicBezTo>
                  <a:pt x="1128662" y="4033190"/>
                  <a:pt x="1133452" y="4028400"/>
                  <a:pt x="1139398" y="4028400"/>
                </a:cubicBezTo>
                <a:close/>
                <a:moveTo>
                  <a:pt x="823903" y="4024602"/>
                </a:moveTo>
                <a:cubicBezTo>
                  <a:pt x="829849" y="4024602"/>
                  <a:pt x="834639" y="4029392"/>
                  <a:pt x="834639" y="4035339"/>
                </a:cubicBezTo>
                <a:cubicBezTo>
                  <a:pt x="834639" y="4041285"/>
                  <a:pt x="829849" y="4046077"/>
                  <a:pt x="823903" y="4046077"/>
                </a:cubicBezTo>
                <a:cubicBezTo>
                  <a:pt x="817956" y="4046077"/>
                  <a:pt x="813167" y="4041285"/>
                  <a:pt x="813167" y="4035339"/>
                </a:cubicBezTo>
                <a:cubicBezTo>
                  <a:pt x="813167" y="4029392"/>
                  <a:pt x="817956" y="4024602"/>
                  <a:pt x="823903" y="4024602"/>
                </a:cubicBezTo>
                <a:close/>
                <a:moveTo>
                  <a:pt x="429285" y="4024438"/>
                </a:moveTo>
                <a:cubicBezTo>
                  <a:pt x="435232" y="4024438"/>
                  <a:pt x="440022" y="4029228"/>
                  <a:pt x="440022" y="4035174"/>
                </a:cubicBezTo>
                <a:cubicBezTo>
                  <a:pt x="440022" y="4041121"/>
                  <a:pt x="435232" y="4045910"/>
                  <a:pt x="429285" y="4045910"/>
                </a:cubicBezTo>
                <a:cubicBezTo>
                  <a:pt x="423339" y="4045910"/>
                  <a:pt x="418549" y="4041121"/>
                  <a:pt x="418549" y="4035174"/>
                </a:cubicBezTo>
                <a:cubicBezTo>
                  <a:pt x="418549" y="4029228"/>
                  <a:pt x="423339" y="4024438"/>
                  <a:pt x="429285" y="4024438"/>
                </a:cubicBezTo>
                <a:close/>
                <a:moveTo>
                  <a:pt x="3337302" y="4022456"/>
                </a:moveTo>
                <a:cubicBezTo>
                  <a:pt x="3343248" y="4022456"/>
                  <a:pt x="3348038" y="4027245"/>
                  <a:pt x="3348038" y="4033192"/>
                </a:cubicBezTo>
                <a:lnTo>
                  <a:pt x="3338294" y="4042938"/>
                </a:lnTo>
                <a:lnTo>
                  <a:pt x="3342092" y="4046736"/>
                </a:lnTo>
                <a:lnTo>
                  <a:pt x="3333089" y="4055740"/>
                </a:lnTo>
                <a:lnTo>
                  <a:pt x="3335980" y="4058629"/>
                </a:lnTo>
                <a:lnTo>
                  <a:pt x="3327556" y="4067054"/>
                </a:lnTo>
                <a:lnTo>
                  <a:pt x="3329869" y="4069365"/>
                </a:lnTo>
                <a:lnTo>
                  <a:pt x="3322105" y="4077129"/>
                </a:lnTo>
                <a:lnTo>
                  <a:pt x="3324087" y="4079111"/>
                </a:lnTo>
                <a:lnTo>
                  <a:pt x="3316736" y="4086463"/>
                </a:lnTo>
                <a:lnTo>
                  <a:pt x="3318635" y="4088362"/>
                </a:lnTo>
                <a:lnTo>
                  <a:pt x="3311615" y="4095382"/>
                </a:lnTo>
                <a:lnTo>
                  <a:pt x="3313516" y="4097281"/>
                </a:lnTo>
                <a:lnTo>
                  <a:pt x="3306992" y="4103806"/>
                </a:lnTo>
                <a:lnTo>
                  <a:pt x="3309222" y="4106036"/>
                </a:lnTo>
                <a:lnTo>
                  <a:pt x="3302778" y="4112479"/>
                </a:lnTo>
                <a:lnTo>
                  <a:pt x="3305420" y="4115122"/>
                </a:lnTo>
                <a:lnTo>
                  <a:pt x="3299228" y="4121315"/>
                </a:lnTo>
                <a:lnTo>
                  <a:pt x="3302450" y="4124537"/>
                </a:lnTo>
                <a:lnTo>
                  <a:pt x="3296255" y="4130731"/>
                </a:lnTo>
                <a:lnTo>
                  <a:pt x="3300301" y="4134777"/>
                </a:lnTo>
                <a:lnTo>
                  <a:pt x="3294188" y="4140890"/>
                </a:lnTo>
                <a:lnTo>
                  <a:pt x="3298978" y="4145680"/>
                </a:lnTo>
                <a:lnTo>
                  <a:pt x="3292867" y="4151791"/>
                </a:lnTo>
                <a:lnTo>
                  <a:pt x="3298648" y="4157573"/>
                </a:lnTo>
                <a:lnTo>
                  <a:pt x="3292456" y="4163767"/>
                </a:lnTo>
                <a:lnTo>
                  <a:pt x="3299311" y="4170621"/>
                </a:lnTo>
                <a:cubicBezTo>
                  <a:pt x="3299311" y="4176568"/>
                  <a:pt x="3294519" y="4181359"/>
                  <a:pt x="3288573" y="4181359"/>
                </a:cubicBezTo>
                <a:cubicBezTo>
                  <a:pt x="3282626" y="4181359"/>
                  <a:pt x="3277836" y="4176568"/>
                  <a:pt x="3277836" y="4170621"/>
                </a:cubicBezTo>
                <a:lnTo>
                  <a:pt x="3284029" y="4164428"/>
                </a:lnTo>
                <a:lnTo>
                  <a:pt x="3277176" y="4157573"/>
                </a:lnTo>
                <a:lnTo>
                  <a:pt x="3283287" y="4151462"/>
                </a:lnTo>
                <a:lnTo>
                  <a:pt x="3277505" y="4145680"/>
                </a:lnTo>
                <a:lnTo>
                  <a:pt x="3283618" y="4139567"/>
                </a:lnTo>
                <a:lnTo>
                  <a:pt x="3278828" y="4134777"/>
                </a:lnTo>
                <a:lnTo>
                  <a:pt x="3285023" y="4128584"/>
                </a:lnTo>
                <a:lnTo>
                  <a:pt x="3280975" y="4124537"/>
                </a:lnTo>
                <a:lnTo>
                  <a:pt x="3287170" y="4118344"/>
                </a:lnTo>
                <a:lnTo>
                  <a:pt x="3283948" y="4115122"/>
                </a:lnTo>
                <a:lnTo>
                  <a:pt x="3290390" y="4108679"/>
                </a:lnTo>
                <a:lnTo>
                  <a:pt x="3287747" y="4106036"/>
                </a:lnTo>
                <a:lnTo>
                  <a:pt x="3294273" y="4099511"/>
                </a:lnTo>
                <a:lnTo>
                  <a:pt x="3292043" y="4097281"/>
                </a:lnTo>
                <a:lnTo>
                  <a:pt x="3299063" y="4090262"/>
                </a:lnTo>
                <a:lnTo>
                  <a:pt x="3297162" y="4088362"/>
                </a:lnTo>
                <a:lnTo>
                  <a:pt x="3304512" y="4081012"/>
                </a:lnTo>
                <a:lnTo>
                  <a:pt x="3302613" y="4079111"/>
                </a:lnTo>
                <a:lnTo>
                  <a:pt x="3310377" y="4071347"/>
                </a:lnTo>
                <a:lnTo>
                  <a:pt x="3308395" y="4069365"/>
                </a:lnTo>
                <a:lnTo>
                  <a:pt x="3316818" y="4060942"/>
                </a:lnTo>
                <a:lnTo>
                  <a:pt x="3314506" y="4058629"/>
                </a:lnTo>
                <a:lnTo>
                  <a:pt x="3323508" y="4049627"/>
                </a:lnTo>
                <a:lnTo>
                  <a:pt x="3320619" y="4046736"/>
                </a:lnTo>
                <a:lnTo>
                  <a:pt x="3330365" y="4036991"/>
                </a:lnTo>
                <a:lnTo>
                  <a:pt x="3326565" y="4033192"/>
                </a:lnTo>
                <a:cubicBezTo>
                  <a:pt x="3326565" y="4027245"/>
                  <a:pt x="3331355" y="4022456"/>
                  <a:pt x="3337302" y="4022456"/>
                </a:cubicBezTo>
                <a:close/>
                <a:moveTo>
                  <a:pt x="2498345" y="4015517"/>
                </a:moveTo>
                <a:cubicBezTo>
                  <a:pt x="2504292" y="4015517"/>
                  <a:pt x="2509082" y="4020307"/>
                  <a:pt x="2509082" y="4026253"/>
                </a:cubicBezTo>
                <a:cubicBezTo>
                  <a:pt x="2509082" y="4032200"/>
                  <a:pt x="2504292" y="4036990"/>
                  <a:pt x="2498345" y="4036990"/>
                </a:cubicBezTo>
                <a:cubicBezTo>
                  <a:pt x="2492399" y="4036990"/>
                  <a:pt x="2487609" y="4032200"/>
                  <a:pt x="2487609" y="4026253"/>
                </a:cubicBezTo>
                <a:cubicBezTo>
                  <a:pt x="2487609" y="4020307"/>
                  <a:pt x="2492399" y="4015517"/>
                  <a:pt x="2498345" y="4015517"/>
                </a:cubicBezTo>
                <a:close/>
                <a:moveTo>
                  <a:pt x="2949621" y="4014031"/>
                </a:moveTo>
                <a:cubicBezTo>
                  <a:pt x="2955567" y="4014031"/>
                  <a:pt x="2960359" y="4018821"/>
                  <a:pt x="2960359" y="4024767"/>
                </a:cubicBezTo>
                <a:cubicBezTo>
                  <a:pt x="2960359" y="4030714"/>
                  <a:pt x="2955567" y="4035504"/>
                  <a:pt x="2949621" y="4035504"/>
                </a:cubicBezTo>
                <a:cubicBezTo>
                  <a:pt x="2943674" y="4035504"/>
                  <a:pt x="2938884" y="4030714"/>
                  <a:pt x="2938884" y="4024767"/>
                </a:cubicBezTo>
                <a:cubicBezTo>
                  <a:pt x="2938884" y="4018821"/>
                  <a:pt x="2943674" y="4014031"/>
                  <a:pt x="2949621" y="4014031"/>
                </a:cubicBezTo>
                <a:close/>
                <a:moveTo>
                  <a:pt x="3074827" y="4011882"/>
                </a:moveTo>
                <a:cubicBezTo>
                  <a:pt x="3080774" y="4011882"/>
                  <a:pt x="3085565" y="4016672"/>
                  <a:pt x="3085565" y="4022619"/>
                </a:cubicBezTo>
                <a:cubicBezTo>
                  <a:pt x="3085565" y="4028565"/>
                  <a:pt x="3080774" y="4033357"/>
                  <a:pt x="3074827" y="4033357"/>
                </a:cubicBezTo>
                <a:cubicBezTo>
                  <a:pt x="3068881" y="4033357"/>
                  <a:pt x="3064091" y="4028565"/>
                  <a:pt x="3064091" y="4022619"/>
                </a:cubicBezTo>
                <a:cubicBezTo>
                  <a:pt x="3064091" y="4016672"/>
                  <a:pt x="3068881" y="4011882"/>
                  <a:pt x="3074827" y="4011882"/>
                </a:cubicBezTo>
                <a:close/>
                <a:moveTo>
                  <a:pt x="252211" y="4011553"/>
                </a:moveTo>
                <a:cubicBezTo>
                  <a:pt x="258157" y="4011553"/>
                  <a:pt x="262947" y="4016343"/>
                  <a:pt x="262947" y="4022289"/>
                </a:cubicBezTo>
                <a:cubicBezTo>
                  <a:pt x="262947" y="4028236"/>
                  <a:pt x="258157" y="4033025"/>
                  <a:pt x="252211" y="4033025"/>
                </a:cubicBezTo>
                <a:cubicBezTo>
                  <a:pt x="246264" y="4033025"/>
                  <a:pt x="241475" y="4028236"/>
                  <a:pt x="241475" y="4022289"/>
                </a:cubicBezTo>
                <a:cubicBezTo>
                  <a:pt x="241475" y="4016343"/>
                  <a:pt x="246264" y="4011553"/>
                  <a:pt x="252211" y="4011553"/>
                </a:cubicBezTo>
                <a:close/>
                <a:moveTo>
                  <a:pt x="3274037" y="4010892"/>
                </a:moveTo>
                <a:cubicBezTo>
                  <a:pt x="3279983" y="4010892"/>
                  <a:pt x="3284773" y="4015682"/>
                  <a:pt x="3284773" y="4021628"/>
                </a:cubicBezTo>
                <a:cubicBezTo>
                  <a:pt x="3284773" y="4027575"/>
                  <a:pt x="3279983" y="4032365"/>
                  <a:pt x="3274037" y="4032365"/>
                </a:cubicBezTo>
                <a:cubicBezTo>
                  <a:pt x="3268090" y="4032365"/>
                  <a:pt x="3263300" y="4027575"/>
                  <a:pt x="3263300" y="4021628"/>
                </a:cubicBezTo>
                <a:cubicBezTo>
                  <a:pt x="3263300" y="4015682"/>
                  <a:pt x="3268090" y="4010892"/>
                  <a:pt x="3274037" y="4010892"/>
                </a:cubicBezTo>
                <a:close/>
                <a:moveTo>
                  <a:pt x="332157" y="4010067"/>
                </a:moveTo>
                <a:cubicBezTo>
                  <a:pt x="338103" y="4010067"/>
                  <a:pt x="342895" y="4014856"/>
                  <a:pt x="342895" y="4020803"/>
                </a:cubicBezTo>
                <a:cubicBezTo>
                  <a:pt x="342895" y="4026749"/>
                  <a:pt x="338103" y="4031539"/>
                  <a:pt x="332157" y="4031539"/>
                </a:cubicBezTo>
                <a:cubicBezTo>
                  <a:pt x="326210" y="4031539"/>
                  <a:pt x="321421" y="4026749"/>
                  <a:pt x="321421" y="4020803"/>
                </a:cubicBezTo>
                <a:cubicBezTo>
                  <a:pt x="321421" y="4014856"/>
                  <a:pt x="326210" y="4010067"/>
                  <a:pt x="332157" y="4010067"/>
                </a:cubicBezTo>
                <a:close/>
                <a:moveTo>
                  <a:pt x="1823249" y="4007588"/>
                </a:moveTo>
                <a:cubicBezTo>
                  <a:pt x="1829195" y="4007588"/>
                  <a:pt x="1833987" y="4012378"/>
                  <a:pt x="1833987" y="4018325"/>
                </a:cubicBezTo>
                <a:cubicBezTo>
                  <a:pt x="1833987" y="4024271"/>
                  <a:pt x="1829195" y="4029063"/>
                  <a:pt x="1823249" y="4029063"/>
                </a:cubicBezTo>
                <a:cubicBezTo>
                  <a:pt x="1817302" y="4029063"/>
                  <a:pt x="1812513" y="4024271"/>
                  <a:pt x="1812513" y="4018325"/>
                </a:cubicBezTo>
                <a:cubicBezTo>
                  <a:pt x="1812513" y="4012378"/>
                  <a:pt x="1817302" y="4007588"/>
                  <a:pt x="1823249" y="4007588"/>
                </a:cubicBezTo>
                <a:close/>
                <a:moveTo>
                  <a:pt x="3343248" y="4006928"/>
                </a:moveTo>
                <a:cubicBezTo>
                  <a:pt x="3349195" y="4006928"/>
                  <a:pt x="3353985" y="4011717"/>
                  <a:pt x="3353985" y="4017664"/>
                </a:cubicBezTo>
                <a:cubicBezTo>
                  <a:pt x="3353985" y="4023611"/>
                  <a:pt x="3349195" y="4028400"/>
                  <a:pt x="3343248" y="4028400"/>
                </a:cubicBezTo>
                <a:cubicBezTo>
                  <a:pt x="3337302" y="4028400"/>
                  <a:pt x="3332512" y="4023611"/>
                  <a:pt x="3332512" y="4017664"/>
                </a:cubicBezTo>
                <a:cubicBezTo>
                  <a:pt x="3332512" y="4011717"/>
                  <a:pt x="3337302" y="4006928"/>
                  <a:pt x="3343248" y="4006928"/>
                </a:cubicBezTo>
                <a:close/>
                <a:moveTo>
                  <a:pt x="2804922" y="4006928"/>
                </a:moveTo>
                <a:cubicBezTo>
                  <a:pt x="2810868" y="4006928"/>
                  <a:pt x="2815660" y="4011717"/>
                  <a:pt x="2815660" y="4017664"/>
                </a:cubicBezTo>
                <a:cubicBezTo>
                  <a:pt x="2815660" y="4023611"/>
                  <a:pt x="2810868" y="4028400"/>
                  <a:pt x="2804922" y="4028400"/>
                </a:cubicBezTo>
                <a:cubicBezTo>
                  <a:pt x="2798975" y="4028400"/>
                  <a:pt x="2794185" y="4023611"/>
                  <a:pt x="2794185" y="4017664"/>
                </a:cubicBezTo>
                <a:cubicBezTo>
                  <a:pt x="2794185" y="4011717"/>
                  <a:pt x="2798975" y="4006928"/>
                  <a:pt x="2804922" y="4006928"/>
                </a:cubicBezTo>
                <a:close/>
                <a:moveTo>
                  <a:pt x="1662859" y="4006102"/>
                </a:moveTo>
                <a:cubicBezTo>
                  <a:pt x="1668806" y="4006102"/>
                  <a:pt x="1673597" y="4010892"/>
                  <a:pt x="1673597" y="4016839"/>
                </a:cubicBezTo>
                <a:cubicBezTo>
                  <a:pt x="1673597" y="4022785"/>
                  <a:pt x="1668806" y="4027577"/>
                  <a:pt x="1662859" y="4027577"/>
                </a:cubicBezTo>
                <a:cubicBezTo>
                  <a:pt x="1656913" y="4027577"/>
                  <a:pt x="1652123" y="4022785"/>
                  <a:pt x="1652123" y="4016839"/>
                </a:cubicBezTo>
                <a:cubicBezTo>
                  <a:pt x="1652123" y="4010892"/>
                  <a:pt x="1656913" y="4006102"/>
                  <a:pt x="1662859" y="4006102"/>
                </a:cubicBezTo>
                <a:close/>
                <a:moveTo>
                  <a:pt x="191424" y="4003624"/>
                </a:moveTo>
                <a:cubicBezTo>
                  <a:pt x="197371" y="4003624"/>
                  <a:pt x="202160" y="4008414"/>
                  <a:pt x="202160" y="4014360"/>
                </a:cubicBezTo>
                <a:lnTo>
                  <a:pt x="198692" y="4017830"/>
                </a:lnTo>
                <a:lnTo>
                  <a:pt x="209262" y="4028400"/>
                </a:lnTo>
                <a:lnTo>
                  <a:pt x="206619" y="4031043"/>
                </a:lnTo>
                <a:lnTo>
                  <a:pt x="216365" y="4040789"/>
                </a:lnTo>
                <a:lnTo>
                  <a:pt x="214218" y="4042936"/>
                </a:lnTo>
                <a:lnTo>
                  <a:pt x="223305" y="4052022"/>
                </a:lnTo>
                <a:lnTo>
                  <a:pt x="221488" y="4053839"/>
                </a:lnTo>
                <a:lnTo>
                  <a:pt x="229911" y="4062262"/>
                </a:lnTo>
                <a:lnTo>
                  <a:pt x="228177" y="4063998"/>
                </a:lnTo>
                <a:lnTo>
                  <a:pt x="236189" y="4072008"/>
                </a:lnTo>
                <a:lnTo>
                  <a:pt x="234207" y="4073992"/>
                </a:lnTo>
                <a:lnTo>
                  <a:pt x="241804" y="4081590"/>
                </a:lnTo>
                <a:lnTo>
                  <a:pt x="239574" y="4083820"/>
                </a:lnTo>
                <a:lnTo>
                  <a:pt x="246760" y="4091004"/>
                </a:lnTo>
                <a:lnTo>
                  <a:pt x="244034" y="4093731"/>
                </a:lnTo>
                <a:lnTo>
                  <a:pt x="251054" y="4100751"/>
                </a:lnTo>
                <a:lnTo>
                  <a:pt x="247750" y="4104054"/>
                </a:lnTo>
                <a:lnTo>
                  <a:pt x="254524" y="4110826"/>
                </a:lnTo>
                <a:lnTo>
                  <a:pt x="250477" y="4114874"/>
                </a:lnTo>
                <a:lnTo>
                  <a:pt x="257165" y="4121563"/>
                </a:lnTo>
                <a:lnTo>
                  <a:pt x="252211" y="4126519"/>
                </a:lnTo>
                <a:lnTo>
                  <a:pt x="258653" y="4132960"/>
                </a:lnTo>
                <a:cubicBezTo>
                  <a:pt x="258653" y="4138906"/>
                  <a:pt x="253862" y="4143698"/>
                  <a:pt x="247915" y="4143698"/>
                </a:cubicBezTo>
                <a:cubicBezTo>
                  <a:pt x="241969" y="4143698"/>
                  <a:pt x="237179" y="4138906"/>
                  <a:pt x="237179" y="4132960"/>
                </a:cubicBezTo>
                <a:lnTo>
                  <a:pt x="242133" y="4128005"/>
                </a:lnTo>
                <a:lnTo>
                  <a:pt x="235693" y="4121563"/>
                </a:lnTo>
                <a:lnTo>
                  <a:pt x="239739" y="4117517"/>
                </a:lnTo>
                <a:lnTo>
                  <a:pt x="233050" y="4110826"/>
                </a:lnTo>
                <a:lnTo>
                  <a:pt x="236353" y="4107523"/>
                </a:lnTo>
                <a:lnTo>
                  <a:pt x="229581" y="4100751"/>
                </a:lnTo>
                <a:lnTo>
                  <a:pt x="232308" y="4098026"/>
                </a:lnTo>
                <a:lnTo>
                  <a:pt x="225286" y="4091004"/>
                </a:lnTo>
                <a:lnTo>
                  <a:pt x="227516" y="4088774"/>
                </a:lnTo>
                <a:lnTo>
                  <a:pt x="220331" y="4081590"/>
                </a:lnTo>
                <a:lnTo>
                  <a:pt x="222313" y="4079609"/>
                </a:lnTo>
                <a:lnTo>
                  <a:pt x="214714" y="4072008"/>
                </a:lnTo>
                <a:lnTo>
                  <a:pt x="216448" y="4070274"/>
                </a:lnTo>
                <a:lnTo>
                  <a:pt x="208438" y="4062262"/>
                </a:lnTo>
                <a:lnTo>
                  <a:pt x="210254" y="4060446"/>
                </a:lnTo>
                <a:lnTo>
                  <a:pt x="201831" y="4052022"/>
                </a:lnTo>
                <a:lnTo>
                  <a:pt x="203978" y="4049875"/>
                </a:lnTo>
                <a:lnTo>
                  <a:pt x="194892" y="4040789"/>
                </a:lnTo>
                <a:lnTo>
                  <a:pt x="197535" y="4038146"/>
                </a:lnTo>
                <a:lnTo>
                  <a:pt x="187789" y="4028400"/>
                </a:lnTo>
                <a:lnTo>
                  <a:pt x="191258" y="4024932"/>
                </a:lnTo>
                <a:lnTo>
                  <a:pt x="180688" y="4014360"/>
                </a:lnTo>
                <a:cubicBezTo>
                  <a:pt x="180688" y="4008414"/>
                  <a:pt x="185478" y="4003624"/>
                  <a:pt x="191424" y="4003624"/>
                </a:cubicBezTo>
                <a:close/>
                <a:moveTo>
                  <a:pt x="996352" y="4003295"/>
                </a:moveTo>
                <a:cubicBezTo>
                  <a:pt x="1002299" y="4003295"/>
                  <a:pt x="1007090" y="4008084"/>
                  <a:pt x="1007090" y="4014031"/>
                </a:cubicBezTo>
                <a:cubicBezTo>
                  <a:pt x="1007090" y="4019977"/>
                  <a:pt x="1002299" y="4024767"/>
                  <a:pt x="996352" y="4024767"/>
                </a:cubicBezTo>
                <a:cubicBezTo>
                  <a:pt x="990406" y="4024767"/>
                  <a:pt x="985616" y="4019977"/>
                  <a:pt x="985616" y="4014031"/>
                </a:cubicBezTo>
                <a:cubicBezTo>
                  <a:pt x="985616" y="4008084"/>
                  <a:pt x="990406" y="4003295"/>
                  <a:pt x="996352" y="4003295"/>
                </a:cubicBezTo>
                <a:close/>
                <a:moveTo>
                  <a:pt x="1983144" y="4002963"/>
                </a:moveTo>
                <a:cubicBezTo>
                  <a:pt x="1989091" y="4002963"/>
                  <a:pt x="1993882" y="4007753"/>
                  <a:pt x="1993882" y="4013700"/>
                </a:cubicBezTo>
                <a:cubicBezTo>
                  <a:pt x="1993882" y="4019646"/>
                  <a:pt x="1989091" y="4024438"/>
                  <a:pt x="1983144" y="4024438"/>
                </a:cubicBezTo>
                <a:cubicBezTo>
                  <a:pt x="1977198" y="4024438"/>
                  <a:pt x="1972408" y="4019646"/>
                  <a:pt x="1972408" y="4013700"/>
                </a:cubicBezTo>
                <a:cubicBezTo>
                  <a:pt x="1972408" y="4007753"/>
                  <a:pt x="1977198" y="4002963"/>
                  <a:pt x="1983144" y="4002963"/>
                </a:cubicBezTo>
                <a:close/>
                <a:moveTo>
                  <a:pt x="3182361" y="4002467"/>
                </a:moveTo>
                <a:cubicBezTo>
                  <a:pt x="3188307" y="4002467"/>
                  <a:pt x="3193099" y="4007257"/>
                  <a:pt x="3193099" y="4013204"/>
                </a:cubicBezTo>
                <a:cubicBezTo>
                  <a:pt x="3193099" y="4019150"/>
                  <a:pt x="3188307" y="4023942"/>
                  <a:pt x="3182361" y="4023942"/>
                </a:cubicBezTo>
                <a:cubicBezTo>
                  <a:pt x="3176414" y="4023942"/>
                  <a:pt x="3171624" y="4019150"/>
                  <a:pt x="3171624" y="4013204"/>
                </a:cubicBezTo>
                <a:cubicBezTo>
                  <a:pt x="3171624" y="4007257"/>
                  <a:pt x="3176414" y="4002467"/>
                  <a:pt x="3182361" y="4002467"/>
                </a:cubicBezTo>
                <a:close/>
                <a:moveTo>
                  <a:pt x="1503458" y="3998999"/>
                </a:moveTo>
                <a:cubicBezTo>
                  <a:pt x="1509404" y="3998999"/>
                  <a:pt x="1514196" y="4003789"/>
                  <a:pt x="1514196" y="4009735"/>
                </a:cubicBezTo>
                <a:cubicBezTo>
                  <a:pt x="1514196" y="4015682"/>
                  <a:pt x="1509404" y="4020472"/>
                  <a:pt x="1503458" y="4020472"/>
                </a:cubicBezTo>
                <a:cubicBezTo>
                  <a:pt x="1497511" y="4020472"/>
                  <a:pt x="1492722" y="4015682"/>
                  <a:pt x="1492722" y="4009735"/>
                </a:cubicBezTo>
                <a:cubicBezTo>
                  <a:pt x="1492722" y="4003789"/>
                  <a:pt x="1497511" y="3998999"/>
                  <a:pt x="1503458" y="3998999"/>
                </a:cubicBezTo>
                <a:close/>
                <a:moveTo>
                  <a:pt x="3396271" y="3996356"/>
                </a:moveTo>
                <a:cubicBezTo>
                  <a:pt x="3402218" y="3996356"/>
                  <a:pt x="3407007" y="4001146"/>
                  <a:pt x="3407007" y="4007092"/>
                </a:cubicBezTo>
                <a:lnTo>
                  <a:pt x="3396437" y="4017664"/>
                </a:lnTo>
                <a:lnTo>
                  <a:pt x="3398916" y="4020142"/>
                </a:lnTo>
                <a:lnTo>
                  <a:pt x="3389086" y="4029970"/>
                </a:lnTo>
                <a:lnTo>
                  <a:pt x="3390985" y="4031869"/>
                </a:lnTo>
                <a:lnTo>
                  <a:pt x="3381735" y="4041121"/>
                </a:lnTo>
                <a:lnTo>
                  <a:pt x="3383552" y="4042936"/>
                </a:lnTo>
                <a:lnTo>
                  <a:pt x="3374880" y="4051609"/>
                </a:lnTo>
                <a:lnTo>
                  <a:pt x="3376614" y="4053343"/>
                </a:lnTo>
                <a:lnTo>
                  <a:pt x="3368439" y="4061520"/>
                </a:lnTo>
                <a:lnTo>
                  <a:pt x="3370338" y="4063419"/>
                </a:lnTo>
                <a:lnTo>
                  <a:pt x="3362326" y="4071431"/>
                </a:lnTo>
                <a:lnTo>
                  <a:pt x="3364556" y="4073661"/>
                </a:lnTo>
                <a:lnTo>
                  <a:pt x="3356959" y="4081260"/>
                </a:lnTo>
                <a:lnTo>
                  <a:pt x="3359766" y="4084066"/>
                </a:lnTo>
                <a:lnTo>
                  <a:pt x="3352415" y="4091417"/>
                </a:lnTo>
                <a:lnTo>
                  <a:pt x="3355802" y="4094804"/>
                </a:lnTo>
                <a:lnTo>
                  <a:pt x="3348617" y="4101991"/>
                </a:lnTo>
                <a:lnTo>
                  <a:pt x="3352828" y="4106201"/>
                </a:lnTo>
                <a:lnTo>
                  <a:pt x="3345643" y="4113388"/>
                </a:lnTo>
                <a:lnTo>
                  <a:pt x="3350846" y="4118590"/>
                </a:lnTo>
                <a:lnTo>
                  <a:pt x="3343827" y="4125610"/>
                </a:lnTo>
                <a:lnTo>
                  <a:pt x="3350022" y="4131805"/>
                </a:lnTo>
                <a:lnTo>
                  <a:pt x="3342917" y="4138908"/>
                </a:lnTo>
                <a:lnTo>
                  <a:pt x="3350020" y="4146011"/>
                </a:lnTo>
                <a:cubicBezTo>
                  <a:pt x="3350020" y="4151850"/>
                  <a:pt x="3345288" y="4156583"/>
                  <a:pt x="3339449" y="4156583"/>
                </a:cubicBezTo>
                <a:cubicBezTo>
                  <a:pt x="3333610" y="4156583"/>
                  <a:pt x="3328877" y="4151850"/>
                  <a:pt x="3328877" y="4146011"/>
                </a:cubicBezTo>
                <a:lnTo>
                  <a:pt x="3335816" y="4139073"/>
                </a:lnTo>
                <a:lnTo>
                  <a:pt x="3328548" y="4131805"/>
                </a:lnTo>
                <a:lnTo>
                  <a:pt x="3335568" y="4124786"/>
                </a:lnTo>
                <a:lnTo>
                  <a:pt x="3329373" y="4118590"/>
                </a:lnTo>
                <a:lnTo>
                  <a:pt x="3336558" y="4111405"/>
                </a:lnTo>
                <a:lnTo>
                  <a:pt x="3331355" y="4106201"/>
                </a:lnTo>
                <a:lnTo>
                  <a:pt x="3338540" y="4099016"/>
                </a:lnTo>
                <a:lnTo>
                  <a:pt x="3334329" y="4094804"/>
                </a:lnTo>
                <a:lnTo>
                  <a:pt x="3341681" y="4087455"/>
                </a:lnTo>
                <a:lnTo>
                  <a:pt x="3338292" y="4084066"/>
                </a:lnTo>
                <a:lnTo>
                  <a:pt x="3345889" y="4076469"/>
                </a:lnTo>
                <a:lnTo>
                  <a:pt x="3343084" y="4073661"/>
                </a:lnTo>
                <a:lnTo>
                  <a:pt x="3351095" y="4065649"/>
                </a:lnTo>
                <a:lnTo>
                  <a:pt x="3348865" y="4063419"/>
                </a:lnTo>
                <a:lnTo>
                  <a:pt x="3357040" y="4055244"/>
                </a:lnTo>
                <a:lnTo>
                  <a:pt x="3355141" y="4053343"/>
                </a:lnTo>
                <a:lnTo>
                  <a:pt x="3363814" y="4044672"/>
                </a:lnTo>
                <a:lnTo>
                  <a:pt x="3362078" y="4042936"/>
                </a:lnTo>
                <a:lnTo>
                  <a:pt x="3371328" y="4033686"/>
                </a:lnTo>
                <a:lnTo>
                  <a:pt x="3369513" y="4031869"/>
                </a:lnTo>
                <a:lnTo>
                  <a:pt x="3379340" y="4022041"/>
                </a:lnTo>
                <a:lnTo>
                  <a:pt x="3377441" y="4020142"/>
                </a:lnTo>
                <a:lnTo>
                  <a:pt x="3388013" y="4009571"/>
                </a:lnTo>
                <a:lnTo>
                  <a:pt x="3385535" y="4007092"/>
                </a:lnTo>
                <a:cubicBezTo>
                  <a:pt x="3385535" y="4001146"/>
                  <a:pt x="3390324" y="3996356"/>
                  <a:pt x="3396271" y="3996356"/>
                </a:cubicBezTo>
                <a:close/>
                <a:moveTo>
                  <a:pt x="558125" y="3996356"/>
                </a:moveTo>
                <a:cubicBezTo>
                  <a:pt x="564071" y="3996356"/>
                  <a:pt x="568863" y="4001146"/>
                  <a:pt x="568863" y="4007092"/>
                </a:cubicBezTo>
                <a:cubicBezTo>
                  <a:pt x="568863" y="4013039"/>
                  <a:pt x="564071" y="4017830"/>
                  <a:pt x="558125" y="4017830"/>
                </a:cubicBezTo>
                <a:cubicBezTo>
                  <a:pt x="552178" y="4017830"/>
                  <a:pt x="547389" y="4013039"/>
                  <a:pt x="547389" y="4007092"/>
                </a:cubicBezTo>
                <a:cubicBezTo>
                  <a:pt x="547389" y="4001146"/>
                  <a:pt x="552178" y="3996356"/>
                  <a:pt x="558125" y="3996356"/>
                </a:cubicBezTo>
                <a:close/>
                <a:moveTo>
                  <a:pt x="438039" y="3993052"/>
                </a:moveTo>
                <a:cubicBezTo>
                  <a:pt x="443986" y="3993052"/>
                  <a:pt x="448776" y="3997842"/>
                  <a:pt x="448776" y="4003789"/>
                </a:cubicBezTo>
                <a:cubicBezTo>
                  <a:pt x="448776" y="4009735"/>
                  <a:pt x="443986" y="4014525"/>
                  <a:pt x="438039" y="4014525"/>
                </a:cubicBezTo>
                <a:cubicBezTo>
                  <a:pt x="432093" y="4014525"/>
                  <a:pt x="427303" y="4009735"/>
                  <a:pt x="427303" y="4003789"/>
                </a:cubicBezTo>
                <a:cubicBezTo>
                  <a:pt x="427303" y="3997842"/>
                  <a:pt x="432093" y="3993052"/>
                  <a:pt x="438039" y="3993052"/>
                </a:cubicBezTo>
                <a:close/>
                <a:moveTo>
                  <a:pt x="2141718" y="3992721"/>
                </a:moveTo>
                <a:cubicBezTo>
                  <a:pt x="2147665" y="3992721"/>
                  <a:pt x="2152457" y="3997511"/>
                  <a:pt x="2152457" y="4003458"/>
                </a:cubicBezTo>
                <a:cubicBezTo>
                  <a:pt x="2152457" y="4009404"/>
                  <a:pt x="2147665" y="4014196"/>
                  <a:pt x="2141718" y="4014196"/>
                </a:cubicBezTo>
                <a:cubicBezTo>
                  <a:pt x="2135772" y="4014196"/>
                  <a:pt x="2130982" y="4009404"/>
                  <a:pt x="2130982" y="4003458"/>
                </a:cubicBezTo>
                <a:cubicBezTo>
                  <a:pt x="2130982" y="3997511"/>
                  <a:pt x="2135772" y="3992721"/>
                  <a:pt x="2141718" y="3992721"/>
                </a:cubicBezTo>
                <a:close/>
                <a:moveTo>
                  <a:pt x="144181" y="3991401"/>
                </a:moveTo>
                <a:cubicBezTo>
                  <a:pt x="150128" y="3991401"/>
                  <a:pt x="154918" y="3996191"/>
                  <a:pt x="154918" y="4002138"/>
                </a:cubicBezTo>
                <a:lnTo>
                  <a:pt x="153019" y="4004037"/>
                </a:lnTo>
                <a:lnTo>
                  <a:pt x="163509" y="4014525"/>
                </a:lnTo>
                <a:lnTo>
                  <a:pt x="161773" y="4016261"/>
                </a:lnTo>
                <a:lnTo>
                  <a:pt x="171601" y="4026089"/>
                </a:lnTo>
                <a:lnTo>
                  <a:pt x="169950" y="4027740"/>
                </a:lnTo>
                <a:lnTo>
                  <a:pt x="179200" y="4036990"/>
                </a:lnTo>
                <a:lnTo>
                  <a:pt x="177301" y="4038890"/>
                </a:lnTo>
                <a:lnTo>
                  <a:pt x="186138" y="4047726"/>
                </a:lnTo>
                <a:lnTo>
                  <a:pt x="183743" y="4050123"/>
                </a:lnTo>
                <a:lnTo>
                  <a:pt x="192250" y="4058629"/>
                </a:lnTo>
                <a:lnTo>
                  <a:pt x="189442" y="4061437"/>
                </a:lnTo>
                <a:lnTo>
                  <a:pt x="197535" y="4069530"/>
                </a:lnTo>
                <a:lnTo>
                  <a:pt x="193984" y="4073083"/>
                </a:lnTo>
                <a:lnTo>
                  <a:pt x="201831" y="4080929"/>
                </a:lnTo>
                <a:lnTo>
                  <a:pt x="197371" y="4085389"/>
                </a:lnTo>
                <a:lnTo>
                  <a:pt x="205133" y="4093151"/>
                </a:lnTo>
                <a:lnTo>
                  <a:pt x="197452" y="4100834"/>
                </a:lnTo>
                <a:lnTo>
                  <a:pt x="202492" y="4105872"/>
                </a:lnTo>
                <a:cubicBezTo>
                  <a:pt x="202492" y="4109064"/>
                  <a:pt x="199903" y="4111653"/>
                  <a:pt x="196710" y="4111653"/>
                </a:cubicBezTo>
                <a:cubicBezTo>
                  <a:pt x="193517" y="4111653"/>
                  <a:pt x="190928" y="4109064"/>
                  <a:pt x="190928" y="4105872"/>
                </a:cubicBezTo>
                <a:lnTo>
                  <a:pt x="193654" y="4103147"/>
                </a:lnTo>
                <a:lnTo>
                  <a:pt x="183660" y="4093151"/>
                </a:lnTo>
                <a:lnTo>
                  <a:pt x="188119" y="4088693"/>
                </a:lnTo>
                <a:lnTo>
                  <a:pt x="180357" y="4080929"/>
                </a:lnTo>
                <a:lnTo>
                  <a:pt x="183908" y="4077377"/>
                </a:lnTo>
                <a:lnTo>
                  <a:pt x="176063" y="4069530"/>
                </a:lnTo>
                <a:lnTo>
                  <a:pt x="178870" y="4066724"/>
                </a:lnTo>
                <a:lnTo>
                  <a:pt x="170777" y="4058629"/>
                </a:lnTo>
                <a:lnTo>
                  <a:pt x="173172" y="4056236"/>
                </a:lnTo>
                <a:lnTo>
                  <a:pt x="164664" y="4047726"/>
                </a:lnTo>
                <a:lnTo>
                  <a:pt x="166563" y="4045827"/>
                </a:lnTo>
                <a:lnTo>
                  <a:pt x="157727" y="4036990"/>
                </a:lnTo>
                <a:lnTo>
                  <a:pt x="159378" y="4035341"/>
                </a:lnTo>
                <a:lnTo>
                  <a:pt x="150128" y="4026089"/>
                </a:lnTo>
                <a:lnTo>
                  <a:pt x="151864" y="4024354"/>
                </a:lnTo>
                <a:lnTo>
                  <a:pt x="142035" y="4014525"/>
                </a:lnTo>
                <a:lnTo>
                  <a:pt x="143933" y="4012626"/>
                </a:lnTo>
                <a:lnTo>
                  <a:pt x="133445" y="4002138"/>
                </a:lnTo>
                <a:cubicBezTo>
                  <a:pt x="133445" y="3996191"/>
                  <a:pt x="138235" y="3991401"/>
                  <a:pt x="144181" y="3991401"/>
                </a:cubicBezTo>
                <a:close/>
                <a:moveTo>
                  <a:pt x="249072" y="3991235"/>
                </a:moveTo>
                <a:cubicBezTo>
                  <a:pt x="255019" y="3991235"/>
                  <a:pt x="259810" y="3996025"/>
                  <a:pt x="259810" y="4001971"/>
                </a:cubicBezTo>
                <a:cubicBezTo>
                  <a:pt x="259810" y="4007918"/>
                  <a:pt x="255019" y="4012709"/>
                  <a:pt x="249072" y="4012709"/>
                </a:cubicBezTo>
                <a:cubicBezTo>
                  <a:pt x="243125" y="4012709"/>
                  <a:pt x="238336" y="4007918"/>
                  <a:pt x="238336" y="4001971"/>
                </a:cubicBezTo>
                <a:cubicBezTo>
                  <a:pt x="238336" y="3996025"/>
                  <a:pt x="243125" y="3991235"/>
                  <a:pt x="249072" y="3991235"/>
                </a:cubicBezTo>
                <a:close/>
                <a:moveTo>
                  <a:pt x="697540" y="3990739"/>
                </a:moveTo>
                <a:cubicBezTo>
                  <a:pt x="703486" y="3990739"/>
                  <a:pt x="708276" y="3995529"/>
                  <a:pt x="708276" y="4001475"/>
                </a:cubicBezTo>
                <a:cubicBezTo>
                  <a:pt x="708276" y="4007422"/>
                  <a:pt x="703486" y="4012212"/>
                  <a:pt x="697540" y="4012212"/>
                </a:cubicBezTo>
                <a:cubicBezTo>
                  <a:pt x="691593" y="4012212"/>
                  <a:pt x="686803" y="4007422"/>
                  <a:pt x="686803" y="4001475"/>
                </a:cubicBezTo>
                <a:cubicBezTo>
                  <a:pt x="686803" y="3995529"/>
                  <a:pt x="691593" y="3990739"/>
                  <a:pt x="697540" y="3990739"/>
                </a:cubicBezTo>
                <a:close/>
                <a:moveTo>
                  <a:pt x="3348534" y="3989088"/>
                </a:moveTo>
                <a:cubicBezTo>
                  <a:pt x="3354481" y="3989088"/>
                  <a:pt x="3359272" y="3993878"/>
                  <a:pt x="3359272" y="3999824"/>
                </a:cubicBezTo>
                <a:cubicBezTo>
                  <a:pt x="3359272" y="4005771"/>
                  <a:pt x="3354481" y="4010562"/>
                  <a:pt x="3348534" y="4010562"/>
                </a:cubicBezTo>
                <a:cubicBezTo>
                  <a:pt x="3342588" y="4010562"/>
                  <a:pt x="3337798" y="4005771"/>
                  <a:pt x="3337798" y="3999824"/>
                </a:cubicBezTo>
                <a:cubicBezTo>
                  <a:pt x="3337798" y="3993878"/>
                  <a:pt x="3342588" y="3989088"/>
                  <a:pt x="3348534" y="3989088"/>
                </a:cubicBezTo>
                <a:close/>
                <a:moveTo>
                  <a:pt x="2638750" y="3988263"/>
                </a:moveTo>
                <a:cubicBezTo>
                  <a:pt x="2644697" y="3988263"/>
                  <a:pt x="2649487" y="3993052"/>
                  <a:pt x="2649487" y="3998999"/>
                </a:cubicBezTo>
                <a:cubicBezTo>
                  <a:pt x="2649487" y="4004945"/>
                  <a:pt x="2644697" y="4009735"/>
                  <a:pt x="2638750" y="4009735"/>
                </a:cubicBezTo>
                <a:cubicBezTo>
                  <a:pt x="2632804" y="4009735"/>
                  <a:pt x="2628014" y="4004945"/>
                  <a:pt x="2628014" y="3998999"/>
                </a:cubicBezTo>
                <a:cubicBezTo>
                  <a:pt x="2628014" y="3993052"/>
                  <a:pt x="2632804" y="3988263"/>
                  <a:pt x="2638750" y="3988263"/>
                </a:cubicBezTo>
                <a:close/>
                <a:moveTo>
                  <a:pt x="184486" y="3987767"/>
                </a:moveTo>
                <a:cubicBezTo>
                  <a:pt x="190432" y="3987767"/>
                  <a:pt x="195222" y="3992556"/>
                  <a:pt x="195222" y="3998503"/>
                </a:cubicBezTo>
                <a:cubicBezTo>
                  <a:pt x="195222" y="4004449"/>
                  <a:pt x="190432" y="4009239"/>
                  <a:pt x="184486" y="4009239"/>
                </a:cubicBezTo>
                <a:cubicBezTo>
                  <a:pt x="178539" y="4009239"/>
                  <a:pt x="173749" y="4004449"/>
                  <a:pt x="173749" y="3998503"/>
                </a:cubicBezTo>
                <a:cubicBezTo>
                  <a:pt x="173749" y="3992556"/>
                  <a:pt x="178539" y="3987767"/>
                  <a:pt x="184486" y="3987767"/>
                </a:cubicBezTo>
                <a:close/>
                <a:moveTo>
                  <a:pt x="3274533" y="3987435"/>
                </a:moveTo>
                <a:cubicBezTo>
                  <a:pt x="3280479" y="3987435"/>
                  <a:pt x="3285269" y="3992225"/>
                  <a:pt x="3285269" y="3998172"/>
                </a:cubicBezTo>
                <a:cubicBezTo>
                  <a:pt x="3285269" y="4004118"/>
                  <a:pt x="3280479" y="4008910"/>
                  <a:pt x="3274533" y="4008910"/>
                </a:cubicBezTo>
                <a:cubicBezTo>
                  <a:pt x="3268586" y="4008910"/>
                  <a:pt x="3263796" y="4004118"/>
                  <a:pt x="3263796" y="3998172"/>
                </a:cubicBezTo>
                <a:cubicBezTo>
                  <a:pt x="3263796" y="3992225"/>
                  <a:pt x="3268586" y="3987435"/>
                  <a:pt x="3274533" y="3987435"/>
                </a:cubicBezTo>
                <a:close/>
                <a:moveTo>
                  <a:pt x="1346041" y="3985949"/>
                </a:moveTo>
                <a:cubicBezTo>
                  <a:pt x="1351987" y="3985949"/>
                  <a:pt x="1356779" y="3990739"/>
                  <a:pt x="1356779" y="3996686"/>
                </a:cubicBezTo>
                <a:cubicBezTo>
                  <a:pt x="1356779" y="4002632"/>
                  <a:pt x="1351987" y="4007424"/>
                  <a:pt x="1346041" y="4007424"/>
                </a:cubicBezTo>
                <a:cubicBezTo>
                  <a:pt x="1340094" y="4007424"/>
                  <a:pt x="1335304" y="4002632"/>
                  <a:pt x="1335304" y="3996686"/>
                </a:cubicBezTo>
                <a:cubicBezTo>
                  <a:pt x="1335304" y="3990739"/>
                  <a:pt x="1340094" y="3985949"/>
                  <a:pt x="1346041" y="3985949"/>
                </a:cubicBezTo>
                <a:close/>
                <a:moveTo>
                  <a:pt x="3537831" y="3983802"/>
                </a:moveTo>
                <a:cubicBezTo>
                  <a:pt x="3543777" y="3983802"/>
                  <a:pt x="3548567" y="3988592"/>
                  <a:pt x="3548567" y="3994539"/>
                </a:cubicBezTo>
                <a:lnTo>
                  <a:pt x="3537914" y="4005193"/>
                </a:lnTo>
                <a:lnTo>
                  <a:pt x="3545101" y="4012378"/>
                </a:lnTo>
                <a:cubicBezTo>
                  <a:pt x="3545101" y="4018307"/>
                  <a:pt x="3540294" y="4023115"/>
                  <a:pt x="3534363" y="4023115"/>
                </a:cubicBezTo>
                <a:cubicBezTo>
                  <a:pt x="3528433" y="4023115"/>
                  <a:pt x="3523626" y="4018307"/>
                  <a:pt x="3523626" y="4012378"/>
                </a:cubicBezTo>
                <a:lnTo>
                  <a:pt x="3534281" y="4001725"/>
                </a:lnTo>
                <a:lnTo>
                  <a:pt x="3527095" y="3994539"/>
                </a:lnTo>
                <a:cubicBezTo>
                  <a:pt x="3527095" y="3988592"/>
                  <a:pt x="3531884" y="3983802"/>
                  <a:pt x="3537831" y="3983802"/>
                </a:cubicBezTo>
                <a:close/>
                <a:moveTo>
                  <a:pt x="3438557" y="3983638"/>
                </a:moveTo>
                <a:cubicBezTo>
                  <a:pt x="3444504" y="3983638"/>
                  <a:pt x="3449294" y="3988427"/>
                  <a:pt x="3449294" y="3994374"/>
                </a:cubicBezTo>
                <a:lnTo>
                  <a:pt x="3438722" y="4004945"/>
                </a:lnTo>
                <a:lnTo>
                  <a:pt x="3440375" y="4006596"/>
                </a:lnTo>
                <a:lnTo>
                  <a:pt x="3430381" y="4016591"/>
                </a:lnTo>
                <a:lnTo>
                  <a:pt x="3432117" y="4018325"/>
                </a:lnTo>
                <a:lnTo>
                  <a:pt x="3422700" y="4027741"/>
                </a:lnTo>
                <a:lnTo>
                  <a:pt x="3424682" y="4029722"/>
                </a:lnTo>
                <a:lnTo>
                  <a:pt x="3415599" y="4038807"/>
                </a:lnTo>
                <a:lnTo>
                  <a:pt x="3418077" y="4041285"/>
                </a:lnTo>
                <a:lnTo>
                  <a:pt x="3409404" y="4049958"/>
                </a:lnTo>
                <a:lnTo>
                  <a:pt x="3412293" y="4052847"/>
                </a:lnTo>
                <a:lnTo>
                  <a:pt x="3403868" y="4061272"/>
                </a:lnTo>
                <a:lnTo>
                  <a:pt x="3407668" y="4065071"/>
                </a:lnTo>
                <a:lnTo>
                  <a:pt x="3399327" y="4073413"/>
                </a:lnTo>
                <a:lnTo>
                  <a:pt x="3403868" y="4077955"/>
                </a:lnTo>
                <a:lnTo>
                  <a:pt x="3395775" y="4086048"/>
                </a:lnTo>
                <a:lnTo>
                  <a:pt x="3401392" y="4091665"/>
                </a:lnTo>
                <a:lnTo>
                  <a:pt x="3393463" y="4099596"/>
                </a:lnTo>
                <a:lnTo>
                  <a:pt x="3400071" y="4106201"/>
                </a:lnTo>
                <a:lnTo>
                  <a:pt x="3389582" y="4116690"/>
                </a:lnTo>
                <a:lnTo>
                  <a:pt x="3394787" y="4121894"/>
                </a:lnTo>
                <a:cubicBezTo>
                  <a:pt x="3394787" y="4125086"/>
                  <a:pt x="3392197" y="4127676"/>
                  <a:pt x="3389005" y="4127676"/>
                </a:cubicBezTo>
                <a:cubicBezTo>
                  <a:pt x="3385812" y="4127676"/>
                  <a:pt x="3383223" y="4125086"/>
                  <a:pt x="3383223" y="4121894"/>
                </a:cubicBezTo>
                <a:lnTo>
                  <a:pt x="3388755" y="4116362"/>
                </a:lnTo>
                <a:lnTo>
                  <a:pt x="3378596" y="4106201"/>
                </a:lnTo>
                <a:lnTo>
                  <a:pt x="3386525" y="4098272"/>
                </a:lnTo>
                <a:lnTo>
                  <a:pt x="3379919" y="4091665"/>
                </a:lnTo>
                <a:lnTo>
                  <a:pt x="3388013" y="4083572"/>
                </a:lnTo>
                <a:lnTo>
                  <a:pt x="3382396" y="4077955"/>
                </a:lnTo>
                <a:lnTo>
                  <a:pt x="3390737" y="4069613"/>
                </a:lnTo>
                <a:lnTo>
                  <a:pt x="3386195" y="4065071"/>
                </a:lnTo>
                <a:lnTo>
                  <a:pt x="3394620" y="4056647"/>
                </a:lnTo>
                <a:lnTo>
                  <a:pt x="3390820" y="4052847"/>
                </a:lnTo>
                <a:lnTo>
                  <a:pt x="3399493" y="4044176"/>
                </a:lnTo>
                <a:lnTo>
                  <a:pt x="3396602" y="4041285"/>
                </a:lnTo>
                <a:lnTo>
                  <a:pt x="3405688" y="4032200"/>
                </a:lnTo>
                <a:lnTo>
                  <a:pt x="3403209" y="4029722"/>
                </a:lnTo>
                <a:lnTo>
                  <a:pt x="3412624" y="4020307"/>
                </a:lnTo>
                <a:lnTo>
                  <a:pt x="3410642" y="4018325"/>
                </a:lnTo>
                <a:lnTo>
                  <a:pt x="3420635" y="4008332"/>
                </a:lnTo>
                <a:lnTo>
                  <a:pt x="3418900" y="4006596"/>
                </a:lnTo>
                <a:lnTo>
                  <a:pt x="3429472" y="3996025"/>
                </a:lnTo>
                <a:lnTo>
                  <a:pt x="3427821" y="3994374"/>
                </a:lnTo>
                <a:cubicBezTo>
                  <a:pt x="3427821" y="3988427"/>
                  <a:pt x="3432611" y="3983638"/>
                  <a:pt x="3438557" y="3983638"/>
                </a:cubicBezTo>
                <a:close/>
                <a:moveTo>
                  <a:pt x="42926" y="3983142"/>
                </a:moveTo>
                <a:cubicBezTo>
                  <a:pt x="48211" y="3983142"/>
                  <a:pt x="52507" y="3987435"/>
                  <a:pt x="52507" y="3992721"/>
                </a:cubicBezTo>
                <a:cubicBezTo>
                  <a:pt x="52507" y="3998007"/>
                  <a:pt x="48211" y="4002303"/>
                  <a:pt x="42926" y="4002303"/>
                </a:cubicBezTo>
                <a:cubicBezTo>
                  <a:pt x="37640" y="4002303"/>
                  <a:pt x="33346" y="3998007"/>
                  <a:pt x="33346" y="3992721"/>
                </a:cubicBezTo>
                <a:cubicBezTo>
                  <a:pt x="33346" y="3987435"/>
                  <a:pt x="37640" y="3983142"/>
                  <a:pt x="42926" y="3983142"/>
                </a:cubicBezTo>
                <a:close/>
                <a:moveTo>
                  <a:pt x="334966" y="3982977"/>
                </a:moveTo>
                <a:cubicBezTo>
                  <a:pt x="340913" y="3982977"/>
                  <a:pt x="345704" y="3987767"/>
                  <a:pt x="345704" y="3993713"/>
                </a:cubicBezTo>
                <a:cubicBezTo>
                  <a:pt x="345704" y="3999660"/>
                  <a:pt x="340913" y="4004451"/>
                  <a:pt x="334966" y="4004451"/>
                </a:cubicBezTo>
                <a:cubicBezTo>
                  <a:pt x="329020" y="4004451"/>
                  <a:pt x="324230" y="3999660"/>
                  <a:pt x="324230" y="3993713"/>
                </a:cubicBezTo>
                <a:cubicBezTo>
                  <a:pt x="324230" y="3987767"/>
                  <a:pt x="329020" y="3982977"/>
                  <a:pt x="334966" y="3982977"/>
                </a:cubicBezTo>
                <a:close/>
                <a:moveTo>
                  <a:pt x="3404531" y="3981820"/>
                </a:moveTo>
                <a:cubicBezTo>
                  <a:pt x="3410477" y="3981820"/>
                  <a:pt x="3415267" y="3986610"/>
                  <a:pt x="3415267" y="3992556"/>
                </a:cubicBezTo>
                <a:cubicBezTo>
                  <a:pt x="3415267" y="3998503"/>
                  <a:pt x="3410477" y="4003295"/>
                  <a:pt x="3404531" y="4003295"/>
                </a:cubicBezTo>
                <a:cubicBezTo>
                  <a:pt x="3398584" y="4003295"/>
                  <a:pt x="3393795" y="3998503"/>
                  <a:pt x="3393795" y="3992556"/>
                </a:cubicBezTo>
                <a:cubicBezTo>
                  <a:pt x="3393795" y="3986610"/>
                  <a:pt x="3398584" y="3981820"/>
                  <a:pt x="3404531" y="3981820"/>
                </a:cubicBezTo>
                <a:close/>
                <a:moveTo>
                  <a:pt x="3579953" y="3980995"/>
                </a:moveTo>
                <a:cubicBezTo>
                  <a:pt x="3583092" y="3980995"/>
                  <a:pt x="3585734" y="3983638"/>
                  <a:pt x="3585734" y="3986776"/>
                </a:cubicBezTo>
                <a:cubicBezTo>
                  <a:pt x="3585734" y="3989915"/>
                  <a:pt x="3583092" y="3992558"/>
                  <a:pt x="3579953" y="3992558"/>
                </a:cubicBezTo>
                <a:cubicBezTo>
                  <a:pt x="3576814" y="3992558"/>
                  <a:pt x="3574171" y="3989915"/>
                  <a:pt x="3574171" y="3986776"/>
                </a:cubicBezTo>
                <a:cubicBezTo>
                  <a:pt x="3574171" y="3983638"/>
                  <a:pt x="3576814" y="3980995"/>
                  <a:pt x="3579953" y="3980995"/>
                </a:cubicBezTo>
                <a:close/>
                <a:moveTo>
                  <a:pt x="3501326" y="3980663"/>
                </a:moveTo>
                <a:cubicBezTo>
                  <a:pt x="3507273" y="3980663"/>
                  <a:pt x="3512064" y="3985453"/>
                  <a:pt x="3512064" y="3991400"/>
                </a:cubicBezTo>
                <a:lnTo>
                  <a:pt x="3501739" y="4001723"/>
                </a:lnTo>
                <a:lnTo>
                  <a:pt x="3506283" y="4006267"/>
                </a:lnTo>
                <a:lnTo>
                  <a:pt x="3496124" y="4016426"/>
                </a:lnTo>
                <a:lnTo>
                  <a:pt x="3501658" y="4021958"/>
                </a:lnTo>
                <a:lnTo>
                  <a:pt x="3491745" y="4031870"/>
                </a:lnTo>
                <a:lnTo>
                  <a:pt x="3498352" y="4038476"/>
                </a:lnTo>
                <a:cubicBezTo>
                  <a:pt x="3498352" y="4044422"/>
                  <a:pt x="3493562" y="4049214"/>
                  <a:pt x="3487616" y="4049214"/>
                </a:cubicBezTo>
                <a:cubicBezTo>
                  <a:pt x="3481669" y="4049214"/>
                  <a:pt x="3476879" y="4044422"/>
                  <a:pt x="3476879" y="4038476"/>
                </a:cubicBezTo>
                <a:lnTo>
                  <a:pt x="3486790" y="4028567"/>
                </a:lnTo>
                <a:lnTo>
                  <a:pt x="3480183" y="4021958"/>
                </a:lnTo>
                <a:lnTo>
                  <a:pt x="3490340" y="4011801"/>
                </a:lnTo>
                <a:lnTo>
                  <a:pt x="3484808" y="4006267"/>
                </a:lnTo>
                <a:lnTo>
                  <a:pt x="3495132" y="3995943"/>
                </a:lnTo>
                <a:lnTo>
                  <a:pt x="3490590" y="3991400"/>
                </a:lnTo>
                <a:cubicBezTo>
                  <a:pt x="3490590" y="3985453"/>
                  <a:pt x="3495380" y="3980663"/>
                  <a:pt x="3501326" y="3980663"/>
                </a:cubicBezTo>
                <a:close/>
                <a:moveTo>
                  <a:pt x="105199" y="3978848"/>
                </a:moveTo>
                <a:cubicBezTo>
                  <a:pt x="111130" y="3978848"/>
                  <a:pt x="115937" y="3983655"/>
                  <a:pt x="115937" y="3989584"/>
                </a:cubicBezTo>
                <a:lnTo>
                  <a:pt x="114203" y="3991318"/>
                </a:lnTo>
                <a:lnTo>
                  <a:pt x="124856" y="4001971"/>
                </a:lnTo>
                <a:lnTo>
                  <a:pt x="122790" y="4004038"/>
                </a:lnTo>
                <a:lnTo>
                  <a:pt x="132784" y="4014031"/>
                </a:lnTo>
                <a:lnTo>
                  <a:pt x="130306" y="4016509"/>
                </a:lnTo>
                <a:lnTo>
                  <a:pt x="139887" y="4026089"/>
                </a:lnTo>
                <a:lnTo>
                  <a:pt x="136667" y="4029311"/>
                </a:lnTo>
                <a:lnTo>
                  <a:pt x="145834" y="4038476"/>
                </a:lnTo>
                <a:lnTo>
                  <a:pt x="141951" y="4042359"/>
                </a:lnTo>
                <a:lnTo>
                  <a:pt x="150953" y="4051361"/>
                </a:lnTo>
                <a:lnTo>
                  <a:pt x="145999" y="4056317"/>
                </a:lnTo>
                <a:lnTo>
                  <a:pt x="154422" y="4064742"/>
                </a:lnTo>
                <a:cubicBezTo>
                  <a:pt x="154422" y="4070524"/>
                  <a:pt x="149797" y="4075149"/>
                  <a:pt x="144017" y="4075149"/>
                </a:cubicBezTo>
                <a:cubicBezTo>
                  <a:pt x="138235" y="4075149"/>
                  <a:pt x="133610" y="4070524"/>
                  <a:pt x="133610" y="4064742"/>
                </a:cubicBezTo>
                <a:lnTo>
                  <a:pt x="138235" y="4060117"/>
                </a:lnTo>
                <a:lnTo>
                  <a:pt x="129481" y="4051361"/>
                </a:lnTo>
                <a:lnTo>
                  <a:pt x="133362" y="4047480"/>
                </a:lnTo>
                <a:lnTo>
                  <a:pt x="124360" y="4038476"/>
                </a:lnTo>
                <a:lnTo>
                  <a:pt x="127580" y="4035257"/>
                </a:lnTo>
                <a:lnTo>
                  <a:pt x="118413" y="4026089"/>
                </a:lnTo>
                <a:lnTo>
                  <a:pt x="120891" y="4023612"/>
                </a:lnTo>
                <a:lnTo>
                  <a:pt x="111310" y="4014031"/>
                </a:lnTo>
                <a:lnTo>
                  <a:pt x="113375" y="4011965"/>
                </a:lnTo>
                <a:lnTo>
                  <a:pt x="103383" y="4001971"/>
                </a:lnTo>
                <a:lnTo>
                  <a:pt x="105117" y="4000239"/>
                </a:lnTo>
                <a:lnTo>
                  <a:pt x="94462" y="3989584"/>
                </a:lnTo>
                <a:cubicBezTo>
                  <a:pt x="94462" y="3983655"/>
                  <a:pt x="99269" y="3978848"/>
                  <a:pt x="105199" y="3978848"/>
                </a:cubicBezTo>
                <a:close/>
                <a:moveTo>
                  <a:pt x="135263" y="3977856"/>
                </a:moveTo>
                <a:cubicBezTo>
                  <a:pt x="141209" y="3977856"/>
                  <a:pt x="146001" y="3982646"/>
                  <a:pt x="146001" y="3988592"/>
                </a:cubicBezTo>
                <a:cubicBezTo>
                  <a:pt x="146001" y="3994539"/>
                  <a:pt x="141209" y="3999328"/>
                  <a:pt x="135263" y="3999328"/>
                </a:cubicBezTo>
                <a:cubicBezTo>
                  <a:pt x="129316" y="3999328"/>
                  <a:pt x="124526" y="3994539"/>
                  <a:pt x="124526" y="3988592"/>
                </a:cubicBezTo>
                <a:cubicBezTo>
                  <a:pt x="124526" y="3982646"/>
                  <a:pt x="129316" y="3977856"/>
                  <a:pt x="135263" y="3977856"/>
                </a:cubicBezTo>
                <a:close/>
                <a:moveTo>
                  <a:pt x="2297485" y="3976699"/>
                </a:moveTo>
                <a:cubicBezTo>
                  <a:pt x="2303432" y="3976699"/>
                  <a:pt x="2308223" y="3981489"/>
                  <a:pt x="2308223" y="3987435"/>
                </a:cubicBezTo>
                <a:cubicBezTo>
                  <a:pt x="2308223" y="3993382"/>
                  <a:pt x="2303432" y="3998173"/>
                  <a:pt x="2297485" y="3998173"/>
                </a:cubicBezTo>
                <a:cubicBezTo>
                  <a:pt x="2291539" y="3998173"/>
                  <a:pt x="2286749" y="3993382"/>
                  <a:pt x="2286749" y="3987435"/>
                </a:cubicBezTo>
                <a:cubicBezTo>
                  <a:pt x="2286749" y="3981489"/>
                  <a:pt x="2291539" y="3976699"/>
                  <a:pt x="2297485" y="3976699"/>
                </a:cubicBezTo>
                <a:close/>
                <a:moveTo>
                  <a:pt x="3061448" y="3975213"/>
                </a:moveTo>
                <a:cubicBezTo>
                  <a:pt x="3067394" y="3975213"/>
                  <a:pt x="3072186" y="3980003"/>
                  <a:pt x="3072186" y="3985949"/>
                </a:cubicBezTo>
                <a:cubicBezTo>
                  <a:pt x="3072186" y="3991896"/>
                  <a:pt x="3067394" y="3996687"/>
                  <a:pt x="3061448" y="3996687"/>
                </a:cubicBezTo>
                <a:cubicBezTo>
                  <a:pt x="3055501" y="3996687"/>
                  <a:pt x="3050712" y="3991896"/>
                  <a:pt x="3050712" y="3985949"/>
                </a:cubicBezTo>
                <a:cubicBezTo>
                  <a:pt x="3050712" y="3980003"/>
                  <a:pt x="3055501" y="3975213"/>
                  <a:pt x="3061448" y="3975213"/>
                </a:cubicBezTo>
                <a:close/>
                <a:moveTo>
                  <a:pt x="858261" y="3974056"/>
                </a:moveTo>
                <a:cubicBezTo>
                  <a:pt x="864207" y="3974056"/>
                  <a:pt x="868999" y="3978846"/>
                  <a:pt x="868999" y="3984792"/>
                </a:cubicBezTo>
                <a:cubicBezTo>
                  <a:pt x="868999" y="3990739"/>
                  <a:pt x="864207" y="3995531"/>
                  <a:pt x="858261" y="3995531"/>
                </a:cubicBezTo>
                <a:cubicBezTo>
                  <a:pt x="852314" y="3995531"/>
                  <a:pt x="847524" y="3990739"/>
                  <a:pt x="847524" y="3984792"/>
                </a:cubicBezTo>
                <a:cubicBezTo>
                  <a:pt x="847524" y="3978846"/>
                  <a:pt x="852314" y="3974056"/>
                  <a:pt x="858261" y="3974056"/>
                </a:cubicBezTo>
                <a:close/>
                <a:moveTo>
                  <a:pt x="3474733" y="3972405"/>
                </a:moveTo>
                <a:cubicBezTo>
                  <a:pt x="3480679" y="3972405"/>
                  <a:pt x="3485469" y="3977195"/>
                  <a:pt x="3485469" y="3983142"/>
                </a:cubicBezTo>
                <a:lnTo>
                  <a:pt x="3474733" y="3993878"/>
                </a:lnTo>
                <a:lnTo>
                  <a:pt x="3476881" y="3996025"/>
                </a:lnTo>
                <a:lnTo>
                  <a:pt x="3466721" y="4006184"/>
                </a:lnTo>
                <a:lnTo>
                  <a:pt x="3469447" y="4008910"/>
                </a:lnTo>
                <a:lnTo>
                  <a:pt x="3459702" y="4018654"/>
                </a:lnTo>
                <a:lnTo>
                  <a:pt x="3463006" y="4021958"/>
                </a:lnTo>
                <a:lnTo>
                  <a:pt x="3453589" y="4031374"/>
                </a:lnTo>
                <a:lnTo>
                  <a:pt x="3457718" y="4035504"/>
                </a:lnTo>
                <a:lnTo>
                  <a:pt x="3448468" y="4044755"/>
                </a:lnTo>
                <a:lnTo>
                  <a:pt x="3453589" y="4049875"/>
                </a:lnTo>
                <a:lnTo>
                  <a:pt x="3444506" y="4058960"/>
                </a:lnTo>
                <a:lnTo>
                  <a:pt x="3450450" y="4064905"/>
                </a:lnTo>
                <a:lnTo>
                  <a:pt x="3441696" y="4073661"/>
                </a:lnTo>
                <a:lnTo>
                  <a:pt x="3448798" y="4080762"/>
                </a:lnTo>
                <a:cubicBezTo>
                  <a:pt x="3448798" y="4086709"/>
                  <a:pt x="3444008" y="4091500"/>
                  <a:pt x="3438061" y="4091500"/>
                </a:cubicBezTo>
                <a:cubicBezTo>
                  <a:pt x="3432115" y="4091500"/>
                  <a:pt x="3427325" y="4086709"/>
                  <a:pt x="3427325" y="4080762"/>
                </a:cubicBezTo>
                <a:lnTo>
                  <a:pt x="3436079" y="4072008"/>
                </a:lnTo>
                <a:lnTo>
                  <a:pt x="3428978" y="4064905"/>
                </a:lnTo>
                <a:lnTo>
                  <a:pt x="3438061" y="4055821"/>
                </a:lnTo>
                <a:lnTo>
                  <a:pt x="3432117" y="4049875"/>
                </a:lnTo>
                <a:lnTo>
                  <a:pt x="3441367" y="4040625"/>
                </a:lnTo>
                <a:lnTo>
                  <a:pt x="3436246" y="4035504"/>
                </a:lnTo>
                <a:lnTo>
                  <a:pt x="3445661" y="4026089"/>
                </a:lnTo>
                <a:lnTo>
                  <a:pt x="3441532" y="4021958"/>
                </a:lnTo>
                <a:lnTo>
                  <a:pt x="3451276" y="4012213"/>
                </a:lnTo>
                <a:lnTo>
                  <a:pt x="3447974" y="4008910"/>
                </a:lnTo>
                <a:lnTo>
                  <a:pt x="3458133" y="3998751"/>
                </a:lnTo>
                <a:lnTo>
                  <a:pt x="3455407" y="3996025"/>
                </a:lnTo>
                <a:lnTo>
                  <a:pt x="3466143" y="3985288"/>
                </a:lnTo>
                <a:lnTo>
                  <a:pt x="3463996" y="3983142"/>
                </a:lnTo>
                <a:cubicBezTo>
                  <a:pt x="3463996" y="3977195"/>
                  <a:pt x="3468786" y="3972405"/>
                  <a:pt x="3474733" y="3972405"/>
                </a:cubicBezTo>
                <a:close/>
                <a:moveTo>
                  <a:pt x="2928146" y="3971248"/>
                </a:moveTo>
                <a:cubicBezTo>
                  <a:pt x="2934093" y="3971248"/>
                  <a:pt x="2938884" y="3976038"/>
                  <a:pt x="2938884" y="3981985"/>
                </a:cubicBezTo>
                <a:cubicBezTo>
                  <a:pt x="2938884" y="3987931"/>
                  <a:pt x="2934093" y="3992721"/>
                  <a:pt x="2928146" y="3992721"/>
                </a:cubicBezTo>
                <a:cubicBezTo>
                  <a:pt x="2922200" y="3992721"/>
                  <a:pt x="2917410" y="3987931"/>
                  <a:pt x="2917410" y="3981985"/>
                </a:cubicBezTo>
                <a:cubicBezTo>
                  <a:pt x="2917410" y="3976038"/>
                  <a:pt x="2922200" y="3971248"/>
                  <a:pt x="2928146" y="3971248"/>
                </a:cubicBezTo>
                <a:close/>
                <a:moveTo>
                  <a:pt x="3176085" y="3970917"/>
                </a:moveTo>
                <a:cubicBezTo>
                  <a:pt x="3182031" y="3970917"/>
                  <a:pt x="3186823" y="3975707"/>
                  <a:pt x="3186823" y="3981654"/>
                </a:cubicBezTo>
                <a:cubicBezTo>
                  <a:pt x="3186823" y="3987600"/>
                  <a:pt x="3182031" y="3992392"/>
                  <a:pt x="3176085" y="3992392"/>
                </a:cubicBezTo>
                <a:cubicBezTo>
                  <a:pt x="3170138" y="3992392"/>
                  <a:pt x="3165348" y="3987600"/>
                  <a:pt x="3165348" y="3981654"/>
                </a:cubicBezTo>
                <a:cubicBezTo>
                  <a:pt x="3165348" y="3975707"/>
                  <a:pt x="3170138" y="3970917"/>
                  <a:pt x="3176085" y="3970917"/>
                </a:cubicBezTo>
                <a:close/>
                <a:moveTo>
                  <a:pt x="3447972" y="3970588"/>
                </a:moveTo>
                <a:cubicBezTo>
                  <a:pt x="3453919" y="3970588"/>
                  <a:pt x="3458709" y="3975378"/>
                  <a:pt x="3458709" y="3981324"/>
                </a:cubicBezTo>
                <a:cubicBezTo>
                  <a:pt x="3458709" y="3987271"/>
                  <a:pt x="3453919" y="3992062"/>
                  <a:pt x="3447972" y="3992062"/>
                </a:cubicBezTo>
                <a:cubicBezTo>
                  <a:pt x="3442026" y="3992062"/>
                  <a:pt x="3437236" y="3987271"/>
                  <a:pt x="3437236" y="3981324"/>
                </a:cubicBezTo>
                <a:cubicBezTo>
                  <a:pt x="3437236" y="3975378"/>
                  <a:pt x="3442026" y="3970588"/>
                  <a:pt x="3447972" y="3970588"/>
                </a:cubicBezTo>
                <a:close/>
                <a:moveTo>
                  <a:pt x="70676" y="3969762"/>
                </a:moveTo>
                <a:cubicBezTo>
                  <a:pt x="76623" y="3969762"/>
                  <a:pt x="81414" y="3974552"/>
                  <a:pt x="81414" y="3980499"/>
                </a:cubicBezTo>
                <a:lnTo>
                  <a:pt x="78605" y="3983308"/>
                </a:lnTo>
                <a:lnTo>
                  <a:pt x="89176" y="3993878"/>
                </a:lnTo>
                <a:lnTo>
                  <a:pt x="85625" y="3997429"/>
                </a:lnTo>
                <a:lnTo>
                  <a:pt x="95948" y="4007753"/>
                </a:lnTo>
                <a:lnTo>
                  <a:pt x="91655" y="4012049"/>
                </a:lnTo>
                <a:lnTo>
                  <a:pt x="101565" y="4021958"/>
                </a:lnTo>
                <a:cubicBezTo>
                  <a:pt x="101565" y="4027904"/>
                  <a:pt x="96774" y="4032696"/>
                  <a:pt x="90827" y="4032696"/>
                </a:cubicBezTo>
                <a:cubicBezTo>
                  <a:pt x="84881" y="4032696"/>
                  <a:pt x="80091" y="4027904"/>
                  <a:pt x="80091" y="4021958"/>
                </a:cubicBezTo>
                <a:lnTo>
                  <a:pt x="84387" y="4017664"/>
                </a:lnTo>
                <a:lnTo>
                  <a:pt x="74476" y="4007753"/>
                </a:lnTo>
                <a:lnTo>
                  <a:pt x="78027" y="4004203"/>
                </a:lnTo>
                <a:lnTo>
                  <a:pt x="67702" y="3993878"/>
                </a:lnTo>
                <a:lnTo>
                  <a:pt x="70511" y="3991070"/>
                </a:lnTo>
                <a:lnTo>
                  <a:pt x="59940" y="3980499"/>
                </a:lnTo>
                <a:cubicBezTo>
                  <a:pt x="59940" y="3974552"/>
                  <a:pt x="64730" y="3969762"/>
                  <a:pt x="70676" y="3969762"/>
                </a:cubicBezTo>
                <a:close/>
                <a:moveTo>
                  <a:pt x="177878" y="3969431"/>
                </a:moveTo>
                <a:cubicBezTo>
                  <a:pt x="183825" y="3969431"/>
                  <a:pt x="188615" y="3974221"/>
                  <a:pt x="188615" y="3980167"/>
                </a:cubicBezTo>
                <a:cubicBezTo>
                  <a:pt x="188615" y="3986114"/>
                  <a:pt x="183825" y="3990905"/>
                  <a:pt x="177878" y="3990905"/>
                </a:cubicBezTo>
                <a:cubicBezTo>
                  <a:pt x="171932" y="3990905"/>
                  <a:pt x="167142" y="3986114"/>
                  <a:pt x="167142" y="3980167"/>
                </a:cubicBezTo>
                <a:cubicBezTo>
                  <a:pt x="167142" y="3974221"/>
                  <a:pt x="171932" y="3969431"/>
                  <a:pt x="177878" y="3969431"/>
                </a:cubicBezTo>
                <a:close/>
                <a:moveTo>
                  <a:pt x="3353324" y="3968276"/>
                </a:moveTo>
                <a:cubicBezTo>
                  <a:pt x="3359270" y="3968276"/>
                  <a:pt x="3364060" y="3973066"/>
                  <a:pt x="3364060" y="3979012"/>
                </a:cubicBezTo>
                <a:cubicBezTo>
                  <a:pt x="3364060" y="3984959"/>
                  <a:pt x="3359270" y="3989749"/>
                  <a:pt x="3353324" y="3989749"/>
                </a:cubicBezTo>
                <a:cubicBezTo>
                  <a:pt x="3347377" y="3989749"/>
                  <a:pt x="3342588" y="3984959"/>
                  <a:pt x="3342588" y="3979012"/>
                </a:cubicBezTo>
                <a:cubicBezTo>
                  <a:pt x="3342588" y="3973066"/>
                  <a:pt x="3347377" y="3968276"/>
                  <a:pt x="3353324" y="3968276"/>
                </a:cubicBezTo>
                <a:close/>
                <a:moveTo>
                  <a:pt x="1191760" y="3967449"/>
                </a:moveTo>
                <a:cubicBezTo>
                  <a:pt x="1197707" y="3967449"/>
                  <a:pt x="1202498" y="3972239"/>
                  <a:pt x="1202498" y="3978185"/>
                </a:cubicBezTo>
                <a:cubicBezTo>
                  <a:pt x="1202498" y="3984132"/>
                  <a:pt x="1197707" y="3988923"/>
                  <a:pt x="1191760" y="3988923"/>
                </a:cubicBezTo>
                <a:cubicBezTo>
                  <a:pt x="1185814" y="3988923"/>
                  <a:pt x="1181024" y="3984132"/>
                  <a:pt x="1181024" y="3978185"/>
                </a:cubicBezTo>
                <a:cubicBezTo>
                  <a:pt x="1181024" y="3972239"/>
                  <a:pt x="1185814" y="3967449"/>
                  <a:pt x="1191760" y="3967449"/>
                </a:cubicBezTo>
                <a:close/>
                <a:moveTo>
                  <a:pt x="246925" y="3967449"/>
                </a:moveTo>
                <a:cubicBezTo>
                  <a:pt x="252872" y="3967449"/>
                  <a:pt x="257661" y="3972239"/>
                  <a:pt x="257661" y="3978185"/>
                </a:cubicBezTo>
                <a:cubicBezTo>
                  <a:pt x="257661" y="3984132"/>
                  <a:pt x="252872" y="3988923"/>
                  <a:pt x="246925" y="3988923"/>
                </a:cubicBezTo>
                <a:cubicBezTo>
                  <a:pt x="240979" y="3988923"/>
                  <a:pt x="236189" y="3984132"/>
                  <a:pt x="236189" y="3978185"/>
                </a:cubicBezTo>
                <a:cubicBezTo>
                  <a:pt x="236189" y="3972239"/>
                  <a:pt x="240979" y="3967449"/>
                  <a:pt x="246925" y="3967449"/>
                </a:cubicBezTo>
                <a:close/>
                <a:moveTo>
                  <a:pt x="3542621" y="3966623"/>
                </a:moveTo>
                <a:cubicBezTo>
                  <a:pt x="3548567" y="3966623"/>
                  <a:pt x="3553359" y="3971413"/>
                  <a:pt x="3553359" y="3977360"/>
                </a:cubicBezTo>
                <a:cubicBezTo>
                  <a:pt x="3553359" y="3983306"/>
                  <a:pt x="3548567" y="3988096"/>
                  <a:pt x="3542621" y="3988096"/>
                </a:cubicBezTo>
                <a:cubicBezTo>
                  <a:pt x="3536674" y="3988096"/>
                  <a:pt x="3531884" y="3983306"/>
                  <a:pt x="3531884" y="3977360"/>
                </a:cubicBezTo>
                <a:cubicBezTo>
                  <a:pt x="3531884" y="3971413"/>
                  <a:pt x="3536674" y="3966623"/>
                  <a:pt x="3542621" y="3966623"/>
                </a:cubicBezTo>
                <a:close/>
                <a:moveTo>
                  <a:pt x="36979" y="3966459"/>
                </a:moveTo>
                <a:cubicBezTo>
                  <a:pt x="42926" y="3966459"/>
                  <a:pt x="47715" y="3971248"/>
                  <a:pt x="47715" y="3977195"/>
                </a:cubicBezTo>
                <a:cubicBezTo>
                  <a:pt x="47715" y="3983142"/>
                  <a:pt x="42926" y="3987933"/>
                  <a:pt x="36979" y="3987933"/>
                </a:cubicBezTo>
                <a:cubicBezTo>
                  <a:pt x="31033" y="3987933"/>
                  <a:pt x="26243" y="3983142"/>
                  <a:pt x="26243" y="3977195"/>
                </a:cubicBezTo>
                <a:cubicBezTo>
                  <a:pt x="26243" y="3971248"/>
                  <a:pt x="31033" y="3966459"/>
                  <a:pt x="36979" y="3966459"/>
                </a:cubicBezTo>
                <a:close/>
                <a:moveTo>
                  <a:pt x="3508265" y="3966127"/>
                </a:moveTo>
                <a:cubicBezTo>
                  <a:pt x="3514211" y="3966127"/>
                  <a:pt x="3519001" y="3970917"/>
                  <a:pt x="3519001" y="3976864"/>
                </a:cubicBezTo>
                <a:cubicBezTo>
                  <a:pt x="3519001" y="3982810"/>
                  <a:pt x="3514211" y="3987600"/>
                  <a:pt x="3508265" y="3987600"/>
                </a:cubicBezTo>
                <a:cubicBezTo>
                  <a:pt x="3502318" y="3987600"/>
                  <a:pt x="3497528" y="3982810"/>
                  <a:pt x="3497528" y="3976864"/>
                </a:cubicBezTo>
                <a:cubicBezTo>
                  <a:pt x="3497528" y="3970917"/>
                  <a:pt x="3502318" y="3966127"/>
                  <a:pt x="3508265" y="3966127"/>
                </a:cubicBezTo>
                <a:close/>
                <a:moveTo>
                  <a:pt x="95784" y="3965963"/>
                </a:moveTo>
                <a:cubicBezTo>
                  <a:pt x="101715" y="3965963"/>
                  <a:pt x="106520" y="3970770"/>
                  <a:pt x="106520" y="3976699"/>
                </a:cubicBezTo>
                <a:cubicBezTo>
                  <a:pt x="106520" y="3982628"/>
                  <a:pt x="101715" y="3987435"/>
                  <a:pt x="95784" y="3987435"/>
                </a:cubicBezTo>
                <a:cubicBezTo>
                  <a:pt x="89855" y="3987435"/>
                  <a:pt x="85047" y="3982628"/>
                  <a:pt x="85047" y="3976699"/>
                </a:cubicBezTo>
                <a:cubicBezTo>
                  <a:pt x="85047" y="3970770"/>
                  <a:pt x="89855" y="3965963"/>
                  <a:pt x="95784" y="3965963"/>
                </a:cubicBezTo>
                <a:close/>
                <a:moveTo>
                  <a:pt x="3412624" y="3965302"/>
                </a:moveTo>
                <a:cubicBezTo>
                  <a:pt x="3418571" y="3965302"/>
                  <a:pt x="3423362" y="3970092"/>
                  <a:pt x="3423362" y="3976038"/>
                </a:cubicBezTo>
                <a:cubicBezTo>
                  <a:pt x="3423362" y="3981985"/>
                  <a:pt x="3418571" y="3986776"/>
                  <a:pt x="3412624" y="3986776"/>
                </a:cubicBezTo>
                <a:cubicBezTo>
                  <a:pt x="3406678" y="3986776"/>
                  <a:pt x="3401888" y="3981985"/>
                  <a:pt x="3401888" y="3976038"/>
                </a:cubicBezTo>
                <a:cubicBezTo>
                  <a:pt x="3401888" y="3970092"/>
                  <a:pt x="3406678" y="3965302"/>
                  <a:pt x="3412624" y="3965302"/>
                </a:cubicBezTo>
                <a:close/>
                <a:moveTo>
                  <a:pt x="126012" y="3962824"/>
                </a:moveTo>
                <a:cubicBezTo>
                  <a:pt x="131959" y="3962824"/>
                  <a:pt x="136749" y="3967614"/>
                  <a:pt x="136749" y="3973560"/>
                </a:cubicBezTo>
                <a:cubicBezTo>
                  <a:pt x="136749" y="3979507"/>
                  <a:pt x="131959" y="3984298"/>
                  <a:pt x="126012" y="3984298"/>
                </a:cubicBezTo>
                <a:cubicBezTo>
                  <a:pt x="120066" y="3984298"/>
                  <a:pt x="115276" y="3979507"/>
                  <a:pt x="115276" y="3973560"/>
                </a:cubicBezTo>
                <a:cubicBezTo>
                  <a:pt x="115276" y="3967614"/>
                  <a:pt x="120066" y="3962824"/>
                  <a:pt x="126012" y="3962824"/>
                </a:cubicBezTo>
                <a:close/>
                <a:moveTo>
                  <a:pt x="3624386" y="3961338"/>
                </a:moveTo>
                <a:cubicBezTo>
                  <a:pt x="3624570" y="3961338"/>
                  <a:pt x="3624717" y="3961485"/>
                  <a:pt x="3624717" y="3961667"/>
                </a:cubicBezTo>
                <a:cubicBezTo>
                  <a:pt x="3624717" y="3961851"/>
                  <a:pt x="3624570" y="3961998"/>
                  <a:pt x="3624386" y="3961998"/>
                </a:cubicBezTo>
                <a:cubicBezTo>
                  <a:pt x="3624204" y="3961998"/>
                  <a:pt x="3624056" y="3961851"/>
                  <a:pt x="3624056" y="3961667"/>
                </a:cubicBezTo>
                <a:cubicBezTo>
                  <a:pt x="3624056" y="3961485"/>
                  <a:pt x="3624204" y="3961338"/>
                  <a:pt x="3624386" y="3961338"/>
                </a:cubicBezTo>
                <a:close/>
                <a:moveTo>
                  <a:pt x="3273872" y="3960016"/>
                </a:moveTo>
                <a:cubicBezTo>
                  <a:pt x="3279819" y="3960016"/>
                  <a:pt x="3284608" y="3964806"/>
                  <a:pt x="3284608" y="3970752"/>
                </a:cubicBezTo>
                <a:cubicBezTo>
                  <a:pt x="3284608" y="3976699"/>
                  <a:pt x="3279819" y="3981489"/>
                  <a:pt x="3273872" y="3981489"/>
                </a:cubicBezTo>
                <a:cubicBezTo>
                  <a:pt x="3267926" y="3981489"/>
                  <a:pt x="3263136" y="3976699"/>
                  <a:pt x="3263136" y="3970752"/>
                </a:cubicBezTo>
                <a:cubicBezTo>
                  <a:pt x="3263136" y="3964806"/>
                  <a:pt x="3267926" y="3960016"/>
                  <a:pt x="3273872" y="3960016"/>
                </a:cubicBezTo>
                <a:close/>
                <a:moveTo>
                  <a:pt x="3483983" y="3959520"/>
                </a:moveTo>
                <a:cubicBezTo>
                  <a:pt x="3489929" y="3959520"/>
                  <a:pt x="3494719" y="3964310"/>
                  <a:pt x="3494719" y="3970257"/>
                </a:cubicBezTo>
                <a:cubicBezTo>
                  <a:pt x="3494719" y="3976203"/>
                  <a:pt x="3489929" y="3980993"/>
                  <a:pt x="3483983" y="3980993"/>
                </a:cubicBezTo>
                <a:cubicBezTo>
                  <a:pt x="3478036" y="3980993"/>
                  <a:pt x="3473246" y="3976203"/>
                  <a:pt x="3473246" y="3970257"/>
                </a:cubicBezTo>
                <a:cubicBezTo>
                  <a:pt x="3473246" y="3964310"/>
                  <a:pt x="3478036" y="3959520"/>
                  <a:pt x="3483983" y="3959520"/>
                </a:cubicBezTo>
                <a:close/>
                <a:moveTo>
                  <a:pt x="2774032" y="3956877"/>
                </a:moveTo>
                <a:cubicBezTo>
                  <a:pt x="2779979" y="3956877"/>
                  <a:pt x="2784771" y="3961667"/>
                  <a:pt x="2784771" y="3967614"/>
                </a:cubicBezTo>
                <a:cubicBezTo>
                  <a:pt x="2784771" y="3973560"/>
                  <a:pt x="2779979" y="3978350"/>
                  <a:pt x="2774032" y="3978350"/>
                </a:cubicBezTo>
                <a:cubicBezTo>
                  <a:pt x="2768086" y="3978350"/>
                  <a:pt x="2763296" y="3973560"/>
                  <a:pt x="2763296" y="3967614"/>
                </a:cubicBezTo>
                <a:cubicBezTo>
                  <a:pt x="2763296" y="3961667"/>
                  <a:pt x="2768086" y="3956877"/>
                  <a:pt x="2774032" y="3956877"/>
                </a:cubicBezTo>
                <a:close/>
                <a:moveTo>
                  <a:pt x="3583421" y="3956713"/>
                </a:moveTo>
                <a:cubicBezTo>
                  <a:pt x="3589368" y="3956713"/>
                  <a:pt x="3594159" y="3961502"/>
                  <a:pt x="3594159" y="3967449"/>
                </a:cubicBezTo>
                <a:cubicBezTo>
                  <a:pt x="3594159" y="3973395"/>
                  <a:pt x="3589368" y="3978185"/>
                  <a:pt x="3583421" y="3978185"/>
                </a:cubicBezTo>
                <a:cubicBezTo>
                  <a:pt x="3577474" y="3978185"/>
                  <a:pt x="3572685" y="3973395"/>
                  <a:pt x="3572685" y="3967449"/>
                </a:cubicBezTo>
                <a:cubicBezTo>
                  <a:pt x="3572685" y="3961502"/>
                  <a:pt x="3577474" y="3956713"/>
                  <a:pt x="3583421" y="3956713"/>
                </a:cubicBezTo>
                <a:close/>
                <a:moveTo>
                  <a:pt x="448941" y="3956548"/>
                </a:moveTo>
                <a:cubicBezTo>
                  <a:pt x="454887" y="3956548"/>
                  <a:pt x="459678" y="3961338"/>
                  <a:pt x="459678" y="3967284"/>
                </a:cubicBezTo>
                <a:cubicBezTo>
                  <a:pt x="459678" y="3973231"/>
                  <a:pt x="454887" y="3978022"/>
                  <a:pt x="448941" y="3978022"/>
                </a:cubicBezTo>
                <a:cubicBezTo>
                  <a:pt x="442994" y="3978022"/>
                  <a:pt x="438204" y="3973231"/>
                  <a:pt x="438204" y="3967284"/>
                </a:cubicBezTo>
                <a:cubicBezTo>
                  <a:pt x="438204" y="3961338"/>
                  <a:pt x="442994" y="3956548"/>
                  <a:pt x="448941" y="3956548"/>
                </a:cubicBezTo>
                <a:close/>
                <a:moveTo>
                  <a:pt x="3457883" y="3956383"/>
                </a:moveTo>
                <a:cubicBezTo>
                  <a:pt x="3463830" y="3956383"/>
                  <a:pt x="3468621" y="3961173"/>
                  <a:pt x="3468621" y="3967119"/>
                </a:cubicBezTo>
                <a:cubicBezTo>
                  <a:pt x="3468621" y="3973066"/>
                  <a:pt x="3463830" y="3977856"/>
                  <a:pt x="3457883" y="3977856"/>
                </a:cubicBezTo>
                <a:cubicBezTo>
                  <a:pt x="3451937" y="3977856"/>
                  <a:pt x="3447147" y="3973066"/>
                  <a:pt x="3447147" y="3967119"/>
                </a:cubicBezTo>
                <a:cubicBezTo>
                  <a:pt x="3447147" y="3961173"/>
                  <a:pt x="3451937" y="3956383"/>
                  <a:pt x="3457883" y="3956383"/>
                </a:cubicBezTo>
                <a:close/>
                <a:moveTo>
                  <a:pt x="61920" y="3956217"/>
                </a:moveTo>
                <a:cubicBezTo>
                  <a:pt x="67867" y="3956217"/>
                  <a:pt x="72658" y="3961006"/>
                  <a:pt x="72658" y="3966953"/>
                </a:cubicBezTo>
                <a:cubicBezTo>
                  <a:pt x="72658" y="3972899"/>
                  <a:pt x="67867" y="3977689"/>
                  <a:pt x="61920" y="3977689"/>
                </a:cubicBezTo>
                <a:cubicBezTo>
                  <a:pt x="55974" y="3977689"/>
                  <a:pt x="51184" y="3972899"/>
                  <a:pt x="51184" y="3966953"/>
                </a:cubicBezTo>
                <a:cubicBezTo>
                  <a:pt x="51184" y="3961006"/>
                  <a:pt x="55974" y="3956217"/>
                  <a:pt x="61920" y="3956217"/>
                </a:cubicBezTo>
                <a:close/>
                <a:moveTo>
                  <a:pt x="2449617" y="3955556"/>
                </a:moveTo>
                <a:cubicBezTo>
                  <a:pt x="2455563" y="3955556"/>
                  <a:pt x="2460354" y="3960346"/>
                  <a:pt x="2460354" y="3966292"/>
                </a:cubicBezTo>
                <a:cubicBezTo>
                  <a:pt x="2460354" y="3972239"/>
                  <a:pt x="2455563" y="3977030"/>
                  <a:pt x="2449617" y="3977030"/>
                </a:cubicBezTo>
                <a:cubicBezTo>
                  <a:pt x="2443670" y="3977030"/>
                  <a:pt x="2438880" y="3972239"/>
                  <a:pt x="2438880" y="3966292"/>
                </a:cubicBezTo>
                <a:cubicBezTo>
                  <a:pt x="2438880" y="3960346"/>
                  <a:pt x="2443670" y="3955556"/>
                  <a:pt x="2449617" y="3955556"/>
                </a:cubicBezTo>
                <a:close/>
                <a:moveTo>
                  <a:pt x="576956" y="3953740"/>
                </a:moveTo>
                <a:cubicBezTo>
                  <a:pt x="582903" y="3953740"/>
                  <a:pt x="587695" y="3958530"/>
                  <a:pt x="587695" y="3964476"/>
                </a:cubicBezTo>
                <a:cubicBezTo>
                  <a:pt x="587695" y="3970423"/>
                  <a:pt x="582903" y="3975213"/>
                  <a:pt x="576956" y="3975213"/>
                </a:cubicBezTo>
                <a:cubicBezTo>
                  <a:pt x="571010" y="3975213"/>
                  <a:pt x="566220" y="3970423"/>
                  <a:pt x="566220" y="3964476"/>
                </a:cubicBezTo>
                <a:cubicBezTo>
                  <a:pt x="566220" y="3958530"/>
                  <a:pt x="571010" y="3953740"/>
                  <a:pt x="576956" y="3953740"/>
                </a:cubicBezTo>
                <a:close/>
                <a:moveTo>
                  <a:pt x="85708" y="3952583"/>
                </a:moveTo>
                <a:cubicBezTo>
                  <a:pt x="91655" y="3952583"/>
                  <a:pt x="96446" y="3957373"/>
                  <a:pt x="96446" y="3963320"/>
                </a:cubicBezTo>
                <a:cubicBezTo>
                  <a:pt x="96446" y="3969266"/>
                  <a:pt x="91655" y="3974056"/>
                  <a:pt x="85708" y="3974056"/>
                </a:cubicBezTo>
                <a:cubicBezTo>
                  <a:pt x="79762" y="3974056"/>
                  <a:pt x="74972" y="3969266"/>
                  <a:pt x="74972" y="3963320"/>
                </a:cubicBezTo>
                <a:cubicBezTo>
                  <a:pt x="74972" y="3957373"/>
                  <a:pt x="79762" y="3952583"/>
                  <a:pt x="85708" y="3952583"/>
                </a:cubicBezTo>
                <a:close/>
                <a:moveTo>
                  <a:pt x="3516523" y="3951758"/>
                </a:moveTo>
                <a:cubicBezTo>
                  <a:pt x="3522470" y="3951758"/>
                  <a:pt x="3527259" y="3956548"/>
                  <a:pt x="3527259" y="3962494"/>
                </a:cubicBezTo>
                <a:cubicBezTo>
                  <a:pt x="3527259" y="3968441"/>
                  <a:pt x="3522470" y="3973231"/>
                  <a:pt x="3516523" y="3973231"/>
                </a:cubicBezTo>
                <a:cubicBezTo>
                  <a:pt x="3510576" y="3973231"/>
                  <a:pt x="3505787" y="3968441"/>
                  <a:pt x="3505787" y="3962494"/>
                </a:cubicBezTo>
                <a:cubicBezTo>
                  <a:pt x="3505787" y="3956548"/>
                  <a:pt x="3510576" y="3951758"/>
                  <a:pt x="3516523" y="3951758"/>
                </a:cubicBezTo>
                <a:close/>
                <a:moveTo>
                  <a:pt x="339260" y="3951262"/>
                </a:moveTo>
                <a:cubicBezTo>
                  <a:pt x="345207" y="3951262"/>
                  <a:pt x="349998" y="3956052"/>
                  <a:pt x="349998" y="3961998"/>
                </a:cubicBezTo>
                <a:cubicBezTo>
                  <a:pt x="349998" y="3967945"/>
                  <a:pt x="345207" y="3972735"/>
                  <a:pt x="339260" y="3972735"/>
                </a:cubicBezTo>
                <a:cubicBezTo>
                  <a:pt x="333313" y="3972735"/>
                  <a:pt x="328524" y="3967945"/>
                  <a:pt x="328524" y="3961998"/>
                </a:cubicBezTo>
                <a:cubicBezTo>
                  <a:pt x="328524" y="3956052"/>
                  <a:pt x="333313" y="3951262"/>
                  <a:pt x="339260" y="3951262"/>
                </a:cubicBezTo>
                <a:close/>
                <a:moveTo>
                  <a:pt x="29711" y="3951262"/>
                </a:moveTo>
                <a:cubicBezTo>
                  <a:pt x="35658" y="3951262"/>
                  <a:pt x="40447" y="3956052"/>
                  <a:pt x="40447" y="3961998"/>
                </a:cubicBezTo>
                <a:cubicBezTo>
                  <a:pt x="40447" y="3967945"/>
                  <a:pt x="35658" y="3972735"/>
                  <a:pt x="29711" y="3972735"/>
                </a:cubicBezTo>
                <a:cubicBezTo>
                  <a:pt x="23765" y="3972735"/>
                  <a:pt x="18975" y="3967945"/>
                  <a:pt x="18975" y="3961998"/>
                </a:cubicBezTo>
                <a:cubicBezTo>
                  <a:pt x="18975" y="3956052"/>
                  <a:pt x="23765" y="3951262"/>
                  <a:pt x="29711" y="3951262"/>
                </a:cubicBezTo>
                <a:close/>
                <a:moveTo>
                  <a:pt x="3548734" y="3950270"/>
                </a:moveTo>
                <a:cubicBezTo>
                  <a:pt x="3554680" y="3950270"/>
                  <a:pt x="3559472" y="3955060"/>
                  <a:pt x="3559472" y="3961006"/>
                </a:cubicBezTo>
                <a:cubicBezTo>
                  <a:pt x="3559472" y="3966953"/>
                  <a:pt x="3554680" y="3971744"/>
                  <a:pt x="3548734" y="3971744"/>
                </a:cubicBezTo>
                <a:cubicBezTo>
                  <a:pt x="3542787" y="3971744"/>
                  <a:pt x="3537997" y="3966953"/>
                  <a:pt x="3537997" y="3961006"/>
                </a:cubicBezTo>
                <a:cubicBezTo>
                  <a:pt x="3537997" y="3955060"/>
                  <a:pt x="3542787" y="3950270"/>
                  <a:pt x="3548734" y="3950270"/>
                </a:cubicBezTo>
                <a:close/>
                <a:moveTo>
                  <a:pt x="171767" y="3948288"/>
                </a:moveTo>
                <a:cubicBezTo>
                  <a:pt x="177714" y="3948288"/>
                  <a:pt x="182505" y="3953078"/>
                  <a:pt x="182505" y="3959024"/>
                </a:cubicBezTo>
                <a:cubicBezTo>
                  <a:pt x="182505" y="3964971"/>
                  <a:pt x="177714" y="3969762"/>
                  <a:pt x="171767" y="3969762"/>
                </a:cubicBezTo>
                <a:cubicBezTo>
                  <a:pt x="165820" y="3969762"/>
                  <a:pt x="161031" y="3964971"/>
                  <a:pt x="161031" y="3959024"/>
                </a:cubicBezTo>
                <a:cubicBezTo>
                  <a:pt x="161031" y="3953078"/>
                  <a:pt x="165820" y="3948288"/>
                  <a:pt x="171767" y="3948288"/>
                </a:cubicBezTo>
                <a:close/>
                <a:moveTo>
                  <a:pt x="3420718" y="3946472"/>
                </a:moveTo>
                <a:cubicBezTo>
                  <a:pt x="3426664" y="3946472"/>
                  <a:pt x="3431456" y="3951262"/>
                  <a:pt x="3431456" y="3957208"/>
                </a:cubicBezTo>
                <a:cubicBezTo>
                  <a:pt x="3431456" y="3963155"/>
                  <a:pt x="3426664" y="3967945"/>
                  <a:pt x="3420718" y="3967945"/>
                </a:cubicBezTo>
                <a:cubicBezTo>
                  <a:pt x="3414771" y="3967945"/>
                  <a:pt x="3409981" y="3963155"/>
                  <a:pt x="3409981" y="3957208"/>
                </a:cubicBezTo>
                <a:cubicBezTo>
                  <a:pt x="3409981" y="3951262"/>
                  <a:pt x="3414771" y="3946472"/>
                  <a:pt x="3420718" y="3946472"/>
                </a:cubicBezTo>
                <a:close/>
                <a:moveTo>
                  <a:pt x="0" y="3946162"/>
                </a:moveTo>
                <a:lnTo>
                  <a:pt x="969" y="3947131"/>
                </a:lnTo>
                <a:lnTo>
                  <a:pt x="0" y="3948100"/>
                </a:lnTo>
                <a:close/>
                <a:moveTo>
                  <a:pt x="3494058" y="3945976"/>
                </a:moveTo>
                <a:cubicBezTo>
                  <a:pt x="3500005" y="3945976"/>
                  <a:pt x="3504796" y="3950766"/>
                  <a:pt x="3504796" y="3956713"/>
                </a:cubicBezTo>
                <a:cubicBezTo>
                  <a:pt x="3504796" y="3962659"/>
                  <a:pt x="3500005" y="3967449"/>
                  <a:pt x="3494058" y="3967449"/>
                </a:cubicBezTo>
                <a:cubicBezTo>
                  <a:pt x="3488112" y="3967449"/>
                  <a:pt x="3483322" y="3962659"/>
                  <a:pt x="3483322" y="3956713"/>
                </a:cubicBezTo>
                <a:cubicBezTo>
                  <a:pt x="3483322" y="3950766"/>
                  <a:pt x="3488112" y="3945976"/>
                  <a:pt x="3494058" y="3945976"/>
                </a:cubicBezTo>
                <a:close/>
                <a:moveTo>
                  <a:pt x="116927" y="3945810"/>
                </a:moveTo>
                <a:cubicBezTo>
                  <a:pt x="122873" y="3945810"/>
                  <a:pt x="127665" y="3950600"/>
                  <a:pt x="127665" y="3956546"/>
                </a:cubicBezTo>
                <a:cubicBezTo>
                  <a:pt x="127665" y="3962493"/>
                  <a:pt x="122873" y="3967284"/>
                  <a:pt x="116927" y="3967284"/>
                </a:cubicBezTo>
                <a:cubicBezTo>
                  <a:pt x="110980" y="3967284"/>
                  <a:pt x="106191" y="3962493"/>
                  <a:pt x="106191" y="3956546"/>
                </a:cubicBezTo>
                <a:cubicBezTo>
                  <a:pt x="106191" y="3950600"/>
                  <a:pt x="110980" y="3945810"/>
                  <a:pt x="116927" y="3945810"/>
                </a:cubicBezTo>
                <a:close/>
                <a:moveTo>
                  <a:pt x="3357288" y="3944323"/>
                </a:moveTo>
                <a:cubicBezTo>
                  <a:pt x="3363235" y="3944323"/>
                  <a:pt x="3368026" y="3949113"/>
                  <a:pt x="3368026" y="3955060"/>
                </a:cubicBezTo>
                <a:cubicBezTo>
                  <a:pt x="3368026" y="3961006"/>
                  <a:pt x="3363235" y="3965796"/>
                  <a:pt x="3357288" y="3965796"/>
                </a:cubicBezTo>
                <a:cubicBezTo>
                  <a:pt x="3351342" y="3965796"/>
                  <a:pt x="3346552" y="3961006"/>
                  <a:pt x="3346552" y="3955060"/>
                </a:cubicBezTo>
                <a:cubicBezTo>
                  <a:pt x="3346552" y="3949113"/>
                  <a:pt x="3351342" y="3944323"/>
                  <a:pt x="3357288" y="3944323"/>
                </a:cubicBezTo>
                <a:close/>
                <a:moveTo>
                  <a:pt x="1041776" y="3943994"/>
                </a:moveTo>
                <a:cubicBezTo>
                  <a:pt x="1047722" y="3943994"/>
                  <a:pt x="1052514" y="3948784"/>
                  <a:pt x="1052514" y="3954730"/>
                </a:cubicBezTo>
                <a:cubicBezTo>
                  <a:pt x="1052514" y="3960677"/>
                  <a:pt x="1047722" y="3965467"/>
                  <a:pt x="1041776" y="3965467"/>
                </a:cubicBezTo>
                <a:cubicBezTo>
                  <a:pt x="1035829" y="3965467"/>
                  <a:pt x="1031039" y="3960677"/>
                  <a:pt x="1031039" y="3954730"/>
                </a:cubicBezTo>
                <a:cubicBezTo>
                  <a:pt x="1031039" y="3948784"/>
                  <a:pt x="1035829" y="3943994"/>
                  <a:pt x="1041776" y="3943994"/>
                </a:cubicBezTo>
                <a:close/>
                <a:moveTo>
                  <a:pt x="52176" y="3942673"/>
                </a:moveTo>
                <a:cubicBezTo>
                  <a:pt x="58122" y="3942673"/>
                  <a:pt x="62912" y="3947462"/>
                  <a:pt x="62912" y="3953409"/>
                </a:cubicBezTo>
                <a:cubicBezTo>
                  <a:pt x="62912" y="3959355"/>
                  <a:pt x="58122" y="3964147"/>
                  <a:pt x="52176" y="3964147"/>
                </a:cubicBezTo>
                <a:cubicBezTo>
                  <a:pt x="46229" y="3964147"/>
                  <a:pt x="41440" y="3959355"/>
                  <a:pt x="41440" y="3953409"/>
                </a:cubicBezTo>
                <a:cubicBezTo>
                  <a:pt x="41440" y="3947462"/>
                  <a:pt x="46229" y="3942673"/>
                  <a:pt x="52176" y="3942673"/>
                </a:cubicBezTo>
                <a:close/>
                <a:moveTo>
                  <a:pt x="725620" y="3941020"/>
                </a:moveTo>
                <a:cubicBezTo>
                  <a:pt x="731566" y="3941020"/>
                  <a:pt x="736358" y="3945810"/>
                  <a:pt x="736358" y="3951756"/>
                </a:cubicBezTo>
                <a:cubicBezTo>
                  <a:pt x="736358" y="3957703"/>
                  <a:pt x="731566" y="3962494"/>
                  <a:pt x="725620" y="3962494"/>
                </a:cubicBezTo>
                <a:cubicBezTo>
                  <a:pt x="719673" y="3962494"/>
                  <a:pt x="714883" y="3957703"/>
                  <a:pt x="714883" y="3951756"/>
                </a:cubicBezTo>
                <a:cubicBezTo>
                  <a:pt x="714883" y="3945810"/>
                  <a:pt x="719673" y="3941020"/>
                  <a:pt x="725620" y="3941020"/>
                </a:cubicBezTo>
                <a:close/>
                <a:moveTo>
                  <a:pt x="3468125" y="3940690"/>
                </a:moveTo>
                <a:cubicBezTo>
                  <a:pt x="3474072" y="3940690"/>
                  <a:pt x="3478862" y="3945480"/>
                  <a:pt x="3478862" y="3951427"/>
                </a:cubicBezTo>
                <a:cubicBezTo>
                  <a:pt x="3478862" y="3957373"/>
                  <a:pt x="3474072" y="3962163"/>
                  <a:pt x="3468125" y="3962163"/>
                </a:cubicBezTo>
                <a:cubicBezTo>
                  <a:pt x="3462179" y="3962163"/>
                  <a:pt x="3457389" y="3957373"/>
                  <a:pt x="3457389" y="3951427"/>
                </a:cubicBezTo>
                <a:cubicBezTo>
                  <a:pt x="3457389" y="3945480"/>
                  <a:pt x="3462179" y="3940690"/>
                  <a:pt x="3468125" y="3940690"/>
                </a:cubicBezTo>
                <a:close/>
                <a:moveTo>
                  <a:pt x="245933" y="3939865"/>
                </a:moveTo>
                <a:cubicBezTo>
                  <a:pt x="251880" y="3939865"/>
                  <a:pt x="256671" y="3944655"/>
                  <a:pt x="256671" y="3950601"/>
                </a:cubicBezTo>
                <a:cubicBezTo>
                  <a:pt x="256671" y="3956548"/>
                  <a:pt x="251880" y="3961338"/>
                  <a:pt x="245933" y="3961338"/>
                </a:cubicBezTo>
                <a:cubicBezTo>
                  <a:pt x="239986" y="3961338"/>
                  <a:pt x="235197" y="3956548"/>
                  <a:pt x="235197" y="3950601"/>
                </a:cubicBezTo>
                <a:cubicBezTo>
                  <a:pt x="235197" y="3944655"/>
                  <a:pt x="239986" y="3939865"/>
                  <a:pt x="245933" y="3939865"/>
                </a:cubicBezTo>
                <a:close/>
                <a:moveTo>
                  <a:pt x="3588377" y="3938212"/>
                </a:moveTo>
                <a:cubicBezTo>
                  <a:pt x="3594324" y="3938212"/>
                  <a:pt x="3599114" y="3943002"/>
                  <a:pt x="3599114" y="3948949"/>
                </a:cubicBezTo>
                <a:cubicBezTo>
                  <a:pt x="3599114" y="3954895"/>
                  <a:pt x="3594324" y="3959685"/>
                  <a:pt x="3588377" y="3959685"/>
                </a:cubicBezTo>
                <a:cubicBezTo>
                  <a:pt x="3582431" y="3959685"/>
                  <a:pt x="3577641" y="3954895"/>
                  <a:pt x="3577641" y="3948949"/>
                </a:cubicBezTo>
                <a:cubicBezTo>
                  <a:pt x="3577641" y="3943002"/>
                  <a:pt x="3582431" y="3938212"/>
                  <a:pt x="3588377" y="3938212"/>
                </a:cubicBezTo>
                <a:close/>
                <a:moveTo>
                  <a:pt x="3525608" y="3937716"/>
                </a:moveTo>
                <a:cubicBezTo>
                  <a:pt x="3531555" y="3937716"/>
                  <a:pt x="3536346" y="3942506"/>
                  <a:pt x="3536346" y="3948453"/>
                </a:cubicBezTo>
                <a:cubicBezTo>
                  <a:pt x="3536346" y="3954399"/>
                  <a:pt x="3531555" y="3959189"/>
                  <a:pt x="3525608" y="3959189"/>
                </a:cubicBezTo>
                <a:cubicBezTo>
                  <a:pt x="3519662" y="3959189"/>
                  <a:pt x="3514872" y="3954399"/>
                  <a:pt x="3514872" y="3948453"/>
                </a:cubicBezTo>
                <a:cubicBezTo>
                  <a:pt x="3514872" y="3942506"/>
                  <a:pt x="3519662" y="3937716"/>
                  <a:pt x="3525608" y="3937716"/>
                </a:cubicBezTo>
                <a:close/>
                <a:moveTo>
                  <a:pt x="75136" y="3937716"/>
                </a:moveTo>
                <a:cubicBezTo>
                  <a:pt x="81083" y="3937716"/>
                  <a:pt x="85873" y="3942506"/>
                  <a:pt x="85873" y="3948453"/>
                </a:cubicBezTo>
                <a:cubicBezTo>
                  <a:pt x="85873" y="3954399"/>
                  <a:pt x="81083" y="3959189"/>
                  <a:pt x="75136" y="3959189"/>
                </a:cubicBezTo>
                <a:cubicBezTo>
                  <a:pt x="69190" y="3959189"/>
                  <a:pt x="64400" y="3954399"/>
                  <a:pt x="64400" y="3948453"/>
                </a:cubicBezTo>
                <a:cubicBezTo>
                  <a:pt x="64400" y="3942506"/>
                  <a:pt x="69190" y="3937716"/>
                  <a:pt x="75136" y="3937716"/>
                </a:cubicBezTo>
                <a:close/>
                <a:moveTo>
                  <a:pt x="21451" y="3936395"/>
                </a:moveTo>
                <a:cubicBezTo>
                  <a:pt x="27398" y="3936395"/>
                  <a:pt x="32188" y="3941185"/>
                  <a:pt x="32188" y="3947131"/>
                </a:cubicBezTo>
                <a:cubicBezTo>
                  <a:pt x="32188" y="3953078"/>
                  <a:pt x="27398" y="3957869"/>
                  <a:pt x="21451" y="3957869"/>
                </a:cubicBezTo>
                <a:cubicBezTo>
                  <a:pt x="15505" y="3957869"/>
                  <a:pt x="10715" y="3953078"/>
                  <a:pt x="10715" y="3947131"/>
                </a:cubicBezTo>
                <a:cubicBezTo>
                  <a:pt x="10715" y="3941185"/>
                  <a:pt x="15505" y="3936395"/>
                  <a:pt x="21451" y="3936395"/>
                </a:cubicBezTo>
                <a:close/>
                <a:moveTo>
                  <a:pt x="3556167" y="3934413"/>
                </a:moveTo>
                <a:cubicBezTo>
                  <a:pt x="3562113" y="3934413"/>
                  <a:pt x="3566903" y="3939202"/>
                  <a:pt x="3566903" y="3945149"/>
                </a:cubicBezTo>
                <a:cubicBezTo>
                  <a:pt x="3566903" y="3951095"/>
                  <a:pt x="3562113" y="3955887"/>
                  <a:pt x="3556167" y="3955887"/>
                </a:cubicBezTo>
                <a:cubicBezTo>
                  <a:pt x="3550220" y="3955887"/>
                  <a:pt x="3545430" y="3951095"/>
                  <a:pt x="3545430" y="3945149"/>
                </a:cubicBezTo>
                <a:cubicBezTo>
                  <a:pt x="3545430" y="3939202"/>
                  <a:pt x="3550220" y="3934413"/>
                  <a:pt x="3556167" y="3934413"/>
                </a:cubicBezTo>
                <a:close/>
                <a:moveTo>
                  <a:pt x="3167660" y="3934248"/>
                </a:moveTo>
                <a:cubicBezTo>
                  <a:pt x="3173607" y="3934248"/>
                  <a:pt x="3178396" y="3939038"/>
                  <a:pt x="3178396" y="3944984"/>
                </a:cubicBezTo>
                <a:cubicBezTo>
                  <a:pt x="3178396" y="3950931"/>
                  <a:pt x="3173607" y="3955721"/>
                  <a:pt x="3167660" y="3955721"/>
                </a:cubicBezTo>
                <a:cubicBezTo>
                  <a:pt x="3161714" y="3955721"/>
                  <a:pt x="3156924" y="3950931"/>
                  <a:pt x="3156924" y="3944984"/>
                </a:cubicBezTo>
                <a:cubicBezTo>
                  <a:pt x="3156924" y="3939038"/>
                  <a:pt x="3161714" y="3934248"/>
                  <a:pt x="3167660" y="3934248"/>
                </a:cubicBezTo>
                <a:close/>
                <a:moveTo>
                  <a:pt x="3045591" y="3932762"/>
                </a:moveTo>
                <a:cubicBezTo>
                  <a:pt x="3051537" y="3932762"/>
                  <a:pt x="3056329" y="3937551"/>
                  <a:pt x="3056329" y="3943498"/>
                </a:cubicBezTo>
                <a:cubicBezTo>
                  <a:pt x="3056329" y="3949445"/>
                  <a:pt x="3051537" y="3954236"/>
                  <a:pt x="3045591" y="3954236"/>
                </a:cubicBezTo>
                <a:cubicBezTo>
                  <a:pt x="3039644" y="3954236"/>
                  <a:pt x="3034854" y="3949445"/>
                  <a:pt x="3034854" y="3943498"/>
                </a:cubicBezTo>
                <a:cubicBezTo>
                  <a:pt x="3034854" y="3937551"/>
                  <a:pt x="3039644" y="3932762"/>
                  <a:pt x="3045591" y="3932762"/>
                </a:cubicBezTo>
                <a:close/>
                <a:moveTo>
                  <a:pt x="3504959" y="3931770"/>
                </a:moveTo>
                <a:cubicBezTo>
                  <a:pt x="3510906" y="3931770"/>
                  <a:pt x="3515698" y="3936560"/>
                  <a:pt x="3515698" y="3942506"/>
                </a:cubicBezTo>
                <a:cubicBezTo>
                  <a:pt x="3515698" y="3948453"/>
                  <a:pt x="3510906" y="3953244"/>
                  <a:pt x="3504959" y="3953244"/>
                </a:cubicBezTo>
                <a:cubicBezTo>
                  <a:pt x="3499013" y="3953244"/>
                  <a:pt x="3494223" y="3948453"/>
                  <a:pt x="3494223" y="3942506"/>
                </a:cubicBezTo>
                <a:cubicBezTo>
                  <a:pt x="3494223" y="3936560"/>
                  <a:pt x="3499013" y="3931770"/>
                  <a:pt x="3504959" y="3931770"/>
                </a:cubicBezTo>
                <a:close/>
                <a:moveTo>
                  <a:pt x="3627856" y="3930615"/>
                </a:moveTo>
                <a:cubicBezTo>
                  <a:pt x="3633603" y="3930615"/>
                  <a:pt x="3638261" y="3935275"/>
                  <a:pt x="3638261" y="3941022"/>
                </a:cubicBezTo>
                <a:cubicBezTo>
                  <a:pt x="3638261" y="3946769"/>
                  <a:pt x="3633603" y="3951427"/>
                  <a:pt x="3627856" y="3951427"/>
                </a:cubicBezTo>
                <a:cubicBezTo>
                  <a:pt x="3622109" y="3951427"/>
                  <a:pt x="3617449" y="3946769"/>
                  <a:pt x="3617449" y="3941022"/>
                </a:cubicBezTo>
                <a:cubicBezTo>
                  <a:pt x="3617449" y="3935275"/>
                  <a:pt x="3622109" y="3930615"/>
                  <a:pt x="3627856" y="3930615"/>
                </a:cubicBezTo>
                <a:close/>
                <a:moveTo>
                  <a:pt x="2596958" y="3929623"/>
                </a:moveTo>
                <a:cubicBezTo>
                  <a:pt x="2602905" y="3929623"/>
                  <a:pt x="2607694" y="3934413"/>
                  <a:pt x="2607694" y="3940359"/>
                </a:cubicBezTo>
                <a:cubicBezTo>
                  <a:pt x="2607694" y="3946306"/>
                  <a:pt x="2602905" y="3951097"/>
                  <a:pt x="2596958" y="3951097"/>
                </a:cubicBezTo>
                <a:cubicBezTo>
                  <a:pt x="2591012" y="3951097"/>
                  <a:pt x="2586222" y="3946306"/>
                  <a:pt x="2586222" y="3940359"/>
                </a:cubicBezTo>
                <a:cubicBezTo>
                  <a:pt x="2586222" y="3934413"/>
                  <a:pt x="2591012" y="3929623"/>
                  <a:pt x="2596958" y="3929623"/>
                </a:cubicBezTo>
                <a:close/>
                <a:moveTo>
                  <a:pt x="1741650" y="3929292"/>
                </a:moveTo>
                <a:cubicBezTo>
                  <a:pt x="1747597" y="3929292"/>
                  <a:pt x="1752388" y="3934081"/>
                  <a:pt x="1752388" y="3940028"/>
                </a:cubicBezTo>
                <a:cubicBezTo>
                  <a:pt x="1752388" y="3945974"/>
                  <a:pt x="1747597" y="3950766"/>
                  <a:pt x="1741650" y="3950766"/>
                </a:cubicBezTo>
                <a:cubicBezTo>
                  <a:pt x="1735704" y="3950766"/>
                  <a:pt x="1730914" y="3945974"/>
                  <a:pt x="1730914" y="3940028"/>
                </a:cubicBezTo>
                <a:cubicBezTo>
                  <a:pt x="1730914" y="3934081"/>
                  <a:pt x="1735704" y="3929292"/>
                  <a:pt x="1741650" y="3929292"/>
                </a:cubicBezTo>
                <a:close/>
                <a:moveTo>
                  <a:pt x="41440" y="3928466"/>
                </a:moveTo>
                <a:cubicBezTo>
                  <a:pt x="47386" y="3928466"/>
                  <a:pt x="52177" y="3933256"/>
                  <a:pt x="52177" y="3939202"/>
                </a:cubicBezTo>
                <a:cubicBezTo>
                  <a:pt x="52177" y="3945149"/>
                  <a:pt x="47386" y="3949939"/>
                  <a:pt x="41440" y="3949939"/>
                </a:cubicBezTo>
                <a:cubicBezTo>
                  <a:pt x="35493" y="3949939"/>
                  <a:pt x="30703" y="3945149"/>
                  <a:pt x="30703" y="3939202"/>
                </a:cubicBezTo>
                <a:cubicBezTo>
                  <a:pt x="30703" y="3933256"/>
                  <a:pt x="35493" y="3928466"/>
                  <a:pt x="41440" y="3928466"/>
                </a:cubicBezTo>
                <a:close/>
                <a:moveTo>
                  <a:pt x="3271723" y="3928301"/>
                </a:moveTo>
                <a:cubicBezTo>
                  <a:pt x="3277670" y="3928301"/>
                  <a:pt x="3282460" y="3933091"/>
                  <a:pt x="3282460" y="3939038"/>
                </a:cubicBezTo>
                <a:cubicBezTo>
                  <a:pt x="3282460" y="3944984"/>
                  <a:pt x="3277670" y="3949774"/>
                  <a:pt x="3271723" y="3949774"/>
                </a:cubicBezTo>
                <a:cubicBezTo>
                  <a:pt x="3265777" y="3949774"/>
                  <a:pt x="3260987" y="3944984"/>
                  <a:pt x="3260987" y="3939038"/>
                </a:cubicBezTo>
                <a:cubicBezTo>
                  <a:pt x="3260987" y="3933091"/>
                  <a:pt x="3265777" y="3928301"/>
                  <a:pt x="3271723" y="3928301"/>
                </a:cubicBezTo>
                <a:close/>
                <a:moveTo>
                  <a:pt x="1907988" y="3927641"/>
                </a:moveTo>
                <a:cubicBezTo>
                  <a:pt x="1913935" y="3927641"/>
                  <a:pt x="1918726" y="3932430"/>
                  <a:pt x="1918726" y="3938377"/>
                </a:cubicBezTo>
                <a:cubicBezTo>
                  <a:pt x="1918726" y="3944323"/>
                  <a:pt x="1913935" y="3949115"/>
                  <a:pt x="1907988" y="3949115"/>
                </a:cubicBezTo>
                <a:cubicBezTo>
                  <a:pt x="1902042" y="3949115"/>
                  <a:pt x="1897252" y="3944323"/>
                  <a:pt x="1897252" y="3938377"/>
                </a:cubicBezTo>
                <a:cubicBezTo>
                  <a:pt x="1897252" y="3932430"/>
                  <a:pt x="1902042" y="3927641"/>
                  <a:pt x="1907988" y="3927641"/>
                </a:cubicBezTo>
                <a:close/>
                <a:moveTo>
                  <a:pt x="107842" y="3926649"/>
                </a:moveTo>
                <a:cubicBezTo>
                  <a:pt x="113788" y="3926649"/>
                  <a:pt x="118580" y="3931438"/>
                  <a:pt x="118580" y="3937385"/>
                </a:cubicBezTo>
                <a:cubicBezTo>
                  <a:pt x="118580" y="3943332"/>
                  <a:pt x="113788" y="3948123"/>
                  <a:pt x="107842" y="3948123"/>
                </a:cubicBezTo>
                <a:cubicBezTo>
                  <a:pt x="101895" y="3948123"/>
                  <a:pt x="97105" y="3943332"/>
                  <a:pt x="97105" y="3937385"/>
                </a:cubicBezTo>
                <a:cubicBezTo>
                  <a:pt x="97105" y="3931438"/>
                  <a:pt x="101895" y="3926649"/>
                  <a:pt x="107842" y="3926649"/>
                </a:cubicBezTo>
                <a:close/>
                <a:moveTo>
                  <a:pt x="3428151" y="3924998"/>
                </a:moveTo>
                <a:cubicBezTo>
                  <a:pt x="3434097" y="3924998"/>
                  <a:pt x="3438887" y="3929788"/>
                  <a:pt x="3438887" y="3935734"/>
                </a:cubicBezTo>
                <a:cubicBezTo>
                  <a:pt x="3438887" y="3941681"/>
                  <a:pt x="3434097" y="3946472"/>
                  <a:pt x="3428151" y="3946472"/>
                </a:cubicBezTo>
                <a:cubicBezTo>
                  <a:pt x="3422204" y="3946472"/>
                  <a:pt x="3417414" y="3941681"/>
                  <a:pt x="3417414" y="3935734"/>
                </a:cubicBezTo>
                <a:cubicBezTo>
                  <a:pt x="3417414" y="3929788"/>
                  <a:pt x="3422204" y="3924998"/>
                  <a:pt x="3428151" y="3924998"/>
                </a:cubicBezTo>
                <a:close/>
                <a:moveTo>
                  <a:pt x="1575477" y="3924833"/>
                </a:moveTo>
                <a:cubicBezTo>
                  <a:pt x="1581423" y="3924833"/>
                  <a:pt x="1586215" y="3929623"/>
                  <a:pt x="1586215" y="3935569"/>
                </a:cubicBezTo>
                <a:cubicBezTo>
                  <a:pt x="1586215" y="3941516"/>
                  <a:pt x="1581423" y="3946306"/>
                  <a:pt x="1575477" y="3946306"/>
                </a:cubicBezTo>
                <a:cubicBezTo>
                  <a:pt x="1569530" y="3946306"/>
                  <a:pt x="1564741" y="3941516"/>
                  <a:pt x="1564741" y="3935569"/>
                </a:cubicBezTo>
                <a:cubicBezTo>
                  <a:pt x="1564741" y="3929623"/>
                  <a:pt x="1569530" y="3924833"/>
                  <a:pt x="1575477" y="3924833"/>
                </a:cubicBezTo>
                <a:close/>
                <a:moveTo>
                  <a:pt x="166481" y="3923841"/>
                </a:moveTo>
                <a:cubicBezTo>
                  <a:pt x="172428" y="3923841"/>
                  <a:pt x="177219" y="3928631"/>
                  <a:pt x="177219" y="3934577"/>
                </a:cubicBezTo>
                <a:cubicBezTo>
                  <a:pt x="177219" y="3940524"/>
                  <a:pt x="172428" y="3945314"/>
                  <a:pt x="166481" y="3945314"/>
                </a:cubicBezTo>
                <a:cubicBezTo>
                  <a:pt x="160535" y="3945314"/>
                  <a:pt x="155745" y="3940524"/>
                  <a:pt x="155745" y="3934577"/>
                </a:cubicBezTo>
                <a:cubicBezTo>
                  <a:pt x="155745" y="3928631"/>
                  <a:pt x="160535" y="3923841"/>
                  <a:pt x="166481" y="3923841"/>
                </a:cubicBezTo>
                <a:close/>
                <a:moveTo>
                  <a:pt x="3535849" y="3923347"/>
                </a:moveTo>
                <a:cubicBezTo>
                  <a:pt x="3541795" y="3923347"/>
                  <a:pt x="3546587" y="3928137"/>
                  <a:pt x="3546587" y="3934083"/>
                </a:cubicBezTo>
                <a:cubicBezTo>
                  <a:pt x="3546587" y="3940030"/>
                  <a:pt x="3541795" y="3944819"/>
                  <a:pt x="3535849" y="3944819"/>
                </a:cubicBezTo>
                <a:cubicBezTo>
                  <a:pt x="3529902" y="3944819"/>
                  <a:pt x="3525112" y="3940030"/>
                  <a:pt x="3525112" y="3934083"/>
                </a:cubicBezTo>
                <a:cubicBezTo>
                  <a:pt x="3525112" y="3928137"/>
                  <a:pt x="3529902" y="3923347"/>
                  <a:pt x="3535849" y="3923347"/>
                </a:cubicBezTo>
                <a:close/>
                <a:moveTo>
                  <a:pt x="3478366" y="3923180"/>
                </a:moveTo>
                <a:cubicBezTo>
                  <a:pt x="3484297" y="3923180"/>
                  <a:pt x="3489102" y="3927987"/>
                  <a:pt x="3489102" y="3933917"/>
                </a:cubicBezTo>
                <a:cubicBezTo>
                  <a:pt x="3489102" y="3939846"/>
                  <a:pt x="3484297" y="3944653"/>
                  <a:pt x="3478366" y="3944653"/>
                </a:cubicBezTo>
                <a:cubicBezTo>
                  <a:pt x="3472437" y="3944653"/>
                  <a:pt x="3467629" y="3939846"/>
                  <a:pt x="3467629" y="3933917"/>
                </a:cubicBezTo>
                <a:cubicBezTo>
                  <a:pt x="3467629" y="3927987"/>
                  <a:pt x="3472437" y="3923180"/>
                  <a:pt x="3478366" y="3923180"/>
                </a:cubicBezTo>
                <a:close/>
                <a:moveTo>
                  <a:pt x="2903370" y="3921859"/>
                </a:moveTo>
                <a:cubicBezTo>
                  <a:pt x="2909316" y="3921859"/>
                  <a:pt x="2914108" y="3926649"/>
                  <a:pt x="2914108" y="3932595"/>
                </a:cubicBezTo>
                <a:cubicBezTo>
                  <a:pt x="2914108" y="3938542"/>
                  <a:pt x="2909316" y="3943332"/>
                  <a:pt x="2903370" y="3943332"/>
                </a:cubicBezTo>
                <a:cubicBezTo>
                  <a:pt x="2897423" y="3943332"/>
                  <a:pt x="2892634" y="3938542"/>
                  <a:pt x="2892634" y="3932595"/>
                </a:cubicBezTo>
                <a:cubicBezTo>
                  <a:pt x="2892634" y="3926649"/>
                  <a:pt x="2897423" y="3921859"/>
                  <a:pt x="2903370" y="3921859"/>
                </a:cubicBezTo>
                <a:close/>
                <a:moveTo>
                  <a:pt x="64069" y="3921694"/>
                </a:moveTo>
                <a:cubicBezTo>
                  <a:pt x="70015" y="3921694"/>
                  <a:pt x="74805" y="3926484"/>
                  <a:pt x="74805" y="3932430"/>
                </a:cubicBezTo>
                <a:cubicBezTo>
                  <a:pt x="74805" y="3938377"/>
                  <a:pt x="70015" y="3943167"/>
                  <a:pt x="64069" y="3943167"/>
                </a:cubicBezTo>
                <a:cubicBezTo>
                  <a:pt x="58122" y="3943167"/>
                  <a:pt x="53333" y="3938377"/>
                  <a:pt x="53333" y="3932430"/>
                </a:cubicBezTo>
                <a:cubicBezTo>
                  <a:pt x="53333" y="3926484"/>
                  <a:pt x="58122" y="3921694"/>
                  <a:pt x="64069" y="3921694"/>
                </a:cubicBezTo>
                <a:close/>
                <a:moveTo>
                  <a:pt x="11872" y="3921529"/>
                </a:moveTo>
                <a:cubicBezTo>
                  <a:pt x="17818" y="3921529"/>
                  <a:pt x="22610" y="3926319"/>
                  <a:pt x="22610" y="3932266"/>
                </a:cubicBezTo>
                <a:cubicBezTo>
                  <a:pt x="22610" y="3938212"/>
                  <a:pt x="17818" y="3943004"/>
                  <a:pt x="11872" y="3943004"/>
                </a:cubicBezTo>
                <a:cubicBezTo>
                  <a:pt x="5925" y="3943004"/>
                  <a:pt x="1135" y="3938212"/>
                  <a:pt x="1135" y="3932266"/>
                </a:cubicBezTo>
                <a:cubicBezTo>
                  <a:pt x="1135" y="3926319"/>
                  <a:pt x="5925" y="3921529"/>
                  <a:pt x="11872" y="3921529"/>
                </a:cubicBezTo>
                <a:close/>
                <a:moveTo>
                  <a:pt x="3594653" y="3920373"/>
                </a:moveTo>
                <a:cubicBezTo>
                  <a:pt x="3600600" y="3920373"/>
                  <a:pt x="3605391" y="3925162"/>
                  <a:pt x="3605391" y="3931109"/>
                </a:cubicBezTo>
                <a:cubicBezTo>
                  <a:pt x="3605391" y="3937056"/>
                  <a:pt x="3600600" y="3941847"/>
                  <a:pt x="3594653" y="3941847"/>
                </a:cubicBezTo>
                <a:cubicBezTo>
                  <a:pt x="3588707" y="3941847"/>
                  <a:pt x="3583917" y="3937056"/>
                  <a:pt x="3583917" y="3931109"/>
                </a:cubicBezTo>
                <a:cubicBezTo>
                  <a:pt x="3583917" y="3925162"/>
                  <a:pt x="3588707" y="3920373"/>
                  <a:pt x="3594653" y="3920373"/>
                </a:cubicBezTo>
                <a:close/>
                <a:moveTo>
                  <a:pt x="2073334" y="3919877"/>
                </a:moveTo>
                <a:cubicBezTo>
                  <a:pt x="2079281" y="3919877"/>
                  <a:pt x="2084072" y="3924666"/>
                  <a:pt x="2084072" y="3930613"/>
                </a:cubicBezTo>
                <a:cubicBezTo>
                  <a:pt x="2084072" y="3936560"/>
                  <a:pt x="2079281" y="3941351"/>
                  <a:pt x="2073334" y="3941351"/>
                </a:cubicBezTo>
                <a:cubicBezTo>
                  <a:pt x="2067388" y="3941351"/>
                  <a:pt x="2062598" y="3936560"/>
                  <a:pt x="2062598" y="3930613"/>
                </a:cubicBezTo>
                <a:cubicBezTo>
                  <a:pt x="2062598" y="3924666"/>
                  <a:pt x="2067388" y="3919877"/>
                  <a:pt x="2073334" y="3919877"/>
                </a:cubicBezTo>
                <a:close/>
                <a:moveTo>
                  <a:pt x="3564756" y="3918722"/>
                </a:moveTo>
                <a:cubicBezTo>
                  <a:pt x="3570702" y="3918722"/>
                  <a:pt x="3575494" y="3923512"/>
                  <a:pt x="3575494" y="3929458"/>
                </a:cubicBezTo>
                <a:cubicBezTo>
                  <a:pt x="3575494" y="3935405"/>
                  <a:pt x="3570702" y="3940194"/>
                  <a:pt x="3564756" y="3940194"/>
                </a:cubicBezTo>
                <a:cubicBezTo>
                  <a:pt x="3558809" y="3940194"/>
                  <a:pt x="3554020" y="3935405"/>
                  <a:pt x="3554020" y="3929458"/>
                </a:cubicBezTo>
                <a:cubicBezTo>
                  <a:pt x="3554020" y="3923512"/>
                  <a:pt x="3558809" y="3918722"/>
                  <a:pt x="3564756" y="3918722"/>
                </a:cubicBezTo>
                <a:close/>
                <a:moveTo>
                  <a:pt x="3516358" y="3916408"/>
                </a:moveTo>
                <a:cubicBezTo>
                  <a:pt x="3522305" y="3916408"/>
                  <a:pt x="3527096" y="3921198"/>
                  <a:pt x="3527096" y="3927145"/>
                </a:cubicBezTo>
                <a:cubicBezTo>
                  <a:pt x="3527096" y="3933091"/>
                  <a:pt x="3522305" y="3937881"/>
                  <a:pt x="3516358" y="3937881"/>
                </a:cubicBezTo>
                <a:cubicBezTo>
                  <a:pt x="3510412" y="3937881"/>
                  <a:pt x="3505622" y="3933091"/>
                  <a:pt x="3505622" y="3927145"/>
                </a:cubicBezTo>
                <a:cubicBezTo>
                  <a:pt x="3505622" y="3921198"/>
                  <a:pt x="3510412" y="3916408"/>
                  <a:pt x="3516358" y="3916408"/>
                </a:cubicBezTo>
                <a:close/>
                <a:moveTo>
                  <a:pt x="3360262" y="3916408"/>
                </a:moveTo>
                <a:cubicBezTo>
                  <a:pt x="3366209" y="3916408"/>
                  <a:pt x="3370999" y="3921198"/>
                  <a:pt x="3370999" y="3927145"/>
                </a:cubicBezTo>
                <a:cubicBezTo>
                  <a:pt x="3370999" y="3933091"/>
                  <a:pt x="3366209" y="3937881"/>
                  <a:pt x="3360262" y="3937881"/>
                </a:cubicBezTo>
                <a:cubicBezTo>
                  <a:pt x="3354316" y="3937881"/>
                  <a:pt x="3349526" y="3933091"/>
                  <a:pt x="3349526" y="3927145"/>
                </a:cubicBezTo>
                <a:cubicBezTo>
                  <a:pt x="3349526" y="3921198"/>
                  <a:pt x="3354316" y="3916408"/>
                  <a:pt x="3360262" y="3916408"/>
                </a:cubicBezTo>
                <a:close/>
                <a:moveTo>
                  <a:pt x="896747" y="3915912"/>
                </a:moveTo>
                <a:cubicBezTo>
                  <a:pt x="902694" y="3915912"/>
                  <a:pt x="907486" y="3920702"/>
                  <a:pt x="907486" y="3926649"/>
                </a:cubicBezTo>
                <a:cubicBezTo>
                  <a:pt x="907486" y="3932595"/>
                  <a:pt x="902694" y="3937385"/>
                  <a:pt x="896747" y="3937385"/>
                </a:cubicBezTo>
                <a:cubicBezTo>
                  <a:pt x="890801" y="3937385"/>
                  <a:pt x="886011" y="3932595"/>
                  <a:pt x="886011" y="3926649"/>
                </a:cubicBezTo>
                <a:cubicBezTo>
                  <a:pt x="886011" y="3920702"/>
                  <a:pt x="890801" y="3915912"/>
                  <a:pt x="896747" y="3915912"/>
                </a:cubicBezTo>
                <a:close/>
                <a:moveTo>
                  <a:pt x="345703" y="3914591"/>
                </a:moveTo>
                <a:cubicBezTo>
                  <a:pt x="351649" y="3914591"/>
                  <a:pt x="356441" y="3919381"/>
                  <a:pt x="356441" y="3925327"/>
                </a:cubicBezTo>
                <a:cubicBezTo>
                  <a:pt x="356441" y="3931274"/>
                  <a:pt x="351649" y="3936064"/>
                  <a:pt x="345703" y="3936064"/>
                </a:cubicBezTo>
                <a:cubicBezTo>
                  <a:pt x="339756" y="3936064"/>
                  <a:pt x="334966" y="3931274"/>
                  <a:pt x="334966" y="3925327"/>
                </a:cubicBezTo>
                <a:cubicBezTo>
                  <a:pt x="334966" y="3919381"/>
                  <a:pt x="339756" y="3914591"/>
                  <a:pt x="345703" y="3914591"/>
                </a:cubicBezTo>
                <a:close/>
                <a:moveTo>
                  <a:pt x="1411121" y="3914261"/>
                </a:moveTo>
                <a:cubicBezTo>
                  <a:pt x="1417068" y="3914261"/>
                  <a:pt x="1421859" y="3919051"/>
                  <a:pt x="1421859" y="3924998"/>
                </a:cubicBezTo>
                <a:cubicBezTo>
                  <a:pt x="1421859" y="3930944"/>
                  <a:pt x="1417068" y="3935736"/>
                  <a:pt x="1411121" y="3935736"/>
                </a:cubicBezTo>
                <a:cubicBezTo>
                  <a:pt x="1405175" y="3935736"/>
                  <a:pt x="1400385" y="3930944"/>
                  <a:pt x="1400385" y="3924998"/>
                </a:cubicBezTo>
                <a:cubicBezTo>
                  <a:pt x="1400385" y="3919051"/>
                  <a:pt x="1405175" y="3914261"/>
                  <a:pt x="1411121" y="3914261"/>
                </a:cubicBezTo>
                <a:close/>
                <a:moveTo>
                  <a:pt x="462486" y="3914097"/>
                </a:moveTo>
                <a:cubicBezTo>
                  <a:pt x="468433" y="3914097"/>
                  <a:pt x="473224" y="3918886"/>
                  <a:pt x="473224" y="3924833"/>
                </a:cubicBezTo>
                <a:cubicBezTo>
                  <a:pt x="473224" y="3930779"/>
                  <a:pt x="468433" y="3935569"/>
                  <a:pt x="462486" y="3935569"/>
                </a:cubicBezTo>
                <a:cubicBezTo>
                  <a:pt x="456540" y="3935569"/>
                  <a:pt x="451750" y="3930779"/>
                  <a:pt x="451750" y="3924833"/>
                </a:cubicBezTo>
                <a:cubicBezTo>
                  <a:pt x="451750" y="3918886"/>
                  <a:pt x="456540" y="3914097"/>
                  <a:pt x="462486" y="3914097"/>
                </a:cubicBezTo>
                <a:close/>
                <a:moveTo>
                  <a:pt x="30041" y="3913601"/>
                </a:moveTo>
                <a:cubicBezTo>
                  <a:pt x="35987" y="3913601"/>
                  <a:pt x="40779" y="3918390"/>
                  <a:pt x="40779" y="3924337"/>
                </a:cubicBezTo>
                <a:cubicBezTo>
                  <a:pt x="40779" y="3930284"/>
                  <a:pt x="35987" y="3935073"/>
                  <a:pt x="30041" y="3935073"/>
                </a:cubicBezTo>
                <a:cubicBezTo>
                  <a:pt x="24094" y="3935073"/>
                  <a:pt x="19304" y="3930284"/>
                  <a:pt x="19304" y="3924337"/>
                </a:cubicBezTo>
                <a:cubicBezTo>
                  <a:pt x="19304" y="3918390"/>
                  <a:pt x="24094" y="3913601"/>
                  <a:pt x="30041" y="3913601"/>
                </a:cubicBezTo>
                <a:close/>
                <a:moveTo>
                  <a:pt x="3671299" y="3910627"/>
                </a:moveTo>
                <a:cubicBezTo>
                  <a:pt x="3673776" y="3910627"/>
                  <a:pt x="3675760" y="3912609"/>
                  <a:pt x="3675760" y="3915087"/>
                </a:cubicBezTo>
                <a:cubicBezTo>
                  <a:pt x="3675760" y="3917565"/>
                  <a:pt x="3673776" y="3919547"/>
                  <a:pt x="3671299" y="3919547"/>
                </a:cubicBezTo>
                <a:cubicBezTo>
                  <a:pt x="3668821" y="3919547"/>
                  <a:pt x="3666839" y="3917565"/>
                  <a:pt x="3666839" y="3915087"/>
                </a:cubicBezTo>
                <a:cubicBezTo>
                  <a:pt x="3666839" y="3912609"/>
                  <a:pt x="3668821" y="3910627"/>
                  <a:pt x="3671299" y="3910627"/>
                </a:cubicBezTo>
                <a:close/>
                <a:moveTo>
                  <a:pt x="3632811" y="3910462"/>
                </a:moveTo>
                <a:cubicBezTo>
                  <a:pt x="3638757" y="3910462"/>
                  <a:pt x="3643547" y="3915252"/>
                  <a:pt x="3643547" y="3921198"/>
                </a:cubicBezTo>
                <a:cubicBezTo>
                  <a:pt x="3643547" y="3927145"/>
                  <a:pt x="3638757" y="3931934"/>
                  <a:pt x="3632811" y="3931934"/>
                </a:cubicBezTo>
                <a:cubicBezTo>
                  <a:pt x="3626864" y="3931934"/>
                  <a:pt x="3622074" y="3927145"/>
                  <a:pt x="3622074" y="3921198"/>
                </a:cubicBezTo>
                <a:cubicBezTo>
                  <a:pt x="3622074" y="3915252"/>
                  <a:pt x="3626864" y="3910462"/>
                  <a:pt x="3632811" y="3910462"/>
                </a:cubicBezTo>
                <a:close/>
                <a:moveTo>
                  <a:pt x="3547081" y="3908480"/>
                </a:moveTo>
                <a:cubicBezTo>
                  <a:pt x="3553028" y="3908480"/>
                  <a:pt x="3557817" y="3913269"/>
                  <a:pt x="3557817" y="3919216"/>
                </a:cubicBezTo>
                <a:cubicBezTo>
                  <a:pt x="3557817" y="3925162"/>
                  <a:pt x="3553028" y="3929954"/>
                  <a:pt x="3547081" y="3929954"/>
                </a:cubicBezTo>
                <a:cubicBezTo>
                  <a:pt x="3541135" y="3929954"/>
                  <a:pt x="3536345" y="3925162"/>
                  <a:pt x="3536345" y="3919216"/>
                </a:cubicBezTo>
                <a:cubicBezTo>
                  <a:pt x="3536345" y="3913269"/>
                  <a:pt x="3541135" y="3908480"/>
                  <a:pt x="3547081" y="3908480"/>
                </a:cubicBezTo>
                <a:close/>
                <a:moveTo>
                  <a:pt x="246264" y="3907984"/>
                </a:moveTo>
                <a:cubicBezTo>
                  <a:pt x="252211" y="3907984"/>
                  <a:pt x="257001" y="3912773"/>
                  <a:pt x="257001" y="3918720"/>
                </a:cubicBezTo>
                <a:cubicBezTo>
                  <a:pt x="257001" y="3924666"/>
                  <a:pt x="252211" y="3929458"/>
                  <a:pt x="246264" y="3929458"/>
                </a:cubicBezTo>
                <a:cubicBezTo>
                  <a:pt x="240318" y="3929458"/>
                  <a:pt x="235528" y="3924666"/>
                  <a:pt x="235528" y="3918720"/>
                </a:cubicBezTo>
                <a:cubicBezTo>
                  <a:pt x="235528" y="3912773"/>
                  <a:pt x="240318" y="3907984"/>
                  <a:pt x="246264" y="3907984"/>
                </a:cubicBezTo>
                <a:close/>
                <a:moveTo>
                  <a:pt x="1300" y="3906497"/>
                </a:moveTo>
                <a:cubicBezTo>
                  <a:pt x="7247" y="3906497"/>
                  <a:pt x="12038" y="3911287"/>
                  <a:pt x="12038" y="3917234"/>
                </a:cubicBezTo>
                <a:cubicBezTo>
                  <a:pt x="12038" y="3923180"/>
                  <a:pt x="7247" y="3927972"/>
                  <a:pt x="1300" y="3927972"/>
                </a:cubicBezTo>
                <a:lnTo>
                  <a:pt x="0" y="3926672"/>
                </a:lnTo>
                <a:lnTo>
                  <a:pt x="0" y="3907797"/>
                </a:lnTo>
                <a:close/>
                <a:moveTo>
                  <a:pt x="2236202" y="3906168"/>
                </a:moveTo>
                <a:cubicBezTo>
                  <a:pt x="2242149" y="3906168"/>
                  <a:pt x="2246940" y="3910958"/>
                  <a:pt x="2246940" y="3916904"/>
                </a:cubicBezTo>
                <a:cubicBezTo>
                  <a:pt x="2246940" y="3922851"/>
                  <a:pt x="2242149" y="3927641"/>
                  <a:pt x="2236202" y="3927641"/>
                </a:cubicBezTo>
                <a:cubicBezTo>
                  <a:pt x="2230256" y="3927641"/>
                  <a:pt x="2225466" y="3922851"/>
                  <a:pt x="2225466" y="3916904"/>
                </a:cubicBezTo>
                <a:cubicBezTo>
                  <a:pt x="2225466" y="3910958"/>
                  <a:pt x="2230256" y="3906168"/>
                  <a:pt x="2236202" y="3906168"/>
                </a:cubicBezTo>
                <a:close/>
                <a:moveTo>
                  <a:pt x="99087" y="3904680"/>
                </a:moveTo>
                <a:cubicBezTo>
                  <a:pt x="105034" y="3904680"/>
                  <a:pt x="109825" y="3909470"/>
                  <a:pt x="109825" y="3915416"/>
                </a:cubicBezTo>
                <a:cubicBezTo>
                  <a:pt x="109825" y="3921363"/>
                  <a:pt x="105034" y="3926153"/>
                  <a:pt x="99087" y="3926153"/>
                </a:cubicBezTo>
                <a:cubicBezTo>
                  <a:pt x="93141" y="3926153"/>
                  <a:pt x="88351" y="3921363"/>
                  <a:pt x="88351" y="3915416"/>
                </a:cubicBezTo>
                <a:cubicBezTo>
                  <a:pt x="88351" y="3909470"/>
                  <a:pt x="93141" y="3904680"/>
                  <a:pt x="99087" y="3904680"/>
                </a:cubicBezTo>
                <a:close/>
                <a:moveTo>
                  <a:pt x="599092" y="3904515"/>
                </a:moveTo>
                <a:cubicBezTo>
                  <a:pt x="605038" y="3904515"/>
                  <a:pt x="609828" y="3909305"/>
                  <a:pt x="609828" y="3915252"/>
                </a:cubicBezTo>
                <a:cubicBezTo>
                  <a:pt x="609828" y="3921198"/>
                  <a:pt x="605038" y="3925990"/>
                  <a:pt x="599092" y="3925990"/>
                </a:cubicBezTo>
                <a:cubicBezTo>
                  <a:pt x="593145" y="3925990"/>
                  <a:pt x="588355" y="3921198"/>
                  <a:pt x="588355" y="3915252"/>
                </a:cubicBezTo>
                <a:cubicBezTo>
                  <a:pt x="588355" y="3909305"/>
                  <a:pt x="593145" y="3904515"/>
                  <a:pt x="599092" y="3904515"/>
                </a:cubicBezTo>
                <a:close/>
                <a:moveTo>
                  <a:pt x="53001" y="3903690"/>
                </a:moveTo>
                <a:cubicBezTo>
                  <a:pt x="58948" y="3903690"/>
                  <a:pt x="63739" y="3908480"/>
                  <a:pt x="63739" y="3914426"/>
                </a:cubicBezTo>
                <a:cubicBezTo>
                  <a:pt x="63739" y="3920373"/>
                  <a:pt x="58948" y="3925162"/>
                  <a:pt x="53001" y="3925162"/>
                </a:cubicBezTo>
                <a:cubicBezTo>
                  <a:pt x="47055" y="3925162"/>
                  <a:pt x="42265" y="3920373"/>
                  <a:pt x="42265" y="3914426"/>
                </a:cubicBezTo>
                <a:cubicBezTo>
                  <a:pt x="42265" y="3908480"/>
                  <a:pt x="47055" y="3903690"/>
                  <a:pt x="53001" y="3903690"/>
                </a:cubicBezTo>
                <a:close/>
                <a:moveTo>
                  <a:pt x="3488608" y="3903523"/>
                </a:moveTo>
                <a:cubicBezTo>
                  <a:pt x="3494554" y="3903523"/>
                  <a:pt x="3499344" y="3908313"/>
                  <a:pt x="3499344" y="3914260"/>
                </a:cubicBezTo>
                <a:cubicBezTo>
                  <a:pt x="3499344" y="3920206"/>
                  <a:pt x="3494554" y="3924996"/>
                  <a:pt x="3488608" y="3924996"/>
                </a:cubicBezTo>
                <a:cubicBezTo>
                  <a:pt x="3482661" y="3924996"/>
                  <a:pt x="3477871" y="3920206"/>
                  <a:pt x="3477871" y="3914260"/>
                </a:cubicBezTo>
                <a:cubicBezTo>
                  <a:pt x="3477871" y="3908313"/>
                  <a:pt x="3482661" y="3903523"/>
                  <a:pt x="3488608" y="3903523"/>
                </a:cubicBezTo>
                <a:close/>
                <a:moveTo>
                  <a:pt x="3602253" y="3903029"/>
                </a:moveTo>
                <a:cubicBezTo>
                  <a:pt x="3608199" y="3903029"/>
                  <a:pt x="3612989" y="3907819"/>
                  <a:pt x="3612989" y="3913765"/>
                </a:cubicBezTo>
                <a:cubicBezTo>
                  <a:pt x="3612989" y="3919712"/>
                  <a:pt x="3608199" y="3924502"/>
                  <a:pt x="3602253" y="3924502"/>
                </a:cubicBezTo>
                <a:cubicBezTo>
                  <a:pt x="3596306" y="3924502"/>
                  <a:pt x="3591516" y="3919712"/>
                  <a:pt x="3591516" y="3913765"/>
                </a:cubicBezTo>
                <a:cubicBezTo>
                  <a:pt x="3591516" y="3907819"/>
                  <a:pt x="3596306" y="3903029"/>
                  <a:pt x="3602253" y="3903029"/>
                </a:cubicBezTo>
                <a:close/>
                <a:moveTo>
                  <a:pt x="3574667" y="3903029"/>
                </a:moveTo>
                <a:cubicBezTo>
                  <a:pt x="3580613" y="3903029"/>
                  <a:pt x="3585405" y="3907819"/>
                  <a:pt x="3585405" y="3913765"/>
                </a:cubicBezTo>
                <a:cubicBezTo>
                  <a:pt x="3585405" y="3919712"/>
                  <a:pt x="3580613" y="3924502"/>
                  <a:pt x="3574667" y="3924502"/>
                </a:cubicBezTo>
                <a:cubicBezTo>
                  <a:pt x="3568720" y="3924502"/>
                  <a:pt x="3563930" y="3919712"/>
                  <a:pt x="3563930" y="3913765"/>
                </a:cubicBezTo>
                <a:cubicBezTo>
                  <a:pt x="3563930" y="3907819"/>
                  <a:pt x="3568720" y="3903029"/>
                  <a:pt x="3574667" y="3903029"/>
                </a:cubicBezTo>
                <a:close/>
                <a:moveTo>
                  <a:pt x="0" y="3901399"/>
                </a:moveTo>
                <a:lnTo>
                  <a:pt x="473" y="3901872"/>
                </a:lnTo>
                <a:lnTo>
                  <a:pt x="0" y="3902345"/>
                </a:lnTo>
                <a:close/>
                <a:moveTo>
                  <a:pt x="3435089" y="3900220"/>
                </a:moveTo>
                <a:cubicBezTo>
                  <a:pt x="3441036" y="3900220"/>
                  <a:pt x="3445825" y="3905009"/>
                  <a:pt x="3445825" y="3910956"/>
                </a:cubicBezTo>
                <a:cubicBezTo>
                  <a:pt x="3445825" y="3916903"/>
                  <a:pt x="3441036" y="3921694"/>
                  <a:pt x="3435089" y="3921694"/>
                </a:cubicBezTo>
                <a:cubicBezTo>
                  <a:pt x="3429143" y="3921694"/>
                  <a:pt x="3424353" y="3916903"/>
                  <a:pt x="3424353" y="3910956"/>
                </a:cubicBezTo>
                <a:cubicBezTo>
                  <a:pt x="3424353" y="3905009"/>
                  <a:pt x="3429143" y="3900220"/>
                  <a:pt x="3435089" y="3900220"/>
                </a:cubicBezTo>
                <a:close/>
                <a:moveTo>
                  <a:pt x="3528085" y="3899561"/>
                </a:moveTo>
                <a:cubicBezTo>
                  <a:pt x="3534031" y="3899561"/>
                  <a:pt x="3538823" y="3904350"/>
                  <a:pt x="3538823" y="3910297"/>
                </a:cubicBezTo>
                <a:cubicBezTo>
                  <a:pt x="3538823" y="3916244"/>
                  <a:pt x="3534031" y="3921033"/>
                  <a:pt x="3528085" y="3921033"/>
                </a:cubicBezTo>
                <a:cubicBezTo>
                  <a:pt x="3522138" y="3921033"/>
                  <a:pt x="3517348" y="3916244"/>
                  <a:pt x="3517348" y="3910297"/>
                </a:cubicBezTo>
                <a:cubicBezTo>
                  <a:pt x="3517348" y="3904350"/>
                  <a:pt x="3522138" y="3899561"/>
                  <a:pt x="3528085" y="3899561"/>
                </a:cubicBezTo>
                <a:close/>
                <a:moveTo>
                  <a:pt x="2739014" y="3899229"/>
                </a:moveTo>
                <a:cubicBezTo>
                  <a:pt x="2744961" y="3899229"/>
                  <a:pt x="2749752" y="3904019"/>
                  <a:pt x="2749752" y="3909966"/>
                </a:cubicBezTo>
                <a:cubicBezTo>
                  <a:pt x="2749752" y="3915912"/>
                  <a:pt x="2744961" y="3920704"/>
                  <a:pt x="2739014" y="3920704"/>
                </a:cubicBezTo>
                <a:cubicBezTo>
                  <a:pt x="2733068" y="3920704"/>
                  <a:pt x="2728278" y="3915912"/>
                  <a:pt x="2728278" y="3909966"/>
                </a:cubicBezTo>
                <a:cubicBezTo>
                  <a:pt x="2728278" y="3904019"/>
                  <a:pt x="2733068" y="3899229"/>
                  <a:pt x="2739014" y="3899229"/>
                </a:cubicBezTo>
                <a:close/>
                <a:moveTo>
                  <a:pt x="1249739" y="3897908"/>
                </a:moveTo>
                <a:cubicBezTo>
                  <a:pt x="1255686" y="3897908"/>
                  <a:pt x="1260477" y="3902698"/>
                  <a:pt x="1260477" y="3908644"/>
                </a:cubicBezTo>
                <a:cubicBezTo>
                  <a:pt x="1260477" y="3914591"/>
                  <a:pt x="1255686" y="3919381"/>
                  <a:pt x="1249739" y="3919381"/>
                </a:cubicBezTo>
                <a:cubicBezTo>
                  <a:pt x="1243793" y="3919381"/>
                  <a:pt x="1239003" y="3914591"/>
                  <a:pt x="1239003" y="3908644"/>
                </a:cubicBezTo>
                <a:cubicBezTo>
                  <a:pt x="1239003" y="3902698"/>
                  <a:pt x="1243793" y="3897908"/>
                  <a:pt x="1249739" y="3897908"/>
                </a:cubicBezTo>
                <a:close/>
                <a:moveTo>
                  <a:pt x="18148" y="3897743"/>
                </a:moveTo>
                <a:cubicBezTo>
                  <a:pt x="24094" y="3897743"/>
                  <a:pt x="28886" y="3902533"/>
                  <a:pt x="28886" y="3908480"/>
                </a:cubicBezTo>
                <a:cubicBezTo>
                  <a:pt x="28886" y="3914426"/>
                  <a:pt x="24094" y="3919218"/>
                  <a:pt x="18148" y="3919218"/>
                </a:cubicBezTo>
                <a:cubicBezTo>
                  <a:pt x="12201" y="3919218"/>
                  <a:pt x="7411" y="3914426"/>
                  <a:pt x="7411" y="3908480"/>
                </a:cubicBezTo>
                <a:cubicBezTo>
                  <a:pt x="7411" y="3902533"/>
                  <a:pt x="12201" y="3897743"/>
                  <a:pt x="18148" y="3897743"/>
                </a:cubicBezTo>
                <a:close/>
                <a:moveTo>
                  <a:pt x="162021" y="3895761"/>
                </a:moveTo>
                <a:cubicBezTo>
                  <a:pt x="167967" y="3895761"/>
                  <a:pt x="172757" y="3900551"/>
                  <a:pt x="172757" y="3906497"/>
                </a:cubicBezTo>
                <a:cubicBezTo>
                  <a:pt x="172757" y="3912444"/>
                  <a:pt x="167967" y="3917234"/>
                  <a:pt x="162021" y="3917234"/>
                </a:cubicBezTo>
                <a:cubicBezTo>
                  <a:pt x="156074" y="3917234"/>
                  <a:pt x="151285" y="3912444"/>
                  <a:pt x="151285" y="3906497"/>
                </a:cubicBezTo>
                <a:cubicBezTo>
                  <a:pt x="151285" y="3900551"/>
                  <a:pt x="156074" y="3895761"/>
                  <a:pt x="162021" y="3895761"/>
                </a:cubicBezTo>
                <a:close/>
                <a:moveTo>
                  <a:pt x="3558974" y="3892953"/>
                </a:moveTo>
                <a:cubicBezTo>
                  <a:pt x="3564921" y="3892953"/>
                  <a:pt x="3569711" y="3897743"/>
                  <a:pt x="3569711" y="3903690"/>
                </a:cubicBezTo>
                <a:cubicBezTo>
                  <a:pt x="3569711" y="3909636"/>
                  <a:pt x="3564921" y="3914426"/>
                  <a:pt x="3558974" y="3914426"/>
                </a:cubicBezTo>
                <a:cubicBezTo>
                  <a:pt x="3553028" y="3914426"/>
                  <a:pt x="3548238" y="3909636"/>
                  <a:pt x="3548238" y="3903690"/>
                </a:cubicBezTo>
                <a:cubicBezTo>
                  <a:pt x="3548238" y="3897743"/>
                  <a:pt x="3553028" y="3892953"/>
                  <a:pt x="3558974" y="3892953"/>
                </a:cubicBezTo>
                <a:close/>
                <a:moveTo>
                  <a:pt x="3156759" y="3891961"/>
                </a:moveTo>
                <a:cubicBezTo>
                  <a:pt x="3162706" y="3891961"/>
                  <a:pt x="3167495" y="3896751"/>
                  <a:pt x="3167495" y="3902698"/>
                </a:cubicBezTo>
                <a:cubicBezTo>
                  <a:pt x="3167495" y="3908644"/>
                  <a:pt x="3162706" y="3913436"/>
                  <a:pt x="3156759" y="3913436"/>
                </a:cubicBezTo>
                <a:cubicBezTo>
                  <a:pt x="3150812" y="3913436"/>
                  <a:pt x="3146023" y="3908644"/>
                  <a:pt x="3146023" y="3902698"/>
                </a:cubicBezTo>
                <a:cubicBezTo>
                  <a:pt x="3146023" y="3896751"/>
                  <a:pt x="3150812" y="3891961"/>
                  <a:pt x="3156759" y="3891961"/>
                </a:cubicBezTo>
                <a:close/>
                <a:moveTo>
                  <a:pt x="3267761" y="3891465"/>
                </a:moveTo>
                <a:cubicBezTo>
                  <a:pt x="3273707" y="3891465"/>
                  <a:pt x="3278497" y="3896255"/>
                  <a:pt x="3278497" y="3902202"/>
                </a:cubicBezTo>
                <a:cubicBezTo>
                  <a:pt x="3278497" y="3908148"/>
                  <a:pt x="3273707" y="3912940"/>
                  <a:pt x="3267761" y="3912940"/>
                </a:cubicBezTo>
                <a:cubicBezTo>
                  <a:pt x="3261814" y="3912940"/>
                  <a:pt x="3257024" y="3908148"/>
                  <a:pt x="3257024" y="3902202"/>
                </a:cubicBezTo>
                <a:cubicBezTo>
                  <a:pt x="3257024" y="3896255"/>
                  <a:pt x="3261814" y="3891465"/>
                  <a:pt x="3267761" y="3891465"/>
                </a:cubicBezTo>
                <a:close/>
                <a:moveTo>
                  <a:pt x="3639087" y="3891136"/>
                </a:moveTo>
                <a:cubicBezTo>
                  <a:pt x="3645033" y="3891136"/>
                  <a:pt x="3649825" y="3895926"/>
                  <a:pt x="3649825" y="3901872"/>
                </a:cubicBezTo>
                <a:cubicBezTo>
                  <a:pt x="3649825" y="3907819"/>
                  <a:pt x="3645033" y="3912609"/>
                  <a:pt x="3639087" y="3912609"/>
                </a:cubicBezTo>
                <a:cubicBezTo>
                  <a:pt x="3633140" y="3912609"/>
                  <a:pt x="3628350" y="3907819"/>
                  <a:pt x="3628350" y="3901872"/>
                </a:cubicBezTo>
                <a:cubicBezTo>
                  <a:pt x="3628350" y="3895926"/>
                  <a:pt x="3633140" y="3891136"/>
                  <a:pt x="3639087" y="3891136"/>
                </a:cubicBezTo>
                <a:close/>
                <a:moveTo>
                  <a:pt x="3585568" y="3887336"/>
                </a:moveTo>
                <a:cubicBezTo>
                  <a:pt x="3591514" y="3887336"/>
                  <a:pt x="3596304" y="3892126"/>
                  <a:pt x="3596304" y="3898073"/>
                </a:cubicBezTo>
                <a:cubicBezTo>
                  <a:pt x="3596304" y="3904019"/>
                  <a:pt x="3591514" y="3908811"/>
                  <a:pt x="3585568" y="3908811"/>
                </a:cubicBezTo>
                <a:cubicBezTo>
                  <a:pt x="3579621" y="3908811"/>
                  <a:pt x="3574832" y="3904019"/>
                  <a:pt x="3574832" y="3898073"/>
                </a:cubicBezTo>
                <a:cubicBezTo>
                  <a:pt x="3574832" y="3892126"/>
                  <a:pt x="3579621" y="3887336"/>
                  <a:pt x="3585568" y="3887336"/>
                </a:cubicBezTo>
                <a:close/>
                <a:moveTo>
                  <a:pt x="2395603" y="3886840"/>
                </a:moveTo>
                <a:cubicBezTo>
                  <a:pt x="2401550" y="3886840"/>
                  <a:pt x="2406342" y="3891630"/>
                  <a:pt x="2406342" y="3897577"/>
                </a:cubicBezTo>
                <a:cubicBezTo>
                  <a:pt x="2406342" y="3903523"/>
                  <a:pt x="2401550" y="3908315"/>
                  <a:pt x="2395603" y="3908315"/>
                </a:cubicBezTo>
                <a:cubicBezTo>
                  <a:pt x="2389657" y="3908315"/>
                  <a:pt x="2384867" y="3903523"/>
                  <a:pt x="2384867" y="3897577"/>
                </a:cubicBezTo>
                <a:cubicBezTo>
                  <a:pt x="2384867" y="3891630"/>
                  <a:pt x="2389657" y="3886840"/>
                  <a:pt x="2395603" y="3886840"/>
                </a:cubicBezTo>
                <a:close/>
                <a:moveTo>
                  <a:pt x="3611336" y="3886015"/>
                </a:moveTo>
                <a:cubicBezTo>
                  <a:pt x="3617283" y="3886015"/>
                  <a:pt x="3622074" y="3890805"/>
                  <a:pt x="3622074" y="3896751"/>
                </a:cubicBezTo>
                <a:cubicBezTo>
                  <a:pt x="3622074" y="3902698"/>
                  <a:pt x="3617283" y="3907488"/>
                  <a:pt x="3611336" y="3907488"/>
                </a:cubicBezTo>
                <a:cubicBezTo>
                  <a:pt x="3605390" y="3907488"/>
                  <a:pt x="3600600" y="3902698"/>
                  <a:pt x="3600600" y="3896751"/>
                </a:cubicBezTo>
                <a:cubicBezTo>
                  <a:pt x="3600600" y="3890805"/>
                  <a:pt x="3605390" y="3886015"/>
                  <a:pt x="3611336" y="3886015"/>
                </a:cubicBezTo>
                <a:close/>
                <a:moveTo>
                  <a:pt x="3361913" y="3884197"/>
                </a:moveTo>
                <a:cubicBezTo>
                  <a:pt x="3367860" y="3884197"/>
                  <a:pt x="3372651" y="3888987"/>
                  <a:pt x="3372651" y="3894934"/>
                </a:cubicBezTo>
                <a:cubicBezTo>
                  <a:pt x="3372651" y="3900880"/>
                  <a:pt x="3367860" y="3905672"/>
                  <a:pt x="3361913" y="3905672"/>
                </a:cubicBezTo>
                <a:cubicBezTo>
                  <a:pt x="3355967" y="3905672"/>
                  <a:pt x="3351177" y="3900880"/>
                  <a:pt x="3351177" y="3894934"/>
                </a:cubicBezTo>
                <a:cubicBezTo>
                  <a:pt x="3351177" y="3888987"/>
                  <a:pt x="3355967" y="3884197"/>
                  <a:pt x="3361913" y="3884197"/>
                </a:cubicBezTo>
                <a:close/>
                <a:moveTo>
                  <a:pt x="3026596" y="3883868"/>
                </a:moveTo>
                <a:cubicBezTo>
                  <a:pt x="3032543" y="3883868"/>
                  <a:pt x="3037334" y="3888658"/>
                  <a:pt x="3037334" y="3894604"/>
                </a:cubicBezTo>
                <a:cubicBezTo>
                  <a:pt x="3037334" y="3900551"/>
                  <a:pt x="3032543" y="3905342"/>
                  <a:pt x="3026596" y="3905342"/>
                </a:cubicBezTo>
                <a:cubicBezTo>
                  <a:pt x="3020649" y="3905342"/>
                  <a:pt x="3015860" y="3900551"/>
                  <a:pt x="3015860" y="3894604"/>
                </a:cubicBezTo>
                <a:cubicBezTo>
                  <a:pt x="3015860" y="3888658"/>
                  <a:pt x="3020649" y="3883868"/>
                  <a:pt x="3026596" y="3883868"/>
                </a:cubicBezTo>
                <a:close/>
                <a:moveTo>
                  <a:pt x="757666" y="3883702"/>
                </a:moveTo>
                <a:cubicBezTo>
                  <a:pt x="763612" y="3883702"/>
                  <a:pt x="768404" y="3888491"/>
                  <a:pt x="768404" y="3894438"/>
                </a:cubicBezTo>
                <a:cubicBezTo>
                  <a:pt x="768404" y="3900384"/>
                  <a:pt x="763612" y="3905176"/>
                  <a:pt x="757666" y="3905176"/>
                </a:cubicBezTo>
                <a:cubicBezTo>
                  <a:pt x="751719" y="3905176"/>
                  <a:pt x="746929" y="3900384"/>
                  <a:pt x="746929" y="3894438"/>
                </a:cubicBezTo>
                <a:cubicBezTo>
                  <a:pt x="746929" y="3888491"/>
                  <a:pt x="751719" y="3883702"/>
                  <a:pt x="757666" y="3883702"/>
                </a:cubicBezTo>
                <a:close/>
                <a:moveTo>
                  <a:pt x="41769" y="3883537"/>
                </a:moveTo>
                <a:cubicBezTo>
                  <a:pt x="47715" y="3883537"/>
                  <a:pt x="52507" y="3888327"/>
                  <a:pt x="52507" y="3894273"/>
                </a:cubicBezTo>
                <a:cubicBezTo>
                  <a:pt x="52507" y="3900220"/>
                  <a:pt x="47715" y="3905009"/>
                  <a:pt x="41769" y="3905009"/>
                </a:cubicBezTo>
                <a:cubicBezTo>
                  <a:pt x="35823" y="3905009"/>
                  <a:pt x="31033" y="3900220"/>
                  <a:pt x="31033" y="3894273"/>
                </a:cubicBezTo>
                <a:cubicBezTo>
                  <a:pt x="31033" y="3888327"/>
                  <a:pt x="35823" y="3883537"/>
                  <a:pt x="41769" y="3883537"/>
                </a:cubicBezTo>
                <a:close/>
                <a:moveTo>
                  <a:pt x="3676089" y="3883207"/>
                </a:moveTo>
                <a:cubicBezTo>
                  <a:pt x="3682036" y="3883207"/>
                  <a:pt x="3686825" y="3887997"/>
                  <a:pt x="3686825" y="3893944"/>
                </a:cubicBezTo>
                <a:cubicBezTo>
                  <a:pt x="3686825" y="3899890"/>
                  <a:pt x="3682036" y="3904682"/>
                  <a:pt x="3676089" y="3904682"/>
                </a:cubicBezTo>
                <a:cubicBezTo>
                  <a:pt x="3670142" y="3904682"/>
                  <a:pt x="3665353" y="3899890"/>
                  <a:pt x="3665353" y="3893944"/>
                </a:cubicBezTo>
                <a:cubicBezTo>
                  <a:pt x="3665353" y="3887997"/>
                  <a:pt x="3670142" y="3883207"/>
                  <a:pt x="3676089" y="3883207"/>
                </a:cubicBezTo>
                <a:close/>
                <a:moveTo>
                  <a:pt x="3498683" y="3881225"/>
                </a:moveTo>
                <a:cubicBezTo>
                  <a:pt x="3504630" y="3881225"/>
                  <a:pt x="3509422" y="3886015"/>
                  <a:pt x="3509422" y="3891961"/>
                </a:cubicBezTo>
                <a:cubicBezTo>
                  <a:pt x="3509422" y="3897908"/>
                  <a:pt x="3504630" y="3902700"/>
                  <a:pt x="3498683" y="3902700"/>
                </a:cubicBezTo>
                <a:cubicBezTo>
                  <a:pt x="3492737" y="3902700"/>
                  <a:pt x="3487947" y="3897908"/>
                  <a:pt x="3487947" y="3891961"/>
                </a:cubicBezTo>
                <a:cubicBezTo>
                  <a:pt x="3487947" y="3886015"/>
                  <a:pt x="3492737" y="3881225"/>
                  <a:pt x="3498683" y="3881225"/>
                </a:cubicBezTo>
                <a:close/>
                <a:moveTo>
                  <a:pt x="3540309" y="3881060"/>
                </a:moveTo>
                <a:cubicBezTo>
                  <a:pt x="3546256" y="3881060"/>
                  <a:pt x="3551045" y="3885850"/>
                  <a:pt x="3551045" y="3891797"/>
                </a:cubicBezTo>
                <a:cubicBezTo>
                  <a:pt x="3551045" y="3897743"/>
                  <a:pt x="3546256" y="3902533"/>
                  <a:pt x="3540309" y="3902533"/>
                </a:cubicBezTo>
                <a:cubicBezTo>
                  <a:pt x="3534363" y="3902533"/>
                  <a:pt x="3529573" y="3897743"/>
                  <a:pt x="3529573" y="3891797"/>
                </a:cubicBezTo>
                <a:cubicBezTo>
                  <a:pt x="3529573" y="3885850"/>
                  <a:pt x="3534363" y="3881060"/>
                  <a:pt x="3540309" y="3881060"/>
                </a:cubicBezTo>
                <a:close/>
                <a:moveTo>
                  <a:pt x="5594" y="3880400"/>
                </a:moveTo>
                <a:cubicBezTo>
                  <a:pt x="11540" y="3880400"/>
                  <a:pt x="16330" y="3885189"/>
                  <a:pt x="16330" y="3891136"/>
                </a:cubicBezTo>
                <a:cubicBezTo>
                  <a:pt x="16330" y="3897083"/>
                  <a:pt x="11540" y="3901872"/>
                  <a:pt x="5594" y="3901872"/>
                </a:cubicBezTo>
                <a:lnTo>
                  <a:pt x="0" y="3896279"/>
                </a:lnTo>
                <a:lnTo>
                  <a:pt x="0" y="3885994"/>
                </a:lnTo>
                <a:close/>
                <a:moveTo>
                  <a:pt x="90827" y="3879572"/>
                </a:moveTo>
                <a:cubicBezTo>
                  <a:pt x="96758" y="3879572"/>
                  <a:pt x="101565" y="3884380"/>
                  <a:pt x="101565" y="3890309"/>
                </a:cubicBezTo>
                <a:cubicBezTo>
                  <a:pt x="101565" y="3896240"/>
                  <a:pt x="96758" y="3901047"/>
                  <a:pt x="90827" y="3901047"/>
                </a:cubicBezTo>
                <a:cubicBezTo>
                  <a:pt x="84898" y="3901047"/>
                  <a:pt x="80091" y="3896240"/>
                  <a:pt x="80091" y="3890309"/>
                </a:cubicBezTo>
                <a:cubicBezTo>
                  <a:pt x="80091" y="3884380"/>
                  <a:pt x="84898" y="3879572"/>
                  <a:pt x="90827" y="3879572"/>
                </a:cubicBezTo>
                <a:close/>
                <a:moveTo>
                  <a:pt x="3571694" y="3876435"/>
                </a:moveTo>
                <a:cubicBezTo>
                  <a:pt x="3577641" y="3876435"/>
                  <a:pt x="3582431" y="3881225"/>
                  <a:pt x="3582431" y="3887172"/>
                </a:cubicBezTo>
                <a:cubicBezTo>
                  <a:pt x="3582431" y="3893118"/>
                  <a:pt x="3577641" y="3897908"/>
                  <a:pt x="3571694" y="3897908"/>
                </a:cubicBezTo>
                <a:cubicBezTo>
                  <a:pt x="3565748" y="3897908"/>
                  <a:pt x="3560958" y="3893118"/>
                  <a:pt x="3560958" y="3887172"/>
                </a:cubicBezTo>
                <a:cubicBezTo>
                  <a:pt x="3560958" y="3881225"/>
                  <a:pt x="3565748" y="3876435"/>
                  <a:pt x="3571694" y="3876435"/>
                </a:cubicBezTo>
                <a:close/>
                <a:moveTo>
                  <a:pt x="1092322" y="3876104"/>
                </a:moveTo>
                <a:cubicBezTo>
                  <a:pt x="1098269" y="3876104"/>
                  <a:pt x="1103060" y="3880894"/>
                  <a:pt x="1103060" y="3886840"/>
                </a:cubicBezTo>
                <a:cubicBezTo>
                  <a:pt x="1103060" y="3892787"/>
                  <a:pt x="1098269" y="3897578"/>
                  <a:pt x="1092322" y="3897578"/>
                </a:cubicBezTo>
                <a:cubicBezTo>
                  <a:pt x="1086376" y="3897578"/>
                  <a:pt x="1081586" y="3892787"/>
                  <a:pt x="1081586" y="3886840"/>
                </a:cubicBezTo>
                <a:cubicBezTo>
                  <a:pt x="1081586" y="3880894"/>
                  <a:pt x="1086376" y="3876104"/>
                  <a:pt x="1092322" y="3876104"/>
                </a:cubicBezTo>
                <a:close/>
                <a:moveTo>
                  <a:pt x="3646851" y="3872304"/>
                </a:moveTo>
                <a:cubicBezTo>
                  <a:pt x="3652797" y="3872304"/>
                  <a:pt x="3657589" y="3877094"/>
                  <a:pt x="3657589" y="3883041"/>
                </a:cubicBezTo>
                <a:cubicBezTo>
                  <a:pt x="3657589" y="3888987"/>
                  <a:pt x="3652797" y="3893777"/>
                  <a:pt x="3646851" y="3893777"/>
                </a:cubicBezTo>
                <a:cubicBezTo>
                  <a:pt x="3640904" y="3893777"/>
                  <a:pt x="3636114" y="3888987"/>
                  <a:pt x="3636114" y="3883041"/>
                </a:cubicBezTo>
                <a:cubicBezTo>
                  <a:pt x="3636114" y="3877094"/>
                  <a:pt x="3640904" y="3872304"/>
                  <a:pt x="3646851" y="3872304"/>
                </a:cubicBezTo>
                <a:close/>
                <a:moveTo>
                  <a:pt x="354292" y="3872304"/>
                </a:moveTo>
                <a:cubicBezTo>
                  <a:pt x="360238" y="3872304"/>
                  <a:pt x="365028" y="3877094"/>
                  <a:pt x="365028" y="3883041"/>
                </a:cubicBezTo>
                <a:cubicBezTo>
                  <a:pt x="365028" y="3888987"/>
                  <a:pt x="360238" y="3893777"/>
                  <a:pt x="354292" y="3893777"/>
                </a:cubicBezTo>
                <a:cubicBezTo>
                  <a:pt x="348346" y="3893777"/>
                  <a:pt x="343556" y="3888987"/>
                  <a:pt x="343556" y="3883041"/>
                </a:cubicBezTo>
                <a:cubicBezTo>
                  <a:pt x="343556" y="3877094"/>
                  <a:pt x="348346" y="3872304"/>
                  <a:pt x="354292" y="3872304"/>
                </a:cubicBezTo>
                <a:close/>
                <a:moveTo>
                  <a:pt x="3441365" y="3871808"/>
                </a:moveTo>
                <a:cubicBezTo>
                  <a:pt x="3447312" y="3871808"/>
                  <a:pt x="3452103" y="3876598"/>
                  <a:pt x="3452103" y="3882545"/>
                </a:cubicBezTo>
                <a:cubicBezTo>
                  <a:pt x="3452103" y="3888491"/>
                  <a:pt x="3447312" y="3893283"/>
                  <a:pt x="3441365" y="3893283"/>
                </a:cubicBezTo>
                <a:cubicBezTo>
                  <a:pt x="3435419" y="3893283"/>
                  <a:pt x="3430629" y="3888491"/>
                  <a:pt x="3430629" y="3882545"/>
                </a:cubicBezTo>
                <a:cubicBezTo>
                  <a:pt x="3430629" y="3876598"/>
                  <a:pt x="3435419" y="3871808"/>
                  <a:pt x="3441365" y="3871808"/>
                </a:cubicBezTo>
                <a:close/>
                <a:moveTo>
                  <a:pt x="3597461" y="3871314"/>
                </a:moveTo>
                <a:cubicBezTo>
                  <a:pt x="3603408" y="3871314"/>
                  <a:pt x="3608197" y="3876104"/>
                  <a:pt x="3608197" y="3882051"/>
                </a:cubicBezTo>
                <a:cubicBezTo>
                  <a:pt x="3608197" y="3887997"/>
                  <a:pt x="3603408" y="3892789"/>
                  <a:pt x="3597461" y="3892789"/>
                </a:cubicBezTo>
                <a:cubicBezTo>
                  <a:pt x="3591514" y="3892789"/>
                  <a:pt x="3586725" y="3887997"/>
                  <a:pt x="3586725" y="3882051"/>
                </a:cubicBezTo>
                <a:cubicBezTo>
                  <a:pt x="3586725" y="3876104"/>
                  <a:pt x="3591514" y="3871314"/>
                  <a:pt x="3597461" y="3871314"/>
                </a:cubicBezTo>
                <a:close/>
                <a:moveTo>
                  <a:pt x="248245" y="3871149"/>
                </a:moveTo>
                <a:cubicBezTo>
                  <a:pt x="254191" y="3871149"/>
                  <a:pt x="258983" y="3875939"/>
                  <a:pt x="258983" y="3881886"/>
                </a:cubicBezTo>
                <a:cubicBezTo>
                  <a:pt x="258983" y="3887832"/>
                  <a:pt x="254191" y="3892622"/>
                  <a:pt x="248245" y="3892622"/>
                </a:cubicBezTo>
                <a:cubicBezTo>
                  <a:pt x="242298" y="3892622"/>
                  <a:pt x="237508" y="3887832"/>
                  <a:pt x="237508" y="3881886"/>
                </a:cubicBezTo>
                <a:cubicBezTo>
                  <a:pt x="237508" y="3875939"/>
                  <a:pt x="242298" y="3871149"/>
                  <a:pt x="248245" y="3871149"/>
                </a:cubicBezTo>
                <a:close/>
                <a:moveTo>
                  <a:pt x="3621578" y="3869001"/>
                </a:moveTo>
                <a:cubicBezTo>
                  <a:pt x="3627525" y="3869001"/>
                  <a:pt x="3632316" y="3873791"/>
                  <a:pt x="3632316" y="3879737"/>
                </a:cubicBezTo>
                <a:cubicBezTo>
                  <a:pt x="3632316" y="3885684"/>
                  <a:pt x="3627525" y="3890474"/>
                  <a:pt x="3621578" y="3890474"/>
                </a:cubicBezTo>
                <a:cubicBezTo>
                  <a:pt x="3615632" y="3890474"/>
                  <a:pt x="3610842" y="3885684"/>
                  <a:pt x="3610842" y="3879737"/>
                </a:cubicBezTo>
                <a:cubicBezTo>
                  <a:pt x="3610842" y="3873791"/>
                  <a:pt x="3615632" y="3869001"/>
                  <a:pt x="3621578" y="3869001"/>
                </a:cubicBezTo>
                <a:close/>
                <a:moveTo>
                  <a:pt x="0" y="3868693"/>
                </a:moveTo>
                <a:lnTo>
                  <a:pt x="3447" y="3872140"/>
                </a:lnTo>
                <a:lnTo>
                  <a:pt x="0" y="3875587"/>
                </a:lnTo>
                <a:close/>
                <a:moveTo>
                  <a:pt x="478840" y="3865201"/>
                </a:moveTo>
                <a:cubicBezTo>
                  <a:pt x="484786" y="3865201"/>
                  <a:pt x="489576" y="3869991"/>
                  <a:pt x="489576" y="3875938"/>
                </a:cubicBezTo>
                <a:cubicBezTo>
                  <a:pt x="489576" y="3881884"/>
                  <a:pt x="484786" y="3886676"/>
                  <a:pt x="478840" y="3886676"/>
                </a:cubicBezTo>
                <a:cubicBezTo>
                  <a:pt x="472893" y="3886676"/>
                  <a:pt x="468103" y="3881884"/>
                  <a:pt x="468103" y="3875938"/>
                </a:cubicBezTo>
                <a:cubicBezTo>
                  <a:pt x="468103" y="3869991"/>
                  <a:pt x="472893" y="3865201"/>
                  <a:pt x="478840" y="3865201"/>
                </a:cubicBezTo>
                <a:close/>
                <a:moveTo>
                  <a:pt x="2874959" y="3865036"/>
                </a:moveTo>
                <a:cubicBezTo>
                  <a:pt x="2880905" y="3865036"/>
                  <a:pt x="2885697" y="3869826"/>
                  <a:pt x="2885697" y="3875773"/>
                </a:cubicBezTo>
                <a:cubicBezTo>
                  <a:pt x="2885697" y="3881719"/>
                  <a:pt x="2880905" y="3886509"/>
                  <a:pt x="2874959" y="3886509"/>
                </a:cubicBezTo>
                <a:cubicBezTo>
                  <a:pt x="2869012" y="3886509"/>
                  <a:pt x="2864222" y="3881719"/>
                  <a:pt x="2864222" y="3875773"/>
                </a:cubicBezTo>
                <a:cubicBezTo>
                  <a:pt x="2864222" y="3869826"/>
                  <a:pt x="2869012" y="3865036"/>
                  <a:pt x="2874959" y="3865036"/>
                </a:cubicBezTo>
                <a:close/>
                <a:moveTo>
                  <a:pt x="158717" y="3863386"/>
                </a:moveTo>
                <a:cubicBezTo>
                  <a:pt x="164664" y="3863386"/>
                  <a:pt x="169455" y="3868175"/>
                  <a:pt x="169455" y="3874122"/>
                </a:cubicBezTo>
                <a:cubicBezTo>
                  <a:pt x="169455" y="3880068"/>
                  <a:pt x="164664" y="3884858"/>
                  <a:pt x="158717" y="3884858"/>
                </a:cubicBezTo>
                <a:cubicBezTo>
                  <a:pt x="152771" y="3884858"/>
                  <a:pt x="147981" y="3880068"/>
                  <a:pt x="147981" y="3874122"/>
                </a:cubicBezTo>
                <a:cubicBezTo>
                  <a:pt x="147981" y="3868175"/>
                  <a:pt x="152771" y="3863386"/>
                  <a:pt x="158717" y="3863386"/>
                </a:cubicBezTo>
                <a:close/>
                <a:moveTo>
                  <a:pt x="3682365" y="3862394"/>
                </a:moveTo>
                <a:cubicBezTo>
                  <a:pt x="3688312" y="3862394"/>
                  <a:pt x="3693101" y="3867183"/>
                  <a:pt x="3693101" y="3873130"/>
                </a:cubicBezTo>
                <a:cubicBezTo>
                  <a:pt x="3693101" y="3879076"/>
                  <a:pt x="3688312" y="3883866"/>
                  <a:pt x="3682365" y="3883866"/>
                </a:cubicBezTo>
                <a:cubicBezTo>
                  <a:pt x="3676419" y="3883866"/>
                  <a:pt x="3671629" y="3879076"/>
                  <a:pt x="3671629" y="3873130"/>
                </a:cubicBezTo>
                <a:cubicBezTo>
                  <a:pt x="3671629" y="3867183"/>
                  <a:pt x="3676419" y="3862394"/>
                  <a:pt x="3682365" y="3862394"/>
                </a:cubicBezTo>
                <a:close/>
                <a:moveTo>
                  <a:pt x="2550378" y="3862394"/>
                </a:moveTo>
                <a:cubicBezTo>
                  <a:pt x="2556325" y="3862394"/>
                  <a:pt x="2561116" y="3867183"/>
                  <a:pt x="2561116" y="3873130"/>
                </a:cubicBezTo>
                <a:cubicBezTo>
                  <a:pt x="2561116" y="3879076"/>
                  <a:pt x="2556325" y="3883866"/>
                  <a:pt x="2550378" y="3883866"/>
                </a:cubicBezTo>
                <a:cubicBezTo>
                  <a:pt x="2544432" y="3883866"/>
                  <a:pt x="2539642" y="3879076"/>
                  <a:pt x="2539642" y="3873130"/>
                </a:cubicBezTo>
                <a:cubicBezTo>
                  <a:pt x="2539642" y="3867183"/>
                  <a:pt x="2544432" y="3862394"/>
                  <a:pt x="2550378" y="3862394"/>
                </a:cubicBezTo>
                <a:close/>
                <a:moveTo>
                  <a:pt x="30701" y="3860743"/>
                </a:moveTo>
                <a:cubicBezTo>
                  <a:pt x="36648" y="3860743"/>
                  <a:pt x="41440" y="3865532"/>
                  <a:pt x="41440" y="3871479"/>
                </a:cubicBezTo>
                <a:cubicBezTo>
                  <a:pt x="41440" y="3877425"/>
                  <a:pt x="36648" y="3882215"/>
                  <a:pt x="30701" y="3882215"/>
                </a:cubicBezTo>
                <a:cubicBezTo>
                  <a:pt x="24755" y="3882215"/>
                  <a:pt x="19965" y="3877425"/>
                  <a:pt x="19965" y="3871479"/>
                </a:cubicBezTo>
                <a:cubicBezTo>
                  <a:pt x="19965" y="3865532"/>
                  <a:pt x="24755" y="3860743"/>
                  <a:pt x="30701" y="3860743"/>
                </a:cubicBezTo>
                <a:close/>
                <a:moveTo>
                  <a:pt x="3552532" y="3860411"/>
                </a:moveTo>
                <a:cubicBezTo>
                  <a:pt x="3558478" y="3860411"/>
                  <a:pt x="3563268" y="3865201"/>
                  <a:pt x="3563268" y="3871148"/>
                </a:cubicBezTo>
                <a:cubicBezTo>
                  <a:pt x="3563268" y="3877094"/>
                  <a:pt x="3558478" y="3881884"/>
                  <a:pt x="3552532" y="3881884"/>
                </a:cubicBezTo>
                <a:cubicBezTo>
                  <a:pt x="3546585" y="3881884"/>
                  <a:pt x="3541795" y="3877094"/>
                  <a:pt x="3541795" y="3871148"/>
                </a:cubicBezTo>
                <a:cubicBezTo>
                  <a:pt x="3541795" y="3865201"/>
                  <a:pt x="3546585" y="3860411"/>
                  <a:pt x="3552532" y="3860411"/>
                </a:cubicBezTo>
                <a:close/>
                <a:moveTo>
                  <a:pt x="3584907" y="3858429"/>
                </a:moveTo>
                <a:cubicBezTo>
                  <a:pt x="3590854" y="3858429"/>
                  <a:pt x="3595645" y="3863219"/>
                  <a:pt x="3595645" y="3869166"/>
                </a:cubicBezTo>
                <a:cubicBezTo>
                  <a:pt x="3595645" y="3875112"/>
                  <a:pt x="3590854" y="3879904"/>
                  <a:pt x="3584907" y="3879904"/>
                </a:cubicBezTo>
                <a:cubicBezTo>
                  <a:pt x="3578961" y="3879904"/>
                  <a:pt x="3574171" y="3875112"/>
                  <a:pt x="3574171" y="3869166"/>
                </a:cubicBezTo>
                <a:cubicBezTo>
                  <a:pt x="3574171" y="3863219"/>
                  <a:pt x="3578961" y="3858429"/>
                  <a:pt x="3584907" y="3858429"/>
                </a:cubicBezTo>
                <a:close/>
                <a:moveTo>
                  <a:pt x="3718542" y="3857604"/>
                </a:moveTo>
                <a:cubicBezTo>
                  <a:pt x="3723833" y="3857604"/>
                  <a:pt x="3728122" y="3861892"/>
                  <a:pt x="3728122" y="3867183"/>
                </a:cubicBezTo>
                <a:cubicBezTo>
                  <a:pt x="3728122" y="3872474"/>
                  <a:pt x="3723833" y="3876765"/>
                  <a:pt x="3718542" y="3876765"/>
                </a:cubicBezTo>
                <a:cubicBezTo>
                  <a:pt x="3713251" y="3876765"/>
                  <a:pt x="3708961" y="3872474"/>
                  <a:pt x="3708961" y="3867183"/>
                </a:cubicBezTo>
                <a:cubicBezTo>
                  <a:pt x="3708961" y="3861892"/>
                  <a:pt x="3713251" y="3857604"/>
                  <a:pt x="3718542" y="3857604"/>
                </a:cubicBezTo>
                <a:close/>
                <a:moveTo>
                  <a:pt x="3508265" y="3855622"/>
                </a:moveTo>
                <a:cubicBezTo>
                  <a:pt x="3514211" y="3855622"/>
                  <a:pt x="3519001" y="3860411"/>
                  <a:pt x="3519001" y="3866358"/>
                </a:cubicBezTo>
                <a:cubicBezTo>
                  <a:pt x="3519001" y="3872304"/>
                  <a:pt x="3514211" y="3877094"/>
                  <a:pt x="3508265" y="3877094"/>
                </a:cubicBezTo>
                <a:cubicBezTo>
                  <a:pt x="3502318" y="3877094"/>
                  <a:pt x="3497528" y="3872304"/>
                  <a:pt x="3497528" y="3866358"/>
                </a:cubicBezTo>
                <a:cubicBezTo>
                  <a:pt x="3497528" y="3860411"/>
                  <a:pt x="3502318" y="3855622"/>
                  <a:pt x="3508265" y="3855622"/>
                </a:cubicBezTo>
                <a:close/>
                <a:moveTo>
                  <a:pt x="3610346" y="3854465"/>
                </a:moveTo>
                <a:cubicBezTo>
                  <a:pt x="3616293" y="3854465"/>
                  <a:pt x="3621082" y="3859255"/>
                  <a:pt x="3621082" y="3865201"/>
                </a:cubicBezTo>
                <a:cubicBezTo>
                  <a:pt x="3621082" y="3871148"/>
                  <a:pt x="3616293" y="3875938"/>
                  <a:pt x="3610346" y="3875938"/>
                </a:cubicBezTo>
                <a:cubicBezTo>
                  <a:pt x="3604399" y="3875938"/>
                  <a:pt x="3599610" y="3871148"/>
                  <a:pt x="3599610" y="3865201"/>
                </a:cubicBezTo>
                <a:cubicBezTo>
                  <a:pt x="3599610" y="3859255"/>
                  <a:pt x="3604399" y="3854465"/>
                  <a:pt x="3610346" y="3854465"/>
                </a:cubicBezTo>
                <a:close/>
                <a:moveTo>
                  <a:pt x="3656101" y="3853804"/>
                </a:moveTo>
                <a:cubicBezTo>
                  <a:pt x="3662047" y="3853804"/>
                  <a:pt x="3666839" y="3858594"/>
                  <a:pt x="3666839" y="3864540"/>
                </a:cubicBezTo>
                <a:cubicBezTo>
                  <a:pt x="3666839" y="3870487"/>
                  <a:pt x="3662047" y="3875279"/>
                  <a:pt x="3656101" y="3875279"/>
                </a:cubicBezTo>
                <a:cubicBezTo>
                  <a:pt x="3650154" y="3875279"/>
                  <a:pt x="3645364" y="3870487"/>
                  <a:pt x="3645364" y="3864540"/>
                </a:cubicBezTo>
                <a:cubicBezTo>
                  <a:pt x="3645364" y="3858594"/>
                  <a:pt x="3650154" y="3853804"/>
                  <a:pt x="3656101" y="3853804"/>
                </a:cubicBezTo>
                <a:close/>
                <a:moveTo>
                  <a:pt x="3632975" y="3851822"/>
                </a:moveTo>
                <a:cubicBezTo>
                  <a:pt x="3638922" y="3851822"/>
                  <a:pt x="3643713" y="3856612"/>
                  <a:pt x="3643713" y="3862558"/>
                </a:cubicBezTo>
                <a:cubicBezTo>
                  <a:pt x="3643713" y="3868505"/>
                  <a:pt x="3638922" y="3873296"/>
                  <a:pt x="3632975" y="3873296"/>
                </a:cubicBezTo>
                <a:cubicBezTo>
                  <a:pt x="3627029" y="3873296"/>
                  <a:pt x="3622239" y="3868505"/>
                  <a:pt x="3622239" y="3862558"/>
                </a:cubicBezTo>
                <a:cubicBezTo>
                  <a:pt x="3622239" y="3856612"/>
                  <a:pt x="3627029" y="3851822"/>
                  <a:pt x="3632975" y="3851822"/>
                </a:cubicBezTo>
                <a:close/>
                <a:moveTo>
                  <a:pt x="83230" y="3850832"/>
                </a:moveTo>
                <a:cubicBezTo>
                  <a:pt x="89176" y="3850832"/>
                  <a:pt x="93968" y="3855622"/>
                  <a:pt x="93968" y="3861568"/>
                </a:cubicBezTo>
                <a:cubicBezTo>
                  <a:pt x="93968" y="3867515"/>
                  <a:pt x="89176" y="3872306"/>
                  <a:pt x="83230" y="3872306"/>
                </a:cubicBezTo>
                <a:cubicBezTo>
                  <a:pt x="77283" y="3872306"/>
                  <a:pt x="72494" y="3867515"/>
                  <a:pt x="72494" y="3861568"/>
                </a:cubicBezTo>
                <a:cubicBezTo>
                  <a:pt x="72494" y="3855622"/>
                  <a:pt x="77283" y="3850832"/>
                  <a:pt x="83230" y="3850832"/>
                </a:cubicBezTo>
                <a:close/>
                <a:moveTo>
                  <a:pt x="940026" y="3849510"/>
                </a:moveTo>
                <a:cubicBezTo>
                  <a:pt x="945972" y="3849510"/>
                  <a:pt x="950762" y="3854300"/>
                  <a:pt x="950762" y="3860247"/>
                </a:cubicBezTo>
                <a:cubicBezTo>
                  <a:pt x="950762" y="3866193"/>
                  <a:pt x="945972" y="3870983"/>
                  <a:pt x="940026" y="3870983"/>
                </a:cubicBezTo>
                <a:cubicBezTo>
                  <a:pt x="934079" y="3870983"/>
                  <a:pt x="929289" y="3866193"/>
                  <a:pt x="929289" y="3860247"/>
                </a:cubicBezTo>
                <a:cubicBezTo>
                  <a:pt x="929289" y="3854300"/>
                  <a:pt x="934079" y="3849510"/>
                  <a:pt x="940026" y="3849510"/>
                </a:cubicBezTo>
                <a:close/>
                <a:moveTo>
                  <a:pt x="3261648" y="3849179"/>
                </a:moveTo>
                <a:cubicBezTo>
                  <a:pt x="3267594" y="3849179"/>
                  <a:pt x="3272384" y="3853969"/>
                  <a:pt x="3272384" y="3859915"/>
                </a:cubicBezTo>
                <a:cubicBezTo>
                  <a:pt x="3272384" y="3865862"/>
                  <a:pt x="3267594" y="3870653"/>
                  <a:pt x="3261648" y="3870653"/>
                </a:cubicBezTo>
                <a:cubicBezTo>
                  <a:pt x="3255701" y="3870653"/>
                  <a:pt x="3250911" y="3865862"/>
                  <a:pt x="3250911" y="3859915"/>
                </a:cubicBezTo>
                <a:cubicBezTo>
                  <a:pt x="3250911" y="3853969"/>
                  <a:pt x="3255701" y="3849179"/>
                  <a:pt x="3261648" y="3849179"/>
                </a:cubicBezTo>
                <a:close/>
                <a:moveTo>
                  <a:pt x="624693" y="3848024"/>
                </a:moveTo>
                <a:cubicBezTo>
                  <a:pt x="630640" y="3848024"/>
                  <a:pt x="635432" y="3852814"/>
                  <a:pt x="635432" y="3858760"/>
                </a:cubicBezTo>
                <a:cubicBezTo>
                  <a:pt x="635432" y="3864707"/>
                  <a:pt x="630640" y="3869497"/>
                  <a:pt x="624693" y="3869497"/>
                </a:cubicBezTo>
                <a:cubicBezTo>
                  <a:pt x="618747" y="3869497"/>
                  <a:pt x="613957" y="3864707"/>
                  <a:pt x="613957" y="3858760"/>
                </a:cubicBezTo>
                <a:cubicBezTo>
                  <a:pt x="613957" y="3852814"/>
                  <a:pt x="618747" y="3848024"/>
                  <a:pt x="624693" y="3848024"/>
                </a:cubicBezTo>
                <a:close/>
                <a:moveTo>
                  <a:pt x="3361913" y="3847197"/>
                </a:moveTo>
                <a:cubicBezTo>
                  <a:pt x="3367860" y="3847197"/>
                  <a:pt x="3372651" y="3851987"/>
                  <a:pt x="3372651" y="3857933"/>
                </a:cubicBezTo>
                <a:cubicBezTo>
                  <a:pt x="3372651" y="3863880"/>
                  <a:pt x="3367860" y="3868671"/>
                  <a:pt x="3361913" y="3868671"/>
                </a:cubicBezTo>
                <a:cubicBezTo>
                  <a:pt x="3355967" y="3868671"/>
                  <a:pt x="3351177" y="3863880"/>
                  <a:pt x="3351177" y="3857933"/>
                </a:cubicBezTo>
                <a:cubicBezTo>
                  <a:pt x="3351177" y="3851987"/>
                  <a:pt x="3355967" y="3847197"/>
                  <a:pt x="3361913" y="3847197"/>
                </a:cubicBezTo>
                <a:close/>
                <a:moveTo>
                  <a:pt x="3143213" y="3843233"/>
                </a:moveTo>
                <a:cubicBezTo>
                  <a:pt x="3149160" y="3843233"/>
                  <a:pt x="3153950" y="3848022"/>
                  <a:pt x="3153950" y="3853969"/>
                </a:cubicBezTo>
                <a:cubicBezTo>
                  <a:pt x="3153950" y="3859915"/>
                  <a:pt x="3149160" y="3864705"/>
                  <a:pt x="3143213" y="3864705"/>
                </a:cubicBezTo>
                <a:cubicBezTo>
                  <a:pt x="3137267" y="3864705"/>
                  <a:pt x="3132477" y="3859915"/>
                  <a:pt x="3132477" y="3853969"/>
                </a:cubicBezTo>
                <a:cubicBezTo>
                  <a:pt x="3132477" y="3848022"/>
                  <a:pt x="3137267" y="3843233"/>
                  <a:pt x="3143213" y="3843233"/>
                </a:cubicBezTo>
                <a:close/>
                <a:moveTo>
                  <a:pt x="3690129" y="3842242"/>
                </a:moveTo>
                <a:cubicBezTo>
                  <a:pt x="3696076" y="3842242"/>
                  <a:pt x="3700865" y="3847032"/>
                  <a:pt x="3700865" y="3852979"/>
                </a:cubicBezTo>
                <a:cubicBezTo>
                  <a:pt x="3700865" y="3858925"/>
                  <a:pt x="3696076" y="3863715"/>
                  <a:pt x="3690129" y="3863715"/>
                </a:cubicBezTo>
                <a:cubicBezTo>
                  <a:pt x="3684182" y="3863715"/>
                  <a:pt x="3679393" y="3858925"/>
                  <a:pt x="3679393" y="3852979"/>
                </a:cubicBezTo>
                <a:cubicBezTo>
                  <a:pt x="3679393" y="3847032"/>
                  <a:pt x="3684182" y="3842242"/>
                  <a:pt x="3690129" y="3842242"/>
                </a:cubicBezTo>
                <a:close/>
                <a:moveTo>
                  <a:pt x="1826553" y="3841911"/>
                </a:moveTo>
                <a:cubicBezTo>
                  <a:pt x="1832499" y="3841911"/>
                  <a:pt x="1837289" y="3846701"/>
                  <a:pt x="1837289" y="3852647"/>
                </a:cubicBezTo>
                <a:cubicBezTo>
                  <a:pt x="1837289" y="3858594"/>
                  <a:pt x="1832499" y="3863386"/>
                  <a:pt x="1826553" y="3863386"/>
                </a:cubicBezTo>
                <a:cubicBezTo>
                  <a:pt x="1820606" y="3863386"/>
                  <a:pt x="1815816" y="3858594"/>
                  <a:pt x="1815816" y="3852647"/>
                </a:cubicBezTo>
                <a:cubicBezTo>
                  <a:pt x="1815816" y="3846701"/>
                  <a:pt x="1820606" y="3841911"/>
                  <a:pt x="1826553" y="3841911"/>
                </a:cubicBezTo>
                <a:close/>
                <a:moveTo>
                  <a:pt x="1653774" y="3840425"/>
                </a:moveTo>
                <a:cubicBezTo>
                  <a:pt x="1659720" y="3840425"/>
                  <a:pt x="1664512" y="3845215"/>
                  <a:pt x="1664512" y="3851161"/>
                </a:cubicBezTo>
                <a:cubicBezTo>
                  <a:pt x="1664512" y="3857108"/>
                  <a:pt x="1659720" y="3861899"/>
                  <a:pt x="1653774" y="3861899"/>
                </a:cubicBezTo>
                <a:cubicBezTo>
                  <a:pt x="1647827" y="3861899"/>
                  <a:pt x="1643037" y="3857108"/>
                  <a:pt x="1643037" y="3851161"/>
                </a:cubicBezTo>
                <a:cubicBezTo>
                  <a:pt x="1643037" y="3845215"/>
                  <a:pt x="1647827" y="3840425"/>
                  <a:pt x="1653774" y="3840425"/>
                </a:cubicBezTo>
                <a:close/>
                <a:moveTo>
                  <a:pt x="3759835" y="3839268"/>
                </a:moveTo>
                <a:cubicBezTo>
                  <a:pt x="3761021" y="3839268"/>
                  <a:pt x="3761983" y="3840229"/>
                  <a:pt x="3761983" y="3841415"/>
                </a:cubicBezTo>
                <a:cubicBezTo>
                  <a:pt x="3761983" y="3842601"/>
                  <a:pt x="3761021" y="3843562"/>
                  <a:pt x="3759835" y="3843562"/>
                </a:cubicBezTo>
                <a:cubicBezTo>
                  <a:pt x="3758648" y="3843562"/>
                  <a:pt x="3757688" y="3842601"/>
                  <a:pt x="3757688" y="3841415"/>
                </a:cubicBezTo>
                <a:cubicBezTo>
                  <a:pt x="3757688" y="3840229"/>
                  <a:pt x="3758648" y="3839268"/>
                  <a:pt x="3759835" y="3839268"/>
                </a:cubicBezTo>
                <a:close/>
                <a:moveTo>
                  <a:pt x="3446486" y="3839268"/>
                </a:moveTo>
                <a:cubicBezTo>
                  <a:pt x="3452433" y="3839268"/>
                  <a:pt x="3457222" y="3844058"/>
                  <a:pt x="3457222" y="3850005"/>
                </a:cubicBezTo>
                <a:cubicBezTo>
                  <a:pt x="3457222" y="3855951"/>
                  <a:pt x="3452433" y="3860741"/>
                  <a:pt x="3446486" y="3860741"/>
                </a:cubicBezTo>
                <a:cubicBezTo>
                  <a:pt x="3440540" y="3860741"/>
                  <a:pt x="3435750" y="3855951"/>
                  <a:pt x="3435750" y="3850005"/>
                </a:cubicBezTo>
                <a:cubicBezTo>
                  <a:pt x="3435750" y="3844058"/>
                  <a:pt x="3440540" y="3839268"/>
                  <a:pt x="3446486" y="3839268"/>
                </a:cubicBezTo>
                <a:close/>
                <a:moveTo>
                  <a:pt x="3598618" y="3838772"/>
                </a:moveTo>
                <a:cubicBezTo>
                  <a:pt x="3604564" y="3838772"/>
                  <a:pt x="3609354" y="3843562"/>
                  <a:pt x="3609354" y="3849509"/>
                </a:cubicBezTo>
                <a:cubicBezTo>
                  <a:pt x="3609354" y="3855455"/>
                  <a:pt x="3604564" y="3860247"/>
                  <a:pt x="3598618" y="3860247"/>
                </a:cubicBezTo>
                <a:cubicBezTo>
                  <a:pt x="3592671" y="3860247"/>
                  <a:pt x="3587881" y="3855455"/>
                  <a:pt x="3587881" y="3849509"/>
                </a:cubicBezTo>
                <a:cubicBezTo>
                  <a:pt x="3587881" y="3843562"/>
                  <a:pt x="3592671" y="3838772"/>
                  <a:pt x="3598618" y="3838772"/>
                </a:cubicBezTo>
                <a:close/>
                <a:moveTo>
                  <a:pt x="3564756" y="3837121"/>
                </a:moveTo>
                <a:cubicBezTo>
                  <a:pt x="3570702" y="3837121"/>
                  <a:pt x="3575494" y="3841911"/>
                  <a:pt x="3575494" y="3847858"/>
                </a:cubicBezTo>
                <a:cubicBezTo>
                  <a:pt x="3575494" y="3853804"/>
                  <a:pt x="3570702" y="3858594"/>
                  <a:pt x="3564756" y="3858594"/>
                </a:cubicBezTo>
                <a:cubicBezTo>
                  <a:pt x="3558809" y="3858594"/>
                  <a:pt x="3554020" y="3853804"/>
                  <a:pt x="3554020" y="3847858"/>
                </a:cubicBezTo>
                <a:cubicBezTo>
                  <a:pt x="3554020" y="3841911"/>
                  <a:pt x="3558809" y="3837121"/>
                  <a:pt x="3564756" y="3837121"/>
                </a:cubicBezTo>
                <a:close/>
                <a:moveTo>
                  <a:pt x="1998837" y="3837121"/>
                </a:moveTo>
                <a:cubicBezTo>
                  <a:pt x="2004784" y="3837121"/>
                  <a:pt x="2009575" y="3841911"/>
                  <a:pt x="2009575" y="3847858"/>
                </a:cubicBezTo>
                <a:cubicBezTo>
                  <a:pt x="2009575" y="3853804"/>
                  <a:pt x="2004784" y="3858594"/>
                  <a:pt x="1998837" y="3858594"/>
                </a:cubicBezTo>
                <a:cubicBezTo>
                  <a:pt x="1992891" y="3858594"/>
                  <a:pt x="1988101" y="3853804"/>
                  <a:pt x="1988101" y="3847858"/>
                </a:cubicBezTo>
                <a:cubicBezTo>
                  <a:pt x="1988101" y="3841911"/>
                  <a:pt x="1992891" y="3837121"/>
                  <a:pt x="1998837" y="3837121"/>
                </a:cubicBezTo>
                <a:close/>
                <a:moveTo>
                  <a:pt x="3624056" y="3836625"/>
                </a:moveTo>
                <a:cubicBezTo>
                  <a:pt x="3630003" y="3836625"/>
                  <a:pt x="3634793" y="3841415"/>
                  <a:pt x="3634793" y="3847362"/>
                </a:cubicBezTo>
                <a:cubicBezTo>
                  <a:pt x="3634793" y="3853308"/>
                  <a:pt x="3630003" y="3858098"/>
                  <a:pt x="3624056" y="3858098"/>
                </a:cubicBezTo>
                <a:cubicBezTo>
                  <a:pt x="3618110" y="3858098"/>
                  <a:pt x="3613320" y="3853308"/>
                  <a:pt x="3613320" y="3847362"/>
                </a:cubicBezTo>
                <a:cubicBezTo>
                  <a:pt x="3613320" y="3841415"/>
                  <a:pt x="3618110" y="3836625"/>
                  <a:pt x="3624056" y="3836625"/>
                </a:cubicBezTo>
                <a:close/>
                <a:moveTo>
                  <a:pt x="3666672" y="3835470"/>
                </a:moveTo>
                <a:cubicBezTo>
                  <a:pt x="3672619" y="3835470"/>
                  <a:pt x="3677409" y="3840260"/>
                  <a:pt x="3677409" y="3846207"/>
                </a:cubicBezTo>
                <a:cubicBezTo>
                  <a:pt x="3677409" y="3852153"/>
                  <a:pt x="3672619" y="3856943"/>
                  <a:pt x="3666672" y="3856943"/>
                </a:cubicBezTo>
                <a:cubicBezTo>
                  <a:pt x="3660726" y="3856943"/>
                  <a:pt x="3655936" y="3852153"/>
                  <a:pt x="3655936" y="3846207"/>
                </a:cubicBezTo>
                <a:cubicBezTo>
                  <a:pt x="3655936" y="3840260"/>
                  <a:pt x="3660726" y="3835470"/>
                  <a:pt x="3666672" y="3835470"/>
                </a:cubicBezTo>
                <a:close/>
                <a:moveTo>
                  <a:pt x="19800" y="3834808"/>
                </a:moveTo>
                <a:cubicBezTo>
                  <a:pt x="25747" y="3834808"/>
                  <a:pt x="30537" y="3839598"/>
                  <a:pt x="30537" y="3845544"/>
                </a:cubicBezTo>
                <a:cubicBezTo>
                  <a:pt x="30537" y="3851491"/>
                  <a:pt x="25747" y="3856282"/>
                  <a:pt x="19800" y="3856282"/>
                </a:cubicBezTo>
                <a:cubicBezTo>
                  <a:pt x="13854" y="3856282"/>
                  <a:pt x="9064" y="3851491"/>
                  <a:pt x="9064" y="3845544"/>
                </a:cubicBezTo>
                <a:cubicBezTo>
                  <a:pt x="9064" y="3839598"/>
                  <a:pt x="13854" y="3834808"/>
                  <a:pt x="19800" y="3834808"/>
                </a:cubicBezTo>
                <a:close/>
                <a:moveTo>
                  <a:pt x="3724487" y="3834478"/>
                </a:moveTo>
                <a:cubicBezTo>
                  <a:pt x="3730433" y="3834478"/>
                  <a:pt x="3735223" y="3839268"/>
                  <a:pt x="3735223" y="3845215"/>
                </a:cubicBezTo>
                <a:cubicBezTo>
                  <a:pt x="3735223" y="3851161"/>
                  <a:pt x="3730433" y="3855951"/>
                  <a:pt x="3724487" y="3855951"/>
                </a:cubicBezTo>
                <a:cubicBezTo>
                  <a:pt x="3718540" y="3855951"/>
                  <a:pt x="3713750" y="3851161"/>
                  <a:pt x="3713750" y="3845215"/>
                </a:cubicBezTo>
                <a:cubicBezTo>
                  <a:pt x="3713750" y="3839268"/>
                  <a:pt x="3718540" y="3834478"/>
                  <a:pt x="3724487" y="3834478"/>
                </a:cubicBezTo>
                <a:close/>
                <a:moveTo>
                  <a:pt x="3645529" y="3834478"/>
                </a:moveTo>
                <a:cubicBezTo>
                  <a:pt x="3651476" y="3834478"/>
                  <a:pt x="3656266" y="3839268"/>
                  <a:pt x="3656266" y="3845215"/>
                </a:cubicBezTo>
                <a:cubicBezTo>
                  <a:pt x="3656266" y="3851161"/>
                  <a:pt x="3651476" y="3855951"/>
                  <a:pt x="3645529" y="3855951"/>
                </a:cubicBezTo>
                <a:cubicBezTo>
                  <a:pt x="3639583" y="3855951"/>
                  <a:pt x="3634793" y="3851161"/>
                  <a:pt x="3634793" y="3845215"/>
                </a:cubicBezTo>
                <a:cubicBezTo>
                  <a:pt x="3634793" y="3839268"/>
                  <a:pt x="3639583" y="3834478"/>
                  <a:pt x="3645529" y="3834478"/>
                </a:cubicBezTo>
                <a:close/>
                <a:moveTo>
                  <a:pt x="2699535" y="3833322"/>
                </a:moveTo>
                <a:cubicBezTo>
                  <a:pt x="2705482" y="3833322"/>
                  <a:pt x="2710273" y="3838111"/>
                  <a:pt x="2710273" y="3844058"/>
                </a:cubicBezTo>
                <a:cubicBezTo>
                  <a:pt x="2710273" y="3850005"/>
                  <a:pt x="2705482" y="3854794"/>
                  <a:pt x="2699535" y="3854794"/>
                </a:cubicBezTo>
                <a:cubicBezTo>
                  <a:pt x="2693589" y="3854794"/>
                  <a:pt x="2688799" y="3850005"/>
                  <a:pt x="2688799" y="3844058"/>
                </a:cubicBezTo>
                <a:cubicBezTo>
                  <a:pt x="2688799" y="3838111"/>
                  <a:pt x="2693589" y="3833322"/>
                  <a:pt x="2699535" y="3833322"/>
                </a:cubicBezTo>
                <a:close/>
                <a:moveTo>
                  <a:pt x="1482315" y="3832661"/>
                </a:moveTo>
                <a:cubicBezTo>
                  <a:pt x="1488261" y="3832661"/>
                  <a:pt x="1493053" y="3837451"/>
                  <a:pt x="1493053" y="3843397"/>
                </a:cubicBezTo>
                <a:cubicBezTo>
                  <a:pt x="1493053" y="3849344"/>
                  <a:pt x="1488261" y="3854135"/>
                  <a:pt x="1482315" y="3854135"/>
                </a:cubicBezTo>
                <a:cubicBezTo>
                  <a:pt x="1476368" y="3854135"/>
                  <a:pt x="1471578" y="3849344"/>
                  <a:pt x="1471578" y="3843397"/>
                </a:cubicBezTo>
                <a:cubicBezTo>
                  <a:pt x="1471578" y="3837451"/>
                  <a:pt x="1476368" y="3832661"/>
                  <a:pt x="1482315" y="3832661"/>
                </a:cubicBezTo>
                <a:close/>
                <a:moveTo>
                  <a:pt x="252211" y="3828697"/>
                </a:moveTo>
                <a:cubicBezTo>
                  <a:pt x="258157" y="3828697"/>
                  <a:pt x="262947" y="3833486"/>
                  <a:pt x="262947" y="3839433"/>
                </a:cubicBezTo>
                <a:cubicBezTo>
                  <a:pt x="262947" y="3845379"/>
                  <a:pt x="258157" y="3850169"/>
                  <a:pt x="252211" y="3850169"/>
                </a:cubicBezTo>
                <a:cubicBezTo>
                  <a:pt x="246264" y="3850169"/>
                  <a:pt x="241475" y="3845379"/>
                  <a:pt x="241475" y="3839433"/>
                </a:cubicBezTo>
                <a:cubicBezTo>
                  <a:pt x="241475" y="3833486"/>
                  <a:pt x="246264" y="3828697"/>
                  <a:pt x="252211" y="3828697"/>
                </a:cubicBezTo>
                <a:close/>
                <a:moveTo>
                  <a:pt x="3004296" y="3827540"/>
                </a:moveTo>
                <a:cubicBezTo>
                  <a:pt x="3010243" y="3827540"/>
                  <a:pt x="3015034" y="3832330"/>
                  <a:pt x="3015034" y="3838276"/>
                </a:cubicBezTo>
                <a:cubicBezTo>
                  <a:pt x="3015034" y="3844223"/>
                  <a:pt x="3010243" y="3849014"/>
                  <a:pt x="3004296" y="3849014"/>
                </a:cubicBezTo>
                <a:cubicBezTo>
                  <a:pt x="2998350" y="3849014"/>
                  <a:pt x="2993560" y="3844223"/>
                  <a:pt x="2993560" y="3838276"/>
                </a:cubicBezTo>
                <a:cubicBezTo>
                  <a:pt x="2993560" y="3832330"/>
                  <a:pt x="2998350" y="3827540"/>
                  <a:pt x="3004296" y="3827540"/>
                </a:cubicBezTo>
                <a:close/>
                <a:moveTo>
                  <a:pt x="3517348" y="3826550"/>
                </a:moveTo>
                <a:cubicBezTo>
                  <a:pt x="3523295" y="3826550"/>
                  <a:pt x="3528087" y="3831339"/>
                  <a:pt x="3528087" y="3837286"/>
                </a:cubicBezTo>
                <a:cubicBezTo>
                  <a:pt x="3528087" y="3843233"/>
                  <a:pt x="3523295" y="3848024"/>
                  <a:pt x="3517348" y="3848024"/>
                </a:cubicBezTo>
                <a:cubicBezTo>
                  <a:pt x="3511402" y="3848024"/>
                  <a:pt x="3506612" y="3843233"/>
                  <a:pt x="3506612" y="3837286"/>
                </a:cubicBezTo>
                <a:cubicBezTo>
                  <a:pt x="3506612" y="3831339"/>
                  <a:pt x="3511402" y="3826550"/>
                  <a:pt x="3517348" y="3826550"/>
                </a:cubicBezTo>
                <a:close/>
                <a:moveTo>
                  <a:pt x="156735" y="3826220"/>
                </a:moveTo>
                <a:cubicBezTo>
                  <a:pt x="162682" y="3826220"/>
                  <a:pt x="167472" y="3831010"/>
                  <a:pt x="167472" y="3836957"/>
                </a:cubicBezTo>
                <a:cubicBezTo>
                  <a:pt x="167472" y="3842903"/>
                  <a:pt x="162682" y="3847693"/>
                  <a:pt x="156735" y="3847693"/>
                </a:cubicBezTo>
                <a:cubicBezTo>
                  <a:pt x="150789" y="3847693"/>
                  <a:pt x="145999" y="3842903"/>
                  <a:pt x="145999" y="3836957"/>
                </a:cubicBezTo>
                <a:cubicBezTo>
                  <a:pt x="145999" y="3831010"/>
                  <a:pt x="150789" y="3826220"/>
                  <a:pt x="156735" y="3826220"/>
                </a:cubicBezTo>
                <a:close/>
                <a:moveTo>
                  <a:pt x="2169139" y="3825889"/>
                </a:moveTo>
                <a:cubicBezTo>
                  <a:pt x="2175086" y="3825889"/>
                  <a:pt x="2179878" y="3830679"/>
                  <a:pt x="2179878" y="3836625"/>
                </a:cubicBezTo>
                <a:cubicBezTo>
                  <a:pt x="2179878" y="3842572"/>
                  <a:pt x="2175086" y="3847363"/>
                  <a:pt x="2169139" y="3847363"/>
                </a:cubicBezTo>
                <a:cubicBezTo>
                  <a:pt x="2163193" y="3847363"/>
                  <a:pt x="2158403" y="3842572"/>
                  <a:pt x="2158403" y="3836625"/>
                </a:cubicBezTo>
                <a:cubicBezTo>
                  <a:pt x="2158403" y="3830679"/>
                  <a:pt x="2163193" y="3825889"/>
                  <a:pt x="2169139" y="3825889"/>
                </a:cubicBezTo>
                <a:close/>
                <a:moveTo>
                  <a:pt x="365360" y="3823577"/>
                </a:moveTo>
                <a:cubicBezTo>
                  <a:pt x="371291" y="3823577"/>
                  <a:pt x="376098" y="3828384"/>
                  <a:pt x="376098" y="3834314"/>
                </a:cubicBezTo>
                <a:cubicBezTo>
                  <a:pt x="376098" y="3840243"/>
                  <a:pt x="371291" y="3845050"/>
                  <a:pt x="365360" y="3845050"/>
                </a:cubicBezTo>
                <a:cubicBezTo>
                  <a:pt x="359430" y="3845050"/>
                  <a:pt x="354623" y="3840243"/>
                  <a:pt x="354623" y="3834314"/>
                </a:cubicBezTo>
                <a:cubicBezTo>
                  <a:pt x="354623" y="3828384"/>
                  <a:pt x="359430" y="3823577"/>
                  <a:pt x="365360" y="3823577"/>
                </a:cubicBezTo>
                <a:close/>
                <a:moveTo>
                  <a:pt x="3699379" y="3822254"/>
                </a:moveTo>
                <a:cubicBezTo>
                  <a:pt x="3705326" y="3822254"/>
                  <a:pt x="3710115" y="3827044"/>
                  <a:pt x="3710115" y="3832990"/>
                </a:cubicBezTo>
                <a:cubicBezTo>
                  <a:pt x="3710115" y="3838937"/>
                  <a:pt x="3705326" y="3843729"/>
                  <a:pt x="3699379" y="3843729"/>
                </a:cubicBezTo>
                <a:cubicBezTo>
                  <a:pt x="3693433" y="3843729"/>
                  <a:pt x="3688643" y="3838937"/>
                  <a:pt x="3688643" y="3832990"/>
                </a:cubicBezTo>
                <a:cubicBezTo>
                  <a:pt x="3688643" y="3827044"/>
                  <a:pt x="3693433" y="3822254"/>
                  <a:pt x="3699379" y="3822254"/>
                </a:cubicBezTo>
                <a:close/>
                <a:moveTo>
                  <a:pt x="1313336" y="3818621"/>
                </a:moveTo>
                <a:cubicBezTo>
                  <a:pt x="1319282" y="3818621"/>
                  <a:pt x="1324074" y="3823411"/>
                  <a:pt x="1324074" y="3829357"/>
                </a:cubicBezTo>
                <a:cubicBezTo>
                  <a:pt x="1324074" y="3835304"/>
                  <a:pt x="1319282" y="3840094"/>
                  <a:pt x="1313336" y="3840094"/>
                </a:cubicBezTo>
                <a:cubicBezTo>
                  <a:pt x="1307389" y="3840094"/>
                  <a:pt x="1302599" y="3835304"/>
                  <a:pt x="1302599" y="3829357"/>
                </a:cubicBezTo>
                <a:cubicBezTo>
                  <a:pt x="1302599" y="3823411"/>
                  <a:pt x="1307389" y="3818621"/>
                  <a:pt x="1313336" y="3818621"/>
                </a:cubicBezTo>
                <a:close/>
                <a:moveTo>
                  <a:pt x="793839" y="3818456"/>
                </a:moveTo>
                <a:cubicBezTo>
                  <a:pt x="799786" y="3818456"/>
                  <a:pt x="804575" y="3823246"/>
                  <a:pt x="804575" y="3829193"/>
                </a:cubicBezTo>
                <a:cubicBezTo>
                  <a:pt x="804575" y="3835139"/>
                  <a:pt x="799786" y="3839929"/>
                  <a:pt x="793839" y="3839929"/>
                </a:cubicBezTo>
                <a:cubicBezTo>
                  <a:pt x="787893" y="3839929"/>
                  <a:pt x="783103" y="3835139"/>
                  <a:pt x="783103" y="3829193"/>
                </a:cubicBezTo>
                <a:cubicBezTo>
                  <a:pt x="783103" y="3823246"/>
                  <a:pt x="787893" y="3818456"/>
                  <a:pt x="793839" y="3818456"/>
                </a:cubicBezTo>
                <a:close/>
                <a:moveTo>
                  <a:pt x="76623" y="3817960"/>
                </a:moveTo>
                <a:cubicBezTo>
                  <a:pt x="82569" y="3817960"/>
                  <a:pt x="87361" y="3822750"/>
                  <a:pt x="87361" y="3828697"/>
                </a:cubicBezTo>
                <a:cubicBezTo>
                  <a:pt x="87361" y="3834643"/>
                  <a:pt x="82569" y="3839433"/>
                  <a:pt x="76623" y="3839433"/>
                </a:cubicBezTo>
                <a:cubicBezTo>
                  <a:pt x="70676" y="3839433"/>
                  <a:pt x="65886" y="3834643"/>
                  <a:pt x="65886" y="3828697"/>
                </a:cubicBezTo>
                <a:cubicBezTo>
                  <a:pt x="65886" y="3822750"/>
                  <a:pt x="70676" y="3817960"/>
                  <a:pt x="76623" y="3817960"/>
                </a:cubicBezTo>
                <a:close/>
                <a:moveTo>
                  <a:pt x="3638428" y="3817464"/>
                </a:moveTo>
                <a:cubicBezTo>
                  <a:pt x="3644374" y="3817464"/>
                  <a:pt x="3649164" y="3822254"/>
                  <a:pt x="3649164" y="3828201"/>
                </a:cubicBezTo>
                <a:cubicBezTo>
                  <a:pt x="3649164" y="3834147"/>
                  <a:pt x="3644374" y="3838937"/>
                  <a:pt x="3638428" y="3838937"/>
                </a:cubicBezTo>
                <a:cubicBezTo>
                  <a:pt x="3632481" y="3838937"/>
                  <a:pt x="3627691" y="3834147"/>
                  <a:pt x="3627691" y="3828201"/>
                </a:cubicBezTo>
                <a:cubicBezTo>
                  <a:pt x="3627691" y="3822254"/>
                  <a:pt x="3632481" y="3817464"/>
                  <a:pt x="3638428" y="3817464"/>
                </a:cubicBezTo>
                <a:close/>
                <a:moveTo>
                  <a:pt x="3612659" y="3817135"/>
                </a:moveTo>
                <a:cubicBezTo>
                  <a:pt x="3618606" y="3817135"/>
                  <a:pt x="3623396" y="3821925"/>
                  <a:pt x="3623396" y="3827871"/>
                </a:cubicBezTo>
                <a:cubicBezTo>
                  <a:pt x="3623396" y="3833818"/>
                  <a:pt x="3618606" y="3838609"/>
                  <a:pt x="3612659" y="3838609"/>
                </a:cubicBezTo>
                <a:cubicBezTo>
                  <a:pt x="3606713" y="3838609"/>
                  <a:pt x="3601923" y="3833818"/>
                  <a:pt x="3601923" y="3827871"/>
                </a:cubicBezTo>
                <a:cubicBezTo>
                  <a:pt x="3601923" y="3821925"/>
                  <a:pt x="3606713" y="3817135"/>
                  <a:pt x="3612659" y="3817135"/>
                </a:cubicBezTo>
                <a:close/>
                <a:moveTo>
                  <a:pt x="3659075" y="3816309"/>
                </a:moveTo>
                <a:lnTo>
                  <a:pt x="3669069" y="3826303"/>
                </a:lnTo>
                <a:lnTo>
                  <a:pt x="3678401" y="3816970"/>
                </a:lnTo>
                <a:cubicBezTo>
                  <a:pt x="3684347" y="3816970"/>
                  <a:pt x="3689139" y="3821760"/>
                  <a:pt x="3689139" y="3827706"/>
                </a:cubicBezTo>
                <a:cubicBezTo>
                  <a:pt x="3689139" y="3833653"/>
                  <a:pt x="3684347" y="3838443"/>
                  <a:pt x="3678401" y="3838443"/>
                </a:cubicBezTo>
                <a:lnTo>
                  <a:pt x="3668407" y="3828450"/>
                </a:lnTo>
                <a:lnTo>
                  <a:pt x="3659075" y="3837782"/>
                </a:lnTo>
                <a:cubicBezTo>
                  <a:pt x="3653128" y="3837782"/>
                  <a:pt x="3648339" y="3832992"/>
                  <a:pt x="3648339" y="3827046"/>
                </a:cubicBezTo>
                <a:cubicBezTo>
                  <a:pt x="3648339" y="3821099"/>
                  <a:pt x="3653128" y="3816309"/>
                  <a:pt x="3659075" y="3816309"/>
                </a:cubicBezTo>
                <a:close/>
                <a:moveTo>
                  <a:pt x="3732084" y="3812839"/>
                </a:moveTo>
                <a:cubicBezTo>
                  <a:pt x="3738031" y="3812839"/>
                  <a:pt x="3742822" y="3817629"/>
                  <a:pt x="3742822" y="3823576"/>
                </a:cubicBezTo>
                <a:cubicBezTo>
                  <a:pt x="3742822" y="3829522"/>
                  <a:pt x="3738031" y="3834312"/>
                  <a:pt x="3732084" y="3834312"/>
                </a:cubicBezTo>
                <a:cubicBezTo>
                  <a:pt x="3726138" y="3834312"/>
                  <a:pt x="3721348" y="3829522"/>
                  <a:pt x="3721348" y="3823576"/>
                </a:cubicBezTo>
                <a:cubicBezTo>
                  <a:pt x="3721348" y="3817629"/>
                  <a:pt x="3726138" y="3812839"/>
                  <a:pt x="3732084" y="3812839"/>
                </a:cubicBezTo>
                <a:close/>
                <a:moveTo>
                  <a:pt x="3576814" y="3810857"/>
                </a:moveTo>
                <a:cubicBezTo>
                  <a:pt x="3582760" y="3810857"/>
                  <a:pt x="3587550" y="3815647"/>
                  <a:pt x="3587550" y="3821593"/>
                </a:cubicBezTo>
                <a:cubicBezTo>
                  <a:pt x="3587550" y="3827540"/>
                  <a:pt x="3582760" y="3832330"/>
                  <a:pt x="3576814" y="3832330"/>
                </a:cubicBezTo>
                <a:cubicBezTo>
                  <a:pt x="3570867" y="3832330"/>
                  <a:pt x="3566077" y="3827540"/>
                  <a:pt x="3566077" y="3821593"/>
                </a:cubicBezTo>
                <a:cubicBezTo>
                  <a:pt x="3566077" y="3815647"/>
                  <a:pt x="3570867" y="3810857"/>
                  <a:pt x="3576814" y="3810857"/>
                </a:cubicBezTo>
                <a:close/>
                <a:moveTo>
                  <a:pt x="498495" y="3809206"/>
                </a:moveTo>
                <a:cubicBezTo>
                  <a:pt x="504441" y="3809206"/>
                  <a:pt x="509233" y="3813996"/>
                  <a:pt x="509233" y="3819942"/>
                </a:cubicBezTo>
                <a:cubicBezTo>
                  <a:pt x="509233" y="3825889"/>
                  <a:pt x="504441" y="3830679"/>
                  <a:pt x="498495" y="3830679"/>
                </a:cubicBezTo>
                <a:cubicBezTo>
                  <a:pt x="492548" y="3830679"/>
                  <a:pt x="487758" y="3825889"/>
                  <a:pt x="487758" y="3819942"/>
                </a:cubicBezTo>
                <a:cubicBezTo>
                  <a:pt x="487758" y="3813996"/>
                  <a:pt x="492548" y="3809206"/>
                  <a:pt x="498495" y="3809206"/>
                </a:cubicBezTo>
                <a:close/>
                <a:moveTo>
                  <a:pt x="2336136" y="3808710"/>
                </a:moveTo>
                <a:cubicBezTo>
                  <a:pt x="2342083" y="3808710"/>
                  <a:pt x="2346875" y="3813500"/>
                  <a:pt x="2346875" y="3819446"/>
                </a:cubicBezTo>
                <a:cubicBezTo>
                  <a:pt x="2346875" y="3825393"/>
                  <a:pt x="2342083" y="3830183"/>
                  <a:pt x="2336136" y="3830183"/>
                </a:cubicBezTo>
                <a:cubicBezTo>
                  <a:pt x="2330190" y="3830183"/>
                  <a:pt x="2325400" y="3825393"/>
                  <a:pt x="2325400" y="3819446"/>
                </a:cubicBezTo>
                <a:cubicBezTo>
                  <a:pt x="2325400" y="3813500"/>
                  <a:pt x="2330190" y="3808710"/>
                  <a:pt x="2336136" y="3808710"/>
                </a:cubicBezTo>
                <a:close/>
                <a:moveTo>
                  <a:pt x="3765616" y="3807224"/>
                </a:moveTo>
                <a:cubicBezTo>
                  <a:pt x="3771563" y="3807224"/>
                  <a:pt x="3776354" y="3812014"/>
                  <a:pt x="3776354" y="3817960"/>
                </a:cubicBezTo>
                <a:cubicBezTo>
                  <a:pt x="3776354" y="3823907"/>
                  <a:pt x="3771563" y="3828697"/>
                  <a:pt x="3765616" y="3828697"/>
                </a:cubicBezTo>
                <a:cubicBezTo>
                  <a:pt x="3759670" y="3828697"/>
                  <a:pt x="3754880" y="3823907"/>
                  <a:pt x="3754880" y="3817960"/>
                </a:cubicBezTo>
                <a:cubicBezTo>
                  <a:pt x="3754880" y="3812014"/>
                  <a:pt x="3759670" y="3807224"/>
                  <a:pt x="3765616" y="3807224"/>
                </a:cubicBezTo>
                <a:close/>
                <a:moveTo>
                  <a:pt x="9558" y="3805406"/>
                </a:moveTo>
                <a:cubicBezTo>
                  <a:pt x="15505" y="3805406"/>
                  <a:pt x="20296" y="3810196"/>
                  <a:pt x="20296" y="3816143"/>
                </a:cubicBezTo>
                <a:cubicBezTo>
                  <a:pt x="20296" y="3822089"/>
                  <a:pt x="15505" y="3826881"/>
                  <a:pt x="9558" y="3826881"/>
                </a:cubicBezTo>
                <a:lnTo>
                  <a:pt x="0" y="3817321"/>
                </a:lnTo>
                <a:lnTo>
                  <a:pt x="0" y="3814965"/>
                </a:lnTo>
                <a:close/>
                <a:moveTo>
                  <a:pt x="3360262" y="3804746"/>
                </a:moveTo>
                <a:cubicBezTo>
                  <a:pt x="3366209" y="3804746"/>
                  <a:pt x="3370999" y="3809536"/>
                  <a:pt x="3370999" y="3815482"/>
                </a:cubicBezTo>
                <a:cubicBezTo>
                  <a:pt x="3370999" y="3821429"/>
                  <a:pt x="3366209" y="3826220"/>
                  <a:pt x="3360262" y="3826220"/>
                </a:cubicBezTo>
                <a:cubicBezTo>
                  <a:pt x="3354316" y="3826220"/>
                  <a:pt x="3349526" y="3821429"/>
                  <a:pt x="3349526" y="3815482"/>
                </a:cubicBezTo>
                <a:cubicBezTo>
                  <a:pt x="3349526" y="3809536"/>
                  <a:pt x="3354316" y="3804746"/>
                  <a:pt x="3360262" y="3804746"/>
                </a:cubicBezTo>
                <a:close/>
                <a:moveTo>
                  <a:pt x="3709951" y="3802434"/>
                </a:moveTo>
                <a:cubicBezTo>
                  <a:pt x="3715897" y="3802434"/>
                  <a:pt x="3720689" y="3807224"/>
                  <a:pt x="3720689" y="3813170"/>
                </a:cubicBezTo>
                <a:cubicBezTo>
                  <a:pt x="3720689" y="3819117"/>
                  <a:pt x="3715897" y="3823907"/>
                  <a:pt x="3709951" y="3823907"/>
                </a:cubicBezTo>
                <a:cubicBezTo>
                  <a:pt x="3704004" y="3823907"/>
                  <a:pt x="3699214" y="3819117"/>
                  <a:pt x="3699214" y="3813170"/>
                </a:cubicBezTo>
                <a:cubicBezTo>
                  <a:pt x="3699214" y="3807224"/>
                  <a:pt x="3704004" y="3802434"/>
                  <a:pt x="3709951" y="3802434"/>
                </a:cubicBezTo>
                <a:close/>
                <a:moveTo>
                  <a:pt x="3450286" y="3801772"/>
                </a:moveTo>
                <a:cubicBezTo>
                  <a:pt x="3456232" y="3801772"/>
                  <a:pt x="3461024" y="3806561"/>
                  <a:pt x="3461024" y="3812508"/>
                </a:cubicBezTo>
                <a:cubicBezTo>
                  <a:pt x="3461024" y="3818454"/>
                  <a:pt x="3456232" y="3823246"/>
                  <a:pt x="3450286" y="3823246"/>
                </a:cubicBezTo>
                <a:cubicBezTo>
                  <a:pt x="3444339" y="3823246"/>
                  <a:pt x="3439549" y="3818454"/>
                  <a:pt x="3439549" y="3812508"/>
                </a:cubicBezTo>
                <a:cubicBezTo>
                  <a:pt x="3439549" y="3806561"/>
                  <a:pt x="3444339" y="3801772"/>
                  <a:pt x="3450286" y="3801772"/>
                </a:cubicBezTo>
                <a:close/>
                <a:moveTo>
                  <a:pt x="3253225" y="3800452"/>
                </a:moveTo>
                <a:cubicBezTo>
                  <a:pt x="3259171" y="3800452"/>
                  <a:pt x="3263961" y="3805242"/>
                  <a:pt x="3263961" y="3811188"/>
                </a:cubicBezTo>
                <a:cubicBezTo>
                  <a:pt x="3263961" y="3817135"/>
                  <a:pt x="3259171" y="3821925"/>
                  <a:pt x="3253225" y="3821925"/>
                </a:cubicBezTo>
                <a:cubicBezTo>
                  <a:pt x="3247278" y="3821925"/>
                  <a:pt x="3242489" y="3817135"/>
                  <a:pt x="3242489" y="3811188"/>
                </a:cubicBezTo>
                <a:cubicBezTo>
                  <a:pt x="3242489" y="3805242"/>
                  <a:pt x="3247278" y="3800452"/>
                  <a:pt x="3253225" y="3800452"/>
                </a:cubicBezTo>
                <a:close/>
                <a:moveTo>
                  <a:pt x="2842418" y="3800121"/>
                </a:moveTo>
                <a:cubicBezTo>
                  <a:pt x="2848365" y="3800121"/>
                  <a:pt x="2853155" y="3804910"/>
                  <a:pt x="2853155" y="3810857"/>
                </a:cubicBezTo>
                <a:cubicBezTo>
                  <a:pt x="2853155" y="3816804"/>
                  <a:pt x="2848365" y="3821595"/>
                  <a:pt x="2842418" y="3821595"/>
                </a:cubicBezTo>
                <a:cubicBezTo>
                  <a:pt x="2836472" y="3821595"/>
                  <a:pt x="2831682" y="3816804"/>
                  <a:pt x="2831682" y="3810857"/>
                </a:cubicBezTo>
                <a:cubicBezTo>
                  <a:pt x="2831682" y="3804910"/>
                  <a:pt x="2836472" y="3800121"/>
                  <a:pt x="2842418" y="3800121"/>
                </a:cubicBezTo>
                <a:close/>
                <a:moveTo>
                  <a:pt x="1148319" y="3798799"/>
                </a:moveTo>
                <a:cubicBezTo>
                  <a:pt x="1154265" y="3798799"/>
                  <a:pt x="1159057" y="3803589"/>
                  <a:pt x="1159057" y="3809536"/>
                </a:cubicBezTo>
                <a:cubicBezTo>
                  <a:pt x="1159057" y="3815482"/>
                  <a:pt x="1154265" y="3820272"/>
                  <a:pt x="1148319" y="3820272"/>
                </a:cubicBezTo>
                <a:cubicBezTo>
                  <a:pt x="1142372" y="3820272"/>
                  <a:pt x="1137583" y="3815482"/>
                  <a:pt x="1137583" y="3809536"/>
                </a:cubicBezTo>
                <a:cubicBezTo>
                  <a:pt x="1137583" y="3803589"/>
                  <a:pt x="1142372" y="3798799"/>
                  <a:pt x="1148319" y="3798799"/>
                </a:cubicBezTo>
                <a:close/>
                <a:moveTo>
                  <a:pt x="3653458" y="3796817"/>
                </a:moveTo>
                <a:lnTo>
                  <a:pt x="3663781" y="3807141"/>
                </a:lnTo>
                <a:lnTo>
                  <a:pt x="3673776" y="3797147"/>
                </a:lnTo>
                <a:lnTo>
                  <a:pt x="3683109" y="3806480"/>
                </a:lnTo>
                <a:lnTo>
                  <a:pt x="3691450" y="3798138"/>
                </a:lnTo>
                <a:cubicBezTo>
                  <a:pt x="3697397" y="3798138"/>
                  <a:pt x="3702187" y="3802928"/>
                  <a:pt x="3702187" y="3808875"/>
                </a:cubicBezTo>
                <a:cubicBezTo>
                  <a:pt x="3702187" y="3814821"/>
                  <a:pt x="3697397" y="3819613"/>
                  <a:pt x="3691450" y="3819613"/>
                </a:cubicBezTo>
                <a:lnTo>
                  <a:pt x="3682117" y="3810280"/>
                </a:lnTo>
                <a:lnTo>
                  <a:pt x="3673776" y="3818621"/>
                </a:lnTo>
                <a:lnTo>
                  <a:pt x="3663452" y="3808296"/>
                </a:lnTo>
                <a:lnTo>
                  <a:pt x="3653458" y="3818290"/>
                </a:lnTo>
                <a:cubicBezTo>
                  <a:pt x="3647511" y="3818290"/>
                  <a:pt x="3642722" y="3813500"/>
                  <a:pt x="3642722" y="3807553"/>
                </a:cubicBezTo>
                <a:cubicBezTo>
                  <a:pt x="3642722" y="3801607"/>
                  <a:pt x="3647511" y="3796817"/>
                  <a:pt x="3653458" y="3796817"/>
                </a:cubicBezTo>
                <a:close/>
                <a:moveTo>
                  <a:pt x="3525608" y="3793513"/>
                </a:moveTo>
                <a:cubicBezTo>
                  <a:pt x="3531555" y="3793513"/>
                  <a:pt x="3536346" y="3798303"/>
                  <a:pt x="3536346" y="3804250"/>
                </a:cubicBezTo>
                <a:cubicBezTo>
                  <a:pt x="3536346" y="3810196"/>
                  <a:pt x="3531555" y="3814988"/>
                  <a:pt x="3525608" y="3814988"/>
                </a:cubicBezTo>
                <a:cubicBezTo>
                  <a:pt x="3519662" y="3814988"/>
                  <a:pt x="3514872" y="3810196"/>
                  <a:pt x="3514872" y="3804250"/>
                </a:cubicBezTo>
                <a:cubicBezTo>
                  <a:pt x="3514872" y="3798303"/>
                  <a:pt x="3519662" y="3793513"/>
                  <a:pt x="3525608" y="3793513"/>
                </a:cubicBezTo>
                <a:close/>
                <a:moveTo>
                  <a:pt x="3626699" y="3792853"/>
                </a:moveTo>
                <a:cubicBezTo>
                  <a:pt x="3632646" y="3792853"/>
                  <a:pt x="3637437" y="3797642"/>
                  <a:pt x="3637437" y="3803589"/>
                </a:cubicBezTo>
                <a:cubicBezTo>
                  <a:pt x="3637437" y="3809536"/>
                  <a:pt x="3632646" y="3814327"/>
                  <a:pt x="3626699" y="3814327"/>
                </a:cubicBezTo>
                <a:cubicBezTo>
                  <a:pt x="3620753" y="3814327"/>
                  <a:pt x="3615963" y="3809536"/>
                  <a:pt x="3615963" y="3803589"/>
                </a:cubicBezTo>
                <a:cubicBezTo>
                  <a:pt x="3615963" y="3797642"/>
                  <a:pt x="3620753" y="3792853"/>
                  <a:pt x="3626699" y="3792853"/>
                </a:cubicBezTo>
                <a:close/>
                <a:moveTo>
                  <a:pt x="3741170" y="3791531"/>
                </a:moveTo>
                <a:cubicBezTo>
                  <a:pt x="3747116" y="3791531"/>
                  <a:pt x="3751906" y="3796321"/>
                  <a:pt x="3751906" y="3802268"/>
                </a:cubicBezTo>
                <a:cubicBezTo>
                  <a:pt x="3751906" y="3808214"/>
                  <a:pt x="3747116" y="3813004"/>
                  <a:pt x="3741170" y="3813004"/>
                </a:cubicBezTo>
                <a:cubicBezTo>
                  <a:pt x="3735223" y="3813004"/>
                  <a:pt x="3730433" y="3808214"/>
                  <a:pt x="3730433" y="3802268"/>
                </a:cubicBezTo>
                <a:cubicBezTo>
                  <a:pt x="3730433" y="3796321"/>
                  <a:pt x="3735223" y="3791531"/>
                  <a:pt x="3741170" y="3791531"/>
                </a:cubicBezTo>
                <a:close/>
                <a:moveTo>
                  <a:pt x="3126695" y="3787402"/>
                </a:moveTo>
                <a:cubicBezTo>
                  <a:pt x="3132642" y="3787402"/>
                  <a:pt x="3137431" y="3792192"/>
                  <a:pt x="3137431" y="3798138"/>
                </a:cubicBezTo>
                <a:cubicBezTo>
                  <a:pt x="3137431" y="3804085"/>
                  <a:pt x="3132642" y="3808875"/>
                  <a:pt x="3126695" y="3808875"/>
                </a:cubicBezTo>
                <a:cubicBezTo>
                  <a:pt x="3120749" y="3808875"/>
                  <a:pt x="3115959" y="3804085"/>
                  <a:pt x="3115959" y="3798138"/>
                </a:cubicBezTo>
                <a:cubicBezTo>
                  <a:pt x="3115959" y="3792192"/>
                  <a:pt x="3120749" y="3787402"/>
                  <a:pt x="3126695" y="3787402"/>
                </a:cubicBezTo>
                <a:close/>
                <a:moveTo>
                  <a:pt x="2498510" y="3786081"/>
                </a:moveTo>
                <a:cubicBezTo>
                  <a:pt x="2504457" y="3786081"/>
                  <a:pt x="2509248" y="3790870"/>
                  <a:pt x="2509248" y="3796817"/>
                </a:cubicBezTo>
                <a:cubicBezTo>
                  <a:pt x="2509248" y="3802764"/>
                  <a:pt x="2504457" y="3807553"/>
                  <a:pt x="2498510" y="3807553"/>
                </a:cubicBezTo>
                <a:cubicBezTo>
                  <a:pt x="2492564" y="3807553"/>
                  <a:pt x="2487774" y="3802764"/>
                  <a:pt x="2487774" y="3796817"/>
                </a:cubicBezTo>
                <a:cubicBezTo>
                  <a:pt x="2487774" y="3790870"/>
                  <a:pt x="2492564" y="3786081"/>
                  <a:pt x="2498510" y="3786081"/>
                </a:cubicBezTo>
                <a:close/>
                <a:moveTo>
                  <a:pt x="3772884" y="3784098"/>
                </a:moveTo>
                <a:cubicBezTo>
                  <a:pt x="3778831" y="3784098"/>
                  <a:pt x="3783622" y="3788888"/>
                  <a:pt x="3783622" y="3794835"/>
                </a:cubicBezTo>
                <a:cubicBezTo>
                  <a:pt x="3783622" y="3800781"/>
                  <a:pt x="3778831" y="3805573"/>
                  <a:pt x="3772884" y="3805573"/>
                </a:cubicBezTo>
                <a:cubicBezTo>
                  <a:pt x="3766938" y="3805573"/>
                  <a:pt x="3762148" y="3800781"/>
                  <a:pt x="3762148" y="3794835"/>
                </a:cubicBezTo>
                <a:cubicBezTo>
                  <a:pt x="3762148" y="3788888"/>
                  <a:pt x="3766938" y="3784098"/>
                  <a:pt x="3772884" y="3784098"/>
                </a:cubicBezTo>
                <a:close/>
                <a:moveTo>
                  <a:pt x="3805756" y="3783934"/>
                </a:moveTo>
                <a:cubicBezTo>
                  <a:pt x="3809887" y="3783934"/>
                  <a:pt x="3813189" y="3787237"/>
                  <a:pt x="3813189" y="3791366"/>
                </a:cubicBezTo>
                <a:cubicBezTo>
                  <a:pt x="3813189" y="3795496"/>
                  <a:pt x="3809887" y="3798799"/>
                  <a:pt x="3805756" y="3798799"/>
                </a:cubicBezTo>
                <a:cubicBezTo>
                  <a:pt x="3801627" y="3798799"/>
                  <a:pt x="3798323" y="3795496"/>
                  <a:pt x="3798323" y="3791366"/>
                </a:cubicBezTo>
                <a:cubicBezTo>
                  <a:pt x="3798323" y="3787237"/>
                  <a:pt x="3801627" y="3783934"/>
                  <a:pt x="3805756" y="3783934"/>
                </a:cubicBezTo>
                <a:close/>
                <a:moveTo>
                  <a:pt x="156570" y="3783603"/>
                </a:moveTo>
                <a:cubicBezTo>
                  <a:pt x="162517" y="3783603"/>
                  <a:pt x="167307" y="3788392"/>
                  <a:pt x="167307" y="3794339"/>
                </a:cubicBezTo>
                <a:cubicBezTo>
                  <a:pt x="167307" y="3800285"/>
                  <a:pt x="162517" y="3805077"/>
                  <a:pt x="156570" y="3805077"/>
                </a:cubicBezTo>
                <a:cubicBezTo>
                  <a:pt x="150624" y="3805077"/>
                  <a:pt x="145834" y="3800285"/>
                  <a:pt x="145834" y="3794339"/>
                </a:cubicBezTo>
                <a:cubicBezTo>
                  <a:pt x="145834" y="3788392"/>
                  <a:pt x="150624" y="3783603"/>
                  <a:pt x="156570" y="3783603"/>
                </a:cubicBezTo>
                <a:close/>
                <a:moveTo>
                  <a:pt x="654097" y="3783438"/>
                </a:moveTo>
                <a:cubicBezTo>
                  <a:pt x="660043" y="3783438"/>
                  <a:pt x="664835" y="3788228"/>
                  <a:pt x="664835" y="3794174"/>
                </a:cubicBezTo>
                <a:cubicBezTo>
                  <a:pt x="664835" y="3800121"/>
                  <a:pt x="660043" y="3804910"/>
                  <a:pt x="654097" y="3804910"/>
                </a:cubicBezTo>
                <a:cubicBezTo>
                  <a:pt x="648150" y="3804910"/>
                  <a:pt x="643360" y="3800121"/>
                  <a:pt x="643360" y="3794174"/>
                </a:cubicBezTo>
                <a:cubicBezTo>
                  <a:pt x="643360" y="3788228"/>
                  <a:pt x="648150" y="3783438"/>
                  <a:pt x="654097" y="3783438"/>
                </a:cubicBezTo>
                <a:close/>
                <a:moveTo>
                  <a:pt x="3588377" y="3780960"/>
                </a:moveTo>
                <a:cubicBezTo>
                  <a:pt x="3594324" y="3780960"/>
                  <a:pt x="3599114" y="3785749"/>
                  <a:pt x="3599114" y="3791696"/>
                </a:cubicBezTo>
                <a:cubicBezTo>
                  <a:pt x="3599114" y="3797642"/>
                  <a:pt x="3594324" y="3802434"/>
                  <a:pt x="3588377" y="3802434"/>
                </a:cubicBezTo>
                <a:cubicBezTo>
                  <a:pt x="3582431" y="3802434"/>
                  <a:pt x="3577641" y="3797642"/>
                  <a:pt x="3577641" y="3791696"/>
                </a:cubicBezTo>
                <a:cubicBezTo>
                  <a:pt x="3577641" y="3785749"/>
                  <a:pt x="3582431" y="3780960"/>
                  <a:pt x="3588377" y="3780960"/>
                </a:cubicBezTo>
                <a:close/>
                <a:moveTo>
                  <a:pt x="71172" y="3780464"/>
                </a:moveTo>
                <a:cubicBezTo>
                  <a:pt x="77119" y="3780464"/>
                  <a:pt x="81909" y="3785253"/>
                  <a:pt x="81909" y="3791200"/>
                </a:cubicBezTo>
                <a:cubicBezTo>
                  <a:pt x="81909" y="3797147"/>
                  <a:pt x="77119" y="3801938"/>
                  <a:pt x="71172" y="3801938"/>
                </a:cubicBezTo>
                <a:cubicBezTo>
                  <a:pt x="65226" y="3801938"/>
                  <a:pt x="60436" y="3797147"/>
                  <a:pt x="60436" y="3791200"/>
                </a:cubicBezTo>
                <a:cubicBezTo>
                  <a:pt x="60436" y="3785253"/>
                  <a:pt x="65226" y="3780464"/>
                  <a:pt x="71172" y="3780464"/>
                </a:cubicBezTo>
                <a:close/>
                <a:moveTo>
                  <a:pt x="258487" y="3780134"/>
                </a:moveTo>
                <a:cubicBezTo>
                  <a:pt x="264433" y="3780134"/>
                  <a:pt x="269225" y="3784924"/>
                  <a:pt x="269225" y="3790870"/>
                </a:cubicBezTo>
                <a:cubicBezTo>
                  <a:pt x="269225" y="3796817"/>
                  <a:pt x="264433" y="3801607"/>
                  <a:pt x="258487" y="3801607"/>
                </a:cubicBezTo>
                <a:cubicBezTo>
                  <a:pt x="252540" y="3801607"/>
                  <a:pt x="247750" y="3796817"/>
                  <a:pt x="247750" y="3790870"/>
                </a:cubicBezTo>
                <a:cubicBezTo>
                  <a:pt x="247750" y="3784924"/>
                  <a:pt x="252540" y="3780134"/>
                  <a:pt x="258487" y="3780134"/>
                </a:cubicBezTo>
                <a:close/>
                <a:moveTo>
                  <a:pt x="3689137" y="3776995"/>
                </a:moveTo>
                <a:lnTo>
                  <a:pt x="3698141" y="3785997"/>
                </a:lnTo>
                <a:lnTo>
                  <a:pt x="3705490" y="3778648"/>
                </a:lnTo>
                <a:lnTo>
                  <a:pt x="3715731" y="3788888"/>
                </a:lnTo>
                <a:lnTo>
                  <a:pt x="3722009" y="3782611"/>
                </a:lnTo>
                <a:cubicBezTo>
                  <a:pt x="3727955" y="3782611"/>
                  <a:pt x="3732745" y="3787400"/>
                  <a:pt x="3732745" y="3793347"/>
                </a:cubicBezTo>
                <a:cubicBezTo>
                  <a:pt x="3732745" y="3799293"/>
                  <a:pt x="3727955" y="3804085"/>
                  <a:pt x="3722009" y="3804085"/>
                </a:cubicBezTo>
                <a:lnTo>
                  <a:pt x="3711768" y="3793843"/>
                </a:lnTo>
                <a:lnTo>
                  <a:pt x="3705490" y="3800121"/>
                </a:lnTo>
                <a:lnTo>
                  <a:pt x="3696488" y="3791118"/>
                </a:lnTo>
                <a:lnTo>
                  <a:pt x="3689137" y="3798470"/>
                </a:lnTo>
                <a:cubicBezTo>
                  <a:pt x="3683191" y="3798470"/>
                  <a:pt x="3678401" y="3793678"/>
                  <a:pt x="3678401" y="3787732"/>
                </a:cubicBezTo>
                <a:cubicBezTo>
                  <a:pt x="3678401" y="3781785"/>
                  <a:pt x="3683191" y="3776995"/>
                  <a:pt x="3689137" y="3776995"/>
                </a:cubicBezTo>
                <a:close/>
                <a:moveTo>
                  <a:pt x="3668986" y="3774023"/>
                </a:moveTo>
                <a:cubicBezTo>
                  <a:pt x="3674932" y="3774023"/>
                  <a:pt x="3679724" y="3778813"/>
                  <a:pt x="3679724" y="3784759"/>
                </a:cubicBezTo>
                <a:cubicBezTo>
                  <a:pt x="3679724" y="3790706"/>
                  <a:pt x="3674932" y="3795496"/>
                  <a:pt x="3668986" y="3795496"/>
                </a:cubicBezTo>
                <a:cubicBezTo>
                  <a:pt x="3663039" y="3795496"/>
                  <a:pt x="3658249" y="3790706"/>
                  <a:pt x="3658249" y="3784759"/>
                </a:cubicBezTo>
                <a:cubicBezTo>
                  <a:pt x="3658249" y="3778813"/>
                  <a:pt x="3663039" y="3774023"/>
                  <a:pt x="3668986" y="3774023"/>
                </a:cubicBezTo>
                <a:close/>
                <a:moveTo>
                  <a:pt x="988423" y="3773692"/>
                </a:moveTo>
                <a:cubicBezTo>
                  <a:pt x="994370" y="3773692"/>
                  <a:pt x="999160" y="3778481"/>
                  <a:pt x="999160" y="3784428"/>
                </a:cubicBezTo>
                <a:cubicBezTo>
                  <a:pt x="999160" y="3790375"/>
                  <a:pt x="994370" y="3795164"/>
                  <a:pt x="988423" y="3795164"/>
                </a:cubicBezTo>
                <a:cubicBezTo>
                  <a:pt x="982477" y="3795164"/>
                  <a:pt x="977687" y="3790375"/>
                  <a:pt x="977687" y="3784428"/>
                </a:cubicBezTo>
                <a:cubicBezTo>
                  <a:pt x="977687" y="3778481"/>
                  <a:pt x="982477" y="3773692"/>
                  <a:pt x="988423" y="3773692"/>
                </a:cubicBezTo>
                <a:close/>
                <a:moveTo>
                  <a:pt x="0" y="3772062"/>
                </a:moveTo>
                <a:lnTo>
                  <a:pt x="10717" y="3782777"/>
                </a:lnTo>
                <a:lnTo>
                  <a:pt x="0" y="3793492"/>
                </a:lnTo>
                <a:close/>
                <a:moveTo>
                  <a:pt x="3751741" y="3770223"/>
                </a:moveTo>
                <a:cubicBezTo>
                  <a:pt x="3757688" y="3770223"/>
                  <a:pt x="3762479" y="3775013"/>
                  <a:pt x="3762479" y="3780960"/>
                </a:cubicBezTo>
                <a:cubicBezTo>
                  <a:pt x="3762479" y="3786906"/>
                  <a:pt x="3757688" y="3791698"/>
                  <a:pt x="3751741" y="3791698"/>
                </a:cubicBezTo>
                <a:cubicBezTo>
                  <a:pt x="3745795" y="3791698"/>
                  <a:pt x="3741005" y="3786906"/>
                  <a:pt x="3741005" y="3780960"/>
                </a:cubicBezTo>
                <a:cubicBezTo>
                  <a:pt x="3741005" y="3775013"/>
                  <a:pt x="3745795" y="3770223"/>
                  <a:pt x="3751741" y="3770223"/>
                </a:cubicBezTo>
                <a:close/>
                <a:moveTo>
                  <a:pt x="379235" y="3767910"/>
                </a:moveTo>
                <a:cubicBezTo>
                  <a:pt x="385181" y="3767910"/>
                  <a:pt x="389973" y="3772700"/>
                  <a:pt x="389973" y="3778646"/>
                </a:cubicBezTo>
                <a:cubicBezTo>
                  <a:pt x="389973" y="3784593"/>
                  <a:pt x="385181" y="3789383"/>
                  <a:pt x="379235" y="3789383"/>
                </a:cubicBezTo>
                <a:cubicBezTo>
                  <a:pt x="373288" y="3789383"/>
                  <a:pt x="368499" y="3784593"/>
                  <a:pt x="368499" y="3778646"/>
                </a:cubicBezTo>
                <a:cubicBezTo>
                  <a:pt x="368499" y="3772700"/>
                  <a:pt x="373288" y="3767910"/>
                  <a:pt x="379235" y="3767910"/>
                </a:cubicBezTo>
                <a:close/>
                <a:moveTo>
                  <a:pt x="3640904" y="3765763"/>
                </a:moveTo>
                <a:cubicBezTo>
                  <a:pt x="3646851" y="3765763"/>
                  <a:pt x="3651640" y="3770553"/>
                  <a:pt x="3651640" y="3776499"/>
                </a:cubicBezTo>
                <a:cubicBezTo>
                  <a:pt x="3651640" y="3782446"/>
                  <a:pt x="3646851" y="3787236"/>
                  <a:pt x="3640904" y="3787236"/>
                </a:cubicBezTo>
                <a:cubicBezTo>
                  <a:pt x="3634958" y="3787236"/>
                  <a:pt x="3630168" y="3782446"/>
                  <a:pt x="3630168" y="3776499"/>
                </a:cubicBezTo>
                <a:cubicBezTo>
                  <a:pt x="3630168" y="3770553"/>
                  <a:pt x="3634958" y="3765763"/>
                  <a:pt x="3640904" y="3765763"/>
                </a:cubicBezTo>
                <a:close/>
                <a:moveTo>
                  <a:pt x="3845235" y="3765433"/>
                </a:moveTo>
                <a:cubicBezTo>
                  <a:pt x="3845417" y="3765433"/>
                  <a:pt x="3845564" y="3765581"/>
                  <a:pt x="3845564" y="3765765"/>
                </a:cubicBezTo>
                <a:cubicBezTo>
                  <a:pt x="3845564" y="3765947"/>
                  <a:pt x="3845417" y="3766094"/>
                  <a:pt x="3845235" y="3766094"/>
                </a:cubicBezTo>
                <a:cubicBezTo>
                  <a:pt x="3845051" y="3766094"/>
                  <a:pt x="3844903" y="3765947"/>
                  <a:pt x="3844903" y="3765765"/>
                </a:cubicBezTo>
                <a:cubicBezTo>
                  <a:pt x="3844903" y="3765581"/>
                  <a:pt x="3845051" y="3765433"/>
                  <a:pt x="3845235" y="3765433"/>
                </a:cubicBezTo>
                <a:close/>
                <a:moveTo>
                  <a:pt x="2978363" y="3763450"/>
                </a:moveTo>
                <a:cubicBezTo>
                  <a:pt x="2984310" y="3763450"/>
                  <a:pt x="2989101" y="3768239"/>
                  <a:pt x="2989101" y="3774186"/>
                </a:cubicBezTo>
                <a:cubicBezTo>
                  <a:pt x="2989101" y="3780132"/>
                  <a:pt x="2984310" y="3784924"/>
                  <a:pt x="2978363" y="3784924"/>
                </a:cubicBezTo>
                <a:cubicBezTo>
                  <a:pt x="2972417" y="3784924"/>
                  <a:pt x="2967627" y="3780132"/>
                  <a:pt x="2967627" y="3774186"/>
                </a:cubicBezTo>
                <a:cubicBezTo>
                  <a:pt x="2967627" y="3768239"/>
                  <a:pt x="2972417" y="3763450"/>
                  <a:pt x="2978363" y="3763450"/>
                </a:cubicBezTo>
                <a:close/>
                <a:moveTo>
                  <a:pt x="3781805" y="3761467"/>
                </a:moveTo>
                <a:cubicBezTo>
                  <a:pt x="3787752" y="3761467"/>
                  <a:pt x="3792541" y="3766257"/>
                  <a:pt x="3792541" y="3772204"/>
                </a:cubicBezTo>
                <a:cubicBezTo>
                  <a:pt x="3792541" y="3778150"/>
                  <a:pt x="3787752" y="3782942"/>
                  <a:pt x="3781805" y="3782942"/>
                </a:cubicBezTo>
                <a:cubicBezTo>
                  <a:pt x="3775859" y="3782942"/>
                  <a:pt x="3771069" y="3778150"/>
                  <a:pt x="3771069" y="3772204"/>
                </a:cubicBezTo>
                <a:cubicBezTo>
                  <a:pt x="3771069" y="3766257"/>
                  <a:pt x="3775859" y="3761467"/>
                  <a:pt x="3781805" y="3761467"/>
                </a:cubicBezTo>
                <a:close/>
                <a:moveTo>
                  <a:pt x="3452597" y="3759156"/>
                </a:moveTo>
                <a:cubicBezTo>
                  <a:pt x="3458544" y="3759156"/>
                  <a:pt x="3463334" y="3763946"/>
                  <a:pt x="3463334" y="3769892"/>
                </a:cubicBezTo>
                <a:cubicBezTo>
                  <a:pt x="3463334" y="3775839"/>
                  <a:pt x="3458544" y="3780628"/>
                  <a:pt x="3452597" y="3780628"/>
                </a:cubicBezTo>
                <a:cubicBezTo>
                  <a:pt x="3446651" y="3780628"/>
                  <a:pt x="3441861" y="3775839"/>
                  <a:pt x="3441861" y="3769892"/>
                </a:cubicBezTo>
                <a:cubicBezTo>
                  <a:pt x="3441861" y="3763946"/>
                  <a:pt x="3446651" y="3759156"/>
                  <a:pt x="3452597" y="3759156"/>
                </a:cubicBezTo>
                <a:close/>
                <a:moveTo>
                  <a:pt x="2655268" y="3758330"/>
                </a:moveTo>
                <a:cubicBezTo>
                  <a:pt x="2661215" y="3758330"/>
                  <a:pt x="2666005" y="3763120"/>
                  <a:pt x="2666005" y="3769067"/>
                </a:cubicBezTo>
                <a:cubicBezTo>
                  <a:pt x="2666005" y="3775013"/>
                  <a:pt x="2661215" y="3779805"/>
                  <a:pt x="2655268" y="3779805"/>
                </a:cubicBezTo>
                <a:cubicBezTo>
                  <a:pt x="2649322" y="3779805"/>
                  <a:pt x="2644532" y="3775013"/>
                  <a:pt x="2644532" y="3769067"/>
                </a:cubicBezTo>
                <a:cubicBezTo>
                  <a:pt x="2644532" y="3763120"/>
                  <a:pt x="2649322" y="3758330"/>
                  <a:pt x="2655268" y="3758330"/>
                </a:cubicBezTo>
                <a:close/>
                <a:moveTo>
                  <a:pt x="3812693" y="3756348"/>
                </a:moveTo>
                <a:cubicBezTo>
                  <a:pt x="3818639" y="3756348"/>
                  <a:pt x="3823429" y="3761138"/>
                  <a:pt x="3823429" y="3767084"/>
                </a:cubicBezTo>
                <a:cubicBezTo>
                  <a:pt x="3823429" y="3773031"/>
                  <a:pt x="3818639" y="3777822"/>
                  <a:pt x="3812693" y="3777822"/>
                </a:cubicBezTo>
                <a:cubicBezTo>
                  <a:pt x="3806746" y="3777822"/>
                  <a:pt x="3801956" y="3773031"/>
                  <a:pt x="3801956" y="3767084"/>
                </a:cubicBezTo>
                <a:cubicBezTo>
                  <a:pt x="3801956" y="3761138"/>
                  <a:pt x="3806746" y="3756348"/>
                  <a:pt x="3812693" y="3756348"/>
                </a:cubicBezTo>
                <a:close/>
                <a:moveTo>
                  <a:pt x="3356463" y="3756182"/>
                </a:moveTo>
                <a:cubicBezTo>
                  <a:pt x="3362409" y="3756182"/>
                  <a:pt x="3367199" y="3760971"/>
                  <a:pt x="3367199" y="3766918"/>
                </a:cubicBezTo>
                <a:cubicBezTo>
                  <a:pt x="3367199" y="3772864"/>
                  <a:pt x="3362409" y="3777656"/>
                  <a:pt x="3356463" y="3777656"/>
                </a:cubicBezTo>
                <a:cubicBezTo>
                  <a:pt x="3350516" y="3777656"/>
                  <a:pt x="3345726" y="3772864"/>
                  <a:pt x="3345726" y="3766918"/>
                </a:cubicBezTo>
                <a:cubicBezTo>
                  <a:pt x="3345726" y="3760971"/>
                  <a:pt x="3350516" y="3756182"/>
                  <a:pt x="3356463" y="3756182"/>
                </a:cubicBezTo>
                <a:close/>
                <a:moveTo>
                  <a:pt x="3532710" y="3755687"/>
                </a:moveTo>
                <a:cubicBezTo>
                  <a:pt x="3538656" y="3755687"/>
                  <a:pt x="3543448" y="3760477"/>
                  <a:pt x="3543448" y="3766424"/>
                </a:cubicBezTo>
                <a:cubicBezTo>
                  <a:pt x="3543448" y="3772370"/>
                  <a:pt x="3538656" y="3777162"/>
                  <a:pt x="3532710" y="3777162"/>
                </a:cubicBezTo>
                <a:cubicBezTo>
                  <a:pt x="3526763" y="3777162"/>
                  <a:pt x="3521974" y="3772370"/>
                  <a:pt x="3521974" y="3766424"/>
                </a:cubicBezTo>
                <a:cubicBezTo>
                  <a:pt x="3521974" y="3760477"/>
                  <a:pt x="3526763" y="3755687"/>
                  <a:pt x="3532710" y="3755687"/>
                </a:cubicBezTo>
                <a:close/>
                <a:moveTo>
                  <a:pt x="3705159" y="3755027"/>
                </a:moveTo>
                <a:lnTo>
                  <a:pt x="3714576" y="3764441"/>
                </a:lnTo>
                <a:lnTo>
                  <a:pt x="3720687" y="3758330"/>
                </a:lnTo>
                <a:lnTo>
                  <a:pt x="3730020" y="3767662"/>
                </a:lnTo>
                <a:lnTo>
                  <a:pt x="3735223" y="3762459"/>
                </a:lnTo>
                <a:cubicBezTo>
                  <a:pt x="3741170" y="3762459"/>
                  <a:pt x="3745961" y="3767249"/>
                  <a:pt x="3745961" y="3773196"/>
                </a:cubicBezTo>
                <a:cubicBezTo>
                  <a:pt x="3745961" y="3779142"/>
                  <a:pt x="3741170" y="3783934"/>
                  <a:pt x="3735223" y="3783934"/>
                </a:cubicBezTo>
                <a:lnTo>
                  <a:pt x="3725891" y="3774600"/>
                </a:lnTo>
                <a:lnTo>
                  <a:pt x="3720687" y="3779805"/>
                </a:lnTo>
                <a:lnTo>
                  <a:pt x="3711272" y="3770388"/>
                </a:lnTo>
                <a:lnTo>
                  <a:pt x="3705159" y="3776499"/>
                </a:lnTo>
                <a:cubicBezTo>
                  <a:pt x="3699213" y="3776499"/>
                  <a:pt x="3694423" y="3771709"/>
                  <a:pt x="3694423" y="3765763"/>
                </a:cubicBezTo>
                <a:cubicBezTo>
                  <a:pt x="3694423" y="3759816"/>
                  <a:pt x="3699213" y="3755027"/>
                  <a:pt x="3705159" y="3755027"/>
                </a:cubicBezTo>
                <a:close/>
                <a:moveTo>
                  <a:pt x="3684843" y="3748915"/>
                </a:moveTo>
                <a:cubicBezTo>
                  <a:pt x="3690790" y="3748915"/>
                  <a:pt x="3695580" y="3753705"/>
                  <a:pt x="3695580" y="3759652"/>
                </a:cubicBezTo>
                <a:cubicBezTo>
                  <a:pt x="3695580" y="3765598"/>
                  <a:pt x="3690790" y="3770388"/>
                  <a:pt x="3684843" y="3770388"/>
                </a:cubicBezTo>
                <a:cubicBezTo>
                  <a:pt x="3678897" y="3770388"/>
                  <a:pt x="3674107" y="3765598"/>
                  <a:pt x="3674107" y="3759652"/>
                </a:cubicBezTo>
                <a:cubicBezTo>
                  <a:pt x="3674107" y="3753705"/>
                  <a:pt x="3678897" y="3748915"/>
                  <a:pt x="3684843" y="3748915"/>
                </a:cubicBezTo>
                <a:close/>
                <a:moveTo>
                  <a:pt x="3599443" y="3747263"/>
                </a:moveTo>
                <a:cubicBezTo>
                  <a:pt x="3605390" y="3747263"/>
                  <a:pt x="3610181" y="3752052"/>
                  <a:pt x="3610181" y="3757999"/>
                </a:cubicBezTo>
                <a:cubicBezTo>
                  <a:pt x="3610181" y="3763946"/>
                  <a:pt x="3605390" y="3768735"/>
                  <a:pt x="3599443" y="3768735"/>
                </a:cubicBezTo>
                <a:cubicBezTo>
                  <a:pt x="3593497" y="3768735"/>
                  <a:pt x="3588707" y="3763946"/>
                  <a:pt x="3588707" y="3757999"/>
                </a:cubicBezTo>
                <a:cubicBezTo>
                  <a:pt x="3588707" y="3752052"/>
                  <a:pt x="3593497" y="3747263"/>
                  <a:pt x="3599443" y="3747263"/>
                </a:cubicBezTo>
                <a:close/>
                <a:moveTo>
                  <a:pt x="521456" y="3745445"/>
                </a:moveTo>
                <a:cubicBezTo>
                  <a:pt x="527402" y="3745445"/>
                  <a:pt x="532193" y="3750235"/>
                  <a:pt x="532193" y="3756182"/>
                </a:cubicBezTo>
                <a:cubicBezTo>
                  <a:pt x="532193" y="3762128"/>
                  <a:pt x="527402" y="3766920"/>
                  <a:pt x="521456" y="3766920"/>
                </a:cubicBezTo>
                <a:cubicBezTo>
                  <a:pt x="515509" y="3766920"/>
                  <a:pt x="510719" y="3762128"/>
                  <a:pt x="510719" y="3756182"/>
                </a:cubicBezTo>
                <a:cubicBezTo>
                  <a:pt x="510719" y="3750235"/>
                  <a:pt x="515509" y="3745445"/>
                  <a:pt x="521456" y="3745445"/>
                </a:cubicBezTo>
                <a:close/>
                <a:moveTo>
                  <a:pt x="1738676" y="3745116"/>
                </a:moveTo>
                <a:cubicBezTo>
                  <a:pt x="1744623" y="3745116"/>
                  <a:pt x="1749414" y="3749906"/>
                  <a:pt x="1749414" y="3755852"/>
                </a:cubicBezTo>
                <a:cubicBezTo>
                  <a:pt x="1749414" y="3761799"/>
                  <a:pt x="1744623" y="3766588"/>
                  <a:pt x="1738676" y="3766588"/>
                </a:cubicBezTo>
                <a:cubicBezTo>
                  <a:pt x="1732730" y="3766588"/>
                  <a:pt x="1727940" y="3761799"/>
                  <a:pt x="1727940" y="3755852"/>
                </a:cubicBezTo>
                <a:cubicBezTo>
                  <a:pt x="1727940" y="3749906"/>
                  <a:pt x="1732730" y="3745116"/>
                  <a:pt x="1738676" y="3745116"/>
                </a:cubicBezTo>
                <a:close/>
                <a:moveTo>
                  <a:pt x="3242157" y="3744949"/>
                </a:moveTo>
                <a:cubicBezTo>
                  <a:pt x="3248104" y="3744949"/>
                  <a:pt x="3252895" y="3749739"/>
                  <a:pt x="3252895" y="3755686"/>
                </a:cubicBezTo>
                <a:cubicBezTo>
                  <a:pt x="3252895" y="3761632"/>
                  <a:pt x="3248104" y="3766424"/>
                  <a:pt x="3242157" y="3766424"/>
                </a:cubicBezTo>
                <a:cubicBezTo>
                  <a:pt x="3236211" y="3766424"/>
                  <a:pt x="3231421" y="3761632"/>
                  <a:pt x="3231421" y="3755686"/>
                </a:cubicBezTo>
                <a:cubicBezTo>
                  <a:pt x="3231421" y="3749739"/>
                  <a:pt x="3236211" y="3744949"/>
                  <a:pt x="3242157" y="3744949"/>
                </a:cubicBezTo>
                <a:close/>
                <a:moveTo>
                  <a:pt x="834639" y="3743959"/>
                </a:moveTo>
                <a:cubicBezTo>
                  <a:pt x="840586" y="3743959"/>
                  <a:pt x="845377" y="3748749"/>
                  <a:pt x="845377" y="3754695"/>
                </a:cubicBezTo>
                <a:cubicBezTo>
                  <a:pt x="845377" y="3760642"/>
                  <a:pt x="840586" y="3765433"/>
                  <a:pt x="834639" y="3765433"/>
                </a:cubicBezTo>
                <a:cubicBezTo>
                  <a:pt x="828693" y="3765433"/>
                  <a:pt x="823903" y="3760642"/>
                  <a:pt x="823903" y="3754695"/>
                </a:cubicBezTo>
                <a:cubicBezTo>
                  <a:pt x="823903" y="3748749"/>
                  <a:pt x="828693" y="3743959"/>
                  <a:pt x="834639" y="3743959"/>
                </a:cubicBezTo>
                <a:close/>
                <a:moveTo>
                  <a:pt x="1917733" y="3743298"/>
                </a:moveTo>
                <a:cubicBezTo>
                  <a:pt x="1923679" y="3743298"/>
                  <a:pt x="1928471" y="3748088"/>
                  <a:pt x="1928471" y="3754035"/>
                </a:cubicBezTo>
                <a:cubicBezTo>
                  <a:pt x="1928471" y="3759981"/>
                  <a:pt x="1923679" y="3764773"/>
                  <a:pt x="1917733" y="3764773"/>
                </a:cubicBezTo>
                <a:cubicBezTo>
                  <a:pt x="1911786" y="3764773"/>
                  <a:pt x="1906996" y="3759981"/>
                  <a:pt x="1906996" y="3754035"/>
                </a:cubicBezTo>
                <a:cubicBezTo>
                  <a:pt x="1906996" y="3748088"/>
                  <a:pt x="1911786" y="3743298"/>
                  <a:pt x="1917733" y="3743298"/>
                </a:cubicBezTo>
                <a:close/>
                <a:moveTo>
                  <a:pt x="0" y="3742659"/>
                </a:moveTo>
                <a:lnTo>
                  <a:pt x="2125" y="3744784"/>
                </a:lnTo>
                <a:lnTo>
                  <a:pt x="0" y="3746910"/>
                </a:lnTo>
                <a:close/>
                <a:moveTo>
                  <a:pt x="1559784" y="3740324"/>
                </a:moveTo>
                <a:cubicBezTo>
                  <a:pt x="1565731" y="3740324"/>
                  <a:pt x="1570522" y="3745114"/>
                  <a:pt x="1570522" y="3751061"/>
                </a:cubicBezTo>
                <a:cubicBezTo>
                  <a:pt x="1570522" y="3757007"/>
                  <a:pt x="1565731" y="3761799"/>
                  <a:pt x="1559784" y="3761799"/>
                </a:cubicBezTo>
                <a:cubicBezTo>
                  <a:pt x="1553838" y="3761799"/>
                  <a:pt x="1549048" y="3757007"/>
                  <a:pt x="1549048" y="3751061"/>
                </a:cubicBezTo>
                <a:cubicBezTo>
                  <a:pt x="1549048" y="3745114"/>
                  <a:pt x="1553838" y="3740324"/>
                  <a:pt x="1559784" y="3740324"/>
                </a:cubicBezTo>
                <a:close/>
                <a:moveTo>
                  <a:pt x="3792210" y="3738838"/>
                </a:moveTo>
                <a:cubicBezTo>
                  <a:pt x="3798157" y="3738838"/>
                  <a:pt x="3802947" y="3743628"/>
                  <a:pt x="3802947" y="3749574"/>
                </a:cubicBezTo>
                <a:cubicBezTo>
                  <a:pt x="3802947" y="3755521"/>
                  <a:pt x="3798157" y="3760311"/>
                  <a:pt x="3792210" y="3760311"/>
                </a:cubicBezTo>
                <a:cubicBezTo>
                  <a:pt x="3786264" y="3760311"/>
                  <a:pt x="3781474" y="3755521"/>
                  <a:pt x="3781474" y="3749574"/>
                </a:cubicBezTo>
                <a:cubicBezTo>
                  <a:pt x="3781474" y="3743628"/>
                  <a:pt x="3786264" y="3738838"/>
                  <a:pt x="3792210" y="3738838"/>
                </a:cubicBezTo>
                <a:close/>
                <a:moveTo>
                  <a:pt x="67206" y="3737681"/>
                </a:moveTo>
                <a:cubicBezTo>
                  <a:pt x="73153" y="3737681"/>
                  <a:pt x="77944" y="3742471"/>
                  <a:pt x="77944" y="3748418"/>
                </a:cubicBezTo>
                <a:cubicBezTo>
                  <a:pt x="77944" y="3754364"/>
                  <a:pt x="73153" y="3759156"/>
                  <a:pt x="67206" y="3759156"/>
                </a:cubicBezTo>
                <a:cubicBezTo>
                  <a:pt x="61259" y="3759156"/>
                  <a:pt x="56470" y="3754364"/>
                  <a:pt x="56470" y="3748418"/>
                </a:cubicBezTo>
                <a:cubicBezTo>
                  <a:pt x="56470" y="3742471"/>
                  <a:pt x="61259" y="3737681"/>
                  <a:pt x="67206" y="3737681"/>
                </a:cubicBezTo>
                <a:close/>
                <a:moveTo>
                  <a:pt x="3654779" y="3735370"/>
                </a:moveTo>
                <a:cubicBezTo>
                  <a:pt x="3660726" y="3735370"/>
                  <a:pt x="3665516" y="3740159"/>
                  <a:pt x="3665516" y="3746106"/>
                </a:cubicBezTo>
                <a:cubicBezTo>
                  <a:pt x="3665516" y="3752052"/>
                  <a:pt x="3660726" y="3756842"/>
                  <a:pt x="3654779" y="3756842"/>
                </a:cubicBezTo>
                <a:cubicBezTo>
                  <a:pt x="3648833" y="3756842"/>
                  <a:pt x="3644043" y="3752052"/>
                  <a:pt x="3644043" y="3746106"/>
                </a:cubicBezTo>
                <a:cubicBezTo>
                  <a:pt x="3644043" y="3740159"/>
                  <a:pt x="3648833" y="3735370"/>
                  <a:pt x="3654779" y="3735370"/>
                </a:cubicBezTo>
                <a:close/>
                <a:moveTo>
                  <a:pt x="158388" y="3735038"/>
                </a:moveTo>
                <a:cubicBezTo>
                  <a:pt x="164334" y="3735038"/>
                  <a:pt x="169124" y="3739828"/>
                  <a:pt x="169124" y="3745775"/>
                </a:cubicBezTo>
                <a:cubicBezTo>
                  <a:pt x="169124" y="3751721"/>
                  <a:pt x="164334" y="3756513"/>
                  <a:pt x="158388" y="3756513"/>
                </a:cubicBezTo>
                <a:cubicBezTo>
                  <a:pt x="152441" y="3756513"/>
                  <a:pt x="147651" y="3751721"/>
                  <a:pt x="147651" y="3745775"/>
                </a:cubicBezTo>
                <a:cubicBezTo>
                  <a:pt x="147651" y="3739828"/>
                  <a:pt x="152441" y="3735038"/>
                  <a:pt x="158388" y="3735038"/>
                </a:cubicBezTo>
                <a:close/>
                <a:moveTo>
                  <a:pt x="2095634" y="3734874"/>
                </a:moveTo>
                <a:cubicBezTo>
                  <a:pt x="2101581" y="3734874"/>
                  <a:pt x="2106372" y="3739663"/>
                  <a:pt x="2106372" y="3745610"/>
                </a:cubicBezTo>
                <a:cubicBezTo>
                  <a:pt x="2106372" y="3751556"/>
                  <a:pt x="2101581" y="3756346"/>
                  <a:pt x="2095634" y="3756346"/>
                </a:cubicBezTo>
                <a:cubicBezTo>
                  <a:pt x="2089688" y="3756346"/>
                  <a:pt x="2084898" y="3751556"/>
                  <a:pt x="2084898" y="3745610"/>
                </a:cubicBezTo>
                <a:cubicBezTo>
                  <a:pt x="2084898" y="3739663"/>
                  <a:pt x="2089688" y="3734874"/>
                  <a:pt x="2095634" y="3734874"/>
                </a:cubicBezTo>
                <a:close/>
                <a:moveTo>
                  <a:pt x="3821282" y="3732231"/>
                </a:moveTo>
                <a:cubicBezTo>
                  <a:pt x="3827229" y="3732231"/>
                  <a:pt x="3832020" y="3737021"/>
                  <a:pt x="3832020" y="3742967"/>
                </a:cubicBezTo>
                <a:cubicBezTo>
                  <a:pt x="3832020" y="3748914"/>
                  <a:pt x="3827229" y="3753703"/>
                  <a:pt x="3821282" y="3753703"/>
                </a:cubicBezTo>
                <a:cubicBezTo>
                  <a:pt x="3815336" y="3753703"/>
                  <a:pt x="3810546" y="3748914"/>
                  <a:pt x="3810546" y="3742967"/>
                </a:cubicBezTo>
                <a:cubicBezTo>
                  <a:pt x="3810546" y="3737021"/>
                  <a:pt x="3815336" y="3732231"/>
                  <a:pt x="3821282" y="3732231"/>
                </a:cubicBezTo>
                <a:close/>
                <a:moveTo>
                  <a:pt x="3721844" y="3731240"/>
                </a:moveTo>
                <a:lnTo>
                  <a:pt x="3732167" y="3741564"/>
                </a:lnTo>
                <a:lnTo>
                  <a:pt x="3736876" y="3736856"/>
                </a:lnTo>
                <a:lnTo>
                  <a:pt x="3745713" y="3745693"/>
                </a:lnTo>
                <a:lnTo>
                  <a:pt x="3749759" y="3741647"/>
                </a:lnTo>
                <a:lnTo>
                  <a:pt x="3760495" y="3752384"/>
                </a:lnTo>
                <a:lnTo>
                  <a:pt x="3763799" y="3749080"/>
                </a:lnTo>
                <a:cubicBezTo>
                  <a:pt x="3769746" y="3749080"/>
                  <a:pt x="3774535" y="3753870"/>
                  <a:pt x="3774535" y="3759816"/>
                </a:cubicBezTo>
                <a:cubicBezTo>
                  <a:pt x="3774535" y="3765763"/>
                  <a:pt x="3769746" y="3770554"/>
                  <a:pt x="3763799" y="3770554"/>
                </a:cubicBezTo>
                <a:lnTo>
                  <a:pt x="3753063" y="3759816"/>
                </a:lnTo>
                <a:lnTo>
                  <a:pt x="3749759" y="3763120"/>
                </a:lnTo>
                <a:lnTo>
                  <a:pt x="3740922" y="3754283"/>
                </a:lnTo>
                <a:lnTo>
                  <a:pt x="3736876" y="3758328"/>
                </a:lnTo>
                <a:lnTo>
                  <a:pt x="3726552" y="3748005"/>
                </a:lnTo>
                <a:lnTo>
                  <a:pt x="3721844" y="3752713"/>
                </a:lnTo>
                <a:cubicBezTo>
                  <a:pt x="3715897" y="3752713"/>
                  <a:pt x="3711107" y="3747923"/>
                  <a:pt x="3711107" y="3741977"/>
                </a:cubicBezTo>
                <a:cubicBezTo>
                  <a:pt x="3711107" y="3736030"/>
                  <a:pt x="3715897" y="3731240"/>
                  <a:pt x="3721844" y="3731240"/>
                </a:cubicBezTo>
                <a:close/>
                <a:moveTo>
                  <a:pt x="3851677" y="3729588"/>
                </a:moveTo>
                <a:cubicBezTo>
                  <a:pt x="3857424" y="3729588"/>
                  <a:pt x="3862084" y="3734248"/>
                  <a:pt x="3862084" y="3739995"/>
                </a:cubicBezTo>
                <a:cubicBezTo>
                  <a:pt x="3862084" y="3745742"/>
                  <a:pt x="3857424" y="3750402"/>
                  <a:pt x="3851677" y="3750402"/>
                </a:cubicBezTo>
                <a:cubicBezTo>
                  <a:pt x="3845930" y="3750402"/>
                  <a:pt x="3841270" y="3745742"/>
                  <a:pt x="3841270" y="3739995"/>
                </a:cubicBezTo>
                <a:cubicBezTo>
                  <a:pt x="3841270" y="3734248"/>
                  <a:pt x="3845930" y="3729588"/>
                  <a:pt x="3851677" y="3729588"/>
                </a:cubicBezTo>
                <a:close/>
                <a:moveTo>
                  <a:pt x="1383041" y="3728927"/>
                </a:moveTo>
                <a:cubicBezTo>
                  <a:pt x="1388988" y="3728927"/>
                  <a:pt x="1393779" y="3733717"/>
                  <a:pt x="1393779" y="3739663"/>
                </a:cubicBezTo>
                <a:cubicBezTo>
                  <a:pt x="1393779" y="3745610"/>
                  <a:pt x="1388988" y="3750402"/>
                  <a:pt x="1383041" y="3750402"/>
                </a:cubicBezTo>
                <a:cubicBezTo>
                  <a:pt x="1377095" y="3750402"/>
                  <a:pt x="1372305" y="3745610"/>
                  <a:pt x="1372305" y="3739663"/>
                </a:cubicBezTo>
                <a:cubicBezTo>
                  <a:pt x="1372305" y="3733717"/>
                  <a:pt x="1377095" y="3728927"/>
                  <a:pt x="1383041" y="3728927"/>
                </a:cubicBezTo>
                <a:close/>
                <a:moveTo>
                  <a:pt x="2805418" y="3726449"/>
                </a:moveTo>
                <a:cubicBezTo>
                  <a:pt x="2811364" y="3726449"/>
                  <a:pt x="2816156" y="3731239"/>
                  <a:pt x="2816156" y="3737185"/>
                </a:cubicBezTo>
                <a:cubicBezTo>
                  <a:pt x="2816156" y="3743132"/>
                  <a:pt x="2811364" y="3747922"/>
                  <a:pt x="2805418" y="3747922"/>
                </a:cubicBezTo>
                <a:cubicBezTo>
                  <a:pt x="2799471" y="3747922"/>
                  <a:pt x="2794681" y="3743132"/>
                  <a:pt x="2794681" y="3737185"/>
                </a:cubicBezTo>
                <a:cubicBezTo>
                  <a:pt x="2794681" y="3731239"/>
                  <a:pt x="2799471" y="3726449"/>
                  <a:pt x="2805418" y="3726449"/>
                </a:cubicBezTo>
                <a:close/>
                <a:moveTo>
                  <a:pt x="267241" y="3724633"/>
                </a:moveTo>
                <a:cubicBezTo>
                  <a:pt x="273188" y="3724633"/>
                  <a:pt x="277979" y="3729423"/>
                  <a:pt x="277979" y="3735370"/>
                </a:cubicBezTo>
                <a:cubicBezTo>
                  <a:pt x="277979" y="3741316"/>
                  <a:pt x="273188" y="3746106"/>
                  <a:pt x="267241" y="3746106"/>
                </a:cubicBezTo>
                <a:cubicBezTo>
                  <a:pt x="261294" y="3746106"/>
                  <a:pt x="256505" y="3741316"/>
                  <a:pt x="256505" y="3735370"/>
                </a:cubicBezTo>
                <a:cubicBezTo>
                  <a:pt x="256505" y="3729423"/>
                  <a:pt x="261294" y="3724633"/>
                  <a:pt x="267241" y="3724633"/>
                </a:cubicBezTo>
                <a:close/>
                <a:moveTo>
                  <a:pt x="3106873" y="3723806"/>
                </a:moveTo>
                <a:cubicBezTo>
                  <a:pt x="3112820" y="3723806"/>
                  <a:pt x="3117611" y="3728596"/>
                  <a:pt x="3117611" y="3734542"/>
                </a:cubicBezTo>
                <a:cubicBezTo>
                  <a:pt x="3117611" y="3740489"/>
                  <a:pt x="3112820" y="3745280"/>
                  <a:pt x="3106873" y="3745280"/>
                </a:cubicBezTo>
                <a:cubicBezTo>
                  <a:pt x="3100927" y="3745280"/>
                  <a:pt x="3096137" y="3740489"/>
                  <a:pt x="3096137" y="3734542"/>
                </a:cubicBezTo>
                <a:cubicBezTo>
                  <a:pt x="3096137" y="3728596"/>
                  <a:pt x="3100927" y="3723806"/>
                  <a:pt x="3106873" y="3723806"/>
                </a:cubicBezTo>
                <a:close/>
                <a:moveTo>
                  <a:pt x="3700701" y="3720834"/>
                </a:moveTo>
                <a:cubicBezTo>
                  <a:pt x="3706647" y="3720834"/>
                  <a:pt x="3711437" y="3725623"/>
                  <a:pt x="3711437" y="3731570"/>
                </a:cubicBezTo>
                <a:cubicBezTo>
                  <a:pt x="3711437" y="3737517"/>
                  <a:pt x="3706647" y="3742306"/>
                  <a:pt x="3700701" y="3742306"/>
                </a:cubicBezTo>
                <a:cubicBezTo>
                  <a:pt x="3694754" y="3742306"/>
                  <a:pt x="3689964" y="3737517"/>
                  <a:pt x="3689964" y="3731570"/>
                </a:cubicBezTo>
                <a:cubicBezTo>
                  <a:pt x="3689964" y="3725623"/>
                  <a:pt x="3694754" y="3720834"/>
                  <a:pt x="3700701" y="3720834"/>
                </a:cubicBezTo>
                <a:close/>
                <a:moveTo>
                  <a:pt x="2270560" y="3720173"/>
                </a:moveTo>
                <a:cubicBezTo>
                  <a:pt x="2276507" y="3720173"/>
                  <a:pt x="2281298" y="3724963"/>
                  <a:pt x="2281298" y="3730909"/>
                </a:cubicBezTo>
                <a:cubicBezTo>
                  <a:pt x="2281298" y="3736856"/>
                  <a:pt x="2276507" y="3741647"/>
                  <a:pt x="2270560" y="3741647"/>
                </a:cubicBezTo>
                <a:cubicBezTo>
                  <a:pt x="2264614" y="3741647"/>
                  <a:pt x="2259824" y="3736856"/>
                  <a:pt x="2259824" y="3730909"/>
                </a:cubicBezTo>
                <a:cubicBezTo>
                  <a:pt x="2259824" y="3724963"/>
                  <a:pt x="2264614" y="3720173"/>
                  <a:pt x="2270560" y="3720173"/>
                </a:cubicBezTo>
                <a:close/>
                <a:moveTo>
                  <a:pt x="3804103" y="3716209"/>
                </a:moveTo>
                <a:cubicBezTo>
                  <a:pt x="3810050" y="3716209"/>
                  <a:pt x="3814840" y="3720998"/>
                  <a:pt x="3814840" y="3726945"/>
                </a:cubicBezTo>
                <a:cubicBezTo>
                  <a:pt x="3814840" y="3732891"/>
                  <a:pt x="3810050" y="3737681"/>
                  <a:pt x="3804103" y="3737681"/>
                </a:cubicBezTo>
                <a:cubicBezTo>
                  <a:pt x="3798157" y="3737681"/>
                  <a:pt x="3793367" y="3732891"/>
                  <a:pt x="3793367" y="3726945"/>
                </a:cubicBezTo>
                <a:cubicBezTo>
                  <a:pt x="3793367" y="3720998"/>
                  <a:pt x="3798157" y="3716209"/>
                  <a:pt x="3804103" y="3716209"/>
                </a:cubicBezTo>
                <a:close/>
                <a:moveTo>
                  <a:pt x="3753888" y="3713895"/>
                </a:moveTo>
                <a:lnTo>
                  <a:pt x="3762726" y="3722734"/>
                </a:lnTo>
                <a:lnTo>
                  <a:pt x="3765287" y="3720173"/>
                </a:lnTo>
                <a:lnTo>
                  <a:pt x="3774868" y="3729754"/>
                </a:lnTo>
                <a:lnTo>
                  <a:pt x="3777180" y="3727441"/>
                </a:lnTo>
                <a:cubicBezTo>
                  <a:pt x="3783126" y="3727441"/>
                  <a:pt x="3787916" y="3732231"/>
                  <a:pt x="3787916" y="3738177"/>
                </a:cubicBezTo>
                <a:cubicBezTo>
                  <a:pt x="3787916" y="3744124"/>
                  <a:pt x="3783126" y="3748915"/>
                  <a:pt x="3777180" y="3748915"/>
                </a:cubicBezTo>
                <a:lnTo>
                  <a:pt x="3767600" y="3739334"/>
                </a:lnTo>
                <a:lnTo>
                  <a:pt x="3765287" y="3741647"/>
                </a:lnTo>
                <a:lnTo>
                  <a:pt x="3756449" y="3732808"/>
                </a:lnTo>
                <a:lnTo>
                  <a:pt x="3753888" y="3735370"/>
                </a:lnTo>
                <a:cubicBezTo>
                  <a:pt x="3747942" y="3735370"/>
                  <a:pt x="3743152" y="3730578"/>
                  <a:pt x="3743152" y="3724631"/>
                </a:cubicBezTo>
                <a:cubicBezTo>
                  <a:pt x="3743152" y="3718685"/>
                  <a:pt x="3747942" y="3713895"/>
                  <a:pt x="3753888" y="3713895"/>
                </a:cubicBezTo>
                <a:close/>
                <a:moveTo>
                  <a:pt x="3538658" y="3712740"/>
                </a:moveTo>
                <a:cubicBezTo>
                  <a:pt x="3544587" y="3712740"/>
                  <a:pt x="3549395" y="3717547"/>
                  <a:pt x="3549395" y="3723477"/>
                </a:cubicBezTo>
                <a:cubicBezTo>
                  <a:pt x="3549395" y="3729407"/>
                  <a:pt x="3544587" y="3734213"/>
                  <a:pt x="3538658" y="3734213"/>
                </a:cubicBezTo>
                <a:cubicBezTo>
                  <a:pt x="3532729" y="3734213"/>
                  <a:pt x="3527922" y="3729407"/>
                  <a:pt x="3527922" y="3723477"/>
                </a:cubicBezTo>
                <a:cubicBezTo>
                  <a:pt x="3527922" y="3717547"/>
                  <a:pt x="3532729" y="3712740"/>
                  <a:pt x="3538658" y="3712740"/>
                </a:cubicBezTo>
                <a:close/>
                <a:moveTo>
                  <a:pt x="1210096" y="3711254"/>
                </a:moveTo>
                <a:cubicBezTo>
                  <a:pt x="1216042" y="3711254"/>
                  <a:pt x="1220834" y="3716044"/>
                  <a:pt x="1220834" y="3721990"/>
                </a:cubicBezTo>
                <a:cubicBezTo>
                  <a:pt x="1220834" y="3727937"/>
                  <a:pt x="1216042" y="3732727"/>
                  <a:pt x="1210096" y="3732727"/>
                </a:cubicBezTo>
                <a:cubicBezTo>
                  <a:pt x="1204149" y="3732727"/>
                  <a:pt x="1199360" y="3727937"/>
                  <a:pt x="1199360" y="3721990"/>
                </a:cubicBezTo>
                <a:cubicBezTo>
                  <a:pt x="1199360" y="3716044"/>
                  <a:pt x="1204149" y="3711254"/>
                  <a:pt x="1210096" y="3711254"/>
                </a:cubicBezTo>
                <a:close/>
                <a:moveTo>
                  <a:pt x="3889833" y="3710758"/>
                </a:moveTo>
                <a:cubicBezTo>
                  <a:pt x="3891650" y="3710758"/>
                  <a:pt x="3893136" y="3712246"/>
                  <a:pt x="3893136" y="3714062"/>
                </a:cubicBezTo>
                <a:cubicBezTo>
                  <a:pt x="3893136" y="3715879"/>
                  <a:pt x="3891650" y="3717365"/>
                  <a:pt x="3889833" y="3717365"/>
                </a:cubicBezTo>
                <a:cubicBezTo>
                  <a:pt x="3888015" y="3717365"/>
                  <a:pt x="3886529" y="3715879"/>
                  <a:pt x="3886529" y="3714062"/>
                </a:cubicBezTo>
                <a:cubicBezTo>
                  <a:pt x="3886529" y="3712246"/>
                  <a:pt x="3888015" y="3710758"/>
                  <a:pt x="3889833" y="3710758"/>
                </a:cubicBezTo>
                <a:close/>
                <a:moveTo>
                  <a:pt x="3453093" y="3710593"/>
                </a:moveTo>
                <a:cubicBezTo>
                  <a:pt x="3459040" y="3710593"/>
                  <a:pt x="3463830" y="3715383"/>
                  <a:pt x="3463830" y="3721330"/>
                </a:cubicBezTo>
                <a:cubicBezTo>
                  <a:pt x="3463830" y="3727276"/>
                  <a:pt x="3459040" y="3732066"/>
                  <a:pt x="3453093" y="3732066"/>
                </a:cubicBezTo>
                <a:cubicBezTo>
                  <a:pt x="3447147" y="3732066"/>
                  <a:pt x="3442357" y="3727276"/>
                  <a:pt x="3442357" y="3721330"/>
                </a:cubicBezTo>
                <a:cubicBezTo>
                  <a:pt x="3442357" y="3715383"/>
                  <a:pt x="3447147" y="3710593"/>
                  <a:pt x="3453093" y="3710593"/>
                </a:cubicBezTo>
                <a:close/>
                <a:moveTo>
                  <a:pt x="687793" y="3710262"/>
                </a:moveTo>
                <a:cubicBezTo>
                  <a:pt x="693740" y="3710262"/>
                  <a:pt x="698532" y="3715052"/>
                  <a:pt x="698532" y="3720998"/>
                </a:cubicBezTo>
                <a:cubicBezTo>
                  <a:pt x="698532" y="3726945"/>
                  <a:pt x="693740" y="3731736"/>
                  <a:pt x="687793" y="3731736"/>
                </a:cubicBezTo>
                <a:cubicBezTo>
                  <a:pt x="681847" y="3731736"/>
                  <a:pt x="677057" y="3726945"/>
                  <a:pt x="677057" y="3720998"/>
                </a:cubicBezTo>
                <a:cubicBezTo>
                  <a:pt x="677057" y="3715052"/>
                  <a:pt x="681847" y="3710262"/>
                  <a:pt x="687793" y="3710262"/>
                </a:cubicBezTo>
                <a:close/>
                <a:moveTo>
                  <a:pt x="3609685" y="3709105"/>
                </a:moveTo>
                <a:cubicBezTo>
                  <a:pt x="3615632" y="3709105"/>
                  <a:pt x="3620423" y="3713895"/>
                  <a:pt x="3620423" y="3719842"/>
                </a:cubicBezTo>
                <a:cubicBezTo>
                  <a:pt x="3620423" y="3725788"/>
                  <a:pt x="3615632" y="3730578"/>
                  <a:pt x="3609685" y="3730578"/>
                </a:cubicBezTo>
                <a:cubicBezTo>
                  <a:pt x="3603739" y="3730578"/>
                  <a:pt x="3598949" y="3725788"/>
                  <a:pt x="3598949" y="3719842"/>
                </a:cubicBezTo>
                <a:cubicBezTo>
                  <a:pt x="3598949" y="3713895"/>
                  <a:pt x="3603739" y="3709105"/>
                  <a:pt x="3609685" y="3709105"/>
                </a:cubicBezTo>
                <a:close/>
                <a:moveTo>
                  <a:pt x="3831359" y="3708280"/>
                </a:moveTo>
                <a:cubicBezTo>
                  <a:pt x="3837306" y="3708280"/>
                  <a:pt x="3842096" y="3713070"/>
                  <a:pt x="3842096" y="3719016"/>
                </a:cubicBezTo>
                <a:cubicBezTo>
                  <a:pt x="3842096" y="3724963"/>
                  <a:pt x="3837306" y="3729754"/>
                  <a:pt x="3831359" y="3729754"/>
                </a:cubicBezTo>
                <a:cubicBezTo>
                  <a:pt x="3825413" y="3729754"/>
                  <a:pt x="3820623" y="3724963"/>
                  <a:pt x="3820623" y="3719016"/>
                </a:cubicBezTo>
                <a:cubicBezTo>
                  <a:pt x="3820623" y="3713070"/>
                  <a:pt x="3825413" y="3708280"/>
                  <a:pt x="3831359" y="3708280"/>
                </a:cubicBezTo>
                <a:close/>
                <a:moveTo>
                  <a:pt x="3739023" y="3705141"/>
                </a:moveTo>
                <a:cubicBezTo>
                  <a:pt x="3744969" y="3705141"/>
                  <a:pt x="3749759" y="3709931"/>
                  <a:pt x="3749759" y="3715877"/>
                </a:cubicBezTo>
                <a:cubicBezTo>
                  <a:pt x="3749759" y="3721824"/>
                  <a:pt x="3744969" y="3726615"/>
                  <a:pt x="3739023" y="3726615"/>
                </a:cubicBezTo>
                <a:cubicBezTo>
                  <a:pt x="3733076" y="3726615"/>
                  <a:pt x="3728286" y="3721824"/>
                  <a:pt x="3728286" y="3715877"/>
                </a:cubicBezTo>
                <a:cubicBezTo>
                  <a:pt x="3728286" y="3709931"/>
                  <a:pt x="3733076" y="3705141"/>
                  <a:pt x="3739023" y="3705141"/>
                </a:cubicBezTo>
                <a:close/>
                <a:moveTo>
                  <a:pt x="396414" y="3704645"/>
                </a:moveTo>
                <a:cubicBezTo>
                  <a:pt x="402360" y="3704645"/>
                  <a:pt x="407152" y="3709435"/>
                  <a:pt x="407152" y="3715381"/>
                </a:cubicBezTo>
                <a:cubicBezTo>
                  <a:pt x="407152" y="3721328"/>
                  <a:pt x="402360" y="3726119"/>
                  <a:pt x="396414" y="3726119"/>
                </a:cubicBezTo>
                <a:cubicBezTo>
                  <a:pt x="390467" y="3726119"/>
                  <a:pt x="385677" y="3721328"/>
                  <a:pt x="385677" y="3715381"/>
                </a:cubicBezTo>
                <a:cubicBezTo>
                  <a:pt x="385677" y="3709435"/>
                  <a:pt x="390467" y="3704645"/>
                  <a:pt x="396414" y="3704645"/>
                </a:cubicBezTo>
                <a:close/>
                <a:moveTo>
                  <a:pt x="3859771" y="3703820"/>
                </a:moveTo>
                <a:cubicBezTo>
                  <a:pt x="3865717" y="3703820"/>
                  <a:pt x="3870507" y="3708609"/>
                  <a:pt x="3870507" y="3714556"/>
                </a:cubicBezTo>
                <a:cubicBezTo>
                  <a:pt x="3870507" y="3720502"/>
                  <a:pt x="3865717" y="3725292"/>
                  <a:pt x="3859771" y="3725292"/>
                </a:cubicBezTo>
                <a:cubicBezTo>
                  <a:pt x="3853824" y="3725292"/>
                  <a:pt x="3849034" y="3720502"/>
                  <a:pt x="3849034" y="3714556"/>
                </a:cubicBezTo>
                <a:cubicBezTo>
                  <a:pt x="3849034" y="3708609"/>
                  <a:pt x="3853824" y="3703820"/>
                  <a:pt x="3859771" y="3703820"/>
                </a:cubicBezTo>
                <a:close/>
                <a:moveTo>
                  <a:pt x="3668159" y="3701012"/>
                </a:moveTo>
                <a:cubicBezTo>
                  <a:pt x="3674105" y="3701012"/>
                  <a:pt x="3678895" y="3705802"/>
                  <a:pt x="3678895" y="3711748"/>
                </a:cubicBezTo>
                <a:cubicBezTo>
                  <a:pt x="3678895" y="3717695"/>
                  <a:pt x="3674105" y="3722486"/>
                  <a:pt x="3668159" y="3722486"/>
                </a:cubicBezTo>
                <a:cubicBezTo>
                  <a:pt x="3662212" y="3722486"/>
                  <a:pt x="3657422" y="3717695"/>
                  <a:pt x="3657422" y="3711748"/>
                </a:cubicBezTo>
                <a:cubicBezTo>
                  <a:pt x="3657422" y="3705802"/>
                  <a:pt x="3662212" y="3701012"/>
                  <a:pt x="3668159" y="3701012"/>
                </a:cubicBezTo>
                <a:close/>
                <a:moveTo>
                  <a:pt x="3350351" y="3700847"/>
                </a:moveTo>
                <a:cubicBezTo>
                  <a:pt x="3356298" y="3700847"/>
                  <a:pt x="3361088" y="3705637"/>
                  <a:pt x="3361088" y="3711583"/>
                </a:cubicBezTo>
                <a:cubicBezTo>
                  <a:pt x="3361088" y="3717530"/>
                  <a:pt x="3356298" y="3722320"/>
                  <a:pt x="3350351" y="3722320"/>
                </a:cubicBezTo>
                <a:cubicBezTo>
                  <a:pt x="3344405" y="3722320"/>
                  <a:pt x="3339615" y="3717530"/>
                  <a:pt x="3339615" y="3711583"/>
                </a:cubicBezTo>
                <a:cubicBezTo>
                  <a:pt x="3339615" y="3705637"/>
                  <a:pt x="3344405" y="3700847"/>
                  <a:pt x="3350351" y="3700847"/>
                </a:cubicBezTo>
                <a:close/>
                <a:moveTo>
                  <a:pt x="2441027" y="3699526"/>
                </a:moveTo>
                <a:cubicBezTo>
                  <a:pt x="2446974" y="3699526"/>
                  <a:pt x="2451765" y="3704315"/>
                  <a:pt x="2451765" y="3710262"/>
                </a:cubicBezTo>
                <a:cubicBezTo>
                  <a:pt x="2451765" y="3716209"/>
                  <a:pt x="2446974" y="3721000"/>
                  <a:pt x="2441027" y="3721000"/>
                </a:cubicBezTo>
                <a:cubicBezTo>
                  <a:pt x="2435080" y="3721000"/>
                  <a:pt x="2430291" y="3716209"/>
                  <a:pt x="2430291" y="3710262"/>
                </a:cubicBezTo>
                <a:cubicBezTo>
                  <a:pt x="2430291" y="3704315"/>
                  <a:pt x="2435080" y="3699526"/>
                  <a:pt x="2441027" y="3699526"/>
                </a:cubicBezTo>
                <a:close/>
                <a:moveTo>
                  <a:pt x="2948299" y="3690605"/>
                </a:moveTo>
                <a:cubicBezTo>
                  <a:pt x="2954246" y="3690605"/>
                  <a:pt x="2959037" y="3695395"/>
                  <a:pt x="2959037" y="3701341"/>
                </a:cubicBezTo>
                <a:cubicBezTo>
                  <a:pt x="2959037" y="3707288"/>
                  <a:pt x="2954246" y="3712078"/>
                  <a:pt x="2948299" y="3712078"/>
                </a:cubicBezTo>
                <a:cubicBezTo>
                  <a:pt x="2942353" y="3712078"/>
                  <a:pt x="2937563" y="3707288"/>
                  <a:pt x="2937563" y="3701341"/>
                </a:cubicBezTo>
                <a:cubicBezTo>
                  <a:pt x="2937563" y="3695395"/>
                  <a:pt x="2942353" y="3690605"/>
                  <a:pt x="2948299" y="3690605"/>
                </a:cubicBezTo>
                <a:close/>
                <a:moveTo>
                  <a:pt x="3716558" y="3689615"/>
                </a:moveTo>
                <a:cubicBezTo>
                  <a:pt x="3722505" y="3689615"/>
                  <a:pt x="3727296" y="3694405"/>
                  <a:pt x="3727296" y="3700351"/>
                </a:cubicBezTo>
                <a:cubicBezTo>
                  <a:pt x="3727296" y="3706298"/>
                  <a:pt x="3722505" y="3711089"/>
                  <a:pt x="3716558" y="3711089"/>
                </a:cubicBezTo>
                <a:cubicBezTo>
                  <a:pt x="3710611" y="3711089"/>
                  <a:pt x="3705822" y="3706298"/>
                  <a:pt x="3705822" y="3700351"/>
                </a:cubicBezTo>
                <a:cubicBezTo>
                  <a:pt x="3705822" y="3694405"/>
                  <a:pt x="3710611" y="3689615"/>
                  <a:pt x="3716558" y="3689615"/>
                </a:cubicBezTo>
                <a:close/>
                <a:moveTo>
                  <a:pt x="3771563" y="3688954"/>
                </a:moveTo>
                <a:lnTo>
                  <a:pt x="3780978" y="3698369"/>
                </a:lnTo>
                <a:lnTo>
                  <a:pt x="3781970" y="3697377"/>
                </a:lnTo>
                <a:lnTo>
                  <a:pt x="3790972" y="3706381"/>
                </a:lnTo>
                <a:lnTo>
                  <a:pt x="3791881" y="3705472"/>
                </a:lnTo>
                <a:cubicBezTo>
                  <a:pt x="3797827" y="3705472"/>
                  <a:pt x="3802619" y="3710262"/>
                  <a:pt x="3802619" y="3716209"/>
                </a:cubicBezTo>
                <a:cubicBezTo>
                  <a:pt x="3802619" y="3722155"/>
                  <a:pt x="3797827" y="3726945"/>
                  <a:pt x="3791881" y="3726945"/>
                </a:cubicBezTo>
                <a:lnTo>
                  <a:pt x="3782879" y="3717943"/>
                </a:lnTo>
                <a:lnTo>
                  <a:pt x="3781970" y="3718851"/>
                </a:lnTo>
                <a:lnTo>
                  <a:pt x="3772555" y="3709435"/>
                </a:lnTo>
                <a:lnTo>
                  <a:pt x="3771563" y="3710427"/>
                </a:lnTo>
                <a:cubicBezTo>
                  <a:pt x="3765616" y="3710427"/>
                  <a:pt x="3760827" y="3705637"/>
                  <a:pt x="3760827" y="3699690"/>
                </a:cubicBezTo>
                <a:cubicBezTo>
                  <a:pt x="3760827" y="3693744"/>
                  <a:pt x="3765616" y="3688954"/>
                  <a:pt x="3771563" y="3688954"/>
                </a:cubicBezTo>
                <a:close/>
                <a:moveTo>
                  <a:pt x="64894" y="3688954"/>
                </a:moveTo>
                <a:cubicBezTo>
                  <a:pt x="70841" y="3688954"/>
                  <a:pt x="75632" y="3693744"/>
                  <a:pt x="75632" y="3699690"/>
                </a:cubicBezTo>
                <a:cubicBezTo>
                  <a:pt x="75632" y="3705637"/>
                  <a:pt x="70841" y="3710427"/>
                  <a:pt x="64894" y="3710427"/>
                </a:cubicBezTo>
                <a:cubicBezTo>
                  <a:pt x="58948" y="3710427"/>
                  <a:pt x="54158" y="3705637"/>
                  <a:pt x="54158" y="3699690"/>
                </a:cubicBezTo>
                <a:cubicBezTo>
                  <a:pt x="54158" y="3693744"/>
                  <a:pt x="58948" y="3688954"/>
                  <a:pt x="64894" y="3688954"/>
                </a:cubicBezTo>
                <a:close/>
                <a:moveTo>
                  <a:pt x="1042272" y="3688127"/>
                </a:moveTo>
                <a:cubicBezTo>
                  <a:pt x="1048218" y="3688127"/>
                  <a:pt x="1053010" y="3692917"/>
                  <a:pt x="1053010" y="3698863"/>
                </a:cubicBezTo>
                <a:cubicBezTo>
                  <a:pt x="1053010" y="3704810"/>
                  <a:pt x="1048218" y="3709601"/>
                  <a:pt x="1042272" y="3709601"/>
                </a:cubicBezTo>
                <a:cubicBezTo>
                  <a:pt x="1036325" y="3709601"/>
                  <a:pt x="1031535" y="3704810"/>
                  <a:pt x="1031535" y="3698863"/>
                </a:cubicBezTo>
                <a:cubicBezTo>
                  <a:pt x="1031535" y="3692917"/>
                  <a:pt x="1036325" y="3688127"/>
                  <a:pt x="1042272" y="3688127"/>
                </a:cubicBezTo>
                <a:close/>
                <a:moveTo>
                  <a:pt x="3842921" y="3684329"/>
                </a:moveTo>
                <a:cubicBezTo>
                  <a:pt x="3848868" y="3684329"/>
                  <a:pt x="3853658" y="3689119"/>
                  <a:pt x="3853658" y="3695065"/>
                </a:cubicBezTo>
                <a:cubicBezTo>
                  <a:pt x="3853658" y="3701012"/>
                  <a:pt x="3848868" y="3705802"/>
                  <a:pt x="3842921" y="3705802"/>
                </a:cubicBezTo>
                <a:cubicBezTo>
                  <a:pt x="3836975" y="3705802"/>
                  <a:pt x="3832185" y="3701012"/>
                  <a:pt x="3832185" y="3695065"/>
                </a:cubicBezTo>
                <a:cubicBezTo>
                  <a:pt x="3832185" y="3689119"/>
                  <a:pt x="3836975" y="3684329"/>
                  <a:pt x="3842921" y="3684329"/>
                </a:cubicBezTo>
                <a:close/>
                <a:moveTo>
                  <a:pt x="3228117" y="3681851"/>
                </a:moveTo>
                <a:cubicBezTo>
                  <a:pt x="3234064" y="3681851"/>
                  <a:pt x="3238854" y="3686641"/>
                  <a:pt x="3238854" y="3692587"/>
                </a:cubicBezTo>
                <a:cubicBezTo>
                  <a:pt x="3238854" y="3698534"/>
                  <a:pt x="3234064" y="3703325"/>
                  <a:pt x="3228117" y="3703325"/>
                </a:cubicBezTo>
                <a:cubicBezTo>
                  <a:pt x="3222171" y="3703325"/>
                  <a:pt x="3217381" y="3698534"/>
                  <a:pt x="3217381" y="3692587"/>
                </a:cubicBezTo>
                <a:cubicBezTo>
                  <a:pt x="3217381" y="3686641"/>
                  <a:pt x="3222171" y="3681851"/>
                  <a:pt x="3228117" y="3681851"/>
                </a:cubicBezTo>
                <a:close/>
                <a:moveTo>
                  <a:pt x="162350" y="3679869"/>
                </a:moveTo>
                <a:cubicBezTo>
                  <a:pt x="168297" y="3679869"/>
                  <a:pt x="173089" y="3684658"/>
                  <a:pt x="173089" y="3690605"/>
                </a:cubicBezTo>
                <a:cubicBezTo>
                  <a:pt x="173089" y="3696552"/>
                  <a:pt x="168297" y="3701343"/>
                  <a:pt x="162350" y="3701343"/>
                </a:cubicBezTo>
                <a:cubicBezTo>
                  <a:pt x="156404" y="3701343"/>
                  <a:pt x="151614" y="3696552"/>
                  <a:pt x="151614" y="3690605"/>
                </a:cubicBezTo>
                <a:cubicBezTo>
                  <a:pt x="151614" y="3684658"/>
                  <a:pt x="156404" y="3679869"/>
                  <a:pt x="162350" y="3679869"/>
                </a:cubicBezTo>
                <a:close/>
                <a:moveTo>
                  <a:pt x="3869350" y="3678547"/>
                </a:moveTo>
                <a:cubicBezTo>
                  <a:pt x="3875297" y="3678547"/>
                  <a:pt x="3880088" y="3683337"/>
                  <a:pt x="3880088" y="3689284"/>
                </a:cubicBezTo>
                <a:cubicBezTo>
                  <a:pt x="3880088" y="3695230"/>
                  <a:pt x="3875297" y="3700020"/>
                  <a:pt x="3869350" y="3700020"/>
                </a:cubicBezTo>
                <a:cubicBezTo>
                  <a:pt x="3863404" y="3700020"/>
                  <a:pt x="3858614" y="3695230"/>
                  <a:pt x="3858614" y="3689284"/>
                </a:cubicBezTo>
                <a:cubicBezTo>
                  <a:pt x="3858614" y="3683337"/>
                  <a:pt x="3863404" y="3678547"/>
                  <a:pt x="3869350" y="3678547"/>
                </a:cubicBezTo>
                <a:close/>
                <a:moveTo>
                  <a:pt x="3897265" y="3676400"/>
                </a:moveTo>
                <a:cubicBezTo>
                  <a:pt x="3903212" y="3676400"/>
                  <a:pt x="3908004" y="3681190"/>
                  <a:pt x="3908004" y="3687137"/>
                </a:cubicBezTo>
                <a:cubicBezTo>
                  <a:pt x="3908004" y="3693083"/>
                  <a:pt x="3903212" y="3697873"/>
                  <a:pt x="3897265" y="3697873"/>
                </a:cubicBezTo>
                <a:cubicBezTo>
                  <a:pt x="3891319" y="3697873"/>
                  <a:pt x="3886529" y="3693083"/>
                  <a:pt x="3886529" y="3687137"/>
                </a:cubicBezTo>
                <a:cubicBezTo>
                  <a:pt x="3886529" y="3681190"/>
                  <a:pt x="3891319" y="3676400"/>
                  <a:pt x="3897265" y="3676400"/>
                </a:cubicBezTo>
                <a:close/>
                <a:moveTo>
                  <a:pt x="3756366" y="3676234"/>
                </a:moveTo>
                <a:cubicBezTo>
                  <a:pt x="3762313" y="3676234"/>
                  <a:pt x="3767104" y="3681024"/>
                  <a:pt x="3767104" y="3686970"/>
                </a:cubicBezTo>
                <a:cubicBezTo>
                  <a:pt x="3767104" y="3692917"/>
                  <a:pt x="3762313" y="3697708"/>
                  <a:pt x="3756366" y="3697708"/>
                </a:cubicBezTo>
                <a:cubicBezTo>
                  <a:pt x="3750420" y="3697708"/>
                  <a:pt x="3745630" y="3692917"/>
                  <a:pt x="3745630" y="3686970"/>
                </a:cubicBezTo>
                <a:cubicBezTo>
                  <a:pt x="3745630" y="3681024"/>
                  <a:pt x="3750420" y="3676234"/>
                  <a:pt x="3756366" y="3676234"/>
                </a:cubicBezTo>
                <a:close/>
                <a:moveTo>
                  <a:pt x="2605714" y="3673591"/>
                </a:moveTo>
                <a:cubicBezTo>
                  <a:pt x="2611661" y="3673591"/>
                  <a:pt x="2616450" y="3678381"/>
                  <a:pt x="2616450" y="3684327"/>
                </a:cubicBezTo>
                <a:cubicBezTo>
                  <a:pt x="2616450" y="3690274"/>
                  <a:pt x="2611661" y="3695065"/>
                  <a:pt x="2605714" y="3695065"/>
                </a:cubicBezTo>
                <a:cubicBezTo>
                  <a:pt x="2599768" y="3695065"/>
                  <a:pt x="2594978" y="3690274"/>
                  <a:pt x="2594978" y="3684327"/>
                </a:cubicBezTo>
                <a:cubicBezTo>
                  <a:pt x="2594978" y="3678381"/>
                  <a:pt x="2599768" y="3673591"/>
                  <a:pt x="2605714" y="3673591"/>
                </a:cubicBezTo>
                <a:close/>
                <a:moveTo>
                  <a:pt x="548381" y="3672932"/>
                </a:moveTo>
                <a:cubicBezTo>
                  <a:pt x="554327" y="3672932"/>
                  <a:pt x="559117" y="3677722"/>
                  <a:pt x="559117" y="3683668"/>
                </a:cubicBezTo>
                <a:cubicBezTo>
                  <a:pt x="559117" y="3689615"/>
                  <a:pt x="554327" y="3694405"/>
                  <a:pt x="548381" y="3694405"/>
                </a:cubicBezTo>
                <a:cubicBezTo>
                  <a:pt x="542434" y="3694405"/>
                  <a:pt x="537644" y="3689615"/>
                  <a:pt x="537644" y="3683668"/>
                </a:cubicBezTo>
                <a:cubicBezTo>
                  <a:pt x="537644" y="3677722"/>
                  <a:pt x="542434" y="3672932"/>
                  <a:pt x="548381" y="3672932"/>
                </a:cubicBezTo>
                <a:close/>
                <a:moveTo>
                  <a:pt x="3618771" y="3665829"/>
                </a:moveTo>
                <a:cubicBezTo>
                  <a:pt x="3624717" y="3665829"/>
                  <a:pt x="3629507" y="3670619"/>
                  <a:pt x="3629507" y="3676565"/>
                </a:cubicBezTo>
                <a:cubicBezTo>
                  <a:pt x="3629507" y="3682512"/>
                  <a:pt x="3624717" y="3687301"/>
                  <a:pt x="3618771" y="3687301"/>
                </a:cubicBezTo>
                <a:cubicBezTo>
                  <a:pt x="3612824" y="3687301"/>
                  <a:pt x="3608034" y="3682512"/>
                  <a:pt x="3608034" y="3676565"/>
                </a:cubicBezTo>
                <a:cubicBezTo>
                  <a:pt x="3608034" y="3670619"/>
                  <a:pt x="3612824" y="3665829"/>
                  <a:pt x="3618771" y="3665829"/>
                </a:cubicBezTo>
                <a:close/>
                <a:moveTo>
                  <a:pt x="3542952" y="3664011"/>
                </a:moveTo>
                <a:cubicBezTo>
                  <a:pt x="3548899" y="3664011"/>
                  <a:pt x="3553688" y="3668801"/>
                  <a:pt x="3553688" y="3674748"/>
                </a:cubicBezTo>
                <a:cubicBezTo>
                  <a:pt x="3553688" y="3680694"/>
                  <a:pt x="3548899" y="3685484"/>
                  <a:pt x="3542952" y="3685484"/>
                </a:cubicBezTo>
                <a:cubicBezTo>
                  <a:pt x="3537005" y="3685484"/>
                  <a:pt x="3532216" y="3680694"/>
                  <a:pt x="3532216" y="3674748"/>
                </a:cubicBezTo>
                <a:cubicBezTo>
                  <a:pt x="3532216" y="3668801"/>
                  <a:pt x="3537005" y="3664011"/>
                  <a:pt x="3542952" y="3664011"/>
                </a:cubicBezTo>
                <a:close/>
                <a:moveTo>
                  <a:pt x="3681044" y="3662359"/>
                </a:moveTo>
                <a:cubicBezTo>
                  <a:pt x="3686990" y="3662359"/>
                  <a:pt x="3691782" y="3667148"/>
                  <a:pt x="3691782" y="3673095"/>
                </a:cubicBezTo>
                <a:cubicBezTo>
                  <a:pt x="3691782" y="3679041"/>
                  <a:pt x="3686990" y="3683833"/>
                  <a:pt x="3681044" y="3683833"/>
                </a:cubicBezTo>
                <a:cubicBezTo>
                  <a:pt x="3675097" y="3683833"/>
                  <a:pt x="3670307" y="3679041"/>
                  <a:pt x="3670307" y="3673095"/>
                </a:cubicBezTo>
                <a:cubicBezTo>
                  <a:pt x="3670307" y="3667148"/>
                  <a:pt x="3675097" y="3662359"/>
                  <a:pt x="3681044" y="3662359"/>
                </a:cubicBezTo>
                <a:close/>
                <a:moveTo>
                  <a:pt x="3789734" y="3661864"/>
                </a:moveTo>
                <a:cubicBezTo>
                  <a:pt x="3795680" y="3661864"/>
                  <a:pt x="3800470" y="3666654"/>
                  <a:pt x="3800470" y="3672601"/>
                </a:cubicBezTo>
                <a:lnTo>
                  <a:pt x="3799726" y="3673345"/>
                </a:lnTo>
                <a:lnTo>
                  <a:pt x="3810381" y="3683998"/>
                </a:lnTo>
                <a:lnTo>
                  <a:pt x="3809720" y="3684658"/>
                </a:lnTo>
                <a:lnTo>
                  <a:pt x="3818474" y="3693413"/>
                </a:lnTo>
                <a:lnTo>
                  <a:pt x="3817897" y="3693992"/>
                </a:lnTo>
                <a:lnTo>
                  <a:pt x="3828056" y="3704149"/>
                </a:lnTo>
                <a:cubicBezTo>
                  <a:pt x="3828056" y="3710096"/>
                  <a:pt x="3823264" y="3714885"/>
                  <a:pt x="3817318" y="3714885"/>
                </a:cubicBezTo>
                <a:cubicBezTo>
                  <a:pt x="3811371" y="3714885"/>
                  <a:pt x="3806581" y="3710096"/>
                  <a:pt x="3806581" y="3704149"/>
                </a:cubicBezTo>
                <a:lnTo>
                  <a:pt x="3807159" y="3703572"/>
                </a:lnTo>
                <a:lnTo>
                  <a:pt x="3797002" y="3693413"/>
                </a:lnTo>
                <a:lnTo>
                  <a:pt x="3797661" y="3692754"/>
                </a:lnTo>
                <a:lnTo>
                  <a:pt x="3788907" y="3683998"/>
                </a:lnTo>
                <a:lnTo>
                  <a:pt x="3789649" y="3683256"/>
                </a:lnTo>
                <a:lnTo>
                  <a:pt x="3778997" y="3672601"/>
                </a:lnTo>
                <a:cubicBezTo>
                  <a:pt x="3778997" y="3666654"/>
                  <a:pt x="3783787" y="3661864"/>
                  <a:pt x="3789734" y="3661864"/>
                </a:cubicBezTo>
                <a:close/>
                <a:moveTo>
                  <a:pt x="278805" y="3661700"/>
                </a:moveTo>
                <a:cubicBezTo>
                  <a:pt x="284751" y="3661700"/>
                  <a:pt x="289541" y="3666489"/>
                  <a:pt x="289541" y="3672436"/>
                </a:cubicBezTo>
                <a:cubicBezTo>
                  <a:pt x="289541" y="3678382"/>
                  <a:pt x="284751" y="3683172"/>
                  <a:pt x="278805" y="3683172"/>
                </a:cubicBezTo>
                <a:cubicBezTo>
                  <a:pt x="272858" y="3683172"/>
                  <a:pt x="268068" y="3678382"/>
                  <a:pt x="268068" y="3672436"/>
                </a:cubicBezTo>
                <a:cubicBezTo>
                  <a:pt x="268068" y="3666489"/>
                  <a:pt x="272858" y="3661700"/>
                  <a:pt x="278805" y="3661700"/>
                </a:cubicBezTo>
                <a:close/>
                <a:moveTo>
                  <a:pt x="3856136" y="3660212"/>
                </a:moveTo>
                <a:cubicBezTo>
                  <a:pt x="3862082" y="3660212"/>
                  <a:pt x="3866872" y="3665001"/>
                  <a:pt x="3866872" y="3670948"/>
                </a:cubicBezTo>
                <a:cubicBezTo>
                  <a:pt x="3866872" y="3676895"/>
                  <a:pt x="3862082" y="3681686"/>
                  <a:pt x="3856136" y="3681686"/>
                </a:cubicBezTo>
                <a:cubicBezTo>
                  <a:pt x="3850189" y="3681686"/>
                  <a:pt x="3845399" y="3676895"/>
                  <a:pt x="3845399" y="3670948"/>
                </a:cubicBezTo>
                <a:cubicBezTo>
                  <a:pt x="3845399" y="3665001"/>
                  <a:pt x="3850189" y="3660212"/>
                  <a:pt x="3856136" y="3660212"/>
                </a:cubicBezTo>
                <a:close/>
                <a:moveTo>
                  <a:pt x="880560" y="3659882"/>
                </a:moveTo>
                <a:cubicBezTo>
                  <a:pt x="886507" y="3659882"/>
                  <a:pt x="891297" y="3664672"/>
                  <a:pt x="891297" y="3670619"/>
                </a:cubicBezTo>
                <a:cubicBezTo>
                  <a:pt x="891297" y="3676565"/>
                  <a:pt x="886507" y="3681355"/>
                  <a:pt x="880560" y="3681355"/>
                </a:cubicBezTo>
                <a:cubicBezTo>
                  <a:pt x="874614" y="3681355"/>
                  <a:pt x="869824" y="3676565"/>
                  <a:pt x="869824" y="3670619"/>
                </a:cubicBezTo>
                <a:cubicBezTo>
                  <a:pt x="869824" y="3664672"/>
                  <a:pt x="874614" y="3659882"/>
                  <a:pt x="880560" y="3659882"/>
                </a:cubicBezTo>
                <a:close/>
                <a:moveTo>
                  <a:pt x="3451442" y="3655422"/>
                </a:moveTo>
                <a:cubicBezTo>
                  <a:pt x="3457389" y="3655422"/>
                  <a:pt x="3462179" y="3660212"/>
                  <a:pt x="3462179" y="3666158"/>
                </a:cubicBezTo>
                <a:cubicBezTo>
                  <a:pt x="3462179" y="3672105"/>
                  <a:pt x="3457389" y="3676895"/>
                  <a:pt x="3451442" y="3676895"/>
                </a:cubicBezTo>
                <a:cubicBezTo>
                  <a:pt x="3445496" y="3676895"/>
                  <a:pt x="3440706" y="3672105"/>
                  <a:pt x="3440706" y="3666158"/>
                </a:cubicBezTo>
                <a:cubicBezTo>
                  <a:pt x="3440706" y="3660212"/>
                  <a:pt x="3445496" y="3655422"/>
                  <a:pt x="3451442" y="3655422"/>
                </a:cubicBezTo>
                <a:close/>
                <a:moveTo>
                  <a:pt x="3732084" y="3654761"/>
                </a:moveTo>
                <a:cubicBezTo>
                  <a:pt x="3738031" y="3654761"/>
                  <a:pt x="3742822" y="3659551"/>
                  <a:pt x="3742822" y="3665497"/>
                </a:cubicBezTo>
                <a:cubicBezTo>
                  <a:pt x="3742822" y="3671444"/>
                  <a:pt x="3738031" y="3676234"/>
                  <a:pt x="3732084" y="3676234"/>
                </a:cubicBezTo>
                <a:cubicBezTo>
                  <a:pt x="3726138" y="3676234"/>
                  <a:pt x="3721348" y="3671444"/>
                  <a:pt x="3721348" y="3665497"/>
                </a:cubicBezTo>
                <a:cubicBezTo>
                  <a:pt x="3721348" y="3659551"/>
                  <a:pt x="3726138" y="3654761"/>
                  <a:pt x="3732084" y="3654761"/>
                </a:cubicBezTo>
                <a:close/>
                <a:moveTo>
                  <a:pt x="3880583" y="3653275"/>
                </a:moveTo>
                <a:cubicBezTo>
                  <a:pt x="3886529" y="3653275"/>
                  <a:pt x="3891319" y="3658065"/>
                  <a:pt x="3891319" y="3664011"/>
                </a:cubicBezTo>
                <a:cubicBezTo>
                  <a:pt x="3891319" y="3669958"/>
                  <a:pt x="3886529" y="3674748"/>
                  <a:pt x="3880583" y="3674748"/>
                </a:cubicBezTo>
                <a:cubicBezTo>
                  <a:pt x="3874636" y="3674748"/>
                  <a:pt x="3869846" y="3669958"/>
                  <a:pt x="3869846" y="3664011"/>
                </a:cubicBezTo>
                <a:cubicBezTo>
                  <a:pt x="3869846" y="3658065"/>
                  <a:pt x="3874636" y="3653275"/>
                  <a:pt x="3880583" y="3653275"/>
                </a:cubicBezTo>
                <a:close/>
                <a:moveTo>
                  <a:pt x="3934268" y="3653108"/>
                </a:moveTo>
                <a:cubicBezTo>
                  <a:pt x="3938397" y="3653108"/>
                  <a:pt x="3941865" y="3656577"/>
                  <a:pt x="3941865" y="3660706"/>
                </a:cubicBezTo>
                <a:cubicBezTo>
                  <a:pt x="3941865" y="3664837"/>
                  <a:pt x="3938562" y="3668305"/>
                  <a:pt x="3934268" y="3668305"/>
                </a:cubicBezTo>
                <a:cubicBezTo>
                  <a:pt x="3930137" y="3668305"/>
                  <a:pt x="3926669" y="3664837"/>
                  <a:pt x="3926669" y="3660706"/>
                </a:cubicBezTo>
                <a:cubicBezTo>
                  <a:pt x="3926669" y="3656577"/>
                  <a:pt x="3930137" y="3653108"/>
                  <a:pt x="3934268" y="3653108"/>
                </a:cubicBezTo>
                <a:close/>
                <a:moveTo>
                  <a:pt x="3083418" y="3651789"/>
                </a:moveTo>
                <a:cubicBezTo>
                  <a:pt x="3089365" y="3651789"/>
                  <a:pt x="3094157" y="3656579"/>
                  <a:pt x="3094157" y="3662525"/>
                </a:cubicBezTo>
                <a:cubicBezTo>
                  <a:pt x="3094157" y="3668472"/>
                  <a:pt x="3089365" y="3673261"/>
                  <a:pt x="3083418" y="3673261"/>
                </a:cubicBezTo>
                <a:cubicBezTo>
                  <a:pt x="3077472" y="3673261"/>
                  <a:pt x="3072682" y="3668472"/>
                  <a:pt x="3072682" y="3662525"/>
                </a:cubicBezTo>
                <a:cubicBezTo>
                  <a:pt x="3072682" y="3656579"/>
                  <a:pt x="3077472" y="3651789"/>
                  <a:pt x="3083418" y="3651789"/>
                </a:cubicBezTo>
                <a:close/>
                <a:moveTo>
                  <a:pt x="3906516" y="3649807"/>
                </a:moveTo>
                <a:cubicBezTo>
                  <a:pt x="3912462" y="3649807"/>
                  <a:pt x="3917254" y="3654596"/>
                  <a:pt x="3917254" y="3660543"/>
                </a:cubicBezTo>
                <a:cubicBezTo>
                  <a:pt x="3917254" y="3666489"/>
                  <a:pt x="3912462" y="3671279"/>
                  <a:pt x="3906516" y="3671279"/>
                </a:cubicBezTo>
                <a:cubicBezTo>
                  <a:pt x="3900569" y="3671279"/>
                  <a:pt x="3895779" y="3666489"/>
                  <a:pt x="3895779" y="3660543"/>
                </a:cubicBezTo>
                <a:cubicBezTo>
                  <a:pt x="3895779" y="3654596"/>
                  <a:pt x="3900569" y="3649807"/>
                  <a:pt x="3906516" y="3649807"/>
                </a:cubicBezTo>
                <a:close/>
                <a:moveTo>
                  <a:pt x="3817978" y="3647328"/>
                </a:moveTo>
                <a:cubicBezTo>
                  <a:pt x="3823925" y="3647328"/>
                  <a:pt x="3828715" y="3652118"/>
                  <a:pt x="3828715" y="3658065"/>
                </a:cubicBezTo>
                <a:lnTo>
                  <a:pt x="3826403" y="3660376"/>
                </a:lnTo>
                <a:lnTo>
                  <a:pt x="3835489" y="3669462"/>
                </a:lnTo>
                <a:lnTo>
                  <a:pt x="3833506" y="3671444"/>
                </a:lnTo>
                <a:lnTo>
                  <a:pt x="3842757" y="3680694"/>
                </a:lnTo>
                <a:cubicBezTo>
                  <a:pt x="3842757" y="3686641"/>
                  <a:pt x="3837967" y="3691430"/>
                  <a:pt x="3832020" y="3691430"/>
                </a:cubicBezTo>
                <a:cubicBezTo>
                  <a:pt x="3826074" y="3691430"/>
                  <a:pt x="3821284" y="3686641"/>
                  <a:pt x="3821284" y="3680694"/>
                </a:cubicBezTo>
                <a:lnTo>
                  <a:pt x="3823266" y="3678714"/>
                </a:lnTo>
                <a:lnTo>
                  <a:pt x="3814016" y="3669462"/>
                </a:lnTo>
                <a:lnTo>
                  <a:pt x="3816328" y="3667152"/>
                </a:lnTo>
                <a:lnTo>
                  <a:pt x="3807242" y="3658065"/>
                </a:lnTo>
                <a:cubicBezTo>
                  <a:pt x="3807242" y="3652118"/>
                  <a:pt x="3812032" y="3647328"/>
                  <a:pt x="3817978" y="3647328"/>
                </a:cubicBezTo>
                <a:close/>
                <a:moveTo>
                  <a:pt x="3773875" y="3644354"/>
                </a:moveTo>
                <a:cubicBezTo>
                  <a:pt x="3779821" y="3644354"/>
                  <a:pt x="3784613" y="3649144"/>
                  <a:pt x="3784613" y="3655091"/>
                </a:cubicBezTo>
                <a:cubicBezTo>
                  <a:pt x="3784613" y="3661037"/>
                  <a:pt x="3779821" y="3665829"/>
                  <a:pt x="3773875" y="3665829"/>
                </a:cubicBezTo>
                <a:cubicBezTo>
                  <a:pt x="3767928" y="3665829"/>
                  <a:pt x="3763138" y="3661037"/>
                  <a:pt x="3763138" y="3655091"/>
                </a:cubicBezTo>
                <a:cubicBezTo>
                  <a:pt x="3763138" y="3649144"/>
                  <a:pt x="3767928" y="3644354"/>
                  <a:pt x="3773875" y="3644354"/>
                </a:cubicBezTo>
                <a:close/>
                <a:moveTo>
                  <a:pt x="2763627" y="3643033"/>
                </a:moveTo>
                <a:cubicBezTo>
                  <a:pt x="2769574" y="3643033"/>
                  <a:pt x="2774365" y="3647823"/>
                  <a:pt x="2774365" y="3653769"/>
                </a:cubicBezTo>
                <a:cubicBezTo>
                  <a:pt x="2774365" y="3659716"/>
                  <a:pt x="2769574" y="3664506"/>
                  <a:pt x="2763627" y="3664506"/>
                </a:cubicBezTo>
                <a:cubicBezTo>
                  <a:pt x="2757681" y="3664506"/>
                  <a:pt x="2752891" y="3659716"/>
                  <a:pt x="2752891" y="3653769"/>
                </a:cubicBezTo>
                <a:cubicBezTo>
                  <a:pt x="2752891" y="3647823"/>
                  <a:pt x="2757681" y="3643033"/>
                  <a:pt x="2763627" y="3643033"/>
                </a:cubicBezTo>
                <a:close/>
                <a:moveTo>
                  <a:pt x="3341596" y="3638078"/>
                </a:moveTo>
                <a:cubicBezTo>
                  <a:pt x="3347542" y="3638078"/>
                  <a:pt x="3352332" y="3642868"/>
                  <a:pt x="3352332" y="3648815"/>
                </a:cubicBezTo>
                <a:cubicBezTo>
                  <a:pt x="3352332" y="3654761"/>
                  <a:pt x="3347542" y="3659553"/>
                  <a:pt x="3341596" y="3659553"/>
                </a:cubicBezTo>
                <a:cubicBezTo>
                  <a:pt x="3335649" y="3659553"/>
                  <a:pt x="3330859" y="3654761"/>
                  <a:pt x="3330859" y="3648815"/>
                </a:cubicBezTo>
                <a:cubicBezTo>
                  <a:pt x="3330859" y="3642868"/>
                  <a:pt x="3335649" y="3638078"/>
                  <a:pt x="3341596" y="3638078"/>
                </a:cubicBezTo>
                <a:close/>
                <a:moveTo>
                  <a:pt x="1830021" y="3637913"/>
                </a:moveTo>
                <a:cubicBezTo>
                  <a:pt x="1835967" y="3637913"/>
                  <a:pt x="1840759" y="3642703"/>
                  <a:pt x="1840759" y="3648650"/>
                </a:cubicBezTo>
                <a:cubicBezTo>
                  <a:pt x="1840759" y="3654596"/>
                  <a:pt x="1835967" y="3659386"/>
                  <a:pt x="1830021" y="3659386"/>
                </a:cubicBezTo>
                <a:cubicBezTo>
                  <a:pt x="1824074" y="3659386"/>
                  <a:pt x="1819285" y="3654596"/>
                  <a:pt x="1819285" y="3648650"/>
                </a:cubicBezTo>
                <a:cubicBezTo>
                  <a:pt x="1819285" y="3642703"/>
                  <a:pt x="1824074" y="3637913"/>
                  <a:pt x="1830021" y="3637913"/>
                </a:cubicBezTo>
                <a:close/>
                <a:moveTo>
                  <a:pt x="1644028" y="3636261"/>
                </a:moveTo>
                <a:cubicBezTo>
                  <a:pt x="1649974" y="3636261"/>
                  <a:pt x="1654766" y="3641051"/>
                  <a:pt x="1654766" y="3646997"/>
                </a:cubicBezTo>
                <a:cubicBezTo>
                  <a:pt x="1654766" y="3652944"/>
                  <a:pt x="1649974" y="3657734"/>
                  <a:pt x="1644028" y="3657734"/>
                </a:cubicBezTo>
                <a:cubicBezTo>
                  <a:pt x="1638081" y="3657734"/>
                  <a:pt x="1633291" y="3652944"/>
                  <a:pt x="1633291" y="3646997"/>
                </a:cubicBezTo>
                <a:cubicBezTo>
                  <a:pt x="1633291" y="3641051"/>
                  <a:pt x="1638081" y="3636261"/>
                  <a:pt x="1644028" y="3636261"/>
                </a:cubicBezTo>
                <a:close/>
                <a:moveTo>
                  <a:pt x="3970443" y="3634939"/>
                </a:moveTo>
                <a:cubicBezTo>
                  <a:pt x="3970625" y="3634939"/>
                  <a:pt x="3970772" y="3635087"/>
                  <a:pt x="3970772" y="3635271"/>
                </a:cubicBezTo>
                <a:cubicBezTo>
                  <a:pt x="3970772" y="3635453"/>
                  <a:pt x="3970625" y="3635600"/>
                  <a:pt x="3970443" y="3635600"/>
                </a:cubicBezTo>
                <a:cubicBezTo>
                  <a:pt x="3970259" y="3635600"/>
                  <a:pt x="3970112" y="3635453"/>
                  <a:pt x="3970112" y="3635271"/>
                </a:cubicBezTo>
                <a:cubicBezTo>
                  <a:pt x="3970112" y="3635087"/>
                  <a:pt x="3970259" y="3634939"/>
                  <a:pt x="3970443" y="3634939"/>
                </a:cubicBezTo>
                <a:close/>
                <a:moveTo>
                  <a:pt x="64565" y="3633947"/>
                </a:moveTo>
                <a:cubicBezTo>
                  <a:pt x="70511" y="3633947"/>
                  <a:pt x="75301" y="3638737"/>
                  <a:pt x="75301" y="3644684"/>
                </a:cubicBezTo>
                <a:cubicBezTo>
                  <a:pt x="75301" y="3650630"/>
                  <a:pt x="70511" y="3655422"/>
                  <a:pt x="64565" y="3655422"/>
                </a:cubicBezTo>
                <a:cubicBezTo>
                  <a:pt x="58618" y="3655422"/>
                  <a:pt x="53828" y="3650630"/>
                  <a:pt x="53828" y="3644684"/>
                </a:cubicBezTo>
                <a:cubicBezTo>
                  <a:pt x="53828" y="3638737"/>
                  <a:pt x="58618" y="3633947"/>
                  <a:pt x="64565" y="3633947"/>
                </a:cubicBezTo>
                <a:close/>
                <a:moveTo>
                  <a:pt x="416896" y="3632957"/>
                </a:moveTo>
                <a:cubicBezTo>
                  <a:pt x="422843" y="3632957"/>
                  <a:pt x="427633" y="3637747"/>
                  <a:pt x="427633" y="3643694"/>
                </a:cubicBezTo>
                <a:cubicBezTo>
                  <a:pt x="427633" y="3649640"/>
                  <a:pt x="422843" y="3654432"/>
                  <a:pt x="416896" y="3654432"/>
                </a:cubicBezTo>
                <a:cubicBezTo>
                  <a:pt x="410950" y="3654432"/>
                  <a:pt x="406160" y="3649640"/>
                  <a:pt x="406160" y="3643694"/>
                </a:cubicBezTo>
                <a:cubicBezTo>
                  <a:pt x="406160" y="3637747"/>
                  <a:pt x="410950" y="3632957"/>
                  <a:pt x="416896" y="3632957"/>
                </a:cubicBezTo>
                <a:close/>
                <a:moveTo>
                  <a:pt x="2015520" y="3632628"/>
                </a:moveTo>
                <a:cubicBezTo>
                  <a:pt x="2021466" y="3632628"/>
                  <a:pt x="2026258" y="3637418"/>
                  <a:pt x="2026258" y="3643364"/>
                </a:cubicBezTo>
                <a:cubicBezTo>
                  <a:pt x="2026258" y="3649311"/>
                  <a:pt x="2021466" y="3654100"/>
                  <a:pt x="2015520" y="3654100"/>
                </a:cubicBezTo>
                <a:cubicBezTo>
                  <a:pt x="2009573" y="3654100"/>
                  <a:pt x="2004784" y="3649311"/>
                  <a:pt x="2004784" y="3643364"/>
                </a:cubicBezTo>
                <a:cubicBezTo>
                  <a:pt x="2004784" y="3637418"/>
                  <a:pt x="2009573" y="3632628"/>
                  <a:pt x="2015520" y="3632628"/>
                </a:cubicBezTo>
                <a:close/>
                <a:moveTo>
                  <a:pt x="3808399" y="3632132"/>
                </a:moveTo>
                <a:cubicBezTo>
                  <a:pt x="3814345" y="3632132"/>
                  <a:pt x="3819137" y="3636922"/>
                  <a:pt x="3819137" y="3642868"/>
                </a:cubicBezTo>
                <a:cubicBezTo>
                  <a:pt x="3819137" y="3648815"/>
                  <a:pt x="3814345" y="3653604"/>
                  <a:pt x="3808399" y="3653604"/>
                </a:cubicBezTo>
                <a:cubicBezTo>
                  <a:pt x="3802452" y="3653604"/>
                  <a:pt x="3797662" y="3648815"/>
                  <a:pt x="3797662" y="3642868"/>
                </a:cubicBezTo>
                <a:cubicBezTo>
                  <a:pt x="3797662" y="3636922"/>
                  <a:pt x="3802452" y="3632132"/>
                  <a:pt x="3808399" y="3632132"/>
                </a:cubicBezTo>
                <a:close/>
                <a:moveTo>
                  <a:pt x="3893301" y="3627836"/>
                </a:moveTo>
                <a:cubicBezTo>
                  <a:pt x="3899248" y="3627836"/>
                  <a:pt x="3904037" y="3632626"/>
                  <a:pt x="3904037" y="3638572"/>
                </a:cubicBezTo>
                <a:cubicBezTo>
                  <a:pt x="3904037" y="3644519"/>
                  <a:pt x="3899248" y="3649311"/>
                  <a:pt x="3893301" y="3649311"/>
                </a:cubicBezTo>
                <a:cubicBezTo>
                  <a:pt x="3887355" y="3649311"/>
                  <a:pt x="3882565" y="3644519"/>
                  <a:pt x="3882565" y="3638572"/>
                </a:cubicBezTo>
                <a:cubicBezTo>
                  <a:pt x="3882565" y="3632626"/>
                  <a:pt x="3887355" y="3627836"/>
                  <a:pt x="3893301" y="3627836"/>
                </a:cubicBezTo>
                <a:close/>
                <a:moveTo>
                  <a:pt x="1459521" y="3627836"/>
                </a:moveTo>
                <a:cubicBezTo>
                  <a:pt x="1465467" y="3627836"/>
                  <a:pt x="1470257" y="3632626"/>
                  <a:pt x="1470257" y="3638572"/>
                </a:cubicBezTo>
                <a:cubicBezTo>
                  <a:pt x="1470257" y="3644519"/>
                  <a:pt x="1465467" y="3649311"/>
                  <a:pt x="1459521" y="3649311"/>
                </a:cubicBezTo>
                <a:cubicBezTo>
                  <a:pt x="1453574" y="3649311"/>
                  <a:pt x="1448784" y="3644519"/>
                  <a:pt x="1448784" y="3638572"/>
                </a:cubicBezTo>
                <a:cubicBezTo>
                  <a:pt x="1448784" y="3632626"/>
                  <a:pt x="1453574" y="3627836"/>
                  <a:pt x="1459521" y="3627836"/>
                </a:cubicBezTo>
                <a:close/>
                <a:moveTo>
                  <a:pt x="726115" y="3627340"/>
                </a:moveTo>
                <a:cubicBezTo>
                  <a:pt x="732062" y="3627340"/>
                  <a:pt x="736854" y="3632130"/>
                  <a:pt x="736854" y="3638076"/>
                </a:cubicBezTo>
                <a:cubicBezTo>
                  <a:pt x="736854" y="3644023"/>
                  <a:pt x="732062" y="3648813"/>
                  <a:pt x="726115" y="3648813"/>
                </a:cubicBezTo>
                <a:cubicBezTo>
                  <a:pt x="720169" y="3648813"/>
                  <a:pt x="715379" y="3644023"/>
                  <a:pt x="715379" y="3638076"/>
                </a:cubicBezTo>
                <a:cubicBezTo>
                  <a:pt x="715379" y="3632130"/>
                  <a:pt x="720169" y="3627340"/>
                  <a:pt x="726115" y="3627340"/>
                </a:cubicBezTo>
                <a:close/>
                <a:moveTo>
                  <a:pt x="3917087" y="3623378"/>
                </a:moveTo>
                <a:cubicBezTo>
                  <a:pt x="3923034" y="3623378"/>
                  <a:pt x="3927824" y="3628167"/>
                  <a:pt x="3927824" y="3634114"/>
                </a:cubicBezTo>
                <a:cubicBezTo>
                  <a:pt x="3927824" y="3640060"/>
                  <a:pt x="3923034" y="3644850"/>
                  <a:pt x="3917087" y="3644850"/>
                </a:cubicBezTo>
                <a:cubicBezTo>
                  <a:pt x="3911141" y="3644850"/>
                  <a:pt x="3906351" y="3640060"/>
                  <a:pt x="3906351" y="3634114"/>
                </a:cubicBezTo>
                <a:cubicBezTo>
                  <a:pt x="3906351" y="3628167"/>
                  <a:pt x="3911141" y="3623378"/>
                  <a:pt x="3917087" y="3623378"/>
                </a:cubicBezTo>
                <a:close/>
                <a:moveTo>
                  <a:pt x="3942691" y="3622221"/>
                </a:moveTo>
                <a:cubicBezTo>
                  <a:pt x="3948637" y="3622221"/>
                  <a:pt x="3953429" y="3627011"/>
                  <a:pt x="3953429" y="3632957"/>
                </a:cubicBezTo>
                <a:cubicBezTo>
                  <a:pt x="3953429" y="3638904"/>
                  <a:pt x="3948637" y="3643694"/>
                  <a:pt x="3942691" y="3643694"/>
                </a:cubicBezTo>
                <a:cubicBezTo>
                  <a:pt x="3936744" y="3643694"/>
                  <a:pt x="3931954" y="3638904"/>
                  <a:pt x="3931954" y="3632957"/>
                </a:cubicBezTo>
                <a:cubicBezTo>
                  <a:pt x="3931954" y="3627011"/>
                  <a:pt x="3936744" y="3622221"/>
                  <a:pt x="3942691" y="3622221"/>
                </a:cubicBezTo>
                <a:close/>
                <a:moveTo>
                  <a:pt x="2198708" y="3620568"/>
                </a:moveTo>
                <a:cubicBezTo>
                  <a:pt x="2204654" y="3620568"/>
                  <a:pt x="2209444" y="3625358"/>
                  <a:pt x="2209444" y="3631304"/>
                </a:cubicBezTo>
                <a:cubicBezTo>
                  <a:pt x="2209444" y="3637251"/>
                  <a:pt x="2204654" y="3642043"/>
                  <a:pt x="2198708" y="3642043"/>
                </a:cubicBezTo>
                <a:cubicBezTo>
                  <a:pt x="2192761" y="3642043"/>
                  <a:pt x="2187971" y="3637251"/>
                  <a:pt x="2187971" y="3631304"/>
                </a:cubicBezTo>
                <a:cubicBezTo>
                  <a:pt x="2187971" y="3625358"/>
                  <a:pt x="2192761" y="3620568"/>
                  <a:pt x="2198708" y="3620568"/>
                </a:cubicBezTo>
                <a:close/>
                <a:moveTo>
                  <a:pt x="3837139" y="3619247"/>
                </a:moveTo>
                <a:cubicBezTo>
                  <a:pt x="3843086" y="3619247"/>
                  <a:pt x="3847876" y="3624037"/>
                  <a:pt x="3847876" y="3629983"/>
                </a:cubicBezTo>
                <a:lnTo>
                  <a:pt x="3843582" y="3634279"/>
                </a:lnTo>
                <a:lnTo>
                  <a:pt x="3853493" y="3644190"/>
                </a:lnTo>
                <a:lnTo>
                  <a:pt x="3849860" y="3647824"/>
                </a:lnTo>
                <a:lnTo>
                  <a:pt x="3858779" y="3656743"/>
                </a:lnTo>
                <a:cubicBezTo>
                  <a:pt x="3858779" y="3662690"/>
                  <a:pt x="3853989" y="3667480"/>
                  <a:pt x="3848042" y="3667480"/>
                </a:cubicBezTo>
                <a:cubicBezTo>
                  <a:pt x="3842096" y="3667480"/>
                  <a:pt x="3837306" y="3662690"/>
                  <a:pt x="3837306" y="3656743"/>
                </a:cubicBezTo>
                <a:lnTo>
                  <a:pt x="3840939" y="3653110"/>
                </a:lnTo>
                <a:lnTo>
                  <a:pt x="3832020" y="3644190"/>
                </a:lnTo>
                <a:lnTo>
                  <a:pt x="3836314" y="3639896"/>
                </a:lnTo>
                <a:lnTo>
                  <a:pt x="3826403" y="3629983"/>
                </a:lnTo>
                <a:cubicBezTo>
                  <a:pt x="3826403" y="3624037"/>
                  <a:pt x="3831193" y="3619247"/>
                  <a:pt x="3837139" y="3619247"/>
                </a:cubicBezTo>
                <a:close/>
                <a:moveTo>
                  <a:pt x="3692937" y="3618917"/>
                </a:moveTo>
                <a:cubicBezTo>
                  <a:pt x="3698883" y="3618917"/>
                  <a:pt x="3703673" y="3623707"/>
                  <a:pt x="3703673" y="3629654"/>
                </a:cubicBezTo>
                <a:cubicBezTo>
                  <a:pt x="3703673" y="3635600"/>
                  <a:pt x="3698883" y="3640392"/>
                  <a:pt x="3692937" y="3640392"/>
                </a:cubicBezTo>
                <a:cubicBezTo>
                  <a:pt x="3686990" y="3640392"/>
                  <a:pt x="3682200" y="3635600"/>
                  <a:pt x="3682200" y="3629654"/>
                </a:cubicBezTo>
                <a:cubicBezTo>
                  <a:pt x="3682200" y="3623707"/>
                  <a:pt x="3686990" y="3618917"/>
                  <a:pt x="3692937" y="3618917"/>
                </a:cubicBezTo>
                <a:close/>
                <a:moveTo>
                  <a:pt x="168793" y="3617265"/>
                </a:moveTo>
                <a:cubicBezTo>
                  <a:pt x="174740" y="3617265"/>
                  <a:pt x="179531" y="3622054"/>
                  <a:pt x="179531" y="3628001"/>
                </a:cubicBezTo>
                <a:cubicBezTo>
                  <a:pt x="179531" y="3633947"/>
                  <a:pt x="174740" y="3638737"/>
                  <a:pt x="168793" y="3638737"/>
                </a:cubicBezTo>
                <a:cubicBezTo>
                  <a:pt x="162846" y="3638737"/>
                  <a:pt x="158057" y="3633947"/>
                  <a:pt x="158057" y="3628001"/>
                </a:cubicBezTo>
                <a:cubicBezTo>
                  <a:pt x="158057" y="3622054"/>
                  <a:pt x="162846" y="3617265"/>
                  <a:pt x="168793" y="3617265"/>
                </a:cubicBezTo>
                <a:close/>
                <a:moveTo>
                  <a:pt x="3626535" y="3617100"/>
                </a:moveTo>
                <a:cubicBezTo>
                  <a:pt x="3632481" y="3617100"/>
                  <a:pt x="3637271" y="3621890"/>
                  <a:pt x="3637271" y="3627836"/>
                </a:cubicBezTo>
                <a:cubicBezTo>
                  <a:pt x="3637271" y="3633783"/>
                  <a:pt x="3632481" y="3638572"/>
                  <a:pt x="3626535" y="3638572"/>
                </a:cubicBezTo>
                <a:cubicBezTo>
                  <a:pt x="3620588" y="3638572"/>
                  <a:pt x="3615798" y="3633783"/>
                  <a:pt x="3615798" y="3627836"/>
                </a:cubicBezTo>
                <a:cubicBezTo>
                  <a:pt x="3615798" y="3621890"/>
                  <a:pt x="3620588" y="3617100"/>
                  <a:pt x="3626535" y="3617100"/>
                </a:cubicBezTo>
                <a:close/>
                <a:moveTo>
                  <a:pt x="3747116" y="3615614"/>
                </a:moveTo>
                <a:cubicBezTo>
                  <a:pt x="3753063" y="3615614"/>
                  <a:pt x="3757854" y="3620403"/>
                  <a:pt x="3757854" y="3626350"/>
                </a:cubicBezTo>
                <a:cubicBezTo>
                  <a:pt x="3757854" y="3632296"/>
                  <a:pt x="3753063" y="3637086"/>
                  <a:pt x="3747116" y="3637086"/>
                </a:cubicBezTo>
                <a:cubicBezTo>
                  <a:pt x="3741170" y="3637086"/>
                  <a:pt x="3736380" y="3632296"/>
                  <a:pt x="3736380" y="3626350"/>
                </a:cubicBezTo>
                <a:cubicBezTo>
                  <a:pt x="3736380" y="3620403"/>
                  <a:pt x="3741170" y="3615614"/>
                  <a:pt x="3747116" y="3615614"/>
                </a:cubicBezTo>
                <a:close/>
                <a:moveTo>
                  <a:pt x="1278151" y="3612804"/>
                </a:moveTo>
                <a:cubicBezTo>
                  <a:pt x="1284097" y="3612804"/>
                  <a:pt x="1288889" y="3617594"/>
                  <a:pt x="1288889" y="3623541"/>
                </a:cubicBezTo>
                <a:cubicBezTo>
                  <a:pt x="1288889" y="3629487"/>
                  <a:pt x="1284097" y="3634279"/>
                  <a:pt x="1278151" y="3634279"/>
                </a:cubicBezTo>
                <a:cubicBezTo>
                  <a:pt x="1272204" y="3634279"/>
                  <a:pt x="1267414" y="3629487"/>
                  <a:pt x="1267414" y="3623541"/>
                </a:cubicBezTo>
                <a:cubicBezTo>
                  <a:pt x="1267414" y="3617594"/>
                  <a:pt x="1272204" y="3612804"/>
                  <a:pt x="1278151" y="3612804"/>
                </a:cubicBezTo>
                <a:close/>
                <a:moveTo>
                  <a:pt x="3210607" y="3610493"/>
                </a:moveTo>
                <a:cubicBezTo>
                  <a:pt x="3216554" y="3610493"/>
                  <a:pt x="3221345" y="3615282"/>
                  <a:pt x="3221345" y="3621229"/>
                </a:cubicBezTo>
                <a:cubicBezTo>
                  <a:pt x="3221345" y="3627175"/>
                  <a:pt x="3216554" y="3631965"/>
                  <a:pt x="3210607" y="3631965"/>
                </a:cubicBezTo>
                <a:cubicBezTo>
                  <a:pt x="3204661" y="3631965"/>
                  <a:pt x="3199871" y="3627175"/>
                  <a:pt x="3199871" y="3621229"/>
                </a:cubicBezTo>
                <a:cubicBezTo>
                  <a:pt x="3199871" y="3615282"/>
                  <a:pt x="3204661" y="3610493"/>
                  <a:pt x="3210607" y="3610493"/>
                </a:cubicBezTo>
                <a:close/>
                <a:moveTo>
                  <a:pt x="3545430" y="3609006"/>
                </a:moveTo>
                <a:cubicBezTo>
                  <a:pt x="3551377" y="3609006"/>
                  <a:pt x="3556167" y="3613796"/>
                  <a:pt x="3556167" y="3619743"/>
                </a:cubicBezTo>
                <a:cubicBezTo>
                  <a:pt x="3556167" y="3625689"/>
                  <a:pt x="3551377" y="3630479"/>
                  <a:pt x="3545430" y="3630479"/>
                </a:cubicBezTo>
                <a:cubicBezTo>
                  <a:pt x="3539484" y="3630479"/>
                  <a:pt x="3534694" y="3625689"/>
                  <a:pt x="3534694" y="3619743"/>
                </a:cubicBezTo>
                <a:cubicBezTo>
                  <a:pt x="3534694" y="3613796"/>
                  <a:pt x="3539484" y="3609006"/>
                  <a:pt x="3545430" y="3609006"/>
                </a:cubicBezTo>
                <a:close/>
                <a:moveTo>
                  <a:pt x="3791220" y="3608842"/>
                </a:moveTo>
                <a:cubicBezTo>
                  <a:pt x="3797166" y="3608842"/>
                  <a:pt x="3801956" y="3613631"/>
                  <a:pt x="3801956" y="3619578"/>
                </a:cubicBezTo>
                <a:cubicBezTo>
                  <a:pt x="3801956" y="3625524"/>
                  <a:pt x="3797166" y="3630314"/>
                  <a:pt x="3791220" y="3630314"/>
                </a:cubicBezTo>
                <a:cubicBezTo>
                  <a:pt x="3785273" y="3630314"/>
                  <a:pt x="3780484" y="3625524"/>
                  <a:pt x="3780484" y="3619578"/>
                </a:cubicBezTo>
                <a:cubicBezTo>
                  <a:pt x="3780484" y="3613631"/>
                  <a:pt x="3785273" y="3608842"/>
                  <a:pt x="3791220" y="3608842"/>
                </a:cubicBezTo>
                <a:close/>
                <a:moveTo>
                  <a:pt x="2913777" y="3608346"/>
                </a:moveTo>
                <a:cubicBezTo>
                  <a:pt x="2919723" y="3608346"/>
                  <a:pt x="2924515" y="3613135"/>
                  <a:pt x="2924515" y="3619082"/>
                </a:cubicBezTo>
                <a:cubicBezTo>
                  <a:pt x="2924515" y="3625028"/>
                  <a:pt x="2919723" y="3629818"/>
                  <a:pt x="2913777" y="3629818"/>
                </a:cubicBezTo>
                <a:cubicBezTo>
                  <a:pt x="2907830" y="3629818"/>
                  <a:pt x="2903040" y="3625028"/>
                  <a:pt x="2903040" y="3619082"/>
                </a:cubicBezTo>
                <a:cubicBezTo>
                  <a:pt x="2903040" y="3613135"/>
                  <a:pt x="2907830" y="3608346"/>
                  <a:pt x="2913777" y="3608346"/>
                </a:cubicBezTo>
                <a:close/>
                <a:moveTo>
                  <a:pt x="3861586" y="3606528"/>
                </a:moveTo>
                <a:cubicBezTo>
                  <a:pt x="3867533" y="3606528"/>
                  <a:pt x="3872324" y="3611318"/>
                  <a:pt x="3872324" y="3617265"/>
                </a:cubicBezTo>
                <a:lnTo>
                  <a:pt x="3866872" y="3622717"/>
                </a:lnTo>
                <a:lnTo>
                  <a:pt x="3875793" y="3631636"/>
                </a:lnTo>
                <a:lnTo>
                  <a:pt x="3871251" y="3636179"/>
                </a:lnTo>
                <a:lnTo>
                  <a:pt x="3881243" y="3646172"/>
                </a:lnTo>
                <a:cubicBezTo>
                  <a:pt x="3881243" y="3652118"/>
                  <a:pt x="3876454" y="3656910"/>
                  <a:pt x="3870507" y="3656910"/>
                </a:cubicBezTo>
                <a:cubicBezTo>
                  <a:pt x="3864560" y="3656910"/>
                  <a:pt x="3859771" y="3652118"/>
                  <a:pt x="3859771" y="3646172"/>
                </a:cubicBezTo>
                <a:lnTo>
                  <a:pt x="3864312" y="3641630"/>
                </a:lnTo>
                <a:lnTo>
                  <a:pt x="3854320" y="3631636"/>
                </a:lnTo>
                <a:lnTo>
                  <a:pt x="3859771" y="3626187"/>
                </a:lnTo>
                <a:lnTo>
                  <a:pt x="3850850" y="3617265"/>
                </a:lnTo>
                <a:cubicBezTo>
                  <a:pt x="3850850" y="3611318"/>
                  <a:pt x="3855640" y="3606528"/>
                  <a:pt x="3861586" y="3606528"/>
                </a:cubicBezTo>
                <a:close/>
                <a:moveTo>
                  <a:pt x="2377433" y="3602068"/>
                </a:moveTo>
                <a:cubicBezTo>
                  <a:pt x="2383379" y="3602068"/>
                  <a:pt x="2388171" y="3606858"/>
                  <a:pt x="2388171" y="3612804"/>
                </a:cubicBezTo>
                <a:cubicBezTo>
                  <a:pt x="2388171" y="3618751"/>
                  <a:pt x="2383379" y="3623541"/>
                  <a:pt x="2377433" y="3623541"/>
                </a:cubicBezTo>
                <a:cubicBezTo>
                  <a:pt x="2371486" y="3623541"/>
                  <a:pt x="2366696" y="3618751"/>
                  <a:pt x="2366696" y="3612804"/>
                </a:cubicBezTo>
                <a:cubicBezTo>
                  <a:pt x="2366696" y="3606858"/>
                  <a:pt x="2371486" y="3602068"/>
                  <a:pt x="2377433" y="3602068"/>
                </a:cubicBezTo>
                <a:close/>
                <a:moveTo>
                  <a:pt x="3907508" y="3601903"/>
                </a:moveTo>
                <a:cubicBezTo>
                  <a:pt x="3913454" y="3601903"/>
                  <a:pt x="3918246" y="3606693"/>
                  <a:pt x="3918246" y="3612639"/>
                </a:cubicBezTo>
                <a:cubicBezTo>
                  <a:pt x="3918246" y="3618586"/>
                  <a:pt x="3913454" y="3623378"/>
                  <a:pt x="3907508" y="3623378"/>
                </a:cubicBezTo>
                <a:cubicBezTo>
                  <a:pt x="3901561" y="3623378"/>
                  <a:pt x="3896771" y="3618586"/>
                  <a:pt x="3896771" y="3612639"/>
                </a:cubicBezTo>
                <a:cubicBezTo>
                  <a:pt x="3896771" y="3606693"/>
                  <a:pt x="3901561" y="3601903"/>
                  <a:pt x="3907508" y="3601903"/>
                </a:cubicBezTo>
                <a:close/>
                <a:moveTo>
                  <a:pt x="3827229" y="3599591"/>
                </a:moveTo>
                <a:cubicBezTo>
                  <a:pt x="3833175" y="3599591"/>
                  <a:pt x="3837965" y="3604381"/>
                  <a:pt x="3837965" y="3610328"/>
                </a:cubicBezTo>
                <a:cubicBezTo>
                  <a:pt x="3837965" y="3616274"/>
                  <a:pt x="3833175" y="3621064"/>
                  <a:pt x="3827229" y="3621064"/>
                </a:cubicBezTo>
                <a:cubicBezTo>
                  <a:pt x="3821282" y="3621064"/>
                  <a:pt x="3816492" y="3616274"/>
                  <a:pt x="3816492" y="3610328"/>
                </a:cubicBezTo>
                <a:cubicBezTo>
                  <a:pt x="3816492" y="3604381"/>
                  <a:pt x="3821282" y="3599591"/>
                  <a:pt x="3827229" y="3599591"/>
                </a:cubicBezTo>
                <a:close/>
                <a:moveTo>
                  <a:pt x="3929476" y="3596617"/>
                </a:moveTo>
                <a:cubicBezTo>
                  <a:pt x="3935423" y="3596617"/>
                  <a:pt x="3940213" y="3601407"/>
                  <a:pt x="3940213" y="3607354"/>
                </a:cubicBezTo>
                <a:cubicBezTo>
                  <a:pt x="3940213" y="3613300"/>
                  <a:pt x="3935423" y="3618090"/>
                  <a:pt x="3929476" y="3618090"/>
                </a:cubicBezTo>
                <a:cubicBezTo>
                  <a:pt x="3923530" y="3618090"/>
                  <a:pt x="3918740" y="3613300"/>
                  <a:pt x="3918740" y="3607354"/>
                </a:cubicBezTo>
                <a:cubicBezTo>
                  <a:pt x="3918740" y="3601407"/>
                  <a:pt x="3923530" y="3596617"/>
                  <a:pt x="3929476" y="3596617"/>
                </a:cubicBezTo>
                <a:close/>
                <a:moveTo>
                  <a:pt x="3978205" y="3595792"/>
                </a:moveTo>
                <a:cubicBezTo>
                  <a:pt x="3983952" y="3595792"/>
                  <a:pt x="3988610" y="3600452"/>
                  <a:pt x="3988610" y="3606199"/>
                </a:cubicBezTo>
                <a:cubicBezTo>
                  <a:pt x="3988610" y="3611946"/>
                  <a:pt x="3983952" y="3616606"/>
                  <a:pt x="3978205" y="3616606"/>
                </a:cubicBezTo>
                <a:cubicBezTo>
                  <a:pt x="3972458" y="3616606"/>
                  <a:pt x="3967798" y="3611946"/>
                  <a:pt x="3967798" y="3606199"/>
                </a:cubicBezTo>
                <a:cubicBezTo>
                  <a:pt x="3967798" y="3600452"/>
                  <a:pt x="3972458" y="3595792"/>
                  <a:pt x="3978205" y="3595792"/>
                </a:cubicBezTo>
                <a:close/>
                <a:moveTo>
                  <a:pt x="3952766" y="3594304"/>
                </a:moveTo>
                <a:cubicBezTo>
                  <a:pt x="3958713" y="3594304"/>
                  <a:pt x="3963503" y="3599094"/>
                  <a:pt x="3963503" y="3605040"/>
                </a:cubicBezTo>
                <a:cubicBezTo>
                  <a:pt x="3963503" y="3610987"/>
                  <a:pt x="3958713" y="3615777"/>
                  <a:pt x="3952766" y="3615777"/>
                </a:cubicBezTo>
                <a:cubicBezTo>
                  <a:pt x="3946820" y="3615777"/>
                  <a:pt x="3942030" y="3610987"/>
                  <a:pt x="3942030" y="3605040"/>
                </a:cubicBezTo>
                <a:cubicBezTo>
                  <a:pt x="3942030" y="3599094"/>
                  <a:pt x="3946820" y="3594304"/>
                  <a:pt x="3952766" y="3594304"/>
                </a:cubicBezTo>
                <a:close/>
                <a:moveTo>
                  <a:pt x="3447312" y="3592984"/>
                </a:moveTo>
                <a:cubicBezTo>
                  <a:pt x="3453258" y="3592984"/>
                  <a:pt x="3458048" y="3597774"/>
                  <a:pt x="3458048" y="3603721"/>
                </a:cubicBezTo>
                <a:cubicBezTo>
                  <a:pt x="3458048" y="3609667"/>
                  <a:pt x="3453258" y="3614457"/>
                  <a:pt x="3447312" y="3614457"/>
                </a:cubicBezTo>
                <a:cubicBezTo>
                  <a:pt x="3441365" y="3614457"/>
                  <a:pt x="3436575" y="3609667"/>
                  <a:pt x="3436575" y="3603721"/>
                </a:cubicBezTo>
                <a:cubicBezTo>
                  <a:pt x="3436575" y="3597774"/>
                  <a:pt x="3441365" y="3592984"/>
                  <a:pt x="3447312" y="3592984"/>
                </a:cubicBezTo>
                <a:close/>
                <a:moveTo>
                  <a:pt x="1101902" y="3591661"/>
                </a:moveTo>
                <a:cubicBezTo>
                  <a:pt x="1107848" y="3591661"/>
                  <a:pt x="1112640" y="3596451"/>
                  <a:pt x="1112640" y="3602397"/>
                </a:cubicBezTo>
                <a:cubicBezTo>
                  <a:pt x="1112640" y="3608344"/>
                  <a:pt x="1107848" y="3613135"/>
                  <a:pt x="1101902" y="3613135"/>
                </a:cubicBezTo>
                <a:cubicBezTo>
                  <a:pt x="1095955" y="3613135"/>
                  <a:pt x="1091165" y="3608344"/>
                  <a:pt x="1091165" y="3602397"/>
                </a:cubicBezTo>
                <a:cubicBezTo>
                  <a:pt x="1091165" y="3596451"/>
                  <a:pt x="1095955" y="3591661"/>
                  <a:pt x="1101902" y="3591661"/>
                </a:cubicBezTo>
                <a:close/>
                <a:moveTo>
                  <a:pt x="579599" y="3591167"/>
                </a:moveTo>
                <a:cubicBezTo>
                  <a:pt x="585546" y="3591167"/>
                  <a:pt x="590336" y="3595957"/>
                  <a:pt x="590336" y="3601903"/>
                </a:cubicBezTo>
                <a:cubicBezTo>
                  <a:pt x="590336" y="3607850"/>
                  <a:pt x="585546" y="3612641"/>
                  <a:pt x="579599" y="3612641"/>
                </a:cubicBezTo>
                <a:cubicBezTo>
                  <a:pt x="573653" y="3612641"/>
                  <a:pt x="568863" y="3607850"/>
                  <a:pt x="568863" y="3601903"/>
                </a:cubicBezTo>
                <a:cubicBezTo>
                  <a:pt x="568863" y="3595957"/>
                  <a:pt x="573653" y="3591167"/>
                  <a:pt x="579599" y="3591167"/>
                </a:cubicBezTo>
                <a:close/>
                <a:moveTo>
                  <a:pt x="293505" y="3590671"/>
                </a:moveTo>
                <a:cubicBezTo>
                  <a:pt x="299452" y="3590671"/>
                  <a:pt x="304242" y="3595461"/>
                  <a:pt x="304242" y="3601407"/>
                </a:cubicBezTo>
                <a:cubicBezTo>
                  <a:pt x="304242" y="3607354"/>
                  <a:pt x="299452" y="3612145"/>
                  <a:pt x="293505" y="3612145"/>
                </a:cubicBezTo>
                <a:cubicBezTo>
                  <a:pt x="287559" y="3612145"/>
                  <a:pt x="282769" y="3607354"/>
                  <a:pt x="282769" y="3601407"/>
                </a:cubicBezTo>
                <a:cubicBezTo>
                  <a:pt x="282769" y="3595461"/>
                  <a:pt x="287559" y="3590671"/>
                  <a:pt x="293505" y="3590671"/>
                </a:cubicBezTo>
                <a:close/>
                <a:moveTo>
                  <a:pt x="3856632" y="3588689"/>
                </a:moveTo>
                <a:cubicBezTo>
                  <a:pt x="3862578" y="3588689"/>
                  <a:pt x="3867368" y="3593478"/>
                  <a:pt x="3867368" y="3599425"/>
                </a:cubicBezTo>
                <a:cubicBezTo>
                  <a:pt x="3867368" y="3605371"/>
                  <a:pt x="3862578" y="3610161"/>
                  <a:pt x="3856632" y="3610161"/>
                </a:cubicBezTo>
                <a:cubicBezTo>
                  <a:pt x="3850685" y="3610161"/>
                  <a:pt x="3845895" y="3605371"/>
                  <a:pt x="3845895" y="3599425"/>
                </a:cubicBezTo>
                <a:cubicBezTo>
                  <a:pt x="3845895" y="3593478"/>
                  <a:pt x="3850685" y="3588689"/>
                  <a:pt x="3856632" y="3588689"/>
                </a:cubicBezTo>
                <a:close/>
                <a:moveTo>
                  <a:pt x="2550543" y="3578117"/>
                </a:moveTo>
                <a:cubicBezTo>
                  <a:pt x="2556489" y="3578117"/>
                  <a:pt x="2561281" y="3582907"/>
                  <a:pt x="2561281" y="3588853"/>
                </a:cubicBezTo>
                <a:cubicBezTo>
                  <a:pt x="2561281" y="3594800"/>
                  <a:pt x="2556489" y="3599591"/>
                  <a:pt x="2550543" y="3599591"/>
                </a:cubicBezTo>
                <a:cubicBezTo>
                  <a:pt x="2544596" y="3599591"/>
                  <a:pt x="2539806" y="3594800"/>
                  <a:pt x="2539806" y="3588853"/>
                </a:cubicBezTo>
                <a:cubicBezTo>
                  <a:pt x="2539806" y="3582907"/>
                  <a:pt x="2544596" y="3578117"/>
                  <a:pt x="2550543" y="3578117"/>
                </a:cubicBezTo>
                <a:close/>
                <a:moveTo>
                  <a:pt x="4013224" y="3577786"/>
                </a:moveTo>
                <a:cubicBezTo>
                  <a:pt x="4014710" y="3577786"/>
                  <a:pt x="4015867" y="3578942"/>
                  <a:pt x="4015867" y="3580429"/>
                </a:cubicBezTo>
                <a:cubicBezTo>
                  <a:pt x="4015867" y="3581915"/>
                  <a:pt x="4014710" y="3583072"/>
                  <a:pt x="4013224" y="3583072"/>
                </a:cubicBezTo>
                <a:cubicBezTo>
                  <a:pt x="4011737" y="3583072"/>
                  <a:pt x="4010581" y="3581915"/>
                  <a:pt x="4010581" y="3580429"/>
                </a:cubicBezTo>
                <a:cubicBezTo>
                  <a:pt x="4010581" y="3578942"/>
                  <a:pt x="4011737" y="3577786"/>
                  <a:pt x="4013224" y="3577786"/>
                </a:cubicBezTo>
                <a:close/>
                <a:moveTo>
                  <a:pt x="3881243" y="3577456"/>
                </a:moveTo>
                <a:cubicBezTo>
                  <a:pt x="3887190" y="3577456"/>
                  <a:pt x="3891981" y="3582246"/>
                  <a:pt x="3891981" y="3588193"/>
                </a:cubicBezTo>
                <a:lnTo>
                  <a:pt x="3884628" y="3595544"/>
                </a:lnTo>
                <a:lnTo>
                  <a:pt x="3894128" y="3605042"/>
                </a:lnTo>
                <a:lnTo>
                  <a:pt x="3887686" y="3611483"/>
                </a:lnTo>
                <a:lnTo>
                  <a:pt x="3897102" y="3620898"/>
                </a:lnTo>
                <a:cubicBezTo>
                  <a:pt x="3897102" y="3626844"/>
                  <a:pt x="3892311" y="3631636"/>
                  <a:pt x="3886364" y="3631636"/>
                </a:cubicBezTo>
                <a:cubicBezTo>
                  <a:pt x="3880418" y="3631636"/>
                  <a:pt x="3875628" y="3626844"/>
                  <a:pt x="3875628" y="3620898"/>
                </a:cubicBezTo>
                <a:lnTo>
                  <a:pt x="3882069" y="3614457"/>
                </a:lnTo>
                <a:lnTo>
                  <a:pt x="3872654" y="3605042"/>
                </a:lnTo>
                <a:lnTo>
                  <a:pt x="3880005" y="3597691"/>
                </a:lnTo>
                <a:lnTo>
                  <a:pt x="3870507" y="3588193"/>
                </a:lnTo>
                <a:cubicBezTo>
                  <a:pt x="3870507" y="3582246"/>
                  <a:pt x="3875297" y="3577456"/>
                  <a:pt x="3881243" y="3577456"/>
                </a:cubicBezTo>
                <a:close/>
                <a:moveTo>
                  <a:pt x="3761487" y="3571841"/>
                </a:moveTo>
                <a:cubicBezTo>
                  <a:pt x="3767434" y="3571841"/>
                  <a:pt x="3772225" y="3576631"/>
                  <a:pt x="3772225" y="3582577"/>
                </a:cubicBezTo>
                <a:cubicBezTo>
                  <a:pt x="3772225" y="3588524"/>
                  <a:pt x="3767434" y="3593314"/>
                  <a:pt x="3761487" y="3593314"/>
                </a:cubicBezTo>
                <a:cubicBezTo>
                  <a:pt x="3755541" y="3593314"/>
                  <a:pt x="3750751" y="3588524"/>
                  <a:pt x="3750751" y="3582577"/>
                </a:cubicBezTo>
                <a:cubicBezTo>
                  <a:pt x="3750751" y="3576631"/>
                  <a:pt x="3755541" y="3571841"/>
                  <a:pt x="3761487" y="3571841"/>
                </a:cubicBezTo>
                <a:close/>
                <a:moveTo>
                  <a:pt x="66545" y="3571674"/>
                </a:moveTo>
                <a:cubicBezTo>
                  <a:pt x="72492" y="3571674"/>
                  <a:pt x="77283" y="3576464"/>
                  <a:pt x="77283" y="3582411"/>
                </a:cubicBezTo>
                <a:cubicBezTo>
                  <a:pt x="77283" y="3588357"/>
                  <a:pt x="72492" y="3593147"/>
                  <a:pt x="66545" y="3593147"/>
                </a:cubicBezTo>
                <a:cubicBezTo>
                  <a:pt x="60599" y="3593147"/>
                  <a:pt x="55809" y="3588357"/>
                  <a:pt x="55809" y="3582411"/>
                </a:cubicBezTo>
                <a:cubicBezTo>
                  <a:pt x="55809" y="3576464"/>
                  <a:pt x="60599" y="3571674"/>
                  <a:pt x="66545" y="3571674"/>
                </a:cubicBezTo>
                <a:close/>
                <a:moveTo>
                  <a:pt x="3055833" y="3570518"/>
                </a:moveTo>
                <a:cubicBezTo>
                  <a:pt x="3061779" y="3570518"/>
                  <a:pt x="3066569" y="3575308"/>
                  <a:pt x="3066569" y="3581254"/>
                </a:cubicBezTo>
                <a:cubicBezTo>
                  <a:pt x="3066569" y="3587201"/>
                  <a:pt x="3061779" y="3591992"/>
                  <a:pt x="3055833" y="3591992"/>
                </a:cubicBezTo>
                <a:cubicBezTo>
                  <a:pt x="3049886" y="3591992"/>
                  <a:pt x="3045096" y="3587201"/>
                  <a:pt x="3045096" y="3581254"/>
                </a:cubicBezTo>
                <a:cubicBezTo>
                  <a:pt x="3045096" y="3575308"/>
                  <a:pt x="3049886" y="3570518"/>
                  <a:pt x="3055833" y="3570518"/>
                </a:cubicBezTo>
                <a:close/>
                <a:moveTo>
                  <a:pt x="3703673" y="3569857"/>
                </a:moveTo>
                <a:cubicBezTo>
                  <a:pt x="3709620" y="3569857"/>
                  <a:pt x="3714411" y="3574647"/>
                  <a:pt x="3714411" y="3580593"/>
                </a:cubicBezTo>
                <a:cubicBezTo>
                  <a:pt x="3714411" y="3586540"/>
                  <a:pt x="3709620" y="3591331"/>
                  <a:pt x="3703673" y="3591331"/>
                </a:cubicBezTo>
                <a:cubicBezTo>
                  <a:pt x="3697726" y="3591331"/>
                  <a:pt x="3692937" y="3586540"/>
                  <a:pt x="3692937" y="3580593"/>
                </a:cubicBezTo>
                <a:cubicBezTo>
                  <a:pt x="3692937" y="3574647"/>
                  <a:pt x="3697726" y="3569857"/>
                  <a:pt x="3703673" y="3569857"/>
                </a:cubicBezTo>
                <a:close/>
                <a:moveTo>
                  <a:pt x="3943187" y="3569363"/>
                </a:moveTo>
                <a:cubicBezTo>
                  <a:pt x="3949133" y="3569363"/>
                  <a:pt x="3953925" y="3574153"/>
                  <a:pt x="3953925" y="3580099"/>
                </a:cubicBezTo>
                <a:cubicBezTo>
                  <a:pt x="3953925" y="3586046"/>
                  <a:pt x="3949133" y="3590837"/>
                  <a:pt x="3943187" y="3590837"/>
                </a:cubicBezTo>
                <a:cubicBezTo>
                  <a:pt x="3937240" y="3590837"/>
                  <a:pt x="3932450" y="3586046"/>
                  <a:pt x="3932450" y="3580099"/>
                </a:cubicBezTo>
                <a:cubicBezTo>
                  <a:pt x="3932450" y="3574153"/>
                  <a:pt x="3937240" y="3569363"/>
                  <a:pt x="3943187" y="3569363"/>
                </a:cubicBezTo>
                <a:close/>
                <a:moveTo>
                  <a:pt x="3808234" y="3569198"/>
                </a:moveTo>
                <a:cubicBezTo>
                  <a:pt x="3814181" y="3569198"/>
                  <a:pt x="3818970" y="3573988"/>
                  <a:pt x="3818970" y="3579934"/>
                </a:cubicBezTo>
                <a:cubicBezTo>
                  <a:pt x="3818970" y="3585881"/>
                  <a:pt x="3814181" y="3590671"/>
                  <a:pt x="3808234" y="3590671"/>
                </a:cubicBezTo>
                <a:cubicBezTo>
                  <a:pt x="3802288" y="3590671"/>
                  <a:pt x="3797498" y="3585881"/>
                  <a:pt x="3797498" y="3579934"/>
                </a:cubicBezTo>
                <a:cubicBezTo>
                  <a:pt x="3797498" y="3573988"/>
                  <a:pt x="3802288" y="3569198"/>
                  <a:pt x="3808234" y="3569198"/>
                </a:cubicBezTo>
                <a:close/>
                <a:moveTo>
                  <a:pt x="3329703" y="3567381"/>
                </a:moveTo>
                <a:cubicBezTo>
                  <a:pt x="3335649" y="3567381"/>
                  <a:pt x="3340439" y="3572170"/>
                  <a:pt x="3340439" y="3578117"/>
                </a:cubicBezTo>
                <a:cubicBezTo>
                  <a:pt x="3340439" y="3584064"/>
                  <a:pt x="3335649" y="3588855"/>
                  <a:pt x="3329703" y="3588855"/>
                </a:cubicBezTo>
                <a:cubicBezTo>
                  <a:pt x="3323756" y="3588855"/>
                  <a:pt x="3318966" y="3584064"/>
                  <a:pt x="3318966" y="3578117"/>
                </a:cubicBezTo>
                <a:cubicBezTo>
                  <a:pt x="3318966" y="3572170"/>
                  <a:pt x="3323756" y="3567381"/>
                  <a:pt x="3329703" y="3567381"/>
                </a:cubicBezTo>
                <a:close/>
                <a:moveTo>
                  <a:pt x="3987620" y="3566389"/>
                </a:moveTo>
                <a:cubicBezTo>
                  <a:pt x="3993567" y="3566389"/>
                  <a:pt x="3998358" y="3571179"/>
                  <a:pt x="3998358" y="3577125"/>
                </a:cubicBezTo>
                <a:cubicBezTo>
                  <a:pt x="3998358" y="3583072"/>
                  <a:pt x="3993567" y="3587863"/>
                  <a:pt x="3987620" y="3587863"/>
                </a:cubicBezTo>
                <a:cubicBezTo>
                  <a:pt x="3981674" y="3587863"/>
                  <a:pt x="3976884" y="3583072"/>
                  <a:pt x="3976884" y="3577125"/>
                </a:cubicBezTo>
                <a:cubicBezTo>
                  <a:pt x="3976884" y="3571179"/>
                  <a:pt x="3981674" y="3566389"/>
                  <a:pt x="3987620" y="3566389"/>
                </a:cubicBezTo>
                <a:close/>
                <a:moveTo>
                  <a:pt x="3964495" y="3566389"/>
                </a:moveTo>
                <a:cubicBezTo>
                  <a:pt x="3970441" y="3566389"/>
                  <a:pt x="3975231" y="3571179"/>
                  <a:pt x="3975231" y="3577125"/>
                </a:cubicBezTo>
                <a:cubicBezTo>
                  <a:pt x="3975231" y="3583072"/>
                  <a:pt x="3970441" y="3587863"/>
                  <a:pt x="3964495" y="3587863"/>
                </a:cubicBezTo>
                <a:cubicBezTo>
                  <a:pt x="3958548" y="3587863"/>
                  <a:pt x="3953758" y="3583072"/>
                  <a:pt x="3953758" y="3577125"/>
                </a:cubicBezTo>
                <a:cubicBezTo>
                  <a:pt x="3953758" y="3571179"/>
                  <a:pt x="3958548" y="3566389"/>
                  <a:pt x="3964495" y="3566389"/>
                </a:cubicBezTo>
                <a:close/>
                <a:moveTo>
                  <a:pt x="931931" y="3565232"/>
                </a:moveTo>
                <a:cubicBezTo>
                  <a:pt x="937877" y="3565232"/>
                  <a:pt x="942667" y="3570022"/>
                  <a:pt x="942667" y="3575968"/>
                </a:cubicBezTo>
                <a:cubicBezTo>
                  <a:pt x="942667" y="3581915"/>
                  <a:pt x="937877" y="3586706"/>
                  <a:pt x="931931" y="3586706"/>
                </a:cubicBezTo>
                <a:cubicBezTo>
                  <a:pt x="925984" y="3586706"/>
                  <a:pt x="921194" y="3581915"/>
                  <a:pt x="921194" y="3575968"/>
                </a:cubicBezTo>
                <a:cubicBezTo>
                  <a:pt x="921194" y="3570022"/>
                  <a:pt x="925984" y="3565232"/>
                  <a:pt x="931931" y="3565232"/>
                </a:cubicBezTo>
                <a:close/>
                <a:moveTo>
                  <a:pt x="3846060" y="3563416"/>
                </a:moveTo>
                <a:cubicBezTo>
                  <a:pt x="3852007" y="3563416"/>
                  <a:pt x="3856798" y="3568206"/>
                  <a:pt x="3856798" y="3574153"/>
                </a:cubicBezTo>
                <a:cubicBezTo>
                  <a:pt x="3856798" y="3580099"/>
                  <a:pt x="3852007" y="3584889"/>
                  <a:pt x="3846060" y="3584889"/>
                </a:cubicBezTo>
                <a:cubicBezTo>
                  <a:pt x="3840114" y="3584889"/>
                  <a:pt x="3835324" y="3580099"/>
                  <a:pt x="3835324" y="3574153"/>
                </a:cubicBezTo>
                <a:cubicBezTo>
                  <a:pt x="3835324" y="3568206"/>
                  <a:pt x="3840114" y="3563416"/>
                  <a:pt x="3846060" y="3563416"/>
                </a:cubicBezTo>
                <a:close/>
                <a:moveTo>
                  <a:pt x="3632479" y="3562095"/>
                </a:moveTo>
                <a:cubicBezTo>
                  <a:pt x="3638426" y="3562095"/>
                  <a:pt x="3643217" y="3566885"/>
                  <a:pt x="3643217" y="3572831"/>
                </a:cubicBezTo>
                <a:cubicBezTo>
                  <a:pt x="3643217" y="3578778"/>
                  <a:pt x="3638426" y="3583569"/>
                  <a:pt x="3632479" y="3583569"/>
                </a:cubicBezTo>
                <a:cubicBezTo>
                  <a:pt x="3626533" y="3583569"/>
                  <a:pt x="3621743" y="3578778"/>
                  <a:pt x="3621743" y="3572831"/>
                </a:cubicBezTo>
                <a:cubicBezTo>
                  <a:pt x="3621743" y="3566885"/>
                  <a:pt x="3626533" y="3562095"/>
                  <a:pt x="3632479" y="3562095"/>
                </a:cubicBezTo>
                <a:close/>
                <a:moveTo>
                  <a:pt x="3876618" y="3555323"/>
                </a:moveTo>
                <a:cubicBezTo>
                  <a:pt x="3882565" y="3555323"/>
                  <a:pt x="3887356" y="3560113"/>
                  <a:pt x="3887356" y="3566059"/>
                </a:cubicBezTo>
                <a:cubicBezTo>
                  <a:pt x="3887356" y="3572006"/>
                  <a:pt x="3882565" y="3576796"/>
                  <a:pt x="3876618" y="3576796"/>
                </a:cubicBezTo>
                <a:cubicBezTo>
                  <a:pt x="3870672" y="3576796"/>
                  <a:pt x="3865882" y="3572006"/>
                  <a:pt x="3865882" y="3566059"/>
                </a:cubicBezTo>
                <a:cubicBezTo>
                  <a:pt x="3865882" y="3560113"/>
                  <a:pt x="3870672" y="3555323"/>
                  <a:pt x="3876618" y="3555323"/>
                </a:cubicBezTo>
                <a:close/>
                <a:moveTo>
                  <a:pt x="441508" y="3552019"/>
                </a:moveTo>
                <a:cubicBezTo>
                  <a:pt x="447454" y="3552019"/>
                  <a:pt x="452244" y="3556809"/>
                  <a:pt x="452244" y="3562756"/>
                </a:cubicBezTo>
                <a:cubicBezTo>
                  <a:pt x="452244" y="3568702"/>
                  <a:pt x="447454" y="3573492"/>
                  <a:pt x="441508" y="3573492"/>
                </a:cubicBezTo>
                <a:cubicBezTo>
                  <a:pt x="435561" y="3573492"/>
                  <a:pt x="430771" y="3568702"/>
                  <a:pt x="430771" y="3562756"/>
                </a:cubicBezTo>
                <a:cubicBezTo>
                  <a:pt x="430771" y="3556809"/>
                  <a:pt x="435561" y="3552019"/>
                  <a:pt x="441508" y="3552019"/>
                </a:cubicBezTo>
                <a:close/>
                <a:moveTo>
                  <a:pt x="2716549" y="3549045"/>
                </a:moveTo>
                <a:cubicBezTo>
                  <a:pt x="2722496" y="3549045"/>
                  <a:pt x="2727287" y="3553835"/>
                  <a:pt x="2727287" y="3559781"/>
                </a:cubicBezTo>
                <a:cubicBezTo>
                  <a:pt x="2727287" y="3565728"/>
                  <a:pt x="2722496" y="3570518"/>
                  <a:pt x="2716549" y="3570518"/>
                </a:cubicBezTo>
                <a:cubicBezTo>
                  <a:pt x="2710603" y="3570518"/>
                  <a:pt x="2705813" y="3565728"/>
                  <a:pt x="2705813" y="3559781"/>
                </a:cubicBezTo>
                <a:cubicBezTo>
                  <a:pt x="2705813" y="3553835"/>
                  <a:pt x="2710603" y="3549045"/>
                  <a:pt x="2716549" y="3549045"/>
                </a:cubicBezTo>
                <a:close/>
                <a:moveTo>
                  <a:pt x="3940048" y="3547888"/>
                </a:moveTo>
                <a:cubicBezTo>
                  <a:pt x="3945979" y="3547888"/>
                  <a:pt x="3950786" y="3552696"/>
                  <a:pt x="3950786" y="3558625"/>
                </a:cubicBezTo>
                <a:cubicBezTo>
                  <a:pt x="3950786" y="3564554"/>
                  <a:pt x="3945979" y="3569361"/>
                  <a:pt x="3940048" y="3569361"/>
                </a:cubicBezTo>
                <a:cubicBezTo>
                  <a:pt x="3934119" y="3569361"/>
                  <a:pt x="3929312" y="3564554"/>
                  <a:pt x="3929312" y="3558625"/>
                </a:cubicBezTo>
                <a:cubicBezTo>
                  <a:pt x="3929312" y="3552696"/>
                  <a:pt x="3934119" y="3547888"/>
                  <a:pt x="3940048" y="3547888"/>
                </a:cubicBezTo>
                <a:close/>
                <a:moveTo>
                  <a:pt x="3545760" y="3546898"/>
                </a:moveTo>
                <a:cubicBezTo>
                  <a:pt x="3551706" y="3546898"/>
                  <a:pt x="3556498" y="3551688"/>
                  <a:pt x="3556498" y="3557635"/>
                </a:cubicBezTo>
                <a:cubicBezTo>
                  <a:pt x="3556498" y="3563581"/>
                  <a:pt x="3551706" y="3568371"/>
                  <a:pt x="3545760" y="3568371"/>
                </a:cubicBezTo>
                <a:cubicBezTo>
                  <a:pt x="3539813" y="3568371"/>
                  <a:pt x="3535023" y="3563581"/>
                  <a:pt x="3535023" y="3557635"/>
                </a:cubicBezTo>
                <a:cubicBezTo>
                  <a:pt x="3535023" y="3551688"/>
                  <a:pt x="3539813" y="3546898"/>
                  <a:pt x="3545760" y="3546898"/>
                </a:cubicBezTo>
                <a:close/>
                <a:moveTo>
                  <a:pt x="178374" y="3546732"/>
                </a:moveTo>
                <a:cubicBezTo>
                  <a:pt x="184321" y="3546732"/>
                  <a:pt x="189111" y="3551521"/>
                  <a:pt x="189111" y="3557468"/>
                </a:cubicBezTo>
                <a:cubicBezTo>
                  <a:pt x="189111" y="3563415"/>
                  <a:pt x="184321" y="3568206"/>
                  <a:pt x="178374" y="3568206"/>
                </a:cubicBezTo>
                <a:cubicBezTo>
                  <a:pt x="172428" y="3568206"/>
                  <a:pt x="167638" y="3563415"/>
                  <a:pt x="167638" y="3557468"/>
                </a:cubicBezTo>
                <a:cubicBezTo>
                  <a:pt x="167638" y="3551521"/>
                  <a:pt x="172428" y="3546732"/>
                  <a:pt x="178374" y="3546732"/>
                </a:cubicBezTo>
                <a:close/>
                <a:moveTo>
                  <a:pt x="3901561" y="3546073"/>
                </a:moveTo>
                <a:cubicBezTo>
                  <a:pt x="3907508" y="3546073"/>
                  <a:pt x="3912297" y="3550863"/>
                  <a:pt x="3912297" y="3556809"/>
                </a:cubicBezTo>
                <a:lnTo>
                  <a:pt x="3902635" y="3566472"/>
                </a:lnTo>
                <a:lnTo>
                  <a:pt x="3913288" y="3577125"/>
                </a:lnTo>
                <a:lnTo>
                  <a:pt x="3905029" y="3585385"/>
                </a:lnTo>
                <a:lnTo>
                  <a:pt x="3914280" y="3594635"/>
                </a:lnTo>
                <a:cubicBezTo>
                  <a:pt x="3914280" y="3600582"/>
                  <a:pt x="3909490" y="3605373"/>
                  <a:pt x="3903543" y="3605373"/>
                </a:cubicBezTo>
                <a:cubicBezTo>
                  <a:pt x="3897597" y="3605373"/>
                  <a:pt x="3892807" y="3600582"/>
                  <a:pt x="3892807" y="3594635"/>
                </a:cubicBezTo>
                <a:lnTo>
                  <a:pt x="3901065" y="3586377"/>
                </a:lnTo>
                <a:lnTo>
                  <a:pt x="3891815" y="3577125"/>
                </a:lnTo>
                <a:lnTo>
                  <a:pt x="3901478" y="3567462"/>
                </a:lnTo>
                <a:lnTo>
                  <a:pt x="3890825" y="3556809"/>
                </a:lnTo>
                <a:cubicBezTo>
                  <a:pt x="3890825" y="3550863"/>
                  <a:pt x="3895615" y="3546073"/>
                  <a:pt x="3901561" y="3546073"/>
                </a:cubicBezTo>
                <a:close/>
                <a:moveTo>
                  <a:pt x="3958383" y="3541777"/>
                </a:moveTo>
                <a:cubicBezTo>
                  <a:pt x="3964330" y="3541777"/>
                  <a:pt x="3969120" y="3546567"/>
                  <a:pt x="3969120" y="3552513"/>
                </a:cubicBezTo>
                <a:cubicBezTo>
                  <a:pt x="3969120" y="3558460"/>
                  <a:pt x="3964330" y="3563250"/>
                  <a:pt x="3958383" y="3563250"/>
                </a:cubicBezTo>
                <a:cubicBezTo>
                  <a:pt x="3952437" y="3563250"/>
                  <a:pt x="3947647" y="3558460"/>
                  <a:pt x="3947647" y="3552513"/>
                </a:cubicBezTo>
                <a:cubicBezTo>
                  <a:pt x="3947647" y="3546567"/>
                  <a:pt x="3952437" y="3541777"/>
                  <a:pt x="3958383" y="3541777"/>
                </a:cubicBezTo>
                <a:close/>
                <a:moveTo>
                  <a:pt x="4021647" y="3539464"/>
                </a:moveTo>
                <a:cubicBezTo>
                  <a:pt x="4027593" y="3539464"/>
                  <a:pt x="4032385" y="3544254"/>
                  <a:pt x="4032385" y="3550200"/>
                </a:cubicBezTo>
                <a:cubicBezTo>
                  <a:pt x="4032385" y="3556147"/>
                  <a:pt x="4027593" y="3560938"/>
                  <a:pt x="4021647" y="3560938"/>
                </a:cubicBezTo>
                <a:cubicBezTo>
                  <a:pt x="4015700" y="3560938"/>
                  <a:pt x="4010910" y="3556147"/>
                  <a:pt x="4010910" y="3550200"/>
                </a:cubicBezTo>
                <a:cubicBezTo>
                  <a:pt x="4010910" y="3544254"/>
                  <a:pt x="4015700" y="3539464"/>
                  <a:pt x="4021647" y="3539464"/>
                </a:cubicBezTo>
                <a:close/>
                <a:moveTo>
                  <a:pt x="3977544" y="3537977"/>
                </a:moveTo>
                <a:cubicBezTo>
                  <a:pt x="3983491" y="3537977"/>
                  <a:pt x="3988281" y="3542767"/>
                  <a:pt x="3988281" y="3548714"/>
                </a:cubicBezTo>
                <a:cubicBezTo>
                  <a:pt x="3988281" y="3554660"/>
                  <a:pt x="3983491" y="3559452"/>
                  <a:pt x="3977544" y="3559452"/>
                </a:cubicBezTo>
                <a:cubicBezTo>
                  <a:pt x="3971598" y="3559452"/>
                  <a:pt x="3966808" y="3554660"/>
                  <a:pt x="3966808" y="3548714"/>
                </a:cubicBezTo>
                <a:cubicBezTo>
                  <a:pt x="3966808" y="3542767"/>
                  <a:pt x="3971598" y="3537977"/>
                  <a:pt x="3977544" y="3537977"/>
                </a:cubicBezTo>
                <a:close/>
                <a:moveTo>
                  <a:pt x="3998521" y="3537152"/>
                </a:moveTo>
                <a:cubicBezTo>
                  <a:pt x="4004468" y="3537152"/>
                  <a:pt x="4009258" y="3541942"/>
                  <a:pt x="4009258" y="3547888"/>
                </a:cubicBezTo>
                <a:cubicBezTo>
                  <a:pt x="4009258" y="3553835"/>
                  <a:pt x="4004468" y="3558625"/>
                  <a:pt x="3998521" y="3558625"/>
                </a:cubicBezTo>
                <a:cubicBezTo>
                  <a:pt x="3992575" y="3558625"/>
                  <a:pt x="3987785" y="3553835"/>
                  <a:pt x="3987785" y="3547888"/>
                </a:cubicBezTo>
                <a:cubicBezTo>
                  <a:pt x="3987785" y="3541942"/>
                  <a:pt x="3992575" y="3537152"/>
                  <a:pt x="3998521" y="3537152"/>
                </a:cubicBezTo>
                <a:close/>
                <a:moveTo>
                  <a:pt x="3922704" y="3536491"/>
                </a:moveTo>
                <a:cubicBezTo>
                  <a:pt x="3928651" y="3536491"/>
                  <a:pt x="3933441" y="3541281"/>
                  <a:pt x="3933441" y="3547228"/>
                </a:cubicBezTo>
                <a:lnTo>
                  <a:pt x="3923034" y="3557635"/>
                </a:lnTo>
                <a:lnTo>
                  <a:pt x="3932615" y="3567214"/>
                </a:lnTo>
                <a:lnTo>
                  <a:pt x="3923778" y="3576053"/>
                </a:lnTo>
                <a:lnTo>
                  <a:pt x="3933937" y="3586210"/>
                </a:lnTo>
                <a:cubicBezTo>
                  <a:pt x="3933937" y="3592157"/>
                  <a:pt x="3929147" y="3596947"/>
                  <a:pt x="3923200" y="3596947"/>
                </a:cubicBezTo>
                <a:cubicBezTo>
                  <a:pt x="3917254" y="3596947"/>
                  <a:pt x="3912464" y="3592157"/>
                  <a:pt x="3912464" y="3586210"/>
                </a:cubicBezTo>
                <a:lnTo>
                  <a:pt x="3921301" y="3577375"/>
                </a:lnTo>
                <a:lnTo>
                  <a:pt x="3911142" y="3567214"/>
                </a:lnTo>
                <a:lnTo>
                  <a:pt x="3921548" y="3556809"/>
                </a:lnTo>
                <a:lnTo>
                  <a:pt x="3911968" y="3547228"/>
                </a:lnTo>
                <a:cubicBezTo>
                  <a:pt x="3911968" y="3541281"/>
                  <a:pt x="3916758" y="3536491"/>
                  <a:pt x="3922704" y="3536491"/>
                </a:cubicBezTo>
                <a:close/>
                <a:moveTo>
                  <a:pt x="769559" y="3534013"/>
                </a:moveTo>
                <a:cubicBezTo>
                  <a:pt x="775490" y="3534013"/>
                  <a:pt x="780295" y="3538820"/>
                  <a:pt x="780295" y="3544749"/>
                </a:cubicBezTo>
                <a:cubicBezTo>
                  <a:pt x="780295" y="3550679"/>
                  <a:pt x="775490" y="3555486"/>
                  <a:pt x="769559" y="3555486"/>
                </a:cubicBezTo>
                <a:cubicBezTo>
                  <a:pt x="763629" y="3555486"/>
                  <a:pt x="758822" y="3550679"/>
                  <a:pt x="758822" y="3544749"/>
                </a:cubicBezTo>
                <a:cubicBezTo>
                  <a:pt x="758822" y="3538820"/>
                  <a:pt x="763629" y="3534013"/>
                  <a:pt x="769559" y="3534013"/>
                </a:cubicBezTo>
                <a:close/>
                <a:moveTo>
                  <a:pt x="3189464" y="3530049"/>
                </a:moveTo>
                <a:cubicBezTo>
                  <a:pt x="3195411" y="3530049"/>
                  <a:pt x="3200202" y="3534839"/>
                  <a:pt x="3200202" y="3540785"/>
                </a:cubicBezTo>
                <a:cubicBezTo>
                  <a:pt x="3200202" y="3546732"/>
                  <a:pt x="3195411" y="3551521"/>
                  <a:pt x="3189464" y="3551521"/>
                </a:cubicBezTo>
                <a:cubicBezTo>
                  <a:pt x="3183517" y="3551521"/>
                  <a:pt x="3178728" y="3546732"/>
                  <a:pt x="3178728" y="3540785"/>
                </a:cubicBezTo>
                <a:cubicBezTo>
                  <a:pt x="3178728" y="3534839"/>
                  <a:pt x="3183517" y="3530049"/>
                  <a:pt x="3189464" y="3530049"/>
                </a:cubicBezTo>
                <a:close/>
                <a:moveTo>
                  <a:pt x="3941205" y="3527406"/>
                </a:moveTo>
                <a:cubicBezTo>
                  <a:pt x="3947151" y="3527406"/>
                  <a:pt x="3951943" y="3532196"/>
                  <a:pt x="3951943" y="3538142"/>
                </a:cubicBezTo>
                <a:cubicBezTo>
                  <a:pt x="3951943" y="3544089"/>
                  <a:pt x="3947151" y="3548879"/>
                  <a:pt x="3941205" y="3548879"/>
                </a:cubicBezTo>
                <a:cubicBezTo>
                  <a:pt x="3935258" y="3548879"/>
                  <a:pt x="3930468" y="3544089"/>
                  <a:pt x="3930468" y="3538142"/>
                </a:cubicBezTo>
                <a:cubicBezTo>
                  <a:pt x="3930468" y="3532196"/>
                  <a:pt x="3935258" y="3527406"/>
                  <a:pt x="3941205" y="3527406"/>
                </a:cubicBezTo>
                <a:close/>
                <a:moveTo>
                  <a:pt x="3824752" y="3525094"/>
                </a:moveTo>
                <a:cubicBezTo>
                  <a:pt x="3830699" y="3525094"/>
                  <a:pt x="3835489" y="3529884"/>
                  <a:pt x="3835489" y="3535831"/>
                </a:cubicBezTo>
                <a:cubicBezTo>
                  <a:pt x="3835489" y="3541777"/>
                  <a:pt x="3830699" y="3546569"/>
                  <a:pt x="3824752" y="3546569"/>
                </a:cubicBezTo>
                <a:cubicBezTo>
                  <a:pt x="3818806" y="3546569"/>
                  <a:pt x="3814016" y="3541777"/>
                  <a:pt x="3814016" y="3535831"/>
                </a:cubicBezTo>
                <a:cubicBezTo>
                  <a:pt x="3814016" y="3529884"/>
                  <a:pt x="3818806" y="3525094"/>
                  <a:pt x="3824752" y="3525094"/>
                </a:cubicBezTo>
                <a:close/>
                <a:moveTo>
                  <a:pt x="3864725" y="3523442"/>
                </a:moveTo>
                <a:cubicBezTo>
                  <a:pt x="3870672" y="3523442"/>
                  <a:pt x="3875463" y="3528231"/>
                  <a:pt x="3875463" y="3534178"/>
                </a:cubicBezTo>
                <a:cubicBezTo>
                  <a:pt x="3875463" y="3540124"/>
                  <a:pt x="3870672" y="3544916"/>
                  <a:pt x="3864725" y="3544916"/>
                </a:cubicBezTo>
                <a:cubicBezTo>
                  <a:pt x="3858779" y="3544916"/>
                  <a:pt x="3853989" y="3540124"/>
                  <a:pt x="3853989" y="3534178"/>
                </a:cubicBezTo>
                <a:cubicBezTo>
                  <a:pt x="3853989" y="3528231"/>
                  <a:pt x="3858779" y="3523442"/>
                  <a:pt x="3864725" y="3523442"/>
                </a:cubicBezTo>
                <a:close/>
                <a:moveTo>
                  <a:pt x="3774867" y="3522781"/>
                </a:moveTo>
                <a:cubicBezTo>
                  <a:pt x="3780813" y="3522781"/>
                  <a:pt x="3785605" y="3527571"/>
                  <a:pt x="3785605" y="3533517"/>
                </a:cubicBezTo>
                <a:cubicBezTo>
                  <a:pt x="3785605" y="3539464"/>
                  <a:pt x="3780813" y="3544254"/>
                  <a:pt x="3774867" y="3544254"/>
                </a:cubicBezTo>
                <a:cubicBezTo>
                  <a:pt x="3768920" y="3544254"/>
                  <a:pt x="3764130" y="3539464"/>
                  <a:pt x="3764130" y="3533517"/>
                </a:cubicBezTo>
                <a:cubicBezTo>
                  <a:pt x="3764130" y="3527571"/>
                  <a:pt x="3768920" y="3522781"/>
                  <a:pt x="3774867" y="3522781"/>
                </a:cubicBezTo>
                <a:close/>
                <a:moveTo>
                  <a:pt x="3440540" y="3522781"/>
                </a:moveTo>
                <a:cubicBezTo>
                  <a:pt x="3446486" y="3522781"/>
                  <a:pt x="3451276" y="3527571"/>
                  <a:pt x="3451276" y="3533517"/>
                </a:cubicBezTo>
                <a:cubicBezTo>
                  <a:pt x="3451276" y="3539464"/>
                  <a:pt x="3446486" y="3544254"/>
                  <a:pt x="3440540" y="3544254"/>
                </a:cubicBezTo>
                <a:cubicBezTo>
                  <a:pt x="3434593" y="3544254"/>
                  <a:pt x="3429803" y="3539464"/>
                  <a:pt x="3429803" y="3533517"/>
                </a:cubicBezTo>
                <a:cubicBezTo>
                  <a:pt x="3429803" y="3527571"/>
                  <a:pt x="3434593" y="3522781"/>
                  <a:pt x="3440540" y="3522781"/>
                </a:cubicBezTo>
                <a:close/>
                <a:moveTo>
                  <a:pt x="1735372" y="3519644"/>
                </a:moveTo>
                <a:cubicBezTo>
                  <a:pt x="1741319" y="3519644"/>
                  <a:pt x="1746111" y="3524434"/>
                  <a:pt x="1746111" y="3530380"/>
                </a:cubicBezTo>
                <a:cubicBezTo>
                  <a:pt x="1746111" y="3536327"/>
                  <a:pt x="1741319" y="3541116"/>
                  <a:pt x="1735372" y="3541116"/>
                </a:cubicBezTo>
                <a:cubicBezTo>
                  <a:pt x="1729426" y="3541116"/>
                  <a:pt x="1724636" y="3536327"/>
                  <a:pt x="1724636" y="3530380"/>
                </a:cubicBezTo>
                <a:cubicBezTo>
                  <a:pt x="1724636" y="3524434"/>
                  <a:pt x="1729426" y="3519644"/>
                  <a:pt x="1735372" y="3519644"/>
                </a:cubicBezTo>
                <a:close/>
                <a:moveTo>
                  <a:pt x="3958217" y="3519477"/>
                </a:moveTo>
                <a:cubicBezTo>
                  <a:pt x="3964163" y="3519477"/>
                  <a:pt x="3968955" y="3524267"/>
                  <a:pt x="3968955" y="3530214"/>
                </a:cubicBezTo>
                <a:cubicBezTo>
                  <a:pt x="3968955" y="3536160"/>
                  <a:pt x="3964163" y="3540950"/>
                  <a:pt x="3958217" y="3540950"/>
                </a:cubicBezTo>
                <a:cubicBezTo>
                  <a:pt x="3952270" y="3540950"/>
                  <a:pt x="3947481" y="3536160"/>
                  <a:pt x="3947481" y="3530214"/>
                </a:cubicBezTo>
                <a:cubicBezTo>
                  <a:pt x="3947481" y="3524267"/>
                  <a:pt x="3952270" y="3519477"/>
                  <a:pt x="3958217" y="3519477"/>
                </a:cubicBezTo>
                <a:close/>
                <a:moveTo>
                  <a:pt x="3896605" y="3518652"/>
                </a:moveTo>
                <a:cubicBezTo>
                  <a:pt x="3902551" y="3518652"/>
                  <a:pt x="3907341" y="3523442"/>
                  <a:pt x="3907341" y="3529388"/>
                </a:cubicBezTo>
                <a:cubicBezTo>
                  <a:pt x="3907341" y="3535335"/>
                  <a:pt x="3902551" y="3540124"/>
                  <a:pt x="3896605" y="3540124"/>
                </a:cubicBezTo>
                <a:cubicBezTo>
                  <a:pt x="3890658" y="3540124"/>
                  <a:pt x="3885868" y="3535335"/>
                  <a:pt x="3885868" y="3529388"/>
                </a:cubicBezTo>
                <a:cubicBezTo>
                  <a:pt x="3885868" y="3523442"/>
                  <a:pt x="3890658" y="3518652"/>
                  <a:pt x="3896605" y="3518652"/>
                </a:cubicBezTo>
                <a:close/>
                <a:moveTo>
                  <a:pt x="4055344" y="3518320"/>
                </a:moveTo>
                <a:cubicBezTo>
                  <a:pt x="4058647" y="3518320"/>
                  <a:pt x="4061455" y="3521128"/>
                  <a:pt x="4061455" y="3524432"/>
                </a:cubicBezTo>
                <a:cubicBezTo>
                  <a:pt x="4061455" y="3527735"/>
                  <a:pt x="4058812" y="3530545"/>
                  <a:pt x="4055344" y="3530545"/>
                </a:cubicBezTo>
                <a:cubicBezTo>
                  <a:pt x="4052040" y="3530545"/>
                  <a:pt x="4049232" y="3527735"/>
                  <a:pt x="4049232" y="3524432"/>
                </a:cubicBezTo>
                <a:cubicBezTo>
                  <a:pt x="4049232" y="3521128"/>
                  <a:pt x="4052040" y="3518320"/>
                  <a:pt x="4055344" y="3518320"/>
                </a:cubicBezTo>
                <a:close/>
                <a:moveTo>
                  <a:pt x="1928471" y="3517662"/>
                </a:moveTo>
                <a:cubicBezTo>
                  <a:pt x="1934417" y="3517662"/>
                  <a:pt x="1939207" y="3522451"/>
                  <a:pt x="1939207" y="3528398"/>
                </a:cubicBezTo>
                <a:cubicBezTo>
                  <a:pt x="1939207" y="3534344"/>
                  <a:pt x="1934417" y="3539134"/>
                  <a:pt x="1928471" y="3539134"/>
                </a:cubicBezTo>
                <a:cubicBezTo>
                  <a:pt x="1922524" y="3539134"/>
                  <a:pt x="1917734" y="3534344"/>
                  <a:pt x="1917734" y="3528398"/>
                </a:cubicBezTo>
                <a:cubicBezTo>
                  <a:pt x="1917734" y="3522451"/>
                  <a:pt x="1922524" y="3517662"/>
                  <a:pt x="1928471" y="3517662"/>
                </a:cubicBezTo>
                <a:close/>
                <a:moveTo>
                  <a:pt x="2874463" y="3515844"/>
                </a:moveTo>
                <a:cubicBezTo>
                  <a:pt x="2880409" y="3515844"/>
                  <a:pt x="2885201" y="3520634"/>
                  <a:pt x="2885201" y="3526580"/>
                </a:cubicBezTo>
                <a:cubicBezTo>
                  <a:pt x="2885201" y="3532527"/>
                  <a:pt x="2880409" y="3537317"/>
                  <a:pt x="2874463" y="3537317"/>
                </a:cubicBezTo>
                <a:cubicBezTo>
                  <a:pt x="2868516" y="3537317"/>
                  <a:pt x="2863726" y="3532527"/>
                  <a:pt x="2863726" y="3526580"/>
                </a:cubicBezTo>
                <a:cubicBezTo>
                  <a:pt x="2863726" y="3520634"/>
                  <a:pt x="2868516" y="3515844"/>
                  <a:pt x="2874463" y="3515844"/>
                </a:cubicBezTo>
                <a:close/>
                <a:moveTo>
                  <a:pt x="3713088" y="3515019"/>
                </a:moveTo>
                <a:cubicBezTo>
                  <a:pt x="3719034" y="3515019"/>
                  <a:pt x="3723824" y="3519808"/>
                  <a:pt x="3723824" y="3525755"/>
                </a:cubicBezTo>
                <a:cubicBezTo>
                  <a:pt x="3723824" y="3531701"/>
                  <a:pt x="3719034" y="3536491"/>
                  <a:pt x="3713088" y="3536491"/>
                </a:cubicBezTo>
                <a:cubicBezTo>
                  <a:pt x="3707141" y="3536491"/>
                  <a:pt x="3702352" y="3531701"/>
                  <a:pt x="3702352" y="3525755"/>
                </a:cubicBezTo>
                <a:cubicBezTo>
                  <a:pt x="3702352" y="3519808"/>
                  <a:pt x="3707141" y="3515019"/>
                  <a:pt x="3713088" y="3515019"/>
                </a:cubicBezTo>
                <a:close/>
                <a:moveTo>
                  <a:pt x="1542772" y="3514358"/>
                </a:moveTo>
                <a:cubicBezTo>
                  <a:pt x="1548719" y="3514358"/>
                  <a:pt x="1553510" y="3519148"/>
                  <a:pt x="1553510" y="3525094"/>
                </a:cubicBezTo>
                <a:cubicBezTo>
                  <a:pt x="1553510" y="3531041"/>
                  <a:pt x="1548719" y="3535831"/>
                  <a:pt x="1542772" y="3535831"/>
                </a:cubicBezTo>
                <a:cubicBezTo>
                  <a:pt x="1536825" y="3535831"/>
                  <a:pt x="1532036" y="3531041"/>
                  <a:pt x="1532036" y="3525094"/>
                </a:cubicBezTo>
                <a:cubicBezTo>
                  <a:pt x="1532036" y="3519148"/>
                  <a:pt x="1536825" y="3514358"/>
                  <a:pt x="1542772" y="3514358"/>
                </a:cubicBezTo>
                <a:close/>
                <a:moveTo>
                  <a:pt x="3974902" y="3513201"/>
                </a:moveTo>
                <a:cubicBezTo>
                  <a:pt x="3980848" y="3513201"/>
                  <a:pt x="3985638" y="3517991"/>
                  <a:pt x="3985638" y="3523938"/>
                </a:cubicBezTo>
                <a:cubicBezTo>
                  <a:pt x="3985638" y="3529884"/>
                  <a:pt x="3980848" y="3534676"/>
                  <a:pt x="3974902" y="3534676"/>
                </a:cubicBezTo>
                <a:cubicBezTo>
                  <a:pt x="3968955" y="3534676"/>
                  <a:pt x="3964165" y="3529884"/>
                  <a:pt x="3964165" y="3523938"/>
                </a:cubicBezTo>
                <a:cubicBezTo>
                  <a:pt x="3964165" y="3517991"/>
                  <a:pt x="3968955" y="3513201"/>
                  <a:pt x="3974902" y="3513201"/>
                </a:cubicBezTo>
                <a:close/>
                <a:moveTo>
                  <a:pt x="3922373" y="3511880"/>
                </a:moveTo>
                <a:cubicBezTo>
                  <a:pt x="3928320" y="3511880"/>
                  <a:pt x="3933109" y="3516670"/>
                  <a:pt x="3933109" y="3522616"/>
                </a:cubicBezTo>
                <a:cubicBezTo>
                  <a:pt x="3933109" y="3528563"/>
                  <a:pt x="3928320" y="3533352"/>
                  <a:pt x="3922373" y="3533352"/>
                </a:cubicBezTo>
                <a:cubicBezTo>
                  <a:pt x="3916427" y="3533352"/>
                  <a:pt x="3911637" y="3528563"/>
                  <a:pt x="3911637" y="3522616"/>
                </a:cubicBezTo>
                <a:cubicBezTo>
                  <a:pt x="3911637" y="3516670"/>
                  <a:pt x="3916427" y="3511880"/>
                  <a:pt x="3922373" y="3511880"/>
                </a:cubicBezTo>
                <a:close/>
                <a:moveTo>
                  <a:pt x="311841" y="3510558"/>
                </a:moveTo>
                <a:cubicBezTo>
                  <a:pt x="317787" y="3510558"/>
                  <a:pt x="322577" y="3515348"/>
                  <a:pt x="322577" y="3521295"/>
                </a:cubicBezTo>
                <a:cubicBezTo>
                  <a:pt x="322577" y="3527241"/>
                  <a:pt x="317787" y="3532033"/>
                  <a:pt x="311841" y="3532033"/>
                </a:cubicBezTo>
                <a:cubicBezTo>
                  <a:pt x="305894" y="3532033"/>
                  <a:pt x="301105" y="3527241"/>
                  <a:pt x="301105" y="3521295"/>
                </a:cubicBezTo>
                <a:cubicBezTo>
                  <a:pt x="301105" y="3515348"/>
                  <a:pt x="305894" y="3510558"/>
                  <a:pt x="311841" y="3510558"/>
                </a:cubicBezTo>
                <a:close/>
                <a:moveTo>
                  <a:pt x="4031889" y="3509070"/>
                </a:moveTo>
                <a:cubicBezTo>
                  <a:pt x="4037835" y="3509070"/>
                  <a:pt x="4042627" y="3513860"/>
                  <a:pt x="4042627" y="3519807"/>
                </a:cubicBezTo>
                <a:cubicBezTo>
                  <a:pt x="4042627" y="3525753"/>
                  <a:pt x="4037835" y="3530545"/>
                  <a:pt x="4031889" y="3530545"/>
                </a:cubicBezTo>
                <a:cubicBezTo>
                  <a:pt x="4025942" y="3530545"/>
                  <a:pt x="4021152" y="3525753"/>
                  <a:pt x="4021152" y="3519807"/>
                </a:cubicBezTo>
                <a:cubicBezTo>
                  <a:pt x="4021152" y="3513860"/>
                  <a:pt x="4025942" y="3509070"/>
                  <a:pt x="4031889" y="3509070"/>
                </a:cubicBezTo>
                <a:close/>
                <a:moveTo>
                  <a:pt x="2119750" y="3508741"/>
                </a:moveTo>
                <a:cubicBezTo>
                  <a:pt x="2125697" y="3508741"/>
                  <a:pt x="2130486" y="3513531"/>
                  <a:pt x="2130486" y="3519477"/>
                </a:cubicBezTo>
                <a:cubicBezTo>
                  <a:pt x="2130486" y="3525424"/>
                  <a:pt x="2125697" y="3530214"/>
                  <a:pt x="2119750" y="3530214"/>
                </a:cubicBezTo>
                <a:cubicBezTo>
                  <a:pt x="2113803" y="3530214"/>
                  <a:pt x="2109014" y="3525424"/>
                  <a:pt x="2109014" y="3519477"/>
                </a:cubicBezTo>
                <a:cubicBezTo>
                  <a:pt x="2109014" y="3513531"/>
                  <a:pt x="2113803" y="3508741"/>
                  <a:pt x="2119750" y="3508741"/>
                </a:cubicBezTo>
                <a:close/>
                <a:moveTo>
                  <a:pt x="4011077" y="3507584"/>
                </a:moveTo>
                <a:cubicBezTo>
                  <a:pt x="4017023" y="3507584"/>
                  <a:pt x="4021813" y="3512374"/>
                  <a:pt x="4021813" y="3518320"/>
                </a:cubicBezTo>
                <a:cubicBezTo>
                  <a:pt x="4021813" y="3524267"/>
                  <a:pt x="4017023" y="3529057"/>
                  <a:pt x="4011077" y="3529057"/>
                </a:cubicBezTo>
                <a:lnTo>
                  <a:pt x="4002406" y="3520386"/>
                </a:lnTo>
                <a:lnTo>
                  <a:pt x="3992245" y="3530545"/>
                </a:lnTo>
                <a:cubicBezTo>
                  <a:pt x="3986299" y="3530545"/>
                  <a:pt x="3981509" y="3525753"/>
                  <a:pt x="3981509" y="3519807"/>
                </a:cubicBezTo>
                <a:cubicBezTo>
                  <a:pt x="3981509" y="3513860"/>
                  <a:pt x="3986299" y="3509070"/>
                  <a:pt x="3992245" y="3509070"/>
                </a:cubicBezTo>
                <a:lnTo>
                  <a:pt x="4000918" y="3517743"/>
                </a:lnTo>
                <a:close/>
                <a:moveTo>
                  <a:pt x="3943516" y="3504281"/>
                </a:moveTo>
                <a:cubicBezTo>
                  <a:pt x="3949463" y="3504281"/>
                  <a:pt x="3954253" y="3509070"/>
                  <a:pt x="3954253" y="3515017"/>
                </a:cubicBezTo>
                <a:cubicBezTo>
                  <a:pt x="3954253" y="3520963"/>
                  <a:pt x="3949463" y="3525755"/>
                  <a:pt x="3943516" y="3525755"/>
                </a:cubicBezTo>
                <a:cubicBezTo>
                  <a:pt x="3937570" y="3525755"/>
                  <a:pt x="3932780" y="3520963"/>
                  <a:pt x="3932780" y="3515017"/>
                </a:cubicBezTo>
                <a:cubicBezTo>
                  <a:pt x="3932780" y="3509070"/>
                  <a:pt x="3937570" y="3504281"/>
                  <a:pt x="3943516" y="3504281"/>
                </a:cubicBezTo>
                <a:close/>
                <a:moveTo>
                  <a:pt x="1352977" y="3502134"/>
                </a:moveTo>
                <a:cubicBezTo>
                  <a:pt x="1358924" y="3502134"/>
                  <a:pt x="1363715" y="3506923"/>
                  <a:pt x="1363715" y="3512870"/>
                </a:cubicBezTo>
                <a:cubicBezTo>
                  <a:pt x="1363715" y="3518816"/>
                  <a:pt x="1358924" y="3523606"/>
                  <a:pt x="1352977" y="3523606"/>
                </a:cubicBezTo>
                <a:cubicBezTo>
                  <a:pt x="1347031" y="3523606"/>
                  <a:pt x="1342241" y="3518816"/>
                  <a:pt x="1342241" y="3512870"/>
                </a:cubicBezTo>
                <a:cubicBezTo>
                  <a:pt x="1342241" y="3506923"/>
                  <a:pt x="1347031" y="3502134"/>
                  <a:pt x="1352977" y="3502134"/>
                </a:cubicBezTo>
                <a:close/>
                <a:moveTo>
                  <a:pt x="71172" y="3501638"/>
                </a:moveTo>
                <a:cubicBezTo>
                  <a:pt x="77119" y="3501638"/>
                  <a:pt x="81909" y="3506427"/>
                  <a:pt x="81909" y="3512374"/>
                </a:cubicBezTo>
                <a:cubicBezTo>
                  <a:pt x="81909" y="3518320"/>
                  <a:pt x="77119" y="3523110"/>
                  <a:pt x="71172" y="3523110"/>
                </a:cubicBezTo>
                <a:cubicBezTo>
                  <a:pt x="65226" y="3523110"/>
                  <a:pt x="60436" y="3518320"/>
                  <a:pt x="60436" y="3512374"/>
                </a:cubicBezTo>
                <a:cubicBezTo>
                  <a:pt x="60436" y="3506427"/>
                  <a:pt x="65226" y="3501638"/>
                  <a:pt x="71172" y="3501638"/>
                </a:cubicBezTo>
                <a:close/>
                <a:moveTo>
                  <a:pt x="3636775" y="3500316"/>
                </a:moveTo>
                <a:cubicBezTo>
                  <a:pt x="3642722" y="3500316"/>
                  <a:pt x="3647511" y="3505106"/>
                  <a:pt x="3647511" y="3511053"/>
                </a:cubicBezTo>
                <a:cubicBezTo>
                  <a:pt x="3647511" y="3516999"/>
                  <a:pt x="3642722" y="3521791"/>
                  <a:pt x="3636775" y="3521791"/>
                </a:cubicBezTo>
                <a:cubicBezTo>
                  <a:pt x="3630828" y="3521791"/>
                  <a:pt x="3626039" y="3516999"/>
                  <a:pt x="3626039" y="3511053"/>
                </a:cubicBezTo>
                <a:cubicBezTo>
                  <a:pt x="3626039" y="3505106"/>
                  <a:pt x="3630828" y="3500316"/>
                  <a:pt x="3636775" y="3500316"/>
                </a:cubicBezTo>
                <a:close/>
                <a:moveTo>
                  <a:pt x="615443" y="3499159"/>
                </a:moveTo>
                <a:cubicBezTo>
                  <a:pt x="621390" y="3499159"/>
                  <a:pt x="626181" y="3503949"/>
                  <a:pt x="626181" y="3509896"/>
                </a:cubicBezTo>
                <a:cubicBezTo>
                  <a:pt x="626181" y="3515842"/>
                  <a:pt x="621390" y="3520634"/>
                  <a:pt x="615443" y="3520634"/>
                </a:cubicBezTo>
                <a:cubicBezTo>
                  <a:pt x="609497" y="3520634"/>
                  <a:pt x="604707" y="3515842"/>
                  <a:pt x="604707" y="3509896"/>
                </a:cubicBezTo>
                <a:cubicBezTo>
                  <a:pt x="604707" y="3503949"/>
                  <a:pt x="609497" y="3499159"/>
                  <a:pt x="615443" y="3499159"/>
                </a:cubicBezTo>
                <a:close/>
                <a:moveTo>
                  <a:pt x="3961356" y="3496518"/>
                </a:moveTo>
                <a:cubicBezTo>
                  <a:pt x="3967302" y="3496518"/>
                  <a:pt x="3972092" y="3501308"/>
                  <a:pt x="3972092" y="3507255"/>
                </a:cubicBezTo>
                <a:cubicBezTo>
                  <a:pt x="3972092" y="3513201"/>
                  <a:pt x="3967302" y="3517991"/>
                  <a:pt x="3961356" y="3517991"/>
                </a:cubicBezTo>
                <a:cubicBezTo>
                  <a:pt x="3955409" y="3517991"/>
                  <a:pt x="3950619" y="3513201"/>
                  <a:pt x="3950619" y="3507255"/>
                </a:cubicBezTo>
                <a:cubicBezTo>
                  <a:pt x="3950619" y="3501308"/>
                  <a:pt x="3955409" y="3496518"/>
                  <a:pt x="3961356" y="3496518"/>
                </a:cubicBezTo>
                <a:close/>
                <a:moveTo>
                  <a:pt x="2307396" y="3492883"/>
                </a:moveTo>
                <a:cubicBezTo>
                  <a:pt x="2313342" y="3492883"/>
                  <a:pt x="2318134" y="3497673"/>
                  <a:pt x="2318134" y="3503620"/>
                </a:cubicBezTo>
                <a:cubicBezTo>
                  <a:pt x="2318134" y="3509566"/>
                  <a:pt x="2313342" y="3514356"/>
                  <a:pt x="2307396" y="3514356"/>
                </a:cubicBezTo>
                <a:cubicBezTo>
                  <a:pt x="2301449" y="3514356"/>
                  <a:pt x="2296659" y="3509566"/>
                  <a:pt x="2296659" y="3503620"/>
                </a:cubicBezTo>
                <a:cubicBezTo>
                  <a:pt x="2296659" y="3497673"/>
                  <a:pt x="2301449" y="3492883"/>
                  <a:pt x="2307396" y="3492883"/>
                </a:cubicBezTo>
                <a:close/>
                <a:moveTo>
                  <a:pt x="3314341" y="3487762"/>
                </a:moveTo>
                <a:cubicBezTo>
                  <a:pt x="3320288" y="3487762"/>
                  <a:pt x="3325077" y="3492552"/>
                  <a:pt x="3325077" y="3498499"/>
                </a:cubicBezTo>
                <a:cubicBezTo>
                  <a:pt x="3325077" y="3504445"/>
                  <a:pt x="3320288" y="3509237"/>
                  <a:pt x="3314341" y="3509237"/>
                </a:cubicBezTo>
                <a:cubicBezTo>
                  <a:pt x="3308395" y="3509237"/>
                  <a:pt x="3303605" y="3504445"/>
                  <a:pt x="3303605" y="3498499"/>
                </a:cubicBezTo>
                <a:cubicBezTo>
                  <a:pt x="3303605" y="3492552"/>
                  <a:pt x="3308395" y="3487762"/>
                  <a:pt x="3314341" y="3487762"/>
                </a:cubicBezTo>
                <a:close/>
                <a:moveTo>
                  <a:pt x="1167809" y="3483469"/>
                </a:moveTo>
                <a:cubicBezTo>
                  <a:pt x="1173756" y="3483469"/>
                  <a:pt x="1178548" y="3488258"/>
                  <a:pt x="1178548" y="3494205"/>
                </a:cubicBezTo>
                <a:cubicBezTo>
                  <a:pt x="1178548" y="3500151"/>
                  <a:pt x="1173756" y="3504941"/>
                  <a:pt x="1167809" y="3504941"/>
                </a:cubicBezTo>
                <a:cubicBezTo>
                  <a:pt x="1161863" y="3504941"/>
                  <a:pt x="1157073" y="3500151"/>
                  <a:pt x="1157073" y="3494205"/>
                </a:cubicBezTo>
                <a:cubicBezTo>
                  <a:pt x="1157073" y="3488258"/>
                  <a:pt x="1161863" y="3483469"/>
                  <a:pt x="1167809" y="3483469"/>
                </a:cubicBezTo>
                <a:close/>
                <a:moveTo>
                  <a:pt x="4064594" y="3482147"/>
                </a:moveTo>
                <a:cubicBezTo>
                  <a:pt x="4070540" y="3482147"/>
                  <a:pt x="4075330" y="3486937"/>
                  <a:pt x="4075330" y="3492883"/>
                </a:cubicBezTo>
                <a:cubicBezTo>
                  <a:pt x="4075330" y="3498830"/>
                  <a:pt x="4070540" y="3503622"/>
                  <a:pt x="4064594" y="3503622"/>
                </a:cubicBezTo>
                <a:cubicBezTo>
                  <a:pt x="4058647" y="3503622"/>
                  <a:pt x="4053857" y="3498830"/>
                  <a:pt x="4053857" y="3492883"/>
                </a:cubicBezTo>
                <a:cubicBezTo>
                  <a:pt x="4053857" y="3486937"/>
                  <a:pt x="4058647" y="3482147"/>
                  <a:pt x="4064594" y="3482147"/>
                </a:cubicBezTo>
                <a:close/>
                <a:moveTo>
                  <a:pt x="3023951" y="3479173"/>
                </a:moveTo>
                <a:cubicBezTo>
                  <a:pt x="3029898" y="3479173"/>
                  <a:pt x="3034689" y="3483963"/>
                  <a:pt x="3034689" y="3489909"/>
                </a:cubicBezTo>
                <a:cubicBezTo>
                  <a:pt x="3034689" y="3495856"/>
                  <a:pt x="3029898" y="3500647"/>
                  <a:pt x="3023951" y="3500647"/>
                </a:cubicBezTo>
                <a:cubicBezTo>
                  <a:pt x="3018005" y="3500647"/>
                  <a:pt x="3013215" y="3495856"/>
                  <a:pt x="3013215" y="3489909"/>
                </a:cubicBezTo>
                <a:cubicBezTo>
                  <a:pt x="3013215" y="3483963"/>
                  <a:pt x="3018005" y="3479173"/>
                  <a:pt x="3023951" y="3479173"/>
                </a:cubicBezTo>
                <a:close/>
                <a:moveTo>
                  <a:pt x="3883061" y="3479008"/>
                </a:moveTo>
                <a:cubicBezTo>
                  <a:pt x="3889007" y="3479008"/>
                  <a:pt x="3893797" y="3483798"/>
                  <a:pt x="3893797" y="3489745"/>
                </a:cubicBezTo>
                <a:cubicBezTo>
                  <a:pt x="3893797" y="3495691"/>
                  <a:pt x="3889007" y="3500483"/>
                  <a:pt x="3883061" y="3500483"/>
                </a:cubicBezTo>
                <a:cubicBezTo>
                  <a:pt x="3877114" y="3500483"/>
                  <a:pt x="3872324" y="3495691"/>
                  <a:pt x="3872324" y="3489745"/>
                </a:cubicBezTo>
                <a:cubicBezTo>
                  <a:pt x="3872324" y="3483798"/>
                  <a:pt x="3877114" y="3479008"/>
                  <a:pt x="3883061" y="3479008"/>
                </a:cubicBezTo>
                <a:close/>
                <a:moveTo>
                  <a:pt x="3916758" y="3478183"/>
                </a:moveTo>
                <a:cubicBezTo>
                  <a:pt x="3922704" y="3478183"/>
                  <a:pt x="3927496" y="3482973"/>
                  <a:pt x="3927496" y="3488919"/>
                </a:cubicBezTo>
                <a:cubicBezTo>
                  <a:pt x="3927496" y="3494866"/>
                  <a:pt x="3922704" y="3499655"/>
                  <a:pt x="3916758" y="3499655"/>
                </a:cubicBezTo>
                <a:cubicBezTo>
                  <a:pt x="3910811" y="3499655"/>
                  <a:pt x="3906021" y="3494866"/>
                  <a:pt x="3906021" y="3488919"/>
                </a:cubicBezTo>
                <a:cubicBezTo>
                  <a:pt x="3906021" y="3482973"/>
                  <a:pt x="3910811" y="3478183"/>
                  <a:pt x="3916758" y="3478183"/>
                </a:cubicBezTo>
                <a:close/>
                <a:moveTo>
                  <a:pt x="4025117" y="3477687"/>
                </a:moveTo>
                <a:lnTo>
                  <a:pt x="4034780" y="3487350"/>
                </a:lnTo>
                <a:lnTo>
                  <a:pt x="4043617" y="3478512"/>
                </a:lnTo>
                <a:cubicBezTo>
                  <a:pt x="4049564" y="3478512"/>
                  <a:pt x="4054353" y="3483302"/>
                  <a:pt x="4054353" y="3489249"/>
                </a:cubicBezTo>
                <a:cubicBezTo>
                  <a:pt x="4054353" y="3495195"/>
                  <a:pt x="4049564" y="3499987"/>
                  <a:pt x="4043617" y="3499987"/>
                </a:cubicBezTo>
                <a:lnTo>
                  <a:pt x="4033954" y="3490322"/>
                </a:lnTo>
                <a:lnTo>
                  <a:pt x="4025117" y="3499159"/>
                </a:lnTo>
                <a:lnTo>
                  <a:pt x="4017684" y="3491727"/>
                </a:lnTo>
                <a:lnTo>
                  <a:pt x="4008434" y="3500979"/>
                </a:lnTo>
                <a:lnTo>
                  <a:pt x="4002571" y="3495114"/>
                </a:lnTo>
                <a:lnTo>
                  <a:pt x="3992741" y="3504941"/>
                </a:lnTo>
                <a:lnTo>
                  <a:pt x="3988116" y="3500316"/>
                </a:lnTo>
                <a:lnTo>
                  <a:pt x="3977544" y="3510890"/>
                </a:lnTo>
                <a:cubicBezTo>
                  <a:pt x="3971598" y="3510890"/>
                  <a:pt x="3966808" y="3506098"/>
                  <a:pt x="3966808" y="3500151"/>
                </a:cubicBezTo>
                <a:cubicBezTo>
                  <a:pt x="3966808" y="3494205"/>
                  <a:pt x="3971598" y="3489415"/>
                  <a:pt x="3977544" y="3489415"/>
                </a:cubicBezTo>
                <a:lnTo>
                  <a:pt x="3982170" y="3494040"/>
                </a:lnTo>
                <a:lnTo>
                  <a:pt x="3992741" y="3483469"/>
                </a:lnTo>
                <a:lnTo>
                  <a:pt x="3998606" y="3489332"/>
                </a:lnTo>
                <a:lnTo>
                  <a:pt x="4008434" y="3479504"/>
                </a:lnTo>
                <a:lnTo>
                  <a:pt x="4015867" y="3486937"/>
                </a:lnTo>
                <a:close/>
                <a:moveTo>
                  <a:pt x="3543448" y="3477191"/>
                </a:moveTo>
                <a:cubicBezTo>
                  <a:pt x="3549395" y="3477191"/>
                  <a:pt x="3554184" y="3481981"/>
                  <a:pt x="3554184" y="3487927"/>
                </a:cubicBezTo>
                <a:cubicBezTo>
                  <a:pt x="3554184" y="3493874"/>
                  <a:pt x="3549395" y="3498663"/>
                  <a:pt x="3543448" y="3498663"/>
                </a:cubicBezTo>
                <a:cubicBezTo>
                  <a:pt x="3537501" y="3498663"/>
                  <a:pt x="3532712" y="3493874"/>
                  <a:pt x="3532712" y="3487927"/>
                </a:cubicBezTo>
                <a:cubicBezTo>
                  <a:pt x="3532712" y="3481981"/>
                  <a:pt x="3537501" y="3477191"/>
                  <a:pt x="3543448" y="3477191"/>
                </a:cubicBezTo>
                <a:close/>
                <a:moveTo>
                  <a:pt x="3840443" y="3476034"/>
                </a:moveTo>
                <a:cubicBezTo>
                  <a:pt x="3846390" y="3476034"/>
                  <a:pt x="3851181" y="3480824"/>
                  <a:pt x="3851181" y="3486770"/>
                </a:cubicBezTo>
                <a:cubicBezTo>
                  <a:pt x="3851181" y="3492717"/>
                  <a:pt x="3846390" y="3497509"/>
                  <a:pt x="3840443" y="3497509"/>
                </a:cubicBezTo>
                <a:cubicBezTo>
                  <a:pt x="3834497" y="3497509"/>
                  <a:pt x="3829707" y="3492717"/>
                  <a:pt x="3829707" y="3486770"/>
                </a:cubicBezTo>
                <a:cubicBezTo>
                  <a:pt x="3829707" y="3480824"/>
                  <a:pt x="3834497" y="3476034"/>
                  <a:pt x="3840443" y="3476034"/>
                </a:cubicBezTo>
                <a:close/>
                <a:moveTo>
                  <a:pt x="3943351" y="3474548"/>
                </a:moveTo>
                <a:cubicBezTo>
                  <a:pt x="3949298" y="3474548"/>
                  <a:pt x="3954088" y="3479338"/>
                  <a:pt x="3954088" y="3485284"/>
                </a:cubicBezTo>
                <a:cubicBezTo>
                  <a:pt x="3954088" y="3491231"/>
                  <a:pt x="3949298" y="3496021"/>
                  <a:pt x="3943351" y="3496021"/>
                </a:cubicBezTo>
                <a:cubicBezTo>
                  <a:pt x="3937405" y="3496021"/>
                  <a:pt x="3932615" y="3491231"/>
                  <a:pt x="3932615" y="3485284"/>
                </a:cubicBezTo>
                <a:cubicBezTo>
                  <a:pt x="3932615" y="3479338"/>
                  <a:pt x="3937405" y="3474548"/>
                  <a:pt x="3943351" y="3474548"/>
                </a:cubicBezTo>
                <a:close/>
                <a:moveTo>
                  <a:pt x="2489095" y="3471080"/>
                </a:moveTo>
                <a:cubicBezTo>
                  <a:pt x="2495042" y="3471080"/>
                  <a:pt x="2499833" y="3475869"/>
                  <a:pt x="2499833" y="3481816"/>
                </a:cubicBezTo>
                <a:cubicBezTo>
                  <a:pt x="2499833" y="3487762"/>
                  <a:pt x="2495042" y="3492552"/>
                  <a:pt x="2489095" y="3492552"/>
                </a:cubicBezTo>
                <a:cubicBezTo>
                  <a:pt x="2483149" y="3492552"/>
                  <a:pt x="2478359" y="3487762"/>
                  <a:pt x="2478359" y="3481816"/>
                </a:cubicBezTo>
                <a:cubicBezTo>
                  <a:pt x="2478359" y="3475869"/>
                  <a:pt x="2483149" y="3471080"/>
                  <a:pt x="2489095" y="3471080"/>
                </a:cubicBezTo>
                <a:close/>
                <a:moveTo>
                  <a:pt x="3964824" y="3469429"/>
                </a:moveTo>
                <a:cubicBezTo>
                  <a:pt x="3970771" y="3469429"/>
                  <a:pt x="3975562" y="3474218"/>
                  <a:pt x="3975562" y="3480165"/>
                </a:cubicBezTo>
                <a:cubicBezTo>
                  <a:pt x="3975562" y="3486111"/>
                  <a:pt x="3970771" y="3490901"/>
                  <a:pt x="3964824" y="3490901"/>
                </a:cubicBezTo>
                <a:cubicBezTo>
                  <a:pt x="3958878" y="3490901"/>
                  <a:pt x="3954088" y="3486111"/>
                  <a:pt x="3954088" y="3480165"/>
                </a:cubicBezTo>
                <a:cubicBezTo>
                  <a:pt x="3954088" y="3474218"/>
                  <a:pt x="3958878" y="3469429"/>
                  <a:pt x="3964824" y="3469429"/>
                </a:cubicBezTo>
                <a:close/>
                <a:moveTo>
                  <a:pt x="3787091" y="3467941"/>
                </a:moveTo>
                <a:cubicBezTo>
                  <a:pt x="3793037" y="3467941"/>
                  <a:pt x="3797827" y="3472730"/>
                  <a:pt x="3797827" y="3478677"/>
                </a:cubicBezTo>
                <a:cubicBezTo>
                  <a:pt x="3797827" y="3484624"/>
                  <a:pt x="3793037" y="3489413"/>
                  <a:pt x="3787091" y="3489413"/>
                </a:cubicBezTo>
                <a:cubicBezTo>
                  <a:pt x="3781144" y="3489413"/>
                  <a:pt x="3776354" y="3484624"/>
                  <a:pt x="3776354" y="3478677"/>
                </a:cubicBezTo>
                <a:cubicBezTo>
                  <a:pt x="3776354" y="3472730"/>
                  <a:pt x="3781144" y="3467941"/>
                  <a:pt x="3787091" y="3467941"/>
                </a:cubicBezTo>
                <a:close/>
                <a:moveTo>
                  <a:pt x="191093" y="3467446"/>
                </a:moveTo>
                <a:cubicBezTo>
                  <a:pt x="197039" y="3467446"/>
                  <a:pt x="201831" y="3472236"/>
                  <a:pt x="201831" y="3478183"/>
                </a:cubicBezTo>
                <a:cubicBezTo>
                  <a:pt x="201831" y="3484129"/>
                  <a:pt x="197039" y="3488919"/>
                  <a:pt x="191093" y="3488919"/>
                </a:cubicBezTo>
                <a:cubicBezTo>
                  <a:pt x="185146" y="3488919"/>
                  <a:pt x="180357" y="3484129"/>
                  <a:pt x="180357" y="3478183"/>
                </a:cubicBezTo>
                <a:cubicBezTo>
                  <a:pt x="180357" y="3472236"/>
                  <a:pt x="185146" y="3467446"/>
                  <a:pt x="191093" y="3467446"/>
                </a:cubicBezTo>
                <a:close/>
                <a:moveTo>
                  <a:pt x="470248" y="3461169"/>
                </a:moveTo>
                <a:cubicBezTo>
                  <a:pt x="476195" y="3461169"/>
                  <a:pt x="480987" y="3465958"/>
                  <a:pt x="480987" y="3471905"/>
                </a:cubicBezTo>
                <a:cubicBezTo>
                  <a:pt x="480987" y="3477852"/>
                  <a:pt x="476195" y="3482641"/>
                  <a:pt x="470248" y="3482641"/>
                </a:cubicBezTo>
                <a:cubicBezTo>
                  <a:pt x="464302" y="3482641"/>
                  <a:pt x="459512" y="3477852"/>
                  <a:pt x="459512" y="3471905"/>
                </a:cubicBezTo>
                <a:cubicBezTo>
                  <a:pt x="459512" y="3465958"/>
                  <a:pt x="464302" y="3461169"/>
                  <a:pt x="470248" y="3461169"/>
                </a:cubicBezTo>
                <a:close/>
                <a:moveTo>
                  <a:pt x="989249" y="3459022"/>
                </a:moveTo>
                <a:cubicBezTo>
                  <a:pt x="995195" y="3459022"/>
                  <a:pt x="999987" y="3463812"/>
                  <a:pt x="999987" y="3469758"/>
                </a:cubicBezTo>
                <a:cubicBezTo>
                  <a:pt x="999987" y="3475705"/>
                  <a:pt x="995195" y="3480496"/>
                  <a:pt x="989249" y="3480496"/>
                </a:cubicBezTo>
                <a:cubicBezTo>
                  <a:pt x="983302" y="3480496"/>
                  <a:pt x="978513" y="3475705"/>
                  <a:pt x="978513" y="3469758"/>
                </a:cubicBezTo>
                <a:cubicBezTo>
                  <a:pt x="978513" y="3463812"/>
                  <a:pt x="983302" y="3459022"/>
                  <a:pt x="989249" y="3459022"/>
                </a:cubicBezTo>
                <a:close/>
                <a:moveTo>
                  <a:pt x="4096971" y="3458030"/>
                </a:moveTo>
                <a:cubicBezTo>
                  <a:pt x="4101988" y="3458030"/>
                  <a:pt x="4106056" y="3462096"/>
                  <a:pt x="4106056" y="3467115"/>
                </a:cubicBezTo>
                <a:cubicBezTo>
                  <a:pt x="4106056" y="3472132"/>
                  <a:pt x="4101988" y="3476199"/>
                  <a:pt x="4096971" y="3476199"/>
                </a:cubicBezTo>
                <a:cubicBezTo>
                  <a:pt x="4091954" y="3476199"/>
                  <a:pt x="4087886" y="3472132"/>
                  <a:pt x="4087886" y="3467115"/>
                </a:cubicBezTo>
                <a:cubicBezTo>
                  <a:pt x="4087886" y="3462096"/>
                  <a:pt x="4091954" y="3458030"/>
                  <a:pt x="4096971" y="3458030"/>
                </a:cubicBezTo>
                <a:close/>
                <a:moveTo>
                  <a:pt x="3720522" y="3453571"/>
                </a:moveTo>
                <a:cubicBezTo>
                  <a:pt x="3726469" y="3453571"/>
                  <a:pt x="3731259" y="3458361"/>
                  <a:pt x="3731259" y="3464308"/>
                </a:cubicBezTo>
                <a:cubicBezTo>
                  <a:pt x="3731259" y="3470254"/>
                  <a:pt x="3726469" y="3475044"/>
                  <a:pt x="3720522" y="3475044"/>
                </a:cubicBezTo>
                <a:cubicBezTo>
                  <a:pt x="3714576" y="3475044"/>
                  <a:pt x="3709786" y="3470254"/>
                  <a:pt x="3709786" y="3464308"/>
                </a:cubicBezTo>
                <a:cubicBezTo>
                  <a:pt x="3709786" y="3458361"/>
                  <a:pt x="3714576" y="3453571"/>
                  <a:pt x="3720522" y="3453571"/>
                </a:cubicBezTo>
                <a:close/>
                <a:moveTo>
                  <a:pt x="4075497" y="3450432"/>
                </a:moveTo>
                <a:cubicBezTo>
                  <a:pt x="4081443" y="3450432"/>
                  <a:pt x="4086233" y="3455222"/>
                  <a:pt x="4086233" y="3461169"/>
                </a:cubicBezTo>
                <a:cubicBezTo>
                  <a:pt x="4086233" y="3467115"/>
                  <a:pt x="4081443" y="3471905"/>
                  <a:pt x="4075497" y="3471905"/>
                </a:cubicBezTo>
                <a:cubicBezTo>
                  <a:pt x="4069550" y="3471905"/>
                  <a:pt x="4064760" y="3467115"/>
                  <a:pt x="4064760" y="3461169"/>
                </a:cubicBezTo>
                <a:cubicBezTo>
                  <a:pt x="4064760" y="3455222"/>
                  <a:pt x="4069550" y="3450432"/>
                  <a:pt x="4075497" y="3450432"/>
                </a:cubicBezTo>
                <a:close/>
                <a:moveTo>
                  <a:pt x="4040478" y="3446797"/>
                </a:moveTo>
                <a:lnTo>
                  <a:pt x="4048903" y="3455222"/>
                </a:lnTo>
                <a:lnTo>
                  <a:pt x="4056831" y="3447293"/>
                </a:lnTo>
                <a:cubicBezTo>
                  <a:pt x="4062778" y="3447293"/>
                  <a:pt x="4067570" y="3452083"/>
                  <a:pt x="4067570" y="3458030"/>
                </a:cubicBezTo>
                <a:cubicBezTo>
                  <a:pt x="4067570" y="3463976"/>
                  <a:pt x="4062778" y="3468766"/>
                  <a:pt x="4056831" y="3468766"/>
                </a:cubicBezTo>
                <a:lnTo>
                  <a:pt x="4048407" y="3460341"/>
                </a:lnTo>
                <a:lnTo>
                  <a:pt x="4040478" y="3468270"/>
                </a:lnTo>
                <a:lnTo>
                  <a:pt x="4034119" y="3461913"/>
                </a:lnTo>
                <a:lnTo>
                  <a:pt x="4025777" y="3470252"/>
                </a:lnTo>
                <a:lnTo>
                  <a:pt x="4020740" y="3465216"/>
                </a:lnTo>
                <a:lnTo>
                  <a:pt x="4011902" y="3474052"/>
                </a:lnTo>
                <a:lnTo>
                  <a:pt x="4007360" y="3469510"/>
                </a:lnTo>
                <a:lnTo>
                  <a:pt x="3997696" y="3479173"/>
                </a:lnTo>
                <a:lnTo>
                  <a:pt x="3992989" y="3474466"/>
                </a:lnTo>
                <a:lnTo>
                  <a:pt x="3982499" y="3484955"/>
                </a:lnTo>
                <a:cubicBezTo>
                  <a:pt x="3976553" y="3484955"/>
                  <a:pt x="3971763" y="3480165"/>
                  <a:pt x="3971763" y="3474218"/>
                </a:cubicBezTo>
                <a:cubicBezTo>
                  <a:pt x="3971763" y="3468272"/>
                  <a:pt x="3976553" y="3463482"/>
                  <a:pt x="3982499" y="3463482"/>
                </a:cubicBezTo>
                <a:lnTo>
                  <a:pt x="3987207" y="3468190"/>
                </a:lnTo>
                <a:lnTo>
                  <a:pt x="3997696" y="3457700"/>
                </a:lnTo>
                <a:lnTo>
                  <a:pt x="4002238" y="3462244"/>
                </a:lnTo>
                <a:lnTo>
                  <a:pt x="4011902" y="3452579"/>
                </a:lnTo>
                <a:lnTo>
                  <a:pt x="4016940" y="3457617"/>
                </a:lnTo>
                <a:lnTo>
                  <a:pt x="4025777" y="3448780"/>
                </a:lnTo>
                <a:lnTo>
                  <a:pt x="4032137" y="3455139"/>
                </a:lnTo>
                <a:close/>
                <a:moveTo>
                  <a:pt x="3430629" y="3443825"/>
                </a:moveTo>
                <a:cubicBezTo>
                  <a:pt x="3436575" y="3443825"/>
                  <a:pt x="3441367" y="3448615"/>
                  <a:pt x="3441367" y="3454561"/>
                </a:cubicBezTo>
                <a:cubicBezTo>
                  <a:pt x="3441367" y="3460508"/>
                  <a:pt x="3436575" y="3465298"/>
                  <a:pt x="3430629" y="3465298"/>
                </a:cubicBezTo>
                <a:cubicBezTo>
                  <a:pt x="3424682" y="3465298"/>
                  <a:pt x="3419892" y="3460508"/>
                  <a:pt x="3419892" y="3454561"/>
                </a:cubicBezTo>
                <a:cubicBezTo>
                  <a:pt x="3419892" y="3448615"/>
                  <a:pt x="3424682" y="3443825"/>
                  <a:pt x="3430629" y="3443825"/>
                </a:cubicBezTo>
                <a:close/>
                <a:moveTo>
                  <a:pt x="2663691" y="3443825"/>
                </a:moveTo>
                <a:cubicBezTo>
                  <a:pt x="2669638" y="3443825"/>
                  <a:pt x="2674429" y="3448615"/>
                  <a:pt x="2674429" y="3454561"/>
                </a:cubicBezTo>
                <a:cubicBezTo>
                  <a:pt x="2674429" y="3460508"/>
                  <a:pt x="2669638" y="3465298"/>
                  <a:pt x="2663691" y="3465298"/>
                </a:cubicBezTo>
                <a:cubicBezTo>
                  <a:pt x="2657745" y="3465298"/>
                  <a:pt x="2652955" y="3460508"/>
                  <a:pt x="2652955" y="3454561"/>
                </a:cubicBezTo>
                <a:cubicBezTo>
                  <a:pt x="2652955" y="3448615"/>
                  <a:pt x="2657745" y="3443825"/>
                  <a:pt x="2663691" y="3443825"/>
                </a:cubicBezTo>
                <a:close/>
                <a:moveTo>
                  <a:pt x="4128851" y="3441843"/>
                </a:moveTo>
                <a:cubicBezTo>
                  <a:pt x="4129216" y="3441843"/>
                  <a:pt x="4129511" y="3442139"/>
                  <a:pt x="4129511" y="3442504"/>
                </a:cubicBezTo>
                <a:cubicBezTo>
                  <a:pt x="4129511" y="3442868"/>
                  <a:pt x="4129216" y="3443164"/>
                  <a:pt x="4128851" y="3443164"/>
                </a:cubicBezTo>
                <a:cubicBezTo>
                  <a:pt x="4128486" y="3443164"/>
                  <a:pt x="4128190" y="3442868"/>
                  <a:pt x="4128190" y="3442504"/>
                </a:cubicBezTo>
                <a:cubicBezTo>
                  <a:pt x="4128190" y="3442139"/>
                  <a:pt x="4128486" y="3441843"/>
                  <a:pt x="4128851" y="3441843"/>
                </a:cubicBezTo>
                <a:close/>
                <a:moveTo>
                  <a:pt x="3164192" y="3439861"/>
                </a:moveTo>
                <a:cubicBezTo>
                  <a:pt x="3170138" y="3439861"/>
                  <a:pt x="3174930" y="3444651"/>
                  <a:pt x="3174930" y="3450597"/>
                </a:cubicBezTo>
                <a:cubicBezTo>
                  <a:pt x="3174930" y="3456544"/>
                  <a:pt x="3170138" y="3461335"/>
                  <a:pt x="3164192" y="3461335"/>
                </a:cubicBezTo>
                <a:cubicBezTo>
                  <a:pt x="3158245" y="3461335"/>
                  <a:pt x="3153455" y="3456544"/>
                  <a:pt x="3153455" y="3450597"/>
                </a:cubicBezTo>
                <a:cubicBezTo>
                  <a:pt x="3153455" y="3444651"/>
                  <a:pt x="3158245" y="3439861"/>
                  <a:pt x="3164192" y="3439861"/>
                </a:cubicBezTo>
                <a:close/>
                <a:moveTo>
                  <a:pt x="3964495" y="3433748"/>
                </a:moveTo>
                <a:cubicBezTo>
                  <a:pt x="3970441" y="3433748"/>
                  <a:pt x="3975231" y="3438537"/>
                  <a:pt x="3975231" y="3444484"/>
                </a:cubicBezTo>
                <a:cubicBezTo>
                  <a:pt x="3975231" y="3450431"/>
                  <a:pt x="3970441" y="3455222"/>
                  <a:pt x="3964495" y="3455222"/>
                </a:cubicBezTo>
                <a:cubicBezTo>
                  <a:pt x="3958548" y="3455222"/>
                  <a:pt x="3953758" y="3450431"/>
                  <a:pt x="3953758" y="3444484"/>
                </a:cubicBezTo>
                <a:cubicBezTo>
                  <a:pt x="3953758" y="3438537"/>
                  <a:pt x="3958548" y="3433748"/>
                  <a:pt x="3964495" y="3433748"/>
                </a:cubicBezTo>
                <a:close/>
                <a:moveTo>
                  <a:pt x="3936413" y="3433418"/>
                </a:moveTo>
                <a:cubicBezTo>
                  <a:pt x="3942360" y="3433418"/>
                  <a:pt x="3947151" y="3438208"/>
                  <a:pt x="3947151" y="3444155"/>
                </a:cubicBezTo>
                <a:cubicBezTo>
                  <a:pt x="3947151" y="3450101"/>
                  <a:pt x="3942360" y="3454891"/>
                  <a:pt x="3936413" y="3454891"/>
                </a:cubicBezTo>
                <a:cubicBezTo>
                  <a:pt x="3930466" y="3454891"/>
                  <a:pt x="3925677" y="3450101"/>
                  <a:pt x="3925677" y="3444155"/>
                </a:cubicBezTo>
                <a:cubicBezTo>
                  <a:pt x="3925677" y="3438208"/>
                  <a:pt x="3930466" y="3433418"/>
                  <a:pt x="3936413" y="3433418"/>
                </a:cubicBezTo>
                <a:close/>
                <a:moveTo>
                  <a:pt x="3638592" y="3431105"/>
                </a:moveTo>
                <a:cubicBezTo>
                  <a:pt x="3644539" y="3431105"/>
                  <a:pt x="3649331" y="3435895"/>
                  <a:pt x="3649331" y="3441841"/>
                </a:cubicBezTo>
                <a:cubicBezTo>
                  <a:pt x="3649331" y="3447788"/>
                  <a:pt x="3644539" y="3452579"/>
                  <a:pt x="3638592" y="3452579"/>
                </a:cubicBezTo>
                <a:cubicBezTo>
                  <a:pt x="3632646" y="3452579"/>
                  <a:pt x="3627856" y="3447788"/>
                  <a:pt x="3627856" y="3441841"/>
                </a:cubicBezTo>
                <a:cubicBezTo>
                  <a:pt x="3627856" y="3435895"/>
                  <a:pt x="3632646" y="3431105"/>
                  <a:pt x="3638592" y="3431105"/>
                </a:cubicBezTo>
                <a:close/>
                <a:moveTo>
                  <a:pt x="3900569" y="3429785"/>
                </a:moveTo>
                <a:cubicBezTo>
                  <a:pt x="3906516" y="3429785"/>
                  <a:pt x="3911305" y="3434575"/>
                  <a:pt x="3911305" y="3440521"/>
                </a:cubicBezTo>
                <a:cubicBezTo>
                  <a:pt x="3911305" y="3446468"/>
                  <a:pt x="3906516" y="3451258"/>
                  <a:pt x="3900569" y="3451258"/>
                </a:cubicBezTo>
                <a:cubicBezTo>
                  <a:pt x="3894623" y="3451258"/>
                  <a:pt x="3889833" y="3446468"/>
                  <a:pt x="3889833" y="3440521"/>
                </a:cubicBezTo>
                <a:cubicBezTo>
                  <a:pt x="3889833" y="3434575"/>
                  <a:pt x="3894623" y="3429785"/>
                  <a:pt x="3900569" y="3429785"/>
                </a:cubicBezTo>
                <a:close/>
                <a:moveTo>
                  <a:pt x="818452" y="3429619"/>
                </a:moveTo>
                <a:cubicBezTo>
                  <a:pt x="824399" y="3429619"/>
                  <a:pt x="829189" y="3434408"/>
                  <a:pt x="829189" y="3440355"/>
                </a:cubicBezTo>
                <a:cubicBezTo>
                  <a:pt x="829189" y="3446301"/>
                  <a:pt x="824399" y="3451093"/>
                  <a:pt x="818452" y="3451093"/>
                </a:cubicBezTo>
                <a:cubicBezTo>
                  <a:pt x="812506" y="3451093"/>
                  <a:pt x="807716" y="3446301"/>
                  <a:pt x="807716" y="3440355"/>
                </a:cubicBezTo>
                <a:cubicBezTo>
                  <a:pt x="807716" y="3434408"/>
                  <a:pt x="812506" y="3429619"/>
                  <a:pt x="818452" y="3429619"/>
                </a:cubicBezTo>
                <a:close/>
                <a:moveTo>
                  <a:pt x="4106880" y="3423507"/>
                </a:moveTo>
                <a:cubicBezTo>
                  <a:pt x="4112827" y="3423507"/>
                  <a:pt x="4117618" y="3428297"/>
                  <a:pt x="4117618" y="3434244"/>
                </a:cubicBezTo>
                <a:cubicBezTo>
                  <a:pt x="4117618" y="3440190"/>
                  <a:pt x="4112827" y="3444980"/>
                  <a:pt x="4106880" y="3444980"/>
                </a:cubicBezTo>
                <a:cubicBezTo>
                  <a:pt x="4100934" y="3444980"/>
                  <a:pt x="4096144" y="3440190"/>
                  <a:pt x="4096144" y="3434244"/>
                </a:cubicBezTo>
                <a:cubicBezTo>
                  <a:pt x="4096144" y="3428297"/>
                  <a:pt x="4100934" y="3423507"/>
                  <a:pt x="4106880" y="3423507"/>
                </a:cubicBezTo>
                <a:close/>
                <a:moveTo>
                  <a:pt x="78770" y="3423178"/>
                </a:moveTo>
                <a:cubicBezTo>
                  <a:pt x="84716" y="3423178"/>
                  <a:pt x="89506" y="3427968"/>
                  <a:pt x="89506" y="3433914"/>
                </a:cubicBezTo>
                <a:cubicBezTo>
                  <a:pt x="89506" y="3439861"/>
                  <a:pt x="84716" y="3444651"/>
                  <a:pt x="78770" y="3444651"/>
                </a:cubicBezTo>
                <a:cubicBezTo>
                  <a:pt x="72823" y="3444651"/>
                  <a:pt x="68033" y="3439861"/>
                  <a:pt x="68033" y="3433914"/>
                </a:cubicBezTo>
                <a:cubicBezTo>
                  <a:pt x="68033" y="3427968"/>
                  <a:pt x="72823" y="3423178"/>
                  <a:pt x="78770" y="3423178"/>
                </a:cubicBezTo>
                <a:close/>
                <a:moveTo>
                  <a:pt x="3855146" y="3421360"/>
                </a:moveTo>
                <a:cubicBezTo>
                  <a:pt x="3861092" y="3421360"/>
                  <a:pt x="3865882" y="3426150"/>
                  <a:pt x="3865882" y="3432097"/>
                </a:cubicBezTo>
                <a:cubicBezTo>
                  <a:pt x="3865882" y="3438043"/>
                  <a:pt x="3861092" y="3442835"/>
                  <a:pt x="3855146" y="3442835"/>
                </a:cubicBezTo>
                <a:cubicBezTo>
                  <a:pt x="3849199" y="3442835"/>
                  <a:pt x="3844409" y="3438043"/>
                  <a:pt x="3844409" y="3432097"/>
                </a:cubicBezTo>
                <a:cubicBezTo>
                  <a:pt x="3844409" y="3426150"/>
                  <a:pt x="3849199" y="3421360"/>
                  <a:pt x="3855146" y="3421360"/>
                </a:cubicBezTo>
                <a:close/>
                <a:moveTo>
                  <a:pt x="334141" y="3420864"/>
                </a:moveTo>
                <a:cubicBezTo>
                  <a:pt x="340087" y="3420864"/>
                  <a:pt x="344877" y="3425654"/>
                  <a:pt x="344877" y="3431601"/>
                </a:cubicBezTo>
                <a:cubicBezTo>
                  <a:pt x="344877" y="3437547"/>
                  <a:pt x="340087" y="3442337"/>
                  <a:pt x="334141" y="3442337"/>
                </a:cubicBezTo>
                <a:cubicBezTo>
                  <a:pt x="328194" y="3442337"/>
                  <a:pt x="323404" y="3437547"/>
                  <a:pt x="323404" y="3431601"/>
                </a:cubicBezTo>
                <a:cubicBezTo>
                  <a:pt x="323404" y="3425654"/>
                  <a:pt x="328194" y="3420864"/>
                  <a:pt x="334141" y="3420864"/>
                </a:cubicBezTo>
                <a:close/>
                <a:moveTo>
                  <a:pt x="4057326" y="3415249"/>
                </a:moveTo>
                <a:lnTo>
                  <a:pt x="4064677" y="3422599"/>
                </a:lnTo>
                <a:lnTo>
                  <a:pt x="4071697" y="3415579"/>
                </a:lnTo>
                <a:lnTo>
                  <a:pt x="4081114" y="3424993"/>
                </a:lnTo>
                <a:lnTo>
                  <a:pt x="4087886" y="3418221"/>
                </a:lnTo>
                <a:cubicBezTo>
                  <a:pt x="4093832" y="3418221"/>
                  <a:pt x="4098622" y="3423011"/>
                  <a:pt x="4098622" y="3428958"/>
                </a:cubicBezTo>
                <a:cubicBezTo>
                  <a:pt x="4098622" y="3434904"/>
                  <a:pt x="4093832" y="3439696"/>
                  <a:pt x="4087886" y="3439696"/>
                </a:cubicBezTo>
                <a:lnTo>
                  <a:pt x="4078471" y="3430279"/>
                </a:lnTo>
                <a:lnTo>
                  <a:pt x="4071697" y="3437053"/>
                </a:lnTo>
                <a:lnTo>
                  <a:pt x="4064347" y="3429702"/>
                </a:lnTo>
                <a:lnTo>
                  <a:pt x="4057326" y="3436722"/>
                </a:lnTo>
                <a:lnTo>
                  <a:pt x="4051627" y="3431025"/>
                </a:lnTo>
                <a:lnTo>
                  <a:pt x="4044442" y="3438208"/>
                </a:lnTo>
                <a:lnTo>
                  <a:pt x="4039736" y="3433501"/>
                </a:lnTo>
                <a:lnTo>
                  <a:pt x="4031889" y="3441347"/>
                </a:lnTo>
                <a:lnTo>
                  <a:pt x="4027428" y="3436887"/>
                </a:lnTo>
                <a:lnTo>
                  <a:pt x="4019004" y="3445311"/>
                </a:lnTo>
                <a:lnTo>
                  <a:pt x="4013636" y="3439944"/>
                </a:lnTo>
                <a:lnTo>
                  <a:pt x="4004138" y="3449442"/>
                </a:lnTo>
                <a:lnTo>
                  <a:pt x="3997200" y="3442504"/>
                </a:lnTo>
                <a:lnTo>
                  <a:pt x="3986628" y="3453075"/>
                </a:lnTo>
                <a:cubicBezTo>
                  <a:pt x="3980682" y="3453075"/>
                  <a:pt x="3975892" y="3448284"/>
                  <a:pt x="3975892" y="3442337"/>
                </a:cubicBezTo>
                <a:cubicBezTo>
                  <a:pt x="3975892" y="3436391"/>
                  <a:pt x="3980682" y="3431601"/>
                  <a:pt x="3986628" y="3431601"/>
                </a:cubicBezTo>
                <a:lnTo>
                  <a:pt x="3993567" y="3438539"/>
                </a:lnTo>
                <a:lnTo>
                  <a:pt x="4004138" y="3427968"/>
                </a:lnTo>
                <a:lnTo>
                  <a:pt x="4009506" y="3433335"/>
                </a:lnTo>
                <a:lnTo>
                  <a:pt x="4019004" y="3423837"/>
                </a:lnTo>
                <a:lnTo>
                  <a:pt x="4023466" y="3428299"/>
                </a:lnTo>
                <a:lnTo>
                  <a:pt x="4031889" y="3419874"/>
                </a:lnTo>
                <a:lnTo>
                  <a:pt x="4036597" y="3424582"/>
                </a:lnTo>
                <a:lnTo>
                  <a:pt x="4044442" y="3416735"/>
                </a:lnTo>
                <a:lnTo>
                  <a:pt x="4050141" y="3422434"/>
                </a:lnTo>
                <a:close/>
                <a:moveTo>
                  <a:pt x="2830029" y="3412110"/>
                </a:moveTo>
                <a:cubicBezTo>
                  <a:pt x="2835976" y="3412110"/>
                  <a:pt x="2840766" y="3416900"/>
                  <a:pt x="2840766" y="3422847"/>
                </a:cubicBezTo>
                <a:cubicBezTo>
                  <a:pt x="2840766" y="3428793"/>
                  <a:pt x="2835976" y="3433583"/>
                  <a:pt x="2830029" y="3433583"/>
                </a:cubicBezTo>
                <a:cubicBezTo>
                  <a:pt x="2824083" y="3433583"/>
                  <a:pt x="2819293" y="3428793"/>
                  <a:pt x="2819293" y="3422847"/>
                </a:cubicBezTo>
                <a:cubicBezTo>
                  <a:pt x="2819293" y="3416900"/>
                  <a:pt x="2824083" y="3412110"/>
                  <a:pt x="2830029" y="3412110"/>
                </a:cubicBezTo>
                <a:close/>
                <a:moveTo>
                  <a:pt x="3797662" y="3406660"/>
                </a:moveTo>
                <a:cubicBezTo>
                  <a:pt x="3803593" y="3406660"/>
                  <a:pt x="3808401" y="3411467"/>
                  <a:pt x="3808401" y="3417396"/>
                </a:cubicBezTo>
                <a:cubicBezTo>
                  <a:pt x="3808401" y="3423327"/>
                  <a:pt x="3803593" y="3428134"/>
                  <a:pt x="3797662" y="3428134"/>
                </a:cubicBezTo>
                <a:cubicBezTo>
                  <a:pt x="3791733" y="3428134"/>
                  <a:pt x="3786926" y="3423327"/>
                  <a:pt x="3786926" y="3417396"/>
                </a:cubicBezTo>
                <a:cubicBezTo>
                  <a:pt x="3786926" y="3411467"/>
                  <a:pt x="3791733" y="3406660"/>
                  <a:pt x="3797662" y="3406660"/>
                </a:cubicBezTo>
                <a:close/>
                <a:moveTo>
                  <a:pt x="3538327" y="3399060"/>
                </a:moveTo>
                <a:cubicBezTo>
                  <a:pt x="3544273" y="3399060"/>
                  <a:pt x="3549063" y="3403850"/>
                  <a:pt x="3549063" y="3409797"/>
                </a:cubicBezTo>
                <a:cubicBezTo>
                  <a:pt x="3549063" y="3415743"/>
                  <a:pt x="3544273" y="3420535"/>
                  <a:pt x="3538327" y="3420535"/>
                </a:cubicBezTo>
                <a:cubicBezTo>
                  <a:pt x="3532380" y="3420535"/>
                  <a:pt x="3527591" y="3415743"/>
                  <a:pt x="3527591" y="3409797"/>
                </a:cubicBezTo>
                <a:cubicBezTo>
                  <a:pt x="3527591" y="3403850"/>
                  <a:pt x="3532380" y="3399060"/>
                  <a:pt x="3538327" y="3399060"/>
                </a:cubicBezTo>
                <a:close/>
                <a:moveTo>
                  <a:pt x="3295345" y="3398564"/>
                </a:moveTo>
                <a:cubicBezTo>
                  <a:pt x="3301291" y="3398564"/>
                  <a:pt x="3306083" y="3403354"/>
                  <a:pt x="3306083" y="3409301"/>
                </a:cubicBezTo>
                <a:cubicBezTo>
                  <a:pt x="3306083" y="3415247"/>
                  <a:pt x="3301291" y="3420039"/>
                  <a:pt x="3295345" y="3420039"/>
                </a:cubicBezTo>
                <a:cubicBezTo>
                  <a:pt x="3289398" y="3420039"/>
                  <a:pt x="3284608" y="3415247"/>
                  <a:pt x="3284608" y="3409301"/>
                </a:cubicBezTo>
                <a:cubicBezTo>
                  <a:pt x="3284608" y="3403354"/>
                  <a:pt x="3289398" y="3398564"/>
                  <a:pt x="3295345" y="3398564"/>
                </a:cubicBezTo>
                <a:close/>
                <a:moveTo>
                  <a:pt x="4137771" y="3398070"/>
                </a:moveTo>
                <a:cubicBezTo>
                  <a:pt x="4143518" y="3398070"/>
                  <a:pt x="4148176" y="3402730"/>
                  <a:pt x="4148176" y="3408477"/>
                </a:cubicBezTo>
                <a:cubicBezTo>
                  <a:pt x="4148176" y="3414224"/>
                  <a:pt x="4143518" y="3418884"/>
                  <a:pt x="4137771" y="3418884"/>
                </a:cubicBezTo>
                <a:cubicBezTo>
                  <a:pt x="4132024" y="3418884"/>
                  <a:pt x="4127364" y="3414224"/>
                  <a:pt x="4127364" y="3408477"/>
                </a:cubicBezTo>
                <a:cubicBezTo>
                  <a:pt x="4127364" y="3402730"/>
                  <a:pt x="4132024" y="3398070"/>
                  <a:pt x="4137771" y="3398070"/>
                </a:cubicBezTo>
                <a:close/>
                <a:moveTo>
                  <a:pt x="656408" y="3396253"/>
                </a:moveTo>
                <a:cubicBezTo>
                  <a:pt x="662355" y="3396253"/>
                  <a:pt x="667145" y="3401043"/>
                  <a:pt x="667145" y="3406989"/>
                </a:cubicBezTo>
                <a:cubicBezTo>
                  <a:pt x="667145" y="3412936"/>
                  <a:pt x="662355" y="3417726"/>
                  <a:pt x="656408" y="3417726"/>
                </a:cubicBezTo>
                <a:cubicBezTo>
                  <a:pt x="650462" y="3417726"/>
                  <a:pt x="645672" y="3412936"/>
                  <a:pt x="645672" y="3406989"/>
                </a:cubicBezTo>
                <a:cubicBezTo>
                  <a:pt x="645672" y="3401043"/>
                  <a:pt x="650462" y="3396253"/>
                  <a:pt x="656408" y="3396253"/>
                </a:cubicBezTo>
                <a:close/>
                <a:moveTo>
                  <a:pt x="4118279" y="3390306"/>
                </a:moveTo>
                <a:cubicBezTo>
                  <a:pt x="4124225" y="3390306"/>
                  <a:pt x="4129015" y="3395096"/>
                  <a:pt x="4129015" y="3401043"/>
                </a:cubicBezTo>
                <a:cubicBezTo>
                  <a:pt x="4129015" y="3406989"/>
                  <a:pt x="4124225" y="3411781"/>
                  <a:pt x="4118279" y="3411781"/>
                </a:cubicBezTo>
                <a:cubicBezTo>
                  <a:pt x="4112332" y="3411781"/>
                  <a:pt x="4107543" y="3406989"/>
                  <a:pt x="4107543" y="3401043"/>
                </a:cubicBezTo>
                <a:cubicBezTo>
                  <a:pt x="4107543" y="3395096"/>
                  <a:pt x="4112332" y="3390306"/>
                  <a:pt x="4118279" y="3390306"/>
                </a:cubicBezTo>
                <a:close/>
                <a:moveTo>
                  <a:pt x="1833987" y="3389481"/>
                </a:moveTo>
                <a:cubicBezTo>
                  <a:pt x="1839918" y="3389481"/>
                  <a:pt x="1844725" y="3394288"/>
                  <a:pt x="1844725" y="3400217"/>
                </a:cubicBezTo>
                <a:cubicBezTo>
                  <a:pt x="1844725" y="3406146"/>
                  <a:pt x="1839918" y="3410954"/>
                  <a:pt x="1833987" y="3410954"/>
                </a:cubicBezTo>
                <a:cubicBezTo>
                  <a:pt x="1828058" y="3410954"/>
                  <a:pt x="1823251" y="3406146"/>
                  <a:pt x="1823251" y="3400217"/>
                </a:cubicBezTo>
                <a:cubicBezTo>
                  <a:pt x="1823251" y="3394288"/>
                  <a:pt x="1828058" y="3389481"/>
                  <a:pt x="1833987" y="3389481"/>
                </a:cubicBezTo>
                <a:close/>
                <a:moveTo>
                  <a:pt x="3985473" y="3388818"/>
                </a:moveTo>
                <a:cubicBezTo>
                  <a:pt x="3991420" y="3388818"/>
                  <a:pt x="3996211" y="3393608"/>
                  <a:pt x="3996211" y="3399555"/>
                </a:cubicBezTo>
                <a:cubicBezTo>
                  <a:pt x="3996211" y="3405501"/>
                  <a:pt x="3991420" y="3410293"/>
                  <a:pt x="3985473" y="3410293"/>
                </a:cubicBezTo>
                <a:cubicBezTo>
                  <a:pt x="3979527" y="3410293"/>
                  <a:pt x="3974737" y="3405501"/>
                  <a:pt x="3974737" y="3399555"/>
                </a:cubicBezTo>
                <a:cubicBezTo>
                  <a:pt x="3974737" y="3393608"/>
                  <a:pt x="3979527" y="3388818"/>
                  <a:pt x="3985473" y="3388818"/>
                </a:cubicBezTo>
                <a:close/>
                <a:moveTo>
                  <a:pt x="1633456" y="3387828"/>
                </a:moveTo>
                <a:cubicBezTo>
                  <a:pt x="1639403" y="3387828"/>
                  <a:pt x="1644192" y="3392618"/>
                  <a:pt x="1644192" y="3398564"/>
                </a:cubicBezTo>
                <a:cubicBezTo>
                  <a:pt x="1644192" y="3404511"/>
                  <a:pt x="1639403" y="3409301"/>
                  <a:pt x="1633456" y="3409301"/>
                </a:cubicBezTo>
                <a:cubicBezTo>
                  <a:pt x="1627509" y="3409301"/>
                  <a:pt x="1622720" y="3404511"/>
                  <a:pt x="1622720" y="3398564"/>
                </a:cubicBezTo>
                <a:cubicBezTo>
                  <a:pt x="1622720" y="3392618"/>
                  <a:pt x="1627509" y="3387828"/>
                  <a:pt x="1633456" y="3387828"/>
                </a:cubicBezTo>
                <a:close/>
                <a:moveTo>
                  <a:pt x="3726138" y="3384856"/>
                </a:moveTo>
                <a:cubicBezTo>
                  <a:pt x="3732084" y="3384856"/>
                  <a:pt x="3736874" y="3389646"/>
                  <a:pt x="3736874" y="3395592"/>
                </a:cubicBezTo>
                <a:cubicBezTo>
                  <a:pt x="3736874" y="3401539"/>
                  <a:pt x="3732084" y="3406328"/>
                  <a:pt x="3726138" y="3406328"/>
                </a:cubicBezTo>
                <a:cubicBezTo>
                  <a:pt x="3720191" y="3406328"/>
                  <a:pt x="3715401" y="3401539"/>
                  <a:pt x="3715401" y="3395592"/>
                </a:cubicBezTo>
                <a:cubicBezTo>
                  <a:pt x="3715401" y="3389646"/>
                  <a:pt x="3720191" y="3384856"/>
                  <a:pt x="3726138" y="3384856"/>
                </a:cubicBezTo>
                <a:close/>
                <a:moveTo>
                  <a:pt x="3955741" y="3384029"/>
                </a:moveTo>
                <a:cubicBezTo>
                  <a:pt x="3961687" y="3384029"/>
                  <a:pt x="3966477" y="3388818"/>
                  <a:pt x="3966477" y="3394765"/>
                </a:cubicBezTo>
                <a:cubicBezTo>
                  <a:pt x="3966477" y="3400711"/>
                  <a:pt x="3961687" y="3405503"/>
                  <a:pt x="3955741" y="3405503"/>
                </a:cubicBezTo>
                <a:cubicBezTo>
                  <a:pt x="3949794" y="3405503"/>
                  <a:pt x="3945004" y="3400711"/>
                  <a:pt x="3945004" y="3394765"/>
                </a:cubicBezTo>
                <a:cubicBezTo>
                  <a:pt x="3945004" y="3388818"/>
                  <a:pt x="3949794" y="3384029"/>
                  <a:pt x="3955741" y="3384029"/>
                </a:cubicBezTo>
                <a:close/>
                <a:moveTo>
                  <a:pt x="2033691" y="3383864"/>
                </a:moveTo>
                <a:cubicBezTo>
                  <a:pt x="2039637" y="3383864"/>
                  <a:pt x="2044429" y="3388654"/>
                  <a:pt x="2044429" y="3394600"/>
                </a:cubicBezTo>
                <a:cubicBezTo>
                  <a:pt x="2044429" y="3400547"/>
                  <a:pt x="2039637" y="3405336"/>
                  <a:pt x="2033691" y="3405336"/>
                </a:cubicBezTo>
                <a:cubicBezTo>
                  <a:pt x="2027744" y="3405336"/>
                  <a:pt x="2022954" y="3400547"/>
                  <a:pt x="2022954" y="3394600"/>
                </a:cubicBezTo>
                <a:cubicBezTo>
                  <a:pt x="2022954" y="3388654"/>
                  <a:pt x="2027744" y="3383864"/>
                  <a:pt x="2033691" y="3383864"/>
                </a:cubicBezTo>
                <a:close/>
                <a:moveTo>
                  <a:pt x="4075497" y="3382213"/>
                </a:moveTo>
                <a:lnTo>
                  <a:pt x="4081937" y="3388655"/>
                </a:lnTo>
                <a:lnTo>
                  <a:pt x="4087719" y="3382874"/>
                </a:lnTo>
                <a:lnTo>
                  <a:pt x="4095979" y="3391132"/>
                </a:lnTo>
                <a:lnTo>
                  <a:pt x="4101761" y="3385350"/>
                </a:lnTo>
                <a:cubicBezTo>
                  <a:pt x="4107707" y="3385350"/>
                  <a:pt x="4112497" y="3390140"/>
                  <a:pt x="4112497" y="3396086"/>
                </a:cubicBezTo>
                <a:cubicBezTo>
                  <a:pt x="4112497" y="3402033"/>
                  <a:pt x="4107707" y="3406823"/>
                  <a:pt x="4101761" y="3406823"/>
                </a:cubicBezTo>
                <a:lnTo>
                  <a:pt x="4093503" y="3398564"/>
                </a:lnTo>
                <a:lnTo>
                  <a:pt x="4087719" y="3404346"/>
                </a:lnTo>
                <a:lnTo>
                  <a:pt x="4081277" y="3397905"/>
                </a:lnTo>
                <a:lnTo>
                  <a:pt x="4075497" y="3403686"/>
                </a:lnTo>
                <a:lnTo>
                  <a:pt x="4070375" y="3398564"/>
                </a:lnTo>
                <a:lnTo>
                  <a:pt x="4064264" y="3404676"/>
                </a:lnTo>
                <a:lnTo>
                  <a:pt x="4059641" y="3400052"/>
                </a:lnTo>
                <a:lnTo>
                  <a:pt x="4053032" y="3406660"/>
                </a:lnTo>
                <a:lnTo>
                  <a:pt x="4048077" y="3401703"/>
                </a:lnTo>
                <a:lnTo>
                  <a:pt x="4040808" y="3408971"/>
                </a:lnTo>
                <a:lnTo>
                  <a:pt x="4034613" y="3402779"/>
                </a:lnTo>
                <a:lnTo>
                  <a:pt x="4026438" y="3410954"/>
                </a:lnTo>
                <a:lnTo>
                  <a:pt x="4017767" y="3402283"/>
                </a:lnTo>
                <a:lnTo>
                  <a:pt x="4008434" y="3411614"/>
                </a:lnTo>
                <a:cubicBezTo>
                  <a:pt x="4002487" y="3411614"/>
                  <a:pt x="3997697" y="3406824"/>
                  <a:pt x="3997697" y="3400878"/>
                </a:cubicBezTo>
                <a:cubicBezTo>
                  <a:pt x="3997697" y="3394931"/>
                  <a:pt x="4002487" y="3390142"/>
                  <a:pt x="4008434" y="3390142"/>
                </a:cubicBezTo>
                <a:lnTo>
                  <a:pt x="4017106" y="3398814"/>
                </a:lnTo>
                <a:lnTo>
                  <a:pt x="4026438" y="3389481"/>
                </a:lnTo>
                <a:lnTo>
                  <a:pt x="4032631" y="3395675"/>
                </a:lnTo>
                <a:lnTo>
                  <a:pt x="4040808" y="3387499"/>
                </a:lnTo>
                <a:lnTo>
                  <a:pt x="4045764" y="3392455"/>
                </a:lnTo>
                <a:lnTo>
                  <a:pt x="4053032" y="3385185"/>
                </a:lnTo>
                <a:lnTo>
                  <a:pt x="4057657" y="3389810"/>
                </a:lnTo>
                <a:lnTo>
                  <a:pt x="4064264" y="3383203"/>
                </a:lnTo>
                <a:lnTo>
                  <a:pt x="4069385" y="3388324"/>
                </a:lnTo>
                <a:close/>
                <a:moveTo>
                  <a:pt x="4168494" y="3381882"/>
                </a:moveTo>
                <a:cubicBezTo>
                  <a:pt x="4169680" y="3381882"/>
                  <a:pt x="4170643" y="3382842"/>
                  <a:pt x="4170643" y="3384029"/>
                </a:cubicBezTo>
                <a:cubicBezTo>
                  <a:pt x="4170643" y="3385215"/>
                  <a:pt x="4169680" y="3386175"/>
                  <a:pt x="4168494" y="3386175"/>
                </a:cubicBezTo>
                <a:cubicBezTo>
                  <a:pt x="4167308" y="3386175"/>
                  <a:pt x="4166347" y="3385215"/>
                  <a:pt x="4166347" y="3384029"/>
                </a:cubicBezTo>
                <a:cubicBezTo>
                  <a:pt x="4166347" y="3382842"/>
                  <a:pt x="4167308" y="3381882"/>
                  <a:pt x="4168494" y="3381882"/>
                </a:cubicBezTo>
                <a:close/>
                <a:moveTo>
                  <a:pt x="1434909" y="3378743"/>
                </a:moveTo>
                <a:cubicBezTo>
                  <a:pt x="1440855" y="3378743"/>
                  <a:pt x="1445647" y="3383533"/>
                  <a:pt x="1445647" y="3389479"/>
                </a:cubicBezTo>
                <a:cubicBezTo>
                  <a:pt x="1445647" y="3395426"/>
                  <a:pt x="1440855" y="3400215"/>
                  <a:pt x="1434909" y="3400215"/>
                </a:cubicBezTo>
                <a:cubicBezTo>
                  <a:pt x="1428962" y="3400215"/>
                  <a:pt x="1424173" y="3395426"/>
                  <a:pt x="1424173" y="3389479"/>
                </a:cubicBezTo>
                <a:cubicBezTo>
                  <a:pt x="1424173" y="3383533"/>
                  <a:pt x="1428962" y="3378743"/>
                  <a:pt x="1434909" y="3378743"/>
                </a:cubicBezTo>
                <a:close/>
                <a:moveTo>
                  <a:pt x="207446" y="3378743"/>
                </a:moveTo>
                <a:cubicBezTo>
                  <a:pt x="213393" y="3378743"/>
                  <a:pt x="218183" y="3383533"/>
                  <a:pt x="218183" y="3389479"/>
                </a:cubicBezTo>
                <a:cubicBezTo>
                  <a:pt x="218183" y="3395426"/>
                  <a:pt x="213393" y="3400215"/>
                  <a:pt x="207446" y="3400215"/>
                </a:cubicBezTo>
                <a:cubicBezTo>
                  <a:pt x="201500" y="3400215"/>
                  <a:pt x="196710" y="3395426"/>
                  <a:pt x="196710" y="3389479"/>
                </a:cubicBezTo>
                <a:cubicBezTo>
                  <a:pt x="196710" y="3383533"/>
                  <a:pt x="201500" y="3378743"/>
                  <a:pt x="207446" y="3378743"/>
                </a:cubicBezTo>
                <a:close/>
                <a:moveTo>
                  <a:pt x="2987117" y="3376925"/>
                </a:moveTo>
                <a:cubicBezTo>
                  <a:pt x="2993064" y="3376925"/>
                  <a:pt x="2997855" y="3381715"/>
                  <a:pt x="2997855" y="3387662"/>
                </a:cubicBezTo>
                <a:cubicBezTo>
                  <a:pt x="2997855" y="3393608"/>
                  <a:pt x="2993064" y="3398400"/>
                  <a:pt x="2987117" y="3398400"/>
                </a:cubicBezTo>
                <a:cubicBezTo>
                  <a:pt x="2981171" y="3398400"/>
                  <a:pt x="2976381" y="3393608"/>
                  <a:pt x="2976381" y="3387662"/>
                </a:cubicBezTo>
                <a:cubicBezTo>
                  <a:pt x="2976381" y="3381715"/>
                  <a:pt x="2981171" y="3376925"/>
                  <a:pt x="2987117" y="3376925"/>
                </a:cubicBezTo>
                <a:close/>
                <a:moveTo>
                  <a:pt x="3917254" y="3375110"/>
                </a:moveTo>
                <a:cubicBezTo>
                  <a:pt x="3923200" y="3375110"/>
                  <a:pt x="3927990" y="3379899"/>
                  <a:pt x="3927990" y="3385846"/>
                </a:cubicBezTo>
                <a:cubicBezTo>
                  <a:pt x="3927990" y="3391792"/>
                  <a:pt x="3923200" y="3396582"/>
                  <a:pt x="3917254" y="3396582"/>
                </a:cubicBezTo>
                <a:cubicBezTo>
                  <a:pt x="3911307" y="3396582"/>
                  <a:pt x="3906517" y="3391792"/>
                  <a:pt x="3906517" y="3385846"/>
                </a:cubicBezTo>
                <a:cubicBezTo>
                  <a:pt x="3906517" y="3379899"/>
                  <a:pt x="3911307" y="3375110"/>
                  <a:pt x="3917254" y="3375110"/>
                </a:cubicBezTo>
                <a:close/>
                <a:moveTo>
                  <a:pt x="2230256" y="3370981"/>
                </a:moveTo>
                <a:cubicBezTo>
                  <a:pt x="2236202" y="3370981"/>
                  <a:pt x="2240994" y="3375770"/>
                  <a:pt x="2240994" y="3381717"/>
                </a:cubicBezTo>
                <a:cubicBezTo>
                  <a:pt x="2240994" y="3387663"/>
                  <a:pt x="2236202" y="3392453"/>
                  <a:pt x="2230256" y="3392453"/>
                </a:cubicBezTo>
                <a:cubicBezTo>
                  <a:pt x="2224309" y="3392453"/>
                  <a:pt x="2219520" y="3387663"/>
                  <a:pt x="2219520" y="3381717"/>
                </a:cubicBezTo>
                <a:cubicBezTo>
                  <a:pt x="2219520" y="3375770"/>
                  <a:pt x="2224309" y="3370981"/>
                  <a:pt x="2230256" y="3370981"/>
                </a:cubicBezTo>
                <a:close/>
                <a:moveTo>
                  <a:pt x="4148176" y="3363546"/>
                </a:moveTo>
                <a:cubicBezTo>
                  <a:pt x="4154123" y="3363546"/>
                  <a:pt x="4158914" y="3368336"/>
                  <a:pt x="4158914" y="3374282"/>
                </a:cubicBezTo>
                <a:cubicBezTo>
                  <a:pt x="4158914" y="3380229"/>
                  <a:pt x="4154123" y="3385020"/>
                  <a:pt x="4148176" y="3385020"/>
                </a:cubicBezTo>
                <a:cubicBezTo>
                  <a:pt x="4142230" y="3385020"/>
                  <a:pt x="4137440" y="3380229"/>
                  <a:pt x="4137440" y="3374282"/>
                </a:cubicBezTo>
                <a:cubicBezTo>
                  <a:pt x="4137440" y="3368336"/>
                  <a:pt x="4142230" y="3363546"/>
                  <a:pt x="4148176" y="3363546"/>
                </a:cubicBezTo>
                <a:close/>
                <a:moveTo>
                  <a:pt x="1240656" y="3362721"/>
                </a:moveTo>
                <a:cubicBezTo>
                  <a:pt x="1246602" y="3362721"/>
                  <a:pt x="1251392" y="3367510"/>
                  <a:pt x="1251392" y="3373457"/>
                </a:cubicBezTo>
                <a:cubicBezTo>
                  <a:pt x="1251392" y="3379403"/>
                  <a:pt x="1246602" y="3384193"/>
                  <a:pt x="1240656" y="3384193"/>
                </a:cubicBezTo>
                <a:cubicBezTo>
                  <a:pt x="1234709" y="3384193"/>
                  <a:pt x="1229919" y="3379403"/>
                  <a:pt x="1229919" y="3373457"/>
                </a:cubicBezTo>
                <a:cubicBezTo>
                  <a:pt x="1229919" y="3367510"/>
                  <a:pt x="1234709" y="3362721"/>
                  <a:pt x="1240656" y="3362721"/>
                </a:cubicBezTo>
                <a:close/>
                <a:moveTo>
                  <a:pt x="3868358" y="3360407"/>
                </a:moveTo>
                <a:cubicBezTo>
                  <a:pt x="3874305" y="3360407"/>
                  <a:pt x="3879096" y="3365197"/>
                  <a:pt x="3879096" y="3371144"/>
                </a:cubicBezTo>
                <a:cubicBezTo>
                  <a:pt x="3879096" y="3377090"/>
                  <a:pt x="3874305" y="3381882"/>
                  <a:pt x="3868358" y="3381882"/>
                </a:cubicBezTo>
                <a:cubicBezTo>
                  <a:pt x="3862412" y="3381882"/>
                  <a:pt x="3857622" y="3377090"/>
                  <a:pt x="3857622" y="3371144"/>
                </a:cubicBezTo>
                <a:cubicBezTo>
                  <a:pt x="3857622" y="3365197"/>
                  <a:pt x="3862412" y="3360407"/>
                  <a:pt x="3868358" y="3360407"/>
                </a:cubicBezTo>
                <a:close/>
                <a:moveTo>
                  <a:pt x="503781" y="3359582"/>
                </a:moveTo>
                <a:cubicBezTo>
                  <a:pt x="509727" y="3359582"/>
                  <a:pt x="514519" y="3364372"/>
                  <a:pt x="514519" y="3370318"/>
                </a:cubicBezTo>
                <a:cubicBezTo>
                  <a:pt x="514519" y="3376265"/>
                  <a:pt x="509727" y="3381054"/>
                  <a:pt x="503781" y="3381054"/>
                </a:cubicBezTo>
                <a:cubicBezTo>
                  <a:pt x="497834" y="3381054"/>
                  <a:pt x="493044" y="3376265"/>
                  <a:pt x="493044" y="3370318"/>
                </a:cubicBezTo>
                <a:cubicBezTo>
                  <a:pt x="493044" y="3364372"/>
                  <a:pt x="497834" y="3359582"/>
                  <a:pt x="503781" y="3359582"/>
                </a:cubicBezTo>
                <a:close/>
                <a:moveTo>
                  <a:pt x="3417249" y="3355617"/>
                </a:moveTo>
                <a:cubicBezTo>
                  <a:pt x="3423196" y="3355617"/>
                  <a:pt x="3427988" y="3360407"/>
                  <a:pt x="3427988" y="3366354"/>
                </a:cubicBezTo>
                <a:cubicBezTo>
                  <a:pt x="3427988" y="3372300"/>
                  <a:pt x="3423196" y="3377092"/>
                  <a:pt x="3417249" y="3377092"/>
                </a:cubicBezTo>
                <a:cubicBezTo>
                  <a:pt x="3411303" y="3377092"/>
                  <a:pt x="3406513" y="3372300"/>
                  <a:pt x="3406513" y="3366354"/>
                </a:cubicBezTo>
                <a:cubicBezTo>
                  <a:pt x="3406513" y="3360407"/>
                  <a:pt x="3411303" y="3355617"/>
                  <a:pt x="3417249" y="3355617"/>
                </a:cubicBezTo>
                <a:close/>
                <a:moveTo>
                  <a:pt x="3637767" y="3353802"/>
                </a:moveTo>
                <a:cubicBezTo>
                  <a:pt x="3643713" y="3353802"/>
                  <a:pt x="3648503" y="3358591"/>
                  <a:pt x="3648503" y="3364538"/>
                </a:cubicBezTo>
                <a:cubicBezTo>
                  <a:pt x="3648503" y="3370485"/>
                  <a:pt x="3643713" y="3375274"/>
                  <a:pt x="3637767" y="3375274"/>
                </a:cubicBezTo>
                <a:cubicBezTo>
                  <a:pt x="3631820" y="3375274"/>
                  <a:pt x="3627031" y="3370485"/>
                  <a:pt x="3627031" y="3364538"/>
                </a:cubicBezTo>
                <a:cubicBezTo>
                  <a:pt x="3627031" y="3358591"/>
                  <a:pt x="3631820" y="3353802"/>
                  <a:pt x="3637767" y="3353802"/>
                </a:cubicBezTo>
                <a:close/>
                <a:moveTo>
                  <a:pt x="2421205" y="3351488"/>
                </a:moveTo>
                <a:cubicBezTo>
                  <a:pt x="2427152" y="3351488"/>
                  <a:pt x="2431942" y="3356278"/>
                  <a:pt x="2431942" y="3362225"/>
                </a:cubicBezTo>
                <a:cubicBezTo>
                  <a:pt x="2431942" y="3368171"/>
                  <a:pt x="2427152" y="3372963"/>
                  <a:pt x="2421205" y="3372963"/>
                </a:cubicBezTo>
                <a:cubicBezTo>
                  <a:pt x="2415259" y="3372963"/>
                  <a:pt x="2410469" y="3368171"/>
                  <a:pt x="2410469" y="3362225"/>
                </a:cubicBezTo>
                <a:cubicBezTo>
                  <a:pt x="2410469" y="3356278"/>
                  <a:pt x="2415259" y="3351488"/>
                  <a:pt x="2421205" y="3351488"/>
                </a:cubicBezTo>
                <a:close/>
                <a:moveTo>
                  <a:pt x="4030402" y="3345046"/>
                </a:moveTo>
                <a:lnTo>
                  <a:pt x="4040974" y="3355617"/>
                </a:lnTo>
                <a:lnTo>
                  <a:pt x="4048903" y="3347689"/>
                </a:lnTo>
                <a:lnTo>
                  <a:pt x="4056502" y="3355286"/>
                </a:lnTo>
                <a:lnTo>
                  <a:pt x="4063274" y="3348514"/>
                </a:lnTo>
                <a:lnTo>
                  <a:pt x="4068973" y="3354213"/>
                </a:lnTo>
                <a:lnTo>
                  <a:pt x="4074836" y="3348349"/>
                </a:lnTo>
                <a:lnTo>
                  <a:pt x="4079709" y="3353222"/>
                </a:lnTo>
                <a:lnTo>
                  <a:pt x="4085076" y="3347855"/>
                </a:lnTo>
                <a:lnTo>
                  <a:pt x="4089949" y="3352728"/>
                </a:lnTo>
                <a:lnTo>
                  <a:pt x="4094822" y="3347855"/>
                </a:lnTo>
                <a:lnTo>
                  <a:pt x="4100602" y="3353637"/>
                </a:lnTo>
                <a:lnTo>
                  <a:pt x="4105229" y="3349010"/>
                </a:lnTo>
                <a:lnTo>
                  <a:pt x="4112497" y="3356278"/>
                </a:lnTo>
                <a:lnTo>
                  <a:pt x="4117122" y="3351653"/>
                </a:lnTo>
                <a:lnTo>
                  <a:pt x="4126622" y="3361151"/>
                </a:lnTo>
                <a:lnTo>
                  <a:pt x="4131329" y="3356445"/>
                </a:lnTo>
                <a:cubicBezTo>
                  <a:pt x="4137260" y="3356445"/>
                  <a:pt x="4142065" y="3361252"/>
                  <a:pt x="4142065" y="3367181"/>
                </a:cubicBezTo>
                <a:cubicBezTo>
                  <a:pt x="4142065" y="3373110"/>
                  <a:pt x="4137260" y="3377917"/>
                  <a:pt x="4131329" y="3377917"/>
                </a:cubicBezTo>
                <a:lnTo>
                  <a:pt x="4121831" y="3368419"/>
                </a:lnTo>
                <a:lnTo>
                  <a:pt x="4117122" y="3373127"/>
                </a:lnTo>
                <a:lnTo>
                  <a:pt x="4109854" y="3365859"/>
                </a:lnTo>
                <a:lnTo>
                  <a:pt x="4105229" y="3370485"/>
                </a:lnTo>
                <a:lnTo>
                  <a:pt x="4099447" y="3364703"/>
                </a:lnTo>
                <a:lnTo>
                  <a:pt x="4094822" y="3369328"/>
                </a:lnTo>
                <a:lnTo>
                  <a:pt x="4089949" y="3364455"/>
                </a:lnTo>
                <a:lnTo>
                  <a:pt x="4085076" y="3369328"/>
                </a:lnTo>
                <a:lnTo>
                  <a:pt x="4080203" y="3364455"/>
                </a:lnTo>
                <a:lnTo>
                  <a:pt x="4074836" y="3369822"/>
                </a:lnTo>
                <a:lnTo>
                  <a:pt x="4069137" y="3364124"/>
                </a:lnTo>
                <a:lnTo>
                  <a:pt x="4063274" y="3369989"/>
                </a:lnTo>
                <a:lnTo>
                  <a:pt x="4055677" y="3362389"/>
                </a:lnTo>
                <a:lnTo>
                  <a:pt x="4048903" y="3369161"/>
                </a:lnTo>
                <a:lnTo>
                  <a:pt x="4038331" y="3358591"/>
                </a:lnTo>
                <a:lnTo>
                  <a:pt x="4030402" y="3366518"/>
                </a:lnTo>
                <a:cubicBezTo>
                  <a:pt x="4024456" y="3366518"/>
                  <a:pt x="4019666" y="3361729"/>
                  <a:pt x="4019666" y="3355782"/>
                </a:cubicBezTo>
                <a:cubicBezTo>
                  <a:pt x="4019666" y="3349836"/>
                  <a:pt x="4024456" y="3345046"/>
                  <a:pt x="4030402" y="3345046"/>
                </a:cubicBezTo>
                <a:close/>
                <a:moveTo>
                  <a:pt x="1053010" y="3340421"/>
                </a:moveTo>
                <a:cubicBezTo>
                  <a:pt x="1058956" y="3340421"/>
                  <a:pt x="1063746" y="3345210"/>
                  <a:pt x="1063746" y="3351157"/>
                </a:cubicBezTo>
                <a:cubicBezTo>
                  <a:pt x="1063746" y="3357104"/>
                  <a:pt x="1058956" y="3361893"/>
                  <a:pt x="1053010" y="3361893"/>
                </a:cubicBezTo>
                <a:cubicBezTo>
                  <a:pt x="1047063" y="3361893"/>
                  <a:pt x="1042273" y="3357104"/>
                  <a:pt x="1042273" y="3351157"/>
                </a:cubicBezTo>
                <a:cubicBezTo>
                  <a:pt x="1042273" y="3345210"/>
                  <a:pt x="1047063" y="3340421"/>
                  <a:pt x="1053010" y="3340421"/>
                </a:cubicBezTo>
                <a:close/>
                <a:moveTo>
                  <a:pt x="4005956" y="3339264"/>
                </a:moveTo>
                <a:cubicBezTo>
                  <a:pt x="4011902" y="3339264"/>
                  <a:pt x="4016692" y="3344054"/>
                  <a:pt x="4016692" y="3350000"/>
                </a:cubicBezTo>
                <a:cubicBezTo>
                  <a:pt x="4016692" y="3355947"/>
                  <a:pt x="4011902" y="3360738"/>
                  <a:pt x="4005956" y="3360738"/>
                </a:cubicBezTo>
                <a:cubicBezTo>
                  <a:pt x="4000009" y="3360738"/>
                  <a:pt x="3995219" y="3355947"/>
                  <a:pt x="3995219" y="3350000"/>
                </a:cubicBezTo>
                <a:cubicBezTo>
                  <a:pt x="3995219" y="3344054"/>
                  <a:pt x="4000009" y="3339264"/>
                  <a:pt x="4005956" y="3339264"/>
                </a:cubicBezTo>
                <a:close/>
                <a:moveTo>
                  <a:pt x="3134459" y="3338934"/>
                </a:moveTo>
                <a:cubicBezTo>
                  <a:pt x="3140406" y="3338934"/>
                  <a:pt x="3145195" y="3343724"/>
                  <a:pt x="3145195" y="3349671"/>
                </a:cubicBezTo>
                <a:cubicBezTo>
                  <a:pt x="3145195" y="3355617"/>
                  <a:pt x="3140406" y="3360407"/>
                  <a:pt x="3134459" y="3360407"/>
                </a:cubicBezTo>
                <a:cubicBezTo>
                  <a:pt x="3128513" y="3360407"/>
                  <a:pt x="3123723" y="3355617"/>
                  <a:pt x="3123723" y="3349671"/>
                </a:cubicBezTo>
                <a:cubicBezTo>
                  <a:pt x="3123723" y="3343724"/>
                  <a:pt x="3128513" y="3338934"/>
                  <a:pt x="3134459" y="3338934"/>
                </a:cubicBezTo>
                <a:close/>
                <a:moveTo>
                  <a:pt x="3806417" y="3338603"/>
                </a:moveTo>
                <a:cubicBezTo>
                  <a:pt x="3812363" y="3338603"/>
                  <a:pt x="3817155" y="3343393"/>
                  <a:pt x="3817155" y="3349340"/>
                </a:cubicBezTo>
                <a:cubicBezTo>
                  <a:pt x="3817155" y="3355286"/>
                  <a:pt x="3812363" y="3360078"/>
                  <a:pt x="3806417" y="3360078"/>
                </a:cubicBezTo>
                <a:cubicBezTo>
                  <a:pt x="3800470" y="3360078"/>
                  <a:pt x="3795680" y="3355286"/>
                  <a:pt x="3795680" y="3349340"/>
                </a:cubicBezTo>
                <a:cubicBezTo>
                  <a:pt x="3795680" y="3343393"/>
                  <a:pt x="3800470" y="3338603"/>
                  <a:pt x="3806417" y="3338603"/>
                </a:cubicBezTo>
                <a:close/>
                <a:moveTo>
                  <a:pt x="4177744" y="3338109"/>
                </a:moveTo>
                <a:cubicBezTo>
                  <a:pt x="4183691" y="3338109"/>
                  <a:pt x="4188481" y="3342899"/>
                  <a:pt x="4188481" y="3348845"/>
                </a:cubicBezTo>
                <a:cubicBezTo>
                  <a:pt x="4188481" y="3354792"/>
                  <a:pt x="4183691" y="3359583"/>
                  <a:pt x="4177744" y="3359583"/>
                </a:cubicBezTo>
                <a:cubicBezTo>
                  <a:pt x="4171798" y="3359583"/>
                  <a:pt x="4167008" y="3354792"/>
                  <a:pt x="4167008" y="3348845"/>
                </a:cubicBezTo>
                <a:cubicBezTo>
                  <a:pt x="4167008" y="3342899"/>
                  <a:pt x="4171798" y="3338109"/>
                  <a:pt x="4177744" y="3338109"/>
                </a:cubicBezTo>
                <a:close/>
                <a:moveTo>
                  <a:pt x="89671" y="3335466"/>
                </a:moveTo>
                <a:cubicBezTo>
                  <a:pt x="95617" y="3335466"/>
                  <a:pt x="100409" y="3340256"/>
                  <a:pt x="100409" y="3346202"/>
                </a:cubicBezTo>
                <a:cubicBezTo>
                  <a:pt x="100409" y="3352149"/>
                  <a:pt x="95617" y="3356939"/>
                  <a:pt x="89671" y="3356939"/>
                </a:cubicBezTo>
                <a:cubicBezTo>
                  <a:pt x="83724" y="3356939"/>
                  <a:pt x="78934" y="3352149"/>
                  <a:pt x="78934" y="3346202"/>
                </a:cubicBezTo>
                <a:cubicBezTo>
                  <a:pt x="78934" y="3340256"/>
                  <a:pt x="83724" y="3335466"/>
                  <a:pt x="89671" y="3335466"/>
                </a:cubicBezTo>
                <a:close/>
                <a:moveTo>
                  <a:pt x="3974074" y="3329684"/>
                </a:moveTo>
                <a:cubicBezTo>
                  <a:pt x="3980021" y="3329684"/>
                  <a:pt x="3984812" y="3334474"/>
                  <a:pt x="3984812" y="3340421"/>
                </a:cubicBezTo>
                <a:cubicBezTo>
                  <a:pt x="3984812" y="3346367"/>
                  <a:pt x="3980021" y="3351157"/>
                  <a:pt x="3974074" y="3351157"/>
                </a:cubicBezTo>
                <a:cubicBezTo>
                  <a:pt x="3968128" y="3351157"/>
                  <a:pt x="3963338" y="3346367"/>
                  <a:pt x="3963338" y="3340421"/>
                </a:cubicBezTo>
                <a:cubicBezTo>
                  <a:pt x="3963338" y="3334474"/>
                  <a:pt x="3968128" y="3329684"/>
                  <a:pt x="3974074" y="3329684"/>
                </a:cubicBezTo>
                <a:close/>
                <a:moveTo>
                  <a:pt x="4160234" y="3328859"/>
                </a:moveTo>
                <a:cubicBezTo>
                  <a:pt x="4166181" y="3328859"/>
                  <a:pt x="4170970" y="3333649"/>
                  <a:pt x="4170970" y="3339595"/>
                </a:cubicBezTo>
                <a:cubicBezTo>
                  <a:pt x="4170970" y="3345542"/>
                  <a:pt x="4166181" y="3350333"/>
                  <a:pt x="4160234" y="3350333"/>
                </a:cubicBezTo>
                <a:cubicBezTo>
                  <a:pt x="4154288" y="3350333"/>
                  <a:pt x="4149498" y="3345542"/>
                  <a:pt x="4149498" y="3339595"/>
                </a:cubicBezTo>
                <a:cubicBezTo>
                  <a:pt x="4149498" y="3333649"/>
                  <a:pt x="4154288" y="3328859"/>
                  <a:pt x="4160234" y="3328859"/>
                </a:cubicBezTo>
                <a:close/>
                <a:moveTo>
                  <a:pt x="2604887" y="3326381"/>
                </a:moveTo>
                <a:cubicBezTo>
                  <a:pt x="2610833" y="3326381"/>
                  <a:pt x="2615625" y="3331171"/>
                  <a:pt x="2615625" y="3337117"/>
                </a:cubicBezTo>
                <a:cubicBezTo>
                  <a:pt x="2615625" y="3343064"/>
                  <a:pt x="2610833" y="3347855"/>
                  <a:pt x="2604887" y="3347855"/>
                </a:cubicBezTo>
                <a:cubicBezTo>
                  <a:pt x="2598940" y="3347855"/>
                  <a:pt x="2594151" y="3343064"/>
                  <a:pt x="2594151" y="3337117"/>
                </a:cubicBezTo>
                <a:cubicBezTo>
                  <a:pt x="2594151" y="3331171"/>
                  <a:pt x="2598940" y="3326381"/>
                  <a:pt x="2604887" y="3326381"/>
                </a:cubicBezTo>
                <a:close/>
                <a:moveTo>
                  <a:pt x="360734" y="3320599"/>
                </a:moveTo>
                <a:cubicBezTo>
                  <a:pt x="366681" y="3320599"/>
                  <a:pt x="371471" y="3325389"/>
                  <a:pt x="371471" y="3331335"/>
                </a:cubicBezTo>
                <a:cubicBezTo>
                  <a:pt x="371471" y="3337282"/>
                  <a:pt x="366681" y="3342073"/>
                  <a:pt x="360734" y="3342073"/>
                </a:cubicBezTo>
                <a:cubicBezTo>
                  <a:pt x="354788" y="3342073"/>
                  <a:pt x="349998" y="3337282"/>
                  <a:pt x="349998" y="3331335"/>
                </a:cubicBezTo>
                <a:cubicBezTo>
                  <a:pt x="349998" y="3325389"/>
                  <a:pt x="354788" y="3320599"/>
                  <a:pt x="360734" y="3320599"/>
                </a:cubicBezTo>
                <a:close/>
                <a:moveTo>
                  <a:pt x="4207146" y="3320269"/>
                </a:moveTo>
                <a:cubicBezTo>
                  <a:pt x="4209518" y="3320269"/>
                  <a:pt x="4211441" y="3322193"/>
                  <a:pt x="4211441" y="3324565"/>
                </a:cubicBezTo>
                <a:cubicBezTo>
                  <a:pt x="4211441" y="3326936"/>
                  <a:pt x="4209518" y="3328859"/>
                  <a:pt x="4207146" y="3328859"/>
                </a:cubicBezTo>
                <a:cubicBezTo>
                  <a:pt x="4204775" y="3328859"/>
                  <a:pt x="4202852" y="3326937"/>
                  <a:pt x="4202852" y="3324565"/>
                </a:cubicBezTo>
                <a:cubicBezTo>
                  <a:pt x="4202852" y="3322193"/>
                  <a:pt x="4204775" y="3320269"/>
                  <a:pt x="4207146" y="3320269"/>
                </a:cubicBezTo>
                <a:close/>
                <a:moveTo>
                  <a:pt x="3932780" y="3314652"/>
                </a:moveTo>
                <a:cubicBezTo>
                  <a:pt x="3938726" y="3314652"/>
                  <a:pt x="3943518" y="3319442"/>
                  <a:pt x="3943518" y="3325389"/>
                </a:cubicBezTo>
                <a:cubicBezTo>
                  <a:pt x="3943518" y="3331335"/>
                  <a:pt x="3938726" y="3336125"/>
                  <a:pt x="3932780" y="3336125"/>
                </a:cubicBezTo>
                <a:cubicBezTo>
                  <a:pt x="3926833" y="3336125"/>
                  <a:pt x="3922044" y="3331335"/>
                  <a:pt x="3922044" y="3325389"/>
                </a:cubicBezTo>
                <a:cubicBezTo>
                  <a:pt x="3922044" y="3319442"/>
                  <a:pt x="3926833" y="3314652"/>
                  <a:pt x="3932780" y="3314652"/>
                </a:cubicBezTo>
                <a:close/>
                <a:moveTo>
                  <a:pt x="873126" y="3313001"/>
                </a:moveTo>
                <a:cubicBezTo>
                  <a:pt x="879073" y="3313001"/>
                  <a:pt x="883864" y="3317791"/>
                  <a:pt x="883864" y="3323738"/>
                </a:cubicBezTo>
                <a:cubicBezTo>
                  <a:pt x="883864" y="3329684"/>
                  <a:pt x="879073" y="3334474"/>
                  <a:pt x="873126" y="3334474"/>
                </a:cubicBezTo>
                <a:cubicBezTo>
                  <a:pt x="867180" y="3334474"/>
                  <a:pt x="862390" y="3329684"/>
                  <a:pt x="862390" y="3323738"/>
                </a:cubicBezTo>
                <a:cubicBezTo>
                  <a:pt x="862390" y="3317791"/>
                  <a:pt x="867180" y="3313001"/>
                  <a:pt x="873126" y="3313001"/>
                </a:cubicBezTo>
                <a:close/>
                <a:moveTo>
                  <a:pt x="3530069" y="3312009"/>
                </a:moveTo>
                <a:cubicBezTo>
                  <a:pt x="3536015" y="3312009"/>
                  <a:pt x="3540805" y="3316799"/>
                  <a:pt x="3540805" y="3322746"/>
                </a:cubicBezTo>
                <a:cubicBezTo>
                  <a:pt x="3540805" y="3328692"/>
                  <a:pt x="3536015" y="3333482"/>
                  <a:pt x="3530069" y="3333482"/>
                </a:cubicBezTo>
                <a:cubicBezTo>
                  <a:pt x="3524122" y="3333482"/>
                  <a:pt x="3519332" y="3328692"/>
                  <a:pt x="3519332" y="3322746"/>
                </a:cubicBezTo>
                <a:cubicBezTo>
                  <a:pt x="3519332" y="3316799"/>
                  <a:pt x="3524122" y="3312009"/>
                  <a:pt x="3530069" y="3312009"/>
                </a:cubicBezTo>
                <a:close/>
                <a:moveTo>
                  <a:pt x="3729112" y="3308376"/>
                </a:moveTo>
                <a:cubicBezTo>
                  <a:pt x="3735058" y="3308376"/>
                  <a:pt x="3739848" y="3313166"/>
                  <a:pt x="3739848" y="3319113"/>
                </a:cubicBezTo>
                <a:cubicBezTo>
                  <a:pt x="3739848" y="3325059"/>
                  <a:pt x="3735058" y="3329849"/>
                  <a:pt x="3729112" y="3329849"/>
                </a:cubicBezTo>
                <a:cubicBezTo>
                  <a:pt x="3723165" y="3329849"/>
                  <a:pt x="3718375" y="3325059"/>
                  <a:pt x="3718375" y="3319113"/>
                </a:cubicBezTo>
                <a:cubicBezTo>
                  <a:pt x="3718375" y="3313166"/>
                  <a:pt x="3723165" y="3308376"/>
                  <a:pt x="3729112" y="3308376"/>
                </a:cubicBezTo>
                <a:close/>
                <a:moveTo>
                  <a:pt x="4188645" y="3302430"/>
                </a:moveTo>
                <a:cubicBezTo>
                  <a:pt x="4194592" y="3302430"/>
                  <a:pt x="4199382" y="3307220"/>
                  <a:pt x="4199382" y="3313166"/>
                </a:cubicBezTo>
                <a:cubicBezTo>
                  <a:pt x="4199382" y="3319113"/>
                  <a:pt x="4194592" y="3323903"/>
                  <a:pt x="4188645" y="3323903"/>
                </a:cubicBezTo>
                <a:cubicBezTo>
                  <a:pt x="4182699" y="3323903"/>
                  <a:pt x="4177909" y="3319113"/>
                  <a:pt x="4177909" y="3313166"/>
                </a:cubicBezTo>
                <a:cubicBezTo>
                  <a:pt x="4177909" y="3307220"/>
                  <a:pt x="4182699" y="3302430"/>
                  <a:pt x="4188645" y="3302430"/>
                </a:cubicBezTo>
                <a:close/>
                <a:moveTo>
                  <a:pt x="4071367" y="3302265"/>
                </a:moveTo>
                <a:lnTo>
                  <a:pt x="4080782" y="3311680"/>
                </a:lnTo>
                <a:lnTo>
                  <a:pt x="4086068" y="3306394"/>
                </a:lnTo>
                <a:lnTo>
                  <a:pt x="4092840" y="3313166"/>
                </a:lnTo>
                <a:lnTo>
                  <a:pt x="4097300" y="3308706"/>
                </a:lnTo>
                <a:lnTo>
                  <a:pt x="4102834" y="3314240"/>
                </a:lnTo>
                <a:lnTo>
                  <a:pt x="4106715" y="3310359"/>
                </a:lnTo>
                <a:lnTo>
                  <a:pt x="4111588" y="3315232"/>
                </a:lnTo>
                <a:lnTo>
                  <a:pt x="4115140" y="3311680"/>
                </a:lnTo>
                <a:lnTo>
                  <a:pt x="4120591" y="3317131"/>
                </a:lnTo>
                <a:lnTo>
                  <a:pt x="4123894" y="3313827"/>
                </a:lnTo>
                <a:lnTo>
                  <a:pt x="4130420" y="3320351"/>
                </a:lnTo>
                <a:lnTo>
                  <a:pt x="4133805" y="3316966"/>
                </a:lnTo>
                <a:lnTo>
                  <a:pt x="4142230" y="3325390"/>
                </a:lnTo>
                <a:lnTo>
                  <a:pt x="4145698" y="3321920"/>
                </a:lnTo>
                <a:cubicBezTo>
                  <a:pt x="4151645" y="3321920"/>
                  <a:pt x="4156435" y="3326710"/>
                  <a:pt x="4156435" y="3332657"/>
                </a:cubicBezTo>
                <a:cubicBezTo>
                  <a:pt x="4156435" y="3338603"/>
                  <a:pt x="4151645" y="3343393"/>
                  <a:pt x="4145698" y="3343393"/>
                </a:cubicBezTo>
                <a:lnTo>
                  <a:pt x="4137275" y="3334970"/>
                </a:lnTo>
                <a:lnTo>
                  <a:pt x="4133805" y="3338440"/>
                </a:lnTo>
                <a:lnTo>
                  <a:pt x="4127281" y="3331914"/>
                </a:lnTo>
                <a:lnTo>
                  <a:pt x="4123894" y="3335301"/>
                </a:lnTo>
                <a:lnTo>
                  <a:pt x="4118444" y="3329851"/>
                </a:lnTo>
                <a:lnTo>
                  <a:pt x="4115140" y="3333153"/>
                </a:lnTo>
                <a:lnTo>
                  <a:pt x="4110269" y="3328281"/>
                </a:lnTo>
                <a:lnTo>
                  <a:pt x="4106715" y="3331833"/>
                </a:lnTo>
                <a:lnTo>
                  <a:pt x="4101182" y="3326299"/>
                </a:lnTo>
                <a:lnTo>
                  <a:pt x="4097300" y="3330180"/>
                </a:lnTo>
                <a:lnTo>
                  <a:pt x="4090528" y="3323408"/>
                </a:lnTo>
                <a:lnTo>
                  <a:pt x="4086068" y="3327867"/>
                </a:lnTo>
                <a:lnTo>
                  <a:pt x="4076653" y="3318452"/>
                </a:lnTo>
                <a:lnTo>
                  <a:pt x="4071367" y="3323738"/>
                </a:lnTo>
                <a:cubicBezTo>
                  <a:pt x="4065421" y="3323738"/>
                  <a:pt x="4060631" y="3318948"/>
                  <a:pt x="4060631" y="3313001"/>
                </a:cubicBezTo>
                <a:cubicBezTo>
                  <a:pt x="4060631" y="3307055"/>
                  <a:pt x="4065421" y="3302265"/>
                  <a:pt x="4071367" y="3302265"/>
                </a:cubicBezTo>
                <a:close/>
                <a:moveTo>
                  <a:pt x="3272219" y="3298795"/>
                </a:moveTo>
                <a:cubicBezTo>
                  <a:pt x="3278166" y="3298795"/>
                  <a:pt x="3282958" y="3303585"/>
                  <a:pt x="3282958" y="3309531"/>
                </a:cubicBezTo>
                <a:cubicBezTo>
                  <a:pt x="3282958" y="3315478"/>
                  <a:pt x="3278166" y="3320268"/>
                  <a:pt x="3272219" y="3320268"/>
                </a:cubicBezTo>
                <a:cubicBezTo>
                  <a:pt x="3266273" y="3320268"/>
                  <a:pt x="3261483" y="3315478"/>
                  <a:pt x="3261483" y="3309531"/>
                </a:cubicBezTo>
                <a:cubicBezTo>
                  <a:pt x="3261483" y="3303585"/>
                  <a:pt x="3266273" y="3298795"/>
                  <a:pt x="3272219" y="3298795"/>
                </a:cubicBezTo>
                <a:close/>
                <a:moveTo>
                  <a:pt x="2779814" y="3296483"/>
                </a:moveTo>
                <a:cubicBezTo>
                  <a:pt x="2785761" y="3296483"/>
                  <a:pt x="2790552" y="3301273"/>
                  <a:pt x="2790552" y="3307220"/>
                </a:cubicBezTo>
                <a:cubicBezTo>
                  <a:pt x="2790552" y="3313166"/>
                  <a:pt x="2785761" y="3317956"/>
                  <a:pt x="2779814" y="3317956"/>
                </a:cubicBezTo>
                <a:cubicBezTo>
                  <a:pt x="2773868" y="3317956"/>
                  <a:pt x="2769078" y="3313166"/>
                  <a:pt x="2769078" y="3307220"/>
                </a:cubicBezTo>
                <a:cubicBezTo>
                  <a:pt x="2769078" y="3301273"/>
                  <a:pt x="2773868" y="3296483"/>
                  <a:pt x="2779814" y="3296483"/>
                </a:cubicBezTo>
                <a:close/>
                <a:moveTo>
                  <a:pt x="4051875" y="3295491"/>
                </a:moveTo>
                <a:cubicBezTo>
                  <a:pt x="4057822" y="3295491"/>
                  <a:pt x="4062612" y="3300281"/>
                  <a:pt x="4062612" y="3306228"/>
                </a:cubicBezTo>
                <a:cubicBezTo>
                  <a:pt x="4062612" y="3312174"/>
                  <a:pt x="4057822" y="3316964"/>
                  <a:pt x="4051875" y="3316964"/>
                </a:cubicBezTo>
                <a:cubicBezTo>
                  <a:pt x="4045929" y="3316964"/>
                  <a:pt x="4041139" y="3312174"/>
                  <a:pt x="4041139" y="3306228"/>
                </a:cubicBezTo>
                <a:cubicBezTo>
                  <a:pt x="4041139" y="3300281"/>
                  <a:pt x="4045929" y="3295491"/>
                  <a:pt x="4051875" y="3295491"/>
                </a:cubicBezTo>
                <a:close/>
                <a:moveTo>
                  <a:pt x="3879757" y="3292848"/>
                </a:moveTo>
                <a:cubicBezTo>
                  <a:pt x="3885704" y="3292848"/>
                  <a:pt x="3890495" y="3297638"/>
                  <a:pt x="3890495" y="3303585"/>
                </a:cubicBezTo>
                <a:cubicBezTo>
                  <a:pt x="3890495" y="3309531"/>
                  <a:pt x="3885704" y="3314321"/>
                  <a:pt x="3879757" y="3314321"/>
                </a:cubicBezTo>
                <a:cubicBezTo>
                  <a:pt x="3873811" y="3314321"/>
                  <a:pt x="3869021" y="3309531"/>
                  <a:pt x="3869021" y="3303585"/>
                </a:cubicBezTo>
                <a:cubicBezTo>
                  <a:pt x="3869021" y="3297638"/>
                  <a:pt x="3873811" y="3292848"/>
                  <a:pt x="3879757" y="3292848"/>
                </a:cubicBezTo>
                <a:close/>
                <a:moveTo>
                  <a:pt x="4025942" y="3284920"/>
                </a:moveTo>
                <a:cubicBezTo>
                  <a:pt x="4031889" y="3284920"/>
                  <a:pt x="4036678" y="3289710"/>
                  <a:pt x="4036678" y="3295656"/>
                </a:cubicBezTo>
                <a:cubicBezTo>
                  <a:pt x="4036678" y="3301603"/>
                  <a:pt x="4031889" y="3306394"/>
                  <a:pt x="4025942" y="3306394"/>
                </a:cubicBezTo>
                <a:cubicBezTo>
                  <a:pt x="4019996" y="3306394"/>
                  <a:pt x="4015206" y="3301603"/>
                  <a:pt x="4015206" y="3295656"/>
                </a:cubicBezTo>
                <a:cubicBezTo>
                  <a:pt x="4015206" y="3289710"/>
                  <a:pt x="4019996" y="3284920"/>
                  <a:pt x="4025942" y="3284920"/>
                </a:cubicBezTo>
                <a:close/>
                <a:moveTo>
                  <a:pt x="702659" y="3281287"/>
                </a:moveTo>
                <a:cubicBezTo>
                  <a:pt x="708605" y="3281287"/>
                  <a:pt x="713397" y="3286076"/>
                  <a:pt x="713397" y="3292023"/>
                </a:cubicBezTo>
                <a:cubicBezTo>
                  <a:pt x="713397" y="3297970"/>
                  <a:pt x="708605" y="3302761"/>
                  <a:pt x="702659" y="3302761"/>
                </a:cubicBezTo>
                <a:cubicBezTo>
                  <a:pt x="696712" y="3302761"/>
                  <a:pt x="691923" y="3297970"/>
                  <a:pt x="691923" y="3292023"/>
                </a:cubicBezTo>
                <a:cubicBezTo>
                  <a:pt x="691923" y="3286076"/>
                  <a:pt x="696712" y="3281287"/>
                  <a:pt x="702659" y="3281287"/>
                </a:cubicBezTo>
                <a:close/>
                <a:moveTo>
                  <a:pt x="227762" y="3279799"/>
                </a:moveTo>
                <a:cubicBezTo>
                  <a:pt x="233709" y="3279799"/>
                  <a:pt x="238500" y="3284589"/>
                  <a:pt x="238500" y="3290535"/>
                </a:cubicBezTo>
                <a:cubicBezTo>
                  <a:pt x="238500" y="3296482"/>
                  <a:pt x="233709" y="3301273"/>
                  <a:pt x="227762" y="3301273"/>
                </a:cubicBezTo>
                <a:cubicBezTo>
                  <a:pt x="221816" y="3301273"/>
                  <a:pt x="217026" y="3296482"/>
                  <a:pt x="217026" y="3290535"/>
                </a:cubicBezTo>
                <a:cubicBezTo>
                  <a:pt x="217026" y="3284589"/>
                  <a:pt x="221816" y="3279799"/>
                  <a:pt x="227762" y="3279799"/>
                </a:cubicBezTo>
                <a:close/>
                <a:moveTo>
                  <a:pt x="4216892" y="3277156"/>
                </a:moveTo>
                <a:cubicBezTo>
                  <a:pt x="4222838" y="3277156"/>
                  <a:pt x="4227628" y="3281946"/>
                  <a:pt x="4227628" y="3287892"/>
                </a:cubicBezTo>
                <a:cubicBezTo>
                  <a:pt x="4227628" y="3293839"/>
                  <a:pt x="4222838" y="3298630"/>
                  <a:pt x="4216892" y="3298630"/>
                </a:cubicBezTo>
                <a:cubicBezTo>
                  <a:pt x="4210945" y="3298630"/>
                  <a:pt x="4206155" y="3293839"/>
                  <a:pt x="4206155" y="3287892"/>
                </a:cubicBezTo>
                <a:cubicBezTo>
                  <a:pt x="4206155" y="3281946"/>
                  <a:pt x="4210945" y="3277156"/>
                  <a:pt x="4216892" y="3277156"/>
                </a:cubicBezTo>
                <a:close/>
                <a:moveTo>
                  <a:pt x="3991420" y="3269394"/>
                </a:moveTo>
                <a:cubicBezTo>
                  <a:pt x="3997366" y="3269394"/>
                  <a:pt x="4002156" y="3274183"/>
                  <a:pt x="4002156" y="3280130"/>
                </a:cubicBezTo>
                <a:cubicBezTo>
                  <a:pt x="4002156" y="3286076"/>
                  <a:pt x="3997366" y="3290866"/>
                  <a:pt x="3991420" y="3290866"/>
                </a:cubicBezTo>
                <a:cubicBezTo>
                  <a:pt x="3985473" y="3290866"/>
                  <a:pt x="3980683" y="3286076"/>
                  <a:pt x="3980683" y="3280130"/>
                </a:cubicBezTo>
                <a:cubicBezTo>
                  <a:pt x="3980683" y="3274183"/>
                  <a:pt x="3985473" y="3269394"/>
                  <a:pt x="3991420" y="3269394"/>
                </a:cubicBezTo>
                <a:close/>
                <a:moveTo>
                  <a:pt x="3633967" y="3267741"/>
                </a:moveTo>
                <a:cubicBezTo>
                  <a:pt x="3639914" y="3267741"/>
                  <a:pt x="3644705" y="3272531"/>
                  <a:pt x="3644705" y="3278477"/>
                </a:cubicBezTo>
                <a:cubicBezTo>
                  <a:pt x="3644705" y="3284424"/>
                  <a:pt x="3639914" y="3289214"/>
                  <a:pt x="3633967" y="3289214"/>
                </a:cubicBezTo>
                <a:cubicBezTo>
                  <a:pt x="3628021" y="3289214"/>
                  <a:pt x="3623231" y="3284424"/>
                  <a:pt x="3623231" y="3278477"/>
                </a:cubicBezTo>
                <a:cubicBezTo>
                  <a:pt x="3623231" y="3272531"/>
                  <a:pt x="3628021" y="3267741"/>
                  <a:pt x="3633967" y="3267741"/>
                </a:cubicBezTo>
                <a:close/>
                <a:moveTo>
                  <a:pt x="4201034" y="3265923"/>
                </a:moveTo>
                <a:cubicBezTo>
                  <a:pt x="4206981" y="3265923"/>
                  <a:pt x="4211771" y="3270713"/>
                  <a:pt x="4211771" y="3276660"/>
                </a:cubicBezTo>
                <a:cubicBezTo>
                  <a:pt x="4211771" y="3282606"/>
                  <a:pt x="4206981" y="3287398"/>
                  <a:pt x="4201034" y="3287398"/>
                </a:cubicBezTo>
                <a:cubicBezTo>
                  <a:pt x="4195088" y="3287398"/>
                  <a:pt x="4190298" y="3282606"/>
                  <a:pt x="4190298" y="3276660"/>
                </a:cubicBezTo>
                <a:cubicBezTo>
                  <a:pt x="4190298" y="3270713"/>
                  <a:pt x="4195088" y="3265923"/>
                  <a:pt x="4201034" y="3265923"/>
                </a:cubicBezTo>
                <a:close/>
                <a:moveTo>
                  <a:pt x="3812859" y="3262951"/>
                </a:moveTo>
                <a:cubicBezTo>
                  <a:pt x="3818806" y="3262951"/>
                  <a:pt x="3823595" y="3267741"/>
                  <a:pt x="3823595" y="3273687"/>
                </a:cubicBezTo>
                <a:cubicBezTo>
                  <a:pt x="3823595" y="3279634"/>
                  <a:pt x="3818806" y="3284424"/>
                  <a:pt x="3812859" y="3284424"/>
                </a:cubicBezTo>
                <a:cubicBezTo>
                  <a:pt x="3806913" y="3284424"/>
                  <a:pt x="3802123" y="3279634"/>
                  <a:pt x="3802123" y="3273687"/>
                </a:cubicBezTo>
                <a:cubicBezTo>
                  <a:pt x="3802123" y="3267741"/>
                  <a:pt x="3806913" y="3262951"/>
                  <a:pt x="3812859" y="3262951"/>
                </a:cubicBezTo>
                <a:close/>
                <a:moveTo>
                  <a:pt x="2944996" y="3262951"/>
                </a:moveTo>
                <a:cubicBezTo>
                  <a:pt x="2950942" y="3262951"/>
                  <a:pt x="2955734" y="3267741"/>
                  <a:pt x="2955734" y="3273687"/>
                </a:cubicBezTo>
                <a:cubicBezTo>
                  <a:pt x="2955734" y="3279634"/>
                  <a:pt x="2950942" y="3284424"/>
                  <a:pt x="2944996" y="3284424"/>
                </a:cubicBezTo>
                <a:cubicBezTo>
                  <a:pt x="2939049" y="3284424"/>
                  <a:pt x="2934259" y="3279634"/>
                  <a:pt x="2934259" y="3273687"/>
                </a:cubicBezTo>
                <a:cubicBezTo>
                  <a:pt x="2934259" y="3267741"/>
                  <a:pt x="2939049" y="3262951"/>
                  <a:pt x="2944996" y="3262951"/>
                </a:cubicBezTo>
                <a:close/>
                <a:moveTo>
                  <a:pt x="4109029" y="3260804"/>
                </a:moveTo>
                <a:lnTo>
                  <a:pt x="4117370" y="3269146"/>
                </a:lnTo>
                <a:lnTo>
                  <a:pt x="4120261" y="3266255"/>
                </a:lnTo>
                <a:lnTo>
                  <a:pt x="4126620" y="3272614"/>
                </a:lnTo>
                <a:lnTo>
                  <a:pt x="4129015" y="3270219"/>
                </a:lnTo>
                <a:lnTo>
                  <a:pt x="4134384" y="3275586"/>
                </a:lnTo>
                <a:lnTo>
                  <a:pt x="4136448" y="3273523"/>
                </a:lnTo>
                <a:lnTo>
                  <a:pt x="4141817" y="3278892"/>
                </a:lnTo>
                <a:lnTo>
                  <a:pt x="4143716" y="3276991"/>
                </a:lnTo>
                <a:lnTo>
                  <a:pt x="4149746" y="3283021"/>
                </a:lnTo>
                <a:lnTo>
                  <a:pt x="4151809" y="3280955"/>
                </a:lnTo>
                <a:lnTo>
                  <a:pt x="4159325" y="3288471"/>
                </a:lnTo>
                <a:lnTo>
                  <a:pt x="4161556" y="3286241"/>
                </a:lnTo>
                <a:lnTo>
                  <a:pt x="4171137" y="3295823"/>
                </a:lnTo>
                <a:lnTo>
                  <a:pt x="4173615" y="3293344"/>
                </a:lnTo>
                <a:cubicBezTo>
                  <a:pt x="4179562" y="3293344"/>
                  <a:pt x="4184351" y="3298134"/>
                  <a:pt x="4184351" y="3304081"/>
                </a:cubicBezTo>
                <a:cubicBezTo>
                  <a:pt x="4184351" y="3310027"/>
                  <a:pt x="4179562" y="3314819"/>
                  <a:pt x="4173615" y="3314819"/>
                </a:cubicBezTo>
                <a:lnTo>
                  <a:pt x="4164034" y="3305236"/>
                </a:lnTo>
                <a:lnTo>
                  <a:pt x="4161556" y="3307714"/>
                </a:lnTo>
                <a:lnTo>
                  <a:pt x="4154041" y="3300200"/>
                </a:lnTo>
                <a:lnTo>
                  <a:pt x="4151809" y="3302430"/>
                </a:lnTo>
                <a:lnTo>
                  <a:pt x="4145780" y="3296400"/>
                </a:lnTo>
                <a:lnTo>
                  <a:pt x="4143716" y="3298464"/>
                </a:lnTo>
                <a:lnTo>
                  <a:pt x="4138347" y="3293096"/>
                </a:lnTo>
                <a:lnTo>
                  <a:pt x="4136448" y="3294995"/>
                </a:lnTo>
                <a:lnTo>
                  <a:pt x="4131081" y="3289628"/>
                </a:lnTo>
                <a:lnTo>
                  <a:pt x="4129015" y="3291692"/>
                </a:lnTo>
                <a:lnTo>
                  <a:pt x="4122656" y="3285334"/>
                </a:lnTo>
                <a:lnTo>
                  <a:pt x="4120261" y="3287729"/>
                </a:lnTo>
                <a:lnTo>
                  <a:pt x="4111920" y="3279388"/>
                </a:lnTo>
                <a:lnTo>
                  <a:pt x="4109029" y="3282279"/>
                </a:lnTo>
                <a:cubicBezTo>
                  <a:pt x="4103082" y="3282279"/>
                  <a:pt x="4098292" y="3277487"/>
                  <a:pt x="4098292" y="3271541"/>
                </a:cubicBezTo>
                <a:cubicBezTo>
                  <a:pt x="4098292" y="3265594"/>
                  <a:pt x="4103082" y="3260804"/>
                  <a:pt x="4109029" y="3260804"/>
                </a:cubicBezTo>
                <a:close/>
                <a:moveTo>
                  <a:pt x="4244973" y="3257501"/>
                </a:moveTo>
                <a:cubicBezTo>
                  <a:pt x="4248607" y="3257501"/>
                  <a:pt x="4251414" y="3260308"/>
                  <a:pt x="4251414" y="3263943"/>
                </a:cubicBezTo>
                <a:cubicBezTo>
                  <a:pt x="4251414" y="3267576"/>
                  <a:pt x="4248442" y="3270384"/>
                  <a:pt x="4244973" y="3270384"/>
                </a:cubicBezTo>
                <a:cubicBezTo>
                  <a:pt x="4241339" y="3270384"/>
                  <a:pt x="4238531" y="3267576"/>
                  <a:pt x="4238531" y="3263943"/>
                </a:cubicBezTo>
                <a:cubicBezTo>
                  <a:pt x="4238531" y="3260308"/>
                  <a:pt x="4241339" y="3257501"/>
                  <a:pt x="4244973" y="3257501"/>
                </a:cubicBezTo>
                <a:close/>
                <a:moveTo>
                  <a:pt x="3399906" y="3257336"/>
                </a:moveTo>
                <a:cubicBezTo>
                  <a:pt x="3405852" y="3257336"/>
                  <a:pt x="3410642" y="3262126"/>
                  <a:pt x="3410642" y="3268072"/>
                </a:cubicBezTo>
                <a:cubicBezTo>
                  <a:pt x="3410642" y="3274019"/>
                  <a:pt x="3405852" y="3278808"/>
                  <a:pt x="3399906" y="3278808"/>
                </a:cubicBezTo>
                <a:cubicBezTo>
                  <a:pt x="3393959" y="3278808"/>
                  <a:pt x="3389170" y="3274019"/>
                  <a:pt x="3389170" y="3268072"/>
                </a:cubicBezTo>
                <a:cubicBezTo>
                  <a:pt x="3389170" y="3262126"/>
                  <a:pt x="3393959" y="3257336"/>
                  <a:pt x="3399906" y="3257336"/>
                </a:cubicBezTo>
                <a:close/>
                <a:moveTo>
                  <a:pt x="4093832" y="3252875"/>
                </a:moveTo>
                <a:cubicBezTo>
                  <a:pt x="4099779" y="3252875"/>
                  <a:pt x="4104570" y="3257665"/>
                  <a:pt x="4104570" y="3263612"/>
                </a:cubicBezTo>
                <a:cubicBezTo>
                  <a:pt x="4104570" y="3269558"/>
                  <a:pt x="4099779" y="3274348"/>
                  <a:pt x="4093832" y="3274348"/>
                </a:cubicBezTo>
                <a:cubicBezTo>
                  <a:pt x="4087886" y="3274348"/>
                  <a:pt x="4083096" y="3269558"/>
                  <a:pt x="4083096" y="3263612"/>
                </a:cubicBezTo>
                <a:cubicBezTo>
                  <a:pt x="4083096" y="3257665"/>
                  <a:pt x="4087886" y="3252875"/>
                  <a:pt x="4093832" y="3252875"/>
                </a:cubicBezTo>
                <a:close/>
                <a:moveTo>
                  <a:pt x="3946655" y="3247590"/>
                </a:moveTo>
                <a:cubicBezTo>
                  <a:pt x="3952602" y="3247590"/>
                  <a:pt x="3957391" y="3252379"/>
                  <a:pt x="3957391" y="3258326"/>
                </a:cubicBezTo>
                <a:cubicBezTo>
                  <a:pt x="3957391" y="3264273"/>
                  <a:pt x="3952602" y="3269062"/>
                  <a:pt x="3946655" y="3269062"/>
                </a:cubicBezTo>
                <a:cubicBezTo>
                  <a:pt x="3940709" y="3269062"/>
                  <a:pt x="3935919" y="3264273"/>
                  <a:pt x="3935919" y="3258326"/>
                </a:cubicBezTo>
                <a:cubicBezTo>
                  <a:pt x="3935919" y="3252379"/>
                  <a:pt x="3940709" y="3247590"/>
                  <a:pt x="3946655" y="3247590"/>
                </a:cubicBezTo>
                <a:close/>
                <a:moveTo>
                  <a:pt x="1731904" y="3246929"/>
                </a:moveTo>
                <a:cubicBezTo>
                  <a:pt x="1737851" y="3246929"/>
                  <a:pt x="1742642" y="3251719"/>
                  <a:pt x="1742642" y="3257665"/>
                </a:cubicBezTo>
                <a:cubicBezTo>
                  <a:pt x="1742642" y="3263612"/>
                  <a:pt x="1737851" y="3268402"/>
                  <a:pt x="1731904" y="3268402"/>
                </a:cubicBezTo>
                <a:cubicBezTo>
                  <a:pt x="1725958" y="3268402"/>
                  <a:pt x="1721168" y="3263612"/>
                  <a:pt x="1721168" y="3257665"/>
                </a:cubicBezTo>
                <a:cubicBezTo>
                  <a:pt x="1721168" y="3251719"/>
                  <a:pt x="1725958" y="3246929"/>
                  <a:pt x="1731904" y="3246929"/>
                </a:cubicBezTo>
                <a:close/>
                <a:moveTo>
                  <a:pt x="542268" y="3246268"/>
                </a:moveTo>
                <a:cubicBezTo>
                  <a:pt x="548214" y="3246268"/>
                  <a:pt x="553005" y="3251058"/>
                  <a:pt x="553005" y="3257005"/>
                </a:cubicBezTo>
                <a:cubicBezTo>
                  <a:pt x="553005" y="3262951"/>
                  <a:pt x="548214" y="3267743"/>
                  <a:pt x="542268" y="3267743"/>
                </a:cubicBezTo>
                <a:cubicBezTo>
                  <a:pt x="536321" y="3267743"/>
                  <a:pt x="531531" y="3262951"/>
                  <a:pt x="531531" y="3257005"/>
                </a:cubicBezTo>
                <a:cubicBezTo>
                  <a:pt x="531531" y="3251058"/>
                  <a:pt x="536321" y="3246268"/>
                  <a:pt x="542268" y="3246268"/>
                </a:cubicBezTo>
                <a:close/>
                <a:moveTo>
                  <a:pt x="1939868" y="3244947"/>
                </a:moveTo>
                <a:cubicBezTo>
                  <a:pt x="1945814" y="3244947"/>
                  <a:pt x="1950606" y="3249737"/>
                  <a:pt x="1950606" y="3255683"/>
                </a:cubicBezTo>
                <a:cubicBezTo>
                  <a:pt x="1950606" y="3261630"/>
                  <a:pt x="1945814" y="3266419"/>
                  <a:pt x="1939868" y="3266419"/>
                </a:cubicBezTo>
                <a:cubicBezTo>
                  <a:pt x="1933921" y="3266419"/>
                  <a:pt x="1929131" y="3261630"/>
                  <a:pt x="1929131" y="3255683"/>
                </a:cubicBezTo>
                <a:cubicBezTo>
                  <a:pt x="1929131" y="3249737"/>
                  <a:pt x="1933921" y="3244947"/>
                  <a:pt x="1939868" y="3244947"/>
                </a:cubicBezTo>
                <a:close/>
                <a:moveTo>
                  <a:pt x="4073018" y="3241312"/>
                </a:moveTo>
                <a:cubicBezTo>
                  <a:pt x="4078965" y="3241312"/>
                  <a:pt x="4083755" y="3246102"/>
                  <a:pt x="4083755" y="3252048"/>
                </a:cubicBezTo>
                <a:cubicBezTo>
                  <a:pt x="4083755" y="3257995"/>
                  <a:pt x="4078965" y="3262785"/>
                  <a:pt x="4073018" y="3262785"/>
                </a:cubicBezTo>
                <a:cubicBezTo>
                  <a:pt x="4067072" y="3262785"/>
                  <a:pt x="4062282" y="3257995"/>
                  <a:pt x="4062282" y="3252048"/>
                </a:cubicBezTo>
                <a:cubicBezTo>
                  <a:pt x="4062282" y="3246102"/>
                  <a:pt x="4067072" y="3241312"/>
                  <a:pt x="4073018" y="3241312"/>
                </a:cubicBezTo>
                <a:close/>
                <a:moveTo>
                  <a:pt x="1524601" y="3241312"/>
                </a:moveTo>
                <a:cubicBezTo>
                  <a:pt x="1530548" y="3241312"/>
                  <a:pt x="1535339" y="3246102"/>
                  <a:pt x="1535339" y="3252048"/>
                </a:cubicBezTo>
                <a:cubicBezTo>
                  <a:pt x="1535339" y="3257995"/>
                  <a:pt x="1530548" y="3262785"/>
                  <a:pt x="1524601" y="3262785"/>
                </a:cubicBezTo>
                <a:cubicBezTo>
                  <a:pt x="1518655" y="3262785"/>
                  <a:pt x="1513865" y="3257995"/>
                  <a:pt x="1513865" y="3252048"/>
                </a:cubicBezTo>
                <a:cubicBezTo>
                  <a:pt x="1513865" y="3246102"/>
                  <a:pt x="1518655" y="3241312"/>
                  <a:pt x="1524601" y="3241312"/>
                </a:cubicBezTo>
                <a:close/>
                <a:moveTo>
                  <a:pt x="4228124" y="3239990"/>
                </a:moveTo>
                <a:cubicBezTo>
                  <a:pt x="4234071" y="3239990"/>
                  <a:pt x="4238862" y="3244780"/>
                  <a:pt x="4238862" y="3250727"/>
                </a:cubicBezTo>
                <a:cubicBezTo>
                  <a:pt x="4238862" y="3256673"/>
                  <a:pt x="4234071" y="3261465"/>
                  <a:pt x="4228124" y="3261465"/>
                </a:cubicBezTo>
                <a:cubicBezTo>
                  <a:pt x="4222178" y="3261465"/>
                  <a:pt x="4217388" y="3256673"/>
                  <a:pt x="4217388" y="3250727"/>
                </a:cubicBezTo>
                <a:cubicBezTo>
                  <a:pt x="4217388" y="3244780"/>
                  <a:pt x="4222178" y="3239990"/>
                  <a:pt x="4228124" y="3239990"/>
                </a:cubicBezTo>
                <a:close/>
                <a:moveTo>
                  <a:pt x="104538" y="3237679"/>
                </a:moveTo>
                <a:cubicBezTo>
                  <a:pt x="110484" y="3237679"/>
                  <a:pt x="115276" y="3242469"/>
                  <a:pt x="115276" y="3248415"/>
                </a:cubicBezTo>
                <a:cubicBezTo>
                  <a:pt x="115276" y="3254362"/>
                  <a:pt x="110484" y="3259151"/>
                  <a:pt x="104538" y="3259151"/>
                </a:cubicBezTo>
                <a:cubicBezTo>
                  <a:pt x="98591" y="3259151"/>
                  <a:pt x="93801" y="3254362"/>
                  <a:pt x="93801" y="3248415"/>
                </a:cubicBezTo>
                <a:cubicBezTo>
                  <a:pt x="93801" y="3242469"/>
                  <a:pt x="98591" y="3237679"/>
                  <a:pt x="104538" y="3237679"/>
                </a:cubicBezTo>
                <a:close/>
                <a:moveTo>
                  <a:pt x="2145683" y="3235201"/>
                </a:moveTo>
                <a:cubicBezTo>
                  <a:pt x="2151629" y="3235201"/>
                  <a:pt x="2156421" y="3239990"/>
                  <a:pt x="2156421" y="3245937"/>
                </a:cubicBezTo>
                <a:cubicBezTo>
                  <a:pt x="2156421" y="3251883"/>
                  <a:pt x="2151629" y="3256673"/>
                  <a:pt x="2145683" y="3256673"/>
                </a:cubicBezTo>
                <a:cubicBezTo>
                  <a:pt x="2139736" y="3256673"/>
                  <a:pt x="2134946" y="3251883"/>
                  <a:pt x="2134946" y="3245937"/>
                </a:cubicBezTo>
                <a:cubicBezTo>
                  <a:pt x="2134946" y="3239990"/>
                  <a:pt x="2139736" y="3235201"/>
                  <a:pt x="2145683" y="3235201"/>
                </a:cubicBezTo>
                <a:close/>
                <a:moveTo>
                  <a:pt x="1320933" y="3228262"/>
                </a:moveTo>
                <a:cubicBezTo>
                  <a:pt x="1326880" y="3228262"/>
                  <a:pt x="1331669" y="3233052"/>
                  <a:pt x="1331669" y="3238998"/>
                </a:cubicBezTo>
                <a:cubicBezTo>
                  <a:pt x="1331669" y="3244945"/>
                  <a:pt x="1326880" y="3249737"/>
                  <a:pt x="1320933" y="3249737"/>
                </a:cubicBezTo>
                <a:cubicBezTo>
                  <a:pt x="1314986" y="3249737"/>
                  <a:pt x="1310197" y="3244945"/>
                  <a:pt x="1310197" y="3238998"/>
                </a:cubicBezTo>
                <a:cubicBezTo>
                  <a:pt x="1310197" y="3233052"/>
                  <a:pt x="1314986" y="3228262"/>
                  <a:pt x="1320933" y="3228262"/>
                </a:cubicBezTo>
                <a:close/>
                <a:moveTo>
                  <a:pt x="3099937" y="3226446"/>
                </a:moveTo>
                <a:cubicBezTo>
                  <a:pt x="3105883" y="3226446"/>
                  <a:pt x="3110675" y="3231236"/>
                  <a:pt x="3110675" y="3237183"/>
                </a:cubicBezTo>
                <a:cubicBezTo>
                  <a:pt x="3110675" y="3243129"/>
                  <a:pt x="3105883" y="3247919"/>
                  <a:pt x="3099937" y="3247919"/>
                </a:cubicBezTo>
                <a:cubicBezTo>
                  <a:pt x="3093990" y="3247919"/>
                  <a:pt x="3089200" y="3243129"/>
                  <a:pt x="3089200" y="3237183"/>
                </a:cubicBezTo>
                <a:cubicBezTo>
                  <a:pt x="3089200" y="3231236"/>
                  <a:pt x="3093990" y="3226446"/>
                  <a:pt x="3099937" y="3226446"/>
                </a:cubicBezTo>
                <a:close/>
                <a:moveTo>
                  <a:pt x="4044772" y="3225125"/>
                </a:moveTo>
                <a:cubicBezTo>
                  <a:pt x="4050718" y="3225125"/>
                  <a:pt x="4055510" y="3229915"/>
                  <a:pt x="4055510" y="3235861"/>
                </a:cubicBezTo>
                <a:cubicBezTo>
                  <a:pt x="4055510" y="3241808"/>
                  <a:pt x="4050718" y="3246599"/>
                  <a:pt x="4044772" y="3246599"/>
                </a:cubicBezTo>
                <a:cubicBezTo>
                  <a:pt x="4038825" y="3246599"/>
                  <a:pt x="4034036" y="3241808"/>
                  <a:pt x="4034036" y="3235861"/>
                </a:cubicBezTo>
                <a:cubicBezTo>
                  <a:pt x="4034036" y="3229915"/>
                  <a:pt x="4038825" y="3225125"/>
                  <a:pt x="4044772" y="3225125"/>
                </a:cubicBezTo>
                <a:close/>
                <a:moveTo>
                  <a:pt x="3729441" y="3223308"/>
                </a:moveTo>
                <a:cubicBezTo>
                  <a:pt x="3735388" y="3223308"/>
                  <a:pt x="3740179" y="3228097"/>
                  <a:pt x="3740179" y="3234044"/>
                </a:cubicBezTo>
                <a:cubicBezTo>
                  <a:pt x="3740179" y="3239990"/>
                  <a:pt x="3735388" y="3244780"/>
                  <a:pt x="3729441" y="3244780"/>
                </a:cubicBezTo>
                <a:cubicBezTo>
                  <a:pt x="3723495" y="3244780"/>
                  <a:pt x="3718705" y="3239990"/>
                  <a:pt x="3718705" y="3234044"/>
                </a:cubicBezTo>
                <a:cubicBezTo>
                  <a:pt x="3718705" y="3228097"/>
                  <a:pt x="3723495" y="3223308"/>
                  <a:pt x="3729441" y="3223308"/>
                </a:cubicBezTo>
                <a:close/>
                <a:moveTo>
                  <a:pt x="2346214" y="3218518"/>
                </a:moveTo>
                <a:cubicBezTo>
                  <a:pt x="2352161" y="3218518"/>
                  <a:pt x="2356952" y="3223308"/>
                  <a:pt x="2356952" y="3229254"/>
                </a:cubicBezTo>
                <a:cubicBezTo>
                  <a:pt x="2356952" y="3235201"/>
                  <a:pt x="2352161" y="3239990"/>
                  <a:pt x="2346214" y="3239990"/>
                </a:cubicBezTo>
                <a:cubicBezTo>
                  <a:pt x="2340267" y="3239990"/>
                  <a:pt x="2335478" y="3235201"/>
                  <a:pt x="2335478" y="3229254"/>
                </a:cubicBezTo>
                <a:cubicBezTo>
                  <a:pt x="2335478" y="3223308"/>
                  <a:pt x="2340267" y="3218518"/>
                  <a:pt x="2346214" y="3218518"/>
                </a:cubicBezTo>
                <a:close/>
                <a:moveTo>
                  <a:pt x="3889172" y="3218022"/>
                </a:moveTo>
                <a:cubicBezTo>
                  <a:pt x="3895119" y="3218022"/>
                  <a:pt x="3899908" y="3222812"/>
                  <a:pt x="3899908" y="3228758"/>
                </a:cubicBezTo>
                <a:cubicBezTo>
                  <a:pt x="3899908" y="3234705"/>
                  <a:pt x="3895119" y="3239494"/>
                  <a:pt x="3889172" y="3239494"/>
                </a:cubicBezTo>
                <a:cubicBezTo>
                  <a:pt x="3883226" y="3239494"/>
                  <a:pt x="3878436" y="3234705"/>
                  <a:pt x="3878436" y="3228758"/>
                </a:cubicBezTo>
                <a:cubicBezTo>
                  <a:pt x="3878436" y="3222812"/>
                  <a:pt x="3883226" y="3218022"/>
                  <a:pt x="3889172" y="3218022"/>
                </a:cubicBezTo>
                <a:close/>
                <a:moveTo>
                  <a:pt x="4255049" y="3215214"/>
                </a:moveTo>
                <a:cubicBezTo>
                  <a:pt x="4260996" y="3215214"/>
                  <a:pt x="4265787" y="3220004"/>
                  <a:pt x="4265787" y="3225950"/>
                </a:cubicBezTo>
                <a:cubicBezTo>
                  <a:pt x="4265787" y="3231897"/>
                  <a:pt x="4260996" y="3236689"/>
                  <a:pt x="4255049" y="3236689"/>
                </a:cubicBezTo>
                <a:cubicBezTo>
                  <a:pt x="4249103" y="3236689"/>
                  <a:pt x="4244313" y="3231897"/>
                  <a:pt x="4244313" y="3225950"/>
                </a:cubicBezTo>
                <a:cubicBezTo>
                  <a:pt x="4244313" y="3220004"/>
                  <a:pt x="4249103" y="3215214"/>
                  <a:pt x="4255049" y="3215214"/>
                </a:cubicBezTo>
                <a:close/>
                <a:moveTo>
                  <a:pt x="3518009" y="3214883"/>
                </a:moveTo>
                <a:cubicBezTo>
                  <a:pt x="3523956" y="3214883"/>
                  <a:pt x="3528746" y="3219673"/>
                  <a:pt x="3528746" y="3225619"/>
                </a:cubicBezTo>
                <a:cubicBezTo>
                  <a:pt x="3528746" y="3231566"/>
                  <a:pt x="3523956" y="3236357"/>
                  <a:pt x="3518009" y="3236357"/>
                </a:cubicBezTo>
                <a:cubicBezTo>
                  <a:pt x="3512063" y="3236357"/>
                  <a:pt x="3507273" y="3231566"/>
                  <a:pt x="3507273" y="3225619"/>
                </a:cubicBezTo>
                <a:cubicBezTo>
                  <a:pt x="3507273" y="3219673"/>
                  <a:pt x="3512063" y="3214883"/>
                  <a:pt x="3518009" y="3214883"/>
                </a:cubicBezTo>
                <a:close/>
                <a:moveTo>
                  <a:pt x="4131989" y="3211250"/>
                </a:moveTo>
                <a:lnTo>
                  <a:pt x="4142313" y="3221573"/>
                </a:lnTo>
                <a:lnTo>
                  <a:pt x="4143386" y="3220500"/>
                </a:lnTo>
                <a:lnTo>
                  <a:pt x="4151067" y="3228179"/>
                </a:lnTo>
                <a:lnTo>
                  <a:pt x="4151809" y="3227437"/>
                </a:lnTo>
                <a:lnTo>
                  <a:pt x="4157922" y="3233548"/>
                </a:lnTo>
                <a:lnTo>
                  <a:pt x="4158417" y="3233054"/>
                </a:lnTo>
                <a:lnTo>
                  <a:pt x="4163952" y="3238587"/>
                </a:lnTo>
                <a:lnTo>
                  <a:pt x="4164365" y="3238175"/>
                </a:lnTo>
                <a:lnTo>
                  <a:pt x="4170228" y="3244038"/>
                </a:lnTo>
                <a:lnTo>
                  <a:pt x="4170806" y="3243461"/>
                </a:lnTo>
                <a:lnTo>
                  <a:pt x="4177661" y="3250314"/>
                </a:lnTo>
                <a:lnTo>
                  <a:pt x="4178570" y="3249405"/>
                </a:lnTo>
                <a:lnTo>
                  <a:pt x="4187242" y="3258078"/>
                </a:lnTo>
                <a:lnTo>
                  <a:pt x="4188481" y="3256840"/>
                </a:lnTo>
                <a:cubicBezTo>
                  <a:pt x="4194427" y="3256840"/>
                  <a:pt x="4199217" y="3261630"/>
                  <a:pt x="4199217" y="3267576"/>
                </a:cubicBezTo>
                <a:cubicBezTo>
                  <a:pt x="4199217" y="3273523"/>
                  <a:pt x="4194427" y="3278313"/>
                  <a:pt x="4188481" y="3278313"/>
                </a:cubicBezTo>
                <a:lnTo>
                  <a:pt x="4179808" y="3269642"/>
                </a:lnTo>
                <a:lnTo>
                  <a:pt x="4178570" y="3270880"/>
                </a:lnTo>
                <a:lnTo>
                  <a:pt x="4171714" y="3264025"/>
                </a:lnTo>
                <a:lnTo>
                  <a:pt x="4170806" y="3264933"/>
                </a:lnTo>
                <a:lnTo>
                  <a:pt x="4164942" y="3259070"/>
                </a:lnTo>
                <a:lnTo>
                  <a:pt x="4164365" y="3259647"/>
                </a:lnTo>
                <a:lnTo>
                  <a:pt x="4158831" y="3254114"/>
                </a:lnTo>
                <a:lnTo>
                  <a:pt x="4158417" y="3254526"/>
                </a:lnTo>
                <a:lnTo>
                  <a:pt x="4152305" y="3248415"/>
                </a:lnTo>
                <a:lnTo>
                  <a:pt x="4151809" y="3248909"/>
                </a:lnTo>
                <a:lnTo>
                  <a:pt x="4144130" y="3241230"/>
                </a:lnTo>
                <a:lnTo>
                  <a:pt x="4143386" y="3241974"/>
                </a:lnTo>
                <a:lnTo>
                  <a:pt x="4133063" y="3231651"/>
                </a:lnTo>
                <a:lnTo>
                  <a:pt x="4131989" y="3232724"/>
                </a:lnTo>
                <a:cubicBezTo>
                  <a:pt x="4126043" y="3232724"/>
                  <a:pt x="4121253" y="3227933"/>
                  <a:pt x="4121253" y="3221986"/>
                </a:cubicBezTo>
                <a:cubicBezTo>
                  <a:pt x="4121253" y="3216040"/>
                  <a:pt x="4126043" y="3211250"/>
                  <a:pt x="4131989" y="3211250"/>
                </a:cubicBezTo>
                <a:close/>
                <a:moveTo>
                  <a:pt x="392283" y="3208772"/>
                </a:moveTo>
                <a:cubicBezTo>
                  <a:pt x="398229" y="3208772"/>
                  <a:pt x="403021" y="3213561"/>
                  <a:pt x="403021" y="3219508"/>
                </a:cubicBezTo>
                <a:cubicBezTo>
                  <a:pt x="403021" y="3225454"/>
                  <a:pt x="398229" y="3230244"/>
                  <a:pt x="392283" y="3230244"/>
                </a:cubicBezTo>
                <a:cubicBezTo>
                  <a:pt x="386336" y="3230244"/>
                  <a:pt x="381546" y="3225454"/>
                  <a:pt x="381546" y="3219508"/>
                </a:cubicBezTo>
                <a:cubicBezTo>
                  <a:pt x="381546" y="3213561"/>
                  <a:pt x="386336" y="3208772"/>
                  <a:pt x="392283" y="3208772"/>
                </a:cubicBezTo>
                <a:close/>
                <a:moveTo>
                  <a:pt x="1123541" y="3208607"/>
                </a:moveTo>
                <a:cubicBezTo>
                  <a:pt x="1129487" y="3208607"/>
                  <a:pt x="1134279" y="3213397"/>
                  <a:pt x="1134279" y="3219343"/>
                </a:cubicBezTo>
                <a:cubicBezTo>
                  <a:pt x="1134279" y="3225290"/>
                  <a:pt x="1129487" y="3230081"/>
                  <a:pt x="1123541" y="3230081"/>
                </a:cubicBezTo>
                <a:cubicBezTo>
                  <a:pt x="1117594" y="3230081"/>
                  <a:pt x="1112805" y="3225290"/>
                  <a:pt x="1112805" y="3219343"/>
                </a:cubicBezTo>
                <a:cubicBezTo>
                  <a:pt x="1112805" y="3213397"/>
                  <a:pt x="1117594" y="3208607"/>
                  <a:pt x="1123541" y="3208607"/>
                </a:cubicBezTo>
                <a:close/>
                <a:moveTo>
                  <a:pt x="0" y="3204167"/>
                </a:moveTo>
                <a:lnTo>
                  <a:pt x="1630" y="3205797"/>
                </a:lnTo>
                <a:lnTo>
                  <a:pt x="0" y="3207427"/>
                </a:lnTo>
                <a:close/>
                <a:moveTo>
                  <a:pt x="4007442" y="3203156"/>
                </a:moveTo>
                <a:cubicBezTo>
                  <a:pt x="4013388" y="3203156"/>
                  <a:pt x="4018178" y="3207946"/>
                  <a:pt x="4018178" y="3213893"/>
                </a:cubicBezTo>
                <a:cubicBezTo>
                  <a:pt x="4018178" y="3219839"/>
                  <a:pt x="4013388" y="3224629"/>
                  <a:pt x="4007442" y="3224629"/>
                </a:cubicBezTo>
                <a:cubicBezTo>
                  <a:pt x="4001495" y="3224629"/>
                  <a:pt x="3996705" y="3219839"/>
                  <a:pt x="3996705" y="3213893"/>
                </a:cubicBezTo>
                <a:cubicBezTo>
                  <a:pt x="3996705" y="3207946"/>
                  <a:pt x="4001495" y="3203156"/>
                  <a:pt x="4007442" y="3203156"/>
                </a:cubicBezTo>
                <a:close/>
                <a:moveTo>
                  <a:pt x="4240678" y="3202000"/>
                </a:moveTo>
                <a:cubicBezTo>
                  <a:pt x="4246624" y="3202000"/>
                  <a:pt x="4251414" y="3206789"/>
                  <a:pt x="4251414" y="3212736"/>
                </a:cubicBezTo>
                <a:cubicBezTo>
                  <a:pt x="4251414" y="3218682"/>
                  <a:pt x="4246624" y="3223472"/>
                  <a:pt x="4240678" y="3223472"/>
                </a:cubicBezTo>
                <a:cubicBezTo>
                  <a:pt x="4234731" y="3223472"/>
                  <a:pt x="4229941" y="3218682"/>
                  <a:pt x="4229941" y="3212736"/>
                </a:cubicBezTo>
                <a:cubicBezTo>
                  <a:pt x="4229941" y="3206789"/>
                  <a:pt x="4234731" y="3202000"/>
                  <a:pt x="4240678" y="3202000"/>
                </a:cubicBezTo>
                <a:close/>
                <a:moveTo>
                  <a:pt x="4115801" y="3198696"/>
                </a:moveTo>
                <a:cubicBezTo>
                  <a:pt x="4121747" y="3198696"/>
                  <a:pt x="4126537" y="3203486"/>
                  <a:pt x="4126537" y="3209432"/>
                </a:cubicBezTo>
                <a:cubicBezTo>
                  <a:pt x="4126537" y="3215379"/>
                  <a:pt x="4121747" y="3220170"/>
                  <a:pt x="4115801" y="3220170"/>
                </a:cubicBezTo>
                <a:cubicBezTo>
                  <a:pt x="4109854" y="3220170"/>
                  <a:pt x="4105064" y="3215379"/>
                  <a:pt x="4105064" y="3209432"/>
                </a:cubicBezTo>
                <a:cubicBezTo>
                  <a:pt x="4105064" y="3203486"/>
                  <a:pt x="4109854" y="3198696"/>
                  <a:pt x="4115801" y="3198696"/>
                </a:cubicBezTo>
                <a:close/>
                <a:moveTo>
                  <a:pt x="2539475" y="3195722"/>
                </a:moveTo>
                <a:cubicBezTo>
                  <a:pt x="2545422" y="3195722"/>
                  <a:pt x="2550213" y="3200512"/>
                  <a:pt x="2550213" y="3206458"/>
                </a:cubicBezTo>
                <a:cubicBezTo>
                  <a:pt x="2550213" y="3212405"/>
                  <a:pt x="2545422" y="3217196"/>
                  <a:pt x="2539475" y="3217196"/>
                </a:cubicBezTo>
                <a:cubicBezTo>
                  <a:pt x="2533529" y="3217196"/>
                  <a:pt x="2528739" y="3212405"/>
                  <a:pt x="2528739" y="3206458"/>
                </a:cubicBezTo>
                <a:cubicBezTo>
                  <a:pt x="2528739" y="3200512"/>
                  <a:pt x="2533529" y="3195722"/>
                  <a:pt x="2539475" y="3195722"/>
                </a:cubicBezTo>
                <a:close/>
                <a:moveTo>
                  <a:pt x="4281808" y="3194732"/>
                </a:moveTo>
                <a:cubicBezTo>
                  <a:pt x="4286103" y="3194732"/>
                  <a:pt x="4289572" y="3198200"/>
                  <a:pt x="4289572" y="3202496"/>
                </a:cubicBezTo>
                <a:cubicBezTo>
                  <a:pt x="4289572" y="3206789"/>
                  <a:pt x="4286103" y="3210260"/>
                  <a:pt x="4281808" y="3210260"/>
                </a:cubicBezTo>
                <a:cubicBezTo>
                  <a:pt x="4277514" y="3210260"/>
                  <a:pt x="4274045" y="3206789"/>
                  <a:pt x="4274045" y="3202496"/>
                </a:cubicBezTo>
                <a:cubicBezTo>
                  <a:pt x="4274045" y="3198200"/>
                  <a:pt x="4277514" y="3194732"/>
                  <a:pt x="4281808" y="3194732"/>
                </a:cubicBezTo>
                <a:close/>
                <a:moveTo>
                  <a:pt x="3244304" y="3187958"/>
                </a:moveTo>
                <a:cubicBezTo>
                  <a:pt x="3250251" y="3187958"/>
                  <a:pt x="3255042" y="3192748"/>
                  <a:pt x="3255042" y="3198694"/>
                </a:cubicBezTo>
                <a:cubicBezTo>
                  <a:pt x="3255042" y="3204641"/>
                  <a:pt x="3250251" y="3209432"/>
                  <a:pt x="3244304" y="3209432"/>
                </a:cubicBezTo>
                <a:cubicBezTo>
                  <a:pt x="3238358" y="3209432"/>
                  <a:pt x="3233568" y="3204641"/>
                  <a:pt x="3233568" y="3198694"/>
                </a:cubicBezTo>
                <a:cubicBezTo>
                  <a:pt x="3233568" y="3192748"/>
                  <a:pt x="3238358" y="3187958"/>
                  <a:pt x="3244304" y="3187958"/>
                </a:cubicBezTo>
                <a:close/>
                <a:moveTo>
                  <a:pt x="934409" y="3183333"/>
                </a:moveTo>
                <a:cubicBezTo>
                  <a:pt x="940355" y="3183333"/>
                  <a:pt x="945147" y="3188123"/>
                  <a:pt x="945147" y="3194069"/>
                </a:cubicBezTo>
                <a:cubicBezTo>
                  <a:pt x="945147" y="3200016"/>
                  <a:pt x="940355" y="3204807"/>
                  <a:pt x="934409" y="3204807"/>
                </a:cubicBezTo>
                <a:cubicBezTo>
                  <a:pt x="928462" y="3204807"/>
                  <a:pt x="923672" y="3200016"/>
                  <a:pt x="923672" y="3194069"/>
                </a:cubicBezTo>
                <a:cubicBezTo>
                  <a:pt x="923672" y="3188123"/>
                  <a:pt x="928462" y="3183333"/>
                  <a:pt x="934409" y="3183333"/>
                </a:cubicBezTo>
                <a:close/>
                <a:moveTo>
                  <a:pt x="4093171" y="3182013"/>
                </a:moveTo>
                <a:cubicBezTo>
                  <a:pt x="4099118" y="3182013"/>
                  <a:pt x="4103908" y="3186803"/>
                  <a:pt x="4103908" y="3192749"/>
                </a:cubicBezTo>
                <a:cubicBezTo>
                  <a:pt x="4103908" y="3198696"/>
                  <a:pt x="4099118" y="3203486"/>
                  <a:pt x="4093171" y="3203486"/>
                </a:cubicBezTo>
                <a:cubicBezTo>
                  <a:pt x="4087225" y="3203486"/>
                  <a:pt x="4082435" y="3198696"/>
                  <a:pt x="4082435" y="3192749"/>
                </a:cubicBezTo>
                <a:cubicBezTo>
                  <a:pt x="4082435" y="3186803"/>
                  <a:pt x="4087225" y="3182013"/>
                  <a:pt x="4093171" y="3182013"/>
                </a:cubicBezTo>
                <a:close/>
                <a:moveTo>
                  <a:pt x="4308733" y="3180031"/>
                </a:moveTo>
                <a:lnTo>
                  <a:pt x="4308897" y="3180031"/>
                </a:lnTo>
                <a:lnTo>
                  <a:pt x="4308897" y="3180196"/>
                </a:lnTo>
                <a:close/>
                <a:moveTo>
                  <a:pt x="3816657" y="3179204"/>
                </a:moveTo>
                <a:cubicBezTo>
                  <a:pt x="3822604" y="3179204"/>
                  <a:pt x="3827395" y="3183994"/>
                  <a:pt x="3827395" y="3189940"/>
                </a:cubicBezTo>
                <a:cubicBezTo>
                  <a:pt x="3827395" y="3195887"/>
                  <a:pt x="3822604" y="3200678"/>
                  <a:pt x="3816657" y="3200678"/>
                </a:cubicBezTo>
                <a:cubicBezTo>
                  <a:pt x="3810710" y="3200678"/>
                  <a:pt x="3805921" y="3195887"/>
                  <a:pt x="3805921" y="3189940"/>
                </a:cubicBezTo>
                <a:cubicBezTo>
                  <a:pt x="3805921" y="3183994"/>
                  <a:pt x="3810710" y="3179204"/>
                  <a:pt x="3816657" y="3179204"/>
                </a:cubicBezTo>
                <a:close/>
                <a:moveTo>
                  <a:pt x="4266446" y="3176396"/>
                </a:moveTo>
                <a:cubicBezTo>
                  <a:pt x="4272393" y="3176396"/>
                  <a:pt x="4277182" y="3181186"/>
                  <a:pt x="4277182" y="3187132"/>
                </a:cubicBezTo>
                <a:cubicBezTo>
                  <a:pt x="4277182" y="3193079"/>
                  <a:pt x="4272393" y="3197869"/>
                  <a:pt x="4266446" y="3197869"/>
                </a:cubicBezTo>
                <a:cubicBezTo>
                  <a:pt x="4260500" y="3197869"/>
                  <a:pt x="4255710" y="3193079"/>
                  <a:pt x="4255710" y="3187132"/>
                </a:cubicBezTo>
                <a:cubicBezTo>
                  <a:pt x="4255710" y="3181186"/>
                  <a:pt x="4260500" y="3176396"/>
                  <a:pt x="4266446" y="3176396"/>
                </a:cubicBezTo>
                <a:close/>
                <a:moveTo>
                  <a:pt x="3958713" y="3173753"/>
                </a:moveTo>
                <a:cubicBezTo>
                  <a:pt x="3964659" y="3173753"/>
                  <a:pt x="3969451" y="3178543"/>
                  <a:pt x="3969451" y="3184490"/>
                </a:cubicBezTo>
                <a:cubicBezTo>
                  <a:pt x="3969451" y="3190436"/>
                  <a:pt x="3964659" y="3195226"/>
                  <a:pt x="3958713" y="3195226"/>
                </a:cubicBezTo>
                <a:cubicBezTo>
                  <a:pt x="3952766" y="3195226"/>
                  <a:pt x="3947977" y="3190436"/>
                  <a:pt x="3947977" y="3184490"/>
                </a:cubicBezTo>
                <a:cubicBezTo>
                  <a:pt x="3947977" y="3178543"/>
                  <a:pt x="3952766" y="3173753"/>
                  <a:pt x="3958713" y="3173753"/>
                </a:cubicBezTo>
                <a:close/>
                <a:moveTo>
                  <a:pt x="3626699" y="3172102"/>
                </a:moveTo>
                <a:cubicBezTo>
                  <a:pt x="3632646" y="3172102"/>
                  <a:pt x="3637437" y="3176892"/>
                  <a:pt x="3637437" y="3182839"/>
                </a:cubicBezTo>
                <a:cubicBezTo>
                  <a:pt x="3637437" y="3188785"/>
                  <a:pt x="3632646" y="3193575"/>
                  <a:pt x="3626699" y="3193575"/>
                </a:cubicBezTo>
                <a:cubicBezTo>
                  <a:pt x="3620753" y="3193575"/>
                  <a:pt x="3615963" y="3188785"/>
                  <a:pt x="3615963" y="3182839"/>
                </a:cubicBezTo>
                <a:cubicBezTo>
                  <a:pt x="3615963" y="3176892"/>
                  <a:pt x="3620753" y="3172102"/>
                  <a:pt x="3626699" y="3172102"/>
                </a:cubicBezTo>
                <a:close/>
                <a:moveTo>
                  <a:pt x="4166677" y="3170781"/>
                </a:moveTo>
                <a:cubicBezTo>
                  <a:pt x="4172608" y="3170781"/>
                  <a:pt x="4177415" y="3175588"/>
                  <a:pt x="4177415" y="3181517"/>
                </a:cubicBezTo>
                <a:lnTo>
                  <a:pt x="4176341" y="3182591"/>
                </a:lnTo>
                <a:lnTo>
                  <a:pt x="4185838" y="3192087"/>
                </a:lnTo>
                <a:lnTo>
                  <a:pt x="4184599" y="3193327"/>
                </a:lnTo>
                <a:lnTo>
                  <a:pt x="4191786" y="3200512"/>
                </a:lnTo>
                <a:lnTo>
                  <a:pt x="4190627" y="3201670"/>
                </a:lnTo>
                <a:lnTo>
                  <a:pt x="4196739" y="3207780"/>
                </a:lnTo>
                <a:lnTo>
                  <a:pt x="4195749" y="3208772"/>
                </a:lnTo>
                <a:lnTo>
                  <a:pt x="4201697" y="3214718"/>
                </a:lnTo>
                <a:lnTo>
                  <a:pt x="4200953" y="3215464"/>
                </a:lnTo>
                <a:lnTo>
                  <a:pt x="4207475" y="3221986"/>
                </a:lnTo>
                <a:lnTo>
                  <a:pt x="4207310" y="3222151"/>
                </a:lnTo>
                <a:lnTo>
                  <a:pt x="4214332" y="3229173"/>
                </a:lnTo>
                <a:lnTo>
                  <a:pt x="4214745" y="3228758"/>
                </a:lnTo>
                <a:cubicBezTo>
                  <a:pt x="4220691" y="3228758"/>
                  <a:pt x="4225483" y="3233548"/>
                  <a:pt x="4225483" y="3239494"/>
                </a:cubicBezTo>
                <a:cubicBezTo>
                  <a:pt x="4225483" y="3245441"/>
                  <a:pt x="4220691" y="3250233"/>
                  <a:pt x="4214745" y="3250233"/>
                </a:cubicBezTo>
                <a:lnTo>
                  <a:pt x="4204917" y="3240403"/>
                </a:lnTo>
                <a:lnTo>
                  <a:pt x="4204503" y="3240818"/>
                </a:lnTo>
                <a:cubicBezTo>
                  <a:pt x="4198556" y="3240818"/>
                  <a:pt x="4193766" y="3236026"/>
                  <a:pt x="4193766" y="3230080"/>
                </a:cubicBezTo>
                <a:lnTo>
                  <a:pt x="4193931" y="3229917"/>
                </a:lnTo>
                <a:lnTo>
                  <a:pt x="4186002" y="3221986"/>
                </a:lnTo>
                <a:lnTo>
                  <a:pt x="4186746" y="3221244"/>
                </a:lnTo>
                <a:lnTo>
                  <a:pt x="4180222" y="3214718"/>
                </a:lnTo>
                <a:lnTo>
                  <a:pt x="4181214" y="3213728"/>
                </a:lnTo>
                <a:lnTo>
                  <a:pt x="4175266" y="3207780"/>
                </a:lnTo>
                <a:lnTo>
                  <a:pt x="4176423" y="3206623"/>
                </a:lnTo>
                <a:lnTo>
                  <a:pt x="4170311" y="3200512"/>
                </a:lnTo>
                <a:lnTo>
                  <a:pt x="4171550" y="3199273"/>
                </a:lnTo>
                <a:lnTo>
                  <a:pt x="4164365" y="3192087"/>
                </a:lnTo>
                <a:lnTo>
                  <a:pt x="4165437" y="3191015"/>
                </a:lnTo>
                <a:lnTo>
                  <a:pt x="4155940" y="3181517"/>
                </a:lnTo>
                <a:cubicBezTo>
                  <a:pt x="4155940" y="3175588"/>
                  <a:pt x="4160747" y="3170781"/>
                  <a:pt x="4166677" y="3170781"/>
                </a:cubicBezTo>
                <a:close/>
                <a:moveTo>
                  <a:pt x="252705" y="3169624"/>
                </a:moveTo>
                <a:cubicBezTo>
                  <a:pt x="258652" y="3169624"/>
                  <a:pt x="263441" y="3174414"/>
                  <a:pt x="263441" y="3180360"/>
                </a:cubicBezTo>
                <a:cubicBezTo>
                  <a:pt x="263441" y="3186307"/>
                  <a:pt x="258652" y="3191097"/>
                  <a:pt x="252705" y="3191097"/>
                </a:cubicBezTo>
                <a:cubicBezTo>
                  <a:pt x="246759" y="3191097"/>
                  <a:pt x="241969" y="3186307"/>
                  <a:pt x="241969" y="3180360"/>
                </a:cubicBezTo>
                <a:cubicBezTo>
                  <a:pt x="241969" y="3174414"/>
                  <a:pt x="246759" y="3169624"/>
                  <a:pt x="252705" y="3169624"/>
                </a:cubicBezTo>
                <a:close/>
                <a:moveTo>
                  <a:pt x="2723488" y="3167807"/>
                </a:moveTo>
                <a:cubicBezTo>
                  <a:pt x="2729434" y="3167807"/>
                  <a:pt x="2734226" y="3172596"/>
                  <a:pt x="2734226" y="3178543"/>
                </a:cubicBezTo>
                <a:cubicBezTo>
                  <a:pt x="2734226" y="3184490"/>
                  <a:pt x="2729434" y="3189281"/>
                  <a:pt x="2723488" y="3189281"/>
                </a:cubicBezTo>
                <a:cubicBezTo>
                  <a:pt x="2717541" y="3189281"/>
                  <a:pt x="2712752" y="3184490"/>
                  <a:pt x="2712752" y="3178543"/>
                </a:cubicBezTo>
                <a:cubicBezTo>
                  <a:pt x="2712752" y="3172596"/>
                  <a:pt x="2717541" y="3167807"/>
                  <a:pt x="2723488" y="3167807"/>
                </a:cubicBezTo>
                <a:close/>
                <a:moveTo>
                  <a:pt x="4062613" y="3159547"/>
                </a:moveTo>
                <a:cubicBezTo>
                  <a:pt x="4068560" y="3159547"/>
                  <a:pt x="4073350" y="3164337"/>
                  <a:pt x="4073350" y="3170283"/>
                </a:cubicBezTo>
                <a:cubicBezTo>
                  <a:pt x="4073350" y="3176230"/>
                  <a:pt x="4068560" y="3181021"/>
                  <a:pt x="4062613" y="3181021"/>
                </a:cubicBezTo>
                <a:cubicBezTo>
                  <a:pt x="4056667" y="3181021"/>
                  <a:pt x="4051877" y="3176230"/>
                  <a:pt x="4051877" y="3170283"/>
                </a:cubicBezTo>
                <a:cubicBezTo>
                  <a:pt x="4051877" y="3164337"/>
                  <a:pt x="4056667" y="3159547"/>
                  <a:pt x="4062613" y="3159547"/>
                </a:cubicBezTo>
                <a:close/>
                <a:moveTo>
                  <a:pt x="4154454" y="3157400"/>
                </a:moveTo>
                <a:cubicBezTo>
                  <a:pt x="4160401" y="3157400"/>
                  <a:pt x="4165190" y="3162190"/>
                  <a:pt x="4165190" y="3168136"/>
                </a:cubicBezTo>
                <a:cubicBezTo>
                  <a:pt x="4165190" y="3174083"/>
                  <a:pt x="4160401" y="3178874"/>
                  <a:pt x="4154454" y="3178874"/>
                </a:cubicBezTo>
                <a:cubicBezTo>
                  <a:pt x="4148508" y="3178874"/>
                  <a:pt x="4143718" y="3174083"/>
                  <a:pt x="4143718" y="3168136"/>
                </a:cubicBezTo>
                <a:cubicBezTo>
                  <a:pt x="4143718" y="3162190"/>
                  <a:pt x="4148508" y="3157400"/>
                  <a:pt x="4154454" y="3157400"/>
                </a:cubicBezTo>
                <a:close/>
                <a:moveTo>
                  <a:pt x="755021" y="3153602"/>
                </a:moveTo>
                <a:cubicBezTo>
                  <a:pt x="760968" y="3153602"/>
                  <a:pt x="765759" y="3158392"/>
                  <a:pt x="765759" y="3164338"/>
                </a:cubicBezTo>
                <a:cubicBezTo>
                  <a:pt x="765759" y="3170285"/>
                  <a:pt x="760968" y="3175075"/>
                  <a:pt x="755021" y="3175075"/>
                </a:cubicBezTo>
                <a:cubicBezTo>
                  <a:pt x="749075" y="3175075"/>
                  <a:pt x="744285" y="3170285"/>
                  <a:pt x="744285" y="3164338"/>
                </a:cubicBezTo>
                <a:cubicBezTo>
                  <a:pt x="744285" y="3158392"/>
                  <a:pt x="749075" y="3153602"/>
                  <a:pt x="755021" y="3153602"/>
                </a:cubicBezTo>
                <a:close/>
                <a:moveTo>
                  <a:pt x="4292050" y="3152114"/>
                </a:moveTo>
                <a:cubicBezTo>
                  <a:pt x="4297996" y="3152114"/>
                  <a:pt x="4302788" y="3156904"/>
                  <a:pt x="4302788" y="3162850"/>
                </a:cubicBezTo>
                <a:cubicBezTo>
                  <a:pt x="4302788" y="3168797"/>
                  <a:pt x="4297996" y="3173587"/>
                  <a:pt x="4292050" y="3173587"/>
                </a:cubicBezTo>
                <a:cubicBezTo>
                  <a:pt x="4286103" y="3173587"/>
                  <a:pt x="4281313" y="3168797"/>
                  <a:pt x="4281313" y="3162850"/>
                </a:cubicBezTo>
                <a:cubicBezTo>
                  <a:pt x="4281313" y="3156904"/>
                  <a:pt x="4286103" y="3152114"/>
                  <a:pt x="4292050" y="3152114"/>
                </a:cubicBezTo>
                <a:close/>
                <a:moveTo>
                  <a:pt x="3378267" y="3148150"/>
                </a:moveTo>
                <a:cubicBezTo>
                  <a:pt x="3384213" y="3148150"/>
                  <a:pt x="3389003" y="3152939"/>
                  <a:pt x="3389003" y="3158886"/>
                </a:cubicBezTo>
                <a:cubicBezTo>
                  <a:pt x="3389003" y="3164833"/>
                  <a:pt x="3384213" y="3169624"/>
                  <a:pt x="3378267" y="3169624"/>
                </a:cubicBezTo>
                <a:cubicBezTo>
                  <a:pt x="3372320" y="3169624"/>
                  <a:pt x="3367530" y="3164833"/>
                  <a:pt x="3367530" y="3158886"/>
                </a:cubicBezTo>
                <a:cubicBezTo>
                  <a:pt x="3367530" y="3152939"/>
                  <a:pt x="3372320" y="3148150"/>
                  <a:pt x="3378267" y="3148150"/>
                </a:cubicBezTo>
                <a:close/>
                <a:moveTo>
                  <a:pt x="4136944" y="3139891"/>
                </a:moveTo>
                <a:cubicBezTo>
                  <a:pt x="4142891" y="3139891"/>
                  <a:pt x="4147680" y="3144681"/>
                  <a:pt x="4147680" y="3150628"/>
                </a:cubicBezTo>
                <a:cubicBezTo>
                  <a:pt x="4147680" y="3156574"/>
                  <a:pt x="4142891" y="3161366"/>
                  <a:pt x="4136944" y="3161366"/>
                </a:cubicBezTo>
                <a:cubicBezTo>
                  <a:pt x="4130997" y="3161366"/>
                  <a:pt x="4126208" y="3156574"/>
                  <a:pt x="4126208" y="3150628"/>
                </a:cubicBezTo>
                <a:cubicBezTo>
                  <a:pt x="4126208" y="3144681"/>
                  <a:pt x="4130997" y="3139891"/>
                  <a:pt x="4136944" y="3139891"/>
                </a:cubicBezTo>
                <a:close/>
                <a:moveTo>
                  <a:pt x="4279165" y="3136753"/>
                </a:moveTo>
                <a:cubicBezTo>
                  <a:pt x="4285111" y="3136753"/>
                  <a:pt x="4289903" y="3141542"/>
                  <a:pt x="4289903" y="3147489"/>
                </a:cubicBezTo>
                <a:cubicBezTo>
                  <a:pt x="4289903" y="3153435"/>
                  <a:pt x="4285111" y="3158227"/>
                  <a:pt x="4279165" y="3158227"/>
                </a:cubicBezTo>
                <a:cubicBezTo>
                  <a:pt x="4273218" y="3158227"/>
                  <a:pt x="4268428" y="3153435"/>
                  <a:pt x="4268428" y="3147489"/>
                </a:cubicBezTo>
                <a:cubicBezTo>
                  <a:pt x="4268428" y="3141542"/>
                  <a:pt x="4273218" y="3136753"/>
                  <a:pt x="4279165" y="3136753"/>
                </a:cubicBezTo>
                <a:close/>
                <a:moveTo>
                  <a:pt x="2897094" y="3136257"/>
                </a:moveTo>
                <a:cubicBezTo>
                  <a:pt x="2903040" y="3136257"/>
                  <a:pt x="2907830" y="3141046"/>
                  <a:pt x="2907830" y="3146993"/>
                </a:cubicBezTo>
                <a:cubicBezTo>
                  <a:pt x="2907830" y="3152939"/>
                  <a:pt x="2903040" y="3157731"/>
                  <a:pt x="2897094" y="3157731"/>
                </a:cubicBezTo>
                <a:cubicBezTo>
                  <a:pt x="2891147" y="3157731"/>
                  <a:pt x="2886358" y="3152939"/>
                  <a:pt x="2886358" y="3146993"/>
                </a:cubicBezTo>
                <a:cubicBezTo>
                  <a:pt x="2886358" y="3141046"/>
                  <a:pt x="2891147" y="3136257"/>
                  <a:pt x="2897094" y="3136257"/>
                </a:cubicBezTo>
                <a:close/>
                <a:moveTo>
                  <a:pt x="3896109" y="3135431"/>
                </a:moveTo>
                <a:cubicBezTo>
                  <a:pt x="3902055" y="3135431"/>
                  <a:pt x="3906847" y="3140221"/>
                  <a:pt x="3906847" y="3146167"/>
                </a:cubicBezTo>
                <a:cubicBezTo>
                  <a:pt x="3906847" y="3152114"/>
                  <a:pt x="3902055" y="3156904"/>
                  <a:pt x="3896109" y="3156904"/>
                </a:cubicBezTo>
                <a:cubicBezTo>
                  <a:pt x="3890162" y="3156904"/>
                  <a:pt x="3885372" y="3152114"/>
                  <a:pt x="3885372" y="3146167"/>
                </a:cubicBezTo>
                <a:cubicBezTo>
                  <a:pt x="3885372" y="3140221"/>
                  <a:pt x="3890162" y="3135431"/>
                  <a:pt x="3896109" y="3135431"/>
                </a:cubicBezTo>
                <a:close/>
                <a:moveTo>
                  <a:pt x="4198391" y="3131796"/>
                </a:moveTo>
                <a:cubicBezTo>
                  <a:pt x="4204338" y="3131796"/>
                  <a:pt x="4209128" y="3136586"/>
                  <a:pt x="4209128" y="3142533"/>
                </a:cubicBezTo>
                <a:lnTo>
                  <a:pt x="4206072" y="3145588"/>
                </a:lnTo>
                <a:lnTo>
                  <a:pt x="4214745" y="3154261"/>
                </a:lnTo>
                <a:lnTo>
                  <a:pt x="4211771" y="3157235"/>
                </a:lnTo>
                <a:lnTo>
                  <a:pt x="4218874" y="3164338"/>
                </a:lnTo>
                <a:lnTo>
                  <a:pt x="4216231" y="3166981"/>
                </a:lnTo>
                <a:lnTo>
                  <a:pt x="4222507" y="3173257"/>
                </a:lnTo>
                <a:lnTo>
                  <a:pt x="4220277" y="3175487"/>
                </a:lnTo>
                <a:lnTo>
                  <a:pt x="4226803" y="3182011"/>
                </a:lnTo>
                <a:lnTo>
                  <a:pt x="4225150" y="3183664"/>
                </a:lnTo>
                <a:lnTo>
                  <a:pt x="4232584" y="3191097"/>
                </a:lnTo>
                <a:lnTo>
                  <a:pt x="4231509" y="3192172"/>
                </a:lnTo>
                <a:lnTo>
                  <a:pt x="4240511" y="3201172"/>
                </a:lnTo>
                <a:cubicBezTo>
                  <a:pt x="4240511" y="3207119"/>
                  <a:pt x="4235722" y="3211910"/>
                  <a:pt x="4229775" y="3211910"/>
                </a:cubicBezTo>
                <a:cubicBezTo>
                  <a:pt x="4223828" y="3211910"/>
                  <a:pt x="4219039" y="3207119"/>
                  <a:pt x="4219039" y="3201172"/>
                </a:cubicBezTo>
                <a:lnTo>
                  <a:pt x="4220112" y="3200099"/>
                </a:lnTo>
                <a:lnTo>
                  <a:pt x="4211110" y="3191097"/>
                </a:lnTo>
                <a:lnTo>
                  <a:pt x="4212763" y="3189444"/>
                </a:lnTo>
                <a:lnTo>
                  <a:pt x="4205330" y="3182011"/>
                </a:lnTo>
                <a:lnTo>
                  <a:pt x="4207560" y="3179783"/>
                </a:lnTo>
                <a:lnTo>
                  <a:pt x="4201034" y="3173257"/>
                </a:lnTo>
                <a:lnTo>
                  <a:pt x="4203677" y="3170614"/>
                </a:lnTo>
                <a:lnTo>
                  <a:pt x="4197401" y="3164338"/>
                </a:lnTo>
                <a:lnTo>
                  <a:pt x="4200375" y="3161366"/>
                </a:lnTo>
                <a:lnTo>
                  <a:pt x="4193272" y="3154261"/>
                </a:lnTo>
                <a:lnTo>
                  <a:pt x="4196328" y="3151205"/>
                </a:lnTo>
                <a:lnTo>
                  <a:pt x="4187655" y="3142533"/>
                </a:lnTo>
                <a:cubicBezTo>
                  <a:pt x="4187655" y="3136586"/>
                  <a:pt x="4192445" y="3131796"/>
                  <a:pt x="4198391" y="3131796"/>
                </a:cubicBezTo>
                <a:close/>
                <a:moveTo>
                  <a:pt x="4317653" y="3131136"/>
                </a:moveTo>
                <a:cubicBezTo>
                  <a:pt x="4322445" y="3131136"/>
                  <a:pt x="4326407" y="3135100"/>
                  <a:pt x="4326407" y="3139890"/>
                </a:cubicBezTo>
                <a:cubicBezTo>
                  <a:pt x="4326407" y="3144681"/>
                  <a:pt x="4322445" y="3148644"/>
                  <a:pt x="4317653" y="3148644"/>
                </a:cubicBezTo>
                <a:cubicBezTo>
                  <a:pt x="4312863" y="3148644"/>
                  <a:pt x="4308899" y="3144681"/>
                  <a:pt x="4308899" y="3139890"/>
                </a:cubicBezTo>
                <a:cubicBezTo>
                  <a:pt x="4308899" y="3135100"/>
                  <a:pt x="4312863" y="3131136"/>
                  <a:pt x="4317653" y="3131136"/>
                </a:cubicBezTo>
                <a:close/>
                <a:moveTo>
                  <a:pt x="4021647" y="3130145"/>
                </a:moveTo>
                <a:cubicBezTo>
                  <a:pt x="4027593" y="3130145"/>
                  <a:pt x="4032385" y="3134935"/>
                  <a:pt x="4032385" y="3140882"/>
                </a:cubicBezTo>
                <a:cubicBezTo>
                  <a:pt x="4032385" y="3146828"/>
                  <a:pt x="4027593" y="3151620"/>
                  <a:pt x="4021647" y="3151620"/>
                </a:cubicBezTo>
                <a:cubicBezTo>
                  <a:pt x="4015700" y="3151620"/>
                  <a:pt x="4010910" y="3146828"/>
                  <a:pt x="4010910" y="3140882"/>
                </a:cubicBezTo>
                <a:cubicBezTo>
                  <a:pt x="4010910" y="3134935"/>
                  <a:pt x="4015700" y="3130145"/>
                  <a:pt x="4021647" y="3130145"/>
                </a:cubicBezTo>
                <a:close/>
                <a:moveTo>
                  <a:pt x="123534" y="3129320"/>
                </a:moveTo>
                <a:cubicBezTo>
                  <a:pt x="129481" y="3129320"/>
                  <a:pt x="134271" y="3134110"/>
                  <a:pt x="134271" y="3140056"/>
                </a:cubicBezTo>
                <a:cubicBezTo>
                  <a:pt x="134271" y="3146003"/>
                  <a:pt x="129481" y="3150793"/>
                  <a:pt x="123534" y="3150793"/>
                </a:cubicBezTo>
                <a:cubicBezTo>
                  <a:pt x="117588" y="3150793"/>
                  <a:pt x="112798" y="3146003"/>
                  <a:pt x="112798" y="3140056"/>
                </a:cubicBezTo>
                <a:cubicBezTo>
                  <a:pt x="112798" y="3134110"/>
                  <a:pt x="117588" y="3129320"/>
                  <a:pt x="123534" y="3129320"/>
                </a:cubicBezTo>
                <a:close/>
                <a:moveTo>
                  <a:pt x="3726302" y="3129153"/>
                </a:moveTo>
                <a:cubicBezTo>
                  <a:pt x="3732249" y="3129153"/>
                  <a:pt x="3737040" y="3133943"/>
                  <a:pt x="3737040" y="3139890"/>
                </a:cubicBezTo>
                <a:cubicBezTo>
                  <a:pt x="3737040" y="3145836"/>
                  <a:pt x="3732249" y="3150628"/>
                  <a:pt x="3726302" y="3150628"/>
                </a:cubicBezTo>
                <a:cubicBezTo>
                  <a:pt x="3720356" y="3150628"/>
                  <a:pt x="3715566" y="3145836"/>
                  <a:pt x="3715566" y="3139890"/>
                </a:cubicBezTo>
                <a:cubicBezTo>
                  <a:pt x="3715566" y="3133943"/>
                  <a:pt x="3720356" y="3129153"/>
                  <a:pt x="3726302" y="3129153"/>
                </a:cubicBezTo>
                <a:close/>
                <a:moveTo>
                  <a:pt x="586371" y="3120399"/>
                </a:moveTo>
                <a:cubicBezTo>
                  <a:pt x="592318" y="3120399"/>
                  <a:pt x="597109" y="3125189"/>
                  <a:pt x="597109" y="3131136"/>
                </a:cubicBezTo>
                <a:cubicBezTo>
                  <a:pt x="597109" y="3137082"/>
                  <a:pt x="592318" y="3141874"/>
                  <a:pt x="586371" y="3141874"/>
                </a:cubicBezTo>
                <a:cubicBezTo>
                  <a:pt x="580425" y="3141874"/>
                  <a:pt x="575635" y="3137082"/>
                  <a:pt x="575635" y="3131136"/>
                </a:cubicBezTo>
                <a:cubicBezTo>
                  <a:pt x="575635" y="3125189"/>
                  <a:pt x="580425" y="3120399"/>
                  <a:pt x="586371" y="3120399"/>
                </a:cubicBezTo>
                <a:close/>
                <a:moveTo>
                  <a:pt x="4343420" y="3117756"/>
                </a:moveTo>
                <a:cubicBezTo>
                  <a:pt x="4343604" y="3117756"/>
                  <a:pt x="4343751" y="3117904"/>
                  <a:pt x="4343751" y="3118088"/>
                </a:cubicBezTo>
                <a:cubicBezTo>
                  <a:pt x="4343751" y="3118270"/>
                  <a:pt x="4343604" y="3118417"/>
                  <a:pt x="4343420" y="3118417"/>
                </a:cubicBezTo>
                <a:cubicBezTo>
                  <a:pt x="4343238" y="3118417"/>
                  <a:pt x="4343090" y="3118270"/>
                  <a:pt x="4343090" y="3118088"/>
                </a:cubicBezTo>
                <a:cubicBezTo>
                  <a:pt x="4343090" y="3117904"/>
                  <a:pt x="4343238" y="3117756"/>
                  <a:pt x="4343420" y="3117756"/>
                </a:cubicBezTo>
                <a:close/>
                <a:moveTo>
                  <a:pt x="4189637" y="3117260"/>
                </a:moveTo>
                <a:cubicBezTo>
                  <a:pt x="4195584" y="3117260"/>
                  <a:pt x="4200374" y="3122050"/>
                  <a:pt x="4200374" y="3127997"/>
                </a:cubicBezTo>
                <a:cubicBezTo>
                  <a:pt x="4200374" y="3133943"/>
                  <a:pt x="4195584" y="3138735"/>
                  <a:pt x="4189637" y="3138735"/>
                </a:cubicBezTo>
                <a:cubicBezTo>
                  <a:pt x="4183691" y="3138735"/>
                  <a:pt x="4178901" y="3133943"/>
                  <a:pt x="4178901" y="3127997"/>
                </a:cubicBezTo>
                <a:cubicBezTo>
                  <a:pt x="4178901" y="3122050"/>
                  <a:pt x="4183691" y="3117260"/>
                  <a:pt x="4189637" y="3117260"/>
                </a:cubicBezTo>
                <a:close/>
                <a:moveTo>
                  <a:pt x="4112332" y="3116931"/>
                </a:moveTo>
                <a:cubicBezTo>
                  <a:pt x="4118279" y="3116931"/>
                  <a:pt x="4123069" y="3121721"/>
                  <a:pt x="4123069" y="3127667"/>
                </a:cubicBezTo>
                <a:cubicBezTo>
                  <a:pt x="4123069" y="3133614"/>
                  <a:pt x="4118279" y="3138404"/>
                  <a:pt x="4112332" y="3138404"/>
                </a:cubicBezTo>
                <a:cubicBezTo>
                  <a:pt x="4106386" y="3138404"/>
                  <a:pt x="4101596" y="3133614"/>
                  <a:pt x="4101596" y="3127667"/>
                </a:cubicBezTo>
                <a:cubicBezTo>
                  <a:pt x="4101596" y="3121721"/>
                  <a:pt x="4106386" y="3116931"/>
                  <a:pt x="4112332" y="3116931"/>
                </a:cubicBezTo>
                <a:close/>
                <a:moveTo>
                  <a:pt x="4303447" y="3111810"/>
                </a:moveTo>
                <a:cubicBezTo>
                  <a:pt x="4309393" y="3111810"/>
                  <a:pt x="4314185" y="3116600"/>
                  <a:pt x="4314185" y="3122546"/>
                </a:cubicBezTo>
                <a:cubicBezTo>
                  <a:pt x="4314185" y="3128493"/>
                  <a:pt x="4309393" y="3133282"/>
                  <a:pt x="4303447" y="3133282"/>
                </a:cubicBezTo>
                <a:cubicBezTo>
                  <a:pt x="4297500" y="3133282"/>
                  <a:pt x="4292710" y="3128493"/>
                  <a:pt x="4292710" y="3122546"/>
                </a:cubicBezTo>
                <a:cubicBezTo>
                  <a:pt x="4292710" y="3116600"/>
                  <a:pt x="4297500" y="3111810"/>
                  <a:pt x="4303447" y="3111810"/>
                </a:cubicBezTo>
                <a:close/>
                <a:moveTo>
                  <a:pt x="3501987" y="3107516"/>
                </a:moveTo>
                <a:cubicBezTo>
                  <a:pt x="3507934" y="3107516"/>
                  <a:pt x="3512723" y="3112306"/>
                  <a:pt x="3512723" y="3118252"/>
                </a:cubicBezTo>
                <a:cubicBezTo>
                  <a:pt x="3512723" y="3124199"/>
                  <a:pt x="3507934" y="3128990"/>
                  <a:pt x="3501987" y="3128990"/>
                </a:cubicBezTo>
                <a:cubicBezTo>
                  <a:pt x="3496041" y="3128990"/>
                  <a:pt x="3491251" y="3124199"/>
                  <a:pt x="3491251" y="3118252"/>
                </a:cubicBezTo>
                <a:cubicBezTo>
                  <a:pt x="3491251" y="3112306"/>
                  <a:pt x="3496041" y="3107516"/>
                  <a:pt x="3501987" y="3107516"/>
                </a:cubicBezTo>
                <a:close/>
                <a:moveTo>
                  <a:pt x="3059797" y="3101734"/>
                </a:moveTo>
                <a:cubicBezTo>
                  <a:pt x="3065744" y="3101734"/>
                  <a:pt x="3070535" y="3106524"/>
                  <a:pt x="3070535" y="3112470"/>
                </a:cubicBezTo>
                <a:cubicBezTo>
                  <a:pt x="3070535" y="3118417"/>
                  <a:pt x="3065744" y="3123209"/>
                  <a:pt x="3059797" y="3123209"/>
                </a:cubicBezTo>
                <a:cubicBezTo>
                  <a:pt x="3053850" y="3123209"/>
                  <a:pt x="3049061" y="3118417"/>
                  <a:pt x="3049061" y="3112470"/>
                </a:cubicBezTo>
                <a:cubicBezTo>
                  <a:pt x="3049061" y="3106524"/>
                  <a:pt x="3053850" y="3101734"/>
                  <a:pt x="3059797" y="3101734"/>
                </a:cubicBezTo>
                <a:close/>
                <a:moveTo>
                  <a:pt x="4176423" y="3098926"/>
                </a:moveTo>
                <a:cubicBezTo>
                  <a:pt x="4182369" y="3098926"/>
                  <a:pt x="4187161" y="3103716"/>
                  <a:pt x="4187161" y="3109663"/>
                </a:cubicBezTo>
                <a:cubicBezTo>
                  <a:pt x="4187161" y="3115609"/>
                  <a:pt x="4182369" y="3120399"/>
                  <a:pt x="4176423" y="3120399"/>
                </a:cubicBezTo>
                <a:cubicBezTo>
                  <a:pt x="4170476" y="3120399"/>
                  <a:pt x="4165686" y="3115609"/>
                  <a:pt x="4165686" y="3109663"/>
                </a:cubicBezTo>
                <a:cubicBezTo>
                  <a:pt x="4165686" y="3103716"/>
                  <a:pt x="4170476" y="3098926"/>
                  <a:pt x="4176423" y="3098926"/>
                </a:cubicBezTo>
                <a:close/>
                <a:moveTo>
                  <a:pt x="4293040" y="3095952"/>
                </a:moveTo>
                <a:cubicBezTo>
                  <a:pt x="4298986" y="3095952"/>
                  <a:pt x="4303776" y="3100742"/>
                  <a:pt x="4303776" y="3106689"/>
                </a:cubicBezTo>
                <a:cubicBezTo>
                  <a:pt x="4303776" y="3112635"/>
                  <a:pt x="4298986" y="3117425"/>
                  <a:pt x="4293040" y="3117425"/>
                </a:cubicBezTo>
                <a:cubicBezTo>
                  <a:pt x="4287093" y="3117425"/>
                  <a:pt x="4282304" y="3112635"/>
                  <a:pt x="4282304" y="3106689"/>
                </a:cubicBezTo>
                <a:cubicBezTo>
                  <a:pt x="4282304" y="3100742"/>
                  <a:pt x="4287093" y="3095952"/>
                  <a:pt x="4293040" y="3095952"/>
                </a:cubicBezTo>
                <a:close/>
                <a:moveTo>
                  <a:pt x="3968294" y="3092319"/>
                </a:moveTo>
                <a:cubicBezTo>
                  <a:pt x="3974241" y="3092319"/>
                  <a:pt x="3979031" y="3097109"/>
                  <a:pt x="3979031" y="3103056"/>
                </a:cubicBezTo>
                <a:cubicBezTo>
                  <a:pt x="3979031" y="3109002"/>
                  <a:pt x="3974241" y="3113792"/>
                  <a:pt x="3968294" y="3113792"/>
                </a:cubicBezTo>
                <a:cubicBezTo>
                  <a:pt x="3962348" y="3113792"/>
                  <a:pt x="3957558" y="3109002"/>
                  <a:pt x="3957558" y="3103056"/>
                </a:cubicBezTo>
                <a:cubicBezTo>
                  <a:pt x="3957558" y="3097109"/>
                  <a:pt x="3962348" y="3092319"/>
                  <a:pt x="3968294" y="3092319"/>
                </a:cubicBezTo>
                <a:close/>
                <a:moveTo>
                  <a:pt x="1838116" y="3090831"/>
                </a:moveTo>
                <a:cubicBezTo>
                  <a:pt x="1844063" y="3090831"/>
                  <a:pt x="1848854" y="3095621"/>
                  <a:pt x="1848854" y="3101568"/>
                </a:cubicBezTo>
                <a:cubicBezTo>
                  <a:pt x="1848854" y="3107514"/>
                  <a:pt x="1844063" y="3112306"/>
                  <a:pt x="1838116" y="3112306"/>
                </a:cubicBezTo>
                <a:cubicBezTo>
                  <a:pt x="1832170" y="3112306"/>
                  <a:pt x="1827380" y="3107514"/>
                  <a:pt x="1827380" y="3101568"/>
                </a:cubicBezTo>
                <a:cubicBezTo>
                  <a:pt x="1827380" y="3095621"/>
                  <a:pt x="1832170" y="3090831"/>
                  <a:pt x="1838116" y="3090831"/>
                </a:cubicBezTo>
                <a:close/>
                <a:moveTo>
                  <a:pt x="1622059" y="3089016"/>
                </a:moveTo>
                <a:cubicBezTo>
                  <a:pt x="1628005" y="3089016"/>
                  <a:pt x="1632797" y="3093805"/>
                  <a:pt x="1632797" y="3099752"/>
                </a:cubicBezTo>
                <a:cubicBezTo>
                  <a:pt x="1632797" y="3105698"/>
                  <a:pt x="1628005" y="3110488"/>
                  <a:pt x="1622059" y="3110488"/>
                </a:cubicBezTo>
                <a:cubicBezTo>
                  <a:pt x="1616112" y="3110488"/>
                  <a:pt x="1611323" y="3105698"/>
                  <a:pt x="1611323" y="3099752"/>
                </a:cubicBezTo>
                <a:cubicBezTo>
                  <a:pt x="1611323" y="3093805"/>
                  <a:pt x="1616112" y="3089016"/>
                  <a:pt x="1622059" y="3089016"/>
                </a:cubicBezTo>
                <a:close/>
                <a:moveTo>
                  <a:pt x="4604" y="3088355"/>
                </a:moveTo>
                <a:cubicBezTo>
                  <a:pt x="10550" y="3088355"/>
                  <a:pt x="15342" y="3093145"/>
                  <a:pt x="15342" y="3099091"/>
                </a:cubicBezTo>
                <a:cubicBezTo>
                  <a:pt x="15342" y="3105038"/>
                  <a:pt x="10550" y="3109829"/>
                  <a:pt x="4604" y="3109829"/>
                </a:cubicBezTo>
                <a:lnTo>
                  <a:pt x="0" y="3105225"/>
                </a:lnTo>
                <a:lnTo>
                  <a:pt x="0" y="3092959"/>
                </a:lnTo>
                <a:close/>
                <a:moveTo>
                  <a:pt x="4327729" y="3088190"/>
                </a:moveTo>
                <a:cubicBezTo>
                  <a:pt x="4333675" y="3088190"/>
                  <a:pt x="4338467" y="3092980"/>
                  <a:pt x="4338467" y="3098926"/>
                </a:cubicBezTo>
                <a:cubicBezTo>
                  <a:pt x="4338467" y="3104873"/>
                  <a:pt x="4333675" y="3109663"/>
                  <a:pt x="4327729" y="3109663"/>
                </a:cubicBezTo>
                <a:cubicBezTo>
                  <a:pt x="4321782" y="3109663"/>
                  <a:pt x="4316992" y="3104873"/>
                  <a:pt x="4316992" y="3098926"/>
                </a:cubicBezTo>
                <a:cubicBezTo>
                  <a:pt x="4316992" y="3092980"/>
                  <a:pt x="4321782" y="3088190"/>
                  <a:pt x="4327729" y="3088190"/>
                </a:cubicBezTo>
                <a:close/>
                <a:moveTo>
                  <a:pt x="4078635" y="3087529"/>
                </a:moveTo>
                <a:cubicBezTo>
                  <a:pt x="4084582" y="3087529"/>
                  <a:pt x="4089372" y="3092319"/>
                  <a:pt x="4089372" y="3098266"/>
                </a:cubicBezTo>
                <a:cubicBezTo>
                  <a:pt x="4089372" y="3104212"/>
                  <a:pt x="4084582" y="3109002"/>
                  <a:pt x="4078635" y="3109002"/>
                </a:cubicBezTo>
                <a:cubicBezTo>
                  <a:pt x="4072689" y="3109002"/>
                  <a:pt x="4067899" y="3104212"/>
                  <a:pt x="4067899" y="3098266"/>
                </a:cubicBezTo>
                <a:cubicBezTo>
                  <a:pt x="4067899" y="3092319"/>
                  <a:pt x="4072689" y="3087529"/>
                  <a:pt x="4078635" y="3087529"/>
                </a:cubicBezTo>
                <a:close/>
                <a:moveTo>
                  <a:pt x="3817318" y="3086537"/>
                </a:moveTo>
                <a:cubicBezTo>
                  <a:pt x="3823264" y="3086537"/>
                  <a:pt x="3828056" y="3091327"/>
                  <a:pt x="3828056" y="3097274"/>
                </a:cubicBezTo>
                <a:cubicBezTo>
                  <a:pt x="3828056" y="3103220"/>
                  <a:pt x="3823264" y="3108010"/>
                  <a:pt x="3817318" y="3108010"/>
                </a:cubicBezTo>
                <a:cubicBezTo>
                  <a:pt x="3811371" y="3108010"/>
                  <a:pt x="3806581" y="3103220"/>
                  <a:pt x="3806581" y="3097274"/>
                </a:cubicBezTo>
                <a:cubicBezTo>
                  <a:pt x="3806581" y="3091327"/>
                  <a:pt x="3811371" y="3086537"/>
                  <a:pt x="3817318" y="3086537"/>
                </a:cubicBezTo>
                <a:close/>
                <a:moveTo>
                  <a:pt x="428789" y="3084887"/>
                </a:moveTo>
                <a:cubicBezTo>
                  <a:pt x="434736" y="3084887"/>
                  <a:pt x="439527" y="3089676"/>
                  <a:pt x="439527" y="3095623"/>
                </a:cubicBezTo>
                <a:cubicBezTo>
                  <a:pt x="439527" y="3101569"/>
                  <a:pt x="434736" y="3106359"/>
                  <a:pt x="428789" y="3106359"/>
                </a:cubicBezTo>
                <a:cubicBezTo>
                  <a:pt x="422843" y="3106359"/>
                  <a:pt x="418053" y="3101569"/>
                  <a:pt x="418053" y="3095623"/>
                </a:cubicBezTo>
                <a:cubicBezTo>
                  <a:pt x="418053" y="3089676"/>
                  <a:pt x="422843" y="3084887"/>
                  <a:pt x="428789" y="3084887"/>
                </a:cubicBezTo>
                <a:close/>
                <a:moveTo>
                  <a:pt x="2053181" y="3084720"/>
                </a:moveTo>
                <a:cubicBezTo>
                  <a:pt x="2059128" y="3084720"/>
                  <a:pt x="2063919" y="3089510"/>
                  <a:pt x="2063919" y="3095456"/>
                </a:cubicBezTo>
                <a:cubicBezTo>
                  <a:pt x="2063919" y="3101403"/>
                  <a:pt x="2059128" y="3106194"/>
                  <a:pt x="2053181" y="3106194"/>
                </a:cubicBezTo>
                <a:cubicBezTo>
                  <a:pt x="2047235" y="3106194"/>
                  <a:pt x="2042445" y="3101403"/>
                  <a:pt x="2042445" y="3095456"/>
                </a:cubicBezTo>
                <a:cubicBezTo>
                  <a:pt x="2042445" y="3089510"/>
                  <a:pt x="2047235" y="3084720"/>
                  <a:pt x="2053181" y="3084720"/>
                </a:cubicBezTo>
                <a:close/>
                <a:moveTo>
                  <a:pt x="1408809" y="3079269"/>
                </a:moveTo>
                <a:cubicBezTo>
                  <a:pt x="1414756" y="3079269"/>
                  <a:pt x="1419548" y="3084059"/>
                  <a:pt x="1419548" y="3090006"/>
                </a:cubicBezTo>
                <a:cubicBezTo>
                  <a:pt x="1419548" y="3095952"/>
                  <a:pt x="1414756" y="3100742"/>
                  <a:pt x="1408809" y="3100742"/>
                </a:cubicBezTo>
                <a:cubicBezTo>
                  <a:pt x="1402863" y="3100742"/>
                  <a:pt x="1398073" y="3095952"/>
                  <a:pt x="1398073" y="3090006"/>
                </a:cubicBezTo>
                <a:cubicBezTo>
                  <a:pt x="1398073" y="3084059"/>
                  <a:pt x="1402863" y="3079269"/>
                  <a:pt x="1408809" y="3079269"/>
                </a:cubicBezTo>
                <a:close/>
                <a:moveTo>
                  <a:pt x="4221517" y="3078444"/>
                </a:moveTo>
                <a:cubicBezTo>
                  <a:pt x="4227463" y="3078444"/>
                  <a:pt x="4232253" y="3083234"/>
                  <a:pt x="4232253" y="3089180"/>
                </a:cubicBezTo>
                <a:lnTo>
                  <a:pt x="4227299" y="3094135"/>
                </a:lnTo>
                <a:lnTo>
                  <a:pt x="4238035" y="3104871"/>
                </a:lnTo>
                <a:lnTo>
                  <a:pt x="4233245" y="3109663"/>
                </a:lnTo>
                <a:lnTo>
                  <a:pt x="4241505" y="3117921"/>
                </a:lnTo>
                <a:lnTo>
                  <a:pt x="4237043" y="3122383"/>
                </a:lnTo>
                <a:lnTo>
                  <a:pt x="4244146" y="3129485"/>
                </a:lnTo>
                <a:lnTo>
                  <a:pt x="4240265" y="3133367"/>
                </a:lnTo>
                <a:lnTo>
                  <a:pt x="4246954" y="3140056"/>
                </a:lnTo>
                <a:lnTo>
                  <a:pt x="4243650" y="3143360"/>
                </a:lnTo>
                <a:lnTo>
                  <a:pt x="4250918" y="3150628"/>
                </a:lnTo>
                <a:lnTo>
                  <a:pt x="4248359" y="3153189"/>
                </a:lnTo>
                <a:lnTo>
                  <a:pt x="4256866" y="3161695"/>
                </a:lnTo>
                <a:lnTo>
                  <a:pt x="4255131" y="3163431"/>
                </a:lnTo>
                <a:lnTo>
                  <a:pt x="4265289" y="3173588"/>
                </a:lnTo>
                <a:cubicBezTo>
                  <a:pt x="4265289" y="3179535"/>
                  <a:pt x="4260500" y="3184325"/>
                  <a:pt x="4254553" y="3184325"/>
                </a:cubicBezTo>
                <a:cubicBezTo>
                  <a:pt x="4248607" y="3184325"/>
                  <a:pt x="4243817" y="3179535"/>
                  <a:pt x="4243817" y="3173588"/>
                </a:cubicBezTo>
                <a:lnTo>
                  <a:pt x="4245551" y="3171854"/>
                </a:lnTo>
                <a:lnTo>
                  <a:pt x="4235392" y="3161695"/>
                </a:lnTo>
                <a:lnTo>
                  <a:pt x="4237952" y="3159136"/>
                </a:lnTo>
                <a:lnTo>
                  <a:pt x="4229446" y="3150628"/>
                </a:lnTo>
                <a:lnTo>
                  <a:pt x="4232749" y="3147324"/>
                </a:lnTo>
                <a:lnTo>
                  <a:pt x="4225481" y="3140056"/>
                </a:lnTo>
                <a:lnTo>
                  <a:pt x="4229362" y="3136175"/>
                </a:lnTo>
                <a:lnTo>
                  <a:pt x="4222674" y="3129485"/>
                </a:lnTo>
                <a:lnTo>
                  <a:pt x="4227134" y="3125024"/>
                </a:lnTo>
                <a:lnTo>
                  <a:pt x="4220031" y="3117921"/>
                </a:lnTo>
                <a:lnTo>
                  <a:pt x="4224822" y="3113131"/>
                </a:lnTo>
                <a:lnTo>
                  <a:pt x="4216562" y="3104871"/>
                </a:lnTo>
                <a:lnTo>
                  <a:pt x="4221517" y="3099918"/>
                </a:lnTo>
                <a:lnTo>
                  <a:pt x="4210780" y="3089180"/>
                </a:lnTo>
                <a:cubicBezTo>
                  <a:pt x="4210780" y="3083234"/>
                  <a:pt x="4215570" y="3078444"/>
                  <a:pt x="4221517" y="3078444"/>
                </a:cubicBezTo>
                <a:close/>
                <a:moveTo>
                  <a:pt x="4157262" y="3075470"/>
                </a:moveTo>
                <a:cubicBezTo>
                  <a:pt x="4163208" y="3075470"/>
                  <a:pt x="4167998" y="3080260"/>
                  <a:pt x="4167998" y="3086206"/>
                </a:cubicBezTo>
                <a:cubicBezTo>
                  <a:pt x="4167998" y="3092153"/>
                  <a:pt x="4163208" y="3096944"/>
                  <a:pt x="4157262" y="3096944"/>
                </a:cubicBezTo>
                <a:cubicBezTo>
                  <a:pt x="4151315" y="3096944"/>
                  <a:pt x="4146525" y="3092153"/>
                  <a:pt x="4146525" y="3086206"/>
                </a:cubicBezTo>
                <a:cubicBezTo>
                  <a:pt x="4146525" y="3080260"/>
                  <a:pt x="4151315" y="3075470"/>
                  <a:pt x="4157262" y="3075470"/>
                </a:cubicBezTo>
                <a:close/>
                <a:moveTo>
                  <a:pt x="2263788" y="3071011"/>
                </a:moveTo>
                <a:cubicBezTo>
                  <a:pt x="2269734" y="3071011"/>
                  <a:pt x="2274526" y="3075801"/>
                  <a:pt x="2274526" y="3081748"/>
                </a:cubicBezTo>
                <a:cubicBezTo>
                  <a:pt x="2274526" y="3087694"/>
                  <a:pt x="2269734" y="3092484"/>
                  <a:pt x="2263788" y="3092484"/>
                </a:cubicBezTo>
                <a:cubicBezTo>
                  <a:pt x="2257841" y="3092484"/>
                  <a:pt x="2253052" y="3087694"/>
                  <a:pt x="2253052" y="3081748"/>
                </a:cubicBezTo>
                <a:cubicBezTo>
                  <a:pt x="2253052" y="3075801"/>
                  <a:pt x="2257841" y="3071011"/>
                  <a:pt x="2263788" y="3071011"/>
                </a:cubicBezTo>
                <a:close/>
                <a:moveTo>
                  <a:pt x="4316165" y="3070515"/>
                </a:moveTo>
                <a:cubicBezTo>
                  <a:pt x="4322112" y="3070515"/>
                  <a:pt x="4326902" y="3075305"/>
                  <a:pt x="4326902" y="3081252"/>
                </a:cubicBezTo>
                <a:cubicBezTo>
                  <a:pt x="4326902" y="3087198"/>
                  <a:pt x="4322112" y="3091988"/>
                  <a:pt x="4316165" y="3091988"/>
                </a:cubicBezTo>
                <a:cubicBezTo>
                  <a:pt x="4310219" y="3091988"/>
                  <a:pt x="4305429" y="3087198"/>
                  <a:pt x="4305429" y="3081252"/>
                </a:cubicBezTo>
                <a:cubicBezTo>
                  <a:pt x="4305429" y="3075305"/>
                  <a:pt x="4310219" y="3070515"/>
                  <a:pt x="4316165" y="3070515"/>
                </a:cubicBezTo>
                <a:close/>
                <a:moveTo>
                  <a:pt x="4352340" y="3067047"/>
                </a:moveTo>
                <a:cubicBezTo>
                  <a:pt x="4357461" y="3067047"/>
                  <a:pt x="4361757" y="3071341"/>
                  <a:pt x="4361757" y="3076462"/>
                </a:cubicBezTo>
                <a:cubicBezTo>
                  <a:pt x="4361757" y="3081583"/>
                  <a:pt x="4357461" y="3085877"/>
                  <a:pt x="4352340" y="3085877"/>
                </a:cubicBezTo>
                <a:cubicBezTo>
                  <a:pt x="4347221" y="3085877"/>
                  <a:pt x="4342926" y="3081583"/>
                  <a:pt x="4342926" y="3076462"/>
                </a:cubicBezTo>
                <a:cubicBezTo>
                  <a:pt x="4342926" y="3071341"/>
                  <a:pt x="4347221" y="3067047"/>
                  <a:pt x="4352340" y="3067047"/>
                </a:cubicBezTo>
                <a:close/>
                <a:moveTo>
                  <a:pt x="3615632" y="3066386"/>
                </a:moveTo>
                <a:cubicBezTo>
                  <a:pt x="3621578" y="3066386"/>
                  <a:pt x="3626368" y="3071176"/>
                  <a:pt x="3626368" y="3077123"/>
                </a:cubicBezTo>
                <a:cubicBezTo>
                  <a:pt x="3626368" y="3083069"/>
                  <a:pt x="3621578" y="3087859"/>
                  <a:pt x="3615632" y="3087859"/>
                </a:cubicBezTo>
                <a:cubicBezTo>
                  <a:pt x="3609685" y="3087859"/>
                  <a:pt x="3604895" y="3083069"/>
                  <a:pt x="3604895" y="3077123"/>
                </a:cubicBezTo>
                <a:cubicBezTo>
                  <a:pt x="3604895" y="3071176"/>
                  <a:pt x="3609685" y="3066386"/>
                  <a:pt x="3615632" y="3066386"/>
                </a:cubicBezTo>
                <a:close/>
                <a:moveTo>
                  <a:pt x="3211433" y="3065063"/>
                </a:moveTo>
                <a:cubicBezTo>
                  <a:pt x="3217379" y="3065063"/>
                  <a:pt x="3222169" y="3069853"/>
                  <a:pt x="3222169" y="3075799"/>
                </a:cubicBezTo>
                <a:cubicBezTo>
                  <a:pt x="3222169" y="3081746"/>
                  <a:pt x="3217379" y="3086537"/>
                  <a:pt x="3211433" y="3086537"/>
                </a:cubicBezTo>
                <a:cubicBezTo>
                  <a:pt x="3205486" y="3086537"/>
                  <a:pt x="3200696" y="3081746"/>
                  <a:pt x="3200696" y="3075799"/>
                </a:cubicBezTo>
                <a:cubicBezTo>
                  <a:pt x="3200696" y="3069853"/>
                  <a:pt x="3205486" y="3065063"/>
                  <a:pt x="3211433" y="3065063"/>
                </a:cubicBezTo>
                <a:close/>
                <a:moveTo>
                  <a:pt x="1201342" y="3062420"/>
                </a:moveTo>
                <a:cubicBezTo>
                  <a:pt x="1207288" y="3062420"/>
                  <a:pt x="1212080" y="3067210"/>
                  <a:pt x="1212080" y="3073156"/>
                </a:cubicBezTo>
                <a:cubicBezTo>
                  <a:pt x="1212080" y="3079103"/>
                  <a:pt x="1207288" y="3083895"/>
                  <a:pt x="1201342" y="3083895"/>
                </a:cubicBezTo>
                <a:cubicBezTo>
                  <a:pt x="1195395" y="3083895"/>
                  <a:pt x="1190605" y="3079103"/>
                  <a:pt x="1190605" y="3073156"/>
                </a:cubicBezTo>
                <a:cubicBezTo>
                  <a:pt x="1190605" y="3067210"/>
                  <a:pt x="1195395" y="3062420"/>
                  <a:pt x="1201342" y="3062420"/>
                </a:cubicBezTo>
                <a:close/>
                <a:moveTo>
                  <a:pt x="4212102" y="3059118"/>
                </a:moveTo>
                <a:cubicBezTo>
                  <a:pt x="4218048" y="3059118"/>
                  <a:pt x="4222840" y="3063908"/>
                  <a:pt x="4222840" y="3069855"/>
                </a:cubicBezTo>
                <a:cubicBezTo>
                  <a:pt x="4222840" y="3075801"/>
                  <a:pt x="4218048" y="3080591"/>
                  <a:pt x="4212102" y="3080591"/>
                </a:cubicBezTo>
                <a:cubicBezTo>
                  <a:pt x="4206155" y="3080591"/>
                  <a:pt x="4201366" y="3075801"/>
                  <a:pt x="4201366" y="3069855"/>
                </a:cubicBezTo>
                <a:cubicBezTo>
                  <a:pt x="4201366" y="3063908"/>
                  <a:pt x="4206155" y="3059118"/>
                  <a:pt x="4212102" y="3059118"/>
                </a:cubicBezTo>
                <a:close/>
                <a:moveTo>
                  <a:pt x="4376954" y="3054987"/>
                </a:moveTo>
                <a:cubicBezTo>
                  <a:pt x="4377136" y="3054987"/>
                  <a:pt x="4377283" y="3055135"/>
                  <a:pt x="4377283" y="3055317"/>
                </a:cubicBezTo>
                <a:cubicBezTo>
                  <a:pt x="4377283" y="3055501"/>
                  <a:pt x="4377136" y="3055648"/>
                  <a:pt x="4376954" y="3055648"/>
                </a:cubicBezTo>
                <a:cubicBezTo>
                  <a:pt x="4376772" y="3055648"/>
                  <a:pt x="4376622" y="3055501"/>
                  <a:pt x="4376622" y="3055317"/>
                </a:cubicBezTo>
                <a:cubicBezTo>
                  <a:pt x="4376622" y="3055135"/>
                  <a:pt x="4376772" y="3054987"/>
                  <a:pt x="4376954" y="3054987"/>
                </a:cubicBezTo>
                <a:close/>
                <a:moveTo>
                  <a:pt x="2466796" y="3050858"/>
                </a:moveTo>
                <a:cubicBezTo>
                  <a:pt x="2472742" y="3050858"/>
                  <a:pt x="2477533" y="3055648"/>
                  <a:pt x="2477533" y="3061595"/>
                </a:cubicBezTo>
                <a:cubicBezTo>
                  <a:pt x="2477533" y="3067541"/>
                  <a:pt x="2472742" y="3072331"/>
                  <a:pt x="2466796" y="3072331"/>
                </a:cubicBezTo>
                <a:cubicBezTo>
                  <a:pt x="2460849" y="3072331"/>
                  <a:pt x="2456059" y="3067541"/>
                  <a:pt x="2456059" y="3061595"/>
                </a:cubicBezTo>
                <a:cubicBezTo>
                  <a:pt x="2456059" y="3055648"/>
                  <a:pt x="2460849" y="3050858"/>
                  <a:pt x="2466796" y="3050858"/>
                </a:cubicBezTo>
                <a:close/>
                <a:moveTo>
                  <a:pt x="4033706" y="3050033"/>
                </a:moveTo>
                <a:cubicBezTo>
                  <a:pt x="4039653" y="3050033"/>
                  <a:pt x="4044442" y="3054823"/>
                  <a:pt x="4044442" y="3060769"/>
                </a:cubicBezTo>
                <a:cubicBezTo>
                  <a:pt x="4044442" y="3066716"/>
                  <a:pt x="4039653" y="3071507"/>
                  <a:pt x="4033706" y="3071507"/>
                </a:cubicBezTo>
                <a:cubicBezTo>
                  <a:pt x="4027760" y="3071507"/>
                  <a:pt x="4022970" y="3066716"/>
                  <a:pt x="4022970" y="3060769"/>
                </a:cubicBezTo>
                <a:cubicBezTo>
                  <a:pt x="4022970" y="3054823"/>
                  <a:pt x="4027760" y="3050033"/>
                  <a:pt x="4033706" y="3050033"/>
                </a:cubicBezTo>
                <a:close/>
                <a:moveTo>
                  <a:pt x="282603" y="3047719"/>
                </a:moveTo>
                <a:cubicBezTo>
                  <a:pt x="288549" y="3047719"/>
                  <a:pt x="293341" y="3052509"/>
                  <a:pt x="293341" y="3058456"/>
                </a:cubicBezTo>
                <a:cubicBezTo>
                  <a:pt x="293341" y="3064402"/>
                  <a:pt x="288549" y="3069192"/>
                  <a:pt x="282603" y="3069192"/>
                </a:cubicBezTo>
                <a:cubicBezTo>
                  <a:pt x="276656" y="3069192"/>
                  <a:pt x="271866" y="3064402"/>
                  <a:pt x="271866" y="3058456"/>
                </a:cubicBezTo>
                <a:cubicBezTo>
                  <a:pt x="271866" y="3052509"/>
                  <a:pt x="276656" y="3047719"/>
                  <a:pt x="282603" y="3047719"/>
                </a:cubicBezTo>
                <a:close/>
                <a:moveTo>
                  <a:pt x="4339126" y="3046233"/>
                </a:moveTo>
                <a:cubicBezTo>
                  <a:pt x="4345072" y="3046233"/>
                  <a:pt x="4349864" y="3051023"/>
                  <a:pt x="4349864" y="3056970"/>
                </a:cubicBezTo>
                <a:cubicBezTo>
                  <a:pt x="4349864" y="3062916"/>
                  <a:pt x="4345072" y="3067706"/>
                  <a:pt x="4339126" y="3067706"/>
                </a:cubicBezTo>
                <a:cubicBezTo>
                  <a:pt x="4333179" y="3067706"/>
                  <a:pt x="4328390" y="3062916"/>
                  <a:pt x="4328390" y="3056970"/>
                </a:cubicBezTo>
                <a:cubicBezTo>
                  <a:pt x="4328390" y="3051023"/>
                  <a:pt x="4333179" y="3046233"/>
                  <a:pt x="4339126" y="3046233"/>
                </a:cubicBezTo>
                <a:close/>
                <a:moveTo>
                  <a:pt x="4129841" y="3045902"/>
                </a:moveTo>
                <a:cubicBezTo>
                  <a:pt x="4135787" y="3045902"/>
                  <a:pt x="4140577" y="3050692"/>
                  <a:pt x="4140577" y="3056638"/>
                </a:cubicBezTo>
                <a:cubicBezTo>
                  <a:pt x="4140577" y="3062585"/>
                  <a:pt x="4135787" y="3067376"/>
                  <a:pt x="4129841" y="3067376"/>
                </a:cubicBezTo>
                <a:cubicBezTo>
                  <a:pt x="4123894" y="3067376"/>
                  <a:pt x="4119104" y="3062585"/>
                  <a:pt x="4119104" y="3056638"/>
                </a:cubicBezTo>
                <a:cubicBezTo>
                  <a:pt x="4119104" y="3050692"/>
                  <a:pt x="4123894" y="3045902"/>
                  <a:pt x="4129841" y="3045902"/>
                </a:cubicBezTo>
                <a:close/>
                <a:moveTo>
                  <a:pt x="3900240" y="3044251"/>
                </a:moveTo>
                <a:cubicBezTo>
                  <a:pt x="3906186" y="3044251"/>
                  <a:pt x="3910978" y="3049041"/>
                  <a:pt x="3910978" y="3054987"/>
                </a:cubicBezTo>
                <a:cubicBezTo>
                  <a:pt x="3910978" y="3060934"/>
                  <a:pt x="3906186" y="3065724"/>
                  <a:pt x="3900240" y="3065724"/>
                </a:cubicBezTo>
                <a:cubicBezTo>
                  <a:pt x="3894293" y="3065724"/>
                  <a:pt x="3889503" y="3060934"/>
                  <a:pt x="3889503" y="3054987"/>
                </a:cubicBezTo>
                <a:cubicBezTo>
                  <a:pt x="3889503" y="3049041"/>
                  <a:pt x="3894293" y="3044251"/>
                  <a:pt x="3900240" y="3044251"/>
                </a:cubicBezTo>
                <a:close/>
                <a:moveTo>
                  <a:pt x="4250424" y="3040783"/>
                </a:moveTo>
                <a:cubicBezTo>
                  <a:pt x="4256370" y="3040783"/>
                  <a:pt x="4261160" y="3045572"/>
                  <a:pt x="4261160" y="3051519"/>
                </a:cubicBezTo>
                <a:lnTo>
                  <a:pt x="4254388" y="3058293"/>
                </a:lnTo>
                <a:lnTo>
                  <a:pt x="4264464" y="3068367"/>
                </a:lnTo>
                <a:lnTo>
                  <a:pt x="4258188" y="3074644"/>
                </a:lnTo>
                <a:lnTo>
                  <a:pt x="4266446" y="3082903"/>
                </a:lnTo>
                <a:lnTo>
                  <a:pt x="4260664" y="3088684"/>
                </a:lnTo>
                <a:lnTo>
                  <a:pt x="4267932" y="3095952"/>
                </a:lnTo>
                <a:lnTo>
                  <a:pt x="4262895" y="3100992"/>
                </a:lnTo>
                <a:lnTo>
                  <a:pt x="4270246" y="3108341"/>
                </a:lnTo>
                <a:lnTo>
                  <a:pt x="4266117" y="3112470"/>
                </a:lnTo>
                <a:lnTo>
                  <a:pt x="4274210" y="3120564"/>
                </a:lnTo>
                <a:lnTo>
                  <a:pt x="4270906" y="3123869"/>
                </a:lnTo>
                <a:lnTo>
                  <a:pt x="4280486" y="3133449"/>
                </a:lnTo>
                <a:cubicBezTo>
                  <a:pt x="4280486" y="3139395"/>
                  <a:pt x="4275696" y="3144185"/>
                  <a:pt x="4269750" y="3144185"/>
                </a:cubicBezTo>
                <a:cubicBezTo>
                  <a:pt x="4263803" y="3144185"/>
                  <a:pt x="4259013" y="3139395"/>
                  <a:pt x="4259013" y="3133449"/>
                </a:cubicBezTo>
                <a:lnTo>
                  <a:pt x="4262317" y="3130145"/>
                </a:lnTo>
                <a:lnTo>
                  <a:pt x="4252737" y="3120564"/>
                </a:lnTo>
                <a:lnTo>
                  <a:pt x="4256865" y="3116437"/>
                </a:lnTo>
                <a:lnTo>
                  <a:pt x="4248771" y="3108341"/>
                </a:lnTo>
                <a:lnTo>
                  <a:pt x="4253809" y="3103304"/>
                </a:lnTo>
                <a:lnTo>
                  <a:pt x="4246460" y="3095952"/>
                </a:lnTo>
                <a:lnTo>
                  <a:pt x="4252241" y="3090171"/>
                </a:lnTo>
                <a:lnTo>
                  <a:pt x="4244973" y="3082903"/>
                </a:lnTo>
                <a:lnTo>
                  <a:pt x="4251249" y="3076627"/>
                </a:lnTo>
                <a:lnTo>
                  <a:pt x="4242991" y="3068367"/>
                </a:lnTo>
                <a:lnTo>
                  <a:pt x="4249763" y="3061596"/>
                </a:lnTo>
                <a:lnTo>
                  <a:pt x="4239688" y="3051519"/>
                </a:lnTo>
                <a:cubicBezTo>
                  <a:pt x="4239688" y="3045572"/>
                  <a:pt x="4244477" y="3040783"/>
                  <a:pt x="4250424" y="3040783"/>
                </a:cubicBezTo>
                <a:close/>
                <a:moveTo>
                  <a:pt x="1002463" y="3039626"/>
                </a:moveTo>
                <a:cubicBezTo>
                  <a:pt x="1008410" y="3039626"/>
                  <a:pt x="1013200" y="3044416"/>
                  <a:pt x="1013200" y="3050362"/>
                </a:cubicBezTo>
                <a:cubicBezTo>
                  <a:pt x="1013200" y="3056309"/>
                  <a:pt x="1008410" y="3061099"/>
                  <a:pt x="1002463" y="3061099"/>
                </a:cubicBezTo>
                <a:cubicBezTo>
                  <a:pt x="996517" y="3061099"/>
                  <a:pt x="991727" y="3056309"/>
                  <a:pt x="991727" y="3050362"/>
                </a:cubicBezTo>
                <a:cubicBezTo>
                  <a:pt x="991727" y="3044416"/>
                  <a:pt x="996517" y="3039626"/>
                  <a:pt x="1002463" y="3039626"/>
                </a:cubicBezTo>
                <a:close/>
                <a:moveTo>
                  <a:pt x="4197566" y="3035166"/>
                </a:moveTo>
                <a:cubicBezTo>
                  <a:pt x="4203512" y="3035166"/>
                  <a:pt x="4208304" y="3039955"/>
                  <a:pt x="4208304" y="3045902"/>
                </a:cubicBezTo>
                <a:cubicBezTo>
                  <a:pt x="4208304" y="3051849"/>
                  <a:pt x="4203512" y="3056640"/>
                  <a:pt x="4197566" y="3056640"/>
                </a:cubicBezTo>
                <a:cubicBezTo>
                  <a:pt x="4191619" y="3056640"/>
                  <a:pt x="4186830" y="3051849"/>
                  <a:pt x="4186830" y="3045902"/>
                </a:cubicBezTo>
                <a:cubicBezTo>
                  <a:pt x="4186830" y="3039955"/>
                  <a:pt x="4191619" y="3035166"/>
                  <a:pt x="4197566" y="3035166"/>
                </a:cubicBezTo>
                <a:close/>
                <a:moveTo>
                  <a:pt x="4330040" y="3027898"/>
                </a:moveTo>
                <a:cubicBezTo>
                  <a:pt x="4335987" y="3027898"/>
                  <a:pt x="4340777" y="3032687"/>
                  <a:pt x="4340777" y="3038634"/>
                </a:cubicBezTo>
                <a:cubicBezTo>
                  <a:pt x="4340777" y="3044581"/>
                  <a:pt x="4335987" y="3049372"/>
                  <a:pt x="4330040" y="3049372"/>
                </a:cubicBezTo>
                <a:cubicBezTo>
                  <a:pt x="4324094" y="3049372"/>
                  <a:pt x="4319304" y="3044581"/>
                  <a:pt x="4319304" y="3038634"/>
                </a:cubicBezTo>
                <a:cubicBezTo>
                  <a:pt x="4319304" y="3032687"/>
                  <a:pt x="4324094" y="3027898"/>
                  <a:pt x="4330040" y="3027898"/>
                </a:cubicBezTo>
                <a:close/>
                <a:moveTo>
                  <a:pt x="3351671" y="3027237"/>
                </a:moveTo>
                <a:cubicBezTo>
                  <a:pt x="3357618" y="3027237"/>
                  <a:pt x="3362409" y="3032027"/>
                  <a:pt x="3362409" y="3037973"/>
                </a:cubicBezTo>
                <a:cubicBezTo>
                  <a:pt x="3362409" y="3043920"/>
                  <a:pt x="3357618" y="3048710"/>
                  <a:pt x="3351671" y="3048710"/>
                </a:cubicBezTo>
                <a:cubicBezTo>
                  <a:pt x="3345725" y="3048710"/>
                  <a:pt x="3340935" y="3043920"/>
                  <a:pt x="3340935" y="3037973"/>
                </a:cubicBezTo>
                <a:cubicBezTo>
                  <a:pt x="3340935" y="3032027"/>
                  <a:pt x="3345725" y="3027237"/>
                  <a:pt x="3351671" y="3027237"/>
                </a:cubicBezTo>
                <a:close/>
                <a:moveTo>
                  <a:pt x="2660388" y="3025420"/>
                </a:moveTo>
                <a:cubicBezTo>
                  <a:pt x="2666334" y="3025420"/>
                  <a:pt x="2671126" y="3030209"/>
                  <a:pt x="2671126" y="3036156"/>
                </a:cubicBezTo>
                <a:cubicBezTo>
                  <a:pt x="2671126" y="3042102"/>
                  <a:pt x="2666334" y="3046894"/>
                  <a:pt x="2660388" y="3046894"/>
                </a:cubicBezTo>
                <a:cubicBezTo>
                  <a:pt x="2654441" y="3046894"/>
                  <a:pt x="2649651" y="3042102"/>
                  <a:pt x="2649651" y="3036156"/>
                </a:cubicBezTo>
                <a:cubicBezTo>
                  <a:pt x="2649651" y="3030209"/>
                  <a:pt x="2654441" y="3025420"/>
                  <a:pt x="2660388" y="3025420"/>
                </a:cubicBezTo>
                <a:close/>
                <a:moveTo>
                  <a:pt x="3719695" y="3025255"/>
                </a:moveTo>
                <a:cubicBezTo>
                  <a:pt x="3725642" y="3025255"/>
                  <a:pt x="3730433" y="3030045"/>
                  <a:pt x="3730433" y="3035991"/>
                </a:cubicBezTo>
                <a:cubicBezTo>
                  <a:pt x="3730433" y="3041938"/>
                  <a:pt x="3725642" y="3046729"/>
                  <a:pt x="3719695" y="3046729"/>
                </a:cubicBezTo>
                <a:cubicBezTo>
                  <a:pt x="3713749" y="3046729"/>
                  <a:pt x="3708959" y="3041938"/>
                  <a:pt x="3708959" y="3035991"/>
                </a:cubicBezTo>
                <a:cubicBezTo>
                  <a:pt x="3708959" y="3030045"/>
                  <a:pt x="3713749" y="3025255"/>
                  <a:pt x="3719695" y="3025255"/>
                </a:cubicBezTo>
                <a:close/>
                <a:moveTo>
                  <a:pt x="4362251" y="3023439"/>
                </a:moveTo>
                <a:cubicBezTo>
                  <a:pt x="4368198" y="3023439"/>
                  <a:pt x="4372989" y="3028229"/>
                  <a:pt x="4372989" y="3034175"/>
                </a:cubicBezTo>
                <a:cubicBezTo>
                  <a:pt x="4372989" y="3040122"/>
                  <a:pt x="4368198" y="3044912"/>
                  <a:pt x="4362251" y="3044912"/>
                </a:cubicBezTo>
                <a:cubicBezTo>
                  <a:pt x="4356305" y="3044912"/>
                  <a:pt x="4351515" y="3040122"/>
                  <a:pt x="4351515" y="3034175"/>
                </a:cubicBezTo>
                <a:cubicBezTo>
                  <a:pt x="4351515" y="3028229"/>
                  <a:pt x="4356305" y="3023439"/>
                  <a:pt x="4362251" y="3023439"/>
                </a:cubicBezTo>
                <a:close/>
                <a:moveTo>
                  <a:pt x="4244313" y="3020630"/>
                </a:moveTo>
                <a:cubicBezTo>
                  <a:pt x="4250259" y="3020630"/>
                  <a:pt x="4255049" y="3025420"/>
                  <a:pt x="4255049" y="3031366"/>
                </a:cubicBezTo>
                <a:cubicBezTo>
                  <a:pt x="4255049" y="3037313"/>
                  <a:pt x="4250259" y="3042104"/>
                  <a:pt x="4244313" y="3042104"/>
                </a:cubicBezTo>
                <a:cubicBezTo>
                  <a:pt x="4238366" y="3042104"/>
                  <a:pt x="4233576" y="3037313"/>
                  <a:pt x="4233576" y="3031366"/>
                </a:cubicBezTo>
                <a:cubicBezTo>
                  <a:pt x="4233576" y="3025420"/>
                  <a:pt x="4238366" y="3020630"/>
                  <a:pt x="4244313" y="3020630"/>
                </a:cubicBezTo>
                <a:close/>
                <a:moveTo>
                  <a:pt x="813827" y="3012040"/>
                </a:moveTo>
                <a:cubicBezTo>
                  <a:pt x="819774" y="3012040"/>
                  <a:pt x="824564" y="3016830"/>
                  <a:pt x="824564" y="3022777"/>
                </a:cubicBezTo>
                <a:cubicBezTo>
                  <a:pt x="824564" y="3028723"/>
                  <a:pt x="819774" y="3033513"/>
                  <a:pt x="813827" y="3033513"/>
                </a:cubicBezTo>
                <a:cubicBezTo>
                  <a:pt x="807881" y="3033513"/>
                  <a:pt x="803091" y="3028723"/>
                  <a:pt x="803091" y="3022777"/>
                </a:cubicBezTo>
                <a:cubicBezTo>
                  <a:pt x="803091" y="3016830"/>
                  <a:pt x="807881" y="3012040"/>
                  <a:pt x="813827" y="3012040"/>
                </a:cubicBezTo>
                <a:close/>
                <a:moveTo>
                  <a:pt x="147320" y="3009397"/>
                </a:moveTo>
                <a:cubicBezTo>
                  <a:pt x="153267" y="3009397"/>
                  <a:pt x="158057" y="3014187"/>
                  <a:pt x="158057" y="3020134"/>
                </a:cubicBezTo>
                <a:cubicBezTo>
                  <a:pt x="158057" y="3026080"/>
                  <a:pt x="153267" y="3030872"/>
                  <a:pt x="147320" y="3030872"/>
                </a:cubicBezTo>
                <a:cubicBezTo>
                  <a:pt x="141374" y="3030872"/>
                  <a:pt x="136584" y="3026080"/>
                  <a:pt x="136584" y="3020134"/>
                </a:cubicBezTo>
                <a:cubicBezTo>
                  <a:pt x="136584" y="3014187"/>
                  <a:pt x="141374" y="3009397"/>
                  <a:pt x="147320" y="3009397"/>
                </a:cubicBezTo>
                <a:close/>
                <a:moveTo>
                  <a:pt x="4092675" y="3008572"/>
                </a:moveTo>
                <a:cubicBezTo>
                  <a:pt x="4098622" y="3008572"/>
                  <a:pt x="4103412" y="3013362"/>
                  <a:pt x="4103412" y="3019308"/>
                </a:cubicBezTo>
                <a:cubicBezTo>
                  <a:pt x="4103412" y="3025255"/>
                  <a:pt x="4098622" y="3030045"/>
                  <a:pt x="4092675" y="3030045"/>
                </a:cubicBezTo>
                <a:cubicBezTo>
                  <a:pt x="4086729" y="3030045"/>
                  <a:pt x="4081939" y="3025255"/>
                  <a:pt x="4081939" y="3019308"/>
                </a:cubicBezTo>
                <a:cubicBezTo>
                  <a:pt x="4081939" y="3013362"/>
                  <a:pt x="4086729" y="3008572"/>
                  <a:pt x="4092675" y="3008572"/>
                </a:cubicBezTo>
                <a:close/>
                <a:moveTo>
                  <a:pt x="4176092" y="3005433"/>
                </a:moveTo>
                <a:cubicBezTo>
                  <a:pt x="4182038" y="3005433"/>
                  <a:pt x="4186828" y="3010223"/>
                  <a:pt x="4186828" y="3016169"/>
                </a:cubicBezTo>
                <a:cubicBezTo>
                  <a:pt x="4186828" y="3022116"/>
                  <a:pt x="4182038" y="3026906"/>
                  <a:pt x="4176092" y="3026906"/>
                </a:cubicBezTo>
                <a:cubicBezTo>
                  <a:pt x="4170145" y="3026906"/>
                  <a:pt x="4165355" y="3022116"/>
                  <a:pt x="4165355" y="3016169"/>
                </a:cubicBezTo>
                <a:cubicBezTo>
                  <a:pt x="4165355" y="3010223"/>
                  <a:pt x="4170145" y="3005433"/>
                  <a:pt x="4176092" y="3005433"/>
                </a:cubicBezTo>
                <a:close/>
                <a:moveTo>
                  <a:pt x="4276853" y="3004608"/>
                </a:moveTo>
                <a:cubicBezTo>
                  <a:pt x="4282800" y="3004608"/>
                  <a:pt x="4287589" y="3009397"/>
                  <a:pt x="4287589" y="3015344"/>
                </a:cubicBezTo>
                <a:lnTo>
                  <a:pt x="4279248" y="3023687"/>
                </a:lnTo>
                <a:lnTo>
                  <a:pt x="4288913" y="3033348"/>
                </a:lnTo>
                <a:lnTo>
                  <a:pt x="4281313" y="3040947"/>
                </a:lnTo>
                <a:lnTo>
                  <a:pt x="4289572" y="3049206"/>
                </a:lnTo>
                <a:lnTo>
                  <a:pt x="4282635" y="3056144"/>
                </a:lnTo>
                <a:lnTo>
                  <a:pt x="4290399" y="3063906"/>
                </a:lnTo>
                <a:lnTo>
                  <a:pt x="4284534" y="3069773"/>
                </a:lnTo>
                <a:lnTo>
                  <a:pt x="4292546" y="3077783"/>
                </a:lnTo>
                <a:lnTo>
                  <a:pt x="4287589" y="3082740"/>
                </a:lnTo>
                <a:lnTo>
                  <a:pt x="4296839" y="3091988"/>
                </a:lnTo>
                <a:cubicBezTo>
                  <a:pt x="4296839" y="3097935"/>
                  <a:pt x="4292050" y="3102724"/>
                  <a:pt x="4286103" y="3102724"/>
                </a:cubicBezTo>
                <a:cubicBezTo>
                  <a:pt x="4280157" y="3102724"/>
                  <a:pt x="4275367" y="3097935"/>
                  <a:pt x="4275367" y="3091988"/>
                </a:cubicBezTo>
                <a:lnTo>
                  <a:pt x="4280321" y="3087033"/>
                </a:lnTo>
                <a:lnTo>
                  <a:pt x="4271071" y="3077783"/>
                </a:lnTo>
                <a:lnTo>
                  <a:pt x="4276936" y="3071920"/>
                </a:lnTo>
                <a:lnTo>
                  <a:pt x="4268924" y="3063906"/>
                </a:lnTo>
                <a:lnTo>
                  <a:pt x="4275863" y="3056970"/>
                </a:lnTo>
                <a:lnTo>
                  <a:pt x="4268099" y="3049206"/>
                </a:lnTo>
                <a:lnTo>
                  <a:pt x="4275696" y="3041608"/>
                </a:lnTo>
                <a:lnTo>
                  <a:pt x="4267438" y="3033348"/>
                </a:lnTo>
                <a:lnTo>
                  <a:pt x="4275780" y="3025008"/>
                </a:lnTo>
                <a:lnTo>
                  <a:pt x="4266117" y="3015344"/>
                </a:lnTo>
                <a:cubicBezTo>
                  <a:pt x="4266117" y="3009397"/>
                  <a:pt x="4270906" y="3004608"/>
                  <a:pt x="4276853" y="3004608"/>
                </a:cubicBezTo>
                <a:close/>
                <a:moveTo>
                  <a:pt x="4351844" y="3003286"/>
                </a:moveTo>
                <a:cubicBezTo>
                  <a:pt x="4357791" y="3003286"/>
                  <a:pt x="4362581" y="3008076"/>
                  <a:pt x="4362581" y="3014022"/>
                </a:cubicBezTo>
                <a:cubicBezTo>
                  <a:pt x="4362581" y="3019969"/>
                  <a:pt x="4357791" y="3024759"/>
                  <a:pt x="4351844" y="3024759"/>
                </a:cubicBezTo>
                <a:cubicBezTo>
                  <a:pt x="4345898" y="3024759"/>
                  <a:pt x="4341108" y="3019969"/>
                  <a:pt x="4341108" y="3014022"/>
                </a:cubicBezTo>
                <a:cubicBezTo>
                  <a:pt x="4341108" y="3008076"/>
                  <a:pt x="4345898" y="3003286"/>
                  <a:pt x="4351844" y="3003286"/>
                </a:cubicBezTo>
                <a:close/>
                <a:moveTo>
                  <a:pt x="3975231" y="3002790"/>
                </a:moveTo>
                <a:cubicBezTo>
                  <a:pt x="3981178" y="3002790"/>
                  <a:pt x="3985969" y="3007580"/>
                  <a:pt x="3985969" y="3013526"/>
                </a:cubicBezTo>
                <a:cubicBezTo>
                  <a:pt x="3985969" y="3019473"/>
                  <a:pt x="3981178" y="3024263"/>
                  <a:pt x="3975231" y="3024263"/>
                </a:cubicBezTo>
                <a:cubicBezTo>
                  <a:pt x="3969285" y="3024263"/>
                  <a:pt x="3964495" y="3019473"/>
                  <a:pt x="3964495" y="3013526"/>
                </a:cubicBezTo>
                <a:cubicBezTo>
                  <a:pt x="3964495" y="3007580"/>
                  <a:pt x="3969285" y="3002790"/>
                  <a:pt x="3975231" y="3002790"/>
                </a:cubicBezTo>
                <a:close/>
                <a:moveTo>
                  <a:pt x="4385708" y="3002625"/>
                </a:moveTo>
                <a:cubicBezTo>
                  <a:pt x="4391158" y="3002625"/>
                  <a:pt x="4395452" y="3006919"/>
                  <a:pt x="4395452" y="3012371"/>
                </a:cubicBezTo>
                <a:cubicBezTo>
                  <a:pt x="4395452" y="3017822"/>
                  <a:pt x="4391158" y="3022118"/>
                  <a:pt x="4385708" y="3022118"/>
                </a:cubicBezTo>
                <a:cubicBezTo>
                  <a:pt x="4380257" y="3022118"/>
                  <a:pt x="4375962" y="3017822"/>
                  <a:pt x="4375962" y="3012371"/>
                </a:cubicBezTo>
                <a:cubicBezTo>
                  <a:pt x="4375962" y="3006919"/>
                  <a:pt x="4380257" y="3002625"/>
                  <a:pt x="4385708" y="3002625"/>
                </a:cubicBezTo>
                <a:close/>
                <a:moveTo>
                  <a:pt x="4233906" y="2996183"/>
                </a:moveTo>
                <a:cubicBezTo>
                  <a:pt x="4239852" y="2996183"/>
                  <a:pt x="4244642" y="3000973"/>
                  <a:pt x="4244642" y="3006919"/>
                </a:cubicBezTo>
                <a:cubicBezTo>
                  <a:pt x="4244642" y="3012866"/>
                  <a:pt x="4239852" y="3017656"/>
                  <a:pt x="4233906" y="3017656"/>
                </a:cubicBezTo>
                <a:cubicBezTo>
                  <a:pt x="4227959" y="3017656"/>
                  <a:pt x="4223169" y="3012866"/>
                  <a:pt x="4223169" y="3006919"/>
                </a:cubicBezTo>
                <a:cubicBezTo>
                  <a:pt x="4223169" y="3000973"/>
                  <a:pt x="4227959" y="2996183"/>
                  <a:pt x="4233906" y="2996183"/>
                </a:cubicBezTo>
                <a:close/>
                <a:moveTo>
                  <a:pt x="2843079" y="2995853"/>
                </a:moveTo>
                <a:cubicBezTo>
                  <a:pt x="2849026" y="2995853"/>
                  <a:pt x="2853817" y="3000643"/>
                  <a:pt x="2853817" y="3006590"/>
                </a:cubicBezTo>
                <a:cubicBezTo>
                  <a:pt x="2853817" y="3012536"/>
                  <a:pt x="2849026" y="3017328"/>
                  <a:pt x="2843079" y="3017328"/>
                </a:cubicBezTo>
                <a:cubicBezTo>
                  <a:pt x="2837133" y="3017328"/>
                  <a:pt x="2832343" y="3012536"/>
                  <a:pt x="2832343" y="3006590"/>
                </a:cubicBezTo>
                <a:cubicBezTo>
                  <a:pt x="2832343" y="3000643"/>
                  <a:pt x="2837133" y="2995853"/>
                  <a:pt x="2843079" y="2995853"/>
                </a:cubicBezTo>
                <a:close/>
                <a:moveTo>
                  <a:pt x="4409329" y="2991558"/>
                </a:moveTo>
                <a:cubicBezTo>
                  <a:pt x="4409494" y="2991558"/>
                  <a:pt x="4409823" y="2991887"/>
                  <a:pt x="4409823" y="2992054"/>
                </a:cubicBezTo>
                <a:cubicBezTo>
                  <a:pt x="4409823" y="2992218"/>
                  <a:pt x="4409329" y="2992548"/>
                  <a:pt x="4409329" y="2992548"/>
                </a:cubicBezTo>
                <a:cubicBezTo>
                  <a:pt x="4409165" y="2992548"/>
                  <a:pt x="4408833" y="2992218"/>
                  <a:pt x="4408833" y="2992054"/>
                </a:cubicBezTo>
                <a:cubicBezTo>
                  <a:pt x="4408833" y="2991887"/>
                  <a:pt x="4409165" y="2991558"/>
                  <a:pt x="4409329" y="2991558"/>
                </a:cubicBezTo>
                <a:close/>
                <a:moveTo>
                  <a:pt x="3481173" y="2988585"/>
                </a:moveTo>
                <a:cubicBezTo>
                  <a:pt x="3487120" y="2988585"/>
                  <a:pt x="3491911" y="2993375"/>
                  <a:pt x="3491911" y="2999322"/>
                </a:cubicBezTo>
                <a:cubicBezTo>
                  <a:pt x="3491911" y="3005268"/>
                  <a:pt x="3487120" y="3010060"/>
                  <a:pt x="3481173" y="3010060"/>
                </a:cubicBezTo>
                <a:cubicBezTo>
                  <a:pt x="3475227" y="3010060"/>
                  <a:pt x="3470437" y="3005268"/>
                  <a:pt x="3470437" y="2999322"/>
                </a:cubicBezTo>
                <a:cubicBezTo>
                  <a:pt x="3470437" y="2993375"/>
                  <a:pt x="3475227" y="2988585"/>
                  <a:pt x="3481173" y="2988585"/>
                </a:cubicBezTo>
                <a:close/>
                <a:moveTo>
                  <a:pt x="3814675" y="2984456"/>
                </a:moveTo>
                <a:cubicBezTo>
                  <a:pt x="3820606" y="2984456"/>
                  <a:pt x="3825413" y="2989263"/>
                  <a:pt x="3825413" y="2995193"/>
                </a:cubicBezTo>
                <a:cubicBezTo>
                  <a:pt x="3825413" y="3001122"/>
                  <a:pt x="3820606" y="3005929"/>
                  <a:pt x="3814675" y="3005929"/>
                </a:cubicBezTo>
                <a:cubicBezTo>
                  <a:pt x="3808746" y="3005929"/>
                  <a:pt x="3803938" y="3001122"/>
                  <a:pt x="3803938" y="2995193"/>
                </a:cubicBezTo>
                <a:cubicBezTo>
                  <a:pt x="3803938" y="2989263"/>
                  <a:pt x="3808746" y="2984456"/>
                  <a:pt x="3814675" y="2984456"/>
                </a:cubicBezTo>
                <a:close/>
                <a:moveTo>
                  <a:pt x="4344908" y="2983960"/>
                </a:moveTo>
                <a:cubicBezTo>
                  <a:pt x="4350854" y="2983960"/>
                  <a:pt x="4355644" y="2988750"/>
                  <a:pt x="4355644" y="2994697"/>
                </a:cubicBezTo>
                <a:cubicBezTo>
                  <a:pt x="4355644" y="3000643"/>
                  <a:pt x="4350854" y="3005435"/>
                  <a:pt x="4344908" y="3005435"/>
                </a:cubicBezTo>
                <a:cubicBezTo>
                  <a:pt x="4338961" y="3005435"/>
                  <a:pt x="4334171" y="3000643"/>
                  <a:pt x="4334171" y="2994697"/>
                </a:cubicBezTo>
                <a:cubicBezTo>
                  <a:pt x="4334171" y="2988750"/>
                  <a:pt x="4338961" y="2983960"/>
                  <a:pt x="4344908" y="2983960"/>
                </a:cubicBezTo>
                <a:close/>
                <a:moveTo>
                  <a:pt x="4273385" y="2983629"/>
                </a:moveTo>
                <a:cubicBezTo>
                  <a:pt x="4279331" y="2983629"/>
                  <a:pt x="4284121" y="2988419"/>
                  <a:pt x="4284121" y="2994365"/>
                </a:cubicBezTo>
                <a:cubicBezTo>
                  <a:pt x="4284121" y="3000312"/>
                  <a:pt x="4279331" y="3005104"/>
                  <a:pt x="4273385" y="3005104"/>
                </a:cubicBezTo>
                <a:cubicBezTo>
                  <a:pt x="4267438" y="3005104"/>
                  <a:pt x="4262648" y="3000312"/>
                  <a:pt x="4262648" y="2994365"/>
                </a:cubicBezTo>
                <a:cubicBezTo>
                  <a:pt x="4262648" y="2988419"/>
                  <a:pt x="4267438" y="2983629"/>
                  <a:pt x="4273385" y="2983629"/>
                </a:cubicBezTo>
                <a:close/>
                <a:moveTo>
                  <a:pt x="636586" y="2981153"/>
                </a:moveTo>
                <a:cubicBezTo>
                  <a:pt x="642533" y="2981153"/>
                  <a:pt x="647325" y="2985942"/>
                  <a:pt x="647325" y="2991889"/>
                </a:cubicBezTo>
                <a:cubicBezTo>
                  <a:pt x="647325" y="2997836"/>
                  <a:pt x="642533" y="3002627"/>
                  <a:pt x="636586" y="3002627"/>
                </a:cubicBezTo>
                <a:cubicBezTo>
                  <a:pt x="630640" y="3002627"/>
                  <a:pt x="625850" y="2997836"/>
                  <a:pt x="625850" y="2991889"/>
                </a:cubicBezTo>
                <a:cubicBezTo>
                  <a:pt x="625850" y="2985942"/>
                  <a:pt x="630640" y="2981153"/>
                  <a:pt x="636586" y="2981153"/>
                </a:cubicBezTo>
                <a:close/>
                <a:moveTo>
                  <a:pt x="4373484" y="2979831"/>
                </a:moveTo>
                <a:cubicBezTo>
                  <a:pt x="4379430" y="2979831"/>
                  <a:pt x="4384220" y="2984621"/>
                  <a:pt x="4384220" y="2990568"/>
                </a:cubicBezTo>
                <a:cubicBezTo>
                  <a:pt x="4384220" y="2996514"/>
                  <a:pt x="4379430" y="3001306"/>
                  <a:pt x="4373484" y="3001306"/>
                </a:cubicBezTo>
                <a:cubicBezTo>
                  <a:pt x="4367537" y="3001306"/>
                  <a:pt x="4362747" y="2996514"/>
                  <a:pt x="4362747" y="2990568"/>
                </a:cubicBezTo>
                <a:cubicBezTo>
                  <a:pt x="4362747" y="2984621"/>
                  <a:pt x="4367537" y="2979831"/>
                  <a:pt x="4373484" y="2979831"/>
                </a:cubicBezTo>
                <a:close/>
                <a:moveTo>
                  <a:pt x="22773" y="2970581"/>
                </a:moveTo>
                <a:cubicBezTo>
                  <a:pt x="28704" y="2970581"/>
                  <a:pt x="33509" y="2975388"/>
                  <a:pt x="33509" y="2981317"/>
                </a:cubicBezTo>
                <a:cubicBezTo>
                  <a:pt x="33509" y="2987247"/>
                  <a:pt x="28704" y="2992054"/>
                  <a:pt x="22773" y="2992054"/>
                </a:cubicBezTo>
                <a:cubicBezTo>
                  <a:pt x="16843" y="2992054"/>
                  <a:pt x="12036" y="2987247"/>
                  <a:pt x="12036" y="2981317"/>
                </a:cubicBezTo>
                <a:cubicBezTo>
                  <a:pt x="12036" y="2975388"/>
                  <a:pt x="16843" y="2970581"/>
                  <a:pt x="22773" y="2970581"/>
                </a:cubicBezTo>
                <a:close/>
                <a:moveTo>
                  <a:pt x="4300804" y="2969918"/>
                </a:moveTo>
                <a:cubicBezTo>
                  <a:pt x="4306750" y="2969918"/>
                  <a:pt x="4311542" y="2974708"/>
                  <a:pt x="4311542" y="2980655"/>
                </a:cubicBezTo>
                <a:lnTo>
                  <a:pt x="4301877" y="2990320"/>
                </a:lnTo>
                <a:lnTo>
                  <a:pt x="4311375" y="2999816"/>
                </a:lnTo>
                <a:lnTo>
                  <a:pt x="4302703" y="3008490"/>
                </a:lnTo>
                <a:lnTo>
                  <a:pt x="4311211" y="3016997"/>
                </a:lnTo>
                <a:lnTo>
                  <a:pt x="4303447" y="3024761"/>
                </a:lnTo>
                <a:lnTo>
                  <a:pt x="4311707" y="3033019"/>
                </a:lnTo>
                <a:lnTo>
                  <a:pt x="4305016" y="3039709"/>
                </a:lnTo>
                <a:lnTo>
                  <a:pt x="4314018" y="3048711"/>
                </a:lnTo>
                <a:lnTo>
                  <a:pt x="4308568" y="3054162"/>
                </a:lnTo>
                <a:lnTo>
                  <a:pt x="4318973" y="3064567"/>
                </a:lnTo>
                <a:cubicBezTo>
                  <a:pt x="4318973" y="3070514"/>
                  <a:pt x="4314183" y="3075305"/>
                  <a:pt x="4308237" y="3075305"/>
                </a:cubicBezTo>
                <a:cubicBezTo>
                  <a:pt x="4302290" y="3075305"/>
                  <a:pt x="4297500" y="3070514"/>
                  <a:pt x="4297500" y="3064567"/>
                </a:cubicBezTo>
                <a:lnTo>
                  <a:pt x="4302951" y="3059116"/>
                </a:lnTo>
                <a:lnTo>
                  <a:pt x="4292546" y="3048711"/>
                </a:lnTo>
                <a:lnTo>
                  <a:pt x="4299234" y="3042023"/>
                </a:lnTo>
                <a:lnTo>
                  <a:pt x="4290232" y="3033019"/>
                </a:lnTo>
                <a:lnTo>
                  <a:pt x="4297994" y="3025256"/>
                </a:lnTo>
                <a:lnTo>
                  <a:pt x="4289736" y="3016997"/>
                </a:lnTo>
                <a:lnTo>
                  <a:pt x="4298409" y="3008324"/>
                </a:lnTo>
                <a:lnTo>
                  <a:pt x="4289903" y="2999816"/>
                </a:lnTo>
                <a:lnTo>
                  <a:pt x="4299566" y="2990155"/>
                </a:lnTo>
                <a:lnTo>
                  <a:pt x="4290067" y="2980655"/>
                </a:lnTo>
                <a:cubicBezTo>
                  <a:pt x="4290067" y="2974708"/>
                  <a:pt x="4294857" y="2969918"/>
                  <a:pt x="4300804" y="2969918"/>
                </a:cubicBezTo>
                <a:close/>
                <a:moveTo>
                  <a:pt x="4145698" y="2968268"/>
                </a:moveTo>
                <a:cubicBezTo>
                  <a:pt x="4151645" y="2968268"/>
                  <a:pt x="4156435" y="2973057"/>
                  <a:pt x="4156435" y="2979004"/>
                </a:cubicBezTo>
                <a:cubicBezTo>
                  <a:pt x="4156435" y="2984951"/>
                  <a:pt x="4151645" y="2989742"/>
                  <a:pt x="4145698" y="2989742"/>
                </a:cubicBezTo>
                <a:cubicBezTo>
                  <a:pt x="4139752" y="2989742"/>
                  <a:pt x="4134962" y="2984951"/>
                  <a:pt x="4134962" y="2979004"/>
                </a:cubicBezTo>
                <a:cubicBezTo>
                  <a:pt x="4134962" y="2973057"/>
                  <a:pt x="4139752" y="2968268"/>
                  <a:pt x="4145698" y="2968268"/>
                </a:cubicBezTo>
                <a:close/>
                <a:moveTo>
                  <a:pt x="4217388" y="2966121"/>
                </a:moveTo>
                <a:cubicBezTo>
                  <a:pt x="4223334" y="2966121"/>
                  <a:pt x="4228124" y="2970910"/>
                  <a:pt x="4228124" y="2976857"/>
                </a:cubicBezTo>
                <a:cubicBezTo>
                  <a:pt x="4228124" y="2982804"/>
                  <a:pt x="4223334" y="2987595"/>
                  <a:pt x="4217388" y="2987595"/>
                </a:cubicBezTo>
                <a:cubicBezTo>
                  <a:pt x="4211441" y="2987595"/>
                  <a:pt x="4206651" y="2982804"/>
                  <a:pt x="4206651" y="2976857"/>
                </a:cubicBezTo>
                <a:cubicBezTo>
                  <a:pt x="4206651" y="2970910"/>
                  <a:pt x="4211441" y="2966121"/>
                  <a:pt x="4217388" y="2966121"/>
                </a:cubicBezTo>
                <a:close/>
                <a:moveTo>
                  <a:pt x="3013876" y="2963478"/>
                </a:moveTo>
                <a:cubicBezTo>
                  <a:pt x="3019822" y="2963478"/>
                  <a:pt x="3024614" y="2968268"/>
                  <a:pt x="3024614" y="2974214"/>
                </a:cubicBezTo>
                <a:cubicBezTo>
                  <a:pt x="3024614" y="2980161"/>
                  <a:pt x="3019822" y="2984952"/>
                  <a:pt x="3013876" y="2984952"/>
                </a:cubicBezTo>
                <a:cubicBezTo>
                  <a:pt x="3007929" y="2984952"/>
                  <a:pt x="3003139" y="2980161"/>
                  <a:pt x="3003139" y="2974214"/>
                </a:cubicBezTo>
                <a:cubicBezTo>
                  <a:pt x="3003139" y="2968268"/>
                  <a:pt x="3007929" y="2963478"/>
                  <a:pt x="3013876" y="2963478"/>
                </a:cubicBezTo>
                <a:close/>
                <a:moveTo>
                  <a:pt x="4043121" y="2962156"/>
                </a:moveTo>
                <a:cubicBezTo>
                  <a:pt x="4049068" y="2962156"/>
                  <a:pt x="4053857" y="2966946"/>
                  <a:pt x="4053857" y="2972893"/>
                </a:cubicBezTo>
                <a:cubicBezTo>
                  <a:pt x="4053857" y="2978839"/>
                  <a:pt x="4049068" y="2983631"/>
                  <a:pt x="4043121" y="2983631"/>
                </a:cubicBezTo>
                <a:cubicBezTo>
                  <a:pt x="4037174" y="2983631"/>
                  <a:pt x="4032385" y="2978839"/>
                  <a:pt x="4032385" y="2972893"/>
                </a:cubicBezTo>
                <a:cubicBezTo>
                  <a:pt x="4032385" y="2966946"/>
                  <a:pt x="4037174" y="2962156"/>
                  <a:pt x="4043121" y="2962156"/>
                </a:cubicBezTo>
                <a:close/>
                <a:moveTo>
                  <a:pt x="4365390" y="2958853"/>
                </a:moveTo>
                <a:cubicBezTo>
                  <a:pt x="4371337" y="2958853"/>
                  <a:pt x="4376128" y="2963642"/>
                  <a:pt x="4376128" y="2969589"/>
                </a:cubicBezTo>
                <a:cubicBezTo>
                  <a:pt x="4376128" y="2975536"/>
                  <a:pt x="4371337" y="2980327"/>
                  <a:pt x="4365390" y="2980327"/>
                </a:cubicBezTo>
                <a:cubicBezTo>
                  <a:pt x="4359444" y="2980327"/>
                  <a:pt x="4354654" y="2975536"/>
                  <a:pt x="4354654" y="2969589"/>
                </a:cubicBezTo>
                <a:cubicBezTo>
                  <a:pt x="4354654" y="2963642"/>
                  <a:pt x="4359444" y="2958853"/>
                  <a:pt x="4365390" y="2958853"/>
                </a:cubicBezTo>
                <a:close/>
                <a:moveTo>
                  <a:pt x="4266446" y="2958357"/>
                </a:moveTo>
                <a:cubicBezTo>
                  <a:pt x="4272393" y="2958357"/>
                  <a:pt x="4277182" y="2963146"/>
                  <a:pt x="4277182" y="2969093"/>
                </a:cubicBezTo>
                <a:cubicBezTo>
                  <a:pt x="4277182" y="2975040"/>
                  <a:pt x="4272393" y="2979831"/>
                  <a:pt x="4266446" y="2979831"/>
                </a:cubicBezTo>
                <a:cubicBezTo>
                  <a:pt x="4260500" y="2979831"/>
                  <a:pt x="4255710" y="2975040"/>
                  <a:pt x="4255710" y="2969093"/>
                </a:cubicBezTo>
                <a:cubicBezTo>
                  <a:pt x="4255710" y="2963146"/>
                  <a:pt x="4260500" y="2958357"/>
                  <a:pt x="4266446" y="2958357"/>
                </a:cubicBezTo>
                <a:close/>
                <a:moveTo>
                  <a:pt x="4395619" y="2957696"/>
                </a:moveTo>
                <a:cubicBezTo>
                  <a:pt x="4401565" y="2957696"/>
                  <a:pt x="4406355" y="2962486"/>
                  <a:pt x="4406355" y="2968432"/>
                </a:cubicBezTo>
                <a:cubicBezTo>
                  <a:pt x="4406355" y="2974379"/>
                  <a:pt x="4401565" y="2979170"/>
                  <a:pt x="4395619" y="2979170"/>
                </a:cubicBezTo>
                <a:cubicBezTo>
                  <a:pt x="4389672" y="2979170"/>
                  <a:pt x="4384882" y="2974379"/>
                  <a:pt x="4384882" y="2968432"/>
                </a:cubicBezTo>
                <a:cubicBezTo>
                  <a:pt x="4384882" y="2962486"/>
                  <a:pt x="4389672" y="2957696"/>
                  <a:pt x="4395619" y="2957696"/>
                </a:cubicBezTo>
                <a:close/>
                <a:moveTo>
                  <a:pt x="4321616" y="2956870"/>
                </a:moveTo>
                <a:cubicBezTo>
                  <a:pt x="4327562" y="2956870"/>
                  <a:pt x="4332354" y="2961660"/>
                  <a:pt x="4332354" y="2967607"/>
                </a:cubicBezTo>
                <a:lnTo>
                  <a:pt x="4322773" y="2977188"/>
                </a:lnTo>
                <a:lnTo>
                  <a:pt x="4331693" y="2986107"/>
                </a:lnTo>
                <a:lnTo>
                  <a:pt x="4323104" y="2994698"/>
                </a:lnTo>
                <a:lnTo>
                  <a:pt x="4332189" y="3003782"/>
                </a:lnTo>
                <a:lnTo>
                  <a:pt x="4324919" y="3011050"/>
                </a:lnTo>
                <a:lnTo>
                  <a:pt x="4334995" y="3021126"/>
                </a:lnTo>
                <a:cubicBezTo>
                  <a:pt x="4334995" y="3027072"/>
                  <a:pt x="4330205" y="3031864"/>
                  <a:pt x="4324259" y="3031864"/>
                </a:cubicBezTo>
                <a:cubicBezTo>
                  <a:pt x="4318312" y="3031864"/>
                  <a:pt x="4313522" y="3027072"/>
                  <a:pt x="4313522" y="3021126"/>
                </a:cubicBezTo>
                <a:lnTo>
                  <a:pt x="4320790" y="3013858"/>
                </a:lnTo>
                <a:lnTo>
                  <a:pt x="4310715" y="3003782"/>
                </a:lnTo>
                <a:lnTo>
                  <a:pt x="4319304" y="2995194"/>
                </a:lnTo>
                <a:lnTo>
                  <a:pt x="4310219" y="2986107"/>
                </a:lnTo>
                <a:lnTo>
                  <a:pt x="4319798" y="2976528"/>
                </a:lnTo>
                <a:lnTo>
                  <a:pt x="4310879" y="2967607"/>
                </a:lnTo>
                <a:cubicBezTo>
                  <a:pt x="4310879" y="2961660"/>
                  <a:pt x="4315669" y="2956870"/>
                  <a:pt x="4321616" y="2956870"/>
                </a:cubicBezTo>
                <a:close/>
                <a:moveTo>
                  <a:pt x="3599939" y="2949767"/>
                </a:moveTo>
                <a:cubicBezTo>
                  <a:pt x="3605886" y="2949767"/>
                  <a:pt x="3610677" y="2954557"/>
                  <a:pt x="3610677" y="2960504"/>
                </a:cubicBezTo>
                <a:cubicBezTo>
                  <a:pt x="3610677" y="2966450"/>
                  <a:pt x="3605886" y="2971242"/>
                  <a:pt x="3599939" y="2971242"/>
                </a:cubicBezTo>
                <a:cubicBezTo>
                  <a:pt x="3593993" y="2971242"/>
                  <a:pt x="3589203" y="2966450"/>
                  <a:pt x="3589203" y="2960504"/>
                </a:cubicBezTo>
                <a:cubicBezTo>
                  <a:pt x="3589203" y="2954557"/>
                  <a:pt x="3593993" y="2949767"/>
                  <a:pt x="3599939" y="2949767"/>
                </a:cubicBezTo>
                <a:close/>
                <a:moveTo>
                  <a:pt x="4299482" y="2947785"/>
                </a:moveTo>
                <a:cubicBezTo>
                  <a:pt x="4305429" y="2947785"/>
                  <a:pt x="4310219" y="2952575"/>
                  <a:pt x="4310219" y="2958521"/>
                </a:cubicBezTo>
                <a:cubicBezTo>
                  <a:pt x="4310219" y="2964468"/>
                  <a:pt x="4305429" y="2969259"/>
                  <a:pt x="4299482" y="2969259"/>
                </a:cubicBezTo>
                <a:cubicBezTo>
                  <a:pt x="4293536" y="2969259"/>
                  <a:pt x="4288746" y="2964468"/>
                  <a:pt x="4288746" y="2958521"/>
                </a:cubicBezTo>
                <a:cubicBezTo>
                  <a:pt x="4288746" y="2952575"/>
                  <a:pt x="4293536" y="2947785"/>
                  <a:pt x="4299482" y="2947785"/>
                </a:cubicBezTo>
                <a:close/>
                <a:moveTo>
                  <a:pt x="471240" y="2947785"/>
                </a:moveTo>
                <a:cubicBezTo>
                  <a:pt x="477187" y="2947785"/>
                  <a:pt x="481979" y="2952575"/>
                  <a:pt x="481979" y="2958521"/>
                </a:cubicBezTo>
                <a:cubicBezTo>
                  <a:pt x="481979" y="2964468"/>
                  <a:pt x="477187" y="2969259"/>
                  <a:pt x="471240" y="2969259"/>
                </a:cubicBezTo>
                <a:cubicBezTo>
                  <a:pt x="465294" y="2969259"/>
                  <a:pt x="460504" y="2964468"/>
                  <a:pt x="460504" y="2958521"/>
                </a:cubicBezTo>
                <a:cubicBezTo>
                  <a:pt x="460504" y="2952575"/>
                  <a:pt x="465294" y="2947785"/>
                  <a:pt x="471240" y="2947785"/>
                </a:cubicBezTo>
                <a:close/>
                <a:moveTo>
                  <a:pt x="3900900" y="2944317"/>
                </a:moveTo>
                <a:cubicBezTo>
                  <a:pt x="3906847" y="2944317"/>
                  <a:pt x="3911638" y="2949106"/>
                  <a:pt x="3911638" y="2955053"/>
                </a:cubicBezTo>
                <a:cubicBezTo>
                  <a:pt x="3911638" y="2961000"/>
                  <a:pt x="3906847" y="2965789"/>
                  <a:pt x="3900900" y="2965789"/>
                </a:cubicBezTo>
                <a:cubicBezTo>
                  <a:pt x="3894954" y="2965789"/>
                  <a:pt x="3890164" y="2961000"/>
                  <a:pt x="3890164" y="2955053"/>
                </a:cubicBezTo>
                <a:cubicBezTo>
                  <a:pt x="3890164" y="2949106"/>
                  <a:pt x="3894954" y="2944317"/>
                  <a:pt x="3900900" y="2944317"/>
                </a:cubicBezTo>
                <a:close/>
                <a:moveTo>
                  <a:pt x="4360930" y="2938370"/>
                </a:moveTo>
                <a:cubicBezTo>
                  <a:pt x="4366876" y="2938370"/>
                  <a:pt x="4371666" y="2943160"/>
                  <a:pt x="4371666" y="2949106"/>
                </a:cubicBezTo>
                <a:cubicBezTo>
                  <a:pt x="4371666" y="2955053"/>
                  <a:pt x="4366876" y="2959843"/>
                  <a:pt x="4360930" y="2959843"/>
                </a:cubicBezTo>
                <a:cubicBezTo>
                  <a:pt x="4354983" y="2959843"/>
                  <a:pt x="4350193" y="2955053"/>
                  <a:pt x="4350193" y="2949106"/>
                </a:cubicBezTo>
                <a:cubicBezTo>
                  <a:pt x="4350193" y="2943160"/>
                  <a:pt x="4354983" y="2938370"/>
                  <a:pt x="4360930" y="2938370"/>
                </a:cubicBezTo>
                <a:close/>
                <a:moveTo>
                  <a:pt x="4417919" y="2937545"/>
                </a:moveTo>
                <a:cubicBezTo>
                  <a:pt x="4423369" y="2937545"/>
                  <a:pt x="4427830" y="2942005"/>
                  <a:pt x="4427830" y="2947456"/>
                </a:cubicBezTo>
                <a:cubicBezTo>
                  <a:pt x="4427830" y="2952906"/>
                  <a:pt x="4423369" y="2957366"/>
                  <a:pt x="4417919" y="2957366"/>
                </a:cubicBezTo>
                <a:cubicBezTo>
                  <a:pt x="4412468" y="2957366"/>
                  <a:pt x="4408008" y="2952906"/>
                  <a:pt x="4408008" y="2947456"/>
                </a:cubicBezTo>
                <a:cubicBezTo>
                  <a:pt x="4408008" y="2942005"/>
                  <a:pt x="4412468" y="2937545"/>
                  <a:pt x="4417919" y="2937545"/>
                </a:cubicBezTo>
                <a:close/>
                <a:moveTo>
                  <a:pt x="4322773" y="2936388"/>
                </a:moveTo>
                <a:cubicBezTo>
                  <a:pt x="4328719" y="2936388"/>
                  <a:pt x="4333509" y="2941178"/>
                  <a:pt x="4333509" y="2947124"/>
                </a:cubicBezTo>
                <a:cubicBezTo>
                  <a:pt x="4333509" y="2953071"/>
                  <a:pt x="4328719" y="2957862"/>
                  <a:pt x="4322773" y="2957862"/>
                </a:cubicBezTo>
                <a:cubicBezTo>
                  <a:pt x="4316826" y="2957862"/>
                  <a:pt x="4312036" y="2953071"/>
                  <a:pt x="4312036" y="2947124"/>
                </a:cubicBezTo>
                <a:cubicBezTo>
                  <a:pt x="4312036" y="2941178"/>
                  <a:pt x="4316826" y="2936388"/>
                  <a:pt x="4322773" y="2936388"/>
                </a:cubicBezTo>
                <a:close/>
                <a:moveTo>
                  <a:pt x="4385873" y="2935231"/>
                </a:moveTo>
                <a:cubicBezTo>
                  <a:pt x="4391819" y="2935231"/>
                  <a:pt x="4396609" y="2940021"/>
                  <a:pt x="4396609" y="2945968"/>
                </a:cubicBezTo>
                <a:cubicBezTo>
                  <a:pt x="4396609" y="2951914"/>
                  <a:pt x="4391819" y="2956706"/>
                  <a:pt x="4385873" y="2956706"/>
                </a:cubicBezTo>
                <a:cubicBezTo>
                  <a:pt x="4379926" y="2956706"/>
                  <a:pt x="4375136" y="2951914"/>
                  <a:pt x="4375136" y="2945968"/>
                </a:cubicBezTo>
                <a:cubicBezTo>
                  <a:pt x="4375136" y="2940021"/>
                  <a:pt x="4379926" y="2935231"/>
                  <a:pt x="4385873" y="2935231"/>
                </a:cubicBezTo>
                <a:close/>
                <a:moveTo>
                  <a:pt x="3172781" y="2929285"/>
                </a:moveTo>
                <a:cubicBezTo>
                  <a:pt x="3178728" y="2929285"/>
                  <a:pt x="3183517" y="2934075"/>
                  <a:pt x="3183517" y="2940021"/>
                </a:cubicBezTo>
                <a:cubicBezTo>
                  <a:pt x="3183517" y="2945968"/>
                  <a:pt x="3178728" y="2950759"/>
                  <a:pt x="3172781" y="2950759"/>
                </a:cubicBezTo>
                <a:cubicBezTo>
                  <a:pt x="3166835" y="2950759"/>
                  <a:pt x="3162045" y="2945968"/>
                  <a:pt x="3162045" y="2940021"/>
                </a:cubicBezTo>
                <a:cubicBezTo>
                  <a:pt x="3162045" y="2934075"/>
                  <a:pt x="3166835" y="2929285"/>
                  <a:pt x="3172781" y="2929285"/>
                </a:cubicBezTo>
                <a:close/>
                <a:moveTo>
                  <a:pt x="4193270" y="2928953"/>
                </a:moveTo>
                <a:cubicBezTo>
                  <a:pt x="4199217" y="2928953"/>
                  <a:pt x="4204007" y="2933743"/>
                  <a:pt x="4204007" y="2939690"/>
                </a:cubicBezTo>
                <a:cubicBezTo>
                  <a:pt x="4204007" y="2945636"/>
                  <a:pt x="4199217" y="2950428"/>
                  <a:pt x="4193270" y="2950428"/>
                </a:cubicBezTo>
                <a:cubicBezTo>
                  <a:pt x="4187324" y="2950428"/>
                  <a:pt x="4182534" y="2945636"/>
                  <a:pt x="4182534" y="2939690"/>
                </a:cubicBezTo>
                <a:cubicBezTo>
                  <a:pt x="4182534" y="2933743"/>
                  <a:pt x="4187324" y="2928953"/>
                  <a:pt x="4193270" y="2928953"/>
                </a:cubicBezTo>
                <a:close/>
                <a:moveTo>
                  <a:pt x="4254388" y="2927963"/>
                </a:moveTo>
                <a:cubicBezTo>
                  <a:pt x="4260335" y="2927963"/>
                  <a:pt x="4265126" y="2932753"/>
                  <a:pt x="4265126" y="2938700"/>
                </a:cubicBezTo>
                <a:cubicBezTo>
                  <a:pt x="4265126" y="2944646"/>
                  <a:pt x="4260335" y="2949438"/>
                  <a:pt x="4254388" y="2949438"/>
                </a:cubicBezTo>
                <a:cubicBezTo>
                  <a:pt x="4248442" y="2949438"/>
                  <a:pt x="4243652" y="2944646"/>
                  <a:pt x="4243652" y="2938700"/>
                </a:cubicBezTo>
                <a:cubicBezTo>
                  <a:pt x="4243652" y="2932753"/>
                  <a:pt x="4248442" y="2927963"/>
                  <a:pt x="4254388" y="2927963"/>
                </a:cubicBezTo>
                <a:close/>
                <a:moveTo>
                  <a:pt x="4440548" y="2927467"/>
                </a:moveTo>
                <a:cubicBezTo>
                  <a:pt x="4440713" y="2927467"/>
                  <a:pt x="4441042" y="2927799"/>
                  <a:pt x="4441042" y="2927963"/>
                </a:cubicBezTo>
                <a:cubicBezTo>
                  <a:pt x="4441042" y="2928128"/>
                  <a:pt x="4440548" y="2928458"/>
                  <a:pt x="4440548" y="2928458"/>
                </a:cubicBezTo>
                <a:cubicBezTo>
                  <a:pt x="4440382" y="2928458"/>
                  <a:pt x="4440052" y="2928128"/>
                  <a:pt x="4440052" y="2927963"/>
                </a:cubicBezTo>
                <a:cubicBezTo>
                  <a:pt x="4440052" y="2927799"/>
                  <a:pt x="4440382" y="2927467"/>
                  <a:pt x="4440548" y="2927467"/>
                </a:cubicBezTo>
                <a:close/>
                <a:moveTo>
                  <a:pt x="4341273" y="2925981"/>
                </a:moveTo>
                <a:cubicBezTo>
                  <a:pt x="4347219" y="2925981"/>
                  <a:pt x="4352009" y="2930771"/>
                  <a:pt x="4352009" y="2936717"/>
                </a:cubicBezTo>
                <a:lnTo>
                  <a:pt x="4341604" y="2947124"/>
                </a:lnTo>
                <a:lnTo>
                  <a:pt x="4351184" y="2956704"/>
                </a:lnTo>
                <a:lnTo>
                  <a:pt x="4342182" y="2965708"/>
                </a:lnTo>
                <a:lnTo>
                  <a:pt x="4352176" y="2975700"/>
                </a:lnTo>
                <a:cubicBezTo>
                  <a:pt x="4352176" y="2981647"/>
                  <a:pt x="4347386" y="2986437"/>
                  <a:pt x="4341439" y="2986437"/>
                </a:cubicBezTo>
                <a:cubicBezTo>
                  <a:pt x="4335493" y="2986437"/>
                  <a:pt x="4330703" y="2981647"/>
                  <a:pt x="4330703" y="2975700"/>
                </a:cubicBezTo>
                <a:lnTo>
                  <a:pt x="4339705" y="2966700"/>
                </a:lnTo>
                <a:lnTo>
                  <a:pt x="4329711" y="2956704"/>
                </a:lnTo>
                <a:lnTo>
                  <a:pt x="4340116" y="2946299"/>
                </a:lnTo>
                <a:lnTo>
                  <a:pt x="4330536" y="2936717"/>
                </a:lnTo>
                <a:cubicBezTo>
                  <a:pt x="4330536" y="2930771"/>
                  <a:pt x="4335326" y="2925981"/>
                  <a:pt x="4341273" y="2925981"/>
                </a:cubicBezTo>
                <a:close/>
                <a:moveTo>
                  <a:pt x="4104237" y="2922348"/>
                </a:moveTo>
                <a:cubicBezTo>
                  <a:pt x="4110184" y="2922348"/>
                  <a:pt x="4114975" y="2927138"/>
                  <a:pt x="4114975" y="2933084"/>
                </a:cubicBezTo>
                <a:cubicBezTo>
                  <a:pt x="4114975" y="2939031"/>
                  <a:pt x="4110184" y="2943821"/>
                  <a:pt x="4104237" y="2943821"/>
                </a:cubicBezTo>
                <a:cubicBezTo>
                  <a:pt x="4098291" y="2943821"/>
                  <a:pt x="4093501" y="2939031"/>
                  <a:pt x="4093501" y="2933084"/>
                </a:cubicBezTo>
                <a:cubicBezTo>
                  <a:pt x="4093501" y="2927138"/>
                  <a:pt x="4098291" y="2922348"/>
                  <a:pt x="4104237" y="2922348"/>
                </a:cubicBezTo>
                <a:close/>
                <a:moveTo>
                  <a:pt x="4295683" y="2922017"/>
                </a:moveTo>
                <a:cubicBezTo>
                  <a:pt x="4301629" y="2922017"/>
                  <a:pt x="4306421" y="2926807"/>
                  <a:pt x="4306421" y="2932753"/>
                </a:cubicBezTo>
                <a:cubicBezTo>
                  <a:pt x="4306421" y="2938700"/>
                  <a:pt x="4301629" y="2943491"/>
                  <a:pt x="4295683" y="2943491"/>
                </a:cubicBezTo>
                <a:cubicBezTo>
                  <a:pt x="4289736" y="2943491"/>
                  <a:pt x="4284946" y="2938700"/>
                  <a:pt x="4284946" y="2932753"/>
                </a:cubicBezTo>
                <a:cubicBezTo>
                  <a:pt x="4284946" y="2926807"/>
                  <a:pt x="4289736" y="2922017"/>
                  <a:pt x="4295683" y="2922017"/>
                </a:cubicBezTo>
                <a:close/>
                <a:moveTo>
                  <a:pt x="1728104" y="2920695"/>
                </a:moveTo>
                <a:cubicBezTo>
                  <a:pt x="1734051" y="2920695"/>
                  <a:pt x="1738843" y="2925485"/>
                  <a:pt x="1738843" y="2931432"/>
                </a:cubicBezTo>
                <a:cubicBezTo>
                  <a:pt x="1738843" y="2937378"/>
                  <a:pt x="1734051" y="2942170"/>
                  <a:pt x="1728104" y="2942170"/>
                </a:cubicBezTo>
                <a:cubicBezTo>
                  <a:pt x="1722158" y="2942170"/>
                  <a:pt x="1717368" y="2937378"/>
                  <a:pt x="1717368" y="2931432"/>
                </a:cubicBezTo>
                <a:cubicBezTo>
                  <a:pt x="1717368" y="2925485"/>
                  <a:pt x="1722158" y="2920695"/>
                  <a:pt x="1728104" y="2920695"/>
                </a:cubicBezTo>
                <a:close/>
                <a:moveTo>
                  <a:pt x="1952255" y="2918382"/>
                </a:moveTo>
                <a:cubicBezTo>
                  <a:pt x="1958202" y="2918382"/>
                  <a:pt x="1962993" y="2923172"/>
                  <a:pt x="1962993" y="2929118"/>
                </a:cubicBezTo>
                <a:cubicBezTo>
                  <a:pt x="1962993" y="2935065"/>
                  <a:pt x="1958202" y="2939856"/>
                  <a:pt x="1952255" y="2939856"/>
                </a:cubicBezTo>
                <a:cubicBezTo>
                  <a:pt x="1946309" y="2939856"/>
                  <a:pt x="1941519" y="2935065"/>
                  <a:pt x="1941519" y="2929118"/>
                </a:cubicBezTo>
                <a:cubicBezTo>
                  <a:pt x="1941519" y="2923172"/>
                  <a:pt x="1946309" y="2918382"/>
                  <a:pt x="1952255" y="2918382"/>
                </a:cubicBezTo>
                <a:close/>
                <a:moveTo>
                  <a:pt x="4359277" y="2917888"/>
                </a:moveTo>
                <a:cubicBezTo>
                  <a:pt x="4365224" y="2917888"/>
                  <a:pt x="4370015" y="2922677"/>
                  <a:pt x="4370015" y="2928624"/>
                </a:cubicBezTo>
                <a:cubicBezTo>
                  <a:pt x="4370015" y="2934571"/>
                  <a:pt x="4365224" y="2939362"/>
                  <a:pt x="4359277" y="2939362"/>
                </a:cubicBezTo>
                <a:cubicBezTo>
                  <a:pt x="4353331" y="2939362"/>
                  <a:pt x="4348541" y="2934571"/>
                  <a:pt x="4348541" y="2928624"/>
                </a:cubicBezTo>
                <a:cubicBezTo>
                  <a:pt x="4348541" y="2922677"/>
                  <a:pt x="4353331" y="2917888"/>
                  <a:pt x="4359277" y="2917888"/>
                </a:cubicBezTo>
                <a:close/>
                <a:moveTo>
                  <a:pt x="1504946" y="2914419"/>
                </a:moveTo>
                <a:cubicBezTo>
                  <a:pt x="1510877" y="2914419"/>
                  <a:pt x="1515682" y="2919226"/>
                  <a:pt x="1515682" y="2925156"/>
                </a:cubicBezTo>
                <a:cubicBezTo>
                  <a:pt x="1515682" y="2931087"/>
                  <a:pt x="1510877" y="2935892"/>
                  <a:pt x="1504946" y="2935892"/>
                </a:cubicBezTo>
                <a:cubicBezTo>
                  <a:pt x="1499017" y="2935892"/>
                  <a:pt x="1494209" y="2931087"/>
                  <a:pt x="1494209" y="2925156"/>
                </a:cubicBezTo>
                <a:cubicBezTo>
                  <a:pt x="1494209" y="2919226"/>
                  <a:pt x="1499017" y="2914419"/>
                  <a:pt x="1504946" y="2914419"/>
                </a:cubicBezTo>
                <a:close/>
                <a:moveTo>
                  <a:pt x="4323268" y="2913427"/>
                </a:moveTo>
                <a:cubicBezTo>
                  <a:pt x="4329215" y="2913427"/>
                  <a:pt x="4334005" y="2918217"/>
                  <a:pt x="4334005" y="2924164"/>
                </a:cubicBezTo>
                <a:cubicBezTo>
                  <a:pt x="4334005" y="2930110"/>
                  <a:pt x="4329215" y="2934902"/>
                  <a:pt x="4323268" y="2934902"/>
                </a:cubicBezTo>
                <a:cubicBezTo>
                  <a:pt x="4317322" y="2934902"/>
                  <a:pt x="4312532" y="2930110"/>
                  <a:pt x="4312532" y="2924164"/>
                </a:cubicBezTo>
                <a:cubicBezTo>
                  <a:pt x="4312532" y="2918217"/>
                  <a:pt x="4317322" y="2913427"/>
                  <a:pt x="4323268" y="2913427"/>
                </a:cubicBezTo>
                <a:close/>
                <a:moveTo>
                  <a:pt x="4380091" y="2913098"/>
                </a:moveTo>
                <a:cubicBezTo>
                  <a:pt x="4386037" y="2913098"/>
                  <a:pt x="4390827" y="2917888"/>
                  <a:pt x="4390827" y="2923834"/>
                </a:cubicBezTo>
                <a:cubicBezTo>
                  <a:pt x="4390827" y="2929781"/>
                  <a:pt x="4386037" y="2934571"/>
                  <a:pt x="4380091" y="2934571"/>
                </a:cubicBezTo>
                <a:cubicBezTo>
                  <a:pt x="4374144" y="2934571"/>
                  <a:pt x="4369355" y="2929781"/>
                  <a:pt x="4369355" y="2923834"/>
                </a:cubicBezTo>
                <a:cubicBezTo>
                  <a:pt x="4369355" y="2917888"/>
                  <a:pt x="4374144" y="2913098"/>
                  <a:pt x="4380091" y="2913098"/>
                </a:cubicBezTo>
                <a:close/>
                <a:moveTo>
                  <a:pt x="317952" y="2912931"/>
                </a:moveTo>
                <a:cubicBezTo>
                  <a:pt x="323899" y="2912931"/>
                  <a:pt x="328690" y="2917721"/>
                  <a:pt x="328690" y="2923668"/>
                </a:cubicBezTo>
                <a:cubicBezTo>
                  <a:pt x="328690" y="2929614"/>
                  <a:pt x="323899" y="2934406"/>
                  <a:pt x="317952" y="2934406"/>
                </a:cubicBezTo>
                <a:cubicBezTo>
                  <a:pt x="312006" y="2934406"/>
                  <a:pt x="307216" y="2929614"/>
                  <a:pt x="307216" y="2923668"/>
                </a:cubicBezTo>
                <a:cubicBezTo>
                  <a:pt x="307216" y="2917721"/>
                  <a:pt x="312006" y="2912931"/>
                  <a:pt x="317952" y="2912931"/>
                </a:cubicBezTo>
                <a:close/>
                <a:moveTo>
                  <a:pt x="4406520" y="2912767"/>
                </a:moveTo>
                <a:cubicBezTo>
                  <a:pt x="4412466" y="2912767"/>
                  <a:pt x="4417256" y="2917556"/>
                  <a:pt x="4417256" y="2923503"/>
                </a:cubicBezTo>
                <a:cubicBezTo>
                  <a:pt x="4417256" y="2929449"/>
                  <a:pt x="4412466" y="2934241"/>
                  <a:pt x="4406520" y="2934241"/>
                </a:cubicBezTo>
                <a:cubicBezTo>
                  <a:pt x="4400573" y="2934241"/>
                  <a:pt x="4395784" y="2929449"/>
                  <a:pt x="4395784" y="2923503"/>
                </a:cubicBezTo>
                <a:cubicBezTo>
                  <a:pt x="4395784" y="2917556"/>
                  <a:pt x="4400573" y="2912767"/>
                  <a:pt x="4406520" y="2912767"/>
                </a:cubicBezTo>
                <a:close/>
                <a:moveTo>
                  <a:pt x="3708629" y="2910949"/>
                </a:moveTo>
                <a:cubicBezTo>
                  <a:pt x="3714576" y="2910949"/>
                  <a:pt x="3719366" y="2915739"/>
                  <a:pt x="3719366" y="2921686"/>
                </a:cubicBezTo>
                <a:cubicBezTo>
                  <a:pt x="3719366" y="2927632"/>
                  <a:pt x="3714576" y="2932424"/>
                  <a:pt x="3708629" y="2932424"/>
                </a:cubicBezTo>
                <a:cubicBezTo>
                  <a:pt x="3702683" y="2932424"/>
                  <a:pt x="3697893" y="2927632"/>
                  <a:pt x="3697893" y="2921686"/>
                </a:cubicBezTo>
                <a:cubicBezTo>
                  <a:pt x="3697893" y="2915739"/>
                  <a:pt x="3702683" y="2910949"/>
                  <a:pt x="3708629" y="2910949"/>
                </a:cubicBezTo>
                <a:close/>
                <a:moveTo>
                  <a:pt x="2173104" y="2908142"/>
                </a:moveTo>
                <a:cubicBezTo>
                  <a:pt x="2179051" y="2908142"/>
                  <a:pt x="2183842" y="2912931"/>
                  <a:pt x="2183842" y="2918878"/>
                </a:cubicBezTo>
                <a:cubicBezTo>
                  <a:pt x="2183842" y="2924824"/>
                  <a:pt x="2179051" y="2929616"/>
                  <a:pt x="2173104" y="2929616"/>
                </a:cubicBezTo>
                <a:cubicBezTo>
                  <a:pt x="2167157" y="2929616"/>
                  <a:pt x="2162368" y="2924824"/>
                  <a:pt x="2162368" y="2918878"/>
                </a:cubicBezTo>
                <a:cubicBezTo>
                  <a:pt x="2162368" y="2912931"/>
                  <a:pt x="2167157" y="2908142"/>
                  <a:pt x="2173104" y="2908142"/>
                </a:cubicBezTo>
                <a:close/>
                <a:moveTo>
                  <a:pt x="3979031" y="2904673"/>
                </a:moveTo>
                <a:cubicBezTo>
                  <a:pt x="3984977" y="2904673"/>
                  <a:pt x="3989767" y="2909463"/>
                  <a:pt x="3989767" y="2915410"/>
                </a:cubicBezTo>
                <a:cubicBezTo>
                  <a:pt x="3989767" y="2921356"/>
                  <a:pt x="3984977" y="2926148"/>
                  <a:pt x="3979031" y="2926148"/>
                </a:cubicBezTo>
                <a:cubicBezTo>
                  <a:pt x="3973084" y="2926148"/>
                  <a:pt x="3968294" y="2921356"/>
                  <a:pt x="3968294" y="2915410"/>
                </a:cubicBezTo>
                <a:cubicBezTo>
                  <a:pt x="3968294" y="2909463"/>
                  <a:pt x="3973084" y="2904673"/>
                  <a:pt x="3979031" y="2904673"/>
                </a:cubicBezTo>
                <a:close/>
                <a:moveTo>
                  <a:pt x="4343090" y="2904342"/>
                </a:moveTo>
                <a:cubicBezTo>
                  <a:pt x="4349037" y="2904342"/>
                  <a:pt x="4353827" y="2909132"/>
                  <a:pt x="4353827" y="2915078"/>
                </a:cubicBezTo>
                <a:cubicBezTo>
                  <a:pt x="4353827" y="2921025"/>
                  <a:pt x="4349037" y="2925816"/>
                  <a:pt x="4343090" y="2925816"/>
                </a:cubicBezTo>
                <a:cubicBezTo>
                  <a:pt x="4337144" y="2925816"/>
                  <a:pt x="4332354" y="2921025"/>
                  <a:pt x="4332354" y="2915078"/>
                </a:cubicBezTo>
                <a:cubicBezTo>
                  <a:pt x="4332354" y="2909132"/>
                  <a:pt x="4337144" y="2904342"/>
                  <a:pt x="4343090" y="2904342"/>
                </a:cubicBezTo>
                <a:close/>
                <a:moveTo>
                  <a:pt x="1287071" y="2900874"/>
                </a:moveTo>
                <a:cubicBezTo>
                  <a:pt x="1293018" y="2900874"/>
                  <a:pt x="1297809" y="2905663"/>
                  <a:pt x="1297809" y="2911610"/>
                </a:cubicBezTo>
                <a:cubicBezTo>
                  <a:pt x="1297809" y="2917556"/>
                  <a:pt x="1293018" y="2922348"/>
                  <a:pt x="1287071" y="2922348"/>
                </a:cubicBezTo>
                <a:cubicBezTo>
                  <a:pt x="1281125" y="2922348"/>
                  <a:pt x="1276335" y="2917556"/>
                  <a:pt x="1276335" y="2911610"/>
                </a:cubicBezTo>
                <a:cubicBezTo>
                  <a:pt x="1276335" y="2905663"/>
                  <a:pt x="1281125" y="2900874"/>
                  <a:pt x="1287071" y="2900874"/>
                </a:cubicBezTo>
                <a:close/>
                <a:moveTo>
                  <a:pt x="4359940" y="2896413"/>
                </a:moveTo>
                <a:cubicBezTo>
                  <a:pt x="4365886" y="2896413"/>
                  <a:pt x="4370676" y="2901203"/>
                  <a:pt x="4370676" y="2907150"/>
                </a:cubicBezTo>
                <a:cubicBezTo>
                  <a:pt x="4370676" y="2913096"/>
                  <a:pt x="4365886" y="2917888"/>
                  <a:pt x="4359940" y="2917888"/>
                </a:cubicBezTo>
                <a:cubicBezTo>
                  <a:pt x="4353993" y="2917888"/>
                  <a:pt x="4349203" y="2913096"/>
                  <a:pt x="4349203" y="2907150"/>
                </a:cubicBezTo>
                <a:cubicBezTo>
                  <a:pt x="4349203" y="2901203"/>
                  <a:pt x="4353993" y="2896413"/>
                  <a:pt x="4359940" y="2896413"/>
                </a:cubicBezTo>
                <a:close/>
                <a:moveTo>
                  <a:pt x="3319792" y="2893937"/>
                </a:moveTo>
                <a:cubicBezTo>
                  <a:pt x="3325738" y="2893937"/>
                  <a:pt x="3330528" y="2898727"/>
                  <a:pt x="3330528" y="2904673"/>
                </a:cubicBezTo>
                <a:cubicBezTo>
                  <a:pt x="3330528" y="2910620"/>
                  <a:pt x="3325738" y="2915411"/>
                  <a:pt x="3319792" y="2915411"/>
                </a:cubicBezTo>
                <a:cubicBezTo>
                  <a:pt x="3313845" y="2915411"/>
                  <a:pt x="3309055" y="2910620"/>
                  <a:pt x="3309055" y="2904673"/>
                </a:cubicBezTo>
                <a:cubicBezTo>
                  <a:pt x="3309055" y="2898727"/>
                  <a:pt x="3313845" y="2893937"/>
                  <a:pt x="3319792" y="2893937"/>
                </a:cubicBezTo>
                <a:close/>
                <a:moveTo>
                  <a:pt x="4427332" y="2891459"/>
                </a:moveTo>
                <a:cubicBezTo>
                  <a:pt x="4433278" y="2891459"/>
                  <a:pt x="4438070" y="2896248"/>
                  <a:pt x="4438070" y="2902195"/>
                </a:cubicBezTo>
                <a:cubicBezTo>
                  <a:pt x="4438070" y="2908142"/>
                  <a:pt x="4433278" y="2912933"/>
                  <a:pt x="4427332" y="2912933"/>
                </a:cubicBezTo>
                <a:cubicBezTo>
                  <a:pt x="4421385" y="2912933"/>
                  <a:pt x="4416595" y="2908142"/>
                  <a:pt x="4416595" y="2902195"/>
                </a:cubicBezTo>
                <a:cubicBezTo>
                  <a:pt x="4416595" y="2896248"/>
                  <a:pt x="4421385" y="2891459"/>
                  <a:pt x="4427332" y="2891459"/>
                </a:cubicBezTo>
                <a:close/>
                <a:moveTo>
                  <a:pt x="4287589" y="2891127"/>
                </a:moveTo>
                <a:cubicBezTo>
                  <a:pt x="4293536" y="2891127"/>
                  <a:pt x="4298326" y="2895917"/>
                  <a:pt x="4298326" y="2901864"/>
                </a:cubicBezTo>
                <a:cubicBezTo>
                  <a:pt x="4298326" y="2907810"/>
                  <a:pt x="4293536" y="2912600"/>
                  <a:pt x="4287589" y="2912600"/>
                </a:cubicBezTo>
                <a:cubicBezTo>
                  <a:pt x="4281643" y="2912600"/>
                  <a:pt x="4276853" y="2907810"/>
                  <a:pt x="4276853" y="2901864"/>
                </a:cubicBezTo>
                <a:cubicBezTo>
                  <a:pt x="4276853" y="2895917"/>
                  <a:pt x="4281643" y="2891127"/>
                  <a:pt x="4287589" y="2891127"/>
                </a:cubicBezTo>
                <a:close/>
                <a:moveTo>
                  <a:pt x="4377613" y="2890963"/>
                </a:moveTo>
                <a:cubicBezTo>
                  <a:pt x="4383559" y="2890963"/>
                  <a:pt x="4388349" y="2895752"/>
                  <a:pt x="4388349" y="2901699"/>
                </a:cubicBezTo>
                <a:cubicBezTo>
                  <a:pt x="4388349" y="2907646"/>
                  <a:pt x="4383559" y="2912437"/>
                  <a:pt x="4377613" y="2912437"/>
                </a:cubicBezTo>
                <a:cubicBezTo>
                  <a:pt x="4371666" y="2912437"/>
                  <a:pt x="4366876" y="2907646"/>
                  <a:pt x="4366876" y="2901699"/>
                </a:cubicBezTo>
                <a:cubicBezTo>
                  <a:pt x="4366876" y="2895752"/>
                  <a:pt x="4371666" y="2890963"/>
                  <a:pt x="4377613" y="2890963"/>
                </a:cubicBezTo>
                <a:close/>
                <a:moveTo>
                  <a:pt x="4235723" y="2890963"/>
                </a:moveTo>
                <a:cubicBezTo>
                  <a:pt x="4241670" y="2890963"/>
                  <a:pt x="4246460" y="2895752"/>
                  <a:pt x="4246460" y="2901699"/>
                </a:cubicBezTo>
                <a:cubicBezTo>
                  <a:pt x="4246460" y="2907646"/>
                  <a:pt x="4241670" y="2912437"/>
                  <a:pt x="4235723" y="2912437"/>
                </a:cubicBezTo>
                <a:cubicBezTo>
                  <a:pt x="4229777" y="2912437"/>
                  <a:pt x="4224987" y="2907646"/>
                  <a:pt x="4224987" y="2901699"/>
                </a:cubicBezTo>
                <a:cubicBezTo>
                  <a:pt x="4224987" y="2895752"/>
                  <a:pt x="4229777" y="2890963"/>
                  <a:pt x="4235723" y="2890963"/>
                </a:cubicBezTo>
                <a:close/>
                <a:moveTo>
                  <a:pt x="2386683" y="2890798"/>
                </a:moveTo>
                <a:cubicBezTo>
                  <a:pt x="2392630" y="2890798"/>
                  <a:pt x="2397421" y="2895588"/>
                  <a:pt x="2397421" y="2901534"/>
                </a:cubicBezTo>
                <a:cubicBezTo>
                  <a:pt x="2397421" y="2907481"/>
                  <a:pt x="2392630" y="2912272"/>
                  <a:pt x="2386683" y="2912272"/>
                </a:cubicBezTo>
                <a:cubicBezTo>
                  <a:pt x="2380736" y="2912272"/>
                  <a:pt x="2375946" y="2907481"/>
                  <a:pt x="2375946" y="2901534"/>
                </a:cubicBezTo>
                <a:cubicBezTo>
                  <a:pt x="2375946" y="2895588"/>
                  <a:pt x="2380736" y="2890798"/>
                  <a:pt x="2386683" y="2890798"/>
                </a:cubicBezTo>
                <a:close/>
                <a:moveTo>
                  <a:pt x="4399252" y="2889145"/>
                </a:moveTo>
                <a:cubicBezTo>
                  <a:pt x="4405198" y="2889145"/>
                  <a:pt x="4409988" y="2893935"/>
                  <a:pt x="4409988" y="2899882"/>
                </a:cubicBezTo>
                <a:cubicBezTo>
                  <a:pt x="4409988" y="2905828"/>
                  <a:pt x="4405198" y="2910620"/>
                  <a:pt x="4399252" y="2910620"/>
                </a:cubicBezTo>
                <a:cubicBezTo>
                  <a:pt x="4393305" y="2910620"/>
                  <a:pt x="4388516" y="2905828"/>
                  <a:pt x="4388516" y="2899882"/>
                </a:cubicBezTo>
                <a:cubicBezTo>
                  <a:pt x="4388516" y="2893935"/>
                  <a:pt x="4393305" y="2889145"/>
                  <a:pt x="4399252" y="2889145"/>
                </a:cubicBezTo>
                <a:close/>
                <a:moveTo>
                  <a:pt x="4321947" y="2886998"/>
                </a:moveTo>
                <a:cubicBezTo>
                  <a:pt x="4327894" y="2886998"/>
                  <a:pt x="4332683" y="2891788"/>
                  <a:pt x="4332683" y="2897735"/>
                </a:cubicBezTo>
                <a:cubicBezTo>
                  <a:pt x="4332683" y="2903681"/>
                  <a:pt x="4327894" y="2908471"/>
                  <a:pt x="4321947" y="2908471"/>
                </a:cubicBezTo>
                <a:cubicBezTo>
                  <a:pt x="4316001" y="2908471"/>
                  <a:pt x="4311211" y="2903681"/>
                  <a:pt x="4311211" y="2897735"/>
                </a:cubicBezTo>
                <a:cubicBezTo>
                  <a:pt x="4311211" y="2891788"/>
                  <a:pt x="4316001" y="2886998"/>
                  <a:pt x="4321947" y="2886998"/>
                </a:cubicBezTo>
                <a:close/>
                <a:moveTo>
                  <a:pt x="4159077" y="2883695"/>
                </a:moveTo>
                <a:cubicBezTo>
                  <a:pt x="4165024" y="2883695"/>
                  <a:pt x="4169814" y="2888485"/>
                  <a:pt x="4169814" y="2894431"/>
                </a:cubicBezTo>
                <a:cubicBezTo>
                  <a:pt x="4169814" y="2900378"/>
                  <a:pt x="4165024" y="2905169"/>
                  <a:pt x="4159077" y="2905169"/>
                </a:cubicBezTo>
                <a:cubicBezTo>
                  <a:pt x="4153131" y="2905169"/>
                  <a:pt x="4148341" y="2900378"/>
                  <a:pt x="4148341" y="2894431"/>
                </a:cubicBezTo>
                <a:cubicBezTo>
                  <a:pt x="4148341" y="2888485"/>
                  <a:pt x="4153131" y="2883695"/>
                  <a:pt x="4159077" y="2883695"/>
                </a:cubicBezTo>
                <a:close/>
                <a:moveTo>
                  <a:pt x="1077786" y="2880722"/>
                </a:moveTo>
                <a:cubicBezTo>
                  <a:pt x="1083733" y="2880722"/>
                  <a:pt x="1088522" y="2885512"/>
                  <a:pt x="1088522" y="2891459"/>
                </a:cubicBezTo>
                <a:cubicBezTo>
                  <a:pt x="1088522" y="2897405"/>
                  <a:pt x="1083733" y="2902197"/>
                  <a:pt x="1077786" y="2902197"/>
                </a:cubicBezTo>
                <a:cubicBezTo>
                  <a:pt x="1071840" y="2902197"/>
                  <a:pt x="1067050" y="2897405"/>
                  <a:pt x="1067050" y="2891459"/>
                </a:cubicBezTo>
                <a:cubicBezTo>
                  <a:pt x="1067050" y="2885512"/>
                  <a:pt x="1071840" y="2880722"/>
                  <a:pt x="1077786" y="2880722"/>
                </a:cubicBezTo>
                <a:close/>
                <a:moveTo>
                  <a:pt x="4344908" y="2880556"/>
                </a:moveTo>
                <a:cubicBezTo>
                  <a:pt x="4350854" y="2880556"/>
                  <a:pt x="4355644" y="2885346"/>
                  <a:pt x="4355644" y="2891292"/>
                </a:cubicBezTo>
                <a:cubicBezTo>
                  <a:pt x="4355644" y="2897239"/>
                  <a:pt x="4350854" y="2902029"/>
                  <a:pt x="4344908" y="2902029"/>
                </a:cubicBezTo>
                <a:cubicBezTo>
                  <a:pt x="4338961" y="2902029"/>
                  <a:pt x="4334171" y="2897239"/>
                  <a:pt x="4334171" y="2891292"/>
                </a:cubicBezTo>
                <a:cubicBezTo>
                  <a:pt x="4334171" y="2885346"/>
                  <a:pt x="4338961" y="2880556"/>
                  <a:pt x="4344908" y="2880556"/>
                </a:cubicBezTo>
                <a:close/>
                <a:moveTo>
                  <a:pt x="176392" y="2877252"/>
                </a:moveTo>
                <a:cubicBezTo>
                  <a:pt x="182339" y="2877252"/>
                  <a:pt x="187130" y="2882042"/>
                  <a:pt x="187130" y="2887989"/>
                </a:cubicBezTo>
                <a:cubicBezTo>
                  <a:pt x="187130" y="2893935"/>
                  <a:pt x="182339" y="2898727"/>
                  <a:pt x="176392" y="2898727"/>
                </a:cubicBezTo>
                <a:cubicBezTo>
                  <a:pt x="170446" y="2898727"/>
                  <a:pt x="165656" y="2893935"/>
                  <a:pt x="165656" y="2887989"/>
                </a:cubicBezTo>
                <a:cubicBezTo>
                  <a:pt x="165656" y="2882042"/>
                  <a:pt x="170446" y="2877252"/>
                  <a:pt x="176392" y="2877252"/>
                </a:cubicBezTo>
                <a:close/>
                <a:moveTo>
                  <a:pt x="4448642" y="2872627"/>
                </a:moveTo>
                <a:cubicBezTo>
                  <a:pt x="4453927" y="2872627"/>
                  <a:pt x="4458223" y="2876923"/>
                  <a:pt x="4458223" y="2882208"/>
                </a:cubicBezTo>
                <a:cubicBezTo>
                  <a:pt x="4458223" y="2887494"/>
                  <a:pt x="4453927" y="2891788"/>
                  <a:pt x="4448642" y="2891788"/>
                </a:cubicBezTo>
                <a:cubicBezTo>
                  <a:pt x="4443357" y="2891788"/>
                  <a:pt x="4439062" y="2887494"/>
                  <a:pt x="4439062" y="2882208"/>
                </a:cubicBezTo>
                <a:cubicBezTo>
                  <a:pt x="4439062" y="2876923"/>
                  <a:pt x="4443357" y="2872627"/>
                  <a:pt x="4448642" y="2872627"/>
                </a:cubicBezTo>
                <a:close/>
                <a:moveTo>
                  <a:pt x="3807738" y="2872627"/>
                </a:moveTo>
                <a:cubicBezTo>
                  <a:pt x="3813685" y="2872627"/>
                  <a:pt x="3818474" y="2877417"/>
                  <a:pt x="3818474" y="2883363"/>
                </a:cubicBezTo>
                <a:cubicBezTo>
                  <a:pt x="3818474" y="2889310"/>
                  <a:pt x="3813685" y="2894102"/>
                  <a:pt x="3807738" y="2894102"/>
                </a:cubicBezTo>
                <a:cubicBezTo>
                  <a:pt x="3801792" y="2894102"/>
                  <a:pt x="3797002" y="2889310"/>
                  <a:pt x="3797002" y="2883363"/>
                </a:cubicBezTo>
                <a:cubicBezTo>
                  <a:pt x="3797002" y="2877417"/>
                  <a:pt x="3801792" y="2872627"/>
                  <a:pt x="3807738" y="2872627"/>
                </a:cubicBezTo>
                <a:close/>
                <a:moveTo>
                  <a:pt x="2590351" y="2867837"/>
                </a:moveTo>
                <a:cubicBezTo>
                  <a:pt x="2596298" y="2867837"/>
                  <a:pt x="2601089" y="2872627"/>
                  <a:pt x="2601089" y="2878574"/>
                </a:cubicBezTo>
                <a:cubicBezTo>
                  <a:pt x="2601089" y="2884520"/>
                  <a:pt x="2596298" y="2889312"/>
                  <a:pt x="2590351" y="2889312"/>
                </a:cubicBezTo>
                <a:cubicBezTo>
                  <a:pt x="2584405" y="2889312"/>
                  <a:pt x="2579615" y="2884520"/>
                  <a:pt x="2579615" y="2878574"/>
                </a:cubicBezTo>
                <a:cubicBezTo>
                  <a:pt x="2579615" y="2872627"/>
                  <a:pt x="2584405" y="2867837"/>
                  <a:pt x="2590351" y="2867837"/>
                </a:cubicBezTo>
                <a:close/>
                <a:moveTo>
                  <a:pt x="4418413" y="2866351"/>
                </a:moveTo>
                <a:cubicBezTo>
                  <a:pt x="4424359" y="2866351"/>
                  <a:pt x="4429149" y="2871141"/>
                  <a:pt x="4429149" y="2877087"/>
                </a:cubicBezTo>
                <a:cubicBezTo>
                  <a:pt x="4429149" y="2883034"/>
                  <a:pt x="4424359" y="2887824"/>
                  <a:pt x="4418413" y="2887824"/>
                </a:cubicBezTo>
                <a:cubicBezTo>
                  <a:pt x="4412466" y="2887824"/>
                  <a:pt x="4407677" y="2883034"/>
                  <a:pt x="4407677" y="2877087"/>
                </a:cubicBezTo>
                <a:cubicBezTo>
                  <a:pt x="4407677" y="2871141"/>
                  <a:pt x="4412466" y="2866351"/>
                  <a:pt x="4418413" y="2866351"/>
                </a:cubicBezTo>
                <a:close/>
                <a:moveTo>
                  <a:pt x="4049564" y="2866020"/>
                </a:moveTo>
                <a:cubicBezTo>
                  <a:pt x="4055510" y="2866020"/>
                  <a:pt x="4060302" y="2870810"/>
                  <a:pt x="4060302" y="2876756"/>
                </a:cubicBezTo>
                <a:cubicBezTo>
                  <a:pt x="4060302" y="2882703"/>
                  <a:pt x="4055510" y="2887494"/>
                  <a:pt x="4049564" y="2887494"/>
                </a:cubicBezTo>
                <a:cubicBezTo>
                  <a:pt x="4043617" y="2887494"/>
                  <a:pt x="4038827" y="2882703"/>
                  <a:pt x="4038827" y="2876756"/>
                </a:cubicBezTo>
                <a:cubicBezTo>
                  <a:pt x="4038827" y="2870810"/>
                  <a:pt x="4043617" y="2866020"/>
                  <a:pt x="4049564" y="2866020"/>
                </a:cubicBezTo>
                <a:close/>
                <a:moveTo>
                  <a:pt x="4395452" y="2865690"/>
                </a:moveTo>
                <a:cubicBezTo>
                  <a:pt x="4401399" y="2865690"/>
                  <a:pt x="4406190" y="2870480"/>
                  <a:pt x="4406190" y="2876427"/>
                </a:cubicBezTo>
                <a:cubicBezTo>
                  <a:pt x="4406190" y="2882373"/>
                  <a:pt x="4401399" y="2887165"/>
                  <a:pt x="4395452" y="2887165"/>
                </a:cubicBezTo>
                <a:lnTo>
                  <a:pt x="4387936" y="2879649"/>
                </a:lnTo>
                <a:lnTo>
                  <a:pt x="4377777" y="2889808"/>
                </a:lnTo>
                <a:lnTo>
                  <a:pt x="4372656" y="2884687"/>
                </a:lnTo>
                <a:lnTo>
                  <a:pt x="4362087" y="2895258"/>
                </a:lnTo>
                <a:cubicBezTo>
                  <a:pt x="4356140" y="2895258"/>
                  <a:pt x="4351350" y="2890467"/>
                  <a:pt x="4351350" y="2884520"/>
                </a:cubicBezTo>
                <a:cubicBezTo>
                  <a:pt x="4351350" y="2878574"/>
                  <a:pt x="4356140" y="2873784"/>
                  <a:pt x="4362087" y="2873784"/>
                </a:cubicBezTo>
                <a:lnTo>
                  <a:pt x="4367208" y="2878905"/>
                </a:lnTo>
                <a:lnTo>
                  <a:pt x="4377777" y="2868333"/>
                </a:lnTo>
                <a:lnTo>
                  <a:pt x="4385293" y="2875849"/>
                </a:lnTo>
                <a:close/>
                <a:moveTo>
                  <a:pt x="4470445" y="2863047"/>
                </a:moveTo>
                <a:cubicBezTo>
                  <a:pt x="4470629" y="2863047"/>
                  <a:pt x="4470777" y="2863195"/>
                  <a:pt x="4470777" y="2863377"/>
                </a:cubicBezTo>
                <a:cubicBezTo>
                  <a:pt x="4470777" y="2863561"/>
                  <a:pt x="4470629" y="2863708"/>
                  <a:pt x="4470445" y="2863708"/>
                </a:cubicBezTo>
                <a:cubicBezTo>
                  <a:pt x="4470263" y="2863708"/>
                  <a:pt x="4470116" y="2863561"/>
                  <a:pt x="4470116" y="2863377"/>
                </a:cubicBezTo>
                <a:cubicBezTo>
                  <a:pt x="4470116" y="2863195"/>
                  <a:pt x="4470263" y="2863047"/>
                  <a:pt x="4470445" y="2863047"/>
                </a:cubicBezTo>
                <a:close/>
                <a:moveTo>
                  <a:pt x="3455240" y="2857762"/>
                </a:moveTo>
                <a:cubicBezTo>
                  <a:pt x="3461187" y="2857762"/>
                  <a:pt x="3465977" y="2862551"/>
                  <a:pt x="3465977" y="2868498"/>
                </a:cubicBezTo>
                <a:cubicBezTo>
                  <a:pt x="3465977" y="2874445"/>
                  <a:pt x="3461187" y="2879236"/>
                  <a:pt x="3455240" y="2879236"/>
                </a:cubicBezTo>
                <a:cubicBezTo>
                  <a:pt x="3449294" y="2879236"/>
                  <a:pt x="3444504" y="2874445"/>
                  <a:pt x="3444504" y="2868498"/>
                </a:cubicBezTo>
                <a:cubicBezTo>
                  <a:pt x="3444504" y="2862551"/>
                  <a:pt x="3449294" y="2857762"/>
                  <a:pt x="3455240" y="2857762"/>
                </a:cubicBezTo>
                <a:close/>
                <a:moveTo>
                  <a:pt x="4316991" y="2855779"/>
                </a:moveTo>
                <a:cubicBezTo>
                  <a:pt x="4322937" y="2855779"/>
                  <a:pt x="4327729" y="2860569"/>
                  <a:pt x="4327729" y="2866516"/>
                </a:cubicBezTo>
                <a:cubicBezTo>
                  <a:pt x="4327729" y="2872462"/>
                  <a:pt x="4322937" y="2877252"/>
                  <a:pt x="4316991" y="2877252"/>
                </a:cubicBezTo>
                <a:cubicBezTo>
                  <a:pt x="4311044" y="2877252"/>
                  <a:pt x="4306254" y="2872462"/>
                  <a:pt x="4306254" y="2866516"/>
                </a:cubicBezTo>
                <a:cubicBezTo>
                  <a:pt x="4306254" y="2860569"/>
                  <a:pt x="4311044" y="2855779"/>
                  <a:pt x="4316991" y="2855779"/>
                </a:cubicBezTo>
                <a:close/>
                <a:moveTo>
                  <a:pt x="879569" y="2855779"/>
                </a:moveTo>
                <a:cubicBezTo>
                  <a:pt x="885515" y="2855779"/>
                  <a:pt x="890307" y="2860569"/>
                  <a:pt x="890307" y="2866516"/>
                </a:cubicBezTo>
                <a:cubicBezTo>
                  <a:pt x="890307" y="2872462"/>
                  <a:pt x="885515" y="2877252"/>
                  <a:pt x="879569" y="2877252"/>
                </a:cubicBezTo>
                <a:cubicBezTo>
                  <a:pt x="873622" y="2877252"/>
                  <a:pt x="868832" y="2872462"/>
                  <a:pt x="868832" y="2866516"/>
                </a:cubicBezTo>
                <a:cubicBezTo>
                  <a:pt x="868832" y="2860569"/>
                  <a:pt x="873622" y="2855779"/>
                  <a:pt x="879569" y="2855779"/>
                </a:cubicBezTo>
                <a:close/>
                <a:moveTo>
                  <a:pt x="4273549" y="2854127"/>
                </a:moveTo>
                <a:cubicBezTo>
                  <a:pt x="4279496" y="2854127"/>
                  <a:pt x="4284287" y="2858917"/>
                  <a:pt x="4284287" y="2864863"/>
                </a:cubicBezTo>
                <a:cubicBezTo>
                  <a:pt x="4284287" y="2870810"/>
                  <a:pt x="4279496" y="2875601"/>
                  <a:pt x="4273549" y="2875601"/>
                </a:cubicBezTo>
                <a:cubicBezTo>
                  <a:pt x="4267603" y="2875601"/>
                  <a:pt x="4262813" y="2870810"/>
                  <a:pt x="4262813" y="2864863"/>
                </a:cubicBezTo>
                <a:cubicBezTo>
                  <a:pt x="4262813" y="2858917"/>
                  <a:pt x="4267603" y="2854127"/>
                  <a:pt x="4273549" y="2854127"/>
                </a:cubicBezTo>
                <a:close/>
                <a:moveTo>
                  <a:pt x="4345402" y="2853137"/>
                </a:moveTo>
                <a:cubicBezTo>
                  <a:pt x="4351348" y="2853137"/>
                  <a:pt x="4356138" y="2857926"/>
                  <a:pt x="4356138" y="2863873"/>
                </a:cubicBezTo>
                <a:cubicBezTo>
                  <a:pt x="4356138" y="2869819"/>
                  <a:pt x="4351348" y="2874611"/>
                  <a:pt x="4345402" y="2874611"/>
                </a:cubicBezTo>
                <a:cubicBezTo>
                  <a:pt x="4339455" y="2874611"/>
                  <a:pt x="4334666" y="2869819"/>
                  <a:pt x="4334666" y="2863873"/>
                </a:cubicBezTo>
                <a:cubicBezTo>
                  <a:pt x="4334666" y="2857926"/>
                  <a:pt x="4339455" y="2853137"/>
                  <a:pt x="4345402" y="2853137"/>
                </a:cubicBezTo>
                <a:close/>
                <a:moveTo>
                  <a:pt x="4208302" y="2846033"/>
                </a:moveTo>
                <a:cubicBezTo>
                  <a:pt x="4214249" y="2846033"/>
                  <a:pt x="4219039" y="2850823"/>
                  <a:pt x="4219039" y="2856770"/>
                </a:cubicBezTo>
                <a:cubicBezTo>
                  <a:pt x="4219039" y="2862716"/>
                  <a:pt x="4214249" y="2867508"/>
                  <a:pt x="4208302" y="2867508"/>
                </a:cubicBezTo>
                <a:cubicBezTo>
                  <a:pt x="4202356" y="2867508"/>
                  <a:pt x="4197566" y="2862716"/>
                  <a:pt x="4197566" y="2856770"/>
                </a:cubicBezTo>
                <a:cubicBezTo>
                  <a:pt x="4197566" y="2850823"/>
                  <a:pt x="4202356" y="2846033"/>
                  <a:pt x="4208302" y="2846033"/>
                </a:cubicBezTo>
                <a:close/>
                <a:moveTo>
                  <a:pt x="4437905" y="2845041"/>
                </a:moveTo>
                <a:cubicBezTo>
                  <a:pt x="4443852" y="2845041"/>
                  <a:pt x="4448642" y="2849831"/>
                  <a:pt x="4448642" y="2855778"/>
                </a:cubicBezTo>
                <a:cubicBezTo>
                  <a:pt x="4448642" y="2861724"/>
                  <a:pt x="4443852" y="2866516"/>
                  <a:pt x="4437905" y="2866516"/>
                </a:cubicBezTo>
                <a:cubicBezTo>
                  <a:pt x="4431959" y="2866516"/>
                  <a:pt x="4427169" y="2861724"/>
                  <a:pt x="4427169" y="2855778"/>
                </a:cubicBezTo>
                <a:cubicBezTo>
                  <a:pt x="4427169" y="2849831"/>
                  <a:pt x="4431959" y="2845041"/>
                  <a:pt x="4437905" y="2845041"/>
                </a:cubicBezTo>
                <a:close/>
                <a:moveTo>
                  <a:pt x="4394956" y="2841573"/>
                </a:moveTo>
                <a:lnTo>
                  <a:pt x="4404206" y="2850823"/>
                </a:lnTo>
                <a:lnTo>
                  <a:pt x="4413457" y="2841573"/>
                </a:lnTo>
                <a:cubicBezTo>
                  <a:pt x="4419403" y="2841573"/>
                  <a:pt x="4424195" y="2846363"/>
                  <a:pt x="4424195" y="2852309"/>
                </a:cubicBezTo>
                <a:cubicBezTo>
                  <a:pt x="4424195" y="2858256"/>
                  <a:pt x="4419403" y="2863046"/>
                  <a:pt x="4413457" y="2863046"/>
                </a:cubicBezTo>
                <a:lnTo>
                  <a:pt x="4404206" y="2853796"/>
                </a:lnTo>
                <a:lnTo>
                  <a:pt x="4394956" y="2863046"/>
                </a:lnTo>
                <a:lnTo>
                  <a:pt x="4388847" y="2856936"/>
                </a:lnTo>
                <a:lnTo>
                  <a:pt x="4379761" y="2866022"/>
                </a:lnTo>
                <a:lnTo>
                  <a:pt x="4374392" y="2860653"/>
                </a:lnTo>
                <a:lnTo>
                  <a:pt x="4364729" y="2870315"/>
                </a:lnTo>
                <a:cubicBezTo>
                  <a:pt x="4358783" y="2870315"/>
                  <a:pt x="4353993" y="2865524"/>
                  <a:pt x="4353993" y="2859577"/>
                </a:cubicBezTo>
                <a:cubicBezTo>
                  <a:pt x="4353993" y="2853631"/>
                  <a:pt x="4358783" y="2848841"/>
                  <a:pt x="4364729" y="2848841"/>
                </a:cubicBezTo>
                <a:lnTo>
                  <a:pt x="4370098" y="2854210"/>
                </a:lnTo>
                <a:lnTo>
                  <a:pt x="4379761" y="2844547"/>
                </a:lnTo>
                <a:lnTo>
                  <a:pt x="4385873" y="2850658"/>
                </a:lnTo>
                <a:close/>
                <a:moveTo>
                  <a:pt x="46229" y="2841079"/>
                </a:moveTo>
                <a:cubicBezTo>
                  <a:pt x="52176" y="2841079"/>
                  <a:pt x="56966" y="2845869"/>
                  <a:pt x="56966" y="2851815"/>
                </a:cubicBezTo>
                <a:cubicBezTo>
                  <a:pt x="56966" y="2857762"/>
                  <a:pt x="52176" y="2862551"/>
                  <a:pt x="46229" y="2862551"/>
                </a:cubicBezTo>
                <a:cubicBezTo>
                  <a:pt x="40283" y="2862551"/>
                  <a:pt x="35493" y="2857762"/>
                  <a:pt x="35493" y="2851815"/>
                </a:cubicBezTo>
                <a:cubicBezTo>
                  <a:pt x="35493" y="2845869"/>
                  <a:pt x="40283" y="2841079"/>
                  <a:pt x="46229" y="2841079"/>
                </a:cubicBezTo>
                <a:close/>
                <a:moveTo>
                  <a:pt x="2782292" y="2840912"/>
                </a:moveTo>
                <a:cubicBezTo>
                  <a:pt x="2788223" y="2840912"/>
                  <a:pt x="2793029" y="2845719"/>
                  <a:pt x="2793029" y="2851649"/>
                </a:cubicBezTo>
                <a:cubicBezTo>
                  <a:pt x="2793029" y="2857580"/>
                  <a:pt x="2788223" y="2862387"/>
                  <a:pt x="2782292" y="2862387"/>
                </a:cubicBezTo>
                <a:cubicBezTo>
                  <a:pt x="2776363" y="2862387"/>
                  <a:pt x="2771556" y="2857580"/>
                  <a:pt x="2771556" y="2851649"/>
                </a:cubicBezTo>
                <a:cubicBezTo>
                  <a:pt x="2771556" y="2845719"/>
                  <a:pt x="2776363" y="2840912"/>
                  <a:pt x="2782292" y="2840912"/>
                </a:cubicBezTo>
                <a:close/>
                <a:moveTo>
                  <a:pt x="3897761" y="2834801"/>
                </a:moveTo>
                <a:cubicBezTo>
                  <a:pt x="3903708" y="2834801"/>
                  <a:pt x="3908500" y="2839591"/>
                  <a:pt x="3908500" y="2845537"/>
                </a:cubicBezTo>
                <a:cubicBezTo>
                  <a:pt x="3908500" y="2851484"/>
                  <a:pt x="3903708" y="2856275"/>
                  <a:pt x="3897761" y="2856275"/>
                </a:cubicBezTo>
                <a:cubicBezTo>
                  <a:pt x="3891815" y="2856275"/>
                  <a:pt x="3887025" y="2851484"/>
                  <a:pt x="3887025" y="2845537"/>
                </a:cubicBezTo>
                <a:cubicBezTo>
                  <a:pt x="3887025" y="2839591"/>
                  <a:pt x="3891815" y="2834801"/>
                  <a:pt x="3897761" y="2834801"/>
                </a:cubicBezTo>
                <a:close/>
                <a:moveTo>
                  <a:pt x="4112993" y="2828359"/>
                </a:moveTo>
                <a:cubicBezTo>
                  <a:pt x="4118940" y="2828359"/>
                  <a:pt x="4123731" y="2833148"/>
                  <a:pt x="4123731" y="2839095"/>
                </a:cubicBezTo>
                <a:cubicBezTo>
                  <a:pt x="4123731" y="2845041"/>
                  <a:pt x="4118940" y="2849833"/>
                  <a:pt x="4112993" y="2849833"/>
                </a:cubicBezTo>
                <a:cubicBezTo>
                  <a:pt x="4107047" y="2849833"/>
                  <a:pt x="4102257" y="2845041"/>
                  <a:pt x="4102257" y="2839095"/>
                </a:cubicBezTo>
                <a:cubicBezTo>
                  <a:pt x="4102257" y="2833148"/>
                  <a:pt x="4107047" y="2828359"/>
                  <a:pt x="4112993" y="2828359"/>
                </a:cubicBezTo>
                <a:close/>
                <a:moveTo>
                  <a:pt x="693409" y="2827368"/>
                </a:moveTo>
                <a:cubicBezTo>
                  <a:pt x="699355" y="2827368"/>
                  <a:pt x="704145" y="2832158"/>
                  <a:pt x="704145" y="2838105"/>
                </a:cubicBezTo>
                <a:cubicBezTo>
                  <a:pt x="704145" y="2844051"/>
                  <a:pt x="699355" y="2848841"/>
                  <a:pt x="693409" y="2848841"/>
                </a:cubicBezTo>
                <a:cubicBezTo>
                  <a:pt x="687462" y="2848841"/>
                  <a:pt x="682672" y="2844051"/>
                  <a:pt x="682672" y="2838105"/>
                </a:cubicBezTo>
                <a:cubicBezTo>
                  <a:pt x="682672" y="2832158"/>
                  <a:pt x="687462" y="2827368"/>
                  <a:pt x="693409" y="2827368"/>
                </a:cubicBezTo>
                <a:close/>
                <a:moveTo>
                  <a:pt x="4457725" y="2824725"/>
                </a:moveTo>
                <a:cubicBezTo>
                  <a:pt x="4463672" y="2824725"/>
                  <a:pt x="4468463" y="2829515"/>
                  <a:pt x="4468463" y="2835462"/>
                </a:cubicBezTo>
                <a:cubicBezTo>
                  <a:pt x="4468463" y="2841408"/>
                  <a:pt x="4463672" y="2846200"/>
                  <a:pt x="4457725" y="2846200"/>
                </a:cubicBezTo>
                <a:cubicBezTo>
                  <a:pt x="4451779" y="2846200"/>
                  <a:pt x="4446989" y="2841408"/>
                  <a:pt x="4446989" y="2835462"/>
                </a:cubicBezTo>
                <a:cubicBezTo>
                  <a:pt x="4446989" y="2829515"/>
                  <a:pt x="4451779" y="2824725"/>
                  <a:pt x="4457725" y="2824725"/>
                </a:cubicBezTo>
                <a:close/>
                <a:moveTo>
                  <a:pt x="3579457" y="2821751"/>
                </a:moveTo>
                <a:cubicBezTo>
                  <a:pt x="3585403" y="2821751"/>
                  <a:pt x="3590193" y="2826541"/>
                  <a:pt x="3590193" y="2832488"/>
                </a:cubicBezTo>
                <a:cubicBezTo>
                  <a:pt x="3590193" y="2838434"/>
                  <a:pt x="3585403" y="2843226"/>
                  <a:pt x="3579457" y="2843226"/>
                </a:cubicBezTo>
                <a:cubicBezTo>
                  <a:pt x="3573510" y="2843226"/>
                  <a:pt x="3568720" y="2838434"/>
                  <a:pt x="3568720" y="2832488"/>
                </a:cubicBezTo>
                <a:cubicBezTo>
                  <a:pt x="3568720" y="2826541"/>
                  <a:pt x="3573510" y="2821751"/>
                  <a:pt x="3579457" y="2821751"/>
                </a:cubicBezTo>
                <a:close/>
                <a:moveTo>
                  <a:pt x="4343421" y="2821587"/>
                </a:moveTo>
                <a:cubicBezTo>
                  <a:pt x="4349368" y="2821587"/>
                  <a:pt x="4354158" y="2826376"/>
                  <a:pt x="4354158" y="2832323"/>
                </a:cubicBezTo>
                <a:cubicBezTo>
                  <a:pt x="4354158" y="2838269"/>
                  <a:pt x="4349368" y="2843061"/>
                  <a:pt x="4343421" y="2843061"/>
                </a:cubicBezTo>
                <a:cubicBezTo>
                  <a:pt x="4337475" y="2843061"/>
                  <a:pt x="4332685" y="2838269"/>
                  <a:pt x="4332685" y="2832323"/>
                </a:cubicBezTo>
                <a:cubicBezTo>
                  <a:pt x="4332685" y="2826376"/>
                  <a:pt x="4337475" y="2821587"/>
                  <a:pt x="4343421" y="2821587"/>
                </a:cubicBezTo>
                <a:close/>
                <a:moveTo>
                  <a:pt x="4431298" y="2818614"/>
                </a:moveTo>
                <a:cubicBezTo>
                  <a:pt x="4437244" y="2818614"/>
                  <a:pt x="4442034" y="2823404"/>
                  <a:pt x="4442034" y="2829350"/>
                </a:cubicBezTo>
                <a:cubicBezTo>
                  <a:pt x="4442034" y="2835297"/>
                  <a:pt x="4437244" y="2840087"/>
                  <a:pt x="4431298" y="2840087"/>
                </a:cubicBezTo>
                <a:cubicBezTo>
                  <a:pt x="4425351" y="2840087"/>
                  <a:pt x="4420562" y="2835297"/>
                  <a:pt x="4420562" y="2829350"/>
                </a:cubicBezTo>
                <a:cubicBezTo>
                  <a:pt x="4420562" y="2823404"/>
                  <a:pt x="4425351" y="2818614"/>
                  <a:pt x="4431298" y="2818614"/>
                </a:cubicBezTo>
                <a:close/>
                <a:moveTo>
                  <a:pt x="4307411" y="2818614"/>
                </a:moveTo>
                <a:cubicBezTo>
                  <a:pt x="4313358" y="2818614"/>
                  <a:pt x="4318147" y="2823404"/>
                  <a:pt x="4318147" y="2829350"/>
                </a:cubicBezTo>
                <a:cubicBezTo>
                  <a:pt x="4318147" y="2835297"/>
                  <a:pt x="4313358" y="2840087"/>
                  <a:pt x="4307411" y="2840087"/>
                </a:cubicBezTo>
                <a:cubicBezTo>
                  <a:pt x="4301465" y="2840087"/>
                  <a:pt x="4296675" y="2835297"/>
                  <a:pt x="4296675" y="2829350"/>
                </a:cubicBezTo>
                <a:cubicBezTo>
                  <a:pt x="4296675" y="2823404"/>
                  <a:pt x="4301465" y="2818614"/>
                  <a:pt x="4307411" y="2818614"/>
                </a:cubicBezTo>
                <a:close/>
                <a:moveTo>
                  <a:pt x="4411641" y="2816301"/>
                </a:moveTo>
                <a:cubicBezTo>
                  <a:pt x="4417587" y="2816301"/>
                  <a:pt x="4422377" y="2821091"/>
                  <a:pt x="4422377" y="2827037"/>
                </a:cubicBezTo>
                <a:cubicBezTo>
                  <a:pt x="4422377" y="2832984"/>
                  <a:pt x="4417587" y="2837773"/>
                  <a:pt x="4411641" y="2837773"/>
                </a:cubicBezTo>
                <a:lnTo>
                  <a:pt x="4404290" y="2830422"/>
                </a:lnTo>
                <a:lnTo>
                  <a:pt x="4396609" y="2838105"/>
                </a:lnTo>
                <a:lnTo>
                  <a:pt x="4390746" y="2832241"/>
                </a:lnTo>
                <a:lnTo>
                  <a:pt x="4382899" y="2840087"/>
                </a:lnTo>
                <a:lnTo>
                  <a:pt x="4375879" y="2833067"/>
                </a:lnTo>
                <a:lnTo>
                  <a:pt x="4366712" y="2842235"/>
                </a:lnTo>
                <a:cubicBezTo>
                  <a:pt x="4360765" y="2842235"/>
                  <a:pt x="4355975" y="2837444"/>
                  <a:pt x="4355975" y="2831497"/>
                </a:cubicBezTo>
                <a:cubicBezTo>
                  <a:pt x="4355975" y="2825551"/>
                  <a:pt x="4360765" y="2820761"/>
                  <a:pt x="4366712" y="2820761"/>
                </a:cubicBezTo>
                <a:lnTo>
                  <a:pt x="4373732" y="2827781"/>
                </a:lnTo>
                <a:lnTo>
                  <a:pt x="4382899" y="2818614"/>
                </a:lnTo>
                <a:lnTo>
                  <a:pt x="4388762" y="2824477"/>
                </a:lnTo>
                <a:lnTo>
                  <a:pt x="4396609" y="2816630"/>
                </a:lnTo>
                <a:lnTo>
                  <a:pt x="4403960" y="2823981"/>
                </a:lnTo>
                <a:close/>
                <a:moveTo>
                  <a:pt x="2961678" y="2811180"/>
                </a:moveTo>
                <a:cubicBezTo>
                  <a:pt x="2967625" y="2811180"/>
                  <a:pt x="2972417" y="2815969"/>
                  <a:pt x="2972417" y="2821916"/>
                </a:cubicBezTo>
                <a:cubicBezTo>
                  <a:pt x="2972417" y="2827863"/>
                  <a:pt x="2967625" y="2832654"/>
                  <a:pt x="2961678" y="2832654"/>
                </a:cubicBezTo>
                <a:cubicBezTo>
                  <a:pt x="2955732" y="2832654"/>
                  <a:pt x="2950942" y="2827863"/>
                  <a:pt x="2950942" y="2821916"/>
                </a:cubicBezTo>
                <a:cubicBezTo>
                  <a:pt x="2950942" y="2815969"/>
                  <a:pt x="2955732" y="2811180"/>
                  <a:pt x="2961678" y="2811180"/>
                </a:cubicBezTo>
                <a:close/>
                <a:moveTo>
                  <a:pt x="4252075" y="2809693"/>
                </a:moveTo>
                <a:cubicBezTo>
                  <a:pt x="4258021" y="2809693"/>
                  <a:pt x="4262811" y="2814483"/>
                  <a:pt x="4262811" y="2820430"/>
                </a:cubicBezTo>
                <a:cubicBezTo>
                  <a:pt x="4262811" y="2826376"/>
                  <a:pt x="4258021" y="2831168"/>
                  <a:pt x="4252075" y="2831168"/>
                </a:cubicBezTo>
                <a:cubicBezTo>
                  <a:pt x="4246128" y="2831168"/>
                  <a:pt x="4241339" y="2826376"/>
                  <a:pt x="4241339" y="2820430"/>
                </a:cubicBezTo>
                <a:cubicBezTo>
                  <a:pt x="4241339" y="2814483"/>
                  <a:pt x="4246128" y="2809693"/>
                  <a:pt x="4252075" y="2809693"/>
                </a:cubicBezTo>
                <a:close/>
                <a:moveTo>
                  <a:pt x="4478209" y="2807051"/>
                </a:moveTo>
                <a:cubicBezTo>
                  <a:pt x="4483318" y="2807051"/>
                  <a:pt x="4487460" y="2811192"/>
                  <a:pt x="4487460" y="2816301"/>
                </a:cubicBezTo>
                <a:cubicBezTo>
                  <a:pt x="4487460" y="2821410"/>
                  <a:pt x="4483318" y="2825551"/>
                  <a:pt x="4478209" y="2825551"/>
                </a:cubicBezTo>
                <a:cubicBezTo>
                  <a:pt x="4473101" y="2825551"/>
                  <a:pt x="4468959" y="2821410"/>
                  <a:pt x="4468959" y="2816301"/>
                </a:cubicBezTo>
                <a:cubicBezTo>
                  <a:pt x="4468959" y="2811192"/>
                  <a:pt x="4473101" y="2807051"/>
                  <a:pt x="4478209" y="2807051"/>
                </a:cubicBezTo>
                <a:close/>
                <a:moveTo>
                  <a:pt x="3979195" y="2797636"/>
                </a:moveTo>
                <a:cubicBezTo>
                  <a:pt x="3985142" y="2797636"/>
                  <a:pt x="3989932" y="2802425"/>
                  <a:pt x="3989932" y="2808372"/>
                </a:cubicBezTo>
                <a:cubicBezTo>
                  <a:pt x="3989932" y="2814319"/>
                  <a:pt x="3985142" y="2819110"/>
                  <a:pt x="3979195" y="2819110"/>
                </a:cubicBezTo>
                <a:cubicBezTo>
                  <a:pt x="3973249" y="2819110"/>
                  <a:pt x="3968459" y="2814319"/>
                  <a:pt x="3968459" y="2808372"/>
                </a:cubicBezTo>
                <a:cubicBezTo>
                  <a:pt x="3968459" y="2802425"/>
                  <a:pt x="3973249" y="2797636"/>
                  <a:pt x="3979195" y="2797636"/>
                </a:cubicBezTo>
                <a:close/>
                <a:moveTo>
                  <a:pt x="4449302" y="2797140"/>
                </a:moveTo>
                <a:cubicBezTo>
                  <a:pt x="4455249" y="2797140"/>
                  <a:pt x="4460039" y="2801930"/>
                  <a:pt x="4460039" y="2807876"/>
                </a:cubicBezTo>
                <a:cubicBezTo>
                  <a:pt x="4460039" y="2813823"/>
                  <a:pt x="4455249" y="2818614"/>
                  <a:pt x="4449302" y="2818614"/>
                </a:cubicBezTo>
                <a:cubicBezTo>
                  <a:pt x="4443356" y="2818614"/>
                  <a:pt x="4438566" y="2813823"/>
                  <a:pt x="4438566" y="2807876"/>
                </a:cubicBezTo>
                <a:cubicBezTo>
                  <a:pt x="4438566" y="2801930"/>
                  <a:pt x="4443356" y="2797140"/>
                  <a:pt x="4449302" y="2797140"/>
                </a:cubicBezTo>
                <a:close/>
                <a:moveTo>
                  <a:pt x="519969" y="2796808"/>
                </a:moveTo>
                <a:cubicBezTo>
                  <a:pt x="525916" y="2796808"/>
                  <a:pt x="530706" y="2801598"/>
                  <a:pt x="530706" y="2807545"/>
                </a:cubicBezTo>
                <a:cubicBezTo>
                  <a:pt x="530706" y="2813491"/>
                  <a:pt x="525916" y="2818283"/>
                  <a:pt x="519969" y="2818283"/>
                </a:cubicBezTo>
                <a:cubicBezTo>
                  <a:pt x="514023" y="2818283"/>
                  <a:pt x="509233" y="2813491"/>
                  <a:pt x="509233" y="2807545"/>
                </a:cubicBezTo>
                <a:cubicBezTo>
                  <a:pt x="509233" y="2801598"/>
                  <a:pt x="514023" y="2796808"/>
                  <a:pt x="519969" y="2796808"/>
                </a:cubicBezTo>
                <a:close/>
                <a:moveTo>
                  <a:pt x="4169980" y="2791689"/>
                </a:moveTo>
                <a:cubicBezTo>
                  <a:pt x="4175927" y="2791689"/>
                  <a:pt x="4180717" y="2796479"/>
                  <a:pt x="4180717" y="2802425"/>
                </a:cubicBezTo>
                <a:cubicBezTo>
                  <a:pt x="4180717" y="2808372"/>
                  <a:pt x="4175927" y="2813164"/>
                  <a:pt x="4169980" y="2813164"/>
                </a:cubicBezTo>
                <a:cubicBezTo>
                  <a:pt x="4164034" y="2813164"/>
                  <a:pt x="4159244" y="2808372"/>
                  <a:pt x="4159244" y="2802425"/>
                </a:cubicBezTo>
                <a:cubicBezTo>
                  <a:pt x="4159244" y="2796479"/>
                  <a:pt x="4164034" y="2791689"/>
                  <a:pt x="4169980" y="2791689"/>
                </a:cubicBezTo>
                <a:close/>
                <a:moveTo>
                  <a:pt x="4366876" y="2788715"/>
                </a:moveTo>
                <a:lnTo>
                  <a:pt x="4377035" y="2798874"/>
                </a:lnTo>
                <a:lnTo>
                  <a:pt x="4386037" y="2789872"/>
                </a:lnTo>
                <a:lnTo>
                  <a:pt x="4392811" y="2796644"/>
                </a:lnTo>
                <a:lnTo>
                  <a:pt x="4399748" y="2789707"/>
                </a:lnTo>
                <a:lnTo>
                  <a:pt x="4406355" y="2796314"/>
                </a:lnTo>
                <a:lnTo>
                  <a:pt x="4412631" y="2790036"/>
                </a:lnTo>
                <a:lnTo>
                  <a:pt x="4421552" y="2798957"/>
                </a:lnTo>
                <a:lnTo>
                  <a:pt x="4428324" y="2792185"/>
                </a:lnTo>
                <a:cubicBezTo>
                  <a:pt x="4434270" y="2792185"/>
                  <a:pt x="4439062" y="2796975"/>
                  <a:pt x="4439062" y="2802921"/>
                </a:cubicBezTo>
                <a:cubicBezTo>
                  <a:pt x="4439062" y="2808868"/>
                  <a:pt x="4434270" y="2813660"/>
                  <a:pt x="4428324" y="2813660"/>
                </a:cubicBezTo>
                <a:lnTo>
                  <a:pt x="4419403" y="2804739"/>
                </a:lnTo>
                <a:lnTo>
                  <a:pt x="4412631" y="2811511"/>
                </a:lnTo>
                <a:lnTo>
                  <a:pt x="4406024" y="2804904"/>
                </a:lnTo>
                <a:lnTo>
                  <a:pt x="4399748" y="2811180"/>
                </a:lnTo>
                <a:lnTo>
                  <a:pt x="4392976" y="2804408"/>
                </a:lnTo>
                <a:lnTo>
                  <a:pt x="4386037" y="2811346"/>
                </a:lnTo>
                <a:lnTo>
                  <a:pt x="4375879" y="2801187"/>
                </a:lnTo>
                <a:lnTo>
                  <a:pt x="4366876" y="2810189"/>
                </a:lnTo>
                <a:cubicBezTo>
                  <a:pt x="4360930" y="2810189"/>
                  <a:pt x="4356140" y="2805398"/>
                  <a:pt x="4356140" y="2799451"/>
                </a:cubicBezTo>
                <a:cubicBezTo>
                  <a:pt x="4356140" y="2793505"/>
                  <a:pt x="4360930" y="2788715"/>
                  <a:pt x="4366876" y="2788715"/>
                </a:cubicBezTo>
                <a:close/>
                <a:moveTo>
                  <a:pt x="3692937" y="2785743"/>
                </a:moveTo>
                <a:cubicBezTo>
                  <a:pt x="3698883" y="2785743"/>
                  <a:pt x="3703673" y="2790532"/>
                  <a:pt x="3703673" y="2796479"/>
                </a:cubicBezTo>
                <a:cubicBezTo>
                  <a:pt x="3703673" y="2802425"/>
                  <a:pt x="3698883" y="2807217"/>
                  <a:pt x="3692937" y="2807217"/>
                </a:cubicBezTo>
                <a:cubicBezTo>
                  <a:pt x="3686990" y="2807217"/>
                  <a:pt x="3682200" y="2802425"/>
                  <a:pt x="3682200" y="2796479"/>
                </a:cubicBezTo>
                <a:cubicBezTo>
                  <a:pt x="3682200" y="2790532"/>
                  <a:pt x="3686990" y="2785743"/>
                  <a:pt x="3692937" y="2785743"/>
                </a:cubicBezTo>
                <a:close/>
                <a:moveTo>
                  <a:pt x="4337308" y="2784421"/>
                </a:moveTo>
                <a:cubicBezTo>
                  <a:pt x="4343255" y="2784421"/>
                  <a:pt x="4348045" y="2789211"/>
                  <a:pt x="4348045" y="2795158"/>
                </a:cubicBezTo>
                <a:cubicBezTo>
                  <a:pt x="4348045" y="2801104"/>
                  <a:pt x="4343255" y="2805896"/>
                  <a:pt x="4337308" y="2805896"/>
                </a:cubicBezTo>
                <a:cubicBezTo>
                  <a:pt x="4331362" y="2805896"/>
                  <a:pt x="4326572" y="2801104"/>
                  <a:pt x="4326572" y="2795158"/>
                </a:cubicBezTo>
                <a:cubicBezTo>
                  <a:pt x="4326572" y="2789211"/>
                  <a:pt x="4331362" y="2784421"/>
                  <a:pt x="4337308" y="2784421"/>
                </a:cubicBezTo>
                <a:close/>
                <a:moveTo>
                  <a:pt x="3128181" y="2779796"/>
                </a:moveTo>
                <a:cubicBezTo>
                  <a:pt x="3134128" y="2779796"/>
                  <a:pt x="3138919" y="2784586"/>
                  <a:pt x="3138919" y="2790532"/>
                </a:cubicBezTo>
                <a:cubicBezTo>
                  <a:pt x="3138919" y="2796479"/>
                  <a:pt x="3134128" y="2801271"/>
                  <a:pt x="3128181" y="2801271"/>
                </a:cubicBezTo>
                <a:cubicBezTo>
                  <a:pt x="3122235" y="2801271"/>
                  <a:pt x="3117445" y="2796479"/>
                  <a:pt x="3117445" y="2790532"/>
                </a:cubicBezTo>
                <a:cubicBezTo>
                  <a:pt x="3117445" y="2784586"/>
                  <a:pt x="3122235" y="2779796"/>
                  <a:pt x="3128181" y="2779796"/>
                </a:cubicBezTo>
                <a:close/>
                <a:moveTo>
                  <a:pt x="4467803" y="2776657"/>
                </a:moveTo>
                <a:cubicBezTo>
                  <a:pt x="4473749" y="2776657"/>
                  <a:pt x="4478539" y="2781447"/>
                  <a:pt x="4478539" y="2787394"/>
                </a:cubicBezTo>
                <a:cubicBezTo>
                  <a:pt x="4478539" y="2793340"/>
                  <a:pt x="4473749" y="2798132"/>
                  <a:pt x="4467803" y="2798132"/>
                </a:cubicBezTo>
                <a:cubicBezTo>
                  <a:pt x="4461856" y="2798132"/>
                  <a:pt x="4457066" y="2793340"/>
                  <a:pt x="4457066" y="2787394"/>
                </a:cubicBezTo>
                <a:cubicBezTo>
                  <a:pt x="4457066" y="2781447"/>
                  <a:pt x="4461856" y="2776657"/>
                  <a:pt x="4467803" y="2776657"/>
                </a:cubicBezTo>
                <a:close/>
                <a:moveTo>
                  <a:pt x="4290893" y="2774344"/>
                </a:moveTo>
                <a:cubicBezTo>
                  <a:pt x="4296839" y="2774344"/>
                  <a:pt x="4301629" y="2779134"/>
                  <a:pt x="4301629" y="2785080"/>
                </a:cubicBezTo>
                <a:cubicBezTo>
                  <a:pt x="4301629" y="2791027"/>
                  <a:pt x="4296839" y="2795818"/>
                  <a:pt x="4290893" y="2795818"/>
                </a:cubicBezTo>
                <a:cubicBezTo>
                  <a:pt x="4284946" y="2795818"/>
                  <a:pt x="4280157" y="2791027"/>
                  <a:pt x="4280157" y="2785080"/>
                </a:cubicBezTo>
                <a:cubicBezTo>
                  <a:pt x="4280157" y="2779134"/>
                  <a:pt x="4284946" y="2774344"/>
                  <a:pt x="4290893" y="2774344"/>
                </a:cubicBezTo>
                <a:close/>
                <a:moveTo>
                  <a:pt x="359247" y="2764764"/>
                </a:moveTo>
                <a:cubicBezTo>
                  <a:pt x="365193" y="2764764"/>
                  <a:pt x="369985" y="2769554"/>
                  <a:pt x="369985" y="2775501"/>
                </a:cubicBezTo>
                <a:cubicBezTo>
                  <a:pt x="369985" y="2781447"/>
                  <a:pt x="365193" y="2786239"/>
                  <a:pt x="359247" y="2786239"/>
                </a:cubicBezTo>
                <a:cubicBezTo>
                  <a:pt x="353300" y="2786239"/>
                  <a:pt x="348510" y="2781447"/>
                  <a:pt x="348510" y="2775501"/>
                </a:cubicBezTo>
                <a:cubicBezTo>
                  <a:pt x="348510" y="2769554"/>
                  <a:pt x="353300" y="2764764"/>
                  <a:pt x="359247" y="2764764"/>
                </a:cubicBezTo>
                <a:close/>
                <a:moveTo>
                  <a:pt x="4052536" y="2761461"/>
                </a:moveTo>
                <a:cubicBezTo>
                  <a:pt x="4058482" y="2761461"/>
                  <a:pt x="4063274" y="2766250"/>
                  <a:pt x="4063274" y="2772197"/>
                </a:cubicBezTo>
                <a:cubicBezTo>
                  <a:pt x="4063274" y="2778143"/>
                  <a:pt x="4058482" y="2782935"/>
                  <a:pt x="4052536" y="2782935"/>
                </a:cubicBezTo>
                <a:cubicBezTo>
                  <a:pt x="4046589" y="2782935"/>
                  <a:pt x="4041800" y="2778143"/>
                  <a:pt x="4041800" y="2772197"/>
                </a:cubicBezTo>
                <a:cubicBezTo>
                  <a:pt x="4041800" y="2766250"/>
                  <a:pt x="4046589" y="2761461"/>
                  <a:pt x="4052536" y="2761461"/>
                </a:cubicBezTo>
                <a:close/>
                <a:moveTo>
                  <a:pt x="4486797" y="2757496"/>
                </a:moveTo>
                <a:cubicBezTo>
                  <a:pt x="4492744" y="2757496"/>
                  <a:pt x="4497535" y="2762286"/>
                  <a:pt x="4497535" y="2768233"/>
                </a:cubicBezTo>
                <a:cubicBezTo>
                  <a:pt x="4497535" y="2774179"/>
                  <a:pt x="4492744" y="2778971"/>
                  <a:pt x="4486797" y="2778971"/>
                </a:cubicBezTo>
                <a:cubicBezTo>
                  <a:pt x="4480851" y="2778971"/>
                  <a:pt x="4476061" y="2774179"/>
                  <a:pt x="4476061" y="2768233"/>
                </a:cubicBezTo>
                <a:cubicBezTo>
                  <a:pt x="4476061" y="2762286"/>
                  <a:pt x="4480851" y="2757496"/>
                  <a:pt x="4486797" y="2757496"/>
                </a:cubicBezTo>
                <a:close/>
                <a:moveTo>
                  <a:pt x="4388020" y="2757167"/>
                </a:moveTo>
                <a:lnTo>
                  <a:pt x="4397268" y="2766417"/>
                </a:lnTo>
                <a:lnTo>
                  <a:pt x="4403546" y="2760139"/>
                </a:lnTo>
                <a:lnTo>
                  <a:pt x="4410649" y="2767242"/>
                </a:lnTo>
                <a:lnTo>
                  <a:pt x="4415770" y="2762121"/>
                </a:lnTo>
                <a:lnTo>
                  <a:pt x="4423286" y="2769637"/>
                </a:lnTo>
                <a:lnTo>
                  <a:pt x="4428324" y="2764599"/>
                </a:lnTo>
                <a:lnTo>
                  <a:pt x="4438895" y="2775171"/>
                </a:lnTo>
                <a:lnTo>
                  <a:pt x="4444842" y="2769224"/>
                </a:lnTo>
                <a:cubicBezTo>
                  <a:pt x="4450788" y="2769224"/>
                  <a:pt x="4455580" y="2774014"/>
                  <a:pt x="4455580" y="2779961"/>
                </a:cubicBezTo>
                <a:cubicBezTo>
                  <a:pt x="4455580" y="2785907"/>
                  <a:pt x="4450788" y="2790699"/>
                  <a:pt x="4444842" y="2790699"/>
                </a:cubicBezTo>
                <a:lnTo>
                  <a:pt x="4434270" y="2780127"/>
                </a:lnTo>
                <a:lnTo>
                  <a:pt x="4428324" y="2786072"/>
                </a:lnTo>
                <a:lnTo>
                  <a:pt x="4420808" y="2778558"/>
                </a:lnTo>
                <a:lnTo>
                  <a:pt x="4415770" y="2783596"/>
                </a:lnTo>
                <a:lnTo>
                  <a:pt x="4408667" y="2776492"/>
                </a:lnTo>
                <a:lnTo>
                  <a:pt x="4403546" y="2781614"/>
                </a:lnTo>
                <a:lnTo>
                  <a:pt x="4394296" y="2772363"/>
                </a:lnTo>
                <a:lnTo>
                  <a:pt x="4388020" y="2778639"/>
                </a:lnTo>
                <a:cubicBezTo>
                  <a:pt x="4382073" y="2778639"/>
                  <a:pt x="4377283" y="2773850"/>
                  <a:pt x="4377283" y="2767903"/>
                </a:cubicBezTo>
                <a:cubicBezTo>
                  <a:pt x="4377283" y="2761957"/>
                  <a:pt x="4382073" y="2757167"/>
                  <a:pt x="4388020" y="2757167"/>
                </a:cubicBezTo>
                <a:close/>
                <a:moveTo>
                  <a:pt x="4220691" y="2756010"/>
                </a:moveTo>
                <a:cubicBezTo>
                  <a:pt x="4226638" y="2756010"/>
                  <a:pt x="4231428" y="2760800"/>
                  <a:pt x="4231428" y="2766746"/>
                </a:cubicBezTo>
                <a:cubicBezTo>
                  <a:pt x="4231428" y="2772693"/>
                  <a:pt x="4226638" y="2777484"/>
                  <a:pt x="4220691" y="2777484"/>
                </a:cubicBezTo>
                <a:cubicBezTo>
                  <a:pt x="4214745" y="2777484"/>
                  <a:pt x="4209955" y="2772693"/>
                  <a:pt x="4209955" y="2766746"/>
                </a:cubicBezTo>
                <a:cubicBezTo>
                  <a:pt x="4209955" y="2760800"/>
                  <a:pt x="4214745" y="2756010"/>
                  <a:pt x="4220691" y="2756010"/>
                </a:cubicBezTo>
                <a:close/>
                <a:moveTo>
                  <a:pt x="4363902" y="2751385"/>
                </a:moveTo>
                <a:cubicBezTo>
                  <a:pt x="4369849" y="2751385"/>
                  <a:pt x="4374640" y="2756175"/>
                  <a:pt x="4374640" y="2762121"/>
                </a:cubicBezTo>
                <a:cubicBezTo>
                  <a:pt x="4374640" y="2768068"/>
                  <a:pt x="4369849" y="2772859"/>
                  <a:pt x="4363902" y="2772859"/>
                </a:cubicBezTo>
                <a:cubicBezTo>
                  <a:pt x="4357956" y="2772859"/>
                  <a:pt x="4353166" y="2768068"/>
                  <a:pt x="4353166" y="2762121"/>
                </a:cubicBezTo>
                <a:cubicBezTo>
                  <a:pt x="4353166" y="2756175"/>
                  <a:pt x="4357956" y="2751385"/>
                  <a:pt x="4363902" y="2751385"/>
                </a:cubicBezTo>
                <a:close/>
                <a:moveTo>
                  <a:pt x="3796341" y="2750228"/>
                </a:moveTo>
                <a:cubicBezTo>
                  <a:pt x="3802288" y="2750228"/>
                  <a:pt x="3807077" y="2755018"/>
                  <a:pt x="3807077" y="2760965"/>
                </a:cubicBezTo>
                <a:cubicBezTo>
                  <a:pt x="3807077" y="2766911"/>
                  <a:pt x="3802288" y="2771701"/>
                  <a:pt x="3796341" y="2771701"/>
                </a:cubicBezTo>
                <a:cubicBezTo>
                  <a:pt x="3790394" y="2771701"/>
                  <a:pt x="3785605" y="2766911"/>
                  <a:pt x="3785605" y="2760965"/>
                </a:cubicBezTo>
                <a:cubicBezTo>
                  <a:pt x="3785605" y="2755018"/>
                  <a:pt x="3790394" y="2750228"/>
                  <a:pt x="3796341" y="2750228"/>
                </a:cubicBezTo>
                <a:close/>
                <a:moveTo>
                  <a:pt x="4461525" y="2747585"/>
                </a:moveTo>
                <a:cubicBezTo>
                  <a:pt x="4467471" y="2747585"/>
                  <a:pt x="4472263" y="2752375"/>
                  <a:pt x="4472263" y="2758322"/>
                </a:cubicBezTo>
                <a:cubicBezTo>
                  <a:pt x="4472263" y="2764268"/>
                  <a:pt x="4467471" y="2769060"/>
                  <a:pt x="4461525" y="2769060"/>
                </a:cubicBezTo>
                <a:cubicBezTo>
                  <a:pt x="4455578" y="2769060"/>
                  <a:pt x="4450788" y="2764268"/>
                  <a:pt x="4450788" y="2758322"/>
                </a:cubicBezTo>
                <a:cubicBezTo>
                  <a:pt x="4450788" y="2752375"/>
                  <a:pt x="4455578" y="2747585"/>
                  <a:pt x="4461525" y="2747585"/>
                </a:cubicBezTo>
                <a:close/>
                <a:moveTo>
                  <a:pt x="3281966" y="2747254"/>
                </a:moveTo>
                <a:cubicBezTo>
                  <a:pt x="3287912" y="2747254"/>
                  <a:pt x="3292704" y="2752044"/>
                  <a:pt x="3292704" y="2757990"/>
                </a:cubicBezTo>
                <a:cubicBezTo>
                  <a:pt x="3292704" y="2763937"/>
                  <a:pt x="3287912" y="2768729"/>
                  <a:pt x="3281966" y="2768729"/>
                </a:cubicBezTo>
                <a:cubicBezTo>
                  <a:pt x="3276019" y="2768729"/>
                  <a:pt x="3271229" y="2763937"/>
                  <a:pt x="3271229" y="2757990"/>
                </a:cubicBezTo>
                <a:cubicBezTo>
                  <a:pt x="3271229" y="2752044"/>
                  <a:pt x="3276019" y="2747254"/>
                  <a:pt x="3281966" y="2747254"/>
                </a:cubicBezTo>
                <a:close/>
                <a:moveTo>
                  <a:pt x="4506291" y="2741639"/>
                </a:moveTo>
                <a:cubicBezTo>
                  <a:pt x="4510944" y="2741639"/>
                  <a:pt x="4514714" y="2745411"/>
                  <a:pt x="4514714" y="2750063"/>
                </a:cubicBezTo>
                <a:cubicBezTo>
                  <a:pt x="4514714" y="2754716"/>
                  <a:pt x="4510944" y="2758486"/>
                  <a:pt x="4506291" y="2758486"/>
                </a:cubicBezTo>
                <a:cubicBezTo>
                  <a:pt x="4501638" y="2758486"/>
                  <a:pt x="4497866" y="2754716"/>
                  <a:pt x="4497866" y="2750063"/>
                </a:cubicBezTo>
                <a:cubicBezTo>
                  <a:pt x="4497866" y="2745411"/>
                  <a:pt x="4501638" y="2741639"/>
                  <a:pt x="4506291" y="2741639"/>
                </a:cubicBezTo>
                <a:close/>
                <a:moveTo>
                  <a:pt x="4325415" y="2740482"/>
                </a:moveTo>
                <a:cubicBezTo>
                  <a:pt x="4331362" y="2740482"/>
                  <a:pt x="4336152" y="2745272"/>
                  <a:pt x="4336152" y="2751218"/>
                </a:cubicBezTo>
                <a:cubicBezTo>
                  <a:pt x="4336152" y="2757165"/>
                  <a:pt x="4331362" y="2761957"/>
                  <a:pt x="4325415" y="2761957"/>
                </a:cubicBezTo>
                <a:cubicBezTo>
                  <a:pt x="4319469" y="2761957"/>
                  <a:pt x="4314679" y="2757165"/>
                  <a:pt x="4314679" y="2751218"/>
                </a:cubicBezTo>
                <a:cubicBezTo>
                  <a:pt x="4314679" y="2745272"/>
                  <a:pt x="4319469" y="2740482"/>
                  <a:pt x="4325415" y="2740482"/>
                </a:cubicBezTo>
                <a:close/>
                <a:moveTo>
                  <a:pt x="1842575" y="2735196"/>
                </a:moveTo>
                <a:cubicBezTo>
                  <a:pt x="1848521" y="2735196"/>
                  <a:pt x="1853313" y="2739986"/>
                  <a:pt x="1853313" y="2745933"/>
                </a:cubicBezTo>
                <a:cubicBezTo>
                  <a:pt x="1853313" y="2751879"/>
                  <a:pt x="1848521" y="2756671"/>
                  <a:pt x="1842575" y="2756671"/>
                </a:cubicBezTo>
                <a:cubicBezTo>
                  <a:pt x="1836628" y="2756671"/>
                  <a:pt x="1831838" y="2751879"/>
                  <a:pt x="1831838" y="2745933"/>
                </a:cubicBezTo>
                <a:cubicBezTo>
                  <a:pt x="1831838" y="2739986"/>
                  <a:pt x="1836628" y="2735196"/>
                  <a:pt x="1842575" y="2735196"/>
                </a:cubicBezTo>
                <a:close/>
                <a:moveTo>
                  <a:pt x="1610001" y="2733214"/>
                </a:moveTo>
                <a:cubicBezTo>
                  <a:pt x="1615948" y="2733214"/>
                  <a:pt x="1620737" y="2738004"/>
                  <a:pt x="1620737" y="2743950"/>
                </a:cubicBezTo>
                <a:cubicBezTo>
                  <a:pt x="1620737" y="2749897"/>
                  <a:pt x="1615948" y="2754689"/>
                  <a:pt x="1610001" y="2754689"/>
                </a:cubicBezTo>
                <a:cubicBezTo>
                  <a:pt x="1604055" y="2754689"/>
                  <a:pt x="1599265" y="2749897"/>
                  <a:pt x="1599265" y="2743950"/>
                </a:cubicBezTo>
                <a:cubicBezTo>
                  <a:pt x="1599265" y="2738004"/>
                  <a:pt x="1604055" y="2733214"/>
                  <a:pt x="1610001" y="2733214"/>
                </a:cubicBezTo>
                <a:close/>
                <a:moveTo>
                  <a:pt x="211244" y="2732059"/>
                </a:moveTo>
                <a:cubicBezTo>
                  <a:pt x="217191" y="2732059"/>
                  <a:pt x="221982" y="2736849"/>
                  <a:pt x="221982" y="2742795"/>
                </a:cubicBezTo>
                <a:cubicBezTo>
                  <a:pt x="221982" y="2748742"/>
                  <a:pt x="217191" y="2753534"/>
                  <a:pt x="211244" y="2753534"/>
                </a:cubicBezTo>
                <a:cubicBezTo>
                  <a:pt x="205298" y="2753534"/>
                  <a:pt x="200508" y="2748742"/>
                  <a:pt x="200508" y="2742795"/>
                </a:cubicBezTo>
                <a:cubicBezTo>
                  <a:pt x="200508" y="2736849"/>
                  <a:pt x="205298" y="2732059"/>
                  <a:pt x="211244" y="2732059"/>
                </a:cubicBezTo>
                <a:close/>
                <a:moveTo>
                  <a:pt x="2073829" y="2728589"/>
                </a:moveTo>
                <a:cubicBezTo>
                  <a:pt x="2079775" y="2728589"/>
                  <a:pt x="2084567" y="2733379"/>
                  <a:pt x="2084567" y="2739325"/>
                </a:cubicBezTo>
                <a:cubicBezTo>
                  <a:pt x="2084567" y="2745272"/>
                  <a:pt x="2079775" y="2750063"/>
                  <a:pt x="2073829" y="2750063"/>
                </a:cubicBezTo>
                <a:cubicBezTo>
                  <a:pt x="2067882" y="2750063"/>
                  <a:pt x="2063092" y="2745272"/>
                  <a:pt x="2063092" y="2739325"/>
                </a:cubicBezTo>
                <a:cubicBezTo>
                  <a:pt x="2063092" y="2733379"/>
                  <a:pt x="2067882" y="2728589"/>
                  <a:pt x="2073829" y="2728589"/>
                </a:cubicBezTo>
                <a:close/>
                <a:moveTo>
                  <a:pt x="4478704" y="2727103"/>
                </a:moveTo>
                <a:cubicBezTo>
                  <a:pt x="4484635" y="2727103"/>
                  <a:pt x="4489440" y="2731910"/>
                  <a:pt x="4489440" y="2737839"/>
                </a:cubicBezTo>
                <a:cubicBezTo>
                  <a:pt x="4489440" y="2743770"/>
                  <a:pt x="4484635" y="2748577"/>
                  <a:pt x="4478704" y="2748577"/>
                </a:cubicBezTo>
                <a:cubicBezTo>
                  <a:pt x="4472774" y="2748577"/>
                  <a:pt x="4467967" y="2743770"/>
                  <a:pt x="4467967" y="2737839"/>
                </a:cubicBezTo>
                <a:cubicBezTo>
                  <a:pt x="4467967" y="2731910"/>
                  <a:pt x="4472774" y="2727103"/>
                  <a:pt x="4478704" y="2727103"/>
                </a:cubicBezTo>
                <a:close/>
                <a:moveTo>
                  <a:pt x="4406849" y="2727103"/>
                </a:moveTo>
                <a:lnTo>
                  <a:pt x="4415687" y="2735940"/>
                </a:lnTo>
                <a:lnTo>
                  <a:pt x="4419734" y="2731893"/>
                </a:lnTo>
                <a:lnTo>
                  <a:pt x="4427250" y="2739409"/>
                </a:lnTo>
                <a:lnTo>
                  <a:pt x="4430802" y="2735857"/>
                </a:lnTo>
                <a:lnTo>
                  <a:pt x="4439721" y="2744778"/>
                </a:lnTo>
                <a:lnTo>
                  <a:pt x="4443685" y="2740813"/>
                </a:lnTo>
                <a:cubicBezTo>
                  <a:pt x="4449632" y="2740813"/>
                  <a:pt x="4454422" y="2745603"/>
                  <a:pt x="4454422" y="2751550"/>
                </a:cubicBezTo>
                <a:cubicBezTo>
                  <a:pt x="4454422" y="2757496"/>
                  <a:pt x="4449632" y="2762288"/>
                  <a:pt x="4443685" y="2762288"/>
                </a:cubicBezTo>
                <a:lnTo>
                  <a:pt x="4434766" y="2753367"/>
                </a:lnTo>
                <a:lnTo>
                  <a:pt x="4430802" y="2757331"/>
                </a:lnTo>
                <a:lnTo>
                  <a:pt x="4423286" y="2749814"/>
                </a:lnTo>
                <a:lnTo>
                  <a:pt x="4419734" y="2753365"/>
                </a:lnTo>
                <a:lnTo>
                  <a:pt x="4410897" y="2744530"/>
                </a:lnTo>
                <a:lnTo>
                  <a:pt x="4406849" y="2748577"/>
                </a:lnTo>
                <a:cubicBezTo>
                  <a:pt x="4400903" y="2748577"/>
                  <a:pt x="4396113" y="2743786"/>
                  <a:pt x="4396113" y="2737839"/>
                </a:cubicBezTo>
                <a:cubicBezTo>
                  <a:pt x="4396113" y="2731893"/>
                  <a:pt x="4400903" y="2727103"/>
                  <a:pt x="4406849" y="2727103"/>
                </a:cubicBezTo>
                <a:close/>
                <a:moveTo>
                  <a:pt x="4118444" y="2726113"/>
                </a:moveTo>
                <a:cubicBezTo>
                  <a:pt x="4124390" y="2726113"/>
                  <a:pt x="4129180" y="2730902"/>
                  <a:pt x="4129180" y="2736849"/>
                </a:cubicBezTo>
                <a:cubicBezTo>
                  <a:pt x="4129180" y="2742795"/>
                  <a:pt x="4124390" y="2747587"/>
                  <a:pt x="4118444" y="2747587"/>
                </a:cubicBezTo>
                <a:cubicBezTo>
                  <a:pt x="4112497" y="2747587"/>
                  <a:pt x="4107707" y="2742795"/>
                  <a:pt x="4107707" y="2736849"/>
                </a:cubicBezTo>
                <a:cubicBezTo>
                  <a:pt x="4107707" y="2730902"/>
                  <a:pt x="4112497" y="2726113"/>
                  <a:pt x="4118444" y="2726113"/>
                </a:cubicBezTo>
                <a:close/>
                <a:moveTo>
                  <a:pt x="1381224" y="2722809"/>
                </a:moveTo>
                <a:cubicBezTo>
                  <a:pt x="1387170" y="2722809"/>
                  <a:pt x="1391962" y="2727599"/>
                  <a:pt x="1391962" y="2733545"/>
                </a:cubicBezTo>
                <a:cubicBezTo>
                  <a:pt x="1391962" y="2739492"/>
                  <a:pt x="1387170" y="2744283"/>
                  <a:pt x="1381224" y="2744283"/>
                </a:cubicBezTo>
                <a:cubicBezTo>
                  <a:pt x="1375277" y="2744283"/>
                  <a:pt x="1370487" y="2739492"/>
                  <a:pt x="1370487" y="2733545"/>
                </a:cubicBezTo>
                <a:cubicBezTo>
                  <a:pt x="1370487" y="2727599"/>
                  <a:pt x="1375277" y="2722809"/>
                  <a:pt x="1381224" y="2722809"/>
                </a:cubicBezTo>
                <a:close/>
                <a:moveTo>
                  <a:pt x="4265950" y="2721652"/>
                </a:moveTo>
                <a:cubicBezTo>
                  <a:pt x="4271897" y="2721652"/>
                  <a:pt x="4276686" y="2726442"/>
                  <a:pt x="4276686" y="2732389"/>
                </a:cubicBezTo>
                <a:cubicBezTo>
                  <a:pt x="4276686" y="2738335"/>
                  <a:pt x="4271897" y="2743127"/>
                  <a:pt x="4265950" y="2743127"/>
                </a:cubicBezTo>
                <a:cubicBezTo>
                  <a:pt x="4260004" y="2743127"/>
                  <a:pt x="4255214" y="2738335"/>
                  <a:pt x="4255214" y="2732389"/>
                </a:cubicBezTo>
                <a:cubicBezTo>
                  <a:pt x="4255214" y="2726442"/>
                  <a:pt x="4260004" y="2721652"/>
                  <a:pt x="4265950" y="2721652"/>
                </a:cubicBezTo>
                <a:close/>
                <a:moveTo>
                  <a:pt x="4387359" y="2719835"/>
                </a:moveTo>
                <a:cubicBezTo>
                  <a:pt x="4393305" y="2719835"/>
                  <a:pt x="4398095" y="2724625"/>
                  <a:pt x="4398095" y="2730571"/>
                </a:cubicBezTo>
                <a:cubicBezTo>
                  <a:pt x="4398095" y="2736518"/>
                  <a:pt x="4393305" y="2741309"/>
                  <a:pt x="4387359" y="2741309"/>
                </a:cubicBezTo>
                <a:cubicBezTo>
                  <a:pt x="4381412" y="2741309"/>
                  <a:pt x="4376622" y="2736518"/>
                  <a:pt x="4376622" y="2730571"/>
                </a:cubicBezTo>
                <a:cubicBezTo>
                  <a:pt x="4376622" y="2724625"/>
                  <a:pt x="4381412" y="2719835"/>
                  <a:pt x="4387359" y="2719835"/>
                </a:cubicBezTo>
                <a:close/>
                <a:moveTo>
                  <a:pt x="3890164" y="2715210"/>
                </a:moveTo>
                <a:cubicBezTo>
                  <a:pt x="3896111" y="2715210"/>
                  <a:pt x="3900900" y="2720000"/>
                  <a:pt x="3900900" y="2725946"/>
                </a:cubicBezTo>
                <a:cubicBezTo>
                  <a:pt x="3900900" y="2731893"/>
                  <a:pt x="3896111" y="2736684"/>
                  <a:pt x="3890164" y="2736684"/>
                </a:cubicBezTo>
                <a:cubicBezTo>
                  <a:pt x="3884217" y="2736684"/>
                  <a:pt x="3879428" y="2731893"/>
                  <a:pt x="3879428" y="2725946"/>
                </a:cubicBezTo>
                <a:cubicBezTo>
                  <a:pt x="3879428" y="2720000"/>
                  <a:pt x="3884217" y="2715210"/>
                  <a:pt x="3890164" y="2715210"/>
                </a:cubicBezTo>
                <a:close/>
                <a:moveTo>
                  <a:pt x="3423525" y="2714384"/>
                </a:moveTo>
                <a:cubicBezTo>
                  <a:pt x="3429472" y="2714384"/>
                  <a:pt x="3434262" y="2719174"/>
                  <a:pt x="3434262" y="2725121"/>
                </a:cubicBezTo>
                <a:cubicBezTo>
                  <a:pt x="3434262" y="2731067"/>
                  <a:pt x="3429472" y="2735859"/>
                  <a:pt x="3423525" y="2735859"/>
                </a:cubicBezTo>
                <a:cubicBezTo>
                  <a:pt x="3417579" y="2735859"/>
                  <a:pt x="3412789" y="2731067"/>
                  <a:pt x="3412789" y="2725121"/>
                </a:cubicBezTo>
                <a:cubicBezTo>
                  <a:pt x="3412789" y="2719174"/>
                  <a:pt x="3417579" y="2714384"/>
                  <a:pt x="3423525" y="2714384"/>
                </a:cubicBezTo>
                <a:close/>
                <a:moveTo>
                  <a:pt x="2298475" y="2714384"/>
                </a:moveTo>
                <a:cubicBezTo>
                  <a:pt x="2304422" y="2714384"/>
                  <a:pt x="2309213" y="2719174"/>
                  <a:pt x="2309213" y="2725121"/>
                </a:cubicBezTo>
                <a:cubicBezTo>
                  <a:pt x="2309213" y="2731067"/>
                  <a:pt x="2304422" y="2735859"/>
                  <a:pt x="2298475" y="2735859"/>
                </a:cubicBezTo>
                <a:cubicBezTo>
                  <a:pt x="2292529" y="2735859"/>
                  <a:pt x="2287739" y="2731067"/>
                  <a:pt x="2287739" y="2725121"/>
                </a:cubicBezTo>
                <a:cubicBezTo>
                  <a:pt x="2287739" y="2719174"/>
                  <a:pt x="2292529" y="2714384"/>
                  <a:pt x="2298475" y="2714384"/>
                </a:cubicBezTo>
                <a:close/>
                <a:moveTo>
                  <a:pt x="4496214" y="2707942"/>
                </a:moveTo>
                <a:cubicBezTo>
                  <a:pt x="4502160" y="2707942"/>
                  <a:pt x="4506950" y="2712732"/>
                  <a:pt x="4506950" y="2718678"/>
                </a:cubicBezTo>
                <a:cubicBezTo>
                  <a:pt x="4506950" y="2724625"/>
                  <a:pt x="4502160" y="2729416"/>
                  <a:pt x="4496214" y="2729416"/>
                </a:cubicBezTo>
                <a:cubicBezTo>
                  <a:pt x="4490267" y="2729416"/>
                  <a:pt x="4485477" y="2724625"/>
                  <a:pt x="4485477" y="2718678"/>
                </a:cubicBezTo>
                <a:cubicBezTo>
                  <a:pt x="4485477" y="2712732"/>
                  <a:pt x="4490267" y="2707942"/>
                  <a:pt x="4496214" y="2707942"/>
                </a:cubicBezTo>
                <a:close/>
                <a:moveTo>
                  <a:pt x="4355975" y="2707777"/>
                </a:moveTo>
                <a:cubicBezTo>
                  <a:pt x="4361922" y="2707777"/>
                  <a:pt x="4366712" y="2712567"/>
                  <a:pt x="4366712" y="2718513"/>
                </a:cubicBezTo>
                <a:cubicBezTo>
                  <a:pt x="4366712" y="2724460"/>
                  <a:pt x="4361922" y="2729251"/>
                  <a:pt x="4355975" y="2729251"/>
                </a:cubicBezTo>
                <a:cubicBezTo>
                  <a:pt x="4350029" y="2729251"/>
                  <a:pt x="4345239" y="2724460"/>
                  <a:pt x="4345239" y="2718513"/>
                </a:cubicBezTo>
                <a:cubicBezTo>
                  <a:pt x="4345239" y="2712567"/>
                  <a:pt x="4350029" y="2707777"/>
                  <a:pt x="4355975" y="2707777"/>
                </a:cubicBezTo>
                <a:close/>
                <a:moveTo>
                  <a:pt x="1161202" y="2705795"/>
                </a:moveTo>
                <a:cubicBezTo>
                  <a:pt x="1167149" y="2705795"/>
                  <a:pt x="1171940" y="2710585"/>
                  <a:pt x="1171940" y="2716531"/>
                </a:cubicBezTo>
                <a:cubicBezTo>
                  <a:pt x="1171940" y="2722478"/>
                  <a:pt x="1167149" y="2727269"/>
                  <a:pt x="1161202" y="2727269"/>
                </a:cubicBezTo>
                <a:cubicBezTo>
                  <a:pt x="1155256" y="2727269"/>
                  <a:pt x="1150466" y="2722478"/>
                  <a:pt x="1150466" y="2716531"/>
                </a:cubicBezTo>
                <a:cubicBezTo>
                  <a:pt x="1150466" y="2710585"/>
                  <a:pt x="1155256" y="2705795"/>
                  <a:pt x="1161202" y="2705795"/>
                </a:cubicBezTo>
                <a:close/>
                <a:moveTo>
                  <a:pt x="75301" y="2699023"/>
                </a:moveTo>
                <a:cubicBezTo>
                  <a:pt x="81248" y="2699023"/>
                  <a:pt x="86037" y="2703813"/>
                  <a:pt x="86037" y="2709759"/>
                </a:cubicBezTo>
                <a:cubicBezTo>
                  <a:pt x="86037" y="2715706"/>
                  <a:pt x="81248" y="2720497"/>
                  <a:pt x="75301" y="2720497"/>
                </a:cubicBezTo>
                <a:cubicBezTo>
                  <a:pt x="69355" y="2720497"/>
                  <a:pt x="64565" y="2715706"/>
                  <a:pt x="64565" y="2709759"/>
                </a:cubicBezTo>
                <a:cubicBezTo>
                  <a:pt x="64565" y="2703813"/>
                  <a:pt x="69355" y="2699023"/>
                  <a:pt x="75301" y="2699023"/>
                </a:cubicBezTo>
                <a:close/>
                <a:moveTo>
                  <a:pt x="4424030" y="2698196"/>
                </a:moveTo>
                <a:lnTo>
                  <a:pt x="4432784" y="2706950"/>
                </a:lnTo>
                <a:lnTo>
                  <a:pt x="4434931" y="2704803"/>
                </a:lnTo>
                <a:lnTo>
                  <a:pt x="4443191" y="2713063"/>
                </a:lnTo>
                <a:lnTo>
                  <a:pt x="4445338" y="2710916"/>
                </a:lnTo>
                <a:lnTo>
                  <a:pt x="4455745" y="2721321"/>
                </a:lnTo>
                <a:lnTo>
                  <a:pt x="4459048" y="2718017"/>
                </a:lnTo>
                <a:cubicBezTo>
                  <a:pt x="4464995" y="2718017"/>
                  <a:pt x="4469785" y="2722807"/>
                  <a:pt x="4469785" y="2728754"/>
                </a:cubicBezTo>
                <a:cubicBezTo>
                  <a:pt x="4469785" y="2734700"/>
                  <a:pt x="4464995" y="2739492"/>
                  <a:pt x="4459048" y="2739492"/>
                </a:cubicBezTo>
                <a:lnTo>
                  <a:pt x="4448643" y="2729085"/>
                </a:lnTo>
                <a:lnTo>
                  <a:pt x="4445338" y="2732390"/>
                </a:lnTo>
                <a:lnTo>
                  <a:pt x="4437078" y="2724129"/>
                </a:lnTo>
                <a:lnTo>
                  <a:pt x="4434931" y="2726276"/>
                </a:lnTo>
                <a:lnTo>
                  <a:pt x="4426177" y="2717523"/>
                </a:lnTo>
                <a:lnTo>
                  <a:pt x="4424030" y="2719670"/>
                </a:lnTo>
                <a:cubicBezTo>
                  <a:pt x="4418083" y="2719670"/>
                  <a:pt x="4413294" y="2714879"/>
                  <a:pt x="4413294" y="2708932"/>
                </a:cubicBezTo>
                <a:cubicBezTo>
                  <a:pt x="4413294" y="2702985"/>
                  <a:pt x="4418083" y="2698196"/>
                  <a:pt x="4424030" y="2698196"/>
                </a:cubicBezTo>
                <a:close/>
                <a:moveTo>
                  <a:pt x="4474410" y="2696545"/>
                </a:moveTo>
                <a:cubicBezTo>
                  <a:pt x="4480356" y="2696545"/>
                  <a:pt x="4485148" y="2701335"/>
                  <a:pt x="4485148" y="2707281"/>
                </a:cubicBezTo>
                <a:cubicBezTo>
                  <a:pt x="4485148" y="2713228"/>
                  <a:pt x="4480356" y="2718017"/>
                  <a:pt x="4474410" y="2718017"/>
                </a:cubicBezTo>
                <a:cubicBezTo>
                  <a:pt x="4468463" y="2718017"/>
                  <a:pt x="4463673" y="2713228"/>
                  <a:pt x="4463673" y="2707281"/>
                </a:cubicBezTo>
                <a:cubicBezTo>
                  <a:pt x="4463673" y="2701335"/>
                  <a:pt x="4468463" y="2696545"/>
                  <a:pt x="4474410" y="2696545"/>
                </a:cubicBezTo>
                <a:close/>
                <a:moveTo>
                  <a:pt x="2512552" y="2694398"/>
                </a:moveTo>
                <a:cubicBezTo>
                  <a:pt x="2518499" y="2694398"/>
                  <a:pt x="2523288" y="2699188"/>
                  <a:pt x="2523288" y="2705134"/>
                </a:cubicBezTo>
                <a:cubicBezTo>
                  <a:pt x="2523288" y="2711081"/>
                  <a:pt x="2518499" y="2715872"/>
                  <a:pt x="2512552" y="2715872"/>
                </a:cubicBezTo>
                <a:cubicBezTo>
                  <a:pt x="2506606" y="2715872"/>
                  <a:pt x="2501815" y="2711081"/>
                  <a:pt x="2501815" y="2705134"/>
                </a:cubicBezTo>
                <a:cubicBezTo>
                  <a:pt x="2501815" y="2699188"/>
                  <a:pt x="2506606" y="2694398"/>
                  <a:pt x="2512552" y="2694398"/>
                </a:cubicBezTo>
                <a:close/>
                <a:moveTo>
                  <a:pt x="4177579" y="2691920"/>
                </a:moveTo>
                <a:cubicBezTo>
                  <a:pt x="4183510" y="2691920"/>
                  <a:pt x="4188318" y="2696727"/>
                  <a:pt x="4188318" y="2702656"/>
                </a:cubicBezTo>
                <a:cubicBezTo>
                  <a:pt x="4188318" y="2708587"/>
                  <a:pt x="4183510" y="2713392"/>
                  <a:pt x="4177579" y="2713392"/>
                </a:cubicBezTo>
                <a:cubicBezTo>
                  <a:pt x="4171650" y="2713392"/>
                  <a:pt x="4166843" y="2708587"/>
                  <a:pt x="4166843" y="2702656"/>
                </a:cubicBezTo>
                <a:cubicBezTo>
                  <a:pt x="4166843" y="2696727"/>
                  <a:pt x="4171650" y="2691920"/>
                  <a:pt x="4177579" y="2691920"/>
                </a:cubicBezTo>
                <a:close/>
                <a:moveTo>
                  <a:pt x="4514218" y="2689937"/>
                </a:moveTo>
                <a:cubicBezTo>
                  <a:pt x="4520165" y="2689937"/>
                  <a:pt x="4524954" y="2694727"/>
                  <a:pt x="4524954" y="2700674"/>
                </a:cubicBezTo>
                <a:cubicBezTo>
                  <a:pt x="4524954" y="2706620"/>
                  <a:pt x="4520165" y="2711412"/>
                  <a:pt x="4514218" y="2711412"/>
                </a:cubicBezTo>
                <a:cubicBezTo>
                  <a:pt x="4508272" y="2711412"/>
                  <a:pt x="4503482" y="2706620"/>
                  <a:pt x="4503482" y="2700674"/>
                </a:cubicBezTo>
                <a:cubicBezTo>
                  <a:pt x="4503482" y="2694727"/>
                  <a:pt x="4508272" y="2689937"/>
                  <a:pt x="4514218" y="2689937"/>
                </a:cubicBezTo>
                <a:close/>
                <a:moveTo>
                  <a:pt x="4408337" y="2689441"/>
                </a:moveTo>
                <a:cubicBezTo>
                  <a:pt x="4414284" y="2689441"/>
                  <a:pt x="4419075" y="2694231"/>
                  <a:pt x="4419075" y="2700178"/>
                </a:cubicBezTo>
                <a:cubicBezTo>
                  <a:pt x="4419075" y="2706124"/>
                  <a:pt x="4414284" y="2710916"/>
                  <a:pt x="4408337" y="2710916"/>
                </a:cubicBezTo>
                <a:cubicBezTo>
                  <a:pt x="4402391" y="2710916"/>
                  <a:pt x="4397601" y="2706124"/>
                  <a:pt x="4397601" y="2700178"/>
                </a:cubicBezTo>
                <a:cubicBezTo>
                  <a:pt x="4397601" y="2694231"/>
                  <a:pt x="4402391" y="2689441"/>
                  <a:pt x="4408337" y="2689441"/>
                </a:cubicBezTo>
                <a:close/>
                <a:moveTo>
                  <a:pt x="4306090" y="2688451"/>
                </a:moveTo>
                <a:cubicBezTo>
                  <a:pt x="4312036" y="2688451"/>
                  <a:pt x="4316828" y="2693241"/>
                  <a:pt x="4316828" y="2699188"/>
                </a:cubicBezTo>
                <a:cubicBezTo>
                  <a:pt x="4316828" y="2705134"/>
                  <a:pt x="4312036" y="2709926"/>
                  <a:pt x="4306090" y="2709926"/>
                </a:cubicBezTo>
                <a:cubicBezTo>
                  <a:pt x="4300143" y="2709926"/>
                  <a:pt x="4295353" y="2705134"/>
                  <a:pt x="4295353" y="2699188"/>
                </a:cubicBezTo>
                <a:cubicBezTo>
                  <a:pt x="4295353" y="2693241"/>
                  <a:pt x="4300143" y="2688451"/>
                  <a:pt x="4306090" y="2688451"/>
                </a:cubicBezTo>
                <a:close/>
                <a:moveTo>
                  <a:pt x="952579" y="2683660"/>
                </a:moveTo>
                <a:cubicBezTo>
                  <a:pt x="958526" y="2683660"/>
                  <a:pt x="963316" y="2688450"/>
                  <a:pt x="963316" y="2694396"/>
                </a:cubicBezTo>
                <a:cubicBezTo>
                  <a:pt x="963316" y="2700343"/>
                  <a:pt x="958526" y="2705134"/>
                  <a:pt x="952579" y="2705134"/>
                </a:cubicBezTo>
                <a:cubicBezTo>
                  <a:pt x="946633" y="2705134"/>
                  <a:pt x="941843" y="2700343"/>
                  <a:pt x="941843" y="2694396"/>
                </a:cubicBezTo>
                <a:cubicBezTo>
                  <a:pt x="941843" y="2688450"/>
                  <a:pt x="946633" y="2683660"/>
                  <a:pt x="952579" y="2683660"/>
                </a:cubicBezTo>
                <a:close/>
                <a:moveTo>
                  <a:pt x="3553194" y="2681513"/>
                </a:moveTo>
                <a:cubicBezTo>
                  <a:pt x="3559141" y="2681513"/>
                  <a:pt x="3563930" y="2686303"/>
                  <a:pt x="3563930" y="2692249"/>
                </a:cubicBezTo>
                <a:cubicBezTo>
                  <a:pt x="3563930" y="2698196"/>
                  <a:pt x="3559141" y="2702987"/>
                  <a:pt x="3553194" y="2702987"/>
                </a:cubicBezTo>
                <a:cubicBezTo>
                  <a:pt x="3547248" y="2702987"/>
                  <a:pt x="3542458" y="2698196"/>
                  <a:pt x="3542458" y="2692249"/>
                </a:cubicBezTo>
                <a:cubicBezTo>
                  <a:pt x="3542458" y="2686303"/>
                  <a:pt x="3547248" y="2681513"/>
                  <a:pt x="3553194" y="2681513"/>
                </a:cubicBezTo>
                <a:close/>
                <a:moveTo>
                  <a:pt x="3974902" y="2681017"/>
                </a:moveTo>
                <a:cubicBezTo>
                  <a:pt x="3980848" y="2681017"/>
                  <a:pt x="3985638" y="2685807"/>
                  <a:pt x="3985638" y="2691753"/>
                </a:cubicBezTo>
                <a:cubicBezTo>
                  <a:pt x="3985638" y="2697700"/>
                  <a:pt x="3980848" y="2702491"/>
                  <a:pt x="3974902" y="2702491"/>
                </a:cubicBezTo>
                <a:cubicBezTo>
                  <a:pt x="3968955" y="2702491"/>
                  <a:pt x="3964165" y="2697700"/>
                  <a:pt x="3964165" y="2691753"/>
                </a:cubicBezTo>
                <a:cubicBezTo>
                  <a:pt x="3964165" y="2685807"/>
                  <a:pt x="3968955" y="2681017"/>
                  <a:pt x="3974902" y="2681017"/>
                </a:cubicBezTo>
                <a:close/>
                <a:moveTo>
                  <a:pt x="4533050" y="2676558"/>
                </a:moveTo>
                <a:cubicBezTo>
                  <a:pt x="4537014" y="2676558"/>
                  <a:pt x="4540151" y="2679697"/>
                  <a:pt x="4540151" y="2683661"/>
                </a:cubicBezTo>
                <a:cubicBezTo>
                  <a:pt x="4540151" y="2687626"/>
                  <a:pt x="4537014" y="2690765"/>
                  <a:pt x="4533050" y="2690765"/>
                </a:cubicBezTo>
                <a:cubicBezTo>
                  <a:pt x="4529084" y="2690765"/>
                  <a:pt x="4525946" y="2687626"/>
                  <a:pt x="4525946" y="2683661"/>
                </a:cubicBezTo>
                <a:cubicBezTo>
                  <a:pt x="4525946" y="2679697"/>
                  <a:pt x="4529084" y="2676558"/>
                  <a:pt x="4533050" y="2676558"/>
                </a:cubicBezTo>
                <a:close/>
                <a:moveTo>
                  <a:pt x="4490102" y="2676227"/>
                </a:moveTo>
                <a:cubicBezTo>
                  <a:pt x="4496049" y="2676227"/>
                  <a:pt x="4500839" y="2681017"/>
                  <a:pt x="4500839" y="2686963"/>
                </a:cubicBezTo>
                <a:cubicBezTo>
                  <a:pt x="4500839" y="2692910"/>
                  <a:pt x="4496049" y="2697701"/>
                  <a:pt x="4490102" y="2697701"/>
                </a:cubicBezTo>
                <a:cubicBezTo>
                  <a:pt x="4484156" y="2697701"/>
                  <a:pt x="4479366" y="2692910"/>
                  <a:pt x="4479366" y="2686963"/>
                </a:cubicBezTo>
                <a:cubicBezTo>
                  <a:pt x="4479366" y="2681017"/>
                  <a:pt x="4484156" y="2676227"/>
                  <a:pt x="4490102" y="2676227"/>
                </a:cubicBezTo>
                <a:close/>
                <a:moveTo>
                  <a:pt x="4382899" y="2676227"/>
                </a:moveTo>
                <a:cubicBezTo>
                  <a:pt x="4388845" y="2676227"/>
                  <a:pt x="4393637" y="2681017"/>
                  <a:pt x="4393637" y="2686963"/>
                </a:cubicBezTo>
                <a:cubicBezTo>
                  <a:pt x="4393637" y="2692910"/>
                  <a:pt x="4388845" y="2697701"/>
                  <a:pt x="4382899" y="2697701"/>
                </a:cubicBezTo>
                <a:cubicBezTo>
                  <a:pt x="4376952" y="2697701"/>
                  <a:pt x="4372162" y="2692910"/>
                  <a:pt x="4372162" y="2686963"/>
                </a:cubicBezTo>
                <a:cubicBezTo>
                  <a:pt x="4372162" y="2681017"/>
                  <a:pt x="4376952" y="2676227"/>
                  <a:pt x="4382899" y="2676227"/>
                </a:cubicBezTo>
                <a:close/>
                <a:moveTo>
                  <a:pt x="4439556" y="2670776"/>
                </a:moveTo>
                <a:lnTo>
                  <a:pt x="4448394" y="2679614"/>
                </a:lnTo>
                <a:lnTo>
                  <a:pt x="4448971" y="2679035"/>
                </a:lnTo>
                <a:lnTo>
                  <a:pt x="4458388" y="2688450"/>
                </a:lnTo>
                <a:lnTo>
                  <a:pt x="4459543" y="2687295"/>
                </a:lnTo>
                <a:cubicBezTo>
                  <a:pt x="4465489" y="2687295"/>
                  <a:pt x="4470279" y="2692084"/>
                  <a:pt x="4470279" y="2698031"/>
                </a:cubicBezTo>
                <a:cubicBezTo>
                  <a:pt x="4470279" y="2703977"/>
                  <a:pt x="4465489" y="2708769"/>
                  <a:pt x="4459543" y="2708769"/>
                </a:cubicBezTo>
                <a:lnTo>
                  <a:pt x="4450128" y="2699352"/>
                </a:lnTo>
                <a:lnTo>
                  <a:pt x="4448971" y="2700509"/>
                </a:lnTo>
                <a:lnTo>
                  <a:pt x="4440135" y="2691672"/>
                </a:lnTo>
                <a:lnTo>
                  <a:pt x="4439556" y="2692251"/>
                </a:lnTo>
                <a:cubicBezTo>
                  <a:pt x="4433610" y="2692251"/>
                  <a:pt x="4428820" y="2687459"/>
                  <a:pt x="4428820" y="2681513"/>
                </a:cubicBezTo>
                <a:cubicBezTo>
                  <a:pt x="4428820" y="2675566"/>
                  <a:pt x="4433610" y="2670776"/>
                  <a:pt x="4439556" y="2670776"/>
                </a:cubicBezTo>
                <a:close/>
                <a:moveTo>
                  <a:pt x="2714238" y="2670445"/>
                </a:moveTo>
                <a:cubicBezTo>
                  <a:pt x="2720184" y="2670445"/>
                  <a:pt x="2724976" y="2675235"/>
                  <a:pt x="2724976" y="2681182"/>
                </a:cubicBezTo>
                <a:cubicBezTo>
                  <a:pt x="2724976" y="2687128"/>
                  <a:pt x="2720184" y="2691918"/>
                  <a:pt x="2714238" y="2691918"/>
                </a:cubicBezTo>
                <a:cubicBezTo>
                  <a:pt x="2708291" y="2691918"/>
                  <a:pt x="2703501" y="2687128"/>
                  <a:pt x="2703501" y="2681182"/>
                </a:cubicBezTo>
                <a:cubicBezTo>
                  <a:pt x="2703501" y="2675235"/>
                  <a:pt x="2708291" y="2670445"/>
                  <a:pt x="2714238" y="2670445"/>
                </a:cubicBezTo>
                <a:close/>
                <a:moveTo>
                  <a:pt x="4427002" y="2660370"/>
                </a:moveTo>
                <a:cubicBezTo>
                  <a:pt x="4432949" y="2660370"/>
                  <a:pt x="4437739" y="2665159"/>
                  <a:pt x="4437739" y="2671106"/>
                </a:cubicBezTo>
                <a:cubicBezTo>
                  <a:pt x="4437739" y="2677052"/>
                  <a:pt x="4432949" y="2681844"/>
                  <a:pt x="4427002" y="2681844"/>
                </a:cubicBezTo>
                <a:cubicBezTo>
                  <a:pt x="4421056" y="2681844"/>
                  <a:pt x="4416266" y="2677052"/>
                  <a:pt x="4416266" y="2671106"/>
                </a:cubicBezTo>
                <a:cubicBezTo>
                  <a:pt x="4416266" y="2665159"/>
                  <a:pt x="4421056" y="2660370"/>
                  <a:pt x="4427002" y="2660370"/>
                </a:cubicBezTo>
                <a:close/>
                <a:moveTo>
                  <a:pt x="4230271" y="2658717"/>
                </a:moveTo>
                <a:cubicBezTo>
                  <a:pt x="4236218" y="2658717"/>
                  <a:pt x="4241009" y="2663507"/>
                  <a:pt x="4241009" y="2669453"/>
                </a:cubicBezTo>
                <a:cubicBezTo>
                  <a:pt x="4241009" y="2675400"/>
                  <a:pt x="4236218" y="2680191"/>
                  <a:pt x="4230271" y="2680191"/>
                </a:cubicBezTo>
                <a:cubicBezTo>
                  <a:pt x="4224324" y="2680191"/>
                  <a:pt x="4219535" y="2675400"/>
                  <a:pt x="4219535" y="2669453"/>
                </a:cubicBezTo>
                <a:cubicBezTo>
                  <a:pt x="4219535" y="2663507"/>
                  <a:pt x="4224324" y="2658717"/>
                  <a:pt x="4230271" y="2658717"/>
                </a:cubicBezTo>
                <a:close/>
                <a:moveTo>
                  <a:pt x="757170" y="2658223"/>
                </a:moveTo>
                <a:cubicBezTo>
                  <a:pt x="763116" y="2658223"/>
                  <a:pt x="767906" y="2663012"/>
                  <a:pt x="767906" y="2668959"/>
                </a:cubicBezTo>
                <a:cubicBezTo>
                  <a:pt x="767906" y="2674906"/>
                  <a:pt x="763116" y="2679697"/>
                  <a:pt x="757170" y="2679697"/>
                </a:cubicBezTo>
                <a:cubicBezTo>
                  <a:pt x="751223" y="2679697"/>
                  <a:pt x="746433" y="2674906"/>
                  <a:pt x="746433" y="2668959"/>
                </a:cubicBezTo>
                <a:cubicBezTo>
                  <a:pt x="746433" y="2663012"/>
                  <a:pt x="751223" y="2658223"/>
                  <a:pt x="757170" y="2658223"/>
                </a:cubicBezTo>
                <a:close/>
                <a:moveTo>
                  <a:pt x="4506289" y="2657066"/>
                </a:moveTo>
                <a:cubicBezTo>
                  <a:pt x="4512236" y="2657066"/>
                  <a:pt x="4517027" y="2661856"/>
                  <a:pt x="4517027" y="2667802"/>
                </a:cubicBezTo>
                <a:cubicBezTo>
                  <a:pt x="4517027" y="2673749"/>
                  <a:pt x="4512236" y="2678539"/>
                  <a:pt x="4506289" y="2678539"/>
                </a:cubicBezTo>
                <a:cubicBezTo>
                  <a:pt x="4500343" y="2678539"/>
                  <a:pt x="4495553" y="2673749"/>
                  <a:pt x="4495553" y="2667802"/>
                </a:cubicBezTo>
                <a:cubicBezTo>
                  <a:pt x="4495553" y="2661856"/>
                  <a:pt x="4500343" y="2657066"/>
                  <a:pt x="4506289" y="2657066"/>
                </a:cubicBezTo>
                <a:close/>
                <a:moveTo>
                  <a:pt x="4341439" y="2656405"/>
                </a:moveTo>
                <a:cubicBezTo>
                  <a:pt x="4347386" y="2656405"/>
                  <a:pt x="4352176" y="2661195"/>
                  <a:pt x="4352176" y="2667142"/>
                </a:cubicBezTo>
                <a:cubicBezTo>
                  <a:pt x="4352176" y="2673088"/>
                  <a:pt x="4347386" y="2677880"/>
                  <a:pt x="4341439" y="2677880"/>
                </a:cubicBezTo>
                <a:cubicBezTo>
                  <a:pt x="4335493" y="2677880"/>
                  <a:pt x="4330703" y="2673088"/>
                  <a:pt x="4330703" y="2667142"/>
                </a:cubicBezTo>
                <a:cubicBezTo>
                  <a:pt x="4330703" y="2661195"/>
                  <a:pt x="4335493" y="2656405"/>
                  <a:pt x="4341439" y="2656405"/>
                </a:cubicBezTo>
                <a:close/>
                <a:moveTo>
                  <a:pt x="3671793" y="2648808"/>
                </a:moveTo>
                <a:cubicBezTo>
                  <a:pt x="3677740" y="2648808"/>
                  <a:pt x="3682530" y="2653598"/>
                  <a:pt x="3682530" y="2659544"/>
                </a:cubicBezTo>
                <a:cubicBezTo>
                  <a:pt x="3682530" y="2665491"/>
                  <a:pt x="3677740" y="2670280"/>
                  <a:pt x="3671793" y="2670280"/>
                </a:cubicBezTo>
                <a:cubicBezTo>
                  <a:pt x="3665847" y="2670280"/>
                  <a:pt x="3661057" y="2665491"/>
                  <a:pt x="3661057" y="2659544"/>
                </a:cubicBezTo>
                <a:cubicBezTo>
                  <a:pt x="3661057" y="2653598"/>
                  <a:pt x="3665847" y="2648808"/>
                  <a:pt x="3671793" y="2648808"/>
                </a:cubicBezTo>
                <a:close/>
                <a:moveTo>
                  <a:pt x="4051381" y="2647816"/>
                </a:moveTo>
                <a:cubicBezTo>
                  <a:pt x="4057327" y="2647816"/>
                  <a:pt x="4062117" y="2652606"/>
                  <a:pt x="4062117" y="2658552"/>
                </a:cubicBezTo>
                <a:cubicBezTo>
                  <a:pt x="4062117" y="2664499"/>
                  <a:pt x="4057327" y="2669290"/>
                  <a:pt x="4051381" y="2669290"/>
                </a:cubicBezTo>
                <a:cubicBezTo>
                  <a:pt x="4045434" y="2669290"/>
                  <a:pt x="4040645" y="2664499"/>
                  <a:pt x="4040645" y="2658552"/>
                </a:cubicBezTo>
                <a:cubicBezTo>
                  <a:pt x="4040645" y="2652606"/>
                  <a:pt x="4045434" y="2647816"/>
                  <a:pt x="4051381" y="2647816"/>
                </a:cubicBezTo>
                <a:close/>
                <a:moveTo>
                  <a:pt x="4406685" y="2645998"/>
                </a:moveTo>
                <a:cubicBezTo>
                  <a:pt x="4412631" y="2645998"/>
                  <a:pt x="4417423" y="2650788"/>
                  <a:pt x="4417423" y="2656735"/>
                </a:cubicBezTo>
                <a:cubicBezTo>
                  <a:pt x="4417423" y="2662681"/>
                  <a:pt x="4412631" y="2667473"/>
                  <a:pt x="4406685" y="2667473"/>
                </a:cubicBezTo>
                <a:cubicBezTo>
                  <a:pt x="4400738" y="2667473"/>
                  <a:pt x="4395948" y="2662681"/>
                  <a:pt x="4395948" y="2656735"/>
                </a:cubicBezTo>
                <a:cubicBezTo>
                  <a:pt x="4395948" y="2650788"/>
                  <a:pt x="4400738" y="2645998"/>
                  <a:pt x="4406685" y="2645998"/>
                </a:cubicBezTo>
                <a:close/>
                <a:moveTo>
                  <a:pt x="4453761" y="2644512"/>
                </a:moveTo>
                <a:cubicBezTo>
                  <a:pt x="4459707" y="2644512"/>
                  <a:pt x="4464499" y="2649302"/>
                  <a:pt x="4464499" y="2655249"/>
                </a:cubicBezTo>
                <a:lnTo>
                  <a:pt x="4463838" y="2655909"/>
                </a:lnTo>
                <a:lnTo>
                  <a:pt x="4473255" y="2665324"/>
                </a:lnTo>
                <a:lnTo>
                  <a:pt x="4473749" y="2664830"/>
                </a:lnTo>
                <a:cubicBezTo>
                  <a:pt x="4479696" y="2664830"/>
                  <a:pt x="4484487" y="2669620"/>
                  <a:pt x="4484487" y="2675566"/>
                </a:cubicBezTo>
                <a:cubicBezTo>
                  <a:pt x="4484487" y="2681513"/>
                  <a:pt x="4479696" y="2686304"/>
                  <a:pt x="4473749" y="2686304"/>
                </a:cubicBezTo>
                <a:lnTo>
                  <a:pt x="4463013" y="2675566"/>
                </a:lnTo>
                <a:lnTo>
                  <a:pt x="4462517" y="2676062"/>
                </a:lnTo>
                <a:cubicBezTo>
                  <a:pt x="4456570" y="2676062"/>
                  <a:pt x="4451780" y="2671271"/>
                  <a:pt x="4451780" y="2665324"/>
                </a:cubicBezTo>
                <a:lnTo>
                  <a:pt x="4452439" y="2664665"/>
                </a:lnTo>
                <a:lnTo>
                  <a:pt x="4443025" y="2655249"/>
                </a:lnTo>
                <a:cubicBezTo>
                  <a:pt x="4443025" y="2649302"/>
                  <a:pt x="4447814" y="2644512"/>
                  <a:pt x="4453761" y="2644512"/>
                </a:cubicBezTo>
                <a:close/>
                <a:moveTo>
                  <a:pt x="2902213" y="2643687"/>
                </a:moveTo>
                <a:cubicBezTo>
                  <a:pt x="2908160" y="2643687"/>
                  <a:pt x="2912951" y="2648477"/>
                  <a:pt x="2912951" y="2654423"/>
                </a:cubicBezTo>
                <a:cubicBezTo>
                  <a:pt x="2912951" y="2660370"/>
                  <a:pt x="2908160" y="2665161"/>
                  <a:pt x="2902213" y="2665161"/>
                </a:cubicBezTo>
                <a:cubicBezTo>
                  <a:pt x="2896267" y="2665161"/>
                  <a:pt x="2891477" y="2660370"/>
                  <a:pt x="2891477" y="2654423"/>
                </a:cubicBezTo>
                <a:cubicBezTo>
                  <a:pt x="2891477" y="2648477"/>
                  <a:pt x="2896267" y="2643687"/>
                  <a:pt x="2902213" y="2643687"/>
                </a:cubicBezTo>
                <a:close/>
                <a:moveTo>
                  <a:pt x="4487789" y="2643522"/>
                </a:moveTo>
                <a:cubicBezTo>
                  <a:pt x="4493736" y="2643522"/>
                  <a:pt x="4498527" y="2648312"/>
                  <a:pt x="4498527" y="2654258"/>
                </a:cubicBezTo>
                <a:cubicBezTo>
                  <a:pt x="4498527" y="2660205"/>
                  <a:pt x="4493736" y="2664996"/>
                  <a:pt x="4487789" y="2664996"/>
                </a:cubicBezTo>
                <a:cubicBezTo>
                  <a:pt x="4481843" y="2664996"/>
                  <a:pt x="4477053" y="2660205"/>
                  <a:pt x="4477053" y="2654258"/>
                </a:cubicBezTo>
                <a:cubicBezTo>
                  <a:pt x="4477053" y="2648312"/>
                  <a:pt x="4481843" y="2643522"/>
                  <a:pt x="4487789" y="2643522"/>
                </a:cubicBezTo>
                <a:close/>
                <a:moveTo>
                  <a:pt x="4522808" y="2639062"/>
                </a:moveTo>
                <a:cubicBezTo>
                  <a:pt x="4528754" y="2639062"/>
                  <a:pt x="4533546" y="2643851"/>
                  <a:pt x="4533546" y="2649798"/>
                </a:cubicBezTo>
                <a:cubicBezTo>
                  <a:pt x="4533546" y="2655745"/>
                  <a:pt x="4528754" y="2660536"/>
                  <a:pt x="4522808" y="2660536"/>
                </a:cubicBezTo>
                <a:cubicBezTo>
                  <a:pt x="4516861" y="2660536"/>
                  <a:pt x="4512071" y="2655745"/>
                  <a:pt x="4512071" y="2649798"/>
                </a:cubicBezTo>
                <a:cubicBezTo>
                  <a:pt x="4512071" y="2643851"/>
                  <a:pt x="4516861" y="2639062"/>
                  <a:pt x="4522808" y="2639062"/>
                </a:cubicBezTo>
                <a:close/>
                <a:moveTo>
                  <a:pt x="4443685" y="2632619"/>
                </a:moveTo>
                <a:cubicBezTo>
                  <a:pt x="4449632" y="2632619"/>
                  <a:pt x="4454422" y="2637409"/>
                  <a:pt x="4454422" y="2643355"/>
                </a:cubicBezTo>
                <a:cubicBezTo>
                  <a:pt x="4454422" y="2649302"/>
                  <a:pt x="4449632" y="2654094"/>
                  <a:pt x="4443685" y="2654094"/>
                </a:cubicBezTo>
                <a:cubicBezTo>
                  <a:pt x="4437739" y="2654094"/>
                  <a:pt x="4432949" y="2649302"/>
                  <a:pt x="4432949" y="2643355"/>
                </a:cubicBezTo>
                <a:cubicBezTo>
                  <a:pt x="4432949" y="2637409"/>
                  <a:pt x="4437739" y="2632619"/>
                  <a:pt x="4443685" y="2632619"/>
                </a:cubicBezTo>
                <a:close/>
                <a:moveTo>
                  <a:pt x="575470" y="2630802"/>
                </a:moveTo>
                <a:cubicBezTo>
                  <a:pt x="581417" y="2630802"/>
                  <a:pt x="586207" y="2635592"/>
                  <a:pt x="586207" y="2641538"/>
                </a:cubicBezTo>
                <a:cubicBezTo>
                  <a:pt x="586207" y="2647485"/>
                  <a:pt x="581417" y="2652276"/>
                  <a:pt x="575470" y="2652276"/>
                </a:cubicBezTo>
                <a:cubicBezTo>
                  <a:pt x="569524" y="2652276"/>
                  <a:pt x="564734" y="2647485"/>
                  <a:pt x="564734" y="2641538"/>
                </a:cubicBezTo>
                <a:cubicBezTo>
                  <a:pt x="564734" y="2635592"/>
                  <a:pt x="569524" y="2630802"/>
                  <a:pt x="575470" y="2630802"/>
                </a:cubicBezTo>
                <a:close/>
                <a:moveTo>
                  <a:pt x="4277018" y="2626673"/>
                </a:moveTo>
                <a:cubicBezTo>
                  <a:pt x="4282964" y="2626673"/>
                  <a:pt x="4287754" y="2631462"/>
                  <a:pt x="4287754" y="2637409"/>
                </a:cubicBezTo>
                <a:cubicBezTo>
                  <a:pt x="4287754" y="2643355"/>
                  <a:pt x="4282964" y="2648147"/>
                  <a:pt x="4277018" y="2648147"/>
                </a:cubicBezTo>
                <a:cubicBezTo>
                  <a:pt x="4271071" y="2648147"/>
                  <a:pt x="4266281" y="2643355"/>
                  <a:pt x="4266281" y="2637409"/>
                </a:cubicBezTo>
                <a:cubicBezTo>
                  <a:pt x="4266281" y="2631462"/>
                  <a:pt x="4271071" y="2626673"/>
                  <a:pt x="4277018" y="2626673"/>
                </a:cubicBezTo>
                <a:close/>
                <a:moveTo>
                  <a:pt x="4372658" y="2625516"/>
                </a:moveTo>
                <a:cubicBezTo>
                  <a:pt x="4378605" y="2625516"/>
                  <a:pt x="4383396" y="2630306"/>
                  <a:pt x="4383396" y="2636252"/>
                </a:cubicBezTo>
                <a:cubicBezTo>
                  <a:pt x="4383396" y="2642199"/>
                  <a:pt x="4378605" y="2646990"/>
                  <a:pt x="4372658" y="2646990"/>
                </a:cubicBezTo>
                <a:cubicBezTo>
                  <a:pt x="4366712" y="2646990"/>
                  <a:pt x="4361922" y="2642199"/>
                  <a:pt x="4361922" y="2636252"/>
                </a:cubicBezTo>
                <a:cubicBezTo>
                  <a:pt x="4361922" y="2630306"/>
                  <a:pt x="4366712" y="2625516"/>
                  <a:pt x="4372658" y="2625516"/>
                </a:cubicBezTo>
                <a:close/>
                <a:moveTo>
                  <a:pt x="4502160" y="2623534"/>
                </a:moveTo>
                <a:cubicBezTo>
                  <a:pt x="4508107" y="2623534"/>
                  <a:pt x="4512898" y="2628324"/>
                  <a:pt x="4512898" y="2634270"/>
                </a:cubicBezTo>
                <a:cubicBezTo>
                  <a:pt x="4512898" y="2640217"/>
                  <a:pt x="4508107" y="2645008"/>
                  <a:pt x="4502160" y="2645008"/>
                </a:cubicBezTo>
                <a:cubicBezTo>
                  <a:pt x="4496214" y="2645008"/>
                  <a:pt x="4491424" y="2640217"/>
                  <a:pt x="4491424" y="2634270"/>
                </a:cubicBezTo>
                <a:cubicBezTo>
                  <a:pt x="4491424" y="2628324"/>
                  <a:pt x="4496214" y="2623534"/>
                  <a:pt x="4502160" y="2623534"/>
                </a:cubicBezTo>
                <a:close/>
                <a:moveTo>
                  <a:pt x="4540151" y="2622212"/>
                </a:moveTo>
                <a:cubicBezTo>
                  <a:pt x="4546098" y="2622212"/>
                  <a:pt x="4550887" y="2627002"/>
                  <a:pt x="4550887" y="2632949"/>
                </a:cubicBezTo>
                <a:cubicBezTo>
                  <a:pt x="4550887" y="2638895"/>
                  <a:pt x="4546098" y="2643685"/>
                  <a:pt x="4540151" y="2643685"/>
                </a:cubicBezTo>
                <a:cubicBezTo>
                  <a:pt x="4534205" y="2643685"/>
                  <a:pt x="4529415" y="2638895"/>
                  <a:pt x="4529415" y="2632949"/>
                </a:cubicBezTo>
                <a:cubicBezTo>
                  <a:pt x="4529415" y="2627002"/>
                  <a:pt x="4534205" y="2622212"/>
                  <a:pt x="4540151" y="2622212"/>
                </a:cubicBezTo>
                <a:close/>
                <a:moveTo>
                  <a:pt x="4467142" y="2619405"/>
                </a:moveTo>
                <a:cubicBezTo>
                  <a:pt x="4473088" y="2619405"/>
                  <a:pt x="4477880" y="2624194"/>
                  <a:pt x="4477880" y="2630141"/>
                </a:cubicBezTo>
                <a:lnTo>
                  <a:pt x="4476144" y="2631877"/>
                </a:lnTo>
                <a:lnTo>
                  <a:pt x="4486468" y="2642199"/>
                </a:lnTo>
                <a:cubicBezTo>
                  <a:pt x="4486468" y="2648145"/>
                  <a:pt x="4481678" y="2652937"/>
                  <a:pt x="4475731" y="2652937"/>
                </a:cubicBezTo>
                <a:cubicBezTo>
                  <a:pt x="4469785" y="2652937"/>
                  <a:pt x="4464995" y="2648145"/>
                  <a:pt x="4464995" y="2642199"/>
                </a:cubicBezTo>
                <a:lnTo>
                  <a:pt x="4466729" y="2640466"/>
                </a:lnTo>
                <a:lnTo>
                  <a:pt x="4456405" y="2630141"/>
                </a:lnTo>
                <a:cubicBezTo>
                  <a:pt x="4456405" y="2624194"/>
                  <a:pt x="4461195" y="2619405"/>
                  <a:pt x="4467142" y="2619405"/>
                </a:cubicBezTo>
                <a:close/>
                <a:moveTo>
                  <a:pt x="4427498" y="2617093"/>
                </a:moveTo>
                <a:cubicBezTo>
                  <a:pt x="4433428" y="2617093"/>
                  <a:pt x="4438235" y="2621900"/>
                  <a:pt x="4438235" y="2627829"/>
                </a:cubicBezTo>
                <a:cubicBezTo>
                  <a:pt x="4438235" y="2633760"/>
                  <a:pt x="4433428" y="2638566"/>
                  <a:pt x="4427498" y="2638566"/>
                </a:cubicBezTo>
                <a:cubicBezTo>
                  <a:pt x="4421569" y="2638566"/>
                  <a:pt x="4416762" y="2633760"/>
                  <a:pt x="4416762" y="2627829"/>
                </a:cubicBezTo>
                <a:cubicBezTo>
                  <a:pt x="4416762" y="2621900"/>
                  <a:pt x="4421569" y="2617093"/>
                  <a:pt x="4427498" y="2617093"/>
                </a:cubicBezTo>
                <a:close/>
                <a:moveTo>
                  <a:pt x="3779492" y="2616762"/>
                </a:moveTo>
                <a:cubicBezTo>
                  <a:pt x="3785438" y="2616762"/>
                  <a:pt x="3790230" y="2621552"/>
                  <a:pt x="3790230" y="2627498"/>
                </a:cubicBezTo>
                <a:cubicBezTo>
                  <a:pt x="3790230" y="2633445"/>
                  <a:pt x="3785438" y="2638234"/>
                  <a:pt x="3779492" y="2638234"/>
                </a:cubicBezTo>
                <a:cubicBezTo>
                  <a:pt x="3773545" y="2638234"/>
                  <a:pt x="3768755" y="2633445"/>
                  <a:pt x="3768755" y="2627498"/>
                </a:cubicBezTo>
                <a:cubicBezTo>
                  <a:pt x="3768755" y="2621552"/>
                  <a:pt x="3773545" y="2616762"/>
                  <a:pt x="3779492" y="2616762"/>
                </a:cubicBezTo>
                <a:close/>
                <a:moveTo>
                  <a:pt x="3076645" y="2615605"/>
                </a:moveTo>
                <a:cubicBezTo>
                  <a:pt x="3082591" y="2615605"/>
                  <a:pt x="3087383" y="2620395"/>
                  <a:pt x="3087383" y="2626341"/>
                </a:cubicBezTo>
                <a:cubicBezTo>
                  <a:pt x="3087383" y="2632288"/>
                  <a:pt x="3082591" y="2637079"/>
                  <a:pt x="3076645" y="2637079"/>
                </a:cubicBezTo>
                <a:cubicBezTo>
                  <a:pt x="3070698" y="2637079"/>
                  <a:pt x="3065908" y="2632288"/>
                  <a:pt x="3065908" y="2626341"/>
                </a:cubicBezTo>
                <a:cubicBezTo>
                  <a:pt x="3065908" y="2620395"/>
                  <a:pt x="3070698" y="2615605"/>
                  <a:pt x="3076645" y="2615605"/>
                </a:cubicBezTo>
                <a:close/>
                <a:moveTo>
                  <a:pt x="4119930" y="2615440"/>
                </a:moveTo>
                <a:cubicBezTo>
                  <a:pt x="4125876" y="2615440"/>
                  <a:pt x="4130666" y="2620230"/>
                  <a:pt x="4130666" y="2626177"/>
                </a:cubicBezTo>
                <a:cubicBezTo>
                  <a:pt x="4130666" y="2632123"/>
                  <a:pt x="4125876" y="2636915"/>
                  <a:pt x="4119930" y="2636915"/>
                </a:cubicBezTo>
                <a:cubicBezTo>
                  <a:pt x="4113983" y="2636915"/>
                  <a:pt x="4109194" y="2632123"/>
                  <a:pt x="4109194" y="2626177"/>
                </a:cubicBezTo>
                <a:cubicBezTo>
                  <a:pt x="4109194" y="2620230"/>
                  <a:pt x="4113983" y="2615440"/>
                  <a:pt x="4119930" y="2615440"/>
                </a:cubicBezTo>
                <a:close/>
                <a:moveTo>
                  <a:pt x="4558322" y="2611476"/>
                </a:moveTo>
                <a:cubicBezTo>
                  <a:pt x="4561332" y="2611476"/>
                  <a:pt x="4563772" y="2613916"/>
                  <a:pt x="4563772" y="2616926"/>
                </a:cubicBezTo>
                <a:cubicBezTo>
                  <a:pt x="4563772" y="2619937"/>
                  <a:pt x="4561332" y="2622379"/>
                  <a:pt x="4558322" y="2622379"/>
                </a:cubicBezTo>
                <a:cubicBezTo>
                  <a:pt x="4555311" y="2622379"/>
                  <a:pt x="4552871" y="2619937"/>
                  <a:pt x="4552871" y="2616926"/>
                </a:cubicBezTo>
                <a:cubicBezTo>
                  <a:pt x="4552871" y="2613916"/>
                  <a:pt x="4555311" y="2611476"/>
                  <a:pt x="4558322" y="2611476"/>
                </a:cubicBezTo>
                <a:close/>
                <a:moveTo>
                  <a:pt x="4488615" y="2609494"/>
                </a:moveTo>
                <a:cubicBezTo>
                  <a:pt x="4494561" y="2609494"/>
                  <a:pt x="4499351" y="2614284"/>
                  <a:pt x="4499351" y="2620230"/>
                </a:cubicBezTo>
                <a:cubicBezTo>
                  <a:pt x="4499351" y="2626177"/>
                  <a:pt x="4494561" y="2630968"/>
                  <a:pt x="4488615" y="2630968"/>
                </a:cubicBezTo>
                <a:cubicBezTo>
                  <a:pt x="4482668" y="2630968"/>
                  <a:pt x="4477878" y="2626177"/>
                  <a:pt x="4477878" y="2620230"/>
                </a:cubicBezTo>
                <a:cubicBezTo>
                  <a:pt x="4477878" y="2614284"/>
                  <a:pt x="4482668" y="2609494"/>
                  <a:pt x="4488615" y="2609494"/>
                </a:cubicBezTo>
                <a:close/>
                <a:moveTo>
                  <a:pt x="4458717" y="2606025"/>
                </a:moveTo>
                <a:cubicBezTo>
                  <a:pt x="4464664" y="2606025"/>
                  <a:pt x="4469454" y="2610815"/>
                  <a:pt x="4469454" y="2616762"/>
                </a:cubicBezTo>
                <a:cubicBezTo>
                  <a:pt x="4469454" y="2622708"/>
                  <a:pt x="4464664" y="2627500"/>
                  <a:pt x="4458717" y="2627500"/>
                </a:cubicBezTo>
                <a:cubicBezTo>
                  <a:pt x="4452771" y="2627500"/>
                  <a:pt x="4447981" y="2622708"/>
                  <a:pt x="4447981" y="2616762"/>
                </a:cubicBezTo>
                <a:cubicBezTo>
                  <a:pt x="4447981" y="2610815"/>
                  <a:pt x="4452771" y="2606025"/>
                  <a:pt x="4458717" y="2606025"/>
                </a:cubicBezTo>
                <a:close/>
                <a:moveTo>
                  <a:pt x="4516861" y="2604537"/>
                </a:moveTo>
                <a:cubicBezTo>
                  <a:pt x="4522808" y="2604537"/>
                  <a:pt x="4527597" y="2609327"/>
                  <a:pt x="4527597" y="2615274"/>
                </a:cubicBezTo>
                <a:cubicBezTo>
                  <a:pt x="4527597" y="2621220"/>
                  <a:pt x="4522808" y="2626012"/>
                  <a:pt x="4516861" y="2626012"/>
                </a:cubicBezTo>
                <a:cubicBezTo>
                  <a:pt x="4510914" y="2626012"/>
                  <a:pt x="4506125" y="2621220"/>
                  <a:pt x="4506125" y="2615274"/>
                </a:cubicBezTo>
                <a:cubicBezTo>
                  <a:pt x="4506125" y="2609327"/>
                  <a:pt x="4510914" y="2604537"/>
                  <a:pt x="4516861" y="2604537"/>
                </a:cubicBezTo>
                <a:close/>
                <a:moveTo>
                  <a:pt x="407481" y="2602226"/>
                </a:moveTo>
                <a:cubicBezTo>
                  <a:pt x="413428" y="2602226"/>
                  <a:pt x="418218" y="2607016"/>
                  <a:pt x="418218" y="2612962"/>
                </a:cubicBezTo>
                <a:cubicBezTo>
                  <a:pt x="418218" y="2618909"/>
                  <a:pt x="413428" y="2623700"/>
                  <a:pt x="407481" y="2623700"/>
                </a:cubicBezTo>
                <a:cubicBezTo>
                  <a:pt x="401535" y="2623700"/>
                  <a:pt x="396745" y="2618909"/>
                  <a:pt x="396745" y="2612962"/>
                </a:cubicBezTo>
                <a:cubicBezTo>
                  <a:pt x="396745" y="2607016"/>
                  <a:pt x="401535" y="2602226"/>
                  <a:pt x="407481" y="2602226"/>
                </a:cubicBezTo>
                <a:close/>
                <a:moveTo>
                  <a:pt x="4400077" y="2595783"/>
                </a:moveTo>
                <a:cubicBezTo>
                  <a:pt x="4406024" y="2595783"/>
                  <a:pt x="4410815" y="2600573"/>
                  <a:pt x="4410815" y="2606520"/>
                </a:cubicBezTo>
                <a:cubicBezTo>
                  <a:pt x="4410815" y="2612466"/>
                  <a:pt x="4406024" y="2617258"/>
                  <a:pt x="4400077" y="2617258"/>
                </a:cubicBezTo>
                <a:cubicBezTo>
                  <a:pt x="4394131" y="2617258"/>
                  <a:pt x="4389341" y="2612466"/>
                  <a:pt x="4389341" y="2606520"/>
                </a:cubicBezTo>
                <a:cubicBezTo>
                  <a:pt x="4389341" y="2600573"/>
                  <a:pt x="4394131" y="2595783"/>
                  <a:pt x="4400077" y="2595783"/>
                </a:cubicBezTo>
                <a:close/>
                <a:moveTo>
                  <a:pt x="4318479" y="2595783"/>
                </a:moveTo>
                <a:cubicBezTo>
                  <a:pt x="4324425" y="2595783"/>
                  <a:pt x="4329217" y="2600573"/>
                  <a:pt x="4329217" y="2606520"/>
                </a:cubicBezTo>
                <a:cubicBezTo>
                  <a:pt x="4329217" y="2612466"/>
                  <a:pt x="4324425" y="2617258"/>
                  <a:pt x="4318479" y="2617258"/>
                </a:cubicBezTo>
                <a:cubicBezTo>
                  <a:pt x="4312532" y="2617258"/>
                  <a:pt x="4307742" y="2612466"/>
                  <a:pt x="4307742" y="2606520"/>
                </a:cubicBezTo>
                <a:cubicBezTo>
                  <a:pt x="4307742" y="2600573"/>
                  <a:pt x="4312532" y="2595783"/>
                  <a:pt x="4318479" y="2595783"/>
                </a:cubicBezTo>
                <a:close/>
                <a:moveTo>
                  <a:pt x="4479696" y="2595619"/>
                </a:moveTo>
                <a:cubicBezTo>
                  <a:pt x="4485642" y="2595619"/>
                  <a:pt x="4490432" y="2600408"/>
                  <a:pt x="4490432" y="2606355"/>
                </a:cubicBezTo>
                <a:cubicBezTo>
                  <a:pt x="4490432" y="2612301"/>
                  <a:pt x="4485642" y="2617091"/>
                  <a:pt x="4479696" y="2617091"/>
                </a:cubicBezTo>
                <a:cubicBezTo>
                  <a:pt x="4473749" y="2617091"/>
                  <a:pt x="4468959" y="2612301"/>
                  <a:pt x="4468959" y="2606355"/>
                </a:cubicBezTo>
                <a:cubicBezTo>
                  <a:pt x="4468959" y="2600408"/>
                  <a:pt x="4473749" y="2595619"/>
                  <a:pt x="4479696" y="2595619"/>
                </a:cubicBezTo>
                <a:close/>
                <a:moveTo>
                  <a:pt x="4445999" y="2589342"/>
                </a:moveTo>
                <a:cubicBezTo>
                  <a:pt x="4451945" y="2589342"/>
                  <a:pt x="4456737" y="2594132"/>
                  <a:pt x="4456737" y="2600079"/>
                </a:cubicBezTo>
                <a:cubicBezTo>
                  <a:pt x="4456737" y="2606025"/>
                  <a:pt x="4451945" y="2610817"/>
                  <a:pt x="4445999" y="2610817"/>
                </a:cubicBezTo>
                <a:cubicBezTo>
                  <a:pt x="4440052" y="2610817"/>
                  <a:pt x="4435262" y="2606025"/>
                  <a:pt x="4435262" y="2600079"/>
                </a:cubicBezTo>
                <a:cubicBezTo>
                  <a:pt x="4435262" y="2594132"/>
                  <a:pt x="4440052" y="2589342"/>
                  <a:pt x="4445999" y="2589342"/>
                </a:cubicBezTo>
                <a:close/>
                <a:moveTo>
                  <a:pt x="4501500" y="2588515"/>
                </a:moveTo>
                <a:cubicBezTo>
                  <a:pt x="4507446" y="2588515"/>
                  <a:pt x="4512236" y="2593305"/>
                  <a:pt x="4512236" y="2599252"/>
                </a:cubicBezTo>
                <a:cubicBezTo>
                  <a:pt x="4512236" y="2605198"/>
                  <a:pt x="4507446" y="2609990"/>
                  <a:pt x="4501500" y="2609990"/>
                </a:cubicBezTo>
                <a:cubicBezTo>
                  <a:pt x="4495553" y="2609990"/>
                  <a:pt x="4490763" y="2605198"/>
                  <a:pt x="4490763" y="2599252"/>
                </a:cubicBezTo>
                <a:cubicBezTo>
                  <a:pt x="4490763" y="2593305"/>
                  <a:pt x="4495553" y="2588515"/>
                  <a:pt x="4501500" y="2588515"/>
                </a:cubicBezTo>
                <a:close/>
                <a:moveTo>
                  <a:pt x="4532058" y="2586698"/>
                </a:moveTo>
                <a:cubicBezTo>
                  <a:pt x="4538004" y="2586698"/>
                  <a:pt x="4542796" y="2591488"/>
                  <a:pt x="4542796" y="2597434"/>
                </a:cubicBezTo>
                <a:cubicBezTo>
                  <a:pt x="4542796" y="2603381"/>
                  <a:pt x="4538004" y="2608172"/>
                  <a:pt x="4532058" y="2608172"/>
                </a:cubicBezTo>
                <a:cubicBezTo>
                  <a:pt x="4526111" y="2608172"/>
                  <a:pt x="4521321" y="2603381"/>
                  <a:pt x="4521321" y="2597434"/>
                </a:cubicBezTo>
                <a:cubicBezTo>
                  <a:pt x="4521321" y="2591488"/>
                  <a:pt x="4526111" y="2586698"/>
                  <a:pt x="4532058" y="2586698"/>
                </a:cubicBezTo>
                <a:close/>
                <a:moveTo>
                  <a:pt x="3237532" y="2586698"/>
                </a:moveTo>
                <a:cubicBezTo>
                  <a:pt x="3243479" y="2586698"/>
                  <a:pt x="3248270" y="2591488"/>
                  <a:pt x="3248270" y="2597434"/>
                </a:cubicBezTo>
                <a:cubicBezTo>
                  <a:pt x="3248270" y="2603381"/>
                  <a:pt x="3243479" y="2608172"/>
                  <a:pt x="3237532" y="2608172"/>
                </a:cubicBezTo>
                <a:cubicBezTo>
                  <a:pt x="3231586" y="2608172"/>
                  <a:pt x="3226796" y="2603381"/>
                  <a:pt x="3226796" y="2597434"/>
                </a:cubicBezTo>
                <a:cubicBezTo>
                  <a:pt x="3226796" y="2591488"/>
                  <a:pt x="3231586" y="2586698"/>
                  <a:pt x="3237532" y="2586698"/>
                </a:cubicBezTo>
                <a:close/>
                <a:moveTo>
                  <a:pt x="3877444" y="2585376"/>
                </a:moveTo>
                <a:cubicBezTo>
                  <a:pt x="3883390" y="2585376"/>
                  <a:pt x="3888180" y="2590166"/>
                  <a:pt x="3888180" y="2596113"/>
                </a:cubicBezTo>
                <a:cubicBezTo>
                  <a:pt x="3888180" y="2602059"/>
                  <a:pt x="3883390" y="2606851"/>
                  <a:pt x="3877444" y="2606851"/>
                </a:cubicBezTo>
                <a:cubicBezTo>
                  <a:pt x="3871497" y="2606851"/>
                  <a:pt x="3866707" y="2602059"/>
                  <a:pt x="3866707" y="2596113"/>
                </a:cubicBezTo>
                <a:cubicBezTo>
                  <a:pt x="3866707" y="2590166"/>
                  <a:pt x="3871497" y="2585376"/>
                  <a:pt x="3877444" y="2585376"/>
                </a:cubicBezTo>
                <a:close/>
                <a:moveTo>
                  <a:pt x="4181377" y="2584055"/>
                </a:moveTo>
                <a:cubicBezTo>
                  <a:pt x="4187324" y="2584055"/>
                  <a:pt x="4192114" y="2588845"/>
                  <a:pt x="4192114" y="2594791"/>
                </a:cubicBezTo>
                <a:cubicBezTo>
                  <a:pt x="4192114" y="2600738"/>
                  <a:pt x="4187324" y="2605529"/>
                  <a:pt x="4181377" y="2605529"/>
                </a:cubicBezTo>
                <a:cubicBezTo>
                  <a:pt x="4175431" y="2605529"/>
                  <a:pt x="4170641" y="2600738"/>
                  <a:pt x="4170641" y="2594791"/>
                </a:cubicBezTo>
                <a:cubicBezTo>
                  <a:pt x="4170641" y="2588845"/>
                  <a:pt x="4175431" y="2584055"/>
                  <a:pt x="4181377" y="2584055"/>
                </a:cubicBezTo>
                <a:close/>
                <a:moveTo>
                  <a:pt x="4472261" y="2580751"/>
                </a:moveTo>
                <a:cubicBezTo>
                  <a:pt x="4478208" y="2580751"/>
                  <a:pt x="4482999" y="2585541"/>
                  <a:pt x="4482999" y="2591488"/>
                </a:cubicBezTo>
                <a:cubicBezTo>
                  <a:pt x="4482999" y="2597434"/>
                  <a:pt x="4478208" y="2602226"/>
                  <a:pt x="4472261" y="2602226"/>
                </a:cubicBezTo>
                <a:cubicBezTo>
                  <a:pt x="4466315" y="2602226"/>
                  <a:pt x="4461525" y="2597434"/>
                  <a:pt x="4461525" y="2591488"/>
                </a:cubicBezTo>
                <a:cubicBezTo>
                  <a:pt x="4461525" y="2585541"/>
                  <a:pt x="4466315" y="2580751"/>
                  <a:pt x="4472261" y="2580751"/>
                </a:cubicBezTo>
                <a:close/>
                <a:moveTo>
                  <a:pt x="252705" y="2573154"/>
                </a:moveTo>
                <a:cubicBezTo>
                  <a:pt x="258652" y="2573154"/>
                  <a:pt x="263441" y="2577944"/>
                  <a:pt x="263441" y="2583890"/>
                </a:cubicBezTo>
                <a:cubicBezTo>
                  <a:pt x="263441" y="2589837"/>
                  <a:pt x="258652" y="2594627"/>
                  <a:pt x="252705" y="2594627"/>
                </a:cubicBezTo>
                <a:cubicBezTo>
                  <a:pt x="246759" y="2594627"/>
                  <a:pt x="241969" y="2589837"/>
                  <a:pt x="241969" y="2583890"/>
                </a:cubicBezTo>
                <a:cubicBezTo>
                  <a:pt x="241969" y="2577944"/>
                  <a:pt x="246759" y="2573154"/>
                  <a:pt x="252705" y="2573154"/>
                </a:cubicBezTo>
                <a:close/>
                <a:moveTo>
                  <a:pt x="4491753" y="2572989"/>
                </a:moveTo>
                <a:cubicBezTo>
                  <a:pt x="4497700" y="2572989"/>
                  <a:pt x="4502490" y="2577779"/>
                  <a:pt x="4502490" y="2583725"/>
                </a:cubicBezTo>
                <a:cubicBezTo>
                  <a:pt x="4502490" y="2589672"/>
                  <a:pt x="4497700" y="2594464"/>
                  <a:pt x="4491753" y="2594464"/>
                </a:cubicBezTo>
                <a:cubicBezTo>
                  <a:pt x="4485807" y="2594464"/>
                  <a:pt x="4481017" y="2589672"/>
                  <a:pt x="4481017" y="2583725"/>
                </a:cubicBezTo>
                <a:cubicBezTo>
                  <a:pt x="4481017" y="2577779"/>
                  <a:pt x="4485807" y="2572989"/>
                  <a:pt x="4491753" y="2572989"/>
                </a:cubicBezTo>
                <a:close/>
                <a:moveTo>
                  <a:pt x="4548080" y="2570015"/>
                </a:moveTo>
                <a:cubicBezTo>
                  <a:pt x="4554026" y="2570015"/>
                  <a:pt x="4558818" y="2574805"/>
                  <a:pt x="4558818" y="2580751"/>
                </a:cubicBezTo>
                <a:cubicBezTo>
                  <a:pt x="4558818" y="2586698"/>
                  <a:pt x="4554026" y="2591489"/>
                  <a:pt x="4548080" y="2591489"/>
                </a:cubicBezTo>
                <a:cubicBezTo>
                  <a:pt x="4542133" y="2591489"/>
                  <a:pt x="4537343" y="2586698"/>
                  <a:pt x="4537343" y="2580751"/>
                </a:cubicBezTo>
                <a:cubicBezTo>
                  <a:pt x="4537343" y="2574805"/>
                  <a:pt x="4542133" y="2570015"/>
                  <a:pt x="4548080" y="2570015"/>
                </a:cubicBezTo>
                <a:close/>
                <a:moveTo>
                  <a:pt x="4514548" y="2568858"/>
                </a:moveTo>
                <a:cubicBezTo>
                  <a:pt x="4520494" y="2568858"/>
                  <a:pt x="4525286" y="2573648"/>
                  <a:pt x="4525286" y="2579595"/>
                </a:cubicBezTo>
                <a:cubicBezTo>
                  <a:pt x="4525286" y="2585541"/>
                  <a:pt x="4520494" y="2590333"/>
                  <a:pt x="4514548" y="2590333"/>
                </a:cubicBezTo>
                <a:cubicBezTo>
                  <a:pt x="4508601" y="2590333"/>
                  <a:pt x="4503811" y="2585541"/>
                  <a:pt x="4503811" y="2579595"/>
                </a:cubicBezTo>
                <a:cubicBezTo>
                  <a:pt x="4503811" y="2573648"/>
                  <a:pt x="4508601" y="2568858"/>
                  <a:pt x="4514548" y="2568858"/>
                </a:cubicBezTo>
                <a:close/>
                <a:moveTo>
                  <a:pt x="4424195" y="2567372"/>
                </a:moveTo>
                <a:cubicBezTo>
                  <a:pt x="4430141" y="2567372"/>
                  <a:pt x="4434933" y="2572162"/>
                  <a:pt x="4434933" y="2578108"/>
                </a:cubicBezTo>
                <a:cubicBezTo>
                  <a:pt x="4434933" y="2584055"/>
                  <a:pt x="4430141" y="2588847"/>
                  <a:pt x="4424195" y="2588847"/>
                </a:cubicBezTo>
                <a:cubicBezTo>
                  <a:pt x="4418248" y="2588847"/>
                  <a:pt x="4413458" y="2584055"/>
                  <a:pt x="4413458" y="2578108"/>
                </a:cubicBezTo>
                <a:cubicBezTo>
                  <a:pt x="4413458" y="2572162"/>
                  <a:pt x="4418248" y="2567372"/>
                  <a:pt x="4424195" y="2567372"/>
                </a:cubicBezTo>
                <a:close/>
                <a:moveTo>
                  <a:pt x="4354983" y="2566051"/>
                </a:moveTo>
                <a:cubicBezTo>
                  <a:pt x="4360930" y="2566051"/>
                  <a:pt x="4365720" y="2570840"/>
                  <a:pt x="4365720" y="2576787"/>
                </a:cubicBezTo>
                <a:cubicBezTo>
                  <a:pt x="4365720" y="2582734"/>
                  <a:pt x="4360930" y="2587525"/>
                  <a:pt x="4354983" y="2587525"/>
                </a:cubicBezTo>
                <a:cubicBezTo>
                  <a:pt x="4349037" y="2587525"/>
                  <a:pt x="4344247" y="2582734"/>
                  <a:pt x="4344247" y="2576787"/>
                </a:cubicBezTo>
                <a:cubicBezTo>
                  <a:pt x="4344247" y="2570840"/>
                  <a:pt x="4349037" y="2566051"/>
                  <a:pt x="4354983" y="2566051"/>
                </a:cubicBezTo>
                <a:close/>
                <a:moveTo>
                  <a:pt x="4462352" y="2562912"/>
                </a:moveTo>
                <a:cubicBezTo>
                  <a:pt x="4468299" y="2562912"/>
                  <a:pt x="4473088" y="2567702"/>
                  <a:pt x="4473088" y="2573648"/>
                </a:cubicBezTo>
                <a:cubicBezTo>
                  <a:pt x="4473088" y="2579595"/>
                  <a:pt x="4468299" y="2584386"/>
                  <a:pt x="4462352" y="2584386"/>
                </a:cubicBezTo>
                <a:cubicBezTo>
                  <a:pt x="4456405" y="2584386"/>
                  <a:pt x="4451616" y="2579595"/>
                  <a:pt x="4451616" y="2573648"/>
                </a:cubicBezTo>
                <a:cubicBezTo>
                  <a:pt x="4451616" y="2567702"/>
                  <a:pt x="4456405" y="2562912"/>
                  <a:pt x="4462352" y="2562912"/>
                </a:cubicBezTo>
                <a:close/>
                <a:moveTo>
                  <a:pt x="3385370" y="2557628"/>
                </a:moveTo>
                <a:cubicBezTo>
                  <a:pt x="3391316" y="2557628"/>
                  <a:pt x="3396106" y="2562418"/>
                  <a:pt x="3396106" y="2568364"/>
                </a:cubicBezTo>
                <a:cubicBezTo>
                  <a:pt x="3396106" y="2574311"/>
                  <a:pt x="3391316" y="2579102"/>
                  <a:pt x="3385370" y="2579102"/>
                </a:cubicBezTo>
                <a:cubicBezTo>
                  <a:pt x="3379423" y="2579102"/>
                  <a:pt x="3374634" y="2574311"/>
                  <a:pt x="3374634" y="2568364"/>
                </a:cubicBezTo>
                <a:cubicBezTo>
                  <a:pt x="3374634" y="2562418"/>
                  <a:pt x="3379423" y="2557628"/>
                  <a:pt x="3385370" y="2557628"/>
                </a:cubicBezTo>
                <a:close/>
                <a:moveTo>
                  <a:pt x="4484817" y="2556636"/>
                </a:moveTo>
                <a:cubicBezTo>
                  <a:pt x="4490763" y="2556636"/>
                  <a:pt x="4495553" y="2561426"/>
                  <a:pt x="4495553" y="2567372"/>
                </a:cubicBezTo>
                <a:cubicBezTo>
                  <a:pt x="4495553" y="2573319"/>
                  <a:pt x="4490763" y="2578108"/>
                  <a:pt x="4484817" y="2578108"/>
                </a:cubicBezTo>
                <a:cubicBezTo>
                  <a:pt x="4478870" y="2578108"/>
                  <a:pt x="4474080" y="2573319"/>
                  <a:pt x="4474080" y="2567372"/>
                </a:cubicBezTo>
                <a:cubicBezTo>
                  <a:pt x="4474080" y="2561426"/>
                  <a:pt x="4478870" y="2556636"/>
                  <a:pt x="4484817" y="2556636"/>
                </a:cubicBezTo>
                <a:close/>
                <a:moveTo>
                  <a:pt x="3965816" y="2554654"/>
                </a:moveTo>
                <a:cubicBezTo>
                  <a:pt x="3971763" y="2554654"/>
                  <a:pt x="3976554" y="2559443"/>
                  <a:pt x="3976554" y="2565390"/>
                </a:cubicBezTo>
                <a:cubicBezTo>
                  <a:pt x="3976554" y="2571336"/>
                  <a:pt x="3971763" y="2576128"/>
                  <a:pt x="3965816" y="2576128"/>
                </a:cubicBezTo>
                <a:cubicBezTo>
                  <a:pt x="3959870" y="2576128"/>
                  <a:pt x="3955080" y="2571336"/>
                  <a:pt x="3955080" y="2565390"/>
                </a:cubicBezTo>
                <a:cubicBezTo>
                  <a:pt x="3955080" y="2559443"/>
                  <a:pt x="3959870" y="2554654"/>
                  <a:pt x="3965816" y="2554654"/>
                </a:cubicBezTo>
                <a:close/>
                <a:moveTo>
                  <a:pt x="4564763" y="2554324"/>
                </a:moveTo>
                <a:cubicBezTo>
                  <a:pt x="4570709" y="2554324"/>
                  <a:pt x="4575501" y="2559114"/>
                  <a:pt x="4575501" y="2565060"/>
                </a:cubicBezTo>
                <a:cubicBezTo>
                  <a:pt x="4575501" y="2571007"/>
                  <a:pt x="4570709" y="2575797"/>
                  <a:pt x="4564763" y="2575797"/>
                </a:cubicBezTo>
                <a:cubicBezTo>
                  <a:pt x="4558816" y="2575797"/>
                  <a:pt x="4554026" y="2571007"/>
                  <a:pt x="4554026" y="2565060"/>
                </a:cubicBezTo>
                <a:cubicBezTo>
                  <a:pt x="4554026" y="2559114"/>
                  <a:pt x="4558816" y="2554324"/>
                  <a:pt x="4564763" y="2554324"/>
                </a:cubicBezTo>
                <a:close/>
                <a:moveTo>
                  <a:pt x="4236218" y="2553828"/>
                </a:moveTo>
                <a:cubicBezTo>
                  <a:pt x="4242164" y="2553828"/>
                  <a:pt x="4246954" y="2558618"/>
                  <a:pt x="4246954" y="2564564"/>
                </a:cubicBezTo>
                <a:cubicBezTo>
                  <a:pt x="4246954" y="2570511"/>
                  <a:pt x="4242164" y="2575301"/>
                  <a:pt x="4236218" y="2575301"/>
                </a:cubicBezTo>
                <a:cubicBezTo>
                  <a:pt x="4230271" y="2575301"/>
                  <a:pt x="4225481" y="2570511"/>
                  <a:pt x="4225481" y="2564564"/>
                </a:cubicBezTo>
                <a:cubicBezTo>
                  <a:pt x="4225481" y="2558618"/>
                  <a:pt x="4230271" y="2553828"/>
                  <a:pt x="4236218" y="2553828"/>
                </a:cubicBezTo>
                <a:close/>
                <a:moveTo>
                  <a:pt x="4503646" y="2551681"/>
                </a:moveTo>
                <a:cubicBezTo>
                  <a:pt x="4509593" y="2551681"/>
                  <a:pt x="4514383" y="2556471"/>
                  <a:pt x="4514383" y="2562418"/>
                </a:cubicBezTo>
                <a:cubicBezTo>
                  <a:pt x="4514383" y="2568364"/>
                  <a:pt x="4509593" y="2573156"/>
                  <a:pt x="4503646" y="2573156"/>
                </a:cubicBezTo>
                <a:cubicBezTo>
                  <a:pt x="4497700" y="2573156"/>
                  <a:pt x="4492910" y="2568364"/>
                  <a:pt x="4492910" y="2562418"/>
                </a:cubicBezTo>
                <a:cubicBezTo>
                  <a:pt x="4492910" y="2556471"/>
                  <a:pt x="4497700" y="2551681"/>
                  <a:pt x="4503646" y="2551681"/>
                </a:cubicBezTo>
                <a:close/>
                <a:moveTo>
                  <a:pt x="4527929" y="2550360"/>
                </a:moveTo>
                <a:cubicBezTo>
                  <a:pt x="4533875" y="2550360"/>
                  <a:pt x="4538667" y="2555150"/>
                  <a:pt x="4538667" y="2561096"/>
                </a:cubicBezTo>
                <a:cubicBezTo>
                  <a:pt x="4538667" y="2567043"/>
                  <a:pt x="4533875" y="2571834"/>
                  <a:pt x="4527929" y="2571834"/>
                </a:cubicBezTo>
                <a:cubicBezTo>
                  <a:pt x="4521982" y="2571834"/>
                  <a:pt x="4517192" y="2567043"/>
                  <a:pt x="4517192" y="2561096"/>
                </a:cubicBezTo>
                <a:cubicBezTo>
                  <a:pt x="4517192" y="2555150"/>
                  <a:pt x="4521982" y="2550360"/>
                  <a:pt x="4527929" y="2550360"/>
                </a:cubicBezTo>
                <a:close/>
                <a:moveTo>
                  <a:pt x="4582273" y="2546560"/>
                </a:moveTo>
                <a:cubicBezTo>
                  <a:pt x="4584281" y="2546560"/>
                  <a:pt x="4585908" y="2548187"/>
                  <a:pt x="4585908" y="2550195"/>
                </a:cubicBezTo>
                <a:cubicBezTo>
                  <a:pt x="4585908" y="2552201"/>
                  <a:pt x="4584281" y="2553828"/>
                  <a:pt x="4582273" y="2553828"/>
                </a:cubicBezTo>
                <a:cubicBezTo>
                  <a:pt x="4580266" y="2553828"/>
                  <a:pt x="4578640" y="2552201"/>
                  <a:pt x="4578640" y="2550195"/>
                </a:cubicBezTo>
                <a:cubicBezTo>
                  <a:pt x="4578640" y="2548187"/>
                  <a:pt x="4580266" y="2546560"/>
                  <a:pt x="4582273" y="2546560"/>
                </a:cubicBezTo>
                <a:close/>
                <a:moveTo>
                  <a:pt x="110649" y="2544082"/>
                </a:moveTo>
                <a:cubicBezTo>
                  <a:pt x="116596" y="2544082"/>
                  <a:pt x="121386" y="2548872"/>
                  <a:pt x="121386" y="2554818"/>
                </a:cubicBezTo>
                <a:cubicBezTo>
                  <a:pt x="121386" y="2560765"/>
                  <a:pt x="116596" y="2565556"/>
                  <a:pt x="110649" y="2565556"/>
                </a:cubicBezTo>
                <a:cubicBezTo>
                  <a:pt x="104703" y="2565556"/>
                  <a:pt x="99913" y="2560765"/>
                  <a:pt x="99913" y="2554818"/>
                </a:cubicBezTo>
                <a:cubicBezTo>
                  <a:pt x="99913" y="2548872"/>
                  <a:pt x="104703" y="2544082"/>
                  <a:pt x="110649" y="2544082"/>
                </a:cubicBezTo>
                <a:close/>
                <a:moveTo>
                  <a:pt x="4445173" y="2540118"/>
                </a:moveTo>
                <a:cubicBezTo>
                  <a:pt x="4451120" y="2540118"/>
                  <a:pt x="4455910" y="2544907"/>
                  <a:pt x="4455910" y="2550854"/>
                </a:cubicBezTo>
                <a:cubicBezTo>
                  <a:pt x="4455910" y="2556800"/>
                  <a:pt x="4451120" y="2561590"/>
                  <a:pt x="4445173" y="2561590"/>
                </a:cubicBezTo>
                <a:cubicBezTo>
                  <a:pt x="4439227" y="2561590"/>
                  <a:pt x="4434437" y="2556800"/>
                  <a:pt x="4434437" y="2550854"/>
                </a:cubicBezTo>
                <a:cubicBezTo>
                  <a:pt x="4434437" y="2544907"/>
                  <a:pt x="4439227" y="2540118"/>
                  <a:pt x="4445173" y="2540118"/>
                </a:cubicBezTo>
                <a:close/>
                <a:moveTo>
                  <a:pt x="4476886" y="2537639"/>
                </a:moveTo>
                <a:cubicBezTo>
                  <a:pt x="4482833" y="2537639"/>
                  <a:pt x="4487624" y="2542429"/>
                  <a:pt x="4487624" y="2548376"/>
                </a:cubicBezTo>
                <a:cubicBezTo>
                  <a:pt x="4487624" y="2554322"/>
                  <a:pt x="4482833" y="2559114"/>
                  <a:pt x="4476886" y="2559114"/>
                </a:cubicBezTo>
                <a:cubicBezTo>
                  <a:pt x="4470940" y="2559114"/>
                  <a:pt x="4466150" y="2554322"/>
                  <a:pt x="4466150" y="2548376"/>
                </a:cubicBezTo>
                <a:cubicBezTo>
                  <a:pt x="4466150" y="2542429"/>
                  <a:pt x="4470940" y="2537639"/>
                  <a:pt x="4476886" y="2537639"/>
                </a:cubicBezTo>
                <a:close/>
                <a:moveTo>
                  <a:pt x="4387029" y="2537310"/>
                </a:moveTo>
                <a:cubicBezTo>
                  <a:pt x="4392960" y="2537310"/>
                  <a:pt x="4397767" y="2542117"/>
                  <a:pt x="4397767" y="2548046"/>
                </a:cubicBezTo>
                <a:cubicBezTo>
                  <a:pt x="4397767" y="2553977"/>
                  <a:pt x="4392960" y="2558783"/>
                  <a:pt x="4387029" y="2558783"/>
                </a:cubicBezTo>
                <a:cubicBezTo>
                  <a:pt x="4381100" y="2558783"/>
                  <a:pt x="4376293" y="2553977"/>
                  <a:pt x="4376293" y="2548046"/>
                </a:cubicBezTo>
                <a:cubicBezTo>
                  <a:pt x="4376293" y="2542117"/>
                  <a:pt x="4381100" y="2537310"/>
                  <a:pt x="4387029" y="2537310"/>
                </a:cubicBezTo>
                <a:close/>
                <a:moveTo>
                  <a:pt x="1724140" y="2533842"/>
                </a:moveTo>
                <a:cubicBezTo>
                  <a:pt x="1730087" y="2533842"/>
                  <a:pt x="1734878" y="2538631"/>
                  <a:pt x="1734878" y="2544578"/>
                </a:cubicBezTo>
                <a:cubicBezTo>
                  <a:pt x="1734878" y="2550524"/>
                  <a:pt x="1730087" y="2555316"/>
                  <a:pt x="1724140" y="2555316"/>
                </a:cubicBezTo>
                <a:cubicBezTo>
                  <a:pt x="1718194" y="2555316"/>
                  <a:pt x="1713404" y="2550524"/>
                  <a:pt x="1713404" y="2544578"/>
                </a:cubicBezTo>
                <a:cubicBezTo>
                  <a:pt x="1713404" y="2538631"/>
                  <a:pt x="1718194" y="2533842"/>
                  <a:pt x="1724140" y="2533842"/>
                </a:cubicBezTo>
                <a:close/>
                <a:moveTo>
                  <a:pt x="4541804" y="2532850"/>
                </a:moveTo>
                <a:cubicBezTo>
                  <a:pt x="4547750" y="2532850"/>
                  <a:pt x="4552540" y="2537639"/>
                  <a:pt x="4552540" y="2543586"/>
                </a:cubicBezTo>
                <a:cubicBezTo>
                  <a:pt x="4552540" y="2549532"/>
                  <a:pt x="4547750" y="2554324"/>
                  <a:pt x="4541804" y="2554324"/>
                </a:cubicBezTo>
                <a:cubicBezTo>
                  <a:pt x="4535857" y="2554324"/>
                  <a:pt x="4531067" y="2549532"/>
                  <a:pt x="4531067" y="2543586"/>
                </a:cubicBezTo>
                <a:cubicBezTo>
                  <a:pt x="4531067" y="2537639"/>
                  <a:pt x="4535857" y="2532850"/>
                  <a:pt x="4541804" y="2532850"/>
                </a:cubicBezTo>
                <a:close/>
                <a:moveTo>
                  <a:pt x="4515375" y="2531363"/>
                </a:moveTo>
                <a:cubicBezTo>
                  <a:pt x="4521321" y="2531363"/>
                  <a:pt x="4526111" y="2536153"/>
                  <a:pt x="4526111" y="2542100"/>
                </a:cubicBezTo>
                <a:cubicBezTo>
                  <a:pt x="4526111" y="2548046"/>
                  <a:pt x="4521321" y="2552836"/>
                  <a:pt x="4515375" y="2552836"/>
                </a:cubicBezTo>
                <a:lnTo>
                  <a:pt x="4507117" y="2544578"/>
                </a:lnTo>
                <a:lnTo>
                  <a:pt x="4496543" y="2555148"/>
                </a:lnTo>
                <a:cubicBezTo>
                  <a:pt x="4490597" y="2555148"/>
                  <a:pt x="4485807" y="2550358"/>
                  <a:pt x="4485807" y="2544411"/>
                </a:cubicBezTo>
                <a:cubicBezTo>
                  <a:pt x="4485807" y="2538465"/>
                  <a:pt x="4490597" y="2533675"/>
                  <a:pt x="4496543" y="2533675"/>
                </a:cubicBezTo>
                <a:lnTo>
                  <a:pt x="4504803" y="2541935"/>
                </a:lnTo>
                <a:close/>
                <a:moveTo>
                  <a:pt x="1965470" y="2531363"/>
                </a:moveTo>
                <a:cubicBezTo>
                  <a:pt x="1971416" y="2531363"/>
                  <a:pt x="1976208" y="2536153"/>
                  <a:pt x="1976208" y="2542100"/>
                </a:cubicBezTo>
                <a:cubicBezTo>
                  <a:pt x="1976208" y="2548046"/>
                  <a:pt x="1971416" y="2552836"/>
                  <a:pt x="1965470" y="2552836"/>
                </a:cubicBezTo>
                <a:cubicBezTo>
                  <a:pt x="1959523" y="2552836"/>
                  <a:pt x="1954733" y="2548046"/>
                  <a:pt x="1954733" y="2542100"/>
                </a:cubicBezTo>
                <a:cubicBezTo>
                  <a:pt x="1954733" y="2536153"/>
                  <a:pt x="1959523" y="2531363"/>
                  <a:pt x="1965470" y="2531363"/>
                </a:cubicBezTo>
                <a:close/>
                <a:moveTo>
                  <a:pt x="3520819" y="2528721"/>
                </a:moveTo>
                <a:cubicBezTo>
                  <a:pt x="3526765" y="2528721"/>
                  <a:pt x="3531555" y="2533510"/>
                  <a:pt x="3531555" y="2539457"/>
                </a:cubicBezTo>
                <a:cubicBezTo>
                  <a:pt x="3531555" y="2545403"/>
                  <a:pt x="3526765" y="2550195"/>
                  <a:pt x="3520819" y="2550195"/>
                </a:cubicBezTo>
                <a:cubicBezTo>
                  <a:pt x="3514872" y="2550195"/>
                  <a:pt x="3510082" y="2545403"/>
                  <a:pt x="3510082" y="2539457"/>
                </a:cubicBezTo>
                <a:cubicBezTo>
                  <a:pt x="3510082" y="2533510"/>
                  <a:pt x="3514872" y="2528721"/>
                  <a:pt x="3520819" y="2528721"/>
                </a:cubicBezTo>
                <a:close/>
                <a:moveTo>
                  <a:pt x="1484297" y="2527399"/>
                </a:moveTo>
                <a:cubicBezTo>
                  <a:pt x="1490243" y="2527399"/>
                  <a:pt x="1495033" y="2532189"/>
                  <a:pt x="1495033" y="2538135"/>
                </a:cubicBezTo>
                <a:cubicBezTo>
                  <a:pt x="1495033" y="2544082"/>
                  <a:pt x="1490243" y="2548874"/>
                  <a:pt x="1484297" y="2548874"/>
                </a:cubicBezTo>
                <a:cubicBezTo>
                  <a:pt x="1478350" y="2548874"/>
                  <a:pt x="1473561" y="2544082"/>
                  <a:pt x="1473561" y="2538135"/>
                </a:cubicBezTo>
                <a:cubicBezTo>
                  <a:pt x="1473561" y="2532189"/>
                  <a:pt x="1478350" y="2527399"/>
                  <a:pt x="1484297" y="2527399"/>
                </a:cubicBezTo>
                <a:close/>
                <a:moveTo>
                  <a:pt x="4045433" y="2524921"/>
                </a:moveTo>
                <a:cubicBezTo>
                  <a:pt x="4051379" y="2524921"/>
                  <a:pt x="4056171" y="2529711"/>
                  <a:pt x="4056171" y="2535657"/>
                </a:cubicBezTo>
                <a:cubicBezTo>
                  <a:pt x="4056171" y="2541604"/>
                  <a:pt x="4051379" y="2546394"/>
                  <a:pt x="4045433" y="2546394"/>
                </a:cubicBezTo>
                <a:cubicBezTo>
                  <a:pt x="4039486" y="2546394"/>
                  <a:pt x="4034696" y="2541604"/>
                  <a:pt x="4034696" y="2535657"/>
                </a:cubicBezTo>
                <a:cubicBezTo>
                  <a:pt x="4034696" y="2529711"/>
                  <a:pt x="4039486" y="2524921"/>
                  <a:pt x="4045433" y="2524921"/>
                </a:cubicBezTo>
                <a:close/>
                <a:moveTo>
                  <a:pt x="4284782" y="2524591"/>
                </a:moveTo>
                <a:cubicBezTo>
                  <a:pt x="4290728" y="2524591"/>
                  <a:pt x="4295518" y="2529381"/>
                  <a:pt x="4295518" y="2535328"/>
                </a:cubicBezTo>
                <a:cubicBezTo>
                  <a:pt x="4295518" y="2541274"/>
                  <a:pt x="4290728" y="2546066"/>
                  <a:pt x="4284782" y="2546066"/>
                </a:cubicBezTo>
                <a:cubicBezTo>
                  <a:pt x="4278835" y="2546066"/>
                  <a:pt x="4274045" y="2541274"/>
                  <a:pt x="4274045" y="2535328"/>
                </a:cubicBezTo>
                <a:cubicBezTo>
                  <a:pt x="4274045" y="2529381"/>
                  <a:pt x="4278835" y="2524591"/>
                  <a:pt x="4284782" y="2524591"/>
                </a:cubicBezTo>
                <a:close/>
                <a:moveTo>
                  <a:pt x="2201348" y="2520792"/>
                </a:moveTo>
                <a:cubicBezTo>
                  <a:pt x="2207295" y="2520792"/>
                  <a:pt x="2212087" y="2525582"/>
                  <a:pt x="2212087" y="2531528"/>
                </a:cubicBezTo>
                <a:cubicBezTo>
                  <a:pt x="2212087" y="2537475"/>
                  <a:pt x="2207295" y="2542265"/>
                  <a:pt x="2201348" y="2542265"/>
                </a:cubicBezTo>
                <a:cubicBezTo>
                  <a:pt x="2195402" y="2542265"/>
                  <a:pt x="2190612" y="2537475"/>
                  <a:pt x="2190612" y="2531528"/>
                </a:cubicBezTo>
                <a:cubicBezTo>
                  <a:pt x="2190612" y="2525582"/>
                  <a:pt x="2195402" y="2520792"/>
                  <a:pt x="2201348" y="2520792"/>
                </a:cubicBezTo>
                <a:close/>
                <a:moveTo>
                  <a:pt x="4556340" y="2516331"/>
                </a:moveTo>
                <a:cubicBezTo>
                  <a:pt x="4562286" y="2516331"/>
                  <a:pt x="4567078" y="2521121"/>
                  <a:pt x="4567078" y="2527068"/>
                </a:cubicBezTo>
                <a:cubicBezTo>
                  <a:pt x="4567078" y="2533014"/>
                  <a:pt x="4562286" y="2537806"/>
                  <a:pt x="4556340" y="2537806"/>
                </a:cubicBezTo>
                <a:cubicBezTo>
                  <a:pt x="4550393" y="2537806"/>
                  <a:pt x="4545603" y="2533014"/>
                  <a:pt x="4545603" y="2527068"/>
                </a:cubicBezTo>
                <a:cubicBezTo>
                  <a:pt x="4545603" y="2521121"/>
                  <a:pt x="4550393" y="2516331"/>
                  <a:pt x="4556340" y="2516331"/>
                </a:cubicBezTo>
                <a:close/>
                <a:moveTo>
                  <a:pt x="4463673" y="2514020"/>
                </a:moveTo>
                <a:cubicBezTo>
                  <a:pt x="4469620" y="2514020"/>
                  <a:pt x="4474410" y="2518810"/>
                  <a:pt x="4474410" y="2524756"/>
                </a:cubicBezTo>
                <a:cubicBezTo>
                  <a:pt x="4474410" y="2530703"/>
                  <a:pt x="4469620" y="2535494"/>
                  <a:pt x="4463673" y="2535494"/>
                </a:cubicBezTo>
                <a:cubicBezTo>
                  <a:pt x="4457727" y="2535494"/>
                  <a:pt x="4452937" y="2530703"/>
                  <a:pt x="4452937" y="2524756"/>
                </a:cubicBezTo>
                <a:cubicBezTo>
                  <a:pt x="4452937" y="2518810"/>
                  <a:pt x="4457727" y="2514020"/>
                  <a:pt x="4463673" y="2514020"/>
                </a:cubicBezTo>
                <a:close/>
                <a:moveTo>
                  <a:pt x="1252878" y="2513689"/>
                </a:moveTo>
                <a:cubicBezTo>
                  <a:pt x="1258825" y="2513689"/>
                  <a:pt x="1263616" y="2518478"/>
                  <a:pt x="1263616" y="2524425"/>
                </a:cubicBezTo>
                <a:cubicBezTo>
                  <a:pt x="1263616" y="2530371"/>
                  <a:pt x="1258825" y="2535163"/>
                  <a:pt x="1252878" y="2535163"/>
                </a:cubicBezTo>
                <a:cubicBezTo>
                  <a:pt x="1246932" y="2535163"/>
                  <a:pt x="1242142" y="2530371"/>
                  <a:pt x="1242142" y="2524425"/>
                </a:cubicBezTo>
                <a:cubicBezTo>
                  <a:pt x="1242142" y="2518478"/>
                  <a:pt x="1246932" y="2513689"/>
                  <a:pt x="1252878" y="2513689"/>
                </a:cubicBezTo>
                <a:close/>
                <a:moveTo>
                  <a:pt x="4507611" y="2512036"/>
                </a:moveTo>
                <a:lnTo>
                  <a:pt x="4517438" y="2521865"/>
                </a:lnTo>
                <a:lnTo>
                  <a:pt x="4527101" y="2512202"/>
                </a:lnTo>
                <a:cubicBezTo>
                  <a:pt x="4533048" y="2512202"/>
                  <a:pt x="4537838" y="2516992"/>
                  <a:pt x="4537838" y="2522939"/>
                </a:cubicBezTo>
                <a:cubicBezTo>
                  <a:pt x="4537838" y="2528885"/>
                  <a:pt x="4533048" y="2533677"/>
                  <a:pt x="4527101" y="2533677"/>
                </a:cubicBezTo>
                <a:lnTo>
                  <a:pt x="4517274" y="2523847"/>
                </a:lnTo>
                <a:lnTo>
                  <a:pt x="4507611" y="2533510"/>
                </a:lnTo>
                <a:lnTo>
                  <a:pt x="4499601" y="2525498"/>
                </a:lnTo>
                <a:lnTo>
                  <a:pt x="4490102" y="2534997"/>
                </a:lnTo>
                <a:cubicBezTo>
                  <a:pt x="4484156" y="2534997"/>
                  <a:pt x="4479366" y="2530207"/>
                  <a:pt x="4479366" y="2524260"/>
                </a:cubicBezTo>
                <a:cubicBezTo>
                  <a:pt x="4479366" y="2518314"/>
                  <a:pt x="4484156" y="2513524"/>
                  <a:pt x="4490102" y="2513524"/>
                </a:cubicBezTo>
                <a:lnTo>
                  <a:pt x="4498113" y="2521534"/>
                </a:lnTo>
                <a:close/>
                <a:moveTo>
                  <a:pt x="4415109" y="2509889"/>
                </a:moveTo>
                <a:cubicBezTo>
                  <a:pt x="4421056" y="2509889"/>
                  <a:pt x="4425846" y="2514679"/>
                  <a:pt x="4425846" y="2520625"/>
                </a:cubicBezTo>
                <a:cubicBezTo>
                  <a:pt x="4425846" y="2526572"/>
                  <a:pt x="4421056" y="2531363"/>
                  <a:pt x="4415109" y="2531363"/>
                </a:cubicBezTo>
                <a:cubicBezTo>
                  <a:pt x="4409163" y="2531363"/>
                  <a:pt x="4404373" y="2526572"/>
                  <a:pt x="4404373" y="2520625"/>
                </a:cubicBezTo>
                <a:cubicBezTo>
                  <a:pt x="4404373" y="2514679"/>
                  <a:pt x="4409163" y="2509889"/>
                  <a:pt x="4415109" y="2509889"/>
                </a:cubicBezTo>
                <a:close/>
                <a:moveTo>
                  <a:pt x="2426656" y="2503942"/>
                </a:moveTo>
                <a:cubicBezTo>
                  <a:pt x="2432603" y="2503942"/>
                  <a:pt x="2437394" y="2508732"/>
                  <a:pt x="2437394" y="2514679"/>
                </a:cubicBezTo>
                <a:cubicBezTo>
                  <a:pt x="2437394" y="2520625"/>
                  <a:pt x="2432603" y="2525417"/>
                  <a:pt x="2426656" y="2525417"/>
                </a:cubicBezTo>
                <a:cubicBezTo>
                  <a:pt x="2420709" y="2525417"/>
                  <a:pt x="2415919" y="2520625"/>
                  <a:pt x="2415919" y="2514679"/>
                </a:cubicBezTo>
                <a:cubicBezTo>
                  <a:pt x="2415919" y="2508732"/>
                  <a:pt x="2420709" y="2503942"/>
                  <a:pt x="2426656" y="2503942"/>
                </a:cubicBezTo>
                <a:close/>
                <a:moveTo>
                  <a:pt x="4571701" y="2500970"/>
                </a:moveTo>
                <a:cubicBezTo>
                  <a:pt x="4577648" y="2500970"/>
                  <a:pt x="4582438" y="2505760"/>
                  <a:pt x="4582438" y="2511706"/>
                </a:cubicBezTo>
                <a:cubicBezTo>
                  <a:pt x="4582438" y="2517653"/>
                  <a:pt x="4577648" y="2522444"/>
                  <a:pt x="4571701" y="2522444"/>
                </a:cubicBezTo>
                <a:cubicBezTo>
                  <a:pt x="4565755" y="2522444"/>
                  <a:pt x="4560965" y="2517653"/>
                  <a:pt x="4560965" y="2511706"/>
                </a:cubicBezTo>
                <a:cubicBezTo>
                  <a:pt x="4560965" y="2505760"/>
                  <a:pt x="4565755" y="2500970"/>
                  <a:pt x="4571701" y="2500970"/>
                </a:cubicBezTo>
                <a:close/>
                <a:moveTo>
                  <a:pt x="3644372" y="2500145"/>
                </a:moveTo>
                <a:cubicBezTo>
                  <a:pt x="3650319" y="2500145"/>
                  <a:pt x="3655111" y="2504934"/>
                  <a:pt x="3655111" y="2510881"/>
                </a:cubicBezTo>
                <a:cubicBezTo>
                  <a:pt x="3655111" y="2516827"/>
                  <a:pt x="3650319" y="2521617"/>
                  <a:pt x="3644372" y="2521617"/>
                </a:cubicBezTo>
                <a:cubicBezTo>
                  <a:pt x="3638426" y="2521617"/>
                  <a:pt x="3633636" y="2516827"/>
                  <a:pt x="3633636" y="2510881"/>
                </a:cubicBezTo>
                <a:cubicBezTo>
                  <a:pt x="3633636" y="2504934"/>
                  <a:pt x="3638426" y="2500145"/>
                  <a:pt x="3644372" y="2500145"/>
                </a:cubicBezTo>
                <a:close/>
                <a:moveTo>
                  <a:pt x="4327729" y="2496345"/>
                </a:moveTo>
                <a:cubicBezTo>
                  <a:pt x="4333675" y="2496345"/>
                  <a:pt x="4338467" y="2501135"/>
                  <a:pt x="4338467" y="2507081"/>
                </a:cubicBezTo>
                <a:cubicBezTo>
                  <a:pt x="4338467" y="2513028"/>
                  <a:pt x="4333675" y="2517819"/>
                  <a:pt x="4327729" y="2517819"/>
                </a:cubicBezTo>
                <a:cubicBezTo>
                  <a:pt x="4321782" y="2517819"/>
                  <a:pt x="4316992" y="2513028"/>
                  <a:pt x="4316992" y="2507081"/>
                </a:cubicBezTo>
                <a:cubicBezTo>
                  <a:pt x="4316992" y="2501135"/>
                  <a:pt x="4321782" y="2496345"/>
                  <a:pt x="4327729" y="2496345"/>
                </a:cubicBezTo>
                <a:close/>
                <a:moveTo>
                  <a:pt x="4117122" y="2496014"/>
                </a:moveTo>
                <a:cubicBezTo>
                  <a:pt x="4123069" y="2496014"/>
                  <a:pt x="4127860" y="2500804"/>
                  <a:pt x="4127860" y="2506750"/>
                </a:cubicBezTo>
                <a:cubicBezTo>
                  <a:pt x="4127860" y="2512697"/>
                  <a:pt x="4123069" y="2517486"/>
                  <a:pt x="4117122" y="2517486"/>
                </a:cubicBezTo>
                <a:cubicBezTo>
                  <a:pt x="4111176" y="2517486"/>
                  <a:pt x="4106386" y="2512697"/>
                  <a:pt x="4106386" y="2506750"/>
                </a:cubicBezTo>
                <a:cubicBezTo>
                  <a:pt x="4106386" y="2500804"/>
                  <a:pt x="4111176" y="2496014"/>
                  <a:pt x="4117122" y="2496014"/>
                </a:cubicBezTo>
                <a:close/>
                <a:moveTo>
                  <a:pt x="1033849" y="2494692"/>
                </a:moveTo>
                <a:cubicBezTo>
                  <a:pt x="1039795" y="2494692"/>
                  <a:pt x="1044587" y="2499482"/>
                  <a:pt x="1044587" y="2505429"/>
                </a:cubicBezTo>
                <a:cubicBezTo>
                  <a:pt x="1044587" y="2511375"/>
                  <a:pt x="1039795" y="2516165"/>
                  <a:pt x="1033849" y="2516165"/>
                </a:cubicBezTo>
                <a:cubicBezTo>
                  <a:pt x="1027902" y="2516165"/>
                  <a:pt x="1023112" y="2511375"/>
                  <a:pt x="1023112" y="2505429"/>
                </a:cubicBezTo>
                <a:cubicBezTo>
                  <a:pt x="1023112" y="2499482"/>
                  <a:pt x="1027902" y="2494692"/>
                  <a:pt x="1033849" y="2494692"/>
                </a:cubicBezTo>
                <a:close/>
                <a:moveTo>
                  <a:pt x="4539326" y="2494198"/>
                </a:moveTo>
                <a:cubicBezTo>
                  <a:pt x="4545272" y="2494198"/>
                  <a:pt x="4550064" y="2498988"/>
                  <a:pt x="4550064" y="2504934"/>
                </a:cubicBezTo>
                <a:cubicBezTo>
                  <a:pt x="4550064" y="2510881"/>
                  <a:pt x="4545272" y="2515671"/>
                  <a:pt x="4539326" y="2515671"/>
                </a:cubicBezTo>
                <a:cubicBezTo>
                  <a:pt x="4533379" y="2515671"/>
                  <a:pt x="4528589" y="2510881"/>
                  <a:pt x="4528589" y="2504934"/>
                </a:cubicBezTo>
                <a:cubicBezTo>
                  <a:pt x="4528589" y="2498988"/>
                  <a:pt x="4533379" y="2494198"/>
                  <a:pt x="4539326" y="2494198"/>
                </a:cubicBezTo>
                <a:close/>
                <a:moveTo>
                  <a:pt x="4501829" y="2490563"/>
                </a:moveTo>
                <a:lnTo>
                  <a:pt x="4510585" y="2499319"/>
                </a:lnTo>
                <a:lnTo>
                  <a:pt x="4518514" y="2491389"/>
                </a:lnTo>
                <a:cubicBezTo>
                  <a:pt x="4524460" y="2491389"/>
                  <a:pt x="4529250" y="2496179"/>
                  <a:pt x="4529250" y="2502125"/>
                </a:cubicBezTo>
                <a:cubicBezTo>
                  <a:pt x="4529250" y="2508072"/>
                  <a:pt x="4524460" y="2512863"/>
                  <a:pt x="4518514" y="2512863"/>
                </a:cubicBezTo>
                <a:lnTo>
                  <a:pt x="4509758" y="2504107"/>
                </a:lnTo>
                <a:lnTo>
                  <a:pt x="4501829" y="2512036"/>
                </a:lnTo>
                <a:cubicBezTo>
                  <a:pt x="4495883" y="2512036"/>
                  <a:pt x="4491093" y="2507246"/>
                  <a:pt x="4491093" y="2501300"/>
                </a:cubicBezTo>
                <a:cubicBezTo>
                  <a:pt x="4491093" y="2495353"/>
                  <a:pt x="4495883" y="2490563"/>
                  <a:pt x="4501829" y="2490563"/>
                </a:cubicBezTo>
                <a:close/>
                <a:moveTo>
                  <a:pt x="4479860" y="2489077"/>
                </a:moveTo>
                <a:cubicBezTo>
                  <a:pt x="4485807" y="2489077"/>
                  <a:pt x="4490597" y="2493867"/>
                  <a:pt x="4490597" y="2499813"/>
                </a:cubicBezTo>
                <a:cubicBezTo>
                  <a:pt x="4490597" y="2505760"/>
                  <a:pt x="4485807" y="2510551"/>
                  <a:pt x="4479860" y="2510551"/>
                </a:cubicBezTo>
                <a:cubicBezTo>
                  <a:pt x="4473914" y="2510551"/>
                  <a:pt x="4469124" y="2505760"/>
                  <a:pt x="4469124" y="2499813"/>
                </a:cubicBezTo>
                <a:cubicBezTo>
                  <a:pt x="4469124" y="2493867"/>
                  <a:pt x="4473914" y="2489077"/>
                  <a:pt x="4479860" y="2489077"/>
                </a:cubicBezTo>
                <a:close/>
                <a:moveTo>
                  <a:pt x="4587723" y="2486268"/>
                </a:moveTo>
                <a:cubicBezTo>
                  <a:pt x="4593670" y="2486268"/>
                  <a:pt x="4598460" y="2491057"/>
                  <a:pt x="4598460" y="2497004"/>
                </a:cubicBezTo>
                <a:cubicBezTo>
                  <a:pt x="4598460" y="2502951"/>
                  <a:pt x="4593670" y="2507742"/>
                  <a:pt x="4587723" y="2507742"/>
                </a:cubicBezTo>
                <a:cubicBezTo>
                  <a:pt x="4581777" y="2507742"/>
                  <a:pt x="4576987" y="2502951"/>
                  <a:pt x="4576987" y="2497004"/>
                </a:cubicBezTo>
                <a:cubicBezTo>
                  <a:pt x="4576987" y="2491057"/>
                  <a:pt x="4581777" y="2486268"/>
                  <a:pt x="4587723" y="2486268"/>
                </a:cubicBezTo>
                <a:close/>
                <a:moveTo>
                  <a:pt x="4439721" y="2483460"/>
                </a:moveTo>
                <a:cubicBezTo>
                  <a:pt x="4445667" y="2483460"/>
                  <a:pt x="4450459" y="2488250"/>
                  <a:pt x="4450459" y="2494196"/>
                </a:cubicBezTo>
                <a:cubicBezTo>
                  <a:pt x="4450459" y="2500143"/>
                  <a:pt x="4445667" y="2504934"/>
                  <a:pt x="4439721" y="2504934"/>
                </a:cubicBezTo>
                <a:cubicBezTo>
                  <a:pt x="4433774" y="2504934"/>
                  <a:pt x="4428985" y="2500143"/>
                  <a:pt x="4428985" y="2494196"/>
                </a:cubicBezTo>
                <a:cubicBezTo>
                  <a:pt x="4428985" y="2488250"/>
                  <a:pt x="4433774" y="2483460"/>
                  <a:pt x="4439721" y="2483460"/>
                </a:cubicBezTo>
                <a:close/>
                <a:moveTo>
                  <a:pt x="2638254" y="2483295"/>
                </a:moveTo>
                <a:cubicBezTo>
                  <a:pt x="2644201" y="2483295"/>
                  <a:pt x="2648991" y="2488085"/>
                  <a:pt x="2648991" y="2494032"/>
                </a:cubicBezTo>
                <a:cubicBezTo>
                  <a:pt x="2648991" y="2499978"/>
                  <a:pt x="2644201" y="2504770"/>
                  <a:pt x="2638254" y="2504770"/>
                </a:cubicBezTo>
                <a:cubicBezTo>
                  <a:pt x="2632308" y="2504770"/>
                  <a:pt x="2627518" y="2499978"/>
                  <a:pt x="2627518" y="2494032"/>
                </a:cubicBezTo>
                <a:cubicBezTo>
                  <a:pt x="2627518" y="2488085"/>
                  <a:pt x="2632308" y="2483295"/>
                  <a:pt x="2638254" y="2483295"/>
                </a:cubicBezTo>
                <a:close/>
                <a:moveTo>
                  <a:pt x="4604904" y="2481974"/>
                </a:moveTo>
                <a:cubicBezTo>
                  <a:pt x="4605729" y="2481974"/>
                  <a:pt x="4606555" y="2482799"/>
                  <a:pt x="4606555" y="2483626"/>
                </a:cubicBezTo>
                <a:cubicBezTo>
                  <a:pt x="4606555" y="2484452"/>
                  <a:pt x="4605894" y="2485277"/>
                  <a:pt x="4604904" y="2485277"/>
                </a:cubicBezTo>
                <a:cubicBezTo>
                  <a:pt x="4604077" y="2485277"/>
                  <a:pt x="4603251" y="2484452"/>
                  <a:pt x="4603251" y="2483626"/>
                </a:cubicBezTo>
                <a:cubicBezTo>
                  <a:pt x="4603251" y="2482799"/>
                  <a:pt x="4604077" y="2481974"/>
                  <a:pt x="4604904" y="2481974"/>
                </a:cubicBezTo>
                <a:close/>
                <a:moveTo>
                  <a:pt x="4551879" y="2477184"/>
                </a:moveTo>
                <a:cubicBezTo>
                  <a:pt x="4557826" y="2477184"/>
                  <a:pt x="4562616" y="2481974"/>
                  <a:pt x="4562616" y="2487920"/>
                </a:cubicBezTo>
                <a:cubicBezTo>
                  <a:pt x="4562616" y="2493867"/>
                  <a:pt x="4557826" y="2498658"/>
                  <a:pt x="4551879" y="2498658"/>
                </a:cubicBezTo>
                <a:cubicBezTo>
                  <a:pt x="4545933" y="2498658"/>
                  <a:pt x="4541143" y="2493867"/>
                  <a:pt x="4541143" y="2487920"/>
                </a:cubicBezTo>
                <a:cubicBezTo>
                  <a:pt x="4541143" y="2481974"/>
                  <a:pt x="4545933" y="2477184"/>
                  <a:pt x="4551879" y="2477184"/>
                </a:cubicBezTo>
                <a:close/>
                <a:moveTo>
                  <a:pt x="828857" y="2472724"/>
                </a:moveTo>
                <a:cubicBezTo>
                  <a:pt x="834804" y="2472724"/>
                  <a:pt x="839596" y="2477513"/>
                  <a:pt x="839596" y="2483460"/>
                </a:cubicBezTo>
                <a:cubicBezTo>
                  <a:pt x="839596" y="2489407"/>
                  <a:pt x="834804" y="2494198"/>
                  <a:pt x="828857" y="2494198"/>
                </a:cubicBezTo>
                <a:cubicBezTo>
                  <a:pt x="822911" y="2494198"/>
                  <a:pt x="818121" y="2489407"/>
                  <a:pt x="818121" y="2483460"/>
                </a:cubicBezTo>
                <a:cubicBezTo>
                  <a:pt x="818121" y="2477513"/>
                  <a:pt x="822911" y="2472724"/>
                  <a:pt x="828857" y="2472724"/>
                </a:cubicBezTo>
                <a:close/>
                <a:moveTo>
                  <a:pt x="3756862" y="2472063"/>
                </a:moveTo>
                <a:cubicBezTo>
                  <a:pt x="3762809" y="2472063"/>
                  <a:pt x="3767600" y="2476853"/>
                  <a:pt x="3767600" y="2482799"/>
                </a:cubicBezTo>
                <a:cubicBezTo>
                  <a:pt x="3767600" y="2488746"/>
                  <a:pt x="3762809" y="2493537"/>
                  <a:pt x="3756862" y="2493537"/>
                </a:cubicBezTo>
                <a:cubicBezTo>
                  <a:pt x="3750916" y="2493537"/>
                  <a:pt x="3746126" y="2488746"/>
                  <a:pt x="3746126" y="2482799"/>
                </a:cubicBezTo>
                <a:cubicBezTo>
                  <a:pt x="3746126" y="2476853"/>
                  <a:pt x="3750916" y="2472063"/>
                  <a:pt x="3756862" y="2472063"/>
                </a:cubicBezTo>
                <a:close/>
                <a:moveTo>
                  <a:pt x="4365555" y="2469255"/>
                </a:moveTo>
                <a:cubicBezTo>
                  <a:pt x="4371501" y="2469255"/>
                  <a:pt x="4376291" y="2474045"/>
                  <a:pt x="4376291" y="2479992"/>
                </a:cubicBezTo>
                <a:cubicBezTo>
                  <a:pt x="4376291" y="2485938"/>
                  <a:pt x="4371501" y="2490730"/>
                  <a:pt x="4365555" y="2490730"/>
                </a:cubicBezTo>
                <a:cubicBezTo>
                  <a:pt x="4359608" y="2490730"/>
                  <a:pt x="4354819" y="2485938"/>
                  <a:pt x="4354819" y="2479992"/>
                </a:cubicBezTo>
                <a:cubicBezTo>
                  <a:pt x="4354819" y="2474045"/>
                  <a:pt x="4359608" y="2469255"/>
                  <a:pt x="4365555" y="2469255"/>
                </a:cubicBezTo>
                <a:close/>
                <a:moveTo>
                  <a:pt x="4512897" y="2468759"/>
                </a:moveTo>
                <a:lnTo>
                  <a:pt x="4522560" y="2478422"/>
                </a:lnTo>
                <a:lnTo>
                  <a:pt x="4529084" y="2471898"/>
                </a:lnTo>
                <a:cubicBezTo>
                  <a:pt x="4535030" y="2471898"/>
                  <a:pt x="4539822" y="2476688"/>
                  <a:pt x="4539822" y="2482635"/>
                </a:cubicBezTo>
                <a:cubicBezTo>
                  <a:pt x="4539822" y="2488581"/>
                  <a:pt x="4535030" y="2493373"/>
                  <a:pt x="4529084" y="2493373"/>
                </a:cubicBezTo>
                <a:lnTo>
                  <a:pt x="4519421" y="2483710"/>
                </a:lnTo>
                <a:lnTo>
                  <a:pt x="4512897" y="2490234"/>
                </a:lnTo>
                <a:cubicBezTo>
                  <a:pt x="4506950" y="2490234"/>
                  <a:pt x="4502160" y="2485442"/>
                  <a:pt x="4502160" y="2479496"/>
                </a:cubicBezTo>
                <a:cubicBezTo>
                  <a:pt x="4502160" y="2473549"/>
                  <a:pt x="4506950" y="2468759"/>
                  <a:pt x="4512897" y="2468759"/>
                </a:cubicBezTo>
                <a:close/>
                <a:moveTo>
                  <a:pt x="4181048" y="2468099"/>
                </a:moveTo>
                <a:cubicBezTo>
                  <a:pt x="4186994" y="2468099"/>
                  <a:pt x="4191786" y="2472888"/>
                  <a:pt x="4191786" y="2478835"/>
                </a:cubicBezTo>
                <a:cubicBezTo>
                  <a:pt x="4191786" y="2484781"/>
                  <a:pt x="4186994" y="2489571"/>
                  <a:pt x="4181048" y="2489571"/>
                </a:cubicBezTo>
                <a:cubicBezTo>
                  <a:pt x="4175101" y="2489571"/>
                  <a:pt x="4170311" y="2484781"/>
                  <a:pt x="4170311" y="2478835"/>
                </a:cubicBezTo>
                <a:cubicBezTo>
                  <a:pt x="4170311" y="2472888"/>
                  <a:pt x="4175101" y="2468099"/>
                  <a:pt x="4181048" y="2468099"/>
                </a:cubicBezTo>
                <a:close/>
                <a:moveTo>
                  <a:pt x="4494065" y="2465291"/>
                </a:moveTo>
                <a:cubicBezTo>
                  <a:pt x="4500012" y="2465291"/>
                  <a:pt x="4504801" y="2470081"/>
                  <a:pt x="4504801" y="2476027"/>
                </a:cubicBezTo>
                <a:cubicBezTo>
                  <a:pt x="4504801" y="2481974"/>
                  <a:pt x="4500012" y="2486764"/>
                  <a:pt x="4494065" y="2486764"/>
                </a:cubicBezTo>
                <a:cubicBezTo>
                  <a:pt x="4488119" y="2486764"/>
                  <a:pt x="4483329" y="2481974"/>
                  <a:pt x="4483329" y="2476027"/>
                </a:cubicBezTo>
                <a:cubicBezTo>
                  <a:pt x="4483329" y="2470081"/>
                  <a:pt x="4488119" y="2465291"/>
                  <a:pt x="4494065" y="2465291"/>
                </a:cubicBezTo>
                <a:close/>
                <a:moveTo>
                  <a:pt x="4565094" y="2461162"/>
                </a:moveTo>
                <a:cubicBezTo>
                  <a:pt x="4571040" y="2461162"/>
                  <a:pt x="4575832" y="2465952"/>
                  <a:pt x="4575832" y="2471898"/>
                </a:cubicBezTo>
                <a:cubicBezTo>
                  <a:pt x="4575832" y="2477845"/>
                  <a:pt x="4571040" y="2482635"/>
                  <a:pt x="4565094" y="2482635"/>
                </a:cubicBezTo>
                <a:cubicBezTo>
                  <a:pt x="4559147" y="2482635"/>
                  <a:pt x="4554358" y="2477845"/>
                  <a:pt x="4554358" y="2471898"/>
                </a:cubicBezTo>
                <a:cubicBezTo>
                  <a:pt x="4554358" y="2465952"/>
                  <a:pt x="4559147" y="2461162"/>
                  <a:pt x="4565094" y="2461162"/>
                </a:cubicBezTo>
                <a:close/>
                <a:moveTo>
                  <a:pt x="2835315" y="2460335"/>
                </a:moveTo>
                <a:cubicBezTo>
                  <a:pt x="2841262" y="2460335"/>
                  <a:pt x="2846053" y="2465124"/>
                  <a:pt x="2846053" y="2471071"/>
                </a:cubicBezTo>
                <a:cubicBezTo>
                  <a:pt x="2846053" y="2477017"/>
                  <a:pt x="2841262" y="2481809"/>
                  <a:pt x="2835315" y="2481809"/>
                </a:cubicBezTo>
                <a:cubicBezTo>
                  <a:pt x="2829369" y="2481809"/>
                  <a:pt x="2824579" y="2477017"/>
                  <a:pt x="2824579" y="2471071"/>
                </a:cubicBezTo>
                <a:cubicBezTo>
                  <a:pt x="2824579" y="2465124"/>
                  <a:pt x="2829369" y="2460335"/>
                  <a:pt x="2835315" y="2460335"/>
                </a:cubicBezTo>
                <a:close/>
                <a:moveTo>
                  <a:pt x="4461029" y="2458188"/>
                </a:moveTo>
                <a:cubicBezTo>
                  <a:pt x="4466975" y="2458188"/>
                  <a:pt x="4471765" y="2462977"/>
                  <a:pt x="4471765" y="2468924"/>
                </a:cubicBezTo>
                <a:cubicBezTo>
                  <a:pt x="4471765" y="2474871"/>
                  <a:pt x="4466975" y="2479662"/>
                  <a:pt x="4461029" y="2479662"/>
                </a:cubicBezTo>
                <a:cubicBezTo>
                  <a:pt x="4455082" y="2479662"/>
                  <a:pt x="4450292" y="2474871"/>
                  <a:pt x="4450292" y="2468924"/>
                </a:cubicBezTo>
                <a:cubicBezTo>
                  <a:pt x="4450292" y="2462977"/>
                  <a:pt x="4455082" y="2458188"/>
                  <a:pt x="4461029" y="2458188"/>
                </a:cubicBezTo>
                <a:close/>
                <a:moveTo>
                  <a:pt x="4539822" y="2453398"/>
                </a:moveTo>
                <a:cubicBezTo>
                  <a:pt x="4545768" y="2453398"/>
                  <a:pt x="4550560" y="2458188"/>
                  <a:pt x="4550560" y="2464134"/>
                </a:cubicBezTo>
                <a:cubicBezTo>
                  <a:pt x="4550560" y="2470081"/>
                  <a:pt x="4545768" y="2474871"/>
                  <a:pt x="4539822" y="2474871"/>
                </a:cubicBezTo>
                <a:cubicBezTo>
                  <a:pt x="4533875" y="2474871"/>
                  <a:pt x="4529085" y="2470081"/>
                  <a:pt x="4529085" y="2464134"/>
                </a:cubicBezTo>
                <a:cubicBezTo>
                  <a:pt x="4529085" y="2458188"/>
                  <a:pt x="4533875" y="2453398"/>
                  <a:pt x="4539822" y="2453398"/>
                </a:cubicBezTo>
                <a:close/>
                <a:moveTo>
                  <a:pt x="638735" y="2449102"/>
                </a:moveTo>
                <a:cubicBezTo>
                  <a:pt x="644682" y="2449102"/>
                  <a:pt x="649471" y="2453892"/>
                  <a:pt x="649471" y="2459839"/>
                </a:cubicBezTo>
                <a:cubicBezTo>
                  <a:pt x="649471" y="2465785"/>
                  <a:pt x="644682" y="2470577"/>
                  <a:pt x="638735" y="2470577"/>
                </a:cubicBezTo>
                <a:cubicBezTo>
                  <a:pt x="632788" y="2470577"/>
                  <a:pt x="627999" y="2465785"/>
                  <a:pt x="627999" y="2459839"/>
                </a:cubicBezTo>
                <a:cubicBezTo>
                  <a:pt x="627999" y="2453892"/>
                  <a:pt x="632788" y="2449102"/>
                  <a:pt x="638735" y="2449102"/>
                </a:cubicBezTo>
                <a:close/>
                <a:moveTo>
                  <a:pt x="4523139" y="2448112"/>
                </a:moveTo>
                <a:cubicBezTo>
                  <a:pt x="4529085" y="2448112"/>
                  <a:pt x="4533875" y="2452902"/>
                  <a:pt x="4533875" y="2458848"/>
                </a:cubicBezTo>
                <a:cubicBezTo>
                  <a:pt x="4533875" y="2464795"/>
                  <a:pt x="4529085" y="2469586"/>
                  <a:pt x="4523139" y="2469586"/>
                </a:cubicBezTo>
                <a:cubicBezTo>
                  <a:pt x="4517192" y="2469586"/>
                  <a:pt x="4512402" y="2464795"/>
                  <a:pt x="4512402" y="2458848"/>
                </a:cubicBezTo>
                <a:cubicBezTo>
                  <a:pt x="4512402" y="2452902"/>
                  <a:pt x="4517192" y="2448112"/>
                  <a:pt x="4523139" y="2448112"/>
                </a:cubicBezTo>
                <a:close/>
                <a:moveTo>
                  <a:pt x="4578969" y="2445963"/>
                </a:moveTo>
                <a:cubicBezTo>
                  <a:pt x="4584916" y="2445963"/>
                  <a:pt x="4589706" y="2450753"/>
                  <a:pt x="4589706" y="2456700"/>
                </a:cubicBezTo>
                <a:cubicBezTo>
                  <a:pt x="4589706" y="2462646"/>
                  <a:pt x="4584916" y="2467438"/>
                  <a:pt x="4578969" y="2467438"/>
                </a:cubicBezTo>
                <a:cubicBezTo>
                  <a:pt x="4573023" y="2467438"/>
                  <a:pt x="4568233" y="2462646"/>
                  <a:pt x="4568233" y="2456700"/>
                </a:cubicBezTo>
                <a:cubicBezTo>
                  <a:pt x="4568233" y="2450753"/>
                  <a:pt x="4573023" y="2445963"/>
                  <a:pt x="4578969" y="2445963"/>
                </a:cubicBezTo>
                <a:close/>
                <a:moveTo>
                  <a:pt x="3858943" y="2444808"/>
                </a:moveTo>
                <a:cubicBezTo>
                  <a:pt x="3864890" y="2444808"/>
                  <a:pt x="3869682" y="2449598"/>
                  <a:pt x="3869682" y="2455545"/>
                </a:cubicBezTo>
                <a:cubicBezTo>
                  <a:pt x="3869682" y="2461491"/>
                  <a:pt x="3864890" y="2466283"/>
                  <a:pt x="3858943" y="2466283"/>
                </a:cubicBezTo>
                <a:cubicBezTo>
                  <a:pt x="3852997" y="2466283"/>
                  <a:pt x="3848207" y="2461491"/>
                  <a:pt x="3848207" y="2455545"/>
                </a:cubicBezTo>
                <a:cubicBezTo>
                  <a:pt x="3848207" y="2449598"/>
                  <a:pt x="3852997" y="2444808"/>
                  <a:pt x="3858943" y="2444808"/>
                </a:cubicBezTo>
                <a:close/>
                <a:moveTo>
                  <a:pt x="4398591" y="2443156"/>
                </a:moveTo>
                <a:cubicBezTo>
                  <a:pt x="4404538" y="2443156"/>
                  <a:pt x="4409328" y="2447946"/>
                  <a:pt x="4409328" y="2453892"/>
                </a:cubicBezTo>
                <a:cubicBezTo>
                  <a:pt x="4409328" y="2459839"/>
                  <a:pt x="4404538" y="2464630"/>
                  <a:pt x="4398591" y="2464630"/>
                </a:cubicBezTo>
                <a:cubicBezTo>
                  <a:pt x="4392645" y="2464630"/>
                  <a:pt x="4387855" y="2459839"/>
                  <a:pt x="4387855" y="2453892"/>
                </a:cubicBezTo>
                <a:cubicBezTo>
                  <a:pt x="4387855" y="2447946"/>
                  <a:pt x="4392645" y="2443156"/>
                  <a:pt x="4398591" y="2443156"/>
                </a:cubicBezTo>
                <a:close/>
                <a:moveTo>
                  <a:pt x="4506785" y="2442660"/>
                </a:moveTo>
                <a:cubicBezTo>
                  <a:pt x="4512732" y="2442660"/>
                  <a:pt x="4517523" y="2447450"/>
                  <a:pt x="4517523" y="2453396"/>
                </a:cubicBezTo>
                <a:cubicBezTo>
                  <a:pt x="4517523" y="2459343"/>
                  <a:pt x="4512732" y="2464134"/>
                  <a:pt x="4506785" y="2464134"/>
                </a:cubicBezTo>
                <a:cubicBezTo>
                  <a:pt x="4500839" y="2464134"/>
                  <a:pt x="4496049" y="2459343"/>
                  <a:pt x="4496049" y="2453396"/>
                </a:cubicBezTo>
                <a:cubicBezTo>
                  <a:pt x="4496049" y="2447450"/>
                  <a:pt x="4500839" y="2442660"/>
                  <a:pt x="4506785" y="2442660"/>
                </a:cubicBezTo>
                <a:close/>
                <a:moveTo>
                  <a:pt x="4238035" y="2441009"/>
                </a:moveTo>
                <a:cubicBezTo>
                  <a:pt x="4243981" y="2441009"/>
                  <a:pt x="4248771" y="2445799"/>
                  <a:pt x="4248771" y="2451745"/>
                </a:cubicBezTo>
                <a:cubicBezTo>
                  <a:pt x="4248771" y="2457692"/>
                  <a:pt x="4243981" y="2462482"/>
                  <a:pt x="4238035" y="2462482"/>
                </a:cubicBezTo>
                <a:cubicBezTo>
                  <a:pt x="4232088" y="2462482"/>
                  <a:pt x="4227299" y="2457692"/>
                  <a:pt x="4227299" y="2451745"/>
                </a:cubicBezTo>
                <a:cubicBezTo>
                  <a:pt x="4227299" y="2445799"/>
                  <a:pt x="4232088" y="2441009"/>
                  <a:pt x="4238035" y="2441009"/>
                </a:cubicBezTo>
                <a:close/>
                <a:moveTo>
                  <a:pt x="3017511" y="2436219"/>
                </a:moveTo>
                <a:cubicBezTo>
                  <a:pt x="3023457" y="2436219"/>
                  <a:pt x="3028249" y="2441009"/>
                  <a:pt x="3028249" y="2446955"/>
                </a:cubicBezTo>
                <a:cubicBezTo>
                  <a:pt x="3028249" y="2452902"/>
                  <a:pt x="3023457" y="2457693"/>
                  <a:pt x="3017511" y="2457693"/>
                </a:cubicBezTo>
                <a:cubicBezTo>
                  <a:pt x="3011564" y="2457693"/>
                  <a:pt x="3006774" y="2452902"/>
                  <a:pt x="3006774" y="2446955"/>
                </a:cubicBezTo>
                <a:cubicBezTo>
                  <a:pt x="3006774" y="2441009"/>
                  <a:pt x="3011564" y="2436219"/>
                  <a:pt x="3017511" y="2436219"/>
                </a:cubicBezTo>
                <a:close/>
                <a:moveTo>
                  <a:pt x="4550723" y="2435888"/>
                </a:moveTo>
                <a:cubicBezTo>
                  <a:pt x="4556669" y="2435888"/>
                  <a:pt x="4561461" y="2440678"/>
                  <a:pt x="4561461" y="2446624"/>
                </a:cubicBezTo>
                <a:cubicBezTo>
                  <a:pt x="4561461" y="2452571"/>
                  <a:pt x="4556669" y="2457362"/>
                  <a:pt x="4550723" y="2457362"/>
                </a:cubicBezTo>
                <a:cubicBezTo>
                  <a:pt x="4544776" y="2457362"/>
                  <a:pt x="4539986" y="2452571"/>
                  <a:pt x="4539986" y="2446624"/>
                </a:cubicBezTo>
                <a:cubicBezTo>
                  <a:pt x="4539986" y="2440678"/>
                  <a:pt x="4544776" y="2435888"/>
                  <a:pt x="4550723" y="2435888"/>
                </a:cubicBezTo>
                <a:close/>
                <a:moveTo>
                  <a:pt x="4479696" y="2434072"/>
                </a:moveTo>
                <a:cubicBezTo>
                  <a:pt x="4485642" y="2434072"/>
                  <a:pt x="4490432" y="2438862"/>
                  <a:pt x="4490432" y="2444808"/>
                </a:cubicBezTo>
                <a:cubicBezTo>
                  <a:pt x="4490432" y="2450755"/>
                  <a:pt x="4485642" y="2455545"/>
                  <a:pt x="4479696" y="2455545"/>
                </a:cubicBezTo>
                <a:cubicBezTo>
                  <a:pt x="4473749" y="2455545"/>
                  <a:pt x="4468959" y="2450755"/>
                  <a:pt x="4468959" y="2444808"/>
                </a:cubicBezTo>
                <a:cubicBezTo>
                  <a:pt x="4468959" y="2438862"/>
                  <a:pt x="4473749" y="2434072"/>
                  <a:pt x="4479696" y="2434072"/>
                </a:cubicBezTo>
                <a:close/>
                <a:moveTo>
                  <a:pt x="4593670" y="2431923"/>
                </a:moveTo>
                <a:cubicBezTo>
                  <a:pt x="4599616" y="2431923"/>
                  <a:pt x="4604408" y="2436713"/>
                  <a:pt x="4604408" y="2442660"/>
                </a:cubicBezTo>
                <a:cubicBezTo>
                  <a:pt x="4604408" y="2448606"/>
                  <a:pt x="4599616" y="2453398"/>
                  <a:pt x="4593670" y="2453398"/>
                </a:cubicBezTo>
                <a:cubicBezTo>
                  <a:pt x="4587723" y="2453398"/>
                  <a:pt x="4582934" y="2448606"/>
                  <a:pt x="4582934" y="2442660"/>
                </a:cubicBezTo>
                <a:cubicBezTo>
                  <a:pt x="4582934" y="2436713"/>
                  <a:pt x="4587723" y="2431923"/>
                  <a:pt x="4593670" y="2431923"/>
                </a:cubicBezTo>
                <a:close/>
                <a:moveTo>
                  <a:pt x="4532883" y="2428455"/>
                </a:moveTo>
                <a:cubicBezTo>
                  <a:pt x="4538830" y="2428455"/>
                  <a:pt x="4543619" y="2433245"/>
                  <a:pt x="4543619" y="2439191"/>
                </a:cubicBezTo>
                <a:cubicBezTo>
                  <a:pt x="4543619" y="2445138"/>
                  <a:pt x="4538830" y="2449929"/>
                  <a:pt x="4532883" y="2449929"/>
                </a:cubicBezTo>
                <a:cubicBezTo>
                  <a:pt x="4526937" y="2449929"/>
                  <a:pt x="4522147" y="2445138"/>
                  <a:pt x="4522147" y="2439191"/>
                </a:cubicBezTo>
                <a:cubicBezTo>
                  <a:pt x="4522147" y="2433245"/>
                  <a:pt x="4526937" y="2428455"/>
                  <a:pt x="4532883" y="2428455"/>
                </a:cubicBezTo>
                <a:close/>
                <a:moveTo>
                  <a:pt x="463147" y="2424820"/>
                </a:moveTo>
                <a:cubicBezTo>
                  <a:pt x="469093" y="2424820"/>
                  <a:pt x="473885" y="2429610"/>
                  <a:pt x="473885" y="2435557"/>
                </a:cubicBezTo>
                <a:cubicBezTo>
                  <a:pt x="473885" y="2441503"/>
                  <a:pt x="469093" y="2446295"/>
                  <a:pt x="463147" y="2446295"/>
                </a:cubicBezTo>
                <a:cubicBezTo>
                  <a:pt x="457200" y="2446295"/>
                  <a:pt x="452411" y="2441503"/>
                  <a:pt x="452411" y="2435557"/>
                </a:cubicBezTo>
                <a:cubicBezTo>
                  <a:pt x="452411" y="2429610"/>
                  <a:pt x="457200" y="2424820"/>
                  <a:pt x="463147" y="2424820"/>
                </a:cubicBezTo>
                <a:close/>
                <a:moveTo>
                  <a:pt x="4518182" y="2421187"/>
                </a:moveTo>
                <a:cubicBezTo>
                  <a:pt x="4524129" y="2421187"/>
                  <a:pt x="4528921" y="2425977"/>
                  <a:pt x="4528921" y="2431923"/>
                </a:cubicBezTo>
                <a:cubicBezTo>
                  <a:pt x="4528921" y="2437870"/>
                  <a:pt x="4524129" y="2442661"/>
                  <a:pt x="4518182" y="2442661"/>
                </a:cubicBezTo>
                <a:cubicBezTo>
                  <a:pt x="4512236" y="2442661"/>
                  <a:pt x="4507446" y="2437870"/>
                  <a:pt x="4507446" y="2431923"/>
                </a:cubicBezTo>
                <a:cubicBezTo>
                  <a:pt x="4507446" y="2425977"/>
                  <a:pt x="4512236" y="2421187"/>
                  <a:pt x="4518182" y="2421187"/>
                </a:cubicBezTo>
                <a:close/>
                <a:moveTo>
                  <a:pt x="4609364" y="2419536"/>
                </a:moveTo>
                <a:cubicBezTo>
                  <a:pt x="4614745" y="2419536"/>
                  <a:pt x="4619109" y="2423899"/>
                  <a:pt x="4619109" y="2429282"/>
                </a:cubicBezTo>
                <a:cubicBezTo>
                  <a:pt x="4619109" y="2434663"/>
                  <a:pt x="4614745" y="2439027"/>
                  <a:pt x="4609364" y="2439027"/>
                </a:cubicBezTo>
                <a:cubicBezTo>
                  <a:pt x="4603981" y="2439027"/>
                  <a:pt x="4599618" y="2434663"/>
                  <a:pt x="4599618" y="2429282"/>
                </a:cubicBezTo>
                <a:cubicBezTo>
                  <a:pt x="4599618" y="2423899"/>
                  <a:pt x="4603981" y="2419536"/>
                  <a:pt x="4609364" y="2419536"/>
                </a:cubicBezTo>
                <a:close/>
                <a:moveTo>
                  <a:pt x="4561955" y="2419536"/>
                </a:moveTo>
                <a:cubicBezTo>
                  <a:pt x="4567902" y="2419536"/>
                  <a:pt x="4572691" y="2424326"/>
                  <a:pt x="4572691" y="2430272"/>
                </a:cubicBezTo>
                <a:cubicBezTo>
                  <a:pt x="4572691" y="2436219"/>
                  <a:pt x="4567902" y="2441011"/>
                  <a:pt x="4561955" y="2441011"/>
                </a:cubicBezTo>
                <a:cubicBezTo>
                  <a:pt x="4556009" y="2441011"/>
                  <a:pt x="4551219" y="2436219"/>
                  <a:pt x="4551219" y="2430272"/>
                </a:cubicBezTo>
                <a:cubicBezTo>
                  <a:pt x="4551219" y="2424326"/>
                  <a:pt x="4556009" y="2419536"/>
                  <a:pt x="4561955" y="2419536"/>
                </a:cubicBezTo>
                <a:close/>
                <a:moveTo>
                  <a:pt x="4427663" y="2418215"/>
                </a:moveTo>
                <a:cubicBezTo>
                  <a:pt x="4433610" y="2418215"/>
                  <a:pt x="4438399" y="2423004"/>
                  <a:pt x="4438399" y="2428951"/>
                </a:cubicBezTo>
                <a:cubicBezTo>
                  <a:pt x="4438399" y="2434898"/>
                  <a:pt x="4433610" y="2439689"/>
                  <a:pt x="4427663" y="2439689"/>
                </a:cubicBezTo>
                <a:cubicBezTo>
                  <a:pt x="4421717" y="2439689"/>
                  <a:pt x="4416927" y="2434898"/>
                  <a:pt x="4416927" y="2428951"/>
                </a:cubicBezTo>
                <a:cubicBezTo>
                  <a:pt x="4416927" y="2423004"/>
                  <a:pt x="4421717" y="2418215"/>
                  <a:pt x="4427663" y="2418215"/>
                </a:cubicBezTo>
                <a:close/>
                <a:moveTo>
                  <a:pt x="3951280" y="2418215"/>
                </a:moveTo>
                <a:cubicBezTo>
                  <a:pt x="3957227" y="2418215"/>
                  <a:pt x="3962017" y="2423004"/>
                  <a:pt x="3962017" y="2428951"/>
                </a:cubicBezTo>
                <a:cubicBezTo>
                  <a:pt x="3962017" y="2434898"/>
                  <a:pt x="3957227" y="2439689"/>
                  <a:pt x="3951280" y="2439689"/>
                </a:cubicBezTo>
                <a:cubicBezTo>
                  <a:pt x="3945334" y="2439689"/>
                  <a:pt x="3940544" y="2434898"/>
                  <a:pt x="3940544" y="2428951"/>
                </a:cubicBezTo>
                <a:cubicBezTo>
                  <a:pt x="3940544" y="2423004"/>
                  <a:pt x="3945334" y="2418215"/>
                  <a:pt x="3951280" y="2418215"/>
                </a:cubicBezTo>
                <a:close/>
                <a:moveTo>
                  <a:pt x="4288580" y="2415076"/>
                </a:moveTo>
                <a:cubicBezTo>
                  <a:pt x="4294526" y="2415076"/>
                  <a:pt x="4299318" y="2419866"/>
                  <a:pt x="4299318" y="2425812"/>
                </a:cubicBezTo>
                <a:cubicBezTo>
                  <a:pt x="4299318" y="2431759"/>
                  <a:pt x="4294526" y="2436550"/>
                  <a:pt x="4288580" y="2436550"/>
                </a:cubicBezTo>
                <a:cubicBezTo>
                  <a:pt x="4282633" y="2436550"/>
                  <a:pt x="4277843" y="2431759"/>
                  <a:pt x="4277843" y="2425812"/>
                </a:cubicBezTo>
                <a:cubicBezTo>
                  <a:pt x="4277843" y="2419866"/>
                  <a:pt x="4282633" y="2415076"/>
                  <a:pt x="4288580" y="2415076"/>
                </a:cubicBezTo>
                <a:close/>
                <a:moveTo>
                  <a:pt x="3185664" y="2411607"/>
                </a:moveTo>
                <a:cubicBezTo>
                  <a:pt x="3191611" y="2411607"/>
                  <a:pt x="3196401" y="2416397"/>
                  <a:pt x="3196401" y="2422344"/>
                </a:cubicBezTo>
                <a:cubicBezTo>
                  <a:pt x="3196401" y="2428290"/>
                  <a:pt x="3191611" y="2433080"/>
                  <a:pt x="3185664" y="2433080"/>
                </a:cubicBezTo>
                <a:cubicBezTo>
                  <a:pt x="3179718" y="2433080"/>
                  <a:pt x="3174928" y="2428290"/>
                  <a:pt x="3174928" y="2422344"/>
                </a:cubicBezTo>
                <a:cubicBezTo>
                  <a:pt x="3174928" y="2416397"/>
                  <a:pt x="3179718" y="2411607"/>
                  <a:pt x="3185664" y="2411607"/>
                </a:cubicBezTo>
                <a:close/>
                <a:moveTo>
                  <a:pt x="4495883" y="2410945"/>
                </a:moveTo>
                <a:cubicBezTo>
                  <a:pt x="4501829" y="2410945"/>
                  <a:pt x="4506619" y="2415735"/>
                  <a:pt x="4506619" y="2421681"/>
                </a:cubicBezTo>
                <a:cubicBezTo>
                  <a:pt x="4506619" y="2427628"/>
                  <a:pt x="4501829" y="2432419"/>
                  <a:pt x="4495883" y="2432419"/>
                </a:cubicBezTo>
                <a:cubicBezTo>
                  <a:pt x="4489936" y="2432419"/>
                  <a:pt x="4485146" y="2427628"/>
                  <a:pt x="4485146" y="2421681"/>
                </a:cubicBezTo>
                <a:cubicBezTo>
                  <a:pt x="4485146" y="2415735"/>
                  <a:pt x="4489936" y="2410945"/>
                  <a:pt x="4495883" y="2410945"/>
                </a:cubicBezTo>
                <a:close/>
                <a:moveTo>
                  <a:pt x="4542629" y="2409790"/>
                </a:moveTo>
                <a:cubicBezTo>
                  <a:pt x="4548576" y="2409790"/>
                  <a:pt x="4553366" y="2414580"/>
                  <a:pt x="4553366" y="2420526"/>
                </a:cubicBezTo>
                <a:cubicBezTo>
                  <a:pt x="4553366" y="2426473"/>
                  <a:pt x="4548576" y="2431263"/>
                  <a:pt x="4542629" y="2431263"/>
                </a:cubicBezTo>
                <a:cubicBezTo>
                  <a:pt x="4536683" y="2431263"/>
                  <a:pt x="4531893" y="2426473"/>
                  <a:pt x="4531893" y="2420526"/>
                </a:cubicBezTo>
                <a:cubicBezTo>
                  <a:pt x="4531893" y="2414580"/>
                  <a:pt x="4536683" y="2409790"/>
                  <a:pt x="4542629" y="2409790"/>
                </a:cubicBezTo>
                <a:close/>
                <a:moveTo>
                  <a:pt x="4573848" y="2404008"/>
                </a:moveTo>
                <a:cubicBezTo>
                  <a:pt x="4579795" y="2404008"/>
                  <a:pt x="4584584" y="2408798"/>
                  <a:pt x="4584584" y="2414745"/>
                </a:cubicBezTo>
                <a:cubicBezTo>
                  <a:pt x="4584584" y="2420691"/>
                  <a:pt x="4579795" y="2425483"/>
                  <a:pt x="4573848" y="2425483"/>
                </a:cubicBezTo>
                <a:cubicBezTo>
                  <a:pt x="4567902" y="2425483"/>
                  <a:pt x="4563112" y="2420691"/>
                  <a:pt x="4563112" y="2414745"/>
                </a:cubicBezTo>
                <a:cubicBezTo>
                  <a:pt x="4563112" y="2408798"/>
                  <a:pt x="4567902" y="2404008"/>
                  <a:pt x="4573848" y="2404008"/>
                </a:cubicBezTo>
                <a:close/>
                <a:moveTo>
                  <a:pt x="4528425" y="2400540"/>
                </a:moveTo>
                <a:cubicBezTo>
                  <a:pt x="4534371" y="2400540"/>
                  <a:pt x="4539161" y="2405330"/>
                  <a:pt x="4539161" y="2411276"/>
                </a:cubicBezTo>
                <a:cubicBezTo>
                  <a:pt x="4539161" y="2417223"/>
                  <a:pt x="4534371" y="2422014"/>
                  <a:pt x="4528425" y="2422014"/>
                </a:cubicBezTo>
                <a:cubicBezTo>
                  <a:pt x="4522478" y="2422014"/>
                  <a:pt x="4517688" y="2417223"/>
                  <a:pt x="4517688" y="2411276"/>
                </a:cubicBezTo>
                <a:cubicBezTo>
                  <a:pt x="4517688" y="2405330"/>
                  <a:pt x="4522478" y="2400540"/>
                  <a:pt x="4528425" y="2400540"/>
                </a:cubicBezTo>
                <a:close/>
                <a:moveTo>
                  <a:pt x="301599" y="2400209"/>
                </a:moveTo>
                <a:cubicBezTo>
                  <a:pt x="307545" y="2400209"/>
                  <a:pt x="312337" y="2404998"/>
                  <a:pt x="312337" y="2410945"/>
                </a:cubicBezTo>
                <a:cubicBezTo>
                  <a:pt x="312337" y="2416891"/>
                  <a:pt x="307545" y="2421683"/>
                  <a:pt x="301599" y="2421683"/>
                </a:cubicBezTo>
                <a:cubicBezTo>
                  <a:pt x="295652" y="2421683"/>
                  <a:pt x="290862" y="2416891"/>
                  <a:pt x="290862" y="2410945"/>
                </a:cubicBezTo>
                <a:cubicBezTo>
                  <a:pt x="290862" y="2404998"/>
                  <a:pt x="295652" y="2400209"/>
                  <a:pt x="301599" y="2400209"/>
                </a:cubicBezTo>
                <a:close/>
                <a:moveTo>
                  <a:pt x="4452771" y="2394097"/>
                </a:moveTo>
                <a:cubicBezTo>
                  <a:pt x="4458717" y="2394097"/>
                  <a:pt x="4463507" y="2398887"/>
                  <a:pt x="4463507" y="2404834"/>
                </a:cubicBezTo>
                <a:cubicBezTo>
                  <a:pt x="4463507" y="2410780"/>
                  <a:pt x="4458717" y="2415572"/>
                  <a:pt x="4452771" y="2415572"/>
                </a:cubicBezTo>
                <a:cubicBezTo>
                  <a:pt x="4446824" y="2415572"/>
                  <a:pt x="4442034" y="2410780"/>
                  <a:pt x="4442034" y="2404834"/>
                </a:cubicBezTo>
                <a:cubicBezTo>
                  <a:pt x="4442034" y="2398887"/>
                  <a:pt x="4446824" y="2394097"/>
                  <a:pt x="4452771" y="2394097"/>
                </a:cubicBezTo>
                <a:close/>
                <a:moveTo>
                  <a:pt x="4034367" y="2392446"/>
                </a:moveTo>
                <a:cubicBezTo>
                  <a:pt x="4040313" y="2392446"/>
                  <a:pt x="4045103" y="2397236"/>
                  <a:pt x="4045103" y="2403183"/>
                </a:cubicBezTo>
                <a:cubicBezTo>
                  <a:pt x="4045103" y="2409129"/>
                  <a:pt x="4040313" y="2413921"/>
                  <a:pt x="4034367" y="2413921"/>
                </a:cubicBezTo>
                <a:cubicBezTo>
                  <a:pt x="4028420" y="2413921"/>
                  <a:pt x="4023630" y="2409129"/>
                  <a:pt x="4023630" y="2403183"/>
                </a:cubicBezTo>
                <a:cubicBezTo>
                  <a:pt x="4023630" y="2397236"/>
                  <a:pt x="4028420" y="2392446"/>
                  <a:pt x="4034367" y="2392446"/>
                </a:cubicBezTo>
                <a:close/>
                <a:moveTo>
                  <a:pt x="4552209" y="2392280"/>
                </a:moveTo>
                <a:cubicBezTo>
                  <a:pt x="4558155" y="2392280"/>
                  <a:pt x="4562947" y="2397070"/>
                  <a:pt x="4562947" y="2403016"/>
                </a:cubicBezTo>
                <a:cubicBezTo>
                  <a:pt x="4562947" y="2408963"/>
                  <a:pt x="4558155" y="2413754"/>
                  <a:pt x="4552209" y="2413754"/>
                </a:cubicBezTo>
                <a:cubicBezTo>
                  <a:pt x="4546262" y="2413754"/>
                  <a:pt x="4541473" y="2408963"/>
                  <a:pt x="4541473" y="2403016"/>
                </a:cubicBezTo>
                <a:cubicBezTo>
                  <a:pt x="4541473" y="2397070"/>
                  <a:pt x="4546262" y="2392280"/>
                  <a:pt x="4552209" y="2392280"/>
                </a:cubicBezTo>
                <a:close/>
                <a:moveTo>
                  <a:pt x="4333344" y="2389968"/>
                </a:moveTo>
                <a:cubicBezTo>
                  <a:pt x="4339291" y="2389968"/>
                  <a:pt x="4344082" y="2394758"/>
                  <a:pt x="4344082" y="2400705"/>
                </a:cubicBezTo>
                <a:cubicBezTo>
                  <a:pt x="4344082" y="2406651"/>
                  <a:pt x="4339291" y="2411443"/>
                  <a:pt x="4333344" y="2411443"/>
                </a:cubicBezTo>
                <a:cubicBezTo>
                  <a:pt x="4327398" y="2411443"/>
                  <a:pt x="4322608" y="2406651"/>
                  <a:pt x="4322608" y="2400705"/>
                </a:cubicBezTo>
                <a:cubicBezTo>
                  <a:pt x="4322608" y="2394758"/>
                  <a:pt x="4327398" y="2389968"/>
                  <a:pt x="4333344" y="2389968"/>
                </a:cubicBezTo>
                <a:close/>
                <a:moveTo>
                  <a:pt x="4586402" y="2389472"/>
                </a:moveTo>
                <a:cubicBezTo>
                  <a:pt x="4592348" y="2389472"/>
                  <a:pt x="4597140" y="2394262"/>
                  <a:pt x="4597140" y="2400209"/>
                </a:cubicBezTo>
                <a:cubicBezTo>
                  <a:pt x="4597140" y="2406155"/>
                  <a:pt x="4592348" y="2410947"/>
                  <a:pt x="4586402" y="2410947"/>
                </a:cubicBezTo>
                <a:cubicBezTo>
                  <a:pt x="4580455" y="2410947"/>
                  <a:pt x="4575666" y="2406155"/>
                  <a:pt x="4575666" y="2400209"/>
                </a:cubicBezTo>
                <a:cubicBezTo>
                  <a:pt x="4575666" y="2394262"/>
                  <a:pt x="4580455" y="2389472"/>
                  <a:pt x="4586402" y="2389472"/>
                </a:cubicBezTo>
                <a:close/>
                <a:moveTo>
                  <a:pt x="4509923" y="2388976"/>
                </a:moveTo>
                <a:cubicBezTo>
                  <a:pt x="4515869" y="2388976"/>
                  <a:pt x="4520661" y="2393766"/>
                  <a:pt x="4520661" y="2399713"/>
                </a:cubicBezTo>
                <a:cubicBezTo>
                  <a:pt x="4520661" y="2405659"/>
                  <a:pt x="4515869" y="2410451"/>
                  <a:pt x="4509923" y="2410451"/>
                </a:cubicBezTo>
                <a:cubicBezTo>
                  <a:pt x="4503976" y="2410451"/>
                  <a:pt x="4499186" y="2405659"/>
                  <a:pt x="4499186" y="2399713"/>
                </a:cubicBezTo>
                <a:cubicBezTo>
                  <a:pt x="4499186" y="2393766"/>
                  <a:pt x="4503976" y="2388976"/>
                  <a:pt x="4509923" y="2388976"/>
                </a:cubicBezTo>
                <a:close/>
                <a:moveTo>
                  <a:pt x="3339945" y="2387159"/>
                </a:moveTo>
                <a:cubicBezTo>
                  <a:pt x="3345891" y="2387159"/>
                  <a:pt x="3350681" y="2391949"/>
                  <a:pt x="3350681" y="2397895"/>
                </a:cubicBezTo>
                <a:cubicBezTo>
                  <a:pt x="3350681" y="2403842"/>
                  <a:pt x="3345891" y="2408633"/>
                  <a:pt x="3339945" y="2408633"/>
                </a:cubicBezTo>
                <a:cubicBezTo>
                  <a:pt x="3333998" y="2408633"/>
                  <a:pt x="3329208" y="2403842"/>
                  <a:pt x="3329208" y="2397895"/>
                </a:cubicBezTo>
                <a:cubicBezTo>
                  <a:pt x="3329208" y="2391949"/>
                  <a:pt x="3333998" y="2387159"/>
                  <a:pt x="3339945" y="2387159"/>
                </a:cubicBezTo>
                <a:close/>
                <a:moveTo>
                  <a:pt x="4537839" y="2381048"/>
                </a:moveTo>
                <a:cubicBezTo>
                  <a:pt x="4543786" y="2381048"/>
                  <a:pt x="4548578" y="2385837"/>
                  <a:pt x="4548578" y="2391784"/>
                </a:cubicBezTo>
                <a:cubicBezTo>
                  <a:pt x="4548578" y="2397730"/>
                  <a:pt x="4543786" y="2402522"/>
                  <a:pt x="4537839" y="2402522"/>
                </a:cubicBezTo>
                <a:cubicBezTo>
                  <a:pt x="4531893" y="2402522"/>
                  <a:pt x="4527103" y="2397730"/>
                  <a:pt x="4527103" y="2391784"/>
                </a:cubicBezTo>
                <a:cubicBezTo>
                  <a:pt x="4527103" y="2385837"/>
                  <a:pt x="4531893" y="2381048"/>
                  <a:pt x="4537839" y="2381048"/>
                </a:cubicBezTo>
                <a:close/>
                <a:moveTo>
                  <a:pt x="4599948" y="2375928"/>
                </a:moveTo>
                <a:cubicBezTo>
                  <a:pt x="4605894" y="2375928"/>
                  <a:pt x="4610684" y="2380718"/>
                  <a:pt x="4610684" y="2386665"/>
                </a:cubicBezTo>
                <a:cubicBezTo>
                  <a:pt x="4610684" y="2392611"/>
                  <a:pt x="4605894" y="2397403"/>
                  <a:pt x="4599948" y="2397403"/>
                </a:cubicBezTo>
                <a:cubicBezTo>
                  <a:pt x="4594001" y="2397403"/>
                  <a:pt x="4589211" y="2392611"/>
                  <a:pt x="4589211" y="2386665"/>
                </a:cubicBezTo>
                <a:cubicBezTo>
                  <a:pt x="4589211" y="2380718"/>
                  <a:pt x="4594001" y="2375928"/>
                  <a:pt x="4599948" y="2375928"/>
                </a:cubicBezTo>
                <a:close/>
                <a:moveTo>
                  <a:pt x="153432" y="2375928"/>
                </a:moveTo>
                <a:cubicBezTo>
                  <a:pt x="159378" y="2375928"/>
                  <a:pt x="164170" y="2380718"/>
                  <a:pt x="164170" y="2386665"/>
                </a:cubicBezTo>
                <a:cubicBezTo>
                  <a:pt x="164170" y="2392611"/>
                  <a:pt x="159378" y="2397403"/>
                  <a:pt x="153432" y="2397403"/>
                </a:cubicBezTo>
                <a:cubicBezTo>
                  <a:pt x="147485" y="2397403"/>
                  <a:pt x="142695" y="2392611"/>
                  <a:pt x="142695" y="2386665"/>
                </a:cubicBezTo>
                <a:cubicBezTo>
                  <a:pt x="142695" y="2380718"/>
                  <a:pt x="147485" y="2375928"/>
                  <a:pt x="153432" y="2375928"/>
                </a:cubicBezTo>
                <a:close/>
                <a:moveTo>
                  <a:pt x="4561955" y="2375597"/>
                </a:moveTo>
                <a:cubicBezTo>
                  <a:pt x="4567902" y="2375597"/>
                  <a:pt x="4572691" y="2380387"/>
                  <a:pt x="4572691" y="2386333"/>
                </a:cubicBezTo>
                <a:cubicBezTo>
                  <a:pt x="4572691" y="2392280"/>
                  <a:pt x="4567902" y="2397071"/>
                  <a:pt x="4561955" y="2397071"/>
                </a:cubicBezTo>
                <a:cubicBezTo>
                  <a:pt x="4556009" y="2397071"/>
                  <a:pt x="4551219" y="2392280"/>
                  <a:pt x="4551219" y="2386333"/>
                </a:cubicBezTo>
                <a:cubicBezTo>
                  <a:pt x="4551219" y="2380387"/>
                  <a:pt x="4556009" y="2375597"/>
                  <a:pt x="4561955" y="2375597"/>
                </a:cubicBezTo>
                <a:close/>
                <a:moveTo>
                  <a:pt x="4474575" y="2371137"/>
                </a:moveTo>
                <a:cubicBezTo>
                  <a:pt x="4480521" y="2371137"/>
                  <a:pt x="4485311" y="2375927"/>
                  <a:pt x="4485311" y="2381873"/>
                </a:cubicBezTo>
                <a:cubicBezTo>
                  <a:pt x="4485311" y="2387820"/>
                  <a:pt x="4480521" y="2392611"/>
                  <a:pt x="4474575" y="2392611"/>
                </a:cubicBezTo>
                <a:cubicBezTo>
                  <a:pt x="4468628" y="2392611"/>
                  <a:pt x="4463838" y="2387820"/>
                  <a:pt x="4463838" y="2381873"/>
                </a:cubicBezTo>
                <a:cubicBezTo>
                  <a:pt x="4463838" y="2375927"/>
                  <a:pt x="4468628" y="2371137"/>
                  <a:pt x="4474575" y="2371137"/>
                </a:cubicBezTo>
                <a:close/>
                <a:moveTo>
                  <a:pt x="4522312" y="2368000"/>
                </a:moveTo>
                <a:cubicBezTo>
                  <a:pt x="4528258" y="2368000"/>
                  <a:pt x="4533050" y="2372789"/>
                  <a:pt x="4533050" y="2378736"/>
                </a:cubicBezTo>
                <a:cubicBezTo>
                  <a:pt x="4533050" y="2384682"/>
                  <a:pt x="4528258" y="2389472"/>
                  <a:pt x="4522312" y="2389472"/>
                </a:cubicBezTo>
                <a:cubicBezTo>
                  <a:pt x="4516365" y="2389472"/>
                  <a:pt x="4511575" y="2384682"/>
                  <a:pt x="4511575" y="2378736"/>
                </a:cubicBezTo>
                <a:cubicBezTo>
                  <a:pt x="4511575" y="2372789"/>
                  <a:pt x="4516365" y="2368000"/>
                  <a:pt x="4522312" y="2368000"/>
                </a:cubicBezTo>
                <a:close/>
                <a:moveTo>
                  <a:pt x="4109029" y="2367504"/>
                </a:moveTo>
                <a:cubicBezTo>
                  <a:pt x="4114975" y="2367504"/>
                  <a:pt x="4119765" y="2372293"/>
                  <a:pt x="4119765" y="2378240"/>
                </a:cubicBezTo>
                <a:cubicBezTo>
                  <a:pt x="4119765" y="2384186"/>
                  <a:pt x="4114975" y="2388978"/>
                  <a:pt x="4109029" y="2388978"/>
                </a:cubicBezTo>
                <a:cubicBezTo>
                  <a:pt x="4103082" y="2388978"/>
                  <a:pt x="4098292" y="2384186"/>
                  <a:pt x="4098292" y="2378240"/>
                </a:cubicBezTo>
                <a:cubicBezTo>
                  <a:pt x="4098292" y="2372293"/>
                  <a:pt x="4103082" y="2367504"/>
                  <a:pt x="4109029" y="2367504"/>
                </a:cubicBezTo>
                <a:close/>
                <a:moveTo>
                  <a:pt x="4372658" y="2365851"/>
                </a:moveTo>
                <a:cubicBezTo>
                  <a:pt x="4378605" y="2365851"/>
                  <a:pt x="4383396" y="2370641"/>
                  <a:pt x="4383396" y="2376587"/>
                </a:cubicBezTo>
                <a:cubicBezTo>
                  <a:pt x="4383396" y="2382534"/>
                  <a:pt x="4378605" y="2387325"/>
                  <a:pt x="4372658" y="2387325"/>
                </a:cubicBezTo>
                <a:cubicBezTo>
                  <a:pt x="4366712" y="2387325"/>
                  <a:pt x="4361922" y="2382534"/>
                  <a:pt x="4361922" y="2376587"/>
                </a:cubicBezTo>
                <a:cubicBezTo>
                  <a:pt x="4361922" y="2370641"/>
                  <a:pt x="4366712" y="2365851"/>
                  <a:pt x="4372658" y="2365851"/>
                </a:cubicBezTo>
                <a:close/>
                <a:moveTo>
                  <a:pt x="4614152" y="2363043"/>
                </a:moveTo>
                <a:cubicBezTo>
                  <a:pt x="4620099" y="2363043"/>
                  <a:pt x="4624890" y="2367833"/>
                  <a:pt x="4624890" y="2373780"/>
                </a:cubicBezTo>
                <a:cubicBezTo>
                  <a:pt x="4624890" y="2379726"/>
                  <a:pt x="4620099" y="2384518"/>
                  <a:pt x="4614152" y="2384518"/>
                </a:cubicBezTo>
                <a:cubicBezTo>
                  <a:pt x="4608206" y="2384518"/>
                  <a:pt x="4603416" y="2379726"/>
                  <a:pt x="4603416" y="2373780"/>
                </a:cubicBezTo>
                <a:cubicBezTo>
                  <a:pt x="4603416" y="2367833"/>
                  <a:pt x="4608206" y="2363043"/>
                  <a:pt x="4614152" y="2363043"/>
                </a:cubicBezTo>
                <a:close/>
                <a:moveTo>
                  <a:pt x="3481175" y="2362878"/>
                </a:moveTo>
                <a:cubicBezTo>
                  <a:pt x="3487106" y="2362878"/>
                  <a:pt x="3491913" y="2367686"/>
                  <a:pt x="3491913" y="2373615"/>
                </a:cubicBezTo>
                <a:cubicBezTo>
                  <a:pt x="3491913" y="2379546"/>
                  <a:pt x="3487106" y="2384351"/>
                  <a:pt x="3481175" y="2384351"/>
                </a:cubicBezTo>
                <a:cubicBezTo>
                  <a:pt x="3475246" y="2384351"/>
                  <a:pt x="3470439" y="2379546"/>
                  <a:pt x="3470439" y="2373615"/>
                </a:cubicBezTo>
                <a:cubicBezTo>
                  <a:pt x="3470439" y="2367686"/>
                  <a:pt x="3475246" y="2362878"/>
                  <a:pt x="3481175" y="2362878"/>
                </a:cubicBezTo>
                <a:close/>
                <a:moveTo>
                  <a:pt x="4546925" y="2362714"/>
                </a:moveTo>
                <a:cubicBezTo>
                  <a:pt x="4552871" y="2362714"/>
                  <a:pt x="4557661" y="2367504"/>
                  <a:pt x="4557661" y="2373450"/>
                </a:cubicBezTo>
                <a:cubicBezTo>
                  <a:pt x="4557661" y="2379397"/>
                  <a:pt x="4552871" y="2384188"/>
                  <a:pt x="4546925" y="2384188"/>
                </a:cubicBezTo>
                <a:cubicBezTo>
                  <a:pt x="4540978" y="2384188"/>
                  <a:pt x="4536188" y="2379397"/>
                  <a:pt x="4536188" y="2373450"/>
                </a:cubicBezTo>
                <a:cubicBezTo>
                  <a:pt x="4536188" y="2367504"/>
                  <a:pt x="4540978" y="2362714"/>
                  <a:pt x="4546925" y="2362714"/>
                </a:cubicBezTo>
                <a:close/>
                <a:moveTo>
                  <a:pt x="4572031" y="2359904"/>
                </a:moveTo>
                <a:cubicBezTo>
                  <a:pt x="4577977" y="2359904"/>
                  <a:pt x="4582767" y="2364694"/>
                  <a:pt x="4582767" y="2370641"/>
                </a:cubicBezTo>
                <a:cubicBezTo>
                  <a:pt x="4582767" y="2376587"/>
                  <a:pt x="4577977" y="2381379"/>
                  <a:pt x="4572031" y="2381379"/>
                </a:cubicBezTo>
                <a:cubicBezTo>
                  <a:pt x="4566084" y="2381379"/>
                  <a:pt x="4561294" y="2376587"/>
                  <a:pt x="4561294" y="2370641"/>
                </a:cubicBezTo>
                <a:cubicBezTo>
                  <a:pt x="4561294" y="2364694"/>
                  <a:pt x="4566084" y="2359904"/>
                  <a:pt x="4572031" y="2359904"/>
                </a:cubicBezTo>
                <a:close/>
                <a:moveTo>
                  <a:pt x="4629680" y="2354619"/>
                </a:moveTo>
                <a:cubicBezTo>
                  <a:pt x="4633603" y="2354619"/>
                  <a:pt x="4636783" y="2357799"/>
                  <a:pt x="4636783" y="2361722"/>
                </a:cubicBezTo>
                <a:cubicBezTo>
                  <a:pt x="4636783" y="2365645"/>
                  <a:pt x="4633603" y="2368823"/>
                  <a:pt x="4629680" y="2368823"/>
                </a:cubicBezTo>
                <a:cubicBezTo>
                  <a:pt x="4625758" y="2368823"/>
                  <a:pt x="4622577" y="2365645"/>
                  <a:pt x="4622577" y="2361722"/>
                </a:cubicBezTo>
                <a:cubicBezTo>
                  <a:pt x="4622577" y="2357799"/>
                  <a:pt x="4625758" y="2354619"/>
                  <a:pt x="4629680" y="2354619"/>
                </a:cubicBezTo>
                <a:close/>
                <a:moveTo>
                  <a:pt x="17983" y="2351811"/>
                </a:moveTo>
                <a:cubicBezTo>
                  <a:pt x="23929" y="2351811"/>
                  <a:pt x="28719" y="2356601"/>
                  <a:pt x="28719" y="2362547"/>
                </a:cubicBezTo>
                <a:cubicBezTo>
                  <a:pt x="28719" y="2368494"/>
                  <a:pt x="23929" y="2373285"/>
                  <a:pt x="17983" y="2373285"/>
                </a:cubicBezTo>
                <a:cubicBezTo>
                  <a:pt x="12036" y="2373285"/>
                  <a:pt x="7247" y="2368494"/>
                  <a:pt x="7247" y="2362547"/>
                </a:cubicBezTo>
                <a:cubicBezTo>
                  <a:pt x="7247" y="2356601"/>
                  <a:pt x="12036" y="2351811"/>
                  <a:pt x="17983" y="2351811"/>
                </a:cubicBezTo>
                <a:close/>
                <a:moveTo>
                  <a:pt x="4493404" y="2349333"/>
                </a:moveTo>
                <a:cubicBezTo>
                  <a:pt x="4499351" y="2349333"/>
                  <a:pt x="4504142" y="2354123"/>
                  <a:pt x="4504142" y="2360069"/>
                </a:cubicBezTo>
                <a:cubicBezTo>
                  <a:pt x="4504142" y="2366016"/>
                  <a:pt x="4499351" y="2370807"/>
                  <a:pt x="4493404" y="2370807"/>
                </a:cubicBezTo>
                <a:cubicBezTo>
                  <a:pt x="4487458" y="2370807"/>
                  <a:pt x="4482668" y="2366016"/>
                  <a:pt x="4482668" y="2360069"/>
                </a:cubicBezTo>
                <a:cubicBezTo>
                  <a:pt x="4482668" y="2354123"/>
                  <a:pt x="4487458" y="2349333"/>
                  <a:pt x="4493404" y="2349333"/>
                </a:cubicBezTo>
                <a:close/>
                <a:moveTo>
                  <a:pt x="4533214" y="2348011"/>
                </a:moveTo>
                <a:cubicBezTo>
                  <a:pt x="4539161" y="2348011"/>
                  <a:pt x="4543952" y="2352801"/>
                  <a:pt x="4543952" y="2358748"/>
                </a:cubicBezTo>
                <a:cubicBezTo>
                  <a:pt x="4543952" y="2364694"/>
                  <a:pt x="4539161" y="2369486"/>
                  <a:pt x="4533214" y="2369486"/>
                </a:cubicBezTo>
                <a:cubicBezTo>
                  <a:pt x="4527268" y="2369486"/>
                  <a:pt x="4522478" y="2364694"/>
                  <a:pt x="4522478" y="2358748"/>
                </a:cubicBezTo>
                <a:cubicBezTo>
                  <a:pt x="4522478" y="2352801"/>
                  <a:pt x="4527268" y="2348011"/>
                  <a:pt x="4533214" y="2348011"/>
                </a:cubicBezTo>
                <a:close/>
                <a:moveTo>
                  <a:pt x="4582769" y="2345204"/>
                </a:moveTo>
                <a:cubicBezTo>
                  <a:pt x="4588715" y="2345204"/>
                  <a:pt x="4593507" y="2349993"/>
                  <a:pt x="4593507" y="2355940"/>
                </a:cubicBezTo>
                <a:cubicBezTo>
                  <a:pt x="4593507" y="2361887"/>
                  <a:pt x="4588715" y="2366678"/>
                  <a:pt x="4582769" y="2366678"/>
                </a:cubicBezTo>
                <a:cubicBezTo>
                  <a:pt x="4576822" y="2366678"/>
                  <a:pt x="4572032" y="2361887"/>
                  <a:pt x="4572032" y="2355940"/>
                </a:cubicBezTo>
                <a:cubicBezTo>
                  <a:pt x="4572032" y="2349993"/>
                  <a:pt x="4576822" y="2345204"/>
                  <a:pt x="4582769" y="2345204"/>
                </a:cubicBezTo>
                <a:close/>
                <a:moveTo>
                  <a:pt x="4555679" y="2345204"/>
                </a:moveTo>
                <a:cubicBezTo>
                  <a:pt x="4561626" y="2345204"/>
                  <a:pt x="4566415" y="2349993"/>
                  <a:pt x="4566415" y="2355940"/>
                </a:cubicBezTo>
                <a:cubicBezTo>
                  <a:pt x="4566415" y="2361887"/>
                  <a:pt x="4561626" y="2366678"/>
                  <a:pt x="4555679" y="2366678"/>
                </a:cubicBezTo>
                <a:cubicBezTo>
                  <a:pt x="4549732" y="2366678"/>
                  <a:pt x="4544943" y="2361887"/>
                  <a:pt x="4544943" y="2355940"/>
                </a:cubicBezTo>
                <a:cubicBezTo>
                  <a:pt x="4544943" y="2349993"/>
                  <a:pt x="4549732" y="2345204"/>
                  <a:pt x="4555679" y="2345204"/>
                </a:cubicBezTo>
                <a:close/>
                <a:moveTo>
                  <a:pt x="4175762" y="2343551"/>
                </a:moveTo>
                <a:cubicBezTo>
                  <a:pt x="4181709" y="2343551"/>
                  <a:pt x="4186498" y="2348341"/>
                  <a:pt x="4186498" y="2354287"/>
                </a:cubicBezTo>
                <a:cubicBezTo>
                  <a:pt x="4186498" y="2360234"/>
                  <a:pt x="4181709" y="2365025"/>
                  <a:pt x="4175762" y="2365025"/>
                </a:cubicBezTo>
                <a:cubicBezTo>
                  <a:pt x="4169815" y="2365025"/>
                  <a:pt x="4165026" y="2360234"/>
                  <a:pt x="4165026" y="2354287"/>
                </a:cubicBezTo>
                <a:cubicBezTo>
                  <a:pt x="4165026" y="2348341"/>
                  <a:pt x="4169815" y="2343551"/>
                  <a:pt x="4175762" y="2343551"/>
                </a:cubicBezTo>
                <a:close/>
                <a:moveTo>
                  <a:pt x="4407016" y="2342726"/>
                </a:moveTo>
                <a:cubicBezTo>
                  <a:pt x="4412962" y="2342726"/>
                  <a:pt x="4417752" y="2347515"/>
                  <a:pt x="4417752" y="2353462"/>
                </a:cubicBezTo>
                <a:cubicBezTo>
                  <a:pt x="4417752" y="2359408"/>
                  <a:pt x="4412962" y="2364200"/>
                  <a:pt x="4407016" y="2364200"/>
                </a:cubicBezTo>
                <a:cubicBezTo>
                  <a:pt x="4401069" y="2364200"/>
                  <a:pt x="4396279" y="2359408"/>
                  <a:pt x="4396279" y="2353462"/>
                </a:cubicBezTo>
                <a:cubicBezTo>
                  <a:pt x="4396279" y="2347515"/>
                  <a:pt x="4401069" y="2342726"/>
                  <a:pt x="4407016" y="2342726"/>
                </a:cubicBezTo>
                <a:close/>
                <a:moveTo>
                  <a:pt x="3610016" y="2339257"/>
                </a:moveTo>
                <a:cubicBezTo>
                  <a:pt x="3615963" y="2339257"/>
                  <a:pt x="3620753" y="2344047"/>
                  <a:pt x="3620753" y="2349993"/>
                </a:cubicBezTo>
                <a:cubicBezTo>
                  <a:pt x="3620753" y="2355940"/>
                  <a:pt x="3615963" y="2360732"/>
                  <a:pt x="3610016" y="2360732"/>
                </a:cubicBezTo>
                <a:cubicBezTo>
                  <a:pt x="3604070" y="2360732"/>
                  <a:pt x="3599280" y="2355940"/>
                  <a:pt x="3599280" y="2349993"/>
                </a:cubicBezTo>
                <a:cubicBezTo>
                  <a:pt x="3599280" y="2344047"/>
                  <a:pt x="3604070" y="2339257"/>
                  <a:pt x="3610016" y="2339257"/>
                </a:cubicBezTo>
                <a:close/>
                <a:moveTo>
                  <a:pt x="4594001" y="2331328"/>
                </a:moveTo>
                <a:cubicBezTo>
                  <a:pt x="4599948" y="2331328"/>
                  <a:pt x="4604739" y="2336118"/>
                  <a:pt x="4604739" y="2342065"/>
                </a:cubicBezTo>
                <a:cubicBezTo>
                  <a:pt x="4604739" y="2348011"/>
                  <a:pt x="4599948" y="2352801"/>
                  <a:pt x="4594001" y="2352801"/>
                </a:cubicBezTo>
                <a:cubicBezTo>
                  <a:pt x="4588055" y="2352801"/>
                  <a:pt x="4583265" y="2348011"/>
                  <a:pt x="4583265" y="2342065"/>
                </a:cubicBezTo>
                <a:cubicBezTo>
                  <a:pt x="4583265" y="2336118"/>
                  <a:pt x="4588055" y="2331328"/>
                  <a:pt x="4594001" y="2331328"/>
                </a:cubicBezTo>
                <a:close/>
                <a:moveTo>
                  <a:pt x="4542960" y="2329017"/>
                </a:moveTo>
                <a:cubicBezTo>
                  <a:pt x="4548891" y="2329017"/>
                  <a:pt x="4553699" y="2333824"/>
                  <a:pt x="4553699" y="2339753"/>
                </a:cubicBezTo>
                <a:cubicBezTo>
                  <a:pt x="4553699" y="2345684"/>
                  <a:pt x="4548891" y="2350489"/>
                  <a:pt x="4542960" y="2350489"/>
                </a:cubicBezTo>
                <a:cubicBezTo>
                  <a:pt x="4537031" y="2350489"/>
                  <a:pt x="4532224" y="2345684"/>
                  <a:pt x="4532224" y="2339753"/>
                </a:cubicBezTo>
                <a:cubicBezTo>
                  <a:pt x="4532224" y="2333824"/>
                  <a:pt x="4537031" y="2329017"/>
                  <a:pt x="4542960" y="2329017"/>
                </a:cubicBezTo>
                <a:close/>
                <a:moveTo>
                  <a:pt x="4564268" y="2328521"/>
                </a:moveTo>
                <a:cubicBezTo>
                  <a:pt x="4570215" y="2328521"/>
                  <a:pt x="4575005" y="2333311"/>
                  <a:pt x="4575005" y="2339257"/>
                </a:cubicBezTo>
                <a:cubicBezTo>
                  <a:pt x="4575005" y="2345204"/>
                  <a:pt x="4570215" y="2349995"/>
                  <a:pt x="4564268" y="2349995"/>
                </a:cubicBezTo>
                <a:cubicBezTo>
                  <a:pt x="4558322" y="2349995"/>
                  <a:pt x="4553532" y="2345204"/>
                  <a:pt x="4553532" y="2339257"/>
                </a:cubicBezTo>
                <a:cubicBezTo>
                  <a:pt x="4553532" y="2333311"/>
                  <a:pt x="4558322" y="2328521"/>
                  <a:pt x="4564268" y="2328521"/>
                </a:cubicBezTo>
                <a:close/>
                <a:moveTo>
                  <a:pt x="4509758" y="2328354"/>
                </a:moveTo>
                <a:cubicBezTo>
                  <a:pt x="4515704" y="2328354"/>
                  <a:pt x="4520494" y="2333144"/>
                  <a:pt x="4520494" y="2339091"/>
                </a:cubicBezTo>
                <a:cubicBezTo>
                  <a:pt x="4520494" y="2345037"/>
                  <a:pt x="4515704" y="2349829"/>
                  <a:pt x="4509758" y="2349829"/>
                </a:cubicBezTo>
                <a:cubicBezTo>
                  <a:pt x="4503811" y="2349829"/>
                  <a:pt x="4499021" y="2345037"/>
                  <a:pt x="4499021" y="2339091"/>
                </a:cubicBezTo>
                <a:cubicBezTo>
                  <a:pt x="4499021" y="2333144"/>
                  <a:pt x="4503811" y="2328354"/>
                  <a:pt x="4509758" y="2328354"/>
                </a:cubicBezTo>
                <a:close/>
                <a:moveTo>
                  <a:pt x="4436913" y="2320592"/>
                </a:moveTo>
                <a:cubicBezTo>
                  <a:pt x="4442860" y="2320592"/>
                  <a:pt x="4447650" y="2325382"/>
                  <a:pt x="4447650" y="2331328"/>
                </a:cubicBezTo>
                <a:cubicBezTo>
                  <a:pt x="4447650" y="2337275"/>
                  <a:pt x="4442860" y="2342067"/>
                  <a:pt x="4436913" y="2342067"/>
                </a:cubicBezTo>
                <a:cubicBezTo>
                  <a:pt x="4430967" y="2342067"/>
                  <a:pt x="4426177" y="2337275"/>
                  <a:pt x="4426177" y="2331328"/>
                </a:cubicBezTo>
                <a:cubicBezTo>
                  <a:pt x="4426177" y="2325382"/>
                  <a:pt x="4430967" y="2320592"/>
                  <a:pt x="4436913" y="2320592"/>
                </a:cubicBezTo>
                <a:close/>
                <a:moveTo>
                  <a:pt x="4235227" y="2320261"/>
                </a:moveTo>
                <a:cubicBezTo>
                  <a:pt x="4241174" y="2320261"/>
                  <a:pt x="4245964" y="2325051"/>
                  <a:pt x="4245964" y="2330997"/>
                </a:cubicBezTo>
                <a:cubicBezTo>
                  <a:pt x="4245964" y="2336944"/>
                  <a:pt x="4241174" y="2341735"/>
                  <a:pt x="4235227" y="2341735"/>
                </a:cubicBezTo>
                <a:cubicBezTo>
                  <a:pt x="4229281" y="2341735"/>
                  <a:pt x="4224491" y="2336944"/>
                  <a:pt x="4224491" y="2330997"/>
                </a:cubicBezTo>
                <a:cubicBezTo>
                  <a:pt x="4224491" y="2325051"/>
                  <a:pt x="4229281" y="2320261"/>
                  <a:pt x="4235227" y="2320261"/>
                </a:cubicBezTo>
                <a:close/>
                <a:moveTo>
                  <a:pt x="4606224" y="2318279"/>
                </a:moveTo>
                <a:cubicBezTo>
                  <a:pt x="4612170" y="2318279"/>
                  <a:pt x="4616960" y="2323069"/>
                  <a:pt x="4616960" y="2329015"/>
                </a:cubicBezTo>
                <a:cubicBezTo>
                  <a:pt x="4616960" y="2334962"/>
                  <a:pt x="4612170" y="2339753"/>
                  <a:pt x="4606224" y="2339753"/>
                </a:cubicBezTo>
                <a:cubicBezTo>
                  <a:pt x="4600277" y="2339753"/>
                  <a:pt x="4595487" y="2334962"/>
                  <a:pt x="4595487" y="2329015"/>
                </a:cubicBezTo>
                <a:cubicBezTo>
                  <a:pt x="4595487" y="2323069"/>
                  <a:pt x="4600277" y="2318279"/>
                  <a:pt x="4606224" y="2318279"/>
                </a:cubicBezTo>
                <a:close/>
                <a:moveTo>
                  <a:pt x="3727459" y="2315967"/>
                </a:moveTo>
                <a:cubicBezTo>
                  <a:pt x="3733406" y="2315967"/>
                  <a:pt x="3738197" y="2320757"/>
                  <a:pt x="3738197" y="2326703"/>
                </a:cubicBezTo>
                <a:cubicBezTo>
                  <a:pt x="3738197" y="2332650"/>
                  <a:pt x="3733406" y="2337441"/>
                  <a:pt x="3727459" y="2337441"/>
                </a:cubicBezTo>
                <a:cubicBezTo>
                  <a:pt x="3721513" y="2337441"/>
                  <a:pt x="3716723" y="2332650"/>
                  <a:pt x="3716723" y="2326703"/>
                </a:cubicBezTo>
                <a:cubicBezTo>
                  <a:pt x="3716723" y="2320757"/>
                  <a:pt x="3721513" y="2315967"/>
                  <a:pt x="3727459" y="2315967"/>
                </a:cubicBezTo>
                <a:close/>
                <a:moveTo>
                  <a:pt x="1847531" y="2315471"/>
                </a:moveTo>
                <a:cubicBezTo>
                  <a:pt x="1853478" y="2315471"/>
                  <a:pt x="1858269" y="2320261"/>
                  <a:pt x="1858269" y="2326207"/>
                </a:cubicBezTo>
                <a:cubicBezTo>
                  <a:pt x="1858269" y="2332154"/>
                  <a:pt x="1853478" y="2336945"/>
                  <a:pt x="1847531" y="2336945"/>
                </a:cubicBezTo>
                <a:cubicBezTo>
                  <a:pt x="1841584" y="2336945"/>
                  <a:pt x="1836795" y="2332154"/>
                  <a:pt x="1836795" y="2326207"/>
                </a:cubicBezTo>
                <a:cubicBezTo>
                  <a:pt x="1836795" y="2320261"/>
                  <a:pt x="1841584" y="2315471"/>
                  <a:pt x="1847531" y="2315471"/>
                </a:cubicBezTo>
                <a:close/>
                <a:moveTo>
                  <a:pt x="1596951" y="2313324"/>
                </a:moveTo>
                <a:cubicBezTo>
                  <a:pt x="1602898" y="2313324"/>
                  <a:pt x="1607689" y="2318114"/>
                  <a:pt x="1607689" y="2324060"/>
                </a:cubicBezTo>
                <a:cubicBezTo>
                  <a:pt x="1607689" y="2330007"/>
                  <a:pt x="1602898" y="2334799"/>
                  <a:pt x="1596951" y="2334799"/>
                </a:cubicBezTo>
                <a:cubicBezTo>
                  <a:pt x="1591005" y="2334799"/>
                  <a:pt x="1586215" y="2330007"/>
                  <a:pt x="1586215" y="2324060"/>
                </a:cubicBezTo>
                <a:cubicBezTo>
                  <a:pt x="1586215" y="2318114"/>
                  <a:pt x="1591005" y="2313324"/>
                  <a:pt x="1596951" y="2313324"/>
                </a:cubicBezTo>
                <a:close/>
                <a:moveTo>
                  <a:pt x="4573023" y="2312993"/>
                </a:moveTo>
                <a:cubicBezTo>
                  <a:pt x="4578969" y="2312993"/>
                  <a:pt x="4583761" y="2317783"/>
                  <a:pt x="4583761" y="2323729"/>
                </a:cubicBezTo>
                <a:cubicBezTo>
                  <a:pt x="4583761" y="2329676"/>
                  <a:pt x="4578969" y="2334466"/>
                  <a:pt x="4573023" y="2334466"/>
                </a:cubicBezTo>
                <a:cubicBezTo>
                  <a:pt x="4567076" y="2334466"/>
                  <a:pt x="4562286" y="2329676"/>
                  <a:pt x="4562286" y="2323729"/>
                </a:cubicBezTo>
                <a:cubicBezTo>
                  <a:pt x="4562286" y="2317783"/>
                  <a:pt x="4567076" y="2312993"/>
                  <a:pt x="4573023" y="2312993"/>
                </a:cubicBezTo>
                <a:close/>
                <a:moveTo>
                  <a:pt x="4551715" y="2311011"/>
                </a:moveTo>
                <a:cubicBezTo>
                  <a:pt x="4557661" y="2311011"/>
                  <a:pt x="4562453" y="2315801"/>
                  <a:pt x="4562453" y="2321747"/>
                </a:cubicBezTo>
                <a:cubicBezTo>
                  <a:pt x="4562453" y="2327694"/>
                  <a:pt x="4557661" y="2332485"/>
                  <a:pt x="4551715" y="2332485"/>
                </a:cubicBezTo>
                <a:cubicBezTo>
                  <a:pt x="4545768" y="2332485"/>
                  <a:pt x="4540978" y="2327694"/>
                  <a:pt x="4540978" y="2321747"/>
                </a:cubicBezTo>
                <a:cubicBezTo>
                  <a:pt x="4540978" y="2315801"/>
                  <a:pt x="4545768" y="2311011"/>
                  <a:pt x="4551715" y="2311011"/>
                </a:cubicBezTo>
                <a:close/>
                <a:moveTo>
                  <a:pt x="2095138" y="2308699"/>
                </a:moveTo>
                <a:cubicBezTo>
                  <a:pt x="2101085" y="2308699"/>
                  <a:pt x="2105876" y="2313489"/>
                  <a:pt x="2105876" y="2319435"/>
                </a:cubicBezTo>
                <a:cubicBezTo>
                  <a:pt x="2105876" y="2325382"/>
                  <a:pt x="2101085" y="2330173"/>
                  <a:pt x="2095138" y="2330173"/>
                </a:cubicBezTo>
                <a:cubicBezTo>
                  <a:pt x="2089192" y="2330173"/>
                  <a:pt x="2084402" y="2325382"/>
                  <a:pt x="2084402" y="2319435"/>
                </a:cubicBezTo>
                <a:cubicBezTo>
                  <a:pt x="2084402" y="2313489"/>
                  <a:pt x="2089192" y="2308699"/>
                  <a:pt x="2095138" y="2308699"/>
                </a:cubicBezTo>
                <a:close/>
                <a:moveTo>
                  <a:pt x="4523798" y="2308368"/>
                </a:moveTo>
                <a:cubicBezTo>
                  <a:pt x="4529744" y="2308368"/>
                  <a:pt x="4534536" y="2313158"/>
                  <a:pt x="4534536" y="2319104"/>
                </a:cubicBezTo>
                <a:cubicBezTo>
                  <a:pt x="4534536" y="2325051"/>
                  <a:pt x="4529744" y="2329841"/>
                  <a:pt x="4523798" y="2329841"/>
                </a:cubicBezTo>
                <a:cubicBezTo>
                  <a:pt x="4517851" y="2329841"/>
                  <a:pt x="4513061" y="2325051"/>
                  <a:pt x="4513061" y="2319104"/>
                </a:cubicBezTo>
                <a:cubicBezTo>
                  <a:pt x="4513061" y="2313158"/>
                  <a:pt x="4517851" y="2308368"/>
                  <a:pt x="4523798" y="2308368"/>
                </a:cubicBezTo>
                <a:close/>
                <a:moveTo>
                  <a:pt x="4619273" y="2306056"/>
                </a:moveTo>
                <a:cubicBezTo>
                  <a:pt x="4625220" y="2306056"/>
                  <a:pt x="4630010" y="2310846"/>
                  <a:pt x="4630010" y="2316792"/>
                </a:cubicBezTo>
                <a:cubicBezTo>
                  <a:pt x="4630010" y="2322739"/>
                  <a:pt x="4625220" y="2327529"/>
                  <a:pt x="4619273" y="2327529"/>
                </a:cubicBezTo>
                <a:cubicBezTo>
                  <a:pt x="4613327" y="2327529"/>
                  <a:pt x="4608537" y="2322739"/>
                  <a:pt x="4608537" y="2316792"/>
                </a:cubicBezTo>
                <a:cubicBezTo>
                  <a:pt x="4608537" y="2310846"/>
                  <a:pt x="4613327" y="2306056"/>
                  <a:pt x="4619273" y="2306056"/>
                </a:cubicBezTo>
                <a:close/>
                <a:moveTo>
                  <a:pt x="1353640" y="2303082"/>
                </a:moveTo>
                <a:cubicBezTo>
                  <a:pt x="1359586" y="2303082"/>
                  <a:pt x="1364378" y="2307872"/>
                  <a:pt x="1364378" y="2313818"/>
                </a:cubicBezTo>
                <a:cubicBezTo>
                  <a:pt x="1364378" y="2319765"/>
                  <a:pt x="1359586" y="2324556"/>
                  <a:pt x="1353640" y="2324556"/>
                </a:cubicBezTo>
                <a:cubicBezTo>
                  <a:pt x="1347693" y="2324556"/>
                  <a:pt x="1342903" y="2319765"/>
                  <a:pt x="1342903" y="2313818"/>
                </a:cubicBezTo>
                <a:cubicBezTo>
                  <a:pt x="1342903" y="2307872"/>
                  <a:pt x="1347693" y="2303082"/>
                  <a:pt x="1353640" y="2303082"/>
                </a:cubicBezTo>
                <a:close/>
                <a:moveTo>
                  <a:pt x="4463011" y="2299284"/>
                </a:moveTo>
                <a:cubicBezTo>
                  <a:pt x="4468958" y="2299284"/>
                  <a:pt x="4473749" y="2304074"/>
                  <a:pt x="4473749" y="2310020"/>
                </a:cubicBezTo>
                <a:cubicBezTo>
                  <a:pt x="4473749" y="2315967"/>
                  <a:pt x="4468958" y="2320759"/>
                  <a:pt x="4463011" y="2320759"/>
                </a:cubicBezTo>
                <a:cubicBezTo>
                  <a:pt x="4457064" y="2320759"/>
                  <a:pt x="4452275" y="2315967"/>
                  <a:pt x="4452275" y="2310020"/>
                </a:cubicBezTo>
                <a:cubicBezTo>
                  <a:pt x="4452275" y="2304074"/>
                  <a:pt x="4457064" y="2299284"/>
                  <a:pt x="4463011" y="2299284"/>
                </a:cubicBezTo>
                <a:close/>
                <a:moveTo>
                  <a:pt x="4581943" y="2298127"/>
                </a:moveTo>
                <a:cubicBezTo>
                  <a:pt x="4587890" y="2298127"/>
                  <a:pt x="4592680" y="2302917"/>
                  <a:pt x="4592680" y="2308864"/>
                </a:cubicBezTo>
                <a:cubicBezTo>
                  <a:pt x="4592680" y="2314810"/>
                  <a:pt x="4587890" y="2319602"/>
                  <a:pt x="4581943" y="2319602"/>
                </a:cubicBezTo>
                <a:cubicBezTo>
                  <a:pt x="4575997" y="2319602"/>
                  <a:pt x="4571207" y="2314810"/>
                  <a:pt x="4571207" y="2308864"/>
                </a:cubicBezTo>
                <a:cubicBezTo>
                  <a:pt x="4571207" y="2302917"/>
                  <a:pt x="4575997" y="2298127"/>
                  <a:pt x="4581943" y="2298127"/>
                </a:cubicBezTo>
                <a:close/>
                <a:moveTo>
                  <a:pt x="4288085" y="2297963"/>
                </a:moveTo>
                <a:cubicBezTo>
                  <a:pt x="4294032" y="2297963"/>
                  <a:pt x="4298823" y="2302753"/>
                  <a:pt x="4298823" y="2308699"/>
                </a:cubicBezTo>
                <a:cubicBezTo>
                  <a:pt x="4298823" y="2314646"/>
                  <a:pt x="4294032" y="2319437"/>
                  <a:pt x="4288085" y="2319437"/>
                </a:cubicBezTo>
                <a:cubicBezTo>
                  <a:pt x="4282139" y="2319437"/>
                  <a:pt x="4277349" y="2314646"/>
                  <a:pt x="4277349" y="2308699"/>
                </a:cubicBezTo>
                <a:cubicBezTo>
                  <a:pt x="4277349" y="2302753"/>
                  <a:pt x="4282139" y="2297963"/>
                  <a:pt x="4288085" y="2297963"/>
                </a:cubicBezTo>
                <a:close/>
                <a:moveTo>
                  <a:pt x="2331843" y="2295318"/>
                </a:moveTo>
                <a:cubicBezTo>
                  <a:pt x="2337789" y="2295318"/>
                  <a:pt x="2342581" y="2300108"/>
                  <a:pt x="2342581" y="2306054"/>
                </a:cubicBezTo>
                <a:cubicBezTo>
                  <a:pt x="2342581" y="2312001"/>
                  <a:pt x="2337789" y="2316792"/>
                  <a:pt x="2331843" y="2316792"/>
                </a:cubicBezTo>
                <a:cubicBezTo>
                  <a:pt x="2325896" y="2316792"/>
                  <a:pt x="2321106" y="2312001"/>
                  <a:pt x="2321106" y="2306054"/>
                </a:cubicBezTo>
                <a:cubicBezTo>
                  <a:pt x="2321106" y="2300108"/>
                  <a:pt x="2325896" y="2295318"/>
                  <a:pt x="2331843" y="2295318"/>
                </a:cubicBezTo>
                <a:close/>
                <a:moveTo>
                  <a:pt x="4633313" y="2294659"/>
                </a:moveTo>
                <a:cubicBezTo>
                  <a:pt x="4639260" y="2294659"/>
                  <a:pt x="4644051" y="2299449"/>
                  <a:pt x="4644051" y="2305395"/>
                </a:cubicBezTo>
                <a:cubicBezTo>
                  <a:pt x="4644051" y="2311342"/>
                  <a:pt x="4639260" y="2316132"/>
                  <a:pt x="4633313" y="2316132"/>
                </a:cubicBezTo>
                <a:cubicBezTo>
                  <a:pt x="4627367" y="2316132"/>
                  <a:pt x="4622577" y="2311342"/>
                  <a:pt x="4622577" y="2305395"/>
                </a:cubicBezTo>
                <a:cubicBezTo>
                  <a:pt x="4622577" y="2299449"/>
                  <a:pt x="4627367" y="2294659"/>
                  <a:pt x="4633313" y="2294659"/>
                </a:cubicBezTo>
                <a:close/>
                <a:moveTo>
                  <a:pt x="4559973" y="2293832"/>
                </a:moveTo>
                <a:cubicBezTo>
                  <a:pt x="4565919" y="2293832"/>
                  <a:pt x="4570711" y="2298622"/>
                  <a:pt x="4570711" y="2304568"/>
                </a:cubicBezTo>
                <a:cubicBezTo>
                  <a:pt x="4570711" y="2310515"/>
                  <a:pt x="4565919" y="2315306"/>
                  <a:pt x="4559973" y="2315306"/>
                </a:cubicBezTo>
                <a:cubicBezTo>
                  <a:pt x="4554026" y="2315306"/>
                  <a:pt x="4549237" y="2310515"/>
                  <a:pt x="4549237" y="2304568"/>
                </a:cubicBezTo>
                <a:cubicBezTo>
                  <a:pt x="4549237" y="2298622"/>
                  <a:pt x="4554026" y="2293832"/>
                  <a:pt x="4559973" y="2293832"/>
                </a:cubicBezTo>
                <a:close/>
                <a:moveTo>
                  <a:pt x="3834002" y="2293502"/>
                </a:moveTo>
                <a:cubicBezTo>
                  <a:pt x="3839949" y="2293502"/>
                  <a:pt x="3844739" y="2298292"/>
                  <a:pt x="3844739" y="2304239"/>
                </a:cubicBezTo>
                <a:cubicBezTo>
                  <a:pt x="3844739" y="2310185"/>
                  <a:pt x="3839949" y="2314977"/>
                  <a:pt x="3834002" y="2314977"/>
                </a:cubicBezTo>
                <a:cubicBezTo>
                  <a:pt x="3828056" y="2314977"/>
                  <a:pt x="3823266" y="2310185"/>
                  <a:pt x="3823266" y="2304239"/>
                </a:cubicBezTo>
                <a:cubicBezTo>
                  <a:pt x="3823266" y="2298292"/>
                  <a:pt x="3828056" y="2293502"/>
                  <a:pt x="3834002" y="2293502"/>
                </a:cubicBezTo>
                <a:close/>
                <a:moveTo>
                  <a:pt x="4648512" y="2290199"/>
                </a:moveTo>
                <a:cubicBezTo>
                  <a:pt x="4650823" y="2290199"/>
                  <a:pt x="4652806" y="2292181"/>
                  <a:pt x="4652806" y="2294493"/>
                </a:cubicBezTo>
                <a:cubicBezTo>
                  <a:pt x="4652806" y="2296806"/>
                  <a:pt x="4650823" y="2298788"/>
                  <a:pt x="4648512" y="2298788"/>
                </a:cubicBezTo>
                <a:cubicBezTo>
                  <a:pt x="4646198" y="2298788"/>
                  <a:pt x="4644216" y="2296806"/>
                  <a:pt x="4644216" y="2294493"/>
                </a:cubicBezTo>
                <a:cubicBezTo>
                  <a:pt x="4644216" y="2292181"/>
                  <a:pt x="4646198" y="2290199"/>
                  <a:pt x="4648512" y="2290199"/>
                </a:cubicBezTo>
                <a:close/>
                <a:moveTo>
                  <a:pt x="4536022" y="2289372"/>
                </a:moveTo>
                <a:cubicBezTo>
                  <a:pt x="4541969" y="2289372"/>
                  <a:pt x="4546758" y="2294161"/>
                  <a:pt x="4546758" y="2300108"/>
                </a:cubicBezTo>
                <a:cubicBezTo>
                  <a:pt x="4546758" y="2306054"/>
                  <a:pt x="4541969" y="2310846"/>
                  <a:pt x="4536022" y="2310846"/>
                </a:cubicBezTo>
                <a:cubicBezTo>
                  <a:pt x="4530075" y="2310846"/>
                  <a:pt x="4525286" y="2306054"/>
                  <a:pt x="4525286" y="2300108"/>
                </a:cubicBezTo>
                <a:cubicBezTo>
                  <a:pt x="4525286" y="2294161"/>
                  <a:pt x="4530075" y="2289372"/>
                  <a:pt x="4536022" y="2289372"/>
                </a:cubicBezTo>
                <a:close/>
                <a:moveTo>
                  <a:pt x="1123541" y="2287885"/>
                </a:moveTo>
                <a:cubicBezTo>
                  <a:pt x="1129487" y="2287885"/>
                  <a:pt x="1134279" y="2292675"/>
                  <a:pt x="1134279" y="2298622"/>
                </a:cubicBezTo>
                <a:cubicBezTo>
                  <a:pt x="1134279" y="2304568"/>
                  <a:pt x="1129487" y="2309360"/>
                  <a:pt x="1123541" y="2309360"/>
                </a:cubicBezTo>
                <a:cubicBezTo>
                  <a:pt x="1117594" y="2309360"/>
                  <a:pt x="1112805" y="2304568"/>
                  <a:pt x="1112805" y="2298622"/>
                </a:cubicBezTo>
                <a:cubicBezTo>
                  <a:pt x="1112805" y="2292675"/>
                  <a:pt x="1117594" y="2287885"/>
                  <a:pt x="1123541" y="2287885"/>
                </a:cubicBezTo>
                <a:close/>
                <a:moveTo>
                  <a:pt x="4591523" y="2284252"/>
                </a:moveTo>
                <a:cubicBezTo>
                  <a:pt x="4597469" y="2284252"/>
                  <a:pt x="4602261" y="2289042"/>
                  <a:pt x="4602261" y="2294989"/>
                </a:cubicBezTo>
                <a:cubicBezTo>
                  <a:pt x="4602261" y="2300935"/>
                  <a:pt x="4597469" y="2305727"/>
                  <a:pt x="4591523" y="2305727"/>
                </a:cubicBezTo>
                <a:cubicBezTo>
                  <a:pt x="4585576" y="2305727"/>
                  <a:pt x="4580787" y="2300935"/>
                  <a:pt x="4580787" y="2294989"/>
                </a:cubicBezTo>
                <a:cubicBezTo>
                  <a:pt x="4580787" y="2289042"/>
                  <a:pt x="4585576" y="2284252"/>
                  <a:pt x="4591523" y="2284252"/>
                </a:cubicBezTo>
                <a:close/>
                <a:moveTo>
                  <a:pt x="4485477" y="2278966"/>
                </a:moveTo>
                <a:cubicBezTo>
                  <a:pt x="4491424" y="2278966"/>
                  <a:pt x="4496214" y="2283756"/>
                  <a:pt x="4496214" y="2289703"/>
                </a:cubicBezTo>
                <a:cubicBezTo>
                  <a:pt x="4496214" y="2295649"/>
                  <a:pt x="4491424" y="2300441"/>
                  <a:pt x="4485477" y="2300441"/>
                </a:cubicBezTo>
                <a:cubicBezTo>
                  <a:pt x="4479531" y="2300441"/>
                  <a:pt x="4474741" y="2295649"/>
                  <a:pt x="4474741" y="2289703"/>
                </a:cubicBezTo>
                <a:cubicBezTo>
                  <a:pt x="4474741" y="2283756"/>
                  <a:pt x="4479531" y="2278966"/>
                  <a:pt x="4485477" y="2278966"/>
                </a:cubicBezTo>
                <a:close/>
                <a:moveTo>
                  <a:pt x="2553681" y="2278635"/>
                </a:moveTo>
                <a:cubicBezTo>
                  <a:pt x="2559628" y="2278635"/>
                  <a:pt x="2564420" y="2283425"/>
                  <a:pt x="2564420" y="2289372"/>
                </a:cubicBezTo>
                <a:cubicBezTo>
                  <a:pt x="2564420" y="2295318"/>
                  <a:pt x="2559628" y="2300110"/>
                  <a:pt x="2553681" y="2300110"/>
                </a:cubicBezTo>
                <a:cubicBezTo>
                  <a:pt x="2547735" y="2300110"/>
                  <a:pt x="2542945" y="2295318"/>
                  <a:pt x="2542945" y="2289372"/>
                </a:cubicBezTo>
                <a:cubicBezTo>
                  <a:pt x="2542945" y="2283425"/>
                  <a:pt x="2547735" y="2278635"/>
                  <a:pt x="2553681" y="2278635"/>
                </a:cubicBezTo>
                <a:close/>
                <a:moveTo>
                  <a:pt x="4567902" y="2277645"/>
                </a:moveTo>
                <a:cubicBezTo>
                  <a:pt x="4573848" y="2277645"/>
                  <a:pt x="4578638" y="2282435"/>
                  <a:pt x="4578638" y="2288381"/>
                </a:cubicBezTo>
                <a:cubicBezTo>
                  <a:pt x="4578638" y="2294328"/>
                  <a:pt x="4573848" y="2299118"/>
                  <a:pt x="4567902" y="2299118"/>
                </a:cubicBezTo>
                <a:cubicBezTo>
                  <a:pt x="4561955" y="2299118"/>
                  <a:pt x="4557165" y="2294328"/>
                  <a:pt x="4557165" y="2288381"/>
                </a:cubicBezTo>
                <a:cubicBezTo>
                  <a:pt x="4557165" y="2282435"/>
                  <a:pt x="4561955" y="2277645"/>
                  <a:pt x="4567902" y="2277645"/>
                </a:cubicBezTo>
                <a:close/>
                <a:moveTo>
                  <a:pt x="4334666" y="2276488"/>
                </a:moveTo>
                <a:cubicBezTo>
                  <a:pt x="4340612" y="2276488"/>
                  <a:pt x="4345402" y="2281278"/>
                  <a:pt x="4345402" y="2287225"/>
                </a:cubicBezTo>
                <a:cubicBezTo>
                  <a:pt x="4345402" y="2293171"/>
                  <a:pt x="4340612" y="2297963"/>
                  <a:pt x="4334666" y="2297963"/>
                </a:cubicBezTo>
                <a:cubicBezTo>
                  <a:pt x="4328719" y="2297963"/>
                  <a:pt x="4323929" y="2293171"/>
                  <a:pt x="4323929" y="2287225"/>
                </a:cubicBezTo>
                <a:cubicBezTo>
                  <a:pt x="4323929" y="2281278"/>
                  <a:pt x="4328719" y="2276488"/>
                  <a:pt x="4334666" y="2276488"/>
                </a:cubicBezTo>
                <a:close/>
                <a:moveTo>
                  <a:pt x="3930302" y="2271698"/>
                </a:moveTo>
                <a:cubicBezTo>
                  <a:pt x="3936248" y="2271698"/>
                  <a:pt x="3941040" y="2276488"/>
                  <a:pt x="3941040" y="2282435"/>
                </a:cubicBezTo>
                <a:cubicBezTo>
                  <a:pt x="3941040" y="2288381"/>
                  <a:pt x="3936248" y="2293171"/>
                  <a:pt x="3930302" y="2293171"/>
                </a:cubicBezTo>
                <a:cubicBezTo>
                  <a:pt x="3924355" y="2293171"/>
                  <a:pt x="3919565" y="2288381"/>
                  <a:pt x="3919565" y="2282435"/>
                </a:cubicBezTo>
                <a:cubicBezTo>
                  <a:pt x="3919565" y="2276488"/>
                  <a:pt x="3924355" y="2271698"/>
                  <a:pt x="3930302" y="2271698"/>
                </a:cubicBezTo>
                <a:close/>
                <a:moveTo>
                  <a:pt x="4601599" y="2271202"/>
                </a:moveTo>
                <a:cubicBezTo>
                  <a:pt x="4607545" y="2271202"/>
                  <a:pt x="4612335" y="2275992"/>
                  <a:pt x="4612335" y="2281939"/>
                </a:cubicBezTo>
                <a:cubicBezTo>
                  <a:pt x="4612335" y="2287885"/>
                  <a:pt x="4607545" y="2292675"/>
                  <a:pt x="4601599" y="2292675"/>
                </a:cubicBezTo>
                <a:cubicBezTo>
                  <a:pt x="4595652" y="2292675"/>
                  <a:pt x="4590862" y="2287885"/>
                  <a:pt x="4590862" y="2281939"/>
                </a:cubicBezTo>
                <a:cubicBezTo>
                  <a:pt x="4590862" y="2275992"/>
                  <a:pt x="4595652" y="2271202"/>
                  <a:pt x="4601599" y="2271202"/>
                </a:cubicBezTo>
                <a:close/>
                <a:moveTo>
                  <a:pt x="4546758" y="2271202"/>
                </a:moveTo>
                <a:cubicBezTo>
                  <a:pt x="4552705" y="2271202"/>
                  <a:pt x="4557495" y="2275992"/>
                  <a:pt x="4557495" y="2281939"/>
                </a:cubicBezTo>
                <a:cubicBezTo>
                  <a:pt x="4557495" y="2287885"/>
                  <a:pt x="4552705" y="2292675"/>
                  <a:pt x="4546758" y="2292675"/>
                </a:cubicBezTo>
                <a:cubicBezTo>
                  <a:pt x="4540812" y="2292675"/>
                  <a:pt x="4536022" y="2287885"/>
                  <a:pt x="4536022" y="2281939"/>
                </a:cubicBezTo>
                <a:cubicBezTo>
                  <a:pt x="4536022" y="2275992"/>
                  <a:pt x="4540812" y="2271202"/>
                  <a:pt x="4546758" y="2271202"/>
                </a:cubicBezTo>
                <a:close/>
                <a:moveTo>
                  <a:pt x="909136" y="2270046"/>
                </a:moveTo>
                <a:cubicBezTo>
                  <a:pt x="915083" y="2270046"/>
                  <a:pt x="919875" y="2274836"/>
                  <a:pt x="919875" y="2280782"/>
                </a:cubicBezTo>
                <a:cubicBezTo>
                  <a:pt x="919875" y="2286729"/>
                  <a:pt x="915083" y="2291520"/>
                  <a:pt x="909136" y="2291520"/>
                </a:cubicBezTo>
                <a:cubicBezTo>
                  <a:pt x="903190" y="2291520"/>
                  <a:pt x="898400" y="2286729"/>
                  <a:pt x="898400" y="2280782"/>
                </a:cubicBezTo>
                <a:cubicBezTo>
                  <a:pt x="898400" y="2274836"/>
                  <a:pt x="903190" y="2270046"/>
                  <a:pt x="909136" y="2270046"/>
                </a:cubicBezTo>
                <a:close/>
                <a:moveTo>
                  <a:pt x="4575666" y="2262282"/>
                </a:moveTo>
                <a:cubicBezTo>
                  <a:pt x="4581612" y="2262282"/>
                  <a:pt x="4586402" y="2267072"/>
                  <a:pt x="4586402" y="2273018"/>
                </a:cubicBezTo>
                <a:cubicBezTo>
                  <a:pt x="4586402" y="2278965"/>
                  <a:pt x="4581612" y="2283756"/>
                  <a:pt x="4575666" y="2283756"/>
                </a:cubicBezTo>
                <a:cubicBezTo>
                  <a:pt x="4569719" y="2283756"/>
                  <a:pt x="4564929" y="2278965"/>
                  <a:pt x="4564929" y="2273018"/>
                </a:cubicBezTo>
                <a:cubicBezTo>
                  <a:pt x="4564929" y="2267072"/>
                  <a:pt x="4569719" y="2262282"/>
                  <a:pt x="4575666" y="2262282"/>
                </a:cubicBezTo>
                <a:close/>
                <a:moveTo>
                  <a:pt x="2759661" y="2260135"/>
                </a:moveTo>
                <a:cubicBezTo>
                  <a:pt x="2765608" y="2260135"/>
                  <a:pt x="2770399" y="2264925"/>
                  <a:pt x="2770399" y="2270871"/>
                </a:cubicBezTo>
                <a:cubicBezTo>
                  <a:pt x="2770399" y="2276818"/>
                  <a:pt x="2765608" y="2281609"/>
                  <a:pt x="2759661" y="2281609"/>
                </a:cubicBezTo>
                <a:cubicBezTo>
                  <a:pt x="2753715" y="2281609"/>
                  <a:pt x="2748925" y="2276818"/>
                  <a:pt x="2748925" y="2270871"/>
                </a:cubicBezTo>
                <a:cubicBezTo>
                  <a:pt x="2748925" y="2264925"/>
                  <a:pt x="2753715" y="2260135"/>
                  <a:pt x="2759661" y="2260135"/>
                </a:cubicBezTo>
                <a:close/>
                <a:moveTo>
                  <a:pt x="4504803" y="2259639"/>
                </a:moveTo>
                <a:cubicBezTo>
                  <a:pt x="4510750" y="2259639"/>
                  <a:pt x="4515541" y="2264429"/>
                  <a:pt x="4515541" y="2270375"/>
                </a:cubicBezTo>
                <a:cubicBezTo>
                  <a:pt x="4515541" y="2276322"/>
                  <a:pt x="4510750" y="2281113"/>
                  <a:pt x="4504803" y="2281113"/>
                </a:cubicBezTo>
                <a:cubicBezTo>
                  <a:pt x="4498857" y="2281113"/>
                  <a:pt x="4494067" y="2276322"/>
                  <a:pt x="4494067" y="2270375"/>
                </a:cubicBezTo>
                <a:cubicBezTo>
                  <a:pt x="4494067" y="2264429"/>
                  <a:pt x="4498857" y="2259639"/>
                  <a:pt x="4504803" y="2259639"/>
                </a:cubicBezTo>
                <a:close/>
                <a:moveTo>
                  <a:pt x="4612501" y="2258980"/>
                </a:moveTo>
                <a:cubicBezTo>
                  <a:pt x="4618448" y="2258980"/>
                  <a:pt x="4623238" y="2263770"/>
                  <a:pt x="4623238" y="2269716"/>
                </a:cubicBezTo>
                <a:cubicBezTo>
                  <a:pt x="4623238" y="2275663"/>
                  <a:pt x="4618448" y="2280454"/>
                  <a:pt x="4612501" y="2280454"/>
                </a:cubicBezTo>
                <a:cubicBezTo>
                  <a:pt x="4606555" y="2280454"/>
                  <a:pt x="4601765" y="2275663"/>
                  <a:pt x="4601765" y="2269716"/>
                </a:cubicBezTo>
                <a:cubicBezTo>
                  <a:pt x="4601765" y="2263770"/>
                  <a:pt x="4606555" y="2258980"/>
                  <a:pt x="4612501" y="2258980"/>
                </a:cubicBezTo>
                <a:close/>
                <a:moveTo>
                  <a:pt x="4375795" y="2255841"/>
                </a:moveTo>
                <a:cubicBezTo>
                  <a:pt x="4381742" y="2255841"/>
                  <a:pt x="4386533" y="2260631"/>
                  <a:pt x="4386533" y="2266577"/>
                </a:cubicBezTo>
                <a:cubicBezTo>
                  <a:pt x="4386533" y="2272524"/>
                  <a:pt x="4381742" y="2277315"/>
                  <a:pt x="4375795" y="2277315"/>
                </a:cubicBezTo>
                <a:cubicBezTo>
                  <a:pt x="4369849" y="2277315"/>
                  <a:pt x="4365059" y="2272524"/>
                  <a:pt x="4365059" y="2266577"/>
                </a:cubicBezTo>
                <a:cubicBezTo>
                  <a:pt x="4365059" y="2260631"/>
                  <a:pt x="4369849" y="2255841"/>
                  <a:pt x="4375795" y="2255841"/>
                </a:cubicBezTo>
                <a:close/>
                <a:moveTo>
                  <a:pt x="4556009" y="2254024"/>
                </a:moveTo>
                <a:cubicBezTo>
                  <a:pt x="4561955" y="2254024"/>
                  <a:pt x="4566745" y="2258813"/>
                  <a:pt x="4566745" y="2264760"/>
                </a:cubicBezTo>
                <a:cubicBezTo>
                  <a:pt x="4566745" y="2270706"/>
                  <a:pt x="4561955" y="2275498"/>
                  <a:pt x="4556009" y="2275498"/>
                </a:cubicBezTo>
                <a:cubicBezTo>
                  <a:pt x="4550062" y="2275498"/>
                  <a:pt x="4545272" y="2270706"/>
                  <a:pt x="4545272" y="2264760"/>
                </a:cubicBezTo>
                <a:cubicBezTo>
                  <a:pt x="4545272" y="2258813"/>
                  <a:pt x="4550062" y="2254024"/>
                  <a:pt x="4556009" y="2254024"/>
                </a:cubicBezTo>
                <a:close/>
                <a:moveTo>
                  <a:pt x="710423" y="2251216"/>
                </a:moveTo>
                <a:cubicBezTo>
                  <a:pt x="716369" y="2251216"/>
                  <a:pt x="721161" y="2256006"/>
                  <a:pt x="721161" y="2261952"/>
                </a:cubicBezTo>
                <a:cubicBezTo>
                  <a:pt x="721161" y="2267899"/>
                  <a:pt x="716369" y="2272690"/>
                  <a:pt x="710423" y="2272690"/>
                </a:cubicBezTo>
                <a:cubicBezTo>
                  <a:pt x="704476" y="2272690"/>
                  <a:pt x="699687" y="2267899"/>
                  <a:pt x="699687" y="2261952"/>
                </a:cubicBezTo>
                <a:cubicBezTo>
                  <a:pt x="699687" y="2256006"/>
                  <a:pt x="704476" y="2251216"/>
                  <a:pt x="710423" y="2251216"/>
                </a:cubicBezTo>
                <a:close/>
                <a:moveTo>
                  <a:pt x="4017188" y="2250555"/>
                </a:moveTo>
                <a:cubicBezTo>
                  <a:pt x="4023134" y="2250555"/>
                  <a:pt x="4027924" y="2255345"/>
                  <a:pt x="4027924" y="2261292"/>
                </a:cubicBezTo>
                <a:cubicBezTo>
                  <a:pt x="4027924" y="2267238"/>
                  <a:pt x="4023134" y="2272028"/>
                  <a:pt x="4017188" y="2272028"/>
                </a:cubicBezTo>
                <a:cubicBezTo>
                  <a:pt x="4011241" y="2272028"/>
                  <a:pt x="4006452" y="2267238"/>
                  <a:pt x="4006452" y="2261292"/>
                </a:cubicBezTo>
                <a:cubicBezTo>
                  <a:pt x="4006452" y="2255345"/>
                  <a:pt x="4011241" y="2250555"/>
                  <a:pt x="4017188" y="2250555"/>
                </a:cubicBezTo>
                <a:close/>
                <a:moveTo>
                  <a:pt x="4583429" y="2247912"/>
                </a:moveTo>
                <a:cubicBezTo>
                  <a:pt x="4589376" y="2247912"/>
                  <a:pt x="4594166" y="2252702"/>
                  <a:pt x="4594166" y="2258649"/>
                </a:cubicBezTo>
                <a:cubicBezTo>
                  <a:pt x="4594166" y="2264595"/>
                  <a:pt x="4589376" y="2269387"/>
                  <a:pt x="4583429" y="2269387"/>
                </a:cubicBezTo>
                <a:cubicBezTo>
                  <a:pt x="4577483" y="2269387"/>
                  <a:pt x="4572693" y="2264595"/>
                  <a:pt x="4572693" y="2258649"/>
                </a:cubicBezTo>
                <a:cubicBezTo>
                  <a:pt x="4572693" y="2252702"/>
                  <a:pt x="4577483" y="2247912"/>
                  <a:pt x="4583429" y="2247912"/>
                </a:cubicBezTo>
                <a:close/>
                <a:moveTo>
                  <a:pt x="4624230" y="2247416"/>
                </a:moveTo>
                <a:cubicBezTo>
                  <a:pt x="4630176" y="2247416"/>
                  <a:pt x="4634966" y="2252206"/>
                  <a:pt x="4634966" y="2258153"/>
                </a:cubicBezTo>
                <a:cubicBezTo>
                  <a:pt x="4634966" y="2264099"/>
                  <a:pt x="4630176" y="2268891"/>
                  <a:pt x="4624230" y="2268891"/>
                </a:cubicBezTo>
                <a:cubicBezTo>
                  <a:pt x="4618283" y="2268891"/>
                  <a:pt x="4613493" y="2264099"/>
                  <a:pt x="4613493" y="2258153"/>
                </a:cubicBezTo>
                <a:cubicBezTo>
                  <a:pt x="4613493" y="2252206"/>
                  <a:pt x="4618283" y="2247416"/>
                  <a:pt x="4624230" y="2247416"/>
                </a:cubicBezTo>
                <a:close/>
                <a:moveTo>
                  <a:pt x="4521486" y="2241139"/>
                </a:moveTo>
                <a:cubicBezTo>
                  <a:pt x="4527433" y="2241139"/>
                  <a:pt x="4532222" y="2245928"/>
                  <a:pt x="4532222" y="2251875"/>
                </a:cubicBezTo>
                <a:cubicBezTo>
                  <a:pt x="4532222" y="2257821"/>
                  <a:pt x="4527433" y="2262613"/>
                  <a:pt x="4521486" y="2262613"/>
                </a:cubicBezTo>
                <a:cubicBezTo>
                  <a:pt x="4515540" y="2262613"/>
                  <a:pt x="4510750" y="2257821"/>
                  <a:pt x="4510750" y="2251875"/>
                </a:cubicBezTo>
                <a:cubicBezTo>
                  <a:pt x="4510750" y="2245928"/>
                  <a:pt x="4515540" y="2241139"/>
                  <a:pt x="4521486" y="2241139"/>
                </a:cubicBezTo>
                <a:close/>
                <a:moveTo>
                  <a:pt x="2950117" y="2240974"/>
                </a:moveTo>
                <a:cubicBezTo>
                  <a:pt x="2956063" y="2240974"/>
                  <a:pt x="2960855" y="2245764"/>
                  <a:pt x="2960855" y="2251710"/>
                </a:cubicBezTo>
                <a:cubicBezTo>
                  <a:pt x="2960855" y="2257657"/>
                  <a:pt x="2956063" y="2262447"/>
                  <a:pt x="2950117" y="2262447"/>
                </a:cubicBezTo>
                <a:cubicBezTo>
                  <a:pt x="2944170" y="2262447"/>
                  <a:pt x="2939380" y="2257657"/>
                  <a:pt x="2939380" y="2251710"/>
                </a:cubicBezTo>
                <a:cubicBezTo>
                  <a:pt x="2939380" y="2245764"/>
                  <a:pt x="2944170" y="2240974"/>
                  <a:pt x="2950117" y="2240974"/>
                </a:cubicBezTo>
                <a:close/>
                <a:moveTo>
                  <a:pt x="4564433" y="2237505"/>
                </a:moveTo>
                <a:cubicBezTo>
                  <a:pt x="4570380" y="2237505"/>
                  <a:pt x="4575170" y="2242295"/>
                  <a:pt x="4575170" y="2248242"/>
                </a:cubicBezTo>
                <a:cubicBezTo>
                  <a:pt x="4575170" y="2254188"/>
                  <a:pt x="4570380" y="2258980"/>
                  <a:pt x="4564433" y="2258980"/>
                </a:cubicBezTo>
                <a:cubicBezTo>
                  <a:pt x="4558487" y="2258980"/>
                  <a:pt x="4553697" y="2254188"/>
                  <a:pt x="4553697" y="2248242"/>
                </a:cubicBezTo>
                <a:cubicBezTo>
                  <a:pt x="4553697" y="2242295"/>
                  <a:pt x="4558487" y="2237505"/>
                  <a:pt x="4564433" y="2237505"/>
                </a:cubicBezTo>
                <a:close/>
                <a:moveTo>
                  <a:pt x="4637113" y="2236680"/>
                </a:moveTo>
                <a:cubicBezTo>
                  <a:pt x="4643059" y="2236680"/>
                  <a:pt x="4647849" y="2241470"/>
                  <a:pt x="4647849" y="2247416"/>
                </a:cubicBezTo>
                <a:cubicBezTo>
                  <a:pt x="4647849" y="2253363"/>
                  <a:pt x="4643059" y="2258154"/>
                  <a:pt x="4637113" y="2258154"/>
                </a:cubicBezTo>
                <a:cubicBezTo>
                  <a:pt x="4631166" y="2258154"/>
                  <a:pt x="4626377" y="2253363"/>
                  <a:pt x="4626377" y="2247416"/>
                </a:cubicBezTo>
                <a:cubicBezTo>
                  <a:pt x="4626377" y="2241470"/>
                  <a:pt x="4631166" y="2236680"/>
                  <a:pt x="4637113" y="2236680"/>
                </a:cubicBezTo>
                <a:close/>
                <a:moveTo>
                  <a:pt x="4411641" y="2236019"/>
                </a:moveTo>
                <a:cubicBezTo>
                  <a:pt x="4417587" y="2236019"/>
                  <a:pt x="4422377" y="2240809"/>
                  <a:pt x="4422377" y="2246756"/>
                </a:cubicBezTo>
                <a:cubicBezTo>
                  <a:pt x="4422377" y="2252702"/>
                  <a:pt x="4417587" y="2257494"/>
                  <a:pt x="4411641" y="2257494"/>
                </a:cubicBezTo>
                <a:cubicBezTo>
                  <a:pt x="4405694" y="2257494"/>
                  <a:pt x="4400905" y="2252702"/>
                  <a:pt x="4400905" y="2246756"/>
                </a:cubicBezTo>
                <a:cubicBezTo>
                  <a:pt x="4400905" y="2240809"/>
                  <a:pt x="4405694" y="2236019"/>
                  <a:pt x="4411641" y="2236019"/>
                </a:cubicBezTo>
                <a:close/>
                <a:moveTo>
                  <a:pt x="527237" y="2232055"/>
                </a:moveTo>
                <a:cubicBezTo>
                  <a:pt x="533184" y="2232055"/>
                  <a:pt x="537974" y="2236845"/>
                  <a:pt x="537974" y="2242791"/>
                </a:cubicBezTo>
                <a:cubicBezTo>
                  <a:pt x="537974" y="2248738"/>
                  <a:pt x="533184" y="2253529"/>
                  <a:pt x="527237" y="2253529"/>
                </a:cubicBezTo>
                <a:cubicBezTo>
                  <a:pt x="521291" y="2253529"/>
                  <a:pt x="516501" y="2248738"/>
                  <a:pt x="516501" y="2242791"/>
                </a:cubicBezTo>
                <a:cubicBezTo>
                  <a:pt x="516501" y="2236845"/>
                  <a:pt x="521291" y="2232055"/>
                  <a:pt x="527237" y="2232055"/>
                </a:cubicBezTo>
                <a:close/>
                <a:moveTo>
                  <a:pt x="4095154" y="2230073"/>
                </a:moveTo>
                <a:cubicBezTo>
                  <a:pt x="4101100" y="2230073"/>
                  <a:pt x="4105890" y="2234863"/>
                  <a:pt x="4105890" y="2240809"/>
                </a:cubicBezTo>
                <a:cubicBezTo>
                  <a:pt x="4105890" y="2246756"/>
                  <a:pt x="4101100" y="2251547"/>
                  <a:pt x="4095154" y="2251547"/>
                </a:cubicBezTo>
                <a:cubicBezTo>
                  <a:pt x="4089207" y="2251547"/>
                  <a:pt x="4084417" y="2246756"/>
                  <a:pt x="4084417" y="2240809"/>
                </a:cubicBezTo>
                <a:cubicBezTo>
                  <a:pt x="4084417" y="2234863"/>
                  <a:pt x="4089207" y="2230073"/>
                  <a:pt x="4095154" y="2230073"/>
                </a:cubicBezTo>
                <a:close/>
                <a:moveTo>
                  <a:pt x="4666020" y="2226769"/>
                </a:moveTo>
                <a:cubicBezTo>
                  <a:pt x="4666568" y="2226769"/>
                  <a:pt x="4667012" y="2227213"/>
                  <a:pt x="4667012" y="2227761"/>
                </a:cubicBezTo>
                <a:cubicBezTo>
                  <a:pt x="4667012" y="2228307"/>
                  <a:pt x="4666568" y="2228751"/>
                  <a:pt x="4666020" y="2228751"/>
                </a:cubicBezTo>
                <a:cubicBezTo>
                  <a:pt x="4665474" y="2228751"/>
                  <a:pt x="4665030" y="2228307"/>
                  <a:pt x="4665030" y="2227761"/>
                </a:cubicBezTo>
                <a:cubicBezTo>
                  <a:pt x="4665030" y="2227213"/>
                  <a:pt x="4665474" y="2226769"/>
                  <a:pt x="4666020" y="2226769"/>
                </a:cubicBezTo>
                <a:close/>
                <a:moveTo>
                  <a:pt x="4650988" y="2226603"/>
                </a:moveTo>
                <a:cubicBezTo>
                  <a:pt x="4656770" y="2226603"/>
                  <a:pt x="4661560" y="2231392"/>
                  <a:pt x="4661560" y="2237174"/>
                </a:cubicBezTo>
                <a:cubicBezTo>
                  <a:pt x="4661560" y="2242956"/>
                  <a:pt x="4656935" y="2247746"/>
                  <a:pt x="4650988" y="2247746"/>
                </a:cubicBezTo>
                <a:cubicBezTo>
                  <a:pt x="4645206" y="2247746"/>
                  <a:pt x="4640417" y="2242956"/>
                  <a:pt x="4640417" y="2237174"/>
                </a:cubicBezTo>
                <a:cubicBezTo>
                  <a:pt x="4640417" y="2231392"/>
                  <a:pt x="4645206" y="2226603"/>
                  <a:pt x="4650988" y="2226603"/>
                </a:cubicBezTo>
                <a:close/>
                <a:moveTo>
                  <a:pt x="4535691" y="2223465"/>
                </a:moveTo>
                <a:cubicBezTo>
                  <a:pt x="4541637" y="2223465"/>
                  <a:pt x="4546429" y="2228255"/>
                  <a:pt x="4546429" y="2234202"/>
                </a:cubicBezTo>
                <a:cubicBezTo>
                  <a:pt x="4546429" y="2240148"/>
                  <a:pt x="4541637" y="2244938"/>
                  <a:pt x="4535691" y="2244938"/>
                </a:cubicBezTo>
                <a:cubicBezTo>
                  <a:pt x="4529744" y="2244938"/>
                  <a:pt x="4524954" y="2240148"/>
                  <a:pt x="4524954" y="2234202"/>
                </a:cubicBezTo>
                <a:cubicBezTo>
                  <a:pt x="4524954" y="2228255"/>
                  <a:pt x="4529744" y="2223465"/>
                  <a:pt x="4535691" y="2223465"/>
                </a:cubicBezTo>
                <a:close/>
                <a:moveTo>
                  <a:pt x="4572031" y="2222144"/>
                </a:moveTo>
                <a:cubicBezTo>
                  <a:pt x="4577977" y="2222144"/>
                  <a:pt x="4582767" y="2226934"/>
                  <a:pt x="4582767" y="2232880"/>
                </a:cubicBezTo>
                <a:cubicBezTo>
                  <a:pt x="4582767" y="2238827"/>
                  <a:pt x="4577977" y="2243617"/>
                  <a:pt x="4572031" y="2243617"/>
                </a:cubicBezTo>
                <a:cubicBezTo>
                  <a:pt x="4566084" y="2243617"/>
                  <a:pt x="4561294" y="2238827"/>
                  <a:pt x="4561294" y="2232880"/>
                </a:cubicBezTo>
                <a:cubicBezTo>
                  <a:pt x="4561294" y="2226934"/>
                  <a:pt x="4566084" y="2222144"/>
                  <a:pt x="4572031" y="2222144"/>
                </a:cubicBezTo>
                <a:close/>
                <a:moveTo>
                  <a:pt x="3125209" y="2221813"/>
                </a:moveTo>
                <a:cubicBezTo>
                  <a:pt x="3131155" y="2221813"/>
                  <a:pt x="3135945" y="2226603"/>
                  <a:pt x="3135945" y="2232549"/>
                </a:cubicBezTo>
                <a:cubicBezTo>
                  <a:pt x="3135945" y="2238496"/>
                  <a:pt x="3131155" y="2243287"/>
                  <a:pt x="3125209" y="2243287"/>
                </a:cubicBezTo>
                <a:cubicBezTo>
                  <a:pt x="3119262" y="2243287"/>
                  <a:pt x="3114473" y="2238496"/>
                  <a:pt x="3114473" y="2232549"/>
                </a:cubicBezTo>
                <a:cubicBezTo>
                  <a:pt x="3114473" y="2226603"/>
                  <a:pt x="3119262" y="2221813"/>
                  <a:pt x="3125209" y="2221813"/>
                </a:cubicBezTo>
                <a:close/>
                <a:moveTo>
                  <a:pt x="4442860" y="2217023"/>
                </a:moveTo>
                <a:cubicBezTo>
                  <a:pt x="4448806" y="2217023"/>
                  <a:pt x="4453598" y="2221813"/>
                  <a:pt x="4453598" y="2227759"/>
                </a:cubicBezTo>
                <a:cubicBezTo>
                  <a:pt x="4453598" y="2233706"/>
                  <a:pt x="4448806" y="2238497"/>
                  <a:pt x="4442860" y="2238497"/>
                </a:cubicBezTo>
                <a:cubicBezTo>
                  <a:pt x="4436913" y="2238497"/>
                  <a:pt x="4432123" y="2233706"/>
                  <a:pt x="4432123" y="2227759"/>
                </a:cubicBezTo>
                <a:cubicBezTo>
                  <a:pt x="4432123" y="2221813"/>
                  <a:pt x="4436913" y="2217023"/>
                  <a:pt x="4442860" y="2217023"/>
                </a:cubicBezTo>
                <a:close/>
                <a:moveTo>
                  <a:pt x="358752" y="2212894"/>
                </a:moveTo>
                <a:cubicBezTo>
                  <a:pt x="364699" y="2212894"/>
                  <a:pt x="369490" y="2217684"/>
                  <a:pt x="369490" y="2223630"/>
                </a:cubicBezTo>
                <a:cubicBezTo>
                  <a:pt x="369490" y="2229577"/>
                  <a:pt x="364699" y="2234368"/>
                  <a:pt x="358752" y="2234368"/>
                </a:cubicBezTo>
                <a:cubicBezTo>
                  <a:pt x="352806" y="2234368"/>
                  <a:pt x="348016" y="2229577"/>
                  <a:pt x="348016" y="2223630"/>
                </a:cubicBezTo>
                <a:cubicBezTo>
                  <a:pt x="348016" y="2217684"/>
                  <a:pt x="352806" y="2212894"/>
                  <a:pt x="358752" y="2212894"/>
                </a:cubicBezTo>
                <a:close/>
                <a:moveTo>
                  <a:pt x="4165026" y="2210416"/>
                </a:moveTo>
                <a:cubicBezTo>
                  <a:pt x="4170972" y="2210416"/>
                  <a:pt x="4175762" y="2215206"/>
                  <a:pt x="4175762" y="2221152"/>
                </a:cubicBezTo>
                <a:cubicBezTo>
                  <a:pt x="4175762" y="2227099"/>
                  <a:pt x="4170972" y="2231890"/>
                  <a:pt x="4165026" y="2231890"/>
                </a:cubicBezTo>
                <a:cubicBezTo>
                  <a:pt x="4159079" y="2231890"/>
                  <a:pt x="4154289" y="2227099"/>
                  <a:pt x="4154289" y="2221152"/>
                </a:cubicBezTo>
                <a:cubicBezTo>
                  <a:pt x="4154289" y="2215206"/>
                  <a:pt x="4159079" y="2210416"/>
                  <a:pt x="4165026" y="2210416"/>
                </a:cubicBezTo>
                <a:close/>
                <a:moveTo>
                  <a:pt x="4547915" y="2206616"/>
                </a:moveTo>
                <a:cubicBezTo>
                  <a:pt x="4553862" y="2206616"/>
                  <a:pt x="4558651" y="2211406"/>
                  <a:pt x="4558651" y="2217352"/>
                </a:cubicBezTo>
                <a:cubicBezTo>
                  <a:pt x="4558651" y="2223299"/>
                  <a:pt x="4553862" y="2228091"/>
                  <a:pt x="4547915" y="2228091"/>
                </a:cubicBezTo>
                <a:cubicBezTo>
                  <a:pt x="4541969" y="2228091"/>
                  <a:pt x="4537179" y="2223299"/>
                  <a:pt x="4537179" y="2217352"/>
                </a:cubicBezTo>
                <a:cubicBezTo>
                  <a:pt x="4537179" y="2211406"/>
                  <a:pt x="4541969" y="2206616"/>
                  <a:pt x="4547915" y="2206616"/>
                </a:cubicBezTo>
                <a:close/>
                <a:moveTo>
                  <a:pt x="3286095" y="2202818"/>
                </a:moveTo>
                <a:cubicBezTo>
                  <a:pt x="3292041" y="2202818"/>
                  <a:pt x="3296833" y="2207608"/>
                  <a:pt x="3296833" y="2213555"/>
                </a:cubicBezTo>
                <a:cubicBezTo>
                  <a:pt x="3296833" y="2219501"/>
                  <a:pt x="3292041" y="2224291"/>
                  <a:pt x="3286095" y="2224291"/>
                </a:cubicBezTo>
                <a:cubicBezTo>
                  <a:pt x="3280148" y="2224291"/>
                  <a:pt x="3275358" y="2219501"/>
                  <a:pt x="3275358" y="2213555"/>
                </a:cubicBezTo>
                <a:cubicBezTo>
                  <a:pt x="3275358" y="2207608"/>
                  <a:pt x="3280148" y="2202818"/>
                  <a:pt x="3286095" y="2202818"/>
                </a:cubicBezTo>
                <a:close/>
                <a:moveTo>
                  <a:pt x="4469949" y="2198854"/>
                </a:moveTo>
                <a:cubicBezTo>
                  <a:pt x="4475896" y="2198854"/>
                  <a:pt x="4480686" y="2203644"/>
                  <a:pt x="4480686" y="2209590"/>
                </a:cubicBezTo>
                <a:cubicBezTo>
                  <a:pt x="4480686" y="2215537"/>
                  <a:pt x="4475896" y="2220328"/>
                  <a:pt x="4469949" y="2220328"/>
                </a:cubicBezTo>
                <a:cubicBezTo>
                  <a:pt x="4464003" y="2220328"/>
                  <a:pt x="4459213" y="2215537"/>
                  <a:pt x="4459213" y="2209590"/>
                </a:cubicBezTo>
                <a:cubicBezTo>
                  <a:pt x="4459213" y="2203644"/>
                  <a:pt x="4464003" y="2198854"/>
                  <a:pt x="4469949" y="2198854"/>
                </a:cubicBezTo>
                <a:close/>
                <a:moveTo>
                  <a:pt x="204307" y="2194229"/>
                </a:moveTo>
                <a:cubicBezTo>
                  <a:pt x="210254" y="2194229"/>
                  <a:pt x="215046" y="2199019"/>
                  <a:pt x="215046" y="2204965"/>
                </a:cubicBezTo>
                <a:cubicBezTo>
                  <a:pt x="215046" y="2210912"/>
                  <a:pt x="210254" y="2215703"/>
                  <a:pt x="204307" y="2215703"/>
                </a:cubicBezTo>
                <a:cubicBezTo>
                  <a:pt x="198361" y="2215703"/>
                  <a:pt x="193571" y="2210912"/>
                  <a:pt x="193571" y="2204965"/>
                </a:cubicBezTo>
                <a:cubicBezTo>
                  <a:pt x="193571" y="2199019"/>
                  <a:pt x="198361" y="2194229"/>
                  <a:pt x="204307" y="2194229"/>
                </a:cubicBezTo>
                <a:close/>
                <a:moveTo>
                  <a:pt x="4227299" y="2191584"/>
                </a:moveTo>
                <a:cubicBezTo>
                  <a:pt x="4233245" y="2191584"/>
                  <a:pt x="4238035" y="2196374"/>
                  <a:pt x="4238035" y="2202321"/>
                </a:cubicBezTo>
                <a:cubicBezTo>
                  <a:pt x="4238035" y="2208267"/>
                  <a:pt x="4233245" y="2213059"/>
                  <a:pt x="4227299" y="2213059"/>
                </a:cubicBezTo>
                <a:cubicBezTo>
                  <a:pt x="4221352" y="2213059"/>
                  <a:pt x="4216562" y="2208267"/>
                  <a:pt x="4216562" y="2202321"/>
                </a:cubicBezTo>
                <a:cubicBezTo>
                  <a:pt x="4216562" y="2196374"/>
                  <a:pt x="4221352" y="2191584"/>
                  <a:pt x="4227299" y="2191584"/>
                </a:cubicBezTo>
                <a:close/>
                <a:moveTo>
                  <a:pt x="4558487" y="2190594"/>
                </a:moveTo>
                <a:cubicBezTo>
                  <a:pt x="4564433" y="2190594"/>
                  <a:pt x="4569225" y="2195384"/>
                  <a:pt x="4569225" y="2201330"/>
                </a:cubicBezTo>
                <a:cubicBezTo>
                  <a:pt x="4569225" y="2207277"/>
                  <a:pt x="4564433" y="2212068"/>
                  <a:pt x="4558487" y="2212068"/>
                </a:cubicBezTo>
                <a:cubicBezTo>
                  <a:pt x="4552540" y="2212068"/>
                  <a:pt x="4547750" y="2207277"/>
                  <a:pt x="4547750" y="2201330"/>
                </a:cubicBezTo>
                <a:cubicBezTo>
                  <a:pt x="4547750" y="2195384"/>
                  <a:pt x="4552540" y="2190594"/>
                  <a:pt x="4558487" y="2190594"/>
                </a:cubicBezTo>
                <a:close/>
                <a:moveTo>
                  <a:pt x="4629184" y="2187126"/>
                </a:moveTo>
                <a:cubicBezTo>
                  <a:pt x="4635131" y="2187126"/>
                  <a:pt x="4639922" y="2191915"/>
                  <a:pt x="4639922" y="2197862"/>
                </a:cubicBezTo>
                <a:lnTo>
                  <a:pt x="4629268" y="2208517"/>
                </a:lnTo>
                <a:lnTo>
                  <a:pt x="4629349" y="2208598"/>
                </a:lnTo>
                <a:lnTo>
                  <a:pt x="4618777" y="2219172"/>
                </a:lnTo>
                <a:lnTo>
                  <a:pt x="4619603" y="2219995"/>
                </a:lnTo>
                <a:lnTo>
                  <a:pt x="4609115" y="2230485"/>
                </a:lnTo>
                <a:lnTo>
                  <a:pt x="4610684" y="2232055"/>
                </a:lnTo>
                <a:lnTo>
                  <a:pt x="4599948" y="2242793"/>
                </a:lnTo>
                <a:lnTo>
                  <a:pt x="4602095" y="2244938"/>
                </a:lnTo>
                <a:cubicBezTo>
                  <a:pt x="4602095" y="2250885"/>
                  <a:pt x="4597305" y="2255676"/>
                  <a:pt x="4591358" y="2255676"/>
                </a:cubicBezTo>
                <a:cubicBezTo>
                  <a:pt x="4585412" y="2255676"/>
                  <a:pt x="4580622" y="2250885"/>
                  <a:pt x="4580622" y="2244938"/>
                </a:cubicBezTo>
                <a:lnTo>
                  <a:pt x="4591358" y="2234202"/>
                </a:lnTo>
                <a:lnTo>
                  <a:pt x="4589211" y="2232055"/>
                </a:lnTo>
                <a:lnTo>
                  <a:pt x="4599701" y="2221567"/>
                </a:lnTo>
                <a:lnTo>
                  <a:pt x="4598130" y="2219995"/>
                </a:lnTo>
                <a:lnTo>
                  <a:pt x="4608702" y="2209424"/>
                </a:lnTo>
                <a:lnTo>
                  <a:pt x="4607876" y="2208598"/>
                </a:lnTo>
                <a:lnTo>
                  <a:pt x="4618529" y="2197945"/>
                </a:lnTo>
                <a:lnTo>
                  <a:pt x="4618448" y="2197862"/>
                </a:lnTo>
                <a:cubicBezTo>
                  <a:pt x="4618448" y="2191915"/>
                  <a:pt x="4623238" y="2187126"/>
                  <a:pt x="4629184" y="2187126"/>
                </a:cubicBezTo>
                <a:close/>
                <a:moveTo>
                  <a:pt x="3433436" y="2184316"/>
                </a:moveTo>
                <a:cubicBezTo>
                  <a:pt x="3439383" y="2184316"/>
                  <a:pt x="3444173" y="2189106"/>
                  <a:pt x="3444173" y="2195053"/>
                </a:cubicBezTo>
                <a:cubicBezTo>
                  <a:pt x="3444173" y="2200999"/>
                  <a:pt x="3439383" y="2205791"/>
                  <a:pt x="3433436" y="2205791"/>
                </a:cubicBezTo>
                <a:cubicBezTo>
                  <a:pt x="3427490" y="2205791"/>
                  <a:pt x="3422700" y="2200999"/>
                  <a:pt x="3422700" y="2195053"/>
                </a:cubicBezTo>
                <a:cubicBezTo>
                  <a:pt x="3422700" y="2189106"/>
                  <a:pt x="3427490" y="2184316"/>
                  <a:pt x="3433436" y="2184316"/>
                </a:cubicBezTo>
                <a:close/>
                <a:moveTo>
                  <a:pt x="4493404" y="2181509"/>
                </a:moveTo>
                <a:cubicBezTo>
                  <a:pt x="4499351" y="2181509"/>
                  <a:pt x="4504142" y="2186298"/>
                  <a:pt x="4504142" y="2192245"/>
                </a:cubicBezTo>
                <a:cubicBezTo>
                  <a:pt x="4504142" y="2198191"/>
                  <a:pt x="4499351" y="2202983"/>
                  <a:pt x="4493404" y="2202983"/>
                </a:cubicBezTo>
                <a:cubicBezTo>
                  <a:pt x="4487458" y="2202983"/>
                  <a:pt x="4482668" y="2198191"/>
                  <a:pt x="4482668" y="2192245"/>
                </a:cubicBezTo>
                <a:cubicBezTo>
                  <a:pt x="4482668" y="2186298"/>
                  <a:pt x="4487458" y="2181509"/>
                  <a:pt x="4493404" y="2181509"/>
                </a:cubicBezTo>
                <a:close/>
                <a:moveTo>
                  <a:pt x="4640748" y="2177048"/>
                </a:moveTo>
                <a:cubicBezTo>
                  <a:pt x="4646694" y="2177048"/>
                  <a:pt x="4651484" y="2181838"/>
                  <a:pt x="4651484" y="2187785"/>
                </a:cubicBezTo>
                <a:cubicBezTo>
                  <a:pt x="4651484" y="2193731"/>
                  <a:pt x="4646694" y="2198523"/>
                  <a:pt x="4640748" y="2198523"/>
                </a:cubicBezTo>
                <a:cubicBezTo>
                  <a:pt x="4634801" y="2198523"/>
                  <a:pt x="4630011" y="2193731"/>
                  <a:pt x="4630011" y="2187785"/>
                </a:cubicBezTo>
                <a:cubicBezTo>
                  <a:pt x="4630011" y="2181838"/>
                  <a:pt x="4634801" y="2177048"/>
                  <a:pt x="4640748" y="2177048"/>
                </a:cubicBezTo>
                <a:close/>
                <a:moveTo>
                  <a:pt x="63077" y="2175727"/>
                </a:moveTo>
                <a:cubicBezTo>
                  <a:pt x="69023" y="2175727"/>
                  <a:pt x="73815" y="2180517"/>
                  <a:pt x="73815" y="2186463"/>
                </a:cubicBezTo>
                <a:cubicBezTo>
                  <a:pt x="73815" y="2192410"/>
                  <a:pt x="69023" y="2197201"/>
                  <a:pt x="63077" y="2197201"/>
                </a:cubicBezTo>
                <a:cubicBezTo>
                  <a:pt x="57130" y="2197201"/>
                  <a:pt x="52341" y="2192410"/>
                  <a:pt x="52341" y="2186463"/>
                </a:cubicBezTo>
                <a:cubicBezTo>
                  <a:pt x="52341" y="2180517"/>
                  <a:pt x="57130" y="2175727"/>
                  <a:pt x="63077" y="2175727"/>
                </a:cubicBezTo>
                <a:close/>
                <a:moveTo>
                  <a:pt x="4567572" y="2175233"/>
                </a:moveTo>
                <a:cubicBezTo>
                  <a:pt x="4573519" y="2175233"/>
                  <a:pt x="4578308" y="2180022"/>
                  <a:pt x="4578308" y="2185969"/>
                </a:cubicBezTo>
                <a:cubicBezTo>
                  <a:pt x="4578308" y="2191915"/>
                  <a:pt x="4573519" y="2196707"/>
                  <a:pt x="4567572" y="2196707"/>
                </a:cubicBezTo>
                <a:cubicBezTo>
                  <a:pt x="4561626" y="2196707"/>
                  <a:pt x="4556836" y="2191915"/>
                  <a:pt x="4556836" y="2185969"/>
                </a:cubicBezTo>
                <a:cubicBezTo>
                  <a:pt x="4556836" y="2180022"/>
                  <a:pt x="4561626" y="2175233"/>
                  <a:pt x="4567572" y="2175233"/>
                </a:cubicBezTo>
                <a:close/>
                <a:moveTo>
                  <a:pt x="4282635" y="2173250"/>
                </a:moveTo>
                <a:cubicBezTo>
                  <a:pt x="4288581" y="2173250"/>
                  <a:pt x="4293371" y="2178040"/>
                  <a:pt x="4293371" y="2183987"/>
                </a:cubicBezTo>
                <a:cubicBezTo>
                  <a:pt x="4293371" y="2189933"/>
                  <a:pt x="4288581" y="2194725"/>
                  <a:pt x="4282635" y="2194725"/>
                </a:cubicBezTo>
                <a:cubicBezTo>
                  <a:pt x="4276688" y="2194725"/>
                  <a:pt x="4271898" y="2189933"/>
                  <a:pt x="4271898" y="2183987"/>
                </a:cubicBezTo>
                <a:cubicBezTo>
                  <a:pt x="4271898" y="2178040"/>
                  <a:pt x="4276688" y="2173250"/>
                  <a:pt x="4282635" y="2173250"/>
                </a:cubicBezTo>
                <a:close/>
                <a:moveTo>
                  <a:pt x="4653466" y="2167633"/>
                </a:moveTo>
                <a:cubicBezTo>
                  <a:pt x="4659413" y="2167633"/>
                  <a:pt x="4664204" y="2172423"/>
                  <a:pt x="4664204" y="2178370"/>
                </a:cubicBezTo>
                <a:cubicBezTo>
                  <a:pt x="4664204" y="2184316"/>
                  <a:pt x="4659413" y="2189108"/>
                  <a:pt x="4653466" y="2189108"/>
                </a:cubicBezTo>
                <a:cubicBezTo>
                  <a:pt x="4647520" y="2189108"/>
                  <a:pt x="4642730" y="2184316"/>
                  <a:pt x="4642730" y="2178370"/>
                </a:cubicBezTo>
                <a:cubicBezTo>
                  <a:pt x="4642730" y="2172423"/>
                  <a:pt x="4647520" y="2167633"/>
                  <a:pt x="4653466" y="2167633"/>
                </a:cubicBezTo>
                <a:close/>
                <a:moveTo>
                  <a:pt x="3568060" y="2166147"/>
                </a:moveTo>
                <a:cubicBezTo>
                  <a:pt x="3574006" y="2166147"/>
                  <a:pt x="3578796" y="2170937"/>
                  <a:pt x="3578796" y="2176883"/>
                </a:cubicBezTo>
                <a:cubicBezTo>
                  <a:pt x="3578796" y="2182830"/>
                  <a:pt x="3574006" y="2187620"/>
                  <a:pt x="3568060" y="2187620"/>
                </a:cubicBezTo>
                <a:cubicBezTo>
                  <a:pt x="3562113" y="2187620"/>
                  <a:pt x="3557323" y="2182830"/>
                  <a:pt x="3557323" y="2176883"/>
                </a:cubicBezTo>
                <a:cubicBezTo>
                  <a:pt x="3557323" y="2170937"/>
                  <a:pt x="3562113" y="2166147"/>
                  <a:pt x="3568060" y="2166147"/>
                </a:cubicBezTo>
                <a:close/>
                <a:moveTo>
                  <a:pt x="4513393" y="2164990"/>
                </a:moveTo>
                <a:cubicBezTo>
                  <a:pt x="4519339" y="2164990"/>
                  <a:pt x="4524129" y="2169780"/>
                  <a:pt x="4524129" y="2175727"/>
                </a:cubicBezTo>
                <a:cubicBezTo>
                  <a:pt x="4524129" y="2181673"/>
                  <a:pt x="4519339" y="2186465"/>
                  <a:pt x="4513393" y="2186465"/>
                </a:cubicBezTo>
                <a:cubicBezTo>
                  <a:pt x="4507446" y="2186465"/>
                  <a:pt x="4502656" y="2181673"/>
                  <a:pt x="4502656" y="2175727"/>
                </a:cubicBezTo>
                <a:cubicBezTo>
                  <a:pt x="4502656" y="2169780"/>
                  <a:pt x="4507446" y="2164990"/>
                  <a:pt x="4513393" y="2164990"/>
                </a:cubicBezTo>
                <a:close/>
                <a:moveTo>
                  <a:pt x="4667343" y="2161357"/>
                </a:moveTo>
                <a:cubicBezTo>
                  <a:pt x="4671904" y="2161357"/>
                  <a:pt x="4675602" y="2165055"/>
                  <a:pt x="4675602" y="2169616"/>
                </a:cubicBezTo>
                <a:cubicBezTo>
                  <a:pt x="4675602" y="2174178"/>
                  <a:pt x="4671904" y="2177875"/>
                  <a:pt x="4667343" y="2177875"/>
                </a:cubicBezTo>
                <a:cubicBezTo>
                  <a:pt x="4662781" y="2177875"/>
                  <a:pt x="4659083" y="2174178"/>
                  <a:pt x="4659083" y="2169616"/>
                </a:cubicBezTo>
                <a:cubicBezTo>
                  <a:pt x="4659083" y="2165055"/>
                  <a:pt x="4662781" y="2161357"/>
                  <a:pt x="4667343" y="2161357"/>
                </a:cubicBezTo>
                <a:close/>
                <a:moveTo>
                  <a:pt x="4331528" y="2155905"/>
                </a:moveTo>
                <a:cubicBezTo>
                  <a:pt x="4337475" y="2155905"/>
                  <a:pt x="4342265" y="2160695"/>
                  <a:pt x="4342265" y="2166641"/>
                </a:cubicBezTo>
                <a:cubicBezTo>
                  <a:pt x="4342265" y="2172588"/>
                  <a:pt x="4337475" y="2177379"/>
                  <a:pt x="4331528" y="2177379"/>
                </a:cubicBezTo>
                <a:cubicBezTo>
                  <a:pt x="4325582" y="2177379"/>
                  <a:pt x="4320792" y="2172588"/>
                  <a:pt x="4320792" y="2166641"/>
                </a:cubicBezTo>
                <a:cubicBezTo>
                  <a:pt x="4320792" y="2160695"/>
                  <a:pt x="4325582" y="2155905"/>
                  <a:pt x="4331528" y="2155905"/>
                </a:cubicBezTo>
                <a:close/>
                <a:moveTo>
                  <a:pt x="4530571" y="2149133"/>
                </a:moveTo>
                <a:cubicBezTo>
                  <a:pt x="4536518" y="2149133"/>
                  <a:pt x="4541310" y="2153923"/>
                  <a:pt x="4541310" y="2159869"/>
                </a:cubicBezTo>
                <a:cubicBezTo>
                  <a:pt x="4541310" y="2165816"/>
                  <a:pt x="4536518" y="2170606"/>
                  <a:pt x="4530571" y="2170606"/>
                </a:cubicBezTo>
                <a:cubicBezTo>
                  <a:pt x="4524625" y="2170606"/>
                  <a:pt x="4519835" y="2165816"/>
                  <a:pt x="4519835" y="2159869"/>
                </a:cubicBezTo>
                <a:cubicBezTo>
                  <a:pt x="4519835" y="2153923"/>
                  <a:pt x="4524625" y="2149133"/>
                  <a:pt x="4530571" y="2149133"/>
                </a:cubicBezTo>
                <a:close/>
                <a:moveTo>
                  <a:pt x="3690458" y="2148472"/>
                </a:moveTo>
                <a:cubicBezTo>
                  <a:pt x="3696405" y="2148472"/>
                  <a:pt x="3701195" y="2153262"/>
                  <a:pt x="3701195" y="2159209"/>
                </a:cubicBezTo>
                <a:cubicBezTo>
                  <a:pt x="3701195" y="2165155"/>
                  <a:pt x="3696405" y="2169947"/>
                  <a:pt x="3690458" y="2169947"/>
                </a:cubicBezTo>
                <a:cubicBezTo>
                  <a:pt x="3684512" y="2169947"/>
                  <a:pt x="3679722" y="2165155"/>
                  <a:pt x="3679722" y="2159209"/>
                </a:cubicBezTo>
                <a:cubicBezTo>
                  <a:pt x="3679722" y="2153262"/>
                  <a:pt x="3684512" y="2148472"/>
                  <a:pt x="3690458" y="2148472"/>
                </a:cubicBezTo>
                <a:close/>
                <a:moveTo>
                  <a:pt x="4374476" y="2139057"/>
                </a:moveTo>
                <a:cubicBezTo>
                  <a:pt x="4380406" y="2139057"/>
                  <a:pt x="4385212" y="2143865"/>
                  <a:pt x="4385212" y="2149794"/>
                </a:cubicBezTo>
                <a:cubicBezTo>
                  <a:pt x="4385212" y="2155725"/>
                  <a:pt x="4380406" y="2160530"/>
                  <a:pt x="4374476" y="2160530"/>
                </a:cubicBezTo>
                <a:cubicBezTo>
                  <a:pt x="4368546" y="2160530"/>
                  <a:pt x="4363739" y="2155725"/>
                  <a:pt x="4363739" y="2149794"/>
                </a:cubicBezTo>
                <a:cubicBezTo>
                  <a:pt x="4363739" y="2143865"/>
                  <a:pt x="4368546" y="2139057"/>
                  <a:pt x="4374476" y="2139057"/>
                </a:cubicBezTo>
                <a:close/>
                <a:moveTo>
                  <a:pt x="4545107" y="2134103"/>
                </a:moveTo>
                <a:cubicBezTo>
                  <a:pt x="4551054" y="2134103"/>
                  <a:pt x="4555846" y="2138893"/>
                  <a:pt x="4555846" y="2144839"/>
                </a:cubicBezTo>
                <a:cubicBezTo>
                  <a:pt x="4555846" y="2150786"/>
                  <a:pt x="4551054" y="2155577"/>
                  <a:pt x="4545107" y="2155577"/>
                </a:cubicBezTo>
                <a:cubicBezTo>
                  <a:pt x="4539161" y="2155577"/>
                  <a:pt x="4534371" y="2150786"/>
                  <a:pt x="4534371" y="2144839"/>
                </a:cubicBezTo>
                <a:cubicBezTo>
                  <a:pt x="4534371" y="2138893"/>
                  <a:pt x="4539161" y="2134103"/>
                  <a:pt x="4545107" y="2134103"/>
                </a:cubicBezTo>
                <a:close/>
                <a:moveTo>
                  <a:pt x="3801792" y="2131460"/>
                </a:moveTo>
                <a:cubicBezTo>
                  <a:pt x="3807738" y="2131460"/>
                  <a:pt x="3812530" y="2136250"/>
                  <a:pt x="3812530" y="2142196"/>
                </a:cubicBezTo>
                <a:cubicBezTo>
                  <a:pt x="3812530" y="2148143"/>
                  <a:pt x="3807738" y="2152934"/>
                  <a:pt x="3801792" y="2152934"/>
                </a:cubicBezTo>
                <a:cubicBezTo>
                  <a:pt x="3795845" y="2152934"/>
                  <a:pt x="3791055" y="2148143"/>
                  <a:pt x="3791055" y="2142196"/>
                </a:cubicBezTo>
                <a:cubicBezTo>
                  <a:pt x="3791055" y="2136250"/>
                  <a:pt x="3795845" y="2131460"/>
                  <a:pt x="3801792" y="2131460"/>
                </a:cubicBezTo>
                <a:close/>
                <a:moveTo>
                  <a:pt x="4412137" y="2123035"/>
                </a:moveTo>
                <a:cubicBezTo>
                  <a:pt x="4418083" y="2123035"/>
                  <a:pt x="4422873" y="2127825"/>
                  <a:pt x="4422873" y="2133772"/>
                </a:cubicBezTo>
                <a:cubicBezTo>
                  <a:pt x="4422873" y="2139718"/>
                  <a:pt x="4418083" y="2144508"/>
                  <a:pt x="4412137" y="2144508"/>
                </a:cubicBezTo>
                <a:cubicBezTo>
                  <a:pt x="4406190" y="2144508"/>
                  <a:pt x="4401401" y="2139718"/>
                  <a:pt x="4401401" y="2133772"/>
                </a:cubicBezTo>
                <a:cubicBezTo>
                  <a:pt x="4401401" y="2127825"/>
                  <a:pt x="4406190" y="2123035"/>
                  <a:pt x="4412137" y="2123035"/>
                </a:cubicBezTo>
                <a:close/>
                <a:moveTo>
                  <a:pt x="4557495" y="2119732"/>
                </a:moveTo>
                <a:cubicBezTo>
                  <a:pt x="4563441" y="2119732"/>
                  <a:pt x="4568233" y="2124521"/>
                  <a:pt x="4568233" y="2130468"/>
                </a:cubicBezTo>
                <a:cubicBezTo>
                  <a:pt x="4568233" y="2136415"/>
                  <a:pt x="4563441" y="2141206"/>
                  <a:pt x="4557495" y="2141206"/>
                </a:cubicBezTo>
                <a:cubicBezTo>
                  <a:pt x="4551548" y="2141206"/>
                  <a:pt x="4546758" y="2136415"/>
                  <a:pt x="4546758" y="2130468"/>
                </a:cubicBezTo>
                <a:cubicBezTo>
                  <a:pt x="4546758" y="2124521"/>
                  <a:pt x="4551548" y="2119732"/>
                  <a:pt x="4557495" y="2119732"/>
                </a:cubicBezTo>
                <a:close/>
                <a:moveTo>
                  <a:pt x="3902387" y="2114942"/>
                </a:moveTo>
                <a:cubicBezTo>
                  <a:pt x="3908333" y="2114942"/>
                  <a:pt x="3913125" y="2119732"/>
                  <a:pt x="3913125" y="2125678"/>
                </a:cubicBezTo>
                <a:cubicBezTo>
                  <a:pt x="3913125" y="2131625"/>
                  <a:pt x="3908333" y="2136416"/>
                  <a:pt x="3902387" y="2136416"/>
                </a:cubicBezTo>
                <a:cubicBezTo>
                  <a:pt x="3896440" y="2136416"/>
                  <a:pt x="3891650" y="2131625"/>
                  <a:pt x="3891650" y="2125678"/>
                </a:cubicBezTo>
                <a:cubicBezTo>
                  <a:pt x="3891650" y="2119732"/>
                  <a:pt x="3896440" y="2114942"/>
                  <a:pt x="3902387" y="2114942"/>
                </a:cubicBezTo>
                <a:close/>
                <a:moveTo>
                  <a:pt x="4444842" y="2107507"/>
                </a:moveTo>
                <a:cubicBezTo>
                  <a:pt x="4450773" y="2107507"/>
                  <a:pt x="4455580" y="2112315"/>
                  <a:pt x="4455580" y="2118244"/>
                </a:cubicBezTo>
                <a:cubicBezTo>
                  <a:pt x="4455580" y="2124173"/>
                  <a:pt x="4450773" y="2128980"/>
                  <a:pt x="4444842" y="2128980"/>
                </a:cubicBezTo>
                <a:cubicBezTo>
                  <a:pt x="4438913" y="2128980"/>
                  <a:pt x="4434106" y="2124173"/>
                  <a:pt x="4434106" y="2118244"/>
                </a:cubicBezTo>
                <a:cubicBezTo>
                  <a:pt x="4434106" y="2112315"/>
                  <a:pt x="4438913" y="2107507"/>
                  <a:pt x="4444842" y="2107507"/>
                </a:cubicBezTo>
                <a:close/>
                <a:moveTo>
                  <a:pt x="4568068" y="2106021"/>
                </a:moveTo>
                <a:cubicBezTo>
                  <a:pt x="4574015" y="2106021"/>
                  <a:pt x="4578804" y="2110811"/>
                  <a:pt x="4578804" y="2116757"/>
                </a:cubicBezTo>
                <a:cubicBezTo>
                  <a:pt x="4578804" y="2122704"/>
                  <a:pt x="4574015" y="2127494"/>
                  <a:pt x="4568068" y="2127494"/>
                </a:cubicBezTo>
                <a:cubicBezTo>
                  <a:pt x="4562122" y="2127494"/>
                  <a:pt x="4557332" y="2122704"/>
                  <a:pt x="4557332" y="2116757"/>
                </a:cubicBezTo>
                <a:cubicBezTo>
                  <a:pt x="4557332" y="2110811"/>
                  <a:pt x="4562122" y="2106021"/>
                  <a:pt x="4568068" y="2106021"/>
                </a:cubicBezTo>
                <a:close/>
                <a:moveTo>
                  <a:pt x="4668497" y="2099414"/>
                </a:moveTo>
                <a:cubicBezTo>
                  <a:pt x="4674443" y="2099414"/>
                  <a:pt x="4679235" y="2104204"/>
                  <a:pt x="4679235" y="2110150"/>
                </a:cubicBezTo>
                <a:cubicBezTo>
                  <a:pt x="4679235" y="2116097"/>
                  <a:pt x="4674443" y="2120888"/>
                  <a:pt x="4668497" y="2120888"/>
                </a:cubicBezTo>
                <a:lnTo>
                  <a:pt x="4666102" y="2118493"/>
                </a:lnTo>
                <a:lnTo>
                  <a:pt x="4655778" y="2128817"/>
                </a:lnTo>
                <a:lnTo>
                  <a:pt x="4654373" y="2127412"/>
                </a:lnTo>
                <a:lnTo>
                  <a:pt x="4644381" y="2137406"/>
                </a:lnTo>
                <a:lnTo>
                  <a:pt x="4643639" y="2136664"/>
                </a:lnTo>
                <a:lnTo>
                  <a:pt x="4634966" y="2145335"/>
                </a:lnTo>
                <a:lnTo>
                  <a:pt x="4635131" y="2145498"/>
                </a:lnTo>
                <a:lnTo>
                  <a:pt x="4625551" y="2155080"/>
                </a:lnTo>
                <a:lnTo>
                  <a:pt x="4626377" y="2155905"/>
                </a:lnTo>
                <a:lnTo>
                  <a:pt x="4616878" y="2165405"/>
                </a:lnTo>
                <a:lnTo>
                  <a:pt x="4618448" y="2166973"/>
                </a:lnTo>
                <a:lnTo>
                  <a:pt x="4608868" y="2176554"/>
                </a:lnTo>
                <a:lnTo>
                  <a:pt x="4611015" y="2178701"/>
                </a:lnTo>
                <a:lnTo>
                  <a:pt x="4601267" y="2188447"/>
                </a:lnTo>
                <a:lnTo>
                  <a:pt x="4603910" y="2191090"/>
                </a:lnTo>
                <a:lnTo>
                  <a:pt x="4593918" y="2201082"/>
                </a:lnTo>
                <a:lnTo>
                  <a:pt x="4596973" y="2204138"/>
                </a:lnTo>
                <a:lnTo>
                  <a:pt x="4586485" y="2214628"/>
                </a:lnTo>
                <a:lnTo>
                  <a:pt x="4590037" y="2218180"/>
                </a:lnTo>
                <a:cubicBezTo>
                  <a:pt x="4590037" y="2224126"/>
                  <a:pt x="4585247" y="2228916"/>
                  <a:pt x="4579300" y="2228916"/>
                </a:cubicBezTo>
                <a:cubicBezTo>
                  <a:pt x="4573354" y="2228916"/>
                  <a:pt x="4568564" y="2224126"/>
                  <a:pt x="4568564" y="2218180"/>
                </a:cubicBezTo>
                <a:lnTo>
                  <a:pt x="4579052" y="2207691"/>
                </a:lnTo>
                <a:lnTo>
                  <a:pt x="4575501" y="2204138"/>
                </a:lnTo>
                <a:lnTo>
                  <a:pt x="4585493" y="2194146"/>
                </a:lnTo>
                <a:lnTo>
                  <a:pt x="4582438" y="2191090"/>
                </a:lnTo>
                <a:lnTo>
                  <a:pt x="4592184" y="2181344"/>
                </a:lnTo>
                <a:lnTo>
                  <a:pt x="4589541" y="2178701"/>
                </a:lnTo>
                <a:lnTo>
                  <a:pt x="4599122" y="2169120"/>
                </a:lnTo>
                <a:lnTo>
                  <a:pt x="4596975" y="2166973"/>
                </a:lnTo>
                <a:lnTo>
                  <a:pt x="4606473" y="2157474"/>
                </a:lnTo>
                <a:lnTo>
                  <a:pt x="4604904" y="2155905"/>
                </a:lnTo>
                <a:lnTo>
                  <a:pt x="4614484" y="2146325"/>
                </a:lnTo>
                <a:lnTo>
                  <a:pt x="4613658" y="2145498"/>
                </a:lnTo>
                <a:lnTo>
                  <a:pt x="4623238" y="2135919"/>
                </a:lnTo>
                <a:lnTo>
                  <a:pt x="4623073" y="2135754"/>
                </a:lnTo>
                <a:cubicBezTo>
                  <a:pt x="4623073" y="2129807"/>
                  <a:pt x="4627863" y="2125017"/>
                  <a:pt x="4633809" y="2125017"/>
                </a:cubicBezTo>
                <a:lnTo>
                  <a:pt x="4634553" y="2125761"/>
                </a:lnTo>
                <a:lnTo>
                  <a:pt x="4644381" y="2115932"/>
                </a:lnTo>
                <a:lnTo>
                  <a:pt x="4645786" y="2117337"/>
                </a:lnTo>
                <a:lnTo>
                  <a:pt x="4655778" y="2107343"/>
                </a:lnTo>
                <a:lnTo>
                  <a:pt x="4658173" y="2109738"/>
                </a:lnTo>
                <a:close/>
                <a:moveTo>
                  <a:pt x="3993235" y="2099083"/>
                </a:moveTo>
                <a:cubicBezTo>
                  <a:pt x="3999182" y="2099083"/>
                  <a:pt x="4003973" y="2103872"/>
                  <a:pt x="4003973" y="2109819"/>
                </a:cubicBezTo>
                <a:cubicBezTo>
                  <a:pt x="4003973" y="2115766"/>
                  <a:pt x="3999182" y="2120557"/>
                  <a:pt x="3993235" y="2120557"/>
                </a:cubicBezTo>
                <a:cubicBezTo>
                  <a:pt x="3987289" y="2120557"/>
                  <a:pt x="3982499" y="2115766"/>
                  <a:pt x="3982499" y="2109819"/>
                </a:cubicBezTo>
                <a:cubicBezTo>
                  <a:pt x="3982499" y="2103872"/>
                  <a:pt x="3987289" y="2099083"/>
                  <a:pt x="3993235" y="2099083"/>
                </a:cubicBezTo>
                <a:close/>
                <a:moveTo>
                  <a:pt x="4682374" y="2098092"/>
                </a:moveTo>
                <a:cubicBezTo>
                  <a:pt x="4684852" y="2098092"/>
                  <a:pt x="4686834" y="2100075"/>
                  <a:pt x="4686834" y="2102553"/>
                </a:cubicBezTo>
                <a:cubicBezTo>
                  <a:pt x="4686834" y="2105029"/>
                  <a:pt x="4684852" y="2107013"/>
                  <a:pt x="4682374" y="2107013"/>
                </a:cubicBezTo>
                <a:cubicBezTo>
                  <a:pt x="4679895" y="2107013"/>
                  <a:pt x="4677913" y="2105029"/>
                  <a:pt x="4677913" y="2102553"/>
                </a:cubicBezTo>
                <a:cubicBezTo>
                  <a:pt x="4677913" y="2100075"/>
                  <a:pt x="4679895" y="2098092"/>
                  <a:pt x="4682374" y="2098092"/>
                </a:cubicBezTo>
                <a:close/>
                <a:moveTo>
                  <a:pt x="4473253" y="2092807"/>
                </a:moveTo>
                <a:cubicBezTo>
                  <a:pt x="4479200" y="2092807"/>
                  <a:pt x="4483991" y="2097596"/>
                  <a:pt x="4483991" y="2103543"/>
                </a:cubicBezTo>
                <a:cubicBezTo>
                  <a:pt x="4483991" y="2109490"/>
                  <a:pt x="4479200" y="2114281"/>
                  <a:pt x="4473253" y="2114281"/>
                </a:cubicBezTo>
                <a:cubicBezTo>
                  <a:pt x="4467307" y="2114281"/>
                  <a:pt x="4462517" y="2109490"/>
                  <a:pt x="4462517" y="2103543"/>
                </a:cubicBezTo>
                <a:cubicBezTo>
                  <a:pt x="4462517" y="2097596"/>
                  <a:pt x="4467307" y="2092807"/>
                  <a:pt x="4473253" y="2092807"/>
                </a:cubicBezTo>
                <a:close/>
                <a:moveTo>
                  <a:pt x="4075001" y="2083886"/>
                </a:moveTo>
                <a:cubicBezTo>
                  <a:pt x="4080947" y="2083886"/>
                  <a:pt x="4085737" y="2088676"/>
                  <a:pt x="4085737" y="2094622"/>
                </a:cubicBezTo>
                <a:cubicBezTo>
                  <a:pt x="4085737" y="2100569"/>
                  <a:pt x="4080947" y="2105360"/>
                  <a:pt x="4075001" y="2105360"/>
                </a:cubicBezTo>
                <a:cubicBezTo>
                  <a:pt x="4069054" y="2105360"/>
                  <a:pt x="4064264" y="2100569"/>
                  <a:pt x="4064264" y="2094622"/>
                </a:cubicBezTo>
                <a:cubicBezTo>
                  <a:pt x="4064264" y="2088676"/>
                  <a:pt x="4069054" y="2083886"/>
                  <a:pt x="4075001" y="2083886"/>
                </a:cubicBezTo>
                <a:close/>
                <a:moveTo>
                  <a:pt x="1719682" y="2079261"/>
                </a:moveTo>
                <a:cubicBezTo>
                  <a:pt x="1725628" y="2079261"/>
                  <a:pt x="1730418" y="2084051"/>
                  <a:pt x="1730418" y="2089997"/>
                </a:cubicBezTo>
                <a:cubicBezTo>
                  <a:pt x="1730418" y="2095944"/>
                  <a:pt x="1725628" y="2100735"/>
                  <a:pt x="1719682" y="2100735"/>
                </a:cubicBezTo>
                <a:cubicBezTo>
                  <a:pt x="1713735" y="2100735"/>
                  <a:pt x="1708945" y="2095944"/>
                  <a:pt x="1708945" y="2089997"/>
                </a:cubicBezTo>
                <a:cubicBezTo>
                  <a:pt x="1708945" y="2084051"/>
                  <a:pt x="1713735" y="2079261"/>
                  <a:pt x="1719682" y="2079261"/>
                </a:cubicBezTo>
                <a:close/>
                <a:moveTo>
                  <a:pt x="4497700" y="2078767"/>
                </a:moveTo>
                <a:cubicBezTo>
                  <a:pt x="4503646" y="2078767"/>
                  <a:pt x="4508436" y="2083556"/>
                  <a:pt x="4508436" y="2089503"/>
                </a:cubicBezTo>
                <a:cubicBezTo>
                  <a:pt x="4508436" y="2095450"/>
                  <a:pt x="4503646" y="2100241"/>
                  <a:pt x="4497700" y="2100241"/>
                </a:cubicBezTo>
                <a:cubicBezTo>
                  <a:pt x="4491753" y="2100241"/>
                  <a:pt x="4486964" y="2095450"/>
                  <a:pt x="4486964" y="2089503"/>
                </a:cubicBezTo>
                <a:cubicBezTo>
                  <a:pt x="4486964" y="2083556"/>
                  <a:pt x="4491753" y="2078767"/>
                  <a:pt x="4497700" y="2078767"/>
                </a:cubicBezTo>
                <a:close/>
                <a:moveTo>
                  <a:pt x="1979015" y="2076784"/>
                </a:moveTo>
                <a:cubicBezTo>
                  <a:pt x="1984962" y="2076784"/>
                  <a:pt x="1989753" y="2081574"/>
                  <a:pt x="1989753" y="2087521"/>
                </a:cubicBezTo>
                <a:cubicBezTo>
                  <a:pt x="1989753" y="2093467"/>
                  <a:pt x="1984962" y="2098259"/>
                  <a:pt x="1979015" y="2098259"/>
                </a:cubicBezTo>
                <a:cubicBezTo>
                  <a:pt x="1973069" y="2098259"/>
                  <a:pt x="1968279" y="2093467"/>
                  <a:pt x="1968279" y="2087521"/>
                </a:cubicBezTo>
                <a:cubicBezTo>
                  <a:pt x="1968279" y="2081574"/>
                  <a:pt x="1973069" y="2076784"/>
                  <a:pt x="1979015" y="2076784"/>
                </a:cubicBezTo>
                <a:close/>
                <a:moveTo>
                  <a:pt x="1463979" y="2072985"/>
                </a:moveTo>
                <a:cubicBezTo>
                  <a:pt x="1469926" y="2072985"/>
                  <a:pt x="1474717" y="2077775"/>
                  <a:pt x="1474717" y="2083721"/>
                </a:cubicBezTo>
                <a:cubicBezTo>
                  <a:pt x="1474717" y="2089668"/>
                  <a:pt x="1469926" y="2094458"/>
                  <a:pt x="1463979" y="2094458"/>
                </a:cubicBezTo>
                <a:cubicBezTo>
                  <a:pt x="1458033" y="2094458"/>
                  <a:pt x="1453243" y="2089668"/>
                  <a:pt x="1453243" y="2083721"/>
                </a:cubicBezTo>
                <a:cubicBezTo>
                  <a:pt x="1453243" y="2077775"/>
                  <a:pt x="1458033" y="2072985"/>
                  <a:pt x="1463979" y="2072985"/>
                </a:cubicBezTo>
                <a:close/>
                <a:moveTo>
                  <a:pt x="4148176" y="2069021"/>
                </a:moveTo>
                <a:cubicBezTo>
                  <a:pt x="4154123" y="2069021"/>
                  <a:pt x="4158914" y="2073810"/>
                  <a:pt x="4158914" y="2079757"/>
                </a:cubicBezTo>
                <a:cubicBezTo>
                  <a:pt x="4158914" y="2085703"/>
                  <a:pt x="4154123" y="2090495"/>
                  <a:pt x="4148176" y="2090495"/>
                </a:cubicBezTo>
                <a:cubicBezTo>
                  <a:pt x="4142230" y="2090495"/>
                  <a:pt x="4137440" y="2085703"/>
                  <a:pt x="4137440" y="2079757"/>
                </a:cubicBezTo>
                <a:cubicBezTo>
                  <a:pt x="4137440" y="2073810"/>
                  <a:pt x="4142230" y="2069021"/>
                  <a:pt x="4148176" y="2069021"/>
                </a:cubicBezTo>
                <a:close/>
                <a:moveTo>
                  <a:pt x="2227613" y="2067534"/>
                </a:moveTo>
                <a:cubicBezTo>
                  <a:pt x="2233559" y="2067534"/>
                  <a:pt x="2238349" y="2072324"/>
                  <a:pt x="2238349" y="2078271"/>
                </a:cubicBezTo>
                <a:cubicBezTo>
                  <a:pt x="2238349" y="2084217"/>
                  <a:pt x="2233559" y="2089007"/>
                  <a:pt x="2227613" y="2089007"/>
                </a:cubicBezTo>
                <a:cubicBezTo>
                  <a:pt x="2221666" y="2089007"/>
                  <a:pt x="2216877" y="2084217"/>
                  <a:pt x="2216877" y="2078271"/>
                </a:cubicBezTo>
                <a:cubicBezTo>
                  <a:pt x="2216877" y="2072324"/>
                  <a:pt x="2221666" y="2067534"/>
                  <a:pt x="2227613" y="2067534"/>
                </a:cubicBezTo>
                <a:close/>
                <a:moveTo>
                  <a:pt x="4518678" y="2065387"/>
                </a:moveTo>
                <a:cubicBezTo>
                  <a:pt x="4524625" y="2065387"/>
                  <a:pt x="4529416" y="2070177"/>
                  <a:pt x="4529416" y="2076124"/>
                </a:cubicBezTo>
                <a:cubicBezTo>
                  <a:pt x="4529416" y="2082070"/>
                  <a:pt x="4524625" y="2086862"/>
                  <a:pt x="4518678" y="2086862"/>
                </a:cubicBezTo>
                <a:cubicBezTo>
                  <a:pt x="4512732" y="2086862"/>
                  <a:pt x="4507942" y="2082070"/>
                  <a:pt x="4507942" y="2076124"/>
                </a:cubicBezTo>
                <a:cubicBezTo>
                  <a:pt x="4507942" y="2070177"/>
                  <a:pt x="4512732" y="2065387"/>
                  <a:pt x="4518678" y="2065387"/>
                </a:cubicBezTo>
                <a:close/>
                <a:moveTo>
                  <a:pt x="1222981" y="2062249"/>
                </a:moveTo>
                <a:cubicBezTo>
                  <a:pt x="1228927" y="2062249"/>
                  <a:pt x="1233719" y="2067038"/>
                  <a:pt x="1233719" y="2072985"/>
                </a:cubicBezTo>
                <a:cubicBezTo>
                  <a:pt x="1233719" y="2078931"/>
                  <a:pt x="1228927" y="2083723"/>
                  <a:pt x="1222981" y="2083723"/>
                </a:cubicBezTo>
                <a:cubicBezTo>
                  <a:pt x="1217034" y="2083723"/>
                  <a:pt x="1212245" y="2078931"/>
                  <a:pt x="1212245" y="2072985"/>
                </a:cubicBezTo>
                <a:cubicBezTo>
                  <a:pt x="1212245" y="2067038"/>
                  <a:pt x="1217034" y="2062249"/>
                  <a:pt x="1222981" y="2062249"/>
                </a:cubicBezTo>
                <a:close/>
                <a:moveTo>
                  <a:pt x="2459692" y="2055641"/>
                </a:moveTo>
                <a:cubicBezTo>
                  <a:pt x="2465639" y="2055641"/>
                  <a:pt x="2470430" y="2060431"/>
                  <a:pt x="2470430" y="2066378"/>
                </a:cubicBezTo>
                <a:cubicBezTo>
                  <a:pt x="2470430" y="2072324"/>
                  <a:pt x="2465639" y="2077116"/>
                  <a:pt x="2459692" y="2077116"/>
                </a:cubicBezTo>
                <a:cubicBezTo>
                  <a:pt x="2453746" y="2077116"/>
                  <a:pt x="2448956" y="2072324"/>
                  <a:pt x="2448956" y="2066378"/>
                </a:cubicBezTo>
                <a:cubicBezTo>
                  <a:pt x="2448956" y="2060431"/>
                  <a:pt x="2453746" y="2055641"/>
                  <a:pt x="2459692" y="2055641"/>
                </a:cubicBezTo>
                <a:close/>
                <a:moveTo>
                  <a:pt x="4213588" y="2054981"/>
                </a:moveTo>
                <a:cubicBezTo>
                  <a:pt x="4219535" y="2054981"/>
                  <a:pt x="4224326" y="2059770"/>
                  <a:pt x="4224326" y="2065717"/>
                </a:cubicBezTo>
                <a:cubicBezTo>
                  <a:pt x="4224326" y="2071663"/>
                  <a:pt x="4219535" y="2076455"/>
                  <a:pt x="4213588" y="2076455"/>
                </a:cubicBezTo>
                <a:cubicBezTo>
                  <a:pt x="4207642" y="2076455"/>
                  <a:pt x="4202852" y="2071663"/>
                  <a:pt x="4202852" y="2065717"/>
                </a:cubicBezTo>
                <a:cubicBezTo>
                  <a:pt x="4202852" y="2059770"/>
                  <a:pt x="4207642" y="2054981"/>
                  <a:pt x="4213588" y="2054981"/>
                </a:cubicBezTo>
                <a:close/>
                <a:moveTo>
                  <a:pt x="4536518" y="2052502"/>
                </a:moveTo>
                <a:cubicBezTo>
                  <a:pt x="4542465" y="2052502"/>
                  <a:pt x="4547254" y="2057292"/>
                  <a:pt x="4547254" y="2063239"/>
                </a:cubicBezTo>
                <a:cubicBezTo>
                  <a:pt x="4547254" y="2069185"/>
                  <a:pt x="4542465" y="2073977"/>
                  <a:pt x="4536518" y="2073977"/>
                </a:cubicBezTo>
                <a:cubicBezTo>
                  <a:pt x="4530571" y="2073977"/>
                  <a:pt x="4525782" y="2069185"/>
                  <a:pt x="4525782" y="2063239"/>
                </a:cubicBezTo>
                <a:cubicBezTo>
                  <a:pt x="4525782" y="2057292"/>
                  <a:pt x="4530571" y="2052502"/>
                  <a:pt x="4536518" y="2052502"/>
                </a:cubicBezTo>
                <a:close/>
                <a:moveTo>
                  <a:pt x="998829" y="2049695"/>
                </a:moveTo>
                <a:cubicBezTo>
                  <a:pt x="1004775" y="2049695"/>
                  <a:pt x="1009565" y="2054485"/>
                  <a:pt x="1009565" y="2060431"/>
                </a:cubicBezTo>
                <a:cubicBezTo>
                  <a:pt x="1009565" y="2066378"/>
                  <a:pt x="1004775" y="2071169"/>
                  <a:pt x="998829" y="2071169"/>
                </a:cubicBezTo>
                <a:cubicBezTo>
                  <a:pt x="992882" y="2071169"/>
                  <a:pt x="988092" y="2066378"/>
                  <a:pt x="988092" y="2060431"/>
                </a:cubicBezTo>
                <a:cubicBezTo>
                  <a:pt x="988092" y="2054485"/>
                  <a:pt x="992882" y="2049695"/>
                  <a:pt x="998829" y="2049695"/>
                </a:cubicBezTo>
                <a:close/>
                <a:moveTo>
                  <a:pt x="2674594" y="2042921"/>
                </a:moveTo>
                <a:cubicBezTo>
                  <a:pt x="2680541" y="2042921"/>
                  <a:pt x="2685332" y="2047711"/>
                  <a:pt x="2685332" y="2053657"/>
                </a:cubicBezTo>
                <a:cubicBezTo>
                  <a:pt x="2685332" y="2059604"/>
                  <a:pt x="2680541" y="2064395"/>
                  <a:pt x="2674594" y="2064395"/>
                </a:cubicBezTo>
                <a:cubicBezTo>
                  <a:pt x="2668648" y="2064395"/>
                  <a:pt x="2663858" y="2059604"/>
                  <a:pt x="2663858" y="2053657"/>
                </a:cubicBezTo>
                <a:cubicBezTo>
                  <a:pt x="2663858" y="2047711"/>
                  <a:pt x="2668648" y="2042921"/>
                  <a:pt x="2674594" y="2042921"/>
                </a:cubicBezTo>
                <a:close/>
                <a:moveTo>
                  <a:pt x="4271567" y="2041270"/>
                </a:moveTo>
                <a:cubicBezTo>
                  <a:pt x="4277514" y="2041270"/>
                  <a:pt x="4282305" y="2046060"/>
                  <a:pt x="4282305" y="2052006"/>
                </a:cubicBezTo>
                <a:cubicBezTo>
                  <a:pt x="4282305" y="2057953"/>
                  <a:pt x="4277514" y="2062745"/>
                  <a:pt x="4271567" y="2062745"/>
                </a:cubicBezTo>
                <a:cubicBezTo>
                  <a:pt x="4265621" y="2062745"/>
                  <a:pt x="4260831" y="2057953"/>
                  <a:pt x="4260831" y="2052006"/>
                </a:cubicBezTo>
                <a:cubicBezTo>
                  <a:pt x="4260831" y="2046060"/>
                  <a:pt x="4265621" y="2041270"/>
                  <a:pt x="4271567" y="2041270"/>
                </a:cubicBezTo>
                <a:close/>
                <a:moveTo>
                  <a:pt x="4551550" y="2040278"/>
                </a:moveTo>
                <a:cubicBezTo>
                  <a:pt x="4557496" y="2040278"/>
                  <a:pt x="4562286" y="2045068"/>
                  <a:pt x="4562286" y="2051014"/>
                </a:cubicBezTo>
                <a:cubicBezTo>
                  <a:pt x="4562286" y="2056961"/>
                  <a:pt x="4557496" y="2061753"/>
                  <a:pt x="4551550" y="2061753"/>
                </a:cubicBezTo>
                <a:cubicBezTo>
                  <a:pt x="4545603" y="2061753"/>
                  <a:pt x="4540814" y="2056961"/>
                  <a:pt x="4540814" y="2051014"/>
                </a:cubicBezTo>
                <a:cubicBezTo>
                  <a:pt x="4540814" y="2045068"/>
                  <a:pt x="4545603" y="2040278"/>
                  <a:pt x="4551550" y="2040278"/>
                </a:cubicBezTo>
                <a:close/>
                <a:moveTo>
                  <a:pt x="791857" y="2036974"/>
                </a:moveTo>
                <a:cubicBezTo>
                  <a:pt x="797803" y="2036974"/>
                  <a:pt x="802595" y="2041764"/>
                  <a:pt x="802595" y="2047711"/>
                </a:cubicBezTo>
                <a:cubicBezTo>
                  <a:pt x="802595" y="2053657"/>
                  <a:pt x="797803" y="2058449"/>
                  <a:pt x="791857" y="2058449"/>
                </a:cubicBezTo>
                <a:cubicBezTo>
                  <a:pt x="785910" y="2058449"/>
                  <a:pt x="781120" y="2053657"/>
                  <a:pt x="781120" y="2047711"/>
                </a:cubicBezTo>
                <a:cubicBezTo>
                  <a:pt x="781120" y="2041764"/>
                  <a:pt x="785910" y="2036974"/>
                  <a:pt x="791857" y="2036974"/>
                </a:cubicBezTo>
                <a:close/>
                <a:moveTo>
                  <a:pt x="4696249" y="2035820"/>
                </a:moveTo>
                <a:cubicBezTo>
                  <a:pt x="4696523" y="2035820"/>
                  <a:pt x="4696745" y="2036042"/>
                  <a:pt x="4696745" y="2036316"/>
                </a:cubicBezTo>
                <a:cubicBezTo>
                  <a:pt x="4696745" y="2036590"/>
                  <a:pt x="4696523" y="2036811"/>
                  <a:pt x="4696249" y="2036811"/>
                </a:cubicBezTo>
                <a:cubicBezTo>
                  <a:pt x="4695975" y="2036811"/>
                  <a:pt x="4695753" y="2036590"/>
                  <a:pt x="4695753" y="2036316"/>
                </a:cubicBezTo>
                <a:cubicBezTo>
                  <a:pt x="4695753" y="2036042"/>
                  <a:pt x="4695975" y="2035820"/>
                  <a:pt x="4696249" y="2035820"/>
                </a:cubicBezTo>
                <a:close/>
                <a:moveTo>
                  <a:pt x="4682209" y="2031855"/>
                </a:moveTo>
                <a:cubicBezTo>
                  <a:pt x="4688046" y="2031855"/>
                  <a:pt x="4692780" y="2036588"/>
                  <a:pt x="4692780" y="2042427"/>
                </a:cubicBezTo>
                <a:cubicBezTo>
                  <a:pt x="4692780" y="2048266"/>
                  <a:pt x="4688048" y="2052998"/>
                  <a:pt x="4682209" y="2052998"/>
                </a:cubicBezTo>
                <a:lnTo>
                  <a:pt x="4679235" y="2050024"/>
                </a:lnTo>
                <a:lnTo>
                  <a:pt x="4669324" y="2059937"/>
                </a:lnTo>
                <a:lnTo>
                  <a:pt x="4667177" y="2057790"/>
                </a:lnTo>
                <a:lnTo>
                  <a:pt x="4657927" y="2067040"/>
                </a:lnTo>
                <a:lnTo>
                  <a:pt x="4656522" y="2065635"/>
                </a:lnTo>
                <a:lnTo>
                  <a:pt x="4647520" y="2074638"/>
                </a:lnTo>
                <a:lnTo>
                  <a:pt x="4646857" y="2073975"/>
                </a:lnTo>
                <a:lnTo>
                  <a:pt x="4640252" y="2080582"/>
                </a:lnTo>
                <a:lnTo>
                  <a:pt x="4631829" y="2089007"/>
                </a:lnTo>
                <a:lnTo>
                  <a:pt x="4632654" y="2089833"/>
                </a:lnTo>
                <a:lnTo>
                  <a:pt x="4624230" y="2098257"/>
                </a:lnTo>
                <a:lnTo>
                  <a:pt x="4625551" y="2099579"/>
                </a:lnTo>
                <a:lnTo>
                  <a:pt x="4617126" y="2108003"/>
                </a:lnTo>
                <a:lnTo>
                  <a:pt x="4618942" y="2109819"/>
                </a:lnTo>
                <a:lnTo>
                  <a:pt x="4610271" y="2118492"/>
                </a:lnTo>
                <a:lnTo>
                  <a:pt x="4612668" y="2120887"/>
                </a:lnTo>
                <a:lnTo>
                  <a:pt x="4603745" y="2129807"/>
                </a:lnTo>
                <a:lnTo>
                  <a:pt x="4606390" y="2132450"/>
                </a:lnTo>
                <a:lnTo>
                  <a:pt x="4597057" y="2141784"/>
                </a:lnTo>
                <a:lnTo>
                  <a:pt x="4600114" y="2144839"/>
                </a:lnTo>
                <a:lnTo>
                  <a:pt x="4590286" y="2154667"/>
                </a:lnTo>
                <a:lnTo>
                  <a:pt x="4593507" y="2157887"/>
                </a:lnTo>
                <a:lnTo>
                  <a:pt x="4583017" y="2168377"/>
                </a:lnTo>
                <a:lnTo>
                  <a:pt x="4586239" y="2171598"/>
                </a:lnTo>
                <a:cubicBezTo>
                  <a:pt x="4586239" y="2177544"/>
                  <a:pt x="4581447" y="2182336"/>
                  <a:pt x="4575501" y="2182336"/>
                </a:cubicBezTo>
                <a:cubicBezTo>
                  <a:pt x="4569554" y="2182336"/>
                  <a:pt x="4564764" y="2177544"/>
                  <a:pt x="4564764" y="2171598"/>
                </a:cubicBezTo>
                <a:lnTo>
                  <a:pt x="4575253" y="2161109"/>
                </a:lnTo>
                <a:lnTo>
                  <a:pt x="4572032" y="2157887"/>
                </a:lnTo>
                <a:lnTo>
                  <a:pt x="4581860" y="2148060"/>
                </a:lnTo>
                <a:lnTo>
                  <a:pt x="4578640" y="2144839"/>
                </a:lnTo>
                <a:lnTo>
                  <a:pt x="4587971" y="2135508"/>
                </a:lnTo>
                <a:lnTo>
                  <a:pt x="4584916" y="2132450"/>
                </a:lnTo>
                <a:lnTo>
                  <a:pt x="4593836" y="2123529"/>
                </a:lnTo>
                <a:lnTo>
                  <a:pt x="4591193" y="2120887"/>
                </a:lnTo>
                <a:lnTo>
                  <a:pt x="4599864" y="2112216"/>
                </a:lnTo>
                <a:lnTo>
                  <a:pt x="4597469" y="2109819"/>
                </a:lnTo>
                <a:lnTo>
                  <a:pt x="4605892" y="2101396"/>
                </a:lnTo>
                <a:lnTo>
                  <a:pt x="4604077" y="2099579"/>
                </a:lnTo>
                <a:lnTo>
                  <a:pt x="4612501" y="2091154"/>
                </a:lnTo>
                <a:lnTo>
                  <a:pt x="4611180" y="2089833"/>
                </a:lnTo>
                <a:lnTo>
                  <a:pt x="4619605" y="2081408"/>
                </a:lnTo>
                <a:lnTo>
                  <a:pt x="4618779" y="2080582"/>
                </a:lnTo>
                <a:lnTo>
                  <a:pt x="4627369" y="2071995"/>
                </a:lnTo>
                <a:lnTo>
                  <a:pt x="4627367" y="2071993"/>
                </a:lnTo>
                <a:cubicBezTo>
                  <a:pt x="4627367" y="2066046"/>
                  <a:pt x="4632157" y="2061257"/>
                  <a:pt x="4638103" y="2061257"/>
                </a:cubicBezTo>
                <a:lnTo>
                  <a:pt x="4638766" y="2061919"/>
                </a:lnTo>
                <a:lnTo>
                  <a:pt x="4647520" y="2053163"/>
                </a:lnTo>
                <a:lnTo>
                  <a:pt x="4648925" y="2054568"/>
                </a:lnTo>
                <a:lnTo>
                  <a:pt x="4657927" y="2045566"/>
                </a:lnTo>
                <a:lnTo>
                  <a:pt x="4660074" y="2047713"/>
                </a:lnTo>
                <a:lnTo>
                  <a:pt x="4669324" y="2038462"/>
                </a:lnTo>
                <a:lnTo>
                  <a:pt x="4672463" y="2041601"/>
                </a:lnTo>
                <a:close/>
                <a:moveTo>
                  <a:pt x="2872977" y="2030038"/>
                </a:moveTo>
                <a:cubicBezTo>
                  <a:pt x="2878923" y="2030038"/>
                  <a:pt x="2883715" y="2034828"/>
                  <a:pt x="2883715" y="2040774"/>
                </a:cubicBezTo>
                <a:cubicBezTo>
                  <a:pt x="2883715" y="2046721"/>
                  <a:pt x="2878923" y="2051512"/>
                  <a:pt x="2872977" y="2051512"/>
                </a:cubicBezTo>
                <a:cubicBezTo>
                  <a:pt x="2867030" y="2051512"/>
                  <a:pt x="2862240" y="2046721"/>
                  <a:pt x="2862240" y="2040774"/>
                </a:cubicBezTo>
                <a:cubicBezTo>
                  <a:pt x="2862240" y="2034828"/>
                  <a:pt x="2867030" y="2030038"/>
                  <a:pt x="2872977" y="2030038"/>
                </a:cubicBezTo>
                <a:close/>
                <a:moveTo>
                  <a:pt x="4564433" y="2028552"/>
                </a:moveTo>
                <a:cubicBezTo>
                  <a:pt x="4570380" y="2028552"/>
                  <a:pt x="4575170" y="2033341"/>
                  <a:pt x="4575170" y="2039288"/>
                </a:cubicBezTo>
                <a:cubicBezTo>
                  <a:pt x="4575170" y="2045234"/>
                  <a:pt x="4570380" y="2050026"/>
                  <a:pt x="4564433" y="2050026"/>
                </a:cubicBezTo>
                <a:cubicBezTo>
                  <a:pt x="4558487" y="2050026"/>
                  <a:pt x="4553697" y="2045234"/>
                  <a:pt x="4553697" y="2039288"/>
                </a:cubicBezTo>
                <a:cubicBezTo>
                  <a:pt x="4553697" y="2033341"/>
                  <a:pt x="4558487" y="2028552"/>
                  <a:pt x="4564433" y="2028552"/>
                </a:cubicBezTo>
                <a:close/>
                <a:moveTo>
                  <a:pt x="4322939" y="2028220"/>
                </a:moveTo>
                <a:cubicBezTo>
                  <a:pt x="4328886" y="2028220"/>
                  <a:pt x="4333675" y="2033010"/>
                  <a:pt x="4333675" y="2038957"/>
                </a:cubicBezTo>
                <a:cubicBezTo>
                  <a:pt x="4333675" y="2044903"/>
                  <a:pt x="4328886" y="2049695"/>
                  <a:pt x="4322939" y="2049695"/>
                </a:cubicBezTo>
                <a:cubicBezTo>
                  <a:pt x="4316992" y="2049695"/>
                  <a:pt x="4312203" y="2044903"/>
                  <a:pt x="4312203" y="2038957"/>
                </a:cubicBezTo>
                <a:cubicBezTo>
                  <a:pt x="4312203" y="2033010"/>
                  <a:pt x="4316992" y="2028220"/>
                  <a:pt x="4322939" y="2028220"/>
                </a:cubicBezTo>
                <a:close/>
                <a:moveTo>
                  <a:pt x="600907" y="2024091"/>
                </a:moveTo>
                <a:cubicBezTo>
                  <a:pt x="606854" y="2024091"/>
                  <a:pt x="611644" y="2028881"/>
                  <a:pt x="611644" y="2034828"/>
                </a:cubicBezTo>
                <a:cubicBezTo>
                  <a:pt x="611644" y="2040774"/>
                  <a:pt x="606854" y="2045566"/>
                  <a:pt x="600907" y="2045566"/>
                </a:cubicBezTo>
                <a:cubicBezTo>
                  <a:pt x="594961" y="2045566"/>
                  <a:pt x="590171" y="2040774"/>
                  <a:pt x="590171" y="2034828"/>
                </a:cubicBezTo>
                <a:cubicBezTo>
                  <a:pt x="590171" y="2028881"/>
                  <a:pt x="594961" y="2024091"/>
                  <a:pt x="600907" y="2024091"/>
                </a:cubicBezTo>
                <a:close/>
                <a:moveTo>
                  <a:pt x="3055501" y="2017484"/>
                </a:moveTo>
                <a:cubicBezTo>
                  <a:pt x="3061448" y="2017484"/>
                  <a:pt x="3066240" y="2022274"/>
                  <a:pt x="3066240" y="2028220"/>
                </a:cubicBezTo>
                <a:cubicBezTo>
                  <a:pt x="3066240" y="2034167"/>
                  <a:pt x="3061448" y="2038957"/>
                  <a:pt x="3055501" y="2038957"/>
                </a:cubicBezTo>
                <a:cubicBezTo>
                  <a:pt x="3049555" y="2038957"/>
                  <a:pt x="3044765" y="2034167"/>
                  <a:pt x="3044765" y="2028220"/>
                </a:cubicBezTo>
                <a:cubicBezTo>
                  <a:pt x="3044765" y="2022274"/>
                  <a:pt x="3049555" y="2017484"/>
                  <a:pt x="3055501" y="2017484"/>
                </a:cubicBezTo>
                <a:close/>
                <a:moveTo>
                  <a:pt x="4368198" y="2015667"/>
                </a:moveTo>
                <a:cubicBezTo>
                  <a:pt x="4374144" y="2015667"/>
                  <a:pt x="4378934" y="2020456"/>
                  <a:pt x="4378934" y="2026403"/>
                </a:cubicBezTo>
                <a:cubicBezTo>
                  <a:pt x="4378934" y="2032349"/>
                  <a:pt x="4374144" y="2037139"/>
                  <a:pt x="4368198" y="2037139"/>
                </a:cubicBezTo>
                <a:cubicBezTo>
                  <a:pt x="4362251" y="2037139"/>
                  <a:pt x="4357461" y="2032349"/>
                  <a:pt x="4357461" y="2026403"/>
                </a:cubicBezTo>
                <a:cubicBezTo>
                  <a:pt x="4357461" y="2020456"/>
                  <a:pt x="4362251" y="2015667"/>
                  <a:pt x="4368198" y="2015667"/>
                </a:cubicBezTo>
                <a:close/>
                <a:moveTo>
                  <a:pt x="425319" y="2011702"/>
                </a:moveTo>
                <a:cubicBezTo>
                  <a:pt x="431266" y="2011702"/>
                  <a:pt x="436057" y="2016492"/>
                  <a:pt x="436057" y="2022439"/>
                </a:cubicBezTo>
                <a:cubicBezTo>
                  <a:pt x="436057" y="2028385"/>
                  <a:pt x="431266" y="2033177"/>
                  <a:pt x="425319" y="2033177"/>
                </a:cubicBezTo>
                <a:cubicBezTo>
                  <a:pt x="419373" y="2033177"/>
                  <a:pt x="414583" y="2028385"/>
                  <a:pt x="414583" y="2022439"/>
                </a:cubicBezTo>
                <a:cubicBezTo>
                  <a:pt x="414583" y="2016492"/>
                  <a:pt x="419373" y="2011702"/>
                  <a:pt x="425319" y="2011702"/>
                </a:cubicBezTo>
                <a:close/>
                <a:moveTo>
                  <a:pt x="3223161" y="2005095"/>
                </a:moveTo>
                <a:cubicBezTo>
                  <a:pt x="3229108" y="2005095"/>
                  <a:pt x="3233899" y="2009885"/>
                  <a:pt x="3233899" y="2015831"/>
                </a:cubicBezTo>
                <a:cubicBezTo>
                  <a:pt x="3233899" y="2021778"/>
                  <a:pt x="3229108" y="2026568"/>
                  <a:pt x="3223161" y="2026568"/>
                </a:cubicBezTo>
                <a:cubicBezTo>
                  <a:pt x="3217214" y="2026568"/>
                  <a:pt x="3212425" y="2021778"/>
                  <a:pt x="3212425" y="2015831"/>
                </a:cubicBezTo>
                <a:cubicBezTo>
                  <a:pt x="3212425" y="2009885"/>
                  <a:pt x="3217214" y="2005095"/>
                  <a:pt x="3223161" y="2005095"/>
                </a:cubicBezTo>
                <a:close/>
                <a:moveTo>
                  <a:pt x="4407841" y="2003773"/>
                </a:moveTo>
                <a:cubicBezTo>
                  <a:pt x="4413788" y="2003773"/>
                  <a:pt x="4418579" y="2008563"/>
                  <a:pt x="4418579" y="2014510"/>
                </a:cubicBezTo>
                <a:cubicBezTo>
                  <a:pt x="4418579" y="2020456"/>
                  <a:pt x="4413788" y="2025248"/>
                  <a:pt x="4407841" y="2025248"/>
                </a:cubicBezTo>
                <a:cubicBezTo>
                  <a:pt x="4401895" y="2025248"/>
                  <a:pt x="4397105" y="2020456"/>
                  <a:pt x="4397105" y="2014510"/>
                </a:cubicBezTo>
                <a:cubicBezTo>
                  <a:pt x="4397105" y="2008563"/>
                  <a:pt x="4401895" y="2003773"/>
                  <a:pt x="4407841" y="2003773"/>
                </a:cubicBezTo>
                <a:close/>
                <a:moveTo>
                  <a:pt x="264269" y="1999480"/>
                </a:moveTo>
                <a:cubicBezTo>
                  <a:pt x="270215" y="1999480"/>
                  <a:pt x="275007" y="2004269"/>
                  <a:pt x="275007" y="2010216"/>
                </a:cubicBezTo>
                <a:cubicBezTo>
                  <a:pt x="275007" y="2016163"/>
                  <a:pt x="270215" y="2020954"/>
                  <a:pt x="264269" y="2020954"/>
                </a:cubicBezTo>
                <a:cubicBezTo>
                  <a:pt x="258322" y="2020954"/>
                  <a:pt x="253532" y="2016163"/>
                  <a:pt x="253532" y="2010216"/>
                </a:cubicBezTo>
                <a:cubicBezTo>
                  <a:pt x="253532" y="2004269"/>
                  <a:pt x="258322" y="1999480"/>
                  <a:pt x="264269" y="1999480"/>
                </a:cubicBezTo>
                <a:close/>
                <a:moveTo>
                  <a:pt x="3376780" y="1993037"/>
                </a:moveTo>
                <a:cubicBezTo>
                  <a:pt x="3382727" y="1993037"/>
                  <a:pt x="3387517" y="1997827"/>
                  <a:pt x="3387517" y="2003773"/>
                </a:cubicBezTo>
                <a:cubicBezTo>
                  <a:pt x="3387517" y="2009720"/>
                  <a:pt x="3382727" y="2014512"/>
                  <a:pt x="3376780" y="2014512"/>
                </a:cubicBezTo>
                <a:cubicBezTo>
                  <a:pt x="3370834" y="2014512"/>
                  <a:pt x="3366044" y="2009720"/>
                  <a:pt x="3366044" y="2003773"/>
                </a:cubicBezTo>
                <a:cubicBezTo>
                  <a:pt x="3366044" y="1997827"/>
                  <a:pt x="3370834" y="1993037"/>
                  <a:pt x="3376780" y="1993037"/>
                </a:cubicBezTo>
                <a:close/>
                <a:moveTo>
                  <a:pt x="4442364" y="1992212"/>
                </a:moveTo>
                <a:cubicBezTo>
                  <a:pt x="4448310" y="1992212"/>
                  <a:pt x="4453102" y="1997001"/>
                  <a:pt x="4453102" y="2002948"/>
                </a:cubicBezTo>
                <a:cubicBezTo>
                  <a:pt x="4453102" y="2008895"/>
                  <a:pt x="4448310" y="2013684"/>
                  <a:pt x="4442364" y="2013684"/>
                </a:cubicBezTo>
                <a:cubicBezTo>
                  <a:pt x="4436417" y="2013684"/>
                  <a:pt x="4431627" y="2008895"/>
                  <a:pt x="4431627" y="2002948"/>
                </a:cubicBezTo>
                <a:cubicBezTo>
                  <a:pt x="4431627" y="1997001"/>
                  <a:pt x="4436417" y="1992212"/>
                  <a:pt x="4442364" y="1992212"/>
                </a:cubicBezTo>
                <a:close/>
                <a:moveTo>
                  <a:pt x="116927" y="1987587"/>
                </a:moveTo>
                <a:cubicBezTo>
                  <a:pt x="122873" y="1987587"/>
                  <a:pt x="127665" y="1992376"/>
                  <a:pt x="127665" y="1998323"/>
                </a:cubicBezTo>
                <a:cubicBezTo>
                  <a:pt x="127665" y="2004269"/>
                  <a:pt x="122873" y="2009061"/>
                  <a:pt x="116927" y="2009061"/>
                </a:cubicBezTo>
                <a:cubicBezTo>
                  <a:pt x="110980" y="2009061"/>
                  <a:pt x="106191" y="2004269"/>
                  <a:pt x="106191" y="1998323"/>
                </a:cubicBezTo>
                <a:cubicBezTo>
                  <a:pt x="106191" y="1992376"/>
                  <a:pt x="110980" y="1987587"/>
                  <a:pt x="116927" y="1987587"/>
                </a:cubicBezTo>
                <a:close/>
                <a:moveTo>
                  <a:pt x="4472261" y="1981309"/>
                </a:moveTo>
                <a:cubicBezTo>
                  <a:pt x="4478208" y="1981309"/>
                  <a:pt x="4482999" y="1986099"/>
                  <a:pt x="4482999" y="1992045"/>
                </a:cubicBezTo>
                <a:cubicBezTo>
                  <a:pt x="4482999" y="1997992"/>
                  <a:pt x="4478208" y="2002783"/>
                  <a:pt x="4472261" y="2002783"/>
                </a:cubicBezTo>
                <a:cubicBezTo>
                  <a:pt x="4466315" y="2002783"/>
                  <a:pt x="4461525" y="1997992"/>
                  <a:pt x="4461525" y="1992045"/>
                </a:cubicBezTo>
                <a:cubicBezTo>
                  <a:pt x="4461525" y="1986099"/>
                  <a:pt x="4466315" y="1981309"/>
                  <a:pt x="4472261" y="1981309"/>
                </a:cubicBezTo>
                <a:close/>
                <a:moveTo>
                  <a:pt x="3517184" y="1981309"/>
                </a:moveTo>
                <a:cubicBezTo>
                  <a:pt x="3523130" y="1981309"/>
                  <a:pt x="3527920" y="1986099"/>
                  <a:pt x="3527920" y="1992045"/>
                </a:cubicBezTo>
                <a:cubicBezTo>
                  <a:pt x="3527920" y="1997992"/>
                  <a:pt x="3523130" y="2002783"/>
                  <a:pt x="3517184" y="2002783"/>
                </a:cubicBezTo>
                <a:cubicBezTo>
                  <a:pt x="3511237" y="2002783"/>
                  <a:pt x="3506447" y="1997992"/>
                  <a:pt x="3506447" y="1992045"/>
                </a:cubicBezTo>
                <a:cubicBezTo>
                  <a:pt x="3506447" y="1986099"/>
                  <a:pt x="3511237" y="1981309"/>
                  <a:pt x="3517184" y="1981309"/>
                </a:cubicBezTo>
                <a:close/>
                <a:moveTo>
                  <a:pt x="4498029" y="1970737"/>
                </a:moveTo>
                <a:cubicBezTo>
                  <a:pt x="4503976" y="1970737"/>
                  <a:pt x="4508768" y="1975527"/>
                  <a:pt x="4508768" y="1981474"/>
                </a:cubicBezTo>
                <a:cubicBezTo>
                  <a:pt x="4508768" y="1987420"/>
                  <a:pt x="4503976" y="1992212"/>
                  <a:pt x="4498029" y="1992212"/>
                </a:cubicBezTo>
                <a:cubicBezTo>
                  <a:pt x="4492083" y="1992212"/>
                  <a:pt x="4487293" y="1987420"/>
                  <a:pt x="4487293" y="1981474"/>
                </a:cubicBezTo>
                <a:cubicBezTo>
                  <a:pt x="4487293" y="1975527"/>
                  <a:pt x="4492083" y="1970737"/>
                  <a:pt x="4498029" y="1970737"/>
                </a:cubicBezTo>
                <a:close/>
                <a:moveTo>
                  <a:pt x="4681713" y="1970243"/>
                </a:moveTo>
                <a:cubicBezTo>
                  <a:pt x="4687659" y="1970243"/>
                  <a:pt x="4692449" y="1975033"/>
                  <a:pt x="4692449" y="1980979"/>
                </a:cubicBezTo>
                <a:cubicBezTo>
                  <a:pt x="4692449" y="1986926"/>
                  <a:pt x="4687659" y="1991716"/>
                  <a:pt x="4681713" y="1991716"/>
                </a:cubicBezTo>
                <a:lnTo>
                  <a:pt x="4678740" y="1988743"/>
                </a:lnTo>
                <a:lnTo>
                  <a:pt x="4669984" y="1997497"/>
                </a:lnTo>
                <a:lnTo>
                  <a:pt x="4667754" y="1995267"/>
                </a:lnTo>
                <a:lnTo>
                  <a:pt x="4659413" y="2003609"/>
                </a:lnTo>
                <a:lnTo>
                  <a:pt x="4657927" y="2002123"/>
                </a:lnTo>
                <a:lnTo>
                  <a:pt x="4649998" y="2010050"/>
                </a:lnTo>
                <a:lnTo>
                  <a:pt x="4649256" y="2009307"/>
                </a:lnTo>
                <a:lnTo>
                  <a:pt x="4641573" y="2016990"/>
                </a:lnTo>
                <a:lnTo>
                  <a:pt x="4641490" y="2016906"/>
                </a:lnTo>
                <a:lnTo>
                  <a:pt x="4637444" y="2020952"/>
                </a:lnTo>
                <a:lnTo>
                  <a:pt x="4637940" y="2021448"/>
                </a:lnTo>
                <a:lnTo>
                  <a:pt x="4630589" y="2028800"/>
                </a:lnTo>
                <a:lnTo>
                  <a:pt x="4631662" y="2029871"/>
                </a:lnTo>
                <a:lnTo>
                  <a:pt x="4624393" y="2037141"/>
                </a:lnTo>
                <a:lnTo>
                  <a:pt x="4625881" y="2038627"/>
                </a:lnTo>
                <a:lnTo>
                  <a:pt x="4618366" y="2046143"/>
                </a:lnTo>
                <a:lnTo>
                  <a:pt x="4620265" y="2048042"/>
                </a:lnTo>
                <a:lnTo>
                  <a:pt x="4612501" y="2055806"/>
                </a:lnTo>
                <a:lnTo>
                  <a:pt x="4614650" y="2057953"/>
                </a:lnTo>
                <a:lnTo>
                  <a:pt x="4606473" y="2066130"/>
                </a:lnTo>
                <a:lnTo>
                  <a:pt x="4608868" y="2068525"/>
                </a:lnTo>
                <a:lnTo>
                  <a:pt x="4600196" y="2077197"/>
                </a:lnTo>
                <a:lnTo>
                  <a:pt x="4602591" y="2079592"/>
                </a:lnTo>
                <a:lnTo>
                  <a:pt x="4593259" y="2088926"/>
                </a:lnTo>
                <a:lnTo>
                  <a:pt x="4595652" y="2091319"/>
                </a:lnTo>
                <a:lnTo>
                  <a:pt x="4585576" y="2101396"/>
                </a:lnTo>
                <a:lnTo>
                  <a:pt x="4587890" y="2103708"/>
                </a:lnTo>
                <a:cubicBezTo>
                  <a:pt x="4587890" y="2109654"/>
                  <a:pt x="4583098" y="2114446"/>
                  <a:pt x="4577152" y="2114446"/>
                </a:cubicBezTo>
                <a:cubicBezTo>
                  <a:pt x="4571205" y="2114446"/>
                  <a:pt x="4566415" y="2109654"/>
                  <a:pt x="4566415" y="2103708"/>
                </a:cubicBezTo>
                <a:lnTo>
                  <a:pt x="4576491" y="2093632"/>
                </a:lnTo>
                <a:lnTo>
                  <a:pt x="4574179" y="2091319"/>
                </a:lnTo>
                <a:lnTo>
                  <a:pt x="4583511" y="2081987"/>
                </a:lnTo>
                <a:lnTo>
                  <a:pt x="4581118" y="2079592"/>
                </a:lnTo>
                <a:lnTo>
                  <a:pt x="4589789" y="2070921"/>
                </a:lnTo>
                <a:lnTo>
                  <a:pt x="4587394" y="2068525"/>
                </a:lnTo>
                <a:lnTo>
                  <a:pt x="4595571" y="2060348"/>
                </a:lnTo>
                <a:lnTo>
                  <a:pt x="4593176" y="2057953"/>
                </a:lnTo>
                <a:lnTo>
                  <a:pt x="4600938" y="2050191"/>
                </a:lnTo>
                <a:lnTo>
                  <a:pt x="4598791" y="2048042"/>
                </a:lnTo>
                <a:lnTo>
                  <a:pt x="4606307" y="2040526"/>
                </a:lnTo>
                <a:lnTo>
                  <a:pt x="4604408" y="2038627"/>
                </a:lnTo>
                <a:lnTo>
                  <a:pt x="4611676" y="2031359"/>
                </a:lnTo>
                <a:lnTo>
                  <a:pt x="4610188" y="2029871"/>
                </a:lnTo>
                <a:lnTo>
                  <a:pt x="4617537" y="2022522"/>
                </a:lnTo>
                <a:lnTo>
                  <a:pt x="4616466" y="2021448"/>
                </a:lnTo>
                <a:lnTo>
                  <a:pt x="4623734" y="2014180"/>
                </a:lnTo>
                <a:lnTo>
                  <a:pt x="4623238" y="2013684"/>
                </a:lnTo>
                <a:cubicBezTo>
                  <a:pt x="4623238" y="2007738"/>
                  <a:pt x="4628028" y="2002948"/>
                  <a:pt x="4633974" y="2002948"/>
                </a:cubicBezTo>
                <a:lnTo>
                  <a:pt x="4634057" y="2003031"/>
                </a:lnTo>
                <a:lnTo>
                  <a:pt x="4641573" y="1995515"/>
                </a:lnTo>
                <a:lnTo>
                  <a:pt x="4642317" y="1996259"/>
                </a:lnTo>
                <a:lnTo>
                  <a:pt x="4649998" y="1988577"/>
                </a:lnTo>
                <a:lnTo>
                  <a:pt x="4651486" y="1990065"/>
                </a:lnTo>
                <a:lnTo>
                  <a:pt x="4659413" y="1982136"/>
                </a:lnTo>
                <a:lnTo>
                  <a:pt x="4661641" y="1984366"/>
                </a:lnTo>
                <a:lnTo>
                  <a:pt x="4669984" y="1976023"/>
                </a:lnTo>
                <a:lnTo>
                  <a:pt x="4672959" y="1978997"/>
                </a:lnTo>
                <a:close/>
                <a:moveTo>
                  <a:pt x="3645035" y="1970077"/>
                </a:moveTo>
                <a:cubicBezTo>
                  <a:pt x="3650981" y="1970077"/>
                  <a:pt x="3655771" y="1974866"/>
                  <a:pt x="3655771" y="1980813"/>
                </a:cubicBezTo>
                <a:cubicBezTo>
                  <a:pt x="3655771" y="1986759"/>
                  <a:pt x="3650981" y="1991551"/>
                  <a:pt x="3645035" y="1991551"/>
                </a:cubicBezTo>
                <a:cubicBezTo>
                  <a:pt x="3639088" y="1991551"/>
                  <a:pt x="3634299" y="1986759"/>
                  <a:pt x="3634299" y="1980813"/>
                </a:cubicBezTo>
                <a:cubicBezTo>
                  <a:pt x="3634299" y="1974866"/>
                  <a:pt x="3639088" y="1970077"/>
                  <a:pt x="3645035" y="1970077"/>
                </a:cubicBezTo>
                <a:close/>
                <a:moveTo>
                  <a:pt x="4694761" y="1968922"/>
                </a:moveTo>
                <a:cubicBezTo>
                  <a:pt x="4698501" y="1968922"/>
                  <a:pt x="4701533" y="1971953"/>
                  <a:pt x="4701533" y="1975694"/>
                </a:cubicBezTo>
                <a:cubicBezTo>
                  <a:pt x="4701533" y="1979434"/>
                  <a:pt x="4698501" y="1982467"/>
                  <a:pt x="4694761" y="1982467"/>
                </a:cubicBezTo>
                <a:cubicBezTo>
                  <a:pt x="4691020" y="1982467"/>
                  <a:pt x="4687989" y="1979434"/>
                  <a:pt x="4687989" y="1975694"/>
                </a:cubicBezTo>
                <a:cubicBezTo>
                  <a:pt x="4687989" y="1971953"/>
                  <a:pt x="4691020" y="1968922"/>
                  <a:pt x="4694761" y="1968922"/>
                </a:cubicBezTo>
                <a:close/>
                <a:moveTo>
                  <a:pt x="4520165" y="1960826"/>
                </a:moveTo>
                <a:cubicBezTo>
                  <a:pt x="4526111" y="1960826"/>
                  <a:pt x="4530901" y="1965616"/>
                  <a:pt x="4530901" y="1971563"/>
                </a:cubicBezTo>
                <a:cubicBezTo>
                  <a:pt x="4530901" y="1977509"/>
                  <a:pt x="4526111" y="1982301"/>
                  <a:pt x="4520165" y="1982301"/>
                </a:cubicBezTo>
                <a:cubicBezTo>
                  <a:pt x="4514218" y="1982301"/>
                  <a:pt x="4509428" y="1977509"/>
                  <a:pt x="4509428" y="1971563"/>
                </a:cubicBezTo>
                <a:cubicBezTo>
                  <a:pt x="4509428" y="1965616"/>
                  <a:pt x="4514218" y="1960826"/>
                  <a:pt x="4520165" y="1960826"/>
                </a:cubicBezTo>
                <a:close/>
                <a:moveTo>
                  <a:pt x="3761323" y="1959340"/>
                </a:moveTo>
                <a:cubicBezTo>
                  <a:pt x="3767269" y="1959340"/>
                  <a:pt x="3772059" y="1964130"/>
                  <a:pt x="3772059" y="1970077"/>
                </a:cubicBezTo>
                <a:cubicBezTo>
                  <a:pt x="3772059" y="1976023"/>
                  <a:pt x="3767269" y="1980815"/>
                  <a:pt x="3761323" y="1980815"/>
                </a:cubicBezTo>
                <a:cubicBezTo>
                  <a:pt x="3755376" y="1980815"/>
                  <a:pt x="3750586" y="1976023"/>
                  <a:pt x="3750586" y="1970077"/>
                </a:cubicBezTo>
                <a:cubicBezTo>
                  <a:pt x="3750586" y="1964130"/>
                  <a:pt x="3755376" y="1959340"/>
                  <a:pt x="3761323" y="1959340"/>
                </a:cubicBezTo>
                <a:close/>
                <a:moveTo>
                  <a:pt x="4538994" y="1951247"/>
                </a:moveTo>
                <a:cubicBezTo>
                  <a:pt x="4544941" y="1951247"/>
                  <a:pt x="4549731" y="1956037"/>
                  <a:pt x="4549731" y="1961983"/>
                </a:cubicBezTo>
                <a:cubicBezTo>
                  <a:pt x="4549731" y="1967930"/>
                  <a:pt x="4544941" y="1972721"/>
                  <a:pt x="4538994" y="1972721"/>
                </a:cubicBezTo>
                <a:cubicBezTo>
                  <a:pt x="4533048" y="1972721"/>
                  <a:pt x="4528258" y="1967930"/>
                  <a:pt x="4528258" y="1961983"/>
                </a:cubicBezTo>
                <a:cubicBezTo>
                  <a:pt x="4528258" y="1956037"/>
                  <a:pt x="4533048" y="1951247"/>
                  <a:pt x="4538994" y="1951247"/>
                </a:cubicBezTo>
                <a:close/>
                <a:moveTo>
                  <a:pt x="3866707" y="1948769"/>
                </a:moveTo>
                <a:cubicBezTo>
                  <a:pt x="3872654" y="1948769"/>
                  <a:pt x="3877445" y="1953558"/>
                  <a:pt x="3877445" y="1959505"/>
                </a:cubicBezTo>
                <a:cubicBezTo>
                  <a:pt x="3877445" y="1965451"/>
                  <a:pt x="3872654" y="1970243"/>
                  <a:pt x="3866707" y="1970243"/>
                </a:cubicBezTo>
                <a:cubicBezTo>
                  <a:pt x="3860761" y="1970243"/>
                  <a:pt x="3855971" y="1965451"/>
                  <a:pt x="3855971" y="1959505"/>
                </a:cubicBezTo>
                <a:cubicBezTo>
                  <a:pt x="3855971" y="1953558"/>
                  <a:pt x="3860761" y="1948769"/>
                  <a:pt x="3866707" y="1948769"/>
                </a:cubicBezTo>
                <a:close/>
                <a:moveTo>
                  <a:pt x="4554852" y="1942161"/>
                </a:moveTo>
                <a:cubicBezTo>
                  <a:pt x="4560798" y="1942161"/>
                  <a:pt x="4565590" y="1946951"/>
                  <a:pt x="4565590" y="1952898"/>
                </a:cubicBezTo>
                <a:cubicBezTo>
                  <a:pt x="4565590" y="1958844"/>
                  <a:pt x="4560798" y="1963636"/>
                  <a:pt x="4554852" y="1963636"/>
                </a:cubicBezTo>
                <a:cubicBezTo>
                  <a:pt x="4548905" y="1963636"/>
                  <a:pt x="4544115" y="1958844"/>
                  <a:pt x="4544115" y="1952898"/>
                </a:cubicBezTo>
                <a:cubicBezTo>
                  <a:pt x="4544115" y="1946951"/>
                  <a:pt x="4548905" y="1942161"/>
                  <a:pt x="4554852" y="1942161"/>
                </a:cubicBezTo>
                <a:close/>
                <a:moveTo>
                  <a:pt x="3962017" y="1938693"/>
                </a:moveTo>
                <a:cubicBezTo>
                  <a:pt x="3967963" y="1938693"/>
                  <a:pt x="3972753" y="1943483"/>
                  <a:pt x="3972753" y="1949429"/>
                </a:cubicBezTo>
                <a:cubicBezTo>
                  <a:pt x="3972753" y="1955376"/>
                  <a:pt x="3967963" y="1960167"/>
                  <a:pt x="3962017" y="1960167"/>
                </a:cubicBezTo>
                <a:cubicBezTo>
                  <a:pt x="3956070" y="1960167"/>
                  <a:pt x="3951280" y="1955376"/>
                  <a:pt x="3951280" y="1949429"/>
                </a:cubicBezTo>
                <a:cubicBezTo>
                  <a:pt x="3951280" y="1943483"/>
                  <a:pt x="3956070" y="1938693"/>
                  <a:pt x="3962017" y="1938693"/>
                </a:cubicBezTo>
                <a:close/>
                <a:moveTo>
                  <a:pt x="4047746" y="1929112"/>
                </a:moveTo>
                <a:cubicBezTo>
                  <a:pt x="4053693" y="1929112"/>
                  <a:pt x="4058482" y="1933901"/>
                  <a:pt x="4058482" y="1939848"/>
                </a:cubicBezTo>
                <a:cubicBezTo>
                  <a:pt x="4058482" y="1945794"/>
                  <a:pt x="4053693" y="1950586"/>
                  <a:pt x="4047746" y="1950586"/>
                </a:cubicBezTo>
                <a:cubicBezTo>
                  <a:pt x="4041800" y="1950586"/>
                  <a:pt x="4037010" y="1945794"/>
                  <a:pt x="4037010" y="1939848"/>
                </a:cubicBezTo>
                <a:cubicBezTo>
                  <a:pt x="4037010" y="1933901"/>
                  <a:pt x="4041800" y="1929112"/>
                  <a:pt x="4047746" y="1929112"/>
                </a:cubicBezTo>
                <a:close/>
                <a:moveTo>
                  <a:pt x="4124555" y="1919697"/>
                </a:moveTo>
                <a:cubicBezTo>
                  <a:pt x="4130501" y="1919697"/>
                  <a:pt x="4135291" y="1924486"/>
                  <a:pt x="4135291" y="1930433"/>
                </a:cubicBezTo>
                <a:cubicBezTo>
                  <a:pt x="4135291" y="1936380"/>
                  <a:pt x="4130501" y="1941171"/>
                  <a:pt x="4124555" y="1941171"/>
                </a:cubicBezTo>
                <a:cubicBezTo>
                  <a:pt x="4118608" y="1941171"/>
                  <a:pt x="4113819" y="1936380"/>
                  <a:pt x="4113819" y="1930433"/>
                </a:cubicBezTo>
                <a:cubicBezTo>
                  <a:pt x="4113819" y="1924486"/>
                  <a:pt x="4118608" y="1919697"/>
                  <a:pt x="4124555" y="1919697"/>
                </a:cubicBezTo>
                <a:close/>
                <a:moveTo>
                  <a:pt x="4193270" y="1910776"/>
                </a:moveTo>
                <a:cubicBezTo>
                  <a:pt x="4199217" y="1910776"/>
                  <a:pt x="4204007" y="1915566"/>
                  <a:pt x="4204007" y="1921512"/>
                </a:cubicBezTo>
                <a:cubicBezTo>
                  <a:pt x="4204007" y="1927459"/>
                  <a:pt x="4199217" y="1932250"/>
                  <a:pt x="4193270" y="1932250"/>
                </a:cubicBezTo>
                <a:cubicBezTo>
                  <a:pt x="4187324" y="1932250"/>
                  <a:pt x="4182534" y="1927459"/>
                  <a:pt x="4182534" y="1921512"/>
                </a:cubicBezTo>
                <a:cubicBezTo>
                  <a:pt x="4182534" y="1915566"/>
                  <a:pt x="4187324" y="1910776"/>
                  <a:pt x="4193270" y="1910776"/>
                </a:cubicBezTo>
                <a:close/>
                <a:moveTo>
                  <a:pt x="4706160" y="1907143"/>
                </a:moveTo>
                <a:cubicBezTo>
                  <a:pt x="4707481" y="1907143"/>
                  <a:pt x="4708638" y="1908300"/>
                  <a:pt x="4708638" y="1909621"/>
                </a:cubicBezTo>
                <a:cubicBezTo>
                  <a:pt x="4708638" y="1910942"/>
                  <a:pt x="4707481" y="1912099"/>
                  <a:pt x="4706160" y="1912099"/>
                </a:cubicBezTo>
                <a:cubicBezTo>
                  <a:pt x="4704838" y="1912099"/>
                  <a:pt x="4703681" y="1910942"/>
                  <a:pt x="4703681" y="1909621"/>
                </a:cubicBezTo>
                <a:cubicBezTo>
                  <a:pt x="4703681" y="1908300"/>
                  <a:pt x="4704838" y="1907143"/>
                  <a:pt x="4706160" y="1907143"/>
                </a:cubicBezTo>
                <a:close/>
                <a:moveTo>
                  <a:pt x="4692779" y="1903014"/>
                </a:moveTo>
                <a:cubicBezTo>
                  <a:pt x="4698725" y="1903014"/>
                  <a:pt x="4703517" y="1907804"/>
                  <a:pt x="4703517" y="1913750"/>
                </a:cubicBezTo>
                <a:cubicBezTo>
                  <a:pt x="4703517" y="1919697"/>
                  <a:pt x="4698725" y="1924488"/>
                  <a:pt x="4692779" y="1924488"/>
                </a:cubicBezTo>
                <a:lnTo>
                  <a:pt x="4688898" y="1920607"/>
                </a:lnTo>
                <a:lnTo>
                  <a:pt x="4680721" y="1928782"/>
                </a:lnTo>
                <a:lnTo>
                  <a:pt x="4677665" y="1925726"/>
                </a:lnTo>
                <a:lnTo>
                  <a:pt x="4669984" y="1933405"/>
                </a:lnTo>
                <a:lnTo>
                  <a:pt x="4667673" y="1931094"/>
                </a:lnTo>
                <a:lnTo>
                  <a:pt x="4660403" y="1938363"/>
                </a:lnTo>
                <a:lnTo>
                  <a:pt x="4658834" y="1936794"/>
                </a:lnTo>
                <a:lnTo>
                  <a:pt x="4651978" y="1943649"/>
                </a:lnTo>
                <a:lnTo>
                  <a:pt x="4650986" y="1942657"/>
                </a:lnTo>
                <a:lnTo>
                  <a:pt x="4644381" y="1949265"/>
                </a:lnTo>
                <a:lnTo>
                  <a:pt x="4644050" y="1948933"/>
                </a:lnTo>
                <a:lnTo>
                  <a:pt x="4642151" y="1950834"/>
                </a:lnTo>
                <a:lnTo>
                  <a:pt x="4642234" y="1950915"/>
                </a:lnTo>
                <a:lnTo>
                  <a:pt x="4635958" y="1957193"/>
                </a:lnTo>
                <a:lnTo>
                  <a:pt x="4636617" y="1957852"/>
                </a:lnTo>
                <a:lnTo>
                  <a:pt x="4630422" y="1964048"/>
                </a:lnTo>
                <a:lnTo>
                  <a:pt x="4631331" y="1964955"/>
                </a:lnTo>
                <a:lnTo>
                  <a:pt x="4625055" y="1971233"/>
                </a:lnTo>
                <a:lnTo>
                  <a:pt x="4626377" y="1972555"/>
                </a:lnTo>
                <a:lnTo>
                  <a:pt x="4619688" y="1979245"/>
                </a:lnTo>
                <a:lnTo>
                  <a:pt x="4621091" y="1980648"/>
                </a:lnTo>
                <a:lnTo>
                  <a:pt x="4614071" y="1987670"/>
                </a:lnTo>
                <a:lnTo>
                  <a:pt x="4615640" y="1989238"/>
                </a:lnTo>
                <a:lnTo>
                  <a:pt x="4608206" y="1996670"/>
                </a:lnTo>
                <a:lnTo>
                  <a:pt x="4609692" y="1998156"/>
                </a:lnTo>
                <a:lnTo>
                  <a:pt x="4601515" y="2006335"/>
                </a:lnTo>
                <a:lnTo>
                  <a:pt x="4602920" y="2007738"/>
                </a:lnTo>
                <a:lnTo>
                  <a:pt x="4594083" y="2016577"/>
                </a:lnTo>
                <a:lnTo>
                  <a:pt x="4595156" y="2017649"/>
                </a:lnTo>
                <a:lnTo>
                  <a:pt x="4585245" y="2027560"/>
                </a:lnTo>
                <a:lnTo>
                  <a:pt x="4585906" y="2028220"/>
                </a:lnTo>
                <a:cubicBezTo>
                  <a:pt x="4585906" y="2034167"/>
                  <a:pt x="4581116" y="2038957"/>
                  <a:pt x="4575170" y="2038957"/>
                </a:cubicBezTo>
                <a:cubicBezTo>
                  <a:pt x="4569223" y="2038957"/>
                  <a:pt x="4564433" y="2034167"/>
                  <a:pt x="4564433" y="2028220"/>
                </a:cubicBezTo>
                <a:lnTo>
                  <a:pt x="4574344" y="2018309"/>
                </a:lnTo>
                <a:lnTo>
                  <a:pt x="4573683" y="2017649"/>
                </a:lnTo>
                <a:lnTo>
                  <a:pt x="4582521" y="2008811"/>
                </a:lnTo>
                <a:lnTo>
                  <a:pt x="4581447" y="2007738"/>
                </a:lnTo>
                <a:lnTo>
                  <a:pt x="4589624" y="1999561"/>
                </a:lnTo>
                <a:lnTo>
                  <a:pt x="4588219" y="1998156"/>
                </a:lnTo>
                <a:lnTo>
                  <a:pt x="4595652" y="1990724"/>
                </a:lnTo>
                <a:lnTo>
                  <a:pt x="4594166" y="1989238"/>
                </a:lnTo>
                <a:lnTo>
                  <a:pt x="4601186" y="1982218"/>
                </a:lnTo>
                <a:lnTo>
                  <a:pt x="4599618" y="1980648"/>
                </a:lnTo>
                <a:lnTo>
                  <a:pt x="4606307" y="1973959"/>
                </a:lnTo>
                <a:lnTo>
                  <a:pt x="4604904" y="1972555"/>
                </a:lnTo>
                <a:lnTo>
                  <a:pt x="4611180" y="1966279"/>
                </a:lnTo>
                <a:lnTo>
                  <a:pt x="4609858" y="1964955"/>
                </a:lnTo>
                <a:lnTo>
                  <a:pt x="4616053" y="1958761"/>
                </a:lnTo>
                <a:lnTo>
                  <a:pt x="4615144" y="1957852"/>
                </a:lnTo>
                <a:lnTo>
                  <a:pt x="4621420" y="1951576"/>
                </a:lnTo>
                <a:lnTo>
                  <a:pt x="4620761" y="1950915"/>
                </a:lnTo>
                <a:lnTo>
                  <a:pt x="4626956" y="1944721"/>
                </a:lnTo>
                <a:lnTo>
                  <a:pt x="4626873" y="1944638"/>
                </a:lnTo>
                <a:cubicBezTo>
                  <a:pt x="4626873" y="1938691"/>
                  <a:pt x="4631662" y="1933901"/>
                  <a:pt x="4637609" y="1933901"/>
                </a:cubicBezTo>
                <a:lnTo>
                  <a:pt x="4637938" y="1934233"/>
                </a:lnTo>
                <a:lnTo>
                  <a:pt x="4644381" y="1927790"/>
                </a:lnTo>
                <a:lnTo>
                  <a:pt x="4645371" y="1928782"/>
                </a:lnTo>
                <a:lnTo>
                  <a:pt x="4651978" y="1922175"/>
                </a:lnTo>
                <a:lnTo>
                  <a:pt x="4653548" y="1923744"/>
                </a:lnTo>
                <a:lnTo>
                  <a:pt x="4660403" y="1916889"/>
                </a:lnTo>
                <a:lnTo>
                  <a:pt x="4662717" y="1919202"/>
                </a:lnTo>
                <a:lnTo>
                  <a:pt x="4669984" y="1911933"/>
                </a:lnTo>
                <a:lnTo>
                  <a:pt x="4673040" y="1914988"/>
                </a:lnTo>
                <a:lnTo>
                  <a:pt x="4680721" y="1907308"/>
                </a:lnTo>
                <a:lnTo>
                  <a:pt x="4684604" y="1911190"/>
                </a:lnTo>
                <a:close/>
                <a:moveTo>
                  <a:pt x="4254388" y="1902187"/>
                </a:moveTo>
                <a:cubicBezTo>
                  <a:pt x="4260335" y="1902187"/>
                  <a:pt x="4265126" y="1906976"/>
                  <a:pt x="4265126" y="1912923"/>
                </a:cubicBezTo>
                <a:cubicBezTo>
                  <a:pt x="4265126" y="1918869"/>
                  <a:pt x="4260335" y="1923661"/>
                  <a:pt x="4254388" y="1923661"/>
                </a:cubicBezTo>
                <a:cubicBezTo>
                  <a:pt x="4248442" y="1923661"/>
                  <a:pt x="4243652" y="1918869"/>
                  <a:pt x="4243652" y="1912923"/>
                </a:cubicBezTo>
                <a:cubicBezTo>
                  <a:pt x="4243652" y="1906976"/>
                  <a:pt x="4248442" y="1902187"/>
                  <a:pt x="4254388" y="1902187"/>
                </a:cubicBezTo>
                <a:close/>
                <a:moveTo>
                  <a:pt x="4308568" y="1893928"/>
                </a:moveTo>
                <a:cubicBezTo>
                  <a:pt x="4314514" y="1893928"/>
                  <a:pt x="4319306" y="1898718"/>
                  <a:pt x="4319306" y="1904665"/>
                </a:cubicBezTo>
                <a:cubicBezTo>
                  <a:pt x="4319306" y="1910611"/>
                  <a:pt x="4314514" y="1915403"/>
                  <a:pt x="4308568" y="1915403"/>
                </a:cubicBezTo>
                <a:cubicBezTo>
                  <a:pt x="4302621" y="1915403"/>
                  <a:pt x="4297831" y="1910611"/>
                  <a:pt x="4297831" y="1904665"/>
                </a:cubicBezTo>
                <a:cubicBezTo>
                  <a:pt x="4297831" y="1898718"/>
                  <a:pt x="4302621" y="1893928"/>
                  <a:pt x="4308568" y="1893928"/>
                </a:cubicBezTo>
                <a:close/>
                <a:moveTo>
                  <a:pt x="4356470" y="1886000"/>
                </a:moveTo>
                <a:cubicBezTo>
                  <a:pt x="4362416" y="1886000"/>
                  <a:pt x="4367206" y="1890789"/>
                  <a:pt x="4367206" y="1896736"/>
                </a:cubicBezTo>
                <a:cubicBezTo>
                  <a:pt x="4367206" y="1902683"/>
                  <a:pt x="4362416" y="1907474"/>
                  <a:pt x="4356470" y="1907474"/>
                </a:cubicBezTo>
                <a:cubicBezTo>
                  <a:pt x="4350523" y="1907474"/>
                  <a:pt x="4345733" y="1902683"/>
                  <a:pt x="4345733" y="1896736"/>
                </a:cubicBezTo>
                <a:cubicBezTo>
                  <a:pt x="4345733" y="1890789"/>
                  <a:pt x="4350523" y="1886000"/>
                  <a:pt x="4356470" y="1886000"/>
                </a:cubicBezTo>
                <a:close/>
                <a:moveTo>
                  <a:pt x="4398426" y="1878567"/>
                </a:moveTo>
                <a:cubicBezTo>
                  <a:pt x="4404373" y="1878567"/>
                  <a:pt x="4409165" y="1883357"/>
                  <a:pt x="4409165" y="1889303"/>
                </a:cubicBezTo>
                <a:cubicBezTo>
                  <a:pt x="4409165" y="1895250"/>
                  <a:pt x="4404373" y="1900041"/>
                  <a:pt x="4398426" y="1900041"/>
                </a:cubicBezTo>
                <a:cubicBezTo>
                  <a:pt x="4392480" y="1900041"/>
                  <a:pt x="4387690" y="1895250"/>
                  <a:pt x="4387690" y="1889303"/>
                </a:cubicBezTo>
                <a:cubicBezTo>
                  <a:pt x="4387690" y="1883357"/>
                  <a:pt x="4392480" y="1878567"/>
                  <a:pt x="4398426" y="1878567"/>
                </a:cubicBezTo>
                <a:close/>
                <a:moveTo>
                  <a:pt x="4434931" y="1871299"/>
                </a:moveTo>
                <a:cubicBezTo>
                  <a:pt x="4440878" y="1871299"/>
                  <a:pt x="4445667" y="1876089"/>
                  <a:pt x="4445667" y="1882035"/>
                </a:cubicBezTo>
                <a:cubicBezTo>
                  <a:pt x="4445667" y="1887982"/>
                  <a:pt x="4440878" y="1892773"/>
                  <a:pt x="4434931" y="1892773"/>
                </a:cubicBezTo>
                <a:cubicBezTo>
                  <a:pt x="4428985" y="1892773"/>
                  <a:pt x="4424195" y="1887982"/>
                  <a:pt x="4424195" y="1882035"/>
                </a:cubicBezTo>
                <a:cubicBezTo>
                  <a:pt x="4424195" y="1876089"/>
                  <a:pt x="4428985" y="1871299"/>
                  <a:pt x="4434931" y="1871299"/>
                </a:cubicBezTo>
                <a:close/>
                <a:moveTo>
                  <a:pt x="4466811" y="1864360"/>
                </a:moveTo>
                <a:cubicBezTo>
                  <a:pt x="4472757" y="1864360"/>
                  <a:pt x="4477547" y="1869150"/>
                  <a:pt x="4477547" y="1875097"/>
                </a:cubicBezTo>
                <a:cubicBezTo>
                  <a:pt x="4477547" y="1881043"/>
                  <a:pt x="4472757" y="1885835"/>
                  <a:pt x="4466811" y="1885835"/>
                </a:cubicBezTo>
                <a:cubicBezTo>
                  <a:pt x="4460864" y="1885835"/>
                  <a:pt x="4456074" y="1881043"/>
                  <a:pt x="4456074" y="1875097"/>
                </a:cubicBezTo>
                <a:cubicBezTo>
                  <a:pt x="4456074" y="1869150"/>
                  <a:pt x="4460864" y="1864360"/>
                  <a:pt x="4466811" y="1864360"/>
                </a:cubicBezTo>
                <a:close/>
                <a:moveTo>
                  <a:pt x="4494232" y="1857753"/>
                </a:moveTo>
                <a:cubicBezTo>
                  <a:pt x="4500178" y="1857753"/>
                  <a:pt x="4504968" y="1862543"/>
                  <a:pt x="4504968" y="1868490"/>
                </a:cubicBezTo>
                <a:cubicBezTo>
                  <a:pt x="4504968" y="1874436"/>
                  <a:pt x="4500178" y="1879228"/>
                  <a:pt x="4494232" y="1879228"/>
                </a:cubicBezTo>
                <a:cubicBezTo>
                  <a:pt x="4488285" y="1879228"/>
                  <a:pt x="4483495" y="1874436"/>
                  <a:pt x="4483495" y="1868490"/>
                </a:cubicBezTo>
                <a:cubicBezTo>
                  <a:pt x="4483495" y="1862543"/>
                  <a:pt x="4488285" y="1857753"/>
                  <a:pt x="4494232" y="1857753"/>
                </a:cubicBezTo>
                <a:close/>
                <a:moveTo>
                  <a:pt x="4517686" y="1851477"/>
                </a:moveTo>
                <a:cubicBezTo>
                  <a:pt x="4523633" y="1851477"/>
                  <a:pt x="4528425" y="1856267"/>
                  <a:pt x="4528425" y="1862214"/>
                </a:cubicBezTo>
                <a:cubicBezTo>
                  <a:pt x="4528425" y="1868160"/>
                  <a:pt x="4523633" y="1872952"/>
                  <a:pt x="4517686" y="1872952"/>
                </a:cubicBezTo>
                <a:cubicBezTo>
                  <a:pt x="4511740" y="1872952"/>
                  <a:pt x="4506950" y="1868160"/>
                  <a:pt x="4506950" y="1862214"/>
                </a:cubicBezTo>
                <a:cubicBezTo>
                  <a:pt x="4506950" y="1856267"/>
                  <a:pt x="4511740" y="1851477"/>
                  <a:pt x="4517686" y="1851477"/>
                </a:cubicBezTo>
                <a:close/>
                <a:moveTo>
                  <a:pt x="4537675" y="1845364"/>
                </a:moveTo>
                <a:cubicBezTo>
                  <a:pt x="4543621" y="1845364"/>
                  <a:pt x="4548411" y="1850154"/>
                  <a:pt x="4548411" y="1856101"/>
                </a:cubicBezTo>
                <a:cubicBezTo>
                  <a:pt x="4548411" y="1862047"/>
                  <a:pt x="4543621" y="1866839"/>
                  <a:pt x="4537675" y="1866839"/>
                </a:cubicBezTo>
                <a:cubicBezTo>
                  <a:pt x="4531728" y="1866839"/>
                  <a:pt x="4526938" y="1862047"/>
                  <a:pt x="4526938" y="1856101"/>
                </a:cubicBezTo>
                <a:cubicBezTo>
                  <a:pt x="4526938" y="1850154"/>
                  <a:pt x="4531728" y="1845364"/>
                  <a:pt x="4537675" y="1845364"/>
                </a:cubicBezTo>
                <a:close/>
                <a:moveTo>
                  <a:pt x="4702691" y="1838923"/>
                </a:moveTo>
                <a:cubicBezTo>
                  <a:pt x="4707344" y="1838923"/>
                  <a:pt x="4711116" y="1842695"/>
                  <a:pt x="4711116" y="1847348"/>
                </a:cubicBezTo>
                <a:cubicBezTo>
                  <a:pt x="4711116" y="1852001"/>
                  <a:pt x="4707344" y="1855771"/>
                  <a:pt x="4702691" y="1855771"/>
                </a:cubicBezTo>
                <a:lnTo>
                  <a:pt x="4699221" y="1852303"/>
                </a:lnTo>
                <a:lnTo>
                  <a:pt x="4690302" y="1861223"/>
                </a:lnTo>
                <a:lnTo>
                  <a:pt x="4686338" y="1857259"/>
                </a:lnTo>
                <a:lnTo>
                  <a:pt x="4679235" y="1864362"/>
                </a:lnTo>
                <a:lnTo>
                  <a:pt x="4676013" y="1861140"/>
                </a:lnTo>
                <a:lnTo>
                  <a:pt x="4669324" y="1867829"/>
                </a:lnTo>
                <a:lnTo>
                  <a:pt x="4666847" y="1865352"/>
                </a:lnTo>
                <a:lnTo>
                  <a:pt x="4660570" y="1871630"/>
                </a:lnTo>
                <a:lnTo>
                  <a:pt x="4658669" y="1869730"/>
                </a:lnTo>
                <a:lnTo>
                  <a:pt x="4652806" y="1875593"/>
                </a:lnTo>
                <a:lnTo>
                  <a:pt x="4651484" y="1874271"/>
                </a:lnTo>
                <a:lnTo>
                  <a:pt x="4646034" y="1879722"/>
                </a:lnTo>
                <a:lnTo>
                  <a:pt x="4645290" y="1878978"/>
                </a:lnTo>
                <a:lnTo>
                  <a:pt x="4639921" y="1884347"/>
                </a:lnTo>
                <a:lnTo>
                  <a:pt x="4639591" y="1884017"/>
                </a:lnTo>
                <a:lnTo>
                  <a:pt x="4635131" y="1888478"/>
                </a:lnTo>
                <a:lnTo>
                  <a:pt x="4635460" y="1888807"/>
                </a:lnTo>
                <a:lnTo>
                  <a:pt x="4630258" y="1894012"/>
                </a:lnTo>
                <a:lnTo>
                  <a:pt x="4630672" y="1894424"/>
                </a:lnTo>
                <a:lnTo>
                  <a:pt x="4625303" y="1899793"/>
                </a:lnTo>
                <a:lnTo>
                  <a:pt x="4625881" y="1900371"/>
                </a:lnTo>
                <a:lnTo>
                  <a:pt x="4620017" y="1906236"/>
                </a:lnTo>
                <a:lnTo>
                  <a:pt x="4620595" y="1906812"/>
                </a:lnTo>
                <a:lnTo>
                  <a:pt x="4614236" y="1913173"/>
                </a:lnTo>
                <a:lnTo>
                  <a:pt x="4614650" y="1913585"/>
                </a:lnTo>
                <a:lnTo>
                  <a:pt x="4607795" y="1920441"/>
                </a:lnTo>
                <a:lnTo>
                  <a:pt x="4607876" y="1920522"/>
                </a:lnTo>
                <a:cubicBezTo>
                  <a:pt x="4607876" y="1926469"/>
                  <a:pt x="4603085" y="1931260"/>
                  <a:pt x="4597138" y="1931260"/>
                </a:cubicBezTo>
                <a:lnTo>
                  <a:pt x="4596890" y="1931012"/>
                </a:lnTo>
                <a:lnTo>
                  <a:pt x="4589045" y="1938858"/>
                </a:lnTo>
                <a:lnTo>
                  <a:pt x="4588219" y="1938032"/>
                </a:lnTo>
                <a:lnTo>
                  <a:pt x="4579630" y="1946622"/>
                </a:lnTo>
                <a:lnTo>
                  <a:pt x="4578144" y="1945135"/>
                </a:lnTo>
                <a:lnTo>
                  <a:pt x="4568398" y="1954882"/>
                </a:lnTo>
                <a:cubicBezTo>
                  <a:pt x="4562451" y="1954882"/>
                  <a:pt x="4557661" y="1950090"/>
                  <a:pt x="4557661" y="1944143"/>
                </a:cubicBezTo>
                <a:cubicBezTo>
                  <a:pt x="4557661" y="1938197"/>
                  <a:pt x="4562451" y="1933407"/>
                  <a:pt x="4568398" y="1933407"/>
                </a:cubicBezTo>
                <a:lnTo>
                  <a:pt x="4569884" y="1934893"/>
                </a:lnTo>
                <a:lnTo>
                  <a:pt x="4579630" y="1925147"/>
                </a:lnTo>
                <a:lnTo>
                  <a:pt x="4580455" y="1925973"/>
                </a:lnTo>
                <a:lnTo>
                  <a:pt x="4589045" y="1917383"/>
                </a:lnTo>
                <a:lnTo>
                  <a:pt x="4589293" y="1917631"/>
                </a:lnTo>
                <a:lnTo>
                  <a:pt x="4593257" y="1913667"/>
                </a:lnTo>
                <a:lnTo>
                  <a:pt x="4593176" y="1913585"/>
                </a:lnTo>
                <a:lnTo>
                  <a:pt x="4599535" y="1907226"/>
                </a:lnTo>
                <a:lnTo>
                  <a:pt x="4599122" y="1906812"/>
                </a:lnTo>
                <a:lnTo>
                  <a:pt x="4604985" y="1900948"/>
                </a:lnTo>
                <a:lnTo>
                  <a:pt x="4604408" y="1900371"/>
                </a:lnTo>
                <a:lnTo>
                  <a:pt x="4609775" y="1895004"/>
                </a:lnTo>
                <a:lnTo>
                  <a:pt x="4609198" y="1894424"/>
                </a:lnTo>
                <a:lnTo>
                  <a:pt x="4614400" y="1889222"/>
                </a:lnTo>
                <a:lnTo>
                  <a:pt x="4613988" y="1888807"/>
                </a:lnTo>
                <a:lnTo>
                  <a:pt x="4619109" y="1883686"/>
                </a:lnTo>
                <a:lnTo>
                  <a:pt x="4618779" y="1883357"/>
                </a:lnTo>
                <a:lnTo>
                  <a:pt x="4623817" y="1878319"/>
                </a:lnTo>
                <a:lnTo>
                  <a:pt x="4623734" y="1878236"/>
                </a:lnTo>
                <a:cubicBezTo>
                  <a:pt x="4623734" y="1872289"/>
                  <a:pt x="4628524" y="1867499"/>
                  <a:pt x="4634470" y="1867499"/>
                </a:cubicBezTo>
                <a:lnTo>
                  <a:pt x="4634883" y="1867912"/>
                </a:lnTo>
                <a:lnTo>
                  <a:pt x="4639921" y="1862874"/>
                </a:lnTo>
                <a:lnTo>
                  <a:pt x="4640665" y="1863618"/>
                </a:lnTo>
                <a:lnTo>
                  <a:pt x="4646034" y="1858249"/>
                </a:lnTo>
                <a:lnTo>
                  <a:pt x="4647355" y="1859571"/>
                </a:lnTo>
                <a:lnTo>
                  <a:pt x="4652806" y="1854120"/>
                </a:lnTo>
                <a:lnTo>
                  <a:pt x="4654706" y="1856021"/>
                </a:lnTo>
                <a:lnTo>
                  <a:pt x="4660570" y="1850156"/>
                </a:lnTo>
                <a:lnTo>
                  <a:pt x="4663048" y="1852634"/>
                </a:lnTo>
                <a:lnTo>
                  <a:pt x="4669324" y="1846356"/>
                </a:lnTo>
                <a:lnTo>
                  <a:pt x="4672544" y="1849578"/>
                </a:lnTo>
                <a:lnTo>
                  <a:pt x="4679235" y="1842888"/>
                </a:lnTo>
                <a:lnTo>
                  <a:pt x="4683199" y="1846852"/>
                </a:lnTo>
                <a:lnTo>
                  <a:pt x="4690302" y="1839749"/>
                </a:lnTo>
                <a:lnTo>
                  <a:pt x="4696084" y="1845531"/>
                </a:lnTo>
                <a:close/>
                <a:moveTo>
                  <a:pt x="1852486" y="1824056"/>
                </a:moveTo>
                <a:cubicBezTo>
                  <a:pt x="1858432" y="1824056"/>
                  <a:pt x="1863224" y="1828846"/>
                  <a:pt x="1863224" y="1834793"/>
                </a:cubicBezTo>
                <a:cubicBezTo>
                  <a:pt x="1863224" y="1840739"/>
                  <a:pt x="1858432" y="1845531"/>
                  <a:pt x="1852486" y="1845531"/>
                </a:cubicBezTo>
                <a:cubicBezTo>
                  <a:pt x="1846539" y="1845531"/>
                  <a:pt x="1841749" y="1840739"/>
                  <a:pt x="1841749" y="1834793"/>
                </a:cubicBezTo>
                <a:cubicBezTo>
                  <a:pt x="1841749" y="1828846"/>
                  <a:pt x="1846539" y="1824056"/>
                  <a:pt x="1852486" y="1824056"/>
                </a:cubicBezTo>
                <a:close/>
                <a:moveTo>
                  <a:pt x="1584727" y="1822405"/>
                </a:moveTo>
                <a:cubicBezTo>
                  <a:pt x="1590674" y="1822405"/>
                  <a:pt x="1595465" y="1827195"/>
                  <a:pt x="1595465" y="1833142"/>
                </a:cubicBezTo>
                <a:cubicBezTo>
                  <a:pt x="1595465" y="1839088"/>
                  <a:pt x="1590674" y="1843880"/>
                  <a:pt x="1584727" y="1843880"/>
                </a:cubicBezTo>
                <a:cubicBezTo>
                  <a:pt x="1578781" y="1843880"/>
                  <a:pt x="1573991" y="1839088"/>
                  <a:pt x="1573991" y="1833142"/>
                </a:cubicBezTo>
                <a:cubicBezTo>
                  <a:pt x="1573991" y="1827195"/>
                  <a:pt x="1578781" y="1822405"/>
                  <a:pt x="1584727" y="1822405"/>
                </a:cubicBezTo>
                <a:close/>
                <a:moveTo>
                  <a:pt x="2112978" y="1819762"/>
                </a:moveTo>
                <a:cubicBezTo>
                  <a:pt x="2118924" y="1819762"/>
                  <a:pt x="2123716" y="1824552"/>
                  <a:pt x="2123716" y="1830499"/>
                </a:cubicBezTo>
                <a:cubicBezTo>
                  <a:pt x="2123716" y="1836445"/>
                  <a:pt x="2118924" y="1841235"/>
                  <a:pt x="2112978" y="1841235"/>
                </a:cubicBezTo>
                <a:cubicBezTo>
                  <a:pt x="2107031" y="1841235"/>
                  <a:pt x="2102241" y="1836445"/>
                  <a:pt x="2102241" y="1830499"/>
                </a:cubicBezTo>
                <a:cubicBezTo>
                  <a:pt x="2102241" y="1824552"/>
                  <a:pt x="2107031" y="1819762"/>
                  <a:pt x="2112978" y="1819762"/>
                </a:cubicBezTo>
                <a:close/>
                <a:moveTo>
                  <a:pt x="1332826" y="1817449"/>
                </a:moveTo>
                <a:cubicBezTo>
                  <a:pt x="1338773" y="1817449"/>
                  <a:pt x="1343564" y="1822239"/>
                  <a:pt x="1343564" y="1828185"/>
                </a:cubicBezTo>
                <a:cubicBezTo>
                  <a:pt x="1343564" y="1834132"/>
                  <a:pt x="1338773" y="1838922"/>
                  <a:pt x="1332826" y="1838922"/>
                </a:cubicBezTo>
                <a:cubicBezTo>
                  <a:pt x="1326880" y="1838922"/>
                  <a:pt x="1322090" y="1834132"/>
                  <a:pt x="1322090" y="1828185"/>
                </a:cubicBezTo>
                <a:cubicBezTo>
                  <a:pt x="1322090" y="1822239"/>
                  <a:pt x="1326880" y="1817449"/>
                  <a:pt x="1332826" y="1817449"/>
                </a:cubicBezTo>
                <a:close/>
                <a:moveTo>
                  <a:pt x="2354803" y="1814641"/>
                </a:moveTo>
                <a:cubicBezTo>
                  <a:pt x="2360750" y="1814641"/>
                  <a:pt x="2365541" y="1819431"/>
                  <a:pt x="2365541" y="1825378"/>
                </a:cubicBezTo>
                <a:cubicBezTo>
                  <a:pt x="2365541" y="1831324"/>
                  <a:pt x="2360750" y="1836114"/>
                  <a:pt x="2354803" y="1836114"/>
                </a:cubicBezTo>
                <a:cubicBezTo>
                  <a:pt x="2348857" y="1836114"/>
                  <a:pt x="2344067" y="1831324"/>
                  <a:pt x="2344067" y="1825378"/>
                </a:cubicBezTo>
                <a:cubicBezTo>
                  <a:pt x="2344067" y="1819431"/>
                  <a:pt x="2348857" y="1814641"/>
                  <a:pt x="2354803" y="1814641"/>
                </a:cubicBezTo>
                <a:close/>
                <a:moveTo>
                  <a:pt x="1099590" y="1812163"/>
                </a:moveTo>
                <a:cubicBezTo>
                  <a:pt x="1105537" y="1812163"/>
                  <a:pt x="1110328" y="1816953"/>
                  <a:pt x="1110328" y="1822900"/>
                </a:cubicBezTo>
                <a:cubicBezTo>
                  <a:pt x="1110328" y="1828846"/>
                  <a:pt x="1105537" y="1833638"/>
                  <a:pt x="1099590" y="1833638"/>
                </a:cubicBezTo>
                <a:cubicBezTo>
                  <a:pt x="1093644" y="1833638"/>
                  <a:pt x="1088854" y="1828846"/>
                  <a:pt x="1088854" y="1822900"/>
                </a:cubicBezTo>
                <a:cubicBezTo>
                  <a:pt x="1088854" y="1816953"/>
                  <a:pt x="1093644" y="1812163"/>
                  <a:pt x="1099590" y="1812163"/>
                </a:cubicBezTo>
                <a:close/>
                <a:moveTo>
                  <a:pt x="2578458" y="1809356"/>
                </a:moveTo>
                <a:cubicBezTo>
                  <a:pt x="2584389" y="1809356"/>
                  <a:pt x="2589194" y="1814163"/>
                  <a:pt x="2589194" y="1820092"/>
                </a:cubicBezTo>
                <a:cubicBezTo>
                  <a:pt x="2589194" y="1826021"/>
                  <a:pt x="2584389" y="1830828"/>
                  <a:pt x="2578458" y="1830828"/>
                </a:cubicBezTo>
                <a:cubicBezTo>
                  <a:pt x="2572529" y="1830828"/>
                  <a:pt x="2567722" y="1826021"/>
                  <a:pt x="2567722" y="1820092"/>
                </a:cubicBezTo>
                <a:cubicBezTo>
                  <a:pt x="2567722" y="1814163"/>
                  <a:pt x="2572529" y="1809356"/>
                  <a:pt x="2578458" y="1809356"/>
                </a:cubicBezTo>
                <a:close/>
                <a:moveTo>
                  <a:pt x="884194" y="1807044"/>
                </a:moveTo>
                <a:cubicBezTo>
                  <a:pt x="890140" y="1807044"/>
                  <a:pt x="894932" y="1811834"/>
                  <a:pt x="894932" y="1817780"/>
                </a:cubicBezTo>
                <a:cubicBezTo>
                  <a:pt x="894932" y="1823727"/>
                  <a:pt x="890140" y="1828518"/>
                  <a:pt x="884194" y="1828518"/>
                </a:cubicBezTo>
                <a:cubicBezTo>
                  <a:pt x="878247" y="1828518"/>
                  <a:pt x="873457" y="1823727"/>
                  <a:pt x="873457" y="1817780"/>
                </a:cubicBezTo>
                <a:cubicBezTo>
                  <a:pt x="873457" y="1811834"/>
                  <a:pt x="878247" y="1807044"/>
                  <a:pt x="884194" y="1807044"/>
                </a:cubicBezTo>
                <a:close/>
                <a:moveTo>
                  <a:pt x="2784771" y="1804399"/>
                </a:moveTo>
                <a:cubicBezTo>
                  <a:pt x="2790717" y="1804399"/>
                  <a:pt x="2795509" y="1809189"/>
                  <a:pt x="2795509" y="1815136"/>
                </a:cubicBezTo>
                <a:cubicBezTo>
                  <a:pt x="2795509" y="1821082"/>
                  <a:pt x="2790717" y="1825874"/>
                  <a:pt x="2784771" y="1825874"/>
                </a:cubicBezTo>
                <a:cubicBezTo>
                  <a:pt x="2778824" y="1825874"/>
                  <a:pt x="2774034" y="1821082"/>
                  <a:pt x="2774034" y="1815136"/>
                </a:cubicBezTo>
                <a:cubicBezTo>
                  <a:pt x="2774034" y="1809189"/>
                  <a:pt x="2778824" y="1804399"/>
                  <a:pt x="2784771" y="1804399"/>
                </a:cubicBezTo>
                <a:close/>
                <a:moveTo>
                  <a:pt x="685480" y="1802088"/>
                </a:moveTo>
                <a:cubicBezTo>
                  <a:pt x="691427" y="1802088"/>
                  <a:pt x="696218" y="1806877"/>
                  <a:pt x="696218" y="1812824"/>
                </a:cubicBezTo>
                <a:cubicBezTo>
                  <a:pt x="696218" y="1818770"/>
                  <a:pt x="691427" y="1823562"/>
                  <a:pt x="685480" y="1823562"/>
                </a:cubicBezTo>
                <a:cubicBezTo>
                  <a:pt x="679534" y="1823562"/>
                  <a:pt x="674744" y="1818770"/>
                  <a:pt x="674744" y="1812824"/>
                </a:cubicBezTo>
                <a:cubicBezTo>
                  <a:pt x="674744" y="1806877"/>
                  <a:pt x="679534" y="1802088"/>
                  <a:pt x="685480" y="1802088"/>
                </a:cubicBezTo>
                <a:close/>
                <a:moveTo>
                  <a:pt x="2974893" y="1799609"/>
                </a:moveTo>
                <a:cubicBezTo>
                  <a:pt x="2980839" y="1799609"/>
                  <a:pt x="2985631" y="1804399"/>
                  <a:pt x="2985631" y="1810346"/>
                </a:cubicBezTo>
                <a:cubicBezTo>
                  <a:pt x="2985631" y="1816292"/>
                  <a:pt x="2980839" y="1821084"/>
                  <a:pt x="2974893" y="1821084"/>
                </a:cubicBezTo>
                <a:cubicBezTo>
                  <a:pt x="2968946" y="1821084"/>
                  <a:pt x="2964157" y="1816292"/>
                  <a:pt x="2964157" y="1810346"/>
                </a:cubicBezTo>
                <a:cubicBezTo>
                  <a:pt x="2964157" y="1804399"/>
                  <a:pt x="2968946" y="1799609"/>
                  <a:pt x="2974893" y="1799609"/>
                </a:cubicBezTo>
                <a:close/>
                <a:moveTo>
                  <a:pt x="502624" y="1797298"/>
                </a:moveTo>
                <a:cubicBezTo>
                  <a:pt x="508570" y="1797298"/>
                  <a:pt x="513362" y="1802088"/>
                  <a:pt x="513362" y="1808034"/>
                </a:cubicBezTo>
                <a:cubicBezTo>
                  <a:pt x="513362" y="1813981"/>
                  <a:pt x="508570" y="1818772"/>
                  <a:pt x="502624" y="1818772"/>
                </a:cubicBezTo>
                <a:cubicBezTo>
                  <a:pt x="496677" y="1818772"/>
                  <a:pt x="491888" y="1813981"/>
                  <a:pt x="491888" y="1808034"/>
                </a:cubicBezTo>
                <a:cubicBezTo>
                  <a:pt x="491888" y="1802088"/>
                  <a:pt x="496677" y="1797298"/>
                  <a:pt x="502624" y="1797298"/>
                </a:cubicBezTo>
                <a:close/>
                <a:moveTo>
                  <a:pt x="3149656" y="1794820"/>
                </a:moveTo>
                <a:cubicBezTo>
                  <a:pt x="3155602" y="1794820"/>
                  <a:pt x="3160392" y="1799609"/>
                  <a:pt x="3160392" y="1805556"/>
                </a:cubicBezTo>
                <a:cubicBezTo>
                  <a:pt x="3160392" y="1811502"/>
                  <a:pt x="3155602" y="1816294"/>
                  <a:pt x="3149656" y="1816294"/>
                </a:cubicBezTo>
                <a:cubicBezTo>
                  <a:pt x="3143709" y="1816294"/>
                  <a:pt x="3138919" y="1811502"/>
                  <a:pt x="3138919" y="1805556"/>
                </a:cubicBezTo>
                <a:cubicBezTo>
                  <a:pt x="3138919" y="1799609"/>
                  <a:pt x="3143709" y="1794820"/>
                  <a:pt x="3149656" y="1794820"/>
                </a:cubicBezTo>
                <a:close/>
                <a:moveTo>
                  <a:pt x="334635" y="1792673"/>
                </a:moveTo>
                <a:cubicBezTo>
                  <a:pt x="340582" y="1792673"/>
                  <a:pt x="345373" y="1797462"/>
                  <a:pt x="345373" y="1803409"/>
                </a:cubicBezTo>
                <a:cubicBezTo>
                  <a:pt x="345373" y="1809356"/>
                  <a:pt x="340582" y="1814145"/>
                  <a:pt x="334635" y="1814145"/>
                </a:cubicBezTo>
                <a:cubicBezTo>
                  <a:pt x="328689" y="1814145"/>
                  <a:pt x="323899" y="1809356"/>
                  <a:pt x="323899" y="1803409"/>
                </a:cubicBezTo>
                <a:cubicBezTo>
                  <a:pt x="323899" y="1797462"/>
                  <a:pt x="328689" y="1792673"/>
                  <a:pt x="334635" y="1792673"/>
                </a:cubicBezTo>
                <a:close/>
                <a:moveTo>
                  <a:pt x="3309881" y="1790359"/>
                </a:moveTo>
                <a:cubicBezTo>
                  <a:pt x="3315827" y="1790359"/>
                  <a:pt x="3320619" y="1795149"/>
                  <a:pt x="3320619" y="1801096"/>
                </a:cubicBezTo>
                <a:cubicBezTo>
                  <a:pt x="3320619" y="1807042"/>
                  <a:pt x="3315827" y="1811832"/>
                  <a:pt x="3309881" y="1811832"/>
                </a:cubicBezTo>
                <a:cubicBezTo>
                  <a:pt x="3303934" y="1811832"/>
                  <a:pt x="3299144" y="1807042"/>
                  <a:pt x="3299144" y="1801096"/>
                </a:cubicBezTo>
                <a:cubicBezTo>
                  <a:pt x="3299144" y="1795149"/>
                  <a:pt x="3303934" y="1790359"/>
                  <a:pt x="3309881" y="1790359"/>
                </a:cubicBezTo>
                <a:close/>
                <a:moveTo>
                  <a:pt x="180853" y="1788212"/>
                </a:moveTo>
                <a:cubicBezTo>
                  <a:pt x="186799" y="1788212"/>
                  <a:pt x="191589" y="1793002"/>
                  <a:pt x="191589" y="1798949"/>
                </a:cubicBezTo>
                <a:cubicBezTo>
                  <a:pt x="191589" y="1804895"/>
                  <a:pt x="186799" y="1809687"/>
                  <a:pt x="180853" y="1809687"/>
                </a:cubicBezTo>
                <a:cubicBezTo>
                  <a:pt x="174906" y="1809687"/>
                  <a:pt x="170116" y="1804895"/>
                  <a:pt x="170116" y="1798949"/>
                </a:cubicBezTo>
                <a:cubicBezTo>
                  <a:pt x="170116" y="1793002"/>
                  <a:pt x="174906" y="1788212"/>
                  <a:pt x="180853" y="1788212"/>
                </a:cubicBezTo>
                <a:close/>
                <a:moveTo>
                  <a:pt x="3456562" y="1785901"/>
                </a:moveTo>
                <a:cubicBezTo>
                  <a:pt x="3462508" y="1785901"/>
                  <a:pt x="3467298" y="1790690"/>
                  <a:pt x="3467298" y="1796637"/>
                </a:cubicBezTo>
                <a:cubicBezTo>
                  <a:pt x="3467298" y="1802584"/>
                  <a:pt x="3462508" y="1807375"/>
                  <a:pt x="3456562" y="1807375"/>
                </a:cubicBezTo>
                <a:cubicBezTo>
                  <a:pt x="3450615" y="1807375"/>
                  <a:pt x="3445825" y="1802584"/>
                  <a:pt x="3445825" y="1796637"/>
                </a:cubicBezTo>
                <a:cubicBezTo>
                  <a:pt x="3445825" y="1790690"/>
                  <a:pt x="3450615" y="1785901"/>
                  <a:pt x="3456562" y="1785901"/>
                </a:cubicBezTo>
                <a:close/>
                <a:moveTo>
                  <a:pt x="40283" y="1783918"/>
                </a:moveTo>
                <a:cubicBezTo>
                  <a:pt x="46229" y="1783918"/>
                  <a:pt x="51021" y="1788708"/>
                  <a:pt x="51021" y="1794655"/>
                </a:cubicBezTo>
                <a:cubicBezTo>
                  <a:pt x="51021" y="1800601"/>
                  <a:pt x="46229" y="1805391"/>
                  <a:pt x="40283" y="1805391"/>
                </a:cubicBezTo>
                <a:cubicBezTo>
                  <a:pt x="34336" y="1805391"/>
                  <a:pt x="29546" y="1800601"/>
                  <a:pt x="29546" y="1794655"/>
                </a:cubicBezTo>
                <a:cubicBezTo>
                  <a:pt x="29546" y="1788708"/>
                  <a:pt x="34336" y="1783918"/>
                  <a:pt x="40283" y="1783918"/>
                </a:cubicBezTo>
                <a:close/>
                <a:moveTo>
                  <a:pt x="3590359" y="1781770"/>
                </a:moveTo>
                <a:cubicBezTo>
                  <a:pt x="3596306" y="1781770"/>
                  <a:pt x="3601096" y="1786560"/>
                  <a:pt x="3601096" y="1792506"/>
                </a:cubicBezTo>
                <a:cubicBezTo>
                  <a:pt x="3601096" y="1798453"/>
                  <a:pt x="3596306" y="1803244"/>
                  <a:pt x="3590359" y="1803244"/>
                </a:cubicBezTo>
                <a:cubicBezTo>
                  <a:pt x="3584413" y="1803244"/>
                  <a:pt x="3579623" y="1798453"/>
                  <a:pt x="3579623" y="1792506"/>
                </a:cubicBezTo>
                <a:cubicBezTo>
                  <a:pt x="3579623" y="1786560"/>
                  <a:pt x="3584413" y="1781770"/>
                  <a:pt x="3590359" y="1781770"/>
                </a:cubicBezTo>
                <a:close/>
                <a:moveTo>
                  <a:pt x="4711775" y="1778633"/>
                </a:moveTo>
                <a:cubicBezTo>
                  <a:pt x="4713599" y="1778633"/>
                  <a:pt x="4715079" y="1780112"/>
                  <a:pt x="4715079" y="1781936"/>
                </a:cubicBezTo>
                <a:cubicBezTo>
                  <a:pt x="4715079" y="1783761"/>
                  <a:pt x="4713599" y="1785240"/>
                  <a:pt x="4711775" y="1785240"/>
                </a:cubicBezTo>
                <a:cubicBezTo>
                  <a:pt x="4709951" y="1785240"/>
                  <a:pt x="4708471" y="1783761"/>
                  <a:pt x="4708471" y="1781936"/>
                </a:cubicBezTo>
                <a:cubicBezTo>
                  <a:pt x="4708471" y="1780112"/>
                  <a:pt x="4709951" y="1778633"/>
                  <a:pt x="4711775" y="1778633"/>
                </a:cubicBezTo>
                <a:close/>
                <a:moveTo>
                  <a:pt x="3712098" y="1777641"/>
                </a:moveTo>
                <a:cubicBezTo>
                  <a:pt x="3718044" y="1777641"/>
                  <a:pt x="3722834" y="1782431"/>
                  <a:pt x="3722834" y="1788377"/>
                </a:cubicBezTo>
                <a:cubicBezTo>
                  <a:pt x="3722834" y="1794324"/>
                  <a:pt x="3718044" y="1799115"/>
                  <a:pt x="3712098" y="1799115"/>
                </a:cubicBezTo>
                <a:cubicBezTo>
                  <a:pt x="3706151" y="1799115"/>
                  <a:pt x="3701361" y="1794324"/>
                  <a:pt x="3701361" y="1788377"/>
                </a:cubicBezTo>
                <a:cubicBezTo>
                  <a:pt x="3701361" y="1782431"/>
                  <a:pt x="3706151" y="1777641"/>
                  <a:pt x="3712098" y="1777641"/>
                </a:cubicBezTo>
                <a:close/>
                <a:moveTo>
                  <a:pt x="3822604" y="1773676"/>
                </a:moveTo>
                <a:cubicBezTo>
                  <a:pt x="3828550" y="1773676"/>
                  <a:pt x="3833340" y="1778466"/>
                  <a:pt x="3833340" y="1784413"/>
                </a:cubicBezTo>
                <a:cubicBezTo>
                  <a:pt x="3833340" y="1790359"/>
                  <a:pt x="3828550" y="1795151"/>
                  <a:pt x="3822604" y="1795151"/>
                </a:cubicBezTo>
                <a:cubicBezTo>
                  <a:pt x="3816657" y="1795151"/>
                  <a:pt x="3811867" y="1790359"/>
                  <a:pt x="3811867" y="1784413"/>
                </a:cubicBezTo>
                <a:cubicBezTo>
                  <a:pt x="3811867" y="1778466"/>
                  <a:pt x="3816657" y="1773676"/>
                  <a:pt x="3822604" y="1773676"/>
                </a:cubicBezTo>
                <a:close/>
                <a:moveTo>
                  <a:pt x="4698890" y="1773180"/>
                </a:moveTo>
                <a:cubicBezTo>
                  <a:pt x="4704836" y="1773180"/>
                  <a:pt x="4709628" y="1777970"/>
                  <a:pt x="4709628" y="1783917"/>
                </a:cubicBezTo>
                <a:cubicBezTo>
                  <a:pt x="4709628" y="1789863"/>
                  <a:pt x="4704836" y="1794655"/>
                  <a:pt x="4698890" y="1794655"/>
                </a:cubicBezTo>
                <a:lnTo>
                  <a:pt x="4693935" y="1789700"/>
                </a:lnTo>
                <a:lnTo>
                  <a:pt x="4687163" y="1796472"/>
                </a:lnTo>
                <a:lnTo>
                  <a:pt x="4683116" y="1792425"/>
                </a:lnTo>
                <a:lnTo>
                  <a:pt x="4676921" y="1798619"/>
                </a:lnTo>
                <a:lnTo>
                  <a:pt x="4673453" y="1795151"/>
                </a:lnTo>
                <a:lnTo>
                  <a:pt x="4667836" y="1800766"/>
                </a:lnTo>
                <a:lnTo>
                  <a:pt x="4664945" y="1797875"/>
                </a:lnTo>
                <a:lnTo>
                  <a:pt x="4659742" y="1803078"/>
                </a:lnTo>
                <a:lnTo>
                  <a:pt x="4657514" y="1800849"/>
                </a:lnTo>
                <a:lnTo>
                  <a:pt x="4652806" y="1805558"/>
                </a:lnTo>
                <a:lnTo>
                  <a:pt x="4651070" y="1803822"/>
                </a:lnTo>
                <a:lnTo>
                  <a:pt x="4646528" y="1808365"/>
                </a:lnTo>
                <a:lnTo>
                  <a:pt x="4645206" y="1807044"/>
                </a:lnTo>
                <a:lnTo>
                  <a:pt x="4641077" y="1811173"/>
                </a:lnTo>
                <a:lnTo>
                  <a:pt x="4640004" y="1810100"/>
                </a:lnTo>
                <a:lnTo>
                  <a:pt x="4635956" y="1814145"/>
                </a:lnTo>
                <a:lnTo>
                  <a:pt x="4635212" y="1813403"/>
                </a:lnTo>
                <a:lnTo>
                  <a:pt x="4631331" y="1817284"/>
                </a:lnTo>
                <a:lnTo>
                  <a:pt x="4630837" y="1816790"/>
                </a:lnTo>
                <a:lnTo>
                  <a:pt x="4626873" y="1820754"/>
                </a:lnTo>
                <a:lnTo>
                  <a:pt x="4626460" y="1820342"/>
                </a:lnTo>
                <a:lnTo>
                  <a:pt x="4622412" y="1824387"/>
                </a:lnTo>
                <a:lnTo>
                  <a:pt x="4621916" y="1823893"/>
                </a:lnTo>
                <a:lnTo>
                  <a:pt x="4617622" y="1828187"/>
                </a:lnTo>
                <a:lnTo>
                  <a:pt x="4616962" y="1827526"/>
                </a:lnTo>
                <a:lnTo>
                  <a:pt x="4612337" y="1832151"/>
                </a:lnTo>
                <a:lnTo>
                  <a:pt x="4611509" y="1831324"/>
                </a:lnTo>
                <a:lnTo>
                  <a:pt x="4606388" y="1836445"/>
                </a:lnTo>
                <a:lnTo>
                  <a:pt x="4605069" y="1835126"/>
                </a:lnTo>
                <a:lnTo>
                  <a:pt x="4599287" y="1840906"/>
                </a:lnTo>
                <a:lnTo>
                  <a:pt x="4597386" y="1839005"/>
                </a:lnTo>
                <a:lnTo>
                  <a:pt x="4590862" y="1845531"/>
                </a:lnTo>
                <a:lnTo>
                  <a:pt x="4588384" y="1843053"/>
                </a:lnTo>
                <a:lnTo>
                  <a:pt x="4580951" y="1850487"/>
                </a:lnTo>
                <a:lnTo>
                  <a:pt x="4577566" y="1847102"/>
                </a:lnTo>
                <a:lnTo>
                  <a:pt x="4568894" y="1855773"/>
                </a:lnTo>
                <a:lnTo>
                  <a:pt x="4564515" y="1851394"/>
                </a:lnTo>
                <a:lnTo>
                  <a:pt x="4554687" y="1861223"/>
                </a:lnTo>
                <a:cubicBezTo>
                  <a:pt x="4548741" y="1861223"/>
                  <a:pt x="4543951" y="1856432"/>
                  <a:pt x="4543951" y="1850485"/>
                </a:cubicBezTo>
                <a:cubicBezTo>
                  <a:pt x="4543951" y="1844539"/>
                  <a:pt x="4548741" y="1839749"/>
                  <a:pt x="4554687" y="1839749"/>
                </a:cubicBezTo>
                <a:lnTo>
                  <a:pt x="4559066" y="1844128"/>
                </a:lnTo>
                <a:lnTo>
                  <a:pt x="4568894" y="1834298"/>
                </a:lnTo>
                <a:lnTo>
                  <a:pt x="4572280" y="1837685"/>
                </a:lnTo>
                <a:lnTo>
                  <a:pt x="4580951" y="1829013"/>
                </a:lnTo>
                <a:lnTo>
                  <a:pt x="4583428" y="1831491"/>
                </a:lnTo>
                <a:lnTo>
                  <a:pt x="4590862" y="1824056"/>
                </a:lnTo>
                <a:lnTo>
                  <a:pt x="4592761" y="1825957"/>
                </a:lnTo>
                <a:lnTo>
                  <a:pt x="4599287" y="1819431"/>
                </a:lnTo>
                <a:lnTo>
                  <a:pt x="4600608" y="1820753"/>
                </a:lnTo>
                <a:lnTo>
                  <a:pt x="4606388" y="1814971"/>
                </a:lnTo>
                <a:lnTo>
                  <a:pt x="4607216" y="1815798"/>
                </a:lnTo>
                <a:lnTo>
                  <a:pt x="4612337" y="1810677"/>
                </a:lnTo>
                <a:lnTo>
                  <a:pt x="4612997" y="1811338"/>
                </a:lnTo>
                <a:lnTo>
                  <a:pt x="4617622" y="1806713"/>
                </a:lnTo>
                <a:lnTo>
                  <a:pt x="4618118" y="1807209"/>
                </a:lnTo>
                <a:lnTo>
                  <a:pt x="4622412" y="1802913"/>
                </a:lnTo>
                <a:lnTo>
                  <a:pt x="4622827" y="1803328"/>
                </a:lnTo>
                <a:lnTo>
                  <a:pt x="4626873" y="1799280"/>
                </a:lnTo>
                <a:lnTo>
                  <a:pt x="4627367" y="1799774"/>
                </a:lnTo>
                <a:lnTo>
                  <a:pt x="4631331" y="1795810"/>
                </a:lnTo>
                <a:lnTo>
                  <a:pt x="4632075" y="1796554"/>
                </a:lnTo>
                <a:lnTo>
                  <a:pt x="4635956" y="1792673"/>
                </a:lnTo>
                <a:lnTo>
                  <a:pt x="4637030" y="1793746"/>
                </a:lnTo>
                <a:lnTo>
                  <a:pt x="4641077" y="1789699"/>
                </a:lnTo>
                <a:lnTo>
                  <a:pt x="4642399" y="1791020"/>
                </a:lnTo>
                <a:lnTo>
                  <a:pt x="4646528" y="1786891"/>
                </a:lnTo>
                <a:lnTo>
                  <a:pt x="4648264" y="1788627"/>
                </a:lnTo>
                <a:lnTo>
                  <a:pt x="4652806" y="1784083"/>
                </a:lnTo>
                <a:lnTo>
                  <a:pt x="4655034" y="1786313"/>
                </a:lnTo>
                <a:lnTo>
                  <a:pt x="4659742" y="1781605"/>
                </a:lnTo>
                <a:lnTo>
                  <a:pt x="4662633" y="1784496"/>
                </a:lnTo>
                <a:lnTo>
                  <a:pt x="4667836" y="1779292"/>
                </a:lnTo>
                <a:lnTo>
                  <a:pt x="4671306" y="1782762"/>
                </a:lnTo>
                <a:lnTo>
                  <a:pt x="4676921" y="1777145"/>
                </a:lnTo>
                <a:lnTo>
                  <a:pt x="4680969" y="1781192"/>
                </a:lnTo>
                <a:lnTo>
                  <a:pt x="4687163" y="1774998"/>
                </a:lnTo>
                <a:lnTo>
                  <a:pt x="4692118" y="1779952"/>
                </a:lnTo>
                <a:close/>
                <a:moveTo>
                  <a:pt x="3922538" y="1770042"/>
                </a:moveTo>
                <a:cubicBezTo>
                  <a:pt x="3928484" y="1770042"/>
                  <a:pt x="3933276" y="1774831"/>
                  <a:pt x="3933276" y="1780778"/>
                </a:cubicBezTo>
                <a:cubicBezTo>
                  <a:pt x="3933276" y="1786724"/>
                  <a:pt x="3928484" y="1791516"/>
                  <a:pt x="3922538" y="1791516"/>
                </a:cubicBezTo>
                <a:cubicBezTo>
                  <a:pt x="3916591" y="1791516"/>
                  <a:pt x="3911801" y="1786724"/>
                  <a:pt x="3911801" y="1780778"/>
                </a:cubicBezTo>
                <a:cubicBezTo>
                  <a:pt x="3911801" y="1774831"/>
                  <a:pt x="3916591" y="1770042"/>
                  <a:pt x="3922538" y="1770042"/>
                </a:cubicBezTo>
                <a:close/>
                <a:moveTo>
                  <a:pt x="4012563" y="1766408"/>
                </a:moveTo>
                <a:cubicBezTo>
                  <a:pt x="4018509" y="1766408"/>
                  <a:pt x="4023299" y="1771198"/>
                  <a:pt x="4023299" y="1777145"/>
                </a:cubicBezTo>
                <a:cubicBezTo>
                  <a:pt x="4023299" y="1783091"/>
                  <a:pt x="4018509" y="1787883"/>
                  <a:pt x="4012563" y="1787883"/>
                </a:cubicBezTo>
                <a:cubicBezTo>
                  <a:pt x="4006616" y="1787883"/>
                  <a:pt x="4001827" y="1783091"/>
                  <a:pt x="4001827" y="1777145"/>
                </a:cubicBezTo>
                <a:cubicBezTo>
                  <a:pt x="4001827" y="1771198"/>
                  <a:pt x="4006616" y="1766408"/>
                  <a:pt x="4012563" y="1766408"/>
                </a:cubicBezTo>
                <a:close/>
                <a:moveTo>
                  <a:pt x="4093501" y="1762940"/>
                </a:moveTo>
                <a:cubicBezTo>
                  <a:pt x="4099447" y="1762940"/>
                  <a:pt x="4104237" y="1767730"/>
                  <a:pt x="4104237" y="1773676"/>
                </a:cubicBezTo>
                <a:cubicBezTo>
                  <a:pt x="4104237" y="1779623"/>
                  <a:pt x="4099447" y="1784414"/>
                  <a:pt x="4093501" y="1784414"/>
                </a:cubicBezTo>
                <a:cubicBezTo>
                  <a:pt x="4087554" y="1784414"/>
                  <a:pt x="4082765" y="1779623"/>
                  <a:pt x="4082765" y="1773676"/>
                </a:cubicBezTo>
                <a:cubicBezTo>
                  <a:pt x="4082765" y="1767730"/>
                  <a:pt x="4087554" y="1762940"/>
                  <a:pt x="4093501" y="1762940"/>
                </a:cubicBezTo>
                <a:close/>
                <a:moveTo>
                  <a:pt x="4166016" y="1759636"/>
                </a:moveTo>
                <a:cubicBezTo>
                  <a:pt x="4171962" y="1759636"/>
                  <a:pt x="4176752" y="1764426"/>
                  <a:pt x="4176752" y="1770373"/>
                </a:cubicBezTo>
                <a:cubicBezTo>
                  <a:pt x="4176752" y="1776319"/>
                  <a:pt x="4171962" y="1781109"/>
                  <a:pt x="4166016" y="1781109"/>
                </a:cubicBezTo>
                <a:cubicBezTo>
                  <a:pt x="4160069" y="1781109"/>
                  <a:pt x="4155280" y="1776319"/>
                  <a:pt x="4155280" y="1770373"/>
                </a:cubicBezTo>
                <a:cubicBezTo>
                  <a:pt x="4155280" y="1764426"/>
                  <a:pt x="4160069" y="1759636"/>
                  <a:pt x="4166016" y="1759636"/>
                </a:cubicBezTo>
                <a:close/>
                <a:moveTo>
                  <a:pt x="4230602" y="1756333"/>
                </a:moveTo>
                <a:cubicBezTo>
                  <a:pt x="4236549" y="1756333"/>
                  <a:pt x="4241340" y="1761123"/>
                  <a:pt x="4241340" y="1767069"/>
                </a:cubicBezTo>
                <a:cubicBezTo>
                  <a:pt x="4241340" y="1773016"/>
                  <a:pt x="4236549" y="1777807"/>
                  <a:pt x="4230602" y="1777807"/>
                </a:cubicBezTo>
                <a:cubicBezTo>
                  <a:pt x="4224656" y="1777807"/>
                  <a:pt x="4219866" y="1773016"/>
                  <a:pt x="4219866" y="1767069"/>
                </a:cubicBezTo>
                <a:cubicBezTo>
                  <a:pt x="4219866" y="1761123"/>
                  <a:pt x="4224656" y="1756333"/>
                  <a:pt x="4230602" y="1756333"/>
                </a:cubicBezTo>
                <a:close/>
                <a:moveTo>
                  <a:pt x="4288085" y="1753359"/>
                </a:moveTo>
                <a:cubicBezTo>
                  <a:pt x="4294032" y="1753359"/>
                  <a:pt x="4298823" y="1758148"/>
                  <a:pt x="4298823" y="1764095"/>
                </a:cubicBezTo>
                <a:cubicBezTo>
                  <a:pt x="4298823" y="1770042"/>
                  <a:pt x="4294032" y="1774833"/>
                  <a:pt x="4288085" y="1774833"/>
                </a:cubicBezTo>
                <a:cubicBezTo>
                  <a:pt x="4282139" y="1774833"/>
                  <a:pt x="4277349" y="1770042"/>
                  <a:pt x="4277349" y="1764095"/>
                </a:cubicBezTo>
                <a:cubicBezTo>
                  <a:pt x="4277349" y="1758148"/>
                  <a:pt x="4282139" y="1753359"/>
                  <a:pt x="4288085" y="1753359"/>
                </a:cubicBezTo>
                <a:close/>
                <a:moveTo>
                  <a:pt x="4338630" y="1750386"/>
                </a:moveTo>
                <a:cubicBezTo>
                  <a:pt x="4344576" y="1750386"/>
                  <a:pt x="4349368" y="1755176"/>
                  <a:pt x="4349368" y="1761123"/>
                </a:cubicBezTo>
                <a:cubicBezTo>
                  <a:pt x="4349368" y="1767069"/>
                  <a:pt x="4344576" y="1771861"/>
                  <a:pt x="4338630" y="1771861"/>
                </a:cubicBezTo>
                <a:cubicBezTo>
                  <a:pt x="4332683" y="1771861"/>
                  <a:pt x="4327894" y="1767069"/>
                  <a:pt x="4327894" y="1761123"/>
                </a:cubicBezTo>
                <a:cubicBezTo>
                  <a:pt x="4327894" y="1755176"/>
                  <a:pt x="4332683" y="1750386"/>
                  <a:pt x="4338630" y="1750386"/>
                </a:cubicBezTo>
                <a:close/>
                <a:moveTo>
                  <a:pt x="4383230" y="1747577"/>
                </a:moveTo>
                <a:cubicBezTo>
                  <a:pt x="4389176" y="1747577"/>
                  <a:pt x="4393966" y="1752367"/>
                  <a:pt x="4393966" y="1758313"/>
                </a:cubicBezTo>
                <a:cubicBezTo>
                  <a:pt x="4393966" y="1764260"/>
                  <a:pt x="4389176" y="1769051"/>
                  <a:pt x="4383230" y="1769051"/>
                </a:cubicBezTo>
                <a:cubicBezTo>
                  <a:pt x="4377283" y="1769051"/>
                  <a:pt x="4372493" y="1764260"/>
                  <a:pt x="4372493" y="1758313"/>
                </a:cubicBezTo>
                <a:cubicBezTo>
                  <a:pt x="4372493" y="1752367"/>
                  <a:pt x="4377283" y="1747577"/>
                  <a:pt x="4383230" y="1747577"/>
                </a:cubicBezTo>
                <a:close/>
                <a:moveTo>
                  <a:pt x="4422213" y="1744936"/>
                </a:moveTo>
                <a:cubicBezTo>
                  <a:pt x="4428159" y="1744936"/>
                  <a:pt x="4432951" y="1749726"/>
                  <a:pt x="4432951" y="1755672"/>
                </a:cubicBezTo>
                <a:cubicBezTo>
                  <a:pt x="4432951" y="1761619"/>
                  <a:pt x="4428159" y="1766408"/>
                  <a:pt x="4422213" y="1766408"/>
                </a:cubicBezTo>
                <a:cubicBezTo>
                  <a:pt x="4416266" y="1766408"/>
                  <a:pt x="4411476" y="1761619"/>
                  <a:pt x="4411476" y="1755672"/>
                </a:cubicBezTo>
                <a:cubicBezTo>
                  <a:pt x="4411476" y="1749726"/>
                  <a:pt x="4416266" y="1744936"/>
                  <a:pt x="4422213" y="1744936"/>
                </a:cubicBezTo>
                <a:close/>
                <a:moveTo>
                  <a:pt x="4456239" y="1742293"/>
                </a:moveTo>
                <a:cubicBezTo>
                  <a:pt x="4462186" y="1742293"/>
                  <a:pt x="4466977" y="1747083"/>
                  <a:pt x="4466977" y="1753029"/>
                </a:cubicBezTo>
                <a:cubicBezTo>
                  <a:pt x="4466977" y="1758976"/>
                  <a:pt x="4462186" y="1763767"/>
                  <a:pt x="4456239" y="1763767"/>
                </a:cubicBezTo>
                <a:cubicBezTo>
                  <a:pt x="4450292" y="1763767"/>
                  <a:pt x="4445503" y="1758976"/>
                  <a:pt x="4445503" y="1753029"/>
                </a:cubicBezTo>
                <a:cubicBezTo>
                  <a:pt x="4445503" y="1747083"/>
                  <a:pt x="4450292" y="1742293"/>
                  <a:pt x="4456239" y="1742293"/>
                </a:cubicBezTo>
                <a:close/>
                <a:moveTo>
                  <a:pt x="4485477" y="1739815"/>
                </a:moveTo>
                <a:cubicBezTo>
                  <a:pt x="4491424" y="1739815"/>
                  <a:pt x="4496214" y="1744604"/>
                  <a:pt x="4496214" y="1750551"/>
                </a:cubicBezTo>
                <a:cubicBezTo>
                  <a:pt x="4496214" y="1756498"/>
                  <a:pt x="4491424" y="1761289"/>
                  <a:pt x="4485477" y="1761289"/>
                </a:cubicBezTo>
                <a:cubicBezTo>
                  <a:pt x="4479531" y="1761289"/>
                  <a:pt x="4474741" y="1756498"/>
                  <a:pt x="4474741" y="1750551"/>
                </a:cubicBezTo>
                <a:cubicBezTo>
                  <a:pt x="4474741" y="1744604"/>
                  <a:pt x="4479531" y="1739815"/>
                  <a:pt x="4485477" y="1739815"/>
                </a:cubicBezTo>
                <a:close/>
                <a:moveTo>
                  <a:pt x="4510750" y="1737501"/>
                </a:moveTo>
                <a:cubicBezTo>
                  <a:pt x="4516696" y="1737501"/>
                  <a:pt x="4521486" y="1742291"/>
                  <a:pt x="4521486" y="1748238"/>
                </a:cubicBezTo>
                <a:cubicBezTo>
                  <a:pt x="4521486" y="1754184"/>
                  <a:pt x="4516696" y="1758976"/>
                  <a:pt x="4510750" y="1758976"/>
                </a:cubicBezTo>
                <a:cubicBezTo>
                  <a:pt x="4504803" y="1758976"/>
                  <a:pt x="4500013" y="1754184"/>
                  <a:pt x="4500013" y="1748238"/>
                </a:cubicBezTo>
                <a:cubicBezTo>
                  <a:pt x="4500013" y="1742291"/>
                  <a:pt x="4504803" y="1737501"/>
                  <a:pt x="4510750" y="1737501"/>
                </a:cubicBezTo>
                <a:close/>
                <a:moveTo>
                  <a:pt x="4694100" y="1708265"/>
                </a:moveTo>
                <a:lnTo>
                  <a:pt x="4700872" y="1715038"/>
                </a:lnTo>
                <a:lnTo>
                  <a:pt x="4706324" y="1709586"/>
                </a:lnTo>
                <a:cubicBezTo>
                  <a:pt x="4711159" y="1709586"/>
                  <a:pt x="4715079" y="1713505"/>
                  <a:pt x="4715079" y="1718340"/>
                </a:cubicBezTo>
                <a:cubicBezTo>
                  <a:pt x="4715079" y="1723175"/>
                  <a:pt x="4711159" y="1727096"/>
                  <a:pt x="4706324" y="1727096"/>
                </a:cubicBezTo>
                <a:lnTo>
                  <a:pt x="4701533" y="1722305"/>
                </a:lnTo>
                <a:lnTo>
                  <a:pt x="4694100" y="1729737"/>
                </a:lnTo>
                <a:lnTo>
                  <a:pt x="4689146" y="1724783"/>
                </a:lnTo>
                <a:lnTo>
                  <a:pt x="4683364" y="1730564"/>
                </a:lnTo>
                <a:lnTo>
                  <a:pt x="4678903" y="1726104"/>
                </a:lnTo>
                <a:lnTo>
                  <a:pt x="4673784" y="1731223"/>
                </a:lnTo>
                <a:lnTo>
                  <a:pt x="4669986" y="1727426"/>
                </a:lnTo>
                <a:lnTo>
                  <a:pt x="4665359" y="1732052"/>
                </a:lnTo>
                <a:lnTo>
                  <a:pt x="4662056" y="1728749"/>
                </a:lnTo>
                <a:lnTo>
                  <a:pt x="4657927" y="1732876"/>
                </a:lnTo>
                <a:lnTo>
                  <a:pt x="4655117" y="1730067"/>
                </a:lnTo>
                <a:lnTo>
                  <a:pt x="4651318" y="1733866"/>
                </a:lnTo>
                <a:lnTo>
                  <a:pt x="4649008" y="1731556"/>
                </a:lnTo>
                <a:lnTo>
                  <a:pt x="4645702" y="1734860"/>
                </a:lnTo>
                <a:lnTo>
                  <a:pt x="4643720" y="1732878"/>
                </a:lnTo>
                <a:lnTo>
                  <a:pt x="4640581" y="1736015"/>
                </a:lnTo>
                <a:lnTo>
                  <a:pt x="4638682" y="1734116"/>
                </a:lnTo>
                <a:lnTo>
                  <a:pt x="4635792" y="1737005"/>
                </a:lnTo>
                <a:lnTo>
                  <a:pt x="4634305" y="1735521"/>
                </a:lnTo>
                <a:lnTo>
                  <a:pt x="4631498" y="1738328"/>
                </a:lnTo>
                <a:lnTo>
                  <a:pt x="4629928" y="1736759"/>
                </a:lnTo>
                <a:lnTo>
                  <a:pt x="4627202" y="1739485"/>
                </a:lnTo>
                <a:lnTo>
                  <a:pt x="4625633" y="1737916"/>
                </a:lnTo>
                <a:lnTo>
                  <a:pt x="4622742" y="1740807"/>
                </a:lnTo>
                <a:lnTo>
                  <a:pt x="4621008" y="1739072"/>
                </a:lnTo>
                <a:lnTo>
                  <a:pt x="4617787" y="1742293"/>
                </a:lnTo>
                <a:lnTo>
                  <a:pt x="4615805" y="1740311"/>
                </a:lnTo>
                <a:lnTo>
                  <a:pt x="4612337" y="1743779"/>
                </a:lnTo>
                <a:lnTo>
                  <a:pt x="4610025" y="1741467"/>
                </a:lnTo>
                <a:lnTo>
                  <a:pt x="4606059" y="1745432"/>
                </a:lnTo>
                <a:lnTo>
                  <a:pt x="4603085" y="1742458"/>
                </a:lnTo>
                <a:lnTo>
                  <a:pt x="4598461" y="1747083"/>
                </a:lnTo>
                <a:lnTo>
                  <a:pt x="4594828" y="1743450"/>
                </a:lnTo>
                <a:lnTo>
                  <a:pt x="4589541" y="1748735"/>
                </a:lnTo>
                <a:lnTo>
                  <a:pt x="4585080" y="1744275"/>
                </a:lnTo>
                <a:lnTo>
                  <a:pt x="4578804" y="1750551"/>
                </a:lnTo>
                <a:lnTo>
                  <a:pt x="4573352" y="1745099"/>
                </a:lnTo>
                <a:lnTo>
                  <a:pt x="4565919" y="1752533"/>
                </a:lnTo>
                <a:lnTo>
                  <a:pt x="4559231" y="1745844"/>
                </a:lnTo>
                <a:lnTo>
                  <a:pt x="4550393" y="1754682"/>
                </a:lnTo>
                <a:lnTo>
                  <a:pt x="4542300" y="1746587"/>
                </a:lnTo>
                <a:lnTo>
                  <a:pt x="4532222" y="1756664"/>
                </a:lnTo>
                <a:cubicBezTo>
                  <a:pt x="4526276" y="1756664"/>
                  <a:pt x="4521486" y="1751872"/>
                  <a:pt x="4521486" y="1745926"/>
                </a:cubicBezTo>
                <a:cubicBezTo>
                  <a:pt x="4521486" y="1739979"/>
                  <a:pt x="4526276" y="1735190"/>
                  <a:pt x="4532222" y="1735190"/>
                </a:cubicBezTo>
                <a:lnTo>
                  <a:pt x="4540318" y="1743283"/>
                </a:lnTo>
                <a:lnTo>
                  <a:pt x="4550393" y="1733207"/>
                </a:lnTo>
                <a:lnTo>
                  <a:pt x="4557082" y="1739896"/>
                </a:lnTo>
                <a:lnTo>
                  <a:pt x="4565919" y="1731059"/>
                </a:lnTo>
                <a:lnTo>
                  <a:pt x="4571370" y="1736511"/>
                </a:lnTo>
                <a:lnTo>
                  <a:pt x="4578804" y="1729077"/>
                </a:lnTo>
                <a:lnTo>
                  <a:pt x="4583265" y="1733537"/>
                </a:lnTo>
                <a:lnTo>
                  <a:pt x="4589541" y="1727261"/>
                </a:lnTo>
                <a:lnTo>
                  <a:pt x="4593176" y="1730896"/>
                </a:lnTo>
                <a:lnTo>
                  <a:pt x="4598461" y="1725608"/>
                </a:lnTo>
                <a:lnTo>
                  <a:pt x="4601434" y="1728582"/>
                </a:lnTo>
                <a:lnTo>
                  <a:pt x="4606059" y="1723957"/>
                </a:lnTo>
                <a:lnTo>
                  <a:pt x="4608372" y="1726271"/>
                </a:lnTo>
                <a:lnTo>
                  <a:pt x="4612337" y="1722305"/>
                </a:lnTo>
                <a:lnTo>
                  <a:pt x="4614319" y="1724287"/>
                </a:lnTo>
                <a:lnTo>
                  <a:pt x="4617787" y="1720818"/>
                </a:lnTo>
                <a:lnTo>
                  <a:pt x="4619521" y="1722553"/>
                </a:lnTo>
                <a:lnTo>
                  <a:pt x="4622742" y="1719332"/>
                </a:lnTo>
                <a:lnTo>
                  <a:pt x="4624311" y="1720902"/>
                </a:lnTo>
                <a:lnTo>
                  <a:pt x="4627202" y="1718011"/>
                </a:lnTo>
                <a:lnTo>
                  <a:pt x="4628772" y="1719580"/>
                </a:lnTo>
                <a:lnTo>
                  <a:pt x="4631498" y="1716854"/>
                </a:lnTo>
                <a:lnTo>
                  <a:pt x="4632984" y="1718340"/>
                </a:lnTo>
                <a:lnTo>
                  <a:pt x="4635792" y="1715533"/>
                </a:lnTo>
                <a:lnTo>
                  <a:pt x="4637690" y="1717431"/>
                </a:lnTo>
                <a:lnTo>
                  <a:pt x="4640581" y="1714541"/>
                </a:lnTo>
                <a:lnTo>
                  <a:pt x="4642565" y="1716525"/>
                </a:lnTo>
                <a:lnTo>
                  <a:pt x="4645702" y="1713386"/>
                </a:lnTo>
                <a:lnTo>
                  <a:pt x="4648014" y="1715697"/>
                </a:lnTo>
                <a:lnTo>
                  <a:pt x="4651318" y="1712394"/>
                </a:lnTo>
                <a:lnTo>
                  <a:pt x="4654127" y="1715203"/>
                </a:lnTo>
                <a:lnTo>
                  <a:pt x="4657927" y="1711403"/>
                </a:lnTo>
                <a:lnTo>
                  <a:pt x="4661230" y="1714707"/>
                </a:lnTo>
                <a:lnTo>
                  <a:pt x="4665359" y="1710578"/>
                </a:lnTo>
                <a:lnTo>
                  <a:pt x="4669159" y="1714378"/>
                </a:lnTo>
                <a:lnTo>
                  <a:pt x="4673784" y="1709751"/>
                </a:lnTo>
                <a:lnTo>
                  <a:pt x="4678243" y="1714211"/>
                </a:lnTo>
                <a:lnTo>
                  <a:pt x="4683364" y="1709090"/>
                </a:lnTo>
                <a:lnTo>
                  <a:pt x="4688320" y="1714046"/>
                </a:lnTo>
                <a:close/>
                <a:moveTo>
                  <a:pt x="4522147" y="1621049"/>
                </a:moveTo>
                <a:lnTo>
                  <a:pt x="4532883" y="1631785"/>
                </a:lnTo>
                <a:lnTo>
                  <a:pt x="4541969" y="1622700"/>
                </a:lnTo>
                <a:lnTo>
                  <a:pt x="4551137" y="1631867"/>
                </a:lnTo>
                <a:lnTo>
                  <a:pt x="4558651" y="1624352"/>
                </a:lnTo>
                <a:lnTo>
                  <a:pt x="4566499" y="1632200"/>
                </a:lnTo>
                <a:lnTo>
                  <a:pt x="4572858" y="1625839"/>
                </a:lnTo>
                <a:lnTo>
                  <a:pt x="4579384" y="1632363"/>
                </a:lnTo>
                <a:lnTo>
                  <a:pt x="4584586" y="1627160"/>
                </a:lnTo>
                <a:lnTo>
                  <a:pt x="4590285" y="1632859"/>
                </a:lnTo>
                <a:lnTo>
                  <a:pt x="4594497" y="1628646"/>
                </a:lnTo>
                <a:lnTo>
                  <a:pt x="4599204" y="1633355"/>
                </a:lnTo>
                <a:lnTo>
                  <a:pt x="4602591" y="1629968"/>
                </a:lnTo>
                <a:lnTo>
                  <a:pt x="4606636" y="1634015"/>
                </a:lnTo>
                <a:lnTo>
                  <a:pt x="4609527" y="1631124"/>
                </a:lnTo>
                <a:lnTo>
                  <a:pt x="4612997" y="1634595"/>
                </a:lnTo>
                <a:lnTo>
                  <a:pt x="4615309" y="1632281"/>
                </a:lnTo>
                <a:lnTo>
                  <a:pt x="4618448" y="1635420"/>
                </a:lnTo>
                <a:lnTo>
                  <a:pt x="4620430" y="1633438"/>
                </a:lnTo>
                <a:lnTo>
                  <a:pt x="4623238" y="1636246"/>
                </a:lnTo>
                <a:lnTo>
                  <a:pt x="4625055" y="1634428"/>
                </a:lnTo>
                <a:lnTo>
                  <a:pt x="4627781" y="1637154"/>
                </a:lnTo>
                <a:lnTo>
                  <a:pt x="4629515" y="1635420"/>
                </a:lnTo>
                <a:lnTo>
                  <a:pt x="4632157" y="1638063"/>
                </a:lnTo>
                <a:lnTo>
                  <a:pt x="4633809" y="1636410"/>
                </a:lnTo>
                <a:lnTo>
                  <a:pt x="4636454" y="1639055"/>
                </a:lnTo>
                <a:lnTo>
                  <a:pt x="4638270" y="1637237"/>
                </a:lnTo>
                <a:lnTo>
                  <a:pt x="4641159" y="1640128"/>
                </a:lnTo>
                <a:lnTo>
                  <a:pt x="4643224" y="1638063"/>
                </a:lnTo>
                <a:lnTo>
                  <a:pt x="4646280" y="1641119"/>
                </a:lnTo>
                <a:lnTo>
                  <a:pt x="4648510" y="1638888"/>
                </a:lnTo>
                <a:lnTo>
                  <a:pt x="4651978" y="1642357"/>
                </a:lnTo>
                <a:lnTo>
                  <a:pt x="4654621" y="1639714"/>
                </a:lnTo>
                <a:lnTo>
                  <a:pt x="4658421" y="1643514"/>
                </a:lnTo>
                <a:lnTo>
                  <a:pt x="4661560" y="1640375"/>
                </a:lnTo>
                <a:lnTo>
                  <a:pt x="4665854" y="1644670"/>
                </a:lnTo>
                <a:lnTo>
                  <a:pt x="4669489" y="1641035"/>
                </a:lnTo>
                <a:lnTo>
                  <a:pt x="4674280" y="1645827"/>
                </a:lnTo>
                <a:lnTo>
                  <a:pt x="4678409" y="1641696"/>
                </a:lnTo>
                <a:lnTo>
                  <a:pt x="4683778" y="1647065"/>
                </a:lnTo>
                <a:lnTo>
                  <a:pt x="4688650" y="1642192"/>
                </a:lnTo>
                <a:lnTo>
                  <a:pt x="4694679" y="1648222"/>
                </a:lnTo>
                <a:lnTo>
                  <a:pt x="4700213" y="1642688"/>
                </a:lnTo>
                <a:lnTo>
                  <a:pt x="4710537" y="1653012"/>
                </a:lnTo>
                <a:lnTo>
                  <a:pt x="4712932" y="1650617"/>
                </a:lnTo>
                <a:cubicBezTo>
                  <a:pt x="4714756" y="1650617"/>
                  <a:pt x="4716235" y="1652096"/>
                  <a:pt x="4716235" y="1653920"/>
                </a:cubicBezTo>
                <a:cubicBezTo>
                  <a:pt x="4716235" y="1655745"/>
                  <a:pt x="4714756" y="1657224"/>
                  <a:pt x="4712932" y="1657224"/>
                </a:cubicBezTo>
                <a:lnTo>
                  <a:pt x="4710041" y="1654333"/>
                </a:lnTo>
                <a:lnTo>
                  <a:pt x="4700213" y="1664162"/>
                </a:lnTo>
                <a:lnTo>
                  <a:pt x="4694183" y="1658133"/>
                </a:lnTo>
                <a:lnTo>
                  <a:pt x="4688650" y="1663665"/>
                </a:lnTo>
                <a:lnTo>
                  <a:pt x="4683282" y="1658297"/>
                </a:lnTo>
                <a:lnTo>
                  <a:pt x="4678409" y="1663169"/>
                </a:lnTo>
                <a:lnTo>
                  <a:pt x="4673619" y="1658379"/>
                </a:lnTo>
                <a:lnTo>
                  <a:pt x="4669489" y="1662510"/>
                </a:lnTo>
                <a:lnTo>
                  <a:pt x="4665195" y="1658214"/>
                </a:lnTo>
                <a:lnTo>
                  <a:pt x="4661560" y="1661849"/>
                </a:lnTo>
                <a:lnTo>
                  <a:pt x="4657760" y="1658049"/>
                </a:lnTo>
                <a:lnTo>
                  <a:pt x="4654621" y="1661188"/>
                </a:lnTo>
                <a:lnTo>
                  <a:pt x="4651153" y="1657720"/>
                </a:lnTo>
                <a:lnTo>
                  <a:pt x="4648510" y="1660363"/>
                </a:lnTo>
                <a:lnTo>
                  <a:pt x="4645454" y="1657307"/>
                </a:lnTo>
                <a:lnTo>
                  <a:pt x="4643224" y="1659536"/>
                </a:lnTo>
                <a:lnTo>
                  <a:pt x="4640335" y="1656647"/>
                </a:lnTo>
                <a:lnTo>
                  <a:pt x="4638270" y="1658712"/>
                </a:lnTo>
                <a:lnTo>
                  <a:pt x="4635627" y="1656069"/>
                </a:lnTo>
                <a:lnTo>
                  <a:pt x="4633809" y="1657885"/>
                </a:lnTo>
                <a:lnTo>
                  <a:pt x="4631168" y="1655244"/>
                </a:lnTo>
                <a:lnTo>
                  <a:pt x="4629515" y="1656895"/>
                </a:lnTo>
                <a:lnTo>
                  <a:pt x="4626789" y="1654168"/>
                </a:lnTo>
                <a:lnTo>
                  <a:pt x="4625055" y="1655903"/>
                </a:lnTo>
                <a:lnTo>
                  <a:pt x="4622248" y="1653095"/>
                </a:lnTo>
                <a:lnTo>
                  <a:pt x="4620430" y="1654911"/>
                </a:lnTo>
                <a:lnTo>
                  <a:pt x="4617291" y="1651773"/>
                </a:lnTo>
                <a:lnTo>
                  <a:pt x="4615309" y="1653756"/>
                </a:lnTo>
                <a:lnTo>
                  <a:pt x="4611839" y="1650286"/>
                </a:lnTo>
                <a:lnTo>
                  <a:pt x="4609527" y="1652597"/>
                </a:lnTo>
                <a:lnTo>
                  <a:pt x="4605481" y="1648551"/>
                </a:lnTo>
                <a:lnTo>
                  <a:pt x="4602591" y="1651442"/>
                </a:lnTo>
                <a:lnTo>
                  <a:pt x="4597884" y="1646734"/>
                </a:lnTo>
                <a:lnTo>
                  <a:pt x="4594497" y="1650121"/>
                </a:lnTo>
                <a:lnTo>
                  <a:pt x="4588799" y="1644422"/>
                </a:lnTo>
                <a:lnTo>
                  <a:pt x="4584586" y="1648635"/>
                </a:lnTo>
                <a:lnTo>
                  <a:pt x="4578062" y="1642109"/>
                </a:lnTo>
                <a:lnTo>
                  <a:pt x="4572858" y="1647313"/>
                </a:lnTo>
                <a:lnTo>
                  <a:pt x="4565012" y="1639466"/>
                </a:lnTo>
                <a:lnTo>
                  <a:pt x="4558651" y="1645827"/>
                </a:lnTo>
                <a:lnTo>
                  <a:pt x="4549485" y="1636658"/>
                </a:lnTo>
                <a:lnTo>
                  <a:pt x="4541969" y="1644174"/>
                </a:lnTo>
                <a:lnTo>
                  <a:pt x="4531232" y="1633436"/>
                </a:lnTo>
                <a:lnTo>
                  <a:pt x="4522147" y="1642522"/>
                </a:lnTo>
                <a:cubicBezTo>
                  <a:pt x="4516200" y="1642522"/>
                  <a:pt x="4511410" y="1637732"/>
                  <a:pt x="4511410" y="1631785"/>
                </a:cubicBezTo>
                <a:cubicBezTo>
                  <a:pt x="4511410" y="1625839"/>
                  <a:pt x="4516200" y="1621049"/>
                  <a:pt x="4522147" y="1621049"/>
                </a:cubicBezTo>
                <a:close/>
                <a:moveTo>
                  <a:pt x="4498857" y="1619231"/>
                </a:moveTo>
                <a:cubicBezTo>
                  <a:pt x="4504803" y="1619231"/>
                  <a:pt x="4509593" y="1624021"/>
                  <a:pt x="4509593" y="1629968"/>
                </a:cubicBezTo>
                <a:cubicBezTo>
                  <a:pt x="4509593" y="1635914"/>
                  <a:pt x="4504803" y="1640704"/>
                  <a:pt x="4498857" y="1640704"/>
                </a:cubicBezTo>
                <a:cubicBezTo>
                  <a:pt x="4492910" y="1640704"/>
                  <a:pt x="4488120" y="1635914"/>
                  <a:pt x="4488120" y="1629968"/>
                </a:cubicBezTo>
                <a:cubicBezTo>
                  <a:pt x="4488120" y="1624021"/>
                  <a:pt x="4492910" y="1619231"/>
                  <a:pt x="4498857" y="1619231"/>
                </a:cubicBezTo>
                <a:close/>
                <a:moveTo>
                  <a:pt x="4471602" y="1617416"/>
                </a:moveTo>
                <a:cubicBezTo>
                  <a:pt x="4477549" y="1617416"/>
                  <a:pt x="4482339" y="1622206"/>
                  <a:pt x="4482339" y="1628152"/>
                </a:cubicBezTo>
                <a:cubicBezTo>
                  <a:pt x="4482339" y="1634099"/>
                  <a:pt x="4477549" y="1638888"/>
                  <a:pt x="4471602" y="1638888"/>
                </a:cubicBezTo>
                <a:cubicBezTo>
                  <a:pt x="4465656" y="1638888"/>
                  <a:pt x="4460866" y="1634099"/>
                  <a:pt x="4460866" y="1628152"/>
                </a:cubicBezTo>
                <a:cubicBezTo>
                  <a:pt x="4460866" y="1622206"/>
                  <a:pt x="4465656" y="1617416"/>
                  <a:pt x="4471602" y="1617416"/>
                </a:cubicBezTo>
                <a:close/>
                <a:moveTo>
                  <a:pt x="4440052" y="1615432"/>
                </a:moveTo>
                <a:cubicBezTo>
                  <a:pt x="4445999" y="1615432"/>
                  <a:pt x="4450788" y="1620222"/>
                  <a:pt x="4450788" y="1626168"/>
                </a:cubicBezTo>
                <a:cubicBezTo>
                  <a:pt x="4450788" y="1632115"/>
                  <a:pt x="4445999" y="1636906"/>
                  <a:pt x="4440052" y="1636906"/>
                </a:cubicBezTo>
                <a:cubicBezTo>
                  <a:pt x="4434106" y="1636906"/>
                  <a:pt x="4429316" y="1632115"/>
                  <a:pt x="4429316" y="1626168"/>
                </a:cubicBezTo>
                <a:cubicBezTo>
                  <a:pt x="4429316" y="1620222"/>
                  <a:pt x="4434106" y="1615432"/>
                  <a:pt x="4440052" y="1615432"/>
                </a:cubicBezTo>
                <a:close/>
                <a:moveTo>
                  <a:pt x="4403712" y="1613450"/>
                </a:moveTo>
                <a:cubicBezTo>
                  <a:pt x="4409659" y="1613450"/>
                  <a:pt x="4414450" y="1618239"/>
                  <a:pt x="4414450" y="1624186"/>
                </a:cubicBezTo>
                <a:cubicBezTo>
                  <a:pt x="4414450" y="1630133"/>
                  <a:pt x="4409659" y="1634924"/>
                  <a:pt x="4403712" y="1634924"/>
                </a:cubicBezTo>
                <a:cubicBezTo>
                  <a:pt x="4397766" y="1634924"/>
                  <a:pt x="4392976" y="1630133"/>
                  <a:pt x="4392976" y="1624186"/>
                </a:cubicBezTo>
                <a:cubicBezTo>
                  <a:pt x="4392976" y="1618239"/>
                  <a:pt x="4397766" y="1613450"/>
                  <a:pt x="4403712" y="1613450"/>
                </a:cubicBezTo>
                <a:close/>
                <a:moveTo>
                  <a:pt x="4362087" y="1611469"/>
                </a:moveTo>
                <a:cubicBezTo>
                  <a:pt x="4368033" y="1611469"/>
                  <a:pt x="4372823" y="1616259"/>
                  <a:pt x="4372823" y="1622206"/>
                </a:cubicBezTo>
                <a:cubicBezTo>
                  <a:pt x="4372823" y="1628152"/>
                  <a:pt x="4368033" y="1632944"/>
                  <a:pt x="4362087" y="1632944"/>
                </a:cubicBezTo>
                <a:cubicBezTo>
                  <a:pt x="4356140" y="1632944"/>
                  <a:pt x="4351350" y="1628152"/>
                  <a:pt x="4351350" y="1622206"/>
                </a:cubicBezTo>
                <a:cubicBezTo>
                  <a:pt x="4351350" y="1616259"/>
                  <a:pt x="4356140" y="1611469"/>
                  <a:pt x="4362087" y="1611469"/>
                </a:cubicBezTo>
                <a:close/>
                <a:moveTo>
                  <a:pt x="4314514" y="1609156"/>
                </a:moveTo>
                <a:cubicBezTo>
                  <a:pt x="4320461" y="1609156"/>
                  <a:pt x="4325251" y="1613946"/>
                  <a:pt x="4325251" y="1619892"/>
                </a:cubicBezTo>
                <a:cubicBezTo>
                  <a:pt x="4325251" y="1625839"/>
                  <a:pt x="4320461" y="1630629"/>
                  <a:pt x="4314514" y="1630629"/>
                </a:cubicBezTo>
                <a:cubicBezTo>
                  <a:pt x="4308568" y="1630629"/>
                  <a:pt x="4303778" y="1625839"/>
                  <a:pt x="4303778" y="1619892"/>
                </a:cubicBezTo>
                <a:cubicBezTo>
                  <a:pt x="4303778" y="1613946"/>
                  <a:pt x="4308568" y="1609156"/>
                  <a:pt x="4314514" y="1609156"/>
                </a:cubicBezTo>
                <a:close/>
                <a:moveTo>
                  <a:pt x="4260500" y="1606844"/>
                </a:moveTo>
                <a:cubicBezTo>
                  <a:pt x="4266446" y="1606844"/>
                  <a:pt x="4271236" y="1611634"/>
                  <a:pt x="4271236" y="1617580"/>
                </a:cubicBezTo>
                <a:cubicBezTo>
                  <a:pt x="4271236" y="1623527"/>
                  <a:pt x="4266446" y="1628317"/>
                  <a:pt x="4260500" y="1628317"/>
                </a:cubicBezTo>
                <a:cubicBezTo>
                  <a:pt x="4254553" y="1628317"/>
                  <a:pt x="4249763" y="1623527"/>
                  <a:pt x="4249763" y="1617580"/>
                </a:cubicBezTo>
                <a:cubicBezTo>
                  <a:pt x="4249763" y="1611634"/>
                  <a:pt x="4254553" y="1606844"/>
                  <a:pt x="4260500" y="1606844"/>
                </a:cubicBezTo>
                <a:close/>
                <a:moveTo>
                  <a:pt x="4199713" y="1604531"/>
                </a:moveTo>
                <a:cubicBezTo>
                  <a:pt x="4205659" y="1604531"/>
                  <a:pt x="4210451" y="1609321"/>
                  <a:pt x="4210451" y="1615267"/>
                </a:cubicBezTo>
                <a:cubicBezTo>
                  <a:pt x="4210451" y="1621214"/>
                  <a:pt x="4205659" y="1626003"/>
                  <a:pt x="4199713" y="1626003"/>
                </a:cubicBezTo>
                <a:cubicBezTo>
                  <a:pt x="4193766" y="1626003"/>
                  <a:pt x="4188977" y="1621214"/>
                  <a:pt x="4188977" y="1615267"/>
                </a:cubicBezTo>
                <a:cubicBezTo>
                  <a:pt x="4188977" y="1609321"/>
                  <a:pt x="4193766" y="1604531"/>
                  <a:pt x="4199713" y="1604531"/>
                </a:cubicBezTo>
                <a:close/>
                <a:moveTo>
                  <a:pt x="4131162" y="1602053"/>
                </a:moveTo>
                <a:cubicBezTo>
                  <a:pt x="4137109" y="1602053"/>
                  <a:pt x="4141900" y="1606842"/>
                  <a:pt x="4141900" y="1612789"/>
                </a:cubicBezTo>
                <a:cubicBezTo>
                  <a:pt x="4141900" y="1618735"/>
                  <a:pt x="4137109" y="1623527"/>
                  <a:pt x="4131162" y="1623527"/>
                </a:cubicBezTo>
                <a:cubicBezTo>
                  <a:pt x="4125216" y="1623527"/>
                  <a:pt x="4120426" y="1618735"/>
                  <a:pt x="4120426" y="1612789"/>
                </a:cubicBezTo>
                <a:cubicBezTo>
                  <a:pt x="4120426" y="1606842"/>
                  <a:pt x="4125216" y="1602053"/>
                  <a:pt x="4131162" y="1602053"/>
                </a:cubicBezTo>
                <a:close/>
                <a:moveTo>
                  <a:pt x="4054518" y="1599410"/>
                </a:moveTo>
                <a:cubicBezTo>
                  <a:pt x="4060465" y="1599410"/>
                  <a:pt x="4065254" y="1604199"/>
                  <a:pt x="4065254" y="1610146"/>
                </a:cubicBezTo>
                <a:cubicBezTo>
                  <a:pt x="4065254" y="1616093"/>
                  <a:pt x="4060465" y="1620884"/>
                  <a:pt x="4054518" y="1620884"/>
                </a:cubicBezTo>
                <a:cubicBezTo>
                  <a:pt x="4048572" y="1620884"/>
                  <a:pt x="4043782" y="1616093"/>
                  <a:pt x="4043782" y="1610146"/>
                </a:cubicBezTo>
                <a:cubicBezTo>
                  <a:pt x="4043782" y="1604199"/>
                  <a:pt x="4048572" y="1599410"/>
                  <a:pt x="4054518" y="1599410"/>
                </a:cubicBezTo>
                <a:close/>
                <a:moveTo>
                  <a:pt x="3969120" y="1596767"/>
                </a:moveTo>
                <a:cubicBezTo>
                  <a:pt x="3975066" y="1596767"/>
                  <a:pt x="3979856" y="1601557"/>
                  <a:pt x="3979856" y="1607503"/>
                </a:cubicBezTo>
                <a:cubicBezTo>
                  <a:pt x="3979856" y="1613450"/>
                  <a:pt x="3975066" y="1618239"/>
                  <a:pt x="3969120" y="1618239"/>
                </a:cubicBezTo>
                <a:cubicBezTo>
                  <a:pt x="3963173" y="1618239"/>
                  <a:pt x="3958383" y="1613450"/>
                  <a:pt x="3958383" y="1607503"/>
                </a:cubicBezTo>
                <a:cubicBezTo>
                  <a:pt x="3958383" y="1601557"/>
                  <a:pt x="3963173" y="1596767"/>
                  <a:pt x="3969120" y="1596767"/>
                </a:cubicBezTo>
                <a:close/>
                <a:moveTo>
                  <a:pt x="3874307" y="1593794"/>
                </a:moveTo>
                <a:cubicBezTo>
                  <a:pt x="3880237" y="1593794"/>
                  <a:pt x="3885043" y="1598602"/>
                  <a:pt x="3885043" y="1604531"/>
                </a:cubicBezTo>
                <a:cubicBezTo>
                  <a:pt x="3885043" y="1610462"/>
                  <a:pt x="3880237" y="1615269"/>
                  <a:pt x="3874307" y="1615269"/>
                </a:cubicBezTo>
                <a:cubicBezTo>
                  <a:pt x="3868377" y="1615269"/>
                  <a:pt x="3863570" y="1610462"/>
                  <a:pt x="3863570" y="1604531"/>
                </a:cubicBezTo>
                <a:cubicBezTo>
                  <a:pt x="3863570" y="1598602"/>
                  <a:pt x="3868377" y="1593794"/>
                  <a:pt x="3874307" y="1593794"/>
                </a:cubicBezTo>
                <a:close/>
                <a:moveTo>
                  <a:pt x="3769085" y="1590985"/>
                </a:moveTo>
                <a:cubicBezTo>
                  <a:pt x="3775031" y="1590985"/>
                  <a:pt x="3779821" y="1595775"/>
                  <a:pt x="3779821" y="1601721"/>
                </a:cubicBezTo>
                <a:cubicBezTo>
                  <a:pt x="3779821" y="1607668"/>
                  <a:pt x="3775031" y="1612459"/>
                  <a:pt x="3769085" y="1612459"/>
                </a:cubicBezTo>
                <a:cubicBezTo>
                  <a:pt x="3763138" y="1612459"/>
                  <a:pt x="3758348" y="1607668"/>
                  <a:pt x="3758348" y="1601721"/>
                </a:cubicBezTo>
                <a:cubicBezTo>
                  <a:pt x="3758348" y="1595775"/>
                  <a:pt x="3763138" y="1590985"/>
                  <a:pt x="3769085" y="1590985"/>
                </a:cubicBezTo>
                <a:close/>
                <a:moveTo>
                  <a:pt x="3653128" y="1588013"/>
                </a:moveTo>
                <a:cubicBezTo>
                  <a:pt x="3659075" y="1588013"/>
                  <a:pt x="3663866" y="1592802"/>
                  <a:pt x="3663866" y="1598749"/>
                </a:cubicBezTo>
                <a:cubicBezTo>
                  <a:pt x="3663866" y="1604695"/>
                  <a:pt x="3659075" y="1609485"/>
                  <a:pt x="3653128" y="1609485"/>
                </a:cubicBezTo>
                <a:cubicBezTo>
                  <a:pt x="3647182" y="1609485"/>
                  <a:pt x="3642392" y="1604695"/>
                  <a:pt x="3642392" y="1598749"/>
                </a:cubicBezTo>
                <a:cubicBezTo>
                  <a:pt x="3642392" y="1592802"/>
                  <a:pt x="3647182" y="1588013"/>
                  <a:pt x="3653128" y="1588013"/>
                </a:cubicBezTo>
                <a:close/>
                <a:moveTo>
                  <a:pt x="3525444" y="1584709"/>
                </a:moveTo>
                <a:cubicBezTo>
                  <a:pt x="3531390" y="1584709"/>
                  <a:pt x="3536180" y="1589499"/>
                  <a:pt x="3536180" y="1595445"/>
                </a:cubicBezTo>
                <a:cubicBezTo>
                  <a:pt x="3536180" y="1601392"/>
                  <a:pt x="3531390" y="1606183"/>
                  <a:pt x="3525444" y="1606183"/>
                </a:cubicBezTo>
                <a:cubicBezTo>
                  <a:pt x="3519497" y="1606183"/>
                  <a:pt x="3514707" y="1601392"/>
                  <a:pt x="3514707" y="1595445"/>
                </a:cubicBezTo>
                <a:cubicBezTo>
                  <a:pt x="3514707" y="1589499"/>
                  <a:pt x="3519497" y="1584709"/>
                  <a:pt x="3525444" y="1584709"/>
                </a:cubicBezTo>
                <a:close/>
                <a:moveTo>
                  <a:pt x="108502" y="1583058"/>
                </a:moveTo>
                <a:cubicBezTo>
                  <a:pt x="114449" y="1583058"/>
                  <a:pt x="119240" y="1587848"/>
                  <a:pt x="119240" y="1593794"/>
                </a:cubicBezTo>
                <a:cubicBezTo>
                  <a:pt x="119240" y="1599741"/>
                  <a:pt x="114449" y="1604532"/>
                  <a:pt x="108502" y="1604532"/>
                </a:cubicBezTo>
                <a:cubicBezTo>
                  <a:pt x="102556" y="1604532"/>
                  <a:pt x="97766" y="1599741"/>
                  <a:pt x="97766" y="1593794"/>
                </a:cubicBezTo>
                <a:cubicBezTo>
                  <a:pt x="97766" y="1587848"/>
                  <a:pt x="102556" y="1583058"/>
                  <a:pt x="108502" y="1583058"/>
                </a:cubicBezTo>
                <a:close/>
                <a:moveTo>
                  <a:pt x="3385370" y="1581405"/>
                </a:moveTo>
                <a:cubicBezTo>
                  <a:pt x="3391316" y="1581405"/>
                  <a:pt x="3396106" y="1586195"/>
                  <a:pt x="3396106" y="1592142"/>
                </a:cubicBezTo>
                <a:cubicBezTo>
                  <a:pt x="3396106" y="1598088"/>
                  <a:pt x="3391316" y="1602880"/>
                  <a:pt x="3385370" y="1602880"/>
                </a:cubicBezTo>
                <a:cubicBezTo>
                  <a:pt x="3379423" y="1602880"/>
                  <a:pt x="3374634" y="1598088"/>
                  <a:pt x="3374634" y="1592142"/>
                </a:cubicBezTo>
                <a:cubicBezTo>
                  <a:pt x="3374634" y="1586195"/>
                  <a:pt x="3379423" y="1581405"/>
                  <a:pt x="3385370" y="1581405"/>
                </a:cubicBezTo>
                <a:close/>
                <a:moveTo>
                  <a:pt x="255513" y="1579588"/>
                </a:moveTo>
                <a:cubicBezTo>
                  <a:pt x="261459" y="1579588"/>
                  <a:pt x="266251" y="1584378"/>
                  <a:pt x="266251" y="1590324"/>
                </a:cubicBezTo>
                <a:cubicBezTo>
                  <a:pt x="266251" y="1596271"/>
                  <a:pt x="261459" y="1601062"/>
                  <a:pt x="255513" y="1601062"/>
                </a:cubicBezTo>
                <a:cubicBezTo>
                  <a:pt x="249566" y="1601062"/>
                  <a:pt x="244776" y="1596271"/>
                  <a:pt x="244776" y="1590324"/>
                </a:cubicBezTo>
                <a:cubicBezTo>
                  <a:pt x="244776" y="1584378"/>
                  <a:pt x="249566" y="1579588"/>
                  <a:pt x="255513" y="1579588"/>
                </a:cubicBezTo>
                <a:close/>
                <a:moveTo>
                  <a:pt x="3232082" y="1578102"/>
                </a:moveTo>
                <a:cubicBezTo>
                  <a:pt x="3238028" y="1578102"/>
                  <a:pt x="3242818" y="1582892"/>
                  <a:pt x="3242818" y="1588838"/>
                </a:cubicBezTo>
                <a:cubicBezTo>
                  <a:pt x="3242818" y="1594785"/>
                  <a:pt x="3238028" y="1599576"/>
                  <a:pt x="3232082" y="1599576"/>
                </a:cubicBezTo>
                <a:cubicBezTo>
                  <a:pt x="3226135" y="1599576"/>
                  <a:pt x="3221345" y="1594785"/>
                  <a:pt x="3221345" y="1588838"/>
                </a:cubicBezTo>
                <a:cubicBezTo>
                  <a:pt x="3221345" y="1582892"/>
                  <a:pt x="3226135" y="1578102"/>
                  <a:pt x="3232082" y="1578102"/>
                </a:cubicBezTo>
                <a:close/>
                <a:moveTo>
                  <a:pt x="416235" y="1576120"/>
                </a:moveTo>
                <a:cubicBezTo>
                  <a:pt x="422182" y="1576120"/>
                  <a:pt x="426972" y="1580909"/>
                  <a:pt x="426972" y="1586856"/>
                </a:cubicBezTo>
                <a:cubicBezTo>
                  <a:pt x="426972" y="1592802"/>
                  <a:pt x="422182" y="1597592"/>
                  <a:pt x="416235" y="1597592"/>
                </a:cubicBezTo>
                <a:cubicBezTo>
                  <a:pt x="410289" y="1597592"/>
                  <a:pt x="405499" y="1592802"/>
                  <a:pt x="405499" y="1586856"/>
                </a:cubicBezTo>
                <a:cubicBezTo>
                  <a:pt x="405499" y="1580909"/>
                  <a:pt x="410289" y="1576120"/>
                  <a:pt x="416235" y="1576120"/>
                </a:cubicBezTo>
                <a:close/>
                <a:moveTo>
                  <a:pt x="3064752" y="1574467"/>
                </a:moveTo>
                <a:cubicBezTo>
                  <a:pt x="3070698" y="1574467"/>
                  <a:pt x="3075490" y="1579257"/>
                  <a:pt x="3075490" y="1585203"/>
                </a:cubicBezTo>
                <a:cubicBezTo>
                  <a:pt x="3075490" y="1591150"/>
                  <a:pt x="3070698" y="1595941"/>
                  <a:pt x="3064752" y="1595941"/>
                </a:cubicBezTo>
                <a:cubicBezTo>
                  <a:pt x="3058805" y="1595941"/>
                  <a:pt x="3054015" y="1591150"/>
                  <a:pt x="3054015" y="1585203"/>
                </a:cubicBezTo>
                <a:cubicBezTo>
                  <a:pt x="3054015" y="1579257"/>
                  <a:pt x="3058805" y="1574467"/>
                  <a:pt x="3064752" y="1574467"/>
                </a:cubicBezTo>
                <a:close/>
                <a:moveTo>
                  <a:pt x="591492" y="1572651"/>
                </a:moveTo>
                <a:cubicBezTo>
                  <a:pt x="597439" y="1572651"/>
                  <a:pt x="602229" y="1577441"/>
                  <a:pt x="602229" y="1583388"/>
                </a:cubicBezTo>
                <a:cubicBezTo>
                  <a:pt x="602229" y="1589334"/>
                  <a:pt x="597439" y="1594126"/>
                  <a:pt x="591492" y="1594126"/>
                </a:cubicBezTo>
                <a:cubicBezTo>
                  <a:pt x="585546" y="1594126"/>
                  <a:pt x="580756" y="1589334"/>
                  <a:pt x="580756" y="1583388"/>
                </a:cubicBezTo>
                <a:cubicBezTo>
                  <a:pt x="580756" y="1577441"/>
                  <a:pt x="585546" y="1572651"/>
                  <a:pt x="591492" y="1572651"/>
                </a:cubicBezTo>
                <a:close/>
                <a:moveTo>
                  <a:pt x="2882391" y="1570834"/>
                </a:moveTo>
                <a:cubicBezTo>
                  <a:pt x="2888338" y="1570834"/>
                  <a:pt x="2893128" y="1575624"/>
                  <a:pt x="2893128" y="1581570"/>
                </a:cubicBezTo>
                <a:cubicBezTo>
                  <a:pt x="2893128" y="1587517"/>
                  <a:pt x="2888338" y="1592308"/>
                  <a:pt x="2882391" y="1592308"/>
                </a:cubicBezTo>
                <a:cubicBezTo>
                  <a:pt x="2876445" y="1592308"/>
                  <a:pt x="2871655" y="1587517"/>
                  <a:pt x="2871655" y="1581570"/>
                </a:cubicBezTo>
                <a:cubicBezTo>
                  <a:pt x="2871655" y="1575624"/>
                  <a:pt x="2876445" y="1570834"/>
                  <a:pt x="2882391" y="1570834"/>
                </a:cubicBezTo>
                <a:close/>
                <a:moveTo>
                  <a:pt x="782111" y="1568852"/>
                </a:moveTo>
                <a:cubicBezTo>
                  <a:pt x="788057" y="1568852"/>
                  <a:pt x="792849" y="1573641"/>
                  <a:pt x="792849" y="1579588"/>
                </a:cubicBezTo>
                <a:cubicBezTo>
                  <a:pt x="792849" y="1585534"/>
                  <a:pt x="788057" y="1590326"/>
                  <a:pt x="782111" y="1590326"/>
                </a:cubicBezTo>
                <a:cubicBezTo>
                  <a:pt x="776164" y="1590326"/>
                  <a:pt x="771374" y="1585534"/>
                  <a:pt x="771374" y="1579588"/>
                </a:cubicBezTo>
                <a:cubicBezTo>
                  <a:pt x="771374" y="1573641"/>
                  <a:pt x="776164" y="1568852"/>
                  <a:pt x="782111" y="1568852"/>
                </a:cubicBezTo>
                <a:close/>
                <a:moveTo>
                  <a:pt x="2684340" y="1567034"/>
                </a:moveTo>
                <a:cubicBezTo>
                  <a:pt x="2690287" y="1567034"/>
                  <a:pt x="2695078" y="1571824"/>
                  <a:pt x="2695078" y="1577770"/>
                </a:cubicBezTo>
                <a:cubicBezTo>
                  <a:pt x="2695078" y="1583717"/>
                  <a:pt x="2690287" y="1588509"/>
                  <a:pt x="2684340" y="1588509"/>
                </a:cubicBezTo>
                <a:cubicBezTo>
                  <a:pt x="2678394" y="1588509"/>
                  <a:pt x="2673604" y="1583717"/>
                  <a:pt x="2673604" y="1577770"/>
                </a:cubicBezTo>
                <a:cubicBezTo>
                  <a:pt x="2673604" y="1571824"/>
                  <a:pt x="2678394" y="1567034"/>
                  <a:pt x="2684340" y="1567034"/>
                </a:cubicBezTo>
                <a:close/>
                <a:moveTo>
                  <a:pt x="989084" y="1565052"/>
                </a:moveTo>
                <a:cubicBezTo>
                  <a:pt x="995031" y="1565052"/>
                  <a:pt x="999821" y="1569842"/>
                  <a:pt x="999821" y="1575788"/>
                </a:cubicBezTo>
                <a:cubicBezTo>
                  <a:pt x="999821" y="1581735"/>
                  <a:pt x="995031" y="1586525"/>
                  <a:pt x="989084" y="1586525"/>
                </a:cubicBezTo>
                <a:cubicBezTo>
                  <a:pt x="983138" y="1586525"/>
                  <a:pt x="978348" y="1581735"/>
                  <a:pt x="978348" y="1575788"/>
                </a:cubicBezTo>
                <a:cubicBezTo>
                  <a:pt x="978348" y="1569842"/>
                  <a:pt x="983138" y="1565052"/>
                  <a:pt x="989084" y="1565052"/>
                </a:cubicBezTo>
                <a:close/>
                <a:moveTo>
                  <a:pt x="2469438" y="1563070"/>
                </a:moveTo>
                <a:cubicBezTo>
                  <a:pt x="2475385" y="1563070"/>
                  <a:pt x="2480175" y="1567860"/>
                  <a:pt x="2480175" y="1573806"/>
                </a:cubicBezTo>
                <a:cubicBezTo>
                  <a:pt x="2480175" y="1579753"/>
                  <a:pt x="2475385" y="1584544"/>
                  <a:pt x="2469438" y="1584544"/>
                </a:cubicBezTo>
                <a:cubicBezTo>
                  <a:pt x="2463492" y="1584544"/>
                  <a:pt x="2458702" y="1579753"/>
                  <a:pt x="2458702" y="1573806"/>
                </a:cubicBezTo>
                <a:cubicBezTo>
                  <a:pt x="2458702" y="1567860"/>
                  <a:pt x="2463492" y="1563070"/>
                  <a:pt x="2469438" y="1563070"/>
                </a:cubicBezTo>
                <a:close/>
                <a:moveTo>
                  <a:pt x="1213400" y="1560923"/>
                </a:moveTo>
                <a:cubicBezTo>
                  <a:pt x="1219346" y="1560923"/>
                  <a:pt x="1224138" y="1565713"/>
                  <a:pt x="1224138" y="1571659"/>
                </a:cubicBezTo>
                <a:cubicBezTo>
                  <a:pt x="1224138" y="1577606"/>
                  <a:pt x="1219346" y="1582396"/>
                  <a:pt x="1213400" y="1582396"/>
                </a:cubicBezTo>
                <a:cubicBezTo>
                  <a:pt x="1207453" y="1582396"/>
                  <a:pt x="1202663" y="1577606"/>
                  <a:pt x="1202663" y="1571659"/>
                </a:cubicBezTo>
                <a:cubicBezTo>
                  <a:pt x="1202663" y="1565713"/>
                  <a:pt x="1207453" y="1560923"/>
                  <a:pt x="1213400" y="1560923"/>
                </a:cubicBezTo>
                <a:close/>
                <a:moveTo>
                  <a:pt x="2236863" y="1559105"/>
                </a:moveTo>
                <a:cubicBezTo>
                  <a:pt x="2242809" y="1559105"/>
                  <a:pt x="2247601" y="1563895"/>
                  <a:pt x="2247601" y="1569842"/>
                </a:cubicBezTo>
                <a:cubicBezTo>
                  <a:pt x="2247601" y="1575788"/>
                  <a:pt x="2242809" y="1580578"/>
                  <a:pt x="2236863" y="1580578"/>
                </a:cubicBezTo>
                <a:cubicBezTo>
                  <a:pt x="2230917" y="1580578"/>
                  <a:pt x="2226127" y="1575788"/>
                  <a:pt x="2226127" y="1569842"/>
                </a:cubicBezTo>
                <a:cubicBezTo>
                  <a:pt x="2226127" y="1563895"/>
                  <a:pt x="2230917" y="1559105"/>
                  <a:pt x="2236863" y="1559105"/>
                </a:cubicBezTo>
                <a:close/>
                <a:moveTo>
                  <a:pt x="1455886" y="1556959"/>
                </a:moveTo>
                <a:cubicBezTo>
                  <a:pt x="1461832" y="1556959"/>
                  <a:pt x="1466622" y="1561748"/>
                  <a:pt x="1466622" y="1567695"/>
                </a:cubicBezTo>
                <a:cubicBezTo>
                  <a:pt x="1466622" y="1573641"/>
                  <a:pt x="1461832" y="1578433"/>
                  <a:pt x="1455886" y="1578433"/>
                </a:cubicBezTo>
                <a:cubicBezTo>
                  <a:pt x="1449939" y="1578433"/>
                  <a:pt x="1445149" y="1573641"/>
                  <a:pt x="1445149" y="1567695"/>
                </a:cubicBezTo>
                <a:cubicBezTo>
                  <a:pt x="1445149" y="1561748"/>
                  <a:pt x="1449939" y="1556959"/>
                  <a:pt x="1455886" y="1556959"/>
                </a:cubicBezTo>
                <a:close/>
                <a:moveTo>
                  <a:pt x="1985623" y="1555141"/>
                </a:moveTo>
                <a:cubicBezTo>
                  <a:pt x="1991569" y="1555141"/>
                  <a:pt x="1996361" y="1559931"/>
                  <a:pt x="1996361" y="1565877"/>
                </a:cubicBezTo>
                <a:cubicBezTo>
                  <a:pt x="1996361" y="1571824"/>
                  <a:pt x="1991569" y="1576616"/>
                  <a:pt x="1985623" y="1576616"/>
                </a:cubicBezTo>
                <a:cubicBezTo>
                  <a:pt x="1979676" y="1576616"/>
                  <a:pt x="1974886" y="1571824"/>
                  <a:pt x="1974886" y="1565877"/>
                </a:cubicBezTo>
                <a:cubicBezTo>
                  <a:pt x="1974886" y="1559931"/>
                  <a:pt x="1979676" y="1555141"/>
                  <a:pt x="1985623" y="1555141"/>
                </a:cubicBezTo>
                <a:close/>
                <a:moveTo>
                  <a:pt x="1717203" y="1553490"/>
                </a:moveTo>
                <a:cubicBezTo>
                  <a:pt x="1723150" y="1553490"/>
                  <a:pt x="1727941" y="1558280"/>
                  <a:pt x="1727941" y="1564226"/>
                </a:cubicBezTo>
                <a:cubicBezTo>
                  <a:pt x="1727941" y="1570173"/>
                  <a:pt x="1723150" y="1574965"/>
                  <a:pt x="1717203" y="1574965"/>
                </a:cubicBezTo>
                <a:cubicBezTo>
                  <a:pt x="1711257" y="1574965"/>
                  <a:pt x="1706467" y="1570173"/>
                  <a:pt x="1706467" y="1564226"/>
                </a:cubicBezTo>
                <a:cubicBezTo>
                  <a:pt x="1706467" y="1558280"/>
                  <a:pt x="1711257" y="1553490"/>
                  <a:pt x="1717203" y="1553490"/>
                </a:cubicBezTo>
                <a:close/>
                <a:moveTo>
                  <a:pt x="4709793" y="1523593"/>
                </a:moveTo>
                <a:cubicBezTo>
                  <a:pt x="4711071" y="1523593"/>
                  <a:pt x="4712106" y="1524628"/>
                  <a:pt x="4712106" y="1525904"/>
                </a:cubicBezTo>
                <a:cubicBezTo>
                  <a:pt x="4712106" y="1527183"/>
                  <a:pt x="4711071" y="1528218"/>
                  <a:pt x="4709793" y="1528218"/>
                </a:cubicBezTo>
                <a:cubicBezTo>
                  <a:pt x="4708516" y="1528218"/>
                  <a:pt x="4707481" y="1527183"/>
                  <a:pt x="4707481" y="1525904"/>
                </a:cubicBezTo>
                <a:cubicBezTo>
                  <a:pt x="4707481" y="1524628"/>
                  <a:pt x="4708516" y="1523593"/>
                  <a:pt x="4709793" y="1523593"/>
                </a:cubicBezTo>
                <a:close/>
                <a:moveTo>
                  <a:pt x="4547254" y="1514011"/>
                </a:moveTo>
                <a:lnTo>
                  <a:pt x="4557578" y="1524337"/>
                </a:lnTo>
                <a:lnTo>
                  <a:pt x="4562782" y="1519132"/>
                </a:lnTo>
                <a:lnTo>
                  <a:pt x="4571784" y="1528135"/>
                </a:lnTo>
                <a:lnTo>
                  <a:pt x="4575830" y="1524087"/>
                </a:lnTo>
                <a:lnTo>
                  <a:pt x="4583594" y="1531851"/>
                </a:lnTo>
                <a:lnTo>
                  <a:pt x="4586733" y="1528712"/>
                </a:lnTo>
                <a:lnTo>
                  <a:pt x="4593588" y="1535567"/>
                </a:lnTo>
                <a:lnTo>
                  <a:pt x="4595983" y="1533172"/>
                </a:lnTo>
                <a:lnTo>
                  <a:pt x="4601847" y="1539036"/>
                </a:lnTo>
                <a:lnTo>
                  <a:pt x="4603581" y="1537302"/>
                </a:lnTo>
                <a:lnTo>
                  <a:pt x="4608783" y="1542506"/>
                </a:lnTo>
                <a:lnTo>
                  <a:pt x="4610023" y="1541266"/>
                </a:lnTo>
                <a:lnTo>
                  <a:pt x="4614732" y="1545974"/>
                </a:lnTo>
                <a:lnTo>
                  <a:pt x="4615640" y="1545065"/>
                </a:lnTo>
                <a:lnTo>
                  <a:pt x="4619936" y="1549361"/>
                </a:lnTo>
                <a:lnTo>
                  <a:pt x="4620595" y="1548700"/>
                </a:lnTo>
                <a:lnTo>
                  <a:pt x="4624559" y="1552665"/>
                </a:lnTo>
                <a:lnTo>
                  <a:pt x="4625220" y="1552002"/>
                </a:lnTo>
                <a:lnTo>
                  <a:pt x="4628936" y="1555720"/>
                </a:lnTo>
                <a:lnTo>
                  <a:pt x="4629515" y="1555141"/>
                </a:lnTo>
                <a:lnTo>
                  <a:pt x="4633397" y="1559024"/>
                </a:lnTo>
                <a:lnTo>
                  <a:pt x="4634141" y="1558280"/>
                </a:lnTo>
                <a:lnTo>
                  <a:pt x="4637940" y="1562080"/>
                </a:lnTo>
                <a:lnTo>
                  <a:pt x="4638930" y="1561088"/>
                </a:lnTo>
                <a:lnTo>
                  <a:pt x="4642813" y="1564970"/>
                </a:lnTo>
                <a:lnTo>
                  <a:pt x="4644051" y="1563731"/>
                </a:lnTo>
                <a:lnTo>
                  <a:pt x="4648181" y="1567860"/>
                </a:lnTo>
                <a:lnTo>
                  <a:pt x="4649831" y="1566209"/>
                </a:lnTo>
                <a:lnTo>
                  <a:pt x="4654375" y="1570752"/>
                </a:lnTo>
                <a:lnTo>
                  <a:pt x="4656439" y="1568687"/>
                </a:lnTo>
                <a:lnTo>
                  <a:pt x="4661312" y="1573560"/>
                </a:lnTo>
                <a:lnTo>
                  <a:pt x="4664038" y="1570834"/>
                </a:lnTo>
                <a:lnTo>
                  <a:pt x="4669322" y="1576120"/>
                </a:lnTo>
                <a:lnTo>
                  <a:pt x="4672461" y="1572981"/>
                </a:lnTo>
                <a:lnTo>
                  <a:pt x="4678243" y="1578762"/>
                </a:lnTo>
                <a:lnTo>
                  <a:pt x="4682207" y="1574798"/>
                </a:lnTo>
                <a:lnTo>
                  <a:pt x="4688568" y="1581159"/>
                </a:lnTo>
                <a:lnTo>
                  <a:pt x="4693110" y="1576616"/>
                </a:lnTo>
                <a:lnTo>
                  <a:pt x="4701205" y="1584709"/>
                </a:lnTo>
                <a:lnTo>
                  <a:pt x="4705334" y="1580580"/>
                </a:lnTo>
                <a:cubicBezTo>
                  <a:pt x="4709959" y="1580580"/>
                  <a:pt x="4713759" y="1584379"/>
                  <a:pt x="4713759" y="1589005"/>
                </a:cubicBezTo>
                <a:cubicBezTo>
                  <a:pt x="4713759" y="1593630"/>
                  <a:pt x="4709959" y="1597429"/>
                  <a:pt x="4705334" y="1597429"/>
                </a:cubicBezTo>
                <a:lnTo>
                  <a:pt x="4699552" y="1591647"/>
                </a:lnTo>
                <a:lnTo>
                  <a:pt x="4693110" y="1598090"/>
                </a:lnTo>
                <a:lnTo>
                  <a:pt x="4686751" y="1591729"/>
                </a:lnTo>
                <a:lnTo>
                  <a:pt x="4682207" y="1596273"/>
                </a:lnTo>
                <a:lnTo>
                  <a:pt x="4676425" y="1590491"/>
                </a:lnTo>
                <a:lnTo>
                  <a:pt x="4672461" y="1594455"/>
                </a:lnTo>
                <a:lnTo>
                  <a:pt x="4667177" y="1589169"/>
                </a:lnTo>
                <a:lnTo>
                  <a:pt x="4664038" y="1592308"/>
                </a:lnTo>
                <a:lnTo>
                  <a:pt x="4659165" y="1587435"/>
                </a:lnTo>
                <a:lnTo>
                  <a:pt x="4656439" y="1590161"/>
                </a:lnTo>
                <a:lnTo>
                  <a:pt x="4651897" y="1585619"/>
                </a:lnTo>
                <a:lnTo>
                  <a:pt x="4649831" y="1587683"/>
                </a:lnTo>
                <a:lnTo>
                  <a:pt x="4645702" y="1583554"/>
                </a:lnTo>
                <a:lnTo>
                  <a:pt x="4644051" y="1585203"/>
                </a:lnTo>
                <a:lnTo>
                  <a:pt x="4640170" y="1581322"/>
                </a:lnTo>
                <a:lnTo>
                  <a:pt x="4638930" y="1582562"/>
                </a:lnTo>
                <a:lnTo>
                  <a:pt x="4635133" y="1578764"/>
                </a:lnTo>
                <a:lnTo>
                  <a:pt x="4634141" y="1579754"/>
                </a:lnTo>
                <a:lnTo>
                  <a:pt x="4630259" y="1575873"/>
                </a:lnTo>
                <a:lnTo>
                  <a:pt x="4629515" y="1576616"/>
                </a:lnTo>
                <a:lnTo>
                  <a:pt x="4625799" y="1572899"/>
                </a:lnTo>
                <a:lnTo>
                  <a:pt x="4625220" y="1573477"/>
                </a:lnTo>
                <a:lnTo>
                  <a:pt x="4621257" y="1569514"/>
                </a:lnTo>
                <a:lnTo>
                  <a:pt x="4620595" y="1570175"/>
                </a:lnTo>
                <a:lnTo>
                  <a:pt x="4616301" y="1565881"/>
                </a:lnTo>
                <a:lnTo>
                  <a:pt x="4615640" y="1566540"/>
                </a:lnTo>
                <a:lnTo>
                  <a:pt x="4610932" y="1561832"/>
                </a:lnTo>
                <a:lnTo>
                  <a:pt x="4610023" y="1562740"/>
                </a:lnTo>
                <a:lnTo>
                  <a:pt x="4604821" y="1557536"/>
                </a:lnTo>
                <a:lnTo>
                  <a:pt x="4603581" y="1558776"/>
                </a:lnTo>
                <a:lnTo>
                  <a:pt x="4597717" y="1552913"/>
                </a:lnTo>
                <a:lnTo>
                  <a:pt x="4595983" y="1554647"/>
                </a:lnTo>
                <a:lnTo>
                  <a:pt x="4589128" y="1547792"/>
                </a:lnTo>
                <a:lnTo>
                  <a:pt x="4586733" y="1550187"/>
                </a:lnTo>
                <a:lnTo>
                  <a:pt x="4578969" y="1542423"/>
                </a:lnTo>
                <a:lnTo>
                  <a:pt x="4575830" y="1545561"/>
                </a:lnTo>
                <a:lnTo>
                  <a:pt x="4566830" y="1536559"/>
                </a:lnTo>
                <a:lnTo>
                  <a:pt x="4562782" y="1540607"/>
                </a:lnTo>
                <a:lnTo>
                  <a:pt x="4552459" y="1530282"/>
                </a:lnTo>
                <a:lnTo>
                  <a:pt x="4547254" y="1535486"/>
                </a:lnTo>
                <a:cubicBezTo>
                  <a:pt x="4541308" y="1535486"/>
                  <a:pt x="4536518" y="1530694"/>
                  <a:pt x="4536518" y="1524748"/>
                </a:cubicBezTo>
                <a:cubicBezTo>
                  <a:pt x="4536518" y="1518801"/>
                  <a:pt x="4541308" y="1514011"/>
                  <a:pt x="4547254" y="1514011"/>
                </a:cubicBezTo>
                <a:close/>
                <a:moveTo>
                  <a:pt x="4528919" y="1508726"/>
                </a:moveTo>
                <a:cubicBezTo>
                  <a:pt x="4534865" y="1508726"/>
                  <a:pt x="4539655" y="1513515"/>
                  <a:pt x="4539655" y="1519462"/>
                </a:cubicBezTo>
                <a:cubicBezTo>
                  <a:pt x="4539655" y="1525408"/>
                  <a:pt x="4534865" y="1530200"/>
                  <a:pt x="4528919" y="1530200"/>
                </a:cubicBezTo>
                <a:cubicBezTo>
                  <a:pt x="4522972" y="1530200"/>
                  <a:pt x="4518182" y="1525408"/>
                  <a:pt x="4518182" y="1519462"/>
                </a:cubicBezTo>
                <a:cubicBezTo>
                  <a:pt x="4518182" y="1513515"/>
                  <a:pt x="4522972" y="1508726"/>
                  <a:pt x="4528919" y="1508726"/>
                </a:cubicBezTo>
                <a:close/>
                <a:moveTo>
                  <a:pt x="4507115" y="1502944"/>
                </a:moveTo>
                <a:cubicBezTo>
                  <a:pt x="4513061" y="1502944"/>
                  <a:pt x="4517851" y="1507734"/>
                  <a:pt x="4517851" y="1513680"/>
                </a:cubicBezTo>
                <a:cubicBezTo>
                  <a:pt x="4517851" y="1519627"/>
                  <a:pt x="4513061" y="1524418"/>
                  <a:pt x="4507115" y="1524418"/>
                </a:cubicBezTo>
                <a:cubicBezTo>
                  <a:pt x="4501168" y="1524418"/>
                  <a:pt x="4496379" y="1519627"/>
                  <a:pt x="4496379" y="1513680"/>
                </a:cubicBezTo>
                <a:cubicBezTo>
                  <a:pt x="4496379" y="1507734"/>
                  <a:pt x="4501168" y="1502944"/>
                  <a:pt x="4507115" y="1502944"/>
                </a:cubicBezTo>
                <a:close/>
                <a:moveTo>
                  <a:pt x="4481843" y="1497164"/>
                </a:moveTo>
                <a:cubicBezTo>
                  <a:pt x="4487789" y="1497164"/>
                  <a:pt x="4492579" y="1501954"/>
                  <a:pt x="4492579" y="1507900"/>
                </a:cubicBezTo>
                <a:cubicBezTo>
                  <a:pt x="4492579" y="1513847"/>
                  <a:pt x="4487789" y="1518636"/>
                  <a:pt x="4481843" y="1518636"/>
                </a:cubicBezTo>
                <a:cubicBezTo>
                  <a:pt x="4475896" y="1518636"/>
                  <a:pt x="4471106" y="1513847"/>
                  <a:pt x="4471106" y="1507900"/>
                </a:cubicBezTo>
                <a:cubicBezTo>
                  <a:pt x="4471106" y="1501954"/>
                  <a:pt x="4475896" y="1497164"/>
                  <a:pt x="4481843" y="1497164"/>
                </a:cubicBezTo>
                <a:close/>
                <a:moveTo>
                  <a:pt x="4452275" y="1490886"/>
                </a:moveTo>
                <a:cubicBezTo>
                  <a:pt x="4458221" y="1490886"/>
                  <a:pt x="4463011" y="1495676"/>
                  <a:pt x="4463011" y="1501622"/>
                </a:cubicBezTo>
                <a:cubicBezTo>
                  <a:pt x="4463011" y="1507569"/>
                  <a:pt x="4458221" y="1512360"/>
                  <a:pt x="4452275" y="1512360"/>
                </a:cubicBezTo>
                <a:cubicBezTo>
                  <a:pt x="4446328" y="1512360"/>
                  <a:pt x="4441538" y="1507569"/>
                  <a:pt x="4441538" y="1501622"/>
                </a:cubicBezTo>
                <a:cubicBezTo>
                  <a:pt x="4441538" y="1495676"/>
                  <a:pt x="4446328" y="1490886"/>
                  <a:pt x="4452275" y="1490886"/>
                </a:cubicBezTo>
                <a:close/>
                <a:moveTo>
                  <a:pt x="4418248" y="1484443"/>
                </a:moveTo>
                <a:cubicBezTo>
                  <a:pt x="4424195" y="1484443"/>
                  <a:pt x="4428985" y="1489233"/>
                  <a:pt x="4428985" y="1495180"/>
                </a:cubicBezTo>
                <a:cubicBezTo>
                  <a:pt x="4428985" y="1501126"/>
                  <a:pt x="4424195" y="1505918"/>
                  <a:pt x="4418248" y="1505918"/>
                </a:cubicBezTo>
                <a:cubicBezTo>
                  <a:pt x="4412302" y="1505918"/>
                  <a:pt x="4407512" y="1501126"/>
                  <a:pt x="4407512" y="1495180"/>
                </a:cubicBezTo>
                <a:cubicBezTo>
                  <a:pt x="4407512" y="1489233"/>
                  <a:pt x="4412302" y="1484443"/>
                  <a:pt x="4418248" y="1484443"/>
                </a:cubicBezTo>
                <a:close/>
                <a:moveTo>
                  <a:pt x="4379101" y="1477671"/>
                </a:moveTo>
                <a:cubicBezTo>
                  <a:pt x="4385047" y="1477671"/>
                  <a:pt x="4389837" y="1482461"/>
                  <a:pt x="4389837" y="1488408"/>
                </a:cubicBezTo>
                <a:cubicBezTo>
                  <a:pt x="4389837" y="1494354"/>
                  <a:pt x="4385047" y="1499146"/>
                  <a:pt x="4379101" y="1499146"/>
                </a:cubicBezTo>
                <a:cubicBezTo>
                  <a:pt x="4373154" y="1499146"/>
                  <a:pt x="4368364" y="1494354"/>
                  <a:pt x="4368364" y="1488408"/>
                </a:cubicBezTo>
                <a:cubicBezTo>
                  <a:pt x="4368364" y="1482461"/>
                  <a:pt x="4373154" y="1477671"/>
                  <a:pt x="4379101" y="1477671"/>
                </a:cubicBezTo>
                <a:close/>
                <a:moveTo>
                  <a:pt x="4334336" y="1470568"/>
                </a:moveTo>
                <a:cubicBezTo>
                  <a:pt x="4340283" y="1470568"/>
                  <a:pt x="4345072" y="1475358"/>
                  <a:pt x="4345072" y="1481305"/>
                </a:cubicBezTo>
                <a:cubicBezTo>
                  <a:pt x="4345072" y="1487251"/>
                  <a:pt x="4340283" y="1492041"/>
                  <a:pt x="4334336" y="1492041"/>
                </a:cubicBezTo>
                <a:cubicBezTo>
                  <a:pt x="4328390" y="1492041"/>
                  <a:pt x="4323600" y="1487251"/>
                  <a:pt x="4323600" y="1481305"/>
                </a:cubicBezTo>
                <a:cubicBezTo>
                  <a:pt x="4323600" y="1475358"/>
                  <a:pt x="4328390" y="1470568"/>
                  <a:pt x="4334336" y="1470568"/>
                </a:cubicBezTo>
                <a:close/>
                <a:moveTo>
                  <a:pt x="4283460" y="1463300"/>
                </a:moveTo>
                <a:cubicBezTo>
                  <a:pt x="4289407" y="1463300"/>
                  <a:pt x="4294197" y="1468090"/>
                  <a:pt x="4294197" y="1474037"/>
                </a:cubicBezTo>
                <a:cubicBezTo>
                  <a:pt x="4294197" y="1479983"/>
                  <a:pt x="4289407" y="1484775"/>
                  <a:pt x="4283460" y="1484775"/>
                </a:cubicBezTo>
                <a:cubicBezTo>
                  <a:pt x="4277514" y="1484775"/>
                  <a:pt x="4272724" y="1479983"/>
                  <a:pt x="4272724" y="1474037"/>
                </a:cubicBezTo>
                <a:cubicBezTo>
                  <a:pt x="4272724" y="1468090"/>
                  <a:pt x="4277514" y="1463300"/>
                  <a:pt x="4283460" y="1463300"/>
                </a:cubicBezTo>
                <a:close/>
                <a:moveTo>
                  <a:pt x="4225812" y="1455372"/>
                </a:moveTo>
                <a:cubicBezTo>
                  <a:pt x="4231743" y="1455372"/>
                  <a:pt x="4236549" y="1460179"/>
                  <a:pt x="4236549" y="1466108"/>
                </a:cubicBezTo>
                <a:cubicBezTo>
                  <a:pt x="4236549" y="1472039"/>
                  <a:pt x="4231743" y="1476844"/>
                  <a:pt x="4225812" y="1476844"/>
                </a:cubicBezTo>
                <a:cubicBezTo>
                  <a:pt x="4219883" y="1476844"/>
                  <a:pt x="4215076" y="1472039"/>
                  <a:pt x="4215076" y="1466108"/>
                </a:cubicBezTo>
                <a:cubicBezTo>
                  <a:pt x="4215076" y="1460179"/>
                  <a:pt x="4219883" y="1455372"/>
                  <a:pt x="4225812" y="1455372"/>
                </a:cubicBezTo>
                <a:close/>
                <a:moveTo>
                  <a:pt x="4161060" y="1447443"/>
                </a:moveTo>
                <a:cubicBezTo>
                  <a:pt x="4167006" y="1447443"/>
                  <a:pt x="4171798" y="1452233"/>
                  <a:pt x="4171798" y="1458179"/>
                </a:cubicBezTo>
                <a:cubicBezTo>
                  <a:pt x="4171798" y="1464126"/>
                  <a:pt x="4167006" y="1468917"/>
                  <a:pt x="4161060" y="1468917"/>
                </a:cubicBezTo>
                <a:cubicBezTo>
                  <a:pt x="4155113" y="1468917"/>
                  <a:pt x="4150323" y="1464126"/>
                  <a:pt x="4150323" y="1458179"/>
                </a:cubicBezTo>
                <a:cubicBezTo>
                  <a:pt x="4150323" y="1452233"/>
                  <a:pt x="4155113" y="1447443"/>
                  <a:pt x="4161060" y="1447443"/>
                </a:cubicBezTo>
                <a:close/>
                <a:moveTo>
                  <a:pt x="4088382" y="1439185"/>
                </a:moveTo>
                <a:cubicBezTo>
                  <a:pt x="4094328" y="1439185"/>
                  <a:pt x="4099118" y="1443975"/>
                  <a:pt x="4099118" y="1449921"/>
                </a:cubicBezTo>
                <a:cubicBezTo>
                  <a:pt x="4099118" y="1455868"/>
                  <a:pt x="4094328" y="1460659"/>
                  <a:pt x="4088382" y="1460659"/>
                </a:cubicBezTo>
                <a:cubicBezTo>
                  <a:pt x="4082435" y="1460659"/>
                  <a:pt x="4077645" y="1455868"/>
                  <a:pt x="4077645" y="1449921"/>
                </a:cubicBezTo>
                <a:cubicBezTo>
                  <a:pt x="4077645" y="1443975"/>
                  <a:pt x="4082435" y="1439185"/>
                  <a:pt x="4088382" y="1439185"/>
                </a:cubicBezTo>
                <a:close/>
                <a:moveTo>
                  <a:pt x="4007277" y="1430429"/>
                </a:moveTo>
                <a:cubicBezTo>
                  <a:pt x="4013224" y="1430429"/>
                  <a:pt x="4018015" y="1435219"/>
                  <a:pt x="4018015" y="1441165"/>
                </a:cubicBezTo>
                <a:cubicBezTo>
                  <a:pt x="4018015" y="1447112"/>
                  <a:pt x="4013224" y="1451903"/>
                  <a:pt x="4007277" y="1451903"/>
                </a:cubicBezTo>
                <a:cubicBezTo>
                  <a:pt x="4001331" y="1451903"/>
                  <a:pt x="3996541" y="1447112"/>
                  <a:pt x="3996541" y="1441165"/>
                </a:cubicBezTo>
                <a:cubicBezTo>
                  <a:pt x="3996541" y="1435219"/>
                  <a:pt x="4001331" y="1430429"/>
                  <a:pt x="4007277" y="1430429"/>
                </a:cubicBezTo>
                <a:close/>
                <a:moveTo>
                  <a:pt x="3916922" y="1421345"/>
                </a:moveTo>
                <a:cubicBezTo>
                  <a:pt x="3922869" y="1421345"/>
                  <a:pt x="3927661" y="1426135"/>
                  <a:pt x="3927661" y="1432081"/>
                </a:cubicBezTo>
                <a:cubicBezTo>
                  <a:pt x="3927661" y="1438028"/>
                  <a:pt x="3922869" y="1442820"/>
                  <a:pt x="3916922" y="1442820"/>
                </a:cubicBezTo>
                <a:cubicBezTo>
                  <a:pt x="3910976" y="1442820"/>
                  <a:pt x="3906186" y="1438028"/>
                  <a:pt x="3906186" y="1432081"/>
                </a:cubicBezTo>
                <a:cubicBezTo>
                  <a:pt x="3906186" y="1426135"/>
                  <a:pt x="3910976" y="1421345"/>
                  <a:pt x="3916922" y="1421345"/>
                </a:cubicBezTo>
                <a:close/>
                <a:moveTo>
                  <a:pt x="4563112" y="1418041"/>
                </a:moveTo>
                <a:lnTo>
                  <a:pt x="4573271" y="1428200"/>
                </a:lnTo>
                <a:lnTo>
                  <a:pt x="4575336" y="1426135"/>
                </a:lnTo>
                <a:lnTo>
                  <a:pt x="4584255" y="1435054"/>
                </a:lnTo>
                <a:lnTo>
                  <a:pt x="4585576" y="1433732"/>
                </a:lnTo>
                <a:lnTo>
                  <a:pt x="4593587" y="1441744"/>
                </a:lnTo>
                <a:lnTo>
                  <a:pt x="4594331" y="1441000"/>
                </a:lnTo>
                <a:lnTo>
                  <a:pt x="4601434" y="1448104"/>
                </a:lnTo>
                <a:lnTo>
                  <a:pt x="4601599" y="1447939"/>
                </a:lnTo>
                <a:cubicBezTo>
                  <a:pt x="4607545" y="1447939"/>
                  <a:pt x="4612335" y="1452729"/>
                  <a:pt x="4612335" y="1458675"/>
                </a:cubicBezTo>
                <a:lnTo>
                  <a:pt x="4612252" y="1458758"/>
                </a:lnTo>
                <a:lnTo>
                  <a:pt x="4618613" y="1465118"/>
                </a:lnTo>
                <a:lnTo>
                  <a:pt x="4618200" y="1465530"/>
                </a:lnTo>
                <a:lnTo>
                  <a:pt x="4624063" y="1471394"/>
                </a:lnTo>
                <a:lnTo>
                  <a:pt x="4623650" y="1471808"/>
                </a:lnTo>
                <a:lnTo>
                  <a:pt x="4629020" y="1477176"/>
                </a:lnTo>
                <a:lnTo>
                  <a:pt x="4628607" y="1477588"/>
                </a:lnTo>
                <a:lnTo>
                  <a:pt x="4633811" y="1482793"/>
                </a:lnTo>
                <a:lnTo>
                  <a:pt x="4633482" y="1483122"/>
                </a:lnTo>
                <a:lnTo>
                  <a:pt x="4637527" y="1487168"/>
                </a:lnTo>
                <a:lnTo>
                  <a:pt x="4637774" y="1486922"/>
                </a:lnTo>
                <a:lnTo>
                  <a:pt x="4642812" y="1491961"/>
                </a:lnTo>
                <a:lnTo>
                  <a:pt x="4643555" y="1491217"/>
                </a:lnTo>
                <a:lnTo>
                  <a:pt x="4648758" y="1496420"/>
                </a:lnTo>
                <a:lnTo>
                  <a:pt x="4649831" y="1495346"/>
                </a:lnTo>
                <a:lnTo>
                  <a:pt x="4655449" y="1500962"/>
                </a:lnTo>
                <a:lnTo>
                  <a:pt x="4657099" y="1499311"/>
                </a:lnTo>
                <a:lnTo>
                  <a:pt x="4663046" y="1505257"/>
                </a:lnTo>
                <a:lnTo>
                  <a:pt x="4665359" y="1502944"/>
                </a:lnTo>
                <a:lnTo>
                  <a:pt x="4671637" y="1509220"/>
                </a:lnTo>
                <a:lnTo>
                  <a:pt x="4674610" y="1506247"/>
                </a:lnTo>
                <a:lnTo>
                  <a:pt x="4681465" y="1513101"/>
                </a:lnTo>
                <a:lnTo>
                  <a:pt x="4685015" y="1509551"/>
                </a:lnTo>
                <a:lnTo>
                  <a:pt x="4692366" y="1516902"/>
                </a:lnTo>
                <a:lnTo>
                  <a:pt x="4696743" y="1512525"/>
                </a:lnTo>
                <a:cubicBezTo>
                  <a:pt x="4702690" y="1512525"/>
                  <a:pt x="4707481" y="1517315"/>
                  <a:pt x="4707481" y="1523262"/>
                </a:cubicBezTo>
                <a:cubicBezTo>
                  <a:pt x="4707481" y="1529208"/>
                  <a:pt x="4702690" y="1534000"/>
                  <a:pt x="4696743" y="1534000"/>
                </a:cubicBezTo>
                <a:lnTo>
                  <a:pt x="4689392" y="1526648"/>
                </a:lnTo>
                <a:lnTo>
                  <a:pt x="4685015" y="1531024"/>
                </a:lnTo>
                <a:lnTo>
                  <a:pt x="4678161" y="1524170"/>
                </a:lnTo>
                <a:lnTo>
                  <a:pt x="4674610" y="1527722"/>
                </a:lnTo>
                <a:lnTo>
                  <a:pt x="4668334" y="1521444"/>
                </a:lnTo>
                <a:lnTo>
                  <a:pt x="4665359" y="1524418"/>
                </a:lnTo>
                <a:lnTo>
                  <a:pt x="4659413" y="1518472"/>
                </a:lnTo>
                <a:lnTo>
                  <a:pt x="4657099" y="1520785"/>
                </a:lnTo>
                <a:lnTo>
                  <a:pt x="4651482" y="1515168"/>
                </a:lnTo>
                <a:lnTo>
                  <a:pt x="4649831" y="1516819"/>
                </a:lnTo>
                <a:lnTo>
                  <a:pt x="4644629" y="1511616"/>
                </a:lnTo>
                <a:lnTo>
                  <a:pt x="4643555" y="1512690"/>
                </a:lnTo>
                <a:lnTo>
                  <a:pt x="4638518" y="1507652"/>
                </a:lnTo>
                <a:lnTo>
                  <a:pt x="4637774" y="1508396"/>
                </a:lnTo>
                <a:lnTo>
                  <a:pt x="4632901" y="1503523"/>
                </a:lnTo>
                <a:lnTo>
                  <a:pt x="4632653" y="1503771"/>
                </a:lnTo>
                <a:cubicBezTo>
                  <a:pt x="4626706" y="1503771"/>
                  <a:pt x="4621916" y="1498979"/>
                  <a:pt x="4621916" y="1493033"/>
                </a:cubicBezTo>
                <a:lnTo>
                  <a:pt x="4616962" y="1488077"/>
                </a:lnTo>
                <a:lnTo>
                  <a:pt x="4617291" y="1487747"/>
                </a:lnTo>
                <a:lnTo>
                  <a:pt x="4612337" y="1482793"/>
                </a:lnTo>
                <a:lnTo>
                  <a:pt x="4612749" y="1482380"/>
                </a:lnTo>
                <a:lnTo>
                  <a:pt x="4607545" y="1477176"/>
                </a:lnTo>
                <a:lnTo>
                  <a:pt x="4607958" y="1476763"/>
                </a:lnTo>
                <a:lnTo>
                  <a:pt x="4602591" y="1471394"/>
                </a:lnTo>
                <a:lnTo>
                  <a:pt x="4603003" y="1470983"/>
                </a:lnTo>
                <a:lnTo>
                  <a:pt x="4597140" y="1465118"/>
                </a:lnTo>
                <a:lnTo>
                  <a:pt x="4597221" y="1465036"/>
                </a:lnTo>
                <a:lnTo>
                  <a:pt x="4594495" y="1462310"/>
                </a:lnTo>
                <a:lnTo>
                  <a:pt x="4594331" y="1462475"/>
                </a:lnTo>
                <a:lnTo>
                  <a:pt x="4586320" y="1454463"/>
                </a:lnTo>
                <a:lnTo>
                  <a:pt x="4585576" y="1455207"/>
                </a:lnTo>
                <a:lnTo>
                  <a:pt x="4576657" y="1446288"/>
                </a:lnTo>
                <a:lnTo>
                  <a:pt x="4575336" y="1447609"/>
                </a:lnTo>
                <a:lnTo>
                  <a:pt x="4565177" y="1437450"/>
                </a:lnTo>
                <a:lnTo>
                  <a:pt x="4563112" y="1439516"/>
                </a:lnTo>
                <a:cubicBezTo>
                  <a:pt x="4557165" y="1439516"/>
                  <a:pt x="4552375" y="1434724"/>
                  <a:pt x="4552375" y="1428778"/>
                </a:cubicBezTo>
                <a:cubicBezTo>
                  <a:pt x="4552375" y="1422831"/>
                  <a:pt x="4557165" y="1418041"/>
                  <a:pt x="4563112" y="1418041"/>
                </a:cubicBezTo>
                <a:close/>
                <a:moveTo>
                  <a:pt x="3816657" y="1411930"/>
                </a:moveTo>
                <a:cubicBezTo>
                  <a:pt x="3822604" y="1411930"/>
                  <a:pt x="3827395" y="1416720"/>
                  <a:pt x="3827395" y="1422667"/>
                </a:cubicBezTo>
                <a:cubicBezTo>
                  <a:pt x="3827395" y="1428613"/>
                  <a:pt x="3822604" y="1433405"/>
                  <a:pt x="3816657" y="1433405"/>
                </a:cubicBezTo>
                <a:cubicBezTo>
                  <a:pt x="3810710" y="1433405"/>
                  <a:pt x="3805921" y="1428613"/>
                  <a:pt x="3805921" y="1422667"/>
                </a:cubicBezTo>
                <a:cubicBezTo>
                  <a:pt x="3805921" y="1416720"/>
                  <a:pt x="3810710" y="1411930"/>
                  <a:pt x="3816657" y="1411930"/>
                </a:cubicBezTo>
                <a:close/>
                <a:moveTo>
                  <a:pt x="4548411" y="1409617"/>
                </a:moveTo>
                <a:cubicBezTo>
                  <a:pt x="4554358" y="1409617"/>
                  <a:pt x="4559147" y="1414407"/>
                  <a:pt x="4559147" y="1420353"/>
                </a:cubicBezTo>
                <a:cubicBezTo>
                  <a:pt x="4559147" y="1426300"/>
                  <a:pt x="4554358" y="1431091"/>
                  <a:pt x="4548411" y="1431091"/>
                </a:cubicBezTo>
                <a:cubicBezTo>
                  <a:pt x="4542465" y="1431091"/>
                  <a:pt x="4537675" y="1426300"/>
                  <a:pt x="4537675" y="1420353"/>
                </a:cubicBezTo>
                <a:cubicBezTo>
                  <a:pt x="4537675" y="1414407"/>
                  <a:pt x="4542465" y="1409617"/>
                  <a:pt x="4548411" y="1409617"/>
                </a:cubicBezTo>
                <a:close/>
                <a:moveTo>
                  <a:pt x="3705986" y="1402184"/>
                </a:moveTo>
                <a:cubicBezTo>
                  <a:pt x="3711933" y="1402184"/>
                  <a:pt x="3716723" y="1406974"/>
                  <a:pt x="3716723" y="1412920"/>
                </a:cubicBezTo>
                <a:cubicBezTo>
                  <a:pt x="3716723" y="1418867"/>
                  <a:pt x="3711933" y="1423657"/>
                  <a:pt x="3705986" y="1423657"/>
                </a:cubicBezTo>
                <a:cubicBezTo>
                  <a:pt x="3700040" y="1423657"/>
                  <a:pt x="3695250" y="1418867"/>
                  <a:pt x="3695250" y="1412920"/>
                </a:cubicBezTo>
                <a:cubicBezTo>
                  <a:pt x="3695250" y="1406974"/>
                  <a:pt x="3700040" y="1402184"/>
                  <a:pt x="3705986" y="1402184"/>
                </a:cubicBezTo>
                <a:close/>
                <a:moveTo>
                  <a:pt x="4531232" y="1400696"/>
                </a:moveTo>
                <a:cubicBezTo>
                  <a:pt x="4537179" y="1400696"/>
                  <a:pt x="4541969" y="1405486"/>
                  <a:pt x="4541969" y="1411432"/>
                </a:cubicBezTo>
                <a:cubicBezTo>
                  <a:pt x="4541969" y="1417379"/>
                  <a:pt x="4537179" y="1422171"/>
                  <a:pt x="4531232" y="1422171"/>
                </a:cubicBezTo>
                <a:cubicBezTo>
                  <a:pt x="4525286" y="1422171"/>
                  <a:pt x="4520496" y="1417379"/>
                  <a:pt x="4520496" y="1411432"/>
                </a:cubicBezTo>
                <a:cubicBezTo>
                  <a:pt x="4520496" y="1405486"/>
                  <a:pt x="4525286" y="1400696"/>
                  <a:pt x="4531232" y="1400696"/>
                </a:cubicBezTo>
                <a:close/>
                <a:moveTo>
                  <a:pt x="4702360" y="1398220"/>
                </a:moveTo>
                <a:cubicBezTo>
                  <a:pt x="4702525" y="1398220"/>
                  <a:pt x="4702854" y="1398551"/>
                  <a:pt x="4702854" y="1398716"/>
                </a:cubicBezTo>
                <a:cubicBezTo>
                  <a:pt x="4702854" y="1398880"/>
                  <a:pt x="4702360" y="1399210"/>
                  <a:pt x="4702360" y="1399210"/>
                </a:cubicBezTo>
                <a:cubicBezTo>
                  <a:pt x="4702194" y="1399210"/>
                  <a:pt x="4701864" y="1398880"/>
                  <a:pt x="4701864" y="1398716"/>
                </a:cubicBezTo>
                <a:cubicBezTo>
                  <a:pt x="4701864" y="1398551"/>
                  <a:pt x="4702194" y="1398220"/>
                  <a:pt x="4702360" y="1398220"/>
                </a:cubicBezTo>
                <a:close/>
                <a:moveTo>
                  <a:pt x="3584082" y="1392108"/>
                </a:moveTo>
                <a:cubicBezTo>
                  <a:pt x="3590028" y="1392108"/>
                  <a:pt x="3594818" y="1396898"/>
                  <a:pt x="3594818" y="1402845"/>
                </a:cubicBezTo>
                <a:cubicBezTo>
                  <a:pt x="3594818" y="1408791"/>
                  <a:pt x="3590028" y="1413581"/>
                  <a:pt x="3584082" y="1413581"/>
                </a:cubicBezTo>
                <a:cubicBezTo>
                  <a:pt x="3578135" y="1413581"/>
                  <a:pt x="3573345" y="1408791"/>
                  <a:pt x="3573345" y="1402845"/>
                </a:cubicBezTo>
                <a:cubicBezTo>
                  <a:pt x="3573345" y="1396898"/>
                  <a:pt x="3578135" y="1392108"/>
                  <a:pt x="3584082" y="1392108"/>
                </a:cubicBezTo>
                <a:close/>
                <a:moveTo>
                  <a:pt x="4510914" y="1391446"/>
                </a:moveTo>
                <a:cubicBezTo>
                  <a:pt x="4516861" y="1391446"/>
                  <a:pt x="4521653" y="1396236"/>
                  <a:pt x="4521653" y="1402182"/>
                </a:cubicBezTo>
                <a:cubicBezTo>
                  <a:pt x="4521653" y="1408129"/>
                  <a:pt x="4516861" y="1412920"/>
                  <a:pt x="4510914" y="1412920"/>
                </a:cubicBezTo>
                <a:cubicBezTo>
                  <a:pt x="4504968" y="1412920"/>
                  <a:pt x="4500178" y="1408129"/>
                  <a:pt x="4500178" y="1402182"/>
                </a:cubicBezTo>
                <a:cubicBezTo>
                  <a:pt x="4500178" y="1396236"/>
                  <a:pt x="4504968" y="1391446"/>
                  <a:pt x="4510914" y="1391446"/>
                </a:cubicBezTo>
                <a:close/>
                <a:moveTo>
                  <a:pt x="46724" y="1386491"/>
                </a:moveTo>
                <a:cubicBezTo>
                  <a:pt x="52670" y="1386491"/>
                  <a:pt x="57462" y="1391281"/>
                  <a:pt x="57462" y="1397228"/>
                </a:cubicBezTo>
                <a:cubicBezTo>
                  <a:pt x="57462" y="1403174"/>
                  <a:pt x="52670" y="1407966"/>
                  <a:pt x="46724" y="1407966"/>
                </a:cubicBezTo>
                <a:cubicBezTo>
                  <a:pt x="40777" y="1407966"/>
                  <a:pt x="35987" y="1403174"/>
                  <a:pt x="35987" y="1397228"/>
                </a:cubicBezTo>
                <a:cubicBezTo>
                  <a:pt x="35987" y="1391281"/>
                  <a:pt x="40777" y="1386491"/>
                  <a:pt x="46724" y="1386491"/>
                </a:cubicBezTo>
                <a:close/>
                <a:moveTo>
                  <a:pt x="4487128" y="1381702"/>
                </a:moveTo>
                <a:cubicBezTo>
                  <a:pt x="4493075" y="1381702"/>
                  <a:pt x="4497865" y="1386491"/>
                  <a:pt x="4497865" y="1392438"/>
                </a:cubicBezTo>
                <a:cubicBezTo>
                  <a:pt x="4497865" y="1398384"/>
                  <a:pt x="4493075" y="1403176"/>
                  <a:pt x="4487128" y="1403176"/>
                </a:cubicBezTo>
                <a:cubicBezTo>
                  <a:pt x="4481182" y="1403176"/>
                  <a:pt x="4476392" y="1398384"/>
                  <a:pt x="4476392" y="1392438"/>
                </a:cubicBezTo>
                <a:cubicBezTo>
                  <a:pt x="4476392" y="1386491"/>
                  <a:pt x="4481182" y="1381702"/>
                  <a:pt x="4487128" y="1381702"/>
                </a:cubicBezTo>
                <a:close/>
                <a:moveTo>
                  <a:pt x="3449955" y="1381537"/>
                </a:moveTo>
                <a:cubicBezTo>
                  <a:pt x="3455901" y="1381537"/>
                  <a:pt x="3460691" y="1386327"/>
                  <a:pt x="3460691" y="1392273"/>
                </a:cubicBezTo>
                <a:cubicBezTo>
                  <a:pt x="3460691" y="1398220"/>
                  <a:pt x="3455901" y="1403010"/>
                  <a:pt x="3449955" y="1403010"/>
                </a:cubicBezTo>
                <a:cubicBezTo>
                  <a:pt x="3444008" y="1403010"/>
                  <a:pt x="3439218" y="1398220"/>
                  <a:pt x="3439218" y="1392273"/>
                </a:cubicBezTo>
                <a:cubicBezTo>
                  <a:pt x="3439218" y="1386327"/>
                  <a:pt x="3444008" y="1381537"/>
                  <a:pt x="3449955" y="1381537"/>
                </a:cubicBezTo>
                <a:close/>
                <a:moveTo>
                  <a:pt x="187458" y="1375755"/>
                </a:moveTo>
                <a:cubicBezTo>
                  <a:pt x="193405" y="1375755"/>
                  <a:pt x="198196" y="1380545"/>
                  <a:pt x="198196" y="1386491"/>
                </a:cubicBezTo>
                <a:cubicBezTo>
                  <a:pt x="198196" y="1392438"/>
                  <a:pt x="193405" y="1397230"/>
                  <a:pt x="187458" y="1397230"/>
                </a:cubicBezTo>
                <a:cubicBezTo>
                  <a:pt x="181511" y="1397230"/>
                  <a:pt x="176722" y="1392438"/>
                  <a:pt x="176722" y="1386491"/>
                </a:cubicBezTo>
                <a:cubicBezTo>
                  <a:pt x="176722" y="1380545"/>
                  <a:pt x="181511" y="1375755"/>
                  <a:pt x="187458" y="1375755"/>
                </a:cubicBezTo>
                <a:close/>
                <a:moveTo>
                  <a:pt x="4459378" y="1371459"/>
                </a:moveTo>
                <a:cubicBezTo>
                  <a:pt x="4465324" y="1371459"/>
                  <a:pt x="4470116" y="1376249"/>
                  <a:pt x="4470116" y="1382196"/>
                </a:cubicBezTo>
                <a:cubicBezTo>
                  <a:pt x="4470116" y="1388142"/>
                  <a:pt x="4465324" y="1392932"/>
                  <a:pt x="4459378" y="1392932"/>
                </a:cubicBezTo>
                <a:cubicBezTo>
                  <a:pt x="4453431" y="1392932"/>
                  <a:pt x="4448642" y="1388142"/>
                  <a:pt x="4448642" y="1382196"/>
                </a:cubicBezTo>
                <a:cubicBezTo>
                  <a:pt x="4448642" y="1376249"/>
                  <a:pt x="4453431" y="1371459"/>
                  <a:pt x="4459378" y="1371459"/>
                </a:cubicBezTo>
                <a:close/>
                <a:moveTo>
                  <a:pt x="3303109" y="1370634"/>
                </a:moveTo>
                <a:cubicBezTo>
                  <a:pt x="3309055" y="1370634"/>
                  <a:pt x="3313847" y="1375424"/>
                  <a:pt x="3313847" y="1381370"/>
                </a:cubicBezTo>
                <a:cubicBezTo>
                  <a:pt x="3313847" y="1387317"/>
                  <a:pt x="3309055" y="1392108"/>
                  <a:pt x="3303109" y="1392108"/>
                </a:cubicBezTo>
                <a:cubicBezTo>
                  <a:pt x="3297162" y="1392108"/>
                  <a:pt x="3292372" y="1387317"/>
                  <a:pt x="3292372" y="1381370"/>
                </a:cubicBezTo>
                <a:cubicBezTo>
                  <a:pt x="3292372" y="1375424"/>
                  <a:pt x="3297162" y="1370634"/>
                  <a:pt x="3303109" y="1370634"/>
                </a:cubicBezTo>
                <a:close/>
                <a:moveTo>
                  <a:pt x="341573" y="1364687"/>
                </a:moveTo>
                <a:cubicBezTo>
                  <a:pt x="347520" y="1364687"/>
                  <a:pt x="352312" y="1369477"/>
                  <a:pt x="352312" y="1375424"/>
                </a:cubicBezTo>
                <a:cubicBezTo>
                  <a:pt x="352312" y="1381370"/>
                  <a:pt x="347520" y="1386162"/>
                  <a:pt x="341573" y="1386162"/>
                </a:cubicBezTo>
                <a:cubicBezTo>
                  <a:pt x="335627" y="1386162"/>
                  <a:pt x="330837" y="1381370"/>
                  <a:pt x="330837" y="1375424"/>
                </a:cubicBezTo>
                <a:cubicBezTo>
                  <a:pt x="330837" y="1369477"/>
                  <a:pt x="335627" y="1364687"/>
                  <a:pt x="341573" y="1364687"/>
                </a:cubicBezTo>
                <a:close/>
                <a:moveTo>
                  <a:pt x="4427167" y="1360888"/>
                </a:moveTo>
                <a:cubicBezTo>
                  <a:pt x="4433114" y="1360888"/>
                  <a:pt x="4437903" y="1365678"/>
                  <a:pt x="4437903" y="1371624"/>
                </a:cubicBezTo>
                <a:cubicBezTo>
                  <a:pt x="4437903" y="1377571"/>
                  <a:pt x="4433114" y="1382361"/>
                  <a:pt x="4427167" y="1382361"/>
                </a:cubicBezTo>
                <a:cubicBezTo>
                  <a:pt x="4421221" y="1382361"/>
                  <a:pt x="4416431" y="1377571"/>
                  <a:pt x="4416431" y="1371624"/>
                </a:cubicBezTo>
                <a:cubicBezTo>
                  <a:pt x="4416431" y="1365678"/>
                  <a:pt x="4421221" y="1360888"/>
                  <a:pt x="4427167" y="1360888"/>
                </a:cubicBezTo>
                <a:close/>
                <a:moveTo>
                  <a:pt x="3142717" y="1359402"/>
                </a:moveTo>
                <a:cubicBezTo>
                  <a:pt x="3148664" y="1359402"/>
                  <a:pt x="3153454" y="1364192"/>
                  <a:pt x="3153454" y="1370138"/>
                </a:cubicBezTo>
                <a:cubicBezTo>
                  <a:pt x="3153454" y="1376085"/>
                  <a:pt x="3148664" y="1380876"/>
                  <a:pt x="3142717" y="1380876"/>
                </a:cubicBezTo>
                <a:cubicBezTo>
                  <a:pt x="3136771" y="1380876"/>
                  <a:pt x="3131981" y="1376085"/>
                  <a:pt x="3131981" y="1370138"/>
                </a:cubicBezTo>
                <a:cubicBezTo>
                  <a:pt x="3131981" y="1364192"/>
                  <a:pt x="3136771" y="1359402"/>
                  <a:pt x="3142717" y="1359402"/>
                </a:cubicBezTo>
                <a:close/>
                <a:moveTo>
                  <a:pt x="509562" y="1353290"/>
                </a:moveTo>
                <a:cubicBezTo>
                  <a:pt x="515509" y="1353290"/>
                  <a:pt x="520300" y="1358080"/>
                  <a:pt x="520300" y="1364027"/>
                </a:cubicBezTo>
                <a:cubicBezTo>
                  <a:pt x="520300" y="1369973"/>
                  <a:pt x="515509" y="1374765"/>
                  <a:pt x="509562" y="1374765"/>
                </a:cubicBezTo>
                <a:cubicBezTo>
                  <a:pt x="503616" y="1374765"/>
                  <a:pt x="498826" y="1369973"/>
                  <a:pt x="498826" y="1364027"/>
                </a:cubicBezTo>
                <a:cubicBezTo>
                  <a:pt x="498826" y="1358080"/>
                  <a:pt x="503616" y="1353290"/>
                  <a:pt x="509562" y="1353290"/>
                </a:cubicBezTo>
                <a:close/>
                <a:moveTo>
                  <a:pt x="4390166" y="1349656"/>
                </a:moveTo>
                <a:cubicBezTo>
                  <a:pt x="4396113" y="1349656"/>
                  <a:pt x="4400905" y="1354445"/>
                  <a:pt x="4400905" y="1360392"/>
                </a:cubicBezTo>
                <a:cubicBezTo>
                  <a:pt x="4400905" y="1366338"/>
                  <a:pt x="4396113" y="1371130"/>
                  <a:pt x="4390166" y="1371130"/>
                </a:cubicBezTo>
                <a:cubicBezTo>
                  <a:pt x="4384220" y="1371130"/>
                  <a:pt x="4379430" y="1366338"/>
                  <a:pt x="4379430" y="1360392"/>
                </a:cubicBezTo>
                <a:cubicBezTo>
                  <a:pt x="4379430" y="1354445"/>
                  <a:pt x="4384220" y="1349656"/>
                  <a:pt x="4390166" y="1349656"/>
                </a:cubicBezTo>
                <a:close/>
                <a:moveTo>
                  <a:pt x="2967791" y="1347838"/>
                </a:moveTo>
                <a:cubicBezTo>
                  <a:pt x="2973738" y="1347838"/>
                  <a:pt x="2978530" y="1352628"/>
                  <a:pt x="2978530" y="1358574"/>
                </a:cubicBezTo>
                <a:cubicBezTo>
                  <a:pt x="2978530" y="1364521"/>
                  <a:pt x="2973738" y="1369313"/>
                  <a:pt x="2967791" y="1369313"/>
                </a:cubicBezTo>
                <a:cubicBezTo>
                  <a:pt x="2961845" y="1369313"/>
                  <a:pt x="2957055" y="1364521"/>
                  <a:pt x="2957055" y="1358574"/>
                </a:cubicBezTo>
                <a:cubicBezTo>
                  <a:pt x="2957055" y="1352628"/>
                  <a:pt x="2961845" y="1347838"/>
                  <a:pt x="2967791" y="1347838"/>
                </a:cubicBezTo>
                <a:close/>
                <a:moveTo>
                  <a:pt x="692748" y="1341562"/>
                </a:moveTo>
                <a:cubicBezTo>
                  <a:pt x="698695" y="1341562"/>
                  <a:pt x="703486" y="1346352"/>
                  <a:pt x="703486" y="1352298"/>
                </a:cubicBezTo>
                <a:cubicBezTo>
                  <a:pt x="703486" y="1358245"/>
                  <a:pt x="698695" y="1363037"/>
                  <a:pt x="692748" y="1363037"/>
                </a:cubicBezTo>
                <a:cubicBezTo>
                  <a:pt x="686802" y="1363037"/>
                  <a:pt x="682012" y="1358245"/>
                  <a:pt x="682012" y="1352298"/>
                </a:cubicBezTo>
                <a:cubicBezTo>
                  <a:pt x="682012" y="1346352"/>
                  <a:pt x="686802" y="1341562"/>
                  <a:pt x="692748" y="1341562"/>
                </a:cubicBezTo>
                <a:close/>
                <a:moveTo>
                  <a:pt x="4347880" y="1338094"/>
                </a:moveTo>
                <a:cubicBezTo>
                  <a:pt x="4353827" y="1338094"/>
                  <a:pt x="4358618" y="1342884"/>
                  <a:pt x="4358618" y="1348830"/>
                </a:cubicBezTo>
                <a:cubicBezTo>
                  <a:pt x="4358618" y="1354777"/>
                  <a:pt x="4353827" y="1359568"/>
                  <a:pt x="4347880" y="1359568"/>
                </a:cubicBezTo>
                <a:cubicBezTo>
                  <a:pt x="4341934" y="1359568"/>
                  <a:pt x="4337144" y="1354777"/>
                  <a:pt x="4337144" y="1348830"/>
                </a:cubicBezTo>
                <a:cubicBezTo>
                  <a:pt x="4337144" y="1342884"/>
                  <a:pt x="4341934" y="1338094"/>
                  <a:pt x="4347880" y="1338094"/>
                </a:cubicBezTo>
                <a:close/>
                <a:moveTo>
                  <a:pt x="2777501" y="1336112"/>
                </a:moveTo>
                <a:cubicBezTo>
                  <a:pt x="2783447" y="1336112"/>
                  <a:pt x="2788239" y="1340901"/>
                  <a:pt x="2788239" y="1346848"/>
                </a:cubicBezTo>
                <a:cubicBezTo>
                  <a:pt x="2788239" y="1352794"/>
                  <a:pt x="2783447" y="1357584"/>
                  <a:pt x="2777501" y="1357584"/>
                </a:cubicBezTo>
                <a:cubicBezTo>
                  <a:pt x="2771554" y="1357584"/>
                  <a:pt x="2766765" y="1352794"/>
                  <a:pt x="2766765" y="1346848"/>
                </a:cubicBezTo>
                <a:cubicBezTo>
                  <a:pt x="2766765" y="1340901"/>
                  <a:pt x="2771554" y="1336112"/>
                  <a:pt x="2777501" y="1336112"/>
                </a:cubicBezTo>
                <a:close/>
                <a:moveTo>
                  <a:pt x="4571536" y="1331982"/>
                </a:moveTo>
                <a:cubicBezTo>
                  <a:pt x="4577483" y="1331982"/>
                  <a:pt x="4582273" y="1336772"/>
                  <a:pt x="4582273" y="1342719"/>
                </a:cubicBezTo>
                <a:lnTo>
                  <a:pt x="4582025" y="1342967"/>
                </a:lnTo>
                <a:lnTo>
                  <a:pt x="4592184" y="1353124"/>
                </a:lnTo>
                <a:lnTo>
                  <a:pt x="4591358" y="1353951"/>
                </a:lnTo>
                <a:lnTo>
                  <a:pt x="4600442" y="1363035"/>
                </a:lnTo>
                <a:lnTo>
                  <a:pt x="4599368" y="1364108"/>
                </a:lnTo>
                <a:lnTo>
                  <a:pt x="4607710" y="1372450"/>
                </a:lnTo>
                <a:lnTo>
                  <a:pt x="4606388" y="1373771"/>
                </a:lnTo>
                <a:lnTo>
                  <a:pt x="4613988" y="1381370"/>
                </a:lnTo>
                <a:lnTo>
                  <a:pt x="4612583" y="1382775"/>
                </a:lnTo>
                <a:lnTo>
                  <a:pt x="4619603" y="1389795"/>
                </a:lnTo>
                <a:lnTo>
                  <a:pt x="4618281" y="1391116"/>
                </a:lnTo>
                <a:lnTo>
                  <a:pt x="4624890" y="1397724"/>
                </a:lnTo>
                <a:lnTo>
                  <a:pt x="4623569" y="1399045"/>
                </a:lnTo>
                <a:lnTo>
                  <a:pt x="4629845" y="1405321"/>
                </a:lnTo>
                <a:lnTo>
                  <a:pt x="4628855" y="1406313"/>
                </a:lnTo>
                <a:lnTo>
                  <a:pt x="4634966" y="1412424"/>
                </a:lnTo>
                <a:lnTo>
                  <a:pt x="4634222" y="1413168"/>
                </a:lnTo>
                <a:lnTo>
                  <a:pt x="4640252" y="1419196"/>
                </a:lnTo>
                <a:lnTo>
                  <a:pt x="4639921" y="1419528"/>
                </a:lnTo>
                <a:lnTo>
                  <a:pt x="4641409" y="1421016"/>
                </a:lnTo>
                <a:lnTo>
                  <a:pt x="4641573" y="1420849"/>
                </a:lnTo>
                <a:lnTo>
                  <a:pt x="4647934" y="1427208"/>
                </a:lnTo>
                <a:lnTo>
                  <a:pt x="4648677" y="1426466"/>
                </a:lnTo>
                <a:lnTo>
                  <a:pt x="4655365" y="1433155"/>
                </a:lnTo>
                <a:lnTo>
                  <a:pt x="4656770" y="1431750"/>
                </a:lnTo>
                <a:lnTo>
                  <a:pt x="4663625" y="1438605"/>
                </a:lnTo>
                <a:lnTo>
                  <a:pt x="4665689" y="1436542"/>
                </a:lnTo>
                <a:lnTo>
                  <a:pt x="4673040" y="1443893"/>
                </a:lnTo>
                <a:lnTo>
                  <a:pt x="4675765" y="1441167"/>
                </a:lnTo>
                <a:lnTo>
                  <a:pt x="4683612" y="1449014"/>
                </a:lnTo>
                <a:lnTo>
                  <a:pt x="4687163" y="1445461"/>
                </a:lnTo>
                <a:lnTo>
                  <a:pt x="4697405" y="1455703"/>
                </a:lnTo>
                <a:lnTo>
                  <a:pt x="4699884" y="1453225"/>
                </a:lnTo>
                <a:cubicBezTo>
                  <a:pt x="4703681" y="1453225"/>
                  <a:pt x="4706820" y="1456364"/>
                  <a:pt x="4706820" y="1460161"/>
                </a:cubicBezTo>
                <a:cubicBezTo>
                  <a:pt x="4706820" y="1463961"/>
                  <a:pt x="4703681" y="1467100"/>
                  <a:pt x="4699884" y="1467100"/>
                </a:cubicBezTo>
                <a:lnTo>
                  <a:pt x="4693441" y="1460657"/>
                </a:lnTo>
                <a:lnTo>
                  <a:pt x="4687163" y="1466935"/>
                </a:lnTo>
                <a:lnTo>
                  <a:pt x="4679316" y="1459088"/>
                </a:lnTo>
                <a:lnTo>
                  <a:pt x="4675765" y="1462640"/>
                </a:lnTo>
                <a:lnTo>
                  <a:pt x="4668415" y="1455290"/>
                </a:lnTo>
                <a:lnTo>
                  <a:pt x="4665689" y="1458016"/>
                </a:lnTo>
                <a:lnTo>
                  <a:pt x="4658834" y="1451161"/>
                </a:lnTo>
                <a:lnTo>
                  <a:pt x="4656770" y="1453225"/>
                </a:lnTo>
                <a:lnTo>
                  <a:pt x="4650081" y="1446534"/>
                </a:lnTo>
                <a:lnTo>
                  <a:pt x="4648677" y="1447939"/>
                </a:lnTo>
                <a:lnTo>
                  <a:pt x="4642317" y="1441580"/>
                </a:lnTo>
                <a:lnTo>
                  <a:pt x="4641573" y="1442324"/>
                </a:lnTo>
                <a:lnTo>
                  <a:pt x="4635462" y="1436211"/>
                </a:lnTo>
                <a:lnTo>
                  <a:pt x="4635296" y="1436377"/>
                </a:lnTo>
                <a:cubicBezTo>
                  <a:pt x="4629349" y="1436377"/>
                  <a:pt x="4624559" y="1431585"/>
                  <a:pt x="4624559" y="1425639"/>
                </a:cubicBezTo>
                <a:lnTo>
                  <a:pt x="4624890" y="1425309"/>
                </a:lnTo>
                <a:lnTo>
                  <a:pt x="4618779" y="1419196"/>
                </a:lnTo>
                <a:lnTo>
                  <a:pt x="4619523" y="1418454"/>
                </a:lnTo>
                <a:lnTo>
                  <a:pt x="4613493" y="1412424"/>
                </a:lnTo>
                <a:lnTo>
                  <a:pt x="4614484" y="1411434"/>
                </a:lnTo>
                <a:lnTo>
                  <a:pt x="4608372" y="1405321"/>
                </a:lnTo>
                <a:lnTo>
                  <a:pt x="4609692" y="1404002"/>
                </a:lnTo>
                <a:lnTo>
                  <a:pt x="4603416" y="1397724"/>
                </a:lnTo>
                <a:lnTo>
                  <a:pt x="4604737" y="1396404"/>
                </a:lnTo>
                <a:lnTo>
                  <a:pt x="4598130" y="1389795"/>
                </a:lnTo>
                <a:lnTo>
                  <a:pt x="4599535" y="1388392"/>
                </a:lnTo>
                <a:lnTo>
                  <a:pt x="4592515" y="1381370"/>
                </a:lnTo>
                <a:lnTo>
                  <a:pt x="4593836" y="1380051"/>
                </a:lnTo>
                <a:lnTo>
                  <a:pt x="4586237" y="1372450"/>
                </a:lnTo>
                <a:lnTo>
                  <a:pt x="4587311" y="1371378"/>
                </a:lnTo>
                <a:lnTo>
                  <a:pt x="4578969" y="1363035"/>
                </a:lnTo>
                <a:lnTo>
                  <a:pt x="4579795" y="1362209"/>
                </a:lnTo>
                <a:lnTo>
                  <a:pt x="4570711" y="1353124"/>
                </a:lnTo>
                <a:lnTo>
                  <a:pt x="4570959" y="1352878"/>
                </a:lnTo>
                <a:lnTo>
                  <a:pt x="4560800" y="1342719"/>
                </a:lnTo>
                <a:cubicBezTo>
                  <a:pt x="4560800" y="1336772"/>
                  <a:pt x="4565590" y="1331982"/>
                  <a:pt x="4571536" y="1331982"/>
                </a:cubicBezTo>
                <a:close/>
                <a:moveTo>
                  <a:pt x="891626" y="1329834"/>
                </a:moveTo>
                <a:cubicBezTo>
                  <a:pt x="897573" y="1329834"/>
                  <a:pt x="902363" y="1334624"/>
                  <a:pt x="902363" y="1340570"/>
                </a:cubicBezTo>
                <a:cubicBezTo>
                  <a:pt x="902363" y="1346517"/>
                  <a:pt x="897573" y="1351308"/>
                  <a:pt x="891626" y="1351308"/>
                </a:cubicBezTo>
                <a:cubicBezTo>
                  <a:pt x="885680" y="1351308"/>
                  <a:pt x="880890" y="1346517"/>
                  <a:pt x="880890" y="1340570"/>
                </a:cubicBezTo>
                <a:cubicBezTo>
                  <a:pt x="880890" y="1334624"/>
                  <a:pt x="885680" y="1329834"/>
                  <a:pt x="891626" y="1329834"/>
                </a:cubicBezTo>
                <a:close/>
                <a:moveTo>
                  <a:pt x="4689806" y="1328018"/>
                </a:moveTo>
                <a:cubicBezTo>
                  <a:pt x="4692283" y="1328018"/>
                  <a:pt x="4694265" y="1330000"/>
                  <a:pt x="4694265" y="1332478"/>
                </a:cubicBezTo>
                <a:cubicBezTo>
                  <a:pt x="4694265" y="1334955"/>
                  <a:pt x="4692283" y="1336937"/>
                  <a:pt x="4689806" y="1336937"/>
                </a:cubicBezTo>
                <a:cubicBezTo>
                  <a:pt x="4687328" y="1336937"/>
                  <a:pt x="4685346" y="1334955"/>
                  <a:pt x="4685346" y="1332478"/>
                </a:cubicBezTo>
                <a:cubicBezTo>
                  <a:pt x="4685346" y="1330000"/>
                  <a:pt x="4687328" y="1328018"/>
                  <a:pt x="4689806" y="1328018"/>
                </a:cubicBezTo>
                <a:close/>
                <a:moveTo>
                  <a:pt x="4299812" y="1325869"/>
                </a:moveTo>
                <a:cubicBezTo>
                  <a:pt x="4305758" y="1325869"/>
                  <a:pt x="4310550" y="1330659"/>
                  <a:pt x="4310550" y="1336606"/>
                </a:cubicBezTo>
                <a:cubicBezTo>
                  <a:pt x="4310550" y="1342552"/>
                  <a:pt x="4305758" y="1347344"/>
                  <a:pt x="4299812" y="1347344"/>
                </a:cubicBezTo>
                <a:cubicBezTo>
                  <a:pt x="4293865" y="1347344"/>
                  <a:pt x="4289076" y="1342552"/>
                  <a:pt x="4289076" y="1336606"/>
                </a:cubicBezTo>
                <a:cubicBezTo>
                  <a:pt x="4289076" y="1330659"/>
                  <a:pt x="4293865" y="1325869"/>
                  <a:pt x="4299812" y="1325869"/>
                </a:cubicBezTo>
                <a:close/>
                <a:moveTo>
                  <a:pt x="2570860" y="1324219"/>
                </a:moveTo>
                <a:cubicBezTo>
                  <a:pt x="2576807" y="1324219"/>
                  <a:pt x="2581597" y="1329008"/>
                  <a:pt x="2581597" y="1334955"/>
                </a:cubicBezTo>
                <a:cubicBezTo>
                  <a:pt x="2581597" y="1340901"/>
                  <a:pt x="2576807" y="1345691"/>
                  <a:pt x="2570860" y="1345691"/>
                </a:cubicBezTo>
                <a:cubicBezTo>
                  <a:pt x="2564914" y="1345691"/>
                  <a:pt x="2560124" y="1340901"/>
                  <a:pt x="2560124" y="1334955"/>
                </a:cubicBezTo>
                <a:cubicBezTo>
                  <a:pt x="2560124" y="1329008"/>
                  <a:pt x="2564914" y="1324219"/>
                  <a:pt x="2570860" y="1324219"/>
                </a:cubicBezTo>
                <a:close/>
                <a:moveTo>
                  <a:pt x="4559808" y="1321080"/>
                </a:moveTo>
                <a:cubicBezTo>
                  <a:pt x="4565755" y="1321080"/>
                  <a:pt x="4570544" y="1325869"/>
                  <a:pt x="4570544" y="1331816"/>
                </a:cubicBezTo>
                <a:cubicBezTo>
                  <a:pt x="4570544" y="1337763"/>
                  <a:pt x="4565755" y="1342554"/>
                  <a:pt x="4559808" y="1342554"/>
                </a:cubicBezTo>
                <a:cubicBezTo>
                  <a:pt x="4553862" y="1342554"/>
                  <a:pt x="4549072" y="1337763"/>
                  <a:pt x="4549072" y="1331816"/>
                </a:cubicBezTo>
                <a:cubicBezTo>
                  <a:pt x="4549072" y="1325869"/>
                  <a:pt x="4553862" y="1321080"/>
                  <a:pt x="4559808" y="1321080"/>
                </a:cubicBezTo>
                <a:close/>
                <a:moveTo>
                  <a:pt x="1107189" y="1317941"/>
                </a:moveTo>
                <a:cubicBezTo>
                  <a:pt x="1113136" y="1317941"/>
                  <a:pt x="1117927" y="1322731"/>
                  <a:pt x="1117927" y="1328677"/>
                </a:cubicBezTo>
                <a:cubicBezTo>
                  <a:pt x="1117927" y="1334624"/>
                  <a:pt x="1113136" y="1339415"/>
                  <a:pt x="1107189" y="1339415"/>
                </a:cubicBezTo>
                <a:cubicBezTo>
                  <a:pt x="1101243" y="1339415"/>
                  <a:pt x="1096453" y="1334624"/>
                  <a:pt x="1096453" y="1328677"/>
                </a:cubicBezTo>
                <a:cubicBezTo>
                  <a:pt x="1096453" y="1322731"/>
                  <a:pt x="1101243" y="1317941"/>
                  <a:pt x="1107189" y="1317941"/>
                </a:cubicBezTo>
                <a:close/>
                <a:moveTo>
                  <a:pt x="4245138" y="1313316"/>
                </a:moveTo>
                <a:cubicBezTo>
                  <a:pt x="4251085" y="1313316"/>
                  <a:pt x="4255876" y="1318105"/>
                  <a:pt x="4255876" y="1324052"/>
                </a:cubicBezTo>
                <a:cubicBezTo>
                  <a:pt x="4255876" y="1329999"/>
                  <a:pt x="4251085" y="1334790"/>
                  <a:pt x="4245138" y="1334790"/>
                </a:cubicBezTo>
                <a:cubicBezTo>
                  <a:pt x="4239192" y="1334790"/>
                  <a:pt x="4234402" y="1329999"/>
                  <a:pt x="4234402" y="1324052"/>
                </a:cubicBezTo>
                <a:cubicBezTo>
                  <a:pt x="4234402" y="1318105"/>
                  <a:pt x="4239192" y="1313316"/>
                  <a:pt x="4245138" y="1313316"/>
                </a:cubicBezTo>
                <a:close/>
                <a:moveTo>
                  <a:pt x="2347371" y="1312490"/>
                </a:moveTo>
                <a:cubicBezTo>
                  <a:pt x="2353317" y="1312490"/>
                  <a:pt x="2358107" y="1317280"/>
                  <a:pt x="2358107" y="1323227"/>
                </a:cubicBezTo>
                <a:cubicBezTo>
                  <a:pt x="2358107" y="1329173"/>
                  <a:pt x="2353317" y="1333965"/>
                  <a:pt x="2347371" y="1333965"/>
                </a:cubicBezTo>
                <a:cubicBezTo>
                  <a:pt x="2341424" y="1333965"/>
                  <a:pt x="2336634" y="1329173"/>
                  <a:pt x="2336634" y="1323227"/>
                </a:cubicBezTo>
                <a:cubicBezTo>
                  <a:pt x="2336634" y="1317280"/>
                  <a:pt x="2341424" y="1312490"/>
                  <a:pt x="2347371" y="1312490"/>
                </a:cubicBezTo>
                <a:close/>
                <a:moveTo>
                  <a:pt x="4545933" y="1309518"/>
                </a:moveTo>
                <a:cubicBezTo>
                  <a:pt x="4551879" y="1309518"/>
                  <a:pt x="4556669" y="1314308"/>
                  <a:pt x="4556669" y="1320254"/>
                </a:cubicBezTo>
                <a:cubicBezTo>
                  <a:pt x="4556669" y="1326201"/>
                  <a:pt x="4551879" y="1330991"/>
                  <a:pt x="4545933" y="1330991"/>
                </a:cubicBezTo>
                <a:cubicBezTo>
                  <a:pt x="4539986" y="1330991"/>
                  <a:pt x="4535197" y="1326201"/>
                  <a:pt x="4535197" y="1320254"/>
                </a:cubicBezTo>
                <a:cubicBezTo>
                  <a:pt x="4535197" y="1314308"/>
                  <a:pt x="4539986" y="1309518"/>
                  <a:pt x="4545933" y="1309518"/>
                </a:cubicBezTo>
                <a:close/>
                <a:moveTo>
                  <a:pt x="1339929" y="1306708"/>
                </a:moveTo>
                <a:cubicBezTo>
                  <a:pt x="1345876" y="1306708"/>
                  <a:pt x="1350667" y="1311498"/>
                  <a:pt x="1350667" y="1317445"/>
                </a:cubicBezTo>
                <a:cubicBezTo>
                  <a:pt x="1350667" y="1323391"/>
                  <a:pt x="1345876" y="1328181"/>
                  <a:pt x="1339929" y="1328181"/>
                </a:cubicBezTo>
                <a:cubicBezTo>
                  <a:pt x="1333983" y="1328181"/>
                  <a:pt x="1329193" y="1323391"/>
                  <a:pt x="1329193" y="1317445"/>
                </a:cubicBezTo>
                <a:cubicBezTo>
                  <a:pt x="1329193" y="1311498"/>
                  <a:pt x="1333983" y="1306708"/>
                  <a:pt x="1339929" y="1306708"/>
                </a:cubicBezTo>
                <a:close/>
                <a:moveTo>
                  <a:pt x="2106536" y="1302083"/>
                </a:moveTo>
                <a:cubicBezTo>
                  <a:pt x="2112482" y="1302083"/>
                  <a:pt x="2117273" y="1306873"/>
                  <a:pt x="2117273" y="1312820"/>
                </a:cubicBezTo>
                <a:cubicBezTo>
                  <a:pt x="2117273" y="1318766"/>
                  <a:pt x="2112482" y="1323558"/>
                  <a:pt x="2106536" y="1323558"/>
                </a:cubicBezTo>
                <a:cubicBezTo>
                  <a:pt x="2100589" y="1323558"/>
                  <a:pt x="2095799" y="1318766"/>
                  <a:pt x="2095799" y="1312820"/>
                </a:cubicBezTo>
                <a:cubicBezTo>
                  <a:pt x="2095799" y="1306873"/>
                  <a:pt x="2100589" y="1302083"/>
                  <a:pt x="2106536" y="1302083"/>
                </a:cubicBezTo>
                <a:close/>
                <a:moveTo>
                  <a:pt x="4183691" y="1300101"/>
                </a:moveTo>
                <a:cubicBezTo>
                  <a:pt x="4189637" y="1300101"/>
                  <a:pt x="4194429" y="1304891"/>
                  <a:pt x="4194429" y="1310838"/>
                </a:cubicBezTo>
                <a:cubicBezTo>
                  <a:pt x="4194429" y="1316784"/>
                  <a:pt x="4189637" y="1321576"/>
                  <a:pt x="4183691" y="1321576"/>
                </a:cubicBezTo>
                <a:cubicBezTo>
                  <a:pt x="4177744" y="1321576"/>
                  <a:pt x="4172954" y="1316784"/>
                  <a:pt x="4172954" y="1310838"/>
                </a:cubicBezTo>
                <a:cubicBezTo>
                  <a:pt x="4172954" y="1304891"/>
                  <a:pt x="4177744" y="1300101"/>
                  <a:pt x="4183691" y="1300101"/>
                </a:cubicBezTo>
                <a:close/>
                <a:moveTo>
                  <a:pt x="1589683" y="1297954"/>
                </a:moveTo>
                <a:cubicBezTo>
                  <a:pt x="1595630" y="1297954"/>
                  <a:pt x="1600421" y="1302744"/>
                  <a:pt x="1600421" y="1308691"/>
                </a:cubicBezTo>
                <a:cubicBezTo>
                  <a:pt x="1600421" y="1314637"/>
                  <a:pt x="1595630" y="1319429"/>
                  <a:pt x="1589683" y="1319429"/>
                </a:cubicBezTo>
                <a:cubicBezTo>
                  <a:pt x="1583737" y="1319429"/>
                  <a:pt x="1578947" y="1314637"/>
                  <a:pt x="1578947" y="1308691"/>
                </a:cubicBezTo>
                <a:cubicBezTo>
                  <a:pt x="1578947" y="1302744"/>
                  <a:pt x="1583737" y="1297954"/>
                  <a:pt x="1589683" y="1297954"/>
                </a:cubicBezTo>
                <a:close/>
                <a:moveTo>
                  <a:pt x="4529580" y="1297458"/>
                </a:moveTo>
                <a:cubicBezTo>
                  <a:pt x="4535526" y="1297458"/>
                  <a:pt x="4540318" y="1302248"/>
                  <a:pt x="4540318" y="1308195"/>
                </a:cubicBezTo>
                <a:cubicBezTo>
                  <a:pt x="4540318" y="1314141"/>
                  <a:pt x="4535526" y="1318933"/>
                  <a:pt x="4529580" y="1318933"/>
                </a:cubicBezTo>
                <a:cubicBezTo>
                  <a:pt x="4523633" y="1318933"/>
                  <a:pt x="4518843" y="1314141"/>
                  <a:pt x="4518843" y="1308195"/>
                </a:cubicBezTo>
                <a:cubicBezTo>
                  <a:pt x="4518843" y="1302248"/>
                  <a:pt x="4523633" y="1297458"/>
                  <a:pt x="4529580" y="1297458"/>
                </a:cubicBezTo>
                <a:close/>
                <a:moveTo>
                  <a:pt x="1850339" y="1295807"/>
                </a:moveTo>
                <a:cubicBezTo>
                  <a:pt x="1856285" y="1295807"/>
                  <a:pt x="1861077" y="1300597"/>
                  <a:pt x="1861077" y="1306544"/>
                </a:cubicBezTo>
                <a:cubicBezTo>
                  <a:pt x="1861077" y="1312490"/>
                  <a:pt x="1856285" y="1317282"/>
                  <a:pt x="1850339" y="1317282"/>
                </a:cubicBezTo>
                <a:cubicBezTo>
                  <a:pt x="1844392" y="1317282"/>
                  <a:pt x="1839602" y="1312490"/>
                  <a:pt x="1839602" y="1306544"/>
                </a:cubicBezTo>
                <a:cubicBezTo>
                  <a:pt x="1839602" y="1300597"/>
                  <a:pt x="1844392" y="1295807"/>
                  <a:pt x="1850339" y="1295807"/>
                </a:cubicBezTo>
                <a:close/>
                <a:moveTo>
                  <a:pt x="4114479" y="1286391"/>
                </a:moveTo>
                <a:cubicBezTo>
                  <a:pt x="4120426" y="1286391"/>
                  <a:pt x="4125217" y="1291181"/>
                  <a:pt x="4125217" y="1297127"/>
                </a:cubicBezTo>
                <a:cubicBezTo>
                  <a:pt x="4125217" y="1303074"/>
                  <a:pt x="4120426" y="1307865"/>
                  <a:pt x="4114479" y="1307865"/>
                </a:cubicBezTo>
                <a:cubicBezTo>
                  <a:pt x="4108533" y="1307865"/>
                  <a:pt x="4103743" y="1303074"/>
                  <a:pt x="4103743" y="1297127"/>
                </a:cubicBezTo>
                <a:cubicBezTo>
                  <a:pt x="4103743" y="1291181"/>
                  <a:pt x="4108533" y="1286391"/>
                  <a:pt x="4114479" y="1286391"/>
                </a:cubicBezTo>
                <a:close/>
                <a:moveTo>
                  <a:pt x="4510254" y="1284740"/>
                </a:moveTo>
                <a:cubicBezTo>
                  <a:pt x="4516200" y="1284740"/>
                  <a:pt x="4520990" y="1289530"/>
                  <a:pt x="4520990" y="1295476"/>
                </a:cubicBezTo>
                <a:cubicBezTo>
                  <a:pt x="4520990" y="1301423"/>
                  <a:pt x="4516200" y="1306212"/>
                  <a:pt x="4510254" y="1306212"/>
                </a:cubicBezTo>
                <a:cubicBezTo>
                  <a:pt x="4504307" y="1306212"/>
                  <a:pt x="4499517" y="1301423"/>
                  <a:pt x="4499517" y="1295476"/>
                </a:cubicBezTo>
                <a:cubicBezTo>
                  <a:pt x="4499517" y="1289530"/>
                  <a:pt x="4504307" y="1284740"/>
                  <a:pt x="4510254" y="1284740"/>
                </a:cubicBezTo>
                <a:close/>
                <a:moveTo>
                  <a:pt x="4037174" y="1272186"/>
                </a:moveTo>
                <a:cubicBezTo>
                  <a:pt x="4043121" y="1272186"/>
                  <a:pt x="4047913" y="1276976"/>
                  <a:pt x="4047913" y="1282922"/>
                </a:cubicBezTo>
                <a:cubicBezTo>
                  <a:pt x="4047913" y="1288869"/>
                  <a:pt x="4043121" y="1293660"/>
                  <a:pt x="4037174" y="1293660"/>
                </a:cubicBezTo>
                <a:cubicBezTo>
                  <a:pt x="4031228" y="1293660"/>
                  <a:pt x="4026438" y="1288869"/>
                  <a:pt x="4026438" y="1282922"/>
                </a:cubicBezTo>
                <a:cubicBezTo>
                  <a:pt x="4026438" y="1276976"/>
                  <a:pt x="4031228" y="1272186"/>
                  <a:pt x="4037174" y="1272186"/>
                </a:cubicBezTo>
                <a:close/>
                <a:moveTo>
                  <a:pt x="4487789" y="1271525"/>
                </a:moveTo>
                <a:cubicBezTo>
                  <a:pt x="4493736" y="1271525"/>
                  <a:pt x="4498527" y="1276315"/>
                  <a:pt x="4498527" y="1282262"/>
                </a:cubicBezTo>
                <a:cubicBezTo>
                  <a:pt x="4498527" y="1288208"/>
                  <a:pt x="4493736" y="1293000"/>
                  <a:pt x="4487789" y="1293000"/>
                </a:cubicBezTo>
                <a:cubicBezTo>
                  <a:pt x="4481843" y="1293000"/>
                  <a:pt x="4477053" y="1288208"/>
                  <a:pt x="4477053" y="1282262"/>
                </a:cubicBezTo>
                <a:cubicBezTo>
                  <a:pt x="4477053" y="1276315"/>
                  <a:pt x="4481843" y="1271525"/>
                  <a:pt x="4487789" y="1271525"/>
                </a:cubicBezTo>
                <a:close/>
                <a:moveTo>
                  <a:pt x="4461525" y="1257650"/>
                </a:moveTo>
                <a:cubicBezTo>
                  <a:pt x="4467471" y="1257650"/>
                  <a:pt x="4472263" y="1262440"/>
                  <a:pt x="4472263" y="1268386"/>
                </a:cubicBezTo>
                <a:cubicBezTo>
                  <a:pt x="4472263" y="1274333"/>
                  <a:pt x="4467471" y="1279123"/>
                  <a:pt x="4461525" y="1279123"/>
                </a:cubicBezTo>
                <a:cubicBezTo>
                  <a:pt x="4455578" y="1279123"/>
                  <a:pt x="4450788" y="1274333"/>
                  <a:pt x="4450788" y="1268386"/>
                </a:cubicBezTo>
                <a:cubicBezTo>
                  <a:pt x="4450788" y="1262440"/>
                  <a:pt x="4455578" y="1257650"/>
                  <a:pt x="4461525" y="1257650"/>
                </a:cubicBezTo>
                <a:close/>
                <a:moveTo>
                  <a:pt x="3951115" y="1257321"/>
                </a:moveTo>
                <a:cubicBezTo>
                  <a:pt x="3957062" y="1257321"/>
                  <a:pt x="3961852" y="1262110"/>
                  <a:pt x="3961852" y="1268057"/>
                </a:cubicBezTo>
                <a:cubicBezTo>
                  <a:pt x="3961852" y="1274003"/>
                  <a:pt x="3957062" y="1278795"/>
                  <a:pt x="3951115" y="1278795"/>
                </a:cubicBezTo>
                <a:cubicBezTo>
                  <a:pt x="3945169" y="1278795"/>
                  <a:pt x="3940379" y="1274003"/>
                  <a:pt x="3940379" y="1268057"/>
                </a:cubicBezTo>
                <a:cubicBezTo>
                  <a:pt x="3940379" y="1262110"/>
                  <a:pt x="3945169" y="1257321"/>
                  <a:pt x="3951115" y="1257321"/>
                </a:cubicBezTo>
                <a:close/>
                <a:moveTo>
                  <a:pt x="4676262" y="1257154"/>
                </a:moveTo>
                <a:cubicBezTo>
                  <a:pt x="4680886" y="1257154"/>
                  <a:pt x="4684520" y="1260787"/>
                  <a:pt x="4684520" y="1265414"/>
                </a:cubicBezTo>
                <a:cubicBezTo>
                  <a:pt x="4684520" y="1270037"/>
                  <a:pt x="4680721" y="1273672"/>
                  <a:pt x="4676262" y="1273672"/>
                </a:cubicBezTo>
                <a:cubicBezTo>
                  <a:pt x="4671637" y="1273672"/>
                  <a:pt x="4668002" y="1270037"/>
                  <a:pt x="4668002" y="1265414"/>
                </a:cubicBezTo>
                <a:cubicBezTo>
                  <a:pt x="4668002" y="1260787"/>
                  <a:pt x="4671637" y="1257154"/>
                  <a:pt x="4676262" y="1257154"/>
                </a:cubicBezTo>
                <a:close/>
                <a:moveTo>
                  <a:pt x="4574509" y="1254842"/>
                </a:moveTo>
                <a:cubicBezTo>
                  <a:pt x="4580455" y="1254842"/>
                  <a:pt x="4585247" y="1259632"/>
                  <a:pt x="4585247" y="1265579"/>
                </a:cubicBezTo>
                <a:lnTo>
                  <a:pt x="4583183" y="1267644"/>
                </a:lnTo>
                <a:lnTo>
                  <a:pt x="4593507" y="1277966"/>
                </a:lnTo>
                <a:lnTo>
                  <a:pt x="4591277" y="1280198"/>
                </a:lnTo>
                <a:lnTo>
                  <a:pt x="4600775" y="1289694"/>
                </a:lnTo>
                <a:lnTo>
                  <a:pt x="4598461" y="1292008"/>
                </a:lnTo>
                <a:lnTo>
                  <a:pt x="4607216" y="1300762"/>
                </a:lnTo>
                <a:lnTo>
                  <a:pt x="4604985" y="1302994"/>
                </a:lnTo>
                <a:lnTo>
                  <a:pt x="4613162" y="1311169"/>
                </a:lnTo>
                <a:lnTo>
                  <a:pt x="4611015" y="1313317"/>
                </a:lnTo>
                <a:lnTo>
                  <a:pt x="4618779" y="1321080"/>
                </a:lnTo>
                <a:lnTo>
                  <a:pt x="4616797" y="1323064"/>
                </a:lnTo>
                <a:lnTo>
                  <a:pt x="4624228" y="1330495"/>
                </a:lnTo>
                <a:lnTo>
                  <a:pt x="4622577" y="1332145"/>
                </a:lnTo>
                <a:lnTo>
                  <a:pt x="4629845" y="1339413"/>
                </a:lnTo>
                <a:lnTo>
                  <a:pt x="4628607" y="1340653"/>
                </a:lnTo>
                <a:lnTo>
                  <a:pt x="4635793" y="1347838"/>
                </a:lnTo>
                <a:lnTo>
                  <a:pt x="4635214" y="1348417"/>
                </a:lnTo>
                <a:lnTo>
                  <a:pt x="4642399" y="1355602"/>
                </a:lnTo>
                <a:lnTo>
                  <a:pt x="4642234" y="1355767"/>
                </a:lnTo>
                <a:lnTo>
                  <a:pt x="4646198" y="1359731"/>
                </a:lnTo>
                <a:lnTo>
                  <a:pt x="4646693" y="1359237"/>
                </a:lnTo>
                <a:lnTo>
                  <a:pt x="4654375" y="1366918"/>
                </a:lnTo>
                <a:lnTo>
                  <a:pt x="4655449" y="1365844"/>
                </a:lnTo>
                <a:lnTo>
                  <a:pt x="4663460" y="1373854"/>
                </a:lnTo>
                <a:lnTo>
                  <a:pt x="4665359" y="1371955"/>
                </a:lnTo>
                <a:lnTo>
                  <a:pt x="4673703" y="1380297"/>
                </a:lnTo>
                <a:lnTo>
                  <a:pt x="4676427" y="1377572"/>
                </a:lnTo>
                <a:lnTo>
                  <a:pt x="4685348" y="1386493"/>
                </a:lnTo>
                <a:lnTo>
                  <a:pt x="4688816" y="1383023"/>
                </a:lnTo>
                <a:cubicBezTo>
                  <a:pt x="4694655" y="1383023"/>
                  <a:pt x="4699388" y="1387756"/>
                  <a:pt x="4699388" y="1393595"/>
                </a:cubicBezTo>
                <a:cubicBezTo>
                  <a:pt x="4699388" y="1399434"/>
                  <a:pt x="4694655" y="1404166"/>
                  <a:pt x="4688816" y="1404166"/>
                </a:cubicBezTo>
                <a:lnTo>
                  <a:pt x="4680062" y="1395412"/>
                </a:lnTo>
                <a:lnTo>
                  <a:pt x="4676427" y="1399047"/>
                </a:lnTo>
                <a:lnTo>
                  <a:pt x="4668086" y="1390704"/>
                </a:lnTo>
                <a:lnTo>
                  <a:pt x="4665359" y="1393430"/>
                </a:lnTo>
                <a:lnTo>
                  <a:pt x="4657349" y="1385418"/>
                </a:lnTo>
                <a:lnTo>
                  <a:pt x="4655449" y="1387319"/>
                </a:lnTo>
                <a:lnTo>
                  <a:pt x="4647768" y="1379636"/>
                </a:lnTo>
                <a:lnTo>
                  <a:pt x="4646693" y="1380711"/>
                </a:lnTo>
                <a:lnTo>
                  <a:pt x="4639260" y="1373279"/>
                </a:lnTo>
                <a:lnTo>
                  <a:pt x="4638766" y="1373773"/>
                </a:lnTo>
                <a:cubicBezTo>
                  <a:pt x="4632819" y="1373773"/>
                  <a:pt x="4628029" y="1368981"/>
                  <a:pt x="4628029" y="1363035"/>
                </a:cubicBezTo>
                <a:lnTo>
                  <a:pt x="4628194" y="1362870"/>
                </a:lnTo>
                <a:lnTo>
                  <a:pt x="4620926" y="1355602"/>
                </a:lnTo>
                <a:lnTo>
                  <a:pt x="4621504" y="1355025"/>
                </a:lnTo>
                <a:lnTo>
                  <a:pt x="4614319" y="1347838"/>
                </a:lnTo>
                <a:lnTo>
                  <a:pt x="4615557" y="1346600"/>
                </a:lnTo>
                <a:lnTo>
                  <a:pt x="4608372" y="1339413"/>
                </a:lnTo>
                <a:lnTo>
                  <a:pt x="4610023" y="1337764"/>
                </a:lnTo>
                <a:lnTo>
                  <a:pt x="4602755" y="1330495"/>
                </a:lnTo>
                <a:lnTo>
                  <a:pt x="4604737" y="1328514"/>
                </a:lnTo>
                <a:lnTo>
                  <a:pt x="4597305" y="1321080"/>
                </a:lnTo>
                <a:lnTo>
                  <a:pt x="4599452" y="1318934"/>
                </a:lnTo>
                <a:lnTo>
                  <a:pt x="4591688" y="1311169"/>
                </a:lnTo>
                <a:lnTo>
                  <a:pt x="4593918" y="1308939"/>
                </a:lnTo>
                <a:lnTo>
                  <a:pt x="4585743" y="1300762"/>
                </a:lnTo>
                <a:lnTo>
                  <a:pt x="4588055" y="1298450"/>
                </a:lnTo>
                <a:lnTo>
                  <a:pt x="4579300" y="1289694"/>
                </a:lnTo>
                <a:lnTo>
                  <a:pt x="4581531" y="1287466"/>
                </a:lnTo>
                <a:lnTo>
                  <a:pt x="4572032" y="1277966"/>
                </a:lnTo>
                <a:lnTo>
                  <a:pt x="4574096" y="1275904"/>
                </a:lnTo>
                <a:lnTo>
                  <a:pt x="4563772" y="1265579"/>
                </a:lnTo>
                <a:cubicBezTo>
                  <a:pt x="4563772" y="1259632"/>
                  <a:pt x="4568562" y="1254842"/>
                  <a:pt x="4574509" y="1254842"/>
                </a:cubicBezTo>
                <a:close/>
                <a:moveTo>
                  <a:pt x="4431131" y="1243114"/>
                </a:moveTo>
                <a:cubicBezTo>
                  <a:pt x="4437078" y="1243114"/>
                  <a:pt x="4441868" y="1247904"/>
                  <a:pt x="4441868" y="1253850"/>
                </a:cubicBezTo>
                <a:cubicBezTo>
                  <a:pt x="4441868" y="1259797"/>
                  <a:pt x="4437078" y="1264588"/>
                  <a:pt x="4431131" y="1264588"/>
                </a:cubicBezTo>
                <a:cubicBezTo>
                  <a:pt x="4425185" y="1264588"/>
                  <a:pt x="4420395" y="1259797"/>
                  <a:pt x="4420395" y="1253850"/>
                </a:cubicBezTo>
                <a:cubicBezTo>
                  <a:pt x="4420395" y="1247904"/>
                  <a:pt x="4425185" y="1243114"/>
                  <a:pt x="4431131" y="1243114"/>
                </a:cubicBezTo>
                <a:close/>
                <a:moveTo>
                  <a:pt x="4564763" y="1241957"/>
                </a:moveTo>
                <a:cubicBezTo>
                  <a:pt x="4570709" y="1241957"/>
                  <a:pt x="4575501" y="1246747"/>
                  <a:pt x="4575501" y="1252694"/>
                </a:cubicBezTo>
                <a:cubicBezTo>
                  <a:pt x="4575501" y="1258640"/>
                  <a:pt x="4570709" y="1263432"/>
                  <a:pt x="4564763" y="1263432"/>
                </a:cubicBezTo>
                <a:cubicBezTo>
                  <a:pt x="4558816" y="1263432"/>
                  <a:pt x="4554026" y="1258640"/>
                  <a:pt x="4554026" y="1252694"/>
                </a:cubicBezTo>
                <a:cubicBezTo>
                  <a:pt x="4554026" y="1246747"/>
                  <a:pt x="4558816" y="1241957"/>
                  <a:pt x="4564763" y="1241957"/>
                </a:cubicBezTo>
                <a:close/>
                <a:moveTo>
                  <a:pt x="3855475" y="1241957"/>
                </a:moveTo>
                <a:cubicBezTo>
                  <a:pt x="3861422" y="1241957"/>
                  <a:pt x="3866213" y="1246747"/>
                  <a:pt x="3866213" y="1252694"/>
                </a:cubicBezTo>
                <a:cubicBezTo>
                  <a:pt x="3866213" y="1258640"/>
                  <a:pt x="3861422" y="1263432"/>
                  <a:pt x="3855475" y="1263432"/>
                </a:cubicBezTo>
                <a:cubicBezTo>
                  <a:pt x="3849529" y="1263432"/>
                  <a:pt x="3844739" y="1258640"/>
                  <a:pt x="3844739" y="1252694"/>
                </a:cubicBezTo>
                <a:cubicBezTo>
                  <a:pt x="3844739" y="1246747"/>
                  <a:pt x="3849529" y="1241957"/>
                  <a:pt x="3855475" y="1241957"/>
                </a:cubicBezTo>
                <a:close/>
                <a:moveTo>
                  <a:pt x="4553366" y="1228249"/>
                </a:moveTo>
                <a:cubicBezTo>
                  <a:pt x="4559312" y="1228249"/>
                  <a:pt x="4564104" y="1233038"/>
                  <a:pt x="4564104" y="1238985"/>
                </a:cubicBezTo>
                <a:cubicBezTo>
                  <a:pt x="4564104" y="1244931"/>
                  <a:pt x="4559312" y="1249721"/>
                  <a:pt x="4553366" y="1249721"/>
                </a:cubicBezTo>
                <a:cubicBezTo>
                  <a:pt x="4547419" y="1249721"/>
                  <a:pt x="4542629" y="1244931"/>
                  <a:pt x="4542629" y="1238985"/>
                </a:cubicBezTo>
                <a:cubicBezTo>
                  <a:pt x="4542629" y="1233038"/>
                  <a:pt x="4547419" y="1228249"/>
                  <a:pt x="4553366" y="1228249"/>
                </a:cubicBezTo>
                <a:close/>
                <a:moveTo>
                  <a:pt x="4395948" y="1227917"/>
                </a:moveTo>
                <a:cubicBezTo>
                  <a:pt x="4401895" y="1227917"/>
                  <a:pt x="4406686" y="1232707"/>
                  <a:pt x="4406686" y="1238654"/>
                </a:cubicBezTo>
                <a:cubicBezTo>
                  <a:pt x="4406686" y="1244600"/>
                  <a:pt x="4401895" y="1249392"/>
                  <a:pt x="4395948" y="1249392"/>
                </a:cubicBezTo>
                <a:cubicBezTo>
                  <a:pt x="4390002" y="1249392"/>
                  <a:pt x="4385212" y="1244600"/>
                  <a:pt x="4385212" y="1238654"/>
                </a:cubicBezTo>
                <a:cubicBezTo>
                  <a:pt x="4385212" y="1232707"/>
                  <a:pt x="4390002" y="1227917"/>
                  <a:pt x="4395948" y="1227917"/>
                </a:cubicBezTo>
                <a:close/>
                <a:moveTo>
                  <a:pt x="3749759" y="1225935"/>
                </a:moveTo>
                <a:cubicBezTo>
                  <a:pt x="3755706" y="1225935"/>
                  <a:pt x="3760495" y="1230725"/>
                  <a:pt x="3760495" y="1236672"/>
                </a:cubicBezTo>
                <a:cubicBezTo>
                  <a:pt x="3760495" y="1242618"/>
                  <a:pt x="3755706" y="1247410"/>
                  <a:pt x="3749759" y="1247410"/>
                </a:cubicBezTo>
                <a:cubicBezTo>
                  <a:pt x="3743812" y="1247410"/>
                  <a:pt x="3739023" y="1242618"/>
                  <a:pt x="3739023" y="1236672"/>
                </a:cubicBezTo>
                <a:cubicBezTo>
                  <a:pt x="3739023" y="1230725"/>
                  <a:pt x="3743812" y="1225935"/>
                  <a:pt x="3749759" y="1225935"/>
                </a:cubicBezTo>
                <a:close/>
                <a:moveTo>
                  <a:pt x="4540151" y="1213877"/>
                </a:moveTo>
                <a:cubicBezTo>
                  <a:pt x="4546098" y="1213877"/>
                  <a:pt x="4550887" y="1218667"/>
                  <a:pt x="4550887" y="1224614"/>
                </a:cubicBezTo>
                <a:cubicBezTo>
                  <a:pt x="4550887" y="1230560"/>
                  <a:pt x="4546098" y="1235352"/>
                  <a:pt x="4540151" y="1235352"/>
                </a:cubicBezTo>
                <a:cubicBezTo>
                  <a:pt x="4534205" y="1235352"/>
                  <a:pt x="4529415" y="1230560"/>
                  <a:pt x="4529415" y="1224614"/>
                </a:cubicBezTo>
                <a:cubicBezTo>
                  <a:pt x="4529415" y="1218667"/>
                  <a:pt x="4534205" y="1213877"/>
                  <a:pt x="4540151" y="1213877"/>
                </a:cubicBezTo>
                <a:close/>
                <a:moveTo>
                  <a:pt x="4355809" y="1212060"/>
                </a:moveTo>
                <a:cubicBezTo>
                  <a:pt x="4361755" y="1212060"/>
                  <a:pt x="4366545" y="1216850"/>
                  <a:pt x="4366545" y="1222796"/>
                </a:cubicBezTo>
                <a:cubicBezTo>
                  <a:pt x="4366545" y="1228743"/>
                  <a:pt x="4361755" y="1233534"/>
                  <a:pt x="4355809" y="1233534"/>
                </a:cubicBezTo>
                <a:cubicBezTo>
                  <a:pt x="4349862" y="1233534"/>
                  <a:pt x="4345072" y="1228743"/>
                  <a:pt x="4345072" y="1222796"/>
                </a:cubicBezTo>
                <a:cubicBezTo>
                  <a:pt x="4345072" y="1216850"/>
                  <a:pt x="4349862" y="1212060"/>
                  <a:pt x="4355809" y="1212060"/>
                </a:cubicBezTo>
                <a:close/>
                <a:moveTo>
                  <a:pt x="3632975" y="1209417"/>
                </a:moveTo>
                <a:cubicBezTo>
                  <a:pt x="3638922" y="1209417"/>
                  <a:pt x="3643713" y="1214207"/>
                  <a:pt x="3643713" y="1220153"/>
                </a:cubicBezTo>
                <a:cubicBezTo>
                  <a:pt x="3643713" y="1226100"/>
                  <a:pt x="3638922" y="1230892"/>
                  <a:pt x="3632975" y="1230892"/>
                </a:cubicBezTo>
                <a:cubicBezTo>
                  <a:pt x="3627029" y="1230892"/>
                  <a:pt x="3622239" y="1226100"/>
                  <a:pt x="3622239" y="1220153"/>
                </a:cubicBezTo>
                <a:cubicBezTo>
                  <a:pt x="3622239" y="1214207"/>
                  <a:pt x="3627029" y="1209417"/>
                  <a:pt x="3632975" y="1209417"/>
                </a:cubicBezTo>
                <a:close/>
                <a:moveTo>
                  <a:pt x="0" y="1205803"/>
                </a:moveTo>
                <a:lnTo>
                  <a:pt x="5431" y="1211233"/>
                </a:lnTo>
                <a:lnTo>
                  <a:pt x="0" y="1216664"/>
                </a:lnTo>
                <a:close/>
                <a:moveTo>
                  <a:pt x="4675765" y="1205123"/>
                </a:moveTo>
                <a:cubicBezTo>
                  <a:pt x="4676313" y="1205123"/>
                  <a:pt x="4676756" y="1205567"/>
                  <a:pt x="4676756" y="1206113"/>
                </a:cubicBezTo>
                <a:cubicBezTo>
                  <a:pt x="4676756" y="1206661"/>
                  <a:pt x="4676313" y="1207105"/>
                  <a:pt x="4675765" y="1207105"/>
                </a:cubicBezTo>
                <a:cubicBezTo>
                  <a:pt x="4675218" y="1207105"/>
                  <a:pt x="4674774" y="1206661"/>
                  <a:pt x="4674774" y="1206113"/>
                </a:cubicBezTo>
                <a:cubicBezTo>
                  <a:pt x="4674774" y="1205567"/>
                  <a:pt x="4675218" y="1205123"/>
                  <a:pt x="4675765" y="1205123"/>
                </a:cubicBezTo>
                <a:close/>
                <a:moveTo>
                  <a:pt x="4524294" y="1198845"/>
                </a:moveTo>
                <a:cubicBezTo>
                  <a:pt x="4530240" y="1198845"/>
                  <a:pt x="4535030" y="1203635"/>
                  <a:pt x="4535030" y="1209582"/>
                </a:cubicBezTo>
                <a:cubicBezTo>
                  <a:pt x="4535030" y="1215528"/>
                  <a:pt x="4530240" y="1220320"/>
                  <a:pt x="4524294" y="1220320"/>
                </a:cubicBezTo>
                <a:cubicBezTo>
                  <a:pt x="4518347" y="1220320"/>
                  <a:pt x="4513557" y="1215528"/>
                  <a:pt x="4513557" y="1209582"/>
                </a:cubicBezTo>
                <a:cubicBezTo>
                  <a:pt x="4513557" y="1203635"/>
                  <a:pt x="4518347" y="1198845"/>
                  <a:pt x="4524294" y="1198845"/>
                </a:cubicBezTo>
                <a:close/>
                <a:moveTo>
                  <a:pt x="4310054" y="1195542"/>
                </a:moveTo>
                <a:cubicBezTo>
                  <a:pt x="4316001" y="1195542"/>
                  <a:pt x="4320790" y="1200332"/>
                  <a:pt x="4320790" y="1206278"/>
                </a:cubicBezTo>
                <a:cubicBezTo>
                  <a:pt x="4320790" y="1212225"/>
                  <a:pt x="4316001" y="1217016"/>
                  <a:pt x="4310054" y="1217016"/>
                </a:cubicBezTo>
                <a:cubicBezTo>
                  <a:pt x="4304107" y="1217016"/>
                  <a:pt x="4299318" y="1212225"/>
                  <a:pt x="4299318" y="1206278"/>
                </a:cubicBezTo>
                <a:cubicBezTo>
                  <a:pt x="4299318" y="1200332"/>
                  <a:pt x="4304107" y="1195542"/>
                  <a:pt x="4310054" y="1195542"/>
                </a:cubicBezTo>
                <a:close/>
                <a:moveTo>
                  <a:pt x="3504630" y="1192403"/>
                </a:moveTo>
                <a:cubicBezTo>
                  <a:pt x="3510559" y="1192403"/>
                  <a:pt x="3515366" y="1197210"/>
                  <a:pt x="3515366" y="1203139"/>
                </a:cubicBezTo>
                <a:cubicBezTo>
                  <a:pt x="3515366" y="1209070"/>
                  <a:pt x="3510559" y="1213876"/>
                  <a:pt x="3504630" y="1213876"/>
                </a:cubicBezTo>
                <a:cubicBezTo>
                  <a:pt x="3498701" y="1213876"/>
                  <a:pt x="3493894" y="1209070"/>
                  <a:pt x="3493894" y="1203139"/>
                </a:cubicBezTo>
                <a:cubicBezTo>
                  <a:pt x="3493894" y="1197210"/>
                  <a:pt x="3498701" y="1192403"/>
                  <a:pt x="3504630" y="1192403"/>
                </a:cubicBezTo>
                <a:close/>
                <a:moveTo>
                  <a:pt x="4661395" y="1187117"/>
                </a:moveTo>
                <a:cubicBezTo>
                  <a:pt x="4667324" y="1187117"/>
                  <a:pt x="4672131" y="1191924"/>
                  <a:pt x="4672131" y="1197854"/>
                </a:cubicBezTo>
                <a:cubicBezTo>
                  <a:pt x="4672131" y="1203783"/>
                  <a:pt x="4667324" y="1208590"/>
                  <a:pt x="4661395" y="1208590"/>
                </a:cubicBezTo>
                <a:cubicBezTo>
                  <a:pt x="4655466" y="1208590"/>
                  <a:pt x="4650659" y="1203783"/>
                  <a:pt x="4650659" y="1197854"/>
                </a:cubicBezTo>
                <a:cubicBezTo>
                  <a:pt x="4650659" y="1191924"/>
                  <a:pt x="4655466" y="1187117"/>
                  <a:pt x="4661395" y="1187117"/>
                </a:cubicBezTo>
                <a:close/>
                <a:moveTo>
                  <a:pt x="4573519" y="1185631"/>
                </a:moveTo>
                <a:cubicBezTo>
                  <a:pt x="4579465" y="1185631"/>
                  <a:pt x="4584257" y="1190421"/>
                  <a:pt x="4584257" y="1196367"/>
                </a:cubicBezTo>
                <a:lnTo>
                  <a:pt x="4581199" y="1199425"/>
                </a:lnTo>
                <a:lnTo>
                  <a:pt x="4591854" y="1210078"/>
                </a:lnTo>
                <a:lnTo>
                  <a:pt x="4588714" y="1213218"/>
                </a:lnTo>
                <a:lnTo>
                  <a:pt x="4598626" y="1223128"/>
                </a:lnTo>
                <a:lnTo>
                  <a:pt x="4595571" y="1226183"/>
                </a:lnTo>
                <a:lnTo>
                  <a:pt x="4604904" y="1235515"/>
                </a:lnTo>
                <a:lnTo>
                  <a:pt x="4602095" y="1238324"/>
                </a:lnTo>
                <a:lnTo>
                  <a:pt x="4611015" y="1247243"/>
                </a:lnTo>
                <a:lnTo>
                  <a:pt x="4608619" y="1249640"/>
                </a:lnTo>
                <a:lnTo>
                  <a:pt x="4617293" y="1258311"/>
                </a:lnTo>
                <a:lnTo>
                  <a:pt x="4615228" y="1260376"/>
                </a:lnTo>
                <a:lnTo>
                  <a:pt x="4623567" y="1268716"/>
                </a:lnTo>
                <a:lnTo>
                  <a:pt x="4621998" y="1270285"/>
                </a:lnTo>
                <a:lnTo>
                  <a:pt x="4630341" y="1278628"/>
                </a:lnTo>
                <a:lnTo>
                  <a:pt x="4629351" y="1279619"/>
                </a:lnTo>
                <a:lnTo>
                  <a:pt x="4637609" y="1287877"/>
                </a:lnTo>
                <a:lnTo>
                  <a:pt x="4637194" y="1288291"/>
                </a:lnTo>
                <a:lnTo>
                  <a:pt x="4643307" y="1294403"/>
                </a:lnTo>
                <a:lnTo>
                  <a:pt x="4643720" y="1293990"/>
                </a:lnTo>
                <a:lnTo>
                  <a:pt x="4652393" y="1302661"/>
                </a:lnTo>
                <a:lnTo>
                  <a:pt x="4653466" y="1301587"/>
                </a:lnTo>
                <a:lnTo>
                  <a:pt x="4662552" y="1310671"/>
                </a:lnTo>
                <a:lnTo>
                  <a:pt x="4664367" y="1308855"/>
                </a:lnTo>
                <a:lnTo>
                  <a:pt x="4673784" y="1318272"/>
                </a:lnTo>
                <a:lnTo>
                  <a:pt x="4676592" y="1315464"/>
                </a:lnTo>
                <a:cubicBezTo>
                  <a:pt x="4682538" y="1315464"/>
                  <a:pt x="4687330" y="1320254"/>
                  <a:pt x="4687330" y="1326201"/>
                </a:cubicBezTo>
                <a:cubicBezTo>
                  <a:pt x="4687330" y="1332147"/>
                  <a:pt x="4682538" y="1336937"/>
                  <a:pt x="4676592" y="1336937"/>
                </a:cubicBezTo>
                <a:lnTo>
                  <a:pt x="4667177" y="1327522"/>
                </a:lnTo>
                <a:lnTo>
                  <a:pt x="4664367" y="1330330"/>
                </a:lnTo>
                <a:lnTo>
                  <a:pt x="4655284" y="1321244"/>
                </a:lnTo>
                <a:lnTo>
                  <a:pt x="4653466" y="1323062"/>
                </a:lnTo>
                <a:lnTo>
                  <a:pt x="4644795" y="1314389"/>
                </a:lnTo>
                <a:lnTo>
                  <a:pt x="4643720" y="1315464"/>
                </a:lnTo>
                <a:lnTo>
                  <a:pt x="4635214" y="1306956"/>
                </a:lnTo>
                <a:lnTo>
                  <a:pt x="4634800" y="1307371"/>
                </a:lnTo>
                <a:cubicBezTo>
                  <a:pt x="4628853" y="1307371"/>
                  <a:pt x="4624063" y="1302579"/>
                  <a:pt x="4624063" y="1296633"/>
                </a:cubicBezTo>
                <a:lnTo>
                  <a:pt x="4624478" y="1296220"/>
                </a:lnTo>
                <a:lnTo>
                  <a:pt x="4616136" y="1287877"/>
                </a:lnTo>
                <a:lnTo>
                  <a:pt x="4617126" y="1286888"/>
                </a:lnTo>
                <a:lnTo>
                  <a:pt x="4608868" y="1278628"/>
                </a:lnTo>
                <a:lnTo>
                  <a:pt x="4610438" y="1277061"/>
                </a:lnTo>
                <a:lnTo>
                  <a:pt x="4602095" y="1268716"/>
                </a:lnTo>
                <a:lnTo>
                  <a:pt x="4604160" y="1266652"/>
                </a:lnTo>
                <a:lnTo>
                  <a:pt x="4595819" y="1258311"/>
                </a:lnTo>
                <a:lnTo>
                  <a:pt x="4598213" y="1255916"/>
                </a:lnTo>
                <a:lnTo>
                  <a:pt x="4589541" y="1247243"/>
                </a:lnTo>
                <a:lnTo>
                  <a:pt x="4592348" y="1244436"/>
                </a:lnTo>
                <a:lnTo>
                  <a:pt x="4583429" y="1235515"/>
                </a:lnTo>
                <a:lnTo>
                  <a:pt x="4586483" y="1232461"/>
                </a:lnTo>
                <a:lnTo>
                  <a:pt x="4577152" y="1223128"/>
                </a:lnTo>
                <a:lnTo>
                  <a:pt x="4580291" y="1219989"/>
                </a:lnTo>
                <a:lnTo>
                  <a:pt x="4570380" y="1210078"/>
                </a:lnTo>
                <a:lnTo>
                  <a:pt x="4573437" y="1207022"/>
                </a:lnTo>
                <a:lnTo>
                  <a:pt x="4562782" y="1196367"/>
                </a:lnTo>
                <a:cubicBezTo>
                  <a:pt x="4562782" y="1190421"/>
                  <a:pt x="4567572" y="1185631"/>
                  <a:pt x="4573519" y="1185631"/>
                </a:cubicBezTo>
                <a:close/>
                <a:moveTo>
                  <a:pt x="4505958" y="1183153"/>
                </a:moveTo>
                <a:cubicBezTo>
                  <a:pt x="4511905" y="1183153"/>
                  <a:pt x="4516695" y="1187943"/>
                  <a:pt x="4516695" y="1193889"/>
                </a:cubicBezTo>
                <a:cubicBezTo>
                  <a:pt x="4516695" y="1199836"/>
                  <a:pt x="4511905" y="1204627"/>
                  <a:pt x="4505958" y="1204627"/>
                </a:cubicBezTo>
                <a:cubicBezTo>
                  <a:pt x="4500012" y="1204627"/>
                  <a:pt x="4495222" y="1199836"/>
                  <a:pt x="4495222" y="1193889"/>
                </a:cubicBezTo>
                <a:cubicBezTo>
                  <a:pt x="4495222" y="1187943"/>
                  <a:pt x="4500012" y="1183153"/>
                  <a:pt x="4505958" y="1183153"/>
                </a:cubicBezTo>
                <a:close/>
                <a:moveTo>
                  <a:pt x="129645" y="1183153"/>
                </a:moveTo>
                <a:cubicBezTo>
                  <a:pt x="135592" y="1183153"/>
                  <a:pt x="140384" y="1187943"/>
                  <a:pt x="140384" y="1193889"/>
                </a:cubicBezTo>
                <a:cubicBezTo>
                  <a:pt x="140384" y="1199836"/>
                  <a:pt x="135592" y="1204627"/>
                  <a:pt x="129645" y="1204627"/>
                </a:cubicBezTo>
                <a:cubicBezTo>
                  <a:pt x="123699" y="1204627"/>
                  <a:pt x="118909" y="1199836"/>
                  <a:pt x="118909" y="1193889"/>
                </a:cubicBezTo>
                <a:cubicBezTo>
                  <a:pt x="118909" y="1187943"/>
                  <a:pt x="123699" y="1183153"/>
                  <a:pt x="129645" y="1183153"/>
                </a:cubicBezTo>
                <a:close/>
                <a:moveTo>
                  <a:pt x="4258186" y="1178363"/>
                </a:moveTo>
                <a:cubicBezTo>
                  <a:pt x="4264133" y="1178363"/>
                  <a:pt x="4268923" y="1183153"/>
                  <a:pt x="4268923" y="1189099"/>
                </a:cubicBezTo>
                <a:cubicBezTo>
                  <a:pt x="4268923" y="1195046"/>
                  <a:pt x="4264133" y="1199837"/>
                  <a:pt x="4258186" y="1199837"/>
                </a:cubicBezTo>
                <a:cubicBezTo>
                  <a:pt x="4252240" y="1199837"/>
                  <a:pt x="4247450" y="1195046"/>
                  <a:pt x="4247450" y="1189099"/>
                </a:cubicBezTo>
                <a:cubicBezTo>
                  <a:pt x="4247450" y="1183153"/>
                  <a:pt x="4252240" y="1178363"/>
                  <a:pt x="4258186" y="1178363"/>
                </a:cubicBezTo>
                <a:close/>
                <a:moveTo>
                  <a:pt x="3363895" y="1174895"/>
                </a:moveTo>
                <a:cubicBezTo>
                  <a:pt x="3369842" y="1174895"/>
                  <a:pt x="3374632" y="1179684"/>
                  <a:pt x="3374632" y="1185631"/>
                </a:cubicBezTo>
                <a:cubicBezTo>
                  <a:pt x="3374632" y="1191577"/>
                  <a:pt x="3369842" y="1196369"/>
                  <a:pt x="3363895" y="1196369"/>
                </a:cubicBezTo>
                <a:cubicBezTo>
                  <a:pt x="3357949" y="1196369"/>
                  <a:pt x="3353159" y="1191577"/>
                  <a:pt x="3353159" y="1185631"/>
                </a:cubicBezTo>
                <a:cubicBezTo>
                  <a:pt x="3353159" y="1179684"/>
                  <a:pt x="3357949" y="1174895"/>
                  <a:pt x="3363895" y="1174895"/>
                </a:cubicBezTo>
                <a:close/>
                <a:moveTo>
                  <a:pt x="4565094" y="1171095"/>
                </a:moveTo>
                <a:cubicBezTo>
                  <a:pt x="4571040" y="1171095"/>
                  <a:pt x="4575832" y="1175885"/>
                  <a:pt x="4575832" y="1181831"/>
                </a:cubicBezTo>
                <a:cubicBezTo>
                  <a:pt x="4575832" y="1187778"/>
                  <a:pt x="4571040" y="1192569"/>
                  <a:pt x="4565094" y="1192569"/>
                </a:cubicBezTo>
                <a:cubicBezTo>
                  <a:pt x="4559147" y="1192569"/>
                  <a:pt x="4554358" y="1187778"/>
                  <a:pt x="4554358" y="1181831"/>
                </a:cubicBezTo>
                <a:cubicBezTo>
                  <a:pt x="4554358" y="1175885"/>
                  <a:pt x="4559147" y="1171095"/>
                  <a:pt x="4565094" y="1171095"/>
                </a:cubicBezTo>
                <a:close/>
                <a:moveTo>
                  <a:pt x="4484321" y="1166635"/>
                </a:moveTo>
                <a:cubicBezTo>
                  <a:pt x="4490267" y="1166635"/>
                  <a:pt x="4495057" y="1171425"/>
                  <a:pt x="4495057" y="1177371"/>
                </a:cubicBezTo>
                <a:cubicBezTo>
                  <a:pt x="4495057" y="1183318"/>
                  <a:pt x="4490267" y="1188109"/>
                  <a:pt x="4484321" y="1188109"/>
                </a:cubicBezTo>
                <a:cubicBezTo>
                  <a:pt x="4478374" y="1188109"/>
                  <a:pt x="4473584" y="1183318"/>
                  <a:pt x="4473584" y="1177371"/>
                </a:cubicBezTo>
                <a:cubicBezTo>
                  <a:pt x="4473584" y="1171425"/>
                  <a:pt x="4478374" y="1166635"/>
                  <a:pt x="4484321" y="1166635"/>
                </a:cubicBezTo>
                <a:close/>
                <a:moveTo>
                  <a:pt x="277317" y="1165313"/>
                </a:moveTo>
                <a:cubicBezTo>
                  <a:pt x="283263" y="1165313"/>
                  <a:pt x="288055" y="1170103"/>
                  <a:pt x="288055" y="1176050"/>
                </a:cubicBezTo>
                <a:cubicBezTo>
                  <a:pt x="288055" y="1181996"/>
                  <a:pt x="283263" y="1186788"/>
                  <a:pt x="277317" y="1186788"/>
                </a:cubicBezTo>
                <a:cubicBezTo>
                  <a:pt x="271370" y="1186788"/>
                  <a:pt x="266580" y="1181996"/>
                  <a:pt x="266580" y="1176050"/>
                </a:cubicBezTo>
                <a:cubicBezTo>
                  <a:pt x="266580" y="1170103"/>
                  <a:pt x="271370" y="1165313"/>
                  <a:pt x="277317" y="1165313"/>
                </a:cubicBezTo>
                <a:close/>
                <a:moveTo>
                  <a:pt x="4199548" y="1160359"/>
                </a:moveTo>
                <a:cubicBezTo>
                  <a:pt x="4205495" y="1160359"/>
                  <a:pt x="4210284" y="1165148"/>
                  <a:pt x="4210284" y="1171095"/>
                </a:cubicBezTo>
                <a:cubicBezTo>
                  <a:pt x="4210284" y="1177042"/>
                  <a:pt x="4205495" y="1181831"/>
                  <a:pt x="4199548" y="1181831"/>
                </a:cubicBezTo>
                <a:cubicBezTo>
                  <a:pt x="4193602" y="1181831"/>
                  <a:pt x="4188812" y="1177042"/>
                  <a:pt x="4188812" y="1171095"/>
                </a:cubicBezTo>
                <a:cubicBezTo>
                  <a:pt x="4188812" y="1165148"/>
                  <a:pt x="4193602" y="1160359"/>
                  <a:pt x="4199548" y="1160359"/>
                </a:cubicBezTo>
                <a:close/>
                <a:moveTo>
                  <a:pt x="3209947" y="1157055"/>
                </a:moveTo>
                <a:cubicBezTo>
                  <a:pt x="3215893" y="1157055"/>
                  <a:pt x="3220683" y="1161845"/>
                  <a:pt x="3220683" y="1167791"/>
                </a:cubicBezTo>
                <a:cubicBezTo>
                  <a:pt x="3220683" y="1173738"/>
                  <a:pt x="3215893" y="1178529"/>
                  <a:pt x="3209947" y="1178529"/>
                </a:cubicBezTo>
                <a:cubicBezTo>
                  <a:pt x="3204000" y="1178529"/>
                  <a:pt x="3199210" y="1173738"/>
                  <a:pt x="3199210" y="1167791"/>
                </a:cubicBezTo>
                <a:cubicBezTo>
                  <a:pt x="3199210" y="1161845"/>
                  <a:pt x="3204000" y="1157055"/>
                  <a:pt x="3209947" y="1157055"/>
                </a:cubicBezTo>
                <a:close/>
                <a:moveTo>
                  <a:pt x="4555513" y="1155734"/>
                </a:moveTo>
                <a:cubicBezTo>
                  <a:pt x="4561459" y="1155734"/>
                  <a:pt x="4566249" y="1160523"/>
                  <a:pt x="4566249" y="1166470"/>
                </a:cubicBezTo>
                <a:cubicBezTo>
                  <a:pt x="4566249" y="1172416"/>
                  <a:pt x="4561459" y="1177208"/>
                  <a:pt x="4555513" y="1177208"/>
                </a:cubicBezTo>
                <a:cubicBezTo>
                  <a:pt x="4549566" y="1177208"/>
                  <a:pt x="4544776" y="1172416"/>
                  <a:pt x="4544776" y="1166470"/>
                </a:cubicBezTo>
                <a:cubicBezTo>
                  <a:pt x="4544776" y="1160523"/>
                  <a:pt x="4549566" y="1155734"/>
                  <a:pt x="4555513" y="1155734"/>
                </a:cubicBezTo>
                <a:close/>
                <a:moveTo>
                  <a:pt x="4459378" y="1149291"/>
                </a:moveTo>
                <a:cubicBezTo>
                  <a:pt x="4465324" y="1149291"/>
                  <a:pt x="4470116" y="1154081"/>
                  <a:pt x="4470116" y="1160027"/>
                </a:cubicBezTo>
                <a:cubicBezTo>
                  <a:pt x="4470116" y="1165974"/>
                  <a:pt x="4465324" y="1170766"/>
                  <a:pt x="4459378" y="1170766"/>
                </a:cubicBezTo>
                <a:cubicBezTo>
                  <a:pt x="4453431" y="1170766"/>
                  <a:pt x="4448642" y="1165974"/>
                  <a:pt x="4448642" y="1160027"/>
                </a:cubicBezTo>
                <a:cubicBezTo>
                  <a:pt x="4448642" y="1154081"/>
                  <a:pt x="4453431" y="1149291"/>
                  <a:pt x="4459378" y="1149291"/>
                </a:cubicBezTo>
                <a:close/>
                <a:moveTo>
                  <a:pt x="438700" y="1147309"/>
                </a:moveTo>
                <a:cubicBezTo>
                  <a:pt x="444647" y="1147309"/>
                  <a:pt x="449436" y="1152099"/>
                  <a:pt x="449436" y="1158045"/>
                </a:cubicBezTo>
                <a:cubicBezTo>
                  <a:pt x="449436" y="1163992"/>
                  <a:pt x="444647" y="1168783"/>
                  <a:pt x="438700" y="1168783"/>
                </a:cubicBezTo>
                <a:cubicBezTo>
                  <a:pt x="432753" y="1168783"/>
                  <a:pt x="427964" y="1163992"/>
                  <a:pt x="427964" y="1158045"/>
                </a:cubicBezTo>
                <a:cubicBezTo>
                  <a:pt x="427964" y="1152099"/>
                  <a:pt x="432753" y="1147309"/>
                  <a:pt x="438700" y="1147309"/>
                </a:cubicBezTo>
                <a:close/>
                <a:moveTo>
                  <a:pt x="4133640" y="1141858"/>
                </a:moveTo>
                <a:cubicBezTo>
                  <a:pt x="4139587" y="1141858"/>
                  <a:pt x="4144378" y="1146648"/>
                  <a:pt x="4144378" y="1152595"/>
                </a:cubicBezTo>
                <a:cubicBezTo>
                  <a:pt x="4144378" y="1158541"/>
                  <a:pt x="4139587" y="1163333"/>
                  <a:pt x="4133640" y="1163333"/>
                </a:cubicBezTo>
                <a:cubicBezTo>
                  <a:pt x="4127694" y="1163333"/>
                  <a:pt x="4122904" y="1158541"/>
                  <a:pt x="4122904" y="1152595"/>
                </a:cubicBezTo>
                <a:cubicBezTo>
                  <a:pt x="4122904" y="1146648"/>
                  <a:pt x="4127694" y="1141858"/>
                  <a:pt x="4133640" y="1141858"/>
                </a:cubicBezTo>
                <a:close/>
                <a:moveTo>
                  <a:pt x="4544282" y="1139711"/>
                </a:moveTo>
                <a:cubicBezTo>
                  <a:pt x="4550228" y="1139711"/>
                  <a:pt x="4555018" y="1144501"/>
                  <a:pt x="4555018" y="1150448"/>
                </a:cubicBezTo>
                <a:cubicBezTo>
                  <a:pt x="4555018" y="1156394"/>
                  <a:pt x="4550228" y="1161184"/>
                  <a:pt x="4544282" y="1161184"/>
                </a:cubicBezTo>
                <a:cubicBezTo>
                  <a:pt x="4538335" y="1161184"/>
                  <a:pt x="4533546" y="1156394"/>
                  <a:pt x="4533546" y="1150448"/>
                </a:cubicBezTo>
                <a:cubicBezTo>
                  <a:pt x="4533546" y="1144501"/>
                  <a:pt x="4538335" y="1139711"/>
                  <a:pt x="4544282" y="1139711"/>
                </a:cubicBezTo>
                <a:close/>
                <a:moveTo>
                  <a:pt x="3041957" y="1138719"/>
                </a:moveTo>
                <a:cubicBezTo>
                  <a:pt x="3047904" y="1138719"/>
                  <a:pt x="3052696" y="1143509"/>
                  <a:pt x="3052696" y="1149456"/>
                </a:cubicBezTo>
                <a:cubicBezTo>
                  <a:pt x="3052696" y="1155402"/>
                  <a:pt x="3047904" y="1160194"/>
                  <a:pt x="3041957" y="1160194"/>
                </a:cubicBezTo>
                <a:cubicBezTo>
                  <a:pt x="3036011" y="1160194"/>
                  <a:pt x="3031221" y="1155402"/>
                  <a:pt x="3031221" y="1149456"/>
                </a:cubicBezTo>
                <a:cubicBezTo>
                  <a:pt x="3031221" y="1143509"/>
                  <a:pt x="3036011" y="1138719"/>
                  <a:pt x="3041957" y="1138719"/>
                </a:cubicBezTo>
                <a:close/>
                <a:moveTo>
                  <a:pt x="4577648" y="1138059"/>
                </a:moveTo>
                <a:cubicBezTo>
                  <a:pt x="4583594" y="1138059"/>
                  <a:pt x="4588386" y="1142849"/>
                  <a:pt x="4588386" y="1148795"/>
                </a:cubicBezTo>
                <a:lnTo>
                  <a:pt x="4584834" y="1152347"/>
                </a:lnTo>
                <a:lnTo>
                  <a:pt x="4595323" y="1162835"/>
                </a:lnTo>
                <a:lnTo>
                  <a:pt x="4592100" y="1166057"/>
                </a:lnTo>
                <a:lnTo>
                  <a:pt x="4602095" y="1176050"/>
                </a:lnTo>
                <a:lnTo>
                  <a:pt x="4599287" y="1178859"/>
                </a:lnTo>
                <a:lnTo>
                  <a:pt x="4609033" y="1188603"/>
                </a:lnTo>
                <a:lnTo>
                  <a:pt x="4606638" y="1191000"/>
                </a:lnTo>
                <a:lnTo>
                  <a:pt x="4616136" y="1200496"/>
                </a:lnTo>
                <a:lnTo>
                  <a:pt x="4614484" y="1202149"/>
                </a:lnTo>
                <a:lnTo>
                  <a:pt x="4623900" y="1211564"/>
                </a:lnTo>
                <a:lnTo>
                  <a:pt x="4622660" y="1212804"/>
                </a:lnTo>
                <a:lnTo>
                  <a:pt x="4631992" y="1222136"/>
                </a:lnTo>
                <a:lnTo>
                  <a:pt x="4631579" y="1222548"/>
                </a:lnTo>
                <a:lnTo>
                  <a:pt x="4639839" y="1230808"/>
                </a:lnTo>
                <a:lnTo>
                  <a:pt x="4640085" y="1230560"/>
                </a:lnTo>
                <a:lnTo>
                  <a:pt x="4649831" y="1240306"/>
                </a:lnTo>
                <a:lnTo>
                  <a:pt x="4650988" y="1239150"/>
                </a:lnTo>
                <a:lnTo>
                  <a:pt x="4661064" y="1249225"/>
                </a:lnTo>
                <a:lnTo>
                  <a:pt x="4663046" y="1247243"/>
                </a:lnTo>
                <a:cubicBezTo>
                  <a:pt x="4668993" y="1247243"/>
                  <a:pt x="4673782" y="1252033"/>
                  <a:pt x="4673782" y="1257980"/>
                </a:cubicBezTo>
                <a:cubicBezTo>
                  <a:pt x="4673782" y="1263926"/>
                  <a:pt x="4668993" y="1268718"/>
                  <a:pt x="4663046" y="1268718"/>
                </a:cubicBezTo>
                <a:lnTo>
                  <a:pt x="4652970" y="1258642"/>
                </a:lnTo>
                <a:lnTo>
                  <a:pt x="4650988" y="1260624"/>
                </a:lnTo>
                <a:lnTo>
                  <a:pt x="4641242" y="1250876"/>
                </a:lnTo>
                <a:lnTo>
                  <a:pt x="4640085" y="1252033"/>
                </a:lnTo>
                <a:lnTo>
                  <a:pt x="4630589" y="1242537"/>
                </a:lnTo>
                <a:lnTo>
                  <a:pt x="4630341" y="1242785"/>
                </a:lnTo>
                <a:cubicBezTo>
                  <a:pt x="4624394" y="1242785"/>
                  <a:pt x="4619605" y="1237993"/>
                  <a:pt x="4619605" y="1232046"/>
                </a:cubicBezTo>
                <a:lnTo>
                  <a:pt x="4620017" y="1231635"/>
                </a:lnTo>
                <a:lnTo>
                  <a:pt x="4610519" y="1222136"/>
                </a:lnTo>
                <a:lnTo>
                  <a:pt x="4611757" y="1220897"/>
                </a:lnTo>
                <a:lnTo>
                  <a:pt x="4602426" y="1211564"/>
                </a:lnTo>
                <a:lnTo>
                  <a:pt x="4604078" y="1209913"/>
                </a:lnTo>
                <a:lnTo>
                  <a:pt x="4594662" y="1200496"/>
                </a:lnTo>
                <a:lnTo>
                  <a:pt x="4597057" y="1198103"/>
                </a:lnTo>
                <a:lnTo>
                  <a:pt x="4587559" y="1188603"/>
                </a:lnTo>
                <a:lnTo>
                  <a:pt x="4590366" y="1185796"/>
                </a:lnTo>
                <a:lnTo>
                  <a:pt x="4580622" y="1176050"/>
                </a:lnTo>
                <a:lnTo>
                  <a:pt x="4583844" y="1172829"/>
                </a:lnTo>
                <a:lnTo>
                  <a:pt x="4573850" y="1162835"/>
                </a:lnTo>
                <a:lnTo>
                  <a:pt x="4577400" y="1159285"/>
                </a:lnTo>
                <a:lnTo>
                  <a:pt x="4566911" y="1148795"/>
                </a:lnTo>
                <a:cubicBezTo>
                  <a:pt x="4566911" y="1142849"/>
                  <a:pt x="4571701" y="1138059"/>
                  <a:pt x="4577648" y="1138059"/>
                </a:cubicBezTo>
                <a:close/>
                <a:moveTo>
                  <a:pt x="4659578" y="1135086"/>
                </a:moveTo>
                <a:cubicBezTo>
                  <a:pt x="4661858" y="1135086"/>
                  <a:pt x="4663708" y="1136935"/>
                  <a:pt x="4663708" y="1139215"/>
                </a:cubicBezTo>
                <a:cubicBezTo>
                  <a:pt x="4663708" y="1141496"/>
                  <a:pt x="4661858" y="1143345"/>
                  <a:pt x="4659578" y="1143345"/>
                </a:cubicBezTo>
                <a:cubicBezTo>
                  <a:pt x="4657297" y="1143345"/>
                  <a:pt x="4655449" y="1141496"/>
                  <a:pt x="4655449" y="1139215"/>
                </a:cubicBezTo>
                <a:cubicBezTo>
                  <a:pt x="4655449" y="1136935"/>
                  <a:pt x="4657297" y="1135086"/>
                  <a:pt x="4659578" y="1135086"/>
                </a:cubicBezTo>
                <a:close/>
                <a:moveTo>
                  <a:pt x="4430306" y="1131287"/>
                </a:moveTo>
                <a:cubicBezTo>
                  <a:pt x="4436253" y="1131287"/>
                  <a:pt x="4441042" y="1136077"/>
                  <a:pt x="4441042" y="1142023"/>
                </a:cubicBezTo>
                <a:cubicBezTo>
                  <a:pt x="4441042" y="1147970"/>
                  <a:pt x="4436253" y="1152761"/>
                  <a:pt x="4430306" y="1152761"/>
                </a:cubicBezTo>
                <a:cubicBezTo>
                  <a:pt x="4424359" y="1152761"/>
                  <a:pt x="4419570" y="1147970"/>
                  <a:pt x="4419570" y="1142023"/>
                </a:cubicBezTo>
                <a:cubicBezTo>
                  <a:pt x="4419570" y="1136077"/>
                  <a:pt x="4424359" y="1131287"/>
                  <a:pt x="4430306" y="1131287"/>
                </a:cubicBezTo>
                <a:close/>
                <a:moveTo>
                  <a:pt x="614453" y="1128809"/>
                </a:moveTo>
                <a:cubicBezTo>
                  <a:pt x="620400" y="1128809"/>
                  <a:pt x="625189" y="1133598"/>
                  <a:pt x="625189" y="1139545"/>
                </a:cubicBezTo>
                <a:cubicBezTo>
                  <a:pt x="625189" y="1145491"/>
                  <a:pt x="620400" y="1150283"/>
                  <a:pt x="614453" y="1150283"/>
                </a:cubicBezTo>
                <a:cubicBezTo>
                  <a:pt x="608507" y="1150283"/>
                  <a:pt x="603717" y="1145491"/>
                  <a:pt x="603717" y="1139545"/>
                </a:cubicBezTo>
                <a:cubicBezTo>
                  <a:pt x="603717" y="1133598"/>
                  <a:pt x="608507" y="1128809"/>
                  <a:pt x="614453" y="1128809"/>
                </a:cubicBezTo>
                <a:close/>
                <a:moveTo>
                  <a:pt x="4570380" y="1123193"/>
                </a:moveTo>
                <a:cubicBezTo>
                  <a:pt x="4576326" y="1123193"/>
                  <a:pt x="4581118" y="1127983"/>
                  <a:pt x="4581118" y="1133930"/>
                </a:cubicBezTo>
                <a:cubicBezTo>
                  <a:pt x="4581118" y="1139876"/>
                  <a:pt x="4576326" y="1144666"/>
                  <a:pt x="4570380" y="1144666"/>
                </a:cubicBezTo>
                <a:cubicBezTo>
                  <a:pt x="4564433" y="1144666"/>
                  <a:pt x="4559643" y="1139876"/>
                  <a:pt x="4559643" y="1133930"/>
                </a:cubicBezTo>
                <a:cubicBezTo>
                  <a:pt x="4559643" y="1127983"/>
                  <a:pt x="4564433" y="1123193"/>
                  <a:pt x="4570380" y="1123193"/>
                </a:cubicBezTo>
                <a:close/>
                <a:moveTo>
                  <a:pt x="4531232" y="1122862"/>
                </a:moveTo>
                <a:cubicBezTo>
                  <a:pt x="4537179" y="1122862"/>
                  <a:pt x="4541969" y="1127652"/>
                  <a:pt x="4541969" y="1133598"/>
                </a:cubicBezTo>
                <a:cubicBezTo>
                  <a:pt x="4541969" y="1139545"/>
                  <a:pt x="4537179" y="1144337"/>
                  <a:pt x="4531232" y="1144337"/>
                </a:cubicBezTo>
                <a:cubicBezTo>
                  <a:pt x="4525286" y="1144337"/>
                  <a:pt x="4520496" y="1139545"/>
                  <a:pt x="4520496" y="1133598"/>
                </a:cubicBezTo>
                <a:cubicBezTo>
                  <a:pt x="4520496" y="1127652"/>
                  <a:pt x="4525286" y="1122862"/>
                  <a:pt x="4531232" y="1122862"/>
                </a:cubicBezTo>
                <a:close/>
                <a:moveTo>
                  <a:pt x="4059969" y="1122366"/>
                </a:moveTo>
                <a:cubicBezTo>
                  <a:pt x="4065915" y="1122366"/>
                  <a:pt x="4070705" y="1127156"/>
                  <a:pt x="4070705" y="1133102"/>
                </a:cubicBezTo>
                <a:cubicBezTo>
                  <a:pt x="4070705" y="1139049"/>
                  <a:pt x="4065915" y="1143841"/>
                  <a:pt x="4059969" y="1143841"/>
                </a:cubicBezTo>
                <a:cubicBezTo>
                  <a:pt x="4054022" y="1143841"/>
                  <a:pt x="4049232" y="1139049"/>
                  <a:pt x="4049232" y="1133102"/>
                </a:cubicBezTo>
                <a:cubicBezTo>
                  <a:pt x="4049232" y="1127156"/>
                  <a:pt x="4054022" y="1122366"/>
                  <a:pt x="4059969" y="1122366"/>
                </a:cubicBezTo>
                <a:close/>
                <a:moveTo>
                  <a:pt x="2859266" y="1120219"/>
                </a:moveTo>
                <a:cubicBezTo>
                  <a:pt x="2865213" y="1120219"/>
                  <a:pt x="2870004" y="1125009"/>
                  <a:pt x="2870004" y="1130956"/>
                </a:cubicBezTo>
                <a:cubicBezTo>
                  <a:pt x="2870004" y="1136902"/>
                  <a:pt x="2865213" y="1141694"/>
                  <a:pt x="2859266" y="1141694"/>
                </a:cubicBezTo>
                <a:cubicBezTo>
                  <a:pt x="2853320" y="1141694"/>
                  <a:pt x="2848530" y="1136902"/>
                  <a:pt x="2848530" y="1130956"/>
                </a:cubicBezTo>
                <a:cubicBezTo>
                  <a:pt x="2848530" y="1125009"/>
                  <a:pt x="2853320" y="1120219"/>
                  <a:pt x="2859266" y="1120219"/>
                </a:cubicBezTo>
                <a:close/>
                <a:moveTo>
                  <a:pt x="4645206" y="1118898"/>
                </a:moveTo>
                <a:cubicBezTo>
                  <a:pt x="4651153" y="1118898"/>
                  <a:pt x="4655945" y="1123688"/>
                  <a:pt x="4655945" y="1129634"/>
                </a:cubicBezTo>
                <a:cubicBezTo>
                  <a:pt x="4655945" y="1135581"/>
                  <a:pt x="4651153" y="1140372"/>
                  <a:pt x="4645206" y="1140372"/>
                </a:cubicBezTo>
                <a:cubicBezTo>
                  <a:pt x="4639260" y="1140372"/>
                  <a:pt x="4634470" y="1135581"/>
                  <a:pt x="4634470" y="1129634"/>
                </a:cubicBezTo>
                <a:cubicBezTo>
                  <a:pt x="4634470" y="1123688"/>
                  <a:pt x="4639260" y="1118898"/>
                  <a:pt x="4645206" y="1118898"/>
                </a:cubicBezTo>
                <a:close/>
                <a:moveTo>
                  <a:pt x="4396938" y="1112455"/>
                </a:moveTo>
                <a:cubicBezTo>
                  <a:pt x="4402885" y="1112455"/>
                  <a:pt x="4407677" y="1117245"/>
                  <a:pt x="4407677" y="1123192"/>
                </a:cubicBezTo>
                <a:cubicBezTo>
                  <a:pt x="4407677" y="1129138"/>
                  <a:pt x="4402885" y="1133930"/>
                  <a:pt x="4396938" y="1133930"/>
                </a:cubicBezTo>
                <a:cubicBezTo>
                  <a:pt x="4390992" y="1133930"/>
                  <a:pt x="4386202" y="1129138"/>
                  <a:pt x="4386202" y="1123192"/>
                </a:cubicBezTo>
                <a:cubicBezTo>
                  <a:pt x="4386202" y="1117245"/>
                  <a:pt x="4390992" y="1112455"/>
                  <a:pt x="4396938" y="1112455"/>
                </a:cubicBezTo>
                <a:close/>
                <a:moveTo>
                  <a:pt x="4589211" y="1110804"/>
                </a:moveTo>
                <a:cubicBezTo>
                  <a:pt x="4595158" y="1110804"/>
                  <a:pt x="4599948" y="1115594"/>
                  <a:pt x="4599948" y="1121541"/>
                </a:cubicBezTo>
                <a:lnTo>
                  <a:pt x="4597469" y="1124019"/>
                </a:lnTo>
                <a:lnTo>
                  <a:pt x="4608041" y="1134590"/>
                </a:lnTo>
                <a:lnTo>
                  <a:pt x="4606225" y="1136408"/>
                </a:lnTo>
                <a:lnTo>
                  <a:pt x="4616632" y="1146813"/>
                </a:lnTo>
                <a:lnTo>
                  <a:pt x="4615474" y="1147971"/>
                </a:lnTo>
                <a:lnTo>
                  <a:pt x="4625881" y="1158376"/>
                </a:lnTo>
                <a:lnTo>
                  <a:pt x="4625468" y="1158789"/>
                </a:lnTo>
                <a:lnTo>
                  <a:pt x="4635875" y="1169196"/>
                </a:lnTo>
                <a:lnTo>
                  <a:pt x="4636287" y="1168783"/>
                </a:lnTo>
                <a:lnTo>
                  <a:pt x="4646942" y="1179438"/>
                </a:lnTo>
                <a:lnTo>
                  <a:pt x="4648181" y="1178198"/>
                </a:lnTo>
                <a:cubicBezTo>
                  <a:pt x="4654127" y="1178198"/>
                  <a:pt x="4658917" y="1182988"/>
                  <a:pt x="4658917" y="1188935"/>
                </a:cubicBezTo>
                <a:cubicBezTo>
                  <a:pt x="4658917" y="1194881"/>
                  <a:pt x="4654127" y="1199673"/>
                  <a:pt x="4648181" y="1199673"/>
                </a:cubicBezTo>
                <a:lnTo>
                  <a:pt x="4637527" y="1189018"/>
                </a:lnTo>
                <a:lnTo>
                  <a:pt x="4636287" y="1190258"/>
                </a:lnTo>
                <a:lnTo>
                  <a:pt x="4625633" y="1179601"/>
                </a:lnTo>
                <a:lnTo>
                  <a:pt x="4625220" y="1180014"/>
                </a:lnTo>
                <a:cubicBezTo>
                  <a:pt x="4619273" y="1180014"/>
                  <a:pt x="4614484" y="1175224"/>
                  <a:pt x="4614484" y="1169278"/>
                </a:cubicBezTo>
                <a:lnTo>
                  <a:pt x="4614896" y="1168867"/>
                </a:lnTo>
                <a:lnTo>
                  <a:pt x="4604408" y="1158376"/>
                </a:lnTo>
                <a:lnTo>
                  <a:pt x="4605565" y="1157220"/>
                </a:lnTo>
                <a:lnTo>
                  <a:pt x="4595158" y="1146813"/>
                </a:lnTo>
                <a:lnTo>
                  <a:pt x="4596973" y="1144997"/>
                </a:lnTo>
                <a:lnTo>
                  <a:pt x="4586568" y="1134590"/>
                </a:lnTo>
                <a:lnTo>
                  <a:pt x="4589047" y="1132112"/>
                </a:lnTo>
                <a:lnTo>
                  <a:pt x="4578475" y="1121541"/>
                </a:lnTo>
                <a:cubicBezTo>
                  <a:pt x="4578475" y="1115594"/>
                  <a:pt x="4583265" y="1110804"/>
                  <a:pt x="4589211" y="1110804"/>
                </a:cubicBezTo>
                <a:close/>
                <a:moveTo>
                  <a:pt x="805403" y="1110473"/>
                </a:moveTo>
                <a:cubicBezTo>
                  <a:pt x="811349" y="1110473"/>
                  <a:pt x="816141" y="1115263"/>
                  <a:pt x="816141" y="1121209"/>
                </a:cubicBezTo>
                <a:cubicBezTo>
                  <a:pt x="816141" y="1127156"/>
                  <a:pt x="811349" y="1131947"/>
                  <a:pt x="805403" y="1131947"/>
                </a:cubicBezTo>
                <a:cubicBezTo>
                  <a:pt x="799456" y="1131947"/>
                  <a:pt x="794666" y="1127156"/>
                  <a:pt x="794666" y="1121209"/>
                </a:cubicBezTo>
                <a:cubicBezTo>
                  <a:pt x="794666" y="1115263"/>
                  <a:pt x="799456" y="1110473"/>
                  <a:pt x="805403" y="1110473"/>
                </a:cubicBezTo>
                <a:close/>
                <a:moveTo>
                  <a:pt x="4631992" y="1108657"/>
                </a:moveTo>
                <a:cubicBezTo>
                  <a:pt x="4637938" y="1108657"/>
                  <a:pt x="4642728" y="1113447"/>
                  <a:pt x="4642728" y="1119394"/>
                </a:cubicBezTo>
                <a:cubicBezTo>
                  <a:pt x="4642728" y="1125340"/>
                  <a:pt x="4637938" y="1130132"/>
                  <a:pt x="4631992" y="1130132"/>
                </a:cubicBezTo>
                <a:cubicBezTo>
                  <a:pt x="4626045" y="1130132"/>
                  <a:pt x="4621256" y="1125340"/>
                  <a:pt x="4621256" y="1119394"/>
                </a:cubicBezTo>
                <a:cubicBezTo>
                  <a:pt x="4621256" y="1113447"/>
                  <a:pt x="4626045" y="1108657"/>
                  <a:pt x="4631992" y="1108657"/>
                </a:cubicBezTo>
                <a:close/>
                <a:moveTo>
                  <a:pt x="4562451" y="1107501"/>
                </a:moveTo>
                <a:cubicBezTo>
                  <a:pt x="4568398" y="1107501"/>
                  <a:pt x="4573187" y="1112290"/>
                  <a:pt x="4573187" y="1118237"/>
                </a:cubicBezTo>
                <a:cubicBezTo>
                  <a:pt x="4573187" y="1124184"/>
                  <a:pt x="4568398" y="1128975"/>
                  <a:pt x="4562451" y="1128975"/>
                </a:cubicBezTo>
                <a:cubicBezTo>
                  <a:pt x="4556504" y="1128975"/>
                  <a:pt x="4551715" y="1124184"/>
                  <a:pt x="4551715" y="1118237"/>
                </a:cubicBezTo>
                <a:cubicBezTo>
                  <a:pt x="4551715" y="1112290"/>
                  <a:pt x="4556504" y="1107501"/>
                  <a:pt x="4562451" y="1107501"/>
                </a:cubicBezTo>
                <a:close/>
                <a:moveTo>
                  <a:pt x="4515871" y="1105187"/>
                </a:moveTo>
                <a:cubicBezTo>
                  <a:pt x="4521817" y="1105187"/>
                  <a:pt x="4526607" y="1109977"/>
                  <a:pt x="4526607" y="1115924"/>
                </a:cubicBezTo>
                <a:cubicBezTo>
                  <a:pt x="4526607" y="1121870"/>
                  <a:pt x="4521817" y="1126662"/>
                  <a:pt x="4515871" y="1126662"/>
                </a:cubicBezTo>
                <a:cubicBezTo>
                  <a:pt x="4509924" y="1126662"/>
                  <a:pt x="4505134" y="1121870"/>
                  <a:pt x="4505134" y="1115924"/>
                </a:cubicBezTo>
                <a:cubicBezTo>
                  <a:pt x="4505134" y="1109977"/>
                  <a:pt x="4509924" y="1105187"/>
                  <a:pt x="4515871" y="1105187"/>
                </a:cubicBezTo>
                <a:close/>
                <a:moveTo>
                  <a:pt x="3977709" y="1102380"/>
                </a:moveTo>
                <a:cubicBezTo>
                  <a:pt x="3983656" y="1102380"/>
                  <a:pt x="3988447" y="1107169"/>
                  <a:pt x="3988447" y="1113116"/>
                </a:cubicBezTo>
                <a:cubicBezTo>
                  <a:pt x="3988447" y="1119062"/>
                  <a:pt x="3983656" y="1123854"/>
                  <a:pt x="3977709" y="1123854"/>
                </a:cubicBezTo>
                <a:cubicBezTo>
                  <a:pt x="3971763" y="1123854"/>
                  <a:pt x="3966973" y="1119062"/>
                  <a:pt x="3966973" y="1113116"/>
                </a:cubicBezTo>
                <a:cubicBezTo>
                  <a:pt x="3966973" y="1107169"/>
                  <a:pt x="3971763" y="1102380"/>
                  <a:pt x="3977709" y="1102380"/>
                </a:cubicBezTo>
                <a:close/>
                <a:moveTo>
                  <a:pt x="2661215" y="1102048"/>
                </a:moveTo>
                <a:cubicBezTo>
                  <a:pt x="2667161" y="1102048"/>
                  <a:pt x="2671951" y="1106838"/>
                  <a:pt x="2671951" y="1112785"/>
                </a:cubicBezTo>
                <a:cubicBezTo>
                  <a:pt x="2671951" y="1118731"/>
                  <a:pt x="2667161" y="1123523"/>
                  <a:pt x="2661215" y="1123523"/>
                </a:cubicBezTo>
                <a:cubicBezTo>
                  <a:pt x="2655268" y="1123523"/>
                  <a:pt x="2650479" y="1118731"/>
                  <a:pt x="2650479" y="1112785"/>
                </a:cubicBezTo>
                <a:cubicBezTo>
                  <a:pt x="2650479" y="1106838"/>
                  <a:pt x="2655268" y="1102048"/>
                  <a:pt x="2661215" y="1102048"/>
                </a:cubicBezTo>
                <a:close/>
                <a:moveTo>
                  <a:pt x="4619769" y="1097590"/>
                </a:moveTo>
                <a:cubicBezTo>
                  <a:pt x="4625716" y="1097590"/>
                  <a:pt x="4630506" y="1102380"/>
                  <a:pt x="4630506" y="1108326"/>
                </a:cubicBezTo>
                <a:cubicBezTo>
                  <a:pt x="4630506" y="1114273"/>
                  <a:pt x="4625716" y="1119064"/>
                  <a:pt x="4619769" y="1119064"/>
                </a:cubicBezTo>
                <a:cubicBezTo>
                  <a:pt x="4613823" y="1119064"/>
                  <a:pt x="4609033" y="1114273"/>
                  <a:pt x="4609033" y="1108326"/>
                </a:cubicBezTo>
                <a:cubicBezTo>
                  <a:pt x="4609033" y="1102380"/>
                  <a:pt x="4613823" y="1097590"/>
                  <a:pt x="4619769" y="1097590"/>
                </a:cubicBezTo>
                <a:close/>
                <a:moveTo>
                  <a:pt x="4581447" y="1096929"/>
                </a:moveTo>
                <a:cubicBezTo>
                  <a:pt x="4587394" y="1096929"/>
                  <a:pt x="4592184" y="1101719"/>
                  <a:pt x="4592184" y="1107665"/>
                </a:cubicBezTo>
                <a:cubicBezTo>
                  <a:pt x="4592184" y="1113612"/>
                  <a:pt x="4587394" y="1118403"/>
                  <a:pt x="4581447" y="1118403"/>
                </a:cubicBezTo>
                <a:cubicBezTo>
                  <a:pt x="4575501" y="1118403"/>
                  <a:pt x="4570711" y="1113612"/>
                  <a:pt x="4570711" y="1107665"/>
                </a:cubicBezTo>
                <a:cubicBezTo>
                  <a:pt x="4570711" y="1101719"/>
                  <a:pt x="4575501" y="1096929"/>
                  <a:pt x="4581447" y="1096929"/>
                </a:cubicBezTo>
                <a:close/>
                <a:moveTo>
                  <a:pt x="4358616" y="1092798"/>
                </a:moveTo>
                <a:cubicBezTo>
                  <a:pt x="4364563" y="1092798"/>
                  <a:pt x="4369355" y="1097588"/>
                  <a:pt x="4369355" y="1103535"/>
                </a:cubicBezTo>
                <a:cubicBezTo>
                  <a:pt x="4369355" y="1109481"/>
                  <a:pt x="4364563" y="1114273"/>
                  <a:pt x="4358616" y="1114273"/>
                </a:cubicBezTo>
                <a:cubicBezTo>
                  <a:pt x="4352670" y="1114273"/>
                  <a:pt x="4347880" y="1109481"/>
                  <a:pt x="4347880" y="1103535"/>
                </a:cubicBezTo>
                <a:cubicBezTo>
                  <a:pt x="4347880" y="1097588"/>
                  <a:pt x="4352670" y="1092798"/>
                  <a:pt x="4358616" y="1092798"/>
                </a:cubicBezTo>
                <a:close/>
                <a:moveTo>
                  <a:pt x="1012045" y="1092633"/>
                </a:moveTo>
                <a:cubicBezTo>
                  <a:pt x="1017991" y="1092633"/>
                  <a:pt x="1022781" y="1097423"/>
                  <a:pt x="1022781" y="1103370"/>
                </a:cubicBezTo>
                <a:cubicBezTo>
                  <a:pt x="1022781" y="1109316"/>
                  <a:pt x="1017991" y="1114108"/>
                  <a:pt x="1012045" y="1114108"/>
                </a:cubicBezTo>
                <a:cubicBezTo>
                  <a:pt x="1006098" y="1114108"/>
                  <a:pt x="1001308" y="1109316"/>
                  <a:pt x="1001308" y="1103370"/>
                </a:cubicBezTo>
                <a:cubicBezTo>
                  <a:pt x="1001308" y="1097423"/>
                  <a:pt x="1006098" y="1092633"/>
                  <a:pt x="1012045" y="1092633"/>
                </a:cubicBezTo>
                <a:close/>
                <a:moveTo>
                  <a:pt x="4553862" y="1091147"/>
                </a:moveTo>
                <a:cubicBezTo>
                  <a:pt x="4559808" y="1091147"/>
                  <a:pt x="4564600" y="1095937"/>
                  <a:pt x="4564600" y="1101884"/>
                </a:cubicBezTo>
                <a:cubicBezTo>
                  <a:pt x="4564600" y="1107830"/>
                  <a:pt x="4559808" y="1112622"/>
                  <a:pt x="4553862" y="1112622"/>
                </a:cubicBezTo>
                <a:cubicBezTo>
                  <a:pt x="4547915" y="1112622"/>
                  <a:pt x="4543125" y="1107830"/>
                  <a:pt x="4543125" y="1101884"/>
                </a:cubicBezTo>
                <a:cubicBezTo>
                  <a:pt x="4543125" y="1095937"/>
                  <a:pt x="4547915" y="1091147"/>
                  <a:pt x="4553862" y="1091147"/>
                </a:cubicBezTo>
                <a:close/>
                <a:moveTo>
                  <a:pt x="4498196" y="1086522"/>
                </a:moveTo>
                <a:cubicBezTo>
                  <a:pt x="4504142" y="1086522"/>
                  <a:pt x="4508932" y="1091312"/>
                  <a:pt x="4508932" y="1097259"/>
                </a:cubicBezTo>
                <a:cubicBezTo>
                  <a:pt x="4508932" y="1103205"/>
                  <a:pt x="4504142" y="1107995"/>
                  <a:pt x="4498196" y="1107995"/>
                </a:cubicBezTo>
                <a:cubicBezTo>
                  <a:pt x="4492249" y="1107995"/>
                  <a:pt x="4487460" y="1103205"/>
                  <a:pt x="4487460" y="1097259"/>
                </a:cubicBezTo>
                <a:cubicBezTo>
                  <a:pt x="4487460" y="1091312"/>
                  <a:pt x="4492249" y="1086522"/>
                  <a:pt x="4498196" y="1086522"/>
                </a:cubicBezTo>
                <a:close/>
                <a:moveTo>
                  <a:pt x="4608537" y="1085861"/>
                </a:moveTo>
                <a:cubicBezTo>
                  <a:pt x="4614484" y="1085861"/>
                  <a:pt x="4619275" y="1090651"/>
                  <a:pt x="4619275" y="1096598"/>
                </a:cubicBezTo>
                <a:cubicBezTo>
                  <a:pt x="4619275" y="1102544"/>
                  <a:pt x="4614484" y="1107336"/>
                  <a:pt x="4608537" y="1107336"/>
                </a:cubicBezTo>
                <a:cubicBezTo>
                  <a:pt x="4602591" y="1107336"/>
                  <a:pt x="4597801" y="1102544"/>
                  <a:pt x="4597801" y="1096598"/>
                </a:cubicBezTo>
                <a:cubicBezTo>
                  <a:pt x="4597801" y="1090651"/>
                  <a:pt x="4602591" y="1085861"/>
                  <a:pt x="4608537" y="1085861"/>
                </a:cubicBezTo>
                <a:close/>
                <a:moveTo>
                  <a:pt x="2446974" y="1084870"/>
                </a:moveTo>
                <a:cubicBezTo>
                  <a:pt x="2452920" y="1084870"/>
                  <a:pt x="2457710" y="1089659"/>
                  <a:pt x="2457710" y="1095606"/>
                </a:cubicBezTo>
                <a:cubicBezTo>
                  <a:pt x="2457710" y="1101552"/>
                  <a:pt x="2452920" y="1106344"/>
                  <a:pt x="2446974" y="1106344"/>
                </a:cubicBezTo>
                <a:cubicBezTo>
                  <a:pt x="2441027" y="1106344"/>
                  <a:pt x="2436237" y="1101552"/>
                  <a:pt x="2436237" y="1095606"/>
                </a:cubicBezTo>
                <a:cubicBezTo>
                  <a:pt x="2436237" y="1089659"/>
                  <a:pt x="2441027" y="1084870"/>
                  <a:pt x="2446974" y="1084870"/>
                </a:cubicBezTo>
                <a:close/>
                <a:moveTo>
                  <a:pt x="4573848" y="1082227"/>
                </a:moveTo>
                <a:cubicBezTo>
                  <a:pt x="4579795" y="1082227"/>
                  <a:pt x="4584584" y="1087016"/>
                  <a:pt x="4584584" y="1092963"/>
                </a:cubicBezTo>
                <a:cubicBezTo>
                  <a:pt x="4584584" y="1098909"/>
                  <a:pt x="4579795" y="1103701"/>
                  <a:pt x="4573848" y="1103701"/>
                </a:cubicBezTo>
                <a:cubicBezTo>
                  <a:pt x="4567902" y="1103701"/>
                  <a:pt x="4563112" y="1098909"/>
                  <a:pt x="4563112" y="1092963"/>
                </a:cubicBezTo>
                <a:cubicBezTo>
                  <a:pt x="4563112" y="1087016"/>
                  <a:pt x="4567902" y="1082227"/>
                  <a:pt x="4573848" y="1082227"/>
                </a:cubicBezTo>
                <a:close/>
                <a:moveTo>
                  <a:pt x="3886200" y="1081568"/>
                </a:moveTo>
                <a:cubicBezTo>
                  <a:pt x="3892146" y="1081568"/>
                  <a:pt x="3896936" y="1086357"/>
                  <a:pt x="3896936" y="1092304"/>
                </a:cubicBezTo>
                <a:cubicBezTo>
                  <a:pt x="3896936" y="1098250"/>
                  <a:pt x="3892146" y="1103042"/>
                  <a:pt x="3886200" y="1103042"/>
                </a:cubicBezTo>
                <a:cubicBezTo>
                  <a:pt x="3880253" y="1103042"/>
                  <a:pt x="3875463" y="1098250"/>
                  <a:pt x="3875463" y="1092304"/>
                </a:cubicBezTo>
                <a:cubicBezTo>
                  <a:pt x="3875463" y="1086357"/>
                  <a:pt x="3880253" y="1081568"/>
                  <a:pt x="3886200" y="1081568"/>
                </a:cubicBezTo>
                <a:close/>
                <a:moveTo>
                  <a:pt x="1234709" y="1076447"/>
                </a:moveTo>
                <a:cubicBezTo>
                  <a:pt x="1240656" y="1076447"/>
                  <a:pt x="1245446" y="1081236"/>
                  <a:pt x="1245446" y="1087183"/>
                </a:cubicBezTo>
                <a:cubicBezTo>
                  <a:pt x="1245446" y="1093129"/>
                  <a:pt x="1240656" y="1097919"/>
                  <a:pt x="1234709" y="1097919"/>
                </a:cubicBezTo>
                <a:cubicBezTo>
                  <a:pt x="1228763" y="1097919"/>
                  <a:pt x="1223973" y="1093129"/>
                  <a:pt x="1223973" y="1087183"/>
                </a:cubicBezTo>
                <a:cubicBezTo>
                  <a:pt x="1223973" y="1081236"/>
                  <a:pt x="1228763" y="1076447"/>
                  <a:pt x="1234709" y="1076447"/>
                </a:cubicBezTo>
                <a:close/>
                <a:moveTo>
                  <a:pt x="4543951" y="1073639"/>
                </a:moveTo>
                <a:cubicBezTo>
                  <a:pt x="4549897" y="1073639"/>
                  <a:pt x="4554689" y="1078429"/>
                  <a:pt x="4554689" y="1084375"/>
                </a:cubicBezTo>
                <a:cubicBezTo>
                  <a:pt x="4554689" y="1090322"/>
                  <a:pt x="4549897" y="1095112"/>
                  <a:pt x="4543951" y="1095112"/>
                </a:cubicBezTo>
                <a:cubicBezTo>
                  <a:pt x="4538004" y="1095112"/>
                  <a:pt x="4533214" y="1090322"/>
                  <a:pt x="4533214" y="1084375"/>
                </a:cubicBezTo>
                <a:cubicBezTo>
                  <a:pt x="4533214" y="1078429"/>
                  <a:pt x="4538004" y="1073639"/>
                  <a:pt x="4543951" y="1073639"/>
                </a:cubicBezTo>
                <a:close/>
                <a:moveTo>
                  <a:pt x="4598130" y="1073472"/>
                </a:moveTo>
                <a:cubicBezTo>
                  <a:pt x="4604077" y="1073472"/>
                  <a:pt x="4608868" y="1078262"/>
                  <a:pt x="4608868" y="1084209"/>
                </a:cubicBezTo>
                <a:cubicBezTo>
                  <a:pt x="4608868" y="1090155"/>
                  <a:pt x="4604077" y="1094947"/>
                  <a:pt x="4598130" y="1094947"/>
                </a:cubicBezTo>
                <a:cubicBezTo>
                  <a:pt x="4592184" y="1094947"/>
                  <a:pt x="4587394" y="1090155"/>
                  <a:pt x="4587394" y="1084209"/>
                </a:cubicBezTo>
                <a:cubicBezTo>
                  <a:pt x="4587394" y="1078262"/>
                  <a:pt x="4592184" y="1073472"/>
                  <a:pt x="4598130" y="1073472"/>
                </a:cubicBezTo>
                <a:close/>
                <a:moveTo>
                  <a:pt x="4315010" y="1072317"/>
                </a:moveTo>
                <a:cubicBezTo>
                  <a:pt x="4320957" y="1072317"/>
                  <a:pt x="4325747" y="1077107"/>
                  <a:pt x="4325747" y="1083054"/>
                </a:cubicBezTo>
                <a:cubicBezTo>
                  <a:pt x="4325747" y="1089000"/>
                  <a:pt x="4320957" y="1093790"/>
                  <a:pt x="4315010" y="1093790"/>
                </a:cubicBezTo>
                <a:cubicBezTo>
                  <a:pt x="4309064" y="1093790"/>
                  <a:pt x="4304274" y="1089000"/>
                  <a:pt x="4304274" y="1083054"/>
                </a:cubicBezTo>
                <a:cubicBezTo>
                  <a:pt x="4304274" y="1077107"/>
                  <a:pt x="4309064" y="1072317"/>
                  <a:pt x="4315010" y="1072317"/>
                </a:cubicBezTo>
                <a:close/>
                <a:moveTo>
                  <a:pt x="2217041" y="1069839"/>
                </a:moveTo>
                <a:cubicBezTo>
                  <a:pt x="2222988" y="1069839"/>
                  <a:pt x="2227777" y="1074629"/>
                  <a:pt x="2227777" y="1080576"/>
                </a:cubicBezTo>
                <a:cubicBezTo>
                  <a:pt x="2227777" y="1086522"/>
                  <a:pt x="2222988" y="1091314"/>
                  <a:pt x="2217041" y="1091314"/>
                </a:cubicBezTo>
                <a:cubicBezTo>
                  <a:pt x="2211095" y="1091314"/>
                  <a:pt x="2206305" y="1086522"/>
                  <a:pt x="2206305" y="1080576"/>
                </a:cubicBezTo>
                <a:cubicBezTo>
                  <a:pt x="2206305" y="1074629"/>
                  <a:pt x="2211095" y="1069839"/>
                  <a:pt x="2217041" y="1069839"/>
                </a:cubicBezTo>
                <a:close/>
                <a:moveTo>
                  <a:pt x="4477382" y="1067196"/>
                </a:moveTo>
                <a:cubicBezTo>
                  <a:pt x="4483329" y="1067196"/>
                  <a:pt x="4488120" y="1071986"/>
                  <a:pt x="4488120" y="1077933"/>
                </a:cubicBezTo>
                <a:cubicBezTo>
                  <a:pt x="4488120" y="1083879"/>
                  <a:pt x="4483329" y="1088669"/>
                  <a:pt x="4477382" y="1088669"/>
                </a:cubicBezTo>
                <a:cubicBezTo>
                  <a:pt x="4471436" y="1088669"/>
                  <a:pt x="4466646" y="1083879"/>
                  <a:pt x="4466646" y="1077933"/>
                </a:cubicBezTo>
                <a:cubicBezTo>
                  <a:pt x="4466646" y="1071986"/>
                  <a:pt x="4471436" y="1067196"/>
                  <a:pt x="4477382" y="1067196"/>
                </a:cubicBezTo>
                <a:close/>
                <a:moveTo>
                  <a:pt x="4566086" y="1066700"/>
                </a:moveTo>
                <a:cubicBezTo>
                  <a:pt x="4572032" y="1066700"/>
                  <a:pt x="4576822" y="1071490"/>
                  <a:pt x="4576822" y="1077437"/>
                </a:cubicBezTo>
                <a:cubicBezTo>
                  <a:pt x="4576822" y="1083383"/>
                  <a:pt x="4572032" y="1088175"/>
                  <a:pt x="4566086" y="1088175"/>
                </a:cubicBezTo>
                <a:cubicBezTo>
                  <a:pt x="4560139" y="1088175"/>
                  <a:pt x="4555350" y="1083383"/>
                  <a:pt x="4555350" y="1077437"/>
                </a:cubicBezTo>
                <a:cubicBezTo>
                  <a:pt x="4555350" y="1071490"/>
                  <a:pt x="4560139" y="1066700"/>
                  <a:pt x="4566086" y="1066700"/>
                </a:cubicBezTo>
                <a:close/>
                <a:moveTo>
                  <a:pt x="4642234" y="1064718"/>
                </a:moveTo>
                <a:cubicBezTo>
                  <a:pt x="4646198" y="1064718"/>
                  <a:pt x="4649336" y="1067857"/>
                  <a:pt x="4649336" y="1071821"/>
                </a:cubicBezTo>
                <a:cubicBezTo>
                  <a:pt x="4649336" y="1075786"/>
                  <a:pt x="4646198" y="1078925"/>
                  <a:pt x="4642234" y="1078925"/>
                </a:cubicBezTo>
                <a:cubicBezTo>
                  <a:pt x="4638270" y="1078925"/>
                  <a:pt x="4635131" y="1075786"/>
                  <a:pt x="4635131" y="1071821"/>
                </a:cubicBezTo>
                <a:cubicBezTo>
                  <a:pt x="4635131" y="1067857"/>
                  <a:pt x="4638270" y="1064718"/>
                  <a:pt x="4642234" y="1064718"/>
                </a:cubicBezTo>
                <a:close/>
                <a:moveTo>
                  <a:pt x="1472569" y="1063562"/>
                </a:moveTo>
                <a:cubicBezTo>
                  <a:pt x="1478515" y="1063562"/>
                  <a:pt x="1483307" y="1068351"/>
                  <a:pt x="1483307" y="1074298"/>
                </a:cubicBezTo>
                <a:cubicBezTo>
                  <a:pt x="1483307" y="1080244"/>
                  <a:pt x="1478515" y="1085034"/>
                  <a:pt x="1472569" y="1085034"/>
                </a:cubicBezTo>
                <a:cubicBezTo>
                  <a:pt x="1466622" y="1085034"/>
                  <a:pt x="1461832" y="1080244"/>
                  <a:pt x="1461832" y="1074298"/>
                </a:cubicBezTo>
                <a:cubicBezTo>
                  <a:pt x="1461832" y="1068351"/>
                  <a:pt x="1466622" y="1063562"/>
                  <a:pt x="1472569" y="1063562"/>
                </a:cubicBezTo>
                <a:close/>
                <a:moveTo>
                  <a:pt x="4588549" y="1060093"/>
                </a:moveTo>
                <a:cubicBezTo>
                  <a:pt x="4594495" y="1060093"/>
                  <a:pt x="4599285" y="1064883"/>
                  <a:pt x="4599285" y="1070830"/>
                </a:cubicBezTo>
                <a:cubicBezTo>
                  <a:pt x="4599285" y="1076776"/>
                  <a:pt x="4594495" y="1081568"/>
                  <a:pt x="4588549" y="1081568"/>
                </a:cubicBezTo>
                <a:cubicBezTo>
                  <a:pt x="4582602" y="1081568"/>
                  <a:pt x="4577812" y="1076776"/>
                  <a:pt x="4577812" y="1070830"/>
                </a:cubicBezTo>
                <a:cubicBezTo>
                  <a:pt x="4577812" y="1064883"/>
                  <a:pt x="4582602" y="1060093"/>
                  <a:pt x="4588549" y="1060093"/>
                </a:cubicBezTo>
                <a:close/>
                <a:moveTo>
                  <a:pt x="3784942" y="1060093"/>
                </a:moveTo>
                <a:cubicBezTo>
                  <a:pt x="3790889" y="1060093"/>
                  <a:pt x="3795679" y="1064883"/>
                  <a:pt x="3795679" y="1070830"/>
                </a:cubicBezTo>
                <a:cubicBezTo>
                  <a:pt x="3795679" y="1076776"/>
                  <a:pt x="3790889" y="1081568"/>
                  <a:pt x="3784942" y="1081568"/>
                </a:cubicBezTo>
                <a:cubicBezTo>
                  <a:pt x="3778996" y="1081568"/>
                  <a:pt x="3774206" y="1076776"/>
                  <a:pt x="3774206" y="1070830"/>
                </a:cubicBezTo>
                <a:cubicBezTo>
                  <a:pt x="3774206" y="1064883"/>
                  <a:pt x="3778996" y="1060093"/>
                  <a:pt x="3784942" y="1060093"/>
                </a:cubicBezTo>
                <a:close/>
                <a:moveTo>
                  <a:pt x="1973234" y="1059432"/>
                </a:moveTo>
                <a:cubicBezTo>
                  <a:pt x="1979180" y="1059432"/>
                  <a:pt x="1983972" y="1064222"/>
                  <a:pt x="1983972" y="1070169"/>
                </a:cubicBezTo>
                <a:cubicBezTo>
                  <a:pt x="1983972" y="1076115"/>
                  <a:pt x="1979180" y="1080905"/>
                  <a:pt x="1973234" y="1080905"/>
                </a:cubicBezTo>
                <a:cubicBezTo>
                  <a:pt x="1967287" y="1080905"/>
                  <a:pt x="1962497" y="1076115"/>
                  <a:pt x="1962497" y="1070169"/>
                </a:cubicBezTo>
                <a:cubicBezTo>
                  <a:pt x="1962497" y="1064222"/>
                  <a:pt x="1967287" y="1059432"/>
                  <a:pt x="1973234" y="1059432"/>
                </a:cubicBezTo>
                <a:close/>
                <a:moveTo>
                  <a:pt x="1721664" y="1056954"/>
                </a:moveTo>
                <a:cubicBezTo>
                  <a:pt x="1727610" y="1056954"/>
                  <a:pt x="1732402" y="1061744"/>
                  <a:pt x="1732402" y="1067691"/>
                </a:cubicBezTo>
                <a:cubicBezTo>
                  <a:pt x="1732402" y="1073637"/>
                  <a:pt x="1727610" y="1078429"/>
                  <a:pt x="1721664" y="1078429"/>
                </a:cubicBezTo>
                <a:cubicBezTo>
                  <a:pt x="1715717" y="1078429"/>
                  <a:pt x="1710927" y="1073637"/>
                  <a:pt x="1710927" y="1067691"/>
                </a:cubicBezTo>
                <a:cubicBezTo>
                  <a:pt x="1710927" y="1061744"/>
                  <a:pt x="1715717" y="1056954"/>
                  <a:pt x="1721664" y="1056954"/>
                </a:cubicBezTo>
                <a:close/>
                <a:moveTo>
                  <a:pt x="4532718" y="1055468"/>
                </a:moveTo>
                <a:cubicBezTo>
                  <a:pt x="4538665" y="1055468"/>
                  <a:pt x="4543456" y="1060258"/>
                  <a:pt x="4543456" y="1066204"/>
                </a:cubicBezTo>
                <a:cubicBezTo>
                  <a:pt x="4543456" y="1072151"/>
                  <a:pt x="4538665" y="1076943"/>
                  <a:pt x="4532718" y="1076943"/>
                </a:cubicBezTo>
                <a:cubicBezTo>
                  <a:pt x="4526772" y="1076943"/>
                  <a:pt x="4521982" y="1072151"/>
                  <a:pt x="4521982" y="1066204"/>
                </a:cubicBezTo>
                <a:cubicBezTo>
                  <a:pt x="4521982" y="1060258"/>
                  <a:pt x="4526772" y="1055468"/>
                  <a:pt x="4532718" y="1055468"/>
                </a:cubicBezTo>
                <a:close/>
                <a:moveTo>
                  <a:pt x="4265456" y="1050843"/>
                </a:moveTo>
                <a:cubicBezTo>
                  <a:pt x="4271402" y="1050843"/>
                  <a:pt x="4276192" y="1055633"/>
                  <a:pt x="4276192" y="1061579"/>
                </a:cubicBezTo>
                <a:cubicBezTo>
                  <a:pt x="4276192" y="1067526"/>
                  <a:pt x="4271402" y="1072317"/>
                  <a:pt x="4265456" y="1072317"/>
                </a:cubicBezTo>
                <a:cubicBezTo>
                  <a:pt x="4259509" y="1072317"/>
                  <a:pt x="4254720" y="1067526"/>
                  <a:pt x="4254720" y="1061579"/>
                </a:cubicBezTo>
                <a:cubicBezTo>
                  <a:pt x="4254720" y="1055633"/>
                  <a:pt x="4259509" y="1050843"/>
                  <a:pt x="4265456" y="1050843"/>
                </a:cubicBezTo>
                <a:close/>
                <a:moveTo>
                  <a:pt x="4558157" y="1050347"/>
                </a:moveTo>
                <a:cubicBezTo>
                  <a:pt x="4564104" y="1050347"/>
                  <a:pt x="4568894" y="1055137"/>
                  <a:pt x="4568894" y="1061083"/>
                </a:cubicBezTo>
                <a:cubicBezTo>
                  <a:pt x="4568894" y="1067030"/>
                  <a:pt x="4564104" y="1071821"/>
                  <a:pt x="4558157" y="1071821"/>
                </a:cubicBezTo>
                <a:cubicBezTo>
                  <a:pt x="4552211" y="1071821"/>
                  <a:pt x="4547421" y="1067030"/>
                  <a:pt x="4547421" y="1061083"/>
                </a:cubicBezTo>
                <a:cubicBezTo>
                  <a:pt x="4547421" y="1055137"/>
                  <a:pt x="4552211" y="1050347"/>
                  <a:pt x="4558157" y="1050347"/>
                </a:cubicBezTo>
                <a:close/>
                <a:moveTo>
                  <a:pt x="4627698" y="1050182"/>
                </a:moveTo>
                <a:cubicBezTo>
                  <a:pt x="4633645" y="1050182"/>
                  <a:pt x="4638436" y="1054972"/>
                  <a:pt x="4638436" y="1060919"/>
                </a:cubicBezTo>
                <a:cubicBezTo>
                  <a:pt x="4638436" y="1066865"/>
                  <a:pt x="4633645" y="1071657"/>
                  <a:pt x="4627698" y="1071657"/>
                </a:cubicBezTo>
                <a:cubicBezTo>
                  <a:pt x="4621752" y="1071657"/>
                  <a:pt x="4616962" y="1066865"/>
                  <a:pt x="4616962" y="1060919"/>
                </a:cubicBezTo>
                <a:cubicBezTo>
                  <a:pt x="4616962" y="1054972"/>
                  <a:pt x="4621752" y="1050182"/>
                  <a:pt x="4627698" y="1050182"/>
                </a:cubicBezTo>
                <a:close/>
                <a:moveTo>
                  <a:pt x="4453267" y="1046879"/>
                </a:moveTo>
                <a:cubicBezTo>
                  <a:pt x="4459213" y="1046879"/>
                  <a:pt x="4464005" y="1051668"/>
                  <a:pt x="4464005" y="1057615"/>
                </a:cubicBezTo>
                <a:cubicBezTo>
                  <a:pt x="4464005" y="1063562"/>
                  <a:pt x="4459213" y="1068353"/>
                  <a:pt x="4453267" y="1068353"/>
                </a:cubicBezTo>
                <a:cubicBezTo>
                  <a:pt x="4447320" y="1068353"/>
                  <a:pt x="4442530" y="1063562"/>
                  <a:pt x="4442530" y="1057615"/>
                </a:cubicBezTo>
                <a:cubicBezTo>
                  <a:pt x="4442530" y="1051668"/>
                  <a:pt x="4447320" y="1046879"/>
                  <a:pt x="4453267" y="1046879"/>
                </a:cubicBezTo>
                <a:close/>
                <a:moveTo>
                  <a:pt x="4579300" y="1045887"/>
                </a:moveTo>
                <a:cubicBezTo>
                  <a:pt x="4585247" y="1045887"/>
                  <a:pt x="4590037" y="1050677"/>
                  <a:pt x="4590037" y="1056623"/>
                </a:cubicBezTo>
                <a:cubicBezTo>
                  <a:pt x="4590037" y="1062570"/>
                  <a:pt x="4585247" y="1067361"/>
                  <a:pt x="4579300" y="1067361"/>
                </a:cubicBezTo>
                <a:cubicBezTo>
                  <a:pt x="4573354" y="1067361"/>
                  <a:pt x="4568564" y="1062570"/>
                  <a:pt x="4568564" y="1056623"/>
                </a:cubicBezTo>
                <a:cubicBezTo>
                  <a:pt x="4568564" y="1050677"/>
                  <a:pt x="4573354" y="1045887"/>
                  <a:pt x="4579300" y="1045887"/>
                </a:cubicBezTo>
                <a:close/>
                <a:moveTo>
                  <a:pt x="4614152" y="1038454"/>
                </a:moveTo>
                <a:cubicBezTo>
                  <a:pt x="4620099" y="1038454"/>
                  <a:pt x="4624890" y="1043244"/>
                  <a:pt x="4624890" y="1049190"/>
                </a:cubicBezTo>
                <a:cubicBezTo>
                  <a:pt x="4624890" y="1055137"/>
                  <a:pt x="4620099" y="1059928"/>
                  <a:pt x="4614152" y="1059928"/>
                </a:cubicBezTo>
                <a:cubicBezTo>
                  <a:pt x="4608206" y="1059928"/>
                  <a:pt x="4603416" y="1055137"/>
                  <a:pt x="4603416" y="1049190"/>
                </a:cubicBezTo>
                <a:cubicBezTo>
                  <a:pt x="4603416" y="1043244"/>
                  <a:pt x="4608206" y="1038454"/>
                  <a:pt x="4614152" y="1038454"/>
                </a:cubicBezTo>
                <a:close/>
                <a:moveTo>
                  <a:pt x="3673280" y="1037960"/>
                </a:moveTo>
                <a:cubicBezTo>
                  <a:pt x="3679226" y="1037960"/>
                  <a:pt x="3684018" y="1042750"/>
                  <a:pt x="3684018" y="1048696"/>
                </a:cubicBezTo>
                <a:cubicBezTo>
                  <a:pt x="3684018" y="1054643"/>
                  <a:pt x="3679226" y="1059434"/>
                  <a:pt x="3673280" y="1059434"/>
                </a:cubicBezTo>
                <a:cubicBezTo>
                  <a:pt x="3667333" y="1059434"/>
                  <a:pt x="3662543" y="1054643"/>
                  <a:pt x="3662543" y="1048696"/>
                </a:cubicBezTo>
                <a:cubicBezTo>
                  <a:pt x="3662543" y="1042750"/>
                  <a:pt x="3667333" y="1037960"/>
                  <a:pt x="3673280" y="1037960"/>
                </a:cubicBezTo>
                <a:close/>
                <a:moveTo>
                  <a:pt x="4519669" y="1036307"/>
                </a:moveTo>
                <a:cubicBezTo>
                  <a:pt x="4525615" y="1036307"/>
                  <a:pt x="4530407" y="1041097"/>
                  <a:pt x="4530407" y="1047043"/>
                </a:cubicBezTo>
                <a:cubicBezTo>
                  <a:pt x="4530407" y="1052990"/>
                  <a:pt x="4525615" y="1057782"/>
                  <a:pt x="4519669" y="1057782"/>
                </a:cubicBezTo>
                <a:cubicBezTo>
                  <a:pt x="4513722" y="1057782"/>
                  <a:pt x="4508932" y="1052990"/>
                  <a:pt x="4508932" y="1047043"/>
                </a:cubicBezTo>
                <a:cubicBezTo>
                  <a:pt x="4508932" y="1041097"/>
                  <a:pt x="4513722" y="1036307"/>
                  <a:pt x="4519669" y="1036307"/>
                </a:cubicBezTo>
                <a:close/>
                <a:moveTo>
                  <a:pt x="4549897" y="1033003"/>
                </a:moveTo>
                <a:cubicBezTo>
                  <a:pt x="4555844" y="1033003"/>
                  <a:pt x="4560634" y="1037793"/>
                  <a:pt x="4560634" y="1043740"/>
                </a:cubicBezTo>
                <a:cubicBezTo>
                  <a:pt x="4560634" y="1049686"/>
                  <a:pt x="4555844" y="1054478"/>
                  <a:pt x="4549897" y="1054478"/>
                </a:cubicBezTo>
                <a:cubicBezTo>
                  <a:pt x="4543951" y="1054478"/>
                  <a:pt x="4539161" y="1049686"/>
                  <a:pt x="4539161" y="1043740"/>
                </a:cubicBezTo>
                <a:cubicBezTo>
                  <a:pt x="4539161" y="1037793"/>
                  <a:pt x="4543951" y="1033003"/>
                  <a:pt x="4549897" y="1033003"/>
                </a:cubicBezTo>
                <a:close/>
                <a:moveTo>
                  <a:pt x="4570711" y="1031021"/>
                </a:moveTo>
                <a:cubicBezTo>
                  <a:pt x="4576657" y="1031021"/>
                  <a:pt x="4581447" y="1035811"/>
                  <a:pt x="4581447" y="1041758"/>
                </a:cubicBezTo>
                <a:cubicBezTo>
                  <a:pt x="4581447" y="1047704"/>
                  <a:pt x="4576657" y="1052494"/>
                  <a:pt x="4570711" y="1052494"/>
                </a:cubicBezTo>
                <a:cubicBezTo>
                  <a:pt x="4564764" y="1052494"/>
                  <a:pt x="4559975" y="1047704"/>
                  <a:pt x="4559975" y="1041758"/>
                </a:cubicBezTo>
                <a:cubicBezTo>
                  <a:pt x="4559975" y="1035811"/>
                  <a:pt x="4564764" y="1031021"/>
                  <a:pt x="4570711" y="1031021"/>
                </a:cubicBezTo>
                <a:close/>
                <a:moveTo>
                  <a:pt x="4209459" y="1028710"/>
                </a:moveTo>
                <a:cubicBezTo>
                  <a:pt x="4215406" y="1028710"/>
                  <a:pt x="4220197" y="1033499"/>
                  <a:pt x="4220197" y="1039446"/>
                </a:cubicBezTo>
                <a:cubicBezTo>
                  <a:pt x="4220197" y="1045392"/>
                  <a:pt x="4215406" y="1050182"/>
                  <a:pt x="4209459" y="1050182"/>
                </a:cubicBezTo>
                <a:cubicBezTo>
                  <a:pt x="4203512" y="1050182"/>
                  <a:pt x="4198723" y="1045392"/>
                  <a:pt x="4198723" y="1039446"/>
                </a:cubicBezTo>
                <a:cubicBezTo>
                  <a:pt x="4198723" y="1033499"/>
                  <a:pt x="4203512" y="1028710"/>
                  <a:pt x="4209459" y="1028710"/>
                </a:cubicBezTo>
                <a:close/>
                <a:moveTo>
                  <a:pt x="4601763" y="1026067"/>
                </a:moveTo>
                <a:cubicBezTo>
                  <a:pt x="4607710" y="1026067"/>
                  <a:pt x="4612501" y="1030857"/>
                  <a:pt x="4612501" y="1036803"/>
                </a:cubicBezTo>
                <a:cubicBezTo>
                  <a:pt x="4612501" y="1042750"/>
                  <a:pt x="4607710" y="1047541"/>
                  <a:pt x="4601763" y="1047541"/>
                </a:cubicBezTo>
                <a:cubicBezTo>
                  <a:pt x="4595817" y="1047541"/>
                  <a:pt x="4591027" y="1042750"/>
                  <a:pt x="4591027" y="1036803"/>
                </a:cubicBezTo>
                <a:cubicBezTo>
                  <a:pt x="4591027" y="1030857"/>
                  <a:pt x="4595817" y="1026067"/>
                  <a:pt x="4601763" y="1026067"/>
                </a:cubicBezTo>
                <a:close/>
                <a:moveTo>
                  <a:pt x="4425516" y="1025571"/>
                </a:moveTo>
                <a:cubicBezTo>
                  <a:pt x="4431463" y="1025571"/>
                  <a:pt x="4436253" y="1030361"/>
                  <a:pt x="4436253" y="1036307"/>
                </a:cubicBezTo>
                <a:cubicBezTo>
                  <a:pt x="4436253" y="1042254"/>
                  <a:pt x="4431463" y="1047045"/>
                  <a:pt x="4425516" y="1047045"/>
                </a:cubicBezTo>
                <a:cubicBezTo>
                  <a:pt x="4419570" y="1047045"/>
                  <a:pt x="4414780" y="1042254"/>
                  <a:pt x="4414780" y="1036307"/>
                </a:cubicBezTo>
                <a:cubicBezTo>
                  <a:pt x="4414780" y="1030361"/>
                  <a:pt x="4419570" y="1025571"/>
                  <a:pt x="4425516" y="1025571"/>
                </a:cubicBezTo>
                <a:close/>
                <a:moveTo>
                  <a:pt x="4504638" y="1016154"/>
                </a:moveTo>
                <a:cubicBezTo>
                  <a:pt x="4510585" y="1016154"/>
                  <a:pt x="4515375" y="1020944"/>
                  <a:pt x="4515375" y="1026890"/>
                </a:cubicBezTo>
                <a:cubicBezTo>
                  <a:pt x="4515375" y="1032837"/>
                  <a:pt x="4510585" y="1037629"/>
                  <a:pt x="4504638" y="1037629"/>
                </a:cubicBezTo>
                <a:cubicBezTo>
                  <a:pt x="4498692" y="1037629"/>
                  <a:pt x="4493902" y="1032837"/>
                  <a:pt x="4493902" y="1026890"/>
                </a:cubicBezTo>
                <a:cubicBezTo>
                  <a:pt x="4493902" y="1020944"/>
                  <a:pt x="4498692" y="1016154"/>
                  <a:pt x="4504638" y="1016154"/>
                </a:cubicBezTo>
                <a:close/>
                <a:moveTo>
                  <a:pt x="3550220" y="1015329"/>
                </a:moveTo>
                <a:cubicBezTo>
                  <a:pt x="3556167" y="1015329"/>
                  <a:pt x="3560956" y="1020118"/>
                  <a:pt x="3560956" y="1026065"/>
                </a:cubicBezTo>
                <a:cubicBezTo>
                  <a:pt x="3560956" y="1032011"/>
                  <a:pt x="3556167" y="1036803"/>
                  <a:pt x="3550220" y="1036803"/>
                </a:cubicBezTo>
                <a:cubicBezTo>
                  <a:pt x="3544273" y="1036803"/>
                  <a:pt x="3539484" y="1032011"/>
                  <a:pt x="3539484" y="1026065"/>
                </a:cubicBezTo>
                <a:cubicBezTo>
                  <a:pt x="3539484" y="1020118"/>
                  <a:pt x="3544273" y="1015329"/>
                  <a:pt x="3550220" y="1015329"/>
                </a:cubicBezTo>
                <a:close/>
                <a:moveTo>
                  <a:pt x="4562120" y="1015164"/>
                </a:moveTo>
                <a:cubicBezTo>
                  <a:pt x="4568066" y="1015164"/>
                  <a:pt x="4572858" y="1019954"/>
                  <a:pt x="4572858" y="1025900"/>
                </a:cubicBezTo>
                <a:cubicBezTo>
                  <a:pt x="4572858" y="1031847"/>
                  <a:pt x="4568066" y="1036638"/>
                  <a:pt x="4562120" y="1036638"/>
                </a:cubicBezTo>
                <a:cubicBezTo>
                  <a:pt x="4556173" y="1036638"/>
                  <a:pt x="4551383" y="1031847"/>
                  <a:pt x="4551383" y="1025900"/>
                </a:cubicBezTo>
                <a:cubicBezTo>
                  <a:pt x="4551383" y="1019954"/>
                  <a:pt x="4556173" y="1015164"/>
                  <a:pt x="4562120" y="1015164"/>
                </a:cubicBezTo>
                <a:close/>
                <a:moveTo>
                  <a:pt x="4540647" y="1014833"/>
                </a:moveTo>
                <a:cubicBezTo>
                  <a:pt x="4546594" y="1014833"/>
                  <a:pt x="4551383" y="1019622"/>
                  <a:pt x="4551383" y="1025569"/>
                </a:cubicBezTo>
                <a:cubicBezTo>
                  <a:pt x="4551383" y="1031516"/>
                  <a:pt x="4546594" y="1036307"/>
                  <a:pt x="4540647" y="1036307"/>
                </a:cubicBezTo>
                <a:cubicBezTo>
                  <a:pt x="4534701" y="1036307"/>
                  <a:pt x="4529911" y="1031516"/>
                  <a:pt x="4529911" y="1025569"/>
                </a:cubicBezTo>
                <a:cubicBezTo>
                  <a:pt x="4529911" y="1019622"/>
                  <a:pt x="4534701" y="1014833"/>
                  <a:pt x="4540647" y="1014833"/>
                </a:cubicBezTo>
                <a:close/>
                <a:moveTo>
                  <a:pt x="4590201" y="1012686"/>
                </a:moveTo>
                <a:cubicBezTo>
                  <a:pt x="4596148" y="1012686"/>
                  <a:pt x="4600938" y="1017476"/>
                  <a:pt x="4600938" y="1023422"/>
                </a:cubicBezTo>
                <a:cubicBezTo>
                  <a:pt x="4600938" y="1029369"/>
                  <a:pt x="4596148" y="1034160"/>
                  <a:pt x="4590201" y="1034160"/>
                </a:cubicBezTo>
                <a:cubicBezTo>
                  <a:pt x="4584255" y="1034160"/>
                  <a:pt x="4579465" y="1029369"/>
                  <a:pt x="4579465" y="1023422"/>
                </a:cubicBezTo>
                <a:cubicBezTo>
                  <a:pt x="4579465" y="1017476"/>
                  <a:pt x="4584255" y="1012686"/>
                  <a:pt x="4590201" y="1012686"/>
                </a:cubicBezTo>
                <a:close/>
                <a:moveTo>
                  <a:pt x="4146524" y="1005749"/>
                </a:moveTo>
                <a:cubicBezTo>
                  <a:pt x="4152470" y="1005749"/>
                  <a:pt x="4157262" y="1010539"/>
                  <a:pt x="4157262" y="1016485"/>
                </a:cubicBezTo>
                <a:cubicBezTo>
                  <a:pt x="4157262" y="1022432"/>
                  <a:pt x="4152470" y="1027222"/>
                  <a:pt x="4146524" y="1027222"/>
                </a:cubicBezTo>
                <a:cubicBezTo>
                  <a:pt x="4140577" y="1027222"/>
                  <a:pt x="4135787" y="1022432"/>
                  <a:pt x="4135787" y="1016485"/>
                </a:cubicBezTo>
                <a:cubicBezTo>
                  <a:pt x="4135787" y="1010539"/>
                  <a:pt x="4140577" y="1005749"/>
                  <a:pt x="4146524" y="1005749"/>
                </a:cubicBezTo>
                <a:close/>
                <a:moveTo>
                  <a:pt x="4393470" y="1003436"/>
                </a:moveTo>
                <a:cubicBezTo>
                  <a:pt x="4399417" y="1003436"/>
                  <a:pt x="4404206" y="1008225"/>
                  <a:pt x="4404206" y="1014172"/>
                </a:cubicBezTo>
                <a:cubicBezTo>
                  <a:pt x="4404206" y="1020118"/>
                  <a:pt x="4399417" y="1024908"/>
                  <a:pt x="4393470" y="1024908"/>
                </a:cubicBezTo>
                <a:cubicBezTo>
                  <a:pt x="4387524" y="1024908"/>
                  <a:pt x="4382734" y="1020118"/>
                  <a:pt x="4382734" y="1014172"/>
                </a:cubicBezTo>
                <a:cubicBezTo>
                  <a:pt x="4382734" y="1008225"/>
                  <a:pt x="4387524" y="1003436"/>
                  <a:pt x="4393470" y="1003436"/>
                </a:cubicBezTo>
                <a:close/>
                <a:moveTo>
                  <a:pt x="80917" y="1002940"/>
                </a:moveTo>
                <a:cubicBezTo>
                  <a:pt x="86863" y="1002940"/>
                  <a:pt x="91655" y="1007729"/>
                  <a:pt x="91655" y="1013676"/>
                </a:cubicBezTo>
                <a:cubicBezTo>
                  <a:pt x="91655" y="1019622"/>
                  <a:pt x="86863" y="1024414"/>
                  <a:pt x="80917" y="1024414"/>
                </a:cubicBezTo>
                <a:cubicBezTo>
                  <a:pt x="74970" y="1024414"/>
                  <a:pt x="70180" y="1019622"/>
                  <a:pt x="70180" y="1013676"/>
                </a:cubicBezTo>
                <a:cubicBezTo>
                  <a:pt x="70180" y="1007729"/>
                  <a:pt x="74970" y="1002940"/>
                  <a:pt x="80917" y="1002940"/>
                </a:cubicBezTo>
                <a:close/>
                <a:moveTo>
                  <a:pt x="4579300" y="998646"/>
                </a:moveTo>
                <a:cubicBezTo>
                  <a:pt x="4585247" y="998646"/>
                  <a:pt x="4590037" y="1003436"/>
                  <a:pt x="4590037" y="1009382"/>
                </a:cubicBezTo>
                <a:cubicBezTo>
                  <a:pt x="4590037" y="1015329"/>
                  <a:pt x="4585247" y="1020120"/>
                  <a:pt x="4579300" y="1020120"/>
                </a:cubicBezTo>
                <a:cubicBezTo>
                  <a:pt x="4573354" y="1020120"/>
                  <a:pt x="4568564" y="1015329"/>
                  <a:pt x="4568564" y="1009382"/>
                </a:cubicBezTo>
                <a:cubicBezTo>
                  <a:pt x="4568564" y="1003436"/>
                  <a:pt x="4573354" y="998646"/>
                  <a:pt x="4579300" y="998646"/>
                </a:cubicBezTo>
                <a:close/>
                <a:moveTo>
                  <a:pt x="4553532" y="998315"/>
                </a:moveTo>
                <a:cubicBezTo>
                  <a:pt x="4559479" y="998315"/>
                  <a:pt x="4564268" y="1003104"/>
                  <a:pt x="4564268" y="1009051"/>
                </a:cubicBezTo>
                <a:cubicBezTo>
                  <a:pt x="4564268" y="1014997"/>
                  <a:pt x="4559479" y="1019789"/>
                  <a:pt x="4553532" y="1019789"/>
                </a:cubicBezTo>
                <a:cubicBezTo>
                  <a:pt x="4547586" y="1019789"/>
                  <a:pt x="4542796" y="1014997"/>
                  <a:pt x="4542796" y="1009051"/>
                </a:cubicBezTo>
                <a:cubicBezTo>
                  <a:pt x="4542796" y="1003104"/>
                  <a:pt x="4547586" y="998315"/>
                  <a:pt x="4553532" y="998315"/>
                </a:cubicBezTo>
                <a:close/>
                <a:moveTo>
                  <a:pt x="4530571" y="995507"/>
                </a:moveTo>
                <a:cubicBezTo>
                  <a:pt x="4536518" y="995507"/>
                  <a:pt x="4541310" y="1000297"/>
                  <a:pt x="4541310" y="1006243"/>
                </a:cubicBezTo>
                <a:cubicBezTo>
                  <a:pt x="4541310" y="1012190"/>
                  <a:pt x="4536518" y="1016981"/>
                  <a:pt x="4530571" y="1016981"/>
                </a:cubicBezTo>
                <a:cubicBezTo>
                  <a:pt x="4524625" y="1016981"/>
                  <a:pt x="4519835" y="1012190"/>
                  <a:pt x="4519835" y="1006243"/>
                </a:cubicBezTo>
                <a:cubicBezTo>
                  <a:pt x="4519835" y="1000297"/>
                  <a:pt x="4524625" y="995507"/>
                  <a:pt x="4530571" y="995507"/>
                </a:cubicBezTo>
                <a:close/>
                <a:moveTo>
                  <a:pt x="4487293" y="995177"/>
                </a:moveTo>
                <a:cubicBezTo>
                  <a:pt x="4493240" y="995177"/>
                  <a:pt x="4498031" y="999967"/>
                  <a:pt x="4498031" y="1005914"/>
                </a:cubicBezTo>
                <a:cubicBezTo>
                  <a:pt x="4498031" y="1011860"/>
                  <a:pt x="4493240" y="1016650"/>
                  <a:pt x="4487293" y="1016650"/>
                </a:cubicBezTo>
                <a:cubicBezTo>
                  <a:pt x="4481347" y="1016650"/>
                  <a:pt x="4476557" y="1011860"/>
                  <a:pt x="4476557" y="1005914"/>
                </a:cubicBezTo>
                <a:cubicBezTo>
                  <a:pt x="4476557" y="999967"/>
                  <a:pt x="4481347" y="995177"/>
                  <a:pt x="4487293" y="995177"/>
                </a:cubicBezTo>
                <a:close/>
                <a:moveTo>
                  <a:pt x="4623404" y="993856"/>
                </a:moveTo>
                <a:cubicBezTo>
                  <a:pt x="4628855" y="993856"/>
                  <a:pt x="4633315" y="998316"/>
                  <a:pt x="4633315" y="1003767"/>
                </a:cubicBezTo>
                <a:cubicBezTo>
                  <a:pt x="4633315" y="1009217"/>
                  <a:pt x="4628855" y="1013678"/>
                  <a:pt x="4623404" y="1013678"/>
                </a:cubicBezTo>
                <a:cubicBezTo>
                  <a:pt x="4617954" y="1013678"/>
                  <a:pt x="4613493" y="1009217"/>
                  <a:pt x="4613493" y="1003767"/>
                </a:cubicBezTo>
                <a:cubicBezTo>
                  <a:pt x="4613493" y="998316"/>
                  <a:pt x="4617954" y="993856"/>
                  <a:pt x="4623404" y="993856"/>
                </a:cubicBezTo>
                <a:close/>
                <a:moveTo>
                  <a:pt x="3415267" y="992038"/>
                </a:moveTo>
                <a:cubicBezTo>
                  <a:pt x="3421214" y="992038"/>
                  <a:pt x="3426004" y="996828"/>
                  <a:pt x="3426004" y="1002775"/>
                </a:cubicBezTo>
                <a:cubicBezTo>
                  <a:pt x="3426004" y="1008721"/>
                  <a:pt x="3421214" y="1013513"/>
                  <a:pt x="3415267" y="1013513"/>
                </a:cubicBezTo>
                <a:cubicBezTo>
                  <a:pt x="3409321" y="1013513"/>
                  <a:pt x="3404531" y="1008721"/>
                  <a:pt x="3404531" y="1002775"/>
                </a:cubicBezTo>
                <a:cubicBezTo>
                  <a:pt x="3404531" y="996828"/>
                  <a:pt x="3409321" y="992038"/>
                  <a:pt x="3415267" y="992038"/>
                </a:cubicBezTo>
                <a:close/>
                <a:moveTo>
                  <a:pt x="4569058" y="983449"/>
                </a:moveTo>
                <a:cubicBezTo>
                  <a:pt x="4575005" y="983449"/>
                  <a:pt x="4579795" y="988239"/>
                  <a:pt x="4579795" y="994185"/>
                </a:cubicBezTo>
                <a:cubicBezTo>
                  <a:pt x="4579795" y="1000132"/>
                  <a:pt x="4575005" y="1004923"/>
                  <a:pt x="4569058" y="1004923"/>
                </a:cubicBezTo>
                <a:cubicBezTo>
                  <a:pt x="4563112" y="1004923"/>
                  <a:pt x="4558322" y="1000132"/>
                  <a:pt x="4558322" y="994185"/>
                </a:cubicBezTo>
                <a:cubicBezTo>
                  <a:pt x="4558322" y="988239"/>
                  <a:pt x="4563112" y="983449"/>
                  <a:pt x="4569058" y="983449"/>
                </a:cubicBezTo>
                <a:close/>
                <a:moveTo>
                  <a:pt x="4075993" y="981796"/>
                </a:moveTo>
                <a:cubicBezTo>
                  <a:pt x="4081939" y="981796"/>
                  <a:pt x="4086729" y="986586"/>
                  <a:pt x="4086729" y="992533"/>
                </a:cubicBezTo>
                <a:cubicBezTo>
                  <a:pt x="4086729" y="998479"/>
                  <a:pt x="4081939" y="1003271"/>
                  <a:pt x="4075993" y="1003271"/>
                </a:cubicBezTo>
                <a:cubicBezTo>
                  <a:pt x="4070046" y="1003271"/>
                  <a:pt x="4065256" y="998479"/>
                  <a:pt x="4065256" y="992533"/>
                </a:cubicBezTo>
                <a:cubicBezTo>
                  <a:pt x="4065256" y="986586"/>
                  <a:pt x="4070046" y="981796"/>
                  <a:pt x="4075993" y="981796"/>
                </a:cubicBezTo>
                <a:close/>
                <a:moveTo>
                  <a:pt x="4608702" y="980971"/>
                </a:moveTo>
                <a:cubicBezTo>
                  <a:pt x="4614648" y="980971"/>
                  <a:pt x="4619438" y="985761"/>
                  <a:pt x="4619438" y="991707"/>
                </a:cubicBezTo>
                <a:cubicBezTo>
                  <a:pt x="4619438" y="997654"/>
                  <a:pt x="4614648" y="1002444"/>
                  <a:pt x="4608702" y="1002444"/>
                </a:cubicBezTo>
                <a:cubicBezTo>
                  <a:pt x="4602755" y="1002444"/>
                  <a:pt x="4597965" y="997654"/>
                  <a:pt x="4597965" y="991707"/>
                </a:cubicBezTo>
                <a:cubicBezTo>
                  <a:pt x="4597965" y="985761"/>
                  <a:pt x="4602755" y="980971"/>
                  <a:pt x="4608702" y="980971"/>
                </a:cubicBezTo>
                <a:close/>
                <a:moveTo>
                  <a:pt x="4544943" y="980477"/>
                </a:moveTo>
                <a:cubicBezTo>
                  <a:pt x="4550889" y="980477"/>
                  <a:pt x="4555679" y="985266"/>
                  <a:pt x="4555679" y="991213"/>
                </a:cubicBezTo>
                <a:cubicBezTo>
                  <a:pt x="4555679" y="997160"/>
                  <a:pt x="4550889" y="1001949"/>
                  <a:pt x="4544943" y="1001949"/>
                </a:cubicBezTo>
                <a:cubicBezTo>
                  <a:pt x="4538996" y="1001949"/>
                  <a:pt x="4534206" y="997160"/>
                  <a:pt x="4534206" y="991213"/>
                </a:cubicBezTo>
                <a:cubicBezTo>
                  <a:pt x="4534206" y="985266"/>
                  <a:pt x="4538996" y="980477"/>
                  <a:pt x="4544943" y="980477"/>
                </a:cubicBezTo>
                <a:close/>
                <a:moveTo>
                  <a:pt x="4356801" y="980310"/>
                </a:moveTo>
                <a:cubicBezTo>
                  <a:pt x="4362747" y="980310"/>
                  <a:pt x="4367537" y="985100"/>
                  <a:pt x="4367537" y="991047"/>
                </a:cubicBezTo>
                <a:cubicBezTo>
                  <a:pt x="4367537" y="996993"/>
                  <a:pt x="4362747" y="1001785"/>
                  <a:pt x="4356801" y="1001785"/>
                </a:cubicBezTo>
                <a:cubicBezTo>
                  <a:pt x="4350854" y="1001785"/>
                  <a:pt x="4346064" y="996993"/>
                  <a:pt x="4346064" y="991047"/>
                </a:cubicBezTo>
                <a:cubicBezTo>
                  <a:pt x="4346064" y="985100"/>
                  <a:pt x="4350854" y="980310"/>
                  <a:pt x="4356801" y="980310"/>
                </a:cubicBezTo>
                <a:close/>
                <a:moveTo>
                  <a:pt x="222643" y="979485"/>
                </a:moveTo>
                <a:cubicBezTo>
                  <a:pt x="228590" y="979485"/>
                  <a:pt x="233379" y="984275"/>
                  <a:pt x="233379" y="990221"/>
                </a:cubicBezTo>
                <a:cubicBezTo>
                  <a:pt x="233379" y="996168"/>
                  <a:pt x="228590" y="1000959"/>
                  <a:pt x="222643" y="1000959"/>
                </a:cubicBezTo>
                <a:cubicBezTo>
                  <a:pt x="216696" y="1000959"/>
                  <a:pt x="211907" y="996168"/>
                  <a:pt x="211907" y="990221"/>
                </a:cubicBezTo>
                <a:cubicBezTo>
                  <a:pt x="211907" y="984275"/>
                  <a:pt x="216696" y="979485"/>
                  <a:pt x="222643" y="979485"/>
                </a:cubicBezTo>
                <a:close/>
                <a:moveTo>
                  <a:pt x="4519008" y="975356"/>
                </a:moveTo>
                <a:cubicBezTo>
                  <a:pt x="4524954" y="975356"/>
                  <a:pt x="4529744" y="980145"/>
                  <a:pt x="4529744" y="986092"/>
                </a:cubicBezTo>
                <a:cubicBezTo>
                  <a:pt x="4529744" y="992038"/>
                  <a:pt x="4524954" y="996830"/>
                  <a:pt x="4519008" y="996830"/>
                </a:cubicBezTo>
                <a:cubicBezTo>
                  <a:pt x="4513061" y="996830"/>
                  <a:pt x="4508272" y="992038"/>
                  <a:pt x="4508272" y="986092"/>
                </a:cubicBezTo>
                <a:cubicBezTo>
                  <a:pt x="4508272" y="980145"/>
                  <a:pt x="4513061" y="975356"/>
                  <a:pt x="4519008" y="975356"/>
                </a:cubicBezTo>
                <a:close/>
                <a:moveTo>
                  <a:pt x="4467142" y="973042"/>
                </a:moveTo>
                <a:cubicBezTo>
                  <a:pt x="4473088" y="973042"/>
                  <a:pt x="4477880" y="977832"/>
                  <a:pt x="4477880" y="983779"/>
                </a:cubicBezTo>
                <a:cubicBezTo>
                  <a:pt x="4477880" y="989725"/>
                  <a:pt x="4473088" y="994517"/>
                  <a:pt x="4467142" y="994517"/>
                </a:cubicBezTo>
                <a:cubicBezTo>
                  <a:pt x="4461195" y="994517"/>
                  <a:pt x="4456405" y="989725"/>
                  <a:pt x="4456405" y="983779"/>
                </a:cubicBezTo>
                <a:cubicBezTo>
                  <a:pt x="4456405" y="977832"/>
                  <a:pt x="4461195" y="973042"/>
                  <a:pt x="4467142" y="973042"/>
                </a:cubicBezTo>
                <a:close/>
                <a:moveTo>
                  <a:pt x="3267594" y="968417"/>
                </a:moveTo>
                <a:cubicBezTo>
                  <a:pt x="3273541" y="968417"/>
                  <a:pt x="3278331" y="973207"/>
                  <a:pt x="3278331" y="979153"/>
                </a:cubicBezTo>
                <a:cubicBezTo>
                  <a:pt x="3278331" y="985100"/>
                  <a:pt x="3273541" y="989892"/>
                  <a:pt x="3267594" y="989892"/>
                </a:cubicBezTo>
                <a:cubicBezTo>
                  <a:pt x="3261648" y="989892"/>
                  <a:pt x="3256858" y="985100"/>
                  <a:pt x="3256858" y="979153"/>
                </a:cubicBezTo>
                <a:cubicBezTo>
                  <a:pt x="3256858" y="973207"/>
                  <a:pt x="3261648" y="968417"/>
                  <a:pt x="3267594" y="968417"/>
                </a:cubicBezTo>
                <a:close/>
                <a:moveTo>
                  <a:pt x="4594827" y="967921"/>
                </a:moveTo>
                <a:cubicBezTo>
                  <a:pt x="4600773" y="967921"/>
                  <a:pt x="4605563" y="972711"/>
                  <a:pt x="4605563" y="978657"/>
                </a:cubicBezTo>
                <a:cubicBezTo>
                  <a:pt x="4605563" y="984604"/>
                  <a:pt x="4600773" y="989396"/>
                  <a:pt x="4594827" y="989396"/>
                </a:cubicBezTo>
                <a:cubicBezTo>
                  <a:pt x="4588880" y="989396"/>
                  <a:pt x="4584090" y="984604"/>
                  <a:pt x="4584090" y="978657"/>
                </a:cubicBezTo>
                <a:cubicBezTo>
                  <a:pt x="4584090" y="972711"/>
                  <a:pt x="4588880" y="967921"/>
                  <a:pt x="4594827" y="967921"/>
                </a:cubicBezTo>
                <a:close/>
                <a:moveTo>
                  <a:pt x="4559312" y="967592"/>
                </a:moveTo>
                <a:cubicBezTo>
                  <a:pt x="4565259" y="967592"/>
                  <a:pt x="4570048" y="972381"/>
                  <a:pt x="4570048" y="978328"/>
                </a:cubicBezTo>
                <a:cubicBezTo>
                  <a:pt x="4570048" y="984275"/>
                  <a:pt x="4565259" y="989066"/>
                  <a:pt x="4559312" y="989066"/>
                </a:cubicBezTo>
                <a:cubicBezTo>
                  <a:pt x="4553366" y="989066"/>
                  <a:pt x="4548576" y="984275"/>
                  <a:pt x="4548576" y="978328"/>
                </a:cubicBezTo>
                <a:cubicBezTo>
                  <a:pt x="4548576" y="972381"/>
                  <a:pt x="4553366" y="967592"/>
                  <a:pt x="4559312" y="967592"/>
                </a:cubicBezTo>
                <a:close/>
                <a:moveTo>
                  <a:pt x="4535857" y="961810"/>
                </a:moveTo>
                <a:cubicBezTo>
                  <a:pt x="4541804" y="961810"/>
                  <a:pt x="4546595" y="966600"/>
                  <a:pt x="4546595" y="972546"/>
                </a:cubicBezTo>
                <a:cubicBezTo>
                  <a:pt x="4546595" y="978493"/>
                  <a:pt x="4541804" y="983284"/>
                  <a:pt x="4535857" y="983284"/>
                </a:cubicBezTo>
                <a:cubicBezTo>
                  <a:pt x="4529911" y="983284"/>
                  <a:pt x="4525121" y="978493"/>
                  <a:pt x="4525121" y="972546"/>
                </a:cubicBezTo>
                <a:cubicBezTo>
                  <a:pt x="4525121" y="966600"/>
                  <a:pt x="4529911" y="961810"/>
                  <a:pt x="4535857" y="961810"/>
                </a:cubicBezTo>
                <a:close/>
                <a:moveTo>
                  <a:pt x="3997201" y="957185"/>
                </a:moveTo>
                <a:cubicBezTo>
                  <a:pt x="4003148" y="957185"/>
                  <a:pt x="4007938" y="961975"/>
                  <a:pt x="4007938" y="967921"/>
                </a:cubicBezTo>
                <a:cubicBezTo>
                  <a:pt x="4007938" y="973868"/>
                  <a:pt x="4003148" y="978659"/>
                  <a:pt x="3997201" y="978659"/>
                </a:cubicBezTo>
                <a:cubicBezTo>
                  <a:pt x="3991255" y="978659"/>
                  <a:pt x="3986465" y="973868"/>
                  <a:pt x="3986465" y="967921"/>
                </a:cubicBezTo>
                <a:cubicBezTo>
                  <a:pt x="3986465" y="961975"/>
                  <a:pt x="3991255" y="957185"/>
                  <a:pt x="3997201" y="957185"/>
                </a:cubicBezTo>
                <a:close/>
                <a:moveTo>
                  <a:pt x="4315010" y="956195"/>
                </a:moveTo>
                <a:cubicBezTo>
                  <a:pt x="4320957" y="956195"/>
                  <a:pt x="4325747" y="960984"/>
                  <a:pt x="4325747" y="966931"/>
                </a:cubicBezTo>
                <a:cubicBezTo>
                  <a:pt x="4325747" y="972877"/>
                  <a:pt x="4320957" y="977667"/>
                  <a:pt x="4315010" y="977667"/>
                </a:cubicBezTo>
                <a:cubicBezTo>
                  <a:pt x="4309064" y="977667"/>
                  <a:pt x="4304274" y="972877"/>
                  <a:pt x="4304274" y="966931"/>
                </a:cubicBezTo>
                <a:cubicBezTo>
                  <a:pt x="4304274" y="960984"/>
                  <a:pt x="4309064" y="956195"/>
                  <a:pt x="4315010" y="956195"/>
                </a:cubicBezTo>
                <a:close/>
                <a:moveTo>
                  <a:pt x="377417" y="955534"/>
                </a:moveTo>
                <a:cubicBezTo>
                  <a:pt x="383364" y="955534"/>
                  <a:pt x="388156" y="960324"/>
                  <a:pt x="388156" y="966270"/>
                </a:cubicBezTo>
                <a:cubicBezTo>
                  <a:pt x="388156" y="972217"/>
                  <a:pt x="383364" y="977008"/>
                  <a:pt x="377417" y="977008"/>
                </a:cubicBezTo>
                <a:cubicBezTo>
                  <a:pt x="371471" y="977008"/>
                  <a:pt x="366681" y="972217"/>
                  <a:pt x="366681" y="966270"/>
                </a:cubicBezTo>
                <a:cubicBezTo>
                  <a:pt x="366681" y="960324"/>
                  <a:pt x="371471" y="955534"/>
                  <a:pt x="377417" y="955534"/>
                </a:cubicBezTo>
                <a:close/>
                <a:moveTo>
                  <a:pt x="4505958" y="954212"/>
                </a:moveTo>
                <a:cubicBezTo>
                  <a:pt x="4511905" y="954212"/>
                  <a:pt x="4516695" y="959002"/>
                  <a:pt x="4516695" y="964949"/>
                </a:cubicBezTo>
                <a:cubicBezTo>
                  <a:pt x="4516695" y="970895"/>
                  <a:pt x="4511905" y="975687"/>
                  <a:pt x="4505958" y="975687"/>
                </a:cubicBezTo>
                <a:cubicBezTo>
                  <a:pt x="4500012" y="975687"/>
                  <a:pt x="4495222" y="970895"/>
                  <a:pt x="4495222" y="964949"/>
                </a:cubicBezTo>
                <a:cubicBezTo>
                  <a:pt x="4495222" y="959002"/>
                  <a:pt x="4500012" y="954212"/>
                  <a:pt x="4505958" y="954212"/>
                </a:cubicBezTo>
                <a:close/>
                <a:moveTo>
                  <a:pt x="4581943" y="953881"/>
                </a:moveTo>
                <a:cubicBezTo>
                  <a:pt x="4587890" y="953881"/>
                  <a:pt x="4592680" y="958671"/>
                  <a:pt x="4592680" y="964618"/>
                </a:cubicBezTo>
                <a:cubicBezTo>
                  <a:pt x="4592680" y="970564"/>
                  <a:pt x="4587890" y="975354"/>
                  <a:pt x="4581943" y="975354"/>
                </a:cubicBezTo>
                <a:cubicBezTo>
                  <a:pt x="4575997" y="975354"/>
                  <a:pt x="4571207" y="970564"/>
                  <a:pt x="4571207" y="964618"/>
                </a:cubicBezTo>
                <a:cubicBezTo>
                  <a:pt x="4571207" y="958671"/>
                  <a:pt x="4575997" y="953881"/>
                  <a:pt x="4581943" y="953881"/>
                </a:cubicBezTo>
                <a:close/>
                <a:moveTo>
                  <a:pt x="4549732" y="950578"/>
                </a:moveTo>
                <a:cubicBezTo>
                  <a:pt x="4555679" y="950578"/>
                  <a:pt x="4560471" y="955367"/>
                  <a:pt x="4560471" y="961314"/>
                </a:cubicBezTo>
                <a:cubicBezTo>
                  <a:pt x="4560471" y="967260"/>
                  <a:pt x="4555679" y="972052"/>
                  <a:pt x="4549732" y="972052"/>
                </a:cubicBezTo>
                <a:cubicBezTo>
                  <a:pt x="4543786" y="972052"/>
                  <a:pt x="4538996" y="967260"/>
                  <a:pt x="4538996" y="961314"/>
                </a:cubicBezTo>
                <a:cubicBezTo>
                  <a:pt x="4538996" y="955367"/>
                  <a:pt x="4543786" y="950578"/>
                  <a:pt x="4549732" y="950578"/>
                </a:cubicBezTo>
                <a:close/>
                <a:moveTo>
                  <a:pt x="4443850" y="950082"/>
                </a:moveTo>
                <a:cubicBezTo>
                  <a:pt x="4449797" y="950082"/>
                  <a:pt x="4454588" y="954871"/>
                  <a:pt x="4454588" y="960818"/>
                </a:cubicBezTo>
                <a:cubicBezTo>
                  <a:pt x="4454588" y="966764"/>
                  <a:pt x="4449797" y="971556"/>
                  <a:pt x="4443850" y="971556"/>
                </a:cubicBezTo>
                <a:cubicBezTo>
                  <a:pt x="4437903" y="971556"/>
                  <a:pt x="4433114" y="966764"/>
                  <a:pt x="4433114" y="960818"/>
                </a:cubicBezTo>
                <a:cubicBezTo>
                  <a:pt x="4433114" y="954871"/>
                  <a:pt x="4437903" y="950082"/>
                  <a:pt x="4443850" y="950082"/>
                </a:cubicBezTo>
                <a:close/>
                <a:moveTo>
                  <a:pt x="4619275" y="946778"/>
                </a:moveTo>
                <a:cubicBezTo>
                  <a:pt x="4620265" y="946778"/>
                  <a:pt x="4620926" y="947439"/>
                  <a:pt x="4620926" y="948431"/>
                </a:cubicBezTo>
                <a:cubicBezTo>
                  <a:pt x="4620926" y="949421"/>
                  <a:pt x="4620101" y="950082"/>
                  <a:pt x="4619275" y="950082"/>
                </a:cubicBezTo>
                <a:cubicBezTo>
                  <a:pt x="4618283" y="950082"/>
                  <a:pt x="4617622" y="949421"/>
                  <a:pt x="4617622" y="948431"/>
                </a:cubicBezTo>
                <a:cubicBezTo>
                  <a:pt x="4617622" y="947439"/>
                  <a:pt x="4618283" y="946778"/>
                  <a:pt x="4619275" y="946778"/>
                </a:cubicBezTo>
                <a:close/>
                <a:moveTo>
                  <a:pt x="3106542" y="944466"/>
                </a:moveTo>
                <a:cubicBezTo>
                  <a:pt x="3112489" y="944466"/>
                  <a:pt x="3117280" y="949256"/>
                  <a:pt x="3117280" y="955203"/>
                </a:cubicBezTo>
                <a:cubicBezTo>
                  <a:pt x="3117280" y="961149"/>
                  <a:pt x="3112489" y="965941"/>
                  <a:pt x="3106542" y="965941"/>
                </a:cubicBezTo>
                <a:cubicBezTo>
                  <a:pt x="3100596" y="965941"/>
                  <a:pt x="3095806" y="961149"/>
                  <a:pt x="3095806" y="955203"/>
                </a:cubicBezTo>
                <a:cubicBezTo>
                  <a:pt x="3095806" y="949256"/>
                  <a:pt x="3100596" y="944466"/>
                  <a:pt x="3106542" y="944466"/>
                </a:cubicBezTo>
                <a:close/>
                <a:moveTo>
                  <a:pt x="4526111" y="941988"/>
                </a:moveTo>
                <a:cubicBezTo>
                  <a:pt x="4532058" y="941988"/>
                  <a:pt x="4536847" y="946778"/>
                  <a:pt x="4536847" y="952724"/>
                </a:cubicBezTo>
                <a:cubicBezTo>
                  <a:pt x="4536847" y="958671"/>
                  <a:pt x="4532058" y="963461"/>
                  <a:pt x="4526111" y="963461"/>
                </a:cubicBezTo>
                <a:cubicBezTo>
                  <a:pt x="4520165" y="963461"/>
                  <a:pt x="4515375" y="958671"/>
                  <a:pt x="4515375" y="952724"/>
                </a:cubicBezTo>
                <a:cubicBezTo>
                  <a:pt x="4515375" y="946778"/>
                  <a:pt x="4520165" y="941988"/>
                  <a:pt x="4526111" y="941988"/>
                </a:cubicBezTo>
                <a:close/>
                <a:moveTo>
                  <a:pt x="4569884" y="939180"/>
                </a:moveTo>
                <a:cubicBezTo>
                  <a:pt x="4575830" y="939180"/>
                  <a:pt x="4580622" y="943970"/>
                  <a:pt x="4580622" y="949917"/>
                </a:cubicBezTo>
                <a:cubicBezTo>
                  <a:pt x="4580622" y="955863"/>
                  <a:pt x="4575830" y="960653"/>
                  <a:pt x="4569884" y="960653"/>
                </a:cubicBezTo>
                <a:cubicBezTo>
                  <a:pt x="4563937" y="960653"/>
                  <a:pt x="4559147" y="955863"/>
                  <a:pt x="4559147" y="949917"/>
                </a:cubicBezTo>
                <a:cubicBezTo>
                  <a:pt x="4559147" y="943970"/>
                  <a:pt x="4563937" y="939180"/>
                  <a:pt x="4569884" y="939180"/>
                </a:cubicBezTo>
                <a:close/>
                <a:moveTo>
                  <a:pt x="4540316" y="932738"/>
                </a:moveTo>
                <a:cubicBezTo>
                  <a:pt x="4546262" y="932738"/>
                  <a:pt x="4551054" y="937528"/>
                  <a:pt x="4551054" y="943474"/>
                </a:cubicBezTo>
                <a:cubicBezTo>
                  <a:pt x="4551054" y="949421"/>
                  <a:pt x="4546262" y="954212"/>
                  <a:pt x="4540316" y="954212"/>
                </a:cubicBezTo>
                <a:cubicBezTo>
                  <a:pt x="4534369" y="954212"/>
                  <a:pt x="4529580" y="949421"/>
                  <a:pt x="4529580" y="943474"/>
                </a:cubicBezTo>
                <a:cubicBezTo>
                  <a:pt x="4529580" y="937528"/>
                  <a:pt x="4534369" y="932738"/>
                  <a:pt x="4540316" y="932738"/>
                </a:cubicBezTo>
                <a:close/>
                <a:moveTo>
                  <a:pt x="4491093" y="932077"/>
                </a:moveTo>
                <a:cubicBezTo>
                  <a:pt x="4497039" y="932077"/>
                  <a:pt x="4501829" y="936867"/>
                  <a:pt x="4501829" y="942814"/>
                </a:cubicBezTo>
                <a:cubicBezTo>
                  <a:pt x="4501829" y="948760"/>
                  <a:pt x="4497039" y="953552"/>
                  <a:pt x="4491093" y="953552"/>
                </a:cubicBezTo>
                <a:cubicBezTo>
                  <a:pt x="4485146" y="953552"/>
                  <a:pt x="4480356" y="948760"/>
                  <a:pt x="4480356" y="942814"/>
                </a:cubicBezTo>
                <a:cubicBezTo>
                  <a:pt x="4480356" y="936867"/>
                  <a:pt x="4485146" y="932077"/>
                  <a:pt x="4491093" y="932077"/>
                </a:cubicBezTo>
                <a:close/>
                <a:moveTo>
                  <a:pt x="545902" y="931748"/>
                </a:moveTo>
                <a:cubicBezTo>
                  <a:pt x="551849" y="931748"/>
                  <a:pt x="556639" y="936538"/>
                  <a:pt x="556639" y="942484"/>
                </a:cubicBezTo>
                <a:cubicBezTo>
                  <a:pt x="556639" y="948431"/>
                  <a:pt x="551849" y="953222"/>
                  <a:pt x="545902" y="953222"/>
                </a:cubicBezTo>
                <a:cubicBezTo>
                  <a:pt x="539956" y="953222"/>
                  <a:pt x="535166" y="948431"/>
                  <a:pt x="535166" y="942484"/>
                </a:cubicBezTo>
                <a:cubicBezTo>
                  <a:pt x="535166" y="936538"/>
                  <a:pt x="539956" y="931748"/>
                  <a:pt x="545902" y="931748"/>
                </a:cubicBezTo>
                <a:close/>
                <a:moveTo>
                  <a:pt x="3909819" y="931583"/>
                </a:moveTo>
                <a:cubicBezTo>
                  <a:pt x="3915766" y="931583"/>
                  <a:pt x="3920556" y="936373"/>
                  <a:pt x="3920556" y="942319"/>
                </a:cubicBezTo>
                <a:cubicBezTo>
                  <a:pt x="3920556" y="948266"/>
                  <a:pt x="3915766" y="953057"/>
                  <a:pt x="3909819" y="953057"/>
                </a:cubicBezTo>
                <a:cubicBezTo>
                  <a:pt x="3903873" y="953057"/>
                  <a:pt x="3899083" y="948266"/>
                  <a:pt x="3899083" y="942319"/>
                </a:cubicBezTo>
                <a:cubicBezTo>
                  <a:pt x="3899083" y="936373"/>
                  <a:pt x="3903873" y="931583"/>
                  <a:pt x="3909819" y="931583"/>
                </a:cubicBezTo>
                <a:close/>
                <a:moveTo>
                  <a:pt x="4267603" y="931252"/>
                </a:moveTo>
                <a:cubicBezTo>
                  <a:pt x="4273549" y="931252"/>
                  <a:pt x="4278339" y="936042"/>
                  <a:pt x="4278339" y="941988"/>
                </a:cubicBezTo>
                <a:cubicBezTo>
                  <a:pt x="4278339" y="947935"/>
                  <a:pt x="4273549" y="952726"/>
                  <a:pt x="4267603" y="952726"/>
                </a:cubicBezTo>
                <a:cubicBezTo>
                  <a:pt x="4261656" y="952726"/>
                  <a:pt x="4256866" y="947935"/>
                  <a:pt x="4256866" y="941988"/>
                </a:cubicBezTo>
                <a:cubicBezTo>
                  <a:pt x="4256866" y="936042"/>
                  <a:pt x="4261656" y="931252"/>
                  <a:pt x="4267603" y="931252"/>
                </a:cubicBezTo>
                <a:close/>
                <a:moveTo>
                  <a:pt x="4416927" y="925966"/>
                </a:moveTo>
                <a:cubicBezTo>
                  <a:pt x="4422873" y="925966"/>
                  <a:pt x="4427663" y="930756"/>
                  <a:pt x="4427663" y="936702"/>
                </a:cubicBezTo>
                <a:cubicBezTo>
                  <a:pt x="4427663" y="942649"/>
                  <a:pt x="4422873" y="947440"/>
                  <a:pt x="4416927" y="947440"/>
                </a:cubicBezTo>
                <a:cubicBezTo>
                  <a:pt x="4410980" y="947440"/>
                  <a:pt x="4406190" y="942649"/>
                  <a:pt x="4406190" y="936702"/>
                </a:cubicBezTo>
                <a:cubicBezTo>
                  <a:pt x="4406190" y="930756"/>
                  <a:pt x="4410980" y="925966"/>
                  <a:pt x="4416927" y="925966"/>
                </a:cubicBezTo>
                <a:close/>
                <a:moveTo>
                  <a:pt x="4603251" y="924976"/>
                </a:moveTo>
                <a:cubicBezTo>
                  <a:pt x="4609198" y="924976"/>
                  <a:pt x="4613988" y="929766"/>
                  <a:pt x="4613988" y="935712"/>
                </a:cubicBezTo>
                <a:cubicBezTo>
                  <a:pt x="4613988" y="941659"/>
                  <a:pt x="4609198" y="946448"/>
                  <a:pt x="4603251" y="946448"/>
                </a:cubicBezTo>
                <a:cubicBezTo>
                  <a:pt x="4597305" y="946448"/>
                  <a:pt x="4592515" y="941659"/>
                  <a:pt x="4592515" y="935712"/>
                </a:cubicBezTo>
                <a:cubicBezTo>
                  <a:pt x="4592515" y="929766"/>
                  <a:pt x="4597305" y="924976"/>
                  <a:pt x="4603251" y="924976"/>
                </a:cubicBezTo>
                <a:close/>
                <a:moveTo>
                  <a:pt x="4558487" y="923323"/>
                </a:moveTo>
                <a:cubicBezTo>
                  <a:pt x="4564433" y="923323"/>
                  <a:pt x="4569225" y="928113"/>
                  <a:pt x="4569225" y="934059"/>
                </a:cubicBezTo>
                <a:cubicBezTo>
                  <a:pt x="4569225" y="940006"/>
                  <a:pt x="4564433" y="944797"/>
                  <a:pt x="4558487" y="944797"/>
                </a:cubicBezTo>
                <a:cubicBezTo>
                  <a:pt x="4552540" y="944797"/>
                  <a:pt x="4547750" y="940006"/>
                  <a:pt x="4547750" y="934059"/>
                </a:cubicBezTo>
                <a:cubicBezTo>
                  <a:pt x="4547750" y="928113"/>
                  <a:pt x="4552540" y="923323"/>
                  <a:pt x="4558487" y="923323"/>
                </a:cubicBezTo>
                <a:close/>
                <a:moveTo>
                  <a:pt x="4515540" y="921341"/>
                </a:moveTo>
                <a:cubicBezTo>
                  <a:pt x="4521486" y="921341"/>
                  <a:pt x="4526278" y="926131"/>
                  <a:pt x="4526278" y="932077"/>
                </a:cubicBezTo>
                <a:cubicBezTo>
                  <a:pt x="4526278" y="938024"/>
                  <a:pt x="4521486" y="942814"/>
                  <a:pt x="4515540" y="942814"/>
                </a:cubicBezTo>
                <a:cubicBezTo>
                  <a:pt x="4509593" y="942814"/>
                  <a:pt x="4504803" y="938024"/>
                  <a:pt x="4504803" y="932077"/>
                </a:cubicBezTo>
                <a:cubicBezTo>
                  <a:pt x="4504803" y="926131"/>
                  <a:pt x="4509593" y="921341"/>
                  <a:pt x="4515540" y="921341"/>
                </a:cubicBezTo>
                <a:close/>
                <a:moveTo>
                  <a:pt x="2931452" y="920680"/>
                </a:moveTo>
                <a:cubicBezTo>
                  <a:pt x="2937398" y="920680"/>
                  <a:pt x="2942188" y="925470"/>
                  <a:pt x="2942188" y="931417"/>
                </a:cubicBezTo>
                <a:cubicBezTo>
                  <a:pt x="2942188" y="937363"/>
                  <a:pt x="2937398" y="942155"/>
                  <a:pt x="2931452" y="942155"/>
                </a:cubicBezTo>
                <a:cubicBezTo>
                  <a:pt x="2925505" y="942155"/>
                  <a:pt x="2920715" y="937363"/>
                  <a:pt x="2920715" y="931417"/>
                </a:cubicBezTo>
                <a:cubicBezTo>
                  <a:pt x="2920715" y="925470"/>
                  <a:pt x="2925505" y="920680"/>
                  <a:pt x="2931452" y="920680"/>
                </a:cubicBezTo>
                <a:close/>
                <a:moveTo>
                  <a:pt x="4530736" y="913908"/>
                </a:moveTo>
                <a:cubicBezTo>
                  <a:pt x="4536683" y="913908"/>
                  <a:pt x="4541473" y="918698"/>
                  <a:pt x="4541473" y="924645"/>
                </a:cubicBezTo>
                <a:cubicBezTo>
                  <a:pt x="4541473" y="930591"/>
                  <a:pt x="4536683" y="935383"/>
                  <a:pt x="4530736" y="935383"/>
                </a:cubicBezTo>
                <a:cubicBezTo>
                  <a:pt x="4524790" y="935383"/>
                  <a:pt x="4520000" y="930591"/>
                  <a:pt x="4520000" y="924645"/>
                </a:cubicBezTo>
                <a:cubicBezTo>
                  <a:pt x="4520000" y="918698"/>
                  <a:pt x="4524790" y="913908"/>
                  <a:pt x="4530736" y="913908"/>
                </a:cubicBezTo>
                <a:close/>
                <a:moveTo>
                  <a:pt x="4588055" y="911430"/>
                </a:moveTo>
                <a:cubicBezTo>
                  <a:pt x="4594001" y="911430"/>
                  <a:pt x="4598791" y="916220"/>
                  <a:pt x="4598791" y="922166"/>
                </a:cubicBezTo>
                <a:cubicBezTo>
                  <a:pt x="4598791" y="928113"/>
                  <a:pt x="4594001" y="932904"/>
                  <a:pt x="4588055" y="932904"/>
                </a:cubicBezTo>
                <a:cubicBezTo>
                  <a:pt x="4582108" y="932904"/>
                  <a:pt x="4577318" y="928113"/>
                  <a:pt x="4577318" y="922166"/>
                </a:cubicBezTo>
                <a:cubicBezTo>
                  <a:pt x="4577318" y="916220"/>
                  <a:pt x="4582108" y="911430"/>
                  <a:pt x="4588055" y="911430"/>
                </a:cubicBezTo>
                <a:close/>
                <a:moveTo>
                  <a:pt x="4473914" y="908787"/>
                </a:moveTo>
                <a:cubicBezTo>
                  <a:pt x="4479860" y="908787"/>
                  <a:pt x="4484652" y="913577"/>
                  <a:pt x="4484652" y="919523"/>
                </a:cubicBezTo>
                <a:cubicBezTo>
                  <a:pt x="4484652" y="925470"/>
                  <a:pt x="4479860" y="930262"/>
                  <a:pt x="4473914" y="930262"/>
                </a:cubicBezTo>
                <a:cubicBezTo>
                  <a:pt x="4467967" y="930262"/>
                  <a:pt x="4463177" y="925470"/>
                  <a:pt x="4463177" y="919523"/>
                </a:cubicBezTo>
                <a:cubicBezTo>
                  <a:pt x="4463177" y="913577"/>
                  <a:pt x="4467967" y="908787"/>
                  <a:pt x="4473914" y="908787"/>
                </a:cubicBezTo>
                <a:close/>
                <a:moveTo>
                  <a:pt x="728759" y="908291"/>
                </a:moveTo>
                <a:cubicBezTo>
                  <a:pt x="734705" y="908291"/>
                  <a:pt x="739496" y="913081"/>
                  <a:pt x="739496" y="919027"/>
                </a:cubicBezTo>
                <a:cubicBezTo>
                  <a:pt x="739496" y="924974"/>
                  <a:pt x="734705" y="929766"/>
                  <a:pt x="728759" y="929766"/>
                </a:cubicBezTo>
                <a:cubicBezTo>
                  <a:pt x="722812" y="929766"/>
                  <a:pt x="718022" y="924974"/>
                  <a:pt x="718022" y="919027"/>
                </a:cubicBezTo>
                <a:cubicBezTo>
                  <a:pt x="718022" y="913081"/>
                  <a:pt x="722812" y="908291"/>
                  <a:pt x="728759" y="908291"/>
                </a:cubicBezTo>
                <a:close/>
                <a:moveTo>
                  <a:pt x="4547419" y="906474"/>
                </a:moveTo>
                <a:cubicBezTo>
                  <a:pt x="4553366" y="906474"/>
                  <a:pt x="4558155" y="911264"/>
                  <a:pt x="4558155" y="917210"/>
                </a:cubicBezTo>
                <a:cubicBezTo>
                  <a:pt x="4558155" y="923157"/>
                  <a:pt x="4553366" y="927948"/>
                  <a:pt x="4547419" y="927948"/>
                </a:cubicBezTo>
                <a:cubicBezTo>
                  <a:pt x="4541473" y="927948"/>
                  <a:pt x="4536683" y="923157"/>
                  <a:pt x="4536683" y="917210"/>
                </a:cubicBezTo>
                <a:cubicBezTo>
                  <a:pt x="4536683" y="911264"/>
                  <a:pt x="4541473" y="906474"/>
                  <a:pt x="4547419" y="906474"/>
                </a:cubicBezTo>
                <a:close/>
                <a:moveTo>
                  <a:pt x="4213919" y="905319"/>
                </a:moveTo>
                <a:cubicBezTo>
                  <a:pt x="4219866" y="905319"/>
                  <a:pt x="4224656" y="910109"/>
                  <a:pt x="4224656" y="916055"/>
                </a:cubicBezTo>
                <a:cubicBezTo>
                  <a:pt x="4224656" y="922002"/>
                  <a:pt x="4219866" y="926793"/>
                  <a:pt x="4213919" y="926793"/>
                </a:cubicBezTo>
                <a:cubicBezTo>
                  <a:pt x="4207973" y="926793"/>
                  <a:pt x="4203183" y="922002"/>
                  <a:pt x="4203183" y="916055"/>
                </a:cubicBezTo>
                <a:cubicBezTo>
                  <a:pt x="4203183" y="910109"/>
                  <a:pt x="4207973" y="905319"/>
                  <a:pt x="4213919" y="905319"/>
                </a:cubicBezTo>
                <a:close/>
                <a:moveTo>
                  <a:pt x="3812859" y="905319"/>
                </a:moveTo>
                <a:cubicBezTo>
                  <a:pt x="3818806" y="905319"/>
                  <a:pt x="3823595" y="910109"/>
                  <a:pt x="3823595" y="916055"/>
                </a:cubicBezTo>
                <a:cubicBezTo>
                  <a:pt x="3823595" y="922002"/>
                  <a:pt x="3818806" y="926793"/>
                  <a:pt x="3812859" y="926793"/>
                </a:cubicBezTo>
                <a:cubicBezTo>
                  <a:pt x="3806913" y="926793"/>
                  <a:pt x="3802123" y="922002"/>
                  <a:pt x="3802123" y="916055"/>
                </a:cubicBezTo>
                <a:cubicBezTo>
                  <a:pt x="3802123" y="910109"/>
                  <a:pt x="3806913" y="905319"/>
                  <a:pt x="3812859" y="905319"/>
                </a:cubicBezTo>
                <a:close/>
                <a:moveTo>
                  <a:pt x="4386037" y="900858"/>
                </a:moveTo>
                <a:cubicBezTo>
                  <a:pt x="4391984" y="900858"/>
                  <a:pt x="4396775" y="905648"/>
                  <a:pt x="4396775" y="911595"/>
                </a:cubicBezTo>
                <a:cubicBezTo>
                  <a:pt x="4396775" y="917541"/>
                  <a:pt x="4391984" y="922333"/>
                  <a:pt x="4386037" y="922333"/>
                </a:cubicBezTo>
                <a:cubicBezTo>
                  <a:pt x="4380091" y="922333"/>
                  <a:pt x="4375301" y="917541"/>
                  <a:pt x="4375301" y="911595"/>
                </a:cubicBezTo>
                <a:cubicBezTo>
                  <a:pt x="4375301" y="905648"/>
                  <a:pt x="4380091" y="900858"/>
                  <a:pt x="4386037" y="900858"/>
                </a:cubicBezTo>
                <a:close/>
                <a:moveTo>
                  <a:pt x="4503646" y="899372"/>
                </a:moveTo>
                <a:cubicBezTo>
                  <a:pt x="4509593" y="899372"/>
                  <a:pt x="4514383" y="904162"/>
                  <a:pt x="4514383" y="910109"/>
                </a:cubicBezTo>
                <a:cubicBezTo>
                  <a:pt x="4514383" y="916055"/>
                  <a:pt x="4509593" y="920847"/>
                  <a:pt x="4503646" y="920847"/>
                </a:cubicBezTo>
                <a:cubicBezTo>
                  <a:pt x="4497700" y="920847"/>
                  <a:pt x="4492910" y="916055"/>
                  <a:pt x="4492910" y="910109"/>
                </a:cubicBezTo>
                <a:cubicBezTo>
                  <a:pt x="4492910" y="904162"/>
                  <a:pt x="4497700" y="899372"/>
                  <a:pt x="4503646" y="899372"/>
                </a:cubicBezTo>
                <a:close/>
                <a:moveTo>
                  <a:pt x="2741657" y="897555"/>
                </a:moveTo>
                <a:cubicBezTo>
                  <a:pt x="2747603" y="897555"/>
                  <a:pt x="2752395" y="902345"/>
                  <a:pt x="2752395" y="908291"/>
                </a:cubicBezTo>
                <a:cubicBezTo>
                  <a:pt x="2752395" y="914238"/>
                  <a:pt x="2747603" y="919029"/>
                  <a:pt x="2741657" y="919029"/>
                </a:cubicBezTo>
                <a:cubicBezTo>
                  <a:pt x="2735710" y="919029"/>
                  <a:pt x="2730921" y="914238"/>
                  <a:pt x="2730921" y="908291"/>
                </a:cubicBezTo>
                <a:cubicBezTo>
                  <a:pt x="2730921" y="902345"/>
                  <a:pt x="2735710" y="897555"/>
                  <a:pt x="2741657" y="897555"/>
                </a:cubicBezTo>
                <a:close/>
                <a:moveTo>
                  <a:pt x="4573848" y="897059"/>
                </a:moveTo>
                <a:cubicBezTo>
                  <a:pt x="4579795" y="897059"/>
                  <a:pt x="4584584" y="901849"/>
                  <a:pt x="4584584" y="907795"/>
                </a:cubicBezTo>
                <a:cubicBezTo>
                  <a:pt x="4584584" y="913742"/>
                  <a:pt x="4579795" y="918533"/>
                  <a:pt x="4573848" y="918533"/>
                </a:cubicBezTo>
                <a:cubicBezTo>
                  <a:pt x="4567902" y="918533"/>
                  <a:pt x="4563112" y="913742"/>
                  <a:pt x="4563112" y="907795"/>
                </a:cubicBezTo>
                <a:cubicBezTo>
                  <a:pt x="4563112" y="901849"/>
                  <a:pt x="4567902" y="897059"/>
                  <a:pt x="4573848" y="897059"/>
                </a:cubicBezTo>
                <a:close/>
                <a:moveTo>
                  <a:pt x="4536847" y="888801"/>
                </a:moveTo>
                <a:cubicBezTo>
                  <a:pt x="4542794" y="888801"/>
                  <a:pt x="4547586" y="893590"/>
                  <a:pt x="4547586" y="899537"/>
                </a:cubicBezTo>
                <a:cubicBezTo>
                  <a:pt x="4547586" y="905483"/>
                  <a:pt x="4542794" y="910275"/>
                  <a:pt x="4536847" y="910275"/>
                </a:cubicBezTo>
                <a:lnTo>
                  <a:pt x="4531397" y="904824"/>
                </a:lnTo>
                <a:lnTo>
                  <a:pt x="4520825" y="915396"/>
                </a:lnTo>
                <a:cubicBezTo>
                  <a:pt x="4514879" y="915396"/>
                  <a:pt x="4510089" y="910605"/>
                  <a:pt x="4510089" y="904658"/>
                </a:cubicBezTo>
                <a:cubicBezTo>
                  <a:pt x="4510089" y="898711"/>
                  <a:pt x="4514879" y="893922"/>
                  <a:pt x="4520825" y="893922"/>
                </a:cubicBezTo>
                <a:lnTo>
                  <a:pt x="4526276" y="899372"/>
                </a:lnTo>
                <a:close/>
                <a:moveTo>
                  <a:pt x="926645" y="885662"/>
                </a:moveTo>
                <a:cubicBezTo>
                  <a:pt x="932591" y="885662"/>
                  <a:pt x="937383" y="890452"/>
                  <a:pt x="937383" y="896398"/>
                </a:cubicBezTo>
                <a:cubicBezTo>
                  <a:pt x="937383" y="902345"/>
                  <a:pt x="932591" y="907136"/>
                  <a:pt x="926645" y="907136"/>
                </a:cubicBezTo>
                <a:cubicBezTo>
                  <a:pt x="920698" y="907136"/>
                  <a:pt x="915908" y="902345"/>
                  <a:pt x="915908" y="896398"/>
                </a:cubicBezTo>
                <a:cubicBezTo>
                  <a:pt x="915908" y="890452"/>
                  <a:pt x="920698" y="885662"/>
                  <a:pt x="926645" y="885662"/>
                </a:cubicBezTo>
                <a:close/>
                <a:moveTo>
                  <a:pt x="4454092" y="884340"/>
                </a:moveTo>
                <a:cubicBezTo>
                  <a:pt x="4460039" y="884340"/>
                  <a:pt x="4464828" y="889130"/>
                  <a:pt x="4464828" y="895077"/>
                </a:cubicBezTo>
                <a:cubicBezTo>
                  <a:pt x="4464828" y="901023"/>
                  <a:pt x="4460039" y="905815"/>
                  <a:pt x="4454092" y="905815"/>
                </a:cubicBezTo>
                <a:cubicBezTo>
                  <a:pt x="4448146" y="905815"/>
                  <a:pt x="4443356" y="901023"/>
                  <a:pt x="4443356" y="895077"/>
                </a:cubicBezTo>
                <a:cubicBezTo>
                  <a:pt x="4443356" y="889130"/>
                  <a:pt x="4448146" y="884340"/>
                  <a:pt x="4454092" y="884340"/>
                </a:cubicBezTo>
                <a:close/>
                <a:moveTo>
                  <a:pt x="4560469" y="881533"/>
                </a:moveTo>
                <a:cubicBezTo>
                  <a:pt x="4566415" y="881533"/>
                  <a:pt x="4571207" y="886322"/>
                  <a:pt x="4571207" y="892269"/>
                </a:cubicBezTo>
                <a:cubicBezTo>
                  <a:pt x="4571207" y="898216"/>
                  <a:pt x="4566415" y="903007"/>
                  <a:pt x="4560469" y="903007"/>
                </a:cubicBezTo>
                <a:cubicBezTo>
                  <a:pt x="4554522" y="903007"/>
                  <a:pt x="4549732" y="898216"/>
                  <a:pt x="4549732" y="892269"/>
                </a:cubicBezTo>
                <a:cubicBezTo>
                  <a:pt x="4549732" y="886322"/>
                  <a:pt x="4554522" y="881533"/>
                  <a:pt x="4560469" y="881533"/>
                </a:cubicBezTo>
                <a:close/>
                <a:moveTo>
                  <a:pt x="4153627" y="878229"/>
                </a:moveTo>
                <a:cubicBezTo>
                  <a:pt x="4159573" y="878229"/>
                  <a:pt x="4164363" y="883019"/>
                  <a:pt x="4164363" y="888965"/>
                </a:cubicBezTo>
                <a:cubicBezTo>
                  <a:pt x="4164363" y="894912"/>
                  <a:pt x="4159573" y="899702"/>
                  <a:pt x="4153627" y="899702"/>
                </a:cubicBezTo>
                <a:cubicBezTo>
                  <a:pt x="4147680" y="899702"/>
                  <a:pt x="4142891" y="894912"/>
                  <a:pt x="4142891" y="888965"/>
                </a:cubicBezTo>
                <a:cubicBezTo>
                  <a:pt x="4142891" y="883019"/>
                  <a:pt x="4147680" y="878229"/>
                  <a:pt x="4153627" y="878229"/>
                </a:cubicBezTo>
                <a:close/>
                <a:moveTo>
                  <a:pt x="3705655" y="878229"/>
                </a:moveTo>
                <a:cubicBezTo>
                  <a:pt x="3711602" y="878229"/>
                  <a:pt x="3716393" y="883019"/>
                  <a:pt x="3716393" y="888965"/>
                </a:cubicBezTo>
                <a:cubicBezTo>
                  <a:pt x="3716393" y="894912"/>
                  <a:pt x="3711602" y="899702"/>
                  <a:pt x="3705655" y="899702"/>
                </a:cubicBezTo>
                <a:cubicBezTo>
                  <a:pt x="3699709" y="899702"/>
                  <a:pt x="3694919" y="894912"/>
                  <a:pt x="3694919" y="888965"/>
                </a:cubicBezTo>
                <a:cubicBezTo>
                  <a:pt x="3694919" y="883019"/>
                  <a:pt x="3699709" y="878229"/>
                  <a:pt x="3705655" y="878229"/>
                </a:cubicBezTo>
                <a:close/>
                <a:moveTo>
                  <a:pt x="4597965" y="877237"/>
                </a:moveTo>
                <a:cubicBezTo>
                  <a:pt x="4600112" y="877237"/>
                  <a:pt x="4601765" y="878888"/>
                  <a:pt x="4601765" y="881037"/>
                </a:cubicBezTo>
                <a:cubicBezTo>
                  <a:pt x="4601765" y="883184"/>
                  <a:pt x="4599948" y="884835"/>
                  <a:pt x="4597965" y="884835"/>
                </a:cubicBezTo>
                <a:cubicBezTo>
                  <a:pt x="4595819" y="884835"/>
                  <a:pt x="4594166" y="883184"/>
                  <a:pt x="4594166" y="881037"/>
                </a:cubicBezTo>
                <a:cubicBezTo>
                  <a:pt x="4594166" y="878888"/>
                  <a:pt x="4595819" y="877237"/>
                  <a:pt x="4597965" y="877237"/>
                </a:cubicBezTo>
                <a:close/>
                <a:moveTo>
                  <a:pt x="4490432" y="876576"/>
                </a:moveTo>
                <a:cubicBezTo>
                  <a:pt x="4496379" y="876576"/>
                  <a:pt x="4501170" y="881366"/>
                  <a:pt x="4501170" y="887313"/>
                </a:cubicBezTo>
                <a:cubicBezTo>
                  <a:pt x="4501170" y="893259"/>
                  <a:pt x="4496379" y="898051"/>
                  <a:pt x="4490432" y="898051"/>
                </a:cubicBezTo>
                <a:cubicBezTo>
                  <a:pt x="4484485" y="898051"/>
                  <a:pt x="4479696" y="893259"/>
                  <a:pt x="4479696" y="887313"/>
                </a:cubicBezTo>
                <a:cubicBezTo>
                  <a:pt x="4479696" y="881366"/>
                  <a:pt x="4484485" y="876576"/>
                  <a:pt x="4490432" y="876576"/>
                </a:cubicBezTo>
                <a:close/>
                <a:moveTo>
                  <a:pt x="2536999" y="875916"/>
                </a:moveTo>
                <a:cubicBezTo>
                  <a:pt x="2542945" y="875916"/>
                  <a:pt x="2547737" y="880705"/>
                  <a:pt x="2547737" y="886652"/>
                </a:cubicBezTo>
                <a:cubicBezTo>
                  <a:pt x="2547737" y="892598"/>
                  <a:pt x="2542945" y="897388"/>
                  <a:pt x="2536999" y="897388"/>
                </a:cubicBezTo>
                <a:cubicBezTo>
                  <a:pt x="2531052" y="897388"/>
                  <a:pt x="2526263" y="892598"/>
                  <a:pt x="2526263" y="886652"/>
                </a:cubicBezTo>
                <a:cubicBezTo>
                  <a:pt x="2526263" y="880705"/>
                  <a:pt x="2531052" y="875916"/>
                  <a:pt x="2536999" y="875916"/>
                </a:cubicBezTo>
                <a:close/>
                <a:moveTo>
                  <a:pt x="4350854" y="874759"/>
                </a:moveTo>
                <a:cubicBezTo>
                  <a:pt x="4356801" y="874759"/>
                  <a:pt x="4361591" y="879549"/>
                  <a:pt x="4361591" y="885495"/>
                </a:cubicBezTo>
                <a:cubicBezTo>
                  <a:pt x="4361591" y="891442"/>
                  <a:pt x="4356801" y="896233"/>
                  <a:pt x="4350854" y="896233"/>
                </a:cubicBezTo>
                <a:cubicBezTo>
                  <a:pt x="4344908" y="896233"/>
                  <a:pt x="4340118" y="891442"/>
                  <a:pt x="4340118" y="885495"/>
                </a:cubicBezTo>
                <a:cubicBezTo>
                  <a:pt x="4340118" y="879549"/>
                  <a:pt x="4344908" y="874759"/>
                  <a:pt x="4350854" y="874759"/>
                </a:cubicBezTo>
                <a:close/>
                <a:moveTo>
                  <a:pt x="4526276" y="869969"/>
                </a:moveTo>
                <a:cubicBezTo>
                  <a:pt x="4532222" y="869969"/>
                  <a:pt x="4537012" y="874759"/>
                  <a:pt x="4537012" y="880705"/>
                </a:cubicBezTo>
                <a:cubicBezTo>
                  <a:pt x="4537012" y="886652"/>
                  <a:pt x="4532222" y="891444"/>
                  <a:pt x="4526276" y="891444"/>
                </a:cubicBezTo>
                <a:lnTo>
                  <a:pt x="4519752" y="884919"/>
                </a:lnTo>
                <a:lnTo>
                  <a:pt x="4510418" y="894253"/>
                </a:lnTo>
                <a:cubicBezTo>
                  <a:pt x="4504472" y="894253"/>
                  <a:pt x="4499682" y="889461"/>
                  <a:pt x="4499682" y="883515"/>
                </a:cubicBezTo>
                <a:cubicBezTo>
                  <a:pt x="4499682" y="877568"/>
                  <a:pt x="4504472" y="872778"/>
                  <a:pt x="4510418" y="872778"/>
                </a:cubicBezTo>
                <a:lnTo>
                  <a:pt x="4516942" y="879302"/>
                </a:lnTo>
                <a:close/>
                <a:moveTo>
                  <a:pt x="1139069" y="865344"/>
                </a:moveTo>
                <a:cubicBezTo>
                  <a:pt x="1145015" y="865344"/>
                  <a:pt x="1149807" y="870134"/>
                  <a:pt x="1149807" y="876080"/>
                </a:cubicBezTo>
                <a:cubicBezTo>
                  <a:pt x="1149807" y="882027"/>
                  <a:pt x="1145015" y="886818"/>
                  <a:pt x="1139069" y="886818"/>
                </a:cubicBezTo>
                <a:cubicBezTo>
                  <a:pt x="1133122" y="886818"/>
                  <a:pt x="1128332" y="882027"/>
                  <a:pt x="1128332" y="876080"/>
                </a:cubicBezTo>
                <a:cubicBezTo>
                  <a:pt x="1128332" y="870134"/>
                  <a:pt x="1133122" y="865344"/>
                  <a:pt x="1139069" y="865344"/>
                </a:cubicBezTo>
                <a:close/>
                <a:moveTo>
                  <a:pt x="4547750" y="865179"/>
                </a:moveTo>
                <a:cubicBezTo>
                  <a:pt x="4553697" y="865179"/>
                  <a:pt x="4558487" y="869969"/>
                  <a:pt x="4558487" y="875916"/>
                </a:cubicBezTo>
                <a:cubicBezTo>
                  <a:pt x="4558487" y="881862"/>
                  <a:pt x="4553697" y="886654"/>
                  <a:pt x="4547750" y="886654"/>
                </a:cubicBezTo>
                <a:cubicBezTo>
                  <a:pt x="4541804" y="886654"/>
                  <a:pt x="4537014" y="881862"/>
                  <a:pt x="4537014" y="875916"/>
                </a:cubicBezTo>
                <a:cubicBezTo>
                  <a:pt x="4537014" y="869969"/>
                  <a:pt x="4541804" y="865179"/>
                  <a:pt x="4547750" y="865179"/>
                </a:cubicBezTo>
                <a:close/>
                <a:moveTo>
                  <a:pt x="4431298" y="858901"/>
                </a:moveTo>
                <a:cubicBezTo>
                  <a:pt x="4437244" y="858901"/>
                  <a:pt x="4442034" y="863691"/>
                  <a:pt x="4442034" y="869638"/>
                </a:cubicBezTo>
                <a:cubicBezTo>
                  <a:pt x="4442034" y="875584"/>
                  <a:pt x="4437244" y="880376"/>
                  <a:pt x="4431298" y="880376"/>
                </a:cubicBezTo>
                <a:cubicBezTo>
                  <a:pt x="4425351" y="880376"/>
                  <a:pt x="4420562" y="875584"/>
                  <a:pt x="4420562" y="869638"/>
                </a:cubicBezTo>
                <a:cubicBezTo>
                  <a:pt x="4420562" y="863691"/>
                  <a:pt x="4425351" y="858901"/>
                  <a:pt x="4431298" y="858901"/>
                </a:cubicBezTo>
                <a:close/>
                <a:moveTo>
                  <a:pt x="2317803" y="857086"/>
                </a:moveTo>
                <a:cubicBezTo>
                  <a:pt x="2323749" y="857086"/>
                  <a:pt x="2328541" y="861876"/>
                  <a:pt x="2328541" y="867822"/>
                </a:cubicBezTo>
                <a:cubicBezTo>
                  <a:pt x="2328541" y="873769"/>
                  <a:pt x="2323749" y="878560"/>
                  <a:pt x="2317803" y="878560"/>
                </a:cubicBezTo>
                <a:cubicBezTo>
                  <a:pt x="2311856" y="878560"/>
                  <a:pt x="2307066" y="873769"/>
                  <a:pt x="2307066" y="867822"/>
                </a:cubicBezTo>
                <a:cubicBezTo>
                  <a:pt x="2307066" y="861876"/>
                  <a:pt x="2311856" y="857086"/>
                  <a:pt x="2317803" y="857086"/>
                </a:cubicBezTo>
                <a:close/>
                <a:moveTo>
                  <a:pt x="4581612" y="856590"/>
                </a:moveTo>
                <a:cubicBezTo>
                  <a:pt x="4587559" y="856590"/>
                  <a:pt x="4592350" y="861380"/>
                  <a:pt x="4592350" y="867326"/>
                </a:cubicBezTo>
                <a:cubicBezTo>
                  <a:pt x="4592350" y="873273"/>
                  <a:pt x="4587559" y="878064"/>
                  <a:pt x="4581612" y="878064"/>
                </a:cubicBezTo>
                <a:cubicBezTo>
                  <a:pt x="4575666" y="878064"/>
                  <a:pt x="4570876" y="873273"/>
                  <a:pt x="4570876" y="867326"/>
                </a:cubicBezTo>
                <a:cubicBezTo>
                  <a:pt x="4570876" y="861380"/>
                  <a:pt x="4575666" y="856590"/>
                  <a:pt x="4581612" y="856590"/>
                </a:cubicBezTo>
                <a:close/>
                <a:moveTo>
                  <a:pt x="4475400" y="852461"/>
                </a:moveTo>
                <a:cubicBezTo>
                  <a:pt x="4481347" y="852461"/>
                  <a:pt x="4486138" y="857250"/>
                  <a:pt x="4486138" y="863197"/>
                </a:cubicBezTo>
                <a:cubicBezTo>
                  <a:pt x="4486138" y="869144"/>
                  <a:pt x="4481347" y="873935"/>
                  <a:pt x="4475400" y="873935"/>
                </a:cubicBezTo>
                <a:cubicBezTo>
                  <a:pt x="4469454" y="873935"/>
                  <a:pt x="4464664" y="869144"/>
                  <a:pt x="4464664" y="863197"/>
                </a:cubicBezTo>
                <a:cubicBezTo>
                  <a:pt x="4464664" y="857250"/>
                  <a:pt x="4469454" y="852461"/>
                  <a:pt x="4475400" y="852461"/>
                </a:cubicBezTo>
                <a:close/>
                <a:moveTo>
                  <a:pt x="3587717" y="850643"/>
                </a:moveTo>
                <a:cubicBezTo>
                  <a:pt x="3593663" y="850643"/>
                  <a:pt x="3598453" y="855433"/>
                  <a:pt x="3598453" y="861380"/>
                </a:cubicBezTo>
                <a:cubicBezTo>
                  <a:pt x="3598453" y="867326"/>
                  <a:pt x="3593663" y="872118"/>
                  <a:pt x="3587717" y="872118"/>
                </a:cubicBezTo>
                <a:cubicBezTo>
                  <a:pt x="3581770" y="872118"/>
                  <a:pt x="3576980" y="867326"/>
                  <a:pt x="3576980" y="861380"/>
                </a:cubicBezTo>
                <a:cubicBezTo>
                  <a:pt x="3576980" y="855433"/>
                  <a:pt x="3581770" y="850643"/>
                  <a:pt x="3587717" y="850643"/>
                </a:cubicBezTo>
                <a:close/>
                <a:moveTo>
                  <a:pt x="4086068" y="850479"/>
                </a:moveTo>
                <a:cubicBezTo>
                  <a:pt x="4092015" y="850479"/>
                  <a:pt x="4096806" y="855268"/>
                  <a:pt x="4096806" y="861215"/>
                </a:cubicBezTo>
                <a:cubicBezTo>
                  <a:pt x="4096806" y="867161"/>
                  <a:pt x="4092015" y="871953"/>
                  <a:pt x="4086068" y="871953"/>
                </a:cubicBezTo>
                <a:cubicBezTo>
                  <a:pt x="4080122" y="871953"/>
                  <a:pt x="4075332" y="867161"/>
                  <a:pt x="4075332" y="861215"/>
                </a:cubicBezTo>
                <a:cubicBezTo>
                  <a:pt x="4075332" y="855268"/>
                  <a:pt x="4080122" y="850479"/>
                  <a:pt x="4086068" y="850479"/>
                </a:cubicBezTo>
                <a:close/>
                <a:moveTo>
                  <a:pt x="4515871" y="850147"/>
                </a:moveTo>
                <a:cubicBezTo>
                  <a:pt x="4521817" y="850147"/>
                  <a:pt x="4526607" y="854937"/>
                  <a:pt x="4526607" y="860884"/>
                </a:cubicBezTo>
                <a:cubicBezTo>
                  <a:pt x="4526607" y="866830"/>
                  <a:pt x="4521817" y="871622"/>
                  <a:pt x="4515871" y="871622"/>
                </a:cubicBezTo>
                <a:lnTo>
                  <a:pt x="4507777" y="863527"/>
                </a:lnTo>
                <a:lnTo>
                  <a:pt x="4499186" y="872118"/>
                </a:lnTo>
                <a:cubicBezTo>
                  <a:pt x="4493240" y="872118"/>
                  <a:pt x="4488450" y="867326"/>
                  <a:pt x="4488450" y="861380"/>
                </a:cubicBezTo>
                <a:cubicBezTo>
                  <a:pt x="4488450" y="855433"/>
                  <a:pt x="4493240" y="850643"/>
                  <a:pt x="4499186" y="850643"/>
                </a:cubicBezTo>
                <a:lnTo>
                  <a:pt x="4507281" y="858737"/>
                </a:lnTo>
                <a:close/>
                <a:moveTo>
                  <a:pt x="1365366" y="848826"/>
                </a:moveTo>
                <a:cubicBezTo>
                  <a:pt x="1371313" y="848826"/>
                  <a:pt x="1376104" y="853616"/>
                  <a:pt x="1376104" y="859562"/>
                </a:cubicBezTo>
                <a:cubicBezTo>
                  <a:pt x="1376104" y="865509"/>
                  <a:pt x="1371313" y="870300"/>
                  <a:pt x="1365366" y="870300"/>
                </a:cubicBezTo>
                <a:cubicBezTo>
                  <a:pt x="1359420" y="870300"/>
                  <a:pt x="1354630" y="865509"/>
                  <a:pt x="1354630" y="859562"/>
                </a:cubicBezTo>
                <a:cubicBezTo>
                  <a:pt x="1354630" y="853616"/>
                  <a:pt x="1359420" y="848826"/>
                  <a:pt x="1365366" y="848826"/>
                </a:cubicBezTo>
                <a:close/>
                <a:moveTo>
                  <a:pt x="4535526" y="847836"/>
                </a:moveTo>
                <a:cubicBezTo>
                  <a:pt x="4541473" y="847836"/>
                  <a:pt x="4546262" y="852625"/>
                  <a:pt x="4546262" y="858572"/>
                </a:cubicBezTo>
                <a:cubicBezTo>
                  <a:pt x="4546262" y="864518"/>
                  <a:pt x="4541473" y="869308"/>
                  <a:pt x="4535526" y="869308"/>
                </a:cubicBezTo>
                <a:cubicBezTo>
                  <a:pt x="4529580" y="869308"/>
                  <a:pt x="4524790" y="864518"/>
                  <a:pt x="4524790" y="858572"/>
                </a:cubicBezTo>
                <a:cubicBezTo>
                  <a:pt x="4524790" y="852625"/>
                  <a:pt x="4529580" y="847836"/>
                  <a:pt x="4535526" y="847836"/>
                </a:cubicBezTo>
                <a:close/>
                <a:moveTo>
                  <a:pt x="4310550" y="847504"/>
                </a:moveTo>
                <a:cubicBezTo>
                  <a:pt x="4316496" y="847504"/>
                  <a:pt x="4321286" y="852294"/>
                  <a:pt x="4321286" y="858241"/>
                </a:cubicBezTo>
                <a:cubicBezTo>
                  <a:pt x="4321286" y="864187"/>
                  <a:pt x="4316496" y="868979"/>
                  <a:pt x="4310550" y="868979"/>
                </a:cubicBezTo>
                <a:cubicBezTo>
                  <a:pt x="4304603" y="868979"/>
                  <a:pt x="4299814" y="864187"/>
                  <a:pt x="4299814" y="858241"/>
                </a:cubicBezTo>
                <a:cubicBezTo>
                  <a:pt x="4299814" y="852294"/>
                  <a:pt x="4304603" y="847504"/>
                  <a:pt x="4310550" y="847504"/>
                </a:cubicBezTo>
                <a:close/>
                <a:moveTo>
                  <a:pt x="2085888" y="843211"/>
                </a:moveTo>
                <a:cubicBezTo>
                  <a:pt x="2091835" y="843211"/>
                  <a:pt x="2096626" y="848000"/>
                  <a:pt x="2096626" y="853947"/>
                </a:cubicBezTo>
                <a:cubicBezTo>
                  <a:pt x="2096626" y="859894"/>
                  <a:pt x="2091835" y="864683"/>
                  <a:pt x="2085888" y="864683"/>
                </a:cubicBezTo>
                <a:cubicBezTo>
                  <a:pt x="2079942" y="864683"/>
                  <a:pt x="2075152" y="859894"/>
                  <a:pt x="2075152" y="853947"/>
                </a:cubicBezTo>
                <a:cubicBezTo>
                  <a:pt x="2075152" y="848000"/>
                  <a:pt x="2079942" y="843211"/>
                  <a:pt x="2085888" y="843211"/>
                </a:cubicBezTo>
                <a:close/>
                <a:moveTo>
                  <a:pt x="4565919" y="841723"/>
                </a:moveTo>
                <a:cubicBezTo>
                  <a:pt x="4571866" y="841723"/>
                  <a:pt x="4576656" y="846512"/>
                  <a:pt x="4576656" y="852459"/>
                </a:cubicBezTo>
                <a:cubicBezTo>
                  <a:pt x="4576656" y="858405"/>
                  <a:pt x="4571866" y="863197"/>
                  <a:pt x="4565919" y="863197"/>
                </a:cubicBezTo>
                <a:cubicBezTo>
                  <a:pt x="4559973" y="863197"/>
                  <a:pt x="4555183" y="858405"/>
                  <a:pt x="4555183" y="852459"/>
                </a:cubicBezTo>
                <a:cubicBezTo>
                  <a:pt x="4555183" y="846512"/>
                  <a:pt x="4559973" y="841723"/>
                  <a:pt x="4565919" y="841723"/>
                </a:cubicBezTo>
                <a:close/>
                <a:moveTo>
                  <a:pt x="1602733" y="838586"/>
                </a:moveTo>
                <a:cubicBezTo>
                  <a:pt x="1608680" y="838586"/>
                  <a:pt x="1613471" y="843375"/>
                  <a:pt x="1613471" y="849322"/>
                </a:cubicBezTo>
                <a:cubicBezTo>
                  <a:pt x="1613471" y="855268"/>
                  <a:pt x="1608680" y="860058"/>
                  <a:pt x="1602733" y="860058"/>
                </a:cubicBezTo>
                <a:cubicBezTo>
                  <a:pt x="1596787" y="860058"/>
                  <a:pt x="1591997" y="855268"/>
                  <a:pt x="1591997" y="849322"/>
                </a:cubicBezTo>
                <a:cubicBezTo>
                  <a:pt x="1591997" y="843375"/>
                  <a:pt x="1596787" y="838586"/>
                  <a:pt x="1602733" y="838586"/>
                </a:cubicBezTo>
                <a:close/>
                <a:moveTo>
                  <a:pt x="1845384" y="836437"/>
                </a:moveTo>
                <a:cubicBezTo>
                  <a:pt x="1851331" y="836437"/>
                  <a:pt x="1856120" y="841227"/>
                  <a:pt x="1856120" y="847173"/>
                </a:cubicBezTo>
                <a:cubicBezTo>
                  <a:pt x="1856120" y="853120"/>
                  <a:pt x="1851331" y="857911"/>
                  <a:pt x="1845384" y="857911"/>
                </a:cubicBezTo>
                <a:cubicBezTo>
                  <a:pt x="1839438" y="857911"/>
                  <a:pt x="1834648" y="853120"/>
                  <a:pt x="1834648" y="847173"/>
                </a:cubicBezTo>
                <a:cubicBezTo>
                  <a:pt x="1834648" y="841227"/>
                  <a:pt x="1839438" y="836437"/>
                  <a:pt x="1845384" y="836437"/>
                </a:cubicBezTo>
                <a:close/>
                <a:moveTo>
                  <a:pt x="40447" y="835611"/>
                </a:moveTo>
                <a:cubicBezTo>
                  <a:pt x="46394" y="835611"/>
                  <a:pt x="51184" y="840401"/>
                  <a:pt x="51184" y="846348"/>
                </a:cubicBezTo>
                <a:cubicBezTo>
                  <a:pt x="51184" y="852294"/>
                  <a:pt x="46394" y="857084"/>
                  <a:pt x="40447" y="857084"/>
                </a:cubicBezTo>
                <a:cubicBezTo>
                  <a:pt x="34501" y="857084"/>
                  <a:pt x="29711" y="852294"/>
                  <a:pt x="29711" y="846348"/>
                </a:cubicBezTo>
                <a:cubicBezTo>
                  <a:pt x="29711" y="840401"/>
                  <a:pt x="34501" y="835611"/>
                  <a:pt x="40447" y="835611"/>
                </a:cubicBezTo>
                <a:close/>
                <a:moveTo>
                  <a:pt x="4405198" y="832474"/>
                </a:moveTo>
                <a:cubicBezTo>
                  <a:pt x="4411145" y="832474"/>
                  <a:pt x="4415937" y="837264"/>
                  <a:pt x="4415937" y="843211"/>
                </a:cubicBezTo>
                <a:cubicBezTo>
                  <a:pt x="4415937" y="849157"/>
                  <a:pt x="4411145" y="853949"/>
                  <a:pt x="4405198" y="853949"/>
                </a:cubicBezTo>
                <a:cubicBezTo>
                  <a:pt x="4399252" y="853949"/>
                  <a:pt x="4394462" y="849157"/>
                  <a:pt x="4394462" y="843211"/>
                </a:cubicBezTo>
                <a:cubicBezTo>
                  <a:pt x="4394462" y="837264"/>
                  <a:pt x="4399252" y="832474"/>
                  <a:pt x="4405198" y="832474"/>
                </a:cubicBezTo>
                <a:close/>
                <a:moveTo>
                  <a:pt x="4486797" y="827518"/>
                </a:moveTo>
                <a:lnTo>
                  <a:pt x="4496791" y="837512"/>
                </a:lnTo>
                <a:lnTo>
                  <a:pt x="4505133" y="829171"/>
                </a:lnTo>
                <a:lnTo>
                  <a:pt x="4514548" y="838586"/>
                </a:lnTo>
                <a:lnTo>
                  <a:pt x="4523798" y="829335"/>
                </a:lnTo>
                <a:cubicBezTo>
                  <a:pt x="4529744" y="829335"/>
                  <a:pt x="4534536" y="834125"/>
                  <a:pt x="4534536" y="840072"/>
                </a:cubicBezTo>
                <a:cubicBezTo>
                  <a:pt x="4534536" y="846018"/>
                  <a:pt x="4529744" y="850810"/>
                  <a:pt x="4523798" y="850810"/>
                </a:cubicBezTo>
                <a:lnTo>
                  <a:pt x="4514383" y="841393"/>
                </a:lnTo>
                <a:lnTo>
                  <a:pt x="4505133" y="850643"/>
                </a:lnTo>
                <a:lnTo>
                  <a:pt x="4495139" y="840651"/>
                </a:lnTo>
                <a:lnTo>
                  <a:pt x="4486797" y="848992"/>
                </a:lnTo>
                <a:cubicBezTo>
                  <a:pt x="4480851" y="848992"/>
                  <a:pt x="4476061" y="844201"/>
                  <a:pt x="4476061" y="838254"/>
                </a:cubicBezTo>
                <a:cubicBezTo>
                  <a:pt x="4476061" y="832308"/>
                  <a:pt x="4480851" y="827518"/>
                  <a:pt x="4486797" y="827518"/>
                </a:cubicBezTo>
                <a:close/>
                <a:moveTo>
                  <a:pt x="4458221" y="827353"/>
                </a:moveTo>
                <a:cubicBezTo>
                  <a:pt x="4464168" y="827353"/>
                  <a:pt x="4468958" y="832143"/>
                  <a:pt x="4468958" y="838090"/>
                </a:cubicBezTo>
                <a:cubicBezTo>
                  <a:pt x="4468958" y="844036"/>
                  <a:pt x="4464168" y="848826"/>
                  <a:pt x="4458221" y="848826"/>
                </a:cubicBezTo>
                <a:cubicBezTo>
                  <a:pt x="4452275" y="848826"/>
                  <a:pt x="4447485" y="844036"/>
                  <a:pt x="4447485" y="838090"/>
                </a:cubicBezTo>
                <a:cubicBezTo>
                  <a:pt x="4447485" y="832143"/>
                  <a:pt x="4452275" y="827353"/>
                  <a:pt x="4458221" y="827353"/>
                </a:cubicBezTo>
                <a:close/>
                <a:moveTo>
                  <a:pt x="4551219" y="825865"/>
                </a:moveTo>
                <a:cubicBezTo>
                  <a:pt x="4557165" y="825865"/>
                  <a:pt x="4561957" y="830655"/>
                  <a:pt x="4561957" y="836602"/>
                </a:cubicBezTo>
                <a:cubicBezTo>
                  <a:pt x="4561957" y="842548"/>
                  <a:pt x="4557165" y="847340"/>
                  <a:pt x="4551219" y="847340"/>
                </a:cubicBezTo>
                <a:cubicBezTo>
                  <a:pt x="4545272" y="847340"/>
                  <a:pt x="4540482" y="842548"/>
                  <a:pt x="4540482" y="836602"/>
                </a:cubicBezTo>
                <a:cubicBezTo>
                  <a:pt x="4540482" y="830655"/>
                  <a:pt x="4545272" y="825865"/>
                  <a:pt x="4551219" y="825865"/>
                </a:cubicBezTo>
                <a:close/>
                <a:moveTo>
                  <a:pt x="3458379" y="822397"/>
                </a:moveTo>
                <a:cubicBezTo>
                  <a:pt x="3464326" y="822397"/>
                  <a:pt x="3469117" y="827187"/>
                  <a:pt x="3469117" y="833133"/>
                </a:cubicBezTo>
                <a:cubicBezTo>
                  <a:pt x="3469117" y="839080"/>
                  <a:pt x="3464326" y="843871"/>
                  <a:pt x="3458379" y="843871"/>
                </a:cubicBezTo>
                <a:cubicBezTo>
                  <a:pt x="3452433" y="843871"/>
                  <a:pt x="3447643" y="839080"/>
                  <a:pt x="3447643" y="833133"/>
                </a:cubicBezTo>
                <a:cubicBezTo>
                  <a:pt x="3447643" y="827187"/>
                  <a:pt x="3452433" y="822397"/>
                  <a:pt x="3458379" y="822397"/>
                </a:cubicBezTo>
                <a:close/>
                <a:moveTo>
                  <a:pt x="4010745" y="821571"/>
                </a:moveTo>
                <a:cubicBezTo>
                  <a:pt x="4016692" y="821571"/>
                  <a:pt x="4021484" y="826361"/>
                  <a:pt x="4021484" y="832308"/>
                </a:cubicBezTo>
                <a:cubicBezTo>
                  <a:pt x="4021484" y="838254"/>
                  <a:pt x="4016692" y="843046"/>
                  <a:pt x="4010745" y="843046"/>
                </a:cubicBezTo>
                <a:cubicBezTo>
                  <a:pt x="4004799" y="843046"/>
                  <a:pt x="4000009" y="838254"/>
                  <a:pt x="4000009" y="832308"/>
                </a:cubicBezTo>
                <a:cubicBezTo>
                  <a:pt x="4000009" y="826361"/>
                  <a:pt x="4004799" y="821571"/>
                  <a:pt x="4010745" y="821571"/>
                </a:cubicBezTo>
                <a:close/>
                <a:moveTo>
                  <a:pt x="4265125" y="819258"/>
                </a:moveTo>
                <a:cubicBezTo>
                  <a:pt x="4271071" y="819258"/>
                  <a:pt x="4275861" y="824048"/>
                  <a:pt x="4275861" y="829994"/>
                </a:cubicBezTo>
                <a:cubicBezTo>
                  <a:pt x="4275861" y="835941"/>
                  <a:pt x="4271071" y="840732"/>
                  <a:pt x="4265125" y="840732"/>
                </a:cubicBezTo>
                <a:cubicBezTo>
                  <a:pt x="4259178" y="840732"/>
                  <a:pt x="4254388" y="835941"/>
                  <a:pt x="4254388" y="829994"/>
                </a:cubicBezTo>
                <a:cubicBezTo>
                  <a:pt x="4254388" y="824048"/>
                  <a:pt x="4259178" y="819258"/>
                  <a:pt x="4265125" y="819258"/>
                </a:cubicBezTo>
                <a:close/>
                <a:moveTo>
                  <a:pt x="4537179" y="809018"/>
                </a:moveTo>
                <a:cubicBezTo>
                  <a:pt x="4543125" y="809018"/>
                  <a:pt x="4547915" y="813807"/>
                  <a:pt x="4547915" y="819754"/>
                </a:cubicBezTo>
                <a:cubicBezTo>
                  <a:pt x="4547915" y="825700"/>
                  <a:pt x="4543125" y="830490"/>
                  <a:pt x="4537179" y="830490"/>
                </a:cubicBezTo>
                <a:cubicBezTo>
                  <a:pt x="4531232" y="830490"/>
                  <a:pt x="4526442" y="825700"/>
                  <a:pt x="4526442" y="819754"/>
                </a:cubicBezTo>
                <a:cubicBezTo>
                  <a:pt x="4526442" y="813807"/>
                  <a:pt x="4531232" y="809018"/>
                  <a:pt x="4537179" y="809018"/>
                </a:cubicBezTo>
                <a:close/>
                <a:moveTo>
                  <a:pt x="4575334" y="808192"/>
                </a:moveTo>
                <a:cubicBezTo>
                  <a:pt x="4578473" y="808192"/>
                  <a:pt x="4580951" y="810670"/>
                  <a:pt x="4580951" y="813809"/>
                </a:cubicBezTo>
                <a:cubicBezTo>
                  <a:pt x="4580951" y="816946"/>
                  <a:pt x="4578473" y="819425"/>
                  <a:pt x="4575334" y="819425"/>
                </a:cubicBezTo>
                <a:cubicBezTo>
                  <a:pt x="4572197" y="819425"/>
                  <a:pt x="4569719" y="816946"/>
                  <a:pt x="4569719" y="813809"/>
                </a:cubicBezTo>
                <a:cubicBezTo>
                  <a:pt x="4569719" y="810670"/>
                  <a:pt x="4572197" y="808192"/>
                  <a:pt x="4575334" y="808192"/>
                </a:cubicBezTo>
                <a:close/>
                <a:moveTo>
                  <a:pt x="176392" y="807200"/>
                </a:moveTo>
                <a:cubicBezTo>
                  <a:pt x="182339" y="807200"/>
                  <a:pt x="187130" y="811990"/>
                  <a:pt x="187130" y="817936"/>
                </a:cubicBezTo>
                <a:cubicBezTo>
                  <a:pt x="187130" y="823883"/>
                  <a:pt x="182339" y="828673"/>
                  <a:pt x="176392" y="828673"/>
                </a:cubicBezTo>
                <a:cubicBezTo>
                  <a:pt x="170446" y="828673"/>
                  <a:pt x="165656" y="823883"/>
                  <a:pt x="165656" y="817936"/>
                </a:cubicBezTo>
                <a:cubicBezTo>
                  <a:pt x="165656" y="811990"/>
                  <a:pt x="170446" y="807200"/>
                  <a:pt x="176392" y="807200"/>
                </a:cubicBezTo>
                <a:close/>
                <a:moveTo>
                  <a:pt x="4493736" y="807035"/>
                </a:moveTo>
                <a:lnTo>
                  <a:pt x="4504307" y="817607"/>
                </a:lnTo>
                <a:lnTo>
                  <a:pt x="4512071" y="809843"/>
                </a:lnTo>
                <a:cubicBezTo>
                  <a:pt x="4518018" y="809843"/>
                  <a:pt x="4522809" y="814633"/>
                  <a:pt x="4522809" y="820579"/>
                </a:cubicBezTo>
                <a:cubicBezTo>
                  <a:pt x="4522809" y="826526"/>
                  <a:pt x="4518018" y="831318"/>
                  <a:pt x="4512071" y="831318"/>
                </a:cubicBezTo>
                <a:lnTo>
                  <a:pt x="4501500" y="820744"/>
                </a:lnTo>
                <a:lnTo>
                  <a:pt x="4493736" y="828510"/>
                </a:lnTo>
                <a:cubicBezTo>
                  <a:pt x="4487789" y="828510"/>
                  <a:pt x="4482999" y="823718"/>
                  <a:pt x="4482999" y="817772"/>
                </a:cubicBezTo>
                <a:cubicBezTo>
                  <a:pt x="4482999" y="811825"/>
                  <a:pt x="4487789" y="807035"/>
                  <a:pt x="4493736" y="807035"/>
                </a:cubicBezTo>
                <a:close/>
                <a:moveTo>
                  <a:pt x="4375301" y="804724"/>
                </a:moveTo>
                <a:cubicBezTo>
                  <a:pt x="4381248" y="804724"/>
                  <a:pt x="4386039" y="809514"/>
                  <a:pt x="4386039" y="815460"/>
                </a:cubicBezTo>
                <a:cubicBezTo>
                  <a:pt x="4386039" y="821407"/>
                  <a:pt x="4381248" y="826198"/>
                  <a:pt x="4375301" y="826198"/>
                </a:cubicBezTo>
                <a:cubicBezTo>
                  <a:pt x="4369355" y="826198"/>
                  <a:pt x="4364565" y="821407"/>
                  <a:pt x="4364565" y="815460"/>
                </a:cubicBezTo>
                <a:cubicBezTo>
                  <a:pt x="4364565" y="809514"/>
                  <a:pt x="4369355" y="804724"/>
                  <a:pt x="4375301" y="804724"/>
                </a:cubicBezTo>
                <a:close/>
                <a:moveTo>
                  <a:pt x="4473253" y="803071"/>
                </a:moveTo>
                <a:cubicBezTo>
                  <a:pt x="4479200" y="803071"/>
                  <a:pt x="4483991" y="807861"/>
                  <a:pt x="4483991" y="813807"/>
                </a:cubicBezTo>
                <a:cubicBezTo>
                  <a:pt x="4483991" y="819754"/>
                  <a:pt x="4479200" y="824544"/>
                  <a:pt x="4473253" y="824544"/>
                </a:cubicBezTo>
                <a:cubicBezTo>
                  <a:pt x="4467307" y="824544"/>
                  <a:pt x="4462517" y="819754"/>
                  <a:pt x="4462517" y="813807"/>
                </a:cubicBezTo>
                <a:cubicBezTo>
                  <a:pt x="4462517" y="807861"/>
                  <a:pt x="4467307" y="803071"/>
                  <a:pt x="4473253" y="803071"/>
                </a:cubicBezTo>
                <a:close/>
                <a:moveTo>
                  <a:pt x="4438731" y="800924"/>
                </a:moveTo>
                <a:cubicBezTo>
                  <a:pt x="4444677" y="800924"/>
                  <a:pt x="4449469" y="805714"/>
                  <a:pt x="4449469" y="811661"/>
                </a:cubicBezTo>
                <a:cubicBezTo>
                  <a:pt x="4449469" y="817607"/>
                  <a:pt x="4444677" y="822399"/>
                  <a:pt x="4438731" y="822399"/>
                </a:cubicBezTo>
                <a:cubicBezTo>
                  <a:pt x="4432784" y="822399"/>
                  <a:pt x="4427994" y="817607"/>
                  <a:pt x="4427994" y="811661"/>
                </a:cubicBezTo>
                <a:cubicBezTo>
                  <a:pt x="4427994" y="805714"/>
                  <a:pt x="4432784" y="800924"/>
                  <a:pt x="4438731" y="800924"/>
                </a:cubicBezTo>
                <a:close/>
                <a:moveTo>
                  <a:pt x="3316819" y="793986"/>
                </a:moveTo>
                <a:cubicBezTo>
                  <a:pt x="3322766" y="793986"/>
                  <a:pt x="3327556" y="798775"/>
                  <a:pt x="3327556" y="804722"/>
                </a:cubicBezTo>
                <a:cubicBezTo>
                  <a:pt x="3327556" y="810668"/>
                  <a:pt x="3322766" y="815460"/>
                  <a:pt x="3316819" y="815460"/>
                </a:cubicBezTo>
                <a:cubicBezTo>
                  <a:pt x="3310873" y="815460"/>
                  <a:pt x="3306083" y="810668"/>
                  <a:pt x="3306083" y="804722"/>
                </a:cubicBezTo>
                <a:cubicBezTo>
                  <a:pt x="3306083" y="798775"/>
                  <a:pt x="3310873" y="793986"/>
                  <a:pt x="3316819" y="793986"/>
                </a:cubicBezTo>
                <a:close/>
                <a:moveTo>
                  <a:pt x="3926833" y="792004"/>
                </a:moveTo>
                <a:cubicBezTo>
                  <a:pt x="3932780" y="792004"/>
                  <a:pt x="3937570" y="796793"/>
                  <a:pt x="3937570" y="802740"/>
                </a:cubicBezTo>
                <a:cubicBezTo>
                  <a:pt x="3937570" y="808686"/>
                  <a:pt x="3932780" y="813476"/>
                  <a:pt x="3926833" y="813476"/>
                </a:cubicBezTo>
                <a:cubicBezTo>
                  <a:pt x="3920887" y="813476"/>
                  <a:pt x="3916097" y="808686"/>
                  <a:pt x="3916097" y="802740"/>
                </a:cubicBezTo>
                <a:cubicBezTo>
                  <a:pt x="3916097" y="796793"/>
                  <a:pt x="3920887" y="792004"/>
                  <a:pt x="3926833" y="792004"/>
                </a:cubicBezTo>
                <a:close/>
                <a:moveTo>
                  <a:pt x="4523633" y="791178"/>
                </a:moveTo>
                <a:cubicBezTo>
                  <a:pt x="4529580" y="791178"/>
                  <a:pt x="4534369" y="795968"/>
                  <a:pt x="4534369" y="801914"/>
                </a:cubicBezTo>
                <a:cubicBezTo>
                  <a:pt x="4534369" y="807861"/>
                  <a:pt x="4529580" y="812652"/>
                  <a:pt x="4523633" y="812652"/>
                </a:cubicBezTo>
                <a:cubicBezTo>
                  <a:pt x="4517686" y="812652"/>
                  <a:pt x="4512897" y="807861"/>
                  <a:pt x="4512897" y="801914"/>
                </a:cubicBezTo>
                <a:cubicBezTo>
                  <a:pt x="4512897" y="795968"/>
                  <a:pt x="4517686" y="791178"/>
                  <a:pt x="4523633" y="791178"/>
                </a:cubicBezTo>
                <a:close/>
                <a:moveTo>
                  <a:pt x="4213588" y="790021"/>
                </a:moveTo>
                <a:cubicBezTo>
                  <a:pt x="4219535" y="790021"/>
                  <a:pt x="4224326" y="794811"/>
                  <a:pt x="4224326" y="800758"/>
                </a:cubicBezTo>
                <a:cubicBezTo>
                  <a:pt x="4224326" y="806704"/>
                  <a:pt x="4219535" y="811494"/>
                  <a:pt x="4213588" y="811494"/>
                </a:cubicBezTo>
                <a:cubicBezTo>
                  <a:pt x="4207642" y="811494"/>
                  <a:pt x="4202852" y="806704"/>
                  <a:pt x="4202852" y="800758"/>
                </a:cubicBezTo>
                <a:cubicBezTo>
                  <a:pt x="4202852" y="794811"/>
                  <a:pt x="4207642" y="790021"/>
                  <a:pt x="4213588" y="790021"/>
                </a:cubicBezTo>
                <a:close/>
                <a:moveTo>
                  <a:pt x="4500508" y="789031"/>
                </a:moveTo>
                <a:cubicBezTo>
                  <a:pt x="4506454" y="789031"/>
                  <a:pt x="4511244" y="793821"/>
                  <a:pt x="4511244" y="799768"/>
                </a:cubicBezTo>
                <a:cubicBezTo>
                  <a:pt x="4511244" y="805714"/>
                  <a:pt x="4506454" y="810504"/>
                  <a:pt x="4500508" y="810504"/>
                </a:cubicBezTo>
                <a:cubicBezTo>
                  <a:pt x="4494561" y="810504"/>
                  <a:pt x="4489771" y="805714"/>
                  <a:pt x="4489771" y="799768"/>
                </a:cubicBezTo>
                <a:cubicBezTo>
                  <a:pt x="4489771" y="793821"/>
                  <a:pt x="4494561" y="789031"/>
                  <a:pt x="4500508" y="789031"/>
                </a:cubicBezTo>
                <a:close/>
                <a:moveTo>
                  <a:pt x="4558322" y="788039"/>
                </a:moveTo>
                <a:cubicBezTo>
                  <a:pt x="4564268" y="788039"/>
                  <a:pt x="4569058" y="792829"/>
                  <a:pt x="4569058" y="798775"/>
                </a:cubicBezTo>
                <a:cubicBezTo>
                  <a:pt x="4569058" y="804722"/>
                  <a:pt x="4564268" y="809514"/>
                  <a:pt x="4558322" y="809514"/>
                </a:cubicBezTo>
                <a:cubicBezTo>
                  <a:pt x="4552375" y="809514"/>
                  <a:pt x="4547586" y="804722"/>
                  <a:pt x="4547586" y="798775"/>
                </a:cubicBezTo>
                <a:cubicBezTo>
                  <a:pt x="4547586" y="792829"/>
                  <a:pt x="4552375" y="788039"/>
                  <a:pt x="4558322" y="788039"/>
                </a:cubicBezTo>
                <a:close/>
                <a:moveTo>
                  <a:pt x="4481843" y="783745"/>
                </a:moveTo>
                <a:cubicBezTo>
                  <a:pt x="4487789" y="783745"/>
                  <a:pt x="4492579" y="788535"/>
                  <a:pt x="4492579" y="794482"/>
                </a:cubicBezTo>
                <a:cubicBezTo>
                  <a:pt x="4492579" y="800428"/>
                  <a:pt x="4487789" y="805218"/>
                  <a:pt x="4481843" y="805218"/>
                </a:cubicBezTo>
                <a:cubicBezTo>
                  <a:pt x="4475896" y="805218"/>
                  <a:pt x="4471106" y="800428"/>
                  <a:pt x="4471106" y="794482"/>
                </a:cubicBezTo>
                <a:cubicBezTo>
                  <a:pt x="4471106" y="788535"/>
                  <a:pt x="4475896" y="783745"/>
                  <a:pt x="4481843" y="783745"/>
                </a:cubicBezTo>
                <a:close/>
                <a:moveTo>
                  <a:pt x="324559" y="778789"/>
                </a:moveTo>
                <a:cubicBezTo>
                  <a:pt x="330506" y="778789"/>
                  <a:pt x="335298" y="783579"/>
                  <a:pt x="335298" y="789525"/>
                </a:cubicBezTo>
                <a:cubicBezTo>
                  <a:pt x="335298" y="795472"/>
                  <a:pt x="330506" y="800263"/>
                  <a:pt x="324559" y="800263"/>
                </a:cubicBezTo>
                <a:cubicBezTo>
                  <a:pt x="318613" y="800263"/>
                  <a:pt x="313823" y="795472"/>
                  <a:pt x="313823" y="789525"/>
                </a:cubicBezTo>
                <a:cubicBezTo>
                  <a:pt x="313823" y="783579"/>
                  <a:pt x="318613" y="778789"/>
                  <a:pt x="324559" y="778789"/>
                </a:cubicBezTo>
                <a:close/>
                <a:moveTo>
                  <a:pt x="4458056" y="777467"/>
                </a:moveTo>
                <a:cubicBezTo>
                  <a:pt x="4464003" y="777467"/>
                  <a:pt x="4468793" y="782257"/>
                  <a:pt x="4468793" y="788204"/>
                </a:cubicBezTo>
                <a:cubicBezTo>
                  <a:pt x="4468793" y="794150"/>
                  <a:pt x="4464003" y="798942"/>
                  <a:pt x="4458056" y="798942"/>
                </a:cubicBezTo>
                <a:cubicBezTo>
                  <a:pt x="4452110" y="798942"/>
                  <a:pt x="4447320" y="794150"/>
                  <a:pt x="4447320" y="788204"/>
                </a:cubicBezTo>
                <a:cubicBezTo>
                  <a:pt x="4447320" y="782257"/>
                  <a:pt x="4452110" y="777467"/>
                  <a:pt x="4458056" y="777467"/>
                </a:cubicBezTo>
                <a:close/>
                <a:moveTo>
                  <a:pt x="4341273" y="775981"/>
                </a:moveTo>
                <a:cubicBezTo>
                  <a:pt x="4347219" y="775981"/>
                  <a:pt x="4352009" y="780771"/>
                  <a:pt x="4352009" y="786718"/>
                </a:cubicBezTo>
                <a:cubicBezTo>
                  <a:pt x="4352009" y="792664"/>
                  <a:pt x="4347219" y="797454"/>
                  <a:pt x="4341273" y="797454"/>
                </a:cubicBezTo>
                <a:cubicBezTo>
                  <a:pt x="4335326" y="797454"/>
                  <a:pt x="4330536" y="792664"/>
                  <a:pt x="4330536" y="786718"/>
                </a:cubicBezTo>
                <a:cubicBezTo>
                  <a:pt x="4330536" y="780771"/>
                  <a:pt x="4335326" y="775981"/>
                  <a:pt x="4341273" y="775981"/>
                </a:cubicBezTo>
                <a:close/>
                <a:moveTo>
                  <a:pt x="4416266" y="773503"/>
                </a:moveTo>
                <a:cubicBezTo>
                  <a:pt x="4422213" y="773503"/>
                  <a:pt x="4427002" y="778293"/>
                  <a:pt x="4427002" y="784240"/>
                </a:cubicBezTo>
                <a:cubicBezTo>
                  <a:pt x="4427002" y="790186"/>
                  <a:pt x="4422213" y="794976"/>
                  <a:pt x="4416266" y="794976"/>
                </a:cubicBezTo>
                <a:cubicBezTo>
                  <a:pt x="4410319" y="794976"/>
                  <a:pt x="4405530" y="790186"/>
                  <a:pt x="4405530" y="784240"/>
                </a:cubicBezTo>
                <a:cubicBezTo>
                  <a:pt x="4405530" y="778293"/>
                  <a:pt x="4410319" y="773503"/>
                  <a:pt x="4416266" y="773503"/>
                </a:cubicBezTo>
                <a:close/>
                <a:moveTo>
                  <a:pt x="4510583" y="772182"/>
                </a:moveTo>
                <a:cubicBezTo>
                  <a:pt x="4516530" y="772182"/>
                  <a:pt x="4521320" y="776972"/>
                  <a:pt x="4521320" y="782918"/>
                </a:cubicBezTo>
                <a:cubicBezTo>
                  <a:pt x="4521320" y="788865"/>
                  <a:pt x="4516530" y="793656"/>
                  <a:pt x="4510583" y="793656"/>
                </a:cubicBezTo>
                <a:cubicBezTo>
                  <a:pt x="4504637" y="793656"/>
                  <a:pt x="4499847" y="788865"/>
                  <a:pt x="4499847" y="782918"/>
                </a:cubicBezTo>
                <a:cubicBezTo>
                  <a:pt x="4499847" y="776972"/>
                  <a:pt x="4504637" y="772182"/>
                  <a:pt x="4510583" y="772182"/>
                </a:cubicBezTo>
                <a:close/>
                <a:moveTo>
                  <a:pt x="4542300" y="771852"/>
                </a:moveTo>
                <a:cubicBezTo>
                  <a:pt x="4548246" y="771852"/>
                  <a:pt x="4553036" y="776642"/>
                  <a:pt x="4553036" y="782589"/>
                </a:cubicBezTo>
                <a:cubicBezTo>
                  <a:pt x="4553036" y="788535"/>
                  <a:pt x="4548246" y="793325"/>
                  <a:pt x="4542300" y="793325"/>
                </a:cubicBezTo>
                <a:cubicBezTo>
                  <a:pt x="4536353" y="793325"/>
                  <a:pt x="4531563" y="788535"/>
                  <a:pt x="4531563" y="782589"/>
                </a:cubicBezTo>
                <a:cubicBezTo>
                  <a:pt x="4531563" y="776642"/>
                  <a:pt x="4536353" y="771852"/>
                  <a:pt x="4542300" y="771852"/>
                </a:cubicBezTo>
                <a:close/>
                <a:moveTo>
                  <a:pt x="4488779" y="767227"/>
                </a:moveTo>
                <a:cubicBezTo>
                  <a:pt x="4494726" y="767227"/>
                  <a:pt x="4499517" y="772017"/>
                  <a:pt x="4499517" y="777963"/>
                </a:cubicBezTo>
                <a:cubicBezTo>
                  <a:pt x="4499517" y="783910"/>
                  <a:pt x="4494726" y="788700"/>
                  <a:pt x="4488779" y="788700"/>
                </a:cubicBezTo>
                <a:cubicBezTo>
                  <a:pt x="4482833" y="788700"/>
                  <a:pt x="4478043" y="783910"/>
                  <a:pt x="4478043" y="777963"/>
                </a:cubicBezTo>
                <a:cubicBezTo>
                  <a:pt x="4478043" y="772017"/>
                  <a:pt x="4482833" y="767227"/>
                  <a:pt x="4488779" y="767227"/>
                </a:cubicBezTo>
                <a:close/>
                <a:moveTo>
                  <a:pt x="3162539" y="765574"/>
                </a:moveTo>
                <a:cubicBezTo>
                  <a:pt x="3168486" y="765574"/>
                  <a:pt x="3173275" y="770364"/>
                  <a:pt x="3173275" y="776311"/>
                </a:cubicBezTo>
                <a:cubicBezTo>
                  <a:pt x="3173275" y="782257"/>
                  <a:pt x="3168486" y="787049"/>
                  <a:pt x="3162539" y="787049"/>
                </a:cubicBezTo>
                <a:cubicBezTo>
                  <a:pt x="3156593" y="787049"/>
                  <a:pt x="3151803" y="782257"/>
                  <a:pt x="3151803" y="776311"/>
                </a:cubicBezTo>
                <a:cubicBezTo>
                  <a:pt x="3151803" y="770364"/>
                  <a:pt x="3156593" y="765574"/>
                  <a:pt x="3162539" y="765574"/>
                </a:cubicBezTo>
                <a:close/>
                <a:moveTo>
                  <a:pt x="3833836" y="761445"/>
                </a:moveTo>
                <a:cubicBezTo>
                  <a:pt x="3839782" y="761445"/>
                  <a:pt x="3844574" y="766235"/>
                  <a:pt x="3844574" y="772182"/>
                </a:cubicBezTo>
                <a:cubicBezTo>
                  <a:pt x="3844574" y="778128"/>
                  <a:pt x="3839782" y="782920"/>
                  <a:pt x="3833836" y="782920"/>
                </a:cubicBezTo>
                <a:cubicBezTo>
                  <a:pt x="3827889" y="782920"/>
                  <a:pt x="3823100" y="778128"/>
                  <a:pt x="3823100" y="772182"/>
                </a:cubicBezTo>
                <a:cubicBezTo>
                  <a:pt x="3823100" y="766235"/>
                  <a:pt x="3827889" y="761445"/>
                  <a:pt x="3833836" y="761445"/>
                </a:cubicBezTo>
                <a:close/>
                <a:moveTo>
                  <a:pt x="4155774" y="759628"/>
                </a:moveTo>
                <a:cubicBezTo>
                  <a:pt x="4161720" y="759628"/>
                  <a:pt x="4166512" y="764418"/>
                  <a:pt x="4166512" y="770364"/>
                </a:cubicBezTo>
                <a:cubicBezTo>
                  <a:pt x="4166512" y="776311"/>
                  <a:pt x="4161720" y="781102"/>
                  <a:pt x="4155774" y="781102"/>
                </a:cubicBezTo>
                <a:cubicBezTo>
                  <a:pt x="4149827" y="781102"/>
                  <a:pt x="4145037" y="776311"/>
                  <a:pt x="4145037" y="770364"/>
                </a:cubicBezTo>
                <a:cubicBezTo>
                  <a:pt x="4145037" y="764418"/>
                  <a:pt x="4149827" y="759628"/>
                  <a:pt x="4155774" y="759628"/>
                </a:cubicBezTo>
                <a:close/>
                <a:moveTo>
                  <a:pt x="4468959" y="759299"/>
                </a:moveTo>
                <a:cubicBezTo>
                  <a:pt x="4474906" y="759299"/>
                  <a:pt x="4479696" y="764088"/>
                  <a:pt x="4479696" y="770035"/>
                </a:cubicBezTo>
                <a:cubicBezTo>
                  <a:pt x="4479696" y="775981"/>
                  <a:pt x="4474906" y="780773"/>
                  <a:pt x="4468959" y="780773"/>
                </a:cubicBezTo>
                <a:cubicBezTo>
                  <a:pt x="4463013" y="780773"/>
                  <a:pt x="4458223" y="775981"/>
                  <a:pt x="4458223" y="770035"/>
                </a:cubicBezTo>
                <a:cubicBezTo>
                  <a:pt x="4458223" y="764088"/>
                  <a:pt x="4463013" y="759299"/>
                  <a:pt x="4468959" y="759299"/>
                </a:cubicBezTo>
                <a:close/>
                <a:moveTo>
                  <a:pt x="4526772" y="754673"/>
                </a:moveTo>
                <a:cubicBezTo>
                  <a:pt x="4532703" y="754673"/>
                  <a:pt x="4537508" y="759481"/>
                  <a:pt x="4537508" y="765410"/>
                </a:cubicBezTo>
                <a:cubicBezTo>
                  <a:pt x="4537508" y="771341"/>
                  <a:pt x="4532703" y="776148"/>
                  <a:pt x="4526772" y="776148"/>
                </a:cubicBezTo>
                <a:cubicBezTo>
                  <a:pt x="4520843" y="776148"/>
                  <a:pt x="4516036" y="771341"/>
                  <a:pt x="4516036" y="765410"/>
                </a:cubicBezTo>
                <a:cubicBezTo>
                  <a:pt x="4516036" y="759481"/>
                  <a:pt x="4520843" y="754673"/>
                  <a:pt x="4526772" y="754673"/>
                </a:cubicBezTo>
                <a:close/>
                <a:moveTo>
                  <a:pt x="4497865" y="752031"/>
                </a:moveTo>
                <a:cubicBezTo>
                  <a:pt x="4503811" y="752031"/>
                  <a:pt x="4508601" y="756820"/>
                  <a:pt x="4508601" y="762767"/>
                </a:cubicBezTo>
                <a:cubicBezTo>
                  <a:pt x="4508601" y="768713"/>
                  <a:pt x="4503811" y="773505"/>
                  <a:pt x="4497865" y="773505"/>
                </a:cubicBezTo>
                <a:cubicBezTo>
                  <a:pt x="4491918" y="773505"/>
                  <a:pt x="4487128" y="768713"/>
                  <a:pt x="4487128" y="762767"/>
                </a:cubicBezTo>
                <a:cubicBezTo>
                  <a:pt x="4487128" y="756820"/>
                  <a:pt x="4491918" y="752031"/>
                  <a:pt x="4497865" y="752031"/>
                </a:cubicBezTo>
                <a:close/>
                <a:moveTo>
                  <a:pt x="4440713" y="750544"/>
                </a:moveTo>
                <a:cubicBezTo>
                  <a:pt x="4446659" y="750544"/>
                  <a:pt x="4451451" y="755334"/>
                  <a:pt x="4451451" y="761281"/>
                </a:cubicBezTo>
                <a:cubicBezTo>
                  <a:pt x="4451451" y="767227"/>
                  <a:pt x="4446659" y="772017"/>
                  <a:pt x="4440713" y="772017"/>
                </a:cubicBezTo>
                <a:cubicBezTo>
                  <a:pt x="4434766" y="772017"/>
                  <a:pt x="4429976" y="767227"/>
                  <a:pt x="4429976" y="761281"/>
                </a:cubicBezTo>
                <a:cubicBezTo>
                  <a:pt x="4429976" y="755334"/>
                  <a:pt x="4434766" y="750544"/>
                  <a:pt x="4440713" y="750544"/>
                </a:cubicBezTo>
                <a:close/>
                <a:moveTo>
                  <a:pt x="485941" y="750378"/>
                </a:moveTo>
                <a:cubicBezTo>
                  <a:pt x="491888" y="750378"/>
                  <a:pt x="496677" y="755168"/>
                  <a:pt x="496677" y="761114"/>
                </a:cubicBezTo>
                <a:cubicBezTo>
                  <a:pt x="496677" y="767061"/>
                  <a:pt x="491888" y="771852"/>
                  <a:pt x="485941" y="771852"/>
                </a:cubicBezTo>
                <a:cubicBezTo>
                  <a:pt x="479994" y="771852"/>
                  <a:pt x="475205" y="767061"/>
                  <a:pt x="475205" y="761114"/>
                </a:cubicBezTo>
                <a:cubicBezTo>
                  <a:pt x="475205" y="755168"/>
                  <a:pt x="479994" y="750378"/>
                  <a:pt x="485941" y="750378"/>
                </a:cubicBezTo>
                <a:close/>
                <a:moveTo>
                  <a:pt x="4302455" y="745919"/>
                </a:moveTo>
                <a:cubicBezTo>
                  <a:pt x="4308401" y="745919"/>
                  <a:pt x="4313193" y="750709"/>
                  <a:pt x="4313193" y="756656"/>
                </a:cubicBezTo>
                <a:cubicBezTo>
                  <a:pt x="4313193" y="762602"/>
                  <a:pt x="4308401" y="767392"/>
                  <a:pt x="4302455" y="767392"/>
                </a:cubicBezTo>
                <a:cubicBezTo>
                  <a:pt x="4296508" y="767392"/>
                  <a:pt x="4291718" y="762602"/>
                  <a:pt x="4291718" y="756656"/>
                </a:cubicBezTo>
                <a:cubicBezTo>
                  <a:pt x="4291718" y="750709"/>
                  <a:pt x="4296508" y="745919"/>
                  <a:pt x="4302455" y="745919"/>
                </a:cubicBezTo>
                <a:close/>
                <a:moveTo>
                  <a:pt x="4390827" y="744762"/>
                </a:moveTo>
                <a:cubicBezTo>
                  <a:pt x="4396774" y="744762"/>
                  <a:pt x="4401564" y="749552"/>
                  <a:pt x="4401564" y="755499"/>
                </a:cubicBezTo>
                <a:cubicBezTo>
                  <a:pt x="4401564" y="761445"/>
                  <a:pt x="4396774" y="766235"/>
                  <a:pt x="4390827" y="766235"/>
                </a:cubicBezTo>
                <a:cubicBezTo>
                  <a:pt x="4384881" y="766235"/>
                  <a:pt x="4380091" y="761445"/>
                  <a:pt x="4380091" y="755499"/>
                </a:cubicBezTo>
                <a:cubicBezTo>
                  <a:pt x="4380091" y="749552"/>
                  <a:pt x="4384881" y="744762"/>
                  <a:pt x="4390827" y="744762"/>
                </a:cubicBezTo>
                <a:close/>
                <a:moveTo>
                  <a:pt x="4476721" y="744266"/>
                </a:moveTo>
                <a:cubicBezTo>
                  <a:pt x="4482668" y="744266"/>
                  <a:pt x="4487458" y="749056"/>
                  <a:pt x="4487458" y="755003"/>
                </a:cubicBezTo>
                <a:cubicBezTo>
                  <a:pt x="4487458" y="760949"/>
                  <a:pt x="4482668" y="765741"/>
                  <a:pt x="4476721" y="765741"/>
                </a:cubicBezTo>
                <a:cubicBezTo>
                  <a:pt x="4470775" y="765741"/>
                  <a:pt x="4465985" y="760949"/>
                  <a:pt x="4465985" y="755003"/>
                </a:cubicBezTo>
                <a:cubicBezTo>
                  <a:pt x="4465985" y="749056"/>
                  <a:pt x="4470775" y="744266"/>
                  <a:pt x="4476721" y="744266"/>
                </a:cubicBezTo>
                <a:close/>
                <a:moveTo>
                  <a:pt x="4551385" y="739312"/>
                </a:moveTo>
                <a:cubicBezTo>
                  <a:pt x="4555308" y="739312"/>
                  <a:pt x="4558487" y="742492"/>
                  <a:pt x="4558487" y="746415"/>
                </a:cubicBezTo>
                <a:cubicBezTo>
                  <a:pt x="4558487" y="750338"/>
                  <a:pt x="4555308" y="753518"/>
                  <a:pt x="4551385" y="753518"/>
                </a:cubicBezTo>
                <a:cubicBezTo>
                  <a:pt x="4547462" y="753518"/>
                  <a:pt x="4544282" y="750338"/>
                  <a:pt x="4544282" y="746415"/>
                </a:cubicBezTo>
                <a:cubicBezTo>
                  <a:pt x="4544282" y="742492"/>
                  <a:pt x="4547462" y="739312"/>
                  <a:pt x="4551385" y="739312"/>
                </a:cubicBezTo>
                <a:close/>
                <a:moveTo>
                  <a:pt x="2994881" y="737328"/>
                </a:moveTo>
                <a:cubicBezTo>
                  <a:pt x="3000828" y="737328"/>
                  <a:pt x="3005619" y="742118"/>
                  <a:pt x="3005619" y="748064"/>
                </a:cubicBezTo>
                <a:cubicBezTo>
                  <a:pt x="3005619" y="754011"/>
                  <a:pt x="3000828" y="758803"/>
                  <a:pt x="2994881" y="758803"/>
                </a:cubicBezTo>
                <a:cubicBezTo>
                  <a:pt x="2988935" y="758803"/>
                  <a:pt x="2984145" y="754011"/>
                  <a:pt x="2984145" y="748064"/>
                </a:cubicBezTo>
                <a:cubicBezTo>
                  <a:pt x="2984145" y="742118"/>
                  <a:pt x="2988935" y="737328"/>
                  <a:pt x="2994881" y="737328"/>
                </a:cubicBezTo>
                <a:close/>
                <a:moveTo>
                  <a:pt x="4511906" y="736503"/>
                </a:moveTo>
                <a:cubicBezTo>
                  <a:pt x="4517853" y="736503"/>
                  <a:pt x="4522643" y="741292"/>
                  <a:pt x="4522643" y="747239"/>
                </a:cubicBezTo>
                <a:cubicBezTo>
                  <a:pt x="4522643" y="753186"/>
                  <a:pt x="4517853" y="757975"/>
                  <a:pt x="4511906" y="757975"/>
                </a:cubicBezTo>
                <a:cubicBezTo>
                  <a:pt x="4505960" y="757975"/>
                  <a:pt x="4501170" y="753186"/>
                  <a:pt x="4501170" y="747239"/>
                </a:cubicBezTo>
                <a:cubicBezTo>
                  <a:pt x="4501170" y="741292"/>
                  <a:pt x="4505960" y="736503"/>
                  <a:pt x="4511906" y="736503"/>
                </a:cubicBezTo>
                <a:close/>
                <a:moveTo>
                  <a:pt x="4454918" y="733530"/>
                </a:moveTo>
                <a:cubicBezTo>
                  <a:pt x="4460864" y="733530"/>
                  <a:pt x="4465654" y="738320"/>
                  <a:pt x="4465654" y="744266"/>
                </a:cubicBezTo>
                <a:cubicBezTo>
                  <a:pt x="4465654" y="750213"/>
                  <a:pt x="4460864" y="755003"/>
                  <a:pt x="4454918" y="755003"/>
                </a:cubicBezTo>
                <a:cubicBezTo>
                  <a:pt x="4448971" y="755003"/>
                  <a:pt x="4444181" y="750213"/>
                  <a:pt x="4444181" y="744266"/>
                </a:cubicBezTo>
                <a:cubicBezTo>
                  <a:pt x="4444181" y="738320"/>
                  <a:pt x="4448971" y="733530"/>
                  <a:pt x="4454918" y="733530"/>
                </a:cubicBezTo>
                <a:close/>
                <a:moveTo>
                  <a:pt x="4485146" y="730721"/>
                </a:moveTo>
                <a:cubicBezTo>
                  <a:pt x="4491093" y="730721"/>
                  <a:pt x="4495884" y="735511"/>
                  <a:pt x="4495884" y="741457"/>
                </a:cubicBezTo>
                <a:cubicBezTo>
                  <a:pt x="4495884" y="747404"/>
                  <a:pt x="4491093" y="752195"/>
                  <a:pt x="4485146" y="752195"/>
                </a:cubicBezTo>
                <a:cubicBezTo>
                  <a:pt x="4479200" y="752195"/>
                  <a:pt x="4474410" y="747404"/>
                  <a:pt x="4474410" y="741457"/>
                </a:cubicBezTo>
                <a:cubicBezTo>
                  <a:pt x="4474410" y="735511"/>
                  <a:pt x="4479200" y="730721"/>
                  <a:pt x="4485146" y="730721"/>
                </a:cubicBezTo>
                <a:close/>
                <a:moveTo>
                  <a:pt x="3731259" y="730227"/>
                </a:moveTo>
                <a:cubicBezTo>
                  <a:pt x="3737205" y="730227"/>
                  <a:pt x="3741995" y="735016"/>
                  <a:pt x="3741995" y="740963"/>
                </a:cubicBezTo>
                <a:cubicBezTo>
                  <a:pt x="3741995" y="746909"/>
                  <a:pt x="3737205" y="751701"/>
                  <a:pt x="3731259" y="751701"/>
                </a:cubicBezTo>
                <a:cubicBezTo>
                  <a:pt x="3725312" y="751701"/>
                  <a:pt x="3720522" y="746909"/>
                  <a:pt x="3720522" y="740963"/>
                </a:cubicBezTo>
                <a:cubicBezTo>
                  <a:pt x="3720522" y="735016"/>
                  <a:pt x="3725312" y="730227"/>
                  <a:pt x="3731259" y="730227"/>
                </a:cubicBezTo>
                <a:close/>
                <a:moveTo>
                  <a:pt x="4090858" y="728244"/>
                </a:moveTo>
                <a:cubicBezTo>
                  <a:pt x="4096804" y="728244"/>
                  <a:pt x="4101596" y="733034"/>
                  <a:pt x="4101596" y="738981"/>
                </a:cubicBezTo>
                <a:cubicBezTo>
                  <a:pt x="4101596" y="744927"/>
                  <a:pt x="4096804" y="749717"/>
                  <a:pt x="4090858" y="749717"/>
                </a:cubicBezTo>
                <a:cubicBezTo>
                  <a:pt x="4084911" y="749717"/>
                  <a:pt x="4080122" y="744927"/>
                  <a:pt x="4080122" y="738981"/>
                </a:cubicBezTo>
                <a:cubicBezTo>
                  <a:pt x="4080122" y="733034"/>
                  <a:pt x="4084911" y="728244"/>
                  <a:pt x="4090858" y="728244"/>
                </a:cubicBezTo>
                <a:close/>
                <a:moveTo>
                  <a:pt x="4421221" y="722627"/>
                </a:moveTo>
                <a:cubicBezTo>
                  <a:pt x="4427167" y="722627"/>
                  <a:pt x="4431959" y="727417"/>
                  <a:pt x="4431959" y="733364"/>
                </a:cubicBezTo>
                <a:cubicBezTo>
                  <a:pt x="4431959" y="739310"/>
                  <a:pt x="4427167" y="744102"/>
                  <a:pt x="4421221" y="744102"/>
                </a:cubicBezTo>
                <a:cubicBezTo>
                  <a:pt x="4415274" y="744102"/>
                  <a:pt x="4410484" y="739310"/>
                  <a:pt x="4410484" y="733364"/>
                </a:cubicBezTo>
                <a:cubicBezTo>
                  <a:pt x="4410484" y="727417"/>
                  <a:pt x="4415274" y="722627"/>
                  <a:pt x="4421221" y="722627"/>
                </a:cubicBezTo>
                <a:close/>
                <a:moveTo>
                  <a:pt x="661033" y="722627"/>
                </a:moveTo>
                <a:cubicBezTo>
                  <a:pt x="666980" y="722627"/>
                  <a:pt x="671770" y="727417"/>
                  <a:pt x="671770" y="733364"/>
                </a:cubicBezTo>
                <a:cubicBezTo>
                  <a:pt x="671770" y="739310"/>
                  <a:pt x="666980" y="744102"/>
                  <a:pt x="661033" y="744102"/>
                </a:cubicBezTo>
                <a:cubicBezTo>
                  <a:pt x="655087" y="744102"/>
                  <a:pt x="650297" y="739310"/>
                  <a:pt x="650297" y="733364"/>
                </a:cubicBezTo>
                <a:cubicBezTo>
                  <a:pt x="650297" y="727417"/>
                  <a:pt x="655087" y="722627"/>
                  <a:pt x="661033" y="722627"/>
                </a:cubicBezTo>
                <a:close/>
                <a:moveTo>
                  <a:pt x="4533709" y="719488"/>
                </a:moveTo>
                <a:cubicBezTo>
                  <a:pt x="4539655" y="719488"/>
                  <a:pt x="4544447" y="724278"/>
                  <a:pt x="4544447" y="730225"/>
                </a:cubicBezTo>
                <a:cubicBezTo>
                  <a:pt x="4544447" y="736171"/>
                  <a:pt x="4539655" y="740963"/>
                  <a:pt x="4533709" y="740963"/>
                </a:cubicBezTo>
                <a:cubicBezTo>
                  <a:pt x="4527762" y="740963"/>
                  <a:pt x="4522972" y="736171"/>
                  <a:pt x="4522972" y="730225"/>
                </a:cubicBezTo>
                <a:cubicBezTo>
                  <a:pt x="4522972" y="724278"/>
                  <a:pt x="4527762" y="719488"/>
                  <a:pt x="4533709" y="719488"/>
                </a:cubicBezTo>
                <a:close/>
                <a:moveTo>
                  <a:pt x="4497535" y="717177"/>
                </a:moveTo>
                <a:cubicBezTo>
                  <a:pt x="4503482" y="717177"/>
                  <a:pt x="4508273" y="721967"/>
                  <a:pt x="4508273" y="727913"/>
                </a:cubicBezTo>
                <a:cubicBezTo>
                  <a:pt x="4508273" y="733860"/>
                  <a:pt x="4503482" y="738651"/>
                  <a:pt x="4497535" y="738651"/>
                </a:cubicBezTo>
                <a:cubicBezTo>
                  <a:pt x="4491589" y="738651"/>
                  <a:pt x="4486799" y="733860"/>
                  <a:pt x="4486799" y="727913"/>
                </a:cubicBezTo>
                <a:cubicBezTo>
                  <a:pt x="4486799" y="721967"/>
                  <a:pt x="4491589" y="717177"/>
                  <a:pt x="4497535" y="717177"/>
                </a:cubicBezTo>
                <a:close/>
                <a:moveTo>
                  <a:pt x="4361591" y="714863"/>
                </a:moveTo>
                <a:cubicBezTo>
                  <a:pt x="4367537" y="714863"/>
                  <a:pt x="4372327" y="719653"/>
                  <a:pt x="4372327" y="725600"/>
                </a:cubicBezTo>
                <a:cubicBezTo>
                  <a:pt x="4372327" y="731546"/>
                  <a:pt x="4367537" y="736338"/>
                  <a:pt x="4361591" y="736338"/>
                </a:cubicBezTo>
                <a:cubicBezTo>
                  <a:pt x="4355644" y="736338"/>
                  <a:pt x="4350854" y="731546"/>
                  <a:pt x="4350854" y="725600"/>
                </a:cubicBezTo>
                <a:cubicBezTo>
                  <a:pt x="4350854" y="719653"/>
                  <a:pt x="4355644" y="714863"/>
                  <a:pt x="4361591" y="714863"/>
                </a:cubicBezTo>
                <a:close/>
                <a:moveTo>
                  <a:pt x="4258517" y="714863"/>
                </a:moveTo>
                <a:cubicBezTo>
                  <a:pt x="4264464" y="714863"/>
                  <a:pt x="4269256" y="719653"/>
                  <a:pt x="4269256" y="725600"/>
                </a:cubicBezTo>
                <a:cubicBezTo>
                  <a:pt x="4269256" y="731546"/>
                  <a:pt x="4264464" y="736338"/>
                  <a:pt x="4258517" y="736338"/>
                </a:cubicBezTo>
                <a:cubicBezTo>
                  <a:pt x="4252571" y="736338"/>
                  <a:pt x="4247781" y="731546"/>
                  <a:pt x="4247781" y="725600"/>
                </a:cubicBezTo>
                <a:cubicBezTo>
                  <a:pt x="4247781" y="719653"/>
                  <a:pt x="4252571" y="714863"/>
                  <a:pt x="4258517" y="714863"/>
                </a:cubicBezTo>
                <a:close/>
                <a:moveTo>
                  <a:pt x="2813511" y="710238"/>
                </a:moveTo>
                <a:cubicBezTo>
                  <a:pt x="2819458" y="710238"/>
                  <a:pt x="2824248" y="715028"/>
                  <a:pt x="2824248" y="720975"/>
                </a:cubicBezTo>
                <a:cubicBezTo>
                  <a:pt x="2824248" y="726921"/>
                  <a:pt x="2819458" y="731713"/>
                  <a:pt x="2813511" y="731713"/>
                </a:cubicBezTo>
                <a:cubicBezTo>
                  <a:pt x="2807565" y="731713"/>
                  <a:pt x="2802775" y="726921"/>
                  <a:pt x="2802775" y="720975"/>
                </a:cubicBezTo>
                <a:cubicBezTo>
                  <a:pt x="2802775" y="715028"/>
                  <a:pt x="2807565" y="710238"/>
                  <a:pt x="2813511" y="710238"/>
                </a:cubicBezTo>
                <a:close/>
                <a:moveTo>
                  <a:pt x="4472261" y="708256"/>
                </a:moveTo>
                <a:cubicBezTo>
                  <a:pt x="4478208" y="708256"/>
                  <a:pt x="4482999" y="713046"/>
                  <a:pt x="4482999" y="718992"/>
                </a:cubicBezTo>
                <a:lnTo>
                  <a:pt x="4472840" y="729151"/>
                </a:lnTo>
                <a:lnTo>
                  <a:pt x="4474575" y="730885"/>
                </a:lnTo>
                <a:cubicBezTo>
                  <a:pt x="4474575" y="736832"/>
                  <a:pt x="4469785" y="741624"/>
                  <a:pt x="4463838" y="741624"/>
                </a:cubicBezTo>
                <a:cubicBezTo>
                  <a:pt x="4457892" y="741624"/>
                  <a:pt x="4453102" y="736832"/>
                  <a:pt x="4453102" y="730885"/>
                </a:cubicBezTo>
                <a:lnTo>
                  <a:pt x="4463259" y="720728"/>
                </a:lnTo>
                <a:lnTo>
                  <a:pt x="4461525" y="718992"/>
                </a:lnTo>
                <a:cubicBezTo>
                  <a:pt x="4461525" y="713046"/>
                  <a:pt x="4466315" y="708256"/>
                  <a:pt x="4472261" y="708256"/>
                </a:cubicBezTo>
                <a:close/>
                <a:moveTo>
                  <a:pt x="4439225" y="706605"/>
                </a:moveTo>
                <a:cubicBezTo>
                  <a:pt x="4445171" y="706605"/>
                  <a:pt x="4449963" y="711395"/>
                  <a:pt x="4449963" y="717341"/>
                </a:cubicBezTo>
                <a:cubicBezTo>
                  <a:pt x="4449963" y="723288"/>
                  <a:pt x="4445171" y="728080"/>
                  <a:pt x="4439225" y="728080"/>
                </a:cubicBezTo>
                <a:cubicBezTo>
                  <a:pt x="4433278" y="728080"/>
                  <a:pt x="4428489" y="723288"/>
                  <a:pt x="4428489" y="717341"/>
                </a:cubicBezTo>
                <a:cubicBezTo>
                  <a:pt x="4428489" y="711395"/>
                  <a:pt x="4433278" y="706605"/>
                  <a:pt x="4439225" y="706605"/>
                </a:cubicBezTo>
                <a:close/>
                <a:moveTo>
                  <a:pt x="4516861" y="702145"/>
                </a:moveTo>
                <a:cubicBezTo>
                  <a:pt x="4522808" y="702145"/>
                  <a:pt x="4527597" y="706935"/>
                  <a:pt x="4527597" y="712881"/>
                </a:cubicBezTo>
                <a:cubicBezTo>
                  <a:pt x="4527597" y="718828"/>
                  <a:pt x="4522808" y="723618"/>
                  <a:pt x="4516861" y="723618"/>
                </a:cubicBezTo>
                <a:cubicBezTo>
                  <a:pt x="4510914" y="723618"/>
                  <a:pt x="4506125" y="718828"/>
                  <a:pt x="4506125" y="712881"/>
                </a:cubicBezTo>
                <a:cubicBezTo>
                  <a:pt x="4506125" y="706935"/>
                  <a:pt x="4510914" y="702145"/>
                  <a:pt x="4516861" y="702145"/>
                </a:cubicBezTo>
                <a:close/>
                <a:moveTo>
                  <a:pt x="3618275" y="698512"/>
                </a:moveTo>
                <a:cubicBezTo>
                  <a:pt x="3624221" y="698512"/>
                  <a:pt x="3629011" y="703302"/>
                  <a:pt x="3629011" y="709248"/>
                </a:cubicBezTo>
                <a:cubicBezTo>
                  <a:pt x="3629011" y="715195"/>
                  <a:pt x="3624221" y="719986"/>
                  <a:pt x="3618275" y="719986"/>
                </a:cubicBezTo>
                <a:cubicBezTo>
                  <a:pt x="3612328" y="719986"/>
                  <a:pt x="3607538" y="715195"/>
                  <a:pt x="3607538" y="709248"/>
                </a:cubicBezTo>
                <a:cubicBezTo>
                  <a:pt x="3607538" y="703302"/>
                  <a:pt x="3612328" y="698512"/>
                  <a:pt x="3618275" y="698512"/>
                </a:cubicBezTo>
                <a:close/>
                <a:moveTo>
                  <a:pt x="4483495" y="696530"/>
                </a:moveTo>
                <a:cubicBezTo>
                  <a:pt x="4489442" y="696530"/>
                  <a:pt x="4494232" y="701319"/>
                  <a:pt x="4494232" y="707266"/>
                </a:cubicBezTo>
                <a:cubicBezTo>
                  <a:pt x="4494232" y="713213"/>
                  <a:pt x="4489442" y="718004"/>
                  <a:pt x="4483495" y="718004"/>
                </a:cubicBezTo>
                <a:cubicBezTo>
                  <a:pt x="4477549" y="718004"/>
                  <a:pt x="4472759" y="713213"/>
                  <a:pt x="4472759" y="707266"/>
                </a:cubicBezTo>
                <a:cubicBezTo>
                  <a:pt x="4472759" y="701319"/>
                  <a:pt x="4477549" y="696530"/>
                  <a:pt x="4483495" y="696530"/>
                </a:cubicBezTo>
                <a:close/>
                <a:moveTo>
                  <a:pt x="849836" y="696365"/>
                </a:moveTo>
                <a:cubicBezTo>
                  <a:pt x="855782" y="696365"/>
                  <a:pt x="860572" y="701155"/>
                  <a:pt x="860572" y="707101"/>
                </a:cubicBezTo>
                <a:cubicBezTo>
                  <a:pt x="860572" y="713048"/>
                  <a:pt x="855782" y="717837"/>
                  <a:pt x="849836" y="717837"/>
                </a:cubicBezTo>
                <a:cubicBezTo>
                  <a:pt x="843889" y="717837"/>
                  <a:pt x="839100" y="713048"/>
                  <a:pt x="839100" y="707101"/>
                </a:cubicBezTo>
                <a:cubicBezTo>
                  <a:pt x="839100" y="701155"/>
                  <a:pt x="843889" y="696365"/>
                  <a:pt x="849836" y="696365"/>
                </a:cubicBezTo>
                <a:close/>
                <a:moveTo>
                  <a:pt x="4018509" y="695869"/>
                </a:moveTo>
                <a:cubicBezTo>
                  <a:pt x="4024456" y="695869"/>
                  <a:pt x="4029248" y="700659"/>
                  <a:pt x="4029248" y="706605"/>
                </a:cubicBezTo>
                <a:cubicBezTo>
                  <a:pt x="4029248" y="712552"/>
                  <a:pt x="4024456" y="717343"/>
                  <a:pt x="4018509" y="717343"/>
                </a:cubicBezTo>
                <a:cubicBezTo>
                  <a:pt x="4012563" y="717343"/>
                  <a:pt x="4007773" y="712552"/>
                  <a:pt x="4007773" y="706605"/>
                </a:cubicBezTo>
                <a:cubicBezTo>
                  <a:pt x="4007773" y="700659"/>
                  <a:pt x="4012563" y="695869"/>
                  <a:pt x="4018509" y="695869"/>
                </a:cubicBezTo>
                <a:close/>
                <a:moveTo>
                  <a:pt x="4399087" y="693226"/>
                </a:moveTo>
                <a:cubicBezTo>
                  <a:pt x="4405016" y="693226"/>
                  <a:pt x="4409823" y="698033"/>
                  <a:pt x="4409823" y="703962"/>
                </a:cubicBezTo>
                <a:cubicBezTo>
                  <a:pt x="4409823" y="709893"/>
                  <a:pt x="4405016" y="714700"/>
                  <a:pt x="4399087" y="714700"/>
                </a:cubicBezTo>
                <a:cubicBezTo>
                  <a:pt x="4393158" y="714700"/>
                  <a:pt x="4388351" y="709893"/>
                  <a:pt x="4388351" y="703962"/>
                </a:cubicBezTo>
                <a:cubicBezTo>
                  <a:pt x="4388351" y="698033"/>
                  <a:pt x="4393158" y="693226"/>
                  <a:pt x="4399087" y="693226"/>
                </a:cubicBezTo>
                <a:close/>
                <a:moveTo>
                  <a:pt x="2618268" y="684966"/>
                </a:moveTo>
                <a:cubicBezTo>
                  <a:pt x="2624214" y="684966"/>
                  <a:pt x="2629006" y="689756"/>
                  <a:pt x="2629006" y="695702"/>
                </a:cubicBezTo>
                <a:cubicBezTo>
                  <a:pt x="2629006" y="701649"/>
                  <a:pt x="2624214" y="706440"/>
                  <a:pt x="2618268" y="706440"/>
                </a:cubicBezTo>
                <a:cubicBezTo>
                  <a:pt x="2612321" y="706440"/>
                  <a:pt x="2607531" y="701649"/>
                  <a:pt x="2607531" y="695702"/>
                </a:cubicBezTo>
                <a:cubicBezTo>
                  <a:pt x="2607531" y="689756"/>
                  <a:pt x="2612321" y="684966"/>
                  <a:pt x="2618268" y="684966"/>
                </a:cubicBezTo>
                <a:close/>
                <a:moveTo>
                  <a:pt x="4328554" y="683811"/>
                </a:moveTo>
                <a:cubicBezTo>
                  <a:pt x="4334501" y="683811"/>
                  <a:pt x="4339291" y="688601"/>
                  <a:pt x="4339291" y="694547"/>
                </a:cubicBezTo>
                <a:cubicBezTo>
                  <a:pt x="4339291" y="700494"/>
                  <a:pt x="4334501" y="705286"/>
                  <a:pt x="4328554" y="705286"/>
                </a:cubicBezTo>
                <a:cubicBezTo>
                  <a:pt x="4322608" y="705286"/>
                  <a:pt x="4317818" y="700494"/>
                  <a:pt x="4317818" y="694547"/>
                </a:cubicBezTo>
                <a:cubicBezTo>
                  <a:pt x="4317818" y="688601"/>
                  <a:pt x="4322608" y="683811"/>
                  <a:pt x="4328554" y="683811"/>
                </a:cubicBezTo>
                <a:close/>
                <a:moveTo>
                  <a:pt x="4500672" y="683645"/>
                </a:moveTo>
                <a:cubicBezTo>
                  <a:pt x="4506619" y="683645"/>
                  <a:pt x="4511410" y="688434"/>
                  <a:pt x="4511410" y="694381"/>
                </a:cubicBezTo>
                <a:cubicBezTo>
                  <a:pt x="4511410" y="700327"/>
                  <a:pt x="4506619" y="705119"/>
                  <a:pt x="4500672" y="705119"/>
                </a:cubicBezTo>
                <a:cubicBezTo>
                  <a:pt x="4494726" y="705119"/>
                  <a:pt x="4489936" y="700327"/>
                  <a:pt x="4489936" y="694381"/>
                </a:cubicBezTo>
                <a:cubicBezTo>
                  <a:pt x="4489936" y="688434"/>
                  <a:pt x="4494726" y="683645"/>
                  <a:pt x="4500672" y="683645"/>
                </a:cubicBezTo>
                <a:close/>
                <a:moveTo>
                  <a:pt x="4208963" y="682654"/>
                </a:moveTo>
                <a:cubicBezTo>
                  <a:pt x="4214910" y="682654"/>
                  <a:pt x="4219701" y="687444"/>
                  <a:pt x="4219701" y="693391"/>
                </a:cubicBezTo>
                <a:cubicBezTo>
                  <a:pt x="4219701" y="699337"/>
                  <a:pt x="4214910" y="704127"/>
                  <a:pt x="4208963" y="704127"/>
                </a:cubicBezTo>
                <a:cubicBezTo>
                  <a:pt x="4203017" y="704127"/>
                  <a:pt x="4198227" y="699337"/>
                  <a:pt x="4198227" y="693391"/>
                </a:cubicBezTo>
                <a:cubicBezTo>
                  <a:pt x="4198227" y="687444"/>
                  <a:pt x="4203017" y="682654"/>
                  <a:pt x="4208963" y="682654"/>
                </a:cubicBezTo>
                <a:close/>
                <a:moveTo>
                  <a:pt x="7247" y="681166"/>
                </a:moveTo>
                <a:cubicBezTo>
                  <a:pt x="13193" y="681166"/>
                  <a:pt x="17985" y="685956"/>
                  <a:pt x="17985" y="691903"/>
                </a:cubicBezTo>
                <a:cubicBezTo>
                  <a:pt x="17985" y="697849"/>
                  <a:pt x="13193" y="702641"/>
                  <a:pt x="7247" y="702641"/>
                </a:cubicBezTo>
                <a:lnTo>
                  <a:pt x="0" y="695393"/>
                </a:lnTo>
                <a:lnTo>
                  <a:pt x="0" y="688413"/>
                </a:lnTo>
                <a:close/>
                <a:moveTo>
                  <a:pt x="4421881" y="678525"/>
                </a:moveTo>
                <a:cubicBezTo>
                  <a:pt x="4427828" y="678525"/>
                  <a:pt x="4432618" y="683315"/>
                  <a:pt x="4432618" y="689262"/>
                </a:cubicBezTo>
                <a:cubicBezTo>
                  <a:pt x="4432618" y="695208"/>
                  <a:pt x="4427828" y="699998"/>
                  <a:pt x="4421881" y="699998"/>
                </a:cubicBezTo>
                <a:cubicBezTo>
                  <a:pt x="4415935" y="699998"/>
                  <a:pt x="4411145" y="695208"/>
                  <a:pt x="4411145" y="689262"/>
                </a:cubicBezTo>
                <a:cubicBezTo>
                  <a:pt x="4411145" y="683315"/>
                  <a:pt x="4415935" y="678525"/>
                  <a:pt x="4421881" y="678525"/>
                </a:cubicBezTo>
                <a:close/>
                <a:moveTo>
                  <a:pt x="4469618" y="674890"/>
                </a:moveTo>
                <a:cubicBezTo>
                  <a:pt x="4475565" y="674890"/>
                  <a:pt x="4480356" y="679680"/>
                  <a:pt x="4480356" y="685627"/>
                </a:cubicBezTo>
                <a:cubicBezTo>
                  <a:pt x="4480356" y="691573"/>
                  <a:pt x="4475565" y="696365"/>
                  <a:pt x="4469618" y="696365"/>
                </a:cubicBezTo>
                <a:lnTo>
                  <a:pt x="4469206" y="695952"/>
                </a:lnTo>
                <a:lnTo>
                  <a:pt x="4460370" y="704789"/>
                </a:lnTo>
                <a:lnTo>
                  <a:pt x="4461029" y="705448"/>
                </a:lnTo>
                <a:cubicBezTo>
                  <a:pt x="4461029" y="711395"/>
                  <a:pt x="4456239" y="716187"/>
                  <a:pt x="4450292" y="716187"/>
                </a:cubicBezTo>
                <a:cubicBezTo>
                  <a:pt x="4444346" y="716187"/>
                  <a:pt x="4439556" y="711395"/>
                  <a:pt x="4439556" y="705448"/>
                </a:cubicBezTo>
                <a:lnTo>
                  <a:pt x="4448971" y="696034"/>
                </a:lnTo>
                <a:lnTo>
                  <a:pt x="4448312" y="695373"/>
                </a:lnTo>
                <a:cubicBezTo>
                  <a:pt x="4448312" y="689426"/>
                  <a:pt x="4453102" y="684636"/>
                  <a:pt x="4459048" y="684636"/>
                </a:cubicBezTo>
                <a:lnTo>
                  <a:pt x="4459459" y="685049"/>
                </a:lnTo>
                <a:close/>
                <a:moveTo>
                  <a:pt x="1052347" y="672579"/>
                </a:moveTo>
                <a:cubicBezTo>
                  <a:pt x="1058294" y="672579"/>
                  <a:pt x="1063085" y="677368"/>
                  <a:pt x="1063085" y="683315"/>
                </a:cubicBezTo>
                <a:cubicBezTo>
                  <a:pt x="1063085" y="689262"/>
                  <a:pt x="1058294" y="694053"/>
                  <a:pt x="1052347" y="694053"/>
                </a:cubicBezTo>
                <a:cubicBezTo>
                  <a:pt x="1046401" y="694053"/>
                  <a:pt x="1041611" y="689262"/>
                  <a:pt x="1041611" y="683315"/>
                </a:cubicBezTo>
                <a:cubicBezTo>
                  <a:pt x="1041611" y="677368"/>
                  <a:pt x="1046401" y="672579"/>
                  <a:pt x="1052347" y="672579"/>
                </a:cubicBezTo>
                <a:close/>
                <a:moveTo>
                  <a:pt x="4525782" y="670761"/>
                </a:moveTo>
                <a:cubicBezTo>
                  <a:pt x="4530407" y="670761"/>
                  <a:pt x="4534206" y="674561"/>
                  <a:pt x="4534206" y="679186"/>
                </a:cubicBezTo>
                <a:cubicBezTo>
                  <a:pt x="4534206" y="683811"/>
                  <a:pt x="4530407" y="687609"/>
                  <a:pt x="4525782" y="687609"/>
                </a:cubicBezTo>
                <a:cubicBezTo>
                  <a:pt x="4521157" y="687609"/>
                  <a:pt x="4517357" y="683811"/>
                  <a:pt x="4517357" y="679186"/>
                </a:cubicBezTo>
                <a:cubicBezTo>
                  <a:pt x="4517357" y="674561"/>
                  <a:pt x="4521157" y="670761"/>
                  <a:pt x="4525782" y="670761"/>
                </a:cubicBezTo>
                <a:close/>
                <a:moveTo>
                  <a:pt x="3494223" y="666136"/>
                </a:moveTo>
                <a:cubicBezTo>
                  <a:pt x="3500170" y="666136"/>
                  <a:pt x="3504959" y="670926"/>
                  <a:pt x="3504959" y="676873"/>
                </a:cubicBezTo>
                <a:cubicBezTo>
                  <a:pt x="3504959" y="682819"/>
                  <a:pt x="3500170" y="687609"/>
                  <a:pt x="3494223" y="687609"/>
                </a:cubicBezTo>
                <a:cubicBezTo>
                  <a:pt x="3488277" y="687609"/>
                  <a:pt x="3483487" y="682819"/>
                  <a:pt x="3483487" y="676873"/>
                </a:cubicBezTo>
                <a:cubicBezTo>
                  <a:pt x="3483487" y="670926"/>
                  <a:pt x="3488277" y="666136"/>
                  <a:pt x="3494223" y="666136"/>
                </a:cubicBezTo>
                <a:close/>
                <a:moveTo>
                  <a:pt x="4484981" y="663989"/>
                </a:moveTo>
                <a:cubicBezTo>
                  <a:pt x="4490928" y="663989"/>
                  <a:pt x="4495718" y="668779"/>
                  <a:pt x="4495718" y="674726"/>
                </a:cubicBezTo>
                <a:cubicBezTo>
                  <a:pt x="4495718" y="680672"/>
                  <a:pt x="4490928" y="685462"/>
                  <a:pt x="4484981" y="685462"/>
                </a:cubicBezTo>
                <a:cubicBezTo>
                  <a:pt x="4479035" y="685462"/>
                  <a:pt x="4474245" y="680672"/>
                  <a:pt x="4474245" y="674726"/>
                </a:cubicBezTo>
                <a:cubicBezTo>
                  <a:pt x="4474245" y="668779"/>
                  <a:pt x="4479035" y="663989"/>
                  <a:pt x="4484981" y="663989"/>
                </a:cubicBezTo>
                <a:close/>
                <a:moveTo>
                  <a:pt x="2409644" y="662833"/>
                </a:moveTo>
                <a:cubicBezTo>
                  <a:pt x="2415590" y="662833"/>
                  <a:pt x="2420381" y="667622"/>
                  <a:pt x="2420381" y="673569"/>
                </a:cubicBezTo>
                <a:cubicBezTo>
                  <a:pt x="2420381" y="679516"/>
                  <a:pt x="2415590" y="684307"/>
                  <a:pt x="2409644" y="684307"/>
                </a:cubicBezTo>
                <a:cubicBezTo>
                  <a:pt x="2403697" y="684307"/>
                  <a:pt x="2398907" y="679516"/>
                  <a:pt x="2398907" y="673569"/>
                </a:cubicBezTo>
                <a:cubicBezTo>
                  <a:pt x="2398907" y="667622"/>
                  <a:pt x="2403697" y="662833"/>
                  <a:pt x="2409644" y="662833"/>
                </a:cubicBezTo>
                <a:close/>
                <a:moveTo>
                  <a:pt x="4373980" y="662668"/>
                </a:moveTo>
                <a:cubicBezTo>
                  <a:pt x="4379926" y="662668"/>
                  <a:pt x="4384716" y="667458"/>
                  <a:pt x="4384716" y="673404"/>
                </a:cubicBezTo>
                <a:cubicBezTo>
                  <a:pt x="4384716" y="679351"/>
                  <a:pt x="4379926" y="684141"/>
                  <a:pt x="4373980" y="684141"/>
                </a:cubicBezTo>
                <a:cubicBezTo>
                  <a:pt x="4368033" y="684141"/>
                  <a:pt x="4363243" y="679351"/>
                  <a:pt x="4363243" y="673404"/>
                </a:cubicBezTo>
                <a:cubicBezTo>
                  <a:pt x="4363243" y="667458"/>
                  <a:pt x="4368033" y="662668"/>
                  <a:pt x="4373980" y="662668"/>
                </a:cubicBezTo>
                <a:close/>
                <a:moveTo>
                  <a:pt x="3938066" y="662668"/>
                </a:moveTo>
                <a:cubicBezTo>
                  <a:pt x="3944012" y="662668"/>
                  <a:pt x="3948804" y="667458"/>
                  <a:pt x="3948804" y="673404"/>
                </a:cubicBezTo>
                <a:cubicBezTo>
                  <a:pt x="3948804" y="679351"/>
                  <a:pt x="3944012" y="684141"/>
                  <a:pt x="3938066" y="684141"/>
                </a:cubicBezTo>
                <a:cubicBezTo>
                  <a:pt x="3932119" y="684141"/>
                  <a:pt x="3927329" y="679351"/>
                  <a:pt x="3927329" y="673404"/>
                </a:cubicBezTo>
                <a:cubicBezTo>
                  <a:pt x="3927329" y="667458"/>
                  <a:pt x="3932119" y="662668"/>
                  <a:pt x="3938066" y="662668"/>
                </a:cubicBezTo>
                <a:close/>
                <a:moveTo>
                  <a:pt x="1267579" y="652922"/>
                </a:moveTo>
                <a:cubicBezTo>
                  <a:pt x="1273526" y="652922"/>
                  <a:pt x="1278317" y="657711"/>
                  <a:pt x="1278317" y="663658"/>
                </a:cubicBezTo>
                <a:cubicBezTo>
                  <a:pt x="1278317" y="669605"/>
                  <a:pt x="1273526" y="674396"/>
                  <a:pt x="1267579" y="674396"/>
                </a:cubicBezTo>
                <a:cubicBezTo>
                  <a:pt x="1261632" y="674396"/>
                  <a:pt x="1256843" y="669605"/>
                  <a:pt x="1256843" y="663658"/>
                </a:cubicBezTo>
                <a:cubicBezTo>
                  <a:pt x="1256843" y="657711"/>
                  <a:pt x="1261632" y="652922"/>
                  <a:pt x="1267579" y="652922"/>
                </a:cubicBezTo>
                <a:close/>
                <a:moveTo>
                  <a:pt x="4455743" y="651930"/>
                </a:moveTo>
                <a:cubicBezTo>
                  <a:pt x="4461690" y="651930"/>
                  <a:pt x="4466481" y="656720"/>
                  <a:pt x="4466481" y="662666"/>
                </a:cubicBezTo>
                <a:cubicBezTo>
                  <a:pt x="4466481" y="668613"/>
                  <a:pt x="4461690" y="673404"/>
                  <a:pt x="4455743" y="673404"/>
                </a:cubicBezTo>
                <a:lnTo>
                  <a:pt x="4454505" y="672166"/>
                </a:lnTo>
                <a:lnTo>
                  <a:pt x="4445503" y="681166"/>
                </a:lnTo>
                <a:lnTo>
                  <a:pt x="4444677" y="680343"/>
                </a:lnTo>
                <a:lnTo>
                  <a:pt x="4435592" y="689426"/>
                </a:lnTo>
                <a:cubicBezTo>
                  <a:pt x="4429645" y="689426"/>
                  <a:pt x="4424855" y="684636"/>
                  <a:pt x="4424855" y="678690"/>
                </a:cubicBezTo>
                <a:cubicBezTo>
                  <a:pt x="4424855" y="672743"/>
                  <a:pt x="4429645" y="667954"/>
                  <a:pt x="4435592" y="667954"/>
                </a:cubicBezTo>
                <a:lnTo>
                  <a:pt x="4436417" y="668779"/>
                </a:lnTo>
                <a:lnTo>
                  <a:pt x="4445503" y="659694"/>
                </a:lnTo>
                <a:lnTo>
                  <a:pt x="4446741" y="660932"/>
                </a:lnTo>
                <a:close/>
                <a:moveTo>
                  <a:pt x="4291058" y="651436"/>
                </a:moveTo>
                <a:cubicBezTo>
                  <a:pt x="4297004" y="651436"/>
                  <a:pt x="4301796" y="656225"/>
                  <a:pt x="4301796" y="662172"/>
                </a:cubicBezTo>
                <a:cubicBezTo>
                  <a:pt x="4301796" y="668118"/>
                  <a:pt x="4297004" y="672908"/>
                  <a:pt x="4291058" y="672908"/>
                </a:cubicBezTo>
                <a:cubicBezTo>
                  <a:pt x="4285111" y="672908"/>
                  <a:pt x="4280321" y="668118"/>
                  <a:pt x="4280321" y="662172"/>
                </a:cubicBezTo>
                <a:cubicBezTo>
                  <a:pt x="4280321" y="656225"/>
                  <a:pt x="4285111" y="651436"/>
                  <a:pt x="4291058" y="651436"/>
                </a:cubicBezTo>
                <a:close/>
                <a:moveTo>
                  <a:pt x="4507446" y="651104"/>
                </a:moveTo>
                <a:cubicBezTo>
                  <a:pt x="4513393" y="651104"/>
                  <a:pt x="4518184" y="655894"/>
                  <a:pt x="4518184" y="661841"/>
                </a:cubicBezTo>
                <a:cubicBezTo>
                  <a:pt x="4518184" y="667787"/>
                  <a:pt x="4513393" y="672579"/>
                  <a:pt x="4507446" y="672579"/>
                </a:cubicBezTo>
                <a:cubicBezTo>
                  <a:pt x="4501500" y="672579"/>
                  <a:pt x="4496710" y="667787"/>
                  <a:pt x="4496710" y="661841"/>
                </a:cubicBezTo>
                <a:cubicBezTo>
                  <a:pt x="4496710" y="655894"/>
                  <a:pt x="4501500" y="651104"/>
                  <a:pt x="4507446" y="651104"/>
                </a:cubicBezTo>
                <a:close/>
                <a:moveTo>
                  <a:pt x="4153462" y="649452"/>
                </a:moveTo>
                <a:cubicBezTo>
                  <a:pt x="4159409" y="649452"/>
                  <a:pt x="4164198" y="654241"/>
                  <a:pt x="4164198" y="660188"/>
                </a:cubicBezTo>
                <a:cubicBezTo>
                  <a:pt x="4164198" y="666135"/>
                  <a:pt x="4159409" y="670926"/>
                  <a:pt x="4153462" y="670926"/>
                </a:cubicBezTo>
                <a:cubicBezTo>
                  <a:pt x="4147516" y="670926"/>
                  <a:pt x="4142726" y="666135"/>
                  <a:pt x="4142726" y="660188"/>
                </a:cubicBezTo>
                <a:cubicBezTo>
                  <a:pt x="4142726" y="654241"/>
                  <a:pt x="4147516" y="649452"/>
                  <a:pt x="4153462" y="649452"/>
                </a:cubicBezTo>
                <a:close/>
                <a:moveTo>
                  <a:pt x="4402226" y="648957"/>
                </a:moveTo>
                <a:cubicBezTo>
                  <a:pt x="4408173" y="648957"/>
                  <a:pt x="4412962" y="653747"/>
                  <a:pt x="4412962" y="659694"/>
                </a:cubicBezTo>
                <a:cubicBezTo>
                  <a:pt x="4412962" y="665640"/>
                  <a:pt x="4408173" y="670432"/>
                  <a:pt x="4402226" y="670432"/>
                </a:cubicBezTo>
                <a:cubicBezTo>
                  <a:pt x="4396279" y="670432"/>
                  <a:pt x="4391490" y="665640"/>
                  <a:pt x="4391490" y="659694"/>
                </a:cubicBezTo>
                <a:cubicBezTo>
                  <a:pt x="4391490" y="653747"/>
                  <a:pt x="4396279" y="648957"/>
                  <a:pt x="4402226" y="648957"/>
                </a:cubicBezTo>
                <a:close/>
                <a:moveTo>
                  <a:pt x="137409" y="648791"/>
                </a:moveTo>
                <a:cubicBezTo>
                  <a:pt x="143356" y="648791"/>
                  <a:pt x="148148" y="653581"/>
                  <a:pt x="148148" y="659527"/>
                </a:cubicBezTo>
                <a:cubicBezTo>
                  <a:pt x="148148" y="665474"/>
                  <a:pt x="143356" y="670265"/>
                  <a:pt x="137409" y="670265"/>
                </a:cubicBezTo>
                <a:cubicBezTo>
                  <a:pt x="131463" y="670265"/>
                  <a:pt x="126673" y="665474"/>
                  <a:pt x="126673" y="659527"/>
                </a:cubicBezTo>
                <a:cubicBezTo>
                  <a:pt x="126673" y="653581"/>
                  <a:pt x="131463" y="648791"/>
                  <a:pt x="137409" y="648791"/>
                </a:cubicBezTo>
                <a:close/>
                <a:moveTo>
                  <a:pt x="2189126" y="645654"/>
                </a:moveTo>
                <a:cubicBezTo>
                  <a:pt x="2195072" y="645654"/>
                  <a:pt x="2199864" y="650444"/>
                  <a:pt x="2199864" y="656390"/>
                </a:cubicBezTo>
                <a:cubicBezTo>
                  <a:pt x="2199864" y="662337"/>
                  <a:pt x="2195072" y="667126"/>
                  <a:pt x="2189126" y="667126"/>
                </a:cubicBezTo>
                <a:cubicBezTo>
                  <a:pt x="2183180" y="667126"/>
                  <a:pt x="2178390" y="662337"/>
                  <a:pt x="2178390" y="656390"/>
                </a:cubicBezTo>
                <a:cubicBezTo>
                  <a:pt x="2178390" y="650444"/>
                  <a:pt x="2183180" y="645654"/>
                  <a:pt x="2189126" y="645654"/>
                </a:cubicBezTo>
                <a:close/>
                <a:moveTo>
                  <a:pt x="4469618" y="643176"/>
                </a:moveTo>
                <a:cubicBezTo>
                  <a:pt x="4475565" y="643176"/>
                  <a:pt x="4480356" y="647965"/>
                  <a:pt x="4480356" y="653912"/>
                </a:cubicBezTo>
                <a:cubicBezTo>
                  <a:pt x="4480356" y="659858"/>
                  <a:pt x="4475565" y="664648"/>
                  <a:pt x="4469618" y="664648"/>
                </a:cubicBezTo>
                <a:cubicBezTo>
                  <a:pt x="4463672" y="664648"/>
                  <a:pt x="4458882" y="659858"/>
                  <a:pt x="4458882" y="653912"/>
                </a:cubicBezTo>
                <a:cubicBezTo>
                  <a:pt x="4458882" y="647965"/>
                  <a:pt x="4463672" y="643176"/>
                  <a:pt x="4469618" y="643176"/>
                </a:cubicBezTo>
                <a:close/>
                <a:moveTo>
                  <a:pt x="1493382" y="638882"/>
                </a:moveTo>
                <a:cubicBezTo>
                  <a:pt x="1499313" y="638882"/>
                  <a:pt x="1504119" y="643689"/>
                  <a:pt x="1504119" y="649618"/>
                </a:cubicBezTo>
                <a:cubicBezTo>
                  <a:pt x="1504119" y="655549"/>
                  <a:pt x="1499313" y="660356"/>
                  <a:pt x="1493382" y="660356"/>
                </a:cubicBezTo>
                <a:cubicBezTo>
                  <a:pt x="1487453" y="660356"/>
                  <a:pt x="1482646" y="655549"/>
                  <a:pt x="1482646" y="649618"/>
                </a:cubicBezTo>
                <a:cubicBezTo>
                  <a:pt x="1482646" y="643689"/>
                  <a:pt x="1487453" y="638882"/>
                  <a:pt x="1493382" y="638882"/>
                </a:cubicBezTo>
                <a:close/>
                <a:moveTo>
                  <a:pt x="1959690" y="635082"/>
                </a:moveTo>
                <a:cubicBezTo>
                  <a:pt x="1965636" y="635082"/>
                  <a:pt x="1970426" y="639872"/>
                  <a:pt x="1970426" y="645818"/>
                </a:cubicBezTo>
                <a:cubicBezTo>
                  <a:pt x="1970426" y="651765"/>
                  <a:pt x="1965636" y="656555"/>
                  <a:pt x="1959690" y="656555"/>
                </a:cubicBezTo>
                <a:cubicBezTo>
                  <a:pt x="1953743" y="656555"/>
                  <a:pt x="1948953" y="651765"/>
                  <a:pt x="1948953" y="645818"/>
                </a:cubicBezTo>
                <a:cubicBezTo>
                  <a:pt x="1948953" y="639872"/>
                  <a:pt x="1953743" y="635082"/>
                  <a:pt x="1959690" y="635082"/>
                </a:cubicBezTo>
                <a:close/>
                <a:moveTo>
                  <a:pt x="3358610" y="633596"/>
                </a:moveTo>
                <a:cubicBezTo>
                  <a:pt x="3364541" y="633596"/>
                  <a:pt x="3369346" y="638403"/>
                  <a:pt x="3369346" y="644332"/>
                </a:cubicBezTo>
                <a:cubicBezTo>
                  <a:pt x="3369346" y="650263"/>
                  <a:pt x="3364541" y="655070"/>
                  <a:pt x="3358610" y="655070"/>
                </a:cubicBezTo>
                <a:cubicBezTo>
                  <a:pt x="3352680" y="655070"/>
                  <a:pt x="3347873" y="650263"/>
                  <a:pt x="3347873" y="644332"/>
                </a:cubicBezTo>
                <a:cubicBezTo>
                  <a:pt x="3347873" y="638403"/>
                  <a:pt x="3352680" y="633596"/>
                  <a:pt x="3358610" y="633596"/>
                </a:cubicBezTo>
                <a:close/>
                <a:moveTo>
                  <a:pt x="1725793" y="632769"/>
                </a:moveTo>
                <a:cubicBezTo>
                  <a:pt x="1731739" y="632769"/>
                  <a:pt x="1736531" y="637559"/>
                  <a:pt x="1736531" y="643505"/>
                </a:cubicBezTo>
                <a:cubicBezTo>
                  <a:pt x="1736531" y="649452"/>
                  <a:pt x="1731739" y="654243"/>
                  <a:pt x="1725793" y="654243"/>
                </a:cubicBezTo>
                <a:cubicBezTo>
                  <a:pt x="1719846" y="654243"/>
                  <a:pt x="1715056" y="649452"/>
                  <a:pt x="1715056" y="643505"/>
                </a:cubicBezTo>
                <a:cubicBezTo>
                  <a:pt x="1715056" y="637559"/>
                  <a:pt x="1719846" y="632769"/>
                  <a:pt x="1725793" y="632769"/>
                </a:cubicBezTo>
                <a:close/>
                <a:moveTo>
                  <a:pt x="4489936" y="632439"/>
                </a:moveTo>
                <a:cubicBezTo>
                  <a:pt x="4495883" y="632439"/>
                  <a:pt x="4500672" y="637229"/>
                  <a:pt x="4500672" y="643176"/>
                </a:cubicBezTo>
                <a:cubicBezTo>
                  <a:pt x="4500672" y="649122"/>
                  <a:pt x="4495883" y="653914"/>
                  <a:pt x="4489936" y="653914"/>
                </a:cubicBezTo>
                <a:cubicBezTo>
                  <a:pt x="4483989" y="653914"/>
                  <a:pt x="4479200" y="649122"/>
                  <a:pt x="4479200" y="643176"/>
                </a:cubicBezTo>
                <a:cubicBezTo>
                  <a:pt x="4479200" y="637229"/>
                  <a:pt x="4483989" y="632439"/>
                  <a:pt x="4489936" y="632439"/>
                </a:cubicBezTo>
                <a:close/>
                <a:moveTo>
                  <a:pt x="4345568" y="630953"/>
                </a:moveTo>
                <a:cubicBezTo>
                  <a:pt x="4351515" y="630953"/>
                  <a:pt x="4356305" y="635743"/>
                  <a:pt x="4356305" y="641689"/>
                </a:cubicBezTo>
                <a:cubicBezTo>
                  <a:pt x="4356305" y="647636"/>
                  <a:pt x="4351515" y="652426"/>
                  <a:pt x="4345568" y="652426"/>
                </a:cubicBezTo>
                <a:cubicBezTo>
                  <a:pt x="4339622" y="652426"/>
                  <a:pt x="4334832" y="647636"/>
                  <a:pt x="4334832" y="641689"/>
                </a:cubicBezTo>
                <a:cubicBezTo>
                  <a:pt x="4334832" y="635743"/>
                  <a:pt x="4339622" y="630953"/>
                  <a:pt x="4345568" y="630953"/>
                </a:cubicBezTo>
                <a:close/>
                <a:moveTo>
                  <a:pt x="3849033" y="628640"/>
                </a:moveTo>
                <a:cubicBezTo>
                  <a:pt x="3854979" y="628640"/>
                  <a:pt x="3859769" y="633430"/>
                  <a:pt x="3859769" y="639376"/>
                </a:cubicBezTo>
                <a:cubicBezTo>
                  <a:pt x="3859769" y="645323"/>
                  <a:pt x="3854979" y="650114"/>
                  <a:pt x="3849033" y="650114"/>
                </a:cubicBezTo>
                <a:cubicBezTo>
                  <a:pt x="3843086" y="650114"/>
                  <a:pt x="3838296" y="645323"/>
                  <a:pt x="3838296" y="639376"/>
                </a:cubicBezTo>
                <a:cubicBezTo>
                  <a:pt x="3838296" y="633430"/>
                  <a:pt x="3843086" y="628640"/>
                  <a:pt x="3849033" y="628640"/>
                </a:cubicBezTo>
                <a:close/>
                <a:moveTo>
                  <a:pt x="4454423" y="621207"/>
                </a:moveTo>
                <a:cubicBezTo>
                  <a:pt x="4460370" y="621207"/>
                  <a:pt x="4465160" y="625997"/>
                  <a:pt x="4465160" y="631943"/>
                </a:cubicBezTo>
                <a:cubicBezTo>
                  <a:pt x="4465160" y="637890"/>
                  <a:pt x="4460370" y="642681"/>
                  <a:pt x="4454423" y="642681"/>
                </a:cubicBezTo>
                <a:lnTo>
                  <a:pt x="4451284" y="639543"/>
                </a:lnTo>
                <a:lnTo>
                  <a:pt x="4441538" y="649287"/>
                </a:lnTo>
                <a:lnTo>
                  <a:pt x="4439225" y="646974"/>
                </a:lnTo>
                <a:lnTo>
                  <a:pt x="4431131" y="655069"/>
                </a:lnTo>
                <a:lnTo>
                  <a:pt x="4428489" y="652426"/>
                </a:lnTo>
                <a:lnTo>
                  <a:pt x="4419405" y="661511"/>
                </a:lnTo>
                <a:cubicBezTo>
                  <a:pt x="4413458" y="661511"/>
                  <a:pt x="4408669" y="656720"/>
                  <a:pt x="4408669" y="650773"/>
                </a:cubicBezTo>
                <a:cubicBezTo>
                  <a:pt x="4408669" y="644827"/>
                  <a:pt x="4413458" y="640037"/>
                  <a:pt x="4419405" y="640037"/>
                </a:cubicBezTo>
                <a:lnTo>
                  <a:pt x="4422048" y="642680"/>
                </a:lnTo>
                <a:lnTo>
                  <a:pt x="4431131" y="633594"/>
                </a:lnTo>
                <a:lnTo>
                  <a:pt x="4433445" y="635908"/>
                </a:lnTo>
                <a:lnTo>
                  <a:pt x="4441538" y="627814"/>
                </a:lnTo>
                <a:lnTo>
                  <a:pt x="4444677" y="630953"/>
                </a:lnTo>
                <a:close/>
                <a:moveTo>
                  <a:pt x="4380256" y="618233"/>
                </a:moveTo>
                <a:cubicBezTo>
                  <a:pt x="4386202" y="618233"/>
                  <a:pt x="4390992" y="623023"/>
                  <a:pt x="4390992" y="628969"/>
                </a:cubicBezTo>
                <a:cubicBezTo>
                  <a:pt x="4390992" y="634916"/>
                  <a:pt x="4386202" y="639707"/>
                  <a:pt x="4380256" y="639707"/>
                </a:cubicBezTo>
                <a:cubicBezTo>
                  <a:pt x="4374309" y="639707"/>
                  <a:pt x="4369519" y="634916"/>
                  <a:pt x="4369519" y="628969"/>
                </a:cubicBezTo>
                <a:cubicBezTo>
                  <a:pt x="4369519" y="623023"/>
                  <a:pt x="4374309" y="618233"/>
                  <a:pt x="4380256" y="618233"/>
                </a:cubicBezTo>
                <a:close/>
                <a:moveTo>
                  <a:pt x="4248607" y="617903"/>
                </a:moveTo>
                <a:cubicBezTo>
                  <a:pt x="4254553" y="617903"/>
                  <a:pt x="4259343" y="622693"/>
                  <a:pt x="4259343" y="628640"/>
                </a:cubicBezTo>
                <a:cubicBezTo>
                  <a:pt x="4259343" y="634586"/>
                  <a:pt x="4254553" y="639376"/>
                  <a:pt x="4248607" y="639376"/>
                </a:cubicBezTo>
                <a:cubicBezTo>
                  <a:pt x="4242660" y="639376"/>
                  <a:pt x="4237870" y="634586"/>
                  <a:pt x="4237870" y="628640"/>
                </a:cubicBezTo>
                <a:cubicBezTo>
                  <a:pt x="4237870" y="622693"/>
                  <a:pt x="4242660" y="617903"/>
                  <a:pt x="4248607" y="617903"/>
                </a:cubicBezTo>
                <a:close/>
                <a:moveTo>
                  <a:pt x="279301" y="616415"/>
                </a:moveTo>
                <a:cubicBezTo>
                  <a:pt x="285247" y="616415"/>
                  <a:pt x="290037" y="621205"/>
                  <a:pt x="290037" y="627152"/>
                </a:cubicBezTo>
                <a:cubicBezTo>
                  <a:pt x="290037" y="633098"/>
                  <a:pt x="285247" y="637890"/>
                  <a:pt x="279301" y="637890"/>
                </a:cubicBezTo>
                <a:cubicBezTo>
                  <a:pt x="273354" y="637890"/>
                  <a:pt x="268564" y="633098"/>
                  <a:pt x="268564" y="627152"/>
                </a:cubicBezTo>
                <a:cubicBezTo>
                  <a:pt x="268564" y="621205"/>
                  <a:pt x="273354" y="616415"/>
                  <a:pt x="279301" y="616415"/>
                </a:cubicBezTo>
                <a:close/>
                <a:moveTo>
                  <a:pt x="4091024" y="615094"/>
                </a:moveTo>
                <a:cubicBezTo>
                  <a:pt x="4096971" y="615094"/>
                  <a:pt x="4101761" y="619884"/>
                  <a:pt x="4101761" y="625830"/>
                </a:cubicBezTo>
                <a:cubicBezTo>
                  <a:pt x="4101761" y="631777"/>
                  <a:pt x="4096971" y="636568"/>
                  <a:pt x="4091024" y="636568"/>
                </a:cubicBezTo>
                <a:cubicBezTo>
                  <a:pt x="4085078" y="636568"/>
                  <a:pt x="4080288" y="631777"/>
                  <a:pt x="4080288" y="625830"/>
                </a:cubicBezTo>
                <a:cubicBezTo>
                  <a:pt x="4080288" y="619884"/>
                  <a:pt x="4085078" y="615094"/>
                  <a:pt x="4091024" y="615094"/>
                </a:cubicBezTo>
                <a:close/>
                <a:moveTo>
                  <a:pt x="4472757" y="612782"/>
                </a:moveTo>
                <a:cubicBezTo>
                  <a:pt x="4478704" y="612782"/>
                  <a:pt x="4483495" y="617572"/>
                  <a:pt x="4483495" y="623519"/>
                </a:cubicBezTo>
                <a:cubicBezTo>
                  <a:pt x="4483495" y="629465"/>
                  <a:pt x="4478704" y="634257"/>
                  <a:pt x="4472757" y="634257"/>
                </a:cubicBezTo>
                <a:cubicBezTo>
                  <a:pt x="4466811" y="634257"/>
                  <a:pt x="4462021" y="629465"/>
                  <a:pt x="4462021" y="623519"/>
                </a:cubicBezTo>
                <a:cubicBezTo>
                  <a:pt x="4462021" y="617572"/>
                  <a:pt x="4466811" y="612782"/>
                  <a:pt x="4472757" y="612782"/>
                </a:cubicBezTo>
                <a:close/>
                <a:moveTo>
                  <a:pt x="4498857" y="602871"/>
                </a:moveTo>
                <a:cubicBezTo>
                  <a:pt x="4503978" y="602871"/>
                  <a:pt x="4508107" y="607000"/>
                  <a:pt x="4508107" y="612122"/>
                </a:cubicBezTo>
                <a:cubicBezTo>
                  <a:pt x="4508107" y="617242"/>
                  <a:pt x="4503978" y="621372"/>
                  <a:pt x="4498857" y="621372"/>
                </a:cubicBezTo>
                <a:cubicBezTo>
                  <a:pt x="4493736" y="621372"/>
                  <a:pt x="4489607" y="617242"/>
                  <a:pt x="4489607" y="612122"/>
                </a:cubicBezTo>
                <a:cubicBezTo>
                  <a:pt x="4489607" y="607000"/>
                  <a:pt x="4493736" y="602871"/>
                  <a:pt x="4498857" y="602871"/>
                </a:cubicBezTo>
                <a:close/>
                <a:moveTo>
                  <a:pt x="3210938" y="601385"/>
                </a:moveTo>
                <a:cubicBezTo>
                  <a:pt x="3216885" y="601385"/>
                  <a:pt x="3221675" y="606175"/>
                  <a:pt x="3221675" y="612122"/>
                </a:cubicBezTo>
                <a:cubicBezTo>
                  <a:pt x="3221675" y="618068"/>
                  <a:pt x="3216885" y="622858"/>
                  <a:pt x="3210938" y="622858"/>
                </a:cubicBezTo>
                <a:cubicBezTo>
                  <a:pt x="3204992" y="622858"/>
                  <a:pt x="3200202" y="618068"/>
                  <a:pt x="3200202" y="612122"/>
                </a:cubicBezTo>
                <a:cubicBezTo>
                  <a:pt x="3200202" y="606175"/>
                  <a:pt x="3204992" y="601385"/>
                  <a:pt x="3210938" y="601385"/>
                </a:cubicBezTo>
                <a:close/>
                <a:moveTo>
                  <a:pt x="4439225" y="598081"/>
                </a:moveTo>
                <a:cubicBezTo>
                  <a:pt x="4445171" y="598081"/>
                  <a:pt x="4449963" y="602871"/>
                  <a:pt x="4449963" y="608818"/>
                </a:cubicBezTo>
                <a:cubicBezTo>
                  <a:pt x="4449963" y="614764"/>
                  <a:pt x="4445171" y="619556"/>
                  <a:pt x="4439225" y="619556"/>
                </a:cubicBezTo>
                <a:lnTo>
                  <a:pt x="4435179" y="615510"/>
                </a:lnTo>
                <a:lnTo>
                  <a:pt x="4426838" y="623850"/>
                </a:lnTo>
                <a:lnTo>
                  <a:pt x="4423038" y="620050"/>
                </a:lnTo>
                <a:lnTo>
                  <a:pt x="4415605" y="627483"/>
                </a:lnTo>
                <a:lnTo>
                  <a:pt x="4410980" y="622858"/>
                </a:lnTo>
                <a:lnTo>
                  <a:pt x="4401730" y="632110"/>
                </a:lnTo>
                <a:cubicBezTo>
                  <a:pt x="4395784" y="632110"/>
                  <a:pt x="4390994" y="627318"/>
                  <a:pt x="4390994" y="621372"/>
                </a:cubicBezTo>
                <a:cubicBezTo>
                  <a:pt x="4390994" y="615425"/>
                  <a:pt x="4395784" y="610635"/>
                  <a:pt x="4401730" y="610635"/>
                </a:cubicBezTo>
                <a:lnTo>
                  <a:pt x="4406355" y="615260"/>
                </a:lnTo>
                <a:lnTo>
                  <a:pt x="4415605" y="606010"/>
                </a:lnTo>
                <a:lnTo>
                  <a:pt x="4419403" y="609810"/>
                </a:lnTo>
                <a:lnTo>
                  <a:pt x="4426838" y="602375"/>
                </a:lnTo>
                <a:lnTo>
                  <a:pt x="4430885" y="606423"/>
                </a:lnTo>
                <a:close/>
                <a:moveTo>
                  <a:pt x="4313193" y="597917"/>
                </a:moveTo>
                <a:cubicBezTo>
                  <a:pt x="4319139" y="597917"/>
                  <a:pt x="4323931" y="602707"/>
                  <a:pt x="4323931" y="608653"/>
                </a:cubicBezTo>
                <a:cubicBezTo>
                  <a:pt x="4323931" y="614600"/>
                  <a:pt x="4319139" y="619390"/>
                  <a:pt x="4313193" y="619390"/>
                </a:cubicBezTo>
                <a:cubicBezTo>
                  <a:pt x="4307246" y="619390"/>
                  <a:pt x="4302457" y="614600"/>
                  <a:pt x="4302457" y="608653"/>
                </a:cubicBezTo>
                <a:cubicBezTo>
                  <a:pt x="4302457" y="602707"/>
                  <a:pt x="4307246" y="597917"/>
                  <a:pt x="4313193" y="597917"/>
                </a:cubicBezTo>
                <a:close/>
                <a:moveTo>
                  <a:pt x="3750584" y="593786"/>
                </a:moveTo>
                <a:cubicBezTo>
                  <a:pt x="3756531" y="593786"/>
                  <a:pt x="3761323" y="598576"/>
                  <a:pt x="3761323" y="604522"/>
                </a:cubicBezTo>
                <a:cubicBezTo>
                  <a:pt x="3761323" y="610469"/>
                  <a:pt x="3756531" y="615259"/>
                  <a:pt x="3750584" y="615259"/>
                </a:cubicBezTo>
                <a:cubicBezTo>
                  <a:pt x="3744638" y="615259"/>
                  <a:pt x="3739848" y="610469"/>
                  <a:pt x="3739848" y="604522"/>
                </a:cubicBezTo>
                <a:cubicBezTo>
                  <a:pt x="3739848" y="598576"/>
                  <a:pt x="3744638" y="593786"/>
                  <a:pt x="3750584" y="593786"/>
                </a:cubicBezTo>
                <a:close/>
                <a:moveTo>
                  <a:pt x="4456074" y="591804"/>
                </a:moveTo>
                <a:cubicBezTo>
                  <a:pt x="4462021" y="591804"/>
                  <a:pt x="4466811" y="596594"/>
                  <a:pt x="4466811" y="602540"/>
                </a:cubicBezTo>
                <a:cubicBezTo>
                  <a:pt x="4466811" y="608487"/>
                  <a:pt x="4462021" y="613276"/>
                  <a:pt x="4456074" y="613276"/>
                </a:cubicBezTo>
                <a:cubicBezTo>
                  <a:pt x="4450128" y="613276"/>
                  <a:pt x="4445338" y="608487"/>
                  <a:pt x="4445338" y="602540"/>
                </a:cubicBezTo>
                <a:cubicBezTo>
                  <a:pt x="4445338" y="596594"/>
                  <a:pt x="4450128" y="591804"/>
                  <a:pt x="4456074" y="591804"/>
                </a:cubicBezTo>
                <a:close/>
                <a:moveTo>
                  <a:pt x="4355315" y="586188"/>
                </a:moveTo>
                <a:cubicBezTo>
                  <a:pt x="4361261" y="586188"/>
                  <a:pt x="4366051" y="590978"/>
                  <a:pt x="4366051" y="596925"/>
                </a:cubicBezTo>
                <a:cubicBezTo>
                  <a:pt x="4366051" y="602871"/>
                  <a:pt x="4361261" y="607663"/>
                  <a:pt x="4355315" y="607663"/>
                </a:cubicBezTo>
                <a:cubicBezTo>
                  <a:pt x="4349368" y="607663"/>
                  <a:pt x="4344578" y="602871"/>
                  <a:pt x="4344578" y="596925"/>
                </a:cubicBezTo>
                <a:cubicBezTo>
                  <a:pt x="4344578" y="590978"/>
                  <a:pt x="4349368" y="586188"/>
                  <a:pt x="4355315" y="586188"/>
                </a:cubicBezTo>
                <a:close/>
                <a:moveTo>
                  <a:pt x="433744" y="584371"/>
                </a:moveTo>
                <a:cubicBezTo>
                  <a:pt x="439690" y="584371"/>
                  <a:pt x="444482" y="589161"/>
                  <a:pt x="444482" y="595107"/>
                </a:cubicBezTo>
                <a:cubicBezTo>
                  <a:pt x="444482" y="601054"/>
                  <a:pt x="439690" y="605845"/>
                  <a:pt x="433744" y="605845"/>
                </a:cubicBezTo>
                <a:cubicBezTo>
                  <a:pt x="427797" y="605845"/>
                  <a:pt x="423007" y="601054"/>
                  <a:pt x="423007" y="595107"/>
                </a:cubicBezTo>
                <a:cubicBezTo>
                  <a:pt x="423007" y="589161"/>
                  <a:pt x="427797" y="584371"/>
                  <a:pt x="433744" y="584371"/>
                </a:cubicBezTo>
                <a:close/>
                <a:moveTo>
                  <a:pt x="4200870" y="583379"/>
                </a:moveTo>
                <a:cubicBezTo>
                  <a:pt x="4206816" y="583379"/>
                  <a:pt x="4211606" y="588169"/>
                  <a:pt x="4211606" y="594115"/>
                </a:cubicBezTo>
                <a:cubicBezTo>
                  <a:pt x="4211606" y="600062"/>
                  <a:pt x="4206816" y="604854"/>
                  <a:pt x="4200870" y="604854"/>
                </a:cubicBezTo>
                <a:cubicBezTo>
                  <a:pt x="4194923" y="604854"/>
                  <a:pt x="4190133" y="600062"/>
                  <a:pt x="4190133" y="594115"/>
                </a:cubicBezTo>
                <a:cubicBezTo>
                  <a:pt x="4190133" y="588169"/>
                  <a:pt x="4194923" y="583379"/>
                  <a:pt x="4200870" y="583379"/>
                </a:cubicBezTo>
                <a:close/>
                <a:moveTo>
                  <a:pt x="4479696" y="582885"/>
                </a:moveTo>
                <a:cubicBezTo>
                  <a:pt x="4485642" y="582885"/>
                  <a:pt x="4490432" y="587675"/>
                  <a:pt x="4490432" y="593621"/>
                </a:cubicBezTo>
                <a:cubicBezTo>
                  <a:pt x="4490432" y="599568"/>
                  <a:pt x="4485642" y="604359"/>
                  <a:pt x="4479696" y="604359"/>
                </a:cubicBezTo>
                <a:cubicBezTo>
                  <a:pt x="4473749" y="604359"/>
                  <a:pt x="4468959" y="599568"/>
                  <a:pt x="4468959" y="593621"/>
                </a:cubicBezTo>
                <a:cubicBezTo>
                  <a:pt x="4468959" y="587675"/>
                  <a:pt x="4473749" y="582885"/>
                  <a:pt x="4479696" y="582885"/>
                </a:cubicBezTo>
                <a:close/>
                <a:moveTo>
                  <a:pt x="4021647" y="579746"/>
                </a:moveTo>
                <a:cubicBezTo>
                  <a:pt x="4027593" y="579746"/>
                  <a:pt x="4032385" y="584536"/>
                  <a:pt x="4032385" y="590482"/>
                </a:cubicBezTo>
                <a:cubicBezTo>
                  <a:pt x="4032385" y="596429"/>
                  <a:pt x="4027593" y="601220"/>
                  <a:pt x="4021647" y="601220"/>
                </a:cubicBezTo>
                <a:cubicBezTo>
                  <a:pt x="4015700" y="601220"/>
                  <a:pt x="4010910" y="596429"/>
                  <a:pt x="4010910" y="590482"/>
                </a:cubicBezTo>
                <a:cubicBezTo>
                  <a:pt x="4010910" y="584536"/>
                  <a:pt x="4015700" y="579746"/>
                  <a:pt x="4021647" y="579746"/>
                </a:cubicBezTo>
                <a:close/>
                <a:moveTo>
                  <a:pt x="4439556" y="569670"/>
                </a:moveTo>
                <a:cubicBezTo>
                  <a:pt x="4445503" y="569670"/>
                  <a:pt x="4450292" y="574460"/>
                  <a:pt x="4450292" y="580407"/>
                </a:cubicBezTo>
                <a:cubicBezTo>
                  <a:pt x="4450292" y="586353"/>
                  <a:pt x="4445503" y="591145"/>
                  <a:pt x="4439556" y="591145"/>
                </a:cubicBezTo>
                <a:lnTo>
                  <a:pt x="4433693" y="585282"/>
                </a:lnTo>
                <a:lnTo>
                  <a:pt x="4424030" y="594944"/>
                </a:lnTo>
                <a:lnTo>
                  <a:pt x="4418909" y="589823"/>
                </a:lnTo>
                <a:lnTo>
                  <a:pt x="4411641" y="597091"/>
                </a:lnTo>
                <a:lnTo>
                  <a:pt x="4406107" y="591556"/>
                </a:lnTo>
                <a:lnTo>
                  <a:pt x="4398921" y="598741"/>
                </a:lnTo>
                <a:lnTo>
                  <a:pt x="4391819" y="591641"/>
                </a:lnTo>
                <a:lnTo>
                  <a:pt x="4381908" y="601550"/>
                </a:lnTo>
                <a:cubicBezTo>
                  <a:pt x="4375962" y="601550"/>
                  <a:pt x="4371172" y="596760"/>
                  <a:pt x="4371172" y="590814"/>
                </a:cubicBezTo>
                <a:cubicBezTo>
                  <a:pt x="4371172" y="584867"/>
                  <a:pt x="4375962" y="580077"/>
                  <a:pt x="4381908" y="580077"/>
                </a:cubicBezTo>
                <a:lnTo>
                  <a:pt x="4389010" y="587179"/>
                </a:lnTo>
                <a:lnTo>
                  <a:pt x="4398921" y="577268"/>
                </a:lnTo>
                <a:lnTo>
                  <a:pt x="4404456" y="582802"/>
                </a:lnTo>
                <a:lnTo>
                  <a:pt x="4411641" y="575617"/>
                </a:lnTo>
                <a:lnTo>
                  <a:pt x="4416762" y="580738"/>
                </a:lnTo>
                <a:lnTo>
                  <a:pt x="4424030" y="573470"/>
                </a:lnTo>
                <a:lnTo>
                  <a:pt x="4429893" y="579333"/>
                </a:lnTo>
                <a:close/>
                <a:moveTo>
                  <a:pt x="3050712" y="569670"/>
                </a:moveTo>
                <a:cubicBezTo>
                  <a:pt x="3056658" y="569670"/>
                  <a:pt x="3061450" y="574460"/>
                  <a:pt x="3061450" y="580407"/>
                </a:cubicBezTo>
                <a:cubicBezTo>
                  <a:pt x="3061450" y="586353"/>
                  <a:pt x="3056658" y="591145"/>
                  <a:pt x="3050712" y="591145"/>
                </a:cubicBezTo>
                <a:cubicBezTo>
                  <a:pt x="3044765" y="591145"/>
                  <a:pt x="3039975" y="586353"/>
                  <a:pt x="3039975" y="580407"/>
                </a:cubicBezTo>
                <a:cubicBezTo>
                  <a:pt x="3039975" y="574460"/>
                  <a:pt x="3044765" y="569670"/>
                  <a:pt x="3050712" y="569670"/>
                </a:cubicBezTo>
                <a:close/>
                <a:moveTo>
                  <a:pt x="4276686" y="563724"/>
                </a:moveTo>
                <a:cubicBezTo>
                  <a:pt x="4282633" y="563724"/>
                  <a:pt x="4287425" y="568514"/>
                  <a:pt x="4287425" y="574460"/>
                </a:cubicBezTo>
                <a:cubicBezTo>
                  <a:pt x="4287425" y="580407"/>
                  <a:pt x="4282633" y="585198"/>
                  <a:pt x="4276686" y="585198"/>
                </a:cubicBezTo>
                <a:cubicBezTo>
                  <a:pt x="4270740" y="585198"/>
                  <a:pt x="4265950" y="580407"/>
                  <a:pt x="4265950" y="574460"/>
                </a:cubicBezTo>
                <a:cubicBezTo>
                  <a:pt x="4265950" y="568514"/>
                  <a:pt x="4270740" y="563724"/>
                  <a:pt x="4276686" y="563724"/>
                </a:cubicBezTo>
                <a:close/>
                <a:moveTo>
                  <a:pt x="4490928" y="563228"/>
                </a:moveTo>
                <a:cubicBezTo>
                  <a:pt x="4491259" y="563228"/>
                  <a:pt x="4491259" y="563228"/>
                  <a:pt x="4491259" y="563559"/>
                </a:cubicBezTo>
                <a:cubicBezTo>
                  <a:pt x="4491259" y="563889"/>
                  <a:pt x="4490928" y="563889"/>
                  <a:pt x="4490928" y="563889"/>
                </a:cubicBezTo>
                <a:cubicBezTo>
                  <a:pt x="4490598" y="563889"/>
                  <a:pt x="4490598" y="563889"/>
                  <a:pt x="4490598" y="563559"/>
                </a:cubicBezTo>
                <a:cubicBezTo>
                  <a:pt x="4490598" y="563228"/>
                  <a:pt x="4490598" y="563228"/>
                  <a:pt x="4490928" y="563228"/>
                </a:cubicBezTo>
                <a:close/>
                <a:moveTo>
                  <a:pt x="4461195" y="563063"/>
                </a:moveTo>
                <a:cubicBezTo>
                  <a:pt x="4467142" y="563063"/>
                  <a:pt x="4471932" y="567853"/>
                  <a:pt x="4471932" y="573799"/>
                </a:cubicBezTo>
                <a:cubicBezTo>
                  <a:pt x="4471932" y="579746"/>
                  <a:pt x="4467142" y="584536"/>
                  <a:pt x="4461195" y="584536"/>
                </a:cubicBezTo>
                <a:cubicBezTo>
                  <a:pt x="4455249" y="584536"/>
                  <a:pt x="4450459" y="579746"/>
                  <a:pt x="4450459" y="573799"/>
                </a:cubicBezTo>
                <a:cubicBezTo>
                  <a:pt x="4450459" y="567853"/>
                  <a:pt x="4455249" y="563063"/>
                  <a:pt x="4461195" y="563063"/>
                </a:cubicBezTo>
                <a:close/>
                <a:moveTo>
                  <a:pt x="3642226" y="558603"/>
                </a:moveTo>
                <a:cubicBezTo>
                  <a:pt x="3648172" y="558603"/>
                  <a:pt x="3652964" y="563393"/>
                  <a:pt x="3652964" y="569339"/>
                </a:cubicBezTo>
                <a:cubicBezTo>
                  <a:pt x="3652964" y="575286"/>
                  <a:pt x="3648172" y="580077"/>
                  <a:pt x="3642226" y="580077"/>
                </a:cubicBezTo>
                <a:cubicBezTo>
                  <a:pt x="3636279" y="580077"/>
                  <a:pt x="3631489" y="575286"/>
                  <a:pt x="3631489" y="569339"/>
                </a:cubicBezTo>
                <a:cubicBezTo>
                  <a:pt x="3631489" y="563393"/>
                  <a:pt x="3636279" y="558603"/>
                  <a:pt x="3642226" y="558603"/>
                </a:cubicBezTo>
                <a:close/>
                <a:moveTo>
                  <a:pt x="600907" y="553152"/>
                </a:moveTo>
                <a:cubicBezTo>
                  <a:pt x="606854" y="553152"/>
                  <a:pt x="611644" y="557942"/>
                  <a:pt x="611644" y="563889"/>
                </a:cubicBezTo>
                <a:cubicBezTo>
                  <a:pt x="611644" y="569835"/>
                  <a:pt x="606854" y="574627"/>
                  <a:pt x="600907" y="574627"/>
                </a:cubicBezTo>
                <a:cubicBezTo>
                  <a:pt x="594961" y="574627"/>
                  <a:pt x="590171" y="569835"/>
                  <a:pt x="590171" y="563889"/>
                </a:cubicBezTo>
                <a:cubicBezTo>
                  <a:pt x="590171" y="557942"/>
                  <a:pt x="594961" y="553152"/>
                  <a:pt x="600907" y="553152"/>
                </a:cubicBezTo>
                <a:close/>
                <a:moveTo>
                  <a:pt x="4327398" y="552987"/>
                </a:moveTo>
                <a:cubicBezTo>
                  <a:pt x="4333344" y="552987"/>
                  <a:pt x="4338134" y="557777"/>
                  <a:pt x="4338134" y="563724"/>
                </a:cubicBezTo>
                <a:cubicBezTo>
                  <a:pt x="4338134" y="569670"/>
                  <a:pt x="4333344" y="574460"/>
                  <a:pt x="4327398" y="574460"/>
                </a:cubicBezTo>
                <a:cubicBezTo>
                  <a:pt x="4321451" y="574460"/>
                  <a:pt x="4316661" y="569670"/>
                  <a:pt x="4316661" y="563724"/>
                </a:cubicBezTo>
                <a:cubicBezTo>
                  <a:pt x="4316661" y="557777"/>
                  <a:pt x="4321451" y="552987"/>
                  <a:pt x="4327398" y="552987"/>
                </a:cubicBezTo>
                <a:close/>
                <a:moveTo>
                  <a:pt x="4359940" y="548196"/>
                </a:moveTo>
                <a:cubicBezTo>
                  <a:pt x="4365886" y="548196"/>
                  <a:pt x="4370676" y="552986"/>
                  <a:pt x="4370676" y="558932"/>
                </a:cubicBezTo>
                <a:cubicBezTo>
                  <a:pt x="4370676" y="564879"/>
                  <a:pt x="4365886" y="569669"/>
                  <a:pt x="4359940" y="569669"/>
                </a:cubicBezTo>
                <a:cubicBezTo>
                  <a:pt x="4353993" y="569669"/>
                  <a:pt x="4349203" y="564879"/>
                  <a:pt x="4349203" y="558932"/>
                </a:cubicBezTo>
                <a:cubicBezTo>
                  <a:pt x="4349203" y="552986"/>
                  <a:pt x="4353993" y="548196"/>
                  <a:pt x="4359940" y="548196"/>
                </a:cubicBezTo>
                <a:close/>
                <a:moveTo>
                  <a:pt x="4147184" y="547535"/>
                </a:moveTo>
                <a:cubicBezTo>
                  <a:pt x="4153131" y="547535"/>
                  <a:pt x="4157921" y="552325"/>
                  <a:pt x="4157921" y="558272"/>
                </a:cubicBezTo>
                <a:cubicBezTo>
                  <a:pt x="4157921" y="564218"/>
                  <a:pt x="4153131" y="569010"/>
                  <a:pt x="4147184" y="569010"/>
                </a:cubicBezTo>
                <a:cubicBezTo>
                  <a:pt x="4141238" y="569010"/>
                  <a:pt x="4136448" y="564218"/>
                  <a:pt x="4136448" y="558272"/>
                </a:cubicBezTo>
                <a:cubicBezTo>
                  <a:pt x="4136448" y="552325"/>
                  <a:pt x="4141238" y="547535"/>
                  <a:pt x="4147184" y="547535"/>
                </a:cubicBezTo>
                <a:close/>
                <a:moveTo>
                  <a:pt x="4423203" y="546380"/>
                </a:moveTo>
                <a:cubicBezTo>
                  <a:pt x="4429149" y="546380"/>
                  <a:pt x="4433941" y="551170"/>
                  <a:pt x="4433941" y="557116"/>
                </a:cubicBezTo>
                <a:cubicBezTo>
                  <a:pt x="4433941" y="563063"/>
                  <a:pt x="4429149" y="567853"/>
                  <a:pt x="4423203" y="567853"/>
                </a:cubicBezTo>
                <a:lnTo>
                  <a:pt x="4416431" y="561083"/>
                </a:lnTo>
                <a:lnTo>
                  <a:pt x="4408337" y="569174"/>
                </a:lnTo>
                <a:lnTo>
                  <a:pt x="4401730" y="562567"/>
                </a:lnTo>
                <a:lnTo>
                  <a:pt x="4395288" y="569010"/>
                </a:lnTo>
                <a:lnTo>
                  <a:pt x="4387772" y="561494"/>
                </a:lnTo>
                <a:lnTo>
                  <a:pt x="4380752" y="568514"/>
                </a:lnTo>
                <a:cubicBezTo>
                  <a:pt x="4374805" y="568514"/>
                  <a:pt x="4370015" y="563724"/>
                  <a:pt x="4370015" y="557777"/>
                </a:cubicBezTo>
                <a:cubicBezTo>
                  <a:pt x="4370015" y="551831"/>
                  <a:pt x="4374805" y="547041"/>
                  <a:pt x="4380752" y="547041"/>
                </a:cubicBezTo>
                <a:lnTo>
                  <a:pt x="4388266" y="554557"/>
                </a:lnTo>
                <a:lnTo>
                  <a:pt x="4395288" y="547535"/>
                </a:lnTo>
                <a:lnTo>
                  <a:pt x="4401897" y="554142"/>
                </a:lnTo>
                <a:lnTo>
                  <a:pt x="4408337" y="547702"/>
                </a:lnTo>
                <a:lnTo>
                  <a:pt x="4415109" y="554474"/>
                </a:lnTo>
                <a:close/>
                <a:moveTo>
                  <a:pt x="3944342" y="543571"/>
                </a:moveTo>
                <a:cubicBezTo>
                  <a:pt x="3950288" y="543571"/>
                  <a:pt x="3955078" y="548361"/>
                  <a:pt x="3955078" y="554307"/>
                </a:cubicBezTo>
                <a:cubicBezTo>
                  <a:pt x="3955078" y="560254"/>
                  <a:pt x="3950288" y="565044"/>
                  <a:pt x="3944342" y="565044"/>
                </a:cubicBezTo>
                <a:cubicBezTo>
                  <a:pt x="3938395" y="565044"/>
                  <a:pt x="3933605" y="560254"/>
                  <a:pt x="3933605" y="554307"/>
                </a:cubicBezTo>
                <a:cubicBezTo>
                  <a:pt x="3933605" y="548361"/>
                  <a:pt x="3938395" y="543571"/>
                  <a:pt x="3944342" y="543571"/>
                </a:cubicBezTo>
                <a:close/>
                <a:moveTo>
                  <a:pt x="4443191" y="542249"/>
                </a:moveTo>
                <a:cubicBezTo>
                  <a:pt x="4449138" y="542249"/>
                  <a:pt x="4453927" y="547039"/>
                  <a:pt x="4453927" y="552986"/>
                </a:cubicBezTo>
                <a:cubicBezTo>
                  <a:pt x="4453927" y="558932"/>
                  <a:pt x="4449138" y="563722"/>
                  <a:pt x="4443191" y="563722"/>
                </a:cubicBezTo>
                <a:cubicBezTo>
                  <a:pt x="4437244" y="563722"/>
                  <a:pt x="4432455" y="558932"/>
                  <a:pt x="4432455" y="552986"/>
                </a:cubicBezTo>
                <a:cubicBezTo>
                  <a:pt x="4432455" y="547039"/>
                  <a:pt x="4437244" y="542249"/>
                  <a:pt x="4443191" y="542249"/>
                </a:cubicBezTo>
                <a:close/>
                <a:moveTo>
                  <a:pt x="2877437" y="539277"/>
                </a:moveTo>
                <a:cubicBezTo>
                  <a:pt x="2883383" y="539277"/>
                  <a:pt x="2888175" y="544067"/>
                  <a:pt x="2888175" y="550013"/>
                </a:cubicBezTo>
                <a:cubicBezTo>
                  <a:pt x="2888175" y="555960"/>
                  <a:pt x="2883383" y="560751"/>
                  <a:pt x="2877437" y="560751"/>
                </a:cubicBezTo>
                <a:cubicBezTo>
                  <a:pt x="2871490" y="560751"/>
                  <a:pt x="2866700" y="555960"/>
                  <a:pt x="2866700" y="550013"/>
                </a:cubicBezTo>
                <a:cubicBezTo>
                  <a:pt x="2866700" y="544067"/>
                  <a:pt x="2871490" y="539277"/>
                  <a:pt x="2877437" y="539277"/>
                </a:cubicBezTo>
                <a:close/>
                <a:moveTo>
                  <a:pt x="4470445" y="535477"/>
                </a:moveTo>
                <a:cubicBezTo>
                  <a:pt x="4475827" y="535477"/>
                  <a:pt x="4480190" y="539841"/>
                  <a:pt x="4480190" y="545223"/>
                </a:cubicBezTo>
                <a:cubicBezTo>
                  <a:pt x="4480190" y="550605"/>
                  <a:pt x="4475827" y="554968"/>
                  <a:pt x="4470445" y="554968"/>
                </a:cubicBezTo>
                <a:cubicBezTo>
                  <a:pt x="4465063" y="554968"/>
                  <a:pt x="4460699" y="550605"/>
                  <a:pt x="4460699" y="545223"/>
                </a:cubicBezTo>
                <a:cubicBezTo>
                  <a:pt x="4460699" y="539841"/>
                  <a:pt x="4465063" y="535477"/>
                  <a:pt x="4470445" y="535477"/>
                </a:cubicBezTo>
                <a:close/>
                <a:moveTo>
                  <a:pt x="4235557" y="528209"/>
                </a:moveTo>
                <a:cubicBezTo>
                  <a:pt x="4241503" y="528209"/>
                  <a:pt x="4246293" y="532999"/>
                  <a:pt x="4246293" y="538946"/>
                </a:cubicBezTo>
                <a:cubicBezTo>
                  <a:pt x="4246293" y="544892"/>
                  <a:pt x="4241503" y="549682"/>
                  <a:pt x="4235557" y="549682"/>
                </a:cubicBezTo>
                <a:cubicBezTo>
                  <a:pt x="4229610" y="549682"/>
                  <a:pt x="4224820" y="544892"/>
                  <a:pt x="4224820" y="538946"/>
                </a:cubicBezTo>
                <a:cubicBezTo>
                  <a:pt x="4224820" y="532999"/>
                  <a:pt x="4229610" y="528209"/>
                  <a:pt x="4235557" y="528209"/>
                </a:cubicBezTo>
                <a:close/>
                <a:moveTo>
                  <a:pt x="781120" y="523749"/>
                </a:moveTo>
                <a:cubicBezTo>
                  <a:pt x="787067" y="523749"/>
                  <a:pt x="791859" y="528539"/>
                  <a:pt x="791859" y="534485"/>
                </a:cubicBezTo>
                <a:cubicBezTo>
                  <a:pt x="791859" y="540432"/>
                  <a:pt x="787067" y="545223"/>
                  <a:pt x="781120" y="545223"/>
                </a:cubicBezTo>
                <a:cubicBezTo>
                  <a:pt x="775174" y="545223"/>
                  <a:pt x="770384" y="540432"/>
                  <a:pt x="770384" y="534485"/>
                </a:cubicBezTo>
                <a:cubicBezTo>
                  <a:pt x="770384" y="528539"/>
                  <a:pt x="775174" y="523749"/>
                  <a:pt x="781120" y="523749"/>
                </a:cubicBezTo>
                <a:close/>
                <a:moveTo>
                  <a:pt x="3523460" y="522759"/>
                </a:moveTo>
                <a:cubicBezTo>
                  <a:pt x="3529406" y="522759"/>
                  <a:pt x="3534198" y="527549"/>
                  <a:pt x="3534198" y="533495"/>
                </a:cubicBezTo>
                <a:cubicBezTo>
                  <a:pt x="3534198" y="539442"/>
                  <a:pt x="3529406" y="544233"/>
                  <a:pt x="3523460" y="544233"/>
                </a:cubicBezTo>
                <a:cubicBezTo>
                  <a:pt x="3517513" y="544233"/>
                  <a:pt x="3512723" y="539442"/>
                  <a:pt x="3512723" y="533495"/>
                </a:cubicBezTo>
                <a:cubicBezTo>
                  <a:pt x="3512723" y="527549"/>
                  <a:pt x="3517513" y="522759"/>
                  <a:pt x="3523460" y="522759"/>
                </a:cubicBezTo>
                <a:close/>
                <a:moveTo>
                  <a:pt x="4295683" y="518298"/>
                </a:moveTo>
                <a:cubicBezTo>
                  <a:pt x="4301629" y="518298"/>
                  <a:pt x="4306421" y="523088"/>
                  <a:pt x="4306421" y="529035"/>
                </a:cubicBezTo>
                <a:cubicBezTo>
                  <a:pt x="4306421" y="534981"/>
                  <a:pt x="4301629" y="539773"/>
                  <a:pt x="4295683" y="539773"/>
                </a:cubicBezTo>
                <a:cubicBezTo>
                  <a:pt x="4289736" y="539773"/>
                  <a:pt x="4284946" y="534981"/>
                  <a:pt x="4284946" y="529035"/>
                </a:cubicBezTo>
                <a:cubicBezTo>
                  <a:pt x="4284946" y="523088"/>
                  <a:pt x="4289736" y="518298"/>
                  <a:pt x="4295683" y="518298"/>
                </a:cubicBezTo>
                <a:close/>
                <a:moveTo>
                  <a:pt x="4360765" y="515656"/>
                </a:moveTo>
                <a:lnTo>
                  <a:pt x="4370594" y="525483"/>
                </a:lnTo>
                <a:lnTo>
                  <a:pt x="4377944" y="518134"/>
                </a:lnTo>
                <a:lnTo>
                  <a:pt x="4386204" y="526394"/>
                </a:lnTo>
                <a:lnTo>
                  <a:pt x="4391984" y="520612"/>
                </a:lnTo>
                <a:lnTo>
                  <a:pt x="4399829" y="528457"/>
                </a:lnTo>
                <a:lnTo>
                  <a:pt x="4406685" y="521602"/>
                </a:lnTo>
                <a:lnTo>
                  <a:pt x="4415274" y="530192"/>
                </a:lnTo>
                <a:lnTo>
                  <a:pt x="4425350" y="520116"/>
                </a:lnTo>
                <a:cubicBezTo>
                  <a:pt x="4431296" y="520116"/>
                  <a:pt x="4436088" y="524906"/>
                  <a:pt x="4436088" y="530852"/>
                </a:cubicBezTo>
                <a:cubicBezTo>
                  <a:pt x="4436088" y="536799"/>
                  <a:pt x="4431296" y="541590"/>
                  <a:pt x="4425350" y="541590"/>
                </a:cubicBezTo>
                <a:lnTo>
                  <a:pt x="4416760" y="533001"/>
                </a:lnTo>
                <a:lnTo>
                  <a:pt x="4406685" y="543075"/>
                </a:lnTo>
                <a:lnTo>
                  <a:pt x="4398839" y="535229"/>
                </a:lnTo>
                <a:lnTo>
                  <a:pt x="4391984" y="542085"/>
                </a:lnTo>
                <a:lnTo>
                  <a:pt x="4383726" y="533826"/>
                </a:lnTo>
                <a:lnTo>
                  <a:pt x="4377944" y="539606"/>
                </a:lnTo>
                <a:lnTo>
                  <a:pt x="4368116" y="529779"/>
                </a:lnTo>
                <a:lnTo>
                  <a:pt x="4360765" y="537130"/>
                </a:lnTo>
                <a:cubicBezTo>
                  <a:pt x="4354819" y="537130"/>
                  <a:pt x="4350029" y="532339"/>
                  <a:pt x="4350029" y="526392"/>
                </a:cubicBezTo>
                <a:cubicBezTo>
                  <a:pt x="4350029" y="520445"/>
                  <a:pt x="4354819" y="515656"/>
                  <a:pt x="4360765" y="515656"/>
                </a:cubicBezTo>
                <a:close/>
                <a:moveTo>
                  <a:pt x="4450459" y="514995"/>
                </a:moveTo>
                <a:cubicBezTo>
                  <a:pt x="4456405" y="514995"/>
                  <a:pt x="4461195" y="519785"/>
                  <a:pt x="4461195" y="525731"/>
                </a:cubicBezTo>
                <a:cubicBezTo>
                  <a:pt x="4461195" y="531678"/>
                  <a:pt x="4456405" y="536469"/>
                  <a:pt x="4450459" y="536469"/>
                </a:cubicBezTo>
                <a:cubicBezTo>
                  <a:pt x="4444512" y="536469"/>
                  <a:pt x="4439723" y="531678"/>
                  <a:pt x="4439723" y="525731"/>
                </a:cubicBezTo>
                <a:cubicBezTo>
                  <a:pt x="4439723" y="519785"/>
                  <a:pt x="4444512" y="514995"/>
                  <a:pt x="4450459" y="514995"/>
                </a:cubicBezTo>
                <a:close/>
                <a:moveTo>
                  <a:pt x="4335162" y="514995"/>
                </a:moveTo>
                <a:cubicBezTo>
                  <a:pt x="4341108" y="514995"/>
                  <a:pt x="4345898" y="519785"/>
                  <a:pt x="4345898" y="525731"/>
                </a:cubicBezTo>
                <a:cubicBezTo>
                  <a:pt x="4345898" y="531678"/>
                  <a:pt x="4341108" y="536469"/>
                  <a:pt x="4335162" y="536469"/>
                </a:cubicBezTo>
                <a:cubicBezTo>
                  <a:pt x="4329215" y="536469"/>
                  <a:pt x="4324425" y="531678"/>
                  <a:pt x="4324425" y="525731"/>
                </a:cubicBezTo>
                <a:cubicBezTo>
                  <a:pt x="4324425" y="519785"/>
                  <a:pt x="4329215" y="514995"/>
                  <a:pt x="4335162" y="514995"/>
                </a:cubicBezTo>
                <a:close/>
                <a:moveTo>
                  <a:pt x="2691442" y="511030"/>
                </a:moveTo>
                <a:cubicBezTo>
                  <a:pt x="2697388" y="511030"/>
                  <a:pt x="2702180" y="515820"/>
                  <a:pt x="2702180" y="521767"/>
                </a:cubicBezTo>
                <a:cubicBezTo>
                  <a:pt x="2702180" y="527713"/>
                  <a:pt x="2697388" y="532503"/>
                  <a:pt x="2691442" y="532503"/>
                </a:cubicBezTo>
                <a:cubicBezTo>
                  <a:pt x="2685495" y="532503"/>
                  <a:pt x="2680705" y="527713"/>
                  <a:pt x="2680705" y="521767"/>
                </a:cubicBezTo>
                <a:cubicBezTo>
                  <a:pt x="2680705" y="515820"/>
                  <a:pt x="2685495" y="511030"/>
                  <a:pt x="2691442" y="511030"/>
                </a:cubicBezTo>
                <a:close/>
                <a:moveTo>
                  <a:pt x="4087225" y="510699"/>
                </a:moveTo>
                <a:cubicBezTo>
                  <a:pt x="4093171" y="510699"/>
                  <a:pt x="4097963" y="515489"/>
                  <a:pt x="4097963" y="521436"/>
                </a:cubicBezTo>
                <a:cubicBezTo>
                  <a:pt x="4097963" y="527382"/>
                  <a:pt x="4093171" y="532174"/>
                  <a:pt x="4087225" y="532174"/>
                </a:cubicBezTo>
                <a:cubicBezTo>
                  <a:pt x="4081278" y="532174"/>
                  <a:pt x="4076488" y="527382"/>
                  <a:pt x="4076488" y="521436"/>
                </a:cubicBezTo>
                <a:cubicBezTo>
                  <a:pt x="4076488" y="515489"/>
                  <a:pt x="4081278" y="510699"/>
                  <a:pt x="4087225" y="510699"/>
                </a:cubicBezTo>
                <a:close/>
                <a:moveTo>
                  <a:pt x="3858943" y="506405"/>
                </a:moveTo>
                <a:cubicBezTo>
                  <a:pt x="3864890" y="506405"/>
                  <a:pt x="3869682" y="511195"/>
                  <a:pt x="3869682" y="517142"/>
                </a:cubicBezTo>
                <a:cubicBezTo>
                  <a:pt x="3869682" y="523088"/>
                  <a:pt x="3864890" y="527878"/>
                  <a:pt x="3858943" y="527878"/>
                </a:cubicBezTo>
                <a:cubicBezTo>
                  <a:pt x="3852997" y="527878"/>
                  <a:pt x="3848207" y="523088"/>
                  <a:pt x="3848207" y="517142"/>
                </a:cubicBezTo>
                <a:cubicBezTo>
                  <a:pt x="3848207" y="511195"/>
                  <a:pt x="3852997" y="506405"/>
                  <a:pt x="3858943" y="506405"/>
                </a:cubicBezTo>
                <a:close/>
                <a:moveTo>
                  <a:pt x="105034" y="503763"/>
                </a:moveTo>
                <a:cubicBezTo>
                  <a:pt x="110980" y="503763"/>
                  <a:pt x="115772" y="508552"/>
                  <a:pt x="115772" y="514499"/>
                </a:cubicBezTo>
                <a:cubicBezTo>
                  <a:pt x="115772" y="520445"/>
                  <a:pt x="110980" y="525237"/>
                  <a:pt x="105034" y="525237"/>
                </a:cubicBezTo>
                <a:cubicBezTo>
                  <a:pt x="99087" y="525237"/>
                  <a:pt x="94297" y="520445"/>
                  <a:pt x="94297" y="514499"/>
                </a:cubicBezTo>
                <a:cubicBezTo>
                  <a:pt x="94297" y="508552"/>
                  <a:pt x="99087" y="503763"/>
                  <a:pt x="105034" y="503763"/>
                </a:cubicBezTo>
                <a:close/>
                <a:moveTo>
                  <a:pt x="4462021" y="497651"/>
                </a:moveTo>
                <a:cubicBezTo>
                  <a:pt x="4462350" y="497651"/>
                  <a:pt x="4462515" y="497816"/>
                  <a:pt x="4462515" y="498147"/>
                </a:cubicBezTo>
                <a:cubicBezTo>
                  <a:pt x="4462515" y="498477"/>
                  <a:pt x="4462021" y="498643"/>
                  <a:pt x="4462021" y="498643"/>
                </a:cubicBezTo>
                <a:cubicBezTo>
                  <a:pt x="4461690" y="498643"/>
                  <a:pt x="4461525" y="498477"/>
                  <a:pt x="4461525" y="498147"/>
                </a:cubicBezTo>
                <a:cubicBezTo>
                  <a:pt x="4461525" y="497816"/>
                  <a:pt x="4461690" y="497651"/>
                  <a:pt x="4462021" y="497651"/>
                </a:cubicBezTo>
                <a:close/>
                <a:moveTo>
                  <a:pt x="973888" y="497155"/>
                </a:moveTo>
                <a:cubicBezTo>
                  <a:pt x="979834" y="497155"/>
                  <a:pt x="984626" y="501945"/>
                  <a:pt x="984626" y="507892"/>
                </a:cubicBezTo>
                <a:cubicBezTo>
                  <a:pt x="984626" y="513838"/>
                  <a:pt x="979834" y="518630"/>
                  <a:pt x="973888" y="518630"/>
                </a:cubicBezTo>
                <a:cubicBezTo>
                  <a:pt x="967941" y="518630"/>
                  <a:pt x="963151" y="513838"/>
                  <a:pt x="963151" y="507892"/>
                </a:cubicBezTo>
                <a:cubicBezTo>
                  <a:pt x="963151" y="501945"/>
                  <a:pt x="967941" y="497155"/>
                  <a:pt x="973888" y="497155"/>
                </a:cubicBezTo>
                <a:close/>
                <a:moveTo>
                  <a:pt x="4430967" y="494181"/>
                </a:moveTo>
                <a:cubicBezTo>
                  <a:pt x="4436913" y="494181"/>
                  <a:pt x="4441705" y="498971"/>
                  <a:pt x="4441705" y="504917"/>
                </a:cubicBezTo>
                <a:cubicBezTo>
                  <a:pt x="4441705" y="510864"/>
                  <a:pt x="4436913" y="515656"/>
                  <a:pt x="4430967" y="515656"/>
                </a:cubicBezTo>
                <a:cubicBezTo>
                  <a:pt x="4425020" y="515656"/>
                  <a:pt x="4420230" y="510864"/>
                  <a:pt x="4420230" y="504917"/>
                </a:cubicBezTo>
                <a:cubicBezTo>
                  <a:pt x="4420230" y="498971"/>
                  <a:pt x="4425020" y="494181"/>
                  <a:pt x="4430967" y="494181"/>
                </a:cubicBezTo>
                <a:close/>
                <a:moveTo>
                  <a:pt x="4189471" y="491540"/>
                </a:moveTo>
                <a:cubicBezTo>
                  <a:pt x="4195417" y="491540"/>
                  <a:pt x="4200209" y="496330"/>
                  <a:pt x="4200209" y="502276"/>
                </a:cubicBezTo>
                <a:cubicBezTo>
                  <a:pt x="4200209" y="508223"/>
                  <a:pt x="4195417" y="513013"/>
                  <a:pt x="4189471" y="513013"/>
                </a:cubicBezTo>
                <a:cubicBezTo>
                  <a:pt x="4183524" y="513013"/>
                  <a:pt x="4178734" y="508223"/>
                  <a:pt x="4178734" y="502276"/>
                </a:cubicBezTo>
                <a:cubicBezTo>
                  <a:pt x="4178734" y="496330"/>
                  <a:pt x="4183524" y="491540"/>
                  <a:pt x="4189471" y="491540"/>
                </a:cubicBezTo>
                <a:close/>
                <a:moveTo>
                  <a:pt x="4359277" y="487244"/>
                </a:moveTo>
                <a:lnTo>
                  <a:pt x="4369519" y="497485"/>
                </a:lnTo>
                <a:lnTo>
                  <a:pt x="4374970" y="492034"/>
                </a:lnTo>
                <a:lnTo>
                  <a:pt x="4384303" y="501368"/>
                </a:lnTo>
                <a:lnTo>
                  <a:pt x="4390002" y="495669"/>
                </a:lnTo>
                <a:lnTo>
                  <a:pt x="4399335" y="505002"/>
                </a:lnTo>
                <a:lnTo>
                  <a:pt x="4407677" y="496659"/>
                </a:lnTo>
                <a:cubicBezTo>
                  <a:pt x="4413623" y="496659"/>
                  <a:pt x="4418415" y="501449"/>
                  <a:pt x="4418415" y="507396"/>
                </a:cubicBezTo>
                <a:cubicBezTo>
                  <a:pt x="4418415" y="513342"/>
                  <a:pt x="4413623" y="518134"/>
                  <a:pt x="4407677" y="518134"/>
                </a:cubicBezTo>
                <a:lnTo>
                  <a:pt x="4398343" y="508800"/>
                </a:lnTo>
                <a:lnTo>
                  <a:pt x="4390002" y="517142"/>
                </a:lnTo>
                <a:lnTo>
                  <a:pt x="4380668" y="507808"/>
                </a:lnTo>
                <a:lnTo>
                  <a:pt x="4374970" y="513509"/>
                </a:lnTo>
                <a:lnTo>
                  <a:pt x="4364729" y="503267"/>
                </a:lnTo>
                <a:lnTo>
                  <a:pt x="4359277" y="508719"/>
                </a:lnTo>
                <a:cubicBezTo>
                  <a:pt x="4353331" y="508719"/>
                  <a:pt x="4348541" y="503927"/>
                  <a:pt x="4348541" y="497981"/>
                </a:cubicBezTo>
                <a:cubicBezTo>
                  <a:pt x="4348541" y="492034"/>
                  <a:pt x="4353331" y="487244"/>
                  <a:pt x="4359277" y="487244"/>
                </a:cubicBezTo>
                <a:close/>
                <a:moveTo>
                  <a:pt x="3393793" y="487080"/>
                </a:moveTo>
                <a:cubicBezTo>
                  <a:pt x="3399739" y="487080"/>
                  <a:pt x="3404529" y="491870"/>
                  <a:pt x="3404529" y="497816"/>
                </a:cubicBezTo>
                <a:cubicBezTo>
                  <a:pt x="3404529" y="503763"/>
                  <a:pt x="3399739" y="508554"/>
                  <a:pt x="3393793" y="508554"/>
                </a:cubicBezTo>
                <a:cubicBezTo>
                  <a:pt x="3387846" y="508554"/>
                  <a:pt x="3383057" y="503763"/>
                  <a:pt x="3383057" y="497816"/>
                </a:cubicBezTo>
                <a:cubicBezTo>
                  <a:pt x="3383057" y="491870"/>
                  <a:pt x="3387846" y="487080"/>
                  <a:pt x="3393793" y="487080"/>
                </a:cubicBezTo>
                <a:close/>
                <a:moveTo>
                  <a:pt x="2492895" y="485923"/>
                </a:moveTo>
                <a:cubicBezTo>
                  <a:pt x="2498842" y="485923"/>
                  <a:pt x="2503633" y="490713"/>
                  <a:pt x="2503633" y="496659"/>
                </a:cubicBezTo>
                <a:cubicBezTo>
                  <a:pt x="2503633" y="502606"/>
                  <a:pt x="2498842" y="507397"/>
                  <a:pt x="2492895" y="507397"/>
                </a:cubicBezTo>
                <a:cubicBezTo>
                  <a:pt x="2486948" y="507397"/>
                  <a:pt x="2482159" y="502606"/>
                  <a:pt x="2482159" y="496659"/>
                </a:cubicBezTo>
                <a:cubicBezTo>
                  <a:pt x="2482159" y="490713"/>
                  <a:pt x="2486948" y="485923"/>
                  <a:pt x="2492895" y="485923"/>
                </a:cubicBezTo>
                <a:close/>
                <a:moveTo>
                  <a:pt x="4338465" y="482784"/>
                </a:moveTo>
                <a:cubicBezTo>
                  <a:pt x="4344412" y="482784"/>
                  <a:pt x="4349202" y="487574"/>
                  <a:pt x="4349202" y="493521"/>
                </a:cubicBezTo>
                <a:cubicBezTo>
                  <a:pt x="4349202" y="499467"/>
                  <a:pt x="4344412" y="504257"/>
                  <a:pt x="4338465" y="504257"/>
                </a:cubicBezTo>
                <a:cubicBezTo>
                  <a:pt x="4332519" y="504257"/>
                  <a:pt x="4327729" y="499467"/>
                  <a:pt x="4327729" y="493521"/>
                </a:cubicBezTo>
                <a:cubicBezTo>
                  <a:pt x="4327729" y="487574"/>
                  <a:pt x="4332519" y="482784"/>
                  <a:pt x="4338465" y="482784"/>
                </a:cubicBezTo>
                <a:close/>
                <a:moveTo>
                  <a:pt x="4260168" y="482455"/>
                </a:moveTo>
                <a:cubicBezTo>
                  <a:pt x="4266115" y="482455"/>
                  <a:pt x="4270906" y="487244"/>
                  <a:pt x="4270906" y="493191"/>
                </a:cubicBezTo>
                <a:cubicBezTo>
                  <a:pt x="4270906" y="499137"/>
                  <a:pt x="4266115" y="503929"/>
                  <a:pt x="4260168" y="503929"/>
                </a:cubicBezTo>
                <a:cubicBezTo>
                  <a:pt x="4254222" y="503929"/>
                  <a:pt x="4249432" y="499137"/>
                  <a:pt x="4249432" y="493191"/>
                </a:cubicBezTo>
                <a:cubicBezTo>
                  <a:pt x="4249432" y="487244"/>
                  <a:pt x="4254222" y="482455"/>
                  <a:pt x="4260168" y="482455"/>
                </a:cubicBezTo>
                <a:close/>
                <a:moveTo>
                  <a:pt x="4307411" y="480308"/>
                </a:moveTo>
                <a:cubicBezTo>
                  <a:pt x="4313358" y="480308"/>
                  <a:pt x="4318147" y="485097"/>
                  <a:pt x="4318147" y="491044"/>
                </a:cubicBezTo>
                <a:cubicBezTo>
                  <a:pt x="4318147" y="496991"/>
                  <a:pt x="4313358" y="501780"/>
                  <a:pt x="4307411" y="501780"/>
                </a:cubicBezTo>
                <a:cubicBezTo>
                  <a:pt x="4301465" y="501780"/>
                  <a:pt x="4296675" y="496991"/>
                  <a:pt x="4296675" y="491044"/>
                </a:cubicBezTo>
                <a:cubicBezTo>
                  <a:pt x="4296675" y="485097"/>
                  <a:pt x="4301465" y="480308"/>
                  <a:pt x="4307411" y="480308"/>
                </a:cubicBezTo>
                <a:close/>
                <a:moveTo>
                  <a:pt x="1178546" y="474361"/>
                </a:moveTo>
                <a:cubicBezTo>
                  <a:pt x="1184492" y="474361"/>
                  <a:pt x="1189284" y="479151"/>
                  <a:pt x="1189284" y="485097"/>
                </a:cubicBezTo>
                <a:cubicBezTo>
                  <a:pt x="1189284" y="491044"/>
                  <a:pt x="1184492" y="495836"/>
                  <a:pt x="1178546" y="495836"/>
                </a:cubicBezTo>
                <a:cubicBezTo>
                  <a:pt x="1172599" y="495836"/>
                  <a:pt x="1167809" y="491044"/>
                  <a:pt x="1167809" y="485097"/>
                </a:cubicBezTo>
                <a:cubicBezTo>
                  <a:pt x="1167809" y="479151"/>
                  <a:pt x="1172599" y="474361"/>
                  <a:pt x="1178546" y="474361"/>
                </a:cubicBezTo>
                <a:close/>
                <a:moveTo>
                  <a:pt x="4020492" y="472873"/>
                </a:moveTo>
                <a:cubicBezTo>
                  <a:pt x="4026438" y="472873"/>
                  <a:pt x="4031228" y="477663"/>
                  <a:pt x="4031228" y="483610"/>
                </a:cubicBezTo>
                <a:cubicBezTo>
                  <a:pt x="4031228" y="489556"/>
                  <a:pt x="4026438" y="494348"/>
                  <a:pt x="4020492" y="494348"/>
                </a:cubicBezTo>
                <a:cubicBezTo>
                  <a:pt x="4014545" y="494348"/>
                  <a:pt x="4009755" y="489556"/>
                  <a:pt x="4009755" y="483610"/>
                </a:cubicBezTo>
                <a:cubicBezTo>
                  <a:pt x="4009755" y="477663"/>
                  <a:pt x="4014545" y="472873"/>
                  <a:pt x="4020492" y="472873"/>
                </a:cubicBezTo>
                <a:close/>
                <a:moveTo>
                  <a:pt x="4411806" y="472212"/>
                </a:moveTo>
                <a:cubicBezTo>
                  <a:pt x="4417752" y="472212"/>
                  <a:pt x="4422544" y="477002"/>
                  <a:pt x="4422544" y="482949"/>
                </a:cubicBezTo>
                <a:cubicBezTo>
                  <a:pt x="4422544" y="488895"/>
                  <a:pt x="4417752" y="493685"/>
                  <a:pt x="4411806" y="493685"/>
                </a:cubicBezTo>
                <a:cubicBezTo>
                  <a:pt x="4405859" y="493685"/>
                  <a:pt x="4401069" y="488895"/>
                  <a:pt x="4401069" y="482949"/>
                </a:cubicBezTo>
                <a:cubicBezTo>
                  <a:pt x="4401069" y="477002"/>
                  <a:pt x="4405859" y="472212"/>
                  <a:pt x="4411806" y="472212"/>
                </a:cubicBezTo>
                <a:close/>
                <a:moveTo>
                  <a:pt x="4440713" y="469075"/>
                </a:moveTo>
                <a:cubicBezTo>
                  <a:pt x="4446163" y="469075"/>
                  <a:pt x="4450457" y="473371"/>
                  <a:pt x="4450457" y="478822"/>
                </a:cubicBezTo>
                <a:cubicBezTo>
                  <a:pt x="4450457" y="484272"/>
                  <a:pt x="4446163" y="488568"/>
                  <a:pt x="4440713" y="488568"/>
                </a:cubicBezTo>
                <a:cubicBezTo>
                  <a:pt x="4435261" y="488568"/>
                  <a:pt x="4430967" y="484272"/>
                  <a:pt x="4430967" y="478822"/>
                </a:cubicBezTo>
                <a:cubicBezTo>
                  <a:pt x="4430967" y="473371"/>
                  <a:pt x="4435261" y="469075"/>
                  <a:pt x="4440713" y="469075"/>
                </a:cubicBezTo>
                <a:close/>
                <a:moveTo>
                  <a:pt x="3764460" y="468744"/>
                </a:moveTo>
                <a:cubicBezTo>
                  <a:pt x="3770406" y="468744"/>
                  <a:pt x="3775196" y="473534"/>
                  <a:pt x="3775196" y="479480"/>
                </a:cubicBezTo>
                <a:cubicBezTo>
                  <a:pt x="3775196" y="485427"/>
                  <a:pt x="3770406" y="490219"/>
                  <a:pt x="3764460" y="490219"/>
                </a:cubicBezTo>
                <a:cubicBezTo>
                  <a:pt x="3758513" y="490219"/>
                  <a:pt x="3753723" y="485427"/>
                  <a:pt x="3753723" y="479480"/>
                </a:cubicBezTo>
                <a:cubicBezTo>
                  <a:pt x="3753723" y="473534"/>
                  <a:pt x="3758513" y="468744"/>
                  <a:pt x="3764460" y="468744"/>
                </a:cubicBezTo>
                <a:close/>
                <a:moveTo>
                  <a:pt x="4372658" y="468248"/>
                </a:moveTo>
                <a:lnTo>
                  <a:pt x="4383231" y="478820"/>
                </a:lnTo>
                <a:lnTo>
                  <a:pt x="4390002" y="472048"/>
                </a:lnTo>
                <a:cubicBezTo>
                  <a:pt x="4395948" y="472048"/>
                  <a:pt x="4400738" y="476838"/>
                  <a:pt x="4400738" y="482784"/>
                </a:cubicBezTo>
                <a:cubicBezTo>
                  <a:pt x="4400738" y="488731"/>
                  <a:pt x="4395948" y="493521"/>
                  <a:pt x="4390002" y="493521"/>
                </a:cubicBezTo>
                <a:lnTo>
                  <a:pt x="4379432" y="482951"/>
                </a:lnTo>
                <a:lnTo>
                  <a:pt x="4372658" y="489723"/>
                </a:lnTo>
                <a:cubicBezTo>
                  <a:pt x="4366729" y="489723"/>
                  <a:pt x="4361922" y="484915"/>
                  <a:pt x="4361922" y="478984"/>
                </a:cubicBezTo>
                <a:cubicBezTo>
                  <a:pt x="4361922" y="473055"/>
                  <a:pt x="4366729" y="468248"/>
                  <a:pt x="4372658" y="468248"/>
                </a:cubicBezTo>
                <a:close/>
                <a:moveTo>
                  <a:pt x="240812" y="468083"/>
                </a:moveTo>
                <a:cubicBezTo>
                  <a:pt x="246759" y="468083"/>
                  <a:pt x="251550" y="472873"/>
                  <a:pt x="251550" y="478820"/>
                </a:cubicBezTo>
                <a:cubicBezTo>
                  <a:pt x="251550" y="484766"/>
                  <a:pt x="246759" y="489556"/>
                  <a:pt x="240812" y="489556"/>
                </a:cubicBezTo>
                <a:cubicBezTo>
                  <a:pt x="234865" y="489556"/>
                  <a:pt x="230076" y="484766"/>
                  <a:pt x="230076" y="478820"/>
                </a:cubicBezTo>
                <a:cubicBezTo>
                  <a:pt x="230076" y="472873"/>
                  <a:pt x="234865" y="468083"/>
                  <a:pt x="240812" y="468083"/>
                </a:cubicBezTo>
                <a:close/>
                <a:moveTo>
                  <a:pt x="2283280" y="465772"/>
                </a:moveTo>
                <a:cubicBezTo>
                  <a:pt x="2289227" y="465772"/>
                  <a:pt x="2294018" y="470561"/>
                  <a:pt x="2294018" y="476508"/>
                </a:cubicBezTo>
                <a:cubicBezTo>
                  <a:pt x="2294018" y="482455"/>
                  <a:pt x="2289227" y="487244"/>
                  <a:pt x="2283280" y="487244"/>
                </a:cubicBezTo>
                <a:cubicBezTo>
                  <a:pt x="2277334" y="487244"/>
                  <a:pt x="2272544" y="482455"/>
                  <a:pt x="2272544" y="476508"/>
                </a:cubicBezTo>
                <a:cubicBezTo>
                  <a:pt x="2272544" y="470561"/>
                  <a:pt x="2277334" y="465772"/>
                  <a:pt x="2283280" y="465772"/>
                </a:cubicBezTo>
                <a:close/>
                <a:moveTo>
                  <a:pt x="4356801" y="462302"/>
                </a:moveTo>
                <a:cubicBezTo>
                  <a:pt x="4362747" y="462302"/>
                  <a:pt x="4367537" y="467091"/>
                  <a:pt x="4367537" y="473038"/>
                </a:cubicBezTo>
                <a:cubicBezTo>
                  <a:pt x="4367537" y="478984"/>
                  <a:pt x="4362747" y="483776"/>
                  <a:pt x="4356801" y="483776"/>
                </a:cubicBezTo>
                <a:cubicBezTo>
                  <a:pt x="4350854" y="483776"/>
                  <a:pt x="4346064" y="478984"/>
                  <a:pt x="4346064" y="473038"/>
                </a:cubicBezTo>
                <a:cubicBezTo>
                  <a:pt x="4346064" y="467091"/>
                  <a:pt x="4350854" y="462302"/>
                  <a:pt x="4356801" y="462302"/>
                </a:cubicBezTo>
                <a:close/>
                <a:moveTo>
                  <a:pt x="1393282" y="457347"/>
                </a:moveTo>
                <a:cubicBezTo>
                  <a:pt x="1399228" y="457347"/>
                  <a:pt x="1404020" y="462137"/>
                  <a:pt x="1404020" y="468083"/>
                </a:cubicBezTo>
                <a:cubicBezTo>
                  <a:pt x="1404020" y="474030"/>
                  <a:pt x="1399228" y="478820"/>
                  <a:pt x="1393282" y="478820"/>
                </a:cubicBezTo>
                <a:cubicBezTo>
                  <a:pt x="1387335" y="478820"/>
                  <a:pt x="1382545" y="474030"/>
                  <a:pt x="1382545" y="468083"/>
                </a:cubicBezTo>
                <a:cubicBezTo>
                  <a:pt x="1382545" y="462137"/>
                  <a:pt x="1387335" y="457347"/>
                  <a:pt x="1393282" y="457347"/>
                </a:cubicBezTo>
                <a:close/>
                <a:moveTo>
                  <a:pt x="4338796" y="455198"/>
                </a:moveTo>
                <a:cubicBezTo>
                  <a:pt x="4344743" y="455198"/>
                  <a:pt x="4349533" y="459988"/>
                  <a:pt x="4349533" y="465935"/>
                </a:cubicBezTo>
                <a:cubicBezTo>
                  <a:pt x="4349533" y="471881"/>
                  <a:pt x="4344743" y="476673"/>
                  <a:pt x="4338796" y="476673"/>
                </a:cubicBezTo>
                <a:cubicBezTo>
                  <a:pt x="4332850" y="476673"/>
                  <a:pt x="4328060" y="471881"/>
                  <a:pt x="4328060" y="465935"/>
                </a:cubicBezTo>
                <a:cubicBezTo>
                  <a:pt x="4328060" y="459988"/>
                  <a:pt x="4332850" y="455198"/>
                  <a:pt x="4338796" y="455198"/>
                </a:cubicBezTo>
                <a:close/>
                <a:moveTo>
                  <a:pt x="4137605" y="453712"/>
                </a:moveTo>
                <a:cubicBezTo>
                  <a:pt x="4143551" y="453712"/>
                  <a:pt x="4148341" y="458502"/>
                  <a:pt x="4148341" y="464448"/>
                </a:cubicBezTo>
                <a:cubicBezTo>
                  <a:pt x="4148341" y="470395"/>
                  <a:pt x="4143551" y="475187"/>
                  <a:pt x="4137605" y="475187"/>
                </a:cubicBezTo>
                <a:cubicBezTo>
                  <a:pt x="4131658" y="475187"/>
                  <a:pt x="4126868" y="470395"/>
                  <a:pt x="4126868" y="464448"/>
                </a:cubicBezTo>
                <a:cubicBezTo>
                  <a:pt x="4126868" y="458502"/>
                  <a:pt x="4131658" y="453712"/>
                  <a:pt x="4137605" y="453712"/>
                </a:cubicBezTo>
                <a:close/>
                <a:moveTo>
                  <a:pt x="2064745" y="451730"/>
                </a:moveTo>
                <a:cubicBezTo>
                  <a:pt x="2070691" y="451730"/>
                  <a:pt x="2075481" y="456520"/>
                  <a:pt x="2075481" y="462466"/>
                </a:cubicBezTo>
                <a:cubicBezTo>
                  <a:pt x="2075481" y="468413"/>
                  <a:pt x="2070691" y="473204"/>
                  <a:pt x="2064745" y="473204"/>
                </a:cubicBezTo>
                <a:cubicBezTo>
                  <a:pt x="2058798" y="473204"/>
                  <a:pt x="2054008" y="468413"/>
                  <a:pt x="2054008" y="462466"/>
                </a:cubicBezTo>
                <a:cubicBezTo>
                  <a:pt x="2054008" y="456520"/>
                  <a:pt x="2058798" y="451730"/>
                  <a:pt x="2064745" y="451730"/>
                </a:cubicBezTo>
                <a:close/>
                <a:moveTo>
                  <a:pt x="3252562" y="451565"/>
                </a:moveTo>
                <a:cubicBezTo>
                  <a:pt x="3258509" y="451565"/>
                  <a:pt x="3263300" y="456355"/>
                  <a:pt x="3263300" y="462302"/>
                </a:cubicBezTo>
                <a:cubicBezTo>
                  <a:pt x="3263300" y="468248"/>
                  <a:pt x="3258509" y="473038"/>
                  <a:pt x="3252562" y="473038"/>
                </a:cubicBezTo>
                <a:cubicBezTo>
                  <a:pt x="3246616" y="473038"/>
                  <a:pt x="3241826" y="468248"/>
                  <a:pt x="3241826" y="462302"/>
                </a:cubicBezTo>
                <a:cubicBezTo>
                  <a:pt x="3241826" y="456355"/>
                  <a:pt x="3246616" y="451565"/>
                  <a:pt x="3252562" y="451565"/>
                </a:cubicBezTo>
                <a:close/>
                <a:moveTo>
                  <a:pt x="4392809" y="448922"/>
                </a:moveTo>
                <a:cubicBezTo>
                  <a:pt x="4398756" y="448922"/>
                  <a:pt x="4403547" y="453712"/>
                  <a:pt x="4403547" y="459659"/>
                </a:cubicBezTo>
                <a:cubicBezTo>
                  <a:pt x="4403547" y="465605"/>
                  <a:pt x="4398756" y="470397"/>
                  <a:pt x="4392809" y="470397"/>
                </a:cubicBezTo>
                <a:cubicBezTo>
                  <a:pt x="4386863" y="470397"/>
                  <a:pt x="4382073" y="465605"/>
                  <a:pt x="4382073" y="459659"/>
                </a:cubicBezTo>
                <a:cubicBezTo>
                  <a:pt x="4382073" y="453712"/>
                  <a:pt x="4386863" y="448922"/>
                  <a:pt x="4392809" y="448922"/>
                </a:cubicBezTo>
                <a:close/>
                <a:moveTo>
                  <a:pt x="4313854" y="448593"/>
                </a:moveTo>
                <a:cubicBezTo>
                  <a:pt x="4319800" y="448593"/>
                  <a:pt x="4324592" y="453383"/>
                  <a:pt x="4324592" y="459329"/>
                </a:cubicBezTo>
                <a:cubicBezTo>
                  <a:pt x="4324592" y="465276"/>
                  <a:pt x="4319800" y="470066"/>
                  <a:pt x="4313854" y="470066"/>
                </a:cubicBezTo>
                <a:cubicBezTo>
                  <a:pt x="4307907" y="470066"/>
                  <a:pt x="4303117" y="465276"/>
                  <a:pt x="4303117" y="459329"/>
                </a:cubicBezTo>
                <a:cubicBezTo>
                  <a:pt x="4303117" y="453383"/>
                  <a:pt x="4307907" y="448593"/>
                  <a:pt x="4313854" y="448593"/>
                </a:cubicBezTo>
                <a:close/>
                <a:moveTo>
                  <a:pt x="4419734" y="447601"/>
                </a:moveTo>
                <a:cubicBezTo>
                  <a:pt x="4425681" y="447601"/>
                  <a:pt x="4430471" y="452391"/>
                  <a:pt x="4430471" y="458337"/>
                </a:cubicBezTo>
                <a:cubicBezTo>
                  <a:pt x="4430471" y="464284"/>
                  <a:pt x="4425681" y="469075"/>
                  <a:pt x="4419734" y="469075"/>
                </a:cubicBezTo>
                <a:cubicBezTo>
                  <a:pt x="4413788" y="469075"/>
                  <a:pt x="4408998" y="464284"/>
                  <a:pt x="4408998" y="458337"/>
                </a:cubicBezTo>
                <a:cubicBezTo>
                  <a:pt x="4408998" y="452391"/>
                  <a:pt x="4413788" y="447601"/>
                  <a:pt x="4419734" y="447601"/>
                </a:cubicBezTo>
                <a:close/>
                <a:moveTo>
                  <a:pt x="1615285" y="447271"/>
                </a:moveTo>
                <a:cubicBezTo>
                  <a:pt x="1621232" y="447271"/>
                  <a:pt x="1626023" y="452061"/>
                  <a:pt x="1626023" y="458008"/>
                </a:cubicBezTo>
                <a:cubicBezTo>
                  <a:pt x="1626023" y="463954"/>
                  <a:pt x="1621232" y="468744"/>
                  <a:pt x="1615285" y="468744"/>
                </a:cubicBezTo>
                <a:cubicBezTo>
                  <a:pt x="1609339" y="468744"/>
                  <a:pt x="1604549" y="463954"/>
                  <a:pt x="1604549" y="458008"/>
                </a:cubicBezTo>
                <a:cubicBezTo>
                  <a:pt x="1604549" y="452061"/>
                  <a:pt x="1609339" y="447271"/>
                  <a:pt x="1615285" y="447271"/>
                </a:cubicBezTo>
                <a:close/>
                <a:moveTo>
                  <a:pt x="4371997" y="445948"/>
                </a:moveTo>
                <a:cubicBezTo>
                  <a:pt x="4377944" y="445948"/>
                  <a:pt x="4382734" y="450738"/>
                  <a:pt x="4382734" y="456685"/>
                </a:cubicBezTo>
                <a:cubicBezTo>
                  <a:pt x="4382734" y="462631"/>
                  <a:pt x="4377944" y="467423"/>
                  <a:pt x="4371997" y="467423"/>
                </a:cubicBezTo>
                <a:cubicBezTo>
                  <a:pt x="4366051" y="467423"/>
                  <a:pt x="4361261" y="462631"/>
                  <a:pt x="4361261" y="456685"/>
                </a:cubicBezTo>
                <a:cubicBezTo>
                  <a:pt x="4361261" y="450738"/>
                  <a:pt x="4366051" y="445948"/>
                  <a:pt x="4371997" y="445948"/>
                </a:cubicBezTo>
                <a:close/>
                <a:moveTo>
                  <a:pt x="4220195" y="445288"/>
                </a:moveTo>
                <a:cubicBezTo>
                  <a:pt x="4226142" y="445288"/>
                  <a:pt x="4230932" y="450077"/>
                  <a:pt x="4230932" y="456024"/>
                </a:cubicBezTo>
                <a:cubicBezTo>
                  <a:pt x="4230932" y="461970"/>
                  <a:pt x="4226142" y="466762"/>
                  <a:pt x="4220195" y="466762"/>
                </a:cubicBezTo>
                <a:cubicBezTo>
                  <a:pt x="4214249" y="466762"/>
                  <a:pt x="4209459" y="461970"/>
                  <a:pt x="4209459" y="456024"/>
                </a:cubicBezTo>
                <a:cubicBezTo>
                  <a:pt x="4209459" y="450077"/>
                  <a:pt x="4214249" y="445288"/>
                  <a:pt x="4220195" y="445288"/>
                </a:cubicBezTo>
                <a:close/>
                <a:moveTo>
                  <a:pt x="1840593" y="445288"/>
                </a:moveTo>
                <a:cubicBezTo>
                  <a:pt x="1846539" y="445288"/>
                  <a:pt x="1851331" y="450077"/>
                  <a:pt x="1851331" y="456024"/>
                </a:cubicBezTo>
                <a:cubicBezTo>
                  <a:pt x="1851331" y="461970"/>
                  <a:pt x="1846539" y="466762"/>
                  <a:pt x="1840593" y="466762"/>
                </a:cubicBezTo>
                <a:cubicBezTo>
                  <a:pt x="1834646" y="466762"/>
                  <a:pt x="1829856" y="461970"/>
                  <a:pt x="1829856" y="456024"/>
                </a:cubicBezTo>
                <a:cubicBezTo>
                  <a:pt x="1829856" y="450077"/>
                  <a:pt x="1834646" y="445288"/>
                  <a:pt x="1840593" y="445288"/>
                </a:cubicBezTo>
                <a:close/>
                <a:moveTo>
                  <a:pt x="4276357" y="444462"/>
                </a:moveTo>
                <a:cubicBezTo>
                  <a:pt x="4282304" y="444462"/>
                  <a:pt x="4287093" y="449252"/>
                  <a:pt x="4287093" y="455198"/>
                </a:cubicBezTo>
                <a:cubicBezTo>
                  <a:pt x="4287093" y="461145"/>
                  <a:pt x="4282304" y="465935"/>
                  <a:pt x="4276357" y="465935"/>
                </a:cubicBezTo>
                <a:cubicBezTo>
                  <a:pt x="4270410" y="465935"/>
                  <a:pt x="4265621" y="461145"/>
                  <a:pt x="4265621" y="455198"/>
                </a:cubicBezTo>
                <a:cubicBezTo>
                  <a:pt x="4265621" y="449252"/>
                  <a:pt x="4270410" y="444462"/>
                  <a:pt x="4276357" y="444462"/>
                </a:cubicBezTo>
                <a:close/>
                <a:moveTo>
                  <a:pt x="4354652" y="439672"/>
                </a:moveTo>
                <a:cubicBezTo>
                  <a:pt x="4360599" y="439672"/>
                  <a:pt x="4365390" y="444462"/>
                  <a:pt x="4365390" y="450409"/>
                </a:cubicBezTo>
                <a:cubicBezTo>
                  <a:pt x="4365390" y="456355"/>
                  <a:pt x="4360599" y="461145"/>
                  <a:pt x="4354652" y="461145"/>
                </a:cubicBezTo>
                <a:cubicBezTo>
                  <a:pt x="4348706" y="461145"/>
                  <a:pt x="4343916" y="456355"/>
                  <a:pt x="4343916" y="450409"/>
                </a:cubicBezTo>
                <a:cubicBezTo>
                  <a:pt x="4343916" y="444462"/>
                  <a:pt x="4348706" y="439672"/>
                  <a:pt x="4354652" y="439672"/>
                </a:cubicBezTo>
                <a:close/>
                <a:moveTo>
                  <a:pt x="3946159" y="434055"/>
                </a:moveTo>
                <a:cubicBezTo>
                  <a:pt x="3952106" y="434055"/>
                  <a:pt x="3956895" y="438845"/>
                  <a:pt x="3956895" y="444791"/>
                </a:cubicBezTo>
                <a:cubicBezTo>
                  <a:pt x="3956895" y="450738"/>
                  <a:pt x="3952106" y="455530"/>
                  <a:pt x="3946159" y="455530"/>
                </a:cubicBezTo>
                <a:cubicBezTo>
                  <a:pt x="3940213" y="455530"/>
                  <a:pt x="3935423" y="450738"/>
                  <a:pt x="3935423" y="444791"/>
                </a:cubicBezTo>
                <a:cubicBezTo>
                  <a:pt x="3935423" y="438845"/>
                  <a:pt x="3940213" y="434055"/>
                  <a:pt x="3946159" y="434055"/>
                </a:cubicBezTo>
                <a:close/>
                <a:moveTo>
                  <a:pt x="388485" y="432900"/>
                </a:moveTo>
                <a:cubicBezTo>
                  <a:pt x="394431" y="432900"/>
                  <a:pt x="399221" y="437690"/>
                  <a:pt x="399221" y="443637"/>
                </a:cubicBezTo>
                <a:cubicBezTo>
                  <a:pt x="399221" y="449583"/>
                  <a:pt x="394431" y="454375"/>
                  <a:pt x="388485" y="454375"/>
                </a:cubicBezTo>
                <a:cubicBezTo>
                  <a:pt x="382538" y="454375"/>
                  <a:pt x="377749" y="449583"/>
                  <a:pt x="377749" y="443637"/>
                </a:cubicBezTo>
                <a:cubicBezTo>
                  <a:pt x="377749" y="437690"/>
                  <a:pt x="382538" y="432900"/>
                  <a:pt x="388485" y="432900"/>
                </a:cubicBezTo>
                <a:close/>
                <a:moveTo>
                  <a:pt x="4431794" y="432569"/>
                </a:moveTo>
                <a:cubicBezTo>
                  <a:pt x="4432123" y="432569"/>
                  <a:pt x="4432288" y="432734"/>
                  <a:pt x="4432288" y="433065"/>
                </a:cubicBezTo>
                <a:cubicBezTo>
                  <a:pt x="4432288" y="433394"/>
                  <a:pt x="4431794" y="433559"/>
                  <a:pt x="4431794" y="433559"/>
                </a:cubicBezTo>
                <a:cubicBezTo>
                  <a:pt x="4431463" y="433559"/>
                  <a:pt x="4431298" y="433394"/>
                  <a:pt x="4431298" y="433065"/>
                </a:cubicBezTo>
                <a:cubicBezTo>
                  <a:pt x="4431298" y="432734"/>
                  <a:pt x="4431463" y="432569"/>
                  <a:pt x="4431794" y="432569"/>
                </a:cubicBezTo>
                <a:close/>
                <a:moveTo>
                  <a:pt x="4337473" y="431083"/>
                </a:moveTo>
                <a:cubicBezTo>
                  <a:pt x="4343420" y="431083"/>
                  <a:pt x="4348211" y="435873"/>
                  <a:pt x="4348211" y="441819"/>
                </a:cubicBezTo>
                <a:cubicBezTo>
                  <a:pt x="4348211" y="447766"/>
                  <a:pt x="4343420" y="452557"/>
                  <a:pt x="4337473" y="452557"/>
                </a:cubicBezTo>
                <a:cubicBezTo>
                  <a:pt x="4331527" y="452557"/>
                  <a:pt x="4326737" y="447766"/>
                  <a:pt x="4326737" y="441819"/>
                </a:cubicBezTo>
                <a:cubicBezTo>
                  <a:pt x="4326737" y="435873"/>
                  <a:pt x="4331527" y="431083"/>
                  <a:pt x="4337473" y="431083"/>
                </a:cubicBezTo>
                <a:close/>
                <a:moveTo>
                  <a:pt x="3660726" y="430422"/>
                </a:moveTo>
                <a:cubicBezTo>
                  <a:pt x="3666672" y="430422"/>
                  <a:pt x="3671464" y="435212"/>
                  <a:pt x="3671464" y="441158"/>
                </a:cubicBezTo>
                <a:cubicBezTo>
                  <a:pt x="3671464" y="447105"/>
                  <a:pt x="3666672" y="451897"/>
                  <a:pt x="3660726" y="451897"/>
                </a:cubicBezTo>
                <a:cubicBezTo>
                  <a:pt x="3654779" y="451897"/>
                  <a:pt x="3649989" y="447105"/>
                  <a:pt x="3649989" y="441158"/>
                </a:cubicBezTo>
                <a:cubicBezTo>
                  <a:pt x="3649989" y="435212"/>
                  <a:pt x="3654779" y="430422"/>
                  <a:pt x="3660726" y="430422"/>
                </a:cubicBezTo>
                <a:close/>
                <a:moveTo>
                  <a:pt x="4399252" y="425797"/>
                </a:moveTo>
                <a:cubicBezTo>
                  <a:pt x="4405198" y="425797"/>
                  <a:pt x="4409988" y="430587"/>
                  <a:pt x="4409988" y="436533"/>
                </a:cubicBezTo>
                <a:cubicBezTo>
                  <a:pt x="4409988" y="442480"/>
                  <a:pt x="4405198" y="447271"/>
                  <a:pt x="4399252" y="447271"/>
                </a:cubicBezTo>
                <a:cubicBezTo>
                  <a:pt x="4393305" y="447271"/>
                  <a:pt x="4388516" y="442480"/>
                  <a:pt x="4388516" y="436533"/>
                </a:cubicBezTo>
                <a:cubicBezTo>
                  <a:pt x="4388516" y="430587"/>
                  <a:pt x="4393305" y="425797"/>
                  <a:pt x="4399252" y="425797"/>
                </a:cubicBezTo>
                <a:close/>
                <a:moveTo>
                  <a:pt x="4373813" y="424311"/>
                </a:moveTo>
                <a:cubicBezTo>
                  <a:pt x="4379760" y="424311"/>
                  <a:pt x="4384549" y="429101"/>
                  <a:pt x="4384549" y="435047"/>
                </a:cubicBezTo>
                <a:cubicBezTo>
                  <a:pt x="4384549" y="440994"/>
                  <a:pt x="4379760" y="445784"/>
                  <a:pt x="4373813" y="445784"/>
                </a:cubicBezTo>
                <a:cubicBezTo>
                  <a:pt x="4367867" y="445784"/>
                  <a:pt x="4363077" y="440994"/>
                  <a:pt x="4363077" y="435047"/>
                </a:cubicBezTo>
                <a:cubicBezTo>
                  <a:pt x="4363077" y="429101"/>
                  <a:pt x="4367867" y="424311"/>
                  <a:pt x="4373813" y="424311"/>
                </a:cubicBezTo>
                <a:close/>
                <a:moveTo>
                  <a:pt x="4316330" y="421668"/>
                </a:moveTo>
                <a:cubicBezTo>
                  <a:pt x="4322277" y="421668"/>
                  <a:pt x="4327068" y="426458"/>
                  <a:pt x="4327068" y="432404"/>
                </a:cubicBezTo>
                <a:cubicBezTo>
                  <a:pt x="4327068" y="438351"/>
                  <a:pt x="4322277" y="443142"/>
                  <a:pt x="4316330" y="443142"/>
                </a:cubicBezTo>
                <a:cubicBezTo>
                  <a:pt x="4310383" y="443142"/>
                  <a:pt x="4305594" y="438351"/>
                  <a:pt x="4305594" y="432404"/>
                </a:cubicBezTo>
                <a:cubicBezTo>
                  <a:pt x="4305594" y="426458"/>
                  <a:pt x="4310383" y="421668"/>
                  <a:pt x="4316330" y="421668"/>
                </a:cubicBezTo>
                <a:close/>
                <a:moveTo>
                  <a:pt x="3099441" y="417043"/>
                </a:moveTo>
                <a:cubicBezTo>
                  <a:pt x="3105387" y="417043"/>
                  <a:pt x="3110177" y="421833"/>
                  <a:pt x="3110177" y="427779"/>
                </a:cubicBezTo>
                <a:cubicBezTo>
                  <a:pt x="3110177" y="433726"/>
                  <a:pt x="3105387" y="438517"/>
                  <a:pt x="3099441" y="438517"/>
                </a:cubicBezTo>
                <a:cubicBezTo>
                  <a:pt x="3093494" y="438517"/>
                  <a:pt x="3088704" y="433726"/>
                  <a:pt x="3088704" y="427779"/>
                </a:cubicBezTo>
                <a:cubicBezTo>
                  <a:pt x="3088704" y="421833"/>
                  <a:pt x="3093494" y="417043"/>
                  <a:pt x="3099441" y="417043"/>
                </a:cubicBezTo>
                <a:close/>
                <a:moveTo>
                  <a:pt x="4079792" y="414729"/>
                </a:moveTo>
                <a:cubicBezTo>
                  <a:pt x="4085739" y="414729"/>
                  <a:pt x="4090528" y="419519"/>
                  <a:pt x="4090528" y="425466"/>
                </a:cubicBezTo>
                <a:cubicBezTo>
                  <a:pt x="4090528" y="431412"/>
                  <a:pt x="4085739" y="436204"/>
                  <a:pt x="4079792" y="436204"/>
                </a:cubicBezTo>
                <a:cubicBezTo>
                  <a:pt x="4073846" y="436204"/>
                  <a:pt x="4069056" y="431412"/>
                  <a:pt x="4069056" y="425466"/>
                </a:cubicBezTo>
                <a:cubicBezTo>
                  <a:pt x="4069056" y="419519"/>
                  <a:pt x="4073846" y="414729"/>
                  <a:pt x="4079792" y="414729"/>
                </a:cubicBezTo>
                <a:close/>
                <a:moveTo>
                  <a:pt x="4286268" y="412912"/>
                </a:moveTo>
                <a:cubicBezTo>
                  <a:pt x="4292214" y="412912"/>
                  <a:pt x="4297004" y="417702"/>
                  <a:pt x="4297004" y="423648"/>
                </a:cubicBezTo>
                <a:cubicBezTo>
                  <a:pt x="4297004" y="429595"/>
                  <a:pt x="4292214" y="434386"/>
                  <a:pt x="4286268" y="434386"/>
                </a:cubicBezTo>
                <a:cubicBezTo>
                  <a:pt x="4280321" y="434386"/>
                  <a:pt x="4275532" y="429595"/>
                  <a:pt x="4275532" y="423648"/>
                </a:cubicBezTo>
                <a:cubicBezTo>
                  <a:pt x="4275532" y="417702"/>
                  <a:pt x="4280321" y="412912"/>
                  <a:pt x="4286268" y="412912"/>
                </a:cubicBezTo>
                <a:close/>
                <a:moveTo>
                  <a:pt x="4241503" y="407297"/>
                </a:moveTo>
                <a:cubicBezTo>
                  <a:pt x="4247450" y="407297"/>
                  <a:pt x="4252241" y="412086"/>
                  <a:pt x="4252241" y="418033"/>
                </a:cubicBezTo>
                <a:cubicBezTo>
                  <a:pt x="4252241" y="423980"/>
                  <a:pt x="4247450" y="428769"/>
                  <a:pt x="4241503" y="428769"/>
                </a:cubicBezTo>
                <a:cubicBezTo>
                  <a:pt x="4235557" y="428769"/>
                  <a:pt x="4230767" y="423980"/>
                  <a:pt x="4230767" y="418033"/>
                </a:cubicBezTo>
                <a:cubicBezTo>
                  <a:pt x="4230767" y="412086"/>
                  <a:pt x="4235557" y="407297"/>
                  <a:pt x="4241503" y="407297"/>
                </a:cubicBezTo>
                <a:close/>
                <a:moveTo>
                  <a:pt x="4175266" y="406966"/>
                </a:moveTo>
                <a:cubicBezTo>
                  <a:pt x="4181213" y="406966"/>
                  <a:pt x="4186002" y="411755"/>
                  <a:pt x="4186002" y="417702"/>
                </a:cubicBezTo>
                <a:cubicBezTo>
                  <a:pt x="4186002" y="423648"/>
                  <a:pt x="4181213" y="428440"/>
                  <a:pt x="4175266" y="428440"/>
                </a:cubicBezTo>
                <a:cubicBezTo>
                  <a:pt x="4169320" y="428440"/>
                  <a:pt x="4164530" y="423648"/>
                  <a:pt x="4164530" y="417702"/>
                </a:cubicBezTo>
                <a:cubicBezTo>
                  <a:pt x="4164530" y="411755"/>
                  <a:pt x="4169320" y="406966"/>
                  <a:pt x="4175266" y="406966"/>
                </a:cubicBezTo>
                <a:close/>
                <a:moveTo>
                  <a:pt x="4409494" y="403003"/>
                </a:moveTo>
                <a:cubicBezTo>
                  <a:pt x="4414945" y="403003"/>
                  <a:pt x="4419238" y="407298"/>
                  <a:pt x="4419238" y="412749"/>
                </a:cubicBezTo>
                <a:cubicBezTo>
                  <a:pt x="4419238" y="418199"/>
                  <a:pt x="4414945" y="422495"/>
                  <a:pt x="4409494" y="422495"/>
                </a:cubicBezTo>
                <a:cubicBezTo>
                  <a:pt x="4404043" y="422495"/>
                  <a:pt x="4399748" y="418199"/>
                  <a:pt x="4399748" y="412749"/>
                </a:cubicBezTo>
                <a:cubicBezTo>
                  <a:pt x="4399748" y="407298"/>
                  <a:pt x="4404043" y="403003"/>
                  <a:pt x="4409494" y="403003"/>
                </a:cubicBezTo>
                <a:close/>
                <a:moveTo>
                  <a:pt x="4378769" y="402672"/>
                </a:moveTo>
                <a:cubicBezTo>
                  <a:pt x="4384716" y="402672"/>
                  <a:pt x="4389507" y="407461"/>
                  <a:pt x="4389507" y="413408"/>
                </a:cubicBezTo>
                <a:cubicBezTo>
                  <a:pt x="4389507" y="419354"/>
                  <a:pt x="4384716" y="424146"/>
                  <a:pt x="4378769" y="424146"/>
                </a:cubicBezTo>
                <a:cubicBezTo>
                  <a:pt x="4372823" y="424146"/>
                  <a:pt x="4368033" y="419354"/>
                  <a:pt x="4368033" y="413408"/>
                </a:cubicBezTo>
                <a:cubicBezTo>
                  <a:pt x="4368033" y="407461"/>
                  <a:pt x="4372823" y="402672"/>
                  <a:pt x="4378769" y="402672"/>
                </a:cubicBezTo>
                <a:close/>
                <a:moveTo>
                  <a:pt x="548049" y="399038"/>
                </a:moveTo>
                <a:cubicBezTo>
                  <a:pt x="553996" y="399038"/>
                  <a:pt x="558787" y="403828"/>
                  <a:pt x="558787" y="409775"/>
                </a:cubicBezTo>
                <a:cubicBezTo>
                  <a:pt x="558787" y="415721"/>
                  <a:pt x="553996" y="420511"/>
                  <a:pt x="548049" y="420511"/>
                </a:cubicBezTo>
                <a:cubicBezTo>
                  <a:pt x="542103" y="420511"/>
                  <a:pt x="537313" y="415721"/>
                  <a:pt x="537313" y="409775"/>
                </a:cubicBezTo>
                <a:cubicBezTo>
                  <a:pt x="537313" y="403828"/>
                  <a:pt x="542103" y="399038"/>
                  <a:pt x="548049" y="399038"/>
                </a:cubicBezTo>
                <a:close/>
                <a:moveTo>
                  <a:pt x="4354819" y="398378"/>
                </a:moveTo>
                <a:cubicBezTo>
                  <a:pt x="4360765" y="398378"/>
                  <a:pt x="4365555" y="403168"/>
                  <a:pt x="4365555" y="409114"/>
                </a:cubicBezTo>
                <a:lnTo>
                  <a:pt x="4354902" y="419769"/>
                </a:lnTo>
                <a:lnTo>
                  <a:pt x="4364398" y="429265"/>
                </a:lnTo>
                <a:cubicBezTo>
                  <a:pt x="4364398" y="435212"/>
                  <a:pt x="4359608" y="440002"/>
                  <a:pt x="4353662" y="440002"/>
                </a:cubicBezTo>
                <a:cubicBezTo>
                  <a:pt x="4347715" y="440002"/>
                  <a:pt x="4342926" y="435212"/>
                  <a:pt x="4342926" y="429265"/>
                </a:cubicBezTo>
                <a:lnTo>
                  <a:pt x="4353580" y="418612"/>
                </a:lnTo>
                <a:lnTo>
                  <a:pt x="4344082" y="409114"/>
                </a:lnTo>
                <a:cubicBezTo>
                  <a:pt x="4344082" y="403168"/>
                  <a:pt x="4348872" y="398378"/>
                  <a:pt x="4354819" y="398378"/>
                </a:cubicBezTo>
                <a:close/>
                <a:moveTo>
                  <a:pt x="3864229" y="394578"/>
                </a:moveTo>
                <a:cubicBezTo>
                  <a:pt x="3870176" y="394578"/>
                  <a:pt x="3874967" y="399368"/>
                  <a:pt x="3874967" y="405315"/>
                </a:cubicBezTo>
                <a:cubicBezTo>
                  <a:pt x="3874967" y="411261"/>
                  <a:pt x="3870176" y="416053"/>
                  <a:pt x="3864229" y="416053"/>
                </a:cubicBezTo>
                <a:cubicBezTo>
                  <a:pt x="3858283" y="416053"/>
                  <a:pt x="3853493" y="411261"/>
                  <a:pt x="3853493" y="405315"/>
                </a:cubicBezTo>
                <a:cubicBezTo>
                  <a:pt x="3853493" y="399368"/>
                  <a:pt x="3858283" y="394578"/>
                  <a:pt x="3864229" y="394578"/>
                </a:cubicBezTo>
                <a:close/>
                <a:moveTo>
                  <a:pt x="3547081" y="391935"/>
                </a:moveTo>
                <a:cubicBezTo>
                  <a:pt x="3553028" y="391935"/>
                  <a:pt x="3557817" y="396725"/>
                  <a:pt x="3557817" y="402672"/>
                </a:cubicBezTo>
                <a:cubicBezTo>
                  <a:pt x="3557817" y="408618"/>
                  <a:pt x="3553028" y="413408"/>
                  <a:pt x="3547081" y="413408"/>
                </a:cubicBezTo>
                <a:cubicBezTo>
                  <a:pt x="3541135" y="413408"/>
                  <a:pt x="3536345" y="408618"/>
                  <a:pt x="3536345" y="402672"/>
                </a:cubicBezTo>
                <a:cubicBezTo>
                  <a:pt x="3536345" y="396725"/>
                  <a:pt x="3541135" y="391935"/>
                  <a:pt x="3547081" y="391935"/>
                </a:cubicBezTo>
                <a:close/>
                <a:moveTo>
                  <a:pt x="4291554" y="386649"/>
                </a:moveTo>
                <a:cubicBezTo>
                  <a:pt x="4297500" y="386649"/>
                  <a:pt x="4302292" y="391439"/>
                  <a:pt x="4302292" y="397386"/>
                </a:cubicBezTo>
                <a:cubicBezTo>
                  <a:pt x="4302292" y="403332"/>
                  <a:pt x="4297500" y="408122"/>
                  <a:pt x="4291554" y="408122"/>
                </a:cubicBezTo>
                <a:cubicBezTo>
                  <a:pt x="4285607" y="408122"/>
                  <a:pt x="4280817" y="403332"/>
                  <a:pt x="4280817" y="397386"/>
                </a:cubicBezTo>
                <a:cubicBezTo>
                  <a:pt x="4280817" y="391439"/>
                  <a:pt x="4285607" y="386649"/>
                  <a:pt x="4291554" y="386649"/>
                </a:cubicBezTo>
                <a:close/>
                <a:moveTo>
                  <a:pt x="2934259" y="383840"/>
                </a:moveTo>
                <a:cubicBezTo>
                  <a:pt x="2940206" y="383840"/>
                  <a:pt x="2944996" y="388630"/>
                  <a:pt x="2944996" y="394576"/>
                </a:cubicBezTo>
                <a:cubicBezTo>
                  <a:pt x="2944996" y="400523"/>
                  <a:pt x="2940206" y="405315"/>
                  <a:pt x="2934259" y="405315"/>
                </a:cubicBezTo>
                <a:cubicBezTo>
                  <a:pt x="2928313" y="405315"/>
                  <a:pt x="2923523" y="400523"/>
                  <a:pt x="2923523" y="394576"/>
                </a:cubicBezTo>
                <a:cubicBezTo>
                  <a:pt x="2923523" y="388630"/>
                  <a:pt x="2928313" y="383840"/>
                  <a:pt x="2934259" y="383840"/>
                </a:cubicBezTo>
                <a:close/>
                <a:moveTo>
                  <a:pt x="4387524" y="380703"/>
                </a:moveTo>
                <a:cubicBezTo>
                  <a:pt x="4393470" y="380703"/>
                  <a:pt x="4398262" y="385493"/>
                  <a:pt x="4398262" y="391439"/>
                </a:cubicBezTo>
                <a:cubicBezTo>
                  <a:pt x="4398262" y="397386"/>
                  <a:pt x="4393470" y="402176"/>
                  <a:pt x="4387524" y="402176"/>
                </a:cubicBezTo>
                <a:cubicBezTo>
                  <a:pt x="4381577" y="402176"/>
                  <a:pt x="4376787" y="397386"/>
                  <a:pt x="4376787" y="391439"/>
                </a:cubicBezTo>
                <a:cubicBezTo>
                  <a:pt x="4376787" y="385493"/>
                  <a:pt x="4381577" y="380703"/>
                  <a:pt x="4387524" y="380703"/>
                </a:cubicBezTo>
                <a:close/>
                <a:moveTo>
                  <a:pt x="4358616" y="378389"/>
                </a:moveTo>
                <a:cubicBezTo>
                  <a:pt x="4364563" y="378389"/>
                  <a:pt x="4369355" y="383179"/>
                  <a:pt x="4369355" y="389126"/>
                </a:cubicBezTo>
                <a:cubicBezTo>
                  <a:pt x="4369355" y="395072"/>
                  <a:pt x="4364563" y="399862"/>
                  <a:pt x="4358616" y="399862"/>
                </a:cubicBezTo>
                <a:cubicBezTo>
                  <a:pt x="4352670" y="399862"/>
                  <a:pt x="4347880" y="395072"/>
                  <a:pt x="4347880" y="389126"/>
                </a:cubicBezTo>
                <a:cubicBezTo>
                  <a:pt x="4347880" y="383179"/>
                  <a:pt x="4352670" y="378389"/>
                  <a:pt x="4358616" y="378389"/>
                </a:cubicBezTo>
                <a:close/>
                <a:moveTo>
                  <a:pt x="4255543" y="376078"/>
                </a:moveTo>
                <a:cubicBezTo>
                  <a:pt x="4261490" y="376078"/>
                  <a:pt x="4266281" y="380868"/>
                  <a:pt x="4266281" y="386814"/>
                </a:cubicBezTo>
                <a:cubicBezTo>
                  <a:pt x="4266281" y="392761"/>
                  <a:pt x="4261490" y="397551"/>
                  <a:pt x="4255543" y="397551"/>
                </a:cubicBezTo>
                <a:cubicBezTo>
                  <a:pt x="4249597" y="397551"/>
                  <a:pt x="4244807" y="392761"/>
                  <a:pt x="4244807" y="386814"/>
                </a:cubicBezTo>
                <a:cubicBezTo>
                  <a:pt x="4244807" y="380868"/>
                  <a:pt x="4249597" y="376078"/>
                  <a:pt x="4255543" y="376078"/>
                </a:cubicBezTo>
                <a:close/>
                <a:moveTo>
                  <a:pt x="4015535" y="374756"/>
                </a:moveTo>
                <a:cubicBezTo>
                  <a:pt x="4021482" y="374756"/>
                  <a:pt x="4026273" y="379546"/>
                  <a:pt x="4026273" y="385493"/>
                </a:cubicBezTo>
                <a:cubicBezTo>
                  <a:pt x="4026273" y="391439"/>
                  <a:pt x="4021482" y="396229"/>
                  <a:pt x="4015535" y="396229"/>
                </a:cubicBezTo>
                <a:cubicBezTo>
                  <a:pt x="4009589" y="396229"/>
                  <a:pt x="4004799" y="391439"/>
                  <a:pt x="4004799" y="385493"/>
                </a:cubicBezTo>
                <a:cubicBezTo>
                  <a:pt x="4004799" y="379546"/>
                  <a:pt x="4009589" y="374756"/>
                  <a:pt x="4015535" y="374756"/>
                </a:cubicBezTo>
                <a:close/>
                <a:moveTo>
                  <a:pt x="78605" y="371288"/>
                </a:moveTo>
                <a:cubicBezTo>
                  <a:pt x="84536" y="371288"/>
                  <a:pt x="89343" y="376095"/>
                  <a:pt x="89343" y="382024"/>
                </a:cubicBezTo>
                <a:cubicBezTo>
                  <a:pt x="89343" y="387955"/>
                  <a:pt x="84536" y="392761"/>
                  <a:pt x="78605" y="392761"/>
                </a:cubicBezTo>
                <a:cubicBezTo>
                  <a:pt x="72676" y="392761"/>
                  <a:pt x="67869" y="387955"/>
                  <a:pt x="67869" y="382024"/>
                </a:cubicBezTo>
                <a:cubicBezTo>
                  <a:pt x="67869" y="376095"/>
                  <a:pt x="72676" y="371288"/>
                  <a:pt x="78605" y="371288"/>
                </a:cubicBezTo>
                <a:close/>
                <a:moveTo>
                  <a:pt x="4202521" y="368810"/>
                </a:moveTo>
                <a:cubicBezTo>
                  <a:pt x="4208467" y="368810"/>
                  <a:pt x="4213257" y="373600"/>
                  <a:pt x="4213257" y="379546"/>
                </a:cubicBezTo>
                <a:cubicBezTo>
                  <a:pt x="4213257" y="385493"/>
                  <a:pt x="4208467" y="390283"/>
                  <a:pt x="4202521" y="390283"/>
                </a:cubicBezTo>
                <a:cubicBezTo>
                  <a:pt x="4196574" y="390283"/>
                  <a:pt x="4191784" y="385493"/>
                  <a:pt x="4191784" y="379546"/>
                </a:cubicBezTo>
                <a:cubicBezTo>
                  <a:pt x="4191784" y="373600"/>
                  <a:pt x="4196574" y="368810"/>
                  <a:pt x="4202521" y="368810"/>
                </a:cubicBezTo>
                <a:close/>
                <a:moveTo>
                  <a:pt x="4400242" y="368149"/>
                </a:moveTo>
                <a:cubicBezTo>
                  <a:pt x="4400409" y="368149"/>
                  <a:pt x="4400573" y="368314"/>
                  <a:pt x="4400573" y="368479"/>
                </a:cubicBezTo>
                <a:cubicBezTo>
                  <a:pt x="4400573" y="368645"/>
                  <a:pt x="4400242" y="368810"/>
                  <a:pt x="4400242" y="368810"/>
                </a:cubicBezTo>
                <a:cubicBezTo>
                  <a:pt x="4400077" y="368810"/>
                  <a:pt x="4399913" y="368645"/>
                  <a:pt x="4399913" y="368479"/>
                </a:cubicBezTo>
                <a:cubicBezTo>
                  <a:pt x="4399913" y="368314"/>
                  <a:pt x="4400077" y="368149"/>
                  <a:pt x="4400242" y="368149"/>
                </a:cubicBezTo>
                <a:close/>
                <a:moveTo>
                  <a:pt x="4125216" y="367322"/>
                </a:moveTo>
                <a:cubicBezTo>
                  <a:pt x="4131162" y="367322"/>
                  <a:pt x="4135952" y="372112"/>
                  <a:pt x="4135952" y="378058"/>
                </a:cubicBezTo>
                <a:cubicBezTo>
                  <a:pt x="4135952" y="384005"/>
                  <a:pt x="4131162" y="388796"/>
                  <a:pt x="4125216" y="388796"/>
                </a:cubicBezTo>
                <a:cubicBezTo>
                  <a:pt x="4119269" y="388796"/>
                  <a:pt x="4114479" y="384005"/>
                  <a:pt x="4114479" y="378058"/>
                </a:cubicBezTo>
                <a:cubicBezTo>
                  <a:pt x="4114479" y="372112"/>
                  <a:pt x="4119269" y="367322"/>
                  <a:pt x="4125216" y="367322"/>
                </a:cubicBezTo>
                <a:close/>
                <a:moveTo>
                  <a:pt x="719673" y="366828"/>
                </a:moveTo>
                <a:cubicBezTo>
                  <a:pt x="725620" y="366828"/>
                  <a:pt x="730411" y="371617"/>
                  <a:pt x="730411" y="377564"/>
                </a:cubicBezTo>
                <a:cubicBezTo>
                  <a:pt x="730411" y="383511"/>
                  <a:pt x="725620" y="388302"/>
                  <a:pt x="719673" y="388302"/>
                </a:cubicBezTo>
                <a:cubicBezTo>
                  <a:pt x="713727" y="388302"/>
                  <a:pt x="708937" y="383511"/>
                  <a:pt x="708937" y="377564"/>
                </a:cubicBezTo>
                <a:cubicBezTo>
                  <a:pt x="708937" y="371617"/>
                  <a:pt x="713727" y="366828"/>
                  <a:pt x="719673" y="366828"/>
                </a:cubicBezTo>
                <a:close/>
                <a:moveTo>
                  <a:pt x="4365720" y="358072"/>
                </a:moveTo>
                <a:cubicBezTo>
                  <a:pt x="4371666" y="358072"/>
                  <a:pt x="4376456" y="362862"/>
                  <a:pt x="4376456" y="368808"/>
                </a:cubicBezTo>
                <a:cubicBezTo>
                  <a:pt x="4376456" y="374755"/>
                  <a:pt x="4371666" y="379546"/>
                  <a:pt x="4365720" y="379546"/>
                </a:cubicBezTo>
                <a:cubicBezTo>
                  <a:pt x="4359773" y="379546"/>
                  <a:pt x="4354983" y="374755"/>
                  <a:pt x="4354983" y="368808"/>
                </a:cubicBezTo>
                <a:cubicBezTo>
                  <a:pt x="4354983" y="362862"/>
                  <a:pt x="4359773" y="358072"/>
                  <a:pt x="4365720" y="358072"/>
                </a:cubicBezTo>
                <a:close/>
                <a:moveTo>
                  <a:pt x="3773710" y="354274"/>
                </a:moveTo>
                <a:cubicBezTo>
                  <a:pt x="3779656" y="354274"/>
                  <a:pt x="3784446" y="359064"/>
                  <a:pt x="3784446" y="365010"/>
                </a:cubicBezTo>
                <a:cubicBezTo>
                  <a:pt x="3784446" y="370957"/>
                  <a:pt x="3779656" y="375747"/>
                  <a:pt x="3773710" y="375747"/>
                </a:cubicBezTo>
                <a:cubicBezTo>
                  <a:pt x="3767763" y="375747"/>
                  <a:pt x="3762974" y="370957"/>
                  <a:pt x="3762974" y="365010"/>
                </a:cubicBezTo>
                <a:cubicBezTo>
                  <a:pt x="3762974" y="359064"/>
                  <a:pt x="3767763" y="354274"/>
                  <a:pt x="3773710" y="354274"/>
                </a:cubicBezTo>
                <a:close/>
                <a:moveTo>
                  <a:pt x="3423031" y="353448"/>
                </a:moveTo>
                <a:cubicBezTo>
                  <a:pt x="3428978" y="353448"/>
                  <a:pt x="3433768" y="358238"/>
                  <a:pt x="3433768" y="364185"/>
                </a:cubicBezTo>
                <a:cubicBezTo>
                  <a:pt x="3433768" y="370131"/>
                  <a:pt x="3428978" y="374923"/>
                  <a:pt x="3423031" y="374923"/>
                </a:cubicBezTo>
                <a:cubicBezTo>
                  <a:pt x="3417085" y="374923"/>
                  <a:pt x="3412295" y="370131"/>
                  <a:pt x="3412295" y="364185"/>
                </a:cubicBezTo>
                <a:cubicBezTo>
                  <a:pt x="3412295" y="358238"/>
                  <a:pt x="3417085" y="353448"/>
                  <a:pt x="3423031" y="353448"/>
                </a:cubicBezTo>
                <a:close/>
                <a:moveTo>
                  <a:pt x="2757185" y="352953"/>
                </a:moveTo>
                <a:cubicBezTo>
                  <a:pt x="2763131" y="352953"/>
                  <a:pt x="2767923" y="357742"/>
                  <a:pt x="2767923" y="363689"/>
                </a:cubicBezTo>
                <a:cubicBezTo>
                  <a:pt x="2767923" y="369635"/>
                  <a:pt x="2763131" y="374425"/>
                  <a:pt x="2757185" y="374425"/>
                </a:cubicBezTo>
                <a:cubicBezTo>
                  <a:pt x="2751238" y="374425"/>
                  <a:pt x="2746449" y="369635"/>
                  <a:pt x="2746449" y="363689"/>
                </a:cubicBezTo>
                <a:cubicBezTo>
                  <a:pt x="2746449" y="357742"/>
                  <a:pt x="2751238" y="352953"/>
                  <a:pt x="2757185" y="352953"/>
                </a:cubicBezTo>
                <a:close/>
                <a:moveTo>
                  <a:pt x="4338300" y="352786"/>
                </a:moveTo>
                <a:cubicBezTo>
                  <a:pt x="4344247" y="352786"/>
                  <a:pt x="4349037" y="357576"/>
                  <a:pt x="4349037" y="363522"/>
                </a:cubicBezTo>
                <a:lnTo>
                  <a:pt x="4338384" y="374179"/>
                </a:lnTo>
                <a:lnTo>
                  <a:pt x="4346063" y="381858"/>
                </a:lnTo>
                <a:lnTo>
                  <a:pt x="4336317" y="391606"/>
                </a:lnTo>
                <a:lnTo>
                  <a:pt x="4345402" y="400689"/>
                </a:lnTo>
                <a:lnTo>
                  <a:pt x="4336152" y="409941"/>
                </a:lnTo>
                <a:lnTo>
                  <a:pt x="4346559" y="420347"/>
                </a:lnTo>
                <a:cubicBezTo>
                  <a:pt x="4346559" y="426293"/>
                  <a:pt x="4341769" y="431083"/>
                  <a:pt x="4335822" y="431083"/>
                </a:cubicBezTo>
                <a:cubicBezTo>
                  <a:pt x="4329876" y="431083"/>
                  <a:pt x="4325086" y="426293"/>
                  <a:pt x="4325086" y="420347"/>
                </a:cubicBezTo>
                <a:lnTo>
                  <a:pt x="4334336" y="411098"/>
                </a:lnTo>
                <a:lnTo>
                  <a:pt x="4323929" y="400689"/>
                </a:lnTo>
                <a:lnTo>
                  <a:pt x="4333675" y="390945"/>
                </a:lnTo>
                <a:lnTo>
                  <a:pt x="4324590" y="381858"/>
                </a:lnTo>
                <a:lnTo>
                  <a:pt x="4335245" y="371205"/>
                </a:lnTo>
                <a:lnTo>
                  <a:pt x="4327564" y="363522"/>
                </a:lnTo>
                <a:cubicBezTo>
                  <a:pt x="4327564" y="357576"/>
                  <a:pt x="4332354" y="352786"/>
                  <a:pt x="4338300" y="352786"/>
                </a:cubicBezTo>
                <a:close/>
                <a:moveTo>
                  <a:pt x="4264134" y="350310"/>
                </a:moveTo>
                <a:cubicBezTo>
                  <a:pt x="4270065" y="350310"/>
                  <a:pt x="4274873" y="355117"/>
                  <a:pt x="4274873" y="361046"/>
                </a:cubicBezTo>
                <a:cubicBezTo>
                  <a:pt x="4274873" y="366977"/>
                  <a:pt x="4270065" y="371784"/>
                  <a:pt x="4264134" y="371784"/>
                </a:cubicBezTo>
                <a:cubicBezTo>
                  <a:pt x="4258205" y="371784"/>
                  <a:pt x="4253398" y="366977"/>
                  <a:pt x="4253398" y="361046"/>
                </a:cubicBezTo>
                <a:cubicBezTo>
                  <a:pt x="4253398" y="355117"/>
                  <a:pt x="4258205" y="350310"/>
                  <a:pt x="4264134" y="350310"/>
                </a:cubicBezTo>
                <a:close/>
                <a:moveTo>
                  <a:pt x="4376787" y="338085"/>
                </a:moveTo>
                <a:cubicBezTo>
                  <a:pt x="4381986" y="338085"/>
                  <a:pt x="4386202" y="342301"/>
                  <a:pt x="4386202" y="347500"/>
                </a:cubicBezTo>
                <a:cubicBezTo>
                  <a:pt x="4386202" y="352701"/>
                  <a:pt x="4381988" y="356915"/>
                  <a:pt x="4376787" y="356915"/>
                </a:cubicBezTo>
                <a:cubicBezTo>
                  <a:pt x="4371588" y="356915"/>
                  <a:pt x="4367372" y="352701"/>
                  <a:pt x="4367372" y="347500"/>
                </a:cubicBezTo>
                <a:cubicBezTo>
                  <a:pt x="4367372" y="342301"/>
                  <a:pt x="4371586" y="338085"/>
                  <a:pt x="4376787" y="338085"/>
                </a:cubicBezTo>
                <a:close/>
                <a:moveTo>
                  <a:pt x="4221352" y="337920"/>
                </a:moveTo>
                <a:cubicBezTo>
                  <a:pt x="4227299" y="337920"/>
                  <a:pt x="4232090" y="342710"/>
                  <a:pt x="4232090" y="348657"/>
                </a:cubicBezTo>
                <a:cubicBezTo>
                  <a:pt x="4232090" y="354603"/>
                  <a:pt x="4227299" y="359395"/>
                  <a:pt x="4221352" y="359395"/>
                </a:cubicBezTo>
                <a:cubicBezTo>
                  <a:pt x="4215406" y="359395"/>
                  <a:pt x="4210616" y="354603"/>
                  <a:pt x="4210616" y="348657"/>
                </a:cubicBezTo>
                <a:cubicBezTo>
                  <a:pt x="4210616" y="342710"/>
                  <a:pt x="4215406" y="337920"/>
                  <a:pt x="4221352" y="337920"/>
                </a:cubicBezTo>
                <a:close/>
                <a:moveTo>
                  <a:pt x="903025" y="337591"/>
                </a:moveTo>
                <a:cubicBezTo>
                  <a:pt x="908972" y="337591"/>
                  <a:pt x="913762" y="342381"/>
                  <a:pt x="913762" y="348327"/>
                </a:cubicBezTo>
                <a:cubicBezTo>
                  <a:pt x="913762" y="354274"/>
                  <a:pt x="908972" y="359064"/>
                  <a:pt x="903025" y="359064"/>
                </a:cubicBezTo>
                <a:cubicBezTo>
                  <a:pt x="897079" y="359064"/>
                  <a:pt x="892289" y="354274"/>
                  <a:pt x="892289" y="348327"/>
                </a:cubicBezTo>
                <a:cubicBezTo>
                  <a:pt x="892289" y="342381"/>
                  <a:pt x="897079" y="337591"/>
                  <a:pt x="903025" y="337591"/>
                </a:cubicBezTo>
                <a:close/>
                <a:moveTo>
                  <a:pt x="4344247" y="333956"/>
                </a:moveTo>
                <a:cubicBezTo>
                  <a:pt x="4350193" y="333956"/>
                  <a:pt x="4354985" y="338746"/>
                  <a:pt x="4354985" y="344693"/>
                </a:cubicBezTo>
                <a:cubicBezTo>
                  <a:pt x="4354985" y="350639"/>
                  <a:pt x="4350193" y="355431"/>
                  <a:pt x="4344247" y="355431"/>
                </a:cubicBezTo>
                <a:cubicBezTo>
                  <a:pt x="4338300" y="355431"/>
                  <a:pt x="4333511" y="350639"/>
                  <a:pt x="4333511" y="344693"/>
                </a:cubicBezTo>
                <a:cubicBezTo>
                  <a:pt x="4333511" y="338746"/>
                  <a:pt x="4338300" y="333956"/>
                  <a:pt x="4344247" y="333956"/>
                </a:cubicBezTo>
                <a:close/>
                <a:moveTo>
                  <a:pt x="3944177" y="333956"/>
                </a:moveTo>
                <a:cubicBezTo>
                  <a:pt x="3950123" y="333956"/>
                  <a:pt x="3954915" y="338746"/>
                  <a:pt x="3954915" y="344693"/>
                </a:cubicBezTo>
                <a:cubicBezTo>
                  <a:pt x="3954915" y="350639"/>
                  <a:pt x="3950123" y="355431"/>
                  <a:pt x="3944177" y="355431"/>
                </a:cubicBezTo>
                <a:cubicBezTo>
                  <a:pt x="3938230" y="355431"/>
                  <a:pt x="3933441" y="350639"/>
                  <a:pt x="3933441" y="344693"/>
                </a:cubicBezTo>
                <a:cubicBezTo>
                  <a:pt x="3933441" y="338746"/>
                  <a:pt x="3938230" y="333956"/>
                  <a:pt x="3944177" y="333956"/>
                </a:cubicBezTo>
                <a:close/>
                <a:moveTo>
                  <a:pt x="208437" y="332966"/>
                </a:moveTo>
                <a:cubicBezTo>
                  <a:pt x="214383" y="332966"/>
                  <a:pt x="219174" y="337756"/>
                  <a:pt x="219174" y="343702"/>
                </a:cubicBezTo>
                <a:cubicBezTo>
                  <a:pt x="219174" y="349649"/>
                  <a:pt x="214383" y="354439"/>
                  <a:pt x="208437" y="354439"/>
                </a:cubicBezTo>
                <a:cubicBezTo>
                  <a:pt x="202490" y="354439"/>
                  <a:pt x="197700" y="349649"/>
                  <a:pt x="197700" y="343702"/>
                </a:cubicBezTo>
                <a:cubicBezTo>
                  <a:pt x="197700" y="337756"/>
                  <a:pt x="202490" y="332966"/>
                  <a:pt x="208437" y="332966"/>
                </a:cubicBezTo>
                <a:close/>
                <a:moveTo>
                  <a:pt x="4159077" y="329166"/>
                </a:moveTo>
                <a:cubicBezTo>
                  <a:pt x="4165024" y="329166"/>
                  <a:pt x="4169814" y="333956"/>
                  <a:pt x="4169814" y="339903"/>
                </a:cubicBezTo>
                <a:cubicBezTo>
                  <a:pt x="4169814" y="345849"/>
                  <a:pt x="4165024" y="350641"/>
                  <a:pt x="4159077" y="350641"/>
                </a:cubicBezTo>
                <a:cubicBezTo>
                  <a:pt x="4153131" y="350641"/>
                  <a:pt x="4148341" y="345849"/>
                  <a:pt x="4148341" y="339903"/>
                </a:cubicBezTo>
                <a:cubicBezTo>
                  <a:pt x="4148341" y="333956"/>
                  <a:pt x="4153131" y="329166"/>
                  <a:pt x="4159077" y="329166"/>
                </a:cubicBezTo>
                <a:close/>
                <a:moveTo>
                  <a:pt x="4069550" y="326688"/>
                </a:moveTo>
                <a:cubicBezTo>
                  <a:pt x="4075481" y="326688"/>
                  <a:pt x="4080288" y="331495"/>
                  <a:pt x="4080288" y="337425"/>
                </a:cubicBezTo>
                <a:cubicBezTo>
                  <a:pt x="4080288" y="343356"/>
                  <a:pt x="4075481" y="348163"/>
                  <a:pt x="4069550" y="348163"/>
                </a:cubicBezTo>
                <a:cubicBezTo>
                  <a:pt x="4063621" y="348163"/>
                  <a:pt x="4058814" y="343356"/>
                  <a:pt x="4058814" y="337425"/>
                </a:cubicBezTo>
                <a:cubicBezTo>
                  <a:pt x="4058814" y="331495"/>
                  <a:pt x="4063621" y="326688"/>
                  <a:pt x="4069550" y="326688"/>
                </a:cubicBezTo>
                <a:close/>
                <a:moveTo>
                  <a:pt x="4317653" y="325698"/>
                </a:moveTo>
                <a:cubicBezTo>
                  <a:pt x="4323600" y="325698"/>
                  <a:pt x="4328390" y="330488"/>
                  <a:pt x="4328390" y="336434"/>
                </a:cubicBezTo>
                <a:lnTo>
                  <a:pt x="4318810" y="346016"/>
                </a:lnTo>
                <a:lnTo>
                  <a:pt x="4326078" y="353282"/>
                </a:lnTo>
                <a:lnTo>
                  <a:pt x="4317240" y="362119"/>
                </a:lnTo>
                <a:lnTo>
                  <a:pt x="4325747" y="370626"/>
                </a:lnTo>
                <a:lnTo>
                  <a:pt x="4316909" y="379465"/>
                </a:lnTo>
                <a:lnTo>
                  <a:pt x="4326407" y="388961"/>
                </a:lnTo>
                <a:lnTo>
                  <a:pt x="4316661" y="398709"/>
                </a:lnTo>
                <a:lnTo>
                  <a:pt x="4327233" y="409279"/>
                </a:lnTo>
                <a:cubicBezTo>
                  <a:pt x="4327233" y="415225"/>
                  <a:pt x="4322443" y="420017"/>
                  <a:pt x="4316496" y="420017"/>
                </a:cubicBezTo>
                <a:cubicBezTo>
                  <a:pt x="4310550" y="420017"/>
                  <a:pt x="4305760" y="415225"/>
                  <a:pt x="4305760" y="409279"/>
                </a:cubicBezTo>
                <a:lnTo>
                  <a:pt x="4315506" y="399535"/>
                </a:lnTo>
                <a:lnTo>
                  <a:pt x="4304935" y="388961"/>
                </a:lnTo>
                <a:lnTo>
                  <a:pt x="4313772" y="380126"/>
                </a:lnTo>
                <a:lnTo>
                  <a:pt x="4304274" y="370626"/>
                </a:lnTo>
                <a:lnTo>
                  <a:pt x="4313110" y="361790"/>
                </a:lnTo>
                <a:lnTo>
                  <a:pt x="4304603" y="353282"/>
                </a:lnTo>
                <a:lnTo>
                  <a:pt x="4314183" y="343702"/>
                </a:lnTo>
                <a:lnTo>
                  <a:pt x="4306917" y="336434"/>
                </a:lnTo>
                <a:cubicBezTo>
                  <a:pt x="4306917" y="330488"/>
                  <a:pt x="4311707" y="325698"/>
                  <a:pt x="4317653" y="325698"/>
                </a:cubicBezTo>
                <a:close/>
                <a:moveTo>
                  <a:pt x="2568382" y="325367"/>
                </a:moveTo>
                <a:cubicBezTo>
                  <a:pt x="2574329" y="325367"/>
                  <a:pt x="2579121" y="330157"/>
                  <a:pt x="2579121" y="336103"/>
                </a:cubicBezTo>
                <a:cubicBezTo>
                  <a:pt x="2579121" y="342050"/>
                  <a:pt x="2574329" y="346840"/>
                  <a:pt x="2568382" y="346840"/>
                </a:cubicBezTo>
                <a:cubicBezTo>
                  <a:pt x="2562436" y="346840"/>
                  <a:pt x="2557646" y="342050"/>
                  <a:pt x="2557646" y="336103"/>
                </a:cubicBezTo>
                <a:cubicBezTo>
                  <a:pt x="2557646" y="330157"/>
                  <a:pt x="2562436" y="325367"/>
                  <a:pt x="2568382" y="325367"/>
                </a:cubicBezTo>
                <a:close/>
                <a:moveTo>
                  <a:pt x="3288077" y="315291"/>
                </a:moveTo>
                <a:cubicBezTo>
                  <a:pt x="3294008" y="315291"/>
                  <a:pt x="3298815" y="320098"/>
                  <a:pt x="3298815" y="326028"/>
                </a:cubicBezTo>
                <a:cubicBezTo>
                  <a:pt x="3298815" y="331958"/>
                  <a:pt x="3294008" y="336764"/>
                  <a:pt x="3288077" y="336764"/>
                </a:cubicBezTo>
                <a:cubicBezTo>
                  <a:pt x="3282148" y="336764"/>
                  <a:pt x="3277340" y="331958"/>
                  <a:pt x="3277340" y="326028"/>
                </a:cubicBezTo>
                <a:cubicBezTo>
                  <a:pt x="3277340" y="320098"/>
                  <a:pt x="3282148" y="315291"/>
                  <a:pt x="3288077" y="315291"/>
                </a:cubicBezTo>
                <a:close/>
                <a:moveTo>
                  <a:pt x="4353827" y="314466"/>
                </a:moveTo>
                <a:cubicBezTo>
                  <a:pt x="4359773" y="314466"/>
                  <a:pt x="4364563" y="319255"/>
                  <a:pt x="4364563" y="325202"/>
                </a:cubicBezTo>
                <a:cubicBezTo>
                  <a:pt x="4364563" y="331148"/>
                  <a:pt x="4359773" y="335940"/>
                  <a:pt x="4353827" y="335940"/>
                </a:cubicBezTo>
                <a:cubicBezTo>
                  <a:pt x="4347880" y="335940"/>
                  <a:pt x="4343090" y="331148"/>
                  <a:pt x="4343090" y="325202"/>
                </a:cubicBezTo>
                <a:cubicBezTo>
                  <a:pt x="4343090" y="319255"/>
                  <a:pt x="4347880" y="314466"/>
                  <a:pt x="4353827" y="314466"/>
                </a:cubicBezTo>
                <a:close/>
                <a:moveTo>
                  <a:pt x="3674272" y="313639"/>
                </a:moveTo>
                <a:cubicBezTo>
                  <a:pt x="3680218" y="313639"/>
                  <a:pt x="3685010" y="318428"/>
                  <a:pt x="3685010" y="324375"/>
                </a:cubicBezTo>
                <a:cubicBezTo>
                  <a:pt x="3685010" y="330321"/>
                  <a:pt x="3680218" y="335113"/>
                  <a:pt x="3674272" y="335113"/>
                </a:cubicBezTo>
                <a:cubicBezTo>
                  <a:pt x="3668325" y="335113"/>
                  <a:pt x="3663535" y="330321"/>
                  <a:pt x="3663535" y="324375"/>
                </a:cubicBezTo>
                <a:cubicBezTo>
                  <a:pt x="3663535" y="318428"/>
                  <a:pt x="3668325" y="313639"/>
                  <a:pt x="3674272" y="313639"/>
                </a:cubicBezTo>
                <a:close/>
                <a:moveTo>
                  <a:pt x="4233739" y="312813"/>
                </a:moveTo>
                <a:cubicBezTo>
                  <a:pt x="4239686" y="312813"/>
                  <a:pt x="4244477" y="317603"/>
                  <a:pt x="4244477" y="323549"/>
                </a:cubicBezTo>
                <a:cubicBezTo>
                  <a:pt x="4244477" y="329496"/>
                  <a:pt x="4239686" y="334286"/>
                  <a:pt x="4233739" y="334286"/>
                </a:cubicBezTo>
                <a:cubicBezTo>
                  <a:pt x="4227793" y="334286"/>
                  <a:pt x="4223003" y="329496"/>
                  <a:pt x="4223003" y="323549"/>
                </a:cubicBezTo>
                <a:cubicBezTo>
                  <a:pt x="4223003" y="317603"/>
                  <a:pt x="4227793" y="312813"/>
                  <a:pt x="4233739" y="312813"/>
                </a:cubicBezTo>
                <a:close/>
                <a:moveTo>
                  <a:pt x="1097608" y="312317"/>
                </a:moveTo>
                <a:cubicBezTo>
                  <a:pt x="1103554" y="312317"/>
                  <a:pt x="1108346" y="317107"/>
                  <a:pt x="1108346" y="323053"/>
                </a:cubicBezTo>
                <a:cubicBezTo>
                  <a:pt x="1108346" y="329000"/>
                  <a:pt x="1103554" y="333790"/>
                  <a:pt x="1097608" y="333790"/>
                </a:cubicBezTo>
                <a:cubicBezTo>
                  <a:pt x="1091661" y="333790"/>
                  <a:pt x="1086872" y="329000"/>
                  <a:pt x="1086872" y="323053"/>
                </a:cubicBezTo>
                <a:cubicBezTo>
                  <a:pt x="1086872" y="317107"/>
                  <a:pt x="1091661" y="312317"/>
                  <a:pt x="1097608" y="312317"/>
                </a:cubicBezTo>
                <a:close/>
                <a:moveTo>
                  <a:pt x="4322608" y="308684"/>
                </a:moveTo>
                <a:cubicBezTo>
                  <a:pt x="4328554" y="308684"/>
                  <a:pt x="4333346" y="313474"/>
                  <a:pt x="4333346" y="319420"/>
                </a:cubicBezTo>
                <a:cubicBezTo>
                  <a:pt x="4333346" y="325367"/>
                  <a:pt x="4328554" y="330157"/>
                  <a:pt x="4322608" y="330157"/>
                </a:cubicBezTo>
                <a:cubicBezTo>
                  <a:pt x="4316661" y="330157"/>
                  <a:pt x="4311871" y="325367"/>
                  <a:pt x="4311871" y="319420"/>
                </a:cubicBezTo>
                <a:cubicBezTo>
                  <a:pt x="4311871" y="313474"/>
                  <a:pt x="4316661" y="308684"/>
                  <a:pt x="4322608" y="308684"/>
                </a:cubicBezTo>
                <a:close/>
                <a:moveTo>
                  <a:pt x="4367372" y="304388"/>
                </a:moveTo>
                <a:cubicBezTo>
                  <a:pt x="4367464" y="304388"/>
                  <a:pt x="4367537" y="304463"/>
                  <a:pt x="4367537" y="304553"/>
                </a:cubicBezTo>
                <a:cubicBezTo>
                  <a:pt x="4367537" y="304645"/>
                  <a:pt x="4367464" y="304720"/>
                  <a:pt x="4367372" y="304720"/>
                </a:cubicBezTo>
                <a:cubicBezTo>
                  <a:pt x="4367280" y="304720"/>
                  <a:pt x="4367208" y="304645"/>
                  <a:pt x="4367208" y="304553"/>
                </a:cubicBezTo>
                <a:cubicBezTo>
                  <a:pt x="4367208" y="304463"/>
                  <a:pt x="4367280" y="304388"/>
                  <a:pt x="4367372" y="304388"/>
                </a:cubicBezTo>
                <a:close/>
                <a:moveTo>
                  <a:pt x="2369008" y="302406"/>
                </a:moveTo>
                <a:cubicBezTo>
                  <a:pt x="2374955" y="302406"/>
                  <a:pt x="2379746" y="307196"/>
                  <a:pt x="2379746" y="313142"/>
                </a:cubicBezTo>
                <a:cubicBezTo>
                  <a:pt x="2379746" y="319089"/>
                  <a:pt x="2374955" y="323881"/>
                  <a:pt x="2369008" y="323881"/>
                </a:cubicBezTo>
                <a:cubicBezTo>
                  <a:pt x="2363061" y="323881"/>
                  <a:pt x="2358272" y="319089"/>
                  <a:pt x="2358272" y="313142"/>
                </a:cubicBezTo>
                <a:cubicBezTo>
                  <a:pt x="2358272" y="307196"/>
                  <a:pt x="2363061" y="302406"/>
                  <a:pt x="2369008" y="302406"/>
                </a:cubicBezTo>
                <a:close/>
                <a:moveTo>
                  <a:pt x="4183359" y="298442"/>
                </a:moveTo>
                <a:cubicBezTo>
                  <a:pt x="4189306" y="298442"/>
                  <a:pt x="4194096" y="303232"/>
                  <a:pt x="4194096" y="309178"/>
                </a:cubicBezTo>
                <a:cubicBezTo>
                  <a:pt x="4194096" y="315125"/>
                  <a:pt x="4189306" y="319916"/>
                  <a:pt x="4183359" y="319916"/>
                </a:cubicBezTo>
                <a:cubicBezTo>
                  <a:pt x="4177413" y="319916"/>
                  <a:pt x="4172623" y="315125"/>
                  <a:pt x="4172623" y="309178"/>
                </a:cubicBezTo>
                <a:cubicBezTo>
                  <a:pt x="4172623" y="303232"/>
                  <a:pt x="4177413" y="298442"/>
                  <a:pt x="4183359" y="298442"/>
                </a:cubicBezTo>
                <a:close/>
                <a:moveTo>
                  <a:pt x="349336" y="295469"/>
                </a:moveTo>
                <a:cubicBezTo>
                  <a:pt x="355282" y="295469"/>
                  <a:pt x="360074" y="300259"/>
                  <a:pt x="360074" y="306206"/>
                </a:cubicBezTo>
                <a:cubicBezTo>
                  <a:pt x="360074" y="312152"/>
                  <a:pt x="355282" y="316944"/>
                  <a:pt x="349336" y="316944"/>
                </a:cubicBezTo>
                <a:cubicBezTo>
                  <a:pt x="343389" y="316944"/>
                  <a:pt x="338599" y="312152"/>
                  <a:pt x="338599" y="306206"/>
                </a:cubicBezTo>
                <a:cubicBezTo>
                  <a:pt x="338599" y="300259"/>
                  <a:pt x="343389" y="295469"/>
                  <a:pt x="349336" y="295469"/>
                </a:cubicBezTo>
                <a:close/>
                <a:moveTo>
                  <a:pt x="3865386" y="292330"/>
                </a:moveTo>
                <a:cubicBezTo>
                  <a:pt x="3871332" y="292330"/>
                  <a:pt x="3876122" y="297120"/>
                  <a:pt x="3876122" y="303067"/>
                </a:cubicBezTo>
                <a:cubicBezTo>
                  <a:pt x="3876122" y="309013"/>
                  <a:pt x="3871332" y="313803"/>
                  <a:pt x="3865386" y="313803"/>
                </a:cubicBezTo>
                <a:cubicBezTo>
                  <a:pt x="3859439" y="313803"/>
                  <a:pt x="3854650" y="309013"/>
                  <a:pt x="3854650" y="303067"/>
                </a:cubicBezTo>
                <a:cubicBezTo>
                  <a:pt x="3854650" y="297120"/>
                  <a:pt x="3859439" y="292330"/>
                  <a:pt x="3865386" y="292330"/>
                </a:cubicBezTo>
                <a:close/>
                <a:moveTo>
                  <a:pt x="1301937" y="292330"/>
                </a:moveTo>
                <a:cubicBezTo>
                  <a:pt x="1307883" y="292330"/>
                  <a:pt x="1312675" y="297120"/>
                  <a:pt x="1312675" y="303067"/>
                </a:cubicBezTo>
                <a:cubicBezTo>
                  <a:pt x="1312675" y="309013"/>
                  <a:pt x="1307883" y="313803"/>
                  <a:pt x="1301937" y="313803"/>
                </a:cubicBezTo>
                <a:cubicBezTo>
                  <a:pt x="1295990" y="313803"/>
                  <a:pt x="1291200" y="309013"/>
                  <a:pt x="1291200" y="303067"/>
                </a:cubicBezTo>
                <a:cubicBezTo>
                  <a:pt x="1291200" y="297120"/>
                  <a:pt x="1295990" y="292330"/>
                  <a:pt x="1301937" y="292330"/>
                </a:cubicBezTo>
                <a:close/>
                <a:moveTo>
                  <a:pt x="4330866" y="291009"/>
                </a:moveTo>
                <a:cubicBezTo>
                  <a:pt x="4336812" y="291009"/>
                  <a:pt x="4341604" y="295799"/>
                  <a:pt x="4341604" y="301745"/>
                </a:cubicBezTo>
                <a:cubicBezTo>
                  <a:pt x="4341604" y="307692"/>
                  <a:pt x="4336812" y="312482"/>
                  <a:pt x="4330866" y="312482"/>
                </a:cubicBezTo>
                <a:cubicBezTo>
                  <a:pt x="4324919" y="312482"/>
                  <a:pt x="4320130" y="307692"/>
                  <a:pt x="4320130" y="301745"/>
                </a:cubicBezTo>
                <a:cubicBezTo>
                  <a:pt x="4320130" y="295799"/>
                  <a:pt x="4324919" y="291009"/>
                  <a:pt x="4330866" y="291009"/>
                </a:cubicBezTo>
                <a:close/>
                <a:moveTo>
                  <a:pt x="4110515" y="288201"/>
                </a:moveTo>
                <a:cubicBezTo>
                  <a:pt x="4116462" y="288201"/>
                  <a:pt x="4121253" y="292991"/>
                  <a:pt x="4121253" y="298938"/>
                </a:cubicBezTo>
                <a:cubicBezTo>
                  <a:pt x="4121253" y="304884"/>
                  <a:pt x="4116462" y="309674"/>
                  <a:pt x="4110515" y="309674"/>
                </a:cubicBezTo>
                <a:cubicBezTo>
                  <a:pt x="4104568" y="309674"/>
                  <a:pt x="4099779" y="304884"/>
                  <a:pt x="4099779" y="298938"/>
                </a:cubicBezTo>
                <a:cubicBezTo>
                  <a:pt x="4099779" y="292991"/>
                  <a:pt x="4104568" y="288201"/>
                  <a:pt x="4110515" y="288201"/>
                </a:cubicBezTo>
                <a:close/>
                <a:moveTo>
                  <a:pt x="4007442" y="285227"/>
                </a:moveTo>
                <a:cubicBezTo>
                  <a:pt x="4013388" y="285227"/>
                  <a:pt x="4018178" y="290017"/>
                  <a:pt x="4018178" y="295964"/>
                </a:cubicBezTo>
                <a:cubicBezTo>
                  <a:pt x="4018178" y="301910"/>
                  <a:pt x="4013388" y="306700"/>
                  <a:pt x="4007442" y="306700"/>
                </a:cubicBezTo>
                <a:cubicBezTo>
                  <a:pt x="4001495" y="306700"/>
                  <a:pt x="3996705" y="301910"/>
                  <a:pt x="3996705" y="295964"/>
                </a:cubicBezTo>
                <a:cubicBezTo>
                  <a:pt x="3996705" y="290017"/>
                  <a:pt x="4001495" y="285227"/>
                  <a:pt x="4007442" y="285227"/>
                </a:cubicBezTo>
                <a:close/>
                <a:moveTo>
                  <a:pt x="2161046" y="285227"/>
                </a:moveTo>
                <a:cubicBezTo>
                  <a:pt x="2166992" y="285227"/>
                  <a:pt x="2171783" y="290017"/>
                  <a:pt x="2171783" y="295964"/>
                </a:cubicBezTo>
                <a:cubicBezTo>
                  <a:pt x="2171783" y="301910"/>
                  <a:pt x="2166992" y="306700"/>
                  <a:pt x="2161046" y="306700"/>
                </a:cubicBezTo>
                <a:cubicBezTo>
                  <a:pt x="2155100" y="306700"/>
                  <a:pt x="2150310" y="301910"/>
                  <a:pt x="2150310" y="295964"/>
                </a:cubicBezTo>
                <a:cubicBezTo>
                  <a:pt x="2150310" y="290017"/>
                  <a:pt x="2155100" y="285227"/>
                  <a:pt x="2161046" y="285227"/>
                </a:cubicBezTo>
                <a:close/>
                <a:moveTo>
                  <a:pt x="4300804" y="282090"/>
                </a:moveTo>
                <a:cubicBezTo>
                  <a:pt x="4306750" y="282090"/>
                  <a:pt x="4311542" y="286880"/>
                  <a:pt x="4311542" y="292827"/>
                </a:cubicBezTo>
                <a:lnTo>
                  <a:pt x="4301713" y="302654"/>
                </a:lnTo>
                <a:lnTo>
                  <a:pt x="4307246" y="308188"/>
                </a:lnTo>
                <a:lnTo>
                  <a:pt x="4298657" y="316777"/>
                </a:lnTo>
                <a:lnTo>
                  <a:pt x="4305264" y="323385"/>
                </a:lnTo>
                <a:lnTo>
                  <a:pt x="4297171" y="331480"/>
                </a:lnTo>
                <a:lnTo>
                  <a:pt x="4304768" y="339076"/>
                </a:lnTo>
                <a:lnTo>
                  <a:pt x="4296344" y="347502"/>
                </a:lnTo>
                <a:lnTo>
                  <a:pt x="4304935" y="356090"/>
                </a:lnTo>
                <a:lnTo>
                  <a:pt x="4295105" y="365919"/>
                </a:lnTo>
                <a:lnTo>
                  <a:pt x="4304439" y="375251"/>
                </a:lnTo>
                <a:cubicBezTo>
                  <a:pt x="4304439" y="381197"/>
                  <a:pt x="4299647" y="385989"/>
                  <a:pt x="4293701" y="385989"/>
                </a:cubicBezTo>
                <a:cubicBezTo>
                  <a:pt x="4287754" y="385989"/>
                  <a:pt x="4282964" y="381197"/>
                  <a:pt x="4282964" y="375251"/>
                </a:cubicBezTo>
                <a:lnTo>
                  <a:pt x="4292792" y="365423"/>
                </a:lnTo>
                <a:lnTo>
                  <a:pt x="4283460" y="356090"/>
                </a:lnTo>
                <a:lnTo>
                  <a:pt x="4291885" y="347667"/>
                </a:lnTo>
                <a:lnTo>
                  <a:pt x="4283295" y="339076"/>
                </a:lnTo>
                <a:lnTo>
                  <a:pt x="4291389" y="330984"/>
                </a:lnTo>
                <a:lnTo>
                  <a:pt x="4283791" y="323385"/>
                </a:lnTo>
                <a:lnTo>
                  <a:pt x="4292381" y="314795"/>
                </a:lnTo>
                <a:lnTo>
                  <a:pt x="4285774" y="308188"/>
                </a:lnTo>
                <a:lnTo>
                  <a:pt x="4295601" y="298360"/>
                </a:lnTo>
                <a:lnTo>
                  <a:pt x="4290067" y="292827"/>
                </a:lnTo>
                <a:cubicBezTo>
                  <a:pt x="4290067" y="286880"/>
                  <a:pt x="4294857" y="282090"/>
                  <a:pt x="4300804" y="282090"/>
                </a:cubicBezTo>
                <a:close/>
                <a:moveTo>
                  <a:pt x="1513534" y="278951"/>
                </a:moveTo>
                <a:cubicBezTo>
                  <a:pt x="1519480" y="278951"/>
                  <a:pt x="1524272" y="283741"/>
                  <a:pt x="1524272" y="289688"/>
                </a:cubicBezTo>
                <a:cubicBezTo>
                  <a:pt x="1524272" y="295634"/>
                  <a:pt x="1519480" y="300426"/>
                  <a:pt x="1513534" y="300426"/>
                </a:cubicBezTo>
                <a:cubicBezTo>
                  <a:pt x="1507587" y="300426"/>
                  <a:pt x="1502797" y="295634"/>
                  <a:pt x="1502797" y="289688"/>
                </a:cubicBezTo>
                <a:cubicBezTo>
                  <a:pt x="1502797" y="283741"/>
                  <a:pt x="1507587" y="278951"/>
                  <a:pt x="1513534" y="278951"/>
                </a:cubicBezTo>
                <a:close/>
                <a:moveTo>
                  <a:pt x="3141892" y="278290"/>
                </a:moveTo>
                <a:cubicBezTo>
                  <a:pt x="3147838" y="278290"/>
                  <a:pt x="3152628" y="283080"/>
                  <a:pt x="3152628" y="289027"/>
                </a:cubicBezTo>
                <a:cubicBezTo>
                  <a:pt x="3152628" y="294973"/>
                  <a:pt x="3147838" y="299765"/>
                  <a:pt x="3141892" y="299765"/>
                </a:cubicBezTo>
                <a:cubicBezTo>
                  <a:pt x="3135945" y="299765"/>
                  <a:pt x="3131155" y="294973"/>
                  <a:pt x="3131155" y="289027"/>
                </a:cubicBezTo>
                <a:cubicBezTo>
                  <a:pt x="3131155" y="283080"/>
                  <a:pt x="3135945" y="278290"/>
                  <a:pt x="3141892" y="278290"/>
                </a:cubicBezTo>
                <a:close/>
                <a:moveTo>
                  <a:pt x="1946805" y="275152"/>
                </a:moveTo>
                <a:cubicBezTo>
                  <a:pt x="1952751" y="275152"/>
                  <a:pt x="1957541" y="279941"/>
                  <a:pt x="1957541" y="285888"/>
                </a:cubicBezTo>
                <a:cubicBezTo>
                  <a:pt x="1957541" y="291834"/>
                  <a:pt x="1952751" y="296624"/>
                  <a:pt x="1946805" y="296624"/>
                </a:cubicBezTo>
                <a:cubicBezTo>
                  <a:pt x="1940858" y="296624"/>
                  <a:pt x="1936068" y="291834"/>
                  <a:pt x="1936068" y="285888"/>
                </a:cubicBezTo>
                <a:cubicBezTo>
                  <a:pt x="1936068" y="279941"/>
                  <a:pt x="1940858" y="275152"/>
                  <a:pt x="1946805" y="275152"/>
                </a:cubicBezTo>
                <a:close/>
                <a:moveTo>
                  <a:pt x="4342926" y="273995"/>
                </a:moveTo>
                <a:cubicBezTo>
                  <a:pt x="4347852" y="273995"/>
                  <a:pt x="4351846" y="277989"/>
                  <a:pt x="4351846" y="282914"/>
                </a:cubicBezTo>
                <a:cubicBezTo>
                  <a:pt x="4351846" y="287841"/>
                  <a:pt x="4347852" y="291834"/>
                  <a:pt x="4342926" y="291834"/>
                </a:cubicBezTo>
                <a:cubicBezTo>
                  <a:pt x="4338000" y="291834"/>
                  <a:pt x="4334007" y="287841"/>
                  <a:pt x="4334007" y="282914"/>
                </a:cubicBezTo>
                <a:cubicBezTo>
                  <a:pt x="4334007" y="277989"/>
                  <a:pt x="4338000" y="273995"/>
                  <a:pt x="4342926" y="273995"/>
                </a:cubicBezTo>
                <a:close/>
                <a:moveTo>
                  <a:pt x="4200044" y="273995"/>
                </a:moveTo>
                <a:cubicBezTo>
                  <a:pt x="4205991" y="273995"/>
                  <a:pt x="4210780" y="278785"/>
                  <a:pt x="4210780" y="284731"/>
                </a:cubicBezTo>
                <a:cubicBezTo>
                  <a:pt x="4210780" y="290678"/>
                  <a:pt x="4205991" y="295468"/>
                  <a:pt x="4200044" y="295468"/>
                </a:cubicBezTo>
                <a:cubicBezTo>
                  <a:pt x="4194098" y="295468"/>
                  <a:pt x="4189308" y="290678"/>
                  <a:pt x="4189308" y="284731"/>
                </a:cubicBezTo>
                <a:cubicBezTo>
                  <a:pt x="4189308" y="278785"/>
                  <a:pt x="4194098" y="273995"/>
                  <a:pt x="4200044" y="273995"/>
                </a:cubicBezTo>
                <a:close/>
                <a:moveTo>
                  <a:pt x="1729757" y="273005"/>
                </a:moveTo>
                <a:cubicBezTo>
                  <a:pt x="1735704" y="273005"/>
                  <a:pt x="1740493" y="277794"/>
                  <a:pt x="1740493" y="283741"/>
                </a:cubicBezTo>
                <a:cubicBezTo>
                  <a:pt x="1740493" y="289688"/>
                  <a:pt x="1735704" y="294479"/>
                  <a:pt x="1729757" y="294479"/>
                </a:cubicBezTo>
                <a:cubicBezTo>
                  <a:pt x="1723811" y="294479"/>
                  <a:pt x="1719021" y="289688"/>
                  <a:pt x="1719021" y="283741"/>
                </a:cubicBezTo>
                <a:cubicBezTo>
                  <a:pt x="1719021" y="277794"/>
                  <a:pt x="1723811" y="273005"/>
                  <a:pt x="1729757" y="273005"/>
                </a:cubicBezTo>
                <a:close/>
                <a:moveTo>
                  <a:pt x="3565417" y="272840"/>
                </a:moveTo>
                <a:cubicBezTo>
                  <a:pt x="3571363" y="272840"/>
                  <a:pt x="3576155" y="277630"/>
                  <a:pt x="3576155" y="283576"/>
                </a:cubicBezTo>
                <a:cubicBezTo>
                  <a:pt x="3576155" y="289523"/>
                  <a:pt x="3571363" y="294313"/>
                  <a:pt x="3565417" y="294313"/>
                </a:cubicBezTo>
                <a:cubicBezTo>
                  <a:pt x="3559470" y="294313"/>
                  <a:pt x="3554680" y="289523"/>
                  <a:pt x="3554680" y="283576"/>
                </a:cubicBezTo>
                <a:cubicBezTo>
                  <a:pt x="3554680" y="277630"/>
                  <a:pt x="3559470" y="272840"/>
                  <a:pt x="3565417" y="272840"/>
                </a:cubicBezTo>
                <a:close/>
                <a:moveTo>
                  <a:pt x="4308072" y="266233"/>
                </a:moveTo>
                <a:cubicBezTo>
                  <a:pt x="4314018" y="266233"/>
                  <a:pt x="4318810" y="271022"/>
                  <a:pt x="4318810" y="276969"/>
                </a:cubicBezTo>
                <a:cubicBezTo>
                  <a:pt x="4318810" y="282916"/>
                  <a:pt x="4314018" y="287705"/>
                  <a:pt x="4308072" y="287705"/>
                </a:cubicBezTo>
                <a:cubicBezTo>
                  <a:pt x="4302125" y="287705"/>
                  <a:pt x="4297335" y="282916"/>
                  <a:pt x="4297335" y="276969"/>
                </a:cubicBezTo>
                <a:cubicBezTo>
                  <a:pt x="4297335" y="271022"/>
                  <a:pt x="4302125" y="266233"/>
                  <a:pt x="4308072" y="266233"/>
                </a:cubicBezTo>
                <a:close/>
                <a:moveTo>
                  <a:pt x="501469" y="259129"/>
                </a:moveTo>
                <a:cubicBezTo>
                  <a:pt x="507416" y="259129"/>
                  <a:pt x="512207" y="263919"/>
                  <a:pt x="512207" y="269866"/>
                </a:cubicBezTo>
                <a:cubicBezTo>
                  <a:pt x="512207" y="275812"/>
                  <a:pt x="507416" y="280602"/>
                  <a:pt x="501469" y="280602"/>
                </a:cubicBezTo>
                <a:cubicBezTo>
                  <a:pt x="495522" y="280602"/>
                  <a:pt x="490733" y="275812"/>
                  <a:pt x="490733" y="269866"/>
                </a:cubicBezTo>
                <a:cubicBezTo>
                  <a:pt x="490733" y="263919"/>
                  <a:pt x="495522" y="259129"/>
                  <a:pt x="501469" y="259129"/>
                </a:cubicBezTo>
                <a:close/>
                <a:moveTo>
                  <a:pt x="4140908" y="257808"/>
                </a:moveTo>
                <a:cubicBezTo>
                  <a:pt x="4146855" y="257808"/>
                  <a:pt x="4151646" y="262598"/>
                  <a:pt x="4151646" y="268544"/>
                </a:cubicBezTo>
                <a:cubicBezTo>
                  <a:pt x="4151646" y="274491"/>
                  <a:pt x="4146855" y="279283"/>
                  <a:pt x="4140908" y="279283"/>
                </a:cubicBezTo>
                <a:cubicBezTo>
                  <a:pt x="4134962" y="279283"/>
                  <a:pt x="4130172" y="274491"/>
                  <a:pt x="4130172" y="268544"/>
                </a:cubicBezTo>
                <a:cubicBezTo>
                  <a:pt x="4130172" y="262598"/>
                  <a:pt x="4134962" y="257808"/>
                  <a:pt x="4140908" y="257808"/>
                </a:cubicBezTo>
                <a:close/>
                <a:moveTo>
                  <a:pt x="4211110" y="254340"/>
                </a:moveTo>
                <a:cubicBezTo>
                  <a:pt x="4217056" y="254340"/>
                  <a:pt x="4221848" y="259129"/>
                  <a:pt x="4221848" y="265076"/>
                </a:cubicBezTo>
                <a:cubicBezTo>
                  <a:pt x="4221848" y="271022"/>
                  <a:pt x="4217056" y="275814"/>
                  <a:pt x="4211110" y="275814"/>
                </a:cubicBezTo>
                <a:cubicBezTo>
                  <a:pt x="4205163" y="275814"/>
                  <a:pt x="4200374" y="271022"/>
                  <a:pt x="4200374" y="265076"/>
                </a:cubicBezTo>
                <a:cubicBezTo>
                  <a:pt x="4200374" y="259129"/>
                  <a:pt x="4205163" y="254340"/>
                  <a:pt x="4211110" y="254340"/>
                </a:cubicBezTo>
                <a:close/>
                <a:moveTo>
                  <a:pt x="57295" y="251036"/>
                </a:moveTo>
                <a:cubicBezTo>
                  <a:pt x="63242" y="251036"/>
                  <a:pt x="68033" y="255826"/>
                  <a:pt x="68033" y="261772"/>
                </a:cubicBezTo>
                <a:cubicBezTo>
                  <a:pt x="68033" y="267719"/>
                  <a:pt x="63242" y="272509"/>
                  <a:pt x="57295" y="272509"/>
                </a:cubicBezTo>
                <a:cubicBezTo>
                  <a:pt x="51349" y="272509"/>
                  <a:pt x="46559" y="267719"/>
                  <a:pt x="46559" y="261772"/>
                </a:cubicBezTo>
                <a:cubicBezTo>
                  <a:pt x="46559" y="255826"/>
                  <a:pt x="51349" y="251036"/>
                  <a:pt x="57295" y="251036"/>
                </a:cubicBezTo>
                <a:close/>
                <a:moveTo>
                  <a:pt x="3778666" y="250209"/>
                </a:moveTo>
                <a:cubicBezTo>
                  <a:pt x="3784613" y="250209"/>
                  <a:pt x="3789403" y="254999"/>
                  <a:pt x="3789403" y="260945"/>
                </a:cubicBezTo>
                <a:cubicBezTo>
                  <a:pt x="3789403" y="266892"/>
                  <a:pt x="3784613" y="271683"/>
                  <a:pt x="3778666" y="271683"/>
                </a:cubicBezTo>
                <a:cubicBezTo>
                  <a:pt x="3772720" y="271683"/>
                  <a:pt x="3767930" y="266892"/>
                  <a:pt x="3767930" y="260945"/>
                </a:cubicBezTo>
                <a:cubicBezTo>
                  <a:pt x="3767930" y="254999"/>
                  <a:pt x="3772720" y="250209"/>
                  <a:pt x="3778666" y="250209"/>
                </a:cubicBezTo>
                <a:close/>
                <a:moveTo>
                  <a:pt x="4318808" y="249219"/>
                </a:moveTo>
                <a:cubicBezTo>
                  <a:pt x="4324755" y="249219"/>
                  <a:pt x="4329545" y="254009"/>
                  <a:pt x="4329545" y="259955"/>
                </a:cubicBezTo>
                <a:cubicBezTo>
                  <a:pt x="4329545" y="265902"/>
                  <a:pt x="4324755" y="270691"/>
                  <a:pt x="4318808" y="270691"/>
                </a:cubicBezTo>
                <a:cubicBezTo>
                  <a:pt x="4312862" y="270691"/>
                  <a:pt x="4308072" y="265902"/>
                  <a:pt x="4308072" y="259955"/>
                </a:cubicBezTo>
                <a:cubicBezTo>
                  <a:pt x="4308072" y="254009"/>
                  <a:pt x="4312862" y="249219"/>
                  <a:pt x="4318808" y="249219"/>
                </a:cubicBezTo>
                <a:close/>
                <a:moveTo>
                  <a:pt x="4056500" y="246245"/>
                </a:moveTo>
                <a:cubicBezTo>
                  <a:pt x="4062447" y="246245"/>
                  <a:pt x="4067237" y="251034"/>
                  <a:pt x="4067237" y="256981"/>
                </a:cubicBezTo>
                <a:cubicBezTo>
                  <a:pt x="4067237" y="262927"/>
                  <a:pt x="4062447" y="267717"/>
                  <a:pt x="4056500" y="267717"/>
                </a:cubicBezTo>
                <a:cubicBezTo>
                  <a:pt x="4050554" y="267717"/>
                  <a:pt x="4045764" y="262927"/>
                  <a:pt x="4045764" y="256981"/>
                </a:cubicBezTo>
                <a:cubicBezTo>
                  <a:pt x="4045764" y="251034"/>
                  <a:pt x="4050554" y="246245"/>
                  <a:pt x="4056500" y="246245"/>
                </a:cubicBezTo>
                <a:close/>
                <a:moveTo>
                  <a:pt x="2984474" y="242776"/>
                </a:moveTo>
                <a:cubicBezTo>
                  <a:pt x="2990421" y="242776"/>
                  <a:pt x="2995212" y="247566"/>
                  <a:pt x="2995212" y="253512"/>
                </a:cubicBezTo>
                <a:cubicBezTo>
                  <a:pt x="2995212" y="259459"/>
                  <a:pt x="2990421" y="264249"/>
                  <a:pt x="2984474" y="264249"/>
                </a:cubicBezTo>
                <a:cubicBezTo>
                  <a:pt x="2978528" y="264249"/>
                  <a:pt x="2973738" y="259459"/>
                  <a:pt x="2973738" y="253512"/>
                </a:cubicBezTo>
                <a:cubicBezTo>
                  <a:pt x="2973738" y="247566"/>
                  <a:pt x="2978528" y="242776"/>
                  <a:pt x="2984474" y="242776"/>
                </a:cubicBezTo>
                <a:close/>
                <a:moveTo>
                  <a:pt x="3938891" y="242611"/>
                </a:moveTo>
                <a:cubicBezTo>
                  <a:pt x="3944838" y="242611"/>
                  <a:pt x="3949628" y="247401"/>
                  <a:pt x="3949628" y="253348"/>
                </a:cubicBezTo>
                <a:cubicBezTo>
                  <a:pt x="3949628" y="259294"/>
                  <a:pt x="3944838" y="264084"/>
                  <a:pt x="3938891" y="264084"/>
                </a:cubicBezTo>
                <a:cubicBezTo>
                  <a:pt x="3932945" y="264084"/>
                  <a:pt x="3928155" y="259294"/>
                  <a:pt x="3928155" y="253348"/>
                </a:cubicBezTo>
                <a:cubicBezTo>
                  <a:pt x="3928155" y="247401"/>
                  <a:pt x="3932945" y="242611"/>
                  <a:pt x="3938891" y="242611"/>
                </a:cubicBezTo>
                <a:close/>
                <a:moveTo>
                  <a:pt x="4333511" y="241290"/>
                </a:moveTo>
                <a:lnTo>
                  <a:pt x="4333511" y="241455"/>
                </a:lnTo>
                <a:lnTo>
                  <a:pt x="4333346" y="241455"/>
                </a:lnTo>
                <a:close/>
                <a:moveTo>
                  <a:pt x="4285111" y="240133"/>
                </a:moveTo>
                <a:cubicBezTo>
                  <a:pt x="4291058" y="240133"/>
                  <a:pt x="4295848" y="244923"/>
                  <a:pt x="4295848" y="250870"/>
                </a:cubicBezTo>
                <a:lnTo>
                  <a:pt x="4285607" y="261112"/>
                </a:lnTo>
                <a:lnTo>
                  <a:pt x="4289407" y="264909"/>
                </a:lnTo>
                <a:lnTo>
                  <a:pt x="4280734" y="273582"/>
                </a:lnTo>
                <a:lnTo>
                  <a:pt x="4285607" y="278455"/>
                </a:lnTo>
                <a:lnTo>
                  <a:pt x="4277845" y="286219"/>
                </a:lnTo>
                <a:lnTo>
                  <a:pt x="4283625" y="291999"/>
                </a:lnTo>
                <a:lnTo>
                  <a:pt x="4276028" y="299598"/>
                </a:lnTo>
                <a:lnTo>
                  <a:pt x="4282635" y="306206"/>
                </a:lnTo>
                <a:lnTo>
                  <a:pt x="4274293" y="314549"/>
                </a:lnTo>
                <a:lnTo>
                  <a:pt x="4281645" y="321898"/>
                </a:lnTo>
                <a:lnTo>
                  <a:pt x="4271567" y="331974"/>
                </a:lnTo>
                <a:lnTo>
                  <a:pt x="4279496" y="339903"/>
                </a:lnTo>
                <a:cubicBezTo>
                  <a:pt x="4279496" y="345849"/>
                  <a:pt x="4274706" y="350641"/>
                  <a:pt x="4268760" y="350641"/>
                </a:cubicBezTo>
                <a:cubicBezTo>
                  <a:pt x="4262813" y="350641"/>
                  <a:pt x="4258023" y="345849"/>
                  <a:pt x="4258023" y="339903"/>
                </a:cubicBezTo>
                <a:lnTo>
                  <a:pt x="4268099" y="329827"/>
                </a:lnTo>
                <a:lnTo>
                  <a:pt x="4260170" y="321898"/>
                </a:lnTo>
                <a:lnTo>
                  <a:pt x="4268512" y="313559"/>
                </a:lnTo>
                <a:lnTo>
                  <a:pt x="4261160" y="306206"/>
                </a:lnTo>
                <a:lnTo>
                  <a:pt x="4268760" y="298608"/>
                </a:lnTo>
                <a:lnTo>
                  <a:pt x="4262152" y="291999"/>
                </a:lnTo>
                <a:lnTo>
                  <a:pt x="4269914" y="284237"/>
                </a:lnTo>
                <a:lnTo>
                  <a:pt x="4264134" y="278455"/>
                </a:lnTo>
                <a:lnTo>
                  <a:pt x="4272805" y="269784"/>
                </a:lnTo>
                <a:lnTo>
                  <a:pt x="4267932" y="264909"/>
                </a:lnTo>
                <a:lnTo>
                  <a:pt x="4278173" y="254669"/>
                </a:lnTo>
                <a:lnTo>
                  <a:pt x="4274375" y="250870"/>
                </a:lnTo>
                <a:cubicBezTo>
                  <a:pt x="4274375" y="244923"/>
                  <a:pt x="4279165" y="240133"/>
                  <a:pt x="4285111" y="240133"/>
                </a:cubicBezTo>
                <a:close/>
                <a:moveTo>
                  <a:pt x="4162712" y="233691"/>
                </a:moveTo>
                <a:cubicBezTo>
                  <a:pt x="4168659" y="233691"/>
                  <a:pt x="4173449" y="238481"/>
                  <a:pt x="4173449" y="244427"/>
                </a:cubicBezTo>
                <a:cubicBezTo>
                  <a:pt x="4173449" y="250374"/>
                  <a:pt x="4168659" y="255165"/>
                  <a:pt x="4162712" y="255165"/>
                </a:cubicBezTo>
                <a:cubicBezTo>
                  <a:pt x="4156766" y="255165"/>
                  <a:pt x="4151976" y="250374"/>
                  <a:pt x="4151976" y="244427"/>
                </a:cubicBezTo>
                <a:cubicBezTo>
                  <a:pt x="4151976" y="238481"/>
                  <a:pt x="4156766" y="233691"/>
                  <a:pt x="4162712" y="233691"/>
                </a:cubicBezTo>
                <a:close/>
                <a:moveTo>
                  <a:pt x="3446817" y="232204"/>
                </a:moveTo>
                <a:cubicBezTo>
                  <a:pt x="3452764" y="232204"/>
                  <a:pt x="3457554" y="236994"/>
                  <a:pt x="3457554" y="242941"/>
                </a:cubicBezTo>
                <a:cubicBezTo>
                  <a:pt x="3457554" y="248887"/>
                  <a:pt x="3452764" y="253679"/>
                  <a:pt x="3446817" y="253679"/>
                </a:cubicBezTo>
                <a:cubicBezTo>
                  <a:pt x="3440871" y="253679"/>
                  <a:pt x="3436081" y="248887"/>
                  <a:pt x="3436081" y="242941"/>
                </a:cubicBezTo>
                <a:cubicBezTo>
                  <a:pt x="3436081" y="236994"/>
                  <a:pt x="3440871" y="232204"/>
                  <a:pt x="3446817" y="232204"/>
                </a:cubicBezTo>
                <a:close/>
                <a:moveTo>
                  <a:pt x="4294528" y="224937"/>
                </a:moveTo>
                <a:cubicBezTo>
                  <a:pt x="4300474" y="224937"/>
                  <a:pt x="4305264" y="229726"/>
                  <a:pt x="4305264" y="235673"/>
                </a:cubicBezTo>
                <a:cubicBezTo>
                  <a:pt x="4305264" y="241619"/>
                  <a:pt x="4300474" y="246409"/>
                  <a:pt x="4294528" y="246409"/>
                </a:cubicBezTo>
                <a:cubicBezTo>
                  <a:pt x="4288581" y="246409"/>
                  <a:pt x="4283791" y="241619"/>
                  <a:pt x="4283791" y="235673"/>
                </a:cubicBezTo>
                <a:cubicBezTo>
                  <a:pt x="4283791" y="229726"/>
                  <a:pt x="4288581" y="224937"/>
                  <a:pt x="4294528" y="224937"/>
                </a:cubicBezTo>
                <a:close/>
                <a:moveTo>
                  <a:pt x="664998" y="224772"/>
                </a:moveTo>
                <a:cubicBezTo>
                  <a:pt x="670944" y="224772"/>
                  <a:pt x="675736" y="229562"/>
                  <a:pt x="675736" y="235508"/>
                </a:cubicBezTo>
                <a:cubicBezTo>
                  <a:pt x="675736" y="241455"/>
                  <a:pt x="670944" y="246246"/>
                  <a:pt x="664998" y="246246"/>
                </a:cubicBezTo>
                <a:cubicBezTo>
                  <a:pt x="659051" y="246246"/>
                  <a:pt x="654261" y="241455"/>
                  <a:pt x="654261" y="235508"/>
                </a:cubicBezTo>
                <a:cubicBezTo>
                  <a:pt x="654261" y="229562"/>
                  <a:pt x="659051" y="224772"/>
                  <a:pt x="664998" y="224772"/>
                </a:cubicBezTo>
                <a:close/>
                <a:moveTo>
                  <a:pt x="4093667" y="215851"/>
                </a:moveTo>
                <a:cubicBezTo>
                  <a:pt x="4099614" y="215851"/>
                  <a:pt x="4104404" y="220641"/>
                  <a:pt x="4104404" y="226588"/>
                </a:cubicBezTo>
                <a:cubicBezTo>
                  <a:pt x="4104404" y="232534"/>
                  <a:pt x="4099614" y="237326"/>
                  <a:pt x="4093667" y="237326"/>
                </a:cubicBezTo>
                <a:cubicBezTo>
                  <a:pt x="4087721" y="237326"/>
                  <a:pt x="4082931" y="232534"/>
                  <a:pt x="4082931" y="226588"/>
                </a:cubicBezTo>
                <a:cubicBezTo>
                  <a:pt x="4082931" y="220641"/>
                  <a:pt x="4087721" y="215851"/>
                  <a:pt x="4093667" y="215851"/>
                </a:cubicBezTo>
                <a:close/>
                <a:moveTo>
                  <a:pt x="4177909" y="215026"/>
                </a:moveTo>
                <a:cubicBezTo>
                  <a:pt x="4183855" y="215026"/>
                  <a:pt x="4188645" y="219815"/>
                  <a:pt x="4188645" y="225762"/>
                </a:cubicBezTo>
                <a:cubicBezTo>
                  <a:pt x="4188645" y="231708"/>
                  <a:pt x="4183855" y="236498"/>
                  <a:pt x="4177909" y="236498"/>
                </a:cubicBezTo>
                <a:cubicBezTo>
                  <a:pt x="4171962" y="236498"/>
                  <a:pt x="4167173" y="231708"/>
                  <a:pt x="4167173" y="225762"/>
                </a:cubicBezTo>
                <a:cubicBezTo>
                  <a:pt x="4167173" y="219815"/>
                  <a:pt x="4171962" y="215026"/>
                  <a:pt x="4177909" y="215026"/>
                </a:cubicBezTo>
                <a:close/>
                <a:moveTo>
                  <a:pt x="4261656" y="212547"/>
                </a:moveTo>
                <a:cubicBezTo>
                  <a:pt x="4267603" y="212547"/>
                  <a:pt x="4272394" y="217337"/>
                  <a:pt x="4272394" y="223284"/>
                </a:cubicBezTo>
                <a:lnTo>
                  <a:pt x="4263390" y="232288"/>
                </a:lnTo>
                <a:lnTo>
                  <a:pt x="4266611" y="235508"/>
                </a:lnTo>
                <a:lnTo>
                  <a:pt x="4258849" y="243272"/>
                </a:lnTo>
                <a:lnTo>
                  <a:pt x="4262978" y="247401"/>
                </a:lnTo>
                <a:lnTo>
                  <a:pt x="4255875" y="254504"/>
                </a:lnTo>
                <a:lnTo>
                  <a:pt x="4260664" y="259294"/>
                </a:lnTo>
                <a:lnTo>
                  <a:pt x="4253396" y="266562"/>
                </a:lnTo>
                <a:lnTo>
                  <a:pt x="4258847" y="272013"/>
                </a:lnTo>
                <a:lnTo>
                  <a:pt x="4250424" y="280437"/>
                </a:lnTo>
                <a:lnTo>
                  <a:pt x="4256370" y="286384"/>
                </a:lnTo>
                <a:lnTo>
                  <a:pt x="4245799" y="296956"/>
                </a:lnTo>
                <a:lnTo>
                  <a:pt x="4252075" y="303232"/>
                </a:lnTo>
                <a:cubicBezTo>
                  <a:pt x="4252075" y="309178"/>
                  <a:pt x="4247285" y="313970"/>
                  <a:pt x="4241339" y="313970"/>
                </a:cubicBezTo>
                <a:cubicBezTo>
                  <a:pt x="4235392" y="313970"/>
                  <a:pt x="4230602" y="309178"/>
                  <a:pt x="4230602" y="303232"/>
                </a:cubicBezTo>
                <a:lnTo>
                  <a:pt x="4241172" y="292662"/>
                </a:lnTo>
                <a:lnTo>
                  <a:pt x="4234896" y="286384"/>
                </a:lnTo>
                <a:lnTo>
                  <a:pt x="4243321" y="277961"/>
                </a:lnTo>
                <a:lnTo>
                  <a:pt x="4237374" y="272013"/>
                </a:lnTo>
                <a:lnTo>
                  <a:pt x="4244642" y="264745"/>
                </a:lnTo>
                <a:lnTo>
                  <a:pt x="4239192" y="259294"/>
                </a:lnTo>
                <a:lnTo>
                  <a:pt x="4246295" y="252191"/>
                </a:lnTo>
                <a:lnTo>
                  <a:pt x="4241505" y="247401"/>
                </a:lnTo>
                <a:lnTo>
                  <a:pt x="4249267" y="239639"/>
                </a:lnTo>
                <a:lnTo>
                  <a:pt x="4245138" y="235508"/>
                </a:lnTo>
                <a:lnTo>
                  <a:pt x="4254142" y="226506"/>
                </a:lnTo>
                <a:lnTo>
                  <a:pt x="4250920" y="223284"/>
                </a:lnTo>
                <a:cubicBezTo>
                  <a:pt x="4250920" y="217337"/>
                  <a:pt x="4255710" y="212547"/>
                  <a:pt x="4261656" y="212547"/>
                </a:cubicBezTo>
                <a:close/>
                <a:moveTo>
                  <a:pt x="4307907" y="211392"/>
                </a:moveTo>
                <a:cubicBezTo>
                  <a:pt x="4312201" y="211392"/>
                  <a:pt x="4315671" y="214861"/>
                  <a:pt x="4315671" y="219156"/>
                </a:cubicBezTo>
                <a:cubicBezTo>
                  <a:pt x="4315671" y="223450"/>
                  <a:pt x="4312201" y="226919"/>
                  <a:pt x="4307907" y="226919"/>
                </a:cubicBezTo>
                <a:cubicBezTo>
                  <a:pt x="4303611" y="226919"/>
                  <a:pt x="4300143" y="223450"/>
                  <a:pt x="4300143" y="219156"/>
                </a:cubicBezTo>
                <a:cubicBezTo>
                  <a:pt x="4300143" y="214861"/>
                  <a:pt x="4303611" y="211392"/>
                  <a:pt x="4307907" y="211392"/>
                </a:cubicBezTo>
                <a:close/>
                <a:moveTo>
                  <a:pt x="181347" y="210401"/>
                </a:moveTo>
                <a:cubicBezTo>
                  <a:pt x="187278" y="210401"/>
                  <a:pt x="192083" y="215208"/>
                  <a:pt x="192083" y="221137"/>
                </a:cubicBezTo>
                <a:cubicBezTo>
                  <a:pt x="192083" y="227068"/>
                  <a:pt x="187278" y="231875"/>
                  <a:pt x="181347" y="231875"/>
                </a:cubicBezTo>
                <a:cubicBezTo>
                  <a:pt x="175418" y="231875"/>
                  <a:pt x="170610" y="227068"/>
                  <a:pt x="170610" y="221137"/>
                </a:cubicBezTo>
                <a:cubicBezTo>
                  <a:pt x="170610" y="215208"/>
                  <a:pt x="175418" y="210401"/>
                  <a:pt x="181347" y="210401"/>
                </a:cubicBezTo>
                <a:close/>
                <a:moveTo>
                  <a:pt x="2815825" y="209740"/>
                </a:moveTo>
                <a:cubicBezTo>
                  <a:pt x="2821771" y="209740"/>
                  <a:pt x="2826561" y="214530"/>
                  <a:pt x="2826561" y="220476"/>
                </a:cubicBezTo>
                <a:cubicBezTo>
                  <a:pt x="2826561" y="226423"/>
                  <a:pt x="2821771" y="231212"/>
                  <a:pt x="2815825" y="231212"/>
                </a:cubicBezTo>
                <a:cubicBezTo>
                  <a:pt x="2809878" y="231212"/>
                  <a:pt x="2805088" y="226423"/>
                  <a:pt x="2805088" y="220476"/>
                </a:cubicBezTo>
                <a:cubicBezTo>
                  <a:pt x="2805088" y="214530"/>
                  <a:pt x="2809878" y="209740"/>
                  <a:pt x="2815825" y="209740"/>
                </a:cubicBezTo>
                <a:close/>
                <a:moveTo>
                  <a:pt x="3683357" y="207593"/>
                </a:moveTo>
                <a:cubicBezTo>
                  <a:pt x="3689304" y="207593"/>
                  <a:pt x="3694093" y="212383"/>
                  <a:pt x="3694093" y="218329"/>
                </a:cubicBezTo>
                <a:cubicBezTo>
                  <a:pt x="3694093" y="224276"/>
                  <a:pt x="3689304" y="229067"/>
                  <a:pt x="3683357" y="229067"/>
                </a:cubicBezTo>
                <a:cubicBezTo>
                  <a:pt x="3677410" y="229067"/>
                  <a:pt x="3672621" y="224276"/>
                  <a:pt x="3672621" y="218329"/>
                </a:cubicBezTo>
                <a:cubicBezTo>
                  <a:pt x="3672621" y="212383"/>
                  <a:pt x="3677410" y="207593"/>
                  <a:pt x="3683357" y="207593"/>
                </a:cubicBezTo>
                <a:close/>
                <a:moveTo>
                  <a:pt x="3996705" y="203462"/>
                </a:moveTo>
                <a:cubicBezTo>
                  <a:pt x="4002652" y="203462"/>
                  <a:pt x="4007442" y="208252"/>
                  <a:pt x="4007442" y="214198"/>
                </a:cubicBezTo>
                <a:cubicBezTo>
                  <a:pt x="4007442" y="220145"/>
                  <a:pt x="4002652" y="224937"/>
                  <a:pt x="3996705" y="224937"/>
                </a:cubicBezTo>
                <a:cubicBezTo>
                  <a:pt x="3990759" y="224937"/>
                  <a:pt x="3985969" y="220145"/>
                  <a:pt x="3985969" y="214198"/>
                </a:cubicBezTo>
                <a:cubicBezTo>
                  <a:pt x="3985969" y="208252"/>
                  <a:pt x="3990759" y="203462"/>
                  <a:pt x="3996705" y="203462"/>
                </a:cubicBezTo>
                <a:close/>
                <a:moveTo>
                  <a:pt x="3863239" y="199499"/>
                </a:moveTo>
                <a:cubicBezTo>
                  <a:pt x="3869186" y="199499"/>
                  <a:pt x="3873977" y="204289"/>
                  <a:pt x="3873977" y="210236"/>
                </a:cubicBezTo>
                <a:cubicBezTo>
                  <a:pt x="3873977" y="216182"/>
                  <a:pt x="3869186" y="220972"/>
                  <a:pt x="3863239" y="220972"/>
                </a:cubicBezTo>
                <a:cubicBezTo>
                  <a:pt x="3857292" y="220972"/>
                  <a:pt x="3852503" y="216182"/>
                  <a:pt x="3852503" y="210236"/>
                </a:cubicBezTo>
                <a:cubicBezTo>
                  <a:pt x="3852503" y="204289"/>
                  <a:pt x="3857292" y="199499"/>
                  <a:pt x="3863239" y="199499"/>
                </a:cubicBezTo>
                <a:close/>
                <a:moveTo>
                  <a:pt x="4270410" y="199333"/>
                </a:moveTo>
                <a:cubicBezTo>
                  <a:pt x="4276357" y="199333"/>
                  <a:pt x="4281149" y="204123"/>
                  <a:pt x="4281149" y="210069"/>
                </a:cubicBezTo>
                <a:cubicBezTo>
                  <a:pt x="4281149" y="216016"/>
                  <a:pt x="4276357" y="220807"/>
                  <a:pt x="4270410" y="220807"/>
                </a:cubicBezTo>
                <a:cubicBezTo>
                  <a:pt x="4264464" y="220807"/>
                  <a:pt x="4259674" y="216016"/>
                  <a:pt x="4259674" y="210069"/>
                </a:cubicBezTo>
                <a:cubicBezTo>
                  <a:pt x="4259674" y="204123"/>
                  <a:pt x="4264464" y="199333"/>
                  <a:pt x="4270410" y="199333"/>
                </a:cubicBezTo>
                <a:close/>
                <a:moveTo>
                  <a:pt x="839429" y="193222"/>
                </a:moveTo>
                <a:cubicBezTo>
                  <a:pt x="845376" y="193222"/>
                  <a:pt x="850167" y="198012"/>
                  <a:pt x="850167" y="203958"/>
                </a:cubicBezTo>
                <a:cubicBezTo>
                  <a:pt x="850167" y="209905"/>
                  <a:pt x="845376" y="214694"/>
                  <a:pt x="839429" y="214694"/>
                </a:cubicBezTo>
                <a:cubicBezTo>
                  <a:pt x="833483" y="214694"/>
                  <a:pt x="828693" y="209905"/>
                  <a:pt x="828693" y="203958"/>
                </a:cubicBezTo>
                <a:cubicBezTo>
                  <a:pt x="828693" y="198012"/>
                  <a:pt x="833483" y="193222"/>
                  <a:pt x="839429" y="193222"/>
                </a:cubicBezTo>
                <a:close/>
                <a:moveTo>
                  <a:pt x="4121251" y="192396"/>
                </a:moveTo>
                <a:cubicBezTo>
                  <a:pt x="4127198" y="192396"/>
                  <a:pt x="4131989" y="197186"/>
                  <a:pt x="4131989" y="203133"/>
                </a:cubicBezTo>
                <a:cubicBezTo>
                  <a:pt x="4131989" y="209079"/>
                  <a:pt x="4127198" y="213871"/>
                  <a:pt x="4121251" y="213871"/>
                </a:cubicBezTo>
                <a:cubicBezTo>
                  <a:pt x="4115305" y="213871"/>
                  <a:pt x="4110515" y="209079"/>
                  <a:pt x="4110515" y="203133"/>
                </a:cubicBezTo>
                <a:cubicBezTo>
                  <a:pt x="4110515" y="197186"/>
                  <a:pt x="4115305" y="192396"/>
                  <a:pt x="4121251" y="192396"/>
                </a:cubicBezTo>
                <a:close/>
                <a:moveTo>
                  <a:pt x="3317974" y="192065"/>
                </a:moveTo>
                <a:cubicBezTo>
                  <a:pt x="3323921" y="192065"/>
                  <a:pt x="3328712" y="196855"/>
                  <a:pt x="3328712" y="202801"/>
                </a:cubicBezTo>
                <a:cubicBezTo>
                  <a:pt x="3328712" y="208748"/>
                  <a:pt x="3323921" y="213540"/>
                  <a:pt x="3317974" y="213540"/>
                </a:cubicBezTo>
                <a:cubicBezTo>
                  <a:pt x="3312028" y="213540"/>
                  <a:pt x="3307238" y="208748"/>
                  <a:pt x="3307238" y="202801"/>
                </a:cubicBezTo>
                <a:cubicBezTo>
                  <a:pt x="3307238" y="196855"/>
                  <a:pt x="3312028" y="192065"/>
                  <a:pt x="3317974" y="192065"/>
                </a:cubicBezTo>
                <a:close/>
                <a:moveTo>
                  <a:pt x="4282468" y="184797"/>
                </a:moveTo>
                <a:cubicBezTo>
                  <a:pt x="4288415" y="184797"/>
                  <a:pt x="4293205" y="189587"/>
                  <a:pt x="4293205" y="195533"/>
                </a:cubicBezTo>
                <a:cubicBezTo>
                  <a:pt x="4293205" y="201480"/>
                  <a:pt x="4288415" y="206270"/>
                  <a:pt x="4282468" y="206270"/>
                </a:cubicBezTo>
                <a:cubicBezTo>
                  <a:pt x="4276522" y="206270"/>
                  <a:pt x="4271732" y="201480"/>
                  <a:pt x="4271732" y="195533"/>
                </a:cubicBezTo>
                <a:cubicBezTo>
                  <a:pt x="4271732" y="189587"/>
                  <a:pt x="4276522" y="184797"/>
                  <a:pt x="4282468" y="184797"/>
                </a:cubicBezTo>
                <a:close/>
                <a:moveTo>
                  <a:pt x="2636437" y="179842"/>
                </a:moveTo>
                <a:cubicBezTo>
                  <a:pt x="2642383" y="179842"/>
                  <a:pt x="2647173" y="184632"/>
                  <a:pt x="2647173" y="190579"/>
                </a:cubicBezTo>
                <a:cubicBezTo>
                  <a:pt x="2647173" y="196525"/>
                  <a:pt x="2642383" y="201317"/>
                  <a:pt x="2636437" y="201317"/>
                </a:cubicBezTo>
                <a:cubicBezTo>
                  <a:pt x="2630490" y="201317"/>
                  <a:pt x="2625701" y="196525"/>
                  <a:pt x="2625701" y="190579"/>
                </a:cubicBezTo>
                <a:cubicBezTo>
                  <a:pt x="2625701" y="184632"/>
                  <a:pt x="2630490" y="179842"/>
                  <a:pt x="2636437" y="179842"/>
                </a:cubicBezTo>
                <a:close/>
                <a:moveTo>
                  <a:pt x="4141073" y="174390"/>
                </a:moveTo>
                <a:cubicBezTo>
                  <a:pt x="4147020" y="174390"/>
                  <a:pt x="4151809" y="179180"/>
                  <a:pt x="4151809" y="185126"/>
                </a:cubicBezTo>
                <a:cubicBezTo>
                  <a:pt x="4151809" y="191073"/>
                  <a:pt x="4147020" y="195865"/>
                  <a:pt x="4141073" y="195865"/>
                </a:cubicBezTo>
                <a:cubicBezTo>
                  <a:pt x="4135127" y="195865"/>
                  <a:pt x="4130337" y="191073"/>
                  <a:pt x="4130337" y="185126"/>
                </a:cubicBezTo>
                <a:cubicBezTo>
                  <a:pt x="4130337" y="179180"/>
                  <a:pt x="4135127" y="174390"/>
                  <a:pt x="4141073" y="174390"/>
                </a:cubicBezTo>
                <a:close/>
                <a:moveTo>
                  <a:pt x="4041470" y="172904"/>
                </a:moveTo>
                <a:cubicBezTo>
                  <a:pt x="4047399" y="172904"/>
                  <a:pt x="4052206" y="177711"/>
                  <a:pt x="4052206" y="183640"/>
                </a:cubicBezTo>
                <a:cubicBezTo>
                  <a:pt x="4052206" y="189571"/>
                  <a:pt x="4047399" y="194378"/>
                  <a:pt x="4041470" y="194378"/>
                </a:cubicBezTo>
                <a:cubicBezTo>
                  <a:pt x="4035541" y="194378"/>
                  <a:pt x="4030734" y="189571"/>
                  <a:pt x="4030734" y="183640"/>
                </a:cubicBezTo>
                <a:cubicBezTo>
                  <a:pt x="4030734" y="177711"/>
                  <a:pt x="4035541" y="172904"/>
                  <a:pt x="4041470" y="172904"/>
                </a:cubicBezTo>
                <a:close/>
                <a:moveTo>
                  <a:pt x="4245964" y="172574"/>
                </a:moveTo>
                <a:cubicBezTo>
                  <a:pt x="4251910" y="172574"/>
                  <a:pt x="4256700" y="177364"/>
                  <a:pt x="4256700" y="183311"/>
                </a:cubicBezTo>
                <a:lnTo>
                  <a:pt x="4247120" y="192892"/>
                </a:lnTo>
                <a:lnTo>
                  <a:pt x="4248771" y="194543"/>
                </a:lnTo>
                <a:lnTo>
                  <a:pt x="4240761" y="202555"/>
                </a:lnTo>
                <a:lnTo>
                  <a:pt x="4243156" y="204950"/>
                </a:lnTo>
                <a:lnTo>
                  <a:pt x="4236302" y="211803"/>
                </a:lnTo>
                <a:lnTo>
                  <a:pt x="4239358" y="214859"/>
                </a:lnTo>
                <a:lnTo>
                  <a:pt x="4232749" y="221468"/>
                </a:lnTo>
                <a:lnTo>
                  <a:pt x="4236382" y="225101"/>
                </a:lnTo>
                <a:lnTo>
                  <a:pt x="4229279" y="232204"/>
                </a:lnTo>
                <a:lnTo>
                  <a:pt x="4233410" y="236334"/>
                </a:lnTo>
                <a:lnTo>
                  <a:pt x="4224656" y="245088"/>
                </a:lnTo>
                <a:lnTo>
                  <a:pt x="4228951" y="249383"/>
                </a:lnTo>
                <a:cubicBezTo>
                  <a:pt x="4228951" y="255330"/>
                  <a:pt x="4224160" y="260120"/>
                  <a:pt x="4218213" y="260120"/>
                </a:cubicBezTo>
                <a:cubicBezTo>
                  <a:pt x="4212267" y="260120"/>
                  <a:pt x="4207477" y="255330"/>
                  <a:pt x="4207477" y="249383"/>
                </a:cubicBezTo>
                <a:lnTo>
                  <a:pt x="4216231" y="240629"/>
                </a:lnTo>
                <a:lnTo>
                  <a:pt x="4211937" y="236334"/>
                </a:lnTo>
                <a:lnTo>
                  <a:pt x="4219039" y="229232"/>
                </a:lnTo>
                <a:lnTo>
                  <a:pt x="4214910" y="225101"/>
                </a:lnTo>
                <a:lnTo>
                  <a:pt x="4221517" y="218494"/>
                </a:lnTo>
                <a:lnTo>
                  <a:pt x="4217884" y="214859"/>
                </a:lnTo>
                <a:lnTo>
                  <a:pt x="4224737" y="208006"/>
                </a:lnTo>
                <a:lnTo>
                  <a:pt x="4221683" y="204950"/>
                </a:lnTo>
                <a:lnTo>
                  <a:pt x="4229694" y="196940"/>
                </a:lnTo>
                <a:lnTo>
                  <a:pt x="4227299" y="194543"/>
                </a:lnTo>
                <a:lnTo>
                  <a:pt x="4236878" y="184963"/>
                </a:lnTo>
                <a:lnTo>
                  <a:pt x="4235227" y="183311"/>
                </a:lnTo>
                <a:cubicBezTo>
                  <a:pt x="4235227" y="177364"/>
                  <a:pt x="4240017" y="172574"/>
                  <a:pt x="4245964" y="172574"/>
                </a:cubicBezTo>
                <a:close/>
                <a:moveTo>
                  <a:pt x="315970" y="170922"/>
                </a:moveTo>
                <a:cubicBezTo>
                  <a:pt x="321917" y="170922"/>
                  <a:pt x="326706" y="175712"/>
                  <a:pt x="326706" y="181658"/>
                </a:cubicBezTo>
                <a:cubicBezTo>
                  <a:pt x="326706" y="187605"/>
                  <a:pt x="321917" y="192396"/>
                  <a:pt x="315970" y="192396"/>
                </a:cubicBezTo>
                <a:cubicBezTo>
                  <a:pt x="310023" y="192396"/>
                  <a:pt x="305234" y="187605"/>
                  <a:pt x="305234" y="181658"/>
                </a:cubicBezTo>
                <a:cubicBezTo>
                  <a:pt x="305234" y="175712"/>
                  <a:pt x="310023" y="170922"/>
                  <a:pt x="315970" y="170922"/>
                </a:cubicBezTo>
                <a:close/>
                <a:moveTo>
                  <a:pt x="1024432" y="165636"/>
                </a:moveTo>
                <a:cubicBezTo>
                  <a:pt x="1030379" y="165636"/>
                  <a:pt x="1035170" y="170426"/>
                  <a:pt x="1035170" y="176372"/>
                </a:cubicBezTo>
                <a:cubicBezTo>
                  <a:pt x="1035170" y="182319"/>
                  <a:pt x="1030379" y="187110"/>
                  <a:pt x="1024432" y="187110"/>
                </a:cubicBezTo>
                <a:cubicBezTo>
                  <a:pt x="1018486" y="187110"/>
                  <a:pt x="1013696" y="182319"/>
                  <a:pt x="1013696" y="176372"/>
                </a:cubicBezTo>
                <a:cubicBezTo>
                  <a:pt x="1013696" y="170426"/>
                  <a:pt x="1018486" y="165636"/>
                  <a:pt x="1024432" y="165636"/>
                </a:cubicBezTo>
                <a:close/>
                <a:moveTo>
                  <a:pt x="3579292" y="164810"/>
                </a:moveTo>
                <a:cubicBezTo>
                  <a:pt x="3585238" y="164810"/>
                  <a:pt x="3590030" y="169600"/>
                  <a:pt x="3590030" y="175547"/>
                </a:cubicBezTo>
                <a:cubicBezTo>
                  <a:pt x="3590030" y="181493"/>
                  <a:pt x="3585238" y="186283"/>
                  <a:pt x="3579292" y="186283"/>
                </a:cubicBezTo>
                <a:cubicBezTo>
                  <a:pt x="3573345" y="186283"/>
                  <a:pt x="3568556" y="181493"/>
                  <a:pt x="3568556" y="175547"/>
                </a:cubicBezTo>
                <a:cubicBezTo>
                  <a:pt x="3568556" y="169600"/>
                  <a:pt x="3573345" y="164810"/>
                  <a:pt x="3579292" y="164810"/>
                </a:cubicBezTo>
                <a:close/>
                <a:moveTo>
                  <a:pt x="4257031" y="159854"/>
                </a:moveTo>
                <a:cubicBezTo>
                  <a:pt x="4262978" y="159854"/>
                  <a:pt x="4267769" y="164644"/>
                  <a:pt x="4267769" y="170591"/>
                </a:cubicBezTo>
                <a:cubicBezTo>
                  <a:pt x="4267769" y="176537"/>
                  <a:pt x="4262978" y="181329"/>
                  <a:pt x="4257031" y="181329"/>
                </a:cubicBezTo>
                <a:cubicBezTo>
                  <a:pt x="4251085" y="181329"/>
                  <a:pt x="4246295" y="176537"/>
                  <a:pt x="4246295" y="170591"/>
                </a:cubicBezTo>
                <a:cubicBezTo>
                  <a:pt x="4246295" y="164644"/>
                  <a:pt x="4251085" y="159854"/>
                  <a:pt x="4257031" y="159854"/>
                </a:cubicBezTo>
                <a:close/>
                <a:moveTo>
                  <a:pt x="3930633" y="159689"/>
                </a:moveTo>
                <a:cubicBezTo>
                  <a:pt x="3936579" y="159689"/>
                  <a:pt x="3941369" y="164479"/>
                  <a:pt x="3941369" y="170426"/>
                </a:cubicBezTo>
                <a:cubicBezTo>
                  <a:pt x="3941369" y="176372"/>
                  <a:pt x="3936579" y="181164"/>
                  <a:pt x="3930633" y="181164"/>
                </a:cubicBezTo>
                <a:cubicBezTo>
                  <a:pt x="3924686" y="181164"/>
                  <a:pt x="3919897" y="176372"/>
                  <a:pt x="3919897" y="170426"/>
                </a:cubicBezTo>
                <a:cubicBezTo>
                  <a:pt x="3919897" y="164479"/>
                  <a:pt x="3924686" y="159689"/>
                  <a:pt x="3930633" y="159689"/>
                </a:cubicBezTo>
                <a:close/>
                <a:moveTo>
                  <a:pt x="3779988" y="155725"/>
                </a:moveTo>
                <a:cubicBezTo>
                  <a:pt x="3785934" y="155725"/>
                  <a:pt x="3790726" y="160515"/>
                  <a:pt x="3790726" y="166461"/>
                </a:cubicBezTo>
                <a:cubicBezTo>
                  <a:pt x="3790726" y="172408"/>
                  <a:pt x="3785934" y="177200"/>
                  <a:pt x="3779988" y="177200"/>
                </a:cubicBezTo>
                <a:cubicBezTo>
                  <a:pt x="3774041" y="177200"/>
                  <a:pt x="3769251" y="172408"/>
                  <a:pt x="3769251" y="166461"/>
                </a:cubicBezTo>
                <a:cubicBezTo>
                  <a:pt x="3769251" y="160515"/>
                  <a:pt x="3774041" y="155725"/>
                  <a:pt x="3779988" y="155725"/>
                </a:cubicBezTo>
                <a:close/>
                <a:moveTo>
                  <a:pt x="2446974" y="154404"/>
                </a:moveTo>
                <a:cubicBezTo>
                  <a:pt x="2452920" y="154404"/>
                  <a:pt x="2457710" y="159194"/>
                  <a:pt x="2457710" y="165140"/>
                </a:cubicBezTo>
                <a:cubicBezTo>
                  <a:pt x="2457710" y="171087"/>
                  <a:pt x="2452920" y="175878"/>
                  <a:pt x="2446974" y="175878"/>
                </a:cubicBezTo>
                <a:cubicBezTo>
                  <a:pt x="2441027" y="175878"/>
                  <a:pt x="2436237" y="171087"/>
                  <a:pt x="2436237" y="165140"/>
                </a:cubicBezTo>
                <a:cubicBezTo>
                  <a:pt x="2436237" y="159194"/>
                  <a:pt x="2441027" y="154404"/>
                  <a:pt x="2446974" y="154404"/>
                </a:cubicBezTo>
                <a:close/>
                <a:moveTo>
                  <a:pt x="3178563" y="152917"/>
                </a:moveTo>
                <a:cubicBezTo>
                  <a:pt x="3184509" y="152917"/>
                  <a:pt x="3189299" y="157707"/>
                  <a:pt x="3189299" y="163654"/>
                </a:cubicBezTo>
                <a:cubicBezTo>
                  <a:pt x="3189299" y="169600"/>
                  <a:pt x="3184509" y="174390"/>
                  <a:pt x="3178563" y="174390"/>
                </a:cubicBezTo>
                <a:cubicBezTo>
                  <a:pt x="3172616" y="174390"/>
                  <a:pt x="3167827" y="169600"/>
                  <a:pt x="3167827" y="163654"/>
                </a:cubicBezTo>
                <a:cubicBezTo>
                  <a:pt x="3167827" y="157707"/>
                  <a:pt x="3172616" y="152917"/>
                  <a:pt x="3178563" y="152917"/>
                </a:cubicBezTo>
                <a:close/>
                <a:moveTo>
                  <a:pt x="4271567" y="149779"/>
                </a:moveTo>
                <a:cubicBezTo>
                  <a:pt x="4275034" y="149779"/>
                  <a:pt x="4277845" y="152590"/>
                  <a:pt x="4277845" y="156056"/>
                </a:cubicBezTo>
                <a:cubicBezTo>
                  <a:pt x="4277845" y="159523"/>
                  <a:pt x="4275034" y="162332"/>
                  <a:pt x="4271567" y="162332"/>
                </a:cubicBezTo>
                <a:cubicBezTo>
                  <a:pt x="4268101" y="162332"/>
                  <a:pt x="4265291" y="159521"/>
                  <a:pt x="4265291" y="156056"/>
                </a:cubicBezTo>
                <a:cubicBezTo>
                  <a:pt x="4265291" y="152590"/>
                  <a:pt x="4268101" y="149779"/>
                  <a:pt x="4271567" y="149779"/>
                </a:cubicBezTo>
                <a:close/>
                <a:moveTo>
                  <a:pt x="4075497" y="149779"/>
                </a:moveTo>
                <a:cubicBezTo>
                  <a:pt x="4081443" y="149779"/>
                  <a:pt x="4086233" y="154568"/>
                  <a:pt x="4086233" y="160515"/>
                </a:cubicBezTo>
                <a:cubicBezTo>
                  <a:pt x="4086233" y="166461"/>
                  <a:pt x="4081443" y="171253"/>
                  <a:pt x="4075497" y="171253"/>
                </a:cubicBezTo>
                <a:cubicBezTo>
                  <a:pt x="4069550" y="171253"/>
                  <a:pt x="4064760" y="166461"/>
                  <a:pt x="4064760" y="160515"/>
                </a:cubicBezTo>
                <a:cubicBezTo>
                  <a:pt x="4064760" y="154568"/>
                  <a:pt x="4069550" y="149779"/>
                  <a:pt x="4075497" y="149779"/>
                </a:cubicBezTo>
                <a:close/>
                <a:moveTo>
                  <a:pt x="1218521" y="143007"/>
                </a:moveTo>
                <a:cubicBezTo>
                  <a:pt x="1224467" y="143007"/>
                  <a:pt x="1229259" y="147796"/>
                  <a:pt x="1229259" y="153743"/>
                </a:cubicBezTo>
                <a:cubicBezTo>
                  <a:pt x="1229259" y="159689"/>
                  <a:pt x="1224467" y="164479"/>
                  <a:pt x="1218521" y="164479"/>
                </a:cubicBezTo>
                <a:cubicBezTo>
                  <a:pt x="1212574" y="164479"/>
                  <a:pt x="1207784" y="159689"/>
                  <a:pt x="1207784" y="153743"/>
                </a:cubicBezTo>
                <a:cubicBezTo>
                  <a:pt x="1207784" y="147796"/>
                  <a:pt x="1212574" y="143007"/>
                  <a:pt x="1218521" y="143007"/>
                </a:cubicBezTo>
                <a:close/>
                <a:moveTo>
                  <a:pt x="40777" y="142015"/>
                </a:moveTo>
                <a:cubicBezTo>
                  <a:pt x="46724" y="142015"/>
                  <a:pt x="51515" y="146804"/>
                  <a:pt x="51515" y="152751"/>
                </a:cubicBezTo>
                <a:cubicBezTo>
                  <a:pt x="51515" y="158697"/>
                  <a:pt x="46724" y="163489"/>
                  <a:pt x="40777" y="163489"/>
                </a:cubicBezTo>
                <a:cubicBezTo>
                  <a:pt x="34830" y="163489"/>
                  <a:pt x="30041" y="158697"/>
                  <a:pt x="30041" y="152751"/>
                </a:cubicBezTo>
                <a:cubicBezTo>
                  <a:pt x="30041" y="146804"/>
                  <a:pt x="34830" y="142015"/>
                  <a:pt x="40777" y="142015"/>
                </a:cubicBezTo>
                <a:close/>
                <a:moveTo>
                  <a:pt x="2249087" y="134417"/>
                </a:moveTo>
                <a:cubicBezTo>
                  <a:pt x="2255034" y="134417"/>
                  <a:pt x="2259826" y="139207"/>
                  <a:pt x="2259826" y="145153"/>
                </a:cubicBezTo>
                <a:cubicBezTo>
                  <a:pt x="2259826" y="151100"/>
                  <a:pt x="2255034" y="155892"/>
                  <a:pt x="2249087" y="155892"/>
                </a:cubicBezTo>
                <a:cubicBezTo>
                  <a:pt x="2243141" y="155892"/>
                  <a:pt x="2238351" y="151100"/>
                  <a:pt x="2238351" y="145153"/>
                </a:cubicBezTo>
                <a:cubicBezTo>
                  <a:pt x="2238351" y="139207"/>
                  <a:pt x="2243141" y="134417"/>
                  <a:pt x="2249087" y="134417"/>
                </a:cubicBezTo>
                <a:close/>
                <a:moveTo>
                  <a:pt x="4231263" y="133756"/>
                </a:moveTo>
                <a:cubicBezTo>
                  <a:pt x="4237209" y="133756"/>
                  <a:pt x="4242001" y="138546"/>
                  <a:pt x="4242001" y="144493"/>
                </a:cubicBezTo>
                <a:lnTo>
                  <a:pt x="4231592" y="154901"/>
                </a:lnTo>
                <a:lnTo>
                  <a:pt x="4231757" y="155064"/>
                </a:lnTo>
                <a:lnTo>
                  <a:pt x="4223417" y="163406"/>
                </a:lnTo>
                <a:lnTo>
                  <a:pt x="4224326" y="164315"/>
                </a:lnTo>
                <a:lnTo>
                  <a:pt x="4217223" y="171418"/>
                </a:lnTo>
                <a:lnTo>
                  <a:pt x="4218709" y="172904"/>
                </a:lnTo>
                <a:lnTo>
                  <a:pt x="4212515" y="179098"/>
                </a:lnTo>
                <a:lnTo>
                  <a:pt x="4214414" y="180997"/>
                </a:lnTo>
                <a:lnTo>
                  <a:pt x="4208138" y="187275"/>
                </a:lnTo>
                <a:lnTo>
                  <a:pt x="4210451" y="189587"/>
                </a:lnTo>
                <a:lnTo>
                  <a:pt x="4203181" y="196855"/>
                </a:lnTo>
                <a:lnTo>
                  <a:pt x="4205659" y="199333"/>
                </a:lnTo>
                <a:lnTo>
                  <a:pt x="4196409" y="208585"/>
                </a:lnTo>
                <a:lnTo>
                  <a:pt x="4198887" y="211061"/>
                </a:lnTo>
                <a:cubicBezTo>
                  <a:pt x="4198887" y="217008"/>
                  <a:pt x="4194098" y="221799"/>
                  <a:pt x="4188151" y="221799"/>
                </a:cubicBezTo>
                <a:cubicBezTo>
                  <a:pt x="4182205" y="221799"/>
                  <a:pt x="4177415" y="217008"/>
                  <a:pt x="4177415" y="211061"/>
                </a:cubicBezTo>
                <a:lnTo>
                  <a:pt x="4186665" y="201811"/>
                </a:lnTo>
                <a:lnTo>
                  <a:pt x="4184187" y="199333"/>
                </a:lnTo>
                <a:lnTo>
                  <a:pt x="4191455" y="192065"/>
                </a:lnTo>
                <a:lnTo>
                  <a:pt x="4188977" y="189587"/>
                </a:lnTo>
                <a:lnTo>
                  <a:pt x="4195253" y="183311"/>
                </a:lnTo>
                <a:lnTo>
                  <a:pt x="4192941" y="180997"/>
                </a:lnTo>
                <a:lnTo>
                  <a:pt x="4199134" y="174805"/>
                </a:lnTo>
                <a:lnTo>
                  <a:pt x="4197235" y="172904"/>
                </a:lnTo>
                <a:lnTo>
                  <a:pt x="4204338" y="165801"/>
                </a:lnTo>
                <a:lnTo>
                  <a:pt x="4202852" y="164315"/>
                </a:lnTo>
                <a:lnTo>
                  <a:pt x="4211193" y="155973"/>
                </a:lnTo>
                <a:lnTo>
                  <a:pt x="4210284" y="155064"/>
                </a:lnTo>
                <a:lnTo>
                  <a:pt x="4220691" y="144657"/>
                </a:lnTo>
                <a:lnTo>
                  <a:pt x="4220527" y="144493"/>
                </a:lnTo>
                <a:cubicBezTo>
                  <a:pt x="4220527" y="138546"/>
                  <a:pt x="4225316" y="133756"/>
                  <a:pt x="4231263" y="133756"/>
                </a:cubicBezTo>
                <a:close/>
                <a:moveTo>
                  <a:pt x="461000" y="132600"/>
                </a:moveTo>
                <a:cubicBezTo>
                  <a:pt x="466946" y="132600"/>
                  <a:pt x="471736" y="137390"/>
                  <a:pt x="471736" y="143336"/>
                </a:cubicBezTo>
                <a:cubicBezTo>
                  <a:pt x="471736" y="149283"/>
                  <a:pt x="466946" y="154074"/>
                  <a:pt x="461000" y="154074"/>
                </a:cubicBezTo>
                <a:cubicBezTo>
                  <a:pt x="455054" y="154074"/>
                  <a:pt x="450264" y="149283"/>
                  <a:pt x="450264" y="143336"/>
                </a:cubicBezTo>
                <a:cubicBezTo>
                  <a:pt x="450264" y="137390"/>
                  <a:pt x="455054" y="132600"/>
                  <a:pt x="461000" y="132600"/>
                </a:cubicBezTo>
                <a:close/>
                <a:moveTo>
                  <a:pt x="4100604" y="132435"/>
                </a:moveTo>
                <a:cubicBezTo>
                  <a:pt x="4106535" y="132435"/>
                  <a:pt x="4111342" y="137242"/>
                  <a:pt x="4111342" y="143171"/>
                </a:cubicBezTo>
                <a:cubicBezTo>
                  <a:pt x="4111342" y="149102"/>
                  <a:pt x="4106535" y="153908"/>
                  <a:pt x="4100604" y="153908"/>
                </a:cubicBezTo>
                <a:cubicBezTo>
                  <a:pt x="4094675" y="153908"/>
                  <a:pt x="4089868" y="149102"/>
                  <a:pt x="4089868" y="143171"/>
                </a:cubicBezTo>
                <a:cubicBezTo>
                  <a:pt x="4089868" y="137242"/>
                  <a:pt x="4094675" y="132435"/>
                  <a:pt x="4100604" y="132435"/>
                </a:cubicBezTo>
                <a:close/>
                <a:moveTo>
                  <a:pt x="3983820" y="129131"/>
                </a:moveTo>
                <a:cubicBezTo>
                  <a:pt x="3989767" y="129131"/>
                  <a:pt x="3994557" y="133921"/>
                  <a:pt x="3994557" y="139868"/>
                </a:cubicBezTo>
                <a:cubicBezTo>
                  <a:pt x="3994557" y="145814"/>
                  <a:pt x="3989767" y="150606"/>
                  <a:pt x="3983820" y="150606"/>
                </a:cubicBezTo>
                <a:cubicBezTo>
                  <a:pt x="3977874" y="150606"/>
                  <a:pt x="3973084" y="145814"/>
                  <a:pt x="3973084" y="139868"/>
                </a:cubicBezTo>
                <a:cubicBezTo>
                  <a:pt x="3973084" y="133921"/>
                  <a:pt x="3977874" y="129131"/>
                  <a:pt x="3983820" y="129131"/>
                </a:cubicBezTo>
                <a:close/>
                <a:moveTo>
                  <a:pt x="1420371" y="126489"/>
                </a:moveTo>
                <a:cubicBezTo>
                  <a:pt x="1426318" y="126489"/>
                  <a:pt x="1431109" y="131278"/>
                  <a:pt x="1431109" y="137225"/>
                </a:cubicBezTo>
                <a:cubicBezTo>
                  <a:pt x="1431109" y="143171"/>
                  <a:pt x="1426318" y="147961"/>
                  <a:pt x="1420371" y="147961"/>
                </a:cubicBezTo>
                <a:cubicBezTo>
                  <a:pt x="1414425" y="147961"/>
                  <a:pt x="1409635" y="143171"/>
                  <a:pt x="1409635" y="137225"/>
                </a:cubicBezTo>
                <a:cubicBezTo>
                  <a:pt x="1409635" y="131278"/>
                  <a:pt x="1414425" y="126489"/>
                  <a:pt x="1420371" y="126489"/>
                </a:cubicBezTo>
                <a:close/>
                <a:moveTo>
                  <a:pt x="3465812" y="122359"/>
                </a:moveTo>
                <a:cubicBezTo>
                  <a:pt x="3471758" y="122359"/>
                  <a:pt x="3476548" y="127149"/>
                  <a:pt x="3476548" y="133096"/>
                </a:cubicBezTo>
                <a:cubicBezTo>
                  <a:pt x="3476548" y="139042"/>
                  <a:pt x="3471758" y="143832"/>
                  <a:pt x="3465812" y="143832"/>
                </a:cubicBezTo>
                <a:cubicBezTo>
                  <a:pt x="3459865" y="143832"/>
                  <a:pt x="3455076" y="139042"/>
                  <a:pt x="3455076" y="133096"/>
                </a:cubicBezTo>
                <a:cubicBezTo>
                  <a:pt x="3455076" y="127149"/>
                  <a:pt x="3459865" y="122359"/>
                  <a:pt x="3465812" y="122359"/>
                </a:cubicBezTo>
                <a:close/>
                <a:moveTo>
                  <a:pt x="4244807" y="121203"/>
                </a:moveTo>
                <a:cubicBezTo>
                  <a:pt x="4250753" y="121203"/>
                  <a:pt x="4255543" y="125992"/>
                  <a:pt x="4255543" y="131939"/>
                </a:cubicBezTo>
                <a:cubicBezTo>
                  <a:pt x="4255543" y="137886"/>
                  <a:pt x="4250753" y="142675"/>
                  <a:pt x="4244807" y="142675"/>
                </a:cubicBezTo>
                <a:cubicBezTo>
                  <a:pt x="4238860" y="142675"/>
                  <a:pt x="4234071" y="137886"/>
                  <a:pt x="4234071" y="131939"/>
                </a:cubicBezTo>
                <a:cubicBezTo>
                  <a:pt x="4234071" y="125992"/>
                  <a:pt x="4238860" y="121203"/>
                  <a:pt x="4244807" y="121203"/>
                </a:cubicBezTo>
                <a:close/>
                <a:moveTo>
                  <a:pt x="2044592" y="121038"/>
                </a:moveTo>
                <a:cubicBezTo>
                  <a:pt x="2050538" y="121038"/>
                  <a:pt x="2055330" y="125828"/>
                  <a:pt x="2055330" y="131774"/>
                </a:cubicBezTo>
                <a:cubicBezTo>
                  <a:pt x="2055330" y="137721"/>
                  <a:pt x="2050538" y="142511"/>
                  <a:pt x="2044592" y="142511"/>
                </a:cubicBezTo>
                <a:cubicBezTo>
                  <a:pt x="2038645" y="142511"/>
                  <a:pt x="2033855" y="137721"/>
                  <a:pt x="2033855" y="131774"/>
                </a:cubicBezTo>
                <a:cubicBezTo>
                  <a:pt x="2033855" y="125828"/>
                  <a:pt x="2038645" y="121038"/>
                  <a:pt x="2044592" y="121038"/>
                </a:cubicBezTo>
                <a:close/>
                <a:moveTo>
                  <a:pt x="4118773" y="119881"/>
                </a:moveTo>
                <a:cubicBezTo>
                  <a:pt x="4124720" y="119881"/>
                  <a:pt x="4129511" y="124671"/>
                  <a:pt x="4129511" y="130618"/>
                </a:cubicBezTo>
                <a:cubicBezTo>
                  <a:pt x="4129511" y="136564"/>
                  <a:pt x="4124720" y="141354"/>
                  <a:pt x="4118773" y="141354"/>
                </a:cubicBezTo>
                <a:cubicBezTo>
                  <a:pt x="4112827" y="141354"/>
                  <a:pt x="4108037" y="136564"/>
                  <a:pt x="4108037" y="130618"/>
                </a:cubicBezTo>
                <a:cubicBezTo>
                  <a:pt x="4108037" y="124671"/>
                  <a:pt x="4112827" y="119881"/>
                  <a:pt x="4118773" y="119881"/>
                </a:cubicBezTo>
                <a:close/>
                <a:moveTo>
                  <a:pt x="1627180" y="116909"/>
                </a:moveTo>
                <a:cubicBezTo>
                  <a:pt x="1633127" y="116909"/>
                  <a:pt x="1637918" y="121699"/>
                  <a:pt x="1637918" y="127645"/>
                </a:cubicBezTo>
                <a:cubicBezTo>
                  <a:pt x="1637918" y="133592"/>
                  <a:pt x="1633127" y="138381"/>
                  <a:pt x="1627180" y="138381"/>
                </a:cubicBezTo>
                <a:cubicBezTo>
                  <a:pt x="1621233" y="138381"/>
                  <a:pt x="1616444" y="133592"/>
                  <a:pt x="1616444" y="127645"/>
                </a:cubicBezTo>
                <a:cubicBezTo>
                  <a:pt x="1616444" y="121699"/>
                  <a:pt x="1621233" y="116909"/>
                  <a:pt x="1627180" y="116909"/>
                </a:cubicBezTo>
                <a:close/>
                <a:moveTo>
                  <a:pt x="3028576" y="115421"/>
                </a:moveTo>
                <a:cubicBezTo>
                  <a:pt x="3034523" y="115421"/>
                  <a:pt x="3039315" y="120211"/>
                  <a:pt x="3039315" y="126157"/>
                </a:cubicBezTo>
                <a:cubicBezTo>
                  <a:pt x="3039315" y="132104"/>
                  <a:pt x="3034523" y="136895"/>
                  <a:pt x="3028576" y="136895"/>
                </a:cubicBezTo>
                <a:cubicBezTo>
                  <a:pt x="3022630" y="136895"/>
                  <a:pt x="3017840" y="132104"/>
                  <a:pt x="3017840" y="126157"/>
                </a:cubicBezTo>
                <a:cubicBezTo>
                  <a:pt x="3017840" y="120211"/>
                  <a:pt x="3022630" y="115421"/>
                  <a:pt x="3028576" y="115421"/>
                </a:cubicBezTo>
                <a:close/>
                <a:moveTo>
                  <a:pt x="3857953" y="115091"/>
                </a:moveTo>
                <a:cubicBezTo>
                  <a:pt x="3863900" y="115091"/>
                  <a:pt x="3868691" y="119881"/>
                  <a:pt x="3868691" y="125828"/>
                </a:cubicBezTo>
                <a:cubicBezTo>
                  <a:pt x="3868691" y="131774"/>
                  <a:pt x="3863900" y="136566"/>
                  <a:pt x="3857953" y="136566"/>
                </a:cubicBezTo>
                <a:cubicBezTo>
                  <a:pt x="3852007" y="136566"/>
                  <a:pt x="3847217" y="131774"/>
                  <a:pt x="3847217" y="125828"/>
                </a:cubicBezTo>
                <a:cubicBezTo>
                  <a:pt x="3847217" y="119881"/>
                  <a:pt x="3852007" y="115091"/>
                  <a:pt x="3857953" y="115091"/>
                </a:cubicBezTo>
                <a:close/>
                <a:moveTo>
                  <a:pt x="1836299" y="115091"/>
                </a:moveTo>
                <a:cubicBezTo>
                  <a:pt x="1842245" y="115091"/>
                  <a:pt x="1847037" y="119881"/>
                  <a:pt x="1847037" y="125828"/>
                </a:cubicBezTo>
                <a:cubicBezTo>
                  <a:pt x="1847037" y="131774"/>
                  <a:pt x="1842245" y="136566"/>
                  <a:pt x="1836299" y="136566"/>
                </a:cubicBezTo>
                <a:cubicBezTo>
                  <a:pt x="1830352" y="136566"/>
                  <a:pt x="1825562" y="131774"/>
                  <a:pt x="1825562" y="125828"/>
                </a:cubicBezTo>
                <a:cubicBezTo>
                  <a:pt x="1825562" y="119881"/>
                  <a:pt x="1830352" y="115091"/>
                  <a:pt x="1836299" y="115091"/>
                </a:cubicBezTo>
                <a:close/>
                <a:moveTo>
                  <a:pt x="3688643" y="111456"/>
                </a:moveTo>
                <a:cubicBezTo>
                  <a:pt x="3694574" y="111456"/>
                  <a:pt x="3699381" y="116264"/>
                  <a:pt x="3699381" y="122193"/>
                </a:cubicBezTo>
                <a:cubicBezTo>
                  <a:pt x="3699381" y="128124"/>
                  <a:pt x="3694574" y="132931"/>
                  <a:pt x="3688643" y="132931"/>
                </a:cubicBezTo>
                <a:cubicBezTo>
                  <a:pt x="3682714" y="132931"/>
                  <a:pt x="3677906" y="128124"/>
                  <a:pt x="3677906" y="122193"/>
                </a:cubicBezTo>
                <a:cubicBezTo>
                  <a:pt x="3677906" y="116264"/>
                  <a:pt x="3682714" y="111456"/>
                  <a:pt x="3688643" y="111456"/>
                </a:cubicBezTo>
                <a:close/>
                <a:moveTo>
                  <a:pt x="4205328" y="106171"/>
                </a:moveTo>
                <a:cubicBezTo>
                  <a:pt x="4211275" y="106171"/>
                  <a:pt x="4216066" y="110961"/>
                  <a:pt x="4216066" y="116907"/>
                </a:cubicBezTo>
                <a:cubicBezTo>
                  <a:pt x="4216066" y="122854"/>
                  <a:pt x="4211275" y="127645"/>
                  <a:pt x="4205328" y="127645"/>
                </a:cubicBezTo>
                <a:lnTo>
                  <a:pt x="4204751" y="127068"/>
                </a:lnTo>
                <a:lnTo>
                  <a:pt x="4198971" y="132848"/>
                </a:lnTo>
                <a:lnTo>
                  <a:pt x="4199054" y="132931"/>
                </a:lnTo>
                <a:lnTo>
                  <a:pt x="4192859" y="139125"/>
                </a:lnTo>
                <a:lnTo>
                  <a:pt x="4193106" y="139372"/>
                </a:lnTo>
                <a:lnTo>
                  <a:pt x="4187324" y="145155"/>
                </a:lnTo>
                <a:lnTo>
                  <a:pt x="4187985" y="145814"/>
                </a:lnTo>
                <a:lnTo>
                  <a:pt x="4181792" y="152009"/>
                </a:lnTo>
                <a:lnTo>
                  <a:pt x="4182536" y="152751"/>
                </a:lnTo>
                <a:lnTo>
                  <a:pt x="4174937" y="160352"/>
                </a:lnTo>
                <a:lnTo>
                  <a:pt x="4175596" y="161011"/>
                </a:lnTo>
                <a:lnTo>
                  <a:pt x="4165520" y="171088"/>
                </a:lnTo>
                <a:lnTo>
                  <a:pt x="4165851" y="171418"/>
                </a:lnTo>
                <a:cubicBezTo>
                  <a:pt x="4165851" y="177364"/>
                  <a:pt x="4161061" y="182154"/>
                  <a:pt x="4155115" y="182154"/>
                </a:cubicBezTo>
                <a:cubicBezTo>
                  <a:pt x="4149168" y="182154"/>
                  <a:pt x="4144378" y="177364"/>
                  <a:pt x="4144378" y="171418"/>
                </a:cubicBezTo>
                <a:lnTo>
                  <a:pt x="4154454" y="161342"/>
                </a:lnTo>
                <a:lnTo>
                  <a:pt x="4154123" y="161011"/>
                </a:lnTo>
                <a:lnTo>
                  <a:pt x="4161722" y="153412"/>
                </a:lnTo>
                <a:lnTo>
                  <a:pt x="4161061" y="152751"/>
                </a:lnTo>
                <a:lnTo>
                  <a:pt x="4167254" y="146558"/>
                </a:lnTo>
                <a:lnTo>
                  <a:pt x="4166512" y="145814"/>
                </a:lnTo>
                <a:lnTo>
                  <a:pt x="4172294" y="140032"/>
                </a:lnTo>
                <a:lnTo>
                  <a:pt x="4171633" y="139372"/>
                </a:lnTo>
                <a:lnTo>
                  <a:pt x="4177826" y="133179"/>
                </a:lnTo>
                <a:lnTo>
                  <a:pt x="4177579" y="132931"/>
                </a:lnTo>
                <a:lnTo>
                  <a:pt x="4184931" y="125580"/>
                </a:lnTo>
                <a:lnTo>
                  <a:pt x="4184847" y="125496"/>
                </a:lnTo>
                <a:cubicBezTo>
                  <a:pt x="4184847" y="119550"/>
                  <a:pt x="4189637" y="114760"/>
                  <a:pt x="4195584" y="114760"/>
                </a:cubicBezTo>
                <a:lnTo>
                  <a:pt x="4196161" y="115338"/>
                </a:lnTo>
                <a:close/>
                <a:moveTo>
                  <a:pt x="4024785" y="106171"/>
                </a:moveTo>
                <a:cubicBezTo>
                  <a:pt x="4030732" y="106171"/>
                  <a:pt x="4035524" y="110961"/>
                  <a:pt x="4035524" y="116907"/>
                </a:cubicBezTo>
                <a:cubicBezTo>
                  <a:pt x="4035524" y="122854"/>
                  <a:pt x="4030732" y="127645"/>
                  <a:pt x="4024785" y="127645"/>
                </a:cubicBezTo>
                <a:cubicBezTo>
                  <a:pt x="4018839" y="127645"/>
                  <a:pt x="4014049" y="122854"/>
                  <a:pt x="4014049" y="116907"/>
                </a:cubicBezTo>
                <a:cubicBezTo>
                  <a:pt x="4014049" y="110961"/>
                  <a:pt x="4018839" y="106171"/>
                  <a:pt x="4024785" y="106171"/>
                </a:cubicBezTo>
                <a:close/>
                <a:moveTo>
                  <a:pt x="159378" y="99895"/>
                </a:moveTo>
                <a:cubicBezTo>
                  <a:pt x="165325" y="99895"/>
                  <a:pt x="170116" y="104684"/>
                  <a:pt x="170116" y="110631"/>
                </a:cubicBezTo>
                <a:cubicBezTo>
                  <a:pt x="170116" y="116578"/>
                  <a:pt x="165325" y="121367"/>
                  <a:pt x="159378" y="121367"/>
                </a:cubicBezTo>
                <a:cubicBezTo>
                  <a:pt x="153432" y="121367"/>
                  <a:pt x="148642" y="116578"/>
                  <a:pt x="148642" y="110631"/>
                </a:cubicBezTo>
                <a:cubicBezTo>
                  <a:pt x="148642" y="104684"/>
                  <a:pt x="153432" y="99895"/>
                  <a:pt x="159378" y="99895"/>
                </a:cubicBezTo>
                <a:close/>
                <a:moveTo>
                  <a:pt x="616600" y="96260"/>
                </a:moveTo>
                <a:cubicBezTo>
                  <a:pt x="622546" y="96260"/>
                  <a:pt x="627338" y="101050"/>
                  <a:pt x="627338" y="106996"/>
                </a:cubicBezTo>
                <a:cubicBezTo>
                  <a:pt x="627338" y="112943"/>
                  <a:pt x="622546" y="117733"/>
                  <a:pt x="616600" y="117733"/>
                </a:cubicBezTo>
                <a:cubicBezTo>
                  <a:pt x="610653" y="117733"/>
                  <a:pt x="605864" y="112943"/>
                  <a:pt x="605864" y="106996"/>
                </a:cubicBezTo>
                <a:cubicBezTo>
                  <a:pt x="605864" y="101050"/>
                  <a:pt x="610653" y="96260"/>
                  <a:pt x="616600" y="96260"/>
                </a:cubicBezTo>
                <a:close/>
                <a:moveTo>
                  <a:pt x="4218048" y="95930"/>
                </a:moveTo>
                <a:cubicBezTo>
                  <a:pt x="4223995" y="95930"/>
                  <a:pt x="4228785" y="100720"/>
                  <a:pt x="4228785" y="106667"/>
                </a:cubicBezTo>
                <a:cubicBezTo>
                  <a:pt x="4228785" y="112613"/>
                  <a:pt x="4223995" y="117405"/>
                  <a:pt x="4218048" y="117405"/>
                </a:cubicBezTo>
                <a:cubicBezTo>
                  <a:pt x="4212102" y="117405"/>
                  <a:pt x="4207312" y="112613"/>
                  <a:pt x="4207312" y="106667"/>
                </a:cubicBezTo>
                <a:cubicBezTo>
                  <a:pt x="4207312" y="100720"/>
                  <a:pt x="4212102" y="95930"/>
                  <a:pt x="4218048" y="95930"/>
                </a:cubicBezTo>
                <a:close/>
                <a:moveTo>
                  <a:pt x="4234237" y="89653"/>
                </a:moveTo>
                <a:cubicBezTo>
                  <a:pt x="4236700" y="89653"/>
                  <a:pt x="4238697" y="91649"/>
                  <a:pt x="4238697" y="94113"/>
                </a:cubicBezTo>
                <a:cubicBezTo>
                  <a:pt x="4238697" y="96575"/>
                  <a:pt x="4236700" y="98573"/>
                  <a:pt x="4234237" y="98573"/>
                </a:cubicBezTo>
                <a:cubicBezTo>
                  <a:pt x="4231775" y="98573"/>
                  <a:pt x="4229777" y="96575"/>
                  <a:pt x="4229777" y="94113"/>
                </a:cubicBezTo>
                <a:cubicBezTo>
                  <a:pt x="4229777" y="91649"/>
                  <a:pt x="4231775" y="89653"/>
                  <a:pt x="4234237" y="89653"/>
                </a:cubicBezTo>
                <a:close/>
                <a:moveTo>
                  <a:pt x="4055840" y="89488"/>
                </a:moveTo>
                <a:cubicBezTo>
                  <a:pt x="4061786" y="89488"/>
                  <a:pt x="4066576" y="94278"/>
                  <a:pt x="4066576" y="100224"/>
                </a:cubicBezTo>
                <a:cubicBezTo>
                  <a:pt x="4066576" y="106171"/>
                  <a:pt x="4061786" y="110962"/>
                  <a:pt x="4055840" y="110962"/>
                </a:cubicBezTo>
                <a:cubicBezTo>
                  <a:pt x="4049893" y="110962"/>
                  <a:pt x="4045103" y="106171"/>
                  <a:pt x="4045103" y="100224"/>
                </a:cubicBezTo>
                <a:cubicBezTo>
                  <a:pt x="4045103" y="94278"/>
                  <a:pt x="4049893" y="89488"/>
                  <a:pt x="4055840" y="89488"/>
                </a:cubicBezTo>
                <a:close/>
                <a:moveTo>
                  <a:pt x="3920061" y="84202"/>
                </a:moveTo>
                <a:cubicBezTo>
                  <a:pt x="3925991" y="84202"/>
                  <a:pt x="3930798" y="89009"/>
                  <a:pt x="3930798" y="94938"/>
                </a:cubicBezTo>
                <a:cubicBezTo>
                  <a:pt x="3930798" y="100869"/>
                  <a:pt x="3925991" y="105676"/>
                  <a:pt x="3920061" y="105676"/>
                </a:cubicBezTo>
                <a:cubicBezTo>
                  <a:pt x="3914132" y="105676"/>
                  <a:pt x="3909325" y="100869"/>
                  <a:pt x="3909325" y="94938"/>
                </a:cubicBezTo>
                <a:cubicBezTo>
                  <a:pt x="3909325" y="89009"/>
                  <a:pt x="3914132" y="84202"/>
                  <a:pt x="3920061" y="84202"/>
                </a:cubicBezTo>
                <a:close/>
                <a:moveTo>
                  <a:pt x="3342752" y="80567"/>
                </a:moveTo>
                <a:cubicBezTo>
                  <a:pt x="3348699" y="80567"/>
                  <a:pt x="3353490" y="85357"/>
                  <a:pt x="3353490" y="91304"/>
                </a:cubicBezTo>
                <a:cubicBezTo>
                  <a:pt x="3353490" y="97250"/>
                  <a:pt x="3348699" y="102042"/>
                  <a:pt x="3342752" y="102042"/>
                </a:cubicBezTo>
                <a:cubicBezTo>
                  <a:pt x="3336806" y="102042"/>
                  <a:pt x="3332016" y="97250"/>
                  <a:pt x="3332016" y="91304"/>
                </a:cubicBezTo>
                <a:cubicBezTo>
                  <a:pt x="3332016" y="85357"/>
                  <a:pt x="3336806" y="80567"/>
                  <a:pt x="3342752" y="80567"/>
                </a:cubicBezTo>
                <a:close/>
                <a:moveTo>
                  <a:pt x="2868187" y="80402"/>
                </a:moveTo>
                <a:cubicBezTo>
                  <a:pt x="2874133" y="80402"/>
                  <a:pt x="2878923" y="85192"/>
                  <a:pt x="2878923" y="91139"/>
                </a:cubicBezTo>
                <a:cubicBezTo>
                  <a:pt x="2878923" y="97085"/>
                  <a:pt x="2874133" y="101875"/>
                  <a:pt x="2868187" y="101875"/>
                </a:cubicBezTo>
                <a:cubicBezTo>
                  <a:pt x="2862240" y="101875"/>
                  <a:pt x="2857450" y="97085"/>
                  <a:pt x="2857450" y="91139"/>
                </a:cubicBezTo>
                <a:cubicBezTo>
                  <a:pt x="2857450" y="85192"/>
                  <a:pt x="2862240" y="80402"/>
                  <a:pt x="2868187" y="80402"/>
                </a:cubicBezTo>
                <a:close/>
                <a:moveTo>
                  <a:pt x="4079131" y="77760"/>
                </a:moveTo>
                <a:cubicBezTo>
                  <a:pt x="4085078" y="77760"/>
                  <a:pt x="4089868" y="82549"/>
                  <a:pt x="4089868" y="88496"/>
                </a:cubicBezTo>
                <a:cubicBezTo>
                  <a:pt x="4089868" y="94442"/>
                  <a:pt x="4085078" y="99234"/>
                  <a:pt x="4079131" y="99234"/>
                </a:cubicBezTo>
                <a:cubicBezTo>
                  <a:pt x="4073185" y="99234"/>
                  <a:pt x="4068395" y="94442"/>
                  <a:pt x="4068395" y="88496"/>
                </a:cubicBezTo>
                <a:cubicBezTo>
                  <a:pt x="4068395" y="82549"/>
                  <a:pt x="4073185" y="77760"/>
                  <a:pt x="4079131" y="77760"/>
                </a:cubicBezTo>
                <a:close/>
                <a:moveTo>
                  <a:pt x="3778005" y="70162"/>
                </a:moveTo>
                <a:cubicBezTo>
                  <a:pt x="3783952" y="70162"/>
                  <a:pt x="3788744" y="74952"/>
                  <a:pt x="3788744" y="80898"/>
                </a:cubicBezTo>
                <a:cubicBezTo>
                  <a:pt x="3788744" y="86845"/>
                  <a:pt x="3783952" y="91637"/>
                  <a:pt x="3778005" y="91637"/>
                </a:cubicBezTo>
                <a:cubicBezTo>
                  <a:pt x="3772059" y="91637"/>
                  <a:pt x="3767269" y="86845"/>
                  <a:pt x="3767269" y="80898"/>
                </a:cubicBezTo>
                <a:cubicBezTo>
                  <a:pt x="3767269" y="74952"/>
                  <a:pt x="3772059" y="70162"/>
                  <a:pt x="3778005" y="70162"/>
                </a:cubicBezTo>
                <a:close/>
                <a:moveTo>
                  <a:pt x="4190959" y="69170"/>
                </a:moveTo>
                <a:cubicBezTo>
                  <a:pt x="4196905" y="69170"/>
                  <a:pt x="4201697" y="73960"/>
                  <a:pt x="4201697" y="79907"/>
                </a:cubicBezTo>
                <a:cubicBezTo>
                  <a:pt x="4201697" y="85853"/>
                  <a:pt x="4196905" y="90643"/>
                  <a:pt x="4190959" y="90643"/>
                </a:cubicBezTo>
                <a:lnTo>
                  <a:pt x="4189060" y="88744"/>
                </a:lnTo>
                <a:lnTo>
                  <a:pt x="4178901" y="98903"/>
                </a:lnTo>
                <a:lnTo>
                  <a:pt x="4177496" y="97498"/>
                </a:lnTo>
                <a:lnTo>
                  <a:pt x="4169484" y="105510"/>
                </a:lnTo>
                <a:lnTo>
                  <a:pt x="4168328" y="104355"/>
                </a:lnTo>
                <a:lnTo>
                  <a:pt x="4161887" y="110796"/>
                </a:lnTo>
                <a:lnTo>
                  <a:pt x="4160897" y="109806"/>
                </a:lnTo>
                <a:lnTo>
                  <a:pt x="4155280" y="115421"/>
                </a:lnTo>
                <a:lnTo>
                  <a:pt x="4154454" y="114595"/>
                </a:lnTo>
                <a:lnTo>
                  <a:pt x="4149002" y="120048"/>
                </a:lnTo>
                <a:lnTo>
                  <a:pt x="4147845" y="118891"/>
                </a:lnTo>
                <a:lnTo>
                  <a:pt x="4141569" y="125169"/>
                </a:lnTo>
                <a:lnTo>
                  <a:pt x="4140248" y="123847"/>
                </a:lnTo>
                <a:lnTo>
                  <a:pt x="4131989" y="132104"/>
                </a:lnTo>
                <a:cubicBezTo>
                  <a:pt x="4126043" y="132104"/>
                  <a:pt x="4121253" y="127314"/>
                  <a:pt x="4121253" y="121367"/>
                </a:cubicBezTo>
                <a:cubicBezTo>
                  <a:pt x="4121253" y="115421"/>
                  <a:pt x="4126043" y="110631"/>
                  <a:pt x="4131989" y="110631"/>
                </a:cubicBezTo>
                <a:lnTo>
                  <a:pt x="4133311" y="111952"/>
                </a:lnTo>
                <a:lnTo>
                  <a:pt x="4141569" y="103694"/>
                </a:lnTo>
                <a:lnTo>
                  <a:pt x="4142726" y="104851"/>
                </a:lnTo>
                <a:lnTo>
                  <a:pt x="4149002" y="98573"/>
                </a:lnTo>
                <a:lnTo>
                  <a:pt x="4149827" y="99401"/>
                </a:lnTo>
                <a:lnTo>
                  <a:pt x="4155280" y="93948"/>
                </a:lnTo>
                <a:lnTo>
                  <a:pt x="4156271" y="94940"/>
                </a:lnTo>
                <a:lnTo>
                  <a:pt x="4161887" y="89323"/>
                </a:lnTo>
                <a:lnTo>
                  <a:pt x="4163042" y="90480"/>
                </a:lnTo>
                <a:lnTo>
                  <a:pt x="4169484" y="84037"/>
                </a:lnTo>
                <a:lnTo>
                  <a:pt x="4170889" y="85442"/>
                </a:lnTo>
                <a:lnTo>
                  <a:pt x="4178901" y="77430"/>
                </a:lnTo>
                <a:lnTo>
                  <a:pt x="4180800" y="79329"/>
                </a:lnTo>
                <a:close/>
                <a:moveTo>
                  <a:pt x="3589038" y="67354"/>
                </a:moveTo>
                <a:cubicBezTo>
                  <a:pt x="3594985" y="67354"/>
                  <a:pt x="3599776" y="72144"/>
                  <a:pt x="3599776" y="78091"/>
                </a:cubicBezTo>
                <a:cubicBezTo>
                  <a:pt x="3599776" y="84037"/>
                  <a:pt x="3594985" y="88827"/>
                  <a:pt x="3589038" y="88827"/>
                </a:cubicBezTo>
                <a:cubicBezTo>
                  <a:pt x="3583092" y="88827"/>
                  <a:pt x="3578302" y="84037"/>
                  <a:pt x="3578302" y="78091"/>
                </a:cubicBezTo>
                <a:cubicBezTo>
                  <a:pt x="3578302" y="72144"/>
                  <a:pt x="3583092" y="67354"/>
                  <a:pt x="3589038" y="67354"/>
                </a:cubicBezTo>
                <a:close/>
                <a:moveTo>
                  <a:pt x="782442" y="62894"/>
                </a:moveTo>
                <a:cubicBezTo>
                  <a:pt x="788389" y="62894"/>
                  <a:pt x="793180" y="67684"/>
                  <a:pt x="793180" y="73630"/>
                </a:cubicBezTo>
                <a:cubicBezTo>
                  <a:pt x="793180" y="79577"/>
                  <a:pt x="788389" y="84368"/>
                  <a:pt x="782442" y="84368"/>
                </a:cubicBezTo>
                <a:cubicBezTo>
                  <a:pt x="776495" y="84368"/>
                  <a:pt x="771706" y="79577"/>
                  <a:pt x="771706" y="73630"/>
                </a:cubicBezTo>
                <a:cubicBezTo>
                  <a:pt x="771706" y="67684"/>
                  <a:pt x="776495" y="62894"/>
                  <a:pt x="782442" y="62894"/>
                </a:cubicBezTo>
                <a:close/>
                <a:moveTo>
                  <a:pt x="3968790" y="61573"/>
                </a:moveTo>
                <a:cubicBezTo>
                  <a:pt x="3974737" y="61573"/>
                  <a:pt x="3979527" y="66363"/>
                  <a:pt x="3979527" y="72309"/>
                </a:cubicBezTo>
                <a:cubicBezTo>
                  <a:pt x="3979527" y="78255"/>
                  <a:pt x="3974737" y="83045"/>
                  <a:pt x="3968790" y="83045"/>
                </a:cubicBezTo>
                <a:cubicBezTo>
                  <a:pt x="3962844" y="83045"/>
                  <a:pt x="3958054" y="78255"/>
                  <a:pt x="3958054" y="72309"/>
                </a:cubicBezTo>
                <a:cubicBezTo>
                  <a:pt x="3958054" y="66363"/>
                  <a:pt x="3962844" y="61573"/>
                  <a:pt x="3968790" y="61573"/>
                </a:cubicBezTo>
                <a:close/>
                <a:moveTo>
                  <a:pt x="4206155" y="58765"/>
                </a:moveTo>
                <a:cubicBezTo>
                  <a:pt x="4212086" y="58765"/>
                  <a:pt x="4216892" y="63572"/>
                  <a:pt x="4216892" y="69501"/>
                </a:cubicBezTo>
                <a:cubicBezTo>
                  <a:pt x="4216892" y="75432"/>
                  <a:pt x="4212086" y="80238"/>
                  <a:pt x="4206155" y="80238"/>
                </a:cubicBezTo>
                <a:cubicBezTo>
                  <a:pt x="4200226" y="80238"/>
                  <a:pt x="4195419" y="75432"/>
                  <a:pt x="4195419" y="69501"/>
                </a:cubicBezTo>
                <a:cubicBezTo>
                  <a:pt x="4195419" y="63572"/>
                  <a:pt x="4200226" y="58765"/>
                  <a:pt x="4206155" y="58765"/>
                </a:cubicBezTo>
                <a:close/>
                <a:moveTo>
                  <a:pt x="287559" y="58599"/>
                </a:moveTo>
                <a:cubicBezTo>
                  <a:pt x="293505" y="58599"/>
                  <a:pt x="298295" y="63388"/>
                  <a:pt x="298295" y="69335"/>
                </a:cubicBezTo>
                <a:cubicBezTo>
                  <a:pt x="298295" y="75281"/>
                  <a:pt x="293505" y="80071"/>
                  <a:pt x="287559" y="80071"/>
                </a:cubicBezTo>
                <a:cubicBezTo>
                  <a:pt x="281612" y="80071"/>
                  <a:pt x="276822" y="75281"/>
                  <a:pt x="276822" y="69335"/>
                </a:cubicBezTo>
                <a:cubicBezTo>
                  <a:pt x="276822" y="63388"/>
                  <a:pt x="281612" y="58599"/>
                  <a:pt x="287559" y="58599"/>
                </a:cubicBezTo>
                <a:close/>
                <a:moveTo>
                  <a:pt x="2697555" y="48523"/>
                </a:moveTo>
                <a:cubicBezTo>
                  <a:pt x="2703501" y="48523"/>
                  <a:pt x="2708293" y="53313"/>
                  <a:pt x="2708293" y="59259"/>
                </a:cubicBezTo>
                <a:cubicBezTo>
                  <a:pt x="2708293" y="65206"/>
                  <a:pt x="2703501" y="69996"/>
                  <a:pt x="2697555" y="69996"/>
                </a:cubicBezTo>
                <a:cubicBezTo>
                  <a:pt x="2691608" y="69996"/>
                  <a:pt x="2686818" y="65206"/>
                  <a:pt x="2686818" y="59259"/>
                </a:cubicBezTo>
                <a:cubicBezTo>
                  <a:pt x="2686818" y="53313"/>
                  <a:pt x="2691608" y="48523"/>
                  <a:pt x="2697555" y="48523"/>
                </a:cubicBezTo>
                <a:close/>
                <a:moveTo>
                  <a:pt x="4006616" y="45384"/>
                </a:moveTo>
                <a:cubicBezTo>
                  <a:pt x="4012563" y="45384"/>
                  <a:pt x="4017354" y="50174"/>
                  <a:pt x="4017354" y="56120"/>
                </a:cubicBezTo>
                <a:cubicBezTo>
                  <a:pt x="4017354" y="62067"/>
                  <a:pt x="4012563" y="66858"/>
                  <a:pt x="4006616" y="66858"/>
                </a:cubicBezTo>
                <a:cubicBezTo>
                  <a:pt x="4000670" y="66858"/>
                  <a:pt x="3995880" y="62067"/>
                  <a:pt x="3995880" y="56120"/>
                </a:cubicBezTo>
                <a:cubicBezTo>
                  <a:pt x="3995880" y="50174"/>
                  <a:pt x="4000670" y="45384"/>
                  <a:pt x="4006616" y="45384"/>
                </a:cubicBezTo>
                <a:close/>
                <a:moveTo>
                  <a:pt x="28390" y="43733"/>
                </a:moveTo>
                <a:cubicBezTo>
                  <a:pt x="34336" y="43733"/>
                  <a:pt x="39128" y="48523"/>
                  <a:pt x="39128" y="54469"/>
                </a:cubicBezTo>
                <a:cubicBezTo>
                  <a:pt x="39128" y="60416"/>
                  <a:pt x="34336" y="65207"/>
                  <a:pt x="28390" y="65207"/>
                </a:cubicBezTo>
                <a:cubicBezTo>
                  <a:pt x="22443" y="65207"/>
                  <a:pt x="17653" y="60416"/>
                  <a:pt x="17653" y="54469"/>
                </a:cubicBezTo>
                <a:cubicBezTo>
                  <a:pt x="17653" y="48523"/>
                  <a:pt x="22443" y="43733"/>
                  <a:pt x="28390" y="43733"/>
                </a:cubicBezTo>
                <a:close/>
                <a:moveTo>
                  <a:pt x="4163538" y="41255"/>
                </a:moveTo>
                <a:cubicBezTo>
                  <a:pt x="4169484" y="41255"/>
                  <a:pt x="4174276" y="46045"/>
                  <a:pt x="4174276" y="51991"/>
                </a:cubicBezTo>
                <a:cubicBezTo>
                  <a:pt x="4174276" y="57938"/>
                  <a:pt x="4169484" y="62729"/>
                  <a:pt x="4163538" y="62729"/>
                </a:cubicBezTo>
                <a:lnTo>
                  <a:pt x="4160730" y="59922"/>
                </a:lnTo>
                <a:lnTo>
                  <a:pt x="4151809" y="68839"/>
                </a:lnTo>
                <a:lnTo>
                  <a:pt x="4149333" y="66363"/>
                </a:lnTo>
                <a:lnTo>
                  <a:pt x="4142395" y="73301"/>
                </a:lnTo>
                <a:lnTo>
                  <a:pt x="4140000" y="70906"/>
                </a:lnTo>
                <a:lnTo>
                  <a:pt x="4134301" y="76603"/>
                </a:lnTo>
                <a:lnTo>
                  <a:pt x="4131906" y="74208"/>
                </a:lnTo>
                <a:lnTo>
                  <a:pt x="4126704" y="79410"/>
                </a:lnTo>
                <a:lnTo>
                  <a:pt x="4124061" y="76768"/>
                </a:lnTo>
                <a:lnTo>
                  <a:pt x="4118608" y="82220"/>
                </a:lnTo>
                <a:lnTo>
                  <a:pt x="4115553" y="79164"/>
                </a:lnTo>
                <a:lnTo>
                  <a:pt x="4108862" y="85855"/>
                </a:lnTo>
                <a:lnTo>
                  <a:pt x="4105146" y="82138"/>
                </a:lnTo>
                <a:lnTo>
                  <a:pt x="4096144" y="91140"/>
                </a:lnTo>
                <a:cubicBezTo>
                  <a:pt x="4090197" y="91140"/>
                  <a:pt x="4085407" y="86349"/>
                  <a:pt x="4085407" y="80402"/>
                </a:cubicBezTo>
                <a:cubicBezTo>
                  <a:pt x="4085407" y="74456"/>
                  <a:pt x="4090197" y="69666"/>
                  <a:pt x="4096144" y="69666"/>
                </a:cubicBezTo>
                <a:lnTo>
                  <a:pt x="4099860" y="73382"/>
                </a:lnTo>
                <a:lnTo>
                  <a:pt x="4108862" y="64380"/>
                </a:lnTo>
                <a:lnTo>
                  <a:pt x="4111918" y="67436"/>
                </a:lnTo>
                <a:lnTo>
                  <a:pt x="4118608" y="60745"/>
                </a:lnTo>
                <a:lnTo>
                  <a:pt x="4121253" y="63390"/>
                </a:lnTo>
                <a:lnTo>
                  <a:pt x="4126704" y="57938"/>
                </a:lnTo>
                <a:lnTo>
                  <a:pt x="4129099" y="60333"/>
                </a:lnTo>
                <a:lnTo>
                  <a:pt x="4134301" y="55130"/>
                </a:lnTo>
                <a:lnTo>
                  <a:pt x="4136696" y="57525"/>
                </a:lnTo>
                <a:lnTo>
                  <a:pt x="4142395" y="51826"/>
                </a:lnTo>
                <a:lnTo>
                  <a:pt x="4144873" y="54305"/>
                </a:lnTo>
                <a:lnTo>
                  <a:pt x="4151809" y="47366"/>
                </a:lnTo>
                <a:lnTo>
                  <a:pt x="4154619" y="50176"/>
                </a:lnTo>
                <a:close/>
                <a:moveTo>
                  <a:pt x="3209947" y="39769"/>
                </a:moveTo>
                <a:cubicBezTo>
                  <a:pt x="3215893" y="39769"/>
                  <a:pt x="3220683" y="44558"/>
                  <a:pt x="3220683" y="50505"/>
                </a:cubicBezTo>
                <a:cubicBezTo>
                  <a:pt x="3220683" y="56452"/>
                  <a:pt x="3215893" y="61241"/>
                  <a:pt x="3209947" y="61241"/>
                </a:cubicBezTo>
                <a:cubicBezTo>
                  <a:pt x="3204000" y="61241"/>
                  <a:pt x="3199210" y="56452"/>
                  <a:pt x="3199210" y="50505"/>
                </a:cubicBezTo>
                <a:cubicBezTo>
                  <a:pt x="3199210" y="44558"/>
                  <a:pt x="3204000" y="39769"/>
                  <a:pt x="3209947" y="39769"/>
                </a:cubicBezTo>
                <a:close/>
                <a:moveTo>
                  <a:pt x="3850024" y="38942"/>
                </a:moveTo>
                <a:cubicBezTo>
                  <a:pt x="3855971" y="38942"/>
                  <a:pt x="3860761" y="43731"/>
                  <a:pt x="3860761" y="49678"/>
                </a:cubicBezTo>
                <a:cubicBezTo>
                  <a:pt x="3860761" y="55624"/>
                  <a:pt x="3855971" y="60416"/>
                  <a:pt x="3850024" y="60416"/>
                </a:cubicBezTo>
                <a:cubicBezTo>
                  <a:pt x="3844078" y="60416"/>
                  <a:pt x="3839288" y="55624"/>
                  <a:pt x="3839288" y="49678"/>
                </a:cubicBezTo>
                <a:cubicBezTo>
                  <a:pt x="3839288" y="43731"/>
                  <a:pt x="3844078" y="38942"/>
                  <a:pt x="3850024" y="38942"/>
                </a:cubicBezTo>
                <a:close/>
                <a:moveTo>
                  <a:pt x="4035357" y="34483"/>
                </a:moveTo>
                <a:cubicBezTo>
                  <a:pt x="4041304" y="34483"/>
                  <a:pt x="4046093" y="39273"/>
                  <a:pt x="4046093" y="45219"/>
                </a:cubicBezTo>
                <a:cubicBezTo>
                  <a:pt x="4046093" y="51166"/>
                  <a:pt x="4041304" y="55956"/>
                  <a:pt x="4035357" y="55956"/>
                </a:cubicBezTo>
                <a:cubicBezTo>
                  <a:pt x="4029411" y="55956"/>
                  <a:pt x="4024621" y="51166"/>
                  <a:pt x="4024621" y="45219"/>
                </a:cubicBezTo>
                <a:cubicBezTo>
                  <a:pt x="4024621" y="39273"/>
                  <a:pt x="4029411" y="34483"/>
                  <a:pt x="4035357" y="34483"/>
                </a:cubicBezTo>
                <a:close/>
                <a:moveTo>
                  <a:pt x="958360" y="33161"/>
                </a:moveTo>
                <a:cubicBezTo>
                  <a:pt x="964306" y="33161"/>
                  <a:pt x="969096" y="37951"/>
                  <a:pt x="969096" y="43898"/>
                </a:cubicBezTo>
                <a:cubicBezTo>
                  <a:pt x="969096" y="49844"/>
                  <a:pt x="964306" y="54634"/>
                  <a:pt x="958360" y="54634"/>
                </a:cubicBezTo>
                <a:cubicBezTo>
                  <a:pt x="952413" y="54634"/>
                  <a:pt x="947623" y="49844"/>
                  <a:pt x="947623" y="43898"/>
                </a:cubicBezTo>
                <a:cubicBezTo>
                  <a:pt x="947623" y="37951"/>
                  <a:pt x="952413" y="33161"/>
                  <a:pt x="958360" y="33161"/>
                </a:cubicBezTo>
                <a:close/>
                <a:moveTo>
                  <a:pt x="4178074" y="32995"/>
                </a:moveTo>
                <a:cubicBezTo>
                  <a:pt x="4184020" y="32995"/>
                  <a:pt x="4188812" y="37785"/>
                  <a:pt x="4188812" y="43731"/>
                </a:cubicBezTo>
                <a:cubicBezTo>
                  <a:pt x="4188812" y="49678"/>
                  <a:pt x="4184020" y="54469"/>
                  <a:pt x="4178074" y="54469"/>
                </a:cubicBezTo>
                <a:cubicBezTo>
                  <a:pt x="4172127" y="54469"/>
                  <a:pt x="4167337" y="49678"/>
                  <a:pt x="4167337" y="43731"/>
                </a:cubicBezTo>
                <a:cubicBezTo>
                  <a:pt x="4167337" y="37785"/>
                  <a:pt x="4172127" y="32995"/>
                  <a:pt x="4178074" y="32995"/>
                </a:cubicBezTo>
                <a:close/>
                <a:moveTo>
                  <a:pt x="4195749" y="31014"/>
                </a:moveTo>
                <a:cubicBezTo>
                  <a:pt x="4196935" y="31014"/>
                  <a:pt x="4197895" y="31975"/>
                  <a:pt x="4197895" y="33161"/>
                </a:cubicBezTo>
                <a:cubicBezTo>
                  <a:pt x="4197895" y="34348"/>
                  <a:pt x="4196935" y="35308"/>
                  <a:pt x="4195749" y="35308"/>
                </a:cubicBezTo>
                <a:cubicBezTo>
                  <a:pt x="4194562" y="35308"/>
                  <a:pt x="4193602" y="34348"/>
                  <a:pt x="4193602" y="33161"/>
                </a:cubicBezTo>
                <a:cubicBezTo>
                  <a:pt x="4193602" y="31975"/>
                  <a:pt x="4194562" y="31014"/>
                  <a:pt x="4195749" y="31014"/>
                </a:cubicBezTo>
                <a:close/>
                <a:moveTo>
                  <a:pt x="3690458" y="24901"/>
                </a:moveTo>
                <a:cubicBezTo>
                  <a:pt x="3696405" y="24901"/>
                  <a:pt x="3701195" y="29691"/>
                  <a:pt x="3701195" y="35638"/>
                </a:cubicBezTo>
                <a:cubicBezTo>
                  <a:pt x="3701195" y="41584"/>
                  <a:pt x="3696405" y="46374"/>
                  <a:pt x="3690458" y="46374"/>
                </a:cubicBezTo>
                <a:cubicBezTo>
                  <a:pt x="3684512" y="46374"/>
                  <a:pt x="3679722" y="41584"/>
                  <a:pt x="3679722" y="35638"/>
                </a:cubicBezTo>
                <a:cubicBezTo>
                  <a:pt x="3679722" y="29691"/>
                  <a:pt x="3684512" y="24901"/>
                  <a:pt x="3690458" y="24901"/>
                </a:cubicBezTo>
                <a:close/>
                <a:moveTo>
                  <a:pt x="3480679" y="23415"/>
                </a:moveTo>
                <a:cubicBezTo>
                  <a:pt x="3486626" y="23415"/>
                  <a:pt x="3491417" y="28205"/>
                  <a:pt x="3491417" y="34152"/>
                </a:cubicBezTo>
                <a:cubicBezTo>
                  <a:pt x="3491417" y="40098"/>
                  <a:pt x="3486626" y="44890"/>
                  <a:pt x="3480679" y="44890"/>
                </a:cubicBezTo>
                <a:cubicBezTo>
                  <a:pt x="3474733" y="44890"/>
                  <a:pt x="3469943" y="40098"/>
                  <a:pt x="3469943" y="34152"/>
                </a:cubicBezTo>
                <a:cubicBezTo>
                  <a:pt x="3469943" y="28205"/>
                  <a:pt x="3474733" y="23415"/>
                  <a:pt x="3480679" y="23415"/>
                </a:cubicBezTo>
                <a:close/>
                <a:moveTo>
                  <a:pt x="2517506" y="20937"/>
                </a:moveTo>
                <a:cubicBezTo>
                  <a:pt x="2523453" y="20937"/>
                  <a:pt x="2528245" y="25727"/>
                  <a:pt x="2528245" y="31673"/>
                </a:cubicBezTo>
                <a:cubicBezTo>
                  <a:pt x="2528245" y="37620"/>
                  <a:pt x="2523453" y="42410"/>
                  <a:pt x="2517506" y="42410"/>
                </a:cubicBezTo>
                <a:cubicBezTo>
                  <a:pt x="2511560" y="42410"/>
                  <a:pt x="2506770" y="37620"/>
                  <a:pt x="2506770" y="31673"/>
                </a:cubicBezTo>
                <a:cubicBezTo>
                  <a:pt x="2506770" y="25727"/>
                  <a:pt x="2511560" y="20937"/>
                  <a:pt x="2517506" y="20937"/>
                </a:cubicBezTo>
                <a:close/>
                <a:moveTo>
                  <a:pt x="425815" y="18625"/>
                </a:moveTo>
                <a:cubicBezTo>
                  <a:pt x="431762" y="18625"/>
                  <a:pt x="436553" y="23415"/>
                  <a:pt x="436553" y="29362"/>
                </a:cubicBezTo>
                <a:cubicBezTo>
                  <a:pt x="436553" y="35308"/>
                  <a:pt x="431762" y="40100"/>
                  <a:pt x="425815" y="40100"/>
                </a:cubicBezTo>
                <a:cubicBezTo>
                  <a:pt x="419869" y="40100"/>
                  <a:pt x="415079" y="35308"/>
                  <a:pt x="415079" y="29362"/>
                </a:cubicBezTo>
                <a:cubicBezTo>
                  <a:pt x="415079" y="23415"/>
                  <a:pt x="419869" y="18625"/>
                  <a:pt x="425815" y="18625"/>
                </a:cubicBezTo>
                <a:close/>
                <a:moveTo>
                  <a:pt x="3907343" y="16147"/>
                </a:moveTo>
                <a:cubicBezTo>
                  <a:pt x="3913289" y="16147"/>
                  <a:pt x="3918079" y="20937"/>
                  <a:pt x="3918079" y="26884"/>
                </a:cubicBezTo>
                <a:cubicBezTo>
                  <a:pt x="3918079" y="32830"/>
                  <a:pt x="3913289" y="37620"/>
                  <a:pt x="3907343" y="37620"/>
                </a:cubicBezTo>
                <a:cubicBezTo>
                  <a:pt x="3901396" y="37620"/>
                  <a:pt x="3896606" y="32830"/>
                  <a:pt x="3896606" y="26884"/>
                </a:cubicBezTo>
                <a:cubicBezTo>
                  <a:pt x="3896606" y="20937"/>
                  <a:pt x="3901396" y="16147"/>
                  <a:pt x="3907343" y="16147"/>
                </a:cubicBezTo>
                <a:close/>
                <a:moveTo>
                  <a:pt x="1142867" y="8219"/>
                </a:moveTo>
                <a:cubicBezTo>
                  <a:pt x="1148813" y="8219"/>
                  <a:pt x="1153605" y="13008"/>
                  <a:pt x="1153605" y="18955"/>
                </a:cubicBezTo>
                <a:cubicBezTo>
                  <a:pt x="1153605" y="24901"/>
                  <a:pt x="1148813" y="29693"/>
                  <a:pt x="1142867" y="29693"/>
                </a:cubicBezTo>
                <a:cubicBezTo>
                  <a:pt x="1136920" y="29693"/>
                  <a:pt x="1132130" y="24901"/>
                  <a:pt x="1132130" y="18955"/>
                </a:cubicBezTo>
                <a:cubicBezTo>
                  <a:pt x="1132130" y="13008"/>
                  <a:pt x="1136920" y="8219"/>
                  <a:pt x="1142867" y="8219"/>
                </a:cubicBezTo>
                <a:close/>
                <a:moveTo>
                  <a:pt x="4149498" y="5905"/>
                </a:moveTo>
                <a:cubicBezTo>
                  <a:pt x="4155444" y="5905"/>
                  <a:pt x="4160234" y="10695"/>
                  <a:pt x="4160234" y="16642"/>
                </a:cubicBezTo>
                <a:cubicBezTo>
                  <a:pt x="4160234" y="22588"/>
                  <a:pt x="4155444" y="27380"/>
                  <a:pt x="4149498" y="27380"/>
                </a:cubicBezTo>
                <a:lnTo>
                  <a:pt x="4145533" y="23415"/>
                </a:lnTo>
                <a:lnTo>
                  <a:pt x="4135458" y="33491"/>
                </a:lnTo>
                <a:lnTo>
                  <a:pt x="4131658" y="29693"/>
                </a:lnTo>
                <a:lnTo>
                  <a:pt x="4123894" y="37457"/>
                </a:lnTo>
                <a:lnTo>
                  <a:pt x="4120176" y="33739"/>
                </a:lnTo>
                <a:lnTo>
                  <a:pt x="4114148" y="39769"/>
                </a:lnTo>
                <a:lnTo>
                  <a:pt x="4110267" y="35888"/>
                </a:lnTo>
                <a:lnTo>
                  <a:pt x="4105064" y="41089"/>
                </a:lnTo>
                <a:lnTo>
                  <a:pt x="4101017" y="37043"/>
                </a:lnTo>
                <a:lnTo>
                  <a:pt x="4096144" y="41916"/>
                </a:lnTo>
                <a:lnTo>
                  <a:pt x="4091602" y="37374"/>
                </a:lnTo>
                <a:lnTo>
                  <a:pt x="4085903" y="43072"/>
                </a:lnTo>
                <a:lnTo>
                  <a:pt x="4080701" y="37870"/>
                </a:lnTo>
                <a:lnTo>
                  <a:pt x="4073350" y="45219"/>
                </a:lnTo>
                <a:lnTo>
                  <a:pt x="4067155" y="39025"/>
                </a:lnTo>
                <a:lnTo>
                  <a:pt x="4056996" y="49184"/>
                </a:lnTo>
                <a:cubicBezTo>
                  <a:pt x="4051050" y="49184"/>
                  <a:pt x="4046260" y="44392"/>
                  <a:pt x="4046260" y="38445"/>
                </a:cubicBezTo>
                <a:cubicBezTo>
                  <a:pt x="4046260" y="32499"/>
                  <a:pt x="4051050" y="27709"/>
                  <a:pt x="4056996" y="27709"/>
                </a:cubicBezTo>
                <a:lnTo>
                  <a:pt x="4063191" y="33905"/>
                </a:lnTo>
                <a:lnTo>
                  <a:pt x="4073350" y="23747"/>
                </a:lnTo>
                <a:lnTo>
                  <a:pt x="4078552" y="28949"/>
                </a:lnTo>
                <a:lnTo>
                  <a:pt x="4085903" y="21598"/>
                </a:lnTo>
                <a:lnTo>
                  <a:pt x="4090445" y="26140"/>
                </a:lnTo>
                <a:lnTo>
                  <a:pt x="4096144" y="20441"/>
                </a:lnTo>
                <a:lnTo>
                  <a:pt x="4100191" y="24489"/>
                </a:lnTo>
                <a:lnTo>
                  <a:pt x="4105064" y="19616"/>
                </a:lnTo>
                <a:lnTo>
                  <a:pt x="4108946" y="23497"/>
                </a:lnTo>
                <a:lnTo>
                  <a:pt x="4114148" y="18294"/>
                </a:lnTo>
                <a:lnTo>
                  <a:pt x="4117866" y="22012"/>
                </a:lnTo>
                <a:lnTo>
                  <a:pt x="4123894" y="15983"/>
                </a:lnTo>
                <a:lnTo>
                  <a:pt x="4127694" y="19782"/>
                </a:lnTo>
                <a:lnTo>
                  <a:pt x="4135458" y="12018"/>
                </a:lnTo>
                <a:lnTo>
                  <a:pt x="4139422" y="15983"/>
                </a:lnTo>
                <a:close/>
                <a:moveTo>
                  <a:pt x="3067065" y="621"/>
                </a:moveTo>
                <a:cubicBezTo>
                  <a:pt x="3073012" y="621"/>
                  <a:pt x="3077803" y="5411"/>
                  <a:pt x="3077803" y="11357"/>
                </a:cubicBezTo>
                <a:cubicBezTo>
                  <a:pt x="3077803" y="17304"/>
                  <a:pt x="3073012" y="22096"/>
                  <a:pt x="3067065" y="22096"/>
                </a:cubicBezTo>
                <a:cubicBezTo>
                  <a:pt x="3061118" y="22096"/>
                  <a:pt x="3056329" y="17304"/>
                  <a:pt x="3056329" y="11357"/>
                </a:cubicBezTo>
                <a:cubicBezTo>
                  <a:pt x="3056329" y="5411"/>
                  <a:pt x="3061118" y="621"/>
                  <a:pt x="3067065" y="621"/>
                </a:cubicBezTo>
                <a:close/>
                <a:moveTo>
                  <a:pt x="3952437" y="455"/>
                </a:moveTo>
                <a:cubicBezTo>
                  <a:pt x="3958383" y="455"/>
                  <a:pt x="3963175" y="5244"/>
                  <a:pt x="3963175" y="11191"/>
                </a:cubicBezTo>
                <a:cubicBezTo>
                  <a:pt x="3963175" y="17138"/>
                  <a:pt x="3958383" y="21929"/>
                  <a:pt x="3952437" y="21929"/>
                </a:cubicBezTo>
                <a:cubicBezTo>
                  <a:pt x="3946490" y="21929"/>
                  <a:pt x="3941701" y="17138"/>
                  <a:pt x="3941701" y="11191"/>
                </a:cubicBezTo>
                <a:cubicBezTo>
                  <a:pt x="3941701" y="5244"/>
                  <a:pt x="3946490" y="455"/>
                  <a:pt x="3952437" y="455"/>
                </a:cubicBezTo>
                <a:close/>
                <a:moveTo>
                  <a:pt x="141703" y="125"/>
                </a:moveTo>
                <a:cubicBezTo>
                  <a:pt x="147650" y="125"/>
                  <a:pt x="152441" y="4915"/>
                  <a:pt x="152441" y="10862"/>
                </a:cubicBezTo>
                <a:cubicBezTo>
                  <a:pt x="152441" y="16808"/>
                  <a:pt x="147650" y="21598"/>
                  <a:pt x="141703" y="21598"/>
                </a:cubicBezTo>
                <a:cubicBezTo>
                  <a:pt x="135757" y="21598"/>
                  <a:pt x="130967" y="16808"/>
                  <a:pt x="130967" y="10862"/>
                </a:cubicBezTo>
                <a:cubicBezTo>
                  <a:pt x="130967" y="4915"/>
                  <a:pt x="135757" y="125"/>
                  <a:pt x="141703" y="125"/>
                </a:cubicBezTo>
                <a:close/>
                <a:moveTo>
                  <a:pt x="4164488" y="0"/>
                </a:moveTo>
                <a:lnTo>
                  <a:pt x="4168535" y="0"/>
                </a:lnTo>
                <a:lnTo>
                  <a:pt x="4176919" y="8383"/>
                </a:lnTo>
                <a:cubicBezTo>
                  <a:pt x="4176919" y="14165"/>
                  <a:pt x="4172294" y="18790"/>
                  <a:pt x="4166512" y="18790"/>
                </a:cubicBezTo>
                <a:cubicBezTo>
                  <a:pt x="4160730" y="18790"/>
                  <a:pt x="4156105" y="14165"/>
                  <a:pt x="4156105" y="8383"/>
                </a:cubicBezTo>
                <a:close/>
                <a:moveTo>
                  <a:pt x="4103782" y="0"/>
                </a:moveTo>
                <a:lnTo>
                  <a:pt x="4109648" y="0"/>
                </a:lnTo>
                <a:lnTo>
                  <a:pt x="4106715" y="2933"/>
                </a:lnTo>
                <a:close/>
                <a:moveTo>
                  <a:pt x="4090237" y="0"/>
                </a:moveTo>
                <a:lnTo>
                  <a:pt x="4099738" y="0"/>
                </a:lnTo>
                <a:lnTo>
                  <a:pt x="4094987" y="4750"/>
                </a:lnTo>
                <a:close/>
                <a:moveTo>
                  <a:pt x="4079337" y="0"/>
                </a:moveTo>
                <a:lnTo>
                  <a:pt x="4089498" y="0"/>
                </a:lnTo>
                <a:lnTo>
                  <a:pt x="4084417" y="5080"/>
                </a:lnTo>
                <a:close/>
                <a:moveTo>
                  <a:pt x="4069919" y="0"/>
                </a:moveTo>
                <a:lnTo>
                  <a:pt x="4078762" y="0"/>
                </a:lnTo>
                <a:lnTo>
                  <a:pt x="4074340" y="4421"/>
                </a:lnTo>
                <a:close/>
                <a:moveTo>
                  <a:pt x="4060012" y="0"/>
                </a:moveTo>
                <a:lnTo>
                  <a:pt x="4066867" y="0"/>
                </a:lnTo>
                <a:lnTo>
                  <a:pt x="4063439" y="3427"/>
                </a:lnTo>
                <a:close/>
                <a:moveTo>
                  <a:pt x="4047954" y="0"/>
                </a:moveTo>
                <a:lnTo>
                  <a:pt x="4053487" y="0"/>
                </a:lnTo>
                <a:lnTo>
                  <a:pt x="4050720" y="2766"/>
                </a:lnTo>
                <a:close/>
                <a:moveTo>
                  <a:pt x="4031433" y="0"/>
                </a:moveTo>
                <a:lnTo>
                  <a:pt x="4037959" y="0"/>
                </a:lnTo>
                <a:lnTo>
                  <a:pt x="4034696" y="3264"/>
                </a:lnTo>
                <a:close/>
                <a:moveTo>
                  <a:pt x="4008308" y="0"/>
                </a:moveTo>
                <a:lnTo>
                  <a:pt x="4020120" y="0"/>
                </a:lnTo>
                <a:lnTo>
                  <a:pt x="4014214" y="5907"/>
                </a:lnTo>
                <a:close/>
                <a:moveTo>
                  <a:pt x="3977834" y="0"/>
                </a:moveTo>
                <a:lnTo>
                  <a:pt x="3997076" y="0"/>
                </a:lnTo>
                <a:lnTo>
                  <a:pt x="3998192" y="1115"/>
                </a:lnTo>
                <a:cubicBezTo>
                  <a:pt x="3998192" y="7062"/>
                  <a:pt x="3993402" y="11853"/>
                  <a:pt x="3987455" y="11853"/>
                </a:cubicBezTo>
                <a:cubicBezTo>
                  <a:pt x="3981509" y="11853"/>
                  <a:pt x="3976719" y="7062"/>
                  <a:pt x="3976719" y="1115"/>
                </a:cubicBezTo>
                <a:close/>
                <a:moveTo>
                  <a:pt x="3766237" y="0"/>
                </a:moveTo>
                <a:lnTo>
                  <a:pt x="3780194" y="0"/>
                </a:lnTo>
                <a:lnTo>
                  <a:pt x="3783952" y="3758"/>
                </a:lnTo>
                <a:cubicBezTo>
                  <a:pt x="3783952" y="9705"/>
                  <a:pt x="3779162" y="14495"/>
                  <a:pt x="3773216" y="14495"/>
                </a:cubicBezTo>
                <a:cubicBezTo>
                  <a:pt x="3767269" y="14495"/>
                  <a:pt x="3762479" y="9705"/>
                  <a:pt x="3762479" y="3758"/>
                </a:cubicBezTo>
                <a:close/>
                <a:moveTo>
                  <a:pt x="3594199" y="0"/>
                </a:moveTo>
                <a:lnTo>
                  <a:pt x="3596100" y="0"/>
                </a:lnTo>
                <a:lnTo>
                  <a:pt x="3595149" y="951"/>
                </a:lnTo>
                <a:close/>
                <a:moveTo>
                  <a:pt x="3361623" y="0"/>
                </a:moveTo>
                <a:lnTo>
                  <a:pt x="3364846" y="0"/>
                </a:lnTo>
                <a:lnTo>
                  <a:pt x="3363235" y="1611"/>
                </a:lnTo>
                <a:close/>
                <a:moveTo>
                  <a:pt x="2327672" y="0"/>
                </a:moveTo>
                <a:lnTo>
                  <a:pt x="2330728" y="0"/>
                </a:lnTo>
                <a:lnTo>
                  <a:pt x="2339938" y="9209"/>
                </a:lnTo>
                <a:cubicBezTo>
                  <a:pt x="2339938" y="15155"/>
                  <a:pt x="2335146" y="19945"/>
                  <a:pt x="2329200" y="19945"/>
                </a:cubicBezTo>
                <a:cubicBezTo>
                  <a:pt x="2323253" y="19945"/>
                  <a:pt x="2318464" y="15155"/>
                  <a:pt x="2318464" y="9209"/>
                </a:cubicBezTo>
                <a:close/>
                <a:moveTo>
                  <a:pt x="2130693" y="0"/>
                </a:moveTo>
                <a:lnTo>
                  <a:pt x="2137879" y="0"/>
                </a:lnTo>
                <a:lnTo>
                  <a:pt x="2134286" y="3594"/>
                </a:lnTo>
                <a:close/>
                <a:moveTo>
                  <a:pt x="1324608" y="0"/>
                </a:moveTo>
                <a:lnTo>
                  <a:pt x="1345340" y="0"/>
                </a:lnTo>
                <a:lnTo>
                  <a:pt x="1334973" y="10366"/>
                </a:lnTo>
                <a:close/>
                <a:moveTo>
                  <a:pt x="571877" y="0"/>
                </a:moveTo>
                <a:lnTo>
                  <a:pt x="576088" y="0"/>
                </a:lnTo>
                <a:lnTo>
                  <a:pt x="573982" y="2106"/>
                </a:lnTo>
                <a:close/>
              </a:path>
            </a:pathLst>
          </a:custGeom>
          <a:gradFill flip="none" rotWithShape="1">
            <a:gsLst>
              <a:gs pos="0">
                <a:schemeClr val="bg2"/>
              </a:gs>
              <a:gs pos="64000">
                <a:schemeClr val="accent1">
                  <a:lumMod val="50000"/>
                </a:schemeClr>
              </a:gs>
              <a:gs pos="84000">
                <a:schemeClr val="bg2">
                  <a:lumMod val="75000"/>
                </a:schemeClr>
              </a:gs>
              <a:gs pos="100000">
                <a:schemeClr val="accent1"/>
              </a:gs>
            </a:gsLst>
            <a:path path="circle">
              <a:fillToRect l="50000" t="50000" r="50000" b="50000"/>
            </a:path>
            <a:tileRect/>
          </a:gradFill>
          <a:ln w="9525" cap="flat">
            <a:noFill/>
            <a:prstDash val="solid"/>
            <a:miter/>
          </a:ln>
        </p:spPr>
        <p:txBody>
          <a:bodyPr wrap="square"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8858371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3" pos="6132">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wo Column Content with Subheads - gradient">
    <p:bg>
      <p:bgPr>
        <a:gradFill>
          <a:gsLst>
            <a:gs pos="0">
              <a:schemeClr val="bg1"/>
            </a:gs>
            <a:gs pos="100000">
              <a:schemeClr val="bg1">
                <a:lumMod val="85000"/>
                <a:alpha val="50000"/>
              </a:schemeClr>
            </a:gs>
          </a:gsLst>
          <a:lin ang="1890000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5689722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End Slide Black Bkg">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5715040"/>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Thank you</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9269842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6132">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Freeform: Shape 4">
            <a:extLst>
              <a:ext uri="{FF2B5EF4-FFF2-40B4-BE49-F238E27FC236}">
                <a16:creationId xmlns:a16="http://schemas.microsoft.com/office/drawing/2014/main" id="{1A734362-5D49-6A4F-E355-21358A89DF62}"/>
              </a:ext>
            </a:extLst>
          </p:cNvPr>
          <p:cNvSpPr/>
          <p:nvPr userDrawn="1"/>
        </p:nvSpPr>
        <p:spPr>
          <a:xfrm flipH="1">
            <a:off x="0" y="4787899"/>
            <a:ext cx="12191996" cy="2070099"/>
          </a:xfrm>
          <a:custGeom>
            <a:avLst/>
            <a:gdLst>
              <a:gd name="connsiteX0" fmla="*/ 795455 w 10215358"/>
              <a:gd name="connsiteY0" fmla="*/ 462 h 2727805"/>
              <a:gd name="connsiteX1" fmla="*/ 499463 w 10215358"/>
              <a:gd name="connsiteY1" fmla="*/ 24353 h 2727805"/>
              <a:gd name="connsiteX2" fmla="*/ 95236 w 10215358"/>
              <a:gd name="connsiteY2" fmla="*/ 119650 h 2727805"/>
              <a:gd name="connsiteX3" fmla="*/ 0 w 10215358"/>
              <a:gd name="connsiteY3" fmla="*/ 157430 h 2727805"/>
              <a:gd name="connsiteX4" fmla="*/ 0 w 10215358"/>
              <a:gd name="connsiteY4" fmla="*/ 2727805 h 2727805"/>
              <a:gd name="connsiteX5" fmla="*/ 10215358 w 10215358"/>
              <a:gd name="connsiteY5" fmla="*/ 2727805 h 2727805"/>
              <a:gd name="connsiteX6" fmla="*/ 10144639 w 10215358"/>
              <a:gd name="connsiteY6" fmla="*/ 2558390 h 2727805"/>
              <a:gd name="connsiteX7" fmla="*/ 7779224 w 10215358"/>
              <a:gd name="connsiteY7" fmla="*/ 1469756 h 2727805"/>
              <a:gd name="connsiteX8" fmla="*/ 4355227 w 10215358"/>
              <a:gd name="connsiteY8" fmla="*/ 2122885 h 2727805"/>
              <a:gd name="connsiteX9" fmla="*/ 795455 w 10215358"/>
              <a:gd name="connsiteY9" fmla="*/ 462 h 2727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215358" h="2727805">
                <a:moveTo>
                  <a:pt x="795455" y="462"/>
                </a:moveTo>
                <a:cubicBezTo>
                  <a:pt x="698656" y="2360"/>
                  <a:pt x="600035" y="10149"/>
                  <a:pt x="499463" y="24353"/>
                </a:cubicBezTo>
                <a:cubicBezTo>
                  <a:pt x="355761" y="44646"/>
                  <a:pt x="220974" y="76809"/>
                  <a:pt x="95236" y="119650"/>
                </a:cubicBezTo>
                <a:lnTo>
                  <a:pt x="0" y="157430"/>
                </a:lnTo>
                <a:lnTo>
                  <a:pt x="0" y="2727805"/>
                </a:lnTo>
                <a:lnTo>
                  <a:pt x="10215358" y="2727805"/>
                </a:lnTo>
                <a:lnTo>
                  <a:pt x="10144639" y="2558390"/>
                </a:lnTo>
                <a:cubicBezTo>
                  <a:pt x="9781843" y="1762373"/>
                  <a:pt x="8946083" y="1086740"/>
                  <a:pt x="7779224" y="1469756"/>
                </a:cubicBezTo>
                <a:cubicBezTo>
                  <a:pt x="6647424" y="1841299"/>
                  <a:pt x="5731723" y="3225843"/>
                  <a:pt x="4355227" y="2122885"/>
                </a:cubicBezTo>
                <a:cubicBezTo>
                  <a:pt x="3289527" y="1268936"/>
                  <a:pt x="2247448" y="-28013"/>
                  <a:pt x="795455" y="462"/>
                </a:cubicBezTo>
                <a:close/>
              </a:path>
            </a:pathLst>
          </a:custGeom>
          <a:gradFill flip="none" rotWithShape="1">
            <a:gsLst>
              <a:gs pos="29000">
                <a:srgbClr val="E1F2FF">
                  <a:alpha val="21000"/>
                </a:srgbClr>
              </a:gs>
              <a:gs pos="0">
                <a:schemeClr val="bg1">
                  <a:alpha val="8000"/>
                </a:schemeClr>
              </a:gs>
              <a:gs pos="54000">
                <a:schemeClr val="accent1">
                  <a:lumMod val="40000"/>
                  <a:lumOff val="60000"/>
                  <a:alpha val="0"/>
                </a:schemeClr>
              </a:gs>
              <a:gs pos="100000">
                <a:schemeClr val="bg1">
                  <a:alpha val="50000"/>
                </a:schemeClr>
              </a:gs>
            </a:gsLst>
            <a:lin ang="10800000" scaled="1"/>
            <a:tileRect/>
          </a:gradFill>
          <a:ln w="214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sp>
        <p:nvSpPr>
          <p:cNvPr id="9" name="Freeform: Shape 8">
            <a:extLst>
              <a:ext uri="{FF2B5EF4-FFF2-40B4-BE49-F238E27FC236}">
                <a16:creationId xmlns:a16="http://schemas.microsoft.com/office/drawing/2014/main" id="{EAA7F4E2-BF04-66A0-0137-06C6DE7740DF}"/>
              </a:ext>
            </a:extLst>
          </p:cNvPr>
          <p:cNvSpPr/>
          <p:nvPr userDrawn="1"/>
        </p:nvSpPr>
        <p:spPr>
          <a:xfrm flipH="1" flipV="1">
            <a:off x="0" y="5378450"/>
            <a:ext cx="2676829" cy="1479550"/>
          </a:xfrm>
          <a:custGeom>
            <a:avLst/>
            <a:gdLst>
              <a:gd name="connsiteX0" fmla="*/ 1728128 w 2676829"/>
              <a:gd name="connsiteY0" fmla="*/ 606282 h 1479550"/>
              <a:gd name="connsiteX1" fmla="*/ 919525 w 2676829"/>
              <a:gd name="connsiteY1" fmla="*/ 69905 h 1479550"/>
              <a:gd name="connsiteX2" fmla="*/ 893889 w 2676829"/>
              <a:gd name="connsiteY2" fmla="*/ 0 h 1479550"/>
              <a:gd name="connsiteX3" fmla="*/ 903310 w 2676829"/>
              <a:gd name="connsiteY3" fmla="*/ 0 h 1479550"/>
              <a:gd name="connsiteX4" fmla="*/ 927695 w 2676829"/>
              <a:gd name="connsiteY4" fmla="*/ 66498 h 1479550"/>
              <a:gd name="connsiteX5" fmla="*/ 1728128 w 2676829"/>
              <a:gd name="connsiteY5" fmla="*/ 597442 h 1479550"/>
              <a:gd name="connsiteX6" fmla="*/ 2528587 w 2676829"/>
              <a:gd name="connsiteY6" fmla="*/ 66485 h 1479550"/>
              <a:gd name="connsiteX7" fmla="*/ 2552969 w 2676829"/>
              <a:gd name="connsiteY7" fmla="*/ 0 h 1479550"/>
              <a:gd name="connsiteX8" fmla="*/ 2562369 w 2676829"/>
              <a:gd name="connsiteY8" fmla="*/ 0 h 1479550"/>
              <a:gd name="connsiteX9" fmla="*/ 2536735 w 2676829"/>
              <a:gd name="connsiteY9" fmla="*/ 69905 h 1479550"/>
              <a:gd name="connsiteX10" fmla="*/ 1728128 w 2676829"/>
              <a:gd name="connsiteY10" fmla="*/ 606282 h 1479550"/>
              <a:gd name="connsiteX11" fmla="*/ 1728128 w 2676829"/>
              <a:gd name="connsiteY11" fmla="*/ 824607 h 1479550"/>
              <a:gd name="connsiteX12" fmla="*/ 681500 w 2676829"/>
              <a:gd name="connsiteY12" fmla="*/ 54175 h 1479550"/>
              <a:gd name="connsiteX13" fmla="*/ 667538 w 2676829"/>
              <a:gd name="connsiteY13" fmla="*/ 0 h 1479550"/>
              <a:gd name="connsiteX14" fmla="*/ 676665 w 2676829"/>
              <a:gd name="connsiteY14" fmla="*/ 0 h 1479550"/>
              <a:gd name="connsiteX15" fmla="*/ 689944 w 2676829"/>
              <a:gd name="connsiteY15" fmla="*/ 51521 h 1479550"/>
              <a:gd name="connsiteX16" fmla="*/ 1728128 w 2676829"/>
              <a:gd name="connsiteY16" fmla="*/ 815736 h 1479550"/>
              <a:gd name="connsiteX17" fmla="*/ 2614431 w 2676829"/>
              <a:gd name="connsiteY17" fmla="*/ 357511 h 1479550"/>
              <a:gd name="connsiteX18" fmla="*/ 2676829 w 2676829"/>
              <a:gd name="connsiteY18" fmla="*/ 253473 h 1479550"/>
              <a:gd name="connsiteX19" fmla="*/ 2676829 w 2676829"/>
              <a:gd name="connsiteY19" fmla="*/ 270641 h 1479550"/>
              <a:gd name="connsiteX20" fmla="*/ 2621635 w 2676829"/>
              <a:gd name="connsiteY20" fmla="*/ 362666 h 1479550"/>
              <a:gd name="connsiteX21" fmla="*/ 1728128 w 2676829"/>
              <a:gd name="connsiteY21" fmla="*/ 824607 h 1479550"/>
              <a:gd name="connsiteX22" fmla="*/ 1728128 w 2676829"/>
              <a:gd name="connsiteY22" fmla="*/ 1042900 h 1479550"/>
              <a:gd name="connsiteX23" fmla="*/ 473009 w 2676829"/>
              <a:gd name="connsiteY23" fmla="*/ 118996 h 1479550"/>
              <a:gd name="connsiteX24" fmla="*/ 442340 w 2676829"/>
              <a:gd name="connsiteY24" fmla="*/ 0 h 1479550"/>
              <a:gd name="connsiteX25" fmla="*/ 451457 w 2676829"/>
              <a:gd name="connsiteY25" fmla="*/ 0 h 1479550"/>
              <a:gd name="connsiteX26" fmla="*/ 481451 w 2676829"/>
              <a:gd name="connsiteY26" fmla="*/ 116374 h 1479550"/>
              <a:gd name="connsiteX27" fmla="*/ 1728128 w 2676829"/>
              <a:gd name="connsiteY27" fmla="*/ 1034060 h 1479550"/>
              <a:gd name="connsiteX28" fmla="*/ 2661817 w 2676829"/>
              <a:gd name="connsiteY28" fmla="*/ 640122 h 1479550"/>
              <a:gd name="connsiteX29" fmla="*/ 2676829 w 2676829"/>
              <a:gd name="connsiteY29" fmla="*/ 622156 h 1479550"/>
              <a:gd name="connsiteX30" fmla="*/ 2676829 w 2676829"/>
              <a:gd name="connsiteY30" fmla="*/ 635887 h 1479550"/>
              <a:gd name="connsiteX31" fmla="*/ 2668136 w 2676829"/>
              <a:gd name="connsiteY31" fmla="*/ 646290 h 1479550"/>
              <a:gd name="connsiteX32" fmla="*/ 1728128 w 2676829"/>
              <a:gd name="connsiteY32" fmla="*/ 1042900 h 1479550"/>
              <a:gd name="connsiteX33" fmla="*/ 1728128 w 2676829"/>
              <a:gd name="connsiteY33" fmla="*/ 1261225 h 1479550"/>
              <a:gd name="connsiteX34" fmla="*/ 226689 w 2676829"/>
              <a:gd name="connsiteY34" fmla="*/ 37084 h 1479550"/>
              <a:gd name="connsiteX35" fmla="*/ 221014 w 2676829"/>
              <a:gd name="connsiteY35" fmla="*/ 0 h 1479550"/>
              <a:gd name="connsiteX36" fmla="*/ 229972 w 2676829"/>
              <a:gd name="connsiteY36" fmla="*/ 0 h 1479550"/>
              <a:gd name="connsiteX37" fmla="*/ 235381 w 2676829"/>
              <a:gd name="connsiteY37" fmla="*/ 35337 h 1479550"/>
              <a:gd name="connsiteX38" fmla="*/ 1728128 w 2676829"/>
              <a:gd name="connsiteY38" fmla="*/ 1252385 h 1479550"/>
              <a:gd name="connsiteX39" fmla="*/ 2485997 w 2676829"/>
              <a:gd name="connsiteY39" fmla="*/ 1050211 h 1479550"/>
              <a:gd name="connsiteX40" fmla="*/ 2676829 w 2676829"/>
              <a:gd name="connsiteY40" fmla="*/ 917868 h 1479550"/>
              <a:gd name="connsiteX41" fmla="*/ 2676829 w 2676829"/>
              <a:gd name="connsiteY41" fmla="*/ 928586 h 1479550"/>
              <a:gd name="connsiteX42" fmla="*/ 2490404 w 2676829"/>
              <a:gd name="connsiteY42" fmla="*/ 1057875 h 1479550"/>
              <a:gd name="connsiteX43" fmla="*/ 1728128 w 2676829"/>
              <a:gd name="connsiteY43" fmla="*/ 1261225 h 1479550"/>
              <a:gd name="connsiteX44" fmla="*/ 1728128 w 2676829"/>
              <a:gd name="connsiteY44" fmla="*/ 1479550 h 1479550"/>
              <a:gd name="connsiteX45" fmla="*/ 489724 w 2676829"/>
              <a:gd name="connsiteY45" fmla="*/ 966998 h 1479550"/>
              <a:gd name="connsiteX46" fmla="*/ 10780 w 2676829"/>
              <a:gd name="connsiteY46" fmla="*/ 73082 h 1479550"/>
              <a:gd name="connsiteX47" fmla="*/ 0 w 2676829"/>
              <a:gd name="connsiteY47" fmla="*/ 0 h 1479550"/>
              <a:gd name="connsiteX48" fmla="*/ 9371 w 2676829"/>
              <a:gd name="connsiteY48" fmla="*/ 0 h 1479550"/>
              <a:gd name="connsiteX49" fmla="*/ 21499 w 2676829"/>
              <a:gd name="connsiteY49" fmla="*/ 79242 h 1479550"/>
              <a:gd name="connsiteX50" fmla="*/ 1728128 w 2676829"/>
              <a:gd name="connsiteY50" fmla="*/ 1470678 h 1479550"/>
              <a:gd name="connsiteX51" fmla="*/ 2482722 w 2676829"/>
              <a:gd name="connsiteY51" fmla="*/ 1298627 h 1479550"/>
              <a:gd name="connsiteX52" fmla="*/ 2676829 w 2676829"/>
              <a:gd name="connsiteY52" fmla="*/ 1186929 h 1479550"/>
              <a:gd name="connsiteX53" fmla="*/ 2676829 w 2676829"/>
              <a:gd name="connsiteY53" fmla="*/ 1200071 h 1479550"/>
              <a:gd name="connsiteX54" fmla="*/ 2552876 w 2676829"/>
              <a:gd name="connsiteY54" fmla="*/ 1274416 h 1479550"/>
              <a:gd name="connsiteX55" fmla="*/ 1728128 w 2676829"/>
              <a:gd name="connsiteY55" fmla="*/ 1479550 h 1479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2676829" h="1479550">
                <a:moveTo>
                  <a:pt x="1728128" y="606282"/>
                </a:moveTo>
                <a:cubicBezTo>
                  <a:pt x="1365177" y="606282"/>
                  <a:pt x="1052953" y="384813"/>
                  <a:pt x="919525" y="69905"/>
                </a:cubicBezTo>
                <a:lnTo>
                  <a:pt x="893889" y="0"/>
                </a:lnTo>
                <a:lnTo>
                  <a:pt x="903310" y="0"/>
                </a:lnTo>
                <a:lnTo>
                  <a:pt x="927695" y="66498"/>
                </a:lnTo>
                <a:cubicBezTo>
                  <a:pt x="1059768" y="378226"/>
                  <a:pt x="1368827" y="597442"/>
                  <a:pt x="1728128" y="597442"/>
                </a:cubicBezTo>
                <a:cubicBezTo>
                  <a:pt x="2087428" y="597442"/>
                  <a:pt x="2396505" y="378208"/>
                  <a:pt x="2528587" y="66485"/>
                </a:cubicBezTo>
                <a:lnTo>
                  <a:pt x="2552969" y="0"/>
                </a:lnTo>
                <a:lnTo>
                  <a:pt x="2562369" y="0"/>
                </a:lnTo>
                <a:lnTo>
                  <a:pt x="2536735" y="69905"/>
                </a:lnTo>
                <a:cubicBezTo>
                  <a:pt x="2403314" y="384813"/>
                  <a:pt x="2091102" y="606282"/>
                  <a:pt x="1728128" y="606282"/>
                </a:cubicBezTo>
                <a:close/>
                <a:moveTo>
                  <a:pt x="1728128" y="824607"/>
                </a:moveTo>
                <a:cubicBezTo>
                  <a:pt x="1237092" y="824607"/>
                  <a:pt x="820470" y="500034"/>
                  <a:pt x="681500" y="54175"/>
                </a:cubicBezTo>
                <a:lnTo>
                  <a:pt x="667538" y="0"/>
                </a:lnTo>
                <a:lnTo>
                  <a:pt x="676665" y="0"/>
                </a:lnTo>
                <a:lnTo>
                  <a:pt x="689944" y="51521"/>
                </a:lnTo>
                <a:cubicBezTo>
                  <a:pt x="827798" y="493787"/>
                  <a:pt x="1241070" y="815736"/>
                  <a:pt x="1728128" y="815736"/>
                </a:cubicBezTo>
                <a:cubicBezTo>
                  <a:pt x="2093422" y="815736"/>
                  <a:pt x="2417210" y="634640"/>
                  <a:pt x="2614431" y="357511"/>
                </a:cubicBezTo>
                <a:lnTo>
                  <a:pt x="2676829" y="253473"/>
                </a:lnTo>
                <a:lnTo>
                  <a:pt x="2676829" y="270641"/>
                </a:lnTo>
                <a:lnTo>
                  <a:pt x="2621635" y="362666"/>
                </a:lnTo>
                <a:cubicBezTo>
                  <a:pt x="2422809" y="642047"/>
                  <a:pt x="2096386" y="824607"/>
                  <a:pt x="1728128" y="824607"/>
                </a:cubicBezTo>
                <a:close/>
                <a:moveTo>
                  <a:pt x="1728128" y="1042900"/>
                </a:moveTo>
                <a:cubicBezTo>
                  <a:pt x="1139303" y="1042900"/>
                  <a:pt x="639671" y="653672"/>
                  <a:pt x="473009" y="118996"/>
                </a:cubicBezTo>
                <a:lnTo>
                  <a:pt x="442340" y="0"/>
                </a:lnTo>
                <a:lnTo>
                  <a:pt x="451457" y="0"/>
                </a:lnTo>
                <a:lnTo>
                  <a:pt x="481451" y="116374"/>
                </a:lnTo>
                <a:cubicBezTo>
                  <a:pt x="646989" y="647457"/>
                  <a:pt x="1143255" y="1034060"/>
                  <a:pt x="1728128" y="1034060"/>
                </a:cubicBezTo>
                <a:cubicBezTo>
                  <a:pt x="2093674" y="1034060"/>
                  <a:pt x="2424607" y="883043"/>
                  <a:pt x="2661817" y="640122"/>
                </a:cubicBezTo>
                <a:lnTo>
                  <a:pt x="2676829" y="622156"/>
                </a:lnTo>
                <a:lnTo>
                  <a:pt x="2676829" y="635887"/>
                </a:lnTo>
                <a:lnTo>
                  <a:pt x="2668136" y="646290"/>
                </a:lnTo>
                <a:cubicBezTo>
                  <a:pt x="2429319" y="890858"/>
                  <a:pt x="2096144" y="1042900"/>
                  <a:pt x="1728128" y="1042900"/>
                </a:cubicBezTo>
                <a:close/>
                <a:moveTo>
                  <a:pt x="1728128" y="1261225"/>
                </a:moveTo>
                <a:cubicBezTo>
                  <a:pt x="988669" y="1261225"/>
                  <a:pt x="369842" y="734830"/>
                  <a:pt x="226689" y="37084"/>
                </a:cubicBezTo>
                <a:lnTo>
                  <a:pt x="221014" y="0"/>
                </a:lnTo>
                <a:lnTo>
                  <a:pt x="229972" y="0"/>
                </a:lnTo>
                <a:lnTo>
                  <a:pt x="235381" y="35337"/>
                </a:lnTo>
                <a:cubicBezTo>
                  <a:pt x="377706" y="729058"/>
                  <a:pt x="992954" y="1252385"/>
                  <a:pt x="1728128" y="1252385"/>
                </a:cubicBezTo>
                <a:cubicBezTo>
                  <a:pt x="2003818" y="1252385"/>
                  <a:pt x="2262647" y="1178789"/>
                  <a:pt x="2485997" y="1050211"/>
                </a:cubicBezTo>
                <a:lnTo>
                  <a:pt x="2676829" y="917868"/>
                </a:lnTo>
                <a:lnTo>
                  <a:pt x="2676829" y="928586"/>
                </a:lnTo>
                <a:lnTo>
                  <a:pt x="2490404" y="1057875"/>
                </a:lnTo>
                <a:cubicBezTo>
                  <a:pt x="2265757" y="1187201"/>
                  <a:pt x="2005424" y="1261225"/>
                  <a:pt x="1728128" y="1261225"/>
                </a:cubicBezTo>
                <a:close/>
                <a:moveTo>
                  <a:pt x="1728128" y="1479550"/>
                </a:moveTo>
                <a:cubicBezTo>
                  <a:pt x="1260061" y="1479550"/>
                  <a:pt x="820232" y="1297539"/>
                  <a:pt x="489724" y="966998"/>
                </a:cubicBezTo>
                <a:cubicBezTo>
                  <a:pt x="241843" y="719117"/>
                  <a:pt x="77472" y="409743"/>
                  <a:pt x="10780" y="73082"/>
                </a:cubicBezTo>
                <a:lnTo>
                  <a:pt x="0" y="0"/>
                </a:lnTo>
                <a:lnTo>
                  <a:pt x="9371" y="0"/>
                </a:lnTo>
                <a:lnTo>
                  <a:pt x="21499" y="79242"/>
                </a:lnTo>
                <a:cubicBezTo>
                  <a:pt x="184216" y="872342"/>
                  <a:pt x="887615" y="1470678"/>
                  <a:pt x="1728128" y="1470678"/>
                </a:cubicBezTo>
                <a:cubicBezTo>
                  <a:pt x="1998293" y="1470678"/>
                  <a:pt x="2254291" y="1408860"/>
                  <a:pt x="2482722" y="1298627"/>
                </a:cubicBezTo>
                <a:lnTo>
                  <a:pt x="2676829" y="1186929"/>
                </a:lnTo>
                <a:lnTo>
                  <a:pt x="2676829" y="1200071"/>
                </a:lnTo>
                <a:lnTo>
                  <a:pt x="2552876" y="1274416"/>
                </a:lnTo>
                <a:cubicBezTo>
                  <a:pt x="2302197" y="1408440"/>
                  <a:pt x="2020690" y="1479550"/>
                  <a:pt x="1728128" y="1479550"/>
                </a:cubicBezTo>
                <a:close/>
              </a:path>
            </a:pathLst>
          </a:custGeom>
          <a:solidFill>
            <a:schemeClr val="accent1">
              <a:lumMod val="40000"/>
              <a:lumOff val="60000"/>
              <a:alpha val="48000"/>
            </a:schemeClr>
          </a:solidFill>
          <a:ln w="2142" cap="flat">
            <a:noFill/>
            <a:prstDash val="solid"/>
            <a:miter/>
          </a:ln>
        </p:spPr>
        <p:txBody>
          <a:bodyPr wrap="square"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000000"/>
              </a:solidFill>
              <a:effectLst/>
              <a:uLnTx/>
              <a:uFillTx/>
            </a:endParaRPr>
          </a:p>
        </p:txBody>
      </p:sp>
      <p:grpSp>
        <p:nvGrpSpPr>
          <p:cNvPr id="10" name="Group 9">
            <a:extLst>
              <a:ext uri="{FF2B5EF4-FFF2-40B4-BE49-F238E27FC236}">
                <a16:creationId xmlns:a16="http://schemas.microsoft.com/office/drawing/2014/main" id="{6E3932CB-6EB8-D18D-AD74-43628730EBE0}"/>
              </a:ext>
            </a:extLst>
          </p:cNvPr>
          <p:cNvGrpSpPr/>
          <p:nvPr userDrawn="1"/>
        </p:nvGrpSpPr>
        <p:grpSpPr>
          <a:xfrm>
            <a:off x="0" y="1250682"/>
            <a:ext cx="12192000" cy="0"/>
            <a:chOff x="0" y="1250682"/>
            <a:chExt cx="12192000" cy="0"/>
          </a:xfrm>
        </p:grpSpPr>
        <p:cxnSp>
          <p:nvCxnSpPr>
            <p:cNvPr id="11" name="Straight Connector 10">
              <a:extLst>
                <a:ext uri="{FF2B5EF4-FFF2-40B4-BE49-F238E27FC236}">
                  <a16:creationId xmlns:a16="http://schemas.microsoft.com/office/drawing/2014/main" id="{37D56601-A369-EBC8-5908-E74C558AA178}"/>
                </a:ext>
              </a:extLst>
            </p:cNvPr>
            <p:cNvCxnSpPr>
              <a:cxnSpLocks/>
            </p:cNvCxnSpPr>
            <p:nvPr userDrawn="1"/>
          </p:nvCxnSpPr>
          <p:spPr>
            <a:xfrm>
              <a:off x="2693443" y="1250682"/>
              <a:ext cx="6633353" cy="0"/>
            </a:xfrm>
            <a:prstGeom prst="line">
              <a:avLst/>
            </a:prstGeom>
            <a:ln w="15875" cap="rnd">
              <a:solidFill>
                <a:schemeClr val="accent1"/>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4790FB86-C709-159E-35F0-3B140EE942CF}"/>
                </a:ext>
              </a:extLst>
            </p:cNvPr>
            <p:cNvCxnSpPr>
              <a:cxnSpLocks/>
            </p:cNvCxnSpPr>
            <p:nvPr userDrawn="1"/>
          </p:nvCxnSpPr>
          <p:spPr>
            <a:xfrm>
              <a:off x="0" y="1250682"/>
              <a:ext cx="2651760" cy="0"/>
            </a:xfrm>
            <a:prstGeom prst="line">
              <a:avLst/>
            </a:prstGeom>
            <a:ln w="15875" cap="rnd">
              <a:solidFill>
                <a:schemeClr val="accent1"/>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21394B09-5CF6-A935-DCFE-32210137A2B1}"/>
                </a:ext>
              </a:extLst>
            </p:cNvPr>
            <p:cNvCxnSpPr>
              <a:cxnSpLocks/>
            </p:cNvCxnSpPr>
            <p:nvPr userDrawn="1"/>
          </p:nvCxnSpPr>
          <p:spPr>
            <a:xfrm>
              <a:off x="9368480" y="1250682"/>
              <a:ext cx="2823520" cy="0"/>
            </a:xfrm>
            <a:prstGeom prst="line">
              <a:avLst/>
            </a:prstGeom>
            <a:ln w="15875" cap="rnd">
              <a:solidFill>
                <a:schemeClr val="accent1">
                  <a:lumMod val="20000"/>
                  <a:lumOff val="80000"/>
                </a:schemeClr>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91284922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Freeform: Shape 3">
            <a:extLst>
              <a:ext uri="{FF2B5EF4-FFF2-40B4-BE49-F238E27FC236}">
                <a16:creationId xmlns:a16="http://schemas.microsoft.com/office/drawing/2014/main" id="{1407FB27-40E0-EFD6-F5C9-445821DA5921}"/>
              </a:ext>
            </a:extLst>
          </p:cNvPr>
          <p:cNvSpPr/>
          <p:nvPr userDrawn="1"/>
        </p:nvSpPr>
        <p:spPr>
          <a:xfrm flipH="1">
            <a:off x="0" y="4787899"/>
            <a:ext cx="12191996" cy="2070099"/>
          </a:xfrm>
          <a:custGeom>
            <a:avLst/>
            <a:gdLst>
              <a:gd name="connsiteX0" fmla="*/ 795455 w 10215358"/>
              <a:gd name="connsiteY0" fmla="*/ 462 h 2727805"/>
              <a:gd name="connsiteX1" fmla="*/ 499463 w 10215358"/>
              <a:gd name="connsiteY1" fmla="*/ 24353 h 2727805"/>
              <a:gd name="connsiteX2" fmla="*/ 95236 w 10215358"/>
              <a:gd name="connsiteY2" fmla="*/ 119650 h 2727805"/>
              <a:gd name="connsiteX3" fmla="*/ 0 w 10215358"/>
              <a:gd name="connsiteY3" fmla="*/ 157430 h 2727805"/>
              <a:gd name="connsiteX4" fmla="*/ 0 w 10215358"/>
              <a:gd name="connsiteY4" fmla="*/ 2727805 h 2727805"/>
              <a:gd name="connsiteX5" fmla="*/ 10215358 w 10215358"/>
              <a:gd name="connsiteY5" fmla="*/ 2727805 h 2727805"/>
              <a:gd name="connsiteX6" fmla="*/ 10144639 w 10215358"/>
              <a:gd name="connsiteY6" fmla="*/ 2558390 h 2727805"/>
              <a:gd name="connsiteX7" fmla="*/ 7779224 w 10215358"/>
              <a:gd name="connsiteY7" fmla="*/ 1469756 h 2727805"/>
              <a:gd name="connsiteX8" fmla="*/ 4355227 w 10215358"/>
              <a:gd name="connsiteY8" fmla="*/ 2122885 h 2727805"/>
              <a:gd name="connsiteX9" fmla="*/ 795455 w 10215358"/>
              <a:gd name="connsiteY9" fmla="*/ 462 h 2727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215358" h="2727805">
                <a:moveTo>
                  <a:pt x="795455" y="462"/>
                </a:moveTo>
                <a:cubicBezTo>
                  <a:pt x="698656" y="2360"/>
                  <a:pt x="600035" y="10149"/>
                  <a:pt x="499463" y="24353"/>
                </a:cubicBezTo>
                <a:cubicBezTo>
                  <a:pt x="355761" y="44646"/>
                  <a:pt x="220974" y="76809"/>
                  <a:pt x="95236" y="119650"/>
                </a:cubicBezTo>
                <a:lnTo>
                  <a:pt x="0" y="157430"/>
                </a:lnTo>
                <a:lnTo>
                  <a:pt x="0" y="2727805"/>
                </a:lnTo>
                <a:lnTo>
                  <a:pt x="10215358" y="2727805"/>
                </a:lnTo>
                <a:lnTo>
                  <a:pt x="10144639" y="2558390"/>
                </a:lnTo>
                <a:cubicBezTo>
                  <a:pt x="9781843" y="1762373"/>
                  <a:pt x="8946083" y="1086740"/>
                  <a:pt x="7779224" y="1469756"/>
                </a:cubicBezTo>
                <a:cubicBezTo>
                  <a:pt x="6647424" y="1841299"/>
                  <a:pt x="5731723" y="3225843"/>
                  <a:pt x="4355227" y="2122885"/>
                </a:cubicBezTo>
                <a:cubicBezTo>
                  <a:pt x="3289527" y="1268936"/>
                  <a:pt x="2247448" y="-28013"/>
                  <a:pt x="795455" y="462"/>
                </a:cubicBezTo>
                <a:close/>
              </a:path>
            </a:pathLst>
          </a:custGeom>
          <a:gradFill flip="none" rotWithShape="1">
            <a:gsLst>
              <a:gs pos="29000">
                <a:srgbClr val="E1F2FF">
                  <a:alpha val="21000"/>
                </a:srgbClr>
              </a:gs>
              <a:gs pos="0">
                <a:schemeClr val="bg1">
                  <a:alpha val="8000"/>
                </a:schemeClr>
              </a:gs>
              <a:gs pos="54000">
                <a:schemeClr val="accent1">
                  <a:lumMod val="40000"/>
                  <a:lumOff val="60000"/>
                  <a:alpha val="0"/>
                </a:schemeClr>
              </a:gs>
              <a:gs pos="100000">
                <a:schemeClr val="bg1">
                  <a:alpha val="50000"/>
                </a:schemeClr>
              </a:gs>
            </a:gsLst>
            <a:lin ang="10800000" scaled="1"/>
            <a:tileRect/>
          </a:gradFill>
          <a:ln w="214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Shape 9">
            <a:extLst>
              <a:ext uri="{FF2B5EF4-FFF2-40B4-BE49-F238E27FC236}">
                <a16:creationId xmlns:a16="http://schemas.microsoft.com/office/drawing/2014/main" id="{676F27D6-1558-82C9-91DA-B12EEF094992}"/>
              </a:ext>
            </a:extLst>
          </p:cNvPr>
          <p:cNvSpPr/>
          <p:nvPr userDrawn="1"/>
        </p:nvSpPr>
        <p:spPr>
          <a:xfrm flipH="1" flipV="1">
            <a:off x="0" y="5378450"/>
            <a:ext cx="2676829" cy="1479550"/>
          </a:xfrm>
          <a:custGeom>
            <a:avLst/>
            <a:gdLst>
              <a:gd name="connsiteX0" fmla="*/ 1728128 w 2676829"/>
              <a:gd name="connsiteY0" fmla="*/ 606282 h 1479550"/>
              <a:gd name="connsiteX1" fmla="*/ 919525 w 2676829"/>
              <a:gd name="connsiteY1" fmla="*/ 69905 h 1479550"/>
              <a:gd name="connsiteX2" fmla="*/ 893889 w 2676829"/>
              <a:gd name="connsiteY2" fmla="*/ 0 h 1479550"/>
              <a:gd name="connsiteX3" fmla="*/ 903310 w 2676829"/>
              <a:gd name="connsiteY3" fmla="*/ 0 h 1479550"/>
              <a:gd name="connsiteX4" fmla="*/ 927695 w 2676829"/>
              <a:gd name="connsiteY4" fmla="*/ 66498 h 1479550"/>
              <a:gd name="connsiteX5" fmla="*/ 1728128 w 2676829"/>
              <a:gd name="connsiteY5" fmla="*/ 597442 h 1479550"/>
              <a:gd name="connsiteX6" fmla="*/ 2528587 w 2676829"/>
              <a:gd name="connsiteY6" fmla="*/ 66485 h 1479550"/>
              <a:gd name="connsiteX7" fmla="*/ 2552969 w 2676829"/>
              <a:gd name="connsiteY7" fmla="*/ 0 h 1479550"/>
              <a:gd name="connsiteX8" fmla="*/ 2562369 w 2676829"/>
              <a:gd name="connsiteY8" fmla="*/ 0 h 1479550"/>
              <a:gd name="connsiteX9" fmla="*/ 2536735 w 2676829"/>
              <a:gd name="connsiteY9" fmla="*/ 69905 h 1479550"/>
              <a:gd name="connsiteX10" fmla="*/ 1728128 w 2676829"/>
              <a:gd name="connsiteY10" fmla="*/ 606282 h 1479550"/>
              <a:gd name="connsiteX11" fmla="*/ 1728128 w 2676829"/>
              <a:gd name="connsiteY11" fmla="*/ 824607 h 1479550"/>
              <a:gd name="connsiteX12" fmla="*/ 681500 w 2676829"/>
              <a:gd name="connsiteY12" fmla="*/ 54175 h 1479550"/>
              <a:gd name="connsiteX13" fmla="*/ 667538 w 2676829"/>
              <a:gd name="connsiteY13" fmla="*/ 0 h 1479550"/>
              <a:gd name="connsiteX14" fmla="*/ 676665 w 2676829"/>
              <a:gd name="connsiteY14" fmla="*/ 0 h 1479550"/>
              <a:gd name="connsiteX15" fmla="*/ 689944 w 2676829"/>
              <a:gd name="connsiteY15" fmla="*/ 51521 h 1479550"/>
              <a:gd name="connsiteX16" fmla="*/ 1728128 w 2676829"/>
              <a:gd name="connsiteY16" fmla="*/ 815736 h 1479550"/>
              <a:gd name="connsiteX17" fmla="*/ 2614431 w 2676829"/>
              <a:gd name="connsiteY17" fmla="*/ 357511 h 1479550"/>
              <a:gd name="connsiteX18" fmla="*/ 2676829 w 2676829"/>
              <a:gd name="connsiteY18" fmla="*/ 253473 h 1479550"/>
              <a:gd name="connsiteX19" fmla="*/ 2676829 w 2676829"/>
              <a:gd name="connsiteY19" fmla="*/ 270641 h 1479550"/>
              <a:gd name="connsiteX20" fmla="*/ 2621635 w 2676829"/>
              <a:gd name="connsiteY20" fmla="*/ 362666 h 1479550"/>
              <a:gd name="connsiteX21" fmla="*/ 1728128 w 2676829"/>
              <a:gd name="connsiteY21" fmla="*/ 824607 h 1479550"/>
              <a:gd name="connsiteX22" fmla="*/ 1728128 w 2676829"/>
              <a:gd name="connsiteY22" fmla="*/ 1042900 h 1479550"/>
              <a:gd name="connsiteX23" fmla="*/ 473009 w 2676829"/>
              <a:gd name="connsiteY23" fmla="*/ 118996 h 1479550"/>
              <a:gd name="connsiteX24" fmla="*/ 442340 w 2676829"/>
              <a:gd name="connsiteY24" fmla="*/ 0 h 1479550"/>
              <a:gd name="connsiteX25" fmla="*/ 451457 w 2676829"/>
              <a:gd name="connsiteY25" fmla="*/ 0 h 1479550"/>
              <a:gd name="connsiteX26" fmla="*/ 481451 w 2676829"/>
              <a:gd name="connsiteY26" fmla="*/ 116374 h 1479550"/>
              <a:gd name="connsiteX27" fmla="*/ 1728128 w 2676829"/>
              <a:gd name="connsiteY27" fmla="*/ 1034060 h 1479550"/>
              <a:gd name="connsiteX28" fmla="*/ 2661817 w 2676829"/>
              <a:gd name="connsiteY28" fmla="*/ 640122 h 1479550"/>
              <a:gd name="connsiteX29" fmla="*/ 2676829 w 2676829"/>
              <a:gd name="connsiteY29" fmla="*/ 622156 h 1479550"/>
              <a:gd name="connsiteX30" fmla="*/ 2676829 w 2676829"/>
              <a:gd name="connsiteY30" fmla="*/ 635887 h 1479550"/>
              <a:gd name="connsiteX31" fmla="*/ 2668136 w 2676829"/>
              <a:gd name="connsiteY31" fmla="*/ 646290 h 1479550"/>
              <a:gd name="connsiteX32" fmla="*/ 1728128 w 2676829"/>
              <a:gd name="connsiteY32" fmla="*/ 1042900 h 1479550"/>
              <a:gd name="connsiteX33" fmla="*/ 1728128 w 2676829"/>
              <a:gd name="connsiteY33" fmla="*/ 1261225 h 1479550"/>
              <a:gd name="connsiteX34" fmla="*/ 226689 w 2676829"/>
              <a:gd name="connsiteY34" fmla="*/ 37084 h 1479550"/>
              <a:gd name="connsiteX35" fmla="*/ 221014 w 2676829"/>
              <a:gd name="connsiteY35" fmla="*/ 0 h 1479550"/>
              <a:gd name="connsiteX36" fmla="*/ 229972 w 2676829"/>
              <a:gd name="connsiteY36" fmla="*/ 0 h 1479550"/>
              <a:gd name="connsiteX37" fmla="*/ 235381 w 2676829"/>
              <a:gd name="connsiteY37" fmla="*/ 35337 h 1479550"/>
              <a:gd name="connsiteX38" fmla="*/ 1728128 w 2676829"/>
              <a:gd name="connsiteY38" fmla="*/ 1252385 h 1479550"/>
              <a:gd name="connsiteX39" fmla="*/ 2485997 w 2676829"/>
              <a:gd name="connsiteY39" fmla="*/ 1050211 h 1479550"/>
              <a:gd name="connsiteX40" fmla="*/ 2676829 w 2676829"/>
              <a:gd name="connsiteY40" fmla="*/ 917868 h 1479550"/>
              <a:gd name="connsiteX41" fmla="*/ 2676829 w 2676829"/>
              <a:gd name="connsiteY41" fmla="*/ 928586 h 1479550"/>
              <a:gd name="connsiteX42" fmla="*/ 2490404 w 2676829"/>
              <a:gd name="connsiteY42" fmla="*/ 1057875 h 1479550"/>
              <a:gd name="connsiteX43" fmla="*/ 1728128 w 2676829"/>
              <a:gd name="connsiteY43" fmla="*/ 1261225 h 1479550"/>
              <a:gd name="connsiteX44" fmla="*/ 1728128 w 2676829"/>
              <a:gd name="connsiteY44" fmla="*/ 1479550 h 1479550"/>
              <a:gd name="connsiteX45" fmla="*/ 489724 w 2676829"/>
              <a:gd name="connsiteY45" fmla="*/ 966998 h 1479550"/>
              <a:gd name="connsiteX46" fmla="*/ 10780 w 2676829"/>
              <a:gd name="connsiteY46" fmla="*/ 73082 h 1479550"/>
              <a:gd name="connsiteX47" fmla="*/ 0 w 2676829"/>
              <a:gd name="connsiteY47" fmla="*/ 0 h 1479550"/>
              <a:gd name="connsiteX48" fmla="*/ 9371 w 2676829"/>
              <a:gd name="connsiteY48" fmla="*/ 0 h 1479550"/>
              <a:gd name="connsiteX49" fmla="*/ 21499 w 2676829"/>
              <a:gd name="connsiteY49" fmla="*/ 79242 h 1479550"/>
              <a:gd name="connsiteX50" fmla="*/ 1728128 w 2676829"/>
              <a:gd name="connsiteY50" fmla="*/ 1470678 h 1479550"/>
              <a:gd name="connsiteX51" fmla="*/ 2482722 w 2676829"/>
              <a:gd name="connsiteY51" fmla="*/ 1298627 h 1479550"/>
              <a:gd name="connsiteX52" fmla="*/ 2676829 w 2676829"/>
              <a:gd name="connsiteY52" fmla="*/ 1186929 h 1479550"/>
              <a:gd name="connsiteX53" fmla="*/ 2676829 w 2676829"/>
              <a:gd name="connsiteY53" fmla="*/ 1200071 h 1479550"/>
              <a:gd name="connsiteX54" fmla="*/ 2552876 w 2676829"/>
              <a:gd name="connsiteY54" fmla="*/ 1274416 h 1479550"/>
              <a:gd name="connsiteX55" fmla="*/ 1728128 w 2676829"/>
              <a:gd name="connsiteY55" fmla="*/ 1479550 h 1479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2676829" h="1479550">
                <a:moveTo>
                  <a:pt x="1728128" y="606282"/>
                </a:moveTo>
                <a:cubicBezTo>
                  <a:pt x="1365177" y="606282"/>
                  <a:pt x="1052953" y="384813"/>
                  <a:pt x="919525" y="69905"/>
                </a:cubicBezTo>
                <a:lnTo>
                  <a:pt x="893889" y="0"/>
                </a:lnTo>
                <a:lnTo>
                  <a:pt x="903310" y="0"/>
                </a:lnTo>
                <a:lnTo>
                  <a:pt x="927695" y="66498"/>
                </a:lnTo>
                <a:cubicBezTo>
                  <a:pt x="1059768" y="378226"/>
                  <a:pt x="1368827" y="597442"/>
                  <a:pt x="1728128" y="597442"/>
                </a:cubicBezTo>
                <a:cubicBezTo>
                  <a:pt x="2087428" y="597442"/>
                  <a:pt x="2396505" y="378208"/>
                  <a:pt x="2528587" y="66485"/>
                </a:cubicBezTo>
                <a:lnTo>
                  <a:pt x="2552969" y="0"/>
                </a:lnTo>
                <a:lnTo>
                  <a:pt x="2562369" y="0"/>
                </a:lnTo>
                <a:lnTo>
                  <a:pt x="2536735" y="69905"/>
                </a:lnTo>
                <a:cubicBezTo>
                  <a:pt x="2403314" y="384813"/>
                  <a:pt x="2091102" y="606282"/>
                  <a:pt x="1728128" y="606282"/>
                </a:cubicBezTo>
                <a:close/>
                <a:moveTo>
                  <a:pt x="1728128" y="824607"/>
                </a:moveTo>
                <a:cubicBezTo>
                  <a:pt x="1237092" y="824607"/>
                  <a:pt x="820470" y="500034"/>
                  <a:pt x="681500" y="54175"/>
                </a:cubicBezTo>
                <a:lnTo>
                  <a:pt x="667538" y="0"/>
                </a:lnTo>
                <a:lnTo>
                  <a:pt x="676665" y="0"/>
                </a:lnTo>
                <a:lnTo>
                  <a:pt x="689944" y="51521"/>
                </a:lnTo>
                <a:cubicBezTo>
                  <a:pt x="827798" y="493787"/>
                  <a:pt x="1241070" y="815736"/>
                  <a:pt x="1728128" y="815736"/>
                </a:cubicBezTo>
                <a:cubicBezTo>
                  <a:pt x="2093422" y="815736"/>
                  <a:pt x="2417210" y="634640"/>
                  <a:pt x="2614431" y="357511"/>
                </a:cubicBezTo>
                <a:lnTo>
                  <a:pt x="2676829" y="253473"/>
                </a:lnTo>
                <a:lnTo>
                  <a:pt x="2676829" y="270641"/>
                </a:lnTo>
                <a:lnTo>
                  <a:pt x="2621635" y="362666"/>
                </a:lnTo>
                <a:cubicBezTo>
                  <a:pt x="2422809" y="642047"/>
                  <a:pt x="2096386" y="824607"/>
                  <a:pt x="1728128" y="824607"/>
                </a:cubicBezTo>
                <a:close/>
                <a:moveTo>
                  <a:pt x="1728128" y="1042900"/>
                </a:moveTo>
                <a:cubicBezTo>
                  <a:pt x="1139303" y="1042900"/>
                  <a:pt x="639671" y="653672"/>
                  <a:pt x="473009" y="118996"/>
                </a:cubicBezTo>
                <a:lnTo>
                  <a:pt x="442340" y="0"/>
                </a:lnTo>
                <a:lnTo>
                  <a:pt x="451457" y="0"/>
                </a:lnTo>
                <a:lnTo>
                  <a:pt x="481451" y="116374"/>
                </a:lnTo>
                <a:cubicBezTo>
                  <a:pt x="646989" y="647457"/>
                  <a:pt x="1143255" y="1034060"/>
                  <a:pt x="1728128" y="1034060"/>
                </a:cubicBezTo>
                <a:cubicBezTo>
                  <a:pt x="2093674" y="1034060"/>
                  <a:pt x="2424607" y="883043"/>
                  <a:pt x="2661817" y="640122"/>
                </a:cubicBezTo>
                <a:lnTo>
                  <a:pt x="2676829" y="622156"/>
                </a:lnTo>
                <a:lnTo>
                  <a:pt x="2676829" y="635887"/>
                </a:lnTo>
                <a:lnTo>
                  <a:pt x="2668136" y="646290"/>
                </a:lnTo>
                <a:cubicBezTo>
                  <a:pt x="2429319" y="890858"/>
                  <a:pt x="2096144" y="1042900"/>
                  <a:pt x="1728128" y="1042900"/>
                </a:cubicBezTo>
                <a:close/>
                <a:moveTo>
                  <a:pt x="1728128" y="1261225"/>
                </a:moveTo>
                <a:cubicBezTo>
                  <a:pt x="988669" y="1261225"/>
                  <a:pt x="369842" y="734830"/>
                  <a:pt x="226689" y="37084"/>
                </a:cubicBezTo>
                <a:lnTo>
                  <a:pt x="221014" y="0"/>
                </a:lnTo>
                <a:lnTo>
                  <a:pt x="229972" y="0"/>
                </a:lnTo>
                <a:lnTo>
                  <a:pt x="235381" y="35337"/>
                </a:lnTo>
                <a:cubicBezTo>
                  <a:pt x="377706" y="729058"/>
                  <a:pt x="992954" y="1252385"/>
                  <a:pt x="1728128" y="1252385"/>
                </a:cubicBezTo>
                <a:cubicBezTo>
                  <a:pt x="2003818" y="1252385"/>
                  <a:pt x="2262647" y="1178789"/>
                  <a:pt x="2485997" y="1050211"/>
                </a:cubicBezTo>
                <a:lnTo>
                  <a:pt x="2676829" y="917868"/>
                </a:lnTo>
                <a:lnTo>
                  <a:pt x="2676829" y="928586"/>
                </a:lnTo>
                <a:lnTo>
                  <a:pt x="2490404" y="1057875"/>
                </a:lnTo>
                <a:cubicBezTo>
                  <a:pt x="2265757" y="1187201"/>
                  <a:pt x="2005424" y="1261225"/>
                  <a:pt x="1728128" y="1261225"/>
                </a:cubicBezTo>
                <a:close/>
                <a:moveTo>
                  <a:pt x="1728128" y="1479550"/>
                </a:moveTo>
                <a:cubicBezTo>
                  <a:pt x="1260061" y="1479550"/>
                  <a:pt x="820232" y="1297539"/>
                  <a:pt x="489724" y="966998"/>
                </a:cubicBezTo>
                <a:cubicBezTo>
                  <a:pt x="241843" y="719117"/>
                  <a:pt x="77472" y="409743"/>
                  <a:pt x="10780" y="73082"/>
                </a:cubicBezTo>
                <a:lnTo>
                  <a:pt x="0" y="0"/>
                </a:lnTo>
                <a:lnTo>
                  <a:pt x="9371" y="0"/>
                </a:lnTo>
                <a:lnTo>
                  <a:pt x="21499" y="79242"/>
                </a:lnTo>
                <a:cubicBezTo>
                  <a:pt x="184216" y="872342"/>
                  <a:pt x="887615" y="1470678"/>
                  <a:pt x="1728128" y="1470678"/>
                </a:cubicBezTo>
                <a:cubicBezTo>
                  <a:pt x="1998293" y="1470678"/>
                  <a:pt x="2254291" y="1408860"/>
                  <a:pt x="2482722" y="1298627"/>
                </a:cubicBezTo>
                <a:lnTo>
                  <a:pt x="2676829" y="1186929"/>
                </a:lnTo>
                <a:lnTo>
                  <a:pt x="2676829" y="1200071"/>
                </a:lnTo>
                <a:lnTo>
                  <a:pt x="2552876" y="1274416"/>
                </a:lnTo>
                <a:cubicBezTo>
                  <a:pt x="2302197" y="1408440"/>
                  <a:pt x="2020690" y="1479550"/>
                  <a:pt x="1728128" y="1479550"/>
                </a:cubicBezTo>
                <a:close/>
              </a:path>
            </a:pathLst>
          </a:custGeom>
          <a:solidFill>
            <a:schemeClr val="accent1">
              <a:lumMod val="40000"/>
              <a:lumOff val="60000"/>
              <a:alpha val="48000"/>
            </a:schemeClr>
          </a:solidFill>
          <a:ln w="2142" cap="flat">
            <a:noFill/>
            <a:prstDash val="solid"/>
            <a:miter/>
          </a:ln>
        </p:spPr>
        <p:txBody>
          <a:bodyPr wrap="square"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000000"/>
              </a:solidFill>
              <a:effectLst/>
              <a:uLnTx/>
              <a:uFillTx/>
            </a:endParaRPr>
          </a:p>
        </p:txBody>
      </p:sp>
      <p:grpSp>
        <p:nvGrpSpPr>
          <p:cNvPr id="11" name="Group 10">
            <a:extLst>
              <a:ext uri="{FF2B5EF4-FFF2-40B4-BE49-F238E27FC236}">
                <a16:creationId xmlns:a16="http://schemas.microsoft.com/office/drawing/2014/main" id="{A640B39B-A0E5-417F-33CF-2811E4053AF8}"/>
              </a:ext>
            </a:extLst>
          </p:cNvPr>
          <p:cNvGrpSpPr/>
          <p:nvPr userDrawn="1"/>
        </p:nvGrpSpPr>
        <p:grpSpPr>
          <a:xfrm>
            <a:off x="0" y="1250682"/>
            <a:ext cx="12192000" cy="0"/>
            <a:chOff x="0" y="1250682"/>
            <a:chExt cx="12192000" cy="0"/>
          </a:xfrm>
        </p:grpSpPr>
        <p:cxnSp>
          <p:nvCxnSpPr>
            <p:cNvPr id="12" name="Straight Connector 11">
              <a:extLst>
                <a:ext uri="{FF2B5EF4-FFF2-40B4-BE49-F238E27FC236}">
                  <a16:creationId xmlns:a16="http://schemas.microsoft.com/office/drawing/2014/main" id="{E0DE7618-D502-6C6E-D430-AB991E821369}"/>
                </a:ext>
              </a:extLst>
            </p:cNvPr>
            <p:cNvCxnSpPr>
              <a:cxnSpLocks/>
            </p:cNvCxnSpPr>
            <p:nvPr userDrawn="1"/>
          </p:nvCxnSpPr>
          <p:spPr>
            <a:xfrm>
              <a:off x="2693443" y="1250682"/>
              <a:ext cx="6633353" cy="0"/>
            </a:xfrm>
            <a:prstGeom prst="line">
              <a:avLst/>
            </a:prstGeom>
            <a:ln w="15875" cap="rnd">
              <a:solidFill>
                <a:schemeClr val="accent1"/>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07A60DD-2C3A-0366-C48C-3E0FC5FBB532}"/>
                </a:ext>
              </a:extLst>
            </p:cNvPr>
            <p:cNvCxnSpPr>
              <a:cxnSpLocks/>
            </p:cNvCxnSpPr>
            <p:nvPr userDrawn="1"/>
          </p:nvCxnSpPr>
          <p:spPr>
            <a:xfrm>
              <a:off x="0" y="1250682"/>
              <a:ext cx="2651760" cy="0"/>
            </a:xfrm>
            <a:prstGeom prst="line">
              <a:avLst/>
            </a:prstGeom>
            <a:ln w="15875" cap="rnd">
              <a:solidFill>
                <a:schemeClr val="accent1"/>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20CFF1EF-4F7E-FABD-F6DD-CD5CA5914CD8}"/>
                </a:ext>
              </a:extLst>
            </p:cNvPr>
            <p:cNvCxnSpPr>
              <a:cxnSpLocks/>
            </p:cNvCxnSpPr>
            <p:nvPr userDrawn="1"/>
          </p:nvCxnSpPr>
          <p:spPr>
            <a:xfrm>
              <a:off x="9368480" y="1250682"/>
              <a:ext cx="2823520" cy="0"/>
            </a:xfrm>
            <a:prstGeom prst="line">
              <a:avLst/>
            </a:prstGeom>
            <a:ln w="15875" cap="rnd">
              <a:solidFill>
                <a:schemeClr val="accent1">
                  <a:lumMod val="20000"/>
                  <a:lumOff val="80000"/>
                </a:schemeClr>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5742316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reeform: Shape 3">
            <a:extLst>
              <a:ext uri="{FF2B5EF4-FFF2-40B4-BE49-F238E27FC236}">
                <a16:creationId xmlns:a16="http://schemas.microsoft.com/office/drawing/2014/main" id="{6C083FCA-C2CC-C2FF-45FC-21A458C2C92A}"/>
              </a:ext>
            </a:extLst>
          </p:cNvPr>
          <p:cNvSpPr/>
          <p:nvPr userDrawn="1"/>
        </p:nvSpPr>
        <p:spPr>
          <a:xfrm flipH="1">
            <a:off x="0" y="4787899"/>
            <a:ext cx="12191996" cy="2070099"/>
          </a:xfrm>
          <a:custGeom>
            <a:avLst/>
            <a:gdLst>
              <a:gd name="connsiteX0" fmla="*/ 795455 w 10215358"/>
              <a:gd name="connsiteY0" fmla="*/ 462 h 2727805"/>
              <a:gd name="connsiteX1" fmla="*/ 499463 w 10215358"/>
              <a:gd name="connsiteY1" fmla="*/ 24353 h 2727805"/>
              <a:gd name="connsiteX2" fmla="*/ 95236 w 10215358"/>
              <a:gd name="connsiteY2" fmla="*/ 119650 h 2727805"/>
              <a:gd name="connsiteX3" fmla="*/ 0 w 10215358"/>
              <a:gd name="connsiteY3" fmla="*/ 157430 h 2727805"/>
              <a:gd name="connsiteX4" fmla="*/ 0 w 10215358"/>
              <a:gd name="connsiteY4" fmla="*/ 2727805 h 2727805"/>
              <a:gd name="connsiteX5" fmla="*/ 10215358 w 10215358"/>
              <a:gd name="connsiteY5" fmla="*/ 2727805 h 2727805"/>
              <a:gd name="connsiteX6" fmla="*/ 10144639 w 10215358"/>
              <a:gd name="connsiteY6" fmla="*/ 2558390 h 2727805"/>
              <a:gd name="connsiteX7" fmla="*/ 7779224 w 10215358"/>
              <a:gd name="connsiteY7" fmla="*/ 1469756 h 2727805"/>
              <a:gd name="connsiteX8" fmla="*/ 4355227 w 10215358"/>
              <a:gd name="connsiteY8" fmla="*/ 2122885 h 2727805"/>
              <a:gd name="connsiteX9" fmla="*/ 795455 w 10215358"/>
              <a:gd name="connsiteY9" fmla="*/ 462 h 2727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215358" h="2727805">
                <a:moveTo>
                  <a:pt x="795455" y="462"/>
                </a:moveTo>
                <a:cubicBezTo>
                  <a:pt x="698656" y="2360"/>
                  <a:pt x="600035" y="10149"/>
                  <a:pt x="499463" y="24353"/>
                </a:cubicBezTo>
                <a:cubicBezTo>
                  <a:pt x="355761" y="44646"/>
                  <a:pt x="220974" y="76809"/>
                  <a:pt x="95236" y="119650"/>
                </a:cubicBezTo>
                <a:lnTo>
                  <a:pt x="0" y="157430"/>
                </a:lnTo>
                <a:lnTo>
                  <a:pt x="0" y="2727805"/>
                </a:lnTo>
                <a:lnTo>
                  <a:pt x="10215358" y="2727805"/>
                </a:lnTo>
                <a:lnTo>
                  <a:pt x="10144639" y="2558390"/>
                </a:lnTo>
                <a:cubicBezTo>
                  <a:pt x="9781843" y="1762373"/>
                  <a:pt x="8946083" y="1086740"/>
                  <a:pt x="7779224" y="1469756"/>
                </a:cubicBezTo>
                <a:cubicBezTo>
                  <a:pt x="6647424" y="1841299"/>
                  <a:pt x="5731723" y="3225843"/>
                  <a:pt x="4355227" y="2122885"/>
                </a:cubicBezTo>
                <a:cubicBezTo>
                  <a:pt x="3289527" y="1268936"/>
                  <a:pt x="2247448" y="-28013"/>
                  <a:pt x="795455" y="462"/>
                </a:cubicBezTo>
                <a:close/>
              </a:path>
            </a:pathLst>
          </a:custGeom>
          <a:gradFill flip="none" rotWithShape="1">
            <a:gsLst>
              <a:gs pos="29000">
                <a:srgbClr val="E1F2FF">
                  <a:alpha val="21000"/>
                </a:srgbClr>
              </a:gs>
              <a:gs pos="0">
                <a:schemeClr val="bg1">
                  <a:alpha val="8000"/>
                </a:schemeClr>
              </a:gs>
              <a:gs pos="54000">
                <a:schemeClr val="accent1">
                  <a:lumMod val="40000"/>
                  <a:lumOff val="60000"/>
                  <a:alpha val="0"/>
                </a:schemeClr>
              </a:gs>
              <a:gs pos="100000">
                <a:schemeClr val="bg1">
                  <a:alpha val="50000"/>
                </a:schemeClr>
              </a:gs>
            </a:gsLst>
            <a:lin ang="10800000" scaled="1"/>
            <a:tileRect/>
          </a:gradFill>
          <a:ln w="214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sp>
        <p:nvSpPr>
          <p:cNvPr id="7" name="Freeform: Shape 6">
            <a:extLst>
              <a:ext uri="{FF2B5EF4-FFF2-40B4-BE49-F238E27FC236}">
                <a16:creationId xmlns:a16="http://schemas.microsoft.com/office/drawing/2014/main" id="{87A557D3-5090-7A56-1912-8B071979D279}"/>
              </a:ext>
            </a:extLst>
          </p:cNvPr>
          <p:cNvSpPr/>
          <p:nvPr userDrawn="1"/>
        </p:nvSpPr>
        <p:spPr>
          <a:xfrm flipH="1" flipV="1">
            <a:off x="0" y="5378450"/>
            <a:ext cx="2676829" cy="1479550"/>
          </a:xfrm>
          <a:custGeom>
            <a:avLst/>
            <a:gdLst>
              <a:gd name="connsiteX0" fmla="*/ 1728128 w 2676829"/>
              <a:gd name="connsiteY0" fmla="*/ 606282 h 1479550"/>
              <a:gd name="connsiteX1" fmla="*/ 919525 w 2676829"/>
              <a:gd name="connsiteY1" fmla="*/ 69905 h 1479550"/>
              <a:gd name="connsiteX2" fmla="*/ 893889 w 2676829"/>
              <a:gd name="connsiteY2" fmla="*/ 0 h 1479550"/>
              <a:gd name="connsiteX3" fmla="*/ 903310 w 2676829"/>
              <a:gd name="connsiteY3" fmla="*/ 0 h 1479550"/>
              <a:gd name="connsiteX4" fmla="*/ 927695 w 2676829"/>
              <a:gd name="connsiteY4" fmla="*/ 66498 h 1479550"/>
              <a:gd name="connsiteX5" fmla="*/ 1728128 w 2676829"/>
              <a:gd name="connsiteY5" fmla="*/ 597442 h 1479550"/>
              <a:gd name="connsiteX6" fmla="*/ 2528587 w 2676829"/>
              <a:gd name="connsiteY6" fmla="*/ 66485 h 1479550"/>
              <a:gd name="connsiteX7" fmla="*/ 2552969 w 2676829"/>
              <a:gd name="connsiteY7" fmla="*/ 0 h 1479550"/>
              <a:gd name="connsiteX8" fmla="*/ 2562369 w 2676829"/>
              <a:gd name="connsiteY8" fmla="*/ 0 h 1479550"/>
              <a:gd name="connsiteX9" fmla="*/ 2536735 w 2676829"/>
              <a:gd name="connsiteY9" fmla="*/ 69905 h 1479550"/>
              <a:gd name="connsiteX10" fmla="*/ 1728128 w 2676829"/>
              <a:gd name="connsiteY10" fmla="*/ 606282 h 1479550"/>
              <a:gd name="connsiteX11" fmla="*/ 1728128 w 2676829"/>
              <a:gd name="connsiteY11" fmla="*/ 824607 h 1479550"/>
              <a:gd name="connsiteX12" fmla="*/ 681500 w 2676829"/>
              <a:gd name="connsiteY12" fmla="*/ 54175 h 1479550"/>
              <a:gd name="connsiteX13" fmla="*/ 667538 w 2676829"/>
              <a:gd name="connsiteY13" fmla="*/ 0 h 1479550"/>
              <a:gd name="connsiteX14" fmla="*/ 676665 w 2676829"/>
              <a:gd name="connsiteY14" fmla="*/ 0 h 1479550"/>
              <a:gd name="connsiteX15" fmla="*/ 689944 w 2676829"/>
              <a:gd name="connsiteY15" fmla="*/ 51521 h 1479550"/>
              <a:gd name="connsiteX16" fmla="*/ 1728128 w 2676829"/>
              <a:gd name="connsiteY16" fmla="*/ 815736 h 1479550"/>
              <a:gd name="connsiteX17" fmla="*/ 2614431 w 2676829"/>
              <a:gd name="connsiteY17" fmla="*/ 357511 h 1479550"/>
              <a:gd name="connsiteX18" fmla="*/ 2676829 w 2676829"/>
              <a:gd name="connsiteY18" fmla="*/ 253473 h 1479550"/>
              <a:gd name="connsiteX19" fmla="*/ 2676829 w 2676829"/>
              <a:gd name="connsiteY19" fmla="*/ 270641 h 1479550"/>
              <a:gd name="connsiteX20" fmla="*/ 2621635 w 2676829"/>
              <a:gd name="connsiteY20" fmla="*/ 362666 h 1479550"/>
              <a:gd name="connsiteX21" fmla="*/ 1728128 w 2676829"/>
              <a:gd name="connsiteY21" fmla="*/ 824607 h 1479550"/>
              <a:gd name="connsiteX22" fmla="*/ 1728128 w 2676829"/>
              <a:gd name="connsiteY22" fmla="*/ 1042900 h 1479550"/>
              <a:gd name="connsiteX23" fmla="*/ 473009 w 2676829"/>
              <a:gd name="connsiteY23" fmla="*/ 118996 h 1479550"/>
              <a:gd name="connsiteX24" fmla="*/ 442340 w 2676829"/>
              <a:gd name="connsiteY24" fmla="*/ 0 h 1479550"/>
              <a:gd name="connsiteX25" fmla="*/ 451457 w 2676829"/>
              <a:gd name="connsiteY25" fmla="*/ 0 h 1479550"/>
              <a:gd name="connsiteX26" fmla="*/ 481451 w 2676829"/>
              <a:gd name="connsiteY26" fmla="*/ 116374 h 1479550"/>
              <a:gd name="connsiteX27" fmla="*/ 1728128 w 2676829"/>
              <a:gd name="connsiteY27" fmla="*/ 1034060 h 1479550"/>
              <a:gd name="connsiteX28" fmla="*/ 2661817 w 2676829"/>
              <a:gd name="connsiteY28" fmla="*/ 640122 h 1479550"/>
              <a:gd name="connsiteX29" fmla="*/ 2676829 w 2676829"/>
              <a:gd name="connsiteY29" fmla="*/ 622156 h 1479550"/>
              <a:gd name="connsiteX30" fmla="*/ 2676829 w 2676829"/>
              <a:gd name="connsiteY30" fmla="*/ 635887 h 1479550"/>
              <a:gd name="connsiteX31" fmla="*/ 2668136 w 2676829"/>
              <a:gd name="connsiteY31" fmla="*/ 646290 h 1479550"/>
              <a:gd name="connsiteX32" fmla="*/ 1728128 w 2676829"/>
              <a:gd name="connsiteY32" fmla="*/ 1042900 h 1479550"/>
              <a:gd name="connsiteX33" fmla="*/ 1728128 w 2676829"/>
              <a:gd name="connsiteY33" fmla="*/ 1261225 h 1479550"/>
              <a:gd name="connsiteX34" fmla="*/ 226689 w 2676829"/>
              <a:gd name="connsiteY34" fmla="*/ 37084 h 1479550"/>
              <a:gd name="connsiteX35" fmla="*/ 221014 w 2676829"/>
              <a:gd name="connsiteY35" fmla="*/ 0 h 1479550"/>
              <a:gd name="connsiteX36" fmla="*/ 229972 w 2676829"/>
              <a:gd name="connsiteY36" fmla="*/ 0 h 1479550"/>
              <a:gd name="connsiteX37" fmla="*/ 235381 w 2676829"/>
              <a:gd name="connsiteY37" fmla="*/ 35337 h 1479550"/>
              <a:gd name="connsiteX38" fmla="*/ 1728128 w 2676829"/>
              <a:gd name="connsiteY38" fmla="*/ 1252385 h 1479550"/>
              <a:gd name="connsiteX39" fmla="*/ 2485997 w 2676829"/>
              <a:gd name="connsiteY39" fmla="*/ 1050211 h 1479550"/>
              <a:gd name="connsiteX40" fmla="*/ 2676829 w 2676829"/>
              <a:gd name="connsiteY40" fmla="*/ 917868 h 1479550"/>
              <a:gd name="connsiteX41" fmla="*/ 2676829 w 2676829"/>
              <a:gd name="connsiteY41" fmla="*/ 928586 h 1479550"/>
              <a:gd name="connsiteX42" fmla="*/ 2490404 w 2676829"/>
              <a:gd name="connsiteY42" fmla="*/ 1057875 h 1479550"/>
              <a:gd name="connsiteX43" fmla="*/ 1728128 w 2676829"/>
              <a:gd name="connsiteY43" fmla="*/ 1261225 h 1479550"/>
              <a:gd name="connsiteX44" fmla="*/ 1728128 w 2676829"/>
              <a:gd name="connsiteY44" fmla="*/ 1479550 h 1479550"/>
              <a:gd name="connsiteX45" fmla="*/ 489724 w 2676829"/>
              <a:gd name="connsiteY45" fmla="*/ 966998 h 1479550"/>
              <a:gd name="connsiteX46" fmla="*/ 10780 w 2676829"/>
              <a:gd name="connsiteY46" fmla="*/ 73082 h 1479550"/>
              <a:gd name="connsiteX47" fmla="*/ 0 w 2676829"/>
              <a:gd name="connsiteY47" fmla="*/ 0 h 1479550"/>
              <a:gd name="connsiteX48" fmla="*/ 9371 w 2676829"/>
              <a:gd name="connsiteY48" fmla="*/ 0 h 1479550"/>
              <a:gd name="connsiteX49" fmla="*/ 21499 w 2676829"/>
              <a:gd name="connsiteY49" fmla="*/ 79242 h 1479550"/>
              <a:gd name="connsiteX50" fmla="*/ 1728128 w 2676829"/>
              <a:gd name="connsiteY50" fmla="*/ 1470678 h 1479550"/>
              <a:gd name="connsiteX51" fmla="*/ 2482722 w 2676829"/>
              <a:gd name="connsiteY51" fmla="*/ 1298627 h 1479550"/>
              <a:gd name="connsiteX52" fmla="*/ 2676829 w 2676829"/>
              <a:gd name="connsiteY52" fmla="*/ 1186929 h 1479550"/>
              <a:gd name="connsiteX53" fmla="*/ 2676829 w 2676829"/>
              <a:gd name="connsiteY53" fmla="*/ 1200071 h 1479550"/>
              <a:gd name="connsiteX54" fmla="*/ 2552876 w 2676829"/>
              <a:gd name="connsiteY54" fmla="*/ 1274416 h 1479550"/>
              <a:gd name="connsiteX55" fmla="*/ 1728128 w 2676829"/>
              <a:gd name="connsiteY55" fmla="*/ 1479550 h 1479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2676829" h="1479550">
                <a:moveTo>
                  <a:pt x="1728128" y="606282"/>
                </a:moveTo>
                <a:cubicBezTo>
                  <a:pt x="1365177" y="606282"/>
                  <a:pt x="1052953" y="384813"/>
                  <a:pt x="919525" y="69905"/>
                </a:cubicBezTo>
                <a:lnTo>
                  <a:pt x="893889" y="0"/>
                </a:lnTo>
                <a:lnTo>
                  <a:pt x="903310" y="0"/>
                </a:lnTo>
                <a:lnTo>
                  <a:pt x="927695" y="66498"/>
                </a:lnTo>
                <a:cubicBezTo>
                  <a:pt x="1059768" y="378226"/>
                  <a:pt x="1368827" y="597442"/>
                  <a:pt x="1728128" y="597442"/>
                </a:cubicBezTo>
                <a:cubicBezTo>
                  <a:pt x="2087428" y="597442"/>
                  <a:pt x="2396505" y="378208"/>
                  <a:pt x="2528587" y="66485"/>
                </a:cubicBezTo>
                <a:lnTo>
                  <a:pt x="2552969" y="0"/>
                </a:lnTo>
                <a:lnTo>
                  <a:pt x="2562369" y="0"/>
                </a:lnTo>
                <a:lnTo>
                  <a:pt x="2536735" y="69905"/>
                </a:lnTo>
                <a:cubicBezTo>
                  <a:pt x="2403314" y="384813"/>
                  <a:pt x="2091102" y="606282"/>
                  <a:pt x="1728128" y="606282"/>
                </a:cubicBezTo>
                <a:close/>
                <a:moveTo>
                  <a:pt x="1728128" y="824607"/>
                </a:moveTo>
                <a:cubicBezTo>
                  <a:pt x="1237092" y="824607"/>
                  <a:pt x="820470" y="500034"/>
                  <a:pt x="681500" y="54175"/>
                </a:cubicBezTo>
                <a:lnTo>
                  <a:pt x="667538" y="0"/>
                </a:lnTo>
                <a:lnTo>
                  <a:pt x="676665" y="0"/>
                </a:lnTo>
                <a:lnTo>
                  <a:pt x="689944" y="51521"/>
                </a:lnTo>
                <a:cubicBezTo>
                  <a:pt x="827798" y="493787"/>
                  <a:pt x="1241070" y="815736"/>
                  <a:pt x="1728128" y="815736"/>
                </a:cubicBezTo>
                <a:cubicBezTo>
                  <a:pt x="2093422" y="815736"/>
                  <a:pt x="2417210" y="634640"/>
                  <a:pt x="2614431" y="357511"/>
                </a:cubicBezTo>
                <a:lnTo>
                  <a:pt x="2676829" y="253473"/>
                </a:lnTo>
                <a:lnTo>
                  <a:pt x="2676829" y="270641"/>
                </a:lnTo>
                <a:lnTo>
                  <a:pt x="2621635" y="362666"/>
                </a:lnTo>
                <a:cubicBezTo>
                  <a:pt x="2422809" y="642047"/>
                  <a:pt x="2096386" y="824607"/>
                  <a:pt x="1728128" y="824607"/>
                </a:cubicBezTo>
                <a:close/>
                <a:moveTo>
                  <a:pt x="1728128" y="1042900"/>
                </a:moveTo>
                <a:cubicBezTo>
                  <a:pt x="1139303" y="1042900"/>
                  <a:pt x="639671" y="653672"/>
                  <a:pt x="473009" y="118996"/>
                </a:cubicBezTo>
                <a:lnTo>
                  <a:pt x="442340" y="0"/>
                </a:lnTo>
                <a:lnTo>
                  <a:pt x="451457" y="0"/>
                </a:lnTo>
                <a:lnTo>
                  <a:pt x="481451" y="116374"/>
                </a:lnTo>
                <a:cubicBezTo>
                  <a:pt x="646989" y="647457"/>
                  <a:pt x="1143255" y="1034060"/>
                  <a:pt x="1728128" y="1034060"/>
                </a:cubicBezTo>
                <a:cubicBezTo>
                  <a:pt x="2093674" y="1034060"/>
                  <a:pt x="2424607" y="883043"/>
                  <a:pt x="2661817" y="640122"/>
                </a:cubicBezTo>
                <a:lnTo>
                  <a:pt x="2676829" y="622156"/>
                </a:lnTo>
                <a:lnTo>
                  <a:pt x="2676829" y="635887"/>
                </a:lnTo>
                <a:lnTo>
                  <a:pt x="2668136" y="646290"/>
                </a:lnTo>
                <a:cubicBezTo>
                  <a:pt x="2429319" y="890858"/>
                  <a:pt x="2096144" y="1042900"/>
                  <a:pt x="1728128" y="1042900"/>
                </a:cubicBezTo>
                <a:close/>
                <a:moveTo>
                  <a:pt x="1728128" y="1261225"/>
                </a:moveTo>
                <a:cubicBezTo>
                  <a:pt x="988669" y="1261225"/>
                  <a:pt x="369842" y="734830"/>
                  <a:pt x="226689" y="37084"/>
                </a:cubicBezTo>
                <a:lnTo>
                  <a:pt x="221014" y="0"/>
                </a:lnTo>
                <a:lnTo>
                  <a:pt x="229972" y="0"/>
                </a:lnTo>
                <a:lnTo>
                  <a:pt x="235381" y="35337"/>
                </a:lnTo>
                <a:cubicBezTo>
                  <a:pt x="377706" y="729058"/>
                  <a:pt x="992954" y="1252385"/>
                  <a:pt x="1728128" y="1252385"/>
                </a:cubicBezTo>
                <a:cubicBezTo>
                  <a:pt x="2003818" y="1252385"/>
                  <a:pt x="2262647" y="1178789"/>
                  <a:pt x="2485997" y="1050211"/>
                </a:cubicBezTo>
                <a:lnTo>
                  <a:pt x="2676829" y="917868"/>
                </a:lnTo>
                <a:lnTo>
                  <a:pt x="2676829" y="928586"/>
                </a:lnTo>
                <a:lnTo>
                  <a:pt x="2490404" y="1057875"/>
                </a:lnTo>
                <a:cubicBezTo>
                  <a:pt x="2265757" y="1187201"/>
                  <a:pt x="2005424" y="1261225"/>
                  <a:pt x="1728128" y="1261225"/>
                </a:cubicBezTo>
                <a:close/>
                <a:moveTo>
                  <a:pt x="1728128" y="1479550"/>
                </a:moveTo>
                <a:cubicBezTo>
                  <a:pt x="1260061" y="1479550"/>
                  <a:pt x="820232" y="1297539"/>
                  <a:pt x="489724" y="966998"/>
                </a:cubicBezTo>
                <a:cubicBezTo>
                  <a:pt x="241843" y="719117"/>
                  <a:pt x="77472" y="409743"/>
                  <a:pt x="10780" y="73082"/>
                </a:cubicBezTo>
                <a:lnTo>
                  <a:pt x="0" y="0"/>
                </a:lnTo>
                <a:lnTo>
                  <a:pt x="9371" y="0"/>
                </a:lnTo>
                <a:lnTo>
                  <a:pt x="21499" y="79242"/>
                </a:lnTo>
                <a:cubicBezTo>
                  <a:pt x="184216" y="872342"/>
                  <a:pt x="887615" y="1470678"/>
                  <a:pt x="1728128" y="1470678"/>
                </a:cubicBezTo>
                <a:cubicBezTo>
                  <a:pt x="1998293" y="1470678"/>
                  <a:pt x="2254291" y="1408860"/>
                  <a:pt x="2482722" y="1298627"/>
                </a:cubicBezTo>
                <a:lnTo>
                  <a:pt x="2676829" y="1186929"/>
                </a:lnTo>
                <a:lnTo>
                  <a:pt x="2676829" y="1200071"/>
                </a:lnTo>
                <a:lnTo>
                  <a:pt x="2552876" y="1274416"/>
                </a:lnTo>
                <a:cubicBezTo>
                  <a:pt x="2302197" y="1408440"/>
                  <a:pt x="2020690" y="1479550"/>
                  <a:pt x="1728128" y="1479550"/>
                </a:cubicBezTo>
                <a:close/>
              </a:path>
            </a:pathLst>
          </a:custGeom>
          <a:solidFill>
            <a:schemeClr val="accent1">
              <a:lumMod val="40000"/>
              <a:lumOff val="60000"/>
              <a:alpha val="48000"/>
            </a:schemeClr>
          </a:solidFill>
          <a:ln w="2142" cap="flat">
            <a:noFill/>
            <a:prstDash val="solid"/>
            <a:miter/>
          </a:ln>
        </p:spPr>
        <p:txBody>
          <a:bodyPr wrap="square"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000000"/>
              </a:solidFill>
              <a:effectLst/>
              <a:uLnTx/>
              <a:uFillTx/>
            </a:endParaRPr>
          </a:p>
        </p:txBody>
      </p:sp>
      <p:grpSp>
        <p:nvGrpSpPr>
          <p:cNvPr id="9" name="Group 8">
            <a:extLst>
              <a:ext uri="{FF2B5EF4-FFF2-40B4-BE49-F238E27FC236}">
                <a16:creationId xmlns:a16="http://schemas.microsoft.com/office/drawing/2014/main" id="{D046673F-EFCC-66CB-AEAF-B419CC2FA3B1}"/>
              </a:ext>
            </a:extLst>
          </p:cNvPr>
          <p:cNvGrpSpPr/>
          <p:nvPr userDrawn="1"/>
        </p:nvGrpSpPr>
        <p:grpSpPr>
          <a:xfrm>
            <a:off x="0" y="1250682"/>
            <a:ext cx="12192000" cy="0"/>
            <a:chOff x="0" y="1250682"/>
            <a:chExt cx="12192000" cy="0"/>
          </a:xfrm>
        </p:grpSpPr>
        <p:cxnSp>
          <p:nvCxnSpPr>
            <p:cNvPr id="11" name="Straight Connector 10">
              <a:extLst>
                <a:ext uri="{FF2B5EF4-FFF2-40B4-BE49-F238E27FC236}">
                  <a16:creationId xmlns:a16="http://schemas.microsoft.com/office/drawing/2014/main" id="{FC8CEF44-1570-427B-4750-E7BF06261179}"/>
                </a:ext>
              </a:extLst>
            </p:cNvPr>
            <p:cNvCxnSpPr>
              <a:cxnSpLocks/>
            </p:cNvCxnSpPr>
            <p:nvPr userDrawn="1"/>
          </p:nvCxnSpPr>
          <p:spPr>
            <a:xfrm>
              <a:off x="2693443" y="1250682"/>
              <a:ext cx="6633353" cy="0"/>
            </a:xfrm>
            <a:prstGeom prst="line">
              <a:avLst/>
            </a:prstGeom>
            <a:ln w="15875" cap="rnd">
              <a:solidFill>
                <a:schemeClr val="accent1"/>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3CB86D1-F6F9-66C4-8F31-F19ECD3B8F65}"/>
                </a:ext>
              </a:extLst>
            </p:cNvPr>
            <p:cNvCxnSpPr>
              <a:cxnSpLocks/>
            </p:cNvCxnSpPr>
            <p:nvPr userDrawn="1"/>
          </p:nvCxnSpPr>
          <p:spPr>
            <a:xfrm>
              <a:off x="0" y="1250682"/>
              <a:ext cx="2651760" cy="0"/>
            </a:xfrm>
            <a:prstGeom prst="line">
              <a:avLst/>
            </a:prstGeom>
            <a:ln w="15875" cap="rnd">
              <a:solidFill>
                <a:schemeClr val="accent1"/>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2624CEEC-B416-B6D1-9B65-FD3F3C481660}"/>
                </a:ext>
              </a:extLst>
            </p:cNvPr>
            <p:cNvCxnSpPr>
              <a:cxnSpLocks/>
            </p:cNvCxnSpPr>
            <p:nvPr userDrawn="1"/>
          </p:nvCxnSpPr>
          <p:spPr>
            <a:xfrm>
              <a:off x="9368480" y="1250682"/>
              <a:ext cx="2823520" cy="0"/>
            </a:xfrm>
            <a:prstGeom prst="line">
              <a:avLst/>
            </a:prstGeom>
            <a:ln w="15875" cap="rnd">
              <a:solidFill>
                <a:schemeClr val="accent1">
                  <a:lumMod val="20000"/>
                  <a:lumOff val="80000"/>
                </a:schemeClr>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55917352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Freeform: Shape 2">
            <a:extLst>
              <a:ext uri="{FF2B5EF4-FFF2-40B4-BE49-F238E27FC236}">
                <a16:creationId xmlns:a16="http://schemas.microsoft.com/office/drawing/2014/main" id="{E37DCF91-72F1-C435-F7C4-F6E94B1A263F}"/>
              </a:ext>
            </a:extLst>
          </p:cNvPr>
          <p:cNvSpPr/>
          <p:nvPr userDrawn="1"/>
        </p:nvSpPr>
        <p:spPr>
          <a:xfrm flipH="1">
            <a:off x="0" y="4787899"/>
            <a:ext cx="12191996" cy="2070099"/>
          </a:xfrm>
          <a:custGeom>
            <a:avLst/>
            <a:gdLst>
              <a:gd name="connsiteX0" fmla="*/ 795455 w 10215358"/>
              <a:gd name="connsiteY0" fmla="*/ 462 h 2727805"/>
              <a:gd name="connsiteX1" fmla="*/ 499463 w 10215358"/>
              <a:gd name="connsiteY1" fmla="*/ 24353 h 2727805"/>
              <a:gd name="connsiteX2" fmla="*/ 95236 w 10215358"/>
              <a:gd name="connsiteY2" fmla="*/ 119650 h 2727805"/>
              <a:gd name="connsiteX3" fmla="*/ 0 w 10215358"/>
              <a:gd name="connsiteY3" fmla="*/ 157430 h 2727805"/>
              <a:gd name="connsiteX4" fmla="*/ 0 w 10215358"/>
              <a:gd name="connsiteY4" fmla="*/ 2727805 h 2727805"/>
              <a:gd name="connsiteX5" fmla="*/ 10215358 w 10215358"/>
              <a:gd name="connsiteY5" fmla="*/ 2727805 h 2727805"/>
              <a:gd name="connsiteX6" fmla="*/ 10144639 w 10215358"/>
              <a:gd name="connsiteY6" fmla="*/ 2558390 h 2727805"/>
              <a:gd name="connsiteX7" fmla="*/ 7779224 w 10215358"/>
              <a:gd name="connsiteY7" fmla="*/ 1469756 h 2727805"/>
              <a:gd name="connsiteX8" fmla="*/ 4355227 w 10215358"/>
              <a:gd name="connsiteY8" fmla="*/ 2122885 h 2727805"/>
              <a:gd name="connsiteX9" fmla="*/ 795455 w 10215358"/>
              <a:gd name="connsiteY9" fmla="*/ 462 h 2727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215358" h="2727805">
                <a:moveTo>
                  <a:pt x="795455" y="462"/>
                </a:moveTo>
                <a:cubicBezTo>
                  <a:pt x="698656" y="2360"/>
                  <a:pt x="600035" y="10149"/>
                  <a:pt x="499463" y="24353"/>
                </a:cubicBezTo>
                <a:cubicBezTo>
                  <a:pt x="355761" y="44646"/>
                  <a:pt x="220974" y="76809"/>
                  <a:pt x="95236" y="119650"/>
                </a:cubicBezTo>
                <a:lnTo>
                  <a:pt x="0" y="157430"/>
                </a:lnTo>
                <a:lnTo>
                  <a:pt x="0" y="2727805"/>
                </a:lnTo>
                <a:lnTo>
                  <a:pt x="10215358" y="2727805"/>
                </a:lnTo>
                <a:lnTo>
                  <a:pt x="10144639" y="2558390"/>
                </a:lnTo>
                <a:cubicBezTo>
                  <a:pt x="9781843" y="1762373"/>
                  <a:pt x="8946083" y="1086740"/>
                  <a:pt x="7779224" y="1469756"/>
                </a:cubicBezTo>
                <a:cubicBezTo>
                  <a:pt x="6647424" y="1841299"/>
                  <a:pt x="5731723" y="3225843"/>
                  <a:pt x="4355227" y="2122885"/>
                </a:cubicBezTo>
                <a:cubicBezTo>
                  <a:pt x="3289527" y="1268936"/>
                  <a:pt x="2247448" y="-28013"/>
                  <a:pt x="795455" y="462"/>
                </a:cubicBezTo>
                <a:close/>
              </a:path>
            </a:pathLst>
          </a:custGeom>
          <a:gradFill flip="none" rotWithShape="1">
            <a:gsLst>
              <a:gs pos="29000">
                <a:srgbClr val="E1F2FF">
                  <a:alpha val="21000"/>
                </a:srgbClr>
              </a:gs>
              <a:gs pos="0">
                <a:schemeClr val="bg1">
                  <a:alpha val="8000"/>
                </a:schemeClr>
              </a:gs>
              <a:gs pos="54000">
                <a:schemeClr val="accent1">
                  <a:lumMod val="40000"/>
                  <a:lumOff val="60000"/>
                  <a:alpha val="0"/>
                </a:schemeClr>
              </a:gs>
              <a:gs pos="100000">
                <a:schemeClr val="bg1">
                  <a:alpha val="50000"/>
                </a:schemeClr>
              </a:gs>
            </a:gsLst>
            <a:lin ang="10800000" scaled="1"/>
            <a:tileRect/>
          </a:gradFill>
          <a:ln w="214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EB4A352D-5B23-CDE4-330A-E65CF1835B85}"/>
              </a:ext>
            </a:extLst>
          </p:cNvPr>
          <p:cNvSpPr/>
          <p:nvPr userDrawn="1"/>
        </p:nvSpPr>
        <p:spPr>
          <a:xfrm flipH="1" flipV="1">
            <a:off x="0" y="5378450"/>
            <a:ext cx="2676829" cy="1479550"/>
          </a:xfrm>
          <a:custGeom>
            <a:avLst/>
            <a:gdLst>
              <a:gd name="connsiteX0" fmla="*/ 1728128 w 2676829"/>
              <a:gd name="connsiteY0" fmla="*/ 606282 h 1479550"/>
              <a:gd name="connsiteX1" fmla="*/ 919525 w 2676829"/>
              <a:gd name="connsiteY1" fmla="*/ 69905 h 1479550"/>
              <a:gd name="connsiteX2" fmla="*/ 893889 w 2676829"/>
              <a:gd name="connsiteY2" fmla="*/ 0 h 1479550"/>
              <a:gd name="connsiteX3" fmla="*/ 903310 w 2676829"/>
              <a:gd name="connsiteY3" fmla="*/ 0 h 1479550"/>
              <a:gd name="connsiteX4" fmla="*/ 927695 w 2676829"/>
              <a:gd name="connsiteY4" fmla="*/ 66498 h 1479550"/>
              <a:gd name="connsiteX5" fmla="*/ 1728128 w 2676829"/>
              <a:gd name="connsiteY5" fmla="*/ 597442 h 1479550"/>
              <a:gd name="connsiteX6" fmla="*/ 2528587 w 2676829"/>
              <a:gd name="connsiteY6" fmla="*/ 66485 h 1479550"/>
              <a:gd name="connsiteX7" fmla="*/ 2552969 w 2676829"/>
              <a:gd name="connsiteY7" fmla="*/ 0 h 1479550"/>
              <a:gd name="connsiteX8" fmla="*/ 2562369 w 2676829"/>
              <a:gd name="connsiteY8" fmla="*/ 0 h 1479550"/>
              <a:gd name="connsiteX9" fmla="*/ 2536735 w 2676829"/>
              <a:gd name="connsiteY9" fmla="*/ 69905 h 1479550"/>
              <a:gd name="connsiteX10" fmla="*/ 1728128 w 2676829"/>
              <a:gd name="connsiteY10" fmla="*/ 606282 h 1479550"/>
              <a:gd name="connsiteX11" fmla="*/ 1728128 w 2676829"/>
              <a:gd name="connsiteY11" fmla="*/ 824607 h 1479550"/>
              <a:gd name="connsiteX12" fmla="*/ 681500 w 2676829"/>
              <a:gd name="connsiteY12" fmla="*/ 54175 h 1479550"/>
              <a:gd name="connsiteX13" fmla="*/ 667538 w 2676829"/>
              <a:gd name="connsiteY13" fmla="*/ 0 h 1479550"/>
              <a:gd name="connsiteX14" fmla="*/ 676665 w 2676829"/>
              <a:gd name="connsiteY14" fmla="*/ 0 h 1479550"/>
              <a:gd name="connsiteX15" fmla="*/ 689944 w 2676829"/>
              <a:gd name="connsiteY15" fmla="*/ 51521 h 1479550"/>
              <a:gd name="connsiteX16" fmla="*/ 1728128 w 2676829"/>
              <a:gd name="connsiteY16" fmla="*/ 815736 h 1479550"/>
              <a:gd name="connsiteX17" fmla="*/ 2614431 w 2676829"/>
              <a:gd name="connsiteY17" fmla="*/ 357511 h 1479550"/>
              <a:gd name="connsiteX18" fmla="*/ 2676829 w 2676829"/>
              <a:gd name="connsiteY18" fmla="*/ 253473 h 1479550"/>
              <a:gd name="connsiteX19" fmla="*/ 2676829 w 2676829"/>
              <a:gd name="connsiteY19" fmla="*/ 270641 h 1479550"/>
              <a:gd name="connsiteX20" fmla="*/ 2621635 w 2676829"/>
              <a:gd name="connsiteY20" fmla="*/ 362666 h 1479550"/>
              <a:gd name="connsiteX21" fmla="*/ 1728128 w 2676829"/>
              <a:gd name="connsiteY21" fmla="*/ 824607 h 1479550"/>
              <a:gd name="connsiteX22" fmla="*/ 1728128 w 2676829"/>
              <a:gd name="connsiteY22" fmla="*/ 1042900 h 1479550"/>
              <a:gd name="connsiteX23" fmla="*/ 473009 w 2676829"/>
              <a:gd name="connsiteY23" fmla="*/ 118996 h 1479550"/>
              <a:gd name="connsiteX24" fmla="*/ 442340 w 2676829"/>
              <a:gd name="connsiteY24" fmla="*/ 0 h 1479550"/>
              <a:gd name="connsiteX25" fmla="*/ 451457 w 2676829"/>
              <a:gd name="connsiteY25" fmla="*/ 0 h 1479550"/>
              <a:gd name="connsiteX26" fmla="*/ 481451 w 2676829"/>
              <a:gd name="connsiteY26" fmla="*/ 116374 h 1479550"/>
              <a:gd name="connsiteX27" fmla="*/ 1728128 w 2676829"/>
              <a:gd name="connsiteY27" fmla="*/ 1034060 h 1479550"/>
              <a:gd name="connsiteX28" fmla="*/ 2661817 w 2676829"/>
              <a:gd name="connsiteY28" fmla="*/ 640122 h 1479550"/>
              <a:gd name="connsiteX29" fmla="*/ 2676829 w 2676829"/>
              <a:gd name="connsiteY29" fmla="*/ 622156 h 1479550"/>
              <a:gd name="connsiteX30" fmla="*/ 2676829 w 2676829"/>
              <a:gd name="connsiteY30" fmla="*/ 635887 h 1479550"/>
              <a:gd name="connsiteX31" fmla="*/ 2668136 w 2676829"/>
              <a:gd name="connsiteY31" fmla="*/ 646290 h 1479550"/>
              <a:gd name="connsiteX32" fmla="*/ 1728128 w 2676829"/>
              <a:gd name="connsiteY32" fmla="*/ 1042900 h 1479550"/>
              <a:gd name="connsiteX33" fmla="*/ 1728128 w 2676829"/>
              <a:gd name="connsiteY33" fmla="*/ 1261225 h 1479550"/>
              <a:gd name="connsiteX34" fmla="*/ 226689 w 2676829"/>
              <a:gd name="connsiteY34" fmla="*/ 37084 h 1479550"/>
              <a:gd name="connsiteX35" fmla="*/ 221014 w 2676829"/>
              <a:gd name="connsiteY35" fmla="*/ 0 h 1479550"/>
              <a:gd name="connsiteX36" fmla="*/ 229972 w 2676829"/>
              <a:gd name="connsiteY36" fmla="*/ 0 h 1479550"/>
              <a:gd name="connsiteX37" fmla="*/ 235381 w 2676829"/>
              <a:gd name="connsiteY37" fmla="*/ 35337 h 1479550"/>
              <a:gd name="connsiteX38" fmla="*/ 1728128 w 2676829"/>
              <a:gd name="connsiteY38" fmla="*/ 1252385 h 1479550"/>
              <a:gd name="connsiteX39" fmla="*/ 2485997 w 2676829"/>
              <a:gd name="connsiteY39" fmla="*/ 1050211 h 1479550"/>
              <a:gd name="connsiteX40" fmla="*/ 2676829 w 2676829"/>
              <a:gd name="connsiteY40" fmla="*/ 917868 h 1479550"/>
              <a:gd name="connsiteX41" fmla="*/ 2676829 w 2676829"/>
              <a:gd name="connsiteY41" fmla="*/ 928586 h 1479550"/>
              <a:gd name="connsiteX42" fmla="*/ 2490404 w 2676829"/>
              <a:gd name="connsiteY42" fmla="*/ 1057875 h 1479550"/>
              <a:gd name="connsiteX43" fmla="*/ 1728128 w 2676829"/>
              <a:gd name="connsiteY43" fmla="*/ 1261225 h 1479550"/>
              <a:gd name="connsiteX44" fmla="*/ 1728128 w 2676829"/>
              <a:gd name="connsiteY44" fmla="*/ 1479550 h 1479550"/>
              <a:gd name="connsiteX45" fmla="*/ 489724 w 2676829"/>
              <a:gd name="connsiteY45" fmla="*/ 966998 h 1479550"/>
              <a:gd name="connsiteX46" fmla="*/ 10780 w 2676829"/>
              <a:gd name="connsiteY46" fmla="*/ 73082 h 1479550"/>
              <a:gd name="connsiteX47" fmla="*/ 0 w 2676829"/>
              <a:gd name="connsiteY47" fmla="*/ 0 h 1479550"/>
              <a:gd name="connsiteX48" fmla="*/ 9371 w 2676829"/>
              <a:gd name="connsiteY48" fmla="*/ 0 h 1479550"/>
              <a:gd name="connsiteX49" fmla="*/ 21499 w 2676829"/>
              <a:gd name="connsiteY49" fmla="*/ 79242 h 1479550"/>
              <a:gd name="connsiteX50" fmla="*/ 1728128 w 2676829"/>
              <a:gd name="connsiteY50" fmla="*/ 1470678 h 1479550"/>
              <a:gd name="connsiteX51" fmla="*/ 2482722 w 2676829"/>
              <a:gd name="connsiteY51" fmla="*/ 1298627 h 1479550"/>
              <a:gd name="connsiteX52" fmla="*/ 2676829 w 2676829"/>
              <a:gd name="connsiteY52" fmla="*/ 1186929 h 1479550"/>
              <a:gd name="connsiteX53" fmla="*/ 2676829 w 2676829"/>
              <a:gd name="connsiteY53" fmla="*/ 1200071 h 1479550"/>
              <a:gd name="connsiteX54" fmla="*/ 2552876 w 2676829"/>
              <a:gd name="connsiteY54" fmla="*/ 1274416 h 1479550"/>
              <a:gd name="connsiteX55" fmla="*/ 1728128 w 2676829"/>
              <a:gd name="connsiteY55" fmla="*/ 1479550 h 1479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2676829" h="1479550">
                <a:moveTo>
                  <a:pt x="1728128" y="606282"/>
                </a:moveTo>
                <a:cubicBezTo>
                  <a:pt x="1365177" y="606282"/>
                  <a:pt x="1052953" y="384813"/>
                  <a:pt x="919525" y="69905"/>
                </a:cubicBezTo>
                <a:lnTo>
                  <a:pt x="893889" y="0"/>
                </a:lnTo>
                <a:lnTo>
                  <a:pt x="903310" y="0"/>
                </a:lnTo>
                <a:lnTo>
                  <a:pt x="927695" y="66498"/>
                </a:lnTo>
                <a:cubicBezTo>
                  <a:pt x="1059768" y="378226"/>
                  <a:pt x="1368827" y="597442"/>
                  <a:pt x="1728128" y="597442"/>
                </a:cubicBezTo>
                <a:cubicBezTo>
                  <a:pt x="2087428" y="597442"/>
                  <a:pt x="2396505" y="378208"/>
                  <a:pt x="2528587" y="66485"/>
                </a:cubicBezTo>
                <a:lnTo>
                  <a:pt x="2552969" y="0"/>
                </a:lnTo>
                <a:lnTo>
                  <a:pt x="2562369" y="0"/>
                </a:lnTo>
                <a:lnTo>
                  <a:pt x="2536735" y="69905"/>
                </a:lnTo>
                <a:cubicBezTo>
                  <a:pt x="2403314" y="384813"/>
                  <a:pt x="2091102" y="606282"/>
                  <a:pt x="1728128" y="606282"/>
                </a:cubicBezTo>
                <a:close/>
                <a:moveTo>
                  <a:pt x="1728128" y="824607"/>
                </a:moveTo>
                <a:cubicBezTo>
                  <a:pt x="1237092" y="824607"/>
                  <a:pt x="820470" y="500034"/>
                  <a:pt x="681500" y="54175"/>
                </a:cubicBezTo>
                <a:lnTo>
                  <a:pt x="667538" y="0"/>
                </a:lnTo>
                <a:lnTo>
                  <a:pt x="676665" y="0"/>
                </a:lnTo>
                <a:lnTo>
                  <a:pt x="689944" y="51521"/>
                </a:lnTo>
                <a:cubicBezTo>
                  <a:pt x="827798" y="493787"/>
                  <a:pt x="1241070" y="815736"/>
                  <a:pt x="1728128" y="815736"/>
                </a:cubicBezTo>
                <a:cubicBezTo>
                  <a:pt x="2093422" y="815736"/>
                  <a:pt x="2417210" y="634640"/>
                  <a:pt x="2614431" y="357511"/>
                </a:cubicBezTo>
                <a:lnTo>
                  <a:pt x="2676829" y="253473"/>
                </a:lnTo>
                <a:lnTo>
                  <a:pt x="2676829" y="270641"/>
                </a:lnTo>
                <a:lnTo>
                  <a:pt x="2621635" y="362666"/>
                </a:lnTo>
                <a:cubicBezTo>
                  <a:pt x="2422809" y="642047"/>
                  <a:pt x="2096386" y="824607"/>
                  <a:pt x="1728128" y="824607"/>
                </a:cubicBezTo>
                <a:close/>
                <a:moveTo>
                  <a:pt x="1728128" y="1042900"/>
                </a:moveTo>
                <a:cubicBezTo>
                  <a:pt x="1139303" y="1042900"/>
                  <a:pt x="639671" y="653672"/>
                  <a:pt x="473009" y="118996"/>
                </a:cubicBezTo>
                <a:lnTo>
                  <a:pt x="442340" y="0"/>
                </a:lnTo>
                <a:lnTo>
                  <a:pt x="451457" y="0"/>
                </a:lnTo>
                <a:lnTo>
                  <a:pt x="481451" y="116374"/>
                </a:lnTo>
                <a:cubicBezTo>
                  <a:pt x="646989" y="647457"/>
                  <a:pt x="1143255" y="1034060"/>
                  <a:pt x="1728128" y="1034060"/>
                </a:cubicBezTo>
                <a:cubicBezTo>
                  <a:pt x="2093674" y="1034060"/>
                  <a:pt x="2424607" y="883043"/>
                  <a:pt x="2661817" y="640122"/>
                </a:cubicBezTo>
                <a:lnTo>
                  <a:pt x="2676829" y="622156"/>
                </a:lnTo>
                <a:lnTo>
                  <a:pt x="2676829" y="635887"/>
                </a:lnTo>
                <a:lnTo>
                  <a:pt x="2668136" y="646290"/>
                </a:lnTo>
                <a:cubicBezTo>
                  <a:pt x="2429319" y="890858"/>
                  <a:pt x="2096144" y="1042900"/>
                  <a:pt x="1728128" y="1042900"/>
                </a:cubicBezTo>
                <a:close/>
                <a:moveTo>
                  <a:pt x="1728128" y="1261225"/>
                </a:moveTo>
                <a:cubicBezTo>
                  <a:pt x="988669" y="1261225"/>
                  <a:pt x="369842" y="734830"/>
                  <a:pt x="226689" y="37084"/>
                </a:cubicBezTo>
                <a:lnTo>
                  <a:pt x="221014" y="0"/>
                </a:lnTo>
                <a:lnTo>
                  <a:pt x="229972" y="0"/>
                </a:lnTo>
                <a:lnTo>
                  <a:pt x="235381" y="35337"/>
                </a:lnTo>
                <a:cubicBezTo>
                  <a:pt x="377706" y="729058"/>
                  <a:pt x="992954" y="1252385"/>
                  <a:pt x="1728128" y="1252385"/>
                </a:cubicBezTo>
                <a:cubicBezTo>
                  <a:pt x="2003818" y="1252385"/>
                  <a:pt x="2262647" y="1178789"/>
                  <a:pt x="2485997" y="1050211"/>
                </a:cubicBezTo>
                <a:lnTo>
                  <a:pt x="2676829" y="917868"/>
                </a:lnTo>
                <a:lnTo>
                  <a:pt x="2676829" y="928586"/>
                </a:lnTo>
                <a:lnTo>
                  <a:pt x="2490404" y="1057875"/>
                </a:lnTo>
                <a:cubicBezTo>
                  <a:pt x="2265757" y="1187201"/>
                  <a:pt x="2005424" y="1261225"/>
                  <a:pt x="1728128" y="1261225"/>
                </a:cubicBezTo>
                <a:close/>
                <a:moveTo>
                  <a:pt x="1728128" y="1479550"/>
                </a:moveTo>
                <a:cubicBezTo>
                  <a:pt x="1260061" y="1479550"/>
                  <a:pt x="820232" y="1297539"/>
                  <a:pt x="489724" y="966998"/>
                </a:cubicBezTo>
                <a:cubicBezTo>
                  <a:pt x="241843" y="719117"/>
                  <a:pt x="77472" y="409743"/>
                  <a:pt x="10780" y="73082"/>
                </a:cubicBezTo>
                <a:lnTo>
                  <a:pt x="0" y="0"/>
                </a:lnTo>
                <a:lnTo>
                  <a:pt x="9371" y="0"/>
                </a:lnTo>
                <a:lnTo>
                  <a:pt x="21499" y="79242"/>
                </a:lnTo>
                <a:cubicBezTo>
                  <a:pt x="184216" y="872342"/>
                  <a:pt x="887615" y="1470678"/>
                  <a:pt x="1728128" y="1470678"/>
                </a:cubicBezTo>
                <a:cubicBezTo>
                  <a:pt x="1998293" y="1470678"/>
                  <a:pt x="2254291" y="1408860"/>
                  <a:pt x="2482722" y="1298627"/>
                </a:cubicBezTo>
                <a:lnTo>
                  <a:pt x="2676829" y="1186929"/>
                </a:lnTo>
                <a:lnTo>
                  <a:pt x="2676829" y="1200071"/>
                </a:lnTo>
                <a:lnTo>
                  <a:pt x="2552876" y="1274416"/>
                </a:lnTo>
                <a:cubicBezTo>
                  <a:pt x="2302197" y="1408440"/>
                  <a:pt x="2020690" y="1479550"/>
                  <a:pt x="1728128" y="1479550"/>
                </a:cubicBezTo>
                <a:close/>
              </a:path>
            </a:pathLst>
          </a:custGeom>
          <a:solidFill>
            <a:schemeClr val="accent1">
              <a:lumMod val="40000"/>
              <a:lumOff val="60000"/>
              <a:alpha val="48000"/>
            </a:schemeClr>
          </a:solidFill>
          <a:ln w="2142" cap="flat">
            <a:noFill/>
            <a:prstDash val="solid"/>
            <a:miter/>
          </a:ln>
        </p:spPr>
        <p:txBody>
          <a:bodyPr wrap="square"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000000"/>
              </a:solidFill>
              <a:effectLst/>
              <a:uLnTx/>
              <a:uFillTx/>
            </a:endParaRPr>
          </a:p>
        </p:txBody>
      </p:sp>
      <p:grpSp>
        <p:nvGrpSpPr>
          <p:cNvPr id="23" name="Group 22">
            <a:extLst>
              <a:ext uri="{FF2B5EF4-FFF2-40B4-BE49-F238E27FC236}">
                <a16:creationId xmlns:a16="http://schemas.microsoft.com/office/drawing/2014/main" id="{988BA278-3275-E144-9C2C-ECA370E1AE12}"/>
              </a:ext>
            </a:extLst>
          </p:cNvPr>
          <p:cNvGrpSpPr/>
          <p:nvPr userDrawn="1"/>
        </p:nvGrpSpPr>
        <p:grpSpPr>
          <a:xfrm>
            <a:off x="0" y="1250682"/>
            <a:ext cx="12192000" cy="0"/>
            <a:chOff x="0" y="1250682"/>
            <a:chExt cx="12192000" cy="0"/>
          </a:xfrm>
        </p:grpSpPr>
        <p:cxnSp>
          <p:nvCxnSpPr>
            <p:cNvPr id="9" name="Straight Connector 8">
              <a:extLst>
                <a:ext uri="{FF2B5EF4-FFF2-40B4-BE49-F238E27FC236}">
                  <a16:creationId xmlns:a16="http://schemas.microsoft.com/office/drawing/2014/main" id="{5F58EB7C-AC66-DC4C-6E67-C601972F8141}"/>
                </a:ext>
              </a:extLst>
            </p:cNvPr>
            <p:cNvCxnSpPr>
              <a:cxnSpLocks/>
            </p:cNvCxnSpPr>
            <p:nvPr userDrawn="1"/>
          </p:nvCxnSpPr>
          <p:spPr>
            <a:xfrm>
              <a:off x="2693443" y="1250682"/>
              <a:ext cx="6633353" cy="0"/>
            </a:xfrm>
            <a:prstGeom prst="line">
              <a:avLst/>
            </a:prstGeom>
            <a:ln w="15875" cap="rnd">
              <a:solidFill>
                <a:schemeClr val="accent1"/>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5F3798F7-E180-C4EE-51A6-FDE166525806}"/>
                </a:ext>
              </a:extLst>
            </p:cNvPr>
            <p:cNvCxnSpPr>
              <a:cxnSpLocks/>
            </p:cNvCxnSpPr>
            <p:nvPr userDrawn="1"/>
          </p:nvCxnSpPr>
          <p:spPr>
            <a:xfrm>
              <a:off x="0" y="1250682"/>
              <a:ext cx="2651760" cy="0"/>
            </a:xfrm>
            <a:prstGeom prst="line">
              <a:avLst/>
            </a:prstGeom>
            <a:ln w="15875" cap="rnd">
              <a:solidFill>
                <a:schemeClr val="accent1"/>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0E6D76E5-380D-E060-4DD2-B7E701AA43CA}"/>
                </a:ext>
              </a:extLst>
            </p:cNvPr>
            <p:cNvCxnSpPr>
              <a:cxnSpLocks/>
            </p:cNvCxnSpPr>
            <p:nvPr userDrawn="1"/>
          </p:nvCxnSpPr>
          <p:spPr>
            <a:xfrm>
              <a:off x="9368480" y="1250682"/>
              <a:ext cx="2823520" cy="0"/>
            </a:xfrm>
            <a:prstGeom prst="line">
              <a:avLst/>
            </a:prstGeom>
            <a:ln w="15875" cap="rnd">
              <a:solidFill>
                <a:schemeClr val="accent1">
                  <a:lumMod val="20000"/>
                  <a:lumOff val="80000"/>
                </a:schemeClr>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66548221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0393670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225483117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01443042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Header Background Title and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01109616-29F5-2A48-AD26-C036688E660A}"/>
              </a:ext>
            </a:extLst>
          </p:cNvPr>
          <p:cNvSpPr/>
          <p:nvPr/>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11018520" cy="553998"/>
          </a:xfrm>
        </p:spPr>
        <p:txBody>
          <a:bodyPr anchor="ctr"/>
          <a:lstStyle>
            <a:lvl1pPr>
              <a:defRPr>
                <a:solidFill>
                  <a:schemeClr val="accent3"/>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844675"/>
            <a:ext cx="11018838" cy="4424363"/>
          </a:xfrm>
        </p:spPr>
        <p:txBody>
          <a:bodyPr/>
          <a:lstStyle>
            <a:lvl1pPr marL="0" indent="0">
              <a:buNone/>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31228276"/>
      </p:ext>
    </p:extLst>
  </p:cSld>
  <p:clrMapOvr>
    <a:masterClrMapping/>
  </p:clrMapOvr>
  <p:transition>
    <p:fade/>
  </p:transition>
  <p:extLst>
    <p:ext uri="{DCECCB84-F9BA-43D5-87BE-67443E8EF086}">
      <p15:sldGuideLst xmlns:p15="http://schemas.microsoft.com/office/powerpoint/2012/main">
        <p15:guide id="2" orient="horz" pos="1162">
          <p15:clr>
            <a:srgbClr val="5ACBF0"/>
          </p15:clr>
        </p15:guide>
        <p15:guide id="3" orient="horz" pos="288">
          <p15:clr>
            <a:srgbClr val="5ACBF0"/>
          </p15:clr>
        </p15:guide>
        <p15:guide id="5" orient="horz" pos="904">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Header Background Two Column Bullet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D3A5130-10A1-954A-B139-8F920AB6EC86}"/>
              </a:ext>
            </a:extLst>
          </p:cNvPr>
          <p:cNvSpPr/>
          <p:nvPr/>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nchor="ctr"/>
          <a:lstStyle>
            <a:lvl1pPr>
              <a:defRPr>
                <a:solidFill>
                  <a:schemeClr val="accent3"/>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844674"/>
            <a:ext cx="5211763" cy="4424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844674"/>
            <a:ext cx="5219700" cy="4424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2692731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hree Column Bullet with Subtitles - gradient">
    <p:bg>
      <p:bgPr>
        <a:gradFill>
          <a:gsLst>
            <a:gs pos="0">
              <a:schemeClr val="bg1"/>
            </a:gs>
            <a:gs pos="100000">
              <a:schemeClr val="bg1">
                <a:lumMod val="85000"/>
                <a:alpha val="50000"/>
              </a:schemeClr>
            </a:gs>
          </a:gsLst>
          <a:lin ang="18900000" scaled="1"/>
        </a:gra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77113435"/>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Header Line 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nchor="ct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7" name="Straight Connector 6">
            <a:extLst>
              <a:ext uri="{FF2B5EF4-FFF2-40B4-BE49-F238E27FC236}">
                <a16:creationId xmlns:a16="http://schemas.microsoft.com/office/drawing/2014/main" id="{8EDAE969-6DFB-AD4B-A4BB-4C9D04F1489D}"/>
              </a:ext>
            </a:extLst>
          </p:cNvPr>
          <p:cNvCxnSpPr/>
          <p:nvPr/>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2839679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Header Line 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nchor="ctr"/>
          <a:lstStyle>
            <a:lvl1pPr>
              <a:defRPr>
                <a:solidFill>
                  <a:schemeClr val="tx1"/>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AE9361ED-1B01-E94D-9CDA-29127BEC918D}"/>
              </a:ext>
            </a:extLst>
          </p:cNvPr>
          <p:cNvCxnSpPr/>
          <p:nvPr/>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5760027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Header Line 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lstStyle>
            <a:lvl1pPr>
              <a:defRPr>
                <a:solidFill>
                  <a:schemeClr val="tx1"/>
                </a:solidFill>
              </a:defRPr>
            </a:lvl1p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6161C8D7-A314-D146-8B0F-88DAD8C243A2}"/>
              </a:ext>
            </a:extLst>
          </p:cNvPr>
          <p:cNvCxnSpPr/>
          <p:nvPr/>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025039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Header Line Four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cxnSp>
        <p:nvCxnSpPr>
          <p:cNvPr id="12" name="Straight Connector 11">
            <a:extLst>
              <a:ext uri="{FF2B5EF4-FFF2-40B4-BE49-F238E27FC236}">
                <a16:creationId xmlns:a16="http://schemas.microsoft.com/office/drawing/2014/main" id="{F6A269D7-BC15-0043-AAC1-8EE9E66292B3}"/>
              </a:ext>
            </a:extLst>
          </p:cNvPr>
          <p:cNvCxnSpPr/>
          <p:nvPr/>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64182657"/>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8721484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2626444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7458238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Title - Square Photo Left">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50285C0-813F-A744-BFD3-CF358EAC839C}"/>
              </a:ext>
            </a:extLst>
          </p:cNvPr>
          <p:cNvSpPr>
            <a:spLocks noGrp="1"/>
          </p:cNvSpPr>
          <p:nvPr>
            <p:ph type="pic" sz="quarter" idx="10"/>
          </p:nvPr>
        </p:nvSpPr>
        <p:spPr>
          <a:xfrm>
            <a:off x="0" y="0"/>
            <a:ext cx="6892925" cy="6858000"/>
          </a:xfrm>
        </p:spPr>
        <p:txBody>
          <a:bodyPr/>
          <a:lstStyle/>
          <a:p>
            <a:r>
              <a:rPr lang="en-US"/>
              <a:t>Click icon to add picture</a:t>
            </a:r>
          </a:p>
        </p:txBody>
      </p:sp>
      <p:sp>
        <p:nvSpPr>
          <p:cNvPr id="6" name="Title 1">
            <a:extLst>
              <a:ext uri="{FF2B5EF4-FFF2-40B4-BE49-F238E27FC236}">
                <a16:creationId xmlns:a16="http://schemas.microsoft.com/office/drawing/2014/main" id="{44B1F25D-69F5-D649-BBA0-613396C764AC}"/>
              </a:ext>
            </a:extLst>
          </p:cNvPr>
          <p:cNvSpPr>
            <a:spLocks noGrp="1"/>
          </p:cNvSpPr>
          <p:nvPr>
            <p:ph type="title" idx="4294967295"/>
          </p:nvPr>
        </p:nvSpPr>
        <p:spPr>
          <a:xfrm>
            <a:off x="7192963" y="457200"/>
            <a:ext cx="4416425" cy="553998"/>
          </a:xfrm>
        </p:spPr>
        <p:txBody>
          <a:bodyPr/>
          <a:lstStyle/>
          <a:p>
            <a:r>
              <a:rPr lang="en-US"/>
              <a:t>Click to edit Master title style</a:t>
            </a:r>
          </a:p>
        </p:txBody>
      </p:sp>
      <p:sp>
        <p:nvSpPr>
          <p:cNvPr id="10" name="Text Placeholder 9">
            <a:extLst>
              <a:ext uri="{FF2B5EF4-FFF2-40B4-BE49-F238E27FC236}">
                <a16:creationId xmlns:a16="http://schemas.microsoft.com/office/drawing/2014/main" id="{A8E421BE-E139-D243-8336-8A8C46F7F743}"/>
              </a:ext>
            </a:extLst>
          </p:cNvPr>
          <p:cNvSpPr>
            <a:spLocks noGrp="1"/>
          </p:cNvSpPr>
          <p:nvPr>
            <p:ph type="body" sz="quarter" idx="11"/>
          </p:nvPr>
        </p:nvSpPr>
        <p:spPr>
          <a:xfrm>
            <a:off x="7192963" y="1436688"/>
            <a:ext cx="3470275" cy="2043636"/>
          </a:xfrm>
        </p:spPr>
        <p:txBody>
          <a:bodyPr/>
          <a:lstStyle>
            <a:lvl1pPr marL="0" indent="0">
              <a:buFontTx/>
              <a:buNone/>
              <a:defRPr/>
            </a:lvl1pPr>
            <a:lvl2pPr marL="228600" indent="0">
              <a:buFontTx/>
              <a:buNone/>
              <a:defRPr/>
            </a:lvl2pPr>
            <a:lvl3pPr marL="457200" indent="0">
              <a:buFontTx/>
              <a:buNone/>
              <a:defRPr/>
            </a:lvl3pPr>
            <a:lvl4pPr marL="661988" indent="0">
              <a:buFontTx/>
              <a:buNone/>
              <a:defRPr/>
            </a:lvl4pPr>
            <a:lvl5pPr marL="855663"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9195719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8" pos="4342">
          <p15:clr>
            <a:srgbClr val="A4A3A4"/>
          </p15:clr>
        </p15:guide>
        <p15:guide id="19" pos="4531">
          <p15:clr>
            <a:srgbClr val="A4A3A4"/>
          </p15:clr>
        </p15:guide>
        <p15:guide id="28" orient="horz" pos="905">
          <p15:clr>
            <a:srgbClr val="5ACBF0"/>
          </p15:clr>
        </p15:guide>
        <p15:guide id="30" orient="horz" pos="288">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Title - Square Photo Right">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50285C0-813F-A744-BFD3-CF358EAC839C}"/>
              </a:ext>
            </a:extLst>
          </p:cNvPr>
          <p:cNvSpPr>
            <a:spLocks noGrp="1"/>
          </p:cNvSpPr>
          <p:nvPr>
            <p:ph type="pic" sz="quarter" idx="10"/>
          </p:nvPr>
        </p:nvSpPr>
        <p:spPr>
          <a:xfrm>
            <a:off x="5299075" y="0"/>
            <a:ext cx="6892925" cy="6858000"/>
          </a:xfrm>
        </p:spPr>
        <p:txBody>
          <a:bodyPr/>
          <a:lstStyle/>
          <a:p>
            <a:r>
              <a:rPr lang="en-US"/>
              <a:t>Click icon to add picture</a:t>
            </a:r>
          </a:p>
        </p:txBody>
      </p:sp>
      <p:sp>
        <p:nvSpPr>
          <p:cNvPr id="6" name="Title 1">
            <a:extLst>
              <a:ext uri="{FF2B5EF4-FFF2-40B4-BE49-F238E27FC236}">
                <a16:creationId xmlns:a16="http://schemas.microsoft.com/office/drawing/2014/main" id="{44B1F25D-69F5-D649-BBA0-613396C764AC}"/>
              </a:ext>
            </a:extLst>
          </p:cNvPr>
          <p:cNvSpPr>
            <a:spLocks noGrp="1"/>
          </p:cNvSpPr>
          <p:nvPr>
            <p:ph type="title" idx="4294967295"/>
          </p:nvPr>
        </p:nvSpPr>
        <p:spPr>
          <a:xfrm>
            <a:off x="584200" y="457200"/>
            <a:ext cx="4416425" cy="553998"/>
          </a:xfrm>
        </p:spPr>
        <p:txBody>
          <a:bodyPr/>
          <a:lstStyle/>
          <a:p>
            <a:r>
              <a:rPr lang="en-US"/>
              <a:t>Click to edit Master title style</a:t>
            </a:r>
          </a:p>
        </p:txBody>
      </p:sp>
      <p:sp>
        <p:nvSpPr>
          <p:cNvPr id="10" name="Text Placeholder 9">
            <a:extLst>
              <a:ext uri="{FF2B5EF4-FFF2-40B4-BE49-F238E27FC236}">
                <a16:creationId xmlns:a16="http://schemas.microsoft.com/office/drawing/2014/main" id="{A8E421BE-E139-D243-8336-8A8C46F7F743}"/>
              </a:ext>
            </a:extLst>
          </p:cNvPr>
          <p:cNvSpPr>
            <a:spLocks noGrp="1"/>
          </p:cNvSpPr>
          <p:nvPr>
            <p:ph type="body" sz="quarter" idx="11"/>
          </p:nvPr>
        </p:nvSpPr>
        <p:spPr>
          <a:xfrm>
            <a:off x="584200" y="1436688"/>
            <a:ext cx="3470275" cy="2302169"/>
          </a:xfrm>
        </p:spPr>
        <p:txBody>
          <a:bodyPr/>
          <a:lstStyle>
            <a:lvl1pPr marL="0" indent="0">
              <a:buFontTx/>
              <a:buNone/>
              <a:defRPr sz="2200"/>
            </a:lvl1pPr>
            <a:lvl2pPr marL="228600" indent="0">
              <a:buFontTx/>
              <a:buNone/>
              <a:defRPr sz="2200"/>
            </a:lvl2pPr>
            <a:lvl3pPr marL="457200" indent="0">
              <a:buFontTx/>
              <a:buNone/>
              <a:defRPr sz="2200"/>
            </a:lvl3pPr>
            <a:lvl4pPr marL="661988" indent="0">
              <a:buFontTx/>
              <a:buNone/>
              <a:defRPr sz="2200"/>
            </a:lvl4pPr>
            <a:lvl5pPr marL="855663" indent="0">
              <a:buFontTx/>
              <a:buNone/>
              <a:defRPr sz="2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7868903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8" pos="3160">
          <p15:clr>
            <a:srgbClr val="A4A3A4"/>
          </p15:clr>
        </p15:guide>
        <p15:guide id="19" pos="3341">
          <p15:clr>
            <a:srgbClr val="A4A3A4"/>
          </p15:clr>
        </p15:guide>
        <p15:guide id="28" orient="horz" pos="905">
          <p15:clr>
            <a:srgbClr val="5ACBF0"/>
          </p15:clr>
        </p15:guide>
        <p15:guide id="30" orient="horz" pos="288">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Photo full bleed upp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585789"/>
            <a:ext cx="12192000" cy="1362282"/>
          </a:xfrm>
          <a:noFill/>
        </p:spPr>
        <p:txBody>
          <a:bodyPr lIns="585216" tIns="0" rIns="585216" bIns="586800" anchor="t"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2912197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5" Type="http://schemas.openxmlformats.org/officeDocument/2006/relationships/slideLayout" Target="../slideLayouts/slideLayout5.xml"/><Relationship Id="rId61" Type="http://schemas.openxmlformats.org/officeDocument/2006/relationships/image" Target="../media/image1.png"/><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image" Target="../media/image2.svg"/><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3" Type="http://schemas.openxmlformats.org/officeDocument/2006/relationships/slideLayout" Target="../slideLayouts/slideLayout62.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image" Target="../media/image2.svg"/><Relationship Id="rId2" Type="http://schemas.openxmlformats.org/officeDocument/2006/relationships/slideLayout" Target="../slideLayouts/slideLayout61.xml"/><Relationship Id="rId16" Type="http://schemas.openxmlformats.org/officeDocument/2006/relationships/image" Target="../media/image1.png"/><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5" Type="http://schemas.openxmlformats.org/officeDocument/2006/relationships/slideLayout" Target="../slideLayouts/slideLayout64.xml"/><Relationship Id="rId15" Type="http://schemas.openxmlformats.org/officeDocument/2006/relationships/theme" Target="../theme/theme2.xml"/><Relationship Id="rId10" Type="http://schemas.openxmlformats.org/officeDocument/2006/relationships/slideLayout" Target="../slideLayouts/slideLayout69.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99.xml"/><Relationship Id="rId21" Type="http://schemas.openxmlformats.org/officeDocument/2006/relationships/slideLayout" Target="../slideLayouts/slideLayout94.xml"/><Relationship Id="rId42" Type="http://schemas.openxmlformats.org/officeDocument/2006/relationships/slideLayout" Target="../slideLayouts/slideLayout115.xml"/><Relationship Id="rId47" Type="http://schemas.openxmlformats.org/officeDocument/2006/relationships/slideLayout" Target="../slideLayouts/slideLayout120.xml"/><Relationship Id="rId63" Type="http://schemas.openxmlformats.org/officeDocument/2006/relationships/slideLayout" Target="../slideLayouts/slideLayout136.xml"/><Relationship Id="rId68" Type="http://schemas.openxmlformats.org/officeDocument/2006/relationships/slideLayout" Target="../slideLayouts/slideLayout141.xml"/><Relationship Id="rId16" Type="http://schemas.openxmlformats.org/officeDocument/2006/relationships/slideLayout" Target="../slideLayouts/slideLayout89.xml"/><Relationship Id="rId11" Type="http://schemas.openxmlformats.org/officeDocument/2006/relationships/slideLayout" Target="../slideLayouts/slideLayout84.xml"/><Relationship Id="rId24" Type="http://schemas.openxmlformats.org/officeDocument/2006/relationships/slideLayout" Target="../slideLayouts/slideLayout97.xml"/><Relationship Id="rId32" Type="http://schemas.openxmlformats.org/officeDocument/2006/relationships/slideLayout" Target="../slideLayouts/slideLayout105.xml"/><Relationship Id="rId37" Type="http://schemas.openxmlformats.org/officeDocument/2006/relationships/slideLayout" Target="../slideLayouts/slideLayout110.xml"/><Relationship Id="rId40" Type="http://schemas.openxmlformats.org/officeDocument/2006/relationships/slideLayout" Target="../slideLayouts/slideLayout113.xml"/><Relationship Id="rId45" Type="http://schemas.openxmlformats.org/officeDocument/2006/relationships/slideLayout" Target="../slideLayouts/slideLayout118.xml"/><Relationship Id="rId53" Type="http://schemas.openxmlformats.org/officeDocument/2006/relationships/slideLayout" Target="../slideLayouts/slideLayout126.xml"/><Relationship Id="rId58" Type="http://schemas.openxmlformats.org/officeDocument/2006/relationships/slideLayout" Target="../slideLayouts/slideLayout131.xml"/><Relationship Id="rId66" Type="http://schemas.openxmlformats.org/officeDocument/2006/relationships/slideLayout" Target="../slideLayouts/slideLayout139.xml"/><Relationship Id="rId74" Type="http://schemas.openxmlformats.org/officeDocument/2006/relationships/slideLayout" Target="../slideLayouts/slideLayout147.xml"/><Relationship Id="rId5" Type="http://schemas.openxmlformats.org/officeDocument/2006/relationships/slideLayout" Target="../slideLayouts/slideLayout78.xml"/><Relationship Id="rId61" Type="http://schemas.openxmlformats.org/officeDocument/2006/relationships/slideLayout" Target="../slideLayouts/slideLayout134.xml"/><Relationship Id="rId19" Type="http://schemas.openxmlformats.org/officeDocument/2006/relationships/slideLayout" Target="../slideLayouts/slideLayout92.xml"/><Relationship Id="rId14" Type="http://schemas.openxmlformats.org/officeDocument/2006/relationships/slideLayout" Target="../slideLayouts/slideLayout87.xml"/><Relationship Id="rId22" Type="http://schemas.openxmlformats.org/officeDocument/2006/relationships/slideLayout" Target="../slideLayouts/slideLayout95.xml"/><Relationship Id="rId27" Type="http://schemas.openxmlformats.org/officeDocument/2006/relationships/slideLayout" Target="../slideLayouts/slideLayout100.xml"/><Relationship Id="rId30" Type="http://schemas.openxmlformats.org/officeDocument/2006/relationships/slideLayout" Target="../slideLayouts/slideLayout103.xml"/><Relationship Id="rId35" Type="http://schemas.openxmlformats.org/officeDocument/2006/relationships/slideLayout" Target="../slideLayouts/slideLayout108.xml"/><Relationship Id="rId43" Type="http://schemas.openxmlformats.org/officeDocument/2006/relationships/slideLayout" Target="../slideLayouts/slideLayout116.xml"/><Relationship Id="rId48" Type="http://schemas.openxmlformats.org/officeDocument/2006/relationships/slideLayout" Target="../slideLayouts/slideLayout121.xml"/><Relationship Id="rId56" Type="http://schemas.openxmlformats.org/officeDocument/2006/relationships/slideLayout" Target="../slideLayouts/slideLayout129.xml"/><Relationship Id="rId64" Type="http://schemas.openxmlformats.org/officeDocument/2006/relationships/slideLayout" Target="../slideLayouts/slideLayout137.xml"/><Relationship Id="rId69" Type="http://schemas.openxmlformats.org/officeDocument/2006/relationships/slideLayout" Target="../slideLayouts/slideLayout142.xml"/><Relationship Id="rId77" Type="http://schemas.openxmlformats.org/officeDocument/2006/relationships/image" Target="../media/image37.emf"/><Relationship Id="rId8" Type="http://schemas.openxmlformats.org/officeDocument/2006/relationships/slideLayout" Target="../slideLayouts/slideLayout81.xml"/><Relationship Id="rId51" Type="http://schemas.openxmlformats.org/officeDocument/2006/relationships/slideLayout" Target="../slideLayouts/slideLayout124.xml"/><Relationship Id="rId72" Type="http://schemas.openxmlformats.org/officeDocument/2006/relationships/slideLayout" Target="../slideLayouts/slideLayout145.xml"/><Relationship Id="rId3" Type="http://schemas.openxmlformats.org/officeDocument/2006/relationships/slideLayout" Target="../slideLayouts/slideLayout76.xml"/><Relationship Id="rId12" Type="http://schemas.openxmlformats.org/officeDocument/2006/relationships/slideLayout" Target="../slideLayouts/slideLayout85.xml"/><Relationship Id="rId17" Type="http://schemas.openxmlformats.org/officeDocument/2006/relationships/slideLayout" Target="../slideLayouts/slideLayout90.xml"/><Relationship Id="rId25" Type="http://schemas.openxmlformats.org/officeDocument/2006/relationships/slideLayout" Target="../slideLayouts/slideLayout98.xml"/><Relationship Id="rId33" Type="http://schemas.openxmlformats.org/officeDocument/2006/relationships/slideLayout" Target="../slideLayouts/slideLayout106.xml"/><Relationship Id="rId38" Type="http://schemas.openxmlformats.org/officeDocument/2006/relationships/slideLayout" Target="../slideLayouts/slideLayout111.xml"/><Relationship Id="rId46" Type="http://schemas.openxmlformats.org/officeDocument/2006/relationships/slideLayout" Target="../slideLayouts/slideLayout119.xml"/><Relationship Id="rId59" Type="http://schemas.openxmlformats.org/officeDocument/2006/relationships/slideLayout" Target="../slideLayouts/slideLayout132.xml"/><Relationship Id="rId67" Type="http://schemas.openxmlformats.org/officeDocument/2006/relationships/slideLayout" Target="../slideLayouts/slideLayout140.xml"/><Relationship Id="rId20" Type="http://schemas.openxmlformats.org/officeDocument/2006/relationships/slideLayout" Target="../slideLayouts/slideLayout93.xml"/><Relationship Id="rId41" Type="http://schemas.openxmlformats.org/officeDocument/2006/relationships/slideLayout" Target="../slideLayouts/slideLayout114.xml"/><Relationship Id="rId54" Type="http://schemas.openxmlformats.org/officeDocument/2006/relationships/slideLayout" Target="../slideLayouts/slideLayout127.xml"/><Relationship Id="rId62" Type="http://schemas.openxmlformats.org/officeDocument/2006/relationships/slideLayout" Target="../slideLayouts/slideLayout135.xml"/><Relationship Id="rId70" Type="http://schemas.openxmlformats.org/officeDocument/2006/relationships/slideLayout" Target="../slideLayouts/slideLayout143.xml"/><Relationship Id="rId75" Type="http://schemas.openxmlformats.org/officeDocument/2006/relationships/slideLayout" Target="../slideLayouts/slideLayout148.xml"/><Relationship Id="rId1" Type="http://schemas.openxmlformats.org/officeDocument/2006/relationships/slideLayout" Target="../slideLayouts/slideLayout74.xml"/><Relationship Id="rId6" Type="http://schemas.openxmlformats.org/officeDocument/2006/relationships/slideLayout" Target="../slideLayouts/slideLayout79.xml"/><Relationship Id="rId15" Type="http://schemas.openxmlformats.org/officeDocument/2006/relationships/slideLayout" Target="../slideLayouts/slideLayout88.xml"/><Relationship Id="rId23" Type="http://schemas.openxmlformats.org/officeDocument/2006/relationships/slideLayout" Target="../slideLayouts/slideLayout96.xml"/><Relationship Id="rId28" Type="http://schemas.openxmlformats.org/officeDocument/2006/relationships/slideLayout" Target="../slideLayouts/slideLayout101.xml"/><Relationship Id="rId36" Type="http://schemas.openxmlformats.org/officeDocument/2006/relationships/slideLayout" Target="../slideLayouts/slideLayout109.xml"/><Relationship Id="rId49" Type="http://schemas.openxmlformats.org/officeDocument/2006/relationships/slideLayout" Target="../slideLayouts/slideLayout122.xml"/><Relationship Id="rId57" Type="http://schemas.openxmlformats.org/officeDocument/2006/relationships/slideLayout" Target="../slideLayouts/slideLayout130.xml"/><Relationship Id="rId10" Type="http://schemas.openxmlformats.org/officeDocument/2006/relationships/slideLayout" Target="../slideLayouts/slideLayout83.xml"/><Relationship Id="rId31" Type="http://schemas.openxmlformats.org/officeDocument/2006/relationships/slideLayout" Target="../slideLayouts/slideLayout104.xml"/><Relationship Id="rId44" Type="http://schemas.openxmlformats.org/officeDocument/2006/relationships/slideLayout" Target="../slideLayouts/slideLayout117.xml"/><Relationship Id="rId52" Type="http://schemas.openxmlformats.org/officeDocument/2006/relationships/slideLayout" Target="../slideLayouts/slideLayout125.xml"/><Relationship Id="rId60" Type="http://schemas.openxmlformats.org/officeDocument/2006/relationships/slideLayout" Target="../slideLayouts/slideLayout133.xml"/><Relationship Id="rId65" Type="http://schemas.openxmlformats.org/officeDocument/2006/relationships/slideLayout" Target="../slideLayouts/slideLayout138.xml"/><Relationship Id="rId73" Type="http://schemas.openxmlformats.org/officeDocument/2006/relationships/slideLayout" Target="../slideLayouts/slideLayout146.xml"/><Relationship Id="rId4" Type="http://schemas.openxmlformats.org/officeDocument/2006/relationships/slideLayout" Target="../slideLayouts/slideLayout77.xml"/><Relationship Id="rId9" Type="http://schemas.openxmlformats.org/officeDocument/2006/relationships/slideLayout" Target="../slideLayouts/slideLayout82.xml"/><Relationship Id="rId13" Type="http://schemas.openxmlformats.org/officeDocument/2006/relationships/slideLayout" Target="../slideLayouts/slideLayout86.xml"/><Relationship Id="rId18" Type="http://schemas.openxmlformats.org/officeDocument/2006/relationships/slideLayout" Target="../slideLayouts/slideLayout91.xml"/><Relationship Id="rId39" Type="http://schemas.openxmlformats.org/officeDocument/2006/relationships/slideLayout" Target="../slideLayouts/slideLayout112.xml"/><Relationship Id="rId34" Type="http://schemas.openxmlformats.org/officeDocument/2006/relationships/slideLayout" Target="../slideLayouts/slideLayout107.xml"/><Relationship Id="rId50" Type="http://schemas.openxmlformats.org/officeDocument/2006/relationships/slideLayout" Target="../slideLayouts/slideLayout123.xml"/><Relationship Id="rId55" Type="http://schemas.openxmlformats.org/officeDocument/2006/relationships/slideLayout" Target="../slideLayouts/slideLayout128.xml"/><Relationship Id="rId76" Type="http://schemas.openxmlformats.org/officeDocument/2006/relationships/theme" Target="../theme/theme3.xml"/><Relationship Id="rId7" Type="http://schemas.openxmlformats.org/officeDocument/2006/relationships/slideLayout" Target="../slideLayouts/slideLayout80.xml"/><Relationship Id="rId71" Type="http://schemas.openxmlformats.org/officeDocument/2006/relationships/slideLayout" Target="../slideLayouts/slideLayout144.xml"/><Relationship Id="rId2" Type="http://schemas.openxmlformats.org/officeDocument/2006/relationships/slideLayout" Target="../slideLayouts/slideLayout75.xml"/><Relationship Id="rId29" Type="http://schemas.openxmlformats.org/officeDocument/2006/relationships/slideLayout" Target="../slideLayouts/slideLayout102.xml"/></Relationships>
</file>

<file path=ppt/slideMasters/_rels/slideMaster4.xml.rels><?xml version="1.0" encoding="UTF-8" standalone="yes"?>
<Relationships xmlns="http://schemas.openxmlformats.org/package/2006/relationships"><Relationship Id="rId26" Type="http://schemas.openxmlformats.org/officeDocument/2006/relationships/slideLayout" Target="../slideLayouts/slideLayout174.xml"/><Relationship Id="rId21" Type="http://schemas.openxmlformats.org/officeDocument/2006/relationships/slideLayout" Target="../slideLayouts/slideLayout169.xml"/><Relationship Id="rId34" Type="http://schemas.openxmlformats.org/officeDocument/2006/relationships/slideLayout" Target="../slideLayouts/slideLayout182.xml"/><Relationship Id="rId42" Type="http://schemas.openxmlformats.org/officeDocument/2006/relationships/slideLayout" Target="../slideLayouts/slideLayout190.xml"/><Relationship Id="rId47" Type="http://schemas.openxmlformats.org/officeDocument/2006/relationships/slideLayout" Target="../slideLayouts/slideLayout195.xml"/><Relationship Id="rId50" Type="http://schemas.openxmlformats.org/officeDocument/2006/relationships/slideLayout" Target="../slideLayouts/slideLayout198.xml"/><Relationship Id="rId55" Type="http://schemas.openxmlformats.org/officeDocument/2006/relationships/slideLayout" Target="../slideLayouts/slideLayout203.xml"/><Relationship Id="rId63" Type="http://schemas.openxmlformats.org/officeDocument/2006/relationships/theme" Target="../theme/theme4.xml"/><Relationship Id="rId7" Type="http://schemas.openxmlformats.org/officeDocument/2006/relationships/slideLayout" Target="../slideLayouts/slideLayout155.xml"/><Relationship Id="rId2" Type="http://schemas.openxmlformats.org/officeDocument/2006/relationships/slideLayout" Target="../slideLayouts/slideLayout150.xml"/><Relationship Id="rId16" Type="http://schemas.openxmlformats.org/officeDocument/2006/relationships/slideLayout" Target="../slideLayouts/slideLayout164.xml"/><Relationship Id="rId29" Type="http://schemas.openxmlformats.org/officeDocument/2006/relationships/slideLayout" Target="../slideLayouts/slideLayout177.xml"/><Relationship Id="rId11" Type="http://schemas.openxmlformats.org/officeDocument/2006/relationships/slideLayout" Target="../slideLayouts/slideLayout159.xml"/><Relationship Id="rId24" Type="http://schemas.openxmlformats.org/officeDocument/2006/relationships/slideLayout" Target="../slideLayouts/slideLayout172.xml"/><Relationship Id="rId32" Type="http://schemas.openxmlformats.org/officeDocument/2006/relationships/slideLayout" Target="../slideLayouts/slideLayout180.xml"/><Relationship Id="rId37" Type="http://schemas.openxmlformats.org/officeDocument/2006/relationships/slideLayout" Target="../slideLayouts/slideLayout185.xml"/><Relationship Id="rId40" Type="http://schemas.openxmlformats.org/officeDocument/2006/relationships/slideLayout" Target="../slideLayouts/slideLayout188.xml"/><Relationship Id="rId45" Type="http://schemas.openxmlformats.org/officeDocument/2006/relationships/slideLayout" Target="../slideLayouts/slideLayout193.xml"/><Relationship Id="rId53" Type="http://schemas.openxmlformats.org/officeDocument/2006/relationships/slideLayout" Target="../slideLayouts/slideLayout201.xml"/><Relationship Id="rId58" Type="http://schemas.openxmlformats.org/officeDocument/2006/relationships/slideLayout" Target="../slideLayouts/slideLayout206.xml"/><Relationship Id="rId5" Type="http://schemas.openxmlformats.org/officeDocument/2006/relationships/slideLayout" Target="../slideLayouts/slideLayout153.xml"/><Relationship Id="rId61" Type="http://schemas.openxmlformats.org/officeDocument/2006/relationships/slideLayout" Target="../slideLayouts/slideLayout209.xml"/><Relationship Id="rId19" Type="http://schemas.openxmlformats.org/officeDocument/2006/relationships/slideLayout" Target="../slideLayouts/slideLayout167.xml"/><Relationship Id="rId14" Type="http://schemas.openxmlformats.org/officeDocument/2006/relationships/slideLayout" Target="../slideLayouts/slideLayout162.xml"/><Relationship Id="rId22" Type="http://schemas.openxmlformats.org/officeDocument/2006/relationships/slideLayout" Target="../slideLayouts/slideLayout170.xml"/><Relationship Id="rId27" Type="http://schemas.openxmlformats.org/officeDocument/2006/relationships/slideLayout" Target="../slideLayouts/slideLayout175.xml"/><Relationship Id="rId30" Type="http://schemas.openxmlformats.org/officeDocument/2006/relationships/slideLayout" Target="../slideLayouts/slideLayout178.xml"/><Relationship Id="rId35" Type="http://schemas.openxmlformats.org/officeDocument/2006/relationships/slideLayout" Target="../slideLayouts/slideLayout183.xml"/><Relationship Id="rId43" Type="http://schemas.openxmlformats.org/officeDocument/2006/relationships/slideLayout" Target="../slideLayouts/slideLayout191.xml"/><Relationship Id="rId48" Type="http://schemas.openxmlformats.org/officeDocument/2006/relationships/slideLayout" Target="../slideLayouts/slideLayout196.xml"/><Relationship Id="rId56" Type="http://schemas.openxmlformats.org/officeDocument/2006/relationships/slideLayout" Target="../slideLayouts/slideLayout204.xml"/><Relationship Id="rId64" Type="http://schemas.openxmlformats.org/officeDocument/2006/relationships/image" Target="../media/image1.png"/><Relationship Id="rId8" Type="http://schemas.openxmlformats.org/officeDocument/2006/relationships/slideLayout" Target="../slideLayouts/slideLayout156.xml"/><Relationship Id="rId51" Type="http://schemas.openxmlformats.org/officeDocument/2006/relationships/slideLayout" Target="../slideLayouts/slideLayout199.xml"/><Relationship Id="rId3" Type="http://schemas.openxmlformats.org/officeDocument/2006/relationships/slideLayout" Target="../slideLayouts/slideLayout151.xml"/><Relationship Id="rId12" Type="http://schemas.openxmlformats.org/officeDocument/2006/relationships/slideLayout" Target="../slideLayouts/slideLayout160.xml"/><Relationship Id="rId17" Type="http://schemas.openxmlformats.org/officeDocument/2006/relationships/slideLayout" Target="../slideLayouts/slideLayout165.xml"/><Relationship Id="rId25" Type="http://schemas.openxmlformats.org/officeDocument/2006/relationships/slideLayout" Target="../slideLayouts/slideLayout173.xml"/><Relationship Id="rId33" Type="http://schemas.openxmlformats.org/officeDocument/2006/relationships/slideLayout" Target="../slideLayouts/slideLayout181.xml"/><Relationship Id="rId38" Type="http://schemas.openxmlformats.org/officeDocument/2006/relationships/slideLayout" Target="../slideLayouts/slideLayout186.xml"/><Relationship Id="rId46" Type="http://schemas.openxmlformats.org/officeDocument/2006/relationships/slideLayout" Target="../slideLayouts/slideLayout194.xml"/><Relationship Id="rId59" Type="http://schemas.openxmlformats.org/officeDocument/2006/relationships/slideLayout" Target="../slideLayouts/slideLayout207.xml"/><Relationship Id="rId20" Type="http://schemas.openxmlformats.org/officeDocument/2006/relationships/slideLayout" Target="../slideLayouts/slideLayout168.xml"/><Relationship Id="rId41" Type="http://schemas.openxmlformats.org/officeDocument/2006/relationships/slideLayout" Target="../slideLayouts/slideLayout189.xml"/><Relationship Id="rId54" Type="http://schemas.openxmlformats.org/officeDocument/2006/relationships/slideLayout" Target="../slideLayouts/slideLayout202.xml"/><Relationship Id="rId62" Type="http://schemas.openxmlformats.org/officeDocument/2006/relationships/slideLayout" Target="../slideLayouts/slideLayout210.xml"/><Relationship Id="rId1" Type="http://schemas.openxmlformats.org/officeDocument/2006/relationships/slideLayout" Target="../slideLayouts/slideLayout149.xml"/><Relationship Id="rId6" Type="http://schemas.openxmlformats.org/officeDocument/2006/relationships/slideLayout" Target="../slideLayouts/slideLayout154.xml"/><Relationship Id="rId15" Type="http://schemas.openxmlformats.org/officeDocument/2006/relationships/slideLayout" Target="../slideLayouts/slideLayout163.xml"/><Relationship Id="rId23" Type="http://schemas.openxmlformats.org/officeDocument/2006/relationships/slideLayout" Target="../slideLayouts/slideLayout171.xml"/><Relationship Id="rId28" Type="http://schemas.openxmlformats.org/officeDocument/2006/relationships/slideLayout" Target="../slideLayouts/slideLayout176.xml"/><Relationship Id="rId36" Type="http://schemas.openxmlformats.org/officeDocument/2006/relationships/slideLayout" Target="../slideLayouts/slideLayout184.xml"/><Relationship Id="rId49" Type="http://schemas.openxmlformats.org/officeDocument/2006/relationships/slideLayout" Target="../slideLayouts/slideLayout197.xml"/><Relationship Id="rId57" Type="http://schemas.openxmlformats.org/officeDocument/2006/relationships/slideLayout" Target="../slideLayouts/slideLayout205.xml"/><Relationship Id="rId10" Type="http://schemas.openxmlformats.org/officeDocument/2006/relationships/slideLayout" Target="../slideLayouts/slideLayout158.xml"/><Relationship Id="rId31" Type="http://schemas.openxmlformats.org/officeDocument/2006/relationships/slideLayout" Target="../slideLayouts/slideLayout179.xml"/><Relationship Id="rId44" Type="http://schemas.openxmlformats.org/officeDocument/2006/relationships/slideLayout" Target="../slideLayouts/slideLayout192.xml"/><Relationship Id="rId52" Type="http://schemas.openxmlformats.org/officeDocument/2006/relationships/slideLayout" Target="../slideLayouts/slideLayout200.xml"/><Relationship Id="rId60" Type="http://schemas.openxmlformats.org/officeDocument/2006/relationships/slideLayout" Target="../slideLayouts/slideLayout208.xml"/><Relationship Id="rId65" Type="http://schemas.openxmlformats.org/officeDocument/2006/relationships/image" Target="../media/image2.svg"/><Relationship Id="rId4" Type="http://schemas.openxmlformats.org/officeDocument/2006/relationships/slideLayout" Target="../slideLayouts/slideLayout152.xml"/><Relationship Id="rId9" Type="http://schemas.openxmlformats.org/officeDocument/2006/relationships/slideLayout" Target="../slideLayouts/slideLayout157.xml"/><Relationship Id="rId13" Type="http://schemas.openxmlformats.org/officeDocument/2006/relationships/slideLayout" Target="../slideLayouts/slideLayout161.xml"/><Relationship Id="rId18" Type="http://schemas.openxmlformats.org/officeDocument/2006/relationships/slideLayout" Target="../slideLayouts/slideLayout166.xml"/><Relationship Id="rId39" Type="http://schemas.openxmlformats.org/officeDocument/2006/relationships/slideLayout" Target="../slideLayouts/slideLayout187.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223.xml"/><Relationship Id="rId18" Type="http://schemas.openxmlformats.org/officeDocument/2006/relationships/slideLayout" Target="../slideLayouts/slideLayout228.xml"/><Relationship Id="rId26" Type="http://schemas.openxmlformats.org/officeDocument/2006/relationships/slideLayout" Target="../slideLayouts/slideLayout236.xml"/><Relationship Id="rId39" Type="http://schemas.openxmlformats.org/officeDocument/2006/relationships/slideLayout" Target="../slideLayouts/slideLayout249.xml"/><Relationship Id="rId21" Type="http://schemas.openxmlformats.org/officeDocument/2006/relationships/slideLayout" Target="../slideLayouts/slideLayout231.xml"/><Relationship Id="rId34" Type="http://schemas.openxmlformats.org/officeDocument/2006/relationships/slideLayout" Target="../slideLayouts/slideLayout244.xml"/><Relationship Id="rId42" Type="http://schemas.openxmlformats.org/officeDocument/2006/relationships/slideLayout" Target="../slideLayouts/slideLayout252.xml"/><Relationship Id="rId7" Type="http://schemas.openxmlformats.org/officeDocument/2006/relationships/slideLayout" Target="../slideLayouts/slideLayout217.xml"/><Relationship Id="rId2" Type="http://schemas.openxmlformats.org/officeDocument/2006/relationships/slideLayout" Target="../slideLayouts/slideLayout212.xml"/><Relationship Id="rId16" Type="http://schemas.openxmlformats.org/officeDocument/2006/relationships/slideLayout" Target="../slideLayouts/slideLayout226.xml"/><Relationship Id="rId29" Type="http://schemas.openxmlformats.org/officeDocument/2006/relationships/slideLayout" Target="../slideLayouts/slideLayout239.xml"/><Relationship Id="rId1" Type="http://schemas.openxmlformats.org/officeDocument/2006/relationships/slideLayout" Target="../slideLayouts/slideLayout211.xml"/><Relationship Id="rId6" Type="http://schemas.openxmlformats.org/officeDocument/2006/relationships/slideLayout" Target="../slideLayouts/slideLayout216.xml"/><Relationship Id="rId11" Type="http://schemas.openxmlformats.org/officeDocument/2006/relationships/slideLayout" Target="../slideLayouts/slideLayout221.xml"/><Relationship Id="rId24" Type="http://schemas.openxmlformats.org/officeDocument/2006/relationships/slideLayout" Target="../slideLayouts/slideLayout234.xml"/><Relationship Id="rId32" Type="http://schemas.openxmlformats.org/officeDocument/2006/relationships/slideLayout" Target="../slideLayouts/slideLayout242.xml"/><Relationship Id="rId37" Type="http://schemas.openxmlformats.org/officeDocument/2006/relationships/slideLayout" Target="../slideLayouts/slideLayout247.xml"/><Relationship Id="rId40" Type="http://schemas.openxmlformats.org/officeDocument/2006/relationships/slideLayout" Target="../slideLayouts/slideLayout250.xml"/><Relationship Id="rId45" Type="http://schemas.openxmlformats.org/officeDocument/2006/relationships/image" Target="../media/image37.emf"/><Relationship Id="rId5" Type="http://schemas.openxmlformats.org/officeDocument/2006/relationships/slideLayout" Target="../slideLayouts/slideLayout215.xml"/><Relationship Id="rId15" Type="http://schemas.openxmlformats.org/officeDocument/2006/relationships/slideLayout" Target="../slideLayouts/slideLayout225.xml"/><Relationship Id="rId23" Type="http://schemas.openxmlformats.org/officeDocument/2006/relationships/slideLayout" Target="../slideLayouts/slideLayout233.xml"/><Relationship Id="rId28" Type="http://schemas.openxmlformats.org/officeDocument/2006/relationships/slideLayout" Target="../slideLayouts/slideLayout238.xml"/><Relationship Id="rId36" Type="http://schemas.openxmlformats.org/officeDocument/2006/relationships/slideLayout" Target="../slideLayouts/slideLayout246.xml"/><Relationship Id="rId10" Type="http://schemas.openxmlformats.org/officeDocument/2006/relationships/slideLayout" Target="../slideLayouts/slideLayout220.xml"/><Relationship Id="rId19" Type="http://schemas.openxmlformats.org/officeDocument/2006/relationships/slideLayout" Target="../slideLayouts/slideLayout229.xml"/><Relationship Id="rId31" Type="http://schemas.openxmlformats.org/officeDocument/2006/relationships/slideLayout" Target="../slideLayouts/slideLayout241.xml"/><Relationship Id="rId44" Type="http://schemas.openxmlformats.org/officeDocument/2006/relationships/theme" Target="../theme/theme5.xml"/><Relationship Id="rId4" Type="http://schemas.openxmlformats.org/officeDocument/2006/relationships/slideLayout" Target="../slideLayouts/slideLayout214.xml"/><Relationship Id="rId9" Type="http://schemas.openxmlformats.org/officeDocument/2006/relationships/slideLayout" Target="../slideLayouts/slideLayout219.xml"/><Relationship Id="rId14" Type="http://schemas.openxmlformats.org/officeDocument/2006/relationships/slideLayout" Target="../slideLayouts/slideLayout224.xml"/><Relationship Id="rId22" Type="http://schemas.openxmlformats.org/officeDocument/2006/relationships/slideLayout" Target="../slideLayouts/slideLayout232.xml"/><Relationship Id="rId27" Type="http://schemas.openxmlformats.org/officeDocument/2006/relationships/slideLayout" Target="../slideLayouts/slideLayout237.xml"/><Relationship Id="rId30" Type="http://schemas.openxmlformats.org/officeDocument/2006/relationships/slideLayout" Target="../slideLayouts/slideLayout240.xml"/><Relationship Id="rId35" Type="http://schemas.openxmlformats.org/officeDocument/2006/relationships/slideLayout" Target="../slideLayouts/slideLayout245.xml"/><Relationship Id="rId43" Type="http://schemas.openxmlformats.org/officeDocument/2006/relationships/slideLayout" Target="../slideLayouts/slideLayout253.xml"/><Relationship Id="rId8" Type="http://schemas.openxmlformats.org/officeDocument/2006/relationships/slideLayout" Target="../slideLayouts/slideLayout218.xml"/><Relationship Id="rId3" Type="http://schemas.openxmlformats.org/officeDocument/2006/relationships/slideLayout" Target="../slideLayouts/slideLayout213.xml"/><Relationship Id="rId12" Type="http://schemas.openxmlformats.org/officeDocument/2006/relationships/slideLayout" Target="../slideLayouts/slideLayout222.xml"/><Relationship Id="rId17" Type="http://schemas.openxmlformats.org/officeDocument/2006/relationships/slideLayout" Target="../slideLayouts/slideLayout227.xml"/><Relationship Id="rId25" Type="http://schemas.openxmlformats.org/officeDocument/2006/relationships/slideLayout" Target="../slideLayouts/slideLayout235.xml"/><Relationship Id="rId33" Type="http://schemas.openxmlformats.org/officeDocument/2006/relationships/slideLayout" Target="../slideLayouts/slideLayout243.xml"/><Relationship Id="rId38" Type="http://schemas.openxmlformats.org/officeDocument/2006/relationships/slideLayout" Target="../slideLayouts/slideLayout248.xml"/><Relationship Id="rId20" Type="http://schemas.openxmlformats.org/officeDocument/2006/relationships/slideLayout" Target="../slideLayouts/slideLayout230.xml"/><Relationship Id="rId41" Type="http://schemas.openxmlformats.org/officeDocument/2006/relationships/slideLayout" Target="../slideLayouts/slideLayout25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61">
            <a:extLst>
              <a:ext uri="{96DAC541-7B7A-43D3-8B79-37D633B846F1}">
                <asvg:svgBlip xmlns:asvg="http://schemas.microsoft.com/office/drawing/2016/SVG/main" r:embed="rId62"/>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3418689686"/>
      </p:ext>
    </p:extLst>
  </p:cSld>
  <p:clrMap bg1="lt1" tx1="dk1" bg2="lt2" tx2="dk2" accent1="accent1" accent2="accent2" accent3="accent3" accent4="accent4" accent5="accent5" accent6="accent6" hlink="hlink" folHlink="folHlink"/>
  <p:sldLayoutIdLst>
    <p:sldLayoutId id="2147485497" r:id="rId1"/>
    <p:sldLayoutId id="2147485449" r:id="rId2"/>
    <p:sldLayoutId id="2147485452" r:id="rId3"/>
    <p:sldLayoutId id="2147485453" r:id="rId4"/>
    <p:sldLayoutId id="2147485454" r:id="rId5"/>
    <p:sldLayoutId id="2147485455" r:id="rId6"/>
    <p:sldLayoutId id="2147485456" r:id="rId7"/>
    <p:sldLayoutId id="2147485457" r:id="rId8"/>
    <p:sldLayoutId id="2147485458" r:id="rId9"/>
    <p:sldLayoutId id="2147485459" r:id="rId10"/>
    <p:sldLayoutId id="2147485460" r:id="rId11"/>
    <p:sldLayoutId id="2147485461" r:id="rId12"/>
    <p:sldLayoutId id="2147485462" r:id="rId13"/>
    <p:sldLayoutId id="2147485463" r:id="rId14"/>
    <p:sldLayoutId id="2147485490" r:id="rId15"/>
    <p:sldLayoutId id="2147485492" r:id="rId16"/>
    <p:sldLayoutId id="2147485482" r:id="rId17"/>
    <p:sldLayoutId id="2147485483" r:id="rId18"/>
    <p:sldLayoutId id="2147485493" r:id="rId19"/>
    <p:sldLayoutId id="2147485609" r:id="rId20"/>
    <p:sldLayoutId id="2147485610" r:id="rId21"/>
    <p:sldLayoutId id="2147485611" r:id="rId22"/>
    <p:sldLayoutId id="2147485612" r:id="rId23"/>
    <p:sldLayoutId id="2147485613" r:id="rId24"/>
    <p:sldLayoutId id="2147485614" r:id="rId25"/>
    <p:sldLayoutId id="2147485615" r:id="rId26"/>
    <p:sldLayoutId id="2147485616" r:id="rId27"/>
    <p:sldLayoutId id="2147485617" r:id="rId28"/>
    <p:sldLayoutId id="2147485618" r:id="rId29"/>
    <p:sldLayoutId id="2147485619" r:id="rId30"/>
    <p:sldLayoutId id="2147485620" r:id="rId31"/>
    <p:sldLayoutId id="2147485633" r:id="rId32"/>
    <p:sldLayoutId id="2147485634" r:id="rId33"/>
    <p:sldLayoutId id="2147485636" r:id="rId34"/>
    <p:sldLayoutId id="2147485637" r:id="rId35"/>
    <p:sldLayoutId id="2147485635" r:id="rId36"/>
    <p:sldLayoutId id="2147485505" r:id="rId37"/>
    <p:sldLayoutId id="2147485509" r:id="rId38"/>
    <p:sldLayoutId id="2147485506" r:id="rId39"/>
    <p:sldLayoutId id="2147485464" r:id="rId40"/>
    <p:sldLayoutId id="2147485465" r:id="rId41"/>
    <p:sldLayoutId id="2147485466" r:id="rId42"/>
    <p:sldLayoutId id="2147485467" r:id="rId43"/>
    <p:sldLayoutId id="2147485468" r:id="rId44"/>
    <p:sldLayoutId id="2147485469" r:id="rId45"/>
    <p:sldLayoutId id="2147485470" r:id="rId46"/>
    <p:sldLayoutId id="2147485471" r:id="rId47"/>
    <p:sldLayoutId id="2147485472" r:id="rId48"/>
    <p:sldLayoutId id="2147485473" r:id="rId49"/>
    <p:sldLayoutId id="2147485474" r:id="rId50"/>
    <p:sldLayoutId id="2147485475" r:id="rId51"/>
    <p:sldLayoutId id="2147485476" r:id="rId52"/>
    <p:sldLayoutId id="2147485477" r:id="rId53"/>
    <p:sldLayoutId id="2147485478" r:id="rId54"/>
    <p:sldLayoutId id="2147485479" r:id="rId55"/>
    <p:sldLayoutId id="2147485480" r:id="rId56"/>
    <p:sldLayoutId id="2147485481" r:id="rId57"/>
    <p:sldLayoutId id="2147485495" r:id="rId58"/>
    <p:sldLayoutId id="2147485496" r:id="rId59"/>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userDrawn="1">
          <p15:clr>
            <a:srgbClr val="C35EA4"/>
          </p15:clr>
        </p15:guide>
        <p15:guide id="17" pos="7320" userDrawn="1">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92" userDrawn="1">
          <p15:clr>
            <a:srgbClr val="A4A3A4"/>
          </p15:clr>
        </p15:guide>
        <p15:guide id="29" orient="horz" pos="4135">
          <p15:clr>
            <a:srgbClr val="A4A3A4"/>
          </p15:clr>
        </p15:guide>
        <p15:guide id="30" pos="7488" userDrawn="1">
          <p15:clr>
            <a:srgbClr val="A4A3A4"/>
          </p15:clr>
        </p15:guide>
        <p15:guide id="31" orient="horz" pos="400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16">
            <a:extLst>
              <a:ext uri="{96DAC541-7B7A-43D3-8B79-37D633B846F1}">
                <asvg:svgBlip xmlns:asvg="http://schemas.microsoft.com/office/drawing/2016/SVG/main" r:embed="rId17"/>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856840728"/>
      </p:ext>
    </p:extLst>
  </p:cSld>
  <p:clrMap bg1="lt1" tx1="dk1" bg2="lt2" tx2="dk2" accent1="accent1" accent2="accent2" accent3="accent3" accent4="accent4" accent5="accent5" accent6="accent6" hlink="hlink" folHlink="folHlink"/>
  <p:sldLayoutIdLst>
    <p:sldLayoutId id="2147485639" r:id="rId1"/>
    <p:sldLayoutId id="2147485640" r:id="rId2"/>
    <p:sldLayoutId id="2147485641" r:id="rId3"/>
    <p:sldLayoutId id="2147485642" r:id="rId4"/>
    <p:sldLayoutId id="2147485643" r:id="rId5"/>
    <p:sldLayoutId id="2147485644" r:id="rId6"/>
    <p:sldLayoutId id="2147485645" r:id="rId7"/>
    <p:sldLayoutId id="2147485646" r:id="rId8"/>
    <p:sldLayoutId id="2147485647" r:id="rId9"/>
    <p:sldLayoutId id="2147485648" r:id="rId10"/>
    <p:sldLayoutId id="2147485649" r:id="rId11"/>
    <p:sldLayoutId id="2147485650" r:id="rId12"/>
    <p:sldLayoutId id="2147485651" r:id="rId13"/>
    <p:sldLayoutId id="2147485653" r:id="rId14"/>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77" cstate="hqprint">
            <a:extLst>
              <a:ext uri="{28A0092B-C50C-407E-A947-70E740481C1C}">
                <a14:useLocalDpi xmlns:a14="http://schemas.microsoft.com/office/drawing/2010/main"/>
              </a:ext>
            </a:extLst>
          </a:blip>
          <a:srcRect l="762"/>
          <a:stretch/>
        </p:blipFill>
        <p:spPr>
          <a:xfrm rot="5400000">
            <a:off x="9509760" y="2843773"/>
            <a:ext cx="6858000" cy="1170455"/>
          </a:xfrm>
          <a:prstGeom prst="rect">
            <a:avLst/>
          </a:prstGeom>
        </p:spPr>
      </p:pic>
      <p:sp>
        <p:nvSpPr>
          <p:cNvPr id="5" name="TextBox 7">
            <a:extLst>
              <a:ext uri="{FF2B5EF4-FFF2-40B4-BE49-F238E27FC236}">
                <a16:creationId xmlns:a16="http://schemas.microsoft.com/office/drawing/2014/main" id="{DE766AFC-A629-3F56-6DB9-2E19085A2CE5}"/>
              </a:ext>
            </a:extLst>
          </p:cNvPr>
          <p:cNvSpPr txBox="1"/>
          <p:nvPr userDrawn="1">
            <p:extLst>
              <p:ext uri="{1162E1C5-73C7-4A58-AE30-91384D911F3F}">
                <p184:classification xmlns:p184="http://schemas.microsoft.com/office/powerpoint/2018/4/main" val="ftr"/>
              </p:ext>
            </p:extLst>
          </p:nvPr>
        </p:nvSpPr>
        <p:spPr>
          <a:xfrm>
            <a:off x="63500" y="6642100"/>
            <a:ext cx="1828800"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cs typeface="Calibri" panose="020F0502020204030204" pitchFamily="34" charset="0"/>
              </a:rPr>
              <a:t>Classified as Microsoft Confidential</a:t>
            </a:r>
          </a:p>
        </p:txBody>
      </p:sp>
    </p:spTree>
    <p:extLst>
      <p:ext uri="{BB962C8B-B14F-4D97-AF65-F5344CB8AC3E}">
        <p14:creationId xmlns:p14="http://schemas.microsoft.com/office/powerpoint/2010/main" val="2929641500"/>
      </p:ext>
    </p:extLst>
  </p:cSld>
  <p:clrMap bg1="lt1" tx1="dk1" bg2="lt2" tx2="dk2" accent1="accent1" accent2="accent2" accent3="accent3" accent4="accent4" accent5="accent5" accent6="accent6" hlink="hlink" folHlink="folHlink"/>
  <p:sldLayoutIdLst>
    <p:sldLayoutId id="2147485655" r:id="rId1"/>
    <p:sldLayoutId id="2147485656" r:id="rId2"/>
    <p:sldLayoutId id="2147485657" r:id="rId3"/>
    <p:sldLayoutId id="2147485658" r:id="rId4"/>
    <p:sldLayoutId id="2147485659" r:id="rId5"/>
    <p:sldLayoutId id="2147485660" r:id="rId6"/>
    <p:sldLayoutId id="2147485661" r:id="rId7"/>
    <p:sldLayoutId id="2147485662" r:id="rId8"/>
    <p:sldLayoutId id="2147485663" r:id="rId9"/>
    <p:sldLayoutId id="2147485664" r:id="rId10"/>
    <p:sldLayoutId id="2147485665" r:id="rId11"/>
    <p:sldLayoutId id="2147485666" r:id="rId12"/>
    <p:sldLayoutId id="2147485667" r:id="rId13"/>
    <p:sldLayoutId id="2147485668" r:id="rId14"/>
    <p:sldLayoutId id="2147485669" r:id="rId15"/>
    <p:sldLayoutId id="2147485670" r:id="rId16"/>
    <p:sldLayoutId id="2147485671" r:id="rId17"/>
    <p:sldLayoutId id="2147485672" r:id="rId18"/>
    <p:sldLayoutId id="2147485673" r:id="rId19"/>
    <p:sldLayoutId id="2147485674" r:id="rId20"/>
    <p:sldLayoutId id="2147485675" r:id="rId21"/>
    <p:sldLayoutId id="2147485676" r:id="rId22"/>
    <p:sldLayoutId id="2147485677" r:id="rId23"/>
    <p:sldLayoutId id="2147485678" r:id="rId24"/>
    <p:sldLayoutId id="2147485679" r:id="rId25"/>
    <p:sldLayoutId id="2147485680" r:id="rId26"/>
    <p:sldLayoutId id="2147485681" r:id="rId27"/>
    <p:sldLayoutId id="2147485682" r:id="rId28"/>
    <p:sldLayoutId id="2147485683" r:id="rId29"/>
    <p:sldLayoutId id="2147485684" r:id="rId30"/>
    <p:sldLayoutId id="2147485685" r:id="rId31"/>
    <p:sldLayoutId id="2147485686" r:id="rId32"/>
    <p:sldLayoutId id="2147485687" r:id="rId33"/>
    <p:sldLayoutId id="2147485688" r:id="rId34"/>
    <p:sldLayoutId id="2147485689" r:id="rId35"/>
    <p:sldLayoutId id="2147485690" r:id="rId36"/>
    <p:sldLayoutId id="2147485691" r:id="rId37"/>
    <p:sldLayoutId id="2147485692" r:id="rId38"/>
    <p:sldLayoutId id="2147485693" r:id="rId39"/>
    <p:sldLayoutId id="2147485694" r:id="rId40"/>
    <p:sldLayoutId id="2147485695" r:id="rId41"/>
    <p:sldLayoutId id="2147485696" r:id="rId42"/>
    <p:sldLayoutId id="2147485697" r:id="rId43"/>
    <p:sldLayoutId id="2147485698" r:id="rId44"/>
    <p:sldLayoutId id="2147485699" r:id="rId45"/>
    <p:sldLayoutId id="2147485700" r:id="rId46"/>
    <p:sldLayoutId id="2147485701" r:id="rId47"/>
    <p:sldLayoutId id="2147485702" r:id="rId48"/>
    <p:sldLayoutId id="2147485703" r:id="rId49"/>
    <p:sldLayoutId id="2147485704" r:id="rId50"/>
    <p:sldLayoutId id="2147485705" r:id="rId51"/>
    <p:sldLayoutId id="2147485706" r:id="rId52"/>
    <p:sldLayoutId id="2147485707" r:id="rId53"/>
    <p:sldLayoutId id="2147485708" r:id="rId54"/>
    <p:sldLayoutId id="2147485709" r:id="rId55"/>
    <p:sldLayoutId id="2147485710" r:id="rId56"/>
    <p:sldLayoutId id="2147485711" r:id="rId57"/>
    <p:sldLayoutId id="2147485712" r:id="rId58"/>
    <p:sldLayoutId id="2147485713" r:id="rId59"/>
    <p:sldLayoutId id="2147485714" r:id="rId60"/>
    <p:sldLayoutId id="2147485715" r:id="rId61"/>
    <p:sldLayoutId id="2147485716" r:id="rId62"/>
    <p:sldLayoutId id="2147485717" r:id="rId63"/>
    <p:sldLayoutId id="2147485718" r:id="rId64"/>
    <p:sldLayoutId id="2147485719" r:id="rId65"/>
    <p:sldLayoutId id="2147485720" r:id="rId66"/>
    <p:sldLayoutId id="2147485721" r:id="rId67"/>
    <p:sldLayoutId id="2147485722" r:id="rId68"/>
    <p:sldLayoutId id="2147485723" r:id="rId69"/>
    <p:sldLayoutId id="2147485724" r:id="rId70"/>
    <p:sldLayoutId id="2147485726" r:id="rId71"/>
    <p:sldLayoutId id="2147485727" r:id="rId72"/>
    <p:sldLayoutId id="2147485728" r:id="rId73"/>
    <p:sldLayoutId id="2147485729" r:id="rId74"/>
    <p:sldLayoutId id="2147485730" r:id="rId75"/>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64">
            <a:extLst>
              <a:ext uri="{96DAC541-7B7A-43D3-8B79-37D633B846F1}">
                <asvg:svgBlip xmlns:asvg="http://schemas.microsoft.com/office/drawing/2016/SVG/main" r:embed="rId65"/>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381771430"/>
      </p:ext>
    </p:extLst>
  </p:cSld>
  <p:clrMap bg1="lt1" tx1="dk1" bg2="lt2" tx2="dk2" accent1="accent1" accent2="accent2" accent3="accent3" accent4="accent4" accent5="accent5" accent6="accent6" hlink="hlink" folHlink="folHlink"/>
  <p:sldLayoutIdLst>
    <p:sldLayoutId id="2147485732" r:id="rId1"/>
    <p:sldLayoutId id="2147485733" r:id="rId2"/>
    <p:sldLayoutId id="2147485734" r:id="rId3"/>
    <p:sldLayoutId id="2147485735" r:id="rId4"/>
    <p:sldLayoutId id="2147485736" r:id="rId5"/>
    <p:sldLayoutId id="2147485737" r:id="rId6"/>
    <p:sldLayoutId id="2147485738" r:id="rId7"/>
    <p:sldLayoutId id="2147485739" r:id="rId8"/>
    <p:sldLayoutId id="2147485740" r:id="rId9"/>
    <p:sldLayoutId id="2147485741" r:id="rId10"/>
    <p:sldLayoutId id="2147485742" r:id="rId11"/>
    <p:sldLayoutId id="2147485743" r:id="rId12"/>
    <p:sldLayoutId id="2147485744" r:id="rId13"/>
    <p:sldLayoutId id="2147485745" r:id="rId14"/>
    <p:sldLayoutId id="2147485746" r:id="rId15"/>
    <p:sldLayoutId id="2147485747" r:id="rId16"/>
    <p:sldLayoutId id="2147485748" r:id="rId17"/>
    <p:sldLayoutId id="2147485749" r:id="rId18"/>
    <p:sldLayoutId id="2147485750" r:id="rId19"/>
    <p:sldLayoutId id="2147485751" r:id="rId20"/>
    <p:sldLayoutId id="2147485752" r:id="rId21"/>
    <p:sldLayoutId id="2147485753" r:id="rId22"/>
    <p:sldLayoutId id="2147485754" r:id="rId23"/>
    <p:sldLayoutId id="2147485755" r:id="rId24"/>
    <p:sldLayoutId id="2147485756" r:id="rId25"/>
    <p:sldLayoutId id="2147485757" r:id="rId26"/>
    <p:sldLayoutId id="2147485758" r:id="rId27"/>
    <p:sldLayoutId id="2147485759" r:id="rId28"/>
    <p:sldLayoutId id="2147485760" r:id="rId29"/>
    <p:sldLayoutId id="2147485761" r:id="rId30"/>
    <p:sldLayoutId id="2147485762" r:id="rId31"/>
    <p:sldLayoutId id="2147485763" r:id="rId32"/>
    <p:sldLayoutId id="2147485764" r:id="rId33"/>
    <p:sldLayoutId id="2147485765" r:id="rId34"/>
    <p:sldLayoutId id="2147485766" r:id="rId35"/>
    <p:sldLayoutId id="2147485767" r:id="rId36"/>
    <p:sldLayoutId id="2147485768" r:id="rId37"/>
    <p:sldLayoutId id="2147485769" r:id="rId38"/>
    <p:sldLayoutId id="2147485770" r:id="rId39"/>
    <p:sldLayoutId id="2147485771" r:id="rId40"/>
    <p:sldLayoutId id="2147485772" r:id="rId41"/>
    <p:sldLayoutId id="2147485773" r:id="rId42"/>
    <p:sldLayoutId id="2147485774" r:id="rId43"/>
    <p:sldLayoutId id="2147485775" r:id="rId44"/>
    <p:sldLayoutId id="2147485776" r:id="rId45"/>
    <p:sldLayoutId id="2147485777" r:id="rId46"/>
    <p:sldLayoutId id="2147485778" r:id="rId47"/>
    <p:sldLayoutId id="2147485779" r:id="rId48"/>
    <p:sldLayoutId id="2147485780" r:id="rId49"/>
    <p:sldLayoutId id="2147485781" r:id="rId50"/>
    <p:sldLayoutId id="2147485782" r:id="rId51"/>
    <p:sldLayoutId id="2147485783" r:id="rId52"/>
    <p:sldLayoutId id="2147485784" r:id="rId53"/>
    <p:sldLayoutId id="2147485785" r:id="rId54"/>
    <p:sldLayoutId id="2147485786" r:id="rId55"/>
    <p:sldLayoutId id="2147485787" r:id="rId56"/>
    <p:sldLayoutId id="2147485788" r:id="rId57"/>
    <p:sldLayoutId id="2147485789" r:id="rId58"/>
    <p:sldLayoutId id="2147485790" r:id="rId59"/>
    <p:sldLayoutId id="2147485791" r:id="rId60"/>
    <p:sldLayoutId id="2147485792" r:id="rId61"/>
    <p:sldLayoutId id="2147485793" r:id="rId6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a:t>
            </a:r>
          </a:p>
        </p:txBody>
      </p:sp>
      <p:sp>
        <p:nvSpPr>
          <p:cNvPr id="4" name="Text Placeholder 3"/>
          <p:cNvSpPr>
            <a:spLocks noGrp="1"/>
          </p:cNvSpPr>
          <p:nvPr>
            <p:ph type="body" idx="1"/>
          </p:nvPr>
        </p:nvSpPr>
        <p:spPr>
          <a:xfrm>
            <a:off x="584200" y="1435503"/>
            <a:ext cx="11018520" cy="1661993"/>
          </a:xfrm>
          <a:prstGeom prst="rect">
            <a:avLst/>
          </a:prstGeom>
        </p:spPr>
        <p:txBody>
          <a:bodyPr vert="horz" wrap="square" lIns="0" tIns="0" rIns="0" bIns="0" rtlCol="0">
            <a:spAutoFit/>
          </a:bodyPr>
          <a:lstStyle/>
          <a:p>
            <a:pPr lvl="0"/>
            <a:r>
              <a:rPr lang="en-US"/>
              <a:t>Segoe UI, size 24</a:t>
            </a:r>
          </a:p>
          <a:p>
            <a:pPr lvl="1"/>
            <a:r>
              <a:rPr lang="en-US"/>
              <a:t>Segoe UI, size 20</a:t>
            </a:r>
          </a:p>
          <a:p>
            <a:pPr lvl="2"/>
            <a:r>
              <a:rPr lang="en-US"/>
              <a:t>Segoe UI, size 18</a:t>
            </a:r>
          </a:p>
          <a:p>
            <a:pPr lvl="3"/>
            <a:r>
              <a:rPr lang="en-US"/>
              <a:t>Segoe UI, size 16</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5" cstate="hqprint">
            <a:extLst>
              <a:ext uri="{28A0092B-C50C-407E-A947-70E740481C1C}">
                <a14:useLocalDpi xmlns:a14="http://schemas.microsoft.com/office/drawing/2010/main"/>
              </a:ext>
            </a:extLst>
          </a:blip>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1664601386"/>
      </p:ext>
    </p:extLst>
  </p:cSld>
  <p:clrMap bg1="lt1" tx1="dk1" bg2="lt2" tx2="dk2" accent1="accent1" accent2="accent2" accent3="accent3" accent4="accent4" accent5="accent5" accent6="accent6" hlink="hlink" folHlink="folHlink"/>
  <p:sldLayoutIdLst>
    <p:sldLayoutId id="2147485795" r:id="rId1"/>
    <p:sldLayoutId id="2147485796" r:id="rId2"/>
    <p:sldLayoutId id="2147485797" r:id="rId3"/>
    <p:sldLayoutId id="2147485798" r:id="rId4"/>
    <p:sldLayoutId id="2147485799" r:id="rId5"/>
    <p:sldLayoutId id="2147485800" r:id="rId6"/>
    <p:sldLayoutId id="2147485801" r:id="rId7"/>
    <p:sldLayoutId id="2147485802" r:id="rId8"/>
    <p:sldLayoutId id="2147485803" r:id="rId9"/>
    <p:sldLayoutId id="2147485804" r:id="rId10"/>
    <p:sldLayoutId id="2147485805" r:id="rId11"/>
    <p:sldLayoutId id="2147485806" r:id="rId12"/>
    <p:sldLayoutId id="2147485807" r:id="rId13"/>
    <p:sldLayoutId id="2147485808" r:id="rId14"/>
    <p:sldLayoutId id="2147485809" r:id="rId15"/>
    <p:sldLayoutId id="2147485810" r:id="rId16"/>
    <p:sldLayoutId id="2147485811" r:id="rId17"/>
    <p:sldLayoutId id="2147485812" r:id="rId18"/>
    <p:sldLayoutId id="2147485813" r:id="rId19"/>
    <p:sldLayoutId id="2147485814" r:id="rId20"/>
    <p:sldLayoutId id="2147485815" r:id="rId21"/>
    <p:sldLayoutId id="2147485816" r:id="rId22"/>
    <p:sldLayoutId id="2147485817" r:id="rId23"/>
    <p:sldLayoutId id="2147485818" r:id="rId24"/>
    <p:sldLayoutId id="2147485819" r:id="rId25"/>
    <p:sldLayoutId id="2147485820" r:id="rId26"/>
    <p:sldLayoutId id="2147485821" r:id="rId27"/>
    <p:sldLayoutId id="2147485822" r:id="rId28"/>
    <p:sldLayoutId id="2147485823" r:id="rId29"/>
    <p:sldLayoutId id="2147485824" r:id="rId30"/>
    <p:sldLayoutId id="2147485825" r:id="rId31"/>
    <p:sldLayoutId id="2147485826" r:id="rId32"/>
    <p:sldLayoutId id="2147485827" r:id="rId33"/>
    <p:sldLayoutId id="2147485828" r:id="rId34"/>
    <p:sldLayoutId id="2147485829" r:id="rId35"/>
    <p:sldLayoutId id="2147485830" r:id="rId36"/>
    <p:sldLayoutId id="2147485831" r:id="rId37"/>
    <p:sldLayoutId id="2147485832" r:id="rId38"/>
    <p:sldLayoutId id="2147485833" r:id="rId39"/>
    <p:sldLayoutId id="2147485834" r:id="rId40"/>
    <p:sldLayoutId id="2147485835" r:id="rId41"/>
    <p:sldLayoutId id="2147485836" r:id="rId42"/>
    <p:sldLayoutId id="2147485837" r:id="rId4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74320" marR="0" indent="-274320" algn="l" defTabSz="932742" rtl="0" eaLnBrk="1" fontAlgn="auto" latinLnBrk="0" hangingPunct="1">
        <a:lnSpc>
          <a:spcPct val="100000"/>
        </a:lnSpc>
        <a:spcBef>
          <a:spcPts val="600"/>
        </a:spcBef>
        <a:spcAft>
          <a:spcPts val="600"/>
        </a:spcAft>
        <a:buClrTx/>
        <a:buSzPct val="90000"/>
        <a:buFont typeface="Arial" panose="020B0604020202020204" pitchFamily="34" charset="0"/>
        <a:buChar char="•"/>
        <a:tabLst/>
        <a:defRPr sz="2400" kern="1200" spc="0" baseline="0">
          <a:solidFill>
            <a:schemeClr val="tx1"/>
          </a:solidFill>
          <a:latin typeface="+mn-lt"/>
          <a:ea typeface="+mn-ea"/>
          <a:cs typeface="Segoe UI" panose="020B0502040204020203" pitchFamily="34" charset="0"/>
        </a:defRPr>
      </a:lvl1pPr>
      <a:lvl2pPr marL="548640" marR="0" indent="-274320" algn="l" defTabSz="932742" rtl="0" eaLnBrk="1" fontAlgn="auto" latinLnBrk="0" hangingPunct="1">
        <a:lnSpc>
          <a:spcPct val="100000"/>
        </a:lnSpc>
        <a:spcBef>
          <a:spcPts val="600"/>
        </a:spcBef>
        <a:spcAft>
          <a:spcPts val="600"/>
        </a:spcAft>
        <a:buClrTx/>
        <a:buSzPct val="90000"/>
        <a:buFont typeface="Arial" panose="020B0604020202020204" pitchFamily="34" charset="0"/>
        <a:buChar char="•"/>
        <a:tabLst/>
        <a:defRPr sz="2000" kern="1200" spc="0" baseline="0">
          <a:solidFill>
            <a:schemeClr val="tx1"/>
          </a:solidFill>
          <a:latin typeface="+mn-lt"/>
          <a:ea typeface="+mn-ea"/>
          <a:cs typeface="+mn-cs"/>
        </a:defRPr>
      </a:lvl2pPr>
      <a:lvl3pPr marL="822960" marR="0" indent="-274320" algn="l" defTabSz="932742" rtl="0" eaLnBrk="1" fontAlgn="auto" latinLnBrk="0" hangingPunct="1">
        <a:lnSpc>
          <a:spcPct val="100000"/>
        </a:lnSpc>
        <a:spcBef>
          <a:spcPts val="600"/>
        </a:spcBef>
        <a:spcAft>
          <a:spcPts val="600"/>
        </a:spcAft>
        <a:buClrTx/>
        <a:buSzPct val="90000"/>
        <a:buFont typeface="Arial" panose="020B0604020202020204" pitchFamily="34" charset="0"/>
        <a:buChar char="•"/>
        <a:tabLst/>
        <a:defRPr sz="1800" kern="1200" spc="0" baseline="0">
          <a:solidFill>
            <a:schemeClr val="tx1"/>
          </a:solidFill>
          <a:latin typeface="+mn-lt"/>
          <a:ea typeface="+mn-ea"/>
          <a:cs typeface="+mn-cs"/>
        </a:defRPr>
      </a:lvl3pPr>
      <a:lvl4pPr marL="1097280" marR="0" indent="-274320" algn="l" defTabSz="932742" rtl="0" eaLnBrk="1" fontAlgn="auto" latinLnBrk="0" hangingPunct="1">
        <a:lnSpc>
          <a:spcPct val="100000"/>
        </a:lnSpc>
        <a:spcBef>
          <a:spcPts val="600"/>
        </a:spcBef>
        <a:spcAft>
          <a:spcPts val="600"/>
        </a:spcAft>
        <a:buClrTx/>
        <a:buSzPct val="90000"/>
        <a:buFont typeface="Arial" panose="020B0604020202020204" pitchFamily="34" charset="0"/>
        <a:buChar char="•"/>
        <a:tabLst/>
        <a:defRPr sz="1600" kern="1200" spc="0" baseline="0">
          <a:solidFill>
            <a:schemeClr val="tx1"/>
          </a:solidFill>
          <a:latin typeface="+mn-lt"/>
          <a:ea typeface="+mn-ea"/>
          <a:cs typeface="+mn-cs"/>
        </a:defRPr>
      </a:lvl4pPr>
      <a:lvl5pPr marL="1198563" marR="0" indent="-342900" algn="l" defTabSz="932742" rtl="0" eaLnBrk="1" fontAlgn="auto" latinLnBrk="0" hangingPunct="1">
        <a:lnSpc>
          <a:spcPct val="100000"/>
        </a:lnSpc>
        <a:spcBef>
          <a:spcPts val="600"/>
        </a:spcBef>
        <a:spcAft>
          <a:spcPts val="600"/>
        </a:spcAft>
        <a:buClrTx/>
        <a:buSzPct val="90000"/>
        <a:buFont typeface="Arial" panose="020B0604020202020204" pitchFamily="34" charset="0"/>
        <a:buChar char="•"/>
        <a:tabLst/>
        <a:defRPr sz="18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https://aka.ms/AIDiscovery" TargetMode="External"/><Relationship Id="rId2" Type="http://schemas.openxmlformats.org/officeDocument/2006/relationships/notesSlide" Target="../notesSlides/notesSlide1.xml"/><Relationship Id="rId1" Type="http://schemas.openxmlformats.org/officeDocument/2006/relationships/slideLayout" Target="../slideLayouts/slideLayout69.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38.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3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86.xml"/></Relationships>
</file>

<file path=ppt/slides/_rels/slide15.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240.xml"/></Relationships>
</file>

<file path=ppt/slides/_rels/slide16.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8.xml"/><Relationship Id="rId1" Type="http://schemas.openxmlformats.org/officeDocument/2006/relationships/slideLayout" Target="../slideLayouts/slideLayout240.xml"/></Relationships>
</file>

<file path=ppt/slides/_rels/slide17.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9.xml"/><Relationship Id="rId1" Type="http://schemas.openxmlformats.org/officeDocument/2006/relationships/slideLayout" Target="../slideLayouts/slideLayout240.xml"/></Relationships>
</file>

<file path=ppt/slides/_rels/slide18.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0.xml"/><Relationship Id="rId1" Type="http://schemas.openxmlformats.org/officeDocument/2006/relationships/slideLayout" Target="../slideLayouts/slideLayout240.xml"/></Relationships>
</file>

<file path=ppt/slides/_rels/slide19.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1.xml"/><Relationship Id="rId1" Type="http://schemas.openxmlformats.org/officeDocument/2006/relationships/slideLayout" Target="../slideLayouts/slideLayout65.xml"/></Relationships>
</file>

<file path=ppt/slides/_rels/slide2.xml.rels><?xml version="1.0" encoding="UTF-8" standalone="yes"?>
<Relationships xmlns="http://schemas.openxmlformats.org/package/2006/relationships"><Relationship Id="rId2" Type="http://schemas.openxmlformats.org/officeDocument/2006/relationships/hyperlink" Target="https://aka.ms/AIDiscovery" TargetMode="External"/><Relationship Id="rId1" Type="http://schemas.openxmlformats.org/officeDocument/2006/relationships/slideLayout" Target="../slideLayouts/slideLayout62.xml"/></Relationships>
</file>

<file path=ppt/slides/_rels/slide20.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2.xml"/><Relationship Id="rId1" Type="http://schemas.openxmlformats.org/officeDocument/2006/relationships/slideLayout" Target="../slideLayouts/slideLayout6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8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8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8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8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8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8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8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8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84.xml"/></Relationships>
</file>

<file path=ppt/slides/_rels/slide3.xml.rels><?xml version="1.0" encoding="UTF-8" standalone="yes"?>
<Relationships xmlns="http://schemas.openxmlformats.org/package/2006/relationships"><Relationship Id="rId3" Type="http://schemas.openxmlformats.org/officeDocument/2006/relationships/slide" Target="slide20.xml"/><Relationship Id="rId2" Type="http://schemas.openxmlformats.org/officeDocument/2006/relationships/slide" Target="slide3.xml"/><Relationship Id="rId1" Type="http://schemas.openxmlformats.org/officeDocument/2006/relationships/slideLayout" Target="../slideLayouts/slideLayout150.xml"/><Relationship Id="rId4" Type="http://schemas.openxmlformats.org/officeDocument/2006/relationships/slide" Target="slide3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8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84.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8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8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8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86.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67.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67.xml"/></Relationships>
</file>

<file path=ppt/slides/_rels/slide38.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184.xml"/><Relationship Id="rId4" Type="http://schemas.openxmlformats.org/officeDocument/2006/relationships/image" Target="../media/image56.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8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40.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40.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40.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4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40.xml"/></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C1AB5CB-88EF-445A-B509-D06E09C59C62}"/>
              </a:ext>
            </a:extLst>
          </p:cNvPr>
          <p:cNvSpPr>
            <a:spLocks noGrp="1"/>
          </p:cNvSpPr>
          <p:nvPr>
            <p:ph type="title"/>
          </p:nvPr>
        </p:nvSpPr>
        <p:spPr>
          <a:xfrm>
            <a:off x="588263" y="457200"/>
            <a:ext cx="8873238" cy="492443"/>
          </a:xfrm>
        </p:spPr>
        <p:txBody>
          <a:bodyPr>
            <a:normAutofit fontScale="90000"/>
          </a:bodyPr>
          <a:lstStyle/>
          <a:p>
            <a:r>
              <a:rPr lang="en-US"/>
              <a:t>Presentation brief </a:t>
            </a:r>
            <a:r>
              <a:rPr lang="en-US" sz="2000">
                <a:solidFill>
                  <a:srgbClr val="FF0000"/>
                </a:solidFill>
              </a:rPr>
              <a:t>(hidden)</a:t>
            </a:r>
            <a:endParaRPr lang="en-US">
              <a:solidFill>
                <a:srgbClr val="FF0000"/>
              </a:solidFill>
            </a:endParaRPr>
          </a:p>
        </p:txBody>
      </p:sp>
      <p:graphicFrame>
        <p:nvGraphicFramePr>
          <p:cNvPr id="6" name="Table 5">
            <a:extLst>
              <a:ext uri="{FF2B5EF4-FFF2-40B4-BE49-F238E27FC236}">
                <a16:creationId xmlns:a16="http://schemas.microsoft.com/office/drawing/2014/main" id="{64ED91EA-AF16-4E61-BE01-A65A94E4EAD6}"/>
              </a:ext>
            </a:extLst>
          </p:cNvPr>
          <p:cNvGraphicFramePr>
            <a:graphicFrameLocks noGrp="1"/>
          </p:cNvGraphicFramePr>
          <p:nvPr>
            <p:extLst>
              <p:ext uri="{D42A27DB-BD31-4B8C-83A1-F6EECF244321}">
                <p14:modId xmlns:p14="http://schemas.microsoft.com/office/powerpoint/2010/main" val="2765225150"/>
              </p:ext>
            </p:extLst>
          </p:nvPr>
        </p:nvGraphicFramePr>
        <p:xfrm>
          <a:off x="588263" y="1021938"/>
          <a:ext cx="11018520" cy="5424368"/>
        </p:xfrm>
        <a:graphic>
          <a:graphicData uri="http://schemas.openxmlformats.org/drawingml/2006/table">
            <a:tbl>
              <a:tblPr firstRow="1" firstCol="1" bandRow="1"/>
              <a:tblGrid>
                <a:gridCol w="1831961">
                  <a:extLst>
                    <a:ext uri="{9D8B030D-6E8A-4147-A177-3AD203B41FA5}">
                      <a16:colId xmlns:a16="http://schemas.microsoft.com/office/drawing/2014/main" val="20000"/>
                    </a:ext>
                  </a:extLst>
                </a:gridCol>
                <a:gridCol w="9186559">
                  <a:extLst>
                    <a:ext uri="{9D8B030D-6E8A-4147-A177-3AD203B41FA5}">
                      <a16:colId xmlns:a16="http://schemas.microsoft.com/office/drawing/2014/main" val="20001"/>
                    </a:ext>
                  </a:extLst>
                </a:gridCol>
              </a:tblGrid>
              <a:tr h="302342">
                <a:tc>
                  <a:txBody>
                    <a:bodyPr/>
                    <a:lstStyle>
                      <a:lvl1pPr marL="0" algn="l" defTabSz="685094" rtl="0" eaLnBrk="1" latinLnBrk="0" hangingPunct="1">
                        <a:defRPr sz="1400" kern="1200">
                          <a:solidFill>
                            <a:schemeClr val="tx1"/>
                          </a:solidFill>
                          <a:latin typeface="Segoe UI"/>
                          <a:ea typeface=""/>
                          <a:cs typeface=""/>
                        </a:defRPr>
                      </a:lvl1pPr>
                      <a:lvl2pPr marL="342529" algn="l" defTabSz="685094" rtl="0" eaLnBrk="1" latinLnBrk="0" hangingPunct="1">
                        <a:defRPr sz="1400" kern="1200">
                          <a:solidFill>
                            <a:schemeClr val="tx1"/>
                          </a:solidFill>
                          <a:latin typeface="Segoe UI"/>
                          <a:ea typeface=""/>
                          <a:cs typeface=""/>
                        </a:defRPr>
                      </a:lvl2pPr>
                      <a:lvl3pPr marL="685094" algn="l" defTabSz="685094" rtl="0" eaLnBrk="1" latinLnBrk="0" hangingPunct="1">
                        <a:defRPr sz="1400" kern="1200">
                          <a:solidFill>
                            <a:schemeClr val="tx1"/>
                          </a:solidFill>
                          <a:latin typeface="Segoe UI"/>
                          <a:ea typeface=""/>
                          <a:cs typeface=""/>
                        </a:defRPr>
                      </a:lvl3pPr>
                      <a:lvl4pPr marL="1027639" algn="l" defTabSz="685094" rtl="0" eaLnBrk="1" latinLnBrk="0" hangingPunct="1">
                        <a:defRPr sz="1400" kern="1200">
                          <a:solidFill>
                            <a:schemeClr val="tx1"/>
                          </a:solidFill>
                          <a:latin typeface="Segoe UI"/>
                          <a:ea typeface=""/>
                          <a:cs typeface=""/>
                        </a:defRPr>
                      </a:lvl4pPr>
                      <a:lvl5pPr marL="1370189" algn="l" defTabSz="685094" rtl="0" eaLnBrk="1" latinLnBrk="0" hangingPunct="1">
                        <a:defRPr sz="1400" kern="1200">
                          <a:solidFill>
                            <a:schemeClr val="tx1"/>
                          </a:solidFill>
                          <a:latin typeface="Segoe UI"/>
                          <a:ea typeface=""/>
                          <a:cs typeface=""/>
                        </a:defRPr>
                      </a:lvl5pPr>
                      <a:lvl6pPr marL="1712718" algn="l" defTabSz="685094" rtl="0" eaLnBrk="1" latinLnBrk="0" hangingPunct="1">
                        <a:defRPr sz="1400" kern="1200">
                          <a:solidFill>
                            <a:schemeClr val="tx1"/>
                          </a:solidFill>
                          <a:latin typeface="Segoe UI"/>
                          <a:ea typeface=""/>
                          <a:cs typeface=""/>
                        </a:defRPr>
                      </a:lvl6pPr>
                      <a:lvl7pPr marL="2055279" algn="l" defTabSz="685094" rtl="0" eaLnBrk="1" latinLnBrk="0" hangingPunct="1">
                        <a:defRPr sz="1400" kern="1200">
                          <a:solidFill>
                            <a:schemeClr val="tx1"/>
                          </a:solidFill>
                          <a:latin typeface="Segoe UI"/>
                          <a:ea typeface=""/>
                          <a:cs typeface=""/>
                        </a:defRPr>
                      </a:lvl7pPr>
                      <a:lvl8pPr marL="2397824" algn="l" defTabSz="685094" rtl="0" eaLnBrk="1" latinLnBrk="0" hangingPunct="1">
                        <a:defRPr sz="1400" kern="1200">
                          <a:solidFill>
                            <a:schemeClr val="tx1"/>
                          </a:solidFill>
                          <a:latin typeface="Segoe UI"/>
                          <a:ea typeface=""/>
                          <a:cs typeface=""/>
                        </a:defRPr>
                      </a:lvl8pPr>
                      <a:lvl9pPr marL="2740376" algn="l" defTabSz="685094" rtl="0" eaLnBrk="1" latinLnBrk="0" hangingPunct="1">
                        <a:defRPr sz="1400" kern="1200">
                          <a:solidFill>
                            <a:schemeClr val="tx1"/>
                          </a:solidFill>
                          <a:latin typeface="Segoe UI"/>
                          <a:ea typeface=""/>
                          <a:cs typeface=""/>
                        </a:defRPr>
                      </a:lvl9pPr>
                    </a:lstStyle>
                    <a:p>
                      <a:pPr algn="r"/>
                      <a:r>
                        <a:rPr lang="en-US" sz="1200" b="1">
                          <a:solidFill>
                            <a:schemeClr val="tx1"/>
                          </a:solidFill>
                          <a:latin typeface="+mj-lt"/>
                        </a:rPr>
                        <a:t>Title of presentation</a:t>
                      </a:r>
                    </a:p>
                  </a:txBody>
                  <a:tcPr anchor="ctr">
                    <a:lnL w="6350" cap="flat" cmpd="sng" algn="ctr">
                      <a:solidFill>
                        <a:schemeClr val="tx1">
                          <a:lumMod val="75000"/>
                        </a:schemeClr>
                      </a:solidFill>
                      <a:prstDash val="solid"/>
                      <a:round/>
                      <a:headEnd type="none" w="med" len="med"/>
                      <a:tailEnd type="none" w="med" len="med"/>
                    </a:lnL>
                    <a:lnR w="6350" cap="flat" cmpd="sng" algn="ctr">
                      <a:solidFill>
                        <a:schemeClr val="tx1">
                          <a:lumMod val="75000"/>
                        </a:schemeClr>
                      </a:solidFill>
                      <a:prstDash val="solid"/>
                      <a:round/>
                      <a:headEnd type="none" w="med" len="med"/>
                      <a:tailEnd type="none" w="med" len="med"/>
                    </a:lnR>
                    <a:lnT w="6350" cap="flat" cmpd="sng" algn="ctr">
                      <a:solidFill>
                        <a:schemeClr val="tx1">
                          <a:lumMod val="75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alpha val="52000"/>
                      </a:schemeClr>
                    </a:solidFill>
                  </a:tcPr>
                </a:tc>
                <a:tc>
                  <a:txBody>
                    <a:bodyPr/>
                    <a:lstStyle>
                      <a:lvl1pPr marL="0" algn="l" defTabSz="685094" rtl="0" eaLnBrk="1" latinLnBrk="0" hangingPunct="1">
                        <a:defRPr sz="1400" kern="1200">
                          <a:solidFill>
                            <a:schemeClr val="tx1"/>
                          </a:solidFill>
                          <a:latin typeface="Segoe UI"/>
                          <a:ea typeface=""/>
                          <a:cs typeface=""/>
                        </a:defRPr>
                      </a:lvl1pPr>
                      <a:lvl2pPr marL="342529" algn="l" defTabSz="685094" rtl="0" eaLnBrk="1" latinLnBrk="0" hangingPunct="1">
                        <a:defRPr sz="1400" kern="1200">
                          <a:solidFill>
                            <a:schemeClr val="tx1"/>
                          </a:solidFill>
                          <a:latin typeface="Segoe UI"/>
                          <a:ea typeface=""/>
                          <a:cs typeface=""/>
                        </a:defRPr>
                      </a:lvl2pPr>
                      <a:lvl3pPr marL="685094" algn="l" defTabSz="685094" rtl="0" eaLnBrk="1" latinLnBrk="0" hangingPunct="1">
                        <a:defRPr sz="1400" kern="1200">
                          <a:solidFill>
                            <a:schemeClr val="tx1"/>
                          </a:solidFill>
                          <a:latin typeface="Segoe UI"/>
                          <a:ea typeface=""/>
                          <a:cs typeface=""/>
                        </a:defRPr>
                      </a:lvl3pPr>
                      <a:lvl4pPr marL="1027639" algn="l" defTabSz="685094" rtl="0" eaLnBrk="1" latinLnBrk="0" hangingPunct="1">
                        <a:defRPr sz="1400" kern="1200">
                          <a:solidFill>
                            <a:schemeClr val="tx1"/>
                          </a:solidFill>
                          <a:latin typeface="Segoe UI"/>
                          <a:ea typeface=""/>
                          <a:cs typeface=""/>
                        </a:defRPr>
                      </a:lvl4pPr>
                      <a:lvl5pPr marL="1370189" algn="l" defTabSz="685094" rtl="0" eaLnBrk="1" latinLnBrk="0" hangingPunct="1">
                        <a:defRPr sz="1400" kern="1200">
                          <a:solidFill>
                            <a:schemeClr val="tx1"/>
                          </a:solidFill>
                          <a:latin typeface="Segoe UI"/>
                          <a:ea typeface=""/>
                          <a:cs typeface=""/>
                        </a:defRPr>
                      </a:lvl5pPr>
                      <a:lvl6pPr marL="1712718" algn="l" defTabSz="685094" rtl="0" eaLnBrk="1" latinLnBrk="0" hangingPunct="1">
                        <a:defRPr sz="1400" kern="1200">
                          <a:solidFill>
                            <a:schemeClr val="tx1"/>
                          </a:solidFill>
                          <a:latin typeface="Segoe UI"/>
                          <a:ea typeface=""/>
                          <a:cs typeface=""/>
                        </a:defRPr>
                      </a:lvl6pPr>
                      <a:lvl7pPr marL="2055279" algn="l" defTabSz="685094" rtl="0" eaLnBrk="1" latinLnBrk="0" hangingPunct="1">
                        <a:defRPr sz="1400" kern="1200">
                          <a:solidFill>
                            <a:schemeClr val="tx1"/>
                          </a:solidFill>
                          <a:latin typeface="Segoe UI"/>
                          <a:ea typeface=""/>
                          <a:cs typeface=""/>
                        </a:defRPr>
                      </a:lvl7pPr>
                      <a:lvl8pPr marL="2397824" algn="l" defTabSz="685094" rtl="0" eaLnBrk="1" latinLnBrk="0" hangingPunct="1">
                        <a:defRPr sz="1400" kern="1200">
                          <a:solidFill>
                            <a:schemeClr val="tx1"/>
                          </a:solidFill>
                          <a:latin typeface="Segoe UI"/>
                          <a:ea typeface=""/>
                          <a:cs typeface=""/>
                        </a:defRPr>
                      </a:lvl8pPr>
                      <a:lvl9pPr marL="2740376" algn="l" defTabSz="685094" rtl="0" eaLnBrk="1" latinLnBrk="0" hangingPunct="1">
                        <a:defRPr sz="1400" kern="1200">
                          <a:solidFill>
                            <a:schemeClr val="tx1"/>
                          </a:solidFill>
                          <a:latin typeface="Segoe UI"/>
                          <a:ea typeface=""/>
                          <a:cs typeface=""/>
                        </a:defRPr>
                      </a:lvl9pPr>
                    </a:lstStyle>
                    <a:p>
                      <a:r>
                        <a:rPr lang="en-US" sz="1200" dirty="0">
                          <a:latin typeface="+mn-lt"/>
                          <a:cs typeface="Segoe UI"/>
                        </a:rPr>
                        <a:t>AI Use Cases Discover and Define Templates</a:t>
                      </a:r>
                      <a:endParaRPr lang="en-US" sz="1200" b="0" dirty="0">
                        <a:solidFill>
                          <a:schemeClr val="tx1"/>
                        </a:solidFill>
                        <a:latin typeface="+mn-lt"/>
                      </a:endParaRPr>
                    </a:p>
                  </a:txBody>
                  <a:tcPr marL="243707" marR="121853" marT="121853" marB="121853" anchor="ctr">
                    <a:lnL w="6350" cap="flat" cmpd="sng" algn="ctr">
                      <a:solidFill>
                        <a:schemeClr val="tx1">
                          <a:lumMod val="75000"/>
                        </a:schemeClr>
                      </a:solidFill>
                      <a:prstDash val="solid"/>
                      <a:round/>
                      <a:headEnd type="none" w="med" len="med"/>
                      <a:tailEnd type="none" w="med" len="med"/>
                    </a:lnL>
                    <a:lnR w="6350" cap="flat" cmpd="sng" algn="ctr">
                      <a:solidFill>
                        <a:schemeClr val="tx1">
                          <a:lumMod val="75000"/>
                        </a:schemeClr>
                      </a:solidFill>
                      <a:prstDash val="solid"/>
                      <a:round/>
                      <a:headEnd type="none" w="med" len="med"/>
                      <a:tailEnd type="none" w="med" len="med"/>
                    </a:lnR>
                    <a:lnT w="6350" cap="flat" cmpd="sng" algn="ctr">
                      <a:solidFill>
                        <a:schemeClr val="tx1">
                          <a:lumMod val="75000"/>
                        </a:schemeClr>
                      </a:solidFill>
                      <a:prstDash val="solid"/>
                      <a:round/>
                      <a:headEnd type="none" w="med" len="med"/>
                      <a:tailEnd type="none" w="med" len="med"/>
                    </a:lnT>
                    <a:lnB w="6350" cap="flat" cmpd="sng" algn="ctr">
                      <a:solidFill>
                        <a:schemeClr val="tx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02342">
                <a:tc>
                  <a:txBody>
                    <a:bodyPr/>
                    <a:lstStyle>
                      <a:lvl1pPr marL="0" algn="l" defTabSz="685094" rtl="0" eaLnBrk="1" latinLnBrk="0" hangingPunct="1">
                        <a:defRPr sz="1400" kern="1200">
                          <a:solidFill>
                            <a:schemeClr val="tx1"/>
                          </a:solidFill>
                          <a:latin typeface="Segoe UI"/>
                          <a:ea typeface=""/>
                          <a:cs typeface=""/>
                        </a:defRPr>
                      </a:lvl1pPr>
                      <a:lvl2pPr marL="342529" algn="l" defTabSz="685094" rtl="0" eaLnBrk="1" latinLnBrk="0" hangingPunct="1">
                        <a:defRPr sz="1400" kern="1200">
                          <a:solidFill>
                            <a:schemeClr val="tx1"/>
                          </a:solidFill>
                          <a:latin typeface="Segoe UI"/>
                          <a:ea typeface=""/>
                          <a:cs typeface=""/>
                        </a:defRPr>
                      </a:lvl2pPr>
                      <a:lvl3pPr marL="685094" algn="l" defTabSz="685094" rtl="0" eaLnBrk="1" latinLnBrk="0" hangingPunct="1">
                        <a:defRPr sz="1400" kern="1200">
                          <a:solidFill>
                            <a:schemeClr val="tx1"/>
                          </a:solidFill>
                          <a:latin typeface="Segoe UI"/>
                          <a:ea typeface=""/>
                          <a:cs typeface=""/>
                        </a:defRPr>
                      </a:lvl3pPr>
                      <a:lvl4pPr marL="1027639" algn="l" defTabSz="685094" rtl="0" eaLnBrk="1" latinLnBrk="0" hangingPunct="1">
                        <a:defRPr sz="1400" kern="1200">
                          <a:solidFill>
                            <a:schemeClr val="tx1"/>
                          </a:solidFill>
                          <a:latin typeface="Segoe UI"/>
                          <a:ea typeface=""/>
                          <a:cs typeface=""/>
                        </a:defRPr>
                      </a:lvl4pPr>
                      <a:lvl5pPr marL="1370189" algn="l" defTabSz="685094" rtl="0" eaLnBrk="1" latinLnBrk="0" hangingPunct="1">
                        <a:defRPr sz="1400" kern="1200">
                          <a:solidFill>
                            <a:schemeClr val="tx1"/>
                          </a:solidFill>
                          <a:latin typeface="Segoe UI"/>
                          <a:ea typeface=""/>
                          <a:cs typeface=""/>
                        </a:defRPr>
                      </a:lvl5pPr>
                      <a:lvl6pPr marL="1712718" algn="l" defTabSz="685094" rtl="0" eaLnBrk="1" latinLnBrk="0" hangingPunct="1">
                        <a:defRPr sz="1400" kern="1200">
                          <a:solidFill>
                            <a:schemeClr val="tx1"/>
                          </a:solidFill>
                          <a:latin typeface="Segoe UI"/>
                          <a:ea typeface=""/>
                          <a:cs typeface=""/>
                        </a:defRPr>
                      </a:lvl6pPr>
                      <a:lvl7pPr marL="2055279" algn="l" defTabSz="685094" rtl="0" eaLnBrk="1" latinLnBrk="0" hangingPunct="1">
                        <a:defRPr sz="1400" kern="1200">
                          <a:solidFill>
                            <a:schemeClr val="tx1"/>
                          </a:solidFill>
                          <a:latin typeface="Segoe UI"/>
                          <a:ea typeface=""/>
                          <a:cs typeface=""/>
                        </a:defRPr>
                      </a:lvl7pPr>
                      <a:lvl8pPr marL="2397824" algn="l" defTabSz="685094" rtl="0" eaLnBrk="1" latinLnBrk="0" hangingPunct="1">
                        <a:defRPr sz="1400" kern="1200">
                          <a:solidFill>
                            <a:schemeClr val="tx1"/>
                          </a:solidFill>
                          <a:latin typeface="Segoe UI"/>
                          <a:ea typeface=""/>
                          <a:cs typeface=""/>
                        </a:defRPr>
                      </a:lvl8pPr>
                      <a:lvl9pPr marL="2740376" algn="l" defTabSz="685094" rtl="0" eaLnBrk="1" latinLnBrk="0" hangingPunct="1">
                        <a:defRPr sz="1400" kern="1200">
                          <a:solidFill>
                            <a:schemeClr val="tx1"/>
                          </a:solidFill>
                          <a:latin typeface="Segoe UI"/>
                          <a:ea typeface=""/>
                          <a:cs typeface=""/>
                        </a:defRPr>
                      </a:lvl9pPr>
                    </a:lstStyle>
                    <a:p>
                      <a:pPr algn="r"/>
                      <a:r>
                        <a:rPr lang="en-US" sz="1200" b="1">
                          <a:solidFill>
                            <a:schemeClr val="tx1"/>
                          </a:solidFill>
                          <a:latin typeface="+mj-lt"/>
                        </a:rPr>
                        <a:t>Presentation</a:t>
                      </a:r>
                      <a:r>
                        <a:rPr lang="en-US" sz="1200" b="1" baseline="0">
                          <a:solidFill>
                            <a:schemeClr val="tx1"/>
                          </a:solidFill>
                          <a:latin typeface="+mj-lt"/>
                        </a:rPr>
                        <a:t> length</a:t>
                      </a:r>
                      <a:r>
                        <a:rPr lang="en-US" sz="1200" b="1">
                          <a:solidFill>
                            <a:schemeClr val="tx1"/>
                          </a:solidFill>
                          <a:latin typeface="+mj-lt"/>
                        </a:rPr>
                        <a:t> </a:t>
                      </a:r>
                    </a:p>
                  </a:txBody>
                  <a:tcPr anchor="ctr">
                    <a:lnL w="6350" cap="flat" cmpd="sng" algn="ctr">
                      <a:solidFill>
                        <a:schemeClr val="tx1">
                          <a:lumMod val="75000"/>
                        </a:schemeClr>
                      </a:solidFill>
                      <a:prstDash val="solid"/>
                      <a:round/>
                      <a:headEnd type="none" w="med" len="med"/>
                      <a:tailEnd type="none" w="med" len="med"/>
                    </a:lnL>
                    <a:lnR w="6350" cap="flat" cmpd="sng" algn="ctr">
                      <a:solidFill>
                        <a:schemeClr val="tx1">
                          <a:lumMod val="75000"/>
                        </a:schemeClr>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alpha val="52000"/>
                      </a:schemeClr>
                    </a:solidFill>
                  </a:tcPr>
                </a:tc>
                <a:tc>
                  <a:txBody>
                    <a:bodyPr/>
                    <a:lstStyle>
                      <a:lvl1pPr marL="0" algn="l" defTabSz="685094" rtl="0" eaLnBrk="1" latinLnBrk="0" hangingPunct="1">
                        <a:defRPr sz="1400" kern="1200">
                          <a:solidFill>
                            <a:schemeClr val="tx1"/>
                          </a:solidFill>
                          <a:latin typeface="Segoe UI"/>
                          <a:ea typeface=""/>
                          <a:cs typeface=""/>
                        </a:defRPr>
                      </a:lvl1pPr>
                      <a:lvl2pPr marL="342529" algn="l" defTabSz="685094" rtl="0" eaLnBrk="1" latinLnBrk="0" hangingPunct="1">
                        <a:defRPr sz="1400" kern="1200">
                          <a:solidFill>
                            <a:schemeClr val="tx1"/>
                          </a:solidFill>
                          <a:latin typeface="Segoe UI"/>
                          <a:ea typeface=""/>
                          <a:cs typeface=""/>
                        </a:defRPr>
                      </a:lvl2pPr>
                      <a:lvl3pPr marL="685094" algn="l" defTabSz="685094" rtl="0" eaLnBrk="1" latinLnBrk="0" hangingPunct="1">
                        <a:defRPr sz="1400" kern="1200">
                          <a:solidFill>
                            <a:schemeClr val="tx1"/>
                          </a:solidFill>
                          <a:latin typeface="Segoe UI"/>
                          <a:ea typeface=""/>
                          <a:cs typeface=""/>
                        </a:defRPr>
                      </a:lvl3pPr>
                      <a:lvl4pPr marL="1027639" algn="l" defTabSz="685094" rtl="0" eaLnBrk="1" latinLnBrk="0" hangingPunct="1">
                        <a:defRPr sz="1400" kern="1200">
                          <a:solidFill>
                            <a:schemeClr val="tx1"/>
                          </a:solidFill>
                          <a:latin typeface="Segoe UI"/>
                          <a:ea typeface=""/>
                          <a:cs typeface=""/>
                        </a:defRPr>
                      </a:lvl4pPr>
                      <a:lvl5pPr marL="1370189" algn="l" defTabSz="685094" rtl="0" eaLnBrk="1" latinLnBrk="0" hangingPunct="1">
                        <a:defRPr sz="1400" kern="1200">
                          <a:solidFill>
                            <a:schemeClr val="tx1"/>
                          </a:solidFill>
                          <a:latin typeface="Segoe UI"/>
                          <a:ea typeface=""/>
                          <a:cs typeface=""/>
                        </a:defRPr>
                      </a:lvl5pPr>
                      <a:lvl6pPr marL="1712718" algn="l" defTabSz="685094" rtl="0" eaLnBrk="1" latinLnBrk="0" hangingPunct="1">
                        <a:defRPr sz="1400" kern="1200">
                          <a:solidFill>
                            <a:schemeClr val="tx1"/>
                          </a:solidFill>
                          <a:latin typeface="Segoe UI"/>
                          <a:ea typeface=""/>
                          <a:cs typeface=""/>
                        </a:defRPr>
                      </a:lvl6pPr>
                      <a:lvl7pPr marL="2055279" algn="l" defTabSz="685094" rtl="0" eaLnBrk="1" latinLnBrk="0" hangingPunct="1">
                        <a:defRPr sz="1400" kern="1200">
                          <a:solidFill>
                            <a:schemeClr val="tx1"/>
                          </a:solidFill>
                          <a:latin typeface="Segoe UI"/>
                          <a:ea typeface=""/>
                          <a:cs typeface=""/>
                        </a:defRPr>
                      </a:lvl7pPr>
                      <a:lvl8pPr marL="2397824" algn="l" defTabSz="685094" rtl="0" eaLnBrk="1" latinLnBrk="0" hangingPunct="1">
                        <a:defRPr sz="1400" kern="1200">
                          <a:solidFill>
                            <a:schemeClr val="tx1"/>
                          </a:solidFill>
                          <a:latin typeface="Segoe UI"/>
                          <a:ea typeface=""/>
                          <a:cs typeface=""/>
                        </a:defRPr>
                      </a:lvl8pPr>
                      <a:lvl9pPr marL="2740376" algn="l" defTabSz="685094" rtl="0" eaLnBrk="1" latinLnBrk="0" hangingPunct="1">
                        <a:defRPr sz="1400" kern="1200">
                          <a:solidFill>
                            <a:schemeClr val="tx1"/>
                          </a:solidFill>
                          <a:latin typeface="Segoe UI"/>
                          <a:ea typeface=""/>
                          <a:cs typeface=""/>
                        </a:defRPr>
                      </a:lvl9pPr>
                    </a:lstStyle>
                    <a:p>
                      <a:pPr marL="0" algn="l" defTabSz="914363" rtl="0" eaLnBrk="1" latinLnBrk="0" hangingPunct="1"/>
                      <a:r>
                        <a:rPr lang="en-US" sz="1200" b="0" kern="1200" baseline="0">
                          <a:solidFill>
                            <a:schemeClr val="tx1"/>
                          </a:solidFill>
                          <a:latin typeface="+mn-lt"/>
                          <a:ea typeface="+mn-ea"/>
                          <a:cs typeface="+mn-cs"/>
                        </a:rPr>
                        <a:t>none</a:t>
                      </a:r>
                    </a:p>
                  </a:txBody>
                  <a:tcPr marL="243707" marR="121853" marT="121853" marB="121853" anchor="ctr">
                    <a:lnL w="6350" cap="flat" cmpd="sng" algn="ctr">
                      <a:solidFill>
                        <a:schemeClr val="tx1">
                          <a:lumMod val="75000"/>
                        </a:schemeClr>
                      </a:solidFill>
                      <a:prstDash val="solid"/>
                      <a:round/>
                      <a:headEnd type="none" w="med" len="med"/>
                      <a:tailEnd type="none" w="med" len="med"/>
                    </a:lnL>
                    <a:lnR w="6350" cap="flat" cmpd="sng" algn="ctr">
                      <a:solidFill>
                        <a:schemeClr val="tx1">
                          <a:lumMod val="75000"/>
                        </a:schemeClr>
                      </a:solidFill>
                      <a:prstDash val="solid"/>
                      <a:round/>
                      <a:headEnd type="none" w="med" len="med"/>
                      <a:tailEnd type="none" w="med" len="med"/>
                    </a:lnR>
                    <a:lnT w="6350" cap="flat" cmpd="sng" algn="ctr">
                      <a:solidFill>
                        <a:schemeClr val="tx1">
                          <a:lumMod val="75000"/>
                        </a:schemeClr>
                      </a:solidFill>
                      <a:prstDash val="solid"/>
                      <a:round/>
                      <a:headEnd type="none" w="med" len="med"/>
                      <a:tailEnd type="none" w="med" len="med"/>
                    </a:lnT>
                    <a:lnB w="6350" cap="flat" cmpd="sng" algn="ctr">
                      <a:solidFill>
                        <a:schemeClr val="tx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02342">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gn="r"/>
                      <a:r>
                        <a:rPr lang="en-US" sz="1200" b="1" kern="1200" baseline="0">
                          <a:solidFill>
                            <a:schemeClr val="tx1"/>
                          </a:solidFill>
                          <a:latin typeface="+mj-lt"/>
                          <a:ea typeface=""/>
                          <a:cs typeface=""/>
                        </a:rPr>
                        <a:t>Audience</a:t>
                      </a:r>
                      <a:endParaRPr lang="en-US" sz="1200" b="1" kern="1200">
                        <a:solidFill>
                          <a:schemeClr val="tx1"/>
                        </a:solidFill>
                        <a:latin typeface="+mj-lt"/>
                        <a:ea typeface=""/>
                        <a:cs typeface=""/>
                      </a:endParaRPr>
                    </a:p>
                  </a:txBody>
                  <a:tcPr anchor="ctr">
                    <a:lnL w="6350" cap="flat" cmpd="sng" algn="ctr">
                      <a:solidFill>
                        <a:schemeClr val="tx1">
                          <a:lumMod val="75000"/>
                        </a:schemeClr>
                      </a:solidFill>
                      <a:prstDash val="solid"/>
                      <a:round/>
                      <a:headEnd type="none" w="med" len="med"/>
                      <a:tailEnd type="none" w="med" len="med"/>
                    </a:lnL>
                    <a:lnR w="6350" cap="flat" cmpd="sng" algn="ctr">
                      <a:solidFill>
                        <a:schemeClr val="tx1">
                          <a:lumMod val="75000"/>
                        </a:schemeClr>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alpha val="52000"/>
                      </a:schemeClr>
                    </a:solid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marL="0" algn="l" defTabSz="914363" rtl="0" eaLnBrk="1" latinLnBrk="0" hangingPunct="1"/>
                      <a:r>
                        <a:rPr lang="en-US" sz="1200">
                          <a:solidFill>
                            <a:schemeClr val="tx1"/>
                          </a:solidFill>
                          <a:latin typeface="+mn-lt"/>
                        </a:rPr>
                        <a:t>Microsoft and Customer</a:t>
                      </a:r>
                    </a:p>
                  </a:txBody>
                  <a:tcPr marL="243707" marR="121853" marT="121853" marB="121853" anchor="ctr">
                    <a:lnL w="6350" cap="flat" cmpd="sng" algn="ctr">
                      <a:solidFill>
                        <a:schemeClr val="tx1">
                          <a:lumMod val="75000"/>
                        </a:schemeClr>
                      </a:solidFill>
                      <a:prstDash val="solid"/>
                      <a:round/>
                      <a:headEnd type="none" w="med" len="med"/>
                      <a:tailEnd type="none" w="med" len="med"/>
                    </a:lnL>
                    <a:lnR w="6350" cap="flat" cmpd="sng" algn="ctr">
                      <a:solidFill>
                        <a:schemeClr val="tx1">
                          <a:lumMod val="75000"/>
                        </a:schemeClr>
                      </a:solidFill>
                      <a:prstDash val="solid"/>
                      <a:round/>
                      <a:headEnd type="none" w="med" len="med"/>
                      <a:tailEnd type="none" w="med" len="med"/>
                    </a:lnR>
                    <a:lnT w="6350" cap="flat" cmpd="sng" algn="ctr">
                      <a:solidFill>
                        <a:schemeClr val="tx1">
                          <a:lumMod val="75000"/>
                        </a:schemeClr>
                      </a:solidFill>
                      <a:prstDash val="solid"/>
                      <a:round/>
                      <a:headEnd type="none" w="med" len="med"/>
                      <a:tailEnd type="none" w="med" len="med"/>
                    </a:lnT>
                    <a:lnB w="6350" cap="flat" cmpd="sng" algn="ctr">
                      <a:solidFill>
                        <a:schemeClr val="tx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1209651">
                <a:tc>
                  <a:txBody>
                    <a:bodyPr/>
                    <a:lstStyle>
                      <a:lvl1pPr marL="0" algn="l" defTabSz="685094" rtl="0" eaLnBrk="1" latinLnBrk="0" hangingPunct="1">
                        <a:defRPr sz="1400" kern="1200">
                          <a:solidFill>
                            <a:schemeClr val="tx1"/>
                          </a:solidFill>
                          <a:latin typeface="Segoe UI"/>
                          <a:ea typeface=""/>
                          <a:cs typeface=""/>
                        </a:defRPr>
                      </a:lvl1pPr>
                      <a:lvl2pPr marL="342529" algn="l" defTabSz="685094" rtl="0" eaLnBrk="1" latinLnBrk="0" hangingPunct="1">
                        <a:defRPr sz="1400" kern="1200">
                          <a:solidFill>
                            <a:schemeClr val="tx1"/>
                          </a:solidFill>
                          <a:latin typeface="Segoe UI"/>
                          <a:ea typeface=""/>
                          <a:cs typeface=""/>
                        </a:defRPr>
                      </a:lvl2pPr>
                      <a:lvl3pPr marL="685094" algn="l" defTabSz="685094" rtl="0" eaLnBrk="1" latinLnBrk="0" hangingPunct="1">
                        <a:defRPr sz="1400" kern="1200">
                          <a:solidFill>
                            <a:schemeClr val="tx1"/>
                          </a:solidFill>
                          <a:latin typeface="Segoe UI"/>
                          <a:ea typeface=""/>
                          <a:cs typeface=""/>
                        </a:defRPr>
                      </a:lvl3pPr>
                      <a:lvl4pPr marL="1027639" algn="l" defTabSz="685094" rtl="0" eaLnBrk="1" latinLnBrk="0" hangingPunct="1">
                        <a:defRPr sz="1400" kern="1200">
                          <a:solidFill>
                            <a:schemeClr val="tx1"/>
                          </a:solidFill>
                          <a:latin typeface="Segoe UI"/>
                          <a:ea typeface=""/>
                          <a:cs typeface=""/>
                        </a:defRPr>
                      </a:lvl4pPr>
                      <a:lvl5pPr marL="1370189" algn="l" defTabSz="685094" rtl="0" eaLnBrk="1" latinLnBrk="0" hangingPunct="1">
                        <a:defRPr sz="1400" kern="1200">
                          <a:solidFill>
                            <a:schemeClr val="tx1"/>
                          </a:solidFill>
                          <a:latin typeface="Segoe UI"/>
                          <a:ea typeface=""/>
                          <a:cs typeface=""/>
                        </a:defRPr>
                      </a:lvl5pPr>
                      <a:lvl6pPr marL="1712718" algn="l" defTabSz="685094" rtl="0" eaLnBrk="1" latinLnBrk="0" hangingPunct="1">
                        <a:defRPr sz="1400" kern="1200">
                          <a:solidFill>
                            <a:schemeClr val="tx1"/>
                          </a:solidFill>
                          <a:latin typeface="Segoe UI"/>
                          <a:ea typeface=""/>
                          <a:cs typeface=""/>
                        </a:defRPr>
                      </a:lvl6pPr>
                      <a:lvl7pPr marL="2055279" algn="l" defTabSz="685094" rtl="0" eaLnBrk="1" latinLnBrk="0" hangingPunct="1">
                        <a:defRPr sz="1400" kern="1200">
                          <a:solidFill>
                            <a:schemeClr val="tx1"/>
                          </a:solidFill>
                          <a:latin typeface="Segoe UI"/>
                          <a:ea typeface=""/>
                          <a:cs typeface=""/>
                        </a:defRPr>
                      </a:lvl7pPr>
                      <a:lvl8pPr marL="2397824" algn="l" defTabSz="685094" rtl="0" eaLnBrk="1" latinLnBrk="0" hangingPunct="1">
                        <a:defRPr sz="1400" kern="1200">
                          <a:solidFill>
                            <a:schemeClr val="tx1"/>
                          </a:solidFill>
                          <a:latin typeface="Segoe UI"/>
                          <a:ea typeface=""/>
                          <a:cs typeface=""/>
                        </a:defRPr>
                      </a:lvl8pPr>
                      <a:lvl9pPr marL="2740376" algn="l" defTabSz="685094" rtl="0" eaLnBrk="1" latinLnBrk="0" hangingPunct="1">
                        <a:defRPr sz="1400" kern="1200">
                          <a:solidFill>
                            <a:schemeClr val="tx1"/>
                          </a:solidFill>
                          <a:latin typeface="Segoe UI"/>
                          <a:ea typeface=""/>
                          <a:cs typeface=""/>
                        </a:defRPr>
                      </a:lvl9pPr>
                    </a:lstStyle>
                    <a:p>
                      <a:pPr algn="r"/>
                      <a:r>
                        <a:rPr lang="en-US" sz="1200" b="1" kern="1200">
                          <a:solidFill>
                            <a:schemeClr val="tx1"/>
                          </a:solidFill>
                          <a:latin typeface="+mj-lt"/>
                        </a:rPr>
                        <a:t>Purpose</a:t>
                      </a:r>
                      <a:endParaRPr lang="en-US" sz="1200" b="1" kern="1200">
                        <a:solidFill>
                          <a:schemeClr val="tx1"/>
                        </a:solidFill>
                        <a:latin typeface="+mj-lt"/>
                        <a:ea typeface="+mn-ea"/>
                        <a:cs typeface="+mn-cs"/>
                      </a:endParaRPr>
                    </a:p>
                  </a:txBody>
                  <a:tcPr anchor="ctr">
                    <a:lnL w="6350" cap="flat" cmpd="sng" algn="ctr">
                      <a:solidFill>
                        <a:schemeClr val="tx1">
                          <a:lumMod val="75000"/>
                        </a:schemeClr>
                      </a:solidFill>
                      <a:prstDash val="solid"/>
                      <a:round/>
                      <a:headEnd type="none" w="med" len="med"/>
                      <a:tailEnd type="none" w="med" len="med"/>
                    </a:lnL>
                    <a:lnR w="6350" cap="flat" cmpd="sng" algn="ctr">
                      <a:solidFill>
                        <a:schemeClr val="tx1">
                          <a:lumMod val="75000"/>
                        </a:schemeClr>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alpha val="52000"/>
                      </a:schemeClr>
                    </a:solidFill>
                  </a:tcPr>
                </a:tc>
                <a:tc>
                  <a:txBody>
                    <a:bodyPr/>
                    <a:lstStyle>
                      <a:lvl1pPr marL="0" algn="l" defTabSz="685094" rtl="0" eaLnBrk="1" latinLnBrk="0" hangingPunct="1">
                        <a:defRPr sz="1400" kern="1200">
                          <a:solidFill>
                            <a:schemeClr val="tx1"/>
                          </a:solidFill>
                          <a:latin typeface="Segoe UI"/>
                          <a:ea typeface=""/>
                          <a:cs typeface=""/>
                        </a:defRPr>
                      </a:lvl1pPr>
                      <a:lvl2pPr marL="342529" algn="l" defTabSz="685094" rtl="0" eaLnBrk="1" latinLnBrk="0" hangingPunct="1">
                        <a:defRPr sz="1400" kern="1200">
                          <a:solidFill>
                            <a:schemeClr val="tx1"/>
                          </a:solidFill>
                          <a:latin typeface="Segoe UI"/>
                          <a:ea typeface=""/>
                          <a:cs typeface=""/>
                        </a:defRPr>
                      </a:lvl2pPr>
                      <a:lvl3pPr marL="685094" algn="l" defTabSz="685094" rtl="0" eaLnBrk="1" latinLnBrk="0" hangingPunct="1">
                        <a:defRPr sz="1400" kern="1200">
                          <a:solidFill>
                            <a:schemeClr val="tx1"/>
                          </a:solidFill>
                          <a:latin typeface="Segoe UI"/>
                          <a:ea typeface=""/>
                          <a:cs typeface=""/>
                        </a:defRPr>
                      </a:lvl3pPr>
                      <a:lvl4pPr marL="1027639" algn="l" defTabSz="685094" rtl="0" eaLnBrk="1" latinLnBrk="0" hangingPunct="1">
                        <a:defRPr sz="1400" kern="1200">
                          <a:solidFill>
                            <a:schemeClr val="tx1"/>
                          </a:solidFill>
                          <a:latin typeface="Segoe UI"/>
                          <a:ea typeface=""/>
                          <a:cs typeface=""/>
                        </a:defRPr>
                      </a:lvl4pPr>
                      <a:lvl5pPr marL="1370189" algn="l" defTabSz="685094" rtl="0" eaLnBrk="1" latinLnBrk="0" hangingPunct="1">
                        <a:defRPr sz="1400" kern="1200">
                          <a:solidFill>
                            <a:schemeClr val="tx1"/>
                          </a:solidFill>
                          <a:latin typeface="Segoe UI"/>
                          <a:ea typeface=""/>
                          <a:cs typeface=""/>
                        </a:defRPr>
                      </a:lvl5pPr>
                      <a:lvl6pPr marL="1712718" algn="l" defTabSz="685094" rtl="0" eaLnBrk="1" latinLnBrk="0" hangingPunct="1">
                        <a:defRPr sz="1400" kern="1200">
                          <a:solidFill>
                            <a:schemeClr val="tx1"/>
                          </a:solidFill>
                          <a:latin typeface="Segoe UI"/>
                          <a:ea typeface=""/>
                          <a:cs typeface=""/>
                        </a:defRPr>
                      </a:lvl6pPr>
                      <a:lvl7pPr marL="2055279" algn="l" defTabSz="685094" rtl="0" eaLnBrk="1" latinLnBrk="0" hangingPunct="1">
                        <a:defRPr sz="1400" kern="1200">
                          <a:solidFill>
                            <a:schemeClr val="tx1"/>
                          </a:solidFill>
                          <a:latin typeface="Segoe UI"/>
                          <a:ea typeface=""/>
                          <a:cs typeface=""/>
                        </a:defRPr>
                      </a:lvl7pPr>
                      <a:lvl8pPr marL="2397824" algn="l" defTabSz="685094" rtl="0" eaLnBrk="1" latinLnBrk="0" hangingPunct="1">
                        <a:defRPr sz="1400" kern="1200">
                          <a:solidFill>
                            <a:schemeClr val="tx1"/>
                          </a:solidFill>
                          <a:latin typeface="Segoe UI"/>
                          <a:ea typeface=""/>
                          <a:cs typeface=""/>
                        </a:defRPr>
                      </a:lvl8pPr>
                      <a:lvl9pPr marL="2740376" algn="l" defTabSz="685094" rtl="0" eaLnBrk="1" latinLnBrk="0" hangingPunct="1">
                        <a:defRPr sz="1400" kern="1200">
                          <a:solidFill>
                            <a:schemeClr val="tx1"/>
                          </a:solidFill>
                          <a:latin typeface="Segoe UI"/>
                          <a:ea typeface=""/>
                          <a:cs typeface=""/>
                        </a:defRPr>
                      </a:lvl9pPr>
                    </a:lstStyle>
                    <a:p>
                      <a:pPr marL="342900" marR="0" lvl="0" indent="-342900" algn="l" defTabSz="914363" rtl="0" eaLnBrk="1" fontAlgn="auto" latinLnBrk="0" hangingPunct="1">
                        <a:lnSpc>
                          <a:spcPct val="100000"/>
                        </a:lnSpc>
                        <a:spcBef>
                          <a:spcPts val="0"/>
                        </a:spcBef>
                        <a:spcAft>
                          <a:spcPts val="0"/>
                        </a:spcAft>
                        <a:buClrTx/>
                        <a:buSzTx/>
                        <a:buFont typeface="Arial" pitchFamily="34" charset="0"/>
                        <a:buAutoNum type="arabicPeriod"/>
                        <a:tabLst/>
                        <a:defRPr/>
                      </a:pPr>
                      <a:r>
                        <a:rPr lang="en-US" sz="1200" b="0" kern="1200" dirty="0">
                          <a:solidFill>
                            <a:schemeClr val="tx1"/>
                          </a:solidFill>
                          <a:latin typeface="+mn-lt"/>
                        </a:rPr>
                        <a:t>Roles involved in AI Design Wins and other AI opportunities.  Discover and Define templates provide a structured and scalable approach to getting to the prioritized Business Use Cases and Business Requirements with clear Objectives and Key Results that the customer will take to production.  These templates provide a structure that facilitates discussion and clarity.</a:t>
                      </a:r>
                    </a:p>
                    <a:p>
                      <a:pPr marL="0" marR="0" lvl="0" indent="0" algn="l" defTabSz="914363" rtl="0" eaLnBrk="1" fontAlgn="auto" latinLnBrk="0" hangingPunct="1">
                        <a:lnSpc>
                          <a:spcPct val="100000"/>
                        </a:lnSpc>
                        <a:spcBef>
                          <a:spcPts val="0"/>
                        </a:spcBef>
                        <a:spcAft>
                          <a:spcPts val="0"/>
                        </a:spcAft>
                        <a:buClrTx/>
                        <a:buSzTx/>
                        <a:buFont typeface="Arial" pitchFamily="34" charset="0"/>
                        <a:buNone/>
                        <a:tabLst/>
                        <a:defRPr/>
                      </a:pPr>
                      <a:endParaRPr lang="en-US" sz="1200" b="0" kern="1200" dirty="0">
                        <a:solidFill>
                          <a:schemeClr val="tx1"/>
                        </a:solidFill>
                        <a:latin typeface="+mn-lt"/>
                        <a:ea typeface=""/>
                        <a:cs typeface=""/>
                      </a:endParaRPr>
                    </a:p>
                    <a:p>
                      <a:pPr marL="0" marR="0" lvl="0" indent="0" algn="l" defTabSz="914363" rtl="0" eaLnBrk="1" fontAlgn="auto" latinLnBrk="0" hangingPunct="1">
                        <a:lnSpc>
                          <a:spcPct val="100000"/>
                        </a:lnSpc>
                        <a:spcBef>
                          <a:spcPts val="0"/>
                        </a:spcBef>
                        <a:spcAft>
                          <a:spcPts val="0"/>
                        </a:spcAft>
                        <a:buClrTx/>
                        <a:buSzTx/>
                        <a:buFont typeface="Arial" pitchFamily="34" charset="0"/>
                        <a:buNone/>
                        <a:tabLst/>
                        <a:defRPr/>
                      </a:pPr>
                      <a:r>
                        <a:rPr lang="en-US" sz="1200" b="0" kern="1200" dirty="0">
                          <a:solidFill>
                            <a:schemeClr val="tx1"/>
                          </a:solidFill>
                          <a:latin typeface="+mn-lt"/>
                          <a:ea typeface=""/>
                          <a:cs typeface=""/>
                        </a:rPr>
                        <a:t>This presentation includes a taxonomy guide, templates and a set of completed templates as an example.  There are two sections:  (1) AI Discover, (2) Define</a:t>
                      </a:r>
                    </a:p>
                  </a:txBody>
                  <a:tcPr marL="243707" marR="121853" marT="121853" marB="121853" anchor="ctr">
                    <a:lnL w="6350" cap="flat" cmpd="sng" algn="ctr">
                      <a:solidFill>
                        <a:schemeClr val="tx1">
                          <a:lumMod val="75000"/>
                        </a:schemeClr>
                      </a:solidFill>
                      <a:prstDash val="solid"/>
                      <a:round/>
                      <a:headEnd type="none" w="med" len="med"/>
                      <a:tailEnd type="none" w="med" len="med"/>
                    </a:lnL>
                    <a:lnR w="6350" cap="flat" cmpd="sng" algn="ctr">
                      <a:solidFill>
                        <a:schemeClr val="tx1">
                          <a:lumMod val="75000"/>
                        </a:schemeClr>
                      </a:solidFill>
                      <a:prstDash val="solid"/>
                      <a:round/>
                      <a:headEnd type="none" w="med" len="med"/>
                      <a:tailEnd type="none" w="med" len="med"/>
                    </a:lnR>
                    <a:lnT w="6350" cap="flat" cmpd="sng" algn="ctr">
                      <a:solidFill>
                        <a:schemeClr val="tx1">
                          <a:lumMod val="75000"/>
                        </a:schemeClr>
                      </a:solidFill>
                      <a:prstDash val="solid"/>
                      <a:round/>
                      <a:headEnd type="none" w="med" len="med"/>
                      <a:tailEnd type="none" w="med" len="med"/>
                    </a:lnT>
                    <a:lnB w="6350" cap="flat" cmpd="sng" algn="ctr">
                      <a:solidFill>
                        <a:schemeClr val="tx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1080035">
                <a:tc>
                  <a:txBody>
                    <a:bodyPr/>
                    <a:lstStyle/>
                    <a:p>
                      <a:pPr algn="r"/>
                      <a:r>
                        <a:rPr lang="en-US" sz="1200" b="1" kern="1200">
                          <a:solidFill>
                            <a:schemeClr val="tx1"/>
                          </a:solidFill>
                          <a:latin typeface="+mj-lt"/>
                          <a:ea typeface=""/>
                          <a:cs typeface=""/>
                        </a:rPr>
                        <a:t>Guidance</a:t>
                      </a:r>
                    </a:p>
                  </a:txBody>
                  <a:tcPr anchor="ctr">
                    <a:lnL w="6350" cap="flat" cmpd="sng" algn="ctr">
                      <a:solidFill>
                        <a:schemeClr val="tx1">
                          <a:lumMod val="75000"/>
                        </a:schemeClr>
                      </a:solidFill>
                      <a:prstDash val="solid"/>
                      <a:round/>
                      <a:headEnd type="none" w="med" len="med"/>
                      <a:tailEnd type="none" w="med" len="med"/>
                    </a:lnL>
                    <a:lnR w="6350" cap="flat" cmpd="sng" algn="ctr">
                      <a:solidFill>
                        <a:schemeClr val="tx1">
                          <a:lumMod val="75000"/>
                        </a:schemeClr>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alpha val="52000"/>
                      </a:schemeClr>
                    </a:solidFill>
                  </a:tcPr>
                </a:tc>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US" sz="1200" b="0">
                          <a:solidFill>
                            <a:schemeClr val="tx1"/>
                          </a:solidFill>
                          <a:latin typeface="+mn-lt"/>
                        </a:rPr>
                        <a:t>Recommend that you use this </a:t>
                      </a:r>
                      <a:r>
                        <a:rPr lang="en-US" sz="1200" b="0">
                          <a:solidFill>
                            <a:schemeClr val="tx1"/>
                          </a:solidFill>
                          <a:latin typeface="+mn-lt"/>
                          <a:hlinkClick r:id="rId3"/>
                        </a:rPr>
                        <a:t>prompt</a:t>
                      </a:r>
                      <a:r>
                        <a:rPr lang="en-US" sz="1200" b="0">
                          <a:solidFill>
                            <a:schemeClr val="tx1"/>
                          </a:solidFill>
                          <a:latin typeface="+mn-lt"/>
                        </a:rPr>
                        <a:t> and have Copilot (Web) generate a draft for you.  You can use Copilot in Windows (Web – more precise) or Copilot in Edge (Web-more precise).</a:t>
                      </a:r>
                    </a:p>
                    <a:p>
                      <a:pPr marL="0" marR="0" lvl="0" indent="0" algn="l" defTabSz="914363" rtl="0" eaLnBrk="1" fontAlgn="auto" latinLnBrk="0" hangingPunct="1">
                        <a:lnSpc>
                          <a:spcPct val="100000"/>
                        </a:lnSpc>
                        <a:spcBef>
                          <a:spcPts val="0"/>
                        </a:spcBef>
                        <a:spcAft>
                          <a:spcPts val="0"/>
                        </a:spcAft>
                        <a:buClrTx/>
                        <a:buSzTx/>
                        <a:buFontTx/>
                        <a:buNone/>
                        <a:tabLst/>
                        <a:defRPr/>
                      </a:pPr>
                      <a:endParaRPr lang="en-US" sz="1200" b="0">
                        <a:solidFill>
                          <a:schemeClr val="tx1"/>
                        </a:solidFill>
                        <a:latin typeface="+mn-lt"/>
                      </a:endParaRPr>
                    </a:p>
                    <a:p>
                      <a:pPr marL="0" marR="0" lvl="0" indent="0" algn="l" defTabSz="914363" rtl="0" eaLnBrk="1" fontAlgn="auto" latinLnBrk="0" hangingPunct="1">
                        <a:lnSpc>
                          <a:spcPct val="100000"/>
                        </a:lnSpc>
                        <a:spcBef>
                          <a:spcPts val="0"/>
                        </a:spcBef>
                        <a:spcAft>
                          <a:spcPts val="0"/>
                        </a:spcAft>
                        <a:buClrTx/>
                        <a:buSzTx/>
                        <a:buFontTx/>
                        <a:buNone/>
                        <a:tabLst/>
                        <a:defRPr/>
                      </a:pPr>
                      <a:r>
                        <a:rPr lang="en-US" sz="1200" b="0">
                          <a:solidFill>
                            <a:schemeClr val="tx1"/>
                          </a:solidFill>
                          <a:latin typeface="+mn-lt"/>
                        </a:rPr>
                        <a:t>In the era of AI, a new cycle exists for engaging customers; that cycle is Generate, Review, Refine</a:t>
                      </a:r>
                    </a:p>
                    <a:p>
                      <a:pPr marL="342900" marR="0" lvl="0" indent="-342900" algn="l" defTabSz="914363" rtl="0" eaLnBrk="1" fontAlgn="auto" latinLnBrk="0" hangingPunct="1">
                        <a:lnSpc>
                          <a:spcPct val="100000"/>
                        </a:lnSpc>
                        <a:spcBef>
                          <a:spcPts val="0"/>
                        </a:spcBef>
                        <a:spcAft>
                          <a:spcPts val="0"/>
                        </a:spcAft>
                        <a:buClrTx/>
                        <a:buSzTx/>
                        <a:buFont typeface="+mj-lt"/>
                        <a:buAutoNum type="arabicPeriod"/>
                        <a:tabLst/>
                        <a:defRPr/>
                      </a:pPr>
                      <a:r>
                        <a:rPr lang="en-US" sz="1200" b="0">
                          <a:solidFill>
                            <a:schemeClr val="tx1"/>
                          </a:solidFill>
                          <a:latin typeface="+mn-lt"/>
                        </a:rPr>
                        <a:t>Generate with Copilot.</a:t>
                      </a:r>
                    </a:p>
                    <a:p>
                      <a:pPr marL="342900" marR="0" lvl="0" indent="-342900" algn="l" defTabSz="914363" rtl="0" eaLnBrk="1" fontAlgn="auto" latinLnBrk="0" hangingPunct="1">
                        <a:lnSpc>
                          <a:spcPct val="100000"/>
                        </a:lnSpc>
                        <a:spcBef>
                          <a:spcPts val="0"/>
                        </a:spcBef>
                        <a:spcAft>
                          <a:spcPts val="0"/>
                        </a:spcAft>
                        <a:buClrTx/>
                        <a:buSzTx/>
                        <a:buFont typeface="+mj-lt"/>
                        <a:buAutoNum type="arabicPeriod"/>
                        <a:tabLst/>
                        <a:defRPr/>
                      </a:pPr>
                      <a:r>
                        <a:rPr lang="en-US" sz="1200" b="0">
                          <a:solidFill>
                            <a:schemeClr val="tx1"/>
                          </a:solidFill>
                          <a:latin typeface="+mn-lt"/>
                        </a:rPr>
                        <a:t>Review with your Team.</a:t>
                      </a:r>
                    </a:p>
                    <a:p>
                      <a:pPr marL="342900" marR="0" lvl="0" indent="-342900" algn="l" defTabSz="914363" rtl="0" eaLnBrk="1" fontAlgn="auto" latinLnBrk="0" hangingPunct="1">
                        <a:lnSpc>
                          <a:spcPct val="100000"/>
                        </a:lnSpc>
                        <a:spcBef>
                          <a:spcPts val="0"/>
                        </a:spcBef>
                        <a:spcAft>
                          <a:spcPts val="0"/>
                        </a:spcAft>
                        <a:buClrTx/>
                        <a:buSzTx/>
                        <a:buFont typeface="+mj-lt"/>
                        <a:buAutoNum type="arabicPeriod"/>
                        <a:tabLst/>
                        <a:defRPr/>
                      </a:pPr>
                      <a:r>
                        <a:rPr lang="en-US" sz="1200" b="0">
                          <a:solidFill>
                            <a:schemeClr val="tx1"/>
                          </a:solidFill>
                          <a:latin typeface="+mn-lt"/>
                        </a:rPr>
                        <a:t>Refine with your Customer.</a:t>
                      </a:r>
                    </a:p>
                  </a:txBody>
                  <a:tcPr marL="243707" marR="121853" marT="121853" marB="121853" anchor="ctr">
                    <a:lnL w="6350" cap="flat" cmpd="sng" algn="ctr">
                      <a:solidFill>
                        <a:schemeClr val="tx1">
                          <a:lumMod val="75000"/>
                        </a:schemeClr>
                      </a:solidFill>
                      <a:prstDash val="solid"/>
                      <a:round/>
                      <a:headEnd type="none" w="med" len="med"/>
                      <a:tailEnd type="none" w="med" len="med"/>
                    </a:lnL>
                    <a:lnR w="6350" cap="flat" cmpd="sng" algn="ctr">
                      <a:solidFill>
                        <a:schemeClr val="tx1">
                          <a:lumMod val="75000"/>
                        </a:schemeClr>
                      </a:solidFill>
                      <a:prstDash val="solid"/>
                      <a:round/>
                      <a:headEnd type="none" w="med" len="med"/>
                      <a:tailEnd type="none" w="med" len="med"/>
                    </a:lnR>
                    <a:lnT w="6350" cap="flat" cmpd="sng" algn="ctr">
                      <a:solidFill>
                        <a:schemeClr val="tx1">
                          <a:lumMod val="75000"/>
                        </a:schemeClr>
                      </a:solidFill>
                      <a:prstDash val="solid"/>
                      <a:round/>
                      <a:headEnd type="none" w="med" len="med"/>
                      <a:tailEnd type="none" w="med" len="med"/>
                    </a:lnT>
                    <a:lnB w="6350" cap="flat" cmpd="sng" algn="ctr">
                      <a:solidFill>
                        <a:schemeClr val="tx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65196256"/>
                  </a:ext>
                </a:extLst>
              </a:tr>
              <a:tr h="302342">
                <a:tc>
                  <a:txBody>
                    <a:bodyPr/>
                    <a:lstStyle/>
                    <a:p>
                      <a:pPr algn="r"/>
                      <a:r>
                        <a:rPr lang="en-US" sz="1200" b="1" kern="1200">
                          <a:solidFill>
                            <a:schemeClr val="tx1"/>
                          </a:solidFill>
                          <a:latin typeface="+mj-lt"/>
                          <a:ea typeface=""/>
                          <a:cs typeface=""/>
                        </a:rPr>
                        <a:t>Last Update</a:t>
                      </a:r>
                    </a:p>
                  </a:txBody>
                  <a:tcPr anchor="ctr">
                    <a:lnL w="6350" cap="flat" cmpd="sng" algn="ctr">
                      <a:solidFill>
                        <a:schemeClr val="tx1">
                          <a:lumMod val="75000"/>
                        </a:schemeClr>
                      </a:solidFill>
                      <a:prstDash val="solid"/>
                      <a:round/>
                      <a:headEnd type="none" w="med" len="med"/>
                      <a:tailEnd type="none" w="med" len="med"/>
                    </a:lnL>
                    <a:lnR w="6350" cap="flat" cmpd="sng" algn="ctr">
                      <a:solidFill>
                        <a:schemeClr val="tx1">
                          <a:lumMod val="75000"/>
                        </a:schemeClr>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alpha val="52000"/>
                      </a:schemeClr>
                    </a:solidFill>
                  </a:tcPr>
                </a:tc>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US" sz="1200" b="0">
                          <a:solidFill>
                            <a:schemeClr val="tx1"/>
                          </a:solidFill>
                          <a:latin typeface="+mn-lt"/>
                        </a:rPr>
                        <a:t>June 2024</a:t>
                      </a:r>
                    </a:p>
                  </a:txBody>
                  <a:tcPr marL="243707" marR="121853" marT="121853" marB="121853" anchor="ctr">
                    <a:lnL w="6350" cap="flat" cmpd="sng" algn="ctr">
                      <a:solidFill>
                        <a:schemeClr val="tx1">
                          <a:lumMod val="75000"/>
                        </a:schemeClr>
                      </a:solidFill>
                      <a:prstDash val="solid"/>
                      <a:round/>
                      <a:headEnd type="none" w="med" len="med"/>
                      <a:tailEnd type="none" w="med" len="med"/>
                    </a:lnL>
                    <a:lnR w="6350" cap="flat" cmpd="sng" algn="ctr">
                      <a:solidFill>
                        <a:schemeClr val="tx1">
                          <a:lumMod val="75000"/>
                        </a:schemeClr>
                      </a:solidFill>
                      <a:prstDash val="solid"/>
                      <a:round/>
                      <a:headEnd type="none" w="med" len="med"/>
                      <a:tailEnd type="none" w="med" len="med"/>
                    </a:lnR>
                    <a:lnT w="6350" cap="flat" cmpd="sng" algn="ctr">
                      <a:solidFill>
                        <a:schemeClr val="tx1">
                          <a:lumMod val="75000"/>
                        </a:schemeClr>
                      </a:solidFill>
                      <a:prstDash val="solid"/>
                      <a:round/>
                      <a:headEnd type="none" w="med" len="med"/>
                      <a:tailEnd type="none" w="med" len="med"/>
                    </a:lnT>
                    <a:lnB w="6350" cap="flat" cmpd="sng" algn="ctr">
                      <a:solidFill>
                        <a:schemeClr val="tx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21043883"/>
                  </a:ext>
                </a:extLst>
              </a:tr>
              <a:tr h="302342">
                <a:tc>
                  <a:txBody>
                    <a:bodyPr/>
                    <a:lstStyle/>
                    <a:p>
                      <a:pPr algn="r"/>
                      <a:r>
                        <a:rPr lang="en-US" sz="1200" b="1" kern="1200">
                          <a:solidFill>
                            <a:schemeClr val="tx1"/>
                          </a:solidFill>
                          <a:latin typeface="+mj-lt"/>
                          <a:ea typeface=""/>
                          <a:cs typeface=""/>
                        </a:rPr>
                        <a:t>Release Notes</a:t>
                      </a:r>
                    </a:p>
                  </a:txBody>
                  <a:tcPr anchor="ctr">
                    <a:lnL w="6350" cap="flat" cmpd="sng" algn="ctr">
                      <a:solidFill>
                        <a:schemeClr val="tx1">
                          <a:lumMod val="75000"/>
                        </a:schemeClr>
                      </a:solidFill>
                      <a:prstDash val="solid"/>
                      <a:round/>
                      <a:headEnd type="none" w="med" len="med"/>
                      <a:tailEnd type="none" w="med" len="med"/>
                    </a:lnL>
                    <a:lnR w="6350" cap="flat" cmpd="sng" algn="ctr">
                      <a:solidFill>
                        <a:schemeClr val="tx1">
                          <a:lumMod val="75000"/>
                        </a:schemeClr>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alpha val="52000"/>
                      </a:schemeClr>
                    </a:solidFill>
                  </a:tcPr>
                </a:tc>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lang="en-US" sz="1200" b="0">
                        <a:solidFill>
                          <a:schemeClr val="tx1"/>
                        </a:solidFill>
                        <a:latin typeface="+mn-lt"/>
                      </a:endParaRPr>
                    </a:p>
                  </a:txBody>
                  <a:tcPr marL="243707" marR="121853" marT="121853" marB="121853" anchor="ctr">
                    <a:lnL w="6350" cap="flat" cmpd="sng" algn="ctr">
                      <a:solidFill>
                        <a:schemeClr val="tx1">
                          <a:lumMod val="75000"/>
                        </a:schemeClr>
                      </a:solidFill>
                      <a:prstDash val="solid"/>
                      <a:round/>
                      <a:headEnd type="none" w="med" len="med"/>
                      <a:tailEnd type="none" w="med" len="med"/>
                    </a:lnL>
                    <a:lnR w="6350" cap="flat" cmpd="sng" algn="ctr">
                      <a:solidFill>
                        <a:schemeClr val="tx1">
                          <a:lumMod val="75000"/>
                        </a:schemeClr>
                      </a:solidFill>
                      <a:prstDash val="solid"/>
                      <a:round/>
                      <a:headEnd type="none" w="med" len="med"/>
                      <a:tailEnd type="none" w="med" len="med"/>
                    </a:lnR>
                    <a:lnT w="6350" cap="flat" cmpd="sng" algn="ctr">
                      <a:solidFill>
                        <a:schemeClr val="tx1">
                          <a:lumMod val="75000"/>
                        </a:schemeClr>
                      </a:solidFill>
                      <a:prstDash val="solid"/>
                      <a:round/>
                      <a:headEnd type="none" w="med" len="med"/>
                      <a:tailEnd type="none" w="med" len="med"/>
                    </a:lnT>
                    <a:lnB w="6350" cap="flat" cmpd="sng" algn="ctr">
                      <a:solidFill>
                        <a:schemeClr val="tx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31129652"/>
                  </a:ext>
                </a:extLst>
              </a:tr>
              <a:tr h="302342">
                <a:tc>
                  <a:txBody>
                    <a:bodyPr/>
                    <a:lstStyle/>
                    <a:p>
                      <a:pPr algn="r"/>
                      <a:r>
                        <a:rPr lang="en-US" sz="1200" b="1" kern="1200">
                          <a:solidFill>
                            <a:schemeClr val="tx1"/>
                          </a:solidFill>
                          <a:latin typeface="+mj-lt"/>
                          <a:ea typeface=""/>
                          <a:cs typeface=""/>
                        </a:rPr>
                        <a:t>Questions</a:t>
                      </a:r>
                    </a:p>
                  </a:txBody>
                  <a:tcPr anchor="ctr">
                    <a:lnL w="6350" cap="flat" cmpd="sng" algn="ctr">
                      <a:solidFill>
                        <a:schemeClr val="tx1">
                          <a:lumMod val="75000"/>
                        </a:schemeClr>
                      </a:solidFill>
                      <a:prstDash val="solid"/>
                      <a:round/>
                      <a:headEnd type="none" w="med" len="med"/>
                      <a:tailEnd type="none" w="med" len="med"/>
                    </a:lnL>
                    <a:lnR w="6350" cap="flat" cmpd="sng" algn="ctr">
                      <a:solidFill>
                        <a:schemeClr val="tx1">
                          <a:lumMod val="75000"/>
                        </a:schemeClr>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alpha val="52000"/>
                      </a:schemeClr>
                    </a:solidFill>
                  </a:tcPr>
                </a:tc>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US" sz="1200" b="0" dirty="0">
                          <a:solidFill>
                            <a:schemeClr val="tx1"/>
                          </a:solidFill>
                          <a:latin typeface="+mn-lt"/>
                        </a:rPr>
                        <a:t>Reach out to Andrew Cook (</a:t>
                      </a:r>
                      <a:r>
                        <a:rPr lang="en-US" sz="1200" b="0" dirty="0" err="1">
                          <a:solidFill>
                            <a:schemeClr val="tx1"/>
                          </a:solidFill>
                          <a:latin typeface="+mn-lt"/>
                        </a:rPr>
                        <a:t>andrcook</a:t>
                      </a:r>
                      <a:r>
                        <a:rPr lang="en-US" sz="1200" b="0" dirty="0">
                          <a:solidFill>
                            <a:schemeClr val="tx1"/>
                          </a:solidFill>
                          <a:latin typeface="+mn-lt"/>
                        </a:rPr>
                        <a:t>) with any questions.</a:t>
                      </a:r>
                    </a:p>
                  </a:txBody>
                  <a:tcPr marL="243707" marR="121853" marT="121853" marB="121853" anchor="ctr">
                    <a:lnL w="6350" cap="flat" cmpd="sng" algn="ctr">
                      <a:solidFill>
                        <a:schemeClr val="tx1">
                          <a:lumMod val="75000"/>
                        </a:schemeClr>
                      </a:solidFill>
                      <a:prstDash val="solid"/>
                      <a:round/>
                      <a:headEnd type="none" w="med" len="med"/>
                      <a:tailEnd type="none" w="med" len="med"/>
                    </a:lnL>
                    <a:lnR w="6350" cap="flat" cmpd="sng" algn="ctr">
                      <a:solidFill>
                        <a:schemeClr val="tx1">
                          <a:lumMod val="75000"/>
                        </a:schemeClr>
                      </a:solidFill>
                      <a:prstDash val="solid"/>
                      <a:round/>
                      <a:headEnd type="none" w="med" len="med"/>
                      <a:tailEnd type="none" w="med" len="med"/>
                    </a:lnR>
                    <a:lnT w="6350" cap="flat" cmpd="sng" algn="ctr">
                      <a:solidFill>
                        <a:schemeClr val="tx1">
                          <a:lumMod val="75000"/>
                        </a:schemeClr>
                      </a:solidFill>
                      <a:prstDash val="solid"/>
                      <a:round/>
                      <a:headEnd type="none" w="med" len="med"/>
                      <a:tailEnd type="none" w="med" len="med"/>
                    </a:lnT>
                    <a:lnB w="6350" cap="flat" cmpd="sng" algn="ctr">
                      <a:solidFill>
                        <a:schemeClr val="tx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91461204"/>
                  </a:ext>
                </a:extLst>
              </a:tr>
            </a:tbl>
          </a:graphicData>
        </a:graphic>
      </p:graphicFrame>
      <p:sp>
        <p:nvSpPr>
          <p:cNvPr id="2" name="Rectangle 1">
            <a:extLst>
              <a:ext uri="{FF2B5EF4-FFF2-40B4-BE49-F238E27FC236}">
                <a16:creationId xmlns:a16="http://schemas.microsoft.com/office/drawing/2014/main" id="{E7DDA7C4-9CAC-B2E3-9CAC-2DBD1899AC9D}"/>
              </a:ext>
            </a:extLst>
          </p:cNvPr>
          <p:cNvSpPr/>
          <p:nvPr/>
        </p:nvSpPr>
        <p:spPr bwMode="auto">
          <a:xfrm>
            <a:off x="6054291" y="163628"/>
            <a:ext cx="5549446" cy="899963"/>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l" defTabSz="932472" fontAlgn="base">
              <a:spcBef>
                <a:spcPct val="0"/>
              </a:spcBef>
              <a:spcAft>
                <a:spcPct val="0"/>
              </a:spcAft>
            </a:pPr>
            <a:r>
              <a:rPr lang="en-US" sz="1800">
                <a:solidFill>
                  <a:srgbClr val="FFFFFF"/>
                </a:solidFill>
                <a:ea typeface="Segoe UI" pitchFamily="34" charset="0"/>
                <a:cs typeface="Segoe UI" pitchFamily="34" charset="0"/>
              </a:rPr>
              <a:t>REMOVE THIS SLIDE AND THE EXAMPLE SLIDES/SECTION BEFORE SHARING A COPY OF THIS DECK WITH CUSTOMERS</a:t>
            </a:r>
          </a:p>
        </p:txBody>
      </p:sp>
    </p:spTree>
    <p:extLst>
      <p:ext uri="{BB962C8B-B14F-4D97-AF65-F5344CB8AC3E}">
        <p14:creationId xmlns:p14="http://schemas.microsoft.com/office/powerpoint/2010/main" val="2033978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BCA1146-565C-EB14-042F-F9BD76FB3B03}"/>
              </a:ext>
              <a:ext uri="{C183D7F6-B498-43B3-948B-1728B52AA6E4}">
                <adec:decorative xmlns:adec="http://schemas.microsoft.com/office/drawing/2017/decorative" val="1"/>
              </a:ext>
            </a:extLst>
          </p:cNvPr>
          <p:cNvSpPr>
            <a:spLocks/>
          </p:cNvSpPr>
          <p:nvPr/>
        </p:nvSpPr>
        <p:spPr bwMode="auto">
          <a:xfrm>
            <a:off x="588963" y="1181100"/>
            <a:ext cx="11017250" cy="4953000"/>
          </a:xfrm>
          <a:prstGeom prst="rect">
            <a:avLst/>
          </a:prstGeom>
          <a:solidFill>
            <a:schemeClr val="bg1"/>
          </a:solidFill>
          <a:ln w="9525" cap="flat" cmpd="sng" algn="ctr">
            <a:noFill/>
            <a:prstDash val="solid"/>
            <a:headEnd type="none" w="med" len="med"/>
            <a:tailEnd type="none" w="med" len="med"/>
          </a:ln>
          <a:effectLst>
            <a:outerShdw blurRad="584200" dist="38100" dir="3960000" sx="102000" sy="102000" algn="tl" rotWithShape="0">
              <a:prstClr val="black">
                <a:alpha val="1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UI"/>
              <a:ea typeface="+mn-ea"/>
              <a:cs typeface="Segoe UI" pitchFamily="34" charset="0"/>
            </a:endParaRPr>
          </a:p>
        </p:txBody>
      </p:sp>
      <p:sp>
        <p:nvSpPr>
          <p:cNvPr id="4" name="Rectangle 3">
            <a:extLst>
              <a:ext uri="{FF2B5EF4-FFF2-40B4-BE49-F238E27FC236}">
                <a16:creationId xmlns:a16="http://schemas.microsoft.com/office/drawing/2014/main" id="{1A3F7083-B51F-FE31-7EEA-1D1C8821FD9F}"/>
              </a:ext>
              <a:ext uri="{C183D7F6-B498-43B3-948B-1728B52AA6E4}">
                <adec:decorative xmlns:adec="http://schemas.microsoft.com/office/drawing/2017/decorative" val="1"/>
              </a:ext>
            </a:extLst>
          </p:cNvPr>
          <p:cNvSpPr>
            <a:spLocks/>
          </p:cNvSpPr>
          <p:nvPr/>
        </p:nvSpPr>
        <p:spPr bwMode="auto">
          <a:xfrm>
            <a:off x="704850" y="1304924"/>
            <a:ext cx="1962150" cy="470535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5" name="Oval 4">
            <a:extLst>
              <a:ext uri="{FF2B5EF4-FFF2-40B4-BE49-F238E27FC236}">
                <a16:creationId xmlns:a16="http://schemas.microsoft.com/office/drawing/2014/main" id="{8D90A93E-1AA5-C4F4-94A8-44A5BB5C7320}"/>
              </a:ext>
            </a:extLst>
          </p:cNvPr>
          <p:cNvSpPr/>
          <p:nvPr/>
        </p:nvSpPr>
        <p:spPr bwMode="auto">
          <a:xfrm>
            <a:off x="818557" y="1409702"/>
            <a:ext cx="265176" cy="260922"/>
          </a:xfrm>
          <a:prstGeom prst="ellipse">
            <a:avLst/>
          </a:prstGeom>
          <a:solidFill>
            <a:schemeClr val="accent4"/>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1</a:t>
            </a:r>
          </a:p>
        </p:txBody>
      </p:sp>
      <p:sp>
        <p:nvSpPr>
          <p:cNvPr id="6" name="TextBox 5">
            <a:extLst>
              <a:ext uri="{FF2B5EF4-FFF2-40B4-BE49-F238E27FC236}">
                <a16:creationId xmlns:a16="http://schemas.microsoft.com/office/drawing/2014/main" id="{47E30A76-08BB-69A3-AC9B-A2B94FFA9708}"/>
              </a:ext>
            </a:extLst>
          </p:cNvPr>
          <p:cNvSpPr txBox="1"/>
          <p:nvPr/>
        </p:nvSpPr>
        <p:spPr>
          <a:xfrm>
            <a:off x="818557" y="1670624"/>
            <a:ext cx="1606209" cy="240066"/>
          </a:xfrm>
          <a:prstGeom prst="rect">
            <a:avLst/>
          </a:prstGeom>
          <a:noFill/>
        </p:spPr>
        <p:txBody>
          <a:bodyPr wrap="square" lIns="0" tIns="54864"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Business Scenario</a:t>
            </a:r>
          </a:p>
        </p:txBody>
      </p:sp>
      <p:sp>
        <p:nvSpPr>
          <p:cNvPr id="7" name="Oval 6">
            <a:extLst>
              <a:ext uri="{FF2B5EF4-FFF2-40B4-BE49-F238E27FC236}">
                <a16:creationId xmlns:a16="http://schemas.microsoft.com/office/drawing/2014/main" id="{0E0A80FC-91BF-FD27-AC15-2D3757363D95}"/>
              </a:ext>
            </a:extLst>
          </p:cNvPr>
          <p:cNvSpPr/>
          <p:nvPr/>
        </p:nvSpPr>
        <p:spPr bwMode="auto">
          <a:xfrm>
            <a:off x="818557" y="2342126"/>
            <a:ext cx="265176" cy="260922"/>
          </a:xfrm>
          <a:prstGeom prst="ellipse">
            <a:avLst/>
          </a:prstGeom>
          <a:solidFill>
            <a:schemeClr val="accent4"/>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2</a:t>
            </a:r>
          </a:p>
        </p:txBody>
      </p:sp>
      <p:sp>
        <p:nvSpPr>
          <p:cNvPr id="8" name="TextBox 7">
            <a:extLst>
              <a:ext uri="{FF2B5EF4-FFF2-40B4-BE49-F238E27FC236}">
                <a16:creationId xmlns:a16="http://schemas.microsoft.com/office/drawing/2014/main" id="{40C9AAC0-5C88-7849-796C-1A33B883F563}"/>
              </a:ext>
            </a:extLst>
          </p:cNvPr>
          <p:cNvSpPr txBox="1"/>
          <p:nvPr/>
        </p:nvSpPr>
        <p:spPr>
          <a:xfrm>
            <a:off x="818557" y="2603048"/>
            <a:ext cx="1606209" cy="240066"/>
          </a:xfrm>
          <a:prstGeom prst="rect">
            <a:avLst/>
          </a:prstGeom>
          <a:noFill/>
        </p:spPr>
        <p:txBody>
          <a:bodyPr wrap="square" lIns="0" tIns="54864"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Business Scenario</a:t>
            </a:r>
          </a:p>
        </p:txBody>
      </p:sp>
      <p:sp>
        <p:nvSpPr>
          <p:cNvPr id="9" name="Oval 8">
            <a:extLst>
              <a:ext uri="{FF2B5EF4-FFF2-40B4-BE49-F238E27FC236}">
                <a16:creationId xmlns:a16="http://schemas.microsoft.com/office/drawing/2014/main" id="{9EF37675-5ECD-8501-11F5-DC5EFF008BE0}"/>
              </a:ext>
            </a:extLst>
          </p:cNvPr>
          <p:cNvSpPr/>
          <p:nvPr/>
        </p:nvSpPr>
        <p:spPr bwMode="auto">
          <a:xfrm>
            <a:off x="818557" y="3274550"/>
            <a:ext cx="265176" cy="260922"/>
          </a:xfrm>
          <a:prstGeom prst="ellipse">
            <a:avLst/>
          </a:prstGeom>
          <a:solidFill>
            <a:schemeClr val="accent4"/>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3</a:t>
            </a:r>
          </a:p>
        </p:txBody>
      </p:sp>
      <p:sp>
        <p:nvSpPr>
          <p:cNvPr id="10" name="TextBox 9">
            <a:extLst>
              <a:ext uri="{FF2B5EF4-FFF2-40B4-BE49-F238E27FC236}">
                <a16:creationId xmlns:a16="http://schemas.microsoft.com/office/drawing/2014/main" id="{01C0D2E9-A52C-7680-28A1-E7381F012FC9}"/>
              </a:ext>
            </a:extLst>
          </p:cNvPr>
          <p:cNvSpPr txBox="1"/>
          <p:nvPr/>
        </p:nvSpPr>
        <p:spPr>
          <a:xfrm>
            <a:off x="818557" y="3535472"/>
            <a:ext cx="1606209" cy="240066"/>
          </a:xfrm>
          <a:prstGeom prst="rect">
            <a:avLst/>
          </a:prstGeom>
          <a:noFill/>
        </p:spPr>
        <p:txBody>
          <a:bodyPr wrap="square" lIns="0" tIns="54864"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Business Scenario</a:t>
            </a:r>
          </a:p>
        </p:txBody>
      </p:sp>
      <p:sp>
        <p:nvSpPr>
          <p:cNvPr id="11" name="Oval 10">
            <a:extLst>
              <a:ext uri="{FF2B5EF4-FFF2-40B4-BE49-F238E27FC236}">
                <a16:creationId xmlns:a16="http://schemas.microsoft.com/office/drawing/2014/main" id="{803011AF-DF5C-EE91-2441-3B6633CA1D0E}"/>
              </a:ext>
            </a:extLst>
          </p:cNvPr>
          <p:cNvSpPr/>
          <p:nvPr/>
        </p:nvSpPr>
        <p:spPr bwMode="auto">
          <a:xfrm>
            <a:off x="818557" y="4206975"/>
            <a:ext cx="265176" cy="260922"/>
          </a:xfrm>
          <a:prstGeom prst="ellipse">
            <a:avLst/>
          </a:prstGeom>
          <a:solidFill>
            <a:schemeClr val="accent4"/>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4</a:t>
            </a:r>
          </a:p>
        </p:txBody>
      </p:sp>
      <p:sp>
        <p:nvSpPr>
          <p:cNvPr id="12" name="TextBox 11">
            <a:extLst>
              <a:ext uri="{FF2B5EF4-FFF2-40B4-BE49-F238E27FC236}">
                <a16:creationId xmlns:a16="http://schemas.microsoft.com/office/drawing/2014/main" id="{53BFD086-7CAC-2BA4-FAF8-4F2F0A5C1EBA}"/>
              </a:ext>
            </a:extLst>
          </p:cNvPr>
          <p:cNvSpPr txBox="1"/>
          <p:nvPr/>
        </p:nvSpPr>
        <p:spPr>
          <a:xfrm>
            <a:off x="818557" y="4467897"/>
            <a:ext cx="1606209" cy="240066"/>
          </a:xfrm>
          <a:prstGeom prst="rect">
            <a:avLst/>
          </a:prstGeom>
          <a:noFill/>
        </p:spPr>
        <p:txBody>
          <a:bodyPr wrap="square" lIns="0" tIns="54864"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Business Scenario</a:t>
            </a:r>
          </a:p>
        </p:txBody>
      </p:sp>
      <p:sp>
        <p:nvSpPr>
          <p:cNvPr id="13" name="Oval 12">
            <a:extLst>
              <a:ext uri="{FF2B5EF4-FFF2-40B4-BE49-F238E27FC236}">
                <a16:creationId xmlns:a16="http://schemas.microsoft.com/office/drawing/2014/main" id="{AC81CBAB-703B-6FE2-232F-8610DFCBC0EB}"/>
              </a:ext>
            </a:extLst>
          </p:cNvPr>
          <p:cNvSpPr/>
          <p:nvPr/>
        </p:nvSpPr>
        <p:spPr bwMode="auto">
          <a:xfrm>
            <a:off x="818557" y="5139399"/>
            <a:ext cx="265176" cy="260922"/>
          </a:xfrm>
          <a:prstGeom prst="ellipse">
            <a:avLst/>
          </a:prstGeom>
          <a:solidFill>
            <a:schemeClr val="accent4"/>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5</a:t>
            </a:r>
          </a:p>
        </p:txBody>
      </p:sp>
      <p:sp>
        <p:nvSpPr>
          <p:cNvPr id="14" name="TextBox 13">
            <a:extLst>
              <a:ext uri="{FF2B5EF4-FFF2-40B4-BE49-F238E27FC236}">
                <a16:creationId xmlns:a16="http://schemas.microsoft.com/office/drawing/2014/main" id="{F7B97FB1-6188-9910-A9ED-58344D56F395}"/>
              </a:ext>
            </a:extLst>
          </p:cNvPr>
          <p:cNvSpPr txBox="1"/>
          <p:nvPr/>
        </p:nvSpPr>
        <p:spPr>
          <a:xfrm>
            <a:off x="818557" y="5400321"/>
            <a:ext cx="1606209" cy="240066"/>
          </a:xfrm>
          <a:prstGeom prst="rect">
            <a:avLst/>
          </a:prstGeom>
          <a:noFill/>
        </p:spPr>
        <p:txBody>
          <a:bodyPr wrap="square" lIns="0" tIns="54864"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Business Scenario</a:t>
            </a:r>
          </a:p>
        </p:txBody>
      </p:sp>
      <p:grpSp>
        <p:nvGrpSpPr>
          <p:cNvPr id="15" name="Group 14" descr="A four section quadrant namely “Test &amp; Learn” in the top left, “Invest Long Term” in the top right, “Parked” in the bottom left, and “Quick Wins” on the bottom right. The x-axis is labeled “Degree of executional fit” and ranges from 1 being low to  5 high. The y-axis is labeled “Degree of strategic business impact” and also ranges from 1 low to 5 high.  ">
            <a:extLst>
              <a:ext uri="{FF2B5EF4-FFF2-40B4-BE49-F238E27FC236}">
                <a16:creationId xmlns:a16="http://schemas.microsoft.com/office/drawing/2014/main" id="{8E2A7D85-1492-6A8E-BACD-CB1FE27D5E02}"/>
              </a:ext>
            </a:extLst>
          </p:cNvPr>
          <p:cNvGrpSpPr/>
          <p:nvPr/>
        </p:nvGrpSpPr>
        <p:grpSpPr>
          <a:xfrm>
            <a:off x="2840812" y="1304924"/>
            <a:ext cx="8646338" cy="4705350"/>
            <a:chOff x="2840812" y="1304924"/>
            <a:chExt cx="8646338" cy="4705350"/>
          </a:xfrm>
        </p:grpSpPr>
        <p:sp>
          <p:nvSpPr>
            <p:cNvPr id="16" name="Rectangle 15">
              <a:extLst>
                <a:ext uri="{FF2B5EF4-FFF2-40B4-BE49-F238E27FC236}">
                  <a16:creationId xmlns:a16="http://schemas.microsoft.com/office/drawing/2014/main" id="{74DD2215-3BF7-0916-69E4-FD5E417C29E5}"/>
                </a:ext>
              </a:extLst>
            </p:cNvPr>
            <p:cNvSpPr/>
            <p:nvPr/>
          </p:nvSpPr>
          <p:spPr bwMode="auto">
            <a:xfrm>
              <a:off x="2840812" y="1411092"/>
              <a:ext cx="397125" cy="191768"/>
            </a:xfrm>
            <a:prstGeom prst="rect">
              <a:avLst/>
            </a:prstGeom>
            <a:noFill/>
            <a:ln w="5992" cap="flat">
              <a:noFill/>
              <a:prstDash val="solid"/>
              <a:miter/>
            </a:ln>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mn-cs"/>
                </a:rPr>
                <a:t>High</a:t>
              </a:r>
            </a:p>
          </p:txBody>
        </p:sp>
        <p:sp>
          <p:nvSpPr>
            <p:cNvPr id="17" name="Rectangle 16">
              <a:extLst>
                <a:ext uri="{FF2B5EF4-FFF2-40B4-BE49-F238E27FC236}">
                  <a16:creationId xmlns:a16="http://schemas.microsoft.com/office/drawing/2014/main" id="{E8AA71A6-B0AB-6656-CD41-79AB32EC918E}"/>
                </a:ext>
              </a:extLst>
            </p:cNvPr>
            <p:cNvSpPr/>
            <p:nvPr/>
          </p:nvSpPr>
          <p:spPr bwMode="auto">
            <a:xfrm>
              <a:off x="11008976" y="5818506"/>
              <a:ext cx="397125" cy="191768"/>
            </a:xfrm>
            <a:prstGeom prst="rect">
              <a:avLst/>
            </a:prstGeom>
            <a:noFill/>
            <a:ln w="5992" cap="flat">
              <a:noFill/>
              <a:prstDash val="solid"/>
              <a:miter/>
            </a:ln>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mn-cs"/>
                </a:rPr>
                <a:t>Low</a:t>
              </a:r>
            </a:p>
          </p:txBody>
        </p:sp>
        <p:sp>
          <p:nvSpPr>
            <p:cNvPr id="18" name="Rectangle 17">
              <a:extLst>
                <a:ext uri="{FF2B5EF4-FFF2-40B4-BE49-F238E27FC236}">
                  <a16:creationId xmlns:a16="http://schemas.microsoft.com/office/drawing/2014/main" id="{BC2C9D0F-F49C-D380-B9EC-C22A345E4936}"/>
                </a:ext>
              </a:extLst>
            </p:cNvPr>
            <p:cNvSpPr/>
            <p:nvPr/>
          </p:nvSpPr>
          <p:spPr bwMode="auto">
            <a:xfrm>
              <a:off x="3357830" y="5818506"/>
              <a:ext cx="338292" cy="191768"/>
            </a:xfrm>
            <a:prstGeom prst="rect">
              <a:avLst/>
            </a:prstGeom>
            <a:noFill/>
            <a:ln w="5992" cap="flat">
              <a:noFill/>
              <a:prstDash val="solid"/>
              <a:miter/>
            </a:ln>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mn-cs"/>
                </a:rPr>
                <a:t>High</a:t>
              </a:r>
            </a:p>
          </p:txBody>
        </p:sp>
        <p:sp>
          <p:nvSpPr>
            <p:cNvPr id="19" name="Rectangle 18">
              <a:extLst>
                <a:ext uri="{FF2B5EF4-FFF2-40B4-BE49-F238E27FC236}">
                  <a16:creationId xmlns:a16="http://schemas.microsoft.com/office/drawing/2014/main" id="{7E7D7BD9-1994-0DD7-3081-B1E65D57C900}"/>
                </a:ext>
              </a:extLst>
            </p:cNvPr>
            <p:cNvSpPr/>
            <p:nvPr/>
          </p:nvSpPr>
          <p:spPr bwMode="auto">
            <a:xfrm>
              <a:off x="2899645" y="5479443"/>
              <a:ext cx="338292" cy="191768"/>
            </a:xfrm>
            <a:prstGeom prst="rect">
              <a:avLst/>
            </a:prstGeom>
            <a:noFill/>
            <a:ln w="5992" cap="flat">
              <a:noFill/>
              <a:prstDash val="solid"/>
              <a:miter/>
            </a:ln>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mn-cs"/>
                </a:rPr>
                <a:t>Low</a:t>
              </a:r>
            </a:p>
          </p:txBody>
        </p:sp>
        <p:sp>
          <p:nvSpPr>
            <p:cNvPr id="20" name="Rectangle 19">
              <a:extLst>
                <a:ext uri="{FF2B5EF4-FFF2-40B4-BE49-F238E27FC236}">
                  <a16:creationId xmlns:a16="http://schemas.microsoft.com/office/drawing/2014/main" id="{D973B68F-3F5B-0EAE-C1ED-F210C2B838C5}"/>
                </a:ext>
              </a:extLst>
            </p:cNvPr>
            <p:cNvSpPr/>
            <p:nvPr/>
          </p:nvSpPr>
          <p:spPr bwMode="auto">
            <a:xfrm>
              <a:off x="3035781" y="2225050"/>
              <a:ext cx="184666" cy="2596798"/>
            </a:xfrm>
            <a:prstGeom prst="rect">
              <a:avLst/>
            </a:prstGeom>
            <a:noFill/>
            <a:ln w="5992" cap="flat">
              <a:noFill/>
              <a:prstDash val="solid"/>
              <a:miter/>
            </a:ln>
          </p:spPr>
          <p:txBody>
            <a:bodyPr vert="vert270" wrap="square" lIns="0" tIns="0" rIns="0" bIns="0" rtlCol="0" anchor="ctr">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200" b="0" i="0" u="none" strike="noStrike" kern="1200" cap="none" spc="0" normalizeH="0" baseline="0" noProof="0">
                  <a:ln>
                    <a:noFill/>
                  </a:ln>
                  <a:solidFill>
                    <a:srgbClr val="8560C3"/>
                  </a:solidFill>
                  <a:effectLst/>
                  <a:uLnTx/>
                  <a:uFillTx/>
                  <a:latin typeface="Segoe UI Semibold"/>
                  <a:ea typeface="+mn-ea"/>
                  <a:cs typeface="+mn-cs"/>
                </a:rPr>
                <a:t>Business Value</a:t>
              </a:r>
            </a:p>
          </p:txBody>
        </p:sp>
        <p:sp>
          <p:nvSpPr>
            <p:cNvPr id="21" name="Rectangle 20">
              <a:extLst>
                <a:ext uri="{FF2B5EF4-FFF2-40B4-BE49-F238E27FC236}">
                  <a16:creationId xmlns:a16="http://schemas.microsoft.com/office/drawing/2014/main" id="{02CC1121-851D-7E2C-AF4A-ED440DBCD823}"/>
                </a:ext>
              </a:extLst>
            </p:cNvPr>
            <p:cNvSpPr/>
            <p:nvPr/>
          </p:nvSpPr>
          <p:spPr bwMode="auto">
            <a:xfrm>
              <a:off x="6346009" y="5822057"/>
              <a:ext cx="2071912" cy="184666"/>
            </a:xfrm>
            <a:prstGeom prst="rect">
              <a:avLst/>
            </a:prstGeom>
            <a:noFill/>
            <a:ln w="5992" cap="flat">
              <a:noFill/>
              <a:prstDash val="solid"/>
              <a:miter/>
            </a:ln>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200" b="0" i="0" u="none" strike="noStrike" kern="1200" cap="none" spc="0" normalizeH="0" baseline="0" noProof="0">
                  <a:ln>
                    <a:noFill/>
                  </a:ln>
                  <a:solidFill>
                    <a:srgbClr val="8560C3"/>
                  </a:solidFill>
                  <a:effectLst/>
                  <a:uLnTx/>
                  <a:uFillTx/>
                  <a:latin typeface="Segoe UI Semibold"/>
                  <a:ea typeface="+mn-ea"/>
                  <a:cs typeface="+mn-cs"/>
                </a:rPr>
                <a:t>Implementation effort</a:t>
              </a:r>
            </a:p>
          </p:txBody>
        </p:sp>
        <p:sp>
          <p:nvSpPr>
            <p:cNvPr id="22" name="Oval 32">
              <a:extLst>
                <a:ext uri="{FF2B5EF4-FFF2-40B4-BE49-F238E27FC236}">
                  <a16:creationId xmlns:a16="http://schemas.microsoft.com/office/drawing/2014/main" id="{04163390-7F12-F0CA-D57D-BC7158BC1D40}"/>
                </a:ext>
              </a:extLst>
            </p:cNvPr>
            <p:cNvSpPr>
              <a:spLocks/>
            </p:cNvSpPr>
            <p:nvPr/>
          </p:nvSpPr>
          <p:spPr bwMode="auto">
            <a:xfrm>
              <a:off x="3276780" y="1304924"/>
              <a:ext cx="8210370" cy="4437049"/>
            </a:xfrm>
            <a:prstGeom prst="rect">
              <a:avLst/>
            </a:prstGeom>
            <a:solidFill>
              <a:schemeClr val="bg1">
                <a:lumMod val="95000"/>
                <a:alpha val="33000"/>
              </a:schemeClr>
            </a:solidFill>
            <a:ln w="6350" cap="flat" cmpd="sng" algn="ctr">
              <a:solidFill>
                <a:schemeClr val="bg1">
                  <a:lumMod val="85000"/>
                </a:scheme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UI"/>
                <a:ea typeface="+mn-ea"/>
                <a:cs typeface="Segoe UI" pitchFamily="34" charset="0"/>
              </a:endParaRPr>
            </a:p>
          </p:txBody>
        </p:sp>
        <p:sp>
          <p:nvSpPr>
            <p:cNvPr id="23" name="Oval 32_1">
              <a:extLst>
                <a:ext uri="{FF2B5EF4-FFF2-40B4-BE49-F238E27FC236}">
                  <a16:creationId xmlns:a16="http://schemas.microsoft.com/office/drawing/2014/main" id="{91110A9F-E6AD-A317-1D46-0DCF641150DE}"/>
                </a:ext>
              </a:extLst>
            </p:cNvPr>
            <p:cNvSpPr>
              <a:spLocks/>
            </p:cNvSpPr>
            <p:nvPr/>
          </p:nvSpPr>
          <p:spPr bwMode="auto">
            <a:xfrm>
              <a:off x="3357830" y="1375686"/>
              <a:ext cx="3977524" cy="210706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Oval 32_1">
              <a:extLst>
                <a:ext uri="{FF2B5EF4-FFF2-40B4-BE49-F238E27FC236}">
                  <a16:creationId xmlns:a16="http://schemas.microsoft.com/office/drawing/2014/main" id="{D2A99DDE-94A4-C84A-C745-BECA04399DEA}"/>
                </a:ext>
              </a:extLst>
            </p:cNvPr>
            <p:cNvSpPr>
              <a:spLocks/>
            </p:cNvSpPr>
            <p:nvPr/>
          </p:nvSpPr>
          <p:spPr bwMode="auto">
            <a:xfrm>
              <a:off x="7428577" y="1375686"/>
              <a:ext cx="3977524" cy="210706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Segoe UI"/>
                <a:ea typeface="+mn-ea"/>
                <a:cs typeface="+mn-cs"/>
              </a:endParaRPr>
            </a:p>
          </p:txBody>
        </p:sp>
        <p:sp>
          <p:nvSpPr>
            <p:cNvPr id="25" name="Oval 32_1">
              <a:extLst>
                <a:ext uri="{FF2B5EF4-FFF2-40B4-BE49-F238E27FC236}">
                  <a16:creationId xmlns:a16="http://schemas.microsoft.com/office/drawing/2014/main" id="{BF4FE33D-84C5-4A39-D91C-F95DD3533A47}"/>
                </a:ext>
              </a:extLst>
            </p:cNvPr>
            <p:cNvSpPr>
              <a:spLocks/>
            </p:cNvSpPr>
            <p:nvPr/>
          </p:nvSpPr>
          <p:spPr bwMode="auto">
            <a:xfrm>
              <a:off x="3357830" y="3564144"/>
              <a:ext cx="3977524" cy="210706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Segoe UI"/>
                <a:ea typeface="+mn-ea"/>
                <a:cs typeface="+mn-cs"/>
              </a:endParaRPr>
            </a:p>
          </p:txBody>
        </p:sp>
        <p:sp>
          <p:nvSpPr>
            <p:cNvPr id="26" name="Oval 32_1">
              <a:extLst>
                <a:ext uri="{FF2B5EF4-FFF2-40B4-BE49-F238E27FC236}">
                  <a16:creationId xmlns:a16="http://schemas.microsoft.com/office/drawing/2014/main" id="{2809DE82-A012-8B6A-E7A5-02A188509FFE}"/>
                </a:ext>
              </a:extLst>
            </p:cNvPr>
            <p:cNvSpPr>
              <a:spLocks/>
            </p:cNvSpPr>
            <p:nvPr/>
          </p:nvSpPr>
          <p:spPr bwMode="auto">
            <a:xfrm>
              <a:off x="7428577" y="3564144"/>
              <a:ext cx="3977524" cy="210706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Segoe UI"/>
                <a:ea typeface="+mn-ea"/>
                <a:cs typeface="+mn-cs"/>
              </a:endParaRPr>
            </a:p>
          </p:txBody>
        </p:sp>
        <p:sp>
          <p:nvSpPr>
            <p:cNvPr id="27" name="Rectangle 26">
              <a:extLst>
                <a:ext uri="{FF2B5EF4-FFF2-40B4-BE49-F238E27FC236}">
                  <a16:creationId xmlns:a16="http://schemas.microsoft.com/office/drawing/2014/main" id="{B4DF7BC8-96E3-CE34-5C75-6E9A9954AF44}"/>
                </a:ext>
              </a:extLst>
            </p:cNvPr>
            <p:cNvSpPr/>
            <p:nvPr/>
          </p:nvSpPr>
          <p:spPr bwMode="auto">
            <a:xfrm>
              <a:off x="5366550" y="1375687"/>
              <a:ext cx="1968803" cy="294937"/>
            </a:xfrm>
            <a:prstGeom prst="rect">
              <a:avLst/>
            </a:prstGeom>
            <a:solidFill>
              <a:schemeClr val="bg2"/>
            </a:solidFill>
            <a:ln w="5992" cap="flat">
              <a:noFill/>
              <a:prstDash val="solid"/>
              <a:miter/>
            </a:ln>
          </p:spPr>
          <p:txBody>
            <a:bodyPr vert="horz" wrap="square" rtlCol="0" anchor="ctr">
              <a:no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Semibold"/>
                  <a:ea typeface="+mn-ea"/>
                  <a:cs typeface="+mn-cs"/>
                </a:rPr>
                <a:t>High Value, High Effort</a:t>
              </a:r>
            </a:p>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Semibold"/>
                  <a:ea typeface="+mn-ea"/>
                  <a:cs typeface="+mn-cs"/>
                </a:rPr>
                <a:t>“Plan &amp; Invest”</a:t>
              </a:r>
            </a:p>
          </p:txBody>
        </p:sp>
        <p:sp>
          <p:nvSpPr>
            <p:cNvPr id="28" name="Rectangle 27">
              <a:extLst>
                <a:ext uri="{FF2B5EF4-FFF2-40B4-BE49-F238E27FC236}">
                  <a16:creationId xmlns:a16="http://schemas.microsoft.com/office/drawing/2014/main" id="{72396807-C79F-40C3-17C4-DA1506BD8E37}"/>
                </a:ext>
              </a:extLst>
            </p:cNvPr>
            <p:cNvSpPr/>
            <p:nvPr/>
          </p:nvSpPr>
          <p:spPr bwMode="auto">
            <a:xfrm>
              <a:off x="9437298" y="3564145"/>
              <a:ext cx="1968803" cy="294937"/>
            </a:xfrm>
            <a:prstGeom prst="rect">
              <a:avLst/>
            </a:prstGeom>
            <a:solidFill>
              <a:schemeClr val="bg2"/>
            </a:solidFill>
            <a:ln w="5992" cap="flat">
              <a:noFill/>
              <a:prstDash val="solid"/>
              <a:miter/>
            </a:ln>
          </p:spPr>
          <p:txBody>
            <a:bodyPr vert="horz" wrap="square" rtlCol="0" anchor="ctr">
              <a:no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Semibold"/>
                  <a:ea typeface="+mn-ea"/>
                  <a:cs typeface="+mn-cs"/>
                </a:rPr>
                <a:t>Low Value, Low Effort</a:t>
              </a:r>
            </a:p>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Semibold"/>
                  <a:ea typeface="+mn-ea"/>
                  <a:cs typeface="+mn-cs"/>
                </a:rPr>
                <a:t>“Consider after High Value work”</a:t>
              </a:r>
            </a:p>
          </p:txBody>
        </p:sp>
        <p:sp>
          <p:nvSpPr>
            <p:cNvPr id="29" name="Rectangle 28">
              <a:extLst>
                <a:ext uri="{FF2B5EF4-FFF2-40B4-BE49-F238E27FC236}">
                  <a16:creationId xmlns:a16="http://schemas.microsoft.com/office/drawing/2014/main" id="{ECAD9826-CE17-F7F0-19F1-AF792976E595}"/>
                </a:ext>
              </a:extLst>
            </p:cNvPr>
            <p:cNvSpPr/>
            <p:nvPr/>
          </p:nvSpPr>
          <p:spPr bwMode="auto">
            <a:xfrm>
              <a:off x="9437298" y="1375687"/>
              <a:ext cx="1968803" cy="294937"/>
            </a:xfrm>
            <a:prstGeom prst="rect">
              <a:avLst/>
            </a:prstGeom>
            <a:solidFill>
              <a:schemeClr val="bg2"/>
            </a:solidFill>
            <a:ln w="5992" cap="flat">
              <a:noFill/>
              <a:prstDash val="solid"/>
              <a:miter/>
            </a:ln>
          </p:spPr>
          <p:txBody>
            <a:bodyPr vert="horz" wrap="square" rtlCol="0" anchor="ctr">
              <a:no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Semibold"/>
                  <a:ea typeface="+mn-ea"/>
                  <a:cs typeface="+mn-cs"/>
                </a:rPr>
                <a:t>High Value, Low Effort</a:t>
              </a:r>
            </a:p>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Semibold"/>
                  <a:ea typeface="+mn-ea"/>
                  <a:cs typeface="+mn-cs"/>
                </a:rPr>
                <a:t>“Quick Wins”</a:t>
              </a:r>
            </a:p>
          </p:txBody>
        </p:sp>
        <p:sp>
          <p:nvSpPr>
            <p:cNvPr id="30" name="Rectangle 29">
              <a:extLst>
                <a:ext uri="{FF2B5EF4-FFF2-40B4-BE49-F238E27FC236}">
                  <a16:creationId xmlns:a16="http://schemas.microsoft.com/office/drawing/2014/main" id="{0784CCFD-CFA6-3EAB-24EC-0FBE0F3BDB19}"/>
                </a:ext>
              </a:extLst>
            </p:cNvPr>
            <p:cNvSpPr/>
            <p:nvPr/>
          </p:nvSpPr>
          <p:spPr bwMode="auto">
            <a:xfrm>
              <a:off x="5366550" y="3564145"/>
              <a:ext cx="1968803" cy="294937"/>
            </a:xfrm>
            <a:prstGeom prst="rect">
              <a:avLst/>
            </a:prstGeom>
            <a:solidFill>
              <a:schemeClr val="bg2"/>
            </a:solidFill>
            <a:ln w="5992" cap="flat">
              <a:noFill/>
              <a:prstDash val="solid"/>
              <a:miter/>
            </a:ln>
          </p:spPr>
          <p:txBody>
            <a:bodyPr vert="horz" wrap="square" lIns="45720" rIns="45720" rtlCol="0" anchor="ctr">
              <a:no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Semibold"/>
                  <a:ea typeface="+mn-ea"/>
                  <a:cs typeface="+mn-cs"/>
                </a:rPr>
                <a:t>Low Value, High Effort</a:t>
              </a:r>
            </a:p>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Semibold"/>
                  <a:ea typeface="+mn-ea"/>
                  <a:cs typeface="+mn-cs"/>
                </a:rPr>
                <a:t>“Avoid if Possible”</a:t>
              </a:r>
            </a:p>
          </p:txBody>
        </p:sp>
        <p:sp>
          <p:nvSpPr>
            <p:cNvPr id="33" name="Rectangle 32">
              <a:extLst>
                <a:ext uri="{FF2B5EF4-FFF2-40B4-BE49-F238E27FC236}">
                  <a16:creationId xmlns:a16="http://schemas.microsoft.com/office/drawing/2014/main" id="{7B8E5970-680C-80C0-09CF-E473AE062231}"/>
                </a:ext>
              </a:extLst>
            </p:cNvPr>
            <p:cNvSpPr/>
            <p:nvPr/>
          </p:nvSpPr>
          <p:spPr bwMode="auto">
            <a:xfrm>
              <a:off x="3357830" y="1375880"/>
              <a:ext cx="289590" cy="262196"/>
            </a:xfrm>
            <a:prstGeom prst="rect">
              <a:avLst/>
            </a:prstGeom>
            <a:noFill/>
            <a:ln w="5992" cap="flat">
              <a:noFill/>
              <a:prstDash val="solid"/>
              <a:miter/>
            </a:ln>
          </p:spPr>
          <p:txBody>
            <a:bodyPr wrap="square" lIns="91440" tIns="45720" rIns="91440" bIns="45720" rtlCol="0" anchor="ctr">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5</a:t>
              </a:r>
            </a:p>
          </p:txBody>
        </p:sp>
        <p:sp>
          <p:nvSpPr>
            <p:cNvPr id="34" name="Rectangle 33">
              <a:extLst>
                <a:ext uri="{FF2B5EF4-FFF2-40B4-BE49-F238E27FC236}">
                  <a16:creationId xmlns:a16="http://schemas.microsoft.com/office/drawing/2014/main" id="{A3CEFED0-2B3B-ED44-17AF-9E96D927382B}"/>
                </a:ext>
              </a:extLst>
            </p:cNvPr>
            <p:cNvSpPr/>
            <p:nvPr/>
          </p:nvSpPr>
          <p:spPr bwMode="auto">
            <a:xfrm>
              <a:off x="3357830" y="2298122"/>
              <a:ext cx="294494" cy="262196"/>
            </a:xfrm>
            <a:prstGeom prst="rect">
              <a:avLst/>
            </a:prstGeom>
            <a:noFill/>
            <a:ln w="5992" cap="flat">
              <a:noFill/>
              <a:prstDash val="solid"/>
              <a:miter/>
            </a:ln>
          </p:spPr>
          <p:txBody>
            <a:bodyPr wrap="square" lIns="91440" tIns="45720" rIns="91440" bIns="45720" rtlCol="0" anchor="ctr">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4</a:t>
              </a:r>
            </a:p>
          </p:txBody>
        </p:sp>
        <p:sp>
          <p:nvSpPr>
            <p:cNvPr id="35" name="Rectangle 34">
              <a:extLst>
                <a:ext uri="{FF2B5EF4-FFF2-40B4-BE49-F238E27FC236}">
                  <a16:creationId xmlns:a16="http://schemas.microsoft.com/office/drawing/2014/main" id="{37C22D28-4E6C-038F-68BB-21ECD0DB9E47}"/>
                </a:ext>
              </a:extLst>
            </p:cNvPr>
            <p:cNvSpPr/>
            <p:nvPr/>
          </p:nvSpPr>
          <p:spPr bwMode="auto">
            <a:xfrm>
              <a:off x="3357830" y="3397221"/>
              <a:ext cx="289590" cy="262196"/>
            </a:xfrm>
            <a:prstGeom prst="rect">
              <a:avLst/>
            </a:prstGeom>
            <a:solidFill>
              <a:schemeClr val="bg1"/>
            </a:solidFill>
            <a:ln w="5992" cap="flat">
              <a:noFill/>
              <a:prstDash val="solid"/>
              <a:miter/>
            </a:ln>
          </p:spPr>
          <p:txBody>
            <a:bodyPr wrap="square" lIns="91440" tIns="45720" rIns="91440" bIns="45720" rtlCol="0" anchor="ctr">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3</a:t>
              </a:r>
            </a:p>
          </p:txBody>
        </p:sp>
        <p:sp>
          <p:nvSpPr>
            <p:cNvPr id="36" name="Rectangle 35">
              <a:extLst>
                <a:ext uri="{FF2B5EF4-FFF2-40B4-BE49-F238E27FC236}">
                  <a16:creationId xmlns:a16="http://schemas.microsoft.com/office/drawing/2014/main" id="{260BDEA7-FF1A-028B-2DA3-B8D983984A81}"/>
                </a:ext>
              </a:extLst>
            </p:cNvPr>
            <p:cNvSpPr/>
            <p:nvPr/>
          </p:nvSpPr>
          <p:spPr bwMode="auto">
            <a:xfrm>
              <a:off x="3357830" y="4525688"/>
              <a:ext cx="289590" cy="262196"/>
            </a:xfrm>
            <a:prstGeom prst="rect">
              <a:avLst/>
            </a:prstGeom>
            <a:noFill/>
            <a:ln w="5992" cap="flat">
              <a:noFill/>
              <a:prstDash val="solid"/>
              <a:miter/>
            </a:ln>
          </p:spPr>
          <p:txBody>
            <a:bodyPr wrap="square" lIns="91440" tIns="45720" rIns="91440" bIns="45720" rtlCol="0" anchor="ctr">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2</a:t>
              </a:r>
            </a:p>
          </p:txBody>
        </p:sp>
        <p:sp>
          <p:nvSpPr>
            <p:cNvPr id="37" name="Rectangle 36">
              <a:extLst>
                <a:ext uri="{FF2B5EF4-FFF2-40B4-BE49-F238E27FC236}">
                  <a16:creationId xmlns:a16="http://schemas.microsoft.com/office/drawing/2014/main" id="{D8C44BF2-B8F1-2CE1-408A-1A4DBBD61242}"/>
                </a:ext>
              </a:extLst>
            </p:cNvPr>
            <p:cNvSpPr/>
            <p:nvPr/>
          </p:nvSpPr>
          <p:spPr bwMode="auto">
            <a:xfrm>
              <a:off x="3357830" y="5416835"/>
              <a:ext cx="261809" cy="262196"/>
            </a:xfrm>
            <a:prstGeom prst="rect">
              <a:avLst/>
            </a:prstGeom>
            <a:noFill/>
            <a:ln w="5992" cap="flat">
              <a:noFill/>
              <a:prstDash val="solid"/>
              <a:miter/>
            </a:ln>
          </p:spPr>
          <p:txBody>
            <a:bodyPr wrap="square" lIns="91440" tIns="45720" rIns="91440" bIns="45720" rtlCol="0" anchor="ctr">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1</a:t>
              </a:r>
            </a:p>
          </p:txBody>
        </p:sp>
        <p:sp>
          <p:nvSpPr>
            <p:cNvPr id="38" name="Rectangle 37">
              <a:extLst>
                <a:ext uri="{FF2B5EF4-FFF2-40B4-BE49-F238E27FC236}">
                  <a16:creationId xmlns:a16="http://schemas.microsoft.com/office/drawing/2014/main" id="{4C049A4E-7180-BAA2-93B4-431F6DB7BDE6}"/>
                </a:ext>
              </a:extLst>
            </p:cNvPr>
            <p:cNvSpPr/>
            <p:nvPr/>
          </p:nvSpPr>
          <p:spPr bwMode="auto">
            <a:xfrm>
              <a:off x="5387818" y="5416835"/>
              <a:ext cx="261809" cy="262196"/>
            </a:xfrm>
            <a:prstGeom prst="rect">
              <a:avLst/>
            </a:prstGeom>
            <a:noFill/>
            <a:ln w="5992" cap="flat">
              <a:noFill/>
              <a:prstDash val="solid"/>
              <a:miter/>
            </a:ln>
          </p:spPr>
          <p:txBody>
            <a:bodyPr wrap="square" lIns="91440" tIns="45720" rIns="91440" bIns="45720" rtlCol="0" anchor="ctr">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2</a:t>
              </a:r>
            </a:p>
          </p:txBody>
        </p:sp>
        <p:sp>
          <p:nvSpPr>
            <p:cNvPr id="39" name="Rectangle 38">
              <a:extLst>
                <a:ext uri="{FF2B5EF4-FFF2-40B4-BE49-F238E27FC236}">
                  <a16:creationId xmlns:a16="http://schemas.microsoft.com/office/drawing/2014/main" id="{1958C93A-79C6-EFC1-E973-212F6BCA9EEB}"/>
                </a:ext>
              </a:extLst>
            </p:cNvPr>
            <p:cNvSpPr/>
            <p:nvPr/>
          </p:nvSpPr>
          <p:spPr bwMode="auto">
            <a:xfrm>
              <a:off x="7251061" y="5409015"/>
              <a:ext cx="261809" cy="262196"/>
            </a:xfrm>
            <a:prstGeom prst="rect">
              <a:avLst/>
            </a:prstGeom>
            <a:solidFill>
              <a:schemeClr val="bg1"/>
            </a:solidFill>
            <a:ln w="5992" cap="flat">
              <a:noFill/>
              <a:prstDash val="solid"/>
              <a:miter/>
            </a:ln>
          </p:spPr>
          <p:txBody>
            <a:bodyPr wrap="square" lIns="91440" tIns="45720" rIns="91440" bIns="45720" rtlCol="0" anchor="ctr">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3</a:t>
              </a:r>
            </a:p>
          </p:txBody>
        </p:sp>
        <p:sp>
          <p:nvSpPr>
            <p:cNvPr id="40" name="Rectangle 39">
              <a:extLst>
                <a:ext uri="{FF2B5EF4-FFF2-40B4-BE49-F238E27FC236}">
                  <a16:creationId xmlns:a16="http://schemas.microsoft.com/office/drawing/2014/main" id="{11756CCA-2E07-6129-A970-1AEA7A31C82E}"/>
                </a:ext>
              </a:extLst>
            </p:cNvPr>
            <p:cNvSpPr/>
            <p:nvPr/>
          </p:nvSpPr>
          <p:spPr bwMode="auto">
            <a:xfrm>
              <a:off x="9347465" y="5416835"/>
              <a:ext cx="261809" cy="262196"/>
            </a:xfrm>
            <a:prstGeom prst="rect">
              <a:avLst/>
            </a:prstGeom>
            <a:noFill/>
            <a:ln w="5992" cap="flat">
              <a:noFill/>
              <a:prstDash val="solid"/>
              <a:miter/>
            </a:ln>
          </p:spPr>
          <p:txBody>
            <a:bodyPr wrap="square" lIns="91440" tIns="45720" rIns="91440" bIns="45720" rtlCol="0" anchor="ctr">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4</a:t>
              </a:r>
            </a:p>
          </p:txBody>
        </p:sp>
        <p:sp>
          <p:nvSpPr>
            <p:cNvPr id="41" name="Rectangle 40">
              <a:extLst>
                <a:ext uri="{FF2B5EF4-FFF2-40B4-BE49-F238E27FC236}">
                  <a16:creationId xmlns:a16="http://schemas.microsoft.com/office/drawing/2014/main" id="{515AD654-D537-93DA-F2FD-E139BEDC3F86}"/>
                </a:ext>
              </a:extLst>
            </p:cNvPr>
            <p:cNvSpPr/>
            <p:nvPr/>
          </p:nvSpPr>
          <p:spPr bwMode="auto">
            <a:xfrm>
              <a:off x="11144292" y="5416835"/>
              <a:ext cx="261809" cy="262196"/>
            </a:xfrm>
            <a:prstGeom prst="rect">
              <a:avLst/>
            </a:prstGeom>
            <a:noFill/>
            <a:ln w="5992" cap="flat">
              <a:noFill/>
              <a:prstDash val="solid"/>
              <a:miter/>
            </a:ln>
          </p:spPr>
          <p:txBody>
            <a:bodyPr wrap="square" lIns="91440" tIns="45720" rIns="91440" bIns="45720" rtlCol="0" anchor="ctr">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5</a:t>
              </a:r>
            </a:p>
          </p:txBody>
        </p:sp>
      </p:grpSp>
      <p:sp>
        <p:nvSpPr>
          <p:cNvPr id="42" name="TextBox 41">
            <a:extLst>
              <a:ext uri="{FF2B5EF4-FFF2-40B4-BE49-F238E27FC236}">
                <a16:creationId xmlns:a16="http://schemas.microsoft.com/office/drawing/2014/main" id="{3D80D985-7193-7DA5-C885-B8BAF78AF42A}"/>
              </a:ext>
            </a:extLst>
          </p:cNvPr>
          <p:cNvSpPr txBox="1"/>
          <p:nvPr/>
        </p:nvSpPr>
        <p:spPr>
          <a:xfrm>
            <a:off x="588963" y="6345738"/>
            <a:ext cx="1835803" cy="169277"/>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Drag to appropriate quadrant</a:t>
            </a:r>
          </a:p>
        </p:txBody>
      </p:sp>
      <p:sp>
        <p:nvSpPr>
          <p:cNvPr id="43" name="Oval 42">
            <a:extLst>
              <a:ext uri="{FF2B5EF4-FFF2-40B4-BE49-F238E27FC236}">
                <a16:creationId xmlns:a16="http://schemas.microsoft.com/office/drawing/2014/main" id="{AAF36AE7-7DC5-3378-C665-AB0758B86FD4}"/>
              </a:ext>
            </a:extLst>
          </p:cNvPr>
          <p:cNvSpPr/>
          <p:nvPr/>
        </p:nvSpPr>
        <p:spPr bwMode="auto">
          <a:xfrm>
            <a:off x="2647187" y="6292559"/>
            <a:ext cx="274048" cy="275636"/>
          </a:xfrm>
          <a:prstGeom prst="ellipse">
            <a:avLst/>
          </a:prstGeom>
          <a:solidFill>
            <a:schemeClr val="accent4"/>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1</a:t>
            </a:r>
          </a:p>
        </p:txBody>
      </p:sp>
      <p:sp>
        <p:nvSpPr>
          <p:cNvPr id="44" name="Oval 43">
            <a:extLst>
              <a:ext uri="{FF2B5EF4-FFF2-40B4-BE49-F238E27FC236}">
                <a16:creationId xmlns:a16="http://schemas.microsoft.com/office/drawing/2014/main" id="{298B5799-FE8C-45D0-823C-77689C4DA589}"/>
              </a:ext>
            </a:extLst>
          </p:cNvPr>
          <p:cNvSpPr/>
          <p:nvPr/>
        </p:nvSpPr>
        <p:spPr bwMode="auto">
          <a:xfrm>
            <a:off x="3220447" y="6292559"/>
            <a:ext cx="274048" cy="275636"/>
          </a:xfrm>
          <a:prstGeom prst="ellipse">
            <a:avLst/>
          </a:prstGeom>
          <a:solidFill>
            <a:schemeClr val="accent4"/>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2</a:t>
            </a:r>
          </a:p>
        </p:txBody>
      </p:sp>
      <p:sp>
        <p:nvSpPr>
          <p:cNvPr id="45" name="Oval 44">
            <a:extLst>
              <a:ext uri="{FF2B5EF4-FFF2-40B4-BE49-F238E27FC236}">
                <a16:creationId xmlns:a16="http://schemas.microsoft.com/office/drawing/2014/main" id="{7CF1E959-6720-5BE3-2DCB-83EFCF18929D}"/>
              </a:ext>
            </a:extLst>
          </p:cNvPr>
          <p:cNvSpPr/>
          <p:nvPr/>
        </p:nvSpPr>
        <p:spPr bwMode="auto">
          <a:xfrm>
            <a:off x="3793707" y="6292559"/>
            <a:ext cx="274048" cy="275636"/>
          </a:xfrm>
          <a:prstGeom prst="ellipse">
            <a:avLst/>
          </a:prstGeom>
          <a:solidFill>
            <a:schemeClr val="accent4"/>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3</a:t>
            </a:r>
          </a:p>
        </p:txBody>
      </p:sp>
      <p:sp>
        <p:nvSpPr>
          <p:cNvPr id="46" name="Oval 45">
            <a:extLst>
              <a:ext uri="{FF2B5EF4-FFF2-40B4-BE49-F238E27FC236}">
                <a16:creationId xmlns:a16="http://schemas.microsoft.com/office/drawing/2014/main" id="{C9CF553E-BEE1-8516-C289-CA362654E1B9}"/>
              </a:ext>
            </a:extLst>
          </p:cNvPr>
          <p:cNvSpPr/>
          <p:nvPr/>
        </p:nvSpPr>
        <p:spPr bwMode="auto">
          <a:xfrm>
            <a:off x="4366967" y="6292559"/>
            <a:ext cx="274048" cy="275636"/>
          </a:xfrm>
          <a:prstGeom prst="ellipse">
            <a:avLst/>
          </a:prstGeom>
          <a:solidFill>
            <a:schemeClr val="accent4"/>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4</a:t>
            </a:r>
          </a:p>
        </p:txBody>
      </p:sp>
      <p:sp>
        <p:nvSpPr>
          <p:cNvPr id="47" name="Oval 46">
            <a:extLst>
              <a:ext uri="{FF2B5EF4-FFF2-40B4-BE49-F238E27FC236}">
                <a16:creationId xmlns:a16="http://schemas.microsoft.com/office/drawing/2014/main" id="{77B6663A-5057-B5F7-0475-9651BA4ABE0A}"/>
              </a:ext>
            </a:extLst>
          </p:cNvPr>
          <p:cNvSpPr/>
          <p:nvPr/>
        </p:nvSpPr>
        <p:spPr bwMode="auto">
          <a:xfrm>
            <a:off x="4940227" y="6292559"/>
            <a:ext cx="274048" cy="275636"/>
          </a:xfrm>
          <a:prstGeom prst="ellipse">
            <a:avLst/>
          </a:prstGeom>
          <a:solidFill>
            <a:schemeClr val="accent4"/>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5</a:t>
            </a:r>
          </a:p>
        </p:txBody>
      </p:sp>
      <p:sp>
        <p:nvSpPr>
          <p:cNvPr id="31" name="Rectangle 30">
            <a:extLst>
              <a:ext uri="{FF2B5EF4-FFF2-40B4-BE49-F238E27FC236}">
                <a16:creationId xmlns:a16="http://schemas.microsoft.com/office/drawing/2014/main" id="{A0FA271A-B71E-32BB-C7DC-BBE6B849C275}"/>
              </a:ext>
              <a:ext uri="{C183D7F6-B498-43B3-948B-1728B52AA6E4}">
                <adec:decorative xmlns:adec="http://schemas.microsoft.com/office/drawing/2017/decorative" val="1"/>
              </a:ext>
            </a:extLst>
          </p:cNvPr>
          <p:cNvSpPr/>
          <p:nvPr/>
        </p:nvSpPr>
        <p:spPr bwMode="auto">
          <a:xfrm>
            <a:off x="0" y="-1806"/>
            <a:ext cx="12192000" cy="853975"/>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2" name="Title 61">
            <a:extLst>
              <a:ext uri="{FF2B5EF4-FFF2-40B4-BE49-F238E27FC236}">
                <a16:creationId xmlns:a16="http://schemas.microsoft.com/office/drawing/2014/main" id="{0519D7B0-71F8-96A2-BA4D-F5CAE4E00C2F}"/>
              </a:ext>
            </a:extLst>
          </p:cNvPr>
          <p:cNvSpPr txBox="1">
            <a:spLocks/>
          </p:cNvSpPr>
          <p:nvPr/>
        </p:nvSpPr>
        <p:spPr>
          <a:xfrm>
            <a:off x="73478" y="-1806"/>
            <a:ext cx="4338176" cy="373100"/>
          </a:xfrm>
          <a:prstGeom prst="rect">
            <a:avLst/>
          </a:prstGeom>
        </p:spPr>
        <p:txBody>
          <a:bodyPr/>
          <a:lstStyle>
            <a:lvl1pPr algn="l" defTabSz="932742" rtl="0" eaLnBrk="1" latinLnBrk="0" hangingPunct="1">
              <a:lnSpc>
                <a:spcPct val="100000"/>
              </a:lnSpc>
              <a:spcBef>
                <a:spcPct val="0"/>
              </a:spcBef>
              <a:buNone/>
              <a:defRPr lang="en-US" sz="2000" b="0" kern="1200" cap="none" spc="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dirty="0">
                <a:ln w="3175">
                  <a:noFill/>
                </a:ln>
                <a:solidFill>
                  <a:srgbClr val="FFFFFF"/>
                </a:solidFill>
                <a:effectLst/>
                <a:uLnTx/>
                <a:uFillTx/>
                <a:latin typeface="Aptos SemiBold"/>
                <a:ea typeface="+mn-ea"/>
                <a:cs typeface="Segoe UI" pitchFamily="34" charset="0"/>
              </a:rPr>
              <a:t>AI Use Cases Discovery</a:t>
            </a:r>
          </a:p>
        </p:txBody>
      </p:sp>
      <p:sp>
        <p:nvSpPr>
          <p:cNvPr id="48" name="Titel 1">
            <a:extLst>
              <a:ext uri="{FF2B5EF4-FFF2-40B4-BE49-F238E27FC236}">
                <a16:creationId xmlns:a16="http://schemas.microsoft.com/office/drawing/2014/main" id="{0EFC4797-3966-C2C5-C14A-D7AB6AE5B1AE}"/>
              </a:ext>
            </a:extLst>
          </p:cNvPr>
          <p:cNvSpPr txBox="1">
            <a:spLocks/>
          </p:cNvSpPr>
          <p:nvPr/>
        </p:nvSpPr>
        <p:spPr>
          <a:xfrm>
            <a:off x="73480" y="375546"/>
            <a:ext cx="3829050" cy="184666"/>
          </a:xfrm>
          <a:prstGeom prst="rect">
            <a:avLst/>
          </a:prstGeom>
        </p:spPr>
        <p:txBody>
          <a:bodyPr vert="horz" wrap="square" lIns="0" tIns="0" rIns="0" bIns="0" rtlCol="0" anchor="ctr">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200" b="0" i="0" u="none" strike="noStrike" kern="1200" cap="none" spc="0" normalizeH="0" baseline="0" noProof="0">
                <a:ln w="3175">
                  <a:noFill/>
                </a:ln>
                <a:solidFill>
                  <a:srgbClr val="FFFFFF"/>
                </a:solidFill>
                <a:effectLst/>
                <a:uLnTx/>
                <a:uFillTx/>
                <a:latin typeface="Segoe UI Semibold"/>
                <a:ea typeface="+mn-ea"/>
                <a:cs typeface="Segoe UI" pitchFamily="34" charset="0"/>
              </a:rPr>
              <a:t>Customer: (insert customer name)</a:t>
            </a:r>
          </a:p>
        </p:txBody>
      </p:sp>
      <p:sp>
        <p:nvSpPr>
          <p:cNvPr id="49" name="Textplatzhalter 2">
            <a:extLst>
              <a:ext uri="{FF2B5EF4-FFF2-40B4-BE49-F238E27FC236}">
                <a16:creationId xmlns:a16="http://schemas.microsoft.com/office/drawing/2014/main" id="{6130B2AF-5520-4852-EFAA-EADEC29353B4}"/>
              </a:ext>
            </a:extLst>
          </p:cNvPr>
          <p:cNvSpPr txBox="1">
            <a:spLocks/>
          </p:cNvSpPr>
          <p:nvPr/>
        </p:nvSpPr>
        <p:spPr>
          <a:xfrm>
            <a:off x="4959803" y="133545"/>
            <a:ext cx="4192361" cy="373100"/>
          </a:xfrm>
          <a:prstGeom prst="rect">
            <a:avLst/>
          </a:prstGeom>
        </p:spPr>
        <p:txBody>
          <a:bodyPr lIns="0" tIns="0" rIns="0" bIns="0" anchor="t"/>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0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Aligned Strategic Priority:</a:t>
            </a:r>
          </a:p>
        </p:txBody>
      </p:sp>
      <p:sp>
        <p:nvSpPr>
          <p:cNvPr id="50" name="Titel 1">
            <a:extLst>
              <a:ext uri="{FF2B5EF4-FFF2-40B4-BE49-F238E27FC236}">
                <a16:creationId xmlns:a16="http://schemas.microsoft.com/office/drawing/2014/main" id="{09CD4B50-7569-A198-D18A-A4CF9C1CA782}"/>
              </a:ext>
            </a:extLst>
          </p:cNvPr>
          <p:cNvSpPr txBox="1">
            <a:spLocks/>
          </p:cNvSpPr>
          <p:nvPr/>
        </p:nvSpPr>
        <p:spPr>
          <a:xfrm>
            <a:off x="73479" y="631203"/>
            <a:ext cx="8701244" cy="184666"/>
          </a:xfrm>
          <a:prstGeom prst="rect">
            <a:avLst/>
          </a:prstGeom>
        </p:spPr>
        <p:txBody>
          <a:bodyPr vert="horz" wrap="square" lIns="0" tIns="0" rIns="0" bIns="0" rtlCol="0" anchor="ctr">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200" b="0" i="0" u="none" strike="noStrike" kern="1200" cap="none" spc="0" normalizeH="0" baseline="0" noProof="0">
                <a:ln w="3175">
                  <a:noFill/>
                </a:ln>
                <a:solidFill>
                  <a:srgbClr val="FFFFFF"/>
                </a:solidFill>
                <a:effectLst/>
                <a:uLnTx/>
                <a:uFillTx/>
                <a:latin typeface="Segoe UI Semibold"/>
                <a:ea typeface="+mn-ea"/>
                <a:cs typeface="Segoe UI" pitchFamily="34" charset="0"/>
              </a:rPr>
              <a:t>Business Process Challenge: (</a:t>
            </a:r>
            <a:r>
              <a:rPr lang="en-US" sz="1200" spc="0">
                <a:solidFill>
                  <a:srgbClr val="FFFFFF"/>
                </a:solidFill>
                <a:latin typeface="Segoe UI Semibold"/>
              </a:rPr>
              <a:t>insert challenge statement</a:t>
            </a:r>
            <a:r>
              <a:rPr kumimoji="0" lang="en-US" sz="1200" b="0" i="0" u="none" strike="noStrike" kern="1200" cap="none" spc="0" normalizeH="0" baseline="0" noProof="0">
                <a:ln w="3175">
                  <a:noFill/>
                </a:ln>
                <a:solidFill>
                  <a:srgbClr val="FFFFFF"/>
                </a:solidFill>
                <a:effectLst/>
                <a:uLnTx/>
                <a:uFillTx/>
                <a:latin typeface="Segoe UI Semibold"/>
                <a:ea typeface="+mn-ea"/>
                <a:cs typeface="Segoe UI" pitchFamily="34" charset="0"/>
              </a:rPr>
              <a:t>)</a:t>
            </a:r>
          </a:p>
        </p:txBody>
      </p:sp>
      <p:sp>
        <p:nvSpPr>
          <p:cNvPr id="51" name="Textplatzhalter 2">
            <a:extLst>
              <a:ext uri="{FF2B5EF4-FFF2-40B4-BE49-F238E27FC236}">
                <a16:creationId xmlns:a16="http://schemas.microsoft.com/office/drawing/2014/main" id="{53BA08A6-2B32-2A88-3B8A-8BAB1F7CC465}"/>
              </a:ext>
            </a:extLst>
          </p:cNvPr>
          <p:cNvSpPr txBox="1">
            <a:spLocks/>
          </p:cNvSpPr>
          <p:nvPr/>
        </p:nvSpPr>
        <p:spPr>
          <a:xfrm>
            <a:off x="9380764" y="130060"/>
            <a:ext cx="2622096" cy="646934"/>
          </a:xfrm>
          <a:prstGeom prst="rect">
            <a:avLst/>
          </a:prstGeom>
        </p:spPr>
        <p:txBody>
          <a:bodyPr lIns="0" tIns="0" rIns="0" bIns="0" anchor="t"/>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9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Business Scenario Prioritization</a:t>
            </a:r>
          </a:p>
          <a:p>
            <a:pPr marL="228600" marR="0" lvl="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AutoNum type="arabicPeriod"/>
              <a:tabLst/>
              <a:defRPr/>
            </a:pPr>
            <a:r>
              <a:rPr kumimoji="0" lang="en-US" sz="9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Business Value:  L to H (1 – 5)</a:t>
            </a:r>
          </a:p>
          <a:p>
            <a:pPr marL="228600" marR="0" lvl="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AutoNum type="arabicPeriod"/>
              <a:tabLst/>
              <a:defRPr/>
            </a:pPr>
            <a:r>
              <a:rPr kumimoji="0" lang="en-US" sz="9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Implementation Effort: H to L (1 – 5) </a:t>
            </a:r>
          </a:p>
        </p:txBody>
      </p:sp>
      <p:sp>
        <p:nvSpPr>
          <p:cNvPr id="52" name="TextBox 51">
            <a:extLst>
              <a:ext uri="{FF2B5EF4-FFF2-40B4-BE49-F238E27FC236}">
                <a16:creationId xmlns:a16="http://schemas.microsoft.com/office/drawing/2014/main" id="{47E7E9BB-BE3B-4F3C-85B4-F773F2A3DF63}"/>
              </a:ext>
            </a:extLst>
          </p:cNvPr>
          <p:cNvSpPr txBox="1"/>
          <p:nvPr/>
        </p:nvSpPr>
        <p:spPr>
          <a:xfrm>
            <a:off x="73478" y="890570"/>
            <a:ext cx="4119563" cy="307777"/>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Aptos" panose="02110004020202020204"/>
                <a:ea typeface="+mn-ea"/>
                <a:cs typeface="+mn-cs"/>
              </a:rPr>
              <a:t>Business Scenario Prioritization</a:t>
            </a:r>
          </a:p>
        </p:txBody>
      </p:sp>
    </p:spTree>
    <p:extLst>
      <p:ext uri="{BB962C8B-B14F-4D97-AF65-F5344CB8AC3E}">
        <p14:creationId xmlns:p14="http://schemas.microsoft.com/office/powerpoint/2010/main" val="3715075103"/>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292EFB-598A-C683-DFC6-7C12FD5FD6E3}"/>
              </a:ext>
            </a:extLst>
          </p:cNvPr>
          <p:cNvSpPr txBox="1">
            <a:spLocks/>
          </p:cNvSpPr>
          <p:nvPr/>
        </p:nvSpPr>
        <p:spPr>
          <a:xfrm>
            <a:off x="464091" y="257622"/>
            <a:ext cx="11083759" cy="408244"/>
          </a:xfrm>
          <a:prstGeom prst="rect">
            <a:avLst/>
          </a:prstGeom>
        </p:spPr>
        <p:txBody>
          <a:bodyPr/>
          <a:lstStyle>
            <a:lvl1pPr algn="l" defTabSz="932742" rtl="0" eaLnBrk="1" latinLnBrk="0" hangingPunct="1">
              <a:lnSpc>
                <a:spcPct val="100000"/>
              </a:lnSpc>
              <a:spcBef>
                <a:spcPct val="0"/>
              </a:spcBef>
              <a:buNone/>
              <a:defRPr lang="en-US" sz="2000" b="0" kern="1200" cap="none" spc="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2800" b="0" i="0" u="none" strike="noStrike" kern="1200" cap="none" spc="0" normalizeH="0" baseline="0" noProof="0">
                <a:ln w="3175">
                  <a:noFill/>
                </a:ln>
                <a:solidFill>
                  <a:srgbClr val="000000"/>
                </a:solidFill>
                <a:effectLst/>
                <a:uLnTx/>
                <a:uFillTx/>
                <a:latin typeface="Aptos SemiBold"/>
                <a:ea typeface="+mn-ea"/>
                <a:cs typeface="Segoe UI" pitchFamily="34" charset="0"/>
              </a:rPr>
              <a:t>Scenario prioritization consideration</a:t>
            </a:r>
          </a:p>
        </p:txBody>
      </p:sp>
      <p:sp>
        <p:nvSpPr>
          <p:cNvPr id="16" name="TextBox 15">
            <a:extLst>
              <a:ext uri="{FF2B5EF4-FFF2-40B4-BE49-F238E27FC236}">
                <a16:creationId xmlns:a16="http://schemas.microsoft.com/office/drawing/2014/main" id="{146A7C8E-EBEF-03B3-00F2-D1475CC198D8}"/>
              </a:ext>
            </a:extLst>
          </p:cNvPr>
          <p:cNvSpPr txBox="1">
            <a:spLocks/>
          </p:cNvSpPr>
          <p:nvPr/>
        </p:nvSpPr>
        <p:spPr>
          <a:xfrm>
            <a:off x="828213" y="3897223"/>
            <a:ext cx="1307171" cy="16927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mn-ea"/>
                <a:cs typeface="+mn-cs"/>
              </a:rPr>
              <a:t>Business objective </a:t>
            </a:r>
          </a:p>
        </p:txBody>
      </p:sp>
      <p:sp>
        <p:nvSpPr>
          <p:cNvPr id="17" name="TextBox 16">
            <a:extLst>
              <a:ext uri="{FF2B5EF4-FFF2-40B4-BE49-F238E27FC236}">
                <a16:creationId xmlns:a16="http://schemas.microsoft.com/office/drawing/2014/main" id="{178EA332-8DD6-3CCA-5090-2337850F755D}"/>
              </a:ext>
            </a:extLst>
          </p:cNvPr>
          <p:cNvSpPr txBox="1">
            <a:spLocks/>
          </p:cNvSpPr>
          <p:nvPr/>
        </p:nvSpPr>
        <p:spPr>
          <a:xfrm>
            <a:off x="828213" y="4361573"/>
            <a:ext cx="1307171" cy="16927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mn-ea"/>
                <a:cs typeface="+mn-cs"/>
              </a:rPr>
              <a:t>Value Drivers</a:t>
            </a:r>
          </a:p>
        </p:txBody>
      </p:sp>
      <p:sp>
        <p:nvSpPr>
          <p:cNvPr id="18" name="TextBox 17">
            <a:extLst>
              <a:ext uri="{FF2B5EF4-FFF2-40B4-BE49-F238E27FC236}">
                <a16:creationId xmlns:a16="http://schemas.microsoft.com/office/drawing/2014/main" id="{C84CB55E-E753-FEBD-DB21-70AA7060239F}"/>
              </a:ext>
            </a:extLst>
          </p:cNvPr>
          <p:cNvSpPr txBox="1">
            <a:spLocks/>
          </p:cNvSpPr>
          <p:nvPr/>
        </p:nvSpPr>
        <p:spPr>
          <a:xfrm>
            <a:off x="836943" y="4764744"/>
            <a:ext cx="1362770" cy="338554"/>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mn-ea"/>
                <a:cs typeface="+mn-cs"/>
              </a:rPr>
              <a:t>Durable competitive advantage</a:t>
            </a:r>
          </a:p>
        </p:txBody>
      </p:sp>
      <p:sp>
        <p:nvSpPr>
          <p:cNvPr id="19" name="Oval 18">
            <a:extLst>
              <a:ext uri="{FF2B5EF4-FFF2-40B4-BE49-F238E27FC236}">
                <a16:creationId xmlns:a16="http://schemas.microsoft.com/office/drawing/2014/main" id="{F815D080-2EA3-42C0-0AE4-273BE4107073}"/>
              </a:ext>
            </a:extLst>
          </p:cNvPr>
          <p:cNvSpPr/>
          <p:nvPr/>
        </p:nvSpPr>
        <p:spPr bwMode="auto">
          <a:xfrm>
            <a:off x="2583952" y="3653795"/>
            <a:ext cx="182880" cy="182880"/>
          </a:xfrm>
          <a:prstGeom prst="ellipse">
            <a:avLst/>
          </a:prstGeom>
          <a:solidFill>
            <a:srgbClr val="D59DFF"/>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Segoe UI" pitchFamily="34" charset="0"/>
              </a:rPr>
              <a:t>1</a:t>
            </a:r>
          </a:p>
        </p:txBody>
      </p:sp>
      <p:sp>
        <p:nvSpPr>
          <p:cNvPr id="20" name="TextBox 19">
            <a:extLst>
              <a:ext uri="{FF2B5EF4-FFF2-40B4-BE49-F238E27FC236}">
                <a16:creationId xmlns:a16="http://schemas.microsoft.com/office/drawing/2014/main" id="{3C065876-A978-5A65-60F6-7A2153555D4D}"/>
              </a:ext>
            </a:extLst>
          </p:cNvPr>
          <p:cNvSpPr txBox="1"/>
          <p:nvPr/>
        </p:nvSpPr>
        <p:spPr>
          <a:xfrm>
            <a:off x="2288787" y="3897224"/>
            <a:ext cx="857021" cy="169277"/>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Very unclear</a:t>
            </a:r>
          </a:p>
        </p:txBody>
      </p:sp>
      <p:cxnSp>
        <p:nvCxnSpPr>
          <p:cNvPr id="21" name="Straight Arrow Connector 20" descr="A bi-directional arrow">
            <a:extLst>
              <a:ext uri="{FF2B5EF4-FFF2-40B4-BE49-F238E27FC236}">
                <a16:creationId xmlns:a16="http://schemas.microsoft.com/office/drawing/2014/main" id="{B966CCC9-1181-AE85-E801-3F54AF8C91FB}"/>
              </a:ext>
            </a:extLst>
          </p:cNvPr>
          <p:cNvCxnSpPr>
            <a:cxnSpLocks/>
          </p:cNvCxnSpPr>
          <p:nvPr/>
        </p:nvCxnSpPr>
        <p:spPr>
          <a:xfrm>
            <a:off x="3157673" y="3981862"/>
            <a:ext cx="1005840" cy="0"/>
          </a:xfrm>
          <a:prstGeom prst="straightConnector1">
            <a:avLst/>
          </a:prstGeom>
          <a:ln>
            <a:solidFill>
              <a:schemeClr val="accent4"/>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969DA9C0-56AA-EF6B-1A9B-3AD08A3DB43A}"/>
              </a:ext>
            </a:extLst>
          </p:cNvPr>
          <p:cNvSpPr txBox="1"/>
          <p:nvPr/>
        </p:nvSpPr>
        <p:spPr>
          <a:xfrm>
            <a:off x="4213888" y="3892526"/>
            <a:ext cx="1572546" cy="169277"/>
          </a:xfrm>
          <a:prstGeom prst="rect">
            <a:avLst/>
          </a:prstGeom>
          <a:noFill/>
        </p:spPr>
        <p:txBody>
          <a:bodyPr wrap="square" lIns="0" tIns="0" rIns="0" bIns="0" rtlCol="0" anchor="ctr">
            <a:spAutoFit/>
          </a:bodyPr>
          <a:lstStyle>
            <a:defPPr>
              <a:defRPr lang="en-US"/>
            </a:defPPr>
            <a:lvl1pPr>
              <a:defRPr sz="11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Very clear &amp; actionable</a:t>
            </a:r>
          </a:p>
        </p:txBody>
      </p:sp>
      <p:sp>
        <p:nvSpPr>
          <p:cNvPr id="25" name="TextBox 24">
            <a:extLst>
              <a:ext uri="{FF2B5EF4-FFF2-40B4-BE49-F238E27FC236}">
                <a16:creationId xmlns:a16="http://schemas.microsoft.com/office/drawing/2014/main" id="{02332EEF-5495-BEDF-CDCF-94D9322CE771}"/>
              </a:ext>
            </a:extLst>
          </p:cNvPr>
          <p:cNvSpPr txBox="1"/>
          <p:nvPr/>
        </p:nvSpPr>
        <p:spPr>
          <a:xfrm>
            <a:off x="2288787" y="4281556"/>
            <a:ext cx="882445" cy="338554"/>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Vague, not</a:t>
            </a:r>
            <a:br>
              <a:rPr kumimoji="0" lang="en-US" sz="1100" b="0" i="0" u="none" strike="noStrike" kern="1200" cap="none" spc="0" normalizeH="0" baseline="0" noProof="0">
                <a:ln>
                  <a:noFill/>
                </a:ln>
                <a:solidFill>
                  <a:srgbClr val="000000"/>
                </a:solidFill>
                <a:effectLst/>
                <a:uLnTx/>
                <a:uFillTx/>
                <a:latin typeface="Segoe UI"/>
                <a:ea typeface="+mn-ea"/>
                <a:cs typeface="+mn-cs"/>
              </a:rPr>
            </a:br>
            <a:r>
              <a:rPr kumimoji="0" lang="en-US" sz="1100" b="0" i="0" u="none" strike="noStrike" kern="1200" cap="none" spc="0" normalizeH="0" baseline="0" noProof="0">
                <a:ln>
                  <a:noFill/>
                </a:ln>
                <a:solidFill>
                  <a:srgbClr val="000000"/>
                </a:solidFill>
                <a:effectLst/>
                <a:uLnTx/>
                <a:uFillTx/>
                <a:latin typeface="Segoe UI"/>
                <a:ea typeface="+mn-ea"/>
                <a:cs typeface="+mn-cs"/>
              </a:rPr>
              <a:t>measurable</a:t>
            </a:r>
          </a:p>
        </p:txBody>
      </p:sp>
      <p:cxnSp>
        <p:nvCxnSpPr>
          <p:cNvPr id="26" name="Straight Arrow Connector 25" descr="A bi-directional arrow">
            <a:extLst>
              <a:ext uri="{FF2B5EF4-FFF2-40B4-BE49-F238E27FC236}">
                <a16:creationId xmlns:a16="http://schemas.microsoft.com/office/drawing/2014/main" id="{6EF43771-FFB5-D69F-E7F0-5D26A9227852}"/>
              </a:ext>
            </a:extLst>
          </p:cNvPr>
          <p:cNvCxnSpPr>
            <a:cxnSpLocks/>
          </p:cNvCxnSpPr>
          <p:nvPr/>
        </p:nvCxnSpPr>
        <p:spPr>
          <a:xfrm>
            <a:off x="3157673" y="4414798"/>
            <a:ext cx="1005840" cy="0"/>
          </a:xfrm>
          <a:prstGeom prst="straightConnector1">
            <a:avLst/>
          </a:prstGeom>
          <a:ln>
            <a:solidFill>
              <a:schemeClr val="accent4"/>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3AC65115-E9C9-53D2-694A-354A0EE54A20}"/>
              </a:ext>
            </a:extLst>
          </p:cNvPr>
          <p:cNvSpPr txBox="1"/>
          <p:nvPr/>
        </p:nvSpPr>
        <p:spPr>
          <a:xfrm>
            <a:off x="4223474" y="4277060"/>
            <a:ext cx="1647194" cy="338554"/>
          </a:xfrm>
          <a:prstGeom prst="rect">
            <a:avLst/>
          </a:prstGeom>
          <a:noFill/>
        </p:spPr>
        <p:txBody>
          <a:bodyPr wrap="square" lIns="0" tIns="0" rIns="0" bIns="0" rtlCol="0" anchor="ctr">
            <a:spAutoFit/>
          </a:bodyPr>
          <a:lstStyle>
            <a:defPPr>
              <a:defRPr lang="en-US"/>
            </a:defPPr>
            <a:lvl1pPr>
              <a:defRPr sz="11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Precise, measurable, and</a:t>
            </a:r>
            <a:br>
              <a:rPr kumimoji="0" lang="en-US" sz="1100" b="0" i="0" u="none" strike="noStrike" kern="1200" cap="none" spc="0" normalizeH="0" baseline="0" noProof="0">
                <a:ln>
                  <a:noFill/>
                </a:ln>
                <a:solidFill>
                  <a:srgbClr val="000000"/>
                </a:solidFill>
                <a:effectLst/>
                <a:uLnTx/>
                <a:uFillTx/>
                <a:latin typeface="Segoe UI"/>
                <a:ea typeface="+mn-ea"/>
                <a:cs typeface="+mn-cs"/>
              </a:rPr>
            </a:br>
            <a:r>
              <a:rPr kumimoji="0" lang="en-US" sz="1100" b="0" i="0" u="none" strike="noStrike" kern="1200" cap="none" spc="0" normalizeH="0" baseline="0" noProof="0">
                <a:ln>
                  <a:noFill/>
                </a:ln>
                <a:solidFill>
                  <a:srgbClr val="000000"/>
                </a:solidFill>
                <a:effectLst/>
                <a:uLnTx/>
                <a:uFillTx/>
                <a:latin typeface="Segoe UI"/>
                <a:ea typeface="+mn-ea"/>
                <a:cs typeface="+mn-cs"/>
              </a:rPr>
              <a:t>aligned to the objective</a:t>
            </a:r>
          </a:p>
        </p:txBody>
      </p:sp>
      <p:sp>
        <p:nvSpPr>
          <p:cNvPr id="30" name="TextBox 29">
            <a:extLst>
              <a:ext uri="{FF2B5EF4-FFF2-40B4-BE49-F238E27FC236}">
                <a16:creationId xmlns:a16="http://schemas.microsoft.com/office/drawing/2014/main" id="{EC0D94C9-6B9C-5A3E-D3B3-8D17A96B30AF}"/>
              </a:ext>
            </a:extLst>
          </p:cNvPr>
          <p:cNvSpPr txBox="1"/>
          <p:nvPr/>
        </p:nvSpPr>
        <p:spPr>
          <a:xfrm>
            <a:off x="2307629" y="4835377"/>
            <a:ext cx="857021" cy="169277"/>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Don’t know</a:t>
            </a:r>
          </a:p>
        </p:txBody>
      </p:sp>
      <p:cxnSp>
        <p:nvCxnSpPr>
          <p:cNvPr id="31" name="Straight Arrow Connector 30" descr="A bi-directional arrow">
            <a:extLst>
              <a:ext uri="{FF2B5EF4-FFF2-40B4-BE49-F238E27FC236}">
                <a16:creationId xmlns:a16="http://schemas.microsoft.com/office/drawing/2014/main" id="{19A5D08B-E6DD-AAD6-5817-67EFFF95285C}"/>
              </a:ext>
            </a:extLst>
          </p:cNvPr>
          <p:cNvCxnSpPr>
            <a:cxnSpLocks/>
          </p:cNvCxnSpPr>
          <p:nvPr/>
        </p:nvCxnSpPr>
        <p:spPr>
          <a:xfrm>
            <a:off x="3157673" y="4918773"/>
            <a:ext cx="1005840" cy="0"/>
          </a:xfrm>
          <a:prstGeom prst="straightConnector1">
            <a:avLst/>
          </a:prstGeom>
          <a:ln>
            <a:solidFill>
              <a:schemeClr val="accent4"/>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79EADD3C-AC57-50FF-3AE2-98EE5741F4EF}"/>
              </a:ext>
            </a:extLst>
          </p:cNvPr>
          <p:cNvSpPr txBox="1"/>
          <p:nvPr/>
        </p:nvSpPr>
        <p:spPr>
          <a:xfrm>
            <a:off x="4213888" y="4826645"/>
            <a:ext cx="1333008" cy="169277"/>
          </a:xfrm>
          <a:prstGeom prst="rect">
            <a:avLst/>
          </a:prstGeom>
          <a:noFill/>
        </p:spPr>
        <p:txBody>
          <a:bodyPr wrap="square" lIns="0" tIns="0" rIns="0" bIns="0" rtlCol="0" anchor="ctr">
            <a:spAutoFit/>
          </a:bodyPr>
          <a:lstStyle>
            <a:defPPr>
              <a:defRPr lang="en-US"/>
            </a:defPPr>
            <a:lvl1pPr>
              <a:defRPr sz="11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Clear and durable</a:t>
            </a:r>
          </a:p>
        </p:txBody>
      </p:sp>
      <p:sp>
        <p:nvSpPr>
          <p:cNvPr id="45" name="TextBox 44">
            <a:extLst>
              <a:ext uri="{FF2B5EF4-FFF2-40B4-BE49-F238E27FC236}">
                <a16:creationId xmlns:a16="http://schemas.microsoft.com/office/drawing/2014/main" id="{65BDB0CB-3A59-DF5A-4D99-4127B7489C86}"/>
              </a:ext>
            </a:extLst>
          </p:cNvPr>
          <p:cNvSpPr txBox="1">
            <a:spLocks/>
          </p:cNvSpPr>
          <p:nvPr/>
        </p:nvSpPr>
        <p:spPr>
          <a:xfrm>
            <a:off x="6591071" y="3825662"/>
            <a:ext cx="1257084" cy="16927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mn-ea"/>
                <a:cs typeface="+mn-cs"/>
              </a:rPr>
              <a:t>Skill </a:t>
            </a:r>
          </a:p>
        </p:txBody>
      </p:sp>
      <p:sp>
        <p:nvSpPr>
          <p:cNvPr id="46" name="TextBox 45">
            <a:extLst>
              <a:ext uri="{FF2B5EF4-FFF2-40B4-BE49-F238E27FC236}">
                <a16:creationId xmlns:a16="http://schemas.microsoft.com/office/drawing/2014/main" id="{0A0D08E5-1EC1-AD80-7B75-A59A62D11D3D}"/>
              </a:ext>
            </a:extLst>
          </p:cNvPr>
          <p:cNvSpPr txBox="1">
            <a:spLocks/>
          </p:cNvSpPr>
          <p:nvPr/>
        </p:nvSpPr>
        <p:spPr>
          <a:xfrm>
            <a:off x="6591071" y="4290012"/>
            <a:ext cx="1257084" cy="338554"/>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mn-ea"/>
                <a:cs typeface="+mn-cs"/>
              </a:rPr>
              <a:t>Extend existing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mn-ea"/>
                <a:cs typeface="+mn-cs"/>
              </a:rPr>
              <a:t>or new</a:t>
            </a:r>
          </a:p>
        </p:txBody>
      </p:sp>
      <p:sp>
        <p:nvSpPr>
          <p:cNvPr id="47" name="TextBox 46">
            <a:extLst>
              <a:ext uri="{FF2B5EF4-FFF2-40B4-BE49-F238E27FC236}">
                <a16:creationId xmlns:a16="http://schemas.microsoft.com/office/drawing/2014/main" id="{E88ED36E-7071-30E8-D03E-D53E85AD03E7}"/>
              </a:ext>
            </a:extLst>
          </p:cNvPr>
          <p:cNvSpPr txBox="1">
            <a:spLocks/>
          </p:cNvSpPr>
          <p:nvPr/>
        </p:nvSpPr>
        <p:spPr>
          <a:xfrm>
            <a:off x="6591068" y="4754363"/>
            <a:ext cx="1257085" cy="338554"/>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mn-ea"/>
                <a:cs typeface="+mn-cs"/>
              </a:rPr>
              <a:t>Number of impacted users</a:t>
            </a:r>
          </a:p>
        </p:txBody>
      </p:sp>
      <p:sp>
        <p:nvSpPr>
          <p:cNvPr id="49" name="TextBox 48">
            <a:extLst>
              <a:ext uri="{FF2B5EF4-FFF2-40B4-BE49-F238E27FC236}">
                <a16:creationId xmlns:a16="http://schemas.microsoft.com/office/drawing/2014/main" id="{788F709E-BDE6-90C2-CA5F-FDDDA04D51ED}"/>
              </a:ext>
            </a:extLst>
          </p:cNvPr>
          <p:cNvSpPr txBox="1"/>
          <p:nvPr/>
        </p:nvSpPr>
        <p:spPr>
          <a:xfrm>
            <a:off x="7689578" y="3812585"/>
            <a:ext cx="857021" cy="338554"/>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Skill gaps exist</a:t>
            </a:r>
          </a:p>
        </p:txBody>
      </p:sp>
      <p:sp>
        <p:nvSpPr>
          <p:cNvPr id="51" name="TextBox 50">
            <a:extLst>
              <a:ext uri="{FF2B5EF4-FFF2-40B4-BE49-F238E27FC236}">
                <a16:creationId xmlns:a16="http://schemas.microsoft.com/office/drawing/2014/main" id="{A77B2F2D-D8A9-C91E-453C-97071EA85E88}"/>
              </a:ext>
            </a:extLst>
          </p:cNvPr>
          <p:cNvSpPr txBox="1"/>
          <p:nvPr/>
        </p:nvSpPr>
        <p:spPr>
          <a:xfrm>
            <a:off x="9902089" y="3834832"/>
            <a:ext cx="1572546" cy="338554"/>
          </a:xfrm>
          <a:prstGeom prst="rect">
            <a:avLst/>
          </a:prstGeom>
          <a:noFill/>
        </p:spPr>
        <p:txBody>
          <a:bodyPr wrap="square" lIns="0" tIns="0" rIns="0" bIns="0" rtlCol="0" anchor="ctr">
            <a:spAutoFit/>
          </a:bodyPr>
          <a:lstStyle>
            <a:defPPr>
              <a:defRPr lang="en-US"/>
            </a:defPPr>
            <a:lvl1pPr>
              <a:defRPr sz="11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AI, Apps, Data and other skills are available</a:t>
            </a:r>
          </a:p>
        </p:txBody>
      </p:sp>
      <p:sp>
        <p:nvSpPr>
          <p:cNvPr id="54" name="TextBox 53">
            <a:extLst>
              <a:ext uri="{FF2B5EF4-FFF2-40B4-BE49-F238E27FC236}">
                <a16:creationId xmlns:a16="http://schemas.microsoft.com/office/drawing/2014/main" id="{BF81DB08-A36C-2CC1-4A00-012144B53D6F}"/>
              </a:ext>
            </a:extLst>
          </p:cNvPr>
          <p:cNvSpPr txBox="1"/>
          <p:nvPr/>
        </p:nvSpPr>
        <p:spPr>
          <a:xfrm>
            <a:off x="7720088" y="4285846"/>
            <a:ext cx="1489793" cy="338554"/>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New program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or processes</a:t>
            </a:r>
          </a:p>
        </p:txBody>
      </p:sp>
      <p:sp>
        <p:nvSpPr>
          <p:cNvPr id="56" name="TextBox 55">
            <a:extLst>
              <a:ext uri="{FF2B5EF4-FFF2-40B4-BE49-F238E27FC236}">
                <a16:creationId xmlns:a16="http://schemas.microsoft.com/office/drawing/2014/main" id="{67AA1071-370F-2ED7-94B2-A5F34BCA1289}"/>
              </a:ext>
            </a:extLst>
          </p:cNvPr>
          <p:cNvSpPr txBox="1"/>
          <p:nvPr/>
        </p:nvSpPr>
        <p:spPr>
          <a:xfrm>
            <a:off x="9902089" y="4299182"/>
            <a:ext cx="1572546" cy="338554"/>
          </a:xfrm>
          <a:prstGeom prst="rect">
            <a:avLst/>
          </a:prstGeom>
          <a:noFill/>
        </p:spPr>
        <p:txBody>
          <a:bodyPr wrap="square" lIns="0" tIns="0" rIns="0" bIns="0" rtlCol="0" anchor="ctr">
            <a:spAutoFit/>
          </a:bodyPr>
          <a:lstStyle>
            <a:defPPr>
              <a:defRPr lang="en-US"/>
            </a:defPPr>
            <a:lvl1pPr>
              <a:defRPr sz="11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Extend existing program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or processes</a:t>
            </a:r>
          </a:p>
        </p:txBody>
      </p:sp>
      <p:sp>
        <p:nvSpPr>
          <p:cNvPr id="59" name="TextBox 58">
            <a:extLst>
              <a:ext uri="{FF2B5EF4-FFF2-40B4-BE49-F238E27FC236}">
                <a16:creationId xmlns:a16="http://schemas.microsoft.com/office/drawing/2014/main" id="{199B7751-8A31-5F3B-0C61-DBA1F52652F7}"/>
              </a:ext>
            </a:extLst>
          </p:cNvPr>
          <p:cNvSpPr txBox="1"/>
          <p:nvPr/>
        </p:nvSpPr>
        <p:spPr>
          <a:xfrm>
            <a:off x="7720088" y="4754300"/>
            <a:ext cx="857021" cy="338554"/>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Very high number</a:t>
            </a:r>
          </a:p>
        </p:txBody>
      </p:sp>
      <p:sp>
        <p:nvSpPr>
          <p:cNvPr id="61" name="TextBox 60">
            <a:extLst>
              <a:ext uri="{FF2B5EF4-FFF2-40B4-BE49-F238E27FC236}">
                <a16:creationId xmlns:a16="http://schemas.microsoft.com/office/drawing/2014/main" id="{2881F06C-E100-ED65-77F2-8494BA4C7815}"/>
              </a:ext>
            </a:extLst>
          </p:cNvPr>
          <p:cNvSpPr txBox="1"/>
          <p:nvPr/>
        </p:nvSpPr>
        <p:spPr>
          <a:xfrm>
            <a:off x="9902089" y="4763532"/>
            <a:ext cx="1572546" cy="338554"/>
          </a:xfrm>
          <a:prstGeom prst="rect">
            <a:avLst/>
          </a:prstGeom>
          <a:noFill/>
        </p:spPr>
        <p:txBody>
          <a:bodyPr wrap="square" lIns="0" tIns="0" rIns="0" bIns="0" rtlCol="0" anchor="ctr">
            <a:spAutoFit/>
          </a:bodyPr>
          <a:lstStyle>
            <a:defPPr>
              <a:defRPr lang="en-US"/>
            </a:defPPr>
            <a:lvl1pPr>
              <a:defRPr sz="11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Small number of users or functional areas</a:t>
            </a:r>
          </a:p>
        </p:txBody>
      </p:sp>
      <p:sp>
        <p:nvSpPr>
          <p:cNvPr id="65" name="Text Placeholder 2">
            <a:extLst>
              <a:ext uri="{FF2B5EF4-FFF2-40B4-BE49-F238E27FC236}">
                <a16:creationId xmlns:a16="http://schemas.microsoft.com/office/drawing/2014/main" id="{986D0420-E816-B514-2E1C-16B564B9A41C}"/>
              </a:ext>
            </a:extLst>
          </p:cNvPr>
          <p:cNvSpPr txBox="1">
            <a:spLocks/>
          </p:cNvSpPr>
          <p:nvPr/>
        </p:nvSpPr>
        <p:spPr>
          <a:xfrm>
            <a:off x="6423280" y="1292796"/>
            <a:ext cx="5349272" cy="1803571"/>
          </a:xfrm>
          <a:prstGeom prst="rect">
            <a:avLst/>
          </a:prstGeom>
          <a:solidFill>
            <a:schemeClr val="bg1"/>
          </a:solidFill>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100000"/>
              <a:buFont typeface="Wingdings" panose="05000000000000000000" pitchFamily="2" charset="2"/>
              <a:buNone/>
              <a:tabLst/>
              <a:defRPr/>
            </a:pPr>
            <a:r>
              <a:rPr kumimoji="0" lang="en-US" sz="2000" b="0" i="0" u="none" strike="noStrike" kern="1200" cap="none" spc="0" normalizeH="0" baseline="0" noProof="0">
                <a:ln>
                  <a:noFill/>
                </a:ln>
                <a:solidFill>
                  <a:srgbClr val="8560C3"/>
                </a:solidFill>
                <a:effectLst/>
                <a:uLnTx/>
                <a:uFillTx/>
                <a:latin typeface="Segoe UI Semibold"/>
                <a:ea typeface="+mn-ea"/>
                <a:cs typeface="Segoe UI" panose="020B0502040204020203" pitchFamily="34" charset="0"/>
              </a:rPr>
              <a:t>Implementation Effort</a:t>
            </a:r>
          </a:p>
          <a:p>
            <a:pPr marL="0" marR="0" lvl="0" indent="0" algn="ctr" defTabSz="932742" rtl="0" eaLnBrk="1" fontAlgn="auto" latinLnBrk="0" hangingPunct="1">
              <a:lnSpc>
                <a:spcPct val="100000"/>
              </a:lnSpc>
              <a:spcBef>
                <a:spcPct val="20000"/>
              </a:spcBef>
              <a:spcAft>
                <a:spcPts val="0"/>
              </a:spcAft>
              <a:buClrTx/>
              <a:buSzPct val="100000"/>
              <a:buFont typeface="Wingdings" panose="05000000000000000000" pitchFamily="2" charset="2"/>
              <a:buNone/>
              <a:tabLst/>
              <a:defRPr/>
            </a:pPr>
            <a:r>
              <a:rPr kumimoji="0" lang="en-US" sz="1100" b="0" i="0" u="none" strike="noStrike" kern="1200" cap="none" spc="0" normalizeH="0" baseline="0" noProof="0">
                <a:ln>
                  <a:noFill/>
                </a:ln>
                <a:solidFill>
                  <a:srgbClr val="8560C3"/>
                </a:solidFill>
                <a:effectLst/>
                <a:uLnTx/>
                <a:uFillTx/>
                <a:latin typeface="Segoe UI Semibold"/>
                <a:ea typeface="+mn-ea"/>
                <a:cs typeface="Segoe UI" panose="020B0502040204020203" pitchFamily="34" charset="0"/>
              </a:rPr>
              <a:t> </a:t>
            </a:r>
          </a:p>
          <a:p>
            <a:pPr marL="228600" marR="0" lvl="0" indent="-171450" algn="l" defTabSz="932742" rtl="0" eaLnBrk="1" fontAlgn="auto" latinLnBrk="0" hangingPunct="1">
              <a:lnSpc>
                <a:spcPct val="100000"/>
              </a:lnSpc>
              <a:spcBef>
                <a:spcPct val="20000"/>
              </a:spcBef>
              <a:spcAft>
                <a:spcPts val="0"/>
              </a:spcAft>
              <a:buClrTx/>
              <a:buSzPct val="10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Are there any skill gaps within your organization? </a:t>
            </a:r>
          </a:p>
          <a:p>
            <a:pPr marL="228600" marR="0" lvl="0" indent="-171450" algn="l" defTabSz="932742" rtl="0" eaLnBrk="1" fontAlgn="auto" latinLnBrk="0" hangingPunct="1">
              <a:lnSpc>
                <a:spcPct val="100000"/>
              </a:lnSpc>
              <a:spcBef>
                <a:spcPct val="20000"/>
              </a:spcBef>
              <a:spcAft>
                <a:spcPts val="0"/>
              </a:spcAft>
              <a:buClrTx/>
              <a:buSzPct val="10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Are there potential integration challenges with existing systems?</a:t>
            </a:r>
          </a:p>
          <a:p>
            <a:pPr marL="228600" marR="0" lvl="0" indent="-171450" algn="l" defTabSz="932742" rtl="0" eaLnBrk="1" fontAlgn="auto" latinLnBrk="0" hangingPunct="1">
              <a:lnSpc>
                <a:spcPct val="100000"/>
              </a:lnSpc>
              <a:spcBef>
                <a:spcPct val="20000"/>
              </a:spcBef>
              <a:spcAft>
                <a:spcPts val="0"/>
              </a:spcAft>
              <a:buClrTx/>
              <a:buSzPct val="10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Is it a natural extension to existing solutions? </a:t>
            </a:r>
          </a:p>
          <a:p>
            <a:pPr marL="228600" marR="0" lvl="0" indent="-171450" algn="l" defTabSz="932742" rtl="0" eaLnBrk="1" fontAlgn="auto" latinLnBrk="0" hangingPunct="1">
              <a:lnSpc>
                <a:spcPct val="100000"/>
              </a:lnSpc>
              <a:spcBef>
                <a:spcPct val="20000"/>
              </a:spcBef>
              <a:spcAft>
                <a:spcPts val="0"/>
              </a:spcAft>
              <a:buClrTx/>
              <a:buSzPct val="10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How ready are you to consume Microsoft technology?</a:t>
            </a:r>
          </a:p>
          <a:p>
            <a:pPr marL="228600" marR="0" lvl="0" indent="-171450" algn="l" defTabSz="932742" rtl="0" eaLnBrk="1" fontAlgn="auto" latinLnBrk="0" hangingPunct="1">
              <a:lnSpc>
                <a:spcPct val="100000"/>
              </a:lnSpc>
              <a:spcBef>
                <a:spcPct val="20000"/>
              </a:spcBef>
              <a:spcAft>
                <a:spcPts val="0"/>
              </a:spcAft>
              <a:buClrTx/>
              <a:buSzPct val="10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How many users might be impacted?</a:t>
            </a:r>
          </a:p>
        </p:txBody>
      </p:sp>
      <p:sp>
        <p:nvSpPr>
          <p:cNvPr id="66" name="Text Placeholder 2">
            <a:extLst>
              <a:ext uri="{FF2B5EF4-FFF2-40B4-BE49-F238E27FC236}">
                <a16:creationId xmlns:a16="http://schemas.microsoft.com/office/drawing/2014/main" id="{31C28B55-07E8-10D6-2E9A-71BCA1EC97EE}"/>
              </a:ext>
            </a:extLst>
          </p:cNvPr>
          <p:cNvSpPr txBox="1">
            <a:spLocks/>
          </p:cNvSpPr>
          <p:nvPr/>
        </p:nvSpPr>
        <p:spPr>
          <a:xfrm>
            <a:off x="764074" y="1299069"/>
            <a:ext cx="5022360" cy="1803571"/>
          </a:xfrm>
          <a:prstGeom prst="rect">
            <a:avLst/>
          </a:prstGeom>
          <a:solidFill>
            <a:schemeClr val="bg1"/>
          </a:solidFill>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100000"/>
              <a:buFont typeface="Wingdings" panose="05000000000000000000" pitchFamily="2" charset="2"/>
              <a:buNone/>
              <a:tabLst/>
              <a:defRPr/>
            </a:pPr>
            <a:r>
              <a:rPr kumimoji="0" lang="en-US" sz="2000" b="0" i="0" u="none" strike="noStrike" kern="1200" cap="none" spc="0" normalizeH="0" baseline="0" noProof="0">
                <a:ln>
                  <a:noFill/>
                </a:ln>
                <a:solidFill>
                  <a:srgbClr val="8560C3"/>
                </a:solidFill>
                <a:effectLst/>
                <a:uLnTx/>
                <a:uFillTx/>
                <a:latin typeface="Segoe UI Semibold"/>
                <a:ea typeface="+mn-ea"/>
                <a:cs typeface="Segoe UI" panose="020B0502040204020203" pitchFamily="34" charset="0"/>
              </a:rPr>
              <a:t>Business Value</a:t>
            </a:r>
          </a:p>
          <a:p>
            <a:pPr marL="0" marR="0" lvl="0" indent="0" algn="ctr" defTabSz="932742" rtl="0" eaLnBrk="1" fontAlgn="auto" latinLnBrk="0" hangingPunct="1">
              <a:lnSpc>
                <a:spcPct val="100000"/>
              </a:lnSpc>
              <a:spcBef>
                <a:spcPct val="20000"/>
              </a:spcBef>
              <a:spcAft>
                <a:spcPts val="0"/>
              </a:spcAft>
              <a:buClrTx/>
              <a:buSzPct val="100000"/>
              <a:buFont typeface="Wingdings" panose="05000000000000000000" pitchFamily="2" charset="2"/>
              <a:buNone/>
              <a:tabLst/>
              <a:defRPr/>
            </a:pPr>
            <a:endParaRPr kumimoji="0" lang="en-US" sz="1100" b="0" i="0" u="none" strike="noStrike" kern="1200" cap="none" spc="0" normalizeH="0" baseline="0" noProof="0">
              <a:ln>
                <a:noFill/>
              </a:ln>
              <a:solidFill>
                <a:srgbClr val="8560C3"/>
              </a:solidFill>
              <a:effectLst/>
              <a:uLnTx/>
              <a:uFillTx/>
              <a:latin typeface="Segoe UI Semibold"/>
              <a:ea typeface="+mn-ea"/>
              <a:cs typeface="Segoe UI" panose="020B0502040204020203" pitchFamily="34" charset="0"/>
            </a:endParaRPr>
          </a:p>
          <a:p>
            <a:pPr marL="228600" marR="0" lvl="0" indent="-171450" algn="l" defTabSz="932742" rtl="0" eaLnBrk="1" fontAlgn="auto" latinLnBrk="0" hangingPunct="1">
              <a:lnSpc>
                <a:spcPct val="100000"/>
              </a:lnSpc>
              <a:spcBef>
                <a:spcPct val="20000"/>
              </a:spcBef>
              <a:spcAft>
                <a:spcPts val="0"/>
              </a:spcAft>
              <a:buClrTx/>
              <a:buSzPct val="10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Is there a clear and quantifiable revenue?</a:t>
            </a:r>
          </a:p>
          <a:p>
            <a:pPr marL="228600" marR="0" lvl="0" indent="-171450" algn="l" defTabSz="932742" rtl="0" eaLnBrk="1" fontAlgn="auto" latinLnBrk="0" hangingPunct="1">
              <a:lnSpc>
                <a:spcPct val="100000"/>
              </a:lnSpc>
              <a:spcBef>
                <a:spcPct val="20000"/>
              </a:spcBef>
              <a:spcAft>
                <a:spcPts val="0"/>
              </a:spcAft>
              <a:buClrTx/>
              <a:buSzPct val="10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What changes are expected in efficiency?</a:t>
            </a:r>
          </a:p>
          <a:p>
            <a:pPr marL="228600" marR="0" lvl="0" indent="-171450" algn="l" defTabSz="932742" rtl="0" eaLnBrk="1" fontAlgn="auto" latinLnBrk="0" hangingPunct="1">
              <a:lnSpc>
                <a:spcPct val="100000"/>
              </a:lnSpc>
              <a:spcBef>
                <a:spcPct val="20000"/>
              </a:spcBef>
              <a:spcAft>
                <a:spcPts val="0"/>
              </a:spcAft>
              <a:buClrTx/>
              <a:buSzPct val="10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Will implementation result in cost reductions?</a:t>
            </a:r>
          </a:p>
          <a:p>
            <a:pPr marL="228600" marR="0" lvl="0" indent="-171450" algn="l" defTabSz="932742" rtl="0" eaLnBrk="1" fontAlgn="auto" latinLnBrk="0" hangingPunct="1">
              <a:lnSpc>
                <a:spcPct val="100000"/>
              </a:lnSpc>
              <a:spcBef>
                <a:spcPct val="20000"/>
              </a:spcBef>
              <a:spcAft>
                <a:spcPts val="0"/>
              </a:spcAft>
              <a:buClrTx/>
              <a:buSzPct val="10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Does it create a durable competitive advantage?</a:t>
            </a:r>
          </a:p>
          <a:p>
            <a:pPr marL="228600" marR="0" lvl="0" indent="-171450" algn="l" defTabSz="932742" rtl="0" eaLnBrk="1" fontAlgn="auto" latinLnBrk="0" hangingPunct="1">
              <a:lnSpc>
                <a:spcPct val="100000"/>
              </a:lnSpc>
              <a:spcBef>
                <a:spcPct val="20000"/>
              </a:spcBef>
              <a:spcAft>
                <a:spcPts val="0"/>
              </a:spcAft>
              <a:buClrTx/>
              <a:buSzPct val="10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What is the predicted time to value?</a:t>
            </a:r>
          </a:p>
        </p:txBody>
      </p:sp>
      <p:sp>
        <p:nvSpPr>
          <p:cNvPr id="14" name="Oval 13">
            <a:extLst>
              <a:ext uri="{FF2B5EF4-FFF2-40B4-BE49-F238E27FC236}">
                <a16:creationId xmlns:a16="http://schemas.microsoft.com/office/drawing/2014/main" id="{EA033010-46C0-6819-52F0-AFA079D858FF}"/>
              </a:ext>
            </a:extLst>
          </p:cNvPr>
          <p:cNvSpPr/>
          <p:nvPr/>
        </p:nvSpPr>
        <p:spPr bwMode="auto">
          <a:xfrm>
            <a:off x="5027432" y="3642059"/>
            <a:ext cx="182880" cy="182880"/>
          </a:xfrm>
          <a:prstGeom prst="ellipse">
            <a:avLst/>
          </a:prstGeom>
          <a:solidFill>
            <a:srgbClr val="D59DFF"/>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Segoe UI" pitchFamily="34" charset="0"/>
              </a:rPr>
              <a:t>5</a:t>
            </a:r>
          </a:p>
        </p:txBody>
      </p:sp>
      <p:sp>
        <p:nvSpPr>
          <p:cNvPr id="34" name="Oval 33">
            <a:extLst>
              <a:ext uri="{FF2B5EF4-FFF2-40B4-BE49-F238E27FC236}">
                <a16:creationId xmlns:a16="http://schemas.microsoft.com/office/drawing/2014/main" id="{ADFD13AA-3B4C-AA8D-8B6A-45C89C3EA14E}"/>
              </a:ext>
            </a:extLst>
          </p:cNvPr>
          <p:cNvSpPr/>
          <p:nvPr/>
        </p:nvSpPr>
        <p:spPr bwMode="auto">
          <a:xfrm>
            <a:off x="7917328" y="3631509"/>
            <a:ext cx="182880" cy="182880"/>
          </a:xfrm>
          <a:prstGeom prst="ellipse">
            <a:avLst/>
          </a:prstGeom>
          <a:solidFill>
            <a:srgbClr val="D59DFF"/>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Segoe UI" pitchFamily="34" charset="0"/>
              </a:rPr>
              <a:t>1</a:t>
            </a:r>
          </a:p>
        </p:txBody>
      </p:sp>
      <p:cxnSp>
        <p:nvCxnSpPr>
          <p:cNvPr id="67" name="Straight Arrow Connector 66" descr="A bi-directional arrow">
            <a:extLst>
              <a:ext uri="{FF2B5EF4-FFF2-40B4-BE49-F238E27FC236}">
                <a16:creationId xmlns:a16="http://schemas.microsoft.com/office/drawing/2014/main" id="{175C144A-5CA9-7882-9471-84BB9520FAE9}"/>
              </a:ext>
            </a:extLst>
          </p:cNvPr>
          <p:cNvCxnSpPr>
            <a:cxnSpLocks/>
          </p:cNvCxnSpPr>
          <p:nvPr/>
        </p:nvCxnSpPr>
        <p:spPr>
          <a:xfrm>
            <a:off x="8804419" y="3941904"/>
            <a:ext cx="1005840" cy="0"/>
          </a:xfrm>
          <a:prstGeom prst="straightConnector1">
            <a:avLst/>
          </a:prstGeom>
          <a:ln>
            <a:solidFill>
              <a:schemeClr val="accent4"/>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68" name="Straight Arrow Connector 67" descr="A bi-directional arrow">
            <a:extLst>
              <a:ext uri="{FF2B5EF4-FFF2-40B4-BE49-F238E27FC236}">
                <a16:creationId xmlns:a16="http://schemas.microsoft.com/office/drawing/2014/main" id="{8816840B-60A2-B5C8-5CC7-71A196931804}"/>
              </a:ext>
            </a:extLst>
          </p:cNvPr>
          <p:cNvCxnSpPr>
            <a:cxnSpLocks/>
          </p:cNvCxnSpPr>
          <p:nvPr/>
        </p:nvCxnSpPr>
        <p:spPr>
          <a:xfrm>
            <a:off x="8804419" y="4420469"/>
            <a:ext cx="1005840" cy="0"/>
          </a:xfrm>
          <a:prstGeom prst="straightConnector1">
            <a:avLst/>
          </a:prstGeom>
          <a:ln>
            <a:solidFill>
              <a:schemeClr val="accent4"/>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69" name="Straight Arrow Connector 68" descr="A bi-directional arrow">
            <a:extLst>
              <a:ext uri="{FF2B5EF4-FFF2-40B4-BE49-F238E27FC236}">
                <a16:creationId xmlns:a16="http://schemas.microsoft.com/office/drawing/2014/main" id="{97E2A2E6-694C-BEF4-CCF2-6BD494490A02}"/>
              </a:ext>
            </a:extLst>
          </p:cNvPr>
          <p:cNvCxnSpPr>
            <a:cxnSpLocks/>
          </p:cNvCxnSpPr>
          <p:nvPr/>
        </p:nvCxnSpPr>
        <p:spPr>
          <a:xfrm>
            <a:off x="8804419" y="4873396"/>
            <a:ext cx="1005840" cy="0"/>
          </a:xfrm>
          <a:prstGeom prst="straightConnector1">
            <a:avLst/>
          </a:prstGeom>
          <a:ln>
            <a:solidFill>
              <a:schemeClr val="accent4"/>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70" name="Oval 69">
            <a:extLst>
              <a:ext uri="{FF2B5EF4-FFF2-40B4-BE49-F238E27FC236}">
                <a16:creationId xmlns:a16="http://schemas.microsoft.com/office/drawing/2014/main" id="{115D7643-B8A0-3C00-DFEA-827FAA322479}"/>
              </a:ext>
            </a:extLst>
          </p:cNvPr>
          <p:cNvSpPr/>
          <p:nvPr/>
        </p:nvSpPr>
        <p:spPr bwMode="auto">
          <a:xfrm>
            <a:off x="10467708" y="3629705"/>
            <a:ext cx="182880" cy="182880"/>
          </a:xfrm>
          <a:prstGeom prst="ellipse">
            <a:avLst/>
          </a:prstGeom>
          <a:solidFill>
            <a:srgbClr val="D59DFF"/>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Segoe UI" pitchFamily="34" charset="0"/>
              </a:rPr>
              <a:t>5</a:t>
            </a:r>
          </a:p>
        </p:txBody>
      </p:sp>
      <p:sp>
        <p:nvSpPr>
          <p:cNvPr id="73" name="Rectangle: Rounded Corners 72">
            <a:extLst>
              <a:ext uri="{FF2B5EF4-FFF2-40B4-BE49-F238E27FC236}">
                <a16:creationId xmlns:a16="http://schemas.microsoft.com/office/drawing/2014/main" id="{4D9C3505-4319-7372-536D-B9294DF2FF8B}"/>
              </a:ext>
            </a:extLst>
          </p:cNvPr>
          <p:cNvSpPr/>
          <p:nvPr/>
        </p:nvSpPr>
        <p:spPr bwMode="auto">
          <a:xfrm>
            <a:off x="497033" y="1197734"/>
            <a:ext cx="5486400" cy="4228932"/>
          </a:xfrm>
          <a:prstGeom prst="roundRect">
            <a:avLst>
              <a:gd name="adj" fmla="val 9681"/>
            </a:avLst>
          </a:prstGeom>
          <a:noFill/>
          <a:ln w="9525" cap="flat" cmpd="sng" algn="ctr">
            <a:solidFill>
              <a:srgbClr val="D59DFF"/>
            </a:solidFill>
            <a:prstDash val="soli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5" name="Rectangle: Rounded Corners 74">
            <a:extLst>
              <a:ext uri="{FF2B5EF4-FFF2-40B4-BE49-F238E27FC236}">
                <a16:creationId xmlns:a16="http://schemas.microsoft.com/office/drawing/2014/main" id="{F3238CB4-8E27-1061-437D-DE1355442E0F}"/>
              </a:ext>
            </a:extLst>
          </p:cNvPr>
          <p:cNvSpPr/>
          <p:nvPr/>
        </p:nvSpPr>
        <p:spPr bwMode="auto">
          <a:xfrm>
            <a:off x="6283457" y="1183112"/>
            <a:ext cx="5486400" cy="4228932"/>
          </a:xfrm>
          <a:prstGeom prst="roundRect">
            <a:avLst>
              <a:gd name="adj" fmla="val 9681"/>
            </a:avLst>
          </a:prstGeom>
          <a:noFill/>
          <a:ln w="9525" cap="flat" cmpd="sng" algn="ctr">
            <a:solidFill>
              <a:srgbClr val="D59DFF"/>
            </a:solidFill>
            <a:prstDash val="soli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826968042"/>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BCA1146-565C-EB14-042F-F9BD76FB3B03}"/>
              </a:ext>
              <a:ext uri="{C183D7F6-B498-43B3-948B-1728B52AA6E4}">
                <adec:decorative xmlns:adec="http://schemas.microsoft.com/office/drawing/2017/decorative" val="1"/>
              </a:ext>
            </a:extLst>
          </p:cNvPr>
          <p:cNvSpPr>
            <a:spLocks/>
          </p:cNvSpPr>
          <p:nvPr/>
        </p:nvSpPr>
        <p:spPr bwMode="auto">
          <a:xfrm>
            <a:off x="588963" y="1181100"/>
            <a:ext cx="11017250" cy="4953000"/>
          </a:xfrm>
          <a:prstGeom prst="rect">
            <a:avLst/>
          </a:prstGeom>
          <a:solidFill>
            <a:schemeClr val="bg1"/>
          </a:solidFill>
          <a:ln w="9525" cap="flat" cmpd="sng" algn="ctr">
            <a:noFill/>
            <a:prstDash val="solid"/>
            <a:headEnd type="none" w="med" len="med"/>
            <a:tailEnd type="none" w="med" len="med"/>
          </a:ln>
          <a:effectLst>
            <a:outerShdw blurRad="584200" dist="38100" dir="3960000" sx="102000" sy="102000" algn="tl" rotWithShape="0">
              <a:prstClr val="black">
                <a:alpha val="1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UI"/>
              <a:ea typeface="+mn-ea"/>
              <a:cs typeface="Segoe UI" pitchFamily="34" charset="0"/>
            </a:endParaRPr>
          </a:p>
        </p:txBody>
      </p:sp>
      <p:sp>
        <p:nvSpPr>
          <p:cNvPr id="4" name="Rectangle 3">
            <a:extLst>
              <a:ext uri="{FF2B5EF4-FFF2-40B4-BE49-F238E27FC236}">
                <a16:creationId xmlns:a16="http://schemas.microsoft.com/office/drawing/2014/main" id="{1A3F7083-B51F-FE31-7EEA-1D1C8821FD9F}"/>
              </a:ext>
              <a:ext uri="{C183D7F6-B498-43B3-948B-1728B52AA6E4}">
                <adec:decorative xmlns:adec="http://schemas.microsoft.com/office/drawing/2017/decorative" val="1"/>
              </a:ext>
            </a:extLst>
          </p:cNvPr>
          <p:cNvSpPr>
            <a:spLocks/>
          </p:cNvSpPr>
          <p:nvPr/>
        </p:nvSpPr>
        <p:spPr bwMode="auto">
          <a:xfrm>
            <a:off x="704850" y="1304924"/>
            <a:ext cx="1962150" cy="470535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5" name="Oval 4">
            <a:extLst>
              <a:ext uri="{FF2B5EF4-FFF2-40B4-BE49-F238E27FC236}">
                <a16:creationId xmlns:a16="http://schemas.microsoft.com/office/drawing/2014/main" id="{8D90A93E-1AA5-C4F4-94A8-44A5BB5C7320}"/>
              </a:ext>
            </a:extLst>
          </p:cNvPr>
          <p:cNvSpPr/>
          <p:nvPr/>
        </p:nvSpPr>
        <p:spPr bwMode="auto">
          <a:xfrm>
            <a:off x="818557" y="1409702"/>
            <a:ext cx="265176" cy="260922"/>
          </a:xfrm>
          <a:prstGeom prst="ellipse">
            <a:avLst/>
          </a:prstGeom>
          <a:solidFill>
            <a:schemeClr val="accent4"/>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1</a:t>
            </a:r>
          </a:p>
        </p:txBody>
      </p:sp>
      <p:sp>
        <p:nvSpPr>
          <p:cNvPr id="6" name="TextBox 5">
            <a:extLst>
              <a:ext uri="{FF2B5EF4-FFF2-40B4-BE49-F238E27FC236}">
                <a16:creationId xmlns:a16="http://schemas.microsoft.com/office/drawing/2014/main" id="{47E30A76-08BB-69A3-AC9B-A2B94FFA9708}"/>
              </a:ext>
            </a:extLst>
          </p:cNvPr>
          <p:cNvSpPr txBox="1"/>
          <p:nvPr/>
        </p:nvSpPr>
        <p:spPr>
          <a:xfrm>
            <a:off x="818557" y="1670624"/>
            <a:ext cx="1606209" cy="240066"/>
          </a:xfrm>
          <a:prstGeom prst="rect">
            <a:avLst/>
          </a:prstGeom>
          <a:noFill/>
        </p:spPr>
        <p:txBody>
          <a:bodyPr wrap="square" lIns="0" tIns="54864"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Business Use Case</a:t>
            </a:r>
          </a:p>
        </p:txBody>
      </p:sp>
      <p:sp>
        <p:nvSpPr>
          <p:cNvPr id="7" name="Oval 6">
            <a:extLst>
              <a:ext uri="{FF2B5EF4-FFF2-40B4-BE49-F238E27FC236}">
                <a16:creationId xmlns:a16="http://schemas.microsoft.com/office/drawing/2014/main" id="{0E0A80FC-91BF-FD27-AC15-2D3757363D95}"/>
              </a:ext>
            </a:extLst>
          </p:cNvPr>
          <p:cNvSpPr/>
          <p:nvPr/>
        </p:nvSpPr>
        <p:spPr bwMode="auto">
          <a:xfrm>
            <a:off x="818557" y="2126719"/>
            <a:ext cx="265176" cy="260922"/>
          </a:xfrm>
          <a:prstGeom prst="ellipse">
            <a:avLst/>
          </a:prstGeom>
          <a:solidFill>
            <a:schemeClr val="accent4"/>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2</a:t>
            </a:r>
          </a:p>
        </p:txBody>
      </p:sp>
      <p:sp>
        <p:nvSpPr>
          <p:cNvPr id="8" name="TextBox 7">
            <a:extLst>
              <a:ext uri="{FF2B5EF4-FFF2-40B4-BE49-F238E27FC236}">
                <a16:creationId xmlns:a16="http://schemas.microsoft.com/office/drawing/2014/main" id="{40C9AAC0-5C88-7849-796C-1A33B883F563}"/>
              </a:ext>
            </a:extLst>
          </p:cNvPr>
          <p:cNvSpPr txBox="1"/>
          <p:nvPr/>
        </p:nvSpPr>
        <p:spPr>
          <a:xfrm>
            <a:off x="818557" y="2387641"/>
            <a:ext cx="1606209" cy="240066"/>
          </a:xfrm>
          <a:prstGeom prst="rect">
            <a:avLst/>
          </a:prstGeom>
          <a:noFill/>
        </p:spPr>
        <p:txBody>
          <a:bodyPr wrap="square" lIns="0" tIns="54864"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Business Use Case</a:t>
            </a:r>
          </a:p>
        </p:txBody>
      </p:sp>
      <p:sp>
        <p:nvSpPr>
          <p:cNvPr id="9" name="Oval 8">
            <a:extLst>
              <a:ext uri="{FF2B5EF4-FFF2-40B4-BE49-F238E27FC236}">
                <a16:creationId xmlns:a16="http://schemas.microsoft.com/office/drawing/2014/main" id="{9EF37675-5ECD-8501-11F5-DC5EFF008BE0}"/>
              </a:ext>
            </a:extLst>
          </p:cNvPr>
          <p:cNvSpPr/>
          <p:nvPr/>
        </p:nvSpPr>
        <p:spPr bwMode="auto">
          <a:xfrm>
            <a:off x="818557" y="3059143"/>
            <a:ext cx="265176" cy="260922"/>
          </a:xfrm>
          <a:prstGeom prst="ellipse">
            <a:avLst/>
          </a:prstGeom>
          <a:solidFill>
            <a:schemeClr val="accent4"/>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3</a:t>
            </a:r>
          </a:p>
        </p:txBody>
      </p:sp>
      <p:sp>
        <p:nvSpPr>
          <p:cNvPr id="10" name="TextBox 9">
            <a:extLst>
              <a:ext uri="{FF2B5EF4-FFF2-40B4-BE49-F238E27FC236}">
                <a16:creationId xmlns:a16="http://schemas.microsoft.com/office/drawing/2014/main" id="{01C0D2E9-A52C-7680-28A1-E7381F012FC9}"/>
              </a:ext>
            </a:extLst>
          </p:cNvPr>
          <p:cNvSpPr txBox="1"/>
          <p:nvPr/>
        </p:nvSpPr>
        <p:spPr>
          <a:xfrm>
            <a:off x="818557" y="3320065"/>
            <a:ext cx="1606209" cy="240066"/>
          </a:xfrm>
          <a:prstGeom prst="rect">
            <a:avLst/>
          </a:prstGeom>
          <a:noFill/>
        </p:spPr>
        <p:txBody>
          <a:bodyPr wrap="square" lIns="0" tIns="54864"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Business Use Case</a:t>
            </a:r>
          </a:p>
        </p:txBody>
      </p:sp>
      <p:sp>
        <p:nvSpPr>
          <p:cNvPr id="11" name="Oval 10">
            <a:extLst>
              <a:ext uri="{FF2B5EF4-FFF2-40B4-BE49-F238E27FC236}">
                <a16:creationId xmlns:a16="http://schemas.microsoft.com/office/drawing/2014/main" id="{803011AF-DF5C-EE91-2441-3B6633CA1D0E}"/>
              </a:ext>
            </a:extLst>
          </p:cNvPr>
          <p:cNvSpPr/>
          <p:nvPr/>
        </p:nvSpPr>
        <p:spPr bwMode="auto">
          <a:xfrm>
            <a:off x="818557" y="3850893"/>
            <a:ext cx="265176" cy="260922"/>
          </a:xfrm>
          <a:prstGeom prst="ellipse">
            <a:avLst/>
          </a:prstGeom>
          <a:solidFill>
            <a:schemeClr val="accent4"/>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4</a:t>
            </a:r>
          </a:p>
        </p:txBody>
      </p:sp>
      <p:sp>
        <p:nvSpPr>
          <p:cNvPr id="12" name="TextBox 11">
            <a:extLst>
              <a:ext uri="{FF2B5EF4-FFF2-40B4-BE49-F238E27FC236}">
                <a16:creationId xmlns:a16="http://schemas.microsoft.com/office/drawing/2014/main" id="{53BFD086-7CAC-2BA4-FAF8-4F2F0A5C1EBA}"/>
              </a:ext>
            </a:extLst>
          </p:cNvPr>
          <p:cNvSpPr txBox="1"/>
          <p:nvPr/>
        </p:nvSpPr>
        <p:spPr>
          <a:xfrm>
            <a:off x="818557" y="4111815"/>
            <a:ext cx="1606209" cy="240066"/>
          </a:xfrm>
          <a:prstGeom prst="rect">
            <a:avLst/>
          </a:prstGeom>
          <a:noFill/>
        </p:spPr>
        <p:txBody>
          <a:bodyPr wrap="square" lIns="0" tIns="54864"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Business Use Case</a:t>
            </a:r>
          </a:p>
        </p:txBody>
      </p:sp>
      <p:sp>
        <p:nvSpPr>
          <p:cNvPr id="13" name="Oval 12">
            <a:extLst>
              <a:ext uri="{FF2B5EF4-FFF2-40B4-BE49-F238E27FC236}">
                <a16:creationId xmlns:a16="http://schemas.microsoft.com/office/drawing/2014/main" id="{AC81CBAB-703B-6FE2-232F-8610DFCBC0EB}"/>
              </a:ext>
            </a:extLst>
          </p:cNvPr>
          <p:cNvSpPr/>
          <p:nvPr/>
        </p:nvSpPr>
        <p:spPr bwMode="auto">
          <a:xfrm>
            <a:off x="818557" y="4510759"/>
            <a:ext cx="265176" cy="260922"/>
          </a:xfrm>
          <a:prstGeom prst="ellipse">
            <a:avLst/>
          </a:prstGeom>
          <a:solidFill>
            <a:schemeClr val="accent4"/>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5</a:t>
            </a:r>
          </a:p>
        </p:txBody>
      </p:sp>
      <p:sp>
        <p:nvSpPr>
          <p:cNvPr id="14" name="TextBox 13">
            <a:extLst>
              <a:ext uri="{FF2B5EF4-FFF2-40B4-BE49-F238E27FC236}">
                <a16:creationId xmlns:a16="http://schemas.microsoft.com/office/drawing/2014/main" id="{F7B97FB1-6188-9910-A9ED-58344D56F395}"/>
              </a:ext>
            </a:extLst>
          </p:cNvPr>
          <p:cNvSpPr txBox="1"/>
          <p:nvPr/>
        </p:nvSpPr>
        <p:spPr>
          <a:xfrm>
            <a:off x="818557" y="4771681"/>
            <a:ext cx="1606209" cy="240066"/>
          </a:xfrm>
          <a:prstGeom prst="rect">
            <a:avLst/>
          </a:prstGeom>
          <a:noFill/>
        </p:spPr>
        <p:txBody>
          <a:bodyPr wrap="square" lIns="0" tIns="54864"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Business Use Case</a:t>
            </a:r>
          </a:p>
        </p:txBody>
      </p:sp>
      <p:grpSp>
        <p:nvGrpSpPr>
          <p:cNvPr id="15" name="Group 14" descr="A four section quadrant namely “Test &amp; Learn” in the top left, “Invest Long Term” in the top right, “Parked” in the bottom left, and “Quick Wins” on the bottom right. The x-axis is labeled “Degree of executional fit” and ranges from 1 being low to  5 high. The y-axis is labeled “Degree of strategic business impact” and also ranges from 1 low to 5 high.  ">
            <a:extLst>
              <a:ext uri="{FF2B5EF4-FFF2-40B4-BE49-F238E27FC236}">
                <a16:creationId xmlns:a16="http://schemas.microsoft.com/office/drawing/2014/main" id="{8E2A7D85-1492-6A8E-BACD-CB1FE27D5E02}"/>
              </a:ext>
            </a:extLst>
          </p:cNvPr>
          <p:cNvGrpSpPr/>
          <p:nvPr/>
        </p:nvGrpSpPr>
        <p:grpSpPr>
          <a:xfrm>
            <a:off x="2840812" y="1304924"/>
            <a:ext cx="8646338" cy="4705350"/>
            <a:chOff x="2840812" y="1304924"/>
            <a:chExt cx="8646338" cy="4705350"/>
          </a:xfrm>
        </p:grpSpPr>
        <p:sp>
          <p:nvSpPr>
            <p:cNvPr id="16" name="Rectangle 15">
              <a:extLst>
                <a:ext uri="{FF2B5EF4-FFF2-40B4-BE49-F238E27FC236}">
                  <a16:creationId xmlns:a16="http://schemas.microsoft.com/office/drawing/2014/main" id="{74DD2215-3BF7-0916-69E4-FD5E417C29E5}"/>
                </a:ext>
              </a:extLst>
            </p:cNvPr>
            <p:cNvSpPr/>
            <p:nvPr/>
          </p:nvSpPr>
          <p:spPr bwMode="auto">
            <a:xfrm>
              <a:off x="2840812" y="1411092"/>
              <a:ext cx="397125" cy="191768"/>
            </a:xfrm>
            <a:prstGeom prst="rect">
              <a:avLst/>
            </a:prstGeom>
            <a:noFill/>
            <a:ln w="5992" cap="flat">
              <a:noFill/>
              <a:prstDash val="solid"/>
              <a:miter/>
            </a:ln>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mn-cs"/>
                </a:rPr>
                <a:t>High</a:t>
              </a:r>
            </a:p>
          </p:txBody>
        </p:sp>
        <p:sp>
          <p:nvSpPr>
            <p:cNvPr id="17" name="Rectangle 16">
              <a:extLst>
                <a:ext uri="{FF2B5EF4-FFF2-40B4-BE49-F238E27FC236}">
                  <a16:creationId xmlns:a16="http://schemas.microsoft.com/office/drawing/2014/main" id="{E8AA71A6-B0AB-6656-CD41-79AB32EC918E}"/>
                </a:ext>
              </a:extLst>
            </p:cNvPr>
            <p:cNvSpPr/>
            <p:nvPr/>
          </p:nvSpPr>
          <p:spPr bwMode="auto">
            <a:xfrm>
              <a:off x="11008976" y="5818506"/>
              <a:ext cx="397125" cy="191768"/>
            </a:xfrm>
            <a:prstGeom prst="rect">
              <a:avLst/>
            </a:prstGeom>
            <a:noFill/>
            <a:ln w="5992" cap="flat">
              <a:noFill/>
              <a:prstDash val="solid"/>
              <a:miter/>
            </a:ln>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mn-cs"/>
                </a:rPr>
                <a:t>Low</a:t>
              </a:r>
            </a:p>
          </p:txBody>
        </p:sp>
        <p:sp>
          <p:nvSpPr>
            <p:cNvPr id="18" name="Rectangle 17">
              <a:extLst>
                <a:ext uri="{FF2B5EF4-FFF2-40B4-BE49-F238E27FC236}">
                  <a16:creationId xmlns:a16="http://schemas.microsoft.com/office/drawing/2014/main" id="{BC2C9D0F-F49C-D380-B9EC-C22A345E4936}"/>
                </a:ext>
              </a:extLst>
            </p:cNvPr>
            <p:cNvSpPr/>
            <p:nvPr/>
          </p:nvSpPr>
          <p:spPr bwMode="auto">
            <a:xfrm>
              <a:off x="3357830" y="5818506"/>
              <a:ext cx="338292" cy="191768"/>
            </a:xfrm>
            <a:prstGeom prst="rect">
              <a:avLst/>
            </a:prstGeom>
            <a:noFill/>
            <a:ln w="5992" cap="flat">
              <a:noFill/>
              <a:prstDash val="solid"/>
              <a:miter/>
            </a:ln>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mn-cs"/>
                </a:rPr>
                <a:t>High</a:t>
              </a:r>
            </a:p>
          </p:txBody>
        </p:sp>
        <p:sp>
          <p:nvSpPr>
            <p:cNvPr id="19" name="Rectangle 18">
              <a:extLst>
                <a:ext uri="{FF2B5EF4-FFF2-40B4-BE49-F238E27FC236}">
                  <a16:creationId xmlns:a16="http://schemas.microsoft.com/office/drawing/2014/main" id="{7E7D7BD9-1994-0DD7-3081-B1E65D57C900}"/>
                </a:ext>
              </a:extLst>
            </p:cNvPr>
            <p:cNvSpPr/>
            <p:nvPr/>
          </p:nvSpPr>
          <p:spPr bwMode="auto">
            <a:xfrm>
              <a:off x="2899645" y="5479443"/>
              <a:ext cx="338292" cy="191768"/>
            </a:xfrm>
            <a:prstGeom prst="rect">
              <a:avLst/>
            </a:prstGeom>
            <a:noFill/>
            <a:ln w="5992" cap="flat">
              <a:noFill/>
              <a:prstDash val="solid"/>
              <a:miter/>
            </a:ln>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mn-cs"/>
                </a:rPr>
                <a:t>Low</a:t>
              </a:r>
            </a:p>
          </p:txBody>
        </p:sp>
        <p:sp>
          <p:nvSpPr>
            <p:cNvPr id="20" name="Rectangle 19">
              <a:extLst>
                <a:ext uri="{FF2B5EF4-FFF2-40B4-BE49-F238E27FC236}">
                  <a16:creationId xmlns:a16="http://schemas.microsoft.com/office/drawing/2014/main" id="{D973B68F-3F5B-0EAE-C1ED-F210C2B838C5}"/>
                </a:ext>
              </a:extLst>
            </p:cNvPr>
            <p:cNvSpPr/>
            <p:nvPr/>
          </p:nvSpPr>
          <p:spPr bwMode="auto">
            <a:xfrm>
              <a:off x="3035781" y="2225050"/>
              <a:ext cx="184666" cy="2596798"/>
            </a:xfrm>
            <a:prstGeom prst="rect">
              <a:avLst/>
            </a:prstGeom>
            <a:noFill/>
            <a:ln w="5992" cap="flat">
              <a:noFill/>
              <a:prstDash val="solid"/>
              <a:miter/>
            </a:ln>
          </p:spPr>
          <p:txBody>
            <a:bodyPr vert="vert270" wrap="square" lIns="0" tIns="0" rIns="0" bIns="0" rtlCol="0" anchor="ctr">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200" b="0" i="0" u="none" strike="noStrike" kern="1200" cap="none" spc="0" normalizeH="0" baseline="0" noProof="0">
                  <a:ln>
                    <a:noFill/>
                  </a:ln>
                  <a:solidFill>
                    <a:srgbClr val="8560C3"/>
                  </a:solidFill>
                  <a:effectLst/>
                  <a:uLnTx/>
                  <a:uFillTx/>
                  <a:latin typeface="Segoe UI Semibold"/>
                  <a:ea typeface="+mn-ea"/>
                  <a:cs typeface="+mn-cs"/>
                </a:rPr>
                <a:t>Business Value</a:t>
              </a:r>
            </a:p>
          </p:txBody>
        </p:sp>
        <p:sp>
          <p:nvSpPr>
            <p:cNvPr id="21" name="Rectangle 20">
              <a:extLst>
                <a:ext uri="{FF2B5EF4-FFF2-40B4-BE49-F238E27FC236}">
                  <a16:creationId xmlns:a16="http://schemas.microsoft.com/office/drawing/2014/main" id="{02CC1121-851D-7E2C-AF4A-ED440DBCD823}"/>
                </a:ext>
              </a:extLst>
            </p:cNvPr>
            <p:cNvSpPr/>
            <p:nvPr/>
          </p:nvSpPr>
          <p:spPr bwMode="auto">
            <a:xfrm>
              <a:off x="6346009" y="5822057"/>
              <a:ext cx="2071912" cy="184666"/>
            </a:xfrm>
            <a:prstGeom prst="rect">
              <a:avLst/>
            </a:prstGeom>
            <a:noFill/>
            <a:ln w="5992" cap="flat">
              <a:noFill/>
              <a:prstDash val="solid"/>
              <a:miter/>
            </a:ln>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200" b="0" i="0" u="none" strike="noStrike" kern="1200" cap="none" spc="0" normalizeH="0" baseline="0" noProof="0">
                  <a:ln>
                    <a:noFill/>
                  </a:ln>
                  <a:solidFill>
                    <a:srgbClr val="8560C3"/>
                  </a:solidFill>
                  <a:effectLst/>
                  <a:uLnTx/>
                  <a:uFillTx/>
                  <a:latin typeface="Segoe UI Semibold"/>
                  <a:ea typeface="+mn-ea"/>
                  <a:cs typeface="+mn-cs"/>
                </a:rPr>
                <a:t>Implementation effort</a:t>
              </a:r>
            </a:p>
          </p:txBody>
        </p:sp>
        <p:sp>
          <p:nvSpPr>
            <p:cNvPr id="22" name="Oval 32">
              <a:extLst>
                <a:ext uri="{FF2B5EF4-FFF2-40B4-BE49-F238E27FC236}">
                  <a16:creationId xmlns:a16="http://schemas.microsoft.com/office/drawing/2014/main" id="{04163390-7F12-F0CA-D57D-BC7158BC1D40}"/>
                </a:ext>
              </a:extLst>
            </p:cNvPr>
            <p:cNvSpPr>
              <a:spLocks/>
            </p:cNvSpPr>
            <p:nvPr/>
          </p:nvSpPr>
          <p:spPr bwMode="auto">
            <a:xfrm>
              <a:off x="3276780" y="1304924"/>
              <a:ext cx="8210370" cy="4437049"/>
            </a:xfrm>
            <a:prstGeom prst="rect">
              <a:avLst/>
            </a:prstGeom>
            <a:solidFill>
              <a:schemeClr val="bg1">
                <a:lumMod val="95000"/>
                <a:alpha val="33000"/>
              </a:schemeClr>
            </a:solidFill>
            <a:ln w="6350" cap="flat" cmpd="sng" algn="ctr">
              <a:solidFill>
                <a:schemeClr val="bg1">
                  <a:lumMod val="85000"/>
                </a:scheme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UI"/>
                <a:ea typeface="+mn-ea"/>
                <a:cs typeface="Segoe UI" pitchFamily="34" charset="0"/>
              </a:endParaRPr>
            </a:p>
          </p:txBody>
        </p:sp>
        <p:sp>
          <p:nvSpPr>
            <p:cNvPr id="23" name="Oval 32_1">
              <a:extLst>
                <a:ext uri="{FF2B5EF4-FFF2-40B4-BE49-F238E27FC236}">
                  <a16:creationId xmlns:a16="http://schemas.microsoft.com/office/drawing/2014/main" id="{91110A9F-E6AD-A317-1D46-0DCF641150DE}"/>
                </a:ext>
              </a:extLst>
            </p:cNvPr>
            <p:cNvSpPr>
              <a:spLocks/>
            </p:cNvSpPr>
            <p:nvPr/>
          </p:nvSpPr>
          <p:spPr bwMode="auto">
            <a:xfrm>
              <a:off x="3357830" y="1375686"/>
              <a:ext cx="3977524" cy="210706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Oval 32_1">
              <a:extLst>
                <a:ext uri="{FF2B5EF4-FFF2-40B4-BE49-F238E27FC236}">
                  <a16:creationId xmlns:a16="http://schemas.microsoft.com/office/drawing/2014/main" id="{D2A99DDE-94A4-C84A-C745-BECA04399DEA}"/>
                </a:ext>
              </a:extLst>
            </p:cNvPr>
            <p:cNvSpPr>
              <a:spLocks/>
            </p:cNvSpPr>
            <p:nvPr/>
          </p:nvSpPr>
          <p:spPr bwMode="auto">
            <a:xfrm>
              <a:off x="7428577" y="1375686"/>
              <a:ext cx="3977524" cy="210706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Segoe UI"/>
                <a:ea typeface="+mn-ea"/>
                <a:cs typeface="+mn-cs"/>
              </a:endParaRPr>
            </a:p>
          </p:txBody>
        </p:sp>
        <p:sp>
          <p:nvSpPr>
            <p:cNvPr id="25" name="Oval 32_1">
              <a:extLst>
                <a:ext uri="{FF2B5EF4-FFF2-40B4-BE49-F238E27FC236}">
                  <a16:creationId xmlns:a16="http://schemas.microsoft.com/office/drawing/2014/main" id="{BF4FE33D-84C5-4A39-D91C-F95DD3533A47}"/>
                </a:ext>
              </a:extLst>
            </p:cNvPr>
            <p:cNvSpPr>
              <a:spLocks/>
            </p:cNvSpPr>
            <p:nvPr/>
          </p:nvSpPr>
          <p:spPr bwMode="auto">
            <a:xfrm>
              <a:off x="3357830" y="3564144"/>
              <a:ext cx="3977524" cy="210706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Segoe UI"/>
                <a:ea typeface="+mn-ea"/>
                <a:cs typeface="+mn-cs"/>
              </a:endParaRPr>
            </a:p>
          </p:txBody>
        </p:sp>
        <p:sp>
          <p:nvSpPr>
            <p:cNvPr id="26" name="Oval 32_1">
              <a:extLst>
                <a:ext uri="{FF2B5EF4-FFF2-40B4-BE49-F238E27FC236}">
                  <a16:creationId xmlns:a16="http://schemas.microsoft.com/office/drawing/2014/main" id="{2809DE82-A012-8B6A-E7A5-02A188509FFE}"/>
                </a:ext>
              </a:extLst>
            </p:cNvPr>
            <p:cNvSpPr>
              <a:spLocks/>
            </p:cNvSpPr>
            <p:nvPr/>
          </p:nvSpPr>
          <p:spPr bwMode="auto">
            <a:xfrm>
              <a:off x="7428577" y="3564144"/>
              <a:ext cx="3977524" cy="210706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Segoe UI"/>
                <a:ea typeface="+mn-ea"/>
                <a:cs typeface="+mn-cs"/>
              </a:endParaRPr>
            </a:p>
          </p:txBody>
        </p:sp>
        <p:sp>
          <p:nvSpPr>
            <p:cNvPr id="27" name="Rectangle 26">
              <a:extLst>
                <a:ext uri="{FF2B5EF4-FFF2-40B4-BE49-F238E27FC236}">
                  <a16:creationId xmlns:a16="http://schemas.microsoft.com/office/drawing/2014/main" id="{B4DF7BC8-96E3-CE34-5C75-6E9A9954AF44}"/>
                </a:ext>
              </a:extLst>
            </p:cNvPr>
            <p:cNvSpPr/>
            <p:nvPr/>
          </p:nvSpPr>
          <p:spPr bwMode="auto">
            <a:xfrm>
              <a:off x="5366550" y="1375687"/>
              <a:ext cx="1968803" cy="294937"/>
            </a:xfrm>
            <a:prstGeom prst="rect">
              <a:avLst/>
            </a:prstGeom>
            <a:solidFill>
              <a:schemeClr val="bg2"/>
            </a:solidFill>
            <a:ln w="5992" cap="flat">
              <a:noFill/>
              <a:prstDash val="solid"/>
              <a:miter/>
            </a:ln>
          </p:spPr>
          <p:txBody>
            <a:bodyPr vert="horz" wrap="square" rtlCol="0" anchor="ctr">
              <a:no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Semibold"/>
                  <a:ea typeface="+mn-ea"/>
                  <a:cs typeface="+mn-cs"/>
                </a:rPr>
                <a:t>High Value, High Effort</a:t>
              </a:r>
            </a:p>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Semibold"/>
                  <a:ea typeface="+mn-ea"/>
                  <a:cs typeface="+mn-cs"/>
                </a:rPr>
                <a:t>“Plan &amp; Invest”</a:t>
              </a:r>
            </a:p>
          </p:txBody>
        </p:sp>
        <p:sp>
          <p:nvSpPr>
            <p:cNvPr id="28" name="Rectangle 27">
              <a:extLst>
                <a:ext uri="{FF2B5EF4-FFF2-40B4-BE49-F238E27FC236}">
                  <a16:creationId xmlns:a16="http://schemas.microsoft.com/office/drawing/2014/main" id="{72396807-C79F-40C3-17C4-DA1506BD8E37}"/>
                </a:ext>
              </a:extLst>
            </p:cNvPr>
            <p:cNvSpPr/>
            <p:nvPr/>
          </p:nvSpPr>
          <p:spPr bwMode="auto">
            <a:xfrm>
              <a:off x="9437298" y="3564145"/>
              <a:ext cx="1968803" cy="294937"/>
            </a:xfrm>
            <a:prstGeom prst="rect">
              <a:avLst/>
            </a:prstGeom>
            <a:solidFill>
              <a:schemeClr val="bg2"/>
            </a:solidFill>
            <a:ln w="5992" cap="flat">
              <a:noFill/>
              <a:prstDash val="solid"/>
              <a:miter/>
            </a:ln>
          </p:spPr>
          <p:txBody>
            <a:bodyPr vert="horz" wrap="square" rtlCol="0" anchor="ctr">
              <a:no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Semibold"/>
                  <a:ea typeface="+mn-ea"/>
                  <a:cs typeface="+mn-cs"/>
                </a:rPr>
                <a:t>Low Value, Low Effort</a:t>
              </a:r>
            </a:p>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Semibold"/>
                  <a:ea typeface="+mn-ea"/>
                  <a:cs typeface="+mn-cs"/>
                </a:rPr>
                <a:t>“Consider after High Value work”</a:t>
              </a:r>
            </a:p>
          </p:txBody>
        </p:sp>
        <p:sp>
          <p:nvSpPr>
            <p:cNvPr id="29" name="Rectangle 28">
              <a:extLst>
                <a:ext uri="{FF2B5EF4-FFF2-40B4-BE49-F238E27FC236}">
                  <a16:creationId xmlns:a16="http://schemas.microsoft.com/office/drawing/2014/main" id="{ECAD9826-CE17-F7F0-19F1-AF792976E595}"/>
                </a:ext>
              </a:extLst>
            </p:cNvPr>
            <p:cNvSpPr/>
            <p:nvPr/>
          </p:nvSpPr>
          <p:spPr bwMode="auto">
            <a:xfrm>
              <a:off x="9437298" y="1375687"/>
              <a:ext cx="1968803" cy="294937"/>
            </a:xfrm>
            <a:prstGeom prst="rect">
              <a:avLst/>
            </a:prstGeom>
            <a:solidFill>
              <a:schemeClr val="bg2"/>
            </a:solidFill>
            <a:ln w="5992" cap="flat">
              <a:noFill/>
              <a:prstDash val="solid"/>
              <a:miter/>
            </a:ln>
          </p:spPr>
          <p:txBody>
            <a:bodyPr vert="horz" wrap="square" rtlCol="0" anchor="ctr">
              <a:no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Semibold"/>
                  <a:ea typeface="+mn-ea"/>
                  <a:cs typeface="+mn-cs"/>
                </a:rPr>
                <a:t>High Value, Low Effort</a:t>
              </a:r>
            </a:p>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Semibold"/>
                  <a:ea typeface="+mn-ea"/>
                  <a:cs typeface="+mn-cs"/>
                </a:rPr>
                <a:t>“Quick Wins”</a:t>
              </a:r>
            </a:p>
          </p:txBody>
        </p:sp>
        <p:sp>
          <p:nvSpPr>
            <p:cNvPr id="30" name="Rectangle 29">
              <a:extLst>
                <a:ext uri="{FF2B5EF4-FFF2-40B4-BE49-F238E27FC236}">
                  <a16:creationId xmlns:a16="http://schemas.microsoft.com/office/drawing/2014/main" id="{0784CCFD-CFA6-3EAB-24EC-0FBE0F3BDB19}"/>
                </a:ext>
              </a:extLst>
            </p:cNvPr>
            <p:cNvSpPr/>
            <p:nvPr/>
          </p:nvSpPr>
          <p:spPr bwMode="auto">
            <a:xfrm>
              <a:off x="5366550" y="3564145"/>
              <a:ext cx="1968803" cy="294937"/>
            </a:xfrm>
            <a:prstGeom prst="rect">
              <a:avLst/>
            </a:prstGeom>
            <a:solidFill>
              <a:schemeClr val="bg2"/>
            </a:solidFill>
            <a:ln w="5992" cap="flat">
              <a:noFill/>
              <a:prstDash val="solid"/>
              <a:miter/>
            </a:ln>
          </p:spPr>
          <p:txBody>
            <a:bodyPr vert="horz" wrap="square" lIns="45720" rIns="45720" rtlCol="0" anchor="ctr">
              <a:no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Semibold"/>
                  <a:ea typeface="+mn-ea"/>
                  <a:cs typeface="+mn-cs"/>
                </a:rPr>
                <a:t>Low Value, High Effort</a:t>
              </a:r>
            </a:p>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Semibold"/>
                  <a:ea typeface="+mn-ea"/>
                  <a:cs typeface="+mn-cs"/>
                </a:rPr>
                <a:t>“Avoid if Possible”</a:t>
              </a:r>
            </a:p>
          </p:txBody>
        </p:sp>
        <p:sp>
          <p:nvSpPr>
            <p:cNvPr id="33" name="Rectangle 32">
              <a:extLst>
                <a:ext uri="{FF2B5EF4-FFF2-40B4-BE49-F238E27FC236}">
                  <a16:creationId xmlns:a16="http://schemas.microsoft.com/office/drawing/2014/main" id="{7B8E5970-680C-80C0-09CF-E473AE062231}"/>
                </a:ext>
              </a:extLst>
            </p:cNvPr>
            <p:cNvSpPr/>
            <p:nvPr/>
          </p:nvSpPr>
          <p:spPr bwMode="auto">
            <a:xfrm>
              <a:off x="3357830" y="1375880"/>
              <a:ext cx="289590" cy="262196"/>
            </a:xfrm>
            <a:prstGeom prst="rect">
              <a:avLst/>
            </a:prstGeom>
            <a:noFill/>
            <a:ln w="5992" cap="flat">
              <a:noFill/>
              <a:prstDash val="solid"/>
              <a:miter/>
            </a:ln>
          </p:spPr>
          <p:txBody>
            <a:bodyPr wrap="square" lIns="91440" tIns="45720" rIns="91440" bIns="45720" rtlCol="0" anchor="ctr">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5</a:t>
              </a:r>
            </a:p>
          </p:txBody>
        </p:sp>
        <p:sp>
          <p:nvSpPr>
            <p:cNvPr id="34" name="Rectangle 33">
              <a:extLst>
                <a:ext uri="{FF2B5EF4-FFF2-40B4-BE49-F238E27FC236}">
                  <a16:creationId xmlns:a16="http://schemas.microsoft.com/office/drawing/2014/main" id="{A3CEFED0-2B3B-ED44-17AF-9E96D927382B}"/>
                </a:ext>
              </a:extLst>
            </p:cNvPr>
            <p:cNvSpPr/>
            <p:nvPr/>
          </p:nvSpPr>
          <p:spPr bwMode="auto">
            <a:xfrm>
              <a:off x="3357830" y="2298122"/>
              <a:ext cx="294494" cy="262196"/>
            </a:xfrm>
            <a:prstGeom prst="rect">
              <a:avLst/>
            </a:prstGeom>
            <a:noFill/>
            <a:ln w="5992" cap="flat">
              <a:noFill/>
              <a:prstDash val="solid"/>
              <a:miter/>
            </a:ln>
          </p:spPr>
          <p:txBody>
            <a:bodyPr wrap="square" lIns="91440" tIns="45720" rIns="91440" bIns="45720" rtlCol="0" anchor="ctr">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4</a:t>
              </a:r>
            </a:p>
          </p:txBody>
        </p:sp>
        <p:sp>
          <p:nvSpPr>
            <p:cNvPr id="35" name="Rectangle 34">
              <a:extLst>
                <a:ext uri="{FF2B5EF4-FFF2-40B4-BE49-F238E27FC236}">
                  <a16:creationId xmlns:a16="http://schemas.microsoft.com/office/drawing/2014/main" id="{37C22D28-4E6C-038F-68BB-21ECD0DB9E47}"/>
                </a:ext>
              </a:extLst>
            </p:cNvPr>
            <p:cNvSpPr/>
            <p:nvPr/>
          </p:nvSpPr>
          <p:spPr bwMode="auto">
            <a:xfrm>
              <a:off x="3357830" y="3397221"/>
              <a:ext cx="289590" cy="262196"/>
            </a:xfrm>
            <a:prstGeom prst="rect">
              <a:avLst/>
            </a:prstGeom>
            <a:solidFill>
              <a:schemeClr val="bg1"/>
            </a:solidFill>
            <a:ln w="5992" cap="flat">
              <a:noFill/>
              <a:prstDash val="solid"/>
              <a:miter/>
            </a:ln>
          </p:spPr>
          <p:txBody>
            <a:bodyPr wrap="square" lIns="91440" tIns="45720" rIns="91440" bIns="45720" rtlCol="0" anchor="ctr">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3</a:t>
              </a:r>
            </a:p>
          </p:txBody>
        </p:sp>
        <p:sp>
          <p:nvSpPr>
            <p:cNvPr id="36" name="Rectangle 35">
              <a:extLst>
                <a:ext uri="{FF2B5EF4-FFF2-40B4-BE49-F238E27FC236}">
                  <a16:creationId xmlns:a16="http://schemas.microsoft.com/office/drawing/2014/main" id="{260BDEA7-FF1A-028B-2DA3-B8D983984A81}"/>
                </a:ext>
              </a:extLst>
            </p:cNvPr>
            <p:cNvSpPr/>
            <p:nvPr/>
          </p:nvSpPr>
          <p:spPr bwMode="auto">
            <a:xfrm>
              <a:off x="3357830" y="4525688"/>
              <a:ext cx="289590" cy="262196"/>
            </a:xfrm>
            <a:prstGeom prst="rect">
              <a:avLst/>
            </a:prstGeom>
            <a:noFill/>
            <a:ln w="5992" cap="flat">
              <a:noFill/>
              <a:prstDash val="solid"/>
              <a:miter/>
            </a:ln>
          </p:spPr>
          <p:txBody>
            <a:bodyPr wrap="square" lIns="91440" tIns="45720" rIns="91440" bIns="45720" rtlCol="0" anchor="ctr">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2</a:t>
              </a:r>
            </a:p>
          </p:txBody>
        </p:sp>
        <p:sp>
          <p:nvSpPr>
            <p:cNvPr id="37" name="Rectangle 36">
              <a:extLst>
                <a:ext uri="{FF2B5EF4-FFF2-40B4-BE49-F238E27FC236}">
                  <a16:creationId xmlns:a16="http://schemas.microsoft.com/office/drawing/2014/main" id="{D8C44BF2-B8F1-2CE1-408A-1A4DBBD61242}"/>
                </a:ext>
              </a:extLst>
            </p:cNvPr>
            <p:cNvSpPr/>
            <p:nvPr/>
          </p:nvSpPr>
          <p:spPr bwMode="auto">
            <a:xfrm>
              <a:off x="3357830" y="5416835"/>
              <a:ext cx="261809" cy="262196"/>
            </a:xfrm>
            <a:prstGeom prst="rect">
              <a:avLst/>
            </a:prstGeom>
            <a:noFill/>
            <a:ln w="5992" cap="flat">
              <a:noFill/>
              <a:prstDash val="solid"/>
              <a:miter/>
            </a:ln>
          </p:spPr>
          <p:txBody>
            <a:bodyPr wrap="square" lIns="91440" tIns="45720" rIns="91440" bIns="45720" rtlCol="0" anchor="ctr">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1</a:t>
              </a:r>
            </a:p>
          </p:txBody>
        </p:sp>
        <p:sp>
          <p:nvSpPr>
            <p:cNvPr id="38" name="Rectangle 37">
              <a:extLst>
                <a:ext uri="{FF2B5EF4-FFF2-40B4-BE49-F238E27FC236}">
                  <a16:creationId xmlns:a16="http://schemas.microsoft.com/office/drawing/2014/main" id="{4C049A4E-7180-BAA2-93B4-431F6DB7BDE6}"/>
                </a:ext>
              </a:extLst>
            </p:cNvPr>
            <p:cNvSpPr/>
            <p:nvPr/>
          </p:nvSpPr>
          <p:spPr bwMode="auto">
            <a:xfrm>
              <a:off x="5387818" y="5416835"/>
              <a:ext cx="261809" cy="262196"/>
            </a:xfrm>
            <a:prstGeom prst="rect">
              <a:avLst/>
            </a:prstGeom>
            <a:noFill/>
            <a:ln w="5992" cap="flat">
              <a:noFill/>
              <a:prstDash val="solid"/>
              <a:miter/>
            </a:ln>
          </p:spPr>
          <p:txBody>
            <a:bodyPr wrap="square" lIns="91440" tIns="45720" rIns="91440" bIns="45720" rtlCol="0" anchor="ctr">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2</a:t>
              </a:r>
            </a:p>
          </p:txBody>
        </p:sp>
        <p:sp>
          <p:nvSpPr>
            <p:cNvPr id="39" name="Rectangle 38">
              <a:extLst>
                <a:ext uri="{FF2B5EF4-FFF2-40B4-BE49-F238E27FC236}">
                  <a16:creationId xmlns:a16="http://schemas.microsoft.com/office/drawing/2014/main" id="{1958C93A-79C6-EFC1-E973-212F6BCA9EEB}"/>
                </a:ext>
              </a:extLst>
            </p:cNvPr>
            <p:cNvSpPr/>
            <p:nvPr/>
          </p:nvSpPr>
          <p:spPr bwMode="auto">
            <a:xfrm>
              <a:off x="7251061" y="5409015"/>
              <a:ext cx="261809" cy="262196"/>
            </a:xfrm>
            <a:prstGeom prst="rect">
              <a:avLst/>
            </a:prstGeom>
            <a:solidFill>
              <a:schemeClr val="bg1"/>
            </a:solidFill>
            <a:ln w="5992" cap="flat">
              <a:noFill/>
              <a:prstDash val="solid"/>
              <a:miter/>
            </a:ln>
          </p:spPr>
          <p:txBody>
            <a:bodyPr wrap="square" lIns="91440" tIns="45720" rIns="91440" bIns="45720" rtlCol="0" anchor="ctr">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3</a:t>
              </a:r>
            </a:p>
          </p:txBody>
        </p:sp>
        <p:sp>
          <p:nvSpPr>
            <p:cNvPr id="40" name="Rectangle 39">
              <a:extLst>
                <a:ext uri="{FF2B5EF4-FFF2-40B4-BE49-F238E27FC236}">
                  <a16:creationId xmlns:a16="http://schemas.microsoft.com/office/drawing/2014/main" id="{11756CCA-2E07-6129-A970-1AEA7A31C82E}"/>
                </a:ext>
              </a:extLst>
            </p:cNvPr>
            <p:cNvSpPr/>
            <p:nvPr/>
          </p:nvSpPr>
          <p:spPr bwMode="auto">
            <a:xfrm>
              <a:off x="9347465" y="5416835"/>
              <a:ext cx="261809" cy="262196"/>
            </a:xfrm>
            <a:prstGeom prst="rect">
              <a:avLst/>
            </a:prstGeom>
            <a:noFill/>
            <a:ln w="5992" cap="flat">
              <a:noFill/>
              <a:prstDash val="solid"/>
              <a:miter/>
            </a:ln>
          </p:spPr>
          <p:txBody>
            <a:bodyPr wrap="square" lIns="91440" tIns="45720" rIns="91440" bIns="45720" rtlCol="0" anchor="ctr">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4</a:t>
              </a:r>
            </a:p>
          </p:txBody>
        </p:sp>
        <p:sp>
          <p:nvSpPr>
            <p:cNvPr id="41" name="Rectangle 40">
              <a:extLst>
                <a:ext uri="{FF2B5EF4-FFF2-40B4-BE49-F238E27FC236}">
                  <a16:creationId xmlns:a16="http://schemas.microsoft.com/office/drawing/2014/main" id="{515AD654-D537-93DA-F2FD-E139BEDC3F86}"/>
                </a:ext>
              </a:extLst>
            </p:cNvPr>
            <p:cNvSpPr/>
            <p:nvPr/>
          </p:nvSpPr>
          <p:spPr bwMode="auto">
            <a:xfrm>
              <a:off x="11144292" y="5416835"/>
              <a:ext cx="261809" cy="262196"/>
            </a:xfrm>
            <a:prstGeom prst="rect">
              <a:avLst/>
            </a:prstGeom>
            <a:noFill/>
            <a:ln w="5992" cap="flat">
              <a:noFill/>
              <a:prstDash val="solid"/>
              <a:miter/>
            </a:ln>
          </p:spPr>
          <p:txBody>
            <a:bodyPr wrap="square" lIns="91440" tIns="45720" rIns="91440" bIns="45720" rtlCol="0" anchor="ctr">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5</a:t>
              </a:r>
            </a:p>
          </p:txBody>
        </p:sp>
      </p:grpSp>
      <p:sp>
        <p:nvSpPr>
          <p:cNvPr id="42" name="TextBox 41">
            <a:extLst>
              <a:ext uri="{FF2B5EF4-FFF2-40B4-BE49-F238E27FC236}">
                <a16:creationId xmlns:a16="http://schemas.microsoft.com/office/drawing/2014/main" id="{3D80D985-7193-7DA5-C885-B8BAF78AF42A}"/>
              </a:ext>
            </a:extLst>
          </p:cNvPr>
          <p:cNvSpPr txBox="1"/>
          <p:nvPr/>
        </p:nvSpPr>
        <p:spPr>
          <a:xfrm>
            <a:off x="588963" y="6345738"/>
            <a:ext cx="1835803" cy="169277"/>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Drag to appropriate quadrant</a:t>
            </a:r>
          </a:p>
        </p:txBody>
      </p:sp>
      <p:sp>
        <p:nvSpPr>
          <p:cNvPr id="43" name="Oval 42">
            <a:extLst>
              <a:ext uri="{FF2B5EF4-FFF2-40B4-BE49-F238E27FC236}">
                <a16:creationId xmlns:a16="http://schemas.microsoft.com/office/drawing/2014/main" id="{AAF36AE7-7DC5-3378-C665-AB0758B86FD4}"/>
              </a:ext>
            </a:extLst>
          </p:cNvPr>
          <p:cNvSpPr/>
          <p:nvPr/>
        </p:nvSpPr>
        <p:spPr bwMode="auto">
          <a:xfrm>
            <a:off x="2647187" y="6292559"/>
            <a:ext cx="274048" cy="275636"/>
          </a:xfrm>
          <a:prstGeom prst="ellipse">
            <a:avLst/>
          </a:prstGeom>
          <a:solidFill>
            <a:schemeClr val="accent4"/>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1</a:t>
            </a:r>
          </a:p>
        </p:txBody>
      </p:sp>
      <p:sp>
        <p:nvSpPr>
          <p:cNvPr id="44" name="Oval 43">
            <a:extLst>
              <a:ext uri="{FF2B5EF4-FFF2-40B4-BE49-F238E27FC236}">
                <a16:creationId xmlns:a16="http://schemas.microsoft.com/office/drawing/2014/main" id="{298B5799-FE8C-45D0-823C-77689C4DA589}"/>
              </a:ext>
            </a:extLst>
          </p:cNvPr>
          <p:cNvSpPr/>
          <p:nvPr/>
        </p:nvSpPr>
        <p:spPr bwMode="auto">
          <a:xfrm>
            <a:off x="3220447" y="6292559"/>
            <a:ext cx="274048" cy="275636"/>
          </a:xfrm>
          <a:prstGeom prst="ellipse">
            <a:avLst/>
          </a:prstGeom>
          <a:solidFill>
            <a:schemeClr val="accent4"/>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2</a:t>
            </a:r>
          </a:p>
        </p:txBody>
      </p:sp>
      <p:sp>
        <p:nvSpPr>
          <p:cNvPr id="45" name="Oval 44">
            <a:extLst>
              <a:ext uri="{FF2B5EF4-FFF2-40B4-BE49-F238E27FC236}">
                <a16:creationId xmlns:a16="http://schemas.microsoft.com/office/drawing/2014/main" id="{7CF1E959-6720-5BE3-2DCB-83EFCF18929D}"/>
              </a:ext>
            </a:extLst>
          </p:cNvPr>
          <p:cNvSpPr/>
          <p:nvPr/>
        </p:nvSpPr>
        <p:spPr bwMode="auto">
          <a:xfrm>
            <a:off x="3793707" y="6292559"/>
            <a:ext cx="274048" cy="275636"/>
          </a:xfrm>
          <a:prstGeom prst="ellipse">
            <a:avLst/>
          </a:prstGeom>
          <a:solidFill>
            <a:schemeClr val="accent4"/>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3</a:t>
            </a:r>
          </a:p>
        </p:txBody>
      </p:sp>
      <p:sp>
        <p:nvSpPr>
          <p:cNvPr id="46" name="Oval 45">
            <a:extLst>
              <a:ext uri="{FF2B5EF4-FFF2-40B4-BE49-F238E27FC236}">
                <a16:creationId xmlns:a16="http://schemas.microsoft.com/office/drawing/2014/main" id="{C9CF553E-BEE1-8516-C289-CA362654E1B9}"/>
              </a:ext>
            </a:extLst>
          </p:cNvPr>
          <p:cNvSpPr/>
          <p:nvPr/>
        </p:nvSpPr>
        <p:spPr bwMode="auto">
          <a:xfrm>
            <a:off x="4366967" y="6292559"/>
            <a:ext cx="274048" cy="275636"/>
          </a:xfrm>
          <a:prstGeom prst="ellipse">
            <a:avLst/>
          </a:prstGeom>
          <a:solidFill>
            <a:schemeClr val="accent4"/>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4</a:t>
            </a:r>
          </a:p>
        </p:txBody>
      </p:sp>
      <p:sp>
        <p:nvSpPr>
          <p:cNvPr id="47" name="Oval 46">
            <a:extLst>
              <a:ext uri="{FF2B5EF4-FFF2-40B4-BE49-F238E27FC236}">
                <a16:creationId xmlns:a16="http://schemas.microsoft.com/office/drawing/2014/main" id="{77B6663A-5057-B5F7-0475-9651BA4ABE0A}"/>
              </a:ext>
            </a:extLst>
          </p:cNvPr>
          <p:cNvSpPr/>
          <p:nvPr/>
        </p:nvSpPr>
        <p:spPr bwMode="auto">
          <a:xfrm>
            <a:off x="4940227" y="6292559"/>
            <a:ext cx="274048" cy="275636"/>
          </a:xfrm>
          <a:prstGeom prst="ellipse">
            <a:avLst/>
          </a:prstGeom>
          <a:solidFill>
            <a:schemeClr val="accent4"/>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5</a:t>
            </a:r>
          </a:p>
        </p:txBody>
      </p:sp>
      <p:sp>
        <p:nvSpPr>
          <p:cNvPr id="31" name="Rectangle 30">
            <a:extLst>
              <a:ext uri="{FF2B5EF4-FFF2-40B4-BE49-F238E27FC236}">
                <a16:creationId xmlns:a16="http://schemas.microsoft.com/office/drawing/2014/main" id="{A0FA271A-B71E-32BB-C7DC-BBE6B849C275}"/>
              </a:ext>
              <a:ext uri="{C183D7F6-B498-43B3-948B-1728B52AA6E4}">
                <adec:decorative xmlns:adec="http://schemas.microsoft.com/office/drawing/2017/decorative" val="1"/>
              </a:ext>
            </a:extLst>
          </p:cNvPr>
          <p:cNvSpPr/>
          <p:nvPr/>
        </p:nvSpPr>
        <p:spPr bwMode="auto">
          <a:xfrm>
            <a:off x="0" y="-1806"/>
            <a:ext cx="12192000" cy="853975"/>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2" name="Title 61">
            <a:extLst>
              <a:ext uri="{FF2B5EF4-FFF2-40B4-BE49-F238E27FC236}">
                <a16:creationId xmlns:a16="http://schemas.microsoft.com/office/drawing/2014/main" id="{0519D7B0-71F8-96A2-BA4D-F5CAE4E00C2F}"/>
              </a:ext>
            </a:extLst>
          </p:cNvPr>
          <p:cNvSpPr txBox="1">
            <a:spLocks/>
          </p:cNvSpPr>
          <p:nvPr/>
        </p:nvSpPr>
        <p:spPr>
          <a:xfrm>
            <a:off x="73478" y="-1806"/>
            <a:ext cx="4338176" cy="373100"/>
          </a:xfrm>
          <a:prstGeom prst="rect">
            <a:avLst/>
          </a:prstGeom>
        </p:spPr>
        <p:txBody>
          <a:bodyPr/>
          <a:lstStyle>
            <a:lvl1pPr algn="l" defTabSz="932742" rtl="0" eaLnBrk="1" latinLnBrk="0" hangingPunct="1">
              <a:lnSpc>
                <a:spcPct val="100000"/>
              </a:lnSpc>
              <a:spcBef>
                <a:spcPct val="0"/>
              </a:spcBef>
              <a:buNone/>
              <a:defRPr lang="en-US" sz="2000" b="0" kern="1200" cap="none" spc="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dirty="0">
                <a:ln w="3175">
                  <a:noFill/>
                </a:ln>
                <a:solidFill>
                  <a:srgbClr val="FFFFFF"/>
                </a:solidFill>
                <a:effectLst/>
                <a:uLnTx/>
                <a:uFillTx/>
                <a:latin typeface="Aptos SemiBold"/>
                <a:ea typeface="+mn-ea"/>
                <a:cs typeface="Segoe UI" pitchFamily="34" charset="0"/>
              </a:rPr>
              <a:t>AI Use Cases Discovery</a:t>
            </a:r>
          </a:p>
        </p:txBody>
      </p:sp>
      <p:sp>
        <p:nvSpPr>
          <p:cNvPr id="48" name="Titel 1">
            <a:extLst>
              <a:ext uri="{FF2B5EF4-FFF2-40B4-BE49-F238E27FC236}">
                <a16:creationId xmlns:a16="http://schemas.microsoft.com/office/drawing/2014/main" id="{0EFC4797-3966-C2C5-C14A-D7AB6AE5B1AE}"/>
              </a:ext>
            </a:extLst>
          </p:cNvPr>
          <p:cNvSpPr txBox="1">
            <a:spLocks/>
          </p:cNvSpPr>
          <p:nvPr/>
        </p:nvSpPr>
        <p:spPr>
          <a:xfrm>
            <a:off x="73480" y="375546"/>
            <a:ext cx="3829050" cy="184666"/>
          </a:xfrm>
          <a:prstGeom prst="rect">
            <a:avLst/>
          </a:prstGeom>
        </p:spPr>
        <p:txBody>
          <a:bodyPr vert="horz" wrap="square" lIns="0" tIns="0" rIns="0" bIns="0" rtlCol="0" anchor="ctr">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200" b="0" i="0" u="none" strike="noStrike" kern="1200" cap="none" spc="0" normalizeH="0" baseline="0" noProof="0">
                <a:ln w="3175">
                  <a:noFill/>
                </a:ln>
                <a:solidFill>
                  <a:srgbClr val="FFFFFF"/>
                </a:solidFill>
                <a:effectLst/>
                <a:uLnTx/>
                <a:uFillTx/>
                <a:latin typeface="Segoe UI Semibold"/>
                <a:ea typeface="+mn-ea"/>
                <a:cs typeface="Segoe UI" pitchFamily="34" charset="0"/>
              </a:rPr>
              <a:t>Customer: (insert customer name)</a:t>
            </a:r>
          </a:p>
        </p:txBody>
      </p:sp>
      <p:sp>
        <p:nvSpPr>
          <p:cNvPr id="49" name="Textplatzhalter 2">
            <a:extLst>
              <a:ext uri="{FF2B5EF4-FFF2-40B4-BE49-F238E27FC236}">
                <a16:creationId xmlns:a16="http://schemas.microsoft.com/office/drawing/2014/main" id="{6130B2AF-5520-4852-EFAA-EADEC29353B4}"/>
              </a:ext>
            </a:extLst>
          </p:cNvPr>
          <p:cNvSpPr txBox="1">
            <a:spLocks/>
          </p:cNvSpPr>
          <p:nvPr/>
        </p:nvSpPr>
        <p:spPr>
          <a:xfrm>
            <a:off x="4959803" y="133545"/>
            <a:ext cx="4192361" cy="373100"/>
          </a:xfrm>
          <a:prstGeom prst="rect">
            <a:avLst/>
          </a:prstGeom>
        </p:spPr>
        <p:txBody>
          <a:bodyPr lIns="0" tIns="0" rIns="0" bIns="0" anchor="t"/>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0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Aligned Strategic Priority:</a:t>
            </a:r>
          </a:p>
        </p:txBody>
      </p:sp>
      <p:sp>
        <p:nvSpPr>
          <p:cNvPr id="50" name="Titel 1">
            <a:extLst>
              <a:ext uri="{FF2B5EF4-FFF2-40B4-BE49-F238E27FC236}">
                <a16:creationId xmlns:a16="http://schemas.microsoft.com/office/drawing/2014/main" id="{09CD4B50-7569-A198-D18A-A4CF9C1CA782}"/>
              </a:ext>
            </a:extLst>
          </p:cNvPr>
          <p:cNvSpPr txBox="1">
            <a:spLocks/>
          </p:cNvSpPr>
          <p:nvPr/>
        </p:nvSpPr>
        <p:spPr>
          <a:xfrm>
            <a:off x="73479" y="631203"/>
            <a:ext cx="8459456" cy="184666"/>
          </a:xfrm>
          <a:prstGeom prst="rect">
            <a:avLst/>
          </a:prstGeom>
        </p:spPr>
        <p:txBody>
          <a:bodyPr vert="horz" wrap="square" lIns="0" tIns="0" rIns="0" bIns="0" rtlCol="0" anchor="ctr">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200" b="0" i="0" u="none" strike="noStrike" kern="1200" cap="none" spc="0" normalizeH="0" baseline="0" noProof="0">
                <a:ln w="3175">
                  <a:noFill/>
                </a:ln>
                <a:solidFill>
                  <a:srgbClr val="FFFFFF"/>
                </a:solidFill>
                <a:effectLst/>
                <a:uLnTx/>
                <a:uFillTx/>
                <a:latin typeface="Segoe UI Semibold"/>
                <a:ea typeface="+mn-ea"/>
                <a:cs typeface="Segoe UI" pitchFamily="34" charset="0"/>
              </a:rPr>
              <a:t>Business Process Challenge: (insert challenge statement)</a:t>
            </a:r>
          </a:p>
        </p:txBody>
      </p:sp>
      <p:sp>
        <p:nvSpPr>
          <p:cNvPr id="51" name="Textplatzhalter 2">
            <a:extLst>
              <a:ext uri="{FF2B5EF4-FFF2-40B4-BE49-F238E27FC236}">
                <a16:creationId xmlns:a16="http://schemas.microsoft.com/office/drawing/2014/main" id="{53BA08A6-2B32-2A88-3B8A-8BAB1F7CC465}"/>
              </a:ext>
            </a:extLst>
          </p:cNvPr>
          <p:cNvSpPr txBox="1">
            <a:spLocks/>
          </p:cNvSpPr>
          <p:nvPr/>
        </p:nvSpPr>
        <p:spPr>
          <a:xfrm>
            <a:off x="9380764" y="130060"/>
            <a:ext cx="2622096" cy="646934"/>
          </a:xfrm>
          <a:prstGeom prst="rect">
            <a:avLst/>
          </a:prstGeom>
        </p:spPr>
        <p:txBody>
          <a:bodyPr lIns="0" tIns="0" rIns="0" bIns="0" anchor="t"/>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9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Business Scenario Prioritization</a:t>
            </a:r>
          </a:p>
          <a:p>
            <a:pPr marL="228600" marR="0" lvl="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AutoNum type="arabicPeriod"/>
              <a:tabLst/>
              <a:defRPr/>
            </a:pPr>
            <a:r>
              <a:rPr kumimoji="0" lang="en-US" sz="9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Business Value:  L to H (1 – 5)</a:t>
            </a:r>
          </a:p>
          <a:p>
            <a:pPr marL="228600" marR="0" lvl="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AutoNum type="arabicPeriod"/>
              <a:tabLst/>
              <a:defRPr/>
            </a:pPr>
            <a:r>
              <a:rPr kumimoji="0" lang="en-US" sz="9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Implementation Effort: H to L (1 – 5) </a:t>
            </a:r>
          </a:p>
        </p:txBody>
      </p:sp>
      <p:sp>
        <p:nvSpPr>
          <p:cNvPr id="52" name="TextBox 51">
            <a:extLst>
              <a:ext uri="{FF2B5EF4-FFF2-40B4-BE49-F238E27FC236}">
                <a16:creationId xmlns:a16="http://schemas.microsoft.com/office/drawing/2014/main" id="{47E7E9BB-BE3B-4F3C-85B4-F773F2A3DF63}"/>
              </a:ext>
            </a:extLst>
          </p:cNvPr>
          <p:cNvSpPr txBox="1"/>
          <p:nvPr/>
        </p:nvSpPr>
        <p:spPr>
          <a:xfrm>
            <a:off x="73478" y="890570"/>
            <a:ext cx="11929382" cy="246221"/>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Aptos" panose="02110004020202020204"/>
                <a:ea typeface="+mn-ea"/>
                <a:cs typeface="+mn-cs"/>
              </a:rPr>
              <a:t>Business Use Case Prioritization for Business Scenario:  (insert scenario name)</a:t>
            </a:r>
          </a:p>
        </p:txBody>
      </p:sp>
      <p:sp>
        <p:nvSpPr>
          <p:cNvPr id="2" name="Oval 1">
            <a:extLst>
              <a:ext uri="{FF2B5EF4-FFF2-40B4-BE49-F238E27FC236}">
                <a16:creationId xmlns:a16="http://schemas.microsoft.com/office/drawing/2014/main" id="{F24F6D62-2FE3-9A1D-CB89-601ECCB5B04E}"/>
              </a:ext>
            </a:extLst>
          </p:cNvPr>
          <p:cNvSpPr/>
          <p:nvPr/>
        </p:nvSpPr>
        <p:spPr bwMode="auto">
          <a:xfrm>
            <a:off x="818557" y="5086743"/>
            <a:ext cx="265176" cy="260922"/>
          </a:xfrm>
          <a:prstGeom prst="ellipse">
            <a:avLst/>
          </a:prstGeom>
          <a:solidFill>
            <a:schemeClr val="accent4"/>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6</a:t>
            </a:r>
          </a:p>
        </p:txBody>
      </p:sp>
      <p:sp>
        <p:nvSpPr>
          <p:cNvPr id="53" name="TextBox 52">
            <a:extLst>
              <a:ext uri="{FF2B5EF4-FFF2-40B4-BE49-F238E27FC236}">
                <a16:creationId xmlns:a16="http://schemas.microsoft.com/office/drawing/2014/main" id="{58CCC617-89B5-8974-C9D2-46F374E63664}"/>
              </a:ext>
            </a:extLst>
          </p:cNvPr>
          <p:cNvSpPr txBox="1"/>
          <p:nvPr/>
        </p:nvSpPr>
        <p:spPr>
          <a:xfrm>
            <a:off x="818557" y="5347665"/>
            <a:ext cx="1606209" cy="240066"/>
          </a:xfrm>
          <a:prstGeom prst="rect">
            <a:avLst/>
          </a:prstGeom>
          <a:noFill/>
        </p:spPr>
        <p:txBody>
          <a:bodyPr wrap="square" lIns="0" tIns="54864"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Business Use Case</a:t>
            </a:r>
          </a:p>
        </p:txBody>
      </p:sp>
      <p:sp>
        <p:nvSpPr>
          <p:cNvPr id="54" name="Oval 53">
            <a:extLst>
              <a:ext uri="{FF2B5EF4-FFF2-40B4-BE49-F238E27FC236}">
                <a16:creationId xmlns:a16="http://schemas.microsoft.com/office/drawing/2014/main" id="{6527881B-AF2D-DDEE-5F27-7B17F1FA86AF}"/>
              </a:ext>
            </a:extLst>
          </p:cNvPr>
          <p:cNvSpPr/>
          <p:nvPr/>
        </p:nvSpPr>
        <p:spPr bwMode="auto">
          <a:xfrm>
            <a:off x="5435527" y="6308359"/>
            <a:ext cx="274048" cy="275636"/>
          </a:xfrm>
          <a:prstGeom prst="ellipse">
            <a:avLst/>
          </a:prstGeom>
          <a:solidFill>
            <a:schemeClr val="accent4"/>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6</a:t>
            </a:r>
          </a:p>
        </p:txBody>
      </p:sp>
    </p:spTree>
    <p:extLst>
      <p:ext uri="{BB962C8B-B14F-4D97-AF65-F5344CB8AC3E}">
        <p14:creationId xmlns:p14="http://schemas.microsoft.com/office/powerpoint/2010/main" val="4137914996"/>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292EFB-598A-C683-DFC6-7C12FD5FD6E3}"/>
              </a:ext>
            </a:extLst>
          </p:cNvPr>
          <p:cNvSpPr txBox="1">
            <a:spLocks/>
          </p:cNvSpPr>
          <p:nvPr/>
        </p:nvSpPr>
        <p:spPr>
          <a:xfrm>
            <a:off x="464091" y="257622"/>
            <a:ext cx="11083759" cy="408244"/>
          </a:xfrm>
          <a:prstGeom prst="rect">
            <a:avLst/>
          </a:prstGeom>
        </p:spPr>
        <p:txBody>
          <a:bodyPr/>
          <a:lstStyle>
            <a:lvl1pPr algn="l" defTabSz="932742" rtl="0" eaLnBrk="1" latinLnBrk="0" hangingPunct="1">
              <a:lnSpc>
                <a:spcPct val="100000"/>
              </a:lnSpc>
              <a:spcBef>
                <a:spcPct val="0"/>
              </a:spcBef>
              <a:buNone/>
              <a:defRPr lang="en-US" sz="2000" b="0" kern="1200" cap="none" spc="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2800" b="0" i="0" u="none" strike="noStrike" kern="1200" cap="none" spc="0" normalizeH="0" baseline="0" noProof="0">
                <a:ln w="3175">
                  <a:noFill/>
                </a:ln>
                <a:solidFill>
                  <a:srgbClr val="000000"/>
                </a:solidFill>
                <a:effectLst/>
                <a:uLnTx/>
                <a:uFillTx/>
                <a:latin typeface="Aptos SemiBold"/>
                <a:ea typeface="+mn-ea"/>
                <a:cs typeface="Segoe UI" pitchFamily="34" charset="0"/>
              </a:rPr>
              <a:t>Use Case prioritization consideration</a:t>
            </a:r>
          </a:p>
        </p:txBody>
      </p:sp>
      <p:sp>
        <p:nvSpPr>
          <p:cNvPr id="19" name="Oval 18">
            <a:extLst>
              <a:ext uri="{FF2B5EF4-FFF2-40B4-BE49-F238E27FC236}">
                <a16:creationId xmlns:a16="http://schemas.microsoft.com/office/drawing/2014/main" id="{F815D080-2EA3-42C0-0AE4-273BE4107073}"/>
              </a:ext>
            </a:extLst>
          </p:cNvPr>
          <p:cNvSpPr/>
          <p:nvPr/>
        </p:nvSpPr>
        <p:spPr bwMode="auto">
          <a:xfrm>
            <a:off x="2583952" y="3653795"/>
            <a:ext cx="182880" cy="182880"/>
          </a:xfrm>
          <a:prstGeom prst="ellipse">
            <a:avLst/>
          </a:prstGeom>
          <a:solidFill>
            <a:srgbClr val="D59DFF"/>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Segoe UI" pitchFamily="34" charset="0"/>
              </a:rPr>
              <a:t>1</a:t>
            </a:r>
          </a:p>
        </p:txBody>
      </p:sp>
      <p:cxnSp>
        <p:nvCxnSpPr>
          <p:cNvPr id="21" name="Straight Arrow Connector 20" descr="A bi-directional arrow">
            <a:extLst>
              <a:ext uri="{FF2B5EF4-FFF2-40B4-BE49-F238E27FC236}">
                <a16:creationId xmlns:a16="http://schemas.microsoft.com/office/drawing/2014/main" id="{B966CCC9-1181-AE85-E801-3F54AF8C91FB}"/>
              </a:ext>
            </a:extLst>
          </p:cNvPr>
          <p:cNvCxnSpPr>
            <a:cxnSpLocks/>
          </p:cNvCxnSpPr>
          <p:nvPr/>
        </p:nvCxnSpPr>
        <p:spPr>
          <a:xfrm>
            <a:off x="3323093" y="3945102"/>
            <a:ext cx="1005840" cy="0"/>
          </a:xfrm>
          <a:prstGeom prst="straightConnector1">
            <a:avLst/>
          </a:prstGeom>
          <a:ln>
            <a:solidFill>
              <a:schemeClr val="accent4"/>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26" name="Straight Arrow Connector 25" descr="A bi-directional arrow">
            <a:extLst>
              <a:ext uri="{FF2B5EF4-FFF2-40B4-BE49-F238E27FC236}">
                <a16:creationId xmlns:a16="http://schemas.microsoft.com/office/drawing/2014/main" id="{6EF43771-FFB5-D69F-E7F0-5D26A9227852}"/>
              </a:ext>
            </a:extLst>
          </p:cNvPr>
          <p:cNvCxnSpPr>
            <a:cxnSpLocks/>
          </p:cNvCxnSpPr>
          <p:nvPr/>
        </p:nvCxnSpPr>
        <p:spPr>
          <a:xfrm>
            <a:off x="3323093" y="4420469"/>
            <a:ext cx="1005840" cy="0"/>
          </a:xfrm>
          <a:prstGeom prst="straightConnector1">
            <a:avLst/>
          </a:prstGeom>
          <a:ln>
            <a:solidFill>
              <a:schemeClr val="accent4"/>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31" name="Straight Arrow Connector 30" descr="A bi-directional arrow">
            <a:extLst>
              <a:ext uri="{FF2B5EF4-FFF2-40B4-BE49-F238E27FC236}">
                <a16:creationId xmlns:a16="http://schemas.microsoft.com/office/drawing/2014/main" id="{19A5D08B-E6DD-AAD6-5817-67EFFF95285C}"/>
              </a:ext>
            </a:extLst>
          </p:cNvPr>
          <p:cNvCxnSpPr>
            <a:cxnSpLocks/>
          </p:cNvCxnSpPr>
          <p:nvPr/>
        </p:nvCxnSpPr>
        <p:spPr>
          <a:xfrm>
            <a:off x="3323093" y="4882013"/>
            <a:ext cx="1005840" cy="0"/>
          </a:xfrm>
          <a:prstGeom prst="straightConnector1">
            <a:avLst/>
          </a:prstGeom>
          <a:ln>
            <a:solidFill>
              <a:schemeClr val="accent4"/>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65BDB0CB-3A59-DF5A-4D99-4127B7489C86}"/>
              </a:ext>
            </a:extLst>
          </p:cNvPr>
          <p:cNvSpPr txBox="1">
            <a:spLocks/>
          </p:cNvSpPr>
          <p:nvPr/>
        </p:nvSpPr>
        <p:spPr>
          <a:xfrm>
            <a:off x="6591071" y="3825662"/>
            <a:ext cx="1257084" cy="16927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mn-ea"/>
                <a:cs typeface="+mn-cs"/>
              </a:rPr>
              <a:t>Skill </a:t>
            </a:r>
          </a:p>
        </p:txBody>
      </p:sp>
      <p:sp>
        <p:nvSpPr>
          <p:cNvPr id="46" name="TextBox 45">
            <a:extLst>
              <a:ext uri="{FF2B5EF4-FFF2-40B4-BE49-F238E27FC236}">
                <a16:creationId xmlns:a16="http://schemas.microsoft.com/office/drawing/2014/main" id="{0A0D08E5-1EC1-AD80-7B75-A59A62D11D3D}"/>
              </a:ext>
            </a:extLst>
          </p:cNvPr>
          <p:cNvSpPr txBox="1">
            <a:spLocks/>
          </p:cNvSpPr>
          <p:nvPr/>
        </p:nvSpPr>
        <p:spPr>
          <a:xfrm>
            <a:off x="6591071" y="4290012"/>
            <a:ext cx="1257084" cy="338554"/>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mn-ea"/>
                <a:cs typeface="+mn-cs"/>
              </a:rPr>
              <a:t>Extend existing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mn-ea"/>
                <a:cs typeface="+mn-cs"/>
              </a:rPr>
              <a:t>or new</a:t>
            </a:r>
          </a:p>
        </p:txBody>
      </p:sp>
      <p:sp>
        <p:nvSpPr>
          <p:cNvPr id="47" name="TextBox 46">
            <a:extLst>
              <a:ext uri="{FF2B5EF4-FFF2-40B4-BE49-F238E27FC236}">
                <a16:creationId xmlns:a16="http://schemas.microsoft.com/office/drawing/2014/main" id="{E88ED36E-7071-30E8-D03E-D53E85AD03E7}"/>
              </a:ext>
            </a:extLst>
          </p:cNvPr>
          <p:cNvSpPr txBox="1">
            <a:spLocks/>
          </p:cNvSpPr>
          <p:nvPr/>
        </p:nvSpPr>
        <p:spPr>
          <a:xfrm>
            <a:off x="6591068" y="4754363"/>
            <a:ext cx="1257085" cy="16927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mn-ea"/>
                <a:cs typeface="+mn-cs"/>
              </a:rPr>
              <a:t>Time to Value</a:t>
            </a:r>
          </a:p>
        </p:txBody>
      </p:sp>
      <p:sp>
        <p:nvSpPr>
          <p:cNvPr id="49" name="TextBox 48">
            <a:extLst>
              <a:ext uri="{FF2B5EF4-FFF2-40B4-BE49-F238E27FC236}">
                <a16:creationId xmlns:a16="http://schemas.microsoft.com/office/drawing/2014/main" id="{788F709E-BDE6-90C2-CA5F-FDDDA04D51ED}"/>
              </a:ext>
            </a:extLst>
          </p:cNvPr>
          <p:cNvSpPr txBox="1"/>
          <p:nvPr/>
        </p:nvSpPr>
        <p:spPr>
          <a:xfrm>
            <a:off x="7689578" y="3812585"/>
            <a:ext cx="857021" cy="338554"/>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Skill gaps exist</a:t>
            </a:r>
          </a:p>
        </p:txBody>
      </p:sp>
      <p:sp>
        <p:nvSpPr>
          <p:cNvPr id="51" name="TextBox 50">
            <a:extLst>
              <a:ext uri="{FF2B5EF4-FFF2-40B4-BE49-F238E27FC236}">
                <a16:creationId xmlns:a16="http://schemas.microsoft.com/office/drawing/2014/main" id="{A77B2F2D-D8A9-C91E-453C-97071EA85E88}"/>
              </a:ext>
            </a:extLst>
          </p:cNvPr>
          <p:cNvSpPr txBox="1"/>
          <p:nvPr/>
        </p:nvSpPr>
        <p:spPr>
          <a:xfrm>
            <a:off x="9902089" y="3834832"/>
            <a:ext cx="1572546" cy="338554"/>
          </a:xfrm>
          <a:prstGeom prst="rect">
            <a:avLst/>
          </a:prstGeom>
          <a:noFill/>
        </p:spPr>
        <p:txBody>
          <a:bodyPr wrap="square" lIns="0" tIns="0" rIns="0" bIns="0" rtlCol="0" anchor="ctr">
            <a:spAutoFit/>
          </a:bodyPr>
          <a:lstStyle>
            <a:defPPr>
              <a:defRPr lang="en-US"/>
            </a:defPPr>
            <a:lvl1pPr>
              <a:defRPr sz="11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AI, Apps, Data and other skills are available</a:t>
            </a:r>
          </a:p>
        </p:txBody>
      </p:sp>
      <p:sp>
        <p:nvSpPr>
          <p:cNvPr id="54" name="TextBox 53">
            <a:extLst>
              <a:ext uri="{FF2B5EF4-FFF2-40B4-BE49-F238E27FC236}">
                <a16:creationId xmlns:a16="http://schemas.microsoft.com/office/drawing/2014/main" id="{BF81DB08-A36C-2CC1-4A00-012144B53D6F}"/>
              </a:ext>
            </a:extLst>
          </p:cNvPr>
          <p:cNvSpPr txBox="1"/>
          <p:nvPr/>
        </p:nvSpPr>
        <p:spPr>
          <a:xfrm>
            <a:off x="7720088" y="4285846"/>
            <a:ext cx="1489793" cy="338554"/>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New program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or processes</a:t>
            </a:r>
          </a:p>
        </p:txBody>
      </p:sp>
      <p:sp>
        <p:nvSpPr>
          <p:cNvPr id="56" name="TextBox 55">
            <a:extLst>
              <a:ext uri="{FF2B5EF4-FFF2-40B4-BE49-F238E27FC236}">
                <a16:creationId xmlns:a16="http://schemas.microsoft.com/office/drawing/2014/main" id="{67AA1071-370F-2ED7-94B2-A5F34BCA1289}"/>
              </a:ext>
            </a:extLst>
          </p:cNvPr>
          <p:cNvSpPr txBox="1"/>
          <p:nvPr/>
        </p:nvSpPr>
        <p:spPr>
          <a:xfrm>
            <a:off x="9902089" y="4299182"/>
            <a:ext cx="1572546" cy="338554"/>
          </a:xfrm>
          <a:prstGeom prst="rect">
            <a:avLst/>
          </a:prstGeom>
          <a:noFill/>
        </p:spPr>
        <p:txBody>
          <a:bodyPr wrap="square" lIns="0" tIns="0" rIns="0" bIns="0" rtlCol="0" anchor="ctr">
            <a:spAutoFit/>
          </a:bodyPr>
          <a:lstStyle>
            <a:defPPr>
              <a:defRPr lang="en-US"/>
            </a:defPPr>
            <a:lvl1pPr>
              <a:defRPr sz="11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Extend existing program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or processes</a:t>
            </a:r>
          </a:p>
        </p:txBody>
      </p:sp>
      <p:sp>
        <p:nvSpPr>
          <p:cNvPr id="59" name="TextBox 58">
            <a:extLst>
              <a:ext uri="{FF2B5EF4-FFF2-40B4-BE49-F238E27FC236}">
                <a16:creationId xmlns:a16="http://schemas.microsoft.com/office/drawing/2014/main" id="{199B7751-8A31-5F3B-0C61-DBA1F52652F7}"/>
              </a:ext>
            </a:extLst>
          </p:cNvPr>
          <p:cNvSpPr txBox="1"/>
          <p:nvPr/>
        </p:nvSpPr>
        <p:spPr>
          <a:xfrm>
            <a:off x="7720088" y="4754300"/>
            <a:ext cx="857021" cy="338554"/>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Very long (&gt;18mos)</a:t>
            </a:r>
          </a:p>
        </p:txBody>
      </p:sp>
      <p:sp>
        <p:nvSpPr>
          <p:cNvPr id="61" name="TextBox 60">
            <a:extLst>
              <a:ext uri="{FF2B5EF4-FFF2-40B4-BE49-F238E27FC236}">
                <a16:creationId xmlns:a16="http://schemas.microsoft.com/office/drawing/2014/main" id="{2881F06C-E100-ED65-77F2-8494BA4C7815}"/>
              </a:ext>
            </a:extLst>
          </p:cNvPr>
          <p:cNvSpPr txBox="1"/>
          <p:nvPr/>
        </p:nvSpPr>
        <p:spPr>
          <a:xfrm>
            <a:off x="9902089" y="4848170"/>
            <a:ext cx="1572546" cy="169277"/>
          </a:xfrm>
          <a:prstGeom prst="rect">
            <a:avLst/>
          </a:prstGeom>
          <a:noFill/>
        </p:spPr>
        <p:txBody>
          <a:bodyPr wrap="square" lIns="0" tIns="0" rIns="0" bIns="0" rtlCol="0" anchor="ctr">
            <a:spAutoFit/>
          </a:bodyPr>
          <a:lstStyle>
            <a:defPPr>
              <a:defRPr lang="en-US"/>
            </a:defPPr>
            <a:lvl1pPr>
              <a:defRPr sz="11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3 months or less</a:t>
            </a:r>
          </a:p>
        </p:txBody>
      </p:sp>
      <p:sp>
        <p:nvSpPr>
          <p:cNvPr id="65" name="Text Placeholder 2">
            <a:extLst>
              <a:ext uri="{FF2B5EF4-FFF2-40B4-BE49-F238E27FC236}">
                <a16:creationId xmlns:a16="http://schemas.microsoft.com/office/drawing/2014/main" id="{986D0420-E816-B514-2E1C-16B564B9A41C}"/>
              </a:ext>
            </a:extLst>
          </p:cNvPr>
          <p:cNvSpPr txBox="1">
            <a:spLocks/>
          </p:cNvSpPr>
          <p:nvPr/>
        </p:nvSpPr>
        <p:spPr>
          <a:xfrm>
            <a:off x="6423280" y="1292796"/>
            <a:ext cx="5349272" cy="2019014"/>
          </a:xfrm>
          <a:prstGeom prst="rect">
            <a:avLst/>
          </a:prstGeom>
          <a:solidFill>
            <a:schemeClr val="bg1"/>
          </a:solidFill>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100000"/>
              <a:buFont typeface="Wingdings" panose="05000000000000000000" pitchFamily="2" charset="2"/>
              <a:buNone/>
              <a:tabLst/>
              <a:defRPr/>
            </a:pPr>
            <a:r>
              <a:rPr kumimoji="0" lang="en-US" sz="2000" b="0" i="0" u="none" strike="noStrike" kern="1200" cap="none" spc="0" normalizeH="0" baseline="0" noProof="0">
                <a:ln>
                  <a:noFill/>
                </a:ln>
                <a:solidFill>
                  <a:srgbClr val="8560C3"/>
                </a:solidFill>
                <a:effectLst/>
                <a:uLnTx/>
                <a:uFillTx/>
                <a:latin typeface="Segoe UI Semibold"/>
                <a:ea typeface="+mn-ea"/>
                <a:cs typeface="Segoe UI" panose="020B0502040204020203" pitchFamily="34" charset="0"/>
              </a:rPr>
              <a:t>Implementation Effort</a:t>
            </a:r>
          </a:p>
          <a:p>
            <a:pPr marL="0" marR="0" lvl="0" indent="0" algn="ctr" defTabSz="932742" rtl="0" eaLnBrk="1" fontAlgn="auto" latinLnBrk="0" hangingPunct="1">
              <a:lnSpc>
                <a:spcPct val="100000"/>
              </a:lnSpc>
              <a:spcBef>
                <a:spcPct val="20000"/>
              </a:spcBef>
              <a:spcAft>
                <a:spcPts val="0"/>
              </a:spcAft>
              <a:buClrTx/>
              <a:buSzPct val="100000"/>
              <a:buFont typeface="Wingdings" panose="05000000000000000000" pitchFamily="2" charset="2"/>
              <a:buNone/>
              <a:tabLst/>
              <a:defRPr/>
            </a:pPr>
            <a:r>
              <a:rPr kumimoji="0" lang="en-US" sz="1100" b="0" i="0" u="none" strike="noStrike" kern="1200" cap="none" spc="0" normalizeH="0" baseline="0" noProof="0">
                <a:ln>
                  <a:noFill/>
                </a:ln>
                <a:solidFill>
                  <a:srgbClr val="8560C3"/>
                </a:solidFill>
                <a:effectLst/>
                <a:uLnTx/>
                <a:uFillTx/>
                <a:latin typeface="Segoe UI Semibold"/>
                <a:ea typeface="+mn-ea"/>
                <a:cs typeface="Segoe UI" panose="020B0502040204020203" pitchFamily="34" charset="0"/>
              </a:rPr>
              <a:t> </a:t>
            </a:r>
          </a:p>
          <a:p>
            <a:pPr marL="228600" marR="0" lvl="0" indent="-171450" algn="l" defTabSz="932742" rtl="0" eaLnBrk="1" fontAlgn="auto" latinLnBrk="0" hangingPunct="1">
              <a:lnSpc>
                <a:spcPct val="100000"/>
              </a:lnSpc>
              <a:spcBef>
                <a:spcPct val="20000"/>
              </a:spcBef>
              <a:spcAft>
                <a:spcPts val="0"/>
              </a:spcAft>
              <a:buClrTx/>
              <a:buSzPct val="10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Are there any skill gaps within your organization? </a:t>
            </a:r>
          </a:p>
          <a:p>
            <a:pPr marL="228600" marR="0" lvl="0" indent="-171450" algn="l" defTabSz="932742" rtl="0" eaLnBrk="1" fontAlgn="auto" latinLnBrk="0" hangingPunct="1">
              <a:lnSpc>
                <a:spcPct val="100000"/>
              </a:lnSpc>
              <a:spcBef>
                <a:spcPct val="20000"/>
              </a:spcBef>
              <a:spcAft>
                <a:spcPts val="0"/>
              </a:spcAft>
              <a:buClrTx/>
              <a:buSzPct val="10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Are there potential integration challenges with existing systems?</a:t>
            </a:r>
          </a:p>
          <a:p>
            <a:pPr marL="228600" marR="0" lvl="0" indent="-171450" algn="l" defTabSz="932742" rtl="0" eaLnBrk="1" fontAlgn="auto" latinLnBrk="0" hangingPunct="1">
              <a:lnSpc>
                <a:spcPct val="100000"/>
              </a:lnSpc>
              <a:spcBef>
                <a:spcPct val="20000"/>
              </a:spcBef>
              <a:spcAft>
                <a:spcPts val="0"/>
              </a:spcAft>
              <a:buClrTx/>
              <a:buSzPct val="10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Is it a natural extension to existing solutions? </a:t>
            </a:r>
          </a:p>
          <a:p>
            <a:pPr marL="228600" marR="0" lvl="0" indent="-171450" algn="l" defTabSz="932742" rtl="0" eaLnBrk="1" fontAlgn="auto" latinLnBrk="0" hangingPunct="1">
              <a:lnSpc>
                <a:spcPct val="100000"/>
              </a:lnSpc>
              <a:spcBef>
                <a:spcPct val="20000"/>
              </a:spcBef>
              <a:spcAft>
                <a:spcPts val="0"/>
              </a:spcAft>
              <a:buClrTx/>
              <a:buSzPct val="10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What is the predicted time to value?</a:t>
            </a:r>
          </a:p>
          <a:p>
            <a:pPr marL="228600" marR="0" lvl="0" indent="-171450" algn="l" defTabSz="932742" rtl="0" eaLnBrk="1" fontAlgn="auto" latinLnBrk="0" hangingPunct="1">
              <a:lnSpc>
                <a:spcPct val="100000"/>
              </a:lnSpc>
              <a:spcBef>
                <a:spcPct val="20000"/>
              </a:spcBef>
              <a:spcAft>
                <a:spcPts val="0"/>
              </a:spcAft>
              <a:buClrTx/>
              <a:buSzPct val="10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Are there any potential pain points for users in adopting the solution?</a:t>
            </a:r>
          </a:p>
        </p:txBody>
      </p:sp>
      <p:sp>
        <p:nvSpPr>
          <p:cNvPr id="66" name="Text Placeholder 2">
            <a:extLst>
              <a:ext uri="{FF2B5EF4-FFF2-40B4-BE49-F238E27FC236}">
                <a16:creationId xmlns:a16="http://schemas.microsoft.com/office/drawing/2014/main" id="{31C28B55-07E8-10D6-2E9A-71BCA1EC97EE}"/>
              </a:ext>
            </a:extLst>
          </p:cNvPr>
          <p:cNvSpPr txBox="1">
            <a:spLocks/>
          </p:cNvSpPr>
          <p:nvPr/>
        </p:nvSpPr>
        <p:spPr>
          <a:xfrm>
            <a:off x="764074" y="1299069"/>
            <a:ext cx="5022360" cy="1803571"/>
          </a:xfrm>
          <a:prstGeom prst="rect">
            <a:avLst/>
          </a:prstGeom>
          <a:solidFill>
            <a:schemeClr val="bg1"/>
          </a:solidFill>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100000"/>
              <a:buFont typeface="Wingdings" panose="05000000000000000000" pitchFamily="2" charset="2"/>
              <a:buNone/>
              <a:tabLst/>
              <a:defRPr/>
            </a:pPr>
            <a:r>
              <a:rPr kumimoji="0" lang="en-US" sz="2000" b="0" i="0" u="none" strike="noStrike" kern="1200" cap="none" spc="0" normalizeH="0" baseline="0" noProof="0">
                <a:ln>
                  <a:noFill/>
                </a:ln>
                <a:solidFill>
                  <a:srgbClr val="8560C3"/>
                </a:solidFill>
                <a:effectLst/>
                <a:uLnTx/>
                <a:uFillTx/>
                <a:latin typeface="Segoe UI Semibold"/>
                <a:ea typeface="+mn-ea"/>
                <a:cs typeface="Segoe UI" panose="020B0502040204020203" pitchFamily="34" charset="0"/>
              </a:rPr>
              <a:t>Business Value</a:t>
            </a:r>
          </a:p>
          <a:p>
            <a:pPr marL="0" marR="0" lvl="0" indent="0" algn="ctr" defTabSz="932742" rtl="0" eaLnBrk="1" fontAlgn="auto" latinLnBrk="0" hangingPunct="1">
              <a:lnSpc>
                <a:spcPct val="100000"/>
              </a:lnSpc>
              <a:spcBef>
                <a:spcPct val="20000"/>
              </a:spcBef>
              <a:spcAft>
                <a:spcPts val="0"/>
              </a:spcAft>
              <a:buClrTx/>
              <a:buSzPct val="100000"/>
              <a:buFont typeface="Wingdings" panose="05000000000000000000" pitchFamily="2" charset="2"/>
              <a:buNone/>
              <a:tabLst/>
              <a:defRPr/>
            </a:pPr>
            <a:endParaRPr kumimoji="0" lang="en-US" sz="1100" b="0" i="0" u="none" strike="noStrike" kern="1200" cap="none" spc="0" normalizeH="0" baseline="0" noProof="0">
              <a:ln>
                <a:noFill/>
              </a:ln>
              <a:solidFill>
                <a:srgbClr val="8560C3"/>
              </a:solidFill>
              <a:effectLst/>
              <a:uLnTx/>
              <a:uFillTx/>
              <a:latin typeface="Segoe UI Semibold"/>
              <a:ea typeface="+mn-ea"/>
              <a:cs typeface="Segoe UI" panose="020B0502040204020203" pitchFamily="34" charset="0"/>
            </a:endParaRPr>
          </a:p>
          <a:p>
            <a:pPr marL="228600" marR="0" lvl="0" indent="-171450" algn="l" defTabSz="932742" rtl="0" eaLnBrk="1" fontAlgn="auto" latinLnBrk="0" hangingPunct="1">
              <a:lnSpc>
                <a:spcPct val="100000"/>
              </a:lnSpc>
              <a:spcBef>
                <a:spcPct val="20000"/>
              </a:spcBef>
              <a:spcAft>
                <a:spcPts val="0"/>
              </a:spcAft>
              <a:buClrTx/>
              <a:buSzPct val="10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Is there a clear and quantifiable revenue impact?</a:t>
            </a:r>
          </a:p>
          <a:p>
            <a:pPr marL="228600" marR="0" lvl="0" indent="-171450" algn="l" defTabSz="932742" rtl="0" eaLnBrk="1" fontAlgn="auto" latinLnBrk="0" hangingPunct="1">
              <a:lnSpc>
                <a:spcPct val="100000"/>
              </a:lnSpc>
              <a:spcBef>
                <a:spcPct val="20000"/>
              </a:spcBef>
              <a:spcAft>
                <a:spcPts val="0"/>
              </a:spcAft>
              <a:buClrTx/>
              <a:buSzPct val="10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What changes are expected in efficiency?</a:t>
            </a:r>
          </a:p>
          <a:p>
            <a:pPr marL="228600" marR="0" lvl="0" indent="-171450" algn="l" defTabSz="932742" rtl="0" eaLnBrk="1" fontAlgn="auto" latinLnBrk="0" hangingPunct="1">
              <a:lnSpc>
                <a:spcPct val="100000"/>
              </a:lnSpc>
              <a:spcBef>
                <a:spcPct val="20000"/>
              </a:spcBef>
              <a:spcAft>
                <a:spcPts val="0"/>
              </a:spcAft>
              <a:buClrTx/>
              <a:buSzPct val="10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Will implementation result in cost reductions?</a:t>
            </a:r>
          </a:p>
          <a:p>
            <a:pPr marL="228600" marR="0" lvl="0" indent="-171450" algn="l" defTabSz="932742" rtl="0" eaLnBrk="1" fontAlgn="auto" latinLnBrk="0" hangingPunct="1">
              <a:lnSpc>
                <a:spcPct val="100000"/>
              </a:lnSpc>
              <a:spcBef>
                <a:spcPct val="20000"/>
              </a:spcBef>
              <a:spcAft>
                <a:spcPts val="0"/>
              </a:spcAft>
              <a:buClrTx/>
              <a:buSzPct val="10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What is the predicted time to value?</a:t>
            </a:r>
          </a:p>
          <a:p>
            <a:pPr marL="228600" marR="0" lvl="0" indent="-171450" algn="l" defTabSz="932742" rtl="0" eaLnBrk="1" fontAlgn="auto" latinLnBrk="0" hangingPunct="1">
              <a:lnSpc>
                <a:spcPct val="100000"/>
              </a:lnSpc>
              <a:spcBef>
                <a:spcPct val="20000"/>
              </a:spcBef>
              <a:spcAft>
                <a:spcPts val="0"/>
              </a:spcAft>
              <a:buClrTx/>
              <a:buSzPct val="10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Will users be motivated to use it over other experiences?</a:t>
            </a:r>
          </a:p>
        </p:txBody>
      </p:sp>
      <p:sp>
        <p:nvSpPr>
          <p:cNvPr id="14" name="Oval 13">
            <a:extLst>
              <a:ext uri="{FF2B5EF4-FFF2-40B4-BE49-F238E27FC236}">
                <a16:creationId xmlns:a16="http://schemas.microsoft.com/office/drawing/2014/main" id="{EA033010-46C0-6819-52F0-AFA079D858FF}"/>
              </a:ext>
            </a:extLst>
          </p:cNvPr>
          <p:cNvSpPr/>
          <p:nvPr/>
        </p:nvSpPr>
        <p:spPr bwMode="auto">
          <a:xfrm>
            <a:off x="5027432" y="3642059"/>
            <a:ext cx="182880" cy="182880"/>
          </a:xfrm>
          <a:prstGeom prst="ellipse">
            <a:avLst/>
          </a:prstGeom>
          <a:solidFill>
            <a:srgbClr val="D59DFF"/>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Segoe UI" pitchFamily="34" charset="0"/>
              </a:rPr>
              <a:t>5</a:t>
            </a:r>
          </a:p>
        </p:txBody>
      </p:sp>
      <p:sp>
        <p:nvSpPr>
          <p:cNvPr id="34" name="Oval 33">
            <a:extLst>
              <a:ext uri="{FF2B5EF4-FFF2-40B4-BE49-F238E27FC236}">
                <a16:creationId xmlns:a16="http://schemas.microsoft.com/office/drawing/2014/main" id="{ADFD13AA-3B4C-AA8D-8B6A-45C89C3EA14E}"/>
              </a:ext>
            </a:extLst>
          </p:cNvPr>
          <p:cNvSpPr/>
          <p:nvPr/>
        </p:nvSpPr>
        <p:spPr bwMode="auto">
          <a:xfrm>
            <a:off x="7917328" y="3631509"/>
            <a:ext cx="182880" cy="182880"/>
          </a:xfrm>
          <a:prstGeom prst="ellipse">
            <a:avLst/>
          </a:prstGeom>
          <a:solidFill>
            <a:srgbClr val="D59DFF"/>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Segoe UI" pitchFamily="34" charset="0"/>
              </a:rPr>
              <a:t>1</a:t>
            </a:r>
          </a:p>
        </p:txBody>
      </p:sp>
      <p:cxnSp>
        <p:nvCxnSpPr>
          <p:cNvPr id="67" name="Straight Arrow Connector 66" descr="A bi-directional arrow">
            <a:extLst>
              <a:ext uri="{FF2B5EF4-FFF2-40B4-BE49-F238E27FC236}">
                <a16:creationId xmlns:a16="http://schemas.microsoft.com/office/drawing/2014/main" id="{175C144A-5CA9-7882-9471-84BB9520FAE9}"/>
              </a:ext>
            </a:extLst>
          </p:cNvPr>
          <p:cNvCxnSpPr>
            <a:cxnSpLocks/>
          </p:cNvCxnSpPr>
          <p:nvPr/>
        </p:nvCxnSpPr>
        <p:spPr>
          <a:xfrm>
            <a:off x="8804419" y="3941904"/>
            <a:ext cx="1005840" cy="0"/>
          </a:xfrm>
          <a:prstGeom prst="straightConnector1">
            <a:avLst/>
          </a:prstGeom>
          <a:ln>
            <a:solidFill>
              <a:schemeClr val="accent4"/>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68" name="Straight Arrow Connector 67" descr="A bi-directional arrow">
            <a:extLst>
              <a:ext uri="{FF2B5EF4-FFF2-40B4-BE49-F238E27FC236}">
                <a16:creationId xmlns:a16="http://schemas.microsoft.com/office/drawing/2014/main" id="{8816840B-60A2-B5C8-5CC7-71A196931804}"/>
              </a:ext>
            </a:extLst>
          </p:cNvPr>
          <p:cNvCxnSpPr>
            <a:cxnSpLocks/>
          </p:cNvCxnSpPr>
          <p:nvPr/>
        </p:nvCxnSpPr>
        <p:spPr>
          <a:xfrm>
            <a:off x="8804419" y="4420469"/>
            <a:ext cx="1005840" cy="0"/>
          </a:xfrm>
          <a:prstGeom prst="straightConnector1">
            <a:avLst/>
          </a:prstGeom>
          <a:ln>
            <a:solidFill>
              <a:schemeClr val="accent4"/>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69" name="Straight Arrow Connector 68" descr="A bi-directional arrow">
            <a:extLst>
              <a:ext uri="{FF2B5EF4-FFF2-40B4-BE49-F238E27FC236}">
                <a16:creationId xmlns:a16="http://schemas.microsoft.com/office/drawing/2014/main" id="{97E2A2E6-694C-BEF4-CCF2-6BD494490A02}"/>
              </a:ext>
            </a:extLst>
          </p:cNvPr>
          <p:cNvCxnSpPr>
            <a:cxnSpLocks/>
          </p:cNvCxnSpPr>
          <p:nvPr/>
        </p:nvCxnSpPr>
        <p:spPr>
          <a:xfrm>
            <a:off x="8804419" y="4873396"/>
            <a:ext cx="1005840" cy="0"/>
          </a:xfrm>
          <a:prstGeom prst="straightConnector1">
            <a:avLst/>
          </a:prstGeom>
          <a:ln>
            <a:solidFill>
              <a:schemeClr val="accent4"/>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70" name="Oval 69">
            <a:extLst>
              <a:ext uri="{FF2B5EF4-FFF2-40B4-BE49-F238E27FC236}">
                <a16:creationId xmlns:a16="http://schemas.microsoft.com/office/drawing/2014/main" id="{115D7643-B8A0-3C00-DFEA-827FAA322479}"/>
              </a:ext>
            </a:extLst>
          </p:cNvPr>
          <p:cNvSpPr/>
          <p:nvPr/>
        </p:nvSpPr>
        <p:spPr bwMode="auto">
          <a:xfrm>
            <a:off x="10467708" y="3629705"/>
            <a:ext cx="182880" cy="182880"/>
          </a:xfrm>
          <a:prstGeom prst="ellipse">
            <a:avLst/>
          </a:prstGeom>
          <a:solidFill>
            <a:srgbClr val="D59DFF"/>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Segoe UI" pitchFamily="34" charset="0"/>
              </a:rPr>
              <a:t>5</a:t>
            </a:r>
          </a:p>
        </p:txBody>
      </p:sp>
      <p:sp>
        <p:nvSpPr>
          <p:cNvPr id="73" name="Rectangle: Rounded Corners 72">
            <a:extLst>
              <a:ext uri="{FF2B5EF4-FFF2-40B4-BE49-F238E27FC236}">
                <a16:creationId xmlns:a16="http://schemas.microsoft.com/office/drawing/2014/main" id="{4D9C3505-4319-7372-536D-B9294DF2FF8B}"/>
              </a:ext>
            </a:extLst>
          </p:cNvPr>
          <p:cNvSpPr/>
          <p:nvPr/>
        </p:nvSpPr>
        <p:spPr bwMode="auto">
          <a:xfrm>
            <a:off x="497033" y="1197734"/>
            <a:ext cx="5486400" cy="4228932"/>
          </a:xfrm>
          <a:prstGeom prst="roundRect">
            <a:avLst>
              <a:gd name="adj" fmla="val 9681"/>
            </a:avLst>
          </a:prstGeom>
          <a:noFill/>
          <a:ln w="9525" cap="flat" cmpd="sng" algn="ctr">
            <a:solidFill>
              <a:srgbClr val="D59DFF"/>
            </a:solidFill>
            <a:prstDash val="soli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5" name="Rectangle: Rounded Corners 74">
            <a:extLst>
              <a:ext uri="{FF2B5EF4-FFF2-40B4-BE49-F238E27FC236}">
                <a16:creationId xmlns:a16="http://schemas.microsoft.com/office/drawing/2014/main" id="{F3238CB4-8E27-1061-437D-DE1355442E0F}"/>
              </a:ext>
            </a:extLst>
          </p:cNvPr>
          <p:cNvSpPr/>
          <p:nvPr/>
        </p:nvSpPr>
        <p:spPr bwMode="auto">
          <a:xfrm>
            <a:off x="6283457" y="1183112"/>
            <a:ext cx="5486400" cy="4228932"/>
          </a:xfrm>
          <a:prstGeom prst="roundRect">
            <a:avLst>
              <a:gd name="adj" fmla="val 9681"/>
            </a:avLst>
          </a:prstGeom>
          <a:noFill/>
          <a:ln w="9525" cap="flat" cmpd="sng" algn="ctr">
            <a:solidFill>
              <a:srgbClr val="D59DFF"/>
            </a:solidFill>
            <a:prstDash val="soli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 name="TextBox 2">
            <a:extLst>
              <a:ext uri="{FF2B5EF4-FFF2-40B4-BE49-F238E27FC236}">
                <a16:creationId xmlns:a16="http://schemas.microsoft.com/office/drawing/2014/main" id="{146A7C8E-EBEF-03B3-00F2-D1475CC198D8}"/>
              </a:ext>
            </a:extLst>
          </p:cNvPr>
          <p:cNvSpPr txBox="1">
            <a:spLocks/>
          </p:cNvSpPr>
          <p:nvPr/>
        </p:nvSpPr>
        <p:spPr>
          <a:xfrm>
            <a:off x="862793" y="3834832"/>
            <a:ext cx="1291792" cy="384721"/>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mn-ea"/>
                <a:cs typeface="+mn-cs"/>
              </a:rPr>
              <a:t>Significant</a:t>
            </a:r>
            <a:r>
              <a:rPr kumimoji="0" lang="en-US" sz="1400" b="0" i="0" u="none" strike="noStrike" kern="1200" cap="none" spc="0" normalizeH="0" baseline="0" noProof="0">
                <a:ln>
                  <a:noFill/>
                </a:ln>
                <a:solidFill>
                  <a:srgbClr val="000000"/>
                </a:solidFill>
                <a:effectLst/>
                <a:uLnTx/>
                <a:uFillTx/>
                <a:latin typeface="Segoe UI Semibold"/>
                <a:ea typeface="+mn-ea"/>
                <a:cs typeface="+mn-cs"/>
              </a:rPr>
              <a:t> </a:t>
            </a:r>
            <a:r>
              <a:rPr kumimoji="0" lang="en-US" sz="1100" b="0" i="0" u="none" strike="noStrike" kern="1200" cap="none" spc="0" normalizeH="0" baseline="0" noProof="0">
                <a:ln>
                  <a:noFill/>
                </a:ln>
                <a:solidFill>
                  <a:srgbClr val="000000"/>
                </a:solidFill>
                <a:effectLst/>
                <a:uLnTx/>
                <a:uFillTx/>
                <a:latin typeface="Segoe UI Semibold"/>
                <a:ea typeface="+mn-ea"/>
                <a:cs typeface="+mn-cs"/>
              </a:rPr>
              <a:t>revenue</a:t>
            </a:r>
            <a:r>
              <a:rPr kumimoji="0" lang="en-US" sz="1400" b="0" i="0" u="none" strike="noStrike" kern="1200" cap="none" spc="0" normalizeH="0" baseline="0" noProof="0">
                <a:ln>
                  <a:noFill/>
                </a:ln>
                <a:solidFill>
                  <a:srgbClr val="000000"/>
                </a:solidFill>
                <a:effectLst/>
                <a:uLnTx/>
                <a:uFillTx/>
                <a:latin typeface="Segoe UI Semibold"/>
                <a:ea typeface="+mn-ea"/>
                <a:cs typeface="+mn-cs"/>
              </a:rPr>
              <a:t> </a:t>
            </a:r>
            <a:r>
              <a:rPr kumimoji="0" lang="en-US" sz="1100" b="0" i="0" u="none" strike="noStrike" kern="1200" cap="none" spc="0" normalizeH="0" baseline="0" noProof="0">
                <a:ln>
                  <a:noFill/>
                </a:ln>
                <a:solidFill>
                  <a:srgbClr val="000000"/>
                </a:solidFill>
                <a:effectLst/>
                <a:uLnTx/>
                <a:uFillTx/>
                <a:latin typeface="Segoe UI Semibold"/>
                <a:ea typeface="+mn-ea"/>
                <a:cs typeface="+mn-cs"/>
              </a:rPr>
              <a:t>Impact?</a:t>
            </a:r>
          </a:p>
        </p:txBody>
      </p:sp>
      <p:sp>
        <p:nvSpPr>
          <p:cNvPr id="4" name="TextBox 3">
            <a:extLst>
              <a:ext uri="{FF2B5EF4-FFF2-40B4-BE49-F238E27FC236}">
                <a16:creationId xmlns:a16="http://schemas.microsoft.com/office/drawing/2014/main" id="{178EA332-8DD6-3CCA-5090-2337850F755D}"/>
              </a:ext>
            </a:extLst>
          </p:cNvPr>
          <p:cNvSpPr txBox="1">
            <a:spLocks/>
          </p:cNvSpPr>
          <p:nvPr/>
        </p:nvSpPr>
        <p:spPr>
          <a:xfrm>
            <a:off x="862790" y="4310658"/>
            <a:ext cx="1457210" cy="338554"/>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mn-ea"/>
                <a:cs typeface="+mn-cs"/>
              </a:rPr>
              <a:t>Significant efficiency / cost reduction impact?</a:t>
            </a:r>
          </a:p>
        </p:txBody>
      </p:sp>
      <p:sp>
        <p:nvSpPr>
          <p:cNvPr id="5" name="TextBox 4">
            <a:extLst>
              <a:ext uri="{FF2B5EF4-FFF2-40B4-BE49-F238E27FC236}">
                <a16:creationId xmlns:a16="http://schemas.microsoft.com/office/drawing/2014/main" id="{C84CB55E-E753-FEBD-DB21-70AA7060239F}"/>
              </a:ext>
            </a:extLst>
          </p:cNvPr>
          <p:cNvSpPr txBox="1">
            <a:spLocks/>
          </p:cNvSpPr>
          <p:nvPr/>
        </p:nvSpPr>
        <p:spPr>
          <a:xfrm>
            <a:off x="862790" y="4788757"/>
            <a:ext cx="2067573" cy="16927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mn-ea"/>
                <a:cs typeface="+mn-cs"/>
              </a:rPr>
              <a:t>User desirability</a:t>
            </a:r>
          </a:p>
        </p:txBody>
      </p:sp>
      <p:sp>
        <p:nvSpPr>
          <p:cNvPr id="6" name="TextBox 5">
            <a:extLst>
              <a:ext uri="{FF2B5EF4-FFF2-40B4-BE49-F238E27FC236}">
                <a16:creationId xmlns:a16="http://schemas.microsoft.com/office/drawing/2014/main" id="{3C065876-A978-5A65-60F6-7A2153555D4D}"/>
              </a:ext>
            </a:extLst>
          </p:cNvPr>
          <p:cNvSpPr txBox="1"/>
          <p:nvPr/>
        </p:nvSpPr>
        <p:spPr>
          <a:xfrm>
            <a:off x="2494188" y="3857265"/>
            <a:ext cx="1083275" cy="169277"/>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Very unclear</a:t>
            </a: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8" name="TextBox 7">
            <a:extLst>
              <a:ext uri="{FF2B5EF4-FFF2-40B4-BE49-F238E27FC236}">
                <a16:creationId xmlns:a16="http://schemas.microsoft.com/office/drawing/2014/main" id="{02332EEF-5495-BEDF-CDCF-94D9322CE771}"/>
              </a:ext>
            </a:extLst>
          </p:cNvPr>
          <p:cNvSpPr txBox="1"/>
          <p:nvPr/>
        </p:nvSpPr>
        <p:spPr>
          <a:xfrm>
            <a:off x="2494188" y="4321615"/>
            <a:ext cx="1211291" cy="169277"/>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Very unclear</a:t>
            </a: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TextBox 9">
            <a:extLst>
              <a:ext uri="{FF2B5EF4-FFF2-40B4-BE49-F238E27FC236}">
                <a16:creationId xmlns:a16="http://schemas.microsoft.com/office/drawing/2014/main" id="{EC0D94C9-6B9C-5A3E-D3B3-8D17A96B30AF}"/>
              </a:ext>
            </a:extLst>
          </p:cNvPr>
          <p:cNvSpPr txBox="1"/>
          <p:nvPr/>
        </p:nvSpPr>
        <p:spPr>
          <a:xfrm>
            <a:off x="2494188" y="4785964"/>
            <a:ext cx="857021" cy="169277"/>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Very low</a:t>
            </a: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TextBox 11">
            <a:extLst>
              <a:ext uri="{FF2B5EF4-FFF2-40B4-BE49-F238E27FC236}">
                <a16:creationId xmlns:a16="http://schemas.microsoft.com/office/drawing/2014/main" id="{A94B2440-4185-B418-21A4-BC3B360D7661}"/>
              </a:ext>
            </a:extLst>
          </p:cNvPr>
          <p:cNvSpPr txBox="1"/>
          <p:nvPr/>
        </p:nvSpPr>
        <p:spPr>
          <a:xfrm>
            <a:off x="4406368" y="3849585"/>
            <a:ext cx="1450098" cy="169276"/>
          </a:xfrm>
          <a:prstGeom prst="rect">
            <a:avLst/>
          </a:prstGeom>
          <a:noFill/>
        </p:spPr>
        <p:txBody>
          <a:bodyPr wrap="square" lIns="0" tIns="0" rIns="0" bIns="0" rtlCol="0" anchor="ctr">
            <a:spAutoFit/>
          </a:bodyPr>
          <a:lstStyle>
            <a:defPPr>
              <a:defRPr lang="en-US"/>
            </a:defPPr>
            <a:lvl1pPr>
              <a:defRPr sz="11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Very clear &amp; significant</a:t>
            </a:r>
          </a:p>
        </p:txBody>
      </p:sp>
      <p:sp>
        <p:nvSpPr>
          <p:cNvPr id="13" name="TextBox 12">
            <a:extLst>
              <a:ext uri="{FF2B5EF4-FFF2-40B4-BE49-F238E27FC236}">
                <a16:creationId xmlns:a16="http://schemas.microsoft.com/office/drawing/2014/main" id="{EC7182DA-9AA5-0A42-0392-3B134F05C5D6}"/>
              </a:ext>
            </a:extLst>
          </p:cNvPr>
          <p:cNvSpPr txBox="1"/>
          <p:nvPr/>
        </p:nvSpPr>
        <p:spPr>
          <a:xfrm>
            <a:off x="4406368" y="4770909"/>
            <a:ext cx="1450098" cy="169277"/>
          </a:xfrm>
          <a:prstGeom prst="rect">
            <a:avLst/>
          </a:prstGeom>
          <a:noFill/>
        </p:spPr>
        <p:txBody>
          <a:bodyPr wrap="square" lIns="0" tIns="0" rIns="0" bIns="0" rtlCol="0" anchor="ctr">
            <a:spAutoFit/>
          </a:bodyPr>
          <a:lstStyle>
            <a:defPPr>
              <a:defRPr lang="en-US"/>
            </a:defPPr>
            <a:lvl1pPr>
              <a:defRPr sz="11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Very high</a:t>
            </a:r>
          </a:p>
        </p:txBody>
      </p:sp>
      <p:sp>
        <p:nvSpPr>
          <p:cNvPr id="15" name="TextBox 14">
            <a:extLst>
              <a:ext uri="{FF2B5EF4-FFF2-40B4-BE49-F238E27FC236}">
                <a16:creationId xmlns:a16="http://schemas.microsoft.com/office/drawing/2014/main" id="{E2759042-DC84-15ED-35A9-033A31045DF1}"/>
              </a:ext>
            </a:extLst>
          </p:cNvPr>
          <p:cNvSpPr txBox="1"/>
          <p:nvPr/>
        </p:nvSpPr>
        <p:spPr>
          <a:xfrm>
            <a:off x="4406368" y="4310658"/>
            <a:ext cx="1450098" cy="169276"/>
          </a:xfrm>
          <a:prstGeom prst="rect">
            <a:avLst/>
          </a:prstGeom>
          <a:noFill/>
        </p:spPr>
        <p:txBody>
          <a:bodyPr wrap="square" lIns="0" tIns="0" rIns="0" bIns="0" rtlCol="0" anchor="ctr">
            <a:spAutoFit/>
          </a:bodyPr>
          <a:lstStyle>
            <a:defPPr>
              <a:defRPr lang="en-US"/>
            </a:defPPr>
            <a:lvl1pPr>
              <a:defRPr sz="11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Very clear &amp; significant</a:t>
            </a:r>
          </a:p>
        </p:txBody>
      </p:sp>
    </p:spTree>
    <p:extLst>
      <p:ext uri="{BB962C8B-B14F-4D97-AF65-F5344CB8AC3E}">
        <p14:creationId xmlns:p14="http://schemas.microsoft.com/office/powerpoint/2010/main" val="2361901075"/>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0BC9E6-1379-23D9-B2D3-F8C0B2869678}"/>
              </a:ext>
            </a:extLst>
          </p:cNvPr>
          <p:cNvSpPr>
            <a:spLocks noGrp="1"/>
          </p:cNvSpPr>
          <p:nvPr>
            <p:ph type="title"/>
          </p:nvPr>
        </p:nvSpPr>
        <p:spPr/>
        <p:txBody>
          <a:bodyPr/>
          <a:lstStyle/>
          <a:p>
            <a:r>
              <a:rPr lang="en-US" dirty="0"/>
              <a:t>Example of Completed Templates</a:t>
            </a:r>
            <a:br>
              <a:rPr lang="en-US" dirty="0"/>
            </a:br>
            <a:r>
              <a:rPr lang="en-US" dirty="0"/>
              <a:t>for AI Use Cases Discovery</a:t>
            </a:r>
            <a:br>
              <a:rPr lang="en-US" dirty="0"/>
            </a:br>
            <a:endParaRPr lang="en-US" dirty="0"/>
          </a:p>
        </p:txBody>
      </p:sp>
    </p:spTree>
    <p:extLst>
      <p:ext uri="{BB962C8B-B14F-4D97-AF65-F5344CB8AC3E}">
        <p14:creationId xmlns:p14="http://schemas.microsoft.com/office/powerpoint/2010/main" val="722905292"/>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A00EAC9-804C-3F99-DB92-1E430FC3D793}"/>
              </a:ext>
              <a:ext uri="{C183D7F6-B498-43B3-948B-1728B52AA6E4}">
                <adec:decorative xmlns:adec="http://schemas.microsoft.com/office/drawing/2017/decorative" val="1"/>
              </a:ext>
            </a:extLst>
          </p:cNvPr>
          <p:cNvSpPr/>
          <p:nvPr/>
        </p:nvSpPr>
        <p:spPr bwMode="auto">
          <a:xfrm>
            <a:off x="0" y="-1806"/>
            <a:ext cx="12192000" cy="853975"/>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 name="Title 61">
            <a:extLst>
              <a:ext uri="{FF2B5EF4-FFF2-40B4-BE49-F238E27FC236}">
                <a16:creationId xmlns:a16="http://schemas.microsoft.com/office/drawing/2014/main" id="{41D7FB24-6AD6-DB9E-FFCD-588F980E8F47}"/>
              </a:ext>
            </a:extLst>
          </p:cNvPr>
          <p:cNvSpPr txBox="1">
            <a:spLocks/>
          </p:cNvSpPr>
          <p:nvPr/>
        </p:nvSpPr>
        <p:spPr>
          <a:xfrm>
            <a:off x="73478" y="-1806"/>
            <a:ext cx="4338176" cy="373100"/>
          </a:xfrm>
          <a:prstGeom prst="rect">
            <a:avLst/>
          </a:prstGeom>
        </p:spPr>
        <p:txBody>
          <a:bodyPr/>
          <a:lstStyle>
            <a:lvl1pPr algn="l" defTabSz="932742" rtl="0" eaLnBrk="1" latinLnBrk="0" hangingPunct="1">
              <a:lnSpc>
                <a:spcPct val="100000"/>
              </a:lnSpc>
              <a:spcBef>
                <a:spcPct val="0"/>
              </a:spcBef>
              <a:buNone/>
              <a:defRPr lang="en-US" sz="2000" b="0" kern="1200" cap="none" spc="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dirty="0">
                <a:ln w="3175">
                  <a:noFill/>
                </a:ln>
                <a:solidFill>
                  <a:schemeClr val="bg1"/>
                </a:solidFill>
                <a:effectLst/>
                <a:uLnTx/>
                <a:uFillTx/>
                <a:latin typeface="Aptos SemiBold"/>
                <a:ea typeface="+mn-ea"/>
                <a:cs typeface="Segoe UI" pitchFamily="34" charset="0"/>
              </a:rPr>
              <a:t>AI Use Cases Discovery</a:t>
            </a:r>
          </a:p>
        </p:txBody>
      </p:sp>
      <p:sp>
        <p:nvSpPr>
          <p:cNvPr id="4" name="Titel 1">
            <a:extLst>
              <a:ext uri="{FF2B5EF4-FFF2-40B4-BE49-F238E27FC236}">
                <a16:creationId xmlns:a16="http://schemas.microsoft.com/office/drawing/2014/main" id="{5B37C216-2900-617A-3A68-E8C71F39D530}"/>
              </a:ext>
            </a:extLst>
          </p:cNvPr>
          <p:cNvSpPr txBox="1">
            <a:spLocks/>
          </p:cNvSpPr>
          <p:nvPr/>
        </p:nvSpPr>
        <p:spPr>
          <a:xfrm>
            <a:off x="73480" y="375546"/>
            <a:ext cx="3829050" cy="184666"/>
          </a:xfrm>
          <a:prstGeom prst="rect">
            <a:avLst/>
          </a:prstGeom>
        </p:spPr>
        <p:txBody>
          <a:bodyPr vert="horz" wrap="square" lIns="0" tIns="0" rIns="0" bIns="0" rtlCol="0" anchor="ctr">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200" b="0" i="0" u="none" strike="noStrike" kern="1200" cap="none" spc="0" normalizeH="0" baseline="0" noProof="0">
                <a:ln w="3175">
                  <a:noFill/>
                </a:ln>
                <a:solidFill>
                  <a:schemeClr val="bg1"/>
                </a:solidFill>
                <a:effectLst/>
                <a:uLnTx/>
                <a:uFillTx/>
                <a:latin typeface="Segoe UI Semibold"/>
                <a:ea typeface="+mn-ea"/>
                <a:cs typeface="Segoe UI" pitchFamily="34" charset="0"/>
              </a:rPr>
              <a:t>Customer: (Contoso Health)</a:t>
            </a:r>
          </a:p>
        </p:txBody>
      </p:sp>
      <p:sp>
        <p:nvSpPr>
          <p:cNvPr id="12" name="Rectangle 11">
            <a:extLst>
              <a:ext uri="{FF2B5EF4-FFF2-40B4-BE49-F238E27FC236}">
                <a16:creationId xmlns:a16="http://schemas.microsoft.com/office/drawing/2014/main" id="{7E4DAA95-4C9C-9A19-1109-321975AA169F}"/>
              </a:ext>
            </a:extLst>
          </p:cNvPr>
          <p:cNvSpPr>
            <a:spLocks/>
          </p:cNvSpPr>
          <p:nvPr/>
        </p:nvSpPr>
        <p:spPr bwMode="auto">
          <a:xfrm>
            <a:off x="73478" y="885000"/>
            <a:ext cx="11825371" cy="5806316"/>
          </a:xfrm>
          <a:prstGeom prst="rect">
            <a:avLst/>
          </a:prstGeom>
          <a:solidFill>
            <a:schemeClr val="bg1">
              <a:alpha val="99000"/>
            </a:schemeClr>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endParaRPr kumimoji="0" lang="en-US" sz="1000" b="1" i="0" u="none" strike="noStrike" kern="1200" cap="none" spc="0" normalizeH="0" baseline="0" noProof="0">
              <a:ln>
                <a:noFill/>
              </a:ln>
              <a:solidFill>
                <a:srgbClr val="000000"/>
              </a:solidFill>
              <a:effectLst/>
              <a:uLnTx/>
              <a:uFillTx/>
              <a:latin typeface="Aptos"/>
              <a:ea typeface="+mn-ea"/>
              <a:cs typeface="+mn-cs"/>
            </a:endParaRP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ptos"/>
                <a:ea typeface="+mn-ea"/>
                <a:cs typeface="+mn-cs"/>
              </a:rPr>
              <a:t>Business Scenario (1) :  </a:t>
            </a:r>
            <a:r>
              <a:rPr kumimoji="0" lang="en-US" sz="1000" b="0" i="0" u="none" strike="noStrike" kern="1200" cap="none" spc="0" normalizeH="0" baseline="0" noProof="0">
                <a:ln>
                  <a:noFill/>
                </a:ln>
                <a:solidFill>
                  <a:srgbClr val="000000">
                    <a:lumMod val="65000"/>
                    <a:lumOff val="35000"/>
                  </a:srgbClr>
                </a:solidFill>
                <a:effectLst/>
                <a:uLnTx/>
                <a:uFillTx/>
                <a:latin typeface="Aptos"/>
                <a:ea typeface="+mn-ea"/>
                <a:cs typeface="+mn-cs"/>
              </a:rPr>
              <a:t>Increased revenue generation by ensuring optimal pricing for Oso One IFP insurance plans is available to potential clients on the marketplace annually.  Currently analysts manually review and ingest competitor data which is very costly and time consuming. </a:t>
            </a:r>
          </a:p>
          <a:p>
            <a:pPr marL="0" marR="0" lvl="0" indent="0" algn="l" defTabSz="914400" rtl="0" eaLnBrk="1" fontAlgn="auto" latinLnBrk="0" hangingPunct="1">
              <a:lnSpc>
                <a:spcPct val="100000"/>
              </a:lnSpc>
              <a:spcBef>
                <a:spcPts val="0"/>
              </a:spcBef>
              <a:spcAft>
                <a:spcPts val="200"/>
              </a:spcAft>
              <a:buClrTx/>
              <a:buSzTx/>
              <a:buFontTx/>
              <a:buNone/>
              <a:tabLst/>
              <a:defRPr/>
            </a:pPr>
            <a:endParaRPr lang="en-US" sz="1000">
              <a:solidFill>
                <a:srgbClr val="000000">
                  <a:lumMod val="65000"/>
                  <a:lumOff val="35000"/>
                </a:srgbClr>
              </a:solidFill>
              <a:latin typeface="Aptos"/>
            </a:endParaRPr>
          </a:p>
          <a:p>
            <a:pPr defTabSz="914400">
              <a:spcAft>
                <a:spcPts val="200"/>
              </a:spcAft>
              <a:defRPr/>
            </a:pPr>
            <a:r>
              <a:rPr kumimoji="0" lang="en-US" sz="1000" b="1" i="0" u="none" strike="noStrike" kern="1200" cap="none" spc="0" normalizeH="0" baseline="0" noProof="0">
                <a:ln>
                  <a:noFill/>
                </a:ln>
                <a:solidFill>
                  <a:srgbClr val="000000"/>
                </a:solidFill>
                <a:effectLst/>
                <a:uLnTx/>
                <a:uFillTx/>
                <a:latin typeface="Aptos"/>
                <a:ea typeface="+mn-ea"/>
                <a:cs typeface="+mn-cs"/>
              </a:rPr>
              <a:t>Business Scenario (2) :</a:t>
            </a:r>
            <a:r>
              <a:rPr kumimoji="0" lang="en-US" sz="1000" i="0" u="none" strike="noStrike" kern="1200" cap="none" spc="0" normalizeH="0" baseline="0" noProof="0">
                <a:ln>
                  <a:noFill/>
                </a:ln>
                <a:solidFill>
                  <a:srgbClr val="000000"/>
                </a:solidFill>
                <a:effectLst/>
                <a:uLnTx/>
                <a:uFillTx/>
                <a:latin typeface="Aptos"/>
                <a:ea typeface="+mn-ea"/>
                <a:cs typeface="+mn-cs"/>
              </a:rPr>
              <a:t>  B</a:t>
            </a:r>
            <a:r>
              <a:rPr kumimoji="0" lang="en-US" sz="1000" b="0" i="0" u="none" strike="noStrike" kern="1200" cap="none" spc="0" normalizeH="0" baseline="0" noProof="0">
                <a:ln>
                  <a:noFill/>
                </a:ln>
                <a:solidFill>
                  <a:srgbClr val="000000">
                    <a:lumMod val="65000"/>
                    <a:lumOff val="35000"/>
                  </a:srgbClr>
                </a:solidFill>
                <a:effectLst/>
                <a:uLnTx/>
                <a:uFillTx/>
                <a:latin typeface="Aptos"/>
                <a:ea typeface="+mn-ea"/>
                <a:cs typeface="+mn-cs"/>
              </a:rPr>
              <a:t>usiness scenario</a:t>
            </a:r>
            <a:r>
              <a:rPr lang="en-US" sz="1000">
                <a:solidFill>
                  <a:srgbClr val="000000">
                    <a:lumMod val="65000"/>
                    <a:lumOff val="35000"/>
                  </a:srgbClr>
                </a:solidFill>
                <a:latin typeface="Aptos"/>
              </a:rPr>
              <a:t> description.</a:t>
            </a:r>
            <a:r>
              <a:rPr kumimoji="0" lang="en-US" sz="1000" b="0" i="0" u="none" strike="noStrike" kern="1200" cap="none" spc="0" normalizeH="0" baseline="0" noProof="0">
                <a:ln>
                  <a:noFill/>
                </a:ln>
                <a:solidFill>
                  <a:srgbClr val="000000">
                    <a:lumMod val="65000"/>
                    <a:lumOff val="35000"/>
                  </a:srgbClr>
                </a:solidFill>
                <a:effectLst/>
                <a:uLnTx/>
                <a:uFillTx/>
                <a:latin typeface="Aptos"/>
                <a:ea typeface="+mn-ea"/>
                <a:cs typeface="+mn-cs"/>
              </a:rPr>
              <a:t> </a:t>
            </a:r>
          </a:p>
          <a:p>
            <a:pPr marL="0" marR="0" lvl="0" indent="0" algn="l" defTabSz="914400" rtl="0" eaLnBrk="1" fontAlgn="auto" latinLnBrk="0" hangingPunct="1">
              <a:lnSpc>
                <a:spcPct val="100000"/>
              </a:lnSpc>
              <a:spcBef>
                <a:spcPts val="0"/>
              </a:spcBef>
              <a:spcAft>
                <a:spcPts val="200"/>
              </a:spcAft>
              <a:buClrTx/>
              <a:buSzTx/>
              <a:buFontTx/>
              <a:buNone/>
              <a:tabLst/>
              <a:defRPr/>
            </a:pPr>
            <a:endParaRPr kumimoji="0" lang="en-US" sz="1000" b="0" i="0" u="none" strike="noStrike" kern="1200" cap="none" spc="0" normalizeH="0" baseline="0" noProof="0">
              <a:ln>
                <a:noFill/>
              </a:ln>
              <a:solidFill>
                <a:srgbClr val="000000">
                  <a:lumMod val="65000"/>
                  <a:lumOff val="35000"/>
                </a:srgbClr>
              </a:solidFill>
              <a:effectLst/>
              <a:uLnTx/>
              <a:uFillTx/>
              <a:latin typeface="Aptos"/>
              <a:ea typeface="+mn-ea"/>
              <a:cs typeface="+mn-cs"/>
            </a:endParaRPr>
          </a:p>
          <a:p>
            <a:pPr marL="0" marR="0" lvl="0" indent="0" algn="l" defTabSz="914400" rtl="0" eaLnBrk="1" fontAlgn="auto" latinLnBrk="0" hangingPunct="1">
              <a:lnSpc>
                <a:spcPct val="100000"/>
              </a:lnSpc>
              <a:spcBef>
                <a:spcPts val="0"/>
              </a:spcBef>
              <a:spcAft>
                <a:spcPts val="200"/>
              </a:spcAft>
              <a:buClrTx/>
              <a:buSzTx/>
              <a:buFontTx/>
              <a:buNone/>
              <a:tabLst/>
              <a:defRPr/>
            </a:pPr>
            <a:endParaRPr lang="en-US" sz="1000">
              <a:solidFill>
                <a:srgbClr val="000000">
                  <a:lumMod val="65000"/>
                  <a:lumOff val="35000"/>
                </a:srgbClr>
              </a:solidFill>
              <a:latin typeface="Aptos"/>
            </a:endParaRPr>
          </a:p>
          <a:p>
            <a:pPr defTabSz="914400">
              <a:spcAft>
                <a:spcPts val="200"/>
              </a:spcAft>
              <a:defRPr/>
            </a:pPr>
            <a:r>
              <a:rPr kumimoji="0" lang="en-US" sz="1000" b="1" i="0" u="none" strike="noStrike" kern="1200" cap="none" spc="0" normalizeH="0" baseline="0" noProof="0">
                <a:ln>
                  <a:noFill/>
                </a:ln>
                <a:solidFill>
                  <a:srgbClr val="000000"/>
                </a:solidFill>
                <a:effectLst/>
                <a:uLnTx/>
                <a:uFillTx/>
                <a:latin typeface="Aptos"/>
                <a:ea typeface="+mn-ea"/>
                <a:cs typeface="+mn-cs"/>
              </a:rPr>
              <a:t>Business Scenario (3) : </a:t>
            </a:r>
            <a:r>
              <a:rPr kumimoji="0" lang="en-US" sz="1000" i="0" u="none" strike="noStrike" kern="1200" cap="none" spc="0" normalizeH="0" baseline="0" noProof="0">
                <a:ln>
                  <a:noFill/>
                </a:ln>
                <a:solidFill>
                  <a:srgbClr val="000000"/>
                </a:solidFill>
                <a:effectLst/>
                <a:uLnTx/>
                <a:uFillTx/>
                <a:latin typeface="Aptos"/>
                <a:ea typeface="+mn-ea"/>
                <a:cs typeface="+mn-cs"/>
              </a:rPr>
              <a:t>B</a:t>
            </a:r>
            <a:r>
              <a:rPr kumimoji="0" lang="en-US" sz="1000" b="0" i="0" u="none" strike="noStrike" kern="1200" cap="none" spc="0" normalizeH="0" baseline="0" noProof="0">
                <a:ln>
                  <a:noFill/>
                </a:ln>
                <a:solidFill>
                  <a:srgbClr val="000000">
                    <a:lumMod val="65000"/>
                    <a:lumOff val="35000"/>
                  </a:srgbClr>
                </a:solidFill>
                <a:effectLst/>
                <a:uLnTx/>
                <a:uFillTx/>
                <a:latin typeface="Aptos"/>
                <a:ea typeface="+mn-ea"/>
                <a:cs typeface="+mn-cs"/>
              </a:rPr>
              <a:t>usiness scenario</a:t>
            </a:r>
            <a:r>
              <a:rPr lang="en-US" sz="1000">
                <a:solidFill>
                  <a:srgbClr val="000000">
                    <a:lumMod val="65000"/>
                    <a:lumOff val="35000"/>
                  </a:srgbClr>
                </a:solidFill>
                <a:latin typeface="Aptos"/>
              </a:rPr>
              <a:t> description.</a:t>
            </a:r>
            <a:endParaRPr kumimoji="0" lang="en-US" sz="1000" b="0" i="0" u="none" strike="noStrike" kern="1200" cap="none" spc="0" normalizeH="0" baseline="0" noProof="0">
              <a:ln>
                <a:noFill/>
              </a:ln>
              <a:solidFill>
                <a:srgbClr val="000000">
                  <a:lumMod val="65000"/>
                  <a:lumOff val="35000"/>
                </a:srgbClr>
              </a:solidFill>
              <a:effectLst/>
              <a:uLnTx/>
              <a:uFillTx/>
              <a:latin typeface="Aptos"/>
              <a:ea typeface="+mn-ea"/>
              <a:cs typeface="+mn-cs"/>
            </a:endParaRPr>
          </a:p>
          <a:p>
            <a:pPr marL="0" marR="0" lvl="0" indent="0" algn="l" defTabSz="914400" rtl="0" eaLnBrk="1" fontAlgn="auto" latinLnBrk="0" hangingPunct="1">
              <a:lnSpc>
                <a:spcPct val="100000"/>
              </a:lnSpc>
              <a:spcBef>
                <a:spcPts val="0"/>
              </a:spcBef>
              <a:spcAft>
                <a:spcPts val="200"/>
              </a:spcAft>
              <a:buClrTx/>
              <a:buSzTx/>
              <a:buFontTx/>
              <a:buNone/>
              <a:tabLst/>
              <a:defRPr/>
            </a:pPr>
            <a:endParaRPr lang="en-US" sz="1000">
              <a:solidFill>
                <a:srgbClr val="000000">
                  <a:lumMod val="65000"/>
                  <a:lumOff val="35000"/>
                </a:srgbClr>
              </a:solidFill>
              <a:latin typeface="Aptos"/>
            </a:endParaRPr>
          </a:p>
          <a:p>
            <a:pPr defTabSz="914400">
              <a:spcAft>
                <a:spcPts val="200"/>
              </a:spcAft>
              <a:defRPr/>
            </a:pPr>
            <a:r>
              <a:rPr kumimoji="0" lang="en-US" sz="1000" b="1" i="0" u="none" strike="noStrike" kern="1200" cap="none" spc="0" normalizeH="0" baseline="0" noProof="0">
                <a:ln>
                  <a:noFill/>
                </a:ln>
                <a:solidFill>
                  <a:srgbClr val="000000"/>
                </a:solidFill>
                <a:effectLst/>
                <a:uLnTx/>
                <a:uFillTx/>
                <a:latin typeface="Aptos"/>
                <a:ea typeface="+mn-ea"/>
                <a:cs typeface="+mn-cs"/>
              </a:rPr>
              <a:t>Business Scenario (4) : </a:t>
            </a:r>
            <a:r>
              <a:rPr kumimoji="0" lang="en-US" sz="1000" i="0" u="none" strike="noStrike" kern="1200" cap="none" spc="0" normalizeH="0" baseline="0" noProof="0">
                <a:ln>
                  <a:noFill/>
                </a:ln>
                <a:solidFill>
                  <a:srgbClr val="000000"/>
                </a:solidFill>
                <a:effectLst/>
                <a:uLnTx/>
                <a:uFillTx/>
                <a:latin typeface="Aptos"/>
                <a:ea typeface="+mn-ea"/>
                <a:cs typeface="+mn-cs"/>
              </a:rPr>
              <a:t>B</a:t>
            </a:r>
            <a:r>
              <a:rPr kumimoji="0" lang="en-US" sz="1000" b="0" i="0" u="none" strike="noStrike" kern="1200" cap="none" spc="0" normalizeH="0" baseline="0" noProof="0">
                <a:ln>
                  <a:noFill/>
                </a:ln>
                <a:solidFill>
                  <a:srgbClr val="000000">
                    <a:lumMod val="65000"/>
                    <a:lumOff val="35000"/>
                  </a:srgbClr>
                </a:solidFill>
                <a:effectLst/>
                <a:uLnTx/>
                <a:uFillTx/>
                <a:latin typeface="Aptos"/>
                <a:ea typeface="+mn-ea"/>
                <a:cs typeface="+mn-cs"/>
              </a:rPr>
              <a:t>usiness scenario</a:t>
            </a:r>
            <a:r>
              <a:rPr lang="en-US" sz="1000">
                <a:solidFill>
                  <a:srgbClr val="000000">
                    <a:lumMod val="65000"/>
                    <a:lumOff val="35000"/>
                  </a:srgbClr>
                </a:solidFill>
                <a:latin typeface="Aptos"/>
              </a:rPr>
              <a:t> description.</a:t>
            </a:r>
            <a:endParaRPr kumimoji="0" lang="en-US" sz="1000" b="0" i="0" u="none" strike="noStrike" kern="1200" cap="none" spc="0" normalizeH="0" baseline="0" noProof="0">
              <a:ln>
                <a:noFill/>
              </a:ln>
              <a:solidFill>
                <a:srgbClr val="000000">
                  <a:lumMod val="65000"/>
                  <a:lumOff val="35000"/>
                </a:srgbClr>
              </a:solidFill>
              <a:effectLst/>
              <a:uLnTx/>
              <a:uFillTx/>
              <a:latin typeface="Aptos"/>
              <a:ea typeface="+mn-ea"/>
              <a:cs typeface="+mn-cs"/>
            </a:endParaRPr>
          </a:p>
          <a:p>
            <a:pPr marL="0" marR="0" lvl="0" indent="0" algn="l" defTabSz="914400" rtl="0" eaLnBrk="1" fontAlgn="auto" latinLnBrk="0" hangingPunct="1">
              <a:lnSpc>
                <a:spcPct val="100000"/>
              </a:lnSpc>
              <a:spcBef>
                <a:spcPts val="0"/>
              </a:spcBef>
              <a:spcAft>
                <a:spcPts val="200"/>
              </a:spcAft>
              <a:buClrTx/>
              <a:buSzTx/>
              <a:buFontTx/>
              <a:buNone/>
              <a:tabLst/>
              <a:defRPr/>
            </a:pPr>
            <a:endParaRPr kumimoji="0" lang="en-US" sz="1000" b="0" i="0" u="none" strike="noStrike" kern="1200" cap="none" spc="0" normalizeH="0" baseline="0" noProof="0">
              <a:ln>
                <a:noFill/>
              </a:ln>
              <a:solidFill>
                <a:srgbClr val="000000">
                  <a:lumMod val="65000"/>
                  <a:lumOff val="35000"/>
                </a:srgbClr>
              </a:solidFill>
              <a:effectLst/>
              <a:uLnTx/>
              <a:uFillTx/>
              <a:latin typeface="Aptos"/>
              <a:ea typeface="+mn-ea"/>
              <a:cs typeface="+mn-cs"/>
            </a:endParaRPr>
          </a:p>
          <a:p>
            <a:pPr marL="0" marR="0" lvl="0" indent="0" algn="l" defTabSz="914400" rtl="0" eaLnBrk="1" fontAlgn="auto" latinLnBrk="0" hangingPunct="1">
              <a:lnSpc>
                <a:spcPct val="100000"/>
              </a:lnSpc>
              <a:spcBef>
                <a:spcPts val="0"/>
              </a:spcBef>
              <a:spcAft>
                <a:spcPts val="200"/>
              </a:spcAft>
              <a:buClrTx/>
              <a:buSzTx/>
              <a:buFontTx/>
              <a:buNone/>
              <a:tabLst/>
              <a:defRPr/>
            </a:pPr>
            <a:endParaRPr lang="en-US" sz="1000">
              <a:solidFill>
                <a:srgbClr val="000000">
                  <a:lumMod val="65000"/>
                  <a:lumOff val="35000"/>
                </a:srgbClr>
              </a:solidFill>
              <a:latin typeface="Aptos"/>
            </a:endParaRPr>
          </a:p>
          <a:p>
            <a:pPr defTabSz="914400">
              <a:spcAft>
                <a:spcPts val="200"/>
              </a:spcAft>
              <a:defRPr/>
            </a:pPr>
            <a:r>
              <a:rPr kumimoji="0" lang="en-US" sz="1000" b="1" i="0" u="none" strike="noStrike" kern="1200" cap="none" spc="0" normalizeH="0" baseline="0" noProof="0">
                <a:ln>
                  <a:noFill/>
                </a:ln>
                <a:solidFill>
                  <a:srgbClr val="000000"/>
                </a:solidFill>
                <a:effectLst/>
                <a:uLnTx/>
                <a:uFillTx/>
                <a:latin typeface="Aptos"/>
                <a:ea typeface="+mn-ea"/>
                <a:cs typeface="+mn-cs"/>
              </a:rPr>
              <a:t>Business Scenario (5) : </a:t>
            </a:r>
            <a:r>
              <a:rPr kumimoji="0" lang="en-US" sz="1000" i="0" u="none" strike="noStrike" kern="1200" cap="none" spc="0" normalizeH="0" baseline="0" noProof="0">
                <a:ln>
                  <a:noFill/>
                </a:ln>
                <a:solidFill>
                  <a:srgbClr val="000000"/>
                </a:solidFill>
                <a:effectLst/>
                <a:uLnTx/>
                <a:uFillTx/>
                <a:latin typeface="Aptos"/>
                <a:ea typeface="+mn-ea"/>
                <a:cs typeface="+mn-cs"/>
              </a:rPr>
              <a:t>B</a:t>
            </a:r>
            <a:r>
              <a:rPr kumimoji="0" lang="en-US" sz="1000" b="0" i="0" u="none" strike="noStrike" kern="1200" cap="none" spc="0" normalizeH="0" baseline="0" noProof="0">
                <a:ln>
                  <a:noFill/>
                </a:ln>
                <a:solidFill>
                  <a:srgbClr val="000000">
                    <a:lumMod val="65000"/>
                    <a:lumOff val="35000"/>
                  </a:srgbClr>
                </a:solidFill>
                <a:effectLst/>
                <a:uLnTx/>
                <a:uFillTx/>
                <a:latin typeface="Aptos"/>
                <a:ea typeface="+mn-ea"/>
                <a:cs typeface="+mn-cs"/>
              </a:rPr>
              <a:t>usiness scenario</a:t>
            </a:r>
            <a:r>
              <a:rPr lang="en-US" sz="1000">
                <a:solidFill>
                  <a:srgbClr val="000000">
                    <a:lumMod val="65000"/>
                    <a:lumOff val="35000"/>
                  </a:srgbClr>
                </a:solidFill>
                <a:latin typeface="Aptos"/>
              </a:rPr>
              <a:t> description.</a:t>
            </a:r>
            <a:endParaRPr kumimoji="0" lang="en-US" sz="1000" b="0" i="0" u="none" strike="noStrike" kern="1200" cap="none" spc="0" normalizeH="0" baseline="0" noProof="0">
              <a:ln>
                <a:noFill/>
              </a:ln>
              <a:solidFill>
                <a:srgbClr val="000000">
                  <a:lumMod val="65000"/>
                  <a:lumOff val="35000"/>
                </a:srgbClr>
              </a:solidFill>
              <a:effectLst/>
              <a:uLnTx/>
              <a:uFillTx/>
              <a:latin typeface="Aptos"/>
              <a:ea typeface="+mn-ea"/>
              <a:cs typeface="+mn-cs"/>
            </a:endParaRPr>
          </a:p>
          <a:p>
            <a:pPr marL="0" marR="0" lvl="0" indent="0" algn="l" defTabSz="914400" rtl="0" eaLnBrk="1" fontAlgn="auto" latinLnBrk="0" hangingPunct="1">
              <a:lnSpc>
                <a:spcPct val="100000"/>
              </a:lnSpc>
              <a:spcBef>
                <a:spcPts val="0"/>
              </a:spcBef>
              <a:spcAft>
                <a:spcPts val="200"/>
              </a:spcAft>
              <a:buClrTx/>
              <a:buSzTx/>
              <a:buFontTx/>
              <a:buNone/>
              <a:tabLst/>
              <a:defRPr/>
            </a:pPr>
            <a:endParaRPr kumimoji="0" lang="en-US" sz="900" b="0" i="0" u="none" strike="noStrike" kern="1200" cap="none" spc="0" normalizeH="0" baseline="0" noProof="0">
              <a:ln>
                <a:noFill/>
              </a:ln>
              <a:solidFill>
                <a:srgbClr val="000000">
                  <a:lumMod val="65000"/>
                  <a:lumOff val="35000"/>
                </a:srgbClr>
              </a:solidFill>
              <a:effectLst/>
              <a:uLnTx/>
              <a:uFillTx/>
              <a:latin typeface="Aptos"/>
              <a:ea typeface="+mn-ea"/>
              <a:cs typeface="+mn-cs"/>
            </a:endParaRPr>
          </a:p>
        </p:txBody>
      </p:sp>
      <p:sp>
        <p:nvSpPr>
          <p:cNvPr id="13" name="Textplatzhalter 2">
            <a:extLst>
              <a:ext uri="{FF2B5EF4-FFF2-40B4-BE49-F238E27FC236}">
                <a16:creationId xmlns:a16="http://schemas.microsoft.com/office/drawing/2014/main" id="{486EDFAD-DC1B-4196-2B7F-9A3CCC9A2284}"/>
              </a:ext>
            </a:extLst>
          </p:cNvPr>
          <p:cNvSpPr txBox="1">
            <a:spLocks/>
          </p:cNvSpPr>
          <p:nvPr/>
        </p:nvSpPr>
        <p:spPr>
          <a:xfrm>
            <a:off x="4959803" y="133545"/>
            <a:ext cx="4192361" cy="373100"/>
          </a:xfrm>
          <a:prstGeom prst="rect">
            <a:avLst/>
          </a:prstGeom>
        </p:spPr>
        <p:txBody>
          <a:bodyPr lIns="0" tIns="0" rIns="0" bIns="0" anchor="t"/>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000" b="0" i="0" u="none" strike="noStrike" kern="1200" cap="none" spc="0" normalizeH="0" baseline="0" noProof="0">
                <a:ln>
                  <a:noFill/>
                </a:ln>
                <a:solidFill>
                  <a:schemeClr val="bg1"/>
                </a:solidFill>
                <a:effectLst/>
                <a:uLnTx/>
                <a:uFillTx/>
                <a:latin typeface="Segoe UI Semibold"/>
                <a:ea typeface="+mn-ea"/>
                <a:cs typeface="Segoe UI" panose="020B0502040204020203" pitchFamily="34" charset="0"/>
              </a:rPr>
              <a:t>Aligned Strategic Priority:</a:t>
            </a:r>
          </a:p>
        </p:txBody>
      </p:sp>
      <p:sp>
        <p:nvSpPr>
          <p:cNvPr id="6" name="Titel 1">
            <a:extLst>
              <a:ext uri="{FF2B5EF4-FFF2-40B4-BE49-F238E27FC236}">
                <a16:creationId xmlns:a16="http://schemas.microsoft.com/office/drawing/2014/main" id="{2463B6BF-33B1-FF20-7E85-A922598DAD45}"/>
              </a:ext>
            </a:extLst>
          </p:cNvPr>
          <p:cNvSpPr txBox="1">
            <a:spLocks/>
          </p:cNvSpPr>
          <p:nvPr/>
        </p:nvSpPr>
        <p:spPr>
          <a:xfrm>
            <a:off x="73479" y="631203"/>
            <a:ext cx="8432568" cy="184666"/>
          </a:xfrm>
          <a:prstGeom prst="rect">
            <a:avLst/>
          </a:prstGeom>
        </p:spPr>
        <p:txBody>
          <a:bodyPr vert="horz" wrap="square" lIns="0" tIns="0" rIns="0" bIns="0" rtlCol="0" anchor="ctr">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200" b="0" i="0" u="none" strike="noStrike" kern="1200" cap="none" spc="0" normalizeH="0" baseline="0" noProof="0">
                <a:ln w="3175">
                  <a:noFill/>
                </a:ln>
                <a:solidFill>
                  <a:schemeClr val="bg1"/>
                </a:solidFill>
                <a:effectLst/>
                <a:uLnTx/>
                <a:uFillTx/>
                <a:latin typeface="Segoe UI Semibold"/>
                <a:ea typeface="+mn-ea"/>
                <a:cs typeface="Segoe UI" pitchFamily="34" charset="0"/>
              </a:rPr>
              <a:t>Business Process Challenge: (Need to understand, anticipate and proactively respond to competitor pricing action)</a:t>
            </a:r>
          </a:p>
        </p:txBody>
      </p:sp>
      <p:sp>
        <p:nvSpPr>
          <p:cNvPr id="5" name="Textplatzhalter 2">
            <a:extLst>
              <a:ext uri="{FF2B5EF4-FFF2-40B4-BE49-F238E27FC236}">
                <a16:creationId xmlns:a16="http://schemas.microsoft.com/office/drawing/2014/main" id="{ADA7A35F-F4E6-24EF-00DC-D14DBA86BE19}"/>
              </a:ext>
            </a:extLst>
          </p:cNvPr>
          <p:cNvSpPr txBox="1">
            <a:spLocks/>
          </p:cNvSpPr>
          <p:nvPr/>
        </p:nvSpPr>
        <p:spPr>
          <a:xfrm>
            <a:off x="9380764" y="130060"/>
            <a:ext cx="2622096" cy="646934"/>
          </a:xfrm>
          <a:prstGeom prst="rect">
            <a:avLst/>
          </a:prstGeom>
        </p:spPr>
        <p:txBody>
          <a:bodyPr lIns="0" tIns="0" rIns="0" bIns="0" anchor="t"/>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900" b="0" i="0" u="none" strike="noStrike" kern="1200" cap="none" spc="0" normalizeH="0" baseline="0" noProof="0">
                <a:ln>
                  <a:noFill/>
                </a:ln>
                <a:solidFill>
                  <a:schemeClr val="bg1"/>
                </a:solidFill>
                <a:effectLst/>
                <a:uLnTx/>
                <a:uFillTx/>
                <a:latin typeface="Segoe UI Semibold"/>
                <a:ea typeface="+mn-ea"/>
                <a:cs typeface="Segoe UI" panose="020B0502040204020203" pitchFamily="34" charset="0"/>
              </a:rPr>
              <a:t>Business Scenario Prioritization</a:t>
            </a:r>
          </a:p>
          <a:p>
            <a:pPr marL="228600" marR="0" lvl="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AutoNum type="arabicPeriod"/>
              <a:tabLst/>
              <a:defRPr/>
            </a:pPr>
            <a:r>
              <a:rPr kumimoji="0" lang="en-US" sz="900" b="0" i="0" u="none" strike="noStrike" kern="1200" cap="none" spc="0" normalizeH="0" baseline="0" noProof="0">
                <a:ln>
                  <a:noFill/>
                </a:ln>
                <a:solidFill>
                  <a:schemeClr val="bg1"/>
                </a:solidFill>
                <a:effectLst/>
                <a:uLnTx/>
                <a:uFillTx/>
                <a:latin typeface="Segoe UI Semibold"/>
                <a:ea typeface="+mn-ea"/>
                <a:cs typeface="Segoe UI" panose="020B0502040204020203" pitchFamily="34" charset="0"/>
              </a:rPr>
              <a:t>Business Value:  L to H (1 – 5)</a:t>
            </a:r>
          </a:p>
          <a:p>
            <a:pPr marL="228600" marR="0" lvl="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AutoNum type="arabicPeriod"/>
              <a:tabLst/>
              <a:defRPr/>
            </a:pPr>
            <a:r>
              <a:rPr kumimoji="0" lang="en-US" sz="900" b="0" i="0" u="none" strike="noStrike" kern="1200" cap="none" spc="0" normalizeH="0" baseline="0" noProof="0">
                <a:ln>
                  <a:noFill/>
                </a:ln>
                <a:solidFill>
                  <a:schemeClr val="bg1"/>
                </a:solidFill>
                <a:effectLst/>
                <a:uLnTx/>
                <a:uFillTx/>
                <a:latin typeface="Segoe UI Semibold"/>
                <a:ea typeface="+mn-ea"/>
                <a:cs typeface="Segoe UI" panose="020B0502040204020203" pitchFamily="34" charset="0"/>
              </a:rPr>
              <a:t>Implementation Effort: H to L (1 – 5) </a:t>
            </a:r>
          </a:p>
        </p:txBody>
      </p:sp>
      <p:pic>
        <p:nvPicPr>
          <p:cNvPr id="8" name="Picture 7">
            <a:extLst>
              <a:ext uri="{FF2B5EF4-FFF2-40B4-BE49-F238E27FC236}">
                <a16:creationId xmlns:a16="http://schemas.microsoft.com/office/drawing/2014/main" id="{D7683ADE-F33B-8FE7-9720-1A9196D95378}"/>
              </a:ext>
            </a:extLst>
          </p:cNvPr>
          <p:cNvPicPr>
            <a:picLocks noChangeAspect="1"/>
          </p:cNvPicPr>
          <p:nvPr/>
        </p:nvPicPr>
        <p:blipFill>
          <a:blip r:embed="rId2"/>
          <a:srcRect/>
          <a:stretch/>
        </p:blipFill>
        <p:spPr>
          <a:xfrm>
            <a:off x="6872766" y="121153"/>
            <a:ext cx="2279398" cy="366785"/>
          </a:xfrm>
          <a:prstGeom prst="rect">
            <a:avLst/>
          </a:prstGeom>
          <a:ln>
            <a:solidFill>
              <a:srgbClr val="9BF00B"/>
            </a:solidFill>
          </a:ln>
        </p:spPr>
      </p:pic>
    </p:spTree>
    <p:extLst>
      <p:ext uri="{BB962C8B-B14F-4D97-AF65-F5344CB8AC3E}">
        <p14:creationId xmlns:p14="http://schemas.microsoft.com/office/powerpoint/2010/main" val="3621679924"/>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A00EAC9-804C-3F99-DB92-1E430FC3D793}"/>
              </a:ext>
              <a:ext uri="{C183D7F6-B498-43B3-948B-1728B52AA6E4}">
                <adec:decorative xmlns:adec="http://schemas.microsoft.com/office/drawing/2017/decorative" val="1"/>
              </a:ext>
            </a:extLst>
          </p:cNvPr>
          <p:cNvSpPr/>
          <p:nvPr/>
        </p:nvSpPr>
        <p:spPr bwMode="auto">
          <a:xfrm>
            <a:off x="0" y="-1806"/>
            <a:ext cx="12192000" cy="853975"/>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 name="Title 61">
            <a:extLst>
              <a:ext uri="{FF2B5EF4-FFF2-40B4-BE49-F238E27FC236}">
                <a16:creationId xmlns:a16="http://schemas.microsoft.com/office/drawing/2014/main" id="{41D7FB24-6AD6-DB9E-FFCD-588F980E8F47}"/>
              </a:ext>
            </a:extLst>
          </p:cNvPr>
          <p:cNvSpPr txBox="1">
            <a:spLocks/>
          </p:cNvSpPr>
          <p:nvPr/>
        </p:nvSpPr>
        <p:spPr>
          <a:xfrm>
            <a:off x="73478" y="-1806"/>
            <a:ext cx="4338176" cy="373100"/>
          </a:xfrm>
          <a:prstGeom prst="rect">
            <a:avLst/>
          </a:prstGeom>
        </p:spPr>
        <p:txBody>
          <a:bodyPr/>
          <a:lstStyle>
            <a:lvl1pPr algn="l" defTabSz="932742" rtl="0" eaLnBrk="1" latinLnBrk="0" hangingPunct="1">
              <a:lnSpc>
                <a:spcPct val="100000"/>
              </a:lnSpc>
              <a:spcBef>
                <a:spcPct val="0"/>
              </a:spcBef>
              <a:buNone/>
              <a:defRPr lang="en-US" sz="2000" b="0" kern="1200" cap="none" spc="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dirty="0">
                <a:ln w="3175">
                  <a:noFill/>
                </a:ln>
                <a:solidFill>
                  <a:schemeClr val="bg1"/>
                </a:solidFill>
                <a:effectLst/>
                <a:uLnTx/>
                <a:uFillTx/>
                <a:latin typeface="Aptos SemiBold"/>
                <a:ea typeface="+mn-ea"/>
                <a:cs typeface="Segoe UI" pitchFamily="34" charset="0"/>
              </a:rPr>
              <a:t>AI Use Cases Discovery</a:t>
            </a:r>
          </a:p>
        </p:txBody>
      </p:sp>
      <p:sp>
        <p:nvSpPr>
          <p:cNvPr id="4" name="Titel 1">
            <a:extLst>
              <a:ext uri="{FF2B5EF4-FFF2-40B4-BE49-F238E27FC236}">
                <a16:creationId xmlns:a16="http://schemas.microsoft.com/office/drawing/2014/main" id="{5B37C216-2900-617A-3A68-E8C71F39D530}"/>
              </a:ext>
            </a:extLst>
          </p:cNvPr>
          <p:cNvSpPr txBox="1">
            <a:spLocks/>
          </p:cNvSpPr>
          <p:nvPr/>
        </p:nvSpPr>
        <p:spPr>
          <a:xfrm>
            <a:off x="73480" y="375546"/>
            <a:ext cx="3829050" cy="184666"/>
          </a:xfrm>
          <a:prstGeom prst="rect">
            <a:avLst/>
          </a:prstGeom>
        </p:spPr>
        <p:txBody>
          <a:bodyPr vert="horz" wrap="square" lIns="0" tIns="0" rIns="0" bIns="0" rtlCol="0" anchor="ctr">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200" b="0" i="0" u="none" strike="noStrike" kern="1200" cap="none" spc="0" normalizeH="0" baseline="0" noProof="0">
                <a:ln w="3175">
                  <a:noFill/>
                </a:ln>
                <a:solidFill>
                  <a:schemeClr val="bg1"/>
                </a:solidFill>
                <a:effectLst/>
                <a:uLnTx/>
                <a:uFillTx/>
                <a:latin typeface="Segoe UI Semibold"/>
                <a:ea typeface="+mn-ea"/>
                <a:cs typeface="Segoe UI" pitchFamily="34" charset="0"/>
              </a:rPr>
              <a:t>Customer: (Contoso Health)</a:t>
            </a:r>
          </a:p>
        </p:txBody>
      </p:sp>
      <p:sp>
        <p:nvSpPr>
          <p:cNvPr id="12" name="Rectangle 11">
            <a:extLst>
              <a:ext uri="{FF2B5EF4-FFF2-40B4-BE49-F238E27FC236}">
                <a16:creationId xmlns:a16="http://schemas.microsoft.com/office/drawing/2014/main" id="{7E4DAA95-4C9C-9A19-1109-321975AA169F}"/>
              </a:ext>
            </a:extLst>
          </p:cNvPr>
          <p:cNvSpPr>
            <a:spLocks/>
          </p:cNvSpPr>
          <p:nvPr/>
        </p:nvSpPr>
        <p:spPr bwMode="auto">
          <a:xfrm>
            <a:off x="73478" y="856422"/>
            <a:ext cx="11825371" cy="1088556"/>
          </a:xfrm>
          <a:prstGeom prst="rect">
            <a:avLst/>
          </a:prstGeom>
          <a:solidFill>
            <a:schemeClr val="bg1">
              <a:alpha val="99000"/>
            </a:schemeClr>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400">
              <a:spcAft>
                <a:spcPts val="200"/>
              </a:spcAft>
              <a:defRPr/>
            </a:pPr>
            <a:r>
              <a:rPr kumimoji="0" lang="en-US" sz="900" b="1" i="0" u="none" strike="noStrike" kern="1200" cap="none" spc="0" normalizeH="0" baseline="0" noProof="0">
                <a:ln>
                  <a:noFill/>
                </a:ln>
                <a:solidFill>
                  <a:srgbClr val="000000"/>
                </a:solidFill>
                <a:effectLst/>
                <a:uLnTx/>
                <a:uFillTx/>
                <a:latin typeface="Aptos"/>
                <a:ea typeface="+mn-ea"/>
                <a:cs typeface="+mn-cs"/>
              </a:rPr>
              <a:t>Business Scenario (Customer Experience Improvement):</a:t>
            </a:r>
            <a:r>
              <a:rPr kumimoji="0" lang="en-US" sz="900" i="0" u="none" strike="noStrike" kern="1200" cap="none" spc="0" normalizeH="0" baseline="0" noProof="0">
                <a:ln>
                  <a:noFill/>
                </a:ln>
                <a:solidFill>
                  <a:srgbClr val="000000"/>
                </a:solidFill>
                <a:effectLst/>
                <a:uLnTx/>
                <a:uFillTx/>
                <a:latin typeface="Aptos"/>
                <a:ea typeface="+mn-ea"/>
                <a:cs typeface="+mn-cs"/>
              </a:rPr>
              <a:t> Increased revenue generation by ensuring optimal pricing for Oso One IFP insurance plans is available to potential clients on the marketplace annually.</a:t>
            </a:r>
            <a:r>
              <a:rPr lang="en-US" sz="900">
                <a:solidFill>
                  <a:srgbClr val="000000"/>
                </a:solidFill>
                <a:latin typeface="Aptos"/>
              </a:rPr>
              <a:t> </a:t>
            </a:r>
            <a:r>
              <a:rPr kumimoji="0" lang="en-US" sz="900" i="0" u="none" strike="noStrike" kern="1200" cap="none" spc="0" normalizeH="0" baseline="0" noProof="0">
                <a:ln>
                  <a:noFill/>
                </a:ln>
                <a:solidFill>
                  <a:srgbClr val="000000"/>
                </a:solidFill>
                <a:effectLst/>
                <a:uLnTx/>
                <a:uFillTx/>
                <a:latin typeface="Aptos"/>
                <a:ea typeface="+mn-ea"/>
                <a:cs typeface="+mn-cs"/>
              </a:rPr>
              <a:t> Currently analysts manually review and ingest competitor data which is very costly and time consuming</a:t>
            </a:r>
            <a:r>
              <a:rPr lang="en-US" sz="900">
                <a:solidFill>
                  <a:srgbClr val="000000"/>
                </a:solidFill>
                <a:latin typeface="Aptos"/>
              </a:rPr>
              <a:t>.</a:t>
            </a:r>
            <a:endParaRPr lang="en-US" sz="900" b="0" i="0" u="none" strike="noStrike" kern="1200" cap="none" spc="0" normalizeH="0" baseline="0" noProof="0">
              <a:ln>
                <a:noFill/>
              </a:ln>
              <a:solidFill>
                <a:srgbClr val="000000"/>
              </a:solidFill>
              <a:effectLst/>
              <a:uLnTx/>
              <a:uFillTx/>
              <a:latin typeface="Aptos"/>
            </a:endParaRPr>
          </a:p>
        </p:txBody>
      </p:sp>
      <p:sp>
        <p:nvSpPr>
          <p:cNvPr id="14" name="Rectangle 13">
            <a:extLst>
              <a:ext uri="{FF2B5EF4-FFF2-40B4-BE49-F238E27FC236}">
                <a16:creationId xmlns:a16="http://schemas.microsoft.com/office/drawing/2014/main" id="{109D627E-2FA0-199A-D1E7-A0053D8962AD}"/>
              </a:ext>
            </a:extLst>
          </p:cNvPr>
          <p:cNvSpPr>
            <a:spLocks/>
          </p:cNvSpPr>
          <p:nvPr/>
        </p:nvSpPr>
        <p:spPr bwMode="auto">
          <a:xfrm>
            <a:off x="73478" y="3045818"/>
            <a:ext cx="4051956" cy="3678637"/>
          </a:xfrm>
          <a:prstGeom prst="rect">
            <a:avLst/>
          </a:prstGeom>
          <a:solidFill>
            <a:schemeClr val="bg1">
              <a:alpha val="99000"/>
            </a:schemeClr>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000000"/>
                </a:solidFill>
                <a:effectLst/>
                <a:uLnTx/>
                <a:uFillTx/>
                <a:latin typeface="Aptos"/>
                <a:ea typeface="+mn-ea"/>
                <a:cs typeface="+mn-cs"/>
              </a:rPr>
              <a:t>Business KPIs</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0" i="0" u="none" strike="noStrike" kern="1200" cap="none" spc="0" normalizeH="0" baseline="0" noProof="0">
                <a:ln>
                  <a:noFill/>
                </a:ln>
                <a:solidFill>
                  <a:srgbClr val="000000">
                    <a:lumMod val="65000"/>
                    <a:lumOff val="35000"/>
                  </a:srgbClr>
                </a:solidFill>
                <a:effectLst/>
                <a:uLnTx/>
                <a:uFillTx/>
                <a:latin typeface="Aptos"/>
                <a:ea typeface="+mn-ea"/>
                <a:cs typeface="+mn-cs"/>
              </a:rPr>
              <a:t>Potential Key Performance Indicators (KPIs) that could be used to measure the success of the AI transformation project at Contoso:</a:t>
            </a:r>
          </a:p>
          <a:p>
            <a:pPr marL="0" marR="0" lvl="0" indent="0" algn="l" defTabSz="914400" rtl="0" eaLnBrk="1" fontAlgn="auto" latinLnBrk="0" hangingPunct="1">
              <a:lnSpc>
                <a:spcPct val="100000"/>
              </a:lnSpc>
              <a:spcBef>
                <a:spcPts val="0"/>
              </a:spcBef>
              <a:spcAft>
                <a:spcPts val="200"/>
              </a:spcAft>
              <a:buClrTx/>
              <a:buSzTx/>
              <a:buFontTx/>
              <a:buNone/>
              <a:tabLst/>
              <a:defRPr/>
            </a:pPr>
            <a:endParaRPr lang="en-US" sz="900">
              <a:solidFill>
                <a:srgbClr val="000000">
                  <a:lumMod val="65000"/>
                  <a:lumOff val="35000"/>
                </a:srgbClr>
              </a:solidFill>
              <a:latin typeface="Aptos"/>
            </a:endParaRPr>
          </a:p>
          <a:p>
            <a:pPr marL="0" marR="0" lvl="0" indent="0" algn="l" defTabSz="914400" rtl="0" eaLnBrk="1" fontAlgn="auto" latinLnBrk="0" hangingPunct="1">
              <a:lnSpc>
                <a:spcPct val="100000"/>
              </a:lnSpc>
              <a:spcBef>
                <a:spcPts val="0"/>
              </a:spcBef>
              <a:spcAft>
                <a:spcPts val="200"/>
              </a:spcAft>
              <a:buClrTx/>
              <a:buSzTx/>
              <a:buFontTx/>
              <a:buNone/>
              <a:tabLst/>
              <a:defRPr/>
            </a:pPr>
            <a:r>
              <a:rPr lang="en-US" sz="900">
                <a:solidFill>
                  <a:srgbClr val="000000">
                    <a:lumMod val="65000"/>
                    <a:lumOff val="35000"/>
                  </a:srgbClr>
                </a:solidFill>
                <a:latin typeface="Aptos"/>
              </a:rPr>
              <a:t>Competitor Data Processing Time: This KPI measures the time taken to review and ingest competitor data. A decrease in this KPI would indicate an improvement in the process.</a:t>
            </a:r>
          </a:p>
          <a:p>
            <a:pPr marL="0" marR="0" lvl="0" indent="0" algn="l" defTabSz="914400" rtl="0" eaLnBrk="1" fontAlgn="auto" latinLnBrk="0" hangingPunct="1">
              <a:lnSpc>
                <a:spcPct val="100000"/>
              </a:lnSpc>
              <a:spcBef>
                <a:spcPts val="0"/>
              </a:spcBef>
              <a:spcAft>
                <a:spcPts val="200"/>
              </a:spcAft>
              <a:buClrTx/>
              <a:buSzTx/>
              <a:buFontTx/>
              <a:buNone/>
              <a:tabLst/>
              <a:defRPr/>
            </a:pPr>
            <a:endParaRPr lang="en-US" sz="900">
              <a:solidFill>
                <a:srgbClr val="000000">
                  <a:lumMod val="65000"/>
                  <a:lumOff val="35000"/>
                </a:srgbClr>
              </a:solidFill>
              <a:latin typeface="Aptos"/>
            </a:endParaRPr>
          </a:p>
          <a:p>
            <a:pPr marL="0" marR="0" lvl="0" indent="0" algn="l" defTabSz="914400" rtl="0" eaLnBrk="1" fontAlgn="auto" latinLnBrk="0" hangingPunct="1">
              <a:lnSpc>
                <a:spcPct val="100000"/>
              </a:lnSpc>
              <a:spcBef>
                <a:spcPts val="0"/>
              </a:spcBef>
              <a:spcAft>
                <a:spcPts val="200"/>
              </a:spcAft>
              <a:buClrTx/>
              <a:buSzTx/>
              <a:buFontTx/>
              <a:buNone/>
              <a:tabLst/>
              <a:defRPr/>
            </a:pPr>
            <a:r>
              <a:rPr lang="en-US" sz="900">
                <a:solidFill>
                  <a:srgbClr val="000000">
                    <a:lumMod val="65000"/>
                    <a:lumOff val="35000"/>
                  </a:srgbClr>
                </a:solidFill>
                <a:latin typeface="Aptos"/>
              </a:rPr>
              <a:t>Pricing Optimization Rate: This KPI measures the percentage of Oso One IFP insurance plans that are priced optimally in the marketplace. An increase in this KPI would indicate a more competitive pricing strategy.</a:t>
            </a:r>
          </a:p>
          <a:p>
            <a:pPr marL="0" marR="0" lvl="0" indent="0" algn="l" defTabSz="914400" rtl="0" eaLnBrk="1" fontAlgn="auto" latinLnBrk="0" hangingPunct="1">
              <a:lnSpc>
                <a:spcPct val="100000"/>
              </a:lnSpc>
              <a:spcBef>
                <a:spcPts val="0"/>
              </a:spcBef>
              <a:spcAft>
                <a:spcPts val="200"/>
              </a:spcAft>
              <a:buClrTx/>
              <a:buSzTx/>
              <a:buFontTx/>
              <a:buNone/>
              <a:tabLst/>
              <a:defRPr/>
            </a:pPr>
            <a:endParaRPr lang="en-US" sz="900">
              <a:solidFill>
                <a:srgbClr val="000000">
                  <a:lumMod val="65000"/>
                  <a:lumOff val="35000"/>
                </a:srgbClr>
              </a:solidFill>
              <a:latin typeface="Aptos"/>
            </a:endParaRPr>
          </a:p>
          <a:p>
            <a:pPr marL="0" marR="0" lvl="0" indent="0" algn="l" defTabSz="914400" rtl="0" eaLnBrk="1" fontAlgn="auto" latinLnBrk="0" hangingPunct="1">
              <a:lnSpc>
                <a:spcPct val="100000"/>
              </a:lnSpc>
              <a:spcBef>
                <a:spcPts val="0"/>
              </a:spcBef>
              <a:spcAft>
                <a:spcPts val="200"/>
              </a:spcAft>
              <a:buClrTx/>
              <a:buSzTx/>
              <a:buFontTx/>
              <a:buNone/>
              <a:tabLst/>
              <a:defRPr/>
            </a:pPr>
            <a:r>
              <a:rPr lang="en-US" sz="900">
                <a:solidFill>
                  <a:srgbClr val="000000">
                    <a:lumMod val="65000"/>
                    <a:lumOff val="35000"/>
                  </a:srgbClr>
                </a:solidFill>
                <a:latin typeface="Aptos"/>
              </a:rPr>
              <a:t>Revenue from Oso One IFP Insurance Plans: This KPI measures the total revenue generated from Oso One IFP insurance plans. An increase in this KPI would indicate successful pricing and competitiveness in the market.</a:t>
            </a:r>
          </a:p>
          <a:p>
            <a:pPr marL="0" marR="0" lvl="0" indent="0" algn="l" defTabSz="914400" rtl="0" eaLnBrk="1" fontAlgn="auto" latinLnBrk="0" hangingPunct="1">
              <a:lnSpc>
                <a:spcPct val="100000"/>
              </a:lnSpc>
              <a:spcBef>
                <a:spcPts val="0"/>
              </a:spcBef>
              <a:spcAft>
                <a:spcPts val="200"/>
              </a:spcAft>
              <a:buClrTx/>
              <a:buSzTx/>
              <a:buFontTx/>
              <a:buNone/>
              <a:tabLst/>
              <a:defRPr/>
            </a:pPr>
            <a:endParaRPr lang="en-US" sz="900">
              <a:solidFill>
                <a:srgbClr val="000000">
                  <a:lumMod val="65000"/>
                  <a:lumOff val="35000"/>
                </a:srgbClr>
              </a:solidFill>
              <a:latin typeface="Aptos"/>
            </a:endParaRPr>
          </a:p>
          <a:p>
            <a:pPr marL="0" marR="0" lvl="0" indent="0" algn="l" defTabSz="914400" rtl="0" eaLnBrk="1" fontAlgn="auto" latinLnBrk="0" hangingPunct="1">
              <a:lnSpc>
                <a:spcPct val="100000"/>
              </a:lnSpc>
              <a:spcBef>
                <a:spcPts val="0"/>
              </a:spcBef>
              <a:spcAft>
                <a:spcPts val="200"/>
              </a:spcAft>
              <a:buClrTx/>
              <a:buSzTx/>
              <a:buFontTx/>
              <a:buNone/>
              <a:tabLst/>
              <a:defRPr/>
            </a:pPr>
            <a:r>
              <a:rPr lang="en-US" sz="900">
                <a:solidFill>
                  <a:srgbClr val="000000">
                    <a:lumMod val="65000"/>
                    <a:lumOff val="35000"/>
                  </a:srgbClr>
                </a:solidFill>
                <a:latin typeface="Aptos"/>
              </a:rPr>
              <a:t>Market Share of Oso One IFP Insurance Plans: This KPI measures the market share of Oso One IFP insurance plans. An increase in this KPI would indicate greater competitiveness in the market.</a:t>
            </a:r>
          </a:p>
          <a:p>
            <a:pPr marL="0" marR="0" lvl="0" indent="0" algn="l" defTabSz="914400" rtl="0" eaLnBrk="1" fontAlgn="auto" latinLnBrk="0" hangingPunct="1">
              <a:lnSpc>
                <a:spcPct val="100000"/>
              </a:lnSpc>
              <a:spcBef>
                <a:spcPts val="0"/>
              </a:spcBef>
              <a:spcAft>
                <a:spcPts val="200"/>
              </a:spcAft>
              <a:buClrTx/>
              <a:buSzTx/>
              <a:buFontTx/>
              <a:buNone/>
              <a:tabLst/>
              <a:defRPr/>
            </a:pPr>
            <a:endParaRPr lang="en-US" sz="900">
              <a:solidFill>
                <a:srgbClr val="000000">
                  <a:lumMod val="65000"/>
                  <a:lumOff val="35000"/>
                </a:srgbClr>
              </a:solidFill>
              <a:latin typeface="Aptos"/>
            </a:endParaRPr>
          </a:p>
          <a:p>
            <a:pPr marL="0" marR="0" lvl="0" indent="0" algn="l" defTabSz="914400" rtl="0" eaLnBrk="1" fontAlgn="auto" latinLnBrk="0" hangingPunct="1">
              <a:lnSpc>
                <a:spcPct val="100000"/>
              </a:lnSpc>
              <a:spcBef>
                <a:spcPts val="0"/>
              </a:spcBef>
              <a:spcAft>
                <a:spcPts val="200"/>
              </a:spcAft>
              <a:buClrTx/>
              <a:buSzTx/>
              <a:buFontTx/>
              <a:buNone/>
              <a:tabLst/>
              <a:defRPr/>
            </a:pPr>
            <a:r>
              <a:rPr lang="en-US" sz="900">
                <a:solidFill>
                  <a:srgbClr val="000000">
                    <a:lumMod val="65000"/>
                    <a:lumOff val="35000"/>
                  </a:srgbClr>
                </a:solidFill>
                <a:latin typeface="Aptos"/>
              </a:rPr>
              <a:t>Cost Savings from Process Improvement: This KPI measures the cost savings achieved by improving the process of reviewing and ingesting competitor data. An increase in this KPI would indicate a more efficient and cost-effective process.</a:t>
            </a:r>
            <a:endParaRPr kumimoji="0" lang="en-US" sz="900" b="0" i="0" u="none" strike="noStrike" kern="1200" cap="none" spc="0" normalizeH="0" baseline="0" noProof="0">
              <a:ln>
                <a:noFill/>
              </a:ln>
              <a:solidFill>
                <a:srgbClr val="000000">
                  <a:lumMod val="65000"/>
                  <a:lumOff val="35000"/>
                </a:srgbClr>
              </a:solidFill>
              <a:effectLst/>
              <a:uLnTx/>
              <a:uFillTx/>
              <a:latin typeface="Aptos"/>
              <a:ea typeface="+mn-ea"/>
              <a:cs typeface="+mn-cs"/>
            </a:endParaRPr>
          </a:p>
        </p:txBody>
      </p:sp>
      <p:sp>
        <p:nvSpPr>
          <p:cNvPr id="15" name="Rectangle 14">
            <a:extLst>
              <a:ext uri="{FF2B5EF4-FFF2-40B4-BE49-F238E27FC236}">
                <a16:creationId xmlns:a16="http://schemas.microsoft.com/office/drawing/2014/main" id="{9AEC2EAF-114B-F179-6E8D-339E3BFCD08C}"/>
              </a:ext>
            </a:extLst>
          </p:cNvPr>
          <p:cNvSpPr>
            <a:spLocks/>
          </p:cNvSpPr>
          <p:nvPr/>
        </p:nvSpPr>
        <p:spPr bwMode="auto">
          <a:xfrm>
            <a:off x="4162649" y="3045818"/>
            <a:ext cx="4396563" cy="3678637"/>
          </a:xfrm>
          <a:prstGeom prst="rect">
            <a:avLst/>
          </a:prstGeom>
          <a:solidFill>
            <a:schemeClr val="bg1">
              <a:alpha val="99000"/>
            </a:schemeClr>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US" sz="900" b="1" i="0" u="none" strike="noStrike" kern="1200" cap="none" spc="0" normalizeH="0" baseline="0" noProof="0">
                <a:ln>
                  <a:noFill/>
                </a:ln>
                <a:solidFill>
                  <a:srgbClr val="000000">
                    <a:lumMod val="65000"/>
                    <a:lumOff val="35000"/>
                  </a:srgbClr>
                </a:solidFill>
                <a:effectLst/>
                <a:uLnTx/>
                <a:uFillTx/>
                <a:latin typeface="Aptos"/>
                <a:ea typeface="+mn-ea"/>
                <a:cs typeface="+mn-cs"/>
              </a:rPr>
              <a:t>Business Outcomes if Scenario Addressed</a:t>
            </a: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endParaRPr kumimoji="0" lang="en-US" sz="900" b="0" i="0" u="none" strike="noStrike" kern="1200" cap="none" spc="0" normalizeH="0" baseline="0" noProof="0">
              <a:ln>
                <a:noFill/>
              </a:ln>
              <a:solidFill>
                <a:srgbClr val="000000">
                  <a:lumMod val="65000"/>
                  <a:lumOff val="35000"/>
                </a:srgbClr>
              </a:solidFill>
              <a:effectLst/>
              <a:uLnTx/>
              <a:uFillTx/>
              <a:latin typeface="Aptos"/>
              <a:ea typeface="+mn-ea"/>
              <a:cs typeface="+mn-cs"/>
            </a:endParaRP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US" sz="900" b="0" i="0" u="none" strike="noStrike" kern="1200" cap="none" spc="0" normalizeH="0" baseline="0" noProof="0">
                <a:ln>
                  <a:noFill/>
                </a:ln>
                <a:solidFill>
                  <a:srgbClr val="000000">
                    <a:lumMod val="65000"/>
                    <a:lumOff val="35000"/>
                  </a:srgbClr>
                </a:solidFill>
                <a:effectLst/>
                <a:uLnTx/>
                <a:uFillTx/>
                <a:latin typeface="Aptos"/>
                <a:ea typeface="+mn-ea"/>
                <a:cs typeface="+mn-cs"/>
              </a:rPr>
              <a:t>Increased Revenue: By ensuring optimal pricing, Contoso Health can potentially increase the revenue generated from Oso One IFP insurance plans.</a:t>
            </a: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endParaRPr kumimoji="0" lang="en-US" sz="900" b="0" i="0" u="none" strike="noStrike" kern="1200" cap="none" spc="0" normalizeH="0" baseline="0" noProof="0">
              <a:ln>
                <a:noFill/>
              </a:ln>
              <a:solidFill>
                <a:srgbClr val="000000">
                  <a:lumMod val="65000"/>
                  <a:lumOff val="35000"/>
                </a:srgbClr>
              </a:solidFill>
              <a:effectLst/>
              <a:uLnTx/>
              <a:uFillTx/>
              <a:latin typeface="Aptos"/>
              <a:ea typeface="+mn-ea"/>
              <a:cs typeface="+mn-cs"/>
            </a:endParaRP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US" sz="900" b="0" i="0" u="none" strike="noStrike" kern="1200" cap="none" spc="0" normalizeH="0" baseline="0" noProof="0">
                <a:ln>
                  <a:noFill/>
                </a:ln>
                <a:solidFill>
                  <a:srgbClr val="000000">
                    <a:lumMod val="65000"/>
                    <a:lumOff val="35000"/>
                  </a:srgbClr>
                </a:solidFill>
                <a:effectLst/>
                <a:uLnTx/>
                <a:uFillTx/>
                <a:latin typeface="Aptos"/>
                <a:ea typeface="+mn-ea"/>
                <a:cs typeface="+mn-cs"/>
              </a:rPr>
              <a:t>Improved Market Competitiveness: With optimal pricing, Oso One IFP insurance plans can become more competitive in the market, potentially increasing the market share.</a:t>
            </a: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endParaRPr kumimoji="0" lang="en-US" sz="900" b="0" i="0" u="none" strike="noStrike" kern="1200" cap="none" spc="0" normalizeH="0" baseline="0" noProof="0">
              <a:ln>
                <a:noFill/>
              </a:ln>
              <a:solidFill>
                <a:srgbClr val="000000">
                  <a:lumMod val="65000"/>
                  <a:lumOff val="35000"/>
                </a:srgbClr>
              </a:solidFill>
              <a:effectLst/>
              <a:uLnTx/>
              <a:uFillTx/>
              <a:latin typeface="Aptos"/>
              <a:ea typeface="+mn-ea"/>
              <a:cs typeface="+mn-cs"/>
            </a:endParaRP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US" sz="900" b="0" i="0" u="none" strike="noStrike" kern="1200" cap="none" spc="0" normalizeH="0" baseline="0" noProof="0">
                <a:ln>
                  <a:noFill/>
                </a:ln>
                <a:solidFill>
                  <a:srgbClr val="000000">
                    <a:lumMod val="65000"/>
                    <a:lumOff val="35000"/>
                  </a:srgbClr>
                </a:solidFill>
                <a:effectLst/>
                <a:uLnTx/>
                <a:uFillTx/>
                <a:latin typeface="Aptos"/>
                <a:ea typeface="+mn-ea"/>
                <a:cs typeface="+mn-cs"/>
              </a:rPr>
              <a:t>Efficiency in Operations: Automating the process of reviewing and ingesting competitor data can lead to significant time savings, making the operations more efficient.</a:t>
            </a: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endParaRPr kumimoji="0" lang="en-US" sz="900" b="0" i="0" u="none" strike="noStrike" kern="1200" cap="none" spc="0" normalizeH="0" baseline="0" noProof="0">
              <a:ln>
                <a:noFill/>
              </a:ln>
              <a:solidFill>
                <a:srgbClr val="000000">
                  <a:lumMod val="65000"/>
                  <a:lumOff val="35000"/>
                </a:srgbClr>
              </a:solidFill>
              <a:effectLst/>
              <a:uLnTx/>
              <a:uFillTx/>
              <a:latin typeface="Aptos"/>
              <a:ea typeface="+mn-ea"/>
              <a:cs typeface="+mn-cs"/>
            </a:endParaRP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US" sz="900" b="0" i="0" u="none" strike="noStrike" kern="1200" cap="none" spc="0" normalizeH="0" baseline="0" noProof="0">
                <a:ln>
                  <a:noFill/>
                </a:ln>
                <a:solidFill>
                  <a:srgbClr val="000000">
                    <a:lumMod val="65000"/>
                    <a:lumOff val="35000"/>
                  </a:srgbClr>
                </a:solidFill>
                <a:effectLst/>
                <a:uLnTx/>
                <a:uFillTx/>
                <a:latin typeface="Aptos"/>
                <a:ea typeface="+mn-ea"/>
                <a:cs typeface="+mn-cs"/>
              </a:rPr>
              <a:t>Cost Savings: Reducing the manual effort in the pricing process can lead to cost savings for Contoso Health.</a:t>
            </a: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endParaRPr kumimoji="0" lang="en-US" sz="900" b="0" i="0" u="none" strike="noStrike" kern="1200" cap="none" spc="0" normalizeH="0" baseline="0" noProof="0">
              <a:ln>
                <a:noFill/>
              </a:ln>
              <a:solidFill>
                <a:srgbClr val="000000">
                  <a:lumMod val="65000"/>
                  <a:lumOff val="35000"/>
                </a:srgbClr>
              </a:solidFill>
              <a:effectLst/>
              <a:uLnTx/>
              <a:uFillTx/>
              <a:latin typeface="Aptos"/>
              <a:ea typeface="+mn-ea"/>
              <a:cs typeface="+mn-cs"/>
            </a:endParaRP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US" sz="900" b="0" i="0" u="none" strike="noStrike" kern="1200" cap="none" spc="0" normalizeH="0" baseline="0" noProof="0">
                <a:ln>
                  <a:noFill/>
                </a:ln>
                <a:solidFill>
                  <a:srgbClr val="000000">
                    <a:lumMod val="65000"/>
                    <a:lumOff val="35000"/>
                  </a:srgbClr>
                </a:solidFill>
                <a:effectLst/>
                <a:uLnTx/>
                <a:uFillTx/>
                <a:latin typeface="Aptos"/>
                <a:ea typeface="+mn-ea"/>
                <a:cs typeface="+mn-cs"/>
              </a:rPr>
              <a:t>Improved Decision Making: With more accurate and timely competitor data, Contoso Health can make more informed decisions regarding the pricing of Oso One IFP insurance plans.</a:t>
            </a:r>
          </a:p>
        </p:txBody>
      </p:sp>
      <p:sp>
        <p:nvSpPr>
          <p:cNvPr id="16" name="Rectangle 15">
            <a:extLst>
              <a:ext uri="{FF2B5EF4-FFF2-40B4-BE49-F238E27FC236}">
                <a16:creationId xmlns:a16="http://schemas.microsoft.com/office/drawing/2014/main" id="{412B228A-F127-7873-F578-F0973F3B89FA}"/>
              </a:ext>
            </a:extLst>
          </p:cNvPr>
          <p:cNvSpPr>
            <a:spLocks/>
          </p:cNvSpPr>
          <p:nvPr/>
        </p:nvSpPr>
        <p:spPr bwMode="auto">
          <a:xfrm>
            <a:off x="8596427" y="3045818"/>
            <a:ext cx="3302421" cy="3678637"/>
          </a:xfrm>
          <a:prstGeom prst="rect">
            <a:avLst/>
          </a:prstGeom>
          <a:solidFill>
            <a:schemeClr val="bg1">
              <a:alpha val="99000"/>
            </a:schemeClr>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US" sz="900" b="1" i="0" u="none" strike="noStrike" kern="1200" cap="none" spc="0" normalizeH="0" baseline="0" noProof="0">
                <a:ln>
                  <a:noFill/>
                </a:ln>
                <a:solidFill>
                  <a:srgbClr val="000000">
                    <a:lumMod val="65000"/>
                    <a:lumOff val="35000"/>
                  </a:srgbClr>
                </a:solidFill>
                <a:effectLst/>
                <a:uLnTx/>
                <a:uFillTx/>
                <a:latin typeface="Aptos"/>
                <a:ea typeface="+mn-ea"/>
                <a:cs typeface="+mn-cs"/>
              </a:rPr>
              <a:t>Business Capabilities Achieved if Scenario addressed</a:t>
            </a: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endParaRPr kumimoji="0" lang="en-US" sz="900" b="0" i="0" u="none" strike="noStrike" kern="1200" cap="none" spc="0" normalizeH="0" baseline="0" noProof="0">
              <a:ln>
                <a:noFill/>
              </a:ln>
              <a:solidFill>
                <a:srgbClr val="000000">
                  <a:lumMod val="65000"/>
                  <a:lumOff val="35000"/>
                </a:srgbClr>
              </a:solidFill>
              <a:effectLst/>
              <a:uLnTx/>
              <a:uFillTx/>
              <a:latin typeface="Aptos"/>
              <a:ea typeface="+mn-ea"/>
              <a:cs typeface="+mn-cs"/>
            </a:endParaRP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US" sz="900" b="0" i="0" u="none" strike="noStrike" kern="1200" cap="none" spc="0" normalizeH="0" baseline="0" noProof="0">
                <a:ln>
                  <a:noFill/>
                </a:ln>
                <a:solidFill>
                  <a:srgbClr val="000000">
                    <a:lumMod val="65000"/>
                    <a:lumOff val="35000"/>
                  </a:srgbClr>
                </a:solidFill>
                <a:effectLst/>
                <a:uLnTx/>
                <a:uFillTx/>
                <a:latin typeface="Aptos"/>
                <a:ea typeface="+mn-ea"/>
                <a:cs typeface="+mn-cs"/>
              </a:rPr>
              <a:t>Competitive Pricing Capability: Ability to dynamically adjust the pricing of Oso One IFP insurance plans based on competitor data, ensuring optimal pricing at all times.</a:t>
            </a: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endParaRPr kumimoji="0" lang="en-US" sz="900" b="0" i="0" u="none" strike="noStrike" kern="1200" cap="none" spc="0" normalizeH="0" baseline="0" noProof="0">
              <a:ln>
                <a:noFill/>
              </a:ln>
              <a:solidFill>
                <a:srgbClr val="000000">
                  <a:lumMod val="65000"/>
                  <a:lumOff val="35000"/>
                </a:srgbClr>
              </a:solidFill>
              <a:effectLst/>
              <a:uLnTx/>
              <a:uFillTx/>
              <a:latin typeface="Aptos"/>
              <a:ea typeface="+mn-ea"/>
              <a:cs typeface="+mn-cs"/>
            </a:endParaRP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US" sz="900" b="0" i="0" u="none" strike="noStrike" kern="1200" cap="none" spc="0" normalizeH="0" baseline="0" noProof="0">
                <a:ln>
                  <a:noFill/>
                </a:ln>
                <a:solidFill>
                  <a:srgbClr val="000000">
                    <a:lumMod val="65000"/>
                    <a:lumOff val="35000"/>
                  </a:srgbClr>
                </a:solidFill>
                <a:effectLst/>
                <a:uLnTx/>
                <a:uFillTx/>
                <a:latin typeface="Aptos"/>
                <a:ea typeface="+mn-ea"/>
                <a:cs typeface="+mn-cs"/>
              </a:rPr>
              <a:t>Automated Data Ingestion Capability: Ability to automatically ingest and process competitor data, reducing manual effort and increasing efficiency.</a:t>
            </a: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endParaRPr kumimoji="0" lang="en-US" sz="900" b="0" i="0" u="none" strike="noStrike" kern="1200" cap="none" spc="0" normalizeH="0" baseline="0" noProof="0">
              <a:ln>
                <a:noFill/>
              </a:ln>
              <a:solidFill>
                <a:srgbClr val="000000">
                  <a:lumMod val="65000"/>
                  <a:lumOff val="35000"/>
                </a:srgbClr>
              </a:solidFill>
              <a:effectLst/>
              <a:uLnTx/>
              <a:uFillTx/>
              <a:latin typeface="Aptos"/>
              <a:ea typeface="+mn-ea"/>
              <a:cs typeface="+mn-cs"/>
            </a:endParaRP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US" sz="900" b="0" i="0" u="none" strike="noStrike" kern="1200" cap="none" spc="0" normalizeH="0" baseline="0" noProof="0">
                <a:ln>
                  <a:noFill/>
                </a:ln>
                <a:solidFill>
                  <a:srgbClr val="000000">
                    <a:lumMod val="65000"/>
                    <a:lumOff val="35000"/>
                  </a:srgbClr>
                </a:solidFill>
                <a:effectLst/>
                <a:uLnTx/>
                <a:uFillTx/>
                <a:latin typeface="Aptos"/>
                <a:ea typeface="+mn-ea"/>
                <a:cs typeface="+mn-cs"/>
              </a:rPr>
              <a:t>Data-Driven Decision-Making Capability: Ability to make pricing decisions based on accurate and timely competitor data, leading to more informed and effective decisions.</a:t>
            </a: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endParaRPr kumimoji="0" lang="en-US" sz="900" b="0" i="0" u="none" strike="noStrike" kern="1200" cap="none" spc="0" normalizeH="0" baseline="0" noProof="0">
              <a:ln>
                <a:noFill/>
              </a:ln>
              <a:solidFill>
                <a:srgbClr val="000000">
                  <a:lumMod val="65000"/>
                  <a:lumOff val="35000"/>
                </a:srgbClr>
              </a:solidFill>
              <a:effectLst/>
              <a:uLnTx/>
              <a:uFillTx/>
              <a:latin typeface="Aptos"/>
              <a:ea typeface="+mn-ea"/>
              <a:cs typeface="+mn-cs"/>
            </a:endParaRP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US" sz="900" b="0" i="0" u="none" strike="noStrike" kern="1200" cap="none" spc="0" normalizeH="0" baseline="0" noProof="0">
                <a:ln>
                  <a:noFill/>
                </a:ln>
                <a:solidFill>
                  <a:srgbClr val="000000">
                    <a:lumMod val="65000"/>
                    <a:lumOff val="35000"/>
                  </a:srgbClr>
                </a:solidFill>
                <a:effectLst/>
                <a:uLnTx/>
                <a:uFillTx/>
                <a:latin typeface="Aptos"/>
                <a:ea typeface="+mn-ea"/>
                <a:cs typeface="+mn-cs"/>
              </a:rPr>
              <a:t>Cost Efficiency: Ability to achieve cost savings through process improvement and automation, contributing to overall operational efficiency.</a:t>
            </a: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endParaRPr kumimoji="0" lang="en-US" sz="900" b="0" i="0" u="none" strike="noStrike" kern="1200" cap="none" spc="0" normalizeH="0" baseline="0" noProof="0">
              <a:ln>
                <a:noFill/>
              </a:ln>
              <a:solidFill>
                <a:srgbClr val="000000">
                  <a:lumMod val="65000"/>
                  <a:lumOff val="35000"/>
                </a:srgbClr>
              </a:solidFill>
              <a:effectLst/>
              <a:uLnTx/>
              <a:uFillTx/>
              <a:latin typeface="Aptos"/>
              <a:ea typeface="+mn-ea"/>
              <a:cs typeface="+mn-cs"/>
            </a:endParaRP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US" sz="900" b="0" i="0" u="none" strike="noStrike" kern="1200" cap="none" spc="0" normalizeH="0" baseline="0" noProof="0">
                <a:ln>
                  <a:noFill/>
                </a:ln>
                <a:solidFill>
                  <a:srgbClr val="000000">
                    <a:lumMod val="65000"/>
                    <a:lumOff val="35000"/>
                  </a:srgbClr>
                </a:solidFill>
                <a:effectLst/>
                <a:uLnTx/>
                <a:uFillTx/>
                <a:latin typeface="Aptos"/>
                <a:ea typeface="+mn-ea"/>
                <a:cs typeface="+mn-cs"/>
              </a:rPr>
              <a:t>Market Responsiveness: Ability to quickly respond to market changes based on competitor data, enhancing competitiveness and market positioning.</a:t>
            </a:r>
          </a:p>
        </p:txBody>
      </p:sp>
      <p:sp>
        <p:nvSpPr>
          <p:cNvPr id="13" name="Textplatzhalter 2">
            <a:extLst>
              <a:ext uri="{FF2B5EF4-FFF2-40B4-BE49-F238E27FC236}">
                <a16:creationId xmlns:a16="http://schemas.microsoft.com/office/drawing/2014/main" id="{486EDFAD-DC1B-4196-2B7F-9A3CCC9A2284}"/>
              </a:ext>
            </a:extLst>
          </p:cNvPr>
          <p:cNvSpPr txBox="1">
            <a:spLocks/>
          </p:cNvSpPr>
          <p:nvPr/>
        </p:nvSpPr>
        <p:spPr>
          <a:xfrm>
            <a:off x="4959803" y="133545"/>
            <a:ext cx="4192361" cy="373100"/>
          </a:xfrm>
          <a:prstGeom prst="rect">
            <a:avLst/>
          </a:prstGeom>
        </p:spPr>
        <p:txBody>
          <a:bodyPr lIns="0" tIns="0" rIns="0" bIns="0" anchor="t"/>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000" b="0" i="0" u="none" strike="noStrike" kern="1200" cap="none" spc="0" normalizeH="0" baseline="0" noProof="0">
                <a:ln>
                  <a:noFill/>
                </a:ln>
                <a:solidFill>
                  <a:schemeClr val="bg1"/>
                </a:solidFill>
                <a:effectLst/>
                <a:uLnTx/>
                <a:uFillTx/>
                <a:latin typeface="Segoe UI Semibold"/>
                <a:ea typeface="+mn-ea"/>
                <a:cs typeface="Segoe UI" panose="020B0502040204020203" pitchFamily="34" charset="0"/>
              </a:rPr>
              <a:t>Aligned Strategic Priority:</a:t>
            </a:r>
          </a:p>
        </p:txBody>
      </p:sp>
      <p:sp>
        <p:nvSpPr>
          <p:cNvPr id="6" name="Titel 1">
            <a:extLst>
              <a:ext uri="{FF2B5EF4-FFF2-40B4-BE49-F238E27FC236}">
                <a16:creationId xmlns:a16="http://schemas.microsoft.com/office/drawing/2014/main" id="{2463B6BF-33B1-FF20-7E85-A922598DAD45}"/>
              </a:ext>
            </a:extLst>
          </p:cNvPr>
          <p:cNvSpPr txBox="1">
            <a:spLocks/>
          </p:cNvSpPr>
          <p:nvPr/>
        </p:nvSpPr>
        <p:spPr>
          <a:xfrm>
            <a:off x="73478" y="631203"/>
            <a:ext cx="8018961" cy="184666"/>
          </a:xfrm>
          <a:prstGeom prst="rect">
            <a:avLst/>
          </a:prstGeom>
        </p:spPr>
        <p:txBody>
          <a:bodyPr vert="horz" wrap="square" lIns="0" tIns="0" rIns="0" bIns="0" rtlCol="0" anchor="ctr">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200" b="0" i="0" u="none" strike="noStrike" kern="1200" cap="none" spc="0" normalizeH="0" baseline="0" noProof="0">
                <a:ln w="3175">
                  <a:noFill/>
                </a:ln>
                <a:solidFill>
                  <a:schemeClr val="bg1"/>
                </a:solidFill>
                <a:effectLst/>
                <a:uLnTx/>
                <a:uFillTx/>
                <a:latin typeface="Segoe UI Semibold"/>
                <a:ea typeface="+mn-ea"/>
                <a:cs typeface="Segoe UI" pitchFamily="34" charset="0"/>
              </a:rPr>
              <a:t>Business Process Challenge: (Need to understand, anticipate and proactively respond to competitor pricing action)</a:t>
            </a:r>
          </a:p>
        </p:txBody>
      </p:sp>
      <p:sp>
        <p:nvSpPr>
          <p:cNvPr id="5" name="Textplatzhalter 2">
            <a:extLst>
              <a:ext uri="{FF2B5EF4-FFF2-40B4-BE49-F238E27FC236}">
                <a16:creationId xmlns:a16="http://schemas.microsoft.com/office/drawing/2014/main" id="{ADA7A35F-F4E6-24EF-00DC-D14DBA86BE19}"/>
              </a:ext>
            </a:extLst>
          </p:cNvPr>
          <p:cNvSpPr txBox="1">
            <a:spLocks/>
          </p:cNvSpPr>
          <p:nvPr/>
        </p:nvSpPr>
        <p:spPr>
          <a:xfrm>
            <a:off x="9380764" y="130060"/>
            <a:ext cx="2622096" cy="646934"/>
          </a:xfrm>
          <a:prstGeom prst="rect">
            <a:avLst/>
          </a:prstGeom>
        </p:spPr>
        <p:txBody>
          <a:bodyPr lIns="0" tIns="0" rIns="0" bIns="0" anchor="t"/>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900" b="0" i="0" u="none" strike="noStrike" kern="1200" cap="none" spc="0" normalizeH="0" baseline="0" noProof="0">
                <a:ln>
                  <a:noFill/>
                </a:ln>
                <a:solidFill>
                  <a:schemeClr val="bg1"/>
                </a:solidFill>
                <a:effectLst/>
                <a:uLnTx/>
                <a:uFillTx/>
                <a:latin typeface="Segoe UI Semibold"/>
                <a:ea typeface="+mn-ea"/>
                <a:cs typeface="Segoe UI" panose="020B0502040204020203" pitchFamily="34" charset="0"/>
              </a:rPr>
              <a:t>Business Scenario Prioritization</a:t>
            </a:r>
          </a:p>
          <a:p>
            <a:pPr marL="228600" marR="0" lvl="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AutoNum type="arabicPeriod"/>
              <a:tabLst/>
              <a:defRPr/>
            </a:pPr>
            <a:r>
              <a:rPr kumimoji="0" lang="en-US" sz="900" b="0" i="0" u="none" strike="noStrike" kern="1200" cap="none" spc="0" normalizeH="0" baseline="0" noProof="0">
                <a:ln>
                  <a:noFill/>
                </a:ln>
                <a:solidFill>
                  <a:schemeClr val="bg1"/>
                </a:solidFill>
                <a:effectLst/>
                <a:uLnTx/>
                <a:uFillTx/>
                <a:latin typeface="Segoe UI Semibold"/>
                <a:ea typeface="+mn-ea"/>
                <a:cs typeface="Segoe UI" panose="020B0502040204020203" pitchFamily="34" charset="0"/>
              </a:rPr>
              <a:t>Business Value:  L to H (1 – 5)</a:t>
            </a:r>
          </a:p>
          <a:p>
            <a:pPr marL="228600" marR="0" lvl="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AutoNum type="arabicPeriod"/>
              <a:tabLst/>
              <a:defRPr/>
            </a:pPr>
            <a:r>
              <a:rPr kumimoji="0" lang="en-US" sz="900" b="0" i="0" u="none" strike="noStrike" kern="1200" cap="none" spc="0" normalizeH="0" baseline="0" noProof="0">
                <a:ln>
                  <a:noFill/>
                </a:ln>
                <a:solidFill>
                  <a:schemeClr val="bg1"/>
                </a:solidFill>
                <a:effectLst/>
                <a:uLnTx/>
                <a:uFillTx/>
                <a:latin typeface="Segoe UI Semibold"/>
                <a:ea typeface="+mn-ea"/>
                <a:cs typeface="Segoe UI" panose="020B0502040204020203" pitchFamily="34" charset="0"/>
              </a:rPr>
              <a:t>Implementation Effort: H to L (1 – 5) </a:t>
            </a:r>
          </a:p>
        </p:txBody>
      </p:sp>
      <p:sp>
        <p:nvSpPr>
          <p:cNvPr id="7" name="Rectangle 6">
            <a:extLst>
              <a:ext uri="{FF2B5EF4-FFF2-40B4-BE49-F238E27FC236}">
                <a16:creationId xmlns:a16="http://schemas.microsoft.com/office/drawing/2014/main" id="{B1237E84-B520-ABA9-DB4B-1E40F9D3A87C}"/>
              </a:ext>
            </a:extLst>
          </p:cNvPr>
          <p:cNvSpPr>
            <a:spLocks/>
          </p:cNvSpPr>
          <p:nvPr/>
        </p:nvSpPr>
        <p:spPr bwMode="auto">
          <a:xfrm>
            <a:off x="78359" y="1974131"/>
            <a:ext cx="11820489" cy="1042534"/>
          </a:xfrm>
          <a:prstGeom prst="rect">
            <a:avLst/>
          </a:prstGeom>
          <a:solidFill>
            <a:schemeClr val="bg1">
              <a:alpha val="99000"/>
            </a:schemeClr>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000000"/>
                </a:solidFill>
                <a:effectLst/>
                <a:uLnTx/>
                <a:uFillTx/>
                <a:latin typeface="Aptos"/>
                <a:ea typeface="+mn-ea"/>
                <a:cs typeface="+mn-cs"/>
              </a:rPr>
              <a:t>Underlying Problems to Address:  </a:t>
            </a:r>
            <a:r>
              <a:rPr kumimoji="0" lang="en-US" sz="900" b="0" i="0" u="none" strike="noStrike" kern="1200" cap="none" spc="0" normalizeH="0" baseline="0" noProof="0">
                <a:ln>
                  <a:noFill/>
                </a:ln>
                <a:solidFill>
                  <a:srgbClr val="000000">
                    <a:lumMod val="65000"/>
                    <a:lumOff val="35000"/>
                  </a:srgbClr>
                </a:solidFill>
                <a:effectLst/>
                <a:uLnTx/>
                <a:uFillTx/>
                <a:latin typeface="Aptos"/>
                <a:ea typeface="+mn-ea"/>
                <a:cs typeface="+mn-cs"/>
              </a:rPr>
              <a:t>Problem Statement: Contoso Health is currently facing a challenge in its pricing strategy for Oso One Individual and Family Plan (IFP) insurance plans. The process of ensuring optimal pricing for these plans on the marketplace is manual, time-consuming, and costly. Analysts have to manually review and ingest competitor data, which not only slows down the process but also increases the chances of human error. This could potentially lead to sub-optimal pricing, affecting the competitiveness of Oso One IFP insurance plans in the market and ultimately impacting Contoso Health’s revenue generation.</a:t>
            </a:r>
          </a:p>
        </p:txBody>
      </p:sp>
      <p:pic>
        <p:nvPicPr>
          <p:cNvPr id="8" name="Picture 7">
            <a:extLst>
              <a:ext uri="{FF2B5EF4-FFF2-40B4-BE49-F238E27FC236}">
                <a16:creationId xmlns:a16="http://schemas.microsoft.com/office/drawing/2014/main" id="{F8C4958A-7135-2B0A-4E0C-94460E18AB19}"/>
              </a:ext>
            </a:extLst>
          </p:cNvPr>
          <p:cNvPicPr>
            <a:picLocks noChangeAspect="1"/>
          </p:cNvPicPr>
          <p:nvPr/>
        </p:nvPicPr>
        <p:blipFill>
          <a:blip r:embed="rId3"/>
          <a:srcRect/>
          <a:stretch/>
        </p:blipFill>
        <p:spPr>
          <a:xfrm>
            <a:off x="6872766" y="121153"/>
            <a:ext cx="2279398" cy="366785"/>
          </a:xfrm>
          <a:prstGeom prst="rect">
            <a:avLst/>
          </a:prstGeom>
          <a:ln>
            <a:solidFill>
              <a:srgbClr val="9BF00B"/>
            </a:solidFill>
          </a:ln>
        </p:spPr>
      </p:pic>
    </p:spTree>
    <p:extLst>
      <p:ext uri="{BB962C8B-B14F-4D97-AF65-F5344CB8AC3E}">
        <p14:creationId xmlns:p14="http://schemas.microsoft.com/office/powerpoint/2010/main" val="3139152806"/>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A00EAC9-804C-3F99-DB92-1E430FC3D793}"/>
              </a:ext>
              <a:ext uri="{C183D7F6-B498-43B3-948B-1728B52AA6E4}">
                <adec:decorative xmlns:adec="http://schemas.microsoft.com/office/drawing/2017/decorative" val="1"/>
              </a:ext>
            </a:extLst>
          </p:cNvPr>
          <p:cNvSpPr/>
          <p:nvPr/>
        </p:nvSpPr>
        <p:spPr bwMode="auto">
          <a:xfrm>
            <a:off x="0" y="-1806"/>
            <a:ext cx="12192000" cy="853975"/>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 name="Title 61">
            <a:extLst>
              <a:ext uri="{FF2B5EF4-FFF2-40B4-BE49-F238E27FC236}">
                <a16:creationId xmlns:a16="http://schemas.microsoft.com/office/drawing/2014/main" id="{41D7FB24-6AD6-DB9E-FFCD-588F980E8F47}"/>
              </a:ext>
            </a:extLst>
          </p:cNvPr>
          <p:cNvSpPr txBox="1">
            <a:spLocks/>
          </p:cNvSpPr>
          <p:nvPr/>
        </p:nvSpPr>
        <p:spPr>
          <a:xfrm>
            <a:off x="73478" y="-1806"/>
            <a:ext cx="4338176" cy="373100"/>
          </a:xfrm>
          <a:prstGeom prst="rect">
            <a:avLst/>
          </a:prstGeom>
        </p:spPr>
        <p:txBody>
          <a:bodyPr/>
          <a:lstStyle>
            <a:lvl1pPr algn="l" defTabSz="932742" rtl="0" eaLnBrk="1" latinLnBrk="0" hangingPunct="1">
              <a:lnSpc>
                <a:spcPct val="100000"/>
              </a:lnSpc>
              <a:spcBef>
                <a:spcPct val="0"/>
              </a:spcBef>
              <a:buNone/>
              <a:defRPr lang="en-US" sz="2000" b="0" kern="1200" cap="none" spc="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dirty="0">
                <a:ln w="3175">
                  <a:noFill/>
                </a:ln>
                <a:solidFill>
                  <a:schemeClr val="bg1"/>
                </a:solidFill>
                <a:effectLst/>
                <a:uLnTx/>
                <a:uFillTx/>
                <a:latin typeface="Aptos SemiBold"/>
                <a:ea typeface="+mn-ea"/>
                <a:cs typeface="Segoe UI" pitchFamily="34" charset="0"/>
              </a:rPr>
              <a:t>AI Use Cases Discovery</a:t>
            </a:r>
          </a:p>
        </p:txBody>
      </p:sp>
      <p:sp>
        <p:nvSpPr>
          <p:cNvPr id="4" name="Titel 1">
            <a:extLst>
              <a:ext uri="{FF2B5EF4-FFF2-40B4-BE49-F238E27FC236}">
                <a16:creationId xmlns:a16="http://schemas.microsoft.com/office/drawing/2014/main" id="{5B37C216-2900-617A-3A68-E8C71F39D530}"/>
              </a:ext>
            </a:extLst>
          </p:cNvPr>
          <p:cNvSpPr txBox="1">
            <a:spLocks/>
          </p:cNvSpPr>
          <p:nvPr/>
        </p:nvSpPr>
        <p:spPr>
          <a:xfrm>
            <a:off x="73480" y="375546"/>
            <a:ext cx="3829050" cy="184666"/>
          </a:xfrm>
          <a:prstGeom prst="rect">
            <a:avLst/>
          </a:prstGeom>
        </p:spPr>
        <p:txBody>
          <a:bodyPr vert="horz" wrap="square" lIns="0" tIns="0" rIns="0" bIns="0" rtlCol="0" anchor="ctr">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200" b="0" i="0" u="none" strike="noStrike" kern="1200" cap="none" spc="0" normalizeH="0" baseline="0" noProof="0">
                <a:ln w="3175">
                  <a:noFill/>
                </a:ln>
                <a:solidFill>
                  <a:schemeClr val="bg1"/>
                </a:solidFill>
                <a:effectLst/>
                <a:uLnTx/>
                <a:uFillTx/>
                <a:latin typeface="Segoe UI Semibold"/>
                <a:ea typeface="+mn-ea"/>
                <a:cs typeface="Segoe UI" pitchFamily="34" charset="0"/>
              </a:rPr>
              <a:t>Customer: (Contoso Health)</a:t>
            </a:r>
          </a:p>
        </p:txBody>
      </p:sp>
      <p:sp>
        <p:nvSpPr>
          <p:cNvPr id="13" name="Textplatzhalter 2">
            <a:extLst>
              <a:ext uri="{FF2B5EF4-FFF2-40B4-BE49-F238E27FC236}">
                <a16:creationId xmlns:a16="http://schemas.microsoft.com/office/drawing/2014/main" id="{486EDFAD-DC1B-4196-2B7F-9A3CCC9A2284}"/>
              </a:ext>
            </a:extLst>
          </p:cNvPr>
          <p:cNvSpPr txBox="1">
            <a:spLocks/>
          </p:cNvSpPr>
          <p:nvPr/>
        </p:nvSpPr>
        <p:spPr>
          <a:xfrm>
            <a:off x="4959803" y="133545"/>
            <a:ext cx="4192361" cy="373100"/>
          </a:xfrm>
          <a:prstGeom prst="rect">
            <a:avLst/>
          </a:prstGeom>
        </p:spPr>
        <p:txBody>
          <a:bodyPr lIns="0" tIns="0" rIns="0" bIns="0" anchor="t"/>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000" b="0" i="0" u="none" strike="noStrike" kern="1200" cap="none" spc="0" normalizeH="0" baseline="0" noProof="0">
                <a:ln>
                  <a:noFill/>
                </a:ln>
                <a:solidFill>
                  <a:schemeClr val="bg1"/>
                </a:solidFill>
                <a:effectLst/>
                <a:uLnTx/>
                <a:uFillTx/>
                <a:latin typeface="Segoe UI Semibold"/>
                <a:ea typeface="+mn-ea"/>
                <a:cs typeface="Segoe UI" panose="020B0502040204020203" pitchFamily="34" charset="0"/>
              </a:rPr>
              <a:t>Aligned Strategic Priority:</a:t>
            </a:r>
          </a:p>
        </p:txBody>
      </p:sp>
      <p:sp>
        <p:nvSpPr>
          <p:cNvPr id="8" name="Rectangle 7">
            <a:extLst>
              <a:ext uri="{FF2B5EF4-FFF2-40B4-BE49-F238E27FC236}">
                <a16:creationId xmlns:a16="http://schemas.microsoft.com/office/drawing/2014/main" id="{B1925F69-A493-5540-27A7-643D139D6DD0}"/>
              </a:ext>
            </a:extLst>
          </p:cNvPr>
          <p:cNvSpPr>
            <a:spLocks/>
          </p:cNvSpPr>
          <p:nvPr/>
        </p:nvSpPr>
        <p:spPr bwMode="auto">
          <a:xfrm>
            <a:off x="74234" y="1038226"/>
            <a:ext cx="3207130" cy="5765604"/>
          </a:xfrm>
          <a:prstGeom prst="rect">
            <a:avLst/>
          </a:prstGeom>
          <a:solidFill>
            <a:schemeClr val="bg1">
              <a:alpha val="99000"/>
            </a:schemeClr>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US" sz="900" b="1" i="0" u="none" strike="noStrike" kern="1200" cap="none" spc="0" normalizeH="0" baseline="0" noProof="0">
                <a:ln>
                  <a:noFill/>
                </a:ln>
                <a:solidFill>
                  <a:srgbClr val="000000">
                    <a:lumMod val="65000"/>
                    <a:lumOff val="35000"/>
                  </a:srgbClr>
                </a:solidFill>
                <a:effectLst/>
                <a:uLnTx/>
                <a:uFillTx/>
                <a:latin typeface="Aptos"/>
                <a:ea typeface="+mn-ea"/>
                <a:cs typeface="+mn-cs"/>
              </a:rPr>
              <a:t>Use Cases</a:t>
            </a: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US" sz="900" b="0" i="0" u="none" strike="noStrike" kern="1200" cap="none" spc="0" normalizeH="0" baseline="0" noProof="0">
                <a:ln>
                  <a:noFill/>
                </a:ln>
                <a:solidFill>
                  <a:srgbClr val="000000">
                    <a:lumMod val="65000"/>
                    <a:lumOff val="35000"/>
                  </a:srgbClr>
                </a:solidFill>
                <a:effectLst/>
                <a:uLnTx/>
                <a:uFillTx/>
                <a:latin typeface="Aptos"/>
                <a:ea typeface="+mn-ea"/>
                <a:cs typeface="+mn-cs"/>
              </a:rPr>
              <a:t>Based on the information, here are some potential AI-driven Business Use Cases:</a:t>
            </a: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endParaRPr kumimoji="0" lang="en-US" sz="900" b="0" i="0" u="none" strike="noStrike" kern="1200" cap="none" spc="0" normalizeH="0" baseline="0" noProof="0">
              <a:ln>
                <a:noFill/>
              </a:ln>
              <a:solidFill>
                <a:srgbClr val="000000">
                  <a:lumMod val="65000"/>
                  <a:lumOff val="35000"/>
                </a:srgbClr>
              </a:solidFill>
              <a:effectLst/>
              <a:uLnTx/>
              <a:uFillTx/>
              <a:latin typeface="Aptos"/>
              <a:ea typeface="+mn-ea"/>
              <a:cs typeface="+mn-cs"/>
            </a:endParaRP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US" sz="900" b="1" i="0" u="none" strike="noStrike" kern="1200" cap="none" spc="0" normalizeH="0" baseline="0" noProof="0">
                <a:ln>
                  <a:noFill/>
                </a:ln>
                <a:solidFill>
                  <a:srgbClr val="000000">
                    <a:lumMod val="65000"/>
                    <a:lumOff val="35000"/>
                  </a:srgbClr>
                </a:solidFill>
                <a:effectLst/>
                <a:uLnTx/>
                <a:uFillTx/>
                <a:latin typeface="Aptos"/>
                <a:ea typeface="+mn-ea"/>
                <a:cs typeface="+mn-cs"/>
              </a:rPr>
              <a:t>Competitive Pricing Analysis</a:t>
            </a:r>
            <a:r>
              <a:rPr kumimoji="0" lang="en-US" sz="900" b="0" i="0" u="none" strike="noStrike" kern="1200" cap="none" spc="0" normalizeH="0" baseline="0" noProof="0">
                <a:ln>
                  <a:noFill/>
                </a:ln>
                <a:solidFill>
                  <a:srgbClr val="000000">
                    <a:lumMod val="65000"/>
                    <a:lumOff val="35000"/>
                  </a:srgbClr>
                </a:solidFill>
                <a:effectLst/>
                <a:uLnTx/>
                <a:uFillTx/>
                <a:latin typeface="Aptos"/>
                <a:ea typeface="+mn-ea"/>
                <a:cs typeface="+mn-cs"/>
              </a:rPr>
              <a:t>: Develop an AI model that can analyze competitor pricing data and suggest optimal pricing for Oso One IFP insurance plans. This would ensure that the pricing is competitive and attractive to potential clients.</a:t>
            </a: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endParaRPr kumimoji="0" lang="en-US" sz="900" b="0" i="0" u="none" strike="noStrike" kern="1200" cap="none" spc="0" normalizeH="0" baseline="0" noProof="0">
              <a:ln>
                <a:noFill/>
              </a:ln>
              <a:solidFill>
                <a:srgbClr val="000000">
                  <a:lumMod val="65000"/>
                  <a:lumOff val="35000"/>
                </a:srgbClr>
              </a:solidFill>
              <a:effectLst/>
              <a:uLnTx/>
              <a:uFillTx/>
              <a:latin typeface="Aptos"/>
              <a:ea typeface="+mn-ea"/>
              <a:cs typeface="+mn-cs"/>
            </a:endParaRP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US" sz="900" b="1" i="0" u="none" strike="noStrike" kern="1200" cap="none" spc="0" normalizeH="0" baseline="0" noProof="0">
                <a:ln>
                  <a:noFill/>
                </a:ln>
                <a:solidFill>
                  <a:srgbClr val="000000">
                    <a:lumMod val="65000"/>
                    <a:lumOff val="35000"/>
                  </a:srgbClr>
                </a:solidFill>
                <a:effectLst/>
                <a:uLnTx/>
                <a:uFillTx/>
                <a:latin typeface="Aptos"/>
                <a:ea typeface="+mn-ea"/>
                <a:cs typeface="+mn-cs"/>
              </a:rPr>
              <a:t>Automated Data Ingestion and Processing</a:t>
            </a:r>
            <a:r>
              <a:rPr kumimoji="0" lang="en-US" sz="900" b="0" i="0" u="none" strike="noStrike" kern="1200" cap="none" spc="0" normalizeH="0" baseline="0" noProof="0">
                <a:ln>
                  <a:noFill/>
                </a:ln>
                <a:solidFill>
                  <a:srgbClr val="000000">
                    <a:lumMod val="65000"/>
                    <a:lumOff val="35000"/>
                  </a:srgbClr>
                </a:solidFill>
                <a:effectLst/>
                <a:uLnTx/>
                <a:uFillTx/>
                <a:latin typeface="Aptos"/>
                <a:ea typeface="+mn-ea"/>
                <a:cs typeface="+mn-cs"/>
              </a:rPr>
              <a:t>: Implement an automated system for ingesting and processing competitor data. This would reduce the manual effort and time currently required, leading to cost savings and increased efficiency.</a:t>
            </a: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endParaRPr kumimoji="0" lang="en-US" sz="900" b="0" i="0" u="none" strike="noStrike" kern="1200" cap="none" spc="0" normalizeH="0" baseline="0" noProof="0">
              <a:ln>
                <a:noFill/>
              </a:ln>
              <a:solidFill>
                <a:srgbClr val="000000">
                  <a:lumMod val="65000"/>
                  <a:lumOff val="35000"/>
                </a:srgbClr>
              </a:solidFill>
              <a:effectLst/>
              <a:uLnTx/>
              <a:uFillTx/>
              <a:latin typeface="Aptos"/>
              <a:ea typeface="+mn-ea"/>
              <a:cs typeface="+mn-cs"/>
            </a:endParaRP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US" sz="900" b="1" i="0" u="none" strike="noStrike" kern="1200" cap="none" spc="0" normalizeH="0" baseline="0" noProof="0">
                <a:ln>
                  <a:noFill/>
                </a:ln>
                <a:solidFill>
                  <a:srgbClr val="000000">
                    <a:lumMod val="65000"/>
                    <a:lumOff val="35000"/>
                  </a:srgbClr>
                </a:solidFill>
                <a:effectLst/>
                <a:uLnTx/>
                <a:uFillTx/>
                <a:latin typeface="Aptos"/>
                <a:ea typeface="+mn-ea"/>
                <a:cs typeface="+mn-cs"/>
              </a:rPr>
              <a:t>Dynamic Pricing Adjustment</a:t>
            </a:r>
            <a:r>
              <a:rPr kumimoji="0" lang="en-US" sz="900" b="0" i="0" u="none" strike="noStrike" kern="1200" cap="none" spc="0" normalizeH="0" baseline="0" noProof="0">
                <a:ln>
                  <a:noFill/>
                </a:ln>
                <a:solidFill>
                  <a:srgbClr val="000000">
                    <a:lumMod val="65000"/>
                    <a:lumOff val="35000"/>
                  </a:srgbClr>
                </a:solidFill>
                <a:effectLst/>
                <a:uLnTx/>
                <a:uFillTx/>
                <a:latin typeface="Aptos"/>
                <a:ea typeface="+mn-ea"/>
                <a:cs typeface="+mn-cs"/>
              </a:rPr>
              <a:t>: Develop a system that can dynamically adjust the pricing of Oso One IFP insurance plans based on the analyzed competitor data. This would ensure that the pricing remains optimal and competitive at all times.</a:t>
            </a: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endParaRPr kumimoji="0" lang="en-US" sz="900" b="0" i="0" u="none" strike="noStrike" kern="1200" cap="none" spc="0" normalizeH="0" baseline="0" noProof="0">
              <a:ln>
                <a:noFill/>
              </a:ln>
              <a:solidFill>
                <a:srgbClr val="000000">
                  <a:lumMod val="65000"/>
                  <a:lumOff val="35000"/>
                </a:srgbClr>
              </a:solidFill>
              <a:effectLst/>
              <a:uLnTx/>
              <a:uFillTx/>
              <a:latin typeface="Aptos"/>
              <a:ea typeface="+mn-ea"/>
              <a:cs typeface="+mn-cs"/>
            </a:endParaRP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US" sz="900" b="1" i="0" u="none" strike="noStrike" kern="1200" cap="none" spc="0" normalizeH="0" baseline="0" noProof="0">
                <a:ln>
                  <a:noFill/>
                </a:ln>
                <a:solidFill>
                  <a:srgbClr val="000000">
                    <a:lumMod val="65000"/>
                    <a:lumOff val="35000"/>
                  </a:srgbClr>
                </a:solidFill>
                <a:effectLst/>
                <a:uLnTx/>
                <a:uFillTx/>
                <a:latin typeface="Aptos"/>
                <a:ea typeface="+mn-ea"/>
                <a:cs typeface="+mn-cs"/>
              </a:rPr>
              <a:t>Market Trend Analysis</a:t>
            </a:r>
            <a:r>
              <a:rPr kumimoji="0" lang="en-US" sz="900" b="0" i="0" u="none" strike="noStrike" kern="1200" cap="none" spc="0" normalizeH="0" baseline="0" noProof="0">
                <a:ln>
                  <a:noFill/>
                </a:ln>
                <a:solidFill>
                  <a:srgbClr val="000000">
                    <a:lumMod val="65000"/>
                    <a:lumOff val="35000"/>
                  </a:srgbClr>
                </a:solidFill>
                <a:effectLst/>
                <a:uLnTx/>
                <a:uFillTx/>
                <a:latin typeface="Aptos"/>
                <a:ea typeface="+mn-ea"/>
                <a:cs typeface="+mn-cs"/>
              </a:rPr>
              <a:t>: Use AI to analyze market trends and predict future pricing strategies of competitors. This would allow Contoso Health to proactively adjust their pricing strategy and stay ahead of the competition.</a:t>
            </a: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endParaRPr kumimoji="0" lang="en-US" sz="900" b="0" i="0" u="none" strike="noStrike" kern="1200" cap="none" spc="0" normalizeH="0" baseline="0" noProof="0">
              <a:ln>
                <a:noFill/>
              </a:ln>
              <a:solidFill>
                <a:srgbClr val="000000">
                  <a:lumMod val="65000"/>
                  <a:lumOff val="35000"/>
                </a:srgbClr>
              </a:solidFill>
              <a:effectLst/>
              <a:uLnTx/>
              <a:uFillTx/>
              <a:latin typeface="Aptos"/>
              <a:ea typeface="+mn-ea"/>
              <a:cs typeface="+mn-cs"/>
            </a:endParaRP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US" sz="900" b="1" i="0" u="none" strike="noStrike" kern="1200" cap="none" spc="0" normalizeH="0" baseline="0" noProof="0">
                <a:ln>
                  <a:noFill/>
                </a:ln>
                <a:solidFill>
                  <a:srgbClr val="000000">
                    <a:lumMod val="65000"/>
                    <a:lumOff val="35000"/>
                  </a:srgbClr>
                </a:solidFill>
                <a:effectLst/>
                <a:uLnTx/>
                <a:uFillTx/>
                <a:latin typeface="Aptos"/>
                <a:ea typeface="+mn-ea"/>
                <a:cs typeface="+mn-cs"/>
              </a:rPr>
              <a:t>Cost-Benefit Analysis</a:t>
            </a:r>
            <a:r>
              <a:rPr kumimoji="0" lang="en-US" sz="900" b="0" i="0" u="none" strike="noStrike" kern="1200" cap="none" spc="0" normalizeH="0" baseline="0" noProof="0">
                <a:ln>
                  <a:noFill/>
                </a:ln>
                <a:solidFill>
                  <a:srgbClr val="000000">
                    <a:lumMod val="65000"/>
                    <a:lumOff val="35000"/>
                  </a:srgbClr>
                </a:solidFill>
                <a:effectLst/>
                <a:uLnTx/>
                <a:uFillTx/>
                <a:latin typeface="Aptos"/>
                <a:ea typeface="+mn-ea"/>
                <a:cs typeface="+mn-cs"/>
              </a:rPr>
              <a:t>: Conduct a cost-benefit analysis to evaluate the financial impact of implementing the new system versus the current manual process. This would provide a clear picture of the potential cost savings and return on investment.</a:t>
            </a: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endParaRPr kumimoji="0" lang="en-US" sz="900" b="0" i="0" u="none" strike="noStrike" kern="1200" cap="none" spc="0" normalizeH="0" baseline="0" noProof="0">
              <a:ln>
                <a:noFill/>
              </a:ln>
              <a:solidFill>
                <a:srgbClr val="000000">
                  <a:lumMod val="65000"/>
                  <a:lumOff val="35000"/>
                </a:srgbClr>
              </a:solidFill>
              <a:effectLst/>
              <a:uLnTx/>
              <a:uFillTx/>
              <a:latin typeface="Aptos"/>
              <a:ea typeface="+mn-ea"/>
              <a:cs typeface="+mn-cs"/>
            </a:endParaRP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US" sz="900" b="1" i="0" u="none" strike="noStrike" kern="1200" cap="none" spc="0" normalizeH="0" baseline="0" noProof="0">
                <a:ln>
                  <a:noFill/>
                </a:ln>
                <a:solidFill>
                  <a:srgbClr val="000000">
                    <a:lumMod val="65000"/>
                    <a:lumOff val="35000"/>
                  </a:srgbClr>
                </a:solidFill>
                <a:effectLst/>
                <a:uLnTx/>
                <a:uFillTx/>
                <a:latin typeface="Aptos"/>
                <a:ea typeface="+mn-ea"/>
                <a:cs typeface="+mn-cs"/>
              </a:rPr>
              <a:t>Impact Analysis</a:t>
            </a:r>
            <a:r>
              <a:rPr kumimoji="0" lang="en-US" sz="900" b="0" i="0" u="none" strike="noStrike" kern="1200" cap="none" spc="0" normalizeH="0" baseline="0" noProof="0">
                <a:ln>
                  <a:noFill/>
                </a:ln>
                <a:solidFill>
                  <a:srgbClr val="000000">
                    <a:lumMod val="65000"/>
                    <a:lumOff val="35000"/>
                  </a:srgbClr>
                </a:solidFill>
                <a:effectLst/>
                <a:uLnTx/>
                <a:uFillTx/>
                <a:latin typeface="Aptos"/>
                <a:ea typeface="+mn-ea"/>
                <a:cs typeface="+mn-cs"/>
              </a:rPr>
              <a:t>: Analyze the impact of the new pricing strategy on the market share and revenue of Oso One IFP insurance plans. This would provide insights into the effectiveness of the new strategy and areas for improvement.</a:t>
            </a:r>
          </a:p>
        </p:txBody>
      </p:sp>
      <p:sp>
        <p:nvSpPr>
          <p:cNvPr id="9" name="Rectangle 8">
            <a:extLst>
              <a:ext uri="{FF2B5EF4-FFF2-40B4-BE49-F238E27FC236}">
                <a16:creationId xmlns:a16="http://schemas.microsoft.com/office/drawing/2014/main" id="{460E6286-41AA-E312-B65D-63C6B31149CD}"/>
              </a:ext>
            </a:extLst>
          </p:cNvPr>
          <p:cNvSpPr>
            <a:spLocks/>
          </p:cNvSpPr>
          <p:nvPr/>
        </p:nvSpPr>
        <p:spPr bwMode="auto">
          <a:xfrm>
            <a:off x="3390900" y="1038226"/>
            <a:ext cx="8507949" cy="5736451"/>
          </a:xfrm>
          <a:prstGeom prst="rect">
            <a:avLst/>
          </a:prstGeom>
          <a:solidFill>
            <a:schemeClr val="bg1">
              <a:alpha val="99000"/>
            </a:schemeClr>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US" sz="900" b="1" i="0" u="none" strike="noStrike" kern="1200" cap="none" spc="0" normalizeH="0" baseline="0" noProof="0">
                <a:ln>
                  <a:noFill/>
                </a:ln>
                <a:solidFill>
                  <a:srgbClr val="000000">
                    <a:lumMod val="65000"/>
                    <a:lumOff val="35000"/>
                  </a:srgbClr>
                </a:solidFill>
                <a:effectLst/>
                <a:uLnTx/>
                <a:uFillTx/>
                <a:latin typeface="Aptos"/>
                <a:ea typeface="+mn-ea"/>
                <a:cs typeface="+mn-cs"/>
              </a:rPr>
              <a:t>Business Requirements</a:t>
            </a: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endParaRPr kumimoji="0" lang="en-US" sz="800" b="1" i="0" u="none" strike="noStrike" kern="1200" cap="none" spc="0" normalizeH="0" baseline="0" noProof="0">
              <a:ln>
                <a:noFill/>
              </a:ln>
              <a:solidFill>
                <a:srgbClr val="000000">
                  <a:lumMod val="65000"/>
                  <a:lumOff val="35000"/>
                </a:srgbClr>
              </a:solidFill>
              <a:effectLst/>
              <a:uLnTx/>
              <a:uFillTx/>
              <a:latin typeface="Aptos"/>
              <a:ea typeface="+mn-ea"/>
              <a:cs typeface="+mn-cs"/>
            </a:endParaRP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US" sz="1000" b="1" i="0" u="none" strike="noStrike" kern="1200" cap="none" spc="0" normalizeH="0" baseline="0" noProof="0">
                <a:ln>
                  <a:noFill/>
                </a:ln>
                <a:solidFill>
                  <a:srgbClr val="000000">
                    <a:lumMod val="65000"/>
                    <a:lumOff val="35000"/>
                  </a:srgbClr>
                </a:solidFill>
                <a:effectLst/>
                <a:uLnTx/>
                <a:uFillTx/>
                <a:latin typeface="Aptos"/>
                <a:ea typeface="+mn-ea"/>
                <a:cs typeface="+mn-cs"/>
              </a:rPr>
              <a:t>Business Requirements for the “Competitive Pricing Analysis” use case</a:t>
            </a:r>
            <a:r>
              <a:rPr kumimoji="0" lang="en-US" sz="1000" b="0" i="0" u="none" strike="noStrike" kern="1200" cap="none" spc="0" normalizeH="0" baseline="0" noProof="0">
                <a:ln>
                  <a:noFill/>
                </a:ln>
                <a:solidFill>
                  <a:srgbClr val="000000">
                    <a:lumMod val="65000"/>
                    <a:lumOff val="35000"/>
                  </a:srgbClr>
                </a:solidFill>
                <a:effectLst/>
                <a:uLnTx/>
                <a:uFillTx/>
                <a:latin typeface="Aptos"/>
                <a:ea typeface="+mn-ea"/>
                <a:cs typeface="+mn-cs"/>
              </a:rPr>
              <a:t>:</a:t>
            </a: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US" sz="1000" b="0" i="0" u="none" strike="noStrike" kern="1200" cap="none" spc="0" normalizeH="0" baseline="0" noProof="0">
                <a:ln>
                  <a:noFill/>
                </a:ln>
                <a:solidFill>
                  <a:srgbClr val="000000">
                    <a:lumMod val="65000"/>
                    <a:lumOff val="35000"/>
                  </a:srgbClr>
                </a:solidFill>
                <a:effectLst/>
                <a:uLnTx/>
                <a:uFillTx/>
                <a:latin typeface="Aptos"/>
                <a:ea typeface="+mn-ea"/>
                <a:cs typeface="+mn-cs"/>
              </a:rPr>
              <a:t>AI Model Development: Develop an AI model capable of analyzing competitor pricing data and suggesting optimal pricing for Oso One IFP insurance plans.</a:t>
            </a: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US" sz="1000" b="0" i="0" u="none" strike="noStrike" kern="1200" cap="none" spc="0" normalizeH="0" baseline="0" noProof="0">
                <a:ln>
                  <a:noFill/>
                </a:ln>
                <a:solidFill>
                  <a:srgbClr val="000000">
                    <a:lumMod val="65000"/>
                    <a:lumOff val="35000"/>
                  </a:srgbClr>
                </a:solidFill>
                <a:effectLst/>
                <a:uLnTx/>
                <a:uFillTx/>
                <a:latin typeface="Aptos"/>
                <a:ea typeface="+mn-ea"/>
                <a:cs typeface="+mn-cs"/>
              </a:rPr>
              <a:t>Data Ingestion: The system should be able to ingest competitor pricing data from various sources in a standardized format.</a:t>
            </a: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US" sz="1000" b="0" i="0" u="none" strike="noStrike" kern="1200" cap="none" spc="0" normalizeH="0" baseline="0" noProof="0">
                <a:ln>
                  <a:noFill/>
                </a:ln>
                <a:solidFill>
                  <a:srgbClr val="000000">
                    <a:lumMod val="65000"/>
                    <a:lumOff val="35000"/>
                  </a:srgbClr>
                </a:solidFill>
                <a:effectLst/>
                <a:uLnTx/>
                <a:uFillTx/>
                <a:latin typeface="Aptos"/>
                <a:ea typeface="+mn-ea"/>
                <a:cs typeface="+mn-cs"/>
              </a:rPr>
              <a:t>Data Processing: The system should be able to process and analyze the ingested data to extract relevant insights for pricing decisions.</a:t>
            </a: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US" sz="1000" b="0" i="0" u="none" strike="noStrike" kern="1200" cap="none" spc="0" normalizeH="0" baseline="0" noProof="0">
                <a:ln>
                  <a:noFill/>
                </a:ln>
                <a:solidFill>
                  <a:srgbClr val="000000">
                    <a:lumMod val="65000"/>
                    <a:lumOff val="35000"/>
                  </a:srgbClr>
                </a:solidFill>
                <a:effectLst/>
                <a:uLnTx/>
                <a:uFillTx/>
                <a:latin typeface="Aptos"/>
                <a:ea typeface="+mn-ea"/>
                <a:cs typeface="+mn-cs"/>
              </a:rPr>
              <a:t>Pricing Suggestions: The AI model should generate pricing suggestions based on the analyzed data.</a:t>
            </a: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US" sz="1000" b="0" i="0" u="none" strike="noStrike" kern="1200" cap="none" spc="0" normalizeH="0" baseline="0" noProof="0">
                <a:ln>
                  <a:noFill/>
                </a:ln>
                <a:solidFill>
                  <a:srgbClr val="000000">
                    <a:lumMod val="65000"/>
                    <a:lumOff val="35000"/>
                  </a:srgbClr>
                </a:solidFill>
                <a:effectLst/>
                <a:uLnTx/>
                <a:uFillTx/>
                <a:latin typeface="Aptos"/>
                <a:ea typeface="+mn-ea"/>
                <a:cs typeface="+mn-cs"/>
              </a:rPr>
              <a:t>User Interface: Develop a user-friendly interface for analysts to interact with the AI model and receive pricing suggestions.</a:t>
            </a: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US" sz="1000" b="0" i="0" u="none" strike="noStrike" kern="1200" cap="none" spc="0" normalizeH="0" baseline="0" noProof="0">
                <a:ln>
                  <a:noFill/>
                </a:ln>
                <a:solidFill>
                  <a:srgbClr val="000000">
                    <a:lumMod val="65000"/>
                    <a:lumOff val="35000"/>
                  </a:srgbClr>
                </a:solidFill>
                <a:effectLst/>
                <a:uLnTx/>
                <a:uFillTx/>
                <a:latin typeface="Aptos"/>
                <a:ea typeface="+mn-ea"/>
                <a:cs typeface="+mn-cs"/>
              </a:rPr>
              <a:t>Reporting: The system should generate reports highlighting the pricing suggestions and the analysis supporting those suggestions.</a:t>
            </a: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endParaRPr lang="en-US" sz="1000">
              <a:solidFill>
                <a:srgbClr val="000000">
                  <a:lumMod val="65000"/>
                  <a:lumOff val="35000"/>
                </a:srgbClr>
              </a:solidFill>
              <a:latin typeface="Aptos"/>
            </a:endParaRP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US" sz="1000" b="1" i="0" u="none" strike="noStrike" kern="1200" cap="none" spc="0" normalizeH="0" baseline="0" noProof="0">
                <a:ln>
                  <a:noFill/>
                </a:ln>
                <a:solidFill>
                  <a:srgbClr val="000000">
                    <a:lumMod val="65000"/>
                    <a:lumOff val="35000"/>
                  </a:srgbClr>
                </a:solidFill>
                <a:effectLst/>
                <a:uLnTx/>
                <a:uFillTx/>
                <a:latin typeface="Aptos"/>
                <a:ea typeface="+mn-ea"/>
                <a:cs typeface="+mn-cs"/>
              </a:rPr>
              <a:t>Business Requirements for the “Automated Data Ingestion and Processing” use case</a:t>
            </a:r>
            <a:r>
              <a:rPr kumimoji="0" lang="en-US" sz="1000" b="0" i="0" u="none" strike="noStrike" kern="1200" cap="none" spc="0" normalizeH="0" baseline="0" noProof="0">
                <a:ln>
                  <a:noFill/>
                </a:ln>
                <a:solidFill>
                  <a:srgbClr val="000000">
                    <a:lumMod val="65000"/>
                    <a:lumOff val="35000"/>
                  </a:srgbClr>
                </a:solidFill>
                <a:effectLst/>
                <a:uLnTx/>
                <a:uFillTx/>
                <a:latin typeface="Aptos"/>
                <a:ea typeface="+mn-ea"/>
                <a:cs typeface="+mn-cs"/>
              </a:rPr>
              <a:t>:</a:t>
            </a: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US" sz="1000" b="0" i="0" u="none" strike="noStrike" kern="1200" cap="none" spc="0" normalizeH="0" baseline="0" noProof="0">
                <a:ln>
                  <a:noFill/>
                </a:ln>
                <a:solidFill>
                  <a:srgbClr val="000000">
                    <a:lumMod val="65000"/>
                    <a:lumOff val="35000"/>
                  </a:srgbClr>
                </a:solidFill>
                <a:effectLst/>
                <a:uLnTx/>
                <a:uFillTx/>
                <a:latin typeface="Aptos"/>
                <a:ea typeface="+mn-ea"/>
                <a:cs typeface="+mn-cs"/>
              </a:rPr>
              <a:t>Data Ingestion Automation: Develop a system that can automatically ingest competitor pricing data from various sources in a standardized format.</a:t>
            </a: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US" sz="1000" b="0" i="0" u="none" strike="noStrike" kern="1200" cap="none" spc="0" normalizeH="0" baseline="0" noProof="0">
                <a:ln>
                  <a:noFill/>
                </a:ln>
                <a:solidFill>
                  <a:srgbClr val="000000">
                    <a:lumMod val="65000"/>
                    <a:lumOff val="35000"/>
                  </a:srgbClr>
                </a:solidFill>
                <a:effectLst/>
                <a:uLnTx/>
                <a:uFillTx/>
                <a:latin typeface="Aptos"/>
                <a:ea typeface="+mn-ea"/>
                <a:cs typeface="+mn-cs"/>
              </a:rPr>
              <a:t>Data Processing Automation: The system should be able to automatically process and analyze the ingested data to extract relevant insights for pricing decisions.</a:t>
            </a: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US" sz="1000" b="0" i="0" u="none" strike="noStrike" kern="1200" cap="none" spc="0" normalizeH="0" baseline="0" noProof="0">
                <a:ln>
                  <a:noFill/>
                </a:ln>
                <a:solidFill>
                  <a:srgbClr val="000000">
                    <a:lumMod val="65000"/>
                    <a:lumOff val="35000"/>
                  </a:srgbClr>
                </a:solidFill>
                <a:effectLst/>
                <a:uLnTx/>
                <a:uFillTx/>
                <a:latin typeface="Aptos"/>
                <a:ea typeface="+mn-ea"/>
                <a:cs typeface="+mn-cs"/>
              </a:rPr>
              <a:t>Data Validation: The system should have a mechanism to validate the ingested data for accuracy and completeness.</a:t>
            </a: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US" sz="1000" b="0" i="0" u="none" strike="noStrike" kern="1200" cap="none" spc="0" normalizeH="0" baseline="0" noProof="0">
                <a:ln>
                  <a:noFill/>
                </a:ln>
                <a:solidFill>
                  <a:srgbClr val="000000">
                    <a:lumMod val="65000"/>
                    <a:lumOff val="35000"/>
                  </a:srgbClr>
                </a:solidFill>
                <a:effectLst/>
                <a:uLnTx/>
                <a:uFillTx/>
                <a:latin typeface="Aptos"/>
                <a:ea typeface="+mn-ea"/>
                <a:cs typeface="+mn-cs"/>
              </a:rPr>
              <a:t>Error Handling: The system should be able to handle errors during the data ingestion and processing stages and provide meaningful error messages.</a:t>
            </a: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US" sz="1000" b="0" i="0" u="none" strike="noStrike" kern="1200" cap="none" spc="0" normalizeH="0" baseline="0" noProof="0">
                <a:ln>
                  <a:noFill/>
                </a:ln>
                <a:solidFill>
                  <a:srgbClr val="000000">
                    <a:lumMod val="65000"/>
                    <a:lumOff val="35000"/>
                  </a:srgbClr>
                </a:solidFill>
                <a:effectLst/>
                <a:uLnTx/>
                <a:uFillTx/>
                <a:latin typeface="Aptos"/>
                <a:ea typeface="+mn-ea"/>
                <a:cs typeface="+mn-cs"/>
              </a:rPr>
              <a:t>Scalability: The system should be scalable to handle increasing volumes of data as the number of competitors and the amount of pricing data grow.</a:t>
            </a: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US" sz="1000" b="0" i="0" u="none" strike="noStrike" kern="1200" cap="none" spc="0" normalizeH="0" baseline="0" noProof="0">
                <a:ln>
                  <a:noFill/>
                </a:ln>
                <a:solidFill>
                  <a:srgbClr val="000000">
                    <a:lumMod val="65000"/>
                    <a:lumOff val="35000"/>
                  </a:srgbClr>
                </a:solidFill>
                <a:effectLst/>
                <a:uLnTx/>
                <a:uFillTx/>
                <a:latin typeface="Aptos"/>
                <a:ea typeface="+mn-ea"/>
                <a:cs typeface="+mn-cs"/>
              </a:rPr>
              <a:t>Integration: The system should be able to integrate with the existing IT infrastructure and data systems at Contoso Health.</a:t>
            </a: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endParaRPr lang="en-US" sz="1000">
              <a:solidFill>
                <a:srgbClr val="000000">
                  <a:lumMod val="65000"/>
                  <a:lumOff val="35000"/>
                </a:srgbClr>
              </a:solidFill>
              <a:latin typeface="Aptos"/>
            </a:endParaRP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US" sz="1000" b="1" i="0" u="none" strike="noStrike" kern="1200" cap="none" spc="0" normalizeH="0" baseline="0" noProof="0">
                <a:ln>
                  <a:noFill/>
                </a:ln>
                <a:solidFill>
                  <a:srgbClr val="000000">
                    <a:lumMod val="65000"/>
                    <a:lumOff val="35000"/>
                  </a:srgbClr>
                </a:solidFill>
                <a:effectLst/>
                <a:uLnTx/>
                <a:uFillTx/>
                <a:latin typeface="Aptos"/>
                <a:ea typeface="+mn-ea"/>
                <a:cs typeface="+mn-cs"/>
              </a:rPr>
              <a:t>Business Requirements for the “Dynamic Pricing Adjustment” use case</a:t>
            </a:r>
            <a:r>
              <a:rPr kumimoji="0" lang="en-US" sz="1000" b="0" i="0" u="none" strike="noStrike" kern="1200" cap="none" spc="0" normalizeH="0" baseline="0" noProof="0">
                <a:ln>
                  <a:noFill/>
                </a:ln>
                <a:solidFill>
                  <a:srgbClr val="000000">
                    <a:lumMod val="65000"/>
                    <a:lumOff val="35000"/>
                  </a:srgbClr>
                </a:solidFill>
                <a:effectLst/>
                <a:uLnTx/>
                <a:uFillTx/>
                <a:latin typeface="Aptos"/>
                <a:ea typeface="+mn-ea"/>
                <a:cs typeface="+mn-cs"/>
              </a:rPr>
              <a:t>:</a:t>
            </a: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US" sz="1000" b="0" i="0" u="none" strike="noStrike" kern="1200" cap="none" spc="0" normalizeH="0" baseline="0" noProof="0">
                <a:ln>
                  <a:noFill/>
                </a:ln>
                <a:solidFill>
                  <a:srgbClr val="000000">
                    <a:lumMod val="65000"/>
                    <a:lumOff val="35000"/>
                  </a:srgbClr>
                </a:solidFill>
                <a:effectLst/>
                <a:uLnTx/>
                <a:uFillTx/>
                <a:latin typeface="Aptos"/>
                <a:ea typeface="+mn-ea"/>
                <a:cs typeface="+mn-cs"/>
              </a:rPr>
              <a:t>Dynamic Pricing Algorithm: Develop an algorithm that can dynamically adjust the pricing of Oso One IFP insurance plans based on the analyzed competitor data.</a:t>
            </a: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US" sz="1000" b="0" i="0" u="none" strike="noStrike" kern="1200" cap="none" spc="0" normalizeH="0" baseline="0" noProof="0">
                <a:ln>
                  <a:noFill/>
                </a:ln>
                <a:solidFill>
                  <a:srgbClr val="000000">
                    <a:lumMod val="65000"/>
                    <a:lumOff val="35000"/>
                  </a:srgbClr>
                </a:solidFill>
                <a:effectLst/>
                <a:uLnTx/>
                <a:uFillTx/>
                <a:latin typeface="Aptos"/>
                <a:ea typeface="+mn-ea"/>
                <a:cs typeface="+mn-cs"/>
              </a:rPr>
              <a:t>Real-Time Data Processing: The system should be capable of processing competitor data in real-time to enable dynamic pricing adjustments.</a:t>
            </a: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US" sz="1000" b="0" i="0" u="none" strike="noStrike" kern="1200" cap="none" spc="0" normalizeH="0" baseline="0" noProof="0">
                <a:ln>
                  <a:noFill/>
                </a:ln>
                <a:solidFill>
                  <a:srgbClr val="000000">
                    <a:lumMod val="65000"/>
                    <a:lumOff val="35000"/>
                  </a:srgbClr>
                </a:solidFill>
                <a:effectLst/>
                <a:uLnTx/>
                <a:uFillTx/>
                <a:latin typeface="Aptos"/>
                <a:ea typeface="+mn-ea"/>
                <a:cs typeface="+mn-cs"/>
              </a:rPr>
              <a:t>Pricing Adjustment Interface: Develop a user-friendly interface for analysts to review and approve the pricing adjustments suggested by the system.</a:t>
            </a: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US" sz="1000" b="0" i="0" u="none" strike="noStrike" kern="1200" cap="none" spc="0" normalizeH="0" baseline="0" noProof="0">
                <a:ln>
                  <a:noFill/>
                </a:ln>
                <a:solidFill>
                  <a:srgbClr val="000000">
                    <a:lumMod val="65000"/>
                    <a:lumOff val="35000"/>
                  </a:srgbClr>
                </a:solidFill>
                <a:effectLst/>
                <a:uLnTx/>
                <a:uFillTx/>
                <a:latin typeface="Aptos"/>
                <a:ea typeface="+mn-ea"/>
                <a:cs typeface="+mn-cs"/>
              </a:rPr>
              <a:t>Adjustment Validation: The system should validate the pricing adjustments against predefined rules to ensure compliance with pricing policies and regulations.</a:t>
            </a: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US" sz="1000" b="0" i="0" u="none" strike="noStrike" kern="1200" cap="none" spc="0" normalizeH="0" baseline="0" noProof="0">
                <a:ln>
                  <a:noFill/>
                </a:ln>
                <a:solidFill>
                  <a:srgbClr val="000000">
                    <a:lumMod val="65000"/>
                    <a:lumOff val="35000"/>
                  </a:srgbClr>
                </a:solidFill>
                <a:effectLst/>
                <a:uLnTx/>
                <a:uFillTx/>
                <a:latin typeface="Aptos"/>
                <a:ea typeface="+mn-ea"/>
                <a:cs typeface="+mn-cs"/>
              </a:rPr>
              <a:t>Adjustment Implementation: The system should be able to implement the approved pricing adjustments in the marketplace.</a:t>
            </a: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US" sz="1000" b="0" i="0" u="none" strike="noStrike" kern="1200" cap="none" spc="0" normalizeH="0" baseline="0" noProof="0">
                <a:ln>
                  <a:noFill/>
                </a:ln>
                <a:solidFill>
                  <a:srgbClr val="000000">
                    <a:lumMod val="65000"/>
                    <a:lumOff val="35000"/>
                  </a:srgbClr>
                </a:solidFill>
                <a:effectLst/>
                <a:uLnTx/>
                <a:uFillTx/>
                <a:latin typeface="Aptos"/>
                <a:ea typeface="+mn-ea"/>
                <a:cs typeface="+mn-cs"/>
              </a:rPr>
              <a:t>Reporting and Analytics: The system should provide reports and analytics on the pricing adjustments and their impact on sales and revenue.</a:t>
            </a:r>
          </a:p>
        </p:txBody>
      </p:sp>
      <p:sp>
        <p:nvSpPr>
          <p:cNvPr id="17" name="Textplatzhalter 2">
            <a:extLst>
              <a:ext uri="{FF2B5EF4-FFF2-40B4-BE49-F238E27FC236}">
                <a16:creationId xmlns:a16="http://schemas.microsoft.com/office/drawing/2014/main" id="{6BC61003-C8B1-66EE-AD30-B75619BAEA38}"/>
              </a:ext>
            </a:extLst>
          </p:cNvPr>
          <p:cNvSpPr txBox="1">
            <a:spLocks/>
          </p:cNvSpPr>
          <p:nvPr/>
        </p:nvSpPr>
        <p:spPr>
          <a:xfrm>
            <a:off x="9380764" y="130060"/>
            <a:ext cx="2622096" cy="646934"/>
          </a:xfrm>
          <a:prstGeom prst="rect">
            <a:avLst/>
          </a:prstGeom>
        </p:spPr>
        <p:txBody>
          <a:bodyPr lIns="0" tIns="0" rIns="0" bIns="0" anchor="t"/>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900" b="0" i="0" u="none" strike="noStrike" kern="1200" cap="none" spc="0" normalizeH="0" baseline="0" noProof="0">
                <a:ln>
                  <a:noFill/>
                </a:ln>
                <a:solidFill>
                  <a:schemeClr val="bg1"/>
                </a:solidFill>
                <a:effectLst/>
                <a:uLnTx/>
                <a:uFillTx/>
                <a:latin typeface="Segoe UI Semibold"/>
                <a:ea typeface="+mn-ea"/>
                <a:cs typeface="Segoe UI" panose="020B0502040204020203" pitchFamily="34" charset="0"/>
              </a:rPr>
              <a:t>Business Use Case Prioritization</a:t>
            </a:r>
          </a:p>
          <a:p>
            <a:pPr marL="228600" marR="0" lvl="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AutoNum type="arabicPeriod"/>
              <a:tabLst/>
              <a:defRPr/>
            </a:pPr>
            <a:r>
              <a:rPr kumimoji="0" lang="en-US" sz="900" b="0" i="0" u="none" strike="noStrike" kern="1200" cap="none" spc="0" normalizeH="0" baseline="0" noProof="0">
                <a:ln>
                  <a:noFill/>
                </a:ln>
                <a:solidFill>
                  <a:schemeClr val="bg1"/>
                </a:solidFill>
                <a:effectLst/>
                <a:uLnTx/>
                <a:uFillTx/>
                <a:latin typeface="Segoe UI Semibold"/>
                <a:ea typeface="+mn-ea"/>
                <a:cs typeface="Segoe UI" panose="020B0502040204020203" pitchFamily="34" charset="0"/>
              </a:rPr>
              <a:t>Business Value:  L to H (1 – 5)</a:t>
            </a:r>
          </a:p>
          <a:p>
            <a:pPr marL="228600" marR="0" lvl="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AutoNum type="arabicPeriod"/>
              <a:tabLst/>
              <a:defRPr/>
            </a:pPr>
            <a:r>
              <a:rPr kumimoji="0" lang="en-US" sz="900" b="0" i="0" u="none" strike="noStrike" kern="1200" cap="none" spc="0" normalizeH="0" baseline="0" noProof="0">
                <a:ln>
                  <a:noFill/>
                </a:ln>
                <a:solidFill>
                  <a:schemeClr val="bg1"/>
                </a:solidFill>
                <a:effectLst/>
                <a:uLnTx/>
                <a:uFillTx/>
                <a:latin typeface="Segoe UI Semibold"/>
                <a:ea typeface="+mn-ea"/>
                <a:cs typeface="Segoe UI" panose="020B0502040204020203" pitchFamily="34" charset="0"/>
              </a:rPr>
              <a:t>Implementation Effort: H to L (1 – 5) </a:t>
            </a:r>
          </a:p>
        </p:txBody>
      </p:sp>
      <p:sp>
        <p:nvSpPr>
          <p:cNvPr id="19" name="Titel 1">
            <a:extLst>
              <a:ext uri="{FF2B5EF4-FFF2-40B4-BE49-F238E27FC236}">
                <a16:creationId xmlns:a16="http://schemas.microsoft.com/office/drawing/2014/main" id="{218309D3-BBDC-0361-B61F-3A2A497C51AD}"/>
              </a:ext>
            </a:extLst>
          </p:cNvPr>
          <p:cNvSpPr txBox="1">
            <a:spLocks/>
          </p:cNvSpPr>
          <p:nvPr/>
        </p:nvSpPr>
        <p:spPr>
          <a:xfrm>
            <a:off x="73478" y="631203"/>
            <a:ext cx="8837159" cy="184666"/>
          </a:xfrm>
          <a:prstGeom prst="rect">
            <a:avLst/>
          </a:prstGeom>
        </p:spPr>
        <p:txBody>
          <a:bodyPr vert="horz" wrap="square" lIns="0" tIns="0" rIns="0" bIns="0" rtlCol="0" anchor="ctr">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200" b="0" i="0" u="none" strike="noStrike" kern="1200" cap="none" spc="0" normalizeH="0" baseline="0" noProof="0">
                <a:ln w="3175">
                  <a:noFill/>
                </a:ln>
                <a:solidFill>
                  <a:schemeClr val="bg1"/>
                </a:solidFill>
                <a:effectLst/>
                <a:uLnTx/>
                <a:uFillTx/>
                <a:latin typeface="Segoe UI Semibold"/>
                <a:ea typeface="+mn-ea"/>
                <a:cs typeface="Segoe UI" pitchFamily="34" charset="0"/>
              </a:rPr>
              <a:t>Business Process Challenge: (Need to understand, anticipate and proactively respond to competitor pricing action)</a:t>
            </a:r>
          </a:p>
        </p:txBody>
      </p:sp>
      <p:pic>
        <p:nvPicPr>
          <p:cNvPr id="5" name="Picture 4">
            <a:extLst>
              <a:ext uri="{FF2B5EF4-FFF2-40B4-BE49-F238E27FC236}">
                <a16:creationId xmlns:a16="http://schemas.microsoft.com/office/drawing/2014/main" id="{3E10FF96-E3B3-0AEE-4CE6-CC4A32EC2713}"/>
              </a:ext>
            </a:extLst>
          </p:cNvPr>
          <p:cNvPicPr>
            <a:picLocks noChangeAspect="1"/>
          </p:cNvPicPr>
          <p:nvPr/>
        </p:nvPicPr>
        <p:blipFill>
          <a:blip r:embed="rId3"/>
          <a:srcRect/>
          <a:stretch/>
        </p:blipFill>
        <p:spPr>
          <a:xfrm>
            <a:off x="6872766" y="121153"/>
            <a:ext cx="2279398" cy="366785"/>
          </a:xfrm>
          <a:prstGeom prst="rect">
            <a:avLst/>
          </a:prstGeom>
          <a:ln>
            <a:solidFill>
              <a:srgbClr val="9BF00B"/>
            </a:solidFill>
          </a:ln>
        </p:spPr>
      </p:pic>
    </p:spTree>
    <p:extLst>
      <p:ext uri="{BB962C8B-B14F-4D97-AF65-F5344CB8AC3E}">
        <p14:creationId xmlns:p14="http://schemas.microsoft.com/office/powerpoint/2010/main" val="880876687"/>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A00EAC9-804C-3F99-DB92-1E430FC3D793}"/>
              </a:ext>
              <a:ext uri="{C183D7F6-B498-43B3-948B-1728B52AA6E4}">
                <adec:decorative xmlns:adec="http://schemas.microsoft.com/office/drawing/2017/decorative" val="1"/>
              </a:ext>
            </a:extLst>
          </p:cNvPr>
          <p:cNvSpPr/>
          <p:nvPr/>
        </p:nvSpPr>
        <p:spPr bwMode="auto">
          <a:xfrm>
            <a:off x="0" y="-1806"/>
            <a:ext cx="12192000" cy="853975"/>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 name="Title 61">
            <a:extLst>
              <a:ext uri="{FF2B5EF4-FFF2-40B4-BE49-F238E27FC236}">
                <a16:creationId xmlns:a16="http://schemas.microsoft.com/office/drawing/2014/main" id="{41D7FB24-6AD6-DB9E-FFCD-588F980E8F47}"/>
              </a:ext>
            </a:extLst>
          </p:cNvPr>
          <p:cNvSpPr txBox="1">
            <a:spLocks/>
          </p:cNvSpPr>
          <p:nvPr/>
        </p:nvSpPr>
        <p:spPr>
          <a:xfrm>
            <a:off x="73478" y="-1806"/>
            <a:ext cx="4338176" cy="373100"/>
          </a:xfrm>
          <a:prstGeom prst="rect">
            <a:avLst/>
          </a:prstGeom>
        </p:spPr>
        <p:txBody>
          <a:bodyPr/>
          <a:lstStyle>
            <a:lvl1pPr algn="l" defTabSz="932742" rtl="0" eaLnBrk="1" latinLnBrk="0" hangingPunct="1">
              <a:lnSpc>
                <a:spcPct val="100000"/>
              </a:lnSpc>
              <a:spcBef>
                <a:spcPct val="0"/>
              </a:spcBef>
              <a:buNone/>
              <a:defRPr lang="en-US" sz="2000" b="0" kern="1200" cap="none" spc="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dirty="0">
                <a:ln w="3175">
                  <a:noFill/>
                </a:ln>
                <a:solidFill>
                  <a:schemeClr val="bg1"/>
                </a:solidFill>
                <a:effectLst/>
                <a:uLnTx/>
                <a:uFillTx/>
                <a:latin typeface="Aptos SemiBold"/>
                <a:ea typeface="+mn-ea"/>
                <a:cs typeface="Segoe UI" pitchFamily="34" charset="0"/>
              </a:rPr>
              <a:t>AI Use Cases Discovery</a:t>
            </a:r>
          </a:p>
        </p:txBody>
      </p:sp>
      <p:sp>
        <p:nvSpPr>
          <p:cNvPr id="4" name="Titel 1">
            <a:extLst>
              <a:ext uri="{FF2B5EF4-FFF2-40B4-BE49-F238E27FC236}">
                <a16:creationId xmlns:a16="http://schemas.microsoft.com/office/drawing/2014/main" id="{5B37C216-2900-617A-3A68-E8C71F39D530}"/>
              </a:ext>
            </a:extLst>
          </p:cNvPr>
          <p:cNvSpPr txBox="1">
            <a:spLocks/>
          </p:cNvSpPr>
          <p:nvPr/>
        </p:nvSpPr>
        <p:spPr>
          <a:xfrm>
            <a:off x="73480" y="375546"/>
            <a:ext cx="3829050" cy="184666"/>
          </a:xfrm>
          <a:prstGeom prst="rect">
            <a:avLst/>
          </a:prstGeom>
        </p:spPr>
        <p:txBody>
          <a:bodyPr vert="horz" wrap="square" lIns="0" tIns="0" rIns="0" bIns="0" rtlCol="0" anchor="ctr">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200" b="0" i="0" u="none" strike="noStrike" kern="1200" cap="none" spc="0" normalizeH="0" baseline="0" noProof="0">
                <a:ln w="3175">
                  <a:noFill/>
                </a:ln>
                <a:solidFill>
                  <a:schemeClr val="bg1"/>
                </a:solidFill>
                <a:effectLst/>
                <a:uLnTx/>
                <a:uFillTx/>
                <a:latin typeface="Segoe UI Semibold"/>
                <a:ea typeface="+mn-ea"/>
                <a:cs typeface="Segoe UI" pitchFamily="34" charset="0"/>
              </a:rPr>
              <a:t>Customer: (Contoso Health)</a:t>
            </a:r>
          </a:p>
        </p:txBody>
      </p:sp>
      <p:sp>
        <p:nvSpPr>
          <p:cNvPr id="13" name="Textplatzhalter 2">
            <a:extLst>
              <a:ext uri="{FF2B5EF4-FFF2-40B4-BE49-F238E27FC236}">
                <a16:creationId xmlns:a16="http://schemas.microsoft.com/office/drawing/2014/main" id="{486EDFAD-DC1B-4196-2B7F-9A3CCC9A2284}"/>
              </a:ext>
            </a:extLst>
          </p:cNvPr>
          <p:cNvSpPr txBox="1">
            <a:spLocks/>
          </p:cNvSpPr>
          <p:nvPr/>
        </p:nvSpPr>
        <p:spPr>
          <a:xfrm>
            <a:off x="4959803" y="133545"/>
            <a:ext cx="4192361" cy="373100"/>
          </a:xfrm>
          <a:prstGeom prst="rect">
            <a:avLst/>
          </a:prstGeom>
        </p:spPr>
        <p:txBody>
          <a:bodyPr lIns="0" tIns="0" rIns="0" bIns="0" anchor="t"/>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000" b="0" i="0" u="none" strike="noStrike" kern="1200" cap="none" spc="0" normalizeH="0" baseline="0" noProof="0">
                <a:ln>
                  <a:noFill/>
                </a:ln>
                <a:solidFill>
                  <a:schemeClr val="bg1"/>
                </a:solidFill>
                <a:effectLst/>
                <a:uLnTx/>
                <a:uFillTx/>
                <a:latin typeface="Segoe UI Semibold"/>
                <a:ea typeface="+mn-ea"/>
                <a:cs typeface="Segoe UI" panose="020B0502040204020203" pitchFamily="34" charset="0"/>
              </a:rPr>
              <a:t>Aligned Strategic Priority:</a:t>
            </a:r>
          </a:p>
        </p:txBody>
      </p:sp>
      <p:sp>
        <p:nvSpPr>
          <p:cNvPr id="8" name="Rectangle 7">
            <a:extLst>
              <a:ext uri="{FF2B5EF4-FFF2-40B4-BE49-F238E27FC236}">
                <a16:creationId xmlns:a16="http://schemas.microsoft.com/office/drawing/2014/main" id="{B1925F69-A493-5540-27A7-643D139D6DD0}"/>
              </a:ext>
            </a:extLst>
          </p:cNvPr>
          <p:cNvSpPr>
            <a:spLocks/>
          </p:cNvSpPr>
          <p:nvPr/>
        </p:nvSpPr>
        <p:spPr bwMode="auto">
          <a:xfrm>
            <a:off x="74234" y="1038226"/>
            <a:ext cx="3207130" cy="5765604"/>
          </a:xfrm>
          <a:prstGeom prst="rect">
            <a:avLst/>
          </a:prstGeom>
          <a:solidFill>
            <a:schemeClr val="bg1">
              <a:alpha val="99000"/>
            </a:schemeClr>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US" sz="900" b="1" i="0" u="none" strike="noStrike" kern="1200" cap="none" spc="0" normalizeH="0" baseline="0" noProof="0">
                <a:ln>
                  <a:noFill/>
                </a:ln>
                <a:solidFill>
                  <a:srgbClr val="000000">
                    <a:lumMod val="65000"/>
                    <a:lumOff val="35000"/>
                  </a:srgbClr>
                </a:solidFill>
                <a:effectLst/>
                <a:uLnTx/>
                <a:uFillTx/>
                <a:latin typeface="Aptos"/>
                <a:ea typeface="+mn-ea"/>
                <a:cs typeface="+mn-cs"/>
              </a:rPr>
              <a:t>Use Cases</a:t>
            </a: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US" sz="900" b="0" i="0" u="none" strike="noStrike" kern="1200" cap="none" spc="0" normalizeH="0" baseline="0" noProof="0">
                <a:ln>
                  <a:noFill/>
                </a:ln>
                <a:solidFill>
                  <a:srgbClr val="000000"/>
                </a:solidFill>
                <a:effectLst/>
                <a:uLnTx/>
                <a:uFillTx/>
                <a:latin typeface="Aptos"/>
                <a:ea typeface="+mn-ea"/>
                <a:cs typeface="+mn-cs"/>
              </a:rPr>
              <a:t>Based on the information, here are some potential AI-driven </a:t>
            </a:r>
            <a:r>
              <a:rPr kumimoji="0" lang="en-US" sz="900" b="0" i="0" u="none" strike="noStrike" kern="1200" cap="none" spc="0" normalizeH="0" baseline="0" noProof="0">
                <a:ln>
                  <a:noFill/>
                </a:ln>
                <a:solidFill>
                  <a:srgbClr val="000000"/>
                </a:solidFill>
                <a:effectLst/>
                <a:uLnTx/>
                <a:uFillTx/>
                <a:latin typeface="Aptos"/>
              </a:rPr>
              <a:t>Business Use Cases:</a:t>
            </a:r>
            <a:endParaRPr lang="en-US" sz="900" b="0" i="0" u="none" strike="noStrike" kern="1200" cap="none" spc="0" normalizeH="0" baseline="0" noProof="0">
              <a:ln>
                <a:noFill/>
              </a:ln>
              <a:solidFill>
                <a:srgbClr val="000000"/>
              </a:solidFill>
              <a:effectLst/>
              <a:uLnTx/>
              <a:uFillTx/>
              <a:latin typeface="Aptos"/>
            </a:endParaRPr>
          </a:p>
          <a:p>
            <a:pPr marL="0" marR="0" lvl="0" indent="0" algn="l" defTabSz="914400">
              <a:lnSpc>
                <a:spcPct val="100000"/>
              </a:lnSpc>
              <a:spcBef>
                <a:spcPts val="0"/>
              </a:spcBef>
              <a:spcAft>
                <a:spcPts val="200"/>
              </a:spcAft>
              <a:buClrTx/>
              <a:buSzTx/>
              <a:buFont typeface="Arial" panose="020B0604020202020204" pitchFamily="34" charset="0"/>
              <a:buNone/>
              <a:tabLst/>
              <a:defRPr/>
            </a:pPr>
            <a:endParaRPr lang="en-US" sz="900" b="0" i="0" u="none" strike="noStrike" kern="1200" cap="none" spc="0" normalizeH="0" baseline="0" noProof="0">
              <a:ln>
                <a:noFill/>
              </a:ln>
              <a:solidFill>
                <a:srgbClr val="000000"/>
              </a:solidFill>
              <a:effectLst/>
              <a:uLnTx/>
              <a:uFillTx/>
              <a:latin typeface="Aptos"/>
            </a:endParaRPr>
          </a:p>
          <a:p>
            <a:pPr marL="0" marR="0" lvl="0" indent="0" algn="l" defTabSz="914400">
              <a:lnSpc>
                <a:spcPct val="100000"/>
              </a:lnSpc>
              <a:spcBef>
                <a:spcPts val="0"/>
              </a:spcBef>
              <a:spcAft>
                <a:spcPts val="200"/>
              </a:spcAft>
              <a:buClrTx/>
              <a:buSzTx/>
              <a:buFont typeface="Arial" panose="020B0604020202020204" pitchFamily="34" charset="0"/>
              <a:buNone/>
              <a:tabLst/>
              <a:defRPr/>
            </a:pPr>
            <a:r>
              <a:rPr kumimoji="0" lang="en-US" sz="900" b="1" i="0" u="none" strike="noStrike" kern="1200" cap="none" spc="0" normalizeH="0" baseline="0" noProof="0">
                <a:ln>
                  <a:noFill/>
                </a:ln>
                <a:solidFill>
                  <a:srgbClr val="000000"/>
                </a:solidFill>
                <a:effectLst/>
                <a:uLnTx/>
                <a:uFillTx/>
                <a:latin typeface="Aptos"/>
              </a:rPr>
              <a:t>Competitive Pricing Analysis</a:t>
            </a:r>
            <a:r>
              <a:rPr kumimoji="0" lang="en-US" sz="900" b="0" i="0" u="none" strike="noStrike" kern="1200" cap="none" spc="0" normalizeH="0" baseline="0" noProof="0">
                <a:ln>
                  <a:noFill/>
                </a:ln>
                <a:solidFill>
                  <a:srgbClr val="000000"/>
                </a:solidFill>
                <a:effectLst/>
                <a:uLnTx/>
                <a:uFillTx/>
                <a:latin typeface="Aptos"/>
              </a:rPr>
              <a:t>: Develop an AI model that can analyze competitor pricing data and suggest optimal pricing for Oso One IFP insurance plans. This would ensure that the pricing is competitive and attractive to potential clients.</a:t>
            </a:r>
            <a:endParaRPr lang="en-US">
              <a:latin typeface="Aptos"/>
            </a:endParaRPr>
          </a:p>
          <a:p>
            <a:pPr marL="0" marR="0" lvl="0" indent="0" algn="l" defTabSz="914400">
              <a:lnSpc>
                <a:spcPct val="100000"/>
              </a:lnSpc>
              <a:spcBef>
                <a:spcPts val="0"/>
              </a:spcBef>
              <a:spcAft>
                <a:spcPts val="200"/>
              </a:spcAft>
              <a:buClrTx/>
              <a:buSzTx/>
              <a:buFont typeface="Arial" panose="020B0604020202020204" pitchFamily="34" charset="0"/>
              <a:buNone/>
              <a:tabLst/>
              <a:defRPr/>
            </a:pPr>
            <a:endParaRPr lang="en-US" sz="900" b="0" i="0" u="none" strike="noStrike" kern="1200" cap="none" spc="0" normalizeH="0" baseline="0" noProof="0">
              <a:ln>
                <a:noFill/>
              </a:ln>
              <a:solidFill>
                <a:srgbClr val="000000"/>
              </a:solidFill>
              <a:effectLst/>
              <a:uLnTx/>
              <a:uFillTx/>
              <a:latin typeface="Aptos"/>
            </a:endParaRPr>
          </a:p>
          <a:p>
            <a:pPr marL="0" marR="0" lvl="0" indent="0" algn="l" defTabSz="914400">
              <a:lnSpc>
                <a:spcPct val="100000"/>
              </a:lnSpc>
              <a:spcBef>
                <a:spcPts val="0"/>
              </a:spcBef>
              <a:spcAft>
                <a:spcPts val="200"/>
              </a:spcAft>
              <a:buClrTx/>
              <a:buSzTx/>
              <a:buFont typeface="Arial" panose="020B0604020202020204" pitchFamily="34" charset="0"/>
              <a:buNone/>
              <a:tabLst/>
              <a:defRPr/>
            </a:pPr>
            <a:r>
              <a:rPr kumimoji="0" lang="en-US" sz="900" b="1" i="0" u="none" strike="noStrike" kern="1200" cap="none" spc="0" normalizeH="0" baseline="0" noProof="0">
                <a:ln>
                  <a:noFill/>
                </a:ln>
                <a:solidFill>
                  <a:srgbClr val="000000"/>
                </a:solidFill>
                <a:effectLst/>
                <a:uLnTx/>
                <a:uFillTx/>
                <a:latin typeface="Aptos"/>
              </a:rPr>
              <a:t>Automated Data Ingestion and Processing</a:t>
            </a:r>
            <a:r>
              <a:rPr kumimoji="0" lang="en-US" sz="900" b="0" i="0" u="none" strike="noStrike" kern="1200" cap="none" spc="0" normalizeH="0" baseline="0" noProof="0">
                <a:ln>
                  <a:noFill/>
                </a:ln>
                <a:solidFill>
                  <a:srgbClr val="000000"/>
                </a:solidFill>
                <a:effectLst/>
                <a:uLnTx/>
                <a:uFillTx/>
                <a:latin typeface="Aptos"/>
              </a:rPr>
              <a:t>: Implement an automated system for ingesting and processing competitor data. This would reduce the manual effort and time currently required, leading to cost savings and increased efficiency.</a:t>
            </a:r>
            <a:endParaRPr lang="en-US">
              <a:latin typeface="Aptos"/>
            </a:endParaRPr>
          </a:p>
          <a:p>
            <a:pPr marL="0" marR="0" lvl="0" indent="0" algn="l" defTabSz="914400">
              <a:lnSpc>
                <a:spcPct val="100000"/>
              </a:lnSpc>
              <a:spcBef>
                <a:spcPts val="0"/>
              </a:spcBef>
              <a:spcAft>
                <a:spcPts val="200"/>
              </a:spcAft>
              <a:buClrTx/>
              <a:buSzTx/>
              <a:buFont typeface="Arial" panose="020B0604020202020204" pitchFamily="34" charset="0"/>
              <a:buNone/>
              <a:tabLst/>
              <a:defRPr/>
            </a:pPr>
            <a:endParaRPr lang="en-US" sz="900" b="0" i="0" u="none" strike="noStrike" kern="1200" cap="none" spc="0" normalizeH="0" baseline="0" noProof="0">
              <a:ln>
                <a:noFill/>
              </a:ln>
              <a:solidFill>
                <a:srgbClr val="000000"/>
              </a:solidFill>
              <a:effectLst/>
              <a:uLnTx/>
              <a:uFillTx/>
              <a:latin typeface="Aptos"/>
            </a:endParaRPr>
          </a:p>
          <a:p>
            <a:pPr marL="0" marR="0" lvl="0" indent="0" algn="l" defTabSz="914400">
              <a:lnSpc>
                <a:spcPct val="100000"/>
              </a:lnSpc>
              <a:spcBef>
                <a:spcPts val="0"/>
              </a:spcBef>
              <a:spcAft>
                <a:spcPts val="200"/>
              </a:spcAft>
              <a:buClrTx/>
              <a:buSzTx/>
              <a:buFont typeface="Arial" panose="020B0604020202020204" pitchFamily="34" charset="0"/>
              <a:buNone/>
              <a:tabLst/>
              <a:defRPr/>
            </a:pPr>
            <a:r>
              <a:rPr kumimoji="0" lang="en-US" sz="900" b="1" i="0" u="none" strike="noStrike" kern="1200" cap="none" spc="0" normalizeH="0" baseline="0" noProof="0">
                <a:ln>
                  <a:noFill/>
                </a:ln>
                <a:solidFill>
                  <a:srgbClr val="000000"/>
                </a:solidFill>
                <a:effectLst/>
                <a:uLnTx/>
                <a:uFillTx/>
                <a:latin typeface="Aptos"/>
              </a:rPr>
              <a:t>Dynamic Pricing Adjustment</a:t>
            </a:r>
            <a:r>
              <a:rPr kumimoji="0" lang="en-US" sz="900" b="0" i="0" u="none" strike="noStrike" kern="1200" cap="none" spc="0" normalizeH="0" baseline="0" noProof="0">
                <a:ln>
                  <a:noFill/>
                </a:ln>
                <a:solidFill>
                  <a:srgbClr val="000000"/>
                </a:solidFill>
                <a:effectLst/>
                <a:uLnTx/>
                <a:uFillTx/>
                <a:latin typeface="Aptos"/>
              </a:rPr>
              <a:t>: Develop a system that can dynamically adjust the pricing of Oso One IFP insurance plans based on the analyzed competitor data. This would ensure that the pricing remains optimal and competitive at all times.</a:t>
            </a:r>
            <a:endParaRPr lang="en-US">
              <a:latin typeface="Aptos"/>
            </a:endParaRPr>
          </a:p>
          <a:p>
            <a:pPr marL="0" marR="0" lvl="0" indent="0" algn="l" defTabSz="914400">
              <a:lnSpc>
                <a:spcPct val="100000"/>
              </a:lnSpc>
              <a:spcBef>
                <a:spcPts val="0"/>
              </a:spcBef>
              <a:spcAft>
                <a:spcPts val="200"/>
              </a:spcAft>
              <a:buClrTx/>
              <a:buSzTx/>
              <a:buFont typeface="Arial" panose="020B0604020202020204" pitchFamily="34" charset="0"/>
              <a:buNone/>
              <a:tabLst/>
              <a:defRPr/>
            </a:pPr>
            <a:endParaRPr lang="en-US" sz="900" b="0" i="0" u="none" strike="noStrike" kern="1200" cap="none" spc="0" normalizeH="0" baseline="0" noProof="0">
              <a:ln>
                <a:noFill/>
              </a:ln>
              <a:solidFill>
                <a:srgbClr val="000000"/>
              </a:solidFill>
              <a:effectLst/>
              <a:uLnTx/>
              <a:uFillTx/>
              <a:latin typeface="Aptos"/>
            </a:endParaRPr>
          </a:p>
          <a:p>
            <a:pPr marL="0" marR="0" lvl="0" indent="0" algn="l" defTabSz="914400">
              <a:lnSpc>
                <a:spcPct val="100000"/>
              </a:lnSpc>
              <a:spcBef>
                <a:spcPts val="0"/>
              </a:spcBef>
              <a:spcAft>
                <a:spcPts val="200"/>
              </a:spcAft>
              <a:buClrTx/>
              <a:buSzTx/>
              <a:buFont typeface="Arial" panose="020B0604020202020204" pitchFamily="34" charset="0"/>
              <a:buNone/>
              <a:tabLst/>
              <a:defRPr/>
            </a:pPr>
            <a:r>
              <a:rPr kumimoji="0" lang="en-US" sz="900" b="1" i="0" u="none" strike="noStrike" kern="1200" cap="none" spc="0" normalizeH="0" baseline="0" noProof="0">
                <a:ln>
                  <a:noFill/>
                </a:ln>
                <a:solidFill>
                  <a:srgbClr val="000000"/>
                </a:solidFill>
                <a:effectLst/>
                <a:uLnTx/>
                <a:uFillTx/>
                <a:latin typeface="Aptos"/>
              </a:rPr>
              <a:t>Market Trend Analysis</a:t>
            </a:r>
            <a:r>
              <a:rPr kumimoji="0" lang="en-US" sz="900" b="0" i="0" u="none" strike="noStrike" kern="1200" cap="none" spc="0" normalizeH="0" baseline="0" noProof="0">
                <a:ln>
                  <a:noFill/>
                </a:ln>
                <a:solidFill>
                  <a:srgbClr val="000000"/>
                </a:solidFill>
                <a:effectLst/>
                <a:uLnTx/>
                <a:uFillTx/>
                <a:latin typeface="Aptos"/>
              </a:rPr>
              <a:t>: Use AI to analyze market trends and predict future pricing strategies of competitors. This would allow Contoso Health to proactively adjust their pricing strategy and stay ahead of the competition.</a:t>
            </a:r>
            <a:endParaRPr lang="en-US">
              <a:latin typeface="Aptos"/>
            </a:endParaRPr>
          </a:p>
          <a:p>
            <a:pPr marL="0" marR="0" lvl="0" indent="0" algn="l" defTabSz="914400">
              <a:lnSpc>
                <a:spcPct val="100000"/>
              </a:lnSpc>
              <a:spcBef>
                <a:spcPts val="0"/>
              </a:spcBef>
              <a:spcAft>
                <a:spcPts val="200"/>
              </a:spcAft>
              <a:buClrTx/>
              <a:buSzTx/>
              <a:buFont typeface="Arial" panose="020B0604020202020204" pitchFamily="34" charset="0"/>
              <a:buNone/>
              <a:tabLst/>
              <a:defRPr/>
            </a:pPr>
            <a:endParaRPr lang="en-US" sz="900" b="0" i="0" u="none" strike="noStrike" kern="1200" cap="none" spc="0" normalizeH="0" baseline="0" noProof="0">
              <a:ln>
                <a:noFill/>
              </a:ln>
              <a:solidFill>
                <a:srgbClr val="000000"/>
              </a:solidFill>
              <a:effectLst/>
              <a:uLnTx/>
              <a:uFillTx/>
              <a:latin typeface="Aptos"/>
            </a:endParaRPr>
          </a:p>
          <a:p>
            <a:pPr marL="0" marR="0" lvl="0" indent="0" algn="l" defTabSz="914400">
              <a:lnSpc>
                <a:spcPct val="100000"/>
              </a:lnSpc>
              <a:spcBef>
                <a:spcPts val="0"/>
              </a:spcBef>
              <a:spcAft>
                <a:spcPts val="200"/>
              </a:spcAft>
              <a:buClrTx/>
              <a:buSzTx/>
              <a:buFont typeface="Arial" panose="020B0604020202020204" pitchFamily="34" charset="0"/>
              <a:buNone/>
              <a:tabLst/>
              <a:defRPr/>
            </a:pPr>
            <a:r>
              <a:rPr kumimoji="0" lang="en-US" sz="900" b="1" i="0" u="none" strike="noStrike" kern="1200" cap="none" spc="0" normalizeH="0" baseline="0" noProof="0">
                <a:ln>
                  <a:noFill/>
                </a:ln>
                <a:solidFill>
                  <a:srgbClr val="000000"/>
                </a:solidFill>
                <a:effectLst/>
                <a:uLnTx/>
                <a:uFillTx/>
                <a:latin typeface="Aptos"/>
              </a:rPr>
              <a:t>Cost-Benefit Analysis</a:t>
            </a:r>
            <a:r>
              <a:rPr kumimoji="0" lang="en-US" sz="900" b="0" i="0" u="none" strike="noStrike" kern="1200" cap="none" spc="0" normalizeH="0" baseline="0" noProof="0">
                <a:ln>
                  <a:noFill/>
                </a:ln>
                <a:solidFill>
                  <a:srgbClr val="000000"/>
                </a:solidFill>
                <a:effectLst/>
                <a:uLnTx/>
                <a:uFillTx/>
                <a:latin typeface="Aptos"/>
              </a:rPr>
              <a:t>: Conduct a cost-benefit analysis to evaluate the financial impact of implementing the new system versus the current manual process. This would provide a clear picture of the potential cost savings and return on investment.</a:t>
            </a:r>
            <a:endParaRPr lang="en-US">
              <a:latin typeface="Aptos"/>
            </a:endParaRPr>
          </a:p>
          <a:p>
            <a:pPr marL="0" marR="0" lvl="0" indent="0" algn="l" defTabSz="914400">
              <a:lnSpc>
                <a:spcPct val="100000"/>
              </a:lnSpc>
              <a:spcBef>
                <a:spcPts val="0"/>
              </a:spcBef>
              <a:spcAft>
                <a:spcPts val="200"/>
              </a:spcAft>
              <a:buClrTx/>
              <a:buSzTx/>
              <a:buFont typeface="Arial" panose="020B0604020202020204" pitchFamily="34" charset="0"/>
              <a:buNone/>
              <a:tabLst/>
              <a:defRPr/>
            </a:pPr>
            <a:endParaRPr lang="en-US" sz="900" b="0" i="0" u="none" strike="noStrike" kern="1200" cap="none" spc="0" normalizeH="0" baseline="0" noProof="0">
              <a:ln>
                <a:noFill/>
              </a:ln>
              <a:solidFill>
                <a:srgbClr val="000000"/>
              </a:solidFill>
              <a:effectLst/>
              <a:uLnTx/>
              <a:uFillTx/>
              <a:latin typeface="Aptos"/>
            </a:endParaRPr>
          </a:p>
          <a:p>
            <a:pPr marL="0" marR="0" lvl="0" indent="0" algn="l" defTabSz="914400">
              <a:lnSpc>
                <a:spcPct val="100000"/>
              </a:lnSpc>
              <a:spcBef>
                <a:spcPts val="0"/>
              </a:spcBef>
              <a:spcAft>
                <a:spcPts val="200"/>
              </a:spcAft>
              <a:buClrTx/>
              <a:buSzTx/>
              <a:buFont typeface="Arial" panose="020B0604020202020204" pitchFamily="34" charset="0"/>
              <a:buNone/>
              <a:tabLst/>
              <a:defRPr/>
            </a:pPr>
            <a:r>
              <a:rPr kumimoji="0" lang="en-US" sz="900" b="1" i="0" u="none" strike="noStrike" kern="1200" cap="none" spc="0" normalizeH="0" baseline="0" noProof="0">
                <a:ln>
                  <a:noFill/>
                </a:ln>
                <a:solidFill>
                  <a:srgbClr val="000000"/>
                </a:solidFill>
                <a:effectLst/>
                <a:uLnTx/>
                <a:uFillTx/>
                <a:latin typeface="Aptos"/>
              </a:rPr>
              <a:t>Impact Analysis</a:t>
            </a:r>
            <a:r>
              <a:rPr kumimoji="0" lang="en-US" sz="900" b="0" i="0" u="none" strike="noStrike" kern="1200" cap="none" spc="0" normalizeH="0" baseline="0" noProof="0">
                <a:ln>
                  <a:noFill/>
                </a:ln>
                <a:solidFill>
                  <a:srgbClr val="000000"/>
                </a:solidFill>
                <a:effectLst/>
                <a:uLnTx/>
                <a:uFillTx/>
                <a:latin typeface="Aptos"/>
              </a:rPr>
              <a:t>: Analyze the impact of the new pricing strategy on the market share and revenue of Oso One IFP insurance plans. This would provide insights into the effectiveness of the new strategy and areas for improvement.</a:t>
            </a:r>
            <a:endParaRPr lang="en-US">
              <a:latin typeface="Aptos"/>
            </a:endParaRPr>
          </a:p>
        </p:txBody>
      </p:sp>
      <p:sp>
        <p:nvSpPr>
          <p:cNvPr id="9" name="Rectangle 8">
            <a:extLst>
              <a:ext uri="{FF2B5EF4-FFF2-40B4-BE49-F238E27FC236}">
                <a16:creationId xmlns:a16="http://schemas.microsoft.com/office/drawing/2014/main" id="{460E6286-41AA-E312-B65D-63C6B31149CD}"/>
              </a:ext>
            </a:extLst>
          </p:cNvPr>
          <p:cNvSpPr>
            <a:spLocks/>
          </p:cNvSpPr>
          <p:nvPr/>
        </p:nvSpPr>
        <p:spPr bwMode="auto">
          <a:xfrm>
            <a:off x="3390900" y="1038226"/>
            <a:ext cx="8507949" cy="5736451"/>
          </a:xfrm>
          <a:prstGeom prst="rect">
            <a:avLst/>
          </a:prstGeom>
          <a:solidFill>
            <a:schemeClr val="bg1">
              <a:alpha val="99000"/>
            </a:schemeClr>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US" sz="1000" b="1" i="0" u="none" strike="noStrike" kern="1200" cap="none" spc="0" normalizeH="0" baseline="0" noProof="0">
                <a:ln>
                  <a:noFill/>
                </a:ln>
                <a:solidFill>
                  <a:srgbClr val="000000">
                    <a:lumMod val="65000"/>
                    <a:lumOff val="35000"/>
                  </a:srgbClr>
                </a:solidFill>
                <a:effectLst/>
                <a:uLnTx/>
                <a:uFillTx/>
                <a:latin typeface="Aptos"/>
                <a:ea typeface="+mn-ea"/>
                <a:cs typeface="+mn-cs"/>
              </a:rPr>
              <a:t>Business Requirements</a:t>
            </a: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endParaRPr kumimoji="0" lang="en-US" sz="1000" b="1" i="0" u="none" strike="noStrike" kern="1200" cap="none" spc="0" normalizeH="0" baseline="0" noProof="0">
              <a:ln>
                <a:noFill/>
              </a:ln>
              <a:solidFill>
                <a:srgbClr val="000000">
                  <a:lumMod val="65000"/>
                  <a:lumOff val="35000"/>
                </a:srgbClr>
              </a:solidFill>
              <a:effectLst/>
              <a:uLnTx/>
              <a:uFillTx/>
              <a:latin typeface="Aptos"/>
              <a:ea typeface="+mn-ea"/>
              <a:cs typeface="+mn-cs"/>
            </a:endParaRP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US" sz="1000" b="1" i="0" u="none" strike="noStrike" kern="1200" cap="none" spc="0" normalizeH="0" baseline="0" noProof="0">
                <a:ln>
                  <a:noFill/>
                </a:ln>
                <a:solidFill>
                  <a:srgbClr val="000000">
                    <a:lumMod val="65000"/>
                    <a:lumOff val="35000"/>
                  </a:srgbClr>
                </a:solidFill>
                <a:effectLst/>
                <a:uLnTx/>
                <a:uFillTx/>
                <a:latin typeface="Aptos"/>
                <a:ea typeface="+mn-ea"/>
                <a:cs typeface="+mn-cs"/>
              </a:rPr>
              <a:t>Business Requirements for the “Market Trend Analysis” use case</a:t>
            </a:r>
            <a:r>
              <a:rPr kumimoji="0" lang="en-US" sz="1000" b="0" i="0" u="none" strike="noStrike" kern="1200" cap="none" spc="0" normalizeH="0" baseline="0" noProof="0">
                <a:ln>
                  <a:noFill/>
                </a:ln>
                <a:solidFill>
                  <a:srgbClr val="000000">
                    <a:lumMod val="65000"/>
                    <a:lumOff val="35000"/>
                  </a:srgbClr>
                </a:solidFill>
                <a:effectLst/>
                <a:uLnTx/>
                <a:uFillTx/>
                <a:latin typeface="Aptos"/>
                <a:ea typeface="+mn-ea"/>
                <a:cs typeface="+mn-cs"/>
              </a:rPr>
              <a:t>:</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lumMod val="65000"/>
                    <a:lumOff val="35000"/>
                  </a:srgbClr>
                </a:solidFill>
                <a:effectLst/>
                <a:uLnTx/>
                <a:uFillTx/>
                <a:latin typeface="Aptos"/>
                <a:ea typeface="+mn-ea"/>
                <a:cs typeface="+mn-cs"/>
              </a:rPr>
              <a:t>Market Trend Analysis Algorithm: Develop an AI algorithm that can analyze market trends and predict future pricing strategies of competitors.</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lumMod val="65000"/>
                    <a:lumOff val="35000"/>
                  </a:srgbClr>
                </a:solidFill>
                <a:effectLst/>
                <a:uLnTx/>
                <a:uFillTx/>
                <a:latin typeface="Aptos"/>
                <a:ea typeface="+mn-ea"/>
                <a:cs typeface="+mn-cs"/>
              </a:rPr>
              <a:t>Real-Time Market Data Processing: The system should be capable of processing real-time market data to enable accurate trend analysis.</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lumMod val="65000"/>
                    <a:lumOff val="35000"/>
                  </a:srgbClr>
                </a:solidFill>
                <a:effectLst/>
                <a:uLnTx/>
                <a:uFillTx/>
                <a:latin typeface="Aptos"/>
                <a:ea typeface="+mn-ea"/>
                <a:cs typeface="+mn-cs"/>
              </a:rPr>
              <a:t>Trend Visualization: Develop a user-friendly interface for analysts to visualize market trends and predicted pricing strategies.</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lumMod val="65000"/>
                    <a:lumOff val="35000"/>
                  </a:srgbClr>
                </a:solidFill>
                <a:effectLst/>
                <a:uLnTx/>
                <a:uFillTx/>
                <a:latin typeface="Aptos"/>
                <a:ea typeface="+mn-ea"/>
                <a:cs typeface="+mn-cs"/>
              </a:rPr>
              <a:t>Predictive Analysis: The system should provide predictive analysis on future market trends based on historical and current data.</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lumMod val="65000"/>
                    <a:lumOff val="35000"/>
                  </a:srgbClr>
                </a:solidFill>
                <a:effectLst/>
                <a:uLnTx/>
                <a:uFillTx/>
                <a:latin typeface="Aptos"/>
                <a:ea typeface="+mn-ea"/>
                <a:cs typeface="+mn-cs"/>
              </a:rPr>
              <a:t>Reporting and Analytics: The system should provide reports and analytics on the market trends and their potential impact on the pricing strategy.</a:t>
            </a: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endParaRPr lang="en-US" sz="1000">
              <a:solidFill>
                <a:srgbClr val="000000">
                  <a:lumMod val="65000"/>
                  <a:lumOff val="35000"/>
                </a:srgbClr>
              </a:solidFill>
              <a:latin typeface="Aptos"/>
            </a:endParaRP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US" sz="1000" b="1" i="0" u="none" strike="noStrike" kern="1200" cap="none" spc="0" normalizeH="0" baseline="0" noProof="0">
                <a:ln>
                  <a:noFill/>
                </a:ln>
                <a:solidFill>
                  <a:srgbClr val="000000">
                    <a:lumMod val="65000"/>
                    <a:lumOff val="35000"/>
                  </a:srgbClr>
                </a:solidFill>
                <a:effectLst/>
                <a:uLnTx/>
                <a:uFillTx/>
                <a:latin typeface="Aptos"/>
                <a:ea typeface="+mn-ea"/>
                <a:cs typeface="+mn-cs"/>
              </a:rPr>
              <a:t>Business Requirements for the “Cost-Benefit Analysis” use case</a:t>
            </a:r>
            <a:r>
              <a:rPr kumimoji="0" lang="en-US" sz="1000" b="0" i="0" u="none" strike="noStrike" kern="1200" cap="none" spc="0" normalizeH="0" baseline="0" noProof="0">
                <a:ln>
                  <a:noFill/>
                </a:ln>
                <a:solidFill>
                  <a:srgbClr val="000000">
                    <a:lumMod val="65000"/>
                    <a:lumOff val="35000"/>
                  </a:srgbClr>
                </a:solidFill>
                <a:effectLst/>
                <a:uLnTx/>
                <a:uFillTx/>
                <a:latin typeface="Aptos"/>
                <a:ea typeface="+mn-ea"/>
                <a:cs typeface="+mn-cs"/>
              </a:rPr>
              <a:t>:</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lumMod val="65000"/>
                    <a:lumOff val="35000"/>
                  </a:srgbClr>
                </a:solidFill>
                <a:effectLst/>
                <a:uLnTx/>
                <a:uFillTx/>
                <a:latin typeface="Aptos"/>
                <a:ea typeface="+mn-ea"/>
                <a:cs typeface="+mn-cs"/>
              </a:rPr>
              <a:t>Cost-Benefit Analysis Model: Develop a model that can conduct a cost-benefit analysis to evaluate the financial impact of implementing the new system versus the current manual process.</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lumMod val="65000"/>
                    <a:lumOff val="35000"/>
                  </a:srgbClr>
                </a:solidFill>
                <a:effectLst/>
                <a:uLnTx/>
                <a:uFillTx/>
                <a:latin typeface="Aptos"/>
                <a:ea typeface="+mn-ea"/>
                <a:cs typeface="+mn-cs"/>
              </a:rPr>
              <a:t>Cost Estimation: The model should be able to estimate the costs associated with both the current manual process and the proposed automated system.</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lumMod val="65000"/>
                    <a:lumOff val="35000"/>
                  </a:srgbClr>
                </a:solidFill>
                <a:effectLst/>
                <a:uLnTx/>
                <a:uFillTx/>
                <a:latin typeface="Aptos"/>
                <a:ea typeface="+mn-ea"/>
                <a:cs typeface="+mn-cs"/>
              </a:rPr>
              <a:t>Benefit Estimation: The model should be able to estimate the benefits, such as time savings, increased revenue, and cost savings, of implementing the new system.</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lumMod val="65000"/>
                    <a:lumOff val="35000"/>
                  </a:srgbClr>
                </a:solidFill>
                <a:effectLst/>
                <a:uLnTx/>
                <a:uFillTx/>
                <a:latin typeface="Aptos"/>
                <a:ea typeface="+mn-ea"/>
                <a:cs typeface="+mn-cs"/>
              </a:rPr>
              <a:t>Risk Assessment: The model should assess the risks associated with implementing the new system, such as implementation challenges, potential downtime, and training needs.</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lumMod val="65000"/>
                    <a:lumOff val="35000"/>
                  </a:srgbClr>
                </a:solidFill>
                <a:effectLst/>
                <a:uLnTx/>
                <a:uFillTx/>
                <a:latin typeface="Aptos"/>
                <a:ea typeface="+mn-ea"/>
                <a:cs typeface="+mn-cs"/>
              </a:rPr>
              <a:t>Reporting: The system should generate a cost-benefit analysis report highlighting the costs, benefits, and risks associated with implementing the new system.</a:t>
            </a: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endParaRPr lang="en-US" sz="1000">
              <a:solidFill>
                <a:srgbClr val="000000">
                  <a:lumMod val="65000"/>
                  <a:lumOff val="35000"/>
                </a:srgbClr>
              </a:solidFill>
              <a:latin typeface="Aptos"/>
            </a:endParaRP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US" sz="1000" b="1" i="0" u="none" strike="noStrike" kern="1200" cap="none" spc="0" normalizeH="0" baseline="0" noProof="0">
                <a:ln>
                  <a:noFill/>
                </a:ln>
                <a:solidFill>
                  <a:srgbClr val="000000">
                    <a:lumMod val="65000"/>
                    <a:lumOff val="35000"/>
                  </a:srgbClr>
                </a:solidFill>
                <a:effectLst/>
                <a:uLnTx/>
                <a:uFillTx/>
                <a:latin typeface="Aptos"/>
                <a:ea typeface="+mn-ea"/>
                <a:cs typeface="+mn-cs"/>
              </a:rPr>
              <a:t>Business Requirements for the “Impact Analysis” use case</a:t>
            </a:r>
            <a:r>
              <a:rPr kumimoji="0" lang="en-US" sz="1000" b="0" i="0" u="none" strike="noStrike" kern="1200" cap="none" spc="0" normalizeH="0" baseline="0" noProof="0">
                <a:ln>
                  <a:noFill/>
                </a:ln>
                <a:solidFill>
                  <a:srgbClr val="000000">
                    <a:lumMod val="65000"/>
                    <a:lumOff val="35000"/>
                  </a:srgbClr>
                </a:solidFill>
                <a:effectLst/>
                <a:uLnTx/>
                <a:uFillTx/>
                <a:latin typeface="Aptos"/>
                <a:ea typeface="+mn-ea"/>
                <a:cs typeface="+mn-cs"/>
              </a:rPr>
              <a:t>:</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lumMod val="65000"/>
                    <a:lumOff val="35000"/>
                  </a:srgbClr>
                </a:solidFill>
                <a:effectLst/>
                <a:uLnTx/>
                <a:uFillTx/>
                <a:latin typeface="Aptos"/>
                <a:ea typeface="+mn-ea"/>
                <a:cs typeface="+mn-cs"/>
              </a:rPr>
              <a:t>Impact Analysis Model: Develop a model that can analyze the impact of the new pricing strategy on the market share and revenue of Oso One IFP insurance plans.</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lumMod val="65000"/>
                    <a:lumOff val="35000"/>
                  </a:srgbClr>
                </a:solidFill>
                <a:effectLst/>
                <a:uLnTx/>
                <a:uFillTx/>
                <a:latin typeface="Aptos"/>
                <a:ea typeface="+mn-ea"/>
                <a:cs typeface="+mn-cs"/>
              </a:rPr>
              <a:t>Market Share Analysis: The model should be able to analyze changes in market share resulting from the new pricing strategy.</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lumMod val="65000"/>
                    <a:lumOff val="35000"/>
                  </a:srgbClr>
                </a:solidFill>
                <a:effectLst/>
                <a:uLnTx/>
                <a:uFillTx/>
                <a:latin typeface="Aptos"/>
                <a:ea typeface="+mn-ea"/>
                <a:cs typeface="+mn-cs"/>
              </a:rPr>
              <a:t>Revenue Analysis: The model should be able to analyze changes in revenue resulting from the new pricing strategy.</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lumMod val="65000"/>
                    <a:lumOff val="35000"/>
                  </a:srgbClr>
                </a:solidFill>
                <a:effectLst/>
                <a:uLnTx/>
                <a:uFillTx/>
                <a:latin typeface="Aptos"/>
                <a:ea typeface="+mn-ea"/>
                <a:cs typeface="+mn-cs"/>
              </a:rPr>
              <a:t>Data Visualization: Develop a user-friendly interface for analysts to visualize the impact analysis results.</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lumMod val="65000"/>
                    <a:lumOff val="35000"/>
                  </a:srgbClr>
                </a:solidFill>
                <a:effectLst/>
                <a:uLnTx/>
                <a:uFillTx/>
                <a:latin typeface="Aptos"/>
                <a:ea typeface="+mn-ea"/>
                <a:cs typeface="+mn-cs"/>
              </a:rPr>
              <a:t>Reporting: The system should generate impact analysis reports highlighting the changes in market share and revenue and the factors contributing to these changes.</a:t>
            </a:r>
          </a:p>
        </p:txBody>
      </p:sp>
      <p:sp>
        <p:nvSpPr>
          <p:cNvPr id="17" name="Textplatzhalter 2">
            <a:extLst>
              <a:ext uri="{FF2B5EF4-FFF2-40B4-BE49-F238E27FC236}">
                <a16:creationId xmlns:a16="http://schemas.microsoft.com/office/drawing/2014/main" id="{6BC61003-C8B1-66EE-AD30-B75619BAEA38}"/>
              </a:ext>
            </a:extLst>
          </p:cNvPr>
          <p:cNvSpPr txBox="1">
            <a:spLocks/>
          </p:cNvSpPr>
          <p:nvPr/>
        </p:nvSpPr>
        <p:spPr>
          <a:xfrm>
            <a:off x="9380764" y="130060"/>
            <a:ext cx="2622096" cy="646934"/>
          </a:xfrm>
          <a:prstGeom prst="rect">
            <a:avLst/>
          </a:prstGeom>
        </p:spPr>
        <p:txBody>
          <a:bodyPr lIns="0" tIns="0" rIns="0" bIns="0" anchor="t"/>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900" b="0" i="0" u="none" strike="noStrike" kern="1200" cap="none" spc="0" normalizeH="0" baseline="0" noProof="0">
                <a:ln>
                  <a:noFill/>
                </a:ln>
                <a:solidFill>
                  <a:schemeClr val="bg1"/>
                </a:solidFill>
                <a:effectLst/>
                <a:uLnTx/>
                <a:uFillTx/>
                <a:latin typeface="Segoe UI Semibold"/>
                <a:ea typeface="+mn-ea"/>
                <a:cs typeface="Segoe UI" panose="020B0502040204020203" pitchFamily="34" charset="0"/>
              </a:rPr>
              <a:t>Business Use Case Prioritization</a:t>
            </a:r>
          </a:p>
          <a:p>
            <a:pPr marL="228600" marR="0" lvl="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AutoNum type="arabicPeriod"/>
              <a:tabLst/>
              <a:defRPr/>
            </a:pPr>
            <a:r>
              <a:rPr kumimoji="0" lang="en-US" sz="900" b="0" i="0" u="none" strike="noStrike" kern="1200" cap="none" spc="0" normalizeH="0" baseline="0" noProof="0">
                <a:ln>
                  <a:noFill/>
                </a:ln>
                <a:solidFill>
                  <a:schemeClr val="bg1"/>
                </a:solidFill>
                <a:effectLst/>
                <a:uLnTx/>
                <a:uFillTx/>
                <a:latin typeface="Segoe UI Semibold"/>
                <a:ea typeface="+mn-ea"/>
                <a:cs typeface="Segoe UI" panose="020B0502040204020203" pitchFamily="34" charset="0"/>
              </a:rPr>
              <a:t>Business Value:  L to H (1 – 5)</a:t>
            </a:r>
          </a:p>
          <a:p>
            <a:pPr marL="228600" marR="0" lvl="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AutoNum type="arabicPeriod"/>
              <a:tabLst/>
              <a:defRPr/>
            </a:pPr>
            <a:r>
              <a:rPr kumimoji="0" lang="en-US" sz="900" b="0" i="0" u="none" strike="noStrike" kern="1200" cap="none" spc="0" normalizeH="0" baseline="0" noProof="0">
                <a:ln>
                  <a:noFill/>
                </a:ln>
                <a:solidFill>
                  <a:schemeClr val="bg1"/>
                </a:solidFill>
                <a:effectLst/>
                <a:uLnTx/>
                <a:uFillTx/>
                <a:latin typeface="Segoe UI Semibold"/>
                <a:ea typeface="+mn-ea"/>
                <a:cs typeface="Segoe UI" panose="020B0502040204020203" pitchFamily="34" charset="0"/>
              </a:rPr>
              <a:t>Implementation Effort: H to L (1 – 5) </a:t>
            </a:r>
          </a:p>
        </p:txBody>
      </p:sp>
      <p:sp>
        <p:nvSpPr>
          <p:cNvPr id="19" name="Titel 1">
            <a:extLst>
              <a:ext uri="{FF2B5EF4-FFF2-40B4-BE49-F238E27FC236}">
                <a16:creationId xmlns:a16="http://schemas.microsoft.com/office/drawing/2014/main" id="{218309D3-BBDC-0361-B61F-3A2A497C51AD}"/>
              </a:ext>
            </a:extLst>
          </p:cNvPr>
          <p:cNvSpPr txBox="1">
            <a:spLocks/>
          </p:cNvSpPr>
          <p:nvPr/>
        </p:nvSpPr>
        <p:spPr>
          <a:xfrm>
            <a:off x="73478" y="631203"/>
            <a:ext cx="8837159" cy="184666"/>
          </a:xfrm>
          <a:prstGeom prst="rect">
            <a:avLst/>
          </a:prstGeom>
        </p:spPr>
        <p:txBody>
          <a:bodyPr vert="horz" wrap="square" lIns="0" tIns="0" rIns="0" bIns="0" rtlCol="0" anchor="ctr">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200" b="0" i="0" u="none" strike="noStrike" kern="1200" cap="none" spc="0" normalizeH="0" baseline="0" noProof="0">
                <a:ln w="3175">
                  <a:noFill/>
                </a:ln>
                <a:solidFill>
                  <a:schemeClr val="bg1"/>
                </a:solidFill>
                <a:effectLst/>
                <a:uLnTx/>
                <a:uFillTx/>
                <a:latin typeface="Segoe UI Semibold"/>
                <a:ea typeface="+mn-ea"/>
                <a:cs typeface="Segoe UI" pitchFamily="34" charset="0"/>
              </a:rPr>
              <a:t>Business Process Challenge: (Need to understand, anticipate and proactively respond to competitor pricing action)</a:t>
            </a:r>
          </a:p>
        </p:txBody>
      </p:sp>
      <p:pic>
        <p:nvPicPr>
          <p:cNvPr id="5" name="Picture 4">
            <a:extLst>
              <a:ext uri="{FF2B5EF4-FFF2-40B4-BE49-F238E27FC236}">
                <a16:creationId xmlns:a16="http://schemas.microsoft.com/office/drawing/2014/main" id="{FC778722-1E85-ADDD-9B0B-9F5D5891F0A8}"/>
              </a:ext>
            </a:extLst>
          </p:cNvPr>
          <p:cNvPicPr>
            <a:picLocks noChangeAspect="1"/>
          </p:cNvPicPr>
          <p:nvPr/>
        </p:nvPicPr>
        <p:blipFill>
          <a:blip r:embed="rId3"/>
          <a:srcRect/>
          <a:stretch/>
        </p:blipFill>
        <p:spPr>
          <a:xfrm>
            <a:off x="6872766" y="121153"/>
            <a:ext cx="2279398" cy="366785"/>
          </a:xfrm>
          <a:prstGeom prst="rect">
            <a:avLst/>
          </a:prstGeom>
          <a:ln>
            <a:solidFill>
              <a:srgbClr val="9BF00B"/>
            </a:solidFill>
          </a:ln>
        </p:spPr>
      </p:pic>
    </p:spTree>
    <p:extLst>
      <p:ext uri="{BB962C8B-B14F-4D97-AF65-F5344CB8AC3E}">
        <p14:creationId xmlns:p14="http://schemas.microsoft.com/office/powerpoint/2010/main" val="459073471"/>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BCA1146-565C-EB14-042F-F9BD76FB3B03}"/>
              </a:ext>
              <a:ext uri="{C183D7F6-B498-43B3-948B-1728B52AA6E4}">
                <adec:decorative xmlns:adec="http://schemas.microsoft.com/office/drawing/2017/decorative" val="1"/>
              </a:ext>
            </a:extLst>
          </p:cNvPr>
          <p:cNvSpPr>
            <a:spLocks/>
          </p:cNvSpPr>
          <p:nvPr/>
        </p:nvSpPr>
        <p:spPr bwMode="auto">
          <a:xfrm>
            <a:off x="588963" y="1181100"/>
            <a:ext cx="11017250" cy="4953000"/>
          </a:xfrm>
          <a:prstGeom prst="rect">
            <a:avLst/>
          </a:prstGeom>
          <a:solidFill>
            <a:schemeClr val="bg1"/>
          </a:solidFill>
          <a:ln w="9525" cap="flat" cmpd="sng" algn="ctr">
            <a:noFill/>
            <a:prstDash val="solid"/>
            <a:headEnd type="none" w="med" len="med"/>
            <a:tailEnd type="none" w="med" len="med"/>
          </a:ln>
          <a:effectLst>
            <a:outerShdw blurRad="584200" dist="38100" dir="3960000" sx="102000" sy="102000" algn="tl" rotWithShape="0">
              <a:prstClr val="black">
                <a:alpha val="1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UI"/>
              <a:ea typeface="+mn-ea"/>
              <a:cs typeface="Segoe UI" pitchFamily="34" charset="0"/>
            </a:endParaRPr>
          </a:p>
        </p:txBody>
      </p:sp>
      <p:sp>
        <p:nvSpPr>
          <p:cNvPr id="4" name="Rectangle 3">
            <a:extLst>
              <a:ext uri="{FF2B5EF4-FFF2-40B4-BE49-F238E27FC236}">
                <a16:creationId xmlns:a16="http://schemas.microsoft.com/office/drawing/2014/main" id="{1A3F7083-B51F-FE31-7EEA-1D1C8821FD9F}"/>
              </a:ext>
              <a:ext uri="{C183D7F6-B498-43B3-948B-1728B52AA6E4}">
                <adec:decorative xmlns:adec="http://schemas.microsoft.com/office/drawing/2017/decorative" val="1"/>
              </a:ext>
            </a:extLst>
          </p:cNvPr>
          <p:cNvSpPr>
            <a:spLocks/>
          </p:cNvSpPr>
          <p:nvPr/>
        </p:nvSpPr>
        <p:spPr bwMode="auto">
          <a:xfrm>
            <a:off x="704850" y="1304924"/>
            <a:ext cx="1962150" cy="470535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5" name="Oval 4">
            <a:extLst>
              <a:ext uri="{FF2B5EF4-FFF2-40B4-BE49-F238E27FC236}">
                <a16:creationId xmlns:a16="http://schemas.microsoft.com/office/drawing/2014/main" id="{8D90A93E-1AA5-C4F4-94A8-44A5BB5C7320}"/>
              </a:ext>
            </a:extLst>
          </p:cNvPr>
          <p:cNvSpPr/>
          <p:nvPr/>
        </p:nvSpPr>
        <p:spPr bwMode="auto">
          <a:xfrm>
            <a:off x="818557" y="1409702"/>
            <a:ext cx="265176" cy="260922"/>
          </a:xfrm>
          <a:prstGeom prst="ellipse">
            <a:avLst/>
          </a:prstGeom>
          <a:solidFill>
            <a:schemeClr val="accent4"/>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1</a:t>
            </a:r>
          </a:p>
        </p:txBody>
      </p:sp>
      <p:sp>
        <p:nvSpPr>
          <p:cNvPr id="6" name="TextBox 5">
            <a:extLst>
              <a:ext uri="{FF2B5EF4-FFF2-40B4-BE49-F238E27FC236}">
                <a16:creationId xmlns:a16="http://schemas.microsoft.com/office/drawing/2014/main" id="{47E30A76-08BB-69A3-AC9B-A2B94FFA9708}"/>
              </a:ext>
            </a:extLst>
          </p:cNvPr>
          <p:cNvSpPr txBox="1"/>
          <p:nvPr/>
        </p:nvSpPr>
        <p:spPr>
          <a:xfrm>
            <a:off x="818557" y="1670624"/>
            <a:ext cx="1606209" cy="609398"/>
          </a:xfrm>
          <a:prstGeom prst="rect">
            <a:avLst/>
          </a:prstGeom>
          <a:noFill/>
        </p:spPr>
        <p:txBody>
          <a:bodyPr wrap="square" lIns="0" tIns="54864"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Adaptive responses to competitive pricing actions</a:t>
            </a:r>
          </a:p>
        </p:txBody>
      </p:sp>
      <p:sp>
        <p:nvSpPr>
          <p:cNvPr id="7" name="Oval 6">
            <a:extLst>
              <a:ext uri="{FF2B5EF4-FFF2-40B4-BE49-F238E27FC236}">
                <a16:creationId xmlns:a16="http://schemas.microsoft.com/office/drawing/2014/main" id="{0E0A80FC-91BF-FD27-AC15-2D3757363D95}"/>
              </a:ext>
            </a:extLst>
          </p:cNvPr>
          <p:cNvSpPr/>
          <p:nvPr/>
        </p:nvSpPr>
        <p:spPr bwMode="auto">
          <a:xfrm>
            <a:off x="818557" y="2342126"/>
            <a:ext cx="265176" cy="260922"/>
          </a:xfrm>
          <a:prstGeom prst="ellipse">
            <a:avLst/>
          </a:prstGeom>
          <a:solidFill>
            <a:schemeClr val="accent4"/>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2</a:t>
            </a:r>
          </a:p>
        </p:txBody>
      </p:sp>
      <p:sp>
        <p:nvSpPr>
          <p:cNvPr id="8" name="TextBox 7">
            <a:extLst>
              <a:ext uri="{FF2B5EF4-FFF2-40B4-BE49-F238E27FC236}">
                <a16:creationId xmlns:a16="http://schemas.microsoft.com/office/drawing/2014/main" id="{40C9AAC0-5C88-7849-796C-1A33B883F563}"/>
              </a:ext>
            </a:extLst>
          </p:cNvPr>
          <p:cNvSpPr txBox="1"/>
          <p:nvPr/>
        </p:nvSpPr>
        <p:spPr>
          <a:xfrm>
            <a:off x="818557" y="2603048"/>
            <a:ext cx="1606209" cy="240066"/>
          </a:xfrm>
          <a:prstGeom prst="rect">
            <a:avLst/>
          </a:prstGeom>
          <a:noFill/>
        </p:spPr>
        <p:txBody>
          <a:bodyPr wrap="square" lIns="0" tIns="54864"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Business Scenario</a:t>
            </a:r>
          </a:p>
        </p:txBody>
      </p:sp>
      <p:sp>
        <p:nvSpPr>
          <p:cNvPr id="9" name="Oval 8">
            <a:extLst>
              <a:ext uri="{FF2B5EF4-FFF2-40B4-BE49-F238E27FC236}">
                <a16:creationId xmlns:a16="http://schemas.microsoft.com/office/drawing/2014/main" id="{9EF37675-5ECD-8501-11F5-DC5EFF008BE0}"/>
              </a:ext>
            </a:extLst>
          </p:cNvPr>
          <p:cNvSpPr/>
          <p:nvPr/>
        </p:nvSpPr>
        <p:spPr bwMode="auto">
          <a:xfrm>
            <a:off x="818557" y="3274550"/>
            <a:ext cx="265176" cy="260922"/>
          </a:xfrm>
          <a:prstGeom prst="ellipse">
            <a:avLst/>
          </a:prstGeom>
          <a:solidFill>
            <a:schemeClr val="accent4"/>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3</a:t>
            </a:r>
          </a:p>
        </p:txBody>
      </p:sp>
      <p:sp>
        <p:nvSpPr>
          <p:cNvPr id="10" name="TextBox 9">
            <a:extLst>
              <a:ext uri="{FF2B5EF4-FFF2-40B4-BE49-F238E27FC236}">
                <a16:creationId xmlns:a16="http://schemas.microsoft.com/office/drawing/2014/main" id="{01C0D2E9-A52C-7680-28A1-E7381F012FC9}"/>
              </a:ext>
            </a:extLst>
          </p:cNvPr>
          <p:cNvSpPr txBox="1"/>
          <p:nvPr/>
        </p:nvSpPr>
        <p:spPr>
          <a:xfrm>
            <a:off x="818557" y="3535472"/>
            <a:ext cx="1606209" cy="240066"/>
          </a:xfrm>
          <a:prstGeom prst="rect">
            <a:avLst/>
          </a:prstGeom>
          <a:noFill/>
        </p:spPr>
        <p:txBody>
          <a:bodyPr wrap="square" lIns="0" tIns="54864"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Business Scenario</a:t>
            </a:r>
          </a:p>
        </p:txBody>
      </p:sp>
      <p:sp>
        <p:nvSpPr>
          <p:cNvPr id="11" name="Oval 10">
            <a:extLst>
              <a:ext uri="{FF2B5EF4-FFF2-40B4-BE49-F238E27FC236}">
                <a16:creationId xmlns:a16="http://schemas.microsoft.com/office/drawing/2014/main" id="{803011AF-DF5C-EE91-2441-3B6633CA1D0E}"/>
              </a:ext>
            </a:extLst>
          </p:cNvPr>
          <p:cNvSpPr/>
          <p:nvPr/>
        </p:nvSpPr>
        <p:spPr bwMode="auto">
          <a:xfrm>
            <a:off x="818557" y="4206975"/>
            <a:ext cx="265176" cy="260922"/>
          </a:xfrm>
          <a:prstGeom prst="ellipse">
            <a:avLst/>
          </a:prstGeom>
          <a:solidFill>
            <a:schemeClr val="accent4"/>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4</a:t>
            </a:r>
          </a:p>
        </p:txBody>
      </p:sp>
      <p:sp>
        <p:nvSpPr>
          <p:cNvPr id="12" name="TextBox 11">
            <a:extLst>
              <a:ext uri="{FF2B5EF4-FFF2-40B4-BE49-F238E27FC236}">
                <a16:creationId xmlns:a16="http://schemas.microsoft.com/office/drawing/2014/main" id="{53BFD086-7CAC-2BA4-FAF8-4F2F0A5C1EBA}"/>
              </a:ext>
            </a:extLst>
          </p:cNvPr>
          <p:cNvSpPr txBox="1"/>
          <p:nvPr/>
        </p:nvSpPr>
        <p:spPr>
          <a:xfrm>
            <a:off x="818557" y="4467897"/>
            <a:ext cx="1606209" cy="240066"/>
          </a:xfrm>
          <a:prstGeom prst="rect">
            <a:avLst/>
          </a:prstGeom>
          <a:noFill/>
        </p:spPr>
        <p:txBody>
          <a:bodyPr wrap="square" lIns="0" tIns="54864"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Business Scenario</a:t>
            </a:r>
          </a:p>
        </p:txBody>
      </p:sp>
      <p:sp>
        <p:nvSpPr>
          <p:cNvPr id="13" name="Oval 12">
            <a:extLst>
              <a:ext uri="{FF2B5EF4-FFF2-40B4-BE49-F238E27FC236}">
                <a16:creationId xmlns:a16="http://schemas.microsoft.com/office/drawing/2014/main" id="{AC81CBAB-703B-6FE2-232F-8610DFCBC0EB}"/>
              </a:ext>
            </a:extLst>
          </p:cNvPr>
          <p:cNvSpPr/>
          <p:nvPr/>
        </p:nvSpPr>
        <p:spPr bwMode="auto">
          <a:xfrm>
            <a:off x="818557" y="5139399"/>
            <a:ext cx="265176" cy="260922"/>
          </a:xfrm>
          <a:prstGeom prst="ellipse">
            <a:avLst/>
          </a:prstGeom>
          <a:solidFill>
            <a:schemeClr val="accent4"/>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5</a:t>
            </a:r>
          </a:p>
        </p:txBody>
      </p:sp>
      <p:sp>
        <p:nvSpPr>
          <p:cNvPr id="14" name="TextBox 13">
            <a:extLst>
              <a:ext uri="{FF2B5EF4-FFF2-40B4-BE49-F238E27FC236}">
                <a16:creationId xmlns:a16="http://schemas.microsoft.com/office/drawing/2014/main" id="{F7B97FB1-6188-9910-A9ED-58344D56F395}"/>
              </a:ext>
            </a:extLst>
          </p:cNvPr>
          <p:cNvSpPr txBox="1"/>
          <p:nvPr/>
        </p:nvSpPr>
        <p:spPr>
          <a:xfrm>
            <a:off x="818557" y="5400321"/>
            <a:ext cx="1606209" cy="240066"/>
          </a:xfrm>
          <a:prstGeom prst="rect">
            <a:avLst/>
          </a:prstGeom>
          <a:noFill/>
        </p:spPr>
        <p:txBody>
          <a:bodyPr wrap="square" lIns="0" tIns="54864"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Business Scenario</a:t>
            </a:r>
          </a:p>
        </p:txBody>
      </p:sp>
      <p:grpSp>
        <p:nvGrpSpPr>
          <p:cNvPr id="15" name="Group 14" descr="A four section quadrant namely “Test &amp; Learn” in the top left, “Invest Long Term” in the top right, “Parked” in the bottom left, and “Quick Wins” on the bottom right. The x-axis is labeled “Degree of executional fit” and ranges from 1 being low to  5 high. The y-axis is labeled “Degree of strategic business impact” and also ranges from 1 low to 5 high.  ">
            <a:extLst>
              <a:ext uri="{FF2B5EF4-FFF2-40B4-BE49-F238E27FC236}">
                <a16:creationId xmlns:a16="http://schemas.microsoft.com/office/drawing/2014/main" id="{8E2A7D85-1492-6A8E-BACD-CB1FE27D5E02}"/>
              </a:ext>
            </a:extLst>
          </p:cNvPr>
          <p:cNvGrpSpPr/>
          <p:nvPr/>
        </p:nvGrpSpPr>
        <p:grpSpPr>
          <a:xfrm>
            <a:off x="2840812" y="1304924"/>
            <a:ext cx="8646338" cy="4705350"/>
            <a:chOff x="2840812" y="1304924"/>
            <a:chExt cx="8646338" cy="4705350"/>
          </a:xfrm>
        </p:grpSpPr>
        <p:sp>
          <p:nvSpPr>
            <p:cNvPr id="16" name="Rectangle 15">
              <a:extLst>
                <a:ext uri="{FF2B5EF4-FFF2-40B4-BE49-F238E27FC236}">
                  <a16:creationId xmlns:a16="http://schemas.microsoft.com/office/drawing/2014/main" id="{74DD2215-3BF7-0916-69E4-FD5E417C29E5}"/>
                </a:ext>
              </a:extLst>
            </p:cNvPr>
            <p:cNvSpPr/>
            <p:nvPr/>
          </p:nvSpPr>
          <p:spPr bwMode="auto">
            <a:xfrm>
              <a:off x="2840812" y="1411092"/>
              <a:ext cx="397125" cy="191768"/>
            </a:xfrm>
            <a:prstGeom prst="rect">
              <a:avLst/>
            </a:prstGeom>
            <a:noFill/>
            <a:ln w="5992" cap="flat">
              <a:noFill/>
              <a:prstDash val="solid"/>
              <a:miter/>
            </a:ln>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mn-cs"/>
                </a:rPr>
                <a:t>High</a:t>
              </a:r>
            </a:p>
          </p:txBody>
        </p:sp>
        <p:sp>
          <p:nvSpPr>
            <p:cNvPr id="17" name="Rectangle 16">
              <a:extLst>
                <a:ext uri="{FF2B5EF4-FFF2-40B4-BE49-F238E27FC236}">
                  <a16:creationId xmlns:a16="http://schemas.microsoft.com/office/drawing/2014/main" id="{E8AA71A6-B0AB-6656-CD41-79AB32EC918E}"/>
                </a:ext>
              </a:extLst>
            </p:cNvPr>
            <p:cNvSpPr/>
            <p:nvPr/>
          </p:nvSpPr>
          <p:spPr bwMode="auto">
            <a:xfrm>
              <a:off x="11008976" y="5818506"/>
              <a:ext cx="397125" cy="191768"/>
            </a:xfrm>
            <a:prstGeom prst="rect">
              <a:avLst/>
            </a:prstGeom>
            <a:noFill/>
            <a:ln w="5992" cap="flat">
              <a:noFill/>
              <a:prstDash val="solid"/>
              <a:miter/>
            </a:ln>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mn-cs"/>
                </a:rPr>
                <a:t>Low</a:t>
              </a:r>
            </a:p>
          </p:txBody>
        </p:sp>
        <p:sp>
          <p:nvSpPr>
            <p:cNvPr id="18" name="Rectangle 17">
              <a:extLst>
                <a:ext uri="{FF2B5EF4-FFF2-40B4-BE49-F238E27FC236}">
                  <a16:creationId xmlns:a16="http://schemas.microsoft.com/office/drawing/2014/main" id="{BC2C9D0F-F49C-D380-B9EC-C22A345E4936}"/>
                </a:ext>
              </a:extLst>
            </p:cNvPr>
            <p:cNvSpPr/>
            <p:nvPr/>
          </p:nvSpPr>
          <p:spPr bwMode="auto">
            <a:xfrm>
              <a:off x="3357830" y="5818506"/>
              <a:ext cx="338292" cy="191768"/>
            </a:xfrm>
            <a:prstGeom prst="rect">
              <a:avLst/>
            </a:prstGeom>
            <a:noFill/>
            <a:ln w="5992" cap="flat">
              <a:noFill/>
              <a:prstDash val="solid"/>
              <a:miter/>
            </a:ln>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mn-cs"/>
                </a:rPr>
                <a:t>High</a:t>
              </a:r>
            </a:p>
          </p:txBody>
        </p:sp>
        <p:sp>
          <p:nvSpPr>
            <p:cNvPr id="19" name="Rectangle 18">
              <a:extLst>
                <a:ext uri="{FF2B5EF4-FFF2-40B4-BE49-F238E27FC236}">
                  <a16:creationId xmlns:a16="http://schemas.microsoft.com/office/drawing/2014/main" id="{7E7D7BD9-1994-0DD7-3081-B1E65D57C900}"/>
                </a:ext>
              </a:extLst>
            </p:cNvPr>
            <p:cNvSpPr/>
            <p:nvPr/>
          </p:nvSpPr>
          <p:spPr bwMode="auto">
            <a:xfrm>
              <a:off x="2899645" y="5479443"/>
              <a:ext cx="338292" cy="191768"/>
            </a:xfrm>
            <a:prstGeom prst="rect">
              <a:avLst/>
            </a:prstGeom>
            <a:noFill/>
            <a:ln w="5992" cap="flat">
              <a:noFill/>
              <a:prstDash val="solid"/>
              <a:miter/>
            </a:ln>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mn-cs"/>
                </a:rPr>
                <a:t>Low</a:t>
              </a:r>
            </a:p>
          </p:txBody>
        </p:sp>
        <p:sp>
          <p:nvSpPr>
            <p:cNvPr id="20" name="Rectangle 19">
              <a:extLst>
                <a:ext uri="{FF2B5EF4-FFF2-40B4-BE49-F238E27FC236}">
                  <a16:creationId xmlns:a16="http://schemas.microsoft.com/office/drawing/2014/main" id="{D973B68F-3F5B-0EAE-C1ED-F210C2B838C5}"/>
                </a:ext>
              </a:extLst>
            </p:cNvPr>
            <p:cNvSpPr/>
            <p:nvPr/>
          </p:nvSpPr>
          <p:spPr bwMode="auto">
            <a:xfrm>
              <a:off x="3035781" y="2225050"/>
              <a:ext cx="184666" cy="2596798"/>
            </a:xfrm>
            <a:prstGeom prst="rect">
              <a:avLst/>
            </a:prstGeom>
            <a:noFill/>
            <a:ln w="5992" cap="flat">
              <a:noFill/>
              <a:prstDash val="solid"/>
              <a:miter/>
            </a:ln>
          </p:spPr>
          <p:txBody>
            <a:bodyPr vert="vert270" wrap="square" lIns="0" tIns="0" rIns="0" bIns="0" rtlCol="0" anchor="ctr">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200" b="0" i="0" u="none" strike="noStrike" kern="1200" cap="none" spc="0" normalizeH="0" baseline="0" noProof="0">
                  <a:ln>
                    <a:noFill/>
                  </a:ln>
                  <a:solidFill>
                    <a:srgbClr val="8560C3"/>
                  </a:solidFill>
                  <a:effectLst/>
                  <a:uLnTx/>
                  <a:uFillTx/>
                  <a:latin typeface="Segoe UI Semibold"/>
                  <a:ea typeface="+mn-ea"/>
                  <a:cs typeface="+mn-cs"/>
                </a:rPr>
                <a:t>Business Value</a:t>
              </a:r>
            </a:p>
          </p:txBody>
        </p:sp>
        <p:sp>
          <p:nvSpPr>
            <p:cNvPr id="21" name="Rectangle 20">
              <a:extLst>
                <a:ext uri="{FF2B5EF4-FFF2-40B4-BE49-F238E27FC236}">
                  <a16:creationId xmlns:a16="http://schemas.microsoft.com/office/drawing/2014/main" id="{02CC1121-851D-7E2C-AF4A-ED440DBCD823}"/>
                </a:ext>
              </a:extLst>
            </p:cNvPr>
            <p:cNvSpPr/>
            <p:nvPr/>
          </p:nvSpPr>
          <p:spPr bwMode="auto">
            <a:xfrm>
              <a:off x="6346009" y="5822057"/>
              <a:ext cx="2071912" cy="184666"/>
            </a:xfrm>
            <a:prstGeom prst="rect">
              <a:avLst/>
            </a:prstGeom>
            <a:noFill/>
            <a:ln w="5992" cap="flat">
              <a:noFill/>
              <a:prstDash val="solid"/>
              <a:miter/>
            </a:ln>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200" b="0" i="0" u="none" strike="noStrike" kern="1200" cap="none" spc="0" normalizeH="0" baseline="0" noProof="0">
                  <a:ln>
                    <a:noFill/>
                  </a:ln>
                  <a:solidFill>
                    <a:srgbClr val="8560C3"/>
                  </a:solidFill>
                  <a:effectLst/>
                  <a:uLnTx/>
                  <a:uFillTx/>
                  <a:latin typeface="Segoe UI Semibold"/>
                  <a:ea typeface="+mn-ea"/>
                  <a:cs typeface="+mn-cs"/>
                </a:rPr>
                <a:t>Implementation effort</a:t>
              </a:r>
            </a:p>
          </p:txBody>
        </p:sp>
        <p:sp>
          <p:nvSpPr>
            <p:cNvPr id="22" name="Oval 32">
              <a:extLst>
                <a:ext uri="{FF2B5EF4-FFF2-40B4-BE49-F238E27FC236}">
                  <a16:creationId xmlns:a16="http://schemas.microsoft.com/office/drawing/2014/main" id="{04163390-7F12-F0CA-D57D-BC7158BC1D40}"/>
                </a:ext>
              </a:extLst>
            </p:cNvPr>
            <p:cNvSpPr>
              <a:spLocks/>
            </p:cNvSpPr>
            <p:nvPr/>
          </p:nvSpPr>
          <p:spPr bwMode="auto">
            <a:xfrm>
              <a:off x="3276780" y="1304924"/>
              <a:ext cx="8210370" cy="4437049"/>
            </a:xfrm>
            <a:prstGeom prst="rect">
              <a:avLst/>
            </a:prstGeom>
            <a:solidFill>
              <a:schemeClr val="bg1">
                <a:lumMod val="95000"/>
                <a:alpha val="33000"/>
              </a:schemeClr>
            </a:solidFill>
            <a:ln w="6350" cap="flat" cmpd="sng" algn="ctr">
              <a:solidFill>
                <a:schemeClr val="bg1">
                  <a:lumMod val="85000"/>
                </a:scheme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UI"/>
                <a:ea typeface="+mn-ea"/>
                <a:cs typeface="Segoe UI" pitchFamily="34" charset="0"/>
              </a:endParaRPr>
            </a:p>
          </p:txBody>
        </p:sp>
        <p:sp>
          <p:nvSpPr>
            <p:cNvPr id="23" name="Oval 32_1">
              <a:extLst>
                <a:ext uri="{FF2B5EF4-FFF2-40B4-BE49-F238E27FC236}">
                  <a16:creationId xmlns:a16="http://schemas.microsoft.com/office/drawing/2014/main" id="{91110A9F-E6AD-A317-1D46-0DCF641150DE}"/>
                </a:ext>
              </a:extLst>
            </p:cNvPr>
            <p:cNvSpPr>
              <a:spLocks/>
            </p:cNvSpPr>
            <p:nvPr/>
          </p:nvSpPr>
          <p:spPr bwMode="auto">
            <a:xfrm>
              <a:off x="3357830" y="1375686"/>
              <a:ext cx="3977524" cy="210706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Oval 32_1">
              <a:extLst>
                <a:ext uri="{FF2B5EF4-FFF2-40B4-BE49-F238E27FC236}">
                  <a16:creationId xmlns:a16="http://schemas.microsoft.com/office/drawing/2014/main" id="{D2A99DDE-94A4-C84A-C745-BECA04399DEA}"/>
                </a:ext>
              </a:extLst>
            </p:cNvPr>
            <p:cNvSpPr>
              <a:spLocks/>
            </p:cNvSpPr>
            <p:nvPr/>
          </p:nvSpPr>
          <p:spPr bwMode="auto">
            <a:xfrm>
              <a:off x="7428577" y="1375686"/>
              <a:ext cx="3977524" cy="210706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Segoe UI"/>
                <a:ea typeface="+mn-ea"/>
                <a:cs typeface="+mn-cs"/>
              </a:endParaRPr>
            </a:p>
          </p:txBody>
        </p:sp>
        <p:sp>
          <p:nvSpPr>
            <p:cNvPr id="25" name="Oval 32_1">
              <a:extLst>
                <a:ext uri="{FF2B5EF4-FFF2-40B4-BE49-F238E27FC236}">
                  <a16:creationId xmlns:a16="http://schemas.microsoft.com/office/drawing/2014/main" id="{BF4FE33D-84C5-4A39-D91C-F95DD3533A47}"/>
                </a:ext>
              </a:extLst>
            </p:cNvPr>
            <p:cNvSpPr>
              <a:spLocks/>
            </p:cNvSpPr>
            <p:nvPr/>
          </p:nvSpPr>
          <p:spPr bwMode="auto">
            <a:xfrm>
              <a:off x="3357830" y="3564144"/>
              <a:ext cx="3977524" cy="210706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Segoe UI"/>
                <a:ea typeface="+mn-ea"/>
                <a:cs typeface="+mn-cs"/>
              </a:endParaRPr>
            </a:p>
          </p:txBody>
        </p:sp>
        <p:sp>
          <p:nvSpPr>
            <p:cNvPr id="26" name="Oval 32_1">
              <a:extLst>
                <a:ext uri="{FF2B5EF4-FFF2-40B4-BE49-F238E27FC236}">
                  <a16:creationId xmlns:a16="http://schemas.microsoft.com/office/drawing/2014/main" id="{2809DE82-A012-8B6A-E7A5-02A188509FFE}"/>
                </a:ext>
              </a:extLst>
            </p:cNvPr>
            <p:cNvSpPr>
              <a:spLocks/>
            </p:cNvSpPr>
            <p:nvPr/>
          </p:nvSpPr>
          <p:spPr bwMode="auto">
            <a:xfrm>
              <a:off x="7428577" y="3564144"/>
              <a:ext cx="3977524" cy="210706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Segoe UI"/>
                <a:ea typeface="+mn-ea"/>
                <a:cs typeface="+mn-cs"/>
              </a:endParaRPr>
            </a:p>
          </p:txBody>
        </p:sp>
        <p:sp>
          <p:nvSpPr>
            <p:cNvPr id="27" name="Rectangle 26">
              <a:extLst>
                <a:ext uri="{FF2B5EF4-FFF2-40B4-BE49-F238E27FC236}">
                  <a16:creationId xmlns:a16="http://schemas.microsoft.com/office/drawing/2014/main" id="{B4DF7BC8-96E3-CE34-5C75-6E9A9954AF44}"/>
                </a:ext>
              </a:extLst>
            </p:cNvPr>
            <p:cNvSpPr/>
            <p:nvPr/>
          </p:nvSpPr>
          <p:spPr bwMode="auto">
            <a:xfrm>
              <a:off x="5366550" y="1375687"/>
              <a:ext cx="1968803" cy="294937"/>
            </a:xfrm>
            <a:prstGeom prst="rect">
              <a:avLst/>
            </a:prstGeom>
            <a:solidFill>
              <a:schemeClr val="bg2"/>
            </a:solidFill>
            <a:ln w="5992" cap="flat">
              <a:noFill/>
              <a:prstDash val="solid"/>
              <a:miter/>
            </a:ln>
          </p:spPr>
          <p:txBody>
            <a:bodyPr vert="horz" wrap="square" rtlCol="0" anchor="ctr">
              <a:no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Semibold"/>
                  <a:ea typeface="+mn-ea"/>
                  <a:cs typeface="+mn-cs"/>
                </a:rPr>
                <a:t>High Value, High Effort</a:t>
              </a:r>
            </a:p>
            <a:p>
              <a:pPr marL="0" marR="0" lvl="0" indent="0" algn="ctr" defTabSz="914400" rtl="0" eaLnBrk="1" fontAlgn="auto" latinLnBrk="0" hangingPunct="1">
                <a:lnSpc>
                  <a:spcPct val="100000"/>
                </a:lnSpc>
                <a:spcBef>
                  <a:spcPts val="0"/>
                </a:spcBef>
                <a:spcAft>
                  <a:spcPts val="200"/>
                </a:spcAft>
                <a:buClrTx/>
                <a:buSzTx/>
                <a:buFontTx/>
                <a:buNone/>
                <a:tabLst/>
                <a:defRPr/>
              </a:pPr>
              <a:r>
                <a:rPr lang="en-US" sz="900">
                  <a:solidFill>
                    <a:srgbClr val="000000"/>
                  </a:solidFill>
                  <a:latin typeface="Segoe UI Semibold"/>
                </a:rPr>
                <a:t>“Plan &amp; Invest”</a:t>
              </a:r>
              <a:endParaRPr kumimoji="0" lang="en-US" sz="90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28" name="Rectangle 27">
              <a:extLst>
                <a:ext uri="{FF2B5EF4-FFF2-40B4-BE49-F238E27FC236}">
                  <a16:creationId xmlns:a16="http://schemas.microsoft.com/office/drawing/2014/main" id="{72396807-C79F-40C3-17C4-DA1506BD8E37}"/>
                </a:ext>
              </a:extLst>
            </p:cNvPr>
            <p:cNvSpPr/>
            <p:nvPr/>
          </p:nvSpPr>
          <p:spPr bwMode="auto">
            <a:xfrm>
              <a:off x="9437298" y="3564145"/>
              <a:ext cx="1968803" cy="294937"/>
            </a:xfrm>
            <a:prstGeom prst="rect">
              <a:avLst/>
            </a:prstGeom>
            <a:solidFill>
              <a:schemeClr val="bg2"/>
            </a:solidFill>
            <a:ln w="5992" cap="flat">
              <a:noFill/>
              <a:prstDash val="solid"/>
              <a:miter/>
            </a:ln>
          </p:spPr>
          <p:txBody>
            <a:bodyPr vert="horz" wrap="square" rtlCol="0" anchor="ctr">
              <a:no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Semibold"/>
                  <a:ea typeface="+mn-ea"/>
                  <a:cs typeface="+mn-cs"/>
                </a:rPr>
                <a:t>Low Value, Low Effort</a:t>
              </a:r>
            </a:p>
            <a:p>
              <a:pPr marL="0" marR="0" lvl="0" indent="0" algn="ctr" defTabSz="914400" rtl="0" eaLnBrk="1" fontAlgn="auto" latinLnBrk="0" hangingPunct="1">
                <a:lnSpc>
                  <a:spcPct val="100000"/>
                </a:lnSpc>
                <a:spcBef>
                  <a:spcPts val="0"/>
                </a:spcBef>
                <a:spcAft>
                  <a:spcPts val="200"/>
                </a:spcAft>
                <a:buClrTx/>
                <a:buSzTx/>
                <a:buFontTx/>
                <a:buNone/>
                <a:tabLst/>
                <a:defRPr/>
              </a:pPr>
              <a:r>
                <a:rPr lang="en-US" sz="900">
                  <a:solidFill>
                    <a:srgbClr val="000000"/>
                  </a:solidFill>
                  <a:latin typeface="Segoe UI Semibold"/>
                </a:rPr>
                <a:t>“Consider after High Value work”</a:t>
              </a:r>
              <a:endParaRPr kumimoji="0" lang="en-US" sz="90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29" name="Rectangle 28">
              <a:extLst>
                <a:ext uri="{FF2B5EF4-FFF2-40B4-BE49-F238E27FC236}">
                  <a16:creationId xmlns:a16="http://schemas.microsoft.com/office/drawing/2014/main" id="{ECAD9826-CE17-F7F0-19F1-AF792976E595}"/>
                </a:ext>
              </a:extLst>
            </p:cNvPr>
            <p:cNvSpPr/>
            <p:nvPr/>
          </p:nvSpPr>
          <p:spPr bwMode="auto">
            <a:xfrm>
              <a:off x="9437298" y="1375687"/>
              <a:ext cx="1968803" cy="294937"/>
            </a:xfrm>
            <a:prstGeom prst="rect">
              <a:avLst/>
            </a:prstGeom>
            <a:solidFill>
              <a:schemeClr val="bg2"/>
            </a:solidFill>
            <a:ln w="5992" cap="flat">
              <a:noFill/>
              <a:prstDash val="solid"/>
              <a:miter/>
            </a:ln>
          </p:spPr>
          <p:txBody>
            <a:bodyPr vert="horz" wrap="square" rtlCol="0" anchor="ctr">
              <a:no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lang="en-US" sz="900">
                  <a:solidFill>
                    <a:srgbClr val="000000"/>
                  </a:solidFill>
                  <a:latin typeface="Segoe UI Semibold"/>
                </a:rPr>
                <a:t>High Value, Low Effort</a:t>
              </a:r>
            </a:p>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Semibold"/>
                  <a:ea typeface="+mn-ea"/>
                  <a:cs typeface="+mn-cs"/>
                </a:rPr>
                <a:t>“Quick Wins”</a:t>
              </a:r>
            </a:p>
          </p:txBody>
        </p:sp>
        <p:sp>
          <p:nvSpPr>
            <p:cNvPr id="30" name="Rectangle 29">
              <a:extLst>
                <a:ext uri="{FF2B5EF4-FFF2-40B4-BE49-F238E27FC236}">
                  <a16:creationId xmlns:a16="http://schemas.microsoft.com/office/drawing/2014/main" id="{0784CCFD-CFA6-3EAB-24EC-0FBE0F3BDB19}"/>
                </a:ext>
              </a:extLst>
            </p:cNvPr>
            <p:cNvSpPr/>
            <p:nvPr/>
          </p:nvSpPr>
          <p:spPr bwMode="auto">
            <a:xfrm>
              <a:off x="5366550" y="3564145"/>
              <a:ext cx="1968803" cy="294937"/>
            </a:xfrm>
            <a:prstGeom prst="rect">
              <a:avLst/>
            </a:prstGeom>
            <a:solidFill>
              <a:schemeClr val="bg2"/>
            </a:solidFill>
            <a:ln w="5992" cap="flat">
              <a:noFill/>
              <a:prstDash val="solid"/>
              <a:miter/>
            </a:ln>
          </p:spPr>
          <p:txBody>
            <a:bodyPr vert="horz" wrap="square" lIns="45720" rIns="45720" rtlCol="0" anchor="ctr">
              <a:no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Semibold"/>
                  <a:ea typeface="+mn-ea"/>
                  <a:cs typeface="+mn-cs"/>
                </a:rPr>
                <a:t>Low Value, High Effort</a:t>
              </a:r>
            </a:p>
            <a:p>
              <a:pPr marL="0" marR="0" lvl="0" indent="0" algn="ctr" defTabSz="914400" rtl="0" eaLnBrk="1" fontAlgn="auto" latinLnBrk="0" hangingPunct="1">
                <a:lnSpc>
                  <a:spcPct val="100000"/>
                </a:lnSpc>
                <a:spcBef>
                  <a:spcPts val="0"/>
                </a:spcBef>
                <a:spcAft>
                  <a:spcPts val="200"/>
                </a:spcAft>
                <a:buClrTx/>
                <a:buSzTx/>
                <a:buFontTx/>
                <a:buNone/>
                <a:tabLst/>
                <a:defRPr/>
              </a:pPr>
              <a:r>
                <a:rPr lang="en-US" sz="900">
                  <a:solidFill>
                    <a:srgbClr val="000000"/>
                  </a:solidFill>
                  <a:latin typeface="Segoe UI Semibold"/>
                </a:rPr>
                <a:t>“Avoid if Possible”</a:t>
              </a:r>
              <a:endParaRPr kumimoji="0" lang="en-US" sz="90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33" name="Rectangle 32">
              <a:extLst>
                <a:ext uri="{FF2B5EF4-FFF2-40B4-BE49-F238E27FC236}">
                  <a16:creationId xmlns:a16="http://schemas.microsoft.com/office/drawing/2014/main" id="{7B8E5970-680C-80C0-09CF-E473AE062231}"/>
                </a:ext>
              </a:extLst>
            </p:cNvPr>
            <p:cNvSpPr/>
            <p:nvPr/>
          </p:nvSpPr>
          <p:spPr bwMode="auto">
            <a:xfrm>
              <a:off x="3357830" y="1375880"/>
              <a:ext cx="289590" cy="262196"/>
            </a:xfrm>
            <a:prstGeom prst="rect">
              <a:avLst/>
            </a:prstGeom>
            <a:noFill/>
            <a:ln w="5992" cap="flat">
              <a:noFill/>
              <a:prstDash val="solid"/>
              <a:miter/>
            </a:ln>
          </p:spPr>
          <p:txBody>
            <a:bodyPr wrap="square" lIns="91440" tIns="45720" rIns="91440" bIns="45720" rtlCol="0" anchor="ctr">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5</a:t>
              </a:r>
            </a:p>
          </p:txBody>
        </p:sp>
        <p:sp>
          <p:nvSpPr>
            <p:cNvPr id="34" name="Rectangle 33">
              <a:extLst>
                <a:ext uri="{FF2B5EF4-FFF2-40B4-BE49-F238E27FC236}">
                  <a16:creationId xmlns:a16="http://schemas.microsoft.com/office/drawing/2014/main" id="{A3CEFED0-2B3B-ED44-17AF-9E96D927382B}"/>
                </a:ext>
              </a:extLst>
            </p:cNvPr>
            <p:cNvSpPr/>
            <p:nvPr/>
          </p:nvSpPr>
          <p:spPr bwMode="auto">
            <a:xfrm>
              <a:off x="3357830" y="2298122"/>
              <a:ext cx="294494" cy="262196"/>
            </a:xfrm>
            <a:prstGeom prst="rect">
              <a:avLst/>
            </a:prstGeom>
            <a:noFill/>
            <a:ln w="5992" cap="flat">
              <a:noFill/>
              <a:prstDash val="solid"/>
              <a:miter/>
            </a:ln>
          </p:spPr>
          <p:txBody>
            <a:bodyPr wrap="square" lIns="91440" tIns="45720" rIns="91440" bIns="45720" rtlCol="0" anchor="ctr">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4</a:t>
              </a:r>
            </a:p>
          </p:txBody>
        </p:sp>
        <p:sp>
          <p:nvSpPr>
            <p:cNvPr id="35" name="Rectangle 34">
              <a:extLst>
                <a:ext uri="{FF2B5EF4-FFF2-40B4-BE49-F238E27FC236}">
                  <a16:creationId xmlns:a16="http://schemas.microsoft.com/office/drawing/2014/main" id="{37C22D28-4E6C-038F-68BB-21ECD0DB9E47}"/>
                </a:ext>
              </a:extLst>
            </p:cNvPr>
            <p:cNvSpPr/>
            <p:nvPr/>
          </p:nvSpPr>
          <p:spPr bwMode="auto">
            <a:xfrm>
              <a:off x="3357830" y="3397221"/>
              <a:ext cx="289590" cy="262196"/>
            </a:xfrm>
            <a:prstGeom prst="rect">
              <a:avLst/>
            </a:prstGeom>
            <a:solidFill>
              <a:schemeClr val="bg1"/>
            </a:solidFill>
            <a:ln w="5992" cap="flat">
              <a:noFill/>
              <a:prstDash val="solid"/>
              <a:miter/>
            </a:ln>
          </p:spPr>
          <p:txBody>
            <a:bodyPr wrap="square" lIns="91440" tIns="45720" rIns="91440" bIns="45720" rtlCol="0" anchor="ctr">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3</a:t>
              </a:r>
            </a:p>
          </p:txBody>
        </p:sp>
        <p:sp>
          <p:nvSpPr>
            <p:cNvPr id="36" name="Rectangle 35">
              <a:extLst>
                <a:ext uri="{FF2B5EF4-FFF2-40B4-BE49-F238E27FC236}">
                  <a16:creationId xmlns:a16="http://schemas.microsoft.com/office/drawing/2014/main" id="{260BDEA7-FF1A-028B-2DA3-B8D983984A81}"/>
                </a:ext>
              </a:extLst>
            </p:cNvPr>
            <p:cNvSpPr/>
            <p:nvPr/>
          </p:nvSpPr>
          <p:spPr bwMode="auto">
            <a:xfrm>
              <a:off x="3357830" y="4525688"/>
              <a:ext cx="289590" cy="262196"/>
            </a:xfrm>
            <a:prstGeom prst="rect">
              <a:avLst/>
            </a:prstGeom>
            <a:noFill/>
            <a:ln w="5992" cap="flat">
              <a:noFill/>
              <a:prstDash val="solid"/>
              <a:miter/>
            </a:ln>
          </p:spPr>
          <p:txBody>
            <a:bodyPr wrap="square" lIns="91440" tIns="45720" rIns="91440" bIns="45720" rtlCol="0" anchor="ctr">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2</a:t>
              </a:r>
            </a:p>
          </p:txBody>
        </p:sp>
        <p:sp>
          <p:nvSpPr>
            <p:cNvPr id="37" name="Rectangle 36">
              <a:extLst>
                <a:ext uri="{FF2B5EF4-FFF2-40B4-BE49-F238E27FC236}">
                  <a16:creationId xmlns:a16="http://schemas.microsoft.com/office/drawing/2014/main" id="{D8C44BF2-B8F1-2CE1-408A-1A4DBBD61242}"/>
                </a:ext>
              </a:extLst>
            </p:cNvPr>
            <p:cNvSpPr/>
            <p:nvPr/>
          </p:nvSpPr>
          <p:spPr bwMode="auto">
            <a:xfrm>
              <a:off x="3357830" y="5416835"/>
              <a:ext cx="261809" cy="262196"/>
            </a:xfrm>
            <a:prstGeom prst="rect">
              <a:avLst/>
            </a:prstGeom>
            <a:noFill/>
            <a:ln w="5992" cap="flat">
              <a:noFill/>
              <a:prstDash val="solid"/>
              <a:miter/>
            </a:ln>
          </p:spPr>
          <p:txBody>
            <a:bodyPr wrap="square" lIns="91440" tIns="45720" rIns="91440" bIns="45720" rtlCol="0" anchor="ctr">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1</a:t>
              </a:r>
            </a:p>
          </p:txBody>
        </p:sp>
        <p:sp>
          <p:nvSpPr>
            <p:cNvPr id="38" name="Rectangle 37">
              <a:extLst>
                <a:ext uri="{FF2B5EF4-FFF2-40B4-BE49-F238E27FC236}">
                  <a16:creationId xmlns:a16="http://schemas.microsoft.com/office/drawing/2014/main" id="{4C049A4E-7180-BAA2-93B4-431F6DB7BDE6}"/>
                </a:ext>
              </a:extLst>
            </p:cNvPr>
            <p:cNvSpPr/>
            <p:nvPr/>
          </p:nvSpPr>
          <p:spPr bwMode="auto">
            <a:xfrm>
              <a:off x="5387818" y="5416835"/>
              <a:ext cx="261809" cy="262196"/>
            </a:xfrm>
            <a:prstGeom prst="rect">
              <a:avLst/>
            </a:prstGeom>
            <a:noFill/>
            <a:ln w="5992" cap="flat">
              <a:noFill/>
              <a:prstDash val="solid"/>
              <a:miter/>
            </a:ln>
          </p:spPr>
          <p:txBody>
            <a:bodyPr wrap="square" lIns="91440" tIns="45720" rIns="91440" bIns="45720" rtlCol="0" anchor="ctr">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2</a:t>
              </a:r>
            </a:p>
          </p:txBody>
        </p:sp>
        <p:sp>
          <p:nvSpPr>
            <p:cNvPr id="39" name="Rectangle 38">
              <a:extLst>
                <a:ext uri="{FF2B5EF4-FFF2-40B4-BE49-F238E27FC236}">
                  <a16:creationId xmlns:a16="http://schemas.microsoft.com/office/drawing/2014/main" id="{1958C93A-79C6-EFC1-E973-212F6BCA9EEB}"/>
                </a:ext>
              </a:extLst>
            </p:cNvPr>
            <p:cNvSpPr/>
            <p:nvPr/>
          </p:nvSpPr>
          <p:spPr bwMode="auto">
            <a:xfrm>
              <a:off x="7251061" y="5409015"/>
              <a:ext cx="261809" cy="262196"/>
            </a:xfrm>
            <a:prstGeom prst="rect">
              <a:avLst/>
            </a:prstGeom>
            <a:solidFill>
              <a:schemeClr val="bg1"/>
            </a:solidFill>
            <a:ln w="5992" cap="flat">
              <a:noFill/>
              <a:prstDash val="solid"/>
              <a:miter/>
            </a:ln>
          </p:spPr>
          <p:txBody>
            <a:bodyPr wrap="square" lIns="91440" tIns="45720" rIns="91440" bIns="45720" rtlCol="0" anchor="ctr">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3</a:t>
              </a:r>
            </a:p>
          </p:txBody>
        </p:sp>
        <p:sp>
          <p:nvSpPr>
            <p:cNvPr id="40" name="Rectangle 39">
              <a:extLst>
                <a:ext uri="{FF2B5EF4-FFF2-40B4-BE49-F238E27FC236}">
                  <a16:creationId xmlns:a16="http://schemas.microsoft.com/office/drawing/2014/main" id="{11756CCA-2E07-6129-A970-1AEA7A31C82E}"/>
                </a:ext>
              </a:extLst>
            </p:cNvPr>
            <p:cNvSpPr/>
            <p:nvPr/>
          </p:nvSpPr>
          <p:spPr bwMode="auto">
            <a:xfrm>
              <a:off x="9347465" y="5416835"/>
              <a:ext cx="261809" cy="262196"/>
            </a:xfrm>
            <a:prstGeom prst="rect">
              <a:avLst/>
            </a:prstGeom>
            <a:noFill/>
            <a:ln w="5992" cap="flat">
              <a:noFill/>
              <a:prstDash val="solid"/>
              <a:miter/>
            </a:ln>
          </p:spPr>
          <p:txBody>
            <a:bodyPr wrap="square" lIns="91440" tIns="45720" rIns="91440" bIns="45720" rtlCol="0" anchor="ctr">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4</a:t>
              </a:r>
            </a:p>
          </p:txBody>
        </p:sp>
        <p:sp>
          <p:nvSpPr>
            <p:cNvPr id="41" name="Rectangle 40">
              <a:extLst>
                <a:ext uri="{FF2B5EF4-FFF2-40B4-BE49-F238E27FC236}">
                  <a16:creationId xmlns:a16="http://schemas.microsoft.com/office/drawing/2014/main" id="{515AD654-D537-93DA-F2FD-E139BEDC3F86}"/>
                </a:ext>
              </a:extLst>
            </p:cNvPr>
            <p:cNvSpPr/>
            <p:nvPr/>
          </p:nvSpPr>
          <p:spPr bwMode="auto">
            <a:xfrm>
              <a:off x="11144292" y="5416835"/>
              <a:ext cx="261809" cy="262196"/>
            </a:xfrm>
            <a:prstGeom prst="rect">
              <a:avLst/>
            </a:prstGeom>
            <a:noFill/>
            <a:ln w="5992" cap="flat">
              <a:noFill/>
              <a:prstDash val="solid"/>
              <a:miter/>
            </a:ln>
          </p:spPr>
          <p:txBody>
            <a:bodyPr wrap="square" lIns="91440" tIns="45720" rIns="91440" bIns="45720" rtlCol="0" anchor="ctr">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5</a:t>
              </a:r>
            </a:p>
          </p:txBody>
        </p:sp>
      </p:grpSp>
      <p:sp>
        <p:nvSpPr>
          <p:cNvPr id="42" name="TextBox 41">
            <a:extLst>
              <a:ext uri="{FF2B5EF4-FFF2-40B4-BE49-F238E27FC236}">
                <a16:creationId xmlns:a16="http://schemas.microsoft.com/office/drawing/2014/main" id="{3D80D985-7193-7DA5-C885-B8BAF78AF42A}"/>
              </a:ext>
            </a:extLst>
          </p:cNvPr>
          <p:cNvSpPr txBox="1"/>
          <p:nvPr/>
        </p:nvSpPr>
        <p:spPr>
          <a:xfrm>
            <a:off x="588963" y="6345738"/>
            <a:ext cx="1835803" cy="169277"/>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Drag to appropriate quadrant</a:t>
            </a:r>
          </a:p>
        </p:txBody>
      </p:sp>
      <p:sp>
        <p:nvSpPr>
          <p:cNvPr id="43" name="Oval 42">
            <a:extLst>
              <a:ext uri="{FF2B5EF4-FFF2-40B4-BE49-F238E27FC236}">
                <a16:creationId xmlns:a16="http://schemas.microsoft.com/office/drawing/2014/main" id="{AAF36AE7-7DC5-3378-C665-AB0758B86FD4}"/>
              </a:ext>
            </a:extLst>
          </p:cNvPr>
          <p:cNvSpPr/>
          <p:nvPr/>
        </p:nvSpPr>
        <p:spPr bwMode="auto">
          <a:xfrm>
            <a:off x="2647187" y="6292559"/>
            <a:ext cx="274048" cy="275636"/>
          </a:xfrm>
          <a:prstGeom prst="ellipse">
            <a:avLst/>
          </a:prstGeom>
          <a:solidFill>
            <a:schemeClr val="accent4"/>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1</a:t>
            </a:r>
          </a:p>
        </p:txBody>
      </p:sp>
      <p:sp>
        <p:nvSpPr>
          <p:cNvPr id="44" name="Oval 43">
            <a:extLst>
              <a:ext uri="{FF2B5EF4-FFF2-40B4-BE49-F238E27FC236}">
                <a16:creationId xmlns:a16="http://schemas.microsoft.com/office/drawing/2014/main" id="{298B5799-FE8C-45D0-823C-77689C4DA589}"/>
              </a:ext>
            </a:extLst>
          </p:cNvPr>
          <p:cNvSpPr/>
          <p:nvPr/>
        </p:nvSpPr>
        <p:spPr bwMode="auto">
          <a:xfrm>
            <a:off x="3220447" y="6292559"/>
            <a:ext cx="274048" cy="275636"/>
          </a:xfrm>
          <a:prstGeom prst="ellipse">
            <a:avLst/>
          </a:prstGeom>
          <a:solidFill>
            <a:schemeClr val="accent4"/>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2</a:t>
            </a:r>
          </a:p>
        </p:txBody>
      </p:sp>
      <p:sp>
        <p:nvSpPr>
          <p:cNvPr id="45" name="Oval 44">
            <a:extLst>
              <a:ext uri="{FF2B5EF4-FFF2-40B4-BE49-F238E27FC236}">
                <a16:creationId xmlns:a16="http://schemas.microsoft.com/office/drawing/2014/main" id="{7CF1E959-6720-5BE3-2DCB-83EFCF18929D}"/>
              </a:ext>
            </a:extLst>
          </p:cNvPr>
          <p:cNvSpPr/>
          <p:nvPr/>
        </p:nvSpPr>
        <p:spPr bwMode="auto">
          <a:xfrm>
            <a:off x="3793707" y="6292559"/>
            <a:ext cx="274048" cy="275636"/>
          </a:xfrm>
          <a:prstGeom prst="ellipse">
            <a:avLst/>
          </a:prstGeom>
          <a:solidFill>
            <a:schemeClr val="accent4"/>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3</a:t>
            </a:r>
          </a:p>
        </p:txBody>
      </p:sp>
      <p:sp>
        <p:nvSpPr>
          <p:cNvPr id="46" name="Oval 45">
            <a:extLst>
              <a:ext uri="{FF2B5EF4-FFF2-40B4-BE49-F238E27FC236}">
                <a16:creationId xmlns:a16="http://schemas.microsoft.com/office/drawing/2014/main" id="{C9CF553E-BEE1-8516-C289-CA362654E1B9}"/>
              </a:ext>
            </a:extLst>
          </p:cNvPr>
          <p:cNvSpPr/>
          <p:nvPr/>
        </p:nvSpPr>
        <p:spPr bwMode="auto">
          <a:xfrm>
            <a:off x="4366967" y="6292559"/>
            <a:ext cx="274048" cy="275636"/>
          </a:xfrm>
          <a:prstGeom prst="ellipse">
            <a:avLst/>
          </a:prstGeom>
          <a:solidFill>
            <a:schemeClr val="accent4"/>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4</a:t>
            </a:r>
          </a:p>
        </p:txBody>
      </p:sp>
      <p:sp>
        <p:nvSpPr>
          <p:cNvPr id="47" name="Oval 46">
            <a:extLst>
              <a:ext uri="{FF2B5EF4-FFF2-40B4-BE49-F238E27FC236}">
                <a16:creationId xmlns:a16="http://schemas.microsoft.com/office/drawing/2014/main" id="{77B6663A-5057-B5F7-0475-9651BA4ABE0A}"/>
              </a:ext>
            </a:extLst>
          </p:cNvPr>
          <p:cNvSpPr/>
          <p:nvPr/>
        </p:nvSpPr>
        <p:spPr bwMode="auto">
          <a:xfrm>
            <a:off x="4940227" y="6292559"/>
            <a:ext cx="274048" cy="275636"/>
          </a:xfrm>
          <a:prstGeom prst="ellipse">
            <a:avLst/>
          </a:prstGeom>
          <a:solidFill>
            <a:schemeClr val="accent4"/>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5</a:t>
            </a:r>
          </a:p>
        </p:txBody>
      </p:sp>
      <p:sp>
        <p:nvSpPr>
          <p:cNvPr id="31" name="Rectangle 30">
            <a:extLst>
              <a:ext uri="{FF2B5EF4-FFF2-40B4-BE49-F238E27FC236}">
                <a16:creationId xmlns:a16="http://schemas.microsoft.com/office/drawing/2014/main" id="{A0FA271A-B71E-32BB-C7DC-BBE6B849C275}"/>
              </a:ext>
              <a:ext uri="{C183D7F6-B498-43B3-948B-1728B52AA6E4}">
                <adec:decorative xmlns:adec="http://schemas.microsoft.com/office/drawing/2017/decorative" val="1"/>
              </a:ext>
            </a:extLst>
          </p:cNvPr>
          <p:cNvSpPr/>
          <p:nvPr/>
        </p:nvSpPr>
        <p:spPr bwMode="auto">
          <a:xfrm>
            <a:off x="0" y="-1806"/>
            <a:ext cx="12192000" cy="853975"/>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2" name="Title 61">
            <a:extLst>
              <a:ext uri="{FF2B5EF4-FFF2-40B4-BE49-F238E27FC236}">
                <a16:creationId xmlns:a16="http://schemas.microsoft.com/office/drawing/2014/main" id="{0519D7B0-71F8-96A2-BA4D-F5CAE4E00C2F}"/>
              </a:ext>
            </a:extLst>
          </p:cNvPr>
          <p:cNvSpPr txBox="1">
            <a:spLocks/>
          </p:cNvSpPr>
          <p:nvPr/>
        </p:nvSpPr>
        <p:spPr>
          <a:xfrm>
            <a:off x="73478" y="-1806"/>
            <a:ext cx="4338176" cy="373100"/>
          </a:xfrm>
          <a:prstGeom prst="rect">
            <a:avLst/>
          </a:prstGeom>
        </p:spPr>
        <p:txBody>
          <a:bodyPr/>
          <a:lstStyle>
            <a:lvl1pPr algn="l" defTabSz="932742" rtl="0" eaLnBrk="1" latinLnBrk="0" hangingPunct="1">
              <a:lnSpc>
                <a:spcPct val="100000"/>
              </a:lnSpc>
              <a:spcBef>
                <a:spcPct val="0"/>
              </a:spcBef>
              <a:buNone/>
              <a:defRPr lang="en-US" sz="2000" b="0" kern="1200" cap="none" spc="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dirty="0">
                <a:ln w="3175">
                  <a:noFill/>
                </a:ln>
                <a:solidFill>
                  <a:schemeClr val="bg1"/>
                </a:solidFill>
                <a:effectLst/>
                <a:uLnTx/>
                <a:uFillTx/>
                <a:latin typeface="Aptos SemiBold"/>
                <a:ea typeface="+mn-ea"/>
                <a:cs typeface="Segoe UI" pitchFamily="34" charset="0"/>
              </a:rPr>
              <a:t>AI Use Cases Discovery</a:t>
            </a:r>
          </a:p>
        </p:txBody>
      </p:sp>
      <p:sp>
        <p:nvSpPr>
          <p:cNvPr id="48" name="Titel 1">
            <a:extLst>
              <a:ext uri="{FF2B5EF4-FFF2-40B4-BE49-F238E27FC236}">
                <a16:creationId xmlns:a16="http://schemas.microsoft.com/office/drawing/2014/main" id="{0EFC4797-3966-C2C5-C14A-D7AB6AE5B1AE}"/>
              </a:ext>
            </a:extLst>
          </p:cNvPr>
          <p:cNvSpPr txBox="1">
            <a:spLocks/>
          </p:cNvSpPr>
          <p:nvPr/>
        </p:nvSpPr>
        <p:spPr>
          <a:xfrm>
            <a:off x="73480" y="375546"/>
            <a:ext cx="3829050" cy="184666"/>
          </a:xfrm>
          <a:prstGeom prst="rect">
            <a:avLst/>
          </a:prstGeom>
        </p:spPr>
        <p:txBody>
          <a:bodyPr vert="horz" wrap="square" lIns="0" tIns="0" rIns="0" bIns="0" rtlCol="0" anchor="ctr">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200" b="0" i="0" u="none" strike="noStrike" kern="1200" cap="none" spc="0" normalizeH="0" baseline="0" noProof="0">
                <a:ln w="3175">
                  <a:noFill/>
                </a:ln>
                <a:solidFill>
                  <a:schemeClr val="bg1"/>
                </a:solidFill>
                <a:effectLst/>
                <a:uLnTx/>
                <a:uFillTx/>
                <a:latin typeface="Segoe UI Semibold"/>
                <a:ea typeface="+mn-ea"/>
                <a:cs typeface="Segoe UI" pitchFamily="34" charset="0"/>
              </a:rPr>
              <a:t>Customer: (Contoso)</a:t>
            </a:r>
          </a:p>
        </p:txBody>
      </p:sp>
      <p:sp>
        <p:nvSpPr>
          <p:cNvPr id="49" name="Textplatzhalter 2">
            <a:extLst>
              <a:ext uri="{FF2B5EF4-FFF2-40B4-BE49-F238E27FC236}">
                <a16:creationId xmlns:a16="http://schemas.microsoft.com/office/drawing/2014/main" id="{6130B2AF-5520-4852-EFAA-EADEC29353B4}"/>
              </a:ext>
            </a:extLst>
          </p:cNvPr>
          <p:cNvSpPr txBox="1">
            <a:spLocks/>
          </p:cNvSpPr>
          <p:nvPr/>
        </p:nvSpPr>
        <p:spPr>
          <a:xfrm>
            <a:off x="4959803" y="133545"/>
            <a:ext cx="4192361" cy="373100"/>
          </a:xfrm>
          <a:prstGeom prst="rect">
            <a:avLst/>
          </a:prstGeom>
        </p:spPr>
        <p:txBody>
          <a:bodyPr lIns="0" tIns="0" rIns="0" bIns="0" anchor="t"/>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000" b="0" i="0" u="none" strike="noStrike" kern="1200" cap="none" spc="0" normalizeH="0" baseline="0" noProof="0">
                <a:ln>
                  <a:noFill/>
                </a:ln>
                <a:solidFill>
                  <a:schemeClr val="bg1"/>
                </a:solidFill>
                <a:effectLst/>
                <a:uLnTx/>
                <a:uFillTx/>
                <a:latin typeface="Segoe UI Semibold"/>
                <a:ea typeface="+mn-ea"/>
                <a:cs typeface="Segoe UI" panose="020B0502040204020203" pitchFamily="34" charset="0"/>
              </a:rPr>
              <a:t>Aligned Strategic Priority:</a:t>
            </a:r>
          </a:p>
        </p:txBody>
      </p:sp>
      <p:sp>
        <p:nvSpPr>
          <p:cNvPr id="50" name="Titel 1">
            <a:extLst>
              <a:ext uri="{FF2B5EF4-FFF2-40B4-BE49-F238E27FC236}">
                <a16:creationId xmlns:a16="http://schemas.microsoft.com/office/drawing/2014/main" id="{09CD4B50-7569-A198-D18A-A4CF9C1CA782}"/>
              </a:ext>
            </a:extLst>
          </p:cNvPr>
          <p:cNvSpPr txBox="1">
            <a:spLocks/>
          </p:cNvSpPr>
          <p:nvPr/>
        </p:nvSpPr>
        <p:spPr>
          <a:xfrm>
            <a:off x="73479" y="631203"/>
            <a:ext cx="8701244" cy="184666"/>
          </a:xfrm>
          <a:prstGeom prst="rect">
            <a:avLst/>
          </a:prstGeom>
        </p:spPr>
        <p:txBody>
          <a:bodyPr vert="horz" wrap="square" lIns="0" tIns="0" rIns="0" bIns="0" rtlCol="0" anchor="ctr">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200" b="0" i="0" u="none" strike="noStrike" kern="1200" cap="none" spc="0" normalizeH="0" baseline="0" noProof="0">
                <a:ln w="3175">
                  <a:noFill/>
                </a:ln>
                <a:solidFill>
                  <a:schemeClr val="bg1"/>
                </a:solidFill>
                <a:effectLst/>
                <a:uLnTx/>
                <a:uFillTx/>
                <a:latin typeface="Segoe UI Semibold"/>
                <a:ea typeface="+mn-ea"/>
                <a:cs typeface="Segoe UI" pitchFamily="34" charset="0"/>
              </a:rPr>
              <a:t>Business Process Challenge: (Need to understand, anticipate and proactively respond to competitor pricing action)</a:t>
            </a:r>
          </a:p>
        </p:txBody>
      </p:sp>
      <p:sp>
        <p:nvSpPr>
          <p:cNvPr id="51" name="Textplatzhalter 2">
            <a:extLst>
              <a:ext uri="{FF2B5EF4-FFF2-40B4-BE49-F238E27FC236}">
                <a16:creationId xmlns:a16="http://schemas.microsoft.com/office/drawing/2014/main" id="{53BA08A6-2B32-2A88-3B8A-8BAB1F7CC465}"/>
              </a:ext>
            </a:extLst>
          </p:cNvPr>
          <p:cNvSpPr txBox="1">
            <a:spLocks/>
          </p:cNvSpPr>
          <p:nvPr/>
        </p:nvSpPr>
        <p:spPr>
          <a:xfrm>
            <a:off x="9380764" y="130060"/>
            <a:ext cx="2622096" cy="646934"/>
          </a:xfrm>
          <a:prstGeom prst="rect">
            <a:avLst/>
          </a:prstGeom>
        </p:spPr>
        <p:txBody>
          <a:bodyPr lIns="0" tIns="0" rIns="0" bIns="0" anchor="t"/>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900" b="0" i="0" u="none" strike="noStrike" kern="1200" cap="none" spc="0" normalizeH="0" baseline="0" noProof="0">
                <a:ln>
                  <a:noFill/>
                </a:ln>
                <a:solidFill>
                  <a:schemeClr val="bg1"/>
                </a:solidFill>
                <a:effectLst/>
                <a:uLnTx/>
                <a:uFillTx/>
                <a:latin typeface="Segoe UI Semibold"/>
                <a:ea typeface="+mn-ea"/>
                <a:cs typeface="Segoe UI" panose="020B0502040204020203" pitchFamily="34" charset="0"/>
              </a:rPr>
              <a:t>Business Scenario Prioritization</a:t>
            </a:r>
          </a:p>
          <a:p>
            <a:pPr marL="228600" marR="0" lvl="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AutoNum type="arabicPeriod"/>
              <a:tabLst/>
              <a:defRPr/>
            </a:pPr>
            <a:r>
              <a:rPr kumimoji="0" lang="en-US" sz="900" b="0" i="0" u="none" strike="noStrike" kern="1200" cap="none" spc="0" normalizeH="0" baseline="0" noProof="0">
                <a:ln>
                  <a:noFill/>
                </a:ln>
                <a:solidFill>
                  <a:schemeClr val="bg1"/>
                </a:solidFill>
                <a:effectLst/>
                <a:uLnTx/>
                <a:uFillTx/>
                <a:latin typeface="Segoe UI Semibold"/>
                <a:ea typeface="+mn-ea"/>
                <a:cs typeface="Segoe UI" panose="020B0502040204020203" pitchFamily="34" charset="0"/>
              </a:rPr>
              <a:t>Business Value:  L to H (1 – 5)</a:t>
            </a:r>
          </a:p>
          <a:p>
            <a:pPr marL="228600" marR="0" lvl="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AutoNum type="arabicPeriod"/>
              <a:tabLst/>
              <a:defRPr/>
            </a:pPr>
            <a:r>
              <a:rPr kumimoji="0" lang="en-US" sz="900" b="0" i="0" u="none" strike="noStrike" kern="1200" cap="none" spc="0" normalizeH="0" baseline="0" noProof="0">
                <a:ln>
                  <a:noFill/>
                </a:ln>
                <a:solidFill>
                  <a:schemeClr val="bg1"/>
                </a:solidFill>
                <a:effectLst/>
                <a:uLnTx/>
                <a:uFillTx/>
                <a:latin typeface="Segoe UI Semibold"/>
                <a:ea typeface="+mn-ea"/>
                <a:cs typeface="Segoe UI" panose="020B0502040204020203" pitchFamily="34" charset="0"/>
              </a:rPr>
              <a:t>Implementation Effort: H to L (1 – 5) </a:t>
            </a:r>
          </a:p>
        </p:txBody>
      </p:sp>
      <p:sp>
        <p:nvSpPr>
          <p:cNvPr id="52" name="TextBox 51">
            <a:extLst>
              <a:ext uri="{FF2B5EF4-FFF2-40B4-BE49-F238E27FC236}">
                <a16:creationId xmlns:a16="http://schemas.microsoft.com/office/drawing/2014/main" id="{47E7E9BB-BE3B-4F3C-85B4-F773F2A3DF63}"/>
              </a:ext>
            </a:extLst>
          </p:cNvPr>
          <p:cNvSpPr txBox="1"/>
          <p:nvPr/>
        </p:nvSpPr>
        <p:spPr>
          <a:xfrm>
            <a:off x="73478" y="890570"/>
            <a:ext cx="4119563" cy="307777"/>
          </a:xfrm>
          <a:prstGeom prst="rect">
            <a:avLst/>
          </a:prstGeom>
          <a:noFill/>
        </p:spPr>
        <p:txBody>
          <a:bodyPr wrap="square" lIns="0" tIns="0" rIns="0" bIns="0" rtlCol="0">
            <a:spAutoFit/>
          </a:bodyPr>
          <a:lstStyle/>
          <a:p>
            <a:pPr algn="l"/>
            <a:r>
              <a:rPr lang="en-US" sz="2000"/>
              <a:t>Business Scenario Prioritization</a:t>
            </a:r>
          </a:p>
        </p:txBody>
      </p:sp>
      <p:pic>
        <p:nvPicPr>
          <p:cNvPr id="2" name="Picture 1">
            <a:extLst>
              <a:ext uri="{FF2B5EF4-FFF2-40B4-BE49-F238E27FC236}">
                <a16:creationId xmlns:a16="http://schemas.microsoft.com/office/drawing/2014/main" id="{5B9ABC95-DE6D-F360-07AC-A3FBDAE34409}"/>
              </a:ext>
            </a:extLst>
          </p:cNvPr>
          <p:cNvPicPr>
            <a:picLocks noChangeAspect="1"/>
          </p:cNvPicPr>
          <p:nvPr/>
        </p:nvPicPr>
        <p:blipFill>
          <a:blip r:embed="rId3"/>
          <a:srcRect/>
          <a:stretch/>
        </p:blipFill>
        <p:spPr>
          <a:xfrm>
            <a:off x="6872766" y="121153"/>
            <a:ext cx="2279398" cy="366785"/>
          </a:xfrm>
          <a:prstGeom prst="rect">
            <a:avLst/>
          </a:prstGeom>
          <a:ln>
            <a:solidFill>
              <a:srgbClr val="9BF00B"/>
            </a:solidFill>
          </a:ln>
        </p:spPr>
      </p:pic>
    </p:spTree>
    <p:extLst>
      <p:ext uri="{BB962C8B-B14F-4D97-AF65-F5344CB8AC3E}">
        <p14:creationId xmlns:p14="http://schemas.microsoft.com/office/powerpoint/2010/main" val="438734876"/>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BCAD8A43-C953-321B-D647-DAE08297CCE7}"/>
              </a:ext>
            </a:extLst>
          </p:cNvPr>
          <p:cNvSpPr txBox="1"/>
          <p:nvPr/>
        </p:nvSpPr>
        <p:spPr>
          <a:xfrm>
            <a:off x="939568" y="1113206"/>
            <a:ext cx="10842770" cy="2677656"/>
          </a:xfrm>
          <a:prstGeom prst="rect">
            <a:avLst/>
          </a:prstGeom>
          <a:noFill/>
        </p:spPr>
        <p:txBody>
          <a:bodyPr wrap="square">
            <a:spAutoFit/>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US" sz="2800" b="0">
                <a:solidFill>
                  <a:schemeClr val="tx1"/>
                </a:solidFill>
                <a:latin typeface="+mn-lt"/>
              </a:rPr>
              <a:t>In the era of AI, a new cycle exists for engaging customers; that cycle is Generate, Review, Refine</a:t>
            </a:r>
          </a:p>
          <a:p>
            <a:pPr marL="0" marR="0" lvl="0" indent="0" algn="l" defTabSz="914363" rtl="0" eaLnBrk="1" fontAlgn="auto" latinLnBrk="0" hangingPunct="1">
              <a:lnSpc>
                <a:spcPct val="100000"/>
              </a:lnSpc>
              <a:spcBef>
                <a:spcPts val="0"/>
              </a:spcBef>
              <a:spcAft>
                <a:spcPts val="0"/>
              </a:spcAft>
              <a:buClrTx/>
              <a:buSzTx/>
              <a:buFontTx/>
              <a:buNone/>
              <a:tabLst/>
              <a:defRPr/>
            </a:pPr>
            <a:endParaRPr lang="en-US" sz="2800" b="0">
              <a:solidFill>
                <a:schemeClr val="tx1"/>
              </a:solidFill>
              <a:latin typeface="+mn-lt"/>
            </a:endParaRPr>
          </a:p>
          <a:p>
            <a:pPr marL="342900" marR="0" lvl="0" indent="-342900" algn="l" defTabSz="914363" rtl="0" eaLnBrk="1" fontAlgn="auto" latinLnBrk="0" hangingPunct="1">
              <a:lnSpc>
                <a:spcPct val="100000"/>
              </a:lnSpc>
              <a:spcBef>
                <a:spcPts val="0"/>
              </a:spcBef>
              <a:spcAft>
                <a:spcPts val="0"/>
              </a:spcAft>
              <a:buClrTx/>
              <a:buSzTx/>
              <a:buFont typeface="+mj-lt"/>
              <a:buAutoNum type="arabicPeriod"/>
              <a:tabLst/>
              <a:defRPr/>
            </a:pPr>
            <a:r>
              <a:rPr lang="en-US" sz="2800" b="1">
                <a:solidFill>
                  <a:schemeClr val="tx1"/>
                </a:solidFill>
                <a:latin typeface="+mn-lt"/>
              </a:rPr>
              <a:t>Generate</a:t>
            </a:r>
            <a:r>
              <a:rPr lang="en-US" sz="2800" b="0">
                <a:solidFill>
                  <a:schemeClr val="tx1"/>
                </a:solidFill>
                <a:latin typeface="+mn-lt"/>
              </a:rPr>
              <a:t> with Copilot.</a:t>
            </a:r>
          </a:p>
          <a:p>
            <a:pPr marL="342900" marR="0" lvl="0" indent="-342900" algn="l" defTabSz="914363" rtl="0" eaLnBrk="1" fontAlgn="auto" latinLnBrk="0" hangingPunct="1">
              <a:lnSpc>
                <a:spcPct val="100000"/>
              </a:lnSpc>
              <a:spcBef>
                <a:spcPts val="0"/>
              </a:spcBef>
              <a:spcAft>
                <a:spcPts val="0"/>
              </a:spcAft>
              <a:buClrTx/>
              <a:buSzTx/>
              <a:buFont typeface="+mj-lt"/>
              <a:buAutoNum type="arabicPeriod"/>
              <a:tabLst/>
              <a:defRPr/>
            </a:pPr>
            <a:r>
              <a:rPr lang="en-US" sz="2800" b="1">
                <a:solidFill>
                  <a:schemeClr val="tx1"/>
                </a:solidFill>
                <a:latin typeface="+mn-lt"/>
              </a:rPr>
              <a:t>Review</a:t>
            </a:r>
            <a:r>
              <a:rPr lang="en-US" sz="2800" b="0">
                <a:solidFill>
                  <a:schemeClr val="tx1"/>
                </a:solidFill>
                <a:latin typeface="+mn-lt"/>
              </a:rPr>
              <a:t> with your Team.</a:t>
            </a:r>
          </a:p>
          <a:p>
            <a:pPr marL="342900" marR="0" lvl="0" indent="-342900" algn="l" defTabSz="914363" rtl="0" eaLnBrk="1" fontAlgn="auto" latinLnBrk="0" hangingPunct="1">
              <a:lnSpc>
                <a:spcPct val="100000"/>
              </a:lnSpc>
              <a:spcBef>
                <a:spcPts val="0"/>
              </a:spcBef>
              <a:spcAft>
                <a:spcPts val="0"/>
              </a:spcAft>
              <a:buClrTx/>
              <a:buSzTx/>
              <a:buFont typeface="+mj-lt"/>
              <a:buAutoNum type="arabicPeriod"/>
              <a:tabLst/>
              <a:defRPr/>
            </a:pPr>
            <a:r>
              <a:rPr lang="en-US" sz="2800" b="1">
                <a:solidFill>
                  <a:schemeClr val="tx1"/>
                </a:solidFill>
                <a:latin typeface="+mn-lt"/>
              </a:rPr>
              <a:t>Refine</a:t>
            </a:r>
            <a:r>
              <a:rPr lang="en-US" sz="2800" b="0">
                <a:solidFill>
                  <a:schemeClr val="tx1"/>
                </a:solidFill>
                <a:latin typeface="+mn-lt"/>
              </a:rPr>
              <a:t> with your Customer.</a:t>
            </a:r>
          </a:p>
        </p:txBody>
      </p:sp>
      <p:sp>
        <p:nvSpPr>
          <p:cNvPr id="4" name="TextBox 3">
            <a:extLst>
              <a:ext uri="{FF2B5EF4-FFF2-40B4-BE49-F238E27FC236}">
                <a16:creationId xmlns:a16="http://schemas.microsoft.com/office/drawing/2014/main" id="{DB6A1B48-736F-6D68-E789-C515D958583E}"/>
              </a:ext>
            </a:extLst>
          </p:cNvPr>
          <p:cNvSpPr txBox="1"/>
          <p:nvPr/>
        </p:nvSpPr>
        <p:spPr>
          <a:xfrm>
            <a:off x="1182847" y="4932726"/>
            <a:ext cx="6925112" cy="307777"/>
          </a:xfrm>
          <a:prstGeom prst="rect">
            <a:avLst/>
          </a:prstGeom>
          <a:noFill/>
        </p:spPr>
        <p:txBody>
          <a:bodyPr wrap="square" lIns="0" tIns="0" rIns="0" bIns="0" rtlCol="0">
            <a:spAutoFit/>
          </a:bodyPr>
          <a:lstStyle/>
          <a:p>
            <a:pPr algn="l"/>
            <a:r>
              <a:rPr lang="en-US" sz="2000"/>
              <a:t>Get Prompts &amp; Templates at </a:t>
            </a:r>
            <a:r>
              <a:rPr lang="en-US" sz="2000">
                <a:hlinkClick r:id="rId2"/>
              </a:rPr>
              <a:t>aka.ms/AIDiscovery</a:t>
            </a:r>
            <a:endParaRPr lang="en-US" sz="2000"/>
          </a:p>
        </p:txBody>
      </p:sp>
    </p:spTree>
    <p:extLst>
      <p:ext uri="{BB962C8B-B14F-4D97-AF65-F5344CB8AC3E}">
        <p14:creationId xmlns:p14="http://schemas.microsoft.com/office/powerpoint/2010/main" val="1351499397"/>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BCA1146-565C-EB14-042F-F9BD76FB3B03}"/>
              </a:ext>
              <a:ext uri="{C183D7F6-B498-43B3-948B-1728B52AA6E4}">
                <adec:decorative xmlns:adec="http://schemas.microsoft.com/office/drawing/2017/decorative" val="1"/>
              </a:ext>
            </a:extLst>
          </p:cNvPr>
          <p:cNvSpPr>
            <a:spLocks/>
          </p:cNvSpPr>
          <p:nvPr/>
        </p:nvSpPr>
        <p:spPr bwMode="auto">
          <a:xfrm>
            <a:off x="588963" y="1181100"/>
            <a:ext cx="11017250" cy="4953000"/>
          </a:xfrm>
          <a:prstGeom prst="rect">
            <a:avLst/>
          </a:prstGeom>
          <a:solidFill>
            <a:schemeClr val="bg1"/>
          </a:solidFill>
          <a:ln w="9525" cap="flat" cmpd="sng" algn="ctr">
            <a:noFill/>
            <a:prstDash val="solid"/>
            <a:headEnd type="none" w="med" len="med"/>
            <a:tailEnd type="none" w="med" len="med"/>
          </a:ln>
          <a:effectLst>
            <a:outerShdw blurRad="584200" dist="38100" dir="3960000" sx="102000" sy="102000" algn="tl" rotWithShape="0">
              <a:prstClr val="black">
                <a:alpha val="1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UI"/>
              <a:ea typeface="+mn-ea"/>
              <a:cs typeface="Segoe UI" pitchFamily="34" charset="0"/>
            </a:endParaRPr>
          </a:p>
        </p:txBody>
      </p:sp>
      <p:sp>
        <p:nvSpPr>
          <p:cNvPr id="4" name="Rectangle 3">
            <a:extLst>
              <a:ext uri="{FF2B5EF4-FFF2-40B4-BE49-F238E27FC236}">
                <a16:creationId xmlns:a16="http://schemas.microsoft.com/office/drawing/2014/main" id="{1A3F7083-B51F-FE31-7EEA-1D1C8821FD9F}"/>
              </a:ext>
              <a:ext uri="{C183D7F6-B498-43B3-948B-1728B52AA6E4}">
                <adec:decorative xmlns:adec="http://schemas.microsoft.com/office/drawing/2017/decorative" val="1"/>
              </a:ext>
            </a:extLst>
          </p:cNvPr>
          <p:cNvSpPr>
            <a:spLocks/>
          </p:cNvSpPr>
          <p:nvPr/>
        </p:nvSpPr>
        <p:spPr bwMode="auto">
          <a:xfrm>
            <a:off x="704850" y="1304924"/>
            <a:ext cx="1962150" cy="470535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5" name="Oval 4">
            <a:extLst>
              <a:ext uri="{FF2B5EF4-FFF2-40B4-BE49-F238E27FC236}">
                <a16:creationId xmlns:a16="http://schemas.microsoft.com/office/drawing/2014/main" id="{8D90A93E-1AA5-C4F4-94A8-44A5BB5C7320}"/>
              </a:ext>
            </a:extLst>
          </p:cNvPr>
          <p:cNvSpPr/>
          <p:nvPr/>
        </p:nvSpPr>
        <p:spPr bwMode="auto">
          <a:xfrm>
            <a:off x="818557" y="1409702"/>
            <a:ext cx="265176" cy="260922"/>
          </a:xfrm>
          <a:prstGeom prst="ellipse">
            <a:avLst/>
          </a:prstGeom>
          <a:solidFill>
            <a:schemeClr val="accent4"/>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1</a:t>
            </a:r>
          </a:p>
        </p:txBody>
      </p:sp>
      <p:sp>
        <p:nvSpPr>
          <p:cNvPr id="6" name="TextBox 5">
            <a:extLst>
              <a:ext uri="{FF2B5EF4-FFF2-40B4-BE49-F238E27FC236}">
                <a16:creationId xmlns:a16="http://schemas.microsoft.com/office/drawing/2014/main" id="{47E30A76-08BB-69A3-AC9B-A2B94FFA9708}"/>
              </a:ext>
            </a:extLst>
          </p:cNvPr>
          <p:cNvSpPr txBox="1"/>
          <p:nvPr/>
        </p:nvSpPr>
        <p:spPr>
          <a:xfrm>
            <a:off x="818557" y="1670624"/>
            <a:ext cx="1606209" cy="424732"/>
          </a:xfrm>
          <a:prstGeom prst="rect">
            <a:avLst/>
          </a:prstGeom>
          <a:noFill/>
        </p:spPr>
        <p:txBody>
          <a:bodyPr wrap="square" lIns="0" tIns="54864"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Competitive Pricing Analysis</a:t>
            </a:r>
          </a:p>
        </p:txBody>
      </p:sp>
      <p:sp>
        <p:nvSpPr>
          <p:cNvPr id="7" name="Oval 6">
            <a:extLst>
              <a:ext uri="{FF2B5EF4-FFF2-40B4-BE49-F238E27FC236}">
                <a16:creationId xmlns:a16="http://schemas.microsoft.com/office/drawing/2014/main" id="{0E0A80FC-91BF-FD27-AC15-2D3757363D95}"/>
              </a:ext>
            </a:extLst>
          </p:cNvPr>
          <p:cNvSpPr/>
          <p:nvPr/>
        </p:nvSpPr>
        <p:spPr bwMode="auto">
          <a:xfrm>
            <a:off x="818557" y="2126719"/>
            <a:ext cx="265176" cy="260922"/>
          </a:xfrm>
          <a:prstGeom prst="ellipse">
            <a:avLst/>
          </a:prstGeom>
          <a:solidFill>
            <a:schemeClr val="accent4"/>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2</a:t>
            </a:r>
          </a:p>
        </p:txBody>
      </p:sp>
      <p:sp>
        <p:nvSpPr>
          <p:cNvPr id="8" name="TextBox 7">
            <a:extLst>
              <a:ext uri="{FF2B5EF4-FFF2-40B4-BE49-F238E27FC236}">
                <a16:creationId xmlns:a16="http://schemas.microsoft.com/office/drawing/2014/main" id="{40C9AAC0-5C88-7849-796C-1A33B883F563}"/>
              </a:ext>
            </a:extLst>
          </p:cNvPr>
          <p:cNvSpPr txBox="1"/>
          <p:nvPr/>
        </p:nvSpPr>
        <p:spPr>
          <a:xfrm>
            <a:off x="818557" y="2387641"/>
            <a:ext cx="1606209" cy="609398"/>
          </a:xfrm>
          <a:prstGeom prst="rect">
            <a:avLst/>
          </a:prstGeom>
          <a:noFill/>
        </p:spPr>
        <p:txBody>
          <a:bodyPr wrap="square" lIns="0" tIns="54864"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Automated Data Ingestion and Processing</a:t>
            </a:r>
          </a:p>
        </p:txBody>
      </p:sp>
      <p:sp>
        <p:nvSpPr>
          <p:cNvPr id="9" name="Oval 8">
            <a:extLst>
              <a:ext uri="{FF2B5EF4-FFF2-40B4-BE49-F238E27FC236}">
                <a16:creationId xmlns:a16="http://schemas.microsoft.com/office/drawing/2014/main" id="{9EF37675-5ECD-8501-11F5-DC5EFF008BE0}"/>
              </a:ext>
            </a:extLst>
          </p:cNvPr>
          <p:cNvSpPr/>
          <p:nvPr/>
        </p:nvSpPr>
        <p:spPr bwMode="auto">
          <a:xfrm>
            <a:off x="818557" y="3059143"/>
            <a:ext cx="265176" cy="260922"/>
          </a:xfrm>
          <a:prstGeom prst="ellipse">
            <a:avLst/>
          </a:prstGeom>
          <a:solidFill>
            <a:schemeClr val="accent4"/>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3</a:t>
            </a:r>
          </a:p>
        </p:txBody>
      </p:sp>
      <p:sp>
        <p:nvSpPr>
          <p:cNvPr id="10" name="TextBox 9">
            <a:extLst>
              <a:ext uri="{FF2B5EF4-FFF2-40B4-BE49-F238E27FC236}">
                <a16:creationId xmlns:a16="http://schemas.microsoft.com/office/drawing/2014/main" id="{01C0D2E9-A52C-7680-28A1-E7381F012FC9}"/>
              </a:ext>
            </a:extLst>
          </p:cNvPr>
          <p:cNvSpPr txBox="1"/>
          <p:nvPr/>
        </p:nvSpPr>
        <p:spPr>
          <a:xfrm>
            <a:off x="818557" y="3320065"/>
            <a:ext cx="1606209" cy="424732"/>
          </a:xfrm>
          <a:prstGeom prst="rect">
            <a:avLst/>
          </a:prstGeom>
          <a:noFill/>
        </p:spPr>
        <p:txBody>
          <a:bodyPr wrap="square" lIns="0" tIns="54864"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Dynamic Pricing Adjustment</a:t>
            </a:r>
          </a:p>
        </p:txBody>
      </p:sp>
      <p:sp>
        <p:nvSpPr>
          <p:cNvPr id="11" name="Oval 10">
            <a:extLst>
              <a:ext uri="{FF2B5EF4-FFF2-40B4-BE49-F238E27FC236}">
                <a16:creationId xmlns:a16="http://schemas.microsoft.com/office/drawing/2014/main" id="{803011AF-DF5C-EE91-2441-3B6633CA1D0E}"/>
              </a:ext>
            </a:extLst>
          </p:cNvPr>
          <p:cNvSpPr/>
          <p:nvPr/>
        </p:nvSpPr>
        <p:spPr bwMode="auto">
          <a:xfrm>
            <a:off x="818557" y="3850893"/>
            <a:ext cx="265176" cy="260922"/>
          </a:xfrm>
          <a:prstGeom prst="ellipse">
            <a:avLst/>
          </a:prstGeom>
          <a:solidFill>
            <a:schemeClr val="accent4"/>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4</a:t>
            </a:r>
          </a:p>
        </p:txBody>
      </p:sp>
      <p:sp>
        <p:nvSpPr>
          <p:cNvPr id="12" name="TextBox 11">
            <a:extLst>
              <a:ext uri="{FF2B5EF4-FFF2-40B4-BE49-F238E27FC236}">
                <a16:creationId xmlns:a16="http://schemas.microsoft.com/office/drawing/2014/main" id="{53BFD086-7CAC-2BA4-FAF8-4F2F0A5C1EBA}"/>
              </a:ext>
            </a:extLst>
          </p:cNvPr>
          <p:cNvSpPr txBox="1"/>
          <p:nvPr/>
        </p:nvSpPr>
        <p:spPr>
          <a:xfrm>
            <a:off x="818557" y="4111815"/>
            <a:ext cx="1606209" cy="240066"/>
          </a:xfrm>
          <a:prstGeom prst="rect">
            <a:avLst/>
          </a:prstGeom>
          <a:noFill/>
        </p:spPr>
        <p:txBody>
          <a:bodyPr wrap="square" lIns="0" tIns="54864"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Market Trend Analysis</a:t>
            </a:r>
          </a:p>
        </p:txBody>
      </p:sp>
      <p:sp>
        <p:nvSpPr>
          <p:cNvPr id="13" name="Oval 12">
            <a:extLst>
              <a:ext uri="{FF2B5EF4-FFF2-40B4-BE49-F238E27FC236}">
                <a16:creationId xmlns:a16="http://schemas.microsoft.com/office/drawing/2014/main" id="{AC81CBAB-703B-6FE2-232F-8610DFCBC0EB}"/>
              </a:ext>
            </a:extLst>
          </p:cNvPr>
          <p:cNvSpPr/>
          <p:nvPr/>
        </p:nvSpPr>
        <p:spPr bwMode="auto">
          <a:xfrm>
            <a:off x="818557" y="4510759"/>
            <a:ext cx="265176" cy="260922"/>
          </a:xfrm>
          <a:prstGeom prst="ellipse">
            <a:avLst/>
          </a:prstGeom>
          <a:solidFill>
            <a:schemeClr val="accent4"/>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5</a:t>
            </a:r>
          </a:p>
        </p:txBody>
      </p:sp>
      <p:sp>
        <p:nvSpPr>
          <p:cNvPr id="14" name="TextBox 13">
            <a:extLst>
              <a:ext uri="{FF2B5EF4-FFF2-40B4-BE49-F238E27FC236}">
                <a16:creationId xmlns:a16="http://schemas.microsoft.com/office/drawing/2014/main" id="{F7B97FB1-6188-9910-A9ED-58344D56F395}"/>
              </a:ext>
            </a:extLst>
          </p:cNvPr>
          <p:cNvSpPr txBox="1"/>
          <p:nvPr/>
        </p:nvSpPr>
        <p:spPr>
          <a:xfrm>
            <a:off x="818557" y="4771681"/>
            <a:ext cx="1606209" cy="240066"/>
          </a:xfrm>
          <a:prstGeom prst="rect">
            <a:avLst/>
          </a:prstGeom>
          <a:noFill/>
        </p:spPr>
        <p:txBody>
          <a:bodyPr wrap="square" lIns="0" tIns="54864"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200">
                <a:solidFill>
                  <a:srgbClr val="000000"/>
                </a:solidFill>
                <a:latin typeface="Segoe UI"/>
              </a:rPr>
              <a:t>Cost-Benefit Analysis</a:t>
            </a: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5" name="Group 14" descr="A four section quadrant namely “Test &amp; Learn” in the top left, “Invest Long Term” in the top right, “Parked” in the bottom left, and “Quick Wins” on the bottom right. The x-axis is labeled “Degree of executional fit” and ranges from 1 being low to  5 high. The y-axis is labeled “Degree of strategic business impact” and also ranges from 1 low to 5 high.  ">
            <a:extLst>
              <a:ext uri="{FF2B5EF4-FFF2-40B4-BE49-F238E27FC236}">
                <a16:creationId xmlns:a16="http://schemas.microsoft.com/office/drawing/2014/main" id="{8E2A7D85-1492-6A8E-BACD-CB1FE27D5E02}"/>
              </a:ext>
            </a:extLst>
          </p:cNvPr>
          <p:cNvGrpSpPr/>
          <p:nvPr/>
        </p:nvGrpSpPr>
        <p:grpSpPr>
          <a:xfrm>
            <a:off x="2840812" y="1304924"/>
            <a:ext cx="8646338" cy="4705350"/>
            <a:chOff x="2840812" y="1304924"/>
            <a:chExt cx="8646338" cy="4705350"/>
          </a:xfrm>
        </p:grpSpPr>
        <p:sp>
          <p:nvSpPr>
            <p:cNvPr id="16" name="Rectangle 15">
              <a:extLst>
                <a:ext uri="{FF2B5EF4-FFF2-40B4-BE49-F238E27FC236}">
                  <a16:creationId xmlns:a16="http://schemas.microsoft.com/office/drawing/2014/main" id="{74DD2215-3BF7-0916-69E4-FD5E417C29E5}"/>
                </a:ext>
              </a:extLst>
            </p:cNvPr>
            <p:cNvSpPr/>
            <p:nvPr/>
          </p:nvSpPr>
          <p:spPr bwMode="auto">
            <a:xfrm>
              <a:off x="2840812" y="1411092"/>
              <a:ext cx="397125" cy="191768"/>
            </a:xfrm>
            <a:prstGeom prst="rect">
              <a:avLst/>
            </a:prstGeom>
            <a:noFill/>
            <a:ln w="5992" cap="flat">
              <a:noFill/>
              <a:prstDash val="solid"/>
              <a:miter/>
            </a:ln>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mn-cs"/>
                </a:rPr>
                <a:t>High</a:t>
              </a:r>
            </a:p>
          </p:txBody>
        </p:sp>
        <p:sp>
          <p:nvSpPr>
            <p:cNvPr id="17" name="Rectangle 16">
              <a:extLst>
                <a:ext uri="{FF2B5EF4-FFF2-40B4-BE49-F238E27FC236}">
                  <a16:creationId xmlns:a16="http://schemas.microsoft.com/office/drawing/2014/main" id="{E8AA71A6-B0AB-6656-CD41-79AB32EC918E}"/>
                </a:ext>
              </a:extLst>
            </p:cNvPr>
            <p:cNvSpPr/>
            <p:nvPr/>
          </p:nvSpPr>
          <p:spPr bwMode="auto">
            <a:xfrm>
              <a:off x="11008976" y="5818506"/>
              <a:ext cx="397125" cy="191768"/>
            </a:xfrm>
            <a:prstGeom prst="rect">
              <a:avLst/>
            </a:prstGeom>
            <a:noFill/>
            <a:ln w="5992" cap="flat">
              <a:noFill/>
              <a:prstDash val="solid"/>
              <a:miter/>
            </a:ln>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mn-cs"/>
                </a:rPr>
                <a:t>Low</a:t>
              </a:r>
            </a:p>
          </p:txBody>
        </p:sp>
        <p:sp>
          <p:nvSpPr>
            <p:cNvPr id="18" name="Rectangle 17">
              <a:extLst>
                <a:ext uri="{FF2B5EF4-FFF2-40B4-BE49-F238E27FC236}">
                  <a16:creationId xmlns:a16="http://schemas.microsoft.com/office/drawing/2014/main" id="{BC2C9D0F-F49C-D380-B9EC-C22A345E4936}"/>
                </a:ext>
              </a:extLst>
            </p:cNvPr>
            <p:cNvSpPr/>
            <p:nvPr/>
          </p:nvSpPr>
          <p:spPr bwMode="auto">
            <a:xfrm>
              <a:off x="3357830" y="5818506"/>
              <a:ext cx="338292" cy="191768"/>
            </a:xfrm>
            <a:prstGeom prst="rect">
              <a:avLst/>
            </a:prstGeom>
            <a:noFill/>
            <a:ln w="5992" cap="flat">
              <a:noFill/>
              <a:prstDash val="solid"/>
              <a:miter/>
            </a:ln>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mn-cs"/>
                </a:rPr>
                <a:t>High</a:t>
              </a:r>
            </a:p>
          </p:txBody>
        </p:sp>
        <p:sp>
          <p:nvSpPr>
            <p:cNvPr id="19" name="Rectangle 18">
              <a:extLst>
                <a:ext uri="{FF2B5EF4-FFF2-40B4-BE49-F238E27FC236}">
                  <a16:creationId xmlns:a16="http://schemas.microsoft.com/office/drawing/2014/main" id="{7E7D7BD9-1994-0DD7-3081-B1E65D57C900}"/>
                </a:ext>
              </a:extLst>
            </p:cNvPr>
            <p:cNvSpPr/>
            <p:nvPr/>
          </p:nvSpPr>
          <p:spPr bwMode="auto">
            <a:xfrm>
              <a:off x="2899645" y="5479443"/>
              <a:ext cx="338292" cy="191768"/>
            </a:xfrm>
            <a:prstGeom prst="rect">
              <a:avLst/>
            </a:prstGeom>
            <a:noFill/>
            <a:ln w="5992" cap="flat">
              <a:noFill/>
              <a:prstDash val="solid"/>
              <a:miter/>
            </a:ln>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mn-cs"/>
                </a:rPr>
                <a:t>Low</a:t>
              </a:r>
            </a:p>
          </p:txBody>
        </p:sp>
        <p:sp>
          <p:nvSpPr>
            <p:cNvPr id="20" name="Rectangle 19">
              <a:extLst>
                <a:ext uri="{FF2B5EF4-FFF2-40B4-BE49-F238E27FC236}">
                  <a16:creationId xmlns:a16="http://schemas.microsoft.com/office/drawing/2014/main" id="{D973B68F-3F5B-0EAE-C1ED-F210C2B838C5}"/>
                </a:ext>
              </a:extLst>
            </p:cNvPr>
            <p:cNvSpPr/>
            <p:nvPr/>
          </p:nvSpPr>
          <p:spPr bwMode="auto">
            <a:xfrm>
              <a:off x="3035781" y="2225050"/>
              <a:ext cx="184666" cy="2596798"/>
            </a:xfrm>
            <a:prstGeom prst="rect">
              <a:avLst/>
            </a:prstGeom>
            <a:noFill/>
            <a:ln w="5992" cap="flat">
              <a:noFill/>
              <a:prstDash val="solid"/>
              <a:miter/>
            </a:ln>
          </p:spPr>
          <p:txBody>
            <a:bodyPr vert="vert270" wrap="square" lIns="0" tIns="0" rIns="0" bIns="0" rtlCol="0" anchor="ctr">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200" b="0" i="0" u="none" strike="noStrike" kern="1200" cap="none" spc="0" normalizeH="0" baseline="0" noProof="0">
                  <a:ln>
                    <a:noFill/>
                  </a:ln>
                  <a:solidFill>
                    <a:srgbClr val="8560C3"/>
                  </a:solidFill>
                  <a:effectLst/>
                  <a:uLnTx/>
                  <a:uFillTx/>
                  <a:latin typeface="Segoe UI Semibold"/>
                  <a:ea typeface="+mn-ea"/>
                  <a:cs typeface="+mn-cs"/>
                </a:rPr>
                <a:t>Business Value</a:t>
              </a:r>
            </a:p>
          </p:txBody>
        </p:sp>
        <p:sp>
          <p:nvSpPr>
            <p:cNvPr id="21" name="Rectangle 20">
              <a:extLst>
                <a:ext uri="{FF2B5EF4-FFF2-40B4-BE49-F238E27FC236}">
                  <a16:creationId xmlns:a16="http://schemas.microsoft.com/office/drawing/2014/main" id="{02CC1121-851D-7E2C-AF4A-ED440DBCD823}"/>
                </a:ext>
              </a:extLst>
            </p:cNvPr>
            <p:cNvSpPr/>
            <p:nvPr/>
          </p:nvSpPr>
          <p:spPr bwMode="auto">
            <a:xfrm>
              <a:off x="6346009" y="5822057"/>
              <a:ext cx="2071912" cy="184666"/>
            </a:xfrm>
            <a:prstGeom prst="rect">
              <a:avLst/>
            </a:prstGeom>
            <a:noFill/>
            <a:ln w="5992" cap="flat">
              <a:noFill/>
              <a:prstDash val="solid"/>
              <a:miter/>
            </a:ln>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200" b="0" i="0" u="none" strike="noStrike" kern="1200" cap="none" spc="0" normalizeH="0" baseline="0" noProof="0">
                  <a:ln>
                    <a:noFill/>
                  </a:ln>
                  <a:solidFill>
                    <a:srgbClr val="8560C3"/>
                  </a:solidFill>
                  <a:effectLst/>
                  <a:uLnTx/>
                  <a:uFillTx/>
                  <a:latin typeface="Segoe UI Semibold"/>
                  <a:ea typeface="+mn-ea"/>
                  <a:cs typeface="+mn-cs"/>
                </a:rPr>
                <a:t>Implementation effort</a:t>
              </a:r>
            </a:p>
          </p:txBody>
        </p:sp>
        <p:sp>
          <p:nvSpPr>
            <p:cNvPr id="22" name="Oval 32">
              <a:extLst>
                <a:ext uri="{FF2B5EF4-FFF2-40B4-BE49-F238E27FC236}">
                  <a16:creationId xmlns:a16="http://schemas.microsoft.com/office/drawing/2014/main" id="{04163390-7F12-F0CA-D57D-BC7158BC1D40}"/>
                </a:ext>
              </a:extLst>
            </p:cNvPr>
            <p:cNvSpPr>
              <a:spLocks/>
            </p:cNvSpPr>
            <p:nvPr/>
          </p:nvSpPr>
          <p:spPr bwMode="auto">
            <a:xfrm>
              <a:off x="3276780" y="1304924"/>
              <a:ext cx="8210370" cy="4437049"/>
            </a:xfrm>
            <a:prstGeom prst="rect">
              <a:avLst/>
            </a:prstGeom>
            <a:solidFill>
              <a:schemeClr val="bg1">
                <a:lumMod val="95000"/>
                <a:alpha val="33000"/>
              </a:schemeClr>
            </a:solidFill>
            <a:ln w="6350" cap="flat" cmpd="sng" algn="ctr">
              <a:solidFill>
                <a:schemeClr val="bg1">
                  <a:lumMod val="85000"/>
                </a:scheme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UI"/>
                <a:ea typeface="+mn-ea"/>
                <a:cs typeface="Segoe UI" pitchFamily="34" charset="0"/>
              </a:endParaRPr>
            </a:p>
          </p:txBody>
        </p:sp>
        <p:sp>
          <p:nvSpPr>
            <p:cNvPr id="23" name="Oval 32_1">
              <a:extLst>
                <a:ext uri="{FF2B5EF4-FFF2-40B4-BE49-F238E27FC236}">
                  <a16:creationId xmlns:a16="http://schemas.microsoft.com/office/drawing/2014/main" id="{91110A9F-E6AD-A317-1D46-0DCF641150DE}"/>
                </a:ext>
              </a:extLst>
            </p:cNvPr>
            <p:cNvSpPr>
              <a:spLocks/>
            </p:cNvSpPr>
            <p:nvPr/>
          </p:nvSpPr>
          <p:spPr bwMode="auto">
            <a:xfrm>
              <a:off x="3357830" y="1375686"/>
              <a:ext cx="3977524" cy="210706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Oval 32_1">
              <a:extLst>
                <a:ext uri="{FF2B5EF4-FFF2-40B4-BE49-F238E27FC236}">
                  <a16:creationId xmlns:a16="http://schemas.microsoft.com/office/drawing/2014/main" id="{D2A99DDE-94A4-C84A-C745-BECA04399DEA}"/>
                </a:ext>
              </a:extLst>
            </p:cNvPr>
            <p:cNvSpPr>
              <a:spLocks/>
            </p:cNvSpPr>
            <p:nvPr/>
          </p:nvSpPr>
          <p:spPr bwMode="auto">
            <a:xfrm>
              <a:off x="7428577" y="1375686"/>
              <a:ext cx="3977524" cy="210706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Segoe UI"/>
                <a:ea typeface="+mn-ea"/>
                <a:cs typeface="+mn-cs"/>
              </a:endParaRPr>
            </a:p>
          </p:txBody>
        </p:sp>
        <p:sp>
          <p:nvSpPr>
            <p:cNvPr id="25" name="Oval 32_1">
              <a:extLst>
                <a:ext uri="{FF2B5EF4-FFF2-40B4-BE49-F238E27FC236}">
                  <a16:creationId xmlns:a16="http://schemas.microsoft.com/office/drawing/2014/main" id="{BF4FE33D-84C5-4A39-D91C-F95DD3533A47}"/>
                </a:ext>
              </a:extLst>
            </p:cNvPr>
            <p:cNvSpPr>
              <a:spLocks/>
            </p:cNvSpPr>
            <p:nvPr/>
          </p:nvSpPr>
          <p:spPr bwMode="auto">
            <a:xfrm>
              <a:off x="3357830" y="3564144"/>
              <a:ext cx="3977524" cy="210706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Segoe UI"/>
                <a:ea typeface="+mn-ea"/>
                <a:cs typeface="+mn-cs"/>
              </a:endParaRPr>
            </a:p>
          </p:txBody>
        </p:sp>
        <p:sp>
          <p:nvSpPr>
            <p:cNvPr id="26" name="Oval 32_1">
              <a:extLst>
                <a:ext uri="{FF2B5EF4-FFF2-40B4-BE49-F238E27FC236}">
                  <a16:creationId xmlns:a16="http://schemas.microsoft.com/office/drawing/2014/main" id="{2809DE82-A012-8B6A-E7A5-02A188509FFE}"/>
                </a:ext>
              </a:extLst>
            </p:cNvPr>
            <p:cNvSpPr>
              <a:spLocks/>
            </p:cNvSpPr>
            <p:nvPr/>
          </p:nvSpPr>
          <p:spPr bwMode="auto">
            <a:xfrm>
              <a:off x="7428577" y="3564144"/>
              <a:ext cx="3977524" cy="210706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Segoe UI"/>
                <a:ea typeface="+mn-ea"/>
                <a:cs typeface="+mn-cs"/>
              </a:endParaRPr>
            </a:p>
          </p:txBody>
        </p:sp>
        <p:sp>
          <p:nvSpPr>
            <p:cNvPr id="27" name="Rectangle 26">
              <a:extLst>
                <a:ext uri="{FF2B5EF4-FFF2-40B4-BE49-F238E27FC236}">
                  <a16:creationId xmlns:a16="http://schemas.microsoft.com/office/drawing/2014/main" id="{B4DF7BC8-96E3-CE34-5C75-6E9A9954AF44}"/>
                </a:ext>
              </a:extLst>
            </p:cNvPr>
            <p:cNvSpPr/>
            <p:nvPr/>
          </p:nvSpPr>
          <p:spPr bwMode="auto">
            <a:xfrm>
              <a:off x="5366550" y="1375687"/>
              <a:ext cx="1968803" cy="294937"/>
            </a:xfrm>
            <a:prstGeom prst="rect">
              <a:avLst/>
            </a:prstGeom>
            <a:solidFill>
              <a:schemeClr val="bg2"/>
            </a:solidFill>
            <a:ln w="5992" cap="flat">
              <a:noFill/>
              <a:prstDash val="solid"/>
              <a:miter/>
            </a:ln>
          </p:spPr>
          <p:txBody>
            <a:bodyPr vert="horz" wrap="square" rtlCol="0" anchor="ctr">
              <a:no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Semibold"/>
                  <a:ea typeface="+mn-ea"/>
                  <a:cs typeface="+mn-cs"/>
                </a:rPr>
                <a:t>High Value, High Effort</a:t>
              </a:r>
            </a:p>
            <a:p>
              <a:pPr marL="0" marR="0" lvl="0" indent="0" algn="ctr" defTabSz="914400" rtl="0" eaLnBrk="1" fontAlgn="auto" latinLnBrk="0" hangingPunct="1">
                <a:lnSpc>
                  <a:spcPct val="100000"/>
                </a:lnSpc>
                <a:spcBef>
                  <a:spcPts val="0"/>
                </a:spcBef>
                <a:spcAft>
                  <a:spcPts val="200"/>
                </a:spcAft>
                <a:buClrTx/>
                <a:buSzTx/>
                <a:buFontTx/>
                <a:buNone/>
                <a:tabLst/>
                <a:defRPr/>
              </a:pPr>
              <a:r>
                <a:rPr lang="en-US" sz="900">
                  <a:solidFill>
                    <a:srgbClr val="000000"/>
                  </a:solidFill>
                  <a:latin typeface="Segoe UI Semibold"/>
                </a:rPr>
                <a:t>“Plan &amp; Invest”</a:t>
              </a:r>
              <a:endParaRPr kumimoji="0" lang="en-US" sz="90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28" name="Rectangle 27">
              <a:extLst>
                <a:ext uri="{FF2B5EF4-FFF2-40B4-BE49-F238E27FC236}">
                  <a16:creationId xmlns:a16="http://schemas.microsoft.com/office/drawing/2014/main" id="{72396807-C79F-40C3-17C4-DA1506BD8E37}"/>
                </a:ext>
              </a:extLst>
            </p:cNvPr>
            <p:cNvSpPr/>
            <p:nvPr/>
          </p:nvSpPr>
          <p:spPr bwMode="auto">
            <a:xfrm>
              <a:off x="9437298" y="3564145"/>
              <a:ext cx="1968803" cy="294937"/>
            </a:xfrm>
            <a:prstGeom prst="rect">
              <a:avLst/>
            </a:prstGeom>
            <a:solidFill>
              <a:schemeClr val="bg2"/>
            </a:solidFill>
            <a:ln w="5992" cap="flat">
              <a:noFill/>
              <a:prstDash val="solid"/>
              <a:miter/>
            </a:ln>
          </p:spPr>
          <p:txBody>
            <a:bodyPr vert="horz" wrap="square" rtlCol="0" anchor="ctr">
              <a:no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Semibold"/>
                  <a:ea typeface="+mn-ea"/>
                  <a:cs typeface="+mn-cs"/>
                </a:rPr>
                <a:t>Low Value, Low Effort</a:t>
              </a:r>
            </a:p>
            <a:p>
              <a:pPr marL="0" marR="0" lvl="0" indent="0" algn="ctr" defTabSz="914400" rtl="0" eaLnBrk="1" fontAlgn="auto" latinLnBrk="0" hangingPunct="1">
                <a:lnSpc>
                  <a:spcPct val="100000"/>
                </a:lnSpc>
                <a:spcBef>
                  <a:spcPts val="0"/>
                </a:spcBef>
                <a:spcAft>
                  <a:spcPts val="200"/>
                </a:spcAft>
                <a:buClrTx/>
                <a:buSzTx/>
                <a:buFontTx/>
                <a:buNone/>
                <a:tabLst/>
                <a:defRPr/>
              </a:pPr>
              <a:r>
                <a:rPr lang="en-US" sz="900">
                  <a:solidFill>
                    <a:srgbClr val="000000"/>
                  </a:solidFill>
                  <a:latin typeface="Segoe UI Semibold"/>
                </a:rPr>
                <a:t>“Consider after High Value work”</a:t>
              </a:r>
              <a:endParaRPr kumimoji="0" lang="en-US" sz="90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29" name="Rectangle 28">
              <a:extLst>
                <a:ext uri="{FF2B5EF4-FFF2-40B4-BE49-F238E27FC236}">
                  <a16:creationId xmlns:a16="http://schemas.microsoft.com/office/drawing/2014/main" id="{ECAD9826-CE17-F7F0-19F1-AF792976E595}"/>
                </a:ext>
              </a:extLst>
            </p:cNvPr>
            <p:cNvSpPr/>
            <p:nvPr/>
          </p:nvSpPr>
          <p:spPr bwMode="auto">
            <a:xfrm>
              <a:off x="9437298" y="1375687"/>
              <a:ext cx="1968803" cy="294937"/>
            </a:xfrm>
            <a:prstGeom prst="rect">
              <a:avLst/>
            </a:prstGeom>
            <a:solidFill>
              <a:schemeClr val="bg2"/>
            </a:solidFill>
            <a:ln w="5992" cap="flat">
              <a:noFill/>
              <a:prstDash val="solid"/>
              <a:miter/>
            </a:ln>
          </p:spPr>
          <p:txBody>
            <a:bodyPr vert="horz" wrap="square" rtlCol="0" anchor="ctr">
              <a:no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lang="en-US" sz="900">
                  <a:solidFill>
                    <a:srgbClr val="000000"/>
                  </a:solidFill>
                  <a:latin typeface="Segoe UI Semibold"/>
                </a:rPr>
                <a:t>High Value, Low Effort</a:t>
              </a:r>
            </a:p>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Semibold"/>
                  <a:ea typeface="+mn-ea"/>
                  <a:cs typeface="+mn-cs"/>
                </a:rPr>
                <a:t>“Quick Wins”</a:t>
              </a:r>
            </a:p>
          </p:txBody>
        </p:sp>
        <p:sp>
          <p:nvSpPr>
            <p:cNvPr id="30" name="Rectangle 29">
              <a:extLst>
                <a:ext uri="{FF2B5EF4-FFF2-40B4-BE49-F238E27FC236}">
                  <a16:creationId xmlns:a16="http://schemas.microsoft.com/office/drawing/2014/main" id="{0784CCFD-CFA6-3EAB-24EC-0FBE0F3BDB19}"/>
                </a:ext>
              </a:extLst>
            </p:cNvPr>
            <p:cNvSpPr/>
            <p:nvPr/>
          </p:nvSpPr>
          <p:spPr bwMode="auto">
            <a:xfrm>
              <a:off x="5366550" y="3564145"/>
              <a:ext cx="1968803" cy="294937"/>
            </a:xfrm>
            <a:prstGeom prst="rect">
              <a:avLst/>
            </a:prstGeom>
            <a:solidFill>
              <a:schemeClr val="bg2"/>
            </a:solidFill>
            <a:ln w="5992" cap="flat">
              <a:noFill/>
              <a:prstDash val="solid"/>
              <a:miter/>
            </a:ln>
          </p:spPr>
          <p:txBody>
            <a:bodyPr vert="horz" wrap="square" lIns="45720" rIns="45720" rtlCol="0" anchor="ctr">
              <a:no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Semibold"/>
                  <a:ea typeface="+mn-ea"/>
                  <a:cs typeface="+mn-cs"/>
                </a:rPr>
                <a:t>Low Value, High Effort</a:t>
              </a:r>
            </a:p>
            <a:p>
              <a:pPr marL="0" marR="0" lvl="0" indent="0" algn="ctr" defTabSz="914400" rtl="0" eaLnBrk="1" fontAlgn="auto" latinLnBrk="0" hangingPunct="1">
                <a:lnSpc>
                  <a:spcPct val="100000"/>
                </a:lnSpc>
                <a:spcBef>
                  <a:spcPts val="0"/>
                </a:spcBef>
                <a:spcAft>
                  <a:spcPts val="200"/>
                </a:spcAft>
                <a:buClrTx/>
                <a:buSzTx/>
                <a:buFontTx/>
                <a:buNone/>
                <a:tabLst/>
                <a:defRPr/>
              </a:pPr>
              <a:r>
                <a:rPr lang="en-US" sz="900">
                  <a:solidFill>
                    <a:srgbClr val="000000"/>
                  </a:solidFill>
                  <a:latin typeface="Segoe UI Semibold"/>
                </a:rPr>
                <a:t>“Avoid if Possible”</a:t>
              </a:r>
              <a:endParaRPr kumimoji="0" lang="en-US" sz="90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33" name="Rectangle 32">
              <a:extLst>
                <a:ext uri="{FF2B5EF4-FFF2-40B4-BE49-F238E27FC236}">
                  <a16:creationId xmlns:a16="http://schemas.microsoft.com/office/drawing/2014/main" id="{7B8E5970-680C-80C0-09CF-E473AE062231}"/>
                </a:ext>
              </a:extLst>
            </p:cNvPr>
            <p:cNvSpPr/>
            <p:nvPr/>
          </p:nvSpPr>
          <p:spPr bwMode="auto">
            <a:xfrm>
              <a:off x="3357830" y="1375880"/>
              <a:ext cx="289590" cy="262196"/>
            </a:xfrm>
            <a:prstGeom prst="rect">
              <a:avLst/>
            </a:prstGeom>
            <a:noFill/>
            <a:ln w="5992" cap="flat">
              <a:noFill/>
              <a:prstDash val="solid"/>
              <a:miter/>
            </a:ln>
          </p:spPr>
          <p:txBody>
            <a:bodyPr wrap="square" lIns="91440" tIns="45720" rIns="91440" bIns="45720" rtlCol="0" anchor="ctr">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5</a:t>
              </a:r>
            </a:p>
          </p:txBody>
        </p:sp>
        <p:sp>
          <p:nvSpPr>
            <p:cNvPr id="34" name="Rectangle 33">
              <a:extLst>
                <a:ext uri="{FF2B5EF4-FFF2-40B4-BE49-F238E27FC236}">
                  <a16:creationId xmlns:a16="http://schemas.microsoft.com/office/drawing/2014/main" id="{A3CEFED0-2B3B-ED44-17AF-9E96D927382B}"/>
                </a:ext>
              </a:extLst>
            </p:cNvPr>
            <p:cNvSpPr/>
            <p:nvPr/>
          </p:nvSpPr>
          <p:spPr bwMode="auto">
            <a:xfrm>
              <a:off x="3357830" y="2298122"/>
              <a:ext cx="294494" cy="262196"/>
            </a:xfrm>
            <a:prstGeom prst="rect">
              <a:avLst/>
            </a:prstGeom>
            <a:noFill/>
            <a:ln w="5992" cap="flat">
              <a:noFill/>
              <a:prstDash val="solid"/>
              <a:miter/>
            </a:ln>
          </p:spPr>
          <p:txBody>
            <a:bodyPr wrap="square" lIns="91440" tIns="45720" rIns="91440" bIns="45720" rtlCol="0" anchor="ctr">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4</a:t>
              </a:r>
            </a:p>
          </p:txBody>
        </p:sp>
        <p:sp>
          <p:nvSpPr>
            <p:cNvPr id="35" name="Rectangle 34">
              <a:extLst>
                <a:ext uri="{FF2B5EF4-FFF2-40B4-BE49-F238E27FC236}">
                  <a16:creationId xmlns:a16="http://schemas.microsoft.com/office/drawing/2014/main" id="{37C22D28-4E6C-038F-68BB-21ECD0DB9E47}"/>
                </a:ext>
              </a:extLst>
            </p:cNvPr>
            <p:cNvSpPr/>
            <p:nvPr/>
          </p:nvSpPr>
          <p:spPr bwMode="auto">
            <a:xfrm>
              <a:off x="3357830" y="3397221"/>
              <a:ext cx="289590" cy="262196"/>
            </a:xfrm>
            <a:prstGeom prst="rect">
              <a:avLst/>
            </a:prstGeom>
            <a:solidFill>
              <a:schemeClr val="bg1"/>
            </a:solidFill>
            <a:ln w="5992" cap="flat">
              <a:noFill/>
              <a:prstDash val="solid"/>
              <a:miter/>
            </a:ln>
          </p:spPr>
          <p:txBody>
            <a:bodyPr wrap="square" lIns="91440" tIns="45720" rIns="91440" bIns="45720" rtlCol="0" anchor="ctr">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3</a:t>
              </a:r>
            </a:p>
          </p:txBody>
        </p:sp>
        <p:sp>
          <p:nvSpPr>
            <p:cNvPr id="36" name="Rectangle 35">
              <a:extLst>
                <a:ext uri="{FF2B5EF4-FFF2-40B4-BE49-F238E27FC236}">
                  <a16:creationId xmlns:a16="http://schemas.microsoft.com/office/drawing/2014/main" id="{260BDEA7-FF1A-028B-2DA3-B8D983984A81}"/>
                </a:ext>
              </a:extLst>
            </p:cNvPr>
            <p:cNvSpPr/>
            <p:nvPr/>
          </p:nvSpPr>
          <p:spPr bwMode="auto">
            <a:xfrm>
              <a:off x="3357830" y="4525688"/>
              <a:ext cx="289590" cy="262196"/>
            </a:xfrm>
            <a:prstGeom prst="rect">
              <a:avLst/>
            </a:prstGeom>
            <a:noFill/>
            <a:ln w="5992" cap="flat">
              <a:noFill/>
              <a:prstDash val="solid"/>
              <a:miter/>
            </a:ln>
          </p:spPr>
          <p:txBody>
            <a:bodyPr wrap="square" lIns="91440" tIns="45720" rIns="91440" bIns="45720" rtlCol="0" anchor="ctr">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2</a:t>
              </a:r>
            </a:p>
          </p:txBody>
        </p:sp>
        <p:sp>
          <p:nvSpPr>
            <p:cNvPr id="37" name="Rectangle 36">
              <a:extLst>
                <a:ext uri="{FF2B5EF4-FFF2-40B4-BE49-F238E27FC236}">
                  <a16:creationId xmlns:a16="http://schemas.microsoft.com/office/drawing/2014/main" id="{D8C44BF2-B8F1-2CE1-408A-1A4DBBD61242}"/>
                </a:ext>
              </a:extLst>
            </p:cNvPr>
            <p:cNvSpPr/>
            <p:nvPr/>
          </p:nvSpPr>
          <p:spPr bwMode="auto">
            <a:xfrm>
              <a:off x="3357830" y="5416835"/>
              <a:ext cx="261809" cy="262196"/>
            </a:xfrm>
            <a:prstGeom prst="rect">
              <a:avLst/>
            </a:prstGeom>
            <a:noFill/>
            <a:ln w="5992" cap="flat">
              <a:noFill/>
              <a:prstDash val="solid"/>
              <a:miter/>
            </a:ln>
          </p:spPr>
          <p:txBody>
            <a:bodyPr wrap="square" lIns="91440" tIns="45720" rIns="91440" bIns="45720" rtlCol="0" anchor="ctr">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1</a:t>
              </a:r>
            </a:p>
          </p:txBody>
        </p:sp>
        <p:sp>
          <p:nvSpPr>
            <p:cNvPr id="38" name="Rectangle 37">
              <a:extLst>
                <a:ext uri="{FF2B5EF4-FFF2-40B4-BE49-F238E27FC236}">
                  <a16:creationId xmlns:a16="http://schemas.microsoft.com/office/drawing/2014/main" id="{4C049A4E-7180-BAA2-93B4-431F6DB7BDE6}"/>
                </a:ext>
              </a:extLst>
            </p:cNvPr>
            <p:cNvSpPr/>
            <p:nvPr/>
          </p:nvSpPr>
          <p:spPr bwMode="auto">
            <a:xfrm>
              <a:off x="5387818" y="5416835"/>
              <a:ext cx="261809" cy="262196"/>
            </a:xfrm>
            <a:prstGeom prst="rect">
              <a:avLst/>
            </a:prstGeom>
            <a:noFill/>
            <a:ln w="5992" cap="flat">
              <a:noFill/>
              <a:prstDash val="solid"/>
              <a:miter/>
            </a:ln>
          </p:spPr>
          <p:txBody>
            <a:bodyPr wrap="square" lIns="91440" tIns="45720" rIns="91440" bIns="45720" rtlCol="0" anchor="ctr">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2</a:t>
              </a:r>
            </a:p>
          </p:txBody>
        </p:sp>
        <p:sp>
          <p:nvSpPr>
            <p:cNvPr id="39" name="Rectangle 38">
              <a:extLst>
                <a:ext uri="{FF2B5EF4-FFF2-40B4-BE49-F238E27FC236}">
                  <a16:creationId xmlns:a16="http://schemas.microsoft.com/office/drawing/2014/main" id="{1958C93A-79C6-EFC1-E973-212F6BCA9EEB}"/>
                </a:ext>
              </a:extLst>
            </p:cNvPr>
            <p:cNvSpPr/>
            <p:nvPr/>
          </p:nvSpPr>
          <p:spPr bwMode="auto">
            <a:xfrm>
              <a:off x="7251061" y="5409015"/>
              <a:ext cx="261809" cy="262196"/>
            </a:xfrm>
            <a:prstGeom prst="rect">
              <a:avLst/>
            </a:prstGeom>
            <a:solidFill>
              <a:schemeClr val="bg1"/>
            </a:solidFill>
            <a:ln w="5992" cap="flat">
              <a:noFill/>
              <a:prstDash val="solid"/>
              <a:miter/>
            </a:ln>
          </p:spPr>
          <p:txBody>
            <a:bodyPr wrap="square" lIns="91440" tIns="45720" rIns="91440" bIns="45720" rtlCol="0" anchor="ctr">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3</a:t>
              </a:r>
            </a:p>
          </p:txBody>
        </p:sp>
        <p:sp>
          <p:nvSpPr>
            <p:cNvPr id="40" name="Rectangle 39">
              <a:extLst>
                <a:ext uri="{FF2B5EF4-FFF2-40B4-BE49-F238E27FC236}">
                  <a16:creationId xmlns:a16="http://schemas.microsoft.com/office/drawing/2014/main" id="{11756CCA-2E07-6129-A970-1AEA7A31C82E}"/>
                </a:ext>
              </a:extLst>
            </p:cNvPr>
            <p:cNvSpPr/>
            <p:nvPr/>
          </p:nvSpPr>
          <p:spPr bwMode="auto">
            <a:xfrm>
              <a:off x="9347465" y="5416835"/>
              <a:ext cx="261809" cy="262196"/>
            </a:xfrm>
            <a:prstGeom prst="rect">
              <a:avLst/>
            </a:prstGeom>
            <a:noFill/>
            <a:ln w="5992" cap="flat">
              <a:noFill/>
              <a:prstDash val="solid"/>
              <a:miter/>
            </a:ln>
          </p:spPr>
          <p:txBody>
            <a:bodyPr wrap="square" lIns="91440" tIns="45720" rIns="91440" bIns="45720" rtlCol="0" anchor="ctr">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4</a:t>
              </a:r>
            </a:p>
          </p:txBody>
        </p:sp>
        <p:sp>
          <p:nvSpPr>
            <p:cNvPr id="41" name="Rectangle 40">
              <a:extLst>
                <a:ext uri="{FF2B5EF4-FFF2-40B4-BE49-F238E27FC236}">
                  <a16:creationId xmlns:a16="http://schemas.microsoft.com/office/drawing/2014/main" id="{515AD654-D537-93DA-F2FD-E139BEDC3F86}"/>
                </a:ext>
              </a:extLst>
            </p:cNvPr>
            <p:cNvSpPr/>
            <p:nvPr/>
          </p:nvSpPr>
          <p:spPr bwMode="auto">
            <a:xfrm>
              <a:off x="11144292" y="5416835"/>
              <a:ext cx="261809" cy="262196"/>
            </a:xfrm>
            <a:prstGeom prst="rect">
              <a:avLst/>
            </a:prstGeom>
            <a:noFill/>
            <a:ln w="5992" cap="flat">
              <a:noFill/>
              <a:prstDash val="solid"/>
              <a:miter/>
            </a:ln>
          </p:spPr>
          <p:txBody>
            <a:bodyPr wrap="square" lIns="91440" tIns="45720" rIns="91440" bIns="45720" rtlCol="0" anchor="ctr">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5</a:t>
              </a:r>
            </a:p>
          </p:txBody>
        </p:sp>
      </p:grpSp>
      <p:sp>
        <p:nvSpPr>
          <p:cNvPr id="42" name="TextBox 41">
            <a:extLst>
              <a:ext uri="{FF2B5EF4-FFF2-40B4-BE49-F238E27FC236}">
                <a16:creationId xmlns:a16="http://schemas.microsoft.com/office/drawing/2014/main" id="{3D80D985-7193-7DA5-C885-B8BAF78AF42A}"/>
              </a:ext>
            </a:extLst>
          </p:cNvPr>
          <p:cNvSpPr txBox="1"/>
          <p:nvPr/>
        </p:nvSpPr>
        <p:spPr>
          <a:xfrm>
            <a:off x="588963" y="6345738"/>
            <a:ext cx="1835803" cy="169277"/>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Drag to appropriate quadrant</a:t>
            </a:r>
          </a:p>
        </p:txBody>
      </p:sp>
      <p:sp>
        <p:nvSpPr>
          <p:cNvPr id="43" name="Oval 42">
            <a:extLst>
              <a:ext uri="{FF2B5EF4-FFF2-40B4-BE49-F238E27FC236}">
                <a16:creationId xmlns:a16="http://schemas.microsoft.com/office/drawing/2014/main" id="{AAF36AE7-7DC5-3378-C665-AB0758B86FD4}"/>
              </a:ext>
            </a:extLst>
          </p:cNvPr>
          <p:cNvSpPr/>
          <p:nvPr/>
        </p:nvSpPr>
        <p:spPr bwMode="auto">
          <a:xfrm>
            <a:off x="2647187" y="6292559"/>
            <a:ext cx="274048" cy="275636"/>
          </a:xfrm>
          <a:prstGeom prst="ellipse">
            <a:avLst/>
          </a:prstGeom>
          <a:solidFill>
            <a:schemeClr val="accent4"/>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1</a:t>
            </a:r>
          </a:p>
        </p:txBody>
      </p:sp>
      <p:sp>
        <p:nvSpPr>
          <p:cNvPr id="44" name="Oval 43">
            <a:extLst>
              <a:ext uri="{FF2B5EF4-FFF2-40B4-BE49-F238E27FC236}">
                <a16:creationId xmlns:a16="http://schemas.microsoft.com/office/drawing/2014/main" id="{298B5799-FE8C-45D0-823C-77689C4DA589}"/>
              </a:ext>
            </a:extLst>
          </p:cNvPr>
          <p:cNvSpPr/>
          <p:nvPr/>
        </p:nvSpPr>
        <p:spPr bwMode="auto">
          <a:xfrm>
            <a:off x="3220447" y="6292559"/>
            <a:ext cx="274048" cy="275636"/>
          </a:xfrm>
          <a:prstGeom prst="ellipse">
            <a:avLst/>
          </a:prstGeom>
          <a:solidFill>
            <a:schemeClr val="accent4"/>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2</a:t>
            </a:r>
          </a:p>
        </p:txBody>
      </p:sp>
      <p:sp>
        <p:nvSpPr>
          <p:cNvPr id="45" name="Oval 44">
            <a:extLst>
              <a:ext uri="{FF2B5EF4-FFF2-40B4-BE49-F238E27FC236}">
                <a16:creationId xmlns:a16="http://schemas.microsoft.com/office/drawing/2014/main" id="{7CF1E959-6720-5BE3-2DCB-83EFCF18929D}"/>
              </a:ext>
            </a:extLst>
          </p:cNvPr>
          <p:cNvSpPr/>
          <p:nvPr/>
        </p:nvSpPr>
        <p:spPr bwMode="auto">
          <a:xfrm>
            <a:off x="3793707" y="6292559"/>
            <a:ext cx="274048" cy="275636"/>
          </a:xfrm>
          <a:prstGeom prst="ellipse">
            <a:avLst/>
          </a:prstGeom>
          <a:solidFill>
            <a:schemeClr val="accent4"/>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3</a:t>
            </a:r>
          </a:p>
        </p:txBody>
      </p:sp>
      <p:sp>
        <p:nvSpPr>
          <p:cNvPr id="46" name="Oval 45">
            <a:extLst>
              <a:ext uri="{FF2B5EF4-FFF2-40B4-BE49-F238E27FC236}">
                <a16:creationId xmlns:a16="http://schemas.microsoft.com/office/drawing/2014/main" id="{C9CF553E-BEE1-8516-C289-CA362654E1B9}"/>
              </a:ext>
            </a:extLst>
          </p:cNvPr>
          <p:cNvSpPr/>
          <p:nvPr/>
        </p:nvSpPr>
        <p:spPr bwMode="auto">
          <a:xfrm>
            <a:off x="4366967" y="6292559"/>
            <a:ext cx="274048" cy="275636"/>
          </a:xfrm>
          <a:prstGeom prst="ellipse">
            <a:avLst/>
          </a:prstGeom>
          <a:solidFill>
            <a:schemeClr val="accent4"/>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4</a:t>
            </a:r>
          </a:p>
        </p:txBody>
      </p:sp>
      <p:sp>
        <p:nvSpPr>
          <p:cNvPr id="47" name="Oval 46">
            <a:extLst>
              <a:ext uri="{FF2B5EF4-FFF2-40B4-BE49-F238E27FC236}">
                <a16:creationId xmlns:a16="http://schemas.microsoft.com/office/drawing/2014/main" id="{77B6663A-5057-B5F7-0475-9651BA4ABE0A}"/>
              </a:ext>
            </a:extLst>
          </p:cNvPr>
          <p:cNvSpPr/>
          <p:nvPr/>
        </p:nvSpPr>
        <p:spPr bwMode="auto">
          <a:xfrm>
            <a:off x="4940227" y="6292559"/>
            <a:ext cx="274048" cy="275636"/>
          </a:xfrm>
          <a:prstGeom prst="ellipse">
            <a:avLst/>
          </a:prstGeom>
          <a:solidFill>
            <a:schemeClr val="accent4"/>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5</a:t>
            </a:r>
          </a:p>
        </p:txBody>
      </p:sp>
      <p:sp>
        <p:nvSpPr>
          <p:cNvPr id="31" name="Rectangle 30">
            <a:extLst>
              <a:ext uri="{FF2B5EF4-FFF2-40B4-BE49-F238E27FC236}">
                <a16:creationId xmlns:a16="http://schemas.microsoft.com/office/drawing/2014/main" id="{A0FA271A-B71E-32BB-C7DC-BBE6B849C275}"/>
              </a:ext>
              <a:ext uri="{C183D7F6-B498-43B3-948B-1728B52AA6E4}">
                <adec:decorative xmlns:adec="http://schemas.microsoft.com/office/drawing/2017/decorative" val="1"/>
              </a:ext>
            </a:extLst>
          </p:cNvPr>
          <p:cNvSpPr/>
          <p:nvPr/>
        </p:nvSpPr>
        <p:spPr bwMode="auto">
          <a:xfrm>
            <a:off x="0" y="-1806"/>
            <a:ext cx="12192000" cy="853975"/>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2" name="Title 61">
            <a:extLst>
              <a:ext uri="{FF2B5EF4-FFF2-40B4-BE49-F238E27FC236}">
                <a16:creationId xmlns:a16="http://schemas.microsoft.com/office/drawing/2014/main" id="{0519D7B0-71F8-96A2-BA4D-F5CAE4E00C2F}"/>
              </a:ext>
            </a:extLst>
          </p:cNvPr>
          <p:cNvSpPr txBox="1">
            <a:spLocks/>
          </p:cNvSpPr>
          <p:nvPr/>
        </p:nvSpPr>
        <p:spPr>
          <a:xfrm>
            <a:off x="73478" y="-1806"/>
            <a:ext cx="4338176" cy="373100"/>
          </a:xfrm>
          <a:prstGeom prst="rect">
            <a:avLst/>
          </a:prstGeom>
        </p:spPr>
        <p:txBody>
          <a:bodyPr/>
          <a:lstStyle>
            <a:lvl1pPr algn="l" defTabSz="932742" rtl="0" eaLnBrk="1" latinLnBrk="0" hangingPunct="1">
              <a:lnSpc>
                <a:spcPct val="100000"/>
              </a:lnSpc>
              <a:spcBef>
                <a:spcPct val="0"/>
              </a:spcBef>
              <a:buNone/>
              <a:defRPr lang="en-US" sz="2000" b="0" kern="1200" cap="none" spc="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dirty="0">
                <a:ln w="3175">
                  <a:noFill/>
                </a:ln>
                <a:solidFill>
                  <a:schemeClr val="bg1"/>
                </a:solidFill>
                <a:effectLst/>
                <a:uLnTx/>
                <a:uFillTx/>
                <a:latin typeface="Aptos SemiBold"/>
                <a:ea typeface="+mn-ea"/>
                <a:cs typeface="Segoe UI" pitchFamily="34" charset="0"/>
              </a:rPr>
              <a:t>AI Use Cases Discovery</a:t>
            </a:r>
          </a:p>
        </p:txBody>
      </p:sp>
      <p:sp>
        <p:nvSpPr>
          <p:cNvPr id="48" name="Titel 1">
            <a:extLst>
              <a:ext uri="{FF2B5EF4-FFF2-40B4-BE49-F238E27FC236}">
                <a16:creationId xmlns:a16="http://schemas.microsoft.com/office/drawing/2014/main" id="{0EFC4797-3966-C2C5-C14A-D7AB6AE5B1AE}"/>
              </a:ext>
            </a:extLst>
          </p:cNvPr>
          <p:cNvSpPr txBox="1">
            <a:spLocks/>
          </p:cNvSpPr>
          <p:nvPr/>
        </p:nvSpPr>
        <p:spPr>
          <a:xfrm>
            <a:off x="73480" y="375546"/>
            <a:ext cx="3829050" cy="184666"/>
          </a:xfrm>
          <a:prstGeom prst="rect">
            <a:avLst/>
          </a:prstGeom>
        </p:spPr>
        <p:txBody>
          <a:bodyPr vert="horz" wrap="square" lIns="0" tIns="0" rIns="0" bIns="0" rtlCol="0" anchor="ctr">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200" b="0" i="0" u="none" strike="noStrike" kern="1200" cap="none" spc="0" normalizeH="0" baseline="0" noProof="0">
                <a:ln w="3175">
                  <a:noFill/>
                </a:ln>
                <a:solidFill>
                  <a:schemeClr val="bg1"/>
                </a:solidFill>
                <a:effectLst/>
                <a:uLnTx/>
                <a:uFillTx/>
                <a:latin typeface="Segoe UI Semibold"/>
                <a:ea typeface="+mn-ea"/>
                <a:cs typeface="Segoe UI" pitchFamily="34" charset="0"/>
              </a:rPr>
              <a:t>Customer: (Contoso)</a:t>
            </a:r>
          </a:p>
        </p:txBody>
      </p:sp>
      <p:sp>
        <p:nvSpPr>
          <p:cNvPr id="49" name="Textplatzhalter 2">
            <a:extLst>
              <a:ext uri="{FF2B5EF4-FFF2-40B4-BE49-F238E27FC236}">
                <a16:creationId xmlns:a16="http://schemas.microsoft.com/office/drawing/2014/main" id="{6130B2AF-5520-4852-EFAA-EADEC29353B4}"/>
              </a:ext>
            </a:extLst>
          </p:cNvPr>
          <p:cNvSpPr txBox="1">
            <a:spLocks/>
          </p:cNvSpPr>
          <p:nvPr/>
        </p:nvSpPr>
        <p:spPr>
          <a:xfrm>
            <a:off x="4959803" y="133545"/>
            <a:ext cx="4192361" cy="373100"/>
          </a:xfrm>
          <a:prstGeom prst="rect">
            <a:avLst/>
          </a:prstGeom>
        </p:spPr>
        <p:txBody>
          <a:bodyPr lIns="0" tIns="0" rIns="0" bIns="0" anchor="t"/>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000" b="0" i="0" u="none" strike="noStrike" kern="1200" cap="none" spc="0" normalizeH="0" baseline="0" noProof="0">
                <a:ln>
                  <a:noFill/>
                </a:ln>
                <a:solidFill>
                  <a:schemeClr val="bg1"/>
                </a:solidFill>
                <a:effectLst/>
                <a:uLnTx/>
                <a:uFillTx/>
                <a:latin typeface="Segoe UI Semibold"/>
                <a:ea typeface="+mn-ea"/>
                <a:cs typeface="Segoe UI" panose="020B0502040204020203" pitchFamily="34" charset="0"/>
              </a:rPr>
              <a:t>Aligned Strategic Priority:</a:t>
            </a:r>
          </a:p>
        </p:txBody>
      </p:sp>
      <p:sp>
        <p:nvSpPr>
          <p:cNvPr id="50" name="Titel 1">
            <a:extLst>
              <a:ext uri="{FF2B5EF4-FFF2-40B4-BE49-F238E27FC236}">
                <a16:creationId xmlns:a16="http://schemas.microsoft.com/office/drawing/2014/main" id="{09CD4B50-7569-A198-D18A-A4CF9C1CA782}"/>
              </a:ext>
            </a:extLst>
          </p:cNvPr>
          <p:cNvSpPr txBox="1">
            <a:spLocks/>
          </p:cNvSpPr>
          <p:nvPr/>
        </p:nvSpPr>
        <p:spPr>
          <a:xfrm>
            <a:off x="73479" y="631203"/>
            <a:ext cx="8459456" cy="184666"/>
          </a:xfrm>
          <a:prstGeom prst="rect">
            <a:avLst/>
          </a:prstGeom>
        </p:spPr>
        <p:txBody>
          <a:bodyPr vert="horz" wrap="square" lIns="0" tIns="0" rIns="0" bIns="0" rtlCol="0" anchor="ctr">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200" b="0" i="0" u="none" strike="noStrike" kern="1200" cap="none" spc="0" normalizeH="0" baseline="0" noProof="0">
                <a:ln w="3175">
                  <a:noFill/>
                </a:ln>
                <a:solidFill>
                  <a:schemeClr val="bg1"/>
                </a:solidFill>
                <a:effectLst/>
                <a:uLnTx/>
                <a:uFillTx/>
                <a:latin typeface="Segoe UI Semibold"/>
                <a:ea typeface="+mn-ea"/>
                <a:cs typeface="Segoe UI" pitchFamily="34" charset="0"/>
              </a:rPr>
              <a:t>Business Process Challenge: (Need to understand, anticipate and proactively respond to competitor pricing action)</a:t>
            </a:r>
          </a:p>
        </p:txBody>
      </p:sp>
      <p:sp>
        <p:nvSpPr>
          <p:cNvPr id="51" name="Textplatzhalter 2">
            <a:extLst>
              <a:ext uri="{FF2B5EF4-FFF2-40B4-BE49-F238E27FC236}">
                <a16:creationId xmlns:a16="http://schemas.microsoft.com/office/drawing/2014/main" id="{53BA08A6-2B32-2A88-3B8A-8BAB1F7CC465}"/>
              </a:ext>
            </a:extLst>
          </p:cNvPr>
          <p:cNvSpPr txBox="1">
            <a:spLocks/>
          </p:cNvSpPr>
          <p:nvPr/>
        </p:nvSpPr>
        <p:spPr>
          <a:xfrm>
            <a:off x="9380764" y="130060"/>
            <a:ext cx="2622096" cy="646934"/>
          </a:xfrm>
          <a:prstGeom prst="rect">
            <a:avLst/>
          </a:prstGeom>
        </p:spPr>
        <p:txBody>
          <a:bodyPr lIns="0" tIns="0" rIns="0" bIns="0" anchor="t"/>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900" b="0" i="0" u="none" strike="noStrike" kern="1200" cap="none" spc="0" normalizeH="0" baseline="0" noProof="0">
                <a:ln>
                  <a:noFill/>
                </a:ln>
                <a:solidFill>
                  <a:schemeClr val="bg1"/>
                </a:solidFill>
                <a:effectLst/>
                <a:uLnTx/>
                <a:uFillTx/>
                <a:latin typeface="Segoe UI Semibold"/>
                <a:ea typeface="+mn-ea"/>
                <a:cs typeface="Segoe UI" panose="020B0502040204020203" pitchFamily="34" charset="0"/>
              </a:rPr>
              <a:t>Business Scenario Prioritization</a:t>
            </a:r>
          </a:p>
          <a:p>
            <a:pPr marL="228600" marR="0" lvl="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AutoNum type="arabicPeriod"/>
              <a:tabLst/>
              <a:defRPr/>
            </a:pPr>
            <a:r>
              <a:rPr kumimoji="0" lang="en-US" sz="900" b="0" i="0" u="none" strike="noStrike" kern="1200" cap="none" spc="0" normalizeH="0" baseline="0" noProof="0">
                <a:ln>
                  <a:noFill/>
                </a:ln>
                <a:solidFill>
                  <a:schemeClr val="bg1"/>
                </a:solidFill>
                <a:effectLst/>
                <a:uLnTx/>
                <a:uFillTx/>
                <a:latin typeface="Segoe UI Semibold"/>
                <a:ea typeface="+mn-ea"/>
                <a:cs typeface="Segoe UI" panose="020B0502040204020203" pitchFamily="34" charset="0"/>
              </a:rPr>
              <a:t>Business Value:  L to H (1 – 5)</a:t>
            </a:r>
          </a:p>
          <a:p>
            <a:pPr marL="228600" marR="0" lvl="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AutoNum type="arabicPeriod"/>
              <a:tabLst/>
              <a:defRPr/>
            </a:pPr>
            <a:r>
              <a:rPr kumimoji="0" lang="en-US" sz="900" b="0" i="0" u="none" strike="noStrike" kern="1200" cap="none" spc="0" normalizeH="0" baseline="0" noProof="0">
                <a:ln>
                  <a:noFill/>
                </a:ln>
                <a:solidFill>
                  <a:schemeClr val="bg1"/>
                </a:solidFill>
                <a:effectLst/>
                <a:uLnTx/>
                <a:uFillTx/>
                <a:latin typeface="Segoe UI Semibold"/>
                <a:ea typeface="+mn-ea"/>
                <a:cs typeface="Segoe UI" panose="020B0502040204020203" pitchFamily="34" charset="0"/>
              </a:rPr>
              <a:t>Implementation Effort: H to L (1 – 5) </a:t>
            </a:r>
          </a:p>
        </p:txBody>
      </p:sp>
      <p:sp>
        <p:nvSpPr>
          <p:cNvPr id="52" name="TextBox 51">
            <a:extLst>
              <a:ext uri="{FF2B5EF4-FFF2-40B4-BE49-F238E27FC236}">
                <a16:creationId xmlns:a16="http://schemas.microsoft.com/office/drawing/2014/main" id="{47E7E9BB-BE3B-4F3C-85B4-F773F2A3DF63}"/>
              </a:ext>
            </a:extLst>
          </p:cNvPr>
          <p:cNvSpPr txBox="1"/>
          <p:nvPr/>
        </p:nvSpPr>
        <p:spPr>
          <a:xfrm>
            <a:off x="73478" y="890570"/>
            <a:ext cx="11929382" cy="246221"/>
          </a:xfrm>
          <a:prstGeom prst="rect">
            <a:avLst/>
          </a:prstGeom>
          <a:noFill/>
        </p:spPr>
        <p:txBody>
          <a:bodyPr wrap="square" lIns="0" tIns="0" rIns="0" bIns="0" rtlCol="0">
            <a:spAutoFit/>
          </a:bodyPr>
          <a:lstStyle/>
          <a:p>
            <a:pPr algn="l"/>
            <a:r>
              <a:rPr lang="en-US" sz="1600"/>
              <a:t>Business Use Case Prioritization for Business Scenario:  Customer Experience Improvement</a:t>
            </a:r>
          </a:p>
        </p:txBody>
      </p:sp>
      <p:sp>
        <p:nvSpPr>
          <p:cNvPr id="2" name="Oval 1">
            <a:extLst>
              <a:ext uri="{FF2B5EF4-FFF2-40B4-BE49-F238E27FC236}">
                <a16:creationId xmlns:a16="http://schemas.microsoft.com/office/drawing/2014/main" id="{F24F6D62-2FE3-9A1D-CB89-601ECCB5B04E}"/>
              </a:ext>
            </a:extLst>
          </p:cNvPr>
          <p:cNvSpPr/>
          <p:nvPr/>
        </p:nvSpPr>
        <p:spPr bwMode="auto">
          <a:xfrm>
            <a:off x="818557" y="5086743"/>
            <a:ext cx="265176" cy="260922"/>
          </a:xfrm>
          <a:prstGeom prst="ellipse">
            <a:avLst/>
          </a:prstGeom>
          <a:solidFill>
            <a:schemeClr val="accent4"/>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lang="en-US" sz="1000">
                <a:solidFill>
                  <a:srgbClr val="FFFFFF"/>
                </a:solidFill>
                <a:latin typeface="Segoe UI Semibold"/>
                <a:ea typeface="Segoe UI" pitchFamily="34" charset="0"/>
                <a:cs typeface="Segoe UI" pitchFamily="34" charset="0"/>
              </a:rPr>
              <a:t>6</a:t>
            </a:r>
            <a:endParaRPr kumimoji="0" lang="en-US" sz="10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endParaRPr>
          </a:p>
        </p:txBody>
      </p:sp>
      <p:sp>
        <p:nvSpPr>
          <p:cNvPr id="53" name="TextBox 52">
            <a:extLst>
              <a:ext uri="{FF2B5EF4-FFF2-40B4-BE49-F238E27FC236}">
                <a16:creationId xmlns:a16="http://schemas.microsoft.com/office/drawing/2014/main" id="{58CCC617-89B5-8974-C9D2-46F374E63664}"/>
              </a:ext>
            </a:extLst>
          </p:cNvPr>
          <p:cNvSpPr txBox="1"/>
          <p:nvPr/>
        </p:nvSpPr>
        <p:spPr>
          <a:xfrm>
            <a:off x="818557" y="5347665"/>
            <a:ext cx="1606209" cy="240066"/>
          </a:xfrm>
          <a:prstGeom prst="rect">
            <a:avLst/>
          </a:prstGeom>
          <a:noFill/>
        </p:spPr>
        <p:txBody>
          <a:bodyPr wrap="square" lIns="0" tIns="54864"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200">
                <a:solidFill>
                  <a:srgbClr val="000000"/>
                </a:solidFill>
                <a:latin typeface="Segoe UI"/>
              </a:rPr>
              <a:t>Impact Analysis</a:t>
            </a: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54" name="Oval 53">
            <a:extLst>
              <a:ext uri="{FF2B5EF4-FFF2-40B4-BE49-F238E27FC236}">
                <a16:creationId xmlns:a16="http://schemas.microsoft.com/office/drawing/2014/main" id="{6527881B-AF2D-DDEE-5F27-7B17F1FA86AF}"/>
              </a:ext>
            </a:extLst>
          </p:cNvPr>
          <p:cNvSpPr/>
          <p:nvPr/>
        </p:nvSpPr>
        <p:spPr bwMode="auto">
          <a:xfrm>
            <a:off x="5435527" y="6308359"/>
            <a:ext cx="274048" cy="275636"/>
          </a:xfrm>
          <a:prstGeom prst="ellipse">
            <a:avLst/>
          </a:prstGeom>
          <a:solidFill>
            <a:schemeClr val="accent4"/>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6</a:t>
            </a:r>
          </a:p>
        </p:txBody>
      </p:sp>
      <p:pic>
        <p:nvPicPr>
          <p:cNvPr id="55" name="Picture 54">
            <a:extLst>
              <a:ext uri="{FF2B5EF4-FFF2-40B4-BE49-F238E27FC236}">
                <a16:creationId xmlns:a16="http://schemas.microsoft.com/office/drawing/2014/main" id="{0EEF6B07-257E-5794-5046-19048778A3A2}"/>
              </a:ext>
            </a:extLst>
          </p:cNvPr>
          <p:cNvPicPr>
            <a:picLocks noChangeAspect="1"/>
          </p:cNvPicPr>
          <p:nvPr/>
        </p:nvPicPr>
        <p:blipFill>
          <a:blip r:embed="rId3"/>
          <a:srcRect/>
          <a:stretch/>
        </p:blipFill>
        <p:spPr>
          <a:xfrm>
            <a:off x="6872766" y="121153"/>
            <a:ext cx="2279398" cy="366785"/>
          </a:xfrm>
          <a:prstGeom prst="rect">
            <a:avLst/>
          </a:prstGeom>
          <a:ln>
            <a:solidFill>
              <a:srgbClr val="9BF00B"/>
            </a:solidFill>
          </a:ln>
        </p:spPr>
      </p:pic>
    </p:spTree>
    <p:extLst>
      <p:ext uri="{BB962C8B-B14F-4D97-AF65-F5344CB8AC3E}">
        <p14:creationId xmlns:p14="http://schemas.microsoft.com/office/powerpoint/2010/main" val="1663751312"/>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0BC9E6-1379-23D9-B2D3-F8C0B2869678}"/>
              </a:ext>
            </a:extLst>
          </p:cNvPr>
          <p:cNvSpPr>
            <a:spLocks noGrp="1"/>
          </p:cNvSpPr>
          <p:nvPr>
            <p:ph type="title"/>
          </p:nvPr>
        </p:nvSpPr>
        <p:spPr/>
        <p:txBody>
          <a:bodyPr/>
          <a:lstStyle/>
          <a:p>
            <a:r>
              <a:rPr lang="en-US" dirty="0"/>
              <a:t>AI Use Cases Define</a:t>
            </a:r>
            <a:br>
              <a:rPr lang="en-US" dirty="0"/>
            </a:br>
            <a:r>
              <a:rPr lang="en-US" dirty="0"/>
              <a:t>Templates</a:t>
            </a:r>
          </a:p>
        </p:txBody>
      </p:sp>
    </p:spTree>
    <p:extLst>
      <p:ext uri="{BB962C8B-B14F-4D97-AF65-F5344CB8AC3E}">
        <p14:creationId xmlns:p14="http://schemas.microsoft.com/office/powerpoint/2010/main" val="2106633809"/>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A00EAC9-804C-3F99-DB92-1E430FC3D793}"/>
              </a:ext>
              <a:ext uri="{C183D7F6-B498-43B3-948B-1728B52AA6E4}">
                <adec:decorative xmlns:adec="http://schemas.microsoft.com/office/drawing/2017/decorative" val="1"/>
              </a:ext>
            </a:extLst>
          </p:cNvPr>
          <p:cNvSpPr/>
          <p:nvPr/>
        </p:nvSpPr>
        <p:spPr bwMode="auto">
          <a:xfrm>
            <a:off x="0" y="-1806"/>
            <a:ext cx="12192000" cy="853975"/>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 name="Title 61">
            <a:extLst>
              <a:ext uri="{FF2B5EF4-FFF2-40B4-BE49-F238E27FC236}">
                <a16:creationId xmlns:a16="http://schemas.microsoft.com/office/drawing/2014/main" id="{41D7FB24-6AD6-DB9E-FFCD-588F980E8F47}"/>
              </a:ext>
            </a:extLst>
          </p:cNvPr>
          <p:cNvSpPr txBox="1">
            <a:spLocks/>
          </p:cNvSpPr>
          <p:nvPr/>
        </p:nvSpPr>
        <p:spPr>
          <a:xfrm>
            <a:off x="73478" y="-1806"/>
            <a:ext cx="4338176" cy="373100"/>
          </a:xfrm>
          <a:prstGeom prst="rect">
            <a:avLst/>
          </a:prstGeom>
        </p:spPr>
        <p:txBody>
          <a:bodyPr/>
          <a:lstStyle>
            <a:lvl1pPr algn="l" defTabSz="932742" rtl="0" eaLnBrk="1" latinLnBrk="0" hangingPunct="1">
              <a:lnSpc>
                <a:spcPct val="100000"/>
              </a:lnSpc>
              <a:spcBef>
                <a:spcPct val="0"/>
              </a:spcBef>
              <a:buNone/>
              <a:defRPr lang="en-US" sz="2000" b="0" kern="1200" cap="none" spc="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dirty="0">
                <a:ln w="3175">
                  <a:noFill/>
                </a:ln>
                <a:solidFill>
                  <a:srgbClr val="FFFFFF"/>
                </a:solidFill>
                <a:effectLst/>
                <a:uLnTx/>
                <a:uFillTx/>
                <a:latin typeface="Aptos SemiBold"/>
                <a:ea typeface="+mn-ea"/>
                <a:cs typeface="Segoe UI" pitchFamily="34" charset="0"/>
              </a:rPr>
              <a:t>AI Use Cases Define</a:t>
            </a:r>
          </a:p>
        </p:txBody>
      </p:sp>
      <p:sp>
        <p:nvSpPr>
          <p:cNvPr id="4" name="Titel 1">
            <a:extLst>
              <a:ext uri="{FF2B5EF4-FFF2-40B4-BE49-F238E27FC236}">
                <a16:creationId xmlns:a16="http://schemas.microsoft.com/office/drawing/2014/main" id="{5B37C216-2900-617A-3A68-E8C71F39D530}"/>
              </a:ext>
            </a:extLst>
          </p:cNvPr>
          <p:cNvSpPr txBox="1">
            <a:spLocks/>
          </p:cNvSpPr>
          <p:nvPr/>
        </p:nvSpPr>
        <p:spPr>
          <a:xfrm>
            <a:off x="73480" y="375546"/>
            <a:ext cx="3829050" cy="184666"/>
          </a:xfrm>
          <a:prstGeom prst="rect">
            <a:avLst/>
          </a:prstGeom>
        </p:spPr>
        <p:txBody>
          <a:bodyPr vert="horz" wrap="square" lIns="0" tIns="0" rIns="0" bIns="0" rtlCol="0" anchor="ctr">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200" b="0" i="0" u="none" strike="noStrike" kern="1200" cap="none" spc="0" normalizeH="0" baseline="0" noProof="0">
                <a:ln w="3175">
                  <a:noFill/>
                </a:ln>
                <a:solidFill>
                  <a:srgbClr val="FFFFFF"/>
                </a:solidFill>
                <a:effectLst/>
                <a:uLnTx/>
                <a:uFillTx/>
                <a:latin typeface="Segoe UI Semibold"/>
                <a:ea typeface="+mn-ea"/>
                <a:cs typeface="Segoe UI" pitchFamily="34" charset="0"/>
              </a:rPr>
              <a:t>Customer: (Contoso Health)</a:t>
            </a:r>
          </a:p>
        </p:txBody>
      </p:sp>
      <p:sp>
        <p:nvSpPr>
          <p:cNvPr id="12" name="Rectangle 11">
            <a:extLst>
              <a:ext uri="{FF2B5EF4-FFF2-40B4-BE49-F238E27FC236}">
                <a16:creationId xmlns:a16="http://schemas.microsoft.com/office/drawing/2014/main" id="{7E4DAA95-4C9C-9A19-1109-321975AA169F}"/>
              </a:ext>
            </a:extLst>
          </p:cNvPr>
          <p:cNvSpPr>
            <a:spLocks/>
          </p:cNvSpPr>
          <p:nvPr/>
        </p:nvSpPr>
        <p:spPr bwMode="auto">
          <a:xfrm>
            <a:off x="73478" y="856422"/>
            <a:ext cx="11825371" cy="1088556"/>
          </a:xfrm>
          <a:prstGeom prst="rect">
            <a:avLst/>
          </a:prstGeom>
          <a:solidFill>
            <a:schemeClr val="bg1">
              <a:alpha val="99000"/>
            </a:schemeClr>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000000"/>
                </a:solidFill>
                <a:effectLst/>
                <a:uLnTx/>
                <a:uFillTx/>
                <a:latin typeface="Aptos"/>
                <a:ea typeface="+mn-ea"/>
                <a:cs typeface="+mn-cs"/>
              </a:rPr>
              <a:t>Business Scenario (Customer Experience Improvement):</a:t>
            </a:r>
            <a:r>
              <a:rPr kumimoji="0" lang="en-US" sz="900" b="0" i="0" u="none" strike="noStrike" kern="1200" cap="none" spc="0" normalizeH="0" baseline="0" noProof="0">
                <a:ln>
                  <a:noFill/>
                </a:ln>
                <a:solidFill>
                  <a:srgbClr val="000000"/>
                </a:solidFill>
                <a:effectLst/>
                <a:uLnTx/>
                <a:uFillTx/>
                <a:latin typeface="Aptos"/>
                <a:ea typeface="+mn-ea"/>
                <a:cs typeface="+mn-cs"/>
              </a:rPr>
              <a:t> describe the business scenario.</a:t>
            </a:r>
          </a:p>
        </p:txBody>
      </p:sp>
      <p:sp>
        <p:nvSpPr>
          <p:cNvPr id="14" name="Rectangle 13">
            <a:extLst>
              <a:ext uri="{FF2B5EF4-FFF2-40B4-BE49-F238E27FC236}">
                <a16:creationId xmlns:a16="http://schemas.microsoft.com/office/drawing/2014/main" id="{109D627E-2FA0-199A-D1E7-A0053D8962AD}"/>
              </a:ext>
            </a:extLst>
          </p:cNvPr>
          <p:cNvSpPr>
            <a:spLocks/>
          </p:cNvSpPr>
          <p:nvPr/>
        </p:nvSpPr>
        <p:spPr bwMode="auto">
          <a:xfrm>
            <a:off x="73478" y="3045818"/>
            <a:ext cx="4051956" cy="3678637"/>
          </a:xfrm>
          <a:prstGeom prst="rect">
            <a:avLst/>
          </a:prstGeom>
          <a:solidFill>
            <a:schemeClr val="bg1">
              <a:alpha val="99000"/>
            </a:schemeClr>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US" sz="1000" b="1" i="0" u="none" strike="noStrike" kern="1200" cap="none" spc="0" normalizeH="0" baseline="0" noProof="0">
                <a:ln>
                  <a:noFill/>
                </a:ln>
                <a:solidFill>
                  <a:srgbClr val="000000">
                    <a:lumMod val="65000"/>
                    <a:lumOff val="35000"/>
                  </a:srgbClr>
                </a:solidFill>
                <a:effectLst/>
                <a:uLnTx/>
                <a:uFillTx/>
                <a:latin typeface="Aptos"/>
                <a:ea typeface="+mn-ea"/>
                <a:cs typeface="+mn-cs"/>
              </a:rPr>
              <a:t>Business Use Case</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000" b="0" i="0" u="none" strike="noStrike" kern="1200" cap="none" spc="0" normalizeH="0" baseline="0" noProof="0">
                <a:ln>
                  <a:noFill/>
                </a:ln>
                <a:solidFill>
                  <a:srgbClr val="000000">
                    <a:lumMod val="65000"/>
                    <a:lumOff val="35000"/>
                  </a:srgbClr>
                </a:solidFill>
                <a:effectLst/>
                <a:uLnTx/>
                <a:uFillTx/>
                <a:latin typeface="Aptos"/>
                <a:ea typeface="+mn-ea"/>
                <a:cs typeface="+mn-cs"/>
              </a:rPr>
              <a:t>Describe the business use case.</a:t>
            </a:r>
          </a:p>
        </p:txBody>
      </p:sp>
      <p:sp>
        <p:nvSpPr>
          <p:cNvPr id="13" name="Textplatzhalter 2">
            <a:extLst>
              <a:ext uri="{FF2B5EF4-FFF2-40B4-BE49-F238E27FC236}">
                <a16:creationId xmlns:a16="http://schemas.microsoft.com/office/drawing/2014/main" id="{486EDFAD-DC1B-4196-2B7F-9A3CCC9A2284}"/>
              </a:ext>
            </a:extLst>
          </p:cNvPr>
          <p:cNvSpPr txBox="1">
            <a:spLocks/>
          </p:cNvSpPr>
          <p:nvPr/>
        </p:nvSpPr>
        <p:spPr>
          <a:xfrm>
            <a:off x="4959803" y="133545"/>
            <a:ext cx="4192361" cy="373100"/>
          </a:xfrm>
          <a:prstGeom prst="rect">
            <a:avLst/>
          </a:prstGeom>
        </p:spPr>
        <p:txBody>
          <a:bodyPr lIns="0" tIns="0" rIns="0" bIns="0" anchor="t"/>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0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Aligned Strategic Priority:</a:t>
            </a:r>
          </a:p>
        </p:txBody>
      </p:sp>
      <p:sp>
        <p:nvSpPr>
          <p:cNvPr id="6" name="Titel 1">
            <a:extLst>
              <a:ext uri="{FF2B5EF4-FFF2-40B4-BE49-F238E27FC236}">
                <a16:creationId xmlns:a16="http://schemas.microsoft.com/office/drawing/2014/main" id="{2463B6BF-33B1-FF20-7E85-A922598DAD45}"/>
              </a:ext>
            </a:extLst>
          </p:cNvPr>
          <p:cNvSpPr txBox="1">
            <a:spLocks/>
          </p:cNvSpPr>
          <p:nvPr/>
        </p:nvSpPr>
        <p:spPr>
          <a:xfrm>
            <a:off x="73478" y="631203"/>
            <a:ext cx="8018961" cy="184666"/>
          </a:xfrm>
          <a:prstGeom prst="rect">
            <a:avLst/>
          </a:prstGeom>
        </p:spPr>
        <p:txBody>
          <a:bodyPr vert="horz" wrap="square" lIns="0" tIns="0" rIns="0" bIns="0" rtlCol="0" anchor="ctr">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200" b="0" i="0" u="none" strike="noStrike" kern="1200" cap="none" spc="0" normalizeH="0" baseline="0" noProof="0">
                <a:ln w="3175">
                  <a:noFill/>
                </a:ln>
                <a:solidFill>
                  <a:srgbClr val="FFFFFF"/>
                </a:solidFill>
                <a:effectLst/>
                <a:uLnTx/>
                <a:uFillTx/>
                <a:latin typeface="Segoe UI Semibold"/>
                <a:ea typeface="+mn-ea"/>
                <a:cs typeface="Segoe UI" pitchFamily="34" charset="0"/>
              </a:rPr>
              <a:t>Business Process Challenge: (Need to understand, anticipate and proactively respond to competitor pricing action)</a:t>
            </a:r>
          </a:p>
        </p:txBody>
      </p:sp>
      <p:sp>
        <p:nvSpPr>
          <p:cNvPr id="7" name="Rectangle 6">
            <a:extLst>
              <a:ext uri="{FF2B5EF4-FFF2-40B4-BE49-F238E27FC236}">
                <a16:creationId xmlns:a16="http://schemas.microsoft.com/office/drawing/2014/main" id="{B1237E84-B520-ABA9-DB4B-1E40F9D3A87C}"/>
              </a:ext>
            </a:extLst>
          </p:cNvPr>
          <p:cNvSpPr>
            <a:spLocks/>
          </p:cNvSpPr>
          <p:nvPr/>
        </p:nvSpPr>
        <p:spPr bwMode="auto">
          <a:xfrm>
            <a:off x="78359" y="1974131"/>
            <a:ext cx="11820489" cy="1042534"/>
          </a:xfrm>
          <a:prstGeom prst="rect">
            <a:avLst/>
          </a:prstGeom>
          <a:solidFill>
            <a:schemeClr val="bg1">
              <a:alpha val="99000"/>
            </a:schemeClr>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000000"/>
                </a:solidFill>
                <a:effectLst/>
                <a:uLnTx/>
                <a:uFillTx/>
                <a:latin typeface="Aptos"/>
                <a:ea typeface="+mn-ea"/>
                <a:cs typeface="+mn-cs"/>
              </a:rPr>
              <a:t>Underlying Problems to Address:  </a:t>
            </a:r>
            <a:r>
              <a:rPr kumimoji="0" lang="en-US" sz="900" b="0" i="0" u="none" strike="noStrike" kern="1200" cap="none" spc="0" normalizeH="0" baseline="0" noProof="0">
                <a:ln>
                  <a:noFill/>
                </a:ln>
                <a:solidFill>
                  <a:srgbClr val="000000">
                    <a:lumMod val="65000"/>
                    <a:lumOff val="35000"/>
                  </a:srgbClr>
                </a:solidFill>
                <a:effectLst/>
                <a:uLnTx/>
                <a:uFillTx/>
                <a:latin typeface="Aptos"/>
                <a:ea typeface="+mn-ea"/>
                <a:cs typeface="+mn-cs"/>
              </a:rPr>
              <a:t>Problem Statement: describe the underlying problems or challenges.</a:t>
            </a:r>
          </a:p>
        </p:txBody>
      </p:sp>
      <p:sp>
        <p:nvSpPr>
          <p:cNvPr id="9" name="Rectangle 8">
            <a:extLst>
              <a:ext uri="{FF2B5EF4-FFF2-40B4-BE49-F238E27FC236}">
                <a16:creationId xmlns:a16="http://schemas.microsoft.com/office/drawing/2014/main" id="{35F1ACD0-AFD3-CAD8-0CD1-AFB6B8F1B089}"/>
              </a:ext>
            </a:extLst>
          </p:cNvPr>
          <p:cNvSpPr>
            <a:spLocks/>
          </p:cNvSpPr>
          <p:nvPr/>
        </p:nvSpPr>
        <p:spPr bwMode="auto">
          <a:xfrm>
            <a:off x="4263939" y="3045818"/>
            <a:ext cx="7634909" cy="3601171"/>
          </a:xfrm>
          <a:prstGeom prst="rect">
            <a:avLst/>
          </a:prstGeom>
          <a:solidFill>
            <a:schemeClr val="bg1">
              <a:alpha val="99000"/>
            </a:schemeClr>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US" sz="1000" b="1" i="0" u="none" strike="noStrike" kern="1200" cap="none" spc="0" normalizeH="0" baseline="0" noProof="0">
                <a:ln>
                  <a:noFill/>
                </a:ln>
                <a:solidFill>
                  <a:srgbClr val="000000">
                    <a:lumMod val="65000"/>
                    <a:lumOff val="35000"/>
                  </a:srgbClr>
                </a:solidFill>
                <a:effectLst/>
                <a:uLnTx/>
                <a:uFillTx/>
                <a:latin typeface="Aptos"/>
                <a:ea typeface="+mn-ea"/>
                <a:cs typeface="+mn-cs"/>
              </a:rPr>
              <a:t>Business Requirements</a:t>
            </a: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US" sz="1000" i="0" u="none" strike="noStrike" kern="1200" cap="none" spc="0" normalizeH="0" baseline="0" noProof="0">
                <a:ln>
                  <a:noFill/>
                </a:ln>
                <a:solidFill>
                  <a:srgbClr val="000000">
                    <a:lumMod val="65000"/>
                    <a:lumOff val="35000"/>
                  </a:srgbClr>
                </a:solidFill>
                <a:effectLst/>
                <a:uLnTx/>
                <a:uFillTx/>
                <a:latin typeface="Aptos"/>
                <a:ea typeface="+mn-ea"/>
                <a:cs typeface="+mn-cs"/>
              </a:rPr>
              <a:t>List out the Business Requirements for the business use case</a:t>
            </a:r>
            <a:endParaRPr lang="en-US" sz="1000">
              <a:solidFill>
                <a:srgbClr val="000000">
                  <a:lumMod val="65000"/>
                  <a:lumOff val="35000"/>
                </a:srgbClr>
              </a:solidFill>
              <a:latin typeface="Aptos"/>
            </a:endParaRP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endParaRPr lang="en-US" sz="1000">
              <a:solidFill>
                <a:srgbClr val="000000">
                  <a:lumMod val="65000"/>
                  <a:lumOff val="35000"/>
                </a:srgbClr>
              </a:solidFill>
              <a:latin typeface="Aptos"/>
            </a:endParaRPr>
          </a:p>
        </p:txBody>
      </p:sp>
    </p:spTree>
    <p:extLst>
      <p:ext uri="{BB962C8B-B14F-4D97-AF65-F5344CB8AC3E}">
        <p14:creationId xmlns:p14="http://schemas.microsoft.com/office/powerpoint/2010/main" val="2823902951"/>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A00EAC9-804C-3F99-DB92-1E430FC3D793}"/>
              </a:ext>
              <a:ext uri="{C183D7F6-B498-43B3-948B-1728B52AA6E4}">
                <adec:decorative xmlns:adec="http://schemas.microsoft.com/office/drawing/2017/decorative" val="1"/>
              </a:ext>
            </a:extLst>
          </p:cNvPr>
          <p:cNvSpPr/>
          <p:nvPr/>
        </p:nvSpPr>
        <p:spPr bwMode="auto">
          <a:xfrm>
            <a:off x="0" y="435678"/>
            <a:ext cx="12192000" cy="109576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 name="Titel 1">
            <a:extLst>
              <a:ext uri="{FF2B5EF4-FFF2-40B4-BE49-F238E27FC236}">
                <a16:creationId xmlns:a16="http://schemas.microsoft.com/office/drawing/2014/main" id="{5B37C216-2900-617A-3A68-E8C71F39D530}"/>
              </a:ext>
            </a:extLst>
          </p:cNvPr>
          <p:cNvSpPr txBox="1">
            <a:spLocks/>
          </p:cNvSpPr>
          <p:nvPr/>
        </p:nvSpPr>
        <p:spPr>
          <a:xfrm>
            <a:off x="588262" y="534069"/>
            <a:ext cx="8658247" cy="184666"/>
          </a:xfrm>
          <a:prstGeom prst="rect">
            <a:avLst/>
          </a:prstGeom>
        </p:spPr>
        <p:txBody>
          <a:bodyPr vert="horz" wrap="square" lIns="0" tIns="0" rIns="0" bIns="0" rtlCol="0" anchor="ctr">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200" b="0" i="0" u="none" strike="noStrike" kern="1200" cap="none" spc="0" normalizeH="0" baseline="0" noProof="0">
                <a:ln w="3175">
                  <a:noFill/>
                </a:ln>
                <a:solidFill>
                  <a:srgbClr val="000000"/>
                </a:solidFill>
                <a:effectLst/>
                <a:uLnTx/>
                <a:uFillTx/>
                <a:latin typeface="Segoe UI Semibold"/>
                <a:ea typeface="+mn-ea"/>
                <a:cs typeface="Segoe UI" pitchFamily="34" charset="0"/>
              </a:rPr>
              <a:t>Use case name:</a:t>
            </a:r>
          </a:p>
        </p:txBody>
      </p:sp>
      <p:sp>
        <p:nvSpPr>
          <p:cNvPr id="5" name="Textplatzhalter 2">
            <a:extLst>
              <a:ext uri="{FF2B5EF4-FFF2-40B4-BE49-F238E27FC236}">
                <a16:creationId xmlns:a16="http://schemas.microsoft.com/office/drawing/2014/main" id="{DE51592C-CAA7-B67B-6B4B-B8A4FF036D7C}"/>
              </a:ext>
            </a:extLst>
          </p:cNvPr>
          <p:cNvSpPr txBox="1">
            <a:spLocks/>
          </p:cNvSpPr>
          <p:nvPr/>
        </p:nvSpPr>
        <p:spPr>
          <a:xfrm>
            <a:off x="588263" y="759589"/>
            <a:ext cx="5117378" cy="215444"/>
          </a:xfrm>
          <a:prstGeom prst="rect">
            <a:avLst/>
          </a:prstGeom>
        </p:spPr>
        <p:txBody>
          <a:bodyPr lIns="0" tIns="0" rIns="0" bIns="0" anchor="ct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Department: </a:t>
            </a:r>
          </a:p>
        </p:txBody>
      </p:sp>
      <p:sp>
        <p:nvSpPr>
          <p:cNvPr id="6" name="Textplatzhalter 2">
            <a:extLst>
              <a:ext uri="{FF2B5EF4-FFF2-40B4-BE49-F238E27FC236}">
                <a16:creationId xmlns:a16="http://schemas.microsoft.com/office/drawing/2014/main" id="{2D4AA423-3263-4CF7-B023-3A201ED156C9}"/>
              </a:ext>
            </a:extLst>
          </p:cNvPr>
          <p:cNvSpPr txBox="1">
            <a:spLocks/>
          </p:cNvSpPr>
          <p:nvPr/>
        </p:nvSpPr>
        <p:spPr>
          <a:xfrm>
            <a:off x="6503121" y="763208"/>
            <a:ext cx="5117378" cy="215444"/>
          </a:xfrm>
          <a:prstGeom prst="rect">
            <a:avLst/>
          </a:prstGeom>
        </p:spPr>
        <p:txBody>
          <a:bodyPr lIns="0" tIns="0" rIns="0" bIns="0"/>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Internal or external use:</a:t>
            </a:r>
          </a:p>
        </p:txBody>
      </p:sp>
      <p:sp>
        <p:nvSpPr>
          <p:cNvPr id="7" name="Oval 32">
            <a:extLst>
              <a:ext uri="{FF2B5EF4-FFF2-40B4-BE49-F238E27FC236}">
                <a16:creationId xmlns:a16="http://schemas.microsoft.com/office/drawing/2014/main" id="{D465B900-850F-258D-196D-3FCCC3835DF5}"/>
              </a:ext>
              <a:ext uri="{C183D7F6-B498-43B3-948B-1728B52AA6E4}">
                <adec:decorative xmlns:adec="http://schemas.microsoft.com/office/drawing/2017/decorative" val="1"/>
              </a:ext>
            </a:extLst>
          </p:cNvPr>
          <p:cNvSpPr/>
          <p:nvPr/>
        </p:nvSpPr>
        <p:spPr bwMode="auto">
          <a:xfrm>
            <a:off x="557785" y="1054552"/>
            <a:ext cx="11048998" cy="5803448"/>
          </a:xfrm>
          <a:prstGeom prst="rect">
            <a:avLst/>
          </a:prstGeom>
          <a:solidFill>
            <a:srgbClr val="FFFFFF">
              <a:lumMod val="95000"/>
            </a:srgbClr>
          </a:solidFill>
          <a:ln w="9525" cap="flat" cmpd="sng" algn="ctr">
            <a:noFill/>
            <a:prstDash val="solid"/>
            <a:headEnd type="none" w="med" len="med"/>
            <a:tailEnd type="none" w="med" len="med"/>
          </a:ln>
          <a:effectLst>
            <a:outerShdw blurRad="584200" dist="38100" dir="3960000" sx="102000" sy="102000" algn="tl" rotWithShape="0">
              <a:prstClr val="black">
                <a:alpha val="1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8" name="Donut 7">
            <a:extLst>
              <a:ext uri="{FF2B5EF4-FFF2-40B4-BE49-F238E27FC236}">
                <a16:creationId xmlns:a16="http://schemas.microsoft.com/office/drawing/2014/main" id="{83839F00-EE58-9A5D-D28C-5085A434BE72}"/>
              </a:ext>
            </a:extLst>
          </p:cNvPr>
          <p:cNvSpPr/>
          <p:nvPr/>
        </p:nvSpPr>
        <p:spPr bwMode="auto">
          <a:xfrm>
            <a:off x="709426" y="1122072"/>
            <a:ext cx="10773151" cy="273589"/>
          </a:xfrm>
          <a:prstGeom prst="rect">
            <a:avLst/>
          </a:prstGeom>
          <a:solidFill>
            <a:schemeClr val="accent4"/>
          </a:solidFill>
          <a:ln w="5992"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a:ea typeface="+mn-ea"/>
                <a:cs typeface="+mn-cs"/>
              </a:rPr>
              <a:t>Use Case Objectives &amp; key results</a:t>
            </a:r>
          </a:p>
        </p:txBody>
      </p:sp>
      <p:sp>
        <p:nvSpPr>
          <p:cNvPr id="12" name="Rectangle 11">
            <a:extLst>
              <a:ext uri="{FF2B5EF4-FFF2-40B4-BE49-F238E27FC236}">
                <a16:creationId xmlns:a16="http://schemas.microsoft.com/office/drawing/2014/main" id="{13513069-0FBC-19C3-15E4-40444B6C4C2E}"/>
              </a:ext>
            </a:extLst>
          </p:cNvPr>
          <p:cNvSpPr/>
          <p:nvPr/>
        </p:nvSpPr>
        <p:spPr bwMode="auto">
          <a:xfrm>
            <a:off x="645459" y="1471562"/>
            <a:ext cx="3499744" cy="5337922"/>
          </a:xfrm>
          <a:prstGeom prst="rect">
            <a:avLst/>
          </a:prstGeom>
          <a:solidFill>
            <a:schemeClr val="bg1">
              <a:alpha val="9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mn-ea"/>
                <a:cs typeface="+mn-cs"/>
              </a:rPr>
              <a:t>Business Objectives </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000" b="0" i="0" u="none" strike="noStrike" kern="1200" cap="none" spc="0" normalizeH="0" baseline="0" noProof="0">
                <a:ln>
                  <a:noFill/>
                </a:ln>
                <a:solidFill>
                  <a:srgbClr val="000000">
                    <a:lumMod val="65000"/>
                    <a:lumOff val="35000"/>
                  </a:srgbClr>
                </a:solidFill>
                <a:effectLst/>
                <a:uLnTx/>
                <a:uFillTx/>
                <a:latin typeface="Segoe UI"/>
                <a:ea typeface="+mn-ea"/>
                <a:cs typeface="+mn-cs"/>
              </a:rPr>
              <a:t>Enter the list of business objectives.</a:t>
            </a:r>
          </a:p>
        </p:txBody>
      </p:sp>
      <p:sp>
        <p:nvSpPr>
          <p:cNvPr id="13" name="Rectangle 12">
            <a:extLst>
              <a:ext uri="{FF2B5EF4-FFF2-40B4-BE49-F238E27FC236}">
                <a16:creationId xmlns:a16="http://schemas.microsoft.com/office/drawing/2014/main" id="{4D147FF6-9A68-2382-67C5-524DFCC68B82}"/>
              </a:ext>
            </a:extLst>
          </p:cNvPr>
          <p:cNvSpPr>
            <a:spLocks/>
          </p:cNvSpPr>
          <p:nvPr/>
        </p:nvSpPr>
        <p:spPr bwMode="auto">
          <a:xfrm>
            <a:off x="4283127" y="1471561"/>
            <a:ext cx="7154208" cy="5266638"/>
          </a:xfrm>
          <a:prstGeom prst="rect">
            <a:avLst/>
          </a:prstGeom>
          <a:solidFill>
            <a:schemeClr val="bg1">
              <a:alpha val="9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mn-ea"/>
                <a:cs typeface="+mn-cs"/>
              </a:rPr>
              <a:t>Key results</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srgbClr val="000000">
                    <a:lumMod val="65000"/>
                    <a:lumOff val="35000"/>
                  </a:srgbClr>
                </a:solidFill>
                <a:effectLst/>
                <a:uLnTx/>
                <a:uFillTx/>
                <a:latin typeface="Segoe UI"/>
                <a:ea typeface="+mn-ea"/>
                <a:cs typeface="+mn-cs"/>
              </a:rPr>
              <a:t>Enter the key results for each business objective</a:t>
            </a:r>
          </a:p>
        </p:txBody>
      </p:sp>
      <p:sp>
        <p:nvSpPr>
          <p:cNvPr id="23" name="Title 61">
            <a:extLst>
              <a:ext uri="{FF2B5EF4-FFF2-40B4-BE49-F238E27FC236}">
                <a16:creationId xmlns:a16="http://schemas.microsoft.com/office/drawing/2014/main" id="{AAF68C2C-7F4E-CBEC-16DE-7883542CD296}"/>
              </a:ext>
            </a:extLst>
          </p:cNvPr>
          <p:cNvSpPr txBox="1">
            <a:spLocks/>
          </p:cNvSpPr>
          <p:nvPr/>
        </p:nvSpPr>
        <p:spPr>
          <a:xfrm>
            <a:off x="573024" y="34618"/>
            <a:ext cx="11018520" cy="327268"/>
          </a:xfrm>
          <a:prstGeom prst="rect">
            <a:avLst/>
          </a:prstGeom>
        </p:spPr>
        <p:txBody>
          <a:bodyPr/>
          <a:lstStyle>
            <a:lvl1pPr algn="l" defTabSz="932742" rtl="0" eaLnBrk="1" latinLnBrk="0" hangingPunct="1">
              <a:lnSpc>
                <a:spcPct val="100000"/>
              </a:lnSpc>
              <a:spcBef>
                <a:spcPct val="0"/>
              </a:spcBef>
              <a:buNone/>
              <a:defRPr lang="en-US" sz="2000" b="0" kern="1200" cap="none" spc="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dirty="0">
                <a:ln w="3175">
                  <a:noFill/>
                </a:ln>
                <a:solidFill>
                  <a:srgbClr val="000000"/>
                </a:solidFill>
                <a:effectLst/>
                <a:uLnTx/>
                <a:uFillTx/>
                <a:latin typeface="Segoe UI Semibold"/>
                <a:ea typeface="+mn-ea"/>
                <a:cs typeface="Segoe UI" pitchFamily="34" charset="0"/>
              </a:rPr>
              <a:t>AI Use Cases Define</a:t>
            </a:r>
          </a:p>
        </p:txBody>
      </p:sp>
    </p:spTree>
    <p:extLst>
      <p:ext uri="{BB962C8B-B14F-4D97-AF65-F5344CB8AC3E}">
        <p14:creationId xmlns:p14="http://schemas.microsoft.com/office/powerpoint/2010/main" val="1676631757"/>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A00EAC9-804C-3F99-DB92-1E430FC3D793}"/>
              </a:ext>
              <a:ext uri="{C183D7F6-B498-43B3-948B-1728B52AA6E4}">
                <adec:decorative xmlns:adec="http://schemas.microsoft.com/office/drawing/2017/decorative" val="1"/>
              </a:ext>
            </a:extLst>
          </p:cNvPr>
          <p:cNvSpPr/>
          <p:nvPr/>
        </p:nvSpPr>
        <p:spPr bwMode="auto">
          <a:xfrm>
            <a:off x="0" y="435678"/>
            <a:ext cx="12192000" cy="109576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 name="Titel 1">
            <a:extLst>
              <a:ext uri="{FF2B5EF4-FFF2-40B4-BE49-F238E27FC236}">
                <a16:creationId xmlns:a16="http://schemas.microsoft.com/office/drawing/2014/main" id="{5B37C216-2900-617A-3A68-E8C71F39D530}"/>
              </a:ext>
            </a:extLst>
          </p:cNvPr>
          <p:cNvSpPr txBox="1">
            <a:spLocks/>
          </p:cNvSpPr>
          <p:nvPr/>
        </p:nvSpPr>
        <p:spPr>
          <a:xfrm>
            <a:off x="588262" y="534069"/>
            <a:ext cx="8658247" cy="184666"/>
          </a:xfrm>
          <a:prstGeom prst="rect">
            <a:avLst/>
          </a:prstGeom>
        </p:spPr>
        <p:txBody>
          <a:bodyPr vert="horz" wrap="square" lIns="0" tIns="0" rIns="0" bIns="0" rtlCol="0" anchor="ctr">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200" b="0" i="0" u="none" strike="noStrike" kern="1200" cap="none" spc="0" normalizeH="0" baseline="0" noProof="0">
                <a:ln w="3175">
                  <a:noFill/>
                </a:ln>
                <a:solidFill>
                  <a:srgbClr val="000000"/>
                </a:solidFill>
                <a:effectLst/>
                <a:uLnTx/>
                <a:uFillTx/>
                <a:latin typeface="Segoe UI Semibold"/>
                <a:ea typeface="+mn-ea"/>
                <a:cs typeface="Segoe UI" pitchFamily="34" charset="0"/>
              </a:rPr>
              <a:t>Use case name:</a:t>
            </a:r>
          </a:p>
        </p:txBody>
      </p:sp>
      <p:sp>
        <p:nvSpPr>
          <p:cNvPr id="5" name="Textplatzhalter 2">
            <a:extLst>
              <a:ext uri="{FF2B5EF4-FFF2-40B4-BE49-F238E27FC236}">
                <a16:creationId xmlns:a16="http://schemas.microsoft.com/office/drawing/2014/main" id="{DE51592C-CAA7-B67B-6B4B-B8A4FF036D7C}"/>
              </a:ext>
            </a:extLst>
          </p:cNvPr>
          <p:cNvSpPr txBox="1">
            <a:spLocks/>
          </p:cNvSpPr>
          <p:nvPr/>
        </p:nvSpPr>
        <p:spPr>
          <a:xfrm>
            <a:off x="588263" y="759589"/>
            <a:ext cx="5117378" cy="215444"/>
          </a:xfrm>
          <a:prstGeom prst="rect">
            <a:avLst/>
          </a:prstGeom>
        </p:spPr>
        <p:txBody>
          <a:bodyPr lIns="0" tIns="0" rIns="0" bIns="0" anchor="ct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Department: </a:t>
            </a:r>
          </a:p>
        </p:txBody>
      </p:sp>
      <p:sp>
        <p:nvSpPr>
          <p:cNvPr id="6" name="Textplatzhalter 2">
            <a:extLst>
              <a:ext uri="{FF2B5EF4-FFF2-40B4-BE49-F238E27FC236}">
                <a16:creationId xmlns:a16="http://schemas.microsoft.com/office/drawing/2014/main" id="{2D4AA423-3263-4CF7-B023-3A201ED156C9}"/>
              </a:ext>
            </a:extLst>
          </p:cNvPr>
          <p:cNvSpPr txBox="1">
            <a:spLocks/>
          </p:cNvSpPr>
          <p:nvPr/>
        </p:nvSpPr>
        <p:spPr>
          <a:xfrm>
            <a:off x="6503121" y="763208"/>
            <a:ext cx="5117378" cy="215444"/>
          </a:xfrm>
          <a:prstGeom prst="rect">
            <a:avLst/>
          </a:prstGeom>
        </p:spPr>
        <p:txBody>
          <a:bodyPr lIns="0" tIns="0" rIns="0" bIns="0"/>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Internal or external use:</a:t>
            </a:r>
          </a:p>
        </p:txBody>
      </p:sp>
      <p:sp>
        <p:nvSpPr>
          <p:cNvPr id="7" name="Oval 32">
            <a:extLst>
              <a:ext uri="{FF2B5EF4-FFF2-40B4-BE49-F238E27FC236}">
                <a16:creationId xmlns:a16="http://schemas.microsoft.com/office/drawing/2014/main" id="{D465B900-850F-258D-196D-3FCCC3835DF5}"/>
              </a:ext>
              <a:ext uri="{C183D7F6-B498-43B3-948B-1728B52AA6E4}">
                <adec:decorative xmlns:adec="http://schemas.microsoft.com/office/drawing/2017/decorative" val="1"/>
              </a:ext>
            </a:extLst>
          </p:cNvPr>
          <p:cNvSpPr/>
          <p:nvPr/>
        </p:nvSpPr>
        <p:spPr bwMode="auto">
          <a:xfrm>
            <a:off x="557785" y="1054552"/>
            <a:ext cx="11048998" cy="5803448"/>
          </a:xfrm>
          <a:prstGeom prst="rect">
            <a:avLst/>
          </a:prstGeom>
          <a:solidFill>
            <a:srgbClr val="FFFFFF">
              <a:lumMod val="95000"/>
            </a:srgbClr>
          </a:solidFill>
          <a:ln w="9525" cap="flat" cmpd="sng" algn="ctr">
            <a:noFill/>
            <a:prstDash val="solid"/>
            <a:headEnd type="none" w="med" len="med"/>
            <a:tailEnd type="none" w="med" len="med"/>
          </a:ln>
          <a:effectLst>
            <a:outerShdw blurRad="584200" dist="38100" dir="3960000" sx="102000" sy="102000" algn="tl" rotWithShape="0">
              <a:prstClr val="black">
                <a:alpha val="1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8" name="Donut 7">
            <a:extLst>
              <a:ext uri="{FF2B5EF4-FFF2-40B4-BE49-F238E27FC236}">
                <a16:creationId xmlns:a16="http://schemas.microsoft.com/office/drawing/2014/main" id="{83839F00-EE58-9A5D-D28C-5085A434BE72}"/>
              </a:ext>
            </a:extLst>
          </p:cNvPr>
          <p:cNvSpPr/>
          <p:nvPr/>
        </p:nvSpPr>
        <p:spPr bwMode="auto">
          <a:xfrm>
            <a:off x="709426" y="1122072"/>
            <a:ext cx="10773151" cy="273589"/>
          </a:xfrm>
          <a:prstGeom prst="rect">
            <a:avLst/>
          </a:prstGeom>
          <a:solidFill>
            <a:schemeClr val="accent4"/>
          </a:solidFill>
          <a:ln w="5992"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a:ea typeface="+mn-ea"/>
                <a:cs typeface="+mn-cs"/>
              </a:rPr>
              <a:t>Objectives &amp; key results – Strategic fit assessment</a:t>
            </a:r>
          </a:p>
        </p:txBody>
      </p:sp>
      <p:sp>
        <p:nvSpPr>
          <p:cNvPr id="12" name="Rectangle 11">
            <a:extLst>
              <a:ext uri="{FF2B5EF4-FFF2-40B4-BE49-F238E27FC236}">
                <a16:creationId xmlns:a16="http://schemas.microsoft.com/office/drawing/2014/main" id="{13513069-0FBC-19C3-15E4-40444B6C4C2E}"/>
              </a:ext>
            </a:extLst>
          </p:cNvPr>
          <p:cNvSpPr/>
          <p:nvPr/>
        </p:nvSpPr>
        <p:spPr bwMode="auto">
          <a:xfrm>
            <a:off x="709425" y="1471562"/>
            <a:ext cx="3435778" cy="5337922"/>
          </a:xfrm>
          <a:prstGeom prst="rect">
            <a:avLst/>
          </a:prstGeom>
          <a:solidFill>
            <a:schemeClr val="bg1">
              <a:alpha val="9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mn-ea"/>
                <a:cs typeface="+mn-cs"/>
              </a:rPr>
              <a:t>Alignment to Business Process Challenge </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srgbClr val="000000">
                    <a:lumMod val="65000"/>
                    <a:lumOff val="35000"/>
                  </a:srgbClr>
                </a:solidFill>
                <a:effectLst/>
                <a:uLnTx/>
                <a:uFillTx/>
                <a:latin typeface="Segoe UI"/>
                <a:ea typeface="+mn-ea"/>
                <a:cs typeface="+mn-cs"/>
              </a:rPr>
              <a:t>Describe the alignment of the business use case to the business process challenge.</a:t>
            </a:r>
          </a:p>
        </p:txBody>
      </p:sp>
      <p:sp>
        <p:nvSpPr>
          <p:cNvPr id="13" name="Rectangle 12">
            <a:extLst>
              <a:ext uri="{FF2B5EF4-FFF2-40B4-BE49-F238E27FC236}">
                <a16:creationId xmlns:a16="http://schemas.microsoft.com/office/drawing/2014/main" id="{4D147FF6-9A68-2382-67C5-524DFCC68B82}"/>
              </a:ext>
            </a:extLst>
          </p:cNvPr>
          <p:cNvSpPr>
            <a:spLocks/>
          </p:cNvSpPr>
          <p:nvPr/>
        </p:nvSpPr>
        <p:spPr bwMode="auto">
          <a:xfrm>
            <a:off x="4283127" y="1471561"/>
            <a:ext cx="3917134" cy="5266638"/>
          </a:xfrm>
          <a:prstGeom prst="rect">
            <a:avLst/>
          </a:prstGeom>
          <a:solidFill>
            <a:schemeClr val="bg1">
              <a:alpha val="9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mn-ea"/>
                <a:cs typeface="+mn-cs"/>
              </a:rPr>
              <a:t>Business Value</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err="1">
                <a:ln>
                  <a:noFill/>
                </a:ln>
                <a:solidFill>
                  <a:srgbClr val="000000">
                    <a:lumMod val="65000"/>
                    <a:lumOff val="35000"/>
                  </a:srgbClr>
                </a:solidFill>
                <a:effectLst/>
                <a:uLnTx/>
                <a:uFillTx/>
                <a:latin typeface="Segoe UI"/>
                <a:ea typeface="+mn-ea"/>
                <a:cs typeface="+mn-cs"/>
              </a:rPr>
              <a:t>Decribe</a:t>
            </a:r>
            <a:r>
              <a:rPr kumimoji="0" lang="en-US" sz="1100" b="0" i="0" u="none" strike="noStrike" kern="1200" cap="none" spc="0" normalizeH="0" baseline="0" noProof="0">
                <a:ln>
                  <a:noFill/>
                </a:ln>
                <a:solidFill>
                  <a:srgbClr val="000000">
                    <a:lumMod val="65000"/>
                    <a:lumOff val="35000"/>
                  </a:srgbClr>
                </a:solidFill>
                <a:effectLst/>
                <a:uLnTx/>
                <a:uFillTx/>
                <a:latin typeface="Segoe UI"/>
                <a:ea typeface="+mn-ea"/>
                <a:cs typeface="+mn-cs"/>
              </a:rPr>
              <a:t> how the use case could create significant business value:</a:t>
            </a:r>
          </a:p>
        </p:txBody>
      </p:sp>
      <p:sp>
        <p:nvSpPr>
          <p:cNvPr id="9" name="Rectangle 8">
            <a:extLst>
              <a:ext uri="{FF2B5EF4-FFF2-40B4-BE49-F238E27FC236}">
                <a16:creationId xmlns:a16="http://schemas.microsoft.com/office/drawing/2014/main" id="{80E55B3B-9D67-204C-B503-4404598C31F7}"/>
              </a:ext>
            </a:extLst>
          </p:cNvPr>
          <p:cNvSpPr>
            <a:spLocks/>
          </p:cNvSpPr>
          <p:nvPr/>
        </p:nvSpPr>
        <p:spPr bwMode="auto">
          <a:xfrm>
            <a:off x="8288277" y="1463181"/>
            <a:ext cx="3345937" cy="5266638"/>
          </a:xfrm>
          <a:prstGeom prst="rect">
            <a:avLst/>
          </a:prstGeom>
          <a:solidFill>
            <a:schemeClr val="bg1">
              <a:alpha val="9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mn-ea"/>
                <a:cs typeface="+mn-cs"/>
              </a:rPr>
              <a:t>Change Management Timeframe</a:t>
            </a:r>
          </a:p>
          <a:p>
            <a:pPr marL="0" marR="0" lvl="0" indent="0" algn="l" defTabSz="914400" rtl="0" eaLnBrk="1" fontAlgn="auto" latinLnBrk="0" hangingPunct="1">
              <a:lnSpc>
                <a:spcPct val="100000"/>
              </a:lnSpc>
              <a:spcBef>
                <a:spcPts val="0"/>
              </a:spcBef>
              <a:spcAft>
                <a:spcPts val="200"/>
              </a:spcAft>
              <a:buClrTx/>
              <a:buSzTx/>
              <a:buFontTx/>
              <a:buNone/>
              <a:tabLst/>
              <a:defRPr/>
            </a:pPr>
            <a:r>
              <a:rPr lang="en-US" sz="1000">
                <a:solidFill>
                  <a:srgbClr val="000000">
                    <a:lumMod val="65000"/>
                    <a:lumOff val="35000"/>
                  </a:srgbClr>
                </a:solidFill>
                <a:latin typeface="Segoe UI"/>
              </a:rPr>
              <a:t>Break out the likely timeframes for the major steps involved in</a:t>
            </a:r>
            <a:r>
              <a:rPr kumimoji="0" lang="en-US" sz="1000" b="0" i="0" u="none" strike="noStrike" kern="1200" cap="none" spc="0" normalizeH="0" baseline="0" noProof="0">
                <a:ln>
                  <a:noFill/>
                </a:ln>
                <a:solidFill>
                  <a:srgbClr val="000000">
                    <a:lumMod val="65000"/>
                    <a:lumOff val="35000"/>
                  </a:srgbClr>
                </a:solidFill>
                <a:effectLst/>
                <a:uLnTx/>
                <a:uFillTx/>
                <a:latin typeface="Segoe UI"/>
                <a:ea typeface="+mn-ea"/>
                <a:cs typeface="+mn-cs"/>
              </a:rPr>
              <a:t> implementing the use case:</a:t>
            </a:r>
          </a:p>
        </p:txBody>
      </p:sp>
      <p:sp>
        <p:nvSpPr>
          <p:cNvPr id="10" name="Title 61">
            <a:extLst>
              <a:ext uri="{FF2B5EF4-FFF2-40B4-BE49-F238E27FC236}">
                <a16:creationId xmlns:a16="http://schemas.microsoft.com/office/drawing/2014/main" id="{44C1F13D-75AB-D94D-23A2-FFE453EAD080}"/>
              </a:ext>
            </a:extLst>
          </p:cNvPr>
          <p:cNvSpPr txBox="1">
            <a:spLocks/>
          </p:cNvSpPr>
          <p:nvPr/>
        </p:nvSpPr>
        <p:spPr>
          <a:xfrm>
            <a:off x="573024" y="34618"/>
            <a:ext cx="11018520" cy="327268"/>
          </a:xfrm>
          <a:prstGeom prst="rect">
            <a:avLst/>
          </a:prstGeom>
        </p:spPr>
        <p:txBody>
          <a:bodyPr/>
          <a:lstStyle>
            <a:lvl1pPr algn="l" defTabSz="932742" rtl="0" eaLnBrk="1" latinLnBrk="0" hangingPunct="1">
              <a:lnSpc>
                <a:spcPct val="100000"/>
              </a:lnSpc>
              <a:spcBef>
                <a:spcPct val="0"/>
              </a:spcBef>
              <a:buNone/>
              <a:defRPr lang="en-US" sz="2000" b="0" kern="1200" cap="none" spc="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dirty="0">
                <a:ln w="3175">
                  <a:noFill/>
                </a:ln>
                <a:solidFill>
                  <a:srgbClr val="000000"/>
                </a:solidFill>
                <a:effectLst/>
                <a:uLnTx/>
                <a:uFillTx/>
                <a:latin typeface="Segoe UI Semibold"/>
                <a:ea typeface="+mn-ea"/>
                <a:cs typeface="Segoe UI" pitchFamily="34" charset="0"/>
              </a:rPr>
              <a:t>AI Use Cases Define</a:t>
            </a:r>
          </a:p>
        </p:txBody>
      </p:sp>
    </p:spTree>
    <p:extLst>
      <p:ext uri="{BB962C8B-B14F-4D97-AF65-F5344CB8AC3E}">
        <p14:creationId xmlns:p14="http://schemas.microsoft.com/office/powerpoint/2010/main" val="745740978"/>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A00EAC9-804C-3F99-DB92-1E430FC3D793}"/>
              </a:ext>
              <a:ext uri="{C183D7F6-B498-43B3-948B-1728B52AA6E4}">
                <adec:decorative xmlns:adec="http://schemas.microsoft.com/office/drawing/2017/decorative" val="1"/>
              </a:ext>
            </a:extLst>
          </p:cNvPr>
          <p:cNvSpPr/>
          <p:nvPr/>
        </p:nvSpPr>
        <p:spPr bwMode="auto">
          <a:xfrm>
            <a:off x="0" y="435678"/>
            <a:ext cx="12192000" cy="109576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 name="Titel 1">
            <a:extLst>
              <a:ext uri="{FF2B5EF4-FFF2-40B4-BE49-F238E27FC236}">
                <a16:creationId xmlns:a16="http://schemas.microsoft.com/office/drawing/2014/main" id="{5B37C216-2900-617A-3A68-E8C71F39D530}"/>
              </a:ext>
            </a:extLst>
          </p:cNvPr>
          <p:cNvSpPr txBox="1">
            <a:spLocks/>
          </p:cNvSpPr>
          <p:nvPr/>
        </p:nvSpPr>
        <p:spPr>
          <a:xfrm>
            <a:off x="588262" y="534069"/>
            <a:ext cx="8658247" cy="184666"/>
          </a:xfrm>
          <a:prstGeom prst="rect">
            <a:avLst/>
          </a:prstGeom>
        </p:spPr>
        <p:txBody>
          <a:bodyPr vert="horz" wrap="square" lIns="0" tIns="0" rIns="0" bIns="0" rtlCol="0" anchor="ctr">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200" b="0" i="0" u="none" strike="noStrike" kern="1200" cap="none" spc="0" normalizeH="0" baseline="0" noProof="0">
                <a:ln w="3175">
                  <a:noFill/>
                </a:ln>
                <a:solidFill>
                  <a:srgbClr val="000000"/>
                </a:solidFill>
                <a:effectLst/>
                <a:uLnTx/>
                <a:uFillTx/>
                <a:latin typeface="Segoe UI Semibold"/>
                <a:ea typeface="+mn-ea"/>
                <a:cs typeface="Segoe UI" pitchFamily="34" charset="0"/>
              </a:rPr>
              <a:t>Use case name:</a:t>
            </a:r>
          </a:p>
        </p:txBody>
      </p:sp>
      <p:sp>
        <p:nvSpPr>
          <p:cNvPr id="5" name="Textplatzhalter 2">
            <a:extLst>
              <a:ext uri="{FF2B5EF4-FFF2-40B4-BE49-F238E27FC236}">
                <a16:creationId xmlns:a16="http://schemas.microsoft.com/office/drawing/2014/main" id="{DE51592C-CAA7-B67B-6B4B-B8A4FF036D7C}"/>
              </a:ext>
            </a:extLst>
          </p:cNvPr>
          <p:cNvSpPr txBox="1">
            <a:spLocks/>
          </p:cNvSpPr>
          <p:nvPr/>
        </p:nvSpPr>
        <p:spPr>
          <a:xfrm>
            <a:off x="588263" y="759589"/>
            <a:ext cx="5117378" cy="215444"/>
          </a:xfrm>
          <a:prstGeom prst="rect">
            <a:avLst/>
          </a:prstGeom>
        </p:spPr>
        <p:txBody>
          <a:bodyPr lIns="0" tIns="0" rIns="0" bIns="0" anchor="ct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Department: </a:t>
            </a:r>
          </a:p>
        </p:txBody>
      </p:sp>
      <p:sp>
        <p:nvSpPr>
          <p:cNvPr id="6" name="Textplatzhalter 2">
            <a:extLst>
              <a:ext uri="{FF2B5EF4-FFF2-40B4-BE49-F238E27FC236}">
                <a16:creationId xmlns:a16="http://schemas.microsoft.com/office/drawing/2014/main" id="{2D4AA423-3263-4CF7-B023-3A201ED156C9}"/>
              </a:ext>
            </a:extLst>
          </p:cNvPr>
          <p:cNvSpPr txBox="1">
            <a:spLocks/>
          </p:cNvSpPr>
          <p:nvPr/>
        </p:nvSpPr>
        <p:spPr>
          <a:xfrm>
            <a:off x="6503121" y="763208"/>
            <a:ext cx="5117378" cy="215444"/>
          </a:xfrm>
          <a:prstGeom prst="rect">
            <a:avLst/>
          </a:prstGeom>
        </p:spPr>
        <p:txBody>
          <a:bodyPr lIns="0" tIns="0" rIns="0" bIns="0"/>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Internal or external use:</a:t>
            </a:r>
          </a:p>
        </p:txBody>
      </p:sp>
      <p:sp>
        <p:nvSpPr>
          <p:cNvPr id="7" name="Oval 32">
            <a:extLst>
              <a:ext uri="{FF2B5EF4-FFF2-40B4-BE49-F238E27FC236}">
                <a16:creationId xmlns:a16="http://schemas.microsoft.com/office/drawing/2014/main" id="{D465B900-850F-258D-196D-3FCCC3835DF5}"/>
              </a:ext>
              <a:ext uri="{C183D7F6-B498-43B3-948B-1728B52AA6E4}">
                <adec:decorative xmlns:adec="http://schemas.microsoft.com/office/drawing/2017/decorative" val="1"/>
              </a:ext>
            </a:extLst>
          </p:cNvPr>
          <p:cNvSpPr/>
          <p:nvPr/>
        </p:nvSpPr>
        <p:spPr bwMode="auto">
          <a:xfrm>
            <a:off x="557785" y="1054552"/>
            <a:ext cx="11048998" cy="5803448"/>
          </a:xfrm>
          <a:prstGeom prst="rect">
            <a:avLst/>
          </a:prstGeom>
          <a:solidFill>
            <a:srgbClr val="FFFFFF">
              <a:lumMod val="95000"/>
            </a:srgbClr>
          </a:solidFill>
          <a:ln w="9525" cap="flat" cmpd="sng" algn="ctr">
            <a:noFill/>
            <a:prstDash val="solid"/>
            <a:headEnd type="none" w="med" len="med"/>
            <a:tailEnd type="none" w="med" len="med"/>
          </a:ln>
          <a:effectLst>
            <a:outerShdw blurRad="584200" dist="38100" dir="3960000" sx="102000" sy="102000" algn="tl" rotWithShape="0">
              <a:prstClr val="black">
                <a:alpha val="1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8" name="Donut 7">
            <a:extLst>
              <a:ext uri="{FF2B5EF4-FFF2-40B4-BE49-F238E27FC236}">
                <a16:creationId xmlns:a16="http://schemas.microsoft.com/office/drawing/2014/main" id="{83839F00-EE58-9A5D-D28C-5085A434BE72}"/>
              </a:ext>
            </a:extLst>
          </p:cNvPr>
          <p:cNvSpPr/>
          <p:nvPr/>
        </p:nvSpPr>
        <p:spPr bwMode="auto">
          <a:xfrm>
            <a:off x="709426" y="1122072"/>
            <a:ext cx="10773151" cy="273589"/>
          </a:xfrm>
          <a:prstGeom prst="rect">
            <a:avLst/>
          </a:prstGeom>
          <a:solidFill>
            <a:schemeClr val="accent4"/>
          </a:solidFill>
          <a:ln w="5992"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a:ea typeface="+mn-ea"/>
                <a:cs typeface="+mn-cs"/>
              </a:rPr>
              <a:t>Objectives &amp; key results – Strategic fit assessment</a:t>
            </a:r>
          </a:p>
        </p:txBody>
      </p:sp>
      <p:sp>
        <p:nvSpPr>
          <p:cNvPr id="12" name="Rectangle 11">
            <a:extLst>
              <a:ext uri="{FF2B5EF4-FFF2-40B4-BE49-F238E27FC236}">
                <a16:creationId xmlns:a16="http://schemas.microsoft.com/office/drawing/2014/main" id="{13513069-0FBC-19C3-15E4-40444B6C4C2E}"/>
              </a:ext>
            </a:extLst>
          </p:cNvPr>
          <p:cNvSpPr/>
          <p:nvPr/>
        </p:nvSpPr>
        <p:spPr bwMode="auto">
          <a:xfrm>
            <a:off x="709425" y="1471562"/>
            <a:ext cx="3435778" cy="5337922"/>
          </a:xfrm>
          <a:prstGeom prst="rect">
            <a:avLst/>
          </a:prstGeom>
          <a:solidFill>
            <a:schemeClr val="bg1">
              <a:alpha val="9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mn-ea"/>
                <a:cs typeface="+mn-cs"/>
              </a:rPr>
              <a:t>Key Personas </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050" b="0" i="0" u="none" strike="noStrike" kern="1200" cap="none" spc="0" normalizeH="0" baseline="0" noProof="0">
                <a:ln>
                  <a:noFill/>
                </a:ln>
                <a:solidFill>
                  <a:srgbClr val="000000">
                    <a:lumMod val="65000"/>
                    <a:lumOff val="35000"/>
                  </a:srgbClr>
                </a:solidFill>
                <a:effectLst/>
                <a:uLnTx/>
                <a:uFillTx/>
                <a:latin typeface="Segoe UI"/>
                <a:ea typeface="+mn-ea"/>
                <a:cs typeface="+mn-cs"/>
              </a:rPr>
              <a:t>List and describe the personas who would be primary and secondary users of a solution to the use case.</a:t>
            </a:r>
          </a:p>
        </p:txBody>
      </p:sp>
      <p:sp>
        <p:nvSpPr>
          <p:cNvPr id="13" name="Rectangle 12">
            <a:extLst>
              <a:ext uri="{FF2B5EF4-FFF2-40B4-BE49-F238E27FC236}">
                <a16:creationId xmlns:a16="http://schemas.microsoft.com/office/drawing/2014/main" id="{4D147FF6-9A68-2382-67C5-524DFCC68B82}"/>
              </a:ext>
            </a:extLst>
          </p:cNvPr>
          <p:cNvSpPr>
            <a:spLocks/>
          </p:cNvSpPr>
          <p:nvPr/>
        </p:nvSpPr>
        <p:spPr bwMode="auto">
          <a:xfrm>
            <a:off x="4283127" y="1471561"/>
            <a:ext cx="3917134" cy="5266638"/>
          </a:xfrm>
          <a:prstGeom prst="rect">
            <a:avLst/>
          </a:prstGeom>
          <a:solidFill>
            <a:schemeClr val="bg1">
              <a:alpha val="9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mn-ea"/>
                <a:cs typeface="+mn-cs"/>
              </a:rPr>
              <a:t>Value to Personas</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050" b="0" i="0" u="none" strike="noStrike" kern="1200" cap="none" spc="0" normalizeH="0" baseline="0" noProof="0">
                <a:ln>
                  <a:noFill/>
                </a:ln>
                <a:solidFill>
                  <a:srgbClr val="000000">
                    <a:lumMod val="65000"/>
                    <a:lumOff val="35000"/>
                  </a:srgbClr>
                </a:solidFill>
                <a:effectLst/>
                <a:uLnTx/>
                <a:uFillTx/>
                <a:latin typeface="Segoe UI"/>
                <a:ea typeface="+mn-ea"/>
                <a:cs typeface="+mn-cs"/>
              </a:rPr>
              <a:t>Describe the value each persona </a:t>
            </a:r>
            <a:r>
              <a:rPr lang="en-US" sz="1050">
                <a:solidFill>
                  <a:srgbClr val="000000">
                    <a:lumMod val="65000"/>
                    <a:lumOff val="35000"/>
                  </a:srgbClr>
                </a:solidFill>
                <a:latin typeface="Segoe UI"/>
              </a:rPr>
              <a:t>might perceive or receive from a solution to the use case.</a:t>
            </a:r>
            <a:endParaRPr kumimoji="0" lang="en-US" sz="1100" b="0" i="0" u="none" strike="noStrike" kern="1200" cap="none" spc="0" normalizeH="0" baseline="0" noProof="0">
              <a:ln>
                <a:noFill/>
              </a:ln>
              <a:solidFill>
                <a:srgbClr val="000000">
                  <a:lumMod val="65000"/>
                  <a:lumOff val="35000"/>
                </a:srgbClr>
              </a:solidFill>
              <a:effectLst/>
              <a:uLnTx/>
              <a:uFillTx/>
              <a:latin typeface="Segoe UI"/>
              <a:ea typeface="+mn-ea"/>
              <a:cs typeface="+mn-cs"/>
            </a:endParaRPr>
          </a:p>
        </p:txBody>
      </p:sp>
      <p:sp>
        <p:nvSpPr>
          <p:cNvPr id="9" name="Rectangle 8">
            <a:extLst>
              <a:ext uri="{FF2B5EF4-FFF2-40B4-BE49-F238E27FC236}">
                <a16:creationId xmlns:a16="http://schemas.microsoft.com/office/drawing/2014/main" id="{80E55B3B-9D67-204C-B503-4404598C31F7}"/>
              </a:ext>
            </a:extLst>
          </p:cNvPr>
          <p:cNvSpPr>
            <a:spLocks/>
          </p:cNvSpPr>
          <p:nvPr/>
        </p:nvSpPr>
        <p:spPr bwMode="auto">
          <a:xfrm>
            <a:off x="8288277" y="1463181"/>
            <a:ext cx="3345937" cy="5266638"/>
          </a:xfrm>
          <a:prstGeom prst="rect">
            <a:avLst/>
          </a:prstGeom>
          <a:solidFill>
            <a:schemeClr val="bg1">
              <a:alpha val="9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mn-ea"/>
                <a:cs typeface="+mn-cs"/>
              </a:rPr>
              <a:t>Change Resistance from Users</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000" b="0" i="0" u="none" strike="noStrike" kern="1200" cap="none" spc="0" normalizeH="0" baseline="0" noProof="0">
                <a:ln>
                  <a:noFill/>
                </a:ln>
                <a:solidFill>
                  <a:srgbClr val="000000">
                    <a:lumMod val="65000"/>
                    <a:lumOff val="35000"/>
                  </a:srgbClr>
                </a:solidFill>
                <a:effectLst/>
                <a:uLnTx/>
                <a:uFillTx/>
                <a:latin typeface="Segoe UI"/>
                <a:ea typeface="+mn-ea"/>
                <a:cs typeface="+mn-cs"/>
              </a:rPr>
              <a:t>Describe any potential types of resistance to change within the organization for a solution to the use case.</a:t>
            </a:r>
          </a:p>
        </p:txBody>
      </p:sp>
      <p:sp>
        <p:nvSpPr>
          <p:cNvPr id="10" name="Title 61">
            <a:extLst>
              <a:ext uri="{FF2B5EF4-FFF2-40B4-BE49-F238E27FC236}">
                <a16:creationId xmlns:a16="http://schemas.microsoft.com/office/drawing/2014/main" id="{EBA76861-D5BB-9196-34C4-B560C805668A}"/>
              </a:ext>
            </a:extLst>
          </p:cNvPr>
          <p:cNvSpPr txBox="1">
            <a:spLocks/>
          </p:cNvSpPr>
          <p:nvPr/>
        </p:nvSpPr>
        <p:spPr>
          <a:xfrm>
            <a:off x="573024" y="34618"/>
            <a:ext cx="11018520" cy="327268"/>
          </a:xfrm>
          <a:prstGeom prst="rect">
            <a:avLst/>
          </a:prstGeom>
        </p:spPr>
        <p:txBody>
          <a:bodyPr/>
          <a:lstStyle>
            <a:lvl1pPr algn="l" defTabSz="932742" rtl="0" eaLnBrk="1" latinLnBrk="0" hangingPunct="1">
              <a:lnSpc>
                <a:spcPct val="100000"/>
              </a:lnSpc>
              <a:spcBef>
                <a:spcPct val="0"/>
              </a:spcBef>
              <a:buNone/>
              <a:defRPr lang="en-US" sz="2000" b="0" kern="1200" cap="none" spc="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dirty="0">
                <a:ln w="3175">
                  <a:noFill/>
                </a:ln>
                <a:solidFill>
                  <a:srgbClr val="000000"/>
                </a:solidFill>
                <a:effectLst/>
                <a:uLnTx/>
                <a:uFillTx/>
                <a:latin typeface="Segoe UI Semibold"/>
                <a:ea typeface="+mn-ea"/>
                <a:cs typeface="Segoe UI" pitchFamily="34" charset="0"/>
              </a:rPr>
              <a:t>AI Use Cases Define</a:t>
            </a:r>
          </a:p>
        </p:txBody>
      </p:sp>
    </p:spTree>
    <p:extLst>
      <p:ext uri="{BB962C8B-B14F-4D97-AF65-F5344CB8AC3E}">
        <p14:creationId xmlns:p14="http://schemas.microsoft.com/office/powerpoint/2010/main" val="566138005"/>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A00EAC9-804C-3F99-DB92-1E430FC3D793}"/>
              </a:ext>
              <a:ext uri="{C183D7F6-B498-43B3-948B-1728B52AA6E4}">
                <adec:decorative xmlns:adec="http://schemas.microsoft.com/office/drawing/2017/decorative" val="1"/>
              </a:ext>
            </a:extLst>
          </p:cNvPr>
          <p:cNvSpPr/>
          <p:nvPr/>
        </p:nvSpPr>
        <p:spPr bwMode="auto">
          <a:xfrm>
            <a:off x="0" y="435678"/>
            <a:ext cx="12192000" cy="109576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 name="Titel 1">
            <a:extLst>
              <a:ext uri="{FF2B5EF4-FFF2-40B4-BE49-F238E27FC236}">
                <a16:creationId xmlns:a16="http://schemas.microsoft.com/office/drawing/2014/main" id="{5B37C216-2900-617A-3A68-E8C71F39D530}"/>
              </a:ext>
            </a:extLst>
          </p:cNvPr>
          <p:cNvSpPr txBox="1">
            <a:spLocks/>
          </p:cNvSpPr>
          <p:nvPr/>
        </p:nvSpPr>
        <p:spPr>
          <a:xfrm>
            <a:off x="588262" y="534069"/>
            <a:ext cx="8658247" cy="184666"/>
          </a:xfrm>
          <a:prstGeom prst="rect">
            <a:avLst/>
          </a:prstGeom>
        </p:spPr>
        <p:txBody>
          <a:bodyPr vert="horz" wrap="square" lIns="0" tIns="0" rIns="0" bIns="0" rtlCol="0" anchor="ctr">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200" b="0" i="0" u="none" strike="noStrike" kern="1200" cap="none" spc="0" normalizeH="0" baseline="0" noProof="0">
                <a:ln w="3175">
                  <a:noFill/>
                </a:ln>
                <a:solidFill>
                  <a:srgbClr val="000000"/>
                </a:solidFill>
                <a:effectLst/>
                <a:uLnTx/>
                <a:uFillTx/>
                <a:latin typeface="Segoe UI Semibold"/>
                <a:ea typeface="+mn-ea"/>
                <a:cs typeface="Segoe UI" pitchFamily="34" charset="0"/>
              </a:rPr>
              <a:t>Use case name:</a:t>
            </a:r>
          </a:p>
        </p:txBody>
      </p:sp>
      <p:sp>
        <p:nvSpPr>
          <p:cNvPr id="5" name="Textplatzhalter 2">
            <a:extLst>
              <a:ext uri="{FF2B5EF4-FFF2-40B4-BE49-F238E27FC236}">
                <a16:creationId xmlns:a16="http://schemas.microsoft.com/office/drawing/2014/main" id="{DE51592C-CAA7-B67B-6B4B-B8A4FF036D7C}"/>
              </a:ext>
            </a:extLst>
          </p:cNvPr>
          <p:cNvSpPr txBox="1">
            <a:spLocks/>
          </p:cNvSpPr>
          <p:nvPr/>
        </p:nvSpPr>
        <p:spPr>
          <a:xfrm>
            <a:off x="588263" y="759589"/>
            <a:ext cx="5117378" cy="215444"/>
          </a:xfrm>
          <a:prstGeom prst="rect">
            <a:avLst/>
          </a:prstGeom>
        </p:spPr>
        <p:txBody>
          <a:bodyPr lIns="0" tIns="0" rIns="0" bIns="0" anchor="ct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Department: </a:t>
            </a:r>
          </a:p>
        </p:txBody>
      </p:sp>
      <p:sp>
        <p:nvSpPr>
          <p:cNvPr id="6" name="Textplatzhalter 2">
            <a:extLst>
              <a:ext uri="{FF2B5EF4-FFF2-40B4-BE49-F238E27FC236}">
                <a16:creationId xmlns:a16="http://schemas.microsoft.com/office/drawing/2014/main" id="{2D4AA423-3263-4CF7-B023-3A201ED156C9}"/>
              </a:ext>
            </a:extLst>
          </p:cNvPr>
          <p:cNvSpPr txBox="1">
            <a:spLocks/>
          </p:cNvSpPr>
          <p:nvPr/>
        </p:nvSpPr>
        <p:spPr>
          <a:xfrm>
            <a:off x="6503121" y="763208"/>
            <a:ext cx="5117378" cy="215444"/>
          </a:xfrm>
          <a:prstGeom prst="rect">
            <a:avLst/>
          </a:prstGeom>
        </p:spPr>
        <p:txBody>
          <a:bodyPr lIns="0" tIns="0" rIns="0" bIns="0"/>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Internal or external use:</a:t>
            </a:r>
          </a:p>
        </p:txBody>
      </p:sp>
      <p:sp>
        <p:nvSpPr>
          <p:cNvPr id="7" name="Oval 32">
            <a:extLst>
              <a:ext uri="{FF2B5EF4-FFF2-40B4-BE49-F238E27FC236}">
                <a16:creationId xmlns:a16="http://schemas.microsoft.com/office/drawing/2014/main" id="{D465B900-850F-258D-196D-3FCCC3835DF5}"/>
              </a:ext>
              <a:ext uri="{C183D7F6-B498-43B3-948B-1728B52AA6E4}">
                <adec:decorative xmlns:adec="http://schemas.microsoft.com/office/drawing/2017/decorative" val="1"/>
              </a:ext>
            </a:extLst>
          </p:cNvPr>
          <p:cNvSpPr/>
          <p:nvPr/>
        </p:nvSpPr>
        <p:spPr bwMode="auto">
          <a:xfrm>
            <a:off x="557785" y="1054552"/>
            <a:ext cx="11048998" cy="5803448"/>
          </a:xfrm>
          <a:prstGeom prst="rect">
            <a:avLst/>
          </a:prstGeom>
          <a:solidFill>
            <a:srgbClr val="FFFFFF">
              <a:lumMod val="95000"/>
            </a:srgbClr>
          </a:solidFill>
          <a:ln w="9525" cap="flat" cmpd="sng" algn="ctr">
            <a:noFill/>
            <a:prstDash val="solid"/>
            <a:headEnd type="none" w="med" len="med"/>
            <a:tailEnd type="none" w="med" len="med"/>
          </a:ln>
          <a:effectLst>
            <a:outerShdw blurRad="584200" dist="38100" dir="3960000" sx="102000" sy="102000" algn="tl" rotWithShape="0">
              <a:prstClr val="black">
                <a:alpha val="1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8" name="Donut 7">
            <a:extLst>
              <a:ext uri="{FF2B5EF4-FFF2-40B4-BE49-F238E27FC236}">
                <a16:creationId xmlns:a16="http://schemas.microsoft.com/office/drawing/2014/main" id="{83839F00-EE58-9A5D-D28C-5085A434BE72}"/>
              </a:ext>
            </a:extLst>
          </p:cNvPr>
          <p:cNvSpPr/>
          <p:nvPr/>
        </p:nvSpPr>
        <p:spPr bwMode="auto">
          <a:xfrm>
            <a:off x="709426" y="1122072"/>
            <a:ext cx="10773151" cy="273589"/>
          </a:xfrm>
          <a:prstGeom prst="rect">
            <a:avLst/>
          </a:prstGeom>
          <a:solidFill>
            <a:schemeClr val="accent4"/>
          </a:solidFill>
          <a:ln w="5992"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a:ea typeface="+mn-ea"/>
                <a:cs typeface="+mn-cs"/>
              </a:rPr>
              <a:t>Objectives &amp; key results – Strategic fit assessment</a:t>
            </a:r>
          </a:p>
        </p:txBody>
      </p:sp>
      <p:sp>
        <p:nvSpPr>
          <p:cNvPr id="12" name="Rectangle 11">
            <a:extLst>
              <a:ext uri="{FF2B5EF4-FFF2-40B4-BE49-F238E27FC236}">
                <a16:creationId xmlns:a16="http://schemas.microsoft.com/office/drawing/2014/main" id="{13513069-0FBC-19C3-15E4-40444B6C4C2E}"/>
              </a:ext>
            </a:extLst>
          </p:cNvPr>
          <p:cNvSpPr/>
          <p:nvPr/>
        </p:nvSpPr>
        <p:spPr bwMode="auto">
          <a:xfrm>
            <a:off x="530354" y="1471562"/>
            <a:ext cx="3614849" cy="5337922"/>
          </a:xfrm>
          <a:prstGeom prst="rect">
            <a:avLst/>
          </a:prstGeom>
          <a:solidFill>
            <a:schemeClr val="bg1">
              <a:alpha val="9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mn-ea"/>
                <a:cs typeface="+mn-cs"/>
              </a:rPr>
              <a:t>Implementation &amp; Operational Risks</a:t>
            </a:r>
          </a:p>
          <a:p>
            <a:pPr marL="0" marR="0" lvl="0" indent="0" algn="l" defTabSz="914400" rtl="0" eaLnBrk="1" fontAlgn="auto" latinLnBrk="0" hangingPunct="1">
              <a:lnSpc>
                <a:spcPct val="100000"/>
              </a:lnSpc>
              <a:spcBef>
                <a:spcPts val="0"/>
              </a:spcBef>
              <a:spcAft>
                <a:spcPts val="200"/>
              </a:spcAft>
              <a:buClrTx/>
              <a:buSzTx/>
              <a:buFontTx/>
              <a:buNone/>
              <a:tabLst/>
              <a:defRPr/>
            </a:pPr>
            <a:r>
              <a:rPr lang="en-US" sz="1000">
                <a:solidFill>
                  <a:srgbClr val="000000">
                    <a:lumMod val="65000"/>
                    <a:lumOff val="35000"/>
                  </a:srgbClr>
                </a:solidFill>
                <a:latin typeface="Segoe UI"/>
              </a:rPr>
              <a:t>List and describe </a:t>
            </a:r>
            <a:r>
              <a:rPr kumimoji="0" lang="en-US" sz="1000" b="0" i="0" u="none" strike="noStrike" kern="1200" cap="none" spc="0" normalizeH="0" baseline="0" noProof="0">
                <a:ln>
                  <a:noFill/>
                </a:ln>
                <a:solidFill>
                  <a:srgbClr val="000000">
                    <a:lumMod val="65000"/>
                    <a:lumOff val="35000"/>
                  </a:srgbClr>
                </a:solidFill>
                <a:effectLst/>
                <a:uLnTx/>
                <a:uFillTx/>
                <a:latin typeface="Segoe UI"/>
                <a:ea typeface="+mn-ea"/>
                <a:cs typeface="+mn-cs"/>
              </a:rPr>
              <a:t>potential implementation and operational risks for the use case.</a:t>
            </a:r>
          </a:p>
        </p:txBody>
      </p:sp>
      <p:sp>
        <p:nvSpPr>
          <p:cNvPr id="13" name="Rectangle 12">
            <a:extLst>
              <a:ext uri="{FF2B5EF4-FFF2-40B4-BE49-F238E27FC236}">
                <a16:creationId xmlns:a16="http://schemas.microsoft.com/office/drawing/2014/main" id="{4D147FF6-9A68-2382-67C5-524DFCC68B82}"/>
              </a:ext>
            </a:extLst>
          </p:cNvPr>
          <p:cNvSpPr>
            <a:spLocks/>
          </p:cNvSpPr>
          <p:nvPr/>
        </p:nvSpPr>
        <p:spPr bwMode="auto">
          <a:xfrm>
            <a:off x="4283127" y="1471561"/>
            <a:ext cx="3917134" cy="5266638"/>
          </a:xfrm>
          <a:prstGeom prst="rect">
            <a:avLst/>
          </a:prstGeom>
          <a:solidFill>
            <a:schemeClr val="bg1">
              <a:alpha val="9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mn-ea"/>
                <a:cs typeface="+mn-cs"/>
              </a:rPr>
              <a:t>Safeguards to Consider</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050" b="0" i="0" u="none" strike="noStrike" kern="1200" cap="none" spc="0" normalizeH="0" baseline="0" noProof="0">
                <a:ln>
                  <a:noFill/>
                </a:ln>
                <a:solidFill>
                  <a:srgbClr val="000000">
                    <a:lumMod val="65000"/>
                    <a:lumOff val="35000"/>
                  </a:srgbClr>
                </a:solidFill>
                <a:effectLst/>
                <a:uLnTx/>
                <a:uFillTx/>
                <a:latin typeface="Segoe UI"/>
                <a:ea typeface="+mn-ea"/>
                <a:cs typeface="+mn-cs"/>
              </a:rPr>
              <a:t>List and describe safeguards that should be considered to mitigate potential risks from a solution to the use case:</a:t>
            </a:r>
          </a:p>
        </p:txBody>
      </p:sp>
      <p:sp>
        <p:nvSpPr>
          <p:cNvPr id="9" name="Rectangle 8">
            <a:extLst>
              <a:ext uri="{FF2B5EF4-FFF2-40B4-BE49-F238E27FC236}">
                <a16:creationId xmlns:a16="http://schemas.microsoft.com/office/drawing/2014/main" id="{80E55B3B-9D67-204C-B503-4404598C31F7}"/>
              </a:ext>
            </a:extLst>
          </p:cNvPr>
          <p:cNvSpPr>
            <a:spLocks/>
          </p:cNvSpPr>
          <p:nvPr/>
        </p:nvSpPr>
        <p:spPr bwMode="auto">
          <a:xfrm>
            <a:off x="8288276" y="1463181"/>
            <a:ext cx="3614849" cy="5266638"/>
          </a:xfrm>
          <a:prstGeom prst="rect">
            <a:avLst/>
          </a:prstGeom>
          <a:solidFill>
            <a:schemeClr val="bg1">
              <a:alpha val="9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mn-ea"/>
                <a:cs typeface="+mn-cs"/>
              </a:rPr>
              <a:t>Change Resistance from Users</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000" b="0" i="0" u="none" strike="noStrike" kern="1200" cap="none" spc="0" normalizeH="0" baseline="0" noProof="0">
                <a:ln>
                  <a:noFill/>
                </a:ln>
                <a:solidFill>
                  <a:srgbClr val="000000">
                    <a:lumMod val="65000"/>
                    <a:lumOff val="35000"/>
                  </a:srgbClr>
                </a:solidFill>
                <a:effectLst/>
                <a:uLnTx/>
                <a:uFillTx/>
                <a:latin typeface="Segoe UI"/>
                <a:ea typeface="+mn-ea"/>
                <a:cs typeface="+mn-cs"/>
              </a:rPr>
              <a:t>Describe potential ways in which Generative AI and Machine Learning (ML) could play a crucial role in the Business Use Case:</a:t>
            </a:r>
          </a:p>
        </p:txBody>
      </p:sp>
      <p:sp>
        <p:nvSpPr>
          <p:cNvPr id="10" name="Title 61">
            <a:extLst>
              <a:ext uri="{FF2B5EF4-FFF2-40B4-BE49-F238E27FC236}">
                <a16:creationId xmlns:a16="http://schemas.microsoft.com/office/drawing/2014/main" id="{66C7CFF7-8E72-9ED3-1523-76EC9EB03AF3}"/>
              </a:ext>
            </a:extLst>
          </p:cNvPr>
          <p:cNvSpPr txBox="1">
            <a:spLocks/>
          </p:cNvSpPr>
          <p:nvPr/>
        </p:nvSpPr>
        <p:spPr>
          <a:xfrm>
            <a:off x="573024" y="34618"/>
            <a:ext cx="11018520" cy="327268"/>
          </a:xfrm>
          <a:prstGeom prst="rect">
            <a:avLst/>
          </a:prstGeom>
        </p:spPr>
        <p:txBody>
          <a:bodyPr/>
          <a:lstStyle>
            <a:lvl1pPr algn="l" defTabSz="932742" rtl="0" eaLnBrk="1" latinLnBrk="0" hangingPunct="1">
              <a:lnSpc>
                <a:spcPct val="100000"/>
              </a:lnSpc>
              <a:spcBef>
                <a:spcPct val="0"/>
              </a:spcBef>
              <a:buNone/>
              <a:defRPr lang="en-US" sz="2000" b="0" kern="1200" cap="none" spc="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dirty="0">
                <a:ln w="3175">
                  <a:noFill/>
                </a:ln>
                <a:solidFill>
                  <a:srgbClr val="000000"/>
                </a:solidFill>
                <a:effectLst/>
                <a:uLnTx/>
                <a:uFillTx/>
                <a:latin typeface="Segoe UI Semibold"/>
                <a:ea typeface="+mn-ea"/>
                <a:cs typeface="Segoe UI" pitchFamily="34" charset="0"/>
              </a:rPr>
              <a:t>AI Use Cases Define</a:t>
            </a:r>
          </a:p>
        </p:txBody>
      </p:sp>
    </p:spTree>
    <p:extLst>
      <p:ext uri="{BB962C8B-B14F-4D97-AF65-F5344CB8AC3E}">
        <p14:creationId xmlns:p14="http://schemas.microsoft.com/office/powerpoint/2010/main" val="64538440"/>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61">
            <a:extLst>
              <a:ext uri="{FF2B5EF4-FFF2-40B4-BE49-F238E27FC236}">
                <a16:creationId xmlns:a16="http://schemas.microsoft.com/office/drawing/2014/main" id="{41D7FB24-6AD6-DB9E-FFCD-588F980E8F47}"/>
              </a:ext>
            </a:extLst>
          </p:cNvPr>
          <p:cNvSpPr txBox="1">
            <a:spLocks/>
          </p:cNvSpPr>
          <p:nvPr/>
        </p:nvSpPr>
        <p:spPr>
          <a:xfrm>
            <a:off x="573024" y="34618"/>
            <a:ext cx="11018520" cy="327268"/>
          </a:xfrm>
          <a:prstGeom prst="rect">
            <a:avLst/>
          </a:prstGeom>
        </p:spPr>
        <p:txBody>
          <a:bodyPr/>
          <a:lstStyle>
            <a:lvl1pPr algn="l" defTabSz="932742" rtl="0" eaLnBrk="1" latinLnBrk="0" hangingPunct="1">
              <a:lnSpc>
                <a:spcPct val="100000"/>
              </a:lnSpc>
              <a:spcBef>
                <a:spcPct val="0"/>
              </a:spcBef>
              <a:buNone/>
              <a:defRPr lang="en-US" sz="2000" b="0" kern="1200" cap="none" spc="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dirty="0">
                <a:ln w="3175">
                  <a:noFill/>
                </a:ln>
                <a:solidFill>
                  <a:srgbClr val="000000"/>
                </a:solidFill>
                <a:effectLst/>
                <a:uLnTx/>
                <a:uFillTx/>
                <a:latin typeface="Segoe UI Semibold"/>
                <a:ea typeface="+mn-ea"/>
                <a:cs typeface="Segoe UI" pitchFamily="34" charset="0"/>
              </a:rPr>
              <a:t>AI Use Cases Define</a:t>
            </a:r>
          </a:p>
        </p:txBody>
      </p:sp>
      <p:sp>
        <p:nvSpPr>
          <p:cNvPr id="3" name="Rectangle 2">
            <a:extLst>
              <a:ext uri="{FF2B5EF4-FFF2-40B4-BE49-F238E27FC236}">
                <a16:creationId xmlns:a16="http://schemas.microsoft.com/office/drawing/2014/main" id="{BA00EAC9-804C-3F99-DB92-1E430FC3D793}"/>
              </a:ext>
              <a:ext uri="{C183D7F6-B498-43B3-948B-1728B52AA6E4}">
                <adec:decorative xmlns:adec="http://schemas.microsoft.com/office/drawing/2017/decorative" val="1"/>
              </a:ext>
            </a:extLst>
          </p:cNvPr>
          <p:cNvSpPr/>
          <p:nvPr/>
        </p:nvSpPr>
        <p:spPr bwMode="auto">
          <a:xfrm>
            <a:off x="0" y="435678"/>
            <a:ext cx="12192000" cy="109576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 name="Titel 1">
            <a:extLst>
              <a:ext uri="{FF2B5EF4-FFF2-40B4-BE49-F238E27FC236}">
                <a16:creationId xmlns:a16="http://schemas.microsoft.com/office/drawing/2014/main" id="{5B37C216-2900-617A-3A68-E8C71F39D530}"/>
              </a:ext>
            </a:extLst>
          </p:cNvPr>
          <p:cNvSpPr txBox="1">
            <a:spLocks/>
          </p:cNvSpPr>
          <p:nvPr/>
        </p:nvSpPr>
        <p:spPr>
          <a:xfrm>
            <a:off x="588262" y="534069"/>
            <a:ext cx="8658247" cy="184666"/>
          </a:xfrm>
          <a:prstGeom prst="rect">
            <a:avLst/>
          </a:prstGeom>
        </p:spPr>
        <p:txBody>
          <a:bodyPr vert="horz" wrap="square" lIns="0" tIns="0" rIns="0" bIns="0" rtlCol="0" anchor="ctr">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200" b="0" i="0" u="none" strike="noStrike" kern="1200" cap="none" spc="0" normalizeH="0" baseline="0" noProof="0">
                <a:ln w="3175">
                  <a:noFill/>
                </a:ln>
                <a:solidFill>
                  <a:srgbClr val="000000"/>
                </a:solidFill>
                <a:effectLst/>
                <a:uLnTx/>
                <a:uFillTx/>
                <a:latin typeface="Segoe UI Semibold"/>
                <a:ea typeface="+mn-ea"/>
                <a:cs typeface="Segoe UI" pitchFamily="34" charset="0"/>
              </a:rPr>
              <a:t>Use case name:</a:t>
            </a:r>
          </a:p>
        </p:txBody>
      </p:sp>
      <p:sp>
        <p:nvSpPr>
          <p:cNvPr id="5" name="Textplatzhalter 2">
            <a:extLst>
              <a:ext uri="{FF2B5EF4-FFF2-40B4-BE49-F238E27FC236}">
                <a16:creationId xmlns:a16="http://schemas.microsoft.com/office/drawing/2014/main" id="{DE51592C-CAA7-B67B-6B4B-B8A4FF036D7C}"/>
              </a:ext>
            </a:extLst>
          </p:cNvPr>
          <p:cNvSpPr txBox="1">
            <a:spLocks/>
          </p:cNvSpPr>
          <p:nvPr/>
        </p:nvSpPr>
        <p:spPr>
          <a:xfrm>
            <a:off x="588263" y="759589"/>
            <a:ext cx="5117378" cy="215444"/>
          </a:xfrm>
          <a:prstGeom prst="rect">
            <a:avLst/>
          </a:prstGeom>
        </p:spPr>
        <p:txBody>
          <a:bodyPr lIns="0" tIns="0" rIns="0" bIns="0" anchor="ct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Department: </a:t>
            </a:r>
          </a:p>
        </p:txBody>
      </p:sp>
      <p:sp>
        <p:nvSpPr>
          <p:cNvPr id="6" name="Textplatzhalter 2">
            <a:extLst>
              <a:ext uri="{FF2B5EF4-FFF2-40B4-BE49-F238E27FC236}">
                <a16:creationId xmlns:a16="http://schemas.microsoft.com/office/drawing/2014/main" id="{2D4AA423-3263-4CF7-B023-3A201ED156C9}"/>
              </a:ext>
            </a:extLst>
          </p:cNvPr>
          <p:cNvSpPr txBox="1">
            <a:spLocks/>
          </p:cNvSpPr>
          <p:nvPr/>
        </p:nvSpPr>
        <p:spPr>
          <a:xfrm>
            <a:off x="6503121" y="763208"/>
            <a:ext cx="5117378" cy="215444"/>
          </a:xfrm>
          <a:prstGeom prst="rect">
            <a:avLst/>
          </a:prstGeom>
        </p:spPr>
        <p:txBody>
          <a:bodyPr lIns="0" tIns="0" rIns="0" bIns="0"/>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Internal or external use:</a:t>
            </a:r>
          </a:p>
        </p:txBody>
      </p:sp>
      <p:sp>
        <p:nvSpPr>
          <p:cNvPr id="7" name="Oval 32">
            <a:extLst>
              <a:ext uri="{FF2B5EF4-FFF2-40B4-BE49-F238E27FC236}">
                <a16:creationId xmlns:a16="http://schemas.microsoft.com/office/drawing/2014/main" id="{D465B900-850F-258D-196D-3FCCC3835DF5}"/>
              </a:ext>
              <a:ext uri="{C183D7F6-B498-43B3-948B-1728B52AA6E4}">
                <adec:decorative xmlns:adec="http://schemas.microsoft.com/office/drawing/2017/decorative" val="1"/>
              </a:ext>
            </a:extLst>
          </p:cNvPr>
          <p:cNvSpPr/>
          <p:nvPr/>
        </p:nvSpPr>
        <p:spPr bwMode="auto">
          <a:xfrm>
            <a:off x="557785" y="1054552"/>
            <a:ext cx="11048998" cy="5803448"/>
          </a:xfrm>
          <a:prstGeom prst="rect">
            <a:avLst/>
          </a:prstGeom>
          <a:solidFill>
            <a:srgbClr val="FFFFFF">
              <a:lumMod val="95000"/>
            </a:srgbClr>
          </a:solidFill>
          <a:ln w="9525" cap="flat" cmpd="sng" algn="ctr">
            <a:noFill/>
            <a:prstDash val="solid"/>
            <a:headEnd type="none" w="med" len="med"/>
            <a:tailEnd type="none" w="med" len="med"/>
          </a:ln>
          <a:effectLst>
            <a:outerShdw blurRad="584200" dist="38100" dir="3960000" sx="102000" sy="102000" algn="tl" rotWithShape="0">
              <a:prstClr val="black">
                <a:alpha val="1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8" name="Donut 7">
            <a:extLst>
              <a:ext uri="{FF2B5EF4-FFF2-40B4-BE49-F238E27FC236}">
                <a16:creationId xmlns:a16="http://schemas.microsoft.com/office/drawing/2014/main" id="{83839F00-EE58-9A5D-D28C-5085A434BE72}"/>
              </a:ext>
            </a:extLst>
          </p:cNvPr>
          <p:cNvSpPr/>
          <p:nvPr/>
        </p:nvSpPr>
        <p:spPr bwMode="auto">
          <a:xfrm>
            <a:off x="709426" y="1122072"/>
            <a:ext cx="10773151" cy="273589"/>
          </a:xfrm>
          <a:prstGeom prst="rect">
            <a:avLst/>
          </a:prstGeom>
          <a:solidFill>
            <a:schemeClr val="accent4"/>
          </a:solidFill>
          <a:ln w="5992"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a:ea typeface="+mn-ea"/>
                <a:cs typeface="+mn-cs"/>
              </a:rPr>
              <a:t>Business Requirement OKRs</a:t>
            </a:r>
          </a:p>
        </p:txBody>
      </p:sp>
      <p:sp>
        <p:nvSpPr>
          <p:cNvPr id="13" name="Rectangle 12">
            <a:extLst>
              <a:ext uri="{FF2B5EF4-FFF2-40B4-BE49-F238E27FC236}">
                <a16:creationId xmlns:a16="http://schemas.microsoft.com/office/drawing/2014/main" id="{4D147FF6-9A68-2382-67C5-524DFCC68B82}"/>
              </a:ext>
            </a:extLst>
          </p:cNvPr>
          <p:cNvSpPr>
            <a:spLocks/>
          </p:cNvSpPr>
          <p:nvPr/>
        </p:nvSpPr>
        <p:spPr bwMode="auto">
          <a:xfrm>
            <a:off x="665018" y="1471561"/>
            <a:ext cx="5040623" cy="5266638"/>
          </a:xfrm>
          <a:prstGeom prst="rect">
            <a:avLst/>
          </a:prstGeom>
          <a:solidFill>
            <a:schemeClr val="bg1">
              <a:alpha val="9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mn-ea"/>
                <a:cs typeface="+mn-cs"/>
              </a:rPr>
              <a:t>Business Requirement OKRs</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000" b="0" i="0" u="none" strike="noStrike" kern="1200" cap="none" spc="0" normalizeH="0" baseline="0" noProof="0">
                <a:ln>
                  <a:noFill/>
                </a:ln>
                <a:solidFill>
                  <a:srgbClr val="000000">
                    <a:lumMod val="65000"/>
                    <a:lumOff val="35000"/>
                  </a:srgbClr>
                </a:solidFill>
                <a:effectLst/>
                <a:uLnTx/>
                <a:uFillTx/>
                <a:latin typeface="Segoe UI"/>
                <a:ea typeface="+mn-ea"/>
                <a:cs typeface="+mn-cs"/>
              </a:rPr>
              <a:t>List out for the use case, the Business Requirements (each with 2-3 Objectives and each Objective with 2-3 Key Results):</a:t>
            </a:r>
          </a:p>
          <a:p>
            <a:pPr marL="0" marR="0" lvl="0" indent="0" algn="l" defTabSz="914400" rtl="0" eaLnBrk="1" fontAlgn="auto" latinLnBrk="0" hangingPunct="1">
              <a:lnSpc>
                <a:spcPct val="100000"/>
              </a:lnSpc>
              <a:spcBef>
                <a:spcPts val="0"/>
              </a:spcBef>
              <a:spcAft>
                <a:spcPts val="200"/>
              </a:spcAft>
              <a:buClrTx/>
              <a:buSzTx/>
              <a:buFontTx/>
              <a:buNone/>
              <a:tabLst/>
              <a:defRPr/>
            </a:pPr>
            <a:endParaRPr lang="en-US" sz="1000">
              <a:solidFill>
                <a:srgbClr val="000000">
                  <a:lumMod val="65000"/>
                  <a:lumOff val="35000"/>
                </a:srgbClr>
              </a:solidFill>
              <a:latin typeface="Segoe UI"/>
            </a:endParaRPr>
          </a:p>
        </p:txBody>
      </p:sp>
      <p:sp>
        <p:nvSpPr>
          <p:cNvPr id="10" name="Rectangle 9">
            <a:extLst>
              <a:ext uri="{FF2B5EF4-FFF2-40B4-BE49-F238E27FC236}">
                <a16:creationId xmlns:a16="http://schemas.microsoft.com/office/drawing/2014/main" id="{D551B71C-51CC-756A-60F4-18DEC40585E6}"/>
              </a:ext>
            </a:extLst>
          </p:cNvPr>
          <p:cNvSpPr>
            <a:spLocks/>
          </p:cNvSpPr>
          <p:nvPr/>
        </p:nvSpPr>
        <p:spPr bwMode="auto">
          <a:xfrm>
            <a:off x="5812874" y="1471561"/>
            <a:ext cx="5040623" cy="5266638"/>
          </a:xfrm>
          <a:prstGeom prst="rect">
            <a:avLst/>
          </a:prstGeom>
          <a:solidFill>
            <a:schemeClr val="bg1">
              <a:alpha val="9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mn-ea"/>
                <a:cs typeface="+mn-cs"/>
              </a:rPr>
              <a:t>Business Requirement OKRs (cont.)</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000" b="0" i="0" u="none" strike="noStrike" kern="1200" cap="none" spc="0" normalizeH="0" baseline="0" noProof="0">
                <a:ln>
                  <a:noFill/>
                </a:ln>
                <a:solidFill>
                  <a:srgbClr val="000000">
                    <a:lumMod val="65000"/>
                    <a:lumOff val="35000"/>
                  </a:srgbClr>
                </a:solidFill>
                <a:effectLst/>
                <a:uLnTx/>
                <a:uFillTx/>
                <a:latin typeface="Segoe UI"/>
                <a:ea typeface="+mn-ea"/>
                <a:cs typeface="+mn-cs"/>
              </a:rPr>
              <a:t>Continue…</a:t>
            </a:r>
          </a:p>
        </p:txBody>
      </p:sp>
    </p:spTree>
    <p:extLst>
      <p:ext uri="{BB962C8B-B14F-4D97-AF65-F5344CB8AC3E}">
        <p14:creationId xmlns:p14="http://schemas.microsoft.com/office/powerpoint/2010/main" val="3273239441"/>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0BC9E6-1379-23D9-B2D3-F8C0B2869678}"/>
              </a:ext>
            </a:extLst>
          </p:cNvPr>
          <p:cNvSpPr>
            <a:spLocks noGrp="1"/>
          </p:cNvSpPr>
          <p:nvPr>
            <p:ph type="title"/>
          </p:nvPr>
        </p:nvSpPr>
        <p:spPr/>
        <p:txBody>
          <a:bodyPr/>
          <a:lstStyle/>
          <a:p>
            <a:r>
              <a:rPr lang="en-US" dirty="0"/>
              <a:t>Example of Completed AI Use Case Define Templates </a:t>
            </a:r>
            <a:br>
              <a:rPr lang="en-US" dirty="0"/>
            </a:br>
            <a:r>
              <a:rPr lang="en-US" sz="2400" dirty="0"/>
              <a:t>(following the AI Use Cases Discovery sessions)</a:t>
            </a:r>
            <a:endParaRPr lang="en-US" dirty="0"/>
          </a:p>
        </p:txBody>
      </p:sp>
    </p:spTree>
    <p:extLst>
      <p:ext uri="{BB962C8B-B14F-4D97-AF65-F5344CB8AC3E}">
        <p14:creationId xmlns:p14="http://schemas.microsoft.com/office/powerpoint/2010/main" val="3927695548"/>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A00EAC9-804C-3F99-DB92-1E430FC3D793}"/>
              </a:ext>
              <a:ext uri="{C183D7F6-B498-43B3-948B-1728B52AA6E4}">
                <adec:decorative xmlns:adec="http://schemas.microsoft.com/office/drawing/2017/decorative" val="1"/>
              </a:ext>
            </a:extLst>
          </p:cNvPr>
          <p:cNvSpPr/>
          <p:nvPr/>
        </p:nvSpPr>
        <p:spPr bwMode="auto">
          <a:xfrm>
            <a:off x="0" y="-1806"/>
            <a:ext cx="12192000" cy="853975"/>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 name="Title 61">
            <a:extLst>
              <a:ext uri="{FF2B5EF4-FFF2-40B4-BE49-F238E27FC236}">
                <a16:creationId xmlns:a16="http://schemas.microsoft.com/office/drawing/2014/main" id="{41D7FB24-6AD6-DB9E-FFCD-588F980E8F47}"/>
              </a:ext>
            </a:extLst>
          </p:cNvPr>
          <p:cNvSpPr txBox="1">
            <a:spLocks/>
          </p:cNvSpPr>
          <p:nvPr/>
        </p:nvSpPr>
        <p:spPr>
          <a:xfrm>
            <a:off x="73478" y="-1806"/>
            <a:ext cx="4338176" cy="373100"/>
          </a:xfrm>
          <a:prstGeom prst="rect">
            <a:avLst/>
          </a:prstGeom>
        </p:spPr>
        <p:txBody>
          <a:bodyPr/>
          <a:lstStyle>
            <a:lvl1pPr algn="l" defTabSz="932742" rtl="0" eaLnBrk="1" latinLnBrk="0" hangingPunct="1">
              <a:lnSpc>
                <a:spcPct val="100000"/>
              </a:lnSpc>
              <a:spcBef>
                <a:spcPct val="0"/>
              </a:spcBef>
              <a:buNone/>
              <a:defRPr lang="en-US" sz="2000" b="0" kern="1200" cap="none" spc="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dirty="0">
                <a:ln w="3175">
                  <a:noFill/>
                </a:ln>
                <a:solidFill>
                  <a:schemeClr val="bg1"/>
                </a:solidFill>
                <a:effectLst/>
                <a:uLnTx/>
                <a:uFillTx/>
                <a:latin typeface="Aptos SemiBold"/>
                <a:ea typeface="+mn-ea"/>
                <a:cs typeface="Segoe UI" pitchFamily="34" charset="0"/>
              </a:rPr>
              <a:t>AI Use Cases Define</a:t>
            </a:r>
          </a:p>
        </p:txBody>
      </p:sp>
      <p:sp>
        <p:nvSpPr>
          <p:cNvPr id="4" name="Titel 1">
            <a:extLst>
              <a:ext uri="{FF2B5EF4-FFF2-40B4-BE49-F238E27FC236}">
                <a16:creationId xmlns:a16="http://schemas.microsoft.com/office/drawing/2014/main" id="{5B37C216-2900-617A-3A68-E8C71F39D530}"/>
              </a:ext>
            </a:extLst>
          </p:cNvPr>
          <p:cNvSpPr txBox="1">
            <a:spLocks/>
          </p:cNvSpPr>
          <p:nvPr/>
        </p:nvSpPr>
        <p:spPr>
          <a:xfrm>
            <a:off x="73480" y="375546"/>
            <a:ext cx="3829050" cy="184666"/>
          </a:xfrm>
          <a:prstGeom prst="rect">
            <a:avLst/>
          </a:prstGeom>
        </p:spPr>
        <p:txBody>
          <a:bodyPr vert="horz" wrap="square" lIns="0" tIns="0" rIns="0" bIns="0" rtlCol="0" anchor="ctr">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200" b="0" i="0" u="none" strike="noStrike" kern="1200" cap="none" spc="0" normalizeH="0" baseline="0" noProof="0">
                <a:ln w="3175">
                  <a:noFill/>
                </a:ln>
                <a:solidFill>
                  <a:schemeClr val="bg1"/>
                </a:solidFill>
                <a:effectLst/>
                <a:uLnTx/>
                <a:uFillTx/>
                <a:latin typeface="Segoe UI Semibold"/>
                <a:ea typeface="+mn-ea"/>
                <a:cs typeface="Segoe UI" pitchFamily="34" charset="0"/>
              </a:rPr>
              <a:t>Customer: (Contoso Health)</a:t>
            </a:r>
          </a:p>
        </p:txBody>
      </p:sp>
      <p:sp>
        <p:nvSpPr>
          <p:cNvPr id="12" name="Rectangle 11">
            <a:extLst>
              <a:ext uri="{FF2B5EF4-FFF2-40B4-BE49-F238E27FC236}">
                <a16:creationId xmlns:a16="http://schemas.microsoft.com/office/drawing/2014/main" id="{7E4DAA95-4C9C-9A19-1109-321975AA169F}"/>
              </a:ext>
            </a:extLst>
          </p:cNvPr>
          <p:cNvSpPr>
            <a:spLocks/>
          </p:cNvSpPr>
          <p:nvPr/>
        </p:nvSpPr>
        <p:spPr bwMode="auto">
          <a:xfrm>
            <a:off x="73478" y="856422"/>
            <a:ext cx="11825371" cy="1088556"/>
          </a:xfrm>
          <a:prstGeom prst="rect">
            <a:avLst/>
          </a:prstGeom>
          <a:solidFill>
            <a:schemeClr val="bg1">
              <a:alpha val="99000"/>
            </a:schemeClr>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400">
              <a:spcAft>
                <a:spcPts val="200"/>
              </a:spcAft>
              <a:defRPr/>
            </a:pPr>
            <a:r>
              <a:rPr kumimoji="0" lang="en-US" sz="900" b="1" i="0" u="none" strike="noStrike" kern="1200" cap="none" spc="0" normalizeH="0" baseline="0" noProof="0">
                <a:ln>
                  <a:noFill/>
                </a:ln>
                <a:solidFill>
                  <a:srgbClr val="000000"/>
                </a:solidFill>
                <a:effectLst/>
                <a:uLnTx/>
                <a:uFillTx/>
                <a:latin typeface="Aptos"/>
                <a:ea typeface="+mn-ea"/>
                <a:cs typeface="+mn-cs"/>
              </a:rPr>
              <a:t>Business Scenario (Customer Experience Improvement):</a:t>
            </a:r>
            <a:r>
              <a:rPr kumimoji="0" lang="en-US" sz="900" i="0" u="none" strike="noStrike" kern="1200" cap="none" spc="0" normalizeH="0" baseline="0" noProof="0">
                <a:ln>
                  <a:noFill/>
                </a:ln>
                <a:solidFill>
                  <a:srgbClr val="000000"/>
                </a:solidFill>
                <a:effectLst/>
                <a:uLnTx/>
                <a:uFillTx/>
                <a:latin typeface="Aptos"/>
                <a:ea typeface="+mn-ea"/>
                <a:cs typeface="+mn-cs"/>
              </a:rPr>
              <a:t> Increased revenue generation by ensuring optimal pricing for Oso One IFP insurance plans is available to potential clients on the marketplace annually.</a:t>
            </a:r>
            <a:r>
              <a:rPr lang="en-US" sz="900">
                <a:solidFill>
                  <a:srgbClr val="000000"/>
                </a:solidFill>
                <a:latin typeface="Aptos"/>
              </a:rPr>
              <a:t> </a:t>
            </a:r>
            <a:r>
              <a:rPr kumimoji="0" lang="en-US" sz="900" i="0" u="none" strike="noStrike" kern="1200" cap="none" spc="0" normalizeH="0" baseline="0" noProof="0">
                <a:ln>
                  <a:noFill/>
                </a:ln>
                <a:solidFill>
                  <a:srgbClr val="000000"/>
                </a:solidFill>
                <a:effectLst/>
                <a:uLnTx/>
                <a:uFillTx/>
                <a:latin typeface="Aptos"/>
                <a:ea typeface="+mn-ea"/>
                <a:cs typeface="+mn-cs"/>
              </a:rPr>
              <a:t> Currently analysts manually review and ingest competitor data which is very costly and time consuming</a:t>
            </a:r>
            <a:r>
              <a:rPr lang="en-US" sz="900">
                <a:solidFill>
                  <a:srgbClr val="000000"/>
                </a:solidFill>
                <a:latin typeface="Aptos"/>
              </a:rPr>
              <a:t>.</a:t>
            </a:r>
            <a:endParaRPr lang="en-US" sz="900" b="0" i="0" u="none" strike="noStrike" kern="1200" cap="none" spc="0" normalizeH="0" baseline="0" noProof="0">
              <a:ln>
                <a:noFill/>
              </a:ln>
              <a:solidFill>
                <a:srgbClr val="000000"/>
              </a:solidFill>
              <a:effectLst/>
              <a:uLnTx/>
              <a:uFillTx/>
              <a:latin typeface="Aptos"/>
            </a:endParaRPr>
          </a:p>
        </p:txBody>
      </p:sp>
      <p:sp>
        <p:nvSpPr>
          <p:cNvPr id="14" name="Rectangle 13">
            <a:extLst>
              <a:ext uri="{FF2B5EF4-FFF2-40B4-BE49-F238E27FC236}">
                <a16:creationId xmlns:a16="http://schemas.microsoft.com/office/drawing/2014/main" id="{109D627E-2FA0-199A-D1E7-A0053D8962AD}"/>
              </a:ext>
            </a:extLst>
          </p:cNvPr>
          <p:cNvSpPr>
            <a:spLocks/>
          </p:cNvSpPr>
          <p:nvPr/>
        </p:nvSpPr>
        <p:spPr bwMode="auto">
          <a:xfrm>
            <a:off x="73478" y="3045818"/>
            <a:ext cx="4051956" cy="3678637"/>
          </a:xfrm>
          <a:prstGeom prst="rect">
            <a:avLst/>
          </a:prstGeom>
          <a:solidFill>
            <a:schemeClr val="bg1">
              <a:alpha val="99000"/>
            </a:schemeClr>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US" sz="1000" b="1" i="0" u="none" strike="noStrike" kern="1200" cap="none" spc="0" normalizeH="0" baseline="0" noProof="0">
                <a:ln>
                  <a:noFill/>
                </a:ln>
                <a:solidFill>
                  <a:srgbClr val="000000">
                    <a:lumMod val="65000"/>
                    <a:lumOff val="35000"/>
                  </a:srgbClr>
                </a:solidFill>
                <a:effectLst/>
                <a:uLnTx/>
                <a:uFillTx/>
                <a:latin typeface="Aptos"/>
                <a:ea typeface="+mn-ea"/>
                <a:cs typeface="+mn-cs"/>
              </a:rPr>
              <a:t>Business Use Case</a:t>
            </a:r>
          </a:p>
          <a:p>
            <a:pPr marL="0" marR="0" lvl="0" indent="0" algn="l" defTabSz="914400" rtl="0" eaLnBrk="1" fontAlgn="auto" latinLnBrk="0" hangingPunct="1">
              <a:lnSpc>
                <a:spcPct val="100000"/>
              </a:lnSpc>
              <a:spcBef>
                <a:spcPts val="0"/>
              </a:spcBef>
              <a:spcAft>
                <a:spcPts val="200"/>
              </a:spcAft>
              <a:buClrTx/>
              <a:buSzTx/>
              <a:buFontTx/>
              <a:buNone/>
              <a:tabLst/>
              <a:defRPr/>
            </a:pPr>
            <a:r>
              <a:rPr lang="en-US" sz="1000">
                <a:solidFill>
                  <a:srgbClr val="000000">
                    <a:lumMod val="65000"/>
                    <a:lumOff val="35000"/>
                  </a:srgbClr>
                </a:solidFill>
                <a:latin typeface="Aptos"/>
              </a:rPr>
              <a:t>Competitor Data Processing Time: This KPI measures the time taken to review and ingest competitor data. A decrease in this KPI would indicate an improvement in the process.</a:t>
            </a:r>
          </a:p>
        </p:txBody>
      </p:sp>
      <p:sp>
        <p:nvSpPr>
          <p:cNvPr id="13" name="Textplatzhalter 2">
            <a:extLst>
              <a:ext uri="{FF2B5EF4-FFF2-40B4-BE49-F238E27FC236}">
                <a16:creationId xmlns:a16="http://schemas.microsoft.com/office/drawing/2014/main" id="{486EDFAD-DC1B-4196-2B7F-9A3CCC9A2284}"/>
              </a:ext>
            </a:extLst>
          </p:cNvPr>
          <p:cNvSpPr txBox="1">
            <a:spLocks/>
          </p:cNvSpPr>
          <p:nvPr/>
        </p:nvSpPr>
        <p:spPr>
          <a:xfrm>
            <a:off x="4959803" y="133545"/>
            <a:ext cx="4192361" cy="373100"/>
          </a:xfrm>
          <a:prstGeom prst="rect">
            <a:avLst/>
          </a:prstGeom>
        </p:spPr>
        <p:txBody>
          <a:bodyPr lIns="0" tIns="0" rIns="0" bIns="0" anchor="t"/>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000" b="0" i="0" u="none" strike="noStrike" kern="1200" cap="none" spc="0" normalizeH="0" baseline="0" noProof="0">
                <a:ln>
                  <a:noFill/>
                </a:ln>
                <a:solidFill>
                  <a:schemeClr val="bg1"/>
                </a:solidFill>
                <a:effectLst/>
                <a:uLnTx/>
                <a:uFillTx/>
                <a:latin typeface="Segoe UI Semibold"/>
                <a:ea typeface="+mn-ea"/>
                <a:cs typeface="Segoe UI" panose="020B0502040204020203" pitchFamily="34" charset="0"/>
              </a:rPr>
              <a:t>Aligned Strategic Priority:</a:t>
            </a:r>
          </a:p>
        </p:txBody>
      </p:sp>
      <p:sp>
        <p:nvSpPr>
          <p:cNvPr id="6" name="Titel 1">
            <a:extLst>
              <a:ext uri="{FF2B5EF4-FFF2-40B4-BE49-F238E27FC236}">
                <a16:creationId xmlns:a16="http://schemas.microsoft.com/office/drawing/2014/main" id="{2463B6BF-33B1-FF20-7E85-A922598DAD45}"/>
              </a:ext>
            </a:extLst>
          </p:cNvPr>
          <p:cNvSpPr txBox="1">
            <a:spLocks/>
          </p:cNvSpPr>
          <p:nvPr/>
        </p:nvSpPr>
        <p:spPr>
          <a:xfrm>
            <a:off x="73478" y="631203"/>
            <a:ext cx="8018961" cy="184666"/>
          </a:xfrm>
          <a:prstGeom prst="rect">
            <a:avLst/>
          </a:prstGeom>
        </p:spPr>
        <p:txBody>
          <a:bodyPr vert="horz" wrap="square" lIns="0" tIns="0" rIns="0" bIns="0" rtlCol="0" anchor="ctr">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200" b="0" i="0" u="none" strike="noStrike" kern="1200" cap="none" spc="0" normalizeH="0" baseline="0" noProof="0">
                <a:ln w="3175">
                  <a:noFill/>
                </a:ln>
                <a:solidFill>
                  <a:schemeClr val="bg1"/>
                </a:solidFill>
                <a:effectLst/>
                <a:uLnTx/>
                <a:uFillTx/>
                <a:latin typeface="Segoe UI Semibold"/>
                <a:ea typeface="+mn-ea"/>
                <a:cs typeface="Segoe UI" pitchFamily="34" charset="0"/>
              </a:rPr>
              <a:t>Business Process Challenge: (Need to understand, anticipate and proactively respond to competitor pricing action)</a:t>
            </a:r>
          </a:p>
        </p:txBody>
      </p:sp>
      <p:sp>
        <p:nvSpPr>
          <p:cNvPr id="7" name="Rectangle 6">
            <a:extLst>
              <a:ext uri="{FF2B5EF4-FFF2-40B4-BE49-F238E27FC236}">
                <a16:creationId xmlns:a16="http://schemas.microsoft.com/office/drawing/2014/main" id="{B1237E84-B520-ABA9-DB4B-1E40F9D3A87C}"/>
              </a:ext>
            </a:extLst>
          </p:cNvPr>
          <p:cNvSpPr>
            <a:spLocks/>
          </p:cNvSpPr>
          <p:nvPr/>
        </p:nvSpPr>
        <p:spPr bwMode="auto">
          <a:xfrm>
            <a:off x="78359" y="1974131"/>
            <a:ext cx="11820489" cy="1042534"/>
          </a:xfrm>
          <a:prstGeom prst="rect">
            <a:avLst/>
          </a:prstGeom>
          <a:solidFill>
            <a:schemeClr val="bg1">
              <a:alpha val="99000"/>
            </a:schemeClr>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000000"/>
                </a:solidFill>
                <a:effectLst/>
                <a:uLnTx/>
                <a:uFillTx/>
                <a:latin typeface="Aptos"/>
                <a:ea typeface="+mn-ea"/>
                <a:cs typeface="+mn-cs"/>
              </a:rPr>
              <a:t>Underlying Problems to Address:  </a:t>
            </a:r>
            <a:r>
              <a:rPr kumimoji="0" lang="en-US" sz="900" b="0" i="0" u="none" strike="noStrike" kern="1200" cap="none" spc="0" normalizeH="0" baseline="0" noProof="0">
                <a:ln>
                  <a:noFill/>
                </a:ln>
                <a:solidFill>
                  <a:srgbClr val="000000">
                    <a:lumMod val="65000"/>
                    <a:lumOff val="35000"/>
                  </a:srgbClr>
                </a:solidFill>
                <a:effectLst/>
                <a:uLnTx/>
                <a:uFillTx/>
                <a:latin typeface="Aptos"/>
                <a:ea typeface="+mn-ea"/>
                <a:cs typeface="+mn-cs"/>
              </a:rPr>
              <a:t>Problem Statement: Contoso Health is currently facing a challenge in its pricing strategy for Oso One Individual and Family Plan (IFP) insurance plans. The process of ensuring optimal pricing for these plans on the marketplace is manual, time-consuming, and costly. Analysts have to manually review and ingest competitor data, which not only slows down the process but also increases the chances of human error. This could potentially lead to sub-optimal pricing, affecting the competitiveness of Oso One IFP insurance plans in the market and ultimately impacting Contoso Health’s revenue generation.</a:t>
            </a:r>
          </a:p>
        </p:txBody>
      </p:sp>
      <p:sp>
        <p:nvSpPr>
          <p:cNvPr id="9" name="Rectangle 8">
            <a:extLst>
              <a:ext uri="{FF2B5EF4-FFF2-40B4-BE49-F238E27FC236}">
                <a16:creationId xmlns:a16="http://schemas.microsoft.com/office/drawing/2014/main" id="{35F1ACD0-AFD3-CAD8-0CD1-AFB6B8F1B089}"/>
              </a:ext>
            </a:extLst>
          </p:cNvPr>
          <p:cNvSpPr>
            <a:spLocks/>
          </p:cNvSpPr>
          <p:nvPr/>
        </p:nvSpPr>
        <p:spPr bwMode="auto">
          <a:xfrm>
            <a:off x="4263939" y="3045818"/>
            <a:ext cx="7634909" cy="3601171"/>
          </a:xfrm>
          <a:prstGeom prst="rect">
            <a:avLst/>
          </a:prstGeom>
          <a:solidFill>
            <a:schemeClr val="bg1">
              <a:alpha val="99000"/>
            </a:schemeClr>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US" sz="1000" b="1" i="0" u="none" strike="noStrike" kern="1200" cap="none" spc="0" normalizeH="0" baseline="0" noProof="0">
                <a:ln>
                  <a:noFill/>
                </a:ln>
                <a:solidFill>
                  <a:srgbClr val="000000">
                    <a:lumMod val="65000"/>
                    <a:lumOff val="35000"/>
                  </a:srgbClr>
                </a:solidFill>
                <a:effectLst/>
                <a:uLnTx/>
                <a:uFillTx/>
                <a:latin typeface="Aptos"/>
                <a:ea typeface="+mn-ea"/>
                <a:cs typeface="+mn-cs"/>
              </a:rPr>
              <a:t>Business Requirements</a:t>
            </a: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endParaRPr kumimoji="0" lang="en-US" sz="1000" b="1" i="0" u="none" strike="noStrike" kern="1200" cap="none" spc="0" normalizeH="0" baseline="0" noProof="0">
              <a:ln>
                <a:noFill/>
              </a:ln>
              <a:solidFill>
                <a:srgbClr val="000000">
                  <a:lumMod val="65000"/>
                  <a:lumOff val="35000"/>
                </a:srgbClr>
              </a:solidFill>
              <a:effectLst/>
              <a:uLnTx/>
              <a:uFillTx/>
              <a:latin typeface="Aptos"/>
              <a:ea typeface="+mn-ea"/>
              <a:cs typeface="+mn-cs"/>
            </a:endParaRP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US" sz="1000" b="1" i="0" u="none" strike="noStrike" kern="1200" cap="none" spc="0" normalizeH="0" baseline="0" noProof="0">
                <a:ln>
                  <a:noFill/>
                </a:ln>
                <a:solidFill>
                  <a:srgbClr val="000000">
                    <a:lumMod val="65000"/>
                    <a:lumOff val="35000"/>
                  </a:srgbClr>
                </a:solidFill>
                <a:effectLst/>
                <a:uLnTx/>
                <a:uFillTx/>
                <a:latin typeface="Aptos"/>
                <a:ea typeface="+mn-ea"/>
                <a:cs typeface="+mn-cs"/>
              </a:rPr>
              <a:t>Business Requirements for the “Market Trend Analysis” use case</a:t>
            </a:r>
            <a:r>
              <a:rPr kumimoji="0" lang="en-US" sz="1000" b="0" i="0" u="none" strike="noStrike" kern="1200" cap="none" spc="0" normalizeH="0" baseline="0" noProof="0">
                <a:ln>
                  <a:noFill/>
                </a:ln>
                <a:solidFill>
                  <a:srgbClr val="000000">
                    <a:lumMod val="65000"/>
                    <a:lumOff val="35000"/>
                  </a:srgbClr>
                </a:solidFill>
                <a:effectLst/>
                <a:uLnTx/>
                <a:uFillTx/>
                <a:latin typeface="Aptos"/>
                <a:ea typeface="+mn-ea"/>
                <a:cs typeface="+mn-cs"/>
              </a:rPr>
              <a:t>:</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lumMod val="65000"/>
                    <a:lumOff val="35000"/>
                  </a:srgbClr>
                </a:solidFill>
                <a:effectLst/>
                <a:uLnTx/>
                <a:uFillTx/>
                <a:latin typeface="Aptos"/>
                <a:ea typeface="+mn-ea"/>
                <a:cs typeface="+mn-cs"/>
              </a:rPr>
              <a:t>Market Trend Analysis Algorithm: Develop an AI algorithm that can analyze market trends and predict future pricing strategies of competitors.</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lumMod val="65000"/>
                    <a:lumOff val="35000"/>
                  </a:srgbClr>
                </a:solidFill>
                <a:effectLst/>
                <a:uLnTx/>
                <a:uFillTx/>
                <a:latin typeface="Aptos"/>
                <a:ea typeface="+mn-ea"/>
                <a:cs typeface="+mn-cs"/>
              </a:rPr>
              <a:t>Real-Time Market Data Processing: The system should be capable of processing real-time market data to enable accurate trend analysis.</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lumMod val="65000"/>
                    <a:lumOff val="35000"/>
                  </a:srgbClr>
                </a:solidFill>
                <a:effectLst/>
                <a:uLnTx/>
                <a:uFillTx/>
                <a:latin typeface="Aptos"/>
                <a:ea typeface="+mn-ea"/>
                <a:cs typeface="+mn-cs"/>
              </a:rPr>
              <a:t>Trend Visualization: Develop a user-friendly interface for analysts to visualize market trends and predicted pricing strategies.</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lumMod val="65000"/>
                    <a:lumOff val="35000"/>
                  </a:srgbClr>
                </a:solidFill>
                <a:effectLst/>
                <a:uLnTx/>
                <a:uFillTx/>
                <a:latin typeface="Aptos"/>
                <a:ea typeface="+mn-ea"/>
                <a:cs typeface="+mn-cs"/>
              </a:rPr>
              <a:t>Predictive Analysis: The system should provide predictive analysis on future market trends based on historical and current data.</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lumMod val="65000"/>
                    <a:lumOff val="35000"/>
                  </a:srgbClr>
                </a:solidFill>
                <a:effectLst/>
                <a:uLnTx/>
                <a:uFillTx/>
                <a:latin typeface="Aptos"/>
                <a:ea typeface="+mn-ea"/>
                <a:cs typeface="+mn-cs"/>
              </a:rPr>
              <a:t>Reporting and Analytics: The system should provide reports and analytics on the market trends and their potential impact on the pricing strategy.</a:t>
            </a: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endParaRPr lang="en-US" sz="1000">
              <a:solidFill>
                <a:srgbClr val="000000">
                  <a:lumMod val="65000"/>
                  <a:lumOff val="35000"/>
                </a:srgbClr>
              </a:solidFill>
              <a:latin typeface="Aptos"/>
            </a:endParaRPr>
          </a:p>
        </p:txBody>
      </p:sp>
    </p:spTree>
    <p:extLst>
      <p:ext uri="{BB962C8B-B14F-4D97-AF65-F5344CB8AC3E}">
        <p14:creationId xmlns:p14="http://schemas.microsoft.com/office/powerpoint/2010/main" val="107770869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CDBF66-58D9-ADC4-18FB-A9D60708A768}"/>
              </a:ext>
            </a:extLst>
          </p:cNvPr>
          <p:cNvSpPr>
            <a:spLocks noGrp="1"/>
          </p:cNvSpPr>
          <p:nvPr>
            <p:ph type="title"/>
          </p:nvPr>
        </p:nvSpPr>
        <p:spPr>
          <a:xfrm>
            <a:off x="588263" y="2917984"/>
            <a:ext cx="4167887" cy="615553"/>
          </a:xfrm>
        </p:spPr>
        <p:txBody>
          <a:bodyPr/>
          <a:lstStyle/>
          <a:p>
            <a:r>
              <a:rPr lang="en-US"/>
              <a:t>Contents</a:t>
            </a:r>
          </a:p>
        </p:txBody>
      </p:sp>
      <p:sp>
        <p:nvSpPr>
          <p:cNvPr id="3" name="Text Placeholder 2">
            <a:extLst>
              <a:ext uri="{FF2B5EF4-FFF2-40B4-BE49-F238E27FC236}">
                <a16:creationId xmlns:a16="http://schemas.microsoft.com/office/drawing/2014/main" id="{0196DA7C-B467-A9D3-921D-1BA744C69BC1}"/>
              </a:ext>
            </a:extLst>
          </p:cNvPr>
          <p:cNvSpPr>
            <a:spLocks noGrp="1"/>
          </p:cNvSpPr>
          <p:nvPr>
            <p:ph type="body" sz="quarter" idx="12"/>
          </p:nvPr>
        </p:nvSpPr>
        <p:spPr>
          <a:xfrm>
            <a:off x="588263" y="3677393"/>
            <a:ext cx="4589662" cy="1846659"/>
          </a:xfrm>
        </p:spPr>
        <p:txBody>
          <a:bodyPr/>
          <a:lstStyle/>
          <a:p>
            <a:pPr algn="l"/>
            <a:r>
              <a:rPr lang="en-US" sz="2400" dirty="0">
                <a:solidFill>
                  <a:schemeClr val="accent2"/>
                </a:solidFill>
              </a:rPr>
              <a:t>Discover Templates (</a:t>
            </a:r>
            <a:r>
              <a:rPr lang="en-US" sz="2400" dirty="0">
                <a:solidFill>
                  <a:schemeClr val="bg1"/>
                </a:solidFill>
                <a:hlinkClick r:id="rId2" action="ppaction://hlinksldjump"/>
              </a:rPr>
              <a:t>jump to</a:t>
            </a:r>
            <a:r>
              <a:rPr lang="en-US" sz="2400" dirty="0">
                <a:solidFill>
                  <a:schemeClr val="accent2"/>
                </a:solidFill>
              </a:rPr>
              <a:t>)</a:t>
            </a:r>
          </a:p>
          <a:p>
            <a:pPr algn="l"/>
            <a:endParaRPr lang="en-US" sz="2400" dirty="0">
              <a:solidFill>
                <a:schemeClr val="bg1"/>
              </a:solidFill>
            </a:endParaRPr>
          </a:p>
          <a:p>
            <a:pPr algn="l"/>
            <a:r>
              <a:rPr lang="en-US" sz="2400" dirty="0">
                <a:solidFill>
                  <a:schemeClr val="accent2"/>
                </a:solidFill>
              </a:rPr>
              <a:t>Define Templates (</a:t>
            </a:r>
            <a:r>
              <a:rPr lang="en-US" sz="2400" dirty="0">
                <a:solidFill>
                  <a:schemeClr val="bg1"/>
                </a:solidFill>
                <a:hlinkClick r:id="rId3" action="ppaction://hlinksldjump"/>
              </a:rPr>
              <a:t>jump to</a:t>
            </a:r>
            <a:r>
              <a:rPr lang="en-US" sz="2400" dirty="0">
                <a:solidFill>
                  <a:schemeClr val="accent2"/>
                </a:solidFill>
              </a:rPr>
              <a:t>)</a:t>
            </a:r>
          </a:p>
          <a:p>
            <a:pPr algn="l"/>
            <a:endParaRPr lang="en-US" sz="2400" dirty="0">
              <a:solidFill>
                <a:schemeClr val="bg1"/>
              </a:solidFill>
            </a:endParaRPr>
          </a:p>
          <a:p>
            <a:pPr algn="l"/>
            <a:r>
              <a:rPr lang="en-US" sz="2400" dirty="0">
                <a:solidFill>
                  <a:schemeClr val="accent2"/>
                </a:solidFill>
              </a:rPr>
              <a:t>Taxonomy Overview (</a:t>
            </a:r>
            <a:r>
              <a:rPr lang="en-US" sz="2400" dirty="0">
                <a:solidFill>
                  <a:schemeClr val="bg1"/>
                </a:solidFill>
                <a:hlinkClick r:id="rId4" action="ppaction://hlinksldjump"/>
              </a:rPr>
              <a:t>jump to</a:t>
            </a:r>
            <a:r>
              <a:rPr lang="en-US" sz="2400" dirty="0">
                <a:solidFill>
                  <a:schemeClr val="accent2"/>
                </a:solidFill>
              </a:rPr>
              <a:t>)</a:t>
            </a:r>
          </a:p>
        </p:txBody>
      </p:sp>
    </p:spTree>
    <p:extLst>
      <p:ext uri="{BB962C8B-B14F-4D97-AF65-F5344CB8AC3E}">
        <p14:creationId xmlns:p14="http://schemas.microsoft.com/office/powerpoint/2010/main" val="429336249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A00EAC9-804C-3F99-DB92-1E430FC3D793}"/>
              </a:ext>
              <a:ext uri="{C183D7F6-B498-43B3-948B-1728B52AA6E4}">
                <adec:decorative xmlns:adec="http://schemas.microsoft.com/office/drawing/2017/decorative" val="1"/>
              </a:ext>
            </a:extLst>
          </p:cNvPr>
          <p:cNvSpPr/>
          <p:nvPr/>
        </p:nvSpPr>
        <p:spPr bwMode="auto">
          <a:xfrm>
            <a:off x="0" y="435678"/>
            <a:ext cx="12192000" cy="109576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 name="Titel 1">
            <a:extLst>
              <a:ext uri="{FF2B5EF4-FFF2-40B4-BE49-F238E27FC236}">
                <a16:creationId xmlns:a16="http://schemas.microsoft.com/office/drawing/2014/main" id="{5B37C216-2900-617A-3A68-E8C71F39D530}"/>
              </a:ext>
            </a:extLst>
          </p:cNvPr>
          <p:cNvSpPr txBox="1">
            <a:spLocks/>
          </p:cNvSpPr>
          <p:nvPr/>
        </p:nvSpPr>
        <p:spPr>
          <a:xfrm>
            <a:off x="588262" y="534069"/>
            <a:ext cx="8658247" cy="184666"/>
          </a:xfrm>
          <a:prstGeom prst="rect">
            <a:avLst/>
          </a:prstGeom>
        </p:spPr>
        <p:txBody>
          <a:bodyPr vert="horz" wrap="square" lIns="0" tIns="0" rIns="0" bIns="0" rtlCol="0" anchor="ctr">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200" b="0" i="0" u="none" strike="noStrike" kern="1200" cap="none" spc="0" normalizeH="0" baseline="0" noProof="0">
                <a:ln w="3175">
                  <a:noFill/>
                </a:ln>
                <a:solidFill>
                  <a:srgbClr val="000000"/>
                </a:solidFill>
                <a:effectLst/>
                <a:uLnTx/>
                <a:uFillTx/>
                <a:latin typeface="Segoe UI Semibold"/>
                <a:ea typeface="+mn-ea"/>
                <a:cs typeface="Segoe UI" pitchFamily="34" charset="0"/>
              </a:rPr>
              <a:t>Use case name:</a:t>
            </a:r>
          </a:p>
        </p:txBody>
      </p:sp>
      <p:sp>
        <p:nvSpPr>
          <p:cNvPr id="5" name="Textplatzhalter 2">
            <a:extLst>
              <a:ext uri="{FF2B5EF4-FFF2-40B4-BE49-F238E27FC236}">
                <a16:creationId xmlns:a16="http://schemas.microsoft.com/office/drawing/2014/main" id="{DE51592C-CAA7-B67B-6B4B-B8A4FF036D7C}"/>
              </a:ext>
            </a:extLst>
          </p:cNvPr>
          <p:cNvSpPr txBox="1">
            <a:spLocks/>
          </p:cNvSpPr>
          <p:nvPr/>
        </p:nvSpPr>
        <p:spPr>
          <a:xfrm>
            <a:off x="588263" y="759589"/>
            <a:ext cx="5117378" cy="215444"/>
          </a:xfrm>
          <a:prstGeom prst="rect">
            <a:avLst/>
          </a:prstGeom>
        </p:spPr>
        <p:txBody>
          <a:bodyPr lIns="0" tIns="0" rIns="0" bIns="0" anchor="ct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Department: </a:t>
            </a:r>
          </a:p>
        </p:txBody>
      </p:sp>
      <p:sp>
        <p:nvSpPr>
          <p:cNvPr id="6" name="Textplatzhalter 2">
            <a:extLst>
              <a:ext uri="{FF2B5EF4-FFF2-40B4-BE49-F238E27FC236}">
                <a16:creationId xmlns:a16="http://schemas.microsoft.com/office/drawing/2014/main" id="{2D4AA423-3263-4CF7-B023-3A201ED156C9}"/>
              </a:ext>
            </a:extLst>
          </p:cNvPr>
          <p:cNvSpPr txBox="1">
            <a:spLocks/>
          </p:cNvSpPr>
          <p:nvPr/>
        </p:nvSpPr>
        <p:spPr>
          <a:xfrm>
            <a:off x="6503121" y="763208"/>
            <a:ext cx="5117378" cy="215444"/>
          </a:xfrm>
          <a:prstGeom prst="rect">
            <a:avLst/>
          </a:prstGeom>
        </p:spPr>
        <p:txBody>
          <a:bodyPr lIns="0" tIns="0" rIns="0" bIns="0"/>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Internal or external use:</a:t>
            </a:r>
          </a:p>
        </p:txBody>
      </p:sp>
      <p:sp>
        <p:nvSpPr>
          <p:cNvPr id="7" name="Oval 32">
            <a:extLst>
              <a:ext uri="{FF2B5EF4-FFF2-40B4-BE49-F238E27FC236}">
                <a16:creationId xmlns:a16="http://schemas.microsoft.com/office/drawing/2014/main" id="{D465B900-850F-258D-196D-3FCCC3835DF5}"/>
              </a:ext>
              <a:ext uri="{C183D7F6-B498-43B3-948B-1728B52AA6E4}">
                <adec:decorative xmlns:adec="http://schemas.microsoft.com/office/drawing/2017/decorative" val="1"/>
              </a:ext>
            </a:extLst>
          </p:cNvPr>
          <p:cNvSpPr/>
          <p:nvPr/>
        </p:nvSpPr>
        <p:spPr bwMode="auto">
          <a:xfrm>
            <a:off x="557785" y="1054552"/>
            <a:ext cx="11048998" cy="5803448"/>
          </a:xfrm>
          <a:prstGeom prst="rect">
            <a:avLst/>
          </a:prstGeom>
          <a:solidFill>
            <a:srgbClr val="FFFFFF">
              <a:lumMod val="95000"/>
            </a:srgbClr>
          </a:solidFill>
          <a:ln w="9525" cap="flat" cmpd="sng" algn="ctr">
            <a:noFill/>
            <a:prstDash val="solid"/>
            <a:headEnd type="none" w="med" len="med"/>
            <a:tailEnd type="none" w="med" len="med"/>
          </a:ln>
          <a:effectLst>
            <a:outerShdw blurRad="584200" dist="38100" dir="3960000" sx="102000" sy="102000" algn="tl" rotWithShape="0">
              <a:prstClr val="black">
                <a:alpha val="1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8" name="Donut 7">
            <a:extLst>
              <a:ext uri="{FF2B5EF4-FFF2-40B4-BE49-F238E27FC236}">
                <a16:creationId xmlns:a16="http://schemas.microsoft.com/office/drawing/2014/main" id="{83839F00-EE58-9A5D-D28C-5085A434BE72}"/>
              </a:ext>
            </a:extLst>
          </p:cNvPr>
          <p:cNvSpPr/>
          <p:nvPr/>
        </p:nvSpPr>
        <p:spPr bwMode="auto">
          <a:xfrm>
            <a:off x="709426" y="1122072"/>
            <a:ext cx="10773151" cy="273589"/>
          </a:xfrm>
          <a:prstGeom prst="rect">
            <a:avLst/>
          </a:prstGeom>
          <a:solidFill>
            <a:schemeClr val="accent4"/>
          </a:solidFill>
          <a:ln w="5992" cap="flat">
            <a:noFill/>
            <a:prstDash val="solid"/>
            <a:miter/>
          </a:ln>
        </p:spPr>
        <p:txBody>
          <a:bodyPr wrap="square" rtlCol="0" anchor="ctr">
            <a:noAutofit/>
          </a:bodyPr>
          <a:lstStyle/>
          <a:p>
            <a:pPr defTabSz="914400">
              <a:spcAft>
                <a:spcPts val="200"/>
              </a:spcAft>
              <a:defRPr/>
            </a:pPr>
            <a:r>
              <a:rPr kumimoji="0" lang="en-US" sz="1200" b="0" i="0" u="none" strike="noStrike" kern="1200" cap="none" spc="0" normalizeH="0" baseline="0" noProof="0">
                <a:ln>
                  <a:noFill/>
                </a:ln>
                <a:solidFill>
                  <a:srgbClr val="FFFFFF"/>
                </a:solidFill>
                <a:effectLst/>
                <a:uLnTx/>
                <a:uFillTx/>
                <a:latin typeface="Segoe UI Semibold"/>
                <a:ea typeface="+mn-ea"/>
                <a:cs typeface="+mn-cs"/>
              </a:rPr>
              <a:t>Use Case Objectives &amp; key results</a:t>
            </a:r>
          </a:p>
        </p:txBody>
      </p:sp>
      <p:sp>
        <p:nvSpPr>
          <p:cNvPr id="12" name="Rectangle 11">
            <a:extLst>
              <a:ext uri="{FF2B5EF4-FFF2-40B4-BE49-F238E27FC236}">
                <a16:creationId xmlns:a16="http://schemas.microsoft.com/office/drawing/2014/main" id="{13513069-0FBC-19C3-15E4-40444B6C4C2E}"/>
              </a:ext>
            </a:extLst>
          </p:cNvPr>
          <p:cNvSpPr/>
          <p:nvPr/>
        </p:nvSpPr>
        <p:spPr bwMode="auto">
          <a:xfrm>
            <a:off x="645459" y="1471562"/>
            <a:ext cx="3499744" cy="5337922"/>
          </a:xfrm>
          <a:prstGeom prst="rect">
            <a:avLst/>
          </a:prstGeom>
          <a:solidFill>
            <a:schemeClr val="bg1">
              <a:alpha val="9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mn-ea"/>
                <a:cs typeface="+mn-cs"/>
              </a:rPr>
              <a:t>Business Objectives </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000" b="0" i="0" u="none" strike="noStrike" kern="1200" cap="none" spc="0" normalizeH="0" baseline="0" noProof="0">
                <a:ln>
                  <a:noFill/>
                </a:ln>
                <a:solidFill>
                  <a:srgbClr val="000000">
                    <a:lumMod val="65000"/>
                    <a:lumOff val="35000"/>
                  </a:srgbClr>
                </a:solidFill>
                <a:effectLst/>
                <a:uLnTx/>
                <a:uFillTx/>
                <a:latin typeface="Segoe UI"/>
                <a:ea typeface="+mn-ea"/>
                <a:cs typeface="+mn-cs"/>
              </a:rPr>
              <a:t>Efficiency Improvement: By automating the process of competitor pricing data analysis, Contoso Health aims to significantly reduce the time and effort currently spent on this task. This would allow analysts to focus on other strategic tasks.</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000" b="0" i="0" u="none" strike="noStrike" kern="1200" cap="none" spc="0" normalizeH="0" baseline="0" noProof="0">
                <a:ln>
                  <a:noFill/>
                </a:ln>
                <a:solidFill>
                  <a:srgbClr val="000000">
                    <a:lumMod val="65000"/>
                    <a:lumOff val="35000"/>
                  </a:srgbClr>
                </a:solidFill>
                <a:effectLst/>
                <a:uLnTx/>
                <a:uFillTx/>
                <a:latin typeface="Segoe UI"/>
                <a:ea typeface="+mn-ea"/>
                <a:cs typeface="+mn-cs"/>
              </a:rPr>
              <a:t>Revenue Maximization: Through optimal pricing of Oso One IFP insurance plans, Contoso Health aims to attract more potential clients, thereby increasing sales and maximizing revenue.</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000" b="0" i="0" u="none" strike="noStrike" kern="1200" cap="none" spc="0" normalizeH="0" baseline="0" noProof="0">
                <a:ln>
                  <a:noFill/>
                </a:ln>
                <a:solidFill>
                  <a:srgbClr val="000000">
                    <a:lumMod val="65000"/>
                    <a:lumOff val="35000"/>
                  </a:srgbClr>
                </a:solidFill>
                <a:effectLst/>
                <a:uLnTx/>
                <a:uFillTx/>
                <a:latin typeface="Segoe UI"/>
                <a:ea typeface="+mn-ea"/>
                <a:cs typeface="+mn-cs"/>
              </a:rPr>
              <a:t>Competitive Advantage: By proactively responding to competitor pricing actions, Contoso Health aims to maintain a competitive edge in the market. This would enhance the attractiveness of Oso One IFP insurance plans to potential clients.</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000" b="0" i="0" u="none" strike="noStrike" kern="1200" cap="none" spc="0" normalizeH="0" baseline="0" noProof="0">
                <a:ln>
                  <a:noFill/>
                </a:ln>
                <a:solidFill>
                  <a:srgbClr val="000000">
                    <a:lumMod val="65000"/>
                    <a:lumOff val="35000"/>
                  </a:srgbClr>
                </a:solidFill>
                <a:effectLst/>
                <a:uLnTx/>
                <a:uFillTx/>
                <a:latin typeface="Segoe UI"/>
                <a:ea typeface="+mn-ea"/>
                <a:cs typeface="+mn-cs"/>
              </a:rPr>
              <a:t>Risk Mitigation: By reducing the reliance on manual processes, Contoso Health aims to minimize the risk of human error in pricing decisions. This would ensure more accurate and reliable pricing suggestions.</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000" b="0" i="0" u="none" strike="noStrike" kern="1200" cap="none" spc="0" normalizeH="0" baseline="0" noProof="0">
                <a:ln>
                  <a:noFill/>
                </a:ln>
                <a:solidFill>
                  <a:srgbClr val="000000">
                    <a:lumMod val="65000"/>
                    <a:lumOff val="35000"/>
                  </a:srgbClr>
                </a:solidFill>
                <a:effectLst/>
                <a:uLnTx/>
                <a:uFillTx/>
                <a:latin typeface="Segoe UI"/>
                <a:ea typeface="+mn-ea"/>
                <a:cs typeface="+mn-cs"/>
              </a:rPr>
              <a:t>Insight Generation: Through the AI model’s analysis and reporting capabilities, Contoso Health aims to generate valuable insights that can inform strategic decision-making.</a:t>
            </a:r>
          </a:p>
        </p:txBody>
      </p:sp>
      <p:sp>
        <p:nvSpPr>
          <p:cNvPr id="13" name="Rectangle 12">
            <a:extLst>
              <a:ext uri="{FF2B5EF4-FFF2-40B4-BE49-F238E27FC236}">
                <a16:creationId xmlns:a16="http://schemas.microsoft.com/office/drawing/2014/main" id="{4D147FF6-9A68-2382-67C5-524DFCC68B82}"/>
              </a:ext>
            </a:extLst>
          </p:cNvPr>
          <p:cNvSpPr>
            <a:spLocks/>
          </p:cNvSpPr>
          <p:nvPr/>
        </p:nvSpPr>
        <p:spPr bwMode="auto">
          <a:xfrm>
            <a:off x="4283127" y="1471561"/>
            <a:ext cx="7154208" cy="5266638"/>
          </a:xfrm>
          <a:prstGeom prst="rect">
            <a:avLst/>
          </a:prstGeom>
          <a:solidFill>
            <a:schemeClr val="bg1">
              <a:alpha val="9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mn-ea"/>
                <a:cs typeface="+mn-cs"/>
              </a:rPr>
              <a:t>Key results</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srgbClr val="000000">
                    <a:lumMod val="65000"/>
                    <a:lumOff val="35000"/>
                  </a:srgbClr>
                </a:solidFill>
                <a:effectLst/>
                <a:uLnTx/>
                <a:uFillTx/>
                <a:latin typeface="Segoe UI"/>
                <a:ea typeface="+mn-ea"/>
                <a:cs typeface="+mn-cs"/>
              </a:rPr>
              <a:t>Efficiency Improvement:</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srgbClr val="000000">
                    <a:lumMod val="65000"/>
                    <a:lumOff val="35000"/>
                  </a:srgbClr>
                </a:solidFill>
                <a:effectLst/>
                <a:uLnTx/>
                <a:uFillTx/>
                <a:latin typeface="Segoe UI"/>
                <a:ea typeface="+mn-ea"/>
                <a:cs typeface="+mn-cs"/>
              </a:rPr>
              <a:t>Reduce the time spent on manual review and ingestion of competitor pricing data by 50% within the first quarter of implementation.</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srgbClr val="000000">
                    <a:lumMod val="65000"/>
                    <a:lumOff val="35000"/>
                  </a:srgbClr>
                </a:solidFill>
                <a:effectLst/>
                <a:uLnTx/>
                <a:uFillTx/>
                <a:latin typeface="Segoe UI"/>
                <a:ea typeface="+mn-ea"/>
                <a:cs typeface="+mn-cs"/>
              </a:rPr>
              <a:t>Achieve a 70% reduction in manual effort by the end of the first year of implementation.</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srgbClr val="000000">
                    <a:lumMod val="65000"/>
                    <a:lumOff val="35000"/>
                  </a:srgbClr>
                </a:solidFill>
                <a:effectLst/>
                <a:uLnTx/>
                <a:uFillTx/>
                <a:latin typeface="Segoe UI"/>
                <a:ea typeface="+mn-ea"/>
                <a:cs typeface="+mn-cs"/>
              </a:rPr>
              <a:t>Revenue Maximization:</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srgbClr val="000000">
                    <a:lumMod val="65000"/>
                    <a:lumOff val="35000"/>
                  </a:srgbClr>
                </a:solidFill>
                <a:effectLst/>
                <a:uLnTx/>
                <a:uFillTx/>
                <a:latin typeface="Segoe UI"/>
                <a:ea typeface="+mn-ea"/>
                <a:cs typeface="+mn-cs"/>
              </a:rPr>
              <a:t>Achieve a 10% increase in sales of Oso One IFP insurance plans within the first six months of implementing optimal pricing.</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srgbClr val="000000">
                    <a:lumMod val="65000"/>
                    <a:lumOff val="35000"/>
                  </a:srgbClr>
                </a:solidFill>
                <a:effectLst/>
                <a:uLnTx/>
                <a:uFillTx/>
                <a:latin typeface="Segoe UI"/>
                <a:ea typeface="+mn-ea"/>
                <a:cs typeface="+mn-cs"/>
              </a:rPr>
              <a:t>Aim for a 20% increase in revenue from Oso One IFP insurance plans by the end of the first year.</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srgbClr val="000000">
                    <a:lumMod val="65000"/>
                    <a:lumOff val="35000"/>
                  </a:srgbClr>
                </a:solidFill>
                <a:effectLst/>
                <a:uLnTx/>
                <a:uFillTx/>
                <a:latin typeface="Segoe UI"/>
                <a:ea typeface="+mn-ea"/>
                <a:cs typeface="+mn-cs"/>
              </a:rPr>
              <a:t>Competitive Advantage:</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srgbClr val="000000">
                    <a:lumMod val="65000"/>
                    <a:lumOff val="35000"/>
                  </a:srgbClr>
                </a:solidFill>
                <a:effectLst/>
                <a:uLnTx/>
                <a:uFillTx/>
                <a:latin typeface="Segoe UI"/>
                <a:ea typeface="+mn-ea"/>
                <a:cs typeface="+mn-cs"/>
              </a:rPr>
              <a:t>Reduce the response time to competitor pricing changes by 60% within the first quarter of implementation.</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srgbClr val="000000">
                    <a:lumMod val="65000"/>
                    <a:lumOff val="35000"/>
                  </a:srgbClr>
                </a:solidFill>
                <a:effectLst/>
                <a:uLnTx/>
                <a:uFillTx/>
                <a:latin typeface="Segoe UI"/>
                <a:ea typeface="+mn-ea"/>
                <a:cs typeface="+mn-cs"/>
              </a:rPr>
              <a:t>Maintain or improve the market share of Oso One IFP insurance plans throughout the first year of implementation.</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srgbClr val="000000">
                    <a:lumMod val="65000"/>
                    <a:lumOff val="35000"/>
                  </a:srgbClr>
                </a:solidFill>
                <a:effectLst/>
                <a:uLnTx/>
                <a:uFillTx/>
                <a:latin typeface="Segoe UI"/>
                <a:ea typeface="+mn-ea"/>
                <a:cs typeface="+mn-cs"/>
              </a:rPr>
              <a:t>Risk Mitigation:</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srgbClr val="000000">
                    <a:lumMod val="65000"/>
                    <a:lumOff val="35000"/>
                  </a:srgbClr>
                </a:solidFill>
                <a:effectLst/>
                <a:uLnTx/>
                <a:uFillTx/>
                <a:latin typeface="Segoe UI"/>
                <a:ea typeface="+mn-ea"/>
                <a:cs typeface="+mn-cs"/>
              </a:rPr>
              <a:t>Reduce pricing errors by 80% within the first six months of implementation.</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srgbClr val="000000">
                    <a:lumMod val="65000"/>
                    <a:lumOff val="35000"/>
                  </a:srgbClr>
                </a:solidFill>
                <a:effectLst/>
                <a:uLnTx/>
                <a:uFillTx/>
                <a:latin typeface="Segoe UI"/>
                <a:ea typeface="+mn-ea"/>
                <a:cs typeface="+mn-cs"/>
              </a:rPr>
              <a:t>Achieve near-zero pricing errors by the end of the first year.</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srgbClr val="000000">
                    <a:lumMod val="65000"/>
                    <a:lumOff val="35000"/>
                  </a:srgbClr>
                </a:solidFill>
                <a:effectLst/>
                <a:uLnTx/>
                <a:uFillTx/>
                <a:latin typeface="Segoe UI"/>
                <a:ea typeface="+mn-ea"/>
                <a:cs typeface="+mn-cs"/>
              </a:rPr>
              <a:t>Insight Generation:</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srgbClr val="000000">
                    <a:lumMod val="65000"/>
                    <a:lumOff val="35000"/>
                  </a:srgbClr>
                </a:solidFill>
                <a:effectLst/>
                <a:uLnTx/>
                <a:uFillTx/>
                <a:latin typeface="Segoe UI"/>
                <a:ea typeface="+mn-ea"/>
                <a:cs typeface="+mn-cs"/>
              </a:rPr>
              <a:t>Generate weekly reports highlighting pricing suggestions and supporting analysis within the first month of implementation.</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srgbClr val="000000">
                    <a:lumMod val="65000"/>
                    <a:lumOff val="35000"/>
                  </a:srgbClr>
                </a:solidFill>
                <a:effectLst/>
                <a:uLnTx/>
                <a:uFillTx/>
                <a:latin typeface="Segoe UI"/>
                <a:ea typeface="+mn-ea"/>
                <a:cs typeface="+mn-cs"/>
              </a:rPr>
              <a:t>Use insights from the AI model to inform at least 3 strategic decisions within the first year.</a:t>
            </a:r>
          </a:p>
        </p:txBody>
      </p:sp>
      <p:sp>
        <p:nvSpPr>
          <p:cNvPr id="23" name="Title 61">
            <a:extLst>
              <a:ext uri="{FF2B5EF4-FFF2-40B4-BE49-F238E27FC236}">
                <a16:creationId xmlns:a16="http://schemas.microsoft.com/office/drawing/2014/main" id="{AAF68C2C-7F4E-CBEC-16DE-7883542CD296}"/>
              </a:ext>
            </a:extLst>
          </p:cNvPr>
          <p:cNvSpPr txBox="1">
            <a:spLocks/>
          </p:cNvSpPr>
          <p:nvPr/>
        </p:nvSpPr>
        <p:spPr>
          <a:xfrm>
            <a:off x="573024" y="34618"/>
            <a:ext cx="11018520" cy="327268"/>
          </a:xfrm>
          <a:prstGeom prst="rect">
            <a:avLst/>
          </a:prstGeom>
        </p:spPr>
        <p:txBody>
          <a:bodyPr/>
          <a:lstStyle>
            <a:lvl1pPr algn="l" defTabSz="932742" rtl="0" eaLnBrk="1" latinLnBrk="0" hangingPunct="1">
              <a:lnSpc>
                <a:spcPct val="100000"/>
              </a:lnSpc>
              <a:spcBef>
                <a:spcPct val="0"/>
              </a:spcBef>
              <a:buNone/>
              <a:defRPr lang="en-US" sz="2000" b="0" kern="1200" cap="none" spc="0" baseline="0" dirty="0" smtClean="0">
                <a:ln w="3175">
                  <a:noFill/>
                </a:ln>
                <a:solidFill>
                  <a:schemeClr val="tx1"/>
                </a:solidFill>
                <a:effectLst/>
                <a:latin typeface="+mj-lt"/>
                <a:ea typeface="+mn-ea"/>
                <a:cs typeface="Segoe UI" pitchFamily="34" charset="0"/>
              </a:defRPr>
            </a:lvl1pPr>
          </a:lstStyle>
          <a:p>
            <a:r>
              <a:rPr lang="en-US" dirty="0"/>
              <a:t>AI Use Cases Define</a:t>
            </a:r>
          </a:p>
        </p:txBody>
      </p:sp>
    </p:spTree>
    <p:extLst>
      <p:ext uri="{BB962C8B-B14F-4D97-AF65-F5344CB8AC3E}">
        <p14:creationId xmlns:p14="http://schemas.microsoft.com/office/powerpoint/2010/main" val="1765836783"/>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A00EAC9-804C-3F99-DB92-1E430FC3D793}"/>
              </a:ext>
              <a:ext uri="{C183D7F6-B498-43B3-948B-1728B52AA6E4}">
                <adec:decorative xmlns:adec="http://schemas.microsoft.com/office/drawing/2017/decorative" val="1"/>
              </a:ext>
            </a:extLst>
          </p:cNvPr>
          <p:cNvSpPr/>
          <p:nvPr/>
        </p:nvSpPr>
        <p:spPr bwMode="auto">
          <a:xfrm>
            <a:off x="0" y="435678"/>
            <a:ext cx="12192000" cy="109576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 name="Titel 1">
            <a:extLst>
              <a:ext uri="{FF2B5EF4-FFF2-40B4-BE49-F238E27FC236}">
                <a16:creationId xmlns:a16="http://schemas.microsoft.com/office/drawing/2014/main" id="{5B37C216-2900-617A-3A68-E8C71F39D530}"/>
              </a:ext>
            </a:extLst>
          </p:cNvPr>
          <p:cNvSpPr txBox="1">
            <a:spLocks/>
          </p:cNvSpPr>
          <p:nvPr/>
        </p:nvSpPr>
        <p:spPr>
          <a:xfrm>
            <a:off x="588262" y="534069"/>
            <a:ext cx="8658247" cy="184666"/>
          </a:xfrm>
          <a:prstGeom prst="rect">
            <a:avLst/>
          </a:prstGeom>
        </p:spPr>
        <p:txBody>
          <a:bodyPr vert="horz" wrap="square" lIns="0" tIns="0" rIns="0" bIns="0" rtlCol="0" anchor="ctr">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200" b="0" i="0" u="none" strike="noStrike" kern="1200" cap="none" spc="0" normalizeH="0" baseline="0" noProof="0">
                <a:ln w="3175">
                  <a:noFill/>
                </a:ln>
                <a:solidFill>
                  <a:srgbClr val="000000"/>
                </a:solidFill>
                <a:effectLst/>
                <a:uLnTx/>
                <a:uFillTx/>
                <a:latin typeface="Segoe UI Semibold"/>
                <a:ea typeface="+mn-ea"/>
                <a:cs typeface="Segoe UI" pitchFamily="34" charset="0"/>
              </a:rPr>
              <a:t>Use case name:</a:t>
            </a:r>
          </a:p>
        </p:txBody>
      </p:sp>
      <p:sp>
        <p:nvSpPr>
          <p:cNvPr id="5" name="Textplatzhalter 2">
            <a:extLst>
              <a:ext uri="{FF2B5EF4-FFF2-40B4-BE49-F238E27FC236}">
                <a16:creationId xmlns:a16="http://schemas.microsoft.com/office/drawing/2014/main" id="{DE51592C-CAA7-B67B-6B4B-B8A4FF036D7C}"/>
              </a:ext>
            </a:extLst>
          </p:cNvPr>
          <p:cNvSpPr txBox="1">
            <a:spLocks/>
          </p:cNvSpPr>
          <p:nvPr/>
        </p:nvSpPr>
        <p:spPr>
          <a:xfrm>
            <a:off x="588263" y="759589"/>
            <a:ext cx="5117378" cy="215444"/>
          </a:xfrm>
          <a:prstGeom prst="rect">
            <a:avLst/>
          </a:prstGeom>
        </p:spPr>
        <p:txBody>
          <a:bodyPr lIns="0" tIns="0" rIns="0" bIns="0" anchor="ct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Department: </a:t>
            </a:r>
          </a:p>
        </p:txBody>
      </p:sp>
      <p:sp>
        <p:nvSpPr>
          <p:cNvPr id="6" name="Textplatzhalter 2">
            <a:extLst>
              <a:ext uri="{FF2B5EF4-FFF2-40B4-BE49-F238E27FC236}">
                <a16:creationId xmlns:a16="http://schemas.microsoft.com/office/drawing/2014/main" id="{2D4AA423-3263-4CF7-B023-3A201ED156C9}"/>
              </a:ext>
            </a:extLst>
          </p:cNvPr>
          <p:cNvSpPr txBox="1">
            <a:spLocks/>
          </p:cNvSpPr>
          <p:nvPr/>
        </p:nvSpPr>
        <p:spPr>
          <a:xfrm>
            <a:off x="6503121" y="763208"/>
            <a:ext cx="5117378" cy="215444"/>
          </a:xfrm>
          <a:prstGeom prst="rect">
            <a:avLst/>
          </a:prstGeom>
        </p:spPr>
        <p:txBody>
          <a:bodyPr lIns="0" tIns="0" rIns="0" bIns="0"/>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Internal or external use:</a:t>
            </a:r>
          </a:p>
        </p:txBody>
      </p:sp>
      <p:sp>
        <p:nvSpPr>
          <p:cNvPr id="7" name="Oval 32">
            <a:extLst>
              <a:ext uri="{FF2B5EF4-FFF2-40B4-BE49-F238E27FC236}">
                <a16:creationId xmlns:a16="http://schemas.microsoft.com/office/drawing/2014/main" id="{D465B900-850F-258D-196D-3FCCC3835DF5}"/>
              </a:ext>
              <a:ext uri="{C183D7F6-B498-43B3-948B-1728B52AA6E4}">
                <adec:decorative xmlns:adec="http://schemas.microsoft.com/office/drawing/2017/decorative" val="1"/>
              </a:ext>
            </a:extLst>
          </p:cNvPr>
          <p:cNvSpPr/>
          <p:nvPr/>
        </p:nvSpPr>
        <p:spPr bwMode="auto">
          <a:xfrm>
            <a:off x="557785" y="1054552"/>
            <a:ext cx="11048998" cy="5803448"/>
          </a:xfrm>
          <a:prstGeom prst="rect">
            <a:avLst/>
          </a:prstGeom>
          <a:solidFill>
            <a:srgbClr val="FFFFFF">
              <a:lumMod val="95000"/>
            </a:srgbClr>
          </a:solidFill>
          <a:ln w="9525" cap="flat" cmpd="sng" algn="ctr">
            <a:noFill/>
            <a:prstDash val="solid"/>
            <a:headEnd type="none" w="med" len="med"/>
            <a:tailEnd type="none" w="med" len="med"/>
          </a:ln>
          <a:effectLst>
            <a:outerShdw blurRad="584200" dist="38100" dir="3960000" sx="102000" sy="102000" algn="tl" rotWithShape="0">
              <a:prstClr val="black">
                <a:alpha val="1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8" name="Donut 7">
            <a:extLst>
              <a:ext uri="{FF2B5EF4-FFF2-40B4-BE49-F238E27FC236}">
                <a16:creationId xmlns:a16="http://schemas.microsoft.com/office/drawing/2014/main" id="{83839F00-EE58-9A5D-D28C-5085A434BE72}"/>
              </a:ext>
            </a:extLst>
          </p:cNvPr>
          <p:cNvSpPr/>
          <p:nvPr/>
        </p:nvSpPr>
        <p:spPr bwMode="auto">
          <a:xfrm>
            <a:off x="709426" y="1122072"/>
            <a:ext cx="10773151" cy="273589"/>
          </a:xfrm>
          <a:prstGeom prst="rect">
            <a:avLst/>
          </a:prstGeom>
          <a:solidFill>
            <a:schemeClr val="accent4"/>
          </a:solidFill>
          <a:ln w="5992" cap="flat">
            <a:noFill/>
            <a:prstDash val="solid"/>
            <a:miter/>
          </a:ln>
        </p:spPr>
        <p:txBody>
          <a:bodyPr wrap="square" rtlCol="0" anchor="ctr">
            <a:noAutofit/>
          </a:bodyPr>
          <a:lstStyle/>
          <a:p>
            <a:pPr defTabSz="914400">
              <a:spcAft>
                <a:spcPts val="200"/>
              </a:spcAft>
              <a:defRPr/>
            </a:pPr>
            <a:r>
              <a:rPr kumimoji="0" lang="en-US" sz="1200" b="0" i="0" u="none" strike="noStrike" kern="1200" cap="none" spc="0" normalizeH="0" baseline="0" noProof="0">
                <a:ln>
                  <a:noFill/>
                </a:ln>
                <a:solidFill>
                  <a:srgbClr val="FFFFFF"/>
                </a:solidFill>
                <a:effectLst/>
                <a:uLnTx/>
                <a:uFillTx/>
                <a:latin typeface="Segoe UI Semibold"/>
                <a:ea typeface="+mn-ea"/>
                <a:cs typeface="+mn-cs"/>
              </a:rPr>
              <a:t>Objectives &amp; key results – Strategic fit assessment</a:t>
            </a:r>
          </a:p>
        </p:txBody>
      </p:sp>
      <p:sp>
        <p:nvSpPr>
          <p:cNvPr id="12" name="Rectangle 11">
            <a:extLst>
              <a:ext uri="{FF2B5EF4-FFF2-40B4-BE49-F238E27FC236}">
                <a16:creationId xmlns:a16="http://schemas.microsoft.com/office/drawing/2014/main" id="{13513069-0FBC-19C3-15E4-40444B6C4C2E}"/>
              </a:ext>
            </a:extLst>
          </p:cNvPr>
          <p:cNvSpPr/>
          <p:nvPr/>
        </p:nvSpPr>
        <p:spPr bwMode="auto">
          <a:xfrm>
            <a:off x="709425" y="1471562"/>
            <a:ext cx="3435778" cy="5337922"/>
          </a:xfrm>
          <a:prstGeom prst="rect">
            <a:avLst/>
          </a:prstGeom>
          <a:solidFill>
            <a:schemeClr val="bg1">
              <a:alpha val="9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mn-ea"/>
                <a:cs typeface="+mn-cs"/>
              </a:rPr>
              <a:t>Alignment to Business Process Challenge </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srgbClr val="000000">
                    <a:lumMod val="65000"/>
                    <a:lumOff val="35000"/>
                  </a:srgbClr>
                </a:solidFill>
                <a:effectLst/>
                <a:uLnTx/>
                <a:uFillTx/>
                <a:latin typeface="Segoe UI"/>
                <a:ea typeface="+mn-ea"/>
                <a:cs typeface="+mn-cs"/>
              </a:rPr>
              <a:t>The “Competitive Pricing Analysis” use case directly supports the business process challenge of understanding, anticipating, and proactively responding to competitor pricing action.</a:t>
            </a:r>
          </a:p>
          <a:p>
            <a:pPr marL="0" marR="0" lvl="0" indent="0" algn="l" defTabSz="914400" rtl="0" eaLnBrk="1" fontAlgn="auto" latinLnBrk="0" hangingPunct="1">
              <a:lnSpc>
                <a:spcPct val="100000"/>
              </a:lnSpc>
              <a:spcBef>
                <a:spcPts val="0"/>
              </a:spcBef>
              <a:spcAft>
                <a:spcPts val="200"/>
              </a:spcAft>
              <a:buClrTx/>
              <a:buSzTx/>
              <a:buFontTx/>
              <a:buNone/>
              <a:tabLst/>
              <a:defRPr/>
            </a:pPr>
            <a:endParaRPr kumimoji="0" lang="en-US" sz="1100" b="0" i="0" u="none" strike="noStrike" kern="1200" cap="none" spc="0" normalizeH="0" baseline="0" noProof="0">
              <a:ln>
                <a:noFill/>
              </a:ln>
              <a:solidFill>
                <a:srgbClr val="000000">
                  <a:lumMod val="65000"/>
                  <a:lumOff val="35000"/>
                </a:srgbClr>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srgbClr val="000000">
                    <a:lumMod val="65000"/>
                    <a:lumOff val="35000"/>
                  </a:srgbClr>
                </a:solidFill>
                <a:effectLst/>
                <a:uLnTx/>
                <a:uFillTx/>
                <a:latin typeface="Segoe UI"/>
                <a:ea typeface="+mn-ea"/>
                <a:cs typeface="+mn-cs"/>
              </a:rPr>
              <a:t>By developing an AI model that can analyze competitor pricing data and suggest optimal pricing for Oso One IFP insurance plans, Contoso Health can ensure that its pricing strategy is not only competitive but also proactive. This would allow Contoso Health to respond swiftly to changes in competitor pricing, thereby maintaining the attractiveness of its insurance plans in the marketplace.</a:t>
            </a:r>
          </a:p>
          <a:p>
            <a:pPr marL="0" marR="0" lvl="0" indent="0" algn="l" defTabSz="914400" rtl="0" eaLnBrk="1" fontAlgn="auto" latinLnBrk="0" hangingPunct="1">
              <a:lnSpc>
                <a:spcPct val="100000"/>
              </a:lnSpc>
              <a:spcBef>
                <a:spcPts val="0"/>
              </a:spcBef>
              <a:spcAft>
                <a:spcPts val="200"/>
              </a:spcAft>
              <a:buClrTx/>
              <a:buSzTx/>
              <a:buFontTx/>
              <a:buNone/>
              <a:tabLst/>
              <a:defRPr/>
            </a:pPr>
            <a:endParaRPr kumimoji="0" lang="en-US" sz="1100" b="0" i="0" u="none" strike="noStrike" kern="1200" cap="none" spc="0" normalizeH="0" baseline="0" noProof="0">
              <a:ln>
                <a:noFill/>
              </a:ln>
              <a:solidFill>
                <a:srgbClr val="000000">
                  <a:lumMod val="65000"/>
                  <a:lumOff val="35000"/>
                </a:srgbClr>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srgbClr val="000000">
                    <a:lumMod val="65000"/>
                    <a:lumOff val="35000"/>
                  </a:srgbClr>
                </a:solidFill>
                <a:effectLst/>
                <a:uLnTx/>
                <a:uFillTx/>
                <a:latin typeface="Segoe UI"/>
                <a:ea typeface="+mn-ea"/>
                <a:cs typeface="+mn-cs"/>
              </a:rPr>
              <a:t>Furthermore, by automating the process of data ingestion and analysis, Contoso Health can significantly reduce the time and effort currently spent on these tasks. This would not only improve efficiency but also reduce the risk of human error, ensuring more accurate and reliable pricing decisions.</a:t>
            </a:r>
          </a:p>
          <a:p>
            <a:pPr marL="0" marR="0" lvl="0" indent="0" algn="l" defTabSz="914400" rtl="0" eaLnBrk="1" fontAlgn="auto" latinLnBrk="0" hangingPunct="1">
              <a:lnSpc>
                <a:spcPct val="100000"/>
              </a:lnSpc>
              <a:spcBef>
                <a:spcPts val="0"/>
              </a:spcBef>
              <a:spcAft>
                <a:spcPts val="200"/>
              </a:spcAft>
              <a:buClrTx/>
              <a:buSzTx/>
              <a:buFontTx/>
              <a:buNone/>
              <a:tabLst/>
              <a:defRPr/>
            </a:pPr>
            <a:endParaRPr kumimoji="0" lang="en-US" sz="1100" b="0" i="0" u="none" strike="noStrike" kern="1200" cap="none" spc="0" normalizeH="0" baseline="0" noProof="0">
              <a:ln>
                <a:noFill/>
              </a:ln>
              <a:solidFill>
                <a:srgbClr val="000000">
                  <a:lumMod val="65000"/>
                  <a:lumOff val="35000"/>
                </a:srgbClr>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srgbClr val="000000">
                    <a:lumMod val="65000"/>
                    <a:lumOff val="35000"/>
                  </a:srgbClr>
                </a:solidFill>
                <a:effectLst/>
                <a:uLnTx/>
                <a:uFillTx/>
                <a:latin typeface="Segoe UI"/>
                <a:ea typeface="+mn-ea"/>
                <a:cs typeface="+mn-cs"/>
              </a:rPr>
              <a:t>Finally, the user-friendly interface and reporting capabilities of the system would provide analysts with easy access to pricing suggestions and valuable insights. This would support informed decision-making and strategic planning, further enhancing Contoso Health’s ability to address its business process challenge.</a:t>
            </a:r>
          </a:p>
        </p:txBody>
      </p:sp>
      <p:sp>
        <p:nvSpPr>
          <p:cNvPr id="13" name="Rectangle 12">
            <a:extLst>
              <a:ext uri="{FF2B5EF4-FFF2-40B4-BE49-F238E27FC236}">
                <a16:creationId xmlns:a16="http://schemas.microsoft.com/office/drawing/2014/main" id="{4D147FF6-9A68-2382-67C5-524DFCC68B82}"/>
              </a:ext>
            </a:extLst>
          </p:cNvPr>
          <p:cNvSpPr>
            <a:spLocks/>
          </p:cNvSpPr>
          <p:nvPr/>
        </p:nvSpPr>
        <p:spPr bwMode="auto">
          <a:xfrm>
            <a:off x="4283127" y="1471561"/>
            <a:ext cx="3917134" cy="5266638"/>
          </a:xfrm>
          <a:prstGeom prst="rect">
            <a:avLst/>
          </a:prstGeom>
          <a:solidFill>
            <a:schemeClr val="bg1">
              <a:alpha val="9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lang="en-US" sz="1100">
                <a:solidFill>
                  <a:srgbClr val="000000"/>
                </a:solidFill>
                <a:latin typeface="Segoe UI Semibold"/>
              </a:rPr>
              <a:t>Business Value</a:t>
            </a:r>
            <a:endParaRPr kumimoji="0" lang="en-US" sz="1100" b="0" i="0" u="none" strike="noStrike" kern="1200" cap="none" spc="0" normalizeH="0" baseline="0" noProof="0">
              <a:ln>
                <a:noFill/>
              </a:ln>
              <a:solidFill>
                <a:srgbClr val="000000"/>
              </a:solidFill>
              <a:effectLst/>
              <a:uLnTx/>
              <a:uFillTx/>
              <a:latin typeface="Segoe UI Semibold"/>
              <a:ea typeface="+mn-ea"/>
              <a:cs typeface="+mn-cs"/>
            </a:endParaRP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srgbClr val="000000">
                    <a:lumMod val="65000"/>
                    <a:lumOff val="35000"/>
                  </a:srgbClr>
                </a:solidFill>
                <a:effectLst/>
                <a:uLnTx/>
                <a:uFillTx/>
                <a:latin typeface="Segoe UI"/>
                <a:ea typeface="+mn-ea"/>
                <a:cs typeface="+mn-cs"/>
              </a:rPr>
              <a:t>The “Competitive Pricing Analysis” use case could create significant business value for Contoso Health in several ways:</a:t>
            </a:r>
          </a:p>
          <a:p>
            <a:pPr marL="0" marR="0" lvl="0" indent="0" algn="l" defTabSz="914400" rtl="0" eaLnBrk="1" fontAlgn="auto" latinLnBrk="0" hangingPunct="1">
              <a:lnSpc>
                <a:spcPct val="100000"/>
              </a:lnSpc>
              <a:spcBef>
                <a:spcPts val="0"/>
              </a:spcBef>
              <a:spcAft>
                <a:spcPts val="200"/>
              </a:spcAft>
              <a:buClrTx/>
              <a:buSzTx/>
              <a:buFontTx/>
              <a:buNone/>
              <a:tabLst/>
              <a:defRPr/>
            </a:pPr>
            <a:endParaRPr kumimoji="0" lang="en-US" sz="1100" b="0" i="0" u="none" strike="noStrike" kern="1200" cap="none" spc="0" normalizeH="0" baseline="0" noProof="0">
              <a:ln>
                <a:noFill/>
              </a:ln>
              <a:solidFill>
                <a:srgbClr val="000000">
                  <a:lumMod val="65000"/>
                  <a:lumOff val="35000"/>
                </a:srgbClr>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srgbClr val="000000">
                    <a:lumMod val="65000"/>
                    <a:lumOff val="35000"/>
                  </a:srgbClr>
                </a:solidFill>
                <a:effectLst/>
                <a:uLnTx/>
                <a:uFillTx/>
                <a:latin typeface="Segoe UI"/>
                <a:ea typeface="+mn-ea"/>
                <a:cs typeface="+mn-cs"/>
              </a:rPr>
              <a:t>Increased Revenue: By ensuring optimal pricing for Oso One IFP insurance plans, Contoso Health can attract more potential clients, leading to increased sales and revenue.</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srgbClr val="000000">
                    <a:lumMod val="65000"/>
                    <a:lumOff val="35000"/>
                  </a:srgbClr>
                </a:solidFill>
                <a:effectLst/>
                <a:uLnTx/>
                <a:uFillTx/>
                <a:latin typeface="Segoe UI"/>
                <a:ea typeface="+mn-ea"/>
                <a:cs typeface="+mn-cs"/>
              </a:rPr>
              <a:t>Improved Efficiency: Automating the process of competitor pricing data analysis can significantly reduce the time and effort spent by analysts on these tasks. This improved efficiency can lead to cost savings and allow analysts to focus on other strategic tasks.</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srgbClr val="000000">
                    <a:lumMod val="65000"/>
                    <a:lumOff val="35000"/>
                  </a:srgbClr>
                </a:solidFill>
                <a:effectLst/>
                <a:uLnTx/>
                <a:uFillTx/>
                <a:latin typeface="Segoe UI"/>
                <a:ea typeface="+mn-ea"/>
                <a:cs typeface="+mn-cs"/>
              </a:rPr>
              <a:t>Enhanced Decision-Making: The AI model’s analysis and reporting capabilities can generate valuable insights that inform strategic decision-making. This can lead to more effective strategies and better business outcomes.</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srgbClr val="000000">
                    <a:lumMod val="65000"/>
                    <a:lumOff val="35000"/>
                  </a:srgbClr>
                </a:solidFill>
                <a:effectLst/>
                <a:uLnTx/>
                <a:uFillTx/>
                <a:latin typeface="Segoe UI"/>
                <a:ea typeface="+mn-ea"/>
                <a:cs typeface="+mn-cs"/>
              </a:rPr>
              <a:t>Risk Mitigation: Automating the process also reduces the risk of human error in pricing decisions, leading to more accurate and reliable pricing suggestions. This can enhance Contoso Health’s competitiveness and reputation in the market.</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srgbClr val="000000">
                    <a:lumMod val="65000"/>
                    <a:lumOff val="35000"/>
                  </a:srgbClr>
                </a:solidFill>
                <a:effectLst/>
                <a:uLnTx/>
                <a:uFillTx/>
                <a:latin typeface="Segoe UI"/>
                <a:ea typeface="+mn-ea"/>
                <a:cs typeface="+mn-cs"/>
              </a:rPr>
              <a:t>Customer Satisfaction: By offering competitively priced insurance plans, Contoso Health can enhance customer satisfaction and loyalty, which can lead to long-term business growth.</a:t>
            </a:r>
          </a:p>
        </p:txBody>
      </p:sp>
      <p:sp>
        <p:nvSpPr>
          <p:cNvPr id="9" name="Rectangle 8">
            <a:extLst>
              <a:ext uri="{FF2B5EF4-FFF2-40B4-BE49-F238E27FC236}">
                <a16:creationId xmlns:a16="http://schemas.microsoft.com/office/drawing/2014/main" id="{80E55B3B-9D67-204C-B503-4404598C31F7}"/>
              </a:ext>
            </a:extLst>
          </p:cNvPr>
          <p:cNvSpPr>
            <a:spLocks/>
          </p:cNvSpPr>
          <p:nvPr/>
        </p:nvSpPr>
        <p:spPr bwMode="auto">
          <a:xfrm>
            <a:off x="8288277" y="1463181"/>
            <a:ext cx="3345937" cy="5266638"/>
          </a:xfrm>
          <a:prstGeom prst="rect">
            <a:avLst/>
          </a:prstGeom>
          <a:solidFill>
            <a:schemeClr val="bg1">
              <a:alpha val="9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lang="en-US" sz="1100">
                <a:solidFill>
                  <a:srgbClr val="000000"/>
                </a:solidFill>
                <a:latin typeface="Segoe UI Semibold"/>
              </a:rPr>
              <a:t>Change Management Timeframe</a:t>
            </a:r>
            <a:endParaRPr kumimoji="0" lang="en-US" sz="1100" b="0" i="0" u="none" strike="noStrike" kern="1200" cap="none" spc="0" normalizeH="0" baseline="0" noProof="0">
              <a:ln>
                <a:noFill/>
              </a:ln>
              <a:solidFill>
                <a:srgbClr val="000000"/>
              </a:solidFill>
              <a:effectLst/>
              <a:uLnTx/>
              <a:uFillTx/>
              <a:latin typeface="Segoe UI Semibold"/>
              <a:ea typeface="+mn-ea"/>
              <a:cs typeface="+mn-cs"/>
            </a:endParaRP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000" b="0" i="0" u="none" strike="noStrike" kern="1200" cap="none" spc="0" normalizeH="0" baseline="0" noProof="0">
                <a:ln>
                  <a:noFill/>
                </a:ln>
                <a:solidFill>
                  <a:srgbClr val="000000">
                    <a:lumMod val="65000"/>
                    <a:lumOff val="35000"/>
                  </a:srgbClr>
                </a:solidFill>
                <a:effectLst/>
                <a:uLnTx/>
                <a:uFillTx/>
                <a:latin typeface="Segoe UI"/>
                <a:ea typeface="+mn-ea"/>
                <a:cs typeface="+mn-cs"/>
              </a:rPr>
              <a:t>Implementing the “Competitive Pricing Analysis” use case could involve several stages, each with its own timeframe. Here’s a rough estimate:</a:t>
            </a:r>
          </a:p>
          <a:p>
            <a:pPr marL="0" marR="0" lvl="0" indent="0" algn="l" defTabSz="914400" rtl="0" eaLnBrk="1" fontAlgn="auto" latinLnBrk="0" hangingPunct="1">
              <a:lnSpc>
                <a:spcPct val="100000"/>
              </a:lnSpc>
              <a:spcBef>
                <a:spcPts val="0"/>
              </a:spcBef>
              <a:spcAft>
                <a:spcPts val="200"/>
              </a:spcAft>
              <a:buClrTx/>
              <a:buSzTx/>
              <a:buFontTx/>
              <a:buNone/>
              <a:tabLst/>
              <a:defRPr/>
            </a:pPr>
            <a:endParaRPr kumimoji="0" lang="en-US" sz="1000" b="0" i="0" u="none" strike="noStrike" kern="1200" cap="none" spc="0" normalizeH="0" baseline="0" noProof="0">
              <a:ln>
                <a:noFill/>
              </a:ln>
              <a:solidFill>
                <a:srgbClr val="000000">
                  <a:lumMod val="65000"/>
                  <a:lumOff val="35000"/>
                </a:srgbClr>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000" b="0" i="0" u="none" strike="noStrike" kern="1200" cap="none" spc="0" normalizeH="0" baseline="0" noProof="0">
                <a:ln>
                  <a:noFill/>
                </a:ln>
                <a:solidFill>
                  <a:srgbClr val="000000">
                    <a:lumMod val="65000"/>
                    <a:lumOff val="35000"/>
                  </a:srgbClr>
                </a:solidFill>
                <a:effectLst/>
                <a:uLnTx/>
                <a:uFillTx/>
                <a:latin typeface="Segoe UI"/>
                <a:ea typeface="+mn-ea"/>
                <a:cs typeface="+mn-cs"/>
              </a:rPr>
              <a:t>Project Planning and Setup (1-2 months): This includes defining project goals, assembling the project team, and setting up project governance structures.</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000" b="0" i="0" u="none" strike="noStrike" kern="1200" cap="none" spc="0" normalizeH="0" baseline="0" noProof="0">
                <a:ln>
                  <a:noFill/>
                </a:ln>
                <a:solidFill>
                  <a:srgbClr val="000000">
                    <a:lumMod val="65000"/>
                    <a:lumOff val="35000"/>
                  </a:srgbClr>
                </a:solidFill>
                <a:effectLst/>
                <a:uLnTx/>
                <a:uFillTx/>
                <a:latin typeface="Segoe UI"/>
                <a:ea typeface="+mn-ea"/>
                <a:cs typeface="+mn-cs"/>
              </a:rPr>
              <a:t>Data Collection and Preparation (2-3 months): This involves collecting and preparing the competitor pricing data that the AI model will analyze.</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000" b="0" i="0" u="none" strike="noStrike" kern="1200" cap="none" spc="0" normalizeH="0" baseline="0" noProof="0">
                <a:ln>
                  <a:noFill/>
                </a:ln>
                <a:solidFill>
                  <a:srgbClr val="000000">
                    <a:lumMod val="65000"/>
                    <a:lumOff val="35000"/>
                  </a:srgbClr>
                </a:solidFill>
                <a:effectLst/>
                <a:uLnTx/>
                <a:uFillTx/>
                <a:latin typeface="Segoe UI"/>
                <a:ea typeface="+mn-ea"/>
                <a:cs typeface="+mn-cs"/>
              </a:rPr>
              <a:t>AI Model Development and Testing (3-4 months): This includes developing the AI model, training it on the prepared data, and testing its performance.</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000" b="0" i="0" u="none" strike="noStrike" kern="1200" cap="none" spc="0" normalizeH="0" baseline="0" noProof="0">
                <a:ln>
                  <a:noFill/>
                </a:ln>
                <a:solidFill>
                  <a:srgbClr val="000000">
                    <a:lumMod val="65000"/>
                    <a:lumOff val="35000"/>
                  </a:srgbClr>
                </a:solidFill>
                <a:effectLst/>
                <a:uLnTx/>
                <a:uFillTx/>
                <a:latin typeface="Segoe UI"/>
                <a:ea typeface="+mn-ea"/>
                <a:cs typeface="+mn-cs"/>
              </a:rPr>
              <a:t>System Integration and User Interface Development (2-3 months): This involves integrating the AI model with existing systems and developing the user interface.</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000" b="0" i="0" u="none" strike="noStrike" kern="1200" cap="none" spc="0" normalizeH="0" baseline="0" noProof="0">
                <a:ln>
                  <a:noFill/>
                </a:ln>
                <a:solidFill>
                  <a:srgbClr val="000000">
                    <a:lumMod val="65000"/>
                    <a:lumOff val="35000"/>
                  </a:srgbClr>
                </a:solidFill>
                <a:effectLst/>
                <a:uLnTx/>
                <a:uFillTx/>
                <a:latin typeface="Segoe UI"/>
                <a:ea typeface="+mn-ea"/>
                <a:cs typeface="+mn-cs"/>
              </a:rPr>
              <a:t>Pilot Implementation and User Training (1-2 months): This includes implementing the system on a small scale to test its real-world performance and training users on how to use the system.</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000" b="0" i="0" u="none" strike="noStrike" kern="1200" cap="none" spc="0" normalizeH="0" baseline="0" noProof="0">
                <a:ln>
                  <a:noFill/>
                </a:ln>
                <a:solidFill>
                  <a:srgbClr val="000000">
                    <a:lumMod val="65000"/>
                    <a:lumOff val="35000"/>
                  </a:srgbClr>
                </a:solidFill>
                <a:effectLst/>
                <a:uLnTx/>
                <a:uFillTx/>
                <a:latin typeface="Segoe UI"/>
                <a:ea typeface="+mn-ea"/>
                <a:cs typeface="+mn-cs"/>
              </a:rPr>
              <a:t>Full Implementation and Monitoring (3-4 months): This involves rolling out the system across the organization and monitoring its performance.</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000" b="0" i="0" u="none" strike="noStrike" kern="1200" cap="none" spc="0" normalizeH="0" baseline="0" noProof="0">
                <a:ln>
                  <a:noFill/>
                </a:ln>
                <a:solidFill>
                  <a:srgbClr val="000000">
                    <a:lumMod val="65000"/>
                    <a:lumOff val="35000"/>
                  </a:srgbClr>
                </a:solidFill>
                <a:effectLst/>
                <a:uLnTx/>
                <a:uFillTx/>
                <a:latin typeface="Segoe UI"/>
                <a:ea typeface="+mn-ea"/>
                <a:cs typeface="+mn-cs"/>
              </a:rPr>
              <a:t>Overall, you can expect the entire process to take approximately 12-18 months. However, this is a rough estimate and the actual timeframe could vary depending on various factors such as the complexity of the system, the availability of data, and the readiness of the organization for change.</a:t>
            </a:r>
          </a:p>
        </p:txBody>
      </p:sp>
      <p:sp>
        <p:nvSpPr>
          <p:cNvPr id="10" name="Title 61">
            <a:extLst>
              <a:ext uri="{FF2B5EF4-FFF2-40B4-BE49-F238E27FC236}">
                <a16:creationId xmlns:a16="http://schemas.microsoft.com/office/drawing/2014/main" id="{44C1F13D-75AB-D94D-23A2-FFE453EAD080}"/>
              </a:ext>
            </a:extLst>
          </p:cNvPr>
          <p:cNvSpPr txBox="1">
            <a:spLocks/>
          </p:cNvSpPr>
          <p:nvPr/>
        </p:nvSpPr>
        <p:spPr>
          <a:xfrm>
            <a:off x="573024" y="34618"/>
            <a:ext cx="11018520" cy="327268"/>
          </a:xfrm>
          <a:prstGeom prst="rect">
            <a:avLst/>
          </a:prstGeom>
        </p:spPr>
        <p:txBody>
          <a:bodyPr/>
          <a:lstStyle>
            <a:lvl1pPr algn="l" defTabSz="932742" rtl="0" eaLnBrk="1" latinLnBrk="0" hangingPunct="1">
              <a:lnSpc>
                <a:spcPct val="100000"/>
              </a:lnSpc>
              <a:spcBef>
                <a:spcPct val="0"/>
              </a:spcBef>
              <a:buNone/>
              <a:defRPr lang="en-US" sz="2000" b="0" kern="1200" cap="none" spc="0" baseline="0" dirty="0" smtClean="0">
                <a:ln w="3175">
                  <a:noFill/>
                </a:ln>
                <a:solidFill>
                  <a:schemeClr val="tx1"/>
                </a:solidFill>
                <a:effectLst/>
                <a:latin typeface="+mj-lt"/>
                <a:ea typeface="+mn-ea"/>
                <a:cs typeface="Segoe UI" pitchFamily="34" charset="0"/>
              </a:defRPr>
            </a:lvl1pPr>
          </a:lstStyle>
          <a:p>
            <a:r>
              <a:rPr lang="en-US" dirty="0"/>
              <a:t>AI Use Cases Define</a:t>
            </a:r>
          </a:p>
        </p:txBody>
      </p:sp>
    </p:spTree>
    <p:extLst>
      <p:ext uri="{BB962C8B-B14F-4D97-AF65-F5344CB8AC3E}">
        <p14:creationId xmlns:p14="http://schemas.microsoft.com/office/powerpoint/2010/main" val="1800071375"/>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A00EAC9-804C-3F99-DB92-1E430FC3D793}"/>
              </a:ext>
              <a:ext uri="{C183D7F6-B498-43B3-948B-1728B52AA6E4}">
                <adec:decorative xmlns:adec="http://schemas.microsoft.com/office/drawing/2017/decorative" val="1"/>
              </a:ext>
            </a:extLst>
          </p:cNvPr>
          <p:cNvSpPr/>
          <p:nvPr/>
        </p:nvSpPr>
        <p:spPr bwMode="auto">
          <a:xfrm>
            <a:off x="0" y="435678"/>
            <a:ext cx="12192000" cy="109576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 name="Titel 1">
            <a:extLst>
              <a:ext uri="{FF2B5EF4-FFF2-40B4-BE49-F238E27FC236}">
                <a16:creationId xmlns:a16="http://schemas.microsoft.com/office/drawing/2014/main" id="{5B37C216-2900-617A-3A68-E8C71F39D530}"/>
              </a:ext>
            </a:extLst>
          </p:cNvPr>
          <p:cNvSpPr txBox="1">
            <a:spLocks/>
          </p:cNvSpPr>
          <p:nvPr/>
        </p:nvSpPr>
        <p:spPr>
          <a:xfrm>
            <a:off x="588262" y="534069"/>
            <a:ext cx="8658247" cy="184666"/>
          </a:xfrm>
          <a:prstGeom prst="rect">
            <a:avLst/>
          </a:prstGeom>
        </p:spPr>
        <p:txBody>
          <a:bodyPr vert="horz" wrap="square" lIns="0" tIns="0" rIns="0" bIns="0" rtlCol="0" anchor="ctr">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200" b="0" i="0" u="none" strike="noStrike" kern="1200" cap="none" spc="0" normalizeH="0" baseline="0" noProof="0">
                <a:ln w="3175">
                  <a:noFill/>
                </a:ln>
                <a:solidFill>
                  <a:srgbClr val="000000"/>
                </a:solidFill>
                <a:effectLst/>
                <a:uLnTx/>
                <a:uFillTx/>
                <a:latin typeface="Segoe UI Semibold"/>
                <a:ea typeface="+mn-ea"/>
                <a:cs typeface="Segoe UI" pitchFamily="34" charset="0"/>
              </a:rPr>
              <a:t>Use case name:</a:t>
            </a:r>
          </a:p>
        </p:txBody>
      </p:sp>
      <p:sp>
        <p:nvSpPr>
          <p:cNvPr id="5" name="Textplatzhalter 2">
            <a:extLst>
              <a:ext uri="{FF2B5EF4-FFF2-40B4-BE49-F238E27FC236}">
                <a16:creationId xmlns:a16="http://schemas.microsoft.com/office/drawing/2014/main" id="{DE51592C-CAA7-B67B-6B4B-B8A4FF036D7C}"/>
              </a:ext>
            </a:extLst>
          </p:cNvPr>
          <p:cNvSpPr txBox="1">
            <a:spLocks/>
          </p:cNvSpPr>
          <p:nvPr/>
        </p:nvSpPr>
        <p:spPr>
          <a:xfrm>
            <a:off x="588263" y="759589"/>
            <a:ext cx="5117378" cy="215444"/>
          </a:xfrm>
          <a:prstGeom prst="rect">
            <a:avLst/>
          </a:prstGeom>
        </p:spPr>
        <p:txBody>
          <a:bodyPr lIns="0" tIns="0" rIns="0" bIns="0" anchor="ct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Department: </a:t>
            </a:r>
          </a:p>
        </p:txBody>
      </p:sp>
      <p:sp>
        <p:nvSpPr>
          <p:cNvPr id="6" name="Textplatzhalter 2">
            <a:extLst>
              <a:ext uri="{FF2B5EF4-FFF2-40B4-BE49-F238E27FC236}">
                <a16:creationId xmlns:a16="http://schemas.microsoft.com/office/drawing/2014/main" id="{2D4AA423-3263-4CF7-B023-3A201ED156C9}"/>
              </a:ext>
            </a:extLst>
          </p:cNvPr>
          <p:cNvSpPr txBox="1">
            <a:spLocks/>
          </p:cNvSpPr>
          <p:nvPr/>
        </p:nvSpPr>
        <p:spPr>
          <a:xfrm>
            <a:off x="6503121" y="763208"/>
            <a:ext cx="5117378" cy="215444"/>
          </a:xfrm>
          <a:prstGeom prst="rect">
            <a:avLst/>
          </a:prstGeom>
        </p:spPr>
        <p:txBody>
          <a:bodyPr lIns="0" tIns="0" rIns="0" bIns="0"/>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Internal or external use:</a:t>
            </a:r>
          </a:p>
        </p:txBody>
      </p:sp>
      <p:sp>
        <p:nvSpPr>
          <p:cNvPr id="7" name="Oval 32">
            <a:extLst>
              <a:ext uri="{FF2B5EF4-FFF2-40B4-BE49-F238E27FC236}">
                <a16:creationId xmlns:a16="http://schemas.microsoft.com/office/drawing/2014/main" id="{D465B900-850F-258D-196D-3FCCC3835DF5}"/>
              </a:ext>
              <a:ext uri="{C183D7F6-B498-43B3-948B-1728B52AA6E4}">
                <adec:decorative xmlns:adec="http://schemas.microsoft.com/office/drawing/2017/decorative" val="1"/>
              </a:ext>
            </a:extLst>
          </p:cNvPr>
          <p:cNvSpPr/>
          <p:nvPr/>
        </p:nvSpPr>
        <p:spPr bwMode="auto">
          <a:xfrm>
            <a:off x="557785" y="1054552"/>
            <a:ext cx="11048998" cy="5803448"/>
          </a:xfrm>
          <a:prstGeom prst="rect">
            <a:avLst/>
          </a:prstGeom>
          <a:solidFill>
            <a:srgbClr val="FFFFFF">
              <a:lumMod val="95000"/>
            </a:srgbClr>
          </a:solidFill>
          <a:ln w="9525" cap="flat" cmpd="sng" algn="ctr">
            <a:noFill/>
            <a:prstDash val="solid"/>
            <a:headEnd type="none" w="med" len="med"/>
            <a:tailEnd type="none" w="med" len="med"/>
          </a:ln>
          <a:effectLst>
            <a:outerShdw blurRad="584200" dist="38100" dir="3960000" sx="102000" sy="102000" algn="tl" rotWithShape="0">
              <a:prstClr val="black">
                <a:alpha val="1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8" name="Donut 7">
            <a:extLst>
              <a:ext uri="{FF2B5EF4-FFF2-40B4-BE49-F238E27FC236}">
                <a16:creationId xmlns:a16="http://schemas.microsoft.com/office/drawing/2014/main" id="{83839F00-EE58-9A5D-D28C-5085A434BE72}"/>
              </a:ext>
            </a:extLst>
          </p:cNvPr>
          <p:cNvSpPr/>
          <p:nvPr/>
        </p:nvSpPr>
        <p:spPr bwMode="auto">
          <a:xfrm>
            <a:off x="709426" y="1122072"/>
            <a:ext cx="10773151" cy="273589"/>
          </a:xfrm>
          <a:prstGeom prst="rect">
            <a:avLst/>
          </a:prstGeom>
          <a:solidFill>
            <a:schemeClr val="accent4"/>
          </a:solidFill>
          <a:ln w="5992" cap="flat">
            <a:noFill/>
            <a:prstDash val="solid"/>
            <a:miter/>
          </a:ln>
        </p:spPr>
        <p:txBody>
          <a:bodyPr wrap="square" rtlCol="0" anchor="ctr">
            <a:noAutofit/>
          </a:bodyPr>
          <a:lstStyle/>
          <a:p>
            <a:pPr defTabSz="914400">
              <a:spcAft>
                <a:spcPts val="200"/>
              </a:spcAft>
              <a:defRPr/>
            </a:pPr>
            <a:r>
              <a:rPr kumimoji="0" lang="en-US" sz="1200" b="0" i="0" u="none" strike="noStrike" kern="1200" cap="none" spc="0" normalizeH="0" baseline="0" noProof="0">
                <a:ln>
                  <a:noFill/>
                </a:ln>
                <a:solidFill>
                  <a:srgbClr val="FFFFFF"/>
                </a:solidFill>
                <a:effectLst/>
                <a:uLnTx/>
                <a:uFillTx/>
                <a:latin typeface="Segoe UI Semibold"/>
                <a:ea typeface="+mn-ea"/>
                <a:cs typeface="+mn-cs"/>
              </a:rPr>
              <a:t>Objectives &amp; key results – Strategic fit assessment</a:t>
            </a:r>
          </a:p>
        </p:txBody>
      </p:sp>
      <p:sp>
        <p:nvSpPr>
          <p:cNvPr id="12" name="Rectangle 11">
            <a:extLst>
              <a:ext uri="{FF2B5EF4-FFF2-40B4-BE49-F238E27FC236}">
                <a16:creationId xmlns:a16="http://schemas.microsoft.com/office/drawing/2014/main" id="{13513069-0FBC-19C3-15E4-40444B6C4C2E}"/>
              </a:ext>
            </a:extLst>
          </p:cNvPr>
          <p:cNvSpPr/>
          <p:nvPr/>
        </p:nvSpPr>
        <p:spPr bwMode="auto">
          <a:xfrm>
            <a:off x="709425" y="1471562"/>
            <a:ext cx="3435778" cy="5337922"/>
          </a:xfrm>
          <a:prstGeom prst="rect">
            <a:avLst/>
          </a:prstGeom>
          <a:solidFill>
            <a:schemeClr val="bg1">
              <a:alpha val="9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mn-ea"/>
                <a:cs typeface="+mn-cs"/>
              </a:rPr>
              <a:t>Key Personas </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050" b="0" i="0" u="none" strike="noStrike" kern="1200" cap="none" spc="0" normalizeH="0" baseline="0" noProof="0">
                <a:ln>
                  <a:noFill/>
                </a:ln>
                <a:solidFill>
                  <a:srgbClr val="000000">
                    <a:lumMod val="65000"/>
                    <a:lumOff val="35000"/>
                  </a:srgbClr>
                </a:solidFill>
                <a:effectLst/>
                <a:uLnTx/>
                <a:uFillTx/>
                <a:latin typeface="Segoe UI"/>
                <a:ea typeface="+mn-ea"/>
                <a:cs typeface="+mn-cs"/>
              </a:rPr>
              <a:t>Pricing Analysts: These are the primary users of the AI model. They would benefit from the automated analysis of competitor pricing data, which would save them time and effort. The AI model would also provide them with reliable pricing suggestions, helping them make more informed decisions.</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050" b="0" i="0" u="none" strike="noStrike" kern="1200" cap="none" spc="0" normalizeH="0" baseline="0" noProof="0">
                <a:ln>
                  <a:noFill/>
                </a:ln>
                <a:solidFill>
                  <a:srgbClr val="000000">
                    <a:lumMod val="65000"/>
                    <a:lumOff val="35000"/>
                  </a:srgbClr>
                </a:solidFill>
                <a:effectLst/>
                <a:uLnTx/>
                <a:uFillTx/>
                <a:latin typeface="Segoe UI"/>
                <a:ea typeface="+mn-ea"/>
                <a:cs typeface="+mn-cs"/>
              </a:rPr>
              <a:t>Sales Representatives: They would benefit from the optimal pricing of Oso One IFP insurance plans, as it would make the plans more attractive to potential clients, potentially leading to increased sales.</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050" b="0" i="0" u="none" strike="noStrike" kern="1200" cap="none" spc="0" normalizeH="0" baseline="0" noProof="0">
                <a:ln>
                  <a:noFill/>
                </a:ln>
                <a:solidFill>
                  <a:srgbClr val="000000">
                    <a:lumMod val="65000"/>
                    <a:lumOff val="35000"/>
                  </a:srgbClr>
                </a:solidFill>
                <a:effectLst/>
                <a:uLnTx/>
                <a:uFillTx/>
                <a:latin typeface="Segoe UI"/>
                <a:ea typeface="+mn-ea"/>
                <a:cs typeface="+mn-cs"/>
              </a:rPr>
              <a:t>Marketing Team: The marketing team could use the insights generated by the AI model to develop more effective marketing strategies. For example, they could highlight the competitive pricing of Oso One IFP insurance plans in their marketing campaigns.</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050" b="0" i="0" u="none" strike="noStrike" kern="1200" cap="none" spc="0" normalizeH="0" baseline="0" noProof="0">
                <a:ln>
                  <a:noFill/>
                </a:ln>
                <a:solidFill>
                  <a:srgbClr val="000000">
                    <a:lumMod val="65000"/>
                    <a:lumOff val="35000"/>
                  </a:srgbClr>
                </a:solidFill>
                <a:effectLst/>
                <a:uLnTx/>
                <a:uFillTx/>
                <a:latin typeface="Segoe UI"/>
                <a:ea typeface="+mn-ea"/>
                <a:cs typeface="+mn-cs"/>
              </a:rPr>
              <a:t>Senior Management: The senior management team would benefit from the increased revenue and improved efficiency resulting from the implementation of the AI model. They could also use the insights generated by the AI model for strategic planning.</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050" b="0" i="0" u="none" strike="noStrike" kern="1200" cap="none" spc="0" normalizeH="0" baseline="0" noProof="0">
                <a:ln>
                  <a:noFill/>
                </a:ln>
                <a:solidFill>
                  <a:srgbClr val="000000">
                    <a:lumMod val="65000"/>
                    <a:lumOff val="35000"/>
                  </a:srgbClr>
                </a:solidFill>
                <a:effectLst/>
                <a:uLnTx/>
                <a:uFillTx/>
                <a:latin typeface="Segoe UI"/>
                <a:ea typeface="+mn-ea"/>
                <a:cs typeface="+mn-cs"/>
              </a:rPr>
              <a:t>Customers: The end customers, who are potential clients for Oso One IFP insurance plans, would also benefit. They would have access to competitively priced insurance plans, enhancing their satisfaction and loyalty.</a:t>
            </a:r>
          </a:p>
        </p:txBody>
      </p:sp>
      <p:sp>
        <p:nvSpPr>
          <p:cNvPr id="13" name="Rectangle 12">
            <a:extLst>
              <a:ext uri="{FF2B5EF4-FFF2-40B4-BE49-F238E27FC236}">
                <a16:creationId xmlns:a16="http://schemas.microsoft.com/office/drawing/2014/main" id="{4D147FF6-9A68-2382-67C5-524DFCC68B82}"/>
              </a:ext>
            </a:extLst>
          </p:cNvPr>
          <p:cNvSpPr>
            <a:spLocks/>
          </p:cNvSpPr>
          <p:nvPr/>
        </p:nvSpPr>
        <p:spPr bwMode="auto">
          <a:xfrm>
            <a:off x="4283127" y="1471561"/>
            <a:ext cx="3917134" cy="5266638"/>
          </a:xfrm>
          <a:prstGeom prst="rect">
            <a:avLst/>
          </a:prstGeom>
          <a:solidFill>
            <a:schemeClr val="bg1">
              <a:alpha val="9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lang="en-US" sz="1100">
                <a:solidFill>
                  <a:srgbClr val="000000"/>
                </a:solidFill>
                <a:latin typeface="Segoe UI Semibold"/>
              </a:rPr>
              <a:t>Value to Personas</a:t>
            </a:r>
            <a:endParaRPr kumimoji="0" lang="en-US" sz="1100" b="0" i="0" u="none" strike="noStrike" kern="1200" cap="none" spc="0" normalizeH="0" baseline="0" noProof="0">
              <a:ln>
                <a:noFill/>
              </a:ln>
              <a:solidFill>
                <a:srgbClr val="000000"/>
              </a:solidFill>
              <a:effectLst/>
              <a:uLnTx/>
              <a:uFillTx/>
              <a:latin typeface="Segoe UI Semibold"/>
              <a:ea typeface="+mn-ea"/>
              <a:cs typeface="+mn-cs"/>
            </a:endParaRP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050" b="0" i="0" u="none" strike="noStrike" kern="1200" cap="none" spc="0" normalizeH="0" baseline="0" noProof="0">
                <a:ln>
                  <a:noFill/>
                </a:ln>
                <a:solidFill>
                  <a:srgbClr val="000000">
                    <a:lumMod val="65000"/>
                    <a:lumOff val="35000"/>
                  </a:srgbClr>
                </a:solidFill>
                <a:effectLst/>
                <a:uLnTx/>
                <a:uFillTx/>
                <a:latin typeface="Segoe UI"/>
                <a:ea typeface="+mn-ea"/>
                <a:cs typeface="+mn-cs"/>
              </a:rPr>
              <a:t>Pricing Analysts: The AI model would automate the time-consuming task of analyzing competitor pricing data, allowing analysts to focus on more strategic tasks. They would also have access to reliable pricing suggestions, which would support more informed and accurate decision-making.</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050" b="0" i="0" u="none" strike="noStrike" kern="1200" cap="none" spc="0" normalizeH="0" baseline="0" noProof="0">
                <a:ln>
                  <a:noFill/>
                </a:ln>
                <a:solidFill>
                  <a:srgbClr val="000000">
                    <a:lumMod val="65000"/>
                    <a:lumOff val="35000"/>
                  </a:srgbClr>
                </a:solidFill>
                <a:effectLst/>
                <a:uLnTx/>
                <a:uFillTx/>
                <a:latin typeface="Segoe UI"/>
                <a:ea typeface="+mn-ea"/>
                <a:cs typeface="+mn-cs"/>
              </a:rPr>
              <a:t>Sales Representatives: With optimal pricing for Oso One IFP insurance plans, sales representatives would be better equipped to attract potential clients, potentially leading to increased sales and improved job performance.</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050" b="0" i="0" u="none" strike="noStrike" kern="1200" cap="none" spc="0" normalizeH="0" baseline="0" noProof="0">
                <a:ln>
                  <a:noFill/>
                </a:ln>
                <a:solidFill>
                  <a:srgbClr val="000000">
                    <a:lumMod val="65000"/>
                    <a:lumOff val="35000"/>
                  </a:srgbClr>
                </a:solidFill>
                <a:effectLst/>
                <a:uLnTx/>
                <a:uFillTx/>
                <a:latin typeface="Segoe UI"/>
                <a:ea typeface="+mn-ea"/>
                <a:cs typeface="+mn-cs"/>
              </a:rPr>
              <a:t>Marketing Team: The insights generated by the AI model could inform more effective marketing strategies, enhancing the team’s ability to promote Oso One IFP insurance plans and attract potential clients.</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050" b="0" i="0" u="none" strike="noStrike" kern="1200" cap="none" spc="0" normalizeH="0" baseline="0" noProof="0">
                <a:ln>
                  <a:noFill/>
                </a:ln>
                <a:solidFill>
                  <a:srgbClr val="000000">
                    <a:lumMod val="65000"/>
                    <a:lumOff val="35000"/>
                  </a:srgbClr>
                </a:solidFill>
                <a:effectLst/>
                <a:uLnTx/>
                <a:uFillTx/>
                <a:latin typeface="Segoe UI"/>
                <a:ea typeface="+mn-ea"/>
                <a:cs typeface="+mn-cs"/>
              </a:rPr>
              <a:t>Senior Management: The increased revenue and improved efficiency resulting from the implementation of the AI model would contribute to the achievement of business goals. The insights generated by the AI model could also inform strategic planning, leading to better business outcomes.</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050" b="0" i="0" u="none" strike="noStrike" kern="1200" cap="none" spc="0" normalizeH="0" baseline="0" noProof="0">
                <a:ln>
                  <a:noFill/>
                </a:ln>
                <a:solidFill>
                  <a:srgbClr val="000000">
                    <a:lumMod val="65000"/>
                    <a:lumOff val="35000"/>
                  </a:srgbClr>
                </a:solidFill>
                <a:effectLst/>
                <a:uLnTx/>
                <a:uFillTx/>
                <a:latin typeface="Segoe UI"/>
                <a:ea typeface="+mn-ea"/>
                <a:cs typeface="+mn-cs"/>
              </a:rPr>
              <a:t>Customers: Customers would have access to competitively priced Oso One IFP insurance plans, enhancing their satisfaction and loyalty. This could also make health insurance more accessible to more people, contributing to improved health outcomes in the community.</a:t>
            </a:r>
            <a:endParaRPr kumimoji="0" lang="en-US" sz="1100" b="0" i="0" u="none" strike="noStrike" kern="1200" cap="none" spc="0" normalizeH="0" baseline="0" noProof="0">
              <a:ln>
                <a:noFill/>
              </a:ln>
              <a:solidFill>
                <a:srgbClr val="000000">
                  <a:lumMod val="65000"/>
                  <a:lumOff val="35000"/>
                </a:srgbClr>
              </a:solidFill>
              <a:effectLst/>
              <a:uLnTx/>
              <a:uFillTx/>
              <a:latin typeface="Segoe UI"/>
              <a:ea typeface="+mn-ea"/>
              <a:cs typeface="+mn-cs"/>
            </a:endParaRPr>
          </a:p>
        </p:txBody>
      </p:sp>
      <p:sp>
        <p:nvSpPr>
          <p:cNvPr id="9" name="Rectangle 8">
            <a:extLst>
              <a:ext uri="{FF2B5EF4-FFF2-40B4-BE49-F238E27FC236}">
                <a16:creationId xmlns:a16="http://schemas.microsoft.com/office/drawing/2014/main" id="{80E55B3B-9D67-204C-B503-4404598C31F7}"/>
              </a:ext>
            </a:extLst>
          </p:cNvPr>
          <p:cNvSpPr>
            <a:spLocks/>
          </p:cNvSpPr>
          <p:nvPr/>
        </p:nvSpPr>
        <p:spPr bwMode="auto">
          <a:xfrm>
            <a:off x="8288277" y="1463181"/>
            <a:ext cx="3345937" cy="5266638"/>
          </a:xfrm>
          <a:prstGeom prst="rect">
            <a:avLst/>
          </a:prstGeom>
          <a:solidFill>
            <a:schemeClr val="bg1">
              <a:alpha val="9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lang="en-US" sz="1100">
                <a:solidFill>
                  <a:srgbClr val="000000"/>
                </a:solidFill>
                <a:latin typeface="Segoe UI Semibold"/>
              </a:rPr>
              <a:t>Change Resistance from Users</a:t>
            </a:r>
            <a:endParaRPr kumimoji="0" lang="en-US" sz="1100" b="0" i="0" u="none" strike="noStrike" kern="1200" cap="none" spc="0" normalizeH="0" baseline="0" noProof="0">
              <a:ln>
                <a:noFill/>
              </a:ln>
              <a:solidFill>
                <a:srgbClr val="000000"/>
              </a:solidFill>
              <a:effectLst/>
              <a:uLnTx/>
              <a:uFillTx/>
              <a:latin typeface="Segoe UI Semibold"/>
              <a:ea typeface="+mn-ea"/>
              <a:cs typeface="+mn-cs"/>
            </a:endParaRP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000" b="0" i="0" u="none" strike="noStrike" kern="1200" cap="none" spc="0" normalizeH="0" baseline="0" noProof="0">
                <a:ln>
                  <a:noFill/>
                </a:ln>
                <a:solidFill>
                  <a:srgbClr val="000000">
                    <a:lumMod val="65000"/>
                    <a:lumOff val="35000"/>
                  </a:srgbClr>
                </a:solidFill>
                <a:effectLst/>
                <a:uLnTx/>
                <a:uFillTx/>
                <a:latin typeface="Segoe UI"/>
                <a:ea typeface="+mn-ea"/>
                <a:cs typeface="+mn-cs"/>
              </a:rPr>
              <a:t>Implementing a new AI model for competitive pricing analysis could potentially encounter several types of resistance to change within the organization:</a:t>
            </a:r>
          </a:p>
          <a:p>
            <a:pPr marL="0" marR="0" lvl="0" indent="0" algn="l" defTabSz="914400" rtl="0" eaLnBrk="1" fontAlgn="auto" latinLnBrk="0" hangingPunct="1">
              <a:lnSpc>
                <a:spcPct val="100000"/>
              </a:lnSpc>
              <a:spcBef>
                <a:spcPts val="0"/>
              </a:spcBef>
              <a:spcAft>
                <a:spcPts val="200"/>
              </a:spcAft>
              <a:buClrTx/>
              <a:buSzTx/>
              <a:buFontTx/>
              <a:buNone/>
              <a:tabLst/>
              <a:defRPr/>
            </a:pPr>
            <a:endParaRPr kumimoji="0" lang="en-US" sz="1000" b="0" i="0" u="none" strike="noStrike" kern="1200" cap="none" spc="0" normalizeH="0" baseline="0" noProof="0">
              <a:ln>
                <a:noFill/>
              </a:ln>
              <a:solidFill>
                <a:srgbClr val="000000">
                  <a:lumMod val="65000"/>
                  <a:lumOff val="35000"/>
                </a:srgbClr>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000" b="0" i="0" u="none" strike="noStrike" kern="1200" cap="none" spc="0" normalizeH="0" baseline="0" noProof="0">
                <a:ln>
                  <a:noFill/>
                </a:ln>
                <a:solidFill>
                  <a:srgbClr val="000000">
                    <a:lumMod val="65000"/>
                    <a:lumOff val="35000"/>
                  </a:srgbClr>
                </a:solidFill>
                <a:effectLst/>
                <a:uLnTx/>
                <a:uFillTx/>
                <a:latin typeface="Segoe UI"/>
                <a:ea typeface="+mn-ea"/>
                <a:cs typeface="+mn-cs"/>
              </a:rPr>
              <a:t>Technological Resistance: Employees might resist the change due to a lack of understanding or fear of new technology. They might be concerned about the complexity of the AI model and its impact on their roles.</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000" b="0" i="0" u="none" strike="noStrike" kern="1200" cap="none" spc="0" normalizeH="0" baseline="0" noProof="0">
                <a:ln>
                  <a:noFill/>
                </a:ln>
                <a:solidFill>
                  <a:srgbClr val="000000">
                    <a:lumMod val="65000"/>
                    <a:lumOff val="35000"/>
                  </a:srgbClr>
                </a:solidFill>
                <a:effectLst/>
                <a:uLnTx/>
                <a:uFillTx/>
                <a:latin typeface="Segoe UI"/>
                <a:ea typeface="+mn-ea"/>
                <a:cs typeface="+mn-cs"/>
              </a:rPr>
              <a:t>Process Resistance: The new AI model would change the current process of analyzing competitor pricing data and suggesting optimal pricing. Employees who are comfortable with the existing process might resist this change.</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000" b="0" i="0" u="none" strike="noStrike" kern="1200" cap="none" spc="0" normalizeH="0" baseline="0" noProof="0">
                <a:ln>
                  <a:noFill/>
                </a:ln>
                <a:solidFill>
                  <a:srgbClr val="000000">
                    <a:lumMod val="65000"/>
                    <a:lumOff val="35000"/>
                  </a:srgbClr>
                </a:solidFill>
                <a:effectLst/>
                <a:uLnTx/>
                <a:uFillTx/>
                <a:latin typeface="Segoe UI"/>
                <a:ea typeface="+mn-ea"/>
                <a:cs typeface="+mn-cs"/>
              </a:rPr>
              <a:t>Role Resistance: The AI model could potentially alter the roles and responsibilities of pricing analysts and other stakeholders. This could lead to resistance if not managed properly.</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000" b="0" i="0" u="none" strike="noStrike" kern="1200" cap="none" spc="0" normalizeH="0" baseline="0" noProof="0">
                <a:ln>
                  <a:noFill/>
                </a:ln>
                <a:solidFill>
                  <a:srgbClr val="000000">
                    <a:lumMod val="65000"/>
                    <a:lumOff val="35000"/>
                  </a:srgbClr>
                </a:solidFill>
                <a:effectLst/>
                <a:uLnTx/>
                <a:uFillTx/>
                <a:latin typeface="Segoe UI"/>
                <a:ea typeface="+mn-ea"/>
                <a:cs typeface="+mn-cs"/>
              </a:rPr>
              <a:t>Organizational Culture Resistance: If the organization’s culture is not conducive to change or innovation, there might be resistance to implementing the AI model.</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000" b="0" i="0" u="none" strike="noStrike" kern="1200" cap="none" spc="0" normalizeH="0" baseline="0" noProof="0">
                <a:ln>
                  <a:noFill/>
                </a:ln>
                <a:solidFill>
                  <a:srgbClr val="000000">
                    <a:lumMod val="65000"/>
                    <a:lumOff val="35000"/>
                  </a:srgbClr>
                </a:solidFill>
                <a:effectLst/>
                <a:uLnTx/>
                <a:uFillTx/>
                <a:latin typeface="Segoe UI"/>
                <a:ea typeface="+mn-ea"/>
                <a:cs typeface="+mn-cs"/>
              </a:rPr>
              <a:t>Resource Resistance: There might be resistance due to concerns about the allocation of resources (time, budget, personnel) for the implementation and maintenance of the AI model.</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000" b="0" i="0" u="none" strike="noStrike" kern="1200" cap="none" spc="0" normalizeH="0" baseline="0" noProof="0">
                <a:ln>
                  <a:noFill/>
                </a:ln>
                <a:solidFill>
                  <a:srgbClr val="000000">
                    <a:lumMod val="65000"/>
                    <a:lumOff val="35000"/>
                  </a:srgbClr>
                </a:solidFill>
                <a:effectLst/>
                <a:uLnTx/>
                <a:uFillTx/>
                <a:latin typeface="Segoe UI"/>
                <a:ea typeface="+mn-ea"/>
                <a:cs typeface="+mn-cs"/>
              </a:rPr>
              <a:t>To overcome this resistance, it’s important to communicate the benefits of the AI model clearly to all stakeholders, provide necessary training and support, involve employees in the change process, and ensure that the change aligns with the organization’s culture and strategic goals.</a:t>
            </a:r>
          </a:p>
        </p:txBody>
      </p:sp>
      <p:sp>
        <p:nvSpPr>
          <p:cNvPr id="10" name="Title 61">
            <a:extLst>
              <a:ext uri="{FF2B5EF4-FFF2-40B4-BE49-F238E27FC236}">
                <a16:creationId xmlns:a16="http://schemas.microsoft.com/office/drawing/2014/main" id="{EBA76861-D5BB-9196-34C4-B560C805668A}"/>
              </a:ext>
            </a:extLst>
          </p:cNvPr>
          <p:cNvSpPr txBox="1">
            <a:spLocks/>
          </p:cNvSpPr>
          <p:nvPr/>
        </p:nvSpPr>
        <p:spPr>
          <a:xfrm>
            <a:off x="573024" y="34618"/>
            <a:ext cx="11018520" cy="327268"/>
          </a:xfrm>
          <a:prstGeom prst="rect">
            <a:avLst/>
          </a:prstGeom>
        </p:spPr>
        <p:txBody>
          <a:bodyPr/>
          <a:lstStyle>
            <a:lvl1pPr algn="l" defTabSz="932742" rtl="0" eaLnBrk="1" latinLnBrk="0" hangingPunct="1">
              <a:lnSpc>
                <a:spcPct val="100000"/>
              </a:lnSpc>
              <a:spcBef>
                <a:spcPct val="0"/>
              </a:spcBef>
              <a:buNone/>
              <a:defRPr lang="en-US" sz="2000" b="0" kern="1200" cap="none" spc="0" baseline="0" dirty="0" smtClean="0">
                <a:ln w="3175">
                  <a:noFill/>
                </a:ln>
                <a:solidFill>
                  <a:schemeClr val="tx1"/>
                </a:solidFill>
                <a:effectLst/>
                <a:latin typeface="+mj-lt"/>
                <a:ea typeface="+mn-ea"/>
                <a:cs typeface="Segoe UI" pitchFamily="34" charset="0"/>
              </a:defRPr>
            </a:lvl1pPr>
          </a:lstStyle>
          <a:p>
            <a:r>
              <a:rPr lang="en-US" dirty="0"/>
              <a:t>AI Use Cases Define</a:t>
            </a:r>
          </a:p>
        </p:txBody>
      </p:sp>
    </p:spTree>
    <p:extLst>
      <p:ext uri="{BB962C8B-B14F-4D97-AF65-F5344CB8AC3E}">
        <p14:creationId xmlns:p14="http://schemas.microsoft.com/office/powerpoint/2010/main" val="459898383"/>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A00EAC9-804C-3F99-DB92-1E430FC3D793}"/>
              </a:ext>
              <a:ext uri="{C183D7F6-B498-43B3-948B-1728B52AA6E4}">
                <adec:decorative xmlns:adec="http://schemas.microsoft.com/office/drawing/2017/decorative" val="1"/>
              </a:ext>
            </a:extLst>
          </p:cNvPr>
          <p:cNvSpPr/>
          <p:nvPr/>
        </p:nvSpPr>
        <p:spPr bwMode="auto">
          <a:xfrm>
            <a:off x="0" y="435678"/>
            <a:ext cx="12192000" cy="109576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 name="Titel 1">
            <a:extLst>
              <a:ext uri="{FF2B5EF4-FFF2-40B4-BE49-F238E27FC236}">
                <a16:creationId xmlns:a16="http://schemas.microsoft.com/office/drawing/2014/main" id="{5B37C216-2900-617A-3A68-E8C71F39D530}"/>
              </a:ext>
            </a:extLst>
          </p:cNvPr>
          <p:cNvSpPr txBox="1">
            <a:spLocks/>
          </p:cNvSpPr>
          <p:nvPr/>
        </p:nvSpPr>
        <p:spPr>
          <a:xfrm>
            <a:off x="588262" y="534069"/>
            <a:ext cx="8658247" cy="184666"/>
          </a:xfrm>
          <a:prstGeom prst="rect">
            <a:avLst/>
          </a:prstGeom>
        </p:spPr>
        <p:txBody>
          <a:bodyPr vert="horz" wrap="square" lIns="0" tIns="0" rIns="0" bIns="0" rtlCol="0" anchor="ctr">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200" b="0" i="0" u="none" strike="noStrike" kern="1200" cap="none" spc="0" normalizeH="0" baseline="0" noProof="0">
                <a:ln w="3175">
                  <a:noFill/>
                </a:ln>
                <a:solidFill>
                  <a:srgbClr val="000000"/>
                </a:solidFill>
                <a:effectLst/>
                <a:uLnTx/>
                <a:uFillTx/>
                <a:latin typeface="Segoe UI Semibold"/>
                <a:ea typeface="+mn-ea"/>
                <a:cs typeface="Segoe UI" pitchFamily="34" charset="0"/>
              </a:rPr>
              <a:t>Use case name:</a:t>
            </a:r>
          </a:p>
        </p:txBody>
      </p:sp>
      <p:sp>
        <p:nvSpPr>
          <p:cNvPr id="5" name="Textplatzhalter 2">
            <a:extLst>
              <a:ext uri="{FF2B5EF4-FFF2-40B4-BE49-F238E27FC236}">
                <a16:creationId xmlns:a16="http://schemas.microsoft.com/office/drawing/2014/main" id="{DE51592C-CAA7-B67B-6B4B-B8A4FF036D7C}"/>
              </a:ext>
            </a:extLst>
          </p:cNvPr>
          <p:cNvSpPr txBox="1">
            <a:spLocks/>
          </p:cNvSpPr>
          <p:nvPr/>
        </p:nvSpPr>
        <p:spPr>
          <a:xfrm>
            <a:off x="588263" y="759589"/>
            <a:ext cx="5117378" cy="215444"/>
          </a:xfrm>
          <a:prstGeom prst="rect">
            <a:avLst/>
          </a:prstGeom>
        </p:spPr>
        <p:txBody>
          <a:bodyPr lIns="0" tIns="0" rIns="0" bIns="0" anchor="ct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Department: </a:t>
            </a:r>
          </a:p>
        </p:txBody>
      </p:sp>
      <p:sp>
        <p:nvSpPr>
          <p:cNvPr id="6" name="Textplatzhalter 2">
            <a:extLst>
              <a:ext uri="{FF2B5EF4-FFF2-40B4-BE49-F238E27FC236}">
                <a16:creationId xmlns:a16="http://schemas.microsoft.com/office/drawing/2014/main" id="{2D4AA423-3263-4CF7-B023-3A201ED156C9}"/>
              </a:ext>
            </a:extLst>
          </p:cNvPr>
          <p:cNvSpPr txBox="1">
            <a:spLocks/>
          </p:cNvSpPr>
          <p:nvPr/>
        </p:nvSpPr>
        <p:spPr>
          <a:xfrm>
            <a:off x="6503121" y="763208"/>
            <a:ext cx="5117378" cy="215444"/>
          </a:xfrm>
          <a:prstGeom prst="rect">
            <a:avLst/>
          </a:prstGeom>
        </p:spPr>
        <p:txBody>
          <a:bodyPr lIns="0" tIns="0" rIns="0" bIns="0"/>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Internal or external use:</a:t>
            </a:r>
          </a:p>
        </p:txBody>
      </p:sp>
      <p:sp>
        <p:nvSpPr>
          <p:cNvPr id="7" name="Oval 32">
            <a:extLst>
              <a:ext uri="{FF2B5EF4-FFF2-40B4-BE49-F238E27FC236}">
                <a16:creationId xmlns:a16="http://schemas.microsoft.com/office/drawing/2014/main" id="{D465B900-850F-258D-196D-3FCCC3835DF5}"/>
              </a:ext>
              <a:ext uri="{C183D7F6-B498-43B3-948B-1728B52AA6E4}">
                <adec:decorative xmlns:adec="http://schemas.microsoft.com/office/drawing/2017/decorative" val="1"/>
              </a:ext>
            </a:extLst>
          </p:cNvPr>
          <p:cNvSpPr/>
          <p:nvPr/>
        </p:nvSpPr>
        <p:spPr bwMode="auto">
          <a:xfrm>
            <a:off x="557785" y="1054552"/>
            <a:ext cx="11048998" cy="5803448"/>
          </a:xfrm>
          <a:prstGeom prst="rect">
            <a:avLst/>
          </a:prstGeom>
          <a:solidFill>
            <a:srgbClr val="FFFFFF">
              <a:lumMod val="95000"/>
            </a:srgbClr>
          </a:solidFill>
          <a:ln w="9525" cap="flat" cmpd="sng" algn="ctr">
            <a:noFill/>
            <a:prstDash val="solid"/>
            <a:headEnd type="none" w="med" len="med"/>
            <a:tailEnd type="none" w="med" len="med"/>
          </a:ln>
          <a:effectLst>
            <a:outerShdw blurRad="584200" dist="38100" dir="3960000" sx="102000" sy="102000" algn="tl" rotWithShape="0">
              <a:prstClr val="black">
                <a:alpha val="1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8" name="Donut 7">
            <a:extLst>
              <a:ext uri="{FF2B5EF4-FFF2-40B4-BE49-F238E27FC236}">
                <a16:creationId xmlns:a16="http://schemas.microsoft.com/office/drawing/2014/main" id="{83839F00-EE58-9A5D-D28C-5085A434BE72}"/>
              </a:ext>
            </a:extLst>
          </p:cNvPr>
          <p:cNvSpPr/>
          <p:nvPr/>
        </p:nvSpPr>
        <p:spPr bwMode="auto">
          <a:xfrm>
            <a:off x="709426" y="1122072"/>
            <a:ext cx="10773151" cy="273589"/>
          </a:xfrm>
          <a:prstGeom prst="rect">
            <a:avLst/>
          </a:prstGeom>
          <a:solidFill>
            <a:schemeClr val="accent4"/>
          </a:solidFill>
          <a:ln w="5992" cap="flat">
            <a:noFill/>
            <a:prstDash val="solid"/>
            <a:miter/>
          </a:ln>
        </p:spPr>
        <p:txBody>
          <a:bodyPr wrap="square" rtlCol="0" anchor="ctr">
            <a:noAutofit/>
          </a:bodyPr>
          <a:lstStyle/>
          <a:p>
            <a:pPr defTabSz="914400">
              <a:spcAft>
                <a:spcPts val="200"/>
              </a:spcAft>
              <a:defRPr/>
            </a:pPr>
            <a:r>
              <a:rPr kumimoji="0" lang="en-US" sz="1200" b="0" i="0" u="none" strike="noStrike" kern="1200" cap="none" spc="0" normalizeH="0" baseline="0" noProof="0">
                <a:ln>
                  <a:noFill/>
                </a:ln>
                <a:solidFill>
                  <a:srgbClr val="FFFFFF"/>
                </a:solidFill>
                <a:effectLst/>
                <a:uLnTx/>
                <a:uFillTx/>
                <a:latin typeface="Segoe UI Semibold"/>
                <a:ea typeface="+mn-ea"/>
                <a:cs typeface="+mn-cs"/>
              </a:rPr>
              <a:t>Objectives &amp; key results – Strategic fit assessment</a:t>
            </a:r>
          </a:p>
        </p:txBody>
      </p:sp>
      <p:sp>
        <p:nvSpPr>
          <p:cNvPr id="12" name="Rectangle 11">
            <a:extLst>
              <a:ext uri="{FF2B5EF4-FFF2-40B4-BE49-F238E27FC236}">
                <a16:creationId xmlns:a16="http://schemas.microsoft.com/office/drawing/2014/main" id="{13513069-0FBC-19C3-15E4-40444B6C4C2E}"/>
              </a:ext>
            </a:extLst>
          </p:cNvPr>
          <p:cNvSpPr/>
          <p:nvPr/>
        </p:nvSpPr>
        <p:spPr bwMode="auto">
          <a:xfrm>
            <a:off x="530354" y="1471562"/>
            <a:ext cx="3614849" cy="5337922"/>
          </a:xfrm>
          <a:prstGeom prst="rect">
            <a:avLst/>
          </a:prstGeom>
          <a:solidFill>
            <a:schemeClr val="bg1">
              <a:alpha val="9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mn-ea"/>
                <a:cs typeface="+mn-cs"/>
              </a:rPr>
              <a:t>Implementation &amp; Operational Risks</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000" b="0" i="0" u="none" strike="noStrike" kern="1200" cap="none" spc="0" normalizeH="0" baseline="0" noProof="0">
                <a:ln>
                  <a:noFill/>
                </a:ln>
                <a:solidFill>
                  <a:srgbClr val="000000">
                    <a:lumMod val="65000"/>
                    <a:lumOff val="35000"/>
                  </a:srgbClr>
                </a:solidFill>
                <a:effectLst/>
                <a:uLnTx/>
                <a:uFillTx/>
                <a:latin typeface="Segoe UI"/>
                <a:ea typeface="+mn-ea"/>
                <a:cs typeface="+mn-cs"/>
              </a:rPr>
              <a:t>Implementing the AI model for competitive pricing analysis could potentially encounter several implementation and operational risks:</a:t>
            </a:r>
          </a:p>
          <a:p>
            <a:pPr marL="0" marR="0" lvl="0" indent="0" algn="l" defTabSz="914400" rtl="0" eaLnBrk="1" fontAlgn="auto" latinLnBrk="0" hangingPunct="1">
              <a:lnSpc>
                <a:spcPct val="100000"/>
              </a:lnSpc>
              <a:spcBef>
                <a:spcPts val="0"/>
              </a:spcBef>
              <a:spcAft>
                <a:spcPts val="200"/>
              </a:spcAft>
              <a:buClrTx/>
              <a:buSzTx/>
              <a:buFontTx/>
              <a:buNone/>
              <a:tabLst/>
              <a:defRPr/>
            </a:pPr>
            <a:endParaRPr kumimoji="0" lang="en-US" sz="1000" b="0" i="0" u="none" strike="noStrike" kern="1200" cap="none" spc="0" normalizeH="0" baseline="0" noProof="0">
              <a:ln>
                <a:noFill/>
              </a:ln>
              <a:solidFill>
                <a:srgbClr val="000000">
                  <a:lumMod val="65000"/>
                  <a:lumOff val="35000"/>
                </a:srgbClr>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000" b="0" i="0" u="none" strike="noStrike" kern="1200" cap="none" spc="0" normalizeH="0" baseline="0" noProof="0">
                <a:ln>
                  <a:noFill/>
                </a:ln>
                <a:solidFill>
                  <a:srgbClr val="000000">
                    <a:lumMod val="65000"/>
                    <a:lumOff val="35000"/>
                  </a:srgbClr>
                </a:solidFill>
                <a:effectLst/>
                <a:uLnTx/>
                <a:uFillTx/>
                <a:latin typeface="Segoe UI"/>
                <a:ea typeface="+mn-ea"/>
                <a:cs typeface="+mn-cs"/>
              </a:rPr>
              <a:t>Data Quality and Availability: The effectiveness of the AI model depends on the quality and availability of competitor pricing data. If the data is incomplete, inaccurate, or not up-to-date, it could affect the accuracy of the pricing suggestions.</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000" b="0" i="0" u="none" strike="noStrike" kern="1200" cap="none" spc="0" normalizeH="0" baseline="0" noProof="0">
                <a:ln>
                  <a:noFill/>
                </a:ln>
                <a:solidFill>
                  <a:srgbClr val="000000">
                    <a:lumMod val="65000"/>
                    <a:lumOff val="35000"/>
                  </a:srgbClr>
                </a:solidFill>
                <a:effectLst/>
                <a:uLnTx/>
                <a:uFillTx/>
                <a:latin typeface="Segoe UI"/>
                <a:ea typeface="+mn-ea"/>
                <a:cs typeface="+mn-cs"/>
              </a:rPr>
              <a:t>Technological Complexity: The development and implementation of the AI model could be technologically complex. There could be challenges in integrating the AI model with existing systems, developing the user interface, and ensuring the system works as expected.</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000" b="0" i="0" u="none" strike="noStrike" kern="1200" cap="none" spc="0" normalizeH="0" baseline="0" noProof="0">
                <a:ln>
                  <a:noFill/>
                </a:ln>
                <a:solidFill>
                  <a:srgbClr val="000000">
                    <a:lumMod val="65000"/>
                    <a:lumOff val="35000"/>
                  </a:srgbClr>
                </a:solidFill>
                <a:effectLst/>
                <a:uLnTx/>
                <a:uFillTx/>
                <a:latin typeface="Segoe UI"/>
                <a:ea typeface="+mn-ea"/>
                <a:cs typeface="+mn-cs"/>
              </a:rPr>
              <a:t>Resource Allocation: The implementation of the AI model requires significant resources, including time, budget, and personnel. There could be risks related to resource allocation and management.</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000" b="0" i="0" u="none" strike="noStrike" kern="1200" cap="none" spc="0" normalizeH="0" baseline="0" noProof="0">
                <a:ln>
                  <a:noFill/>
                </a:ln>
                <a:solidFill>
                  <a:srgbClr val="000000">
                    <a:lumMod val="65000"/>
                    <a:lumOff val="35000"/>
                  </a:srgbClr>
                </a:solidFill>
                <a:effectLst/>
                <a:uLnTx/>
                <a:uFillTx/>
                <a:latin typeface="Segoe UI"/>
                <a:ea typeface="+mn-ea"/>
                <a:cs typeface="+mn-cs"/>
              </a:rPr>
              <a:t>Change Management: As the AI model changes the current process of pricing analysis, there could be resistance to change among employees. Managing this change effectively is crucial to the successful implementation of the AI model.</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000" b="0" i="0" u="none" strike="noStrike" kern="1200" cap="none" spc="0" normalizeH="0" baseline="0" noProof="0">
                <a:ln>
                  <a:noFill/>
                </a:ln>
                <a:solidFill>
                  <a:srgbClr val="000000">
                    <a:lumMod val="65000"/>
                    <a:lumOff val="35000"/>
                  </a:srgbClr>
                </a:solidFill>
                <a:effectLst/>
                <a:uLnTx/>
                <a:uFillTx/>
                <a:latin typeface="Segoe UI"/>
                <a:ea typeface="+mn-ea"/>
                <a:cs typeface="+mn-cs"/>
              </a:rPr>
              <a:t>Security and Compliance: The AI model will be handling sensitive pricing data, which could raise security and compliance issues. Ensuring the AI model complies with all relevant regulations and safeguards the data effectively is essential.</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000" b="0" i="0" u="none" strike="noStrike" kern="1200" cap="none" spc="0" normalizeH="0" baseline="0" noProof="0">
                <a:ln>
                  <a:noFill/>
                </a:ln>
                <a:solidFill>
                  <a:srgbClr val="000000">
                    <a:lumMod val="65000"/>
                    <a:lumOff val="35000"/>
                  </a:srgbClr>
                </a:solidFill>
                <a:effectLst/>
                <a:uLnTx/>
                <a:uFillTx/>
                <a:latin typeface="Segoe UI"/>
                <a:ea typeface="+mn-ea"/>
                <a:cs typeface="+mn-cs"/>
              </a:rPr>
              <a:t>Reliance on AI Suggestions: There could be a risk of over-reliance on the AI model’s pricing suggestions without sufficient human oversight. It’s important to ensure that the AI model’s suggestions are reviewed and validated by human analysts.</a:t>
            </a:r>
          </a:p>
        </p:txBody>
      </p:sp>
      <p:sp>
        <p:nvSpPr>
          <p:cNvPr id="13" name="Rectangle 12">
            <a:extLst>
              <a:ext uri="{FF2B5EF4-FFF2-40B4-BE49-F238E27FC236}">
                <a16:creationId xmlns:a16="http://schemas.microsoft.com/office/drawing/2014/main" id="{4D147FF6-9A68-2382-67C5-524DFCC68B82}"/>
              </a:ext>
            </a:extLst>
          </p:cNvPr>
          <p:cNvSpPr>
            <a:spLocks/>
          </p:cNvSpPr>
          <p:nvPr/>
        </p:nvSpPr>
        <p:spPr bwMode="auto">
          <a:xfrm>
            <a:off x="4283127" y="1471561"/>
            <a:ext cx="3917134" cy="5266638"/>
          </a:xfrm>
          <a:prstGeom prst="rect">
            <a:avLst/>
          </a:prstGeom>
          <a:solidFill>
            <a:schemeClr val="bg1">
              <a:alpha val="9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lang="en-US" sz="1100">
                <a:solidFill>
                  <a:srgbClr val="000000"/>
                </a:solidFill>
                <a:latin typeface="Segoe UI Semibold"/>
              </a:rPr>
              <a:t>Safeguards to Consider</a:t>
            </a:r>
            <a:endParaRPr kumimoji="0" lang="en-US" sz="1100" b="0" i="0" u="none" strike="noStrike" kern="1200" cap="none" spc="0" normalizeH="0" baseline="0" noProof="0">
              <a:ln>
                <a:noFill/>
              </a:ln>
              <a:solidFill>
                <a:srgbClr val="000000"/>
              </a:solidFill>
              <a:effectLst/>
              <a:uLnTx/>
              <a:uFillTx/>
              <a:latin typeface="Segoe UI Semibold"/>
              <a:ea typeface="+mn-ea"/>
              <a:cs typeface="+mn-cs"/>
            </a:endParaRP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050" b="0" i="0" u="none" strike="noStrike" kern="1200" cap="none" spc="0" normalizeH="0" baseline="0" noProof="0">
                <a:ln>
                  <a:noFill/>
                </a:ln>
                <a:solidFill>
                  <a:srgbClr val="000000">
                    <a:lumMod val="65000"/>
                    <a:lumOff val="35000"/>
                  </a:srgbClr>
                </a:solidFill>
                <a:effectLst/>
                <a:uLnTx/>
                <a:uFillTx/>
                <a:latin typeface="Segoe UI"/>
                <a:ea typeface="+mn-ea"/>
                <a:cs typeface="+mn-cs"/>
              </a:rPr>
              <a:t>When implementing the AI model for competitive pricing analysis, several safeguards should be considered to mitigate potential risks:</a:t>
            </a:r>
          </a:p>
          <a:p>
            <a:pPr marL="0" marR="0" lvl="0" indent="0" algn="l" defTabSz="914400" rtl="0" eaLnBrk="1" fontAlgn="auto" latinLnBrk="0" hangingPunct="1">
              <a:lnSpc>
                <a:spcPct val="100000"/>
              </a:lnSpc>
              <a:spcBef>
                <a:spcPts val="0"/>
              </a:spcBef>
              <a:spcAft>
                <a:spcPts val="200"/>
              </a:spcAft>
              <a:buClrTx/>
              <a:buSzTx/>
              <a:buFontTx/>
              <a:buNone/>
              <a:tabLst/>
              <a:defRPr/>
            </a:pPr>
            <a:endParaRPr kumimoji="0" lang="en-US" sz="1050" b="0" i="0" u="none" strike="noStrike" kern="1200" cap="none" spc="0" normalizeH="0" baseline="0" noProof="0">
              <a:ln>
                <a:noFill/>
              </a:ln>
              <a:solidFill>
                <a:srgbClr val="000000">
                  <a:lumMod val="65000"/>
                  <a:lumOff val="35000"/>
                </a:srgbClr>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050" b="0" i="0" u="none" strike="noStrike" kern="1200" cap="none" spc="0" normalizeH="0" baseline="0" noProof="0">
                <a:ln>
                  <a:noFill/>
                </a:ln>
                <a:solidFill>
                  <a:srgbClr val="000000">
                    <a:lumMod val="65000"/>
                    <a:lumOff val="35000"/>
                  </a:srgbClr>
                </a:solidFill>
                <a:effectLst/>
                <a:uLnTx/>
                <a:uFillTx/>
                <a:latin typeface="Segoe UI"/>
                <a:ea typeface="+mn-ea"/>
                <a:cs typeface="+mn-cs"/>
              </a:rPr>
              <a:t>Data Security and Privacy: Ensure that all data used by the AI model is securely stored and handled. Implement robust data encryption and access control measures. Comply with all relevant data privacy regulations.</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050" b="0" i="0" u="none" strike="noStrike" kern="1200" cap="none" spc="0" normalizeH="0" baseline="0" noProof="0">
                <a:ln>
                  <a:noFill/>
                </a:ln>
                <a:solidFill>
                  <a:srgbClr val="000000">
                    <a:lumMod val="65000"/>
                    <a:lumOff val="35000"/>
                  </a:srgbClr>
                </a:solidFill>
                <a:effectLst/>
                <a:uLnTx/>
                <a:uFillTx/>
                <a:latin typeface="Segoe UI"/>
                <a:ea typeface="+mn-ea"/>
                <a:cs typeface="+mn-cs"/>
              </a:rPr>
              <a:t>Quality Control: Implement rigorous quality control measures to ensure the accuracy and reliability of the AI model’s pricing suggestions. This could include regular audits and validation checks.</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050" b="0" i="0" u="none" strike="noStrike" kern="1200" cap="none" spc="0" normalizeH="0" baseline="0" noProof="0">
                <a:ln>
                  <a:noFill/>
                </a:ln>
                <a:solidFill>
                  <a:srgbClr val="000000">
                    <a:lumMod val="65000"/>
                    <a:lumOff val="35000"/>
                  </a:srgbClr>
                </a:solidFill>
                <a:effectLst/>
                <a:uLnTx/>
                <a:uFillTx/>
                <a:latin typeface="Segoe UI"/>
                <a:ea typeface="+mn-ea"/>
                <a:cs typeface="+mn-cs"/>
              </a:rPr>
              <a:t>Human Oversight: Despite the automation, maintain a level of human oversight to review and validate the AI model’s pricing suggestions. This can help catch any errors and prevent over-reliance on the AI model.</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050" b="0" i="0" u="none" strike="noStrike" kern="1200" cap="none" spc="0" normalizeH="0" baseline="0" noProof="0">
                <a:ln>
                  <a:noFill/>
                </a:ln>
                <a:solidFill>
                  <a:srgbClr val="000000">
                    <a:lumMod val="65000"/>
                    <a:lumOff val="35000"/>
                  </a:srgbClr>
                </a:solidFill>
                <a:effectLst/>
                <a:uLnTx/>
                <a:uFillTx/>
                <a:latin typeface="Segoe UI"/>
                <a:ea typeface="+mn-ea"/>
                <a:cs typeface="+mn-cs"/>
              </a:rPr>
              <a:t>Employee Training: Provide necessary training to employees to help them understand and effectively use the AI model. This can also help manage resistance to change.</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050" b="0" i="0" u="none" strike="noStrike" kern="1200" cap="none" spc="0" normalizeH="0" baseline="0" noProof="0">
                <a:ln>
                  <a:noFill/>
                </a:ln>
                <a:solidFill>
                  <a:srgbClr val="000000">
                    <a:lumMod val="65000"/>
                    <a:lumOff val="35000"/>
                  </a:srgbClr>
                </a:solidFill>
                <a:effectLst/>
                <a:uLnTx/>
                <a:uFillTx/>
                <a:latin typeface="Segoe UI"/>
                <a:ea typeface="+mn-ea"/>
                <a:cs typeface="+mn-cs"/>
              </a:rPr>
              <a:t>Continuous Monitoring and Improvement: Continuously monitor the performance of the AI model and make necessary improvements. This can help ensure that the AI model remains effective and up-to-date with changing market conditions.</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050" b="0" i="0" u="none" strike="noStrike" kern="1200" cap="none" spc="0" normalizeH="0" baseline="0" noProof="0">
                <a:ln>
                  <a:noFill/>
                </a:ln>
                <a:solidFill>
                  <a:srgbClr val="000000">
                    <a:lumMod val="65000"/>
                    <a:lumOff val="35000"/>
                  </a:srgbClr>
                </a:solidFill>
                <a:effectLst/>
                <a:uLnTx/>
                <a:uFillTx/>
                <a:latin typeface="Segoe UI"/>
                <a:ea typeface="+mn-ea"/>
                <a:cs typeface="+mn-cs"/>
              </a:rPr>
              <a:t>Ethical AI Practices: Ensure that the AI model is developed and used in an ethical manner. This includes being transparent about the use of AI, avoiding bias in pricing decisions, and ensuring fairness.</a:t>
            </a:r>
            <a:endParaRPr kumimoji="0" lang="en-US" sz="1100" b="0" i="0" u="none" strike="noStrike" kern="1200" cap="none" spc="0" normalizeH="0" baseline="0" noProof="0">
              <a:ln>
                <a:noFill/>
              </a:ln>
              <a:solidFill>
                <a:srgbClr val="000000">
                  <a:lumMod val="65000"/>
                  <a:lumOff val="35000"/>
                </a:srgbClr>
              </a:solidFill>
              <a:effectLst/>
              <a:uLnTx/>
              <a:uFillTx/>
              <a:latin typeface="Segoe UI"/>
              <a:ea typeface="+mn-ea"/>
              <a:cs typeface="+mn-cs"/>
            </a:endParaRPr>
          </a:p>
        </p:txBody>
      </p:sp>
      <p:sp>
        <p:nvSpPr>
          <p:cNvPr id="9" name="Rectangle 8">
            <a:extLst>
              <a:ext uri="{FF2B5EF4-FFF2-40B4-BE49-F238E27FC236}">
                <a16:creationId xmlns:a16="http://schemas.microsoft.com/office/drawing/2014/main" id="{80E55B3B-9D67-204C-B503-4404598C31F7}"/>
              </a:ext>
            </a:extLst>
          </p:cNvPr>
          <p:cNvSpPr>
            <a:spLocks/>
          </p:cNvSpPr>
          <p:nvPr/>
        </p:nvSpPr>
        <p:spPr bwMode="auto">
          <a:xfrm>
            <a:off x="8288276" y="1463181"/>
            <a:ext cx="3614849" cy="5266638"/>
          </a:xfrm>
          <a:prstGeom prst="rect">
            <a:avLst/>
          </a:prstGeom>
          <a:solidFill>
            <a:schemeClr val="bg1">
              <a:alpha val="9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lang="en-US" sz="1100">
                <a:solidFill>
                  <a:srgbClr val="000000"/>
                </a:solidFill>
                <a:latin typeface="Segoe UI Semibold"/>
              </a:rPr>
              <a:t>How will GenAI/AI Impact</a:t>
            </a:r>
            <a:endParaRPr kumimoji="0" lang="en-US" sz="1100" b="0" i="0" u="none" strike="noStrike" kern="1200" cap="none" spc="0" normalizeH="0" baseline="0" noProof="0">
              <a:ln>
                <a:noFill/>
              </a:ln>
              <a:solidFill>
                <a:srgbClr val="000000"/>
              </a:solidFill>
              <a:effectLst/>
              <a:uLnTx/>
              <a:uFillTx/>
              <a:latin typeface="Segoe UI Semibold"/>
              <a:ea typeface="+mn-ea"/>
              <a:cs typeface="+mn-cs"/>
            </a:endParaRP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000" b="0" i="0" u="none" strike="noStrike" kern="1200" cap="none" spc="0" normalizeH="0" baseline="0" noProof="0">
                <a:ln>
                  <a:noFill/>
                </a:ln>
                <a:solidFill>
                  <a:srgbClr val="000000">
                    <a:lumMod val="65000"/>
                    <a:lumOff val="35000"/>
                  </a:srgbClr>
                </a:solidFill>
                <a:effectLst/>
                <a:uLnTx/>
                <a:uFillTx/>
                <a:latin typeface="Segoe UI"/>
                <a:ea typeface="+mn-ea"/>
                <a:cs typeface="+mn-cs"/>
              </a:rPr>
              <a:t>Generative AI and Machine Learning (ML) could play a crucial role in the Business Use Case of competitive pricing analysis for Contoso Health:</a:t>
            </a:r>
          </a:p>
          <a:p>
            <a:pPr marL="0" marR="0" lvl="0" indent="0" algn="l" defTabSz="914400" rtl="0" eaLnBrk="1" fontAlgn="auto" latinLnBrk="0" hangingPunct="1">
              <a:lnSpc>
                <a:spcPct val="100000"/>
              </a:lnSpc>
              <a:spcBef>
                <a:spcPts val="0"/>
              </a:spcBef>
              <a:spcAft>
                <a:spcPts val="200"/>
              </a:spcAft>
              <a:buClrTx/>
              <a:buSzTx/>
              <a:buFontTx/>
              <a:buNone/>
              <a:tabLst/>
              <a:defRPr/>
            </a:pPr>
            <a:endParaRPr kumimoji="0" lang="en-US" sz="1000" b="0" i="0" u="none" strike="noStrike" kern="1200" cap="none" spc="0" normalizeH="0" baseline="0" noProof="0">
              <a:ln>
                <a:noFill/>
              </a:ln>
              <a:solidFill>
                <a:srgbClr val="000000">
                  <a:lumMod val="65000"/>
                  <a:lumOff val="35000"/>
                </a:srgbClr>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000" b="0" i="0" u="none" strike="noStrike" kern="1200" cap="none" spc="0" normalizeH="0" baseline="0" noProof="0">
                <a:ln>
                  <a:noFill/>
                </a:ln>
                <a:solidFill>
                  <a:srgbClr val="000000">
                    <a:lumMod val="65000"/>
                    <a:lumOff val="35000"/>
                  </a:srgbClr>
                </a:solidFill>
                <a:effectLst/>
                <a:uLnTx/>
                <a:uFillTx/>
                <a:latin typeface="Segoe UI"/>
                <a:ea typeface="+mn-ea"/>
                <a:cs typeface="+mn-cs"/>
              </a:rPr>
              <a:t>Predictive Analysis: ML algorithms can be used to predict competitor pricing actions based on historical data. This can help Contoso Health proactively adjust their pricing strategy for Oso One IFP insurance plans.</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000" b="0" i="0" u="none" strike="noStrike" kern="1200" cap="none" spc="0" normalizeH="0" baseline="0" noProof="0">
                <a:ln>
                  <a:noFill/>
                </a:ln>
                <a:solidFill>
                  <a:srgbClr val="000000">
                    <a:lumMod val="65000"/>
                    <a:lumOff val="35000"/>
                  </a:srgbClr>
                </a:solidFill>
                <a:effectLst/>
                <a:uLnTx/>
                <a:uFillTx/>
                <a:latin typeface="Segoe UI"/>
                <a:ea typeface="+mn-ea"/>
                <a:cs typeface="+mn-cs"/>
              </a:rPr>
              <a:t>Optimal Pricing Suggestions: Generative AI can be used to generate optimal pricing suggestions for Oso One IFP insurance plans. The AI model can analyze competitor pricing data and generate pricing suggestions that would be competitive and attractive to potential clients.</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000" b="0" i="0" u="none" strike="noStrike" kern="1200" cap="none" spc="0" normalizeH="0" baseline="0" noProof="0">
                <a:ln>
                  <a:noFill/>
                </a:ln>
                <a:solidFill>
                  <a:srgbClr val="000000">
                    <a:lumMod val="65000"/>
                    <a:lumOff val="35000"/>
                  </a:srgbClr>
                </a:solidFill>
                <a:effectLst/>
                <a:uLnTx/>
                <a:uFillTx/>
                <a:latin typeface="Segoe UI"/>
                <a:ea typeface="+mn-ea"/>
                <a:cs typeface="+mn-cs"/>
              </a:rPr>
              <a:t>Data Processing: ML can be used to process and analyze the ingested competitor pricing data. Advanced ML techniques can be used to extract relevant insights from the data, which can then be used to make pricing decisions.</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000" b="0" i="0" u="none" strike="noStrike" kern="1200" cap="none" spc="0" normalizeH="0" baseline="0" noProof="0">
                <a:ln>
                  <a:noFill/>
                </a:ln>
                <a:solidFill>
                  <a:srgbClr val="000000">
                    <a:lumMod val="65000"/>
                    <a:lumOff val="35000"/>
                  </a:srgbClr>
                </a:solidFill>
                <a:effectLst/>
                <a:uLnTx/>
                <a:uFillTx/>
                <a:latin typeface="Segoe UI"/>
                <a:ea typeface="+mn-ea"/>
                <a:cs typeface="+mn-cs"/>
              </a:rPr>
              <a:t>User Interface Personalization: Generative AI can be used to personalize the user interface for analysts. The AI model can learn from the analysts’ interactions with the system and generate a personalized user interface that enhances their experience and efficiency.</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000" b="0" i="0" u="none" strike="noStrike" kern="1200" cap="none" spc="0" normalizeH="0" baseline="0" noProof="0">
                <a:ln>
                  <a:noFill/>
                </a:ln>
                <a:solidFill>
                  <a:srgbClr val="000000">
                    <a:lumMod val="65000"/>
                    <a:lumOff val="35000"/>
                  </a:srgbClr>
                </a:solidFill>
                <a:effectLst/>
                <a:uLnTx/>
                <a:uFillTx/>
                <a:latin typeface="Segoe UI"/>
                <a:ea typeface="+mn-ea"/>
                <a:cs typeface="+mn-cs"/>
              </a:rPr>
              <a:t>Reporting: Generative AI can be used to generate reports highlighting the pricing suggestions and the analysis supporting those suggestions. The reports can be generated in a format that is easy to understand and actionable for the decision-makers.</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000" b="0" i="0" u="none" strike="noStrike" kern="1200" cap="none" spc="0" normalizeH="0" baseline="0" noProof="0">
                <a:ln>
                  <a:noFill/>
                </a:ln>
                <a:solidFill>
                  <a:srgbClr val="000000">
                    <a:lumMod val="65000"/>
                    <a:lumOff val="35000"/>
                  </a:srgbClr>
                </a:solidFill>
                <a:effectLst/>
                <a:uLnTx/>
                <a:uFillTx/>
                <a:latin typeface="Segoe UI"/>
                <a:ea typeface="+mn-ea"/>
                <a:cs typeface="+mn-cs"/>
              </a:rPr>
              <a:t>By leveraging Generative AI and ML, Contoso Health can automate the process of competitive pricing analysis, make more accurate and competitive pricing decisions, and ultimately increase revenue and market share.</a:t>
            </a:r>
          </a:p>
        </p:txBody>
      </p:sp>
      <p:sp>
        <p:nvSpPr>
          <p:cNvPr id="10" name="Title 61">
            <a:extLst>
              <a:ext uri="{FF2B5EF4-FFF2-40B4-BE49-F238E27FC236}">
                <a16:creationId xmlns:a16="http://schemas.microsoft.com/office/drawing/2014/main" id="{66C7CFF7-8E72-9ED3-1523-76EC9EB03AF3}"/>
              </a:ext>
            </a:extLst>
          </p:cNvPr>
          <p:cNvSpPr txBox="1">
            <a:spLocks/>
          </p:cNvSpPr>
          <p:nvPr/>
        </p:nvSpPr>
        <p:spPr>
          <a:xfrm>
            <a:off x="573024" y="34618"/>
            <a:ext cx="11018520" cy="327268"/>
          </a:xfrm>
          <a:prstGeom prst="rect">
            <a:avLst/>
          </a:prstGeom>
        </p:spPr>
        <p:txBody>
          <a:bodyPr/>
          <a:lstStyle>
            <a:lvl1pPr algn="l" defTabSz="932742" rtl="0" eaLnBrk="1" latinLnBrk="0" hangingPunct="1">
              <a:lnSpc>
                <a:spcPct val="100000"/>
              </a:lnSpc>
              <a:spcBef>
                <a:spcPct val="0"/>
              </a:spcBef>
              <a:buNone/>
              <a:defRPr lang="en-US" sz="2000" b="0" kern="1200" cap="none" spc="0" baseline="0" dirty="0" smtClean="0">
                <a:ln w="3175">
                  <a:noFill/>
                </a:ln>
                <a:solidFill>
                  <a:schemeClr val="tx1"/>
                </a:solidFill>
                <a:effectLst/>
                <a:latin typeface="+mj-lt"/>
                <a:ea typeface="+mn-ea"/>
                <a:cs typeface="Segoe UI" pitchFamily="34" charset="0"/>
              </a:defRPr>
            </a:lvl1pPr>
          </a:lstStyle>
          <a:p>
            <a:r>
              <a:rPr lang="en-US" dirty="0"/>
              <a:t>AI Use Cases Define</a:t>
            </a:r>
          </a:p>
        </p:txBody>
      </p:sp>
    </p:spTree>
    <p:extLst>
      <p:ext uri="{BB962C8B-B14F-4D97-AF65-F5344CB8AC3E}">
        <p14:creationId xmlns:p14="http://schemas.microsoft.com/office/powerpoint/2010/main" val="635261578"/>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61">
            <a:extLst>
              <a:ext uri="{FF2B5EF4-FFF2-40B4-BE49-F238E27FC236}">
                <a16:creationId xmlns:a16="http://schemas.microsoft.com/office/drawing/2014/main" id="{41D7FB24-6AD6-DB9E-FFCD-588F980E8F47}"/>
              </a:ext>
            </a:extLst>
          </p:cNvPr>
          <p:cNvSpPr txBox="1">
            <a:spLocks/>
          </p:cNvSpPr>
          <p:nvPr/>
        </p:nvSpPr>
        <p:spPr>
          <a:xfrm>
            <a:off x="573024" y="34618"/>
            <a:ext cx="11018520" cy="327268"/>
          </a:xfrm>
          <a:prstGeom prst="rect">
            <a:avLst/>
          </a:prstGeom>
        </p:spPr>
        <p:txBody>
          <a:bodyPr/>
          <a:lstStyle>
            <a:lvl1pPr algn="l" defTabSz="932742" rtl="0" eaLnBrk="1" latinLnBrk="0" hangingPunct="1">
              <a:lnSpc>
                <a:spcPct val="100000"/>
              </a:lnSpc>
              <a:spcBef>
                <a:spcPct val="0"/>
              </a:spcBef>
              <a:buNone/>
              <a:defRPr lang="en-US" sz="2000" b="0" kern="1200" cap="none" spc="0" baseline="0" dirty="0" smtClean="0">
                <a:ln w="3175">
                  <a:noFill/>
                </a:ln>
                <a:solidFill>
                  <a:schemeClr val="tx1"/>
                </a:solidFill>
                <a:effectLst/>
                <a:latin typeface="+mj-lt"/>
                <a:ea typeface="+mn-ea"/>
                <a:cs typeface="Segoe UI" pitchFamily="34" charset="0"/>
              </a:defRPr>
            </a:lvl1pPr>
          </a:lstStyle>
          <a:p>
            <a:r>
              <a:rPr lang="en-US" dirty="0"/>
              <a:t>AI Use Cases Define</a:t>
            </a:r>
          </a:p>
        </p:txBody>
      </p:sp>
      <p:sp>
        <p:nvSpPr>
          <p:cNvPr id="3" name="Rectangle 2">
            <a:extLst>
              <a:ext uri="{FF2B5EF4-FFF2-40B4-BE49-F238E27FC236}">
                <a16:creationId xmlns:a16="http://schemas.microsoft.com/office/drawing/2014/main" id="{BA00EAC9-804C-3F99-DB92-1E430FC3D793}"/>
              </a:ext>
              <a:ext uri="{C183D7F6-B498-43B3-948B-1728B52AA6E4}">
                <adec:decorative xmlns:adec="http://schemas.microsoft.com/office/drawing/2017/decorative" val="1"/>
              </a:ext>
            </a:extLst>
          </p:cNvPr>
          <p:cNvSpPr/>
          <p:nvPr/>
        </p:nvSpPr>
        <p:spPr bwMode="auto">
          <a:xfrm>
            <a:off x="0" y="435678"/>
            <a:ext cx="12192000" cy="109576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 name="Titel 1">
            <a:extLst>
              <a:ext uri="{FF2B5EF4-FFF2-40B4-BE49-F238E27FC236}">
                <a16:creationId xmlns:a16="http://schemas.microsoft.com/office/drawing/2014/main" id="{5B37C216-2900-617A-3A68-E8C71F39D530}"/>
              </a:ext>
            </a:extLst>
          </p:cNvPr>
          <p:cNvSpPr txBox="1">
            <a:spLocks/>
          </p:cNvSpPr>
          <p:nvPr/>
        </p:nvSpPr>
        <p:spPr>
          <a:xfrm>
            <a:off x="588262" y="534069"/>
            <a:ext cx="8658247" cy="184666"/>
          </a:xfrm>
          <a:prstGeom prst="rect">
            <a:avLst/>
          </a:prstGeom>
        </p:spPr>
        <p:txBody>
          <a:bodyPr vert="horz" wrap="square" lIns="0" tIns="0" rIns="0" bIns="0" rtlCol="0" anchor="ctr">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200" b="0" i="0" u="none" strike="noStrike" kern="1200" cap="none" spc="0" normalizeH="0" baseline="0" noProof="0">
                <a:ln w="3175">
                  <a:noFill/>
                </a:ln>
                <a:solidFill>
                  <a:srgbClr val="000000"/>
                </a:solidFill>
                <a:effectLst/>
                <a:uLnTx/>
                <a:uFillTx/>
                <a:latin typeface="Segoe UI Semibold"/>
                <a:ea typeface="+mn-ea"/>
                <a:cs typeface="Segoe UI" pitchFamily="34" charset="0"/>
              </a:rPr>
              <a:t>Use case name:</a:t>
            </a:r>
          </a:p>
        </p:txBody>
      </p:sp>
      <p:sp>
        <p:nvSpPr>
          <p:cNvPr id="5" name="Textplatzhalter 2">
            <a:extLst>
              <a:ext uri="{FF2B5EF4-FFF2-40B4-BE49-F238E27FC236}">
                <a16:creationId xmlns:a16="http://schemas.microsoft.com/office/drawing/2014/main" id="{DE51592C-CAA7-B67B-6B4B-B8A4FF036D7C}"/>
              </a:ext>
            </a:extLst>
          </p:cNvPr>
          <p:cNvSpPr txBox="1">
            <a:spLocks/>
          </p:cNvSpPr>
          <p:nvPr/>
        </p:nvSpPr>
        <p:spPr>
          <a:xfrm>
            <a:off x="588263" y="759589"/>
            <a:ext cx="5117378" cy="215444"/>
          </a:xfrm>
          <a:prstGeom prst="rect">
            <a:avLst/>
          </a:prstGeom>
        </p:spPr>
        <p:txBody>
          <a:bodyPr lIns="0" tIns="0" rIns="0" bIns="0" anchor="ct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Department: </a:t>
            </a:r>
          </a:p>
        </p:txBody>
      </p:sp>
      <p:sp>
        <p:nvSpPr>
          <p:cNvPr id="6" name="Textplatzhalter 2">
            <a:extLst>
              <a:ext uri="{FF2B5EF4-FFF2-40B4-BE49-F238E27FC236}">
                <a16:creationId xmlns:a16="http://schemas.microsoft.com/office/drawing/2014/main" id="{2D4AA423-3263-4CF7-B023-3A201ED156C9}"/>
              </a:ext>
            </a:extLst>
          </p:cNvPr>
          <p:cNvSpPr txBox="1">
            <a:spLocks/>
          </p:cNvSpPr>
          <p:nvPr/>
        </p:nvSpPr>
        <p:spPr>
          <a:xfrm>
            <a:off x="6503121" y="763208"/>
            <a:ext cx="5117378" cy="215444"/>
          </a:xfrm>
          <a:prstGeom prst="rect">
            <a:avLst/>
          </a:prstGeom>
        </p:spPr>
        <p:txBody>
          <a:bodyPr lIns="0" tIns="0" rIns="0" bIns="0"/>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Internal or external use:</a:t>
            </a:r>
          </a:p>
        </p:txBody>
      </p:sp>
      <p:sp>
        <p:nvSpPr>
          <p:cNvPr id="7" name="Oval 32">
            <a:extLst>
              <a:ext uri="{FF2B5EF4-FFF2-40B4-BE49-F238E27FC236}">
                <a16:creationId xmlns:a16="http://schemas.microsoft.com/office/drawing/2014/main" id="{D465B900-850F-258D-196D-3FCCC3835DF5}"/>
              </a:ext>
              <a:ext uri="{C183D7F6-B498-43B3-948B-1728B52AA6E4}">
                <adec:decorative xmlns:adec="http://schemas.microsoft.com/office/drawing/2017/decorative" val="1"/>
              </a:ext>
            </a:extLst>
          </p:cNvPr>
          <p:cNvSpPr/>
          <p:nvPr/>
        </p:nvSpPr>
        <p:spPr bwMode="auto">
          <a:xfrm>
            <a:off x="557785" y="1054552"/>
            <a:ext cx="11048998" cy="5803448"/>
          </a:xfrm>
          <a:prstGeom prst="rect">
            <a:avLst/>
          </a:prstGeom>
          <a:solidFill>
            <a:srgbClr val="FFFFFF">
              <a:lumMod val="95000"/>
            </a:srgbClr>
          </a:solidFill>
          <a:ln w="9525" cap="flat" cmpd="sng" algn="ctr">
            <a:noFill/>
            <a:prstDash val="solid"/>
            <a:headEnd type="none" w="med" len="med"/>
            <a:tailEnd type="none" w="med" len="med"/>
          </a:ln>
          <a:effectLst>
            <a:outerShdw blurRad="584200" dist="38100" dir="3960000" sx="102000" sy="102000" algn="tl" rotWithShape="0">
              <a:prstClr val="black">
                <a:alpha val="1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8" name="Donut 7">
            <a:extLst>
              <a:ext uri="{FF2B5EF4-FFF2-40B4-BE49-F238E27FC236}">
                <a16:creationId xmlns:a16="http://schemas.microsoft.com/office/drawing/2014/main" id="{83839F00-EE58-9A5D-D28C-5085A434BE72}"/>
              </a:ext>
            </a:extLst>
          </p:cNvPr>
          <p:cNvSpPr/>
          <p:nvPr/>
        </p:nvSpPr>
        <p:spPr bwMode="auto">
          <a:xfrm>
            <a:off x="709426" y="1122072"/>
            <a:ext cx="10773151" cy="273589"/>
          </a:xfrm>
          <a:prstGeom prst="rect">
            <a:avLst/>
          </a:prstGeom>
          <a:solidFill>
            <a:schemeClr val="accent4"/>
          </a:solidFill>
          <a:ln w="5992" cap="flat">
            <a:noFill/>
            <a:prstDash val="solid"/>
            <a:miter/>
          </a:ln>
        </p:spPr>
        <p:txBody>
          <a:bodyPr wrap="square" rtlCol="0" anchor="ctr">
            <a:noAutofit/>
          </a:bodyPr>
          <a:lstStyle/>
          <a:p>
            <a:pPr defTabSz="914400">
              <a:spcAft>
                <a:spcPts val="200"/>
              </a:spcAft>
              <a:defRPr/>
            </a:pPr>
            <a:r>
              <a:rPr kumimoji="0" lang="en-US" sz="1200" b="0" i="0" u="none" strike="noStrike" kern="1200" cap="none" spc="0" normalizeH="0" baseline="0" noProof="0">
                <a:ln>
                  <a:noFill/>
                </a:ln>
                <a:solidFill>
                  <a:srgbClr val="FFFFFF"/>
                </a:solidFill>
                <a:effectLst/>
                <a:uLnTx/>
                <a:uFillTx/>
                <a:latin typeface="Segoe UI Semibold"/>
                <a:ea typeface="+mn-ea"/>
                <a:cs typeface="+mn-cs"/>
              </a:rPr>
              <a:t>Business Requirement OKRs</a:t>
            </a:r>
          </a:p>
        </p:txBody>
      </p:sp>
      <p:sp>
        <p:nvSpPr>
          <p:cNvPr id="13" name="Rectangle 12">
            <a:extLst>
              <a:ext uri="{FF2B5EF4-FFF2-40B4-BE49-F238E27FC236}">
                <a16:creationId xmlns:a16="http://schemas.microsoft.com/office/drawing/2014/main" id="{4D147FF6-9A68-2382-67C5-524DFCC68B82}"/>
              </a:ext>
            </a:extLst>
          </p:cNvPr>
          <p:cNvSpPr>
            <a:spLocks/>
          </p:cNvSpPr>
          <p:nvPr/>
        </p:nvSpPr>
        <p:spPr bwMode="auto">
          <a:xfrm>
            <a:off x="665018" y="1471561"/>
            <a:ext cx="5040623" cy="5266638"/>
          </a:xfrm>
          <a:prstGeom prst="rect">
            <a:avLst/>
          </a:prstGeom>
          <a:solidFill>
            <a:schemeClr val="bg1">
              <a:alpha val="9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lang="en-US" sz="1100">
                <a:solidFill>
                  <a:srgbClr val="000000"/>
                </a:solidFill>
                <a:latin typeface="Segoe UI Semibold"/>
              </a:rPr>
              <a:t>Business Requirement OKRs</a:t>
            </a:r>
            <a:endParaRPr kumimoji="0" lang="en-US" sz="1100" b="0" i="0" u="none" strike="noStrike" kern="1200" cap="none" spc="0" normalizeH="0" baseline="0" noProof="0">
              <a:ln>
                <a:noFill/>
              </a:ln>
              <a:solidFill>
                <a:srgbClr val="000000"/>
              </a:solidFill>
              <a:effectLst/>
              <a:uLnTx/>
              <a:uFillTx/>
              <a:latin typeface="Segoe UI Semibold"/>
              <a:ea typeface="+mn-ea"/>
              <a:cs typeface="+mn-cs"/>
            </a:endParaRP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000" b="0" i="0" u="none" strike="noStrike" kern="1200" cap="none" spc="0" normalizeH="0" baseline="0" noProof="0">
                <a:ln>
                  <a:noFill/>
                </a:ln>
                <a:solidFill>
                  <a:srgbClr val="000000">
                    <a:lumMod val="65000"/>
                    <a:lumOff val="35000"/>
                  </a:srgbClr>
                </a:solidFill>
                <a:effectLst/>
                <a:uLnTx/>
                <a:uFillTx/>
                <a:latin typeface="Segoe UI"/>
                <a:ea typeface="+mn-ea"/>
                <a:cs typeface="+mn-cs"/>
              </a:rPr>
              <a:t>Business Requirement: AI Model Development</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000" b="0" i="0" u="none" strike="noStrike" kern="1200" cap="none" spc="0" normalizeH="0" baseline="0" noProof="0">
                <a:ln>
                  <a:noFill/>
                </a:ln>
                <a:solidFill>
                  <a:srgbClr val="000000">
                    <a:lumMod val="65000"/>
                    <a:lumOff val="35000"/>
                  </a:srgbClr>
                </a:solidFill>
                <a:effectLst/>
                <a:uLnTx/>
                <a:uFillTx/>
                <a:latin typeface="Segoe UI"/>
                <a:ea typeface="+mn-ea"/>
                <a:cs typeface="+mn-cs"/>
              </a:rPr>
              <a:t>Objective: Develop an AI model capable of analyzing competitor pricing data.</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000" b="0" i="0" u="none" strike="noStrike" kern="1200" cap="none" spc="0" normalizeH="0" baseline="0" noProof="0">
                <a:ln>
                  <a:noFill/>
                </a:ln>
                <a:solidFill>
                  <a:srgbClr val="000000">
                    <a:lumMod val="65000"/>
                    <a:lumOff val="35000"/>
                  </a:srgbClr>
                </a:solidFill>
                <a:effectLst/>
                <a:uLnTx/>
                <a:uFillTx/>
                <a:latin typeface="Segoe UI"/>
                <a:ea typeface="+mn-ea"/>
                <a:cs typeface="+mn-cs"/>
              </a:rPr>
              <a:t>Key Result: Complete the development of the AI model within the planned timeline.</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000" b="0" i="0" u="none" strike="noStrike" kern="1200" cap="none" spc="0" normalizeH="0" baseline="0" noProof="0">
                <a:ln>
                  <a:noFill/>
                </a:ln>
                <a:solidFill>
                  <a:srgbClr val="000000">
                    <a:lumMod val="65000"/>
                    <a:lumOff val="35000"/>
                  </a:srgbClr>
                </a:solidFill>
                <a:effectLst/>
                <a:uLnTx/>
                <a:uFillTx/>
                <a:latin typeface="Segoe UI"/>
                <a:ea typeface="+mn-ea"/>
                <a:cs typeface="+mn-cs"/>
              </a:rPr>
              <a:t>Key Result: Achieve an accuracy of at least 90% in the AI model’s pricing suggestions during testing.</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000" b="0" i="0" u="none" strike="noStrike" kern="1200" cap="none" spc="0" normalizeH="0" baseline="0" noProof="0">
                <a:ln>
                  <a:noFill/>
                </a:ln>
                <a:solidFill>
                  <a:srgbClr val="000000">
                    <a:lumMod val="65000"/>
                    <a:lumOff val="35000"/>
                  </a:srgbClr>
                </a:solidFill>
                <a:effectLst/>
                <a:uLnTx/>
                <a:uFillTx/>
                <a:latin typeface="Segoe UI"/>
                <a:ea typeface="+mn-ea"/>
                <a:cs typeface="+mn-cs"/>
              </a:rPr>
              <a:t>Key Result: Ensure the AI model can analyze pricing data from all specified competitor sources.</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000" b="0" i="0" u="none" strike="noStrike" kern="1200" cap="none" spc="0" normalizeH="0" baseline="0" noProof="0">
                <a:ln>
                  <a:noFill/>
                </a:ln>
                <a:solidFill>
                  <a:srgbClr val="000000">
                    <a:lumMod val="65000"/>
                    <a:lumOff val="35000"/>
                  </a:srgbClr>
                </a:solidFill>
                <a:effectLst/>
                <a:uLnTx/>
                <a:uFillTx/>
                <a:latin typeface="Segoe UI"/>
                <a:ea typeface="+mn-ea"/>
                <a:cs typeface="+mn-cs"/>
              </a:rPr>
              <a:t>Objective: Train the AI model to suggest optimal pricing for Oso One IFP insurance plans.</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000" b="0" i="0" u="none" strike="noStrike" kern="1200" cap="none" spc="0" normalizeH="0" baseline="0" noProof="0">
                <a:ln>
                  <a:noFill/>
                </a:ln>
                <a:solidFill>
                  <a:srgbClr val="000000">
                    <a:lumMod val="65000"/>
                    <a:lumOff val="35000"/>
                  </a:srgbClr>
                </a:solidFill>
                <a:effectLst/>
                <a:uLnTx/>
                <a:uFillTx/>
                <a:latin typeface="Segoe UI"/>
                <a:ea typeface="+mn-ea"/>
                <a:cs typeface="+mn-cs"/>
              </a:rPr>
              <a:t>Key Result: Complete the training of the AI model within the planned timeline.</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000" b="0" i="0" u="none" strike="noStrike" kern="1200" cap="none" spc="0" normalizeH="0" baseline="0" noProof="0">
                <a:ln>
                  <a:noFill/>
                </a:ln>
                <a:solidFill>
                  <a:srgbClr val="000000">
                    <a:lumMod val="65000"/>
                    <a:lumOff val="35000"/>
                  </a:srgbClr>
                </a:solidFill>
                <a:effectLst/>
                <a:uLnTx/>
                <a:uFillTx/>
                <a:latin typeface="Segoe UI"/>
                <a:ea typeface="+mn-ea"/>
                <a:cs typeface="+mn-cs"/>
              </a:rPr>
              <a:t>Key Result: Achieve a satisfaction rate of at least 85% among analysts using the AI model’s pricing suggestions.</a:t>
            </a:r>
          </a:p>
          <a:p>
            <a:pPr marL="0" marR="0" lvl="0" indent="0" algn="l" defTabSz="914400" rtl="0" eaLnBrk="1" fontAlgn="auto" latinLnBrk="0" hangingPunct="1">
              <a:lnSpc>
                <a:spcPct val="100000"/>
              </a:lnSpc>
              <a:spcBef>
                <a:spcPts val="0"/>
              </a:spcBef>
              <a:spcAft>
                <a:spcPts val="200"/>
              </a:spcAft>
              <a:buClrTx/>
              <a:buSzTx/>
              <a:buFontTx/>
              <a:buNone/>
              <a:tabLst/>
              <a:defRPr/>
            </a:pPr>
            <a:endParaRPr kumimoji="0" lang="en-US" sz="1000" b="0" i="0" u="none" strike="noStrike" kern="1200" cap="none" spc="0" normalizeH="0" baseline="0" noProof="0">
              <a:ln>
                <a:noFill/>
              </a:ln>
              <a:solidFill>
                <a:srgbClr val="000000">
                  <a:lumMod val="65000"/>
                  <a:lumOff val="35000"/>
                </a:srgbClr>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000" b="0" i="0" u="none" strike="noStrike" kern="1200" cap="none" spc="0" normalizeH="0" baseline="0" noProof="0">
                <a:ln>
                  <a:noFill/>
                </a:ln>
                <a:solidFill>
                  <a:srgbClr val="000000">
                    <a:lumMod val="65000"/>
                    <a:lumOff val="35000"/>
                  </a:srgbClr>
                </a:solidFill>
                <a:effectLst/>
                <a:uLnTx/>
                <a:uFillTx/>
                <a:latin typeface="Segoe UI"/>
                <a:ea typeface="+mn-ea"/>
                <a:cs typeface="+mn-cs"/>
              </a:rPr>
              <a:t>Business Requirement: Data Ingestion</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000" b="0" i="0" u="none" strike="noStrike" kern="1200" cap="none" spc="0" normalizeH="0" baseline="0" noProof="0">
                <a:ln>
                  <a:noFill/>
                </a:ln>
                <a:solidFill>
                  <a:srgbClr val="000000">
                    <a:lumMod val="65000"/>
                    <a:lumOff val="35000"/>
                  </a:srgbClr>
                </a:solidFill>
                <a:effectLst/>
                <a:uLnTx/>
                <a:uFillTx/>
                <a:latin typeface="Segoe UI"/>
                <a:ea typeface="+mn-ea"/>
                <a:cs typeface="+mn-cs"/>
              </a:rPr>
              <a:t>Objective: Develop a system capable of ingesting competitor pricing data from various sources.</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000" b="0" i="0" u="none" strike="noStrike" kern="1200" cap="none" spc="0" normalizeH="0" baseline="0" noProof="0">
                <a:ln>
                  <a:noFill/>
                </a:ln>
                <a:solidFill>
                  <a:srgbClr val="000000">
                    <a:lumMod val="65000"/>
                    <a:lumOff val="35000"/>
                  </a:srgbClr>
                </a:solidFill>
                <a:effectLst/>
                <a:uLnTx/>
                <a:uFillTx/>
                <a:latin typeface="Segoe UI"/>
                <a:ea typeface="+mn-ea"/>
                <a:cs typeface="+mn-cs"/>
              </a:rPr>
              <a:t>Key Result: Complete the development of the data ingestion system within the planned timeline.</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000" b="0" i="0" u="none" strike="noStrike" kern="1200" cap="none" spc="0" normalizeH="0" baseline="0" noProof="0">
                <a:ln>
                  <a:noFill/>
                </a:ln>
                <a:solidFill>
                  <a:srgbClr val="000000">
                    <a:lumMod val="65000"/>
                    <a:lumOff val="35000"/>
                  </a:srgbClr>
                </a:solidFill>
                <a:effectLst/>
                <a:uLnTx/>
                <a:uFillTx/>
                <a:latin typeface="Segoe UI"/>
                <a:ea typeface="+mn-ea"/>
                <a:cs typeface="+mn-cs"/>
              </a:rPr>
              <a:t>Key Result: Ensure the system can ingest pricing data from all specified competitor sources.</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000" b="0" i="0" u="none" strike="noStrike" kern="1200" cap="none" spc="0" normalizeH="0" baseline="0" noProof="0">
                <a:ln>
                  <a:noFill/>
                </a:ln>
                <a:solidFill>
                  <a:srgbClr val="000000">
                    <a:lumMod val="65000"/>
                    <a:lumOff val="35000"/>
                  </a:srgbClr>
                </a:solidFill>
                <a:effectLst/>
                <a:uLnTx/>
                <a:uFillTx/>
                <a:latin typeface="Segoe UI"/>
                <a:ea typeface="+mn-ea"/>
                <a:cs typeface="+mn-cs"/>
              </a:rPr>
              <a:t>Key Result: Achieve a data ingestion success rate of at least 95% during testing.</a:t>
            </a:r>
          </a:p>
          <a:p>
            <a:pPr marL="0" marR="0" lvl="0" indent="0" algn="l" defTabSz="914400" rtl="0" eaLnBrk="1" fontAlgn="auto" latinLnBrk="0" hangingPunct="1">
              <a:lnSpc>
                <a:spcPct val="100000"/>
              </a:lnSpc>
              <a:spcBef>
                <a:spcPts val="0"/>
              </a:spcBef>
              <a:spcAft>
                <a:spcPts val="200"/>
              </a:spcAft>
              <a:buClrTx/>
              <a:buSzTx/>
              <a:buFontTx/>
              <a:buNone/>
              <a:tabLst/>
              <a:defRPr/>
            </a:pPr>
            <a:endParaRPr kumimoji="0" lang="en-US" sz="1000" b="0" i="0" u="none" strike="noStrike" kern="1200" cap="none" spc="0" normalizeH="0" baseline="0" noProof="0">
              <a:ln>
                <a:noFill/>
              </a:ln>
              <a:solidFill>
                <a:srgbClr val="000000">
                  <a:lumMod val="65000"/>
                  <a:lumOff val="35000"/>
                </a:srgbClr>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000" b="0" i="0" u="none" strike="noStrike" kern="1200" cap="none" spc="0" normalizeH="0" baseline="0" noProof="0">
                <a:ln>
                  <a:noFill/>
                </a:ln>
                <a:solidFill>
                  <a:srgbClr val="000000">
                    <a:lumMod val="65000"/>
                    <a:lumOff val="35000"/>
                  </a:srgbClr>
                </a:solidFill>
                <a:effectLst/>
                <a:uLnTx/>
                <a:uFillTx/>
                <a:latin typeface="Segoe UI"/>
                <a:ea typeface="+mn-ea"/>
                <a:cs typeface="+mn-cs"/>
              </a:rPr>
              <a:t>Business Requirement: Data Processing</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000" b="0" i="0" u="none" strike="noStrike" kern="1200" cap="none" spc="0" normalizeH="0" baseline="0" noProof="0">
                <a:ln>
                  <a:noFill/>
                </a:ln>
                <a:solidFill>
                  <a:srgbClr val="000000">
                    <a:lumMod val="65000"/>
                    <a:lumOff val="35000"/>
                  </a:srgbClr>
                </a:solidFill>
                <a:effectLst/>
                <a:uLnTx/>
                <a:uFillTx/>
                <a:latin typeface="Segoe UI"/>
                <a:ea typeface="+mn-ea"/>
                <a:cs typeface="+mn-cs"/>
              </a:rPr>
              <a:t>Objective: Develop a system capable of processing and analyzing the ingested data.</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000" b="0" i="0" u="none" strike="noStrike" kern="1200" cap="none" spc="0" normalizeH="0" baseline="0" noProof="0">
                <a:ln>
                  <a:noFill/>
                </a:ln>
                <a:solidFill>
                  <a:srgbClr val="000000">
                    <a:lumMod val="65000"/>
                    <a:lumOff val="35000"/>
                  </a:srgbClr>
                </a:solidFill>
                <a:effectLst/>
                <a:uLnTx/>
                <a:uFillTx/>
                <a:latin typeface="Segoe UI"/>
                <a:ea typeface="+mn-ea"/>
                <a:cs typeface="+mn-cs"/>
              </a:rPr>
              <a:t>Key Result: Complete the development of the data processing system within the planned timeline.</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000" b="0" i="0" u="none" strike="noStrike" kern="1200" cap="none" spc="0" normalizeH="0" baseline="0" noProof="0">
                <a:ln>
                  <a:noFill/>
                </a:ln>
                <a:solidFill>
                  <a:srgbClr val="000000">
                    <a:lumMod val="65000"/>
                    <a:lumOff val="35000"/>
                  </a:srgbClr>
                </a:solidFill>
                <a:effectLst/>
                <a:uLnTx/>
                <a:uFillTx/>
                <a:latin typeface="Segoe UI"/>
                <a:ea typeface="+mn-ea"/>
                <a:cs typeface="+mn-cs"/>
              </a:rPr>
              <a:t>Key Result: Ensure the system can accurately process and analyze the ingested data.</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000" b="0" i="0" u="none" strike="noStrike" kern="1200" cap="none" spc="0" normalizeH="0" baseline="0" noProof="0">
                <a:ln>
                  <a:noFill/>
                </a:ln>
                <a:solidFill>
                  <a:srgbClr val="000000">
                    <a:lumMod val="65000"/>
                    <a:lumOff val="35000"/>
                  </a:srgbClr>
                </a:solidFill>
                <a:effectLst/>
                <a:uLnTx/>
                <a:uFillTx/>
                <a:latin typeface="Segoe UI"/>
                <a:ea typeface="+mn-ea"/>
                <a:cs typeface="+mn-cs"/>
              </a:rPr>
              <a:t>Key Result: Achieve a data processing success rate of at least 95% during testing.</a:t>
            </a:r>
          </a:p>
        </p:txBody>
      </p:sp>
      <p:sp>
        <p:nvSpPr>
          <p:cNvPr id="10" name="Rectangle 9">
            <a:extLst>
              <a:ext uri="{FF2B5EF4-FFF2-40B4-BE49-F238E27FC236}">
                <a16:creationId xmlns:a16="http://schemas.microsoft.com/office/drawing/2014/main" id="{D551B71C-51CC-756A-60F4-18DEC40585E6}"/>
              </a:ext>
            </a:extLst>
          </p:cNvPr>
          <p:cNvSpPr>
            <a:spLocks/>
          </p:cNvSpPr>
          <p:nvPr/>
        </p:nvSpPr>
        <p:spPr bwMode="auto">
          <a:xfrm>
            <a:off x="5904667" y="1471561"/>
            <a:ext cx="5040623" cy="5266638"/>
          </a:xfrm>
          <a:prstGeom prst="rect">
            <a:avLst/>
          </a:prstGeom>
          <a:solidFill>
            <a:schemeClr val="bg1">
              <a:alpha val="9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lang="en-US" sz="1100">
                <a:solidFill>
                  <a:srgbClr val="000000"/>
                </a:solidFill>
                <a:latin typeface="Segoe UI Semibold"/>
              </a:rPr>
              <a:t>Business Requirement OKRs (cont.)</a:t>
            </a:r>
            <a:endParaRPr kumimoji="0" lang="en-US" sz="1100" b="0" i="0" u="none" strike="noStrike" kern="1200" cap="none" spc="0" normalizeH="0" baseline="0" noProof="0">
              <a:ln>
                <a:noFill/>
              </a:ln>
              <a:solidFill>
                <a:srgbClr val="000000"/>
              </a:solidFill>
              <a:effectLst/>
              <a:uLnTx/>
              <a:uFillTx/>
              <a:latin typeface="Segoe UI Semibold"/>
              <a:ea typeface="+mn-ea"/>
              <a:cs typeface="+mn-cs"/>
            </a:endParaRPr>
          </a:p>
          <a:p>
            <a:pPr defTabSz="914400">
              <a:spcAft>
                <a:spcPts val="200"/>
              </a:spcAft>
              <a:defRPr/>
            </a:pPr>
            <a:r>
              <a:rPr kumimoji="0" lang="en-US" sz="1000" b="0" i="0" u="none" strike="noStrike" kern="1200" cap="none" spc="0" normalizeH="0" baseline="0" noProof="0">
                <a:ln>
                  <a:noFill/>
                </a:ln>
                <a:solidFill>
                  <a:srgbClr val="000000">
                    <a:lumMod val="65000"/>
                    <a:lumOff val="35000"/>
                  </a:srgbClr>
                </a:solidFill>
                <a:effectLst/>
                <a:uLnTx/>
                <a:uFillTx/>
                <a:latin typeface="Segoe UI"/>
                <a:ea typeface="+mn-ea"/>
                <a:cs typeface="+mn-cs"/>
              </a:rPr>
              <a:t>Business Requirement: Pricing Suggestions</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000" b="0" i="0" u="none" strike="noStrike" kern="1200" cap="none" spc="0" normalizeH="0" baseline="0" noProof="0">
                <a:ln>
                  <a:noFill/>
                </a:ln>
                <a:solidFill>
                  <a:srgbClr val="000000">
                    <a:lumMod val="65000"/>
                    <a:lumOff val="35000"/>
                  </a:srgbClr>
                </a:solidFill>
                <a:effectLst/>
                <a:uLnTx/>
                <a:uFillTx/>
                <a:latin typeface="Segoe UI"/>
                <a:ea typeface="+mn-ea"/>
                <a:cs typeface="+mn-cs"/>
              </a:rPr>
              <a:t>Objective: Ensure the AI model can generate accurate and competitive pricing suggestions.</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000" b="0" i="0" u="none" strike="noStrike" kern="1200" cap="none" spc="0" normalizeH="0" baseline="0" noProof="0">
                <a:ln>
                  <a:noFill/>
                </a:ln>
                <a:solidFill>
                  <a:srgbClr val="000000">
                    <a:lumMod val="65000"/>
                    <a:lumOff val="35000"/>
                  </a:srgbClr>
                </a:solidFill>
                <a:effectLst/>
                <a:uLnTx/>
                <a:uFillTx/>
                <a:latin typeface="Segoe UI"/>
                <a:ea typeface="+mn-ea"/>
                <a:cs typeface="+mn-cs"/>
              </a:rPr>
              <a:t>Key Result: Achieve an accuracy of at least 90% in the AI model’s pricing suggestions during testing.</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000" b="0" i="0" u="none" strike="noStrike" kern="1200" cap="none" spc="0" normalizeH="0" baseline="0" noProof="0">
                <a:ln>
                  <a:noFill/>
                </a:ln>
                <a:solidFill>
                  <a:srgbClr val="000000">
                    <a:lumMod val="65000"/>
                    <a:lumOff val="35000"/>
                  </a:srgbClr>
                </a:solidFill>
                <a:effectLst/>
                <a:uLnTx/>
                <a:uFillTx/>
                <a:latin typeface="Segoe UI"/>
                <a:ea typeface="+mn-ea"/>
                <a:cs typeface="+mn-cs"/>
              </a:rPr>
              <a:t>Key Result: Ensure the pricing suggestions are competitive as per the market standards.</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000" b="0" i="0" u="none" strike="noStrike" kern="1200" cap="none" spc="0" normalizeH="0" baseline="0" noProof="0">
                <a:ln>
                  <a:noFill/>
                </a:ln>
                <a:solidFill>
                  <a:srgbClr val="000000">
                    <a:lumMod val="65000"/>
                    <a:lumOff val="35000"/>
                  </a:srgbClr>
                </a:solidFill>
                <a:effectLst/>
                <a:uLnTx/>
                <a:uFillTx/>
                <a:latin typeface="Segoe UI"/>
                <a:ea typeface="+mn-ea"/>
                <a:cs typeface="+mn-cs"/>
              </a:rPr>
              <a:t>Key Result: Achieve a satisfaction rate of at least 85% among analysts using the AI model’s pricing suggestions.</a:t>
            </a:r>
          </a:p>
          <a:p>
            <a:pPr marL="0" marR="0" lvl="0" indent="0" algn="l" defTabSz="914400" rtl="0" eaLnBrk="1" fontAlgn="auto" latinLnBrk="0" hangingPunct="1">
              <a:lnSpc>
                <a:spcPct val="100000"/>
              </a:lnSpc>
              <a:spcBef>
                <a:spcPts val="0"/>
              </a:spcBef>
              <a:spcAft>
                <a:spcPts val="200"/>
              </a:spcAft>
              <a:buClrTx/>
              <a:buSzTx/>
              <a:buFontTx/>
              <a:buNone/>
              <a:tabLst/>
              <a:defRPr/>
            </a:pPr>
            <a:endParaRPr kumimoji="0" lang="en-US" sz="1000" b="0" i="0" u="none" strike="noStrike" kern="1200" cap="none" spc="0" normalizeH="0" baseline="0" noProof="0">
              <a:ln>
                <a:noFill/>
              </a:ln>
              <a:solidFill>
                <a:srgbClr val="000000">
                  <a:lumMod val="65000"/>
                  <a:lumOff val="35000"/>
                </a:srgbClr>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000" b="0" i="0" u="none" strike="noStrike" kern="1200" cap="none" spc="0" normalizeH="0" baseline="0" noProof="0">
                <a:ln>
                  <a:noFill/>
                </a:ln>
                <a:solidFill>
                  <a:srgbClr val="000000">
                    <a:lumMod val="65000"/>
                    <a:lumOff val="35000"/>
                  </a:srgbClr>
                </a:solidFill>
                <a:effectLst/>
                <a:uLnTx/>
                <a:uFillTx/>
                <a:latin typeface="Segoe UI"/>
                <a:ea typeface="+mn-ea"/>
                <a:cs typeface="+mn-cs"/>
              </a:rPr>
              <a:t>Business Requirement: User Interface</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000" b="0" i="0" u="none" strike="noStrike" kern="1200" cap="none" spc="0" normalizeH="0" baseline="0" noProof="0">
                <a:ln>
                  <a:noFill/>
                </a:ln>
                <a:solidFill>
                  <a:srgbClr val="000000">
                    <a:lumMod val="65000"/>
                    <a:lumOff val="35000"/>
                  </a:srgbClr>
                </a:solidFill>
                <a:effectLst/>
                <a:uLnTx/>
                <a:uFillTx/>
                <a:latin typeface="Segoe UI"/>
                <a:ea typeface="+mn-ea"/>
                <a:cs typeface="+mn-cs"/>
              </a:rPr>
              <a:t>Objective: Develop a user-friendly interface for analysts to interact with the AI model.</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000" b="0" i="0" u="none" strike="noStrike" kern="1200" cap="none" spc="0" normalizeH="0" baseline="0" noProof="0">
                <a:ln>
                  <a:noFill/>
                </a:ln>
                <a:solidFill>
                  <a:srgbClr val="000000">
                    <a:lumMod val="65000"/>
                    <a:lumOff val="35000"/>
                  </a:srgbClr>
                </a:solidFill>
                <a:effectLst/>
                <a:uLnTx/>
                <a:uFillTx/>
                <a:latin typeface="Segoe UI"/>
                <a:ea typeface="+mn-ea"/>
                <a:cs typeface="+mn-cs"/>
              </a:rPr>
              <a:t>Key Result: Complete the development of the user interface within the planned timeline.</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000" b="0" i="0" u="none" strike="noStrike" kern="1200" cap="none" spc="0" normalizeH="0" baseline="0" noProof="0">
                <a:ln>
                  <a:noFill/>
                </a:ln>
                <a:solidFill>
                  <a:srgbClr val="000000">
                    <a:lumMod val="65000"/>
                    <a:lumOff val="35000"/>
                  </a:srgbClr>
                </a:solidFill>
                <a:effectLst/>
                <a:uLnTx/>
                <a:uFillTx/>
                <a:latin typeface="Segoe UI"/>
                <a:ea typeface="+mn-ea"/>
                <a:cs typeface="+mn-cs"/>
              </a:rPr>
              <a:t>Key Result: Achieve a user satisfaction rate of at least 85% for the user interface during testing.</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000" b="0" i="0" u="none" strike="noStrike" kern="1200" cap="none" spc="0" normalizeH="0" baseline="0" noProof="0">
                <a:ln>
                  <a:noFill/>
                </a:ln>
                <a:solidFill>
                  <a:srgbClr val="000000">
                    <a:lumMod val="65000"/>
                    <a:lumOff val="35000"/>
                  </a:srgbClr>
                </a:solidFill>
                <a:effectLst/>
                <a:uLnTx/>
                <a:uFillTx/>
                <a:latin typeface="Segoe UI"/>
                <a:ea typeface="+mn-ea"/>
                <a:cs typeface="+mn-cs"/>
              </a:rPr>
              <a:t>Key Result: Ensure the user interface allows analysts to easily interact with the AI model and receive pricing suggestions.</a:t>
            </a:r>
          </a:p>
          <a:p>
            <a:pPr marL="0" marR="0" lvl="0" indent="0" algn="l" defTabSz="914400" rtl="0" eaLnBrk="1" fontAlgn="auto" latinLnBrk="0" hangingPunct="1">
              <a:lnSpc>
                <a:spcPct val="100000"/>
              </a:lnSpc>
              <a:spcBef>
                <a:spcPts val="0"/>
              </a:spcBef>
              <a:spcAft>
                <a:spcPts val="200"/>
              </a:spcAft>
              <a:buClrTx/>
              <a:buSzTx/>
              <a:buFontTx/>
              <a:buNone/>
              <a:tabLst/>
              <a:defRPr/>
            </a:pPr>
            <a:endParaRPr kumimoji="0" lang="en-US" sz="1000" b="0" i="0" u="none" strike="noStrike" kern="1200" cap="none" spc="0" normalizeH="0" baseline="0" noProof="0">
              <a:ln>
                <a:noFill/>
              </a:ln>
              <a:solidFill>
                <a:srgbClr val="000000">
                  <a:lumMod val="65000"/>
                  <a:lumOff val="35000"/>
                </a:srgbClr>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000" b="0" i="0" u="none" strike="noStrike" kern="1200" cap="none" spc="0" normalizeH="0" baseline="0" noProof="0">
                <a:ln>
                  <a:noFill/>
                </a:ln>
                <a:solidFill>
                  <a:srgbClr val="000000">
                    <a:lumMod val="65000"/>
                    <a:lumOff val="35000"/>
                  </a:srgbClr>
                </a:solidFill>
                <a:effectLst/>
                <a:uLnTx/>
                <a:uFillTx/>
                <a:latin typeface="Segoe UI"/>
                <a:ea typeface="+mn-ea"/>
                <a:cs typeface="+mn-cs"/>
              </a:rPr>
              <a:t>Business Requirement: Reporting</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000" b="0" i="0" u="none" strike="noStrike" kern="1200" cap="none" spc="0" normalizeH="0" baseline="0" noProof="0">
                <a:ln>
                  <a:noFill/>
                </a:ln>
                <a:solidFill>
                  <a:srgbClr val="000000">
                    <a:lumMod val="65000"/>
                    <a:lumOff val="35000"/>
                  </a:srgbClr>
                </a:solidFill>
                <a:effectLst/>
                <a:uLnTx/>
                <a:uFillTx/>
                <a:latin typeface="Segoe UI"/>
                <a:ea typeface="+mn-ea"/>
                <a:cs typeface="+mn-cs"/>
              </a:rPr>
              <a:t>Objective: Ensure the system can generate reports highlighting the pricing suggestions and the analysis supporting those suggestions.</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000" b="0" i="0" u="none" strike="noStrike" kern="1200" cap="none" spc="0" normalizeH="0" baseline="0" noProof="0">
                <a:ln>
                  <a:noFill/>
                </a:ln>
                <a:solidFill>
                  <a:srgbClr val="000000">
                    <a:lumMod val="65000"/>
                    <a:lumOff val="35000"/>
                  </a:srgbClr>
                </a:solidFill>
                <a:effectLst/>
                <a:uLnTx/>
                <a:uFillTx/>
                <a:latin typeface="Segoe UI"/>
                <a:ea typeface="+mn-ea"/>
                <a:cs typeface="+mn-cs"/>
              </a:rPr>
              <a:t>Key Result: Complete the development of the reporting feature within the planned timeline.</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000" b="0" i="0" u="none" strike="noStrike" kern="1200" cap="none" spc="0" normalizeH="0" baseline="0" noProof="0">
                <a:ln>
                  <a:noFill/>
                </a:ln>
                <a:solidFill>
                  <a:srgbClr val="000000">
                    <a:lumMod val="65000"/>
                    <a:lumOff val="35000"/>
                  </a:srgbClr>
                </a:solidFill>
                <a:effectLst/>
                <a:uLnTx/>
                <a:uFillTx/>
                <a:latin typeface="Segoe UI"/>
                <a:ea typeface="+mn-ea"/>
                <a:cs typeface="+mn-cs"/>
              </a:rPr>
              <a:t>Key Result: Ensure the reports are comprehensive and highlight the pricing suggestions and the analysis supporting those suggestions.</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000" b="0" i="0" u="none" strike="noStrike" kern="1200" cap="none" spc="0" normalizeH="0" baseline="0" noProof="0">
                <a:ln>
                  <a:noFill/>
                </a:ln>
                <a:solidFill>
                  <a:srgbClr val="000000">
                    <a:lumMod val="65000"/>
                    <a:lumOff val="35000"/>
                  </a:srgbClr>
                </a:solidFill>
                <a:effectLst/>
                <a:uLnTx/>
                <a:uFillTx/>
                <a:latin typeface="Segoe UI"/>
                <a:ea typeface="+mn-ea"/>
                <a:cs typeface="+mn-cs"/>
              </a:rPr>
              <a:t>Key Result: Achieve a satisfaction rate of at least 85% among analysts using the reports generated by the system.</a:t>
            </a:r>
          </a:p>
        </p:txBody>
      </p:sp>
    </p:spTree>
    <p:extLst>
      <p:ext uri="{BB962C8B-B14F-4D97-AF65-F5344CB8AC3E}">
        <p14:creationId xmlns:p14="http://schemas.microsoft.com/office/powerpoint/2010/main" val="559526874"/>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0BC9E6-1379-23D9-B2D3-F8C0B2869678}"/>
              </a:ext>
            </a:extLst>
          </p:cNvPr>
          <p:cNvSpPr>
            <a:spLocks noGrp="1"/>
          </p:cNvSpPr>
          <p:nvPr>
            <p:ph type="title"/>
          </p:nvPr>
        </p:nvSpPr>
        <p:spPr/>
        <p:txBody>
          <a:bodyPr/>
          <a:lstStyle/>
          <a:p>
            <a:r>
              <a:rPr lang="en-US"/>
              <a:t>Taxonomy</a:t>
            </a:r>
          </a:p>
        </p:txBody>
      </p:sp>
    </p:spTree>
    <p:extLst>
      <p:ext uri="{BB962C8B-B14F-4D97-AF65-F5344CB8AC3E}">
        <p14:creationId xmlns:p14="http://schemas.microsoft.com/office/powerpoint/2010/main" val="1085664074"/>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Rectangle 99">
            <a:extLst>
              <a:ext uri="{FF2B5EF4-FFF2-40B4-BE49-F238E27FC236}">
                <a16:creationId xmlns:a16="http://schemas.microsoft.com/office/drawing/2014/main" id="{3CFB19EF-ABF3-96BA-D07D-31A6D4BC414C}"/>
              </a:ext>
            </a:extLst>
          </p:cNvPr>
          <p:cNvSpPr/>
          <p:nvPr/>
        </p:nvSpPr>
        <p:spPr bwMode="auto">
          <a:xfrm>
            <a:off x="663295" y="277091"/>
            <a:ext cx="5666438" cy="6190039"/>
          </a:xfrm>
          <a:prstGeom prst="rect">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7" name="TextBox 26">
            <a:extLst>
              <a:ext uri="{FF2B5EF4-FFF2-40B4-BE49-F238E27FC236}">
                <a16:creationId xmlns:a16="http://schemas.microsoft.com/office/drawing/2014/main" id="{6422C779-61E8-7DF8-3963-22FE9B0DB19B}"/>
              </a:ext>
            </a:extLst>
          </p:cNvPr>
          <p:cNvSpPr txBox="1"/>
          <p:nvPr/>
        </p:nvSpPr>
        <p:spPr>
          <a:xfrm>
            <a:off x="914684" y="277091"/>
            <a:ext cx="5258577" cy="307777"/>
          </a:xfrm>
          <a:prstGeom prst="rect">
            <a:avLst/>
          </a:prstGeom>
          <a:noFill/>
        </p:spPr>
        <p:txBody>
          <a:bodyPr wrap="square" lIns="0" tIns="0" rIns="0" bIns="0" rtlCol="0" anchor="ctr">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a:ea typeface="+mn-ea"/>
                <a:cs typeface="+mn-cs"/>
              </a:rPr>
              <a:t>Taxonomy Framework</a:t>
            </a:r>
          </a:p>
        </p:txBody>
      </p:sp>
      <p:sp>
        <p:nvSpPr>
          <p:cNvPr id="20" name="Rectangle: Top Corners Rounded 19">
            <a:extLst>
              <a:ext uri="{FF2B5EF4-FFF2-40B4-BE49-F238E27FC236}">
                <a16:creationId xmlns:a16="http://schemas.microsoft.com/office/drawing/2014/main" id="{72209796-5027-0D9D-E5CB-F6BBEDDE8847}"/>
              </a:ext>
            </a:extLst>
          </p:cNvPr>
          <p:cNvSpPr/>
          <p:nvPr/>
        </p:nvSpPr>
        <p:spPr bwMode="auto">
          <a:xfrm>
            <a:off x="914688" y="740563"/>
            <a:ext cx="5258574" cy="570646"/>
          </a:xfrm>
          <a:prstGeom prst="round2Same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Business Function</a:t>
            </a:r>
          </a:p>
          <a:p>
            <a:pPr marL="0" marR="0" lvl="0" indent="0" algn="ctr" defTabSz="932472" rtl="0" eaLnBrk="1" fontAlgn="base" latinLnBrk="0" hangingPunct="1">
              <a:lnSpc>
                <a:spcPct val="100000"/>
              </a:lnSpc>
              <a:spcBef>
                <a:spcPct val="0"/>
              </a:spcBef>
              <a:spcAft>
                <a:spcPct val="0"/>
              </a:spcAft>
              <a:buClrTx/>
              <a:buSzTx/>
              <a:buFontTx/>
              <a:buNone/>
              <a:tabLst/>
              <a:defRPr/>
            </a:pPr>
            <a:r>
              <a:rPr lang="en-US" sz="1000">
                <a:solidFill>
                  <a:srgbClr val="FFFFFF"/>
                </a:solidFill>
                <a:latin typeface="Segoe UI"/>
                <a:ea typeface="Segoe UI" pitchFamily="34" charset="0"/>
                <a:cs typeface="Segoe UI" pitchFamily="34" charset="0"/>
              </a:rPr>
              <a:t>(Sales, Finance, Customer Service, …)</a:t>
            </a:r>
            <a:endParaRPr kumimoji="0" lang="en-US" sz="1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1" name="Rectangle 20">
            <a:extLst>
              <a:ext uri="{FF2B5EF4-FFF2-40B4-BE49-F238E27FC236}">
                <a16:creationId xmlns:a16="http://schemas.microsoft.com/office/drawing/2014/main" id="{CBD3C6DE-9F7C-B1FC-A4FA-7833628C6835}"/>
              </a:ext>
            </a:extLst>
          </p:cNvPr>
          <p:cNvSpPr/>
          <p:nvPr/>
        </p:nvSpPr>
        <p:spPr bwMode="auto">
          <a:xfrm>
            <a:off x="914688" y="1284206"/>
            <a:ext cx="1752858" cy="647082"/>
          </a:xfrm>
          <a:prstGeom prst="rect">
            <a:avLst/>
          </a:prstGeom>
          <a:solidFill>
            <a:srgbClr val="28426B"/>
          </a:solidFill>
          <a:ln>
            <a:solidFill>
              <a:schemeClr val="bg1"/>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Business Process </a:t>
            </a:r>
            <a:r>
              <a:rPr kumimoji="0" lang="en-US" sz="1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Challenge 1</a:t>
            </a:r>
          </a:p>
        </p:txBody>
      </p:sp>
      <p:sp>
        <p:nvSpPr>
          <p:cNvPr id="26" name="Rectangle 25">
            <a:extLst>
              <a:ext uri="{FF2B5EF4-FFF2-40B4-BE49-F238E27FC236}">
                <a16:creationId xmlns:a16="http://schemas.microsoft.com/office/drawing/2014/main" id="{11BD9E1A-4C9C-F86C-5CA9-0FD97756E3A8}"/>
              </a:ext>
            </a:extLst>
          </p:cNvPr>
          <p:cNvSpPr/>
          <p:nvPr/>
        </p:nvSpPr>
        <p:spPr bwMode="auto">
          <a:xfrm>
            <a:off x="2667546" y="1284206"/>
            <a:ext cx="1752858" cy="647082"/>
          </a:xfrm>
          <a:prstGeom prst="rect">
            <a:avLst/>
          </a:prstGeom>
          <a:solidFill>
            <a:schemeClr val="accent2">
              <a:lumMod val="60000"/>
              <a:lumOff val="40000"/>
            </a:schemeClr>
          </a:solidFill>
          <a:ln>
            <a:solidFill>
              <a:schemeClr val="bg1"/>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Business Process </a:t>
            </a:r>
            <a:r>
              <a:rPr kumimoji="0" lang="en-US" sz="1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Challenge 2</a:t>
            </a:r>
          </a:p>
        </p:txBody>
      </p:sp>
      <p:sp>
        <p:nvSpPr>
          <p:cNvPr id="33" name="Rectangle 32">
            <a:extLst>
              <a:ext uri="{FF2B5EF4-FFF2-40B4-BE49-F238E27FC236}">
                <a16:creationId xmlns:a16="http://schemas.microsoft.com/office/drawing/2014/main" id="{DA4657BA-EB97-4F78-F4FA-D56EA48DB83A}"/>
              </a:ext>
            </a:extLst>
          </p:cNvPr>
          <p:cNvSpPr/>
          <p:nvPr/>
        </p:nvSpPr>
        <p:spPr bwMode="auto">
          <a:xfrm>
            <a:off x="4420404" y="1280592"/>
            <a:ext cx="1752858" cy="647082"/>
          </a:xfrm>
          <a:prstGeom prst="rect">
            <a:avLst/>
          </a:prstGeom>
          <a:solidFill>
            <a:schemeClr val="accent2">
              <a:lumMod val="60000"/>
              <a:lumOff val="40000"/>
            </a:schemeClr>
          </a:solidFill>
          <a:ln>
            <a:solidFill>
              <a:schemeClr val="bg1"/>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Business Process </a:t>
            </a:r>
            <a:r>
              <a:rPr kumimoji="0" lang="en-US" sz="1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Challenge </a:t>
            </a:r>
            <a:r>
              <a:rPr kumimoji="0" lang="en-US" sz="1000" b="0" i="1" u="none" strike="noStrike" kern="1200" cap="none" spc="0" normalizeH="0" baseline="0" noProof="0">
                <a:ln>
                  <a:noFill/>
                </a:ln>
                <a:solidFill>
                  <a:srgbClr val="FFFFFF"/>
                </a:solidFill>
                <a:effectLst/>
                <a:uLnTx/>
                <a:uFillTx/>
                <a:latin typeface="Segoe UI"/>
                <a:ea typeface="Segoe UI" pitchFamily="34" charset="0"/>
                <a:cs typeface="Segoe UI" pitchFamily="34" charset="0"/>
              </a:rPr>
              <a:t>n</a:t>
            </a:r>
            <a:endParaRPr kumimoji="0" lang="en-US" sz="1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5" name="Rectangle 34">
            <a:extLst>
              <a:ext uri="{FF2B5EF4-FFF2-40B4-BE49-F238E27FC236}">
                <a16:creationId xmlns:a16="http://schemas.microsoft.com/office/drawing/2014/main" id="{38946C01-6DA4-905F-8901-92E946C15E25}"/>
              </a:ext>
            </a:extLst>
          </p:cNvPr>
          <p:cNvSpPr/>
          <p:nvPr/>
        </p:nvSpPr>
        <p:spPr bwMode="auto">
          <a:xfrm>
            <a:off x="914688" y="2188254"/>
            <a:ext cx="1752858" cy="647082"/>
          </a:xfrm>
          <a:prstGeom prst="rect">
            <a:avLst/>
          </a:prstGeom>
          <a:solidFill>
            <a:srgbClr val="28426B"/>
          </a:solidFill>
          <a:ln>
            <a:solidFill>
              <a:schemeClr val="bg1"/>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lang="en-US" sz="1000">
                <a:solidFill>
                  <a:srgbClr val="FFFFFF"/>
                </a:solidFill>
                <a:latin typeface="Segoe UI"/>
                <a:ea typeface="Segoe UI" pitchFamily="34" charset="0"/>
                <a:cs typeface="Segoe UI" pitchFamily="34" charset="0"/>
              </a:rPr>
              <a:t>Business Scenario </a:t>
            </a:r>
          </a:p>
          <a:p>
            <a:pPr marL="0" marR="0" lvl="0" indent="0" algn="ctr" defTabSz="932472" rtl="0" eaLnBrk="1" fontAlgn="base" latinLnBrk="0" hangingPunct="1">
              <a:lnSpc>
                <a:spcPct val="100000"/>
              </a:lnSpc>
              <a:spcBef>
                <a:spcPct val="0"/>
              </a:spcBef>
              <a:spcAft>
                <a:spcPct val="0"/>
              </a:spcAft>
              <a:buClrTx/>
              <a:buSzTx/>
              <a:buFontTx/>
              <a:buNone/>
              <a:tabLst/>
              <a:defRPr/>
            </a:pPr>
            <a:r>
              <a:rPr lang="en-US" sz="1000">
                <a:solidFill>
                  <a:srgbClr val="FFFFFF"/>
                </a:solidFill>
                <a:latin typeface="Segoe UI"/>
                <a:ea typeface="Segoe UI" pitchFamily="34" charset="0"/>
                <a:cs typeface="Segoe UI" pitchFamily="34" charset="0"/>
              </a:rPr>
              <a:t>1</a:t>
            </a:r>
            <a:endParaRPr kumimoji="0" lang="en-US" sz="1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7" name="Rectangle 36">
            <a:extLst>
              <a:ext uri="{FF2B5EF4-FFF2-40B4-BE49-F238E27FC236}">
                <a16:creationId xmlns:a16="http://schemas.microsoft.com/office/drawing/2014/main" id="{578C9C83-0D4E-7304-41E5-DFA4B136C390}"/>
              </a:ext>
            </a:extLst>
          </p:cNvPr>
          <p:cNvSpPr/>
          <p:nvPr/>
        </p:nvSpPr>
        <p:spPr bwMode="auto">
          <a:xfrm>
            <a:off x="2667546" y="2188254"/>
            <a:ext cx="1752858" cy="647082"/>
          </a:xfrm>
          <a:prstGeom prst="rect">
            <a:avLst/>
          </a:prstGeom>
          <a:solidFill>
            <a:schemeClr val="accent2">
              <a:lumMod val="60000"/>
              <a:lumOff val="40000"/>
            </a:schemeClr>
          </a:solidFill>
          <a:ln>
            <a:solidFill>
              <a:schemeClr val="bg1"/>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lang="en-US" sz="1000">
                <a:solidFill>
                  <a:srgbClr val="FFFFFF"/>
                </a:solidFill>
                <a:latin typeface="Segoe UI"/>
                <a:ea typeface="Segoe UI" pitchFamily="34" charset="0"/>
                <a:cs typeface="Segoe UI" pitchFamily="34" charset="0"/>
              </a:rPr>
              <a:t>Business Scenario </a:t>
            </a:r>
          </a:p>
          <a:p>
            <a:pPr marL="0" marR="0" lvl="0" indent="0" algn="ctr" defTabSz="932472" rtl="0" eaLnBrk="1" fontAlgn="base" latinLnBrk="0" hangingPunct="1">
              <a:lnSpc>
                <a:spcPct val="100000"/>
              </a:lnSpc>
              <a:spcBef>
                <a:spcPct val="0"/>
              </a:spcBef>
              <a:spcAft>
                <a:spcPct val="0"/>
              </a:spcAft>
              <a:buClrTx/>
              <a:buSzTx/>
              <a:buFontTx/>
              <a:buNone/>
              <a:tabLst/>
              <a:defRPr/>
            </a:pPr>
            <a:r>
              <a:rPr lang="en-US" sz="1000">
                <a:solidFill>
                  <a:srgbClr val="FFFFFF"/>
                </a:solidFill>
                <a:latin typeface="Segoe UI"/>
                <a:ea typeface="Segoe UI" pitchFamily="34" charset="0"/>
                <a:cs typeface="Segoe UI" pitchFamily="34" charset="0"/>
              </a:rPr>
              <a:t>2</a:t>
            </a:r>
            <a:endParaRPr kumimoji="0" lang="en-US" sz="1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8" name="Rectangle 37">
            <a:extLst>
              <a:ext uri="{FF2B5EF4-FFF2-40B4-BE49-F238E27FC236}">
                <a16:creationId xmlns:a16="http://schemas.microsoft.com/office/drawing/2014/main" id="{BD4043FA-98BD-05CC-202F-07A1AD923450}"/>
              </a:ext>
            </a:extLst>
          </p:cNvPr>
          <p:cNvSpPr/>
          <p:nvPr/>
        </p:nvSpPr>
        <p:spPr bwMode="auto">
          <a:xfrm>
            <a:off x="4420404" y="2188254"/>
            <a:ext cx="1752858" cy="647082"/>
          </a:xfrm>
          <a:prstGeom prst="rect">
            <a:avLst/>
          </a:prstGeom>
          <a:solidFill>
            <a:schemeClr val="accent2">
              <a:lumMod val="60000"/>
              <a:lumOff val="40000"/>
            </a:schemeClr>
          </a:solidFill>
          <a:ln>
            <a:solidFill>
              <a:schemeClr val="bg1"/>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lang="en-US" sz="1000">
                <a:solidFill>
                  <a:srgbClr val="FFFFFF"/>
                </a:solidFill>
                <a:latin typeface="Segoe UI"/>
                <a:ea typeface="Segoe UI" pitchFamily="34" charset="0"/>
                <a:cs typeface="Segoe UI" pitchFamily="34" charset="0"/>
              </a:rPr>
              <a:t>Business Scenario </a:t>
            </a:r>
          </a:p>
          <a:p>
            <a:pPr marL="0" marR="0" lvl="0" indent="0" algn="ctr" defTabSz="932472" rtl="0" eaLnBrk="1" fontAlgn="base" latinLnBrk="0" hangingPunct="1">
              <a:lnSpc>
                <a:spcPct val="100000"/>
              </a:lnSpc>
              <a:spcBef>
                <a:spcPct val="0"/>
              </a:spcBef>
              <a:spcAft>
                <a:spcPct val="0"/>
              </a:spcAft>
              <a:buClrTx/>
              <a:buSzTx/>
              <a:buFontTx/>
              <a:buNone/>
              <a:tabLst/>
              <a:defRPr/>
            </a:pPr>
            <a:r>
              <a:rPr lang="en-US" sz="1000" i="1">
                <a:solidFill>
                  <a:srgbClr val="FFFFFF"/>
                </a:solidFill>
                <a:latin typeface="Segoe UI"/>
                <a:ea typeface="Segoe UI" pitchFamily="34" charset="0"/>
                <a:cs typeface="Segoe UI" pitchFamily="34" charset="0"/>
              </a:rPr>
              <a:t>n</a:t>
            </a:r>
            <a:endParaRPr kumimoji="0" lang="en-US" sz="1000" b="0" i="1"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9" name="Rectangle 38">
            <a:extLst>
              <a:ext uri="{FF2B5EF4-FFF2-40B4-BE49-F238E27FC236}">
                <a16:creationId xmlns:a16="http://schemas.microsoft.com/office/drawing/2014/main" id="{174CECD0-7683-3972-CF79-3EED55DC80FF}"/>
              </a:ext>
            </a:extLst>
          </p:cNvPr>
          <p:cNvSpPr/>
          <p:nvPr/>
        </p:nvSpPr>
        <p:spPr bwMode="auto">
          <a:xfrm>
            <a:off x="914688" y="3092302"/>
            <a:ext cx="1752858" cy="647082"/>
          </a:xfrm>
          <a:prstGeom prst="rect">
            <a:avLst/>
          </a:prstGeom>
          <a:solidFill>
            <a:schemeClr val="accent2">
              <a:lumMod val="60000"/>
              <a:lumOff val="40000"/>
            </a:schemeClr>
          </a:solidFill>
          <a:ln>
            <a:solidFill>
              <a:schemeClr val="bg1"/>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lang="en-US" sz="1000" b="1">
                <a:solidFill>
                  <a:srgbClr val="FFFFFF"/>
                </a:solidFill>
                <a:latin typeface="Segoe UI"/>
                <a:ea typeface="Segoe UI" pitchFamily="34" charset="0"/>
                <a:cs typeface="Segoe UI" pitchFamily="34" charset="0"/>
              </a:rPr>
              <a:t>Business Use Case </a:t>
            </a:r>
          </a:p>
          <a:p>
            <a:pPr marL="0" marR="0" lvl="0" indent="0" algn="ctr" defTabSz="932472" rtl="0" eaLnBrk="1" fontAlgn="base" latinLnBrk="0" hangingPunct="1">
              <a:lnSpc>
                <a:spcPct val="100000"/>
              </a:lnSpc>
              <a:spcBef>
                <a:spcPct val="0"/>
              </a:spcBef>
              <a:spcAft>
                <a:spcPct val="0"/>
              </a:spcAft>
              <a:buClrTx/>
              <a:buSzTx/>
              <a:buFontTx/>
              <a:buNone/>
              <a:tabLst/>
              <a:defRPr/>
            </a:pPr>
            <a:r>
              <a:rPr lang="en-US" sz="1000">
                <a:solidFill>
                  <a:srgbClr val="FFFFFF"/>
                </a:solidFill>
                <a:latin typeface="Segoe UI"/>
                <a:ea typeface="Segoe UI" pitchFamily="34" charset="0"/>
                <a:cs typeface="Segoe UI" pitchFamily="34" charset="0"/>
              </a:rPr>
              <a:t>1</a:t>
            </a:r>
            <a:endParaRPr kumimoji="0" lang="en-US" sz="1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0" name="Rectangle 39">
            <a:extLst>
              <a:ext uri="{FF2B5EF4-FFF2-40B4-BE49-F238E27FC236}">
                <a16:creationId xmlns:a16="http://schemas.microsoft.com/office/drawing/2014/main" id="{DED3A318-4940-3DFA-6405-C6624006EFE6}"/>
              </a:ext>
            </a:extLst>
          </p:cNvPr>
          <p:cNvSpPr/>
          <p:nvPr/>
        </p:nvSpPr>
        <p:spPr bwMode="auto">
          <a:xfrm>
            <a:off x="2667546" y="3092302"/>
            <a:ext cx="1752858" cy="647082"/>
          </a:xfrm>
          <a:prstGeom prst="rect">
            <a:avLst/>
          </a:prstGeom>
          <a:solidFill>
            <a:srgbClr val="28426B"/>
          </a:solidFill>
          <a:ln>
            <a:solidFill>
              <a:schemeClr val="bg1"/>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lang="en-US" sz="1000" b="1">
                <a:solidFill>
                  <a:srgbClr val="FFFFFF"/>
                </a:solidFill>
                <a:latin typeface="Segoe UI"/>
                <a:ea typeface="Segoe UI" pitchFamily="34" charset="0"/>
                <a:cs typeface="Segoe UI" pitchFamily="34" charset="0"/>
              </a:rPr>
              <a:t>Business Use Case </a:t>
            </a:r>
          </a:p>
          <a:p>
            <a:pPr marL="0" marR="0" lvl="0" indent="0" algn="ctr" defTabSz="932472" rtl="0" eaLnBrk="1" fontAlgn="base" latinLnBrk="0" hangingPunct="1">
              <a:lnSpc>
                <a:spcPct val="100000"/>
              </a:lnSpc>
              <a:spcBef>
                <a:spcPct val="0"/>
              </a:spcBef>
              <a:spcAft>
                <a:spcPct val="0"/>
              </a:spcAft>
              <a:buClrTx/>
              <a:buSzTx/>
              <a:buFontTx/>
              <a:buNone/>
              <a:tabLst/>
              <a:defRPr/>
            </a:pPr>
            <a:r>
              <a:rPr lang="en-US" sz="1000">
                <a:solidFill>
                  <a:srgbClr val="FFFFFF"/>
                </a:solidFill>
                <a:latin typeface="Segoe UI"/>
                <a:ea typeface="Segoe UI" pitchFamily="34" charset="0"/>
                <a:cs typeface="Segoe UI" pitchFamily="34" charset="0"/>
              </a:rPr>
              <a:t>2</a:t>
            </a:r>
            <a:endParaRPr kumimoji="0" lang="en-US" sz="1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1" name="Rectangle 40">
            <a:extLst>
              <a:ext uri="{FF2B5EF4-FFF2-40B4-BE49-F238E27FC236}">
                <a16:creationId xmlns:a16="http://schemas.microsoft.com/office/drawing/2014/main" id="{5A413319-A51E-6C46-2513-BA004F99E3DA}"/>
              </a:ext>
            </a:extLst>
          </p:cNvPr>
          <p:cNvSpPr/>
          <p:nvPr/>
        </p:nvSpPr>
        <p:spPr bwMode="auto">
          <a:xfrm>
            <a:off x="4420404" y="3092302"/>
            <a:ext cx="1752858" cy="647082"/>
          </a:xfrm>
          <a:prstGeom prst="rect">
            <a:avLst/>
          </a:prstGeom>
          <a:solidFill>
            <a:schemeClr val="accent2">
              <a:lumMod val="60000"/>
              <a:lumOff val="40000"/>
            </a:schemeClr>
          </a:solidFill>
          <a:ln>
            <a:solidFill>
              <a:schemeClr val="bg1"/>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lang="en-US" sz="1000" b="1">
                <a:solidFill>
                  <a:srgbClr val="FFFFFF"/>
                </a:solidFill>
                <a:latin typeface="Segoe UI"/>
                <a:ea typeface="Segoe UI" pitchFamily="34" charset="0"/>
                <a:cs typeface="Segoe UI" pitchFamily="34" charset="0"/>
              </a:rPr>
              <a:t>Business Use Case </a:t>
            </a:r>
          </a:p>
          <a:p>
            <a:pPr marL="0" marR="0" lvl="0" indent="0" algn="ctr" defTabSz="932472" rtl="0" eaLnBrk="1" fontAlgn="base" latinLnBrk="0" hangingPunct="1">
              <a:lnSpc>
                <a:spcPct val="100000"/>
              </a:lnSpc>
              <a:spcBef>
                <a:spcPct val="0"/>
              </a:spcBef>
              <a:spcAft>
                <a:spcPct val="0"/>
              </a:spcAft>
              <a:buClrTx/>
              <a:buSzTx/>
              <a:buFontTx/>
              <a:buNone/>
              <a:tabLst/>
              <a:defRPr/>
            </a:pPr>
            <a:r>
              <a:rPr lang="en-US" sz="1000" i="1">
                <a:solidFill>
                  <a:srgbClr val="FFFFFF"/>
                </a:solidFill>
                <a:latin typeface="Segoe UI"/>
                <a:ea typeface="Segoe UI" pitchFamily="34" charset="0"/>
                <a:cs typeface="Segoe UI" pitchFamily="34" charset="0"/>
              </a:rPr>
              <a:t>n</a:t>
            </a:r>
            <a:endParaRPr kumimoji="0" lang="en-US" sz="1000" b="0" i="1"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cxnSp>
        <p:nvCxnSpPr>
          <p:cNvPr id="44" name="Straight Arrow Connector 43">
            <a:extLst>
              <a:ext uri="{FF2B5EF4-FFF2-40B4-BE49-F238E27FC236}">
                <a16:creationId xmlns:a16="http://schemas.microsoft.com/office/drawing/2014/main" id="{219F4E3F-2CF7-D5E3-C6CC-EDC3FA1041CC}"/>
              </a:ext>
            </a:extLst>
          </p:cNvPr>
          <p:cNvCxnSpPr>
            <a:stCxn id="21" idx="2"/>
            <a:endCxn id="35" idx="0"/>
          </p:cNvCxnSpPr>
          <p:nvPr/>
        </p:nvCxnSpPr>
        <p:spPr>
          <a:xfrm>
            <a:off x="1791117" y="1931288"/>
            <a:ext cx="0" cy="256966"/>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7E6C3C6F-9C3B-3F90-A58B-C42773192494}"/>
              </a:ext>
            </a:extLst>
          </p:cNvPr>
          <p:cNvCxnSpPr>
            <a:stCxn id="35" idx="2"/>
            <a:endCxn id="39" idx="0"/>
          </p:cNvCxnSpPr>
          <p:nvPr/>
        </p:nvCxnSpPr>
        <p:spPr>
          <a:xfrm>
            <a:off x="1791117" y="2835336"/>
            <a:ext cx="0" cy="256966"/>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51" name="Connector: Elbow 50">
            <a:extLst>
              <a:ext uri="{FF2B5EF4-FFF2-40B4-BE49-F238E27FC236}">
                <a16:creationId xmlns:a16="http://schemas.microsoft.com/office/drawing/2014/main" id="{507E18B1-AC35-0D16-6D0F-D40BD20D1316}"/>
              </a:ext>
            </a:extLst>
          </p:cNvPr>
          <p:cNvCxnSpPr>
            <a:stCxn id="21" idx="2"/>
            <a:endCxn id="37" idx="0"/>
          </p:cNvCxnSpPr>
          <p:nvPr/>
        </p:nvCxnSpPr>
        <p:spPr>
          <a:xfrm rot="16200000" flipH="1">
            <a:off x="2539063" y="1183342"/>
            <a:ext cx="256966" cy="1752858"/>
          </a:xfrm>
          <a:prstGeom prst="bentConnector3">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53" name="Connector: Elbow 52">
            <a:extLst>
              <a:ext uri="{FF2B5EF4-FFF2-40B4-BE49-F238E27FC236}">
                <a16:creationId xmlns:a16="http://schemas.microsoft.com/office/drawing/2014/main" id="{128D4D59-6618-C4C9-216D-D27701A9D373}"/>
              </a:ext>
            </a:extLst>
          </p:cNvPr>
          <p:cNvCxnSpPr>
            <a:stCxn id="21" idx="2"/>
            <a:endCxn id="38" idx="0"/>
          </p:cNvCxnSpPr>
          <p:nvPr/>
        </p:nvCxnSpPr>
        <p:spPr>
          <a:xfrm rot="16200000" flipH="1">
            <a:off x="3415492" y="306913"/>
            <a:ext cx="256966" cy="3505716"/>
          </a:xfrm>
          <a:prstGeom prst="bentConnector3">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55" name="Connector: Elbow 54">
            <a:extLst>
              <a:ext uri="{FF2B5EF4-FFF2-40B4-BE49-F238E27FC236}">
                <a16:creationId xmlns:a16="http://schemas.microsoft.com/office/drawing/2014/main" id="{FD9372E6-3DED-C88B-98D9-D77640488B21}"/>
              </a:ext>
            </a:extLst>
          </p:cNvPr>
          <p:cNvCxnSpPr>
            <a:stCxn id="35" idx="2"/>
            <a:endCxn id="40" idx="0"/>
          </p:cNvCxnSpPr>
          <p:nvPr/>
        </p:nvCxnSpPr>
        <p:spPr>
          <a:xfrm rot="16200000" flipH="1">
            <a:off x="2539063" y="2087390"/>
            <a:ext cx="256966" cy="1752858"/>
          </a:xfrm>
          <a:prstGeom prst="bentConnector3">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57" name="Connector: Elbow 56">
            <a:extLst>
              <a:ext uri="{FF2B5EF4-FFF2-40B4-BE49-F238E27FC236}">
                <a16:creationId xmlns:a16="http://schemas.microsoft.com/office/drawing/2014/main" id="{57548BAA-4F0E-A1E4-6DB3-6873F29FB9F3}"/>
              </a:ext>
            </a:extLst>
          </p:cNvPr>
          <p:cNvCxnSpPr>
            <a:stCxn id="35" idx="2"/>
            <a:endCxn id="41" idx="0"/>
          </p:cNvCxnSpPr>
          <p:nvPr/>
        </p:nvCxnSpPr>
        <p:spPr>
          <a:xfrm rot="16200000" flipH="1">
            <a:off x="3415492" y="1210961"/>
            <a:ext cx="256966" cy="3505716"/>
          </a:xfrm>
          <a:prstGeom prst="bentConnector3">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a:extLst>
              <a:ext uri="{FF2B5EF4-FFF2-40B4-BE49-F238E27FC236}">
                <a16:creationId xmlns:a16="http://schemas.microsoft.com/office/drawing/2014/main" id="{23BA753A-B8E5-7F45-8194-F3105C2CE03C}"/>
              </a:ext>
            </a:extLst>
          </p:cNvPr>
          <p:cNvCxnSpPr>
            <a:cxnSpLocks/>
            <a:stCxn id="40" idx="2"/>
            <a:endCxn id="68" idx="0"/>
          </p:cNvCxnSpPr>
          <p:nvPr/>
        </p:nvCxnSpPr>
        <p:spPr>
          <a:xfrm>
            <a:off x="3543975" y="3739384"/>
            <a:ext cx="0" cy="253474"/>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60" name="Rectangle: Rounded Corners 59">
            <a:extLst>
              <a:ext uri="{FF2B5EF4-FFF2-40B4-BE49-F238E27FC236}">
                <a16:creationId xmlns:a16="http://schemas.microsoft.com/office/drawing/2014/main" id="{C7E5EE3F-027D-00C1-3BA4-3D9EE3D1805C}"/>
              </a:ext>
            </a:extLst>
          </p:cNvPr>
          <p:cNvSpPr/>
          <p:nvPr/>
        </p:nvSpPr>
        <p:spPr bwMode="auto">
          <a:xfrm>
            <a:off x="914687" y="5365471"/>
            <a:ext cx="1752859" cy="259227"/>
          </a:xfrm>
          <a:prstGeom prst="roundRect">
            <a:avLst/>
          </a:prstGeom>
          <a:solidFill>
            <a:schemeClr val="accent2">
              <a:lumMod val="60000"/>
              <a:lumOff val="4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Technical Pattern </a:t>
            </a:r>
            <a:r>
              <a:rPr kumimoji="0" lang="en-US" sz="1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A</a:t>
            </a:r>
          </a:p>
        </p:txBody>
      </p:sp>
      <p:sp>
        <p:nvSpPr>
          <p:cNvPr id="61" name="Rectangle: Rounded Corners 60">
            <a:extLst>
              <a:ext uri="{FF2B5EF4-FFF2-40B4-BE49-F238E27FC236}">
                <a16:creationId xmlns:a16="http://schemas.microsoft.com/office/drawing/2014/main" id="{C1A575F7-611B-D1D8-35F3-9998077DFA5D}"/>
              </a:ext>
            </a:extLst>
          </p:cNvPr>
          <p:cNvSpPr/>
          <p:nvPr/>
        </p:nvSpPr>
        <p:spPr bwMode="auto">
          <a:xfrm>
            <a:off x="2667545" y="5365471"/>
            <a:ext cx="1752859" cy="259227"/>
          </a:xfrm>
          <a:prstGeom prst="roundRect">
            <a:avLst/>
          </a:prstGeom>
          <a:solidFill>
            <a:schemeClr val="accent2">
              <a:lumMod val="60000"/>
              <a:lumOff val="4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Technical Pattern </a:t>
            </a:r>
            <a:r>
              <a:rPr kumimoji="0" lang="en-US" sz="1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B</a:t>
            </a:r>
          </a:p>
        </p:txBody>
      </p:sp>
      <p:sp>
        <p:nvSpPr>
          <p:cNvPr id="62" name="Rectangle: Rounded Corners 61">
            <a:extLst>
              <a:ext uri="{FF2B5EF4-FFF2-40B4-BE49-F238E27FC236}">
                <a16:creationId xmlns:a16="http://schemas.microsoft.com/office/drawing/2014/main" id="{AC657D95-9915-EA03-3816-BFE31A6E0E53}"/>
              </a:ext>
            </a:extLst>
          </p:cNvPr>
          <p:cNvSpPr/>
          <p:nvPr/>
        </p:nvSpPr>
        <p:spPr bwMode="auto">
          <a:xfrm>
            <a:off x="4420404" y="5365471"/>
            <a:ext cx="1752859" cy="259227"/>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Technical Pattern </a:t>
            </a:r>
            <a:r>
              <a:rPr kumimoji="0" lang="en-US" sz="1000" b="0" i="1" u="none" strike="noStrike" kern="1200" cap="none" spc="0" normalizeH="0" baseline="0" noProof="0">
                <a:ln>
                  <a:noFill/>
                </a:ln>
                <a:solidFill>
                  <a:srgbClr val="FFFFFF"/>
                </a:solidFill>
                <a:effectLst/>
                <a:uLnTx/>
                <a:uFillTx/>
                <a:latin typeface="Segoe UI"/>
                <a:ea typeface="Segoe UI" pitchFamily="34" charset="0"/>
                <a:cs typeface="Segoe UI" pitchFamily="34" charset="0"/>
              </a:rPr>
              <a:t>n</a:t>
            </a:r>
            <a:endParaRPr kumimoji="0" lang="en-US" sz="1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cxnSp>
        <p:nvCxnSpPr>
          <p:cNvPr id="64" name="Connector: Elbow 63">
            <a:extLst>
              <a:ext uri="{FF2B5EF4-FFF2-40B4-BE49-F238E27FC236}">
                <a16:creationId xmlns:a16="http://schemas.microsoft.com/office/drawing/2014/main" id="{43A90887-F84C-055A-86B0-6DF532633DC5}"/>
              </a:ext>
            </a:extLst>
          </p:cNvPr>
          <p:cNvCxnSpPr>
            <a:cxnSpLocks/>
            <a:stCxn id="62" idx="0"/>
            <a:endCxn id="68" idx="2"/>
          </p:cNvCxnSpPr>
          <p:nvPr/>
        </p:nvCxnSpPr>
        <p:spPr>
          <a:xfrm rot="16200000" flipV="1">
            <a:off x="4057640" y="4126276"/>
            <a:ext cx="725531" cy="1752859"/>
          </a:xfrm>
          <a:prstGeom prst="bentConnector3">
            <a:avLst>
              <a:gd name="adj1" fmla="val 50000"/>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68" name="Rectangle 67">
            <a:extLst>
              <a:ext uri="{FF2B5EF4-FFF2-40B4-BE49-F238E27FC236}">
                <a16:creationId xmlns:a16="http://schemas.microsoft.com/office/drawing/2014/main" id="{49AD1240-CBE5-2ACC-9BA8-056EDA7A5836}"/>
              </a:ext>
            </a:extLst>
          </p:cNvPr>
          <p:cNvSpPr/>
          <p:nvPr/>
        </p:nvSpPr>
        <p:spPr bwMode="auto">
          <a:xfrm>
            <a:off x="2667546" y="3992858"/>
            <a:ext cx="1752858" cy="647082"/>
          </a:xfrm>
          <a:prstGeom prst="rect">
            <a:avLst/>
          </a:prstGeom>
          <a:solidFill>
            <a:srgbClr val="28426B"/>
          </a:solidFill>
          <a:ln>
            <a:solidFill>
              <a:schemeClr val="bg1"/>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lang="en-US" sz="1000">
                <a:solidFill>
                  <a:srgbClr val="FFFFFF"/>
                </a:solidFill>
                <a:latin typeface="Segoe UI"/>
                <a:ea typeface="Segoe UI" pitchFamily="34" charset="0"/>
                <a:cs typeface="Segoe UI" pitchFamily="34" charset="0"/>
              </a:rPr>
              <a:t>Business Requirements</a:t>
            </a:r>
            <a:endParaRPr kumimoji="0" lang="en-US" sz="1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80" name="TextBox 79">
            <a:extLst>
              <a:ext uri="{FF2B5EF4-FFF2-40B4-BE49-F238E27FC236}">
                <a16:creationId xmlns:a16="http://schemas.microsoft.com/office/drawing/2014/main" id="{013FF8F6-38D7-405D-6826-E5215CD4EBED}"/>
              </a:ext>
            </a:extLst>
          </p:cNvPr>
          <p:cNvSpPr txBox="1"/>
          <p:nvPr/>
        </p:nvSpPr>
        <p:spPr>
          <a:xfrm>
            <a:off x="6490817" y="1450244"/>
            <a:ext cx="5211608" cy="307777"/>
          </a:xfrm>
          <a:prstGeom prst="rect">
            <a:avLst/>
          </a:prstGeom>
          <a:noFill/>
        </p:spPr>
        <p:txBody>
          <a:bodyPr wrap="square" lIns="0" tIns="0" rIns="0" bIns="0" rtlCol="0">
            <a:spAutoFit/>
          </a:bodyPr>
          <a:lstStyle/>
          <a:p>
            <a:pPr algn="l"/>
            <a:r>
              <a:rPr lang="en-US" sz="1000">
                <a:solidFill>
                  <a:schemeClr val="tx2"/>
                </a:solidFill>
              </a:rPr>
              <a:t>Under each Function there are multiple business process challenges (complex business problems) the customer has prioritized</a:t>
            </a:r>
          </a:p>
        </p:txBody>
      </p:sp>
      <p:sp>
        <p:nvSpPr>
          <p:cNvPr id="81" name="TextBox 80">
            <a:extLst>
              <a:ext uri="{FF2B5EF4-FFF2-40B4-BE49-F238E27FC236}">
                <a16:creationId xmlns:a16="http://schemas.microsoft.com/office/drawing/2014/main" id="{FDD4E6A8-6920-65A3-CE90-DD3513B416CF}"/>
              </a:ext>
            </a:extLst>
          </p:cNvPr>
          <p:cNvSpPr txBox="1"/>
          <p:nvPr/>
        </p:nvSpPr>
        <p:spPr>
          <a:xfrm>
            <a:off x="6490817" y="2280962"/>
            <a:ext cx="5211608" cy="461665"/>
          </a:xfrm>
          <a:prstGeom prst="rect">
            <a:avLst/>
          </a:prstGeom>
          <a:noFill/>
        </p:spPr>
        <p:txBody>
          <a:bodyPr wrap="square" lIns="0" tIns="0" rIns="0" bIns="0" rtlCol="0">
            <a:spAutoFit/>
          </a:bodyPr>
          <a:lstStyle/>
          <a:p>
            <a:pPr algn="l"/>
            <a:r>
              <a:rPr lang="en-US" sz="1000">
                <a:solidFill>
                  <a:schemeClr val="tx2"/>
                </a:solidFill>
              </a:rPr>
              <a:t>Under each business process challenges there are multiple business scenarios describing the current state and desired future state for a process change that addresses part or all of the challenge</a:t>
            </a:r>
          </a:p>
        </p:txBody>
      </p:sp>
      <p:sp>
        <p:nvSpPr>
          <p:cNvPr id="82" name="TextBox 81">
            <a:extLst>
              <a:ext uri="{FF2B5EF4-FFF2-40B4-BE49-F238E27FC236}">
                <a16:creationId xmlns:a16="http://schemas.microsoft.com/office/drawing/2014/main" id="{328F4FE2-6A89-8BC6-3709-7AE364F4399B}"/>
              </a:ext>
            </a:extLst>
          </p:cNvPr>
          <p:cNvSpPr txBox="1"/>
          <p:nvPr/>
        </p:nvSpPr>
        <p:spPr>
          <a:xfrm>
            <a:off x="6490817" y="3261954"/>
            <a:ext cx="5211608" cy="307777"/>
          </a:xfrm>
          <a:prstGeom prst="rect">
            <a:avLst/>
          </a:prstGeom>
          <a:noFill/>
        </p:spPr>
        <p:txBody>
          <a:bodyPr wrap="square" lIns="0" tIns="0" rIns="0" bIns="0" rtlCol="0">
            <a:spAutoFit/>
          </a:bodyPr>
          <a:lstStyle/>
          <a:p>
            <a:pPr algn="l"/>
            <a:r>
              <a:rPr lang="en-US" sz="1000">
                <a:solidFill>
                  <a:schemeClr val="tx2"/>
                </a:solidFill>
              </a:rPr>
              <a:t>Under each business scenarios there are multiple business use cases that implement solutions to a piece of the business scenario that result in business value</a:t>
            </a:r>
          </a:p>
        </p:txBody>
      </p:sp>
      <p:sp>
        <p:nvSpPr>
          <p:cNvPr id="83" name="TextBox 82">
            <a:extLst>
              <a:ext uri="{FF2B5EF4-FFF2-40B4-BE49-F238E27FC236}">
                <a16:creationId xmlns:a16="http://schemas.microsoft.com/office/drawing/2014/main" id="{6C1435F0-11C6-F2FB-9AC2-58526C58DD29}"/>
              </a:ext>
            </a:extLst>
          </p:cNvPr>
          <p:cNvSpPr txBox="1"/>
          <p:nvPr/>
        </p:nvSpPr>
        <p:spPr>
          <a:xfrm>
            <a:off x="6490817" y="4089058"/>
            <a:ext cx="5211608" cy="461665"/>
          </a:xfrm>
          <a:prstGeom prst="rect">
            <a:avLst/>
          </a:prstGeom>
          <a:noFill/>
        </p:spPr>
        <p:txBody>
          <a:bodyPr wrap="square" lIns="0" tIns="0" rIns="0" bIns="0" rtlCol="0">
            <a:spAutoFit/>
          </a:bodyPr>
          <a:lstStyle/>
          <a:p>
            <a:pPr algn="l"/>
            <a:r>
              <a:rPr lang="en-US" sz="1000">
                <a:solidFill>
                  <a:schemeClr val="tx2"/>
                </a:solidFill>
              </a:rPr>
              <a:t>Under each business use cases there are a set of business requirements that define what the use case solution must be achieved to realize the business value that contributes to addressing the process challenge</a:t>
            </a:r>
          </a:p>
        </p:txBody>
      </p:sp>
      <p:sp>
        <p:nvSpPr>
          <p:cNvPr id="84" name="TextBox 83">
            <a:extLst>
              <a:ext uri="{FF2B5EF4-FFF2-40B4-BE49-F238E27FC236}">
                <a16:creationId xmlns:a16="http://schemas.microsoft.com/office/drawing/2014/main" id="{6DF77AD4-5E84-10A4-0FA9-AE221E55461F}"/>
              </a:ext>
            </a:extLst>
          </p:cNvPr>
          <p:cNvSpPr txBox="1"/>
          <p:nvPr/>
        </p:nvSpPr>
        <p:spPr>
          <a:xfrm>
            <a:off x="6490817" y="5187308"/>
            <a:ext cx="5211608" cy="615553"/>
          </a:xfrm>
          <a:prstGeom prst="rect">
            <a:avLst/>
          </a:prstGeom>
          <a:noFill/>
        </p:spPr>
        <p:txBody>
          <a:bodyPr wrap="square" lIns="0" tIns="0" rIns="0" bIns="0" rtlCol="0">
            <a:spAutoFit/>
          </a:bodyPr>
          <a:lstStyle/>
          <a:p>
            <a:pPr algn="l"/>
            <a:r>
              <a:rPr lang="en-US" sz="1000">
                <a:solidFill>
                  <a:schemeClr val="tx2"/>
                </a:solidFill>
              </a:rPr>
              <a:t>Microsoft, partners and the customer often know or have identified technical patterns (a technical solution with a repeatable architecture, comprised of multiple technical capabilities to solve a variety of business use cases; reduces risk while shortening time to value realization</a:t>
            </a:r>
          </a:p>
        </p:txBody>
      </p:sp>
      <p:sp>
        <p:nvSpPr>
          <p:cNvPr id="86" name="Rectangle: Rounded Corners 85">
            <a:extLst>
              <a:ext uri="{FF2B5EF4-FFF2-40B4-BE49-F238E27FC236}">
                <a16:creationId xmlns:a16="http://schemas.microsoft.com/office/drawing/2014/main" id="{8BA8C9E5-564C-001B-9FEC-BF403B5577D9}"/>
              </a:ext>
            </a:extLst>
          </p:cNvPr>
          <p:cNvSpPr/>
          <p:nvPr/>
        </p:nvSpPr>
        <p:spPr bwMode="auto">
          <a:xfrm>
            <a:off x="914686" y="5996393"/>
            <a:ext cx="1752859" cy="259227"/>
          </a:xfrm>
          <a:prstGeom prst="roundRect">
            <a:avLst/>
          </a:prstGeom>
          <a:solidFill>
            <a:srgbClr val="243A5E"/>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Technical Capability </a:t>
            </a:r>
            <a:r>
              <a:rPr kumimoji="0" lang="en-US" sz="1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A</a:t>
            </a:r>
          </a:p>
        </p:txBody>
      </p:sp>
      <p:sp>
        <p:nvSpPr>
          <p:cNvPr id="87" name="Rectangle: Rounded Corners 86">
            <a:extLst>
              <a:ext uri="{FF2B5EF4-FFF2-40B4-BE49-F238E27FC236}">
                <a16:creationId xmlns:a16="http://schemas.microsoft.com/office/drawing/2014/main" id="{1333E716-4436-4201-D0C3-06022EE710BA}"/>
              </a:ext>
            </a:extLst>
          </p:cNvPr>
          <p:cNvSpPr/>
          <p:nvPr/>
        </p:nvSpPr>
        <p:spPr bwMode="auto">
          <a:xfrm>
            <a:off x="2667544" y="5992779"/>
            <a:ext cx="1752859" cy="259227"/>
          </a:xfrm>
          <a:prstGeom prst="roundRect">
            <a:avLst/>
          </a:prstGeom>
          <a:solidFill>
            <a:srgbClr val="243A5E"/>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Technical Capability </a:t>
            </a:r>
            <a:r>
              <a:rPr kumimoji="0" lang="en-US" sz="1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B</a:t>
            </a:r>
          </a:p>
        </p:txBody>
      </p:sp>
      <p:sp>
        <p:nvSpPr>
          <p:cNvPr id="88" name="Rectangle: Rounded Corners 87">
            <a:extLst>
              <a:ext uri="{FF2B5EF4-FFF2-40B4-BE49-F238E27FC236}">
                <a16:creationId xmlns:a16="http://schemas.microsoft.com/office/drawing/2014/main" id="{244AA5D0-7B35-FF98-E409-32EF4FE81B92}"/>
              </a:ext>
            </a:extLst>
          </p:cNvPr>
          <p:cNvSpPr/>
          <p:nvPr/>
        </p:nvSpPr>
        <p:spPr bwMode="auto">
          <a:xfrm>
            <a:off x="4420403" y="5989165"/>
            <a:ext cx="1752859" cy="259227"/>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Technical Capability </a:t>
            </a:r>
            <a:r>
              <a:rPr kumimoji="0" lang="en-US" sz="1000" b="0" i="1" u="none" strike="noStrike" kern="1200" cap="none" spc="0" normalizeH="0" baseline="0" noProof="0">
                <a:ln>
                  <a:noFill/>
                </a:ln>
                <a:solidFill>
                  <a:srgbClr val="FFFFFF"/>
                </a:solidFill>
                <a:effectLst/>
                <a:uLnTx/>
                <a:uFillTx/>
                <a:latin typeface="Segoe UI"/>
                <a:ea typeface="Segoe UI" pitchFamily="34" charset="0"/>
                <a:cs typeface="Segoe UI" pitchFamily="34" charset="0"/>
              </a:rPr>
              <a:t>n</a:t>
            </a:r>
            <a:endParaRPr kumimoji="0" lang="en-US" sz="1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cxnSp>
        <p:nvCxnSpPr>
          <p:cNvPr id="93" name="Connector: Elbow 92">
            <a:extLst>
              <a:ext uri="{FF2B5EF4-FFF2-40B4-BE49-F238E27FC236}">
                <a16:creationId xmlns:a16="http://schemas.microsoft.com/office/drawing/2014/main" id="{0772CC2B-AC4B-734E-BAC8-3A8CA2F9C4BB}"/>
              </a:ext>
            </a:extLst>
          </p:cNvPr>
          <p:cNvCxnSpPr>
            <a:stCxn id="86" idx="0"/>
            <a:endCxn id="62" idx="2"/>
          </p:cNvCxnSpPr>
          <p:nvPr/>
        </p:nvCxnSpPr>
        <p:spPr>
          <a:xfrm rot="5400000" flipH="1" flipV="1">
            <a:off x="3358128" y="4057687"/>
            <a:ext cx="371695" cy="3505718"/>
          </a:xfrm>
          <a:prstGeom prst="bentConnector3">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94" name="Connector: Elbow 93">
            <a:extLst>
              <a:ext uri="{FF2B5EF4-FFF2-40B4-BE49-F238E27FC236}">
                <a16:creationId xmlns:a16="http://schemas.microsoft.com/office/drawing/2014/main" id="{63575DD0-4D16-6D5A-3C42-8CBF2C1B0845}"/>
              </a:ext>
            </a:extLst>
          </p:cNvPr>
          <p:cNvCxnSpPr>
            <a:cxnSpLocks/>
            <a:stCxn id="87" idx="0"/>
            <a:endCxn id="62" idx="2"/>
          </p:cNvCxnSpPr>
          <p:nvPr/>
        </p:nvCxnSpPr>
        <p:spPr>
          <a:xfrm rot="5400000" flipH="1" flipV="1">
            <a:off x="4236364" y="4932309"/>
            <a:ext cx="368081" cy="1752860"/>
          </a:xfrm>
          <a:prstGeom prst="bentConnector3">
            <a:avLst>
              <a:gd name="adj1" fmla="val 50000"/>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98" name="Straight Arrow Connector 97">
            <a:extLst>
              <a:ext uri="{FF2B5EF4-FFF2-40B4-BE49-F238E27FC236}">
                <a16:creationId xmlns:a16="http://schemas.microsoft.com/office/drawing/2014/main" id="{237911F1-1884-947B-F72B-16479F3E6784}"/>
              </a:ext>
            </a:extLst>
          </p:cNvPr>
          <p:cNvCxnSpPr>
            <a:stCxn id="88" idx="0"/>
            <a:endCxn id="62" idx="2"/>
          </p:cNvCxnSpPr>
          <p:nvPr/>
        </p:nvCxnSpPr>
        <p:spPr>
          <a:xfrm flipV="1">
            <a:off x="5296833" y="5624698"/>
            <a:ext cx="1" cy="364467"/>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99" name="TextBox 98">
            <a:extLst>
              <a:ext uri="{FF2B5EF4-FFF2-40B4-BE49-F238E27FC236}">
                <a16:creationId xmlns:a16="http://schemas.microsoft.com/office/drawing/2014/main" id="{93C1F2B7-73D6-62FD-E18F-8551691B8D43}"/>
              </a:ext>
            </a:extLst>
          </p:cNvPr>
          <p:cNvSpPr txBox="1"/>
          <p:nvPr/>
        </p:nvSpPr>
        <p:spPr>
          <a:xfrm>
            <a:off x="6490817" y="5964889"/>
            <a:ext cx="5211608" cy="307777"/>
          </a:xfrm>
          <a:prstGeom prst="rect">
            <a:avLst/>
          </a:prstGeom>
          <a:noFill/>
        </p:spPr>
        <p:txBody>
          <a:bodyPr wrap="square" lIns="0" tIns="0" rIns="0" bIns="0" rtlCol="0">
            <a:spAutoFit/>
          </a:bodyPr>
          <a:lstStyle/>
          <a:p>
            <a:pPr algn="l"/>
            <a:r>
              <a:rPr lang="en-US" sz="1000">
                <a:solidFill>
                  <a:schemeClr val="tx2"/>
                </a:solidFill>
              </a:rPr>
              <a:t>Set of capabilities needed to fulfill the technical pattern. Can map to one or more workloads or service types across data, compute or AI services</a:t>
            </a:r>
          </a:p>
        </p:txBody>
      </p:sp>
      <p:sp>
        <p:nvSpPr>
          <p:cNvPr id="101" name="TextBox 100">
            <a:extLst>
              <a:ext uri="{FF2B5EF4-FFF2-40B4-BE49-F238E27FC236}">
                <a16:creationId xmlns:a16="http://schemas.microsoft.com/office/drawing/2014/main" id="{716BC7F4-1AF2-858C-C3DD-D5A43E6CF6CC}"/>
              </a:ext>
            </a:extLst>
          </p:cNvPr>
          <p:cNvSpPr txBox="1"/>
          <p:nvPr/>
        </p:nvSpPr>
        <p:spPr>
          <a:xfrm>
            <a:off x="6490817" y="942694"/>
            <a:ext cx="5211608" cy="153888"/>
          </a:xfrm>
          <a:prstGeom prst="rect">
            <a:avLst/>
          </a:prstGeom>
          <a:noFill/>
        </p:spPr>
        <p:txBody>
          <a:bodyPr wrap="square" lIns="0" tIns="0" rIns="0" bIns="0" rtlCol="0">
            <a:spAutoFit/>
          </a:bodyPr>
          <a:lstStyle/>
          <a:p>
            <a:pPr algn="l"/>
            <a:r>
              <a:rPr lang="en-US" sz="1000">
                <a:solidFill>
                  <a:schemeClr val="tx2"/>
                </a:solidFill>
              </a:rPr>
              <a:t>An organizational group within a company that forms a business or operational function</a:t>
            </a:r>
          </a:p>
        </p:txBody>
      </p:sp>
    </p:spTree>
    <p:extLst>
      <p:ext uri="{BB962C8B-B14F-4D97-AF65-F5344CB8AC3E}">
        <p14:creationId xmlns:p14="http://schemas.microsoft.com/office/powerpoint/2010/main" val="452804354"/>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9FB89F14-58DD-917A-7F6A-44478CD2F160}"/>
              </a:ext>
            </a:extLst>
          </p:cNvPr>
          <p:cNvSpPr txBox="1"/>
          <p:nvPr/>
        </p:nvSpPr>
        <p:spPr>
          <a:xfrm>
            <a:off x="403167" y="635421"/>
            <a:ext cx="11380124" cy="5693866"/>
          </a:xfrm>
          <a:prstGeom prst="rect">
            <a:avLst/>
          </a:prstGeom>
          <a:noFill/>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Segoe UI" panose="020B0502040204020203" pitchFamily="34" charset="0"/>
                <a:ea typeface="+mn-ea"/>
                <a:cs typeface="+mn-cs"/>
              </a:rPr>
              <a:t>Taxonomy</a:t>
            </a:r>
            <a:endPar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Segoe UI" panose="020B0502040204020203" pitchFamily="34" charset="0"/>
                <a:ea typeface="+mn-ea"/>
                <a:cs typeface="+mn-cs"/>
              </a:rPr>
              <a:t>Business Function</a:t>
            </a: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  The organizational group within a company </a:t>
            </a:r>
            <a:r>
              <a:rPr kumimoji="0" lang="en-US" sz="1200" b="0" i="1" u="none" strike="noStrike" kern="1200" cap="none" spc="0" normalizeH="0" baseline="0" noProof="0">
                <a:ln>
                  <a:noFill/>
                </a:ln>
                <a:solidFill>
                  <a:srgbClr val="000000"/>
                </a:solidFill>
                <a:effectLst/>
                <a:uLnTx/>
                <a:uFillTx/>
                <a:latin typeface="Segoe UI" panose="020B0502040204020203" pitchFamily="34" charset="0"/>
                <a:ea typeface="+mn-ea"/>
                <a:cs typeface="+mn-cs"/>
              </a:rPr>
              <a:t>E.g., Sales, Marketing…</a:t>
            </a:r>
            <a:endPar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 </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Segoe UI" panose="020B0502040204020203" pitchFamily="34" charset="0"/>
                <a:ea typeface="+mn-ea"/>
                <a:cs typeface="+mn-cs"/>
              </a:rPr>
              <a:t>Business Process Challenge</a:t>
            </a: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  A short statement that expresses initiative (at the Business Function level) aimed at addressing a complex business problem </a:t>
            </a:r>
          </a:p>
          <a:p>
            <a:pPr marL="457183" marR="0" lvl="1" indent="0" algn="l" defTabSz="914367"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000000"/>
                </a:solidFill>
                <a:effectLst/>
                <a:uLnTx/>
                <a:uFillTx/>
                <a:latin typeface="Segoe UI" panose="020B0502040204020203" pitchFamily="34" charset="0"/>
                <a:ea typeface="+mn-ea"/>
                <a:cs typeface="+mn-cs"/>
              </a:rPr>
              <a:t>E.g., "Improve Customer satisfaction and experiences when returning or exchanging products"</a:t>
            </a:r>
            <a:endPar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 </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Segoe UI" panose="020B0502040204020203" pitchFamily="34" charset="0"/>
                <a:ea typeface="+mn-ea"/>
                <a:cs typeface="+mn-cs"/>
              </a:rPr>
              <a:t>Business Scenario</a:t>
            </a: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   A business scenario is a hypothetical story that describes a business event or situation. It outlines the current state, the desired future state, and the events that trigger changes from the current state to the future state.  </a:t>
            </a:r>
          </a:p>
          <a:p>
            <a:pPr marL="457183" marR="0" lvl="1" indent="0" algn="l" defTabSz="914367"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000000"/>
                </a:solidFill>
                <a:effectLst/>
                <a:uLnTx/>
                <a:uFillTx/>
                <a:latin typeface="Segoe UI" panose="020B0502040204020203" pitchFamily="34" charset="0"/>
                <a:ea typeface="+mn-ea"/>
                <a:cs typeface="+mn-cs"/>
              </a:rPr>
              <a:t>E.g., "Currently customers must call into our Call Center to request a return or exchange, which often has long hold times; this is regardless of whether the product was ordered online or in store.  When the customer reaches an agent, the agent has no customer context, so has to spend the first 5 minutes clarifying what the call is about and then askes if the customer has proof of purchase (most customers do not since they throw the receipt away) – this leads to dis-satisfaction and a low successful return or exchange rate.  In the future, customers who are on our loyalty programs will have high return/exchanges items automatically registered to them at check-out (or be given the opportunity to join the loyalty program).  Using an app, customers will be able to request and action returns / exchanges within the app experience or be escalated to an agent if needed or they prefer."</a:t>
            </a:r>
            <a:endPar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 </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Segoe UI" panose="020B0502040204020203" pitchFamily="34" charset="0"/>
                <a:ea typeface="+mn-ea"/>
                <a:cs typeface="+mn-cs"/>
              </a:rPr>
              <a:t>Business Use Case</a:t>
            </a: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  A targeted application of technology and processes resulting in measurable value towards achieving part or all of a Business Scenario. </a:t>
            </a:r>
          </a:p>
          <a:p>
            <a:pPr marL="457183" marR="0" lvl="1" indent="0" algn="l" defTabSz="914367"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000000"/>
                </a:solidFill>
                <a:effectLst/>
                <a:uLnTx/>
                <a:uFillTx/>
                <a:latin typeface="Segoe UI" panose="020B0502040204020203" pitchFamily="34" charset="0"/>
                <a:ea typeface="+mn-ea"/>
                <a:cs typeface="+mn-cs"/>
              </a:rPr>
              <a:t>E.g., AI-Powered Customer Service Chatbot: Implement an AI-powered chatbot that can handle return and exchange requests. The chatbot can provide instant responses, reducing wait times. It can also be integrated with the customer database to have context about the customer’s purchases, eliminating the need for the customer to provide proof of purchase.</a:t>
            </a:r>
            <a:endPar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 </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Segoe UI" panose="020B0502040204020203" pitchFamily="34" charset="0"/>
                <a:ea typeface="+mn-ea"/>
                <a:cs typeface="+mn-cs"/>
              </a:rPr>
              <a:t>Business Requirements</a:t>
            </a: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  Describes what a functional requirements a solution to the Business Use Case must deliver.  </a:t>
            </a:r>
          </a:p>
          <a:p>
            <a:pPr marL="457183" marR="0" lvl="1" indent="0" algn="l" defTabSz="914367"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000000"/>
                </a:solidFill>
                <a:effectLst/>
                <a:uLnTx/>
                <a:uFillTx/>
                <a:latin typeface="Segoe UI" panose="020B0502040204020203" pitchFamily="34" charset="0"/>
                <a:ea typeface="+mn-ea"/>
                <a:cs typeface="+mn-cs"/>
              </a:rPr>
              <a:t>E.g., Business Use Case: AI-Powered Customer Service Chatbot.  Business Requirements:</a:t>
            </a:r>
            <a:endPar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mn-cs"/>
            </a:endParaRPr>
          </a:p>
          <a:p>
            <a:pPr marL="457183" marR="0" lvl="1" indent="0" algn="l" defTabSz="914367" rtl="0" eaLnBrk="1" fontAlgn="ctr" latinLnBrk="0" hangingPunct="1">
              <a:lnSpc>
                <a:spcPct val="100000"/>
              </a:lnSpc>
              <a:spcBef>
                <a:spcPts val="0"/>
              </a:spcBef>
              <a:spcAft>
                <a:spcPts val="0"/>
              </a:spcAft>
              <a:buClrTx/>
              <a:buSzTx/>
              <a:buFont typeface="+mj-lt"/>
              <a:buAutoNum type="arabicPeriod"/>
              <a:tabLst/>
              <a:defRPr/>
            </a:pPr>
            <a:r>
              <a:rPr kumimoji="0" lang="en-US" sz="1200" b="0" i="1" u="none" strike="noStrike" kern="1200" cap="none" spc="0" normalizeH="0" baseline="0" noProof="0">
                <a:ln>
                  <a:noFill/>
                </a:ln>
                <a:solidFill>
                  <a:srgbClr val="000000"/>
                </a:solidFill>
                <a:effectLst/>
                <a:uLnTx/>
                <a:uFillTx/>
                <a:latin typeface="Segoe UI" panose="020B0502040204020203" pitchFamily="34" charset="0"/>
                <a:ea typeface="+mn-ea"/>
                <a:cs typeface="+mn-cs"/>
              </a:rPr>
              <a:t>Chatbot Integration: The chatbot should be integrated with the existing customer service platform and should be able to handle return and exchange requests.</a:t>
            </a:r>
          </a:p>
          <a:p>
            <a:pPr marL="457183" marR="0" lvl="1" indent="0" algn="l" defTabSz="914367" rtl="0" eaLnBrk="1" fontAlgn="ctr" latinLnBrk="0" hangingPunct="1">
              <a:lnSpc>
                <a:spcPct val="100000"/>
              </a:lnSpc>
              <a:spcBef>
                <a:spcPts val="0"/>
              </a:spcBef>
              <a:spcAft>
                <a:spcPts val="0"/>
              </a:spcAft>
              <a:buClrTx/>
              <a:buSzTx/>
              <a:buFont typeface="+mj-lt"/>
              <a:buAutoNum type="arabicPeriod"/>
              <a:tabLst/>
              <a:defRPr/>
            </a:pPr>
            <a:r>
              <a:rPr kumimoji="0" lang="en-US" sz="1200" b="0" i="1" u="none" strike="noStrike" kern="1200" cap="none" spc="0" normalizeH="0" baseline="0" noProof="0">
                <a:ln>
                  <a:noFill/>
                </a:ln>
                <a:solidFill>
                  <a:srgbClr val="000000"/>
                </a:solidFill>
                <a:effectLst/>
                <a:uLnTx/>
                <a:uFillTx/>
                <a:latin typeface="Segoe UI" panose="020B0502040204020203" pitchFamily="34" charset="0"/>
                <a:ea typeface="+mn-ea"/>
                <a:cs typeface="+mn-cs"/>
              </a:rPr>
              <a:t>Instant Responses: The chatbot should be designed to provide instant responses to customer queries, reducing wait times.</a:t>
            </a:r>
          </a:p>
          <a:p>
            <a:pPr marL="457183" marR="0" lvl="1" indent="0" algn="l" defTabSz="914367" rtl="0" eaLnBrk="1" fontAlgn="ctr" latinLnBrk="0" hangingPunct="1">
              <a:lnSpc>
                <a:spcPct val="100000"/>
              </a:lnSpc>
              <a:spcBef>
                <a:spcPts val="0"/>
              </a:spcBef>
              <a:spcAft>
                <a:spcPts val="0"/>
              </a:spcAft>
              <a:buClrTx/>
              <a:buSzTx/>
              <a:buFont typeface="+mj-lt"/>
              <a:buAutoNum type="arabicPeriod"/>
              <a:tabLst/>
              <a:defRPr/>
            </a:pPr>
            <a:r>
              <a:rPr kumimoji="0" lang="en-US" sz="1200" b="0" i="1" u="none" strike="noStrike" kern="1200" cap="none" spc="0" normalizeH="0" baseline="0" noProof="0">
                <a:ln>
                  <a:noFill/>
                </a:ln>
                <a:solidFill>
                  <a:srgbClr val="000000"/>
                </a:solidFill>
                <a:effectLst/>
                <a:uLnTx/>
                <a:uFillTx/>
                <a:latin typeface="Segoe UI" panose="020B0502040204020203" pitchFamily="34" charset="0"/>
                <a:ea typeface="+mn-ea"/>
                <a:cs typeface="+mn-cs"/>
              </a:rPr>
              <a:t>Customer Database Access: The chatbot should have access to the customer database to retrieve purchase history and other relevant information. This eliminates the need for customers to provide proof of purchase during return/exchange requests.</a:t>
            </a:r>
          </a:p>
          <a:p>
            <a:pPr marL="457183" marR="0" lvl="1" indent="0" algn="l" defTabSz="914367" rtl="0" eaLnBrk="1" fontAlgn="ctr" latinLnBrk="0" hangingPunct="1">
              <a:lnSpc>
                <a:spcPct val="100000"/>
              </a:lnSpc>
              <a:spcBef>
                <a:spcPts val="0"/>
              </a:spcBef>
              <a:spcAft>
                <a:spcPts val="0"/>
              </a:spcAft>
              <a:buClrTx/>
              <a:buSzTx/>
              <a:buFont typeface="+mj-lt"/>
              <a:buAutoNum type="arabicPeriod"/>
              <a:tabLst/>
              <a:defRPr/>
            </a:pPr>
            <a:r>
              <a:rPr kumimoji="0" lang="en-US" sz="1200" b="0" i="1" u="none" strike="noStrike" kern="1200" cap="none" spc="0" normalizeH="0" baseline="0" noProof="0">
                <a:ln>
                  <a:noFill/>
                </a:ln>
                <a:solidFill>
                  <a:srgbClr val="000000"/>
                </a:solidFill>
                <a:effectLst/>
                <a:uLnTx/>
                <a:uFillTx/>
                <a:latin typeface="Segoe UI" panose="020B0502040204020203" pitchFamily="34" charset="0"/>
                <a:ea typeface="+mn-ea"/>
                <a:cs typeface="+mn-cs"/>
              </a:rPr>
              <a:t>Natural Language Processing: The chatbot should be equipped with Natural Language Processing capabilities to understand and respond to customer queries effectively.</a:t>
            </a:r>
          </a:p>
          <a:p>
            <a:pPr marL="457183" marR="0" lvl="1" indent="0" algn="l" defTabSz="914367" rtl="0" eaLnBrk="1" fontAlgn="ctr" latinLnBrk="0" hangingPunct="1">
              <a:lnSpc>
                <a:spcPct val="100000"/>
              </a:lnSpc>
              <a:spcBef>
                <a:spcPts val="0"/>
              </a:spcBef>
              <a:spcAft>
                <a:spcPts val="0"/>
              </a:spcAft>
              <a:buClrTx/>
              <a:buSzTx/>
              <a:buFont typeface="+mj-lt"/>
              <a:buAutoNum type="arabicPeriod"/>
              <a:tabLst/>
              <a:defRPr/>
            </a:pPr>
            <a:r>
              <a:rPr kumimoji="0" lang="en-US" sz="1200" b="0" i="1" u="none" strike="noStrike" kern="1200" cap="none" spc="0" normalizeH="0" baseline="0" noProof="0">
                <a:ln>
                  <a:noFill/>
                </a:ln>
                <a:solidFill>
                  <a:srgbClr val="000000"/>
                </a:solidFill>
                <a:effectLst/>
                <a:uLnTx/>
                <a:uFillTx/>
                <a:latin typeface="Segoe UI" panose="020B0502040204020203" pitchFamily="34" charset="0"/>
                <a:ea typeface="+mn-ea"/>
                <a:cs typeface="+mn-cs"/>
              </a:rPr>
              <a:t>Escalation Protocol: The chatbot should have a defined escalation protocol to transfer the conversation to a human agent when necessary.</a:t>
            </a:r>
          </a:p>
          <a:p>
            <a:pPr marL="457183" marR="0" lvl="1" indent="0" algn="l" defTabSz="914367" rtl="0" eaLnBrk="1" fontAlgn="ctr" latinLnBrk="0" hangingPunct="1">
              <a:lnSpc>
                <a:spcPct val="100000"/>
              </a:lnSpc>
              <a:spcBef>
                <a:spcPts val="0"/>
              </a:spcBef>
              <a:spcAft>
                <a:spcPts val="0"/>
              </a:spcAft>
              <a:buClrTx/>
              <a:buSzTx/>
              <a:buFont typeface="+mj-lt"/>
              <a:buAutoNum type="arabicPeriod"/>
              <a:tabLst/>
              <a:defRPr/>
            </a:pPr>
            <a:r>
              <a:rPr kumimoji="0" lang="en-US" sz="1200" b="0" i="1" u="none" strike="noStrike" kern="1200" cap="none" spc="0" normalizeH="0" baseline="0" noProof="0">
                <a:ln>
                  <a:noFill/>
                </a:ln>
                <a:solidFill>
                  <a:srgbClr val="000000"/>
                </a:solidFill>
                <a:effectLst/>
                <a:uLnTx/>
                <a:uFillTx/>
                <a:latin typeface="Segoe UI" panose="020B0502040204020203" pitchFamily="34" charset="0"/>
                <a:ea typeface="+mn-ea"/>
                <a:cs typeface="+mn-cs"/>
              </a:rPr>
              <a:t>Continuous Learning: The chatbot should have the ability to learn from each interaction to improve its responses over time.</a:t>
            </a:r>
          </a:p>
        </p:txBody>
      </p:sp>
    </p:spTree>
    <p:extLst>
      <p:ext uri="{BB962C8B-B14F-4D97-AF65-F5344CB8AC3E}">
        <p14:creationId xmlns:p14="http://schemas.microsoft.com/office/powerpoint/2010/main" val="2711923154"/>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D196B0AF-DAC8-91A1-8BFB-D9C1B568BFE0}"/>
              </a:ext>
            </a:extLst>
          </p:cNvPr>
          <p:cNvGrpSpPr/>
          <p:nvPr/>
        </p:nvGrpSpPr>
        <p:grpSpPr>
          <a:xfrm>
            <a:off x="5395385" y="341963"/>
            <a:ext cx="3990528" cy="6047194"/>
            <a:chOff x="3409951" y="303863"/>
            <a:chExt cx="3990528" cy="6047194"/>
          </a:xfrm>
        </p:grpSpPr>
        <p:pic>
          <p:nvPicPr>
            <p:cNvPr id="1026" name="Picture 2">
              <a:extLst>
                <a:ext uri="{FF2B5EF4-FFF2-40B4-BE49-F238E27FC236}">
                  <a16:creationId xmlns:a16="http://schemas.microsoft.com/office/drawing/2014/main" id="{9930EEE6-4604-BDBC-4DE8-A7F71EA0E49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415854" y="303863"/>
              <a:ext cx="3978722" cy="2036586"/>
            </a:xfrm>
            <a:prstGeom prst="rect">
              <a:avLst/>
            </a:prstGeom>
            <a:noFill/>
            <a:ln>
              <a:solidFill>
                <a:schemeClr val="bg1">
                  <a:lumMod val="95000"/>
                </a:schemeClr>
              </a:solid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027" name="Picture 3">
              <a:extLst>
                <a:ext uri="{FF2B5EF4-FFF2-40B4-BE49-F238E27FC236}">
                  <a16:creationId xmlns:a16="http://schemas.microsoft.com/office/drawing/2014/main" id="{27F078DD-7235-66A0-6C1C-A015EDA0212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09951" y="2450842"/>
              <a:ext cx="3984625" cy="1759138"/>
            </a:xfrm>
            <a:prstGeom prst="rect">
              <a:avLst/>
            </a:prstGeom>
            <a:noFill/>
            <a:ln>
              <a:solidFill>
                <a:schemeClr val="bg1">
                  <a:lumMod val="95000"/>
                </a:schemeClr>
              </a:solid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20934383-8936-2B9B-2054-37E8461630E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409951" y="4320374"/>
              <a:ext cx="3990528" cy="2030683"/>
            </a:xfrm>
            <a:prstGeom prst="rect">
              <a:avLst/>
            </a:prstGeom>
            <a:noFill/>
            <a:ln>
              <a:solidFill>
                <a:schemeClr val="bg1">
                  <a:lumMod val="95000"/>
                </a:schemeClr>
              </a:solid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grpSp>
      <p:sp>
        <p:nvSpPr>
          <p:cNvPr id="2" name="TextBox 1">
            <a:extLst>
              <a:ext uri="{FF2B5EF4-FFF2-40B4-BE49-F238E27FC236}">
                <a16:creationId xmlns:a16="http://schemas.microsoft.com/office/drawing/2014/main" id="{B053652C-072D-1B6B-DE12-4AD1E0D18659}"/>
              </a:ext>
            </a:extLst>
          </p:cNvPr>
          <p:cNvSpPr txBox="1"/>
          <p:nvPr/>
        </p:nvSpPr>
        <p:spPr>
          <a:xfrm>
            <a:off x="812799" y="2886549"/>
            <a:ext cx="3932767" cy="861774"/>
          </a:xfrm>
          <a:prstGeom prst="rect">
            <a:avLst/>
          </a:prstGeom>
          <a:noFill/>
        </p:spPr>
        <p:txBody>
          <a:bodyPr wrap="square" lIns="0" tIns="0" rIns="0" bIns="0" rtlCol="0">
            <a:spAutoFit/>
          </a:bodyPr>
          <a:lstStyle/>
          <a:p>
            <a:pPr algn="l"/>
            <a:r>
              <a:rPr lang="en-US" sz="2800" dirty="0"/>
              <a:t>Batman’s Simple Guide to Creating Great OKRs!</a:t>
            </a:r>
          </a:p>
        </p:txBody>
      </p:sp>
    </p:spTree>
    <p:extLst>
      <p:ext uri="{BB962C8B-B14F-4D97-AF65-F5344CB8AC3E}">
        <p14:creationId xmlns:p14="http://schemas.microsoft.com/office/powerpoint/2010/main" val="264793812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0BC9E6-1379-23D9-B2D3-F8C0B2869678}"/>
              </a:ext>
            </a:extLst>
          </p:cNvPr>
          <p:cNvSpPr>
            <a:spLocks noGrp="1"/>
          </p:cNvSpPr>
          <p:nvPr>
            <p:ph type="title"/>
          </p:nvPr>
        </p:nvSpPr>
        <p:spPr/>
        <p:txBody>
          <a:bodyPr/>
          <a:lstStyle/>
          <a:p>
            <a:r>
              <a:rPr lang="en-US" dirty="0"/>
              <a:t>AI Use Case Discover</a:t>
            </a:r>
            <a:br>
              <a:rPr lang="en-US" dirty="0"/>
            </a:br>
            <a:r>
              <a:rPr lang="en-US" dirty="0"/>
              <a:t>Templates</a:t>
            </a:r>
          </a:p>
        </p:txBody>
      </p:sp>
    </p:spTree>
    <p:extLst>
      <p:ext uri="{BB962C8B-B14F-4D97-AF65-F5344CB8AC3E}">
        <p14:creationId xmlns:p14="http://schemas.microsoft.com/office/powerpoint/2010/main" val="3688633568"/>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A00EAC9-804C-3F99-DB92-1E430FC3D793}"/>
              </a:ext>
              <a:ext uri="{C183D7F6-B498-43B3-948B-1728B52AA6E4}">
                <adec:decorative xmlns:adec="http://schemas.microsoft.com/office/drawing/2017/decorative" val="1"/>
              </a:ext>
            </a:extLst>
          </p:cNvPr>
          <p:cNvSpPr/>
          <p:nvPr/>
        </p:nvSpPr>
        <p:spPr bwMode="auto">
          <a:xfrm>
            <a:off x="0" y="-1806"/>
            <a:ext cx="12192000" cy="853975"/>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 name="Title 61">
            <a:extLst>
              <a:ext uri="{FF2B5EF4-FFF2-40B4-BE49-F238E27FC236}">
                <a16:creationId xmlns:a16="http://schemas.microsoft.com/office/drawing/2014/main" id="{41D7FB24-6AD6-DB9E-FFCD-588F980E8F47}"/>
              </a:ext>
            </a:extLst>
          </p:cNvPr>
          <p:cNvSpPr txBox="1">
            <a:spLocks/>
          </p:cNvSpPr>
          <p:nvPr/>
        </p:nvSpPr>
        <p:spPr>
          <a:xfrm>
            <a:off x="73478" y="-1806"/>
            <a:ext cx="4338176" cy="373100"/>
          </a:xfrm>
          <a:prstGeom prst="rect">
            <a:avLst/>
          </a:prstGeom>
        </p:spPr>
        <p:txBody>
          <a:bodyPr/>
          <a:lstStyle>
            <a:lvl1pPr algn="l" defTabSz="932742" rtl="0" eaLnBrk="1" latinLnBrk="0" hangingPunct="1">
              <a:lnSpc>
                <a:spcPct val="100000"/>
              </a:lnSpc>
              <a:spcBef>
                <a:spcPct val="0"/>
              </a:spcBef>
              <a:buNone/>
              <a:defRPr lang="en-US" sz="2000" b="0" kern="1200" cap="none" spc="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dirty="0">
                <a:ln w="3175">
                  <a:noFill/>
                </a:ln>
                <a:solidFill>
                  <a:srgbClr val="FFFFFF"/>
                </a:solidFill>
                <a:effectLst/>
                <a:uLnTx/>
                <a:uFillTx/>
                <a:latin typeface="Aptos SemiBold"/>
                <a:ea typeface="+mn-ea"/>
                <a:cs typeface="Segoe UI" pitchFamily="34" charset="0"/>
              </a:rPr>
              <a:t>AI Use Cases Discovery</a:t>
            </a:r>
          </a:p>
        </p:txBody>
      </p:sp>
      <p:sp>
        <p:nvSpPr>
          <p:cNvPr id="4" name="Titel 1">
            <a:extLst>
              <a:ext uri="{FF2B5EF4-FFF2-40B4-BE49-F238E27FC236}">
                <a16:creationId xmlns:a16="http://schemas.microsoft.com/office/drawing/2014/main" id="{5B37C216-2900-617A-3A68-E8C71F39D530}"/>
              </a:ext>
            </a:extLst>
          </p:cNvPr>
          <p:cNvSpPr txBox="1">
            <a:spLocks/>
          </p:cNvSpPr>
          <p:nvPr/>
        </p:nvSpPr>
        <p:spPr>
          <a:xfrm>
            <a:off x="73480" y="375546"/>
            <a:ext cx="3829050" cy="184666"/>
          </a:xfrm>
          <a:prstGeom prst="rect">
            <a:avLst/>
          </a:prstGeom>
        </p:spPr>
        <p:txBody>
          <a:bodyPr vert="horz" wrap="square" lIns="0" tIns="0" rIns="0" bIns="0" rtlCol="0" anchor="ctr">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200" b="0" i="0" u="none" strike="noStrike" kern="1200" cap="none" spc="0" normalizeH="0" baseline="0" noProof="0">
                <a:ln w="3175">
                  <a:noFill/>
                </a:ln>
                <a:solidFill>
                  <a:srgbClr val="FFFFFF"/>
                </a:solidFill>
                <a:effectLst/>
                <a:uLnTx/>
                <a:uFillTx/>
                <a:latin typeface="Segoe UI Semibold"/>
                <a:ea typeface="+mn-ea"/>
                <a:cs typeface="Segoe UI" pitchFamily="34" charset="0"/>
              </a:rPr>
              <a:t>Customer: (insert customer name)</a:t>
            </a:r>
          </a:p>
        </p:txBody>
      </p:sp>
      <p:sp>
        <p:nvSpPr>
          <p:cNvPr id="12" name="Rectangle 11">
            <a:extLst>
              <a:ext uri="{FF2B5EF4-FFF2-40B4-BE49-F238E27FC236}">
                <a16:creationId xmlns:a16="http://schemas.microsoft.com/office/drawing/2014/main" id="{7E4DAA95-4C9C-9A19-1109-321975AA169F}"/>
              </a:ext>
            </a:extLst>
          </p:cNvPr>
          <p:cNvSpPr>
            <a:spLocks/>
          </p:cNvSpPr>
          <p:nvPr/>
        </p:nvSpPr>
        <p:spPr bwMode="auto">
          <a:xfrm>
            <a:off x="73478" y="885000"/>
            <a:ext cx="11825371" cy="5806316"/>
          </a:xfrm>
          <a:prstGeom prst="rect">
            <a:avLst/>
          </a:prstGeom>
          <a:solidFill>
            <a:schemeClr val="bg1">
              <a:alpha val="99000"/>
            </a:schemeClr>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000" i="0" u="none" strike="noStrike" kern="1200" cap="none" spc="0" normalizeH="0" baseline="0" noProof="0">
                <a:ln>
                  <a:noFill/>
                </a:ln>
                <a:solidFill>
                  <a:srgbClr val="000000"/>
                </a:solidFill>
                <a:effectLst/>
                <a:uLnTx/>
                <a:uFillTx/>
                <a:latin typeface="Aptos"/>
                <a:ea typeface="+mn-ea"/>
                <a:cs typeface="+mn-cs"/>
              </a:rPr>
              <a:t>A business scenario is a hypothetical story that describes a business event or situation. It outlines the current state, the desired future state, and the events that trigger changes from the current state to the future state</a:t>
            </a:r>
          </a:p>
          <a:p>
            <a:pPr marL="0" marR="0" lvl="0" indent="0" algn="l" defTabSz="914400" rtl="0" eaLnBrk="1" fontAlgn="auto" latinLnBrk="0" hangingPunct="1">
              <a:lnSpc>
                <a:spcPct val="100000"/>
              </a:lnSpc>
              <a:spcBef>
                <a:spcPts val="0"/>
              </a:spcBef>
              <a:spcAft>
                <a:spcPts val="200"/>
              </a:spcAft>
              <a:buClrTx/>
              <a:buSzTx/>
              <a:buFontTx/>
              <a:buNone/>
              <a:tabLst/>
              <a:defRPr/>
            </a:pPr>
            <a:endParaRPr kumimoji="0" lang="en-US" sz="1000" b="1" i="0" u="none" strike="noStrike" kern="1200" cap="none" spc="0" normalizeH="0" baseline="0" noProof="0">
              <a:ln>
                <a:noFill/>
              </a:ln>
              <a:solidFill>
                <a:srgbClr val="000000"/>
              </a:solidFill>
              <a:effectLst/>
              <a:uLnTx/>
              <a:uFillTx/>
              <a:latin typeface="Aptos"/>
              <a:ea typeface="+mn-ea"/>
              <a:cs typeface="+mn-cs"/>
            </a:endParaRP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ptos"/>
                <a:ea typeface="+mn-ea"/>
                <a:cs typeface="+mn-cs"/>
              </a:rPr>
              <a:t>Business Scenario (1) </a:t>
            </a:r>
            <a:r>
              <a:rPr kumimoji="0" lang="en-US" sz="1000" i="0" u="none" strike="noStrike" kern="1200" cap="none" spc="0" normalizeH="0" baseline="0" noProof="0">
                <a:ln>
                  <a:noFill/>
                </a:ln>
                <a:solidFill>
                  <a:srgbClr val="000000"/>
                </a:solidFill>
                <a:effectLst/>
                <a:uLnTx/>
                <a:uFillTx/>
                <a:latin typeface="Aptos"/>
                <a:ea typeface="+mn-ea"/>
                <a:cs typeface="+mn-cs"/>
              </a:rPr>
              <a:t>:  </a:t>
            </a:r>
            <a:r>
              <a:rPr kumimoji="0" lang="en-US" sz="1000" i="0" u="none" strike="noStrike" kern="1200" cap="none" spc="0" normalizeH="0" baseline="0" noProof="0">
                <a:ln>
                  <a:noFill/>
                </a:ln>
                <a:solidFill>
                  <a:srgbClr val="000000">
                    <a:lumMod val="65000"/>
                    <a:lumOff val="35000"/>
                  </a:srgbClr>
                </a:solidFill>
                <a:effectLst/>
                <a:uLnTx/>
                <a:uFillTx/>
                <a:latin typeface="Aptos"/>
                <a:ea typeface="+mn-ea"/>
                <a:cs typeface="+mn-cs"/>
              </a:rPr>
              <a:t>Business </a:t>
            </a:r>
            <a:r>
              <a:rPr lang="en-US" sz="1000">
                <a:solidFill>
                  <a:srgbClr val="000000">
                    <a:lumMod val="65000"/>
                    <a:lumOff val="35000"/>
                  </a:srgbClr>
                </a:solidFill>
                <a:latin typeface="Aptos"/>
              </a:rPr>
              <a:t>scenario description</a:t>
            </a:r>
            <a:r>
              <a:rPr kumimoji="0" lang="en-US" sz="1000" b="0" i="0" u="none" strike="noStrike" kern="1200" cap="none" spc="0" normalizeH="0" baseline="0" noProof="0">
                <a:ln>
                  <a:noFill/>
                </a:ln>
                <a:solidFill>
                  <a:srgbClr val="000000">
                    <a:lumMod val="65000"/>
                    <a:lumOff val="35000"/>
                  </a:srgbClr>
                </a:solidFill>
                <a:effectLst/>
                <a:uLnTx/>
                <a:uFillTx/>
                <a:latin typeface="Aptos"/>
                <a:ea typeface="+mn-ea"/>
                <a:cs typeface="+mn-cs"/>
              </a:rPr>
              <a:t>. </a:t>
            </a:r>
          </a:p>
          <a:p>
            <a:pPr marL="0" marR="0" lvl="0" indent="0" algn="l" defTabSz="914400" rtl="0" eaLnBrk="1" fontAlgn="auto" latinLnBrk="0" hangingPunct="1">
              <a:lnSpc>
                <a:spcPct val="100000"/>
              </a:lnSpc>
              <a:spcBef>
                <a:spcPts val="0"/>
              </a:spcBef>
              <a:spcAft>
                <a:spcPts val="200"/>
              </a:spcAft>
              <a:buClrTx/>
              <a:buSzTx/>
              <a:buFontTx/>
              <a:buNone/>
              <a:tabLst/>
              <a:defRPr/>
            </a:pPr>
            <a:endParaRPr kumimoji="0" lang="en-US" sz="1000" b="0" i="0" u="none" strike="noStrike" kern="1200" cap="none" spc="0" normalizeH="0" baseline="0" noProof="0">
              <a:ln>
                <a:noFill/>
              </a:ln>
              <a:solidFill>
                <a:srgbClr val="000000">
                  <a:lumMod val="65000"/>
                  <a:lumOff val="35000"/>
                </a:srgbClr>
              </a:solidFill>
              <a:effectLst/>
              <a:uLnTx/>
              <a:uFillTx/>
              <a:latin typeface="Aptos"/>
              <a:ea typeface="+mn-ea"/>
              <a:cs typeface="+mn-cs"/>
            </a:endParaRP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ptos"/>
                <a:ea typeface="+mn-ea"/>
                <a:cs typeface="+mn-cs"/>
              </a:rPr>
              <a:t>Business Scenario (2) :</a:t>
            </a:r>
            <a:r>
              <a:rPr kumimoji="0" lang="en-US" sz="1000" b="0" i="0" u="none" strike="noStrike" kern="1200" cap="none" spc="0" normalizeH="0" baseline="0" noProof="0">
                <a:ln>
                  <a:noFill/>
                </a:ln>
                <a:solidFill>
                  <a:srgbClr val="000000"/>
                </a:solidFill>
                <a:effectLst/>
                <a:uLnTx/>
                <a:uFillTx/>
                <a:latin typeface="Aptos"/>
                <a:ea typeface="+mn-ea"/>
                <a:cs typeface="+mn-cs"/>
              </a:rPr>
              <a:t>  B</a:t>
            </a:r>
            <a:r>
              <a:rPr kumimoji="0" lang="en-US" sz="1000" b="0" i="0" u="none" strike="noStrike" kern="1200" cap="none" spc="0" normalizeH="0" baseline="0" noProof="0">
                <a:ln>
                  <a:noFill/>
                </a:ln>
                <a:solidFill>
                  <a:srgbClr val="000000">
                    <a:lumMod val="65000"/>
                    <a:lumOff val="35000"/>
                  </a:srgbClr>
                </a:solidFill>
                <a:effectLst/>
                <a:uLnTx/>
                <a:uFillTx/>
                <a:latin typeface="Aptos"/>
                <a:ea typeface="+mn-ea"/>
                <a:cs typeface="+mn-cs"/>
              </a:rPr>
              <a:t>usiness scenario description. </a:t>
            </a:r>
          </a:p>
          <a:p>
            <a:pPr marL="0" marR="0" lvl="0" indent="0" algn="l" defTabSz="914400" rtl="0" eaLnBrk="1" fontAlgn="auto" latinLnBrk="0" hangingPunct="1">
              <a:lnSpc>
                <a:spcPct val="100000"/>
              </a:lnSpc>
              <a:spcBef>
                <a:spcPts val="0"/>
              </a:spcBef>
              <a:spcAft>
                <a:spcPts val="200"/>
              </a:spcAft>
              <a:buClrTx/>
              <a:buSzTx/>
              <a:buFontTx/>
              <a:buNone/>
              <a:tabLst/>
              <a:defRPr/>
            </a:pPr>
            <a:endParaRPr kumimoji="0" lang="en-US" sz="1000" b="0" i="0" u="none" strike="noStrike" kern="1200" cap="none" spc="0" normalizeH="0" baseline="0" noProof="0">
              <a:ln>
                <a:noFill/>
              </a:ln>
              <a:solidFill>
                <a:srgbClr val="000000">
                  <a:lumMod val="65000"/>
                  <a:lumOff val="35000"/>
                </a:srgbClr>
              </a:solidFill>
              <a:effectLst/>
              <a:uLnTx/>
              <a:uFillTx/>
              <a:latin typeface="Aptos"/>
              <a:ea typeface="+mn-ea"/>
              <a:cs typeface="+mn-cs"/>
            </a:endParaRP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ptos"/>
                <a:ea typeface="+mn-ea"/>
                <a:cs typeface="+mn-cs"/>
              </a:rPr>
              <a:t>Business Scenario (3) : </a:t>
            </a:r>
            <a:r>
              <a:rPr kumimoji="0" lang="en-US" sz="1000" b="0" i="0" u="none" strike="noStrike" kern="1200" cap="none" spc="0" normalizeH="0" baseline="0" noProof="0">
                <a:ln>
                  <a:noFill/>
                </a:ln>
                <a:solidFill>
                  <a:srgbClr val="000000"/>
                </a:solidFill>
                <a:effectLst/>
                <a:uLnTx/>
                <a:uFillTx/>
                <a:latin typeface="Aptos"/>
                <a:ea typeface="+mn-ea"/>
                <a:cs typeface="+mn-cs"/>
              </a:rPr>
              <a:t>B</a:t>
            </a:r>
            <a:r>
              <a:rPr kumimoji="0" lang="en-US" sz="1000" b="0" i="0" u="none" strike="noStrike" kern="1200" cap="none" spc="0" normalizeH="0" baseline="0" noProof="0">
                <a:ln>
                  <a:noFill/>
                </a:ln>
                <a:solidFill>
                  <a:srgbClr val="000000">
                    <a:lumMod val="65000"/>
                    <a:lumOff val="35000"/>
                  </a:srgbClr>
                </a:solidFill>
                <a:effectLst/>
                <a:uLnTx/>
                <a:uFillTx/>
                <a:latin typeface="Aptos"/>
                <a:ea typeface="+mn-ea"/>
                <a:cs typeface="+mn-cs"/>
              </a:rPr>
              <a:t>usiness scenario description.</a:t>
            </a:r>
          </a:p>
          <a:p>
            <a:pPr marL="0" marR="0" lvl="0" indent="0" algn="l" defTabSz="914400" rtl="0" eaLnBrk="1" fontAlgn="auto" latinLnBrk="0" hangingPunct="1">
              <a:lnSpc>
                <a:spcPct val="100000"/>
              </a:lnSpc>
              <a:spcBef>
                <a:spcPts val="0"/>
              </a:spcBef>
              <a:spcAft>
                <a:spcPts val="200"/>
              </a:spcAft>
              <a:buClrTx/>
              <a:buSzTx/>
              <a:buFontTx/>
              <a:buNone/>
              <a:tabLst/>
              <a:defRPr/>
            </a:pPr>
            <a:endParaRPr kumimoji="0" lang="en-US" sz="1000" b="0" i="0" u="none" strike="noStrike" kern="1200" cap="none" spc="0" normalizeH="0" baseline="0" noProof="0">
              <a:ln>
                <a:noFill/>
              </a:ln>
              <a:solidFill>
                <a:srgbClr val="000000">
                  <a:lumMod val="65000"/>
                  <a:lumOff val="35000"/>
                </a:srgbClr>
              </a:solidFill>
              <a:effectLst/>
              <a:uLnTx/>
              <a:uFillTx/>
              <a:latin typeface="Aptos"/>
              <a:ea typeface="+mn-ea"/>
              <a:cs typeface="+mn-cs"/>
            </a:endParaRP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ptos"/>
                <a:ea typeface="+mn-ea"/>
                <a:cs typeface="+mn-cs"/>
              </a:rPr>
              <a:t>Business Scenario (4) : </a:t>
            </a:r>
            <a:r>
              <a:rPr kumimoji="0" lang="en-US" sz="1000" b="0" i="0" u="none" strike="noStrike" kern="1200" cap="none" spc="0" normalizeH="0" baseline="0" noProof="0">
                <a:ln>
                  <a:noFill/>
                </a:ln>
                <a:solidFill>
                  <a:srgbClr val="000000"/>
                </a:solidFill>
                <a:effectLst/>
                <a:uLnTx/>
                <a:uFillTx/>
                <a:latin typeface="Aptos"/>
                <a:ea typeface="+mn-ea"/>
                <a:cs typeface="+mn-cs"/>
              </a:rPr>
              <a:t>B</a:t>
            </a:r>
            <a:r>
              <a:rPr kumimoji="0" lang="en-US" sz="1000" b="0" i="0" u="none" strike="noStrike" kern="1200" cap="none" spc="0" normalizeH="0" baseline="0" noProof="0">
                <a:ln>
                  <a:noFill/>
                </a:ln>
                <a:solidFill>
                  <a:srgbClr val="000000">
                    <a:lumMod val="65000"/>
                    <a:lumOff val="35000"/>
                  </a:srgbClr>
                </a:solidFill>
                <a:effectLst/>
                <a:uLnTx/>
                <a:uFillTx/>
                <a:latin typeface="Aptos"/>
                <a:ea typeface="+mn-ea"/>
                <a:cs typeface="+mn-cs"/>
              </a:rPr>
              <a:t>usiness scenario description.</a:t>
            </a:r>
          </a:p>
          <a:p>
            <a:pPr marL="0" marR="0" lvl="0" indent="0" algn="l" defTabSz="914400" rtl="0" eaLnBrk="1" fontAlgn="auto" latinLnBrk="0" hangingPunct="1">
              <a:lnSpc>
                <a:spcPct val="100000"/>
              </a:lnSpc>
              <a:spcBef>
                <a:spcPts val="0"/>
              </a:spcBef>
              <a:spcAft>
                <a:spcPts val="200"/>
              </a:spcAft>
              <a:buClrTx/>
              <a:buSzTx/>
              <a:buFontTx/>
              <a:buNone/>
              <a:tabLst/>
              <a:defRPr/>
            </a:pPr>
            <a:endParaRPr kumimoji="0" lang="en-US" sz="1000" b="0" i="0" u="none" strike="noStrike" kern="1200" cap="none" spc="0" normalizeH="0" baseline="0" noProof="0">
              <a:ln>
                <a:noFill/>
              </a:ln>
              <a:solidFill>
                <a:srgbClr val="000000">
                  <a:lumMod val="65000"/>
                  <a:lumOff val="35000"/>
                </a:srgbClr>
              </a:solidFill>
              <a:effectLst/>
              <a:uLnTx/>
              <a:uFillTx/>
              <a:latin typeface="Aptos"/>
              <a:ea typeface="+mn-ea"/>
              <a:cs typeface="+mn-cs"/>
            </a:endParaRP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ptos"/>
                <a:ea typeface="+mn-ea"/>
                <a:cs typeface="+mn-cs"/>
              </a:rPr>
              <a:t>Business Scenario (5) : </a:t>
            </a:r>
            <a:r>
              <a:rPr kumimoji="0" lang="en-US" sz="1000" b="0" i="0" u="none" strike="noStrike" kern="1200" cap="none" spc="0" normalizeH="0" baseline="0" noProof="0">
                <a:ln>
                  <a:noFill/>
                </a:ln>
                <a:solidFill>
                  <a:srgbClr val="000000"/>
                </a:solidFill>
                <a:effectLst/>
                <a:uLnTx/>
                <a:uFillTx/>
                <a:latin typeface="Aptos"/>
                <a:ea typeface="+mn-ea"/>
                <a:cs typeface="+mn-cs"/>
              </a:rPr>
              <a:t>B</a:t>
            </a:r>
            <a:r>
              <a:rPr kumimoji="0" lang="en-US" sz="1000" b="0" i="0" u="none" strike="noStrike" kern="1200" cap="none" spc="0" normalizeH="0" baseline="0" noProof="0">
                <a:ln>
                  <a:noFill/>
                </a:ln>
                <a:solidFill>
                  <a:srgbClr val="000000">
                    <a:lumMod val="65000"/>
                    <a:lumOff val="35000"/>
                  </a:srgbClr>
                </a:solidFill>
                <a:effectLst/>
                <a:uLnTx/>
                <a:uFillTx/>
                <a:latin typeface="Aptos"/>
                <a:ea typeface="+mn-ea"/>
                <a:cs typeface="+mn-cs"/>
              </a:rPr>
              <a:t>usiness scenario description.</a:t>
            </a:r>
          </a:p>
          <a:p>
            <a:pPr marL="0" marR="0" lvl="0" indent="0" algn="l" defTabSz="914400" rtl="0" eaLnBrk="1" fontAlgn="auto" latinLnBrk="0" hangingPunct="1">
              <a:lnSpc>
                <a:spcPct val="100000"/>
              </a:lnSpc>
              <a:spcBef>
                <a:spcPts val="0"/>
              </a:spcBef>
              <a:spcAft>
                <a:spcPts val="200"/>
              </a:spcAft>
              <a:buClrTx/>
              <a:buSzTx/>
              <a:buFontTx/>
              <a:buNone/>
              <a:tabLst/>
              <a:defRPr/>
            </a:pPr>
            <a:endParaRPr kumimoji="0" lang="en-US" sz="900" b="0" i="0" u="none" strike="noStrike" kern="1200" cap="none" spc="0" normalizeH="0" baseline="0" noProof="0">
              <a:ln>
                <a:noFill/>
              </a:ln>
              <a:solidFill>
                <a:srgbClr val="000000">
                  <a:lumMod val="65000"/>
                  <a:lumOff val="35000"/>
                </a:srgbClr>
              </a:solidFill>
              <a:effectLst/>
              <a:uLnTx/>
              <a:uFillTx/>
              <a:latin typeface="Aptos"/>
              <a:ea typeface="+mn-ea"/>
              <a:cs typeface="+mn-cs"/>
            </a:endParaRPr>
          </a:p>
        </p:txBody>
      </p:sp>
      <p:sp>
        <p:nvSpPr>
          <p:cNvPr id="13" name="Textplatzhalter 2">
            <a:extLst>
              <a:ext uri="{FF2B5EF4-FFF2-40B4-BE49-F238E27FC236}">
                <a16:creationId xmlns:a16="http://schemas.microsoft.com/office/drawing/2014/main" id="{486EDFAD-DC1B-4196-2B7F-9A3CCC9A2284}"/>
              </a:ext>
            </a:extLst>
          </p:cNvPr>
          <p:cNvSpPr txBox="1">
            <a:spLocks/>
          </p:cNvSpPr>
          <p:nvPr/>
        </p:nvSpPr>
        <p:spPr>
          <a:xfrm>
            <a:off x="4959803" y="133545"/>
            <a:ext cx="4192361" cy="373100"/>
          </a:xfrm>
          <a:prstGeom prst="rect">
            <a:avLst/>
          </a:prstGeom>
        </p:spPr>
        <p:txBody>
          <a:bodyPr lIns="0" tIns="0" rIns="0" bIns="0" anchor="t"/>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0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Aligned Strategic Priority:</a:t>
            </a:r>
          </a:p>
        </p:txBody>
      </p:sp>
      <p:sp>
        <p:nvSpPr>
          <p:cNvPr id="6" name="Titel 1">
            <a:extLst>
              <a:ext uri="{FF2B5EF4-FFF2-40B4-BE49-F238E27FC236}">
                <a16:creationId xmlns:a16="http://schemas.microsoft.com/office/drawing/2014/main" id="{2463B6BF-33B1-FF20-7E85-A922598DAD45}"/>
              </a:ext>
            </a:extLst>
          </p:cNvPr>
          <p:cNvSpPr txBox="1">
            <a:spLocks/>
          </p:cNvSpPr>
          <p:nvPr/>
        </p:nvSpPr>
        <p:spPr>
          <a:xfrm>
            <a:off x="73479" y="631203"/>
            <a:ext cx="8432568" cy="184666"/>
          </a:xfrm>
          <a:prstGeom prst="rect">
            <a:avLst/>
          </a:prstGeom>
        </p:spPr>
        <p:txBody>
          <a:bodyPr vert="horz" wrap="square" lIns="0" tIns="0" rIns="0" bIns="0" rtlCol="0" anchor="ctr">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200" b="0" i="0" u="none" strike="noStrike" kern="1200" cap="none" spc="0" normalizeH="0" baseline="0" noProof="0">
                <a:ln w="3175">
                  <a:noFill/>
                </a:ln>
                <a:solidFill>
                  <a:srgbClr val="FFFFFF"/>
                </a:solidFill>
                <a:effectLst/>
                <a:uLnTx/>
                <a:uFillTx/>
                <a:latin typeface="Segoe UI Semibold"/>
                <a:ea typeface="+mn-ea"/>
                <a:cs typeface="Segoe UI" pitchFamily="34" charset="0"/>
              </a:rPr>
              <a:t>Business Process Challenge: (</a:t>
            </a:r>
            <a:r>
              <a:rPr lang="en-US" sz="1200" spc="0">
                <a:solidFill>
                  <a:srgbClr val="FFFFFF"/>
                </a:solidFill>
                <a:latin typeface="Segoe UI Semibold"/>
              </a:rPr>
              <a:t>insert the challenge statement</a:t>
            </a:r>
            <a:r>
              <a:rPr kumimoji="0" lang="en-US" sz="1200" b="0" i="0" u="none" strike="noStrike" kern="1200" cap="none" spc="0" normalizeH="0" baseline="0" noProof="0">
                <a:ln w="3175">
                  <a:noFill/>
                </a:ln>
                <a:solidFill>
                  <a:srgbClr val="FFFFFF"/>
                </a:solidFill>
                <a:effectLst/>
                <a:uLnTx/>
                <a:uFillTx/>
                <a:latin typeface="Segoe UI Semibold"/>
                <a:ea typeface="+mn-ea"/>
                <a:cs typeface="Segoe UI" pitchFamily="34" charset="0"/>
              </a:rPr>
              <a:t>)</a:t>
            </a:r>
          </a:p>
        </p:txBody>
      </p:sp>
      <p:sp>
        <p:nvSpPr>
          <p:cNvPr id="5" name="Textplatzhalter 2">
            <a:extLst>
              <a:ext uri="{FF2B5EF4-FFF2-40B4-BE49-F238E27FC236}">
                <a16:creationId xmlns:a16="http://schemas.microsoft.com/office/drawing/2014/main" id="{ADA7A35F-F4E6-24EF-00DC-D14DBA86BE19}"/>
              </a:ext>
            </a:extLst>
          </p:cNvPr>
          <p:cNvSpPr txBox="1">
            <a:spLocks/>
          </p:cNvSpPr>
          <p:nvPr/>
        </p:nvSpPr>
        <p:spPr>
          <a:xfrm>
            <a:off x="9380764" y="130060"/>
            <a:ext cx="2622096" cy="646934"/>
          </a:xfrm>
          <a:prstGeom prst="rect">
            <a:avLst/>
          </a:prstGeom>
        </p:spPr>
        <p:txBody>
          <a:bodyPr lIns="0" tIns="0" rIns="0" bIns="0" anchor="t"/>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9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Business Scenario Prioritization</a:t>
            </a:r>
          </a:p>
          <a:p>
            <a:pPr marL="228600" marR="0" lvl="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AutoNum type="arabicPeriod"/>
              <a:tabLst/>
              <a:defRPr/>
            </a:pPr>
            <a:r>
              <a:rPr kumimoji="0" lang="en-US" sz="9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Business Value:  L to H (1 – 5)</a:t>
            </a:r>
          </a:p>
          <a:p>
            <a:pPr marL="228600" marR="0" lvl="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AutoNum type="arabicPeriod"/>
              <a:tabLst/>
              <a:defRPr/>
            </a:pPr>
            <a:r>
              <a:rPr kumimoji="0" lang="en-US" sz="9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Implementation Effort: H to L (1 – 5) </a:t>
            </a:r>
          </a:p>
        </p:txBody>
      </p:sp>
    </p:spTree>
    <p:extLst>
      <p:ext uri="{BB962C8B-B14F-4D97-AF65-F5344CB8AC3E}">
        <p14:creationId xmlns:p14="http://schemas.microsoft.com/office/powerpoint/2010/main" val="3100597480"/>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A00EAC9-804C-3F99-DB92-1E430FC3D793}"/>
              </a:ext>
              <a:ext uri="{C183D7F6-B498-43B3-948B-1728B52AA6E4}">
                <adec:decorative xmlns:adec="http://schemas.microsoft.com/office/drawing/2017/decorative" val="1"/>
              </a:ext>
            </a:extLst>
          </p:cNvPr>
          <p:cNvSpPr/>
          <p:nvPr/>
        </p:nvSpPr>
        <p:spPr bwMode="auto">
          <a:xfrm>
            <a:off x="0" y="-1806"/>
            <a:ext cx="12192000" cy="853975"/>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 name="Title 61">
            <a:extLst>
              <a:ext uri="{FF2B5EF4-FFF2-40B4-BE49-F238E27FC236}">
                <a16:creationId xmlns:a16="http://schemas.microsoft.com/office/drawing/2014/main" id="{41D7FB24-6AD6-DB9E-FFCD-588F980E8F47}"/>
              </a:ext>
            </a:extLst>
          </p:cNvPr>
          <p:cNvSpPr txBox="1">
            <a:spLocks/>
          </p:cNvSpPr>
          <p:nvPr/>
        </p:nvSpPr>
        <p:spPr>
          <a:xfrm>
            <a:off x="73478" y="-1806"/>
            <a:ext cx="4338176" cy="373100"/>
          </a:xfrm>
          <a:prstGeom prst="rect">
            <a:avLst/>
          </a:prstGeom>
        </p:spPr>
        <p:txBody>
          <a:bodyPr/>
          <a:lstStyle>
            <a:lvl1pPr algn="l" defTabSz="932742" rtl="0" eaLnBrk="1" latinLnBrk="0" hangingPunct="1">
              <a:lnSpc>
                <a:spcPct val="100000"/>
              </a:lnSpc>
              <a:spcBef>
                <a:spcPct val="0"/>
              </a:spcBef>
              <a:buNone/>
              <a:defRPr lang="en-US" sz="2000" b="0" kern="1200" cap="none" spc="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dirty="0">
                <a:ln w="3175">
                  <a:noFill/>
                </a:ln>
                <a:solidFill>
                  <a:srgbClr val="FFFFFF"/>
                </a:solidFill>
                <a:effectLst/>
                <a:uLnTx/>
                <a:uFillTx/>
                <a:latin typeface="Aptos SemiBold"/>
                <a:ea typeface="+mn-ea"/>
                <a:cs typeface="Segoe UI" pitchFamily="34" charset="0"/>
              </a:rPr>
              <a:t>AI Use Cases Discovery</a:t>
            </a:r>
          </a:p>
        </p:txBody>
      </p:sp>
      <p:sp>
        <p:nvSpPr>
          <p:cNvPr id="4" name="Titel 1">
            <a:extLst>
              <a:ext uri="{FF2B5EF4-FFF2-40B4-BE49-F238E27FC236}">
                <a16:creationId xmlns:a16="http://schemas.microsoft.com/office/drawing/2014/main" id="{5B37C216-2900-617A-3A68-E8C71F39D530}"/>
              </a:ext>
            </a:extLst>
          </p:cNvPr>
          <p:cNvSpPr txBox="1">
            <a:spLocks/>
          </p:cNvSpPr>
          <p:nvPr/>
        </p:nvSpPr>
        <p:spPr>
          <a:xfrm>
            <a:off x="73480" y="375546"/>
            <a:ext cx="3829050" cy="184666"/>
          </a:xfrm>
          <a:prstGeom prst="rect">
            <a:avLst/>
          </a:prstGeom>
        </p:spPr>
        <p:txBody>
          <a:bodyPr vert="horz" wrap="square" lIns="0" tIns="0" rIns="0" bIns="0" rtlCol="0" anchor="ctr">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200" b="0" i="0" u="none" strike="noStrike" kern="1200" cap="none" spc="0" normalizeH="0" baseline="0" noProof="0">
                <a:ln w="3175">
                  <a:noFill/>
                </a:ln>
                <a:solidFill>
                  <a:srgbClr val="FFFFFF"/>
                </a:solidFill>
                <a:effectLst/>
                <a:uLnTx/>
                <a:uFillTx/>
                <a:latin typeface="Segoe UI Semibold"/>
                <a:ea typeface="+mn-ea"/>
                <a:cs typeface="Segoe UI" pitchFamily="34" charset="0"/>
              </a:rPr>
              <a:t>Customer: (insert customer name)</a:t>
            </a:r>
          </a:p>
        </p:txBody>
      </p:sp>
      <p:sp>
        <p:nvSpPr>
          <p:cNvPr id="12" name="Rectangle 11">
            <a:extLst>
              <a:ext uri="{FF2B5EF4-FFF2-40B4-BE49-F238E27FC236}">
                <a16:creationId xmlns:a16="http://schemas.microsoft.com/office/drawing/2014/main" id="{7E4DAA95-4C9C-9A19-1109-321975AA169F}"/>
              </a:ext>
            </a:extLst>
          </p:cNvPr>
          <p:cNvSpPr>
            <a:spLocks/>
          </p:cNvSpPr>
          <p:nvPr/>
        </p:nvSpPr>
        <p:spPr bwMode="auto">
          <a:xfrm>
            <a:off x="73478" y="856422"/>
            <a:ext cx="11825371" cy="1088556"/>
          </a:xfrm>
          <a:prstGeom prst="rect">
            <a:avLst/>
          </a:prstGeom>
          <a:solidFill>
            <a:schemeClr val="bg1">
              <a:alpha val="99000"/>
            </a:schemeClr>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000000"/>
                </a:solidFill>
                <a:effectLst/>
                <a:uLnTx/>
                <a:uFillTx/>
                <a:latin typeface="Aptos"/>
                <a:ea typeface="+mn-ea"/>
                <a:cs typeface="+mn-cs"/>
              </a:rPr>
              <a:t>Business Scenario (Customer Experience Improvement):</a:t>
            </a:r>
            <a:r>
              <a:rPr kumimoji="0" lang="en-US" sz="900" b="0" i="0" u="none" strike="noStrike" kern="1200" cap="none" spc="0" normalizeH="0" baseline="0" noProof="0">
                <a:ln>
                  <a:noFill/>
                </a:ln>
                <a:solidFill>
                  <a:srgbClr val="000000"/>
                </a:solidFill>
                <a:effectLst/>
                <a:uLnTx/>
                <a:uFillTx/>
                <a:latin typeface="Aptos"/>
                <a:ea typeface="+mn-ea"/>
                <a:cs typeface="+mn-cs"/>
              </a:rPr>
              <a:t> A business scenario is a hypothetical story that describes a business event or situation. It outlines the current state, the desired future state, and the events that trigger changes from the current state to the future state</a:t>
            </a:r>
            <a:r>
              <a:rPr kumimoji="0" lang="en-US" sz="900" b="0" i="0" u="none" strike="noStrike" kern="1200" cap="none" spc="0" normalizeH="0" baseline="0" noProof="0">
                <a:ln>
                  <a:noFill/>
                </a:ln>
                <a:solidFill>
                  <a:srgbClr val="000000">
                    <a:lumMod val="65000"/>
                    <a:lumOff val="35000"/>
                  </a:srgbClr>
                </a:solidFill>
                <a:effectLst/>
                <a:uLnTx/>
                <a:uFillTx/>
                <a:latin typeface="Aptos"/>
                <a:ea typeface="+mn-ea"/>
                <a:cs typeface="+mn-cs"/>
              </a:rPr>
              <a:t>.</a:t>
            </a:r>
          </a:p>
        </p:txBody>
      </p:sp>
      <p:sp>
        <p:nvSpPr>
          <p:cNvPr id="14" name="Rectangle 13">
            <a:extLst>
              <a:ext uri="{FF2B5EF4-FFF2-40B4-BE49-F238E27FC236}">
                <a16:creationId xmlns:a16="http://schemas.microsoft.com/office/drawing/2014/main" id="{109D627E-2FA0-199A-D1E7-A0053D8962AD}"/>
              </a:ext>
            </a:extLst>
          </p:cNvPr>
          <p:cNvSpPr>
            <a:spLocks/>
          </p:cNvSpPr>
          <p:nvPr/>
        </p:nvSpPr>
        <p:spPr bwMode="auto">
          <a:xfrm>
            <a:off x="73478" y="3045818"/>
            <a:ext cx="4051956" cy="3678637"/>
          </a:xfrm>
          <a:prstGeom prst="rect">
            <a:avLst/>
          </a:prstGeom>
          <a:solidFill>
            <a:schemeClr val="bg1">
              <a:alpha val="99000"/>
            </a:schemeClr>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000000"/>
                </a:solidFill>
                <a:effectLst/>
                <a:uLnTx/>
                <a:uFillTx/>
                <a:latin typeface="Aptos"/>
                <a:ea typeface="+mn-ea"/>
                <a:cs typeface="+mn-cs"/>
              </a:rPr>
              <a:t>Business KPIs</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0" i="0" u="none" strike="noStrike" kern="1200" cap="none" spc="0" normalizeH="0" baseline="0" noProof="0">
                <a:ln>
                  <a:noFill/>
                </a:ln>
                <a:solidFill>
                  <a:srgbClr val="000000">
                    <a:lumMod val="65000"/>
                    <a:lumOff val="35000"/>
                  </a:srgbClr>
                </a:solidFill>
                <a:effectLst/>
                <a:uLnTx/>
                <a:uFillTx/>
                <a:latin typeface="Aptos"/>
                <a:ea typeface="+mn-ea"/>
                <a:cs typeface="+mn-cs"/>
              </a:rPr>
              <a:t>Given the business scenario provided, describe potential Key Performance Indicators (KPIs) that could be used to measure success:</a:t>
            </a:r>
          </a:p>
          <a:p>
            <a:pPr marL="0" marR="0" lvl="0" indent="0" algn="l" defTabSz="914400" rtl="0" eaLnBrk="1" fontAlgn="auto" latinLnBrk="0" hangingPunct="1">
              <a:lnSpc>
                <a:spcPct val="100000"/>
              </a:lnSpc>
              <a:spcBef>
                <a:spcPts val="0"/>
              </a:spcBef>
              <a:spcAft>
                <a:spcPts val="200"/>
              </a:spcAft>
              <a:buClrTx/>
              <a:buSzTx/>
              <a:buFontTx/>
              <a:buNone/>
              <a:tabLst/>
              <a:defRPr/>
            </a:pPr>
            <a:endParaRPr kumimoji="0" lang="en-US" sz="900" b="0" i="0" u="none" strike="noStrike" kern="1200" cap="none" spc="0" normalizeH="0" baseline="0" noProof="0">
              <a:ln>
                <a:noFill/>
              </a:ln>
              <a:solidFill>
                <a:srgbClr val="000000">
                  <a:lumMod val="65000"/>
                  <a:lumOff val="35000"/>
                </a:srgbClr>
              </a:solidFill>
              <a:effectLst/>
              <a:uLnTx/>
              <a:uFillTx/>
              <a:latin typeface="Aptos"/>
              <a:ea typeface="+mn-ea"/>
              <a:cs typeface="+mn-cs"/>
            </a:endParaRPr>
          </a:p>
          <a:p>
            <a:pPr marL="0" marR="0" lvl="0" indent="0" algn="l" defTabSz="914400" rtl="0" eaLnBrk="1" fontAlgn="auto" latinLnBrk="0" hangingPunct="1">
              <a:lnSpc>
                <a:spcPct val="100000"/>
              </a:lnSpc>
              <a:spcBef>
                <a:spcPts val="0"/>
              </a:spcBef>
              <a:spcAft>
                <a:spcPts val="200"/>
              </a:spcAft>
              <a:buClrTx/>
              <a:buSzTx/>
              <a:buFontTx/>
              <a:buNone/>
              <a:tabLst/>
              <a:defRPr/>
            </a:pPr>
            <a:endParaRPr kumimoji="0" lang="en-US" sz="900" b="0" i="0" u="none" strike="noStrike" kern="1200" cap="none" spc="0" normalizeH="0" baseline="0" noProof="0">
              <a:ln>
                <a:noFill/>
              </a:ln>
              <a:solidFill>
                <a:srgbClr val="000000">
                  <a:lumMod val="65000"/>
                  <a:lumOff val="35000"/>
                </a:srgbClr>
              </a:solidFill>
              <a:effectLst/>
              <a:uLnTx/>
              <a:uFillTx/>
              <a:latin typeface="Aptos"/>
              <a:ea typeface="+mn-ea"/>
              <a:cs typeface="+mn-cs"/>
            </a:endParaRPr>
          </a:p>
        </p:txBody>
      </p:sp>
      <p:sp>
        <p:nvSpPr>
          <p:cNvPr id="15" name="Rectangle 14">
            <a:extLst>
              <a:ext uri="{FF2B5EF4-FFF2-40B4-BE49-F238E27FC236}">
                <a16:creationId xmlns:a16="http://schemas.microsoft.com/office/drawing/2014/main" id="{9AEC2EAF-114B-F179-6E8D-339E3BFCD08C}"/>
              </a:ext>
            </a:extLst>
          </p:cNvPr>
          <p:cNvSpPr>
            <a:spLocks/>
          </p:cNvSpPr>
          <p:nvPr/>
        </p:nvSpPr>
        <p:spPr bwMode="auto">
          <a:xfrm>
            <a:off x="4162649" y="3045818"/>
            <a:ext cx="4396563" cy="3678637"/>
          </a:xfrm>
          <a:prstGeom prst="rect">
            <a:avLst/>
          </a:prstGeom>
          <a:solidFill>
            <a:schemeClr val="bg1">
              <a:alpha val="99000"/>
            </a:schemeClr>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US" sz="900" b="1" i="0" u="none" strike="noStrike" kern="1200" cap="none" spc="0" normalizeH="0" baseline="0" noProof="0">
                <a:ln>
                  <a:noFill/>
                </a:ln>
                <a:solidFill>
                  <a:srgbClr val="000000">
                    <a:lumMod val="65000"/>
                    <a:lumOff val="35000"/>
                  </a:srgbClr>
                </a:solidFill>
                <a:effectLst/>
                <a:uLnTx/>
                <a:uFillTx/>
                <a:latin typeface="Aptos"/>
                <a:ea typeface="+mn-ea"/>
                <a:cs typeface="+mn-cs"/>
              </a:rPr>
              <a:t>Business Outcomes if Scenario Addressed</a:t>
            </a: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US" sz="900" b="0" i="0" u="none" strike="noStrike" kern="1200" cap="none" spc="0" normalizeH="0" baseline="0" noProof="0">
                <a:ln>
                  <a:noFill/>
                </a:ln>
                <a:solidFill>
                  <a:srgbClr val="000000">
                    <a:lumMod val="65000"/>
                    <a:lumOff val="35000"/>
                  </a:srgbClr>
                </a:solidFill>
                <a:effectLst/>
                <a:uLnTx/>
                <a:uFillTx/>
                <a:latin typeface="Aptos"/>
                <a:ea typeface="+mn-ea"/>
                <a:cs typeface="+mn-cs"/>
              </a:rPr>
              <a:t>If the business scenario is successfully addressed, what business outcomes are you expecting to achieve:</a:t>
            </a: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endParaRPr kumimoji="0" lang="en-US" sz="900" b="0" i="0" u="none" strike="noStrike" kern="1200" cap="none" spc="0" normalizeH="0" baseline="0" noProof="0">
              <a:ln>
                <a:noFill/>
              </a:ln>
              <a:solidFill>
                <a:srgbClr val="000000">
                  <a:lumMod val="65000"/>
                  <a:lumOff val="35000"/>
                </a:srgbClr>
              </a:solidFill>
              <a:effectLst/>
              <a:uLnTx/>
              <a:uFillTx/>
              <a:latin typeface="Aptos"/>
              <a:ea typeface="+mn-ea"/>
              <a:cs typeface="+mn-cs"/>
            </a:endParaRPr>
          </a:p>
        </p:txBody>
      </p:sp>
      <p:sp>
        <p:nvSpPr>
          <p:cNvPr id="16" name="Rectangle 15">
            <a:extLst>
              <a:ext uri="{FF2B5EF4-FFF2-40B4-BE49-F238E27FC236}">
                <a16:creationId xmlns:a16="http://schemas.microsoft.com/office/drawing/2014/main" id="{412B228A-F127-7873-F578-F0973F3B89FA}"/>
              </a:ext>
            </a:extLst>
          </p:cNvPr>
          <p:cNvSpPr>
            <a:spLocks/>
          </p:cNvSpPr>
          <p:nvPr/>
        </p:nvSpPr>
        <p:spPr bwMode="auto">
          <a:xfrm>
            <a:off x="8596427" y="3045818"/>
            <a:ext cx="3302421" cy="3678637"/>
          </a:xfrm>
          <a:prstGeom prst="rect">
            <a:avLst/>
          </a:prstGeom>
          <a:solidFill>
            <a:schemeClr val="bg1">
              <a:alpha val="99000"/>
            </a:schemeClr>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US" sz="900" b="1" i="0" u="none" strike="noStrike" kern="1200" cap="none" spc="0" normalizeH="0" baseline="0" noProof="0">
                <a:ln>
                  <a:noFill/>
                </a:ln>
                <a:solidFill>
                  <a:srgbClr val="000000">
                    <a:lumMod val="65000"/>
                    <a:lumOff val="35000"/>
                  </a:srgbClr>
                </a:solidFill>
                <a:effectLst/>
                <a:uLnTx/>
                <a:uFillTx/>
                <a:latin typeface="Aptos"/>
                <a:ea typeface="+mn-ea"/>
                <a:cs typeface="+mn-cs"/>
              </a:rPr>
              <a:t>Business Capabilities Achieved if Scenario addressed</a:t>
            </a: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US" sz="900" b="0" i="0" u="none" strike="noStrike" kern="1200" cap="none" spc="0" normalizeH="0" baseline="0" noProof="0">
                <a:ln>
                  <a:noFill/>
                </a:ln>
                <a:solidFill>
                  <a:srgbClr val="000000">
                    <a:lumMod val="65000"/>
                    <a:lumOff val="35000"/>
                  </a:srgbClr>
                </a:solidFill>
                <a:effectLst/>
                <a:uLnTx/>
                <a:uFillTx/>
                <a:latin typeface="Aptos"/>
                <a:ea typeface="+mn-ea"/>
                <a:cs typeface="+mn-cs"/>
              </a:rPr>
              <a:t>If the business scenario is successfully addressed, what business capabilities would you expect to be achieved or improved:</a:t>
            </a: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endParaRPr kumimoji="0" lang="en-US" sz="900" b="0" i="0" u="none" strike="noStrike" kern="1200" cap="none" spc="0" normalizeH="0" baseline="0" noProof="0">
              <a:ln>
                <a:noFill/>
              </a:ln>
              <a:solidFill>
                <a:srgbClr val="000000">
                  <a:lumMod val="65000"/>
                  <a:lumOff val="35000"/>
                </a:srgbClr>
              </a:solidFill>
              <a:effectLst/>
              <a:uLnTx/>
              <a:uFillTx/>
              <a:latin typeface="Aptos"/>
              <a:ea typeface="+mn-ea"/>
              <a:cs typeface="+mn-cs"/>
            </a:endParaRPr>
          </a:p>
        </p:txBody>
      </p:sp>
      <p:sp>
        <p:nvSpPr>
          <p:cNvPr id="13" name="Textplatzhalter 2">
            <a:extLst>
              <a:ext uri="{FF2B5EF4-FFF2-40B4-BE49-F238E27FC236}">
                <a16:creationId xmlns:a16="http://schemas.microsoft.com/office/drawing/2014/main" id="{486EDFAD-DC1B-4196-2B7F-9A3CCC9A2284}"/>
              </a:ext>
            </a:extLst>
          </p:cNvPr>
          <p:cNvSpPr txBox="1">
            <a:spLocks/>
          </p:cNvSpPr>
          <p:nvPr/>
        </p:nvSpPr>
        <p:spPr>
          <a:xfrm>
            <a:off x="4959803" y="133545"/>
            <a:ext cx="4192361" cy="373100"/>
          </a:xfrm>
          <a:prstGeom prst="rect">
            <a:avLst/>
          </a:prstGeom>
        </p:spPr>
        <p:txBody>
          <a:bodyPr lIns="0" tIns="0" rIns="0" bIns="0" anchor="t"/>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0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Aligned Strategic Priority:</a:t>
            </a:r>
          </a:p>
        </p:txBody>
      </p:sp>
      <p:sp>
        <p:nvSpPr>
          <p:cNvPr id="6" name="Titel 1">
            <a:extLst>
              <a:ext uri="{FF2B5EF4-FFF2-40B4-BE49-F238E27FC236}">
                <a16:creationId xmlns:a16="http://schemas.microsoft.com/office/drawing/2014/main" id="{2463B6BF-33B1-FF20-7E85-A922598DAD45}"/>
              </a:ext>
            </a:extLst>
          </p:cNvPr>
          <p:cNvSpPr txBox="1">
            <a:spLocks/>
          </p:cNvSpPr>
          <p:nvPr/>
        </p:nvSpPr>
        <p:spPr>
          <a:xfrm>
            <a:off x="73478" y="631203"/>
            <a:ext cx="8018961" cy="184666"/>
          </a:xfrm>
          <a:prstGeom prst="rect">
            <a:avLst/>
          </a:prstGeom>
        </p:spPr>
        <p:txBody>
          <a:bodyPr vert="horz" wrap="square" lIns="0" tIns="0" rIns="0" bIns="0" rtlCol="0" anchor="ctr">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200" b="0" i="0" u="none" strike="noStrike" kern="1200" cap="none" spc="0" normalizeH="0" baseline="0" noProof="0">
                <a:ln w="3175">
                  <a:noFill/>
                </a:ln>
                <a:solidFill>
                  <a:srgbClr val="FFFFFF"/>
                </a:solidFill>
                <a:effectLst/>
                <a:uLnTx/>
                <a:uFillTx/>
                <a:latin typeface="Segoe UI Semibold"/>
                <a:ea typeface="+mn-ea"/>
                <a:cs typeface="Segoe UI" pitchFamily="34" charset="0"/>
              </a:rPr>
              <a:t>Business Process Challenge: (insert challenge statement)</a:t>
            </a:r>
          </a:p>
        </p:txBody>
      </p:sp>
      <p:sp>
        <p:nvSpPr>
          <p:cNvPr id="5" name="Textplatzhalter 2">
            <a:extLst>
              <a:ext uri="{FF2B5EF4-FFF2-40B4-BE49-F238E27FC236}">
                <a16:creationId xmlns:a16="http://schemas.microsoft.com/office/drawing/2014/main" id="{ADA7A35F-F4E6-24EF-00DC-D14DBA86BE19}"/>
              </a:ext>
            </a:extLst>
          </p:cNvPr>
          <p:cNvSpPr txBox="1">
            <a:spLocks/>
          </p:cNvSpPr>
          <p:nvPr/>
        </p:nvSpPr>
        <p:spPr>
          <a:xfrm>
            <a:off x="9380764" y="130060"/>
            <a:ext cx="2622096" cy="646934"/>
          </a:xfrm>
          <a:prstGeom prst="rect">
            <a:avLst/>
          </a:prstGeom>
        </p:spPr>
        <p:txBody>
          <a:bodyPr lIns="0" tIns="0" rIns="0" bIns="0" anchor="t"/>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9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Business Scenario Prioritization</a:t>
            </a:r>
          </a:p>
          <a:p>
            <a:pPr marL="228600" marR="0" lvl="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AutoNum type="arabicPeriod"/>
              <a:tabLst/>
              <a:defRPr/>
            </a:pPr>
            <a:r>
              <a:rPr kumimoji="0" lang="en-US" sz="9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Business Value:  L to H (1 – 5)</a:t>
            </a:r>
          </a:p>
          <a:p>
            <a:pPr marL="228600" marR="0" lvl="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AutoNum type="arabicPeriod"/>
              <a:tabLst/>
              <a:defRPr/>
            </a:pPr>
            <a:r>
              <a:rPr kumimoji="0" lang="en-US" sz="9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Implementation Effort: H to L (1 – 5) </a:t>
            </a:r>
          </a:p>
        </p:txBody>
      </p:sp>
      <p:sp>
        <p:nvSpPr>
          <p:cNvPr id="7" name="Rectangle 6">
            <a:extLst>
              <a:ext uri="{FF2B5EF4-FFF2-40B4-BE49-F238E27FC236}">
                <a16:creationId xmlns:a16="http://schemas.microsoft.com/office/drawing/2014/main" id="{B1237E84-B520-ABA9-DB4B-1E40F9D3A87C}"/>
              </a:ext>
            </a:extLst>
          </p:cNvPr>
          <p:cNvSpPr>
            <a:spLocks/>
          </p:cNvSpPr>
          <p:nvPr/>
        </p:nvSpPr>
        <p:spPr bwMode="auto">
          <a:xfrm>
            <a:off x="78359" y="1974131"/>
            <a:ext cx="11820489" cy="1042534"/>
          </a:xfrm>
          <a:prstGeom prst="rect">
            <a:avLst/>
          </a:prstGeom>
          <a:solidFill>
            <a:schemeClr val="bg1">
              <a:alpha val="99000"/>
            </a:schemeClr>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solidFill>
                  <a:srgbClr val="000000"/>
                </a:solidFill>
                <a:effectLst/>
                <a:uLnTx/>
                <a:uFillTx/>
                <a:latin typeface="Aptos"/>
                <a:ea typeface="+mn-ea"/>
                <a:cs typeface="+mn-cs"/>
              </a:rPr>
              <a:t>Underlying Problems to Address:  </a:t>
            </a:r>
            <a:r>
              <a:rPr kumimoji="0" lang="en-US" sz="900" b="0" i="0" u="none" strike="noStrike" kern="1200" cap="none" spc="0" normalizeH="0" baseline="0" noProof="0">
                <a:ln>
                  <a:noFill/>
                </a:ln>
                <a:solidFill>
                  <a:srgbClr val="000000">
                    <a:lumMod val="65000"/>
                    <a:lumOff val="35000"/>
                  </a:srgbClr>
                </a:solidFill>
                <a:effectLst/>
                <a:uLnTx/>
                <a:uFillTx/>
                <a:latin typeface="Aptos"/>
                <a:ea typeface="+mn-ea"/>
                <a:cs typeface="+mn-cs"/>
              </a:rPr>
              <a:t>Describe the underlying problems or root causes that contribute to challenges with the current state or hinder moving to the desired state.</a:t>
            </a:r>
          </a:p>
        </p:txBody>
      </p:sp>
    </p:spTree>
    <p:extLst>
      <p:ext uri="{BB962C8B-B14F-4D97-AF65-F5344CB8AC3E}">
        <p14:creationId xmlns:p14="http://schemas.microsoft.com/office/powerpoint/2010/main" val="1470084665"/>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A00EAC9-804C-3F99-DB92-1E430FC3D793}"/>
              </a:ext>
              <a:ext uri="{C183D7F6-B498-43B3-948B-1728B52AA6E4}">
                <adec:decorative xmlns:adec="http://schemas.microsoft.com/office/drawing/2017/decorative" val="1"/>
              </a:ext>
            </a:extLst>
          </p:cNvPr>
          <p:cNvSpPr/>
          <p:nvPr/>
        </p:nvSpPr>
        <p:spPr bwMode="auto">
          <a:xfrm>
            <a:off x="0" y="-1806"/>
            <a:ext cx="12192000" cy="853975"/>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 name="Title 61">
            <a:extLst>
              <a:ext uri="{FF2B5EF4-FFF2-40B4-BE49-F238E27FC236}">
                <a16:creationId xmlns:a16="http://schemas.microsoft.com/office/drawing/2014/main" id="{41D7FB24-6AD6-DB9E-FFCD-588F980E8F47}"/>
              </a:ext>
            </a:extLst>
          </p:cNvPr>
          <p:cNvSpPr txBox="1">
            <a:spLocks/>
          </p:cNvSpPr>
          <p:nvPr/>
        </p:nvSpPr>
        <p:spPr>
          <a:xfrm>
            <a:off x="73478" y="-1806"/>
            <a:ext cx="4338176" cy="373100"/>
          </a:xfrm>
          <a:prstGeom prst="rect">
            <a:avLst/>
          </a:prstGeom>
        </p:spPr>
        <p:txBody>
          <a:bodyPr/>
          <a:lstStyle>
            <a:lvl1pPr algn="l" defTabSz="932742" rtl="0" eaLnBrk="1" latinLnBrk="0" hangingPunct="1">
              <a:lnSpc>
                <a:spcPct val="100000"/>
              </a:lnSpc>
              <a:spcBef>
                <a:spcPct val="0"/>
              </a:spcBef>
              <a:buNone/>
              <a:defRPr lang="en-US" sz="2000" b="0" kern="1200" cap="none" spc="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dirty="0">
                <a:ln w="3175">
                  <a:noFill/>
                </a:ln>
                <a:solidFill>
                  <a:srgbClr val="FFFFFF"/>
                </a:solidFill>
                <a:effectLst/>
                <a:uLnTx/>
                <a:uFillTx/>
                <a:latin typeface="Aptos SemiBold"/>
                <a:ea typeface="+mn-ea"/>
                <a:cs typeface="Segoe UI" pitchFamily="34" charset="0"/>
              </a:rPr>
              <a:t>AI Use Cases Discovery</a:t>
            </a:r>
          </a:p>
        </p:txBody>
      </p:sp>
      <p:sp>
        <p:nvSpPr>
          <p:cNvPr id="4" name="Titel 1">
            <a:extLst>
              <a:ext uri="{FF2B5EF4-FFF2-40B4-BE49-F238E27FC236}">
                <a16:creationId xmlns:a16="http://schemas.microsoft.com/office/drawing/2014/main" id="{5B37C216-2900-617A-3A68-E8C71F39D530}"/>
              </a:ext>
            </a:extLst>
          </p:cNvPr>
          <p:cNvSpPr txBox="1">
            <a:spLocks/>
          </p:cNvSpPr>
          <p:nvPr/>
        </p:nvSpPr>
        <p:spPr>
          <a:xfrm>
            <a:off x="73480" y="375546"/>
            <a:ext cx="3829050" cy="184666"/>
          </a:xfrm>
          <a:prstGeom prst="rect">
            <a:avLst/>
          </a:prstGeom>
        </p:spPr>
        <p:txBody>
          <a:bodyPr vert="horz" wrap="square" lIns="0" tIns="0" rIns="0" bIns="0" rtlCol="0" anchor="ctr">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200" b="0" i="0" u="none" strike="noStrike" kern="1200" cap="none" spc="0" normalizeH="0" baseline="0" noProof="0">
                <a:ln w="3175">
                  <a:noFill/>
                </a:ln>
                <a:solidFill>
                  <a:srgbClr val="FFFFFF"/>
                </a:solidFill>
                <a:effectLst/>
                <a:uLnTx/>
                <a:uFillTx/>
                <a:latin typeface="Segoe UI Semibold"/>
                <a:ea typeface="+mn-ea"/>
                <a:cs typeface="Segoe UI" pitchFamily="34" charset="0"/>
              </a:rPr>
              <a:t>Customer: (insert customer name)</a:t>
            </a:r>
          </a:p>
        </p:txBody>
      </p:sp>
      <p:sp>
        <p:nvSpPr>
          <p:cNvPr id="13" name="Textplatzhalter 2">
            <a:extLst>
              <a:ext uri="{FF2B5EF4-FFF2-40B4-BE49-F238E27FC236}">
                <a16:creationId xmlns:a16="http://schemas.microsoft.com/office/drawing/2014/main" id="{486EDFAD-DC1B-4196-2B7F-9A3CCC9A2284}"/>
              </a:ext>
            </a:extLst>
          </p:cNvPr>
          <p:cNvSpPr txBox="1">
            <a:spLocks/>
          </p:cNvSpPr>
          <p:nvPr/>
        </p:nvSpPr>
        <p:spPr>
          <a:xfrm>
            <a:off x="4959803" y="133545"/>
            <a:ext cx="4192361" cy="373100"/>
          </a:xfrm>
          <a:prstGeom prst="rect">
            <a:avLst/>
          </a:prstGeom>
        </p:spPr>
        <p:txBody>
          <a:bodyPr lIns="0" tIns="0" rIns="0" bIns="0" anchor="t"/>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0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Aligned Strategic Priority:</a:t>
            </a:r>
          </a:p>
        </p:txBody>
      </p:sp>
      <p:sp>
        <p:nvSpPr>
          <p:cNvPr id="8" name="Rectangle 7">
            <a:extLst>
              <a:ext uri="{FF2B5EF4-FFF2-40B4-BE49-F238E27FC236}">
                <a16:creationId xmlns:a16="http://schemas.microsoft.com/office/drawing/2014/main" id="{B1925F69-A493-5540-27A7-643D139D6DD0}"/>
              </a:ext>
            </a:extLst>
          </p:cNvPr>
          <p:cNvSpPr>
            <a:spLocks/>
          </p:cNvSpPr>
          <p:nvPr/>
        </p:nvSpPr>
        <p:spPr bwMode="auto">
          <a:xfrm>
            <a:off x="74234" y="1038226"/>
            <a:ext cx="3207130" cy="5765604"/>
          </a:xfrm>
          <a:prstGeom prst="rect">
            <a:avLst/>
          </a:prstGeom>
          <a:solidFill>
            <a:schemeClr val="bg1">
              <a:alpha val="99000"/>
            </a:schemeClr>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US" sz="900" b="1" i="0" u="none" strike="noStrike" kern="1200" cap="none" spc="0" normalizeH="0" baseline="0" noProof="0">
                <a:ln>
                  <a:noFill/>
                </a:ln>
                <a:solidFill>
                  <a:srgbClr val="000000">
                    <a:lumMod val="65000"/>
                    <a:lumOff val="35000"/>
                  </a:srgbClr>
                </a:solidFill>
                <a:effectLst/>
                <a:uLnTx/>
                <a:uFillTx/>
                <a:latin typeface="Aptos"/>
                <a:ea typeface="+mn-ea"/>
                <a:cs typeface="+mn-cs"/>
              </a:rPr>
              <a:t>Use Cases</a:t>
            </a: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US" sz="900" b="0" i="0" u="none" strike="noStrike" kern="1200" cap="none" spc="0" normalizeH="0" baseline="0" noProof="0">
                <a:ln>
                  <a:noFill/>
                </a:ln>
                <a:solidFill>
                  <a:srgbClr val="000000">
                    <a:lumMod val="65000"/>
                    <a:lumOff val="35000"/>
                  </a:srgbClr>
                </a:solidFill>
                <a:effectLst/>
                <a:uLnTx/>
                <a:uFillTx/>
                <a:latin typeface="Aptos"/>
                <a:ea typeface="+mn-ea"/>
                <a:cs typeface="+mn-cs"/>
              </a:rPr>
              <a:t>Document the Use Cases e.g. </a:t>
            </a: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endParaRPr kumimoji="0" lang="en-US" sz="900" b="0" i="0" u="none" strike="noStrike" kern="1200" cap="none" spc="0" normalizeH="0" baseline="0" noProof="0">
              <a:ln>
                <a:noFill/>
              </a:ln>
              <a:solidFill>
                <a:srgbClr val="000000">
                  <a:lumMod val="65000"/>
                  <a:lumOff val="35000"/>
                </a:srgbClr>
              </a:solidFill>
              <a:effectLst/>
              <a:uLnTx/>
              <a:uFillTx/>
              <a:latin typeface="Aptos"/>
              <a:ea typeface="+mn-ea"/>
              <a:cs typeface="+mn-cs"/>
            </a:endParaRP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US" sz="900" b="1" i="0" u="none" strike="noStrike" kern="1200" cap="none" spc="0" normalizeH="0" baseline="0" noProof="0">
                <a:ln>
                  <a:noFill/>
                </a:ln>
                <a:solidFill>
                  <a:srgbClr val="000000">
                    <a:lumMod val="65000"/>
                    <a:lumOff val="35000"/>
                  </a:srgbClr>
                </a:solidFill>
                <a:effectLst/>
                <a:uLnTx/>
                <a:uFillTx/>
                <a:latin typeface="Aptos"/>
                <a:ea typeface="+mn-ea"/>
                <a:cs typeface="+mn-cs"/>
              </a:rPr>
              <a:t>AI-Powered Customer Service Chatbot: </a:t>
            </a:r>
            <a:r>
              <a:rPr kumimoji="0" lang="en-US" sz="900" b="0" i="0" u="none" strike="noStrike" kern="1200" cap="none" spc="0" normalizeH="0" baseline="0" noProof="0">
                <a:ln>
                  <a:noFill/>
                </a:ln>
                <a:solidFill>
                  <a:srgbClr val="000000">
                    <a:lumMod val="65000"/>
                    <a:lumOff val="35000"/>
                  </a:srgbClr>
                </a:solidFill>
                <a:effectLst/>
                <a:uLnTx/>
                <a:uFillTx/>
                <a:latin typeface="Aptos"/>
                <a:ea typeface="+mn-ea"/>
                <a:cs typeface="+mn-cs"/>
              </a:rPr>
              <a:t>Implement an AI-powered chatbot that can handle return and exchange requests. The chatbot can provide instant responses, reducing wait times. It can also be integrated with the customer database to have context about the customer’s purchases, eliminating the need for the customer to provide proof of purchase.</a:t>
            </a:r>
          </a:p>
        </p:txBody>
      </p:sp>
      <p:sp>
        <p:nvSpPr>
          <p:cNvPr id="9" name="Rectangle 8">
            <a:extLst>
              <a:ext uri="{FF2B5EF4-FFF2-40B4-BE49-F238E27FC236}">
                <a16:creationId xmlns:a16="http://schemas.microsoft.com/office/drawing/2014/main" id="{460E6286-41AA-E312-B65D-63C6B31149CD}"/>
              </a:ext>
            </a:extLst>
          </p:cNvPr>
          <p:cNvSpPr>
            <a:spLocks/>
          </p:cNvSpPr>
          <p:nvPr/>
        </p:nvSpPr>
        <p:spPr bwMode="auto">
          <a:xfrm>
            <a:off x="3390900" y="1038226"/>
            <a:ext cx="8507949" cy="5736451"/>
          </a:xfrm>
          <a:prstGeom prst="rect">
            <a:avLst/>
          </a:prstGeom>
          <a:solidFill>
            <a:schemeClr val="bg1">
              <a:alpha val="99000"/>
            </a:schemeClr>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US" sz="900" b="1" i="0" u="none" strike="noStrike" kern="1200" cap="none" spc="0" normalizeH="0" baseline="0" noProof="0">
                <a:ln>
                  <a:noFill/>
                </a:ln>
                <a:solidFill>
                  <a:srgbClr val="000000">
                    <a:lumMod val="65000"/>
                    <a:lumOff val="35000"/>
                  </a:srgbClr>
                </a:solidFill>
                <a:effectLst/>
                <a:uLnTx/>
                <a:uFillTx/>
                <a:latin typeface="Aptos"/>
                <a:ea typeface="+mn-ea"/>
                <a:cs typeface="+mn-cs"/>
              </a:rPr>
              <a:t>Business Requirements</a:t>
            </a: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lang="en-US" sz="800">
                <a:solidFill>
                  <a:srgbClr val="000000">
                    <a:lumMod val="65000"/>
                    <a:lumOff val="35000"/>
                  </a:srgbClr>
                </a:solidFill>
                <a:latin typeface="Aptos"/>
              </a:rPr>
              <a:t>Capture and document the business requirements for each Use Case e.g., </a:t>
            </a: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endParaRPr lang="en-US" sz="800" b="1">
              <a:solidFill>
                <a:srgbClr val="000000">
                  <a:lumMod val="65000"/>
                  <a:lumOff val="35000"/>
                </a:srgbClr>
              </a:solidFill>
              <a:latin typeface="Aptos"/>
            </a:endParaRP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US" sz="800" b="1" i="0" u="none" strike="noStrike" kern="1200" cap="none" spc="0" normalizeH="0" baseline="0" noProof="0">
                <a:ln>
                  <a:noFill/>
                </a:ln>
                <a:solidFill>
                  <a:srgbClr val="000000">
                    <a:lumMod val="65000"/>
                    <a:lumOff val="35000"/>
                  </a:srgbClr>
                </a:solidFill>
                <a:effectLst/>
                <a:uLnTx/>
                <a:uFillTx/>
                <a:latin typeface="Aptos"/>
                <a:ea typeface="+mn-ea"/>
                <a:cs typeface="+mn-cs"/>
              </a:rPr>
              <a:t>Business Use Case: AI-Powered Customer Service Chatbot.</a:t>
            </a:r>
            <a:r>
              <a:rPr kumimoji="0" lang="en-US" sz="800" b="0" i="0" u="none" strike="noStrike" kern="1200" cap="none" spc="0" normalizeH="0" baseline="0" noProof="0">
                <a:ln>
                  <a:noFill/>
                </a:ln>
                <a:solidFill>
                  <a:srgbClr val="000000">
                    <a:lumMod val="65000"/>
                    <a:lumOff val="35000"/>
                  </a:srgbClr>
                </a:solidFill>
                <a:effectLst/>
                <a:uLnTx/>
                <a:uFillTx/>
                <a:latin typeface="Aptos"/>
                <a:ea typeface="+mn-ea"/>
                <a:cs typeface="+mn-cs"/>
              </a:rPr>
              <a:t> Here are the possible Business Requirements:</a:t>
            </a: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US" sz="800" b="0" i="0" u="none" strike="noStrike" kern="1200" cap="none" spc="0" normalizeH="0" baseline="0" noProof="0">
                <a:ln>
                  <a:noFill/>
                </a:ln>
                <a:solidFill>
                  <a:srgbClr val="000000">
                    <a:lumMod val="65000"/>
                    <a:lumOff val="35000"/>
                  </a:srgbClr>
                </a:solidFill>
                <a:effectLst/>
                <a:uLnTx/>
                <a:uFillTx/>
                <a:latin typeface="Aptos"/>
                <a:ea typeface="+mn-ea"/>
                <a:cs typeface="+mn-cs"/>
              </a:rPr>
              <a:t>Chatbot Integration: The chatbot should be integrated with the existing customer service platform and should be able to handle return and exchange requests.</a:t>
            </a: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US" sz="800" b="0" i="0" u="none" strike="noStrike" kern="1200" cap="none" spc="0" normalizeH="0" baseline="0" noProof="0">
                <a:ln>
                  <a:noFill/>
                </a:ln>
                <a:solidFill>
                  <a:srgbClr val="000000">
                    <a:lumMod val="65000"/>
                    <a:lumOff val="35000"/>
                  </a:srgbClr>
                </a:solidFill>
                <a:effectLst/>
                <a:uLnTx/>
                <a:uFillTx/>
                <a:latin typeface="Aptos"/>
                <a:ea typeface="+mn-ea"/>
                <a:cs typeface="+mn-cs"/>
              </a:rPr>
              <a:t>Instant Responses: The chatbot should be designed to provide instant responses to customer queries, reducing wait times.</a:t>
            </a: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US" sz="800" b="0" i="0" u="none" strike="noStrike" kern="1200" cap="none" spc="0" normalizeH="0" baseline="0" noProof="0">
                <a:ln>
                  <a:noFill/>
                </a:ln>
                <a:solidFill>
                  <a:srgbClr val="000000">
                    <a:lumMod val="65000"/>
                    <a:lumOff val="35000"/>
                  </a:srgbClr>
                </a:solidFill>
                <a:effectLst/>
                <a:uLnTx/>
                <a:uFillTx/>
                <a:latin typeface="Aptos"/>
                <a:ea typeface="+mn-ea"/>
                <a:cs typeface="+mn-cs"/>
              </a:rPr>
              <a:t>Customer Database Access: The chatbot should have access to the customer database to retrieve purchase history and other relevant information. This eliminates the need for customers to provide proof of purchase during return/exchange requests.</a:t>
            </a: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US" sz="800" b="0" i="0" u="none" strike="noStrike" kern="1200" cap="none" spc="0" normalizeH="0" baseline="0" noProof="0">
                <a:ln>
                  <a:noFill/>
                </a:ln>
                <a:solidFill>
                  <a:srgbClr val="000000">
                    <a:lumMod val="65000"/>
                    <a:lumOff val="35000"/>
                  </a:srgbClr>
                </a:solidFill>
                <a:effectLst/>
                <a:uLnTx/>
                <a:uFillTx/>
                <a:latin typeface="Aptos"/>
                <a:ea typeface="+mn-ea"/>
                <a:cs typeface="+mn-cs"/>
              </a:rPr>
              <a:t>Natural Language Processing: The chatbot should be equipped with Natural Language Processing capabilities to understand and respond to customer queries effectively.</a:t>
            </a: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US" sz="800" b="0" i="0" u="none" strike="noStrike" kern="1200" cap="none" spc="0" normalizeH="0" baseline="0" noProof="0">
                <a:ln>
                  <a:noFill/>
                </a:ln>
                <a:solidFill>
                  <a:srgbClr val="000000">
                    <a:lumMod val="65000"/>
                    <a:lumOff val="35000"/>
                  </a:srgbClr>
                </a:solidFill>
                <a:effectLst/>
                <a:uLnTx/>
                <a:uFillTx/>
                <a:latin typeface="Aptos"/>
                <a:ea typeface="+mn-ea"/>
                <a:cs typeface="+mn-cs"/>
              </a:rPr>
              <a:t>Escalation Protocol: The chatbot should have a defined escalation protocol to transfer the conversation to a human agent when necessary.</a:t>
            </a: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US" sz="800" b="0" i="0" u="none" strike="noStrike" kern="1200" cap="none" spc="0" normalizeH="0" baseline="0" noProof="0">
                <a:ln>
                  <a:noFill/>
                </a:ln>
                <a:solidFill>
                  <a:srgbClr val="000000">
                    <a:lumMod val="65000"/>
                    <a:lumOff val="35000"/>
                  </a:srgbClr>
                </a:solidFill>
                <a:effectLst/>
                <a:uLnTx/>
                <a:uFillTx/>
                <a:latin typeface="Aptos"/>
                <a:ea typeface="+mn-ea"/>
                <a:cs typeface="+mn-cs"/>
              </a:rPr>
              <a:t>Continuous Learning: The chatbot should have the ability to learn from each interaction to improve its responses over time.</a:t>
            </a:r>
          </a:p>
        </p:txBody>
      </p:sp>
      <p:sp>
        <p:nvSpPr>
          <p:cNvPr id="17" name="Textplatzhalter 2">
            <a:extLst>
              <a:ext uri="{FF2B5EF4-FFF2-40B4-BE49-F238E27FC236}">
                <a16:creationId xmlns:a16="http://schemas.microsoft.com/office/drawing/2014/main" id="{6BC61003-C8B1-66EE-AD30-B75619BAEA38}"/>
              </a:ext>
            </a:extLst>
          </p:cNvPr>
          <p:cNvSpPr txBox="1">
            <a:spLocks/>
          </p:cNvSpPr>
          <p:nvPr/>
        </p:nvSpPr>
        <p:spPr>
          <a:xfrm>
            <a:off x="9380764" y="130060"/>
            <a:ext cx="2622096" cy="646934"/>
          </a:xfrm>
          <a:prstGeom prst="rect">
            <a:avLst/>
          </a:prstGeom>
        </p:spPr>
        <p:txBody>
          <a:bodyPr lIns="0" tIns="0" rIns="0" bIns="0" anchor="t"/>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9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Business Use Case Prioritization</a:t>
            </a:r>
          </a:p>
          <a:p>
            <a:pPr marL="228600" marR="0" lvl="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AutoNum type="arabicPeriod"/>
              <a:tabLst/>
              <a:defRPr/>
            </a:pPr>
            <a:r>
              <a:rPr kumimoji="0" lang="en-US" sz="9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Business Value:  L to H (1 – 5)</a:t>
            </a:r>
          </a:p>
          <a:p>
            <a:pPr marL="228600" marR="0" lvl="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AutoNum type="arabicPeriod"/>
              <a:tabLst/>
              <a:defRPr/>
            </a:pPr>
            <a:r>
              <a:rPr kumimoji="0" lang="en-US" sz="9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Implementation Effort: H to L (1 – 5) </a:t>
            </a:r>
          </a:p>
        </p:txBody>
      </p:sp>
      <p:sp>
        <p:nvSpPr>
          <p:cNvPr id="19" name="Titel 1">
            <a:extLst>
              <a:ext uri="{FF2B5EF4-FFF2-40B4-BE49-F238E27FC236}">
                <a16:creationId xmlns:a16="http://schemas.microsoft.com/office/drawing/2014/main" id="{218309D3-BBDC-0361-B61F-3A2A497C51AD}"/>
              </a:ext>
            </a:extLst>
          </p:cNvPr>
          <p:cNvSpPr txBox="1">
            <a:spLocks/>
          </p:cNvSpPr>
          <p:nvPr/>
        </p:nvSpPr>
        <p:spPr>
          <a:xfrm>
            <a:off x="73478" y="631203"/>
            <a:ext cx="8837159" cy="184666"/>
          </a:xfrm>
          <a:prstGeom prst="rect">
            <a:avLst/>
          </a:prstGeom>
        </p:spPr>
        <p:txBody>
          <a:bodyPr vert="horz" wrap="square" lIns="0" tIns="0" rIns="0" bIns="0" rtlCol="0" anchor="ctr">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200" b="0" i="0" u="none" strike="noStrike" kern="1200" cap="none" spc="0" normalizeH="0" baseline="0" noProof="0">
                <a:ln w="3175">
                  <a:noFill/>
                </a:ln>
                <a:solidFill>
                  <a:srgbClr val="FFFFFF"/>
                </a:solidFill>
                <a:effectLst/>
                <a:uLnTx/>
                <a:uFillTx/>
                <a:latin typeface="Segoe UI Semibold"/>
                <a:ea typeface="+mn-ea"/>
                <a:cs typeface="Segoe UI" pitchFamily="34" charset="0"/>
              </a:rPr>
              <a:t>Business Process Challenge: (insert challenge statement)</a:t>
            </a:r>
          </a:p>
        </p:txBody>
      </p:sp>
    </p:spTree>
    <p:extLst>
      <p:ext uri="{BB962C8B-B14F-4D97-AF65-F5344CB8AC3E}">
        <p14:creationId xmlns:p14="http://schemas.microsoft.com/office/powerpoint/2010/main" val="2749062687"/>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A00EAC9-804C-3F99-DB92-1E430FC3D793}"/>
              </a:ext>
              <a:ext uri="{C183D7F6-B498-43B3-948B-1728B52AA6E4}">
                <adec:decorative xmlns:adec="http://schemas.microsoft.com/office/drawing/2017/decorative" val="1"/>
              </a:ext>
            </a:extLst>
          </p:cNvPr>
          <p:cNvSpPr/>
          <p:nvPr/>
        </p:nvSpPr>
        <p:spPr bwMode="auto">
          <a:xfrm>
            <a:off x="0" y="-1806"/>
            <a:ext cx="12192000" cy="853975"/>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 name="Title 61">
            <a:extLst>
              <a:ext uri="{FF2B5EF4-FFF2-40B4-BE49-F238E27FC236}">
                <a16:creationId xmlns:a16="http://schemas.microsoft.com/office/drawing/2014/main" id="{41D7FB24-6AD6-DB9E-FFCD-588F980E8F47}"/>
              </a:ext>
            </a:extLst>
          </p:cNvPr>
          <p:cNvSpPr txBox="1">
            <a:spLocks/>
          </p:cNvSpPr>
          <p:nvPr/>
        </p:nvSpPr>
        <p:spPr>
          <a:xfrm>
            <a:off x="73478" y="-1806"/>
            <a:ext cx="4338176" cy="373100"/>
          </a:xfrm>
          <a:prstGeom prst="rect">
            <a:avLst/>
          </a:prstGeom>
        </p:spPr>
        <p:txBody>
          <a:bodyPr/>
          <a:lstStyle>
            <a:lvl1pPr algn="l" defTabSz="932742" rtl="0" eaLnBrk="1" latinLnBrk="0" hangingPunct="1">
              <a:lnSpc>
                <a:spcPct val="100000"/>
              </a:lnSpc>
              <a:spcBef>
                <a:spcPct val="0"/>
              </a:spcBef>
              <a:buNone/>
              <a:defRPr lang="en-US" sz="2000" b="0" kern="1200" cap="none" spc="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dirty="0">
                <a:ln w="3175">
                  <a:noFill/>
                </a:ln>
                <a:solidFill>
                  <a:srgbClr val="FFFFFF"/>
                </a:solidFill>
                <a:effectLst/>
                <a:uLnTx/>
                <a:uFillTx/>
                <a:latin typeface="Aptos SemiBold"/>
                <a:ea typeface="+mn-ea"/>
                <a:cs typeface="Segoe UI" pitchFamily="34" charset="0"/>
              </a:rPr>
              <a:t>AI Use Cases Discovery</a:t>
            </a:r>
          </a:p>
        </p:txBody>
      </p:sp>
      <p:sp>
        <p:nvSpPr>
          <p:cNvPr id="4" name="Titel 1">
            <a:extLst>
              <a:ext uri="{FF2B5EF4-FFF2-40B4-BE49-F238E27FC236}">
                <a16:creationId xmlns:a16="http://schemas.microsoft.com/office/drawing/2014/main" id="{5B37C216-2900-617A-3A68-E8C71F39D530}"/>
              </a:ext>
            </a:extLst>
          </p:cNvPr>
          <p:cNvSpPr txBox="1">
            <a:spLocks/>
          </p:cNvSpPr>
          <p:nvPr/>
        </p:nvSpPr>
        <p:spPr>
          <a:xfrm>
            <a:off x="73480" y="375546"/>
            <a:ext cx="3829050" cy="184666"/>
          </a:xfrm>
          <a:prstGeom prst="rect">
            <a:avLst/>
          </a:prstGeom>
        </p:spPr>
        <p:txBody>
          <a:bodyPr vert="horz" wrap="square" lIns="0" tIns="0" rIns="0" bIns="0" rtlCol="0" anchor="ctr">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200" b="0" i="0" u="none" strike="noStrike" kern="1200" cap="none" spc="0" normalizeH="0" baseline="0" noProof="0">
                <a:ln w="3175">
                  <a:noFill/>
                </a:ln>
                <a:solidFill>
                  <a:srgbClr val="FFFFFF"/>
                </a:solidFill>
                <a:effectLst/>
                <a:uLnTx/>
                <a:uFillTx/>
                <a:latin typeface="Segoe UI Semibold"/>
                <a:ea typeface="+mn-ea"/>
                <a:cs typeface="Segoe UI" pitchFamily="34" charset="0"/>
              </a:rPr>
              <a:t>Customer: (insert customer name)</a:t>
            </a:r>
          </a:p>
        </p:txBody>
      </p:sp>
      <p:sp>
        <p:nvSpPr>
          <p:cNvPr id="13" name="Textplatzhalter 2">
            <a:extLst>
              <a:ext uri="{FF2B5EF4-FFF2-40B4-BE49-F238E27FC236}">
                <a16:creationId xmlns:a16="http://schemas.microsoft.com/office/drawing/2014/main" id="{486EDFAD-DC1B-4196-2B7F-9A3CCC9A2284}"/>
              </a:ext>
            </a:extLst>
          </p:cNvPr>
          <p:cNvSpPr txBox="1">
            <a:spLocks/>
          </p:cNvSpPr>
          <p:nvPr/>
        </p:nvSpPr>
        <p:spPr>
          <a:xfrm>
            <a:off x="4959803" y="133545"/>
            <a:ext cx="4192361" cy="373100"/>
          </a:xfrm>
          <a:prstGeom prst="rect">
            <a:avLst/>
          </a:prstGeom>
        </p:spPr>
        <p:txBody>
          <a:bodyPr lIns="0" tIns="0" rIns="0" bIns="0" anchor="t"/>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0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Aligned Strategic Priority:</a:t>
            </a:r>
          </a:p>
        </p:txBody>
      </p:sp>
      <p:sp>
        <p:nvSpPr>
          <p:cNvPr id="8" name="Rectangle 7">
            <a:extLst>
              <a:ext uri="{FF2B5EF4-FFF2-40B4-BE49-F238E27FC236}">
                <a16:creationId xmlns:a16="http://schemas.microsoft.com/office/drawing/2014/main" id="{B1925F69-A493-5540-27A7-643D139D6DD0}"/>
              </a:ext>
            </a:extLst>
          </p:cNvPr>
          <p:cNvSpPr>
            <a:spLocks/>
          </p:cNvSpPr>
          <p:nvPr/>
        </p:nvSpPr>
        <p:spPr bwMode="auto">
          <a:xfrm>
            <a:off x="74234" y="1038226"/>
            <a:ext cx="3207130" cy="5765604"/>
          </a:xfrm>
          <a:prstGeom prst="rect">
            <a:avLst/>
          </a:prstGeom>
          <a:solidFill>
            <a:schemeClr val="bg1">
              <a:alpha val="99000"/>
            </a:schemeClr>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US" sz="900" b="1" i="0" u="none" strike="noStrike" kern="1200" cap="none" spc="0" normalizeH="0" baseline="0" noProof="0">
                <a:ln>
                  <a:noFill/>
                </a:ln>
                <a:solidFill>
                  <a:srgbClr val="000000">
                    <a:lumMod val="65000"/>
                    <a:lumOff val="35000"/>
                  </a:srgbClr>
                </a:solidFill>
                <a:effectLst/>
                <a:uLnTx/>
                <a:uFillTx/>
                <a:latin typeface="Aptos"/>
                <a:ea typeface="+mn-ea"/>
                <a:cs typeface="+mn-cs"/>
              </a:rPr>
              <a:t>Use Cases</a:t>
            </a:r>
          </a:p>
          <a:p>
            <a:pPr defTabSz="914400">
              <a:spcAft>
                <a:spcPts val="200"/>
              </a:spcAft>
              <a:defRPr/>
            </a:pPr>
            <a:r>
              <a:rPr kumimoji="0" lang="en-US" sz="900" b="0" i="0" u="none" strike="noStrike" kern="1200" cap="none" spc="0" normalizeH="0" baseline="0" noProof="0">
                <a:ln>
                  <a:noFill/>
                </a:ln>
                <a:solidFill>
                  <a:srgbClr val="000000">
                    <a:lumMod val="65000"/>
                    <a:lumOff val="35000"/>
                  </a:srgbClr>
                </a:solidFill>
                <a:effectLst/>
                <a:uLnTx/>
                <a:uFillTx/>
                <a:latin typeface="Aptos"/>
                <a:ea typeface="+mn-ea"/>
                <a:cs typeface="+mn-cs"/>
              </a:rPr>
              <a:t>Document the Use Cases (copy from </a:t>
            </a:r>
            <a:r>
              <a:rPr lang="en-US" sz="900">
                <a:solidFill>
                  <a:srgbClr val="000000">
                    <a:lumMod val="65000"/>
                    <a:lumOff val="35000"/>
                  </a:srgbClr>
                </a:solidFill>
                <a:latin typeface="Aptos"/>
              </a:rPr>
              <a:t>previous slide if as second slide is needed to capture the Business Requirements for each use case.</a:t>
            </a:r>
            <a:endParaRPr kumimoji="0" lang="en-US" sz="900" b="0" i="0" u="none" strike="noStrike" kern="1200" cap="none" spc="0" normalizeH="0" baseline="0" noProof="0">
              <a:ln>
                <a:noFill/>
              </a:ln>
              <a:solidFill>
                <a:srgbClr val="000000">
                  <a:lumMod val="65000"/>
                  <a:lumOff val="35000"/>
                </a:srgbClr>
              </a:solidFill>
              <a:effectLst/>
              <a:uLnTx/>
              <a:uFillTx/>
              <a:latin typeface="Aptos"/>
              <a:ea typeface="+mn-ea"/>
              <a:cs typeface="+mn-cs"/>
            </a:endParaRP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endParaRPr kumimoji="0" lang="en-US" sz="900" b="0" i="0" u="none" strike="noStrike" kern="1200" cap="none" spc="0" normalizeH="0" baseline="0" noProof="0">
              <a:ln>
                <a:noFill/>
              </a:ln>
              <a:solidFill>
                <a:srgbClr val="000000">
                  <a:lumMod val="65000"/>
                  <a:lumOff val="35000"/>
                </a:srgbClr>
              </a:solidFill>
              <a:effectLst/>
              <a:uLnTx/>
              <a:uFillTx/>
              <a:latin typeface="Aptos"/>
              <a:ea typeface="+mn-ea"/>
              <a:cs typeface="+mn-cs"/>
            </a:endParaRPr>
          </a:p>
        </p:txBody>
      </p:sp>
      <p:sp>
        <p:nvSpPr>
          <p:cNvPr id="9" name="Rectangle 8">
            <a:extLst>
              <a:ext uri="{FF2B5EF4-FFF2-40B4-BE49-F238E27FC236}">
                <a16:creationId xmlns:a16="http://schemas.microsoft.com/office/drawing/2014/main" id="{460E6286-41AA-E312-B65D-63C6B31149CD}"/>
              </a:ext>
            </a:extLst>
          </p:cNvPr>
          <p:cNvSpPr>
            <a:spLocks/>
          </p:cNvSpPr>
          <p:nvPr/>
        </p:nvSpPr>
        <p:spPr bwMode="auto">
          <a:xfrm>
            <a:off x="3390900" y="1038226"/>
            <a:ext cx="8507949" cy="5736451"/>
          </a:xfrm>
          <a:prstGeom prst="rect">
            <a:avLst/>
          </a:prstGeom>
          <a:solidFill>
            <a:schemeClr val="bg1">
              <a:alpha val="99000"/>
            </a:schemeClr>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US" sz="1000" b="1" i="0" u="none" strike="noStrike" kern="1200" cap="none" spc="0" normalizeH="0" baseline="0" noProof="0">
                <a:ln>
                  <a:noFill/>
                </a:ln>
                <a:solidFill>
                  <a:srgbClr val="000000">
                    <a:lumMod val="65000"/>
                    <a:lumOff val="35000"/>
                  </a:srgbClr>
                </a:solidFill>
                <a:effectLst/>
                <a:uLnTx/>
                <a:uFillTx/>
                <a:latin typeface="Aptos"/>
                <a:ea typeface="+mn-ea"/>
                <a:cs typeface="+mn-cs"/>
              </a:rPr>
              <a:t>Business Requirements</a:t>
            </a: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lang="en-US" sz="1000">
                <a:solidFill>
                  <a:srgbClr val="000000">
                    <a:lumMod val="65000"/>
                    <a:lumOff val="35000"/>
                  </a:srgbClr>
                </a:solidFill>
                <a:latin typeface="Aptos"/>
              </a:rPr>
              <a:t>Continue with capture and documenting the business requirements for each Use Case</a:t>
            </a:r>
            <a:endParaRPr kumimoji="0" lang="en-US" sz="1000" b="0" i="0" u="none" strike="noStrike" kern="1200" cap="none" spc="0" normalizeH="0" baseline="0" noProof="0">
              <a:ln>
                <a:noFill/>
              </a:ln>
              <a:solidFill>
                <a:srgbClr val="000000">
                  <a:lumMod val="65000"/>
                  <a:lumOff val="35000"/>
                </a:srgbClr>
              </a:solidFill>
              <a:effectLst/>
              <a:uLnTx/>
              <a:uFillTx/>
              <a:latin typeface="Aptos"/>
              <a:ea typeface="+mn-ea"/>
              <a:cs typeface="+mn-cs"/>
            </a:endParaRPr>
          </a:p>
        </p:txBody>
      </p:sp>
      <p:sp>
        <p:nvSpPr>
          <p:cNvPr id="17" name="Textplatzhalter 2">
            <a:extLst>
              <a:ext uri="{FF2B5EF4-FFF2-40B4-BE49-F238E27FC236}">
                <a16:creationId xmlns:a16="http://schemas.microsoft.com/office/drawing/2014/main" id="{6BC61003-C8B1-66EE-AD30-B75619BAEA38}"/>
              </a:ext>
            </a:extLst>
          </p:cNvPr>
          <p:cNvSpPr txBox="1">
            <a:spLocks/>
          </p:cNvSpPr>
          <p:nvPr/>
        </p:nvSpPr>
        <p:spPr>
          <a:xfrm>
            <a:off x="9380764" y="130060"/>
            <a:ext cx="2622096" cy="646934"/>
          </a:xfrm>
          <a:prstGeom prst="rect">
            <a:avLst/>
          </a:prstGeom>
        </p:spPr>
        <p:txBody>
          <a:bodyPr lIns="0" tIns="0" rIns="0" bIns="0" anchor="t"/>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9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Business Use Case Prioritization</a:t>
            </a:r>
          </a:p>
          <a:p>
            <a:pPr marL="228600" marR="0" lvl="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AutoNum type="arabicPeriod"/>
              <a:tabLst/>
              <a:defRPr/>
            </a:pPr>
            <a:r>
              <a:rPr kumimoji="0" lang="en-US" sz="9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Business Value:  L to H (1 – 5)</a:t>
            </a:r>
          </a:p>
          <a:p>
            <a:pPr marL="228600" marR="0" lvl="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AutoNum type="arabicPeriod"/>
              <a:tabLst/>
              <a:defRPr/>
            </a:pPr>
            <a:r>
              <a:rPr kumimoji="0" lang="en-US" sz="9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Implementation Effort: H to L (1 – 5) </a:t>
            </a:r>
          </a:p>
        </p:txBody>
      </p:sp>
      <p:sp>
        <p:nvSpPr>
          <p:cNvPr id="19" name="Titel 1">
            <a:extLst>
              <a:ext uri="{FF2B5EF4-FFF2-40B4-BE49-F238E27FC236}">
                <a16:creationId xmlns:a16="http://schemas.microsoft.com/office/drawing/2014/main" id="{218309D3-BBDC-0361-B61F-3A2A497C51AD}"/>
              </a:ext>
            </a:extLst>
          </p:cNvPr>
          <p:cNvSpPr txBox="1">
            <a:spLocks/>
          </p:cNvSpPr>
          <p:nvPr/>
        </p:nvSpPr>
        <p:spPr>
          <a:xfrm>
            <a:off x="73478" y="631203"/>
            <a:ext cx="8837159" cy="184666"/>
          </a:xfrm>
          <a:prstGeom prst="rect">
            <a:avLst/>
          </a:prstGeom>
        </p:spPr>
        <p:txBody>
          <a:bodyPr vert="horz" wrap="square" lIns="0" tIns="0" rIns="0" bIns="0" rtlCol="0" anchor="ctr">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200" b="0" i="0" u="none" strike="noStrike" kern="1200" cap="none" spc="0" normalizeH="0" baseline="0" noProof="0">
                <a:ln w="3175">
                  <a:noFill/>
                </a:ln>
                <a:solidFill>
                  <a:srgbClr val="FFFFFF"/>
                </a:solidFill>
                <a:effectLst/>
                <a:uLnTx/>
                <a:uFillTx/>
                <a:latin typeface="Segoe UI Semibold"/>
                <a:ea typeface="+mn-ea"/>
                <a:cs typeface="Segoe UI" pitchFamily="34" charset="0"/>
              </a:rPr>
              <a:t>Business Process Challenge: (insert challenge statement)</a:t>
            </a:r>
          </a:p>
        </p:txBody>
      </p:sp>
    </p:spTree>
    <p:extLst>
      <p:ext uri="{BB962C8B-B14F-4D97-AF65-F5344CB8AC3E}">
        <p14:creationId xmlns:p14="http://schemas.microsoft.com/office/powerpoint/2010/main" val="723693885"/>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A00EAC9-804C-3F99-DB92-1E430FC3D793}"/>
              </a:ext>
              <a:ext uri="{C183D7F6-B498-43B3-948B-1728B52AA6E4}">
                <adec:decorative xmlns:adec="http://schemas.microsoft.com/office/drawing/2017/decorative" val="1"/>
              </a:ext>
            </a:extLst>
          </p:cNvPr>
          <p:cNvSpPr/>
          <p:nvPr/>
        </p:nvSpPr>
        <p:spPr bwMode="auto">
          <a:xfrm>
            <a:off x="0" y="-1806"/>
            <a:ext cx="12192000" cy="853975"/>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 name="Title 61">
            <a:extLst>
              <a:ext uri="{FF2B5EF4-FFF2-40B4-BE49-F238E27FC236}">
                <a16:creationId xmlns:a16="http://schemas.microsoft.com/office/drawing/2014/main" id="{41D7FB24-6AD6-DB9E-FFCD-588F980E8F47}"/>
              </a:ext>
            </a:extLst>
          </p:cNvPr>
          <p:cNvSpPr txBox="1">
            <a:spLocks/>
          </p:cNvSpPr>
          <p:nvPr/>
        </p:nvSpPr>
        <p:spPr>
          <a:xfrm>
            <a:off x="73478" y="-1806"/>
            <a:ext cx="4338176" cy="373100"/>
          </a:xfrm>
          <a:prstGeom prst="rect">
            <a:avLst/>
          </a:prstGeom>
        </p:spPr>
        <p:txBody>
          <a:bodyPr/>
          <a:lstStyle>
            <a:lvl1pPr algn="l" defTabSz="932742" rtl="0" eaLnBrk="1" latinLnBrk="0" hangingPunct="1">
              <a:lnSpc>
                <a:spcPct val="100000"/>
              </a:lnSpc>
              <a:spcBef>
                <a:spcPct val="0"/>
              </a:spcBef>
              <a:buNone/>
              <a:defRPr lang="en-US" sz="2000" b="0" kern="1200" cap="none" spc="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dirty="0">
                <a:ln w="3175">
                  <a:noFill/>
                </a:ln>
                <a:solidFill>
                  <a:srgbClr val="FFFFFF"/>
                </a:solidFill>
                <a:effectLst/>
                <a:uLnTx/>
                <a:uFillTx/>
                <a:latin typeface="Aptos SemiBold"/>
                <a:ea typeface="+mn-ea"/>
                <a:cs typeface="Segoe UI" pitchFamily="34" charset="0"/>
              </a:rPr>
              <a:t>AI Use Cases Discovery</a:t>
            </a:r>
          </a:p>
        </p:txBody>
      </p:sp>
      <p:sp>
        <p:nvSpPr>
          <p:cNvPr id="4" name="Titel 1">
            <a:extLst>
              <a:ext uri="{FF2B5EF4-FFF2-40B4-BE49-F238E27FC236}">
                <a16:creationId xmlns:a16="http://schemas.microsoft.com/office/drawing/2014/main" id="{5B37C216-2900-617A-3A68-E8C71F39D530}"/>
              </a:ext>
            </a:extLst>
          </p:cNvPr>
          <p:cNvSpPr txBox="1">
            <a:spLocks/>
          </p:cNvSpPr>
          <p:nvPr/>
        </p:nvSpPr>
        <p:spPr>
          <a:xfrm>
            <a:off x="73480" y="375546"/>
            <a:ext cx="3829050" cy="184666"/>
          </a:xfrm>
          <a:prstGeom prst="rect">
            <a:avLst/>
          </a:prstGeom>
        </p:spPr>
        <p:txBody>
          <a:bodyPr vert="horz" wrap="square" lIns="0" tIns="0" rIns="0" bIns="0" rtlCol="0" anchor="ctr">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200" b="0" i="0" u="none" strike="noStrike" kern="1200" cap="none" spc="0" normalizeH="0" baseline="0" noProof="0">
                <a:ln w="3175">
                  <a:noFill/>
                </a:ln>
                <a:solidFill>
                  <a:srgbClr val="FFFFFF"/>
                </a:solidFill>
                <a:effectLst/>
                <a:uLnTx/>
                <a:uFillTx/>
                <a:latin typeface="Segoe UI Semibold"/>
                <a:ea typeface="+mn-ea"/>
                <a:cs typeface="Segoe UI" pitchFamily="34" charset="0"/>
              </a:rPr>
              <a:t>Customer: (insert customer name)</a:t>
            </a:r>
          </a:p>
        </p:txBody>
      </p:sp>
      <p:sp>
        <p:nvSpPr>
          <p:cNvPr id="13" name="Textplatzhalter 2">
            <a:extLst>
              <a:ext uri="{FF2B5EF4-FFF2-40B4-BE49-F238E27FC236}">
                <a16:creationId xmlns:a16="http://schemas.microsoft.com/office/drawing/2014/main" id="{486EDFAD-DC1B-4196-2B7F-9A3CCC9A2284}"/>
              </a:ext>
            </a:extLst>
          </p:cNvPr>
          <p:cNvSpPr txBox="1">
            <a:spLocks/>
          </p:cNvSpPr>
          <p:nvPr/>
        </p:nvSpPr>
        <p:spPr>
          <a:xfrm>
            <a:off x="4959803" y="133545"/>
            <a:ext cx="4192361" cy="373100"/>
          </a:xfrm>
          <a:prstGeom prst="rect">
            <a:avLst/>
          </a:prstGeom>
        </p:spPr>
        <p:txBody>
          <a:bodyPr lIns="0" tIns="0" rIns="0" bIns="0" anchor="t"/>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0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Aligned Strategic Priority:</a:t>
            </a:r>
          </a:p>
        </p:txBody>
      </p:sp>
      <p:sp>
        <p:nvSpPr>
          <p:cNvPr id="8" name="Rectangle 7">
            <a:extLst>
              <a:ext uri="{FF2B5EF4-FFF2-40B4-BE49-F238E27FC236}">
                <a16:creationId xmlns:a16="http://schemas.microsoft.com/office/drawing/2014/main" id="{B1925F69-A493-5540-27A7-643D139D6DD0}"/>
              </a:ext>
            </a:extLst>
          </p:cNvPr>
          <p:cNvSpPr>
            <a:spLocks/>
          </p:cNvSpPr>
          <p:nvPr/>
        </p:nvSpPr>
        <p:spPr bwMode="auto">
          <a:xfrm>
            <a:off x="74234" y="1038226"/>
            <a:ext cx="3207130" cy="5765604"/>
          </a:xfrm>
          <a:prstGeom prst="rect">
            <a:avLst/>
          </a:prstGeom>
          <a:solidFill>
            <a:schemeClr val="bg1">
              <a:alpha val="99000"/>
            </a:schemeClr>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US" sz="900" b="1" i="0" u="none" strike="noStrike" kern="1200" cap="none" spc="0" normalizeH="0" baseline="0" noProof="0">
                <a:ln>
                  <a:noFill/>
                </a:ln>
                <a:solidFill>
                  <a:srgbClr val="000000">
                    <a:lumMod val="65000"/>
                    <a:lumOff val="35000"/>
                  </a:srgbClr>
                </a:solidFill>
                <a:effectLst/>
                <a:uLnTx/>
                <a:uFillTx/>
                <a:latin typeface="Aptos"/>
                <a:ea typeface="+mn-ea"/>
                <a:cs typeface="+mn-cs"/>
              </a:rPr>
              <a:t>Use Cases</a:t>
            </a: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US" sz="900" b="0" i="0" u="none" strike="noStrike" kern="1200" cap="none" spc="0" normalizeH="0" baseline="0" noProof="0">
                <a:ln>
                  <a:noFill/>
                </a:ln>
                <a:solidFill>
                  <a:srgbClr val="000000">
                    <a:lumMod val="65000"/>
                    <a:lumOff val="35000"/>
                  </a:srgbClr>
                </a:solidFill>
                <a:effectLst/>
                <a:uLnTx/>
                <a:uFillTx/>
                <a:latin typeface="Aptos"/>
                <a:ea typeface="+mn-ea"/>
                <a:cs typeface="+mn-cs"/>
              </a:rPr>
              <a:t>Copy </a:t>
            </a:r>
            <a:r>
              <a:rPr kumimoji="0" lang="en-US" sz="900" b="0" i="0" u="none" strike="noStrike" kern="1200" cap="none" spc="0" normalizeH="0" baseline="0" noProof="0" err="1">
                <a:ln>
                  <a:noFill/>
                </a:ln>
                <a:solidFill>
                  <a:srgbClr val="000000">
                    <a:lumMod val="65000"/>
                    <a:lumOff val="35000"/>
                  </a:srgbClr>
                </a:solidFill>
                <a:effectLst/>
                <a:uLnTx/>
                <a:uFillTx/>
                <a:latin typeface="Aptos"/>
                <a:ea typeface="+mn-ea"/>
                <a:cs typeface="+mn-cs"/>
              </a:rPr>
              <a:t>th</a:t>
            </a:r>
            <a:r>
              <a:rPr lang="en-US" sz="900">
                <a:solidFill>
                  <a:srgbClr val="000000">
                    <a:lumMod val="65000"/>
                    <a:lumOff val="35000"/>
                  </a:srgbClr>
                </a:solidFill>
                <a:latin typeface="Aptos"/>
              </a:rPr>
              <a:t>e list of business use cases.</a:t>
            </a:r>
            <a:endParaRPr kumimoji="0" lang="en-US" sz="900" b="0" i="0" u="none" strike="noStrike" kern="1200" cap="none" spc="0" normalizeH="0" baseline="0" noProof="0">
              <a:ln>
                <a:noFill/>
              </a:ln>
              <a:solidFill>
                <a:srgbClr val="000000">
                  <a:lumMod val="65000"/>
                  <a:lumOff val="35000"/>
                </a:srgbClr>
              </a:solidFill>
              <a:effectLst/>
              <a:uLnTx/>
              <a:uFillTx/>
              <a:latin typeface="Aptos"/>
              <a:ea typeface="+mn-ea"/>
              <a:cs typeface="+mn-cs"/>
            </a:endParaRPr>
          </a:p>
        </p:txBody>
      </p:sp>
      <p:sp>
        <p:nvSpPr>
          <p:cNvPr id="9" name="Rectangle 8">
            <a:extLst>
              <a:ext uri="{FF2B5EF4-FFF2-40B4-BE49-F238E27FC236}">
                <a16:creationId xmlns:a16="http://schemas.microsoft.com/office/drawing/2014/main" id="{460E6286-41AA-E312-B65D-63C6B31149CD}"/>
              </a:ext>
            </a:extLst>
          </p:cNvPr>
          <p:cNvSpPr>
            <a:spLocks/>
          </p:cNvSpPr>
          <p:nvPr/>
        </p:nvSpPr>
        <p:spPr bwMode="auto">
          <a:xfrm>
            <a:off x="3390900" y="1038226"/>
            <a:ext cx="8507949" cy="5736451"/>
          </a:xfrm>
          <a:prstGeom prst="rect">
            <a:avLst/>
          </a:prstGeom>
          <a:solidFill>
            <a:schemeClr val="bg1">
              <a:alpha val="99000"/>
            </a:schemeClr>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Segoe UI" panose="020B0502040204020203" pitchFamily="34" charset="0"/>
                <a:ea typeface="+mn-ea"/>
                <a:cs typeface="+mn-cs"/>
              </a:rPr>
              <a:t>Potential Use Cases &amp; Technical Patterns</a:t>
            </a:r>
            <a:endPar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UIVariable"/>
                <a:ea typeface="+mn-ea"/>
                <a:cs typeface="+mn-cs"/>
              </a:rPr>
              <a:t>Based on the provided sources, here are the potential use cases that could be part of a solution for Contoso Health’s Business Use Cases:</a:t>
            </a:r>
          </a:p>
        </p:txBody>
      </p:sp>
      <p:sp>
        <p:nvSpPr>
          <p:cNvPr id="17" name="Textplatzhalter 2">
            <a:extLst>
              <a:ext uri="{FF2B5EF4-FFF2-40B4-BE49-F238E27FC236}">
                <a16:creationId xmlns:a16="http://schemas.microsoft.com/office/drawing/2014/main" id="{6BC61003-C8B1-66EE-AD30-B75619BAEA38}"/>
              </a:ext>
            </a:extLst>
          </p:cNvPr>
          <p:cNvSpPr txBox="1">
            <a:spLocks/>
          </p:cNvSpPr>
          <p:nvPr/>
        </p:nvSpPr>
        <p:spPr>
          <a:xfrm>
            <a:off x="9380764" y="130060"/>
            <a:ext cx="2622096" cy="646934"/>
          </a:xfrm>
          <a:prstGeom prst="rect">
            <a:avLst/>
          </a:prstGeom>
        </p:spPr>
        <p:txBody>
          <a:bodyPr lIns="0" tIns="0" rIns="0" bIns="0" anchor="t"/>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9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Business Use Case Prioritization</a:t>
            </a:r>
          </a:p>
          <a:p>
            <a:pPr marL="228600" marR="0" lvl="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AutoNum type="arabicPeriod"/>
              <a:tabLst/>
              <a:defRPr/>
            </a:pPr>
            <a:r>
              <a:rPr kumimoji="0" lang="en-US" sz="9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Business Value:  L to H (1 – 5)</a:t>
            </a:r>
          </a:p>
          <a:p>
            <a:pPr marL="228600" marR="0" lvl="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AutoNum type="arabicPeriod"/>
              <a:tabLst/>
              <a:defRPr/>
            </a:pPr>
            <a:r>
              <a:rPr kumimoji="0" lang="en-US" sz="9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Implementation Effort: H to L (1 – 5) </a:t>
            </a:r>
          </a:p>
        </p:txBody>
      </p:sp>
      <p:sp>
        <p:nvSpPr>
          <p:cNvPr id="19" name="Titel 1">
            <a:extLst>
              <a:ext uri="{FF2B5EF4-FFF2-40B4-BE49-F238E27FC236}">
                <a16:creationId xmlns:a16="http://schemas.microsoft.com/office/drawing/2014/main" id="{218309D3-BBDC-0361-B61F-3A2A497C51AD}"/>
              </a:ext>
            </a:extLst>
          </p:cNvPr>
          <p:cNvSpPr txBox="1">
            <a:spLocks/>
          </p:cNvSpPr>
          <p:nvPr/>
        </p:nvSpPr>
        <p:spPr>
          <a:xfrm>
            <a:off x="73478" y="631203"/>
            <a:ext cx="8837159" cy="184666"/>
          </a:xfrm>
          <a:prstGeom prst="rect">
            <a:avLst/>
          </a:prstGeom>
        </p:spPr>
        <p:txBody>
          <a:bodyPr vert="horz" wrap="square" lIns="0" tIns="0" rIns="0" bIns="0" rtlCol="0" anchor="ctr">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200" b="0" i="0" u="none" strike="noStrike" kern="1200" cap="none" spc="0" normalizeH="0" baseline="0" noProof="0">
                <a:ln w="3175">
                  <a:noFill/>
                </a:ln>
                <a:solidFill>
                  <a:srgbClr val="FFFFFF"/>
                </a:solidFill>
                <a:effectLst/>
                <a:uLnTx/>
                <a:uFillTx/>
                <a:latin typeface="Segoe UI Semibold"/>
                <a:ea typeface="+mn-ea"/>
                <a:cs typeface="Segoe UI" pitchFamily="34" charset="0"/>
              </a:rPr>
              <a:t>Business Process Challenge: (insert challenge statement)</a:t>
            </a:r>
          </a:p>
        </p:txBody>
      </p:sp>
    </p:spTree>
    <p:extLst>
      <p:ext uri="{BB962C8B-B14F-4D97-AF65-F5344CB8AC3E}">
        <p14:creationId xmlns:p14="http://schemas.microsoft.com/office/powerpoint/2010/main" val="1501899777"/>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Light 16x9">
  <a:themeElements>
    <a:clrScheme name="CSA_Light">
      <a:dk1>
        <a:srgbClr val="000000"/>
      </a:dk1>
      <a:lt1>
        <a:srgbClr val="FFFFFF"/>
      </a:lt1>
      <a:dk2>
        <a:srgbClr val="081F2B"/>
      </a:dk2>
      <a:lt2>
        <a:srgbClr val="E8E6DF"/>
      </a:lt2>
      <a:accent1>
        <a:srgbClr val="0078D3"/>
      </a:accent1>
      <a:accent2>
        <a:srgbClr val="28426B"/>
      </a:accent2>
      <a:accent3>
        <a:srgbClr val="8CC8E7"/>
      </a:accent3>
      <a:accent4>
        <a:srgbClr val="8560C3"/>
      </a:accent4>
      <a:accent5>
        <a:srgbClr val="C5B3E2"/>
      </a:accent5>
      <a:accent6>
        <a:srgbClr val="FF5B39"/>
      </a:accent6>
      <a:hlink>
        <a:srgbClr val="0078D3"/>
      </a:hlink>
      <a:folHlink>
        <a:srgbClr val="8660C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CSA_Template_2 Light" id="{24D2A9F1-794F-EA4E-B8E6-8163F4B653C2}" vid="{8B49B318-C23E-DA4E-8BE7-C71C0A673AF3}"/>
    </a:ext>
  </a:extLst>
</a:theme>
</file>

<file path=ppt/theme/theme2.xml><?xml version="1.0" encoding="utf-8"?>
<a:theme xmlns:a="http://schemas.openxmlformats.org/drawingml/2006/main" name="2_Light 16x9">
  <a:themeElements>
    <a:clrScheme name="CSA_Light">
      <a:dk1>
        <a:srgbClr val="000000"/>
      </a:dk1>
      <a:lt1>
        <a:srgbClr val="FFFFFF"/>
      </a:lt1>
      <a:dk2>
        <a:srgbClr val="081F2B"/>
      </a:dk2>
      <a:lt2>
        <a:srgbClr val="E8E6DF"/>
      </a:lt2>
      <a:accent1>
        <a:srgbClr val="0078D3"/>
      </a:accent1>
      <a:accent2>
        <a:srgbClr val="28426B"/>
      </a:accent2>
      <a:accent3>
        <a:srgbClr val="8CC8E7"/>
      </a:accent3>
      <a:accent4>
        <a:srgbClr val="8560C3"/>
      </a:accent4>
      <a:accent5>
        <a:srgbClr val="C5B3E2"/>
      </a:accent5>
      <a:accent6>
        <a:srgbClr val="FF5B39"/>
      </a:accent6>
      <a:hlink>
        <a:srgbClr val="0078D3"/>
      </a:hlink>
      <a:folHlink>
        <a:srgbClr val="8660C4"/>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CSA_Template_1 Light" id="{0678855E-E4E0-6F49-A7FD-CC9EBEC437CE}" vid="{5BE46144-D885-354C-93D3-D3AA04EAFA38}"/>
    </a:ext>
  </a:extLst>
</a:theme>
</file>

<file path=ppt/theme/theme3.xml><?xml version="1.0" encoding="utf-8"?>
<a:theme xmlns:a="http://schemas.openxmlformats.org/drawingml/2006/main" name="SPT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FY23 SPT Standard Template.potx" id="{74F1E271-9BF4-4AB2-A87E-2DAD668F8C16}" vid="{7D8C6F2E-A6F0-48ED-A812-97453603C990}"/>
    </a:ext>
  </a:extLst>
</a:theme>
</file>

<file path=ppt/theme/theme4.xml><?xml version="1.0" encoding="utf-8"?>
<a:theme xmlns:a="http://schemas.openxmlformats.org/drawingml/2006/main" name="3_Light 16x9">
  <a:themeElements>
    <a:clrScheme name="CSA_Light">
      <a:dk1>
        <a:srgbClr val="000000"/>
      </a:dk1>
      <a:lt1>
        <a:srgbClr val="FFFFFF"/>
      </a:lt1>
      <a:dk2>
        <a:srgbClr val="081F2B"/>
      </a:dk2>
      <a:lt2>
        <a:srgbClr val="E8E6DF"/>
      </a:lt2>
      <a:accent1>
        <a:srgbClr val="0078D3"/>
      </a:accent1>
      <a:accent2>
        <a:srgbClr val="28426B"/>
      </a:accent2>
      <a:accent3>
        <a:srgbClr val="8CC8E7"/>
      </a:accent3>
      <a:accent4>
        <a:srgbClr val="8560C3"/>
      </a:accent4>
      <a:accent5>
        <a:srgbClr val="C5B3E2"/>
      </a:accent5>
      <a:accent6>
        <a:srgbClr val="FF5B39"/>
      </a:accent6>
      <a:hlink>
        <a:srgbClr val="0078D3"/>
      </a:hlink>
      <a:folHlink>
        <a:srgbClr val="8660C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CSA_Template_Color 1" id="{3EBE84EC-6C30-2D48-9477-D0B275C6205A}" vid="{9C7E0D19-6B45-1740-980F-7F00B5B59B1E}"/>
    </a:ext>
  </a:extLst>
</a:theme>
</file>

<file path=ppt/theme/theme5.xml><?xml version="1.0" encoding="utf-8"?>
<a:theme xmlns:a="http://schemas.openxmlformats.org/drawingml/2006/main" name="7_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brand_template_blue.potx" id="{480B23C3-38C8-4962-83A2-3297C539F5A5}" vid="{4711DFBC-8085-446F-AC17-C262437718B1}"/>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Target_x0020_Audiences xmlns="20737ca5-4cff-424c-bf34-9c35831b644d" xsi:nil="true"/>
    <TaxCatchAll xmlns="8f7d45e5-31a6-4baa-ab48-46dba9427db6" xsi:nil="true"/>
    <_ModernAudienceTargetUserField xmlns="20737ca5-4cff-424c-bf34-9c35831b644d">
      <UserInfo>
        <DisplayName/>
        <AccountId xsi:nil="true"/>
        <AccountType/>
      </UserInfo>
    </_ModernAudienceTargetUserField>
    <lcf76f155ced4ddcb4097134ff3c332f xmlns="20737ca5-4cff-424c-bf34-9c35831b644d">
      <Terms xmlns="http://schemas.microsoft.com/office/infopath/2007/PartnerControls"/>
    </lcf76f155ced4ddcb4097134ff3c332f>
    <SharedWithUsers xmlns="8f7d45e5-31a6-4baa-ab48-46dba9427db6">
      <UserInfo>
        <DisplayName>Willie Ahlers</DisplayName>
        <AccountId>155</AccountId>
        <AccountType/>
      </UserInfo>
      <UserInfo>
        <DisplayName>Guillermo Ramhorst</DisplayName>
        <AccountId>10740</AccountId>
        <AccountType/>
      </UserInfo>
      <UserInfo>
        <DisplayName>Kimberly O'Donoghue</DisplayName>
        <AccountId>911</AccountId>
        <AccountType/>
      </UserInfo>
      <UserInfo>
        <DisplayName>Fernando Garcia Ramirez</DisplayName>
        <AccountId>13809</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4E0B2B33B04A744F92C6CE3E0D320976" ma:contentTypeVersion="20" ma:contentTypeDescription="Create a new document." ma:contentTypeScope="" ma:versionID="d25a338f8b2620f4451f5df9001a6efd">
  <xsd:schema xmlns:xsd="http://www.w3.org/2001/XMLSchema" xmlns:xs="http://www.w3.org/2001/XMLSchema" xmlns:p="http://schemas.microsoft.com/office/2006/metadata/properties" xmlns:ns1="http://schemas.microsoft.com/sharepoint/v3" xmlns:ns2="20737ca5-4cff-424c-bf34-9c35831b644d" xmlns:ns3="8f7d45e5-31a6-4baa-ab48-46dba9427db6" targetNamespace="http://schemas.microsoft.com/office/2006/metadata/properties" ma:root="true" ma:fieldsID="65ea0515a3a6df45fb32a879d88fbfc4" ns1:_="" ns2:_="" ns3:_="">
    <xsd:import namespace="http://schemas.microsoft.com/sharepoint/v3"/>
    <xsd:import namespace="20737ca5-4cff-424c-bf34-9c35831b644d"/>
    <xsd:import namespace="8f7d45e5-31a6-4baa-ab48-46dba9427db6"/>
    <xsd:element name="properties">
      <xsd:complexType>
        <xsd:sequence>
          <xsd:element name="documentManagement">
            <xsd:complexType>
              <xsd:all>
                <xsd:element ref="ns1:_ip_UnifiedCompliancePolicyProperties" minOccurs="0"/>
                <xsd:element ref="ns1:_ip_UnifiedCompliancePolicyUIAction" minOccurs="0"/>
                <xsd:element ref="ns2:MediaServiceMetadata" minOccurs="0"/>
                <xsd:element ref="ns2:MediaServiceFastMetadata"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element ref="ns3:SharedWithUsers" minOccurs="0"/>
                <xsd:element ref="ns3:SharedWithDetails" minOccurs="0"/>
                <xsd:element ref="ns2:MediaServiceLocation" minOccurs="0"/>
                <xsd:element ref="ns2:MediaServiceSearchProperties" minOccurs="0"/>
                <xsd:element ref="ns2:Target_x0020_Audiences" minOccurs="0"/>
                <xsd:element ref="ns2:_ModernAudienceTargetUserField" minOccurs="0"/>
                <xsd:element ref="ns2:_ModernAudienceAadObjectI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8" nillable="true" ma:displayName="Unified Compliance Policy Properties" ma:hidden="true" ma:internalName="_ip_UnifiedCompliancePolicyProperties">
      <xsd:simpleType>
        <xsd:restriction base="dms:Note"/>
      </xsd:simpleType>
    </xsd:element>
    <xsd:element name="_ip_UnifiedCompliancePolicyUIAction" ma:index="9"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0737ca5-4cff-424c-bf34-9c35831b644d"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DateTaken" ma:index="13" nillable="true" ma:displayName="MediaServiceDateTaken" ma:hidden="true" ma:indexed="true" ma:internalName="MediaServiceDateTaken"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LengthInSeconds" ma:index="16" nillable="true" ma:displayName="MediaLengthInSeconds" ma:hidden="true" ma:internalName="MediaLengthInSeconds" ma:readOnly="true">
      <xsd:simpleType>
        <xsd:restriction base="dms:Unknown"/>
      </xsd:simpleType>
    </xsd:element>
    <xsd:element name="lcf76f155ced4ddcb4097134ff3c332f" ma:index="18"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OCR" ma:index="20" nillable="true" ma:displayName="Extracted Text" ma:internalName="MediaServiceOCR" ma:readOnly="true">
      <xsd:simpleType>
        <xsd:restriction base="dms:Note">
          <xsd:maxLength value="255"/>
        </xsd:restriction>
      </xsd:simpleType>
    </xsd:element>
    <xsd:element name="MediaServiceLocation" ma:index="23" nillable="true" ma:displayName="Location" ma:indexed="true" ma:internalName="MediaServiceLocation" ma:readOnly="true">
      <xsd:simpleType>
        <xsd:restriction base="dms:Text"/>
      </xsd:simpleType>
    </xsd:element>
    <xsd:element name="MediaServiceSearchProperties" ma:index="24" nillable="true" ma:displayName="MediaServiceSearchProperties" ma:hidden="true" ma:internalName="MediaServiceSearchProperties" ma:readOnly="true">
      <xsd:simpleType>
        <xsd:restriction base="dms:Note"/>
      </xsd:simpleType>
    </xsd:element>
    <xsd:element name="Target_x0020_Audiences" ma:index="25" nillable="true" ma:displayName="Target Audiences" ma:internalName="Target_x0020_Audiences">
      <xsd:simpleType>
        <xsd:restriction base="dms:Unknown"/>
      </xsd:simpleType>
    </xsd:element>
    <xsd:element name="_ModernAudienceTargetUserField" ma:index="26" nillable="true" ma:displayName="Audience" ma:list="UserInfo" ma:SharePointGroup="0" ma:internalName="_ModernAudienceTargetUserField"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_ModernAudienceAadObjectIds" ma:index="27" nillable="true" ma:displayName="AudienceIds" ma:list="{e62f529d-ba64-45a7-8d24-d6a0bce7af58}" ma:internalName="_ModernAudienceAadObjectIds" ma:readOnly="true" ma:showField="_AadObjectIdForUser" ma:web="8f7d45e5-31a6-4baa-ab48-46dba9427db6">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8f7d45e5-31a6-4baa-ab48-46dba9427db6" elementFormDefault="qualified">
    <xsd:import namespace="http://schemas.microsoft.com/office/2006/documentManagement/types"/>
    <xsd:import namespace="http://schemas.microsoft.com/office/infopath/2007/PartnerControls"/>
    <xsd:element name="TaxCatchAll" ma:index="19" nillable="true" ma:displayName="Taxonomy Catch All Column" ma:hidden="true" ma:list="{eba0e2aa-3bd8-4df5-8c5a-6a6dd09d2f91}" ma:internalName="TaxCatchAll" ma:showField="CatchAllData" ma:web="8f7d45e5-31a6-4baa-ab48-46dba9427db6">
      <xsd:complexType>
        <xsd:complexContent>
          <xsd:extension base="dms:MultiChoiceLookup">
            <xsd:sequence>
              <xsd:element name="Value" type="dms:Lookup" maxOccurs="unbounded" minOccurs="0" nillable="true"/>
            </xsd:sequence>
          </xsd:extension>
        </xsd:complexContent>
      </xsd:complexType>
    </xsd:element>
    <xsd:element name="SharedWithUsers" ma:index="2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990F116-B58F-4255-B05B-DA3808E0E5C6}">
  <ds:schemaRefs>
    <ds:schemaRef ds:uri="http://purl.org/dc/elements/1.1/"/>
    <ds:schemaRef ds:uri="http://schemas.microsoft.com/office/2006/documentManagement/types"/>
    <ds:schemaRef ds:uri="http://purl.org/dc/dcmitype/"/>
    <ds:schemaRef ds:uri="http://schemas.microsoft.com/sharepoint/v3"/>
    <ds:schemaRef ds:uri="http://www.w3.org/XML/1998/namespace"/>
    <ds:schemaRef ds:uri="http://purl.org/dc/terms/"/>
    <ds:schemaRef ds:uri="http://schemas.microsoft.com/office/infopath/2007/PartnerControls"/>
    <ds:schemaRef ds:uri="http://schemas.openxmlformats.org/package/2006/metadata/core-properties"/>
    <ds:schemaRef ds:uri="8f7d45e5-31a6-4baa-ab48-46dba9427db6"/>
    <ds:schemaRef ds:uri="20737ca5-4cff-424c-bf34-9c35831b644d"/>
    <ds:schemaRef ds:uri="http://schemas.microsoft.com/office/2006/metadata/properties"/>
  </ds:schemaRefs>
</ds:datastoreItem>
</file>

<file path=customXml/itemProps2.xml><?xml version="1.0" encoding="utf-8"?>
<ds:datastoreItem xmlns:ds="http://schemas.openxmlformats.org/officeDocument/2006/customXml" ds:itemID="{2B00695E-E4AF-462E-AD1C-7A8ADB78E0E6}">
  <ds:schemaRefs>
    <ds:schemaRef ds:uri="20737ca5-4cff-424c-bf34-9c35831b644d"/>
    <ds:schemaRef ds:uri="8f7d45e5-31a6-4baa-ab48-46dba9427db6"/>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emplate>CSA_Template_2 Light</Template>
  <TotalTime>0</TotalTime>
  <Words>14663</Words>
  <Application>Microsoft Office PowerPoint</Application>
  <PresentationFormat>Widescreen</PresentationFormat>
  <Paragraphs>1147</Paragraphs>
  <Slides>38</Slides>
  <Notes>24</Notes>
  <HiddenSlides>2</HiddenSlides>
  <MMClips>0</MMClips>
  <ScaleCrop>false</ScaleCrop>
  <HeadingPairs>
    <vt:vector size="8" baseType="variant">
      <vt:variant>
        <vt:lpstr>Fonts Used</vt:lpstr>
      </vt:variant>
      <vt:variant>
        <vt:i4>9</vt:i4>
      </vt:variant>
      <vt:variant>
        <vt:lpstr>Theme</vt:lpstr>
      </vt:variant>
      <vt:variant>
        <vt:i4>5</vt:i4>
      </vt:variant>
      <vt:variant>
        <vt:lpstr>Embedded OLE Servers</vt:lpstr>
      </vt:variant>
      <vt:variant>
        <vt:i4>1</vt:i4>
      </vt:variant>
      <vt:variant>
        <vt:lpstr>Slide Titles</vt:lpstr>
      </vt:variant>
      <vt:variant>
        <vt:i4>38</vt:i4>
      </vt:variant>
    </vt:vector>
  </HeadingPairs>
  <TitlesOfParts>
    <vt:vector size="53" baseType="lpstr">
      <vt:lpstr>Aptos</vt:lpstr>
      <vt:lpstr>Aptos Display</vt:lpstr>
      <vt:lpstr>Aptos SemiBold</vt:lpstr>
      <vt:lpstr>Arial</vt:lpstr>
      <vt:lpstr>Calibri</vt:lpstr>
      <vt:lpstr>Segoe UI</vt:lpstr>
      <vt:lpstr>Segoe UI Semibold</vt:lpstr>
      <vt:lpstr>SegoeUIVariable</vt:lpstr>
      <vt:lpstr>Wingdings</vt:lpstr>
      <vt:lpstr>Light 16x9</vt:lpstr>
      <vt:lpstr>2_Light 16x9</vt:lpstr>
      <vt:lpstr>SPT Template</vt:lpstr>
      <vt:lpstr>3_Light 16x9</vt:lpstr>
      <vt:lpstr>7_White Template</vt:lpstr>
      <vt:lpstr>think-cell Slide</vt:lpstr>
      <vt:lpstr>Presentation brief (hidden)</vt:lpstr>
      <vt:lpstr>PowerPoint Presentation</vt:lpstr>
      <vt:lpstr>Contents</vt:lpstr>
      <vt:lpstr>AI Use Case Discover Templat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Example of Completed Templates for AI Use Cases Discovery </vt:lpstr>
      <vt:lpstr>PowerPoint Presentation</vt:lpstr>
      <vt:lpstr>PowerPoint Presentation</vt:lpstr>
      <vt:lpstr>PowerPoint Presentation</vt:lpstr>
      <vt:lpstr>PowerPoint Presentation</vt:lpstr>
      <vt:lpstr>PowerPoint Presentation</vt:lpstr>
      <vt:lpstr>PowerPoint Presentation</vt:lpstr>
      <vt:lpstr>AI Use Cases Define Templates</vt:lpstr>
      <vt:lpstr>PowerPoint Presentation</vt:lpstr>
      <vt:lpstr>PowerPoint Presentation</vt:lpstr>
      <vt:lpstr>PowerPoint Presentation</vt:lpstr>
      <vt:lpstr>PowerPoint Presentation</vt:lpstr>
      <vt:lpstr>PowerPoint Presentation</vt:lpstr>
      <vt:lpstr>PowerPoint Presentation</vt:lpstr>
      <vt:lpstr>Example of Completed AI Use Case Define Templates  (following the AI Use Cases Discovery sessions)</vt:lpstr>
      <vt:lpstr>PowerPoint Presentation</vt:lpstr>
      <vt:lpstr>PowerPoint Presentation</vt:lpstr>
      <vt:lpstr>PowerPoint Presentation</vt:lpstr>
      <vt:lpstr>PowerPoint Presentation</vt:lpstr>
      <vt:lpstr>PowerPoint Presentation</vt:lpstr>
      <vt:lpstr>PowerPoint Presentation</vt:lpstr>
      <vt:lpstr>Taxonomy</vt:lpstr>
      <vt:lpstr>PowerPoint Presentation</vt:lpstr>
      <vt:lpstr>PowerPoint Presentation</vt:lpstr>
      <vt:lpstr>PowerPoint Presentation</vt:lpstr>
    </vt:vector>
  </TitlesOfParts>
  <Manager>&lt;Comms manager name here&gt;</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usiness &amp; AI Scenario Discovery</dc:title>
  <dc:subject>&lt;Event name&gt;</dc:subject>
  <dc:creator>Andrew Cook</dc:creator>
  <cp:keywords/>
  <dc:description/>
  <cp:lastModifiedBy>Andrew Cook</cp:lastModifiedBy>
  <cp:revision>1</cp:revision>
  <cp:lastPrinted>2023-02-15T20:48:24Z</cp:lastPrinted>
  <dcterms:created xsi:type="dcterms:W3CDTF">2024-05-07T10:58:37Z</dcterms:created>
  <dcterms:modified xsi:type="dcterms:W3CDTF">2024-07-12T16:45: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E0B2B33B04A744F92C6CE3E0D320976</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y fmtid="{D5CDD505-2E9C-101B-9397-08002B2CF9AE}" pid="11" name="MSIP_Label_f42aa342-8706-4288-bd11-ebb85995028c_Enabled">
    <vt:lpwstr>True</vt:lpwstr>
  </property>
  <property fmtid="{D5CDD505-2E9C-101B-9397-08002B2CF9AE}" pid="12" name="MSIP_Label_f42aa342-8706-4288-bd11-ebb85995028c_SiteId">
    <vt:lpwstr>72f988bf-86f1-41af-91ab-2d7cd011db47</vt:lpwstr>
  </property>
  <property fmtid="{D5CDD505-2E9C-101B-9397-08002B2CF9AE}" pid="13" name="MSIP_Label_f42aa342-8706-4288-bd11-ebb85995028c_Ref">
    <vt:lpwstr>https://api.informationprotection.azure.com/api/72f988bf-86f1-41af-91ab-2d7cd011db47</vt:lpwstr>
  </property>
  <property fmtid="{D5CDD505-2E9C-101B-9397-08002B2CF9AE}" pid="14" name="MSIP_Label_f42aa342-8706-4288-bd11-ebb85995028c_SetDate">
    <vt:lpwstr>2017-08-29T14:27:20.8568347-07:00</vt:lpwstr>
  </property>
  <property fmtid="{D5CDD505-2E9C-101B-9397-08002B2CF9AE}" pid="15" name="MSIP_Label_f42aa342-8706-4288-bd11-ebb85995028c_Name">
    <vt:lpwstr>General</vt:lpwstr>
  </property>
  <property fmtid="{D5CDD505-2E9C-101B-9397-08002B2CF9AE}" pid="16" name="MSIP_Label_f42aa342-8706-4288-bd11-ebb85995028c_Extended_MSFT_Method">
    <vt:lpwstr>Automatic</vt:lpwstr>
  </property>
  <property fmtid="{D5CDD505-2E9C-101B-9397-08002B2CF9AE}" pid="17" name="Sensitivity">
    <vt:lpwstr>General</vt:lpwstr>
  </property>
  <property fmtid="{D5CDD505-2E9C-101B-9397-08002B2CF9AE}" pid="18" name="j7ed6b1749d644c580569ee38d7710d7">
    <vt:lpwstr/>
  </property>
  <property fmtid="{D5CDD505-2E9C-101B-9397-08002B2CF9AE}" pid="19" name="e93e2550f0ac4199ae3cf1406d72085e">
    <vt:lpwstr/>
  </property>
  <property fmtid="{D5CDD505-2E9C-101B-9397-08002B2CF9AE}" pid="20" name="o92d4232daec467abb08246282070aa9">
    <vt:lpwstr/>
  </property>
  <property fmtid="{D5CDD505-2E9C-101B-9397-08002B2CF9AE}" pid="21" name="bc8cca776fa8455c8c00307ee3c527ad">
    <vt:lpwstr/>
  </property>
  <property fmtid="{D5CDD505-2E9C-101B-9397-08002B2CF9AE}" pid="22" name="_dlc_DocIdItemGuid">
    <vt:lpwstr>4230617f-e31b-4f22-8a5a-7761a22ded76</vt:lpwstr>
  </property>
  <property fmtid="{D5CDD505-2E9C-101B-9397-08002B2CF9AE}" pid="23" name="o1dbacbd0e564fc293d11b6c4775302e">
    <vt:lpwstr/>
  </property>
  <property fmtid="{D5CDD505-2E9C-101B-9397-08002B2CF9AE}" pid="24" name="MediaServiceImageTags">
    <vt:lpwstr/>
  </property>
  <property fmtid="{D5CDD505-2E9C-101B-9397-08002B2CF9AE}" pid="25" name="epPlatforms">
    <vt:lpwstr/>
  </property>
</Properties>
</file>